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44546A"/>
    <a:srgbClr val="A5A5A5"/>
    <a:srgbClr val="FFCC00"/>
    <a:srgbClr val="FF9500"/>
    <a:srgbClr val="64D2FF"/>
    <a:srgbClr val="585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69" d="100"/>
          <a:sy n="69" d="100"/>
        </p:scale>
        <p:origin x="38" y="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26633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88164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649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206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0313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77B733-F79E-4A69-A041-C75C5E2E52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33472"/>
            <a:ext cx="12243467" cy="4565177"/>
          </a:xfrm>
          <a:custGeom>
            <a:avLst/>
            <a:gdLst>
              <a:gd name="connsiteX0" fmla="*/ 5860062 w 12243467"/>
              <a:gd name="connsiteY0" fmla="*/ 4555770 h 4565177"/>
              <a:gd name="connsiteX1" fmla="*/ 5873616 w 12243467"/>
              <a:gd name="connsiteY1" fmla="*/ 4563559 h 4565177"/>
              <a:gd name="connsiteX2" fmla="*/ 5846510 w 12243467"/>
              <a:gd name="connsiteY2" fmla="*/ 4565177 h 4565177"/>
              <a:gd name="connsiteX3" fmla="*/ 5860062 w 12243467"/>
              <a:gd name="connsiteY3" fmla="*/ 4555770 h 4565177"/>
              <a:gd name="connsiteX4" fmla="*/ 5696044 w 12243467"/>
              <a:gd name="connsiteY4" fmla="*/ 4545958 h 4565177"/>
              <a:gd name="connsiteX5" fmla="*/ 5684980 w 12243467"/>
              <a:gd name="connsiteY5" fmla="*/ 4551623 h 4565177"/>
              <a:gd name="connsiteX6" fmla="*/ 5696044 w 12243467"/>
              <a:gd name="connsiteY6" fmla="*/ 4545958 h 4565177"/>
              <a:gd name="connsiteX7" fmla="*/ 5749426 w 12243467"/>
              <a:gd name="connsiteY7" fmla="*/ 4545351 h 4565177"/>
              <a:gd name="connsiteX8" fmla="*/ 5755787 w 12243467"/>
              <a:gd name="connsiteY8" fmla="*/ 4550510 h 4565177"/>
              <a:gd name="connsiteX9" fmla="*/ 5730341 w 12243467"/>
              <a:gd name="connsiteY9" fmla="*/ 4545554 h 4565177"/>
              <a:gd name="connsiteX10" fmla="*/ 5749426 w 12243467"/>
              <a:gd name="connsiteY10" fmla="*/ 4545351 h 4565177"/>
              <a:gd name="connsiteX11" fmla="*/ 5796170 w 12243467"/>
              <a:gd name="connsiteY11" fmla="*/ 4543935 h 4565177"/>
              <a:gd name="connsiteX12" fmla="*/ 5802531 w 12243467"/>
              <a:gd name="connsiteY12" fmla="*/ 4546363 h 4565177"/>
              <a:gd name="connsiteX13" fmla="*/ 5799489 w 12243467"/>
              <a:gd name="connsiteY13" fmla="*/ 4548386 h 4565177"/>
              <a:gd name="connsiteX14" fmla="*/ 5801148 w 12243467"/>
              <a:gd name="connsiteY14" fmla="*/ 4564469 h 4565177"/>
              <a:gd name="connsiteX15" fmla="*/ 5704895 w 12243467"/>
              <a:gd name="connsiteY15" fmla="*/ 4562851 h 4565177"/>
              <a:gd name="connsiteX16" fmla="*/ 5783724 w 12243467"/>
              <a:gd name="connsiteY16" fmla="*/ 4555669 h 4565177"/>
              <a:gd name="connsiteX17" fmla="*/ 5796170 w 12243467"/>
              <a:gd name="connsiteY17" fmla="*/ 4543935 h 4565177"/>
              <a:gd name="connsiteX18" fmla="*/ 5559686 w 12243467"/>
              <a:gd name="connsiteY18" fmla="*/ 4542519 h 4565177"/>
              <a:gd name="connsiteX19" fmla="*/ 5573238 w 12243467"/>
              <a:gd name="connsiteY19" fmla="*/ 4548184 h 4565177"/>
              <a:gd name="connsiteX20" fmla="*/ 5542537 w 12243467"/>
              <a:gd name="connsiteY20" fmla="*/ 4542822 h 4565177"/>
              <a:gd name="connsiteX21" fmla="*/ 5559686 w 12243467"/>
              <a:gd name="connsiteY21" fmla="*/ 4542519 h 4565177"/>
              <a:gd name="connsiteX22" fmla="*/ 6011910 w 12243467"/>
              <a:gd name="connsiteY22" fmla="*/ 4533112 h 4565177"/>
              <a:gd name="connsiteX23" fmla="*/ 6021314 w 12243467"/>
              <a:gd name="connsiteY23" fmla="*/ 4545452 h 4565177"/>
              <a:gd name="connsiteX24" fmla="*/ 6017165 w 12243467"/>
              <a:gd name="connsiteY24" fmla="*/ 4553949 h 4565177"/>
              <a:gd name="connsiteX25" fmla="*/ 5885232 w 12243467"/>
              <a:gd name="connsiteY25" fmla="*/ 4561940 h 4565177"/>
              <a:gd name="connsiteX26" fmla="*/ 5915656 w 12243467"/>
              <a:gd name="connsiteY26" fmla="*/ 4542822 h 4565177"/>
              <a:gd name="connsiteX27" fmla="*/ 5932805 w 12243467"/>
              <a:gd name="connsiteY27" fmla="*/ 4542418 h 4565177"/>
              <a:gd name="connsiteX28" fmla="*/ 5924231 w 12243467"/>
              <a:gd name="connsiteY28" fmla="*/ 4548184 h 4565177"/>
              <a:gd name="connsiteX29" fmla="*/ 5952721 w 12243467"/>
              <a:gd name="connsiteY29" fmla="*/ 4551319 h 4565177"/>
              <a:gd name="connsiteX30" fmla="*/ 5982038 w 12243467"/>
              <a:gd name="connsiteY30" fmla="*/ 4536551 h 4565177"/>
              <a:gd name="connsiteX31" fmla="*/ 5982868 w 12243467"/>
              <a:gd name="connsiteY31" fmla="*/ 4545655 h 4565177"/>
              <a:gd name="connsiteX32" fmla="*/ 5998633 w 12243467"/>
              <a:gd name="connsiteY32" fmla="*/ 4538372 h 4565177"/>
              <a:gd name="connsiteX33" fmla="*/ 6002230 w 12243467"/>
              <a:gd name="connsiteY33" fmla="*/ 4545554 h 4565177"/>
              <a:gd name="connsiteX34" fmla="*/ 6011910 w 12243467"/>
              <a:gd name="connsiteY34" fmla="*/ 4533112 h 4565177"/>
              <a:gd name="connsiteX35" fmla="*/ 5997251 w 12243467"/>
              <a:gd name="connsiteY35" fmla="*/ 4522592 h 4565177"/>
              <a:gd name="connsiteX36" fmla="*/ 5998633 w 12243467"/>
              <a:gd name="connsiteY36" fmla="*/ 4522693 h 4565177"/>
              <a:gd name="connsiteX37" fmla="*/ 6003889 w 12243467"/>
              <a:gd name="connsiteY37" fmla="*/ 4522997 h 4565177"/>
              <a:gd name="connsiteX38" fmla="*/ 6002506 w 12243467"/>
              <a:gd name="connsiteY38" fmla="*/ 4529875 h 4565177"/>
              <a:gd name="connsiteX39" fmla="*/ 5993655 w 12243467"/>
              <a:gd name="connsiteY39" fmla="*/ 4526537 h 4565177"/>
              <a:gd name="connsiteX40" fmla="*/ 5998358 w 12243467"/>
              <a:gd name="connsiteY40" fmla="*/ 4527043 h 4565177"/>
              <a:gd name="connsiteX41" fmla="*/ 5996421 w 12243467"/>
              <a:gd name="connsiteY41" fmla="*/ 4524514 h 4565177"/>
              <a:gd name="connsiteX42" fmla="*/ 5997251 w 12243467"/>
              <a:gd name="connsiteY42" fmla="*/ 4522592 h 4565177"/>
              <a:gd name="connsiteX43" fmla="*/ 5970421 w 12243467"/>
              <a:gd name="connsiteY43" fmla="*/ 4521075 h 4565177"/>
              <a:gd name="connsiteX44" fmla="*/ 5991166 w 12243467"/>
              <a:gd name="connsiteY44" fmla="*/ 4525930 h 4565177"/>
              <a:gd name="connsiteX45" fmla="*/ 5991166 w 12243467"/>
              <a:gd name="connsiteY45" fmla="*/ 4529571 h 4565177"/>
              <a:gd name="connsiteX46" fmla="*/ 5988400 w 12243467"/>
              <a:gd name="connsiteY46" fmla="*/ 4527953 h 4565177"/>
              <a:gd name="connsiteX47" fmla="*/ 5900167 w 12243467"/>
              <a:gd name="connsiteY47" fmla="*/ 4536349 h 4565177"/>
              <a:gd name="connsiteX48" fmla="*/ 5948847 w 12243467"/>
              <a:gd name="connsiteY48" fmla="*/ 4521176 h 4565177"/>
              <a:gd name="connsiteX49" fmla="*/ 5970421 w 12243467"/>
              <a:gd name="connsiteY49" fmla="*/ 4521075 h 4565177"/>
              <a:gd name="connsiteX50" fmla="*/ 6032377 w 12243467"/>
              <a:gd name="connsiteY50" fmla="*/ 4517231 h 4565177"/>
              <a:gd name="connsiteX51" fmla="*/ 6013017 w 12243467"/>
              <a:gd name="connsiteY51" fmla="*/ 4526031 h 4565177"/>
              <a:gd name="connsiteX52" fmla="*/ 6032377 w 12243467"/>
              <a:gd name="connsiteY52" fmla="*/ 4517231 h 4565177"/>
              <a:gd name="connsiteX53" fmla="*/ 7176354 w 12243467"/>
              <a:gd name="connsiteY53" fmla="*/ 4482536 h 4565177"/>
              <a:gd name="connsiteX54" fmla="*/ 7191843 w 12243467"/>
              <a:gd name="connsiteY54" fmla="*/ 4483648 h 4565177"/>
              <a:gd name="connsiteX55" fmla="*/ 7161141 w 12243467"/>
              <a:gd name="connsiteY55" fmla="*/ 4488200 h 4565177"/>
              <a:gd name="connsiteX56" fmla="*/ 7176354 w 12243467"/>
              <a:gd name="connsiteY56" fmla="*/ 4482536 h 4565177"/>
              <a:gd name="connsiteX57" fmla="*/ 5925337 w 12243467"/>
              <a:gd name="connsiteY57" fmla="*/ 4443895 h 4565177"/>
              <a:gd name="connsiteX58" fmla="*/ 5931146 w 12243467"/>
              <a:gd name="connsiteY58" fmla="*/ 4444300 h 4565177"/>
              <a:gd name="connsiteX59" fmla="*/ 5922848 w 12243467"/>
              <a:gd name="connsiteY59" fmla="*/ 4450066 h 4565177"/>
              <a:gd name="connsiteX60" fmla="*/ 5930869 w 12243467"/>
              <a:gd name="connsiteY60" fmla="*/ 4457753 h 4565177"/>
              <a:gd name="connsiteX61" fmla="*/ 5897126 w 12243467"/>
              <a:gd name="connsiteY61" fmla="*/ 4458664 h 4565177"/>
              <a:gd name="connsiteX62" fmla="*/ 5910954 w 12243467"/>
              <a:gd name="connsiteY62" fmla="*/ 4448852 h 4565177"/>
              <a:gd name="connsiteX63" fmla="*/ 5910125 w 12243467"/>
              <a:gd name="connsiteY63" fmla="*/ 4453303 h 4565177"/>
              <a:gd name="connsiteX64" fmla="*/ 5918976 w 12243467"/>
              <a:gd name="connsiteY64" fmla="*/ 4445109 h 4565177"/>
              <a:gd name="connsiteX65" fmla="*/ 5925337 w 12243467"/>
              <a:gd name="connsiteY65" fmla="*/ 4443895 h 4565177"/>
              <a:gd name="connsiteX66" fmla="*/ 5972634 w 12243467"/>
              <a:gd name="connsiteY66" fmla="*/ 4443289 h 4565177"/>
              <a:gd name="connsiteX67" fmla="*/ 5978442 w 12243467"/>
              <a:gd name="connsiteY67" fmla="*/ 4443794 h 4565177"/>
              <a:gd name="connsiteX68" fmla="*/ 5988123 w 12243467"/>
              <a:gd name="connsiteY68" fmla="*/ 4448548 h 4565177"/>
              <a:gd name="connsiteX69" fmla="*/ 5955209 w 12243467"/>
              <a:gd name="connsiteY69" fmla="*/ 4456540 h 4565177"/>
              <a:gd name="connsiteX70" fmla="*/ 5934466 w 12243467"/>
              <a:gd name="connsiteY70" fmla="*/ 4451886 h 4565177"/>
              <a:gd name="connsiteX71" fmla="*/ 5969868 w 12243467"/>
              <a:gd name="connsiteY71" fmla="*/ 4444199 h 4565177"/>
              <a:gd name="connsiteX72" fmla="*/ 5972634 w 12243467"/>
              <a:gd name="connsiteY72" fmla="*/ 4443289 h 4565177"/>
              <a:gd name="connsiteX73" fmla="*/ 7301926 w 12243467"/>
              <a:gd name="connsiteY73" fmla="*/ 4442985 h 4565177"/>
              <a:gd name="connsiteX74" fmla="*/ 7295011 w 12243467"/>
              <a:gd name="connsiteY74" fmla="*/ 4451482 h 4565177"/>
              <a:gd name="connsiteX75" fmla="*/ 7301926 w 12243467"/>
              <a:gd name="connsiteY75" fmla="*/ 4442985 h 4565177"/>
              <a:gd name="connsiteX76" fmla="*/ 7350052 w 12243467"/>
              <a:gd name="connsiteY76" fmla="*/ 4425587 h 4565177"/>
              <a:gd name="connsiteX77" fmla="*/ 7358350 w 12243467"/>
              <a:gd name="connsiteY77" fmla="*/ 4428318 h 4565177"/>
              <a:gd name="connsiteX78" fmla="*/ 7332627 w 12243467"/>
              <a:gd name="connsiteY78" fmla="*/ 4431757 h 4565177"/>
              <a:gd name="connsiteX79" fmla="*/ 7350052 w 12243467"/>
              <a:gd name="connsiteY79" fmla="*/ 4425587 h 4565177"/>
              <a:gd name="connsiteX80" fmla="*/ 5965444 w 12243467"/>
              <a:gd name="connsiteY80" fmla="*/ 4422552 h 4565177"/>
              <a:gd name="connsiteX81" fmla="*/ 5973741 w 12243467"/>
              <a:gd name="connsiteY81" fmla="*/ 4424070 h 4565177"/>
              <a:gd name="connsiteX82" fmla="*/ 5962677 w 12243467"/>
              <a:gd name="connsiteY82" fmla="*/ 4429633 h 4565177"/>
              <a:gd name="connsiteX83" fmla="*/ 5958529 w 12243467"/>
              <a:gd name="connsiteY83" fmla="*/ 4424677 h 4565177"/>
              <a:gd name="connsiteX84" fmla="*/ 5965444 w 12243467"/>
              <a:gd name="connsiteY84" fmla="*/ 4422552 h 4565177"/>
              <a:gd name="connsiteX85" fmla="*/ 5870573 w 12243467"/>
              <a:gd name="connsiteY85" fmla="*/ 4415472 h 4565177"/>
              <a:gd name="connsiteX86" fmla="*/ 5881360 w 12243467"/>
              <a:gd name="connsiteY86" fmla="*/ 4416382 h 4565177"/>
              <a:gd name="connsiteX87" fmla="*/ 5885785 w 12243467"/>
              <a:gd name="connsiteY87" fmla="*/ 4419113 h 4565177"/>
              <a:gd name="connsiteX88" fmla="*/ 5844296 w 12243467"/>
              <a:gd name="connsiteY88" fmla="*/ 4419214 h 4565177"/>
              <a:gd name="connsiteX89" fmla="*/ 5831851 w 12243467"/>
              <a:gd name="connsiteY89" fmla="*/ 4420023 h 4565177"/>
              <a:gd name="connsiteX90" fmla="*/ 5840148 w 12243467"/>
              <a:gd name="connsiteY90" fmla="*/ 4416382 h 4565177"/>
              <a:gd name="connsiteX91" fmla="*/ 5861722 w 12243467"/>
              <a:gd name="connsiteY91" fmla="*/ 4415573 h 4565177"/>
              <a:gd name="connsiteX92" fmla="*/ 5870573 w 12243467"/>
              <a:gd name="connsiteY92" fmla="*/ 4415472 h 4565177"/>
              <a:gd name="connsiteX93" fmla="*/ 5722873 w 12243467"/>
              <a:gd name="connsiteY93" fmla="*/ 4415168 h 4565177"/>
              <a:gd name="connsiteX94" fmla="*/ 5746383 w 12243467"/>
              <a:gd name="connsiteY94" fmla="*/ 4417090 h 4565177"/>
              <a:gd name="connsiteX95" fmla="*/ 5717618 w 12243467"/>
              <a:gd name="connsiteY95" fmla="*/ 4416180 h 4565177"/>
              <a:gd name="connsiteX96" fmla="*/ 5722873 w 12243467"/>
              <a:gd name="connsiteY96" fmla="*/ 4415168 h 4565177"/>
              <a:gd name="connsiteX97" fmla="*/ 5782617 w 12243467"/>
              <a:gd name="connsiteY97" fmla="*/ 4414662 h 4565177"/>
              <a:gd name="connsiteX98" fmla="*/ 5786212 w 12243467"/>
              <a:gd name="connsiteY98" fmla="*/ 4419720 h 4565177"/>
              <a:gd name="connsiteX99" fmla="*/ 5772384 w 12243467"/>
              <a:gd name="connsiteY99" fmla="*/ 4418102 h 4565177"/>
              <a:gd name="connsiteX100" fmla="*/ 5782617 w 12243467"/>
              <a:gd name="connsiteY100" fmla="*/ 4414662 h 4565177"/>
              <a:gd name="connsiteX101" fmla="*/ 5811659 w 12243467"/>
              <a:gd name="connsiteY101" fmla="*/ 4413550 h 4565177"/>
              <a:gd name="connsiteX102" fmla="*/ 5813318 w 12243467"/>
              <a:gd name="connsiteY102" fmla="*/ 4415067 h 4565177"/>
              <a:gd name="connsiteX103" fmla="*/ 5815531 w 12243467"/>
              <a:gd name="connsiteY103" fmla="*/ 4420125 h 4565177"/>
              <a:gd name="connsiteX104" fmla="*/ 5795893 w 12243467"/>
              <a:gd name="connsiteY104" fmla="*/ 4420327 h 4565177"/>
              <a:gd name="connsiteX105" fmla="*/ 5811659 w 12243467"/>
              <a:gd name="connsiteY105" fmla="*/ 4415168 h 4565177"/>
              <a:gd name="connsiteX106" fmla="*/ 5811659 w 12243467"/>
              <a:gd name="connsiteY106" fmla="*/ 4413550 h 4565177"/>
              <a:gd name="connsiteX107" fmla="*/ 5915933 w 12243467"/>
              <a:gd name="connsiteY107" fmla="*/ 4413347 h 4565177"/>
              <a:gd name="connsiteX108" fmla="*/ 5931422 w 12243467"/>
              <a:gd name="connsiteY108" fmla="*/ 4419619 h 4565177"/>
              <a:gd name="connsiteX109" fmla="*/ 5902105 w 12243467"/>
              <a:gd name="connsiteY109" fmla="*/ 4420732 h 4565177"/>
              <a:gd name="connsiteX110" fmla="*/ 5904593 w 12243467"/>
              <a:gd name="connsiteY110" fmla="*/ 4432263 h 4565177"/>
              <a:gd name="connsiteX111" fmla="*/ 5915933 w 12243467"/>
              <a:gd name="connsiteY111" fmla="*/ 4413347 h 4565177"/>
              <a:gd name="connsiteX112" fmla="*/ 5944699 w 12243467"/>
              <a:gd name="connsiteY112" fmla="*/ 4411931 h 4565177"/>
              <a:gd name="connsiteX113" fmla="*/ 5944422 w 12243467"/>
              <a:gd name="connsiteY113" fmla="*/ 4417394 h 4565177"/>
              <a:gd name="connsiteX114" fmla="*/ 5942763 w 12243467"/>
              <a:gd name="connsiteY114" fmla="*/ 4420833 h 4565177"/>
              <a:gd name="connsiteX115" fmla="*/ 5936955 w 12243467"/>
              <a:gd name="connsiteY115" fmla="*/ 4413347 h 4565177"/>
              <a:gd name="connsiteX116" fmla="*/ 5944699 w 12243467"/>
              <a:gd name="connsiteY116" fmla="*/ 4411931 h 4565177"/>
              <a:gd name="connsiteX117" fmla="*/ 7391541 w 12243467"/>
              <a:gd name="connsiteY117" fmla="*/ 4409706 h 4565177"/>
              <a:gd name="connsiteX118" fmla="*/ 7398732 w 12243467"/>
              <a:gd name="connsiteY118" fmla="*/ 4410009 h 4565177"/>
              <a:gd name="connsiteX119" fmla="*/ 7397073 w 12243467"/>
              <a:gd name="connsiteY119" fmla="*/ 4412639 h 4565177"/>
              <a:gd name="connsiteX120" fmla="*/ 7407860 w 12243467"/>
              <a:gd name="connsiteY120" fmla="*/ 4426700 h 4565177"/>
              <a:gd name="connsiteX121" fmla="*/ 7319351 w 12243467"/>
              <a:gd name="connsiteY121" fmla="*/ 4455427 h 4565177"/>
              <a:gd name="connsiteX122" fmla="*/ 7386839 w 12243467"/>
              <a:gd name="connsiteY122" fmla="*/ 4424272 h 4565177"/>
              <a:gd name="connsiteX123" fmla="*/ 7391541 w 12243467"/>
              <a:gd name="connsiteY123" fmla="*/ 4409706 h 4565177"/>
              <a:gd name="connsiteX124" fmla="*/ 5962953 w 12243467"/>
              <a:gd name="connsiteY124" fmla="*/ 4408391 h 4565177"/>
              <a:gd name="connsiteX125" fmla="*/ 5966272 w 12243467"/>
              <a:gd name="connsiteY125" fmla="*/ 4408492 h 4565177"/>
              <a:gd name="connsiteX126" fmla="*/ 5968485 w 12243467"/>
              <a:gd name="connsiteY126" fmla="*/ 4414764 h 4565177"/>
              <a:gd name="connsiteX127" fmla="*/ 5963230 w 12243467"/>
              <a:gd name="connsiteY127" fmla="*/ 4416483 h 4565177"/>
              <a:gd name="connsiteX128" fmla="*/ 5962953 w 12243467"/>
              <a:gd name="connsiteY128" fmla="*/ 4408391 h 4565177"/>
              <a:gd name="connsiteX129" fmla="*/ 7465114 w 12243467"/>
              <a:gd name="connsiteY129" fmla="*/ 4398276 h 4565177"/>
              <a:gd name="connsiteX130" fmla="*/ 7472858 w 12243467"/>
              <a:gd name="connsiteY130" fmla="*/ 4403131 h 4565177"/>
              <a:gd name="connsiteX131" fmla="*/ 7449348 w 12243467"/>
              <a:gd name="connsiteY131" fmla="*/ 4412943 h 4565177"/>
              <a:gd name="connsiteX132" fmla="*/ 7465114 w 12243467"/>
              <a:gd name="connsiteY132" fmla="*/ 4398276 h 4565177"/>
              <a:gd name="connsiteX133" fmla="*/ 6067504 w 12243467"/>
              <a:gd name="connsiteY133" fmla="*/ 4386744 h 4565177"/>
              <a:gd name="connsiteX134" fmla="*/ 6049249 w 12243467"/>
              <a:gd name="connsiteY134" fmla="*/ 4393825 h 4565177"/>
              <a:gd name="connsiteX135" fmla="*/ 6067504 w 12243467"/>
              <a:gd name="connsiteY135" fmla="*/ 4386744 h 4565177"/>
              <a:gd name="connsiteX136" fmla="*/ 5900998 w 12243467"/>
              <a:gd name="connsiteY136" fmla="*/ 4377236 h 4565177"/>
              <a:gd name="connsiteX137" fmla="*/ 5908742 w 12243467"/>
              <a:gd name="connsiteY137" fmla="*/ 4387149 h 4565177"/>
              <a:gd name="connsiteX138" fmla="*/ 5909571 w 12243467"/>
              <a:gd name="connsiteY138" fmla="*/ 4388970 h 4565177"/>
              <a:gd name="connsiteX139" fmla="*/ 5899891 w 12243467"/>
              <a:gd name="connsiteY139" fmla="*/ 4395342 h 4565177"/>
              <a:gd name="connsiteX140" fmla="*/ 5860892 w 12243467"/>
              <a:gd name="connsiteY140" fmla="*/ 4395443 h 4565177"/>
              <a:gd name="connsiteX141" fmla="*/ 5863381 w 12243467"/>
              <a:gd name="connsiteY141" fmla="*/ 4384418 h 4565177"/>
              <a:gd name="connsiteX142" fmla="*/ 5900998 w 12243467"/>
              <a:gd name="connsiteY142" fmla="*/ 4377236 h 4565177"/>
              <a:gd name="connsiteX143" fmla="*/ 5976783 w 12243467"/>
              <a:gd name="connsiteY143" fmla="*/ 4370155 h 4565177"/>
              <a:gd name="connsiteX144" fmla="*/ 5978996 w 12243467"/>
              <a:gd name="connsiteY144" fmla="*/ 4383609 h 4565177"/>
              <a:gd name="connsiteX145" fmla="*/ 5968762 w 12243467"/>
              <a:gd name="connsiteY145" fmla="*/ 4373696 h 4565177"/>
              <a:gd name="connsiteX146" fmla="*/ 5976783 w 12243467"/>
              <a:gd name="connsiteY146" fmla="*/ 4370155 h 4565177"/>
              <a:gd name="connsiteX147" fmla="*/ 6011081 w 12243467"/>
              <a:gd name="connsiteY147" fmla="*/ 4369043 h 4565177"/>
              <a:gd name="connsiteX148" fmla="*/ 6017442 w 12243467"/>
              <a:gd name="connsiteY148" fmla="*/ 4373595 h 4565177"/>
              <a:gd name="connsiteX149" fmla="*/ 6016060 w 12243467"/>
              <a:gd name="connsiteY149" fmla="*/ 4380675 h 4565177"/>
              <a:gd name="connsiteX150" fmla="*/ 6003889 w 12243467"/>
              <a:gd name="connsiteY150" fmla="*/ 4381586 h 4565177"/>
              <a:gd name="connsiteX151" fmla="*/ 5994485 w 12243467"/>
              <a:gd name="connsiteY151" fmla="*/ 4380675 h 4565177"/>
              <a:gd name="connsiteX152" fmla="*/ 5987018 w 12243467"/>
              <a:gd name="connsiteY152" fmla="*/ 4370863 h 4565177"/>
              <a:gd name="connsiteX153" fmla="*/ 6011081 w 12243467"/>
              <a:gd name="connsiteY153" fmla="*/ 4369043 h 4565177"/>
              <a:gd name="connsiteX154" fmla="*/ 5953550 w 12243467"/>
              <a:gd name="connsiteY154" fmla="*/ 4367627 h 4565177"/>
              <a:gd name="connsiteX155" fmla="*/ 5959911 w 12243467"/>
              <a:gd name="connsiteY155" fmla="*/ 4381889 h 4565177"/>
              <a:gd name="connsiteX156" fmla="*/ 5939167 w 12243467"/>
              <a:gd name="connsiteY156" fmla="*/ 4390892 h 4565177"/>
              <a:gd name="connsiteX157" fmla="*/ 5944422 w 12243467"/>
              <a:gd name="connsiteY157" fmla="*/ 4400501 h 4565177"/>
              <a:gd name="connsiteX158" fmla="*/ 5915933 w 12243467"/>
              <a:gd name="connsiteY158" fmla="*/ 4399793 h 4565177"/>
              <a:gd name="connsiteX159" fmla="*/ 5919805 w 12243467"/>
              <a:gd name="connsiteY159" fmla="*/ 4393319 h 4565177"/>
              <a:gd name="connsiteX160" fmla="*/ 5934188 w 12243467"/>
              <a:gd name="connsiteY160" fmla="*/ 4392712 h 4565177"/>
              <a:gd name="connsiteX161" fmla="*/ 5920635 w 12243467"/>
              <a:gd name="connsiteY161" fmla="*/ 4388869 h 4565177"/>
              <a:gd name="connsiteX162" fmla="*/ 5931699 w 12243467"/>
              <a:gd name="connsiteY162" fmla="*/ 4380979 h 4565177"/>
              <a:gd name="connsiteX163" fmla="*/ 5953550 w 12243467"/>
              <a:gd name="connsiteY163" fmla="*/ 4367627 h 4565177"/>
              <a:gd name="connsiteX164" fmla="*/ 5908742 w 12243467"/>
              <a:gd name="connsiteY164" fmla="*/ 4353566 h 4565177"/>
              <a:gd name="connsiteX165" fmla="*/ 5902933 w 12243467"/>
              <a:gd name="connsiteY165" fmla="*/ 4357208 h 4565177"/>
              <a:gd name="connsiteX166" fmla="*/ 5906529 w 12243467"/>
              <a:gd name="connsiteY166" fmla="*/ 4363985 h 4565177"/>
              <a:gd name="connsiteX167" fmla="*/ 5899891 w 12243467"/>
              <a:gd name="connsiteY167" fmla="*/ 4359029 h 4565177"/>
              <a:gd name="connsiteX168" fmla="*/ 5891870 w 12243467"/>
              <a:gd name="connsiteY168" fmla="*/ 4362468 h 4565177"/>
              <a:gd name="connsiteX169" fmla="*/ 5908742 w 12243467"/>
              <a:gd name="connsiteY169" fmla="*/ 4353566 h 4565177"/>
              <a:gd name="connsiteX170" fmla="*/ 5947464 w 12243467"/>
              <a:gd name="connsiteY170" fmla="*/ 4351543 h 4565177"/>
              <a:gd name="connsiteX171" fmla="*/ 5977889 w 12243467"/>
              <a:gd name="connsiteY171" fmla="*/ 4354376 h 4565177"/>
              <a:gd name="connsiteX172" fmla="*/ 5963508 w 12243467"/>
              <a:gd name="connsiteY172" fmla="*/ 4366210 h 4565177"/>
              <a:gd name="connsiteX173" fmla="*/ 5918976 w 12243467"/>
              <a:gd name="connsiteY173" fmla="*/ 4359029 h 4565177"/>
              <a:gd name="connsiteX174" fmla="*/ 5947464 w 12243467"/>
              <a:gd name="connsiteY174" fmla="*/ 4351543 h 4565177"/>
              <a:gd name="connsiteX175" fmla="*/ 7580728 w 12243467"/>
              <a:gd name="connsiteY175" fmla="*/ 4332122 h 4565177"/>
              <a:gd name="connsiteX176" fmla="*/ 7596494 w 12243467"/>
              <a:gd name="connsiteY176" fmla="*/ 4340315 h 4565177"/>
              <a:gd name="connsiteX177" fmla="*/ 7597600 w 12243467"/>
              <a:gd name="connsiteY177" fmla="*/ 4349318 h 4565177"/>
              <a:gd name="connsiteX178" fmla="*/ 7482539 w 12243467"/>
              <a:gd name="connsiteY178" fmla="*/ 4397972 h 4565177"/>
              <a:gd name="connsiteX179" fmla="*/ 7499134 w 12243467"/>
              <a:gd name="connsiteY179" fmla="*/ 4371066 h 4565177"/>
              <a:gd name="connsiteX180" fmla="*/ 7514347 w 12243467"/>
              <a:gd name="connsiteY180" fmla="*/ 4365401 h 4565177"/>
              <a:gd name="connsiteX181" fmla="*/ 7509921 w 12243467"/>
              <a:gd name="connsiteY181" fmla="*/ 4373291 h 4565177"/>
              <a:gd name="connsiteX182" fmla="*/ 7537580 w 12243467"/>
              <a:gd name="connsiteY182" fmla="*/ 4367323 h 4565177"/>
              <a:gd name="connsiteX183" fmla="*/ 7555835 w 12243467"/>
              <a:gd name="connsiteY183" fmla="*/ 4344564 h 4565177"/>
              <a:gd name="connsiteX184" fmla="*/ 7561644 w 12243467"/>
              <a:gd name="connsiteY184" fmla="*/ 4352656 h 4565177"/>
              <a:gd name="connsiteX185" fmla="*/ 7571878 w 12243467"/>
              <a:gd name="connsiteY185" fmla="*/ 4341125 h 4565177"/>
              <a:gd name="connsiteX186" fmla="*/ 7579069 w 12243467"/>
              <a:gd name="connsiteY186" fmla="*/ 4346486 h 4565177"/>
              <a:gd name="connsiteX187" fmla="*/ 7580728 w 12243467"/>
              <a:gd name="connsiteY187" fmla="*/ 4332122 h 4565177"/>
              <a:gd name="connsiteX188" fmla="*/ 7545601 w 12243467"/>
              <a:gd name="connsiteY188" fmla="*/ 4331212 h 4565177"/>
              <a:gd name="connsiteX189" fmla="*/ 7558048 w 12243467"/>
              <a:gd name="connsiteY189" fmla="*/ 4332122 h 4565177"/>
              <a:gd name="connsiteX190" fmla="*/ 7559984 w 12243467"/>
              <a:gd name="connsiteY190" fmla="*/ 4335561 h 4565177"/>
              <a:gd name="connsiteX191" fmla="*/ 7556665 w 12243467"/>
              <a:gd name="connsiteY191" fmla="*/ 4334752 h 4565177"/>
              <a:gd name="connsiteX192" fmla="*/ 7481433 w 12243467"/>
              <a:gd name="connsiteY192" fmla="*/ 4370257 h 4565177"/>
              <a:gd name="connsiteX193" fmla="*/ 7516836 w 12243467"/>
              <a:gd name="connsiteY193" fmla="*/ 4341226 h 4565177"/>
              <a:gd name="connsiteX194" fmla="*/ 7545601 w 12243467"/>
              <a:gd name="connsiteY194" fmla="*/ 4331212 h 4565177"/>
              <a:gd name="connsiteX195" fmla="*/ 5984804 w 12243467"/>
              <a:gd name="connsiteY195" fmla="*/ 4329897 h 4565177"/>
              <a:gd name="connsiteX196" fmla="*/ 5985357 w 12243467"/>
              <a:gd name="connsiteY196" fmla="*/ 4338899 h 4565177"/>
              <a:gd name="connsiteX197" fmla="*/ 5964613 w 12243467"/>
              <a:gd name="connsiteY197" fmla="*/ 4336674 h 4565177"/>
              <a:gd name="connsiteX198" fmla="*/ 5984804 w 12243467"/>
              <a:gd name="connsiteY198" fmla="*/ 4329897 h 4565177"/>
              <a:gd name="connsiteX199" fmla="*/ 7567729 w 12243467"/>
              <a:gd name="connsiteY199" fmla="*/ 4325446 h 4565177"/>
              <a:gd name="connsiteX200" fmla="*/ 7570495 w 12243467"/>
              <a:gd name="connsiteY200" fmla="*/ 4332122 h 4565177"/>
              <a:gd name="connsiteX201" fmla="*/ 7560261 w 12243467"/>
              <a:gd name="connsiteY201" fmla="*/ 4331920 h 4565177"/>
              <a:gd name="connsiteX202" fmla="*/ 7564963 w 12243467"/>
              <a:gd name="connsiteY202" fmla="*/ 4330908 h 4565177"/>
              <a:gd name="connsiteX203" fmla="*/ 7561920 w 12243467"/>
              <a:gd name="connsiteY203" fmla="*/ 4329189 h 4565177"/>
              <a:gd name="connsiteX204" fmla="*/ 7567729 w 12243467"/>
              <a:gd name="connsiteY204" fmla="*/ 4325446 h 4565177"/>
              <a:gd name="connsiteX205" fmla="*/ 6015505 w 12243467"/>
              <a:gd name="connsiteY205" fmla="*/ 4324131 h 4565177"/>
              <a:gd name="connsiteX206" fmla="*/ 6022420 w 12243467"/>
              <a:gd name="connsiteY206" fmla="*/ 4324940 h 4565177"/>
              <a:gd name="connsiteX207" fmla="*/ 6024633 w 12243467"/>
              <a:gd name="connsiteY207" fmla="*/ 4327267 h 4565177"/>
              <a:gd name="connsiteX208" fmla="*/ 6018548 w 12243467"/>
              <a:gd name="connsiteY208" fmla="*/ 4333639 h 4565177"/>
              <a:gd name="connsiteX209" fmla="*/ 6015505 w 12243467"/>
              <a:gd name="connsiteY209" fmla="*/ 4324131 h 4565177"/>
              <a:gd name="connsiteX210" fmla="*/ 7590409 w 12243467"/>
              <a:gd name="connsiteY210" fmla="*/ 4311386 h 4565177"/>
              <a:gd name="connsiteX211" fmla="*/ 7577686 w 12243467"/>
              <a:gd name="connsiteY211" fmla="*/ 4325446 h 4565177"/>
              <a:gd name="connsiteX212" fmla="*/ 7590409 w 12243467"/>
              <a:gd name="connsiteY212" fmla="*/ 4311386 h 4565177"/>
              <a:gd name="connsiteX213" fmla="*/ 7273990 w 12243467"/>
              <a:gd name="connsiteY213" fmla="*/ 4310374 h 4565177"/>
              <a:gd name="connsiteX214" fmla="*/ 7247437 w 12243467"/>
              <a:gd name="connsiteY214" fmla="*/ 4318669 h 4565177"/>
              <a:gd name="connsiteX215" fmla="*/ 7273990 w 12243467"/>
              <a:gd name="connsiteY215" fmla="*/ 4310374 h 4565177"/>
              <a:gd name="connsiteX216" fmla="*/ 7305521 w 12243467"/>
              <a:gd name="connsiteY216" fmla="*/ 4296820 h 4565177"/>
              <a:gd name="connsiteX217" fmla="*/ 7311606 w 12243467"/>
              <a:gd name="connsiteY217" fmla="*/ 4300158 h 4565177"/>
              <a:gd name="connsiteX218" fmla="*/ 7298330 w 12243467"/>
              <a:gd name="connsiteY218" fmla="*/ 4303091 h 4565177"/>
              <a:gd name="connsiteX219" fmla="*/ 7305521 w 12243467"/>
              <a:gd name="connsiteY219" fmla="*/ 4296820 h 4565177"/>
              <a:gd name="connsiteX220" fmla="*/ 7331244 w 12243467"/>
              <a:gd name="connsiteY220" fmla="*/ 4286705 h 4565177"/>
              <a:gd name="connsiteX221" fmla="*/ 7333457 w 12243467"/>
              <a:gd name="connsiteY221" fmla="*/ 4287413 h 4565177"/>
              <a:gd name="connsiteX222" fmla="*/ 7338435 w 12243467"/>
              <a:gd name="connsiteY222" fmla="*/ 4291459 h 4565177"/>
              <a:gd name="connsiteX223" fmla="*/ 7320734 w 12243467"/>
              <a:gd name="connsiteY223" fmla="*/ 4297831 h 4565177"/>
              <a:gd name="connsiteX224" fmla="*/ 7332074 w 12243467"/>
              <a:gd name="connsiteY224" fmla="*/ 4288020 h 4565177"/>
              <a:gd name="connsiteX225" fmla="*/ 7331244 w 12243467"/>
              <a:gd name="connsiteY225" fmla="*/ 4286705 h 4565177"/>
              <a:gd name="connsiteX226" fmla="*/ 5867806 w 12243467"/>
              <a:gd name="connsiteY226" fmla="*/ 4280332 h 4565177"/>
              <a:gd name="connsiteX227" fmla="*/ 5884125 w 12243467"/>
              <a:gd name="connsiteY227" fmla="*/ 4282254 h 4565177"/>
              <a:gd name="connsiteX228" fmla="*/ 5851764 w 12243467"/>
              <a:gd name="connsiteY228" fmla="*/ 4285592 h 4565177"/>
              <a:gd name="connsiteX229" fmla="*/ 5867806 w 12243467"/>
              <a:gd name="connsiteY229" fmla="*/ 4280332 h 4565177"/>
              <a:gd name="connsiteX230" fmla="*/ 7457093 w 12243467"/>
              <a:gd name="connsiteY230" fmla="*/ 4276994 h 4565177"/>
              <a:gd name="connsiteX231" fmla="*/ 7452667 w 12243467"/>
              <a:gd name="connsiteY231" fmla="*/ 4284884 h 4565177"/>
              <a:gd name="connsiteX232" fmla="*/ 7464284 w 12243467"/>
              <a:gd name="connsiteY232" fmla="*/ 4289436 h 4565177"/>
              <a:gd name="connsiteX233" fmla="*/ 7434412 w 12243467"/>
              <a:gd name="connsiteY233" fmla="*/ 4300664 h 4565177"/>
              <a:gd name="connsiteX234" fmla="*/ 7441327 w 12243467"/>
              <a:gd name="connsiteY234" fmla="*/ 4287413 h 4565177"/>
              <a:gd name="connsiteX235" fmla="*/ 7443263 w 12243467"/>
              <a:gd name="connsiteY235" fmla="*/ 4291762 h 4565177"/>
              <a:gd name="connsiteX236" fmla="*/ 7446582 w 12243467"/>
              <a:gd name="connsiteY236" fmla="*/ 4281647 h 4565177"/>
              <a:gd name="connsiteX237" fmla="*/ 7457093 w 12243467"/>
              <a:gd name="connsiteY237" fmla="*/ 4276994 h 4565177"/>
              <a:gd name="connsiteX238" fmla="*/ 5921741 w 12243467"/>
              <a:gd name="connsiteY238" fmla="*/ 4276691 h 4565177"/>
              <a:gd name="connsiteX239" fmla="*/ 5925615 w 12243467"/>
              <a:gd name="connsiteY239" fmla="*/ 4277196 h 4565177"/>
              <a:gd name="connsiteX240" fmla="*/ 5932528 w 12243467"/>
              <a:gd name="connsiteY240" fmla="*/ 4278511 h 4565177"/>
              <a:gd name="connsiteX241" fmla="*/ 5933635 w 12243467"/>
              <a:gd name="connsiteY241" fmla="*/ 4285693 h 4565177"/>
              <a:gd name="connsiteX242" fmla="*/ 5923401 w 12243467"/>
              <a:gd name="connsiteY242" fmla="*/ 4289335 h 4565177"/>
              <a:gd name="connsiteX243" fmla="*/ 5918146 w 12243467"/>
              <a:gd name="connsiteY243" fmla="*/ 4279321 h 4565177"/>
              <a:gd name="connsiteX244" fmla="*/ 5921741 w 12243467"/>
              <a:gd name="connsiteY244" fmla="*/ 4276691 h 4565177"/>
              <a:gd name="connsiteX245" fmla="*/ 7399009 w 12243467"/>
              <a:gd name="connsiteY245" fmla="*/ 4266070 h 4565177"/>
              <a:gd name="connsiteX246" fmla="*/ 7401498 w 12243467"/>
              <a:gd name="connsiteY246" fmla="*/ 4268396 h 4565177"/>
              <a:gd name="connsiteX247" fmla="*/ 7363882 w 12243467"/>
              <a:gd name="connsiteY247" fmla="*/ 4281546 h 4565177"/>
              <a:gd name="connsiteX248" fmla="*/ 7353371 w 12243467"/>
              <a:gd name="connsiteY248" fmla="*/ 4286199 h 4565177"/>
              <a:gd name="connsiteX249" fmla="*/ 7358350 w 12243467"/>
              <a:gd name="connsiteY249" fmla="*/ 4280332 h 4565177"/>
              <a:gd name="connsiteX250" fmla="*/ 7395966 w 12243467"/>
              <a:gd name="connsiteY250" fmla="*/ 4267283 h 4565177"/>
              <a:gd name="connsiteX251" fmla="*/ 7399009 w 12243467"/>
              <a:gd name="connsiteY251" fmla="*/ 4266070 h 4565177"/>
              <a:gd name="connsiteX252" fmla="*/ 6006378 w 12243467"/>
              <a:gd name="connsiteY252" fmla="*/ 4265968 h 4565177"/>
              <a:gd name="connsiteX253" fmla="*/ 6019101 w 12243467"/>
              <a:gd name="connsiteY253" fmla="*/ 4266070 h 4565177"/>
              <a:gd name="connsiteX254" fmla="*/ 6035420 w 12243467"/>
              <a:gd name="connsiteY254" fmla="*/ 4274162 h 4565177"/>
              <a:gd name="connsiteX255" fmla="*/ 5976783 w 12243467"/>
              <a:gd name="connsiteY255" fmla="*/ 4276893 h 4565177"/>
              <a:gd name="connsiteX256" fmla="*/ 5980655 w 12243467"/>
              <a:gd name="connsiteY256" fmla="*/ 4281950 h 4565177"/>
              <a:gd name="connsiteX257" fmla="*/ 5966826 w 12243467"/>
              <a:gd name="connsiteY257" fmla="*/ 4278107 h 4565177"/>
              <a:gd name="connsiteX258" fmla="*/ 6006378 w 12243467"/>
              <a:gd name="connsiteY258" fmla="*/ 4265968 h 4565177"/>
              <a:gd name="connsiteX259" fmla="*/ 7506049 w 12243467"/>
              <a:gd name="connsiteY259" fmla="*/ 4261315 h 4565177"/>
              <a:gd name="connsiteX260" fmla="*/ 7511028 w 12243467"/>
              <a:gd name="connsiteY260" fmla="*/ 4262934 h 4565177"/>
              <a:gd name="connsiteX261" fmla="*/ 7485858 w 12243467"/>
              <a:gd name="connsiteY261" fmla="*/ 4280433 h 4565177"/>
              <a:gd name="connsiteX262" fmla="*/ 7464561 w 12243467"/>
              <a:gd name="connsiteY262" fmla="*/ 4282760 h 4565177"/>
              <a:gd name="connsiteX263" fmla="*/ 7491943 w 12243467"/>
              <a:gd name="connsiteY263" fmla="*/ 4264856 h 4565177"/>
              <a:gd name="connsiteX264" fmla="*/ 7499688 w 12243467"/>
              <a:gd name="connsiteY264" fmla="*/ 4261619 h 4565177"/>
              <a:gd name="connsiteX265" fmla="*/ 7506049 w 12243467"/>
              <a:gd name="connsiteY265" fmla="*/ 4261315 h 4565177"/>
              <a:gd name="connsiteX266" fmla="*/ 5749426 w 12243467"/>
              <a:gd name="connsiteY266" fmla="*/ 4259697 h 4565177"/>
              <a:gd name="connsiteX267" fmla="*/ 5759661 w 12243467"/>
              <a:gd name="connsiteY267" fmla="*/ 4260102 h 4565177"/>
              <a:gd name="connsiteX268" fmla="*/ 5777638 w 12243467"/>
              <a:gd name="connsiteY268" fmla="*/ 4261518 h 4565177"/>
              <a:gd name="connsiteX269" fmla="*/ 5741405 w 12243467"/>
              <a:gd name="connsiteY269" fmla="*/ 4262125 h 4565177"/>
              <a:gd name="connsiteX270" fmla="*/ 5749426 w 12243467"/>
              <a:gd name="connsiteY270" fmla="*/ 4259697 h 4565177"/>
              <a:gd name="connsiteX271" fmla="*/ 7884805 w 12243467"/>
              <a:gd name="connsiteY271" fmla="*/ 4255324 h 4565177"/>
              <a:gd name="connsiteX272" fmla="*/ 7898358 w 12243467"/>
              <a:gd name="connsiteY272" fmla="*/ 4263113 h 4565177"/>
              <a:gd name="connsiteX273" fmla="*/ 7871252 w 12243467"/>
              <a:gd name="connsiteY273" fmla="*/ 4264731 h 4565177"/>
              <a:gd name="connsiteX274" fmla="*/ 7884805 w 12243467"/>
              <a:gd name="connsiteY274" fmla="*/ 4255324 h 4565177"/>
              <a:gd name="connsiteX275" fmla="*/ 5918699 w 12243467"/>
              <a:gd name="connsiteY275" fmla="*/ 4254235 h 4565177"/>
              <a:gd name="connsiteX276" fmla="*/ 5892976 w 12243467"/>
              <a:gd name="connsiteY276" fmla="*/ 4262934 h 4565177"/>
              <a:gd name="connsiteX277" fmla="*/ 5896295 w 12243467"/>
              <a:gd name="connsiteY277" fmla="*/ 4270217 h 4565177"/>
              <a:gd name="connsiteX278" fmla="*/ 5876381 w 12243467"/>
              <a:gd name="connsiteY278" fmla="*/ 4272644 h 4565177"/>
              <a:gd name="connsiteX279" fmla="*/ 5855360 w 12243467"/>
              <a:gd name="connsiteY279" fmla="*/ 4270318 h 4565177"/>
              <a:gd name="connsiteX280" fmla="*/ 5821893 w 12243467"/>
              <a:gd name="connsiteY280" fmla="*/ 4269003 h 4565177"/>
              <a:gd name="connsiteX281" fmla="*/ 5813318 w 12243467"/>
              <a:gd name="connsiteY281" fmla="*/ 4263440 h 4565177"/>
              <a:gd name="connsiteX282" fmla="*/ 5918699 w 12243467"/>
              <a:gd name="connsiteY282" fmla="*/ 4254235 h 4565177"/>
              <a:gd name="connsiteX283" fmla="*/ 7536751 w 12243467"/>
              <a:gd name="connsiteY283" fmla="*/ 4253425 h 4565177"/>
              <a:gd name="connsiteX284" fmla="*/ 7535091 w 12243467"/>
              <a:gd name="connsiteY284" fmla="*/ 4257168 h 4565177"/>
              <a:gd name="connsiteX285" fmla="*/ 7532325 w 12243467"/>
              <a:gd name="connsiteY285" fmla="*/ 4260405 h 4565177"/>
              <a:gd name="connsiteX286" fmla="*/ 7434136 w 12243467"/>
              <a:gd name="connsiteY286" fmla="*/ 4252515 h 4565177"/>
              <a:gd name="connsiteX287" fmla="*/ 7443263 w 12243467"/>
              <a:gd name="connsiteY287" fmla="*/ 4254538 h 4565177"/>
              <a:gd name="connsiteX288" fmla="*/ 7417264 w 12243467"/>
              <a:gd name="connsiteY288" fmla="*/ 4264856 h 4565177"/>
              <a:gd name="connsiteX289" fmla="*/ 7426115 w 12243467"/>
              <a:gd name="connsiteY289" fmla="*/ 4274465 h 4565177"/>
              <a:gd name="connsiteX290" fmla="*/ 7425561 w 12243467"/>
              <a:gd name="connsiteY290" fmla="*/ 4253729 h 4565177"/>
              <a:gd name="connsiteX291" fmla="*/ 7434136 w 12243467"/>
              <a:gd name="connsiteY291" fmla="*/ 4252515 h 4565177"/>
              <a:gd name="connsiteX292" fmla="*/ 6280479 w 12243467"/>
              <a:gd name="connsiteY292" fmla="*/ 4248772 h 4565177"/>
              <a:gd name="connsiteX293" fmla="*/ 6263883 w 12243467"/>
              <a:gd name="connsiteY293" fmla="*/ 4260911 h 4565177"/>
              <a:gd name="connsiteX294" fmla="*/ 6280479 w 12243467"/>
              <a:gd name="connsiteY294" fmla="*/ 4248772 h 4565177"/>
              <a:gd name="connsiteX295" fmla="*/ 6003612 w 12243467"/>
              <a:gd name="connsiteY295" fmla="*/ 4247862 h 4565177"/>
              <a:gd name="connsiteX296" fmla="*/ 5934741 w 12243467"/>
              <a:gd name="connsiteY296" fmla="*/ 4258382 h 4565177"/>
              <a:gd name="connsiteX297" fmla="*/ 6003612 w 12243467"/>
              <a:gd name="connsiteY297" fmla="*/ 4247862 h 4565177"/>
              <a:gd name="connsiteX298" fmla="*/ 7484198 w 12243467"/>
              <a:gd name="connsiteY298" fmla="*/ 4245333 h 4565177"/>
              <a:gd name="connsiteX299" fmla="*/ 7477007 w 12243467"/>
              <a:gd name="connsiteY299" fmla="*/ 4253830 h 4565177"/>
              <a:gd name="connsiteX300" fmla="*/ 7470646 w 12243467"/>
              <a:gd name="connsiteY300" fmla="*/ 4250492 h 4565177"/>
              <a:gd name="connsiteX301" fmla="*/ 7484198 w 12243467"/>
              <a:gd name="connsiteY301" fmla="*/ 4245333 h 4565177"/>
              <a:gd name="connsiteX302" fmla="*/ 7450731 w 12243467"/>
              <a:gd name="connsiteY302" fmla="*/ 4243411 h 4565177"/>
              <a:gd name="connsiteX303" fmla="*/ 7453774 w 12243467"/>
              <a:gd name="connsiteY303" fmla="*/ 4248368 h 4565177"/>
              <a:gd name="connsiteX304" fmla="*/ 7454050 w 12243467"/>
              <a:gd name="connsiteY304" fmla="*/ 4252111 h 4565177"/>
              <a:gd name="connsiteX305" fmla="*/ 7444646 w 12243467"/>
              <a:gd name="connsiteY305" fmla="*/ 4247154 h 4565177"/>
              <a:gd name="connsiteX306" fmla="*/ 7450731 w 12243467"/>
              <a:gd name="connsiteY306" fmla="*/ 4243411 h 4565177"/>
              <a:gd name="connsiteX307" fmla="*/ 7584428 w 12243467"/>
              <a:gd name="connsiteY307" fmla="*/ 4242073 h 4565177"/>
              <a:gd name="connsiteX308" fmla="*/ 7597981 w 12243467"/>
              <a:gd name="connsiteY308" fmla="*/ 4247738 h 4565177"/>
              <a:gd name="connsiteX309" fmla="*/ 7567280 w 12243467"/>
              <a:gd name="connsiteY309" fmla="*/ 4242376 h 4565177"/>
              <a:gd name="connsiteX310" fmla="*/ 7584428 w 12243467"/>
              <a:gd name="connsiteY310" fmla="*/ 4242073 h 4565177"/>
              <a:gd name="connsiteX311" fmla="*/ 7468433 w 12243467"/>
              <a:gd name="connsiteY311" fmla="*/ 4233498 h 4565177"/>
              <a:gd name="connsiteX312" fmla="*/ 7473965 w 12243467"/>
              <a:gd name="connsiteY312" fmla="*/ 4238455 h 4565177"/>
              <a:gd name="connsiteX313" fmla="*/ 7470369 w 12243467"/>
              <a:gd name="connsiteY313" fmla="*/ 4241692 h 4565177"/>
              <a:gd name="connsiteX314" fmla="*/ 7468433 w 12243467"/>
              <a:gd name="connsiteY314" fmla="*/ 4233498 h 4565177"/>
              <a:gd name="connsiteX315" fmla="*/ 8036653 w 12243467"/>
              <a:gd name="connsiteY315" fmla="*/ 4232666 h 4565177"/>
              <a:gd name="connsiteX316" fmla="*/ 8046057 w 12243467"/>
              <a:gd name="connsiteY316" fmla="*/ 4245006 h 4565177"/>
              <a:gd name="connsiteX317" fmla="*/ 8041908 w 12243467"/>
              <a:gd name="connsiteY317" fmla="*/ 4253503 h 4565177"/>
              <a:gd name="connsiteX318" fmla="*/ 7909975 w 12243467"/>
              <a:gd name="connsiteY318" fmla="*/ 4261494 h 4565177"/>
              <a:gd name="connsiteX319" fmla="*/ 7940399 w 12243467"/>
              <a:gd name="connsiteY319" fmla="*/ 4242376 h 4565177"/>
              <a:gd name="connsiteX320" fmla="*/ 7957548 w 12243467"/>
              <a:gd name="connsiteY320" fmla="*/ 4241972 h 4565177"/>
              <a:gd name="connsiteX321" fmla="*/ 7948974 w 12243467"/>
              <a:gd name="connsiteY321" fmla="*/ 4247738 h 4565177"/>
              <a:gd name="connsiteX322" fmla="*/ 7977463 w 12243467"/>
              <a:gd name="connsiteY322" fmla="*/ 4250873 h 4565177"/>
              <a:gd name="connsiteX323" fmla="*/ 8006781 w 12243467"/>
              <a:gd name="connsiteY323" fmla="*/ 4236105 h 4565177"/>
              <a:gd name="connsiteX324" fmla="*/ 8007611 w 12243467"/>
              <a:gd name="connsiteY324" fmla="*/ 4245209 h 4565177"/>
              <a:gd name="connsiteX325" fmla="*/ 8023376 w 12243467"/>
              <a:gd name="connsiteY325" fmla="*/ 4237926 h 4565177"/>
              <a:gd name="connsiteX326" fmla="*/ 8026972 w 12243467"/>
              <a:gd name="connsiteY326" fmla="*/ 4245108 h 4565177"/>
              <a:gd name="connsiteX327" fmla="*/ 8036653 w 12243467"/>
              <a:gd name="connsiteY327" fmla="*/ 4232666 h 4565177"/>
              <a:gd name="connsiteX328" fmla="*/ 7392924 w 12243467"/>
              <a:gd name="connsiteY328" fmla="*/ 4225609 h 4565177"/>
              <a:gd name="connsiteX329" fmla="*/ 7404264 w 12243467"/>
              <a:gd name="connsiteY329" fmla="*/ 4232285 h 4565177"/>
              <a:gd name="connsiteX330" fmla="*/ 7405924 w 12243467"/>
              <a:gd name="connsiteY330" fmla="*/ 4233701 h 4565177"/>
              <a:gd name="connsiteX331" fmla="*/ 7400668 w 12243467"/>
              <a:gd name="connsiteY331" fmla="*/ 4242400 h 4565177"/>
              <a:gd name="connsiteX332" fmla="*/ 7365541 w 12243467"/>
              <a:gd name="connsiteY332" fmla="*/ 4254842 h 4565177"/>
              <a:gd name="connsiteX333" fmla="*/ 7361392 w 12243467"/>
              <a:gd name="connsiteY333" fmla="*/ 4244018 h 4565177"/>
              <a:gd name="connsiteX334" fmla="*/ 7391541 w 12243467"/>
              <a:gd name="connsiteY334" fmla="*/ 4225710 h 4565177"/>
              <a:gd name="connsiteX335" fmla="*/ 7392924 w 12243467"/>
              <a:gd name="connsiteY335" fmla="*/ 4225609 h 4565177"/>
              <a:gd name="connsiteX336" fmla="*/ 8021994 w 12243467"/>
              <a:gd name="connsiteY336" fmla="*/ 4222146 h 4565177"/>
              <a:gd name="connsiteX337" fmla="*/ 8023376 w 12243467"/>
              <a:gd name="connsiteY337" fmla="*/ 4222247 h 4565177"/>
              <a:gd name="connsiteX338" fmla="*/ 8028632 w 12243467"/>
              <a:gd name="connsiteY338" fmla="*/ 4222551 h 4565177"/>
              <a:gd name="connsiteX339" fmla="*/ 8027249 w 12243467"/>
              <a:gd name="connsiteY339" fmla="*/ 4229429 h 4565177"/>
              <a:gd name="connsiteX340" fmla="*/ 8018398 w 12243467"/>
              <a:gd name="connsiteY340" fmla="*/ 4226091 h 4565177"/>
              <a:gd name="connsiteX341" fmla="*/ 8023100 w 12243467"/>
              <a:gd name="connsiteY341" fmla="*/ 4226597 h 4565177"/>
              <a:gd name="connsiteX342" fmla="*/ 8021164 w 12243467"/>
              <a:gd name="connsiteY342" fmla="*/ 4224068 h 4565177"/>
              <a:gd name="connsiteX343" fmla="*/ 8021994 w 12243467"/>
              <a:gd name="connsiteY343" fmla="*/ 4222146 h 4565177"/>
              <a:gd name="connsiteX344" fmla="*/ 7995164 w 12243467"/>
              <a:gd name="connsiteY344" fmla="*/ 4220629 h 4565177"/>
              <a:gd name="connsiteX345" fmla="*/ 8015909 w 12243467"/>
              <a:gd name="connsiteY345" fmla="*/ 4225484 h 4565177"/>
              <a:gd name="connsiteX346" fmla="*/ 8015909 w 12243467"/>
              <a:gd name="connsiteY346" fmla="*/ 4229125 h 4565177"/>
              <a:gd name="connsiteX347" fmla="*/ 8013143 w 12243467"/>
              <a:gd name="connsiteY347" fmla="*/ 4227507 h 4565177"/>
              <a:gd name="connsiteX348" fmla="*/ 7924910 w 12243467"/>
              <a:gd name="connsiteY348" fmla="*/ 4235903 h 4565177"/>
              <a:gd name="connsiteX349" fmla="*/ 7973590 w 12243467"/>
              <a:gd name="connsiteY349" fmla="*/ 4220730 h 4565177"/>
              <a:gd name="connsiteX350" fmla="*/ 7995164 w 12243467"/>
              <a:gd name="connsiteY350" fmla="*/ 4220629 h 4565177"/>
              <a:gd name="connsiteX351" fmla="*/ 8057120 w 12243467"/>
              <a:gd name="connsiteY351" fmla="*/ 4216785 h 4565177"/>
              <a:gd name="connsiteX352" fmla="*/ 8037759 w 12243467"/>
              <a:gd name="connsiteY352" fmla="*/ 4225585 h 4565177"/>
              <a:gd name="connsiteX353" fmla="*/ 8057120 w 12243467"/>
              <a:gd name="connsiteY353" fmla="*/ 4216785 h 4565177"/>
              <a:gd name="connsiteX354" fmla="*/ 7384903 w 12243467"/>
              <a:gd name="connsiteY354" fmla="*/ 4201838 h 4565177"/>
              <a:gd name="connsiteX355" fmla="*/ 7381860 w 12243467"/>
              <a:gd name="connsiteY355" fmla="*/ 4206997 h 4565177"/>
              <a:gd name="connsiteX356" fmla="*/ 7389051 w 12243467"/>
              <a:gd name="connsiteY356" fmla="*/ 4212054 h 4565177"/>
              <a:gd name="connsiteX357" fmla="*/ 7380201 w 12243467"/>
              <a:gd name="connsiteY357" fmla="*/ 4209525 h 4565177"/>
              <a:gd name="connsiteX358" fmla="*/ 7374669 w 12243467"/>
              <a:gd name="connsiteY358" fmla="*/ 4215190 h 4565177"/>
              <a:gd name="connsiteX359" fmla="*/ 7384903 w 12243467"/>
              <a:gd name="connsiteY359" fmla="*/ 4201838 h 4565177"/>
              <a:gd name="connsiteX360" fmla="*/ 7433583 w 12243467"/>
              <a:gd name="connsiteY360" fmla="*/ 4200523 h 4565177"/>
              <a:gd name="connsiteX361" fmla="*/ 7447689 w 12243467"/>
              <a:gd name="connsiteY361" fmla="*/ 4211346 h 4565177"/>
              <a:gd name="connsiteX362" fmla="*/ 7433859 w 12243467"/>
              <a:gd name="connsiteY362" fmla="*/ 4226114 h 4565177"/>
              <a:gd name="connsiteX363" fmla="*/ 7444093 w 12243467"/>
              <a:gd name="connsiteY363" fmla="*/ 4233195 h 4565177"/>
              <a:gd name="connsiteX364" fmla="*/ 7417817 w 12243467"/>
              <a:gd name="connsiteY364" fmla="*/ 4241388 h 4565177"/>
              <a:gd name="connsiteX365" fmla="*/ 7417540 w 12243467"/>
              <a:gd name="connsiteY365" fmla="*/ 4234409 h 4565177"/>
              <a:gd name="connsiteX366" fmla="*/ 7430263 w 12243467"/>
              <a:gd name="connsiteY366" fmla="*/ 4229250 h 4565177"/>
              <a:gd name="connsiteX367" fmla="*/ 7415881 w 12243467"/>
              <a:gd name="connsiteY367" fmla="*/ 4230160 h 4565177"/>
              <a:gd name="connsiteX368" fmla="*/ 7421413 w 12243467"/>
              <a:gd name="connsiteY368" fmla="*/ 4219539 h 4565177"/>
              <a:gd name="connsiteX369" fmla="*/ 7433583 w 12243467"/>
              <a:gd name="connsiteY369" fmla="*/ 4200523 h 4565177"/>
              <a:gd name="connsiteX370" fmla="*/ 7456263 w 12243467"/>
              <a:gd name="connsiteY370" fmla="*/ 4195566 h 4565177"/>
              <a:gd name="connsiteX371" fmla="*/ 7465944 w 12243467"/>
              <a:gd name="connsiteY371" fmla="*/ 4206997 h 4565177"/>
              <a:gd name="connsiteX372" fmla="*/ 7451008 w 12243467"/>
              <a:gd name="connsiteY372" fmla="*/ 4201130 h 4565177"/>
              <a:gd name="connsiteX373" fmla="*/ 7456263 w 12243467"/>
              <a:gd name="connsiteY373" fmla="*/ 4195566 h 4565177"/>
              <a:gd name="connsiteX374" fmla="*/ 6446709 w 12243467"/>
              <a:gd name="connsiteY374" fmla="*/ 4189699 h 4565177"/>
              <a:gd name="connsiteX375" fmla="*/ 6446433 w 12243467"/>
              <a:gd name="connsiteY375" fmla="*/ 4195465 h 4565177"/>
              <a:gd name="connsiteX376" fmla="*/ 6444220 w 12243467"/>
              <a:gd name="connsiteY376" fmla="*/ 4201029 h 4565177"/>
              <a:gd name="connsiteX377" fmla="*/ 6434263 w 12243467"/>
              <a:gd name="connsiteY377" fmla="*/ 4193038 h 4565177"/>
              <a:gd name="connsiteX378" fmla="*/ 6446709 w 12243467"/>
              <a:gd name="connsiteY378" fmla="*/ 4189699 h 4565177"/>
              <a:gd name="connsiteX379" fmla="*/ 7486688 w 12243467"/>
              <a:gd name="connsiteY379" fmla="*/ 4183731 h 4565177"/>
              <a:gd name="connsiteX380" fmla="*/ 7494986 w 12243467"/>
              <a:gd name="connsiteY380" fmla="*/ 4185957 h 4565177"/>
              <a:gd name="connsiteX381" fmla="*/ 7497751 w 12243467"/>
              <a:gd name="connsiteY381" fmla="*/ 4192835 h 4565177"/>
              <a:gd name="connsiteX382" fmla="*/ 7487241 w 12243467"/>
              <a:gd name="connsiteY382" fmla="*/ 4197387 h 4565177"/>
              <a:gd name="connsiteX383" fmla="*/ 7478114 w 12243467"/>
              <a:gd name="connsiteY383" fmla="*/ 4199410 h 4565177"/>
              <a:gd name="connsiteX384" fmla="*/ 7465667 w 12243467"/>
              <a:gd name="connsiteY384" fmla="*/ 4192936 h 4565177"/>
              <a:gd name="connsiteX385" fmla="*/ 7486688 w 12243467"/>
              <a:gd name="connsiteY385" fmla="*/ 4183731 h 4565177"/>
              <a:gd name="connsiteX386" fmla="*/ 7547814 w 12243467"/>
              <a:gd name="connsiteY386" fmla="*/ 4182113 h 4565177"/>
              <a:gd name="connsiteX387" fmla="*/ 7535091 w 12243467"/>
              <a:gd name="connsiteY387" fmla="*/ 4194251 h 4565177"/>
              <a:gd name="connsiteX388" fmla="*/ 7547814 w 12243467"/>
              <a:gd name="connsiteY388" fmla="*/ 4182113 h 4565177"/>
              <a:gd name="connsiteX389" fmla="*/ 9201097 w 12243467"/>
              <a:gd name="connsiteY389" fmla="*/ 4182090 h 4565177"/>
              <a:gd name="connsiteX390" fmla="*/ 9216586 w 12243467"/>
              <a:gd name="connsiteY390" fmla="*/ 4183202 h 4565177"/>
              <a:gd name="connsiteX391" fmla="*/ 9185884 w 12243467"/>
              <a:gd name="connsiteY391" fmla="*/ 4187754 h 4565177"/>
              <a:gd name="connsiteX392" fmla="*/ 9201097 w 12243467"/>
              <a:gd name="connsiteY392" fmla="*/ 4182090 h 4565177"/>
              <a:gd name="connsiteX393" fmla="*/ 7448242 w 12243467"/>
              <a:gd name="connsiteY393" fmla="*/ 4180899 h 4565177"/>
              <a:gd name="connsiteX394" fmla="*/ 7441880 w 12243467"/>
              <a:gd name="connsiteY394" fmla="*/ 4196072 h 4565177"/>
              <a:gd name="connsiteX395" fmla="*/ 7397349 w 12243467"/>
              <a:gd name="connsiteY395" fmla="*/ 4203557 h 4565177"/>
              <a:gd name="connsiteX396" fmla="*/ 7448242 w 12243467"/>
              <a:gd name="connsiteY396" fmla="*/ 4180899 h 4565177"/>
              <a:gd name="connsiteX397" fmla="*/ 6472156 w 12243467"/>
              <a:gd name="connsiteY397" fmla="*/ 4179281 h 4565177"/>
              <a:gd name="connsiteX398" fmla="*/ 6484602 w 12243467"/>
              <a:gd name="connsiteY398" fmla="*/ 4182720 h 4565177"/>
              <a:gd name="connsiteX399" fmla="*/ 6465517 w 12243467"/>
              <a:gd name="connsiteY399" fmla="*/ 4191723 h 4565177"/>
              <a:gd name="connsiteX400" fmla="*/ 6459709 w 12243467"/>
              <a:gd name="connsiteY400" fmla="*/ 4184338 h 4565177"/>
              <a:gd name="connsiteX401" fmla="*/ 6472156 w 12243467"/>
              <a:gd name="connsiteY401" fmla="*/ 4179281 h 4565177"/>
              <a:gd name="connsiteX402" fmla="*/ 6147715 w 12243467"/>
              <a:gd name="connsiteY402" fmla="*/ 4165726 h 4565177"/>
              <a:gd name="connsiteX403" fmla="*/ 6149928 w 12243467"/>
              <a:gd name="connsiteY403" fmla="*/ 4166738 h 4565177"/>
              <a:gd name="connsiteX404" fmla="*/ 6157396 w 12243467"/>
              <a:gd name="connsiteY404" fmla="*/ 4169267 h 4565177"/>
              <a:gd name="connsiteX405" fmla="*/ 6151311 w 12243467"/>
              <a:gd name="connsiteY405" fmla="*/ 4175235 h 4565177"/>
              <a:gd name="connsiteX406" fmla="*/ 6145503 w 12243467"/>
              <a:gd name="connsiteY406" fmla="*/ 4167952 h 4565177"/>
              <a:gd name="connsiteX407" fmla="*/ 6147715 w 12243467"/>
              <a:gd name="connsiteY407" fmla="*/ 4165726 h 4565177"/>
              <a:gd name="connsiteX408" fmla="*/ 3325868 w 12243467"/>
              <a:gd name="connsiteY408" fmla="*/ 4163884 h 4565177"/>
              <a:gd name="connsiteX409" fmla="*/ 3339421 w 12243467"/>
              <a:gd name="connsiteY409" fmla="*/ 4171673 h 4565177"/>
              <a:gd name="connsiteX410" fmla="*/ 3312315 w 12243467"/>
              <a:gd name="connsiteY410" fmla="*/ 4173291 h 4565177"/>
              <a:gd name="connsiteX411" fmla="*/ 3325868 w 12243467"/>
              <a:gd name="connsiteY411" fmla="*/ 4163884 h 4565177"/>
              <a:gd name="connsiteX412" fmla="*/ 7213693 w 12243467"/>
              <a:gd name="connsiteY412" fmla="*/ 4159556 h 4565177"/>
              <a:gd name="connsiteX413" fmla="*/ 7181332 w 12243467"/>
              <a:gd name="connsiteY413" fmla="*/ 4171492 h 4565177"/>
              <a:gd name="connsiteX414" fmla="*/ 7213693 w 12243467"/>
              <a:gd name="connsiteY414" fmla="*/ 4159556 h 4565177"/>
              <a:gd name="connsiteX415" fmla="*/ 5561345 w 12243467"/>
              <a:gd name="connsiteY415" fmla="*/ 4157331 h 4565177"/>
              <a:gd name="connsiteX416" fmla="*/ 5565217 w 12243467"/>
              <a:gd name="connsiteY416" fmla="*/ 4159758 h 4565177"/>
              <a:gd name="connsiteX417" fmla="*/ 5551664 w 12243467"/>
              <a:gd name="connsiteY417" fmla="*/ 4159151 h 4565177"/>
              <a:gd name="connsiteX418" fmla="*/ 5561345 w 12243467"/>
              <a:gd name="connsiteY418" fmla="*/ 4157331 h 4565177"/>
              <a:gd name="connsiteX419" fmla="*/ 7440497 w 12243467"/>
              <a:gd name="connsiteY419" fmla="*/ 4156521 h 4565177"/>
              <a:gd name="connsiteX420" fmla="*/ 7446306 w 12243467"/>
              <a:gd name="connsiteY420" fmla="*/ 4164513 h 4565177"/>
              <a:gd name="connsiteX421" fmla="*/ 7426115 w 12243467"/>
              <a:gd name="connsiteY421" fmla="*/ 4169064 h 4565177"/>
              <a:gd name="connsiteX422" fmla="*/ 7440497 w 12243467"/>
              <a:gd name="connsiteY422" fmla="*/ 4156521 h 4565177"/>
              <a:gd name="connsiteX423" fmla="*/ 3161850 w 12243467"/>
              <a:gd name="connsiteY423" fmla="*/ 4154072 h 4565177"/>
              <a:gd name="connsiteX424" fmla="*/ 3150786 w 12243467"/>
              <a:gd name="connsiteY424" fmla="*/ 4159737 h 4565177"/>
              <a:gd name="connsiteX425" fmla="*/ 3161850 w 12243467"/>
              <a:gd name="connsiteY425" fmla="*/ 4154072 h 4565177"/>
              <a:gd name="connsiteX426" fmla="*/ 3215232 w 12243467"/>
              <a:gd name="connsiteY426" fmla="*/ 4153465 h 4565177"/>
              <a:gd name="connsiteX427" fmla="*/ 3221593 w 12243467"/>
              <a:gd name="connsiteY427" fmla="*/ 4158624 h 4565177"/>
              <a:gd name="connsiteX428" fmla="*/ 3196147 w 12243467"/>
              <a:gd name="connsiteY428" fmla="*/ 4153668 h 4565177"/>
              <a:gd name="connsiteX429" fmla="*/ 3215232 w 12243467"/>
              <a:gd name="connsiteY429" fmla="*/ 4153465 h 4565177"/>
              <a:gd name="connsiteX430" fmla="*/ 3261976 w 12243467"/>
              <a:gd name="connsiteY430" fmla="*/ 4152049 h 4565177"/>
              <a:gd name="connsiteX431" fmla="*/ 3268337 w 12243467"/>
              <a:gd name="connsiteY431" fmla="*/ 4154477 h 4565177"/>
              <a:gd name="connsiteX432" fmla="*/ 3265295 w 12243467"/>
              <a:gd name="connsiteY432" fmla="*/ 4156500 h 4565177"/>
              <a:gd name="connsiteX433" fmla="*/ 3266954 w 12243467"/>
              <a:gd name="connsiteY433" fmla="*/ 4172583 h 4565177"/>
              <a:gd name="connsiteX434" fmla="*/ 3170701 w 12243467"/>
              <a:gd name="connsiteY434" fmla="*/ 4170965 h 4565177"/>
              <a:gd name="connsiteX435" fmla="*/ 3249529 w 12243467"/>
              <a:gd name="connsiteY435" fmla="*/ 4163783 h 4565177"/>
              <a:gd name="connsiteX436" fmla="*/ 3261976 w 12243467"/>
              <a:gd name="connsiteY436" fmla="*/ 4152049 h 4565177"/>
              <a:gd name="connsiteX437" fmla="*/ 3025491 w 12243467"/>
              <a:gd name="connsiteY437" fmla="*/ 4150633 h 4565177"/>
              <a:gd name="connsiteX438" fmla="*/ 3039044 w 12243467"/>
              <a:gd name="connsiteY438" fmla="*/ 4156298 h 4565177"/>
              <a:gd name="connsiteX439" fmla="*/ 3008343 w 12243467"/>
              <a:gd name="connsiteY439" fmla="*/ 4150936 h 4565177"/>
              <a:gd name="connsiteX440" fmla="*/ 3025491 w 12243467"/>
              <a:gd name="connsiteY440" fmla="*/ 4150633 h 4565177"/>
              <a:gd name="connsiteX441" fmla="*/ 7322117 w 12243467"/>
              <a:gd name="connsiteY441" fmla="*/ 4144889 h 4565177"/>
              <a:gd name="connsiteX442" fmla="*/ 7294734 w 12243467"/>
              <a:gd name="connsiteY442" fmla="*/ 4158140 h 4565177"/>
              <a:gd name="connsiteX443" fmla="*/ 7322117 w 12243467"/>
              <a:gd name="connsiteY443" fmla="*/ 4144889 h 4565177"/>
              <a:gd name="connsiteX444" fmla="*/ 7950080 w 12243467"/>
              <a:gd name="connsiteY444" fmla="*/ 4143449 h 4565177"/>
              <a:gd name="connsiteX445" fmla="*/ 7955889 w 12243467"/>
              <a:gd name="connsiteY445" fmla="*/ 4143854 h 4565177"/>
              <a:gd name="connsiteX446" fmla="*/ 7947591 w 12243467"/>
              <a:gd name="connsiteY446" fmla="*/ 4149620 h 4565177"/>
              <a:gd name="connsiteX447" fmla="*/ 7955612 w 12243467"/>
              <a:gd name="connsiteY447" fmla="*/ 4157307 h 4565177"/>
              <a:gd name="connsiteX448" fmla="*/ 7921868 w 12243467"/>
              <a:gd name="connsiteY448" fmla="*/ 4158218 h 4565177"/>
              <a:gd name="connsiteX449" fmla="*/ 7935697 w 12243467"/>
              <a:gd name="connsiteY449" fmla="*/ 4148406 h 4565177"/>
              <a:gd name="connsiteX450" fmla="*/ 7934868 w 12243467"/>
              <a:gd name="connsiteY450" fmla="*/ 4152857 h 4565177"/>
              <a:gd name="connsiteX451" fmla="*/ 7943719 w 12243467"/>
              <a:gd name="connsiteY451" fmla="*/ 4144663 h 4565177"/>
              <a:gd name="connsiteX452" fmla="*/ 7950080 w 12243467"/>
              <a:gd name="connsiteY452" fmla="*/ 4143449 h 4565177"/>
              <a:gd name="connsiteX453" fmla="*/ 7997377 w 12243467"/>
              <a:gd name="connsiteY453" fmla="*/ 4142843 h 4565177"/>
              <a:gd name="connsiteX454" fmla="*/ 8003185 w 12243467"/>
              <a:gd name="connsiteY454" fmla="*/ 4143348 h 4565177"/>
              <a:gd name="connsiteX455" fmla="*/ 8012866 w 12243467"/>
              <a:gd name="connsiteY455" fmla="*/ 4148102 h 4565177"/>
              <a:gd name="connsiteX456" fmla="*/ 7979952 w 12243467"/>
              <a:gd name="connsiteY456" fmla="*/ 4156094 h 4565177"/>
              <a:gd name="connsiteX457" fmla="*/ 7959208 w 12243467"/>
              <a:gd name="connsiteY457" fmla="*/ 4151440 h 4565177"/>
              <a:gd name="connsiteX458" fmla="*/ 7994611 w 12243467"/>
              <a:gd name="connsiteY458" fmla="*/ 4143753 h 4565177"/>
              <a:gd name="connsiteX459" fmla="*/ 7997377 w 12243467"/>
              <a:gd name="connsiteY459" fmla="*/ 4142843 h 4565177"/>
              <a:gd name="connsiteX460" fmla="*/ 9326669 w 12243467"/>
              <a:gd name="connsiteY460" fmla="*/ 4142539 h 4565177"/>
              <a:gd name="connsiteX461" fmla="*/ 9319754 w 12243467"/>
              <a:gd name="connsiteY461" fmla="*/ 4151036 h 4565177"/>
              <a:gd name="connsiteX462" fmla="*/ 9326669 w 12243467"/>
              <a:gd name="connsiteY462" fmla="*/ 4142539 h 4565177"/>
              <a:gd name="connsiteX463" fmla="*/ 3477716 w 12243467"/>
              <a:gd name="connsiteY463" fmla="*/ 4141226 h 4565177"/>
              <a:gd name="connsiteX464" fmla="*/ 3487120 w 12243467"/>
              <a:gd name="connsiteY464" fmla="*/ 4153566 h 4565177"/>
              <a:gd name="connsiteX465" fmla="*/ 3482971 w 12243467"/>
              <a:gd name="connsiteY465" fmla="*/ 4162063 h 4565177"/>
              <a:gd name="connsiteX466" fmla="*/ 3351038 w 12243467"/>
              <a:gd name="connsiteY466" fmla="*/ 4170054 h 4565177"/>
              <a:gd name="connsiteX467" fmla="*/ 3381462 w 12243467"/>
              <a:gd name="connsiteY467" fmla="*/ 4150936 h 4565177"/>
              <a:gd name="connsiteX468" fmla="*/ 3398611 w 12243467"/>
              <a:gd name="connsiteY468" fmla="*/ 4150532 h 4565177"/>
              <a:gd name="connsiteX469" fmla="*/ 3390037 w 12243467"/>
              <a:gd name="connsiteY469" fmla="*/ 4156298 h 4565177"/>
              <a:gd name="connsiteX470" fmla="*/ 3418526 w 12243467"/>
              <a:gd name="connsiteY470" fmla="*/ 4159433 h 4565177"/>
              <a:gd name="connsiteX471" fmla="*/ 3447844 w 12243467"/>
              <a:gd name="connsiteY471" fmla="*/ 4144665 h 4565177"/>
              <a:gd name="connsiteX472" fmla="*/ 3448674 w 12243467"/>
              <a:gd name="connsiteY472" fmla="*/ 4153769 h 4565177"/>
              <a:gd name="connsiteX473" fmla="*/ 3464439 w 12243467"/>
              <a:gd name="connsiteY473" fmla="*/ 4146486 h 4565177"/>
              <a:gd name="connsiteX474" fmla="*/ 3468035 w 12243467"/>
              <a:gd name="connsiteY474" fmla="*/ 4153668 h 4565177"/>
              <a:gd name="connsiteX475" fmla="*/ 3477716 w 12243467"/>
              <a:gd name="connsiteY475" fmla="*/ 4141226 h 4565177"/>
              <a:gd name="connsiteX476" fmla="*/ 7471752 w 12243467"/>
              <a:gd name="connsiteY476" fmla="*/ 4140135 h 4565177"/>
              <a:gd name="connsiteX477" fmla="*/ 7475071 w 12243467"/>
              <a:gd name="connsiteY477" fmla="*/ 4141652 h 4565177"/>
              <a:gd name="connsiteX478" fmla="*/ 7473135 w 12243467"/>
              <a:gd name="connsiteY478" fmla="*/ 4149340 h 4565177"/>
              <a:gd name="connsiteX479" fmla="*/ 7465114 w 12243467"/>
              <a:gd name="connsiteY479" fmla="*/ 4141753 h 4565177"/>
              <a:gd name="connsiteX480" fmla="*/ 7471752 w 12243467"/>
              <a:gd name="connsiteY480" fmla="*/ 4140135 h 4565177"/>
              <a:gd name="connsiteX481" fmla="*/ 6958401 w 12243467"/>
              <a:gd name="connsiteY481" fmla="*/ 4133054 h 4565177"/>
              <a:gd name="connsiteX482" fmla="*/ 6963379 w 12243467"/>
              <a:gd name="connsiteY482" fmla="*/ 4134066 h 4565177"/>
              <a:gd name="connsiteX483" fmla="*/ 6950656 w 12243467"/>
              <a:gd name="connsiteY483" fmla="*/ 4137707 h 4565177"/>
              <a:gd name="connsiteX484" fmla="*/ 6958401 w 12243467"/>
              <a:gd name="connsiteY484" fmla="*/ 4133054 h 4565177"/>
              <a:gd name="connsiteX485" fmla="*/ 3463057 w 12243467"/>
              <a:gd name="connsiteY485" fmla="*/ 4130706 h 4565177"/>
              <a:gd name="connsiteX486" fmla="*/ 3464439 w 12243467"/>
              <a:gd name="connsiteY486" fmla="*/ 4130807 h 4565177"/>
              <a:gd name="connsiteX487" fmla="*/ 3469695 w 12243467"/>
              <a:gd name="connsiteY487" fmla="*/ 4131111 h 4565177"/>
              <a:gd name="connsiteX488" fmla="*/ 3468312 w 12243467"/>
              <a:gd name="connsiteY488" fmla="*/ 4137989 h 4565177"/>
              <a:gd name="connsiteX489" fmla="*/ 3459461 w 12243467"/>
              <a:gd name="connsiteY489" fmla="*/ 4134651 h 4565177"/>
              <a:gd name="connsiteX490" fmla="*/ 3464163 w 12243467"/>
              <a:gd name="connsiteY490" fmla="*/ 4135157 h 4565177"/>
              <a:gd name="connsiteX491" fmla="*/ 3462227 w 12243467"/>
              <a:gd name="connsiteY491" fmla="*/ 4132628 h 4565177"/>
              <a:gd name="connsiteX492" fmla="*/ 3463057 w 12243467"/>
              <a:gd name="connsiteY492" fmla="*/ 4130706 h 4565177"/>
              <a:gd name="connsiteX493" fmla="*/ 3436227 w 12243467"/>
              <a:gd name="connsiteY493" fmla="*/ 4129189 h 4565177"/>
              <a:gd name="connsiteX494" fmla="*/ 3456972 w 12243467"/>
              <a:gd name="connsiteY494" fmla="*/ 4134044 h 4565177"/>
              <a:gd name="connsiteX495" fmla="*/ 3456972 w 12243467"/>
              <a:gd name="connsiteY495" fmla="*/ 4137685 h 4565177"/>
              <a:gd name="connsiteX496" fmla="*/ 3454206 w 12243467"/>
              <a:gd name="connsiteY496" fmla="*/ 4136067 h 4565177"/>
              <a:gd name="connsiteX497" fmla="*/ 3365973 w 12243467"/>
              <a:gd name="connsiteY497" fmla="*/ 4144463 h 4565177"/>
              <a:gd name="connsiteX498" fmla="*/ 3414653 w 12243467"/>
              <a:gd name="connsiteY498" fmla="*/ 4129290 h 4565177"/>
              <a:gd name="connsiteX499" fmla="*/ 3436227 w 12243467"/>
              <a:gd name="connsiteY499" fmla="*/ 4129189 h 4565177"/>
              <a:gd name="connsiteX500" fmla="*/ 7363882 w 12243467"/>
              <a:gd name="connsiteY500" fmla="*/ 4126378 h 4565177"/>
              <a:gd name="connsiteX501" fmla="*/ 7368860 w 12243467"/>
              <a:gd name="connsiteY501" fmla="*/ 4132548 h 4565177"/>
              <a:gd name="connsiteX502" fmla="*/ 7361669 w 12243467"/>
              <a:gd name="connsiteY502" fmla="*/ 4139022 h 4565177"/>
              <a:gd name="connsiteX503" fmla="*/ 7351159 w 12243467"/>
              <a:gd name="connsiteY503" fmla="*/ 4131638 h 4565177"/>
              <a:gd name="connsiteX504" fmla="*/ 7363882 w 12243467"/>
              <a:gd name="connsiteY504" fmla="*/ 4126378 h 4565177"/>
              <a:gd name="connsiteX505" fmla="*/ 3498183 w 12243467"/>
              <a:gd name="connsiteY505" fmla="*/ 4125345 h 4565177"/>
              <a:gd name="connsiteX506" fmla="*/ 3478822 w 12243467"/>
              <a:gd name="connsiteY506" fmla="*/ 4134145 h 4565177"/>
              <a:gd name="connsiteX507" fmla="*/ 3498183 w 12243467"/>
              <a:gd name="connsiteY507" fmla="*/ 4125345 h 4565177"/>
              <a:gd name="connsiteX508" fmla="*/ 9374795 w 12243467"/>
              <a:gd name="connsiteY508" fmla="*/ 4125141 h 4565177"/>
              <a:gd name="connsiteX509" fmla="*/ 9383093 w 12243467"/>
              <a:gd name="connsiteY509" fmla="*/ 4127872 h 4565177"/>
              <a:gd name="connsiteX510" fmla="*/ 9357370 w 12243467"/>
              <a:gd name="connsiteY510" fmla="*/ 4131311 h 4565177"/>
              <a:gd name="connsiteX511" fmla="*/ 9374795 w 12243467"/>
              <a:gd name="connsiteY511" fmla="*/ 4125141 h 4565177"/>
              <a:gd name="connsiteX512" fmla="*/ 7990186 w 12243467"/>
              <a:gd name="connsiteY512" fmla="*/ 4122106 h 4565177"/>
              <a:gd name="connsiteX513" fmla="*/ 7998483 w 12243467"/>
              <a:gd name="connsiteY513" fmla="*/ 4123624 h 4565177"/>
              <a:gd name="connsiteX514" fmla="*/ 7987420 w 12243467"/>
              <a:gd name="connsiteY514" fmla="*/ 4129187 h 4565177"/>
              <a:gd name="connsiteX515" fmla="*/ 7983271 w 12243467"/>
              <a:gd name="connsiteY515" fmla="*/ 4124231 h 4565177"/>
              <a:gd name="connsiteX516" fmla="*/ 7990186 w 12243467"/>
              <a:gd name="connsiteY516" fmla="*/ 4122106 h 4565177"/>
              <a:gd name="connsiteX517" fmla="*/ 5926168 w 12243467"/>
              <a:gd name="connsiteY517" fmla="*/ 4120916 h 4565177"/>
              <a:gd name="connsiteX518" fmla="*/ 5928933 w 12243467"/>
              <a:gd name="connsiteY518" fmla="*/ 4122737 h 4565177"/>
              <a:gd name="connsiteX519" fmla="*/ 5931146 w 12243467"/>
              <a:gd name="connsiteY519" fmla="*/ 4130728 h 4565177"/>
              <a:gd name="connsiteX520" fmla="*/ 5923125 w 12243467"/>
              <a:gd name="connsiteY520" fmla="*/ 4123040 h 4565177"/>
              <a:gd name="connsiteX521" fmla="*/ 5926168 w 12243467"/>
              <a:gd name="connsiteY521" fmla="*/ 4120916 h 4565177"/>
              <a:gd name="connsiteX522" fmla="*/ 7807360 w 12243467"/>
              <a:gd name="connsiteY522" fmla="*/ 4114216 h 4565177"/>
              <a:gd name="connsiteX523" fmla="*/ 7810955 w 12243467"/>
              <a:gd name="connsiteY523" fmla="*/ 4119274 h 4565177"/>
              <a:gd name="connsiteX524" fmla="*/ 7797126 w 12243467"/>
              <a:gd name="connsiteY524" fmla="*/ 4117656 h 4565177"/>
              <a:gd name="connsiteX525" fmla="*/ 7807360 w 12243467"/>
              <a:gd name="connsiteY525" fmla="*/ 4114216 h 4565177"/>
              <a:gd name="connsiteX526" fmla="*/ 7836402 w 12243467"/>
              <a:gd name="connsiteY526" fmla="*/ 4113104 h 4565177"/>
              <a:gd name="connsiteX527" fmla="*/ 7838061 w 12243467"/>
              <a:gd name="connsiteY527" fmla="*/ 4114621 h 4565177"/>
              <a:gd name="connsiteX528" fmla="*/ 7840274 w 12243467"/>
              <a:gd name="connsiteY528" fmla="*/ 4119679 h 4565177"/>
              <a:gd name="connsiteX529" fmla="*/ 7820636 w 12243467"/>
              <a:gd name="connsiteY529" fmla="*/ 4119881 h 4565177"/>
              <a:gd name="connsiteX530" fmla="*/ 7836402 w 12243467"/>
              <a:gd name="connsiteY530" fmla="*/ 4114722 h 4565177"/>
              <a:gd name="connsiteX531" fmla="*/ 7836402 w 12243467"/>
              <a:gd name="connsiteY531" fmla="*/ 4113104 h 4565177"/>
              <a:gd name="connsiteX532" fmla="*/ 9416284 w 12243467"/>
              <a:gd name="connsiteY532" fmla="*/ 4109260 h 4565177"/>
              <a:gd name="connsiteX533" fmla="*/ 9423475 w 12243467"/>
              <a:gd name="connsiteY533" fmla="*/ 4109563 h 4565177"/>
              <a:gd name="connsiteX534" fmla="*/ 9421816 w 12243467"/>
              <a:gd name="connsiteY534" fmla="*/ 4112193 h 4565177"/>
              <a:gd name="connsiteX535" fmla="*/ 9432603 w 12243467"/>
              <a:gd name="connsiteY535" fmla="*/ 4126254 h 4565177"/>
              <a:gd name="connsiteX536" fmla="*/ 9344094 w 12243467"/>
              <a:gd name="connsiteY536" fmla="*/ 4154981 h 4565177"/>
              <a:gd name="connsiteX537" fmla="*/ 9411582 w 12243467"/>
              <a:gd name="connsiteY537" fmla="*/ 4123826 h 4565177"/>
              <a:gd name="connsiteX538" fmla="*/ 9416284 w 12243467"/>
              <a:gd name="connsiteY538" fmla="*/ 4109260 h 4565177"/>
              <a:gd name="connsiteX539" fmla="*/ 7337606 w 12243467"/>
              <a:gd name="connsiteY539" fmla="*/ 4108575 h 4565177"/>
              <a:gd name="connsiteX540" fmla="*/ 7319074 w 12243467"/>
              <a:gd name="connsiteY540" fmla="*/ 4124658 h 4565177"/>
              <a:gd name="connsiteX541" fmla="*/ 7326265 w 12243467"/>
              <a:gd name="connsiteY541" fmla="*/ 4130222 h 4565177"/>
              <a:gd name="connsiteX542" fmla="*/ 7309670 w 12243467"/>
              <a:gd name="connsiteY542" fmla="*/ 4138719 h 4565177"/>
              <a:gd name="connsiteX543" fmla="*/ 7289202 w 12243467"/>
              <a:gd name="connsiteY543" fmla="*/ 4143271 h 4565177"/>
              <a:gd name="connsiteX544" fmla="*/ 7257948 w 12243467"/>
              <a:gd name="connsiteY544" fmla="*/ 4152475 h 4565177"/>
              <a:gd name="connsiteX545" fmla="*/ 7247161 w 12243467"/>
              <a:gd name="connsiteY545" fmla="*/ 4150149 h 4565177"/>
              <a:gd name="connsiteX546" fmla="*/ 7337606 w 12243467"/>
              <a:gd name="connsiteY546" fmla="*/ 4108575 h 4565177"/>
              <a:gd name="connsiteX547" fmla="*/ 7987696 w 12243467"/>
              <a:gd name="connsiteY547" fmla="*/ 4107945 h 4565177"/>
              <a:gd name="connsiteX548" fmla="*/ 7991015 w 12243467"/>
              <a:gd name="connsiteY548" fmla="*/ 4108046 h 4565177"/>
              <a:gd name="connsiteX549" fmla="*/ 7993228 w 12243467"/>
              <a:gd name="connsiteY549" fmla="*/ 4114318 h 4565177"/>
              <a:gd name="connsiteX550" fmla="*/ 7987973 w 12243467"/>
              <a:gd name="connsiteY550" fmla="*/ 4116037 h 4565177"/>
              <a:gd name="connsiteX551" fmla="*/ 7987696 w 12243467"/>
              <a:gd name="connsiteY551" fmla="*/ 4107945 h 4565177"/>
              <a:gd name="connsiteX552" fmla="*/ 5667555 w 12243467"/>
              <a:gd name="connsiteY552" fmla="*/ 4101191 h 4565177"/>
              <a:gd name="connsiteX553" fmla="*/ 5668938 w 12243467"/>
              <a:gd name="connsiteY553" fmla="*/ 4105945 h 4565177"/>
              <a:gd name="connsiteX554" fmla="*/ 5654557 w 12243467"/>
              <a:gd name="connsiteY554" fmla="*/ 4106653 h 4565177"/>
              <a:gd name="connsiteX555" fmla="*/ 5667555 w 12243467"/>
              <a:gd name="connsiteY555" fmla="*/ 4101191 h 4565177"/>
              <a:gd name="connsiteX556" fmla="*/ 9489857 w 12243467"/>
              <a:gd name="connsiteY556" fmla="*/ 4097830 h 4565177"/>
              <a:gd name="connsiteX557" fmla="*/ 9497601 w 12243467"/>
              <a:gd name="connsiteY557" fmla="*/ 4102685 h 4565177"/>
              <a:gd name="connsiteX558" fmla="*/ 9474091 w 12243467"/>
              <a:gd name="connsiteY558" fmla="*/ 4112497 h 4565177"/>
              <a:gd name="connsiteX559" fmla="*/ 9489857 w 12243467"/>
              <a:gd name="connsiteY559" fmla="*/ 4097830 h 4565177"/>
              <a:gd name="connsiteX560" fmla="*/ 4642160 w 12243467"/>
              <a:gd name="connsiteY560" fmla="*/ 4090650 h 4565177"/>
              <a:gd name="connsiteX561" fmla="*/ 4657649 w 12243467"/>
              <a:gd name="connsiteY561" fmla="*/ 4091762 h 4565177"/>
              <a:gd name="connsiteX562" fmla="*/ 4626947 w 12243467"/>
              <a:gd name="connsiteY562" fmla="*/ 4096314 h 4565177"/>
              <a:gd name="connsiteX563" fmla="*/ 4642160 w 12243467"/>
              <a:gd name="connsiteY563" fmla="*/ 4090650 h 4565177"/>
              <a:gd name="connsiteX564" fmla="*/ 7444370 w 12243467"/>
              <a:gd name="connsiteY564" fmla="*/ 4087738 h 4565177"/>
              <a:gd name="connsiteX565" fmla="*/ 7454603 w 12243467"/>
              <a:gd name="connsiteY565" fmla="*/ 4090166 h 4565177"/>
              <a:gd name="connsiteX566" fmla="*/ 7402881 w 12243467"/>
              <a:gd name="connsiteY566" fmla="*/ 4111003 h 4565177"/>
              <a:gd name="connsiteX567" fmla="*/ 7409243 w 12243467"/>
              <a:gd name="connsiteY567" fmla="*/ 4114442 h 4565177"/>
              <a:gd name="connsiteX568" fmla="*/ 7394583 w 12243467"/>
              <a:gd name="connsiteY568" fmla="*/ 4115150 h 4565177"/>
              <a:gd name="connsiteX569" fmla="*/ 7435242 w 12243467"/>
              <a:gd name="connsiteY569" fmla="*/ 4087839 h 4565177"/>
              <a:gd name="connsiteX570" fmla="*/ 7444370 w 12243467"/>
              <a:gd name="connsiteY570" fmla="*/ 4087738 h 4565177"/>
              <a:gd name="connsiteX571" fmla="*/ 8092247 w 12243467"/>
              <a:gd name="connsiteY571" fmla="*/ 4086298 h 4565177"/>
              <a:gd name="connsiteX572" fmla="*/ 8073992 w 12243467"/>
              <a:gd name="connsiteY572" fmla="*/ 4093379 h 4565177"/>
              <a:gd name="connsiteX573" fmla="*/ 8092247 w 12243467"/>
              <a:gd name="connsiteY573" fmla="*/ 4086298 h 4565177"/>
              <a:gd name="connsiteX574" fmla="*/ 7410902 w 12243467"/>
              <a:gd name="connsiteY574" fmla="*/ 4076206 h 4565177"/>
              <a:gd name="connsiteX575" fmla="*/ 7354201 w 12243467"/>
              <a:gd name="connsiteY575" fmla="*/ 4107463 h 4565177"/>
              <a:gd name="connsiteX576" fmla="*/ 7410902 w 12243467"/>
              <a:gd name="connsiteY576" fmla="*/ 4076206 h 4565177"/>
              <a:gd name="connsiteX577" fmla="*/ 5492197 w 12243467"/>
              <a:gd name="connsiteY577" fmla="*/ 4075296 h 4565177"/>
              <a:gd name="connsiteX578" fmla="*/ 5626620 w 12243467"/>
              <a:gd name="connsiteY578" fmla="*/ 4101292 h 4565177"/>
              <a:gd name="connsiteX579" fmla="*/ 5559686 w 12243467"/>
              <a:gd name="connsiteY579" fmla="*/ 4098460 h 4565177"/>
              <a:gd name="connsiteX580" fmla="*/ 5484453 w 12243467"/>
              <a:gd name="connsiteY580" fmla="*/ 4078836 h 4565177"/>
              <a:gd name="connsiteX581" fmla="*/ 5492197 w 12243467"/>
              <a:gd name="connsiteY581" fmla="*/ 4075296 h 4565177"/>
              <a:gd name="connsiteX582" fmla="*/ 3391143 w 12243467"/>
              <a:gd name="connsiteY582" fmla="*/ 4052009 h 4565177"/>
              <a:gd name="connsiteX583" fmla="*/ 3396952 w 12243467"/>
              <a:gd name="connsiteY583" fmla="*/ 4052414 h 4565177"/>
              <a:gd name="connsiteX584" fmla="*/ 3388654 w 12243467"/>
              <a:gd name="connsiteY584" fmla="*/ 4058180 h 4565177"/>
              <a:gd name="connsiteX585" fmla="*/ 3396675 w 12243467"/>
              <a:gd name="connsiteY585" fmla="*/ 4065867 h 4565177"/>
              <a:gd name="connsiteX586" fmla="*/ 3362931 w 12243467"/>
              <a:gd name="connsiteY586" fmla="*/ 4066778 h 4565177"/>
              <a:gd name="connsiteX587" fmla="*/ 3376760 w 12243467"/>
              <a:gd name="connsiteY587" fmla="*/ 4056966 h 4565177"/>
              <a:gd name="connsiteX588" fmla="*/ 3375931 w 12243467"/>
              <a:gd name="connsiteY588" fmla="*/ 4061417 h 4565177"/>
              <a:gd name="connsiteX589" fmla="*/ 3384782 w 12243467"/>
              <a:gd name="connsiteY589" fmla="*/ 4053223 h 4565177"/>
              <a:gd name="connsiteX590" fmla="*/ 3391143 w 12243467"/>
              <a:gd name="connsiteY590" fmla="*/ 4052009 h 4565177"/>
              <a:gd name="connsiteX591" fmla="*/ 3438440 w 12243467"/>
              <a:gd name="connsiteY591" fmla="*/ 4051403 h 4565177"/>
              <a:gd name="connsiteX592" fmla="*/ 3444248 w 12243467"/>
              <a:gd name="connsiteY592" fmla="*/ 4051908 h 4565177"/>
              <a:gd name="connsiteX593" fmla="*/ 3453929 w 12243467"/>
              <a:gd name="connsiteY593" fmla="*/ 4056662 h 4565177"/>
              <a:gd name="connsiteX594" fmla="*/ 3421015 w 12243467"/>
              <a:gd name="connsiteY594" fmla="*/ 4064654 h 4565177"/>
              <a:gd name="connsiteX595" fmla="*/ 3400271 w 12243467"/>
              <a:gd name="connsiteY595" fmla="*/ 4060000 h 4565177"/>
              <a:gd name="connsiteX596" fmla="*/ 3435674 w 12243467"/>
              <a:gd name="connsiteY596" fmla="*/ 4052313 h 4565177"/>
              <a:gd name="connsiteX597" fmla="*/ 3438440 w 12243467"/>
              <a:gd name="connsiteY597" fmla="*/ 4051403 h 4565177"/>
              <a:gd name="connsiteX598" fmla="*/ 4815858 w 12243467"/>
              <a:gd name="connsiteY598" fmla="*/ 4033701 h 4565177"/>
              <a:gd name="connsiteX599" fmla="*/ 4824156 w 12243467"/>
              <a:gd name="connsiteY599" fmla="*/ 4036432 h 4565177"/>
              <a:gd name="connsiteX600" fmla="*/ 4798433 w 12243467"/>
              <a:gd name="connsiteY600" fmla="*/ 4039871 h 4565177"/>
              <a:gd name="connsiteX601" fmla="*/ 4815858 w 12243467"/>
              <a:gd name="connsiteY601" fmla="*/ 4033701 h 4565177"/>
              <a:gd name="connsiteX602" fmla="*/ 9605471 w 12243467"/>
              <a:gd name="connsiteY602" fmla="*/ 4031676 h 4565177"/>
              <a:gd name="connsiteX603" fmla="*/ 9621237 w 12243467"/>
              <a:gd name="connsiteY603" fmla="*/ 4039869 h 4565177"/>
              <a:gd name="connsiteX604" fmla="*/ 9622343 w 12243467"/>
              <a:gd name="connsiteY604" fmla="*/ 4048872 h 4565177"/>
              <a:gd name="connsiteX605" fmla="*/ 9507282 w 12243467"/>
              <a:gd name="connsiteY605" fmla="*/ 4097526 h 4565177"/>
              <a:gd name="connsiteX606" fmla="*/ 9523877 w 12243467"/>
              <a:gd name="connsiteY606" fmla="*/ 4070620 h 4565177"/>
              <a:gd name="connsiteX607" fmla="*/ 9539090 w 12243467"/>
              <a:gd name="connsiteY607" fmla="*/ 4064955 h 4565177"/>
              <a:gd name="connsiteX608" fmla="*/ 9534664 w 12243467"/>
              <a:gd name="connsiteY608" fmla="*/ 4072845 h 4565177"/>
              <a:gd name="connsiteX609" fmla="*/ 9562323 w 12243467"/>
              <a:gd name="connsiteY609" fmla="*/ 4066877 h 4565177"/>
              <a:gd name="connsiteX610" fmla="*/ 9580578 w 12243467"/>
              <a:gd name="connsiteY610" fmla="*/ 4044118 h 4565177"/>
              <a:gd name="connsiteX611" fmla="*/ 9586387 w 12243467"/>
              <a:gd name="connsiteY611" fmla="*/ 4052210 h 4565177"/>
              <a:gd name="connsiteX612" fmla="*/ 9596621 w 12243467"/>
              <a:gd name="connsiteY612" fmla="*/ 4040679 h 4565177"/>
              <a:gd name="connsiteX613" fmla="*/ 9603812 w 12243467"/>
              <a:gd name="connsiteY613" fmla="*/ 4046040 h 4565177"/>
              <a:gd name="connsiteX614" fmla="*/ 9605471 w 12243467"/>
              <a:gd name="connsiteY614" fmla="*/ 4031676 h 4565177"/>
              <a:gd name="connsiteX615" fmla="*/ 9570344 w 12243467"/>
              <a:gd name="connsiteY615" fmla="*/ 4030766 h 4565177"/>
              <a:gd name="connsiteX616" fmla="*/ 9582791 w 12243467"/>
              <a:gd name="connsiteY616" fmla="*/ 4031676 h 4565177"/>
              <a:gd name="connsiteX617" fmla="*/ 9584727 w 12243467"/>
              <a:gd name="connsiteY617" fmla="*/ 4035115 h 4565177"/>
              <a:gd name="connsiteX618" fmla="*/ 9581408 w 12243467"/>
              <a:gd name="connsiteY618" fmla="*/ 4034306 h 4565177"/>
              <a:gd name="connsiteX619" fmla="*/ 9506176 w 12243467"/>
              <a:gd name="connsiteY619" fmla="*/ 4069811 h 4565177"/>
              <a:gd name="connsiteX620" fmla="*/ 9541579 w 12243467"/>
              <a:gd name="connsiteY620" fmla="*/ 4040780 h 4565177"/>
              <a:gd name="connsiteX621" fmla="*/ 9570344 w 12243467"/>
              <a:gd name="connsiteY621" fmla="*/ 4030766 h 4565177"/>
              <a:gd name="connsiteX622" fmla="*/ 3431249 w 12243467"/>
              <a:gd name="connsiteY622" fmla="*/ 4030666 h 4565177"/>
              <a:gd name="connsiteX623" fmla="*/ 3439546 w 12243467"/>
              <a:gd name="connsiteY623" fmla="*/ 4032184 h 4565177"/>
              <a:gd name="connsiteX624" fmla="*/ 3428483 w 12243467"/>
              <a:gd name="connsiteY624" fmla="*/ 4037747 h 4565177"/>
              <a:gd name="connsiteX625" fmla="*/ 3424334 w 12243467"/>
              <a:gd name="connsiteY625" fmla="*/ 4032791 h 4565177"/>
              <a:gd name="connsiteX626" fmla="*/ 3431249 w 12243467"/>
              <a:gd name="connsiteY626" fmla="*/ 4030666 h 4565177"/>
              <a:gd name="connsiteX627" fmla="*/ 9592472 w 12243467"/>
              <a:gd name="connsiteY627" fmla="*/ 4025000 h 4565177"/>
              <a:gd name="connsiteX628" fmla="*/ 9595238 w 12243467"/>
              <a:gd name="connsiteY628" fmla="*/ 4031676 h 4565177"/>
              <a:gd name="connsiteX629" fmla="*/ 9585004 w 12243467"/>
              <a:gd name="connsiteY629" fmla="*/ 4031474 h 4565177"/>
              <a:gd name="connsiteX630" fmla="*/ 9589706 w 12243467"/>
              <a:gd name="connsiteY630" fmla="*/ 4030462 h 4565177"/>
              <a:gd name="connsiteX631" fmla="*/ 9586663 w 12243467"/>
              <a:gd name="connsiteY631" fmla="*/ 4028743 h 4565177"/>
              <a:gd name="connsiteX632" fmla="*/ 9592472 w 12243467"/>
              <a:gd name="connsiteY632" fmla="*/ 4025000 h 4565177"/>
              <a:gd name="connsiteX633" fmla="*/ 3336378 w 12243467"/>
              <a:gd name="connsiteY633" fmla="*/ 4023586 h 4565177"/>
              <a:gd name="connsiteX634" fmla="*/ 3347165 w 12243467"/>
              <a:gd name="connsiteY634" fmla="*/ 4024496 h 4565177"/>
              <a:gd name="connsiteX635" fmla="*/ 3351591 w 12243467"/>
              <a:gd name="connsiteY635" fmla="*/ 4027227 h 4565177"/>
              <a:gd name="connsiteX636" fmla="*/ 3310102 w 12243467"/>
              <a:gd name="connsiteY636" fmla="*/ 4027328 h 4565177"/>
              <a:gd name="connsiteX637" fmla="*/ 3297656 w 12243467"/>
              <a:gd name="connsiteY637" fmla="*/ 4028137 h 4565177"/>
              <a:gd name="connsiteX638" fmla="*/ 3305953 w 12243467"/>
              <a:gd name="connsiteY638" fmla="*/ 4024496 h 4565177"/>
              <a:gd name="connsiteX639" fmla="*/ 3327527 w 12243467"/>
              <a:gd name="connsiteY639" fmla="*/ 4023687 h 4565177"/>
              <a:gd name="connsiteX640" fmla="*/ 3336378 w 12243467"/>
              <a:gd name="connsiteY640" fmla="*/ 4023586 h 4565177"/>
              <a:gd name="connsiteX641" fmla="*/ 3188679 w 12243467"/>
              <a:gd name="connsiteY641" fmla="*/ 4023282 h 4565177"/>
              <a:gd name="connsiteX642" fmla="*/ 3212189 w 12243467"/>
              <a:gd name="connsiteY642" fmla="*/ 4025204 h 4565177"/>
              <a:gd name="connsiteX643" fmla="*/ 3183424 w 12243467"/>
              <a:gd name="connsiteY643" fmla="*/ 4024294 h 4565177"/>
              <a:gd name="connsiteX644" fmla="*/ 3188679 w 12243467"/>
              <a:gd name="connsiteY644" fmla="*/ 4023282 h 4565177"/>
              <a:gd name="connsiteX645" fmla="*/ 3248423 w 12243467"/>
              <a:gd name="connsiteY645" fmla="*/ 4022776 h 4565177"/>
              <a:gd name="connsiteX646" fmla="*/ 3252018 w 12243467"/>
              <a:gd name="connsiteY646" fmla="*/ 4027834 h 4565177"/>
              <a:gd name="connsiteX647" fmla="*/ 3238189 w 12243467"/>
              <a:gd name="connsiteY647" fmla="*/ 4026216 h 4565177"/>
              <a:gd name="connsiteX648" fmla="*/ 3248423 w 12243467"/>
              <a:gd name="connsiteY648" fmla="*/ 4022776 h 4565177"/>
              <a:gd name="connsiteX649" fmla="*/ 3277465 w 12243467"/>
              <a:gd name="connsiteY649" fmla="*/ 4021664 h 4565177"/>
              <a:gd name="connsiteX650" fmla="*/ 3279124 w 12243467"/>
              <a:gd name="connsiteY650" fmla="*/ 4023181 h 4565177"/>
              <a:gd name="connsiteX651" fmla="*/ 3281337 w 12243467"/>
              <a:gd name="connsiteY651" fmla="*/ 4028239 h 4565177"/>
              <a:gd name="connsiteX652" fmla="*/ 3261699 w 12243467"/>
              <a:gd name="connsiteY652" fmla="*/ 4028441 h 4565177"/>
              <a:gd name="connsiteX653" fmla="*/ 3277465 w 12243467"/>
              <a:gd name="connsiteY653" fmla="*/ 4023282 h 4565177"/>
              <a:gd name="connsiteX654" fmla="*/ 3277465 w 12243467"/>
              <a:gd name="connsiteY654" fmla="*/ 4021664 h 4565177"/>
              <a:gd name="connsiteX655" fmla="*/ 3381739 w 12243467"/>
              <a:gd name="connsiteY655" fmla="*/ 4021461 h 4565177"/>
              <a:gd name="connsiteX656" fmla="*/ 3397228 w 12243467"/>
              <a:gd name="connsiteY656" fmla="*/ 4027733 h 4565177"/>
              <a:gd name="connsiteX657" fmla="*/ 3367910 w 12243467"/>
              <a:gd name="connsiteY657" fmla="*/ 4028846 h 4565177"/>
              <a:gd name="connsiteX658" fmla="*/ 3370399 w 12243467"/>
              <a:gd name="connsiteY658" fmla="*/ 4040377 h 4565177"/>
              <a:gd name="connsiteX659" fmla="*/ 3381739 w 12243467"/>
              <a:gd name="connsiteY659" fmla="*/ 4021461 h 4565177"/>
              <a:gd name="connsiteX660" fmla="*/ 3410504 w 12243467"/>
              <a:gd name="connsiteY660" fmla="*/ 4020045 h 4565177"/>
              <a:gd name="connsiteX661" fmla="*/ 3410228 w 12243467"/>
              <a:gd name="connsiteY661" fmla="*/ 4025508 h 4565177"/>
              <a:gd name="connsiteX662" fmla="*/ 3408568 w 12243467"/>
              <a:gd name="connsiteY662" fmla="*/ 4028947 h 4565177"/>
              <a:gd name="connsiteX663" fmla="*/ 3402760 w 12243467"/>
              <a:gd name="connsiteY663" fmla="*/ 4021461 h 4565177"/>
              <a:gd name="connsiteX664" fmla="*/ 3410504 w 12243467"/>
              <a:gd name="connsiteY664" fmla="*/ 4020045 h 4565177"/>
              <a:gd name="connsiteX665" fmla="*/ 3428759 w 12243467"/>
              <a:gd name="connsiteY665" fmla="*/ 4016505 h 4565177"/>
              <a:gd name="connsiteX666" fmla="*/ 3432078 w 12243467"/>
              <a:gd name="connsiteY666" fmla="*/ 4016606 h 4565177"/>
              <a:gd name="connsiteX667" fmla="*/ 3434291 w 12243467"/>
              <a:gd name="connsiteY667" fmla="*/ 4022878 h 4565177"/>
              <a:gd name="connsiteX668" fmla="*/ 3429036 w 12243467"/>
              <a:gd name="connsiteY668" fmla="*/ 4024597 h 4565177"/>
              <a:gd name="connsiteX669" fmla="*/ 3428759 w 12243467"/>
              <a:gd name="connsiteY669" fmla="*/ 4016505 h 4565177"/>
              <a:gd name="connsiteX670" fmla="*/ 9615152 w 12243467"/>
              <a:gd name="connsiteY670" fmla="*/ 4010940 h 4565177"/>
              <a:gd name="connsiteX671" fmla="*/ 9602429 w 12243467"/>
              <a:gd name="connsiteY671" fmla="*/ 4025000 h 4565177"/>
              <a:gd name="connsiteX672" fmla="*/ 9615152 w 12243467"/>
              <a:gd name="connsiteY672" fmla="*/ 4010940 h 4565177"/>
              <a:gd name="connsiteX673" fmla="*/ 9298733 w 12243467"/>
              <a:gd name="connsiteY673" fmla="*/ 4009928 h 4565177"/>
              <a:gd name="connsiteX674" fmla="*/ 9272180 w 12243467"/>
              <a:gd name="connsiteY674" fmla="*/ 4018223 h 4565177"/>
              <a:gd name="connsiteX675" fmla="*/ 9298733 w 12243467"/>
              <a:gd name="connsiteY675" fmla="*/ 4009928 h 4565177"/>
              <a:gd name="connsiteX676" fmla="*/ 9330264 w 12243467"/>
              <a:gd name="connsiteY676" fmla="*/ 3996374 h 4565177"/>
              <a:gd name="connsiteX677" fmla="*/ 9336349 w 12243467"/>
              <a:gd name="connsiteY677" fmla="*/ 3999712 h 4565177"/>
              <a:gd name="connsiteX678" fmla="*/ 9323073 w 12243467"/>
              <a:gd name="connsiteY678" fmla="*/ 4002645 h 4565177"/>
              <a:gd name="connsiteX679" fmla="*/ 9330264 w 12243467"/>
              <a:gd name="connsiteY679" fmla="*/ 3996374 h 4565177"/>
              <a:gd name="connsiteX680" fmla="*/ 3533310 w 12243467"/>
              <a:gd name="connsiteY680" fmla="*/ 3994858 h 4565177"/>
              <a:gd name="connsiteX681" fmla="*/ 3515055 w 12243467"/>
              <a:gd name="connsiteY681" fmla="*/ 4001939 h 4565177"/>
              <a:gd name="connsiteX682" fmla="*/ 3533310 w 12243467"/>
              <a:gd name="connsiteY682" fmla="*/ 3994858 h 4565177"/>
              <a:gd name="connsiteX683" fmla="*/ 6024356 w 12243467"/>
              <a:gd name="connsiteY683" fmla="*/ 3990429 h 4565177"/>
              <a:gd name="connsiteX684" fmla="*/ 6049526 w 12243467"/>
              <a:gd name="connsiteY684" fmla="*/ 3997712 h 4565177"/>
              <a:gd name="connsiteX685" fmla="*/ 5983698 w 12243467"/>
              <a:gd name="connsiteY685" fmla="*/ 4013391 h 4565177"/>
              <a:gd name="connsiteX686" fmla="*/ 6001953 w 12243467"/>
              <a:gd name="connsiteY686" fmla="*/ 4006209 h 4565177"/>
              <a:gd name="connsiteX687" fmla="*/ 6024356 w 12243467"/>
              <a:gd name="connsiteY687" fmla="*/ 3990429 h 4565177"/>
              <a:gd name="connsiteX688" fmla="*/ 7662322 w 12243467"/>
              <a:gd name="connsiteY688" fmla="*/ 3990126 h 4565177"/>
              <a:gd name="connsiteX689" fmla="*/ 7654025 w 12243467"/>
              <a:gd name="connsiteY689" fmla="*/ 4006512 h 4565177"/>
              <a:gd name="connsiteX690" fmla="*/ 7662322 w 12243467"/>
              <a:gd name="connsiteY690" fmla="*/ 3990126 h 4565177"/>
              <a:gd name="connsiteX691" fmla="*/ 4369796 w 12243467"/>
              <a:gd name="connsiteY691" fmla="*/ 3989418 h 4565177"/>
              <a:gd name="connsiteX692" fmla="*/ 4382795 w 12243467"/>
              <a:gd name="connsiteY692" fmla="*/ 3990834 h 4565177"/>
              <a:gd name="connsiteX693" fmla="*/ 4360114 w 12243467"/>
              <a:gd name="connsiteY693" fmla="*/ 3991744 h 4565177"/>
              <a:gd name="connsiteX694" fmla="*/ 4369796 w 12243467"/>
              <a:gd name="connsiteY694" fmla="*/ 3989418 h 4565177"/>
              <a:gd name="connsiteX695" fmla="*/ 9355987 w 12243467"/>
              <a:gd name="connsiteY695" fmla="*/ 3986259 h 4565177"/>
              <a:gd name="connsiteX696" fmla="*/ 9358200 w 12243467"/>
              <a:gd name="connsiteY696" fmla="*/ 3986967 h 4565177"/>
              <a:gd name="connsiteX697" fmla="*/ 9363178 w 12243467"/>
              <a:gd name="connsiteY697" fmla="*/ 3991013 h 4565177"/>
              <a:gd name="connsiteX698" fmla="*/ 9345477 w 12243467"/>
              <a:gd name="connsiteY698" fmla="*/ 3997385 h 4565177"/>
              <a:gd name="connsiteX699" fmla="*/ 9356817 w 12243467"/>
              <a:gd name="connsiteY699" fmla="*/ 3987574 h 4565177"/>
              <a:gd name="connsiteX700" fmla="*/ 9355987 w 12243467"/>
              <a:gd name="connsiteY700" fmla="*/ 3986259 h 4565177"/>
              <a:gd name="connsiteX701" fmla="*/ 6100142 w 12243467"/>
              <a:gd name="connsiteY701" fmla="*/ 3985776 h 4565177"/>
              <a:gd name="connsiteX702" fmla="*/ 6063079 w 12243467"/>
              <a:gd name="connsiteY702" fmla="*/ 3999836 h 4565177"/>
              <a:gd name="connsiteX703" fmla="*/ 6100142 w 12243467"/>
              <a:gd name="connsiteY703" fmla="*/ 3985776 h 4565177"/>
              <a:gd name="connsiteX704" fmla="*/ 3366803 w 12243467"/>
              <a:gd name="connsiteY704" fmla="*/ 3985350 h 4565177"/>
              <a:gd name="connsiteX705" fmla="*/ 3374548 w 12243467"/>
              <a:gd name="connsiteY705" fmla="*/ 3995263 h 4565177"/>
              <a:gd name="connsiteX706" fmla="*/ 3375377 w 12243467"/>
              <a:gd name="connsiteY706" fmla="*/ 3997084 h 4565177"/>
              <a:gd name="connsiteX707" fmla="*/ 3365697 w 12243467"/>
              <a:gd name="connsiteY707" fmla="*/ 4003456 h 4565177"/>
              <a:gd name="connsiteX708" fmla="*/ 3326698 w 12243467"/>
              <a:gd name="connsiteY708" fmla="*/ 4003557 h 4565177"/>
              <a:gd name="connsiteX709" fmla="*/ 3329187 w 12243467"/>
              <a:gd name="connsiteY709" fmla="*/ 3992532 h 4565177"/>
              <a:gd name="connsiteX710" fmla="*/ 3366803 w 12243467"/>
              <a:gd name="connsiteY710" fmla="*/ 3985350 h 4565177"/>
              <a:gd name="connsiteX711" fmla="*/ 5943870 w 12243467"/>
              <a:gd name="connsiteY711" fmla="*/ 3983955 h 4565177"/>
              <a:gd name="connsiteX712" fmla="*/ 5960187 w 12243467"/>
              <a:gd name="connsiteY712" fmla="*/ 3985776 h 4565177"/>
              <a:gd name="connsiteX713" fmla="*/ 5955486 w 12243467"/>
              <a:gd name="connsiteY713" fmla="*/ 3998724 h 4565177"/>
              <a:gd name="connsiteX714" fmla="*/ 5948294 w 12243467"/>
              <a:gd name="connsiteY714" fmla="*/ 3997915 h 4565177"/>
              <a:gd name="connsiteX715" fmla="*/ 5943870 w 12243467"/>
              <a:gd name="connsiteY715" fmla="*/ 3983955 h 4565177"/>
              <a:gd name="connsiteX716" fmla="*/ 4348498 w 12243467"/>
              <a:gd name="connsiteY716" fmla="*/ 3983045 h 4565177"/>
              <a:gd name="connsiteX717" fmla="*/ 4349604 w 12243467"/>
              <a:gd name="connsiteY717" fmla="*/ 3983652 h 4565177"/>
              <a:gd name="connsiteX718" fmla="*/ 4354030 w 12243467"/>
              <a:gd name="connsiteY718" fmla="*/ 3985776 h 4565177"/>
              <a:gd name="connsiteX719" fmla="*/ 4348498 w 12243467"/>
              <a:gd name="connsiteY719" fmla="*/ 3991340 h 4565177"/>
              <a:gd name="connsiteX720" fmla="*/ 4342689 w 12243467"/>
              <a:gd name="connsiteY720" fmla="*/ 3985169 h 4565177"/>
              <a:gd name="connsiteX721" fmla="*/ 4346561 w 12243467"/>
              <a:gd name="connsiteY721" fmla="*/ 3987294 h 4565177"/>
              <a:gd name="connsiteX722" fmla="*/ 4346561 w 12243467"/>
              <a:gd name="connsiteY722" fmla="*/ 3984461 h 4565177"/>
              <a:gd name="connsiteX723" fmla="*/ 4348498 w 12243467"/>
              <a:gd name="connsiteY723" fmla="*/ 3983045 h 4565177"/>
              <a:gd name="connsiteX724" fmla="*/ 8024743 w 12243467"/>
              <a:gd name="connsiteY724" fmla="*/ 3978748 h 4565177"/>
              <a:gd name="connsiteX725" fmla="*/ 8024932 w 12243467"/>
              <a:gd name="connsiteY725" fmla="*/ 3982742 h 4565177"/>
              <a:gd name="connsiteX726" fmla="*/ 8029726 w 12243467"/>
              <a:gd name="connsiteY726" fmla="*/ 3979065 h 4565177"/>
              <a:gd name="connsiteX727" fmla="*/ 8029081 w 12243467"/>
              <a:gd name="connsiteY727" fmla="*/ 3979178 h 4565177"/>
              <a:gd name="connsiteX728" fmla="*/ 3442589 w 12243467"/>
              <a:gd name="connsiteY728" fmla="*/ 3978269 h 4565177"/>
              <a:gd name="connsiteX729" fmla="*/ 3444802 w 12243467"/>
              <a:gd name="connsiteY729" fmla="*/ 3991723 h 4565177"/>
              <a:gd name="connsiteX730" fmla="*/ 3434568 w 12243467"/>
              <a:gd name="connsiteY730" fmla="*/ 3981810 h 4565177"/>
              <a:gd name="connsiteX731" fmla="*/ 3442589 w 12243467"/>
              <a:gd name="connsiteY731" fmla="*/ 3978269 h 4565177"/>
              <a:gd name="connsiteX732" fmla="*/ 3476886 w 12243467"/>
              <a:gd name="connsiteY732" fmla="*/ 3977157 h 4565177"/>
              <a:gd name="connsiteX733" fmla="*/ 3483248 w 12243467"/>
              <a:gd name="connsiteY733" fmla="*/ 3981709 h 4565177"/>
              <a:gd name="connsiteX734" fmla="*/ 3481865 w 12243467"/>
              <a:gd name="connsiteY734" fmla="*/ 3988789 h 4565177"/>
              <a:gd name="connsiteX735" fmla="*/ 3469695 w 12243467"/>
              <a:gd name="connsiteY735" fmla="*/ 3989700 h 4565177"/>
              <a:gd name="connsiteX736" fmla="*/ 3460291 w 12243467"/>
              <a:gd name="connsiteY736" fmla="*/ 3988789 h 4565177"/>
              <a:gd name="connsiteX737" fmla="*/ 3452823 w 12243467"/>
              <a:gd name="connsiteY737" fmla="*/ 3978977 h 4565177"/>
              <a:gd name="connsiteX738" fmla="*/ 3476886 w 12243467"/>
              <a:gd name="connsiteY738" fmla="*/ 3977157 h 4565177"/>
              <a:gd name="connsiteX739" fmla="*/ 9481836 w 12243467"/>
              <a:gd name="connsiteY739" fmla="*/ 3976548 h 4565177"/>
              <a:gd name="connsiteX740" fmla="*/ 9477410 w 12243467"/>
              <a:gd name="connsiteY740" fmla="*/ 3984438 h 4565177"/>
              <a:gd name="connsiteX741" fmla="*/ 9489027 w 12243467"/>
              <a:gd name="connsiteY741" fmla="*/ 3988990 h 4565177"/>
              <a:gd name="connsiteX742" fmla="*/ 9459155 w 12243467"/>
              <a:gd name="connsiteY742" fmla="*/ 4000218 h 4565177"/>
              <a:gd name="connsiteX743" fmla="*/ 9466070 w 12243467"/>
              <a:gd name="connsiteY743" fmla="*/ 3986967 h 4565177"/>
              <a:gd name="connsiteX744" fmla="*/ 9468006 w 12243467"/>
              <a:gd name="connsiteY744" fmla="*/ 3991316 h 4565177"/>
              <a:gd name="connsiteX745" fmla="*/ 9471325 w 12243467"/>
              <a:gd name="connsiteY745" fmla="*/ 3981201 h 4565177"/>
              <a:gd name="connsiteX746" fmla="*/ 9481836 w 12243467"/>
              <a:gd name="connsiteY746" fmla="*/ 3976548 h 4565177"/>
              <a:gd name="connsiteX747" fmla="*/ 3419355 w 12243467"/>
              <a:gd name="connsiteY747" fmla="*/ 3975741 h 4565177"/>
              <a:gd name="connsiteX748" fmla="*/ 3425717 w 12243467"/>
              <a:gd name="connsiteY748" fmla="*/ 3990003 h 4565177"/>
              <a:gd name="connsiteX749" fmla="*/ 3404973 w 12243467"/>
              <a:gd name="connsiteY749" fmla="*/ 3999006 h 4565177"/>
              <a:gd name="connsiteX750" fmla="*/ 3410228 w 12243467"/>
              <a:gd name="connsiteY750" fmla="*/ 4008615 h 4565177"/>
              <a:gd name="connsiteX751" fmla="*/ 3381739 w 12243467"/>
              <a:gd name="connsiteY751" fmla="*/ 4007907 h 4565177"/>
              <a:gd name="connsiteX752" fmla="*/ 3385611 w 12243467"/>
              <a:gd name="connsiteY752" fmla="*/ 4001433 h 4565177"/>
              <a:gd name="connsiteX753" fmla="*/ 3399994 w 12243467"/>
              <a:gd name="connsiteY753" fmla="*/ 4000826 h 4565177"/>
              <a:gd name="connsiteX754" fmla="*/ 3386441 w 12243467"/>
              <a:gd name="connsiteY754" fmla="*/ 3996983 h 4565177"/>
              <a:gd name="connsiteX755" fmla="*/ 3397505 w 12243467"/>
              <a:gd name="connsiteY755" fmla="*/ 3989093 h 4565177"/>
              <a:gd name="connsiteX756" fmla="*/ 3419355 w 12243467"/>
              <a:gd name="connsiteY756" fmla="*/ 3975741 h 4565177"/>
              <a:gd name="connsiteX757" fmla="*/ 4263861 w 12243467"/>
              <a:gd name="connsiteY757" fmla="*/ 3971716 h 4565177"/>
              <a:gd name="connsiteX758" fmla="*/ 4279074 w 12243467"/>
              <a:gd name="connsiteY758" fmla="*/ 3977381 h 4565177"/>
              <a:gd name="connsiteX759" fmla="*/ 4268010 w 12243467"/>
              <a:gd name="connsiteY759" fmla="*/ 3979505 h 4565177"/>
              <a:gd name="connsiteX760" fmla="*/ 4290691 w 12243467"/>
              <a:gd name="connsiteY760" fmla="*/ 3992351 h 4565177"/>
              <a:gd name="connsiteX761" fmla="*/ 4326371 w 12243467"/>
              <a:gd name="connsiteY761" fmla="*/ 3989923 h 4565177"/>
              <a:gd name="connsiteX762" fmla="*/ 4320839 w 12243467"/>
              <a:gd name="connsiteY762" fmla="*/ 3998117 h 4565177"/>
              <a:gd name="connsiteX763" fmla="*/ 4339647 w 12243467"/>
              <a:gd name="connsiteY763" fmla="*/ 3997409 h 4565177"/>
              <a:gd name="connsiteX764" fmla="*/ 4337987 w 12243467"/>
              <a:gd name="connsiteY764" fmla="*/ 4004894 h 4565177"/>
              <a:gd name="connsiteX765" fmla="*/ 4354584 w 12243467"/>
              <a:gd name="connsiteY765" fmla="*/ 3997409 h 4565177"/>
              <a:gd name="connsiteX766" fmla="*/ 4355137 w 12243467"/>
              <a:gd name="connsiteY766" fmla="*/ 4011671 h 4565177"/>
              <a:gd name="connsiteX767" fmla="*/ 4345733 w 12243467"/>
              <a:gd name="connsiteY767" fmla="*/ 4017740 h 4565177"/>
              <a:gd name="connsiteX768" fmla="*/ 4224862 w 12243467"/>
              <a:gd name="connsiteY768" fmla="*/ 3977684 h 4565177"/>
              <a:gd name="connsiteX769" fmla="*/ 4263861 w 12243467"/>
              <a:gd name="connsiteY769" fmla="*/ 3971716 h 4565177"/>
              <a:gd name="connsiteX770" fmla="*/ 9423752 w 12243467"/>
              <a:gd name="connsiteY770" fmla="*/ 3965624 h 4565177"/>
              <a:gd name="connsiteX771" fmla="*/ 9426241 w 12243467"/>
              <a:gd name="connsiteY771" fmla="*/ 3967950 h 4565177"/>
              <a:gd name="connsiteX772" fmla="*/ 9388625 w 12243467"/>
              <a:gd name="connsiteY772" fmla="*/ 3981100 h 4565177"/>
              <a:gd name="connsiteX773" fmla="*/ 9378114 w 12243467"/>
              <a:gd name="connsiteY773" fmla="*/ 3985753 h 4565177"/>
              <a:gd name="connsiteX774" fmla="*/ 9383093 w 12243467"/>
              <a:gd name="connsiteY774" fmla="*/ 3979886 h 4565177"/>
              <a:gd name="connsiteX775" fmla="*/ 9420709 w 12243467"/>
              <a:gd name="connsiteY775" fmla="*/ 3966837 h 4565177"/>
              <a:gd name="connsiteX776" fmla="*/ 9423752 w 12243467"/>
              <a:gd name="connsiteY776" fmla="*/ 3965624 h 4565177"/>
              <a:gd name="connsiteX777" fmla="*/ 3374548 w 12243467"/>
              <a:gd name="connsiteY777" fmla="*/ 3961680 h 4565177"/>
              <a:gd name="connsiteX778" fmla="*/ 3368739 w 12243467"/>
              <a:gd name="connsiteY778" fmla="*/ 3965322 h 4565177"/>
              <a:gd name="connsiteX779" fmla="*/ 3372335 w 12243467"/>
              <a:gd name="connsiteY779" fmla="*/ 3972099 h 4565177"/>
              <a:gd name="connsiteX780" fmla="*/ 3365697 w 12243467"/>
              <a:gd name="connsiteY780" fmla="*/ 3967143 h 4565177"/>
              <a:gd name="connsiteX781" fmla="*/ 3357676 w 12243467"/>
              <a:gd name="connsiteY781" fmla="*/ 3970582 h 4565177"/>
              <a:gd name="connsiteX782" fmla="*/ 3374548 w 12243467"/>
              <a:gd name="connsiteY782" fmla="*/ 3961680 h 4565177"/>
              <a:gd name="connsiteX783" fmla="*/ 9530792 w 12243467"/>
              <a:gd name="connsiteY783" fmla="*/ 3960869 h 4565177"/>
              <a:gd name="connsiteX784" fmla="*/ 9535771 w 12243467"/>
              <a:gd name="connsiteY784" fmla="*/ 3962488 h 4565177"/>
              <a:gd name="connsiteX785" fmla="*/ 9510601 w 12243467"/>
              <a:gd name="connsiteY785" fmla="*/ 3979987 h 4565177"/>
              <a:gd name="connsiteX786" fmla="*/ 9489304 w 12243467"/>
              <a:gd name="connsiteY786" fmla="*/ 3982314 h 4565177"/>
              <a:gd name="connsiteX787" fmla="*/ 9516686 w 12243467"/>
              <a:gd name="connsiteY787" fmla="*/ 3964410 h 4565177"/>
              <a:gd name="connsiteX788" fmla="*/ 9524431 w 12243467"/>
              <a:gd name="connsiteY788" fmla="*/ 3961173 h 4565177"/>
              <a:gd name="connsiteX789" fmla="*/ 9530792 w 12243467"/>
              <a:gd name="connsiteY789" fmla="*/ 3960869 h 4565177"/>
              <a:gd name="connsiteX790" fmla="*/ 3413270 w 12243467"/>
              <a:gd name="connsiteY790" fmla="*/ 3959657 h 4565177"/>
              <a:gd name="connsiteX791" fmla="*/ 3443695 w 12243467"/>
              <a:gd name="connsiteY791" fmla="*/ 3962490 h 4565177"/>
              <a:gd name="connsiteX792" fmla="*/ 3429313 w 12243467"/>
              <a:gd name="connsiteY792" fmla="*/ 3974324 h 4565177"/>
              <a:gd name="connsiteX793" fmla="*/ 3384782 w 12243467"/>
              <a:gd name="connsiteY793" fmla="*/ 3967143 h 4565177"/>
              <a:gd name="connsiteX794" fmla="*/ 3413270 w 12243467"/>
              <a:gd name="connsiteY794" fmla="*/ 3959657 h 4565177"/>
              <a:gd name="connsiteX795" fmla="*/ 4260820 w 12243467"/>
              <a:gd name="connsiteY795" fmla="*/ 3958971 h 4565177"/>
              <a:gd name="connsiteX796" fmla="*/ 4267181 w 12243467"/>
              <a:gd name="connsiteY796" fmla="*/ 3959477 h 4565177"/>
              <a:gd name="connsiteX797" fmla="*/ 4307009 w 12243467"/>
              <a:gd name="connsiteY797" fmla="*/ 3964635 h 4565177"/>
              <a:gd name="connsiteX798" fmla="*/ 4341030 w 12243467"/>
              <a:gd name="connsiteY798" fmla="*/ 3983854 h 4565177"/>
              <a:gd name="connsiteX799" fmla="*/ 4338540 w 12243467"/>
              <a:gd name="connsiteY799" fmla="*/ 3986990 h 4565177"/>
              <a:gd name="connsiteX800" fmla="*/ 4337434 w 12243467"/>
              <a:gd name="connsiteY800" fmla="*/ 3984461 h 4565177"/>
              <a:gd name="connsiteX801" fmla="*/ 4254457 w 12243467"/>
              <a:gd name="connsiteY801" fmla="*/ 3960488 h 4565177"/>
              <a:gd name="connsiteX802" fmla="*/ 4260820 w 12243467"/>
              <a:gd name="connsiteY802" fmla="*/ 3958971 h 4565177"/>
              <a:gd name="connsiteX803" fmla="*/ 7494709 w 12243467"/>
              <a:gd name="connsiteY803" fmla="*/ 3956644 h 4565177"/>
              <a:gd name="connsiteX804" fmla="*/ 7505496 w 12243467"/>
              <a:gd name="connsiteY804" fmla="*/ 3956745 h 4565177"/>
              <a:gd name="connsiteX805" fmla="*/ 7503283 w 12243467"/>
              <a:gd name="connsiteY805" fmla="*/ 3964028 h 4565177"/>
              <a:gd name="connsiteX806" fmla="*/ 7493603 w 12243467"/>
              <a:gd name="connsiteY806" fmla="*/ 3959375 h 4565177"/>
              <a:gd name="connsiteX807" fmla="*/ 7494709 w 12243467"/>
              <a:gd name="connsiteY807" fmla="*/ 3956644 h 4565177"/>
              <a:gd name="connsiteX808" fmla="*/ 9561494 w 12243467"/>
              <a:gd name="connsiteY808" fmla="*/ 3952979 h 4565177"/>
              <a:gd name="connsiteX809" fmla="*/ 9559834 w 12243467"/>
              <a:gd name="connsiteY809" fmla="*/ 3956722 h 4565177"/>
              <a:gd name="connsiteX810" fmla="*/ 9557068 w 12243467"/>
              <a:gd name="connsiteY810" fmla="*/ 3959959 h 4565177"/>
              <a:gd name="connsiteX811" fmla="*/ 9458879 w 12243467"/>
              <a:gd name="connsiteY811" fmla="*/ 3952069 h 4565177"/>
              <a:gd name="connsiteX812" fmla="*/ 9468006 w 12243467"/>
              <a:gd name="connsiteY812" fmla="*/ 3954092 h 4565177"/>
              <a:gd name="connsiteX813" fmla="*/ 9442007 w 12243467"/>
              <a:gd name="connsiteY813" fmla="*/ 3964410 h 4565177"/>
              <a:gd name="connsiteX814" fmla="*/ 9450858 w 12243467"/>
              <a:gd name="connsiteY814" fmla="*/ 3974019 h 4565177"/>
              <a:gd name="connsiteX815" fmla="*/ 9450304 w 12243467"/>
              <a:gd name="connsiteY815" fmla="*/ 3953283 h 4565177"/>
              <a:gd name="connsiteX816" fmla="*/ 9458879 w 12243467"/>
              <a:gd name="connsiteY816" fmla="*/ 3952069 h 4565177"/>
              <a:gd name="connsiteX817" fmla="*/ 8305222 w 12243467"/>
              <a:gd name="connsiteY817" fmla="*/ 3948326 h 4565177"/>
              <a:gd name="connsiteX818" fmla="*/ 8288626 w 12243467"/>
              <a:gd name="connsiteY818" fmla="*/ 3960465 h 4565177"/>
              <a:gd name="connsiteX819" fmla="*/ 8305222 w 12243467"/>
              <a:gd name="connsiteY819" fmla="*/ 3948326 h 4565177"/>
              <a:gd name="connsiteX820" fmla="*/ 9508941 w 12243467"/>
              <a:gd name="connsiteY820" fmla="*/ 3944887 h 4565177"/>
              <a:gd name="connsiteX821" fmla="*/ 9501750 w 12243467"/>
              <a:gd name="connsiteY821" fmla="*/ 3953384 h 4565177"/>
              <a:gd name="connsiteX822" fmla="*/ 9495389 w 12243467"/>
              <a:gd name="connsiteY822" fmla="*/ 3950046 h 4565177"/>
              <a:gd name="connsiteX823" fmla="*/ 9508941 w 12243467"/>
              <a:gd name="connsiteY823" fmla="*/ 3944887 h 4565177"/>
              <a:gd name="connsiteX824" fmla="*/ 9475474 w 12243467"/>
              <a:gd name="connsiteY824" fmla="*/ 3942965 h 4565177"/>
              <a:gd name="connsiteX825" fmla="*/ 9478517 w 12243467"/>
              <a:gd name="connsiteY825" fmla="*/ 3947922 h 4565177"/>
              <a:gd name="connsiteX826" fmla="*/ 9478793 w 12243467"/>
              <a:gd name="connsiteY826" fmla="*/ 3951665 h 4565177"/>
              <a:gd name="connsiteX827" fmla="*/ 9469389 w 12243467"/>
              <a:gd name="connsiteY827" fmla="*/ 3946708 h 4565177"/>
              <a:gd name="connsiteX828" fmla="*/ 9475474 w 12243467"/>
              <a:gd name="connsiteY828" fmla="*/ 3942965 h 4565177"/>
              <a:gd name="connsiteX829" fmla="*/ 3450610 w 12243467"/>
              <a:gd name="connsiteY829" fmla="*/ 3938011 h 4565177"/>
              <a:gd name="connsiteX830" fmla="*/ 3451163 w 12243467"/>
              <a:gd name="connsiteY830" fmla="*/ 3947013 h 4565177"/>
              <a:gd name="connsiteX831" fmla="*/ 3430419 w 12243467"/>
              <a:gd name="connsiteY831" fmla="*/ 3944788 h 4565177"/>
              <a:gd name="connsiteX832" fmla="*/ 3450610 w 12243467"/>
              <a:gd name="connsiteY832" fmla="*/ 3938011 h 4565177"/>
              <a:gd name="connsiteX833" fmla="*/ 9493176 w 12243467"/>
              <a:gd name="connsiteY833" fmla="*/ 3933052 h 4565177"/>
              <a:gd name="connsiteX834" fmla="*/ 9498708 w 12243467"/>
              <a:gd name="connsiteY834" fmla="*/ 3938009 h 4565177"/>
              <a:gd name="connsiteX835" fmla="*/ 9495112 w 12243467"/>
              <a:gd name="connsiteY835" fmla="*/ 3941246 h 4565177"/>
              <a:gd name="connsiteX836" fmla="*/ 9493176 w 12243467"/>
              <a:gd name="connsiteY836" fmla="*/ 3933052 h 4565177"/>
              <a:gd name="connsiteX837" fmla="*/ 3481311 w 12243467"/>
              <a:gd name="connsiteY837" fmla="*/ 3932245 h 4565177"/>
              <a:gd name="connsiteX838" fmla="*/ 3488226 w 12243467"/>
              <a:gd name="connsiteY838" fmla="*/ 3933054 h 4565177"/>
              <a:gd name="connsiteX839" fmla="*/ 3490439 w 12243467"/>
              <a:gd name="connsiteY839" fmla="*/ 3935381 h 4565177"/>
              <a:gd name="connsiteX840" fmla="*/ 3484354 w 12243467"/>
              <a:gd name="connsiteY840" fmla="*/ 3941753 h 4565177"/>
              <a:gd name="connsiteX841" fmla="*/ 3481311 w 12243467"/>
              <a:gd name="connsiteY841" fmla="*/ 3932245 h 4565177"/>
              <a:gd name="connsiteX842" fmla="*/ 9417667 w 12243467"/>
              <a:gd name="connsiteY842" fmla="*/ 3925163 h 4565177"/>
              <a:gd name="connsiteX843" fmla="*/ 9429007 w 12243467"/>
              <a:gd name="connsiteY843" fmla="*/ 3931839 h 4565177"/>
              <a:gd name="connsiteX844" fmla="*/ 9430667 w 12243467"/>
              <a:gd name="connsiteY844" fmla="*/ 3933255 h 4565177"/>
              <a:gd name="connsiteX845" fmla="*/ 9425411 w 12243467"/>
              <a:gd name="connsiteY845" fmla="*/ 3941954 h 4565177"/>
              <a:gd name="connsiteX846" fmla="*/ 9390284 w 12243467"/>
              <a:gd name="connsiteY846" fmla="*/ 3954396 h 4565177"/>
              <a:gd name="connsiteX847" fmla="*/ 9386135 w 12243467"/>
              <a:gd name="connsiteY847" fmla="*/ 3943572 h 4565177"/>
              <a:gd name="connsiteX848" fmla="*/ 9416284 w 12243467"/>
              <a:gd name="connsiteY848" fmla="*/ 3925264 h 4565177"/>
              <a:gd name="connsiteX849" fmla="*/ 9417667 w 12243467"/>
              <a:gd name="connsiteY849" fmla="*/ 3925163 h 4565177"/>
              <a:gd name="connsiteX850" fmla="*/ 4099567 w 12243467"/>
              <a:gd name="connsiteY850" fmla="*/ 3907990 h 4565177"/>
              <a:gd name="connsiteX851" fmla="*/ 4116440 w 12243467"/>
              <a:gd name="connsiteY851" fmla="*/ 3914666 h 4565177"/>
              <a:gd name="connsiteX852" fmla="*/ 4118375 w 12243467"/>
              <a:gd name="connsiteY852" fmla="*/ 3921443 h 4565177"/>
              <a:gd name="connsiteX853" fmla="*/ 4099567 w 12243467"/>
              <a:gd name="connsiteY853" fmla="*/ 3907990 h 4565177"/>
              <a:gd name="connsiteX854" fmla="*/ 6058930 w 12243467"/>
              <a:gd name="connsiteY854" fmla="*/ 3902932 h 4565177"/>
              <a:gd name="connsiteX855" fmla="*/ 6051186 w 12243467"/>
              <a:gd name="connsiteY855" fmla="*/ 3907383 h 4565177"/>
              <a:gd name="connsiteX856" fmla="*/ 6047037 w 12243467"/>
              <a:gd name="connsiteY856" fmla="*/ 3913958 h 4565177"/>
              <a:gd name="connsiteX857" fmla="*/ 6054505 w 12243467"/>
              <a:gd name="connsiteY857" fmla="*/ 3910418 h 4565177"/>
              <a:gd name="connsiteX858" fmla="*/ 6061973 w 12243467"/>
              <a:gd name="connsiteY858" fmla="*/ 3904955 h 4565177"/>
              <a:gd name="connsiteX859" fmla="*/ 9409646 w 12243467"/>
              <a:gd name="connsiteY859" fmla="*/ 3901392 h 4565177"/>
              <a:gd name="connsiteX860" fmla="*/ 9406603 w 12243467"/>
              <a:gd name="connsiteY860" fmla="*/ 3906551 h 4565177"/>
              <a:gd name="connsiteX861" fmla="*/ 9413794 w 12243467"/>
              <a:gd name="connsiteY861" fmla="*/ 3911608 h 4565177"/>
              <a:gd name="connsiteX862" fmla="*/ 9404944 w 12243467"/>
              <a:gd name="connsiteY862" fmla="*/ 3909079 h 4565177"/>
              <a:gd name="connsiteX863" fmla="*/ 9399412 w 12243467"/>
              <a:gd name="connsiteY863" fmla="*/ 3914744 h 4565177"/>
              <a:gd name="connsiteX864" fmla="*/ 9409646 w 12243467"/>
              <a:gd name="connsiteY864" fmla="*/ 3901392 h 4565177"/>
              <a:gd name="connsiteX865" fmla="*/ 9458326 w 12243467"/>
              <a:gd name="connsiteY865" fmla="*/ 3900077 h 4565177"/>
              <a:gd name="connsiteX866" fmla="*/ 9472432 w 12243467"/>
              <a:gd name="connsiteY866" fmla="*/ 3910900 h 4565177"/>
              <a:gd name="connsiteX867" fmla="*/ 9458602 w 12243467"/>
              <a:gd name="connsiteY867" fmla="*/ 3925668 h 4565177"/>
              <a:gd name="connsiteX868" fmla="*/ 9468836 w 12243467"/>
              <a:gd name="connsiteY868" fmla="*/ 3932749 h 4565177"/>
              <a:gd name="connsiteX869" fmla="*/ 9442560 w 12243467"/>
              <a:gd name="connsiteY869" fmla="*/ 3940942 h 4565177"/>
              <a:gd name="connsiteX870" fmla="*/ 9442283 w 12243467"/>
              <a:gd name="connsiteY870" fmla="*/ 3933963 h 4565177"/>
              <a:gd name="connsiteX871" fmla="*/ 9455006 w 12243467"/>
              <a:gd name="connsiteY871" fmla="*/ 3928804 h 4565177"/>
              <a:gd name="connsiteX872" fmla="*/ 9440624 w 12243467"/>
              <a:gd name="connsiteY872" fmla="*/ 3929714 h 4565177"/>
              <a:gd name="connsiteX873" fmla="*/ 9446156 w 12243467"/>
              <a:gd name="connsiteY873" fmla="*/ 3919093 h 4565177"/>
              <a:gd name="connsiteX874" fmla="*/ 9458326 w 12243467"/>
              <a:gd name="connsiteY874" fmla="*/ 3900077 h 4565177"/>
              <a:gd name="connsiteX875" fmla="*/ 4339371 w 12243467"/>
              <a:gd name="connsiteY875" fmla="*/ 3898684 h 4565177"/>
              <a:gd name="connsiteX876" fmla="*/ 4375050 w 12243467"/>
              <a:gd name="connsiteY876" fmla="*/ 3904450 h 4565177"/>
              <a:gd name="connsiteX877" fmla="*/ 4388327 w 12243467"/>
              <a:gd name="connsiteY877" fmla="*/ 3914868 h 4565177"/>
              <a:gd name="connsiteX878" fmla="*/ 4354584 w 12243467"/>
              <a:gd name="connsiteY878" fmla="*/ 3910114 h 4565177"/>
              <a:gd name="connsiteX879" fmla="*/ 4339371 w 12243467"/>
              <a:gd name="connsiteY879" fmla="*/ 3898684 h 4565177"/>
              <a:gd name="connsiteX880" fmla="*/ 9481006 w 12243467"/>
              <a:gd name="connsiteY880" fmla="*/ 3895120 h 4565177"/>
              <a:gd name="connsiteX881" fmla="*/ 9490687 w 12243467"/>
              <a:gd name="connsiteY881" fmla="*/ 3906551 h 4565177"/>
              <a:gd name="connsiteX882" fmla="*/ 9475751 w 12243467"/>
              <a:gd name="connsiteY882" fmla="*/ 3900684 h 4565177"/>
              <a:gd name="connsiteX883" fmla="*/ 9481006 w 12243467"/>
              <a:gd name="connsiteY883" fmla="*/ 3895120 h 4565177"/>
              <a:gd name="connsiteX884" fmla="*/ 8471452 w 12243467"/>
              <a:gd name="connsiteY884" fmla="*/ 3889253 h 4565177"/>
              <a:gd name="connsiteX885" fmla="*/ 8471176 w 12243467"/>
              <a:gd name="connsiteY885" fmla="*/ 3895019 h 4565177"/>
              <a:gd name="connsiteX886" fmla="*/ 8468963 w 12243467"/>
              <a:gd name="connsiteY886" fmla="*/ 3900583 h 4565177"/>
              <a:gd name="connsiteX887" fmla="*/ 8459006 w 12243467"/>
              <a:gd name="connsiteY887" fmla="*/ 3892592 h 4565177"/>
              <a:gd name="connsiteX888" fmla="*/ 8471452 w 12243467"/>
              <a:gd name="connsiteY888" fmla="*/ 3889253 h 4565177"/>
              <a:gd name="connsiteX889" fmla="*/ 3333612 w 12243467"/>
              <a:gd name="connsiteY889" fmla="*/ 3888446 h 4565177"/>
              <a:gd name="connsiteX890" fmla="*/ 3349931 w 12243467"/>
              <a:gd name="connsiteY890" fmla="*/ 3890368 h 4565177"/>
              <a:gd name="connsiteX891" fmla="*/ 3317570 w 12243467"/>
              <a:gd name="connsiteY891" fmla="*/ 3893706 h 4565177"/>
              <a:gd name="connsiteX892" fmla="*/ 3333612 w 12243467"/>
              <a:gd name="connsiteY892" fmla="*/ 3888446 h 4565177"/>
              <a:gd name="connsiteX893" fmla="*/ 4481815 w 12243467"/>
              <a:gd name="connsiteY893" fmla="*/ 3886141 h 4565177"/>
              <a:gd name="connsiteX894" fmla="*/ 4486793 w 12243467"/>
              <a:gd name="connsiteY894" fmla="*/ 3886141 h 4565177"/>
              <a:gd name="connsiteX895" fmla="*/ 4498133 w 12243467"/>
              <a:gd name="connsiteY895" fmla="*/ 3888872 h 4565177"/>
              <a:gd name="connsiteX896" fmla="*/ 4477390 w 12243467"/>
              <a:gd name="connsiteY896" fmla="*/ 3888569 h 4565177"/>
              <a:gd name="connsiteX897" fmla="*/ 4481815 w 12243467"/>
              <a:gd name="connsiteY897" fmla="*/ 3886141 h 4565177"/>
              <a:gd name="connsiteX898" fmla="*/ 3387547 w 12243467"/>
              <a:gd name="connsiteY898" fmla="*/ 3884805 h 4565177"/>
              <a:gd name="connsiteX899" fmla="*/ 3391420 w 12243467"/>
              <a:gd name="connsiteY899" fmla="*/ 3885310 h 4565177"/>
              <a:gd name="connsiteX900" fmla="*/ 3398334 w 12243467"/>
              <a:gd name="connsiteY900" fmla="*/ 3886625 h 4565177"/>
              <a:gd name="connsiteX901" fmla="*/ 3399441 w 12243467"/>
              <a:gd name="connsiteY901" fmla="*/ 3893807 h 4565177"/>
              <a:gd name="connsiteX902" fmla="*/ 3389207 w 12243467"/>
              <a:gd name="connsiteY902" fmla="*/ 3897449 h 4565177"/>
              <a:gd name="connsiteX903" fmla="*/ 3383952 w 12243467"/>
              <a:gd name="connsiteY903" fmla="*/ 3887435 h 4565177"/>
              <a:gd name="connsiteX904" fmla="*/ 3387547 w 12243467"/>
              <a:gd name="connsiteY904" fmla="*/ 3884805 h 4565177"/>
              <a:gd name="connsiteX905" fmla="*/ 7779043 w 12243467"/>
              <a:gd name="connsiteY905" fmla="*/ 3884422 h 4565177"/>
              <a:gd name="connsiteX906" fmla="*/ 7782086 w 12243467"/>
              <a:gd name="connsiteY906" fmla="*/ 3889884 h 4565177"/>
              <a:gd name="connsiteX907" fmla="*/ 7783469 w 12243467"/>
              <a:gd name="connsiteY907" fmla="*/ 3895548 h 4565177"/>
              <a:gd name="connsiteX908" fmla="*/ 7769639 w 12243467"/>
              <a:gd name="connsiteY908" fmla="*/ 3891300 h 4565177"/>
              <a:gd name="connsiteX909" fmla="*/ 7779043 w 12243467"/>
              <a:gd name="connsiteY909" fmla="*/ 3884422 h 4565177"/>
              <a:gd name="connsiteX910" fmla="*/ 9511431 w 12243467"/>
              <a:gd name="connsiteY910" fmla="*/ 3883285 h 4565177"/>
              <a:gd name="connsiteX911" fmla="*/ 9519729 w 12243467"/>
              <a:gd name="connsiteY911" fmla="*/ 3885511 h 4565177"/>
              <a:gd name="connsiteX912" fmla="*/ 9522494 w 12243467"/>
              <a:gd name="connsiteY912" fmla="*/ 3892389 h 4565177"/>
              <a:gd name="connsiteX913" fmla="*/ 9511984 w 12243467"/>
              <a:gd name="connsiteY913" fmla="*/ 3896941 h 4565177"/>
              <a:gd name="connsiteX914" fmla="*/ 9502857 w 12243467"/>
              <a:gd name="connsiteY914" fmla="*/ 3898964 h 4565177"/>
              <a:gd name="connsiteX915" fmla="*/ 9490410 w 12243467"/>
              <a:gd name="connsiteY915" fmla="*/ 3892490 h 4565177"/>
              <a:gd name="connsiteX916" fmla="*/ 9511431 w 12243467"/>
              <a:gd name="connsiteY916" fmla="*/ 3883285 h 4565177"/>
              <a:gd name="connsiteX917" fmla="*/ 9572557 w 12243467"/>
              <a:gd name="connsiteY917" fmla="*/ 3881667 h 4565177"/>
              <a:gd name="connsiteX918" fmla="*/ 9559834 w 12243467"/>
              <a:gd name="connsiteY918" fmla="*/ 3893805 h 4565177"/>
              <a:gd name="connsiteX919" fmla="*/ 9572557 w 12243467"/>
              <a:gd name="connsiteY919" fmla="*/ 3881667 h 4565177"/>
              <a:gd name="connsiteX920" fmla="*/ 9472985 w 12243467"/>
              <a:gd name="connsiteY920" fmla="*/ 3880453 h 4565177"/>
              <a:gd name="connsiteX921" fmla="*/ 9466623 w 12243467"/>
              <a:gd name="connsiteY921" fmla="*/ 3895626 h 4565177"/>
              <a:gd name="connsiteX922" fmla="*/ 9422092 w 12243467"/>
              <a:gd name="connsiteY922" fmla="*/ 3903111 h 4565177"/>
              <a:gd name="connsiteX923" fmla="*/ 9472985 w 12243467"/>
              <a:gd name="connsiteY923" fmla="*/ 3880453 h 4565177"/>
              <a:gd name="connsiteX924" fmla="*/ 8496899 w 12243467"/>
              <a:gd name="connsiteY924" fmla="*/ 3878835 h 4565177"/>
              <a:gd name="connsiteX925" fmla="*/ 8509345 w 12243467"/>
              <a:gd name="connsiteY925" fmla="*/ 3882274 h 4565177"/>
              <a:gd name="connsiteX926" fmla="*/ 8490260 w 12243467"/>
              <a:gd name="connsiteY926" fmla="*/ 3891277 h 4565177"/>
              <a:gd name="connsiteX927" fmla="*/ 8484452 w 12243467"/>
              <a:gd name="connsiteY927" fmla="*/ 3883892 h 4565177"/>
              <a:gd name="connsiteX928" fmla="*/ 8496899 w 12243467"/>
              <a:gd name="connsiteY928" fmla="*/ 3878835 h 4565177"/>
              <a:gd name="connsiteX929" fmla="*/ 3472184 w 12243467"/>
              <a:gd name="connsiteY929" fmla="*/ 3874082 h 4565177"/>
              <a:gd name="connsiteX930" fmla="*/ 3484907 w 12243467"/>
              <a:gd name="connsiteY930" fmla="*/ 3874184 h 4565177"/>
              <a:gd name="connsiteX931" fmla="*/ 3501226 w 12243467"/>
              <a:gd name="connsiteY931" fmla="*/ 3882276 h 4565177"/>
              <a:gd name="connsiteX932" fmla="*/ 3442589 w 12243467"/>
              <a:gd name="connsiteY932" fmla="*/ 3885007 h 4565177"/>
              <a:gd name="connsiteX933" fmla="*/ 3446461 w 12243467"/>
              <a:gd name="connsiteY933" fmla="*/ 3890064 h 4565177"/>
              <a:gd name="connsiteX934" fmla="*/ 3432632 w 12243467"/>
              <a:gd name="connsiteY934" fmla="*/ 3886221 h 4565177"/>
              <a:gd name="connsiteX935" fmla="*/ 3472184 w 12243467"/>
              <a:gd name="connsiteY935" fmla="*/ 3874082 h 4565177"/>
              <a:gd name="connsiteX936" fmla="*/ 8511834 w 12243467"/>
              <a:gd name="connsiteY936" fmla="*/ 3868618 h 4565177"/>
              <a:gd name="connsiteX937" fmla="*/ 8467857 w 12243467"/>
              <a:gd name="connsiteY937" fmla="*/ 3884196 h 4565177"/>
              <a:gd name="connsiteX938" fmla="*/ 8436325 w 12243467"/>
              <a:gd name="connsiteY938" fmla="*/ 3896638 h 4565177"/>
              <a:gd name="connsiteX939" fmla="*/ 8378241 w 12243467"/>
              <a:gd name="connsiteY939" fmla="*/ 3910698 h 4565177"/>
              <a:gd name="connsiteX940" fmla="*/ 8315732 w 12243467"/>
              <a:gd name="connsiteY940" fmla="*/ 3922027 h 4565177"/>
              <a:gd name="connsiteX941" fmla="*/ 8304392 w 12243467"/>
              <a:gd name="connsiteY941" fmla="*/ 3929917 h 4565177"/>
              <a:gd name="connsiteX942" fmla="*/ 8295541 w 12243467"/>
              <a:gd name="connsiteY942" fmla="*/ 3926579 h 4565177"/>
              <a:gd name="connsiteX943" fmla="*/ 8252393 w 12243467"/>
              <a:gd name="connsiteY943" fmla="*/ 3949136 h 4565177"/>
              <a:gd name="connsiteX944" fmla="*/ 8137457 w 12243467"/>
              <a:gd name="connsiteY944" fmla="*/ 3968453 h 4565177"/>
              <a:gd name="connsiteX945" fmla="*/ 8112753 w 12243467"/>
              <a:gd name="connsiteY945" fmla="*/ 3968585 h 4565177"/>
              <a:gd name="connsiteX946" fmla="*/ 8109983 w 12243467"/>
              <a:gd name="connsiteY946" fmla="*/ 3971261 h 4565177"/>
              <a:gd name="connsiteX947" fmla="*/ 8055357 w 12243467"/>
              <a:gd name="connsiteY947" fmla="*/ 4027653 h 4565177"/>
              <a:gd name="connsiteX948" fmla="*/ 8064208 w 12243467"/>
              <a:gd name="connsiteY948" fmla="*/ 4037465 h 4565177"/>
              <a:gd name="connsiteX949" fmla="*/ 8054927 w 12243467"/>
              <a:gd name="connsiteY949" fmla="*/ 4040792 h 4565177"/>
              <a:gd name="connsiteX950" fmla="*/ 8060197 w 12243467"/>
              <a:gd name="connsiteY950" fmla="*/ 4044485 h 4565177"/>
              <a:gd name="connsiteX951" fmla="*/ 8065695 w 12243467"/>
              <a:gd name="connsiteY951" fmla="*/ 4039971 h 4565177"/>
              <a:gd name="connsiteX952" fmla="*/ 8072886 w 12243467"/>
              <a:gd name="connsiteY952" fmla="*/ 4052109 h 4565177"/>
              <a:gd name="connsiteX953" fmla="*/ 8074269 w 12243467"/>
              <a:gd name="connsiteY953" fmla="*/ 4045534 h 4565177"/>
              <a:gd name="connsiteX954" fmla="*/ 8089758 w 12243467"/>
              <a:gd name="connsiteY954" fmla="*/ 4051704 h 4565177"/>
              <a:gd name="connsiteX955" fmla="*/ 8085056 w 12243467"/>
              <a:gd name="connsiteY955" fmla="*/ 4039869 h 4565177"/>
              <a:gd name="connsiteX956" fmla="*/ 8103034 w 12243467"/>
              <a:gd name="connsiteY956" fmla="*/ 4021359 h 4565177"/>
              <a:gd name="connsiteX957" fmla="*/ 8124885 w 12243467"/>
              <a:gd name="connsiteY957" fmla="*/ 4032890 h 4565177"/>
              <a:gd name="connsiteX958" fmla="*/ 8181586 w 12243467"/>
              <a:gd name="connsiteY958" fmla="*/ 4025506 h 4565177"/>
              <a:gd name="connsiteX959" fmla="*/ 8195692 w 12243467"/>
              <a:gd name="connsiteY959" fmla="*/ 4015694 h 4565177"/>
              <a:gd name="connsiteX960" fmla="*/ 8189330 w 12243467"/>
              <a:gd name="connsiteY960" fmla="*/ 4023988 h 4565177"/>
              <a:gd name="connsiteX961" fmla="*/ 8216160 w 12243467"/>
              <a:gd name="connsiteY961" fmla="*/ 4022471 h 4565177"/>
              <a:gd name="connsiteX962" fmla="*/ 8214500 w 12243467"/>
              <a:gd name="connsiteY962" fmla="*/ 4006388 h 4565177"/>
              <a:gd name="connsiteX963" fmla="*/ 8224457 w 12243467"/>
              <a:gd name="connsiteY963" fmla="*/ 4005174 h 4565177"/>
              <a:gd name="connsiteX964" fmla="*/ 8219755 w 12243467"/>
              <a:gd name="connsiteY964" fmla="*/ 4016099 h 4565177"/>
              <a:gd name="connsiteX965" fmla="*/ 8227223 w 12243467"/>
              <a:gd name="connsiteY965" fmla="*/ 4014581 h 4565177"/>
              <a:gd name="connsiteX966" fmla="*/ 8226117 w 12243467"/>
              <a:gd name="connsiteY966" fmla="*/ 4007703 h 4565177"/>
              <a:gd name="connsiteX967" fmla="*/ 8289733 w 12243467"/>
              <a:gd name="connsiteY967" fmla="*/ 3991923 h 4565177"/>
              <a:gd name="connsiteX968" fmla="*/ 8309647 w 12243467"/>
              <a:gd name="connsiteY968" fmla="*/ 3987270 h 4565177"/>
              <a:gd name="connsiteX969" fmla="*/ 8308817 w 12243467"/>
              <a:gd name="connsiteY969" fmla="*/ 3980392 h 4565177"/>
              <a:gd name="connsiteX970" fmla="*/ 8359433 w 12243467"/>
              <a:gd name="connsiteY970" fmla="*/ 3967748 h 4565177"/>
              <a:gd name="connsiteX971" fmla="*/ 8365242 w 12243467"/>
              <a:gd name="connsiteY971" fmla="*/ 3975233 h 4565177"/>
              <a:gd name="connsiteX972" fmla="*/ 8442687 w 12243467"/>
              <a:gd name="connsiteY972" fmla="*/ 3949743 h 4565177"/>
              <a:gd name="connsiteX973" fmla="*/ 8444070 w 12243467"/>
              <a:gd name="connsiteY973" fmla="*/ 3942965 h 4565177"/>
              <a:gd name="connsiteX974" fmla="*/ 8442410 w 12243467"/>
              <a:gd name="connsiteY974" fmla="*/ 3938211 h 4565177"/>
              <a:gd name="connsiteX975" fmla="*/ 8431347 w 12243467"/>
              <a:gd name="connsiteY975" fmla="*/ 3946101 h 4565177"/>
              <a:gd name="connsiteX976" fmla="*/ 8422219 w 12243467"/>
              <a:gd name="connsiteY976" fmla="*/ 3942864 h 4565177"/>
              <a:gd name="connsiteX977" fmla="*/ 8475601 w 12243467"/>
              <a:gd name="connsiteY977" fmla="*/ 3916969 h 4565177"/>
              <a:gd name="connsiteX978" fmla="*/ 8469793 w 12243467"/>
              <a:gd name="connsiteY978" fmla="*/ 3909484 h 4565177"/>
              <a:gd name="connsiteX979" fmla="*/ 8523728 w 12243467"/>
              <a:gd name="connsiteY979" fmla="*/ 3881262 h 4565177"/>
              <a:gd name="connsiteX980" fmla="*/ 8511834 w 12243467"/>
              <a:gd name="connsiteY980" fmla="*/ 3868618 h 4565177"/>
              <a:gd name="connsiteX981" fmla="*/ 3215232 w 12243467"/>
              <a:gd name="connsiteY981" fmla="*/ 3867811 h 4565177"/>
              <a:gd name="connsiteX982" fmla="*/ 3225466 w 12243467"/>
              <a:gd name="connsiteY982" fmla="*/ 3868216 h 4565177"/>
              <a:gd name="connsiteX983" fmla="*/ 3243444 w 12243467"/>
              <a:gd name="connsiteY983" fmla="*/ 3869632 h 4565177"/>
              <a:gd name="connsiteX984" fmla="*/ 3207211 w 12243467"/>
              <a:gd name="connsiteY984" fmla="*/ 3870239 h 4565177"/>
              <a:gd name="connsiteX985" fmla="*/ 3215232 w 12243467"/>
              <a:gd name="connsiteY985" fmla="*/ 3867811 h 4565177"/>
              <a:gd name="connsiteX986" fmla="*/ 7803383 w 12243467"/>
              <a:gd name="connsiteY986" fmla="*/ 3865405 h 4565177"/>
              <a:gd name="connsiteX987" fmla="*/ 7809468 w 12243467"/>
              <a:gd name="connsiteY987" fmla="*/ 3866214 h 4565177"/>
              <a:gd name="connsiteX988" fmla="*/ 7797575 w 12243467"/>
              <a:gd name="connsiteY988" fmla="*/ 3880477 h 4565177"/>
              <a:gd name="connsiteX989" fmla="*/ 7787894 w 12243467"/>
              <a:gd name="connsiteY989" fmla="*/ 3875621 h 4565177"/>
              <a:gd name="connsiteX990" fmla="*/ 7803383 w 12243467"/>
              <a:gd name="connsiteY990" fmla="*/ 3865405 h 4565177"/>
              <a:gd name="connsiteX991" fmla="*/ 3384505 w 12243467"/>
              <a:gd name="connsiteY991" fmla="*/ 3862349 h 4565177"/>
              <a:gd name="connsiteX992" fmla="*/ 3358782 w 12243467"/>
              <a:gd name="connsiteY992" fmla="*/ 3871048 h 4565177"/>
              <a:gd name="connsiteX993" fmla="*/ 3362101 w 12243467"/>
              <a:gd name="connsiteY993" fmla="*/ 3878331 h 4565177"/>
              <a:gd name="connsiteX994" fmla="*/ 3342187 w 12243467"/>
              <a:gd name="connsiteY994" fmla="*/ 3880758 h 4565177"/>
              <a:gd name="connsiteX995" fmla="*/ 3321166 w 12243467"/>
              <a:gd name="connsiteY995" fmla="*/ 3878432 h 4565177"/>
              <a:gd name="connsiteX996" fmla="*/ 3287698 w 12243467"/>
              <a:gd name="connsiteY996" fmla="*/ 3877117 h 4565177"/>
              <a:gd name="connsiteX997" fmla="*/ 3279124 w 12243467"/>
              <a:gd name="connsiteY997" fmla="*/ 3871554 h 4565177"/>
              <a:gd name="connsiteX998" fmla="*/ 3384505 w 12243467"/>
              <a:gd name="connsiteY998" fmla="*/ 3862349 h 4565177"/>
              <a:gd name="connsiteX999" fmla="*/ 9238436 w 12243467"/>
              <a:gd name="connsiteY999" fmla="*/ 3859110 h 4565177"/>
              <a:gd name="connsiteX1000" fmla="*/ 9206075 w 12243467"/>
              <a:gd name="connsiteY1000" fmla="*/ 3871046 h 4565177"/>
              <a:gd name="connsiteX1001" fmla="*/ 9238436 w 12243467"/>
              <a:gd name="connsiteY1001" fmla="*/ 3859110 h 4565177"/>
              <a:gd name="connsiteX1002" fmla="*/ 3746285 w 12243467"/>
              <a:gd name="connsiteY1002" fmla="*/ 3856886 h 4565177"/>
              <a:gd name="connsiteX1003" fmla="*/ 3729689 w 12243467"/>
              <a:gd name="connsiteY1003" fmla="*/ 3869025 h 4565177"/>
              <a:gd name="connsiteX1004" fmla="*/ 3746285 w 12243467"/>
              <a:gd name="connsiteY1004" fmla="*/ 3856886 h 4565177"/>
              <a:gd name="connsiteX1005" fmla="*/ 9465240 w 12243467"/>
              <a:gd name="connsiteY1005" fmla="*/ 3856075 h 4565177"/>
              <a:gd name="connsiteX1006" fmla="*/ 9471049 w 12243467"/>
              <a:gd name="connsiteY1006" fmla="*/ 3864067 h 4565177"/>
              <a:gd name="connsiteX1007" fmla="*/ 9450858 w 12243467"/>
              <a:gd name="connsiteY1007" fmla="*/ 3868618 h 4565177"/>
              <a:gd name="connsiteX1008" fmla="*/ 9465240 w 12243467"/>
              <a:gd name="connsiteY1008" fmla="*/ 3856075 h 4565177"/>
              <a:gd name="connsiteX1009" fmla="*/ 3469418 w 12243467"/>
              <a:gd name="connsiteY1009" fmla="*/ 3855976 h 4565177"/>
              <a:gd name="connsiteX1010" fmla="*/ 3400547 w 12243467"/>
              <a:gd name="connsiteY1010" fmla="*/ 3866496 h 4565177"/>
              <a:gd name="connsiteX1011" fmla="*/ 3469418 w 12243467"/>
              <a:gd name="connsiteY1011" fmla="*/ 3855976 h 4565177"/>
              <a:gd name="connsiteX1012" fmla="*/ 4916537 w 12243467"/>
              <a:gd name="connsiteY1012" fmla="*/ 3851525 h 4565177"/>
              <a:gd name="connsiteX1013" fmla="*/ 4919580 w 12243467"/>
              <a:gd name="connsiteY1013" fmla="*/ 3856482 h 4565177"/>
              <a:gd name="connsiteX1014" fmla="*/ 4919856 w 12243467"/>
              <a:gd name="connsiteY1014" fmla="*/ 3860225 h 4565177"/>
              <a:gd name="connsiteX1015" fmla="*/ 4910453 w 12243467"/>
              <a:gd name="connsiteY1015" fmla="*/ 3855268 h 4565177"/>
              <a:gd name="connsiteX1016" fmla="*/ 4916537 w 12243467"/>
              <a:gd name="connsiteY1016" fmla="*/ 3851525 h 4565177"/>
              <a:gd name="connsiteX1017" fmla="*/ 4979676 w 12243467"/>
              <a:gd name="connsiteY1017" fmla="*/ 3849726 h 4565177"/>
              <a:gd name="connsiteX1018" fmla="*/ 4987145 w 12243467"/>
              <a:gd name="connsiteY1018" fmla="*/ 3851142 h 4565177"/>
              <a:gd name="connsiteX1019" fmla="*/ 4995996 w 12243467"/>
              <a:gd name="connsiteY1019" fmla="*/ 3858628 h 4565177"/>
              <a:gd name="connsiteX1020" fmla="*/ 4973315 w 12243467"/>
              <a:gd name="connsiteY1020" fmla="*/ 3859740 h 4565177"/>
              <a:gd name="connsiteX1021" fmla="*/ 4972761 w 12243467"/>
              <a:gd name="connsiteY1021" fmla="*/ 3851244 h 4565177"/>
              <a:gd name="connsiteX1022" fmla="*/ 4979676 w 12243467"/>
              <a:gd name="connsiteY1022" fmla="*/ 3849726 h 4565177"/>
              <a:gd name="connsiteX1023" fmla="*/ 4945102 w 12243467"/>
              <a:gd name="connsiteY1023" fmla="*/ 3849524 h 4565177"/>
              <a:gd name="connsiteX1024" fmla="*/ 4958103 w 12243467"/>
              <a:gd name="connsiteY1024" fmla="*/ 3851142 h 4565177"/>
              <a:gd name="connsiteX1025" fmla="*/ 4953953 w 12243467"/>
              <a:gd name="connsiteY1025" fmla="*/ 3856099 h 4565177"/>
              <a:gd name="connsiteX1026" fmla="*/ 4948698 w 12243467"/>
              <a:gd name="connsiteY1026" fmla="*/ 3860347 h 4565177"/>
              <a:gd name="connsiteX1027" fmla="*/ 4946909 w 12243467"/>
              <a:gd name="connsiteY1027" fmla="*/ 3858356 h 4565177"/>
              <a:gd name="connsiteX1028" fmla="*/ 4946824 w 12243467"/>
              <a:gd name="connsiteY1028" fmla="*/ 3858492 h 4565177"/>
              <a:gd name="connsiteX1029" fmla="*/ 4942813 w 12243467"/>
              <a:gd name="connsiteY1029" fmla="*/ 3861944 h 4565177"/>
              <a:gd name="connsiteX1030" fmla="*/ 4936452 w 12243467"/>
              <a:gd name="connsiteY1030" fmla="*/ 3858606 h 4565177"/>
              <a:gd name="connsiteX1031" fmla="*/ 4941569 w 12243467"/>
              <a:gd name="connsiteY1031" fmla="*/ 3854623 h 4565177"/>
              <a:gd name="connsiteX1032" fmla="*/ 4944826 w 12243467"/>
              <a:gd name="connsiteY1032" fmla="*/ 3854169 h 4565177"/>
              <a:gd name="connsiteX1033" fmla="*/ 8460596 w 12243467"/>
              <a:gd name="connsiteY1033" fmla="*/ 3846441 h 4565177"/>
              <a:gd name="connsiteX1034" fmla="*/ 8446283 w 12243467"/>
              <a:gd name="connsiteY1034" fmla="*/ 3847680 h 4565177"/>
              <a:gd name="connsiteX1035" fmla="*/ 8400645 w 12243467"/>
              <a:gd name="connsiteY1035" fmla="*/ 3870035 h 4565177"/>
              <a:gd name="connsiteX1036" fmla="*/ 8341732 w 12243467"/>
              <a:gd name="connsiteY1036" fmla="*/ 3888444 h 4565177"/>
              <a:gd name="connsiteX1037" fmla="*/ 8298860 w 12243467"/>
              <a:gd name="connsiteY1037" fmla="*/ 3897447 h 4565177"/>
              <a:gd name="connsiteX1038" fmla="*/ 8213947 w 12243467"/>
              <a:gd name="connsiteY1038" fmla="*/ 3924455 h 4565177"/>
              <a:gd name="connsiteX1039" fmla="*/ 8149706 w 12243467"/>
              <a:gd name="connsiteY1039" fmla="*/ 3932885 h 4565177"/>
              <a:gd name="connsiteX1040" fmla="*/ 8134588 w 12243467"/>
              <a:gd name="connsiteY1040" fmla="*/ 3947490 h 4565177"/>
              <a:gd name="connsiteX1041" fmla="*/ 8149778 w 12243467"/>
              <a:gd name="connsiteY1041" fmla="*/ 3944685 h 4565177"/>
              <a:gd name="connsiteX1042" fmla="*/ 8143140 w 12243467"/>
              <a:gd name="connsiteY1042" fmla="*/ 3941650 h 4565177"/>
              <a:gd name="connsiteX1043" fmla="*/ 8211734 w 12243467"/>
              <a:gd name="connsiteY1043" fmla="*/ 3935480 h 4565177"/>
              <a:gd name="connsiteX1044" fmla="*/ 8290839 w 12243467"/>
              <a:gd name="connsiteY1044" fmla="*/ 3926073 h 4565177"/>
              <a:gd name="connsiteX1045" fmla="*/ 8321817 w 12243467"/>
              <a:gd name="connsiteY1045" fmla="*/ 3915857 h 4565177"/>
              <a:gd name="connsiteX1046" fmla="*/ 8315456 w 12243467"/>
              <a:gd name="connsiteY1046" fmla="*/ 3910597 h 4565177"/>
              <a:gd name="connsiteX1047" fmla="*/ 8471176 w 12243467"/>
              <a:gd name="connsiteY1047" fmla="*/ 3855064 h 4565177"/>
              <a:gd name="connsiteX1048" fmla="*/ 8460596 w 12243467"/>
              <a:gd name="connsiteY1048" fmla="*/ 3846441 h 4565177"/>
              <a:gd name="connsiteX1049" fmla="*/ 4437560 w 12243467"/>
              <a:gd name="connsiteY1049" fmla="*/ 3846287 h 4565177"/>
              <a:gd name="connsiteX1050" fmla="*/ 4459963 w 12243467"/>
              <a:gd name="connsiteY1050" fmla="*/ 3853267 h 4565177"/>
              <a:gd name="connsiteX1051" fmla="*/ 4462453 w 12243467"/>
              <a:gd name="connsiteY1051" fmla="*/ 3859538 h 4565177"/>
              <a:gd name="connsiteX1052" fmla="*/ 4456645 w 12243467"/>
              <a:gd name="connsiteY1052" fmla="*/ 3865304 h 4565177"/>
              <a:gd name="connsiteX1053" fmla="*/ 4445581 w 12243467"/>
              <a:gd name="connsiteY1053" fmla="*/ 3861662 h 4565177"/>
              <a:gd name="connsiteX1054" fmla="*/ 4438114 w 12243467"/>
              <a:gd name="connsiteY1054" fmla="*/ 3857515 h 4565177"/>
              <a:gd name="connsiteX1055" fmla="*/ 4437560 w 12243467"/>
              <a:gd name="connsiteY1055" fmla="*/ 3846287 h 4565177"/>
              <a:gd name="connsiteX1056" fmla="*/ 9346860 w 12243467"/>
              <a:gd name="connsiteY1056" fmla="*/ 3844443 h 4565177"/>
              <a:gd name="connsiteX1057" fmla="*/ 9319477 w 12243467"/>
              <a:gd name="connsiteY1057" fmla="*/ 3857694 h 4565177"/>
              <a:gd name="connsiteX1058" fmla="*/ 9346860 w 12243467"/>
              <a:gd name="connsiteY1058" fmla="*/ 3844443 h 4565177"/>
              <a:gd name="connsiteX1059" fmla="*/ 7446029 w 12243467"/>
              <a:gd name="connsiteY1059" fmla="*/ 3842747 h 4565177"/>
              <a:gd name="connsiteX1060" fmla="*/ 7441880 w 12243467"/>
              <a:gd name="connsiteY1060" fmla="*/ 3849423 h 4565177"/>
              <a:gd name="connsiteX1061" fmla="*/ 7449072 w 12243467"/>
              <a:gd name="connsiteY1061" fmla="*/ 3843455 h 4565177"/>
              <a:gd name="connsiteX1062" fmla="*/ 4762000 w 12243467"/>
              <a:gd name="connsiteY1062" fmla="*/ 3842443 h 4565177"/>
              <a:gd name="connsiteX1063" fmla="*/ 4774170 w 12243467"/>
              <a:gd name="connsiteY1063" fmla="*/ 3843859 h 4565177"/>
              <a:gd name="connsiteX1064" fmla="*/ 4751489 w 12243467"/>
              <a:gd name="connsiteY1064" fmla="*/ 3848512 h 4565177"/>
              <a:gd name="connsiteX1065" fmla="*/ 4762000 w 12243467"/>
              <a:gd name="connsiteY1065" fmla="*/ 3842443 h 4565177"/>
              <a:gd name="connsiteX1066" fmla="*/ 9496495 w 12243467"/>
              <a:gd name="connsiteY1066" fmla="*/ 3839689 h 4565177"/>
              <a:gd name="connsiteX1067" fmla="*/ 9499814 w 12243467"/>
              <a:gd name="connsiteY1067" fmla="*/ 3841206 h 4565177"/>
              <a:gd name="connsiteX1068" fmla="*/ 9497878 w 12243467"/>
              <a:gd name="connsiteY1068" fmla="*/ 3848894 h 4565177"/>
              <a:gd name="connsiteX1069" fmla="*/ 9489857 w 12243467"/>
              <a:gd name="connsiteY1069" fmla="*/ 3841307 h 4565177"/>
              <a:gd name="connsiteX1070" fmla="*/ 9496495 w 12243467"/>
              <a:gd name="connsiteY1070" fmla="*/ 3839689 h 4565177"/>
              <a:gd name="connsiteX1071" fmla="*/ 8983144 w 12243467"/>
              <a:gd name="connsiteY1071" fmla="*/ 3832608 h 4565177"/>
              <a:gd name="connsiteX1072" fmla="*/ 8988122 w 12243467"/>
              <a:gd name="connsiteY1072" fmla="*/ 3833620 h 4565177"/>
              <a:gd name="connsiteX1073" fmla="*/ 8975399 w 12243467"/>
              <a:gd name="connsiteY1073" fmla="*/ 3837261 h 4565177"/>
              <a:gd name="connsiteX1074" fmla="*/ 8983144 w 12243467"/>
              <a:gd name="connsiteY1074" fmla="*/ 3832608 h 4565177"/>
              <a:gd name="connsiteX1075" fmla="*/ 7462624 w 12243467"/>
              <a:gd name="connsiteY1075" fmla="*/ 3832126 h 4565177"/>
              <a:gd name="connsiteX1076" fmla="*/ 7454050 w 12243467"/>
              <a:gd name="connsiteY1076" fmla="*/ 3835666 h 4565177"/>
              <a:gd name="connsiteX1077" fmla="*/ 7456263 w 12243467"/>
              <a:gd name="connsiteY1077" fmla="*/ 3837386 h 4565177"/>
              <a:gd name="connsiteX1078" fmla="*/ 8155774 w 12243467"/>
              <a:gd name="connsiteY1078" fmla="*/ 3826757 h 4565177"/>
              <a:gd name="connsiteX1079" fmla="*/ 8130451 w 12243467"/>
              <a:gd name="connsiteY1079" fmla="*/ 3829068 h 4565177"/>
              <a:gd name="connsiteX1080" fmla="*/ 8093574 w 12243467"/>
              <a:gd name="connsiteY1080" fmla="*/ 3832760 h 4565177"/>
              <a:gd name="connsiteX1081" fmla="*/ 8075211 w 12243467"/>
              <a:gd name="connsiteY1081" fmla="*/ 3838599 h 4565177"/>
              <a:gd name="connsiteX1082" fmla="*/ 8065867 w 12243467"/>
              <a:gd name="connsiteY1082" fmla="*/ 3849220 h 4565177"/>
              <a:gd name="connsiteX1083" fmla="*/ 8056750 w 12243467"/>
              <a:gd name="connsiteY1083" fmla="*/ 3843368 h 4565177"/>
              <a:gd name="connsiteX1084" fmla="*/ 8053152 w 12243467"/>
              <a:gd name="connsiteY1084" fmla="*/ 3842796 h 4565177"/>
              <a:gd name="connsiteX1085" fmla="*/ 8055115 w 12243467"/>
              <a:gd name="connsiteY1085" fmla="*/ 3848120 h 4565177"/>
              <a:gd name="connsiteX1086" fmla="*/ 8063101 w 12243467"/>
              <a:gd name="connsiteY1086" fmla="*/ 3854582 h 4565177"/>
              <a:gd name="connsiteX1087" fmla="*/ 8061763 w 12243467"/>
              <a:gd name="connsiteY1087" fmla="*/ 3855334 h 4565177"/>
              <a:gd name="connsiteX1088" fmla="*/ 8072506 w 12243467"/>
              <a:gd name="connsiteY1088" fmla="*/ 3853977 h 4565177"/>
              <a:gd name="connsiteX1089" fmla="*/ 8144799 w 12243467"/>
              <a:gd name="connsiteY1089" fmla="*/ 3837160 h 4565177"/>
              <a:gd name="connsiteX1090" fmla="*/ 8148884 w 12243467"/>
              <a:gd name="connsiteY1090" fmla="*/ 3836556 h 4565177"/>
              <a:gd name="connsiteX1091" fmla="*/ 9388625 w 12243467"/>
              <a:gd name="connsiteY1091" fmla="*/ 3825932 h 4565177"/>
              <a:gd name="connsiteX1092" fmla="*/ 9393603 w 12243467"/>
              <a:gd name="connsiteY1092" fmla="*/ 3832102 h 4565177"/>
              <a:gd name="connsiteX1093" fmla="*/ 9386412 w 12243467"/>
              <a:gd name="connsiteY1093" fmla="*/ 3838576 h 4565177"/>
              <a:gd name="connsiteX1094" fmla="*/ 9375902 w 12243467"/>
              <a:gd name="connsiteY1094" fmla="*/ 3831192 h 4565177"/>
              <a:gd name="connsiteX1095" fmla="*/ 9388625 w 12243467"/>
              <a:gd name="connsiteY1095" fmla="*/ 3825932 h 4565177"/>
              <a:gd name="connsiteX1096" fmla="*/ 4492878 w 12243467"/>
              <a:gd name="connsiteY1096" fmla="*/ 3815537 h 4565177"/>
              <a:gd name="connsiteX1097" fmla="*/ 4498410 w 12243467"/>
              <a:gd name="connsiteY1097" fmla="*/ 3818672 h 4565177"/>
              <a:gd name="connsiteX1098" fmla="*/ 4498963 w 12243467"/>
              <a:gd name="connsiteY1098" fmla="*/ 3821505 h 4565177"/>
              <a:gd name="connsiteX1099" fmla="*/ 4489282 w 12243467"/>
              <a:gd name="connsiteY1099" fmla="*/ 3824742 h 4565177"/>
              <a:gd name="connsiteX1100" fmla="*/ 4492878 w 12243467"/>
              <a:gd name="connsiteY1100" fmla="*/ 3815537 h 4565177"/>
              <a:gd name="connsiteX1101" fmla="*/ 5049246 w 12243467"/>
              <a:gd name="connsiteY1101" fmla="*/ 3811873 h 4565177"/>
              <a:gd name="connsiteX1102" fmla="*/ 5032471 w 12243467"/>
              <a:gd name="connsiteY1102" fmla="*/ 3812490 h 4565177"/>
              <a:gd name="connsiteX1103" fmla="*/ 5005288 w 12243467"/>
              <a:gd name="connsiteY1103" fmla="*/ 3814198 h 4565177"/>
              <a:gd name="connsiteX1104" fmla="*/ 5003001 w 12243467"/>
              <a:gd name="connsiteY1104" fmla="*/ 3815087 h 4565177"/>
              <a:gd name="connsiteX1105" fmla="*/ 5042531 w 12243467"/>
              <a:gd name="connsiteY1105" fmla="*/ 3819115 h 4565177"/>
              <a:gd name="connsiteX1106" fmla="*/ 5047368 w 12243467"/>
              <a:gd name="connsiteY1106" fmla="*/ 3818733 h 4565177"/>
              <a:gd name="connsiteX1107" fmla="*/ 5049577 w 12243467"/>
              <a:gd name="connsiteY1107" fmla="*/ 3817235 h 4565177"/>
              <a:gd name="connsiteX1108" fmla="*/ 7788828 w 12243467"/>
              <a:gd name="connsiteY1108" fmla="*/ 3811568 h 4565177"/>
              <a:gd name="connsiteX1109" fmla="*/ 7783564 w 12243467"/>
              <a:gd name="connsiteY1109" fmla="*/ 3815120 h 4565177"/>
              <a:gd name="connsiteX1110" fmla="*/ 7783040 w 12243467"/>
              <a:gd name="connsiteY1110" fmla="*/ 3814878 h 4565177"/>
              <a:gd name="connsiteX1111" fmla="*/ 7781117 w 12243467"/>
              <a:gd name="connsiteY1111" fmla="*/ 3817041 h 4565177"/>
              <a:gd name="connsiteX1112" fmla="*/ 7763278 w 12243467"/>
              <a:gd name="connsiteY1112" fmla="*/ 3838599 h 4565177"/>
              <a:gd name="connsiteX1113" fmla="*/ 7793784 w 12243467"/>
              <a:gd name="connsiteY1113" fmla="*/ 3815389 h 4565177"/>
              <a:gd name="connsiteX1114" fmla="*/ 8114375 w 12243467"/>
              <a:gd name="connsiteY1114" fmla="*/ 3808837 h 4565177"/>
              <a:gd name="connsiteX1115" fmla="*/ 8108393 w 12243467"/>
              <a:gd name="connsiteY1115" fmla="*/ 3811556 h 4565177"/>
              <a:gd name="connsiteX1116" fmla="*/ 8105264 w 12243467"/>
              <a:gd name="connsiteY1116" fmla="*/ 3812326 h 4565177"/>
              <a:gd name="connsiteX1117" fmla="*/ 8103760 w 12243467"/>
              <a:gd name="connsiteY1117" fmla="*/ 3819785 h 4565177"/>
              <a:gd name="connsiteX1118" fmla="*/ 8100193 w 12243467"/>
              <a:gd name="connsiteY1118" fmla="*/ 3821048 h 4565177"/>
              <a:gd name="connsiteX1119" fmla="*/ 8104612 w 12243467"/>
              <a:gd name="connsiteY1119" fmla="*/ 3824862 h 4565177"/>
              <a:gd name="connsiteX1120" fmla="*/ 8126821 w 12243467"/>
              <a:gd name="connsiteY1120" fmla="*/ 3819357 h 4565177"/>
              <a:gd name="connsiteX1121" fmla="*/ 8114375 w 12243467"/>
              <a:gd name="connsiteY1121" fmla="*/ 3808837 h 4565177"/>
              <a:gd name="connsiteX1122" fmla="*/ 9362349 w 12243467"/>
              <a:gd name="connsiteY1122" fmla="*/ 3808129 h 4565177"/>
              <a:gd name="connsiteX1123" fmla="*/ 9343817 w 12243467"/>
              <a:gd name="connsiteY1123" fmla="*/ 3824212 h 4565177"/>
              <a:gd name="connsiteX1124" fmla="*/ 9351008 w 12243467"/>
              <a:gd name="connsiteY1124" fmla="*/ 3829776 h 4565177"/>
              <a:gd name="connsiteX1125" fmla="*/ 9334413 w 12243467"/>
              <a:gd name="connsiteY1125" fmla="*/ 3838273 h 4565177"/>
              <a:gd name="connsiteX1126" fmla="*/ 9313945 w 12243467"/>
              <a:gd name="connsiteY1126" fmla="*/ 3842825 h 4565177"/>
              <a:gd name="connsiteX1127" fmla="*/ 9282691 w 12243467"/>
              <a:gd name="connsiteY1127" fmla="*/ 3852029 h 4565177"/>
              <a:gd name="connsiteX1128" fmla="*/ 9271904 w 12243467"/>
              <a:gd name="connsiteY1128" fmla="*/ 3849703 h 4565177"/>
              <a:gd name="connsiteX1129" fmla="*/ 9362349 w 12243467"/>
              <a:gd name="connsiteY1129" fmla="*/ 3808129 h 4565177"/>
              <a:gd name="connsiteX1130" fmla="*/ 4946616 w 12243467"/>
              <a:gd name="connsiteY1130" fmla="*/ 3801733 h 4565177"/>
              <a:gd name="connsiteX1131" fmla="*/ 4945741 w 12243467"/>
              <a:gd name="connsiteY1131" fmla="*/ 3803612 h 4565177"/>
              <a:gd name="connsiteX1132" fmla="*/ 4949528 w 12243467"/>
              <a:gd name="connsiteY1132" fmla="*/ 3804005 h 4565177"/>
              <a:gd name="connsiteX1133" fmla="*/ 4950130 w 12243467"/>
              <a:gd name="connsiteY1133" fmla="*/ 3803792 h 4565177"/>
              <a:gd name="connsiteX1134" fmla="*/ 4368136 w 12243467"/>
              <a:gd name="connsiteY1134" fmla="*/ 3801173 h 4565177"/>
              <a:gd name="connsiteX1135" fmla="*/ 4380029 w 12243467"/>
              <a:gd name="connsiteY1135" fmla="*/ 3803196 h 4565177"/>
              <a:gd name="connsiteX1136" fmla="*/ 4372561 w 12243467"/>
              <a:gd name="connsiteY1136" fmla="*/ 3804410 h 4565177"/>
              <a:gd name="connsiteX1137" fmla="*/ 4371455 w 12243467"/>
              <a:gd name="connsiteY1137" fmla="*/ 3811693 h 4565177"/>
              <a:gd name="connsiteX1138" fmla="*/ 4368965 w 12243467"/>
              <a:gd name="connsiteY1138" fmla="*/ 3804916 h 4565177"/>
              <a:gd name="connsiteX1139" fmla="*/ 4359563 w 12243467"/>
              <a:gd name="connsiteY1139" fmla="*/ 3804916 h 4565177"/>
              <a:gd name="connsiteX1140" fmla="*/ 4368136 w 12243467"/>
              <a:gd name="connsiteY1140" fmla="*/ 3801173 h 4565177"/>
              <a:gd name="connsiteX1141" fmla="*/ 5040449 w 12243467"/>
              <a:gd name="connsiteY1141" fmla="*/ 3800545 h 4565177"/>
              <a:gd name="connsiteX1142" fmla="*/ 5030357 w 12243467"/>
              <a:gd name="connsiteY1142" fmla="*/ 3804464 h 4565177"/>
              <a:gd name="connsiteX1143" fmla="*/ 5038085 w 12243467"/>
              <a:gd name="connsiteY1143" fmla="*/ 3804764 h 4565177"/>
              <a:gd name="connsiteX1144" fmla="*/ 5048884 w 12243467"/>
              <a:gd name="connsiteY1144" fmla="*/ 3807090 h 4565177"/>
              <a:gd name="connsiteX1145" fmla="*/ 3912515 w 12243467"/>
              <a:gd name="connsiteY1145" fmla="*/ 3797813 h 4565177"/>
              <a:gd name="connsiteX1146" fmla="*/ 3912239 w 12243467"/>
              <a:gd name="connsiteY1146" fmla="*/ 3803579 h 4565177"/>
              <a:gd name="connsiteX1147" fmla="*/ 3910026 w 12243467"/>
              <a:gd name="connsiteY1147" fmla="*/ 3809143 h 4565177"/>
              <a:gd name="connsiteX1148" fmla="*/ 3900069 w 12243467"/>
              <a:gd name="connsiteY1148" fmla="*/ 3801152 h 4565177"/>
              <a:gd name="connsiteX1149" fmla="*/ 3912515 w 12243467"/>
              <a:gd name="connsiteY1149" fmla="*/ 3797813 h 4565177"/>
              <a:gd name="connsiteX1150" fmla="*/ 5013621 w 12243467"/>
              <a:gd name="connsiteY1150" fmla="*/ 3790227 h 4565177"/>
              <a:gd name="connsiteX1151" fmla="*/ 5000897 w 12243467"/>
              <a:gd name="connsiteY1151" fmla="*/ 3802365 h 4565177"/>
              <a:gd name="connsiteX1152" fmla="*/ 5013621 w 12243467"/>
              <a:gd name="connsiteY1152" fmla="*/ 3790227 h 4565177"/>
              <a:gd name="connsiteX1153" fmla="*/ 5402583 w 12243467"/>
              <a:gd name="connsiteY1153" fmla="*/ 3787720 h 4565177"/>
              <a:gd name="connsiteX1154" fmla="*/ 5327355 w 12243467"/>
              <a:gd name="connsiteY1154" fmla="*/ 3797468 h 4565177"/>
              <a:gd name="connsiteX1155" fmla="*/ 5325337 w 12243467"/>
              <a:gd name="connsiteY1155" fmla="*/ 3798623 h 4565177"/>
              <a:gd name="connsiteX1156" fmla="*/ 5316630 w 12243467"/>
              <a:gd name="connsiteY1156" fmla="*/ 3805216 h 4565177"/>
              <a:gd name="connsiteX1157" fmla="*/ 5337308 w 12243467"/>
              <a:gd name="connsiteY1157" fmla="*/ 3801881 h 4565177"/>
              <a:gd name="connsiteX1158" fmla="*/ 5430794 w 12243467"/>
              <a:gd name="connsiteY1158" fmla="*/ 3792373 h 4565177"/>
              <a:gd name="connsiteX1159" fmla="*/ 5402583 w 12243467"/>
              <a:gd name="connsiteY1159" fmla="*/ 3787720 h 4565177"/>
              <a:gd name="connsiteX1160" fmla="*/ 3937962 w 12243467"/>
              <a:gd name="connsiteY1160" fmla="*/ 3787395 h 4565177"/>
              <a:gd name="connsiteX1161" fmla="*/ 3950408 w 12243467"/>
              <a:gd name="connsiteY1161" fmla="*/ 3790834 h 4565177"/>
              <a:gd name="connsiteX1162" fmla="*/ 3931323 w 12243467"/>
              <a:gd name="connsiteY1162" fmla="*/ 3799837 h 4565177"/>
              <a:gd name="connsiteX1163" fmla="*/ 3925515 w 12243467"/>
              <a:gd name="connsiteY1163" fmla="*/ 3792452 h 4565177"/>
              <a:gd name="connsiteX1164" fmla="*/ 3937962 w 12243467"/>
              <a:gd name="connsiteY1164" fmla="*/ 3787395 h 4565177"/>
              <a:gd name="connsiteX1165" fmla="*/ 9469113 w 12243467"/>
              <a:gd name="connsiteY1165" fmla="*/ 3787292 h 4565177"/>
              <a:gd name="connsiteX1166" fmla="*/ 9479346 w 12243467"/>
              <a:gd name="connsiteY1166" fmla="*/ 3789720 h 4565177"/>
              <a:gd name="connsiteX1167" fmla="*/ 9427624 w 12243467"/>
              <a:gd name="connsiteY1167" fmla="*/ 3810557 h 4565177"/>
              <a:gd name="connsiteX1168" fmla="*/ 9433986 w 12243467"/>
              <a:gd name="connsiteY1168" fmla="*/ 3813996 h 4565177"/>
              <a:gd name="connsiteX1169" fmla="*/ 9419326 w 12243467"/>
              <a:gd name="connsiteY1169" fmla="*/ 3814704 h 4565177"/>
              <a:gd name="connsiteX1170" fmla="*/ 9459985 w 12243467"/>
              <a:gd name="connsiteY1170" fmla="*/ 3787393 h 4565177"/>
              <a:gd name="connsiteX1171" fmla="*/ 9469113 w 12243467"/>
              <a:gd name="connsiteY1171" fmla="*/ 3787292 h 4565177"/>
              <a:gd name="connsiteX1172" fmla="*/ 7380201 w 12243467"/>
              <a:gd name="connsiteY1172" fmla="*/ 3786911 h 4565177"/>
              <a:gd name="connsiteX1173" fmla="*/ 7378818 w 12243467"/>
              <a:gd name="connsiteY1173" fmla="*/ 3788731 h 4565177"/>
              <a:gd name="connsiteX1174" fmla="*/ 7354201 w 12243467"/>
              <a:gd name="connsiteY1174" fmla="*/ 3807546 h 4565177"/>
              <a:gd name="connsiteX1175" fmla="*/ 7343414 w 12243467"/>
              <a:gd name="connsiteY1175" fmla="*/ 3820493 h 4565177"/>
              <a:gd name="connsiteX1176" fmla="*/ 7341478 w 12243467"/>
              <a:gd name="connsiteY1176" fmla="*/ 3824640 h 4565177"/>
              <a:gd name="connsiteX1177" fmla="*/ 7338989 w 12243467"/>
              <a:gd name="connsiteY1177" fmla="*/ 3825854 h 4565177"/>
              <a:gd name="connsiteX1178" fmla="*/ 7334010 w 12243467"/>
              <a:gd name="connsiteY1178" fmla="*/ 3831822 h 4565177"/>
              <a:gd name="connsiteX1179" fmla="*/ 7315202 w 12243467"/>
              <a:gd name="connsiteY1179" fmla="*/ 3857920 h 4565177"/>
              <a:gd name="connsiteX1180" fmla="*/ 7270947 w 12243467"/>
              <a:gd name="connsiteY1180" fmla="*/ 3898482 h 4565177"/>
              <a:gd name="connsiteX1181" fmla="*/ 7240799 w 12243467"/>
              <a:gd name="connsiteY1181" fmla="*/ 3929333 h 4565177"/>
              <a:gd name="connsiteX1182" fmla="*/ 7208438 w 12243467"/>
              <a:gd name="connsiteY1182" fmla="*/ 3957555 h 4565177"/>
              <a:gd name="connsiteX1183" fmla="*/ 7141227 w 12243467"/>
              <a:gd name="connsiteY1183" fmla="*/ 4002669 h 4565177"/>
              <a:gd name="connsiteX1184" fmla="*/ 7122142 w 12243467"/>
              <a:gd name="connsiteY1184" fmla="*/ 4016729 h 4565177"/>
              <a:gd name="connsiteX1185" fmla="*/ 7124355 w 12243467"/>
              <a:gd name="connsiteY1185" fmla="*/ 4015920 h 4565177"/>
              <a:gd name="connsiteX1186" fmla="*/ 7153950 w 12243467"/>
              <a:gd name="connsiteY1186" fmla="*/ 4010660 h 4565177"/>
              <a:gd name="connsiteX1187" fmla="*/ 7165014 w 12243467"/>
              <a:gd name="connsiteY1187" fmla="*/ 4001151 h 4565177"/>
              <a:gd name="connsiteX1188" fmla="*/ 7205119 w 12243467"/>
              <a:gd name="connsiteY1188" fmla="*/ 3990126 h 4565177"/>
              <a:gd name="connsiteX1189" fmla="*/ 7230842 w 12243467"/>
              <a:gd name="connsiteY1189" fmla="*/ 3977785 h 4565177"/>
              <a:gd name="connsiteX1190" fmla="*/ 7247161 w 12243467"/>
              <a:gd name="connsiteY1190" fmla="*/ 3964433 h 4565177"/>
              <a:gd name="connsiteX1191" fmla="*/ 7309670 w 12243467"/>
              <a:gd name="connsiteY1191" fmla="*/ 3909608 h 4565177"/>
              <a:gd name="connsiteX1192" fmla="*/ 7333180 w 12243467"/>
              <a:gd name="connsiteY1192" fmla="*/ 3900808 h 4565177"/>
              <a:gd name="connsiteX1193" fmla="*/ 7325159 w 12243467"/>
              <a:gd name="connsiteY1193" fmla="*/ 3893121 h 4565177"/>
              <a:gd name="connsiteX1194" fmla="*/ 7361392 w 12243467"/>
              <a:gd name="connsiteY1194" fmla="*/ 3867529 h 4565177"/>
              <a:gd name="connsiteX1195" fmla="*/ 7362222 w 12243467"/>
              <a:gd name="connsiteY1195" fmla="*/ 3851648 h 4565177"/>
              <a:gd name="connsiteX1196" fmla="*/ 7369690 w 12243467"/>
              <a:gd name="connsiteY1196" fmla="*/ 3850232 h 4565177"/>
              <a:gd name="connsiteX1197" fmla="*/ 7398732 w 12243467"/>
              <a:gd name="connsiteY1197" fmla="*/ 3814424 h 4565177"/>
              <a:gd name="connsiteX1198" fmla="*/ 7388222 w 12243467"/>
              <a:gd name="connsiteY1198" fmla="*/ 3820392 h 4565177"/>
              <a:gd name="connsiteX1199" fmla="*/ 7381030 w 12243467"/>
              <a:gd name="connsiteY1199" fmla="*/ 3814930 h 4565177"/>
              <a:gd name="connsiteX1200" fmla="*/ 7400115 w 12243467"/>
              <a:gd name="connsiteY1200" fmla="*/ 3794295 h 4565177"/>
              <a:gd name="connsiteX1201" fmla="*/ 7397626 w 12243467"/>
              <a:gd name="connsiteY1201" fmla="*/ 3787821 h 4565177"/>
              <a:gd name="connsiteX1202" fmla="*/ 7386562 w 12243467"/>
              <a:gd name="connsiteY1202" fmla="*/ 3789439 h 4565177"/>
              <a:gd name="connsiteX1203" fmla="*/ 9435645 w 12243467"/>
              <a:gd name="connsiteY1203" fmla="*/ 3775760 h 4565177"/>
              <a:gd name="connsiteX1204" fmla="*/ 9378944 w 12243467"/>
              <a:gd name="connsiteY1204" fmla="*/ 3807017 h 4565177"/>
              <a:gd name="connsiteX1205" fmla="*/ 9435645 w 12243467"/>
              <a:gd name="connsiteY1205" fmla="*/ 3775760 h 4565177"/>
              <a:gd name="connsiteX1206" fmla="*/ 5363780 w 12243467"/>
              <a:gd name="connsiteY1206" fmla="*/ 3774817 h 4565177"/>
              <a:gd name="connsiteX1207" fmla="*/ 5352967 w 12243467"/>
              <a:gd name="connsiteY1207" fmla="*/ 3782364 h 4565177"/>
              <a:gd name="connsiteX1208" fmla="*/ 5357498 w 12243467"/>
              <a:gd name="connsiteY1208" fmla="*/ 3782156 h 4565177"/>
              <a:gd name="connsiteX1209" fmla="*/ 5364689 w 12243467"/>
              <a:gd name="connsiteY1209" fmla="*/ 3774975 h 4565177"/>
              <a:gd name="connsiteX1210" fmla="*/ 3613521 w 12243467"/>
              <a:gd name="connsiteY1210" fmla="*/ 3773840 h 4565177"/>
              <a:gd name="connsiteX1211" fmla="*/ 3615734 w 12243467"/>
              <a:gd name="connsiteY1211" fmla="*/ 3774852 h 4565177"/>
              <a:gd name="connsiteX1212" fmla="*/ 3623202 w 12243467"/>
              <a:gd name="connsiteY1212" fmla="*/ 3777381 h 4565177"/>
              <a:gd name="connsiteX1213" fmla="*/ 3617117 w 12243467"/>
              <a:gd name="connsiteY1213" fmla="*/ 3783349 h 4565177"/>
              <a:gd name="connsiteX1214" fmla="*/ 3611309 w 12243467"/>
              <a:gd name="connsiteY1214" fmla="*/ 3776066 h 4565177"/>
              <a:gd name="connsiteX1215" fmla="*/ 3613521 w 12243467"/>
              <a:gd name="connsiteY1215" fmla="*/ 3773840 h 4565177"/>
              <a:gd name="connsiteX1216" fmla="*/ 8540580 w 12243467"/>
              <a:gd name="connsiteY1216" fmla="*/ 3772444 h 4565177"/>
              <a:gd name="connsiteX1217" fmla="*/ 8538110 w 12243467"/>
              <a:gd name="connsiteY1217" fmla="*/ 3773636 h 4565177"/>
              <a:gd name="connsiteX1218" fmla="*/ 8540196 w 12243467"/>
              <a:gd name="connsiteY1218" fmla="*/ 3774112 h 4565177"/>
              <a:gd name="connsiteX1219" fmla="*/ 5250458 w 12243467"/>
              <a:gd name="connsiteY1219" fmla="*/ 3769917 h 4565177"/>
              <a:gd name="connsiteX1220" fmla="*/ 5254331 w 12243467"/>
              <a:gd name="connsiteY1220" fmla="*/ 3780639 h 4565177"/>
              <a:gd name="connsiteX1221" fmla="*/ 5239671 w 12243467"/>
              <a:gd name="connsiteY1221" fmla="*/ 3789237 h 4565177"/>
              <a:gd name="connsiteX1222" fmla="*/ 5202054 w 12243467"/>
              <a:gd name="connsiteY1222" fmla="*/ 3785090 h 4565177"/>
              <a:gd name="connsiteX1223" fmla="*/ 5211182 w 12243467"/>
              <a:gd name="connsiteY1223" fmla="*/ 3776087 h 4565177"/>
              <a:gd name="connsiteX1224" fmla="*/ 5168240 w 12243467"/>
              <a:gd name="connsiteY1224" fmla="*/ 3771528 h 4565177"/>
              <a:gd name="connsiteX1225" fmla="*/ 5148596 w 12243467"/>
              <a:gd name="connsiteY1225" fmla="*/ 3797712 h 4565177"/>
              <a:gd name="connsiteX1226" fmla="*/ 5113633 w 12243467"/>
              <a:gd name="connsiteY1226" fmla="*/ 3807583 h 4565177"/>
              <a:gd name="connsiteX1227" fmla="*/ 5098398 w 12243467"/>
              <a:gd name="connsiteY1227" fmla="*/ 3816044 h 4565177"/>
              <a:gd name="connsiteX1228" fmla="*/ 5140894 w 12243467"/>
              <a:gd name="connsiteY1228" fmla="*/ 3819773 h 4565177"/>
              <a:gd name="connsiteX1229" fmla="*/ 5189608 w 12243467"/>
              <a:gd name="connsiteY1229" fmla="*/ 3814728 h 4565177"/>
              <a:gd name="connsiteX1230" fmla="*/ 5216921 w 12243467"/>
              <a:gd name="connsiteY1230" fmla="*/ 3818445 h 4565177"/>
              <a:gd name="connsiteX1231" fmla="*/ 5237090 w 12243467"/>
              <a:gd name="connsiteY1231" fmla="*/ 3813154 h 4565177"/>
              <a:gd name="connsiteX1232" fmla="*/ 5237389 w 12243467"/>
              <a:gd name="connsiteY1232" fmla="*/ 3804557 h 4565177"/>
              <a:gd name="connsiteX1233" fmla="*/ 5146184 w 12243467"/>
              <a:gd name="connsiteY1233" fmla="*/ 3804511 h 4565177"/>
              <a:gd name="connsiteX1234" fmla="*/ 5263928 w 12243467"/>
              <a:gd name="connsiteY1234" fmla="*/ 3793087 h 4565177"/>
              <a:gd name="connsiteX1235" fmla="*/ 5266908 w 12243467"/>
              <a:gd name="connsiteY1235" fmla="*/ 3791555 h 4565177"/>
              <a:gd name="connsiteX1236" fmla="*/ 5272232 w 12243467"/>
              <a:gd name="connsiteY1236" fmla="*/ 3777482 h 4565177"/>
              <a:gd name="connsiteX1237" fmla="*/ 5275066 w 12243467"/>
              <a:gd name="connsiteY1237" fmla="*/ 3776930 h 4565177"/>
              <a:gd name="connsiteX1238" fmla="*/ 3027151 w 12243467"/>
              <a:gd name="connsiteY1238" fmla="*/ 3765445 h 4565177"/>
              <a:gd name="connsiteX1239" fmla="*/ 3031023 w 12243467"/>
              <a:gd name="connsiteY1239" fmla="*/ 3767872 h 4565177"/>
              <a:gd name="connsiteX1240" fmla="*/ 3017470 w 12243467"/>
              <a:gd name="connsiteY1240" fmla="*/ 3767265 h 4565177"/>
              <a:gd name="connsiteX1241" fmla="*/ 3027151 w 12243467"/>
              <a:gd name="connsiteY1241" fmla="*/ 3765445 h 4565177"/>
              <a:gd name="connsiteX1242" fmla="*/ 4906303 w 12243467"/>
              <a:gd name="connsiteY1242" fmla="*/ 3764635 h 4565177"/>
              <a:gd name="connsiteX1243" fmla="*/ 4912112 w 12243467"/>
              <a:gd name="connsiteY1243" fmla="*/ 3772627 h 4565177"/>
              <a:gd name="connsiteX1244" fmla="*/ 4891921 w 12243467"/>
              <a:gd name="connsiteY1244" fmla="*/ 3777178 h 4565177"/>
              <a:gd name="connsiteX1245" fmla="*/ 4906303 w 12243467"/>
              <a:gd name="connsiteY1245" fmla="*/ 3764635 h 4565177"/>
              <a:gd name="connsiteX1246" fmla="*/ 4787923 w 12243467"/>
              <a:gd name="connsiteY1246" fmla="*/ 3753003 h 4565177"/>
              <a:gd name="connsiteX1247" fmla="*/ 4760540 w 12243467"/>
              <a:gd name="connsiteY1247" fmla="*/ 3766254 h 4565177"/>
              <a:gd name="connsiteX1248" fmla="*/ 4787923 w 12243467"/>
              <a:gd name="connsiteY1248" fmla="*/ 3753003 h 4565177"/>
              <a:gd name="connsiteX1249" fmla="*/ 8213505 w 12243467"/>
              <a:gd name="connsiteY1249" fmla="*/ 3742520 h 4565177"/>
              <a:gd name="connsiteX1250" fmla="*/ 8182969 w 12243467"/>
              <a:gd name="connsiteY1250" fmla="*/ 3744163 h 4565177"/>
              <a:gd name="connsiteX1251" fmla="*/ 8158352 w 12243467"/>
              <a:gd name="connsiteY1251" fmla="*/ 3756845 h 4565177"/>
              <a:gd name="connsiteX1252" fmla="*/ 8150734 w 12243467"/>
              <a:gd name="connsiteY1252" fmla="*/ 3755227 h 4565177"/>
              <a:gd name="connsiteX1253" fmla="*/ 8142527 w 12243467"/>
              <a:gd name="connsiteY1253" fmla="*/ 3765432 h 4565177"/>
              <a:gd name="connsiteX1254" fmla="*/ 8213300 w 12243467"/>
              <a:gd name="connsiteY1254" fmla="*/ 3742777 h 4565177"/>
              <a:gd name="connsiteX1255" fmla="*/ 4424207 w 12243467"/>
              <a:gd name="connsiteY1255" fmla="*/ 3741168 h 4565177"/>
              <a:gd name="connsiteX1256" fmla="*/ 4429185 w 12243467"/>
              <a:gd name="connsiteY1256" fmla="*/ 3742180 h 4565177"/>
              <a:gd name="connsiteX1257" fmla="*/ 4416462 w 12243467"/>
              <a:gd name="connsiteY1257" fmla="*/ 3745821 h 4565177"/>
              <a:gd name="connsiteX1258" fmla="*/ 4424207 w 12243467"/>
              <a:gd name="connsiteY1258" fmla="*/ 3741168 h 4565177"/>
              <a:gd name="connsiteX1259" fmla="*/ 4441155 w 12243467"/>
              <a:gd name="connsiteY1259" fmla="*/ 3740381 h 4565177"/>
              <a:gd name="connsiteX1260" fmla="*/ 4449730 w 12243467"/>
              <a:gd name="connsiteY1260" fmla="*/ 3745944 h 4565177"/>
              <a:gd name="connsiteX1261" fmla="*/ 4445858 w 12243467"/>
              <a:gd name="connsiteY1261" fmla="*/ 3752620 h 4565177"/>
              <a:gd name="connsiteX1262" fmla="*/ 4434517 w 12243467"/>
              <a:gd name="connsiteY1262" fmla="*/ 3752013 h 4565177"/>
              <a:gd name="connsiteX1263" fmla="*/ 4436453 w 12243467"/>
              <a:gd name="connsiteY1263" fmla="*/ 3741392 h 4565177"/>
              <a:gd name="connsiteX1264" fmla="*/ 4441155 w 12243467"/>
              <a:gd name="connsiteY1264" fmla="*/ 3740381 h 4565177"/>
              <a:gd name="connsiteX1265" fmla="*/ 6459085 w 12243467"/>
              <a:gd name="connsiteY1265" fmla="*/ 3739258 h 4565177"/>
              <a:gd name="connsiteX1266" fmla="*/ 6444220 w 12243467"/>
              <a:gd name="connsiteY1266" fmla="*/ 3745742 h 4565177"/>
              <a:gd name="connsiteX1267" fmla="*/ 6357647 w 12243467"/>
              <a:gd name="connsiteY1267" fmla="*/ 3793081 h 4565177"/>
              <a:gd name="connsiteX1268" fmla="*/ 6349073 w 12243467"/>
              <a:gd name="connsiteY1268" fmla="*/ 3787619 h 4565177"/>
              <a:gd name="connsiteX1269" fmla="*/ 6325563 w 12243467"/>
              <a:gd name="connsiteY1269" fmla="*/ 3800667 h 4565177"/>
              <a:gd name="connsiteX1270" fmla="*/ 6323074 w 12243467"/>
              <a:gd name="connsiteY1270" fmla="*/ 3801578 h 4565177"/>
              <a:gd name="connsiteX1271" fmla="*/ 6322520 w 12243467"/>
              <a:gd name="connsiteY1271" fmla="*/ 3802792 h 4565177"/>
              <a:gd name="connsiteX1272" fmla="*/ 6312840 w 12243467"/>
              <a:gd name="connsiteY1272" fmla="*/ 3805927 h 4565177"/>
              <a:gd name="connsiteX1273" fmla="*/ 6305648 w 12243467"/>
              <a:gd name="connsiteY1273" fmla="*/ 3812300 h 4565177"/>
              <a:gd name="connsiteX1274" fmla="*/ 6298734 w 12243467"/>
              <a:gd name="connsiteY1274" fmla="*/ 3811592 h 4565177"/>
              <a:gd name="connsiteX1275" fmla="*/ 6272458 w 12243467"/>
              <a:gd name="connsiteY1275" fmla="*/ 3819684 h 4565177"/>
              <a:gd name="connsiteX1276" fmla="*/ 6264713 w 12243467"/>
              <a:gd name="connsiteY1276" fmla="*/ 3824438 h 4565177"/>
              <a:gd name="connsiteX1277" fmla="*/ 6238990 w 12243467"/>
              <a:gd name="connsiteY1277" fmla="*/ 3831923 h 4565177"/>
              <a:gd name="connsiteX1278" fmla="*/ 6161268 w 12243467"/>
              <a:gd name="connsiteY1278" fmla="*/ 3867226 h 4565177"/>
              <a:gd name="connsiteX1279" fmla="*/ 6103738 w 12243467"/>
              <a:gd name="connsiteY1279" fmla="*/ 3891300 h 4565177"/>
              <a:gd name="connsiteX1280" fmla="*/ 6073589 w 12243467"/>
              <a:gd name="connsiteY1280" fmla="*/ 3891401 h 4565177"/>
              <a:gd name="connsiteX1281" fmla="*/ 6069994 w 12243467"/>
              <a:gd name="connsiteY1281" fmla="*/ 3897875 h 4565177"/>
              <a:gd name="connsiteX1282" fmla="*/ 6073313 w 12243467"/>
              <a:gd name="connsiteY1282" fmla="*/ 3903236 h 4565177"/>
              <a:gd name="connsiteX1283" fmla="*/ 6071100 w 12243467"/>
              <a:gd name="connsiteY1283" fmla="*/ 3905765 h 4565177"/>
              <a:gd name="connsiteX1284" fmla="*/ 6074696 w 12243467"/>
              <a:gd name="connsiteY1284" fmla="*/ 3907484 h 4565177"/>
              <a:gd name="connsiteX1285" fmla="*/ 6093504 w 12243467"/>
              <a:gd name="connsiteY1285" fmla="*/ 3898178 h 4565177"/>
              <a:gd name="connsiteX1286" fmla="*/ 6092121 w 12243467"/>
              <a:gd name="connsiteY1286" fmla="*/ 3904854 h 4565177"/>
              <a:gd name="connsiteX1287" fmla="*/ 6135269 w 12243467"/>
              <a:gd name="connsiteY1287" fmla="*/ 3893626 h 4565177"/>
              <a:gd name="connsiteX1288" fmla="*/ 6178417 w 12243467"/>
              <a:gd name="connsiteY1288" fmla="*/ 3871171 h 4565177"/>
              <a:gd name="connsiteX1289" fmla="*/ 6179247 w 12243467"/>
              <a:gd name="connsiteY1289" fmla="*/ 3878049 h 4565177"/>
              <a:gd name="connsiteX1290" fmla="*/ 6186715 w 12243467"/>
              <a:gd name="connsiteY1290" fmla="*/ 3876532 h 4565177"/>
              <a:gd name="connsiteX1291" fmla="*/ 6188651 w 12243467"/>
              <a:gd name="connsiteY1291" fmla="*/ 3867731 h 4565177"/>
              <a:gd name="connsiteX1292" fmla="*/ 6197502 w 12243467"/>
              <a:gd name="connsiteY1292" fmla="*/ 3870968 h 4565177"/>
              <a:gd name="connsiteX1293" fmla="*/ 6335520 w 12243467"/>
              <a:gd name="connsiteY1293" fmla="*/ 3820190 h 4565177"/>
              <a:gd name="connsiteX1294" fmla="*/ 6368711 w 12243467"/>
              <a:gd name="connsiteY1294" fmla="*/ 3798847 h 4565177"/>
              <a:gd name="connsiteX1295" fmla="*/ 6439587 w 12243467"/>
              <a:gd name="connsiteY1295" fmla="*/ 3773685 h 4565177"/>
              <a:gd name="connsiteX1296" fmla="*/ 6487715 w 12243467"/>
              <a:gd name="connsiteY1296" fmla="*/ 3745069 h 4565177"/>
              <a:gd name="connsiteX1297" fmla="*/ 3391973 w 12243467"/>
              <a:gd name="connsiteY1297" fmla="*/ 3729030 h 4565177"/>
              <a:gd name="connsiteX1298" fmla="*/ 3394739 w 12243467"/>
              <a:gd name="connsiteY1298" fmla="*/ 3730851 h 4565177"/>
              <a:gd name="connsiteX1299" fmla="*/ 3396952 w 12243467"/>
              <a:gd name="connsiteY1299" fmla="*/ 3738842 h 4565177"/>
              <a:gd name="connsiteX1300" fmla="*/ 3388930 w 12243467"/>
              <a:gd name="connsiteY1300" fmla="*/ 3731154 h 4565177"/>
              <a:gd name="connsiteX1301" fmla="*/ 3391973 w 12243467"/>
              <a:gd name="connsiteY1301" fmla="*/ 3729030 h 4565177"/>
              <a:gd name="connsiteX1302" fmla="*/ 4711384 w 12243467"/>
              <a:gd name="connsiteY1302" fmla="*/ 3723589 h 4565177"/>
              <a:gd name="connsiteX1303" fmla="*/ 4717745 w 12243467"/>
              <a:gd name="connsiteY1303" fmla="*/ 3730265 h 4565177"/>
              <a:gd name="connsiteX1304" fmla="*/ 4708341 w 12243467"/>
              <a:gd name="connsiteY1304" fmla="*/ 3733300 h 4565177"/>
              <a:gd name="connsiteX1305" fmla="*/ 4707788 w 12243467"/>
              <a:gd name="connsiteY1305" fmla="*/ 3724803 h 4565177"/>
              <a:gd name="connsiteX1306" fmla="*/ 4711384 w 12243467"/>
              <a:gd name="connsiteY1306" fmla="*/ 3723589 h 4565177"/>
              <a:gd name="connsiteX1307" fmla="*/ 3133361 w 12243467"/>
              <a:gd name="connsiteY1307" fmla="*/ 3709305 h 4565177"/>
              <a:gd name="connsiteX1308" fmla="*/ 3134744 w 12243467"/>
              <a:gd name="connsiteY1308" fmla="*/ 3714059 h 4565177"/>
              <a:gd name="connsiteX1309" fmla="*/ 3120362 w 12243467"/>
              <a:gd name="connsiteY1309" fmla="*/ 3714767 h 4565177"/>
              <a:gd name="connsiteX1310" fmla="*/ 3133361 w 12243467"/>
              <a:gd name="connsiteY1310" fmla="*/ 3709305 h 4565177"/>
              <a:gd name="connsiteX1311" fmla="*/ 8190298 w 12243467"/>
              <a:gd name="connsiteY1311" fmla="*/ 3707308 h 4565177"/>
              <a:gd name="connsiteX1312" fmla="*/ 8191163 w 12243467"/>
              <a:gd name="connsiteY1312" fmla="*/ 3708922 h 4565177"/>
              <a:gd name="connsiteX1313" fmla="*/ 8175639 w 12243467"/>
              <a:gd name="connsiteY1313" fmla="*/ 3719391 h 4565177"/>
              <a:gd name="connsiteX1314" fmla="*/ 8172630 w 12243467"/>
              <a:gd name="connsiteY1314" fmla="*/ 3730377 h 4565177"/>
              <a:gd name="connsiteX1315" fmla="*/ 8178820 w 12243467"/>
              <a:gd name="connsiteY1315" fmla="*/ 3729471 h 4565177"/>
              <a:gd name="connsiteX1316" fmla="*/ 8198181 w 12243467"/>
              <a:gd name="connsiteY1316" fmla="*/ 3727106 h 4565177"/>
              <a:gd name="connsiteX1317" fmla="*/ 8197075 w 12243467"/>
              <a:gd name="connsiteY1317" fmla="*/ 3708696 h 4565177"/>
              <a:gd name="connsiteX1318" fmla="*/ 7468986 w 12243467"/>
              <a:gd name="connsiteY1318" fmla="*/ 3690512 h 4565177"/>
              <a:gd name="connsiteX1319" fmla="*/ 7462348 w 12243467"/>
              <a:gd name="connsiteY1319" fmla="*/ 3694457 h 4565177"/>
              <a:gd name="connsiteX1320" fmla="*/ 7452944 w 12243467"/>
              <a:gd name="connsiteY1320" fmla="*/ 3700223 h 4565177"/>
              <a:gd name="connsiteX1321" fmla="*/ 7449625 w 12243467"/>
              <a:gd name="connsiteY1321" fmla="*/ 3706596 h 4565177"/>
              <a:gd name="connsiteX1322" fmla="*/ 7464837 w 12243467"/>
              <a:gd name="connsiteY1322" fmla="*/ 3694356 h 4565177"/>
              <a:gd name="connsiteX1323" fmla="*/ 9687065 w 12243467"/>
              <a:gd name="connsiteY1323" fmla="*/ 3689680 h 4565177"/>
              <a:gd name="connsiteX1324" fmla="*/ 9678768 w 12243467"/>
              <a:gd name="connsiteY1324" fmla="*/ 3706066 h 4565177"/>
              <a:gd name="connsiteX1325" fmla="*/ 9687065 w 12243467"/>
              <a:gd name="connsiteY1325" fmla="*/ 3689680 h 4565177"/>
              <a:gd name="connsiteX1326" fmla="*/ 2958003 w 12243467"/>
              <a:gd name="connsiteY1326" fmla="*/ 3683410 h 4565177"/>
              <a:gd name="connsiteX1327" fmla="*/ 3092426 w 12243467"/>
              <a:gd name="connsiteY1327" fmla="*/ 3709406 h 4565177"/>
              <a:gd name="connsiteX1328" fmla="*/ 3025491 w 12243467"/>
              <a:gd name="connsiteY1328" fmla="*/ 3706574 h 4565177"/>
              <a:gd name="connsiteX1329" fmla="*/ 2950259 w 12243467"/>
              <a:gd name="connsiteY1329" fmla="*/ 3686950 h 4565177"/>
              <a:gd name="connsiteX1330" fmla="*/ 2958003 w 12243467"/>
              <a:gd name="connsiteY1330" fmla="*/ 3683410 h 4565177"/>
              <a:gd name="connsiteX1331" fmla="*/ 7481193 w 12243467"/>
              <a:gd name="connsiteY1331" fmla="*/ 3678930 h 4565177"/>
              <a:gd name="connsiteX1332" fmla="*/ 7478736 w 12243467"/>
              <a:gd name="connsiteY1332" fmla="*/ 3679437 h 4565177"/>
              <a:gd name="connsiteX1333" fmla="*/ 7474518 w 12243467"/>
              <a:gd name="connsiteY1333" fmla="*/ 3685252 h 4565177"/>
              <a:gd name="connsiteX1334" fmla="*/ 4681328 w 12243467"/>
              <a:gd name="connsiteY1334" fmla="*/ 3672126 h 4565177"/>
              <a:gd name="connsiteX1335" fmla="*/ 4667035 w 12243467"/>
              <a:gd name="connsiteY1335" fmla="*/ 3686695 h 4565177"/>
              <a:gd name="connsiteX1336" fmla="*/ 4705300 w 12243467"/>
              <a:gd name="connsiteY1336" fmla="*/ 3689096 h 4565177"/>
              <a:gd name="connsiteX1337" fmla="*/ 4808467 w 12243467"/>
              <a:gd name="connsiteY1337" fmla="*/ 3699211 h 4565177"/>
              <a:gd name="connsiteX1338" fmla="*/ 4766978 w 12243467"/>
              <a:gd name="connsiteY1338" fmla="*/ 3690007 h 4565177"/>
              <a:gd name="connsiteX1339" fmla="*/ 4698005 w 12243467"/>
              <a:gd name="connsiteY1339" fmla="*/ 3676895 h 4565177"/>
              <a:gd name="connsiteX1340" fmla="*/ 6588813 w 12243467"/>
              <a:gd name="connsiteY1340" fmla="*/ 3670959 h 4565177"/>
              <a:gd name="connsiteX1341" fmla="*/ 6544345 w 12243467"/>
              <a:gd name="connsiteY1341" fmla="*/ 3695709 h 4565177"/>
              <a:gd name="connsiteX1342" fmla="*/ 6516798 w 12243467"/>
              <a:gd name="connsiteY1342" fmla="*/ 3711291 h 4565177"/>
              <a:gd name="connsiteX1343" fmla="*/ 6529065 w 12243467"/>
              <a:gd name="connsiteY1343" fmla="*/ 3714353 h 4565177"/>
              <a:gd name="connsiteX1344" fmla="*/ 6543815 w 12243467"/>
              <a:gd name="connsiteY1344" fmla="*/ 3713214 h 4565177"/>
              <a:gd name="connsiteX1345" fmla="*/ 6547941 w 12243467"/>
              <a:gd name="connsiteY1345" fmla="*/ 3709428 h 4565177"/>
              <a:gd name="connsiteX1346" fmla="*/ 6600770 w 12243467"/>
              <a:gd name="connsiteY1346" fmla="*/ 3681459 h 4565177"/>
              <a:gd name="connsiteX1347" fmla="*/ 6608539 w 12243467"/>
              <a:gd name="connsiteY1347" fmla="*/ 3674026 h 4565177"/>
              <a:gd name="connsiteX1348" fmla="*/ 6594513 w 12243467"/>
              <a:gd name="connsiteY1348" fmla="*/ 3673698 h 4565177"/>
              <a:gd name="connsiteX1349" fmla="*/ 8839680 w 12243467"/>
              <a:gd name="connsiteY1349" fmla="*/ 3667804 h 4565177"/>
              <a:gd name="connsiteX1350" fmla="*/ 8820232 w 12243467"/>
              <a:gd name="connsiteY1350" fmla="*/ 3675215 h 4565177"/>
              <a:gd name="connsiteX1351" fmla="*/ 8606428 w 12243467"/>
              <a:gd name="connsiteY1351" fmla="*/ 3781223 h 4565177"/>
              <a:gd name="connsiteX1352" fmla="*/ 8738638 w 12243467"/>
              <a:gd name="connsiteY1352" fmla="*/ 3709405 h 4565177"/>
              <a:gd name="connsiteX1353" fmla="*/ 8732553 w 12243467"/>
              <a:gd name="connsiteY1353" fmla="*/ 3704145 h 4565177"/>
              <a:gd name="connsiteX1354" fmla="*/ 8777084 w 12243467"/>
              <a:gd name="connsiteY1354" fmla="*/ 3686443 h 4565177"/>
              <a:gd name="connsiteX1355" fmla="*/ 8778744 w 12243467"/>
              <a:gd name="connsiteY1355" fmla="*/ 3677440 h 4565177"/>
              <a:gd name="connsiteX1356" fmla="*/ 8675299 w 12243467"/>
              <a:gd name="connsiteY1356" fmla="*/ 3713754 h 4565177"/>
              <a:gd name="connsiteX1357" fmla="*/ 8685810 w 12243467"/>
              <a:gd name="connsiteY1357" fmla="*/ 3721745 h 4565177"/>
              <a:gd name="connsiteX1358" fmla="*/ 8678342 w 12243467"/>
              <a:gd name="connsiteY1358" fmla="*/ 3734591 h 4565177"/>
              <a:gd name="connsiteX1359" fmla="*/ 8642661 w 12243467"/>
              <a:gd name="connsiteY1359" fmla="*/ 3744302 h 4565177"/>
              <a:gd name="connsiteX1360" fmla="*/ 8644874 w 12243467"/>
              <a:gd name="connsiteY1360" fmla="*/ 3733276 h 4565177"/>
              <a:gd name="connsiteX1361" fmla="*/ 8601340 w 12243467"/>
              <a:gd name="connsiteY1361" fmla="*/ 3745301 h 4565177"/>
              <a:gd name="connsiteX1362" fmla="*/ 8598199 w 12243467"/>
              <a:gd name="connsiteY1362" fmla="*/ 3747992 h 4565177"/>
              <a:gd name="connsiteX1363" fmla="*/ 8563729 w 12243467"/>
              <a:gd name="connsiteY1363" fmla="*/ 3776492 h 4565177"/>
              <a:gd name="connsiteX1364" fmla="*/ 8585640 w 12243467"/>
              <a:gd name="connsiteY1364" fmla="*/ 3750696 h 4565177"/>
              <a:gd name="connsiteX1365" fmla="*/ 8542396 w 12243467"/>
              <a:gd name="connsiteY1365" fmla="*/ 3771568 h 4565177"/>
              <a:gd name="connsiteX1366" fmla="*/ 8543822 w 12243467"/>
              <a:gd name="connsiteY1366" fmla="*/ 3774707 h 4565177"/>
              <a:gd name="connsiteX1367" fmla="*/ 8552770 w 12243467"/>
              <a:gd name="connsiteY1367" fmla="*/ 3773029 h 4565177"/>
              <a:gd name="connsiteX1368" fmla="*/ 8529536 w 12243467"/>
              <a:gd name="connsiteY1368" fmla="*/ 3779604 h 4565177"/>
              <a:gd name="connsiteX1369" fmla="*/ 8535345 w 12243467"/>
              <a:gd name="connsiteY1369" fmla="*/ 3775659 h 4565177"/>
              <a:gd name="connsiteX1370" fmla="*/ 8478920 w 12243467"/>
              <a:gd name="connsiteY1370" fmla="*/ 3792248 h 4565177"/>
              <a:gd name="connsiteX1371" fmla="*/ 8489431 w 12243467"/>
              <a:gd name="connsiteY1371" fmla="*/ 3800138 h 4565177"/>
              <a:gd name="connsiteX1372" fmla="*/ 8344774 w 12243467"/>
              <a:gd name="connsiteY1372" fmla="*/ 3836553 h 4565177"/>
              <a:gd name="connsiteX1373" fmla="*/ 8332051 w 12243467"/>
              <a:gd name="connsiteY1373" fmla="*/ 3828259 h 4565177"/>
              <a:gd name="connsiteX1374" fmla="*/ 8311860 w 12243467"/>
              <a:gd name="connsiteY1374" fmla="*/ 3832912 h 4565177"/>
              <a:gd name="connsiteX1375" fmla="*/ 8291392 w 12243467"/>
              <a:gd name="connsiteY1375" fmla="*/ 3851119 h 4565177"/>
              <a:gd name="connsiteX1376" fmla="*/ 8217266 w 12243467"/>
              <a:gd name="connsiteY1376" fmla="*/ 3847478 h 4565177"/>
              <a:gd name="connsiteX1377" fmla="*/ 8233861 w 12243467"/>
              <a:gd name="connsiteY1377" fmla="*/ 3837868 h 4565177"/>
              <a:gd name="connsiteX1378" fmla="*/ 8228364 w 12243467"/>
              <a:gd name="connsiteY1378" fmla="*/ 3834380 h 4565177"/>
              <a:gd name="connsiteX1379" fmla="*/ 8224877 w 12243467"/>
              <a:gd name="connsiteY1379" fmla="*/ 3835187 h 4565177"/>
              <a:gd name="connsiteX1380" fmla="*/ 8206098 w 12243467"/>
              <a:gd name="connsiteY1380" fmla="*/ 3858223 h 4565177"/>
              <a:gd name="connsiteX1381" fmla="*/ 8211077 w 12243467"/>
              <a:gd name="connsiteY1381" fmla="*/ 3864191 h 4565177"/>
              <a:gd name="connsiteX1382" fmla="*/ 8167099 w 12243467"/>
              <a:gd name="connsiteY1382" fmla="*/ 3916082 h 4565177"/>
              <a:gd name="connsiteX1383" fmla="*/ 8155618 w 12243467"/>
              <a:gd name="connsiteY1383" fmla="*/ 3927174 h 4565177"/>
              <a:gd name="connsiteX1384" fmla="*/ 8183669 w 12243467"/>
              <a:gd name="connsiteY1384" fmla="*/ 3919617 h 4565177"/>
              <a:gd name="connsiteX1385" fmla="*/ 8369667 w 12243467"/>
              <a:gd name="connsiteY1385" fmla="*/ 3868821 h 4565177"/>
              <a:gd name="connsiteX1386" fmla="*/ 8433559 w 12243467"/>
              <a:gd name="connsiteY1386" fmla="*/ 3850917 h 4565177"/>
              <a:gd name="connsiteX1387" fmla="*/ 8438111 w 12243467"/>
              <a:gd name="connsiteY1387" fmla="*/ 3846002 h 4565177"/>
              <a:gd name="connsiteX1388" fmla="*/ 8429583 w 12243467"/>
              <a:gd name="connsiteY1388" fmla="*/ 3847096 h 4565177"/>
              <a:gd name="connsiteX1389" fmla="*/ 8441476 w 12243467"/>
              <a:gd name="connsiteY1389" fmla="*/ 3837993 h 4565177"/>
              <a:gd name="connsiteX1390" fmla="*/ 8456412 w 12243467"/>
              <a:gd name="connsiteY1390" fmla="*/ 3834958 h 4565177"/>
              <a:gd name="connsiteX1391" fmla="*/ 8450656 w 12243467"/>
              <a:gd name="connsiteY1391" fmla="*/ 3840867 h 4565177"/>
              <a:gd name="connsiteX1392" fmla="*/ 8489085 w 12243467"/>
              <a:gd name="connsiteY1392" fmla="*/ 3828006 h 4565177"/>
              <a:gd name="connsiteX1393" fmla="*/ 8541706 w 12243467"/>
              <a:gd name="connsiteY1393" fmla="*/ 3815008 h 4565177"/>
              <a:gd name="connsiteX1394" fmla="*/ 8483346 w 12243467"/>
              <a:gd name="connsiteY1394" fmla="*/ 3842723 h 4565177"/>
              <a:gd name="connsiteX1395" fmla="*/ 8564387 w 12243467"/>
              <a:gd name="connsiteY1395" fmla="*/ 3810759 h 4565177"/>
              <a:gd name="connsiteX1396" fmla="*/ 8650959 w 12243467"/>
              <a:gd name="connsiteY1396" fmla="*/ 3774850 h 4565177"/>
              <a:gd name="connsiteX1397" fmla="*/ 8696320 w 12243467"/>
              <a:gd name="connsiteY1397" fmla="*/ 3752597 h 4565177"/>
              <a:gd name="connsiteX1398" fmla="*/ 8772106 w 12243467"/>
              <a:gd name="connsiteY1398" fmla="*/ 3710922 h 4565177"/>
              <a:gd name="connsiteX1399" fmla="*/ 8847891 w 12243467"/>
              <a:gd name="connsiteY1399" fmla="*/ 3669247 h 4565177"/>
              <a:gd name="connsiteX1400" fmla="*/ 8839680 w 12243467"/>
              <a:gd name="connsiteY1400" fmla="*/ 3667804 h 4565177"/>
              <a:gd name="connsiteX1401" fmla="*/ 7925419 w 12243467"/>
              <a:gd name="connsiteY1401" fmla="*/ 3667346 h 4565177"/>
              <a:gd name="connsiteX1402" fmla="*/ 7913596 w 12243467"/>
              <a:gd name="connsiteY1402" fmla="*/ 3669833 h 4565177"/>
              <a:gd name="connsiteX1403" fmla="*/ 7839893 w 12243467"/>
              <a:gd name="connsiteY1403" fmla="*/ 3744224 h 4565177"/>
              <a:gd name="connsiteX1404" fmla="*/ 7877682 w 12243467"/>
              <a:gd name="connsiteY1404" fmla="*/ 3691246 h 4565177"/>
              <a:gd name="connsiteX1405" fmla="*/ 7884175 w 12243467"/>
              <a:gd name="connsiteY1405" fmla="*/ 3682801 h 4565177"/>
              <a:gd name="connsiteX1406" fmla="*/ 7871020 w 12243467"/>
              <a:gd name="connsiteY1406" fmla="*/ 3684955 h 4565177"/>
              <a:gd name="connsiteX1407" fmla="*/ 7851787 w 12243467"/>
              <a:gd name="connsiteY1407" fmla="*/ 3699313 h 4565177"/>
              <a:gd name="connsiteX1408" fmla="*/ 7847707 w 12243467"/>
              <a:gd name="connsiteY1408" fmla="*/ 3696113 h 4565177"/>
              <a:gd name="connsiteX1409" fmla="*/ 7847410 w 12243467"/>
              <a:gd name="connsiteY1409" fmla="*/ 3689660 h 4565177"/>
              <a:gd name="connsiteX1410" fmla="*/ 7845051 w 12243467"/>
              <a:gd name="connsiteY1410" fmla="*/ 3690339 h 4565177"/>
              <a:gd name="connsiteX1411" fmla="*/ 7806910 w 12243467"/>
              <a:gd name="connsiteY1411" fmla="*/ 3719215 h 4565177"/>
              <a:gd name="connsiteX1412" fmla="*/ 7773512 w 12243467"/>
              <a:gd name="connsiteY1412" fmla="*/ 3758790 h 4565177"/>
              <a:gd name="connsiteX1413" fmla="*/ 7786511 w 12243467"/>
              <a:gd name="connsiteY1413" fmla="*/ 3753631 h 4565177"/>
              <a:gd name="connsiteX1414" fmla="*/ 7769363 w 12243467"/>
              <a:gd name="connsiteY1414" fmla="*/ 3766781 h 4565177"/>
              <a:gd name="connsiteX1415" fmla="*/ 7772129 w 12243467"/>
              <a:gd name="connsiteY1415" fmla="*/ 3761521 h 4565177"/>
              <a:gd name="connsiteX1416" fmla="*/ 7730640 w 12243467"/>
              <a:gd name="connsiteY1416" fmla="*/ 3794194 h 4565177"/>
              <a:gd name="connsiteX1417" fmla="*/ 7744746 w 12243467"/>
              <a:gd name="connsiteY1417" fmla="*/ 3798037 h 4565177"/>
              <a:gd name="connsiteX1418" fmla="*/ 7739867 w 12243467"/>
              <a:gd name="connsiteY1418" fmla="*/ 3803541 h 4565177"/>
              <a:gd name="connsiteX1419" fmla="*/ 7770538 w 12243467"/>
              <a:gd name="connsiteY1419" fmla="*/ 3802908 h 4565177"/>
              <a:gd name="connsiteX1420" fmla="*/ 7789648 w 12243467"/>
              <a:gd name="connsiteY1420" fmla="*/ 3802823 h 4565177"/>
              <a:gd name="connsiteX1421" fmla="*/ 7800617 w 12243467"/>
              <a:gd name="connsiteY1421" fmla="*/ 3795104 h 4565177"/>
              <a:gd name="connsiteX1422" fmla="*/ 7793772 w 12243467"/>
              <a:gd name="connsiteY1422" fmla="*/ 3802805 h 4565177"/>
              <a:gd name="connsiteX1423" fmla="*/ 7803059 w 12243467"/>
              <a:gd name="connsiteY1423" fmla="*/ 3802764 h 4565177"/>
              <a:gd name="connsiteX1424" fmla="*/ 7803841 w 12243467"/>
              <a:gd name="connsiteY1424" fmla="*/ 3802881 h 4565177"/>
              <a:gd name="connsiteX1425" fmla="*/ 7818596 w 12243467"/>
              <a:gd name="connsiteY1425" fmla="*/ 3784179 h 4565177"/>
              <a:gd name="connsiteX1426" fmla="*/ 7876680 w 12243467"/>
              <a:gd name="connsiteY1426" fmla="*/ 3724398 h 4565177"/>
              <a:gd name="connsiteX1427" fmla="*/ 7905168 w 12243467"/>
              <a:gd name="connsiteY1427" fmla="*/ 3689905 h 4565177"/>
              <a:gd name="connsiteX1428" fmla="*/ 4699277 w 12243467"/>
              <a:gd name="connsiteY1428" fmla="*/ 3661356 h 4565177"/>
              <a:gd name="connsiteX1429" fmla="*/ 4694773 w 12243467"/>
              <a:gd name="connsiteY1429" fmla="*/ 3663954 h 4565177"/>
              <a:gd name="connsiteX1430" fmla="*/ 4700873 w 12243467"/>
              <a:gd name="connsiteY1430" fmla="*/ 3666944 h 4565177"/>
              <a:gd name="connsiteX1431" fmla="*/ 9519452 w 12243467"/>
              <a:gd name="connsiteY1431" fmla="*/ 3656198 h 4565177"/>
              <a:gd name="connsiteX1432" fmla="*/ 9530239 w 12243467"/>
              <a:gd name="connsiteY1432" fmla="*/ 3656299 h 4565177"/>
              <a:gd name="connsiteX1433" fmla="*/ 9528026 w 12243467"/>
              <a:gd name="connsiteY1433" fmla="*/ 3663582 h 4565177"/>
              <a:gd name="connsiteX1434" fmla="*/ 9518346 w 12243467"/>
              <a:gd name="connsiteY1434" fmla="*/ 3658929 h 4565177"/>
              <a:gd name="connsiteX1435" fmla="*/ 9519452 w 12243467"/>
              <a:gd name="connsiteY1435" fmla="*/ 3656198 h 4565177"/>
              <a:gd name="connsiteX1436" fmla="*/ 4566927 w 12243467"/>
              <a:gd name="connsiteY1436" fmla="*/ 3640117 h 4565177"/>
              <a:gd name="connsiteX1437" fmla="*/ 4542588 w 12243467"/>
              <a:gd name="connsiteY1437" fmla="*/ 3658021 h 4565177"/>
              <a:gd name="connsiteX1438" fmla="*/ 4545631 w 12243467"/>
              <a:gd name="connsiteY1438" fmla="*/ 3667428 h 4565177"/>
              <a:gd name="connsiteX1439" fmla="*/ 4524609 w 12243467"/>
              <a:gd name="connsiteY1439" fmla="*/ 3676431 h 4565177"/>
              <a:gd name="connsiteX1440" fmla="*/ 4456845 w 12243467"/>
              <a:gd name="connsiteY1440" fmla="*/ 3715071 h 4565177"/>
              <a:gd name="connsiteX1441" fmla="*/ 4451413 w 12243467"/>
              <a:gd name="connsiteY1441" fmla="*/ 3718988 h 4565177"/>
              <a:gd name="connsiteX1442" fmla="*/ 4453326 w 12243467"/>
              <a:gd name="connsiteY1442" fmla="*/ 3719644 h 4565177"/>
              <a:gd name="connsiteX1443" fmla="*/ 4449582 w 12243467"/>
              <a:gd name="connsiteY1443" fmla="*/ 3720309 h 4565177"/>
              <a:gd name="connsiteX1444" fmla="*/ 4397378 w 12243467"/>
              <a:gd name="connsiteY1444" fmla="*/ 3757959 h 4565177"/>
              <a:gd name="connsiteX1445" fmla="*/ 4389911 w 12243467"/>
              <a:gd name="connsiteY1445" fmla="*/ 3759477 h 4565177"/>
              <a:gd name="connsiteX1446" fmla="*/ 4385761 w 12243467"/>
              <a:gd name="connsiteY1446" fmla="*/ 3768075 h 4565177"/>
              <a:gd name="connsiteX1447" fmla="*/ 4353400 w 12243467"/>
              <a:gd name="connsiteY1447" fmla="*/ 3784967 h 4565177"/>
              <a:gd name="connsiteX1448" fmla="*/ 4252721 w 12243467"/>
              <a:gd name="connsiteY1448" fmla="*/ 3830789 h 4565177"/>
              <a:gd name="connsiteX1449" fmla="*/ 4243317 w 12243467"/>
              <a:gd name="connsiteY1449" fmla="*/ 3841107 h 4565177"/>
              <a:gd name="connsiteX1450" fmla="*/ 4224233 w 12243467"/>
              <a:gd name="connsiteY1450" fmla="*/ 3841208 h 4565177"/>
              <a:gd name="connsiteX1451" fmla="*/ 4192424 w 12243467"/>
              <a:gd name="connsiteY1451" fmla="*/ 3855875 h 4565177"/>
              <a:gd name="connsiteX1452" fmla="*/ 4185233 w 12243467"/>
              <a:gd name="connsiteY1452" fmla="*/ 3843737 h 4565177"/>
              <a:gd name="connsiteX1453" fmla="*/ 4186616 w 12243467"/>
              <a:gd name="connsiteY1453" fmla="*/ 3859820 h 4565177"/>
              <a:gd name="connsiteX1454" fmla="*/ 4163106 w 12243467"/>
              <a:gd name="connsiteY1454" fmla="*/ 3857291 h 4565177"/>
              <a:gd name="connsiteX1455" fmla="*/ 4132681 w 12243467"/>
              <a:gd name="connsiteY1455" fmla="*/ 3876611 h 4565177"/>
              <a:gd name="connsiteX1456" fmla="*/ 4116086 w 12243467"/>
              <a:gd name="connsiteY1456" fmla="*/ 3888446 h 4565177"/>
              <a:gd name="connsiteX1457" fmla="*/ 4119405 w 12243467"/>
              <a:gd name="connsiteY1457" fmla="*/ 3895628 h 4565177"/>
              <a:gd name="connsiteX1458" fmla="*/ 4105299 w 12243467"/>
              <a:gd name="connsiteY1458" fmla="*/ 3905440 h 4565177"/>
              <a:gd name="connsiteX1459" fmla="*/ 4088462 w 12243467"/>
              <a:gd name="connsiteY1459" fmla="*/ 3906186 h 4565177"/>
              <a:gd name="connsiteX1460" fmla="*/ 4077678 w 12243467"/>
              <a:gd name="connsiteY1460" fmla="*/ 3915231 h 4565177"/>
              <a:gd name="connsiteX1461" fmla="*/ 4085803 w 12243467"/>
              <a:gd name="connsiteY1461" fmla="*/ 3915965 h 4565177"/>
              <a:gd name="connsiteX1462" fmla="*/ 4105549 w 12243467"/>
              <a:gd name="connsiteY1462" fmla="*/ 3922379 h 4565177"/>
              <a:gd name="connsiteX1463" fmla="*/ 4133553 w 12243467"/>
              <a:gd name="connsiteY1463" fmla="*/ 3933482 h 4565177"/>
              <a:gd name="connsiteX1464" fmla="*/ 4143745 w 12243467"/>
              <a:gd name="connsiteY1464" fmla="*/ 3930121 h 4565177"/>
              <a:gd name="connsiteX1465" fmla="*/ 4141261 w 12243467"/>
              <a:gd name="connsiteY1465" fmla="*/ 3935330 h 4565177"/>
              <a:gd name="connsiteX1466" fmla="*/ 4152983 w 12243467"/>
              <a:gd name="connsiteY1466" fmla="*/ 3931066 h 4565177"/>
              <a:gd name="connsiteX1467" fmla="*/ 4158381 w 12243467"/>
              <a:gd name="connsiteY1467" fmla="*/ 3930147 h 4565177"/>
              <a:gd name="connsiteX1468" fmla="*/ 4160733 w 12243467"/>
              <a:gd name="connsiteY1468" fmla="*/ 3932720 h 4565177"/>
              <a:gd name="connsiteX1469" fmla="*/ 4165319 w 12243467"/>
              <a:gd name="connsiteY1469" fmla="*/ 3930222 h 4565177"/>
              <a:gd name="connsiteX1470" fmla="*/ 4154532 w 12243467"/>
              <a:gd name="connsiteY1470" fmla="*/ 3924557 h 4565177"/>
              <a:gd name="connsiteX1471" fmla="*/ 4185786 w 12243467"/>
              <a:gd name="connsiteY1471" fmla="*/ 3912116 h 4565177"/>
              <a:gd name="connsiteX1472" fmla="*/ 4170021 w 12243467"/>
              <a:gd name="connsiteY1472" fmla="*/ 3919399 h 4565177"/>
              <a:gd name="connsiteX1473" fmla="*/ 4175829 w 12243467"/>
              <a:gd name="connsiteY1473" fmla="*/ 3926884 h 4565177"/>
              <a:gd name="connsiteX1474" fmla="*/ 4194637 w 12243467"/>
              <a:gd name="connsiteY1474" fmla="*/ 3903922 h 4565177"/>
              <a:gd name="connsiteX1475" fmla="*/ 4199892 w 12243467"/>
              <a:gd name="connsiteY1475" fmla="*/ 3913633 h 4565177"/>
              <a:gd name="connsiteX1476" fmla="*/ 4263647 w 12243467"/>
              <a:gd name="connsiteY1476" fmla="*/ 3876864 h 4565177"/>
              <a:gd name="connsiteX1477" fmla="*/ 4309628 w 12243467"/>
              <a:gd name="connsiteY1477" fmla="*/ 3850754 h 4565177"/>
              <a:gd name="connsiteX1478" fmla="*/ 4296741 w 12243467"/>
              <a:gd name="connsiteY1478" fmla="*/ 3847906 h 4565177"/>
              <a:gd name="connsiteX1479" fmla="*/ 4281286 w 12243467"/>
              <a:gd name="connsiteY1479" fmla="*/ 3837790 h 4565177"/>
              <a:gd name="connsiteX1480" fmla="*/ 4269671 w 12243467"/>
              <a:gd name="connsiteY1480" fmla="*/ 3834250 h 4565177"/>
              <a:gd name="connsiteX1481" fmla="*/ 4273818 w 12243467"/>
              <a:gd name="connsiteY1481" fmla="*/ 3833643 h 4565177"/>
              <a:gd name="connsiteX1482" fmla="*/ 4279350 w 12243467"/>
              <a:gd name="connsiteY1482" fmla="*/ 3833845 h 4565177"/>
              <a:gd name="connsiteX1483" fmla="*/ 4298919 w 12243467"/>
              <a:gd name="connsiteY1483" fmla="*/ 3840926 h 4565177"/>
              <a:gd name="connsiteX1484" fmla="*/ 4314377 w 12243467"/>
              <a:gd name="connsiteY1484" fmla="*/ 3848058 h 4565177"/>
              <a:gd name="connsiteX1485" fmla="*/ 4333209 w 12243467"/>
              <a:gd name="connsiteY1485" fmla="*/ 3837364 h 4565177"/>
              <a:gd name="connsiteX1486" fmla="*/ 4348974 w 12243467"/>
              <a:gd name="connsiteY1486" fmla="*/ 3843636 h 4565177"/>
              <a:gd name="connsiteX1487" fmla="*/ 4357758 w 12243467"/>
              <a:gd name="connsiteY1487" fmla="*/ 3834546 h 4565177"/>
              <a:gd name="connsiteX1488" fmla="*/ 4350434 w 12243467"/>
              <a:gd name="connsiteY1488" fmla="*/ 3834174 h 4565177"/>
              <a:gd name="connsiteX1489" fmla="*/ 4345455 w 12243467"/>
              <a:gd name="connsiteY1489" fmla="*/ 3836678 h 4565177"/>
              <a:gd name="connsiteX1490" fmla="*/ 4311158 w 12243467"/>
              <a:gd name="connsiteY1490" fmla="*/ 3823022 h 4565177"/>
              <a:gd name="connsiteX1491" fmla="*/ 4320287 w 12243467"/>
              <a:gd name="connsiteY1491" fmla="*/ 3814121 h 4565177"/>
              <a:gd name="connsiteX1492" fmla="*/ 4358178 w 12243467"/>
              <a:gd name="connsiteY1492" fmla="*/ 3821302 h 4565177"/>
              <a:gd name="connsiteX1493" fmla="*/ 4358455 w 12243467"/>
              <a:gd name="connsiteY1493" fmla="*/ 3832631 h 4565177"/>
              <a:gd name="connsiteX1494" fmla="*/ 4357966 w 12243467"/>
              <a:gd name="connsiteY1494" fmla="*/ 3834331 h 4565177"/>
              <a:gd name="connsiteX1495" fmla="*/ 4361144 w 12243467"/>
              <a:gd name="connsiteY1495" fmla="*/ 3831042 h 4565177"/>
              <a:gd name="connsiteX1496" fmla="*/ 4366676 w 12243467"/>
              <a:gd name="connsiteY1496" fmla="*/ 3816021 h 4565177"/>
              <a:gd name="connsiteX1497" fmla="*/ 4438313 w 12243467"/>
              <a:gd name="connsiteY1497" fmla="*/ 3769390 h 4565177"/>
              <a:gd name="connsiteX1498" fmla="*/ 4496074 w 12243467"/>
              <a:gd name="connsiteY1498" fmla="*/ 3739329 h 4565177"/>
              <a:gd name="connsiteX1499" fmla="*/ 4464389 w 12243467"/>
              <a:gd name="connsiteY1499" fmla="*/ 3728950 h 4565177"/>
              <a:gd name="connsiteX1500" fmla="*/ 4472686 w 12243467"/>
              <a:gd name="connsiteY1500" fmla="*/ 3727433 h 4565177"/>
              <a:gd name="connsiteX1501" fmla="*/ 4480431 w 12243467"/>
              <a:gd name="connsiteY1501" fmla="*/ 3727736 h 4565177"/>
              <a:gd name="connsiteX1502" fmla="*/ 4502565 w 12243467"/>
              <a:gd name="connsiteY1502" fmla="*/ 3735109 h 4565177"/>
              <a:gd name="connsiteX1503" fmla="*/ 4549779 w 12243467"/>
              <a:gd name="connsiteY1503" fmla="*/ 3703198 h 4565177"/>
              <a:gd name="connsiteX1504" fmla="*/ 4591248 w 12243467"/>
              <a:gd name="connsiteY1504" fmla="*/ 3673210 h 4565177"/>
              <a:gd name="connsiteX1505" fmla="*/ 4556770 w 12243467"/>
              <a:gd name="connsiteY1505" fmla="*/ 3664820 h 4565177"/>
              <a:gd name="connsiteX1506" fmla="*/ 4595226 w 12243467"/>
              <a:gd name="connsiteY1506" fmla="*/ 3668883 h 4565177"/>
              <a:gd name="connsiteX1507" fmla="*/ 4596706 w 12243467"/>
              <a:gd name="connsiteY1507" fmla="*/ 3669263 h 4565177"/>
              <a:gd name="connsiteX1508" fmla="*/ 4614019 w 12243467"/>
              <a:gd name="connsiteY1508" fmla="*/ 3656742 h 4565177"/>
              <a:gd name="connsiteX1509" fmla="*/ 4611016 w 12243467"/>
              <a:gd name="connsiteY1509" fmla="*/ 3654831 h 4565177"/>
              <a:gd name="connsiteX1510" fmla="*/ 4592173 w 12243467"/>
              <a:gd name="connsiteY1510" fmla="*/ 3653693 h 4565177"/>
              <a:gd name="connsiteX1511" fmla="*/ 4584705 w 12243467"/>
              <a:gd name="connsiteY1511" fmla="*/ 3647017 h 4565177"/>
              <a:gd name="connsiteX1512" fmla="*/ 4574448 w 12243467"/>
              <a:gd name="connsiteY1512" fmla="*/ 3640854 h 4565177"/>
              <a:gd name="connsiteX1513" fmla="*/ 4573013 w 12243467"/>
              <a:gd name="connsiteY1513" fmla="*/ 3640724 h 4565177"/>
              <a:gd name="connsiteX1514" fmla="*/ 4590710 w 12243467"/>
              <a:gd name="connsiteY1514" fmla="*/ 3622808 h 4565177"/>
              <a:gd name="connsiteX1515" fmla="*/ 4587948 w 12243467"/>
              <a:gd name="connsiteY1515" fmla="*/ 3624843 h 4565177"/>
              <a:gd name="connsiteX1516" fmla="*/ 4590161 w 12243467"/>
              <a:gd name="connsiteY1516" fmla="*/ 3624034 h 4565177"/>
              <a:gd name="connsiteX1517" fmla="*/ 4590413 w 12243467"/>
              <a:gd name="connsiteY1517" fmla="*/ 3623989 h 4565177"/>
              <a:gd name="connsiteX1518" fmla="*/ 4645693 w 12243467"/>
              <a:gd name="connsiteY1518" fmla="*/ 3620058 h 4565177"/>
              <a:gd name="connsiteX1519" fmla="*/ 4631332 w 12243467"/>
              <a:gd name="connsiteY1519" fmla="*/ 3624703 h 4565177"/>
              <a:gd name="connsiteX1520" fmla="*/ 4631829 w 12243467"/>
              <a:gd name="connsiteY1520" fmla="*/ 3625257 h 4565177"/>
              <a:gd name="connsiteX1521" fmla="*/ 4638364 w 12243467"/>
              <a:gd name="connsiteY1521" fmla="*/ 3631743 h 4565177"/>
              <a:gd name="connsiteX1522" fmla="*/ 4629236 w 12243467"/>
              <a:gd name="connsiteY1522" fmla="*/ 3640644 h 4565177"/>
              <a:gd name="connsiteX1523" fmla="*/ 4610835 w 12243467"/>
              <a:gd name="connsiteY1523" fmla="*/ 3633181 h 4565177"/>
              <a:gd name="connsiteX1524" fmla="*/ 4595969 w 12243467"/>
              <a:gd name="connsiteY1524" fmla="*/ 3640420 h 4565177"/>
              <a:gd name="connsiteX1525" fmla="*/ 4581864 w 12243467"/>
              <a:gd name="connsiteY1525" fmla="*/ 3636475 h 4565177"/>
              <a:gd name="connsiteX1526" fmla="*/ 4579305 w 12243467"/>
              <a:gd name="connsiteY1526" fmla="*/ 3641293 h 4565177"/>
              <a:gd name="connsiteX1527" fmla="*/ 4578364 w 12243467"/>
              <a:gd name="connsiteY1527" fmla="*/ 3641208 h 4565177"/>
              <a:gd name="connsiteX1528" fmla="*/ 4622085 w 12243467"/>
              <a:gd name="connsiteY1528" fmla="*/ 3650911 h 4565177"/>
              <a:gd name="connsiteX1529" fmla="*/ 4651064 w 12243467"/>
              <a:gd name="connsiteY1529" fmla="*/ 3629954 h 4565177"/>
              <a:gd name="connsiteX1530" fmla="*/ 4650292 w 12243467"/>
              <a:gd name="connsiteY1530" fmla="*/ 3621463 h 4565177"/>
              <a:gd name="connsiteX1531" fmla="*/ 4762000 w 12243467"/>
              <a:gd name="connsiteY1531" fmla="*/ 3619503 h 4565177"/>
              <a:gd name="connsiteX1532" fmla="*/ 4751010 w 12243467"/>
              <a:gd name="connsiteY1532" fmla="*/ 3620087 h 4565177"/>
              <a:gd name="connsiteX1533" fmla="*/ 4745298 w 12243467"/>
              <a:gd name="connsiteY1533" fmla="*/ 3625124 h 4565177"/>
              <a:gd name="connsiteX1534" fmla="*/ 4787170 w 12243467"/>
              <a:gd name="connsiteY1534" fmla="*/ 3628000 h 4565177"/>
              <a:gd name="connsiteX1535" fmla="*/ 4771957 w 12243467"/>
              <a:gd name="connsiteY1535" fmla="*/ 3622841 h 4565177"/>
              <a:gd name="connsiteX1536" fmla="*/ 4769191 w 12243467"/>
              <a:gd name="connsiteY1536" fmla="*/ 3623448 h 4565177"/>
              <a:gd name="connsiteX1537" fmla="*/ 4765319 w 12243467"/>
              <a:gd name="connsiteY1537" fmla="*/ 3620616 h 4565177"/>
              <a:gd name="connsiteX1538" fmla="*/ 3490162 w 12243467"/>
              <a:gd name="connsiteY1538" fmla="*/ 3598543 h 4565177"/>
              <a:gd name="connsiteX1539" fmla="*/ 3515332 w 12243467"/>
              <a:gd name="connsiteY1539" fmla="*/ 3605826 h 4565177"/>
              <a:gd name="connsiteX1540" fmla="*/ 3449504 w 12243467"/>
              <a:gd name="connsiteY1540" fmla="*/ 3621505 h 4565177"/>
              <a:gd name="connsiteX1541" fmla="*/ 3467759 w 12243467"/>
              <a:gd name="connsiteY1541" fmla="*/ 3614323 h 4565177"/>
              <a:gd name="connsiteX1542" fmla="*/ 3490162 w 12243467"/>
              <a:gd name="connsiteY1542" fmla="*/ 3598543 h 4565177"/>
              <a:gd name="connsiteX1543" fmla="*/ 1835601 w 12243467"/>
              <a:gd name="connsiteY1543" fmla="*/ 3597532 h 4565177"/>
              <a:gd name="connsiteX1544" fmla="*/ 1848601 w 12243467"/>
              <a:gd name="connsiteY1544" fmla="*/ 3598948 h 4565177"/>
              <a:gd name="connsiteX1545" fmla="*/ 1825920 w 12243467"/>
              <a:gd name="connsiteY1545" fmla="*/ 3599858 h 4565177"/>
              <a:gd name="connsiteX1546" fmla="*/ 1835601 w 12243467"/>
              <a:gd name="connsiteY1546" fmla="*/ 3597532 h 4565177"/>
              <a:gd name="connsiteX1547" fmla="*/ 7936976 w 12243467"/>
              <a:gd name="connsiteY1547" fmla="*/ 3596036 h 4565177"/>
              <a:gd name="connsiteX1548" fmla="*/ 7917749 w 12243467"/>
              <a:gd name="connsiteY1548" fmla="*/ 3608339 h 4565177"/>
              <a:gd name="connsiteX1549" fmla="*/ 7913560 w 12243467"/>
              <a:gd name="connsiteY1549" fmla="*/ 3615069 h 4565177"/>
              <a:gd name="connsiteX1550" fmla="*/ 7921038 w 12243467"/>
              <a:gd name="connsiteY1550" fmla="*/ 3612602 h 4565177"/>
              <a:gd name="connsiteX1551" fmla="*/ 7932957 w 12243467"/>
              <a:gd name="connsiteY1551" fmla="*/ 3612273 h 4565177"/>
              <a:gd name="connsiteX1552" fmla="*/ 7940572 w 12243467"/>
              <a:gd name="connsiteY1552" fmla="*/ 3604634 h 4565177"/>
              <a:gd name="connsiteX1553" fmla="*/ 7936976 w 12243467"/>
              <a:gd name="connsiteY1553" fmla="*/ 3596036 h 4565177"/>
              <a:gd name="connsiteX1554" fmla="*/ 3565948 w 12243467"/>
              <a:gd name="connsiteY1554" fmla="*/ 3593890 h 4565177"/>
              <a:gd name="connsiteX1555" fmla="*/ 3528885 w 12243467"/>
              <a:gd name="connsiteY1555" fmla="*/ 3607950 h 4565177"/>
              <a:gd name="connsiteX1556" fmla="*/ 3565948 w 12243467"/>
              <a:gd name="connsiteY1556" fmla="*/ 3593890 h 4565177"/>
              <a:gd name="connsiteX1557" fmla="*/ 3409675 w 12243467"/>
              <a:gd name="connsiteY1557" fmla="*/ 3592069 h 4565177"/>
              <a:gd name="connsiteX1558" fmla="*/ 3425993 w 12243467"/>
              <a:gd name="connsiteY1558" fmla="*/ 3593890 h 4565177"/>
              <a:gd name="connsiteX1559" fmla="*/ 3421291 w 12243467"/>
              <a:gd name="connsiteY1559" fmla="*/ 3606838 h 4565177"/>
              <a:gd name="connsiteX1560" fmla="*/ 3414100 w 12243467"/>
              <a:gd name="connsiteY1560" fmla="*/ 3606029 h 4565177"/>
              <a:gd name="connsiteX1561" fmla="*/ 3409675 w 12243467"/>
              <a:gd name="connsiteY1561" fmla="*/ 3592069 h 4565177"/>
              <a:gd name="connsiteX1562" fmla="*/ 1814304 w 12243467"/>
              <a:gd name="connsiteY1562" fmla="*/ 3591159 h 4565177"/>
              <a:gd name="connsiteX1563" fmla="*/ 1815410 w 12243467"/>
              <a:gd name="connsiteY1563" fmla="*/ 3591766 h 4565177"/>
              <a:gd name="connsiteX1564" fmla="*/ 1819836 w 12243467"/>
              <a:gd name="connsiteY1564" fmla="*/ 3593890 h 4565177"/>
              <a:gd name="connsiteX1565" fmla="*/ 1814304 w 12243467"/>
              <a:gd name="connsiteY1565" fmla="*/ 3599454 h 4565177"/>
              <a:gd name="connsiteX1566" fmla="*/ 1808495 w 12243467"/>
              <a:gd name="connsiteY1566" fmla="*/ 3593283 h 4565177"/>
              <a:gd name="connsiteX1567" fmla="*/ 1812367 w 12243467"/>
              <a:gd name="connsiteY1567" fmla="*/ 3595408 h 4565177"/>
              <a:gd name="connsiteX1568" fmla="*/ 1812367 w 12243467"/>
              <a:gd name="connsiteY1568" fmla="*/ 3592575 h 4565177"/>
              <a:gd name="connsiteX1569" fmla="*/ 1814304 w 12243467"/>
              <a:gd name="connsiteY1569" fmla="*/ 3591159 h 4565177"/>
              <a:gd name="connsiteX1570" fmla="*/ 4646005 w 12243467"/>
              <a:gd name="connsiteY1570" fmla="*/ 3590194 h 4565177"/>
              <a:gd name="connsiteX1571" fmla="*/ 4634768 w 12243467"/>
              <a:gd name="connsiteY1571" fmla="*/ 3593305 h 4565177"/>
              <a:gd name="connsiteX1572" fmla="*/ 4633904 w 12243467"/>
              <a:gd name="connsiteY1572" fmla="*/ 3592746 h 4565177"/>
              <a:gd name="connsiteX1573" fmla="*/ 4619253 w 12243467"/>
              <a:gd name="connsiteY1573" fmla="*/ 3602581 h 4565177"/>
              <a:gd name="connsiteX1574" fmla="*/ 4635450 w 12243467"/>
              <a:gd name="connsiteY1574" fmla="*/ 3607992 h 4565177"/>
              <a:gd name="connsiteX1575" fmla="*/ 4642703 w 12243467"/>
              <a:gd name="connsiteY1575" fmla="*/ 3605998 h 4565177"/>
              <a:gd name="connsiteX1576" fmla="*/ 4645279 w 12243467"/>
              <a:gd name="connsiteY1576" fmla="*/ 3604533 h 4565177"/>
              <a:gd name="connsiteX1577" fmla="*/ 4646815 w 12243467"/>
              <a:gd name="connsiteY1577" fmla="*/ 3604868 h 4565177"/>
              <a:gd name="connsiteX1578" fmla="*/ 4670925 w 12243467"/>
              <a:gd name="connsiteY1578" fmla="*/ 3598240 h 4565177"/>
              <a:gd name="connsiteX1579" fmla="*/ 4680696 w 12243467"/>
              <a:gd name="connsiteY1579" fmla="*/ 3593552 h 4565177"/>
              <a:gd name="connsiteX1580" fmla="*/ 4677087 w 12243467"/>
              <a:gd name="connsiteY1580" fmla="*/ 3590675 h 4565177"/>
              <a:gd name="connsiteX1581" fmla="*/ 4668236 w 12243467"/>
              <a:gd name="connsiteY1581" fmla="*/ 3593406 h 4565177"/>
              <a:gd name="connsiteX1582" fmla="*/ 4660492 w 12243467"/>
              <a:gd name="connsiteY1582" fmla="*/ 3599678 h 4565177"/>
              <a:gd name="connsiteX1583" fmla="*/ 4655789 w 12243467"/>
              <a:gd name="connsiteY1583" fmla="*/ 3591181 h 4565177"/>
              <a:gd name="connsiteX1584" fmla="*/ 4646005 w 12243467"/>
              <a:gd name="connsiteY1584" fmla="*/ 3590194 h 4565177"/>
              <a:gd name="connsiteX1585" fmla="*/ 8309057 w 12243467"/>
              <a:gd name="connsiteY1585" fmla="*/ 3586444 h 4565177"/>
              <a:gd name="connsiteX1586" fmla="*/ 8299690 w 12243467"/>
              <a:gd name="connsiteY1586" fmla="*/ 3592776 h 4565177"/>
              <a:gd name="connsiteX1587" fmla="*/ 8249627 w 12243467"/>
              <a:gd name="connsiteY1587" fmla="*/ 3607089 h 4565177"/>
              <a:gd name="connsiteX1588" fmla="*/ 8247169 w 12243467"/>
              <a:gd name="connsiteY1588" fmla="*/ 3607513 h 4565177"/>
              <a:gd name="connsiteX1589" fmla="*/ 8225321 w 12243467"/>
              <a:gd name="connsiteY1589" fmla="*/ 3638647 h 4565177"/>
              <a:gd name="connsiteX1590" fmla="*/ 8224857 w 12243467"/>
              <a:gd name="connsiteY1590" fmla="*/ 3639552 h 4565177"/>
              <a:gd name="connsiteX1591" fmla="*/ 8288444 w 12243467"/>
              <a:gd name="connsiteY1591" fmla="*/ 3620281 h 4565177"/>
              <a:gd name="connsiteX1592" fmla="*/ 8302836 w 12243467"/>
              <a:gd name="connsiteY1592" fmla="*/ 3598679 h 4565177"/>
              <a:gd name="connsiteX1593" fmla="*/ 9803786 w 12243467"/>
              <a:gd name="connsiteY1593" fmla="*/ 3583976 h 4565177"/>
              <a:gd name="connsiteX1594" fmla="*/ 9806829 w 12243467"/>
              <a:gd name="connsiteY1594" fmla="*/ 3589438 h 4565177"/>
              <a:gd name="connsiteX1595" fmla="*/ 9808212 w 12243467"/>
              <a:gd name="connsiteY1595" fmla="*/ 3595102 h 4565177"/>
              <a:gd name="connsiteX1596" fmla="*/ 9794382 w 12243467"/>
              <a:gd name="connsiteY1596" fmla="*/ 3590854 h 4565177"/>
              <a:gd name="connsiteX1597" fmla="*/ 9803786 w 12243467"/>
              <a:gd name="connsiteY1597" fmla="*/ 3583976 h 4565177"/>
              <a:gd name="connsiteX1598" fmla="*/ 1729667 w 12243467"/>
              <a:gd name="connsiteY1598" fmla="*/ 3579830 h 4565177"/>
              <a:gd name="connsiteX1599" fmla="*/ 1744879 w 12243467"/>
              <a:gd name="connsiteY1599" fmla="*/ 3585495 h 4565177"/>
              <a:gd name="connsiteX1600" fmla="*/ 1733816 w 12243467"/>
              <a:gd name="connsiteY1600" fmla="*/ 3587619 h 4565177"/>
              <a:gd name="connsiteX1601" fmla="*/ 1756496 w 12243467"/>
              <a:gd name="connsiteY1601" fmla="*/ 3600465 h 4565177"/>
              <a:gd name="connsiteX1602" fmla="*/ 1792177 w 12243467"/>
              <a:gd name="connsiteY1602" fmla="*/ 3598037 h 4565177"/>
              <a:gd name="connsiteX1603" fmla="*/ 1786645 w 12243467"/>
              <a:gd name="connsiteY1603" fmla="*/ 3606231 h 4565177"/>
              <a:gd name="connsiteX1604" fmla="*/ 1805453 w 12243467"/>
              <a:gd name="connsiteY1604" fmla="*/ 3605523 h 4565177"/>
              <a:gd name="connsiteX1605" fmla="*/ 1803793 w 12243467"/>
              <a:gd name="connsiteY1605" fmla="*/ 3613008 h 4565177"/>
              <a:gd name="connsiteX1606" fmla="*/ 1820389 w 12243467"/>
              <a:gd name="connsiteY1606" fmla="*/ 3605523 h 4565177"/>
              <a:gd name="connsiteX1607" fmla="*/ 1820942 w 12243467"/>
              <a:gd name="connsiteY1607" fmla="*/ 3619785 h 4565177"/>
              <a:gd name="connsiteX1608" fmla="*/ 1811538 w 12243467"/>
              <a:gd name="connsiteY1608" fmla="*/ 3625854 h 4565177"/>
              <a:gd name="connsiteX1609" fmla="*/ 1690668 w 12243467"/>
              <a:gd name="connsiteY1609" fmla="*/ 3585798 h 4565177"/>
              <a:gd name="connsiteX1610" fmla="*/ 1729667 w 12243467"/>
              <a:gd name="connsiteY1610" fmla="*/ 3579830 h 4565177"/>
              <a:gd name="connsiteX1611" fmla="*/ 4797666 w 12243467"/>
              <a:gd name="connsiteY1611" fmla="*/ 3576754 h 4565177"/>
              <a:gd name="connsiteX1612" fmla="*/ 4797327 w 12243467"/>
              <a:gd name="connsiteY1612" fmla="*/ 3576998 h 4565177"/>
              <a:gd name="connsiteX1613" fmla="*/ 4797243 w 12243467"/>
              <a:gd name="connsiteY1613" fmla="*/ 3577419 h 4565177"/>
              <a:gd name="connsiteX1614" fmla="*/ 4797403 w 12243467"/>
              <a:gd name="connsiteY1614" fmla="*/ 3577424 h 4565177"/>
              <a:gd name="connsiteX1615" fmla="*/ 1662179 w 12243467"/>
              <a:gd name="connsiteY1615" fmla="*/ 3570929 h 4565177"/>
              <a:gd name="connsiteX1616" fmla="*/ 1672413 w 12243467"/>
              <a:gd name="connsiteY1616" fmla="*/ 3571333 h 4565177"/>
              <a:gd name="connsiteX1617" fmla="*/ 1679328 w 12243467"/>
              <a:gd name="connsiteY1617" fmla="*/ 3582966 h 4565177"/>
              <a:gd name="connsiteX1618" fmla="*/ 1654711 w 12243467"/>
              <a:gd name="connsiteY1618" fmla="*/ 3574772 h 4565177"/>
              <a:gd name="connsiteX1619" fmla="*/ 1662179 w 12243467"/>
              <a:gd name="connsiteY1619" fmla="*/ 3570929 h 4565177"/>
              <a:gd name="connsiteX1620" fmla="*/ 1726625 w 12243467"/>
              <a:gd name="connsiteY1620" fmla="*/ 3567085 h 4565177"/>
              <a:gd name="connsiteX1621" fmla="*/ 1732986 w 12243467"/>
              <a:gd name="connsiteY1621" fmla="*/ 3567591 h 4565177"/>
              <a:gd name="connsiteX1622" fmla="*/ 1772815 w 12243467"/>
              <a:gd name="connsiteY1622" fmla="*/ 3572749 h 4565177"/>
              <a:gd name="connsiteX1623" fmla="*/ 1806836 w 12243467"/>
              <a:gd name="connsiteY1623" fmla="*/ 3591968 h 4565177"/>
              <a:gd name="connsiteX1624" fmla="*/ 1804346 w 12243467"/>
              <a:gd name="connsiteY1624" fmla="*/ 3595104 h 4565177"/>
              <a:gd name="connsiteX1625" fmla="*/ 1803240 w 12243467"/>
              <a:gd name="connsiteY1625" fmla="*/ 3592575 h 4565177"/>
              <a:gd name="connsiteX1626" fmla="*/ 1720263 w 12243467"/>
              <a:gd name="connsiteY1626" fmla="*/ 3568602 h 4565177"/>
              <a:gd name="connsiteX1627" fmla="*/ 1726625 w 12243467"/>
              <a:gd name="connsiteY1627" fmla="*/ 3567085 h 4565177"/>
              <a:gd name="connsiteX1628" fmla="*/ 7995060 w 12243467"/>
              <a:gd name="connsiteY1628" fmla="*/ 3566803 h 4565177"/>
              <a:gd name="connsiteX1629" fmla="*/ 7973210 w 12243467"/>
              <a:gd name="connsiteY1629" fmla="*/ 3580964 h 4565177"/>
              <a:gd name="connsiteX1630" fmla="*/ 7960948 w 12243467"/>
              <a:gd name="connsiteY1630" fmla="*/ 3599349 h 4565177"/>
              <a:gd name="connsiteX1631" fmla="*/ 7968715 w 12243467"/>
              <a:gd name="connsiteY1631" fmla="*/ 3597315 h 4565177"/>
              <a:gd name="connsiteX1632" fmla="*/ 7976502 w 12243467"/>
              <a:gd name="connsiteY1632" fmla="*/ 3596314 h 4565177"/>
              <a:gd name="connsiteX1633" fmla="*/ 9828126 w 12243467"/>
              <a:gd name="connsiteY1633" fmla="*/ 3564959 h 4565177"/>
              <a:gd name="connsiteX1634" fmla="*/ 9834211 w 12243467"/>
              <a:gd name="connsiteY1634" fmla="*/ 3565768 h 4565177"/>
              <a:gd name="connsiteX1635" fmla="*/ 9822318 w 12243467"/>
              <a:gd name="connsiteY1635" fmla="*/ 3580031 h 4565177"/>
              <a:gd name="connsiteX1636" fmla="*/ 9812637 w 12243467"/>
              <a:gd name="connsiteY1636" fmla="*/ 3575175 h 4565177"/>
              <a:gd name="connsiteX1637" fmla="*/ 9828126 w 12243467"/>
              <a:gd name="connsiteY1637" fmla="*/ 3564959 h 4565177"/>
              <a:gd name="connsiteX1638" fmla="*/ 4826169 w 12243467"/>
              <a:gd name="connsiteY1638" fmla="*/ 3555069 h 4565177"/>
              <a:gd name="connsiteX1639" fmla="*/ 4824736 w 12243467"/>
              <a:gd name="connsiteY1639" fmla="*/ 3555134 h 4565177"/>
              <a:gd name="connsiteX1640" fmla="*/ 4820007 w 12243467"/>
              <a:gd name="connsiteY1640" fmla="*/ 3560409 h 4565177"/>
              <a:gd name="connsiteX1641" fmla="*/ 4820007 w 12243467"/>
              <a:gd name="connsiteY1641" fmla="*/ 3560510 h 4565177"/>
              <a:gd name="connsiteX1642" fmla="*/ 4821668 w 12243467"/>
              <a:gd name="connsiteY1642" fmla="*/ 3564758 h 4565177"/>
              <a:gd name="connsiteX1643" fmla="*/ 4810698 w 12243467"/>
              <a:gd name="connsiteY1643" fmla="*/ 3568616 h 4565177"/>
              <a:gd name="connsiteX1644" fmla="*/ 4812650 w 12243467"/>
              <a:gd name="connsiteY1644" fmla="*/ 3568118 h 4565177"/>
              <a:gd name="connsiteX1645" fmla="*/ 4831700 w 12243467"/>
              <a:gd name="connsiteY1645" fmla="*/ 3571051 h 4565177"/>
              <a:gd name="connsiteX1646" fmla="*/ 4837232 w 12243467"/>
              <a:gd name="connsiteY1646" fmla="*/ 3565791 h 4565177"/>
              <a:gd name="connsiteX1647" fmla="*/ 4828935 w 12243467"/>
              <a:gd name="connsiteY1647" fmla="*/ 3560026 h 4565177"/>
              <a:gd name="connsiteX1648" fmla="*/ 4828105 w 12243467"/>
              <a:gd name="connsiteY1648" fmla="*/ 3555272 h 4565177"/>
              <a:gd name="connsiteX1649" fmla="*/ 9470772 w 12243467"/>
              <a:gd name="connsiteY1649" fmla="*/ 3542301 h 4565177"/>
              <a:gd name="connsiteX1650" fmla="*/ 9466623 w 12243467"/>
              <a:gd name="connsiteY1650" fmla="*/ 3548977 h 4565177"/>
              <a:gd name="connsiteX1651" fmla="*/ 9473815 w 12243467"/>
              <a:gd name="connsiteY1651" fmla="*/ 3543009 h 4565177"/>
              <a:gd name="connsiteX1652" fmla="*/ 10481155 w 12243467"/>
              <a:gd name="connsiteY1652" fmla="*/ 3534512 h 4565177"/>
              <a:gd name="connsiteX1653" fmla="*/ 10454326 w 12243467"/>
              <a:gd name="connsiteY1653" fmla="*/ 3546650 h 4565177"/>
              <a:gd name="connsiteX1654" fmla="*/ 10466219 w 12243467"/>
              <a:gd name="connsiteY1654" fmla="*/ 3537547 h 4565177"/>
              <a:gd name="connsiteX1655" fmla="*/ 10481155 w 12243467"/>
              <a:gd name="connsiteY1655" fmla="*/ 3534512 h 4565177"/>
              <a:gd name="connsiteX1656" fmla="*/ 4727426 w 12243467"/>
              <a:gd name="connsiteY1656" fmla="*/ 3532715 h 4565177"/>
              <a:gd name="connsiteX1657" fmla="*/ 4733789 w 12243467"/>
              <a:gd name="connsiteY1657" fmla="*/ 3541211 h 4565177"/>
              <a:gd name="connsiteX1658" fmla="*/ 4703920 w 12243467"/>
              <a:gd name="connsiteY1658" fmla="*/ 3538794 h 4565177"/>
              <a:gd name="connsiteX1659" fmla="*/ 4684823 w 12243467"/>
              <a:gd name="connsiteY1659" fmla="*/ 3548372 h 4565177"/>
              <a:gd name="connsiteX1660" fmla="*/ 4683550 w 12243467"/>
              <a:gd name="connsiteY1660" fmla="*/ 3550454 h 4565177"/>
              <a:gd name="connsiteX1661" fmla="*/ 4684140 w 12243467"/>
              <a:gd name="connsiteY1661" fmla="*/ 3550568 h 4565177"/>
              <a:gd name="connsiteX1662" fmla="*/ 4731639 w 12243467"/>
              <a:gd name="connsiteY1662" fmla="*/ 3557840 h 4565177"/>
              <a:gd name="connsiteX1663" fmla="*/ 4745362 w 12243467"/>
              <a:gd name="connsiteY1663" fmla="*/ 3547031 h 4565177"/>
              <a:gd name="connsiteX1664" fmla="*/ 4753580 w 12243467"/>
              <a:gd name="connsiteY1664" fmla="*/ 3539033 h 4565177"/>
              <a:gd name="connsiteX1665" fmla="*/ 4753149 w 12243467"/>
              <a:gd name="connsiteY1665" fmla="*/ 3538986 h 4565177"/>
              <a:gd name="connsiteX1666" fmla="*/ 4750660 w 12243467"/>
              <a:gd name="connsiteY1666" fmla="*/ 3537873 h 4565177"/>
              <a:gd name="connsiteX1667" fmla="*/ 4741809 w 12243467"/>
              <a:gd name="connsiteY1667" fmla="*/ 3535952 h 4565177"/>
              <a:gd name="connsiteX1668" fmla="*/ 9487367 w 12243467"/>
              <a:gd name="connsiteY1668" fmla="*/ 3531680 h 4565177"/>
              <a:gd name="connsiteX1669" fmla="*/ 9478793 w 12243467"/>
              <a:gd name="connsiteY1669" fmla="*/ 3535220 h 4565177"/>
              <a:gd name="connsiteX1670" fmla="*/ 9481006 w 12243467"/>
              <a:gd name="connsiteY1670" fmla="*/ 3536940 h 4565177"/>
              <a:gd name="connsiteX1671" fmla="*/ 1531629 w 12243467"/>
              <a:gd name="connsiteY1671" fmla="*/ 3522274 h 4565177"/>
              <a:gd name="connsiteX1672" fmla="*/ 1605478 w 12243467"/>
              <a:gd name="connsiteY1672" fmla="*/ 3544022 h 4565177"/>
              <a:gd name="connsiteX1673" fmla="*/ 1628158 w 12243467"/>
              <a:gd name="connsiteY1673" fmla="*/ 3542606 h 4565177"/>
              <a:gd name="connsiteX1674" fmla="*/ 1624286 w 12243467"/>
              <a:gd name="connsiteY1674" fmla="*/ 3543314 h 4565177"/>
              <a:gd name="connsiteX1675" fmla="*/ 1615435 w 12243467"/>
              <a:gd name="connsiteY1675" fmla="*/ 3558082 h 4565177"/>
              <a:gd name="connsiteX1676" fmla="*/ 1531629 w 12243467"/>
              <a:gd name="connsiteY1676" fmla="*/ 3522274 h 4565177"/>
              <a:gd name="connsiteX1677" fmla="*/ 1565373 w 12243467"/>
              <a:gd name="connsiteY1677" fmla="*/ 3516104 h 4565177"/>
              <a:gd name="connsiteX1678" fmla="*/ 1582245 w 12243467"/>
              <a:gd name="connsiteY1678" fmla="*/ 3522780 h 4565177"/>
              <a:gd name="connsiteX1679" fmla="*/ 1584181 w 12243467"/>
              <a:gd name="connsiteY1679" fmla="*/ 3529557 h 4565177"/>
              <a:gd name="connsiteX1680" fmla="*/ 1565373 w 12243467"/>
              <a:gd name="connsiteY1680" fmla="*/ 3516104 h 4565177"/>
              <a:gd name="connsiteX1681" fmla="*/ 3524736 w 12243467"/>
              <a:gd name="connsiteY1681" fmla="*/ 3511046 h 4565177"/>
              <a:gd name="connsiteX1682" fmla="*/ 3516992 w 12243467"/>
              <a:gd name="connsiteY1682" fmla="*/ 3515497 h 4565177"/>
              <a:gd name="connsiteX1683" fmla="*/ 3512843 w 12243467"/>
              <a:gd name="connsiteY1683" fmla="*/ 3522072 h 4565177"/>
              <a:gd name="connsiteX1684" fmla="*/ 3520311 w 12243467"/>
              <a:gd name="connsiteY1684" fmla="*/ 3518532 h 4565177"/>
              <a:gd name="connsiteX1685" fmla="*/ 3527779 w 12243467"/>
              <a:gd name="connsiteY1685" fmla="*/ 3513069 h 4565177"/>
              <a:gd name="connsiteX1686" fmla="*/ 1805176 w 12243467"/>
              <a:gd name="connsiteY1686" fmla="*/ 3506798 h 4565177"/>
              <a:gd name="connsiteX1687" fmla="*/ 1840856 w 12243467"/>
              <a:gd name="connsiteY1687" fmla="*/ 3512564 h 4565177"/>
              <a:gd name="connsiteX1688" fmla="*/ 1854133 w 12243467"/>
              <a:gd name="connsiteY1688" fmla="*/ 3522982 h 4565177"/>
              <a:gd name="connsiteX1689" fmla="*/ 1820389 w 12243467"/>
              <a:gd name="connsiteY1689" fmla="*/ 3518228 h 4565177"/>
              <a:gd name="connsiteX1690" fmla="*/ 1805176 w 12243467"/>
              <a:gd name="connsiteY1690" fmla="*/ 3506798 h 4565177"/>
              <a:gd name="connsiteX1691" fmla="*/ 1528310 w 12243467"/>
              <a:gd name="connsiteY1691" fmla="*/ 3502651 h 4565177"/>
              <a:gd name="connsiteX1692" fmla="*/ 1534948 w 12243467"/>
              <a:gd name="connsiteY1692" fmla="*/ 3504269 h 4565177"/>
              <a:gd name="connsiteX1693" fmla="*/ 1521672 w 12243467"/>
              <a:gd name="connsiteY1693" fmla="*/ 3505382 h 4565177"/>
              <a:gd name="connsiteX1694" fmla="*/ 1528310 w 12243467"/>
              <a:gd name="connsiteY1694" fmla="*/ 3502651 h 4565177"/>
              <a:gd name="connsiteX1695" fmla="*/ 8353620 w 12243467"/>
              <a:gd name="connsiteY1695" fmla="*/ 3498382 h 4565177"/>
              <a:gd name="connsiteX1696" fmla="*/ 8350306 w 12243467"/>
              <a:gd name="connsiteY1696" fmla="*/ 3500221 h 4565177"/>
              <a:gd name="connsiteX1697" fmla="*/ 8347817 w 12243467"/>
              <a:gd name="connsiteY1697" fmla="*/ 3501132 h 4565177"/>
              <a:gd name="connsiteX1698" fmla="*/ 8347263 w 12243467"/>
              <a:gd name="connsiteY1698" fmla="*/ 3502346 h 4565177"/>
              <a:gd name="connsiteX1699" fmla="*/ 8337583 w 12243467"/>
              <a:gd name="connsiteY1699" fmla="*/ 3505481 h 4565177"/>
              <a:gd name="connsiteX1700" fmla="*/ 8330391 w 12243467"/>
              <a:gd name="connsiteY1700" fmla="*/ 3511854 h 4565177"/>
              <a:gd name="connsiteX1701" fmla="*/ 8323477 w 12243467"/>
              <a:gd name="connsiteY1701" fmla="*/ 3511146 h 4565177"/>
              <a:gd name="connsiteX1702" fmla="*/ 8297201 w 12243467"/>
              <a:gd name="connsiteY1702" fmla="*/ 3519238 h 4565177"/>
              <a:gd name="connsiteX1703" fmla="*/ 8289456 w 12243467"/>
              <a:gd name="connsiteY1703" fmla="*/ 3523992 h 4565177"/>
              <a:gd name="connsiteX1704" fmla="*/ 8288257 w 12243467"/>
              <a:gd name="connsiteY1704" fmla="*/ 3524341 h 4565177"/>
              <a:gd name="connsiteX1705" fmla="*/ 8275416 w 12243467"/>
              <a:gd name="connsiteY1705" fmla="*/ 3550212 h 4565177"/>
              <a:gd name="connsiteX1706" fmla="*/ 8287520 w 12243467"/>
              <a:gd name="connsiteY1706" fmla="*/ 3545588 h 4565177"/>
              <a:gd name="connsiteX1707" fmla="*/ 8310878 w 12243467"/>
              <a:gd name="connsiteY1707" fmla="*/ 3537290 h 4565177"/>
              <a:gd name="connsiteX1708" fmla="*/ 8315352 w 12243467"/>
              <a:gd name="connsiteY1708" fmla="*/ 3532955 h 4565177"/>
              <a:gd name="connsiteX1709" fmla="*/ 8329181 w 12243467"/>
              <a:gd name="connsiteY1709" fmla="*/ 3524622 h 4565177"/>
              <a:gd name="connsiteX1710" fmla="*/ 8323697 w 12243467"/>
              <a:gd name="connsiteY1710" fmla="*/ 3532735 h 4565177"/>
              <a:gd name="connsiteX1711" fmla="*/ 8339158 w 12243467"/>
              <a:gd name="connsiteY1711" fmla="*/ 3527243 h 4565177"/>
              <a:gd name="connsiteX1712" fmla="*/ 8353244 w 12243467"/>
              <a:gd name="connsiteY1712" fmla="*/ 3499537 h 4565177"/>
              <a:gd name="connsiteX1713" fmla="*/ 8540600 w 12243467"/>
              <a:gd name="connsiteY1713" fmla="*/ 3496479 h 4565177"/>
              <a:gd name="connsiteX1714" fmla="*/ 8496622 w 12243467"/>
              <a:gd name="connsiteY1714" fmla="*/ 3523486 h 4565177"/>
              <a:gd name="connsiteX1715" fmla="*/ 8418900 w 12243467"/>
              <a:gd name="connsiteY1715" fmla="*/ 3551202 h 4565177"/>
              <a:gd name="connsiteX1716" fmla="*/ 8397129 w 12243467"/>
              <a:gd name="connsiteY1716" fmla="*/ 3556534 h 4565177"/>
              <a:gd name="connsiteX1717" fmla="*/ 8396427 w 12243467"/>
              <a:gd name="connsiteY1717" fmla="*/ 3559268 h 4565177"/>
              <a:gd name="connsiteX1718" fmla="*/ 8375371 w 12243467"/>
              <a:gd name="connsiteY1718" fmla="*/ 3586123 h 4565177"/>
              <a:gd name="connsiteX1719" fmla="*/ 8374214 w 12243467"/>
              <a:gd name="connsiteY1719" fmla="*/ 3588458 h 4565177"/>
              <a:gd name="connsiteX1720" fmla="*/ 8409220 w 12243467"/>
              <a:gd name="connsiteY1720" fmla="*/ 3575276 h 4565177"/>
              <a:gd name="connsiteX1721" fmla="*/ 8419730 w 12243467"/>
              <a:gd name="connsiteY1721" fmla="*/ 3558283 h 4565177"/>
              <a:gd name="connsiteX1722" fmla="*/ 8467857 w 12243467"/>
              <a:gd name="connsiteY1722" fmla="*/ 3547561 h 4565177"/>
              <a:gd name="connsiteX1723" fmla="*/ 8465644 w 12243467"/>
              <a:gd name="connsiteY1723" fmla="*/ 3533703 h 4565177"/>
              <a:gd name="connsiteX1724" fmla="*/ 8504539 w 12243467"/>
              <a:gd name="connsiteY1724" fmla="*/ 3532262 h 4565177"/>
              <a:gd name="connsiteX1725" fmla="*/ 8507558 w 12243467"/>
              <a:gd name="connsiteY1725" fmla="*/ 3530386 h 4565177"/>
              <a:gd name="connsiteX1726" fmla="*/ 8509518 w 12243467"/>
              <a:gd name="connsiteY1726" fmla="*/ 3521487 h 4565177"/>
              <a:gd name="connsiteX1727" fmla="*/ 8508964 w 12243467"/>
              <a:gd name="connsiteY1727" fmla="*/ 3527050 h 4565177"/>
              <a:gd name="connsiteX1728" fmla="*/ 8511577 w 12243467"/>
              <a:gd name="connsiteY1728" fmla="*/ 3527890 h 4565177"/>
              <a:gd name="connsiteX1729" fmla="*/ 8540323 w 12243467"/>
              <a:gd name="connsiteY1729" fmla="*/ 3510033 h 4565177"/>
              <a:gd name="connsiteX1730" fmla="*/ 8540336 w 12243467"/>
              <a:gd name="connsiteY1730" fmla="*/ 3509407 h 4565177"/>
              <a:gd name="connsiteX1731" fmla="*/ 8522241 w 12243467"/>
              <a:gd name="connsiteY1731" fmla="*/ 3519969 h 4565177"/>
              <a:gd name="connsiteX1732" fmla="*/ 8535517 w 12243467"/>
              <a:gd name="connsiteY1732" fmla="*/ 3499650 h 4565177"/>
              <a:gd name="connsiteX1733" fmla="*/ 8540595 w 12243467"/>
              <a:gd name="connsiteY1733" fmla="*/ 3496723 h 4565177"/>
              <a:gd name="connsiteX1734" fmla="*/ 3611105 w 12243467"/>
              <a:gd name="connsiteY1734" fmla="*/ 3495765 h 4565177"/>
              <a:gd name="connsiteX1735" fmla="*/ 3577129 w 12243467"/>
              <a:gd name="connsiteY1735" fmla="*/ 3496982 h 4565177"/>
              <a:gd name="connsiteX1736" fmla="*/ 3569544 w 12243467"/>
              <a:gd name="connsiteY1736" fmla="*/ 3499414 h 4565177"/>
              <a:gd name="connsiteX1737" fmla="*/ 3539395 w 12243467"/>
              <a:gd name="connsiteY1737" fmla="*/ 3499515 h 4565177"/>
              <a:gd name="connsiteX1738" fmla="*/ 3535800 w 12243467"/>
              <a:gd name="connsiteY1738" fmla="*/ 3505989 h 4565177"/>
              <a:gd name="connsiteX1739" fmla="*/ 3539119 w 12243467"/>
              <a:gd name="connsiteY1739" fmla="*/ 3511350 h 4565177"/>
              <a:gd name="connsiteX1740" fmla="*/ 3536906 w 12243467"/>
              <a:gd name="connsiteY1740" fmla="*/ 3513879 h 4565177"/>
              <a:gd name="connsiteX1741" fmla="*/ 3540502 w 12243467"/>
              <a:gd name="connsiteY1741" fmla="*/ 3515598 h 4565177"/>
              <a:gd name="connsiteX1742" fmla="*/ 3559310 w 12243467"/>
              <a:gd name="connsiteY1742" fmla="*/ 3506292 h 4565177"/>
              <a:gd name="connsiteX1743" fmla="*/ 3557927 w 12243467"/>
              <a:gd name="connsiteY1743" fmla="*/ 3512968 h 4565177"/>
              <a:gd name="connsiteX1744" fmla="*/ 3601075 w 12243467"/>
              <a:gd name="connsiteY1744" fmla="*/ 3501740 h 4565177"/>
              <a:gd name="connsiteX1745" fmla="*/ 1795772 w 12243467"/>
              <a:gd name="connsiteY1745" fmla="*/ 3495368 h 4565177"/>
              <a:gd name="connsiteX1746" fmla="*/ 1807112 w 12243467"/>
              <a:gd name="connsiteY1746" fmla="*/ 3498908 h 4565177"/>
              <a:gd name="connsiteX1747" fmla="*/ 1795772 w 12243467"/>
              <a:gd name="connsiteY1747" fmla="*/ 3501032 h 4565177"/>
              <a:gd name="connsiteX1748" fmla="*/ 1797985 w 12243467"/>
              <a:gd name="connsiteY1748" fmla="*/ 3510642 h 4565177"/>
              <a:gd name="connsiteX1749" fmla="*/ 1767836 w 12243467"/>
              <a:gd name="connsiteY1749" fmla="*/ 3499313 h 4565177"/>
              <a:gd name="connsiteX1750" fmla="*/ 1786645 w 12243467"/>
              <a:gd name="connsiteY1750" fmla="*/ 3495772 h 4565177"/>
              <a:gd name="connsiteX1751" fmla="*/ 1782772 w 12243467"/>
              <a:gd name="connsiteY1751" fmla="*/ 3499313 h 4565177"/>
              <a:gd name="connsiteX1752" fmla="*/ 1795772 w 12243467"/>
              <a:gd name="connsiteY1752" fmla="*/ 3495368 h 4565177"/>
              <a:gd name="connsiteX1753" fmla="*/ 1947620 w 12243467"/>
              <a:gd name="connsiteY1753" fmla="*/ 3494255 h 4565177"/>
              <a:gd name="connsiteX1754" fmla="*/ 1952599 w 12243467"/>
              <a:gd name="connsiteY1754" fmla="*/ 3494255 h 4565177"/>
              <a:gd name="connsiteX1755" fmla="*/ 1963939 w 12243467"/>
              <a:gd name="connsiteY1755" fmla="*/ 3496986 h 4565177"/>
              <a:gd name="connsiteX1756" fmla="*/ 1943195 w 12243467"/>
              <a:gd name="connsiteY1756" fmla="*/ 3496683 h 4565177"/>
              <a:gd name="connsiteX1757" fmla="*/ 1947620 w 12243467"/>
              <a:gd name="connsiteY1757" fmla="*/ 3494255 h 4565177"/>
              <a:gd name="connsiteX1758" fmla="*/ 1847771 w 12243467"/>
              <a:gd name="connsiteY1758" fmla="*/ 3490816 h 4565177"/>
              <a:gd name="connsiteX1759" fmla="*/ 1857452 w 12243467"/>
              <a:gd name="connsiteY1759" fmla="*/ 3496379 h 4565177"/>
              <a:gd name="connsiteX1760" fmla="*/ 1843899 w 12243467"/>
              <a:gd name="connsiteY1760" fmla="*/ 3497189 h 4565177"/>
              <a:gd name="connsiteX1761" fmla="*/ 1843622 w 12243467"/>
              <a:gd name="connsiteY1761" fmla="*/ 3491423 h 4565177"/>
              <a:gd name="connsiteX1762" fmla="*/ 1847771 w 12243467"/>
              <a:gd name="connsiteY1762" fmla="*/ 3490816 h 4565177"/>
              <a:gd name="connsiteX1763" fmla="*/ 9404944 w 12243467"/>
              <a:gd name="connsiteY1763" fmla="*/ 3486465 h 4565177"/>
              <a:gd name="connsiteX1764" fmla="*/ 9403561 w 12243467"/>
              <a:gd name="connsiteY1764" fmla="*/ 3488285 h 4565177"/>
              <a:gd name="connsiteX1765" fmla="*/ 9378944 w 12243467"/>
              <a:gd name="connsiteY1765" fmla="*/ 3507100 h 4565177"/>
              <a:gd name="connsiteX1766" fmla="*/ 9368157 w 12243467"/>
              <a:gd name="connsiteY1766" fmla="*/ 3520047 h 4565177"/>
              <a:gd name="connsiteX1767" fmla="*/ 9366221 w 12243467"/>
              <a:gd name="connsiteY1767" fmla="*/ 3524194 h 4565177"/>
              <a:gd name="connsiteX1768" fmla="*/ 9363732 w 12243467"/>
              <a:gd name="connsiteY1768" fmla="*/ 3525408 h 4565177"/>
              <a:gd name="connsiteX1769" fmla="*/ 9358753 w 12243467"/>
              <a:gd name="connsiteY1769" fmla="*/ 3531376 h 4565177"/>
              <a:gd name="connsiteX1770" fmla="*/ 9339945 w 12243467"/>
              <a:gd name="connsiteY1770" fmla="*/ 3557474 h 4565177"/>
              <a:gd name="connsiteX1771" fmla="*/ 9295690 w 12243467"/>
              <a:gd name="connsiteY1771" fmla="*/ 3598036 h 4565177"/>
              <a:gd name="connsiteX1772" fmla="*/ 9265542 w 12243467"/>
              <a:gd name="connsiteY1772" fmla="*/ 3628887 h 4565177"/>
              <a:gd name="connsiteX1773" fmla="*/ 9233181 w 12243467"/>
              <a:gd name="connsiteY1773" fmla="*/ 3657109 h 4565177"/>
              <a:gd name="connsiteX1774" fmla="*/ 9165970 w 12243467"/>
              <a:gd name="connsiteY1774" fmla="*/ 3702223 h 4565177"/>
              <a:gd name="connsiteX1775" fmla="*/ 9146885 w 12243467"/>
              <a:gd name="connsiteY1775" fmla="*/ 3716283 h 4565177"/>
              <a:gd name="connsiteX1776" fmla="*/ 9149098 w 12243467"/>
              <a:gd name="connsiteY1776" fmla="*/ 3715474 h 4565177"/>
              <a:gd name="connsiteX1777" fmla="*/ 9178693 w 12243467"/>
              <a:gd name="connsiteY1777" fmla="*/ 3710214 h 4565177"/>
              <a:gd name="connsiteX1778" fmla="*/ 9189757 w 12243467"/>
              <a:gd name="connsiteY1778" fmla="*/ 3700705 h 4565177"/>
              <a:gd name="connsiteX1779" fmla="*/ 9229862 w 12243467"/>
              <a:gd name="connsiteY1779" fmla="*/ 3689680 h 4565177"/>
              <a:gd name="connsiteX1780" fmla="*/ 9255585 w 12243467"/>
              <a:gd name="connsiteY1780" fmla="*/ 3677339 h 4565177"/>
              <a:gd name="connsiteX1781" fmla="*/ 9271904 w 12243467"/>
              <a:gd name="connsiteY1781" fmla="*/ 3663987 h 4565177"/>
              <a:gd name="connsiteX1782" fmla="*/ 9334413 w 12243467"/>
              <a:gd name="connsiteY1782" fmla="*/ 3609162 h 4565177"/>
              <a:gd name="connsiteX1783" fmla="*/ 9357923 w 12243467"/>
              <a:gd name="connsiteY1783" fmla="*/ 3600362 h 4565177"/>
              <a:gd name="connsiteX1784" fmla="*/ 9349902 w 12243467"/>
              <a:gd name="connsiteY1784" fmla="*/ 3592675 h 4565177"/>
              <a:gd name="connsiteX1785" fmla="*/ 9386135 w 12243467"/>
              <a:gd name="connsiteY1785" fmla="*/ 3567083 h 4565177"/>
              <a:gd name="connsiteX1786" fmla="*/ 9386965 w 12243467"/>
              <a:gd name="connsiteY1786" fmla="*/ 3551202 h 4565177"/>
              <a:gd name="connsiteX1787" fmla="*/ 9394433 w 12243467"/>
              <a:gd name="connsiteY1787" fmla="*/ 3549786 h 4565177"/>
              <a:gd name="connsiteX1788" fmla="*/ 9423475 w 12243467"/>
              <a:gd name="connsiteY1788" fmla="*/ 3513978 h 4565177"/>
              <a:gd name="connsiteX1789" fmla="*/ 9412965 w 12243467"/>
              <a:gd name="connsiteY1789" fmla="*/ 3519946 h 4565177"/>
              <a:gd name="connsiteX1790" fmla="*/ 9405773 w 12243467"/>
              <a:gd name="connsiteY1790" fmla="*/ 3514484 h 4565177"/>
              <a:gd name="connsiteX1791" fmla="*/ 9424858 w 12243467"/>
              <a:gd name="connsiteY1791" fmla="*/ 3493849 h 4565177"/>
              <a:gd name="connsiteX1792" fmla="*/ 9422369 w 12243467"/>
              <a:gd name="connsiteY1792" fmla="*/ 3487375 h 4565177"/>
              <a:gd name="connsiteX1793" fmla="*/ 9411305 w 12243467"/>
              <a:gd name="connsiteY1793" fmla="*/ 3488993 h 4565177"/>
              <a:gd name="connsiteX1794" fmla="*/ 1856898 w 12243467"/>
              <a:gd name="connsiteY1794" fmla="*/ 3478880 h 4565177"/>
              <a:gd name="connsiteX1795" fmla="*/ 1858835 w 12243467"/>
              <a:gd name="connsiteY1795" fmla="*/ 3486264 h 4565177"/>
              <a:gd name="connsiteX1796" fmla="*/ 1853303 w 12243467"/>
              <a:gd name="connsiteY1796" fmla="*/ 3485961 h 4565177"/>
              <a:gd name="connsiteX1797" fmla="*/ 1856898 w 12243467"/>
              <a:gd name="connsiteY1797" fmla="*/ 3478880 h 4565177"/>
              <a:gd name="connsiteX1798" fmla="*/ 1832282 w 12243467"/>
              <a:gd name="connsiteY1798" fmla="*/ 3473923 h 4565177"/>
              <a:gd name="connsiteX1799" fmla="*/ 1839750 w 12243467"/>
              <a:gd name="connsiteY1799" fmla="*/ 3475340 h 4565177"/>
              <a:gd name="connsiteX1800" fmla="*/ 1836154 w 12243467"/>
              <a:gd name="connsiteY1800" fmla="*/ 3479993 h 4565177"/>
              <a:gd name="connsiteX1801" fmla="*/ 1832282 w 12243467"/>
              <a:gd name="connsiteY1801" fmla="*/ 3482420 h 4565177"/>
              <a:gd name="connsiteX1802" fmla="*/ 1832282 w 12243467"/>
              <a:gd name="connsiteY1802" fmla="*/ 3473923 h 4565177"/>
              <a:gd name="connsiteX1803" fmla="*/ 10566068 w 12243467"/>
              <a:gd name="connsiteY1803" fmla="*/ 3468763 h 4565177"/>
              <a:gd name="connsiteX1804" fmla="*/ 10563856 w 12243467"/>
              <a:gd name="connsiteY1804" fmla="*/ 3478372 h 4565177"/>
              <a:gd name="connsiteX1805" fmla="*/ 10566068 w 12243467"/>
              <a:gd name="connsiteY1805" fmla="*/ 3468763 h 4565177"/>
              <a:gd name="connsiteX1806" fmla="*/ 1797155 w 12243467"/>
              <a:gd name="connsiteY1806" fmla="*/ 3464011 h 4565177"/>
              <a:gd name="connsiteX1807" fmla="*/ 1823154 w 12243467"/>
              <a:gd name="connsiteY1807" fmla="*/ 3477262 h 4565177"/>
              <a:gd name="connsiteX1808" fmla="*/ 1796602 w 12243467"/>
              <a:gd name="connsiteY1808" fmla="*/ 3467955 h 4565177"/>
              <a:gd name="connsiteX1809" fmla="*/ 1791623 w 12243467"/>
              <a:gd name="connsiteY1809" fmla="*/ 3478981 h 4565177"/>
              <a:gd name="connsiteX1810" fmla="*/ 1797155 w 12243467"/>
              <a:gd name="connsiteY1810" fmla="*/ 3464011 h 4565177"/>
              <a:gd name="connsiteX1811" fmla="*/ 2445482 w 12243467"/>
              <a:gd name="connsiteY1811" fmla="*/ 3457840 h 4565177"/>
              <a:gd name="connsiteX1812" fmla="*/ 2452950 w 12243467"/>
              <a:gd name="connsiteY1812" fmla="*/ 3459256 h 4565177"/>
              <a:gd name="connsiteX1813" fmla="*/ 2461801 w 12243467"/>
              <a:gd name="connsiteY1813" fmla="*/ 3466742 h 4565177"/>
              <a:gd name="connsiteX1814" fmla="*/ 2439120 w 12243467"/>
              <a:gd name="connsiteY1814" fmla="*/ 3467854 h 4565177"/>
              <a:gd name="connsiteX1815" fmla="*/ 2438567 w 12243467"/>
              <a:gd name="connsiteY1815" fmla="*/ 3459358 h 4565177"/>
              <a:gd name="connsiteX1816" fmla="*/ 2445482 w 12243467"/>
              <a:gd name="connsiteY1816" fmla="*/ 3457840 h 4565177"/>
              <a:gd name="connsiteX1817" fmla="*/ 2410908 w 12243467"/>
              <a:gd name="connsiteY1817" fmla="*/ 3457638 h 4565177"/>
              <a:gd name="connsiteX1818" fmla="*/ 2423908 w 12243467"/>
              <a:gd name="connsiteY1818" fmla="*/ 3459256 h 4565177"/>
              <a:gd name="connsiteX1819" fmla="*/ 2419759 w 12243467"/>
              <a:gd name="connsiteY1819" fmla="*/ 3464213 h 4565177"/>
              <a:gd name="connsiteX1820" fmla="*/ 2414504 w 12243467"/>
              <a:gd name="connsiteY1820" fmla="*/ 3468461 h 4565177"/>
              <a:gd name="connsiteX1821" fmla="*/ 2410908 w 12243467"/>
              <a:gd name="connsiteY1821" fmla="*/ 3457638 h 4565177"/>
              <a:gd name="connsiteX1822" fmla="*/ 8455583 w 12243467"/>
              <a:gd name="connsiteY1822" fmla="*/ 3455535 h 4565177"/>
              <a:gd name="connsiteX1823" fmla="*/ 8463051 w 12243467"/>
              <a:gd name="connsiteY1823" fmla="*/ 3460290 h 4565177"/>
              <a:gd name="connsiteX1824" fmla="*/ 8459178 w 12243467"/>
              <a:gd name="connsiteY1824" fmla="*/ 3468078 h 4565177"/>
              <a:gd name="connsiteX1825" fmla="*/ 8445902 w 12243467"/>
              <a:gd name="connsiteY1825" fmla="*/ 3463729 h 4565177"/>
              <a:gd name="connsiteX1826" fmla="*/ 8455583 w 12243467"/>
              <a:gd name="connsiteY1826" fmla="*/ 3455535 h 4565177"/>
              <a:gd name="connsiteX1827" fmla="*/ 1903366 w 12243467"/>
              <a:gd name="connsiteY1827" fmla="*/ 3454401 h 4565177"/>
              <a:gd name="connsiteX1828" fmla="*/ 1925769 w 12243467"/>
              <a:gd name="connsiteY1828" fmla="*/ 3461381 h 4565177"/>
              <a:gd name="connsiteX1829" fmla="*/ 1928259 w 12243467"/>
              <a:gd name="connsiteY1829" fmla="*/ 3467652 h 4565177"/>
              <a:gd name="connsiteX1830" fmla="*/ 1922450 w 12243467"/>
              <a:gd name="connsiteY1830" fmla="*/ 3473418 h 4565177"/>
              <a:gd name="connsiteX1831" fmla="*/ 1911387 w 12243467"/>
              <a:gd name="connsiteY1831" fmla="*/ 3469776 h 4565177"/>
              <a:gd name="connsiteX1832" fmla="*/ 1903919 w 12243467"/>
              <a:gd name="connsiteY1832" fmla="*/ 3465629 h 4565177"/>
              <a:gd name="connsiteX1833" fmla="*/ 1903366 w 12243467"/>
              <a:gd name="connsiteY1833" fmla="*/ 3454401 h 4565177"/>
              <a:gd name="connsiteX1834" fmla="*/ 2227806 w 12243467"/>
              <a:gd name="connsiteY1834" fmla="*/ 3450557 h 4565177"/>
              <a:gd name="connsiteX1835" fmla="*/ 2239976 w 12243467"/>
              <a:gd name="connsiteY1835" fmla="*/ 3451973 h 4565177"/>
              <a:gd name="connsiteX1836" fmla="*/ 2217295 w 12243467"/>
              <a:gd name="connsiteY1836" fmla="*/ 3456626 h 4565177"/>
              <a:gd name="connsiteX1837" fmla="*/ 2227806 w 12243467"/>
              <a:gd name="connsiteY1837" fmla="*/ 3450557 h 4565177"/>
              <a:gd name="connsiteX1838" fmla="*/ 1895068 w 12243467"/>
              <a:gd name="connsiteY1838" fmla="*/ 3450153 h 4565177"/>
              <a:gd name="connsiteX1839" fmla="*/ 1888153 w 12243467"/>
              <a:gd name="connsiteY1839" fmla="*/ 3462696 h 4565177"/>
              <a:gd name="connsiteX1840" fmla="*/ 1885664 w 12243467"/>
              <a:gd name="connsiteY1840" fmla="*/ 3450355 h 4565177"/>
              <a:gd name="connsiteX1841" fmla="*/ 1895068 w 12243467"/>
              <a:gd name="connsiteY1841" fmla="*/ 3450153 h 4565177"/>
              <a:gd name="connsiteX1842" fmla="*/ 1402461 w 12243467"/>
              <a:gd name="connsiteY1842" fmla="*/ 3446815 h 4565177"/>
              <a:gd name="connsiteX1843" fmla="*/ 1417674 w 12243467"/>
              <a:gd name="connsiteY1843" fmla="*/ 3452681 h 4565177"/>
              <a:gd name="connsiteX1844" fmla="*/ 1425695 w 12243467"/>
              <a:gd name="connsiteY1844" fmla="*/ 3462493 h 4565177"/>
              <a:gd name="connsiteX1845" fmla="*/ 1402461 w 12243467"/>
              <a:gd name="connsiteY1845" fmla="*/ 3446815 h 4565177"/>
              <a:gd name="connsiteX1846" fmla="*/ 1739624 w 12243467"/>
              <a:gd name="connsiteY1846" fmla="*/ 3441757 h 4565177"/>
              <a:gd name="connsiteX1847" fmla="*/ 1745156 w 12243467"/>
              <a:gd name="connsiteY1847" fmla="*/ 3441959 h 4565177"/>
              <a:gd name="connsiteX1848" fmla="*/ 1781389 w 12243467"/>
              <a:gd name="connsiteY1848" fmla="*/ 3456728 h 4565177"/>
              <a:gd name="connsiteX1849" fmla="*/ 1783602 w 12243467"/>
              <a:gd name="connsiteY1849" fmla="*/ 3460673 h 4565177"/>
              <a:gd name="connsiteX1850" fmla="*/ 1747092 w 12243467"/>
              <a:gd name="connsiteY1850" fmla="*/ 3445904 h 4565177"/>
              <a:gd name="connsiteX1851" fmla="*/ 1735476 w 12243467"/>
              <a:gd name="connsiteY1851" fmla="*/ 3442364 h 4565177"/>
              <a:gd name="connsiteX1852" fmla="*/ 1739624 w 12243467"/>
              <a:gd name="connsiteY1852" fmla="*/ 3441757 h 4565177"/>
              <a:gd name="connsiteX1853" fmla="*/ 10603408 w 12243467"/>
              <a:gd name="connsiteY1853" fmla="*/ 3440339 h 4565177"/>
              <a:gd name="connsiteX1854" fmla="*/ 10612812 w 12243467"/>
              <a:gd name="connsiteY1854" fmla="*/ 3440744 h 4565177"/>
              <a:gd name="connsiteX1855" fmla="*/ 10589855 w 12243467"/>
              <a:gd name="connsiteY1855" fmla="*/ 3450353 h 4565177"/>
              <a:gd name="connsiteX1856" fmla="*/ 10603408 w 12243467"/>
              <a:gd name="connsiteY1856" fmla="*/ 3440339 h 4565177"/>
              <a:gd name="connsiteX1857" fmla="*/ 1875983 w 12243467"/>
              <a:gd name="connsiteY1857" fmla="*/ 3439633 h 4565177"/>
              <a:gd name="connsiteX1858" fmla="*/ 1872664 w 12243467"/>
              <a:gd name="connsiteY1858" fmla="*/ 3454502 h 4565177"/>
              <a:gd name="connsiteX1859" fmla="*/ 1848601 w 12243467"/>
              <a:gd name="connsiteY1859" fmla="*/ 3454907 h 4565177"/>
              <a:gd name="connsiteX1860" fmla="*/ 1846941 w 12243467"/>
              <a:gd name="connsiteY1860" fmla="*/ 3465326 h 4565177"/>
              <a:gd name="connsiteX1861" fmla="*/ 1822601 w 12243467"/>
              <a:gd name="connsiteY1861" fmla="*/ 3454502 h 4565177"/>
              <a:gd name="connsiteX1862" fmla="*/ 1830069 w 12243467"/>
              <a:gd name="connsiteY1862" fmla="*/ 3450052 h 4565177"/>
              <a:gd name="connsiteX1863" fmla="*/ 1843069 w 12243467"/>
              <a:gd name="connsiteY1863" fmla="*/ 3454705 h 4565177"/>
              <a:gd name="connsiteX1864" fmla="*/ 1833665 w 12243467"/>
              <a:gd name="connsiteY1864" fmla="*/ 3446612 h 4565177"/>
              <a:gd name="connsiteX1865" fmla="*/ 1848324 w 12243467"/>
              <a:gd name="connsiteY1865" fmla="*/ 3443578 h 4565177"/>
              <a:gd name="connsiteX1866" fmla="*/ 1875983 w 12243467"/>
              <a:gd name="connsiteY1866" fmla="*/ 3439633 h 4565177"/>
              <a:gd name="connsiteX1867" fmla="*/ 8341732 w 12243467"/>
              <a:gd name="connsiteY1867" fmla="*/ 3428808 h 4565177"/>
              <a:gd name="connsiteX1868" fmla="*/ 8337122 w 12243467"/>
              <a:gd name="connsiteY1868" fmla="*/ 3430569 h 4565177"/>
              <a:gd name="connsiteX1869" fmla="*/ 8337131 w 12243467"/>
              <a:gd name="connsiteY1869" fmla="*/ 3431080 h 4565177"/>
              <a:gd name="connsiteX1870" fmla="*/ 1707263 w 12243467"/>
              <a:gd name="connsiteY1870" fmla="*/ 3428405 h 4565177"/>
              <a:gd name="connsiteX1871" fmla="*/ 1710306 w 12243467"/>
              <a:gd name="connsiteY1871" fmla="*/ 3428810 h 4565177"/>
              <a:gd name="connsiteX1872" fmla="*/ 1721093 w 12243467"/>
              <a:gd name="connsiteY1872" fmla="*/ 3430731 h 4565177"/>
              <a:gd name="connsiteX1873" fmla="*/ 1721093 w 12243467"/>
              <a:gd name="connsiteY1873" fmla="*/ 3436598 h 4565177"/>
              <a:gd name="connsiteX1874" fmla="*/ 1703668 w 12243467"/>
              <a:gd name="connsiteY1874" fmla="*/ 3429720 h 4565177"/>
              <a:gd name="connsiteX1875" fmla="*/ 1707263 w 12243467"/>
              <a:gd name="connsiteY1875" fmla="*/ 3428405 h 4565177"/>
              <a:gd name="connsiteX1876" fmla="*/ 1958684 w 12243467"/>
              <a:gd name="connsiteY1876" fmla="*/ 3423651 h 4565177"/>
              <a:gd name="connsiteX1877" fmla="*/ 1964215 w 12243467"/>
              <a:gd name="connsiteY1877" fmla="*/ 3426786 h 4565177"/>
              <a:gd name="connsiteX1878" fmla="*/ 1964769 w 12243467"/>
              <a:gd name="connsiteY1878" fmla="*/ 3429619 h 4565177"/>
              <a:gd name="connsiteX1879" fmla="*/ 1955088 w 12243467"/>
              <a:gd name="connsiteY1879" fmla="*/ 3432856 h 4565177"/>
              <a:gd name="connsiteX1880" fmla="*/ 1958684 w 12243467"/>
              <a:gd name="connsiteY1880" fmla="*/ 3423651 h 4565177"/>
              <a:gd name="connsiteX1881" fmla="*/ 1786092 w 12243467"/>
              <a:gd name="connsiteY1881" fmla="*/ 3422235 h 4565177"/>
              <a:gd name="connsiteX1882" fmla="*/ 1823984 w 12243467"/>
              <a:gd name="connsiteY1882" fmla="*/ 3429416 h 4565177"/>
              <a:gd name="connsiteX1883" fmla="*/ 1824261 w 12243467"/>
              <a:gd name="connsiteY1883" fmla="*/ 3440745 h 4565177"/>
              <a:gd name="connsiteX1884" fmla="*/ 1823708 w 12243467"/>
              <a:gd name="connsiteY1884" fmla="*/ 3442667 h 4565177"/>
              <a:gd name="connsiteX1885" fmla="*/ 1811261 w 12243467"/>
              <a:gd name="connsiteY1885" fmla="*/ 3444792 h 4565177"/>
              <a:gd name="connsiteX1886" fmla="*/ 1776964 w 12243467"/>
              <a:gd name="connsiteY1886" fmla="*/ 3431136 h 4565177"/>
              <a:gd name="connsiteX1887" fmla="*/ 1786092 w 12243467"/>
              <a:gd name="connsiteY1887" fmla="*/ 3422235 h 4565177"/>
              <a:gd name="connsiteX1888" fmla="*/ 1866026 w 12243467"/>
              <a:gd name="connsiteY1888" fmla="*/ 3419706 h 4565177"/>
              <a:gd name="connsiteX1889" fmla="*/ 1906132 w 12243467"/>
              <a:gd name="connsiteY1889" fmla="*/ 3436699 h 4565177"/>
              <a:gd name="connsiteX1890" fmla="*/ 1885940 w 12243467"/>
              <a:gd name="connsiteY1890" fmla="*/ 3441959 h 4565177"/>
              <a:gd name="connsiteX1891" fmla="*/ 1851367 w 12243467"/>
              <a:gd name="connsiteY1891" fmla="*/ 3419807 h 4565177"/>
              <a:gd name="connsiteX1892" fmla="*/ 1866026 w 12243467"/>
              <a:gd name="connsiteY1892" fmla="*/ 3419706 h 4565177"/>
              <a:gd name="connsiteX1893" fmla="*/ 1690391 w 12243467"/>
              <a:gd name="connsiteY1893" fmla="*/ 3418593 h 4565177"/>
              <a:gd name="connsiteX1894" fmla="*/ 1695923 w 12243467"/>
              <a:gd name="connsiteY1894" fmla="*/ 3420009 h 4565177"/>
              <a:gd name="connsiteX1895" fmla="*/ 1695923 w 12243467"/>
              <a:gd name="connsiteY1895" fmla="*/ 3425674 h 4565177"/>
              <a:gd name="connsiteX1896" fmla="*/ 1684583 w 12243467"/>
              <a:gd name="connsiteY1896" fmla="*/ 3419503 h 4565177"/>
              <a:gd name="connsiteX1897" fmla="*/ 1690391 w 12243467"/>
              <a:gd name="connsiteY1897" fmla="*/ 3418593 h 4565177"/>
              <a:gd name="connsiteX1898" fmla="*/ 1906132 w 12243467"/>
              <a:gd name="connsiteY1898" fmla="*/ 3416469 h 4565177"/>
              <a:gd name="connsiteX1899" fmla="*/ 1927982 w 12243467"/>
              <a:gd name="connsiteY1899" fmla="*/ 3417683 h 4565177"/>
              <a:gd name="connsiteX1900" fmla="*/ 1922727 w 12243467"/>
              <a:gd name="connsiteY1900" fmla="*/ 3425876 h 4565177"/>
              <a:gd name="connsiteX1901" fmla="*/ 1906132 w 12243467"/>
              <a:gd name="connsiteY1901" fmla="*/ 3416469 h 4565177"/>
              <a:gd name="connsiteX1902" fmla="*/ 10642131 w 12243467"/>
              <a:gd name="connsiteY1902" fmla="*/ 3413331 h 4565177"/>
              <a:gd name="connsiteX1903" fmla="*/ 10641854 w 12243467"/>
              <a:gd name="connsiteY1903" fmla="*/ 3416164 h 4565177"/>
              <a:gd name="connsiteX1904" fmla="*/ 10658450 w 12243467"/>
              <a:gd name="connsiteY1904" fmla="*/ 3426785 h 4565177"/>
              <a:gd name="connsiteX1905" fmla="*/ 10588472 w 12243467"/>
              <a:gd name="connsiteY1905" fmla="*/ 3476046 h 4565177"/>
              <a:gd name="connsiteX1906" fmla="*/ 10637705 w 12243467"/>
              <a:gd name="connsiteY1906" fmla="*/ 3429819 h 4565177"/>
              <a:gd name="connsiteX1907" fmla="*/ 10642131 w 12243467"/>
              <a:gd name="connsiteY1907" fmla="*/ 3413331 h 4565177"/>
              <a:gd name="connsiteX1908" fmla="*/ 1833942 w 12243467"/>
              <a:gd name="connsiteY1908" fmla="*/ 3409287 h 4565177"/>
              <a:gd name="connsiteX1909" fmla="*/ 1845835 w 12243467"/>
              <a:gd name="connsiteY1909" fmla="*/ 3411310 h 4565177"/>
              <a:gd name="connsiteX1910" fmla="*/ 1838367 w 12243467"/>
              <a:gd name="connsiteY1910" fmla="*/ 3412524 h 4565177"/>
              <a:gd name="connsiteX1911" fmla="*/ 1837261 w 12243467"/>
              <a:gd name="connsiteY1911" fmla="*/ 3419807 h 4565177"/>
              <a:gd name="connsiteX1912" fmla="*/ 1834771 w 12243467"/>
              <a:gd name="connsiteY1912" fmla="*/ 3413030 h 4565177"/>
              <a:gd name="connsiteX1913" fmla="*/ 1825367 w 12243467"/>
              <a:gd name="connsiteY1913" fmla="*/ 3413030 h 4565177"/>
              <a:gd name="connsiteX1914" fmla="*/ 1833942 w 12243467"/>
              <a:gd name="connsiteY1914" fmla="*/ 3409287 h 4565177"/>
              <a:gd name="connsiteX1915" fmla="*/ 1637839 w 12243467"/>
              <a:gd name="connsiteY1915" fmla="*/ 3398160 h 4565177"/>
              <a:gd name="connsiteX1916" fmla="*/ 1662456 w 12243467"/>
              <a:gd name="connsiteY1916" fmla="*/ 3409186 h 4565177"/>
              <a:gd name="connsiteX1917" fmla="*/ 1637839 w 12243467"/>
              <a:gd name="connsiteY1917" fmla="*/ 3398160 h 4565177"/>
              <a:gd name="connsiteX1918" fmla="*/ 9493729 w 12243467"/>
              <a:gd name="connsiteY1918" fmla="*/ 3390066 h 4565177"/>
              <a:gd name="connsiteX1919" fmla="*/ 9487091 w 12243467"/>
              <a:gd name="connsiteY1919" fmla="*/ 3394011 h 4565177"/>
              <a:gd name="connsiteX1920" fmla="*/ 9477687 w 12243467"/>
              <a:gd name="connsiteY1920" fmla="*/ 3399777 h 4565177"/>
              <a:gd name="connsiteX1921" fmla="*/ 9474368 w 12243467"/>
              <a:gd name="connsiteY1921" fmla="*/ 3406150 h 4565177"/>
              <a:gd name="connsiteX1922" fmla="*/ 9489580 w 12243467"/>
              <a:gd name="connsiteY1922" fmla="*/ 3393910 h 4565177"/>
              <a:gd name="connsiteX1923" fmla="*/ 10699385 w 12243467"/>
              <a:gd name="connsiteY1923" fmla="*/ 3385717 h 4565177"/>
              <a:gd name="connsiteX1924" fmla="*/ 10708789 w 12243467"/>
              <a:gd name="connsiteY1924" fmla="*/ 3388347 h 4565177"/>
              <a:gd name="connsiteX1925" fmla="*/ 10691087 w 12243467"/>
              <a:gd name="connsiteY1925" fmla="*/ 3403520 h 4565177"/>
              <a:gd name="connsiteX1926" fmla="*/ 10699385 w 12243467"/>
              <a:gd name="connsiteY1926" fmla="*/ 3385717 h 4565177"/>
              <a:gd name="connsiteX1927" fmla="*/ 1945684 w 12243467"/>
              <a:gd name="connsiteY1927" fmla="*/ 3365893 h 4565177"/>
              <a:gd name="connsiteX1928" fmla="*/ 2008470 w 12243467"/>
              <a:gd name="connsiteY1928" fmla="*/ 3386730 h 4565177"/>
              <a:gd name="connsiteX1929" fmla="*/ 1955364 w 12243467"/>
              <a:gd name="connsiteY1929" fmla="*/ 3368320 h 4565177"/>
              <a:gd name="connsiteX1930" fmla="*/ 1955364 w 12243467"/>
              <a:gd name="connsiteY1930" fmla="*/ 3374086 h 4565177"/>
              <a:gd name="connsiteX1931" fmla="*/ 1945684 w 12243467"/>
              <a:gd name="connsiteY1931" fmla="*/ 3365893 h 4565177"/>
              <a:gd name="connsiteX1932" fmla="*/ 10479496 w 12243467"/>
              <a:gd name="connsiteY1932" fmla="*/ 3350920 h 4565177"/>
              <a:gd name="connsiteX1933" fmla="*/ 10458198 w 12243467"/>
              <a:gd name="connsiteY1933" fmla="*/ 3365385 h 4565177"/>
              <a:gd name="connsiteX1934" fmla="*/ 10479496 w 12243467"/>
              <a:gd name="connsiteY1934" fmla="*/ 3350920 h 4565177"/>
              <a:gd name="connsiteX1935" fmla="*/ 1906961 w 12243467"/>
              <a:gd name="connsiteY1935" fmla="*/ 3348495 h 4565177"/>
              <a:gd name="connsiteX1936" fmla="*/ 1915536 w 12243467"/>
              <a:gd name="connsiteY1936" fmla="*/ 3354058 h 4565177"/>
              <a:gd name="connsiteX1937" fmla="*/ 1911663 w 12243467"/>
              <a:gd name="connsiteY1937" fmla="*/ 3360734 h 4565177"/>
              <a:gd name="connsiteX1938" fmla="*/ 1900323 w 12243467"/>
              <a:gd name="connsiteY1938" fmla="*/ 3360127 h 4565177"/>
              <a:gd name="connsiteX1939" fmla="*/ 1902259 w 12243467"/>
              <a:gd name="connsiteY1939" fmla="*/ 3349506 h 4565177"/>
              <a:gd name="connsiteX1940" fmla="*/ 1906961 w 12243467"/>
              <a:gd name="connsiteY1940" fmla="*/ 3348495 h 4565177"/>
              <a:gd name="connsiteX1941" fmla="*/ 8665409 w 12243467"/>
              <a:gd name="connsiteY1941" fmla="*/ 3341652 h 4565177"/>
              <a:gd name="connsiteX1942" fmla="*/ 8569088 w 12243467"/>
              <a:gd name="connsiteY1942" fmla="*/ 3395263 h 4565177"/>
              <a:gd name="connsiteX1943" fmla="*/ 8468963 w 12243467"/>
              <a:gd name="connsiteY1943" fmla="*/ 3445296 h 4565177"/>
              <a:gd name="connsiteX1944" fmla="*/ 8437329 w 12243467"/>
              <a:gd name="connsiteY1944" fmla="*/ 3461298 h 4565177"/>
              <a:gd name="connsiteX1945" fmla="*/ 8428557 w 12243467"/>
              <a:gd name="connsiteY1945" fmla="*/ 3485939 h 4565177"/>
              <a:gd name="connsiteX1946" fmla="*/ 8464330 w 12243467"/>
              <a:gd name="connsiteY1946" fmla="*/ 3473239 h 4565177"/>
              <a:gd name="connsiteX1947" fmla="*/ 8520685 w 12243467"/>
              <a:gd name="connsiteY1947" fmla="*/ 3439732 h 4565177"/>
              <a:gd name="connsiteX1948" fmla="*/ 8535068 w 12243467"/>
              <a:gd name="connsiteY1948" fmla="*/ 3427695 h 4565177"/>
              <a:gd name="connsiteX1949" fmla="*/ 8572684 w 12243467"/>
              <a:gd name="connsiteY1949" fmla="*/ 3408982 h 4565177"/>
              <a:gd name="connsiteX1950" fmla="*/ 8625513 w 12243467"/>
              <a:gd name="connsiteY1950" fmla="*/ 3381013 h 4565177"/>
              <a:gd name="connsiteX1951" fmla="*/ 8666185 w 12243467"/>
              <a:gd name="connsiteY1951" fmla="*/ 3342100 h 4565177"/>
              <a:gd name="connsiteX1952" fmla="*/ 1938492 w 12243467"/>
              <a:gd name="connsiteY1952" fmla="*/ 3335547 h 4565177"/>
              <a:gd name="connsiteX1953" fmla="*/ 1946237 w 12243467"/>
              <a:gd name="connsiteY1953" fmla="*/ 3335850 h 4565177"/>
              <a:gd name="connsiteX1954" fmla="*/ 1997683 w 12243467"/>
              <a:gd name="connsiteY1954" fmla="*/ 3352439 h 4565177"/>
              <a:gd name="connsiteX1955" fmla="*/ 1930195 w 12243467"/>
              <a:gd name="connsiteY1955" fmla="*/ 3337064 h 4565177"/>
              <a:gd name="connsiteX1956" fmla="*/ 1938492 w 12243467"/>
              <a:gd name="connsiteY1956" fmla="*/ 3335547 h 4565177"/>
              <a:gd name="connsiteX1957" fmla="*/ 2177190 w 12243467"/>
              <a:gd name="connsiteY1957" fmla="*/ 3331703 h 4565177"/>
              <a:gd name="connsiteX1958" fmla="*/ 2183551 w 12243467"/>
              <a:gd name="connsiteY1958" fmla="*/ 3338379 h 4565177"/>
              <a:gd name="connsiteX1959" fmla="*/ 2174147 w 12243467"/>
              <a:gd name="connsiteY1959" fmla="*/ 3341414 h 4565177"/>
              <a:gd name="connsiteX1960" fmla="*/ 2173594 w 12243467"/>
              <a:gd name="connsiteY1960" fmla="*/ 3332917 h 4565177"/>
              <a:gd name="connsiteX1961" fmla="*/ 2177190 w 12243467"/>
              <a:gd name="connsiteY1961" fmla="*/ 3331703 h 4565177"/>
              <a:gd name="connsiteX1962" fmla="*/ 10503006 w 12243467"/>
              <a:gd name="connsiteY1962" fmla="*/ 3330184 h 4565177"/>
              <a:gd name="connsiteX1963" fmla="*/ 10510197 w 12243467"/>
              <a:gd name="connsiteY1963" fmla="*/ 3331904 h 4565177"/>
              <a:gd name="connsiteX1964" fmla="*/ 10499134 w 12243467"/>
              <a:gd name="connsiteY1964" fmla="*/ 3337973 h 4565177"/>
              <a:gd name="connsiteX1965" fmla="*/ 10503006 w 12243467"/>
              <a:gd name="connsiteY1965" fmla="*/ 3330184 h 4565177"/>
              <a:gd name="connsiteX1966" fmla="*/ 1849984 w 12243467"/>
              <a:gd name="connsiteY1966" fmla="*/ 3329882 h 4565177"/>
              <a:gd name="connsiteX1967" fmla="*/ 1870728 w 12243467"/>
              <a:gd name="connsiteY1967" fmla="*/ 3339998 h 4565177"/>
              <a:gd name="connsiteX1968" fmla="*/ 1840026 w 12243467"/>
              <a:gd name="connsiteY1968" fmla="*/ 3331501 h 4565177"/>
              <a:gd name="connsiteX1969" fmla="*/ 1849984 w 12243467"/>
              <a:gd name="connsiteY1969" fmla="*/ 3329882 h 4565177"/>
              <a:gd name="connsiteX1970" fmla="*/ 10522644 w 12243467"/>
              <a:gd name="connsiteY1970" fmla="*/ 3314303 h 4565177"/>
              <a:gd name="connsiteX1971" fmla="*/ 10524857 w 12243467"/>
              <a:gd name="connsiteY1971" fmla="*/ 3314506 h 4565177"/>
              <a:gd name="connsiteX1972" fmla="*/ 10531495 w 12243467"/>
              <a:gd name="connsiteY1972" fmla="*/ 3317034 h 4565177"/>
              <a:gd name="connsiteX1973" fmla="*/ 10517665 w 12243467"/>
              <a:gd name="connsiteY1973" fmla="*/ 3327352 h 4565177"/>
              <a:gd name="connsiteX1974" fmla="*/ 10524027 w 12243467"/>
              <a:gd name="connsiteY1974" fmla="*/ 3315315 h 4565177"/>
              <a:gd name="connsiteX1975" fmla="*/ 10522644 w 12243467"/>
              <a:gd name="connsiteY1975" fmla="*/ 3314303 h 4565177"/>
              <a:gd name="connsiteX1976" fmla="*/ 10756639 w 12243467"/>
              <a:gd name="connsiteY1976" fmla="*/ 3300041 h 4565177"/>
              <a:gd name="connsiteX1977" fmla="*/ 10759958 w 12243467"/>
              <a:gd name="connsiteY1977" fmla="*/ 3302772 h 4565177"/>
              <a:gd name="connsiteX1978" fmla="*/ 10756362 w 12243467"/>
              <a:gd name="connsiteY1978" fmla="*/ 3302974 h 4565177"/>
              <a:gd name="connsiteX1979" fmla="*/ 10701874 w 12243467"/>
              <a:gd name="connsiteY1979" fmla="*/ 3355169 h 4565177"/>
              <a:gd name="connsiteX1980" fmla="*/ 10722065 w 12243467"/>
              <a:gd name="connsiteY1980" fmla="*/ 3318956 h 4565177"/>
              <a:gd name="connsiteX1981" fmla="*/ 10756639 w 12243467"/>
              <a:gd name="connsiteY1981" fmla="*/ 3300041 h 4565177"/>
              <a:gd name="connsiteX1982" fmla="*/ 1820389 w 12243467"/>
              <a:gd name="connsiteY1982" fmla="*/ 3298222 h 4565177"/>
              <a:gd name="connsiteX1983" fmla="*/ 1919131 w 12243467"/>
              <a:gd name="connsiteY1983" fmla="*/ 3327758 h 4565177"/>
              <a:gd name="connsiteX1984" fmla="*/ 1890642 w 12243467"/>
              <a:gd name="connsiteY1984" fmla="*/ 3326241 h 4565177"/>
              <a:gd name="connsiteX1985" fmla="*/ 1888983 w 12243467"/>
              <a:gd name="connsiteY1985" fmla="*/ 3333827 h 4565177"/>
              <a:gd name="connsiteX1986" fmla="*/ 1869898 w 12243467"/>
              <a:gd name="connsiteY1986" fmla="*/ 3328972 h 4565177"/>
              <a:gd name="connsiteX1987" fmla="*/ 1852750 w 12243467"/>
              <a:gd name="connsiteY1987" fmla="*/ 3319363 h 4565177"/>
              <a:gd name="connsiteX1988" fmla="*/ 1824537 w 12243467"/>
              <a:gd name="connsiteY1988" fmla="*/ 3306112 h 4565177"/>
              <a:gd name="connsiteX1989" fmla="*/ 1820389 w 12243467"/>
              <a:gd name="connsiteY1989" fmla="*/ 3298222 h 4565177"/>
              <a:gd name="connsiteX1990" fmla="*/ 10777936 w 12243467"/>
              <a:gd name="connsiteY1990" fmla="*/ 3294477 h 4565177"/>
              <a:gd name="connsiteX1991" fmla="*/ 10796468 w 12243467"/>
              <a:gd name="connsiteY1991" fmla="*/ 3298119 h 4565177"/>
              <a:gd name="connsiteX1992" fmla="*/ 10801723 w 12243467"/>
              <a:gd name="connsiteY1992" fmla="*/ 3306413 h 4565177"/>
              <a:gd name="connsiteX1993" fmla="*/ 10715704 w 12243467"/>
              <a:gd name="connsiteY1993" fmla="*/ 3381165 h 4565177"/>
              <a:gd name="connsiteX1994" fmla="*/ 10719023 w 12243467"/>
              <a:gd name="connsiteY1994" fmla="*/ 3351628 h 4565177"/>
              <a:gd name="connsiteX1995" fmla="*/ 10730640 w 12243467"/>
              <a:gd name="connsiteY1995" fmla="*/ 3342424 h 4565177"/>
              <a:gd name="connsiteX1996" fmla="*/ 10730363 w 12243467"/>
              <a:gd name="connsiteY1996" fmla="*/ 3350920 h 4565177"/>
              <a:gd name="connsiteX1997" fmla="*/ 10753320 w 12243467"/>
              <a:gd name="connsiteY1997" fmla="*/ 3338377 h 4565177"/>
              <a:gd name="connsiteX1998" fmla="*/ 10760235 w 12243467"/>
              <a:gd name="connsiteY1998" fmla="*/ 3312381 h 4565177"/>
              <a:gd name="connsiteX1999" fmla="*/ 10769362 w 12243467"/>
              <a:gd name="connsiteY1999" fmla="*/ 3318552 h 4565177"/>
              <a:gd name="connsiteX2000" fmla="*/ 10773788 w 12243467"/>
              <a:gd name="connsiteY2000" fmla="*/ 3304997 h 4565177"/>
              <a:gd name="connsiteX2001" fmla="*/ 10782915 w 12243467"/>
              <a:gd name="connsiteY2001" fmla="*/ 3308335 h 4565177"/>
              <a:gd name="connsiteX2002" fmla="*/ 10777936 w 12243467"/>
              <a:gd name="connsiteY2002" fmla="*/ 3294477 h 4565177"/>
              <a:gd name="connsiteX2003" fmla="*/ 10762724 w 12243467"/>
              <a:gd name="connsiteY2003" fmla="*/ 3291443 h 4565177"/>
              <a:gd name="connsiteX2004" fmla="*/ 10768256 w 12243467"/>
              <a:gd name="connsiteY2004" fmla="*/ 3297006 h 4565177"/>
              <a:gd name="connsiteX2005" fmla="*/ 10758852 w 12243467"/>
              <a:gd name="connsiteY2005" fmla="*/ 3299333 h 4565177"/>
              <a:gd name="connsiteX2006" fmla="*/ 10762724 w 12243467"/>
              <a:gd name="connsiteY2006" fmla="*/ 3297310 h 4565177"/>
              <a:gd name="connsiteX2007" fmla="*/ 10758852 w 12243467"/>
              <a:gd name="connsiteY2007" fmla="*/ 3296399 h 4565177"/>
              <a:gd name="connsiteX2008" fmla="*/ 10762724 w 12243467"/>
              <a:gd name="connsiteY2008" fmla="*/ 3291443 h 4565177"/>
              <a:gd name="connsiteX2009" fmla="*/ 10576855 w 12243467"/>
              <a:gd name="connsiteY2009" fmla="*/ 3277888 h 4565177"/>
              <a:gd name="connsiteX2010" fmla="*/ 10580451 w 12243467"/>
              <a:gd name="connsiteY2010" fmla="*/ 3279507 h 4565177"/>
              <a:gd name="connsiteX2011" fmla="*/ 10551133 w 12243467"/>
              <a:gd name="connsiteY2011" fmla="*/ 3301153 h 4565177"/>
              <a:gd name="connsiteX2012" fmla="*/ 10543112 w 12243467"/>
              <a:gd name="connsiteY2012" fmla="*/ 3308335 h 4565177"/>
              <a:gd name="connsiteX2013" fmla="*/ 10545324 w 12243467"/>
              <a:gd name="connsiteY2013" fmla="*/ 3301457 h 4565177"/>
              <a:gd name="connsiteX2014" fmla="*/ 10574643 w 12243467"/>
              <a:gd name="connsiteY2014" fmla="*/ 3279810 h 4565177"/>
              <a:gd name="connsiteX2015" fmla="*/ 10576855 w 12243467"/>
              <a:gd name="connsiteY2015" fmla="*/ 3277888 h 4565177"/>
              <a:gd name="connsiteX2016" fmla="*/ 10636322 w 12243467"/>
              <a:gd name="connsiteY2016" fmla="*/ 3273539 h 4565177"/>
              <a:gd name="connsiteX2017" fmla="*/ 10636046 w 12243467"/>
              <a:gd name="connsiteY2017" fmla="*/ 3282137 h 4565177"/>
              <a:gd name="connsiteX2018" fmla="*/ 10649045 w 12243467"/>
              <a:gd name="connsiteY2018" fmla="*/ 3283351 h 4565177"/>
              <a:gd name="connsiteX2019" fmla="*/ 10626089 w 12243467"/>
              <a:gd name="connsiteY2019" fmla="*/ 3301558 h 4565177"/>
              <a:gd name="connsiteX2020" fmla="*/ 10626642 w 12243467"/>
              <a:gd name="connsiteY2020" fmla="*/ 3287296 h 4565177"/>
              <a:gd name="connsiteX2021" fmla="*/ 10630237 w 12243467"/>
              <a:gd name="connsiteY2021" fmla="*/ 3290836 h 4565177"/>
              <a:gd name="connsiteX2022" fmla="*/ 10628854 w 12243467"/>
              <a:gd name="connsiteY2022" fmla="*/ 3280518 h 4565177"/>
              <a:gd name="connsiteX2023" fmla="*/ 10636322 w 12243467"/>
              <a:gd name="connsiteY2023" fmla="*/ 3273539 h 4565177"/>
              <a:gd name="connsiteX2024" fmla="*/ 10777660 w 12243467"/>
              <a:gd name="connsiteY2024" fmla="*/ 3272426 h 4565177"/>
              <a:gd name="connsiteX2025" fmla="*/ 10772128 w 12243467"/>
              <a:gd name="connsiteY2025" fmla="*/ 3288813 h 4565177"/>
              <a:gd name="connsiteX2026" fmla="*/ 10777660 w 12243467"/>
              <a:gd name="connsiteY2026" fmla="*/ 3272426 h 4565177"/>
              <a:gd name="connsiteX2027" fmla="*/ 1758433 w 12243467"/>
              <a:gd name="connsiteY2027" fmla="*/ 3271416 h 4565177"/>
              <a:gd name="connsiteX2028" fmla="*/ 1790517 w 12243467"/>
              <a:gd name="connsiteY2028" fmla="*/ 3283757 h 4565177"/>
              <a:gd name="connsiteX2029" fmla="*/ 1758433 w 12243467"/>
              <a:gd name="connsiteY2029" fmla="*/ 3271416 h 4565177"/>
              <a:gd name="connsiteX2030" fmla="*/ 10613089 w 12243467"/>
              <a:gd name="connsiteY2030" fmla="*/ 3255837 h 4565177"/>
              <a:gd name="connsiteX2031" fmla="*/ 10593727 w 12243467"/>
              <a:gd name="connsiteY2031" fmla="*/ 3272123 h 4565177"/>
              <a:gd name="connsiteX2032" fmla="*/ 10606174 w 12243467"/>
              <a:gd name="connsiteY2032" fmla="*/ 3278900 h 4565177"/>
              <a:gd name="connsiteX2033" fmla="*/ 10613089 w 12243467"/>
              <a:gd name="connsiteY2033" fmla="*/ 3255837 h 4565177"/>
              <a:gd name="connsiteX2034" fmla="*/ 10675598 w 12243467"/>
              <a:gd name="connsiteY2034" fmla="*/ 3246430 h 4565177"/>
              <a:gd name="connsiteX2035" fmla="*/ 10680853 w 12243467"/>
              <a:gd name="connsiteY2035" fmla="*/ 3246835 h 4565177"/>
              <a:gd name="connsiteX2036" fmla="*/ 10665088 w 12243467"/>
              <a:gd name="connsiteY2036" fmla="*/ 3269594 h 4565177"/>
              <a:gd name="connsiteX2037" fmla="*/ 10646003 w 12243467"/>
              <a:gd name="connsiteY2037" fmla="*/ 3277180 h 4565177"/>
              <a:gd name="connsiteX2038" fmla="*/ 10663705 w 12243467"/>
              <a:gd name="connsiteY2038" fmla="*/ 3253308 h 4565177"/>
              <a:gd name="connsiteX2039" fmla="*/ 10675598 w 12243467"/>
              <a:gd name="connsiteY2039" fmla="*/ 3246430 h 4565177"/>
              <a:gd name="connsiteX2040" fmla="*/ 10615301 w 12243467"/>
              <a:gd name="connsiteY2040" fmla="*/ 3243598 h 4565177"/>
              <a:gd name="connsiteX2041" fmla="*/ 10620280 w 12243467"/>
              <a:gd name="connsiteY2041" fmla="*/ 3247543 h 4565177"/>
              <a:gd name="connsiteX2042" fmla="*/ 10622493 w 12243467"/>
              <a:gd name="connsiteY2042" fmla="*/ 3250881 h 4565177"/>
              <a:gd name="connsiteX2043" fmla="*/ 10611429 w 12243467"/>
              <a:gd name="connsiteY2043" fmla="*/ 3248554 h 4565177"/>
              <a:gd name="connsiteX2044" fmla="*/ 10615301 w 12243467"/>
              <a:gd name="connsiteY2044" fmla="*/ 3243598 h 4565177"/>
              <a:gd name="connsiteX2045" fmla="*/ 10551409 w 12243467"/>
              <a:gd name="connsiteY2045" fmla="*/ 3241777 h 4565177"/>
              <a:gd name="connsiteX2046" fmla="*/ 10566345 w 12243467"/>
              <a:gd name="connsiteY2046" fmla="*/ 3244812 h 4565177"/>
              <a:gd name="connsiteX2047" fmla="*/ 10568558 w 12243467"/>
              <a:gd name="connsiteY2047" fmla="*/ 3245722 h 4565177"/>
              <a:gd name="connsiteX2048" fmla="*/ 10567728 w 12243467"/>
              <a:gd name="connsiteY2048" fmla="*/ 3255230 h 4565177"/>
              <a:gd name="connsiteX2049" fmla="*/ 10540346 w 12243467"/>
              <a:gd name="connsiteY2049" fmla="*/ 3275562 h 4565177"/>
              <a:gd name="connsiteX2050" fmla="*/ 10531495 w 12243467"/>
              <a:gd name="connsiteY2050" fmla="*/ 3266559 h 4565177"/>
              <a:gd name="connsiteX2051" fmla="*/ 10551409 w 12243467"/>
              <a:gd name="connsiteY2051" fmla="*/ 3241777 h 4565177"/>
              <a:gd name="connsiteX2052" fmla="*/ 10647386 w 12243467"/>
              <a:gd name="connsiteY2052" fmla="*/ 3236922 h 4565177"/>
              <a:gd name="connsiteX2053" fmla="*/ 10644897 w 12243467"/>
              <a:gd name="connsiteY2053" fmla="*/ 3246733 h 4565177"/>
              <a:gd name="connsiteX2054" fmla="*/ 10637152 w 12243467"/>
              <a:gd name="connsiteY2054" fmla="*/ 3245317 h 4565177"/>
              <a:gd name="connsiteX2055" fmla="*/ 10647386 w 12243467"/>
              <a:gd name="connsiteY2055" fmla="*/ 3236922 h 4565177"/>
              <a:gd name="connsiteX2056" fmla="*/ 10700768 w 12243467"/>
              <a:gd name="connsiteY2056" fmla="*/ 3231358 h 4565177"/>
              <a:gd name="connsiteX2057" fmla="*/ 10701044 w 12243467"/>
              <a:gd name="connsiteY2057" fmla="*/ 3235202 h 4565177"/>
              <a:gd name="connsiteX2058" fmla="*/ 10699661 w 12243467"/>
              <a:gd name="connsiteY2058" fmla="*/ 3239046 h 4565177"/>
              <a:gd name="connsiteX2059" fmla="*/ 10701044 w 12243467"/>
              <a:gd name="connsiteY2059" fmla="*/ 3230954 h 4565177"/>
              <a:gd name="connsiteX2060" fmla="*/ 10700768 w 12243467"/>
              <a:gd name="connsiteY2060" fmla="*/ 3231358 h 4565177"/>
              <a:gd name="connsiteX2061" fmla="*/ 10700768 w 12243467"/>
              <a:gd name="connsiteY2061" fmla="*/ 3231055 h 4565177"/>
              <a:gd name="connsiteX2062" fmla="*/ 10627471 w 12243467"/>
              <a:gd name="connsiteY2062" fmla="*/ 3229841 h 4565177"/>
              <a:gd name="connsiteX2063" fmla="*/ 10634939 w 12243467"/>
              <a:gd name="connsiteY2063" fmla="*/ 3233078 h 4565177"/>
              <a:gd name="connsiteX2064" fmla="*/ 10633003 w 12243467"/>
              <a:gd name="connsiteY2064" fmla="*/ 3237023 h 4565177"/>
              <a:gd name="connsiteX2065" fmla="*/ 10627471 w 12243467"/>
              <a:gd name="connsiteY2065" fmla="*/ 3229841 h 4565177"/>
              <a:gd name="connsiteX2066" fmla="*/ 10353924 w 12243467"/>
              <a:gd name="connsiteY2066" fmla="*/ 3224176 h 4565177"/>
              <a:gd name="connsiteX2067" fmla="*/ 10328754 w 12243467"/>
              <a:gd name="connsiteY2067" fmla="*/ 3243497 h 4565177"/>
              <a:gd name="connsiteX2068" fmla="*/ 10353924 w 12243467"/>
              <a:gd name="connsiteY2068" fmla="*/ 3224176 h 4565177"/>
              <a:gd name="connsiteX2069" fmla="*/ 10534261 w 12243467"/>
              <a:gd name="connsiteY2069" fmla="*/ 3221041 h 4565177"/>
              <a:gd name="connsiteX2070" fmla="*/ 10533707 w 12243467"/>
              <a:gd name="connsiteY2070" fmla="*/ 3226604 h 4565177"/>
              <a:gd name="connsiteX2071" fmla="*/ 10542835 w 12243467"/>
              <a:gd name="connsiteY2071" fmla="*/ 3229538 h 4565177"/>
              <a:gd name="connsiteX2072" fmla="*/ 10533431 w 12243467"/>
              <a:gd name="connsiteY2072" fmla="*/ 3229335 h 4565177"/>
              <a:gd name="connsiteX2073" fmla="*/ 10530942 w 12243467"/>
              <a:gd name="connsiteY2073" fmla="*/ 3236112 h 4565177"/>
              <a:gd name="connsiteX2074" fmla="*/ 10534261 w 12243467"/>
              <a:gd name="connsiteY2074" fmla="*/ 3221041 h 4565177"/>
              <a:gd name="connsiteX2075" fmla="*/ 2011789 w 12243467"/>
              <a:gd name="connsiteY2075" fmla="*/ 3213456 h 4565177"/>
              <a:gd name="connsiteX2076" fmla="*/ 2009853 w 12243467"/>
              <a:gd name="connsiteY2076" fmla="*/ 3223875 h 4565177"/>
              <a:gd name="connsiteX2077" fmla="*/ 2007640 w 12243467"/>
              <a:gd name="connsiteY2077" fmla="*/ 3214164 h 4565177"/>
              <a:gd name="connsiteX2078" fmla="*/ 2011789 w 12243467"/>
              <a:gd name="connsiteY2078" fmla="*/ 3213456 h 4565177"/>
              <a:gd name="connsiteX2079" fmla="*/ 10584600 w 12243467"/>
              <a:gd name="connsiteY2079" fmla="*/ 3207385 h 4565177"/>
              <a:gd name="connsiteX2080" fmla="*/ 10597876 w 12243467"/>
              <a:gd name="connsiteY2080" fmla="*/ 3214162 h 4565177"/>
              <a:gd name="connsiteX2081" fmla="*/ 10591515 w 12243467"/>
              <a:gd name="connsiteY2081" fmla="*/ 3231459 h 4565177"/>
              <a:gd name="connsiteX2082" fmla="*/ 10604514 w 12243467"/>
              <a:gd name="connsiteY2082" fmla="*/ 3235708 h 4565177"/>
              <a:gd name="connsiteX2083" fmla="*/ 10583494 w 12243467"/>
              <a:gd name="connsiteY2083" fmla="*/ 3249869 h 4565177"/>
              <a:gd name="connsiteX2084" fmla="*/ 10580175 w 12243467"/>
              <a:gd name="connsiteY2084" fmla="*/ 3243497 h 4565177"/>
              <a:gd name="connsiteX2085" fmla="*/ 10589579 w 12243467"/>
              <a:gd name="connsiteY2085" fmla="*/ 3235404 h 4565177"/>
              <a:gd name="connsiteX2086" fmla="*/ 10576579 w 12243467"/>
              <a:gd name="connsiteY2086" fmla="*/ 3239754 h 4565177"/>
              <a:gd name="connsiteX2087" fmla="*/ 10576855 w 12243467"/>
              <a:gd name="connsiteY2087" fmla="*/ 3228425 h 4565177"/>
              <a:gd name="connsiteX2088" fmla="*/ 10579621 w 12243467"/>
              <a:gd name="connsiteY2088" fmla="*/ 3207486 h 4565177"/>
              <a:gd name="connsiteX2089" fmla="*/ 10584600 w 12243467"/>
              <a:gd name="connsiteY2089" fmla="*/ 3207385 h 4565177"/>
              <a:gd name="connsiteX2090" fmla="*/ 9642811 w 12243467"/>
              <a:gd name="connsiteY2090" fmla="*/ 3206475 h 4565177"/>
              <a:gd name="connsiteX2091" fmla="*/ 9618471 w 12243467"/>
              <a:gd name="connsiteY2091" fmla="*/ 3244609 h 4565177"/>
              <a:gd name="connsiteX2092" fmla="*/ 9588599 w 12243467"/>
              <a:gd name="connsiteY2092" fmla="*/ 3259681 h 4565177"/>
              <a:gd name="connsiteX2093" fmla="*/ 9563983 w 12243467"/>
              <a:gd name="connsiteY2093" fmla="*/ 3295590 h 4565177"/>
              <a:gd name="connsiteX2094" fmla="*/ 9499261 w 12243467"/>
              <a:gd name="connsiteY2094" fmla="*/ 3384806 h 4565177"/>
              <a:gd name="connsiteX2095" fmla="*/ 9568685 w 12243467"/>
              <a:gd name="connsiteY2095" fmla="*/ 3319057 h 4565177"/>
              <a:gd name="connsiteX2096" fmla="*/ 9568408 w 12243467"/>
              <a:gd name="connsiteY2096" fmla="*/ 3300142 h 4565177"/>
              <a:gd name="connsiteX2097" fmla="*/ 9585834 w 12243467"/>
              <a:gd name="connsiteY2097" fmla="*/ 3289116 h 4565177"/>
              <a:gd name="connsiteX2098" fmla="*/ 9590259 w 12243467"/>
              <a:gd name="connsiteY2098" fmla="*/ 3286082 h 4565177"/>
              <a:gd name="connsiteX2099" fmla="*/ 9596621 w 12243467"/>
              <a:gd name="connsiteY2099" fmla="*/ 3274146 h 4565177"/>
              <a:gd name="connsiteX2100" fmla="*/ 9600493 w 12243467"/>
              <a:gd name="connsiteY2100" fmla="*/ 3269088 h 4565177"/>
              <a:gd name="connsiteX2101" fmla="*/ 9596067 w 12243467"/>
              <a:gd name="connsiteY2101" fmla="*/ 3263626 h 4565177"/>
              <a:gd name="connsiteX2102" fmla="*/ 9605471 w 12243467"/>
              <a:gd name="connsiteY2102" fmla="*/ 3262817 h 4565177"/>
              <a:gd name="connsiteX2103" fmla="*/ 9631471 w 12243467"/>
              <a:gd name="connsiteY2103" fmla="*/ 3229639 h 4565177"/>
              <a:gd name="connsiteX2104" fmla="*/ 9644747 w 12243467"/>
              <a:gd name="connsiteY2104" fmla="*/ 3209610 h 4565177"/>
              <a:gd name="connsiteX2105" fmla="*/ 10598706 w 12243467"/>
              <a:gd name="connsiteY2105" fmla="*/ 3197068 h 4565177"/>
              <a:gd name="connsiteX2106" fmla="*/ 10612812 w 12243467"/>
              <a:gd name="connsiteY2106" fmla="*/ 3205463 h 4565177"/>
              <a:gd name="connsiteX2107" fmla="*/ 10596217 w 12243467"/>
              <a:gd name="connsiteY2107" fmla="*/ 3203845 h 4565177"/>
              <a:gd name="connsiteX2108" fmla="*/ 10598706 w 12243467"/>
              <a:gd name="connsiteY2108" fmla="*/ 3197068 h 4565177"/>
              <a:gd name="connsiteX2109" fmla="*/ 10584323 w 12243467"/>
              <a:gd name="connsiteY2109" fmla="*/ 3185334 h 4565177"/>
              <a:gd name="connsiteX2110" fmla="*/ 10585430 w 12243467"/>
              <a:gd name="connsiteY2110" fmla="*/ 3201316 h 4565177"/>
              <a:gd name="connsiteX2111" fmla="*/ 10546984 w 12243467"/>
              <a:gd name="connsiteY2111" fmla="*/ 3219523 h 4565177"/>
              <a:gd name="connsiteX2112" fmla="*/ 10584323 w 12243467"/>
              <a:gd name="connsiteY2112" fmla="*/ 3185334 h 4565177"/>
              <a:gd name="connsiteX2113" fmla="*/ 10621940 w 12243467"/>
              <a:gd name="connsiteY2113" fmla="*/ 3178354 h 4565177"/>
              <a:gd name="connsiteX2114" fmla="*/ 10630791 w 12243467"/>
              <a:gd name="connsiteY2114" fmla="*/ 3178354 h 4565177"/>
              <a:gd name="connsiteX2115" fmla="*/ 10636322 w 12243467"/>
              <a:gd name="connsiteY2115" fmla="*/ 3184221 h 4565177"/>
              <a:gd name="connsiteX2116" fmla="*/ 10628578 w 12243467"/>
              <a:gd name="connsiteY2116" fmla="*/ 3191100 h 4565177"/>
              <a:gd name="connsiteX2117" fmla="*/ 10621110 w 12243467"/>
              <a:gd name="connsiteY2117" fmla="*/ 3195247 h 4565177"/>
              <a:gd name="connsiteX2118" fmla="*/ 10606451 w 12243467"/>
              <a:gd name="connsiteY2118" fmla="*/ 3192212 h 4565177"/>
              <a:gd name="connsiteX2119" fmla="*/ 10621940 w 12243467"/>
              <a:gd name="connsiteY2119" fmla="*/ 3178354 h 4565177"/>
              <a:gd name="connsiteX2120" fmla="*/ 10566068 w 12243467"/>
              <a:gd name="connsiteY2120" fmla="*/ 3164294 h 4565177"/>
              <a:gd name="connsiteX2121" fmla="*/ 10575196 w 12243467"/>
              <a:gd name="connsiteY2121" fmla="*/ 3170465 h 4565177"/>
              <a:gd name="connsiteX2122" fmla="*/ 10558324 w 12243467"/>
              <a:gd name="connsiteY2122" fmla="*/ 3179669 h 4565177"/>
              <a:gd name="connsiteX2123" fmla="*/ 10566068 w 12243467"/>
              <a:gd name="connsiteY2123" fmla="*/ 3164294 h 4565177"/>
              <a:gd name="connsiteX2124" fmla="*/ 10678641 w 12243467"/>
              <a:gd name="connsiteY2124" fmla="*/ 3161462 h 4565177"/>
              <a:gd name="connsiteX2125" fmla="*/ 10672279 w 12243467"/>
              <a:gd name="connsiteY2125" fmla="*/ 3176028 h 4565177"/>
              <a:gd name="connsiteX2126" fmla="*/ 10678641 w 12243467"/>
              <a:gd name="connsiteY2126" fmla="*/ 3161462 h 4565177"/>
              <a:gd name="connsiteX2127" fmla="*/ 10480326 w 12243467"/>
              <a:gd name="connsiteY2127" fmla="*/ 3155089 h 4565177"/>
              <a:gd name="connsiteX2128" fmla="*/ 10487794 w 12243467"/>
              <a:gd name="connsiteY2128" fmla="*/ 3159844 h 4565177"/>
              <a:gd name="connsiteX2129" fmla="*/ 10483921 w 12243467"/>
              <a:gd name="connsiteY2129" fmla="*/ 3167632 h 4565177"/>
              <a:gd name="connsiteX2130" fmla="*/ 10470645 w 12243467"/>
              <a:gd name="connsiteY2130" fmla="*/ 3163283 h 4565177"/>
              <a:gd name="connsiteX2131" fmla="*/ 10480326 w 12243467"/>
              <a:gd name="connsiteY2131" fmla="*/ 3155089 h 4565177"/>
              <a:gd name="connsiteX2132" fmla="*/ 2231401 w 12243467"/>
              <a:gd name="connsiteY2132" fmla="*/ 3152562 h 4565177"/>
              <a:gd name="connsiteX2133" fmla="*/ 2251869 w 12243467"/>
              <a:gd name="connsiteY2133" fmla="*/ 3156912 h 4565177"/>
              <a:gd name="connsiteX2134" fmla="*/ 2210104 w 12243467"/>
              <a:gd name="connsiteY2134" fmla="*/ 3156001 h 4565177"/>
              <a:gd name="connsiteX2135" fmla="*/ 2231401 w 12243467"/>
              <a:gd name="connsiteY2135" fmla="*/ 3152562 h 4565177"/>
              <a:gd name="connsiteX2136" fmla="*/ 1901706 w 12243467"/>
              <a:gd name="connsiteY2136" fmla="*/ 3150438 h 4565177"/>
              <a:gd name="connsiteX2137" fmla="*/ 1916919 w 12243467"/>
              <a:gd name="connsiteY2137" fmla="*/ 3159845 h 4565177"/>
              <a:gd name="connsiteX2138" fmla="*/ 1933791 w 12243467"/>
              <a:gd name="connsiteY2138" fmla="*/ 3160857 h 4565177"/>
              <a:gd name="connsiteX2139" fmla="*/ 2103617 w 12243467"/>
              <a:gd name="connsiteY2139" fmla="*/ 3216895 h 4565177"/>
              <a:gd name="connsiteX2140" fmla="*/ 2111085 w 12243467"/>
              <a:gd name="connsiteY2140" fmla="*/ 3212647 h 4565177"/>
              <a:gd name="connsiteX2141" fmla="*/ 2202913 w 12243467"/>
              <a:gd name="connsiteY2141" fmla="*/ 3232675 h 4565177"/>
              <a:gd name="connsiteX2142" fmla="*/ 2252975 w 12243467"/>
              <a:gd name="connsiteY2142" fmla="*/ 3236114 h 4565177"/>
              <a:gd name="connsiteX2143" fmla="*/ 2237763 w 12243467"/>
              <a:gd name="connsiteY2143" fmla="*/ 3230955 h 4565177"/>
              <a:gd name="connsiteX2144" fmla="*/ 2234997 w 12243467"/>
              <a:gd name="connsiteY2144" fmla="*/ 3231562 h 4565177"/>
              <a:gd name="connsiteX2145" fmla="*/ 2231125 w 12243467"/>
              <a:gd name="connsiteY2145" fmla="*/ 3228730 h 4565177"/>
              <a:gd name="connsiteX2146" fmla="*/ 2227806 w 12243467"/>
              <a:gd name="connsiteY2146" fmla="*/ 3227617 h 4565177"/>
              <a:gd name="connsiteX2147" fmla="*/ 2164190 w 12243467"/>
              <a:gd name="connsiteY2147" fmla="*/ 3214569 h 4565177"/>
              <a:gd name="connsiteX2148" fmla="*/ 2142893 w 12243467"/>
              <a:gd name="connsiteY2148" fmla="*/ 3198789 h 4565177"/>
              <a:gd name="connsiteX2149" fmla="*/ 2134042 w 12243467"/>
              <a:gd name="connsiteY2149" fmla="*/ 3201520 h 4565177"/>
              <a:gd name="connsiteX2150" fmla="*/ 2126297 w 12243467"/>
              <a:gd name="connsiteY2150" fmla="*/ 3207792 h 4565177"/>
              <a:gd name="connsiteX2151" fmla="*/ 2121595 w 12243467"/>
              <a:gd name="connsiteY2151" fmla="*/ 3199295 h 4565177"/>
              <a:gd name="connsiteX2152" fmla="*/ 2100574 w 12243467"/>
              <a:gd name="connsiteY2152" fmla="*/ 3201419 h 4565177"/>
              <a:gd name="connsiteX2153" fmla="*/ 2086468 w 12243467"/>
              <a:gd name="connsiteY2153" fmla="*/ 3192214 h 4565177"/>
              <a:gd name="connsiteX2154" fmla="*/ 2067383 w 12243467"/>
              <a:gd name="connsiteY2154" fmla="*/ 3188876 h 4565177"/>
              <a:gd name="connsiteX2155" fmla="*/ 2053554 w 12243467"/>
              <a:gd name="connsiteY2155" fmla="*/ 3195653 h 4565177"/>
              <a:gd name="connsiteX2156" fmla="*/ 2037788 w 12243467"/>
              <a:gd name="connsiteY2156" fmla="*/ 3193731 h 4565177"/>
              <a:gd name="connsiteX2157" fmla="*/ 1926323 w 12243467"/>
              <a:gd name="connsiteY2157" fmla="*/ 3153372 h 4565177"/>
              <a:gd name="connsiteX2158" fmla="*/ 1911387 w 12243467"/>
              <a:gd name="connsiteY2158" fmla="*/ 3154889 h 4565177"/>
              <a:gd name="connsiteX2159" fmla="*/ 10588196 w 12243467"/>
              <a:gd name="connsiteY2159" fmla="*/ 3141130 h 4565177"/>
              <a:gd name="connsiteX2160" fmla="*/ 10591791 w 12243467"/>
              <a:gd name="connsiteY2160" fmla="*/ 3141636 h 4565177"/>
              <a:gd name="connsiteX2161" fmla="*/ 10593451 w 12243467"/>
              <a:gd name="connsiteY2161" fmla="*/ 3149425 h 4565177"/>
              <a:gd name="connsiteX2162" fmla="*/ 10582387 w 12243467"/>
              <a:gd name="connsiteY2162" fmla="*/ 3144165 h 4565177"/>
              <a:gd name="connsiteX2163" fmla="*/ 10588196 w 12243467"/>
              <a:gd name="connsiteY2163" fmla="*/ 3141130 h 4565177"/>
              <a:gd name="connsiteX2164" fmla="*/ 1658583 w 12243467"/>
              <a:gd name="connsiteY2164" fmla="*/ 3113517 h 4565177"/>
              <a:gd name="connsiteX2165" fmla="*/ 1670200 w 12243467"/>
              <a:gd name="connsiteY2165" fmla="*/ 3118980 h 4565177"/>
              <a:gd name="connsiteX2166" fmla="*/ 1658583 w 12243467"/>
              <a:gd name="connsiteY2166" fmla="*/ 3113517 h 4565177"/>
              <a:gd name="connsiteX2167" fmla="*/ 10548920 w 12243467"/>
              <a:gd name="connsiteY2167" fmla="*/ 3098343 h 4565177"/>
              <a:gd name="connsiteX2168" fmla="*/ 10509921 w 12243467"/>
              <a:gd name="connsiteY2168" fmla="*/ 3130914 h 4565177"/>
              <a:gd name="connsiteX2169" fmla="*/ 10517389 w 12243467"/>
              <a:gd name="connsiteY2169" fmla="*/ 3132532 h 4565177"/>
              <a:gd name="connsiteX2170" fmla="*/ 10504112 w 12243467"/>
              <a:gd name="connsiteY2170" fmla="*/ 3136983 h 4565177"/>
              <a:gd name="connsiteX2171" fmla="*/ 10548920 w 12243467"/>
              <a:gd name="connsiteY2171" fmla="*/ 3098343 h 4565177"/>
              <a:gd name="connsiteX2172" fmla="*/ 10536197 w 12243467"/>
              <a:gd name="connsiteY2172" fmla="*/ 2960067 h 4565177"/>
              <a:gd name="connsiteX2173" fmla="*/ 10537303 w 12243467"/>
              <a:gd name="connsiteY2173" fmla="*/ 2967452 h 4565177"/>
              <a:gd name="connsiteX2174" fmla="*/ 10526240 w 12243467"/>
              <a:gd name="connsiteY2174" fmla="*/ 2965327 h 4565177"/>
              <a:gd name="connsiteX2175" fmla="*/ 10536197 w 12243467"/>
              <a:gd name="connsiteY2175" fmla="*/ 2960067 h 4565177"/>
              <a:gd name="connsiteX2176" fmla="*/ 10698832 w 12243467"/>
              <a:gd name="connsiteY2176" fmla="*/ 2952178 h 4565177"/>
              <a:gd name="connsiteX2177" fmla="*/ 10698555 w 12243467"/>
              <a:gd name="connsiteY2177" fmla="*/ 2969576 h 4565177"/>
              <a:gd name="connsiteX2178" fmla="*/ 10698832 w 12243467"/>
              <a:gd name="connsiteY2178" fmla="*/ 2952178 h 4565177"/>
              <a:gd name="connsiteX2179" fmla="*/ 10439667 w 12243467"/>
              <a:gd name="connsiteY2179" fmla="*/ 2951672 h 4565177"/>
              <a:gd name="connsiteX2180" fmla="*/ 10431093 w 12243467"/>
              <a:gd name="connsiteY2180" fmla="*/ 2952987 h 4565177"/>
              <a:gd name="connsiteX2181" fmla="*/ 10425008 w 12243467"/>
              <a:gd name="connsiteY2181" fmla="*/ 2964619 h 4565177"/>
              <a:gd name="connsiteX2182" fmla="*/ 10411455 w 12243467"/>
              <a:gd name="connsiteY2182" fmla="*/ 2969070 h 4565177"/>
              <a:gd name="connsiteX2183" fmla="*/ 10407029 w 12243467"/>
              <a:gd name="connsiteY2183" fmla="*/ 2962394 h 4565177"/>
              <a:gd name="connsiteX2184" fmla="*/ 10405923 w 12243467"/>
              <a:gd name="connsiteY2184" fmla="*/ 2968868 h 4565177"/>
              <a:gd name="connsiteX2185" fmla="*/ 10407582 w 12243467"/>
              <a:gd name="connsiteY2185" fmla="*/ 2971194 h 4565177"/>
              <a:gd name="connsiteX2186" fmla="*/ 10405370 w 12243467"/>
              <a:gd name="connsiteY2186" fmla="*/ 2972206 h 4565177"/>
              <a:gd name="connsiteX2187" fmla="*/ 10403987 w 12243467"/>
              <a:gd name="connsiteY2187" fmla="*/ 2981208 h 4565177"/>
              <a:gd name="connsiteX2188" fmla="*/ 10402051 w 12243467"/>
              <a:gd name="connsiteY2188" fmla="*/ 3009632 h 4565177"/>
              <a:gd name="connsiteX2189" fmla="*/ 10409519 w 12243467"/>
              <a:gd name="connsiteY2189" fmla="*/ 3001945 h 4565177"/>
              <a:gd name="connsiteX2190" fmla="*/ 10432199 w 12243467"/>
              <a:gd name="connsiteY2190" fmla="*/ 2969070 h 4565177"/>
              <a:gd name="connsiteX2191" fmla="*/ 10449624 w 12243467"/>
              <a:gd name="connsiteY2191" fmla="*/ 2953897 h 4565177"/>
              <a:gd name="connsiteX2192" fmla="*/ 10439667 w 12243467"/>
              <a:gd name="connsiteY2192" fmla="*/ 2951672 h 4565177"/>
              <a:gd name="connsiteX2193" fmla="*/ 10760788 w 12243467"/>
              <a:gd name="connsiteY2193" fmla="*/ 2823309 h 4565177"/>
              <a:gd name="connsiteX2194" fmla="*/ 10766043 w 12243467"/>
              <a:gd name="connsiteY2194" fmla="*/ 2827558 h 4565177"/>
              <a:gd name="connsiteX2195" fmla="*/ 10769915 w 12243467"/>
              <a:gd name="connsiteY2195" fmla="*/ 2832615 h 4565177"/>
              <a:gd name="connsiteX2196" fmla="*/ 10754979 w 12243467"/>
              <a:gd name="connsiteY2196" fmla="*/ 2832211 h 4565177"/>
              <a:gd name="connsiteX2197" fmla="*/ 10760788 w 12243467"/>
              <a:gd name="connsiteY2197" fmla="*/ 2823309 h 4565177"/>
              <a:gd name="connsiteX2198" fmla="*/ 10780979 w 12243467"/>
              <a:gd name="connsiteY2198" fmla="*/ 2798527 h 4565177"/>
              <a:gd name="connsiteX2199" fmla="*/ 10776000 w 12243467"/>
              <a:gd name="connsiteY2199" fmla="*/ 2814914 h 4565177"/>
              <a:gd name="connsiteX2200" fmla="*/ 10764937 w 12243467"/>
              <a:gd name="connsiteY2200" fmla="*/ 2812790 h 4565177"/>
              <a:gd name="connsiteX2201" fmla="*/ 10780979 w 12243467"/>
              <a:gd name="connsiteY2201" fmla="*/ 2798527 h 4565177"/>
              <a:gd name="connsiteX2202" fmla="*/ 1401908 w 12243467"/>
              <a:gd name="connsiteY2202" fmla="*/ 2593189 h 4565177"/>
              <a:gd name="connsiteX2203" fmla="*/ 1411312 w 12243467"/>
              <a:gd name="connsiteY2203" fmla="*/ 2610487 h 4565177"/>
              <a:gd name="connsiteX2204" fmla="*/ 1394163 w 12243467"/>
              <a:gd name="connsiteY2204" fmla="*/ 2599461 h 4565177"/>
              <a:gd name="connsiteX2205" fmla="*/ 1401908 w 12243467"/>
              <a:gd name="connsiteY2205" fmla="*/ 2593189 h 4565177"/>
              <a:gd name="connsiteX2206" fmla="*/ 1383653 w 12243467"/>
              <a:gd name="connsiteY2206" fmla="*/ 2577410 h 4565177"/>
              <a:gd name="connsiteX2207" fmla="*/ 1391397 w 12243467"/>
              <a:gd name="connsiteY2207" fmla="*/ 2585401 h 4565177"/>
              <a:gd name="connsiteX2208" fmla="*/ 1383930 w 12243467"/>
              <a:gd name="connsiteY2208" fmla="*/ 2586716 h 4565177"/>
              <a:gd name="connsiteX2209" fmla="*/ 1376185 w 12243467"/>
              <a:gd name="connsiteY2209" fmla="*/ 2586918 h 4565177"/>
              <a:gd name="connsiteX2210" fmla="*/ 1383653 w 12243467"/>
              <a:gd name="connsiteY2210" fmla="*/ 2577410 h 4565177"/>
              <a:gd name="connsiteX2211" fmla="*/ 1255592 w 12243467"/>
              <a:gd name="connsiteY2211" fmla="*/ 2474639 h 4565177"/>
              <a:gd name="connsiteX2212" fmla="*/ 1268315 w 12243467"/>
              <a:gd name="connsiteY2212" fmla="*/ 2483743 h 4565177"/>
              <a:gd name="connsiteX2213" fmla="*/ 1247847 w 12243467"/>
              <a:gd name="connsiteY2213" fmla="*/ 2475246 h 4565177"/>
              <a:gd name="connsiteX2214" fmla="*/ 1255592 w 12243467"/>
              <a:gd name="connsiteY2214" fmla="*/ 2474639 h 4565177"/>
              <a:gd name="connsiteX2215" fmla="*/ 941258 w 12243467"/>
              <a:gd name="connsiteY2215" fmla="*/ 2362177 h 4565177"/>
              <a:gd name="connsiteX2216" fmla="*/ 940937 w 12243467"/>
              <a:gd name="connsiteY2216" fmla="*/ 2362222 h 4565177"/>
              <a:gd name="connsiteX2217" fmla="*/ 846684 w 12243467"/>
              <a:gd name="connsiteY2217" fmla="*/ 2379389 h 4565177"/>
              <a:gd name="connsiteX2218" fmla="*/ 851494 w 12243467"/>
              <a:gd name="connsiteY2218" fmla="*/ 2382590 h 4565177"/>
              <a:gd name="connsiteX2219" fmla="*/ 846046 w 12243467"/>
              <a:gd name="connsiteY2219" fmla="*/ 2379505 h 4565177"/>
              <a:gd name="connsiteX2220" fmla="*/ 810844 w 12243467"/>
              <a:gd name="connsiteY2220" fmla="*/ 2385916 h 4565177"/>
              <a:gd name="connsiteX2221" fmla="*/ 819721 w 12243467"/>
              <a:gd name="connsiteY2221" fmla="*/ 2392933 h 4565177"/>
              <a:gd name="connsiteX2222" fmla="*/ 835175 w 12243467"/>
              <a:gd name="connsiteY2222" fmla="*/ 2391188 h 4565177"/>
              <a:gd name="connsiteX2223" fmla="*/ 843749 w 12243467"/>
              <a:gd name="connsiteY2223" fmla="*/ 2404540 h 4565177"/>
              <a:gd name="connsiteX2224" fmla="*/ 869196 w 12243467"/>
              <a:gd name="connsiteY2224" fmla="*/ 2393009 h 4565177"/>
              <a:gd name="connsiteX2225" fmla="*/ 883302 w 12243467"/>
              <a:gd name="connsiteY2225" fmla="*/ 2420118 h 4565177"/>
              <a:gd name="connsiteX2226" fmla="*/ 929769 w 12243467"/>
              <a:gd name="connsiteY2226" fmla="*/ 2472515 h 4565177"/>
              <a:gd name="connsiteX2227" fmla="*/ 949683 w 12243467"/>
              <a:gd name="connsiteY2227" fmla="*/ 2497196 h 4565177"/>
              <a:gd name="connsiteX2228" fmla="*/ 987300 w 12243467"/>
              <a:gd name="connsiteY2228" fmla="*/ 2534319 h 4565177"/>
              <a:gd name="connsiteX2229" fmla="*/ 979279 w 12243467"/>
              <a:gd name="connsiteY2229" fmla="*/ 2540489 h 4565177"/>
              <a:gd name="connsiteX2230" fmla="*/ 1007767 w 12243467"/>
              <a:gd name="connsiteY2230" fmla="*/ 2562540 h 4565177"/>
              <a:gd name="connsiteX2231" fmla="*/ 1034597 w 12243467"/>
              <a:gd name="connsiteY2231" fmla="*/ 2590155 h 4565177"/>
              <a:gd name="connsiteX2232" fmla="*/ 1138318 w 12243467"/>
              <a:gd name="connsiteY2232" fmla="*/ 2670470 h 4565177"/>
              <a:gd name="connsiteX2233" fmla="*/ 1137211 w 12243467"/>
              <a:gd name="connsiteY2233" fmla="*/ 2681394 h 4565177"/>
              <a:gd name="connsiteX2234" fmla="*/ 1144956 w 12243467"/>
              <a:gd name="connsiteY2234" fmla="*/ 2673403 h 4565177"/>
              <a:gd name="connsiteX2235" fmla="*/ 1238997 w 12243467"/>
              <a:gd name="connsiteY2235" fmla="*/ 2751088 h 4565177"/>
              <a:gd name="connsiteX2236" fmla="*/ 1223784 w 12243467"/>
              <a:gd name="connsiteY2236" fmla="*/ 2750886 h 4565177"/>
              <a:gd name="connsiteX2237" fmla="*/ 1263613 w 12243467"/>
              <a:gd name="connsiteY2237" fmla="*/ 2768183 h 4565177"/>
              <a:gd name="connsiteX2238" fmla="*/ 1285464 w 12243467"/>
              <a:gd name="connsiteY2238" fmla="*/ 2787503 h 4565177"/>
              <a:gd name="connsiteX2239" fmla="*/ 1273294 w 12243467"/>
              <a:gd name="connsiteY2239" fmla="*/ 2786896 h 4565177"/>
              <a:gd name="connsiteX2240" fmla="*/ 1291549 w 12243467"/>
              <a:gd name="connsiteY2240" fmla="*/ 2802878 h 4565177"/>
              <a:gd name="connsiteX2241" fmla="*/ 1295974 w 12243467"/>
              <a:gd name="connsiteY2241" fmla="*/ 2793471 h 4565177"/>
              <a:gd name="connsiteX2242" fmla="*/ 1320867 w 12243467"/>
              <a:gd name="connsiteY2242" fmla="*/ 2812387 h 4565177"/>
              <a:gd name="connsiteX2243" fmla="*/ 1306761 w 12243467"/>
              <a:gd name="connsiteY2243" fmla="*/ 2803081 h 4565177"/>
              <a:gd name="connsiteX2244" fmla="*/ 1298740 w 12243467"/>
              <a:gd name="connsiteY2244" fmla="*/ 2809251 h 4565177"/>
              <a:gd name="connsiteX2245" fmla="*/ 1333867 w 12243467"/>
              <a:gd name="connsiteY2245" fmla="*/ 2816332 h 4565177"/>
              <a:gd name="connsiteX2246" fmla="*/ 1322803 w 12243467"/>
              <a:gd name="connsiteY2246" fmla="*/ 2822805 h 4565177"/>
              <a:gd name="connsiteX2247" fmla="*/ 1458886 w 12243467"/>
              <a:gd name="connsiteY2247" fmla="*/ 2896242 h 4565177"/>
              <a:gd name="connsiteX2248" fmla="*/ 1455290 w 12243467"/>
              <a:gd name="connsiteY2248" fmla="*/ 2909190 h 4565177"/>
              <a:gd name="connsiteX2249" fmla="*/ 1495949 w 12243467"/>
              <a:gd name="connsiteY2249" fmla="*/ 2913843 h 4565177"/>
              <a:gd name="connsiteX2250" fmla="*/ 1576436 w 12243467"/>
              <a:gd name="connsiteY2250" fmla="*/ 2952078 h 4565177"/>
              <a:gd name="connsiteX2251" fmla="*/ 1817899 w 12243467"/>
              <a:gd name="connsiteY2251" fmla="*/ 3064560 h 4565177"/>
              <a:gd name="connsiteX2252" fmla="*/ 1996853 w 12243467"/>
              <a:gd name="connsiteY2252" fmla="*/ 3121104 h 4565177"/>
              <a:gd name="connsiteX2253" fmla="*/ 2014555 w 12243467"/>
              <a:gd name="connsiteY2253" fmla="*/ 3135265 h 4565177"/>
              <a:gd name="connsiteX2254" fmla="*/ 2022299 w 12243467"/>
              <a:gd name="connsiteY2254" fmla="*/ 3127375 h 4565177"/>
              <a:gd name="connsiteX2255" fmla="*/ 2065724 w 12243467"/>
              <a:gd name="connsiteY2255" fmla="*/ 3146190 h 4565177"/>
              <a:gd name="connsiteX2256" fmla="*/ 2086468 w 12243467"/>
              <a:gd name="connsiteY2256" fmla="*/ 3142144 h 4565177"/>
              <a:gd name="connsiteX2257" fmla="*/ 2090341 w 12243467"/>
              <a:gd name="connsiteY2257" fmla="*/ 3147100 h 4565177"/>
              <a:gd name="connsiteX2258" fmla="*/ 2213700 w 12243467"/>
              <a:gd name="connsiteY2258" fmla="*/ 3168443 h 4565177"/>
              <a:gd name="connsiteX2259" fmla="*/ 2256571 w 12243467"/>
              <a:gd name="connsiteY2259" fmla="*/ 3185336 h 4565177"/>
              <a:gd name="connsiteX2260" fmla="*/ 2263209 w 12243467"/>
              <a:gd name="connsiteY2260" fmla="*/ 3185538 h 4565177"/>
              <a:gd name="connsiteX2261" fmla="*/ 2263762 w 12243467"/>
              <a:gd name="connsiteY2261" fmla="*/ 3184122 h 4565177"/>
              <a:gd name="connsiteX2262" fmla="*/ 2263762 w 12243467"/>
              <a:gd name="connsiteY2262" fmla="*/ 3179975 h 4565177"/>
              <a:gd name="connsiteX2263" fmla="*/ 2297506 w 12243467"/>
              <a:gd name="connsiteY2263" fmla="*/ 3179165 h 4565177"/>
              <a:gd name="connsiteX2264" fmla="*/ 2303038 w 12243467"/>
              <a:gd name="connsiteY2264" fmla="*/ 3173905 h 4565177"/>
              <a:gd name="connsiteX2265" fmla="*/ 2294741 w 12243467"/>
              <a:gd name="connsiteY2265" fmla="*/ 3168140 h 4565177"/>
              <a:gd name="connsiteX2266" fmla="*/ 2293911 w 12243467"/>
              <a:gd name="connsiteY2266" fmla="*/ 3163386 h 4565177"/>
              <a:gd name="connsiteX2267" fmla="*/ 2291975 w 12243467"/>
              <a:gd name="connsiteY2267" fmla="*/ 3163183 h 4565177"/>
              <a:gd name="connsiteX2268" fmla="*/ 2273996 w 12243467"/>
              <a:gd name="connsiteY2268" fmla="*/ 3163993 h 4565177"/>
              <a:gd name="connsiteX2269" fmla="*/ 2242741 w 12243467"/>
              <a:gd name="connsiteY2269" fmla="*/ 3151854 h 4565177"/>
              <a:gd name="connsiteX2270" fmla="*/ 2224487 w 12243467"/>
              <a:gd name="connsiteY2270" fmla="*/ 3147707 h 4565177"/>
              <a:gd name="connsiteX2271" fmla="*/ 2218955 w 12243467"/>
              <a:gd name="connsiteY2271" fmla="*/ 3147100 h 4565177"/>
              <a:gd name="connsiteX2272" fmla="*/ 2216466 w 12243467"/>
              <a:gd name="connsiteY2272" fmla="*/ 3145987 h 4565177"/>
              <a:gd name="connsiteX2273" fmla="*/ 2207615 w 12243467"/>
              <a:gd name="connsiteY2273" fmla="*/ 3144066 h 4565177"/>
              <a:gd name="connsiteX2274" fmla="*/ 2193232 w 12243467"/>
              <a:gd name="connsiteY2274" fmla="*/ 3140829 h 4565177"/>
              <a:gd name="connsiteX2275" fmla="*/ 2199594 w 12243467"/>
              <a:gd name="connsiteY2275" fmla="*/ 3149325 h 4565177"/>
              <a:gd name="connsiteX2276" fmla="*/ 2131829 w 12243467"/>
              <a:gd name="connsiteY2276" fmla="*/ 3139716 h 4565177"/>
              <a:gd name="connsiteX2277" fmla="*/ 2152573 w 12243467"/>
              <a:gd name="connsiteY2277" fmla="*/ 3139817 h 4565177"/>
              <a:gd name="connsiteX2278" fmla="*/ 2171935 w 12243467"/>
              <a:gd name="connsiteY2278" fmla="*/ 3136074 h 4565177"/>
              <a:gd name="connsiteX2279" fmla="*/ 2141233 w 12243467"/>
              <a:gd name="connsiteY2279" fmla="*/ 3124138 h 4565177"/>
              <a:gd name="connsiteX2280" fmla="*/ 2065171 w 12243467"/>
              <a:gd name="connsiteY2280" fmla="*/ 3110483 h 4565177"/>
              <a:gd name="connsiteX2281" fmla="*/ 2000172 w 12243467"/>
              <a:gd name="connsiteY2281" fmla="*/ 3090455 h 4565177"/>
              <a:gd name="connsiteX2282" fmla="*/ 1951769 w 12243467"/>
              <a:gd name="connsiteY2282" fmla="*/ 3077608 h 4565177"/>
              <a:gd name="connsiteX2283" fmla="*/ 1906132 w 12243467"/>
              <a:gd name="connsiteY2283" fmla="*/ 3062638 h 4565177"/>
              <a:gd name="connsiteX2284" fmla="*/ 1749582 w 12243467"/>
              <a:gd name="connsiteY2284" fmla="*/ 2994765 h 4565177"/>
              <a:gd name="connsiteX2285" fmla="*/ 1738241 w 12243467"/>
              <a:gd name="connsiteY2285" fmla="*/ 2999519 h 4565177"/>
              <a:gd name="connsiteX2286" fmla="*/ 1720816 w 12243467"/>
              <a:gd name="connsiteY2286" fmla="*/ 2987178 h 4565177"/>
              <a:gd name="connsiteX2287" fmla="*/ 1579479 w 12243467"/>
              <a:gd name="connsiteY2287" fmla="*/ 2919608 h 4565177"/>
              <a:gd name="connsiteX2288" fmla="*/ 1575606 w 12243467"/>
              <a:gd name="connsiteY2288" fmla="*/ 2914652 h 4565177"/>
              <a:gd name="connsiteX2289" fmla="*/ 1563160 w 12243467"/>
              <a:gd name="connsiteY2289" fmla="*/ 2914045 h 4565177"/>
              <a:gd name="connsiteX2290" fmla="*/ 1532459 w 12243467"/>
              <a:gd name="connsiteY2290" fmla="*/ 2895939 h 4565177"/>
              <a:gd name="connsiteX2291" fmla="*/ 1444779 w 12243467"/>
              <a:gd name="connsiteY2291" fmla="*/ 2837068 h 4565177"/>
              <a:gd name="connsiteX2292" fmla="*/ 1428737 w 12243467"/>
              <a:gd name="connsiteY2292" fmla="*/ 2833325 h 4565177"/>
              <a:gd name="connsiteX2293" fmla="*/ 1423205 w 12243467"/>
              <a:gd name="connsiteY2293" fmla="*/ 2819670 h 4565177"/>
              <a:gd name="connsiteX2294" fmla="*/ 1395270 w 12243467"/>
              <a:gd name="connsiteY2294" fmla="*/ 2801058 h 4565177"/>
              <a:gd name="connsiteX2295" fmla="*/ 1408823 w 12243467"/>
              <a:gd name="connsiteY2295" fmla="*/ 2792561 h 4565177"/>
              <a:gd name="connsiteX2296" fmla="*/ 1388632 w 12243467"/>
              <a:gd name="connsiteY2296" fmla="*/ 2798225 h 4565177"/>
              <a:gd name="connsiteX2297" fmla="*/ 1385312 w 12243467"/>
              <a:gd name="connsiteY2297" fmla="*/ 2780726 h 4565177"/>
              <a:gd name="connsiteX2298" fmla="*/ 1351845 w 12243467"/>
              <a:gd name="connsiteY2298" fmla="*/ 2764542 h 4565177"/>
              <a:gd name="connsiteX2299" fmla="*/ 1331654 w 12243467"/>
              <a:gd name="connsiteY2299" fmla="*/ 2755843 h 4565177"/>
              <a:gd name="connsiteX2300" fmla="*/ 1323356 w 12243467"/>
              <a:gd name="connsiteY2300" fmla="*/ 2760394 h 4565177"/>
              <a:gd name="connsiteX2301" fmla="*/ 1306761 w 12243467"/>
              <a:gd name="connsiteY2301" fmla="*/ 2753111 h 4565177"/>
              <a:gd name="connsiteX2302" fmla="*/ 1285187 w 12243467"/>
              <a:gd name="connsiteY2302" fmla="*/ 2735713 h 4565177"/>
              <a:gd name="connsiteX2303" fmla="*/ 1292655 w 12243467"/>
              <a:gd name="connsiteY2303" fmla="*/ 2727823 h 4565177"/>
              <a:gd name="connsiteX2304" fmla="*/ 1264166 w 12243467"/>
              <a:gd name="connsiteY2304" fmla="*/ 2721754 h 4565177"/>
              <a:gd name="connsiteX2305" fmla="*/ 1255869 w 12243467"/>
              <a:gd name="connsiteY2305" fmla="*/ 2710122 h 4565177"/>
              <a:gd name="connsiteX2306" fmla="*/ 1186997 w 12243467"/>
              <a:gd name="connsiteY2306" fmla="*/ 2652971 h 4565177"/>
              <a:gd name="connsiteX2307" fmla="*/ 1170679 w 12243467"/>
              <a:gd name="connsiteY2307" fmla="*/ 2647508 h 4565177"/>
              <a:gd name="connsiteX2308" fmla="*/ 1112318 w 12243467"/>
              <a:gd name="connsiteY2308" fmla="*/ 2580444 h 4565177"/>
              <a:gd name="connsiteX2309" fmla="*/ 1096276 w 12243467"/>
              <a:gd name="connsiteY2309" fmla="*/ 2576600 h 4565177"/>
              <a:gd name="connsiteX2310" fmla="*/ 1105404 w 12243467"/>
              <a:gd name="connsiteY2310" fmla="*/ 2559607 h 4565177"/>
              <a:gd name="connsiteX2311" fmla="*/ 1076362 w 12243467"/>
              <a:gd name="connsiteY2311" fmla="*/ 2535937 h 4565177"/>
              <a:gd name="connsiteX2312" fmla="*/ 1047043 w 12243467"/>
              <a:gd name="connsiteY2312" fmla="*/ 2526429 h 4565177"/>
              <a:gd name="connsiteX2313" fmla="*/ 1051469 w 12243467"/>
              <a:gd name="connsiteY2313" fmla="*/ 2517123 h 4565177"/>
              <a:gd name="connsiteX2314" fmla="*/ 1033767 w 12243467"/>
              <a:gd name="connsiteY2314" fmla="*/ 2488497 h 4565177"/>
              <a:gd name="connsiteX2315" fmla="*/ 999469 w 12243467"/>
              <a:gd name="connsiteY2315" fmla="*/ 2468772 h 4565177"/>
              <a:gd name="connsiteX2316" fmla="*/ 950345 w 12243467"/>
              <a:gd name="connsiteY2316" fmla="*/ 2385245 h 4565177"/>
              <a:gd name="connsiteX2317" fmla="*/ 1015512 w 12243467"/>
              <a:gd name="connsiteY2317" fmla="*/ 2359831 h 4565177"/>
              <a:gd name="connsiteX2318" fmla="*/ 1029895 w 12243467"/>
              <a:gd name="connsiteY2318" fmla="*/ 2370958 h 4565177"/>
              <a:gd name="connsiteX2319" fmla="*/ 1015512 w 12243467"/>
              <a:gd name="connsiteY2319" fmla="*/ 2359831 h 4565177"/>
              <a:gd name="connsiteX2320" fmla="*/ 996056 w 12243467"/>
              <a:gd name="connsiteY2320" fmla="*/ 2354493 h 4565177"/>
              <a:gd name="connsiteX2321" fmla="*/ 952744 w 12243467"/>
              <a:gd name="connsiteY2321" fmla="*/ 2360566 h 4565177"/>
              <a:gd name="connsiteX2322" fmla="*/ 964239 w 12243467"/>
              <a:gd name="connsiteY2322" fmla="*/ 2366507 h 4565177"/>
              <a:gd name="connsiteX2323" fmla="*/ 988406 w 12243467"/>
              <a:gd name="connsiteY2323" fmla="*/ 2393211 h 4565177"/>
              <a:gd name="connsiteX2324" fmla="*/ 1012193 w 12243467"/>
              <a:gd name="connsiteY2324" fmla="*/ 2389064 h 4565177"/>
              <a:gd name="connsiteX2325" fmla="*/ 996082 w 12243467"/>
              <a:gd name="connsiteY2325" fmla="*/ 2354533 h 4565177"/>
              <a:gd name="connsiteX2326" fmla="*/ 1040442 w 12243467"/>
              <a:gd name="connsiteY2326" fmla="*/ 2348269 h 4565177"/>
              <a:gd name="connsiteX2327" fmla="*/ 1004862 w 12243467"/>
              <a:gd name="connsiteY2327" fmla="*/ 2353258 h 4565177"/>
              <a:gd name="connsiteX2328" fmla="*/ 1018554 w 12243467"/>
              <a:gd name="connsiteY2328" fmla="*/ 2374093 h 4565177"/>
              <a:gd name="connsiteX2329" fmla="*/ 1043171 w 12243467"/>
              <a:gd name="connsiteY2329" fmla="*/ 2375004 h 4565177"/>
              <a:gd name="connsiteX2330" fmla="*/ 1041511 w 12243467"/>
              <a:gd name="connsiteY2330" fmla="*/ 2366305 h 4565177"/>
              <a:gd name="connsiteX2331" fmla="*/ 1051192 w 12243467"/>
              <a:gd name="connsiteY2331" fmla="*/ 2368935 h 4565177"/>
              <a:gd name="connsiteX2332" fmla="*/ 1059213 w 12243467"/>
              <a:gd name="connsiteY2332" fmla="*/ 2362663 h 4565177"/>
              <a:gd name="connsiteX2333" fmla="*/ 1047700 w 12243467"/>
              <a:gd name="connsiteY2333" fmla="*/ 2356050 h 4565177"/>
              <a:gd name="connsiteX2334" fmla="*/ 1170411 w 12243467"/>
              <a:gd name="connsiteY2334" fmla="*/ 2330079 h 4565177"/>
              <a:gd name="connsiteX2335" fmla="*/ 1108748 w 12243467"/>
              <a:gd name="connsiteY2335" fmla="*/ 2338691 h 4565177"/>
              <a:gd name="connsiteX2336" fmla="*/ 1072892 w 12243467"/>
              <a:gd name="connsiteY2336" fmla="*/ 2343718 h 4565177"/>
              <a:gd name="connsiteX2337" fmla="*/ 1068617 w 12243467"/>
              <a:gd name="connsiteY2337" fmla="*/ 2347389 h 4565177"/>
              <a:gd name="connsiteX2338" fmla="*/ 1077744 w 12243467"/>
              <a:gd name="connsiteY2338" fmla="*/ 2346580 h 4565177"/>
              <a:gd name="connsiteX2339" fmla="*/ 1073872 w 12243467"/>
              <a:gd name="connsiteY2339" fmla="*/ 2359426 h 4565177"/>
              <a:gd name="connsiteX2340" fmla="*/ 1087978 w 12243467"/>
              <a:gd name="connsiteY2340" fmla="*/ 2352548 h 4565177"/>
              <a:gd name="connsiteX2341" fmla="*/ 1117020 w 12243467"/>
              <a:gd name="connsiteY2341" fmla="*/ 2360337 h 4565177"/>
              <a:gd name="connsiteX2342" fmla="*/ 1108169 w 12243467"/>
              <a:gd name="connsiteY2342" fmla="*/ 2379151 h 4565177"/>
              <a:gd name="connsiteX2343" fmla="*/ 1133892 w 12243467"/>
              <a:gd name="connsiteY2343" fmla="*/ 2417488 h 4565177"/>
              <a:gd name="connsiteX2344" fmla="*/ 1150488 w 12243467"/>
              <a:gd name="connsiteY2344" fmla="*/ 2424670 h 4565177"/>
              <a:gd name="connsiteX2345" fmla="*/ 1137765 w 12243467"/>
              <a:gd name="connsiteY2345" fmla="*/ 2422444 h 4565177"/>
              <a:gd name="connsiteX2346" fmla="*/ 1147445 w 12243467"/>
              <a:gd name="connsiteY2346" fmla="*/ 2441056 h 4565177"/>
              <a:gd name="connsiteX2347" fmla="*/ 1167636 w 12243467"/>
              <a:gd name="connsiteY2347" fmla="*/ 2435493 h 4565177"/>
              <a:gd name="connsiteX2348" fmla="*/ 1172062 w 12243467"/>
              <a:gd name="connsiteY2348" fmla="*/ 2442169 h 4565177"/>
              <a:gd name="connsiteX2349" fmla="*/ 1156573 w 12243467"/>
              <a:gd name="connsiteY2349" fmla="*/ 2441865 h 4565177"/>
              <a:gd name="connsiteX2350" fmla="*/ 1160722 w 12243467"/>
              <a:gd name="connsiteY2350" fmla="*/ 2446822 h 4565177"/>
              <a:gd name="connsiteX2351" fmla="*/ 1169296 w 12243467"/>
              <a:gd name="connsiteY2351" fmla="*/ 2444192 h 4565177"/>
              <a:gd name="connsiteX2352" fmla="*/ 1207465 w 12243467"/>
              <a:gd name="connsiteY2352" fmla="*/ 2484956 h 4565177"/>
              <a:gd name="connsiteX2353" fmla="*/ 1219082 w 12243467"/>
              <a:gd name="connsiteY2353" fmla="*/ 2497904 h 4565177"/>
              <a:gd name="connsiteX2354" fmla="*/ 1227933 w 12243467"/>
              <a:gd name="connsiteY2354" fmla="*/ 2495274 h 4565177"/>
              <a:gd name="connsiteX2355" fmla="*/ 1258358 w 12243467"/>
              <a:gd name="connsiteY2355" fmla="*/ 2527845 h 4565177"/>
              <a:gd name="connsiteX2356" fmla="*/ 1250337 w 12243467"/>
              <a:gd name="connsiteY2356" fmla="*/ 2534015 h 4565177"/>
              <a:gd name="connsiteX2357" fmla="*/ 1305378 w 12243467"/>
              <a:gd name="connsiteY2357" fmla="*/ 2581860 h 4565177"/>
              <a:gd name="connsiteX2358" fmla="*/ 1314229 w 12243467"/>
              <a:gd name="connsiteY2358" fmla="*/ 2581051 h 4565177"/>
              <a:gd name="connsiteX2359" fmla="*/ 1320037 w 12243467"/>
              <a:gd name="connsiteY2359" fmla="*/ 2578624 h 4565177"/>
              <a:gd name="connsiteX2360" fmla="*/ 1306761 w 12243467"/>
              <a:gd name="connsiteY2360" fmla="*/ 2572858 h 4565177"/>
              <a:gd name="connsiteX2361" fmla="*/ 1308421 w 12243467"/>
              <a:gd name="connsiteY2361" fmla="*/ 2565575 h 4565177"/>
              <a:gd name="connsiteX2362" fmla="*/ 1356824 w 12243467"/>
              <a:gd name="connsiteY2362" fmla="*/ 2596224 h 4565177"/>
              <a:gd name="connsiteX2363" fmla="*/ 1364845 w 12243467"/>
              <a:gd name="connsiteY2363" fmla="*/ 2590054 h 4565177"/>
              <a:gd name="connsiteX2364" fmla="*/ 1416567 w 12243467"/>
              <a:gd name="connsiteY2364" fmla="*/ 2620399 h 4565177"/>
              <a:gd name="connsiteX2365" fmla="*/ 1429567 w 12243467"/>
              <a:gd name="connsiteY2365" fmla="*/ 2608362 h 4565177"/>
              <a:gd name="connsiteX2366" fmla="*/ 1396929 w 12243467"/>
              <a:gd name="connsiteY2366" fmla="*/ 2581355 h 4565177"/>
              <a:gd name="connsiteX2367" fmla="*/ 1372036 w 12243467"/>
              <a:gd name="connsiteY2367" fmla="*/ 2562540 h 4565177"/>
              <a:gd name="connsiteX2368" fmla="*/ 1337462 w 12243467"/>
              <a:gd name="connsiteY2368" fmla="*/ 2525013 h 4565177"/>
              <a:gd name="connsiteX2369" fmla="*/ 1305378 w 12243467"/>
              <a:gd name="connsiteY2369" fmla="*/ 2483743 h 4565177"/>
              <a:gd name="connsiteX2370" fmla="*/ 1291825 w 12243467"/>
              <a:gd name="connsiteY2370" fmla="*/ 2477876 h 4565177"/>
              <a:gd name="connsiteX2371" fmla="*/ 1293485 w 12243467"/>
              <a:gd name="connsiteY2371" fmla="*/ 2470593 h 4565177"/>
              <a:gd name="connsiteX2372" fmla="*/ 1252549 w 12243467"/>
              <a:gd name="connsiteY2372" fmla="*/ 2446316 h 4565177"/>
              <a:gd name="connsiteX2373" fmla="*/ 1183955 w 12243467"/>
              <a:gd name="connsiteY2373" fmla="*/ 2342635 h 4565177"/>
              <a:gd name="connsiteX2374" fmla="*/ 1166807 w 12243467"/>
              <a:gd name="connsiteY2374" fmla="*/ 2332014 h 4565177"/>
              <a:gd name="connsiteX2375" fmla="*/ 1227234 w 12243467"/>
              <a:gd name="connsiteY2375" fmla="*/ 2322143 h 4565177"/>
              <a:gd name="connsiteX2376" fmla="*/ 1191654 w 12243467"/>
              <a:gd name="connsiteY2376" fmla="*/ 2327112 h 4565177"/>
              <a:gd name="connsiteX2377" fmla="*/ 1203732 w 12243467"/>
              <a:gd name="connsiteY2377" fmla="*/ 2339524 h 4565177"/>
              <a:gd name="connsiteX2378" fmla="*/ 1229316 w 12243467"/>
              <a:gd name="connsiteY2378" fmla="*/ 2371868 h 4565177"/>
              <a:gd name="connsiteX2379" fmla="*/ 1231252 w 12243467"/>
              <a:gd name="connsiteY2379" fmla="*/ 2366406 h 4565177"/>
              <a:gd name="connsiteX2380" fmla="*/ 1258634 w 12243467"/>
              <a:gd name="connsiteY2380" fmla="*/ 2413644 h 4565177"/>
              <a:gd name="connsiteX2381" fmla="*/ 1292931 w 12243467"/>
              <a:gd name="connsiteY2381" fmla="*/ 2467154 h 4565177"/>
              <a:gd name="connsiteX2382" fmla="*/ 1314782 w 12243467"/>
              <a:gd name="connsiteY2382" fmla="*/ 2486271 h 4565177"/>
              <a:gd name="connsiteX2383" fmla="*/ 1320037 w 12243467"/>
              <a:gd name="connsiteY2383" fmla="*/ 2480405 h 4565177"/>
              <a:gd name="connsiteX2384" fmla="*/ 1435652 w 12243467"/>
              <a:gd name="connsiteY2384" fmla="*/ 2575589 h 4565177"/>
              <a:gd name="connsiteX2385" fmla="*/ 1438141 w 12243467"/>
              <a:gd name="connsiteY2385" fmla="*/ 2555763 h 4565177"/>
              <a:gd name="connsiteX2386" fmla="*/ 1396376 w 12243467"/>
              <a:gd name="connsiteY2386" fmla="*/ 2529666 h 4565177"/>
              <a:gd name="connsiteX2387" fmla="*/ 1355994 w 12243467"/>
              <a:gd name="connsiteY2387" fmla="*/ 2492745 h 4565177"/>
              <a:gd name="connsiteX2388" fmla="*/ 1332484 w 12243467"/>
              <a:gd name="connsiteY2388" fmla="*/ 2464928 h 4565177"/>
              <a:gd name="connsiteX2389" fmla="*/ 1273570 w 12243467"/>
              <a:gd name="connsiteY2389" fmla="*/ 2412026 h 4565177"/>
              <a:gd name="connsiteX2390" fmla="*/ 1230975 w 12243467"/>
              <a:gd name="connsiteY2390" fmla="*/ 2348603 h 4565177"/>
              <a:gd name="connsiteX2391" fmla="*/ 1389185 w 12243467"/>
              <a:gd name="connsiteY2391" fmla="*/ 2507210 h 4565177"/>
              <a:gd name="connsiteX2392" fmla="*/ 1430397 w 12243467"/>
              <a:gd name="connsiteY2392" fmla="*/ 2547570 h 4565177"/>
              <a:gd name="connsiteX2393" fmla="*/ 1440077 w 12243467"/>
              <a:gd name="connsiteY2393" fmla="*/ 2550200 h 4565177"/>
              <a:gd name="connsiteX2394" fmla="*/ 1507289 w 12243467"/>
              <a:gd name="connsiteY2394" fmla="*/ 2614634 h 4565177"/>
              <a:gd name="connsiteX2395" fmla="*/ 1455013 w 12243467"/>
              <a:gd name="connsiteY2395" fmla="*/ 2580748 h 4565177"/>
              <a:gd name="connsiteX2396" fmla="*/ 1519182 w 12243467"/>
              <a:gd name="connsiteY2396" fmla="*/ 2629503 h 4565177"/>
              <a:gd name="connsiteX2397" fmla="*/ 1589989 w 12243467"/>
              <a:gd name="connsiteY2397" fmla="*/ 2681091 h 4565177"/>
              <a:gd name="connsiteX2398" fmla="*/ 1631754 w 12243467"/>
              <a:gd name="connsiteY2398" fmla="*/ 2707087 h 4565177"/>
              <a:gd name="connsiteX2399" fmla="*/ 1706710 w 12243467"/>
              <a:gd name="connsiteY2399" fmla="*/ 2749369 h 4565177"/>
              <a:gd name="connsiteX2400" fmla="*/ 1781943 w 12243467"/>
              <a:gd name="connsiteY2400" fmla="*/ 2791549 h 4565177"/>
              <a:gd name="connsiteX2401" fmla="*/ 1766454 w 12243467"/>
              <a:gd name="connsiteY2401" fmla="*/ 2773544 h 4565177"/>
              <a:gd name="connsiteX2402" fmla="*/ 1569245 w 12243467"/>
              <a:gd name="connsiteY2402" fmla="*/ 2651049 h 4565177"/>
              <a:gd name="connsiteX2403" fmla="*/ 1699242 w 12243467"/>
              <a:gd name="connsiteY2403" fmla="*/ 2725193 h 4565177"/>
              <a:gd name="connsiteX2404" fmla="*/ 1704221 w 12243467"/>
              <a:gd name="connsiteY2404" fmla="*/ 2719225 h 4565177"/>
              <a:gd name="connsiteX2405" fmla="*/ 1739901 w 12243467"/>
              <a:gd name="connsiteY2405" fmla="*/ 2745930 h 4565177"/>
              <a:gd name="connsiteX2406" fmla="*/ 1751794 w 12243467"/>
              <a:gd name="connsiteY2406" fmla="*/ 2744716 h 4565177"/>
              <a:gd name="connsiteX2407" fmla="*/ 1675732 w 12243467"/>
              <a:gd name="connsiteY2407" fmla="*/ 2681192 h 4565177"/>
              <a:gd name="connsiteX2408" fmla="*/ 1668264 w 12243467"/>
              <a:gd name="connsiteY2408" fmla="*/ 2690903 h 4565177"/>
              <a:gd name="connsiteX2409" fmla="*/ 1649733 w 12243467"/>
              <a:gd name="connsiteY2409" fmla="*/ 2689284 h 4565177"/>
              <a:gd name="connsiteX2410" fmla="*/ 1627052 w 12243467"/>
              <a:gd name="connsiteY2410" fmla="*/ 2666525 h 4565177"/>
              <a:gd name="connsiteX2411" fmla="*/ 1642265 w 12243467"/>
              <a:gd name="connsiteY2411" fmla="*/ 2665008 h 4565177"/>
              <a:gd name="connsiteX2412" fmla="*/ 1559564 w 12243467"/>
              <a:gd name="connsiteY2412" fmla="*/ 2600371 h 4565177"/>
              <a:gd name="connsiteX2413" fmla="*/ 1564543 w 12243467"/>
              <a:gd name="connsiteY2413" fmla="*/ 2610588 h 4565177"/>
              <a:gd name="connsiteX2414" fmla="*/ 1549607 w 12243467"/>
              <a:gd name="connsiteY2414" fmla="*/ 2595921 h 4565177"/>
              <a:gd name="connsiteX2415" fmla="*/ 1556245 w 12243467"/>
              <a:gd name="connsiteY2415" fmla="*/ 2598854 h 4565177"/>
              <a:gd name="connsiteX2416" fmla="*/ 1519182 w 12243467"/>
              <a:gd name="connsiteY2416" fmla="*/ 2563451 h 4565177"/>
              <a:gd name="connsiteX2417" fmla="*/ 1511714 w 12243467"/>
              <a:gd name="connsiteY2417" fmla="*/ 2573161 h 4565177"/>
              <a:gd name="connsiteX2418" fmla="*/ 1424035 w 12243467"/>
              <a:gd name="connsiteY2418" fmla="*/ 2480405 h 4565177"/>
              <a:gd name="connsiteX2419" fmla="*/ 1430950 w 12243467"/>
              <a:gd name="connsiteY2419" fmla="*/ 2468974 h 4565177"/>
              <a:gd name="connsiteX2420" fmla="*/ 1419333 w 12243467"/>
              <a:gd name="connsiteY2420" fmla="*/ 2455825 h 4565177"/>
              <a:gd name="connsiteX2421" fmla="*/ 1390014 w 12243467"/>
              <a:gd name="connsiteY2421" fmla="*/ 2446417 h 4565177"/>
              <a:gd name="connsiteX2422" fmla="*/ 1386972 w 12243467"/>
              <a:gd name="connsiteY2422" fmla="*/ 2422242 h 4565177"/>
              <a:gd name="connsiteX2423" fmla="*/ 1373972 w 12243467"/>
              <a:gd name="connsiteY2423" fmla="*/ 2419410 h 4565177"/>
              <a:gd name="connsiteX2424" fmla="*/ 1359590 w 12243467"/>
              <a:gd name="connsiteY2424" fmla="*/ 2400292 h 4565177"/>
              <a:gd name="connsiteX2425" fmla="*/ 1294038 w 12243467"/>
              <a:gd name="connsiteY2425" fmla="*/ 2359325 h 4565177"/>
              <a:gd name="connsiteX2426" fmla="*/ 1277996 w 12243467"/>
              <a:gd name="connsiteY2426" fmla="*/ 2358314 h 4565177"/>
              <a:gd name="connsiteX2427" fmla="*/ 1282421 w 12243467"/>
              <a:gd name="connsiteY2427" fmla="*/ 2350120 h 4565177"/>
              <a:gd name="connsiteX2428" fmla="*/ 1265826 w 12243467"/>
              <a:gd name="connsiteY2428" fmla="*/ 2350727 h 4565177"/>
              <a:gd name="connsiteX2429" fmla="*/ 1238720 w 12243467"/>
              <a:gd name="connsiteY2429" fmla="*/ 2334846 h 4565177"/>
              <a:gd name="connsiteX2430" fmla="*/ 1240379 w 12243467"/>
              <a:gd name="connsiteY2430" fmla="*/ 2331609 h 4565177"/>
              <a:gd name="connsiteX2431" fmla="*/ 1328593 w 12243467"/>
              <a:gd name="connsiteY2431" fmla="*/ 2307616 h 4565177"/>
              <a:gd name="connsiteX2432" fmla="*/ 1327326 w 12243467"/>
              <a:gd name="connsiteY2432" fmla="*/ 2307802 h 4565177"/>
              <a:gd name="connsiteX2433" fmla="*/ 1329995 w 12243467"/>
              <a:gd name="connsiteY2433" fmla="*/ 2309457 h 4565177"/>
              <a:gd name="connsiteX2434" fmla="*/ 1349168 w 12243467"/>
              <a:gd name="connsiteY2434" fmla="*/ 2304588 h 4565177"/>
              <a:gd name="connsiteX2435" fmla="*/ 1335271 w 12243467"/>
              <a:gd name="connsiteY2435" fmla="*/ 2306633 h 4565177"/>
              <a:gd name="connsiteX2436" fmla="*/ 1341888 w 12243467"/>
              <a:gd name="connsiteY2436" fmla="*/ 2316234 h 4565177"/>
              <a:gd name="connsiteX2437" fmla="*/ 1344654 w 12243467"/>
              <a:gd name="connsiteY2437" fmla="*/ 2318561 h 4565177"/>
              <a:gd name="connsiteX2438" fmla="*/ 1352675 w 12243467"/>
              <a:gd name="connsiteY2438" fmla="*/ 2323719 h 4565177"/>
              <a:gd name="connsiteX2439" fmla="*/ 1373419 w 12243467"/>
              <a:gd name="connsiteY2439" fmla="*/ 2328069 h 4565177"/>
              <a:gd name="connsiteX2440" fmla="*/ 1375909 w 12243467"/>
              <a:gd name="connsiteY2440" fmla="*/ 2330294 h 4565177"/>
              <a:gd name="connsiteX2441" fmla="*/ 1373419 w 12243467"/>
              <a:gd name="connsiteY2441" fmla="*/ 2325641 h 4565177"/>
              <a:gd name="connsiteX2442" fmla="*/ 1368717 w 12243467"/>
              <a:gd name="connsiteY2442" fmla="*/ 2318257 h 4565177"/>
              <a:gd name="connsiteX2443" fmla="*/ 1362355 w 12243467"/>
              <a:gd name="connsiteY2443" fmla="*/ 2314515 h 4565177"/>
              <a:gd name="connsiteX2444" fmla="*/ 1715296 w 12243467"/>
              <a:gd name="connsiteY2444" fmla="*/ 1449817 h 4565177"/>
              <a:gd name="connsiteX2445" fmla="*/ 1726359 w 12243467"/>
              <a:gd name="connsiteY2445" fmla="*/ 1451941 h 4565177"/>
              <a:gd name="connsiteX2446" fmla="*/ 1710317 w 12243467"/>
              <a:gd name="connsiteY2446" fmla="*/ 1466204 h 4565177"/>
              <a:gd name="connsiteX2447" fmla="*/ 1715296 w 12243467"/>
              <a:gd name="connsiteY2447" fmla="*/ 1449817 h 4565177"/>
              <a:gd name="connsiteX2448" fmla="*/ 1728122 w 12243467"/>
              <a:gd name="connsiteY2448" fmla="*/ 1430536 h 4565177"/>
              <a:gd name="connsiteX2449" fmla="*/ 1736317 w 12243467"/>
              <a:gd name="connsiteY2449" fmla="*/ 1432520 h 4565177"/>
              <a:gd name="connsiteX2450" fmla="*/ 1730508 w 12243467"/>
              <a:gd name="connsiteY2450" fmla="*/ 1441422 h 4565177"/>
              <a:gd name="connsiteX2451" fmla="*/ 1725253 w 12243467"/>
              <a:gd name="connsiteY2451" fmla="*/ 1437173 h 4565177"/>
              <a:gd name="connsiteX2452" fmla="*/ 1721381 w 12243467"/>
              <a:gd name="connsiteY2452" fmla="*/ 1432116 h 4565177"/>
              <a:gd name="connsiteX2453" fmla="*/ 1728122 w 12243467"/>
              <a:gd name="connsiteY2453" fmla="*/ 1430536 h 4565177"/>
              <a:gd name="connsiteX2454" fmla="*/ 1953993 w 12243467"/>
              <a:gd name="connsiteY2454" fmla="*/ 1297279 h 4565177"/>
              <a:gd name="connsiteX2455" fmla="*/ 1965055 w 12243467"/>
              <a:gd name="connsiteY2455" fmla="*/ 1299404 h 4565177"/>
              <a:gd name="connsiteX2456" fmla="*/ 1955099 w 12243467"/>
              <a:gd name="connsiteY2456" fmla="*/ 1304664 h 4565177"/>
              <a:gd name="connsiteX2457" fmla="*/ 1953993 w 12243467"/>
              <a:gd name="connsiteY2457" fmla="*/ 1297279 h 4565177"/>
              <a:gd name="connsiteX2458" fmla="*/ 1792741 w 12243467"/>
              <a:gd name="connsiteY2458" fmla="*/ 1295155 h 4565177"/>
              <a:gd name="connsiteX2459" fmla="*/ 1792464 w 12243467"/>
              <a:gd name="connsiteY2459" fmla="*/ 1312553 h 4565177"/>
              <a:gd name="connsiteX2460" fmla="*/ 1792741 w 12243467"/>
              <a:gd name="connsiteY2460" fmla="*/ 1295155 h 4565177"/>
              <a:gd name="connsiteX2461" fmla="*/ 2089245 w 12243467"/>
              <a:gd name="connsiteY2461" fmla="*/ 1255099 h 4565177"/>
              <a:gd name="connsiteX2462" fmla="*/ 2081777 w 12243467"/>
              <a:gd name="connsiteY2462" fmla="*/ 1262786 h 4565177"/>
              <a:gd name="connsiteX2463" fmla="*/ 2059097 w 12243467"/>
              <a:gd name="connsiteY2463" fmla="*/ 1295661 h 4565177"/>
              <a:gd name="connsiteX2464" fmla="*/ 2041672 w 12243467"/>
              <a:gd name="connsiteY2464" fmla="*/ 1310834 h 4565177"/>
              <a:gd name="connsiteX2465" fmla="*/ 2051629 w 12243467"/>
              <a:gd name="connsiteY2465" fmla="*/ 1313059 h 4565177"/>
              <a:gd name="connsiteX2466" fmla="*/ 2060202 w 12243467"/>
              <a:gd name="connsiteY2466" fmla="*/ 1311744 h 4565177"/>
              <a:gd name="connsiteX2467" fmla="*/ 2066287 w 12243467"/>
              <a:gd name="connsiteY2467" fmla="*/ 1300112 h 4565177"/>
              <a:gd name="connsiteX2468" fmla="*/ 2079841 w 12243467"/>
              <a:gd name="connsiteY2468" fmla="*/ 1295661 h 4565177"/>
              <a:gd name="connsiteX2469" fmla="*/ 2084266 w 12243467"/>
              <a:gd name="connsiteY2469" fmla="*/ 1302337 h 4565177"/>
              <a:gd name="connsiteX2470" fmla="*/ 2085373 w 12243467"/>
              <a:gd name="connsiteY2470" fmla="*/ 1295863 h 4565177"/>
              <a:gd name="connsiteX2471" fmla="*/ 2083714 w 12243467"/>
              <a:gd name="connsiteY2471" fmla="*/ 1293537 h 4565177"/>
              <a:gd name="connsiteX2472" fmla="*/ 2085926 w 12243467"/>
              <a:gd name="connsiteY2472" fmla="*/ 1292525 h 4565177"/>
              <a:gd name="connsiteX2473" fmla="*/ 2087309 w 12243467"/>
              <a:gd name="connsiteY2473" fmla="*/ 1283523 h 4565177"/>
              <a:gd name="connsiteX2474" fmla="*/ 1987183 w 12243467"/>
              <a:gd name="connsiteY2474" fmla="*/ 1127748 h 4565177"/>
              <a:gd name="connsiteX2475" fmla="*/ 1942376 w 12243467"/>
              <a:gd name="connsiteY2475" fmla="*/ 1166388 h 4565177"/>
              <a:gd name="connsiteX2476" fmla="*/ 1981375 w 12243467"/>
              <a:gd name="connsiteY2476" fmla="*/ 1133817 h 4565177"/>
              <a:gd name="connsiteX2477" fmla="*/ 1973907 w 12243467"/>
              <a:gd name="connsiteY2477" fmla="*/ 1132199 h 4565177"/>
              <a:gd name="connsiteX2478" fmla="*/ 1987183 w 12243467"/>
              <a:gd name="connsiteY2478" fmla="*/ 1127748 h 4565177"/>
              <a:gd name="connsiteX2479" fmla="*/ 1897845 w 12243467"/>
              <a:gd name="connsiteY2479" fmla="*/ 1115306 h 4565177"/>
              <a:gd name="connsiteX2480" fmla="*/ 1908909 w 12243467"/>
              <a:gd name="connsiteY2480" fmla="*/ 1120566 h 4565177"/>
              <a:gd name="connsiteX2481" fmla="*/ 1903099 w 12243467"/>
              <a:gd name="connsiteY2481" fmla="*/ 1123601 h 4565177"/>
              <a:gd name="connsiteX2482" fmla="*/ 1899505 w 12243467"/>
              <a:gd name="connsiteY2482" fmla="*/ 1123095 h 4565177"/>
              <a:gd name="connsiteX2483" fmla="*/ 1897845 w 12243467"/>
              <a:gd name="connsiteY2483" fmla="*/ 1115306 h 4565177"/>
              <a:gd name="connsiteX2484" fmla="*/ 2007374 w 12243467"/>
              <a:gd name="connsiteY2484" fmla="*/ 1097099 h 4565177"/>
              <a:gd name="connsiteX2485" fmla="*/ 2020651 w 12243467"/>
              <a:gd name="connsiteY2485" fmla="*/ 1101448 h 4565177"/>
              <a:gd name="connsiteX2486" fmla="*/ 2010970 w 12243467"/>
              <a:gd name="connsiteY2486" fmla="*/ 1109642 h 4565177"/>
              <a:gd name="connsiteX2487" fmla="*/ 2003502 w 12243467"/>
              <a:gd name="connsiteY2487" fmla="*/ 1104887 h 4565177"/>
              <a:gd name="connsiteX2488" fmla="*/ 2007374 w 12243467"/>
              <a:gd name="connsiteY2488" fmla="*/ 1097099 h 4565177"/>
              <a:gd name="connsiteX2489" fmla="*/ 1819017 w 12243467"/>
              <a:gd name="connsiteY2489" fmla="*/ 1088703 h 4565177"/>
              <a:gd name="connsiteX2490" fmla="*/ 1812655 w 12243467"/>
              <a:gd name="connsiteY2490" fmla="*/ 1103269 h 4565177"/>
              <a:gd name="connsiteX2491" fmla="*/ 1819017 w 12243467"/>
              <a:gd name="connsiteY2491" fmla="*/ 1088703 h 4565177"/>
              <a:gd name="connsiteX2492" fmla="*/ 1927379 w 12243467"/>
              <a:gd name="connsiteY2492" fmla="*/ 1083826 h 4565177"/>
              <a:gd name="connsiteX2493" fmla="*/ 1932972 w 12243467"/>
              <a:gd name="connsiteY2493" fmla="*/ 1085062 h 4565177"/>
              <a:gd name="connsiteX2494" fmla="*/ 1925227 w 12243467"/>
              <a:gd name="connsiteY2494" fmla="*/ 1100437 h 4565177"/>
              <a:gd name="connsiteX2495" fmla="*/ 1916100 w 12243467"/>
              <a:gd name="connsiteY2495" fmla="*/ 1094266 h 4565177"/>
              <a:gd name="connsiteX2496" fmla="*/ 1927379 w 12243467"/>
              <a:gd name="connsiteY2496" fmla="*/ 1083826 h 4565177"/>
              <a:gd name="connsiteX2497" fmla="*/ 1876893 w 12243467"/>
              <a:gd name="connsiteY2497" fmla="*/ 1069257 h 4565177"/>
              <a:gd name="connsiteX2498" fmla="*/ 1884845 w 12243467"/>
              <a:gd name="connsiteY2498" fmla="*/ 1072519 h 4565177"/>
              <a:gd name="connsiteX2499" fmla="*/ 1869356 w 12243467"/>
              <a:gd name="connsiteY2499" fmla="*/ 1086377 h 4565177"/>
              <a:gd name="connsiteX2500" fmla="*/ 1860505 w 12243467"/>
              <a:gd name="connsiteY2500" fmla="*/ 1086377 h 4565177"/>
              <a:gd name="connsiteX2501" fmla="*/ 1854973 w 12243467"/>
              <a:gd name="connsiteY2501" fmla="*/ 1080510 h 4565177"/>
              <a:gd name="connsiteX2502" fmla="*/ 1862718 w 12243467"/>
              <a:gd name="connsiteY2502" fmla="*/ 1073631 h 4565177"/>
              <a:gd name="connsiteX2503" fmla="*/ 1870186 w 12243467"/>
              <a:gd name="connsiteY2503" fmla="*/ 1069484 h 4565177"/>
              <a:gd name="connsiteX2504" fmla="*/ 1876893 w 12243467"/>
              <a:gd name="connsiteY2504" fmla="*/ 1069257 h 4565177"/>
              <a:gd name="connsiteX2505" fmla="*/ 1887507 w 12243467"/>
              <a:gd name="connsiteY2505" fmla="*/ 1058598 h 4565177"/>
              <a:gd name="connsiteX2506" fmla="*/ 1895079 w 12243467"/>
              <a:gd name="connsiteY2506" fmla="*/ 1060886 h 4565177"/>
              <a:gd name="connsiteX2507" fmla="*/ 1892590 w 12243467"/>
              <a:gd name="connsiteY2507" fmla="*/ 1067663 h 4565177"/>
              <a:gd name="connsiteX2508" fmla="*/ 1878484 w 12243467"/>
              <a:gd name="connsiteY2508" fmla="*/ 1059268 h 4565177"/>
              <a:gd name="connsiteX2509" fmla="*/ 1887507 w 12243467"/>
              <a:gd name="connsiteY2509" fmla="*/ 1058598 h 4565177"/>
              <a:gd name="connsiteX2510" fmla="*/ 1944312 w 12243467"/>
              <a:gd name="connsiteY2510" fmla="*/ 1045208 h 4565177"/>
              <a:gd name="connsiteX2511" fmla="*/ 1906973 w 12243467"/>
              <a:gd name="connsiteY2511" fmla="*/ 1079397 h 4565177"/>
              <a:gd name="connsiteX2512" fmla="*/ 1905865 w 12243467"/>
              <a:gd name="connsiteY2512" fmla="*/ 1063415 h 4565177"/>
              <a:gd name="connsiteX2513" fmla="*/ 1944312 w 12243467"/>
              <a:gd name="connsiteY2513" fmla="*/ 1045208 h 4565177"/>
              <a:gd name="connsiteX2514" fmla="*/ 1790528 w 12243467"/>
              <a:gd name="connsiteY2514" fmla="*/ 1033373 h 4565177"/>
              <a:gd name="connsiteX2515" fmla="*/ 1790528 w 12243467"/>
              <a:gd name="connsiteY2515" fmla="*/ 1033676 h 4565177"/>
              <a:gd name="connsiteX2516" fmla="*/ 1790252 w 12243467"/>
              <a:gd name="connsiteY2516" fmla="*/ 1033777 h 4565177"/>
              <a:gd name="connsiteX2517" fmla="*/ 1960354 w 12243467"/>
              <a:gd name="connsiteY2517" fmla="*/ 1028619 h 4565177"/>
              <a:gd name="connsiteX2518" fmla="*/ 1957035 w 12243467"/>
              <a:gd name="connsiteY2518" fmla="*/ 1043690 h 4565177"/>
              <a:gd name="connsiteX2519" fmla="*/ 1957588 w 12243467"/>
              <a:gd name="connsiteY2519" fmla="*/ 1038127 h 4565177"/>
              <a:gd name="connsiteX2520" fmla="*/ 1948461 w 12243467"/>
              <a:gd name="connsiteY2520" fmla="*/ 1035193 h 4565177"/>
              <a:gd name="connsiteX2521" fmla="*/ 1957865 w 12243467"/>
              <a:gd name="connsiteY2521" fmla="*/ 1035396 h 4565177"/>
              <a:gd name="connsiteX2522" fmla="*/ 1960354 w 12243467"/>
              <a:gd name="connsiteY2522" fmla="*/ 1028619 h 4565177"/>
              <a:gd name="connsiteX2523" fmla="*/ 1858292 w 12243467"/>
              <a:gd name="connsiteY2523" fmla="*/ 1027708 h 4565177"/>
              <a:gd name="connsiteX2524" fmla="*/ 1863824 w 12243467"/>
              <a:gd name="connsiteY2524" fmla="*/ 1034890 h 4565177"/>
              <a:gd name="connsiteX2525" fmla="*/ 1856357 w 12243467"/>
              <a:gd name="connsiteY2525" fmla="*/ 1031653 h 4565177"/>
              <a:gd name="connsiteX2526" fmla="*/ 1858292 w 12243467"/>
              <a:gd name="connsiteY2526" fmla="*/ 1027708 h 4565177"/>
              <a:gd name="connsiteX2527" fmla="*/ 1791635 w 12243467"/>
              <a:gd name="connsiteY2527" fmla="*/ 1025685 h 4565177"/>
              <a:gd name="connsiteX2528" fmla="*/ 1790528 w 12243467"/>
              <a:gd name="connsiteY2528" fmla="*/ 1033373 h 4565177"/>
              <a:gd name="connsiteX2529" fmla="*/ 1790252 w 12243467"/>
              <a:gd name="connsiteY2529" fmla="*/ 1029529 h 4565177"/>
              <a:gd name="connsiteX2530" fmla="*/ 1791635 w 12243467"/>
              <a:gd name="connsiteY2530" fmla="*/ 1025685 h 4565177"/>
              <a:gd name="connsiteX2531" fmla="*/ 2162542 w 12243467"/>
              <a:gd name="connsiteY2531" fmla="*/ 1021234 h 4565177"/>
              <a:gd name="connsiteX2532" fmla="*/ 2137372 w 12243467"/>
              <a:gd name="connsiteY2532" fmla="*/ 1040555 h 4565177"/>
              <a:gd name="connsiteX2533" fmla="*/ 2162542 w 12243467"/>
              <a:gd name="connsiteY2533" fmla="*/ 1021234 h 4565177"/>
              <a:gd name="connsiteX2534" fmla="*/ 1846399 w 12243467"/>
              <a:gd name="connsiteY2534" fmla="*/ 1017998 h 4565177"/>
              <a:gd name="connsiteX2535" fmla="*/ 1854144 w 12243467"/>
              <a:gd name="connsiteY2535" fmla="*/ 1019414 h 4565177"/>
              <a:gd name="connsiteX2536" fmla="*/ 1843909 w 12243467"/>
              <a:gd name="connsiteY2536" fmla="*/ 1027809 h 4565177"/>
              <a:gd name="connsiteX2537" fmla="*/ 1846399 w 12243467"/>
              <a:gd name="connsiteY2537" fmla="*/ 1017998 h 4565177"/>
              <a:gd name="connsiteX2538" fmla="*/ 1907802 w 12243467"/>
              <a:gd name="connsiteY2538" fmla="*/ 1014862 h 4565177"/>
              <a:gd name="connsiteX2539" fmla="*/ 1911121 w 12243467"/>
              <a:gd name="connsiteY2539" fmla="*/ 1021234 h 4565177"/>
              <a:gd name="connsiteX2540" fmla="*/ 1901717 w 12243467"/>
              <a:gd name="connsiteY2540" fmla="*/ 1029327 h 4565177"/>
              <a:gd name="connsiteX2541" fmla="*/ 1914716 w 12243467"/>
              <a:gd name="connsiteY2541" fmla="*/ 1024977 h 4565177"/>
              <a:gd name="connsiteX2542" fmla="*/ 1914441 w 12243467"/>
              <a:gd name="connsiteY2542" fmla="*/ 1036306 h 4565177"/>
              <a:gd name="connsiteX2543" fmla="*/ 1911675 w 12243467"/>
              <a:gd name="connsiteY2543" fmla="*/ 1057245 h 4565177"/>
              <a:gd name="connsiteX2544" fmla="*/ 1906696 w 12243467"/>
              <a:gd name="connsiteY2544" fmla="*/ 1057346 h 4565177"/>
              <a:gd name="connsiteX2545" fmla="*/ 1893419 w 12243467"/>
              <a:gd name="connsiteY2545" fmla="*/ 1050569 h 4565177"/>
              <a:gd name="connsiteX2546" fmla="*/ 1899780 w 12243467"/>
              <a:gd name="connsiteY2546" fmla="*/ 1033272 h 4565177"/>
              <a:gd name="connsiteX2547" fmla="*/ 1886782 w 12243467"/>
              <a:gd name="connsiteY2547" fmla="*/ 1029023 h 4565177"/>
              <a:gd name="connsiteX2548" fmla="*/ 1907802 w 12243467"/>
              <a:gd name="connsiteY2548" fmla="*/ 1014862 h 4565177"/>
              <a:gd name="connsiteX2549" fmla="*/ 1868803 w 12243467"/>
              <a:gd name="connsiteY2549" fmla="*/ 1013850 h 4565177"/>
              <a:gd name="connsiteX2550" fmla="*/ 1879867 w 12243467"/>
              <a:gd name="connsiteY2550" fmla="*/ 1016177 h 4565177"/>
              <a:gd name="connsiteX2551" fmla="*/ 1875995 w 12243467"/>
              <a:gd name="connsiteY2551" fmla="*/ 1021133 h 4565177"/>
              <a:gd name="connsiteX2552" fmla="*/ 1871016 w 12243467"/>
              <a:gd name="connsiteY2552" fmla="*/ 1017188 h 4565177"/>
              <a:gd name="connsiteX2553" fmla="*/ 1868803 w 12243467"/>
              <a:gd name="connsiteY2553" fmla="*/ 1013850 h 4565177"/>
              <a:gd name="connsiteX2554" fmla="*/ 5702616 w 12243467"/>
              <a:gd name="connsiteY2554" fmla="*/ 1011183 h 4565177"/>
              <a:gd name="connsiteX2555" fmla="*/ 5722254 w 12243467"/>
              <a:gd name="connsiteY2555" fmla="*/ 1017290 h 4565177"/>
              <a:gd name="connsiteX2556" fmla="*/ 5700958 w 12243467"/>
              <a:gd name="connsiteY2556" fmla="*/ 1020729 h 4565177"/>
              <a:gd name="connsiteX2557" fmla="*/ 5680489 w 12243467"/>
              <a:gd name="connsiteY2557" fmla="*/ 1016379 h 4565177"/>
              <a:gd name="connsiteX2558" fmla="*/ 5702616 w 12243467"/>
              <a:gd name="connsiteY2558" fmla="*/ 1011183 h 4565177"/>
              <a:gd name="connsiteX2559" fmla="*/ 1950950 w 12243467"/>
              <a:gd name="connsiteY2559" fmla="*/ 989169 h 4565177"/>
              <a:gd name="connsiteX2560" fmla="*/ 1959801 w 12243467"/>
              <a:gd name="connsiteY2560" fmla="*/ 998172 h 4565177"/>
              <a:gd name="connsiteX2561" fmla="*/ 1939887 w 12243467"/>
              <a:gd name="connsiteY2561" fmla="*/ 1022954 h 4565177"/>
              <a:gd name="connsiteX2562" fmla="*/ 1924951 w 12243467"/>
              <a:gd name="connsiteY2562" fmla="*/ 1019919 h 4565177"/>
              <a:gd name="connsiteX2563" fmla="*/ 1922738 w 12243467"/>
              <a:gd name="connsiteY2563" fmla="*/ 1019009 h 4565177"/>
              <a:gd name="connsiteX2564" fmla="*/ 1923568 w 12243467"/>
              <a:gd name="connsiteY2564" fmla="*/ 1009501 h 4565177"/>
              <a:gd name="connsiteX2565" fmla="*/ 1950950 w 12243467"/>
              <a:gd name="connsiteY2565" fmla="*/ 989169 h 4565177"/>
              <a:gd name="connsiteX2566" fmla="*/ 5669149 w 12243467"/>
              <a:gd name="connsiteY2566" fmla="*/ 987753 h 4565177"/>
              <a:gd name="connsiteX2567" fmla="*/ 5668597 w 12243467"/>
              <a:gd name="connsiteY2567" fmla="*/ 989169 h 4565177"/>
              <a:gd name="connsiteX2568" fmla="*/ 5668597 w 12243467"/>
              <a:gd name="connsiteY2568" fmla="*/ 993317 h 4565177"/>
              <a:gd name="connsiteX2569" fmla="*/ 5634852 w 12243467"/>
              <a:gd name="connsiteY2569" fmla="*/ 994126 h 4565177"/>
              <a:gd name="connsiteX2570" fmla="*/ 5629320 w 12243467"/>
              <a:gd name="connsiteY2570" fmla="*/ 999387 h 4565177"/>
              <a:gd name="connsiteX2571" fmla="*/ 5637617 w 12243467"/>
              <a:gd name="connsiteY2571" fmla="*/ 1005151 h 4565177"/>
              <a:gd name="connsiteX2572" fmla="*/ 5638447 w 12243467"/>
              <a:gd name="connsiteY2572" fmla="*/ 1009906 h 4565177"/>
              <a:gd name="connsiteX2573" fmla="*/ 5640383 w 12243467"/>
              <a:gd name="connsiteY2573" fmla="*/ 1010108 h 4565177"/>
              <a:gd name="connsiteX2574" fmla="*/ 5658362 w 12243467"/>
              <a:gd name="connsiteY2574" fmla="*/ 1009299 h 4565177"/>
              <a:gd name="connsiteX2575" fmla="*/ 5689617 w 12243467"/>
              <a:gd name="connsiteY2575" fmla="*/ 1021437 h 4565177"/>
              <a:gd name="connsiteX2576" fmla="*/ 5707871 w 12243467"/>
              <a:gd name="connsiteY2576" fmla="*/ 1025585 h 4565177"/>
              <a:gd name="connsiteX2577" fmla="*/ 5713403 w 12243467"/>
              <a:gd name="connsiteY2577" fmla="*/ 1026192 h 4565177"/>
              <a:gd name="connsiteX2578" fmla="*/ 5715892 w 12243467"/>
              <a:gd name="connsiteY2578" fmla="*/ 1027304 h 4565177"/>
              <a:gd name="connsiteX2579" fmla="*/ 5720790 w 12243467"/>
              <a:gd name="connsiteY2579" fmla="*/ 1028367 h 4565177"/>
              <a:gd name="connsiteX2580" fmla="*/ 5724427 w 12243467"/>
              <a:gd name="connsiteY2580" fmla="*/ 1028287 h 4565177"/>
              <a:gd name="connsiteX2581" fmla="*/ 5735906 w 12243467"/>
              <a:gd name="connsiteY2581" fmla="*/ 1028162 h 4565177"/>
              <a:gd name="connsiteX2582" fmla="*/ 5732764 w 12243467"/>
              <a:gd name="connsiteY2582" fmla="*/ 1023966 h 4565177"/>
              <a:gd name="connsiteX2583" fmla="*/ 5764469 w 12243467"/>
              <a:gd name="connsiteY2583" fmla="*/ 1026533 h 4565177"/>
              <a:gd name="connsiteX2584" fmla="*/ 5770856 w 12243467"/>
              <a:gd name="connsiteY2584" fmla="*/ 1027780 h 4565177"/>
              <a:gd name="connsiteX2585" fmla="*/ 5842646 w 12243467"/>
              <a:gd name="connsiteY2585" fmla="*/ 1026996 h 4565177"/>
              <a:gd name="connsiteX2586" fmla="*/ 5842017 w 12243467"/>
              <a:gd name="connsiteY2586" fmla="*/ 1026192 h 4565177"/>
              <a:gd name="connsiteX2587" fmla="*/ 5718658 w 12243467"/>
              <a:gd name="connsiteY2587" fmla="*/ 1004848 h 4565177"/>
              <a:gd name="connsiteX2588" fmla="*/ 5675787 w 12243467"/>
              <a:gd name="connsiteY2588" fmla="*/ 987955 h 4565177"/>
              <a:gd name="connsiteX2589" fmla="*/ 1837021 w 12243467"/>
              <a:gd name="connsiteY2589" fmla="*/ 985991 h 4565177"/>
              <a:gd name="connsiteX2590" fmla="*/ 1845293 w 12243467"/>
              <a:gd name="connsiteY2590" fmla="*/ 987551 h 4565177"/>
              <a:gd name="connsiteX2591" fmla="*/ 1827591 w 12243467"/>
              <a:gd name="connsiteY2591" fmla="*/ 1011423 h 4565177"/>
              <a:gd name="connsiteX2592" fmla="*/ 1815698 w 12243467"/>
              <a:gd name="connsiteY2592" fmla="*/ 1018301 h 4565177"/>
              <a:gd name="connsiteX2593" fmla="*/ 1810443 w 12243467"/>
              <a:gd name="connsiteY2593" fmla="*/ 1017896 h 4565177"/>
              <a:gd name="connsiteX2594" fmla="*/ 1826208 w 12243467"/>
              <a:gd name="connsiteY2594" fmla="*/ 995137 h 4565177"/>
              <a:gd name="connsiteX2595" fmla="*/ 1837021 w 12243467"/>
              <a:gd name="connsiteY2595" fmla="*/ 985991 h 4565177"/>
              <a:gd name="connsiteX2596" fmla="*/ 1900066 w 12243467"/>
              <a:gd name="connsiteY2596" fmla="*/ 984542 h 4565177"/>
              <a:gd name="connsiteX2597" fmla="*/ 1878207 w 12243467"/>
              <a:gd name="connsiteY2597" fmla="*/ 1008894 h 4565177"/>
              <a:gd name="connsiteX2598" fmla="*/ 1897569 w 12243467"/>
              <a:gd name="connsiteY2598" fmla="*/ 992608 h 4565177"/>
              <a:gd name="connsiteX2599" fmla="*/ 1885121 w 12243467"/>
              <a:gd name="connsiteY2599" fmla="*/ 985831 h 4565177"/>
              <a:gd name="connsiteX2600" fmla="*/ 1900066 w 12243467"/>
              <a:gd name="connsiteY2600" fmla="*/ 984542 h 4565177"/>
              <a:gd name="connsiteX2601" fmla="*/ 1719168 w 12243467"/>
              <a:gd name="connsiteY2601" fmla="*/ 975918 h 4565177"/>
              <a:gd name="connsiteX2602" fmla="*/ 1713636 w 12243467"/>
              <a:gd name="connsiteY2602" fmla="*/ 992305 h 4565177"/>
              <a:gd name="connsiteX2603" fmla="*/ 1719168 w 12243467"/>
              <a:gd name="connsiteY2603" fmla="*/ 975918 h 4565177"/>
              <a:gd name="connsiteX2604" fmla="*/ 1727119 w 12243467"/>
              <a:gd name="connsiteY2604" fmla="*/ 963679 h 4565177"/>
              <a:gd name="connsiteX2605" fmla="*/ 1732444 w 12243467"/>
              <a:gd name="connsiteY2605" fmla="*/ 965398 h 4565177"/>
              <a:gd name="connsiteX2606" fmla="*/ 1728572 w 12243467"/>
              <a:gd name="connsiteY2606" fmla="*/ 967421 h 4565177"/>
              <a:gd name="connsiteX2607" fmla="*/ 1732444 w 12243467"/>
              <a:gd name="connsiteY2607" fmla="*/ 968332 h 4565177"/>
              <a:gd name="connsiteX2608" fmla="*/ 1728572 w 12243467"/>
              <a:gd name="connsiteY2608" fmla="*/ 973288 h 4565177"/>
              <a:gd name="connsiteX2609" fmla="*/ 1723040 w 12243467"/>
              <a:gd name="connsiteY2609" fmla="*/ 967725 h 4565177"/>
              <a:gd name="connsiteX2610" fmla="*/ 1727119 w 12243467"/>
              <a:gd name="connsiteY2610" fmla="*/ 963679 h 4565177"/>
              <a:gd name="connsiteX2611" fmla="*/ 1865206 w 12243467"/>
              <a:gd name="connsiteY2611" fmla="*/ 963173 h 4565177"/>
              <a:gd name="connsiteX2612" fmla="*/ 1864653 w 12243467"/>
              <a:gd name="connsiteY2612" fmla="*/ 977435 h 4565177"/>
              <a:gd name="connsiteX2613" fmla="*/ 1861058 w 12243467"/>
              <a:gd name="connsiteY2613" fmla="*/ 973895 h 4565177"/>
              <a:gd name="connsiteX2614" fmla="*/ 1862442 w 12243467"/>
              <a:gd name="connsiteY2614" fmla="*/ 984213 h 4565177"/>
              <a:gd name="connsiteX2615" fmla="*/ 1854973 w 12243467"/>
              <a:gd name="connsiteY2615" fmla="*/ 991192 h 4565177"/>
              <a:gd name="connsiteX2616" fmla="*/ 1855250 w 12243467"/>
              <a:gd name="connsiteY2616" fmla="*/ 982594 h 4565177"/>
              <a:gd name="connsiteX2617" fmla="*/ 1842251 w 12243467"/>
              <a:gd name="connsiteY2617" fmla="*/ 981380 h 4565177"/>
              <a:gd name="connsiteX2618" fmla="*/ 1865206 w 12243467"/>
              <a:gd name="connsiteY2618" fmla="*/ 963173 h 4565177"/>
              <a:gd name="connsiteX2619" fmla="*/ 1948184 w 12243467"/>
              <a:gd name="connsiteY2619" fmla="*/ 956396 h 4565177"/>
              <a:gd name="connsiteX2620" fmla="*/ 1945971 w 12243467"/>
              <a:gd name="connsiteY2620" fmla="*/ 963274 h 4565177"/>
              <a:gd name="connsiteX2621" fmla="*/ 1916653 w 12243467"/>
              <a:gd name="connsiteY2621" fmla="*/ 984921 h 4565177"/>
              <a:gd name="connsiteX2622" fmla="*/ 1914441 w 12243467"/>
              <a:gd name="connsiteY2622" fmla="*/ 986843 h 4565177"/>
              <a:gd name="connsiteX2623" fmla="*/ 1910844 w 12243467"/>
              <a:gd name="connsiteY2623" fmla="*/ 985224 h 4565177"/>
              <a:gd name="connsiteX2624" fmla="*/ 1940163 w 12243467"/>
              <a:gd name="connsiteY2624" fmla="*/ 963578 h 4565177"/>
              <a:gd name="connsiteX2625" fmla="*/ 1948184 w 12243467"/>
              <a:gd name="connsiteY2625" fmla="*/ 956396 h 4565177"/>
              <a:gd name="connsiteX2626" fmla="*/ 5922505 w 12243467"/>
              <a:gd name="connsiteY2626" fmla="*/ 949416 h 4565177"/>
              <a:gd name="connsiteX2627" fmla="*/ 5924718 w 12243467"/>
              <a:gd name="connsiteY2627" fmla="*/ 959128 h 4565177"/>
              <a:gd name="connsiteX2628" fmla="*/ 5920569 w 12243467"/>
              <a:gd name="connsiteY2628" fmla="*/ 959835 h 4565177"/>
              <a:gd name="connsiteX2629" fmla="*/ 5922505 w 12243467"/>
              <a:gd name="connsiteY2629" fmla="*/ 949416 h 4565177"/>
              <a:gd name="connsiteX2630" fmla="*/ 1973631 w 12243467"/>
              <a:gd name="connsiteY2630" fmla="*/ 937379 h 4565177"/>
              <a:gd name="connsiteX2631" fmla="*/ 1967268 w 12243467"/>
              <a:gd name="connsiteY2631" fmla="*/ 949416 h 4565177"/>
              <a:gd name="connsiteX2632" fmla="*/ 1968652 w 12243467"/>
              <a:gd name="connsiteY2632" fmla="*/ 950428 h 4565177"/>
              <a:gd name="connsiteX2633" fmla="*/ 1966439 w 12243467"/>
              <a:gd name="connsiteY2633" fmla="*/ 950225 h 4565177"/>
              <a:gd name="connsiteX2634" fmla="*/ 1959801 w 12243467"/>
              <a:gd name="connsiteY2634" fmla="*/ 947697 h 4565177"/>
              <a:gd name="connsiteX2635" fmla="*/ 1973631 w 12243467"/>
              <a:gd name="connsiteY2635" fmla="*/ 937379 h 4565177"/>
              <a:gd name="connsiteX2636" fmla="*/ 5679384 w 12243467"/>
              <a:gd name="connsiteY2636" fmla="*/ 937177 h 4565177"/>
              <a:gd name="connsiteX2637" fmla="*/ 5694596 w 12243467"/>
              <a:gd name="connsiteY2637" fmla="*/ 942336 h 4565177"/>
              <a:gd name="connsiteX2638" fmla="*/ 5697361 w 12243467"/>
              <a:gd name="connsiteY2638" fmla="*/ 941729 h 4565177"/>
              <a:gd name="connsiteX2639" fmla="*/ 5701233 w 12243467"/>
              <a:gd name="connsiteY2639" fmla="*/ 944561 h 4565177"/>
              <a:gd name="connsiteX2640" fmla="*/ 5704552 w 12243467"/>
              <a:gd name="connsiteY2640" fmla="*/ 945674 h 4565177"/>
              <a:gd name="connsiteX2641" fmla="*/ 5768168 w 12243467"/>
              <a:gd name="connsiteY2641" fmla="*/ 958722 h 4565177"/>
              <a:gd name="connsiteX2642" fmla="*/ 5789465 w 12243467"/>
              <a:gd name="connsiteY2642" fmla="*/ 974503 h 4565177"/>
              <a:gd name="connsiteX2643" fmla="*/ 5798316 w 12243467"/>
              <a:gd name="connsiteY2643" fmla="*/ 971771 h 4565177"/>
              <a:gd name="connsiteX2644" fmla="*/ 5806062 w 12243467"/>
              <a:gd name="connsiteY2644" fmla="*/ 965499 h 4565177"/>
              <a:gd name="connsiteX2645" fmla="*/ 5810763 w 12243467"/>
              <a:gd name="connsiteY2645" fmla="*/ 973996 h 4565177"/>
              <a:gd name="connsiteX2646" fmla="*/ 5831784 w 12243467"/>
              <a:gd name="connsiteY2646" fmla="*/ 971872 h 4565177"/>
              <a:gd name="connsiteX2647" fmla="*/ 5845891 w 12243467"/>
              <a:gd name="connsiteY2647" fmla="*/ 981077 h 4565177"/>
              <a:gd name="connsiteX2648" fmla="*/ 5864975 w 12243467"/>
              <a:gd name="connsiteY2648" fmla="*/ 984415 h 4565177"/>
              <a:gd name="connsiteX2649" fmla="*/ 5878804 w 12243467"/>
              <a:gd name="connsiteY2649" fmla="*/ 977638 h 4565177"/>
              <a:gd name="connsiteX2650" fmla="*/ 5894570 w 12243467"/>
              <a:gd name="connsiteY2650" fmla="*/ 979560 h 4565177"/>
              <a:gd name="connsiteX2651" fmla="*/ 6006035 w 12243467"/>
              <a:gd name="connsiteY2651" fmla="*/ 1019919 h 4565177"/>
              <a:gd name="connsiteX2652" fmla="*/ 6020971 w 12243467"/>
              <a:gd name="connsiteY2652" fmla="*/ 1018402 h 4565177"/>
              <a:gd name="connsiteX2653" fmla="*/ 6030652 w 12243467"/>
              <a:gd name="connsiteY2653" fmla="*/ 1022853 h 4565177"/>
              <a:gd name="connsiteX2654" fmla="*/ 6015439 w 12243467"/>
              <a:gd name="connsiteY2654" fmla="*/ 1013446 h 4565177"/>
              <a:gd name="connsiteX2655" fmla="*/ 5998567 w 12243467"/>
              <a:gd name="connsiteY2655" fmla="*/ 1012434 h 4565177"/>
              <a:gd name="connsiteX2656" fmla="*/ 5828741 w 12243467"/>
              <a:gd name="connsiteY2656" fmla="*/ 956396 h 4565177"/>
              <a:gd name="connsiteX2657" fmla="*/ 5821274 w 12243467"/>
              <a:gd name="connsiteY2657" fmla="*/ 960644 h 4565177"/>
              <a:gd name="connsiteX2658" fmla="*/ 5729445 w 12243467"/>
              <a:gd name="connsiteY2658" fmla="*/ 940616 h 4565177"/>
              <a:gd name="connsiteX2659" fmla="*/ 1992162 w 12243467"/>
              <a:gd name="connsiteY2659" fmla="*/ 926758 h 4565177"/>
              <a:gd name="connsiteX2660" fmla="*/ 1988290 w 12243467"/>
              <a:gd name="connsiteY2660" fmla="*/ 934547 h 4565177"/>
              <a:gd name="connsiteX2661" fmla="*/ 1981098 w 12243467"/>
              <a:gd name="connsiteY2661" fmla="*/ 932827 h 4565177"/>
              <a:gd name="connsiteX2662" fmla="*/ 1992162 w 12243467"/>
              <a:gd name="connsiteY2662" fmla="*/ 926758 h 4565177"/>
              <a:gd name="connsiteX2663" fmla="*/ 1789422 w 12243467"/>
              <a:gd name="connsiteY2663" fmla="*/ 909562 h 4565177"/>
              <a:gd name="connsiteX2664" fmla="*/ 1769231 w 12243467"/>
              <a:gd name="connsiteY2664" fmla="*/ 945775 h 4565177"/>
              <a:gd name="connsiteX2665" fmla="*/ 1734657 w 12243467"/>
              <a:gd name="connsiteY2665" fmla="*/ 964690 h 4565177"/>
              <a:gd name="connsiteX2666" fmla="*/ 1731338 w 12243467"/>
              <a:gd name="connsiteY2666" fmla="*/ 961959 h 4565177"/>
              <a:gd name="connsiteX2667" fmla="*/ 1734933 w 12243467"/>
              <a:gd name="connsiteY2667" fmla="*/ 961757 h 4565177"/>
              <a:gd name="connsiteX2668" fmla="*/ 1789422 w 12243467"/>
              <a:gd name="connsiteY2668" fmla="*/ 909562 h 4565177"/>
              <a:gd name="connsiteX2669" fmla="*/ 2033098 w 12243467"/>
              <a:gd name="connsiteY2669" fmla="*/ 899346 h 4565177"/>
              <a:gd name="connsiteX2670" fmla="*/ 2011800 w 12243467"/>
              <a:gd name="connsiteY2670" fmla="*/ 913811 h 4565177"/>
              <a:gd name="connsiteX2671" fmla="*/ 2033098 w 12243467"/>
              <a:gd name="connsiteY2671" fmla="*/ 899346 h 4565177"/>
              <a:gd name="connsiteX2672" fmla="*/ 6141841 w 12243467"/>
              <a:gd name="connsiteY2672" fmla="*/ 889534 h 4565177"/>
              <a:gd name="connsiteX2673" fmla="*/ 6173925 w 12243467"/>
              <a:gd name="connsiteY2673" fmla="*/ 901876 h 4565177"/>
              <a:gd name="connsiteX2674" fmla="*/ 6141841 w 12243467"/>
              <a:gd name="connsiteY2674" fmla="*/ 889534 h 4565177"/>
              <a:gd name="connsiteX2675" fmla="*/ 1775592 w 12243467"/>
              <a:gd name="connsiteY2675" fmla="*/ 883566 h 4565177"/>
              <a:gd name="connsiteX2676" fmla="*/ 1772273 w 12243467"/>
              <a:gd name="connsiteY2676" fmla="*/ 913103 h 4565177"/>
              <a:gd name="connsiteX2677" fmla="*/ 1760656 w 12243467"/>
              <a:gd name="connsiteY2677" fmla="*/ 922307 h 4565177"/>
              <a:gd name="connsiteX2678" fmla="*/ 1760933 w 12243467"/>
              <a:gd name="connsiteY2678" fmla="*/ 913811 h 4565177"/>
              <a:gd name="connsiteX2679" fmla="*/ 1737975 w 12243467"/>
              <a:gd name="connsiteY2679" fmla="*/ 926354 h 4565177"/>
              <a:gd name="connsiteX2680" fmla="*/ 1731061 w 12243467"/>
              <a:gd name="connsiteY2680" fmla="*/ 952350 h 4565177"/>
              <a:gd name="connsiteX2681" fmla="*/ 1721934 w 12243467"/>
              <a:gd name="connsiteY2681" fmla="*/ 946179 h 4565177"/>
              <a:gd name="connsiteX2682" fmla="*/ 1717508 w 12243467"/>
              <a:gd name="connsiteY2682" fmla="*/ 959734 h 4565177"/>
              <a:gd name="connsiteX2683" fmla="*/ 1708381 w 12243467"/>
              <a:gd name="connsiteY2683" fmla="*/ 956396 h 4565177"/>
              <a:gd name="connsiteX2684" fmla="*/ 1713360 w 12243467"/>
              <a:gd name="connsiteY2684" fmla="*/ 970254 h 4565177"/>
              <a:gd name="connsiteX2685" fmla="*/ 1694827 w 12243467"/>
              <a:gd name="connsiteY2685" fmla="*/ 966612 h 4565177"/>
              <a:gd name="connsiteX2686" fmla="*/ 1689573 w 12243467"/>
              <a:gd name="connsiteY2686" fmla="*/ 958318 h 4565177"/>
              <a:gd name="connsiteX2687" fmla="*/ 1775592 w 12243467"/>
              <a:gd name="connsiteY2687" fmla="*/ 883566 h 4565177"/>
              <a:gd name="connsiteX2688" fmla="*/ 2992035 w 12243467"/>
              <a:gd name="connsiteY2688" fmla="*/ 879925 h 4565177"/>
              <a:gd name="connsiteX2689" fmla="*/ 2922611 w 12243467"/>
              <a:gd name="connsiteY2689" fmla="*/ 945674 h 4565177"/>
              <a:gd name="connsiteX2690" fmla="*/ 2922887 w 12243467"/>
              <a:gd name="connsiteY2690" fmla="*/ 964589 h 4565177"/>
              <a:gd name="connsiteX2691" fmla="*/ 2905461 w 12243467"/>
              <a:gd name="connsiteY2691" fmla="*/ 975615 h 4565177"/>
              <a:gd name="connsiteX2692" fmla="*/ 2901037 w 12243467"/>
              <a:gd name="connsiteY2692" fmla="*/ 978649 h 4565177"/>
              <a:gd name="connsiteX2693" fmla="*/ 2894675 w 12243467"/>
              <a:gd name="connsiteY2693" fmla="*/ 990585 h 4565177"/>
              <a:gd name="connsiteX2694" fmla="*/ 2890803 w 12243467"/>
              <a:gd name="connsiteY2694" fmla="*/ 995643 h 4565177"/>
              <a:gd name="connsiteX2695" fmla="*/ 2895229 w 12243467"/>
              <a:gd name="connsiteY2695" fmla="*/ 1001105 h 4565177"/>
              <a:gd name="connsiteX2696" fmla="*/ 2885825 w 12243467"/>
              <a:gd name="connsiteY2696" fmla="*/ 1001914 h 4565177"/>
              <a:gd name="connsiteX2697" fmla="*/ 2859825 w 12243467"/>
              <a:gd name="connsiteY2697" fmla="*/ 1035092 h 4565177"/>
              <a:gd name="connsiteX2698" fmla="*/ 2846549 w 12243467"/>
              <a:gd name="connsiteY2698" fmla="*/ 1055121 h 4565177"/>
              <a:gd name="connsiteX2699" fmla="*/ 2848485 w 12243467"/>
              <a:gd name="connsiteY2699" fmla="*/ 1058256 h 4565177"/>
              <a:gd name="connsiteX2700" fmla="*/ 2872825 w 12243467"/>
              <a:gd name="connsiteY2700" fmla="*/ 1020122 h 4565177"/>
              <a:gd name="connsiteX2701" fmla="*/ 2902697 w 12243467"/>
              <a:gd name="connsiteY2701" fmla="*/ 1005050 h 4565177"/>
              <a:gd name="connsiteX2702" fmla="*/ 2927313 w 12243467"/>
              <a:gd name="connsiteY2702" fmla="*/ 969141 h 4565177"/>
              <a:gd name="connsiteX2703" fmla="*/ 1800209 w 12243467"/>
              <a:gd name="connsiteY2703" fmla="*/ 861211 h 4565177"/>
              <a:gd name="connsiteX2704" fmla="*/ 1791911 w 12243467"/>
              <a:gd name="connsiteY2704" fmla="*/ 879014 h 4565177"/>
              <a:gd name="connsiteX2705" fmla="*/ 1782506 w 12243467"/>
              <a:gd name="connsiteY2705" fmla="*/ 876384 h 4565177"/>
              <a:gd name="connsiteX2706" fmla="*/ 1800209 w 12243467"/>
              <a:gd name="connsiteY2706" fmla="*/ 861211 h 4565177"/>
              <a:gd name="connsiteX2707" fmla="*/ 3016928 w 12243467"/>
              <a:gd name="connsiteY2707" fmla="*/ 858581 h 4565177"/>
              <a:gd name="connsiteX2708" fmla="*/ 3001716 w 12243467"/>
              <a:gd name="connsiteY2708" fmla="*/ 870821 h 4565177"/>
              <a:gd name="connsiteX2709" fmla="*/ 2997567 w 12243467"/>
              <a:gd name="connsiteY2709" fmla="*/ 874665 h 4565177"/>
              <a:gd name="connsiteX2710" fmla="*/ 3004204 w 12243467"/>
              <a:gd name="connsiteY2710" fmla="*/ 870720 h 4565177"/>
              <a:gd name="connsiteX2711" fmla="*/ 3013609 w 12243467"/>
              <a:gd name="connsiteY2711" fmla="*/ 864954 h 4565177"/>
              <a:gd name="connsiteX2712" fmla="*/ 3974205 w 12243467"/>
              <a:gd name="connsiteY2712" fmla="*/ 858379 h 4565177"/>
              <a:gd name="connsiteX2713" fmla="*/ 3973100 w 12243467"/>
              <a:gd name="connsiteY2713" fmla="*/ 858784 h 4565177"/>
              <a:gd name="connsiteX2714" fmla="*/ 3973929 w 12243467"/>
              <a:gd name="connsiteY2714" fmla="*/ 858784 h 4565177"/>
              <a:gd name="connsiteX2715" fmla="*/ 3989694 w 12243467"/>
              <a:gd name="connsiteY2715" fmla="*/ 849478 h 4565177"/>
              <a:gd name="connsiteX2716" fmla="*/ 3986100 w 12243467"/>
              <a:gd name="connsiteY2716" fmla="*/ 851400 h 4565177"/>
              <a:gd name="connsiteX2717" fmla="*/ 3988866 w 12243467"/>
              <a:gd name="connsiteY2717" fmla="*/ 852917 h 4565177"/>
              <a:gd name="connsiteX2718" fmla="*/ 6043375 w 12243467"/>
              <a:gd name="connsiteY2718" fmla="*/ 839464 h 4565177"/>
              <a:gd name="connsiteX2719" fmla="*/ 6062460 w 12243467"/>
              <a:gd name="connsiteY2719" fmla="*/ 844319 h 4565177"/>
              <a:gd name="connsiteX2720" fmla="*/ 6079608 w 12243467"/>
              <a:gd name="connsiteY2720" fmla="*/ 853929 h 4565177"/>
              <a:gd name="connsiteX2721" fmla="*/ 6107821 w 12243467"/>
              <a:gd name="connsiteY2721" fmla="*/ 867180 h 4565177"/>
              <a:gd name="connsiteX2722" fmla="*/ 6111969 w 12243467"/>
              <a:gd name="connsiteY2722" fmla="*/ 875069 h 4565177"/>
              <a:gd name="connsiteX2723" fmla="*/ 6013227 w 12243467"/>
              <a:gd name="connsiteY2723" fmla="*/ 845533 h 4565177"/>
              <a:gd name="connsiteX2724" fmla="*/ 6041716 w 12243467"/>
              <a:gd name="connsiteY2724" fmla="*/ 847050 h 4565177"/>
              <a:gd name="connsiteX2725" fmla="*/ 6043375 w 12243467"/>
              <a:gd name="connsiteY2725" fmla="*/ 839464 h 4565177"/>
              <a:gd name="connsiteX2726" fmla="*/ 6061630 w 12243467"/>
              <a:gd name="connsiteY2726" fmla="*/ 833294 h 4565177"/>
              <a:gd name="connsiteX2727" fmla="*/ 6092332 w 12243467"/>
              <a:gd name="connsiteY2727" fmla="*/ 841790 h 4565177"/>
              <a:gd name="connsiteX2728" fmla="*/ 6082374 w 12243467"/>
              <a:gd name="connsiteY2728" fmla="*/ 843410 h 4565177"/>
              <a:gd name="connsiteX2729" fmla="*/ 6061630 w 12243467"/>
              <a:gd name="connsiteY2729" fmla="*/ 833294 h 4565177"/>
              <a:gd name="connsiteX2730" fmla="*/ 5758211 w 12243467"/>
              <a:gd name="connsiteY2730" fmla="*/ 831877 h 4565177"/>
              <a:gd name="connsiteX2731" fmla="*/ 5758764 w 12243467"/>
              <a:gd name="connsiteY2731" fmla="*/ 840375 h 4565177"/>
              <a:gd name="connsiteX2732" fmla="*/ 5755168 w 12243467"/>
              <a:gd name="connsiteY2732" fmla="*/ 841589 h 4565177"/>
              <a:gd name="connsiteX2733" fmla="*/ 5748807 w 12243467"/>
              <a:gd name="connsiteY2733" fmla="*/ 834912 h 4565177"/>
              <a:gd name="connsiteX2734" fmla="*/ 5758211 w 12243467"/>
              <a:gd name="connsiteY2734" fmla="*/ 831877 h 4565177"/>
              <a:gd name="connsiteX2735" fmla="*/ 5934676 w 12243467"/>
              <a:gd name="connsiteY2735" fmla="*/ 820852 h 4565177"/>
              <a:gd name="connsiteX2736" fmla="*/ 6002163 w 12243467"/>
              <a:gd name="connsiteY2736" fmla="*/ 836227 h 4565177"/>
              <a:gd name="connsiteX2737" fmla="*/ 5993866 w 12243467"/>
              <a:gd name="connsiteY2737" fmla="*/ 837744 h 4565177"/>
              <a:gd name="connsiteX2738" fmla="*/ 5986121 w 12243467"/>
              <a:gd name="connsiteY2738" fmla="*/ 837441 h 4565177"/>
              <a:gd name="connsiteX2739" fmla="*/ 5934676 w 12243467"/>
              <a:gd name="connsiteY2739" fmla="*/ 820852 h 4565177"/>
              <a:gd name="connsiteX2740" fmla="*/ 1901441 w 12243467"/>
              <a:gd name="connsiteY2740" fmla="*/ 814378 h 4565177"/>
              <a:gd name="connsiteX2741" fmla="*/ 1887887 w 12243467"/>
              <a:gd name="connsiteY2741" fmla="*/ 824392 h 4565177"/>
              <a:gd name="connsiteX2742" fmla="*/ 1878484 w 12243467"/>
              <a:gd name="connsiteY2742" fmla="*/ 823987 h 4565177"/>
              <a:gd name="connsiteX2743" fmla="*/ 1901441 w 12243467"/>
              <a:gd name="connsiteY2743" fmla="*/ 814378 h 4565177"/>
              <a:gd name="connsiteX2744" fmla="*/ 6026261 w 12243467"/>
              <a:gd name="connsiteY2744" fmla="*/ 810699 h 4565177"/>
              <a:gd name="connsiteX2745" fmla="*/ 6032035 w 12243467"/>
              <a:gd name="connsiteY2745" fmla="*/ 813164 h 4565177"/>
              <a:gd name="connsiteX2746" fmla="*/ 6030099 w 12243467"/>
              <a:gd name="connsiteY2746" fmla="*/ 823786 h 4565177"/>
              <a:gd name="connsiteX2747" fmla="*/ 6025397 w 12243467"/>
              <a:gd name="connsiteY2747" fmla="*/ 824796 h 4565177"/>
              <a:gd name="connsiteX2748" fmla="*/ 6016822 w 12243467"/>
              <a:gd name="connsiteY2748" fmla="*/ 819233 h 4565177"/>
              <a:gd name="connsiteX2749" fmla="*/ 6020696 w 12243467"/>
              <a:gd name="connsiteY2749" fmla="*/ 812557 h 4565177"/>
              <a:gd name="connsiteX2750" fmla="*/ 6026261 w 12243467"/>
              <a:gd name="connsiteY2750" fmla="*/ 810699 h 4565177"/>
              <a:gd name="connsiteX2751" fmla="*/ 1902824 w 12243467"/>
              <a:gd name="connsiteY2751" fmla="*/ 788685 h 4565177"/>
              <a:gd name="connsiteX2752" fmla="*/ 1853591 w 12243467"/>
              <a:gd name="connsiteY2752" fmla="*/ 834912 h 4565177"/>
              <a:gd name="connsiteX2753" fmla="*/ 1849165 w 12243467"/>
              <a:gd name="connsiteY2753" fmla="*/ 851400 h 4565177"/>
              <a:gd name="connsiteX2754" fmla="*/ 1849441 w 12243467"/>
              <a:gd name="connsiteY2754" fmla="*/ 848567 h 4565177"/>
              <a:gd name="connsiteX2755" fmla="*/ 1832845 w 12243467"/>
              <a:gd name="connsiteY2755" fmla="*/ 837946 h 4565177"/>
              <a:gd name="connsiteX2756" fmla="*/ 1902824 w 12243467"/>
              <a:gd name="connsiteY2756" fmla="*/ 788685 h 4565177"/>
              <a:gd name="connsiteX2757" fmla="*/ 5923889 w 12243467"/>
              <a:gd name="connsiteY2757" fmla="*/ 786561 h 4565177"/>
              <a:gd name="connsiteX2758" fmla="*/ 5976995 w 12243467"/>
              <a:gd name="connsiteY2758" fmla="*/ 804971 h 4565177"/>
              <a:gd name="connsiteX2759" fmla="*/ 5976995 w 12243467"/>
              <a:gd name="connsiteY2759" fmla="*/ 799205 h 4565177"/>
              <a:gd name="connsiteX2760" fmla="*/ 5986674 w 12243467"/>
              <a:gd name="connsiteY2760" fmla="*/ 807398 h 4565177"/>
              <a:gd name="connsiteX2761" fmla="*/ 5923889 w 12243467"/>
              <a:gd name="connsiteY2761" fmla="*/ 786561 h 4565177"/>
              <a:gd name="connsiteX2762" fmla="*/ 1927440 w 12243467"/>
              <a:gd name="connsiteY2762" fmla="*/ 786359 h 4565177"/>
              <a:gd name="connsiteX2763" fmla="*/ 1925227 w 12243467"/>
              <a:gd name="connsiteY2763" fmla="*/ 795968 h 4565177"/>
              <a:gd name="connsiteX2764" fmla="*/ 1927440 w 12243467"/>
              <a:gd name="connsiteY2764" fmla="*/ 786359 h 4565177"/>
              <a:gd name="connsiteX2765" fmla="*/ 6269902 w 12243467"/>
              <a:gd name="connsiteY2765" fmla="*/ 764105 h 4565177"/>
              <a:gd name="connsiteX2766" fmla="*/ 6294519 w 12243467"/>
              <a:gd name="connsiteY2766" fmla="*/ 775131 h 4565177"/>
              <a:gd name="connsiteX2767" fmla="*/ 6269902 w 12243467"/>
              <a:gd name="connsiteY2767" fmla="*/ 764105 h 4565177"/>
              <a:gd name="connsiteX2768" fmla="*/ 6095097 w 12243467"/>
              <a:gd name="connsiteY2768" fmla="*/ 753484 h 4565177"/>
              <a:gd name="connsiteX2769" fmla="*/ 6097587 w 12243467"/>
              <a:gd name="connsiteY2769" fmla="*/ 760261 h 4565177"/>
              <a:gd name="connsiteX2770" fmla="*/ 6106991 w 12243467"/>
              <a:gd name="connsiteY2770" fmla="*/ 760261 h 4565177"/>
              <a:gd name="connsiteX2771" fmla="*/ 6098416 w 12243467"/>
              <a:gd name="connsiteY2771" fmla="*/ 764004 h 4565177"/>
              <a:gd name="connsiteX2772" fmla="*/ 6086523 w 12243467"/>
              <a:gd name="connsiteY2772" fmla="*/ 761981 h 4565177"/>
              <a:gd name="connsiteX2773" fmla="*/ 6093991 w 12243467"/>
              <a:gd name="connsiteY2773" fmla="*/ 760767 h 4565177"/>
              <a:gd name="connsiteX2774" fmla="*/ 6095097 w 12243467"/>
              <a:gd name="connsiteY2774" fmla="*/ 753484 h 4565177"/>
              <a:gd name="connsiteX2775" fmla="*/ 6236435 w 12243467"/>
              <a:gd name="connsiteY2775" fmla="*/ 747617 h 4565177"/>
              <a:gd name="connsiteX2776" fmla="*/ 6247775 w 12243467"/>
              <a:gd name="connsiteY2776" fmla="*/ 753788 h 4565177"/>
              <a:gd name="connsiteX2777" fmla="*/ 6241967 w 12243467"/>
              <a:gd name="connsiteY2777" fmla="*/ 754698 h 4565177"/>
              <a:gd name="connsiteX2778" fmla="*/ 6236435 w 12243467"/>
              <a:gd name="connsiteY2778" fmla="*/ 753282 h 4565177"/>
              <a:gd name="connsiteX2779" fmla="*/ 6236435 w 12243467"/>
              <a:gd name="connsiteY2779" fmla="*/ 747617 h 4565177"/>
              <a:gd name="connsiteX2780" fmla="*/ 6009631 w 12243467"/>
              <a:gd name="connsiteY2780" fmla="*/ 747415 h 4565177"/>
              <a:gd name="connsiteX2781" fmla="*/ 6026226 w 12243467"/>
              <a:gd name="connsiteY2781" fmla="*/ 756822 h 4565177"/>
              <a:gd name="connsiteX2782" fmla="*/ 6004376 w 12243467"/>
              <a:gd name="connsiteY2782" fmla="*/ 755608 h 4565177"/>
              <a:gd name="connsiteX2783" fmla="*/ 6009631 w 12243467"/>
              <a:gd name="connsiteY2783" fmla="*/ 747415 h 4565177"/>
              <a:gd name="connsiteX2784" fmla="*/ 5977270 w 12243467"/>
              <a:gd name="connsiteY2784" fmla="*/ 740435 h 4565177"/>
              <a:gd name="connsiteX2785" fmla="*/ 5973674 w 12243467"/>
              <a:gd name="connsiteY2785" fmla="*/ 749640 h 4565177"/>
              <a:gd name="connsiteX2786" fmla="*/ 5968144 w 12243467"/>
              <a:gd name="connsiteY2786" fmla="*/ 746505 h 4565177"/>
              <a:gd name="connsiteX2787" fmla="*/ 5967590 w 12243467"/>
              <a:gd name="connsiteY2787" fmla="*/ 743672 h 4565177"/>
              <a:gd name="connsiteX2788" fmla="*/ 5977270 w 12243467"/>
              <a:gd name="connsiteY2788" fmla="*/ 740435 h 4565177"/>
              <a:gd name="connsiteX2789" fmla="*/ 6211265 w 12243467"/>
              <a:gd name="connsiteY2789" fmla="*/ 736693 h 4565177"/>
              <a:gd name="connsiteX2790" fmla="*/ 6228690 w 12243467"/>
              <a:gd name="connsiteY2790" fmla="*/ 743571 h 4565177"/>
              <a:gd name="connsiteX2791" fmla="*/ 6225095 w 12243467"/>
              <a:gd name="connsiteY2791" fmla="*/ 744886 h 4565177"/>
              <a:gd name="connsiteX2792" fmla="*/ 6222052 w 12243467"/>
              <a:gd name="connsiteY2792" fmla="*/ 744481 h 4565177"/>
              <a:gd name="connsiteX2793" fmla="*/ 6211265 w 12243467"/>
              <a:gd name="connsiteY2793" fmla="*/ 742560 h 4565177"/>
              <a:gd name="connsiteX2794" fmla="*/ 6211265 w 12243467"/>
              <a:gd name="connsiteY2794" fmla="*/ 736693 h 4565177"/>
              <a:gd name="connsiteX2795" fmla="*/ 6046418 w 12243467"/>
              <a:gd name="connsiteY2795" fmla="*/ 731332 h 4565177"/>
              <a:gd name="connsiteX2796" fmla="*/ 6080991 w 12243467"/>
              <a:gd name="connsiteY2796" fmla="*/ 753484 h 4565177"/>
              <a:gd name="connsiteX2797" fmla="*/ 6066332 w 12243467"/>
              <a:gd name="connsiteY2797" fmla="*/ 753585 h 4565177"/>
              <a:gd name="connsiteX2798" fmla="*/ 6026226 w 12243467"/>
              <a:gd name="connsiteY2798" fmla="*/ 736592 h 4565177"/>
              <a:gd name="connsiteX2799" fmla="*/ 6046418 w 12243467"/>
              <a:gd name="connsiteY2799" fmla="*/ 731332 h 4565177"/>
              <a:gd name="connsiteX2800" fmla="*/ 6121097 w 12243467"/>
              <a:gd name="connsiteY2800" fmla="*/ 728499 h 4565177"/>
              <a:gd name="connsiteX2801" fmla="*/ 6155394 w 12243467"/>
              <a:gd name="connsiteY2801" fmla="*/ 742155 h 4565177"/>
              <a:gd name="connsiteX2802" fmla="*/ 6146266 w 12243467"/>
              <a:gd name="connsiteY2802" fmla="*/ 751056 h 4565177"/>
              <a:gd name="connsiteX2803" fmla="*/ 6108374 w 12243467"/>
              <a:gd name="connsiteY2803" fmla="*/ 743875 h 4565177"/>
              <a:gd name="connsiteX2804" fmla="*/ 6108097 w 12243467"/>
              <a:gd name="connsiteY2804" fmla="*/ 732546 h 4565177"/>
              <a:gd name="connsiteX2805" fmla="*/ 6108650 w 12243467"/>
              <a:gd name="connsiteY2805" fmla="*/ 730624 h 4565177"/>
              <a:gd name="connsiteX2806" fmla="*/ 6121097 w 12243467"/>
              <a:gd name="connsiteY2806" fmla="*/ 728499 h 4565177"/>
              <a:gd name="connsiteX2807" fmla="*/ 3010289 w 12243467"/>
              <a:gd name="connsiteY2807" fmla="*/ 727791 h 4565177"/>
              <a:gd name="connsiteX2808" fmla="*/ 3003929 w 12243467"/>
              <a:gd name="connsiteY2808" fmla="*/ 733051 h 4565177"/>
              <a:gd name="connsiteX2809" fmla="*/ 3012503 w 12243467"/>
              <a:gd name="connsiteY2809" fmla="*/ 729511 h 4565177"/>
              <a:gd name="connsiteX2810" fmla="*/ 2036969 w 12243467"/>
              <a:gd name="connsiteY2810" fmla="*/ 718081 h 4565177"/>
              <a:gd name="connsiteX2811" fmla="*/ 2025076 w 12243467"/>
              <a:gd name="connsiteY2811" fmla="*/ 727184 h 4565177"/>
              <a:gd name="connsiteX2812" fmla="*/ 2010140 w 12243467"/>
              <a:gd name="connsiteY2812" fmla="*/ 730219 h 4565177"/>
              <a:gd name="connsiteX2813" fmla="*/ 2036969 w 12243467"/>
              <a:gd name="connsiteY2813" fmla="*/ 718081 h 4565177"/>
              <a:gd name="connsiteX2814" fmla="*/ 3024672 w 12243467"/>
              <a:gd name="connsiteY2814" fmla="*/ 715754 h 4565177"/>
              <a:gd name="connsiteX2815" fmla="*/ 3017480 w 12243467"/>
              <a:gd name="connsiteY2815" fmla="*/ 721722 h 4565177"/>
              <a:gd name="connsiteX2816" fmla="*/ 3020523 w 12243467"/>
              <a:gd name="connsiteY2816" fmla="*/ 722430 h 4565177"/>
              <a:gd name="connsiteX2817" fmla="*/ 3024672 w 12243467"/>
              <a:gd name="connsiteY2817" fmla="*/ 715754 h 4565177"/>
              <a:gd name="connsiteX2818" fmla="*/ 5703100 w 12243467"/>
              <a:gd name="connsiteY2818" fmla="*/ 715388 h 4565177"/>
              <a:gd name="connsiteX2819" fmla="*/ 5715063 w 12243467"/>
              <a:gd name="connsiteY2819" fmla="*/ 716665 h 4565177"/>
              <a:gd name="connsiteX2820" fmla="*/ 5704552 w 12243467"/>
              <a:gd name="connsiteY2820" fmla="*/ 722734 h 4565177"/>
              <a:gd name="connsiteX2821" fmla="*/ 5692382 w 12243467"/>
              <a:gd name="connsiteY2821" fmla="*/ 721318 h 4565177"/>
              <a:gd name="connsiteX2822" fmla="*/ 5703100 w 12243467"/>
              <a:gd name="connsiteY2822" fmla="*/ 715388 h 4565177"/>
              <a:gd name="connsiteX2823" fmla="*/ 6148756 w 12243467"/>
              <a:gd name="connsiteY2823" fmla="*/ 712618 h 4565177"/>
              <a:gd name="connsiteX2824" fmla="*/ 6185266 w 12243467"/>
              <a:gd name="connsiteY2824" fmla="*/ 727387 h 4565177"/>
              <a:gd name="connsiteX2825" fmla="*/ 6196882 w 12243467"/>
              <a:gd name="connsiteY2825" fmla="*/ 730927 h 4565177"/>
              <a:gd name="connsiteX2826" fmla="*/ 6192734 w 12243467"/>
              <a:gd name="connsiteY2826" fmla="*/ 731534 h 4565177"/>
              <a:gd name="connsiteX2827" fmla="*/ 6187202 w 12243467"/>
              <a:gd name="connsiteY2827" fmla="*/ 731332 h 4565177"/>
              <a:gd name="connsiteX2828" fmla="*/ 6150969 w 12243467"/>
              <a:gd name="connsiteY2828" fmla="*/ 716563 h 4565177"/>
              <a:gd name="connsiteX2829" fmla="*/ 6148756 w 12243467"/>
              <a:gd name="connsiteY2829" fmla="*/ 712618 h 4565177"/>
              <a:gd name="connsiteX2830" fmla="*/ 6506663 w 12243467"/>
              <a:gd name="connsiteY2830" fmla="*/ 710798 h 4565177"/>
              <a:gd name="connsiteX2831" fmla="*/ 6529897 w 12243467"/>
              <a:gd name="connsiteY2831" fmla="*/ 726476 h 4565177"/>
              <a:gd name="connsiteX2832" fmla="*/ 6514684 w 12243467"/>
              <a:gd name="connsiteY2832" fmla="*/ 720610 h 4565177"/>
              <a:gd name="connsiteX2833" fmla="*/ 6506663 w 12243467"/>
              <a:gd name="connsiteY2833" fmla="*/ 710798 h 4565177"/>
              <a:gd name="connsiteX2834" fmla="*/ 6044205 w 12243467"/>
              <a:gd name="connsiteY2834" fmla="*/ 710595 h 4565177"/>
              <a:gd name="connsiteX2835" fmla="*/ 6046695 w 12243467"/>
              <a:gd name="connsiteY2835" fmla="*/ 722936 h 4565177"/>
              <a:gd name="connsiteX2836" fmla="*/ 6037290 w 12243467"/>
              <a:gd name="connsiteY2836" fmla="*/ 723138 h 4565177"/>
              <a:gd name="connsiteX2837" fmla="*/ 6044205 w 12243467"/>
              <a:gd name="connsiteY2837" fmla="*/ 710595 h 4565177"/>
              <a:gd name="connsiteX2838" fmla="*/ 6085417 w 12243467"/>
              <a:gd name="connsiteY2838" fmla="*/ 707965 h 4565177"/>
              <a:gd name="connsiteX2839" fmla="*/ 6109757 w 12243467"/>
              <a:gd name="connsiteY2839" fmla="*/ 718789 h 4565177"/>
              <a:gd name="connsiteX2840" fmla="*/ 6102289 w 12243467"/>
              <a:gd name="connsiteY2840" fmla="*/ 723239 h 4565177"/>
              <a:gd name="connsiteX2841" fmla="*/ 6089289 w 12243467"/>
              <a:gd name="connsiteY2841" fmla="*/ 718586 h 4565177"/>
              <a:gd name="connsiteX2842" fmla="*/ 6098693 w 12243467"/>
              <a:gd name="connsiteY2842" fmla="*/ 726679 h 4565177"/>
              <a:gd name="connsiteX2843" fmla="*/ 6084034 w 12243467"/>
              <a:gd name="connsiteY2843" fmla="*/ 729713 h 4565177"/>
              <a:gd name="connsiteX2844" fmla="*/ 6056375 w 12243467"/>
              <a:gd name="connsiteY2844" fmla="*/ 733658 h 4565177"/>
              <a:gd name="connsiteX2845" fmla="*/ 6059694 w 12243467"/>
              <a:gd name="connsiteY2845" fmla="*/ 718789 h 4565177"/>
              <a:gd name="connsiteX2846" fmla="*/ 6083757 w 12243467"/>
              <a:gd name="connsiteY2846" fmla="*/ 718384 h 4565177"/>
              <a:gd name="connsiteX2847" fmla="*/ 6085417 w 12243467"/>
              <a:gd name="connsiteY2847" fmla="*/ 707965 h 4565177"/>
              <a:gd name="connsiteX2848" fmla="*/ 5493239 w 12243467"/>
              <a:gd name="connsiteY2848" fmla="*/ 705437 h 4565177"/>
              <a:gd name="connsiteX2849" fmla="*/ 5493791 w 12243467"/>
              <a:gd name="connsiteY2849" fmla="*/ 713933 h 4565177"/>
              <a:gd name="connsiteX2850" fmla="*/ 5486877 w 12243467"/>
              <a:gd name="connsiteY2850" fmla="*/ 715451 h 4565177"/>
              <a:gd name="connsiteX2851" fmla="*/ 5479408 w 12243467"/>
              <a:gd name="connsiteY2851" fmla="*/ 714035 h 4565177"/>
              <a:gd name="connsiteX2852" fmla="*/ 5470558 w 12243467"/>
              <a:gd name="connsiteY2852" fmla="*/ 706549 h 4565177"/>
              <a:gd name="connsiteX2853" fmla="*/ 5493239 w 12243467"/>
              <a:gd name="connsiteY2853" fmla="*/ 705437 h 4565177"/>
              <a:gd name="connsiteX2854" fmla="*/ 5517854 w 12243467"/>
              <a:gd name="connsiteY2854" fmla="*/ 704830 h 4565177"/>
              <a:gd name="connsiteX2855" fmla="*/ 5521450 w 12243467"/>
              <a:gd name="connsiteY2855" fmla="*/ 715653 h 4565177"/>
              <a:gd name="connsiteX2856" fmla="*/ 5508451 w 12243467"/>
              <a:gd name="connsiteY2856" fmla="*/ 714035 h 4565177"/>
              <a:gd name="connsiteX2857" fmla="*/ 5512599 w 12243467"/>
              <a:gd name="connsiteY2857" fmla="*/ 709078 h 4565177"/>
              <a:gd name="connsiteX2858" fmla="*/ 5517854 w 12243467"/>
              <a:gd name="connsiteY2858" fmla="*/ 704830 h 4565177"/>
              <a:gd name="connsiteX2859" fmla="*/ 6009909 w 12243467"/>
              <a:gd name="connsiteY2859" fmla="*/ 699873 h 4565177"/>
              <a:gd name="connsiteX2860" fmla="*/ 6020971 w 12243467"/>
              <a:gd name="connsiteY2860" fmla="*/ 703515 h 4565177"/>
              <a:gd name="connsiteX2861" fmla="*/ 6028439 w 12243467"/>
              <a:gd name="connsiteY2861" fmla="*/ 707662 h 4565177"/>
              <a:gd name="connsiteX2862" fmla="*/ 6028993 w 12243467"/>
              <a:gd name="connsiteY2862" fmla="*/ 718890 h 4565177"/>
              <a:gd name="connsiteX2863" fmla="*/ 6006589 w 12243467"/>
              <a:gd name="connsiteY2863" fmla="*/ 711910 h 4565177"/>
              <a:gd name="connsiteX2864" fmla="*/ 6004099 w 12243467"/>
              <a:gd name="connsiteY2864" fmla="*/ 705639 h 4565177"/>
              <a:gd name="connsiteX2865" fmla="*/ 6009909 w 12243467"/>
              <a:gd name="connsiteY2865" fmla="*/ 699873 h 4565177"/>
              <a:gd name="connsiteX2866" fmla="*/ 6140735 w 12243467"/>
              <a:gd name="connsiteY2866" fmla="*/ 694310 h 4565177"/>
              <a:gd name="connsiteX2867" fmla="*/ 6135203 w 12243467"/>
              <a:gd name="connsiteY2867" fmla="*/ 709280 h 4565177"/>
              <a:gd name="connsiteX2868" fmla="*/ 6109204 w 12243467"/>
              <a:gd name="connsiteY2868" fmla="*/ 696029 h 4565177"/>
              <a:gd name="connsiteX2869" fmla="*/ 6135756 w 12243467"/>
              <a:gd name="connsiteY2869" fmla="*/ 705336 h 4565177"/>
              <a:gd name="connsiteX2870" fmla="*/ 6140735 w 12243467"/>
              <a:gd name="connsiteY2870" fmla="*/ 694310 h 4565177"/>
              <a:gd name="connsiteX2871" fmla="*/ 6100076 w 12243467"/>
              <a:gd name="connsiteY2871" fmla="*/ 690871 h 4565177"/>
              <a:gd name="connsiteX2872" fmla="*/ 6100076 w 12243467"/>
              <a:gd name="connsiteY2872" fmla="*/ 699368 h 4565177"/>
              <a:gd name="connsiteX2873" fmla="*/ 6092608 w 12243467"/>
              <a:gd name="connsiteY2873" fmla="*/ 697951 h 4565177"/>
              <a:gd name="connsiteX2874" fmla="*/ 6096204 w 12243467"/>
              <a:gd name="connsiteY2874" fmla="*/ 693298 h 4565177"/>
              <a:gd name="connsiteX2875" fmla="*/ 6100076 w 12243467"/>
              <a:gd name="connsiteY2875" fmla="*/ 690871 h 4565177"/>
              <a:gd name="connsiteX2876" fmla="*/ 6073523 w 12243467"/>
              <a:gd name="connsiteY2876" fmla="*/ 687027 h 4565177"/>
              <a:gd name="connsiteX2877" fmla="*/ 6079055 w 12243467"/>
              <a:gd name="connsiteY2877" fmla="*/ 687330 h 4565177"/>
              <a:gd name="connsiteX2878" fmla="*/ 6075460 w 12243467"/>
              <a:gd name="connsiteY2878" fmla="*/ 694411 h 4565177"/>
              <a:gd name="connsiteX2879" fmla="*/ 6073523 w 12243467"/>
              <a:gd name="connsiteY2879" fmla="*/ 687027 h 4565177"/>
              <a:gd name="connsiteX2880" fmla="*/ 2668978 w 12243467"/>
              <a:gd name="connsiteY2880" fmla="*/ 684700 h 4565177"/>
              <a:gd name="connsiteX2881" fmla="*/ 2678659 w 12243467"/>
              <a:gd name="connsiteY2881" fmla="*/ 689556 h 4565177"/>
              <a:gd name="connsiteX2882" fmla="*/ 2663170 w 12243467"/>
              <a:gd name="connsiteY2882" fmla="*/ 699772 h 4565177"/>
              <a:gd name="connsiteX2883" fmla="*/ 2657084 w 12243467"/>
              <a:gd name="connsiteY2883" fmla="*/ 698963 h 4565177"/>
              <a:gd name="connsiteX2884" fmla="*/ 2668978 w 12243467"/>
              <a:gd name="connsiteY2884" fmla="*/ 684700 h 4565177"/>
              <a:gd name="connsiteX2885" fmla="*/ 6082305 w 12243467"/>
              <a:gd name="connsiteY2885" fmla="*/ 675824 h 4565177"/>
              <a:gd name="connsiteX2886" fmla="*/ 6088459 w 12243467"/>
              <a:gd name="connsiteY2886" fmla="*/ 676102 h 4565177"/>
              <a:gd name="connsiteX2887" fmla="*/ 6088736 w 12243467"/>
              <a:gd name="connsiteY2887" fmla="*/ 681868 h 4565177"/>
              <a:gd name="connsiteX2888" fmla="*/ 6084587 w 12243467"/>
              <a:gd name="connsiteY2888" fmla="*/ 682475 h 4565177"/>
              <a:gd name="connsiteX2889" fmla="*/ 6074906 w 12243467"/>
              <a:gd name="connsiteY2889" fmla="*/ 676912 h 4565177"/>
              <a:gd name="connsiteX2890" fmla="*/ 6082305 w 12243467"/>
              <a:gd name="connsiteY2890" fmla="*/ 675824 h 4565177"/>
              <a:gd name="connsiteX2891" fmla="*/ 5977339 w 12243467"/>
              <a:gd name="connsiteY2891" fmla="*/ 673460 h 4565177"/>
              <a:gd name="connsiteX2892" fmla="*/ 5989164 w 12243467"/>
              <a:gd name="connsiteY2892" fmla="*/ 676608 h 4565177"/>
              <a:gd name="connsiteX2893" fmla="*/ 5984738 w 12243467"/>
              <a:gd name="connsiteY2893" fmla="*/ 679036 h 4565177"/>
              <a:gd name="connsiteX2894" fmla="*/ 5979759 w 12243467"/>
              <a:gd name="connsiteY2894" fmla="*/ 679036 h 4565177"/>
              <a:gd name="connsiteX2895" fmla="*/ 5968419 w 12243467"/>
              <a:gd name="connsiteY2895" fmla="*/ 676305 h 4565177"/>
              <a:gd name="connsiteX2896" fmla="*/ 5977339 w 12243467"/>
              <a:gd name="connsiteY2896" fmla="*/ 673460 h 4565177"/>
              <a:gd name="connsiteX2897" fmla="*/ 2683084 w 12243467"/>
              <a:gd name="connsiteY2897" fmla="*/ 669629 h 4565177"/>
              <a:gd name="connsiteX2898" fmla="*/ 2696914 w 12243467"/>
              <a:gd name="connsiteY2898" fmla="*/ 673877 h 4565177"/>
              <a:gd name="connsiteX2899" fmla="*/ 2687510 w 12243467"/>
              <a:gd name="connsiteY2899" fmla="*/ 680755 h 4565177"/>
              <a:gd name="connsiteX2900" fmla="*/ 2684467 w 12243467"/>
              <a:gd name="connsiteY2900" fmla="*/ 675293 h 4565177"/>
              <a:gd name="connsiteX2901" fmla="*/ 2683084 w 12243467"/>
              <a:gd name="connsiteY2901" fmla="*/ 669629 h 4565177"/>
              <a:gd name="connsiteX2902" fmla="*/ 6405293 w 12243467"/>
              <a:gd name="connsiteY2902" fmla="*/ 664976 h 4565177"/>
              <a:gd name="connsiteX2903" fmla="*/ 6410686 w 12243467"/>
              <a:gd name="connsiteY2903" fmla="*/ 667909 h 4565177"/>
              <a:gd name="connsiteX2904" fmla="*/ 6404048 w 12243467"/>
              <a:gd name="connsiteY2904" fmla="*/ 670640 h 4565177"/>
              <a:gd name="connsiteX2905" fmla="*/ 6397410 w 12243467"/>
              <a:gd name="connsiteY2905" fmla="*/ 669022 h 4565177"/>
              <a:gd name="connsiteX2906" fmla="*/ 6405293 w 12243467"/>
              <a:gd name="connsiteY2906" fmla="*/ 664976 h 4565177"/>
              <a:gd name="connsiteX2907" fmla="*/ 6134373 w 12243467"/>
              <a:gd name="connsiteY2907" fmla="*/ 662649 h 4565177"/>
              <a:gd name="connsiteX2908" fmla="*/ 6164522 w 12243467"/>
              <a:gd name="connsiteY2908" fmla="*/ 673978 h 4565177"/>
              <a:gd name="connsiteX2909" fmla="*/ 6145713 w 12243467"/>
              <a:gd name="connsiteY2909" fmla="*/ 677519 h 4565177"/>
              <a:gd name="connsiteX2910" fmla="*/ 6149586 w 12243467"/>
              <a:gd name="connsiteY2910" fmla="*/ 673978 h 4565177"/>
              <a:gd name="connsiteX2911" fmla="*/ 6136586 w 12243467"/>
              <a:gd name="connsiteY2911" fmla="*/ 677923 h 4565177"/>
              <a:gd name="connsiteX2912" fmla="*/ 6125246 w 12243467"/>
              <a:gd name="connsiteY2912" fmla="*/ 674383 h 4565177"/>
              <a:gd name="connsiteX2913" fmla="*/ 6136586 w 12243467"/>
              <a:gd name="connsiteY2913" fmla="*/ 672259 h 4565177"/>
              <a:gd name="connsiteX2914" fmla="*/ 6134373 w 12243467"/>
              <a:gd name="connsiteY2914" fmla="*/ 662649 h 4565177"/>
              <a:gd name="connsiteX2915" fmla="*/ 4391856 w 12243467"/>
              <a:gd name="connsiteY2915" fmla="*/ 657693 h 4565177"/>
              <a:gd name="connsiteX2916" fmla="*/ 4373048 w 12243467"/>
              <a:gd name="connsiteY2916" fmla="*/ 666999 h 4565177"/>
              <a:gd name="connsiteX2917" fmla="*/ 4374432 w 12243467"/>
              <a:gd name="connsiteY2917" fmla="*/ 660323 h 4565177"/>
              <a:gd name="connsiteX2918" fmla="*/ 4331284 w 12243467"/>
              <a:gd name="connsiteY2918" fmla="*/ 671551 h 4565177"/>
              <a:gd name="connsiteX2919" fmla="*/ 4288135 w 12243467"/>
              <a:gd name="connsiteY2919" fmla="*/ 694006 h 4565177"/>
              <a:gd name="connsiteX2920" fmla="*/ 4287305 w 12243467"/>
              <a:gd name="connsiteY2920" fmla="*/ 687128 h 4565177"/>
              <a:gd name="connsiteX2921" fmla="*/ 4279838 w 12243467"/>
              <a:gd name="connsiteY2921" fmla="*/ 688645 h 4565177"/>
              <a:gd name="connsiteX2922" fmla="*/ 4277901 w 12243467"/>
              <a:gd name="connsiteY2922" fmla="*/ 697446 h 4565177"/>
              <a:gd name="connsiteX2923" fmla="*/ 4269050 w 12243467"/>
              <a:gd name="connsiteY2923" fmla="*/ 694209 h 4565177"/>
              <a:gd name="connsiteX2924" fmla="*/ 4131033 w 12243467"/>
              <a:gd name="connsiteY2924" fmla="*/ 744987 h 4565177"/>
              <a:gd name="connsiteX2925" fmla="*/ 4097842 w 12243467"/>
              <a:gd name="connsiteY2925" fmla="*/ 766330 h 4565177"/>
              <a:gd name="connsiteX2926" fmla="*/ 3970611 w 12243467"/>
              <a:gd name="connsiteY2926" fmla="*/ 824999 h 4565177"/>
              <a:gd name="connsiteX2927" fmla="*/ 3956228 w 12243467"/>
              <a:gd name="connsiteY2927" fmla="*/ 837036 h 4565177"/>
              <a:gd name="connsiteX2928" fmla="*/ 3918611 w 12243467"/>
              <a:gd name="connsiteY2928" fmla="*/ 855749 h 4565177"/>
              <a:gd name="connsiteX2929" fmla="*/ 3822912 w 12243467"/>
              <a:gd name="connsiteY2929" fmla="*/ 924735 h 4565177"/>
              <a:gd name="connsiteX2930" fmla="*/ 4022332 w 12243467"/>
              <a:gd name="connsiteY2930" fmla="*/ 819435 h 4565177"/>
              <a:gd name="connsiteX2931" fmla="*/ 4108906 w 12243467"/>
              <a:gd name="connsiteY2931" fmla="*/ 772096 h 4565177"/>
              <a:gd name="connsiteX2932" fmla="*/ 4117480 w 12243467"/>
              <a:gd name="connsiteY2932" fmla="*/ 777558 h 4565177"/>
              <a:gd name="connsiteX2933" fmla="*/ 4140990 w 12243467"/>
              <a:gd name="connsiteY2933" fmla="*/ 764510 h 4565177"/>
              <a:gd name="connsiteX2934" fmla="*/ 4143479 w 12243467"/>
              <a:gd name="connsiteY2934" fmla="*/ 763599 h 4565177"/>
              <a:gd name="connsiteX2935" fmla="*/ 4144033 w 12243467"/>
              <a:gd name="connsiteY2935" fmla="*/ 762385 h 4565177"/>
              <a:gd name="connsiteX2936" fmla="*/ 4153712 w 12243467"/>
              <a:gd name="connsiteY2936" fmla="*/ 759250 h 4565177"/>
              <a:gd name="connsiteX2937" fmla="*/ 4160904 w 12243467"/>
              <a:gd name="connsiteY2937" fmla="*/ 752877 h 4565177"/>
              <a:gd name="connsiteX2938" fmla="*/ 4167818 w 12243467"/>
              <a:gd name="connsiteY2938" fmla="*/ 753585 h 4565177"/>
              <a:gd name="connsiteX2939" fmla="*/ 4194094 w 12243467"/>
              <a:gd name="connsiteY2939" fmla="*/ 745493 h 4565177"/>
              <a:gd name="connsiteX2940" fmla="*/ 4201839 w 12243467"/>
              <a:gd name="connsiteY2940" fmla="*/ 740739 h 4565177"/>
              <a:gd name="connsiteX2941" fmla="*/ 4227562 w 12243467"/>
              <a:gd name="connsiteY2941" fmla="*/ 733254 h 4565177"/>
              <a:gd name="connsiteX2942" fmla="*/ 4305285 w 12243467"/>
              <a:gd name="connsiteY2942" fmla="*/ 697951 h 4565177"/>
              <a:gd name="connsiteX2943" fmla="*/ 4362814 w 12243467"/>
              <a:gd name="connsiteY2943" fmla="*/ 673877 h 4565177"/>
              <a:gd name="connsiteX2944" fmla="*/ 4392963 w 12243467"/>
              <a:gd name="connsiteY2944" fmla="*/ 673776 h 4565177"/>
              <a:gd name="connsiteX2945" fmla="*/ 4396559 w 12243467"/>
              <a:gd name="connsiteY2945" fmla="*/ 667302 h 4565177"/>
              <a:gd name="connsiteX2946" fmla="*/ 4393239 w 12243467"/>
              <a:gd name="connsiteY2946" fmla="*/ 661941 h 4565177"/>
              <a:gd name="connsiteX2947" fmla="*/ 4395452 w 12243467"/>
              <a:gd name="connsiteY2947" fmla="*/ 659412 h 4565177"/>
              <a:gd name="connsiteX2948" fmla="*/ 4419515 w 12243467"/>
              <a:gd name="connsiteY2948" fmla="*/ 651219 h 4565177"/>
              <a:gd name="connsiteX2949" fmla="*/ 4412047 w 12243467"/>
              <a:gd name="connsiteY2949" fmla="*/ 654759 h 4565177"/>
              <a:gd name="connsiteX2950" fmla="*/ 4404579 w 12243467"/>
              <a:gd name="connsiteY2950" fmla="*/ 660222 h 4565177"/>
              <a:gd name="connsiteX2951" fmla="*/ 4407622 w 12243467"/>
              <a:gd name="connsiteY2951" fmla="*/ 662245 h 4565177"/>
              <a:gd name="connsiteX2952" fmla="*/ 4415366 w 12243467"/>
              <a:gd name="connsiteY2952" fmla="*/ 657794 h 4565177"/>
              <a:gd name="connsiteX2953" fmla="*/ 6096549 w 12243467"/>
              <a:gd name="connsiteY2953" fmla="*/ 649158 h 4565177"/>
              <a:gd name="connsiteX2954" fmla="*/ 6111969 w 12243467"/>
              <a:gd name="connsiteY2954" fmla="*/ 655063 h 4565177"/>
              <a:gd name="connsiteX2955" fmla="*/ 6127182 w 12243467"/>
              <a:gd name="connsiteY2955" fmla="*/ 666493 h 4565177"/>
              <a:gd name="connsiteX2956" fmla="*/ 6091502 w 12243467"/>
              <a:gd name="connsiteY2956" fmla="*/ 660727 h 4565177"/>
              <a:gd name="connsiteX2957" fmla="*/ 6078225 w 12243467"/>
              <a:gd name="connsiteY2957" fmla="*/ 650309 h 4565177"/>
              <a:gd name="connsiteX2958" fmla="*/ 6096549 w 12243467"/>
              <a:gd name="connsiteY2958" fmla="*/ 649158 h 4565177"/>
              <a:gd name="connsiteX2959" fmla="*/ 6348177 w 12243467"/>
              <a:gd name="connsiteY2959" fmla="*/ 643734 h 4565177"/>
              <a:gd name="connsiteX2960" fmla="*/ 6366985 w 12243467"/>
              <a:gd name="connsiteY2960" fmla="*/ 657187 h 4565177"/>
              <a:gd name="connsiteX2961" fmla="*/ 6350113 w 12243467"/>
              <a:gd name="connsiteY2961" fmla="*/ 650511 h 4565177"/>
              <a:gd name="connsiteX2962" fmla="*/ 6348177 w 12243467"/>
              <a:gd name="connsiteY2962" fmla="*/ 643734 h 4565177"/>
              <a:gd name="connsiteX2963" fmla="*/ 6316923 w 12243467"/>
              <a:gd name="connsiteY2963" fmla="*/ 615209 h 4565177"/>
              <a:gd name="connsiteX2964" fmla="*/ 6400729 w 12243467"/>
              <a:gd name="connsiteY2964" fmla="*/ 651017 h 4565177"/>
              <a:gd name="connsiteX2965" fmla="*/ 6326880 w 12243467"/>
              <a:gd name="connsiteY2965" fmla="*/ 629269 h 4565177"/>
              <a:gd name="connsiteX2966" fmla="*/ 6304200 w 12243467"/>
              <a:gd name="connsiteY2966" fmla="*/ 630685 h 4565177"/>
              <a:gd name="connsiteX2967" fmla="*/ 6308072 w 12243467"/>
              <a:gd name="connsiteY2967" fmla="*/ 629977 h 4565177"/>
              <a:gd name="connsiteX2968" fmla="*/ 6316923 w 12243467"/>
              <a:gd name="connsiteY2968" fmla="*/ 615209 h 4565177"/>
              <a:gd name="connsiteX2969" fmla="*/ 2963270 w 12243467"/>
              <a:gd name="connsiteY2969" fmla="*/ 601149 h 4565177"/>
              <a:gd name="connsiteX2970" fmla="*/ 2972950 w 12243467"/>
              <a:gd name="connsiteY2970" fmla="*/ 605802 h 4565177"/>
              <a:gd name="connsiteX2971" fmla="*/ 2971844 w 12243467"/>
              <a:gd name="connsiteY2971" fmla="*/ 608533 h 4565177"/>
              <a:gd name="connsiteX2972" fmla="*/ 2961057 w 12243467"/>
              <a:gd name="connsiteY2972" fmla="*/ 608432 h 4565177"/>
              <a:gd name="connsiteX2973" fmla="*/ 2963270 w 12243467"/>
              <a:gd name="connsiteY2973" fmla="*/ 601149 h 4565177"/>
              <a:gd name="connsiteX2974" fmla="*/ 6253030 w 12243467"/>
              <a:gd name="connsiteY2974" fmla="*/ 590325 h 4565177"/>
              <a:gd name="connsiteX2975" fmla="*/ 6277647 w 12243467"/>
              <a:gd name="connsiteY2975" fmla="*/ 598519 h 4565177"/>
              <a:gd name="connsiteX2976" fmla="*/ 6270179 w 12243467"/>
              <a:gd name="connsiteY2976" fmla="*/ 602362 h 4565177"/>
              <a:gd name="connsiteX2977" fmla="*/ 6259945 w 12243467"/>
              <a:gd name="connsiteY2977" fmla="*/ 601958 h 4565177"/>
              <a:gd name="connsiteX2978" fmla="*/ 6253030 w 12243467"/>
              <a:gd name="connsiteY2978" fmla="*/ 590325 h 4565177"/>
              <a:gd name="connsiteX2979" fmla="*/ 6128012 w 12243467"/>
              <a:gd name="connsiteY2979" fmla="*/ 578187 h 4565177"/>
              <a:gd name="connsiteX2980" fmla="*/ 6129118 w 12243467"/>
              <a:gd name="connsiteY2980" fmla="*/ 580716 h 4565177"/>
              <a:gd name="connsiteX2981" fmla="*/ 6212095 w 12243467"/>
              <a:gd name="connsiteY2981" fmla="*/ 604689 h 4565177"/>
              <a:gd name="connsiteX2982" fmla="*/ 6205733 w 12243467"/>
              <a:gd name="connsiteY2982" fmla="*/ 606206 h 4565177"/>
              <a:gd name="connsiteX2983" fmla="*/ 6199372 w 12243467"/>
              <a:gd name="connsiteY2983" fmla="*/ 605700 h 4565177"/>
              <a:gd name="connsiteX2984" fmla="*/ 6159543 w 12243467"/>
              <a:gd name="connsiteY2984" fmla="*/ 600542 h 4565177"/>
              <a:gd name="connsiteX2985" fmla="*/ 6125522 w 12243467"/>
              <a:gd name="connsiteY2985" fmla="*/ 581323 h 4565177"/>
              <a:gd name="connsiteX2986" fmla="*/ 6128012 w 12243467"/>
              <a:gd name="connsiteY2986" fmla="*/ 578187 h 4565177"/>
              <a:gd name="connsiteX2987" fmla="*/ 6118054 w 12243467"/>
              <a:gd name="connsiteY2987" fmla="*/ 573837 h 4565177"/>
              <a:gd name="connsiteX2988" fmla="*/ 6123863 w 12243467"/>
              <a:gd name="connsiteY2988" fmla="*/ 580008 h 4565177"/>
              <a:gd name="connsiteX2989" fmla="*/ 6119991 w 12243467"/>
              <a:gd name="connsiteY2989" fmla="*/ 577883 h 4565177"/>
              <a:gd name="connsiteX2990" fmla="*/ 6119991 w 12243467"/>
              <a:gd name="connsiteY2990" fmla="*/ 580716 h 4565177"/>
              <a:gd name="connsiteX2991" fmla="*/ 6118054 w 12243467"/>
              <a:gd name="connsiteY2991" fmla="*/ 582132 h 4565177"/>
              <a:gd name="connsiteX2992" fmla="*/ 6116948 w 12243467"/>
              <a:gd name="connsiteY2992" fmla="*/ 581525 h 4565177"/>
              <a:gd name="connsiteX2993" fmla="*/ 6112522 w 12243467"/>
              <a:gd name="connsiteY2993" fmla="*/ 579401 h 4565177"/>
              <a:gd name="connsiteX2994" fmla="*/ 6118054 w 12243467"/>
              <a:gd name="connsiteY2994" fmla="*/ 573837 h 4565177"/>
              <a:gd name="connsiteX2995" fmla="*/ 6097172 w 12243467"/>
              <a:gd name="connsiteY2995" fmla="*/ 573016 h 4565177"/>
              <a:gd name="connsiteX2996" fmla="*/ 6106438 w 12243467"/>
              <a:gd name="connsiteY2996" fmla="*/ 573433 h 4565177"/>
              <a:gd name="connsiteX2997" fmla="*/ 6096757 w 12243467"/>
              <a:gd name="connsiteY2997" fmla="*/ 575759 h 4565177"/>
              <a:gd name="connsiteX2998" fmla="*/ 6083757 w 12243467"/>
              <a:gd name="connsiteY2998" fmla="*/ 574343 h 4565177"/>
              <a:gd name="connsiteX2999" fmla="*/ 6097172 w 12243467"/>
              <a:gd name="connsiteY2999" fmla="*/ 573016 h 4565177"/>
              <a:gd name="connsiteX3000" fmla="*/ 4511068 w 12243467"/>
              <a:gd name="connsiteY3000" fmla="*/ 566453 h 4565177"/>
              <a:gd name="connsiteX3001" fmla="*/ 4518258 w 12243467"/>
              <a:gd name="connsiteY3001" fmla="*/ 567262 h 4565177"/>
              <a:gd name="connsiteX3002" fmla="*/ 4522683 w 12243467"/>
              <a:gd name="connsiteY3002" fmla="*/ 581222 h 4565177"/>
              <a:gd name="connsiteX3003" fmla="*/ 4506365 w 12243467"/>
              <a:gd name="connsiteY3003" fmla="*/ 579401 h 4565177"/>
              <a:gd name="connsiteX3004" fmla="*/ 4511068 w 12243467"/>
              <a:gd name="connsiteY3004" fmla="*/ 566453 h 4565177"/>
              <a:gd name="connsiteX3005" fmla="*/ 4403474 w 12243467"/>
              <a:gd name="connsiteY3005" fmla="*/ 565341 h 4565177"/>
              <a:gd name="connsiteX3006" fmla="*/ 4366410 w 12243467"/>
              <a:gd name="connsiteY3006" fmla="*/ 579401 h 4565177"/>
              <a:gd name="connsiteX3007" fmla="*/ 4403474 w 12243467"/>
              <a:gd name="connsiteY3007" fmla="*/ 565341 h 4565177"/>
              <a:gd name="connsiteX3008" fmla="*/ 2812527 w 12243467"/>
              <a:gd name="connsiteY3008" fmla="*/ 558665 h 4565177"/>
              <a:gd name="connsiteX3009" fmla="*/ 2804230 w 12243467"/>
              <a:gd name="connsiteY3009" fmla="*/ 575051 h 4565177"/>
              <a:gd name="connsiteX3010" fmla="*/ 2812527 w 12243467"/>
              <a:gd name="connsiteY3010" fmla="*/ 558665 h 4565177"/>
              <a:gd name="connsiteX3011" fmla="*/ 4482854 w 12243467"/>
              <a:gd name="connsiteY3011" fmla="*/ 551786 h 4565177"/>
              <a:gd name="connsiteX3012" fmla="*/ 4464599 w 12243467"/>
              <a:gd name="connsiteY3012" fmla="*/ 558968 h 4565177"/>
              <a:gd name="connsiteX3013" fmla="*/ 4442196 w 12243467"/>
              <a:gd name="connsiteY3013" fmla="*/ 574748 h 4565177"/>
              <a:gd name="connsiteX3014" fmla="*/ 4417027 w 12243467"/>
              <a:gd name="connsiteY3014" fmla="*/ 567465 h 4565177"/>
              <a:gd name="connsiteX3015" fmla="*/ 4482854 w 12243467"/>
              <a:gd name="connsiteY3015" fmla="*/ 551786 h 4565177"/>
              <a:gd name="connsiteX3016" fmla="*/ 3344411 w 12243467"/>
              <a:gd name="connsiteY3016" fmla="*/ 548448 h 4565177"/>
              <a:gd name="connsiteX3017" fmla="*/ 3342197 w 12243467"/>
              <a:gd name="connsiteY3017" fmla="*/ 549257 h 4565177"/>
              <a:gd name="connsiteX3018" fmla="*/ 3312602 w 12243467"/>
              <a:gd name="connsiteY3018" fmla="*/ 554517 h 4565177"/>
              <a:gd name="connsiteX3019" fmla="*/ 3301538 w 12243467"/>
              <a:gd name="connsiteY3019" fmla="*/ 564026 h 4565177"/>
              <a:gd name="connsiteX3020" fmla="*/ 3261434 w 12243467"/>
              <a:gd name="connsiteY3020" fmla="*/ 575051 h 4565177"/>
              <a:gd name="connsiteX3021" fmla="*/ 3235710 w 12243467"/>
              <a:gd name="connsiteY3021" fmla="*/ 587392 h 4565177"/>
              <a:gd name="connsiteX3022" fmla="*/ 3219391 w 12243467"/>
              <a:gd name="connsiteY3022" fmla="*/ 600744 h 4565177"/>
              <a:gd name="connsiteX3023" fmla="*/ 3156883 w 12243467"/>
              <a:gd name="connsiteY3023" fmla="*/ 655569 h 4565177"/>
              <a:gd name="connsiteX3024" fmla="*/ 3133373 w 12243467"/>
              <a:gd name="connsiteY3024" fmla="*/ 664369 h 4565177"/>
              <a:gd name="connsiteX3025" fmla="*/ 3141394 w 12243467"/>
              <a:gd name="connsiteY3025" fmla="*/ 672056 h 4565177"/>
              <a:gd name="connsiteX3026" fmla="*/ 3105161 w 12243467"/>
              <a:gd name="connsiteY3026" fmla="*/ 697648 h 4565177"/>
              <a:gd name="connsiteX3027" fmla="*/ 3104330 w 12243467"/>
              <a:gd name="connsiteY3027" fmla="*/ 713529 h 4565177"/>
              <a:gd name="connsiteX3028" fmla="*/ 3096863 w 12243467"/>
              <a:gd name="connsiteY3028" fmla="*/ 714945 h 4565177"/>
              <a:gd name="connsiteX3029" fmla="*/ 3067821 w 12243467"/>
              <a:gd name="connsiteY3029" fmla="*/ 750753 h 4565177"/>
              <a:gd name="connsiteX3030" fmla="*/ 3078331 w 12243467"/>
              <a:gd name="connsiteY3030" fmla="*/ 744785 h 4565177"/>
              <a:gd name="connsiteX3031" fmla="*/ 3085522 w 12243467"/>
              <a:gd name="connsiteY3031" fmla="*/ 750247 h 4565177"/>
              <a:gd name="connsiteX3032" fmla="*/ 3066437 w 12243467"/>
              <a:gd name="connsiteY3032" fmla="*/ 770882 h 4565177"/>
              <a:gd name="connsiteX3033" fmla="*/ 3068926 w 12243467"/>
              <a:gd name="connsiteY3033" fmla="*/ 777356 h 4565177"/>
              <a:gd name="connsiteX3034" fmla="*/ 3079991 w 12243467"/>
              <a:gd name="connsiteY3034" fmla="*/ 775738 h 4565177"/>
              <a:gd name="connsiteX3035" fmla="*/ 3086352 w 12243467"/>
              <a:gd name="connsiteY3035" fmla="*/ 778266 h 4565177"/>
              <a:gd name="connsiteX3036" fmla="*/ 3087734 w 12243467"/>
              <a:gd name="connsiteY3036" fmla="*/ 776446 h 4565177"/>
              <a:gd name="connsiteX3037" fmla="*/ 3112352 w 12243467"/>
              <a:gd name="connsiteY3037" fmla="*/ 757631 h 4565177"/>
              <a:gd name="connsiteX3038" fmla="*/ 3123138 w 12243467"/>
              <a:gd name="connsiteY3038" fmla="*/ 744684 h 4565177"/>
              <a:gd name="connsiteX3039" fmla="*/ 3125074 w 12243467"/>
              <a:gd name="connsiteY3039" fmla="*/ 740537 h 4565177"/>
              <a:gd name="connsiteX3040" fmla="*/ 3127563 w 12243467"/>
              <a:gd name="connsiteY3040" fmla="*/ 739323 h 4565177"/>
              <a:gd name="connsiteX3041" fmla="*/ 3132543 w 12243467"/>
              <a:gd name="connsiteY3041" fmla="*/ 733355 h 4565177"/>
              <a:gd name="connsiteX3042" fmla="*/ 3151351 w 12243467"/>
              <a:gd name="connsiteY3042" fmla="*/ 707257 h 4565177"/>
              <a:gd name="connsiteX3043" fmla="*/ 3195605 w 12243467"/>
              <a:gd name="connsiteY3043" fmla="*/ 666695 h 4565177"/>
              <a:gd name="connsiteX3044" fmla="*/ 3225754 w 12243467"/>
              <a:gd name="connsiteY3044" fmla="*/ 635844 h 4565177"/>
              <a:gd name="connsiteX3045" fmla="*/ 3258115 w 12243467"/>
              <a:gd name="connsiteY3045" fmla="*/ 607622 h 4565177"/>
              <a:gd name="connsiteX3046" fmla="*/ 3325325 w 12243467"/>
              <a:gd name="connsiteY3046" fmla="*/ 562508 h 4565177"/>
              <a:gd name="connsiteX3047" fmla="*/ 6120820 w 12243467"/>
              <a:gd name="connsiteY3047" fmla="*/ 547437 h 4565177"/>
              <a:gd name="connsiteX3048" fmla="*/ 6241690 w 12243467"/>
              <a:gd name="connsiteY3048" fmla="*/ 587493 h 4565177"/>
              <a:gd name="connsiteX3049" fmla="*/ 6202691 w 12243467"/>
              <a:gd name="connsiteY3049" fmla="*/ 593461 h 4565177"/>
              <a:gd name="connsiteX3050" fmla="*/ 6187479 w 12243467"/>
              <a:gd name="connsiteY3050" fmla="*/ 587796 h 4565177"/>
              <a:gd name="connsiteX3051" fmla="*/ 6198542 w 12243467"/>
              <a:gd name="connsiteY3051" fmla="*/ 585672 h 4565177"/>
              <a:gd name="connsiteX3052" fmla="*/ 6175862 w 12243467"/>
              <a:gd name="connsiteY3052" fmla="*/ 572826 h 4565177"/>
              <a:gd name="connsiteX3053" fmla="*/ 6140181 w 12243467"/>
              <a:gd name="connsiteY3053" fmla="*/ 575254 h 4565177"/>
              <a:gd name="connsiteX3054" fmla="*/ 6145713 w 12243467"/>
              <a:gd name="connsiteY3054" fmla="*/ 567060 h 4565177"/>
              <a:gd name="connsiteX3055" fmla="*/ 6126905 w 12243467"/>
              <a:gd name="connsiteY3055" fmla="*/ 567768 h 4565177"/>
              <a:gd name="connsiteX3056" fmla="*/ 6128565 w 12243467"/>
              <a:gd name="connsiteY3056" fmla="*/ 560283 h 4565177"/>
              <a:gd name="connsiteX3057" fmla="*/ 6111969 w 12243467"/>
              <a:gd name="connsiteY3057" fmla="*/ 567768 h 4565177"/>
              <a:gd name="connsiteX3058" fmla="*/ 6111416 w 12243467"/>
              <a:gd name="connsiteY3058" fmla="*/ 553506 h 4565177"/>
              <a:gd name="connsiteX3059" fmla="*/ 6120820 w 12243467"/>
              <a:gd name="connsiteY3059" fmla="*/ 547437 h 4565177"/>
              <a:gd name="connsiteX3060" fmla="*/ 4856770 w 12243467"/>
              <a:gd name="connsiteY3060" fmla="*/ 460942 h 4565177"/>
              <a:gd name="connsiteX3061" fmla="*/ 4906868 w 12243467"/>
              <a:gd name="connsiteY3061" fmla="*/ 466717 h 4565177"/>
              <a:gd name="connsiteX3062" fmla="*/ 4982099 w 12243467"/>
              <a:gd name="connsiteY3062" fmla="*/ 486341 h 4565177"/>
              <a:gd name="connsiteX3063" fmla="*/ 4974355 w 12243467"/>
              <a:gd name="connsiteY3063" fmla="*/ 489881 h 4565177"/>
              <a:gd name="connsiteX3064" fmla="*/ 4839932 w 12243467"/>
              <a:gd name="connsiteY3064" fmla="*/ 463885 h 4565177"/>
              <a:gd name="connsiteX3065" fmla="*/ 4856770 w 12243467"/>
              <a:gd name="connsiteY3065" fmla="*/ 460942 h 4565177"/>
              <a:gd name="connsiteX3066" fmla="*/ 3112352 w 12243467"/>
              <a:gd name="connsiteY3066" fmla="*/ 457714 h 4565177"/>
              <a:gd name="connsiteX3067" fmla="*/ 3055650 w 12243467"/>
              <a:gd name="connsiteY3067" fmla="*/ 488971 h 4565177"/>
              <a:gd name="connsiteX3068" fmla="*/ 3112352 w 12243467"/>
              <a:gd name="connsiteY3068" fmla="*/ 457714 h 4565177"/>
              <a:gd name="connsiteX3069" fmla="*/ 4802523 w 12243467"/>
              <a:gd name="connsiteY3069" fmla="*/ 456906 h 4565177"/>
              <a:gd name="connsiteX3070" fmla="*/ 4811997 w 12243467"/>
              <a:gd name="connsiteY3070" fmla="*/ 458524 h 4565177"/>
              <a:gd name="connsiteX3071" fmla="*/ 4798997 w 12243467"/>
              <a:gd name="connsiteY3071" fmla="*/ 463986 h 4565177"/>
              <a:gd name="connsiteX3072" fmla="*/ 4797614 w 12243467"/>
              <a:gd name="connsiteY3072" fmla="*/ 459232 h 4565177"/>
              <a:gd name="connsiteX3073" fmla="*/ 4802523 w 12243467"/>
              <a:gd name="connsiteY3073" fmla="*/ 456906 h 4565177"/>
              <a:gd name="connsiteX3074" fmla="*/ 3064225 w 12243467"/>
              <a:gd name="connsiteY3074" fmla="*/ 449547 h 4565177"/>
              <a:gd name="connsiteX3075" fmla="*/ 3071969 w 12243467"/>
              <a:gd name="connsiteY3075" fmla="*/ 450027 h 4565177"/>
              <a:gd name="connsiteX3076" fmla="*/ 3031311 w 12243467"/>
              <a:gd name="connsiteY3076" fmla="*/ 477338 h 4565177"/>
              <a:gd name="connsiteX3077" fmla="*/ 3022183 w 12243467"/>
              <a:gd name="connsiteY3077" fmla="*/ 477439 h 4565177"/>
              <a:gd name="connsiteX3078" fmla="*/ 3011950 w 12243467"/>
              <a:gd name="connsiteY3078" fmla="*/ 475011 h 4565177"/>
              <a:gd name="connsiteX3079" fmla="*/ 3063671 w 12243467"/>
              <a:gd name="connsiteY3079" fmla="*/ 454174 h 4565177"/>
              <a:gd name="connsiteX3080" fmla="*/ 3057310 w 12243467"/>
              <a:gd name="connsiteY3080" fmla="*/ 450735 h 4565177"/>
              <a:gd name="connsiteX3081" fmla="*/ 3064225 w 12243467"/>
              <a:gd name="connsiteY3081" fmla="*/ 449547 h 4565177"/>
              <a:gd name="connsiteX3082" fmla="*/ 4535406 w 12243467"/>
              <a:gd name="connsiteY3082" fmla="*/ 434449 h 4565177"/>
              <a:gd name="connsiteX3083" fmla="*/ 4543428 w 12243467"/>
              <a:gd name="connsiteY3083" fmla="*/ 442137 h 4565177"/>
              <a:gd name="connsiteX3084" fmla="*/ 4540385 w 12243467"/>
              <a:gd name="connsiteY3084" fmla="*/ 444261 h 4565177"/>
              <a:gd name="connsiteX3085" fmla="*/ 4537619 w 12243467"/>
              <a:gd name="connsiteY3085" fmla="*/ 442440 h 4565177"/>
              <a:gd name="connsiteX3086" fmla="*/ 4535406 w 12243467"/>
              <a:gd name="connsiteY3086" fmla="*/ 434449 h 4565177"/>
              <a:gd name="connsiteX3087" fmla="*/ 3515897 w 12243467"/>
              <a:gd name="connsiteY3087" fmla="*/ 427470 h 4565177"/>
              <a:gd name="connsiteX3088" fmla="*/ 3508151 w 12243467"/>
              <a:gd name="connsiteY3088" fmla="*/ 432123 h 4565177"/>
              <a:gd name="connsiteX3089" fmla="*/ 3503173 w 12243467"/>
              <a:gd name="connsiteY3089" fmla="*/ 431111 h 4565177"/>
              <a:gd name="connsiteX3090" fmla="*/ 3515897 w 12243467"/>
              <a:gd name="connsiteY3090" fmla="*/ 427470 h 4565177"/>
              <a:gd name="connsiteX3091" fmla="*/ 3104884 w 12243467"/>
              <a:gd name="connsiteY3091" fmla="*/ 426155 h 4565177"/>
              <a:gd name="connsiteX3092" fmla="*/ 3115394 w 12243467"/>
              <a:gd name="connsiteY3092" fmla="*/ 433539 h 4565177"/>
              <a:gd name="connsiteX3093" fmla="*/ 3102671 w 12243467"/>
              <a:gd name="connsiteY3093" fmla="*/ 438799 h 4565177"/>
              <a:gd name="connsiteX3094" fmla="*/ 3097693 w 12243467"/>
              <a:gd name="connsiteY3094" fmla="*/ 432629 h 4565177"/>
              <a:gd name="connsiteX3095" fmla="*/ 3104884 w 12243467"/>
              <a:gd name="connsiteY3095" fmla="*/ 426155 h 4565177"/>
              <a:gd name="connsiteX3096" fmla="*/ 2993418 w 12243467"/>
              <a:gd name="connsiteY3096" fmla="*/ 415837 h 4565177"/>
              <a:gd name="connsiteX3097" fmla="*/ 3001438 w 12243467"/>
              <a:gd name="connsiteY3097" fmla="*/ 423424 h 4565177"/>
              <a:gd name="connsiteX3098" fmla="*/ 2994801 w 12243467"/>
              <a:gd name="connsiteY3098" fmla="*/ 425042 h 4565177"/>
              <a:gd name="connsiteX3099" fmla="*/ 2991481 w 12243467"/>
              <a:gd name="connsiteY3099" fmla="*/ 423525 h 4565177"/>
              <a:gd name="connsiteX3100" fmla="*/ 2993418 w 12243467"/>
              <a:gd name="connsiteY3100" fmla="*/ 415837 h 4565177"/>
              <a:gd name="connsiteX3101" fmla="*/ 3208605 w 12243467"/>
              <a:gd name="connsiteY3101" fmla="*/ 412702 h 4565177"/>
              <a:gd name="connsiteX3102" fmla="*/ 3219391 w 12243467"/>
              <a:gd name="connsiteY3102" fmla="*/ 415028 h 4565177"/>
              <a:gd name="connsiteX3103" fmla="*/ 3128947 w 12243467"/>
              <a:gd name="connsiteY3103" fmla="*/ 456602 h 4565177"/>
              <a:gd name="connsiteX3104" fmla="*/ 3147479 w 12243467"/>
              <a:gd name="connsiteY3104" fmla="*/ 440519 h 4565177"/>
              <a:gd name="connsiteX3105" fmla="*/ 3140288 w 12243467"/>
              <a:gd name="connsiteY3105" fmla="*/ 434955 h 4565177"/>
              <a:gd name="connsiteX3106" fmla="*/ 3156883 w 12243467"/>
              <a:gd name="connsiteY3106" fmla="*/ 426458 h 4565177"/>
              <a:gd name="connsiteX3107" fmla="*/ 3177350 w 12243467"/>
              <a:gd name="connsiteY3107" fmla="*/ 421906 h 4565177"/>
              <a:gd name="connsiteX3108" fmla="*/ 3208605 w 12243467"/>
              <a:gd name="connsiteY3108" fmla="*/ 412702 h 4565177"/>
              <a:gd name="connsiteX3109" fmla="*/ 3171818 w 12243467"/>
              <a:gd name="connsiteY3109" fmla="*/ 407037 h 4565177"/>
              <a:gd name="connsiteX3110" fmla="*/ 3144436 w 12243467"/>
              <a:gd name="connsiteY3110" fmla="*/ 420288 h 4565177"/>
              <a:gd name="connsiteX3111" fmla="*/ 3171818 w 12243467"/>
              <a:gd name="connsiteY3111" fmla="*/ 407037 h 4565177"/>
              <a:gd name="connsiteX3112" fmla="*/ 4904067 w 12243467"/>
              <a:gd name="connsiteY3112" fmla="*/ 403295 h 4565177"/>
              <a:gd name="connsiteX3113" fmla="*/ 4914888 w 12243467"/>
              <a:gd name="connsiteY3113" fmla="*/ 406026 h 4565177"/>
              <a:gd name="connsiteX3114" fmla="*/ 4905207 w 12243467"/>
              <a:gd name="connsiteY3114" fmla="*/ 407846 h 4565177"/>
              <a:gd name="connsiteX3115" fmla="*/ 4901335 w 12243467"/>
              <a:gd name="connsiteY3115" fmla="*/ 405419 h 4565177"/>
              <a:gd name="connsiteX3116" fmla="*/ 4904067 w 12243467"/>
              <a:gd name="connsiteY3116" fmla="*/ 403295 h 4565177"/>
              <a:gd name="connsiteX3117" fmla="*/ 3285221 w 12243467"/>
              <a:gd name="connsiteY3117" fmla="*/ 393685 h 4565177"/>
              <a:gd name="connsiteX3118" fmla="*/ 3252860 w 12243467"/>
              <a:gd name="connsiteY3118" fmla="*/ 405621 h 4565177"/>
              <a:gd name="connsiteX3119" fmla="*/ 3285221 w 12243467"/>
              <a:gd name="connsiteY3119" fmla="*/ 393685 h 4565177"/>
              <a:gd name="connsiteX3120" fmla="*/ 3035610 w 12243467"/>
              <a:gd name="connsiteY3120" fmla="*/ 393567 h 4565177"/>
              <a:gd name="connsiteX3121" fmla="*/ 3040438 w 12243467"/>
              <a:gd name="connsiteY3121" fmla="*/ 396113 h 4565177"/>
              <a:gd name="connsiteX3122" fmla="*/ 3026056 w 12243467"/>
              <a:gd name="connsiteY3122" fmla="*/ 408656 h 4565177"/>
              <a:gd name="connsiteX3123" fmla="*/ 3020246 w 12243467"/>
              <a:gd name="connsiteY3123" fmla="*/ 400664 h 4565177"/>
              <a:gd name="connsiteX3124" fmla="*/ 3035610 w 12243467"/>
              <a:gd name="connsiteY3124" fmla="*/ 393567 h 4565177"/>
              <a:gd name="connsiteX3125" fmla="*/ 4315241 w 12243467"/>
              <a:gd name="connsiteY3125" fmla="*/ 389942 h 4565177"/>
              <a:gd name="connsiteX3126" fmla="*/ 4321049 w 12243467"/>
              <a:gd name="connsiteY3126" fmla="*/ 397225 h 4565177"/>
              <a:gd name="connsiteX3127" fmla="*/ 4318837 w 12243467"/>
              <a:gd name="connsiteY3127" fmla="*/ 399451 h 4565177"/>
              <a:gd name="connsiteX3128" fmla="*/ 4316624 w 12243467"/>
              <a:gd name="connsiteY3128" fmla="*/ 398439 h 4565177"/>
              <a:gd name="connsiteX3129" fmla="*/ 4309157 w 12243467"/>
              <a:gd name="connsiteY3129" fmla="*/ 395910 h 4565177"/>
              <a:gd name="connsiteX3130" fmla="*/ 4315241 w 12243467"/>
              <a:gd name="connsiteY3130" fmla="*/ 389942 h 4565177"/>
              <a:gd name="connsiteX3131" fmla="*/ 4001036 w 12243467"/>
              <a:gd name="connsiteY3131" fmla="*/ 373454 h 4565177"/>
              <a:gd name="connsiteX3132" fmla="*/ 4006844 w 12243467"/>
              <a:gd name="connsiteY3132" fmla="*/ 380839 h 4565177"/>
              <a:gd name="connsiteX3133" fmla="*/ 3994396 w 12243467"/>
              <a:gd name="connsiteY3133" fmla="*/ 385896 h 4565177"/>
              <a:gd name="connsiteX3134" fmla="*/ 3981950 w 12243467"/>
              <a:gd name="connsiteY3134" fmla="*/ 382457 h 4565177"/>
              <a:gd name="connsiteX3135" fmla="*/ 4001036 w 12243467"/>
              <a:gd name="connsiteY3135" fmla="*/ 373454 h 4565177"/>
              <a:gd name="connsiteX3136" fmla="*/ 2931462 w 12243467"/>
              <a:gd name="connsiteY3136" fmla="*/ 370926 h 4565177"/>
              <a:gd name="connsiteX3137" fmla="*/ 2918739 w 12243467"/>
              <a:gd name="connsiteY3137" fmla="*/ 383064 h 4565177"/>
              <a:gd name="connsiteX3138" fmla="*/ 2931462 w 12243467"/>
              <a:gd name="connsiteY3138" fmla="*/ 370926 h 4565177"/>
              <a:gd name="connsiteX3139" fmla="*/ 2988439 w 12243467"/>
              <a:gd name="connsiteY3139" fmla="*/ 365767 h 4565177"/>
              <a:gd name="connsiteX3140" fmla="*/ 3000886 w 12243467"/>
              <a:gd name="connsiteY3140" fmla="*/ 372241 h 4565177"/>
              <a:gd name="connsiteX3141" fmla="*/ 2979865 w 12243467"/>
              <a:gd name="connsiteY3141" fmla="*/ 381446 h 4565177"/>
              <a:gd name="connsiteX3142" fmla="*/ 2971566 w 12243467"/>
              <a:gd name="connsiteY3142" fmla="*/ 379220 h 4565177"/>
              <a:gd name="connsiteX3143" fmla="*/ 2968802 w 12243467"/>
              <a:gd name="connsiteY3143" fmla="*/ 372342 h 4565177"/>
              <a:gd name="connsiteX3144" fmla="*/ 2979312 w 12243467"/>
              <a:gd name="connsiteY3144" fmla="*/ 367790 h 4565177"/>
              <a:gd name="connsiteX3145" fmla="*/ 2988439 w 12243467"/>
              <a:gd name="connsiteY3145" fmla="*/ 365767 h 4565177"/>
              <a:gd name="connsiteX3146" fmla="*/ 4022332 w 12243467"/>
              <a:gd name="connsiteY3146" fmla="*/ 364148 h 4565177"/>
              <a:gd name="connsiteX3147" fmla="*/ 4032290 w 12243467"/>
              <a:gd name="connsiteY3147" fmla="*/ 372139 h 4565177"/>
              <a:gd name="connsiteX3148" fmla="*/ 4019843 w 12243467"/>
              <a:gd name="connsiteY3148" fmla="*/ 375478 h 4565177"/>
              <a:gd name="connsiteX3149" fmla="*/ 4020120 w 12243467"/>
              <a:gd name="connsiteY3149" fmla="*/ 369712 h 4565177"/>
              <a:gd name="connsiteX3150" fmla="*/ 4022332 w 12243467"/>
              <a:gd name="connsiteY3150" fmla="*/ 364148 h 4565177"/>
              <a:gd name="connsiteX3151" fmla="*/ 3069203 w 12243467"/>
              <a:gd name="connsiteY3151" fmla="*/ 361620 h 4565177"/>
              <a:gd name="connsiteX3152" fmla="*/ 3018311 w 12243467"/>
              <a:gd name="connsiteY3152" fmla="*/ 384278 h 4565177"/>
              <a:gd name="connsiteX3153" fmla="*/ 3024672 w 12243467"/>
              <a:gd name="connsiteY3153" fmla="*/ 369105 h 4565177"/>
              <a:gd name="connsiteX3154" fmla="*/ 3069203 w 12243467"/>
              <a:gd name="connsiteY3154" fmla="*/ 361620 h 4565177"/>
              <a:gd name="connsiteX3155" fmla="*/ 3000609 w 12243467"/>
              <a:gd name="connsiteY3155" fmla="*/ 358180 h 4565177"/>
              <a:gd name="connsiteX3156" fmla="*/ 3015544 w 12243467"/>
              <a:gd name="connsiteY3156" fmla="*/ 364047 h 4565177"/>
              <a:gd name="connsiteX3157" fmla="*/ 3010289 w 12243467"/>
              <a:gd name="connsiteY3157" fmla="*/ 369611 h 4565177"/>
              <a:gd name="connsiteX3158" fmla="*/ 3000609 w 12243467"/>
              <a:gd name="connsiteY3158" fmla="*/ 358180 h 4565177"/>
              <a:gd name="connsiteX3159" fmla="*/ 3091884 w 12243467"/>
              <a:gd name="connsiteY3159" fmla="*/ 349987 h 4565177"/>
              <a:gd name="connsiteX3160" fmla="*/ 3081650 w 12243467"/>
              <a:gd name="connsiteY3160" fmla="*/ 363339 h 4565177"/>
              <a:gd name="connsiteX3161" fmla="*/ 3084692 w 12243467"/>
              <a:gd name="connsiteY3161" fmla="*/ 358180 h 4565177"/>
              <a:gd name="connsiteX3162" fmla="*/ 3077502 w 12243467"/>
              <a:gd name="connsiteY3162" fmla="*/ 353123 h 4565177"/>
              <a:gd name="connsiteX3163" fmla="*/ 3086352 w 12243467"/>
              <a:gd name="connsiteY3163" fmla="*/ 355652 h 4565177"/>
              <a:gd name="connsiteX3164" fmla="*/ 3091884 w 12243467"/>
              <a:gd name="connsiteY3164" fmla="*/ 349987 h 4565177"/>
              <a:gd name="connsiteX3165" fmla="*/ 3048736 w 12243467"/>
              <a:gd name="connsiteY3165" fmla="*/ 323789 h 4565177"/>
              <a:gd name="connsiteX3166" fmla="*/ 3049013 w 12243467"/>
              <a:gd name="connsiteY3166" fmla="*/ 330768 h 4565177"/>
              <a:gd name="connsiteX3167" fmla="*/ 3036290 w 12243467"/>
              <a:gd name="connsiteY3167" fmla="*/ 335927 h 4565177"/>
              <a:gd name="connsiteX3168" fmla="*/ 3050672 w 12243467"/>
              <a:gd name="connsiteY3168" fmla="*/ 335017 h 4565177"/>
              <a:gd name="connsiteX3169" fmla="*/ 3045140 w 12243467"/>
              <a:gd name="connsiteY3169" fmla="*/ 345638 h 4565177"/>
              <a:gd name="connsiteX3170" fmla="*/ 3032969 w 12243467"/>
              <a:gd name="connsiteY3170" fmla="*/ 364654 h 4565177"/>
              <a:gd name="connsiteX3171" fmla="*/ 3018864 w 12243467"/>
              <a:gd name="connsiteY3171" fmla="*/ 353831 h 4565177"/>
              <a:gd name="connsiteX3172" fmla="*/ 3032694 w 12243467"/>
              <a:gd name="connsiteY3172" fmla="*/ 339063 h 4565177"/>
              <a:gd name="connsiteX3173" fmla="*/ 3022460 w 12243467"/>
              <a:gd name="connsiteY3173" fmla="*/ 331982 h 4565177"/>
              <a:gd name="connsiteX3174" fmla="*/ 3048736 w 12243467"/>
              <a:gd name="connsiteY3174" fmla="*/ 323789 h 4565177"/>
              <a:gd name="connsiteX3175" fmla="*/ 2996184 w 12243467"/>
              <a:gd name="connsiteY3175" fmla="*/ 323485 h 4565177"/>
              <a:gd name="connsiteX3176" fmla="*/ 2998120 w 12243467"/>
              <a:gd name="connsiteY3176" fmla="*/ 331679 h 4565177"/>
              <a:gd name="connsiteX3177" fmla="*/ 2992588 w 12243467"/>
              <a:gd name="connsiteY3177" fmla="*/ 326722 h 4565177"/>
              <a:gd name="connsiteX3178" fmla="*/ 2996184 w 12243467"/>
              <a:gd name="connsiteY3178" fmla="*/ 323485 h 4565177"/>
              <a:gd name="connsiteX3179" fmla="*/ 3012503 w 12243467"/>
              <a:gd name="connsiteY3179" fmla="*/ 313066 h 4565177"/>
              <a:gd name="connsiteX3180" fmla="*/ 3021907 w 12243467"/>
              <a:gd name="connsiteY3180" fmla="*/ 318023 h 4565177"/>
              <a:gd name="connsiteX3181" fmla="*/ 3015821 w 12243467"/>
              <a:gd name="connsiteY3181" fmla="*/ 321766 h 4565177"/>
              <a:gd name="connsiteX3182" fmla="*/ 3012778 w 12243467"/>
              <a:gd name="connsiteY3182" fmla="*/ 316809 h 4565177"/>
              <a:gd name="connsiteX3183" fmla="*/ 3012503 w 12243467"/>
              <a:gd name="connsiteY3183" fmla="*/ 313066 h 4565177"/>
              <a:gd name="connsiteX3184" fmla="*/ 2989545 w 12243467"/>
              <a:gd name="connsiteY3184" fmla="*/ 311347 h 4565177"/>
              <a:gd name="connsiteX3185" fmla="*/ 2995907 w 12243467"/>
              <a:gd name="connsiteY3185" fmla="*/ 314685 h 4565177"/>
              <a:gd name="connsiteX3186" fmla="*/ 2982355 w 12243467"/>
              <a:gd name="connsiteY3186" fmla="*/ 319844 h 4565177"/>
              <a:gd name="connsiteX3187" fmla="*/ 2989545 w 12243467"/>
              <a:gd name="connsiteY3187" fmla="*/ 311347 h 4565177"/>
              <a:gd name="connsiteX3188" fmla="*/ 3101012 w 12243467"/>
              <a:gd name="connsiteY3188" fmla="*/ 310335 h 4565177"/>
              <a:gd name="connsiteX3189" fmla="*/ 3105161 w 12243467"/>
              <a:gd name="connsiteY3189" fmla="*/ 321159 h 4565177"/>
              <a:gd name="connsiteX3190" fmla="*/ 3075012 w 12243467"/>
              <a:gd name="connsiteY3190" fmla="*/ 339467 h 4565177"/>
              <a:gd name="connsiteX3191" fmla="*/ 3073629 w 12243467"/>
              <a:gd name="connsiteY3191" fmla="*/ 339568 h 4565177"/>
              <a:gd name="connsiteX3192" fmla="*/ 3062289 w 12243467"/>
              <a:gd name="connsiteY3192" fmla="*/ 332892 h 4565177"/>
              <a:gd name="connsiteX3193" fmla="*/ 3060629 w 12243467"/>
              <a:gd name="connsiteY3193" fmla="*/ 331476 h 4565177"/>
              <a:gd name="connsiteX3194" fmla="*/ 3065885 w 12243467"/>
              <a:gd name="connsiteY3194" fmla="*/ 322777 h 4565177"/>
              <a:gd name="connsiteX3195" fmla="*/ 3101012 w 12243467"/>
              <a:gd name="connsiteY3195" fmla="*/ 310335 h 4565177"/>
              <a:gd name="connsiteX3196" fmla="*/ 4531811 w 12243467"/>
              <a:gd name="connsiteY3196" fmla="*/ 306795 h 4565177"/>
              <a:gd name="connsiteX3197" fmla="*/ 4462941 w 12243467"/>
              <a:gd name="connsiteY3197" fmla="*/ 317315 h 4565177"/>
              <a:gd name="connsiteX3198" fmla="*/ 4531811 w 12243467"/>
              <a:gd name="connsiteY3198" fmla="*/ 306795 h 4565177"/>
              <a:gd name="connsiteX3199" fmla="*/ 2934228 w 12243467"/>
              <a:gd name="connsiteY3199" fmla="*/ 304772 h 4565177"/>
              <a:gd name="connsiteX3200" fmla="*/ 2929802 w 12243467"/>
              <a:gd name="connsiteY3200" fmla="*/ 311752 h 4565177"/>
              <a:gd name="connsiteX3201" fmla="*/ 2931462 w 12243467"/>
              <a:gd name="connsiteY3201" fmla="*/ 308009 h 4565177"/>
              <a:gd name="connsiteX3202" fmla="*/ 2934228 w 12243467"/>
              <a:gd name="connsiteY3202" fmla="*/ 304772 h 4565177"/>
              <a:gd name="connsiteX3203" fmla="*/ 4202670 w 12243467"/>
              <a:gd name="connsiteY3203" fmla="*/ 304266 h 4565177"/>
              <a:gd name="connsiteX3204" fmla="*/ 4186073 w 12243467"/>
              <a:gd name="connsiteY3204" fmla="*/ 316405 h 4565177"/>
              <a:gd name="connsiteX3205" fmla="*/ 4202670 w 12243467"/>
              <a:gd name="connsiteY3205" fmla="*/ 304266 h 4565177"/>
              <a:gd name="connsiteX3206" fmla="*/ 4705060 w 12243467"/>
              <a:gd name="connsiteY3206" fmla="*/ 299714 h 4565177"/>
              <a:gd name="connsiteX3207" fmla="*/ 4725148 w 12243467"/>
              <a:gd name="connsiteY3207" fmla="*/ 303052 h 4565177"/>
              <a:gd name="connsiteX3208" fmla="*/ 4717126 w 12243467"/>
              <a:gd name="connsiteY3208" fmla="*/ 305480 h 4565177"/>
              <a:gd name="connsiteX3209" fmla="*/ 4706893 w 12243467"/>
              <a:gd name="connsiteY3209" fmla="*/ 305075 h 4565177"/>
              <a:gd name="connsiteX3210" fmla="*/ 4688914 w 12243467"/>
              <a:gd name="connsiteY3210" fmla="*/ 303659 h 4565177"/>
              <a:gd name="connsiteX3211" fmla="*/ 4705060 w 12243467"/>
              <a:gd name="connsiteY3211" fmla="*/ 299714 h 4565177"/>
              <a:gd name="connsiteX3212" fmla="*/ 4590171 w 12243467"/>
              <a:gd name="connsiteY3212" fmla="*/ 292533 h 4565177"/>
              <a:gd name="connsiteX3213" fmla="*/ 4611193 w 12243467"/>
              <a:gd name="connsiteY3213" fmla="*/ 294859 h 4565177"/>
              <a:gd name="connsiteX3214" fmla="*/ 4644661 w 12243467"/>
              <a:gd name="connsiteY3214" fmla="*/ 296174 h 4565177"/>
              <a:gd name="connsiteX3215" fmla="*/ 4653234 w 12243467"/>
              <a:gd name="connsiteY3215" fmla="*/ 301737 h 4565177"/>
              <a:gd name="connsiteX3216" fmla="*/ 4547854 w 12243467"/>
              <a:gd name="connsiteY3216" fmla="*/ 310942 h 4565177"/>
              <a:gd name="connsiteX3217" fmla="*/ 4573576 w 12243467"/>
              <a:gd name="connsiteY3217" fmla="*/ 302243 h 4565177"/>
              <a:gd name="connsiteX3218" fmla="*/ 4570257 w 12243467"/>
              <a:gd name="connsiteY3218" fmla="*/ 294960 h 4565177"/>
              <a:gd name="connsiteX3219" fmla="*/ 4590171 w 12243467"/>
              <a:gd name="connsiteY3219" fmla="*/ 292533 h 4565177"/>
              <a:gd name="connsiteX3220" fmla="*/ 3040438 w 12243467"/>
              <a:gd name="connsiteY3220" fmla="*/ 290712 h 4565177"/>
              <a:gd name="connsiteX3221" fmla="*/ 3040992 w 12243467"/>
              <a:gd name="connsiteY3221" fmla="*/ 311448 h 4565177"/>
              <a:gd name="connsiteX3222" fmla="*/ 3032417 w 12243467"/>
              <a:gd name="connsiteY3222" fmla="*/ 312662 h 4565177"/>
              <a:gd name="connsiteX3223" fmla="*/ 3023289 w 12243467"/>
              <a:gd name="connsiteY3223" fmla="*/ 310639 h 4565177"/>
              <a:gd name="connsiteX3224" fmla="*/ 3049289 w 12243467"/>
              <a:gd name="connsiteY3224" fmla="*/ 300321 h 4565177"/>
              <a:gd name="connsiteX3225" fmla="*/ 3040438 w 12243467"/>
              <a:gd name="connsiteY3225" fmla="*/ 290712 h 4565177"/>
              <a:gd name="connsiteX3226" fmla="*/ 4485897 w 12243467"/>
              <a:gd name="connsiteY3226" fmla="*/ 283227 h 4565177"/>
              <a:gd name="connsiteX3227" fmla="*/ 4499726 w 12243467"/>
              <a:gd name="connsiteY3227" fmla="*/ 287070 h 4565177"/>
              <a:gd name="connsiteX3228" fmla="*/ 4460174 w 12243467"/>
              <a:gd name="connsiteY3228" fmla="*/ 299209 h 4565177"/>
              <a:gd name="connsiteX3229" fmla="*/ 4447451 w 12243467"/>
              <a:gd name="connsiteY3229" fmla="*/ 299107 h 4565177"/>
              <a:gd name="connsiteX3230" fmla="*/ 4431132 w 12243467"/>
              <a:gd name="connsiteY3230" fmla="*/ 291015 h 4565177"/>
              <a:gd name="connsiteX3231" fmla="*/ 4489769 w 12243467"/>
              <a:gd name="connsiteY3231" fmla="*/ 288284 h 4565177"/>
              <a:gd name="connsiteX3232" fmla="*/ 4485897 w 12243467"/>
              <a:gd name="connsiteY3232" fmla="*/ 283227 h 4565177"/>
              <a:gd name="connsiteX3233" fmla="*/ 2984290 w 12243467"/>
              <a:gd name="connsiteY3233" fmla="*/ 279750 h 4565177"/>
              <a:gd name="connsiteX3234" fmla="*/ 3001992 w 12243467"/>
              <a:gd name="connsiteY3234" fmla="*/ 282417 h 4565177"/>
              <a:gd name="connsiteX3235" fmla="*/ 2974610 w 12243467"/>
              <a:gd name="connsiteY3235" fmla="*/ 300321 h 4565177"/>
              <a:gd name="connsiteX3236" fmla="*/ 2966865 w 12243467"/>
              <a:gd name="connsiteY3236" fmla="*/ 303558 h 4565177"/>
              <a:gd name="connsiteX3237" fmla="*/ 2960504 w 12243467"/>
              <a:gd name="connsiteY3237" fmla="*/ 303862 h 4565177"/>
              <a:gd name="connsiteX3238" fmla="*/ 2955525 w 12243467"/>
              <a:gd name="connsiteY3238" fmla="*/ 302243 h 4565177"/>
              <a:gd name="connsiteX3239" fmla="*/ 2980694 w 12243467"/>
              <a:gd name="connsiteY3239" fmla="*/ 284744 h 4565177"/>
              <a:gd name="connsiteX3240" fmla="*/ 2984290 w 12243467"/>
              <a:gd name="connsiteY3240" fmla="*/ 279750 h 4565177"/>
              <a:gd name="connsiteX3241" fmla="*/ 3113181 w 12243467"/>
              <a:gd name="connsiteY3241" fmla="*/ 278978 h 4565177"/>
              <a:gd name="connsiteX3242" fmla="*/ 3108203 w 12243467"/>
              <a:gd name="connsiteY3242" fmla="*/ 284845 h 4565177"/>
              <a:gd name="connsiteX3243" fmla="*/ 3070587 w 12243467"/>
              <a:gd name="connsiteY3243" fmla="*/ 297894 h 4565177"/>
              <a:gd name="connsiteX3244" fmla="*/ 3067544 w 12243467"/>
              <a:gd name="connsiteY3244" fmla="*/ 299107 h 4565177"/>
              <a:gd name="connsiteX3245" fmla="*/ 3065055 w 12243467"/>
              <a:gd name="connsiteY3245" fmla="*/ 296781 h 4565177"/>
              <a:gd name="connsiteX3246" fmla="*/ 3102671 w 12243467"/>
              <a:gd name="connsiteY3246" fmla="*/ 283631 h 4565177"/>
              <a:gd name="connsiteX3247" fmla="*/ 3113181 w 12243467"/>
              <a:gd name="connsiteY3247" fmla="*/ 278978 h 4565177"/>
              <a:gd name="connsiteX3248" fmla="*/ 4598400 w 12243467"/>
              <a:gd name="connsiteY3248" fmla="*/ 277727 h 4565177"/>
              <a:gd name="connsiteX3249" fmla="*/ 4614788 w 12243467"/>
              <a:gd name="connsiteY3249" fmla="*/ 279585 h 4565177"/>
              <a:gd name="connsiteX3250" fmla="*/ 4598746 w 12243467"/>
              <a:gd name="connsiteY3250" fmla="*/ 284845 h 4565177"/>
              <a:gd name="connsiteX3251" fmla="*/ 4582427 w 12243467"/>
              <a:gd name="connsiteY3251" fmla="*/ 282923 h 4565177"/>
              <a:gd name="connsiteX3252" fmla="*/ 4598400 w 12243467"/>
              <a:gd name="connsiteY3252" fmla="*/ 277727 h 4565177"/>
              <a:gd name="connsiteX3253" fmla="*/ 4536582 w 12243467"/>
              <a:gd name="connsiteY3253" fmla="*/ 275729 h 4565177"/>
              <a:gd name="connsiteX3254" fmla="*/ 4543151 w 12243467"/>
              <a:gd name="connsiteY3254" fmla="*/ 275842 h 4565177"/>
              <a:gd name="connsiteX3255" fmla="*/ 4548406 w 12243467"/>
              <a:gd name="connsiteY3255" fmla="*/ 285856 h 4565177"/>
              <a:gd name="connsiteX3256" fmla="*/ 4544811 w 12243467"/>
              <a:gd name="connsiteY3256" fmla="*/ 288486 h 4565177"/>
              <a:gd name="connsiteX3257" fmla="*/ 4540939 w 12243467"/>
              <a:gd name="connsiteY3257" fmla="*/ 287981 h 4565177"/>
              <a:gd name="connsiteX3258" fmla="*/ 4534024 w 12243467"/>
              <a:gd name="connsiteY3258" fmla="*/ 286666 h 4565177"/>
              <a:gd name="connsiteX3259" fmla="*/ 4532917 w 12243467"/>
              <a:gd name="connsiteY3259" fmla="*/ 279484 h 4565177"/>
              <a:gd name="connsiteX3260" fmla="*/ 4536582 w 12243467"/>
              <a:gd name="connsiteY3260" fmla="*/ 275729 h 4565177"/>
              <a:gd name="connsiteX3261" fmla="*/ 3145819 w 12243467"/>
              <a:gd name="connsiteY3261" fmla="*/ 267346 h 4565177"/>
              <a:gd name="connsiteX3262" fmla="*/ 3134479 w 12243467"/>
              <a:gd name="connsiteY3262" fmla="*/ 277157 h 4565177"/>
              <a:gd name="connsiteX3263" fmla="*/ 3135309 w 12243467"/>
              <a:gd name="connsiteY3263" fmla="*/ 278472 h 4565177"/>
              <a:gd name="connsiteX3264" fmla="*/ 3133095 w 12243467"/>
              <a:gd name="connsiteY3264" fmla="*/ 277764 h 4565177"/>
              <a:gd name="connsiteX3265" fmla="*/ 3128117 w 12243467"/>
              <a:gd name="connsiteY3265" fmla="*/ 273718 h 4565177"/>
              <a:gd name="connsiteX3266" fmla="*/ 3145819 w 12243467"/>
              <a:gd name="connsiteY3266" fmla="*/ 267346 h 4565177"/>
              <a:gd name="connsiteX3267" fmla="*/ 3032140 w 12243467"/>
              <a:gd name="connsiteY3267" fmla="*/ 264513 h 4565177"/>
              <a:gd name="connsiteX3268" fmla="*/ 3025226 w 12243467"/>
              <a:gd name="connsiteY3268" fmla="*/ 277764 h 4565177"/>
              <a:gd name="connsiteX3269" fmla="*/ 3023289 w 12243467"/>
              <a:gd name="connsiteY3269" fmla="*/ 273415 h 4565177"/>
              <a:gd name="connsiteX3270" fmla="*/ 3019971 w 12243467"/>
              <a:gd name="connsiteY3270" fmla="*/ 283530 h 4565177"/>
              <a:gd name="connsiteX3271" fmla="*/ 3009460 w 12243467"/>
              <a:gd name="connsiteY3271" fmla="*/ 288183 h 4565177"/>
              <a:gd name="connsiteX3272" fmla="*/ 3013886 w 12243467"/>
              <a:gd name="connsiteY3272" fmla="*/ 280293 h 4565177"/>
              <a:gd name="connsiteX3273" fmla="*/ 3002268 w 12243467"/>
              <a:gd name="connsiteY3273" fmla="*/ 275741 h 4565177"/>
              <a:gd name="connsiteX3274" fmla="*/ 3032140 w 12243467"/>
              <a:gd name="connsiteY3274" fmla="*/ 264513 h 4565177"/>
              <a:gd name="connsiteX3275" fmla="*/ 3168222 w 12243467"/>
              <a:gd name="connsiteY3275" fmla="*/ 262086 h 4565177"/>
              <a:gd name="connsiteX3276" fmla="*/ 3161031 w 12243467"/>
              <a:gd name="connsiteY3276" fmla="*/ 268357 h 4565177"/>
              <a:gd name="connsiteX3277" fmla="*/ 3154947 w 12243467"/>
              <a:gd name="connsiteY3277" fmla="*/ 265019 h 4565177"/>
              <a:gd name="connsiteX3278" fmla="*/ 3168222 w 12243467"/>
              <a:gd name="connsiteY3278" fmla="*/ 262086 h 4565177"/>
              <a:gd name="connsiteX3279" fmla="*/ 3205009 w 12243467"/>
              <a:gd name="connsiteY3279" fmla="*/ 246369 h 4565177"/>
              <a:gd name="connsiteX3280" fmla="*/ 3219116 w 12243467"/>
              <a:gd name="connsiteY3280" fmla="*/ 246508 h 4565177"/>
              <a:gd name="connsiteX3281" fmla="*/ 3192562 w 12243467"/>
              <a:gd name="connsiteY3281" fmla="*/ 254803 h 4565177"/>
              <a:gd name="connsiteX3282" fmla="*/ 3205009 w 12243467"/>
              <a:gd name="connsiteY3282" fmla="*/ 246369 h 4565177"/>
              <a:gd name="connsiteX3283" fmla="*/ 2888866 w 12243467"/>
              <a:gd name="connsiteY3283" fmla="*/ 239731 h 4565177"/>
              <a:gd name="connsiteX3284" fmla="*/ 2876144 w 12243467"/>
              <a:gd name="connsiteY3284" fmla="*/ 253791 h 4565177"/>
              <a:gd name="connsiteX3285" fmla="*/ 2888866 w 12243467"/>
              <a:gd name="connsiteY3285" fmla="*/ 239731 h 4565177"/>
              <a:gd name="connsiteX3286" fmla="*/ 4448004 w 12243467"/>
              <a:gd name="connsiteY3286" fmla="*/ 231538 h 4565177"/>
              <a:gd name="connsiteX3287" fmla="*/ 4451047 w 12243467"/>
              <a:gd name="connsiteY3287" fmla="*/ 241046 h 4565177"/>
              <a:gd name="connsiteX3288" fmla="*/ 4444132 w 12243467"/>
              <a:gd name="connsiteY3288" fmla="*/ 240237 h 4565177"/>
              <a:gd name="connsiteX3289" fmla="*/ 4441919 w 12243467"/>
              <a:gd name="connsiteY3289" fmla="*/ 237910 h 4565177"/>
              <a:gd name="connsiteX3290" fmla="*/ 4448004 w 12243467"/>
              <a:gd name="connsiteY3290" fmla="*/ 231538 h 4565177"/>
              <a:gd name="connsiteX3291" fmla="*/ 2901901 w 12243467"/>
              <a:gd name="connsiteY3291" fmla="*/ 230273 h 4565177"/>
              <a:gd name="connsiteX3292" fmla="*/ 2906291 w 12243467"/>
              <a:gd name="connsiteY3292" fmla="*/ 233257 h 4565177"/>
              <a:gd name="connsiteX3293" fmla="*/ 2901590 w 12243467"/>
              <a:gd name="connsiteY3293" fmla="*/ 234269 h 4565177"/>
              <a:gd name="connsiteX3294" fmla="*/ 2904633 w 12243467"/>
              <a:gd name="connsiteY3294" fmla="*/ 235988 h 4565177"/>
              <a:gd name="connsiteX3295" fmla="*/ 2898824 w 12243467"/>
              <a:gd name="connsiteY3295" fmla="*/ 239731 h 4565177"/>
              <a:gd name="connsiteX3296" fmla="*/ 2896058 w 12243467"/>
              <a:gd name="connsiteY3296" fmla="*/ 233055 h 4565177"/>
              <a:gd name="connsiteX3297" fmla="*/ 2901901 w 12243467"/>
              <a:gd name="connsiteY3297" fmla="*/ 230273 h 4565177"/>
              <a:gd name="connsiteX3298" fmla="*/ 4492915 w 12243467"/>
              <a:gd name="connsiteY3298" fmla="*/ 224925 h 4565177"/>
              <a:gd name="connsiteX3299" fmla="*/ 4501939 w 12243467"/>
              <a:gd name="connsiteY3299" fmla="*/ 228503 h 4565177"/>
              <a:gd name="connsiteX3300" fmla="*/ 4481748 w 12243467"/>
              <a:gd name="connsiteY3300" fmla="*/ 235280 h 4565177"/>
              <a:gd name="connsiteX3301" fmla="*/ 4481195 w 12243467"/>
              <a:gd name="connsiteY3301" fmla="*/ 226278 h 4565177"/>
              <a:gd name="connsiteX3302" fmla="*/ 4492915 w 12243467"/>
              <a:gd name="connsiteY3302" fmla="*/ 224925 h 4565177"/>
              <a:gd name="connsiteX3303" fmla="*/ 4560023 w 12243467"/>
              <a:gd name="connsiteY3303" fmla="*/ 201192 h 4565177"/>
              <a:gd name="connsiteX3304" fmla="*/ 4566661 w 12243467"/>
              <a:gd name="connsiteY3304" fmla="*/ 206148 h 4565177"/>
              <a:gd name="connsiteX3305" fmla="*/ 4574682 w 12243467"/>
              <a:gd name="connsiteY3305" fmla="*/ 202709 h 4565177"/>
              <a:gd name="connsiteX3306" fmla="*/ 4557810 w 12243467"/>
              <a:gd name="connsiteY3306" fmla="*/ 211611 h 4565177"/>
              <a:gd name="connsiteX3307" fmla="*/ 4563620 w 12243467"/>
              <a:gd name="connsiteY3307" fmla="*/ 207969 h 4565177"/>
              <a:gd name="connsiteX3308" fmla="*/ 4560023 w 12243467"/>
              <a:gd name="connsiteY3308" fmla="*/ 201192 h 4565177"/>
              <a:gd name="connsiteX3309" fmla="*/ 4503045 w 12243467"/>
              <a:gd name="connsiteY3309" fmla="*/ 198967 h 4565177"/>
              <a:gd name="connsiteX3310" fmla="*/ 4547576 w 12243467"/>
              <a:gd name="connsiteY3310" fmla="*/ 206148 h 4565177"/>
              <a:gd name="connsiteX3311" fmla="*/ 4519089 w 12243467"/>
              <a:gd name="connsiteY3311" fmla="*/ 213634 h 4565177"/>
              <a:gd name="connsiteX3312" fmla="*/ 4488663 w 12243467"/>
              <a:gd name="connsiteY3312" fmla="*/ 210801 h 4565177"/>
              <a:gd name="connsiteX3313" fmla="*/ 4503045 w 12243467"/>
              <a:gd name="connsiteY3313" fmla="*/ 198967 h 4565177"/>
              <a:gd name="connsiteX3314" fmla="*/ 2985120 w 12243467"/>
              <a:gd name="connsiteY3314" fmla="*/ 194920 h 4565177"/>
              <a:gd name="connsiteX3315" fmla="*/ 2949717 w 12243467"/>
              <a:gd name="connsiteY3315" fmla="*/ 223951 h 4565177"/>
              <a:gd name="connsiteX3316" fmla="*/ 2920952 w 12243467"/>
              <a:gd name="connsiteY3316" fmla="*/ 233965 h 4565177"/>
              <a:gd name="connsiteX3317" fmla="*/ 2908504 w 12243467"/>
              <a:gd name="connsiteY3317" fmla="*/ 233055 h 4565177"/>
              <a:gd name="connsiteX3318" fmla="*/ 2906569 w 12243467"/>
              <a:gd name="connsiteY3318" fmla="*/ 229616 h 4565177"/>
              <a:gd name="connsiteX3319" fmla="*/ 2909888 w 12243467"/>
              <a:gd name="connsiteY3319" fmla="*/ 230425 h 4565177"/>
              <a:gd name="connsiteX3320" fmla="*/ 2985120 w 12243467"/>
              <a:gd name="connsiteY3320" fmla="*/ 194920 h 4565177"/>
              <a:gd name="connsiteX3321" fmla="*/ 4462663 w 12243467"/>
              <a:gd name="connsiteY3321" fmla="*/ 183591 h 4565177"/>
              <a:gd name="connsiteX3322" fmla="*/ 4472067 w 12243467"/>
              <a:gd name="connsiteY3322" fmla="*/ 184502 h 4565177"/>
              <a:gd name="connsiteX3323" fmla="*/ 4479536 w 12243467"/>
              <a:gd name="connsiteY3323" fmla="*/ 194314 h 4565177"/>
              <a:gd name="connsiteX3324" fmla="*/ 4455472 w 12243467"/>
              <a:gd name="connsiteY3324" fmla="*/ 196134 h 4565177"/>
              <a:gd name="connsiteX3325" fmla="*/ 4449111 w 12243467"/>
              <a:gd name="connsiteY3325" fmla="*/ 191582 h 4565177"/>
              <a:gd name="connsiteX3326" fmla="*/ 4450493 w 12243467"/>
              <a:gd name="connsiteY3326" fmla="*/ 184502 h 4565177"/>
              <a:gd name="connsiteX3327" fmla="*/ 4462663 w 12243467"/>
              <a:gd name="connsiteY3327" fmla="*/ 183591 h 4565177"/>
              <a:gd name="connsiteX3328" fmla="*/ 4487556 w 12243467"/>
              <a:gd name="connsiteY3328" fmla="*/ 181568 h 4565177"/>
              <a:gd name="connsiteX3329" fmla="*/ 4497790 w 12243467"/>
              <a:gd name="connsiteY3329" fmla="*/ 191481 h 4565177"/>
              <a:gd name="connsiteX3330" fmla="*/ 4489769 w 12243467"/>
              <a:gd name="connsiteY3330" fmla="*/ 195022 h 4565177"/>
              <a:gd name="connsiteX3331" fmla="*/ 4487556 w 12243467"/>
              <a:gd name="connsiteY3331" fmla="*/ 181568 h 4565177"/>
              <a:gd name="connsiteX3332" fmla="*/ 4417304 w 12243467"/>
              <a:gd name="connsiteY3332" fmla="*/ 171352 h 4565177"/>
              <a:gd name="connsiteX3333" fmla="*/ 4399049 w 12243467"/>
              <a:gd name="connsiteY3333" fmla="*/ 178433 h 4565177"/>
              <a:gd name="connsiteX3334" fmla="*/ 4417304 w 12243467"/>
              <a:gd name="connsiteY3334" fmla="*/ 171352 h 4565177"/>
              <a:gd name="connsiteX3335" fmla="*/ 4605660 w 12243467"/>
              <a:gd name="connsiteY3335" fmla="*/ 169734 h 4565177"/>
              <a:gd name="connsiteX3336" fmla="*/ 4603171 w 12243467"/>
              <a:gd name="connsiteY3336" fmla="*/ 180759 h 4565177"/>
              <a:gd name="connsiteX3337" fmla="*/ 4565556 w 12243467"/>
              <a:gd name="connsiteY3337" fmla="*/ 187941 h 4565177"/>
              <a:gd name="connsiteX3338" fmla="*/ 4557810 w 12243467"/>
              <a:gd name="connsiteY3338" fmla="*/ 178028 h 4565177"/>
              <a:gd name="connsiteX3339" fmla="*/ 4556981 w 12243467"/>
              <a:gd name="connsiteY3339" fmla="*/ 176207 h 4565177"/>
              <a:gd name="connsiteX3340" fmla="*/ 4566661 w 12243467"/>
              <a:gd name="connsiteY3340" fmla="*/ 169835 h 4565177"/>
              <a:gd name="connsiteX3341" fmla="*/ 4605660 w 12243467"/>
              <a:gd name="connsiteY3341" fmla="*/ 169734 h 4565177"/>
              <a:gd name="connsiteX3342" fmla="*/ 2984013 w 12243467"/>
              <a:gd name="connsiteY3342" fmla="*/ 167205 h 4565177"/>
              <a:gd name="connsiteX3343" fmla="*/ 2967419 w 12243467"/>
              <a:gd name="connsiteY3343" fmla="*/ 194111 h 4565177"/>
              <a:gd name="connsiteX3344" fmla="*/ 2952206 w 12243467"/>
              <a:gd name="connsiteY3344" fmla="*/ 199776 h 4565177"/>
              <a:gd name="connsiteX3345" fmla="*/ 2956631 w 12243467"/>
              <a:gd name="connsiteY3345" fmla="*/ 191886 h 4565177"/>
              <a:gd name="connsiteX3346" fmla="*/ 2928973 w 12243467"/>
              <a:gd name="connsiteY3346" fmla="*/ 197854 h 4565177"/>
              <a:gd name="connsiteX3347" fmla="*/ 2910718 w 12243467"/>
              <a:gd name="connsiteY3347" fmla="*/ 220613 h 4565177"/>
              <a:gd name="connsiteX3348" fmla="*/ 2904909 w 12243467"/>
              <a:gd name="connsiteY3348" fmla="*/ 212521 h 4565177"/>
              <a:gd name="connsiteX3349" fmla="*/ 2894675 w 12243467"/>
              <a:gd name="connsiteY3349" fmla="*/ 224052 h 4565177"/>
              <a:gd name="connsiteX3350" fmla="*/ 2887484 w 12243467"/>
              <a:gd name="connsiteY3350" fmla="*/ 218691 h 4565177"/>
              <a:gd name="connsiteX3351" fmla="*/ 2885825 w 12243467"/>
              <a:gd name="connsiteY3351" fmla="*/ 233055 h 4565177"/>
              <a:gd name="connsiteX3352" fmla="*/ 2870059 w 12243467"/>
              <a:gd name="connsiteY3352" fmla="*/ 224862 h 4565177"/>
              <a:gd name="connsiteX3353" fmla="*/ 2868953 w 12243467"/>
              <a:gd name="connsiteY3353" fmla="*/ 215859 h 4565177"/>
              <a:gd name="connsiteX3354" fmla="*/ 2984013 w 12243467"/>
              <a:gd name="connsiteY3354" fmla="*/ 167205 h 4565177"/>
              <a:gd name="connsiteX3355" fmla="*/ 4522130 w 12243467"/>
              <a:gd name="connsiteY3355" fmla="*/ 164676 h 4565177"/>
              <a:gd name="connsiteX3356" fmla="*/ 4550619 w 12243467"/>
              <a:gd name="connsiteY3356" fmla="*/ 165384 h 4565177"/>
              <a:gd name="connsiteX3357" fmla="*/ 4546747 w 12243467"/>
              <a:gd name="connsiteY3357" fmla="*/ 171858 h 4565177"/>
              <a:gd name="connsiteX3358" fmla="*/ 4532364 w 12243467"/>
              <a:gd name="connsiteY3358" fmla="*/ 172465 h 4565177"/>
              <a:gd name="connsiteX3359" fmla="*/ 4545918 w 12243467"/>
              <a:gd name="connsiteY3359" fmla="*/ 176308 h 4565177"/>
              <a:gd name="connsiteX3360" fmla="*/ 4534853 w 12243467"/>
              <a:gd name="connsiteY3360" fmla="*/ 184198 h 4565177"/>
              <a:gd name="connsiteX3361" fmla="*/ 4513004 w 12243467"/>
              <a:gd name="connsiteY3361" fmla="*/ 197550 h 4565177"/>
              <a:gd name="connsiteX3362" fmla="*/ 4506641 w 12243467"/>
              <a:gd name="connsiteY3362" fmla="*/ 183288 h 4565177"/>
              <a:gd name="connsiteX3363" fmla="*/ 4527385 w 12243467"/>
              <a:gd name="connsiteY3363" fmla="*/ 174285 h 4565177"/>
              <a:gd name="connsiteX3364" fmla="*/ 4522130 w 12243467"/>
              <a:gd name="connsiteY3364" fmla="*/ 164676 h 4565177"/>
              <a:gd name="connsiteX3365" fmla="*/ 3017205 w 12243467"/>
              <a:gd name="connsiteY3365" fmla="*/ 152234 h 4565177"/>
              <a:gd name="connsiteX3366" fmla="*/ 3001438 w 12243467"/>
              <a:gd name="connsiteY3366" fmla="*/ 166901 h 4565177"/>
              <a:gd name="connsiteX3367" fmla="*/ 2993695 w 12243467"/>
              <a:gd name="connsiteY3367" fmla="*/ 162046 h 4565177"/>
              <a:gd name="connsiteX3368" fmla="*/ 3017205 w 12243467"/>
              <a:gd name="connsiteY3368" fmla="*/ 152234 h 4565177"/>
              <a:gd name="connsiteX3369" fmla="*/ 4503322 w 12243467"/>
              <a:gd name="connsiteY3369" fmla="*/ 148694 h 4565177"/>
              <a:gd name="connsiteX3370" fmla="*/ 4503599 w 12243467"/>
              <a:gd name="connsiteY3370" fmla="*/ 156786 h 4565177"/>
              <a:gd name="connsiteX3371" fmla="*/ 4500281 w 12243467"/>
              <a:gd name="connsiteY3371" fmla="*/ 156685 h 4565177"/>
              <a:gd name="connsiteX3372" fmla="*/ 4498067 w 12243467"/>
              <a:gd name="connsiteY3372" fmla="*/ 150413 h 4565177"/>
              <a:gd name="connsiteX3373" fmla="*/ 4503322 w 12243467"/>
              <a:gd name="connsiteY3373" fmla="*/ 148694 h 4565177"/>
              <a:gd name="connsiteX3374" fmla="*/ 4736420 w 12243467"/>
              <a:gd name="connsiteY3374" fmla="*/ 144408 h 4565177"/>
              <a:gd name="connsiteX3375" fmla="*/ 4748934 w 12243467"/>
              <a:gd name="connsiteY3375" fmla="*/ 148997 h 4565177"/>
              <a:gd name="connsiteX3376" fmla="*/ 4743679 w 12243467"/>
              <a:gd name="connsiteY3376" fmla="*/ 150009 h 4565177"/>
              <a:gd name="connsiteX3377" fmla="*/ 4720169 w 12243467"/>
              <a:gd name="connsiteY3377" fmla="*/ 148087 h 4565177"/>
              <a:gd name="connsiteX3378" fmla="*/ 4736420 w 12243467"/>
              <a:gd name="connsiteY3378" fmla="*/ 144408 h 4565177"/>
              <a:gd name="connsiteX3379" fmla="*/ 4685804 w 12243467"/>
              <a:gd name="connsiteY3379" fmla="*/ 144408 h 4565177"/>
              <a:gd name="connsiteX3380" fmla="*/ 4694170 w 12243467"/>
              <a:gd name="connsiteY3380" fmla="*/ 147075 h 4565177"/>
              <a:gd name="connsiteX3381" fmla="*/ 4683935 w 12243467"/>
              <a:gd name="connsiteY3381" fmla="*/ 150515 h 4565177"/>
              <a:gd name="connsiteX3382" fmla="*/ 4680340 w 12243467"/>
              <a:gd name="connsiteY3382" fmla="*/ 145457 h 4565177"/>
              <a:gd name="connsiteX3383" fmla="*/ 4685804 w 12243467"/>
              <a:gd name="connsiteY3383" fmla="*/ 144408 h 4565177"/>
              <a:gd name="connsiteX3384" fmla="*/ 4523791 w 12243467"/>
              <a:gd name="connsiteY3384" fmla="*/ 144344 h 4565177"/>
              <a:gd name="connsiteX3385" fmla="*/ 4529598 w 12243467"/>
              <a:gd name="connsiteY3385" fmla="*/ 151830 h 4565177"/>
              <a:gd name="connsiteX3386" fmla="*/ 4521855 w 12243467"/>
              <a:gd name="connsiteY3386" fmla="*/ 153246 h 4565177"/>
              <a:gd name="connsiteX3387" fmla="*/ 4522130 w 12243467"/>
              <a:gd name="connsiteY3387" fmla="*/ 147783 h 4565177"/>
              <a:gd name="connsiteX3388" fmla="*/ 4523791 w 12243467"/>
              <a:gd name="connsiteY3388" fmla="*/ 144344 h 4565177"/>
              <a:gd name="connsiteX3389" fmla="*/ 4661152 w 12243467"/>
              <a:gd name="connsiteY3389" fmla="*/ 143207 h 4565177"/>
              <a:gd name="connsiteX3390" fmla="*/ 4670660 w 12243467"/>
              <a:gd name="connsiteY3390" fmla="*/ 144850 h 4565177"/>
              <a:gd name="connsiteX3391" fmla="*/ 4654894 w 12243467"/>
              <a:gd name="connsiteY3391" fmla="*/ 150009 h 4565177"/>
              <a:gd name="connsiteX3392" fmla="*/ 4654894 w 12243467"/>
              <a:gd name="connsiteY3392" fmla="*/ 151627 h 4565177"/>
              <a:gd name="connsiteX3393" fmla="*/ 4653234 w 12243467"/>
              <a:gd name="connsiteY3393" fmla="*/ 150110 h 4565177"/>
              <a:gd name="connsiteX3394" fmla="*/ 4651021 w 12243467"/>
              <a:gd name="connsiteY3394" fmla="*/ 145052 h 4565177"/>
              <a:gd name="connsiteX3395" fmla="*/ 4661152 w 12243467"/>
              <a:gd name="connsiteY3395" fmla="*/ 143207 h 4565177"/>
              <a:gd name="connsiteX3396" fmla="*/ 4602134 w 12243467"/>
              <a:gd name="connsiteY3396" fmla="*/ 142638 h 4565177"/>
              <a:gd name="connsiteX3397" fmla="*/ 4622256 w 12243467"/>
              <a:gd name="connsiteY3397" fmla="*/ 145963 h 4565177"/>
              <a:gd name="connsiteX3398" fmla="*/ 4634703 w 12243467"/>
              <a:gd name="connsiteY3398" fmla="*/ 145154 h 4565177"/>
              <a:gd name="connsiteX3399" fmla="*/ 4626405 w 12243467"/>
              <a:gd name="connsiteY3399" fmla="*/ 148795 h 4565177"/>
              <a:gd name="connsiteX3400" fmla="*/ 4604832 w 12243467"/>
              <a:gd name="connsiteY3400" fmla="*/ 149604 h 4565177"/>
              <a:gd name="connsiteX3401" fmla="*/ 4595981 w 12243467"/>
              <a:gd name="connsiteY3401" fmla="*/ 149705 h 4565177"/>
              <a:gd name="connsiteX3402" fmla="*/ 4585194 w 12243467"/>
              <a:gd name="connsiteY3402" fmla="*/ 148795 h 4565177"/>
              <a:gd name="connsiteX3403" fmla="*/ 4580767 w 12243467"/>
              <a:gd name="connsiteY3403" fmla="*/ 146064 h 4565177"/>
              <a:gd name="connsiteX3404" fmla="*/ 4602134 w 12243467"/>
              <a:gd name="connsiteY3404" fmla="*/ 142638 h 4565177"/>
              <a:gd name="connsiteX3405" fmla="*/ 4503875 w 12243467"/>
              <a:gd name="connsiteY3405" fmla="*/ 135544 h 4565177"/>
              <a:gd name="connsiteX3406" fmla="*/ 4508025 w 12243467"/>
              <a:gd name="connsiteY3406" fmla="*/ 140500 h 4565177"/>
              <a:gd name="connsiteX3407" fmla="*/ 4501110 w 12243467"/>
              <a:gd name="connsiteY3407" fmla="*/ 142625 h 4565177"/>
              <a:gd name="connsiteX3408" fmla="*/ 4492812 w 12243467"/>
              <a:gd name="connsiteY3408" fmla="*/ 141107 h 4565177"/>
              <a:gd name="connsiteX3409" fmla="*/ 4503875 w 12243467"/>
              <a:gd name="connsiteY3409" fmla="*/ 135544 h 4565177"/>
              <a:gd name="connsiteX3410" fmla="*/ 4561959 w 12243467"/>
              <a:gd name="connsiteY3410" fmla="*/ 132914 h 4565177"/>
              <a:gd name="connsiteX3411" fmla="*/ 4550619 w 12243467"/>
              <a:gd name="connsiteY3411" fmla="*/ 151830 h 4565177"/>
              <a:gd name="connsiteX3412" fmla="*/ 4535131 w 12243467"/>
              <a:gd name="connsiteY3412" fmla="*/ 145558 h 4565177"/>
              <a:gd name="connsiteX3413" fmla="*/ 4564449 w 12243467"/>
              <a:gd name="connsiteY3413" fmla="*/ 144445 h 4565177"/>
              <a:gd name="connsiteX3414" fmla="*/ 4561959 w 12243467"/>
              <a:gd name="connsiteY3414" fmla="*/ 132914 h 4565177"/>
              <a:gd name="connsiteX3415" fmla="*/ 3121064 w 12243467"/>
              <a:gd name="connsiteY3415" fmla="*/ 130702 h 4565177"/>
              <a:gd name="connsiteX3416" fmla="*/ 3133926 w 12243467"/>
              <a:gd name="connsiteY3416" fmla="*/ 133420 h 4565177"/>
              <a:gd name="connsiteX3417" fmla="*/ 3116501 w 12243467"/>
              <a:gd name="connsiteY3417" fmla="*/ 139590 h 4565177"/>
              <a:gd name="connsiteX3418" fmla="*/ 3108203 w 12243467"/>
              <a:gd name="connsiteY3418" fmla="*/ 136859 h 4565177"/>
              <a:gd name="connsiteX3419" fmla="*/ 3121064 w 12243467"/>
              <a:gd name="connsiteY3419" fmla="*/ 130702 h 4565177"/>
              <a:gd name="connsiteX3420" fmla="*/ 3171542 w 12243467"/>
              <a:gd name="connsiteY3420" fmla="*/ 113695 h 4565177"/>
              <a:gd name="connsiteX3421" fmla="*/ 3164627 w 12243467"/>
              <a:gd name="connsiteY3421" fmla="*/ 122192 h 4565177"/>
              <a:gd name="connsiteX3422" fmla="*/ 3171542 w 12243467"/>
              <a:gd name="connsiteY3422" fmla="*/ 113695 h 4565177"/>
              <a:gd name="connsiteX3423" fmla="*/ 3147202 w 12243467"/>
              <a:gd name="connsiteY3423" fmla="*/ 109750 h 4565177"/>
              <a:gd name="connsiteX3424" fmla="*/ 3079714 w 12243467"/>
              <a:gd name="connsiteY3424" fmla="*/ 140905 h 4565177"/>
              <a:gd name="connsiteX3425" fmla="*/ 3075012 w 12243467"/>
              <a:gd name="connsiteY3425" fmla="*/ 155471 h 4565177"/>
              <a:gd name="connsiteX3426" fmla="*/ 3067821 w 12243467"/>
              <a:gd name="connsiteY3426" fmla="*/ 155168 h 4565177"/>
              <a:gd name="connsiteX3427" fmla="*/ 3069480 w 12243467"/>
              <a:gd name="connsiteY3427" fmla="*/ 152538 h 4565177"/>
              <a:gd name="connsiteX3428" fmla="*/ 3058693 w 12243467"/>
              <a:gd name="connsiteY3428" fmla="*/ 138477 h 4565177"/>
              <a:gd name="connsiteX3429" fmla="*/ 3147202 w 12243467"/>
              <a:gd name="connsiteY3429" fmla="*/ 109750 h 4565177"/>
              <a:gd name="connsiteX3430" fmla="*/ 4552762 w 12243467"/>
              <a:gd name="connsiteY3430" fmla="*/ 106134 h 4565177"/>
              <a:gd name="connsiteX3431" fmla="*/ 4569428 w 12243467"/>
              <a:gd name="connsiteY3431" fmla="*/ 106513 h 4565177"/>
              <a:gd name="connsiteX3432" fmla="*/ 4555598 w 12243467"/>
              <a:gd name="connsiteY3432" fmla="*/ 116325 h 4565177"/>
              <a:gd name="connsiteX3433" fmla="*/ 4556427 w 12243467"/>
              <a:gd name="connsiteY3433" fmla="*/ 111874 h 4565177"/>
              <a:gd name="connsiteX3434" fmla="*/ 4547576 w 12243467"/>
              <a:gd name="connsiteY3434" fmla="*/ 120068 h 4565177"/>
              <a:gd name="connsiteX3435" fmla="*/ 4541215 w 12243467"/>
              <a:gd name="connsiteY3435" fmla="*/ 121282 h 4565177"/>
              <a:gd name="connsiteX3436" fmla="*/ 4535406 w 12243467"/>
              <a:gd name="connsiteY3436" fmla="*/ 120877 h 4565177"/>
              <a:gd name="connsiteX3437" fmla="*/ 4543704 w 12243467"/>
              <a:gd name="connsiteY3437" fmla="*/ 115111 h 4565177"/>
              <a:gd name="connsiteX3438" fmla="*/ 4535683 w 12243467"/>
              <a:gd name="connsiteY3438" fmla="*/ 107424 h 4565177"/>
              <a:gd name="connsiteX3439" fmla="*/ 4552762 w 12243467"/>
              <a:gd name="connsiteY3439" fmla="*/ 106134 h 4565177"/>
              <a:gd name="connsiteX3440" fmla="*/ 4517361 w 12243467"/>
              <a:gd name="connsiteY3440" fmla="*/ 105312 h 4565177"/>
              <a:gd name="connsiteX3441" fmla="*/ 4532088 w 12243467"/>
              <a:gd name="connsiteY3441" fmla="*/ 113291 h 4565177"/>
              <a:gd name="connsiteX3442" fmla="*/ 4496684 w 12243467"/>
              <a:gd name="connsiteY3442" fmla="*/ 120978 h 4565177"/>
              <a:gd name="connsiteX3443" fmla="*/ 4493918 w 12243467"/>
              <a:gd name="connsiteY3443" fmla="*/ 121888 h 4565177"/>
              <a:gd name="connsiteX3444" fmla="*/ 4488110 w 12243467"/>
              <a:gd name="connsiteY3444" fmla="*/ 121383 h 4565177"/>
              <a:gd name="connsiteX3445" fmla="*/ 4478429 w 12243467"/>
              <a:gd name="connsiteY3445" fmla="*/ 116629 h 4565177"/>
              <a:gd name="connsiteX3446" fmla="*/ 4511343 w 12243467"/>
              <a:gd name="connsiteY3446" fmla="*/ 108637 h 4565177"/>
              <a:gd name="connsiteX3447" fmla="*/ 4517361 w 12243467"/>
              <a:gd name="connsiteY3447" fmla="*/ 105312 h 4565177"/>
              <a:gd name="connsiteX3448" fmla="*/ 3288297 w 12243467"/>
              <a:gd name="connsiteY3448" fmla="*/ 74701 h 4565177"/>
              <a:gd name="connsiteX3449" fmla="*/ 3305412 w 12243467"/>
              <a:gd name="connsiteY3449" fmla="*/ 76977 h 4565177"/>
              <a:gd name="connsiteX3450" fmla="*/ 3290199 w 12243467"/>
              <a:gd name="connsiteY3450" fmla="*/ 82641 h 4565177"/>
              <a:gd name="connsiteX3451" fmla="*/ 3274709 w 12243467"/>
              <a:gd name="connsiteY3451" fmla="*/ 81529 h 4565177"/>
              <a:gd name="connsiteX3452" fmla="*/ 3288297 w 12243467"/>
              <a:gd name="connsiteY3452" fmla="*/ 74701 h 4565177"/>
              <a:gd name="connsiteX3453" fmla="*/ 4453537 w 12243467"/>
              <a:gd name="connsiteY3453" fmla="*/ 39146 h 4565177"/>
              <a:gd name="connsiteX3454" fmla="*/ 4434175 w 12243467"/>
              <a:gd name="connsiteY3454" fmla="*/ 47946 h 4565177"/>
              <a:gd name="connsiteX3455" fmla="*/ 4453537 w 12243467"/>
              <a:gd name="connsiteY3455" fmla="*/ 39146 h 4565177"/>
              <a:gd name="connsiteX3456" fmla="*/ 4470754 w 12243467"/>
              <a:gd name="connsiteY3456" fmla="*/ 34582 h 4565177"/>
              <a:gd name="connsiteX3457" fmla="*/ 4472898 w 12243467"/>
              <a:gd name="connsiteY3457" fmla="*/ 38640 h 4565177"/>
              <a:gd name="connsiteX3458" fmla="*/ 4468195 w 12243467"/>
              <a:gd name="connsiteY3458" fmla="*/ 38134 h 4565177"/>
              <a:gd name="connsiteX3459" fmla="*/ 4470132 w 12243467"/>
              <a:gd name="connsiteY3459" fmla="*/ 40663 h 4565177"/>
              <a:gd name="connsiteX3460" fmla="*/ 4469301 w 12243467"/>
              <a:gd name="connsiteY3460" fmla="*/ 42585 h 4565177"/>
              <a:gd name="connsiteX3461" fmla="*/ 4467919 w 12243467"/>
              <a:gd name="connsiteY3461" fmla="*/ 42484 h 4565177"/>
              <a:gd name="connsiteX3462" fmla="*/ 4462663 w 12243467"/>
              <a:gd name="connsiteY3462" fmla="*/ 42180 h 4565177"/>
              <a:gd name="connsiteX3463" fmla="*/ 4464046 w 12243467"/>
              <a:gd name="connsiteY3463" fmla="*/ 35302 h 4565177"/>
              <a:gd name="connsiteX3464" fmla="*/ 4470754 w 12243467"/>
              <a:gd name="connsiteY3464" fmla="*/ 34582 h 4565177"/>
              <a:gd name="connsiteX3465" fmla="*/ 4566385 w 12243467"/>
              <a:gd name="connsiteY3465" fmla="*/ 28828 h 4565177"/>
              <a:gd name="connsiteX3466" fmla="*/ 4517705 w 12243467"/>
              <a:gd name="connsiteY3466" fmla="*/ 44001 h 4565177"/>
              <a:gd name="connsiteX3467" fmla="*/ 4496131 w 12243467"/>
              <a:gd name="connsiteY3467" fmla="*/ 44102 h 4565177"/>
              <a:gd name="connsiteX3468" fmla="*/ 4475386 w 12243467"/>
              <a:gd name="connsiteY3468" fmla="*/ 39247 h 4565177"/>
              <a:gd name="connsiteX3469" fmla="*/ 4475386 w 12243467"/>
              <a:gd name="connsiteY3469" fmla="*/ 35606 h 4565177"/>
              <a:gd name="connsiteX3470" fmla="*/ 4478152 w 12243467"/>
              <a:gd name="connsiteY3470" fmla="*/ 37224 h 4565177"/>
              <a:gd name="connsiteX3471" fmla="*/ 4566385 w 12243467"/>
              <a:gd name="connsiteY3471" fmla="*/ 28828 h 4565177"/>
              <a:gd name="connsiteX3472" fmla="*/ 4443025 w 12243467"/>
              <a:gd name="connsiteY3472" fmla="*/ 17398 h 4565177"/>
              <a:gd name="connsiteX3473" fmla="*/ 4427813 w 12243467"/>
              <a:gd name="connsiteY3473" fmla="*/ 33987 h 4565177"/>
              <a:gd name="connsiteX3474" fmla="*/ 4407900 w 12243467"/>
              <a:gd name="connsiteY3474" fmla="*/ 36314 h 4565177"/>
              <a:gd name="connsiteX3475" fmla="*/ 4415920 w 12243467"/>
              <a:gd name="connsiteY3475" fmla="*/ 57657 h 4565177"/>
              <a:gd name="connsiteX3476" fmla="*/ 4376644 w 12243467"/>
              <a:gd name="connsiteY3476" fmla="*/ 60186 h 4565177"/>
              <a:gd name="connsiteX3477" fmla="*/ 4295880 w 12243467"/>
              <a:gd name="connsiteY3477" fmla="*/ 78595 h 4565177"/>
              <a:gd name="connsiteX3478" fmla="*/ 4258540 w 12243467"/>
              <a:gd name="connsiteY3478" fmla="*/ 85777 h 4565177"/>
              <a:gd name="connsiteX3479" fmla="*/ 4199903 w 12243467"/>
              <a:gd name="connsiteY3479" fmla="*/ 102063 h 4565177"/>
              <a:gd name="connsiteX3480" fmla="*/ 4194094 w 12243467"/>
              <a:gd name="connsiteY3480" fmla="*/ 94577 h 4565177"/>
              <a:gd name="connsiteX3481" fmla="*/ 4157585 w 12243467"/>
              <a:gd name="connsiteY3481" fmla="*/ 108739 h 4565177"/>
              <a:gd name="connsiteX3482" fmla="*/ 4114161 w 12243467"/>
              <a:gd name="connsiteY3482" fmla="*/ 119865 h 4565177"/>
              <a:gd name="connsiteX3483" fmla="*/ 3981398 w 12243467"/>
              <a:gd name="connsiteY3483" fmla="*/ 171150 h 4565177"/>
              <a:gd name="connsiteX3484" fmla="*/ 3967568 w 12243467"/>
              <a:gd name="connsiteY3484" fmla="*/ 167306 h 4565177"/>
              <a:gd name="connsiteX3485" fmla="*/ 3975589 w 12243467"/>
              <a:gd name="connsiteY3485" fmla="*/ 174993 h 4565177"/>
              <a:gd name="connsiteX3486" fmla="*/ 3848634 w 12243467"/>
              <a:gd name="connsiteY3486" fmla="*/ 220209 h 4565177"/>
              <a:gd name="connsiteX3487" fmla="*/ 3853337 w 12243467"/>
              <a:gd name="connsiteY3487" fmla="*/ 209284 h 4565177"/>
              <a:gd name="connsiteX3488" fmla="*/ 3819592 w 12243467"/>
              <a:gd name="connsiteY3488" fmla="*/ 232954 h 4565177"/>
              <a:gd name="connsiteX3489" fmla="*/ 3788614 w 12243467"/>
              <a:gd name="connsiteY3489" fmla="*/ 243170 h 4565177"/>
              <a:gd name="connsiteX3490" fmla="*/ 3792763 w 12243467"/>
              <a:gd name="connsiteY3490" fmla="*/ 234471 h 4565177"/>
              <a:gd name="connsiteX3491" fmla="*/ 3767039 w 12243467"/>
              <a:gd name="connsiteY3491" fmla="*/ 243069 h 4565177"/>
              <a:gd name="connsiteX3492" fmla="*/ 3777826 w 12243467"/>
              <a:gd name="connsiteY3492" fmla="*/ 248734 h 4565177"/>
              <a:gd name="connsiteX3493" fmla="*/ 3746573 w 12243467"/>
              <a:gd name="connsiteY3493" fmla="*/ 261175 h 4565177"/>
              <a:gd name="connsiteX3494" fmla="*/ 3762338 w 12243467"/>
              <a:gd name="connsiteY3494" fmla="*/ 253892 h 4565177"/>
              <a:gd name="connsiteX3495" fmla="*/ 3756530 w 12243467"/>
              <a:gd name="connsiteY3495" fmla="*/ 246407 h 4565177"/>
              <a:gd name="connsiteX3496" fmla="*/ 3737722 w 12243467"/>
              <a:gd name="connsiteY3496" fmla="*/ 269369 h 4565177"/>
              <a:gd name="connsiteX3497" fmla="*/ 3732467 w 12243467"/>
              <a:gd name="connsiteY3497" fmla="*/ 259658 h 4565177"/>
              <a:gd name="connsiteX3498" fmla="*/ 3599149 w 12243467"/>
              <a:gd name="connsiteY3498" fmla="*/ 335927 h 4565177"/>
              <a:gd name="connsiteX3499" fmla="*/ 3583384 w 12243467"/>
              <a:gd name="connsiteY3499" fmla="*/ 329655 h 4565177"/>
              <a:gd name="connsiteX3500" fmla="*/ 3565683 w 12243467"/>
              <a:gd name="connsiteY3500" fmla="*/ 357270 h 4565177"/>
              <a:gd name="connsiteX3501" fmla="*/ 3494046 w 12243467"/>
              <a:gd name="connsiteY3501" fmla="*/ 403901 h 4565177"/>
              <a:gd name="connsiteX3502" fmla="*/ 3280241 w 12243467"/>
              <a:gd name="connsiteY3502" fmla="*/ 544099 h 4565177"/>
              <a:gd name="connsiteX3503" fmla="*/ 3265029 w 12243467"/>
              <a:gd name="connsiteY3503" fmla="*/ 560485 h 4565177"/>
              <a:gd name="connsiteX3504" fmla="*/ 3283008 w 12243467"/>
              <a:gd name="connsiteY3504" fmla="*/ 554416 h 4565177"/>
              <a:gd name="connsiteX3505" fmla="*/ 3336390 w 12243467"/>
              <a:gd name="connsiteY3505" fmla="*/ 532871 h 4565177"/>
              <a:gd name="connsiteX3506" fmla="*/ 3350495 w 12243467"/>
              <a:gd name="connsiteY3506" fmla="*/ 536816 h 4565177"/>
              <a:gd name="connsiteX3507" fmla="*/ 3359346 w 12243467"/>
              <a:gd name="connsiteY3507" fmla="*/ 532567 h 4565177"/>
              <a:gd name="connsiteX3508" fmla="*/ 3365432 w 12243467"/>
              <a:gd name="connsiteY3508" fmla="*/ 533174 h 4565177"/>
              <a:gd name="connsiteX3509" fmla="*/ 3389772 w 12243467"/>
              <a:gd name="connsiteY3509" fmla="*/ 515270 h 4565177"/>
              <a:gd name="connsiteX3510" fmla="*/ 3386729 w 12243467"/>
              <a:gd name="connsiteY3510" fmla="*/ 505863 h 4565177"/>
              <a:gd name="connsiteX3511" fmla="*/ 3407750 w 12243467"/>
              <a:gd name="connsiteY3511" fmla="*/ 496860 h 4565177"/>
              <a:gd name="connsiteX3512" fmla="*/ 3534981 w 12243467"/>
              <a:gd name="connsiteY3512" fmla="*/ 415332 h 4565177"/>
              <a:gd name="connsiteX3513" fmla="*/ 3542449 w 12243467"/>
              <a:gd name="connsiteY3513" fmla="*/ 413814 h 4565177"/>
              <a:gd name="connsiteX3514" fmla="*/ 3546598 w 12243467"/>
              <a:gd name="connsiteY3514" fmla="*/ 405216 h 4565177"/>
              <a:gd name="connsiteX3515" fmla="*/ 3578959 w 12243467"/>
              <a:gd name="connsiteY3515" fmla="*/ 388324 h 4565177"/>
              <a:gd name="connsiteX3516" fmla="*/ 3679637 w 12243467"/>
              <a:gd name="connsiteY3516" fmla="*/ 342502 h 4565177"/>
              <a:gd name="connsiteX3517" fmla="*/ 3689042 w 12243467"/>
              <a:gd name="connsiteY3517" fmla="*/ 332184 h 4565177"/>
              <a:gd name="connsiteX3518" fmla="*/ 3708127 w 12243467"/>
              <a:gd name="connsiteY3518" fmla="*/ 332083 h 4565177"/>
              <a:gd name="connsiteX3519" fmla="*/ 3739935 w 12243467"/>
              <a:gd name="connsiteY3519" fmla="*/ 317416 h 4565177"/>
              <a:gd name="connsiteX3520" fmla="*/ 3747125 w 12243467"/>
              <a:gd name="connsiteY3520" fmla="*/ 329554 h 4565177"/>
              <a:gd name="connsiteX3521" fmla="*/ 3745742 w 12243467"/>
              <a:gd name="connsiteY3521" fmla="*/ 313471 h 4565177"/>
              <a:gd name="connsiteX3522" fmla="*/ 3769253 w 12243467"/>
              <a:gd name="connsiteY3522" fmla="*/ 316000 h 4565177"/>
              <a:gd name="connsiteX3523" fmla="*/ 3799677 w 12243467"/>
              <a:gd name="connsiteY3523" fmla="*/ 296680 h 4565177"/>
              <a:gd name="connsiteX3524" fmla="*/ 3816273 w 12243467"/>
              <a:gd name="connsiteY3524" fmla="*/ 284845 h 4565177"/>
              <a:gd name="connsiteX3525" fmla="*/ 3812953 w 12243467"/>
              <a:gd name="connsiteY3525" fmla="*/ 277663 h 4565177"/>
              <a:gd name="connsiteX3526" fmla="*/ 3827059 w 12243467"/>
              <a:gd name="connsiteY3526" fmla="*/ 267851 h 4565177"/>
              <a:gd name="connsiteX3527" fmla="*/ 3855548 w 12243467"/>
              <a:gd name="connsiteY3527" fmla="*/ 257332 h 4565177"/>
              <a:gd name="connsiteX3528" fmla="*/ 3863847 w 12243467"/>
              <a:gd name="connsiteY3528" fmla="*/ 265120 h 4565177"/>
              <a:gd name="connsiteX3529" fmla="*/ 3879336 w 12243467"/>
              <a:gd name="connsiteY3529" fmla="*/ 246306 h 4565177"/>
              <a:gd name="connsiteX3530" fmla="*/ 3896760 w 12243467"/>
              <a:gd name="connsiteY3530" fmla="*/ 243676 h 4565177"/>
              <a:gd name="connsiteX3531" fmla="*/ 3990249 w 12243467"/>
              <a:gd name="connsiteY3531" fmla="*/ 210801 h 4565177"/>
              <a:gd name="connsiteX3532" fmla="*/ 4001865 w 12243467"/>
              <a:gd name="connsiteY3532" fmla="*/ 200686 h 4565177"/>
              <a:gd name="connsiteX3533" fmla="*/ 4105033 w 12243467"/>
              <a:gd name="connsiteY3533" fmla="*/ 178028 h 4565177"/>
              <a:gd name="connsiteX3534" fmla="*/ 4114437 w 12243467"/>
              <a:gd name="connsiteY3534" fmla="*/ 167609 h 4565177"/>
              <a:gd name="connsiteX3535" fmla="*/ 4133799 w 12243467"/>
              <a:gd name="connsiteY3535" fmla="*/ 178938 h 4565177"/>
              <a:gd name="connsiteX3536" fmla="*/ 4172797 w 12243467"/>
              <a:gd name="connsiteY3536" fmla="*/ 164979 h 4565177"/>
              <a:gd name="connsiteX3537" fmla="*/ 4193265 w 12243467"/>
              <a:gd name="connsiteY3537" fmla="*/ 146772 h 4565177"/>
              <a:gd name="connsiteX3538" fmla="*/ 4204052 w 12243467"/>
              <a:gd name="connsiteY3538" fmla="*/ 152538 h 4565177"/>
              <a:gd name="connsiteX3539" fmla="*/ 4245818 w 12243467"/>
              <a:gd name="connsiteY3539" fmla="*/ 147986 h 4565177"/>
              <a:gd name="connsiteX3540" fmla="*/ 4280944 w 12243467"/>
              <a:gd name="connsiteY3540" fmla="*/ 129171 h 4565177"/>
              <a:gd name="connsiteX3541" fmla="*/ 4444686 w 12243467"/>
              <a:gd name="connsiteY3541" fmla="*/ 117741 h 4565177"/>
              <a:gd name="connsiteX3542" fmla="*/ 4457962 w 12243467"/>
              <a:gd name="connsiteY3542" fmla="*/ 112380 h 4565177"/>
              <a:gd name="connsiteX3543" fmla="*/ 4381899 w 12243467"/>
              <a:gd name="connsiteY3543" fmla="*/ 142625 h 4565177"/>
              <a:gd name="connsiteX3544" fmla="*/ 4380793 w 12243467"/>
              <a:gd name="connsiteY3544" fmla="*/ 160630 h 4565177"/>
              <a:gd name="connsiteX3545" fmla="*/ 4462941 w 12243467"/>
              <a:gd name="connsiteY3545" fmla="*/ 146974 h 4565177"/>
              <a:gd name="connsiteX3546" fmla="*/ 4492259 w 12243467"/>
              <a:gd name="connsiteY3546" fmla="*/ 157089 h 4565177"/>
              <a:gd name="connsiteX3547" fmla="*/ 4398218 w 12243467"/>
              <a:gd name="connsiteY3547" fmla="*/ 169430 h 4565177"/>
              <a:gd name="connsiteX3548" fmla="*/ 4389920 w 12243467"/>
              <a:gd name="connsiteY3548" fmla="*/ 186727 h 4565177"/>
              <a:gd name="connsiteX3549" fmla="*/ 4401814 w 12243467"/>
              <a:gd name="connsiteY3549" fmla="*/ 188042 h 4565177"/>
              <a:gd name="connsiteX3550" fmla="*/ 4395729 w 12243467"/>
              <a:gd name="connsiteY3550" fmla="*/ 194212 h 4565177"/>
              <a:gd name="connsiteX3551" fmla="*/ 4401538 w 12243467"/>
              <a:gd name="connsiteY3551" fmla="*/ 201698 h 4565177"/>
              <a:gd name="connsiteX3552" fmla="*/ 4430027 w 12243467"/>
              <a:gd name="connsiteY3552" fmla="*/ 191178 h 4565177"/>
              <a:gd name="connsiteX3553" fmla="*/ 4423664 w 12243467"/>
              <a:gd name="connsiteY3553" fmla="*/ 210903 h 4565177"/>
              <a:gd name="connsiteX3554" fmla="*/ 4439706 w 12243467"/>
              <a:gd name="connsiteY3554" fmla="*/ 226278 h 4565177"/>
              <a:gd name="connsiteX3555" fmla="*/ 4425600 w 12243467"/>
              <a:gd name="connsiteY3555" fmla="*/ 224760 h 4565177"/>
              <a:gd name="connsiteX3556" fmla="*/ 4418409 w 12243467"/>
              <a:gd name="connsiteY3556" fmla="*/ 212622 h 4565177"/>
              <a:gd name="connsiteX3557" fmla="*/ 4417027 w 12243467"/>
              <a:gd name="connsiteY3557" fmla="*/ 219197 h 4565177"/>
              <a:gd name="connsiteX3558" fmla="*/ 4401538 w 12243467"/>
              <a:gd name="connsiteY3558" fmla="*/ 213027 h 4565177"/>
              <a:gd name="connsiteX3559" fmla="*/ 4406239 w 12243467"/>
              <a:gd name="connsiteY3559" fmla="*/ 224862 h 4565177"/>
              <a:gd name="connsiteX3560" fmla="*/ 4388262 w 12243467"/>
              <a:gd name="connsiteY3560" fmla="*/ 243372 h 4565177"/>
              <a:gd name="connsiteX3561" fmla="*/ 4366410 w 12243467"/>
              <a:gd name="connsiteY3561" fmla="*/ 231841 h 4565177"/>
              <a:gd name="connsiteX3562" fmla="*/ 4309709 w 12243467"/>
              <a:gd name="connsiteY3562" fmla="*/ 239225 h 4565177"/>
              <a:gd name="connsiteX3563" fmla="*/ 4295603 w 12243467"/>
              <a:gd name="connsiteY3563" fmla="*/ 249037 h 4565177"/>
              <a:gd name="connsiteX3564" fmla="*/ 4301965 w 12243467"/>
              <a:gd name="connsiteY3564" fmla="*/ 240743 h 4565177"/>
              <a:gd name="connsiteX3565" fmla="*/ 4275135 w 12243467"/>
              <a:gd name="connsiteY3565" fmla="*/ 242260 h 4565177"/>
              <a:gd name="connsiteX3566" fmla="*/ 4276796 w 12243467"/>
              <a:gd name="connsiteY3566" fmla="*/ 258343 h 4565177"/>
              <a:gd name="connsiteX3567" fmla="*/ 4266838 w 12243467"/>
              <a:gd name="connsiteY3567" fmla="*/ 259557 h 4565177"/>
              <a:gd name="connsiteX3568" fmla="*/ 4271540 w 12243467"/>
              <a:gd name="connsiteY3568" fmla="*/ 248632 h 4565177"/>
              <a:gd name="connsiteX3569" fmla="*/ 4264072 w 12243467"/>
              <a:gd name="connsiteY3569" fmla="*/ 250150 h 4565177"/>
              <a:gd name="connsiteX3570" fmla="*/ 4265178 w 12243467"/>
              <a:gd name="connsiteY3570" fmla="*/ 257028 h 4565177"/>
              <a:gd name="connsiteX3571" fmla="*/ 4201563 w 12243467"/>
              <a:gd name="connsiteY3571" fmla="*/ 272808 h 4565177"/>
              <a:gd name="connsiteX3572" fmla="*/ 4181648 w 12243467"/>
              <a:gd name="connsiteY3572" fmla="*/ 277461 h 4565177"/>
              <a:gd name="connsiteX3573" fmla="*/ 4182478 w 12243467"/>
              <a:gd name="connsiteY3573" fmla="*/ 284339 h 4565177"/>
              <a:gd name="connsiteX3574" fmla="*/ 4131863 w 12243467"/>
              <a:gd name="connsiteY3574" fmla="*/ 296983 h 4565177"/>
              <a:gd name="connsiteX3575" fmla="*/ 4126054 w 12243467"/>
              <a:gd name="connsiteY3575" fmla="*/ 289498 h 4565177"/>
              <a:gd name="connsiteX3576" fmla="*/ 4048608 w 12243467"/>
              <a:gd name="connsiteY3576" fmla="*/ 314988 h 4565177"/>
              <a:gd name="connsiteX3577" fmla="*/ 4047226 w 12243467"/>
              <a:gd name="connsiteY3577" fmla="*/ 321766 h 4565177"/>
              <a:gd name="connsiteX3578" fmla="*/ 4048885 w 12243467"/>
              <a:gd name="connsiteY3578" fmla="*/ 326520 h 4565177"/>
              <a:gd name="connsiteX3579" fmla="*/ 4059949 w 12243467"/>
              <a:gd name="connsiteY3579" fmla="*/ 318630 h 4565177"/>
              <a:gd name="connsiteX3580" fmla="*/ 4069077 w 12243467"/>
              <a:gd name="connsiteY3580" fmla="*/ 321867 h 4565177"/>
              <a:gd name="connsiteX3581" fmla="*/ 4015695 w 12243467"/>
              <a:gd name="connsiteY3581" fmla="*/ 347762 h 4565177"/>
              <a:gd name="connsiteX3582" fmla="*/ 4021502 w 12243467"/>
              <a:gd name="connsiteY3582" fmla="*/ 355247 h 4565177"/>
              <a:gd name="connsiteX3583" fmla="*/ 3967568 w 12243467"/>
              <a:gd name="connsiteY3583" fmla="*/ 383469 h 4565177"/>
              <a:gd name="connsiteX3584" fmla="*/ 3979461 w 12243467"/>
              <a:gd name="connsiteY3584" fmla="*/ 396113 h 4565177"/>
              <a:gd name="connsiteX3585" fmla="*/ 4023439 w 12243467"/>
              <a:gd name="connsiteY3585" fmla="*/ 380535 h 4565177"/>
              <a:gd name="connsiteX3586" fmla="*/ 4054970 w 12243467"/>
              <a:gd name="connsiteY3586" fmla="*/ 368093 h 4565177"/>
              <a:gd name="connsiteX3587" fmla="*/ 4113055 w 12243467"/>
              <a:gd name="connsiteY3587" fmla="*/ 354033 h 4565177"/>
              <a:gd name="connsiteX3588" fmla="*/ 4175563 w 12243467"/>
              <a:gd name="connsiteY3588" fmla="*/ 342704 h 4565177"/>
              <a:gd name="connsiteX3589" fmla="*/ 4186904 w 12243467"/>
              <a:gd name="connsiteY3589" fmla="*/ 334814 h 4565177"/>
              <a:gd name="connsiteX3590" fmla="*/ 4195755 w 12243467"/>
              <a:gd name="connsiteY3590" fmla="*/ 338152 h 4565177"/>
              <a:gd name="connsiteX3591" fmla="*/ 4238903 w 12243467"/>
              <a:gd name="connsiteY3591" fmla="*/ 315595 h 4565177"/>
              <a:gd name="connsiteX3592" fmla="*/ 4392133 w 12243467"/>
              <a:gd name="connsiteY3592" fmla="*/ 296073 h 4565177"/>
              <a:gd name="connsiteX3593" fmla="*/ 4410941 w 12243467"/>
              <a:gd name="connsiteY3593" fmla="*/ 286868 h 4565177"/>
              <a:gd name="connsiteX3594" fmla="*/ 4428366 w 12243467"/>
              <a:gd name="connsiteY3594" fmla="*/ 295567 h 4565177"/>
              <a:gd name="connsiteX3595" fmla="*/ 4341517 w 12243467"/>
              <a:gd name="connsiteY3595" fmla="*/ 320046 h 4565177"/>
              <a:gd name="connsiteX3596" fmla="*/ 4348155 w 12243467"/>
              <a:gd name="connsiteY3596" fmla="*/ 323081 h 4565177"/>
              <a:gd name="connsiteX3597" fmla="*/ 4279561 w 12243467"/>
              <a:gd name="connsiteY3597" fmla="*/ 329251 h 4565177"/>
              <a:gd name="connsiteX3598" fmla="*/ 4200456 w 12243467"/>
              <a:gd name="connsiteY3598" fmla="*/ 338658 h 4565177"/>
              <a:gd name="connsiteX3599" fmla="*/ 4169478 w 12243467"/>
              <a:gd name="connsiteY3599" fmla="*/ 348874 h 4565177"/>
              <a:gd name="connsiteX3600" fmla="*/ 4175839 w 12243467"/>
              <a:gd name="connsiteY3600" fmla="*/ 354134 h 4565177"/>
              <a:gd name="connsiteX3601" fmla="*/ 4020120 w 12243467"/>
              <a:gd name="connsiteY3601" fmla="*/ 409667 h 4565177"/>
              <a:gd name="connsiteX3602" fmla="*/ 4045013 w 12243467"/>
              <a:gd name="connsiteY3602" fmla="*/ 417051 h 4565177"/>
              <a:gd name="connsiteX3603" fmla="*/ 4090651 w 12243467"/>
              <a:gd name="connsiteY3603" fmla="*/ 394696 h 4565177"/>
              <a:gd name="connsiteX3604" fmla="*/ 4149563 w 12243467"/>
              <a:gd name="connsiteY3604" fmla="*/ 376287 h 4565177"/>
              <a:gd name="connsiteX3605" fmla="*/ 4192436 w 12243467"/>
              <a:gd name="connsiteY3605" fmla="*/ 367284 h 4565177"/>
              <a:gd name="connsiteX3606" fmla="*/ 4277348 w 12243467"/>
              <a:gd name="connsiteY3606" fmla="*/ 340276 h 4565177"/>
              <a:gd name="connsiteX3607" fmla="*/ 4371389 w 12243467"/>
              <a:gd name="connsiteY3607" fmla="*/ 327936 h 4565177"/>
              <a:gd name="connsiteX3608" fmla="*/ 4121629 w 12243467"/>
              <a:gd name="connsiteY3608" fmla="*/ 395910 h 4565177"/>
              <a:gd name="connsiteX3609" fmla="*/ 4057737 w 12243467"/>
              <a:gd name="connsiteY3609" fmla="*/ 413814 h 4565177"/>
              <a:gd name="connsiteX3610" fmla="*/ 4051927 w 12243467"/>
              <a:gd name="connsiteY3610" fmla="*/ 420086 h 4565177"/>
              <a:gd name="connsiteX3611" fmla="*/ 3949589 w 12243467"/>
              <a:gd name="connsiteY3611" fmla="*/ 449723 h 4565177"/>
              <a:gd name="connsiteX3612" fmla="*/ 4007950 w 12243467"/>
              <a:gd name="connsiteY3612" fmla="*/ 422008 h 4565177"/>
              <a:gd name="connsiteX3613" fmla="*/ 3926909 w 12243467"/>
              <a:gd name="connsiteY3613" fmla="*/ 453972 h 4565177"/>
              <a:gd name="connsiteX3614" fmla="*/ 3840337 w 12243467"/>
              <a:gd name="connsiteY3614" fmla="*/ 489881 h 4565177"/>
              <a:gd name="connsiteX3615" fmla="*/ 3794976 w 12243467"/>
              <a:gd name="connsiteY3615" fmla="*/ 512134 h 4565177"/>
              <a:gd name="connsiteX3616" fmla="*/ 3719189 w 12243467"/>
              <a:gd name="connsiteY3616" fmla="*/ 553809 h 4565177"/>
              <a:gd name="connsiteX3617" fmla="*/ 3643405 w 12243467"/>
              <a:gd name="connsiteY3617" fmla="*/ 595484 h 4565177"/>
              <a:gd name="connsiteX3618" fmla="*/ 3671064 w 12243467"/>
              <a:gd name="connsiteY3618" fmla="*/ 589516 h 4565177"/>
              <a:gd name="connsiteX3619" fmla="*/ 3884868 w 12243467"/>
              <a:gd name="connsiteY3619" fmla="*/ 483508 h 4565177"/>
              <a:gd name="connsiteX3620" fmla="*/ 3752658 w 12243467"/>
              <a:gd name="connsiteY3620" fmla="*/ 555326 h 4565177"/>
              <a:gd name="connsiteX3621" fmla="*/ 3758743 w 12243467"/>
              <a:gd name="connsiteY3621" fmla="*/ 560586 h 4565177"/>
              <a:gd name="connsiteX3622" fmla="*/ 3714212 w 12243467"/>
              <a:gd name="connsiteY3622" fmla="*/ 578288 h 4565177"/>
              <a:gd name="connsiteX3623" fmla="*/ 3712552 w 12243467"/>
              <a:gd name="connsiteY3623" fmla="*/ 587291 h 4565177"/>
              <a:gd name="connsiteX3624" fmla="*/ 3815996 w 12243467"/>
              <a:gd name="connsiteY3624" fmla="*/ 550977 h 4565177"/>
              <a:gd name="connsiteX3625" fmla="*/ 3805486 w 12243467"/>
              <a:gd name="connsiteY3625" fmla="*/ 542986 h 4565177"/>
              <a:gd name="connsiteX3626" fmla="*/ 3812953 w 12243467"/>
              <a:gd name="connsiteY3626" fmla="*/ 530140 h 4565177"/>
              <a:gd name="connsiteX3627" fmla="*/ 3848634 w 12243467"/>
              <a:gd name="connsiteY3627" fmla="*/ 520429 h 4565177"/>
              <a:gd name="connsiteX3628" fmla="*/ 3846422 w 12243467"/>
              <a:gd name="connsiteY3628" fmla="*/ 531455 h 4565177"/>
              <a:gd name="connsiteX3629" fmla="*/ 3953185 w 12243467"/>
              <a:gd name="connsiteY3629" fmla="*/ 491095 h 4565177"/>
              <a:gd name="connsiteX3630" fmla="*/ 3938526 w 12243467"/>
              <a:gd name="connsiteY3630" fmla="*/ 491702 h 4565177"/>
              <a:gd name="connsiteX3631" fmla="*/ 3961760 w 12243467"/>
              <a:gd name="connsiteY3631" fmla="*/ 485127 h 4565177"/>
              <a:gd name="connsiteX3632" fmla="*/ 3955951 w 12243467"/>
              <a:gd name="connsiteY3632" fmla="*/ 489072 h 4565177"/>
              <a:gd name="connsiteX3633" fmla="*/ 4012376 w 12243467"/>
              <a:gd name="connsiteY3633" fmla="*/ 472483 h 4565177"/>
              <a:gd name="connsiteX3634" fmla="*/ 4001865 w 12243467"/>
              <a:gd name="connsiteY3634" fmla="*/ 464593 h 4565177"/>
              <a:gd name="connsiteX3635" fmla="*/ 4146522 w 12243467"/>
              <a:gd name="connsiteY3635" fmla="*/ 428178 h 4565177"/>
              <a:gd name="connsiteX3636" fmla="*/ 4159244 w 12243467"/>
              <a:gd name="connsiteY3636" fmla="*/ 436472 h 4565177"/>
              <a:gd name="connsiteX3637" fmla="*/ 4179435 w 12243467"/>
              <a:gd name="connsiteY3637" fmla="*/ 431819 h 4565177"/>
              <a:gd name="connsiteX3638" fmla="*/ 4199903 w 12243467"/>
              <a:gd name="connsiteY3638" fmla="*/ 413612 h 4565177"/>
              <a:gd name="connsiteX3639" fmla="*/ 4274029 w 12243467"/>
              <a:gd name="connsiteY3639" fmla="*/ 417253 h 4565177"/>
              <a:gd name="connsiteX3640" fmla="*/ 4257434 w 12243467"/>
              <a:gd name="connsiteY3640" fmla="*/ 426863 h 4565177"/>
              <a:gd name="connsiteX3641" fmla="*/ 4280668 w 12243467"/>
              <a:gd name="connsiteY3641" fmla="*/ 431617 h 4565177"/>
              <a:gd name="connsiteX3642" fmla="*/ 4279561 w 12243467"/>
              <a:gd name="connsiteY3642" fmla="*/ 424739 h 4565177"/>
              <a:gd name="connsiteX3643" fmla="*/ 4492535 w 12243467"/>
              <a:gd name="connsiteY3643" fmla="*/ 395910 h 4565177"/>
              <a:gd name="connsiteX3644" fmla="*/ 4346496 w 12243467"/>
              <a:gd name="connsiteY3644" fmla="*/ 427571 h 4565177"/>
              <a:gd name="connsiteX3645" fmla="*/ 4249412 w 12243467"/>
              <a:gd name="connsiteY3645" fmla="*/ 455489 h 4565177"/>
              <a:gd name="connsiteX3646" fmla="*/ 4291731 w 12243467"/>
              <a:gd name="connsiteY3646" fmla="*/ 448813 h 4565177"/>
              <a:gd name="connsiteX3647" fmla="*/ 4432239 w 12243467"/>
              <a:gd name="connsiteY3647" fmla="*/ 420996 h 4565177"/>
              <a:gd name="connsiteX3648" fmla="*/ 4468749 w 12243467"/>
              <a:gd name="connsiteY3648" fmla="*/ 418265 h 4565177"/>
              <a:gd name="connsiteX3649" fmla="*/ 4494195 w 12243467"/>
              <a:gd name="connsiteY3649" fmla="*/ 423323 h 4565177"/>
              <a:gd name="connsiteX3650" fmla="*/ 4391303 w 12243467"/>
              <a:gd name="connsiteY3650" fmla="*/ 443857 h 4565177"/>
              <a:gd name="connsiteX3651" fmla="*/ 4364474 w 12243467"/>
              <a:gd name="connsiteY3651" fmla="*/ 445374 h 4565177"/>
              <a:gd name="connsiteX3652" fmla="*/ 4376921 w 12243467"/>
              <a:gd name="connsiteY3652" fmla="*/ 455894 h 4565177"/>
              <a:gd name="connsiteX3653" fmla="*/ 4392410 w 12243467"/>
              <a:gd name="connsiteY3653" fmla="*/ 450836 h 4565177"/>
              <a:gd name="connsiteX3654" fmla="*/ 4405962 w 12243467"/>
              <a:gd name="connsiteY3654" fmla="*/ 454680 h 4565177"/>
              <a:gd name="connsiteX3655" fmla="*/ 4396282 w 12243467"/>
              <a:gd name="connsiteY3655" fmla="*/ 467223 h 4565177"/>
              <a:gd name="connsiteX3656" fmla="*/ 4405686 w 12243467"/>
              <a:gd name="connsiteY3656" fmla="*/ 468234 h 4565177"/>
              <a:gd name="connsiteX3657" fmla="*/ 4410941 w 12243467"/>
              <a:gd name="connsiteY3657" fmla="*/ 455186 h 4565177"/>
              <a:gd name="connsiteX3658" fmla="*/ 4427813 w 12243467"/>
              <a:gd name="connsiteY3658" fmla="*/ 454781 h 4565177"/>
              <a:gd name="connsiteX3659" fmla="*/ 4460174 w 12243467"/>
              <a:gd name="connsiteY3659" fmla="*/ 460547 h 4565177"/>
              <a:gd name="connsiteX3660" fmla="*/ 4442196 w 12243467"/>
              <a:gd name="connsiteY3660" fmla="*/ 454073 h 4565177"/>
              <a:gd name="connsiteX3661" fmla="*/ 4444408 w 12243467"/>
              <a:gd name="connsiteY3661" fmla="*/ 442946 h 4565177"/>
              <a:gd name="connsiteX3662" fmla="*/ 4488387 w 12243467"/>
              <a:gd name="connsiteY3662" fmla="*/ 440923 h 4565177"/>
              <a:gd name="connsiteX3663" fmla="*/ 4512726 w 12243467"/>
              <a:gd name="connsiteY3663" fmla="*/ 450431 h 4565177"/>
              <a:gd name="connsiteX3664" fmla="*/ 4501663 w 12243467"/>
              <a:gd name="connsiteY3664" fmla="*/ 446992 h 4565177"/>
              <a:gd name="connsiteX3665" fmla="*/ 4528770 w 12243467"/>
              <a:gd name="connsiteY3665" fmla="*/ 443047 h 4565177"/>
              <a:gd name="connsiteX3666" fmla="*/ 4554215 w 12243467"/>
              <a:gd name="connsiteY3666" fmla="*/ 448206 h 4565177"/>
              <a:gd name="connsiteX3667" fmla="*/ 4570257 w 12243467"/>
              <a:gd name="connsiteY3667" fmla="*/ 452252 h 4565177"/>
              <a:gd name="connsiteX3668" fmla="*/ 4692234 w 12243467"/>
              <a:gd name="connsiteY3668" fmla="*/ 445273 h 4565177"/>
              <a:gd name="connsiteX3669" fmla="*/ 4702467 w 12243467"/>
              <a:gd name="connsiteY3669" fmla="*/ 453163 h 4565177"/>
              <a:gd name="connsiteX3670" fmla="*/ 4725700 w 12243467"/>
              <a:gd name="connsiteY3670" fmla="*/ 458018 h 4565177"/>
              <a:gd name="connsiteX3671" fmla="*/ 4748658 w 12243467"/>
              <a:gd name="connsiteY3671" fmla="*/ 451443 h 4565177"/>
              <a:gd name="connsiteX3672" fmla="*/ 4788210 w 12243467"/>
              <a:gd name="connsiteY3672" fmla="*/ 458119 h 4565177"/>
              <a:gd name="connsiteX3673" fmla="*/ 4779912 w 12243467"/>
              <a:gd name="connsiteY3673" fmla="*/ 464087 h 4565177"/>
              <a:gd name="connsiteX3674" fmla="*/ 4658489 w 12243467"/>
              <a:gd name="connsiteY3674" fmla="*/ 457512 h 4565177"/>
              <a:gd name="connsiteX3675" fmla="*/ 4642723 w 12243467"/>
              <a:gd name="connsiteY3675" fmla="*/ 462570 h 4565177"/>
              <a:gd name="connsiteX3676" fmla="*/ 4457685 w 12243467"/>
              <a:gd name="connsiteY3676" fmla="*/ 474000 h 4565177"/>
              <a:gd name="connsiteX3677" fmla="*/ 4453812 w 12243467"/>
              <a:gd name="connsiteY3677" fmla="*/ 480373 h 4565177"/>
              <a:gd name="connsiteX3678" fmla="*/ 4277072 w 12243467"/>
              <a:gd name="connsiteY3678" fmla="*/ 522250 h 4565177"/>
              <a:gd name="connsiteX3679" fmla="*/ 4332943 w 12243467"/>
              <a:gd name="connsiteY3679" fmla="*/ 507886 h 4565177"/>
              <a:gd name="connsiteX3680" fmla="*/ 4368070 w 12243467"/>
              <a:gd name="connsiteY3680" fmla="*/ 511831 h 4565177"/>
              <a:gd name="connsiteX3681" fmla="*/ 4337921 w 12243467"/>
              <a:gd name="connsiteY3681" fmla="*/ 517597 h 4565177"/>
              <a:gd name="connsiteX3682" fmla="*/ 4345114 w 12243467"/>
              <a:gd name="connsiteY3682" fmla="*/ 529735 h 4565177"/>
              <a:gd name="connsiteX3683" fmla="*/ 4332943 w 12243467"/>
              <a:gd name="connsiteY3683" fmla="*/ 519215 h 4565177"/>
              <a:gd name="connsiteX3684" fmla="*/ 4330177 w 12243467"/>
              <a:gd name="connsiteY3684" fmla="*/ 532668 h 4565177"/>
              <a:gd name="connsiteX3685" fmla="*/ 4293114 w 12243467"/>
              <a:gd name="connsiteY3685" fmla="*/ 537625 h 4565177"/>
              <a:gd name="connsiteX3686" fmla="*/ 4294220 w 12243467"/>
              <a:gd name="connsiteY3686" fmla="*/ 556035 h 4565177"/>
              <a:gd name="connsiteX3687" fmla="*/ 4337645 w 12243467"/>
              <a:gd name="connsiteY3687" fmla="*/ 556136 h 4565177"/>
              <a:gd name="connsiteX3688" fmla="*/ 4340964 w 12243467"/>
              <a:gd name="connsiteY3688" fmla="*/ 563419 h 4565177"/>
              <a:gd name="connsiteX3689" fmla="*/ 4311922 w 12243467"/>
              <a:gd name="connsiteY3689" fmla="*/ 576063 h 4565177"/>
              <a:gd name="connsiteX3690" fmla="*/ 4310539 w 12243467"/>
              <a:gd name="connsiteY3690" fmla="*/ 582840 h 4565177"/>
              <a:gd name="connsiteX3691" fmla="*/ 4327964 w 12243467"/>
              <a:gd name="connsiteY3691" fmla="*/ 591539 h 4565177"/>
              <a:gd name="connsiteX3692" fmla="*/ 4422559 w 12243467"/>
              <a:gd name="connsiteY3692" fmla="*/ 576973 h 4565177"/>
              <a:gd name="connsiteX3693" fmla="*/ 4361156 w 12243467"/>
              <a:gd name="connsiteY3693" fmla="*/ 606611 h 4565177"/>
              <a:gd name="connsiteX3694" fmla="*/ 4363368 w 12243467"/>
              <a:gd name="connsiteY3694" fmla="*/ 595484 h 4565177"/>
              <a:gd name="connsiteX3695" fmla="*/ 4330177 w 12243467"/>
              <a:gd name="connsiteY3695" fmla="*/ 605397 h 4565177"/>
              <a:gd name="connsiteX3696" fmla="*/ 4324923 w 12243467"/>
              <a:gd name="connsiteY3696" fmla="*/ 618547 h 4565177"/>
              <a:gd name="connsiteX3697" fmla="*/ 4314688 w 12243467"/>
              <a:gd name="connsiteY3697" fmla="*/ 610556 h 4565177"/>
              <a:gd name="connsiteX3698" fmla="*/ 4082076 w 12243467"/>
              <a:gd name="connsiteY3698" fmla="*/ 689455 h 4565177"/>
              <a:gd name="connsiteX3699" fmla="*/ 4071566 w 12243467"/>
              <a:gd name="connsiteY3699" fmla="*/ 706448 h 4565177"/>
              <a:gd name="connsiteX3700" fmla="*/ 4023439 w 12243467"/>
              <a:gd name="connsiteY3700" fmla="*/ 717170 h 4565177"/>
              <a:gd name="connsiteX3701" fmla="*/ 4025651 w 12243467"/>
              <a:gd name="connsiteY3701" fmla="*/ 731028 h 4565177"/>
              <a:gd name="connsiteX3702" fmla="*/ 3950973 w 12243467"/>
              <a:gd name="connsiteY3702" fmla="*/ 754698 h 4565177"/>
              <a:gd name="connsiteX3703" fmla="*/ 3950696 w 12243467"/>
              <a:gd name="connsiteY3703" fmla="*/ 768252 h 4565177"/>
              <a:gd name="connsiteX3704" fmla="*/ 3994673 w 12243467"/>
              <a:gd name="connsiteY3704" fmla="*/ 741245 h 4565177"/>
              <a:gd name="connsiteX3705" fmla="*/ 4072396 w 12243467"/>
              <a:gd name="connsiteY3705" fmla="*/ 713529 h 4565177"/>
              <a:gd name="connsiteX3706" fmla="*/ 4147352 w 12243467"/>
              <a:gd name="connsiteY3706" fmla="*/ 687634 h 4565177"/>
              <a:gd name="connsiteX3707" fmla="*/ 4191605 w 12243467"/>
              <a:gd name="connsiteY3707" fmla="*/ 671955 h 4565177"/>
              <a:gd name="connsiteX3708" fmla="*/ 4300028 w 12243467"/>
              <a:gd name="connsiteY3708" fmla="*/ 647577 h 4565177"/>
              <a:gd name="connsiteX3709" fmla="*/ 4296156 w 12243467"/>
              <a:gd name="connsiteY3709" fmla="*/ 654051 h 4565177"/>
              <a:gd name="connsiteX3710" fmla="*/ 4355070 w 12243467"/>
              <a:gd name="connsiteY3710" fmla="*/ 649196 h 4565177"/>
              <a:gd name="connsiteX3711" fmla="*/ 4357837 w 12243467"/>
              <a:gd name="connsiteY3711" fmla="*/ 658603 h 4565177"/>
              <a:gd name="connsiteX3712" fmla="*/ 4386048 w 12243467"/>
              <a:gd name="connsiteY3712" fmla="*/ 650309 h 4565177"/>
              <a:gd name="connsiteX3713" fmla="*/ 4436387 w 12243467"/>
              <a:gd name="connsiteY3713" fmla="*/ 639890 h 4565177"/>
              <a:gd name="connsiteX3714" fmla="*/ 4424770 w 12243467"/>
              <a:gd name="connsiteY3714" fmla="*/ 648589 h 4565177"/>
              <a:gd name="connsiteX3715" fmla="*/ 4422559 w 12243467"/>
              <a:gd name="connsiteY3715" fmla="*/ 649601 h 4565177"/>
              <a:gd name="connsiteX3716" fmla="*/ 4429749 w 12243467"/>
              <a:gd name="connsiteY3716" fmla="*/ 649398 h 4565177"/>
              <a:gd name="connsiteX3717" fmla="*/ 4439153 w 12243467"/>
              <a:gd name="connsiteY3717" fmla="*/ 648994 h 4565177"/>
              <a:gd name="connsiteX3718" fmla="*/ 4455749 w 12243467"/>
              <a:gd name="connsiteY3718" fmla="*/ 641407 h 4565177"/>
              <a:gd name="connsiteX3719" fmla="*/ 4459344 w 12243467"/>
              <a:gd name="connsiteY3719" fmla="*/ 629269 h 4565177"/>
              <a:gd name="connsiteX3720" fmla="*/ 4472067 w 12243467"/>
              <a:gd name="connsiteY3720" fmla="*/ 622391 h 4565177"/>
              <a:gd name="connsiteX3721" fmla="*/ 4589342 w 12243467"/>
              <a:gd name="connsiteY3721" fmla="*/ 592449 h 4565177"/>
              <a:gd name="connsiteX3722" fmla="*/ 4598470 w 12243467"/>
              <a:gd name="connsiteY3722" fmla="*/ 583346 h 4565177"/>
              <a:gd name="connsiteX3723" fmla="*/ 4751423 w 12243467"/>
              <a:gd name="connsiteY3723" fmla="*/ 550876 h 4565177"/>
              <a:gd name="connsiteX3724" fmla="*/ 4831635 w 12243467"/>
              <a:gd name="connsiteY3724" fmla="*/ 533882 h 4565177"/>
              <a:gd name="connsiteX3725" fmla="*/ 5003121 w 12243467"/>
              <a:gd name="connsiteY3725" fmla="*/ 500401 h 4565177"/>
              <a:gd name="connsiteX3726" fmla="*/ 4999248 w 12243467"/>
              <a:gd name="connsiteY3726" fmla="*/ 492511 h 4565177"/>
              <a:gd name="connsiteX3727" fmla="*/ 5032992 w 12243467"/>
              <a:gd name="connsiteY3727" fmla="*/ 497467 h 4565177"/>
              <a:gd name="connsiteX3728" fmla="*/ 5088863 w 12243467"/>
              <a:gd name="connsiteY3728" fmla="*/ 486644 h 4565177"/>
              <a:gd name="connsiteX3729" fmla="*/ 5100480 w 12243467"/>
              <a:gd name="connsiteY3729" fmla="*/ 495849 h 4565177"/>
              <a:gd name="connsiteX3730" fmla="*/ 5114863 w 12243467"/>
              <a:gd name="connsiteY3730" fmla="*/ 478653 h 4565177"/>
              <a:gd name="connsiteX3731" fmla="*/ 5126203 w 12243467"/>
              <a:gd name="connsiteY3731" fmla="*/ 476529 h 4565177"/>
              <a:gd name="connsiteX3732" fmla="*/ 5150543 w 12243467"/>
              <a:gd name="connsiteY3732" fmla="*/ 481789 h 4565177"/>
              <a:gd name="connsiteX3733" fmla="*/ 5148607 w 12243467"/>
              <a:gd name="connsiteY3733" fmla="*/ 474910 h 4565177"/>
              <a:gd name="connsiteX3734" fmla="*/ 5152202 w 12243467"/>
              <a:gd name="connsiteY3734" fmla="*/ 471471 h 4565177"/>
              <a:gd name="connsiteX3735" fmla="*/ 5227158 w 12243467"/>
              <a:gd name="connsiteY3735" fmla="*/ 474101 h 4565177"/>
              <a:gd name="connsiteX3736" fmla="*/ 5230754 w 12243467"/>
              <a:gd name="connsiteY3736" fmla="*/ 467627 h 4565177"/>
              <a:gd name="connsiteX3737" fmla="*/ 5313178 w 12243467"/>
              <a:gd name="connsiteY3737" fmla="*/ 463076 h 4565177"/>
              <a:gd name="connsiteX3738" fmla="*/ 5500429 w 12243467"/>
              <a:gd name="connsiteY3738" fmla="*/ 464087 h 4565177"/>
              <a:gd name="connsiteX3739" fmla="*/ 5505961 w 12243467"/>
              <a:gd name="connsiteY3739" fmla="*/ 452859 h 4565177"/>
              <a:gd name="connsiteX3740" fmla="*/ 5521174 w 12243467"/>
              <a:gd name="connsiteY3740" fmla="*/ 464390 h 4565177"/>
              <a:gd name="connsiteX3741" fmla="*/ 5578980 w 12243467"/>
              <a:gd name="connsiteY3741" fmla="*/ 463076 h 4565177"/>
              <a:gd name="connsiteX3742" fmla="*/ 5590597 w 12243467"/>
              <a:gd name="connsiteY3742" fmla="*/ 466717 h 4565177"/>
              <a:gd name="connsiteX3743" fmla="*/ 5597789 w 12243467"/>
              <a:gd name="connsiteY3743" fmla="*/ 459535 h 4565177"/>
              <a:gd name="connsiteX3744" fmla="*/ 5580917 w 12243467"/>
              <a:gd name="connsiteY3744" fmla="*/ 455590 h 4565177"/>
              <a:gd name="connsiteX3745" fmla="*/ 5607194 w 12243467"/>
              <a:gd name="connsiteY3745" fmla="*/ 456197 h 4565177"/>
              <a:gd name="connsiteX3746" fmla="*/ 5603597 w 12243467"/>
              <a:gd name="connsiteY3746" fmla="*/ 465503 h 4565177"/>
              <a:gd name="connsiteX3747" fmla="*/ 5627937 w 12243467"/>
              <a:gd name="connsiteY3747" fmla="*/ 467931 h 4565177"/>
              <a:gd name="connsiteX3748" fmla="*/ 5622129 w 12243467"/>
              <a:gd name="connsiteY3748" fmla="*/ 459029 h 4565177"/>
              <a:gd name="connsiteX3749" fmla="*/ 5633469 w 12243467"/>
              <a:gd name="connsiteY3749" fmla="*/ 465402 h 4565177"/>
              <a:gd name="connsiteX3750" fmla="*/ 5697361 w 12243467"/>
              <a:gd name="connsiteY3750" fmla="*/ 467526 h 4565177"/>
              <a:gd name="connsiteX3751" fmla="*/ 5734977 w 12243467"/>
              <a:gd name="connsiteY3751" fmla="*/ 474506 h 4565177"/>
              <a:gd name="connsiteX3752" fmla="*/ 5793061 w 12243467"/>
              <a:gd name="connsiteY3752" fmla="*/ 484722 h 4565177"/>
              <a:gd name="connsiteX3753" fmla="*/ 5845613 w 12243467"/>
              <a:gd name="connsiteY3753" fmla="*/ 480271 h 4565177"/>
              <a:gd name="connsiteX3754" fmla="*/ 5936058 w 12243467"/>
              <a:gd name="connsiteY3754" fmla="*/ 508695 h 4565177"/>
              <a:gd name="connsiteX3755" fmla="*/ 5950994 w 12243467"/>
              <a:gd name="connsiteY3755" fmla="*/ 502930 h 4565177"/>
              <a:gd name="connsiteX3756" fmla="*/ 6062183 w 12243467"/>
              <a:gd name="connsiteY3756" fmla="*/ 531556 h 4565177"/>
              <a:gd name="connsiteX3757" fmla="*/ 6053056 w 12243467"/>
              <a:gd name="connsiteY3757" fmla="*/ 543391 h 4565177"/>
              <a:gd name="connsiteX3758" fmla="*/ 6073523 w 12243467"/>
              <a:gd name="connsiteY3758" fmla="*/ 538029 h 4565177"/>
              <a:gd name="connsiteX3759" fmla="*/ 6111416 w 12243467"/>
              <a:gd name="connsiteY3759" fmla="*/ 550775 h 4565177"/>
              <a:gd name="connsiteX3760" fmla="*/ 6087076 w 12243467"/>
              <a:gd name="connsiteY3760" fmla="*/ 559777 h 4565177"/>
              <a:gd name="connsiteX3761" fmla="*/ 6068268 w 12243467"/>
              <a:gd name="connsiteY3761" fmla="*/ 554821 h 4565177"/>
              <a:gd name="connsiteX3762" fmla="*/ 6061353 w 12243467"/>
              <a:gd name="connsiteY3762" fmla="*/ 576265 h 4565177"/>
              <a:gd name="connsiteX3763" fmla="*/ 6025397 w 12243467"/>
              <a:gd name="connsiteY3763" fmla="*/ 564531 h 4565177"/>
              <a:gd name="connsiteX3764" fmla="*/ 5942696 w 12243467"/>
              <a:gd name="connsiteY3764" fmla="*/ 551887 h 4565177"/>
              <a:gd name="connsiteX3765" fmla="*/ 5905080 w 12243467"/>
              <a:gd name="connsiteY3765" fmla="*/ 544807 h 4565177"/>
              <a:gd name="connsiteX3766" fmla="*/ 5843124 w 12243467"/>
              <a:gd name="connsiteY3766" fmla="*/ 538232 h 4565177"/>
              <a:gd name="connsiteX3767" fmla="*/ 5843124 w 12243467"/>
              <a:gd name="connsiteY3767" fmla="*/ 529634 h 4565177"/>
              <a:gd name="connsiteX3768" fmla="*/ 5801635 w 12243467"/>
              <a:gd name="connsiteY3768" fmla="*/ 529027 h 4565177"/>
              <a:gd name="connsiteX3769" fmla="*/ 5756551 w 12243467"/>
              <a:gd name="connsiteY3769" fmla="*/ 523463 h 4565177"/>
              <a:gd name="connsiteX3770" fmla="*/ 5606640 w 12243467"/>
              <a:gd name="connsiteY3770" fmla="*/ 521036 h 4565177"/>
              <a:gd name="connsiteX3771" fmla="*/ 5597235 w 12243467"/>
              <a:gd name="connsiteY3771" fmla="*/ 512741 h 4565177"/>
              <a:gd name="connsiteX3772" fmla="*/ 5599448 w 12243467"/>
              <a:gd name="connsiteY3772" fmla="*/ 522452 h 4565177"/>
              <a:gd name="connsiteX3773" fmla="*/ 5458664 w 12243467"/>
              <a:gd name="connsiteY3773" fmla="*/ 516686 h 4565177"/>
              <a:gd name="connsiteX3774" fmla="*/ 5469727 w 12243467"/>
              <a:gd name="connsiteY3774" fmla="*/ 508898 h 4565177"/>
              <a:gd name="connsiteX3775" fmla="*/ 5424920 w 12243467"/>
              <a:gd name="connsiteY3775" fmla="*/ 517495 h 4565177"/>
              <a:gd name="connsiteX3776" fmla="*/ 5391176 w 12243467"/>
              <a:gd name="connsiteY3776" fmla="*/ 515472 h 4565177"/>
              <a:gd name="connsiteX3777" fmla="*/ 5400303 w 12243467"/>
              <a:gd name="connsiteY3777" fmla="*/ 509302 h 4565177"/>
              <a:gd name="connsiteX3778" fmla="*/ 5372368 w 12243467"/>
              <a:gd name="connsiteY3778" fmla="*/ 507684 h 4565177"/>
              <a:gd name="connsiteX3779" fmla="*/ 5378176 w 12243467"/>
              <a:gd name="connsiteY3779" fmla="*/ 516686 h 4565177"/>
              <a:gd name="connsiteX3780" fmla="*/ 5342496 w 12243467"/>
              <a:gd name="connsiteY3780" fmla="*/ 516383 h 4565177"/>
              <a:gd name="connsiteX3781" fmla="*/ 5361304 w 12243467"/>
              <a:gd name="connsiteY3781" fmla="*/ 515574 h 4565177"/>
              <a:gd name="connsiteX3782" fmla="*/ 5361028 w 12243467"/>
              <a:gd name="connsiteY3782" fmla="*/ 506976 h 4565177"/>
              <a:gd name="connsiteX3783" fmla="*/ 5329496 w 12243467"/>
              <a:gd name="connsiteY3783" fmla="*/ 520328 h 4565177"/>
              <a:gd name="connsiteX3784" fmla="*/ 5331157 w 12243467"/>
              <a:gd name="connsiteY3784" fmla="*/ 509909 h 4565177"/>
              <a:gd name="connsiteX3785" fmla="*/ 5164925 w 12243467"/>
              <a:gd name="connsiteY3785" fmla="*/ 529330 h 4565177"/>
              <a:gd name="connsiteX3786" fmla="*/ 5155245 w 12243467"/>
              <a:gd name="connsiteY3786" fmla="*/ 518305 h 4565177"/>
              <a:gd name="connsiteX3787" fmla="*/ 5122054 w 12243467"/>
              <a:gd name="connsiteY3787" fmla="*/ 536310 h 4565177"/>
              <a:gd name="connsiteX3788" fmla="*/ 5028567 w 12243467"/>
              <a:gd name="connsiteY3788" fmla="*/ 551483 h 4565177"/>
              <a:gd name="connsiteX3789" fmla="*/ 4750594 w 12243467"/>
              <a:gd name="connsiteY3789" fmla="*/ 598316 h 4565177"/>
              <a:gd name="connsiteX3790" fmla="*/ 4570257 w 12243467"/>
              <a:gd name="connsiteY3790" fmla="*/ 652129 h 4565177"/>
              <a:gd name="connsiteX3791" fmla="*/ 4543982 w 12243467"/>
              <a:gd name="connsiteY3791" fmla="*/ 651522 h 4565177"/>
              <a:gd name="connsiteX3792" fmla="*/ 4546194 w 12243467"/>
              <a:gd name="connsiteY3792" fmla="*/ 661233 h 4565177"/>
              <a:gd name="connsiteX3793" fmla="*/ 4497514 w 12243467"/>
              <a:gd name="connsiteY3793" fmla="*/ 670640 h 4565177"/>
              <a:gd name="connsiteX3794" fmla="*/ 4486727 w 12243467"/>
              <a:gd name="connsiteY3794" fmla="*/ 684195 h 4565177"/>
              <a:gd name="connsiteX3795" fmla="*/ 4479259 w 12243467"/>
              <a:gd name="connsiteY3795" fmla="*/ 682779 h 4565177"/>
              <a:gd name="connsiteX3796" fmla="*/ 4371665 w 12243467"/>
              <a:gd name="connsiteY3796" fmla="*/ 732444 h 4565177"/>
              <a:gd name="connsiteX3797" fmla="*/ 4325198 w 12243467"/>
              <a:gd name="connsiteY3797" fmla="*/ 742964 h 4565177"/>
              <a:gd name="connsiteX3798" fmla="*/ 4311369 w 12243467"/>
              <a:gd name="connsiteY3798" fmla="*/ 752473 h 4565177"/>
              <a:gd name="connsiteX3799" fmla="*/ 4310815 w 12243467"/>
              <a:gd name="connsiteY3799" fmla="*/ 752877 h 4565177"/>
              <a:gd name="connsiteX3800" fmla="*/ 4324369 w 12243467"/>
              <a:gd name="connsiteY3800" fmla="*/ 754394 h 4565177"/>
              <a:gd name="connsiteX3801" fmla="*/ 4318283 w 12243467"/>
              <a:gd name="connsiteY3801" fmla="*/ 761070 h 4565177"/>
              <a:gd name="connsiteX3802" fmla="*/ 4310539 w 12243467"/>
              <a:gd name="connsiteY3802" fmla="*/ 752978 h 4565177"/>
              <a:gd name="connsiteX3803" fmla="*/ 4297539 w 12243467"/>
              <a:gd name="connsiteY3803" fmla="*/ 764105 h 4565177"/>
              <a:gd name="connsiteX3804" fmla="*/ 4266009 w 12243467"/>
              <a:gd name="connsiteY3804" fmla="*/ 773006 h 4565177"/>
              <a:gd name="connsiteX3805" fmla="*/ 4252455 w 12243467"/>
              <a:gd name="connsiteY3805" fmla="*/ 781706 h 4565177"/>
              <a:gd name="connsiteX3806" fmla="*/ 4256051 w 12243467"/>
              <a:gd name="connsiteY3806" fmla="*/ 783931 h 4565177"/>
              <a:gd name="connsiteX3807" fmla="*/ 4246093 w 12243467"/>
              <a:gd name="connsiteY3807" fmla="*/ 785651 h 4565177"/>
              <a:gd name="connsiteX3808" fmla="*/ 4240562 w 12243467"/>
              <a:gd name="connsiteY3808" fmla="*/ 789191 h 4565177"/>
              <a:gd name="connsiteX3809" fmla="*/ 4239179 w 12243467"/>
              <a:gd name="connsiteY3809" fmla="*/ 790101 h 4565177"/>
              <a:gd name="connsiteX3810" fmla="*/ 4236136 w 12243467"/>
              <a:gd name="connsiteY3810" fmla="*/ 797586 h 4565177"/>
              <a:gd name="connsiteX3811" fmla="*/ 4226180 w 12243467"/>
              <a:gd name="connsiteY3811" fmla="*/ 798800 h 4565177"/>
              <a:gd name="connsiteX3812" fmla="*/ 4225902 w 12243467"/>
              <a:gd name="connsiteY3812" fmla="*/ 798295 h 4565177"/>
              <a:gd name="connsiteX3813" fmla="*/ 4215945 w 12243467"/>
              <a:gd name="connsiteY3813" fmla="*/ 804667 h 4565177"/>
              <a:gd name="connsiteX3814" fmla="*/ 4186350 w 12243467"/>
              <a:gd name="connsiteY3814" fmla="*/ 811647 h 4565177"/>
              <a:gd name="connsiteX3815" fmla="*/ 4155095 w 12243467"/>
              <a:gd name="connsiteY3815" fmla="*/ 833192 h 4565177"/>
              <a:gd name="connsiteX3816" fmla="*/ 4149563 w 12243467"/>
              <a:gd name="connsiteY3816" fmla="*/ 835923 h 4565177"/>
              <a:gd name="connsiteX3817" fmla="*/ 4237242 w 12243467"/>
              <a:gd name="connsiteY3817" fmla="*/ 802442 h 4565177"/>
              <a:gd name="connsiteX3818" fmla="*/ 4288412 w 12243467"/>
              <a:gd name="connsiteY3818" fmla="*/ 784639 h 4565177"/>
              <a:gd name="connsiteX3819" fmla="*/ 4320497 w 12243467"/>
              <a:gd name="connsiteY3819" fmla="*/ 777558 h 4565177"/>
              <a:gd name="connsiteX3820" fmla="*/ 4321326 w 12243467"/>
              <a:gd name="connsiteY3820" fmla="*/ 777154 h 4565177"/>
              <a:gd name="connsiteX3821" fmla="*/ 4333220 w 12243467"/>
              <a:gd name="connsiteY3821" fmla="*/ 767241 h 4565177"/>
              <a:gd name="connsiteX3822" fmla="*/ 4465153 w 12243467"/>
              <a:gd name="connsiteY3822" fmla="*/ 725768 h 4565177"/>
              <a:gd name="connsiteX3823" fmla="*/ 4532088 w 12243467"/>
              <a:gd name="connsiteY3823" fmla="*/ 695524 h 4565177"/>
              <a:gd name="connsiteX3824" fmla="*/ 4597086 w 12243467"/>
              <a:gd name="connsiteY3824" fmla="*/ 675698 h 4565177"/>
              <a:gd name="connsiteX3825" fmla="*/ 4643554 w 12243467"/>
              <a:gd name="connsiteY3825" fmla="*/ 659513 h 4565177"/>
              <a:gd name="connsiteX3826" fmla="*/ 4690020 w 12243467"/>
              <a:gd name="connsiteY3826" fmla="*/ 646161 h 4565177"/>
              <a:gd name="connsiteX3827" fmla="*/ 4865378 w 12243467"/>
              <a:gd name="connsiteY3827" fmla="*/ 612073 h 4565177"/>
              <a:gd name="connsiteX3828" fmla="*/ 4868697 w 12243467"/>
              <a:gd name="connsiteY3828" fmla="*/ 602767 h 4565177"/>
              <a:gd name="connsiteX3829" fmla="*/ 4893038 w 12243467"/>
              <a:gd name="connsiteY3829" fmla="*/ 602362 h 4565177"/>
              <a:gd name="connsiteX3830" fmla="*/ 5057332 w 12243467"/>
              <a:gd name="connsiteY3830" fmla="*/ 576063 h 4565177"/>
              <a:gd name="connsiteX3831" fmla="*/ 5064800 w 12243467"/>
              <a:gd name="connsiteY3831" fmla="*/ 577580 h 4565177"/>
              <a:gd name="connsiteX3832" fmla="*/ 5073927 w 12243467"/>
              <a:gd name="connsiteY3832" fmla="*/ 571410 h 4565177"/>
              <a:gd name="connsiteX3833" fmla="*/ 5113203 w 12243467"/>
              <a:gd name="connsiteY3833" fmla="*/ 568173 h 4565177"/>
              <a:gd name="connsiteX3834" fmla="*/ 5231307 w 12243467"/>
              <a:gd name="connsiteY3834" fmla="*/ 563823 h 4565177"/>
              <a:gd name="connsiteX3835" fmla="*/ 5246244 w 12243467"/>
              <a:gd name="connsiteY3835" fmla="*/ 558058 h 4565177"/>
              <a:gd name="connsiteX3836" fmla="*/ 5263115 w 12243467"/>
              <a:gd name="connsiteY3836" fmla="*/ 564835 h 4565177"/>
              <a:gd name="connsiteX3837" fmla="*/ 5300454 w 12243467"/>
              <a:gd name="connsiteY3837" fmla="*/ 563318 h 4565177"/>
              <a:gd name="connsiteX3838" fmla="*/ 5299071 w 12243467"/>
              <a:gd name="connsiteY3838" fmla="*/ 576467 h 4565177"/>
              <a:gd name="connsiteX3839" fmla="*/ 5307922 w 12243467"/>
              <a:gd name="connsiteY3839" fmla="*/ 561800 h 4565177"/>
              <a:gd name="connsiteX3840" fmla="*/ 5327007 w 12243467"/>
              <a:gd name="connsiteY3840" fmla="*/ 572522 h 4565177"/>
              <a:gd name="connsiteX3841" fmla="*/ 5366283 w 12243467"/>
              <a:gd name="connsiteY3841" fmla="*/ 566251 h 4565177"/>
              <a:gd name="connsiteX3842" fmla="*/ 5388688 w 12243467"/>
              <a:gd name="connsiteY3842" fmla="*/ 562003 h 4565177"/>
              <a:gd name="connsiteX3843" fmla="*/ 5390346 w 12243467"/>
              <a:gd name="connsiteY3843" fmla="*/ 554416 h 4565177"/>
              <a:gd name="connsiteX3844" fmla="*/ 5408878 w 12243467"/>
              <a:gd name="connsiteY3844" fmla="*/ 550876 h 4565177"/>
              <a:gd name="connsiteX3845" fmla="*/ 5440686 w 12243467"/>
              <a:gd name="connsiteY3845" fmla="*/ 551786 h 4565177"/>
              <a:gd name="connsiteX3846" fmla="*/ 5442898 w 12243467"/>
              <a:gd name="connsiteY3846" fmla="*/ 561497 h 4565177"/>
              <a:gd name="connsiteX3847" fmla="*/ 5468898 w 12243467"/>
              <a:gd name="connsiteY3847" fmla="*/ 550673 h 4565177"/>
              <a:gd name="connsiteX3848" fmla="*/ 5485770 w 12243467"/>
              <a:gd name="connsiteY3848" fmla="*/ 554517 h 4565177"/>
              <a:gd name="connsiteX3849" fmla="*/ 5588938 w 12243467"/>
              <a:gd name="connsiteY3849" fmla="*/ 558867 h 4565177"/>
              <a:gd name="connsiteX3850" fmla="*/ 5605533 w 12243467"/>
              <a:gd name="connsiteY3850" fmla="*/ 554214 h 4565177"/>
              <a:gd name="connsiteX3851" fmla="*/ 5710914 w 12243467"/>
              <a:gd name="connsiteY3851" fmla="*/ 571106 h 4565177"/>
              <a:gd name="connsiteX3852" fmla="*/ 5725850 w 12243467"/>
              <a:gd name="connsiteY3852" fmla="*/ 565442 h 4565177"/>
              <a:gd name="connsiteX3853" fmla="*/ 5735530 w 12243467"/>
              <a:gd name="connsiteY3853" fmla="*/ 582132 h 4565177"/>
              <a:gd name="connsiteX3854" fmla="*/ 5778678 w 12243467"/>
              <a:gd name="connsiteY3854" fmla="*/ 583750 h 4565177"/>
              <a:gd name="connsiteX3855" fmla="*/ 5808550 w 12243467"/>
              <a:gd name="connsiteY3855" fmla="*/ 575152 h 4565177"/>
              <a:gd name="connsiteX3856" fmla="*/ 5814359 w 12243467"/>
              <a:gd name="connsiteY3856" fmla="*/ 584054 h 4565177"/>
              <a:gd name="connsiteX3857" fmla="*/ 5853911 w 12243467"/>
              <a:gd name="connsiteY3857" fmla="*/ 595079 h 4565177"/>
              <a:gd name="connsiteX3858" fmla="*/ 5896782 w 12243467"/>
              <a:gd name="connsiteY3858" fmla="*/ 591033 h 4565177"/>
              <a:gd name="connsiteX3859" fmla="*/ 6047800 w 12243467"/>
              <a:gd name="connsiteY3859" fmla="*/ 639283 h 4565177"/>
              <a:gd name="connsiteX3860" fmla="*/ 6062736 w 12243467"/>
              <a:gd name="connsiteY3860" fmla="*/ 639283 h 4565177"/>
              <a:gd name="connsiteX3861" fmla="*/ 5976717 w 12243467"/>
              <a:gd name="connsiteY3861" fmla="*/ 638777 h 4565177"/>
              <a:gd name="connsiteX3862" fmla="*/ 5963994 w 12243467"/>
              <a:gd name="connsiteY3862" fmla="*/ 654152 h 4565177"/>
              <a:gd name="connsiteX3863" fmla="*/ 6044759 w 12243467"/>
              <a:gd name="connsiteY3863" fmla="*/ 671449 h 4565177"/>
              <a:gd name="connsiteX3864" fmla="*/ 6064119 w 12243467"/>
              <a:gd name="connsiteY3864" fmla="*/ 690770 h 4565177"/>
              <a:gd name="connsiteX3865" fmla="*/ 5973674 w 12243467"/>
              <a:gd name="connsiteY3865" fmla="*/ 668010 h 4565177"/>
              <a:gd name="connsiteX3866" fmla="*/ 5955143 w 12243467"/>
              <a:gd name="connsiteY3866" fmla="*/ 680250 h 4565177"/>
              <a:gd name="connsiteX3867" fmla="*/ 5964547 w 12243467"/>
              <a:gd name="connsiteY3867" fmla="*/ 685611 h 4565177"/>
              <a:gd name="connsiteX3868" fmla="*/ 5955419 w 12243467"/>
              <a:gd name="connsiteY3868" fmla="*/ 688848 h 4565177"/>
              <a:gd name="connsiteX3869" fmla="*/ 5955696 w 12243467"/>
              <a:gd name="connsiteY3869" fmla="*/ 697446 h 4565177"/>
              <a:gd name="connsiteX3870" fmla="*/ 5987504 w 12243467"/>
              <a:gd name="connsiteY3870" fmla="*/ 698457 h 4565177"/>
              <a:gd name="connsiteX3871" fmla="*/ 5968972 w 12243467"/>
              <a:gd name="connsiteY3871" fmla="*/ 713529 h 4565177"/>
              <a:gd name="connsiteX3872" fmla="*/ 5973398 w 12243467"/>
              <a:gd name="connsiteY3872" fmla="*/ 732849 h 4565177"/>
              <a:gd name="connsiteX3873" fmla="*/ 5961781 w 12243467"/>
              <a:gd name="connsiteY3873" fmla="*/ 726375 h 4565177"/>
              <a:gd name="connsiteX3874" fmla="*/ 5963441 w 12243467"/>
              <a:gd name="connsiteY3874" fmla="*/ 713225 h 4565177"/>
              <a:gd name="connsiteX3875" fmla="*/ 5957909 w 12243467"/>
              <a:gd name="connsiteY3875" fmla="*/ 718586 h 4565177"/>
              <a:gd name="connsiteX3876" fmla="*/ 5948228 w 12243467"/>
              <a:gd name="connsiteY3876" fmla="*/ 707460 h 4565177"/>
              <a:gd name="connsiteX3877" fmla="*/ 5944909 w 12243467"/>
              <a:gd name="connsiteY3877" fmla="*/ 719598 h 4565177"/>
              <a:gd name="connsiteX3878" fmla="*/ 5916974 w 12243467"/>
              <a:gd name="connsiteY3878" fmla="*/ 729410 h 4565177"/>
              <a:gd name="connsiteX3879" fmla="*/ 5905357 w 12243467"/>
              <a:gd name="connsiteY3879" fmla="*/ 711506 h 4565177"/>
              <a:gd name="connsiteX3880" fmla="*/ 5850592 w 12243467"/>
              <a:gd name="connsiteY3880" fmla="*/ 697749 h 4565177"/>
              <a:gd name="connsiteX3881" fmla="*/ 5832061 w 12243467"/>
              <a:gd name="connsiteY3881" fmla="*/ 701289 h 4565177"/>
              <a:gd name="connsiteX3882" fmla="*/ 5843124 w 12243467"/>
              <a:gd name="connsiteY3882" fmla="*/ 696333 h 4565177"/>
              <a:gd name="connsiteX3883" fmla="*/ 5818507 w 12243467"/>
              <a:gd name="connsiteY3883" fmla="*/ 688140 h 4565177"/>
              <a:gd name="connsiteX3884" fmla="*/ 5809657 w 12243467"/>
              <a:gd name="connsiteY3884" fmla="*/ 702807 h 4565177"/>
              <a:gd name="connsiteX3885" fmla="*/ 5800252 w 12243467"/>
              <a:gd name="connsiteY3885" fmla="*/ 700379 h 4565177"/>
              <a:gd name="connsiteX3886" fmla="*/ 5811316 w 12243467"/>
              <a:gd name="connsiteY3886" fmla="*/ 692489 h 4565177"/>
              <a:gd name="connsiteX3887" fmla="*/ 5803848 w 12243467"/>
              <a:gd name="connsiteY3887" fmla="*/ 691073 h 4565177"/>
              <a:gd name="connsiteX3888" fmla="*/ 5800252 w 12243467"/>
              <a:gd name="connsiteY3888" fmla="*/ 697446 h 4565177"/>
              <a:gd name="connsiteX3889" fmla="*/ 5734424 w 12243467"/>
              <a:gd name="connsiteY3889" fmla="*/ 688747 h 4565177"/>
              <a:gd name="connsiteX3890" fmla="*/ 5713680 w 12243467"/>
              <a:gd name="connsiteY3890" fmla="*/ 685611 h 4565177"/>
              <a:gd name="connsiteX3891" fmla="*/ 5710084 w 12243467"/>
              <a:gd name="connsiteY3891" fmla="*/ 691983 h 4565177"/>
              <a:gd name="connsiteX3892" fmla="*/ 5657532 w 12243467"/>
              <a:gd name="connsiteY3892" fmla="*/ 685004 h 4565177"/>
              <a:gd name="connsiteX3893" fmla="*/ 5657255 w 12243467"/>
              <a:gd name="connsiteY3893" fmla="*/ 676507 h 4565177"/>
              <a:gd name="connsiteX3894" fmla="*/ 5572896 w 12243467"/>
              <a:gd name="connsiteY3894" fmla="*/ 671348 h 4565177"/>
              <a:gd name="connsiteX3895" fmla="*/ 5567364 w 12243467"/>
              <a:gd name="connsiteY3895" fmla="*/ 676709 h 4565177"/>
              <a:gd name="connsiteX3896" fmla="*/ 5565704 w 12243467"/>
              <a:gd name="connsiteY3896" fmla="*/ 681362 h 4565177"/>
              <a:gd name="connsiteX3897" fmla="*/ 5580363 w 12243467"/>
              <a:gd name="connsiteY3897" fmla="*/ 678429 h 4565177"/>
              <a:gd name="connsiteX3898" fmla="*/ 5586172 w 12243467"/>
              <a:gd name="connsiteY3898" fmla="*/ 684397 h 4565177"/>
              <a:gd name="connsiteX3899" fmla="*/ 5522556 w 12243467"/>
              <a:gd name="connsiteY3899" fmla="*/ 688241 h 4565177"/>
              <a:gd name="connsiteX3900" fmla="*/ 5522833 w 12243467"/>
              <a:gd name="connsiteY3900" fmla="*/ 696738 h 4565177"/>
              <a:gd name="connsiteX3901" fmla="*/ 5457557 w 12243467"/>
              <a:gd name="connsiteY3901" fmla="*/ 702301 h 4565177"/>
              <a:gd name="connsiteX3902" fmla="*/ 5459771 w 12243467"/>
              <a:gd name="connsiteY3902" fmla="*/ 717777 h 4565177"/>
              <a:gd name="connsiteX3903" fmla="*/ 5508451 w 12243467"/>
              <a:gd name="connsiteY3903" fmla="*/ 719699 h 4565177"/>
              <a:gd name="connsiteX3904" fmla="*/ 5544130 w 12243467"/>
              <a:gd name="connsiteY3904" fmla="*/ 720003 h 4565177"/>
              <a:gd name="connsiteX3905" fmla="*/ 5604151 w 12243467"/>
              <a:gd name="connsiteY3905" fmla="*/ 728398 h 4565177"/>
              <a:gd name="connsiteX3906" fmla="*/ 5666383 w 12243467"/>
              <a:gd name="connsiteY3906" fmla="*/ 740739 h 4565177"/>
              <a:gd name="connsiteX3907" fmla="*/ 5681320 w 12243467"/>
              <a:gd name="connsiteY3907" fmla="*/ 737907 h 4565177"/>
              <a:gd name="connsiteX3908" fmla="*/ 5686851 w 12243467"/>
              <a:gd name="connsiteY3908" fmla="*/ 743875 h 4565177"/>
              <a:gd name="connsiteX3909" fmla="*/ 5739403 w 12243467"/>
              <a:gd name="connsiteY3909" fmla="*/ 739525 h 4565177"/>
              <a:gd name="connsiteX3910" fmla="*/ 5886272 w 12243467"/>
              <a:gd name="connsiteY3910" fmla="*/ 777053 h 4565177"/>
              <a:gd name="connsiteX3911" fmla="*/ 5908676 w 12243467"/>
              <a:gd name="connsiteY3911" fmla="*/ 775535 h 4565177"/>
              <a:gd name="connsiteX3912" fmla="*/ 5918356 w 12243467"/>
              <a:gd name="connsiteY3912" fmla="*/ 789494 h 4565177"/>
              <a:gd name="connsiteX3913" fmla="*/ 5826529 w 12243467"/>
              <a:gd name="connsiteY3913" fmla="*/ 780087 h 4565177"/>
              <a:gd name="connsiteX3914" fmla="*/ 5830401 w 12243467"/>
              <a:gd name="connsiteY3914" fmla="*/ 784942 h 4565177"/>
              <a:gd name="connsiteX3915" fmla="*/ 5766232 w 12243467"/>
              <a:gd name="connsiteY3915" fmla="*/ 765825 h 4565177"/>
              <a:gd name="connsiteX3916" fmla="*/ 5690723 w 12243467"/>
              <a:gd name="connsiteY3916" fmla="*/ 745999 h 4565177"/>
              <a:gd name="connsiteX3917" fmla="*/ 5656979 w 12243467"/>
              <a:gd name="connsiteY3917" fmla="*/ 743976 h 4565177"/>
              <a:gd name="connsiteX3918" fmla="*/ 5659191 w 12243467"/>
              <a:gd name="connsiteY3918" fmla="*/ 750753 h 4565177"/>
              <a:gd name="connsiteX3919" fmla="*/ 5486599 w 12243467"/>
              <a:gd name="connsiteY3919" fmla="*/ 744077 h 4565177"/>
              <a:gd name="connsiteX3920" fmla="*/ 5503748 w 12243467"/>
              <a:gd name="connsiteY3920" fmla="*/ 759452 h 4565177"/>
              <a:gd name="connsiteX3921" fmla="*/ 5557960 w 12243467"/>
              <a:gd name="connsiteY3921" fmla="*/ 756013 h 4565177"/>
              <a:gd name="connsiteX3922" fmla="*/ 5621853 w 12243467"/>
              <a:gd name="connsiteY3922" fmla="*/ 760868 h 4565177"/>
              <a:gd name="connsiteX3923" fmla="*/ 5665000 w 12243467"/>
              <a:gd name="connsiteY3923" fmla="*/ 768252 h 4565177"/>
              <a:gd name="connsiteX3924" fmla="*/ 5757104 w 12243467"/>
              <a:gd name="connsiteY3924" fmla="*/ 774928 h 4565177"/>
              <a:gd name="connsiteX3925" fmla="*/ 5847549 w 12243467"/>
              <a:gd name="connsiteY3925" fmla="*/ 797485 h 4565177"/>
              <a:gd name="connsiteX3926" fmla="*/ 5584513 w 12243467"/>
              <a:gd name="connsiteY3926" fmla="*/ 768151 h 4565177"/>
              <a:gd name="connsiteX3927" fmla="*/ 5517024 w 12243467"/>
              <a:gd name="connsiteY3927" fmla="*/ 761172 h 4565177"/>
              <a:gd name="connsiteX3928" fmla="*/ 5507620 w 12243467"/>
              <a:gd name="connsiteY3928" fmla="*/ 764510 h 4565177"/>
              <a:gd name="connsiteX3929" fmla="*/ 5398644 w 12243467"/>
              <a:gd name="connsiteY3929" fmla="*/ 753990 h 4565177"/>
              <a:gd name="connsiteX3930" fmla="*/ 5468068 w 12243467"/>
              <a:gd name="connsiteY3930" fmla="*/ 750551 h 4565177"/>
              <a:gd name="connsiteX3931" fmla="*/ 5376240 w 12243467"/>
              <a:gd name="connsiteY3931" fmla="*/ 749843 h 4565177"/>
              <a:gd name="connsiteX3932" fmla="*/ 5276944 w 12243467"/>
              <a:gd name="connsiteY3932" fmla="*/ 750449 h 4565177"/>
              <a:gd name="connsiteX3933" fmla="*/ 5222733 w 12243467"/>
              <a:gd name="connsiteY3933" fmla="*/ 753788 h 4565177"/>
              <a:gd name="connsiteX3934" fmla="*/ 5129246 w 12243467"/>
              <a:gd name="connsiteY3934" fmla="*/ 763296 h 4565177"/>
              <a:gd name="connsiteX3935" fmla="*/ 5035758 w 12243467"/>
              <a:gd name="connsiteY3935" fmla="*/ 772804 h 4565177"/>
              <a:gd name="connsiteX3936" fmla="*/ 5063971 w 12243467"/>
              <a:gd name="connsiteY3936" fmla="*/ 777457 h 4565177"/>
              <a:gd name="connsiteX3937" fmla="*/ 5320370 w 12243467"/>
              <a:gd name="connsiteY3937" fmla="*/ 760666 h 4565177"/>
              <a:gd name="connsiteX3938" fmla="*/ 5157734 w 12243467"/>
              <a:gd name="connsiteY3938" fmla="*/ 776446 h 4565177"/>
              <a:gd name="connsiteX3939" fmla="*/ 5159670 w 12243467"/>
              <a:gd name="connsiteY3939" fmla="*/ 783223 h 4565177"/>
              <a:gd name="connsiteX3940" fmla="*/ 5109054 w 12243467"/>
              <a:gd name="connsiteY3940" fmla="*/ 783021 h 4565177"/>
              <a:gd name="connsiteX3941" fmla="*/ 5101864 w 12243467"/>
              <a:gd name="connsiteY3941" fmla="*/ 790202 h 4565177"/>
              <a:gd name="connsiteX3942" fmla="*/ 5216094 w 12243467"/>
              <a:gd name="connsiteY3942" fmla="*/ 795260 h 4565177"/>
              <a:gd name="connsiteX3943" fmla="*/ 5212222 w 12243467"/>
              <a:gd name="connsiteY3943" fmla="*/ 784538 h 4565177"/>
              <a:gd name="connsiteX3944" fmla="*/ 5226881 w 12243467"/>
              <a:gd name="connsiteY3944" fmla="*/ 775940 h 4565177"/>
              <a:gd name="connsiteX3945" fmla="*/ 5264498 w 12243467"/>
              <a:gd name="connsiteY3945" fmla="*/ 780087 h 4565177"/>
              <a:gd name="connsiteX3946" fmla="*/ 5255370 w 12243467"/>
              <a:gd name="connsiteY3946" fmla="*/ 789090 h 4565177"/>
              <a:gd name="connsiteX3947" fmla="*/ 5375134 w 12243467"/>
              <a:gd name="connsiteY3947" fmla="*/ 791619 h 4565177"/>
              <a:gd name="connsiteX3948" fmla="*/ 5362135 w 12243467"/>
              <a:gd name="connsiteY3948" fmla="*/ 787067 h 4565177"/>
              <a:gd name="connsiteX3949" fmla="*/ 5386474 w 12243467"/>
              <a:gd name="connsiteY3949" fmla="*/ 789494 h 4565177"/>
              <a:gd name="connsiteX3950" fmla="*/ 5379006 w 12243467"/>
              <a:gd name="connsiteY3950" fmla="*/ 790910 h 4565177"/>
              <a:gd name="connsiteX3951" fmla="*/ 5439026 w 12243467"/>
              <a:gd name="connsiteY3951" fmla="*/ 796474 h 4565177"/>
              <a:gd name="connsiteX3952" fmla="*/ 5435154 w 12243467"/>
              <a:gd name="connsiteY3952" fmla="*/ 785752 h 4565177"/>
              <a:gd name="connsiteX3953" fmla="*/ 5585342 w 12243467"/>
              <a:gd name="connsiteY3953" fmla="*/ 805375 h 4565177"/>
              <a:gd name="connsiteX3954" fmla="*/ 5591150 w 12243467"/>
              <a:gd name="connsiteY3954" fmla="*/ 817109 h 4565177"/>
              <a:gd name="connsiteX3955" fmla="*/ 5611895 w 12243467"/>
              <a:gd name="connsiteY3955" fmla="*/ 820347 h 4565177"/>
              <a:gd name="connsiteX3956" fmla="*/ 5641766 w 12243467"/>
              <a:gd name="connsiteY3956" fmla="*/ 811647 h 4565177"/>
              <a:gd name="connsiteX3957" fmla="*/ 5704276 w 12243467"/>
              <a:gd name="connsiteY3957" fmla="*/ 841183 h 4565177"/>
              <a:gd name="connsiteX3958" fmla="*/ 5683808 w 12243467"/>
              <a:gd name="connsiteY3958" fmla="*/ 843813 h 4565177"/>
              <a:gd name="connsiteX3959" fmla="*/ 5700958 w 12243467"/>
              <a:gd name="connsiteY3959" fmla="*/ 856255 h 4565177"/>
              <a:gd name="connsiteX3960" fmla="*/ 5704552 w 12243467"/>
              <a:gd name="connsiteY3960" fmla="*/ 849781 h 4565177"/>
              <a:gd name="connsiteX3961" fmla="*/ 5909782 w 12243467"/>
              <a:gd name="connsiteY3961" fmla="*/ 900357 h 4565177"/>
              <a:gd name="connsiteX3962" fmla="*/ 5761253 w 12243467"/>
              <a:gd name="connsiteY3962" fmla="*/ 876081 h 4565177"/>
              <a:gd name="connsiteX3963" fmla="*/ 5658085 w 12243467"/>
              <a:gd name="connsiteY3963" fmla="*/ 865966 h 4565177"/>
              <a:gd name="connsiteX3964" fmla="*/ 5699574 w 12243467"/>
              <a:gd name="connsiteY3964" fmla="*/ 875171 h 4565177"/>
              <a:gd name="connsiteX3965" fmla="*/ 5840635 w 12243467"/>
              <a:gd name="connsiteY3965" fmla="*/ 900863 h 4565177"/>
              <a:gd name="connsiteX3966" fmla="*/ 5874380 w 12243467"/>
              <a:gd name="connsiteY3966" fmla="*/ 911484 h 4565177"/>
              <a:gd name="connsiteX3967" fmla="*/ 5893464 w 12243467"/>
              <a:gd name="connsiteY3967" fmla="*/ 925140 h 4565177"/>
              <a:gd name="connsiteX3968" fmla="*/ 5790019 w 12243467"/>
              <a:gd name="connsiteY3968" fmla="*/ 906325 h 4565177"/>
              <a:gd name="connsiteX3969" fmla="*/ 5765679 w 12243467"/>
              <a:gd name="connsiteY3969" fmla="*/ 898234 h 4565177"/>
              <a:gd name="connsiteX3970" fmla="*/ 5769551 w 12243467"/>
              <a:gd name="connsiteY3970" fmla="*/ 911788 h 4565177"/>
              <a:gd name="connsiteX3971" fmla="*/ 5786424 w 12243467"/>
              <a:gd name="connsiteY3971" fmla="*/ 912900 h 4565177"/>
              <a:gd name="connsiteX3972" fmla="*/ 5796104 w 12243467"/>
              <a:gd name="connsiteY3972" fmla="*/ 920993 h 4565177"/>
              <a:gd name="connsiteX3973" fmla="*/ 5779232 w 12243467"/>
              <a:gd name="connsiteY3973" fmla="*/ 928579 h 4565177"/>
              <a:gd name="connsiteX3974" fmla="*/ 5786976 w 12243467"/>
              <a:gd name="connsiteY3974" fmla="*/ 932827 h 4565177"/>
              <a:gd name="connsiteX3975" fmla="*/ 5799976 w 12243467"/>
              <a:gd name="connsiteY3975" fmla="*/ 923118 h 4565177"/>
              <a:gd name="connsiteX3976" fmla="*/ 5814913 w 12243467"/>
              <a:gd name="connsiteY3976" fmla="*/ 928882 h 4565177"/>
              <a:gd name="connsiteX3977" fmla="*/ 5839805 w 12243467"/>
              <a:gd name="connsiteY3977" fmla="*/ 945572 h 4565177"/>
              <a:gd name="connsiteX3978" fmla="*/ 5828189 w 12243467"/>
              <a:gd name="connsiteY3978" fmla="*/ 933434 h 4565177"/>
              <a:gd name="connsiteX3979" fmla="*/ 5837316 w 12243467"/>
              <a:gd name="connsiteY3979" fmla="*/ 924533 h 4565177"/>
              <a:gd name="connsiteX3980" fmla="*/ 5876868 w 12243467"/>
              <a:gd name="connsiteY3980" fmla="*/ 938289 h 4565177"/>
              <a:gd name="connsiteX3981" fmla="*/ 5892357 w 12243467"/>
              <a:gd name="connsiteY3981" fmla="*/ 955486 h 4565177"/>
              <a:gd name="connsiteX3982" fmla="*/ 5884889 w 12243467"/>
              <a:gd name="connsiteY3982" fmla="*/ 948305 h 4565177"/>
              <a:gd name="connsiteX3983" fmla="*/ 5911166 w 12243467"/>
              <a:gd name="connsiteY3983" fmla="*/ 954777 h 4565177"/>
              <a:gd name="connsiteX3984" fmla="*/ 5930250 w 12243467"/>
              <a:gd name="connsiteY3984" fmla="*/ 968231 h 4565177"/>
              <a:gd name="connsiteX3985" fmla="*/ 5941591 w 12243467"/>
              <a:gd name="connsiteY3985" fmla="*/ 977435 h 4565177"/>
              <a:gd name="connsiteX3986" fmla="*/ 6053056 w 12243467"/>
              <a:gd name="connsiteY3986" fmla="*/ 1014762 h 4565177"/>
              <a:gd name="connsiteX3987" fmla="*/ 6056630 w 12243467"/>
              <a:gd name="connsiteY3987" fmla="*/ 1024657 h 4565177"/>
              <a:gd name="connsiteX3988" fmla="*/ 6061599 w 12243467"/>
              <a:gd name="connsiteY3988" fmla="*/ 1024603 h 4565177"/>
              <a:gd name="connsiteX3989" fmla="*/ 6063813 w 12243467"/>
              <a:gd name="connsiteY3989" fmla="*/ 1024185 h 4565177"/>
              <a:gd name="connsiteX3990" fmla="*/ 6064119 w 12243467"/>
              <a:gd name="connsiteY3990" fmla="*/ 1024575 h 4565177"/>
              <a:gd name="connsiteX3991" fmla="*/ 6559382 w 12243467"/>
              <a:gd name="connsiteY3991" fmla="*/ 1019163 h 4565177"/>
              <a:gd name="connsiteX3992" fmla="*/ 6761434 w 12243467"/>
              <a:gd name="connsiteY3992" fmla="*/ 1022171 h 4565177"/>
              <a:gd name="connsiteX3993" fmla="*/ 6930623 w 12243467"/>
              <a:gd name="connsiteY3993" fmla="*/ 988926 h 4565177"/>
              <a:gd name="connsiteX3994" fmla="*/ 7421000 w 12243467"/>
              <a:gd name="connsiteY3994" fmla="*/ 943537 h 4565177"/>
              <a:gd name="connsiteX3995" fmla="*/ 7994126 w 12243467"/>
              <a:gd name="connsiteY3995" fmla="*/ 1036915 h 4565177"/>
              <a:gd name="connsiteX3996" fmla="*/ 8101314 w 12243467"/>
              <a:gd name="connsiteY3996" fmla="*/ 1080451 h 4565177"/>
              <a:gd name="connsiteX3997" fmla="*/ 8198946 w 12243467"/>
              <a:gd name="connsiteY3997" fmla="*/ 1087156 h 4565177"/>
              <a:gd name="connsiteX3998" fmla="*/ 8288576 w 12243467"/>
              <a:gd name="connsiteY3998" fmla="*/ 1094982 h 4565177"/>
              <a:gd name="connsiteX3999" fmla="*/ 8411432 w 12243467"/>
              <a:gd name="connsiteY3999" fmla="*/ 1048209 h 4565177"/>
              <a:gd name="connsiteX4000" fmla="*/ 9081512 w 12243467"/>
              <a:gd name="connsiteY4000" fmla="*/ 794508 h 4565177"/>
              <a:gd name="connsiteX4001" fmla="*/ 9798615 w 12243467"/>
              <a:gd name="connsiteY4001" fmla="*/ 893515 h 4565177"/>
              <a:gd name="connsiteX4002" fmla="*/ 10112881 w 12243467"/>
              <a:gd name="connsiteY4002" fmla="*/ 1136986 h 4565177"/>
              <a:gd name="connsiteX4003" fmla="*/ 10140185 w 12243467"/>
              <a:gd name="connsiteY4003" fmla="*/ 1160103 h 4565177"/>
              <a:gd name="connsiteX4004" fmla="*/ 10065878 w 12243467"/>
              <a:gd name="connsiteY4004" fmla="*/ 1217822 h 4565177"/>
              <a:gd name="connsiteX4005" fmla="*/ 10383830 w 12243467"/>
              <a:gd name="connsiteY4005" fmla="*/ 1387511 h 4565177"/>
              <a:gd name="connsiteX4006" fmla="*/ 10232259 w 12243467"/>
              <a:gd name="connsiteY4006" fmla="*/ 1372267 h 4565177"/>
              <a:gd name="connsiteX4007" fmla="*/ 10257959 w 12243467"/>
              <a:gd name="connsiteY4007" fmla="*/ 1449821 h 4565177"/>
              <a:gd name="connsiteX4008" fmla="*/ 9948088 w 12243467"/>
              <a:gd name="connsiteY4008" fmla="*/ 1442291 h 4565177"/>
              <a:gd name="connsiteX4009" fmla="*/ 10061465 w 12243467"/>
              <a:gd name="connsiteY4009" fmla="*/ 1496066 h 4565177"/>
              <a:gd name="connsiteX4010" fmla="*/ 10103660 w 12243467"/>
              <a:gd name="connsiteY4010" fmla="*/ 1578537 h 4565177"/>
              <a:gd name="connsiteX4011" fmla="*/ 10064425 w 12243467"/>
              <a:gd name="connsiteY4011" fmla="*/ 1626744 h 4565177"/>
              <a:gd name="connsiteX4012" fmla="*/ 9828300 w 12243467"/>
              <a:gd name="connsiteY4012" fmla="*/ 1606257 h 4565177"/>
              <a:gd name="connsiteX4013" fmla="*/ 9899880 w 12243467"/>
              <a:gd name="connsiteY4013" fmla="*/ 1692499 h 4565177"/>
              <a:gd name="connsiteX4014" fmla="*/ 9612617 w 12243467"/>
              <a:gd name="connsiteY4014" fmla="*/ 1761601 h 4565177"/>
              <a:gd name="connsiteX4015" fmla="*/ 9575008 w 12243467"/>
              <a:gd name="connsiteY4015" fmla="*/ 1770454 h 4565177"/>
              <a:gd name="connsiteX4016" fmla="*/ 9506499 w 12243467"/>
              <a:gd name="connsiteY4016" fmla="*/ 1835712 h 4565177"/>
              <a:gd name="connsiteX4017" fmla="*/ 9233671 w 12243467"/>
              <a:gd name="connsiteY4017" fmla="*/ 2010761 h 4565177"/>
              <a:gd name="connsiteX4018" fmla="*/ 9211021 w 12243467"/>
              <a:gd name="connsiteY4018" fmla="*/ 2021135 h 4565177"/>
              <a:gd name="connsiteX4019" fmla="*/ 9223104 w 12243467"/>
              <a:gd name="connsiteY4019" fmla="*/ 2040399 h 4565177"/>
              <a:gd name="connsiteX4020" fmla="*/ 9264816 w 12243467"/>
              <a:gd name="connsiteY4020" fmla="*/ 2037295 h 4565177"/>
              <a:gd name="connsiteX4021" fmla="*/ 9629874 w 12243467"/>
              <a:gd name="connsiteY4021" fmla="*/ 2026338 h 4565177"/>
              <a:gd name="connsiteX4022" fmla="*/ 10482302 w 12243467"/>
              <a:gd name="connsiteY4022" fmla="*/ 1896119 h 4565177"/>
              <a:gd name="connsiteX4023" fmla="*/ 11300863 w 12243467"/>
              <a:gd name="connsiteY4023" fmla="*/ 1606039 h 4565177"/>
              <a:gd name="connsiteX4024" fmla="*/ 11723317 w 12243467"/>
              <a:gd name="connsiteY4024" fmla="*/ 1437467 h 4565177"/>
              <a:gd name="connsiteX4025" fmla="*/ 12014693 w 12243467"/>
              <a:gd name="connsiteY4025" fmla="*/ 1379578 h 4565177"/>
              <a:gd name="connsiteX4026" fmla="*/ 12155373 w 12243467"/>
              <a:gd name="connsiteY4026" fmla="*/ 1456472 h 4565177"/>
              <a:gd name="connsiteX4027" fmla="*/ 11955195 w 12243467"/>
              <a:gd name="connsiteY4027" fmla="*/ 1576499 h 4565177"/>
              <a:gd name="connsiteX4028" fmla="*/ 12238241 w 12243467"/>
              <a:gd name="connsiteY4028" fmla="*/ 1596000 h 4565177"/>
              <a:gd name="connsiteX4029" fmla="*/ 12243364 w 12243467"/>
              <a:gd name="connsiteY4029" fmla="*/ 1627481 h 4565177"/>
              <a:gd name="connsiteX4030" fmla="*/ 11699602 w 12243467"/>
              <a:gd name="connsiteY4030" fmla="*/ 1934603 h 4565177"/>
              <a:gd name="connsiteX4031" fmla="*/ 11621691 w 12243467"/>
              <a:gd name="connsiteY4031" fmla="*/ 1986254 h 4565177"/>
              <a:gd name="connsiteX4032" fmla="*/ 11546906 w 12243467"/>
              <a:gd name="connsiteY4032" fmla="*/ 2008884 h 4565177"/>
              <a:gd name="connsiteX4033" fmla="*/ 11289879 w 12243467"/>
              <a:gd name="connsiteY4033" fmla="*/ 2132835 h 4565177"/>
              <a:gd name="connsiteX4034" fmla="*/ 11176078 w 12243467"/>
              <a:gd name="connsiteY4034" fmla="*/ 2179701 h 4565177"/>
              <a:gd name="connsiteX4035" fmla="*/ 11179269 w 12243467"/>
              <a:gd name="connsiteY4035" fmla="*/ 2203953 h 4565177"/>
              <a:gd name="connsiteX4036" fmla="*/ 11188119 w 12243467"/>
              <a:gd name="connsiteY4036" fmla="*/ 2212956 h 4565177"/>
              <a:gd name="connsiteX4037" fmla="*/ 11186736 w 12243467"/>
              <a:gd name="connsiteY4037" fmla="*/ 2331001 h 4565177"/>
              <a:gd name="connsiteX4038" fmla="*/ 11185907 w 12243467"/>
              <a:gd name="connsiteY4038" fmla="*/ 2392805 h 4565177"/>
              <a:gd name="connsiteX4039" fmla="*/ 11180375 w 12243467"/>
              <a:gd name="connsiteY4039" fmla="*/ 2524404 h 4565177"/>
              <a:gd name="connsiteX4040" fmla="*/ 11191715 w 12243467"/>
              <a:gd name="connsiteY4040" fmla="*/ 2523898 h 4565177"/>
              <a:gd name="connsiteX4041" fmla="*/ 11175673 w 12243467"/>
              <a:gd name="connsiteY4041" fmla="*/ 2546556 h 4565177"/>
              <a:gd name="connsiteX4042" fmla="*/ 11173737 w 12243467"/>
              <a:gd name="connsiteY4042" fmla="*/ 2589445 h 4565177"/>
              <a:gd name="connsiteX4043" fmla="*/ 11158524 w 12243467"/>
              <a:gd name="connsiteY4043" fmla="*/ 2594907 h 4565177"/>
              <a:gd name="connsiteX4044" fmla="*/ 11176503 w 12243467"/>
              <a:gd name="connsiteY4044" fmla="*/ 2610282 h 4565177"/>
              <a:gd name="connsiteX4045" fmla="*/ 11176226 w 12243467"/>
              <a:gd name="connsiteY4045" fmla="*/ 2618779 h 4565177"/>
              <a:gd name="connsiteX4046" fmla="*/ 11162397 w 12243467"/>
              <a:gd name="connsiteY4046" fmla="*/ 2634761 h 4565177"/>
              <a:gd name="connsiteX4047" fmla="*/ 11171801 w 12243467"/>
              <a:gd name="connsiteY4047" fmla="*/ 2635267 h 4565177"/>
              <a:gd name="connsiteX4048" fmla="*/ 11175396 w 12243467"/>
              <a:gd name="connsiteY4048" fmla="*/ 2638807 h 4565177"/>
              <a:gd name="connsiteX4049" fmla="*/ 11150503 w 12243467"/>
              <a:gd name="connsiteY4049" fmla="*/ 2691407 h 4565177"/>
              <a:gd name="connsiteX4050" fmla="*/ 11157971 w 12243467"/>
              <a:gd name="connsiteY4050" fmla="*/ 2695857 h 4565177"/>
              <a:gd name="connsiteX4051" fmla="*/ 11140269 w 12243467"/>
              <a:gd name="connsiteY4051" fmla="*/ 2755740 h 4565177"/>
              <a:gd name="connsiteX4052" fmla="*/ 11085781 w 12243467"/>
              <a:gd name="connsiteY4052" fmla="*/ 2888755 h 4565177"/>
              <a:gd name="connsiteX4053" fmla="*/ 11098781 w 12243467"/>
              <a:gd name="connsiteY4053" fmla="*/ 2895735 h 4565177"/>
              <a:gd name="connsiteX4054" fmla="*/ 11079696 w 12243467"/>
              <a:gd name="connsiteY4054" fmla="*/ 2903321 h 4565177"/>
              <a:gd name="connsiteX4055" fmla="*/ 11064760 w 12243467"/>
              <a:gd name="connsiteY4055" fmla="*/ 2944996 h 4565177"/>
              <a:gd name="connsiteX4056" fmla="*/ 11057016 w 12243467"/>
              <a:gd name="connsiteY4056" fmla="*/ 2951975 h 4565177"/>
              <a:gd name="connsiteX4057" fmla="*/ 11064207 w 12243467"/>
              <a:gd name="connsiteY4057" fmla="*/ 2959258 h 4565177"/>
              <a:gd name="connsiteX4058" fmla="*/ 11073888 w 12243467"/>
              <a:gd name="connsiteY4058" fmla="*/ 2948233 h 4565177"/>
              <a:gd name="connsiteX4059" fmla="*/ 11065590 w 12243467"/>
              <a:gd name="connsiteY4059" fmla="*/ 2966744 h 4565177"/>
              <a:gd name="connsiteX4060" fmla="*/ 11054526 w 12243467"/>
              <a:gd name="connsiteY4060" fmla="*/ 2961585 h 4565177"/>
              <a:gd name="connsiteX4061" fmla="*/ 11044569 w 12243467"/>
              <a:gd name="connsiteY4061" fmla="*/ 2978275 h 4565177"/>
              <a:gd name="connsiteX4062" fmla="*/ 11057569 w 12243467"/>
              <a:gd name="connsiteY4062" fmla="*/ 2976656 h 4565177"/>
              <a:gd name="connsiteX4063" fmla="*/ 11046229 w 12243467"/>
              <a:gd name="connsiteY4063" fmla="*/ 2982928 h 4565177"/>
              <a:gd name="connsiteX4064" fmla="*/ 11025484 w 12243467"/>
              <a:gd name="connsiteY4064" fmla="*/ 3027738 h 4565177"/>
              <a:gd name="connsiteX4065" fmla="*/ 11005847 w 12243467"/>
              <a:gd name="connsiteY4065" fmla="*/ 3052521 h 4565177"/>
              <a:gd name="connsiteX4066" fmla="*/ 10975975 w 12243467"/>
              <a:gd name="connsiteY4066" fmla="*/ 3091060 h 4565177"/>
              <a:gd name="connsiteX4067" fmla="*/ 10966847 w 12243467"/>
              <a:gd name="connsiteY4067" fmla="*/ 3129700 h 4565177"/>
              <a:gd name="connsiteX4068" fmla="*/ 10904338 w 12243467"/>
              <a:gd name="connsiteY4068" fmla="*/ 3186042 h 4565177"/>
              <a:gd name="connsiteX4069" fmla="*/ 10907657 w 12243467"/>
              <a:gd name="connsiteY4069" fmla="*/ 3198281 h 4565177"/>
              <a:gd name="connsiteX4070" fmla="*/ 10839063 w 12243467"/>
              <a:gd name="connsiteY4070" fmla="*/ 3269189 h 4565177"/>
              <a:gd name="connsiteX4071" fmla="*/ 10826340 w 12243467"/>
              <a:gd name="connsiteY4071" fmla="*/ 3259377 h 4565177"/>
              <a:gd name="connsiteX4072" fmla="*/ 10827446 w 12243467"/>
              <a:gd name="connsiteY4072" fmla="*/ 3275461 h 4565177"/>
              <a:gd name="connsiteX4073" fmla="*/ 10800340 w 12243467"/>
              <a:gd name="connsiteY4073" fmla="*/ 3298726 h 4565177"/>
              <a:gd name="connsiteX4074" fmla="*/ 10795362 w 12243467"/>
              <a:gd name="connsiteY4074" fmla="*/ 3279001 h 4565177"/>
              <a:gd name="connsiteX4075" fmla="*/ 10807255 w 12243467"/>
              <a:gd name="connsiteY4075" fmla="*/ 3266964 h 4565177"/>
              <a:gd name="connsiteX4076" fmla="*/ 10781532 w 12243467"/>
              <a:gd name="connsiteY4076" fmla="*/ 3255837 h 4565177"/>
              <a:gd name="connsiteX4077" fmla="*/ 10806702 w 12243467"/>
              <a:gd name="connsiteY4077" fmla="*/ 3233685 h 4565177"/>
              <a:gd name="connsiteX4078" fmla="*/ 10846531 w 12243467"/>
              <a:gd name="connsiteY4078" fmla="*/ 3178456 h 4565177"/>
              <a:gd name="connsiteX4079" fmla="*/ 10866445 w 12243467"/>
              <a:gd name="connsiteY4079" fmla="*/ 3153673 h 4565177"/>
              <a:gd name="connsiteX4080" fmla="*/ 10892721 w 12243467"/>
              <a:gd name="connsiteY4080" fmla="*/ 3111493 h 4565177"/>
              <a:gd name="connsiteX4081" fmla="*/ 10903785 w 12243467"/>
              <a:gd name="connsiteY4081" fmla="*/ 3113718 h 4565177"/>
              <a:gd name="connsiteX4082" fmla="*/ 10916231 w 12243467"/>
              <a:gd name="connsiteY4082" fmla="*/ 3084586 h 4565177"/>
              <a:gd name="connsiteX4083" fmla="*/ 10936422 w 12243467"/>
              <a:gd name="connsiteY4083" fmla="*/ 3054038 h 4565177"/>
              <a:gd name="connsiteX4084" fmla="*/ 10982060 w 12243467"/>
              <a:gd name="connsiteY4084" fmla="*/ 2948131 h 4565177"/>
              <a:gd name="connsiteX4085" fmla="*/ 10995336 w 12243467"/>
              <a:gd name="connsiteY4085" fmla="*/ 2943681 h 4565177"/>
              <a:gd name="connsiteX4086" fmla="*/ 10982336 w 12243467"/>
              <a:gd name="connsiteY4086" fmla="*/ 2942467 h 4565177"/>
              <a:gd name="connsiteX4087" fmla="*/ 11029633 w 12243467"/>
              <a:gd name="connsiteY4087" fmla="*/ 2843945 h 4565177"/>
              <a:gd name="connsiteX4088" fmla="*/ 11036825 w 12243467"/>
              <a:gd name="connsiteY4088" fmla="*/ 2854060 h 4565177"/>
              <a:gd name="connsiteX4089" fmla="*/ 11038208 w 12243467"/>
              <a:gd name="connsiteY4089" fmla="*/ 2819769 h 4565177"/>
              <a:gd name="connsiteX4090" fmla="*/ 11050378 w 12243467"/>
              <a:gd name="connsiteY4090" fmla="*/ 2796302 h 4565177"/>
              <a:gd name="connsiteX4091" fmla="*/ 11055633 w 12243467"/>
              <a:gd name="connsiteY4091" fmla="*/ 2804596 h 4565177"/>
              <a:gd name="connsiteX4092" fmla="*/ 11065867 w 12243467"/>
              <a:gd name="connsiteY4092" fmla="*/ 2785074 h 4565177"/>
              <a:gd name="connsiteX4093" fmla="*/ 11052867 w 12243467"/>
              <a:gd name="connsiteY4093" fmla="*/ 2786692 h 4565177"/>
              <a:gd name="connsiteX4094" fmla="*/ 11063377 w 12243467"/>
              <a:gd name="connsiteY4094" fmla="*/ 2761404 h 4565177"/>
              <a:gd name="connsiteX4095" fmla="*/ 11058952 w 12243467"/>
              <a:gd name="connsiteY4095" fmla="*/ 2774959 h 4565177"/>
              <a:gd name="connsiteX4096" fmla="*/ 11070015 w 12243467"/>
              <a:gd name="connsiteY4096" fmla="*/ 2777285 h 4565177"/>
              <a:gd name="connsiteX4097" fmla="*/ 11061718 w 12243467"/>
              <a:gd name="connsiteY4097" fmla="*/ 2751087 h 4565177"/>
              <a:gd name="connsiteX4098" fmla="*/ 11074717 w 12243467"/>
              <a:gd name="connsiteY4098" fmla="*/ 2755133 h 4565177"/>
              <a:gd name="connsiteX4099" fmla="*/ 11096845 w 12243467"/>
              <a:gd name="connsiteY4099" fmla="*/ 2631322 h 4565177"/>
              <a:gd name="connsiteX4100" fmla="*/ 11113993 w 12243467"/>
              <a:gd name="connsiteY4100" fmla="*/ 2627681 h 4565177"/>
              <a:gd name="connsiteX4101" fmla="*/ 11100164 w 12243467"/>
              <a:gd name="connsiteY4101" fmla="*/ 2598751 h 4565177"/>
              <a:gd name="connsiteX4102" fmla="*/ 11107079 w 12243467"/>
              <a:gd name="connsiteY4102" fmla="*/ 2528046 h 4565177"/>
              <a:gd name="connsiteX4103" fmla="*/ 11125610 w 12243467"/>
              <a:gd name="connsiteY4103" fmla="*/ 2316940 h 4565177"/>
              <a:gd name="connsiteX4104" fmla="*/ 11113993 w 12243467"/>
              <a:gd name="connsiteY4104" fmla="*/ 2209820 h 4565177"/>
              <a:gd name="connsiteX4105" fmla="*/ 11113231 w 12243467"/>
              <a:gd name="connsiteY4105" fmla="*/ 2205583 h 4565177"/>
              <a:gd name="connsiteX4106" fmla="*/ 11093199 w 12243467"/>
              <a:gd name="connsiteY4106" fmla="*/ 2213832 h 4565177"/>
              <a:gd name="connsiteX4107" fmla="*/ 11088547 w 12243467"/>
              <a:gd name="connsiteY4107" fmla="*/ 2227319 h 4565177"/>
              <a:gd name="connsiteX4108" fmla="*/ 11078037 w 12243467"/>
              <a:gd name="connsiteY4108" fmla="*/ 2253821 h 4565177"/>
              <a:gd name="connsiteX4109" fmla="*/ 11081079 w 12243467"/>
              <a:gd name="connsiteY4109" fmla="*/ 2260194 h 4565177"/>
              <a:gd name="connsiteX4110" fmla="*/ 11075271 w 12243467"/>
              <a:gd name="connsiteY4110" fmla="*/ 2394524 h 4565177"/>
              <a:gd name="connsiteX4111" fmla="*/ 11086334 w 12243467"/>
              <a:gd name="connsiteY4111" fmla="*/ 2399683 h 4565177"/>
              <a:gd name="connsiteX4112" fmla="*/ 11079973 w 12243467"/>
              <a:gd name="connsiteY4112" fmla="*/ 2417183 h 4565177"/>
              <a:gd name="connsiteX4113" fmla="*/ 11067250 w 12243467"/>
              <a:gd name="connsiteY4113" fmla="*/ 2541499 h 4565177"/>
              <a:gd name="connsiteX4114" fmla="*/ 11063101 w 12243467"/>
              <a:gd name="connsiteY4114" fmla="*/ 2546455 h 4565177"/>
              <a:gd name="connsiteX4115" fmla="*/ 11068356 w 12243467"/>
              <a:gd name="connsiteY4115" fmla="*/ 2554750 h 4565177"/>
              <a:gd name="connsiteX4116" fmla="*/ 11061718 w 12243467"/>
              <a:gd name="connsiteY4116" fmla="*/ 2583679 h 4565177"/>
              <a:gd name="connsiteX4117" fmla="*/ 11033506 w 12243467"/>
              <a:gd name="connsiteY4117" fmla="*/ 2668749 h 4565177"/>
              <a:gd name="connsiteX4118" fmla="*/ 11036825 w 12243467"/>
              <a:gd name="connsiteY4118" fmla="*/ 2680988 h 4565177"/>
              <a:gd name="connsiteX4119" fmla="*/ 11023272 w 12243467"/>
              <a:gd name="connsiteY4119" fmla="*/ 2691204 h 4565177"/>
              <a:gd name="connsiteX4120" fmla="*/ 11014697 w 12243467"/>
              <a:gd name="connsiteY4120" fmla="*/ 2718212 h 4565177"/>
              <a:gd name="connsiteX4121" fmla="*/ 10997825 w 12243467"/>
              <a:gd name="connsiteY4121" fmla="*/ 2713357 h 4565177"/>
              <a:gd name="connsiteX4122" fmla="*/ 11014144 w 12243467"/>
              <a:gd name="connsiteY4122" fmla="*/ 2723978 h 4565177"/>
              <a:gd name="connsiteX4123" fmla="*/ 10995060 w 12243467"/>
              <a:gd name="connsiteY4123" fmla="*/ 2734396 h 4565177"/>
              <a:gd name="connsiteX4124" fmla="*/ 10992017 w 12243467"/>
              <a:gd name="connsiteY4124" fmla="*/ 2764034 h 4565177"/>
              <a:gd name="connsiteX4125" fmla="*/ 10991187 w 12243467"/>
              <a:gd name="connsiteY4125" fmla="*/ 2781230 h 4565177"/>
              <a:gd name="connsiteX4126" fmla="*/ 11000315 w 12243467"/>
              <a:gd name="connsiteY4126" fmla="*/ 2784568 h 4565177"/>
              <a:gd name="connsiteX4127" fmla="*/ 10999762 w 12243467"/>
              <a:gd name="connsiteY4127" fmla="*/ 2798831 h 4565177"/>
              <a:gd name="connsiteX4128" fmla="*/ 10989528 w 12243467"/>
              <a:gd name="connsiteY4128" fmla="*/ 2821286 h 4565177"/>
              <a:gd name="connsiteX4129" fmla="*/ 10976251 w 12243467"/>
              <a:gd name="connsiteY4129" fmla="*/ 2820073 h 4565177"/>
              <a:gd name="connsiteX4130" fmla="*/ 10982890 w 12243467"/>
              <a:gd name="connsiteY4130" fmla="*/ 2841618 h 4565177"/>
              <a:gd name="connsiteX4131" fmla="*/ 10973209 w 12243467"/>
              <a:gd name="connsiteY4131" fmla="*/ 2852441 h 4565177"/>
              <a:gd name="connsiteX4132" fmla="*/ 10938082 w 12243467"/>
              <a:gd name="connsiteY4132" fmla="*/ 2924664 h 4565177"/>
              <a:gd name="connsiteX4133" fmla="*/ 10939465 w 12243467"/>
              <a:gd name="connsiteY4133" fmla="*/ 2937915 h 4565177"/>
              <a:gd name="connsiteX4134" fmla="*/ 10887743 w 12243467"/>
              <a:gd name="connsiteY4134" fmla="*/ 3008014 h 4565177"/>
              <a:gd name="connsiteX4135" fmla="*/ 10891062 w 12243467"/>
              <a:gd name="connsiteY4135" fmla="*/ 3020253 h 4565177"/>
              <a:gd name="connsiteX4136" fmla="*/ 10866445 w 12243467"/>
              <a:gd name="connsiteY4136" fmla="*/ 3022377 h 4565177"/>
              <a:gd name="connsiteX4137" fmla="*/ 10852063 w 12243467"/>
              <a:gd name="connsiteY4137" fmla="*/ 3052622 h 4565177"/>
              <a:gd name="connsiteX4138" fmla="*/ 10854828 w 12243467"/>
              <a:gd name="connsiteY4138" fmla="*/ 3076190 h 4565177"/>
              <a:gd name="connsiteX4139" fmla="*/ 10841552 w 12243467"/>
              <a:gd name="connsiteY4139" fmla="*/ 3077910 h 4565177"/>
              <a:gd name="connsiteX4140" fmla="*/ 10816106 w 12243467"/>
              <a:gd name="connsiteY4140" fmla="*/ 3102996 h 4565177"/>
              <a:gd name="connsiteX4141" fmla="*/ 10809191 w 12243467"/>
              <a:gd name="connsiteY4141" fmla="*/ 3134758 h 4565177"/>
              <a:gd name="connsiteX4142" fmla="*/ 10703810 w 12243467"/>
              <a:gd name="connsiteY4142" fmla="*/ 3228425 h 4565177"/>
              <a:gd name="connsiteX4143" fmla="*/ 10701044 w 12243467"/>
              <a:gd name="connsiteY4143" fmla="*/ 3230954 h 4565177"/>
              <a:gd name="connsiteX4144" fmla="*/ 10704640 w 12243467"/>
              <a:gd name="connsiteY4144" fmla="*/ 3206475 h 4565177"/>
              <a:gd name="connsiteX4145" fmla="*/ 10724831 w 12243467"/>
              <a:gd name="connsiteY4145" fmla="*/ 3177849 h 4565177"/>
              <a:gd name="connsiteX4146" fmla="*/ 10708512 w 12243467"/>
              <a:gd name="connsiteY4146" fmla="*/ 3164497 h 4565177"/>
              <a:gd name="connsiteX4147" fmla="*/ 10663152 w 12243467"/>
              <a:gd name="connsiteY4147" fmla="*/ 3217096 h 4565177"/>
              <a:gd name="connsiteX4148" fmla="*/ 10632727 w 12243467"/>
              <a:gd name="connsiteY4148" fmla="*/ 3225289 h 4565177"/>
              <a:gd name="connsiteX4149" fmla="*/ 10687768 w 12243467"/>
              <a:gd name="connsiteY4149" fmla="*/ 3167329 h 4565177"/>
              <a:gd name="connsiteX4150" fmla="*/ 10677258 w 12243467"/>
              <a:gd name="connsiteY4150" fmla="*/ 3150740 h 4565177"/>
              <a:gd name="connsiteX4151" fmla="*/ 10667577 w 12243467"/>
              <a:gd name="connsiteY4151" fmla="*/ 3156000 h 4565177"/>
              <a:gd name="connsiteX4152" fmla="*/ 10666194 w 12243467"/>
              <a:gd name="connsiteY4152" fmla="*/ 3148514 h 4565177"/>
              <a:gd name="connsiteX4153" fmla="*/ 10654854 w 12243467"/>
              <a:gd name="connsiteY4153" fmla="*/ 3146188 h 4565177"/>
              <a:gd name="connsiteX4154" fmla="*/ 10644620 w 12243467"/>
              <a:gd name="connsiteY4154" fmla="*/ 3168644 h 4565177"/>
              <a:gd name="connsiteX4155" fmla="*/ 10630514 w 12243467"/>
              <a:gd name="connsiteY4155" fmla="*/ 3151246 h 4565177"/>
              <a:gd name="connsiteX4156" fmla="*/ 10604238 w 12243467"/>
              <a:gd name="connsiteY4156" fmla="*/ 3148717 h 4565177"/>
              <a:gd name="connsiteX4157" fmla="*/ 10615855 w 12243467"/>
              <a:gd name="connsiteY4157" fmla="*/ 3142546 h 4565177"/>
              <a:gd name="connsiteX4158" fmla="*/ 10632450 w 12243467"/>
              <a:gd name="connsiteY4158" fmla="*/ 3147402 h 4565177"/>
              <a:gd name="connsiteX4159" fmla="*/ 10627195 w 12243467"/>
              <a:gd name="connsiteY4159" fmla="*/ 3141940 h 4565177"/>
              <a:gd name="connsiteX4160" fmla="*/ 10644067 w 12243467"/>
              <a:gd name="connsiteY4160" fmla="*/ 3138197 h 4565177"/>
              <a:gd name="connsiteX4161" fmla="*/ 10629408 w 12243467"/>
              <a:gd name="connsiteY4161" fmla="*/ 3132330 h 4565177"/>
              <a:gd name="connsiteX4162" fmla="*/ 10624706 w 12243467"/>
              <a:gd name="connsiteY4162" fmla="*/ 3109672 h 4565177"/>
              <a:gd name="connsiteX4163" fmla="*/ 10650982 w 12243467"/>
              <a:gd name="connsiteY4163" fmla="*/ 3106435 h 4565177"/>
              <a:gd name="connsiteX4164" fmla="*/ 10684449 w 12243467"/>
              <a:gd name="connsiteY4164" fmla="*/ 3071436 h 4565177"/>
              <a:gd name="connsiteX4165" fmla="*/ 10685002 w 12243467"/>
              <a:gd name="connsiteY4165" fmla="*/ 3057174 h 4565177"/>
              <a:gd name="connsiteX4166" fmla="*/ 10688321 w 12243467"/>
              <a:gd name="connsiteY4166" fmla="*/ 3066480 h 4565177"/>
              <a:gd name="connsiteX4167" fmla="*/ 10706023 w 12243467"/>
              <a:gd name="connsiteY4167" fmla="*/ 3051408 h 4565177"/>
              <a:gd name="connsiteX4168" fmla="*/ 10689428 w 12243467"/>
              <a:gd name="connsiteY4168" fmla="*/ 3040787 h 4565177"/>
              <a:gd name="connsiteX4169" fmla="*/ 10695513 w 12243467"/>
              <a:gd name="connsiteY4169" fmla="*/ 3034718 h 4565177"/>
              <a:gd name="connsiteX4170" fmla="*/ 10702427 w 12243467"/>
              <a:gd name="connsiteY4170" fmla="*/ 3044934 h 4565177"/>
              <a:gd name="connsiteX4171" fmla="*/ 10706576 w 12243467"/>
              <a:gd name="connsiteY4171" fmla="*/ 3039978 h 4565177"/>
              <a:gd name="connsiteX4172" fmla="*/ 10699108 w 12243467"/>
              <a:gd name="connsiteY4172" fmla="*/ 3035527 h 4565177"/>
              <a:gd name="connsiteX4173" fmla="*/ 10729257 w 12243467"/>
              <a:gd name="connsiteY4173" fmla="*/ 2991222 h 4565177"/>
              <a:gd name="connsiteX4174" fmla="*/ 10739214 w 12243467"/>
              <a:gd name="connsiteY4174" fmla="*/ 2977466 h 4565177"/>
              <a:gd name="connsiteX4175" fmla="*/ 10731746 w 12243467"/>
              <a:gd name="connsiteY4175" fmla="*/ 2973015 h 4565177"/>
              <a:gd name="connsiteX4176" fmla="*/ 10755809 w 12243467"/>
              <a:gd name="connsiteY4176" fmla="*/ 2937612 h 4565177"/>
              <a:gd name="connsiteX4177" fmla="*/ 10766873 w 12243467"/>
              <a:gd name="connsiteY4177" fmla="*/ 2939938 h 4565177"/>
              <a:gd name="connsiteX4178" fmla="*/ 10797574 w 12243467"/>
              <a:gd name="connsiteY4178" fmla="*/ 2881270 h 4565177"/>
              <a:gd name="connsiteX4179" fmla="*/ 10792319 w 12243467"/>
              <a:gd name="connsiteY4179" fmla="*/ 2875808 h 4565177"/>
              <a:gd name="connsiteX4180" fmla="*/ 10786787 w 12243467"/>
              <a:gd name="connsiteY4180" fmla="*/ 2873279 h 4565177"/>
              <a:gd name="connsiteX4181" fmla="*/ 10786234 w 12243467"/>
              <a:gd name="connsiteY4181" fmla="*/ 2884709 h 4565177"/>
              <a:gd name="connsiteX4182" fmla="*/ 10776830 w 12243467"/>
              <a:gd name="connsiteY4182" fmla="*/ 2887035 h 4565177"/>
              <a:gd name="connsiteX4183" fmla="*/ 10790106 w 12243467"/>
              <a:gd name="connsiteY4183" fmla="*/ 2840708 h 4565177"/>
              <a:gd name="connsiteX4184" fmla="*/ 10778766 w 12243467"/>
              <a:gd name="connsiteY4184" fmla="*/ 2838482 h 4565177"/>
              <a:gd name="connsiteX4185" fmla="*/ 10790383 w 12243467"/>
              <a:gd name="connsiteY4185" fmla="*/ 2790334 h 4565177"/>
              <a:gd name="connsiteX4186" fmla="*/ 10769915 w 12243467"/>
              <a:gd name="connsiteY4186" fmla="*/ 2787603 h 4565177"/>
              <a:gd name="connsiteX4187" fmla="*/ 10753320 w 12243467"/>
              <a:gd name="connsiteY4187" fmla="*/ 2821691 h 4565177"/>
              <a:gd name="connsiteX4188" fmla="*/ 10742809 w 12243467"/>
              <a:gd name="connsiteY4188" fmla="*/ 2846979 h 4565177"/>
              <a:gd name="connsiteX4189" fmla="*/ 10714874 w 12243467"/>
              <a:gd name="connsiteY4189" fmla="*/ 2887339 h 4565177"/>
              <a:gd name="connsiteX4190" fmla="*/ 10681407 w 12243467"/>
              <a:gd name="connsiteY4190" fmla="*/ 2928002 h 4565177"/>
              <a:gd name="connsiteX4191" fmla="*/ 10680853 w 12243467"/>
              <a:gd name="connsiteY4191" fmla="*/ 2939432 h 4565177"/>
              <a:gd name="connsiteX4192" fmla="*/ 10671173 w 12243467"/>
              <a:gd name="connsiteY4192" fmla="*/ 2941860 h 4565177"/>
              <a:gd name="connsiteX4193" fmla="*/ 10662045 w 12243467"/>
              <a:gd name="connsiteY4193" fmla="*/ 2980298 h 4565177"/>
              <a:gd name="connsiteX4194" fmla="*/ 10571877 w 12243467"/>
              <a:gd name="connsiteY4194" fmla="*/ 3074269 h 4565177"/>
              <a:gd name="connsiteX4195" fmla="*/ 10567451 w 12243467"/>
              <a:gd name="connsiteY4195" fmla="*/ 3090756 h 4565177"/>
              <a:gd name="connsiteX4196" fmla="*/ 10546707 w 12243467"/>
              <a:gd name="connsiteY4196" fmla="*/ 3093589 h 4565177"/>
              <a:gd name="connsiteX4197" fmla="*/ 10584877 w 12243467"/>
              <a:gd name="connsiteY4197" fmla="*/ 3030773 h 4565177"/>
              <a:gd name="connsiteX4198" fmla="*/ 10577409 w 12243467"/>
              <a:gd name="connsiteY4198" fmla="*/ 3032088 h 4565177"/>
              <a:gd name="connsiteX4199" fmla="*/ 10620557 w 12243467"/>
              <a:gd name="connsiteY4199" fmla="*/ 2991930 h 4565177"/>
              <a:gd name="connsiteX4200" fmla="*/ 10667577 w 12243467"/>
              <a:gd name="connsiteY4200" fmla="*/ 2943883 h 4565177"/>
              <a:gd name="connsiteX4201" fmla="*/ 10679747 w 12243467"/>
              <a:gd name="connsiteY4201" fmla="*/ 2920517 h 4565177"/>
              <a:gd name="connsiteX4202" fmla="*/ 10670343 w 12243467"/>
              <a:gd name="connsiteY4202" fmla="*/ 2920011 h 4565177"/>
              <a:gd name="connsiteX4203" fmla="*/ 10728150 w 12243467"/>
              <a:gd name="connsiteY4203" fmla="*/ 2799134 h 4565177"/>
              <a:gd name="connsiteX4204" fmla="*/ 10703257 w 12243467"/>
              <a:gd name="connsiteY4204" fmla="*/ 2807024 h 4565177"/>
              <a:gd name="connsiteX4205" fmla="*/ 10692194 w 12243467"/>
              <a:gd name="connsiteY4205" fmla="*/ 2846676 h 4565177"/>
              <a:gd name="connsiteX4206" fmla="*/ 10667854 w 12243467"/>
              <a:gd name="connsiteY4206" fmla="*/ 2890677 h 4565177"/>
              <a:gd name="connsiteX4207" fmla="*/ 10646003 w 12243467"/>
              <a:gd name="connsiteY4207" fmla="*/ 2919303 h 4565177"/>
              <a:gd name="connsiteX4208" fmla="*/ 10611429 w 12243467"/>
              <a:gd name="connsiteY4208" fmla="*/ 2982827 h 4565177"/>
              <a:gd name="connsiteX4209" fmla="*/ 10556664 w 12243467"/>
              <a:gd name="connsiteY4209" fmla="*/ 3040787 h 4565177"/>
              <a:gd name="connsiteX4210" fmla="*/ 10669237 w 12243467"/>
              <a:gd name="connsiteY4210" fmla="*/ 2862051 h 4565177"/>
              <a:gd name="connsiteX4211" fmla="*/ 10697449 w 12243467"/>
              <a:gd name="connsiteY4211" fmla="*/ 2815925 h 4565177"/>
              <a:gd name="connsiteX4212" fmla="*/ 10695789 w 12243467"/>
              <a:gd name="connsiteY4212" fmla="*/ 2808339 h 4565177"/>
              <a:gd name="connsiteX4213" fmla="*/ 10740320 w 12243467"/>
              <a:gd name="connsiteY4213" fmla="*/ 2733891 h 4565177"/>
              <a:gd name="connsiteX4214" fmla="*/ 10725108 w 12243467"/>
              <a:gd name="connsiteY4214" fmla="*/ 2784062 h 4565177"/>
              <a:gd name="connsiteX4215" fmla="*/ 10752214 w 12243467"/>
              <a:gd name="connsiteY4215" fmla="*/ 2719021 h 4565177"/>
              <a:gd name="connsiteX4216" fmla="*/ 10779596 w 12243467"/>
              <a:gd name="connsiteY4216" fmla="*/ 2648113 h 4565177"/>
              <a:gd name="connsiteX4217" fmla="*/ 10790660 w 12243467"/>
              <a:gd name="connsiteY4217" fmla="*/ 2608563 h 4565177"/>
              <a:gd name="connsiteX4218" fmla="*/ 10804766 w 12243467"/>
              <a:gd name="connsiteY4218" fmla="*/ 2539476 h 4565177"/>
              <a:gd name="connsiteX4219" fmla="*/ 10819148 w 12243467"/>
              <a:gd name="connsiteY4219" fmla="*/ 2470288 h 4565177"/>
              <a:gd name="connsiteX4220" fmla="*/ 10805042 w 12243467"/>
              <a:gd name="connsiteY4220" fmla="*/ 2489001 h 4565177"/>
              <a:gd name="connsiteX4221" fmla="*/ 10753873 w 12243467"/>
              <a:gd name="connsiteY4221" fmla="*/ 2676133 h 4565177"/>
              <a:gd name="connsiteX4222" fmla="*/ 10779873 w 12243467"/>
              <a:gd name="connsiteY4222" fmla="*/ 2555862 h 4565177"/>
              <a:gd name="connsiteX4223" fmla="*/ 10770468 w 12243467"/>
              <a:gd name="connsiteY4223" fmla="*/ 2555357 h 4565177"/>
              <a:gd name="connsiteX4224" fmla="*/ 10785128 w 12243467"/>
              <a:gd name="connsiteY4224" fmla="*/ 2519549 h 4565177"/>
              <a:gd name="connsiteX4225" fmla="*/ 10777936 w 12243467"/>
              <a:gd name="connsiteY4225" fmla="*/ 2512266 h 4565177"/>
              <a:gd name="connsiteX4226" fmla="*/ 10738937 w 12243467"/>
              <a:gd name="connsiteY4226" fmla="*/ 2592176 h 4565177"/>
              <a:gd name="connsiteX4227" fmla="*/ 10753873 w 12243467"/>
              <a:gd name="connsiteY4227" fmla="*/ 2592378 h 4565177"/>
              <a:gd name="connsiteX4228" fmla="*/ 10760788 w 12243467"/>
              <a:gd name="connsiteY4228" fmla="*/ 2605427 h 4565177"/>
              <a:gd name="connsiteX4229" fmla="*/ 10744746 w 12243467"/>
              <a:gd name="connsiteY4229" fmla="*/ 2630816 h 4565177"/>
              <a:gd name="connsiteX4230" fmla="*/ 10735618 w 12243467"/>
              <a:gd name="connsiteY4230" fmla="*/ 2621814 h 4565177"/>
              <a:gd name="connsiteX4231" fmla="*/ 10698278 w 12243467"/>
              <a:gd name="connsiteY4231" fmla="*/ 2706478 h 4565177"/>
              <a:gd name="connsiteX4232" fmla="*/ 10708236 w 12243467"/>
              <a:gd name="connsiteY4232" fmla="*/ 2698386 h 4565177"/>
              <a:gd name="connsiteX4233" fmla="*/ 10698002 w 12243467"/>
              <a:gd name="connsiteY4233" fmla="*/ 2715076 h 4565177"/>
              <a:gd name="connsiteX4234" fmla="*/ 10698278 w 12243467"/>
              <a:gd name="connsiteY4234" fmla="*/ 2709412 h 4565177"/>
              <a:gd name="connsiteX4235" fmla="*/ 10673939 w 12243467"/>
              <a:gd name="connsiteY4235" fmla="*/ 2750480 h 4565177"/>
              <a:gd name="connsiteX4236" fmla="*/ 10688874 w 12243467"/>
              <a:gd name="connsiteY4236" fmla="*/ 2750682 h 4565177"/>
              <a:gd name="connsiteX4237" fmla="*/ 10620833 w 12243467"/>
              <a:gd name="connsiteY4237" fmla="*/ 2852138 h 4565177"/>
              <a:gd name="connsiteX4238" fmla="*/ 10603961 w 12243467"/>
              <a:gd name="connsiteY4238" fmla="*/ 2852947 h 4565177"/>
              <a:gd name="connsiteX4239" fmla="*/ 10594004 w 12243467"/>
              <a:gd name="connsiteY4239" fmla="*/ 2866805 h 4565177"/>
              <a:gd name="connsiteX4240" fmla="*/ 10596770 w 12243467"/>
              <a:gd name="connsiteY4240" fmla="*/ 2890373 h 4565177"/>
              <a:gd name="connsiteX4241" fmla="*/ 10540899 w 12243467"/>
              <a:gd name="connsiteY4241" fmla="*/ 2926485 h 4565177"/>
              <a:gd name="connsiteX4242" fmla="*/ 10543388 w 12243467"/>
              <a:gd name="connsiteY4242" fmla="*/ 2911211 h 4565177"/>
              <a:gd name="connsiteX4243" fmla="*/ 10530665 w 12243467"/>
              <a:gd name="connsiteY4243" fmla="*/ 2918797 h 4565177"/>
              <a:gd name="connsiteX4244" fmla="*/ 10525963 w 12243467"/>
              <a:gd name="connsiteY4244" fmla="*/ 2919404 h 4565177"/>
              <a:gd name="connsiteX4245" fmla="*/ 10525410 w 12243467"/>
              <a:gd name="connsiteY4245" fmla="*/ 2922439 h 4565177"/>
              <a:gd name="connsiteX4246" fmla="*/ 10524580 w 12243467"/>
              <a:gd name="connsiteY4246" fmla="*/ 2923349 h 4565177"/>
              <a:gd name="connsiteX4247" fmla="*/ 10529835 w 12243467"/>
              <a:gd name="connsiteY4247" fmla="*/ 2924158 h 4565177"/>
              <a:gd name="connsiteX4248" fmla="*/ 10511304 w 12243467"/>
              <a:gd name="connsiteY4248" fmla="*/ 2943478 h 4565177"/>
              <a:gd name="connsiteX4249" fmla="*/ 10512687 w 12243467"/>
              <a:gd name="connsiteY4249" fmla="*/ 2946311 h 4565177"/>
              <a:gd name="connsiteX4250" fmla="*/ 10522367 w 12243467"/>
              <a:gd name="connsiteY4250" fmla="*/ 2951267 h 4565177"/>
              <a:gd name="connsiteX4251" fmla="*/ 10511580 w 12243467"/>
              <a:gd name="connsiteY4251" fmla="*/ 2955920 h 4565177"/>
              <a:gd name="connsiteX4252" fmla="*/ 10517665 w 12243467"/>
              <a:gd name="connsiteY4252" fmla="*/ 2971093 h 4565177"/>
              <a:gd name="connsiteX4253" fmla="*/ 10507431 w 12243467"/>
              <a:gd name="connsiteY4253" fmla="*/ 2982726 h 4565177"/>
              <a:gd name="connsiteX4254" fmla="*/ 10505772 w 12243467"/>
              <a:gd name="connsiteY4254" fmla="*/ 2997190 h 4565177"/>
              <a:gd name="connsiteX4255" fmla="*/ 10517112 w 12243467"/>
              <a:gd name="connsiteY4255" fmla="*/ 3006496 h 4565177"/>
              <a:gd name="connsiteX4256" fmla="*/ 10516835 w 12243467"/>
              <a:gd name="connsiteY4256" fmla="*/ 3018230 h 4565177"/>
              <a:gd name="connsiteX4257" fmla="*/ 10479772 w 12243467"/>
              <a:gd name="connsiteY4257" fmla="*/ 3106132 h 4565177"/>
              <a:gd name="connsiteX4258" fmla="*/ 10482538 w 12243467"/>
              <a:gd name="connsiteY4258" fmla="*/ 3112706 h 4565177"/>
              <a:gd name="connsiteX4259" fmla="*/ 10501623 w 12243467"/>
              <a:gd name="connsiteY4259" fmla="*/ 3096219 h 4565177"/>
              <a:gd name="connsiteX4260" fmla="*/ 10486964 w 12243467"/>
              <a:gd name="connsiteY4260" fmla="*/ 3118472 h 4565177"/>
              <a:gd name="connsiteX4261" fmla="*/ 10479219 w 12243467"/>
              <a:gd name="connsiteY4261" fmla="*/ 3125249 h 4565177"/>
              <a:gd name="connsiteX4262" fmla="*/ 10468156 w 12243467"/>
              <a:gd name="connsiteY4262" fmla="*/ 3143760 h 4565177"/>
              <a:gd name="connsiteX4263" fmla="*/ 10429156 w 12243467"/>
              <a:gd name="connsiteY4263" fmla="*/ 3227717 h 4565177"/>
              <a:gd name="connsiteX4264" fmla="*/ 10400114 w 12243467"/>
              <a:gd name="connsiteY4264" fmla="*/ 3285677 h 4565177"/>
              <a:gd name="connsiteX4265" fmla="*/ 10334839 w 12243467"/>
              <a:gd name="connsiteY4265" fmla="*/ 3408071 h 4565177"/>
              <a:gd name="connsiteX4266" fmla="*/ 10345903 w 12243467"/>
              <a:gd name="connsiteY4266" fmla="*/ 3410398 h 4565177"/>
              <a:gd name="connsiteX4267" fmla="*/ 10320457 w 12243467"/>
              <a:gd name="connsiteY4267" fmla="*/ 3427695 h 4565177"/>
              <a:gd name="connsiteX4268" fmla="*/ 10299159 w 12243467"/>
              <a:gd name="connsiteY4268" fmla="*/ 3467549 h 4565177"/>
              <a:gd name="connsiteX4269" fmla="*/ 10282287 w 12243467"/>
              <a:gd name="connsiteY4269" fmla="*/ 3468965 h 4565177"/>
              <a:gd name="connsiteX4270" fmla="*/ 10292244 w 12243467"/>
              <a:gd name="connsiteY4270" fmla="*/ 3487881 h 4565177"/>
              <a:gd name="connsiteX4271" fmla="*/ 10288096 w 12243467"/>
              <a:gd name="connsiteY4271" fmla="*/ 3495872 h 4565177"/>
              <a:gd name="connsiteX4272" fmla="*/ 10267904 w 12243467"/>
              <a:gd name="connsiteY4272" fmla="*/ 3507302 h 4565177"/>
              <a:gd name="connsiteX4273" fmla="*/ 10276479 w 12243467"/>
              <a:gd name="connsiteY4273" fmla="*/ 3510134 h 4565177"/>
              <a:gd name="connsiteX4274" fmla="*/ 10278138 w 12243467"/>
              <a:gd name="connsiteY4274" fmla="*/ 3514484 h 4565177"/>
              <a:gd name="connsiteX4275" fmla="*/ 10230841 w 12243467"/>
              <a:gd name="connsiteY4275" fmla="*/ 3557777 h 4565177"/>
              <a:gd name="connsiteX4276" fmla="*/ 10235820 w 12243467"/>
              <a:gd name="connsiteY4276" fmla="*/ 3563745 h 4565177"/>
              <a:gd name="connsiteX4277" fmla="*/ 10191842 w 12243467"/>
              <a:gd name="connsiteY4277" fmla="*/ 3615636 h 4565177"/>
              <a:gd name="connsiteX4278" fmla="*/ 10080100 w 12243467"/>
              <a:gd name="connsiteY4278" fmla="*/ 3727207 h 4565177"/>
              <a:gd name="connsiteX4279" fmla="*/ 10088951 w 12243467"/>
              <a:gd name="connsiteY4279" fmla="*/ 3737019 h 4565177"/>
              <a:gd name="connsiteX4280" fmla="*/ 10067653 w 12243467"/>
              <a:gd name="connsiteY4280" fmla="*/ 3739346 h 4565177"/>
              <a:gd name="connsiteX4281" fmla="*/ 10034462 w 12243467"/>
              <a:gd name="connsiteY4281" fmla="*/ 3774850 h 4565177"/>
              <a:gd name="connsiteX4282" fmla="*/ 10023952 w 12243467"/>
              <a:gd name="connsiteY4282" fmla="*/ 3779503 h 4565177"/>
              <a:gd name="connsiteX4283" fmla="*/ 10027271 w 12243467"/>
              <a:gd name="connsiteY4283" fmla="*/ 3788101 h 4565177"/>
              <a:gd name="connsiteX4284" fmla="*/ 10041654 w 12243467"/>
              <a:gd name="connsiteY4284" fmla="*/ 3780211 h 4565177"/>
              <a:gd name="connsiteX4285" fmla="*/ 10025335 w 12243467"/>
              <a:gd name="connsiteY4285" fmla="*/ 3795586 h 4565177"/>
              <a:gd name="connsiteX4286" fmla="*/ 10017314 w 12243467"/>
              <a:gd name="connsiteY4286" fmla="*/ 3787899 h 4565177"/>
              <a:gd name="connsiteX4287" fmla="*/ 10000165 w 12243467"/>
              <a:gd name="connsiteY4287" fmla="*/ 3801150 h 4565177"/>
              <a:gd name="connsiteX4288" fmla="*/ 10013442 w 12243467"/>
              <a:gd name="connsiteY4288" fmla="*/ 3802869 h 4565177"/>
              <a:gd name="connsiteX4289" fmla="*/ 9999612 w 12243467"/>
              <a:gd name="connsiteY4289" fmla="*/ 3805904 h 4565177"/>
              <a:gd name="connsiteX4290" fmla="*/ 9959783 w 12243467"/>
              <a:gd name="connsiteY4290" fmla="*/ 3842926 h 4565177"/>
              <a:gd name="connsiteX4291" fmla="*/ 9929911 w 12243467"/>
              <a:gd name="connsiteY4291" fmla="*/ 3861234 h 4565177"/>
              <a:gd name="connsiteX4292" fmla="*/ 9884274 w 12243467"/>
              <a:gd name="connsiteY4292" fmla="*/ 3890063 h 4565177"/>
              <a:gd name="connsiteX4293" fmla="*/ 9858275 w 12243467"/>
              <a:gd name="connsiteY4293" fmla="*/ 3924050 h 4565177"/>
              <a:gd name="connsiteX4294" fmla="*/ 9773638 w 12243467"/>
              <a:gd name="connsiteY4294" fmla="*/ 3961476 h 4565177"/>
              <a:gd name="connsiteX4295" fmla="*/ 9771149 w 12243467"/>
              <a:gd name="connsiteY4295" fmla="*/ 3973716 h 4565177"/>
              <a:gd name="connsiteX4296" fmla="*/ 9674342 w 12243467"/>
              <a:gd name="connsiteY4296" fmla="*/ 4023280 h 4565177"/>
              <a:gd name="connsiteX4297" fmla="*/ 9666874 w 12243467"/>
              <a:gd name="connsiteY4297" fmla="*/ 4010839 h 4565177"/>
              <a:gd name="connsiteX4298" fmla="*/ 9660513 w 12243467"/>
              <a:gd name="connsiteY4298" fmla="*/ 4026214 h 4565177"/>
              <a:gd name="connsiteX4299" fmla="*/ 9624280 w 12243467"/>
              <a:gd name="connsiteY4299" fmla="*/ 4041286 h 4565177"/>
              <a:gd name="connsiteX4300" fmla="*/ 9628705 w 12243467"/>
              <a:gd name="connsiteY4300" fmla="*/ 4021561 h 4565177"/>
              <a:gd name="connsiteX4301" fmla="*/ 9645300 w 12243467"/>
              <a:gd name="connsiteY4301" fmla="*/ 4013266 h 4565177"/>
              <a:gd name="connsiteX4302" fmla="*/ 9626216 w 12243467"/>
              <a:gd name="connsiteY4302" fmla="*/ 3996374 h 4565177"/>
              <a:gd name="connsiteX4303" fmla="*/ 9660236 w 12243467"/>
              <a:gd name="connsiteY4303" fmla="*/ 3981808 h 4565177"/>
              <a:gd name="connsiteX4304" fmla="*/ 9722746 w 12243467"/>
              <a:gd name="connsiteY4304" fmla="*/ 3939830 h 4565177"/>
              <a:gd name="connsiteX4305" fmla="*/ 9752617 w 12243467"/>
              <a:gd name="connsiteY4305" fmla="*/ 3921420 h 4565177"/>
              <a:gd name="connsiteX4306" fmla="*/ 9796595 w 12243467"/>
              <a:gd name="connsiteY4306" fmla="*/ 3888242 h 4565177"/>
              <a:gd name="connsiteX4307" fmla="*/ 9805999 w 12243467"/>
              <a:gd name="connsiteY4307" fmla="*/ 3893198 h 4565177"/>
              <a:gd name="connsiteX4308" fmla="*/ 9831169 w 12243467"/>
              <a:gd name="connsiteY4308" fmla="*/ 3868922 h 4565177"/>
              <a:gd name="connsiteX4309" fmla="*/ 9863806 w 12243467"/>
              <a:gd name="connsiteY4309" fmla="*/ 3845252 h 4565177"/>
              <a:gd name="connsiteX4310" fmla="*/ 9955358 w 12243467"/>
              <a:gd name="connsiteY4310" fmla="*/ 3757047 h 4565177"/>
              <a:gd name="connsiteX4311" fmla="*/ 9969740 w 12243467"/>
              <a:gd name="connsiteY4311" fmla="*/ 3756137 h 4565177"/>
              <a:gd name="connsiteX4312" fmla="*/ 9958124 w 12243467"/>
              <a:gd name="connsiteY4312" fmla="*/ 3751787 h 4565177"/>
              <a:gd name="connsiteX4313" fmla="*/ 10047462 w 12243467"/>
              <a:gd name="connsiteY4313" fmla="*/ 3670967 h 4565177"/>
              <a:gd name="connsiteX4314" fmla="*/ 10049675 w 12243467"/>
              <a:gd name="connsiteY4314" fmla="*/ 3682296 h 4565177"/>
              <a:gd name="connsiteX4315" fmla="*/ 10066547 w 12243467"/>
              <a:gd name="connsiteY4315" fmla="*/ 3650331 h 4565177"/>
              <a:gd name="connsiteX4316" fmla="*/ 10088674 w 12243467"/>
              <a:gd name="connsiteY4316" fmla="*/ 3631416 h 4565177"/>
              <a:gd name="connsiteX4317" fmla="*/ 10090057 w 12243467"/>
              <a:gd name="connsiteY4317" fmla="*/ 3640520 h 4565177"/>
              <a:gd name="connsiteX4318" fmla="*/ 10108589 w 12243467"/>
              <a:gd name="connsiteY4318" fmla="*/ 3624740 h 4565177"/>
              <a:gd name="connsiteX4319" fmla="*/ 10095312 w 12243467"/>
              <a:gd name="connsiteY4319" fmla="*/ 3622818 h 4565177"/>
              <a:gd name="connsiteX4320" fmla="*/ 10116610 w 12243467"/>
              <a:gd name="connsiteY4320" fmla="*/ 3601778 h 4565177"/>
              <a:gd name="connsiteX4321" fmla="*/ 10106376 w 12243467"/>
              <a:gd name="connsiteY4321" fmla="*/ 3613411 h 4565177"/>
              <a:gd name="connsiteX4322" fmla="*/ 10115780 w 12243467"/>
              <a:gd name="connsiteY4322" fmla="*/ 3618367 h 4565177"/>
              <a:gd name="connsiteX4323" fmla="*/ 10120205 w 12243467"/>
              <a:gd name="connsiteY4323" fmla="*/ 3591562 h 4565177"/>
              <a:gd name="connsiteX4324" fmla="*/ 10130439 w 12243467"/>
              <a:gd name="connsiteY4324" fmla="*/ 3598744 h 4565177"/>
              <a:gd name="connsiteX4325" fmla="*/ 10207608 w 12243467"/>
              <a:gd name="connsiteY4325" fmla="*/ 3487780 h 4565177"/>
              <a:gd name="connsiteX4326" fmla="*/ 10225586 w 12243467"/>
              <a:gd name="connsiteY4326" fmla="*/ 3488589 h 4565177"/>
              <a:gd name="connsiteX4327" fmla="*/ 10225586 w 12243467"/>
              <a:gd name="connsiteY4327" fmla="*/ 3457940 h 4565177"/>
              <a:gd name="connsiteX4328" fmla="*/ 10264309 w 12243467"/>
              <a:gd name="connsiteY4328" fmla="*/ 3393202 h 4565177"/>
              <a:gd name="connsiteX4329" fmla="*/ 10377987 w 12243467"/>
              <a:gd name="connsiteY4329" fmla="*/ 3199091 h 4565177"/>
              <a:gd name="connsiteX4330" fmla="*/ 10426391 w 12243467"/>
              <a:gd name="connsiteY4330" fmla="*/ 3059298 h 4565177"/>
              <a:gd name="connsiteX4331" fmla="*/ 10442433 w 12243467"/>
              <a:gd name="connsiteY4331" fmla="*/ 3044024 h 4565177"/>
              <a:gd name="connsiteX4332" fmla="*/ 10430816 w 12243467"/>
              <a:gd name="connsiteY4332" fmla="*/ 3039472 h 4565177"/>
              <a:gd name="connsiteX4333" fmla="*/ 10436071 w 12243467"/>
              <a:gd name="connsiteY4333" fmla="*/ 3026929 h 4565177"/>
              <a:gd name="connsiteX4334" fmla="*/ 10405923 w 12243467"/>
              <a:gd name="connsiteY4334" fmla="*/ 3055960 h 4565177"/>
              <a:gd name="connsiteX4335" fmla="*/ 10444092 w 12243467"/>
              <a:gd name="connsiteY4335" fmla="*/ 3006901 h 4565177"/>
              <a:gd name="connsiteX4336" fmla="*/ 10447411 w 12243467"/>
              <a:gd name="connsiteY4336" fmla="*/ 3003158 h 4565177"/>
              <a:gd name="connsiteX4337" fmla="*/ 10444092 w 12243467"/>
              <a:gd name="connsiteY4337" fmla="*/ 2999719 h 4565177"/>
              <a:gd name="connsiteX4338" fmla="*/ 10441050 w 12243467"/>
              <a:gd name="connsiteY4338" fmla="*/ 2990312 h 4565177"/>
              <a:gd name="connsiteX4339" fmla="*/ 10446858 w 12243467"/>
              <a:gd name="connsiteY4339" fmla="*/ 2986671 h 4565177"/>
              <a:gd name="connsiteX4340" fmla="*/ 10449071 w 12243467"/>
              <a:gd name="connsiteY4340" fmla="*/ 2970891 h 4565177"/>
              <a:gd name="connsiteX4341" fmla="*/ 10438837 w 12243467"/>
              <a:gd name="connsiteY4341" fmla="*/ 2980703 h 4565177"/>
              <a:gd name="connsiteX4342" fmla="*/ 10425008 w 12243467"/>
              <a:gd name="connsiteY4342" fmla="*/ 3006496 h 4565177"/>
              <a:gd name="connsiteX4343" fmla="*/ 10401497 w 12243467"/>
              <a:gd name="connsiteY4343" fmla="*/ 3027637 h 4565177"/>
              <a:gd name="connsiteX4344" fmla="*/ 10391540 w 12243467"/>
              <a:gd name="connsiteY4344" fmla="*/ 3030773 h 4565177"/>
              <a:gd name="connsiteX4345" fmla="*/ 10390987 w 12243467"/>
              <a:gd name="connsiteY4345" fmla="*/ 3032189 h 4565177"/>
              <a:gd name="connsiteX4346" fmla="*/ 10384902 w 12243467"/>
              <a:gd name="connsiteY4346" fmla="*/ 3061321 h 4565177"/>
              <a:gd name="connsiteX4347" fmla="*/ 10374945 w 12243467"/>
              <a:gd name="connsiteY4347" fmla="*/ 3098747 h 4565177"/>
              <a:gd name="connsiteX4348" fmla="*/ 10361945 w 12243467"/>
              <a:gd name="connsiteY4348" fmla="*/ 3134555 h 4565177"/>
              <a:gd name="connsiteX4349" fmla="*/ 10295287 w 12243467"/>
              <a:gd name="connsiteY4349" fmla="*/ 3259580 h 4565177"/>
              <a:gd name="connsiteX4350" fmla="*/ 10303308 w 12243467"/>
              <a:gd name="connsiteY4350" fmla="*/ 3267166 h 4565177"/>
              <a:gd name="connsiteX4351" fmla="*/ 10289478 w 12243467"/>
              <a:gd name="connsiteY4351" fmla="*/ 3282036 h 4565177"/>
              <a:gd name="connsiteX4352" fmla="*/ 10220608 w 12243467"/>
              <a:gd name="connsiteY4352" fmla="*/ 3395731 h 4565177"/>
              <a:gd name="connsiteX4353" fmla="*/ 10214523 w 12243467"/>
              <a:gd name="connsiteY4353" fmla="*/ 3399372 h 4565177"/>
              <a:gd name="connsiteX4354" fmla="*/ 10215906 w 12243467"/>
              <a:gd name="connsiteY4354" fmla="*/ 3408476 h 4565177"/>
              <a:gd name="connsiteX4355" fmla="*/ 10196268 w 12243467"/>
              <a:gd name="connsiteY4355" fmla="*/ 3433967 h 4565177"/>
              <a:gd name="connsiteX4356" fmla="*/ 10130992 w 12243467"/>
              <a:gd name="connsiteY4356" fmla="*/ 3506999 h 4565177"/>
              <a:gd name="connsiteX4357" fmla="*/ 10128503 w 12243467"/>
              <a:gd name="connsiteY4357" fmla="*/ 3519339 h 4565177"/>
              <a:gd name="connsiteX4358" fmla="*/ 10111078 w 12243467"/>
              <a:gd name="connsiteY4358" fmla="*/ 3525509 h 4565177"/>
              <a:gd name="connsiteX4359" fmla="*/ 10090610 w 12243467"/>
              <a:gd name="connsiteY4359" fmla="*/ 3548774 h 4565177"/>
              <a:gd name="connsiteX4360" fmla="*/ 10077057 w 12243467"/>
              <a:gd name="connsiteY4360" fmla="*/ 3540075 h 4565177"/>
              <a:gd name="connsiteX4361" fmla="*/ 10087844 w 12243467"/>
              <a:gd name="connsiteY4361" fmla="*/ 3554136 h 4565177"/>
              <a:gd name="connsiteX4362" fmla="*/ 10064887 w 12243467"/>
              <a:gd name="connsiteY4362" fmla="*/ 3559193 h 4565177"/>
              <a:gd name="connsiteX4363" fmla="*/ 10048292 w 12243467"/>
              <a:gd name="connsiteY4363" fmla="*/ 3586302 h 4565177"/>
              <a:gd name="connsiteX4364" fmla="*/ 10039994 w 12243467"/>
              <a:gd name="connsiteY4364" fmla="*/ 3602284 h 4565177"/>
              <a:gd name="connsiteX4365" fmla="*/ 10046909 w 12243467"/>
              <a:gd name="connsiteY4365" fmla="*/ 3607746 h 4565177"/>
              <a:gd name="connsiteX4366" fmla="*/ 10039994 w 12243467"/>
              <a:gd name="connsiteY4366" fmla="*/ 3620997 h 4565177"/>
              <a:gd name="connsiteX4367" fmla="*/ 10020080 w 12243467"/>
              <a:gd name="connsiteY4367" fmla="*/ 3639508 h 4565177"/>
              <a:gd name="connsiteX4368" fmla="*/ 10008463 w 12243467"/>
              <a:gd name="connsiteY4368" fmla="*/ 3634956 h 4565177"/>
              <a:gd name="connsiteX4369" fmla="*/ 10004591 w 12243467"/>
              <a:gd name="connsiteY4369" fmla="*/ 3656906 h 4565177"/>
              <a:gd name="connsiteX4370" fmla="*/ 9990485 w 12243467"/>
              <a:gd name="connsiteY4370" fmla="*/ 3664796 h 4565177"/>
              <a:gd name="connsiteX4371" fmla="*/ 9924656 w 12243467"/>
              <a:gd name="connsiteY4371" fmla="*/ 3723869 h 4565177"/>
              <a:gd name="connsiteX4372" fmla="*/ 9919954 w 12243467"/>
              <a:gd name="connsiteY4372" fmla="*/ 3736716 h 4565177"/>
              <a:gd name="connsiteX4373" fmla="*/ 9839190 w 12243467"/>
              <a:gd name="connsiteY4373" fmla="*/ 3789821 h 4565177"/>
              <a:gd name="connsiteX4374" fmla="*/ 9836701 w 12243467"/>
              <a:gd name="connsiteY4374" fmla="*/ 3802060 h 4565177"/>
              <a:gd name="connsiteX4375" fmla="*/ 9812637 w 12243467"/>
              <a:gd name="connsiteY4375" fmla="*/ 3797913 h 4565177"/>
              <a:gd name="connsiteX4376" fmla="*/ 9785255 w 12243467"/>
              <a:gd name="connsiteY4376" fmla="*/ 3822695 h 4565177"/>
              <a:gd name="connsiteX4377" fmla="*/ 9777234 w 12243467"/>
              <a:gd name="connsiteY4377" fmla="*/ 3845657 h 4565177"/>
              <a:gd name="connsiteX4378" fmla="*/ 9763957 w 12243467"/>
              <a:gd name="connsiteY4378" fmla="*/ 3843937 h 4565177"/>
              <a:gd name="connsiteX4379" fmla="*/ 9728554 w 12243467"/>
              <a:gd name="connsiteY4379" fmla="*/ 3861133 h 4565177"/>
              <a:gd name="connsiteX4380" fmla="*/ 9707533 w 12243467"/>
              <a:gd name="connsiteY4380" fmla="*/ 3889152 h 4565177"/>
              <a:gd name="connsiteX4381" fmla="*/ 9565919 w 12243467"/>
              <a:gd name="connsiteY4381" fmla="*/ 3950956 h 4565177"/>
              <a:gd name="connsiteX4382" fmla="*/ 9561770 w 12243467"/>
              <a:gd name="connsiteY4382" fmla="*/ 3952575 h 4565177"/>
              <a:gd name="connsiteX4383" fmla="*/ 9576429 w 12243467"/>
              <a:gd name="connsiteY4383" fmla="*/ 3930422 h 4565177"/>
              <a:gd name="connsiteX4384" fmla="*/ 9608514 w 12243467"/>
              <a:gd name="connsiteY4384" fmla="*/ 3908675 h 4565177"/>
              <a:gd name="connsiteX4385" fmla="*/ 9599386 w 12243467"/>
              <a:gd name="connsiteY4385" fmla="*/ 3891985 h 4565177"/>
              <a:gd name="connsiteX4386" fmla="*/ 9532452 w 12243467"/>
              <a:gd name="connsiteY4386" fmla="*/ 3930119 h 4565177"/>
              <a:gd name="connsiteX4387" fmla="*/ 9500367 w 12243467"/>
              <a:gd name="connsiteY4387" fmla="*/ 3930220 h 4565177"/>
              <a:gd name="connsiteX4388" fmla="*/ 9578366 w 12243467"/>
              <a:gd name="connsiteY4388" fmla="*/ 3889557 h 4565177"/>
              <a:gd name="connsiteX4389" fmla="*/ 9576153 w 12243467"/>
              <a:gd name="connsiteY4389" fmla="*/ 3871248 h 4565177"/>
              <a:gd name="connsiteX4390" fmla="*/ 9564813 w 12243467"/>
              <a:gd name="connsiteY4390" fmla="*/ 3873777 h 4565177"/>
              <a:gd name="connsiteX4391" fmla="*/ 9566749 w 12243467"/>
              <a:gd name="connsiteY4391" fmla="*/ 3866292 h 4565177"/>
              <a:gd name="connsiteX4392" fmla="*/ 9557345 w 12243467"/>
              <a:gd name="connsiteY4392" fmla="*/ 3861335 h 4565177"/>
              <a:gd name="connsiteX4393" fmla="*/ 9537430 w 12243467"/>
              <a:gd name="connsiteY4393" fmla="*/ 3879846 h 4565177"/>
              <a:gd name="connsiteX4394" fmla="*/ 9531898 w 12243467"/>
              <a:gd name="connsiteY4394" fmla="*/ 3859919 h 4565177"/>
              <a:gd name="connsiteX4395" fmla="*/ 9508388 w 12243467"/>
              <a:gd name="connsiteY4395" fmla="*/ 3851018 h 4565177"/>
              <a:gd name="connsiteX4396" fmla="*/ 9521941 w 12243467"/>
              <a:gd name="connsiteY4396" fmla="*/ 3847983 h 4565177"/>
              <a:gd name="connsiteX4397" fmla="*/ 9535494 w 12243467"/>
              <a:gd name="connsiteY4397" fmla="*/ 3856682 h 4565177"/>
              <a:gd name="connsiteX4398" fmla="*/ 9533005 w 12243467"/>
              <a:gd name="connsiteY4398" fmla="*/ 3850310 h 4565177"/>
              <a:gd name="connsiteX4399" fmla="*/ 9550707 w 12243467"/>
              <a:gd name="connsiteY4399" fmla="*/ 3851119 h 4565177"/>
              <a:gd name="connsiteX4400" fmla="*/ 9539366 w 12243467"/>
              <a:gd name="connsiteY4400" fmla="*/ 3841712 h 4565177"/>
              <a:gd name="connsiteX4401" fmla="*/ 9545451 w 12243467"/>
              <a:gd name="connsiteY4401" fmla="*/ 3819357 h 4565177"/>
              <a:gd name="connsiteX4402" fmla="*/ 9571727 w 12243467"/>
              <a:gd name="connsiteY4402" fmla="*/ 3822897 h 4565177"/>
              <a:gd name="connsiteX4403" fmla="*/ 9619024 w 12243467"/>
              <a:gd name="connsiteY4403" fmla="*/ 3798419 h 4565177"/>
              <a:gd name="connsiteX4404" fmla="*/ 9626216 w 12243467"/>
              <a:gd name="connsiteY4404" fmla="*/ 3785066 h 4565177"/>
              <a:gd name="connsiteX4405" fmla="*/ 9624833 w 12243467"/>
              <a:gd name="connsiteY4405" fmla="*/ 3794777 h 4565177"/>
              <a:gd name="connsiteX4406" fmla="*/ 9648343 w 12243467"/>
              <a:gd name="connsiteY4406" fmla="*/ 3784864 h 4565177"/>
              <a:gd name="connsiteX4407" fmla="*/ 9637832 w 12243467"/>
              <a:gd name="connsiteY4407" fmla="*/ 3770804 h 4565177"/>
              <a:gd name="connsiteX4408" fmla="*/ 9646130 w 12243467"/>
              <a:gd name="connsiteY4408" fmla="*/ 3766657 h 4565177"/>
              <a:gd name="connsiteX4409" fmla="*/ 9648066 w 12243467"/>
              <a:gd name="connsiteY4409" fmla="*/ 3777885 h 4565177"/>
              <a:gd name="connsiteX4410" fmla="*/ 9653875 w 12243467"/>
              <a:gd name="connsiteY4410" fmla="*/ 3774243 h 4565177"/>
              <a:gd name="connsiteX4411" fmla="*/ 9649173 w 12243467"/>
              <a:gd name="connsiteY4411" fmla="*/ 3768275 h 4565177"/>
              <a:gd name="connsiteX4412" fmla="*/ 9697576 w 12243467"/>
              <a:gd name="connsiteY4412" fmla="*/ 3734086 h 4565177"/>
              <a:gd name="connsiteX4413" fmla="*/ 9713342 w 12243467"/>
              <a:gd name="connsiteY4413" fmla="*/ 3723566 h 4565177"/>
              <a:gd name="connsiteX4414" fmla="*/ 9708363 w 12243467"/>
              <a:gd name="connsiteY4414" fmla="*/ 3717699 h 4565177"/>
              <a:gd name="connsiteX4415" fmla="*/ 9747085 w 12243467"/>
              <a:gd name="connsiteY4415" fmla="*/ 3690287 h 4565177"/>
              <a:gd name="connsiteX4416" fmla="*/ 9756490 w 12243467"/>
              <a:gd name="connsiteY4416" fmla="*/ 3695344 h 4565177"/>
              <a:gd name="connsiteX4417" fmla="*/ 9812084 w 12243467"/>
              <a:gd name="connsiteY4417" fmla="*/ 3647803 h 4565177"/>
              <a:gd name="connsiteX4418" fmla="*/ 9809595 w 12243467"/>
              <a:gd name="connsiteY4418" fmla="*/ 3641329 h 4565177"/>
              <a:gd name="connsiteX4419" fmla="*/ 9805446 w 12243467"/>
              <a:gd name="connsiteY4419" fmla="*/ 3637485 h 4565177"/>
              <a:gd name="connsiteX4420" fmla="*/ 9799914 w 12243467"/>
              <a:gd name="connsiteY4420" fmla="*/ 3648207 h 4565177"/>
              <a:gd name="connsiteX4421" fmla="*/ 9789957 w 12243467"/>
              <a:gd name="connsiteY4421" fmla="*/ 3648005 h 4565177"/>
              <a:gd name="connsiteX4422" fmla="*/ 9823424 w 12243467"/>
              <a:gd name="connsiteY4422" fmla="*/ 3607746 h 4565177"/>
              <a:gd name="connsiteX4423" fmla="*/ 9814020 w 12243467"/>
              <a:gd name="connsiteY4423" fmla="*/ 3602790 h 4565177"/>
              <a:gd name="connsiteX4424" fmla="*/ 9846658 w 12243467"/>
              <a:gd name="connsiteY4424" fmla="*/ 3560407 h 4565177"/>
              <a:gd name="connsiteX4425" fmla="*/ 9828680 w 12243467"/>
              <a:gd name="connsiteY4425" fmla="*/ 3552618 h 4565177"/>
              <a:gd name="connsiteX4426" fmla="*/ 9797701 w 12243467"/>
              <a:gd name="connsiteY4426" fmla="*/ 3580637 h 4565177"/>
              <a:gd name="connsiteX4427" fmla="*/ 9776404 w 12243467"/>
              <a:gd name="connsiteY4427" fmla="*/ 3601778 h 4565177"/>
              <a:gd name="connsiteX4428" fmla="*/ 9731596 w 12243467"/>
              <a:gd name="connsiteY4428" fmla="*/ 3632731 h 4565177"/>
              <a:gd name="connsiteX4429" fmla="*/ 9681534 w 12243467"/>
              <a:gd name="connsiteY4429" fmla="*/ 3662571 h 4565177"/>
              <a:gd name="connsiteX4430" fmla="*/ 9675725 w 12243467"/>
              <a:gd name="connsiteY4430" fmla="*/ 3673293 h 4565177"/>
              <a:gd name="connsiteX4431" fmla="*/ 9665768 w 12243467"/>
              <a:gd name="connsiteY4431" fmla="*/ 3673091 h 4565177"/>
              <a:gd name="connsiteX4432" fmla="*/ 9639492 w 12243467"/>
              <a:gd name="connsiteY4432" fmla="*/ 3706977 h 4565177"/>
              <a:gd name="connsiteX4433" fmla="*/ 9511707 w 12243467"/>
              <a:gd name="connsiteY4433" fmla="*/ 3772726 h 4565177"/>
              <a:gd name="connsiteX4434" fmla="*/ 9500091 w 12243467"/>
              <a:gd name="connsiteY4434" fmla="*/ 3787090 h 4565177"/>
              <a:gd name="connsiteX4435" fmla="*/ 9479346 w 12243467"/>
              <a:gd name="connsiteY4435" fmla="*/ 3784662 h 4565177"/>
              <a:gd name="connsiteX4436" fmla="*/ 9543792 w 12243467"/>
              <a:gd name="connsiteY4436" fmla="*/ 3735198 h 4565177"/>
              <a:gd name="connsiteX4437" fmla="*/ 9536324 w 12243467"/>
              <a:gd name="connsiteY4437" fmla="*/ 3734490 h 4565177"/>
              <a:gd name="connsiteX4438" fmla="*/ 9594961 w 12243467"/>
              <a:gd name="connsiteY4438" fmla="*/ 3707483 h 4565177"/>
              <a:gd name="connsiteX4439" fmla="*/ 9661066 w 12243467"/>
              <a:gd name="connsiteY4439" fmla="*/ 3674102 h 4565177"/>
              <a:gd name="connsiteX4440" fmla="*/ 9683470 w 12243467"/>
              <a:gd name="connsiteY4440" fmla="*/ 3655086 h 4565177"/>
              <a:gd name="connsiteX4441" fmla="*/ 9674895 w 12243467"/>
              <a:gd name="connsiteY4441" fmla="*/ 3652253 h 4565177"/>
              <a:gd name="connsiteX4442" fmla="*/ 9784149 w 12243467"/>
              <a:gd name="connsiteY4442" fmla="*/ 3553124 h 4565177"/>
              <a:gd name="connsiteX4443" fmla="*/ 9757319 w 12243467"/>
              <a:gd name="connsiteY4443" fmla="*/ 3554338 h 4565177"/>
              <a:gd name="connsiteX4444" fmla="*/ 9728831 w 12243467"/>
              <a:gd name="connsiteY4444" fmla="*/ 3588730 h 4565177"/>
              <a:gd name="connsiteX4445" fmla="*/ 9685959 w 12243467"/>
              <a:gd name="connsiteY4445" fmla="*/ 3624032 h 4565177"/>
              <a:gd name="connsiteX4446" fmla="*/ 9652215 w 12243467"/>
              <a:gd name="connsiteY4446" fmla="*/ 3645577 h 4565177"/>
              <a:gd name="connsiteX4447" fmla="*/ 9590536 w 12243467"/>
              <a:gd name="connsiteY4447" fmla="*/ 3696659 h 4565177"/>
              <a:gd name="connsiteX4448" fmla="*/ 9512537 w 12243467"/>
              <a:gd name="connsiteY4448" fmla="*/ 3737424 h 4565177"/>
              <a:gd name="connsiteX4449" fmla="*/ 9700065 w 12243467"/>
              <a:gd name="connsiteY4449" fmla="*/ 3597530 h 4565177"/>
              <a:gd name="connsiteX4450" fmla="*/ 9747639 w 12243467"/>
              <a:gd name="connsiteY4450" fmla="*/ 3561115 h 4565177"/>
              <a:gd name="connsiteX4451" fmla="*/ 9749575 w 12243467"/>
              <a:gd name="connsiteY4451" fmla="*/ 3553630 h 4565177"/>
              <a:gd name="connsiteX4452" fmla="*/ 9825360 w 12243467"/>
              <a:gd name="connsiteY4452" fmla="*/ 3494658 h 4565177"/>
              <a:gd name="connsiteX4453" fmla="*/ 9788021 w 12243467"/>
              <a:gd name="connsiteY4453" fmla="*/ 3538153 h 4565177"/>
              <a:gd name="connsiteX4454" fmla="*/ 9843339 w 12243467"/>
              <a:gd name="connsiteY4454" fmla="*/ 3483733 h 4565177"/>
              <a:gd name="connsiteX4455" fmla="*/ 9901423 w 12243467"/>
              <a:gd name="connsiteY4455" fmla="*/ 3423952 h 4565177"/>
              <a:gd name="connsiteX4456" fmla="*/ 9929911 w 12243467"/>
              <a:gd name="connsiteY4456" fmla="*/ 3389459 h 4565177"/>
              <a:gd name="connsiteX4457" fmla="*/ 9974719 w 12243467"/>
              <a:gd name="connsiteY4457" fmla="*/ 3327959 h 4565177"/>
              <a:gd name="connsiteX4458" fmla="*/ 10019803 w 12243467"/>
              <a:gd name="connsiteY4458" fmla="*/ 3266357 h 4565177"/>
              <a:gd name="connsiteX4459" fmla="*/ 9997953 w 12243467"/>
              <a:gd name="connsiteY4459" fmla="*/ 3280518 h 4565177"/>
              <a:gd name="connsiteX4460" fmla="*/ 9864636 w 12243467"/>
              <a:gd name="connsiteY4460" fmla="*/ 3443778 h 4565177"/>
              <a:gd name="connsiteX4461" fmla="*/ 9943741 w 12243467"/>
              <a:gd name="connsiteY4461" fmla="*/ 3337063 h 4565177"/>
              <a:gd name="connsiteX4462" fmla="*/ 9935167 w 12243467"/>
              <a:gd name="connsiteY4462" fmla="*/ 3334433 h 4565177"/>
              <a:gd name="connsiteX4463" fmla="*/ 9965315 w 12243467"/>
              <a:gd name="connsiteY4463" fmla="*/ 3304188 h 4565177"/>
              <a:gd name="connsiteX4464" fmla="*/ 9961719 w 12243467"/>
              <a:gd name="connsiteY4464" fmla="*/ 3295590 h 4565177"/>
              <a:gd name="connsiteX4465" fmla="*/ 9888700 w 12243467"/>
              <a:gd name="connsiteY4465" fmla="*/ 3361036 h 4565177"/>
              <a:gd name="connsiteX4466" fmla="*/ 9902529 w 12243467"/>
              <a:gd name="connsiteY4466" fmla="*/ 3364981 h 4565177"/>
              <a:gd name="connsiteX4467" fmla="*/ 9903359 w 12243467"/>
              <a:gd name="connsiteY4467" fmla="*/ 3378838 h 4565177"/>
              <a:gd name="connsiteX4468" fmla="*/ 9876530 w 12243467"/>
              <a:gd name="connsiteY4468" fmla="*/ 3398867 h 4565177"/>
              <a:gd name="connsiteX4469" fmla="*/ 9872104 w 12243467"/>
              <a:gd name="connsiteY4469" fmla="*/ 3388144 h 4565177"/>
              <a:gd name="connsiteX4470" fmla="*/ 9798255 w 12243467"/>
              <a:gd name="connsiteY4470" fmla="*/ 3458344 h 4565177"/>
              <a:gd name="connsiteX4471" fmla="*/ 9811254 w 12243467"/>
              <a:gd name="connsiteY4471" fmla="*/ 3453185 h 4565177"/>
              <a:gd name="connsiteX4472" fmla="*/ 9794106 w 12243467"/>
              <a:gd name="connsiteY4472" fmla="*/ 3466335 h 4565177"/>
              <a:gd name="connsiteX4473" fmla="*/ 9796872 w 12243467"/>
              <a:gd name="connsiteY4473" fmla="*/ 3461075 h 4565177"/>
              <a:gd name="connsiteX4474" fmla="*/ 9755383 w 12243467"/>
              <a:gd name="connsiteY4474" fmla="*/ 3493748 h 4565177"/>
              <a:gd name="connsiteX4475" fmla="*/ 9769489 w 12243467"/>
              <a:gd name="connsiteY4475" fmla="*/ 3497591 h 4565177"/>
              <a:gd name="connsiteX4476" fmla="*/ 9659130 w 12243467"/>
              <a:gd name="connsiteY4476" fmla="*/ 3575984 h 4565177"/>
              <a:gd name="connsiteX4477" fmla="*/ 9642811 w 12243467"/>
              <a:gd name="connsiteY4477" fmla="*/ 3572545 h 4565177"/>
              <a:gd name="connsiteX4478" fmla="*/ 9627322 w 12243467"/>
              <a:gd name="connsiteY4478" fmla="*/ 3583065 h 4565177"/>
              <a:gd name="connsiteX4479" fmla="*/ 9619024 w 12243467"/>
              <a:gd name="connsiteY4479" fmla="*/ 3605926 h 4565177"/>
              <a:gd name="connsiteX4480" fmla="*/ 9549877 w 12243467"/>
              <a:gd name="connsiteY4480" fmla="*/ 3625853 h 4565177"/>
              <a:gd name="connsiteX4481" fmla="*/ 9559281 w 12243467"/>
              <a:gd name="connsiteY4481" fmla="*/ 3612096 h 4565177"/>
              <a:gd name="connsiteX4482" fmla="*/ 9535494 w 12243467"/>
              <a:gd name="connsiteY4482" fmla="*/ 3615029 h 4565177"/>
              <a:gd name="connsiteX4483" fmla="*/ 9540473 w 12243467"/>
              <a:gd name="connsiteY4483" fmla="*/ 3620896 h 4565177"/>
              <a:gd name="connsiteX4484" fmla="*/ 9364008 w 12243467"/>
              <a:gd name="connsiteY4484" fmla="*/ 3713855 h 4565177"/>
              <a:gd name="connsiteX4485" fmla="*/ 9478240 w 12243467"/>
              <a:gd name="connsiteY4485" fmla="*/ 3639407 h 4565177"/>
              <a:gd name="connsiteX4486" fmla="*/ 9550430 w 12243467"/>
              <a:gd name="connsiteY4486" fmla="*/ 3583470 h 4565177"/>
              <a:gd name="connsiteX4487" fmla="*/ 9515856 w 12243467"/>
              <a:gd name="connsiteY4487" fmla="*/ 3602891 h 4565177"/>
              <a:gd name="connsiteX4488" fmla="*/ 9404390 w 12243467"/>
              <a:gd name="connsiteY4488" fmla="*/ 3672079 h 4565177"/>
              <a:gd name="connsiteX4489" fmla="*/ 9372582 w 12243467"/>
              <a:gd name="connsiteY4489" fmla="*/ 3686139 h 4565177"/>
              <a:gd name="connsiteX4490" fmla="*/ 9346860 w 12243467"/>
              <a:gd name="connsiteY4490" fmla="*/ 3689477 h 4565177"/>
              <a:gd name="connsiteX4491" fmla="*/ 9428177 w 12243467"/>
              <a:gd name="connsiteY4491" fmla="*/ 3638699 h 4565177"/>
              <a:gd name="connsiteX4492" fmla="*/ 9451687 w 12243467"/>
              <a:gd name="connsiteY4492" fmla="*/ 3628786 h 4565177"/>
              <a:gd name="connsiteX4493" fmla="*/ 9434539 w 12243467"/>
              <a:gd name="connsiteY4493" fmla="*/ 3623223 h 4565177"/>
              <a:gd name="connsiteX4494" fmla="*/ 9423475 w 12243467"/>
              <a:gd name="connsiteY4494" fmla="*/ 3632630 h 4565177"/>
              <a:gd name="connsiteX4495" fmla="*/ 9408816 w 12243467"/>
              <a:gd name="connsiteY4495" fmla="*/ 3633540 h 4565177"/>
              <a:gd name="connsiteX4496" fmla="*/ 9410475 w 12243467"/>
              <a:gd name="connsiteY4496" fmla="*/ 3619075 h 4565177"/>
              <a:gd name="connsiteX4497" fmla="*/ 9409092 w 12243467"/>
              <a:gd name="connsiteY4497" fmla="*/ 3619379 h 4565177"/>
              <a:gd name="connsiteX4498" fmla="*/ 9402454 w 12243467"/>
              <a:gd name="connsiteY4498" fmla="*/ 3626257 h 4565177"/>
              <a:gd name="connsiteX4499" fmla="*/ 9402731 w 12243467"/>
              <a:gd name="connsiteY4499" fmla="*/ 3627775 h 4565177"/>
              <a:gd name="connsiteX4500" fmla="*/ 9404390 w 12243467"/>
              <a:gd name="connsiteY4500" fmla="*/ 3634653 h 4565177"/>
              <a:gd name="connsiteX4501" fmla="*/ 9396093 w 12243467"/>
              <a:gd name="connsiteY4501" fmla="*/ 3635766 h 4565177"/>
              <a:gd name="connsiteX4502" fmla="*/ 9389731 w 12243467"/>
              <a:gd name="connsiteY4502" fmla="*/ 3639812 h 4565177"/>
              <a:gd name="connsiteX4503" fmla="*/ 9378944 w 12243467"/>
              <a:gd name="connsiteY4503" fmla="*/ 3651849 h 4565177"/>
              <a:gd name="connsiteX4504" fmla="*/ 9378944 w 12243467"/>
              <a:gd name="connsiteY4504" fmla="*/ 3651950 h 4565177"/>
              <a:gd name="connsiteX4505" fmla="*/ 9380604 w 12243467"/>
              <a:gd name="connsiteY4505" fmla="*/ 3656198 h 4565177"/>
              <a:gd name="connsiteX4506" fmla="*/ 9366221 w 12243467"/>
              <a:gd name="connsiteY4506" fmla="*/ 3661256 h 4565177"/>
              <a:gd name="connsiteX4507" fmla="*/ 9356264 w 12243467"/>
              <a:gd name="connsiteY4507" fmla="*/ 3668438 h 4565177"/>
              <a:gd name="connsiteX4508" fmla="*/ 9354051 w 12243467"/>
              <a:gd name="connsiteY4508" fmla="*/ 3679565 h 4565177"/>
              <a:gd name="connsiteX4509" fmla="*/ 9241202 w 12243467"/>
              <a:gd name="connsiteY4509" fmla="*/ 3762611 h 4565177"/>
              <a:gd name="connsiteX4510" fmla="*/ 9181735 w 12243467"/>
              <a:gd name="connsiteY4510" fmla="*/ 3806106 h 4565177"/>
              <a:gd name="connsiteX4511" fmla="*/ 9052844 w 12243467"/>
              <a:gd name="connsiteY4511" fmla="*/ 3896435 h 4565177"/>
              <a:gd name="connsiteX4512" fmla="*/ 9061419 w 12243467"/>
              <a:gd name="connsiteY4512" fmla="*/ 3901999 h 4565177"/>
              <a:gd name="connsiteX4513" fmla="*/ 9028505 w 12243467"/>
              <a:gd name="connsiteY4513" fmla="*/ 3909787 h 4565177"/>
              <a:gd name="connsiteX4514" fmla="*/ 8986463 w 12243467"/>
              <a:gd name="connsiteY4514" fmla="*/ 3939223 h 4565177"/>
              <a:gd name="connsiteX4515" fmla="*/ 8970421 w 12243467"/>
              <a:gd name="connsiteY4515" fmla="*/ 3935076 h 4565177"/>
              <a:gd name="connsiteX4516" fmla="*/ 8968761 w 12243467"/>
              <a:gd name="connsiteY4516" fmla="*/ 3955407 h 4565177"/>
              <a:gd name="connsiteX4517" fmla="*/ 8960463 w 12243467"/>
              <a:gd name="connsiteY4517" fmla="*/ 3961375 h 4565177"/>
              <a:gd name="connsiteX4518" fmla="*/ 8935570 w 12243467"/>
              <a:gd name="connsiteY4518" fmla="*/ 3965421 h 4565177"/>
              <a:gd name="connsiteX4519" fmla="*/ 8941655 w 12243467"/>
              <a:gd name="connsiteY4519" fmla="*/ 3970681 h 4565177"/>
              <a:gd name="connsiteX4520" fmla="*/ 8940826 w 12243467"/>
              <a:gd name="connsiteY4520" fmla="*/ 3975132 h 4565177"/>
              <a:gd name="connsiteX4521" fmla="*/ 8873338 w 12243467"/>
              <a:gd name="connsiteY4521" fmla="*/ 3999510 h 4565177"/>
              <a:gd name="connsiteX4522" fmla="*/ 8874167 w 12243467"/>
              <a:gd name="connsiteY4522" fmla="*/ 4006388 h 4565177"/>
              <a:gd name="connsiteX4523" fmla="*/ 8805020 w 12243467"/>
              <a:gd name="connsiteY4523" fmla="*/ 4039768 h 4565177"/>
              <a:gd name="connsiteX4524" fmla="*/ 8640172 w 12243467"/>
              <a:gd name="connsiteY4524" fmla="*/ 4105618 h 4565177"/>
              <a:gd name="connsiteX4525" fmla="*/ 8642661 w 12243467"/>
              <a:gd name="connsiteY4525" fmla="*/ 4117251 h 4565177"/>
              <a:gd name="connsiteX4526" fmla="*/ 8621917 w 12243467"/>
              <a:gd name="connsiteY4526" fmla="*/ 4112699 h 4565177"/>
              <a:gd name="connsiteX4527" fmla="*/ 8571854 w 12243467"/>
              <a:gd name="connsiteY4527" fmla="*/ 4134447 h 4565177"/>
              <a:gd name="connsiteX4528" fmla="*/ 8559408 w 12243467"/>
              <a:gd name="connsiteY4528" fmla="*/ 4135458 h 4565177"/>
              <a:gd name="connsiteX4529" fmla="*/ 8557748 w 12243467"/>
              <a:gd name="connsiteY4529" fmla="*/ 4144259 h 4565177"/>
              <a:gd name="connsiteX4530" fmla="*/ 8574897 w 12243467"/>
              <a:gd name="connsiteY4530" fmla="*/ 4141730 h 4565177"/>
              <a:gd name="connsiteX4531" fmla="*/ 8551663 w 12243467"/>
              <a:gd name="connsiteY4531" fmla="*/ 4150530 h 4565177"/>
              <a:gd name="connsiteX4532" fmla="*/ 8548621 w 12243467"/>
              <a:gd name="connsiteY4532" fmla="*/ 4141123 h 4565177"/>
              <a:gd name="connsiteX4533" fmla="*/ 8525664 w 12243467"/>
              <a:gd name="connsiteY4533" fmla="*/ 4147597 h 4565177"/>
              <a:gd name="connsiteX4534" fmla="*/ 8536728 w 12243467"/>
              <a:gd name="connsiteY4534" fmla="*/ 4153362 h 4565177"/>
              <a:gd name="connsiteX4535" fmla="*/ 8522345 w 12243467"/>
              <a:gd name="connsiteY4535" fmla="*/ 4151744 h 4565177"/>
              <a:gd name="connsiteX4536" fmla="*/ 8465367 w 12243467"/>
              <a:gd name="connsiteY4536" fmla="*/ 4172784 h 4565177"/>
              <a:gd name="connsiteX4537" fmla="*/ 8427751 w 12243467"/>
              <a:gd name="connsiteY4537" fmla="*/ 4180067 h 4565177"/>
              <a:gd name="connsiteX4538" fmla="*/ 8369944 w 12243467"/>
              <a:gd name="connsiteY4538" fmla="*/ 4191800 h 4565177"/>
              <a:gd name="connsiteX4539" fmla="*/ 8326796 w 12243467"/>
              <a:gd name="connsiteY4539" fmla="*/ 4214357 h 4565177"/>
              <a:gd name="connsiteX4540" fmla="*/ 8229159 w 12243467"/>
              <a:gd name="connsiteY4540" fmla="*/ 4221741 h 4565177"/>
              <a:gd name="connsiteX4541" fmla="*/ 8219755 w 12243467"/>
              <a:gd name="connsiteY4541" fmla="*/ 4232160 h 4565177"/>
              <a:gd name="connsiteX4542" fmla="*/ 8103588 w 12243467"/>
              <a:gd name="connsiteY4542" fmla="*/ 4246625 h 4565177"/>
              <a:gd name="connsiteX4543" fmla="*/ 8103864 w 12243467"/>
              <a:gd name="connsiteY4543" fmla="*/ 4232969 h 4565177"/>
              <a:gd name="connsiteX4544" fmla="*/ 8089481 w 12243467"/>
              <a:gd name="connsiteY4544" fmla="*/ 4245108 h 4565177"/>
              <a:gd name="connsiteX4545" fmla="*/ 8048270 w 12243467"/>
              <a:gd name="connsiteY4545" fmla="*/ 4247333 h 4565177"/>
              <a:gd name="connsiteX4546" fmla="*/ 8063482 w 12243467"/>
              <a:gd name="connsiteY4546" fmla="*/ 4230744 h 4565177"/>
              <a:gd name="connsiteX4547" fmla="*/ 8083396 w 12243467"/>
              <a:gd name="connsiteY4547" fmla="*/ 4228417 h 4565177"/>
              <a:gd name="connsiteX4548" fmla="*/ 8075375 w 12243467"/>
              <a:gd name="connsiteY4548" fmla="*/ 4207074 h 4565177"/>
              <a:gd name="connsiteX4549" fmla="*/ 8114651 w 12243467"/>
              <a:gd name="connsiteY4549" fmla="*/ 4204545 h 4565177"/>
              <a:gd name="connsiteX4550" fmla="*/ 8195415 w 12243467"/>
              <a:gd name="connsiteY4550" fmla="*/ 4186136 h 4565177"/>
              <a:gd name="connsiteX4551" fmla="*/ 8232755 w 12243467"/>
              <a:gd name="connsiteY4551" fmla="*/ 4178954 h 4565177"/>
              <a:gd name="connsiteX4552" fmla="*/ 8291392 w 12243467"/>
              <a:gd name="connsiteY4552" fmla="*/ 4162668 h 4565177"/>
              <a:gd name="connsiteX4553" fmla="*/ 8297201 w 12243467"/>
              <a:gd name="connsiteY4553" fmla="*/ 4170154 h 4565177"/>
              <a:gd name="connsiteX4554" fmla="*/ 8333710 w 12243467"/>
              <a:gd name="connsiteY4554" fmla="*/ 4155992 h 4565177"/>
              <a:gd name="connsiteX4555" fmla="*/ 8377135 w 12243467"/>
              <a:gd name="connsiteY4555" fmla="*/ 4144866 h 4565177"/>
              <a:gd name="connsiteX4556" fmla="*/ 8509898 w 12243467"/>
              <a:gd name="connsiteY4556" fmla="*/ 4093581 h 4565177"/>
              <a:gd name="connsiteX4557" fmla="*/ 8523728 w 12243467"/>
              <a:gd name="connsiteY4557" fmla="*/ 4097425 h 4565177"/>
              <a:gd name="connsiteX4558" fmla="*/ 8515707 w 12243467"/>
              <a:gd name="connsiteY4558" fmla="*/ 4089738 h 4565177"/>
              <a:gd name="connsiteX4559" fmla="*/ 8642661 w 12243467"/>
              <a:gd name="connsiteY4559" fmla="*/ 4044522 h 4565177"/>
              <a:gd name="connsiteX4560" fmla="*/ 8637959 w 12243467"/>
              <a:gd name="connsiteY4560" fmla="*/ 4055447 h 4565177"/>
              <a:gd name="connsiteX4561" fmla="*/ 8671703 w 12243467"/>
              <a:gd name="connsiteY4561" fmla="*/ 4031777 h 4565177"/>
              <a:gd name="connsiteX4562" fmla="*/ 8702682 w 12243467"/>
              <a:gd name="connsiteY4562" fmla="*/ 4021561 h 4565177"/>
              <a:gd name="connsiteX4563" fmla="*/ 8698533 w 12243467"/>
              <a:gd name="connsiteY4563" fmla="*/ 4030260 h 4565177"/>
              <a:gd name="connsiteX4564" fmla="*/ 8724256 w 12243467"/>
              <a:gd name="connsiteY4564" fmla="*/ 4021662 h 4565177"/>
              <a:gd name="connsiteX4565" fmla="*/ 8713469 w 12243467"/>
              <a:gd name="connsiteY4565" fmla="*/ 4015997 h 4565177"/>
              <a:gd name="connsiteX4566" fmla="*/ 8744723 w 12243467"/>
              <a:gd name="connsiteY4566" fmla="*/ 4003556 h 4565177"/>
              <a:gd name="connsiteX4567" fmla="*/ 8728958 w 12243467"/>
              <a:gd name="connsiteY4567" fmla="*/ 4010839 h 4565177"/>
              <a:gd name="connsiteX4568" fmla="*/ 8734766 w 12243467"/>
              <a:gd name="connsiteY4568" fmla="*/ 4018324 h 4565177"/>
              <a:gd name="connsiteX4569" fmla="*/ 8753574 w 12243467"/>
              <a:gd name="connsiteY4569" fmla="*/ 3995362 h 4565177"/>
              <a:gd name="connsiteX4570" fmla="*/ 8758829 w 12243467"/>
              <a:gd name="connsiteY4570" fmla="*/ 4005073 h 4565177"/>
              <a:gd name="connsiteX4571" fmla="*/ 8892146 w 12243467"/>
              <a:gd name="connsiteY4571" fmla="*/ 3928804 h 4565177"/>
              <a:gd name="connsiteX4572" fmla="*/ 8907911 w 12243467"/>
              <a:gd name="connsiteY4572" fmla="*/ 3935076 h 4565177"/>
              <a:gd name="connsiteX4573" fmla="*/ 8925613 w 12243467"/>
              <a:gd name="connsiteY4573" fmla="*/ 3907461 h 4565177"/>
              <a:gd name="connsiteX4574" fmla="*/ 8997250 w 12243467"/>
              <a:gd name="connsiteY4574" fmla="*/ 3860830 h 4565177"/>
              <a:gd name="connsiteX4575" fmla="*/ 9211054 w 12243467"/>
              <a:gd name="connsiteY4575" fmla="*/ 3720632 h 4565177"/>
              <a:gd name="connsiteX4576" fmla="*/ 9226266 w 12243467"/>
              <a:gd name="connsiteY4576" fmla="*/ 3704246 h 4565177"/>
              <a:gd name="connsiteX4577" fmla="*/ 9208288 w 12243467"/>
              <a:gd name="connsiteY4577" fmla="*/ 3710315 h 4565177"/>
              <a:gd name="connsiteX4578" fmla="*/ 9154906 w 12243467"/>
              <a:gd name="connsiteY4578" fmla="*/ 3731860 h 4565177"/>
              <a:gd name="connsiteX4579" fmla="*/ 9140800 w 12243467"/>
              <a:gd name="connsiteY4579" fmla="*/ 3727915 h 4565177"/>
              <a:gd name="connsiteX4580" fmla="*/ 9131949 w 12243467"/>
              <a:gd name="connsiteY4580" fmla="*/ 3732164 h 4565177"/>
              <a:gd name="connsiteX4581" fmla="*/ 9125864 w 12243467"/>
              <a:gd name="connsiteY4581" fmla="*/ 3731557 h 4565177"/>
              <a:gd name="connsiteX4582" fmla="*/ 9101524 w 12243467"/>
              <a:gd name="connsiteY4582" fmla="*/ 3749461 h 4565177"/>
              <a:gd name="connsiteX4583" fmla="*/ 9104567 w 12243467"/>
              <a:gd name="connsiteY4583" fmla="*/ 3758868 h 4565177"/>
              <a:gd name="connsiteX4584" fmla="*/ 9083546 w 12243467"/>
              <a:gd name="connsiteY4584" fmla="*/ 3767871 h 4565177"/>
              <a:gd name="connsiteX4585" fmla="*/ 8956315 w 12243467"/>
              <a:gd name="connsiteY4585" fmla="*/ 3849399 h 4565177"/>
              <a:gd name="connsiteX4586" fmla="*/ 8948847 w 12243467"/>
              <a:gd name="connsiteY4586" fmla="*/ 3850917 h 4565177"/>
              <a:gd name="connsiteX4587" fmla="*/ 8944698 w 12243467"/>
              <a:gd name="connsiteY4587" fmla="*/ 3859515 h 4565177"/>
              <a:gd name="connsiteX4588" fmla="*/ 8912337 w 12243467"/>
              <a:gd name="connsiteY4588" fmla="*/ 3876407 h 4565177"/>
              <a:gd name="connsiteX4589" fmla="*/ 8811658 w 12243467"/>
              <a:gd name="connsiteY4589" fmla="*/ 3922229 h 4565177"/>
              <a:gd name="connsiteX4590" fmla="*/ 8802254 w 12243467"/>
              <a:gd name="connsiteY4590" fmla="*/ 3932547 h 4565177"/>
              <a:gd name="connsiteX4591" fmla="*/ 8783169 w 12243467"/>
              <a:gd name="connsiteY4591" fmla="*/ 3932648 h 4565177"/>
              <a:gd name="connsiteX4592" fmla="*/ 8751361 w 12243467"/>
              <a:gd name="connsiteY4592" fmla="*/ 3947315 h 4565177"/>
              <a:gd name="connsiteX4593" fmla="*/ 8744170 w 12243467"/>
              <a:gd name="connsiteY4593" fmla="*/ 3935177 h 4565177"/>
              <a:gd name="connsiteX4594" fmla="*/ 8745553 w 12243467"/>
              <a:gd name="connsiteY4594" fmla="*/ 3951260 h 4565177"/>
              <a:gd name="connsiteX4595" fmla="*/ 8722043 w 12243467"/>
              <a:gd name="connsiteY4595" fmla="*/ 3948731 h 4565177"/>
              <a:gd name="connsiteX4596" fmla="*/ 8691618 w 12243467"/>
              <a:gd name="connsiteY4596" fmla="*/ 3968051 h 4565177"/>
              <a:gd name="connsiteX4597" fmla="*/ 8675023 w 12243467"/>
              <a:gd name="connsiteY4597" fmla="*/ 3979886 h 4565177"/>
              <a:gd name="connsiteX4598" fmla="*/ 8678342 w 12243467"/>
              <a:gd name="connsiteY4598" fmla="*/ 3987068 h 4565177"/>
              <a:gd name="connsiteX4599" fmla="*/ 8664236 w 12243467"/>
              <a:gd name="connsiteY4599" fmla="*/ 3996880 h 4565177"/>
              <a:gd name="connsiteX4600" fmla="*/ 8635747 w 12243467"/>
              <a:gd name="connsiteY4600" fmla="*/ 4007399 h 4565177"/>
              <a:gd name="connsiteX4601" fmla="*/ 8627449 w 12243467"/>
              <a:gd name="connsiteY4601" fmla="*/ 3999611 h 4565177"/>
              <a:gd name="connsiteX4602" fmla="*/ 8611960 w 12243467"/>
              <a:gd name="connsiteY4602" fmla="*/ 4018425 h 4565177"/>
              <a:gd name="connsiteX4603" fmla="*/ 8594535 w 12243467"/>
              <a:gd name="connsiteY4603" fmla="*/ 4021055 h 4565177"/>
              <a:gd name="connsiteX4604" fmla="*/ 8501047 w 12243467"/>
              <a:gd name="connsiteY4604" fmla="*/ 4053930 h 4565177"/>
              <a:gd name="connsiteX4605" fmla="*/ 8489431 w 12243467"/>
              <a:gd name="connsiteY4605" fmla="*/ 4064045 h 4565177"/>
              <a:gd name="connsiteX4606" fmla="*/ 8386263 w 12243467"/>
              <a:gd name="connsiteY4606" fmla="*/ 4086703 h 4565177"/>
              <a:gd name="connsiteX4607" fmla="*/ 8376858 w 12243467"/>
              <a:gd name="connsiteY4607" fmla="*/ 4097122 h 4565177"/>
              <a:gd name="connsiteX4608" fmla="*/ 8357497 w 12243467"/>
              <a:gd name="connsiteY4608" fmla="*/ 4085793 h 4565177"/>
              <a:gd name="connsiteX4609" fmla="*/ 8318498 w 12243467"/>
              <a:gd name="connsiteY4609" fmla="*/ 4099752 h 4565177"/>
              <a:gd name="connsiteX4610" fmla="*/ 8298030 w 12243467"/>
              <a:gd name="connsiteY4610" fmla="*/ 4117959 h 4565177"/>
              <a:gd name="connsiteX4611" fmla="*/ 8287243 w 12243467"/>
              <a:gd name="connsiteY4611" fmla="*/ 4112193 h 4565177"/>
              <a:gd name="connsiteX4612" fmla="*/ 8245478 w 12243467"/>
              <a:gd name="connsiteY4612" fmla="*/ 4116745 h 4565177"/>
              <a:gd name="connsiteX4613" fmla="*/ 8210351 w 12243467"/>
              <a:gd name="connsiteY4613" fmla="*/ 4135560 h 4565177"/>
              <a:gd name="connsiteX4614" fmla="*/ 8046610 w 12243467"/>
              <a:gd name="connsiteY4614" fmla="*/ 4146990 h 4565177"/>
              <a:gd name="connsiteX4615" fmla="*/ 8033334 w 12243467"/>
              <a:gd name="connsiteY4615" fmla="*/ 4152351 h 4565177"/>
              <a:gd name="connsiteX4616" fmla="*/ 8109396 w 12243467"/>
              <a:gd name="connsiteY4616" fmla="*/ 4122106 h 4565177"/>
              <a:gd name="connsiteX4617" fmla="*/ 8110502 w 12243467"/>
              <a:gd name="connsiteY4617" fmla="*/ 4104101 h 4565177"/>
              <a:gd name="connsiteX4618" fmla="*/ 8028355 w 12243467"/>
              <a:gd name="connsiteY4618" fmla="*/ 4117757 h 4565177"/>
              <a:gd name="connsiteX4619" fmla="*/ 7999037 w 12243467"/>
              <a:gd name="connsiteY4619" fmla="*/ 4107642 h 4565177"/>
              <a:gd name="connsiteX4620" fmla="*/ 8093077 w 12243467"/>
              <a:gd name="connsiteY4620" fmla="*/ 4095301 h 4565177"/>
              <a:gd name="connsiteX4621" fmla="*/ 8101375 w 12243467"/>
              <a:gd name="connsiteY4621" fmla="*/ 4078004 h 4565177"/>
              <a:gd name="connsiteX4622" fmla="*/ 8089481 w 12243467"/>
              <a:gd name="connsiteY4622" fmla="*/ 4076689 h 4565177"/>
              <a:gd name="connsiteX4623" fmla="*/ 8095566 w 12243467"/>
              <a:gd name="connsiteY4623" fmla="*/ 4070519 h 4565177"/>
              <a:gd name="connsiteX4624" fmla="*/ 8089758 w 12243467"/>
              <a:gd name="connsiteY4624" fmla="*/ 4063033 h 4565177"/>
              <a:gd name="connsiteX4625" fmla="*/ 8061269 w 12243467"/>
              <a:gd name="connsiteY4625" fmla="*/ 4073553 h 4565177"/>
              <a:gd name="connsiteX4626" fmla="*/ 8067631 w 12243467"/>
              <a:gd name="connsiteY4626" fmla="*/ 4053828 h 4565177"/>
              <a:gd name="connsiteX4627" fmla="*/ 8056083 w 12243467"/>
              <a:gd name="connsiteY4627" fmla="*/ 4050048 h 4565177"/>
              <a:gd name="connsiteX4628" fmla="*/ 8052616 w 12243467"/>
              <a:gd name="connsiteY4628" fmla="*/ 4041104 h 4565177"/>
              <a:gd name="connsiteX4629" fmla="*/ 8042910 w 12243467"/>
              <a:gd name="connsiteY4629" fmla="*/ 4039792 h 4565177"/>
              <a:gd name="connsiteX4630" fmla="*/ 8022788 w 12243467"/>
              <a:gd name="connsiteY4630" fmla="*/ 4058303 h 4565177"/>
              <a:gd name="connsiteX4631" fmla="*/ 8013480 w 12243467"/>
              <a:gd name="connsiteY4631" fmla="*/ 4070406 h 4565177"/>
              <a:gd name="connsiteX4632" fmla="*/ 8023584 w 12243467"/>
              <a:gd name="connsiteY4632" fmla="*/ 4070342 h 4565177"/>
              <a:gd name="connsiteX4633" fmla="*/ 8035823 w 12243467"/>
              <a:gd name="connsiteY4633" fmla="*/ 4068597 h 4565177"/>
              <a:gd name="connsiteX4634" fmla="*/ 8042185 w 12243467"/>
              <a:gd name="connsiteY4634" fmla="*/ 4073149 h 4565177"/>
              <a:gd name="connsiteX4635" fmla="*/ 8040802 w 12243467"/>
              <a:gd name="connsiteY4635" fmla="*/ 4080229 h 4565177"/>
              <a:gd name="connsiteX4636" fmla="*/ 8028632 w 12243467"/>
              <a:gd name="connsiteY4636" fmla="*/ 4081140 h 4565177"/>
              <a:gd name="connsiteX4637" fmla="*/ 8019228 w 12243467"/>
              <a:gd name="connsiteY4637" fmla="*/ 4080229 h 4565177"/>
              <a:gd name="connsiteX4638" fmla="*/ 8014249 w 12243467"/>
              <a:gd name="connsiteY4638" fmla="*/ 4076841 h 4565177"/>
              <a:gd name="connsiteX4639" fmla="*/ 8012333 w 12243467"/>
              <a:gd name="connsiteY4639" fmla="*/ 4071897 h 4565177"/>
              <a:gd name="connsiteX4640" fmla="*/ 8009719 w 12243467"/>
              <a:gd name="connsiteY4640" fmla="*/ 4075296 h 4565177"/>
              <a:gd name="connsiteX4641" fmla="*/ 8005605 w 12243467"/>
              <a:gd name="connsiteY4641" fmla="*/ 4078230 h 4565177"/>
              <a:gd name="connsiteX4642" fmla="*/ 8002927 w 12243467"/>
              <a:gd name="connsiteY4642" fmla="*/ 4078950 h 4565177"/>
              <a:gd name="connsiteX4643" fmla="*/ 8003739 w 12243467"/>
              <a:gd name="connsiteY4643" fmla="*/ 4083163 h 4565177"/>
              <a:gd name="connsiteX4644" fmla="*/ 7999439 w 12243467"/>
              <a:gd name="connsiteY4644" fmla="*/ 4080547 h 4565177"/>
              <a:gd name="connsiteX4645" fmla="*/ 8000557 w 12243467"/>
              <a:gd name="connsiteY4645" fmla="*/ 4083452 h 4565177"/>
              <a:gd name="connsiteX4646" fmla="*/ 8002528 w 12243467"/>
              <a:gd name="connsiteY4646" fmla="*/ 4088547 h 4565177"/>
              <a:gd name="connsiteX4647" fmla="*/ 8016911 w 12243467"/>
              <a:gd name="connsiteY4647" fmla="*/ 4080657 h 4565177"/>
              <a:gd name="connsiteX4648" fmla="*/ 8000592 w 12243467"/>
              <a:gd name="connsiteY4648" fmla="*/ 4096032 h 4565177"/>
              <a:gd name="connsiteX4649" fmla="*/ 7992571 w 12243467"/>
              <a:gd name="connsiteY4649" fmla="*/ 4088345 h 4565177"/>
              <a:gd name="connsiteX4650" fmla="*/ 7975422 w 12243467"/>
              <a:gd name="connsiteY4650" fmla="*/ 4101596 h 4565177"/>
              <a:gd name="connsiteX4651" fmla="*/ 7988699 w 12243467"/>
              <a:gd name="connsiteY4651" fmla="*/ 4103315 h 4565177"/>
              <a:gd name="connsiteX4652" fmla="*/ 7974869 w 12243467"/>
              <a:gd name="connsiteY4652" fmla="*/ 4106350 h 4565177"/>
              <a:gd name="connsiteX4653" fmla="*/ 7967271 w 12243467"/>
              <a:gd name="connsiteY4653" fmla="*/ 4111882 h 4565177"/>
              <a:gd name="connsiteX4654" fmla="*/ 7969441 w 12243467"/>
              <a:gd name="connsiteY4654" fmla="*/ 4111485 h 4565177"/>
              <a:gd name="connsiteX4655" fmla="*/ 7969165 w 12243467"/>
              <a:gd name="connsiteY4655" fmla="*/ 4116948 h 4565177"/>
              <a:gd name="connsiteX4656" fmla="*/ 7967505 w 12243467"/>
              <a:gd name="connsiteY4656" fmla="*/ 4120387 h 4565177"/>
              <a:gd name="connsiteX4657" fmla="*/ 7963203 w 12243467"/>
              <a:gd name="connsiteY4657" fmla="*/ 4114843 h 4565177"/>
              <a:gd name="connsiteX4658" fmla="*/ 7952258 w 12243467"/>
              <a:gd name="connsiteY4658" fmla="*/ 4122813 h 4565177"/>
              <a:gd name="connsiteX4659" fmla="*/ 7935040 w 12243467"/>
              <a:gd name="connsiteY4659" fmla="*/ 4143372 h 4565177"/>
              <a:gd name="connsiteX4660" fmla="*/ 7905168 w 12243467"/>
              <a:gd name="connsiteY4660" fmla="*/ 4161680 h 4565177"/>
              <a:gd name="connsiteX4661" fmla="*/ 7859531 w 12243467"/>
              <a:gd name="connsiteY4661" fmla="*/ 4190509 h 4565177"/>
              <a:gd name="connsiteX4662" fmla="*/ 7833532 w 12243467"/>
              <a:gd name="connsiteY4662" fmla="*/ 4224496 h 4565177"/>
              <a:gd name="connsiteX4663" fmla="*/ 7792561 w 12243467"/>
              <a:gd name="connsiteY4663" fmla="*/ 4242034 h 4565177"/>
              <a:gd name="connsiteX4664" fmla="*/ 7780094 w 12243467"/>
              <a:gd name="connsiteY4664" fmla="*/ 4249711 h 4565177"/>
              <a:gd name="connsiteX4665" fmla="*/ 7780530 w 12243467"/>
              <a:gd name="connsiteY4665" fmla="*/ 4250064 h 4565177"/>
              <a:gd name="connsiteX4666" fmla="*/ 7779331 w 12243467"/>
              <a:gd name="connsiteY4666" fmla="*/ 4250181 h 4565177"/>
              <a:gd name="connsiteX4667" fmla="*/ 7771493 w 12243467"/>
              <a:gd name="connsiteY4667" fmla="*/ 4255008 h 4565177"/>
              <a:gd name="connsiteX4668" fmla="*/ 7769843 w 12243467"/>
              <a:gd name="connsiteY4668" fmla="*/ 4255513 h 4565177"/>
              <a:gd name="connsiteX4669" fmla="*/ 7808466 w 12243467"/>
              <a:gd name="connsiteY4669" fmla="*/ 4255223 h 4565177"/>
              <a:gd name="connsiteX4670" fmla="*/ 7820913 w 12243467"/>
              <a:gd name="connsiteY4670" fmla="*/ 4243489 h 4565177"/>
              <a:gd name="connsiteX4671" fmla="*/ 7827274 w 12243467"/>
              <a:gd name="connsiteY4671" fmla="*/ 4245917 h 4565177"/>
              <a:gd name="connsiteX4672" fmla="*/ 7824232 w 12243467"/>
              <a:gd name="connsiteY4672" fmla="*/ 4247940 h 4565177"/>
              <a:gd name="connsiteX4673" fmla="*/ 7825891 w 12243467"/>
              <a:gd name="connsiteY4673" fmla="*/ 4264023 h 4565177"/>
              <a:gd name="connsiteX4674" fmla="*/ 7754401 w 12243467"/>
              <a:gd name="connsiteY4674" fmla="*/ 4263070 h 4565177"/>
              <a:gd name="connsiteX4675" fmla="*/ 7748693 w 12243467"/>
              <a:gd name="connsiteY4675" fmla="*/ 4262917 h 4565177"/>
              <a:gd name="connsiteX4676" fmla="*/ 7746406 w 12243467"/>
              <a:gd name="connsiteY4676" fmla="*/ 4274162 h 4565177"/>
              <a:gd name="connsiteX4677" fmla="*/ 7649599 w 12243467"/>
              <a:gd name="connsiteY4677" fmla="*/ 4323726 h 4565177"/>
              <a:gd name="connsiteX4678" fmla="*/ 7642131 w 12243467"/>
              <a:gd name="connsiteY4678" fmla="*/ 4311285 h 4565177"/>
              <a:gd name="connsiteX4679" fmla="*/ 7635770 w 12243467"/>
              <a:gd name="connsiteY4679" fmla="*/ 4326660 h 4565177"/>
              <a:gd name="connsiteX4680" fmla="*/ 7599537 w 12243467"/>
              <a:gd name="connsiteY4680" fmla="*/ 4341732 h 4565177"/>
              <a:gd name="connsiteX4681" fmla="*/ 7603962 w 12243467"/>
              <a:gd name="connsiteY4681" fmla="*/ 4322007 h 4565177"/>
              <a:gd name="connsiteX4682" fmla="*/ 7620557 w 12243467"/>
              <a:gd name="connsiteY4682" fmla="*/ 4313712 h 4565177"/>
              <a:gd name="connsiteX4683" fmla="*/ 7601473 w 12243467"/>
              <a:gd name="connsiteY4683" fmla="*/ 4296820 h 4565177"/>
              <a:gd name="connsiteX4684" fmla="*/ 7635493 w 12243467"/>
              <a:gd name="connsiteY4684" fmla="*/ 4282254 h 4565177"/>
              <a:gd name="connsiteX4685" fmla="*/ 7698003 w 12243467"/>
              <a:gd name="connsiteY4685" fmla="*/ 4240276 h 4565177"/>
              <a:gd name="connsiteX4686" fmla="*/ 7727874 w 12243467"/>
              <a:gd name="connsiteY4686" fmla="*/ 4221866 h 4565177"/>
              <a:gd name="connsiteX4687" fmla="*/ 7771852 w 12243467"/>
              <a:gd name="connsiteY4687" fmla="*/ 4188688 h 4565177"/>
              <a:gd name="connsiteX4688" fmla="*/ 7781256 w 12243467"/>
              <a:gd name="connsiteY4688" fmla="*/ 4193644 h 4565177"/>
              <a:gd name="connsiteX4689" fmla="*/ 7806426 w 12243467"/>
              <a:gd name="connsiteY4689" fmla="*/ 4169368 h 4565177"/>
              <a:gd name="connsiteX4690" fmla="*/ 7839063 w 12243467"/>
              <a:gd name="connsiteY4690" fmla="*/ 4145698 h 4565177"/>
              <a:gd name="connsiteX4691" fmla="*/ 7867565 w 12243467"/>
              <a:gd name="connsiteY4691" fmla="*/ 4135074 h 4565177"/>
              <a:gd name="connsiteX4692" fmla="*/ 7886034 w 12243467"/>
              <a:gd name="connsiteY4692" fmla="*/ 4121577 h 4565177"/>
              <a:gd name="connsiteX4693" fmla="*/ 7869039 w 12243467"/>
              <a:gd name="connsiteY4693" fmla="*/ 4118768 h 4565177"/>
              <a:gd name="connsiteX4694" fmla="*/ 7856593 w 12243467"/>
              <a:gd name="connsiteY4694" fmla="*/ 4119577 h 4565177"/>
              <a:gd name="connsiteX4695" fmla="*/ 7864890 w 12243467"/>
              <a:gd name="connsiteY4695" fmla="*/ 4115936 h 4565177"/>
              <a:gd name="connsiteX4696" fmla="*/ 7886464 w 12243467"/>
              <a:gd name="connsiteY4696" fmla="*/ 4115127 h 4565177"/>
              <a:gd name="connsiteX4697" fmla="*/ 7894994 w 12243467"/>
              <a:gd name="connsiteY4697" fmla="*/ 4115030 h 4565177"/>
              <a:gd name="connsiteX4698" fmla="*/ 7896352 w 12243467"/>
              <a:gd name="connsiteY4698" fmla="*/ 4114037 h 4565177"/>
              <a:gd name="connsiteX4699" fmla="*/ 7907924 w 12243467"/>
              <a:gd name="connsiteY4699" fmla="*/ 4094940 h 4565177"/>
              <a:gd name="connsiteX4700" fmla="*/ 7885635 w 12243467"/>
              <a:gd name="connsiteY4700" fmla="*/ 4094997 h 4565177"/>
              <a:gd name="connsiteX4701" fmla="*/ 7888124 w 12243467"/>
              <a:gd name="connsiteY4701" fmla="*/ 4083972 h 4565177"/>
              <a:gd name="connsiteX4702" fmla="*/ 7907658 w 12243467"/>
              <a:gd name="connsiteY4702" fmla="*/ 4089826 h 4565177"/>
              <a:gd name="connsiteX4703" fmla="*/ 7913633 w 12243467"/>
              <a:gd name="connsiteY4703" fmla="*/ 4085518 h 4565177"/>
              <a:gd name="connsiteX4704" fmla="*/ 7928297 w 12243467"/>
              <a:gd name="connsiteY4704" fmla="*/ 4061318 h 4565177"/>
              <a:gd name="connsiteX4705" fmla="*/ 7924634 w 12243467"/>
              <a:gd name="connsiteY4705" fmla="*/ 4058583 h 4565177"/>
              <a:gd name="connsiteX4706" fmla="*/ 7916613 w 12243467"/>
              <a:gd name="connsiteY4706" fmla="*/ 4062022 h 4565177"/>
              <a:gd name="connsiteX4707" fmla="*/ 7933485 w 12243467"/>
              <a:gd name="connsiteY4707" fmla="*/ 4053120 h 4565177"/>
              <a:gd name="connsiteX4708" fmla="*/ 7927676 w 12243467"/>
              <a:gd name="connsiteY4708" fmla="*/ 4056762 h 4565177"/>
              <a:gd name="connsiteX4709" fmla="*/ 7929255 w 12243467"/>
              <a:gd name="connsiteY4709" fmla="*/ 4059738 h 4565177"/>
              <a:gd name="connsiteX4710" fmla="*/ 7930615 w 12243467"/>
              <a:gd name="connsiteY4710" fmla="*/ 4057493 h 4565177"/>
              <a:gd name="connsiteX4711" fmla="*/ 7944997 w 12243467"/>
              <a:gd name="connsiteY4711" fmla="*/ 4056583 h 4565177"/>
              <a:gd name="connsiteX4712" fmla="*/ 7933381 w 12243467"/>
              <a:gd name="connsiteY4712" fmla="*/ 4052233 h 4565177"/>
              <a:gd name="connsiteX4713" fmla="*/ 7999619 w 12243467"/>
              <a:gd name="connsiteY4713" fmla="*/ 3989020 h 4565177"/>
              <a:gd name="connsiteX4714" fmla="*/ 8014436 w 12243467"/>
              <a:gd name="connsiteY4714" fmla="*/ 3977727 h 4565177"/>
              <a:gd name="connsiteX4715" fmla="*/ 8001526 w 12243467"/>
              <a:gd name="connsiteY4715" fmla="*/ 3976447 h 4565177"/>
              <a:gd name="connsiteX4716" fmla="*/ 8005398 w 12243467"/>
              <a:gd name="connsiteY4716" fmla="*/ 3981504 h 4565177"/>
              <a:gd name="connsiteX4717" fmla="*/ 7991569 w 12243467"/>
              <a:gd name="connsiteY4717" fmla="*/ 3977661 h 4565177"/>
              <a:gd name="connsiteX4718" fmla="*/ 8031121 w 12243467"/>
              <a:gd name="connsiteY4718" fmla="*/ 3965522 h 4565177"/>
              <a:gd name="connsiteX4719" fmla="*/ 8042531 w 12243467"/>
              <a:gd name="connsiteY4719" fmla="*/ 3965614 h 4565177"/>
              <a:gd name="connsiteX4720" fmla="*/ 8041804 w 12243467"/>
              <a:gd name="connsiteY4720" fmla="*/ 3950777 h 4565177"/>
              <a:gd name="connsiteX4721" fmla="*/ 8063931 w 12243467"/>
              <a:gd name="connsiteY4721" fmla="*/ 3931862 h 4565177"/>
              <a:gd name="connsiteX4722" fmla="*/ 8065314 w 12243467"/>
              <a:gd name="connsiteY4722" fmla="*/ 3940966 h 4565177"/>
              <a:gd name="connsiteX4723" fmla="*/ 8083846 w 12243467"/>
              <a:gd name="connsiteY4723" fmla="*/ 3925186 h 4565177"/>
              <a:gd name="connsiteX4724" fmla="*/ 8070569 w 12243467"/>
              <a:gd name="connsiteY4724" fmla="*/ 3923264 h 4565177"/>
              <a:gd name="connsiteX4725" fmla="*/ 8091867 w 12243467"/>
              <a:gd name="connsiteY4725" fmla="*/ 3902224 h 4565177"/>
              <a:gd name="connsiteX4726" fmla="*/ 8081633 w 12243467"/>
              <a:gd name="connsiteY4726" fmla="*/ 3913857 h 4565177"/>
              <a:gd name="connsiteX4727" fmla="*/ 8091037 w 12243467"/>
              <a:gd name="connsiteY4727" fmla="*/ 3918813 h 4565177"/>
              <a:gd name="connsiteX4728" fmla="*/ 8095462 w 12243467"/>
              <a:gd name="connsiteY4728" fmla="*/ 3892008 h 4565177"/>
              <a:gd name="connsiteX4729" fmla="*/ 8105696 w 12243467"/>
              <a:gd name="connsiteY4729" fmla="*/ 3899190 h 4565177"/>
              <a:gd name="connsiteX4730" fmla="*/ 8140901 w 12243467"/>
              <a:gd name="connsiteY4730" fmla="*/ 3847958 h 4565177"/>
              <a:gd name="connsiteX4731" fmla="*/ 8100683 w 12243467"/>
              <a:gd name="connsiteY4731" fmla="*/ 3854748 h 4565177"/>
              <a:gd name="connsiteX4732" fmla="*/ 8048062 w 12243467"/>
              <a:gd name="connsiteY4732" fmla="*/ 3863847 h 4565177"/>
              <a:gd name="connsiteX4733" fmla="*/ 8041908 w 12243467"/>
              <a:gd name="connsiteY4733" fmla="*/ 3864468 h 4565177"/>
              <a:gd name="connsiteX4734" fmla="*/ 8047093 w 12243467"/>
              <a:gd name="connsiteY4734" fmla="*/ 3878656 h 4565177"/>
              <a:gd name="connsiteX4735" fmla="*/ 8023549 w 12243467"/>
              <a:gd name="connsiteY4735" fmla="*/ 3886748 h 4565177"/>
              <a:gd name="connsiteX4736" fmla="*/ 8015251 w 12243467"/>
              <a:gd name="connsiteY4736" fmla="*/ 3902730 h 4565177"/>
              <a:gd name="connsiteX4737" fmla="*/ 8022166 w 12243467"/>
              <a:gd name="connsiteY4737" fmla="*/ 3908192 h 4565177"/>
              <a:gd name="connsiteX4738" fmla="*/ 8015251 w 12243467"/>
              <a:gd name="connsiteY4738" fmla="*/ 3921443 h 4565177"/>
              <a:gd name="connsiteX4739" fmla="*/ 7995337 w 12243467"/>
              <a:gd name="connsiteY4739" fmla="*/ 3939954 h 4565177"/>
              <a:gd name="connsiteX4740" fmla="*/ 7983720 w 12243467"/>
              <a:gd name="connsiteY4740" fmla="*/ 3935402 h 4565177"/>
              <a:gd name="connsiteX4741" fmla="*/ 7979709 w 12243467"/>
              <a:gd name="connsiteY4741" fmla="*/ 3945998 h 4565177"/>
              <a:gd name="connsiteX4742" fmla="*/ 7979764 w 12243467"/>
              <a:gd name="connsiteY4742" fmla="*/ 3950508 h 4565177"/>
              <a:gd name="connsiteX4743" fmla="*/ 7989148 w 12243467"/>
              <a:gd name="connsiteY4743" fmla="*/ 3949642 h 4565177"/>
              <a:gd name="connsiteX4744" fmla="*/ 8028355 w 12243467"/>
              <a:gd name="connsiteY4744" fmla="*/ 3947416 h 4565177"/>
              <a:gd name="connsiteX4745" fmla="*/ 7996927 w 12243467"/>
              <a:gd name="connsiteY4745" fmla="*/ 3955597 h 4565177"/>
              <a:gd name="connsiteX4746" fmla="*/ 7979839 w 12243467"/>
              <a:gd name="connsiteY4746" fmla="*/ 3956665 h 4565177"/>
              <a:gd name="connsiteX4747" fmla="*/ 7979848 w 12243467"/>
              <a:gd name="connsiteY4747" fmla="*/ 3957352 h 4565177"/>
              <a:gd name="connsiteX4748" fmla="*/ 7965742 w 12243467"/>
              <a:gd name="connsiteY4748" fmla="*/ 3965242 h 4565177"/>
              <a:gd name="connsiteX4749" fmla="*/ 7954381 w 12243467"/>
              <a:gd name="connsiteY4749" fmla="*/ 3977516 h 4565177"/>
              <a:gd name="connsiteX4750" fmla="*/ 7957271 w 12243467"/>
              <a:gd name="connsiteY4750" fmla="*/ 3978065 h 4565177"/>
              <a:gd name="connsiteX4751" fmla="*/ 7958378 w 12243467"/>
              <a:gd name="connsiteY4751" fmla="*/ 3985247 h 4565177"/>
              <a:gd name="connsiteX4752" fmla="*/ 7948144 w 12243467"/>
              <a:gd name="connsiteY4752" fmla="*/ 3988889 h 4565177"/>
              <a:gd name="connsiteX4753" fmla="*/ 7950359 w 12243467"/>
              <a:gd name="connsiteY4753" fmla="*/ 3981861 h 4565177"/>
              <a:gd name="connsiteX4754" fmla="*/ 7935732 w 12243467"/>
              <a:gd name="connsiteY4754" fmla="*/ 3997662 h 4565177"/>
              <a:gd name="connsiteX4755" fmla="*/ 7899913 w 12243467"/>
              <a:gd name="connsiteY4755" fmla="*/ 4024315 h 4565177"/>
              <a:gd name="connsiteX4756" fmla="*/ 7895211 w 12243467"/>
              <a:gd name="connsiteY4756" fmla="*/ 4037162 h 4565177"/>
              <a:gd name="connsiteX4757" fmla="*/ 7814447 w 12243467"/>
              <a:gd name="connsiteY4757" fmla="*/ 4090267 h 4565177"/>
              <a:gd name="connsiteX4758" fmla="*/ 7811958 w 12243467"/>
              <a:gd name="connsiteY4758" fmla="*/ 4102506 h 4565177"/>
              <a:gd name="connsiteX4759" fmla="*/ 7787894 w 12243467"/>
              <a:gd name="connsiteY4759" fmla="*/ 4098359 h 4565177"/>
              <a:gd name="connsiteX4760" fmla="*/ 7760512 w 12243467"/>
              <a:gd name="connsiteY4760" fmla="*/ 4123141 h 4565177"/>
              <a:gd name="connsiteX4761" fmla="*/ 7752491 w 12243467"/>
              <a:gd name="connsiteY4761" fmla="*/ 4146103 h 4565177"/>
              <a:gd name="connsiteX4762" fmla="*/ 7739214 w 12243467"/>
              <a:gd name="connsiteY4762" fmla="*/ 4144383 h 4565177"/>
              <a:gd name="connsiteX4763" fmla="*/ 7703811 w 12243467"/>
              <a:gd name="connsiteY4763" fmla="*/ 4161579 h 4565177"/>
              <a:gd name="connsiteX4764" fmla="*/ 7682790 w 12243467"/>
              <a:gd name="connsiteY4764" fmla="*/ 4189598 h 4565177"/>
              <a:gd name="connsiteX4765" fmla="*/ 7541176 w 12243467"/>
              <a:gd name="connsiteY4765" fmla="*/ 4251402 h 4565177"/>
              <a:gd name="connsiteX4766" fmla="*/ 7537027 w 12243467"/>
              <a:gd name="connsiteY4766" fmla="*/ 4253021 h 4565177"/>
              <a:gd name="connsiteX4767" fmla="*/ 7551686 w 12243467"/>
              <a:gd name="connsiteY4767" fmla="*/ 4230868 h 4565177"/>
              <a:gd name="connsiteX4768" fmla="*/ 7583771 w 12243467"/>
              <a:gd name="connsiteY4768" fmla="*/ 4209121 h 4565177"/>
              <a:gd name="connsiteX4769" fmla="*/ 7574643 w 12243467"/>
              <a:gd name="connsiteY4769" fmla="*/ 4192431 h 4565177"/>
              <a:gd name="connsiteX4770" fmla="*/ 7507709 w 12243467"/>
              <a:gd name="connsiteY4770" fmla="*/ 4230565 h 4565177"/>
              <a:gd name="connsiteX4771" fmla="*/ 7475624 w 12243467"/>
              <a:gd name="connsiteY4771" fmla="*/ 4230666 h 4565177"/>
              <a:gd name="connsiteX4772" fmla="*/ 7553623 w 12243467"/>
              <a:gd name="connsiteY4772" fmla="*/ 4190003 h 4565177"/>
              <a:gd name="connsiteX4773" fmla="*/ 7551410 w 12243467"/>
              <a:gd name="connsiteY4773" fmla="*/ 4171694 h 4565177"/>
              <a:gd name="connsiteX4774" fmla="*/ 7540070 w 12243467"/>
              <a:gd name="connsiteY4774" fmla="*/ 4174223 h 4565177"/>
              <a:gd name="connsiteX4775" fmla="*/ 7542006 w 12243467"/>
              <a:gd name="connsiteY4775" fmla="*/ 4166738 h 4565177"/>
              <a:gd name="connsiteX4776" fmla="*/ 7532602 w 12243467"/>
              <a:gd name="connsiteY4776" fmla="*/ 4161781 h 4565177"/>
              <a:gd name="connsiteX4777" fmla="*/ 7512687 w 12243467"/>
              <a:gd name="connsiteY4777" fmla="*/ 4180292 h 4565177"/>
              <a:gd name="connsiteX4778" fmla="*/ 7507155 w 12243467"/>
              <a:gd name="connsiteY4778" fmla="*/ 4160365 h 4565177"/>
              <a:gd name="connsiteX4779" fmla="*/ 7483645 w 12243467"/>
              <a:gd name="connsiteY4779" fmla="*/ 4151464 h 4565177"/>
              <a:gd name="connsiteX4780" fmla="*/ 7497198 w 12243467"/>
              <a:gd name="connsiteY4780" fmla="*/ 4148429 h 4565177"/>
              <a:gd name="connsiteX4781" fmla="*/ 7510751 w 12243467"/>
              <a:gd name="connsiteY4781" fmla="*/ 4157128 h 4565177"/>
              <a:gd name="connsiteX4782" fmla="*/ 7508262 w 12243467"/>
              <a:gd name="connsiteY4782" fmla="*/ 4150756 h 4565177"/>
              <a:gd name="connsiteX4783" fmla="*/ 7525964 w 12243467"/>
              <a:gd name="connsiteY4783" fmla="*/ 4151565 h 4565177"/>
              <a:gd name="connsiteX4784" fmla="*/ 7514623 w 12243467"/>
              <a:gd name="connsiteY4784" fmla="*/ 4142158 h 4565177"/>
              <a:gd name="connsiteX4785" fmla="*/ 7520708 w 12243467"/>
              <a:gd name="connsiteY4785" fmla="*/ 4119803 h 4565177"/>
              <a:gd name="connsiteX4786" fmla="*/ 7546984 w 12243467"/>
              <a:gd name="connsiteY4786" fmla="*/ 4123343 h 4565177"/>
              <a:gd name="connsiteX4787" fmla="*/ 7594281 w 12243467"/>
              <a:gd name="connsiteY4787" fmla="*/ 4098865 h 4565177"/>
              <a:gd name="connsiteX4788" fmla="*/ 7601473 w 12243467"/>
              <a:gd name="connsiteY4788" fmla="*/ 4085512 h 4565177"/>
              <a:gd name="connsiteX4789" fmla="*/ 7600090 w 12243467"/>
              <a:gd name="connsiteY4789" fmla="*/ 4095223 h 4565177"/>
              <a:gd name="connsiteX4790" fmla="*/ 7623600 w 12243467"/>
              <a:gd name="connsiteY4790" fmla="*/ 4085310 h 4565177"/>
              <a:gd name="connsiteX4791" fmla="*/ 7613089 w 12243467"/>
              <a:gd name="connsiteY4791" fmla="*/ 4071250 h 4565177"/>
              <a:gd name="connsiteX4792" fmla="*/ 7621387 w 12243467"/>
              <a:gd name="connsiteY4792" fmla="*/ 4067103 h 4565177"/>
              <a:gd name="connsiteX4793" fmla="*/ 7623323 w 12243467"/>
              <a:gd name="connsiteY4793" fmla="*/ 4078331 h 4565177"/>
              <a:gd name="connsiteX4794" fmla="*/ 7629132 w 12243467"/>
              <a:gd name="connsiteY4794" fmla="*/ 4074689 h 4565177"/>
              <a:gd name="connsiteX4795" fmla="*/ 7624430 w 12243467"/>
              <a:gd name="connsiteY4795" fmla="*/ 4068721 h 4565177"/>
              <a:gd name="connsiteX4796" fmla="*/ 7672833 w 12243467"/>
              <a:gd name="connsiteY4796" fmla="*/ 4034532 h 4565177"/>
              <a:gd name="connsiteX4797" fmla="*/ 7688599 w 12243467"/>
              <a:gd name="connsiteY4797" fmla="*/ 4024012 h 4565177"/>
              <a:gd name="connsiteX4798" fmla="*/ 7683620 w 12243467"/>
              <a:gd name="connsiteY4798" fmla="*/ 4018145 h 4565177"/>
              <a:gd name="connsiteX4799" fmla="*/ 7722342 w 12243467"/>
              <a:gd name="connsiteY4799" fmla="*/ 3990733 h 4565177"/>
              <a:gd name="connsiteX4800" fmla="*/ 7731747 w 12243467"/>
              <a:gd name="connsiteY4800" fmla="*/ 3995790 h 4565177"/>
              <a:gd name="connsiteX4801" fmla="*/ 7756951 w 12243467"/>
              <a:gd name="connsiteY4801" fmla="*/ 3969972 h 4565177"/>
              <a:gd name="connsiteX4802" fmla="*/ 7768098 w 12243467"/>
              <a:gd name="connsiteY4802" fmla="*/ 3962003 h 4565177"/>
              <a:gd name="connsiteX4803" fmla="*/ 7766148 w 12243467"/>
              <a:gd name="connsiteY4803" fmla="*/ 3961679 h 4565177"/>
              <a:gd name="connsiteX4804" fmla="*/ 7770318 w 12243467"/>
              <a:gd name="connsiteY4804" fmla="*/ 3960417 h 4565177"/>
              <a:gd name="connsiteX4805" fmla="*/ 7787341 w 12243467"/>
              <a:gd name="connsiteY4805" fmla="*/ 3948249 h 4565177"/>
              <a:gd name="connsiteX4806" fmla="*/ 7784852 w 12243467"/>
              <a:gd name="connsiteY4806" fmla="*/ 3941775 h 4565177"/>
              <a:gd name="connsiteX4807" fmla="*/ 7780703 w 12243467"/>
              <a:gd name="connsiteY4807" fmla="*/ 3937931 h 4565177"/>
              <a:gd name="connsiteX4808" fmla="*/ 7775171 w 12243467"/>
              <a:gd name="connsiteY4808" fmla="*/ 3948653 h 4565177"/>
              <a:gd name="connsiteX4809" fmla="*/ 7765214 w 12243467"/>
              <a:gd name="connsiteY4809" fmla="*/ 3948451 h 4565177"/>
              <a:gd name="connsiteX4810" fmla="*/ 7798681 w 12243467"/>
              <a:gd name="connsiteY4810" fmla="*/ 3908192 h 4565177"/>
              <a:gd name="connsiteX4811" fmla="*/ 7789277 w 12243467"/>
              <a:gd name="connsiteY4811" fmla="*/ 3903236 h 4565177"/>
              <a:gd name="connsiteX4812" fmla="*/ 7821915 w 12243467"/>
              <a:gd name="connsiteY4812" fmla="*/ 3860853 h 4565177"/>
              <a:gd name="connsiteX4813" fmla="*/ 7803937 w 12243467"/>
              <a:gd name="connsiteY4813" fmla="*/ 3853064 h 4565177"/>
              <a:gd name="connsiteX4814" fmla="*/ 7772958 w 12243467"/>
              <a:gd name="connsiteY4814" fmla="*/ 3881083 h 4565177"/>
              <a:gd name="connsiteX4815" fmla="*/ 7751661 w 12243467"/>
              <a:gd name="connsiteY4815" fmla="*/ 3902224 h 4565177"/>
              <a:gd name="connsiteX4816" fmla="*/ 7706853 w 12243467"/>
              <a:gd name="connsiteY4816" fmla="*/ 3933177 h 4565177"/>
              <a:gd name="connsiteX4817" fmla="*/ 7656791 w 12243467"/>
              <a:gd name="connsiteY4817" fmla="*/ 3963017 h 4565177"/>
              <a:gd name="connsiteX4818" fmla="*/ 7650982 w 12243467"/>
              <a:gd name="connsiteY4818" fmla="*/ 3973739 h 4565177"/>
              <a:gd name="connsiteX4819" fmla="*/ 7641025 w 12243467"/>
              <a:gd name="connsiteY4819" fmla="*/ 3973537 h 4565177"/>
              <a:gd name="connsiteX4820" fmla="*/ 7614749 w 12243467"/>
              <a:gd name="connsiteY4820" fmla="*/ 4007423 h 4565177"/>
              <a:gd name="connsiteX4821" fmla="*/ 7486964 w 12243467"/>
              <a:gd name="connsiteY4821" fmla="*/ 4073172 h 4565177"/>
              <a:gd name="connsiteX4822" fmla="*/ 7475348 w 12243467"/>
              <a:gd name="connsiteY4822" fmla="*/ 4087536 h 4565177"/>
              <a:gd name="connsiteX4823" fmla="*/ 7454603 w 12243467"/>
              <a:gd name="connsiteY4823" fmla="*/ 4085108 h 4565177"/>
              <a:gd name="connsiteX4824" fmla="*/ 7519049 w 12243467"/>
              <a:gd name="connsiteY4824" fmla="*/ 4035644 h 4565177"/>
              <a:gd name="connsiteX4825" fmla="*/ 7511581 w 12243467"/>
              <a:gd name="connsiteY4825" fmla="*/ 4034936 h 4565177"/>
              <a:gd name="connsiteX4826" fmla="*/ 7570218 w 12243467"/>
              <a:gd name="connsiteY4826" fmla="*/ 4007929 h 4565177"/>
              <a:gd name="connsiteX4827" fmla="*/ 7636323 w 12243467"/>
              <a:gd name="connsiteY4827" fmla="*/ 3974548 h 4565177"/>
              <a:gd name="connsiteX4828" fmla="*/ 7658727 w 12243467"/>
              <a:gd name="connsiteY4828" fmla="*/ 3955532 h 4565177"/>
              <a:gd name="connsiteX4829" fmla="*/ 7650152 w 12243467"/>
              <a:gd name="connsiteY4829" fmla="*/ 3952699 h 4565177"/>
              <a:gd name="connsiteX4830" fmla="*/ 7759406 w 12243467"/>
              <a:gd name="connsiteY4830" fmla="*/ 3853570 h 4565177"/>
              <a:gd name="connsiteX4831" fmla="*/ 7732576 w 12243467"/>
              <a:gd name="connsiteY4831" fmla="*/ 3854784 h 4565177"/>
              <a:gd name="connsiteX4832" fmla="*/ 7704088 w 12243467"/>
              <a:gd name="connsiteY4832" fmla="*/ 3889176 h 4565177"/>
              <a:gd name="connsiteX4833" fmla="*/ 7661216 w 12243467"/>
              <a:gd name="connsiteY4833" fmla="*/ 3924478 h 4565177"/>
              <a:gd name="connsiteX4834" fmla="*/ 7627472 w 12243467"/>
              <a:gd name="connsiteY4834" fmla="*/ 3946023 h 4565177"/>
              <a:gd name="connsiteX4835" fmla="*/ 7565793 w 12243467"/>
              <a:gd name="connsiteY4835" fmla="*/ 3997105 h 4565177"/>
              <a:gd name="connsiteX4836" fmla="*/ 7487794 w 12243467"/>
              <a:gd name="connsiteY4836" fmla="*/ 4037870 h 4565177"/>
              <a:gd name="connsiteX4837" fmla="*/ 7675322 w 12243467"/>
              <a:gd name="connsiteY4837" fmla="*/ 3897976 h 4565177"/>
              <a:gd name="connsiteX4838" fmla="*/ 7722896 w 12243467"/>
              <a:gd name="connsiteY4838" fmla="*/ 3861561 h 4565177"/>
              <a:gd name="connsiteX4839" fmla="*/ 7724832 w 12243467"/>
              <a:gd name="connsiteY4839" fmla="*/ 3854076 h 4565177"/>
              <a:gd name="connsiteX4840" fmla="*/ 7760442 w 12243467"/>
              <a:gd name="connsiteY4840" fmla="*/ 3823376 h 4565177"/>
              <a:gd name="connsiteX4841" fmla="*/ 7776696 w 12243467"/>
              <a:gd name="connsiteY4841" fmla="*/ 3811938 h 4565177"/>
              <a:gd name="connsiteX4842" fmla="*/ 7765595 w 12243467"/>
              <a:gd name="connsiteY4842" fmla="*/ 3806713 h 4565177"/>
              <a:gd name="connsiteX4843" fmla="*/ 7742638 w 12243467"/>
              <a:gd name="connsiteY4843" fmla="*/ 3813288 h 4565177"/>
              <a:gd name="connsiteX4844" fmla="*/ 7732713 w 12243467"/>
              <a:gd name="connsiteY4844" fmla="*/ 3811613 h 4565177"/>
              <a:gd name="connsiteX4845" fmla="*/ 7722718 w 12243467"/>
              <a:gd name="connsiteY4845" fmla="*/ 3822889 h 4565177"/>
              <a:gd name="connsiteX4846" fmla="*/ 7634387 w 12243467"/>
              <a:gd name="connsiteY4846" fmla="*/ 3876430 h 4565177"/>
              <a:gd name="connsiteX4847" fmla="*/ 7618068 w 12243467"/>
              <a:gd name="connsiteY4847" fmla="*/ 3872991 h 4565177"/>
              <a:gd name="connsiteX4848" fmla="*/ 7602579 w 12243467"/>
              <a:gd name="connsiteY4848" fmla="*/ 3883511 h 4565177"/>
              <a:gd name="connsiteX4849" fmla="*/ 7594281 w 12243467"/>
              <a:gd name="connsiteY4849" fmla="*/ 3906372 h 4565177"/>
              <a:gd name="connsiteX4850" fmla="*/ 7525134 w 12243467"/>
              <a:gd name="connsiteY4850" fmla="*/ 3926299 h 4565177"/>
              <a:gd name="connsiteX4851" fmla="*/ 7534538 w 12243467"/>
              <a:gd name="connsiteY4851" fmla="*/ 3912542 h 4565177"/>
              <a:gd name="connsiteX4852" fmla="*/ 7510751 w 12243467"/>
              <a:gd name="connsiteY4852" fmla="*/ 3915475 h 4565177"/>
              <a:gd name="connsiteX4853" fmla="*/ 7515730 w 12243467"/>
              <a:gd name="connsiteY4853" fmla="*/ 3921342 h 4565177"/>
              <a:gd name="connsiteX4854" fmla="*/ 7339265 w 12243467"/>
              <a:gd name="connsiteY4854" fmla="*/ 4014301 h 4565177"/>
              <a:gd name="connsiteX4855" fmla="*/ 7453497 w 12243467"/>
              <a:gd name="connsiteY4855" fmla="*/ 3939853 h 4565177"/>
              <a:gd name="connsiteX4856" fmla="*/ 7525687 w 12243467"/>
              <a:gd name="connsiteY4856" fmla="*/ 3883916 h 4565177"/>
              <a:gd name="connsiteX4857" fmla="*/ 7491113 w 12243467"/>
              <a:gd name="connsiteY4857" fmla="*/ 3903337 h 4565177"/>
              <a:gd name="connsiteX4858" fmla="*/ 7379647 w 12243467"/>
              <a:gd name="connsiteY4858" fmla="*/ 3972525 h 4565177"/>
              <a:gd name="connsiteX4859" fmla="*/ 7347839 w 12243467"/>
              <a:gd name="connsiteY4859" fmla="*/ 3986585 h 4565177"/>
              <a:gd name="connsiteX4860" fmla="*/ 7322117 w 12243467"/>
              <a:gd name="connsiteY4860" fmla="*/ 3989923 h 4565177"/>
              <a:gd name="connsiteX4861" fmla="*/ 7403434 w 12243467"/>
              <a:gd name="connsiteY4861" fmla="*/ 3939145 h 4565177"/>
              <a:gd name="connsiteX4862" fmla="*/ 7426944 w 12243467"/>
              <a:gd name="connsiteY4862" fmla="*/ 3929232 h 4565177"/>
              <a:gd name="connsiteX4863" fmla="*/ 7409796 w 12243467"/>
              <a:gd name="connsiteY4863" fmla="*/ 3923669 h 4565177"/>
              <a:gd name="connsiteX4864" fmla="*/ 7398732 w 12243467"/>
              <a:gd name="connsiteY4864" fmla="*/ 3933076 h 4565177"/>
              <a:gd name="connsiteX4865" fmla="*/ 7384073 w 12243467"/>
              <a:gd name="connsiteY4865" fmla="*/ 3933986 h 4565177"/>
              <a:gd name="connsiteX4866" fmla="*/ 7385732 w 12243467"/>
              <a:gd name="connsiteY4866" fmla="*/ 3919521 h 4565177"/>
              <a:gd name="connsiteX4867" fmla="*/ 7384349 w 12243467"/>
              <a:gd name="connsiteY4867" fmla="*/ 3919825 h 4565177"/>
              <a:gd name="connsiteX4868" fmla="*/ 7377711 w 12243467"/>
              <a:gd name="connsiteY4868" fmla="*/ 3926703 h 4565177"/>
              <a:gd name="connsiteX4869" fmla="*/ 7377988 w 12243467"/>
              <a:gd name="connsiteY4869" fmla="*/ 3928221 h 4565177"/>
              <a:gd name="connsiteX4870" fmla="*/ 7379647 w 12243467"/>
              <a:gd name="connsiteY4870" fmla="*/ 3935099 h 4565177"/>
              <a:gd name="connsiteX4871" fmla="*/ 7371350 w 12243467"/>
              <a:gd name="connsiteY4871" fmla="*/ 3936212 h 4565177"/>
              <a:gd name="connsiteX4872" fmla="*/ 7364988 w 12243467"/>
              <a:gd name="connsiteY4872" fmla="*/ 3940258 h 4565177"/>
              <a:gd name="connsiteX4873" fmla="*/ 7354201 w 12243467"/>
              <a:gd name="connsiteY4873" fmla="*/ 3952295 h 4565177"/>
              <a:gd name="connsiteX4874" fmla="*/ 7354201 w 12243467"/>
              <a:gd name="connsiteY4874" fmla="*/ 3952396 h 4565177"/>
              <a:gd name="connsiteX4875" fmla="*/ 7355861 w 12243467"/>
              <a:gd name="connsiteY4875" fmla="*/ 3956644 h 4565177"/>
              <a:gd name="connsiteX4876" fmla="*/ 7341478 w 12243467"/>
              <a:gd name="connsiteY4876" fmla="*/ 3961702 h 4565177"/>
              <a:gd name="connsiteX4877" fmla="*/ 7331521 w 12243467"/>
              <a:gd name="connsiteY4877" fmla="*/ 3968884 h 4565177"/>
              <a:gd name="connsiteX4878" fmla="*/ 7329308 w 12243467"/>
              <a:gd name="connsiteY4878" fmla="*/ 3980011 h 4565177"/>
              <a:gd name="connsiteX4879" fmla="*/ 7216459 w 12243467"/>
              <a:gd name="connsiteY4879" fmla="*/ 4063057 h 4565177"/>
              <a:gd name="connsiteX4880" fmla="*/ 7156992 w 12243467"/>
              <a:gd name="connsiteY4880" fmla="*/ 4106552 h 4565177"/>
              <a:gd name="connsiteX4881" fmla="*/ 7028101 w 12243467"/>
              <a:gd name="connsiteY4881" fmla="*/ 4196881 h 4565177"/>
              <a:gd name="connsiteX4882" fmla="*/ 7036676 w 12243467"/>
              <a:gd name="connsiteY4882" fmla="*/ 4202445 h 4565177"/>
              <a:gd name="connsiteX4883" fmla="*/ 7003762 w 12243467"/>
              <a:gd name="connsiteY4883" fmla="*/ 4210233 h 4565177"/>
              <a:gd name="connsiteX4884" fmla="*/ 6961720 w 12243467"/>
              <a:gd name="connsiteY4884" fmla="*/ 4239669 h 4565177"/>
              <a:gd name="connsiteX4885" fmla="*/ 6945678 w 12243467"/>
              <a:gd name="connsiteY4885" fmla="*/ 4235522 h 4565177"/>
              <a:gd name="connsiteX4886" fmla="*/ 6944018 w 12243467"/>
              <a:gd name="connsiteY4886" fmla="*/ 4255853 h 4565177"/>
              <a:gd name="connsiteX4887" fmla="*/ 6935720 w 12243467"/>
              <a:gd name="connsiteY4887" fmla="*/ 4261821 h 4565177"/>
              <a:gd name="connsiteX4888" fmla="*/ 6910827 w 12243467"/>
              <a:gd name="connsiteY4888" fmla="*/ 4265867 h 4565177"/>
              <a:gd name="connsiteX4889" fmla="*/ 6916912 w 12243467"/>
              <a:gd name="connsiteY4889" fmla="*/ 4271127 h 4565177"/>
              <a:gd name="connsiteX4890" fmla="*/ 6916083 w 12243467"/>
              <a:gd name="connsiteY4890" fmla="*/ 4275578 h 4565177"/>
              <a:gd name="connsiteX4891" fmla="*/ 6848595 w 12243467"/>
              <a:gd name="connsiteY4891" fmla="*/ 4299956 h 4565177"/>
              <a:gd name="connsiteX4892" fmla="*/ 6849424 w 12243467"/>
              <a:gd name="connsiteY4892" fmla="*/ 4306834 h 4565177"/>
              <a:gd name="connsiteX4893" fmla="*/ 6780277 w 12243467"/>
              <a:gd name="connsiteY4893" fmla="*/ 4340214 h 4565177"/>
              <a:gd name="connsiteX4894" fmla="*/ 6615429 w 12243467"/>
              <a:gd name="connsiteY4894" fmla="*/ 4406064 h 4565177"/>
              <a:gd name="connsiteX4895" fmla="*/ 6617918 w 12243467"/>
              <a:gd name="connsiteY4895" fmla="*/ 4417697 h 4565177"/>
              <a:gd name="connsiteX4896" fmla="*/ 6597174 w 12243467"/>
              <a:gd name="connsiteY4896" fmla="*/ 4413145 h 4565177"/>
              <a:gd name="connsiteX4897" fmla="*/ 6547111 w 12243467"/>
              <a:gd name="connsiteY4897" fmla="*/ 4434893 h 4565177"/>
              <a:gd name="connsiteX4898" fmla="*/ 6534665 w 12243467"/>
              <a:gd name="connsiteY4898" fmla="*/ 4435904 h 4565177"/>
              <a:gd name="connsiteX4899" fmla="*/ 6533005 w 12243467"/>
              <a:gd name="connsiteY4899" fmla="*/ 4444705 h 4565177"/>
              <a:gd name="connsiteX4900" fmla="*/ 6550154 w 12243467"/>
              <a:gd name="connsiteY4900" fmla="*/ 4442176 h 4565177"/>
              <a:gd name="connsiteX4901" fmla="*/ 6526920 w 12243467"/>
              <a:gd name="connsiteY4901" fmla="*/ 4450976 h 4565177"/>
              <a:gd name="connsiteX4902" fmla="*/ 6523878 w 12243467"/>
              <a:gd name="connsiteY4902" fmla="*/ 4441569 h 4565177"/>
              <a:gd name="connsiteX4903" fmla="*/ 6500921 w 12243467"/>
              <a:gd name="connsiteY4903" fmla="*/ 4448043 h 4565177"/>
              <a:gd name="connsiteX4904" fmla="*/ 6511985 w 12243467"/>
              <a:gd name="connsiteY4904" fmla="*/ 4453808 h 4565177"/>
              <a:gd name="connsiteX4905" fmla="*/ 6497602 w 12243467"/>
              <a:gd name="connsiteY4905" fmla="*/ 4452190 h 4565177"/>
              <a:gd name="connsiteX4906" fmla="*/ 6440624 w 12243467"/>
              <a:gd name="connsiteY4906" fmla="*/ 4473230 h 4565177"/>
              <a:gd name="connsiteX4907" fmla="*/ 6403008 w 12243467"/>
              <a:gd name="connsiteY4907" fmla="*/ 4480513 h 4565177"/>
              <a:gd name="connsiteX4908" fmla="*/ 6345201 w 12243467"/>
              <a:gd name="connsiteY4908" fmla="*/ 4492246 h 4565177"/>
              <a:gd name="connsiteX4909" fmla="*/ 6302053 w 12243467"/>
              <a:gd name="connsiteY4909" fmla="*/ 4514803 h 4565177"/>
              <a:gd name="connsiteX4910" fmla="*/ 6204416 w 12243467"/>
              <a:gd name="connsiteY4910" fmla="*/ 4522187 h 4565177"/>
              <a:gd name="connsiteX4911" fmla="*/ 6195012 w 12243467"/>
              <a:gd name="connsiteY4911" fmla="*/ 4532606 h 4565177"/>
              <a:gd name="connsiteX4912" fmla="*/ 6078845 w 12243467"/>
              <a:gd name="connsiteY4912" fmla="*/ 4547071 h 4565177"/>
              <a:gd name="connsiteX4913" fmla="*/ 6079121 w 12243467"/>
              <a:gd name="connsiteY4913" fmla="*/ 4533415 h 4565177"/>
              <a:gd name="connsiteX4914" fmla="*/ 6064738 w 12243467"/>
              <a:gd name="connsiteY4914" fmla="*/ 4545554 h 4565177"/>
              <a:gd name="connsiteX4915" fmla="*/ 6023527 w 12243467"/>
              <a:gd name="connsiteY4915" fmla="*/ 4547779 h 4565177"/>
              <a:gd name="connsiteX4916" fmla="*/ 6038739 w 12243467"/>
              <a:gd name="connsiteY4916" fmla="*/ 4531190 h 4565177"/>
              <a:gd name="connsiteX4917" fmla="*/ 6058653 w 12243467"/>
              <a:gd name="connsiteY4917" fmla="*/ 4528863 h 4565177"/>
              <a:gd name="connsiteX4918" fmla="*/ 6050632 w 12243467"/>
              <a:gd name="connsiteY4918" fmla="*/ 4507520 h 4565177"/>
              <a:gd name="connsiteX4919" fmla="*/ 6089908 w 12243467"/>
              <a:gd name="connsiteY4919" fmla="*/ 4504991 h 4565177"/>
              <a:gd name="connsiteX4920" fmla="*/ 6170672 w 12243467"/>
              <a:gd name="connsiteY4920" fmla="*/ 4486582 h 4565177"/>
              <a:gd name="connsiteX4921" fmla="*/ 6208012 w 12243467"/>
              <a:gd name="connsiteY4921" fmla="*/ 4479400 h 4565177"/>
              <a:gd name="connsiteX4922" fmla="*/ 6266649 w 12243467"/>
              <a:gd name="connsiteY4922" fmla="*/ 4463114 h 4565177"/>
              <a:gd name="connsiteX4923" fmla="*/ 6272458 w 12243467"/>
              <a:gd name="connsiteY4923" fmla="*/ 4470600 h 4565177"/>
              <a:gd name="connsiteX4924" fmla="*/ 6308967 w 12243467"/>
              <a:gd name="connsiteY4924" fmla="*/ 4456438 h 4565177"/>
              <a:gd name="connsiteX4925" fmla="*/ 6352392 w 12243467"/>
              <a:gd name="connsiteY4925" fmla="*/ 4445312 h 4565177"/>
              <a:gd name="connsiteX4926" fmla="*/ 6485155 w 12243467"/>
              <a:gd name="connsiteY4926" fmla="*/ 4394027 h 4565177"/>
              <a:gd name="connsiteX4927" fmla="*/ 6498985 w 12243467"/>
              <a:gd name="connsiteY4927" fmla="*/ 4397871 h 4565177"/>
              <a:gd name="connsiteX4928" fmla="*/ 6490964 w 12243467"/>
              <a:gd name="connsiteY4928" fmla="*/ 4390184 h 4565177"/>
              <a:gd name="connsiteX4929" fmla="*/ 6617918 w 12243467"/>
              <a:gd name="connsiteY4929" fmla="*/ 4344968 h 4565177"/>
              <a:gd name="connsiteX4930" fmla="*/ 6613216 w 12243467"/>
              <a:gd name="connsiteY4930" fmla="*/ 4355893 h 4565177"/>
              <a:gd name="connsiteX4931" fmla="*/ 6646960 w 12243467"/>
              <a:gd name="connsiteY4931" fmla="*/ 4332223 h 4565177"/>
              <a:gd name="connsiteX4932" fmla="*/ 6677939 w 12243467"/>
              <a:gd name="connsiteY4932" fmla="*/ 4322007 h 4565177"/>
              <a:gd name="connsiteX4933" fmla="*/ 6673790 w 12243467"/>
              <a:gd name="connsiteY4933" fmla="*/ 4330706 h 4565177"/>
              <a:gd name="connsiteX4934" fmla="*/ 6699513 w 12243467"/>
              <a:gd name="connsiteY4934" fmla="*/ 4322108 h 4565177"/>
              <a:gd name="connsiteX4935" fmla="*/ 6688726 w 12243467"/>
              <a:gd name="connsiteY4935" fmla="*/ 4316443 h 4565177"/>
              <a:gd name="connsiteX4936" fmla="*/ 6719980 w 12243467"/>
              <a:gd name="connsiteY4936" fmla="*/ 4304002 h 4565177"/>
              <a:gd name="connsiteX4937" fmla="*/ 6704215 w 12243467"/>
              <a:gd name="connsiteY4937" fmla="*/ 4311285 h 4565177"/>
              <a:gd name="connsiteX4938" fmla="*/ 6710023 w 12243467"/>
              <a:gd name="connsiteY4938" fmla="*/ 4318770 h 4565177"/>
              <a:gd name="connsiteX4939" fmla="*/ 6728831 w 12243467"/>
              <a:gd name="connsiteY4939" fmla="*/ 4295808 h 4565177"/>
              <a:gd name="connsiteX4940" fmla="*/ 6734086 w 12243467"/>
              <a:gd name="connsiteY4940" fmla="*/ 4305519 h 4565177"/>
              <a:gd name="connsiteX4941" fmla="*/ 6867403 w 12243467"/>
              <a:gd name="connsiteY4941" fmla="*/ 4229250 h 4565177"/>
              <a:gd name="connsiteX4942" fmla="*/ 6883168 w 12243467"/>
              <a:gd name="connsiteY4942" fmla="*/ 4235522 h 4565177"/>
              <a:gd name="connsiteX4943" fmla="*/ 6900870 w 12243467"/>
              <a:gd name="connsiteY4943" fmla="*/ 4207907 h 4565177"/>
              <a:gd name="connsiteX4944" fmla="*/ 6972507 w 12243467"/>
              <a:gd name="connsiteY4944" fmla="*/ 4161276 h 4565177"/>
              <a:gd name="connsiteX4945" fmla="*/ 7186311 w 12243467"/>
              <a:gd name="connsiteY4945" fmla="*/ 4021078 h 4565177"/>
              <a:gd name="connsiteX4946" fmla="*/ 7201523 w 12243467"/>
              <a:gd name="connsiteY4946" fmla="*/ 4004692 h 4565177"/>
              <a:gd name="connsiteX4947" fmla="*/ 7183545 w 12243467"/>
              <a:gd name="connsiteY4947" fmla="*/ 4010761 h 4565177"/>
              <a:gd name="connsiteX4948" fmla="*/ 7130163 w 12243467"/>
              <a:gd name="connsiteY4948" fmla="*/ 4032306 h 4565177"/>
              <a:gd name="connsiteX4949" fmla="*/ 7116057 w 12243467"/>
              <a:gd name="connsiteY4949" fmla="*/ 4028361 h 4565177"/>
              <a:gd name="connsiteX4950" fmla="*/ 7107206 w 12243467"/>
              <a:gd name="connsiteY4950" fmla="*/ 4032610 h 4565177"/>
              <a:gd name="connsiteX4951" fmla="*/ 7101121 w 12243467"/>
              <a:gd name="connsiteY4951" fmla="*/ 4032003 h 4565177"/>
              <a:gd name="connsiteX4952" fmla="*/ 7076781 w 12243467"/>
              <a:gd name="connsiteY4952" fmla="*/ 4049907 h 4565177"/>
              <a:gd name="connsiteX4953" fmla="*/ 7079824 w 12243467"/>
              <a:gd name="connsiteY4953" fmla="*/ 4059314 h 4565177"/>
              <a:gd name="connsiteX4954" fmla="*/ 7058803 w 12243467"/>
              <a:gd name="connsiteY4954" fmla="*/ 4068317 h 4565177"/>
              <a:gd name="connsiteX4955" fmla="*/ 6931572 w 12243467"/>
              <a:gd name="connsiteY4955" fmla="*/ 4149845 h 4565177"/>
              <a:gd name="connsiteX4956" fmla="*/ 6924104 w 12243467"/>
              <a:gd name="connsiteY4956" fmla="*/ 4151363 h 4565177"/>
              <a:gd name="connsiteX4957" fmla="*/ 6919955 w 12243467"/>
              <a:gd name="connsiteY4957" fmla="*/ 4159961 h 4565177"/>
              <a:gd name="connsiteX4958" fmla="*/ 6887594 w 12243467"/>
              <a:gd name="connsiteY4958" fmla="*/ 4176853 h 4565177"/>
              <a:gd name="connsiteX4959" fmla="*/ 6786915 w 12243467"/>
              <a:gd name="connsiteY4959" fmla="*/ 4222675 h 4565177"/>
              <a:gd name="connsiteX4960" fmla="*/ 6777511 w 12243467"/>
              <a:gd name="connsiteY4960" fmla="*/ 4232993 h 4565177"/>
              <a:gd name="connsiteX4961" fmla="*/ 6758426 w 12243467"/>
              <a:gd name="connsiteY4961" fmla="*/ 4233094 h 4565177"/>
              <a:gd name="connsiteX4962" fmla="*/ 6726618 w 12243467"/>
              <a:gd name="connsiteY4962" fmla="*/ 4247761 h 4565177"/>
              <a:gd name="connsiteX4963" fmla="*/ 6719427 w 12243467"/>
              <a:gd name="connsiteY4963" fmla="*/ 4235623 h 4565177"/>
              <a:gd name="connsiteX4964" fmla="*/ 6720810 w 12243467"/>
              <a:gd name="connsiteY4964" fmla="*/ 4251706 h 4565177"/>
              <a:gd name="connsiteX4965" fmla="*/ 6697300 w 12243467"/>
              <a:gd name="connsiteY4965" fmla="*/ 4249177 h 4565177"/>
              <a:gd name="connsiteX4966" fmla="*/ 6666875 w 12243467"/>
              <a:gd name="connsiteY4966" fmla="*/ 4268497 h 4565177"/>
              <a:gd name="connsiteX4967" fmla="*/ 6650280 w 12243467"/>
              <a:gd name="connsiteY4967" fmla="*/ 4280332 h 4565177"/>
              <a:gd name="connsiteX4968" fmla="*/ 6653599 w 12243467"/>
              <a:gd name="connsiteY4968" fmla="*/ 4287514 h 4565177"/>
              <a:gd name="connsiteX4969" fmla="*/ 6639493 w 12243467"/>
              <a:gd name="connsiteY4969" fmla="*/ 4297326 h 4565177"/>
              <a:gd name="connsiteX4970" fmla="*/ 6611004 w 12243467"/>
              <a:gd name="connsiteY4970" fmla="*/ 4307845 h 4565177"/>
              <a:gd name="connsiteX4971" fmla="*/ 6602706 w 12243467"/>
              <a:gd name="connsiteY4971" fmla="*/ 4300057 h 4565177"/>
              <a:gd name="connsiteX4972" fmla="*/ 6587217 w 12243467"/>
              <a:gd name="connsiteY4972" fmla="*/ 4318871 h 4565177"/>
              <a:gd name="connsiteX4973" fmla="*/ 6569792 w 12243467"/>
              <a:gd name="connsiteY4973" fmla="*/ 4321501 h 4565177"/>
              <a:gd name="connsiteX4974" fmla="*/ 6476304 w 12243467"/>
              <a:gd name="connsiteY4974" fmla="*/ 4354376 h 4565177"/>
              <a:gd name="connsiteX4975" fmla="*/ 6464688 w 12243467"/>
              <a:gd name="connsiteY4975" fmla="*/ 4364491 h 4565177"/>
              <a:gd name="connsiteX4976" fmla="*/ 6361520 w 12243467"/>
              <a:gd name="connsiteY4976" fmla="*/ 4387149 h 4565177"/>
              <a:gd name="connsiteX4977" fmla="*/ 6352115 w 12243467"/>
              <a:gd name="connsiteY4977" fmla="*/ 4397568 h 4565177"/>
              <a:gd name="connsiteX4978" fmla="*/ 6332754 w 12243467"/>
              <a:gd name="connsiteY4978" fmla="*/ 4386239 h 4565177"/>
              <a:gd name="connsiteX4979" fmla="*/ 6293755 w 12243467"/>
              <a:gd name="connsiteY4979" fmla="*/ 4400198 h 4565177"/>
              <a:gd name="connsiteX4980" fmla="*/ 6273287 w 12243467"/>
              <a:gd name="connsiteY4980" fmla="*/ 4418405 h 4565177"/>
              <a:gd name="connsiteX4981" fmla="*/ 6262500 w 12243467"/>
              <a:gd name="connsiteY4981" fmla="*/ 4412639 h 4565177"/>
              <a:gd name="connsiteX4982" fmla="*/ 6220735 w 12243467"/>
              <a:gd name="connsiteY4982" fmla="*/ 4417191 h 4565177"/>
              <a:gd name="connsiteX4983" fmla="*/ 6185608 w 12243467"/>
              <a:gd name="connsiteY4983" fmla="*/ 4436006 h 4565177"/>
              <a:gd name="connsiteX4984" fmla="*/ 6021868 w 12243467"/>
              <a:gd name="connsiteY4984" fmla="*/ 4447436 h 4565177"/>
              <a:gd name="connsiteX4985" fmla="*/ 6008591 w 12243467"/>
              <a:gd name="connsiteY4985" fmla="*/ 4452797 h 4565177"/>
              <a:gd name="connsiteX4986" fmla="*/ 6084653 w 12243467"/>
              <a:gd name="connsiteY4986" fmla="*/ 4422552 h 4565177"/>
              <a:gd name="connsiteX4987" fmla="*/ 6085759 w 12243467"/>
              <a:gd name="connsiteY4987" fmla="*/ 4404547 h 4565177"/>
              <a:gd name="connsiteX4988" fmla="*/ 6003612 w 12243467"/>
              <a:gd name="connsiteY4988" fmla="*/ 4418203 h 4565177"/>
              <a:gd name="connsiteX4989" fmla="*/ 5974295 w 12243467"/>
              <a:gd name="connsiteY4989" fmla="*/ 4408088 h 4565177"/>
              <a:gd name="connsiteX4990" fmla="*/ 6068334 w 12243467"/>
              <a:gd name="connsiteY4990" fmla="*/ 4395747 h 4565177"/>
              <a:gd name="connsiteX4991" fmla="*/ 6076632 w 12243467"/>
              <a:gd name="connsiteY4991" fmla="*/ 4378450 h 4565177"/>
              <a:gd name="connsiteX4992" fmla="*/ 6064738 w 12243467"/>
              <a:gd name="connsiteY4992" fmla="*/ 4377135 h 4565177"/>
              <a:gd name="connsiteX4993" fmla="*/ 6070823 w 12243467"/>
              <a:gd name="connsiteY4993" fmla="*/ 4370965 h 4565177"/>
              <a:gd name="connsiteX4994" fmla="*/ 6065015 w 12243467"/>
              <a:gd name="connsiteY4994" fmla="*/ 4363479 h 4565177"/>
              <a:gd name="connsiteX4995" fmla="*/ 6036527 w 12243467"/>
              <a:gd name="connsiteY4995" fmla="*/ 4373999 h 4565177"/>
              <a:gd name="connsiteX4996" fmla="*/ 6042888 w 12243467"/>
              <a:gd name="connsiteY4996" fmla="*/ 4354274 h 4565177"/>
              <a:gd name="connsiteX4997" fmla="*/ 6026847 w 12243467"/>
              <a:gd name="connsiteY4997" fmla="*/ 4338899 h 4565177"/>
              <a:gd name="connsiteX4998" fmla="*/ 6040952 w 12243467"/>
              <a:gd name="connsiteY4998" fmla="*/ 4340417 h 4565177"/>
              <a:gd name="connsiteX4999" fmla="*/ 6048143 w 12243467"/>
              <a:gd name="connsiteY4999" fmla="*/ 4352555 h 4565177"/>
              <a:gd name="connsiteX5000" fmla="*/ 6049526 w 12243467"/>
              <a:gd name="connsiteY5000" fmla="*/ 4345980 h 4565177"/>
              <a:gd name="connsiteX5001" fmla="*/ 6065015 w 12243467"/>
              <a:gd name="connsiteY5001" fmla="*/ 4352150 h 4565177"/>
              <a:gd name="connsiteX5002" fmla="*/ 6060313 w 12243467"/>
              <a:gd name="connsiteY5002" fmla="*/ 4340315 h 4565177"/>
              <a:gd name="connsiteX5003" fmla="*/ 6078291 w 12243467"/>
              <a:gd name="connsiteY5003" fmla="*/ 4321805 h 4565177"/>
              <a:gd name="connsiteX5004" fmla="*/ 6100142 w 12243467"/>
              <a:gd name="connsiteY5004" fmla="*/ 4333336 h 4565177"/>
              <a:gd name="connsiteX5005" fmla="*/ 6156843 w 12243467"/>
              <a:gd name="connsiteY5005" fmla="*/ 4325952 h 4565177"/>
              <a:gd name="connsiteX5006" fmla="*/ 6170949 w 12243467"/>
              <a:gd name="connsiteY5006" fmla="*/ 4316140 h 4565177"/>
              <a:gd name="connsiteX5007" fmla="*/ 6164587 w 12243467"/>
              <a:gd name="connsiteY5007" fmla="*/ 4324434 h 4565177"/>
              <a:gd name="connsiteX5008" fmla="*/ 6191417 w 12243467"/>
              <a:gd name="connsiteY5008" fmla="*/ 4322917 h 4565177"/>
              <a:gd name="connsiteX5009" fmla="*/ 6189757 w 12243467"/>
              <a:gd name="connsiteY5009" fmla="*/ 4306834 h 4565177"/>
              <a:gd name="connsiteX5010" fmla="*/ 6199714 w 12243467"/>
              <a:gd name="connsiteY5010" fmla="*/ 4305620 h 4565177"/>
              <a:gd name="connsiteX5011" fmla="*/ 6195012 w 12243467"/>
              <a:gd name="connsiteY5011" fmla="*/ 4316545 h 4565177"/>
              <a:gd name="connsiteX5012" fmla="*/ 6202480 w 12243467"/>
              <a:gd name="connsiteY5012" fmla="*/ 4315027 h 4565177"/>
              <a:gd name="connsiteX5013" fmla="*/ 6201374 w 12243467"/>
              <a:gd name="connsiteY5013" fmla="*/ 4308149 h 4565177"/>
              <a:gd name="connsiteX5014" fmla="*/ 6264990 w 12243467"/>
              <a:gd name="connsiteY5014" fmla="*/ 4292369 h 4565177"/>
              <a:gd name="connsiteX5015" fmla="*/ 6284904 w 12243467"/>
              <a:gd name="connsiteY5015" fmla="*/ 4287716 h 4565177"/>
              <a:gd name="connsiteX5016" fmla="*/ 6284074 w 12243467"/>
              <a:gd name="connsiteY5016" fmla="*/ 4280838 h 4565177"/>
              <a:gd name="connsiteX5017" fmla="*/ 6334690 w 12243467"/>
              <a:gd name="connsiteY5017" fmla="*/ 4268194 h 4565177"/>
              <a:gd name="connsiteX5018" fmla="*/ 6340499 w 12243467"/>
              <a:gd name="connsiteY5018" fmla="*/ 4275679 h 4565177"/>
              <a:gd name="connsiteX5019" fmla="*/ 6417944 w 12243467"/>
              <a:gd name="connsiteY5019" fmla="*/ 4250189 h 4565177"/>
              <a:gd name="connsiteX5020" fmla="*/ 6419327 w 12243467"/>
              <a:gd name="connsiteY5020" fmla="*/ 4243411 h 4565177"/>
              <a:gd name="connsiteX5021" fmla="*/ 6417667 w 12243467"/>
              <a:gd name="connsiteY5021" fmla="*/ 4238657 h 4565177"/>
              <a:gd name="connsiteX5022" fmla="*/ 6406604 w 12243467"/>
              <a:gd name="connsiteY5022" fmla="*/ 4246547 h 4565177"/>
              <a:gd name="connsiteX5023" fmla="*/ 6397476 w 12243467"/>
              <a:gd name="connsiteY5023" fmla="*/ 4243310 h 4565177"/>
              <a:gd name="connsiteX5024" fmla="*/ 6450858 w 12243467"/>
              <a:gd name="connsiteY5024" fmla="*/ 4217415 h 4565177"/>
              <a:gd name="connsiteX5025" fmla="*/ 6445050 w 12243467"/>
              <a:gd name="connsiteY5025" fmla="*/ 4209930 h 4565177"/>
              <a:gd name="connsiteX5026" fmla="*/ 6498985 w 12243467"/>
              <a:gd name="connsiteY5026" fmla="*/ 4181708 h 4565177"/>
              <a:gd name="connsiteX5027" fmla="*/ 6487091 w 12243467"/>
              <a:gd name="connsiteY5027" fmla="*/ 4169064 h 4565177"/>
              <a:gd name="connsiteX5028" fmla="*/ 6443114 w 12243467"/>
              <a:gd name="connsiteY5028" fmla="*/ 4184642 h 4565177"/>
              <a:gd name="connsiteX5029" fmla="*/ 6411582 w 12243467"/>
              <a:gd name="connsiteY5029" fmla="*/ 4197084 h 4565177"/>
              <a:gd name="connsiteX5030" fmla="*/ 6353498 w 12243467"/>
              <a:gd name="connsiteY5030" fmla="*/ 4211144 h 4565177"/>
              <a:gd name="connsiteX5031" fmla="*/ 6290989 w 12243467"/>
              <a:gd name="connsiteY5031" fmla="*/ 4222473 h 4565177"/>
              <a:gd name="connsiteX5032" fmla="*/ 6279649 w 12243467"/>
              <a:gd name="connsiteY5032" fmla="*/ 4230363 h 4565177"/>
              <a:gd name="connsiteX5033" fmla="*/ 6270798 w 12243467"/>
              <a:gd name="connsiteY5033" fmla="*/ 4227025 h 4565177"/>
              <a:gd name="connsiteX5034" fmla="*/ 6227650 w 12243467"/>
              <a:gd name="connsiteY5034" fmla="*/ 4249582 h 4565177"/>
              <a:gd name="connsiteX5035" fmla="*/ 6074419 w 12243467"/>
              <a:gd name="connsiteY5035" fmla="*/ 4269104 h 4565177"/>
              <a:gd name="connsiteX5036" fmla="*/ 6055611 w 12243467"/>
              <a:gd name="connsiteY5036" fmla="*/ 4278309 h 4565177"/>
              <a:gd name="connsiteX5037" fmla="*/ 6038186 w 12243467"/>
              <a:gd name="connsiteY5037" fmla="*/ 4269610 h 4565177"/>
              <a:gd name="connsiteX5038" fmla="*/ 6125035 w 12243467"/>
              <a:gd name="connsiteY5038" fmla="*/ 4245131 h 4565177"/>
              <a:gd name="connsiteX5039" fmla="*/ 6118397 w 12243467"/>
              <a:gd name="connsiteY5039" fmla="*/ 4242096 h 4565177"/>
              <a:gd name="connsiteX5040" fmla="*/ 6186991 w 12243467"/>
              <a:gd name="connsiteY5040" fmla="*/ 4235926 h 4565177"/>
              <a:gd name="connsiteX5041" fmla="*/ 6266096 w 12243467"/>
              <a:gd name="connsiteY5041" fmla="*/ 4226519 h 4565177"/>
              <a:gd name="connsiteX5042" fmla="*/ 6297074 w 12243467"/>
              <a:gd name="connsiteY5042" fmla="*/ 4216303 h 4565177"/>
              <a:gd name="connsiteX5043" fmla="*/ 6290713 w 12243467"/>
              <a:gd name="connsiteY5043" fmla="*/ 4211043 h 4565177"/>
              <a:gd name="connsiteX5044" fmla="*/ 6446433 w 12243467"/>
              <a:gd name="connsiteY5044" fmla="*/ 4155510 h 4565177"/>
              <a:gd name="connsiteX5045" fmla="*/ 6421540 w 12243467"/>
              <a:gd name="connsiteY5045" fmla="*/ 4148126 h 4565177"/>
              <a:gd name="connsiteX5046" fmla="*/ 6375902 w 12243467"/>
              <a:gd name="connsiteY5046" fmla="*/ 4170481 h 4565177"/>
              <a:gd name="connsiteX5047" fmla="*/ 6316989 w 12243467"/>
              <a:gd name="connsiteY5047" fmla="*/ 4188890 h 4565177"/>
              <a:gd name="connsiteX5048" fmla="*/ 6274117 w 12243467"/>
              <a:gd name="connsiteY5048" fmla="*/ 4197893 h 4565177"/>
              <a:gd name="connsiteX5049" fmla="*/ 6189204 w 12243467"/>
              <a:gd name="connsiteY5049" fmla="*/ 4224901 h 4565177"/>
              <a:gd name="connsiteX5050" fmla="*/ 6095163 w 12243467"/>
              <a:gd name="connsiteY5050" fmla="*/ 4237241 h 4565177"/>
              <a:gd name="connsiteX5051" fmla="*/ 6344924 w 12243467"/>
              <a:gd name="connsiteY5051" fmla="*/ 4169267 h 4565177"/>
              <a:gd name="connsiteX5052" fmla="*/ 6408816 w 12243467"/>
              <a:gd name="connsiteY5052" fmla="*/ 4151363 h 4565177"/>
              <a:gd name="connsiteX5053" fmla="*/ 6414625 w 12243467"/>
              <a:gd name="connsiteY5053" fmla="*/ 4145091 h 4565177"/>
              <a:gd name="connsiteX5054" fmla="*/ 6516963 w 12243467"/>
              <a:gd name="connsiteY5054" fmla="*/ 4115454 h 4565177"/>
              <a:gd name="connsiteX5055" fmla="*/ 6458603 w 12243467"/>
              <a:gd name="connsiteY5055" fmla="*/ 4143169 h 4565177"/>
              <a:gd name="connsiteX5056" fmla="*/ 6539644 w 12243467"/>
              <a:gd name="connsiteY5056" fmla="*/ 4111205 h 4565177"/>
              <a:gd name="connsiteX5057" fmla="*/ 6626216 w 12243467"/>
              <a:gd name="connsiteY5057" fmla="*/ 4075296 h 4565177"/>
              <a:gd name="connsiteX5058" fmla="*/ 6671577 w 12243467"/>
              <a:gd name="connsiteY5058" fmla="*/ 4053043 h 4565177"/>
              <a:gd name="connsiteX5059" fmla="*/ 6747363 w 12243467"/>
              <a:gd name="connsiteY5059" fmla="*/ 4011368 h 4565177"/>
              <a:gd name="connsiteX5060" fmla="*/ 6823148 w 12243467"/>
              <a:gd name="connsiteY5060" fmla="*/ 3969693 h 4565177"/>
              <a:gd name="connsiteX5061" fmla="*/ 6795489 w 12243467"/>
              <a:gd name="connsiteY5061" fmla="*/ 3975661 h 4565177"/>
              <a:gd name="connsiteX5062" fmla="*/ 6581685 w 12243467"/>
              <a:gd name="connsiteY5062" fmla="*/ 4081669 h 4565177"/>
              <a:gd name="connsiteX5063" fmla="*/ 6713895 w 12243467"/>
              <a:gd name="connsiteY5063" fmla="*/ 4009851 h 4565177"/>
              <a:gd name="connsiteX5064" fmla="*/ 6707810 w 12243467"/>
              <a:gd name="connsiteY5064" fmla="*/ 4004591 h 4565177"/>
              <a:gd name="connsiteX5065" fmla="*/ 6752341 w 12243467"/>
              <a:gd name="connsiteY5065" fmla="*/ 3986889 h 4565177"/>
              <a:gd name="connsiteX5066" fmla="*/ 6754001 w 12243467"/>
              <a:gd name="connsiteY5066" fmla="*/ 3977886 h 4565177"/>
              <a:gd name="connsiteX5067" fmla="*/ 6650556 w 12243467"/>
              <a:gd name="connsiteY5067" fmla="*/ 4014200 h 4565177"/>
              <a:gd name="connsiteX5068" fmla="*/ 6661067 w 12243467"/>
              <a:gd name="connsiteY5068" fmla="*/ 4022191 h 4565177"/>
              <a:gd name="connsiteX5069" fmla="*/ 6653599 w 12243467"/>
              <a:gd name="connsiteY5069" fmla="*/ 4035037 h 4565177"/>
              <a:gd name="connsiteX5070" fmla="*/ 6617918 w 12243467"/>
              <a:gd name="connsiteY5070" fmla="*/ 4044748 h 4565177"/>
              <a:gd name="connsiteX5071" fmla="*/ 6620131 w 12243467"/>
              <a:gd name="connsiteY5071" fmla="*/ 4033722 h 4565177"/>
              <a:gd name="connsiteX5072" fmla="*/ 6513367 w 12243467"/>
              <a:gd name="connsiteY5072" fmla="*/ 4074082 h 4565177"/>
              <a:gd name="connsiteX5073" fmla="*/ 6528027 w 12243467"/>
              <a:gd name="connsiteY5073" fmla="*/ 4073475 h 4565177"/>
              <a:gd name="connsiteX5074" fmla="*/ 6504793 w 12243467"/>
              <a:gd name="connsiteY5074" fmla="*/ 4080050 h 4565177"/>
              <a:gd name="connsiteX5075" fmla="*/ 6510602 w 12243467"/>
              <a:gd name="connsiteY5075" fmla="*/ 4076105 h 4565177"/>
              <a:gd name="connsiteX5076" fmla="*/ 6454177 w 12243467"/>
              <a:gd name="connsiteY5076" fmla="*/ 4092694 h 4565177"/>
              <a:gd name="connsiteX5077" fmla="*/ 6464688 w 12243467"/>
              <a:gd name="connsiteY5077" fmla="*/ 4100584 h 4565177"/>
              <a:gd name="connsiteX5078" fmla="*/ 6320031 w 12243467"/>
              <a:gd name="connsiteY5078" fmla="*/ 4136999 h 4565177"/>
              <a:gd name="connsiteX5079" fmla="*/ 6307308 w 12243467"/>
              <a:gd name="connsiteY5079" fmla="*/ 4128705 h 4565177"/>
              <a:gd name="connsiteX5080" fmla="*/ 6287117 w 12243467"/>
              <a:gd name="connsiteY5080" fmla="*/ 4133358 h 4565177"/>
              <a:gd name="connsiteX5081" fmla="*/ 6266649 w 12243467"/>
              <a:gd name="connsiteY5081" fmla="*/ 4151565 h 4565177"/>
              <a:gd name="connsiteX5082" fmla="*/ 6192523 w 12243467"/>
              <a:gd name="connsiteY5082" fmla="*/ 4147924 h 4565177"/>
              <a:gd name="connsiteX5083" fmla="*/ 6209118 w 12243467"/>
              <a:gd name="connsiteY5083" fmla="*/ 4138314 h 4565177"/>
              <a:gd name="connsiteX5084" fmla="*/ 6185885 w 12243467"/>
              <a:gd name="connsiteY5084" fmla="*/ 4133560 h 4565177"/>
              <a:gd name="connsiteX5085" fmla="*/ 6186991 w 12243467"/>
              <a:gd name="connsiteY5085" fmla="*/ 4140438 h 4565177"/>
              <a:gd name="connsiteX5086" fmla="*/ 5974017 w 12243467"/>
              <a:gd name="connsiteY5086" fmla="*/ 4169267 h 4565177"/>
              <a:gd name="connsiteX5087" fmla="*/ 6120056 w 12243467"/>
              <a:gd name="connsiteY5087" fmla="*/ 4137606 h 4565177"/>
              <a:gd name="connsiteX5088" fmla="*/ 6217140 w 12243467"/>
              <a:gd name="connsiteY5088" fmla="*/ 4109688 h 4565177"/>
              <a:gd name="connsiteX5089" fmla="*/ 6174821 w 12243467"/>
              <a:gd name="connsiteY5089" fmla="*/ 4116364 h 4565177"/>
              <a:gd name="connsiteX5090" fmla="*/ 6034314 w 12243467"/>
              <a:gd name="connsiteY5090" fmla="*/ 4144181 h 4565177"/>
              <a:gd name="connsiteX5091" fmla="*/ 5997805 w 12243467"/>
              <a:gd name="connsiteY5091" fmla="*/ 4146912 h 4565177"/>
              <a:gd name="connsiteX5092" fmla="*/ 5972357 w 12243467"/>
              <a:gd name="connsiteY5092" fmla="*/ 4141854 h 4565177"/>
              <a:gd name="connsiteX5093" fmla="*/ 6075249 w 12243467"/>
              <a:gd name="connsiteY5093" fmla="*/ 4121320 h 4565177"/>
              <a:gd name="connsiteX5094" fmla="*/ 6102078 w 12243467"/>
              <a:gd name="connsiteY5094" fmla="*/ 4119803 h 4565177"/>
              <a:gd name="connsiteX5095" fmla="*/ 6089632 w 12243467"/>
              <a:gd name="connsiteY5095" fmla="*/ 4109283 h 4565177"/>
              <a:gd name="connsiteX5096" fmla="*/ 6074143 w 12243467"/>
              <a:gd name="connsiteY5096" fmla="*/ 4114341 h 4565177"/>
              <a:gd name="connsiteX5097" fmla="*/ 6060590 w 12243467"/>
              <a:gd name="connsiteY5097" fmla="*/ 4110497 h 4565177"/>
              <a:gd name="connsiteX5098" fmla="*/ 6070270 w 12243467"/>
              <a:gd name="connsiteY5098" fmla="*/ 4097954 h 4565177"/>
              <a:gd name="connsiteX5099" fmla="*/ 6060866 w 12243467"/>
              <a:gd name="connsiteY5099" fmla="*/ 4096943 h 4565177"/>
              <a:gd name="connsiteX5100" fmla="*/ 6055611 w 12243467"/>
              <a:gd name="connsiteY5100" fmla="*/ 4109991 h 4565177"/>
              <a:gd name="connsiteX5101" fmla="*/ 6038739 w 12243467"/>
              <a:gd name="connsiteY5101" fmla="*/ 4110396 h 4565177"/>
              <a:gd name="connsiteX5102" fmla="*/ 6006378 w 12243467"/>
              <a:gd name="connsiteY5102" fmla="*/ 4104630 h 4565177"/>
              <a:gd name="connsiteX5103" fmla="*/ 6024356 w 12243467"/>
              <a:gd name="connsiteY5103" fmla="*/ 4111104 h 4565177"/>
              <a:gd name="connsiteX5104" fmla="*/ 6022144 w 12243467"/>
              <a:gd name="connsiteY5104" fmla="*/ 4122231 h 4565177"/>
              <a:gd name="connsiteX5105" fmla="*/ 5978167 w 12243467"/>
              <a:gd name="connsiteY5105" fmla="*/ 4124254 h 4565177"/>
              <a:gd name="connsiteX5106" fmla="*/ 5953826 w 12243467"/>
              <a:gd name="connsiteY5106" fmla="*/ 4114746 h 4565177"/>
              <a:gd name="connsiteX5107" fmla="*/ 5964890 w 12243467"/>
              <a:gd name="connsiteY5107" fmla="*/ 4118185 h 4565177"/>
              <a:gd name="connsiteX5108" fmla="*/ 5937784 w 12243467"/>
              <a:gd name="connsiteY5108" fmla="*/ 4122130 h 4565177"/>
              <a:gd name="connsiteX5109" fmla="*/ 5912338 w 12243467"/>
              <a:gd name="connsiteY5109" fmla="*/ 4116971 h 4565177"/>
              <a:gd name="connsiteX5110" fmla="*/ 5896295 w 12243467"/>
              <a:gd name="connsiteY5110" fmla="*/ 4112925 h 4565177"/>
              <a:gd name="connsiteX5111" fmla="*/ 5774320 w 12243467"/>
              <a:gd name="connsiteY5111" fmla="*/ 4119904 h 4565177"/>
              <a:gd name="connsiteX5112" fmla="*/ 5764085 w 12243467"/>
              <a:gd name="connsiteY5112" fmla="*/ 4112014 h 4565177"/>
              <a:gd name="connsiteX5113" fmla="*/ 5740852 w 12243467"/>
              <a:gd name="connsiteY5113" fmla="*/ 4107159 h 4565177"/>
              <a:gd name="connsiteX5114" fmla="*/ 5717896 w 12243467"/>
              <a:gd name="connsiteY5114" fmla="*/ 4113734 h 4565177"/>
              <a:gd name="connsiteX5115" fmla="*/ 5678342 w 12243467"/>
              <a:gd name="connsiteY5115" fmla="*/ 4107058 h 4565177"/>
              <a:gd name="connsiteX5116" fmla="*/ 5686640 w 12243467"/>
              <a:gd name="connsiteY5116" fmla="*/ 4101090 h 4565177"/>
              <a:gd name="connsiteX5117" fmla="*/ 5808063 w 12243467"/>
              <a:gd name="connsiteY5117" fmla="*/ 4107665 h 4565177"/>
              <a:gd name="connsiteX5118" fmla="*/ 5823829 w 12243467"/>
              <a:gd name="connsiteY5118" fmla="*/ 4102607 h 4565177"/>
              <a:gd name="connsiteX5119" fmla="*/ 6008867 w 12243467"/>
              <a:gd name="connsiteY5119" fmla="*/ 4091177 h 4565177"/>
              <a:gd name="connsiteX5120" fmla="*/ 6012740 w 12243467"/>
              <a:gd name="connsiteY5120" fmla="*/ 4084804 h 4565177"/>
              <a:gd name="connsiteX5121" fmla="*/ 6189481 w 12243467"/>
              <a:gd name="connsiteY5121" fmla="*/ 4042927 h 4565177"/>
              <a:gd name="connsiteX5122" fmla="*/ 6133609 w 12243467"/>
              <a:gd name="connsiteY5122" fmla="*/ 4057291 h 4565177"/>
              <a:gd name="connsiteX5123" fmla="*/ 6098482 w 12243467"/>
              <a:gd name="connsiteY5123" fmla="*/ 4053346 h 4565177"/>
              <a:gd name="connsiteX5124" fmla="*/ 6128631 w 12243467"/>
              <a:gd name="connsiteY5124" fmla="*/ 4047580 h 4565177"/>
              <a:gd name="connsiteX5125" fmla="*/ 6121439 w 12243467"/>
              <a:gd name="connsiteY5125" fmla="*/ 4035442 h 4565177"/>
              <a:gd name="connsiteX5126" fmla="*/ 6133609 w 12243467"/>
              <a:gd name="connsiteY5126" fmla="*/ 4045962 h 4565177"/>
              <a:gd name="connsiteX5127" fmla="*/ 6136375 w 12243467"/>
              <a:gd name="connsiteY5127" fmla="*/ 4032509 h 4565177"/>
              <a:gd name="connsiteX5128" fmla="*/ 6173438 w 12243467"/>
              <a:gd name="connsiteY5128" fmla="*/ 4027552 h 4565177"/>
              <a:gd name="connsiteX5129" fmla="*/ 6172332 w 12243467"/>
              <a:gd name="connsiteY5129" fmla="*/ 4009142 h 4565177"/>
              <a:gd name="connsiteX5130" fmla="*/ 6128907 w 12243467"/>
              <a:gd name="connsiteY5130" fmla="*/ 4009041 h 4565177"/>
              <a:gd name="connsiteX5131" fmla="*/ 6125588 w 12243467"/>
              <a:gd name="connsiteY5131" fmla="*/ 4001758 h 4565177"/>
              <a:gd name="connsiteX5132" fmla="*/ 6154630 w 12243467"/>
              <a:gd name="connsiteY5132" fmla="*/ 3989114 h 4565177"/>
              <a:gd name="connsiteX5133" fmla="*/ 6156013 w 12243467"/>
              <a:gd name="connsiteY5133" fmla="*/ 3982337 h 4565177"/>
              <a:gd name="connsiteX5134" fmla="*/ 6138588 w 12243467"/>
              <a:gd name="connsiteY5134" fmla="*/ 3973638 h 4565177"/>
              <a:gd name="connsiteX5135" fmla="*/ 6043994 w 12243467"/>
              <a:gd name="connsiteY5135" fmla="*/ 3988204 h 4565177"/>
              <a:gd name="connsiteX5136" fmla="*/ 6105397 w 12243467"/>
              <a:gd name="connsiteY5136" fmla="*/ 3958566 h 4565177"/>
              <a:gd name="connsiteX5137" fmla="*/ 6103184 w 12243467"/>
              <a:gd name="connsiteY5137" fmla="*/ 3969693 h 4565177"/>
              <a:gd name="connsiteX5138" fmla="*/ 6136375 w 12243467"/>
              <a:gd name="connsiteY5138" fmla="*/ 3959780 h 4565177"/>
              <a:gd name="connsiteX5139" fmla="*/ 6141630 w 12243467"/>
              <a:gd name="connsiteY5139" fmla="*/ 3946630 h 4565177"/>
              <a:gd name="connsiteX5140" fmla="*/ 6151864 w 12243467"/>
              <a:gd name="connsiteY5140" fmla="*/ 3954621 h 4565177"/>
              <a:gd name="connsiteX5141" fmla="*/ 6384477 w 12243467"/>
              <a:gd name="connsiteY5141" fmla="*/ 3875722 h 4565177"/>
              <a:gd name="connsiteX5142" fmla="*/ 6394987 w 12243467"/>
              <a:gd name="connsiteY5142" fmla="*/ 3858729 h 4565177"/>
              <a:gd name="connsiteX5143" fmla="*/ 6443114 w 12243467"/>
              <a:gd name="connsiteY5143" fmla="*/ 3848007 h 4565177"/>
              <a:gd name="connsiteX5144" fmla="*/ 6440901 w 12243467"/>
              <a:gd name="connsiteY5144" fmla="*/ 3834149 h 4565177"/>
              <a:gd name="connsiteX5145" fmla="*/ 6515580 w 12243467"/>
              <a:gd name="connsiteY5145" fmla="*/ 3810479 h 4565177"/>
              <a:gd name="connsiteX5146" fmla="*/ 6515857 w 12243467"/>
              <a:gd name="connsiteY5146" fmla="*/ 3796925 h 4565177"/>
              <a:gd name="connsiteX5147" fmla="*/ 6471879 w 12243467"/>
              <a:gd name="connsiteY5147" fmla="*/ 3823932 h 4565177"/>
              <a:gd name="connsiteX5148" fmla="*/ 6394157 w 12243467"/>
              <a:gd name="connsiteY5148" fmla="*/ 3851648 h 4565177"/>
              <a:gd name="connsiteX5149" fmla="*/ 6319201 w 12243467"/>
              <a:gd name="connsiteY5149" fmla="*/ 3877543 h 4565177"/>
              <a:gd name="connsiteX5150" fmla="*/ 6274947 w 12243467"/>
              <a:gd name="connsiteY5150" fmla="*/ 3893222 h 4565177"/>
              <a:gd name="connsiteX5151" fmla="*/ 6166524 w 12243467"/>
              <a:gd name="connsiteY5151" fmla="*/ 3917600 h 4565177"/>
              <a:gd name="connsiteX5152" fmla="*/ 6170396 w 12243467"/>
              <a:gd name="connsiteY5152" fmla="*/ 3911126 h 4565177"/>
              <a:gd name="connsiteX5153" fmla="*/ 6111482 w 12243467"/>
              <a:gd name="connsiteY5153" fmla="*/ 3915981 h 4565177"/>
              <a:gd name="connsiteX5154" fmla="*/ 6108716 w 12243467"/>
              <a:gd name="connsiteY5154" fmla="*/ 3906574 h 4565177"/>
              <a:gd name="connsiteX5155" fmla="*/ 6080504 w 12243467"/>
              <a:gd name="connsiteY5155" fmla="*/ 3914868 h 4565177"/>
              <a:gd name="connsiteX5156" fmla="*/ 6030165 w 12243467"/>
              <a:gd name="connsiteY5156" fmla="*/ 3925287 h 4565177"/>
              <a:gd name="connsiteX5157" fmla="*/ 6041782 w 12243467"/>
              <a:gd name="connsiteY5157" fmla="*/ 3916588 h 4565177"/>
              <a:gd name="connsiteX5158" fmla="*/ 6043994 w 12243467"/>
              <a:gd name="connsiteY5158" fmla="*/ 3915576 h 4565177"/>
              <a:gd name="connsiteX5159" fmla="*/ 6036803 w 12243467"/>
              <a:gd name="connsiteY5159" fmla="*/ 3915779 h 4565177"/>
              <a:gd name="connsiteX5160" fmla="*/ 6027399 w 12243467"/>
              <a:gd name="connsiteY5160" fmla="*/ 3916183 h 4565177"/>
              <a:gd name="connsiteX5161" fmla="*/ 6010803 w 12243467"/>
              <a:gd name="connsiteY5161" fmla="*/ 3923770 h 4565177"/>
              <a:gd name="connsiteX5162" fmla="*/ 6007209 w 12243467"/>
              <a:gd name="connsiteY5162" fmla="*/ 3935908 h 4565177"/>
              <a:gd name="connsiteX5163" fmla="*/ 5994485 w 12243467"/>
              <a:gd name="connsiteY5163" fmla="*/ 3942786 h 4565177"/>
              <a:gd name="connsiteX5164" fmla="*/ 5877210 w 12243467"/>
              <a:gd name="connsiteY5164" fmla="*/ 3972728 h 4565177"/>
              <a:gd name="connsiteX5165" fmla="*/ 5868083 w 12243467"/>
              <a:gd name="connsiteY5165" fmla="*/ 3981831 h 4565177"/>
              <a:gd name="connsiteX5166" fmla="*/ 5715129 w 12243467"/>
              <a:gd name="connsiteY5166" fmla="*/ 4014301 h 4565177"/>
              <a:gd name="connsiteX5167" fmla="*/ 5634919 w 12243467"/>
              <a:gd name="connsiteY5167" fmla="*/ 4031295 h 4565177"/>
              <a:gd name="connsiteX5168" fmla="*/ 5463432 w 12243467"/>
              <a:gd name="connsiteY5168" fmla="*/ 4064776 h 4565177"/>
              <a:gd name="connsiteX5169" fmla="*/ 5467304 w 12243467"/>
              <a:gd name="connsiteY5169" fmla="*/ 4072666 h 4565177"/>
              <a:gd name="connsiteX5170" fmla="*/ 5433561 w 12243467"/>
              <a:gd name="connsiteY5170" fmla="*/ 4067710 h 4565177"/>
              <a:gd name="connsiteX5171" fmla="*/ 5377689 w 12243467"/>
              <a:gd name="connsiteY5171" fmla="*/ 4078533 h 4565177"/>
              <a:gd name="connsiteX5172" fmla="*/ 5366072 w 12243467"/>
              <a:gd name="connsiteY5172" fmla="*/ 4069328 h 4565177"/>
              <a:gd name="connsiteX5173" fmla="*/ 5351689 w 12243467"/>
              <a:gd name="connsiteY5173" fmla="*/ 4086524 h 4565177"/>
              <a:gd name="connsiteX5174" fmla="*/ 5340349 w 12243467"/>
              <a:gd name="connsiteY5174" fmla="*/ 4088648 h 4565177"/>
              <a:gd name="connsiteX5175" fmla="*/ 5316009 w 12243467"/>
              <a:gd name="connsiteY5175" fmla="*/ 4083388 h 4565177"/>
              <a:gd name="connsiteX5176" fmla="*/ 5317945 w 12243467"/>
              <a:gd name="connsiteY5176" fmla="*/ 4090267 h 4565177"/>
              <a:gd name="connsiteX5177" fmla="*/ 5314350 w 12243467"/>
              <a:gd name="connsiteY5177" fmla="*/ 4093706 h 4565177"/>
              <a:gd name="connsiteX5178" fmla="*/ 5239394 w 12243467"/>
              <a:gd name="connsiteY5178" fmla="*/ 4091076 h 4565177"/>
              <a:gd name="connsiteX5179" fmla="*/ 5235798 w 12243467"/>
              <a:gd name="connsiteY5179" fmla="*/ 4097550 h 4565177"/>
              <a:gd name="connsiteX5180" fmla="*/ 5153374 w 12243467"/>
              <a:gd name="connsiteY5180" fmla="*/ 4102101 h 4565177"/>
              <a:gd name="connsiteX5181" fmla="*/ 4966123 w 12243467"/>
              <a:gd name="connsiteY5181" fmla="*/ 4101090 h 4565177"/>
              <a:gd name="connsiteX5182" fmla="*/ 4960592 w 12243467"/>
              <a:gd name="connsiteY5182" fmla="*/ 4112318 h 4565177"/>
              <a:gd name="connsiteX5183" fmla="*/ 4945380 w 12243467"/>
              <a:gd name="connsiteY5183" fmla="*/ 4100787 h 4565177"/>
              <a:gd name="connsiteX5184" fmla="*/ 4887572 w 12243467"/>
              <a:gd name="connsiteY5184" fmla="*/ 4102101 h 4565177"/>
              <a:gd name="connsiteX5185" fmla="*/ 4875955 w 12243467"/>
              <a:gd name="connsiteY5185" fmla="*/ 4098460 h 4565177"/>
              <a:gd name="connsiteX5186" fmla="*/ 4868764 w 12243467"/>
              <a:gd name="connsiteY5186" fmla="*/ 4105642 h 4565177"/>
              <a:gd name="connsiteX5187" fmla="*/ 4885635 w 12243467"/>
              <a:gd name="connsiteY5187" fmla="*/ 4109587 h 4565177"/>
              <a:gd name="connsiteX5188" fmla="*/ 4859360 w 12243467"/>
              <a:gd name="connsiteY5188" fmla="*/ 4108980 h 4565177"/>
              <a:gd name="connsiteX5189" fmla="*/ 4862955 w 12243467"/>
              <a:gd name="connsiteY5189" fmla="*/ 4099674 h 4565177"/>
              <a:gd name="connsiteX5190" fmla="*/ 4838615 w 12243467"/>
              <a:gd name="connsiteY5190" fmla="*/ 4097246 h 4565177"/>
              <a:gd name="connsiteX5191" fmla="*/ 4844423 w 12243467"/>
              <a:gd name="connsiteY5191" fmla="*/ 4106148 h 4565177"/>
              <a:gd name="connsiteX5192" fmla="*/ 4833083 w 12243467"/>
              <a:gd name="connsiteY5192" fmla="*/ 4099775 h 4565177"/>
              <a:gd name="connsiteX5193" fmla="*/ 4769191 w 12243467"/>
              <a:gd name="connsiteY5193" fmla="*/ 4097651 h 4565177"/>
              <a:gd name="connsiteX5194" fmla="*/ 4731575 w 12243467"/>
              <a:gd name="connsiteY5194" fmla="*/ 4090671 h 4565177"/>
              <a:gd name="connsiteX5195" fmla="*/ 4673491 w 12243467"/>
              <a:gd name="connsiteY5195" fmla="*/ 4080455 h 4565177"/>
              <a:gd name="connsiteX5196" fmla="*/ 4620939 w 12243467"/>
              <a:gd name="connsiteY5196" fmla="*/ 4084906 h 4565177"/>
              <a:gd name="connsiteX5197" fmla="*/ 4530494 w 12243467"/>
              <a:gd name="connsiteY5197" fmla="*/ 4056482 h 4565177"/>
              <a:gd name="connsiteX5198" fmla="*/ 4515558 w 12243467"/>
              <a:gd name="connsiteY5198" fmla="*/ 4062247 h 4565177"/>
              <a:gd name="connsiteX5199" fmla="*/ 4404369 w 12243467"/>
              <a:gd name="connsiteY5199" fmla="*/ 4033621 h 4565177"/>
              <a:gd name="connsiteX5200" fmla="*/ 4413497 w 12243467"/>
              <a:gd name="connsiteY5200" fmla="*/ 4021786 h 4565177"/>
              <a:gd name="connsiteX5201" fmla="*/ 4393029 w 12243467"/>
              <a:gd name="connsiteY5201" fmla="*/ 4027148 h 4565177"/>
              <a:gd name="connsiteX5202" fmla="*/ 4355137 w 12243467"/>
              <a:gd name="connsiteY5202" fmla="*/ 4014402 h 4565177"/>
              <a:gd name="connsiteX5203" fmla="*/ 4379476 w 12243467"/>
              <a:gd name="connsiteY5203" fmla="*/ 4005400 h 4565177"/>
              <a:gd name="connsiteX5204" fmla="*/ 4398285 w 12243467"/>
              <a:gd name="connsiteY5204" fmla="*/ 4010356 h 4565177"/>
              <a:gd name="connsiteX5205" fmla="*/ 4405200 w 12243467"/>
              <a:gd name="connsiteY5205" fmla="*/ 3988912 h 4565177"/>
              <a:gd name="connsiteX5206" fmla="*/ 4441155 w 12243467"/>
              <a:gd name="connsiteY5206" fmla="*/ 4000646 h 4565177"/>
              <a:gd name="connsiteX5207" fmla="*/ 4523856 w 12243467"/>
              <a:gd name="connsiteY5207" fmla="*/ 4013290 h 4565177"/>
              <a:gd name="connsiteX5208" fmla="*/ 4561472 w 12243467"/>
              <a:gd name="connsiteY5208" fmla="*/ 4020370 h 4565177"/>
              <a:gd name="connsiteX5209" fmla="*/ 4623428 w 12243467"/>
              <a:gd name="connsiteY5209" fmla="*/ 4026945 h 4565177"/>
              <a:gd name="connsiteX5210" fmla="*/ 4623428 w 12243467"/>
              <a:gd name="connsiteY5210" fmla="*/ 4035543 h 4565177"/>
              <a:gd name="connsiteX5211" fmla="*/ 4664917 w 12243467"/>
              <a:gd name="connsiteY5211" fmla="*/ 4036150 h 4565177"/>
              <a:gd name="connsiteX5212" fmla="*/ 4710001 w 12243467"/>
              <a:gd name="connsiteY5212" fmla="*/ 4041714 h 4565177"/>
              <a:gd name="connsiteX5213" fmla="*/ 4765204 w 12243467"/>
              <a:gd name="connsiteY5213" fmla="*/ 4054207 h 4565177"/>
              <a:gd name="connsiteX5214" fmla="*/ 4767732 w 12243467"/>
              <a:gd name="connsiteY5214" fmla="*/ 4051099 h 4565177"/>
              <a:gd name="connsiteX5215" fmla="*/ 4767554 w 12243467"/>
              <a:gd name="connsiteY5215" fmla="*/ 4054739 h 4565177"/>
              <a:gd name="connsiteX5216" fmla="*/ 4778215 w 12243467"/>
              <a:gd name="connsiteY5216" fmla="*/ 4057152 h 4565177"/>
              <a:gd name="connsiteX5217" fmla="*/ 4798106 w 12243467"/>
              <a:gd name="connsiteY5217" fmla="*/ 4056050 h 4565177"/>
              <a:gd name="connsiteX5218" fmla="*/ 4817656 w 12243467"/>
              <a:gd name="connsiteY5218" fmla="*/ 4044739 h 4565177"/>
              <a:gd name="connsiteX5219" fmla="*/ 4852645 w 12243467"/>
              <a:gd name="connsiteY5219" fmla="*/ 4032386 h 4565177"/>
              <a:gd name="connsiteX5220" fmla="*/ 4857347 w 12243467"/>
              <a:gd name="connsiteY5220" fmla="*/ 4017820 h 4565177"/>
              <a:gd name="connsiteX5221" fmla="*/ 4864538 w 12243467"/>
              <a:gd name="connsiteY5221" fmla="*/ 4018123 h 4565177"/>
              <a:gd name="connsiteX5222" fmla="*/ 4862880 w 12243467"/>
              <a:gd name="connsiteY5222" fmla="*/ 4020753 h 4565177"/>
              <a:gd name="connsiteX5223" fmla="*/ 4873667 w 12243467"/>
              <a:gd name="connsiteY5223" fmla="*/ 4034814 h 4565177"/>
              <a:gd name="connsiteX5224" fmla="*/ 4830657 w 12243467"/>
              <a:gd name="connsiteY5224" fmla="*/ 4045384 h 4565177"/>
              <a:gd name="connsiteX5225" fmla="*/ 4810130 w 12243467"/>
              <a:gd name="connsiteY5225" fmla="*/ 4055384 h 4565177"/>
              <a:gd name="connsiteX5226" fmla="*/ 4821438 w 12243467"/>
              <a:gd name="connsiteY5226" fmla="*/ 4054757 h 4565177"/>
              <a:gd name="connsiteX5227" fmla="*/ 4859913 w 12243467"/>
              <a:gd name="connsiteY5227" fmla="*/ 4044141 h 4565177"/>
              <a:gd name="connsiteX5228" fmla="*/ 4869318 w 12243467"/>
              <a:gd name="connsiteY5228" fmla="*/ 4052436 h 4565177"/>
              <a:gd name="connsiteX5229" fmla="*/ 4867104 w 12243467"/>
              <a:gd name="connsiteY5229" fmla="*/ 4042725 h 4565177"/>
              <a:gd name="connsiteX5230" fmla="*/ 5007888 w 12243467"/>
              <a:gd name="connsiteY5230" fmla="*/ 4048491 h 4565177"/>
              <a:gd name="connsiteX5231" fmla="*/ 4996825 w 12243467"/>
              <a:gd name="connsiteY5231" fmla="*/ 4056279 h 4565177"/>
              <a:gd name="connsiteX5232" fmla="*/ 5041633 w 12243467"/>
              <a:gd name="connsiteY5232" fmla="*/ 4047682 h 4565177"/>
              <a:gd name="connsiteX5233" fmla="*/ 5075376 w 12243467"/>
              <a:gd name="connsiteY5233" fmla="*/ 4049705 h 4565177"/>
              <a:gd name="connsiteX5234" fmla="*/ 5066250 w 12243467"/>
              <a:gd name="connsiteY5234" fmla="*/ 4055875 h 4565177"/>
              <a:gd name="connsiteX5235" fmla="*/ 5094185 w 12243467"/>
              <a:gd name="connsiteY5235" fmla="*/ 4057493 h 4565177"/>
              <a:gd name="connsiteX5236" fmla="*/ 5088376 w 12243467"/>
              <a:gd name="connsiteY5236" fmla="*/ 4048491 h 4565177"/>
              <a:gd name="connsiteX5237" fmla="*/ 5124056 w 12243467"/>
              <a:gd name="connsiteY5237" fmla="*/ 4048794 h 4565177"/>
              <a:gd name="connsiteX5238" fmla="*/ 5105248 w 12243467"/>
              <a:gd name="connsiteY5238" fmla="*/ 4049603 h 4565177"/>
              <a:gd name="connsiteX5239" fmla="*/ 5105524 w 12243467"/>
              <a:gd name="connsiteY5239" fmla="*/ 4058201 h 4565177"/>
              <a:gd name="connsiteX5240" fmla="*/ 5137056 w 12243467"/>
              <a:gd name="connsiteY5240" fmla="*/ 4044849 h 4565177"/>
              <a:gd name="connsiteX5241" fmla="*/ 5135397 w 12243467"/>
              <a:gd name="connsiteY5241" fmla="*/ 4055268 h 4565177"/>
              <a:gd name="connsiteX5242" fmla="*/ 5301627 w 12243467"/>
              <a:gd name="connsiteY5242" fmla="*/ 4035847 h 4565177"/>
              <a:gd name="connsiteX5243" fmla="*/ 5311307 w 12243467"/>
              <a:gd name="connsiteY5243" fmla="*/ 4046872 h 4565177"/>
              <a:gd name="connsiteX5244" fmla="*/ 5344498 w 12243467"/>
              <a:gd name="connsiteY5244" fmla="*/ 4028867 h 4565177"/>
              <a:gd name="connsiteX5245" fmla="*/ 5437987 w 12243467"/>
              <a:gd name="connsiteY5245" fmla="*/ 4013694 h 4565177"/>
              <a:gd name="connsiteX5246" fmla="*/ 5715958 w 12243467"/>
              <a:gd name="connsiteY5246" fmla="*/ 3966861 h 4565177"/>
              <a:gd name="connsiteX5247" fmla="*/ 5896295 w 12243467"/>
              <a:gd name="connsiteY5247" fmla="*/ 3913048 h 4565177"/>
              <a:gd name="connsiteX5248" fmla="*/ 5922571 w 12243467"/>
              <a:gd name="connsiteY5248" fmla="*/ 3913655 h 4565177"/>
              <a:gd name="connsiteX5249" fmla="*/ 5920358 w 12243467"/>
              <a:gd name="connsiteY5249" fmla="*/ 3903944 h 4565177"/>
              <a:gd name="connsiteX5250" fmla="*/ 5969038 w 12243467"/>
              <a:gd name="connsiteY5250" fmla="*/ 3894537 h 4565177"/>
              <a:gd name="connsiteX5251" fmla="*/ 5979825 w 12243467"/>
              <a:gd name="connsiteY5251" fmla="*/ 3880982 h 4565177"/>
              <a:gd name="connsiteX5252" fmla="*/ 5987293 w 12243467"/>
              <a:gd name="connsiteY5252" fmla="*/ 3882398 h 4565177"/>
              <a:gd name="connsiteX5253" fmla="*/ 6094887 w 12243467"/>
              <a:gd name="connsiteY5253" fmla="*/ 3832733 h 4565177"/>
              <a:gd name="connsiteX5254" fmla="*/ 6141354 w 12243467"/>
              <a:gd name="connsiteY5254" fmla="*/ 3822213 h 4565177"/>
              <a:gd name="connsiteX5255" fmla="*/ 6155183 w 12243467"/>
              <a:gd name="connsiteY5255" fmla="*/ 3812704 h 4565177"/>
              <a:gd name="connsiteX5256" fmla="*/ 6155737 w 12243467"/>
              <a:gd name="connsiteY5256" fmla="*/ 3812300 h 4565177"/>
              <a:gd name="connsiteX5257" fmla="*/ 6142184 w 12243467"/>
              <a:gd name="connsiteY5257" fmla="*/ 3810783 h 4565177"/>
              <a:gd name="connsiteX5258" fmla="*/ 6148269 w 12243467"/>
              <a:gd name="connsiteY5258" fmla="*/ 3804107 h 4565177"/>
              <a:gd name="connsiteX5259" fmla="*/ 6156013 w 12243467"/>
              <a:gd name="connsiteY5259" fmla="*/ 3812199 h 4565177"/>
              <a:gd name="connsiteX5260" fmla="*/ 6169013 w 12243467"/>
              <a:gd name="connsiteY5260" fmla="*/ 3801072 h 4565177"/>
              <a:gd name="connsiteX5261" fmla="*/ 6200544 w 12243467"/>
              <a:gd name="connsiteY5261" fmla="*/ 3792171 h 4565177"/>
              <a:gd name="connsiteX5262" fmla="*/ 6214097 w 12243467"/>
              <a:gd name="connsiteY5262" fmla="*/ 3783471 h 4565177"/>
              <a:gd name="connsiteX5263" fmla="*/ 6210501 w 12243467"/>
              <a:gd name="connsiteY5263" fmla="*/ 3781246 h 4565177"/>
              <a:gd name="connsiteX5264" fmla="*/ 6220459 w 12243467"/>
              <a:gd name="connsiteY5264" fmla="*/ 3779526 h 4565177"/>
              <a:gd name="connsiteX5265" fmla="*/ 6225990 w 12243467"/>
              <a:gd name="connsiteY5265" fmla="*/ 3775986 h 4565177"/>
              <a:gd name="connsiteX5266" fmla="*/ 6227373 w 12243467"/>
              <a:gd name="connsiteY5266" fmla="*/ 3775076 h 4565177"/>
              <a:gd name="connsiteX5267" fmla="*/ 6230416 w 12243467"/>
              <a:gd name="connsiteY5267" fmla="*/ 3767591 h 4565177"/>
              <a:gd name="connsiteX5268" fmla="*/ 6240373 w 12243467"/>
              <a:gd name="connsiteY5268" fmla="*/ 3766377 h 4565177"/>
              <a:gd name="connsiteX5269" fmla="*/ 6240650 w 12243467"/>
              <a:gd name="connsiteY5269" fmla="*/ 3766882 h 4565177"/>
              <a:gd name="connsiteX5270" fmla="*/ 6250607 w 12243467"/>
              <a:gd name="connsiteY5270" fmla="*/ 3760510 h 4565177"/>
              <a:gd name="connsiteX5271" fmla="*/ 6280202 w 12243467"/>
              <a:gd name="connsiteY5271" fmla="*/ 3753530 h 4565177"/>
              <a:gd name="connsiteX5272" fmla="*/ 6311457 w 12243467"/>
              <a:gd name="connsiteY5272" fmla="*/ 3731985 h 4565177"/>
              <a:gd name="connsiteX5273" fmla="*/ 6316989 w 12243467"/>
              <a:gd name="connsiteY5273" fmla="*/ 3729254 h 4565177"/>
              <a:gd name="connsiteX5274" fmla="*/ 6229310 w 12243467"/>
              <a:gd name="connsiteY5274" fmla="*/ 3762735 h 4565177"/>
              <a:gd name="connsiteX5275" fmla="*/ 6178140 w 12243467"/>
              <a:gd name="connsiteY5275" fmla="*/ 3780538 h 4565177"/>
              <a:gd name="connsiteX5276" fmla="*/ 6146056 w 12243467"/>
              <a:gd name="connsiteY5276" fmla="*/ 3787619 h 4565177"/>
              <a:gd name="connsiteX5277" fmla="*/ 6145226 w 12243467"/>
              <a:gd name="connsiteY5277" fmla="*/ 3788023 h 4565177"/>
              <a:gd name="connsiteX5278" fmla="*/ 6133333 w 12243467"/>
              <a:gd name="connsiteY5278" fmla="*/ 3797936 h 4565177"/>
              <a:gd name="connsiteX5279" fmla="*/ 6001399 w 12243467"/>
              <a:gd name="connsiteY5279" fmla="*/ 3839409 h 4565177"/>
              <a:gd name="connsiteX5280" fmla="*/ 5934466 w 12243467"/>
              <a:gd name="connsiteY5280" fmla="*/ 3869653 h 4565177"/>
              <a:gd name="connsiteX5281" fmla="*/ 5869466 w 12243467"/>
              <a:gd name="connsiteY5281" fmla="*/ 3889479 h 4565177"/>
              <a:gd name="connsiteX5282" fmla="*/ 5823000 w 12243467"/>
              <a:gd name="connsiteY5282" fmla="*/ 3905664 h 4565177"/>
              <a:gd name="connsiteX5283" fmla="*/ 5776532 w 12243467"/>
              <a:gd name="connsiteY5283" fmla="*/ 3919016 h 4565177"/>
              <a:gd name="connsiteX5284" fmla="*/ 5601174 w 12243467"/>
              <a:gd name="connsiteY5284" fmla="*/ 3953104 h 4565177"/>
              <a:gd name="connsiteX5285" fmla="*/ 5597855 w 12243467"/>
              <a:gd name="connsiteY5285" fmla="*/ 3962410 h 4565177"/>
              <a:gd name="connsiteX5286" fmla="*/ 5573516 w 12243467"/>
              <a:gd name="connsiteY5286" fmla="*/ 3962815 h 4565177"/>
              <a:gd name="connsiteX5287" fmla="*/ 5409220 w 12243467"/>
              <a:gd name="connsiteY5287" fmla="*/ 3989114 h 4565177"/>
              <a:gd name="connsiteX5288" fmla="*/ 5401752 w 12243467"/>
              <a:gd name="connsiteY5288" fmla="*/ 3987597 h 4565177"/>
              <a:gd name="connsiteX5289" fmla="*/ 5392625 w 12243467"/>
              <a:gd name="connsiteY5289" fmla="*/ 3993767 h 4565177"/>
              <a:gd name="connsiteX5290" fmla="*/ 5353349 w 12243467"/>
              <a:gd name="connsiteY5290" fmla="*/ 3997004 h 4565177"/>
              <a:gd name="connsiteX5291" fmla="*/ 5235245 w 12243467"/>
              <a:gd name="connsiteY5291" fmla="*/ 4001354 h 4565177"/>
              <a:gd name="connsiteX5292" fmla="*/ 5220309 w 12243467"/>
              <a:gd name="connsiteY5292" fmla="*/ 4007119 h 4565177"/>
              <a:gd name="connsiteX5293" fmla="*/ 5203437 w 12243467"/>
              <a:gd name="connsiteY5293" fmla="*/ 4000342 h 4565177"/>
              <a:gd name="connsiteX5294" fmla="*/ 5166098 w 12243467"/>
              <a:gd name="connsiteY5294" fmla="*/ 4001859 h 4565177"/>
              <a:gd name="connsiteX5295" fmla="*/ 5167481 w 12243467"/>
              <a:gd name="connsiteY5295" fmla="*/ 3988710 h 4565177"/>
              <a:gd name="connsiteX5296" fmla="*/ 5158630 w 12243467"/>
              <a:gd name="connsiteY5296" fmla="*/ 4003377 h 4565177"/>
              <a:gd name="connsiteX5297" fmla="*/ 5139545 w 12243467"/>
              <a:gd name="connsiteY5297" fmla="*/ 3992655 h 4565177"/>
              <a:gd name="connsiteX5298" fmla="*/ 5100269 w 12243467"/>
              <a:gd name="connsiteY5298" fmla="*/ 3998926 h 4565177"/>
              <a:gd name="connsiteX5299" fmla="*/ 5077865 w 12243467"/>
              <a:gd name="connsiteY5299" fmla="*/ 4003174 h 4565177"/>
              <a:gd name="connsiteX5300" fmla="*/ 5076206 w 12243467"/>
              <a:gd name="connsiteY5300" fmla="*/ 4010761 h 4565177"/>
              <a:gd name="connsiteX5301" fmla="*/ 5057674 w 12243467"/>
              <a:gd name="connsiteY5301" fmla="*/ 4014301 h 4565177"/>
              <a:gd name="connsiteX5302" fmla="*/ 5025867 w 12243467"/>
              <a:gd name="connsiteY5302" fmla="*/ 4013391 h 4565177"/>
              <a:gd name="connsiteX5303" fmla="*/ 5023654 w 12243467"/>
              <a:gd name="connsiteY5303" fmla="*/ 4003680 h 4565177"/>
              <a:gd name="connsiteX5304" fmla="*/ 4997654 w 12243467"/>
              <a:gd name="connsiteY5304" fmla="*/ 4014504 h 4565177"/>
              <a:gd name="connsiteX5305" fmla="*/ 4980782 w 12243467"/>
              <a:gd name="connsiteY5305" fmla="*/ 4010660 h 4565177"/>
              <a:gd name="connsiteX5306" fmla="*/ 4937489 w 12243467"/>
              <a:gd name="connsiteY5306" fmla="*/ 4011736 h 4565177"/>
              <a:gd name="connsiteX5307" fmla="*/ 4915154 w 12243467"/>
              <a:gd name="connsiteY5307" fmla="*/ 4021057 h 4565177"/>
              <a:gd name="connsiteX5308" fmla="*/ 4917870 w 12243467"/>
              <a:gd name="connsiteY5308" fmla="*/ 4011788 h 4565177"/>
              <a:gd name="connsiteX5309" fmla="*/ 4901708 w 12243467"/>
              <a:gd name="connsiteY5309" fmla="*/ 4011485 h 4565177"/>
              <a:gd name="connsiteX5310" fmla="*/ 4877615 w 12243467"/>
              <a:gd name="connsiteY5310" fmla="*/ 4006310 h 4565177"/>
              <a:gd name="connsiteX5311" fmla="*/ 4861019 w 12243467"/>
              <a:gd name="connsiteY5311" fmla="*/ 4010963 h 4565177"/>
              <a:gd name="connsiteX5312" fmla="*/ 4755638 w 12243467"/>
              <a:gd name="connsiteY5312" fmla="*/ 3994071 h 4565177"/>
              <a:gd name="connsiteX5313" fmla="*/ 4740702 w 12243467"/>
              <a:gd name="connsiteY5313" fmla="*/ 3999735 h 4565177"/>
              <a:gd name="connsiteX5314" fmla="*/ 4731022 w 12243467"/>
              <a:gd name="connsiteY5314" fmla="*/ 3983045 h 4565177"/>
              <a:gd name="connsiteX5315" fmla="*/ 4687874 w 12243467"/>
              <a:gd name="connsiteY5315" fmla="*/ 3981427 h 4565177"/>
              <a:gd name="connsiteX5316" fmla="*/ 4658002 w 12243467"/>
              <a:gd name="connsiteY5316" fmla="*/ 3990025 h 4565177"/>
              <a:gd name="connsiteX5317" fmla="*/ 4652193 w 12243467"/>
              <a:gd name="connsiteY5317" fmla="*/ 3981123 h 4565177"/>
              <a:gd name="connsiteX5318" fmla="*/ 4612641 w 12243467"/>
              <a:gd name="connsiteY5318" fmla="*/ 3970098 h 4565177"/>
              <a:gd name="connsiteX5319" fmla="*/ 4569771 w 12243467"/>
              <a:gd name="connsiteY5319" fmla="*/ 3974144 h 4565177"/>
              <a:gd name="connsiteX5320" fmla="*/ 4418752 w 12243467"/>
              <a:gd name="connsiteY5320" fmla="*/ 3925894 h 4565177"/>
              <a:gd name="connsiteX5321" fmla="*/ 4403816 w 12243467"/>
              <a:gd name="connsiteY5321" fmla="*/ 3925894 h 4565177"/>
              <a:gd name="connsiteX5322" fmla="*/ 4489835 w 12243467"/>
              <a:gd name="connsiteY5322" fmla="*/ 3926400 h 4565177"/>
              <a:gd name="connsiteX5323" fmla="*/ 4502558 w 12243467"/>
              <a:gd name="connsiteY5323" fmla="*/ 3911025 h 4565177"/>
              <a:gd name="connsiteX5324" fmla="*/ 4421794 w 12243467"/>
              <a:gd name="connsiteY5324" fmla="*/ 3893728 h 4565177"/>
              <a:gd name="connsiteX5325" fmla="*/ 4402433 w 12243467"/>
              <a:gd name="connsiteY5325" fmla="*/ 3874407 h 4565177"/>
              <a:gd name="connsiteX5326" fmla="*/ 4492878 w 12243467"/>
              <a:gd name="connsiteY5326" fmla="*/ 3897167 h 4565177"/>
              <a:gd name="connsiteX5327" fmla="*/ 4511409 w 12243467"/>
              <a:gd name="connsiteY5327" fmla="*/ 3884927 h 4565177"/>
              <a:gd name="connsiteX5328" fmla="*/ 4502005 w 12243467"/>
              <a:gd name="connsiteY5328" fmla="*/ 3879566 h 4565177"/>
              <a:gd name="connsiteX5329" fmla="*/ 4511133 w 12243467"/>
              <a:gd name="connsiteY5329" fmla="*/ 3876329 h 4565177"/>
              <a:gd name="connsiteX5330" fmla="*/ 4510856 w 12243467"/>
              <a:gd name="connsiteY5330" fmla="*/ 3867731 h 4565177"/>
              <a:gd name="connsiteX5331" fmla="*/ 4479048 w 12243467"/>
              <a:gd name="connsiteY5331" fmla="*/ 3866720 h 4565177"/>
              <a:gd name="connsiteX5332" fmla="*/ 4497580 w 12243467"/>
              <a:gd name="connsiteY5332" fmla="*/ 3851648 h 4565177"/>
              <a:gd name="connsiteX5333" fmla="*/ 4493154 w 12243467"/>
              <a:gd name="connsiteY5333" fmla="*/ 3832328 h 4565177"/>
              <a:gd name="connsiteX5334" fmla="*/ 4504771 w 12243467"/>
              <a:gd name="connsiteY5334" fmla="*/ 3838802 h 4565177"/>
              <a:gd name="connsiteX5335" fmla="*/ 4503111 w 12243467"/>
              <a:gd name="connsiteY5335" fmla="*/ 3851952 h 4565177"/>
              <a:gd name="connsiteX5336" fmla="*/ 4508643 w 12243467"/>
              <a:gd name="connsiteY5336" fmla="*/ 3846591 h 4565177"/>
              <a:gd name="connsiteX5337" fmla="*/ 4518324 w 12243467"/>
              <a:gd name="connsiteY5337" fmla="*/ 3857717 h 4565177"/>
              <a:gd name="connsiteX5338" fmla="*/ 4521643 w 12243467"/>
              <a:gd name="connsiteY5338" fmla="*/ 3845579 h 4565177"/>
              <a:gd name="connsiteX5339" fmla="*/ 4549580 w 12243467"/>
              <a:gd name="connsiteY5339" fmla="*/ 3835767 h 4565177"/>
              <a:gd name="connsiteX5340" fmla="*/ 4561195 w 12243467"/>
              <a:gd name="connsiteY5340" fmla="*/ 3853671 h 4565177"/>
              <a:gd name="connsiteX5341" fmla="*/ 4615960 w 12243467"/>
              <a:gd name="connsiteY5341" fmla="*/ 3867428 h 4565177"/>
              <a:gd name="connsiteX5342" fmla="*/ 4634492 w 12243467"/>
              <a:gd name="connsiteY5342" fmla="*/ 3863888 h 4565177"/>
              <a:gd name="connsiteX5343" fmla="*/ 4623428 w 12243467"/>
              <a:gd name="connsiteY5343" fmla="*/ 3868844 h 4565177"/>
              <a:gd name="connsiteX5344" fmla="*/ 4648045 w 12243467"/>
              <a:gd name="connsiteY5344" fmla="*/ 3877037 h 4565177"/>
              <a:gd name="connsiteX5345" fmla="*/ 4656895 w 12243467"/>
              <a:gd name="connsiteY5345" fmla="*/ 3862370 h 4565177"/>
              <a:gd name="connsiteX5346" fmla="*/ 4666300 w 12243467"/>
              <a:gd name="connsiteY5346" fmla="*/ 3864798 h 4565177"/>
              <a:gd name="connsiteX5347" fmla="*/ 4655236 w 12243467"/>
              <a:gd name="connsiteY5347" fmla="*/ 3872688 h 4565177"/>
              <a:gd name="connsiteX5348" fmla="*/ 4662704 w 12243467"/>
              <a:gd name="connsiteY5348" fmla="*/ 3874104 h 4565177"/>
              <a:gd name="connsiteX5349" fmla="*/ 4666300 w 12243467"/>
              <a:gd name="connsiteY5349" fmla="*/ 3867731 h 4565177"/>
              <a:gd name="connsiteX5350" fmla="*/ 4732128 w 12243467"/>
              <a:gd name="connsiteY5350" fmla="*/ 3876430 h 4565177"/>
              <a:gd name="connsiteX5351" fmla="*/ 4752873 w 12243467"/>
              <a:gd name="connsiteY5351" fmla="*/ 3879566 h 4565177"/>
              <a:gd name="connsiteX5352" fmla="*/ 4756468 w 12243467"/>
              <a:gd name="connsiteY5352" fmla="*/ 3873194 h 4565177"/>
              <a:gd name="connsiteX5353" fmla="*/ 4809020 w 12243467"/>
              <a:gd name="connsiteY5353" fmla="*/ 3880173 h 4565177"/>
              <a:gd name="connsiteX5354" fmla="*/ 4809297 w 12243467"/>
              <a:gd name="connsiteY5354" fmla="*/ 3888670 h 4565177"/>
              <a:gd name="connsiteX5355" fmla="*/ 4823242 w 12243467"/>
              <a:gd name="connsiteY5355" fmla="*/ 3889523 h 4565177"/>
              <a:gd name="connsiteX5356" fmla="*/ 4824156 w 12243467"/>
              <a:gd name="connsiteY5356" fmla="*/ 3888446 h 4565177"/>
              <a:gd name="connsiteX5357" fmla="*/ 4861772 w 12243467"/>
              <a:gd name="connsiteY5357" fmla="*/ 3875397 h 4565177"/>
              <a:gd name="connsiteX5358" fmla="*/ 4864816 w 12243467"/>
              <a:gd name="connsiteY5358" fmla="*/ 3874184 h 4565177"/>
              <a:gd name="connsiteX5359" fmla="*/ 4867304 w 12243467"/>
              <a:gd name="connsiteY5359" fmla="*/ 3876510 h 4565177"/>
              <a:gd name="connsiteX5360" fmla="*/ 4829688 w 12243467"/>
              <a:gd name="connsiteY5360" fmla="*/ 3889660 h 4565177"/>
              <a:gd name="connsiteX5361" fmla="*/ 4829178 w 12243467"/>
              <a:gd name="connsiteY5361" fmla="*/ 3889886 h 4565177"/>
              <a:gd name="connsiteX5362" fmla="*/ 4893656 w 12243467"/>
              <a:gd name="connsiteY5362" fmla="*/ 3893829 h 4565177"/>
              <a:gd name="connsiteX5363" fmla="*/ 4899189 w 12243467"/>
              <a:gd name="connsiteY5363" fmla="*/ 3888468 h 4565177"/>
              <a:gd name="connsiteX5364" fmla="*/ 4900848 w 12243467"/>
              <a:gd name="connsiteY5364" fmla="*/ 3883815 h 4565177"/>
              <a:gd name="connsiteX5365" fmla="*/ 4886189 w 12243467"/>
              <a:gd name="connsiteY5365" fmla="*/ 3886748 h 4565177"/>
              <a:gd name="connsiteX5366" fmla="*/ 4881350 w 12243467"/>
              <a:gd name="connsiteY5366" fmla="*/ 3881776 h 4565177"/>
              <a:gd name="connsiteX5367" fmla="*/ 4879232 w 12243467"/>
              <a:gd name="connsiteY5367" fmla="*/ 3881615 h 4565177"/>
              <a:gd name="connsiteX5368" fmla="*/ 4891367 w 12243467"/>
              <a:gd name="connsiteY5368" fmla="*/ 3861843 h 4565177"/>
              <a:gd name="connsiteX5369" fmla="*/ 4899942 w 12243467"/>
              <a:gd name="connsiteY5369" fmla="*/ 3860629 h 4565177"/>
              <a:gd name="connsiteX5370" fmla="*/ 4909069 w 12243467"/>
              <a:gd name="connsiteY5370" fmla="*/ 3862652 h 4565177"/>
              <a:gd name="connsiteX5371" fmla="*/ 4883070 w 12243467"/>
              <a:gd name="connsiteY5371" fmla="*/ 3872970 h 4565177"/>
              <a:gd name="connsiteX5372" fmla="*/ 4887599 w 12243467"/>
              <a:gd name="connsiteY5372" fmla="*/ 3877737 h 4565177"/>
              <a:gd name="connsiteX5373" fmla="*/ 4889183 w 12243467"/>
              <a:gd name="connsiteY5373" fmla="*/ 3879512 h 4565177"/>
              <a:gd name="connsiteX5374" fmla="*/ 4911358 w 12243467"/>
              <a:gd name="connsiteY5374" fmla="*/ 3876317 h 4565177"/>
              <a:gd name="connsiteX5375" fmla="*/ 4943996 w 12243467"/>
              <a:gd name="connsiteY5375" fmla="*/ 3876936 h 4565177"/>
              <a:gd name="connsiteX5376" fmla="*/ 4943719 w 12243467"/>
              <a:gd name="connsiteY5376" fmla="*/ 3868439 h 4565177"/>
              <a:gd name="connsiteX5377" fmla="*/ 4966183 w 12243467"/>
              <a:gd name="connsiteY5377" fmla="*/ 3869700 h 4565177"/>
              <a:gd name="connsiteX5378" fmla="*/ 4971856 w 12243467"/>
              <a:gd name="connsiteY5378" fmla="*/ 3869429 h 4565177"/>
              <a:gd name="connsiteX5379" fmla="*/ 4974046 w 12243467"/>
              <a:gd name="connsiteY5379" fmla="*/ 3870142 h 4565177"/>
              <a:gd name="connsiteX5380" fmla="*/ 4977292 w 12243467"/>
              <a:gd name="connsiteY5380" fmla="*/ 3870324 h 4565177"/>
              <a:gd name="connsiteX5381" fmla="*/ 5000434 w 12243467"/>
              <a:gd name="connsiteY5381" fmla="*/ 3864887 h 4565177"/>
              <a:gd name="connsiteX5382" fmla="*/ 5002557 w 12243467"/>
              <a:gd name="connsiteY5382" fmla="*/ 3861539 h 4565177"/>
              <a:gd name="connsiteX5383" fmla="*/ 5001146 w 12243467"/>
              <a:gd name="connsiteY5383" fmla="*/ 3864720 h 4565177"/>
              <a:gd name="connsiteX5384" fmla="*/ 5008995 w 12243467"/>
              <a:gd name="connsiteY5384" fmla="*/ 3862876 h 4565177"/>
              <a:gd name="connsiteX5385" fmla="*/ 5008078 w 12243467"/>
              <a:gd name="connsiteY5385" fmla="*/ 3859135 h 4565177"/>
              <a:gd name="connsiteX5386" fmla="*/ 5006982 w 12243467"/>
              <a:gd name="connsiteY5386" fmla="*/ 3859516 h 4565177"/>
              <a:gd name="connsiteX5387" fmla="*/ 5002834 w 12243467"/>
              <a:gd name="connsiteY5387" fmla="*/ 3861135 h 4565177"/>
              <a:gd name="connsiteX5388" fmla="*/ 5007193 w 12243467"/>
              <a:gd name="connsiteY5388" fmla="*/ 3854546 h 4565177"/>
              <a:gd name="connsiteX5389" fmla="*/ 5006783 w 12243467"/>
              <a:gd name="connsiteY5389" fmla="*/ 3847400 h 4565177"/>
              <a:gd name="connsiteX5390" fmla="*/ 4958103 w 12243467"/>
              <a:gd name="connsiteY5390" fmla="*/ 3845478 h 4565177"/>
              <a:gd name="connsiteX5391" fmla="*/ 4953724 w 12243467"/>
              <a:gd name="connsiteY5391" fmla="*/ 3840155 h 4565177"/>
              <a:gd name="connsiteX5392" fmla="*/ 4948061 w 12243467"/>
              <a:gd name="connsiteY5392" fmla="*/ 3839522 h 4565177"/>
              <a:gd name="connsiteX5393" fmla="*/ 4945033 w 12243467"/>
              <a:gd name="connsiteY5393" fmla="*/ 3839560 h 4565177"/>
              <a:gd name="connsiteX5394" fmla="*/ 4934788 w 12243467"/>
              <a:gd name="connsiteY5394" fmla="*/ 3842104 h 4565177"/>
              <a:gd name="connsiteX5395" fmla="*/ 4939771 w 12243467"/>
              <a:gd name="connsiteY5395" fmla="*/ 3846569 h 4565177"/>
              <a:gd name="connsiteX5396" fmla="*/ 4936175 w 12243467"/>
              <a:gd name="connsiteY5396" fmla="*/ 3849806 h 4565177"/>
              <a:gd name="connsiteX5397" fmla="*/ 4929918 w 12243467"/>
              <a:gd name="connsiteY5397" fmla="*/ 3845482 h 4565177"/>
              <a:gd name="connsiteX5398" fmla="*/ 4933268 w 12243467"/>
              <a:gd name="connsiteY5398" fmla="*/ 3842481 h 4565177"/>
              <a:gd name="connsiteX5399" fmla="*/ 4922422 w 12243467"/>
              <a:gd name="connsiteY5399" fmla="*/ 3845174 h 4565177"/>
              <a:gd name="connsiteX5400" fmla="*/ 4905803 w 12243467"/>
              <a:gd name="connsiteY5400" fmla="*/ 3842586 h 4565177"/>
              <a:gd name="connsiteX5401" fmla="*/ 4883623 w 12243467"/>
              <a:gd name="connsiteY5401" fmla="*/ 3849502 h 4565177"/>
              <a:gd name="connsiteX5402" fmla="*/ 4883346 w 12243467"/>
              <a:gd name="connsiteY5402" fmla="*/ 3842523 h 4565177"/>
              <a:gd name="connsiteX5403" fmla="*/ 4888249 w 12243467"/>
              <a:gd name="connsiteY5403" fmla="*/ 3840020 h 4565177"/>
              <a:gd name="connsiteX5404" fmla="*/ 4862403 w 12243467"/>
              <a:gd name="connsiteY5404" fmla="*/ 3836779 h 4565177"/>
              <a:gd name="connsiteX5405" fmla="*/ 4861110 w 12243467"/>
              <a:gd name="connsiteY5405" fmla="*/ 3836641 h 4565177"/>
              <a:gd name="connsiteX5406" fmla="*/ 4864607 w 12243467"/>
              <a:gd name="connsiteY5406" fmla="*/ 3840930 h 4565177"/>
              <a:gd name="connsiteX5407" fmla="*/ 4870070 w 12243467"/>
              <a:gd name="connsiteY5407" fmla="*/ 3840399 h 4565177"/>
              <a:gd name="connsiteX5408" fmla="*/ 4871731 w 12243467"/>
              <a:gd name="connsiteY5408" fmla="*/ 3841815 h 4565177"/>
              <a:gd name="connsiteX5409" fmla="*/ 4866474 w 12243467"/>
              <a:gd name="connsiteY5409" fmla="*/ 3850514 h 4565177"/>
              <a:gd name="connsiteX5410" fmla="*/ 4831348 w 12243467"/>
              <a:gd name="connsiteY5410" fmla="*/ 3862956 h 4565177"/>
              <a:gd name="connsiteX5411" fmla="*/ 4827198 w 12243467"/>
              <a:gd name="connsiteY5411" fmla="*/ 3852132 h 4565177"/>
              <a:gd name="connsiteX5412" fmla="*/ 4848392 w 12243467"/>
              <a:gd name="connsiteY5412" fmla="*/ 3851286 h 4565177"/>
              <a:gd name="connsiteX5413" fmla="*/ 4856175 w 12243467"/>
              <a:gd name="connsiteY5413" fmla="*/ 3836112 h 4565177"/>
              <a:gd name="connsiteX5414" fmla="*/ 4830665 w 12243467"/>
              <a:gd name="connsiteY5414" fmla="*/ 3833378 h 4565177"/>
              <a:gd name="connsiteX5415" fmla="*/ 4800169 w 12243467"/>
              <a:gd name="connsiteY5415" fmla="*/ 3824438 h 4565177"/>
              <a:gd name="connsiteX5416" fmla="*/ 4785234 w 12243467"/>
              <a:gd name="connsiteY5416" fmla="*/ 3827270 h 4565177"/>
              <a:gd name="connsiteX5417" fmla="*/ 4779701 w 12243467"/>
              <a:gd name="connsiteY5417" fmla="*/ 3821302 h 4565177"/>
              <a:gd name="connsiteX5418" fmla="*/ 4727149 w 12243467"/>
              <a:gd name="connsiteY5418" fmla="*/ 3825652 h 4565177"/>
              <a:gd name="connsiteX5419" fmla="*/ 4580280 w 12243467"/>
              <a:gd name="connsiteY5419" fmla="*/ 3788124 h 4565177"/>
              <a:gd name="connsiteX5420" fmla="*/ 4557877 w 12243467"/>
              <a:gd name="connsiteY5420" fmla="*/ 3789642 h 4565177"/>
              <a:gd name="connsiteX5421" fmla="*/ 4548196 w 12243467"/>
              <a:gd name="connsiteY5421" fmla="*/ 3775683 h 4565177"/>
              <a:gd name="connsiteX5422" fmla="*/ 4640023 w 12243467"/>
              <a:gd name="connsiteY5422" fmla="*/ 3785090 h 4565177"/>
              <a:gd name="connsiteX5423" fmla="*/ 4636151 w 12243467"/>
              <a:gd name="connsiteY5423" fmla="*/ 3780235 h 4565177"/>
              <a:gd name="connsiteX5424" fmla="*/ 4700321 w 12243467"/>
              <a:gd name="connsiteY5424" fmla="*/ 3799352 h 4565177"/>
              <a:gd name="connsiteX5425" fmla="*/ 4775829 w 12243467"/>
              <a:gd name="connsiteY5425" fmla="*/ 3819178 h 4565177"/>
              <a:gd name="connsiteX5426" fmla="*/ 4809573 w 12243467"/>
              <a:gd name="connsiteY5426" fmla="*/ 3821201 h 4565177"/>
              <a:gd name="connsiteX5427" fmla="*/ 4807361 w 12243467"/>
              <a:gd name="connsiteY5427" fmla="*/ 3814424 h 4565177"/>
              <a:gd name="connsiteX5428" fmla="*/ 4846132 w 12243467"/>
              <a:gd name="connsiteY5428" fmla="*/ 3815924 h 4565177"/>
              <a:gd name="connsiteX5429" fmla="*/ 4850709 w 12243467"/>
              <a:gd name="connsiteY5429" fmla="*/ 3809952 h 4565177"/>
              <a:gd name="connsiteX5430" fmla="*/ 4847666 w 12243467"/>
              <a:gd name="connsiteY5430" fmla="*/ 3815111 h 4565177"/>
              <a:gd name="connsiteX5431" fmla="*/ 4848978 w 12243467"/>
              <a:gd name="connsiteY5431" fmla="*/ 3816034 h 4565177"/>
              <a:gd name="connsiteX5432" fmla="*/ 4898843 w 12243467"/>
              <a:gd name="connsiteY5432" fmla="*/ 3817963 h 4565177"/>
              <a:gd name="connsiteX5433" fmla="*/ 4899389 w 12243467"/>
              <a:gd name="connsiteY5433" fmla="*/ 3808637 h 4565177"/>
              <a:gd name="connsiteX5434" fmla="*/ 4912219 w 12243467"/>
              <a:gd name="connsiteY5434" fmla="*/ 3818480 h 4565177"/>
              <a:gd name="connsiteX5435" fmla="*/ 4975337 w 12243467"/>
              <a:gd name="connsiteY5435" fmla="*/ 3820922 h 4565177"/>
              <a:gd name="connsiteX5436" fmla="*/ 4979226 w 12243467"/>
              <a:gd name="connsiteY5436" fmla="*/ 3818873 h 4565177"/>
              <a:gd name="connsiteX5437" fmla="*/ 4976253 w 12243467"/>
              <a:gd name="connsiteY5437" fmla="*/ 3809771 h 4565177"/>
              <a:gd name="connsiteX5438" fmla="*/ 4962804 w 12243467"/>
              <a:gd name="connsiteY5438" fmla="*/ 3805725 h 4565177"/>
              <a:gd name="connsiteX5439" fmla="*/ 4943959 w 12243467"/>
              <a:gd name="connsiteY5439" fmla="*/ 3807441 h 4565177"/>
              <a:gd name="connsiteX5440" fmla="*/ 4943921 w 12243467"/>
              <a:gd name="connsiteY5440" fmla="*/ 3807524 h 4565177"/>
              <a:gd name="connsiteX5441" fmla="*/ 4943671 w 12243467"/>
              <a:gd name="connsiteY5441" fmla="*/ 3807467 h 4565177"/>
              <a:gd name="connsiteX5442" fmla="*/ 4938498 w 12243467"/>
              <a:gd name="connsiteY5442" fmla="*/ 3807938 h 4565177"/>
              <a:gd name="connsiteX5443" fmla="*/ 4925743 w 12243467"/>
              <a:gd name="connsiteY5443" fmla="*/ 3808461 h 4565177"/>
              <a:gd name="connsiteX5444" fmla="*/ 4931750 w 12243467"/>
              <a:gd name="connsiteY5444" fmla="*/ 3815111 h 4565177"/>
              <a:gd name="connsiteX5445" fmla="*/ 4916814 w 12243467"/>
              <a:gd name="connsiteY5445" fmla="*/ 3809244 h 4565177"/>
              <a:gd name="connsiteX5446" fmla="*/ 4917224 w 12243467"/>
              <a:gd name="connsiteY5446" fmla="*/ 3808810 h 4565177"/>
              <a:gd name="connsiteX5447" fmla="*/ 4908592 w 12243467"/>
              <a:gd name="connsiteY5447" fmla="*/ 3809164 h 4565177"/>
              <a:gd name="connsiteX5448" fmla="*/ 4881833 w 12243467"/>
              <a:gd name="connsiteY5448" fmla="*/ 3807131 h 4565177"/>
              <a:gd name="connsiteX5449" fmla="*/ 4863155 w 12243467"/>
              <a:gd name="connsiteY5449" fmla="*/ 3811671 h 4565177"/>
              <a:gd name="connsiteX5450" fmla="*/ 4870649 w 12243467"/>
              <a:gd name="connsiteY5450" fmla="*/ 3806281 h 4565177"/>
              <a:gd name="connsiteX5451" fmla="*/ 4844701 w 12243467"/>
              <a:gd name="connsiteY5451" fmla="*/ 3804309 h 4565177"/>
              <a:gd name="connsiteX5452" fmla="*/ 4801552 w 12243467"/>
              <a:gd name="connsiteY5452" fmla="*/ 3796925 h 4565177"/>
              <a:gd name="connsiteX5453" fmla="*/ 4709448 w 12243467"/>
              <a:gd name="connsiteY5453" fmla="*/ 3790249 h 4565177"/>
              <a:gd name="connsiteX5454" fmla="*/ 4659106 w 12243467"/>
              <a:gd name="connsiteY5454" fmla="*/ 3777694 h 4565177"/>
              <a:gd name="connsiteX5455" fmla="*/ 4647138 w 12243467"/>
              <a:gd name="connsiteY5455" fmla="*/ 3779606 h 4565177"/>
              <a:gd name="connsiteX5456" fmla="*/ 4653768 w 12243467"/>
              <a:gd name="connsiteY5456" fmla="*/ 3776363 h 4565177"/>
              <a:gd name="connsiteX5457" fmla="*/ 4619003 w 12243467"/>
              <a:gd name="connsiteY5457" fmla="*/ 3767692 h 4565177"/>
              <a:gd name="connsiteX5458" fmla="*/ 4661603 w 12243467"/>
              <a:gd name="connsiteY5458" fmla="*/ 3772530 h 4565177"/>
              <a:gd name="connsiteX5459" fmla="*/ 4662592 w 12243467"/>
              <a:gd name="connsiteY5459" fmla="*/ 3772045 h 4565177"/>
              <a:gd name="connsiteX5460" fmla="*/ 4679499 w 12243467"/>
              <a:gd name="connsiteY5460" fmla="*/ 3767670 h 4565177"/>
              <a:gd name="connsiteX5461" fmla="*/ 4671109 w 12243467"/>
              <a:gd name="connsiteY5461" fmla="*/ 3773609 h 4565177"/>
              <a:gd name="connsiteX5462" fmla="*/ 4686046 w 12243467"/>
              <a:gd name="connsiteY5462" fmla="*/ 3775305 h 4565177"/>
              <a:gd name="connsiteX5463" fmla="*/ 4882041 w 12243467"/>
              <a:gd name="connsiteY5463" fmla="*/ 3797026 h 4565177"/>
              <a:gd name="connsiteX5464" fmla="*/ 4883332 w 12243467"/>
              <a:gd name="connsiteY5464" fmla="*/ 3797159 h 4565177"/>
              <a:gd name="connsiteX5465" fmla="*/ 4884971 w 12243467"/>
              <a:gd name="connsiteY5465" fmla="*/ 3795980 h 4565177"/>
              <a:gd name="connsiteX5466" fmla="*/ 4914048 w 12243467"/>
              <a:gd name="connsiteY5466" fmla="*/ 3789013 h 4565177"/>
              <a:gd name="connsiteX5467" fmla="*/ 4909501 w 12243467"/>
              <a:gd name="connsiteY5467" fmla="*/ 3799857 h 4565177"/>
              <a:gd name="connsiteX5468" fmla="*/ 4915887 w 12243467"/>
              <a:gd name="connsiteY5468" fmla="*/ 3800516 h 4565177"/>
              <a:gd name="connsiteX5469" fmla="*/ 4932983 w 12243467"/>
              <a:gd name="connsiteY5469" fmla="*/ 3802289 h 4565177"/>
              <a:gd name="connsiteX5470" fmla="*/ 4931473 w 12243467"/>
              <a:gd name="connsiteY5470" fmla="*/ 3801050 h 4565177"/>
              <a:gd name="connsiteX5471" fmla="*/ 4952494 w 12243467"/>
              <a:gd name="connsiteY5471" fmla="*/ 3791845 h 4565177"/>
              <a:gd name="connsiteX5472" fmla="*/ 4960792 w 12243467"/>
              <a:gd name="connsiteY5472" fmla="*/ 3794071 h 4565177"/>
              <a:gd name="connsiteX5473" fmla="*/ 4963557 w 12243467"/>
              <a:gd name="connsiteY5473" fmla="*/ 3800949 h 4565177"/>
              <a:gd name="connsiteX5474" fmla="*/ 4963146 w 12243467"/>
              <a:gd name="connsiteY5474" fmla="*/ 3801127 h 4565177"/>
              <a:gd name="connsiteX5475" fmla="*/ 4988600 w 12243467"/>
              <a:gd name="connsiteY5475" fmla="*/ 3803904 h 4565177"/>
              <a:gd name="connsiteX5476" fmla="*/ 5008375 w 12243467"/>
              <a:gd name="connsiteY5476" fmla="*/ 3803823 h 4565177"/>
              <a:gd name="connsiteX5477" fmla="*/ 5019429 w 12243467"/>
              <a:gd name="connsiteY5477" fmla="*/ 3798117 h 4565177"/>
              <a:gd name="connsiteX5478" fmla="*/ 5017235 w 12243467"/>
              <a:gd name="connsiteY5478" fmla="*/ 3779968 h 4565177"/>
              <a:gd name="connsiteX5479" fmla="*/ 5011708 w 12243467"/>
              <a:gd name="connsiteY5479" fmla="*/ 3780180 h 4565177"/>
              <a:gd name="connsiteX5480" fmla="*/ 5005876 w 12243467"/>
              <a:gd name="connsiteY5480" fmla="*/ 3782337 h 4565177"/>
              <a:gd name="connsiteX5481" fmla="*/ 5006381 w 12243467"/>
              <a:gd name="connsiteY5481" fmla="*/ 3780384 h 4565177"/>
              <a:gd name="connsiteX5482" fmla="*/ 4991518 w 12243467"/>
              <a:gd name="connsiteY5482" fmla="*/ 3780954 h 4565177"/>
              <a:gd name="connsiteX5483" fmla="*/ 4989798 w 12243467"/>
              <a:gd name="connsiteY5483" fmla="*/ 3780441 h 4565177"/>
              <a:gd name="connsiteX5484" fmla="*/ 4978493 w 12243467"/>
              <a:gd name="connsiteY5484" fmla="*/ 3788406 h 4565177"/>
              <a:gd name="connsiteX5485" fmla="*/ 4974483 w 12243467"/>
              <a:gd name="connsiteY5485" fmla="*/ 3777836 h 4565177"/>
              <a:gd name="connsiteX5486" fmla="*/ 4974147 w 12243467"/>
              <a:gd name="connsiteY5486" fmla="*/ 3775769 h 4565177"/>
              <a:gd name="connsiteX5487" fmla="*/ 4955682 w 12243467"/>
              <a:gd name="connsiteY5487" fmla="*/ 3770259 h 4565177"/>
              <a:gd name="connsiteX5488" fmla="*/ 4881210 w 12243467"/>
              <a:gd name="connsiteY5488" fmla="*/ 3759802 h 4565177"/>
              <a:gd name="connsiteX5489" fmla="*/ 4875402 w 12243467"/>
              <a:gd name="connsiteY5489" fmla="*/ 3748068 h 4565177"/>
              <a:gd name="connsiteX5490" fmla="*/ 4854657 w 12243467"/>
              <a:gd name="connsiteY5490" fmla="*/ 3744831 h 4565177"/>
              <a:gd name="connsiteX5491" fmla="*/ 4824786 w 12243467"/>
              <a:gd name="connsiteY5491" fmla="*/ 3753530 h 4565177"/>
              <a:gd name="connsiteX5492" fmla="*/ 4795606 w 12243467"/>
              <a:gd name="connsiteY5492" fmla="*/ 3735690 h 4565177"/>
              <a:gd name="connsiteX5493" fmla="*/ 4785977 w 12243467"/>
              <a:gd name="connsiteY5493" fmla="*/ 3732311 h 4565177"/>
              <a:gd name="connsiteX5494" fmla="*/ 4784880 w 12243467"/>
              <a:gd name="connsiteY5494" fmla="*/ 3732772 h 4565177"/>
              <a:gd name="connsiteX5495" fmla="*/ 4792072 w 12243467"/>
              <a:gd name="connsiteY5495" fmla="*/ 3738336 h 4565177"/>
              <a:gd name="connsiteX5496" fmla="*/ 4775476 w 12243467"/>
              <a:gd name="connsiteY5496" fmla="*/ 3746833 h 4565177"/>
              <a:gd name="connsiteX5497" fmla="*/ 4755008 w 12243467"/>
              <a:gd name="connsiteY5497" fmla="*/ 3751385 h 4565177"/>
              <a:gd name="connsiteX5498" fmla="*/ 4723754 w 12243467"/>
              <a:gd name="connsiteY5498" fmla="*/ 3760589 h 4565177"/>
              <a:gd name="connsiteX5499" fmla="*/ 4712967 w 12243467"/>
              <a:gd name="connsiteY5499" fmla="*/ 3758263 h 4565177"/>
              <a:gd name="connsiteX5500" fmla="*/ 4755700 w 12243467"/>
              <a:gd name="connsiteY5500" fmla="*/ 3736224 h 4565177"/>
              <a:gd name="connsiteX5501" fmla="*/ 4774820 w 12243467"/>
              <a:gd name="connsiteY5501" fmla="*/ 3728396 h 4565177"/>
              <a:gd name="connsiteX5502" fmla="*/ 4762276 w 12243467"/>
              <a:gd name="connsiteY5502" fmla="*/ 3723994 h 4565177"/>
              <a:gd name="connsiteX5503" fmla="*/ 4782744 w 12243467"/>
              <a:gd name="connsiteY5503" fmla="*/ 3721364 h 4565177"/>
              <a:gd name="connsiteX5504" fmla="*/ 4765596 w 12243467"/>
              <a:gd name="connsiteY5504" fmla="*/ 3708922 h 4565177"/>
              <a:gd name="connsiteX5505" fmla="*/ 4762000 w 12243467"/>
              <a:gd name="connsiteY5505" fmla="*/ 3715396 h 4565177"/>
              <a:gd name="connsiteX5506" fmla="*/ 4663072 w 12243467"/>
              <a:gd name="connsiteY5506" fmla="*/ 3690734 h 4565177"/>
              <a:gd name="connsiteX5507" fmla="*/ 4657097 w 12243467"/>
              <a:gd name="connsiteY5507" fmla="*/ 3696826 h 4565177"/>
              <a:gd name="connsiteX5508" fmla="*/ 4622798 w 12243467"/>
              <a:gd name="connsiteY5508" fmla="*/ 3714666 h 4565177"/>
              <a:gd name="connsiteX5509" fmla="*/ 4560012 w 12243467"/>
              <a:gd name="connsiteY5509" fmla="*/ 3760855 h 4565177"/>
              <a:gd name="connsiteX5510" fmla="*/ 4539731 w 12243467"/>
              <a:gd name="connsiteY5510" fmla="*/ 3774397 h 4565177"/>
              <a:gd name="connsiteX5511" fmla="*/ 4542665 w 12243467"/>
              <a:gd name="connsiteY5511" fmla="*/ 3778616 h 4565177"/>
              <a:gd name="connsiteX5512" fmla="*/ 4535557 w 12243467"/>
              <a:gd name="connsiteY5512" fmla="*/ 3777184 h 4565177"/>
              <a:gd name="connsiteX5513" fmla="*/ 4493908 w 12243467"/>
              <a:gd name="connsiteY5513" fmla="*/ 3804995 h 4565177"/>
              <a:gd name="connsiteX5514" fmla="*/ 4502482 w 12243467"/>
              <a:gd name="connsiteY5514" fmla="*/ 3810559 h 4565177"/>
              <a:gd name="connsiteX5515" fmla="*/ 4469568 w 12243467"/>
              <a:gd name="connsiteY5515" fmla="*/ 3818347 h 4565177"/>
              <a:gd name="connsiteX5516" fmla="*/ 4427526 w 12243467"/>
              <a:gd name="connsiteY5516" fmla="*/ 3847783 h 4565177"/>
              <a:gd name="connsiteX5517" fmla="*/ 4426322 w 12243467"/>
              <a:gd name="connsiteY5517" fmla="*/ 3847372 h 4565177"/>
              <a:gd name="connsiteX5518" fmla="*/ 4422348 w 12243467"/>
              <a:gd name="connsiteY5518" fmla="*/ 3854582 h 4565177"/>
              <a:gd name="connsiteX5519" fmla="*/ 4420493 w 12243467"/>
              <a:gd name="connsiteY5519" fmla="*/ 3845383 h 4565177"/>
              <a:gd name="connsiteX5520" fmla="*/ 4418779 w 12243467"/>
              <a:gd name="connsiteY5520" fmla="*/ 3844799 h 4565177"/>
              <a:gd name="connsiteX5521" fmla="*/ 4411484 w 12243467"/>
              <a:gd name="connsiteY5521" fmla="*/ 3843636 h 4565177"/>
              <a:gd name="connsiteX5522" fmla="*/ 4409824 w 12243467"/>
              <a:gd name="connsiteY5522" fmla="*/ 3863967 h 4565177"/>
              <a:gd name="connsiteX5523" fmla="*/ 4401526 w 12243467"/>
              <a:gd name="connsiteY5523" fmla="*/ 3869935 h 4565177"/>
              <a:gd name="connsiteX5524" fmla="*/ 4391418 w 12243467"/>
              <a:gd name="connsiteY5524" fmla="*/ 3872009 h 4565177"/>
              <a:gd name="connsiteX5525" fmla="*/ 4393029 w 12243467"/>
              <a:gd name="connsiteY5525" fmla="*/ 3878150 h 4565177"/>
              <a:gd name="connsiteX5526" fmla="*/ 4387498 w 12243467"/>
              <a:gd name="connsiteY5526" fmla="*/ 3877847 h 4565177"/>
              <a:gd name="connsiteX5527" fmla="*/ 4390366 w 12243467"/>
              <a:gd name="connsiteY5527" fmla="*/ 3872196 h 4565177"/>
              <a:gd name="connsiteX5528" fmla="*/ 4376634 w 12243467"/>
              <a:gd name="connsiteY5528" fmla="*/ 3873981 h 4565177"/>
              <a:gd name="connsiteX5529" fmla="*/ 4382718 w 12243467"/>
              <a:gd name="connsiteY5529" fmla="*/ 3879241 h 4565177"/>
              <a:gd name="connsiteX5530" fmla="*/ 4382063 w 12243467"/>
              <a:gd name="connsiteY5530" fmla="*/ 3882758 h 4565177"/>
              <a:gd name="connsiteX5531" fmla="*/ 4391646 w 12243467"/>
              <a:gd name="connsiteY5531" fmla="*/ 3888265 h 4565177"/>
              <a:gd name="connsiteX5532" fmla="*/ 4378093 w 12243467"/>
              <a:gd name="connsiteY5532" fmla="*/ 3889075 h 4565177"/>
              <a:gd name="connsiteX5533" fmla="*/ 4377851 w 12243467"/>
              <a:gd name="connsiteY5533" fmla="*/ 3884020 h 4565177"/>
              <a:gd name="connsiteX5534" fmla="*/ 4362671 w 12243467"/>
              <a:gd name="connsiteY5534" fmla="*/ 3885254 h 4565177"/>
              <a:gd name="connsiteX5535" fmla="*/ 4346174 w 12243467"/>
              <a:gd name="connsiteY5535" fmla="*/ 3892239 h 4565177"/>
              <a:gd name="connsiteX5536" fmla="*/ 4331494 w 12243467"/>
              <a:gd name="connsiteY5536" fmla="*/ 3899554 h 4565177"/>
              <a:gd name="connsiteX5537" fmla="*/ 4332179 w 12243467"/>
              <a:gd name="connsiteY5537" fmla="*/ 3902528 h 4565177"/>
              <a:gd name="connsiteX5538" fmla="*/ 4328114 w 12243467"/>
              <a:gd name="connsiteY5538" fmla="*/ 3901238 h 4565177"/>
              <a:gd name="connsiteX5539" fmla="*/ 4314401 w 12243467"/>
              <a:gd name="connsiteY5539" fmla="*/ 3908070 h 4565177"/>
              <a:gd name="connsiteX5540" fmla="*/ 4315231 w 12243467"/>
              <a:gd name="connsiteY5540" fmla="*/ 3914948 h 4565177"/>
              <a:gd name="connsiteX5541" fmla="*/ 4246083 w 12243467"/>
              <a:gd name="connsiteY5541" fmla="*/ 3948328 h 4565177"/>
              <a:gd name="connsiteX5542" fmla="*/ 4206756 w 12243467"/>
              <a:gd name="connsiteY5542" fmla="*/ 3963470 h 4565177"/>
              <a:gd name="connsiteX5543" fmla="*/ 4213523 w 12243467"/>
              <a:gd name="connsiteY5543" fmla="*/ 3974852 h 4565177"/>
              <a:gd name="connsiteX5544" fmla="*/ 4202562 w 12243467"/>
              <a:gd name="connsiteY5544" fmla="*/ 3969428 h 4565177"/>
              <a:gd name="connsiteX5545" fmla="*/ 4195174 w 12243467"/>
              <a:gd name="connsiteY5545" fmla="*/ 3967930 h 4565177"/>
              <a:gd name="connsiteX5546" fmla="*/ 4162933 w 12243467"/>
              <a:gd name="connsiteY5546" fmla="*/ 3980343 h 4565177"/>
              <a:gd name="connsiteX5547" fmla="*/ 4081235 w 12243467"/>
              <a:gd name="connsiteY5547" fmla="*/ 4014178 h 4565177"/>
              <a:gd name="connsiteX5548" fmla="*/ 4083724 w 12243467"/>
              <a:gd name="connsiteY5548" fmla="*/ 4025811 h 4565177"/>
              <a:gd name="connsiteX5549" fmla="*/ 4062980 w 12243467"/>
              <a:gd name="connsiteY5549" fmla="*/ 4021259 h 4565177"/>
              <a:gd name="connsiteX5550" fmla="*/ 4012917 w 12243467"/>
              <a:gd name="connsiteY5550" fmla="*/ 4043007 h 4565177"/>
              <a:gd name="connsiteX5551" fmla="*/ 4000471 w 12243467"/>
              <a:gd name="connsiteY5551" fmla="*/ 4044018 h 4565177"/>
              <a:gd name="connsiteX5552" fmla="*/ 3998811 w 12243467"/>
              <a:gd name="connsiteY5552" fmla="*/ 4052819 h 4565177"/>
              <a:gd name="connsiteX5553" fmla="*/ 4015960 w 12243467"/>
              <a:gd name="connsiteY5553" fmla="*/ 4050290 h 4565177"/>
              <a:gd name="connsiteX5554" fmla="*/ 3992726 w 12243467"/>
              <a:gd name="connsiteY5554" fmla="*/ 4059090 h 4565177"/>
              <a:gd name="connsiteX5555" fmla="*/ 3989684 w 12243467"/>
              <a:gd name="connsiteY5555" fmla="*/ 4049683 h 4565177"/>
              <a:gd name="connsiteX5556" fmla="*/ 3966727 w 12243467"/>
              <a:gd name="connsiteY5556" fmla="*/ 4056157 h 4565177"/>
              <a:gd name="connsiteX5557" fmla="*/ 3977791 w 12243467"/>
              <a:gd name="connsiteY5557" fmla="*/ 4061922 h 4565177"/>
              <a:gd name="connsiteX5558" fmla="*/ 3963408 w 12243467"/>
              <a:gd name="connsiteY5558" fmla="*/ 4060304 h 4565177"/>
              <a:gd name="connsiteX5559" fmla="*/ 3906430 w 12243467"/>
              <a:gd name="connsiteY5559" fmla="*/ 4081344 h 4565177"/>
              <a:gd name="connsiteX5560" fmla="*/ 3868814 w 12243467"/>
              <a:gd name="connsiteY5560" fmla="*/ 4088627 h 4565177"/>
              <a:gd name="connsiteX5561" fmla="*/ 3811007 w 12243467"/>
              <a:gd name="connsiteY5561" fmla="*/ 4100360 h 4565177"/>
              <a:gd name="connsiteX5562" fmla="*/ 3767859 w 12243467"/>
              <a:gd name="connsiteY5562" fmla="*/ 4122917 h 4565177"/>
              <a:gd name="connsiteX5563" fmla="*/ 3670222 w 12243467"/>
              <a:gd name="connsiteY5563" fmla="*/ 4130301 h 4565177"/>
              <a:gd name="connsiteX5564" fmla="*/ 3660818 w 12243467"/>
              <a:gd name="connsiteY5564" fmla="*/ 4140720 h 4565177"/>
              <a:gd name="connsiteX5565" fmla="*/ 3544651 w 12243467"/>
              <a:gd name="connsiteY5565" fmla="*/ 4155185 h 4565177"/>
              <a:gd name="connsiteX5566" fmla="*/ 3544927 w 12243467"/>
              <a:gd name="connsiteY5566" fmla="*/ 4141529 h 4565177"/>
              <a:gd name="connsiteX5567" fmla="*/ 3530544 w 12243467"/>
              <a:gd name="connsiteY5567" fmla="*/ 4153668 h 4565177"/>
              <a:gd name="connsiteX5568" fmla="*/ 3489333 w 12243467"/>
              <a:gd name="connsiteY5568" fmla="*/ 4155893 h 4565177"/>
              <a:gd name="connsiteX5569" fmla="*/ 3504545 w 12243467"/>
              <a:gd name="connsiteY5569" fmla="*/ 4139304 h 4565177"/>
              <a:gd name="connsiteX5570" fmla="*/ 3524459 w 12243467"/>
              <a:gd name="connsiteY5570" fmla="*/ 4136977 h 4565177"/>
              <a:gd name="connsiteX5571" fmla="*/ 3516438 w 12243467"/>
              <a:gd name="connsiteY5571" fmla="*/ 4115634 h 4565177"/>
              <a:gd name="connsiteX5572" fmla="*/ 3555714 w 12243467"/>
              <a:gd name="connsiteY5572" fmla="*/ 4113105 h 4565177"/>
              <a:gd name="connsiteX5573" fmla="*/ 3636478 w 12243467"/>
              <a:gd name="connsiteY5573" fmla="*/ 4094696 h 4565177"/>
              <a:gd name="connsiteX5574" fmla="*/ 3673818 w 12243467"/>
              <a:gd name="connsiteY5574" fmla="*/ 4087514 h 4565177"/>
              <a:gd name="connsiteX5575" fmla="*/ 3732455 w 12243467"/>
              <a:gd name="connsiteY5575" fmla="*/ 4071228 h 4565177"/>
              <a:gd name="connsiteX5576" fmla="*/ 3738264 w 12243467"/>
              <a:gd name="connsiteY5576" fmla="*/ 4078714 h 4565177"/>
              <a:gd name="connsiteX5577" fmla="*/ 3774773 w 12243467"/>
              <a:gd name="connsiteY5577" fmla="*/ 4064552 h 4565177"/>
              <a:gd name="connsiteX5578" fmla="*/ 3818198 w 12243467"/>
              <a:gd name="connsiteY5578" fmla="*/ 4053426 h 4565177"/>
              <a:gd name="connsiteX5579" fmla="*/ 3950961 w 12243467"/>
              <a:gd name="connsiteY5579" fmla="*/ 4002141 h 4565177"/>
              <a:gd name="connsiteX5580" fmla="*/ 3964791 w 12243467"/>
              <a:gd name="connsiteY5580" fmla="*/ 4005985 h 4565177"/>
              <a:gd name="connsiteX5581" fmla="*/ 3956770 w 12243467"/>
              <a:gd name="connsiteY5581" fmla="*/ 3998298 h 4565177"/>
              <a:gd name="connsiteX5582" fmla="*/ 4083724 w 12243467"/>
              <a:gd name="connsiteY5582" fmla="*/ 3953082 h 4565177"/>
              <a:gd name="connsiteX5583" fmla="*/ 4079022 w 12243467"/>
              <a:gd name="connsiteY5583" fmla="*/ 3964007 h 4565177"/>
              <a:gd name="connsiteX5584" fmla="*/ 4112766 w 12243467"/>
              <a:gd name="connsiteY5584" fmla="*/ 3940337 h 4565177"/>
              <a:gd name="connsiteX5585" fmla="*/ 4124094 w 12243467"/>
              <a:gd name="connsiteY5585" fmla="*/ 3936601 h 4565177"/>
              <a:gd name="connsiteX5586" fmla="*/ 4112602 w 12243467"/>
              <a:gd name="connsiteY5586" fmla="*/ 3930585 h 4565177"/>
              <a:gd name="connsiteX5587" fmla="*/ 4065824 w 12243467"/>
              <a:gd name="connsiteY5587" fmla="*/ 3914160 h 4565177"/>
              <a:gd name="connsiteX5588" fmla="*/ 4075885 w 12243467"/>
              <a:gd name="connsiteY5588" fmla="*/ 3915069 h 4565177"/>
              <a:gd name="connsiteX5589" fmla="*/ 4072765 w 12243467"/>
              <a:gd name="connsiteY5589" fmla="*/ 3912066 h 4565177"/>
              <a:gd name="connsiteX5590" fmla="*/ 4068512 w 12243467"/>
              <a:gd name="connsiteY5590" fmla="*/ 3908171 h 4565177"/>
              <a:gd name="connsiteX5591" fmla="*/ 4053023 w 12243467"/>
              <a:gd name="connsiteY5591" fmla="*/ 3926985 h 4565177"/>
              <a:gd name="connsiteX5592" fmla="*/ 4035598 w 12243467"/>
              <a:gd name="connsiteY5592" fmla="*/ 3929615 h 4565177"/>
              <a:gd name="connsiteX5593" fmla="*/ 3942110 w 12243467"/>
              <a:gd name="connsiteY5593" fmla="*/ 3962490 h 4565177"/>
              <a:gd name="connsiteX5594" fmla="*/ 3930494 w 12243467"/>
              <a:gd name="connsiteY5594" fmla="*/ 3972605 h 4565177"/>
              <a:gd name="connsiteX5595" fmla="*/ 3827326 w 12243467"/>
              <a:gd name="connsiteY5595" fmla="*/ 3995263 h 4565177"/>
              <a:gd name="connsiteX5596" fmla="*/ 3817921 w 12243467"/>
              <a:gd name="connsiteY5596" fmla="*/ 4005682 h 4565177"/>
              <a:gd name="connsiteX5597" fmla="*/ 3798560 w 12243467"/>
              <a:gd name="connsiteY5597" fmla="*/ 3994353 h 4565177"/>
              <a:gd name="connsiteX5598" fmla="*/ 3759561 w 12243467"/>
              <a:gd name="connsiteY5598" fmla="*/ 4008312 h 4565177"/>
              <a:gd name="connsiteX5599" fmla="*/ 3739093 w 12243467"/>
              <a:gd name="connsiteY5599" fmla="*/ 4026519 h 4565177"/>
              <a:gd name="connsiteX5600" fmla="*/ 3728306 w 12243467"/>
              <a:gd name="connsiteY5600" fmla="*/ 4020753 h 4565177"/>
              <a:gd name="connsiteX5601" fmla="*/ 3686541 w 12243467"/>
              <a:gd name="connsiteY5601" fmla="*/ 4025305 h 4565177"/>
              <a:gd name="connsiteX5602" fmla="*/ 3651414 w 12243467"/>
              <a:gd name="connsiteY5602" fmla="*/ 4044120 h 4565177"/>
              <a:gd name="connsiteX5603" fmla="*/ 3487673 w 12243467"/>
              <a:gd name="connsiteY5603" fmla="*/ 4055550 h 4565177"/>
              <a:gd name="connsiteX5604" fmla="*/ 3474397 w 12243467"/>
              <a:gd name="connsiteY5604" fmla="*/ 4060911 h 4565177"/>
              <a:gd name="connsiteX5605" fmla="*/ 3550459 w 12243467"/>
              <a:gd name="connsiteY5605" fmla="*/ 4030666 h 4565177"/>
              <a:gd name="connsiteX5606" fmla="*/ 3551565 w 12243467"/>
              <a:gd name="connsiteY5606" fmla="*/ 4012661 h 4565177"/>
              <a:gd name="connsiteX5607" fmla="*/ 3469418 w 12243467"/>
              <a:gd name="connsiteY5607" fmla="*/ 4026317 h 4565177"/>
              <a:gd name="connsiteX5608" fmla="*/ 3440100 w 12243467"/>
              <a:gd name="connsiteY5608" fmla="*/ 4016202 h 4565177"/>
              <a:gd name="connsiteX5609" fmla="*/ 3534140 w 12243467"/>
              <a:gd name="connsiteY5609" fmla="*/ 4003861 h 4565177"/>
              <a:gd name="connsiteX5610" fmla="*/ 3542438 w 12243467"/>
              <a:gd name="connsiteY5610" fmla="*/ 3986564 h 4565177"/>
              <a:gd name="connsiteX5611" fmla="*/ 3530544 w 12243467"/>
              <a:gd name="connsiteY5611" fmla="*/ 3985249 h 4565177"/>
              <a:gd name="connsiteX5612" fmla="*/ 3536629 w 12243467"/>
              <a:gd name="connsiteY5612" fmla="*/ 3979079 h 4565177"/>
              <a:gd name="connsiteX5613" fmla="*/ 3530821 w 12243467"/>
              <a:gd name="connsiteY5613" fmla="*/ 3971593 h 4565177"/>
              <a:gd name="connsiteX5614" fmla="*/ 3502332 w 12243467"/>
              <a:gd name="connsiteY5614" fmla="*/ 3982113 h 4565177"/>
              <a:gd name="connsiteX5615" fmla="*/ 3508694 w 12243467"/>
              <a:gd name="connsiteY5615" fmla="*/ 3962388 h 4565177"/>
              <a:gd name="connsiteX5616" fmla="*/ 3492652 w 12243467"/>
              <a:gd name="connsiteY5616" fmla="*/ 3947013 h 4565177"/>
              <a:gd name="connsiteX5617" fmla="*/ 3506758 w 12243467"/>
              <a:gd name="connsiteY5617" fmla="*/ 3948531 h 4565177"/>
              <a:gd name="connsiteX5618" fmla="*/ 3513949 w 12243467"/>
              <a:gd name="connsiteY5618" fmla="*/ 3960669 h 4565177"/>
              <a:gd name="connsiteX5619" fmla="*/ 3515332 w 12243467"/>
              <a:gd name="connsiteY5619" fmla="*/ 3954094 h 4565177"/>
              <a:gd name="connsiteX5620" fmla="*/ 3530821 w 12243467"/>
              <a:gd name="connsiteY5620" fmla="*/ 3960264 h 4565177"/>
              <a:gd name="connsiteX5621" fmla="*/ 3526119 w 12243467"/>
              <a:gd name="connsiteY5621" fmla="*/ 3948429 h 4565177"/>
              <a:gd name="connsiteX5622" fmla="*/ 3544097 w 12243467"/>
              <a:gd name="connsiteY5622" fmla="*/ 3929919 h 4565177"/>
              <a:gd name="connsiteX5623" fmla="*/ 3565948 w 12243467"/>
              <a:gd name="connsiteY5623" fmla="*/ 3941450 h 4565177"/>
              <a:gd name="connsiteX5624" fmla="*/ 3622649 w 12243467"/>
              <a:gd name="connsiteY5624" fmla="*/ 3934066 h 4565177"/>
              <a:gd name="connsiteX5625" fmla="*/ 3636755 w 12243467"/>
              <a:gd name="connsiteY5625" fmla="*/ 3924254 h 4565177"/>
              <a:gd name="connsiteX5626" fmla="*/ 3630393 w 12243467"/>
              <a:gd name="connsiteY5626" fmla="*/ 3932548 h 4565177"/>
              <a:gd name="connsiteX5627" fmla="*/ 3657223 w 12243467"/>
              <a:gd name="connsiteY5627" fmla="*/ 3931031 h 4565177"/>
              <a:gd name="connsiteX5628" fmla="*/ 3655563 w 12243467"/>
              <a:gd name="connsiteY5628" fmla="*/ 3914948 h 4565177"/>
              <a:gd name="connsiteX5629" fmla="*/ 3665520 w 12243467"/>
              <a:gd name="connsiteY5629" fmla="*/ 3913734 h 4565177"/>
              <a:gd name="connsiteX5630" fmla="*/ 3660818 w 12243467"/>
              <a:gd name="connsiteY5630" fmla="*/ 3924659 h 4565177"/>
              <a:gd name="connsiteX5631" fmla="*/ 3668286 w 12243467"/>
              <a:gd name="connsiteY5631" fmla="*/ 3923141 h 4565177"/>
              <a:gd name="connsiteX5632" fmla="*/ 3667180 w 12243467"/>
              <a:gd name="connsiteY5632" fmla="*/ 3916263 h 4565177"/>
              <a:gd name="connsiteX5633" fmla="*/ 3730796 w 12243467"/>
              <a:gd name="connsiteY5633" fmla="*/ 3900483 h 4565177"/>
              <a:gd name="connsiteX5634" fmla="*/ 3750710 w 12243467"/>
              <a:gd name="connsiteY5634" fmla="*/ 3895830 h 4565177"/>
              <a:gd name="connsiteX5635" fmla="*/ 3749880 w 12243467"/>
              <a:gd name="connsiteY5635" fmla="*/ 3888952 h 4565177"/>
              <a:gd name="connsiteX5636" fmla="*/ 3800496 w 12243467"/>
              <a:gd name="connsiteY5636" fmla="*/ 3876308 h 4565177"/>
              <a:gd name="connsiteX5637" fmla="*/ 3806305 w 12243467"/>
              <a:gd name="connsiteY5637" fmla="*/ 3883793 h 4565177"/>
              <a:gd name="connsiteX5638" fmla="*/ 3883750 w 12243467"/>
              <a:gd name="connsiteY5638" fmla="*/ 3858303 h 4565177"/>
              <a:gd name="connsiteX5639" fmla="*/ 3885133 w 12243467"/>
              <a:gd name="connsiteY5639" fmla="*/ 3851525 h 4565177"/>
              <a:gd name="connsiteX5640" fmla="*/ 3883473 w 12243467"/>
              <a:gd name="connsiteY5640" fmla="*/ 3846771 h 4565177"/>
              <a:gd name="connsiteX5641" fmla="*/ 3872410 w 12243467"/>
              <a:gd name="connsiteY5641" fmla="*/ 3854661 h 4565177"/>
              <a:gd name="connsiteX5642" fmla="*/ 3863282 w 12243467"/>
              <a:gd name="connsiteY5642" fmla="*/ 3851424 h 4565177"/>
              <a:gd name="connsiteX5643" fmla="*/ 3916664 w 12243467"/>
              <a:gd name="connsiteY5643" fmla="*/ 3825529 h 4565177"/>
              <a:gd name="connsiteX5644" fmla="*/ 3910856 w 12243467"/>
              <a:gd name="connsiteY5644" fmla="*/ 3818044 h 4565177"/>
              <a:gd name="connsiteX5645" fmla="*/ 3964791 w 12243467"/>
              <a:gd name="connsiteY5645" fmla="*/ 3789822 h 4565177"/>
              <a:gd name="connsiteX5646" fmla="*/ 3952897 w 12243467"/>
              <a:gd name="connsiteY5646" fmla="*/ 3777178 h 4565177"/>
              <a:gd name="connsiteX5647" fmla="*/ 3908920 w 12243467"/>
              <a:gd name="connsiteY5647" fmla="*/ 3792756 h 4565177"/>
              <a:gd name="connsiteX5648" fmla="*/ 3877388 w 12243467"/>
              <a:gd name="connsiteY5648" fmla="*/ 3805198 h 4565177"/>
              <a:gd name="connsiteX5649" fmla="*/ 3819304 w 12243467"/>
              <a:gd name="connsiteY5649" fmla="*/ 3819258 h 4565177"/>
              <a:gd name="connsiteX5650" fmla="*/ 3756795 w 12243467"/>
              <a:gd name="connsiteY5650" fmla="*/ 3830587 h 4565177"/>
              <a:gd name="connsiteX5651" fmla="*/ 3745455 w 12243467"/>
              <a:gd name="connsiteY5651" fmla="*/ 3838477 h 4565177"/>
              <a:gd name="connsiteX5652" fmla="*/ 3736604 w 12243467"/>
              <a:gd name="connsiteY5652" fmla="*/ 3835139 h 4565177"/>
              <a:gd name="connsiteX5653" fmla="*/ 3693456 w 12243467"/>
              <a:gd name="connsiteY5653" fmla="*/ 3857696 h 4565177"/>
              <a:gd name="connsiteX5654" fmla="*/ 3540225 w 12243467"/>
              <a:gd name="connsiteY5654" fmla="*/ 3877218 h 4565177"/>
              <a:gd name="connsiteX5655" fmla="*/ 3521417 w 12243467"/>
              <a:gd name="connsiteY5655" fmla="*/ 3886423 h 4565177"/>
              <a:gd name="connsiteX5656" fmla="*/ 3503992 w 12243467"/>
              <a:gd name="connsiteY5656" fmla="*/ 3877724 h 4565177"/>
              <a:gd name="connsiteX5657" fmla="*/ 3590841 w 12243467"/>
              <a:gd name="connsiteY5657" fmla="*/ 3853245 h 4565177"/>
              <a:gd name="connsiteX5658" fmla="*/ 3584203 w 12243467"/>
              <a:gd name="connsiteY5658" fmla="*/ 3850210 h 4565177"/>
              <a:gd name="connsiteX5659" fmla="*/ 3652797 w 12243467"/>
              <a:gd name="connsiteY5659" fmla="*/ 3844040 h 4565177"/>
              <a:gd name="connsiteX5660" fmla="*/ 3731902 w 12243467"/>
              <a:gd name="connsiteY5660" fmla="*/ 3834633 h 4565177"/>
              <a:gd name="connsiteX5661" fmla="*/ 3762880 w 12243467"/>
              <a:gd name="connsiteY5661" fmla="*/ 3824417 h 4565177"/>
              <a:gd name="connsiteX5662" fmla="*/ 3756519 w 12243467"/>
              <a:gd name="connsiteY5662" fmla="*/ 3819157 h 4565177"/>
              <a:gd name="connsiteX5663" fmla="*/ 3912239 w 12243467"/>
              <a:gd name="connsiteY5663" fmla="*/ 3763624 h 4565177"/>
              <a:gd name="connsiteX5664" fmla="*/ 3887346 w 12243467"/>
              <a:gd name="connsiteY5664" fmla="*/ 3756240 h 4565177"/>
              <a:gd name="connsiteX5665" fmla="*/ 3841708 w 12243467"/>
              <a:gd name="connsiteY5665" fmla="*/ 3778595 h 4565177"/>
              <a:gd name="connsiteX5666" fmla="*/ 3782795 w 12243467"/>
              <a:gd name="connsiteY5666" fmla="*/ 3797004 h 4565177"/>
              <a:gd name="connsiteX5667" fmla="*/ 3739923 w 12243467"/>
              <a:gd name="connsiteY5667" fmla="*/ 3806007 h 4565177"/>
              <a:gd name="connsiteX5668" fmla="*/ 3655010 w 12243467"/>
              <a:gd name="connsiteY5668" fmla="*/ 3833015 h 4565177"/>
              <a:gd name="connsiteX5669" fmla="*/ 3560969 w 12243467"/>
              <a:gd name="connsiteY5669" fmla="*/ 3845355 h 4565177"/>
              <a:gd name="connsiteX5670" fmla="*/ 3810730 w 12243467"/>
              <a:gd name="connsiteY5670" fmla="*/ 3777381 h 4565177"/>
              <a:gd name="connsiteX5671" fmla="*/ 3874622 w 12243467"/>
              <a:gd name="connsiteY5671" fmla="*/ 3759477 h 4565177"/>
              <a:gd name="connsiteX5672" fmla="*/ 3880431 w 12243467"/>
              <a:gd name="connsiteY5672" fmla="*/ 3753205 h 4565177"/>
              <a:gd name="connsiteX5673" fmla="*/ 3982769 w 12243467"/>
              <a:gd name="connsiteY5673" fmla="*/ 3723568 h 4565177"/>
              <a:gd name="connsiteX5674" fmla="*/ 3924409 w 12243467"/>
              <a:gd name="connsiteY5674" fmla="*/ 3751283 h 4565177"/>
              <a:gd name="connsiteX5675" fmla="*/ 4005450 w 12243467"/>
              <a:gd name="connsiteY5675" fmla="*/ 3719319 h 4565177"/>
              <a:gd name="connsiteX5676" fmla="*/ 4092022 w 12243467"/>
              <a:gd name="connsiteY5676" fmla="*/ 3683410 h 4565177"/>
              <a:gd name="connsiteX5677" fmla="*/ 4137383 w 12243467"/>
              <a:gd name="connsiteY5677" fmla="*/ 3661157 h 4565177"/>
              <a:gd name="connsiteX5678" fmla="*/ 4213170 w 12243467"/>
              <a:gd name="connsiteY5678" fmla="*/ 3619482 h 4565177"/>
              <a:gd name="connsiteX5679" fmla="*/ 4288954 w 12243467"/>
              <a:gd name="connsiteY5679" fmla="*/ 3577807 h 4565177"/>
              <a:gd name="connsiteX5680" fmla="*/ 4261295 w 12243467"/>
              <a:gd name="connsiteY5680" fmla="*/ 3583775 h 4565177"/>
              <a:gd name="connsiteX5681" fmla="*/ 4047491 w 12243467"/>
              <a:gd name="connsiteY5681" fmla="*/ 3689783 h 4565177"/>
              <a:gd name="connsiteX5682" fmla="*/ 4179701 w 12243467"/>
              <a:gd name="connsiteY5682" fmla="*/ 3617965 h 4565177"/>
              <a:gd name="connsiteX5683" fmla="*/ 4173616 w 12243467"/>
              <a:gd name="connsiteY5683" fmla="*/ 3612705 h 4565177"/>
              <a:gd name="connsiteX5684" fmla="*/ 4218147 w 12243467"/>
              <a:gd name="connsiteY5684" fmla="*/ 3595003 h 4565177"/>
              <a:gd name="connsiteX5685" fmla="*/ 4219807 w 12243467"/>
              <a:gd name="connsiteY5685" fmla="*/ 3586000 h 4565177"/>
              <a:gd name="connsiteX5686" fmla="*/ 4116362 w 12243467"/>
              <a:gd name="connsiteY5686" fmla="*/ 3622314 h 4565177"/>
              <a:gd name="connsiteX5687" fmla="*/ 4126873 w 12243467"/>
              <a:gd name="connsiteY5687" fmla="*/ 3630305 h 4565177"/>
              <a:gd name="connsiteX5688" fmla="*/ 4119405 w 12243467"/>
              <a:gd name="connsiteY5688" fmla="*/ 3643151 h 4565177"/>
              <a:gd name="connsiteX5689" fmla="*/ 4083724 w 12243467"/>
              <a:gd name="connsiteY5689" fmla="*/ 3652862 h 4565177"/>
              <a:gd name="connsiteX5690" fmla="*/ 4085937 w 12243467"/>
              <a:gd name="connsiteY5690" fmla="*/ 3641836 h 4565177"/>
              <a:gd name="connsiteX5691" fmla="*/ 3979173 w 12243467"/>
              <a:gd name="connsiteY5691" fmla="*/ 3682196 h 4565177"/>
              <a:gd name="connsiteX5692" fmla="*/ 3993833 w 12243467"/>
              <a:gd name="connsiteY5692" fmla="*/ 3681589 h 4565177"/>
              <a:gd name="connsiteX5693" fmla="*/ 3970599 w 12243467"/>
              <a:gd name="connsiteY5693" fmla="*/ 3688164 h 4565177"/>
              <a:gd name="connsiteX5694" fmla="*/ 3976408 w 12243467"/>
              <a:gd name="connsiteY5694" fmla="*/ 3684219 h 4565177"/>
              <a:gd name="connsiteX5695" fmla="*/ 3919983 w 12243467"/>
              <a:gd name="connsiteY5695" fmla="*/ 3700808 h 4565177"/>
              <a:gd name="connsiteX5696" fmla="*/ 3930494 w 12243467"/>
              <a:gd name="connsiteY5696" fmla="*/ 3708698 h 4565177"/>
              <a:gd name="connsiteX5697" fmla="*/ 3785837 w 12243467"/>
              <a:gd name="connsiteY5697" fmla="*/ 3745113 h 4565177"/>
              <a:gd name="connsiteX5698" fmla="*/ 3773114 w 12243467"/>
              <a:gd name="connsiteY5698" fmla="*/ 3736819 h 4565177"/>
              <a:gd name="connsiteX5699" fmla="*/ 3752923 w 12243467"/>
              <a:gd name="connsiteY5699" fmla="*/ 3741472 h 4565177"/>
              <a:gd name="connsiteX5700" fmla="*/ 3732455 w 12243467"/>
              <a:gd name="connsiteY5700" fmla="*/ 3759679 h 4565177"/>
              <a:gd name="connsiteX5701" fmla="*/ 3658329 w 12243467"/>
              <a:gd name="connsiteY5701" fmla="*/ 3756038 h 4565177"/>
              <a:gd name="connsiteX5702" fmla="*/ 3674924 w 12243467"/>
              <a:gd name="connsiteY5702" fmla="*/ 3746428 h 4565177"/>
              <a:gd name="connsiteX5703" fmla="*/ 3651691 w 12243467"/>
              <a:gd name="connsiteY5703" fmla="*/ 3741674 h 4565177"/>
              <a:gd name="connsiteX5704" fmla="*/ 3652797 w 12243467"/>
              <a:gd name="connsiteY5704" fmla="*/ 3748552 h 4565177"/>
              <a:gd name="connsiteX5705" fmla="*/ 3439823 w 12243467"/>
              <a:gd name="connsiteY5705" fmla="*/ 3777381 h 4565177"/>
              <a:gd name="connsiteX5706" fmla="*/ 3585862 w 12243467"/>
              <a:gd name="connsiteY5706" fmla="*/ 3745720 h 4565177"/>
              <a:gd name="connsiteX5707" fmla="*/ 3682946 w 12243467"/>
              <a:gd name="connsiteY5707" fmla="*/ 3717802 h 4565177"/>
              <a:gd name="connsiteX5708" fmla="*/ 3640627 w 12243467"/>
              <a:gd name="connsiteY5708" fmla="*/ 3724478 h 4565177"/>
              <a:gd name="connsiteX5709" fmla="*/ 3500120 w 12243467"/>
              <a:gd name="connsiteY5709" fmla="*/ 3752295 h 4565177"/>
              <a:gd name="connsiteX5710" fmla="*/ 3463610 w 12243467"/>
              <a:gd name="connsiteY5710" fmla="*/ 3755026 h 4565177"/>
              <a:gd name="connsiteX5711" fmla="*/ 3438163 w 12243467"/>
              <a:gd name="connsiteY5711" fmla="*/ 3749968 h 4565177"/>
              <a:gd name="connsiteX5712" fmla="*/ 3541055 w 12243467"/>
              <a:gd name="connsiteY5712" fmla="*/ 3729434 h 4565177"/>
              <a:gd name="connsiteX5713" fmla="*/ 3567884 w 12243467"/>
              <a:gd name="connsiteY5713" fmla="*/ 3727917 h 4565177"/>
              <a:gd name="connsiteX5714" fmla="*/ 3555438 w 12243467"/>
              <a:gd name="connsiteY5714" fmla="*/ 3717397 h 4565177"/>
              <a:gd name="connsiteX5715" fmla="*/ 3539949 w 12243467"/>
              <a:gd name="connsiteY5715" fmla="*/ 3722455 h 4565177"/>
              <a:gd name="connsiteX5716" fmla="*/ 3526396 w 12243467"/>
              <a:gd name="connsiteY5716" fmla="*/ 3718611 h 4565177"/>
              <a:gd name="connsiteX5717" fmla="*/ 3536076 w 12243467"/>
              <a:gd name="connsiteY5717" fmla="*/ 3706068 h 4565177"/>
              <a:gd name="connsiteX5718" fmla="*/ 3526672 w 12243467"/>
              <a:gd name="connsiteY5718" fmla="*/ 3705057 h 4565177"/>
              <a:gd name="connsiteX5719" fmla="*/ 3521417 w 12243467"/>
              <a:gd name="connsiteY5719" fmla="*/ 3718105 h 4565177"/>
              <a:gd name="connsiteX5720" fmla="*/ 3504545 w 12243467"/>
              <a:gd name="connsiteY5720" fmla="*/ 3718510 h 4565177"/>
              <a:gd name="connsiteX5721" fmla="*/ 3472184 w 12243467"/>
              <a:gd name="connsiteY5721" fmla="*/ 3712744 h 4565177"/>
              <a:gd name="connsiteX5722" fmla="*/ 3490162 w 12243467"/>
              <a:gd name="connsiteY5722" fmla="*/ 3719218 h 4565177"/>
              <a:gd name="connsiteX5723" fmla="*/ 3487950 w 12243467"/>
              <a:gd name="connsiteY5723" fmla="*/ 3730345 h 4565177"/>
              <a:gd name="connsiteX5724" fmla="*/ 3443972 w 12243467"/>
              <a:gd name="connsiteY5724" fmla="*/ 3732368 h 4565177"/>
              <a:gd name="connsiteX5725" fmla="*/ 3419632 w 12243467"/>
              <a:gd name="connsiteY5725" fmla="*/ 3722860 h 4565177"/>
              <a:gd name="connsiteX5726" fmla="*/ 3430695 w 12243467"/>
              <a:gd name="connsiteY5726" fmla="*/ 3726299 h 4565177"/>
              <a:gd name="connsiteX5727" fmla="*/ 3403590 w 12243467"/>
              <a:gd name="connsiteY5727" fmla="*/ 3730244 h 4565177"/>
              <a:gd name="connsiteX5728" fmla="*/ 3378143 w 12243467"/>
              <a:gd name="connsiteY5728" fmla="*/ 3725085 h 4565177"/>
              <a:gd name="connsiteX5729" fmla="*/ 3362101 w 12243467"/>
              <a:gd name="connsiteY5729" fmla="*/ 3721039 h 4565177"/>
              <a:gd name="connsiteX5730" fmla="*/ 3240125 w 12243467"/>
              <a:gd name="connsiteY5730" fmla="*/ 3728018 h 4565177"/>
              <a:gd name="connsiteX5731" fmla="*/ 3229891 w 12243467"/>
              <a:gd name="connsiteY5731" fmla="*/ 3720128 h 4565177"/>
              <a:gd name="connsiteX5732" fmla="*/ 3206658 w 12243467"/>
              <a:gd name="connsiteY5732" fmla="*/ 3715273 h 4565177"/>
              <a:gd name="connsiteX5733" fmla="*/ 3183701 w 12243467"/>
              <a:gd name="connsiteY5733" fmla="*/ 3721848 h 4565177"/>
              <a:gd name="connsiteX5734" fmla="*/ 3144148 w 12243467"/>
              <a:gd name="connsiteY5734" fmla="*/ 3715172 h 4565177"/>
              <a:gd name="connsiteX5735" fmla="*/ 3152446 w 12243467"/>
              <a:gd name="connsiteY5735" fmla="*/ 3709204 h 4565177"/>
              <a:gd name="connsiteX5736" fmla="*/ 3273869 w 12243467"/>
              <a:gd name="connsiteY5736" fmla="*/ 3715779 h 4565177"/>
              <a:gd name="connsiteX5737" fmla="*/ 3289635 w 12243467"/>
              <a:gd name="connsiteY5737" fmla="*/ 3710721 h 4565177"/>
              <a:gd name="connsiteX5738" fmla="*/ 3474673 w 12243467"/>
              <a:gd name="connsiteY5738" fmla="*/ 3699291 h 4565177"/>
              <a:gd name="connsiteX5739" fmla="*/ 3478546 w 12243467"/>
              <a:gd name="connsiteY5739" fmla="*/ 3692918 h 4565177"/>
              <a:gd name="connsiteX5740" fmla="*/ 3655287 w 12243467"/>
              <a:gd name="connsiteY5740" fmla="*/ 3651041 h 4565177"/>
              <a:gd name="connsiteX5741" fmla="*/ 3599415 w 12243467"/>
              <a:gd name="connsiteY5741" fmla="*/ 3665405 h 4565177"/>
              <a:gd name="connsiteX5742" fmla="*/ 3564288 w 12243467"/>
              <a:gd name="connsiteY5742" fmla="*/ 3661460 h 4565177"/>
              <a:gd name="connsiteX5743" fmla="*/ 3594437 w 12243467"/>
              <a:gd name="connsiteY5743" fmla="*/ 3655694 h 4565177"/>
              <a:gd name="connsiteX5744" fmla="*/ 3587245 w 12243467"/>
              <a:gd name="connsiteY5744" fmla="*/ 3643556 h 4565177"/>
              <a:gd name="connsiteX5745" fmla="*/ 3599415 w 12243467"/>
              <a:gd name="connsiteY5745" fmla="*/ 3654076 h 4565177"/>
              <a:gd name="connsiteX5746" fmla="*/ 3602181 w 12243467"/>
              <a:gd name="connsiteY5746" fmla="*/ 3640623 h 4565177"/>
              <a:gd name="connsiteX5747" fmla="*/ 3639244 w 12243467"/>
              <a:gd name="connsiteY5747" fmla="*/ 3635666 h 4565177"/>
              <a:gd name="connsiteX5748" fmla="*/ 3638138 w 12243467"/>
              <a:gd name="connsiteY5748" fmla="*/ 3617256 h 4565177"/>
              <a:gd name="connsiteX5749" fmla="*/ 3594713 w 12243467"/>
              <a:gd name="connsiteY5749" fmla="*/ 3617155 h 4565177"/>
              <a:gd name="connsiteX5750" fmla="*/ 3591394 w 12243467"/>
              <a:gd name="connsiteY5750" fmla="*/ 3609872 h 4565177"/>
              <a:gd name="connsiteX5751" fmla="*/ 3620436 w 12243467"/>
              <a:gd name="connsiteY5751" fmla="*/ 3597228 h 4565177"/>
              <a:gd name="connsiteX5752" fmla="*/ 3621819 w 12243467"/>
              <a:gd name="connsiteY5752" fmla="*/ 3590451 h 4565177"/>
              <a:gd name="connsiteX5753" fmla="*/ 3604394 w 12243467"/>
              <a:gd name="connsiteY5753" fmla="*/ 3581752 h 4565177"/>
              <a:gd name="connsiteX5754" fmla="*/ 3509800 w 12243467"/>
              <a:gd name="connsiteY5754" fmla="*/ 3596318 h 4565177"/>
              <a:gd name="connsiteX5755" fmla="*/ 3571203 w 12243467"/>
              <a:gd name="connsiteY5755" fmla="*/ 3566680 h 4565177"/>
              <a:gd name="connsiteX5756" fmla="*/ 3568990 w 12243467"/>
              <a:gd name="connsiteY5756" fmla="*/ 3577807 h 4565177"/>
              <a:gd name="connsiteX5757" fmla="*/ 3602181 w 12243467"/>
              <a:gd name="connsiteY5757" fmla="*/ 3567894 h 4565177"/>
              <a:gd name="connsiteX5758" fmla="*/ 3607436 w 12243467"/>
              <a:gd name="connsiteY5758" fmla="*/ 3554744 h 4565177"/>
              <a:gd name="connsiteX5759" fmla="*/ 3617670 w 12243467"/>
              <a:gd name="connsiteY5759" fmla="*/ 3562735 h 4565177"/>
              <a:gd name="connsiteX5760" fmla="*/ 3850283 w 12243467"/>
              <a:gd name="connsiteY5760" fmla="*/ 3483836 h 4565177"/>
              <a:gd name="connsiteX5761" fmla="*/ 3858752 w 12243467"/>
              <a:gd name="connsiteY5761" fmla="*/ 3470144 h 4565177"/>
              <a:gd name="connsiteX5762" fmla="*/ 3801019 w 12243467"/>
              <a:gd name="connsiteY5762" fmla="*/ 3478414 h 4565177"/>
              <a:gd name="connsiteX5763" fmla="*/ 3785007 w 12243467"/>
              <a:gd name="connsiteY5763" fmla="*/ 3485657 h 4565177"/>
              <a:gd name="connsiteX5764" fmla="*/ 3740753 w 12243467"/>
              <a:gd name="connsiteY5764" fmla="*/ 3501336 h 4565177"/>
              <a:gd name="connsiteX5765" fmla="*/ 3632330 w 12243467"/>
              <a:gd name="connsiteY5765" fmla="*/ 3525714 h 4565177"/>
              <a:gd name="connsiteX5766" fmla="*/ 3636202 w 12243467"/>
              <a:gd name="connsiteY5766" fmla="*/ 3519240 h 4565177"/>
              <a:gd name="connsiteX5767" fmla="*/ 3577288 w 12243467"/>
              <a:gd name="connsiteY5767" fmla="*/ 3524095 h 4565177"/>
              <a:gd name="connsiteX5768" fmla="*/ 3574522 w 12243467"/>
              <a:gd name="connsiteY5768" fmla="*/ 3514688 h 4565177"/>
              <a:gd name="connsiteX5769" fmla="*/ 3546310 w 12243467"/>
              <a:gd name="connsiteY5769" fmla="*/ 3522982 h 4565177"/>
              <a:gd name="connsiteX5770" fmla="*/ 3495971 w 12243467"/>
              <a:gd name="connsiteY5770" fmla="*/ 3533401 h 4565177"/>
              <a:gd name="connsiteX5771" fmla="*/ 3507588 w 12243467"/>
              <a:gd name="connsiteY5771" fmla="*/ 3524702 h 4565177"/>
              <a:gd name="connsiteX5772" fmla="*/ 3509800 w 12243467"/>
              <a:gd name="connsiteY5772" fmla="*/ 3523690 h 4565177"/>
              <a:gd name="connsiteX5773" fmla="*/ 3502609 w 12243467"/>
              <a:gd name="connsiteY5773" fmla="*/ 3523893 h 4565177"/>
              <a:gd name="connsiteX5774" fmla="*/ 3493205 w 12243467"/>
              <a:gd name="connsiteY5774" fmla="*/ 3524297 h 4565177"/>
              <a:gd name="connsiteX5775" fmla="*/ 3476609 w 12243467"/>
              <a:gd name="connsiteY5775" fmla="*/ 3531884 h 4565177"/>
              <a:gd name="connsiteX5776" fmla="*/ 3473014 w 12243467"/>
              <a:gd name="connsiteY5776" fmla="*/ 3544022 h 4565177"/>
              <a:gd name="connsiteX5777" fmla="*/ 3460291 w 12243467"/>
              <a:gd name="connsiteY5777" fmla="*/ 3550900 h 4565177"/>
              <a:gd name="connsiteX5778" fmla="*/ 3343016 w 12243467"/>
              <a:gd name="connsiteY5778" fmla="*/ 3580842 h 4565177"/>
              <a:gd name="connsiteX5779" fmla="*/ 3333889 w 12243467"/>
              <a:gd name="connsiteY5779" fmla="*/ 3589945 h 4565177"/>
              <a:gd name="connsiteX5780" fmla="*/ 3180935 w 12243467"/>
              <a:gd name="connsiteY5780" fmla="*/ 3622415 h 4565177"/>
              <a:gd name="connsiteX5781" fmla="*/ 3100724 w 12243467"/>
              <a:gd name="connsiteY5781" fmla="*/ 3639409 h 4565177"/>
              <a:gd name="connsiteX5782" fmla="*/ 2929238 w 12243467"/>
              <a:gd name="connsiteY5782" fmla="*/ 3672890 h 4565177"/>
              <a:gd name="connsiteX5783" fmla="*/ 2933110 w 12243467"/>
              <a:gd name="connsiteY5783" fmla="*/ 3680780 h 4565177"/>
              <a:gd name="connsiteX5784" fmla="*/ 2899366 w 12243467"/>
              <a:gd name="connsiteY5784" fmla="*/ 3675824 h 4565177"/>
              <a:gd name="connsiteX5785" fmla="*/ 2843495 w 12243467"/>
              <a:gd name="connsiteY5785" fmla="*/ 3686647 h 4565177"/>
              <a:gd name="connsiteX5786" fmla="*/ 2831878 w 12243467"/>
              <a:gd name="connsiteY5786" fmla="*/ 3677442 h 4565177"/>
              <a:gd name="connsiteX5787" fmla="*/ 2817495 w 12243467"/>
              <a:gd name="connsiteY5787" fmla="*/ 3694638 h 4565177"/>
              <a:gd name="connsiteX5788" fmla="*/ 2806155 w 12243467"/>
              <a:gd name="connsiteY5788" fmla="*/ 3696762 h 4565177"/>
              <a:gd name="connsiteX5789" fmla="*/ 2781815 w 12243467"/>
              <a:gd name="connsiteY5789" fmla="*/ 3691502 h 4565177"/>
              <a:gd name="connsiteX5790" fmla="*/ 2783751 w 12243467"/>
              <a:gd name="connsiteY5790" fmla="*/ 3698381 h 4565177"/>
              <a:gd name="connsiteX5791" fmla="*/ 2780156 w 12243467"/>
              <a:gd name="connsiteY5791" fmla="*/ 3701820 h 4565177"/>
              <a:gd name="connsiteX5792" fmla="*/ 2705200 w 12243467"/>
              <a:gd name="connsiteY5792" fmla="*/ 3699190 h 4565177"/>
              <a:gd name="connsiteX5793" fmla="*/ 2701604 w 12243467"/>
              <a:gd name="connsiteY5793" fmla="*/ 3705664 h 4565177"/>
              <a:gd name="connsiteX5794" fmla="*/ 2619180 w 12243467"/>
              <a:gd name="connsiteY5794" fmla="*/ 3710215 h 4565177"/>
              <a:gd name="connsiteX5795" fmla="*/ 2431929 w 12243467"/>
              <a:gd name="connsiteY5795" fmla="*/ 3709204 h 4565177"/>
              <a:gd name="connsiteX5796" fmla="*/ 2426397 w 12243467"/>
              <a:gd name="connsiteY5796" fmla="*/ 3720432 h 4565177"/>
              <a:gd name="connsiteX5797" fmla="*/ 2411185 w 12243467"/>
              <a:gd name="connsiteY5797" fmla="*/ 3708901 h 4565177"/>
              <a:gd name="connsiteX5798" fmla="*/ 2353378 w 12243467"/>
              <a:gd name="connsiteY5798" fmla="*/ 3710215 h 4565177"/>
              <a:gd name="connsiteX5799" fmla="*/ 2341761 w 12243467"/>
              <a:gd name="connsiteY5799" fmla="*/ 3706574 h 4565177"/>
              <a:gd name="connsiteX5800" fmla="*/ 2334570 w 12243467"/>
              <a:gd name="connsiteY5800" fmla="*/ 3713756 h 4565177"/>
              <a:gd name="connsiteX5801" fmla="*/ 2351441 w 12243467"/>
              <a:gd name="connsiteY5801" fmla="*/ 3717701 h 4565177"/>
              <a:gd name="connsiteX5802" fmla="*/ 2325165 w 12243467"/>
              <a:gd name="connsiteY5802" fmla="*/ 3717094 h 4565177"/>
              <a:gd name="connsiteX5803" fmla="*/ 2328761 w 12243467"/>
              <a:gd name="connsiteY5803" fmla="*/ 3707788 h 4565177"/>
              <a:gd name="connsiteX5804" fmla="*/ 2304421 w 12243467"/>
              <a:gd name="connsiteY5804" fmla="*/ 3705360 h 4565177"/>
              <a:gd name="connsiteX5805" fmla="*/ 2310229 w 12243467"/>
              <a:gd name="connsiteY5805" fmla="*/ 3714262 h 4565177"/>
              <a:gd name="connsiteX5806" fmla="*/ 2298889 w 12243467"/>
              <a:gd name="connsiteY5806" fmla="*/ 3707889 h 4565177"/>
              <a:gd name="connsiteX5807" fmla="*/ 2234997 w 12243467"/>
              <a:gd name="connsiteY5807" fmla="*/ 3705765 h 4565177"/>
              <a:gd name="connsiteX5808" fmla="*/ 2197381 w 12243467"/>
              <a:gd name="connsiteY5808" fmla="*/ 3698785 h 4565177"/>
              <a:gd name="connsiteX5809" fmla="*/ 2139297 w 12243467"/>
              <a:gd name="connsiteY5809" fmla="*/ 3688569 h 4565177"/>
              <a:gd name="connsiteX5810" fmla="*/ 2086745 w 12243467"/>
              <a:gd name="connsiteY5810" fmla="*/ 3693020 h 4565177"/>
              <a:gd name="connsiteX5811" fmla="*/ 1996300 w 12243467"/>
              <a:gd name="connsiteY5811" fmla="*/ 3664596 h 4565177"/>
              <a:gd name="connsiteX5812" fmla="*/ 1981364 w 12243467"/>
              <a:gd name="connsiteY5812" fmla="*/ 3670361 h 4565177"/>
              <a:gd name="connsiteX5813" fmla="*/ 1870175 w 12243467"/>
              <a:gd name="connsiteY5813" fmla="*/ 3641735 h 4565177"/>
              <a:gd name="connsiteX5814" fmla="*/ 1879302 w 12243467"/>
              <a:gd name="connsiteY5814" fmla="*/ 3629900 h 4565177"/>
              <a:gd name="connsiteX5815" fmla="*/ 1858835 w 12243467"/>
              <a:gd name="connsiteY5815" fmla="*/ 3635262 h 4565177"/>
              <a:gd name="connsiteX5816" fmla="*/ 1820942 w 12243467"/>
              <a:gd name="connsiteY5816" fmla="*/ 3622516 h 4565177"/>
              <a:gd name="connsiteX5817" fmla="*/ 1845282 w 12243467"/>
              <a:gd name="connsiteY5817" fmla="*/ 3613514 h 4565177"/>
              <a:gd name="connsiteX5818" fmla="*/ 1864090 w 12243467"/>
              <a:gd name="connsiteY5818" fmla="*/ 3618470 h 4565177"/>
              <a:gd name="connsiteX5819" fmla="*/ 1871005 w 12243467"/>
              <a:gd name="connsiteY5819" fmla="*/ 3597026 h 4565177"/>
              <a:gd name="connsiteX5820" fmla="*/ 1906961 w 12243467"/>
              <a:gd name="connsiteY5820" fmla="*/ 3608760 h 4565177"/>
              <a:gd name="connsiteX5821" fmla="*/ 1989662 w 12243467"/>
              <a:gd name="connsiteY5821" fmla="*/ 3621404 h 4565177"/>
              <a:gd name="connsiteX5822" fmla="*/ 2027278 w 12243467"/>
              <a:gd name="connsiteY5822" fmla="*/ 3628484 h 4565177"/>
              <a:gd name="connsiteX5823" fmla="*/ 2089234 w 12243467"/>
              <a:gd name="connsiteY5823" fmla="*/ 3635059 h 4565177"/>
              <a:gd name="connsiteX5824" fmla="*/ 2089234 w 12243467"/>
              <a:gd name="connsiteY5824" fmla="*/ 3643657 h 4565177"/>
              <a:gd name="connsiteX5825" fmla="*/ 2130723 w 12243467"/>
              <a:gd name="connsiteY5825" fmla="*/ 3644264 h 4565177"/>
              <a:gd name="connsiteX5826" fmla="*/ 2175807 w 12243467"/>
              <a:gd name="connsiteY5826" fmla="*/ 3649828 h 4565177"/>
              <a:gd name="connsiteX5827" fmla="*/ 2325719 w 12243467"/>
              <a:gd name="connsiteY5827" fmla="*/ 3652255 h 4565177"/>
              <a:gd name="connsiteX5828" fmla="*/ 2335123 w 12243467"/>
              <a:gd name="connsiteY5828" fmla="*/ 3660550 h 4565177"/>
              <a:gd name="connsiteX5829" fmla="*/ 2332910 w 12243467"/>
              <a:gd name="connsiteY5829" fmla="*/ 3650839 h 4565177"/>
              <a:gd name="connsiteX5830" fmla="*/ 2473694 w 12243467"/>
              <a:gd name="connsiteY5830" fmla="*/ 3656605 h 4565177"/>
              <a:gd name="connsiteX5831" fmla="*/ 2462631 w 12243467"/>
              <a:gd name="connsiteY5831" fmla="*/ 3664393 h 4565177"/>
              <a:gd name="connsiteX5832" fmla="*/ 2507438 w 12243467"/>
              <a:gd name="connsiteY5832" fmla="*/ 3655796 h 4565177"/>
              <a:gd name="connsiteX5833" fmla="*/ 2541182 w 12243467"/>
              <a:gd name="connsiteY5833" fmla="*/ 3657819 h 4565177"/>
              <a:gd name="connsiteX5834" fmla="*/ 2532055 w 12243467"/>
              <a:gd name="connsiteY5834" fmla="*/ 3663989 h 4565177"/>
              <a:gd name="connsiteX5835" fmla="*/ 2559990 w 12243467"/>
              <a:gd name="connsiteY5835" fmla="*/ 3665607 h 4565177"/>
              <a:gd name="connsiteX5836" fmla="*/ 2554182 w 12243467"/>
              <a:gd name="connsiteY5836" fmla="*/ 3656605 h 4565177"/>
              <a:gd name="connsiteX5837" fmla="*/ 2589862 w 12243467"/>
              <a:gd name="connsiteY5837" fmla="*/ 3656908 h 4565177"/>
              <a:gd name="connsiteX5838" fmla="*/ 2571054 w 12243467"/>
              <a:gd name="connsiteY5838" fmla="*/ 3657717 h 4565177"/>
              <a:gd name="connsiteX5839" fmla="*/ 2571330 w 12243467"/>
              <a:gd name="connsiteY5839" fmla="*/ 3666315 h 4565177"/>
              <a:gd name="connsiteX5840" fmla="*/ 2602862 w 12243467"/>
              <a:gd name="connsiteY5840" fmla="*/ 3652963 h 4565177"/>
              <a:gd name="connsiteX5841" fmla="*/ 2601202 w 12243467"/>
              <a:gd name="connsiteY5841" fmla="*/ 3663382 h 4565177"/>
              <a:gd name="connsiteX5842" fmla="*/ 2767433 w 12243467"/>
              <a:gd name="connsiteY5842" fmla="*/ 3643961 h 4565177"/>
              <a:gd name="connsiteX5843" fmla="*/ 2777113 w 12243467"/>
              <a:gd name="connsiteY5843" fmla="*/ 3654986 h 4565177"/>
              <a:gd name="connsiteX5844" fmla="*/ 2810304 w 12243467"/>
              <a:gd name="connsiteY5844" fmla="*/ 3636981 h 4565177"/>
              <a:gd name="connsiteX5845" fmla="*/ 2903792 w 12243467"/>
              <a:gd name="connsiteY5845" fmla="*/ 3621808 h 4565177"/>
              <a:gd name="connsiteX5846" fmla="*/ 3181764 w 12243467"/>
              <a:gd name="connsiteY5846" fmla="*/ 3574975 h 4565177"/>
              <a:gd name="connsiteX5847" fmla="*/ 3362101 w 12243467"/>
              <a:gd name="connsiteY5847" fmla="*/ 3521162 h 4565177"/>
              <a:gd name="connsiteX5848" fmla="*/ 3388377 w 12243467"/>
              <a:gd name="connsiteY5848" fmla="*/ 3521769 h 4565177"/>
              <a:gd name="connsiteX5849" fmla="*/ 3386164 w 12243467"/>
              <a:gd name="connsiteY5849" fmla="*/ 3512058 h 4565177"/>
              <a:gd name="connsiteX5850" fmla="*/ 3434844 w 12243467"/>
              <a:gd name="connsiteY5850" fmla="*/ 3502651 h 4565177"/>
              <a:gd name="connsiteX5851" fmla="*/ 3437334 w 12243467"/>
              <a:gd name="connsiteY5851" fmla="*/ 3496405 h 4565177"/>
              <a:gd name="connsiteX5852" fmla="*/ 3438797 w 12243467"/>
              <a:gd name="connsiteY5852" fmla="*/ 3495116 h 4565177"/>
              <a:gd name="connsiteX5853" fmla="*/ 3398461 w 12243467"/>
              <a:gd name="connsiteY5853" fmla="*/ 3493308 h 4565177"/>
              <a:gd name="connsiteX5854" fmla="*/ 3360215 w 12243467"/>
              <a:gd name="connsiteY5854" fmla="*/ 3487906 h 4565177"/>
              <a:gd name="connsiteX5855" fmla="*/ 3335272 w 12243467"/>
              <a:gd name="connsiteY5855" fmla="*/ 3497593 h 4565177"/>
              <a:gd name="connsiteX5856" fmla="*/ 3288805 w 12243467"/>
              <a:gd name="connsiteY5856" fmla="*/ 3513778 h 4565177"/>
              <a:gd name="connsiteX5857" fmla="*/ 3242338 w 12243467"/>
              <a:gd name="connsiteY5857" fmla="*/ 3527130 h 4565177"/>
              <a:gd name="connsiteX5858" fmla="*/ 3066980 w 12243467"/>
              <a:gd name="connsiteY5858" fmla="*/ 3561218 h 4565177"/>
              <a:gd name="connsiteX5859" fmla="*/ 3063661 w 12243467"/>
              <a:gd name="connsiteY5859" fmla="*/ 3570524 h 4565177"/>
              <a:gd name="connsiteX5860" fmla="*/ 3039321 w 12243467"/>
              <a:gd name="connsiteY5860" fmla="*/ 3570929 h 4565177"/>
              <a:gd name="connsiteX5861" fmla="*/ 2875026 w 12243467"/>
              <a:gd name="connsiteY5861" fmla="*/ 3597228 h 4565177"/>
              <a:gd name="connsiteX5862" fmla="*/ 2867558 w 12243467"/>
              <a:gd name="connsiteY5862" fmla="*/ 3595711 h 4565177"/>
              <a:gd name="connsiteX5863" fmla="*/ 2858431 w 12243467"/>
              <a:gd name="connsiteY5863" fmla="*/ 3601881 h 4565177"/>
              <a:gd name="connsiteX5864" fmla="*/ 2819155 w 12243467"/>
              <a:gd name="connsiteY5864" fmla="*/ 3605118 h 4565177"/>
              <a:gd name="connsiteX5865" fmla="*/ 2701051 w 12243467"/>
              <a:gd name="connsiteY5865" fmla="*/ 3609468 h 4565177"/>
              <a:gd name="connsiteX5866" fmla="*/ 2686115 w 12243467"/>
              <a:gd name="connsiteY5866" fmla="*/ 3615233 h 4565177"/>
              <a:gd name="connsiteX5867" fmla="*/ 2669243 w 12243467"/>
              <a:gd name="connsiteY5867" fmla="*/ 3608456 h 4565177"/>
              <a:gd name="connsiteX5868" fmla="*/ 2631904 w 12243467"/>
              <a:gd name="connsiteY5868" fmla="*/ 3609973 h 4565177"/>
              <a:gd name="connsiteX5869" fmla="*/ 2633287 w 12243467"/>
              <a:gd name="connsiteY5869" fmla="*/ 3596824 h 4565177"/>
              <a:gd name="connsiteX5870" fmla="*/ 2624436 w 12243467"/>
              <a:gd name="connsiteY5870" fmla="*/ 3611491 h 4565177"/>
              <a:gd name="connsiteX5871" fmla="*/ 2605351 w 12243467"/>
              <a:gd name="connsiteY5871" fmla="*/ 3600769 h 4565177"/>
              <a:gd name="connsiteX5872" fmla="*/ 2566075 w 12243467"/>
              <a:gd name="connsiteY5872" fmla="*/ 3607040 h 4565177"/>
              <a:gd name="connsiteX5873" fmla="*/ 2543671 w 12243467"/>
              <a:gd name="connsiteY5873" fmla="*/ 3611288 h 4565177"/>
              <a:gd name="connsiteX5874" fmla="*/ 2542012 w 12243467"/>
              <a:gd name="connsiteY5874" fmla="*/ 3618875 h 4565177"/>
              <a:gd name="connsiteX5875" fmla="*/ 2523480 w 12243467"/>
              <a:gd name="connsiteY5875" fmla="*/ 3622415 h 4565177"/>
              <a:gd name="connsiteX5876" fmla="*/ 2491672 w 12243467"/>
              <a:gd name="connsiteY5876" fmla="*/ 3621505 h 4565177"/>
              <a:gd name="connsiteX5877" fmla="*/ 2489460 w 12243467"/>
              <a:gd name="connsiteY5877" fmla="*/ 3611794 h 4565177"/>
              <a:gd name="connsiteX5878" fmla="*/ 2463460 w 12243467"/>
              <a:gd name="connsiteY5878" fmla="*/ 3622618 h 4565177"/>
              <a:gd name="connsiteX5879" fmla="*/ 2446588 w 12243467"/>
              <a:gd name="connsiteY5879" fmla="*/ 3618774 h 4565177"/>
              <a:gd name="connsiteX5880" fmla="*/ 2343420 w 12243467"/>
              <a:gd name="connsiteY5880" fmla="*/ 3614424 h 4565177"/>
              <a:gd name="connsiteX5881" fmla="*/ 2326825 w 12243467"/>
              <a:gd name="connsiteY5881" fmla="*/ 3619077 h 4565177"/>
              <a:gd name="connsiteX5882" fmla="*/ 2221444 w 12243467"/>
              <a:gd name="connsiteY5882" fmla="*/ 3602185 h 4565177"/>
              <a:gd name="connsiteX5883" fmla="*/ 2206508 w 12243467"/>
              <a:gd name="connsiteY5883" fmla="*/ 3607849 h 4565177"/>
              <a:gd name="connsiteX5884" fmla="*/ 2196828 w 12243467"/>
              <a:gd name="connsiteY5884" fmla="*/ 3591159 h 4565177"/>
              <a:gd name="connsiteX5885" fmla="*/ 2153680 w 12243467"/>
              <a:gd name="connsiteY5885" fmla="*/ 3589541 h 4565177"/>
              <a:gd name="connsiteX5886" fmla="*/ 2123808 w 12243467"/>
              <a:gd name="connsiteY5886" fmla="*/ 3598139 h 4565177"/>
              <a:gd name="connsiteX5887" fmla="*/ 2117999 w 12243467"/>
              <a:gd name="connsiteY5887" fmla="*/ 3589237 h 4565177"/>
              <a:gd name="connsiteX5888" fmla="*/ 2078447 w 12243467"/>
              <a:gd name="connsiteY5888" fmla="*/ 3578212 h 4565177"/>
              <a:gd name="connsiteX5889" fmla="*/ 2035576 w 12243467"/>
              <a:gd name="connsiteY5889" fmla="*/ 3582258 h 4565177"/>
              <a:gd name="connsiteX5890" fmla="*/ 1884558 w 12243467"/>
              <a:gd name="connsiteY5890" fmla="*/ 3534008 h 4565177"/>
              <a:gd name="connsiteX5891" fmla="*/ 1869622 w 12243467"/>
              <a:gd name="connsiteY5891" fmla="*/ 3534008 h 4565177"/>
              <a:gd name="connsiteX5892" fmla="*/ 1955641 w 12243467"/>
              <a:gd name="connsiteY5892" fmla="*/ 3534514 h 4565177"/>
              <a:gd name="connsiteX5893" fmla="*/ 1968364 w 12243467"/>
              <a:gd name="connsiteY5893" fmla="*/ 3519139 h 4565177"/>
              <a:gd name="connsiteX5894" fmla="*/ 1887600 w 12243467"/>
              <a:gd name="connsiteY5894" fmla="*/ 3501842 h 4565177"/>
              <a:gd name="connsiteX5895" fmla="*/ 1868239 w 12243467"/>
              <a:gd name="connsiteY5895" fmla="*/ 3482521 h 4565177"/>
              <a:gd name="connsiteX5896" fmla="*/ 1958684 w 12243467"/>
              <a:gd name="connsiteY5896" fmla="*/ 3505281 h 4565177"/>
              <a:gd name="connsiteX5897" fmla="*/ 1977215 w 12243467"/>
              <a:gd name="connsiteY5897" fmla="*/ 3493041 h 4565177"/>
              <a:gd name="connsiteX5898" fmla="*/ 1967811 w 12243467"/>
              <a:gd name="connsiteY5898" fmla="*/ 3487680 h 4565177"/>
              <a:gd name="connsiteX5899" fmla="*/ 1976939 w 12243467"/>
              <a:gd name="connsiteY5899" fmla="*/ 3484443 h 4565177"/>
              <a:gd name="connsiteX5900" fmla="*/ 1976662 w 12243467"/>
              <a:gd name="connsiteY5900" fmla="*/ 3475845 h 4565177"/>
              <a:gd name="connsiteX5901" fmla="*/ 1944854 w 12243467"/>
              <a:gd name="connsiteY5901" fmla="*/ 3474834 h 4565177"/>
              <a:gd name="connsiteX5902" fmla="*/ 1963386 w 12243467"/>
              <a:gd name="connsiteY5902" fmla="*/ 3459762 h 4565177"/>
              <a:gd name="connsiteX5903" fmla="*/ 1958960 w 12243467"/>
              <a:gd name="connsiteY5903" fmla="*/ 3440442 h 4565177"/>
              <a:gd name="connsiteX5904" fmla="*/ 1970577 w 12243467"/>
              <a:gd name="connsiteY5904" fmla="*/ 3446916 h 4565177"/>
              <a:gd name="connsiteX5905" fmla="*/ 1968917 w 12243467"/>
              <a:gd name="connsiteY5905" fmla="*/ 3460066 h 4565177"/>
              <a:gd name="connsiteX5906" fmla="*/ 1974449 w 12243467"/>
              <a:gd name="connsiteY5906" fmla="*/ 3454705 h 4565177"/>
              <a:gd name="connsiteX5907" fmla="*/ 1984130 w 12243467"/>
              <a:gd name="connsiteY5907" fmla="*/ 3465831 h 4565177"/>
              <a:gd name="connsiteX5908" fmla="*/ 1987449 w 12243467"/>
              <a:gd name="connsiteY5908" fmla="*/ 3453693 h 4565177"/>
              <a:gd name="connsiteX5909" fmla="*/ 2015385 w 12243467"/>
              <a:gd name="connsiteY5909" fmla="*/ 3443881 h 4565177"/>
              <a:gd name="connsiteX5910" fmla="*/ 2027001 w 12243467"/>
              <a:gd name="connsiteY5910" fmla="*/ 3461785 h 4565177"/>
              <a:gd name="connsiteX5911" fmla="*/ 2081766 w 12243467"/>
              <a:gd name="connsiteY5911" fmla="*/ 3475542 h 4565177"/>
              <a:gd name="connsiteX5912" fmla="*/ 2100298 w 12243467"/>
              <a:gd name="connsiteY5912" fmla="*/ 3472002 h 4565177"/>
              <a:gd name="connsiteX5913" fmla="*/ 2089234 w 12243467"/>
              <a:gd name="connsiteY5913" fmla="*/ 3476958 h 4565177"/>
              <a:gd name="connsiteX5914" fmla="*/ 2113851 w 12243467"/>
              <a:gd name="connsiteY5914" fmla="*/ 3485151 h 4565177"/>
              <a:gd name="connsiteX5915" fmla="*/ 2122701 w 12243467"/>
              <a:gd name="connsiteY5915" fmla="*/ 3470484 h 4565177"/>
              <a:gd name="connsiteX5916" fmla="*/ 2132106 w 12243467"/>
              <a:gd name="connsiteY5916" fmla="*/ 3472912 h 4565177"/>
              <a:gd name="connsiteX5917" fmla="*/ 2121042 w 12243467"/>
              <a:gd name="connsiteY5917" fmla="*/ 3480802 h 4565177"/>
              <a:gd name="connsiteX5918" fmla="*/ 2128510 w 12243467"/>
              <a:gd name="connsiteY5918" fmla="*/ 3482218 h 4565177"/>
              <a:gd name="connsiteX5919" fmla="*/ 2132106 w 12243467"/>
              <a:gd name="connsiteY5919" fmla="*/ 3475845 h 4565177"/>
              <a:gd name="connsiteX5920" fmla="*/ 2197934 w 12243467"/>
              <a:gd name="connsiteY5920" fmla="*/ 3484544 h 4565177"/>
              <a:gd name="connsiteX5921" fmla="*/ 2218678 w 12243467"/>
              <a:gd name="connsiteY5921" fmla="*/ 3487680 h 4565177"/>
              <a:gd name="connsiteX5922" fmla="*/ 2222274 w 12243467"/>
              <a:gd name="connsiteY5922" fmla="*/ 3481308 h 4565177"/>
              <a:gd name="connsiteX5923" fmla="*/ 2274826 w 12243467"/>
              <a:gd name="connsiteY5923" fmla="*/ 3488287 h 4565177"/>
              <a:gd name="connsiteX5924" fmla="*/ 2275103 w 12243467"/>
              <a:gd name="connsiteY5924" fmla="*/ 3496784 h 4565177"/>
              <a:gd name="connsiteX5925" fmla="*/ 2359462 w 12243467"/>
              <a:gd name="connsiteY5925" fmla="*/ 3501943 h 4565177"/>
              <a:gd name="connsiteX5926" fmla="*/ 2364994 w 12243467"/>
              <a:gd name="connsiteY5926" fmla="*/ 3496582 h 4565177"/>
              <a:gd name="connsiteX5927" fmla="*/ 2366654 w 12243467"/>
              <a:gd name="connsiteY5927" fmla="*/ 3491929 h 4565177"/>
              <a:gd name="connsiteX5928" fmla="*/ 2351995 w 12243467"/>
              <a:gd name="connsiteY5928" fmla="*/ 3494862 h 4565177"/>
              <a:gd name="connsiteX5929" fmla="*/ 2346186 w 12243467"/>
              <a:gd name="connsiteY5929" fmla="*/ 3488894 h 4565177"/>
              <a:gd name="connsiteX5930" fmla="*/ 2409802 w 12243467"/>
              <a:gd name="connsiteY5930" fmla="*/ 3485050 h 4565177"/>
              <a:gd name="connsiteX5931" fmla="*/ 2409525 w 12243467"/>
              <a:gd name="connsiteY5931" fmla="*/ 3476553 h 4565177"/>
              <a:gd name="connsiteX5932" fmla="*/ 2474801 w 12243467"/>
              <a:gd name="connsiteY5932" fmla="*/ 3470990 h 4565177"/>
              <a:gd name="connsiteX5933" fmla="*/ 2472588 w 12243467"/>
              <a:gd name="connsiteY5933" fmla="*/ 3455514 h 4565177"/>
              <a:gd name="connsiteX5934" fmla="*/ 2423908 w 12243467"/>
              <a:gd name="connsiteY5934" fmla="*/ 3453592 h 4565177"/>
              <a:gd name="connsiteX5935" fmla="*/ 2388228 w 12243467"/>
              <a:gd name="connsiteY5935" fmla="*/ 3453288 h 4565177"/>
              <a:gd name="connsiteX5936" fmla="*/ 2328208 w 12243467"/>
              <a:gd name="connsiteY5936" fmla="*/ 3444893 h 4565177"/>
              <a:gd name="connsiteX5937" fmla="*/ 2265975 w 12243467"/>
              <a:gd name="connsiteY5937" fmla="*/ 3432552 h 4565177"/>
              <a:gd name="connsiteX5938" fmla="*/ 2251039 w 12243467"/>
              <a:gd name="connsiteY5938" fmla="*/ 3435384 h 4565177"/>
              <a:gd name="connsiteX5939" fmla="*/ 2245507 w 12243467"/>
              <a:gd name="connsiteY5939" fmla="*/ 3429416 h 4565177"/>
              <a:gd name="connsiteX5940" fmla="*/ 2192955 w 12243467"/>
              <a:gd name="connsiteY5940" fmla="*/ 3433766 h 4565177"/>
              <a:gd name="connsiteX5941" fmla="*/ 2046086 w 12243467"/>
              <a:gd name="connsiteY5941" fmla="*/ 3396238 h 4565177"/>
              <a:gd name="connsiteX5942" fmla="*/ 2023682 w 12243467"/>
              <a:gd name="connsiteY5942" fmla="*/ 3397756 h 4565177"/>
              <a:gd name="connsiteX5943" fmla="*/ 2014002 w 12243467"/>
              <a:gd name="connsiteY5943" fmla="*/ 3383797 h 4565177"/>
              <a:gd name="connsiteX5944" fmla="*/ 2105829 w 12243467"/>
              <a:gd name="connsiteY5944" fmla="*/ 3393204 h 4565177"/>
              <a:gd name="connsiteX5945" fmla="*/ 2101957 w 12243467"/>
              <a:gd name="connsiteY5945" fmla="*/ 3388349 h 4565177"/>
              <a:gd name="connsiteX5946" fmla="*/ 2166126 w 12243467"/>
              <a:gd name="connsiteY5946" fmla="*/ 3407466 h 4565177"/>
              <a:gd name="connsiteX5947" fmla="*/ 2241635 w 12243467"/>
              <a:gd name="connsiteY5947" fmla="*/ 3427292 h 4565177"/>
              <a:gd name="connsiteX5948" fmla="*/ 2275379 w 12243467"/>
              <a:gd name="connsiteY5948" fmla="*/ 3429315 h 4565177"/>
              <a:gd name="connsiteX5949" fmla="*/ 2273167 w 12243467"/>
              <a:gd name="connsiteY5949" fmla="*/ 3422538 h 4565177"/>
              <a:gd name="connsiteX5950" fmla="*/ 2445759 w 12243467"/>
              <a:gd name="connsiteY5950" fmla="*/ 3429214 h 4565177"/>
              <a:gd name="connsiteX5951" fmla="*/ 2428610 w 12243467"/>
              <a:gd name="connsiteY5951" fmla="*/ 3413839 h 4565177"/>
              <a:gd name="connsiteX5952" fmla="*/ 2374398 w 12243467"/>
              <a:gd name="connsiteY5952" fmla="*/ 3417278 h 4565177"/>
              <a:gd name="connsiteX5953" fmla="*/ 2310506 w 12243467"/>
              <a:gd name="connsiteY5953" fmla="*/ 3412423 h 4565177"/>
              <a:gd name="connsiteX5954" fmla="*/ 2267358 w 12243467"/>
              <a:gd name="connsiteY5954" fmla="*/ 3405039 h 4565177"/>
              <a:gd name="connsiteX5955" fmla="*/ 2175254 w 12243467"/>
              <a:gd name="connsiteY5955" fmla="*/ 3398363 h 4565177"/>
              <a:gd name="connsiteX5956" fmla="*/ 2084809 w 12243467"/>
              <a:gd name="connsiteY5956" fmla="*/ 3375806 h 4565177"/>
              <a:gd name="connsiteX5957" fmla="*/ 2347846 w 12243467"/>
              <a:gd name="connsiteY5957" fmla="*/ 3405140 h 4565177"/>
              <a:gd name="connsiteX5958" fmla="*/ 2415334 w 12243467"/>
              <a:gd name="connsiteY5958" fmla="*/ 3412119 h 4565177"/>
              <a:gd name="connsiteX5959" fmla="*/ 2424738 w 12243467"/>
              <a:gd name="connsiteY5959" fmla="*/ 3408781 h 4565177"/>
              <a:gd name="connsiteX5960" fmla="*/ 2533714 w 12243467"/>
              <a:gd name="connsiteY5960" fmla="*/ 3419301 h 4565177"/>
              <a:gd name="connsiteX5961" fmla="*/ 2464290 w 12243467"/>
              <a:gd name="connsiteY5961" fmla="*/ 3422740 h 4565177"/>
              <a:gd name="connsiteX5962" fmla="*/ 2556118 w 12243467"/>
              <a:gd name="connsiteY5962" fmla="*/ 3423448 h 4565177"/>
              <a:gd name="connsiteX5963" fmla="*/ 2655414 w 12243467"/>
              <a:gd name="connsiteY5963" fmla="*/ 3422842 h 4565177"/>
              <a:gd name="connsiteX5964" fmla="*/ 2709625 w 12243467"/>
              <a:gd name="connsiteY5964" fmla="*/ 3419503 h 4565177"/>
              <a:gd name="connsiteX5965" fmla="*/ 2803113 w 12243467"/>
              <a:gd name="connsiteY5965" fmla="*/ 3409995 h 4565177"/>
              <a:gd name="connsiteX5966" fmla="*/ 2896600 w 12243467"/>
              <a:gd name="connsiteY5966" fmla="*/ 3400487 h 4565177"/>
              <a:gd name="connsiteX5967" fmla="*/ 2868388 w 12243467"/>
              <a:gd name="connsiteY5967" fmla="*/ 3395834 h 4565177"/>
              <a:gd name="connsiteX5968" fmla="*/ 2611989 w 12243467"/>
              <a:gd name="connsiteY5968" fmla="*/ 3412625 h 4565177"/>
              <a:gd name="connsiteX5969" fmla="*/ 2774624 w 12243467"/>
              <a:gd name="connsiteY5969" fmla="*/ 3396845 h 4565177"/>
              <a:gd name="connsiteX5970" fmla="*/ 2772688 w 12243467"/>
              <a:gd name="connsiteY5970" fmla="*/ 3390068 h 4565177"/>
              <a:gd name="connsiteX5971" fmla="*/ 2823304 w 12243467"/>
              <a:gd name="connsiteY5971" fmla="*/ 3390270 h 4565177"/>
              <a:gd name="connsiteX5972" fmla="*/ 2830495 w 12243467"/>
              <a:gd name="connsiteY5972" fmla="*/ 3383089 h 4565177"/>
              <a:gd name="connsiteX5973" fmla="*/ 2716264 w 12243467"/>
              <a:gd name="connsiteY5973" fmla="*/ 3378031 h 4565177"/>
              <a:gd name="connsiteX5974" fmla="*/ 2720136 w 12243467"/>
              <a:gd name="connsiteY5974" fmla="*/ 3388753 h 4565177"/>
              <a:gd name="connsiteX5975" fmla="*/ 2705477 w 12243467"/>
              <a:gd name="connsiteY5975" fmla="*/ 3397351 h 4565177"/>
              <a:gd name="connsiteX5976" fmla="*/ 2667860 w 12243467"/>
              <a:gd name="connsiteY5976" fmla="*/ 3393204 h 4565177"/>
              <a:gd name="connsiteX5977" fmla="*/ 2676988 w 12243467"/>
              <a:gd name="connsiteY5977" fmla="*/ 3384201 h 4565177"/>
              <a:gd name="connsiteX5978" fmla="*/ 2557224 w 12243467"/>
              <a:gd name="connsiteY5978" fmla="*/ 3381672 h 4565177"/>
              <a:gd name="connsiteX5979" fmla="*/ 2570224 w 12243467"/>
              <a:gd name="connsiteY5979" fmla="*/ 3386224 h 4565177"/>
              <a:gd name="connsiteX5980" fmla="*/ 2545884 w 12243467"/>
              <a:gd name="connsiteY5980" fmla="*/ 3383797 h 4565177"/>
              <a:gd name="connsiteX5981" fmla="*/ 2553352 w 12243467"/>
              <a:gd name="connsiteY5981" fmla="*/ 3382381 h 4565177"/>
              <a:gd name="connsiteX5982" fmla="*/ 2493332 w 12243467"/>
              <a:gd name="connsiteY5982" fmla="*/ 3376817 h 4565177"/>
              <a:gd name="connsiteX5983" fmla="*/ 2497204 w 12243467"/>
              <a:gd name="connsiteY5983" fmla="*/ 3387539 h 4565177"/>
              <a:gd name="connsiteX5984" fmla="*/ 2347016 w 12243467"/>
              <a:gd name="connsiteY5984" fmla="*/ 3367916 h 4565177"/>
              <a:gd name="connsiteX5985" fmla="*/ 2341208 w 12243467"/>
              <a:gd name="connsiteY5985" fmla="*/ 3356182 h 4565177"/>
              <a:gd name="connsiteX5986" fmla="*/ 2320463 w 12243467"/>
              <a:gd name="connsiteY5986" fmla="*/ 3352945 h 4565177"/>
              <a:gd name="connsiteX5987" fmla="*/ 2290592 w 12243467"/>
              <a:gd name="connsiteY5987" fmla="*/ 3361644 h 4565177"/>
              <a:gd name="connsiteX5988" fmla="*/ 2228082 w 12243467"/>
              <a:gd name="connsiteY5988" fmla="*/ 3332108 h 4565177"/>
              <a:gd name="connsiteX5989" fmla="*/ 2248550 w 12243467"/>
              <a:gd name="connsiteY5989" fmla="*/ 3329478 h 4565177"/>
              <a:gd name="connsiteX5990" fmla="*/ 2231401 w 12243467"/>
              <a:gd name="connsiteY5990" fmla="*/ 3317036 h 4565177"/>
              <a:gd name="connsiteX5991" fmla="*/ 2227806 w 12243467"/>
              <a:gd name="connsiteY5991" fmla="*/ 3323510 h 4565177"/>
              <a:gd name="connsiteX5992" fmla="*/ 2022576 w 12243467"/>
              <a:gd name="connsiteY5992" fmla="*/ 3272934 h 4565177"/>
              <a:gd name="connsiteX5993" fmla="*/ 2171105 w 12243467"/>
              <a:gd name="connsiteY5993" fmla="*/ 3297210 h 4565177"/>
              <a:gd name="connsiteX5994" fmla="*/ 2274273 w 12243467"/>
              <a:gd name="connsiteY5994" fmla="*/ 3307325 h 4565177"/>
              <a:gd name="connsiteX5995" fmla="*/ 2232784 w 12243467"/>
              <a:gd name="connsiteY5995" fmla="*/ 3298121 h 4565177"/>
              <a:gd name="connsiteX5996" fmla="*/ 2091723 w 12243467"/>
              <a:gd name="connsiteY5996" fmla="*/ 3272428 h 4565177"/>
              <a:gd name="connsiteX5997" fmla="*/ 2057979 w 12243467"/>
              <a:gd name="connsiteY5997" fmla="*/ 3261807 h 4565177"/>
              <a:gd name="connsiteX5998" fmla="*/ 2038895 w 12243467"/>
              <a:gd name="connsiteY5998" fmla="*/ 3248151 h 4565177"/>
              <a:gd name="connsiteX5999" fmla="*/ 2142339 w 12243467"/>
              <a:gd name="connsiteY5999" fmla="*/ 3266966 h 4565177"/>
              <a:gd name="connsiteX6000" fmla="*/ 2166679 w 12243467"/>
              <a:gd name="connsiteY6000" fmla="*/ 3275058 h 4565177"/>
              <a:gd name="connsiteX6001" fmla="*/ 2162807 w 12243467"/>
              <a:gd name="connsiteY6001" fmla="*/ 3261503 h 4565177"/>
              <a:gd name="connsiteX6002" fmla="*/ 2145935 w 12243467"/>
              <a:gd name="connsiteY6002" fmla="*/ 3260391 h 4565177"/>
              <a:gd name="connsiteX6003" fmla="*/ 2136254 w 12243467"/>
              <a:gd name="connsiteY6003" fmla="*/ 3252299 h 4565177"/>
              <a:gd name="connsiteX6004" fmla="*/ 2153126 w 12243467"/>
              <a:gd name="connsiteY6004" fmla="*/ 3244712 h 4565177"/>
              <a:gd name="connsiteX6005" fmla="*/ 2145382 w 12243467"/>
              <a:gd name="connsiteY6005" fmla="*/ 3240464 h 4565177"/>
              <a:gd name="connsiteX6006" fmla="*/ 2132382 w 12243467"/>
              <a:gd name="connsiteY6006" fmla="*/ 3250174 h 4565177"/>
              <a:gd name="connsiteX6007" fmla="*/ 2117446 w 12243467"/>
              <a:gd name="connsiteY6007" fmla="*/ 3244409 h 4565177"/>
              <a:gd name="connsiteX6008" fmla="*/ 2092553 w 12243467"/>
              <a:gd name="connsiteY6008" fmla="*/ 3227719 h 4565177"/>
              <a:gd name="connsiteX6009" fmla="*/ 2104170 w 12243467"/>
              <a:gd name="connsiteY6009" fmla="*/ 3239857 h 4565177"/>
              <a:gd name="connsiteX6010" fmla="*/ 2095042 w 12243467"/>
              <a:gd name="connsiteY6010" fmla="*/ 3248758 h 4565177"/>
              <a:gd name="connsiteX6011" fmla="*/ 2055490 w 12243467"/>
              <a:gd name="connsiteY6011" fmla="*/ 3235002 h 4565177"/>
              <a:gd name="connsiteX6012" fmla="*/ 2040001 w 12243467"/>
              <a:gd name="connsiteY6012" fmla="*/ 3217806 h 4565177"/>
              <a:gd name="connsiteX6013" fmla="*/ 2047469 w 12243467"/>
              <a:gd name="connsiteY6013" fmla="*/ 3224987 h 4565177"/>
              <a:gd name="connsiteX6014" fmla="*/ 2021193 w 12243467"/>
              <a:gd name="connsiteY6014" fmla="*/ 3218514 h 4565177"/>
              <a:gd name="connsiteX6015" fmla="*/ 2002108 w 12243467"/>
              <a:gd name="connsiteY6015" fmla="*/ 3205060 h 4565177"/>
              <a:gd name="connsiteX6016" fmla="*/ 1990768 w 12243467"/>
              <a:gd name="connsiteY6016" fmla="*/ 3195856 h 4565177"/>
              <a:gd name="connsiteX6017" fmla="*/ 1879302 w 12243467"/>
              <a:gd name="connsiteY6017" fmla="*/ 3158530 h 4565177"/>
              <a:gd name="connsiteX6018" fmla="*/ 1875430 w 12243467"/>
              <a:gd name="connsiteY6018" fmla="*/ 3147808 h 4565177"/>
              <a:gd name="connsiteX6019" fmla="*/ 1858005 w 12243467"/>
              <a:gd name="connsiteY6019" fmla="*/ 3135265 h 4565177"/>
              <a:gd name="connsiteX6020" fmla="*/ 1833665 w 12243467"/>
              <a:gd name="connsiteY6020" fmla="*/ 3132838 h 4565177"/>
              <a:gd name="connsiteX6021" fmla="*/ 1819282 w 12243467"/>
              <a:gd name="connsiteY6021" fmla="*/ 3123329 h 4565177"/>
              <a:gd name="connsiteX6022" fmla="*/ 1807942 w 12243467"/>
              <a:gd name="connsiteY6022" fmla="*/ 3115945 h 4565177"/>
              <a:gd name="connsiteX6023" fmla="*/ 1802134 w 12243467"/>
              <a:gd name="connsiteY6023" fmla="*/ 3113922 h 4565177"/>
              <a:gd name="connsiteX6024" fmla="*/ 1792453 w 12243467"/>
              <a:gd name="connsiteY6024" fmla="*/ 3108763 h 4565177"/>
              <a:gd name="connsiteX6025" fmla="*/ 1789964 w 12243467"/>
              <a:gd name="connsiteY6025" fmla="*/ 3108966 h 4565177"/>
              <a:gd name="connsiteX6026" fmla="*/ 1782772 w 12243467"/>
              <a:gd name="connsiteY6026" fmla="*/ 3104211 h 4565177"/>
              <a:gd name="connsiteX6027" fmla="*/ 1783879 w 12243467"/>
              <a:gd name="connsiteY6027" fmla="*/ 3104211 h 4565177"/>
              <a:gd name="connsiteX6028" fmla="*/ 1771985 w 12243467"/>
              <a:gd name="connsiteY6028" fmla="*/ 3097940 h 4565177"/>
              <a:gd name="connsiteX6029" fmla="*/ 1699242 w 12243467"/>
              <a:gd name="connsiteY6029" fmla="*/ 3067898 h 4565177"/>
              <a:gd name="connsiteX6030" fmla="*/ 1546011 w 12243467"/>
              <a:gd name="connsiteY6030" fmla="*/ 3001643 h 4565177"/>
              <a:gd name="connsiteX6031" fmla="*/ 1541309 w 12243467"/>
              <a:gd name="connsiteY6031" fmla="*/ 3009229 h 4565177"/>
              <a:gd name="connsiteX6032" fmla="*/ 1521948 w 12243467"/>
              <a:gd name="connsiteY6032" fmla="*/ 2987987 h 4565177"/>
              <a:gd name="connsiteX6033" fmla="*/ 1471885 w 12243467"/>
              <a:gd name="connsiteY6033" fmla="*/ 2966341 h 4565177"/>
              <a:gd name="connsiteX6034" fmla="*/ 1472715 w 12243467"/>
              <a:gd name="connsiteY6034" fmla="*/ 2953798 h 4565177"/>
              <a:gd name="connsiteX6035" fmla="*/ 1446162 w 12243467"/>
              <a:gd name="connsiteY6035" fmla="*/ 2958249 h 4565177"/>
              <a:gd name="connsiteX6036" fmla="*/ 1435928 w 12243467"/>
              <a:gd name="connsiteY6036" fmla="*/ 2954000 h 4565177"/>
              <a:gd name="connsiteX6037" fmla="*/ 1423758 w 12243467"/>
              <a:gd name="connsiteY6037" fmla="*/ 2937411 h 4565177"/>
              <a:gd name="connsiteX6038" fmla="*/ 1418780 w 12243467"/>
              <a:gd name="connsiteY6038" fmla="*/ 2943278 h 4565177"/>
              <a:gd name="connsiteX6039" fmla="*/ 1412695 w 12243467"/>
              <a:gd name="connsiteY6039" fmla="*/ 2943885 h 4565177"/>
              <a:gd name="connsiteX6040" fmla="*/ 1362079 w 12243467"/>
              <a:gd name="connsiteY6040" fmla="*/ 2902716 h 4565177"/>
              <a:gd name="connsiteX6041" fmla="*/ 1353505 w 12243467"/>
              <a:gd name="connsiteY6041" fmla="*/ 2905447 h 4565177"/>
              <a:gd name="connsiteX6042" fmla="*/ 1290995 w 12243467"/>
              <a:gd name="connsiteY6042" fmla="*/ 2865391 h 4565177"/>
              <a:gd name="connsiteX6043" fmla="*/ 1159338 w 12243467"/>
              <a:gd name="connsiteY6043" fmla="*/ 2766464 h 4565177"/>
              <a:gd name="connsiteX6044" fmla="*/ 1144956 w 12243467"/>
              <a:gd name="connsiteY6044" fmla="*/ 2771521 h 4565177"/>
              <a:gd name="connsiteX6045" fmla="*/ 1144956 w 12243467"/>
              <a:gd name="connsiteY6045" fmla="*/ 2755539 h 4565177"/>
              <a:gd name="connsiteX6046" fmla="*/ 1102637 w 12243467"/>
              <a:gd name="connsiteY6046" fmla="*/ 2726003 h 4565177"/>
              <a:gd name="connsiteX6047" fmla="*/ 1097935 w 12243467"/>
              <a:gd name="connsiteY6047" fmla="*/ 2717506 h 4565177"/>
              <a:gd name="connsiteX6048" fmla="*/ 1086042 w 12243467"/>
              <a:gd name="connsiteY6048" fmla="*/ 2718821 h 4565177"/>
              <a:gd name="connsiteX6049" fmla="*/ 1094340 w 12243467"/>
              <a:gd name="connsiteY6049" fmla="*/ 2730352 h 4565177"/>
              <a:gd name="connsiteX6050" fmla="*/ 1076362 w 12243467"/>
              <a:gd name="connsiteY6050" fmla="*/ 2716191 h 4565177"/>
              <a:gd name="connsiteX6051" fmla="*/ 1087702 w 12243467"/>
              <a:gd name="connsiteY6051" fmla="*/ 2711437 h 4565177"/>
              <a:gd name="connsiteX6052" fmla="*/ 1072766 w 12243467"/>
              <a:gd name="connsiteY6052" fmla="*/ 2696871 h 4565177"/>
              <a:gd name="connsiteX6053" fmla="*/ 1068341 w 12243467"/>
              <a:gd name="connsiteY6053" fmla="*/ 2706278 h 4565177"/>
              <a:gd name="connsiteX6054" fmla="*/ 1066404 w 12243467"/>
              <a:gd name="connsiteY6054" fmla="*/ 2695758 h 4565177"/>
              <a:gd name="connsiteX6055" fmla="*/ 1023256 w 12243467"/>
              <a:gd name="connsiteY6055" fmla="*/ 2660962 h 4565177"/>
              <a:gd name="connsiteX6056" fmla="*/ 1003342 w 12243467"/>
              <a:gd name="connsiteY6056" fmla="*/ 2636179 h 4565177"/>
              <a:gd name="connsiteX6057" fmla="*/ 971810 w 12243467"/>
              <a:gd name="connsiteY6057" fmla="*/ 2598348 h 4565177"/>
              <a:gd name="connsiteX6058" fmla="*/ 930599 w 12243467"/>
              <a:gd name="connsiteY6058" fmla="*/ 2574072 h 4565177"/>
              <a:gd name="connsiteX6059" fmla="*/ 893535 w 12243467"/>
              <a:gd name="connsiteY6059" fmla="*/ 2506603 h 4565177"/>
              <a:gd name="connsiteX6060" fmla="*/ 877493 w 12243467"/>
              <a:gd name="connsiteY6060" fmla="*/ 2502759 h 4565177"/>
              <a:gd name="connsiteX6061" fmla="*/ 826047 w 12243467"/>
              <a:gd name="connsiteY6061" fmla="*/ 2424164 h 4565177"/>
              <a:gd name="connsiteX6062" fmla="*/ 843749 w 12243467"/>
              <a:gd name="connsiteY6062" fmla="*/ 2420623 h 4565177"/>
              <a:gd name="connsiteX6063" fmla="*/ 824111 w 12243467"/>
              <a:gd name="connsiteY6063" fmla="*/ 2413745 h 4565177"/>
              <a:gd name="connsiteX6064" fmla="*/ 816471 w 12243467"/>
              <a:gd name="connsiteY6064" fmla="*/ 2397953 h 4565177"/>
              <a:gd name="connsiteX6065" fmla="*/ 810112 w 12243467"/>
              <a:gd name="connsiteY6065" fmla="*/ 2386050 h 4565177"/>
              <a:gd name="connsiteX6066" fmla="*/ 772572 w 12243467"/>
              <a:gd name="connsiteY6066" fmla="*/ 2392887 h 4565177"/>
              <a:gd name="connsiteX6067" fmla="*/ 600589 w 12243467"/>
              <a:gd name="connsiteY6067" fmla="*/ 2438074 h 4565177"/>
              <a:gd name="connsiteX6068" fmla="*/ 168938 w 12243467"/>
              <a:gd name="connsiteY6068" fmla="*/ 2460681 h 4565177"/>
              <a:gd name="connsiteX6069" fmla="*/ 25739 w 12243467"/>
              <a:gd name="connsiteY6069" fmla="*/ 2359627 h 4565177"/>
              <a:gd name="connsiteX6070" fmla="*/ 372208 w 12243467"/>
              <a:gd name="connsiteY6070" fmla="*/ 2258384 h 4565177"/>
              <a:gd name="connsiteX6071" fmla="*/ 0 w 12243467"/>
              <a:gd name="connsiteY6071" fmla="*/ 2199462 h 4565177"/>
              <a:gd name="connsiteX6072" fmla="*/ 12624 w 12243467"/>
              <a:gd name="connsiteY6072" fmla="*/ 2165152 h 4565177"/>
              <a:gd name="connsiteX6073" fmla="*/ 942001 w 12243467"/>
              <a:gd name="connsiteY6073" fmla="*/ 1910341 h 4565177"/>
              <a:gd name="connsiteX6074" fmla="*/ 1079916 w 12243467"/>
              <a:gd name="connsiteY6074" fmla="*/ 1865665 h 4565177"/>
              <a:gd name="connsiteX6075" fmla="*/ 1195539 w 12243467"/>
              <a:gd name="connsiteY6075" fmla="*/ 1851562 h 4565177"/>
              <a:gd name="connsiteX6076" fmla="*/ 1305878 w 12243467"/>
              <a:gd name="connsiteY6076" fmla="*/ 1825470 h 4565177"/>
              <a:gd name="connsiteX6077" fmla="*/ 1306080 w 12243467"/>
              <a:gd name="connsiteY6077" fmla="*/ 1806241 h 4565177"/>
              <a:gd name="connsiteX6078" fmla="*/ 1310921 w 12243467"/>
              <a:gd name="connsiteY6078" fmla="*/ 1740327 h 4565177"/>
              <a:gd name="connsiteX6079" fmla="*/ 1299581 w 12243467"/>
              <a:gd name="connsiteY6079" fmla="*/ 1740833 h 4565177"/>
              <a:gd name="connsiteX6080" fmla="*/ 1315623 w 12243467"/>
              <a:gd name="connsiteY6080" fmla="*/ 1718175 h 4565177"/>
              <a:gd name="connsiteX6081" fmla="*/ 1317559 w 12243467"/>
              <a:gd name="connsiteY6081" fmla="*/ 1675286 h 4565177"/>
              <a:gd name="connsiteX6082" fmla="*/ 1332772 w 12243467"/>
              <a:gd name="connsiteY6082" fmla="*/ 1669824 h 4565177"/>
              <a:gd name="connsiteX6083" fmla="*/ 1314793 w 12243467"/>
              <a:gd name="connsiteY6083" fmla="*/ 1654449 h 4565177"/>
              <a:gd name="connsiteX6084" fmla="*/ 1315070 w 12243467"/>
              <a:gd name="connsiteY6084" fmla="*/ 1645952 h 4565177"/>
              <a:gd name="connsiteX6085" fmla="*/ 1328899 w 12243467"/>
              <a:gd name="connsiteY6085" fmla="*/ 1629970 h 4565177"/>
              <a:gd name="connsiteX6086" fmla="*/ 1319495 w 12243467"/>
              <a:gd name="connsiteY6086" fmla="*/ 1629464 h 4565177"/>
              <a:gd name="connsiteX6087" fmla="*/ 1315900 w 12243467"/>
              <a:gd name="connsiteY6087" fmla="*/ 1625924 h 4565177"/>
              <a:gd name="connsiteX6088" fmla="*/ 1340793 w 12243467"/>
              <a:gd name="connsiteY6088" fmla="*/ 1573324 h 4565177"/>
              <a:gd name="connsiteX6089" fmla="*/ 1333325 w 12243467"/>
              <a:gd name="connsiteY6089" fmla="*/ 1568874 h 4565177"/>
              <a:gd name="connsiteX6090" fmla="*/ 1351027 w 12243467"/>
              <a:gd name="connsiteY6090" fmla="*/ 1508991 h 4565177"/>
              <a:gd name="connsiteX6091" fmla="*/ 1405514 w 12243467"/>
              <a:gd name="connsiteY6091" fmla="*/ 1375976 h 4565177"/>
              <a:gd name="connsiteX6092" fmla="*/ 1392515 w 12243467"/>
              <a:gd name="connsiteY6092" fmla="*/ 1368996 h 4565177"/>
              <a:gd name="connsiteX6093" fmla="*/ 1411600 w 12243467"/>
              <a:gd name="connsiteY6093" fmla="*/ 1361410 h 4565177"/>
              <a:gd name="connsiteX6094" fmla="*/ 1426536 w 12243467"/>
              <a:gd name="connsiteY6094" fmla="*/ 1319735 h 4565177"/>
              <a:gd name="connsiteX6095" fmla="*/ 1434279 w 12243467"/>
              <a:gd name="connsiteY6095" fmla="*/ 1312756 h 4565177"/>
              <a:gd name="connsiteX6096" fmla="*/ 1427089 w 12243467"/>
              <a:gd name="connsiteY6096" fmla="*/ 1305473 h 4565177"/>
              <a:gd name="connsiteX6097" fmla="*/ 1417408 w 12243467"/>
              <a:gd name="connsiteY6097" fmla="*/ 1316498 h 4565177"/>
              <a:gd name="connsiteX6098" fmla="*/ 1425706 w 12243467"/>
              <a:gd name="connsiteY6098" fmla="*/ 1297987 h 4565177"/>
              <a:gd name="connsiteX6099" fmla="*/ 1436770 w 12243467"/>
              <a:gd name="connsiteY6099" fmla="*/ 1303146 h 4565177"/>
              <a:gd name="connsiteX6100" fmla="*/ 1446727 w 12243467"/>
              <a:gd name="connsiteY6100" fmla="*/ 1286456 h 4565177"/>
              <a:gd name="connsiteX6101" fmla="*/ 1433727 w 12243467"/>
              <a:gd name="connsiteY6101" fmla="*/ 1288075 h 4565177"/>
              <a:gd name="connsiteX6102" fmla="*/ 1445067 w 12243467"/>
              <a:gd name="connsiteY6102" fmla="*/ 1281803 h 4565177"/>
              <a:gd name="connsiteX6103" fmla="*/ 1465812 w 12243467"/>
              <a:gd name="connsiteY6103" fmla="*/ 1236993 h 4565177"/>
              <a:gd name="connsiteX6104" fmla="*/ 1485449 w 12243467"/>
              <a:gd name="connsiteY6104" fmla="*/ 1212210 h 4565177"/>
              <a:gd name="connsiteX6105" fmla="*/ 1515321 w 12243467"/>
              <a:gd name="connsiteY6105" fmla="*/ 1173671 h 4565177"/>
              <a:gd name="connsiteX6106" fmla="*/ 1524448 w 12243467"/>
              <a:gd name="connsiteY6106" fmla="*/ 1135031 h 4565177"/>
              <a:gd name="connsiteX6107" fmla="*/ 1586958 w 12243467"/>
              <a:gd name="connsiteY6107" fmla="*/ 1078689 h 4565177"/>
              <a:gd name="connsiteX6108" fmla="*/ 1583639 w 12243467"/>
              <a:gd name="connsiteY6108" fmla="*/ 1066450 h 4565177"/>
              <a:gd name="connsiteX6109" fmla="*/ 1652233 w 12243467"/>
              <a:gd name="connsiteY6109" fmla="*/ 995542 h 4565177"/>
              <a:gd name="connsiteX6110" fmla="*/ 1664956 w 12243467"/>
              <a:gd name="connsiteY6110" fmla="*/ 1005354 h 4565177"/>
              <a:gd name="connsiteX6111" fmla="*/ 1663850 w 12243467"/>
              <a:gd name="connsiteY6111" fmla="*/ 989270 h 4565177"/>
              <a:gd name="connsiteX6112" fmla="*/ 1690956 w 12243467"/>
              <a:gd name="connsiteY6112" fmla="*/ 966005 h 4565177"/>
              <a:gd name="connsiteX6113" fmla="*/ 1695934 w 12243467"/>
              <a:gd name="connsiteY6113" fmla="*/ 985730 h 4565177"/>
              <a:gd name="connsiteX6114" fmla="*/ 1684041 w 12243467"/>
              <a:gd name="connsiteY6114" fmla="*/ 997767 h 4565177"/>
              <a:gd name="connsiteX6115" fmla="*/ 1709764 w 12243467"/>
              <a:gd name="connsiteY6115" fmla="*/ 1008894 h 4565177"/>
              <a:gd name="connsiteX6116" fmla="*/ 1684594 w 12243467"/>
              <a:gd name="connsiteY6116" fmla="*/ 1031046 h 4565177"/>
              <a:gd name="connsiteX6117" fmla="*/ 1644765 w 12243467"/>
              <a:gd name="connsiteY6117" fmla="*/ 1086275 h 4565177"/>
              <a:gd name="connsiteX6118" fmla="*/ 1624851 w 12243467"/>
              <a:gd name="connsiteY6118" fmla="*/ 1111058 h 4565177"/>
              <a:gd name="connsiteX6119" fmla="*/ 1598575 w 12243467"/>
              <a:gd name="connsiteY6119" fmla="*/ 1153238 h 4565177"/>
              <a:gd name="connsiteX6120" fmla="*/ 1587511 w 12243467"/>
              <a:gd name="connsiteY6120" fmla="*/ 1151013 h 4565177"/>
              <a:gd name="connsiteX6121" fmla="*/ 1575065 w 12243467"/>
              <a:gd name="connsiteY6121" fmla="*/ 1180145 h 4565177"/>
              <a:gd name="connsiteX6122" fmla="*/ 1554874 w 12243467"/>
              <a:gd name="connsiteY6122" fmla="*/ 1210693 h 4565177"/>
              <a:gd name="connsiteX6123" fmla="*/ 1509236 w 12243467"/>
              <a:gd name="connsiteY6123" fmla="*/ 1316600 h 4565177"/>
              <a:gd name="connsiteX6124" fmla="*/ 1495960 w 12243467"/>
              <a:gd name="connsiteY6124" fmla="*/ 1321050 h 4565177"/>
              <a:gd name="connsiteX6125" fmla="*/ 1508960 w 12243467"/>
              <a:gd name="connsiteY6125" fmla="*/ 1322264 h 4565177"/>
              <a:gd name="connsiteX6126" fmla="*/ 1461663 w 12243467"/>
              <a:gd name="connsiteY6126" fmla="*/ 1420786 h 4565177"/>
              <a:gd name="connsiteX6127" fmla="*/ 1454471 w 12243467"/>
              <a:gd name="connsiteY6127" fmla="*/ 1410671 h 4565177"/>
              <a:gd name="connsiteX6128" fmla="*/ 1453088 w 12243467"/>
              <a:gd name="connsiteY6128" fmla="*/ 1444962 h 4565177"/>
              <a:gd name="connsiteX6129" fmla="*/ 1440918 w 12243467"/>
              <a:gd name="connsiteY6129" fmla="*/ 1468429 h 4565177"/>
              <a:gd name="connsiteX6130" fmla="*/ 1435663 w 12243467"/>
              <a:gd name="connsiteY6130" fmla="*/ 1460135 h 4565177"/>
              <a:gd name="connsiteX6131" fmla="*/ 1425429 w 12243467"/>
              <a:gd name="connsiteY6131" fmla="*/ 1479657 h 4565177"/>
              <a:gd name="connsiteX6132" fmla="*/ 1438429 w 12243467"/>
              <a:gd name="connsiteY6132" fmla="*/ 1478039 h 4565177"/>
              <a:gd name="connsiteX6133" fmla="*/ 1427918 w 12243467"/>
              <a:gd name="connsiteY6133" fmla="*/ 1503327 h 4565177"/>
              <a:gd name="connsiteX6134" fmla="*/ 1432344 w 12243467"/>
              <a:gd name="connsiteY6134" fmla="*/ 1489772 h 4565177"/>
              <a:gd name="connsiteX6135" fmla="*/ 1421281 w 12243467"/>
              <a:gd name="connsiteY6135" fmla="*/ 1487446 h 4565177"/>
              <a:gd name="connsiteX6136" fmla="*/ 1429578 w 12243467"/>
              <a:gd name="connsiteY6136" fmla="*/ 1513644 h 4565177"/>
              <a:gd name="connsiteX6137" fmla="*/ 1416579 w 12243467"/>
              <a:gd name="connsiteY6137" fmla="*/ 1509598 h 4565177"/>
              <a:gd name="connsiteX6138" fmla="*/ 1394451 w 12243467"/>
              <a:gd name="connsiteY6138" fmla="*/ 1633409 h 4565177"/>
              <a:gd name="connsiteX6139" fmla="*/ 1377303 w 12243467"/>
              <a:gd name="connsiteY6139" fmla="*/ 1637050 h 4565177"/>
              <a:gd name="connsiteX6140" fmla="*/ 1391132 w 12243467"/>
              <a:gd name="connsiteY6140" fmla="*/ 1665980 h 4565177"/>
              <a:gd name="connsiteX6141" fmla="*/ 1384217 w 12243467"/>
              <a:gd name="connsiteY6141" fmla="*/ 1736685 h 4565177"/>
              <a:gd name="connsiteX6142" fmla="*/ 1372979 w 12243467"/>
              <a:gd name="connsiteY6142" fmla="*/ 1809603 h 4565177"/>
              <a:gd name="connsiteX6143" fmla="*/ 1420196 w 12243467"/>
              <a:gd name="connsiteY6143" fmla="*/ 1798437 h 4565177"/>
              <a:gd name="connsiteX6144" fmla="*/ 1422663 w 12243467"/>
              <a:gd name="connsiteY6144" fmla="*/ 1784784 h 4565177"/>
              <a:gd name="connsiteX6145" fmla="*/ 1424046 w 12243467"/>
              <a:gd name="connsiteY6145" fmla="*/ 1723232 h 4565177"/>
              <a:gd name="connsiteX6146" fmla="*/ 1428195 w 12243467"/>
              <a:gd name="connsiteY6146" fmla="*/ 1718276 h 4565177"/>
              <a:gd name="connsiteX6147" fmla="*/ 1422940 w 12243467"/>
              <a:gd name="connsiteY6147" fmla="*/ 1709981 h 4565177"/>
              <a:gd name="connsiteX6148" fmla="*/ 1429578 w 12243467"/>
              <a:gd name="connsiteY6148" fmla="*/ 1681052 h 4565177"/>
              <a:gd name="connsiteX6149" fmla="*/ 1457790 w 12243467"/>
              <a:gd name="connsiteY6149" fmla="*/ 1595982 h 4565177"/>
              <a:gd name="connsiteX6150" fmla="*/ 1454471 w 12243467"/>
              <a:gd name="connsiteY6150" fmla="*/ 1583743 h 4565177"/>
              <a:gd name="connsiteX6151" fmla="*/ 1468024 w 12243467"/>
              <a:gd name="connsiteY6151" fmla="*/ 1573527 h 4565177"/>
              <a:gd name="connsiteX6152" fmla="*/ 1476599 w 12243467"/>
              <a:gd name="connsiteY6152" fmla="*/ 1546519 h 4565177"/>
              <a:gd name="connsiteX6153" fmla="*/ 1493471 w 12243467"/>
              <a:gd name="connsiteY6153" fmla="*/ 1551374 h 4565177"/>
              <a:gd name="connsiteX6154" fmla="*/ 1477152 w 12243467"/>
              <a:gd name="connsiteY6154" fmla="*/ 1540753 h 4565177"/>
              <a:gd name="connsiteX6155" fmla="*/ 1496235 w 12243467"/>
              <a:gd name="connsiteY6155" fmla="*/ 1530335 h 4565177"/>
              <a:gd name="connsiteX6156" fmla="*/ 1499278 w 12243467"/>
              <a:gd name="connsiteY6156" fmla="*/ 1500697 h 4565177"/>
              <a:gd name="connsiteX6157" fmla="*/ 1500109 w 12243467"/>
              <a:gd name="connsiteY6157" fmla="*/ 1483501 h 4565177"/>
              <a:gd name="connsiteX6158" fmla="*/ 1490981 w 12243467"/>
              <a:gd name="connsiteY6158" fmla="*/ 1480163 h 4565177"/>
              <a:gd name="connsiteX6159" fmla="*/ 1491534 w 12243467"/>
              <a:gd name="connsiteY6159" fmla="*/ 1465900 h 4565177"/>
              <a:gd name="connsiteX6160" fmla="*/ 1501767 w 12243467"/>
              <a:gd name="connsiteY6160" fmla="*/ 1443445 h 4565177"/>
              <a:gd name="connsiteX6161" fmla="*/ 1515045 w 12243467"/>
              <a:gd name="connsiteY6161" fmla="*/ 1444658 h 4565177"/>
              <a:gd name="connsiteX6162" fmla="*/ 1508406 w 12243467"/>
              <a:gd name="connsiteY6162" fmla="*/ 1423113 h 4565177"/>
              <a:gd name="connsiteX6163" fmla="*/ 1518087 w 12243467"/>
              <a:gd name="connsiteY6163" fmla="*/ 1412290 h 4565177"/>
              <a:gd name="connsiteX6164" fmla="*/ 1553214 w 12243467"/>
              <a:gd name="connsiteY6164" fmla="*/ 1340067 h 4565177"/>
              <a:gd name="connsiteX6165" fmla="*/ 1551831 w 12243467"/>
              <a:gd name="connsiteY6165" fmla="*/ 1326816 h 4565177"/>
              <a:gd name="connsiteX6166" fmla="*/ 1603553 w 12243467"/>
              <a:gd name="connsiteY6166" fmla="*/ 1256717 h 4565177"/>
              <a:gd name="connsiteX6167" fmla="*/ 1600234 w 12243467"/>
              <a:gd name="connsiteY6167" fmla="*/ 1244478 h 4565177"/>
              <a:gd name="connsiteX6168" fmla="*/ 1624851 w 12243467"/>
              <a:gd name="connsiteY6168" fmla="*/ 1242354 h 4565177"/>
              <a:gd name="connsiteX6169" fmla="*/ 1639233 w 12243467"/>
              <a:gd name="connsiteY6169" fmla="*/ 1212109 h 4565177"/>
              <a:gd name="connsiteX6170" fmla="*/ 1636468 w 12243467"/>
              <a:gd name="connsiteY6170" fmla="*/ 1188541 h 4565177"/>
              <a:gd name="connsiteX6171" fmla="*/ 1649744 w 12243467"/>
              <a:gd name="connsiteY6171" fmla="*/ 1186821 h 4565177"/>
              <a:gd name="connsiteX6172" fmla="*/ 1675190 w 12243467"/>
              <a:gd name="connsiteY6172" fmla="*/ 1161735 h 4565177"/>
              <a:gd name="connsiteX6173" fmla="*/ 1682105 w 12243467"/>
              <a:gd name="connsiteY6173" fmla="*/ 1129973 h 4565177"/>
              <a:gd name="connsiteX6174" fmla="*/ 1787486 w 12243467"/>
              <a:gd name="connsiteY6174" fmla="*/ 1036306 h 4565177"/>
              <a:gd name="connsiteX6175" fmla="*/ 1790252 w 12243467"/>
              <a:gd name="connsiteY6175" fmla="*/ 1033777 h 4565177"/>
              <a:gd name="connsiteX6176" fmla="*/ 1786656 w 12243467"/>
              <a:gd name="connsiteY6176" fmla="*/ 1058256 h 4565177"/>
              <a:gd name="connsiteX6177" fmla="*/ 1766465 w 12243467"/>
              <a:gd name="connsiteY6177" fmla="*/ 1086882 h 4565177"/>
              <a:gd name="connsiteX6178" fmla="*/ 1782784 w 12243467"/>
              <a:gd name="connsiteY6178" fmla="*/ 1100234 h 4565177"/>
              <a:gd name="connsiteX6179" fmla="*/ 1828144 w 12243467"/>
              <a:gd name="connsiteY6179" fmla="*/ 1047635 h 4565177"/>
              <a:gd name="connsiteX6180" fmla="*/ 1858569 w 12243467"/>
              <a:gd name="connsiteY6180" fmla="*/ 1039442 h 4565177"/>
              <a:gd name="connsiteX6181" fmla="*/ 1803528 w 12243467"/>
              <a:gd name="connsiteY6181" fmla="*/ 1097402 h 4565177"/>
              <a:gd name="connsiteX6182" fmla="*/ 1814038 w 12243467"/>
              <a:gd name="connsiteY6182" fmla="*/ 1113991 h 4565177"/>
              <a:gd name="connsiteX6183" fmla="*/ 1823718 w 12243467"/>
              <a:gd name="connsiteY6183" fmla="*/ 1108731 h 4565177"/>
              <a:gd name="connsiteX6184" fmla="*/ 1825102 w 12243467"/>
              <a:gd name="connsiteY6184" fmla="*/ 1116217 h 4565177"/>
              <a:gd name="connsiteX6185" fmla="*/ 1836442 w 12243467"/>
              <a:gd name="connsiteY6185" fmla="*/ 1118543 h 4565177"/>
              <a:gd name="connsiteX6186" fmla="*/ 1846675 w 12243467"/>
              <a:gd name="connsiteY6186" fmla="*/ 1096087 h 4565177"/>
              <a:gd name="connsiteX6187" fmla="*/ 1860782 w 12243467"/>
              <a:gd name="connsiteY6187" fmla="*/ 1113485 h 4565177"/>
              <a:gd name="connsiteX6188" fmla="*/ 1887058 w 12243467"/>
              <a:gd name="connsiteY6188" fmla="*/ 1116014 h 4565177"/>
              <a:gd name="connsiteX6189" fmla="*/ 1875441 w 12243467"/>
              <a:gd name="connsiteY6189" fmla="*/ 1122185 h 4565177"/>
              <a:gd name="connsiteX6190" fmla="*/ 1858845 w 12243467"/>
              <a:gd name="connsiteY6190" fmla="*/ 1117329 h 4565177"/>
              <a:gd name="connsiteX6191" fmla="*/ 1864101 w 12243467"/>
              <a:gd name="connsiteY6191" fmla="*/ 1122791 h 4565177"/>
              <a:gd name="connsiteX6192" fmla="*/ 1847228 w 12243467"/>
              <a:gd name="connsiteY6192" fmla="*/ 1126534 h 4565177"/>
              <a:gd name="connsiteX6193" fmla="*/ 1861887 w 12243467"/>
              <a:gd name="connsiteY6193" fmla="*/ 1132401 h 4565177"/>
              <a:gd name="connsiteX6194" fmla="*/ 1866590 w 12243467"/>
              <a:gd name="connsiteY6194" fmla="*/ 1155059 h 4565177"/>
              <a:gd name="connsiteX6195" fmla="*/ 1840313 w 12243467"/>
              <a:gd name="connsiteY6195" fmla="*/ 1158296 h 4565177"/>
              <a:gd name="connsiteX6196" fmla="*/ 1806847 w 12243467"/>
              <a:gd name="connsiteY6196" fmla="*/ 1193295 h 4565177"/>
              <a:gd name="connsiteX6197" fmla="*/ 1806294 w 12243467"/>
              <a:gd name="connsiteY6197" fmla="*/ 1207557 h 4565177"/>
              <a:gd name="connsiteX6198" fmla="*/ 1802975 w 12243467"/>
              <a:gd name="connsiteY6198" fmla="*/ 1198251 h 4565177"/>
              <a:gd name="connsiteX6199" fmla="*/ 1785272 w 12243467"/>
              <a:gd name="connsiteY6199" fmla="*/ 1213323 h 4565177"/>
              <a:gd name="connsiteX6200" fmla="*/ 1801868 w 12243467"/>
              <a:gd name="connsiteY6200" fmla="*/ 1223944 h 4565177"/>
              <a:gd name="connsiteX6201" fmla="*/ 1795783 w 12243467"/>
              <a:gd name="connsiteY6201" fmla="*/ 1230013 h 4565177"/>
              <a:gd name="connsiteX6202" fmla="*/ 1788869 w 12243467"/>
              <a:gd name="connsiteY6202" fmla="*/ 1219797 h 4565177"/>
              <a:gd name="connsiteX6203" fmla="*/ 1784720 w 12243467"/>
              <a:gd name="connsiteY6203" fmla="*/ 1224753 h 4565177"/>
              <a:gd name="connsiteX6204" fmla="*/ 1792188 w 12243467"/>
              <a:gd name="connsiteY6204" fmla="*/ 1229204 h 4565177"/>
              <a:gd name="connsiteX6205" fmla="*/ 1762039 w 12243467"/>
              <a:gd name="connsiteY6205" fmla="*/ 1273509 h 4565177"/>
              <a:gd name="connsiteX6206" fmla="*/ 1752082 w 12243467"/>
              <a:gd name="connsiteY6206" fmla="*/ 1287265 h 4565177"/>
              <a:gd name="connsiteX6207" fmla="*/ 1759550 w 12243467"/>
              <a:gd name="connsiteY6207" fmla="*/ 1291716 h 4565177"/>
              <a:gd name="connsiteX6208" fmla="*/ 1735486 w 12243467"/>
              <a:gd name="connsiteY6208" fmla="*/ 1327119 h 4565177"/>
              <a:gd name="connsiteX6209" fmla="*/ 1724422 w 12243467"/>
              <a:gd name="connsiteY6209" fmla="*/ 1324793 h 4565177"/>
              <a:gd name="connsiteX6210" fmla="*/ 1693722 w 12243467"/>
              <a:gd name="connsiteY6210" fmla="*/ 1383461 h 4565177"/>
              <a:gd name="connsiteX6211" fmla="*/ 1698977 w 12243467"/>
              <a:gd name="connsiteY6211" fmla="*/ 1388923 h 4565177"/>
              <a:gd name="connsiteX6212" fmla="*/ 1704509 w 12243467"/>
              <a:gd name="connsiteY6212" fmla="*/ 1391452 h 4565177"/>
              <a:gd name="connsiteX6213" fmla="*/ 1705062 w 12243467"/>
              <a:gd name="connsiteY6213" fmla="*/ 1380022 h 4565177"/>
              <a:gd name="connsiteX6214" fmla="*/ 1714466 w 12243467"/>
              <a:gd name="connsiteY6214" fmla="*/ 1377696 h 4565177"/>
              <a:gd name="connsiteX6215" fmla="*/ 1701190 w 12243467"/>
              <a:gd name="connsiteY6215" fmla="*/ 1424023 h 4565177"/>
              <a:gd name="connsiteX6216" fmla="*/ 1712530 w 12243467"/>
              <a:gd name="connsiteY6216" fmla="*/ 1426249 h 4565177"/>
              <a:gd name="connsiteX6217" fmla="*/ 1700913 w 12243467"/>
              <a:gd name="connsiteY6217" fmla="*/ 1474397 h 4565177"/>
              <a:gd name="connsiteX6218" fmla="*/ 1721381 w 12243467"/>
              <a:gd name="connsiteY6218" fmla="*/ 1477128 h 4565177"/>
              <a:gd name="connsiteX6219" fmla="*/ 1737975 w 12243467"/>
              <a:gd name="connsiteY6219" fmla="*/ 1443040 h 4565177"/>
              <a:gd name="connsiteX6220" fmla="*/ 1748487 w 12243467"/>
              <a:gd name="connsiteY6220" fmla="*/ 1417752 h 4565177"/>
              <a:gd name="connsiteX6221" fmla="*/ 1776422 w 12243467"/>
              <a:gd name="connsiteY6221" fmla="*/ 1377392 h 4565177"/>
              <a:gd name="connsiteX6222" fmla="*/ 1809889 w 12243467"/>
              <a:gd name="connsiteY6222" fmla="*/ 1336729 h 4565177"/>
              <a:gd name="connsiteX6223" fmla="*/ 1810443 w 12243467"/>
              <a:gd name="connsiteY6223" fmla="*/ 1325299 h 4565177"/>
              <a:gd name="connsiteX6224" fmla="*/ 1820123 w 12243467"/>
              <a:gd name="connsiteY6224" fmla="*/ 1322871 h 4565177"/>
              <a:gd name="connsiteX6225" fmla="*/ 1829250 w 12243467"/>
              <a:gd name="connsiteY6225" fmla="*/ 1284433 h 4565177"/>
              <a:gd name="connsiteX6226" fmla="*/ 1919419 w 12243467"/>
              <a:gd name="connsiteY6226" fmla="*/ 1190462 h 4565177"/>
              <a:gd name="connsiteX6227" fmla="*/ 1923845 w 12243467"/>
              <a:gd name="connsiteY6227" fmla="*/ 1173975 h 4565177"/>
              <a:gd name="connsiteX6228" fmla="*/ 1944589 w 12243467"/>
              <a:gd name="connsiteY6228" fmla="*/ 1171142 h 4565177"/>
              <a:gd name="connsiteX6229" fmla="*/ 1906419 w 12243467"/>
              <a:gd name="connsiteY6229" fmla="*/ 1233958 h 4565177"/>
              <a:gd name="connsiteX6230" fmla="*/ 1913887 w 12243467"/>
              <a:gd name="connsiteY6230" fmla="*/ 1232643 h 4565177"/>
              <a:gd name="connsiteX6231" fmla="*/ 1870738 w 12243467"/>
              <a:gd name="connsiteY6231" fmla="*/ 1272801 h 4565177"/>
              <a:gd name="connsiteX6232" fmla="*/ 1823718 w 12243467"/>
              <a:gd name="connsiteY6232" fmla="*/ 1320848 h 4565177"/>
              <a:gd name="connsiteX6233" fmla="*/ 1811548 w 12243467"/>
              <a:gd name="connsiteY6233" fmla="*/ 1344214 h 4565177"/>
              <a:gd name="connsiteX6234" fmla="*/ 1820952 w 12243467"/>
              <a:gd name="connsiteY6234" fmla="*/ 1344720 h 4565177"/>
              <a:gd name="connsiteX6235" fmla="*/ 1763146 w 12243467"/>
              <a:gd name="connsiteY6235" fmla="*/ 1465597 h 4565177"/>
              <a:gd name="connsiteX6236" fmla="*/ 1788038 w 12243467"/>
              <a:gd name="connsiteY6236" fmla="*/ 1457707 h 4565177"/>
              <a:gd name="connsiteX6237" fmla="*/ 1799102 w 12243467"/>
              <a:gd name="connsiteY6237" fmla="*/ 1418055 h 4565177"/>
              <a:gd name="connsiteX6238" fmla="*/ 1823442 w 12243467"/>
              <a:gd name="connsiteY6238" fmla="*/ 1374054 h 4565177"/>
              <a:gd name="connsiteX6239" fmla="*/ 1845293 w 12243467"/>
              <a:gd name="connsiteY6239" fmla="*/ 1345428 h 4565177"/>
              <a:gd name="connsiteX6240" fmla="*/ 1879867 w 12243467"/>
              <a:gd name="connsiteY6240" fmla="*/ 1281904 h 4565177"/>
              <a:gd name="connsiteX6241" fmla="*/ 1934632 w 12243467"/>
              <a:gd name="connsiteY6241" fmla="*/ 1223944 h 4565177"/>
              <a:gd name="connsiteX6242" fmla="*/ 1822059 w 12243467"/>
              <a:gd name="connsiteY6242" fmla="*/ 1402680 h 4565177"/>
              <a:gd name="connsiteX6243" fmla="*/ 1793847 w 12243467"/>
              <a:gd name="connsiteY6243" fmla="*/ 1448806 h 4565177"/>
              <a:gd name="connsiteX6244" fmla="*/ 1795507 w 12243467"/>
              <a:gd name="connsiteY6244" fmla="*/ 1456392 h 4565177"/>
              <a:gd name="connsiteX6245" fmla="*/ 1750976 w 12243467"/>
              <a:gd name="connsiteY6245" fmla="*/ 1530840 h 4565177"/>
              <a:gd name="connsiteX6246" fmla="*/ 1766188 w 12243467"/>
              <a:gd name="connsiteY6246" fmla="*/ 1480669 h 4565177"/>
              <a:gd name="connsiteX6247" fmla="*/ 1739081 w 12243467"/>
              <a:gd name="connsiteY6247" fmla="*/ 1545710 h 4565177"/>
              <a:gd name="connsiteX6248" fmla="*/ 1711700 w 12243467"/>
              <a:gd name="connsiteY6248" fmla="*/ 1616618 h 4565177"/>
              <a:gd name="connsiteX6249" fmla="*/ 1700636 w 12243467"/>
              <a:gd name="connsiteY6249" fmla="*/ 1656168 h 4565177"/>
              <a:gd name="connsiteX6250" fmla="*/ 1686529 w 12243467"/>
              <a:gd name="connsiteY6250" fmla="*/ 1725255 h 4565177"/>
              <a:gd name="connsiteX6251" fmla="*/ 1681545 w 12243467"/>
              <a:gd name="connsiteY6251" fmla="*/ 1742230 h 4565177"/>
              <a:gd name="connsiteX6252" fmla="*/ 1691784 w 12243467"/>
              <a:gd name="connsiteY6252" fmla="*/ 1740092 h 4565177"/>
              <a:gd name="connsiteX6253" fmla="*/ 1701362 w 12243467"/>
              <a:gd name="connsiteY6253" fmla="*/ 1678371 h 4565177"/>
              <a:gd name="connsiteX6254" fmla="*/ 1737423 w 12243467"/>
              <a:gd name="connsiteY6254" fmla="*/ 1588598 h 4565177"/>
              <a:gd name="connsiteX6255" fmla="*/ 1711423 w 12243467"/>
              <a:gd name="connsiteY6255" fmla="*/ 1708869 h 4565177"/>
              <a:gd name="connsiteX6256" fmla="*/ 1720827 w 12243467"/>
              <a:gd name="connsiteY6256" fmla="*/ 1709374 h 4565177"/>
              <a:gd name="connsiteX6257" fmla="*/ 1709790 w 12243467"/>
              <a:gd name="connsiteY6257" fmla="*/ 1736333 h 4565177"/>
              <a:gd name="connsiteX6258" fmla="*/ 1726327 w 12243467"/>
              <a:gd name="connsiteY6258" fmla="*/ 1732881 h 4565177"/>
              <a:gd name="connsiteX6259" fmla="*/ 1728606 w 12243467"/>
              <a:gd name="connsiteY6259" fmla="*/ 1713800 h 4565177"/>
              <a:gd name="connsiteX6260" fmla="*/ 1752359 w 12243467"/>
              <a:gd name="connsiteY6260" fmla="*/ 1672555 h 4565177"/>
              <a:gd name="connsiteX6261" fmla="*/ 1737423 w 12243467"/>
              <a:gd name="connsiteY6261" fmla="*/ 1672353 h 4565177"/>
              <a:gd name="connsiteX6262" fmla="*/ 1730508 w 12243467"/>
              <a:gd name="connsiteY6262" fmla="*/ 1659304 h 4565177"/>
              <a:gd name="connsiteX6263" fmla="*/ 1746549 w 12243467"/>
              <a:gd name="connsiteY6263" fmla="*/ 1633915 h 4565177"/>
              <a:gd name="connsiteX6264" fmla="*/ 1755677 w 12243467"/>
              <a:gd name="connsiteY6264" fmla="*/ 1642917 h 4565177"/>
              <a:gd name="connsiteX6265" fmla="*/ 1793018 w 12243467"/>
              <a:gd name="connsiteY6265" fmla="*/ 1558253 h 4565177"/>
              <a:gd name="connsiteX6266" fmla="*/ 1783059 w 12243467"/>
              <a:gd name="connsiteY6266" fmla="*/ 1566345 h 4565177"/>
              <a:gd name="connsiteX6267" fmla="*/ 1793294 w 12243467"/>
              <a:gd name="connsiteY6267" fmla="*/ 1549655 h 4565177"/>
              <a:gd name="connsiteX6268" fmla="*/ 1793018 w 12243467"/>
              <a:gd name="connsiteY6268" fmla="*/ 1555319 h 4565177"/>
              <a:gd name="connsiteX6269" fmla="*/ 1817357 w 12243467"/>
              <a:gd name="connsiteY6269" fmla="*/ 1514251 h 4565177"/>
              <a:gd name="connsiteX6270" fmla="*/ 1802421 w 12243467"/>
              <a:gd name="connsiteY6270" fmla="*/ 1514049 h 4565177"/>
              <a:gd name="connsiteX6271" fmla="*/ 1870463 w 12243467"/>
              <a:gd name="connsiteY6271" fmla="*/ 1412593 h 4565177"/>
              <a:gd name="connsiteX6272" fmla="*/ 1887334 w 12243467"/>
              <a:gd name="connsiteY6272" fmla="*/ 1411784 h 4565177"/>
              <a:gd name="connsiteX6273" fmla="*/ 1897292 w 12243467"/>
              <a:gd name="connsiteY6273" fmla="*/ 1397926 h 4565177"/>
              <a:gd name="connsiteX6274" fmla="*/ 1894526 w 12243467"/>
              <a:gd name="connsiteY6274" fmla="*/ 1374358 h 4565177"/>
              <a:gd name="connsiteX6275" fmla="*/ 1950397 w 12243467"/>
              <a:gd name="connsiteY6275" fmla="*/ 1338246 h 4565177"/>
              <a:gd name="connsiteX6276" fmla="*/ 1947908 w 12243467"/>
              <a:gd name="connsiteY6276" fmla="*/ 1353520 h 4565177"/>
              <a:gd name="connsiteX6277" fmla="*/ 1960631 w 12243467"/>
              <a:gd name="connsiteY6277" fmla="*/ 1345934 h 4565177"/>
              <a:gd name="connsiteX6278" fmla="*/ 1965333 w 12243467"/>
              <a:gd name="connsiteY6278" fmla="*/ 1345327 h 4565177"/>
              <a:gd name="connsiteX6279" fmla="*/ 1965886 w 12243467"/>
              <a:gd name="connsiteY6279" fmla="*/ 1342292 h 4565177"/>
              <a:gd name="connsiteX6280" fmla="*/ 1966715 w 12243467"/>
              <a:gd name="connsiteY6280" fmla="*/ 1341382 h 4565177"/>
              <a:gd name="connsiteX6281" fmla="*/ 1961461 w 12243467"/>
              <a:gd name="connsiteY6281" fmla="*/ 1340573 h 4565177"/>
              <a:gd name="connsiteX6282" fmla="*/ 1979992 w 12243467"/>
              <a:gd name="connsiteY6282" fmla="*/ 1321253 h 4565177"/>
              <a:gd name="connsiteX6283" fmla="*/ 1978609 w 12243467"/>
              <a:gd name="connsiteY6283" fmla="*/ 1318420 h 4565177"/>
              <a:gd name="connsiteX6284" fmla="*/ 1968929 w 12243467"/>
              <a:gd name="connsiteY6284" fmla="*/ 1313464 h 4565177"/>
              <a:gd name="connsiteX6285" fmla="*/ 1979716 w 12243467"/>
              <a:gd name="connsiteY6285" fmla="*/ 1308811 h 4565177"/>
              <a:gd name="connsiteX6286" fmla="*/ 1973631 w 12243467"/>
              <a:gd name="connsiteY6286" fmla="*/ 1293638 h 4565177"/>
              <a:gd name="connsiteX6287" fmla="*/ 1983864 w 12243467"/>
              <a:gd name="connsiteY6287" fmla="*/ 1282005 h 4565177"/>
              <a:gd name="connsiteX6288" fmla="*/ 1985524 w 12243467"/>
              <a:gd name="connsiteY6288" fmla="*/ 1267541 h 4565177"/>
              <a:gd name="connsiteX6289" fmla="*/ 1974184 w 12243467"/>
              <a:gd name="connsiteY6289" fmla="*/ 1258235 h 4565177"/>
              <a:gd name="connsiteX6290" fmla="*/ 1974461 w 12243467"/>
              <a:gd name="connsiteY6290" fmla="*/ 1246501 h 4565177"/>
              <a:gd name="connsiteX6291" fmla="*/ 2011524 w 12243467"/>
              <a:gd name="connsiteY6291" fmla="*/ 1158599 h 4565177"/>
              <a:gd name="connsiteX6292" fmla="*/ 2008758 w 12243467"/>
              <a:gd name="connsiteY6292" fmla="*/ 1152025 h 4565177"/>
              <a:gd name="connsiteX6293" fmla="*/ 1989673 w 12243467"/>
              <a:gd name="connsiteY6293" fmla="*/ 1168512 h 4565177"/>
              <a:gd name="connsiteX6294" fmla="*/ 2004332 w 12243467"/>
              <a:gd name="connsiteY6294" fmla="*/ 1146259 h 4565177"/>
              <a:gd name="connsiteX6295" fmla="*/ 2012077 w 12243467"/>
              <a:gd name="connsiteY6295" fmla="*/ 1139482 h 4565177"/>
              <a:gd name="connsiteX6296" fmla="*/ 2023139 w 12243467"/>
              <a:gd name="connsiteY6296" fmla="*/ 1120971 h 4565177"/>
              <a:gd name="connsiteX6297" fmla="*/ 2062139 w 12243467"/>
              <a:gd name="connsiteY6297" fmla="*/ 1037014 h 4565177"/>
              <a:gd name="connsiteX6298" fmla="*/ 2091182 w 12243467"/>
              <a:gd name="connsiteY6298" fmla="*/ 979054 h 4565177"/>
              <a:gd name="connsiteX6299" fmla="*/ 2156456 w 12243467"/>
              <a:gd name="connsiteY6299" fmla="*/ 856660 h 4565177"/>
              <a:gd name="connsiteX6300" fmla="*/ 2145393 w 12243467"/>
              <a:gd name="connsiteY6300" fmla="*/ 854333 h 4565177"/>
              <a:gd name="connsiteX6301" fmla="*/ 2170839 w 12243467"/>
              <a:gd name="connsiteY6301" fmla="*/ 837036 h 4565177"/>
              <a:gd name="connsiteX6302" fmla="*/ 2192137 w 12243467"/>
              <a:gd name="connsiteY6302" fmla="*/ 797182 h 4565177"/>
              <a:gd name="connsiteX6303" fmla="*/ 2209008 w 12243467"/>
              <a:gd name="connsiteY6303" fmla="*/ 795766 h 4565177"/>
              <a:gd name="connsiteX6304" fmla="*/ 2199052 w 12243467"/>
              <a:gd name="connsiteY6304" fmla="*/ 776850 h 4565177"/>
              <a:gd name="connsiteX6305" fmla="*/ 2203200 w 12243467"/>
              <a:gd name="connsiteY6305" fmla="*/ 768859 h 4565177"/>
              <a:gd name="connsiteX6306" fmla="*/ 2223391 w 12243467"/>
              <a:gd name="connsiteY6306" fmla="*/ 757429 h 4565177"/>
              <a:gd name="connsiteX6307" fmla="*/ 2214817 w 12243467"/>
              <a:gd name="connsiteY6307" fmla="*/ 754597 h 4565177"/>
              <a:gd name="connsiteX6308" fmla="*/ 2213157 w 12243467"/>
              <a:gd name="connsiteY6308" fmla="*/ 750247 h 4565177"/>
              <a:gd name="connsiteX6309" fmla="*/ 2260455 w 12243467"/>
              <a:gd name="connsiteY6309" fmla="*/ 706954 h 4565177"/>
              <a:gd name="connsiteX6310" fmla="*/ 2255476 w 12243467"/>
              <a:gd name="connsiteY6310" fmla="*/ 700986 h 4565177"/>
              <a:gd name="connsiteX6311" fmla="*/ 2299453 w 12243467"/>
              <a:gd name="connsiteY6311" fmla="*/ 649095 h 4565177"/>
              <a:gd name="connsiteX6312" fmla="*/ 2411195 w 12243467"/>
              <a:gd name="connsiteY6312" fmla="*/ 537524 h 4565177"/>
              <a:gd name="connsiteX6313" fmla="*/ 2402344 w 12243467"/>
              <a:gd name="connsiteY6313" fmla="*/ 527712 h 4565177"/>
              <a:gd name="connsiteX6314" fmla="*/ 2423643 w 12243467"/>
              <a:gd name="connsiteY6314" fmla="*/ 525385 h 4565177"/>
              <a:gd name="connsiteX6315" fmla="*/ 2456834 w 12243467"/>
              <a:gd name="connsiteY6315" fmla="*/ 489881 h 4565177"/>
              <a:gd name="connsiteX6316" fmla="*/ 2467344 w 12243467"/>
              <a:gd name="connsiteY6316" fmla="*/ 485228 h 4565177"/>
              <a:gd name="connsiteX6317" fmla="*/ 2464024 w 12243467"/>
              <a:gd name="connsiteY6317" fmla="*/ 476630 h 4565177"/>
              <a:gd name="connsiteX6318" fmla="*/ 2449642 w 12243467"/>
              <a:gd name="connsiteY6318" fmla="*/ 484520 h 4565177"/>
              <a:gd name="connsiteX6319" fmla="*/ 2465961 w 12243467"/>
              <a:gd name="connsiteY6319" fmla="*/ 469145 h 4565177"/>
              <a:gd name="connsiteX6320" fmla="*/ 2473982 w 12243467"/>
              <a:gd name="connsiteY6320" fmla="*/ 476832 h 4565177"/>
              <a:gd name="connsiteX6321" fmla="*/ 2491131 w 12243467"/>
              <a:gd name="connsiteY6321" fmla="*/ 463581 h 4565177"/>
              <a:gd name="connsiteX6322" fmla="*/ 2477854 w 12243467"/>
              <a:gd name="connsiteY6322" fmla="*/ 461862 h 4565177"/>
              <a:gd name="connsiteX6323" fmla="*/ 2491683 w 12243467"/>
              <a:gd name="connsiteY6323" fmla="*/ 458827 h 4565177"/>
              <a:gd name="connsiteX6324" fmla="*/ 2531512 w 12243467"/>
              <a:gd name="connsiteY6324" fmla="*/ 421805 h 4565177"/>
              <a:gd name="connsiteX6325" fmla="*/ 2561385 w 12243467"/>
              <a:gd name="connsiteY6325" fmla="*/ 403497 h 4565177"/>
              <a:gd name="connsiteX6326" fmla="*/ 2607021 w 12243467"/>
              <a:gd name="connsiteY6326" fmla="*/ 374668 h 4565177"/>
              <a:gd name="connsiteX6327" fmla="*/ 2633020 w 12243467"/>
              <a:gd name="connsiteY6327" fmla="*/ 340681 h 4565177"/>
              <a:gd name="connsiteX6328" fmla="*/ 2717658 w 12243467"/>
              <a:gd name="connsiteY6328" fmla="*/ 303255 h 4565177"/>
              <a:gd name="connsiteX6329" fmla="*/ 2720146 w 12243467"/>
              <a:gd name="connsiteY6329" fmla="*/ 291015 h 4565177"/>
              <a:gd name="connsiteX6330" fmla="*/ 2816954 w 12243467"/>
              <a:gd name="connsiteY6330" fmla="*/ 241451 h 4565177"/>
              <a:gd name="connsiteX6331" fmla="*/ 2824422 w 12243467"/>
              <a:gd name="connsiteY6331" fmla="*/ 253892 h 4565177"/>
              <a:gd name="connsiteX6332" fmla="*/ 2830783 w 12243467"/>
              <a:gd name="connsiteY6332" fmla="*/ 238517 h 4565177"/>
              <a:gd name="connsiteX6333" fmla="*/ 2867016 w 12243467"/>
              <a:gd name="connsiteY6333" fmla="*/ 223445 h 4565177"/>
              <a:gd name="connsiteX6334" fmla="*/ 2862591 w 12243467"/>
              <a:gd name="connsiteY6334" fmla="*/ 243170 h 4565177"/>
              <a:gd name="connsiteX6335" fmla="*/ 2845996 w 12243467"/>
              <a:gd name="connsiteY6335" fmla="*/ 251465 h 4565177"/>
              <a:gd name="connsiteX6336" fmla="*/ 2865079 w 12243467"/>
              <a:gd name="connsiteY6336" fmla="*/ 268357 h 4565177"/>
              <a:gd name="connsiteX6337" fmla="*/ 2831060 w 12243467"/>
              <a:gd name="connsiteY6337" fmla="*/ 282923 h 4565177"/>
              <a:gd name="connsiteX6338" fmla="*/ 2768549 w 12243467"/>
              <a:gd name="connsiteY6338" fmla="*/ 324901 h 4565177"/>
              <a:gd name="connsiteX6339" fmla="*/ 2738679 w 12243467"/>
              <a:gd name="connsiteY6339" fmla="*/ 343311 h 4565177"/>
              <a:gd name="connsiteX6340" fmla="*/ 2694701 w 12243467"/>
              <a:gd name="connsiteY6340" fmla="*/ 376489 h 4565177"/>
              <a:gd name="connsiteX6341" fmla="*/ 2685297 w 12243467"/>
              <a:gd name="connsiteY6341" fmla="*/ 371533 h 4565177"/>
              <a:gd name="connsiteX6342" fmla="*/ 2660126 w 12243467"/>
              <a:gd name="connsiteY6342" fmla="*/ 395809 h 4565177"/>
              <a:gd name="connsiteX6343" fmla="*/ 2627490 w 12243467"/>
              <a:gd name="connsiteY6343" fmla="*/ 419479 h 4565177"/>
              <a:gd name="connsiteX6344" fmla="*/ 2535938 w 12243467"/>
              <a:gd name="connsiteY6344" fmla="*/ 507684 h 4565177"/>
              <a:gd name="connsiteX6345" fmla="*/ 2521556 w 12243467"/>
              <a:gd name="connsiteY6345" fmla="*/ 508594 h 4565177"/>
              <a:gd name="connsiteX6346" fmla="*/ 2533172 w 12243467"/>
              <a:gd name="connsiteY6346" fmla="*/ 512944 h 4565177"/>
              <a:gd name="connsiteX6347" fmla="*/ 2443834 w 12243467"/>
              <a:gd name="connsiteY6347" fmla="*/ 593764 h 4565177"/>
              <a:gd name="connsiteX6348" fmla="*/ 2441621 w 12243467"/>
              <a:gd name="connsiteY6348" fmla="*/ 582435 h 4565177"/>
              <a:gd name="connsiteX6349" fmla="*/ 2424749 w 12243467"/>
              <a:gd name="connsiteY6349" fmla="*/ 614400 h 4565177"/>
              <a:gd name="connsiteX6350" fmla="*/ 2402621 w 12243467"/>
              <a:gd name="connsiteY6350" fmla="*/ 633315 h 4565177"/>
              <a:gd name="connsiteX6351" fmla="*/ 2401239 w 12243467"/>
              <a:gd name="connsiteY6351" fmla="*/ 624211 h 4565177"/>
              <a:gd name="connsiteX6352" fmla="*/ 2382706 w 12243467"/>
              <a:gd name="connsiteY6352" fmla="*/ 639991 h 4565177"/>
              <a:gd name="connsiteX6353" fmla="*/ 2395984 w 12243467"/>
              <a:gd name="connsiteY6353" fmla="*/ 641913 h 4565177"/>
              <a:gd name="connsiteX6354" fmla="*/ 2374686 w 12243467"/>
              <a:gd name="connsiteY6354" fmla="*/ 662953 h 4565177"/>
              <a:gd name="connsiteX6355" fmla="*/ 2384920 w 12243467"/>
              <a:gd name="connsiteY6355" fmla="*/ 651320 h 4565177"/>
              <a:gd name="connsiteX6356" fmla="*/ 2375516 w 12243467"/>
              <a:gd name="connsiteY6356" fmla="*/ 646364 h 4565177"/>
              <a:gd name="connsiteX6357" fmla="*/ 2371091 w 12243467"/>
              <a:gd name="connsiteY6357" fmla="*/ 673169 h 4565177"/>
              <a:gd name="connsiteX6358" fmla="*/ 2360857 w 12243467"/>
              <a:gd name="connsiteY6358" fmla="*/ 665987 h 4565177"/>
              <a:gd name="connsiteX6359" fmla="*/ 2283688 w 12243467"/>
              <a:gd name="connsiteY6359" fmla="*/ 776951 h 4565177"/>
              <a:gd name="connsiteX6360" fmla="*/ 2265709 w 12243467"/>
              <a:gd name="connsiteY6360" fmla="*/ 776142 h 4565177"/>
              <a:gd name="connsiteX6361" fmla="*/ 2265709 w 12243467"/>
              <a:gd name="connsiteY6361" fmla="*/ 806791 h 4565177"/>
              <a:gd name="connsiteX6362" fmla="*/ 2226987 w 12243467"/>
              <a:gd name="connsiteY6362" fmla="*/ 871529 h 4565177"/>
              <a:gd name="connsiteX6363" fmla="*/ 2113308 w 12243467"/>
              <a:gd name="connsiteY6363" fmla="*/ 1065640 h 4565177"/>
              <a:gd name="connsiteX6364" fmla="*/ 2064904 w 12243467"/>
              <a:gd name="connsiteY6364" fmla="*/ 1205433 h 4565177"/>
              <a:gd name="connsiteX6365" fmla="*/ 2048863 w 12243467"/>
              <a:gd name="connsiteY6365" fmla="*/ 1220707 h 4565177"/>
              <a:gd name="connsiteX6366" fmla="*/ 2060480 w 12243467"/>
              <a:gd name="connsiteY6366" fmla="*/ 1225259 h 4565177"/>
              <a:gd name="connsiteX6367" fmla="*/ 2055224 w 12243467"/>
              <a:gd name="connsiteY6367" fmla="*/ 1237802 h 4565177"/>
              <a:gd name="connsiteX6368" fmla="*/ 2085373 w 12243467"/>
              <a:gd name="connsiteY6368" fmla="*/ 1208771 h 4565177"/>
              <a:gd name="connsiteX6369" fmla="*/ 2047204 w 12243467"/>
              <a:gd name="connsiteY6369" fmla="*/ 1257830 h 4565177"/>
              <a:gd name="connsiteX6370" fmla="*/ 2043885 w 12243467"/>
              <a:gd name="connsiteY6370" fmla="*/ 1261573 h 4565177"/>
              <a:gd name="connsiteX6371" fmla="*/ 2047204 w 12243467"/>
              <a:gd name="connsiteY6371" fmla="*/ 1265012 h 4565177"/>
              <a:gd name="connsiteX6372" fmla="*/ 2050246 w 12243467"/>
              <a:gd name="connsiteY6372" fmla="*/ 1274419 h 4565177"/>
              <a:gd name="connsiteX6373" fmla="*/ 2044438 w 12243467"/>
              <a:gd name="connsiteY6373" fmla="*/ 1278060 h 4565177"/>
              <a:gd name="connsiteX6374" fmla="*/ 2042225 w 12243467"/>
              <a:gd name="connsiteY6374" fmla="*/ 1293840 h 4565177"/>
              <a:gd name="connsiteX6375" fmla="*/ 2052459 w 12243467"/>
              <a:gd name="connsiteY6375" fmla="*/ 1284028 h 4565177"/>
              <a:gd name="connsiteX6376" fmla="*/ 2066287 w 12243467"/>
              <a:gd name="connsiteY6376" fmla="*/ 1258235 h 4565177"/>
              <a:gd name="connsiteX6377" fmla="*/ 2089799 w 12243467"/>
              <a:gd name="connsiteY6377" fmla="*/ 1237094 h 4565177"/>
              <a:gd name="connsiteX6378" fmla="*/ 2099756 w 12243467"/>
              <a:gd name="connsiteY6378" fmla="*/ 1233958 h 4565177"/>
              <a:gd name="connsiteX6379" fmla="*/ 2100309 w 12243467"/>
              <a:gd name="connsiteY6379" fmla="*/ 1232542 h 4565177"/>
              <a:gd name="connsiteX6380" fmla="*/ 2106393 w 12243467"/>
              <a:gd name="connsiteY6380" fmla="*/ 1203410 h 4565177"/>
              <a:gd name="connsiteX6381" fmla="*/ 2116351 w 12243467"/>
              <a:gd name="connsiteY6381" fmla="*/ 1165984 h 4565177"/>
              <a:gd name="connsiteX6382" fmla="*/ 2129351 w 12243467"/>
              <a:gd name="connsiteY6382" fmla="*/ 1130176 h 4565177"/>
              <a:gd name="connsiteX6383" fmla="*/ 2196009 w 12243467"/>
              <a:gd name="connsiteY6383" fmla="*/ 1005151 h 4565177"/>
              <a:gd name="connsiteX6384" fmla="*/ 2187988 w 12243467"/>
              <a:gd name="connsiteY6384" fmla="*/ 997565 h 4565177"/>
              <a:gd name="connsiteX6385" fmla="*/ 2201818 w 12243467"/>
              <a:gd name="connsiteY6385" fmla="*/ 982695 h 4565177"/>
              <a:gd name="connsiteX6386" fmla="*/ 2270688 w 12243467"/>
              <a:gd name="connsiteY6386" fmla="*/ 869000 h 4565177"/>
              <a:gd name="connsiteX6387" fmla="*/ 2276773 w 12243467"/>
              <a:gd name="connsiteY6387" fmla="*/ 865359 h 4565177"/>
              <a:gd name="connsiteX6388" fmla="*/ 2275389 w 12243467"/>
              <a:gd name="connsiteY6388" fmla="*/ 856255 h 4565177"/>
              <a:gd name="connsiteX6389" fmla="*/ 2295028 w 12243467"/>
              <a:gd name="connsiteY6389" fmla="*/ 830764 h 4565177"/>
              <a:gd name="connsiteX6390" fmla="*/ 2360304 w 12243467"/>
              <a:gd name="connsiteY6390" fmla="*/ 757732 h 4565177"/>
              <a:gd name="connsiteX6391" fmla="*/ 2362792 w 12243467"/>
              <a:gd name="connsiteY6391" fmla="*/ 745392 h 4565177"/>
              <a:gd name="connsiteX6392" fmla="*/ 2380218 w 12243467"/>
              <a:gd name="connsiteY6392" fmla="*/ 739222 h 4565177"/>
              <a:gd name="connsiteX6393" fmla="*/ 2400685 w 12243467"/>
              <a:gd name="connsiteY6393" fmla="*/ 715957 h 4565177"/>
              <a:gd name="connsiteX6394" fmla="*/ 2414239 w 12243467"/>
              <a:gd name="connsiteY6394" fmla="*/ 724656 h 4565177"/>
              <a:gd name="connsiteX6395" fmla="*/ 2403452 w 12243467"/>
              <a:gd name="connsiteY6395" fmla="*/ 710595 h 4565177"/>
              <a:gd name="connsiteX6396" fmla="*/ 2426409 w 12243467"/>
              <a:gd name="connsiteY6396" fmla="*/ 705538 h 4565177"/>
              <a:gd name="connsiteX6397" fmla="*/ 2443003 w 12243467"/>
              <a:gd name="connsiteY6397" fmla="*/ 678429 h 4565177"/>
              <a:gd name="connsiteX6398" fmla="*/ 2451302 w 12243467"/>
              <a:gd name="connsiteY6398" fmla="*/ 662447 h 4565177"/>
              <a:gd name="connsiteX6399" fmla="*/ 2444387 w 12243467"/>
              <a:gd name="connsiteY6399" fmla="*/ 656985 h 4565177"/>
              <a:gd name="connsiteX6400" fmla="*/ 2451302 w 12243467"/>
              <a:gd name="connsiteY6400" fmla="*/ 643734 h 4565177"/>
              <a:gd name="connsiteX6401" fmla="*/ 2471215 w 12243467"/>
              <a:gd name="connsiteY6401" fmla="*/ 625223 h 4565177"/>
              <a:gd name="connsiteX6402" fmla="*/ 2482832 w 12243467"/>
              <a:gd name="connsiteY6402" fmla="*/ 629775 h 4565177"/>
              <a:gd name="connsiteX6403" fmla="*/ 2486705 w 12243467"/>
              <a:gd name="connsiteY6403" fmla="*/ 607825 h 4565177"/>
              <a:gd name="connsiteX6404" fmla="*/ 2500811 w 12243467"/>
              <a:gd name="connsiteY6404" fmla="*/ 599935 h 4565177"/>
              <a:gd name="connsiteX6405" fmla="*/ 2566640 w 12243467"/>
              <a:gd name="connsiteY6405" fmla="*/ 540862 h 4565177"/>
              <a:gd name="connsiteX6406" fmla="*/ 2571342 w 12243467"/>
              <a:gd name="connsiteY6406" fmla="*/ 528015 h 4565177"/>
              <a:gd name="connsiteX6407" fmla="*/ 2652106 w 12243467"/>
              <a:gd name="connsiteY6407" fmla="*/ 474910 h 4565177"/>
              <a:gd name="connsiteX6408" fmla="*/ 2654595 w 12243467"/>
              <a:gd name="connsiteY6408" fmla="*/ 462671 h 4565177"/>
              <a:gd name="connsiteX6409" fmla="*/ 2678659 w 12243467"/>
              <a:gd name="connsiteY6409" fmla="*/ 466818 h 4565177"/>
              <a:gd name="connsiteX6410" fmla="*/ 2706041 w 12243467"/>
              <a:gd name="connsiteY6410" fmla="*/ 442036 h 4565177"/>
              <a:gd name="connsiteX6411" fmla="*/ 2714062 w 12243467"/>
              <a:gd name="connsiteY6411" fmla="*/ 419074 h 4565177"/>
              <a:gd name="connsiteX6412" fmla="*/ 2727339 w 12243467"/>
              <a:gd name="connsiteY6412" fmla="*/ 420794 h 4565177"/>
              <a:gd name="connsiteX6413" fmla="*/ 2762741 w 12243467"/>
              <a:gd name="connsiteY6413" fmla="*/ 403598 h 4565177"/>
              <a:gd name="connsiteX6414" fmla="*/ 2783763 w 12243467"/>
              <a:gd name="connsiteY6414" fmla="*/ 375579 h 4565177"/>
              <a:gd name="connsiteX6415" fmla="*/ 2925376 w 12243467"/>
              <a:gd name="connsiteY6415" fmla="*/ 313775 h 4565177"/>
              <a:gd name="connsiteX6416" fmla="*/ 2929525 w 12243467"/>
              <a:gd name="connsiteY6416" fmla="*/ 312156 h 4565177"/>
              <a:gd name="connsiteX6417" fmla="*/ 2914866 w 12243467"/>
              <a:gd name="connsiteY6417" fmla="*/ 334309 h 4565177"/>
              <a:gd name="connsiteX6418" fmla="*/ 2882781 w 12243467"/>
              <a:gd name="connsiteY6418" fmla="*/ 356056 h 4565177"/>
              <a:gd name="connsiteX6419" fmla="*/ 2891910 w 12243467"/>
              <a:gd name="connsiteY6419" fmla="*/ 372746 h 4565177"/>
              <a:gd name="connsiteX6420" fmla="*/ 2958843 w 12243467"/>
              <a:gd name="connsiteY6420" fmla="*/ 334612 h 4565177"/>
              <a:gd name="connsiteX6421" fmla="*/ 2990928 w 12243467"/>
              <a:gd name="connsiteY6421" fmla="*/ 334511 h 4565177"/>
              <a:gd name="connsiteX6422" fmla="*/ 2912929 w 12243467"/>
              <a:gd name="connsiteY6422" fmla="*/ 375174 h 4565177"/>
              <a:gd name="connsiteX6423" fmla="*/ 2915143 w 12243467"/>
              <a:gd name="connsiteY6423" fmla="*/ 393483 h 4565177"/>
              <a:gd name="connsiteX6424" fmla="*/ 2926483 w 12243467"/>
              <a:gd name="connsiteY6424" fmla="*/ 390954 h 4565177"/>
              <a:gd name="connsiteX6425" fmla="*/ 2924547 w 12243467"/>
              <a:gd name="connsiteY6425" fmla="*/ 398439 h 4565177"/>
              <a:gd name="connsiteX6426" fmla="*/ 2933951 w 12243467"/>
              <a:gd name="connsiteY6426" fmla="*/ 403396 h 4565177"/>
              <a:gd name="connsiteX6427" fmla="*/ 2953866 w 12243467"/>
              <a:gd name="connsiteY6427" fmla="*/ 384885 h 4565177"/>
              <a:gd name="connsiteX6428" fmla="*/ 2959397 w 12243467"/>
              <a:gd name="connsiteY6428" fmla="*/ 404812 h 4565177"/>
              <a:gd name="connsiteX6429" fmla="*/ 2982908 w 12243467"/>
              <a:gd name="connsiteY6429" fmla="*/ 413713 h 4565177"/>
              <a:gd name="connsiteX6430" fmla="*/ 2969355 w 12243467"/>
              <a:gd name="connsiteY6430" fmla="*/ 416748 h 4565177"/>
              <a:gd name="connsiteX6431" fmla="*/ 2955802 w 12243467"/>
              <a:gd name="connsiteY6431" fmla="*/ 408049 h 4565177"/>
              <a:gd name="connsiteX6432" fmla="*/ 2958291 w 12243467"/>
              <a:gd name="connsiteY6432" fmla="*/ 414421 h 4565177"/>
              <a:gd name="connsiteX6433" fmla="*/ 2940589 w 12243467"/>
              <a:gd name="connsiteY6433" fmla="*/ 413612 h 4565177"/>
              <a:gd name="connsiteX6434" fmla="*/ 2951929 w 12243467"/>
              <a:gd name="connsiteY6434" fmla="*/ 423019 h 4565177"/>
              <a:gd name="connsiteX6435" fmla="*/ 2945845 w 12243467"/>
              <a:gd name="connsiteY6435" fmla="*/ 445374 h 4565177"/>
              <a:gd name="connsiteX6436" fmla="*/ 2919569 w 12243467"/>
              <a:gd name="connsiteY6436" fmla="*/ 441834 h 4565177"/>
              <a:gd name="connsiteX6437" fmla="*/ 2872272 w 12243467"/>
              <a:gd name="connsiteY6437" fmla="*/ 466312 h 4565177"/>
              <a:gd name="connsiteX6438" fmla="*/ 2865079 w 12243467"/>
              <a:gd name="connsiteY6438" fmla="*/ 479665 h 4565177"/>
              <a:gd name="connsiteX6439" fmla="*/ 2866463 w 12243467"/>
              <a:gd name="connsiteY6439" fmla="*/ 469954 h 4565177"/>
              <a:gd name="connsiteX6440" fmla="*/ 2842953 w 12243467"/>
              <a:gd name="connsiteY6440" fmla="*/ 479867 h 4565177"/>
              <a:gd name="connsiteX6441" fmla="*/ 2853464 w 12243467"/>
              <a:gd name="connsiteY6441" fmla="*/ 493927 h 4565177"/>
              <a:gd name="connsiteX6442" fmla="*/ 2845166 w 12243467"/>
              <a:gd name="connsiteY6442" fmla="*/ 498074 h 4565177"/>
              <a:gd name="connsiteX6443" fmla="*/ 2843230 w 12243467"/>
              <a:gd name="connsiteY6443" fmla="*/ 486846 h 4565177"/>
              <a:gd name="connsiteX6444" fmla="*/ 2837421 w 12243467"/>
              <a:gd name="connsiteY6444" fmla="*/ 490488 h 4565177"/>
              <a:gd name="connsiteX6445" fmla="*/ 2842123 w 12243467"/>
              <a:gd name="connsiteY6445" fmla="*/ 496456 h 4565177"/>
              <a:gd name="connsiteX6446" fmla="*/ 2793720 w 12243467"/>
              <a:gd name="connsiteY6446" fmla="*/ 530645 h 4565177"/>
              <a:gd name="connsiteX6447" fmla="*/ 2777954 w 12243467"/>
              <a:gd name="connsiteY6447" fmla="*/ 541165 h 4565177"/>
              <a:gd name="connsiteX6448" fmla="*/ 2782932 w 12243467"/>
              <a:gd name="connsiteY6448" fmla="*/ 547032 h 4565177"/>
              <a:gd name="connsiteX6449" fmla="*/ 2744210 w 12243467"/>
              <a:gd name="connsiteY6449" fmla="*/ 574444 h 4565177"/>
              <a:gd name="connsiteX6450" fmla="*/ 2734806 w 12243467"/>
              <a:gd name="connsiteY6450" fmla="*/ 569387 h 4565177"/>
              <a:gd name="connsiteX6451" fmla="*/ 2679211 w 12243467"/>
              <a:gd name="connsiteY6451" fmla="*/ 616928 h 4565177"/>
              <a:gd name="connsiteX6452" fmla="*/ 2681701 w 12243467"/>
              <a:gd name="connsiteY6452" fmla="*/ 623402 h 4565177"/>
              <a:gd name="connsiteX6453" fmla="*/ 2685850 w 12243467"/>
              <a:gd name="connsiteY6453" fmla="*/ 627246 h 4565177"/>
              <a:gd name="connsiteX6454" fmla="*/ 2691382 w 12243467"/>
              <a:gd name="connsiteY6454" fmla="*/ 616524 h 4565177"/>
              <a:gd name="connsiteX6455" fmla="*/ 2701338 w 12243467"/>
              <a:gd name="connsiteY6455" fmla="*/ 616726 h 4565177"/>
              <a:gd name="connsiteX6456" fmla="*/ 2667872 w 12243467"/>
              <a:gd name="connsiteY6456" fmla="*/ 656985 h 4565177"/>
              <a:gd name="connsiteX6457" fmla="*/ 2677276 w 12243467"/>
              <a:gd name="connsiteY6457" fmla="*/ 661941 h 4565177"/>
              <a:gd name="connsiteX6458" fmla="*/ 2644638 w 12243467"/>
              <a:gd name="connsiteY6458" fmla="*/ 704324 h 4565177"/>
              <a:gd name="connsiteX6459" fmla="*/ 2662616 w 12243467"/>
              <a:gd name="connsiteY6459" fmla="*/ 712113 h 4565177"/>
              <a:gd name="connsiteX6460" fmla="*/ 2693595 w 12243467"/>
              <a:gd name="connsiteY6460" fmla="*/ 684094 h 4565177"/>
              <a:gd name="connsiteX6461" fmla="*/ 2714892 w 12243467"/>
              <a:gd name="connsiteY6461" fmla="*/ 662953 h 4565177"/>
              <a:gd name="connsiteX6462" fmla="*/ 2759700 w 12243467"/>
              <a:gd name="connsiteY6462" fmla="*/ 632000 h 4565177"/>
              <a:gd name="connsiteX6463" fmla="*/ 2809762 w 12243467"/>
              <a:gd name="connsiteY6463" fmla="*/ 602160 h 4565177"/>
              <a:gd name="connsiteX6464" fmla="*/ 2815571 w 12243467"/>
              <a:gd name="connsiteY6464" fmla="*/ 591438 h 4565177"/>
              <a:gd name="connsiteX6465" fmla="*/ 2825527 w 12243467"/>
              <a:gd name="connsiteY6465" fmla="*/ 591640 h 4565177"/>
              <a:gd name="connsiteX6466" fmla="*/ 2851803 w 12243467"/>
              <a:gd name="connsiteY6466" fmla="*/ 557754 h 4565177"/>
              <a:gd name="connsiteX6467" fmla="*/ 2979589 w 12243467"/>
              <a:gd name="connsiteY6467" fmla="*/ 492005 h 4565177"/>
              <a:gd name="connsiteX6468" fmla="*/ 2991204 w 12243467"/>
              <a:gd name="connsiteY6468" fmla="*/ 477641 h 4565177"/>
              <a:gd name="connsiteX6469" fmla="*/ 3011950 w 12243467"/>
              <a:gd name="connsiteY6469" fmla="*/ 480069 h 4565177"/>
              <a:gd name="connsiteX6470" fmla="*/ 2947504 w 12243467"/>
              <a:gd name="connsiteY6470" fmla="*/ 529533 h 4565177"/>
              <a:gd name="connsiteX6471" fmla="*/ 2954972 w 12243467"/>
              <a:gd name="connsiteY6471" fmla="*/ 530241 h 4565177"/>
              <a:gd name="connsiteX6472" fmla="*/ 2896335 w 12243467"/>
              <a:gd name="connsiteY6472" fmla="*/ 557248 h 4565177"/>
              <a:gd name="connsiteX6473" fmla="*/ 2830229 w 12243467"/>
              <a:gd name="connsiteY6473" fmla="*/ 590629 h 4565177"/>
              <a:gd name="connsiteX6474" fmla="*/ 2807826 w 12243467"/>
              <a:gd name="connsiteY6474" fmla="*/ 609645 h 4565177"/>
              <a:gd name="connsiteX6475" fmla="*/ 2816401 w 12243467"/>
              <a:gd name="connsiteY6475" fmla="*/ 612478 h 4565177"/>
              <a:gd name="connsiteX6476" fmla="*/ 2707147 w 12243467"/>
              <a:gd name="connsiteY6476" fmla="*/ 711607 h 4565177"/>
              <a:gd name="connsiteX6477" fmla="*/ 2733977 w 12243467"/>
              <a:gd name="connsiteY6477" fmla="*/ 710393 h 4565177"/>
              <a:gd name="connsiteX6478" fmla="*/ 2762465 w 12243467"/>
              <a:gd name="connsiteY6478" fmla="*/ 676001 h 4565177"/>
              <a:gd name="connsiteX6479" fmla="*/ 2805337 w 12243467"/>
              <a:gd name="connsiteY6479" fmla="*/ 640699 h 4565177"/>
              <a:gd name="connsiteX6480" fmla="*/ 2839080 w 12243467"/>
              <a:gd name="connsiteY6480" fmla="*/ 619154 h 4565177"/>
              <a:gd name="connsiteX6481" fmla="*/ 2900760 w 12243467"/>
              <a:gd name="connsiteY6481" fmla="*/ 568072 h 4565177"/>
              <a:gd name="connsiteX6482" fmla="*/ 2978759 w 12243467"/>
              <a:gd name="connsiteY6482" fmla="*/ 527307 h 4565177"/>
              <a:gd name="connsiteX6483" fmla="*/ 2791231 w 12243467"/>
              <a:gd name="connsiteY6483" fmla="*/ 667201 h 4565177"/>
              <a:gd name="connsiteX6484" fmla="*/ 2743657 w 12243467"/>
              <a:gd name="connsiteY6484" fmla="*/ 703616 h 4565177"/>
              <a:gd name="connsiteX6485" fmla="*/ 2741721 w 12243467"/>
              <a:gd name="connsiteY6485" fmla="*/ 711101 h 4565177"/>
              <a:gd name="connsiteX6486" fmla="*/ 2665936 w 12243467"/>
              <a:gd name="connsiteY6486" fmla="*/ 770073 h 4565177"/>
              <a:gd name="connsiteX6487" fmla="*/ 2703275 w 12243467"/>
              <a:gd name="connsiteY6487" fmla="*/ 726578 h 4565177"/>
              <a:gd name="connsiteX6488" fmla="*/ 2647957 w 12243467"/>
              <a:gd name="connsiteY6488" fmla="*/ 780998 h 4565177"/>
              <a:gd name="connsiteX6489" fmla="*/ 2589872 w 12243467"/>
              <a:gd name="connsiteY6489" fmla="*/ 840779 h 4565177"/>
              <a:gd name="connsiteX6490" fmla="*/ 2561385 w 12243467"/>
              <a:gd name="connsiteY6490" fmla="*/ 875272 h 4565177"/>
              <a:gd name="connsiteX6491" fmla="*/ 2516576 w 12243467"/>
              <a:gd name="connsiteY6491" fmla="*/ 936772 h 4565177"/>
              <a:gd name="connsiteX6492" fmla="*/ 2471493 w 12243467"/>
              <a:gd name="connsiteY6492" fmla="*/ 998374 h 4565177"/>
              <a:gd name="connsiteX6493" fmla="*/ 2493343 w 12243467"/>
              <a:gd name="connsiteY6493" fmla="*/ 984213 h 4565177"/>
              <a:gd name="connsiteX6494" fmla="*/ 2626660 w 12243467"/>
              <a:gd name="connsiteY6494" fmla="*/ 820953 h 4565177"/>
              <a:gd name="connsiteX6495" fmla="*/ 2547554 w 12243467"/>
              <a:gd name="connsiteY6495" fmla="*/ 927668 h 4565177"/>
              <a:gd name="connsiteX6496" fmla="*/ 2556129 w 12243467"/>
              <a:gd name="connsiteY6496" fmla="*/ 930298 h 4565177"/>
              <a:gd name="connsiteX6497" fmla="*/ 2525981 w 12243467"/>
              <a:gd name="connsiteY6497" fmla="*/ 960543 h 4565177"/>
              <a:gd name="connsiteX6498" fmla="*/ 2529576 w 12243467"/>
              <a:gd name="connsiteY6498" fmla="*/ 969141 h 4565177"/>
              <a:gd name="connsiteX6499" fmla="*/ 2602595 w 12243467"/>
              <a:gd name="connsiteY6499" fmla="*/ 903695 h 4565177"/>
              <a:gd name="connsiteX6500" fmla="*/ 2588767 w 12243467"/>
              <a:gd name="connsiteY6500" fmla="*/ 899750 h 4565177"/>
              <a:gd name="connsiteX6501" fmla="*/ 2587937 w 12243467"/>
              <a:gd name="connsiteY6501" fmla="*/ 885893 h 4565177"/>
              <a:gd name="connsiteX6502" fmla="*/ 2614766 w 12243467"/>
              <a:gd name="connsiteY6502" fmla="*/ 865864 h 4565177"/>
              <a:gd name="connsiteX6503" fmla="*/ 2619191 w 12243467"/>
              <a:gd name="connsiteY6503" fmla="*/ 876587 h 4565177"/>
              <a:gd name="connsiteX6504" fmla="*/ 2693040 w 12243467"/>
              <a:gd name="connsiteY6504" fmla="*/ 806387 h 4565177"/>
              <a:gd name="connsiteX6505" fmla="*/ 2680042 w 12243467"/>
              <a:gd name="connsiteY6505" fmla="*/ 811546 h 4565177"/>
              <a:gd name="connsiteX6506" fmla="*/ 2697190 w 12243467"/>
              <a:gd name="connsiteY6506" fmla="*/ 798396 h 4565177"/>
              <a:gd name="connsiteX6507" fmla="*/ 2694424 w 12243467"/>
              <a:gd name="connsiteY6507" fmla="*/ 803656 h 4565177"/>
              <a:gd name="connsiteX6508" fmla="*/ 2735913 w 12243467"/>
              <a:gd name="connsiteY6508" fmla="*/ 770983 h 4565177"/>
              <a:gd name="connsiteX6509" fmla="*/ 2721806 w 12243467"/>
              <a:gd name="connsiteY6509" fmla="*/ 767140 h 4565177"/>
              <a:gd name="connsiteX6510" fmla="*/ 2832166 w 12243467"/>
              <a:gd name="connsiteY6510" fmla="*/ 688747 h 4565177"/>
              <a:gd name="connsiteX6511" fmla="*/ 2848485 w 12243467"/>
              <a:gd name="connsiteY6511" fmla="*/ 692186 h 4565177"/>
              <a:gd name="connsiteX6512" fmla="*/ 2863974 w 12243467"/>
              <a:gd name="connsiteY6512" fmla="*/ 681666 h 4565177"/>
              <a:gd name="connsiteX6513" fmla="*/ 2872272 w 12243467"/>
              <a:gd name="connsiteY6513" fmla="*/ 658805 h 4565177"/>
              <a:gd name="connsiteX6514" fmla="*/ 2941418 w 12243467"/>
              <a:gd name="connsiteY6514" fmla="*/ 638878 h 4565177"/>
              <a:gd name="connsiteX6515" fmla="*/ 2932015 w 12243467"/>
              <a:gd name="connsiteY6515" fmla="*/ 652635 h 4565177"/>
              <a:gd name="connsiteX6516" fmla="*/ 2955802 w 12243467"/>
              <a:gd name="connsiteY6516" fmla="*/ 649702 h 4565177"/>
              <a:gd name="connsiteX6517" fmla="*/ 2950823 w 12243467"/>
              <a:gd name="connsiteY6517" fmla="*/ 643835 h 4565177"/>
              <a:gd name="connsiteX6518" fmla="*/ 3127288 w 12243467"/>
              <a:gd name="connsiteY6518" fmla="*/ 550876 h 4565177"/>
              <a:gd name="connsiteX6519" fmla="*/ 3013055 w 12243467"/>
              <a:gd name="connsiteY6519" fmla="*/ 625324 h 4565177"/>
              <a:gd name="connsiteX6520" fmla="*/ 2940866 w 12243467"/>
              <a:gd name="connsiteY6520" fmla="*/ 681261 h 4565177"/>
              <a:gd name="connsiteX6521" fmla="*/ 2975440 w 12243467"/>
              <a:gd name="connsiteY6521" fmla="*/ 661840 h 4565177"/>
              <a:gd name="connsiteX6522" fmla="*/ 3086905 w 12243467"/>
              <a:gd name="connsiteY6522" fmla="*/ 592652 h 4565177"/>
              <a:gd name="connsiteX6523" fmla="*/ 3118713 w 12243467"/>
              <a:gd name="connsiteY6523" fmla="*/ 578592 h 4565177"/>
              <a:gd name="connsiteX6524" fmla="*/ 3144436 w 12243467"/>
              <a:gd name="connsiteY6524" fmla="*/ 575254 h 4565177"/>
              <a:gd name="connsiteX6525" fmla="*/ 3063119 w 12243467"/>
              <a:gd name="connsiteY6525" fmla="*/ 626032 h 4565177"/>
              <a:gd name="connsiteX6526" fmla="*/ 3039609 w 12243467"/>
              <a:gd name="connsiteY6526" fmla="*/ 635945 h 4565177"/>
              <a:gd name="connsiteX6527" fmla="*/ 3056757 w 12243467"/>
              <a:gd name="connsiteY6527" fmla="*/ 641508 h 4565177"/>
              <a:gd name="connsiteX6528" fmla="*/ 3067821 w 12243467"/>
              <a:gd name="connsiteY6528" fmla="*/ 632101 h 4565177"/>
              <a:gd name="connsiteX6529" fmla="*/ 3082480 w 12243467"/>
              <a:gd name="connsiteY6529" fmla="*/ 631191 h 4565177"/>
              <a:gd name="connsiteX6530" fmla="*/ 3080820 w 12243467"/>
              <a:gd name="connsiteY6530" fmla="*/ 645656 h 4565177"/>
              <a:gd name="connsiteX6531" fmla="*/ 3082204 w 12243467"/>
              <a:gd name="connsiteY6531" fmla="*/ 645352 h 4565177"/>
              <a:gd name="connsiteX6532" fmla="*/ 3088842 w 12243467"/>
              <a:gd name="connsiteY6532" fmla="*/ 638474 h 4565177"/>
              <a:gd name="connsiteX6533" fmla="*/ 3088565 w 12243467"/>
              <a:gd name="connsiteY6533" fmla="*/ 636956 h 4565177"/>
              <a:gd name="connsiteX6534" fmla="*/ 3086905 w 12243467"/>
              <a:gd name="connsiteY6534" fmla="*/ 630078 h 4565177"/>
              <a:gd name="connsiteX6535" fmla="*/ 3095202 w 12243467"/>
              <a:gd name="connsiteY6535" fmla="*/ 628965 h 4565177"/>
              <a:gd name="connsiteX6536" fmla="*/ 3101564 w 12243467"/>
              <a:gd name="connsiteY6536" fmla="*/ 624919 h 4565177"/>
              <a:gd name="connsiteX6537" fmla="*/ 3112352 w 12243467"/>
              <a:gd name="connsiteY6537" fmla="*/ 612882 h 4565177"/>
              <a:gd name="connsiteX6538" fmla="*/ 3112352 w 12243467"/>
              <a:gd name="connsiteY6538" fmla="*/ 612781 h 4565177"/>
              <a:gd name="connsiteX6539" fmla="*/ 3110692 w 12243467"/>
              <a:gd name="connsiteY6539" fmla="*/ 608533 h 4565177"/>
              <a:gd name="connsiteX6540" fmla="*/ 3125074 w 12243467"/>
              <a:gd name="connsiteY6540" fmla="*/ 603475 h 4565177"/>
              <a:gd name="connsiteX6541" fmla="*/ 3135032 w 12243467"/>
              <a:gd name="connsiteY6541" fmla="*/ 596293 h 4565177"/>
              <a:gd name="connsiteX6542" fmla="*/ 3137245 w 12243467"/>
              <a:gd name="connsiteY6542" fmla="*/ 585166 h 4565177"/>
              <a:gd name="connsiteX6543" fmla="*/ 3250094 w 12243467"/>
              <a:gd name="connsiteY6543" fmla="*/ 502120 h 4565177"/>
              <a:gd name="connsiteX6544" fmla="*/ 3309561 w 12243467"/>
              <a:gd name="connsiteY6544" fmla="*/ 458625 h 4565177"/>
              <a:gd name="connsiteX6545" fmla="*/ 3438452 w 12243467"/>
              <a:gd name="connsiteY6545" fmla="*/ 368296 h 4565177"/>
              <a:gd name="connsiteX6546" fmla="*/ 3429876 w 12243467"/>
              <a:gd name="connsiteY6546" fmla="*/ 362732 h 4565177"/>
              <a:gd name="connsiteX6547" fmla="*/ 3462790 w 12243467"/>
              <a:gd name="connsiteY6547" fmla="*/ 354944 h 4565177"/>
              <a:gd name="connsiteX6548" fmla="*/ 3504833 w 12243467"/>
              <a:gd name="connsiteY6548" fmla="*/ 325508 h 4565177"/>
              <a:gd name="connsiteX6549" fmla="*/ 3520874 w 12243467"/>
              <a:gd name="connsiteY6549" fmla="*/ 329655 h 4565177"/>
              <a:gd name="connsiteX6550" fmla="*/ 3522535 w 12243467"/>
              <a:gd name="connsiteY6550" fmla="*/ 309324 h 4565177"/>
              <a:gd name="connsiteX6551" fmla="*/ 3530832 w 12243467"/>
              <a:gd name="connsiteY6551" fmla="*/ 303356 h 4565177"/>
              <a:gd name="connsiteX6552" fmla="*/ 3555726 w 12243467"/>
              <a:gd name="connsiteY6552" fmla="*/ 299310 h 4565177"/>
              <a:gd name="connsiteX6553" fmla="*/ 3549640 w 12243467"/>
              <a:gd name="connsiteY6553" fmla="*/ 294050 h 4565177"/>
              <a:gd name="connsiteX6554" fmla="*/ 3550469 w 12243467"/>
              <a:gd name="connsiteY6554" fmla="*/ 289599 h 4565177"/>
              <a:gd name="connsiteX6555" fmla="*/ 3617957 w 12243467"/>
              <a:gd name="connsiteY6555" fmla="*/ 265221 h 4565177"/>
              <a:gd name="connsiteX6556" fmla="*/ 3617129 w 12243467"/>
              <a:gd name="connsiteY6556" fmla="*/ 258343 h 4565177"/>
              <a:gd name="connsiteX6557" fmla="*/ 3686276 w 12243467"/>
              <a:gd name="connsiteY6557" fmla="*/ 224963 h 4565177"/>
              <a:gd name="connsiteX6558" fmla="*/ 3851123 w 12243467"/>
              <a:gd name="connsiteY6558" fmla="*/ 159113 h 4565177"/>
              <a:gd name="connsiteX6559" fmla="*/ 3848634 w 12243467"/>
              <a:gd name="connsiteY6559" fmla="*/ 147480 h 4565177"/>
              <a:gd name="connsiteX6560" fmla="*/ 3869379 w 12243467"/>
              <a:gd name="connsiteY6560" fmla="*/ 152032 h 4565177"/>
              <a:gd name="connsiteX6561" fmla="*/ 3919442 w 12243467"/>
              <a:gd name="connsiteY6561" fmla="*/ 130284 h 4565177"/>
              <a:gd name="connsiteX6562" fmla="*/ 3931887 w 12243467"/>
              <a:gd name="connsiteY6562" fmla="*/ 129273 h 4565177"/>
              <a:gd name="connsiteX6563" fmla="*/ 3933548 w 12243467"/>
              <a:gd name="connsiteY6563" fmla="*/ 120472 h 4565177"/>
              <a:gd name="connsiteX6564" fmla="*/ 3916399 w 12243467"/>
              <a:gd name="connsiteY6564" fmla="*/ 123001 h 4565177"/>
              <a:gd name="connsiteX6565" fmla="*/ 3939632 w 12243467"/>
              <a:gd name="connsiteY6565" fmla="*/ 114201 h 4565177"/>
              <a:gd name="connsiteX6566" fmla="*/ 3942675 w 12243467"/>
              <a:gd name="connsiteY6566" fmla="*/ 123608 h 4565177"/>
              <a:gd name="connsiteX6567" fmla="*/ 3965631 w 12243467"/>
              <a:gd name="connsiteY6567" fmla="*/ 117134 h 4565177"/>
              <a:gd name="connsiteX6568" fmla="*/ 3954567 w 12243467"/>
              <a:gd name="connsiteY6568" fmla="*/ 111369 h 4565177"/>
              <a:gd name="connsiteX6569" fmla="*/ 3968950 w 12243467"/>
              <a:gd name="connsiteY6569" fmla="*/ 112987 h 4565177"/>
              <a:gd name="connsiteX6570" fmla="*/ 4025928 w 12243467"/>
              <a:gd name="connsiteY6570" fmla="*/ 91947 h 4565177"/>
              <a:gd name="connsiteX6571" fmla="*/ 4063544 w 12243467"/>
              <a:gd name="connsiteY6571" fmla="*/ 84664 h 4565177"/>
              <a:gd name="connsiteX6572" fmla="*/ 4121351 w 12243467"/>
              <a:gd name="connsiteY6572" fmla="*/ 72931 h 4565177"/>
              <a:gd name="connsiteX6573" fmla="*/ 4164499 w 12243467"/>
              <a:gd name="connsiteY6573" fmla="*/ 50374 h 4565177"/>
              <a:gd name="connsiteX6574" fmla="*/ 4262136 w 12243467"/>
              <a:gd name="connsiteY6574" fmla="*/ 42990 h 4565177"/>
              <a:gd name="connsiteX6575" fmla="*/ 4271540 w 12243467"/>
              <a:gd name="connsiteY6575" fmla="*/ 32571 h 4565177"/>
              <a:gd name="connsiteX6576" fmla="*/ 4387708 w 12243467"/>
              <a:gd name="connsiteY6576" fmla="*/ 18106 h 4565177"/>
              <a:gd name="connsiteX6577" fmla="*/ 4387431 w 12243467"/>
              <a:gd name="connsiteY6577" fmla="*/ 31762 h 4565177"/>
              <a:gd name="connsiteX6578" fmla="*/ 4401814 w 12243467"/>
              <a:gd name="connsiteY6578" fmla="*/ 19623 h 4565177"/>
              <a:gd name="connsiteX6579" fmla="*/ 4443025 w 12243467"/>
              <a:gd name="connsiteY6579" fmla="*/ 17398 h 4565177"/>
              <a:gd name="connsiteX6580" fmla="*/ 4909702 w 12243467"/>
              <a:gd name="connsiteY6580" fmla="*/ 14933 h 4565177"/>
              <a:gd name="connsiteX6581" fmla="*/ 4924016 w 12243467"/>
              <a:gd name="connsiteY6581" fmla="*/ 22355 h 4565177"/>
              <a:gd name="connsiteX6582" fmla="*/ 4906868 w 12243467"/>
              <a:gd name="connsiteY6582" fmla="*/ 22658 h 4565177"/>
              <a:gd name="connsiteX6583" fmla="*/ 4893314 w 12243467"/>
              <a:gd name="connsiteY6583" fmla="*/ 16993 h 4565177"/>
              <a:gd name="connsiteX6584" fmla="*/ 4909702 w 12243467"/>
              <a:gd name="connsiteY6584" fmla="*/ 14933 h 4565177"/>
              <a:gd name="connsiteX6585" fmla="*/ 4726184 w 12243467"/>
              <a:gd name="connsiteY6585" fmla="*/ 13162 h 4565177"/>
              <a:gd name="connsiteX6586" fmla="*/ 4736211 w 12243467"/>
              <a:gd name="connsiteY6586" fmla="*/ 19623 h 4565177"/>
              <a:gd name="connsiteX6587" fmla="*/ 4717126 w 12243467"/>
              <a:gd name="connsiteY6587" fmla="*/ 19826 h 4565177"/>
              <a:gd name="connsiteX6588" fmla="*/ 4710765 w 12243467"/>
              <a:gd name="connsiteY6588" fmla="*/ 14667 h 4565177"/>
              <a:gd name="connsiteX6589" fmla="*/ 4726184 w 12243467"/>
              <a:gd name="connsiteY6589" fmla="*/ 13162 h 4565177"/>
              <a:gd name="connsiteX6590" fmla="*/ 4774900 w 12243467"/>
              <a:gd name="connsiteY6590" fmla="*/ 12821 h 4565177"/>
              <a:gd name="connsiteX6591" fmla="*/ 4781572 w 12243467"/>
              <a:gd name="connsiteY6591" fmla="*/ 13554 h 4565177"/>
              <a:gd name="connsiteX6592" fmla="*/ 4770508 w 12243467"/>
              <a:gd name="connsiteY6592" fmla="*/ 19219 h 4565177"/>
              <a:gd name="connsiteX6593" fmla="*/ 4774900 w 12243467"/>
              <a:gd name="connsiteY6593" fmla="*/ 12821 h 4565177"/>
              <a:gd name="connsiteX6594" fmla="*/ 4581320 w 12243467"/>
              <a:gd name="connsiteY6594" fmla="*/ 3237 h 4565177"/>
              <a:gd name="connsiteX6595" fmla="*/ 4550897 w 12243467"/>
              <a:gd name="connsiteY6595" fmla="*/ 22355 h 4565177"/>
              <a:gd name="connsiteX6596" fmla="*/ 4533747 w 12243467"/>
              <a:gd name="connsiteY6596" fmla="*/ 22759 h 4565177"/>
              <a:gd name="connsiteX6597" fmla="*/ 4542321 w 12243467"/>
              <a:gd name="connsiteY6597" fmla="*/ 16993 h 4565177"/>
              <a:gd name="connsiteX6598" fmla="*/ 4513832 w 12243467"/>
              <a:gd name="connsiteY6598" fmla="*/ 13858 h 4565177"/>
              <a:gd name="connsiteX6599" fmla="*/ 4484515 w 12243467"/>
              <a:gd name="connsiteY6599" fmla="*/ 28626 h 4565177"/>
              <a:gd name="connsiteX6600" fmla="*/ 4483684 w 12243467"/>
              <a:gd name="connsiteY6600" fmla="*/ 19522 h 4565177"/>
              <a:gd name="connsiteX6601" fmla="*/ 4467919 w 12243467"/>
              <a:gd name="connsiteY6601" fmla="*/ 26805 h 4565177"/>
              <a:gd name="connsiteX6602" fmla="*/ 4464323 w 12243467"/>
              <a:gd name="connsiteY6602" fmla="*/ 19623 h 4565177"/>
              <a:gd name="connsiteX6603" fmla="*/ 4454642 w 12243467"/>
              <a:gd name="connsiteY6603" fmla="*/ 32065 h 4565177"/>
              <a:gd name="connsiteX6604" fmla="*/ 4445238 w 12243467"/>
              <a:gd name="connsiteY6604" fmla="*/ 19725 h 4565177"/>
              <a:gd name="connsiteX6605" fmla="*/ 4449387 w 12243467"/>
              <a:gd name="connsiteY6605" fmla="*/ 11228 h 4565177"/>
              <a:gd name="connsiteX6606" fmla="*/ 4581320 w 12243467"/>
              <a:gd name="connsiteY6606" fmla="*/ 3237 h 4565177"/>
              <a:gd name="connsiteX6607" fmla="*/ 4665404 w 12243467"/>
              <a:gd name="connsiteY6607" fmla="*/ 708 h 4565177"/>
              <a:gd name="connsiteX6608" fmla="*/ 4761657 w 12243467"/>
              <a:gd name="connsiteY6608" fmla="*/ 2326 h 4565177"/>
              <a:gd name="connsiteX6609" fmla="*/ 4682829 w 12243467"/>
              <a:gd name="connsiteY6609" fmla="*/ 9508 h 4565177"/>
              <a:gd name="connsiteX6610" fmla="*/ 4670382 w 12243467"/>
              <a:gd name="connsiteY6610" fmla="*/ 21242 h 4565177"/>
              <a:gd name="connsiteX6611" fmla="*/ 4664021 w 12243467"/>
              <a:gd name="connsiteY6611" fmla="*/ 18814 h 4565177"/>
              <a:gd name="connsiteX6612" fmla="*/ 4667063 w 12243467"/>
              <a:gd name="connsiteY6612" fmla="*/ 16791 h 4565177"/>
              <a:gd name="connsiteX6613" fmla="*/ 4665404 w 12243467"/>
              <a:gd name="connsiteY6613" fmla="*/ 708 h 4565177"/>
              <a:gd name="connsiteX6614" fmla="*/ 4620044 w 12243467"/>
              <a:gd name="connsiteY6614" fmla="*/ 0 h 4565177"/>
              <a:gd name="connsiteX6615" fmla="*/ 4606490 w 12243467"/>
              <a:gd name="connsiteY6615" fmla="*/ 9407 h 4565177"/>
              <a:gd name="connsiteX6616" fmla="*/ 4592937 w 12243467"/>
              <a:gd name="connsiteY6616" fmla="*/ 1618 h 4565177"/>
              <a:gd name="connsiteX6617" fmla="*/ 4620044 w 12243467"/>
              <a:gd name="connsiteY6617" fmla="*/ 0 h 4565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</a:cxnLst>
            <a:rect l="l" t="t" r="r" b="b"/>
            <a:pathLst>
              <a:path w="12243467" h="4565177">
                <a:moveTo>
                  <a:pt x="5860062" y="4555770"/>
                </a:moveTo>
                <a:cubicBezTo>
                  <a:pt x="5866701" y="4554860"/>
                  <a:pt x="5873616" y="4556781"/>
                  <a:pt x="5873616" y="4563559"/>
                </a:cubicBezTo>
                <a:cubicBezTo>
                  <a:pt x="5862276" y="4560018"/>
                  <a:pt x="5858956" y="4564267"/>
                  <a:pt x="5846510" y="4565177"/>
                </a:cubicBezTo>
                <a:cubicBezTo>
                  <a:pt x="5846232" y="4560524"/>
                  <a:pt x="5853147" y="4556781"/>
                  <a:pt x="5860062" y="4555770"/>
                </a:cubicBezTo>
                <a:close/>
                <a:moveTo>
                  <a:pt x="5696044" y="4545958"/>
                </a:moveTo>
                <a:cubicBezTo>
                  <a:pt x="5697150" y="4552938"/>
                  <a:pt x="5686917" y="4554152"/>
                  <a:pt x="5684980" y="4551623"/>
                </a:cubicBezTo>
                <a:cubicBezTo>
                  <a:pt x="5685810" y="4547172"/>
                  <a:pt x="5691343" y="4545452"/>
                  <a:pt x="5696044" y="4545958"/>
                </a:cubicBezTo>
                <a:close/>
                <a:moveTo>
                  <a:pt x="5749426" y="4545351"/>
                </a:moveTo>
                <a:cubicBezTo>
                  <a:pt x="5748596" y="4549701"/>
                  <a:pt x="5753298" y="4550308"/>
                  <a:pt x="5755787" y="4550510"/>
                </a:cubicBezTo>
                <a:cubicBezTo>
                  <a:pt x="5747767" y="4554253"/>
                  <a:pt x="5731172" y="4552432"/>
                  <a:pt x="5730341" y="4545554"/>
                </a:cubicBezTo>
                <a:cubicBezTo>
                  <a:pt x="5736703" y="4548487"/>
                  <a:pt x="5739192" y="4548689"/>
                  <a:pt x="5749426" y="4545351"/>
                </a:cubicBezTo>
                <a:close/>
                <a:moveTo>
                  <a:pt x="5796170" y="4543935"/>
                </a:moveTo>
                <a:cubicBezTo>
                  <a:pt x="5797829" y="4543733"/>
                  <a:pt x="5799765" y="4544441"/>
                  <a:pt x="5802531" y="4546363"/>
                </a:cubicBezTo>
                <a:cubicBezTo>
                  <a:pt x="5801426" y="4550813"/>
                  <a:pt x="5799489" y="4548386"/>
                  <a:pt x="5799489" y="4548386"/>
                </a:cubicBezTo>
                <a:cubicBezTo>
                  <a:pt x="5789808" y="4549600"/>
                  <a:pt x="5799212" y="4561940"/>
                  <a:pt x="5801148" y="4564469"/>
                </a:cubicBezTo>
                <a:cubicBezTo>
                  <a:pt x="5779851" y="4550712"/>
                  <a:pt x="5735044" y="4568414"/>
                  <a:pt x="5704895" y="4562851"/>
                </a:cubicBezTo>
                <a:cubicBezTo>
                  <a:pt x="5726469" y="4551623"/>
                  <a:pt x="5763809" y="4558096"/>
                  <a:pt x="5783724" y="4555669"/>
                </a:cubicBezTo>
                <a:cubicBezTo>
                  <a:pt x="5789532" y="4552938"/>
                  <a:pt x="5791191" y="4544542"/>
                  <a:pt x="5796170" y="4543935"/>
                </a:cubicBezTo>
                <a:close/>
                <a:moveTo>
                  <a:pt x="5559686" y="4542519"/>
                </a:moveTo>
                <a:cubicBezTo>
                  <a:pt x="5560791" y="4549094"/>
                  <a:pt x="5566047" y="4547475"/>
                  <a:pt x="5573238" y="4548184"/>
                </a:cubicBezTo>
                <a:cubicBezTo>
                  <a:pt x="5567430" y="4551926"/>
                  <a:pt x="5545579" y="4551724"/>
                  <a:pt x="5542537" y="4542822"/>
                </a:cubicBezTo>
                <a:cubicBezTo>
                  <a:pt x="5551664" y="4545958"/>
                  <a:pt x="5549728" y="4543531"/>
                  <a:pt x="5559686" y="4542519"/>
                </a:cubicBezTo>
                <a:close/>
                <a:moveTo>
                  <a:pt x="6011910" y="4533112"/>
                </a:moveTo>
                <a:cubicBezTo>
                  <a:pt x="6018548" y="4536045"/>
                  <a:pt x="6003612" y="4550207"/>
                  <a:pt x="6021314" y="4545452"/>
                </a:cubicBezTo>
                <a:cubicBezTo>
                  <a:pt x="6020484" y="4549802"/>
                  <a:pt x="6018271" y="4549499"/>
                  <a:pt x="6017165" y="4553949"/>
                </a:cubicBezTo>
                <a:cubicBezTo>
                  <a:pt x="5973741" y="4553646"/>
                  <a:pt x="5934188" y="4558299"/>
                  <a:pt x="5885232" y="4561940"/>
                </a:cubicBezTo>
                <a:cubicBezTo>
                  <a:pt x="5889380" y="4553342"/>
                  <a:pt x="5915103" y="4558501"/>
                  <a:pt x="5915656" y="4542822"/>
                </a:cubicBezTo>
                <a:cubicBezTo>
                  <a:pt x="5922848" y="4543531"/>
                  <a:pt x="5928104" y="4541912"/>
                  <a:pt x="5932805" y="4542418"/>
                </a:cubicBezTo>
                <a:cubicBezTo>
                  <a:pt x="5936677" y="4547374"/>
                  <a:pt x="5926997" y="4546262"/>
                  <a:pt x="5924231" y="4548184"/>
                </a:cubicBezTo>
                <a:cubicBezTo>
                  <a:pt x="5927550" y="4555365"/>
                  <a:pt x="5946358" y="4546160"/>
                  <a:pt x="5952721" y="4551319"/>
                </a:cubicBezTo>
                <a:cubicBezTo>
                  <a:pt x="5944699" y="4530178"/>
                  <a:pt x="5974295" y="4551522"/>
                  <a:pt x="5982038" y="4536551"/>
                </a:cubicBezTo>
                <a:cubicBezTo>
                  <a:pt x="5983144" y="4543429"/>
                  <a:pt x="5978442" y="4542924"/>
                  <a:pt x="5982868" y="4545655"/>
                </a:cubicBezTo>
                <a:cubicBezTo>
                  <a:pt x="5985910" y="4541507"/>
                  <a:pt x="5999740" y="4545250"/>
                  <a:pt x="5998633" y="4538372"/>
                </a:cubicBezTo>
                <a:cubicBezTo>
                  <a:pt x="6001123" y="4538675"/>
                  <a:pt x="6000294" y="4543025"/>
                  <a:pt x="6002230" y="4545554"/>
                </a:cubicBezTo>
                <a:cubicBezTo>
                  <a:pt x="6009697" y="4544036"/>
                  <a:pt x="6008591" y="4537259"/>
                  <a:pt x="6011910" y="4533112"/>
                </a:cubicBezTo>
                <a:close/>
                <a:moveTo>
                  <a:pt x="5997251" y="4522592"/>
                </a:moveTo>
                <a:cubicBezTo>
                  <a:pt x="5997527" y="4522390"/>
                  <a:pt x="5997805" y="4522491"/>
                  <a:pt x="5998633" y="4522693"/>
                </a:cubicBezTo>
                <a:cubicBezTo>
                  <a:pt x="5999740" y="4523098"/>
                  <a:pt x="6001399" y="4523806"/>
                  <a:pt x="6003889" y="4522997"/>
                </a:cubicBezTo>
                <a:cubicBezTo>
                  <a:pt x="6003612" y="4525222"/>
                  <a:pt x="6003059" y="4527548"/>
                  <a:pt x="6002506" y="4529875"/>
                </a:cubicBezTo>
                <a:cubicBezTo>
                  <a:pt x="5997805" y="4529369"/>
                  <a:pt x="5992272" y="4533415"/>
                  <a:pt x="5993655" y="4526537"/>
                </a:cubicBezTo>
                <a:cubicBezTo>
                  <a:pt x="5995869" y="4526840"/>
                  <a:pt x="5995869" y="4526739"/>
                  <a:pt x="5998358" y="4527043"/>
                </a:cubicBezTo>
                <a:cubicBezTo>
                  <a:pt x="5998633" y="4524716"/>
                  <a:pt x="5998633" y="4524817"/>
                  <a:pt x="5996421" y="4524514"/>
                </a:cubicBezTo>
                <a:cubicBezTo>
                  <a:pt x="5996697" y="4523401"/>
                  <a:pt x="5996974" y="4522794"/>
                  <a:pt x="5997251" y="4522592"/>
                </a:cubicBezTo>
                <a:close/>
                <a:moveTo>
                  <a:pt x="5970421" y="4521075"/>
                </a:moveTo>
                <a:cubicBezTo>
                  <a:pt x="5977336" y="4520468"/>
                  <a:pt x="5983974" y="4520468"/>
                  <a:pt x="5991166" y="4525930"/>
                </a:cubicBezTo>
                <a:cubicBezTo>
                  <a:pt x="5991995" y="4528256"/>
                  <a:pt x="5991719" y="4529369"/>
                  <a:pt x="5991166" y="4529571"/>
                </a:cubicBezTo>
                <a:cubicBezTo>
                  <a:pt x="5990336" y="4529774"/>
                  <a:pt x="5989507" y="4529167"/>
                  <a:pt x="5988400" y="4527953"/>
                </a:cubicBezTo>
                <a:cubicBezTo>
                  <a:pt x="5959911" y="4527043"/>
                  <a:pt x="5935848" y="4538068"/>
                  <a:pt x="5900167" y="4536349"/>
                </a:cubicBezTo>
                <a:cubicBezTo>
                  <a:pt x="5909849" y="4523806"/>
                  <a:pt x="5941103" y="4536349"/>
                  <a:pt x="5948847" y="4521176"/>
                </a:cubicBezTo>
                <a:cubicBezTo>
                  <a:pt x="5956868" y="4523199"/>
                  <a:pt x="5963783" y="4521783"/>
                  <a:pt x="5970421" y="4521075"/>
                </a:cubicBezTo>
                <a:close/>
                <a:moveTo>
                  <a:pt x="6032377" y="4517231"/>
                </a:moveTo>
                <a:cubicBezTo>
                  <a:pt x="6024633" y="4518546"/>
                  <a:pt x="6017442" y="4528762"/>
                  <a:pt x="6013017" y="4526031"/>
                </a:cubicBezTo>
                <a:cubicBezTo>
                  <a:pt x="6016335" y="4522086"/>
                  <a:pt x="6022144" y="4518344"/>
                  <a:pt x="6032377" y="4517231"/>
                </a:cubicBezTo>
                <a:close/>
                <a:moveTo>
                  <a:pt x="7176354" y="4482536"/>
                </a:moveTo>
                <a:cubicBezTo>
                  <a:pt x="7181056" y="4488099"/>
                  <a:pt x="7184928" y="4485166"/>
                  <a:pt x="7191843" y="4483648"/>
                </a:cubicBezTo>
                <a:cubicBezTo>
                  <a:pt x="7188800" y="4488706"/>
                  <a:pt x="7168886" y="4495281"/>
                  <a:pt x="7161141" y="4488200"/>
                </a:cubicBezTo>
                <a:cubicBezTo>
                  <a:pt x="7171098" y="4488200"/>
                  <a:pt x="7168056" y="4486582"/>
                  <a:pt x="7176354" y="4482536"/>
                </a:cubicBezTo>
                <a:close/>
                <a:moveTo>
                  <a:pt x="5925337" y="4443895"/>
                </a:moveTo>
                <a:cubicBezTo>
                  <a:pt x="5926997" y="4443794"/>
                  <a:pt x="5928933" y="4443997"/>
                  <a:pt x="5931146" y="4444300"/>
                </a:cubicBezTo>
                <a:cubicBezTo>
                  <a:pt x="5930316" y="4448751"/>
                  <a:pt x="5927826" y="4448346"/>
                  <a:pt x="5922848" y="4450066"/>
                </a:cubicBezTo>
                <a:cubicBezTo>
                  <a:pt x="5921465" y="4456742"/>
                  <a:pt x="5931976" y="4451077"/>
                  <a:pt x="5930869" y="4457753"/>
                </a:cubicBezTo>
                <a:cubicBezTo>
                  <a:pt x="5916210" y="4458461"/>
                  <a:pt x="5911231" y="4460181"/>
                  <a:pt x="5897126" y="4458664"/>
                </a:cubicBezTo>
                <a:cubicBezTo>
                  <a:pt x="5898508" y="4451988"/>
                  <a:pt x="5909849" y="4455528"/>
                  <a:pt x="5910954" y="4448852"/>
                </a:cubicBezTo>
                <a:cubicBezTo>
                  <a:pt x="5913444" y="4449054"/>
                  <a:pt x="5908189" y="4450875"/>
                  <a:pt x="5910125" y="4453303"/>
                </a:cubicBezTo>
                <a:cubicBezTo>
                  <a:pt x="5921741" y="4454618"/>
                  <a:pt x="5915933" y="4449358"/>
                  <a:pt x="5918976" y="4445109"/>
                </a:cubicBezTo>
                <a:cubicBezTo>
                  <a:pt x="5921465" y="4444300"/>
                  <a:pt x="5923401" y="4443997"/>
                  <a:pt x="5925337" y="4443895"/>
                </a:cubicBezTo>
                <a:close/>
                <a:moveTo>
                  <a:pt x="5972634" y="4443289"/>
                </a:moveTo>
                <a:cubicBezTo>
                  <a:pt x="5974295" y="4443187"/>
                  <a:pt x="5976231" y="4443390"/>
                  <a:pt x="5978442" y="4443794"/>
                </a:cubicBezTo>
                <a:cubicBezTo>
                  <a:pt x="5982868" y="4444502"/>
                  <a:pt x="5987293" y="4446121"/>
                  <a:pt x="5988123" y="4448548"/>
                </a:cubicBezTo>
                <a:cubicBezTo>
                  <a:pt x="5981485" y="4457045"/>
                  <a:pt x="5964613" y="4457551"/>
                  <a:pt x="5955209" y="4456540"/>
                </a:cubicBezTo>
                <a:cubicBezTo>
                  <a:pt x="5968485" y="4462609"/>
                  <a:pt x="5932805" y="4460889"/>
                  <a:pt x="5934466" y="4451886"/>
                </a:cubicBezTo>
                <a:cubicBezTo>
                  <a:pt x="5949678" y="4448852"/>
                  <a:pt x="5970145" y="4453505"/>
                  <a:pt x="5969868" y="4444199"/>
                </a:cubicBezTo>
                <a:cubicBezTo>
                  <a:pt x="5969868" y="4443592"/>
                  <a:pt x="5970974" y="4443390"/>
                  <a:pt x="5972634" y="4443289"/>
                </a:cubicBezTo>
                <a:close/>
                <a:moveTo>
                  <a:pt x="7301926" y="4442985"/>
                </a:moveTo>
                <a:cubicBezTo>
                  <a:pt x="7306904" y="4448953"/>
                  <a:pt x="7298330" y="4453100"/>
                  <a:pt x="7295011" y="4451482"/>
                </a:cubicBezTo>
                <a:cubicBezTo>
                  <a:pt x="7293351" y="4447132"/>
                  <a:pt x="7297224" y="4443997"/>
                  <a:pt x="7301926" y="4442985"/>
                </a:cubicBezTo>
                <a:close/>
                <a:moveTo>
                  <a:pt x="7350052" y="4425587"/>
                </a:moveTo>
                <a:cubicBezTo>
                  <a:pt x="7351712" y="4429936"/>
                  <a:pt x="7356137" y="4428824"/>
                  <a:pt x="7358350" y="4428318"/>
                </a:cubicBezTo>
                <a:cubicBezTo>
                  <a:pt x="7353371" y="4434185"/>
                  <a:pt x="7337606" y="4437725"/>
                  <a:pt x="7332627" y="4431757"/>
                </a:cubicBezTo>
                <a:cubicBezTo>
                  <a:pt x="7340372" y="4432364"/>
                  <a:pt x="7342584" y="4431959"/>
                  <a:pt x="7350052" y="4425587"/>
                </a:cubicBezTo>
                <a:close/>
                <a:moveTo>
                  <a:pt x="5965444" y="4422552"/>
                </a:moveTo>
                <a:cubicBezTo>
                  <a:pt x="5968209" y="4422856"/>
                  <a:pt x="5971252" y="4423766"/>
                  <a:pt x="5973741" y="4424070"/>
                </a:cubicBezTo>
                <a:cubicBezTo>
                  <a:pt x="5974847" y="4430948"/>
                  <a:pt x="5961017" y="4424879"/>
                  <a:pt x="5962677" y="4429633"/>
                </a:cubicBezTo>
                <a:cubicBezTo>
                  <a:pt x="5960187" y="4429330"/>
                  <a:pt x="5958251" y="4426902"/>
                  <a:pt x="5958529" y="4424677"/>
                </a:cubicBezTo>
                <a:cubicBezTo>
                  <a:pt x="5960187" y="4422552"/>
                  <a:pt x="5962677" y="4422148"/>
                  <a:pt x="5965444" y="4422552"/>
                </a:cubicBezTo>
                <a:close/>
                <a:moveTo>
                  <a:pt x="5870573" y="4415472"/>
                </a:moveTo>
                <a:cubicBezTo>
                  <a:pt x="5873891" y="4415573"/>
                  <a:pt x="5877210" y="4415876"/>
                  <a:pt x="5881360" y="4416382"/>
                </a:cubicBezTo>
                <a:cubicBezTo>
                  <a:pt x="5884125" y="4414359"/>
                  <a:pt x="5886339" y="4416888"/>
                  <a:pt x="5885785" y="4419113"/>
                </a:cubicBezTo>
                <a:cubicBezTo>
                  <a:pt x="5874998" y="4424778"/>
                  <a:pt x="5853425" y="4422552"/>
                  <a:pt x="5844296" y="4419214"/>
                </a:cubicBezTo>
                <a:cubicBezTo>
                  <a:pt x="5839594" y="4418709"/>
                  <a:pt x="5834339" y="4420327"/>
                  <a:pt x="5831851" y="4420023"/>
                </a:cubicBezTo>
                <a:cubicBezTo>
                  <a:pt x="5832403" y="4417798"/>
                  <a:pt x="5837105" y="4418405"/>
                  <a:pt x="5840148" y="4416382"/>
                </a:cubicBezTo>
                <a:cubicBezTo>
                  <a:pt x="5849828" y="4416281"/>
                  <a:pt x="5855914" y="4415775"/>
                  <a:pt x="5861722" y="4415573"/>
                </a:cubicBezTo>
                <a:cubicBezTo>
                  <a:pt x="5864765" y="4415472"/>
                  <a:pt x="5867530" y="4415370"/>
                  <a:pt x="5870573" y="4415472"/>
                </a:cubicBezTo>
                <a:close/>
                <a:moveTo>
                  <a:pt x="5722873" y="4415168"/>
                </a:moveTo>
                <a:cubicBezTo>
                  <a:pt x="5729511" y="4415573"/>
                  <a:pt x="5738639" y="4419619"/>
                  <a:pt x="5746383" y="4417090"/>
                </a:cubicBezTo>
                <a:cubicBezTo>
                  <a:pt x="5731172" y="4420023"/>
                  <a:pt x="5727852" y="4424272"/>
                  <a:pt x="5717618" y="4416180"/>
                </a:cubicBezTo>
                <a:cubicBezTo>
                  <a:pt x="5719001" y="4415168"/>
                  <a:pt x="5720661" y="4414966"/>
                  <a:pt x="5722873" y="4415168"/>
                </a:cubicBezTo>
                <a:close/>
                <a:moveTo>
                  <a:pt x="5782617" y="4414662"/>
                </a:moveTo>
                <a:cubicBezTo>
                  <a:pt x="5782063" y="4416888"/>
                  <a:pt x="5784000" y="4419417"/>
                  <a:pt x="5786212" y="4419720"/>
                </a:cubicBezTo>
                <a:cubicBezTo>
                  <a:pt x="5782617" y="4426194"/>
                  <a:pt x="5779851" y="4416584"/>
                  <a:pt x="5772384" y="4418102"/>
                </a:cubicBezTo>
                <a:cubicBezTo>
                  <a:pt x="5775149" y="4416079"/>
                  <a:pt x="5777915" y="4414157"/>
                  <a:pt x="5782617" y="4414662"/>
                </a:cubicBezTo>
                <a:close/>
                <a:moveTo>
                  <a:pt x="5811659" y="4413550"/>
                </a:moveTo>
                <a:cubicBezTo>
                  <a:pt x="5811935" y="4413651"/>
                  <a:pt x="5812488" y="4414258"/>
                  <a:pt x="5813318" y="4415067"/>
                </a:cubicBezTo>
                <a:cubicBezTo>
                  <a:pt x="5814425" y="4416584"/>
                  <a:pt x="5815807" y="4419012"/>
                  <a:pt x="5815531" y="4420125"/>
                </a:cubicBezTo>
                <a:cubicBezTo>
                  <a:pt x="5807510" y="4423968"/>
                  <a:pt x="5803084" y="4421136"/>
                  <a:pt x="5795893" y="4420327"/>
                </a:cubicBezTo>
                <a:cubicBezTo>
                  <a:pt x="5800042" y="4411527"/>
                  <a:pt x="5819403" y="4425283"/>
                  <a:pt x="5811659" y="4415168"/>
                </a:cubicBezTo>
                <a:cubicBezTo>
                  <a:pt x="5811382" y="4413954"/>
                  <a:pt x="5811382" y="4413449"/>
                  <a:pt x="5811659" y="4413550"/>
                </a:cubicBezTo>
                <a:close/>
                <a:moveTo>
                  <a:pt x="5915933" y="4413347"/>
                </a:moveTo>
                <a:cubicBezTo>
                  <a:pt x="5921741" y="4413449"/>
                  <a:pt x="5927550" y="4415269"/>
                  <a:pt x="5931422" y="4419619"/>
                </a:cubicBezTo>
                <a:cubicBezTo>
                  <a:pt x="5923125" y="4425385"/>
                  <a:pt x="5914828" y="4417697"/>
                  <a:pt x="5902105" y="4420732"/>
                </a:cubicBezTo>
                <a:cubicBezTo>
                  <a:pt x="5900721" y="4427306"/>
                  <a:pt x="5905977" y="4425688"/>
                  <a:pt x="5904593" y="4432263"/>
                </a:cubicBezTo>
                <a:cubicBezTo>
                  <a:pt x="5880253" y="4427812"/>
                  <a:pt x="5898508" y="4413145"/>
                  <a:pt x="5915933" y="4413347"/>
                </a:cubicBezTo>
                <a:close/>
                <a:moveTo>
                  <a:pt x="5944699" y="4411931"/>
                </a:moveTo>
                <a:cubicBezTo>
                  <a:pt x="5945252" y="4414258"/>
                  <a:pt x="5944975" y="4415977"/>
                  <a:pt x="5944422" y="4417394"/>
                </a:cubicBezTo>
                <a:cubicBezTo>
                  <a:pt x="5943870" y="4418709"/>
                  <a:pt x="5943039" y="4419720"/>
                  <a:pt x="5942763" y="4420833"/>
                </a:cubicBezTo>
                <a:cubicBezTo>
                  <a:pt x="5938060" y="4420327"/>
                  <a:pt x="5936124" y="4417798"/>
                  <a:pt x="5936955" y="4413347"/>
                </a:cubicBezTo>
                <a:cubicBezTo>
                  <a:pt x="5939443" y="4413651"/>
                  <a:pt x="5942209" y="4411628"/>
                  <a:pt x="5944699" y="4411931"/>
                </a:cubicBezTo>
                <a:close/>
                <a:moveTo>
                  <a:pt x="7391541" y="4409706"/>
                </a:moveTo>
                <a:cubicBezTo>
                  <a:pt x="7392924" y="4408998"/>
                  <a:pt x="7395136" y="4408998"/>
                  <a:pt x="7398732" y="4410009"/>
                </a:cubicBezTo>
                <a:cubicBezTo>
                  <a:pt x="7400392" y="4414258"/>
                  <a:pt x="7397073" y="4412639"/>
                  <a:pt x="7397073" y="4412639"/>
                </a:cubicBezTo>
                <a:cubicBezTo>
                  <a:pt x="7388775" y="4416787"/>
                  <a:pt x="7404541" y="4425081"/>
                  <a:pt x="7407860" y="4426700"/>
                </a:cubicBezTo>
                <a:cubicBezTo>
                  <a:pt x="7380477" y="4421035"/>
                  <a:pt x="7350052" y="4450976"/>
                  <a:pt x="7319351" y="4455427"/>
                </a:cubicBezTo>
                <a:cubicBezTo>
                  <a:pt x="7332627" y="4438534"/>
                  <a:pt x="7370243" y="4432566"/>
                  <a:pt x="7386839" y="4424272"/>
                </a:cubicBezTo>
                <a:cubicBezTo>
                  <a:pt x="7390711" y="4419922"/>
                  <a:pt x="7387392" y="4411830"/>
                  <a:pt x="7391541" y="4409706"/>
                </a:cubicBezTo>
                <a:close/>
                <a:moveTo>
                  <a:pt x="5962953" y="4408391"/>
                </a:moveTo>
                <a:cubicBezTo>
                  <a:pt x="5964060" y="4407986"/>
                  <a:pt x="5965166" y="4407885"/>
                  <a:pt x="5966272" y="4408492"/>
                </a:cubicBezTo>
                <a:cubicBezTo>
                  <a:pt x="5967655" y="4409301"/>
                  <a:pt x="5968485" y="4411223"/>
                  <a:pt x="5968485" y="4414764"/>
                </a:cubicBezTo>
                <a:cubicBezTo>
                  <a:pt x="5966272" y="4414460"/>
                  <a:pt x="5963230" y="4416483"/>
                  <a:pt x="5963230" y="4416483"/>
                </a:cubicBezTo>
                <a:cubicBezTo>
                  <a:pt x="5957145" y="4414460"/>
                  <a:pt x="5959634" y="4409706"/>
                  <a:pt x="5962953" y="4408391"/>
                </a:cubicBezTo>
                <a:close/>
                <a:moveTo>
                  <a:pt x="7465114" y="4398276"/>
                </a:moveTo>
                <a:cubicBezTo>
                  <a:pt x="7468156" y="4398579"/>
                  <a:pt x="7470922" y="4400096"/>
                  <a:pt x="7472858" y="4403131"/>
                </a:cubicBezTo>
                <a:cubicBezTo>
                  <a:pt x="7460412" y="4403536"/>
                  <a:pt x="7459859" y="4408290"/>
                  <a:pt x="7449348" y="4412943"/>
                </a:cubicBezTo>
                <a:cubicBezTo>
                  <a:pt x="7444923" y="4406874"/>
                  <a:pt x="7456263" y="4397467"/>
                  <a:pt x="7465114" y="4398276"/>
                </a:cubicBezTo>
                <a:close/>
                <a:moveTo>
                  <a:pt x="6067504" y="4386744"/>
                </a:moveTo>
                <a:cubicBezTo>
                  <a:pt x="6068611" y="4393623"/>
                  <a:pt x="6056717" y="4392409"/>
                  <a:pt x="6049249" y="4393825"/>
                </a:cubicBezTo>
                <a:cubicBezTo>
                  <a:pt x="6050357" y="4387149"/>
                  <a:pt x="6060036" y="4388160"/>
                  <a:pt x="6067504" y="4386744"/>
                </a:cubicBezTo>
                <a:close/>
                <a:moveTo>
                  <a:pt x="5900998" y="4377236"/>
                </a:moveTo>
                <a:cubicBezTo>
                  <a:pt x="5906252" y="4375516"/>
                  <a:pt x="5899614" y="4395241"/>
                  <a:pt x="5908742" y="4387149"/>
                </a:cubicBezTo>
                <a:cubicBezTo>
                  <a:pt x="5910402" y="4387857"/>
                  <a:pt x="5910402" y="4388464"/>
                  <a:pt x="5909571" y="4388970"/>
                </a:cubicBezTo>
                <a:cubicBezTo>
                  <a:pt x="5907082" y="4390487"/>
                  <a:pt x="5896848" y="4391600"/>
                  <a:pt x="5899891" y="4395342"/>
                </a:cubicBezTo>
                <a:cubicBezTo>
                  <a:pt x="5887444" y="4396253"/>
                  <a:pt x="5875552" y="4394837"/>
                  <a:pt x="5860892" y="4395443"/>
                </a:cubicBezTo>
                <a:cubicBezTo>
                  <a:pt x="5857573" y="4388363"/>
                  <a:pt x="5860062" y="4388565"/>
                  <a:pt x="5863381" y="4384418"/>
                </a:cubicBezTo>
                <a:cubicBezTo>
                  <a:pt x="5870019" y="4398781"/>
                  <a:pt x="5896295" y="4388059"/>
                  <a:pt x="5900998" y="4377236"/>
                </a:cubicBezTo>
                <a:close/>
                <a:moveTo>
                  <a:pt x="5976783" y="4370155"/>
                </a:moveTo>
                <a:cubicBezTo>
                  <a:pt x="5979272" y="4370358"/>
                  <a:pt x="5975123" y="4378854"/>
                  <a:pt x="5978996" y="4383609"/>
                </a:cubicBezTo>
                <a:cubicBezTo>
                  <a:pt x="5975123" y="4378854"/>
                  <a:pt x="5967380" y="4380169"/>
                  <a:pt x="5968762" y="4373696"/>
                </a:cubicBezTo>
                <a:cubicBezTo>
                  <a:pt x="5971528" y="4371875"/>
                  <a:pt x="5976506" y="4372280"/>
                  <a:pt x="5976783" y="4370155"/>
                </a:cubicBezTo>
                <a:close/>
                <a:moveTo>
                  <a:pt x="6011081" y="4369043"/>
                </a:moveTo>
                <a:cubicBezTo>
                  <a:pt x="6014399" y="4370560"/>
                  <a:pt x="6016612" y="4371875"/>
                  <a:pt x="6017442" y="4373595"/>
                </a:cubicBezTo>
                <a:cubicBezTo>
                  <a:pt x="6018271" y="4375415"/>
                  <a:pt x="6017718" y="4377539"/>
                  <a:pt x="6016060" y="4380675"/>
                </a:cubicBezTo>
                <a:cubicBezTo>
                  <a:pt x="6013293" y="4382698"/>
                  <a:pt x="6008591" y="4382091"/>
                  <a:pt x="6003889" y="4381586"/>
                </a:cubicBezTo>
                <a:cubicBezTo>
                  <a:pt x="6007484" y="4375314"/>
                  <a:pt x="5993379" y="4373797"/>
                  <a:pt x="5994485" y="4380675"/>
                </a:cubicBezTo>
                <a:cubicBezTo>
                  <a:pt x="5984804" y="4381788"/>
                  <a:pt x="5993379" y="4373797"/>
                  <a:pt x="5987018" y="4370863"/>
                </a:cubicBezTo>
                <a:cubicBezTo>
                  <a:pt x="5990059" y="4366716"/>
                  <a:pt x="6007484" y="4375415"/>
                  <a:pt x="6011081" y="4369043"/>
                </a:cubicBezTo>
                <a:close/>
                <a:moveTo>
                  <a:pt x="5953550" y="4367627"/>
                </a:moveTo>
                <a:cubicBezTo>
                  <a:pt x="5959911" y="4370560"/>
                  <a:pt x="5959081" y="4375011"/>
                  <a:pt x="5959911" y="4381889"/>
                </a:cubicBezTo>
                <a:cubicBezTo>
                  <a:pt x="5953550" y="4390285"/>
                  <a:pt x="5945528" y="4382597"/>
                  <a:pt x="5939167" y="4390892"/>
                </a:cubicBezTo>
                <a:cubicBezTo>
                  <a:pt x="5940550" y="4395646"/>
                  <a:pt x="5945806" y="4393926"/>
                  <a:pt x="5944422" y="4400501"/>
                </a:cubicBezTo>
                <a:cubicBezTo>
                  <a:pt x="5935019" y="4399490"/>
                  <a:pt x="5925890" y="4398579"/>
                  <a:pt x="5915933" y="4399793"/>
                </a:cubicBezTo>
                <a:cubicBezTo>
                  <a:pt x="5916486" y="4397568"/>
                  <a:pt x="5921465" y="4395848"/>
                  <a:pt x="5919805" y="4393319"/>
                </a:cubicBezTo>
                <a:cubicBezTo>
                  <a:pt x="5927550" y="4389678"/>
                  <a:pt x="5928933" y="4394331"/>
                  <a:pt x="5934188" y="4392712"/>
                </a:cubicBezTo>
                <a:cubicBezTo>
                  <a:pt x="5935294" y="4386036"/>
                  <a:pt x="5925337" y="4389374"/>
                  <a:pt x="5920635" y="4388869"/>
                </a:cubicBezTo>
                <a:cubicBezTo>
                  <a:pt x="5921465" y="4384418"/>
                  <a:pt x="5940550" y="4384216"/>
                  <a:pt x="5931699" y="4380979"/>
                </a:cubicBezTo>
                <a:cubicBezTo>
                  <a:pt x="5936677" y="4379360"/>
                  <a:pt x="5954932" y="4383609"/>
                  <a:pt x="5953550" y="4367627"/>
                </a:cubicBezTo>
                <a:close/>
                <a:moveTo>
                  <a:pt x="5908742" y="4353566"/>
                </a:moveTo>
                <a:cubicBezTo>
                  <a:pt x="5908189" y="4355691"/>
                  <a:pt x="5905699" y="4355387"/>
                  <a:pt x="5902933" y="4357208"/>
                </a:cubicBezTo>
                <a:cubicBezTo>
                  <a:pt x="5904869" y="4359534"/>
                  <a:pt x="5904869" y="4359534"/>
                  <a:pt x="5906529" y="4363985"/>
                </a:cubicBezTo>
                <a:cubicBezTo>
                  <a:pt x="5904593" y="4361659"/>
                  <a:pt x="5902105" y="4361456"/>
                  <a:pt x="5899891" y="4359029"/>
                </a:cubicBezTo>
                <a:cubicBezTo>
                  <a:pt x="5897402" y="4358826"/>
                  <a:pt x="5896572" y="4362974"/>
                  <a:pt x="5891870" y="4362468"/>
                </a:cubicBezTo>
                <a:cubicBezTo>
                  <a:pt x="5892976" y="4356196"/>
                  <a:pt x="5898508" y="4354679"/>
                  <a:pt x="5908742" y="4353566"/>
                </a:cubicBezTo>
                <a:close/>
                <a:moveTo>
                  <a:pt x="5947464" y="4351543"/>
                </a:moveTo>
                <a:cubicBezTo>
                  <a:pt x="5958529" y="4351139"/>
                  <a:pt x="5969868" y="4352353"/>
                  <a:pt x="5977889" y="4354376"/>
                </a:cubicBezTo>
                <a:cubicBezTo>
                  <a:pt x="5967655" y="4357714"/>
                  <a:pt x="5966549" y="4362164"/>
                  <a:pt x="5963508" y="4366210"/>
                </a:cubicBezTo>
                <a:cubicBezTo>
                  <a:pt x="5952166" y="4362771"/>
                  <a:pt x="5938337" y="4358927"/>
                  <a:pt x="5918976" y="4359029"/>
                </a:cubicBezTo>
                <a:cubicBezTo>
                  <a:pt x="5925890" y="4354274"/>
                  <a:pt x="5936677" y="4352049"/>
                  <a:pt x="5947464" y="4351543"/>
                </a:cubicBezTo>
                <a:close/>
                <a:moveTo>
                  <a:pt x="7580728" y="4332122"/>
                </a:moveTo>
                <a:cubicBezTo>
                  <a:pt x="7588473" y="4332729"/>
                  <a:pt x="7582941" y="4350228"/>
                  <a:pt x="7596494" y="4340315"/>
                </a:cubicBezTo>
                <a:cubicBezTo>
                  <a:pt x="7598154" y="4344564"/>
                  <a:pt x="7595941" y="4345070"/>
                  <a:pt x="7597600" y="4349318"/>
                </a:cubicBezTo>
                <a:cubicBezTo>
                  <a:pt x="7558048" y="4362670"/>
                  <a:pt x="7524857" y="4379360"/>
                  <a:pt x="7482539" y="4397972"/>
                </a:cubicBezTo>
                <a:cubicBezTo>
                  <a:pt x="7481433" y="4388970"/>
                  <a:pt x="7507432" y="4385531"/>
                  <a:pt x="7499134" y="4371066"/>
                </a:cubicBezTo>
                <a:cubicBezTo>
                  <a:pt x="7506049" y="4369548"/>
                  <a:pt x="7509645" y="4366413"/>
                  <a:pt x="7514347" y="4365401"/>
                </a:cubicBezTo>
                <a:cubicBezTo>
                  <a:pt x="7520708" y="4368638"/>
                  <a:pt x="7511304" y="4370661"/>
                  <a:pt x="7509921" y="4373291"/>
                </a:cubicBezTo>
                <a:cubicBezTo>
                  <a:pt x="7517113" y="4378753"/>
                  <a:pt x="7528729" y="4364592"/>
                  <a:pt x="7537580" y="4367323"/>
                </a:cubicBezTo>
                <a:cubicBezTo>
                  <a:pt x="7518219" y="4350633"/>
                  <a:pt x="7557218" y="4360546"/>
                  <a:pt x="7555835" y="4344564"/>
                </a:cubicBezTo>
                <a:cubicBezTo>
                  <a:pt x="7560537" y="4350532"/>
                  <a:pt x="7556112" y="4351543"/>
                  <a:pt x="7561644" y="4352656"/>
                </a:cubicBezTo>
                <a:cubicBezTo>
                  <a:pt x="7562197" y="4347902"/>
                  <a:pt x="7576580" y="4346991"/>
                  <a:pt x="7571878" y="4341125"/>
                </a:cubicBezTo>
                <a:cubicBezTo>
                  <a:pt x="7574090" y="4340619"/>
                  <a:pt x="7575750" y="4344867"/>
                  <a:pt x="7579069" y="4346486"/>
                </a:cubicBezTo>
                <a:cubicBezTo>
                  <a:pt x="7584877" y="4342844"/>
                  <a:pt x="7580175" y="4336977"/>
                  <a:pt x="7580728" y="4332122"/>
                </a:cubicBezTo>
                <a:close/>
                <a:moveTo>
                  <a:pt x="7545601" y="4331212"/>
                </a:moveTo>
                <a:cubicBezTo>
                  <a:pt x="7549197" y="4330706"/>
                  <a:pt x="7553069" y="4330908"/>
                  <a:pt x="7558048" y="4332122"/>
                </a:cubicBezTo>
                <a:cubicBezTo>
                  <a:pt x="7559984" y="4334044"/>
                  <a:pt x="7560537" y="4335157"/>
                  <a:pt x="7559984" y="4335561"/>
                </a:cubicBezTo>
                <a:cubicBezTo>
                  <a:pt x="7559431" y="4335966"/>
                  <a:pt x="7558048" y="4335561"/>
                  <a:pt x="7556665" y="4334752"/>
                </a:cubicBezTo>
                <a:cubicBezTo>
                  <a:pt x="7530112" y="4342945"/>
                  <a:pt x="7514623" y="4360546"/>
                  <a:pt x="7481433" y="4370257"/>
                </a:cubicBezTo>
                <a:cubicBezTo>
                  <a:pt x="7483092" y="4355691"/>
                  <a:pt x="7518496" y="4357309"/>
                  <a:pt x="7516836" y="4341226"/>
                </a:cubicBezTo>
                <a:cubicBezTo>
                  <a:pt x="7529559" y="4340113"/>
                  <a:pt x="7535368" y="4332729"/>
                  <a:pt x="7545601" y="4331212"/>
                </a:cubicBezTo>
                <a:close/>
                <a:moveTo>
                  <a:pt x="5984804" y="4329897"/>
                </a:moveTo>
                <a:cubicBezTo>
                  <a:pt x="5987293" y="4330200"/>
                  <a:pt x="5986187" y="4334550"/>
                  <a:pt x="5985357" y="4338899"/>
                </a:cubicBezTo>
                <a:cubicBezTo>
                  <a:pt x="5981208" y="4336269"/>
                  <a:pt x="5965166" y="4345879"/>
                  <a:pt x="5964613" y="4336674"/>
                </a:cubicBezTo>
                <a:cubicBezTo>
                  <a:pt x="5974295" y="4335460"/>
                  <a:pt x="5981761" y="4334044"/>
                  <a:pt x="5984804" y="4329897"/>
                </a:cubicBezTo>
                <a:close/>
                <a:moveTo>
                  <a:pt x="7567729" y="4325446"/>
                </a:moveTo>
                <a:cubicBezTo>
                  <a:pt x="7568558" y="4327671"/>
                  <a:pt x="7569665" y="4329897"/>
                  <a:pt x="7570495" y="4332122"/>
                </a:cubicBezTo>
                <a:cubicBezTo>
                  <a:pt x="7565793" y="4333134"/>
                  <a:pt x="7563027" y="4338596"/>
                  <a:pt x="7560261" y="4331920"/>
                </a:cubicBezTo>
                <a:cubicBezTo>
                  <a:pt x="7562750" y="4331414"/>
                  <a:pt x="7562750" y="4331414"/>
                  <a:pt x="7564963" y="4330908"/>
                </a:cubicBezTo>
                <a:cubicBezTo>
                  <a:pt x="7564133" y="4328683"/>
                  <a:pt x="7564133" y="4328683"/>
                  <a:pt x="7561920" y="4329189"/>
                </a:cubicBezTo>
                <a:cubicBezTo>
                  <a:pt x="7559984" y="4324839"/>
                  <a:pt x="7564133" y="4328683"/>
                  <a:pt x="7567729" y="4325446"/>
                </a:cubicBezTo>
                <a:close/>
                <a:moveTo>
                  <a:pt x="6015505" y="4324131"/>
                </a:moveTo>
                <a:cubicBezTo>
                  <a:pt x="6017996" y="4324434"/>
                  <a:pt x="6021590" y="4329391"/>
                  <a:pt x="6022420" y="4324940"/>
                </a:cubicBezTo>
                <a:cubicBezTo>
                  <a:pt x="6024080" y="4325749"/>
                  <a:pt x="6024633" y="4326559"/>
                  <a:pt x="6024633" y="4327267"/>
                </a:cubicBezTo>
                <a:cubicBezTo>
                  <a:pt x="6024633" y="4329593"/>
                  <a:pt x="6018825" y="4331920"/>
                  <a:pt x="6018548" y="4333639"/>
                </a:cubicBezTo>
                <a:cubicBezTo>
                  <a:pt x="6013846" y="4333134"/>
                  <a:pt x="6014676" y="4328582"/>
                  <a:pt x="6015505" y="4324131"/>
                </a:cubicBezTo>
                <a:close/>
                <a:moveTo>
                  <a:pt x="7590409" y="4311386"/>
                </a:moveTo>
                <a:cubicBezTo>
                  <a:pt x="7584047" y="4315027"/>
                  <a:pt x="7583494" y="4326458"/>
                  <a:pt x="7577686" y="4325446"/>
                </a:cubicBezTo>
                <a:cubicBezTo>
                  <a:pt x="7578516" y="4320793"/>
                  <a:pt x="7581558" y="4315533"/>
                  <a:pt x="7590409" y="4311386"/>
                </a:cubicBezTo>
                <a:close/>
                <a:moveTo>
                  <a:pt x="7273990" y="4310374"/>
                </a:moveTo>
                <a:cubicBezTo>
                  <a:pt x="7262097" y="4317758"/>
                  <a:pt x="7261543" y="4322715"/>
                  <a:pt x="7247437" y="4318669"/>
                </a:cubicBezTo>
                <a:cubicBezTo>
                  <a:pt x="7250203" y="4313207"/>
                  <a:pt x="7266522" y="4316747"/>
                  <a:pt x="7273990" y="4310374"/>
                </a:cubicBezTo>
                <a:close/>
                <a:moveTo>
                  <a:pt x="7305521" y="4296820"/>
                </a:moveTo>
                <a:cubicBezTo>
                  <a:pt x="7306351" y="4298944"/>
                  <a:pt x="7309393" y="4300664"/>
                  <a:pt x="7311606" y="4300158"/>
                </a:cubicBezTo>
                <a:cubicBezTo>
                  <a:pt x="7312159" y="4307239"/>
                  <a:pt x="7304138" y="4299450"/>
                  <a:pt x="7298330" y="4303091"/>
                </a:cubicBezTo>
                <a:cubicBezTo>
                  <a:pt x="7299713" y="4300461"/>
                  <a:pt x="7301096" y="4297730"/>
                  <a:pt x="7305521" y="4296820"/>
                </a:cubicBezTo>
                <a:close/>
                <a:moveTo>
                  <a:pt x="7331244" y="4286705"/>
                </a:moveTo>
                <a:cubicBezTo>
                  <a:pt x="7331521" y="4286603"/>
                  <a:pt x="7332350" y="4286907"/>
                  <a:pt x="7333457" y="4287413"/>
                </a:cubicBezTo>
                <a:cubicBezTo>
                  <a:pt x="7335393" y="4288525"/>
                  <a:pt x="7338159" y="4290346"/>
                  <a:pt x="7338435" y="4291459"/>
                </a:cubicBezTo>
                <a:cubicBezTo>
                  <a:pt x="7333457" y="4297427"/>
                  <a:pt x="7327648" y="4296314"/>
                  <a:pt x="7320734" y="4297831"/>
                </a:cubicBezTo>
                <a:cubicBezTo>
                  <a:pt x="7319627" y="4288525"/>
                  <a:pt x="7344797" y="4294797"/>
                  <a:pt x="7332074" y="4288020"/>
                </a:cubicBezTo>
                <a:cubicBezTo>
                  <a:pt x="7330968" y="4287008"/>
                  <a:pt x="7330968" y="4286705"/>
                  <a:pt x="7331244" y="4286705"/>
                </a:cubicBezTo>
                <a:close/>
                <a:moveTo>
                  <a:pt x="5867806" y="4280332"/>
                </a:moveTo>
                <a:cubicBezTo>
                  <a:pt x="5873338" y="4280939"/>
                  <a:pt x="5879147" y="4282861"/>
                  <a:pt x="5884125" y="4282254"/>
                </a:cubicBezTo>
                <a:cubicBezTo>
                  <a:pt x="5878040" y="4288525"/>
                  <a:pt x="5858402" y="4288728"/>
                  <a:pt x="5851764" y="4285592"/>
                </a:cubicBezTo>
                <a:cubicBezTo>
                  <a:pt x="5856466" y="4280332"/>
                  <a:pt x="5862276" y="4279725"/>
                  <a:pt x="5867806" y="4280332"/>
                </a:cubicBezTo>
                <a:close/>
                <a:moveTo>
                  <a:pt x="7457093" y="4276994"/>
                </a:moveTo>
                <a:cubicBezTo>
                  <a:pt x="7458752" y="4281242"/>
                  <a:pt x="7456263" y="4281748"/>
                  <a:pt x="7452667" y="4284884"/>
                </a:cubicBezTo>
                <a:cubicBezTo>
                  <a:pt x="7455433" y="4291358"/>
                  <a:pt x="7461795" y="4282962"/>
                  <a:pt x="7464284" y="4289436"/>
                </a:cubicBezTo>
                <a:cubicBezTo>
                  <a:pt x="7451561" y="4294493"/>
                  <a:pt x="7447965" y="4297629"/>
                  <a:pt x="7434412" y="4300664"/>
                </a:cubicBezTo>
                <a:cubicBezTo>
                  <a:pt x="7431923" y="4294190"/>
                  <a:pt x="7444093" y="4293886"/>
                  <a:pt x="7441327" y="4287413"/>
                </a:cubicBezTo>
                <a:cubicBezTo>
                  <a:pt x="7443816" y="4286907"/>
                  <a:pt x="7439944" y="4290043"/>
                  <a:pt x="7443263" y="4291762"/>
                </a:cubicBezTo>
                <a:cubicBezTo>
                  <a:pt x="7454603" y="4289233"/>
                  <a:pt x="7446029" y="4286401"/>
                  <a:pt x="7446582" y="4281647"/>
                </a:cubicBezTo>
                <a:cubicBezTo>
                  <a:pt x="7450178" y="4278511"/>
                  <a:pt x="7452391" y="4278006"/>
                  <a:pt x="7457093" y="4276994"/>
                </a:cubicBezTo>
                <a:close/>
                <a:moveTo>
                  <a:pt x="5921741" y="4276691"/>
                </a:moveTo>
                <a:cubicBezTo>
                  <a:pt x="5922848" y="4276488"/>
                  <a:pt x="5924231" y="4276691"/>
                  <a:pt x="5925615" y="4277196"/>
                </a:cubicBezTo>
                <a:cubicBezTo>
                  <a:pt x="5928656" y="4278006"/>
                  <a:pt x="5931146" y="4279523"/>
                  <a:pt x="5932528" y="4278511"/>
                </a:cubicBezTo>
                <a:cubicBezTo>
                  <a:pt x="5932252" y="4280838"/>
                  <a:pt x="5931146" y="4285491"/>
                  <a:pt x="5933635" y="4285693"/>
                </a:cubicBezTo>
                <a:cubicBezTo>
                  <a:pt x="5932805" y="4290346"/>
                  <a:pt x="5928104" y="4289840"/>
                  <a:pt x="5923401" y="4289335"/>
                </a:cubicBezTo>
                <a:cubicBezTo>
                  <a:pt x="5926720" y="4284985"/>
                  <a:pt x="5927826" y="4278006"/>
                  <a:pt x="5918146" y="4279321"/>
                </a:cubicBezTo>
                <a:cubicBezTo>
                  <a:pt x="5918976" y="4277601"/>
                  <a:pt x="5920358" y="4276893"/>
                  <a:pt x="5921741" y="4276691"/>
                </a:cubicBezTo>
                <a:close/>
                <a:moveTo>
                  <a:pt x="7399009" y="4266070"/>
                </a:moveTo>
                <a:cubicBezTo>
                  <a:pt x="7400115" y="4266474"/>
                  <a:pt x="7400945" y="4267283"/>
                  <a:pt x="7401498" y="4268396"/>
                </a:cubicBezTo>
                <a:cubicBezTo>
                  <a:pt x="7394860" y="4276994"/>
                  <a:pt x="7374116" y="4281647"/>
                  <a:pt x="7363882" y="4281546"/>
                </a:cubicBezTo>
                <a:cubicBezTo>
                  <a:pt x="7359456" y="4282557"/>
                  <a:pt x="7355584" y="4285693"/>
                  <a:pt x="7353371" y="4286199"/>
                </a:cubicBezTo>
                <a:cubicBezTo>
                  <a:pt x="7352542" y="4283974"/>
                  <a:pt x="7356967" y="4283063"/>
                  <a:pt x="7358350" y="4280332"/>
                </a:cubicBezTo>
                <a:cubicBezTo>
                  <a:pt x="7376052" y="4274061"/>
                  <a:pt x="7379924" y="4270824"/>
                  <a:pt x="7395966" y="4267283"/>
                </a:cubicBezTo>
                <a:cubicBezTo>
                  <a:pt x="7396796" y="4265867"/>
                  <a:pt x="7397902" y="4265766"/>
                  <a:pt x="7399009" y="4266070"/>
                </a:cubicBezTo>
                <a:close/>
                <a:moveTo>
                  <a:pt x="6006378" y="4265968"/>
                </a:moveTo>
                <a:cubicBezTo>
                  <a:pt x="6010803" y="4265361"/>
                  <a:pt x="6014953" y="4265361"/>
                  <a:pt x="6019101" y="4266070"/>
                </a:cubicBezTo>
                <a:cubicBezTo>
                  <a:pt x="6024911" y="4267081"/>
                  <a:pt x="6030165" y="4269509"/>
                  <a:pt x="6035420" y="4274162"/>
                </a:cubicBezTo>
                <a:cubicBezTo>
                  <a:pt x="6014676" y="4281040"/>
                  <a:pt x="5992825" y="4280939"/>
                  <a:pt x="5976783" y="4276893"/>
                </a:cubicBezTo>
                <a:cubicBezTo>
                  <a:pt x="5976231" y="4279118"/>
                  <a:pt x="5981485" y="4277399"/>
                  <a:pt x="5980655" y="4281950"/>
                </a:cubicBezTo>
                <a:cubicBezTo>
                  <a:pt x="5972634" y="4285693"/>
                  <a:pt x="5974295" y="4276691"/>
                  <a:pt x="5966826" y="4278107"/>
                </a:cubicBezTo>
                <a:cubicBezTo>
                  <a:pt x="5979825" y="4274364"/>
                  <a:pt x="5993379" y="4267789"/>
                  <a:pt x="6006378" y="4265968"/>
                </a:cubicBezTo>
                <a:close/>
                <a:moveTo>
                  <a:pt x="7506049" y="4261315"/>
                </a:moveTo>
                <a:cubicBezTo>
                  <a:pt x="7508262" y="4261518"/>
                  <a:pt x="7509921" y="4262023"/>
                  <a:pt x="7511028" y="4262934"/>
                </a:cubicBezTo>
                <a:cubicBezTo>
                  <a:pt x="7509921" y="4272746"/>
                  <a:pt x="7494986" y="4278410"/>
                  <a:pt x="7485858" y="4280433"/>
                </a:cubicBezTo>
                <a:cubicBezTo>
                  <a:pt x="7501347" y="4281849"/>
                  <a:pt x="7467880" y="4291560"/>
                  <a:pt x="7464561" y="4282760"/>
                </a:cubicBezTo>
                <a:cubicBezTo>
                  <a:pt x="7476454" y="4275376"/>
                  <a:pt x="7497751" y="4273049"/>
                  <a:pt x="7491943" y="4264856"/>
                </a:cubicBezTo>
                <a:cubicBezTo>
                  <a:pt x="7491666" y="4263743"/>
                  <a:pt x="7495262" y="4262226"/>
                  <a:pt x="7499688" y="4261619"/>
                </a:cubicBezTo>
                <a:cubicBezTo>
                  <a:pt x="7501900" y="4261315"/>
                  <a:pt x="7504113" y="4261113"/>
                  <a:pt x="7506049" y="4261315"/>
                </a:cubicBezTo>
                <a:close/>
                <a:moveTo>
                  <a:pt x="5749426" y="4259697"/>
                </a:moveTo>
                <a:cubicBezTo>
                  <a:pt x="5752746" y="4259393"/>
                  <a:pt x="5756341" y="4259697"/>
                  <a:pt x="5759661" y="4260102"/>
                </a:cubicBezTo>
                <a:cubicBezTo>
                  <a:pt x="5766851" y="4260810"/>
                  <a:pt x="5773766" y="4262226"/>
                  <a:pt x="5777638" y="4261518"/>
                </a:cubicBezTo>
                <a:cubicBezTo>
                  <a:pt x="5768787" y="4269711"/>
                  <a:pt x="5755511" y="4263642"/>
                  <a:pt x="5741405" y="4262125"/>
                </a:cubicBezTo>
                <a:cubicBezTo>
                  <a:pt x="5743341" y="4260607"/>
                  <a:pt x="5746383" y="4259899"/>
                  <a:pt x="5749426" y="4259697"/>
                </a:cubicBezTo>
                <a:close/>
                <a:moveTo>
                  <a:pt x="7884805" y="4255324"/>
                </a:moveTo>
                <a:cubicBezTo>
                  <a:pt x="7891443" y="4254414"/>
                  <a:pt x="7898358" y="4256335"/>
                  <a:pt x="7898358" y="4263113"/>
                </a:cubicBezTo>
                <a:cubicBezTo>
                  <a:pt x="7887018" y="4259572"/>
                  <a:pt x="7883699" y="4263821"/>
                  <a:pt x="7871252" y="4264731"/>
                </a:cubicBezTo>
                <a:cubicBezTo>
                  <a:pt x="7870975" y="4260078"/>
                  <a:pt x="7877890" y="4256335"/>
                  <a:pt x="7884805" y="4255324"/>
                </a:cubicBezTo>
                <a:close/>
                <a:moveTo>
                  <a:pt x="5918699" y="4254235"/>
                </a:moveTo>
                <a:cubicBezTo>
                  <a:pt x="5914274" y="4265361"/>
                  <a:pt x="5900444" y="4261518"/>
                  <a:pt x="5892976" y="4262934"/>
                </a:cubicBezTo>
                <a:cubicBezTo>
                  <a:pt x="5894912" y="4265463"/>
                  <a:pt x="5896848" y="4267991"/>
                  <a:pt x="5896295" y="4270217"/>
                </a:cubicBezTo>
                <a:cubicBezTo>
                  <a:pt x="5892147" y="4267486"/>
                  <a:pt x="5885785" y="4273757"/>
                  <a:pt x="5876381" y="4272644"/>
                </a:cubicBezTo>
                <a:cubicBezTo>
                  <a:pt x="5880531" y="4263844"/>
                  <a:pt x="5854253" y="4263237"/>
                  <a:pt x="5855360" y="4270318"/>
                </a:cubicBezTo>
                <a:cubicBezTo>
                  <a:pt x="5849551" y="4262732"/>
                  <a:pt x="5832956" y="4260911"/>
                  <a:pt x="5821893" y="4269003"/>
                </a:cubicBezTo>
                <a:cubicBezTo>
                  <a:pt x="5819957" y="4266474"/>
                  <a:pt x="5818021" y="4263945"/>
                  <a:pt x="5813318" y="4263440"/>
                </a:cubicBezTo>
                <a:cubicBezTo>
                  <a:pt x="5846510" y="4253223"/>
                  <a:pt x="5881636" y="4259393"/>
                  <a:pt x="5918699" y="4254235"/>
                </a:cubicBezTo>
                <a:close/>
                <a:moveTo>
                  <a:pt x="7536751" y="4253425"/>
                </a:moveTo>
                <a:lnTo>
                  <a:pt x="7535091" y="4257168"/>
                </a:lnTo>
                <a:cubicBezTo>
                  <a:pt x="7534538" y="4259899"/>
                  <a:pt x="7534261" y="4262327"/>
                  <a:pt x="7532325" y="4260405"/>
                </a:cubicBezTo>
                <a:close/>
                <a:moveTo>
                  <a:pt x="7434136" y="4252515"/>
                </a:moveTo>
                <a:cubicBezTo>
                  <a:pt x="7436902" y="4252515"/>
                  <a:pt x="7440221" y="4253122"/>
                  <a:pt x="7443263" y="4254538"/>
                </a:cubicBezTo>
                <a:cubicBezTo>
                  <a:pt x="7438838" y="4262428"/>
                  <a:pt x="7427221" y="4258078"/>
                  <a:pt x="7417264" y="4264856"/>
                </a:cubicBezTo>
                <a:cubicBezTo>
                  <a:pt x="7420030" y="4271127"/>
                  <a:pt x="7423625" y="4268093"/>
                  <a:pt x="7426115" y="4274465"/>
                </a:cubicBezTo>
                <a:cubicBezTo>
                  <a:pt x="7401498" y="4278107"/>
                  <a:pt x="7409796" y="4258989"/>
                  <a:pt x="7425561" y="4253729"/>
                </a:cubicBezTo>
                <a:cubicBezTo>
                  <a:pt x="7428327" y="4252819"/>
                  <a:pt x="7431093" y="4252414"/>
                  <a:pt x="7434136" y="4252515"/>
                </a:cubicBezTo>
                <a:close/>
                <a:moveTo>
                  <a:pt x="6280479" y="4248772"/>
                </a:moveTo>
                <a:cubicBezTo>
                  <a:pt x="6278819" y="4257876"/>
                  <a:pt x="6273564" y="4259697"/>
                  <a:pt x="6263883" y="4260911"/>
                </a:cubicBezTo>
                <a:cubicBezTo>
                  <a:pt x="6263330" y="4251504"/>
                  <a:pt x="6273011" y="4250290"/>
                  <a:pt x="6280479" y="4248772"/>
                </a:cubicBezTo>
                <a:close/>
                <a:moveTo>
                  <a:pt x="6003612" y="4247862"/>
                </a:moveTo>
                <a:cubicBezTo>
                  <a:pt x="5987018" y="4259697"/>
                  <a:pt x="5959358" y="4254336"/>
                  <a:pt x="5934741" y="4258382"/>
                </a:cubicBezTo>
                <a:cubicBezTo>
                  <a:pt x="5949400" y="4244221"/>
                  <a:pt x="5976231" y="4253931"/>
                  <a:pt x="6003612" y="4247862"/>
                </a:cubicBezTo>
                <a:close/>
                <a:moveTo>
                  <a:pt x="7484198" y="4245333"/>
                </a:moveTo>
                <a:cubicBezTo>
                  <a:pt x="7489177" y="4251200"/>
                  <a:pt x="7473135" y="4250087"/>
                  <a:pt x="7477007" y="4253830"/>
                </a:cubicBezTo>
                <a:cubicBezTo>
                  <a:pt x="7474794" y="4254336"/>
                  <a:pt x="7471475" y="4252717"/>
                  <a:pt x="7470646" y="4250492"/>
                </a:cubicBezTo>
                <a:cubicBezTo>
                  <a:pt x="7471199" y="4245738"/>
                  <a:pt x="7479220" y="4246345"/>
                  <a:pt x="7484198" y="4245333"/>
                </a:cubicBezTo>
                <a:close/>
                <a:moveTo>
                  <a:pt x="7450731" y="4243411"/>
                </a:moveTo>
                <a:cubicBezTo>
                  <a:pt x="7452667" y="4245333"/>
                  <a:pt x="7453497" y="4246952"/>
                  <a:pt x="7453774" y="4248368"/>
                </a:cubicBezTo>
                <a:cubicBezTo>
                  <a:pt x="7454050" y="4249784"/>
                  <a:pt x="7453774" y="4250998"/>
                  <a:pt x="7454050" y="4252111"/>
                </a:cubicBezTo>
                <a:cubicBezTo>
                  <a:pt x="7449625" y="4253122"/>
                  <a:pt x="7446582" y="4251402"/>
                  <a:pt x="7444646" y="4247154"/>
                </a:cubicBezTo>
                <a:cubicBezTo>
                  <a:pt x="7447135" y="4246648"/>
                  <a:pt x="7448518" y="4243917"/>
                  <a:pt x="7450731" y="4243411"/>
                </a:cubicBezTo>
                <a:close/>
                <a:moveTo>
                  <a:pt x="7584428" y="4242073"/>
                </a:moveTo>
                <a:cubicBezTo>
                  <a:pt x="7585534" y="4248648"/>
                  <a:pt x="7590790" y="4247029"/>
                  <a:pt x="7597981" y="4247738"/>
                </a:cubicBezTo>
                <a:cubicBezTo>
                  <a:pt x="7592173" y="4251480"/>
                  <a:pt x="7570322" y="4251278"/>
                  <a:pt x="7567280" y="4242376"/>
                </a:cubicBezTo>
                <a:cubicBezTo>
                  <a:pt x="7576407" y="4245512"/>
                  <a:pt x="7574471" y="4243085"/>
                  <a:pt x="7584428" y="4242073"/>
                </a:cubicBezTo>
                <a:close/>
                <a:moveTo>
                  <a:pt x="7468433" y="4233498"/>
                </a:moveTo>
                <a:cubicBezTo>
                  <a:pt x="7470092" y="4233802"/>
                  <a:pt x="7472029" y="4235218"/>
                  <a:pt x="7473965" y="4238455"/>
                </a:cubicBezTo>
                <a:cubicBezTo>
                  <a:pt x="7471752" y="4238961"/>
                  <a:pt x="7470369" y="4241692"/>
                  <a:pt x="7470369" y="4241692"/>
                </a:cubicBezTo>
                <a:cubicBezTo>
                  <a:pt x="7461242" y="4241894"/>
                  <a:pt x="7463454" y="4232689"/>
                  <a:pt x="7468433" y="4233498"/>
                </a:cubicBezTo>
                <a:close/>
                <a:moveTo>
                  <a:pt x="8036653" y="4232666"/>
                </a:moveTo>
                <a:cubicBezTo>
                  <a:pt x="8043291" y="4235599"/>
                  <a:pt x="8028355" y="4249761"/>
                  <a:pt x="8046057" y="4245006"/>
                </a:cubicBezTo>
                <a:cubicBezTo>
                  <a:pt x="8045227" y="4249356"/>
                  <a:pt x="8043014" y="4249053"/>
                  <a:pt x="8041908" y="4253503"/>
                </a:cubicBezTo>
                <a:cubicBezTo>
                  <a:pt x="7998483" y="4253200"/>
                  <a:pt x="7958931" y="4257853"/>
                  <a:pt x="7909975" y="4261494"/>
                </a:cubicBezTo>
                <a:cubicBezTo>
                  <a:pt x="7914123" y="4252896"/>
                  <a:pt x="7939846" y="4258055"/>
                  <a:pt x="7940399" y="4242376"/>
                </a:cubicBezTo>
                <a:cubicBezTo>
                  <a:pt x="7947591" y="4243085"/>
                  <a:pt x="7952846" y="4241466"/>
                  <a:pt x="7957548" y="4241972"/>
                </a:cubicBezTo>
                <a:cubicBezTo>
                  <a:pt x="7961420" y="4246928"/>
                  <a:pt x="7951740" y="4245816"/>
                  <a:pt x="7948974" y="4247738"/>
                </a:cubicBezTo>
                <a:cubicBezTo>
                  <a:pt x="7952293" y="4254919"/>
                  <a:pt x="7971101" y="4245714"/>
                  <a:pt x="7977463" y="4250873"/>
                </a:cubicBezTo>
                <a:cubicBezTo>
                  <a:pt x="7969441" y="4229732"/>
                  <a:pt x="7999037" y="4251076"/>
                  <a:pt x="8006781" y="4236105"/>
                </a:cubicBezTo>
                <a:cubicBezTo>
                  <a:pt x="8007887" y="4242983"/>
                  <a:pt x="8003185" y="4242478"/>
                  <a:pt x="8007611" y="4245209"/>
                </a:cubicBezTo>
                <a:cubicBezTo>
                  <a:pt x="8010653" y="4241061"/>
                  <a:pt x="8024483" y="4244804"/>
                  <a:pt x="8023376" y="4237926"/>
                </a:cubicBezTo>
                <a:cubicBezTo>
                  <a:pt x="8025866" y="4238229"/>
                  <a:pt x="8025036" y="4242579"/>
                  <a:pt x="8026972" y="4245108"/>
                </a:cubicBezTo>
                <a:cubicBezTo>
                  <a:pt x="8034440" y="4243590"/>
                  <a:pt x="8033334" y="4236813"/>
                  <a:pt x="8036653" y="4232666"/>
                </a:cubicBezTo>
                <a:close/>
                <a:moveTo>
                  <a:pt x="7392924" y="4225609"/>
                </a:moveTo>
                <a:cubicBezTo>
                  <a:pt x="7396519" y="4227126"/>
                  <a:pt x="7401221" y="4241085"/>
                  <a:pt x="7404264" y="4232285"/>
                </a:cubicBezTo>
                <a:cubicBezTo>
                  <a:pt x="7406200" y="4232386"/>
                  <a:pt x="7406200" y="4232993"/>
                  <a:pt x="7405924" y="4233701"/>
                </a:cubicBezTo>
                <a:cubicBezTo>
                  <a:pt x="7404541" y="4235926"/>
                  <a:pt x="7395966" y="4239871"/>
                  <a:pt x="7400668" y="4242400"/>
                </a:cubicBezTo>
                <a:cubicBezTo>
                  <a:pt x="7390158" y="4247053"/>
                  <a:pt x="7378541" y="4249582"/>
                  <a:pt x="7365541" y="4254842"/>
                </a:cubicBezTo>
                <a:cubicBezTo>
                  <a:pt x="7358627" y="4249379"/>
                  <a:pt x="7360839" y="4248874"/>
                  <a:pt x="7361392" y="4244018"/>
                </a:cubicBezTo>
                <a:cubicBezTo>
                  <a:pt x="7375775" y="4254842"/>
                  <a:pt x="7393477" y="4237039"/>
                  <a:pt x="7391541" y="4225710"/>
                </a:cubicBezTo>
                <a:cubicBezTo>
                  <a:pt x="7392094" y="4225406"/>
                  <a:pt x="7392370" y="4225305"/>
                  <a:pt x="7392924" y="4225609"/>
                </a:cubicBezTo>
                <a:close/>
                <a:moveTo>
                  <a:pt x="8021994" y="4222146"/>
                </a:moveTo>
                <a:cubicBezTo>
                  <a:pt x="8022270" y="4221944"/>
                  <a:pt x="8022547" y="4222045"/>
                  <a:pt x="8023376" y="4222247"/>
                </a:cubicBezTo>
                <a:cubicBezTo>
                  <a:pt x="8024483" y="4222652"/>
                  <a:pt x="8026142" y="4223360"/>
                  <a:pt x="8028632" y="4222551"/>
                </a:cubicBezTo>
                <a:cubicBezTo>
                  <a:pt x="8028355" y="4224776"/>
                  <a:pt x="8027802" y="4227102"/>
                  <a:pt x="8027249" y="4229429"/>
                </a:cubicBezTo>
                <a:cubicBezTo>
                  <a:pt x="8022547" y="4228923"/>
                  <a:pt x="8017015" y="4232969"/>
                  <a:pt x="8018398" y="4226091"/>
                </a:cubicBezTo>
                <a:cubicBezTo>
                  <a:pt x="8020611" y="4226394"/>
                  <a:pt x="8020611" y="4226293"/>
                  <a:pt x="8023100" y="4226597"/>
                </a:cubicBezTo>
                <a:cubicBezTo>
                  <a:pt x="8023376" y="4224270"/>
                  <a:pt x="8023376" y="4224371"/>
                  <a:pt x="8021164" y="4224068"/>
                </a:cubicBezTo>
                <a:cubicBezTo>
                  <a:pt x="8021440" y="4222955"/>
                  <a:pt x="8021717" y="4222348"/>
                  <a:pt x="8021994" y="4222146"/>
                </a:cubicBezTo>
                <a:close/>
                <a:moveTo>
                  <a:pt x="7995164" y="4220629"/>
                </a:moveTo>
                <a:cubicBezTo>
                  <a:pt x="8002079" y="4220022"/>
                  <a:pt x="8008717" y="4220022"/>
                  <a:pt x="8015909" y="4225484"/>
                </a:cubicBezTo>
                <a:cubicBezTo>
                  <a:pt x="8016738" y="4227810"/>
                  <a:pt x="8016462" y="4228923"/>
                  <a:pt x="8015909" y="4229125"/>
                </a:cubicBezTo>
                <a:cubicBezTo>
                  <a:pt x="8015079" y="4229328"/>
                  <a:pt x="8014249" y="4228721"/>
                  <a:pt x="8013143" y="4227507"/>
                </a:cubicBezTo>
                <a:cubicBezTo>
                  <a:pt x="7984654" y="4226597"/>
                  <a:pt x="7960591" y="4237622"/>
                  <a:pt x="7924910" y="4235903"/>
                </a:cubicBezTo>
                <a:cubicBezTo>
                  <a:pt x="7934591" y="4223360"/>
                  <a:pt x="7965846" y="4235903"/>
                  <a:pt x="7973590" y="4220730"/>
                </a:cubicBezTo>
                <a:cubicBezTo>
                  <a:pt x="7981611" y="4222753"/>
                  <a:pt x="7988526" y="4221337"/>
                  <a:pt x="7995164" y="4220629"/>
                </a:cubicBezTo>
                <a:close/>
                <a:moveTo>
                  <a:pt x="8057120" y="4216785"/>
                </a:moveTo>
                <a:cubicBezTo>
                  <a:pt x="8049376" y="4218100"/>
                  <a:pt x="8042185" y="4228316"/>
                  <a:pt x="8037759" y="4225585"/>
                </a:cubicBezTo>
                <a:cubicBezTo>
                  <a:pt x="8041078" y="4221640"/>
                  <a:pt x="8046887" y="4217898"/>
                  <a:pt x="8057120" y="4216785"/>
                </a:cubicBezTo>
                <a:close/>
                <a:moveTo>
                  <a:pt x="7384903" y="4201838"/>
                </a:moveTo>
                <a:cubicBezTo>
                  <a:pt x="7385732" y="4203861"/>
                  <a:pt x="7383243" y="4204468"/>
                  <a:pt x="7381860" y="4206997"/>
                </a:cubicBezTo>
                <a:cubicBezTo>
                  <a:pt x="7384903" y="4208514"/>
                  <a:pt x="7384903" y="4208514"/>
                  <a:pt x="7389051" y="4212054"/>
                </a:cubicBezTo>
                <a:cubicBezTo>
                  <a:pt x="7385732" y="4210537"/>
                  <a:pt x="7383520" y="4211043"/>
                  <a:pt x="7380201" y="4209525"/>
                </a:cubicBezTo>
                <a:cubicBezTo>
                  <a:pt x="7377988" y="4210031"/>
                  <a:pt x="7379647" y="4214077"/>
                  <a:pt x="7374669" y="4215190"/>
                </a:cubicBezTo>
                <a:cubicBezTo>
                  <a:pt x="7372456" y="4209121"/>
                  <a:pt x="7376328" y="4205985"/>
                  <a:pt x="7384903" y="4201838"/>
                </a:cubicBezTo>
                <a:close/>
                <a:moveTo>
                  <a:pt x="7433583" y="4200523"/>
                </a:moveTo>
                <a:cubicBezTo>
                  <a:pt x="7441050" y="4201130"/>
                  <a:pt x="7442710" y="4205479"/>
                  <a:pt x="7447689" y="4211346"/>
                </a:cubicBezTo>
                <a:cubicBezTo>
                  <a:pt x="7446582" y="4220956"/>
                  <a:pt x="7434965" y="4216505"/>
                  <a:pt x="7433859" y="4226114"/>
                </a:cubicBezTo>
                <a:cubicBezTo>
                  <a:pt x="7438008" y="4229958"/>
                  <a:pt x="7441604" y="4226822"/>
                  <a:pt x="7444093" y="4233195"/>
                </a:cubicBezTo>
                <a:cubicBezTo>
                  <a:pt x="7435242" y="4235218"/>
                  <a:pt x="7426115" y="4237241"/>
                  <a:pt x="7417817" y="4241388"/>
                </a:cubicBezTo>
                <a:cubicBezTo>
                  <a:pt x="7416987" y="4239264"/>
                  <a:pt x="7420859" y="4236027"/>
                  <a:pt x="7417540" y="4234409"/>
                </a:cubicBezTo>
                <a:cubicBezTo>
                  <a:pt x="7422796" y="4228643"/>
                  <a:pt x="7426668" y="4232386"/>
                  <a:pt x="7430263" y="4229250"/>
                </a:cubicBezTo>
                <a:cubicBezTo>
                  <a:pt x="7427774" y="4222776"/>
                  <a:pt x="7420306" y="4229149"/>
                  <a:pt x="7415881" y="4230160"/>
                </a:cubicBezTo>
                <a:cubicBezTo>
                  <a:pt x="7414221" y="4225811"/>
                  <a:pt x="7431370" y="4219742"/>
                  <a:pt x="7421413" y="4219539"/>
                </a:cubicBezTo>
                <a:cubicBezTo>
                  <a:pt x="7425008" y="4216404"/>
                  <a:pt x="7444093" y="4214583"/>
                  <a:pt x="7433583" y="4200523"/>
                </a:cubicBezTo>
                <a:close/>
                <a:moveTo>
                  <a:pt x="7456263" y="4195566"/>
                </a:moveTo>
                <a:cubicBezTo>
                  <a:pt x="7458476" y="4195061"/>
                  <a:pt x="7459582" y="4203861"/>
                  <a:pt x="7465944" y="4206997"/>
                </a:cubicBezTo>
                <a:cubicBezTo>
                  <a:pt x="7459582" y="4203861"/>
                  <a:pt x="7453497" y="4207401"/>
                  <a:pt x="7451008" y="4201130"/>
                </a:cubicBezTo>
                <a:cubicBezTo>
                  <a:pt x="7452391" y="4198601"/>
                  <a:pt x="7457093" y="4197589"/>
                  <a:pt x="7456263" y="4195566"/>
                </a:cubicBezTo>
                <a:close/>
                <a:moveTo>
                  <a:pt x="6446709" y="4189699"/>
                </a:moveTo>
                <a:cubicBezTo>
                  <a:pt x="6447262" y="4192127"/>
                  <a:pt x="6446986" y="4193746"/>
                  <a:pt x="6446433" y="4195465"/>
                </a:cubicBezTo>
                <a:cubicBezTo>
                  <a:pt x="6445603" y="4197084"/>
                  <a:pt x="6444773" y="4198803"/>
                  <a:pt x="6444220" y="4201029"/>
                </a:cubicBezTo>
                <a:cubicBezTo>
                  <a:pt x="6442837" y="4196274"/>
                  <a:pt x="6432327" y="4202141"/>
                  <a:pt x="6434263" y="4193038"/>
                </a:cubicBezTo>
                <a:cubicBezTo>
                  <a:pt x="6440071" y="4198297"/>
                  <a:pt x="6439241" y="4191217"/>
                  <a:pt x="6446709" y="4189699"/>
                </a:cubicBezTo>
                <a:close/>
                <a:moveTo>
                  <a:pt x="7486688" y="4183731"/>
                </a:moveTo>
                <a:cubicBezTo>
                  <a:pt x="7490560" y="4184035"/>
                  <a:pt x="7493049" y="4184541"/>
                  <a:pt x="7494986" y="4185957"/>
                </a:cubicBezTo>
                <a:cubicBezTo>
                  <a:pt x="7496645" y="4187272"/>
                  <a:pt x="7497475" y="4189396"/>
                  <a:pt x="7497751" y="4192835"/>
                </a:cubicBezTo>
                <a:cubicBezTo>
                  <a:pt x="7496368" y="4195465"/>
                  <a:pt x="7491666" y="4196376"/>
                  <a:pt x="7487241" y="4197387"/>
                </a:cubicBezTo>
                <a:cubicBezTo>
                  <a:pt x="7486964" y="4190509"/>
                  <a:pt x="7473411" y="4193543"/>
                  <a:pt x="7478114" y="4199410"/>
                </a:cubicBezTo>
                <a:cubicBezTo>
                  <a:pt x="7470092" y="4203557"/>
                  <a:pt x="7473411" y="4193543"/>
                  <a:pt x="7465667" y="4192936"/>
                </a:cubicBezTo>
                <a:cubicBezTo>
                  <a:pt x="7466220" y="4188182"/>
                  <a:pt x="7486964" y="4190509"/>
                  <a:pt x="7486688" y="4183731"/>
                </a:cubicBezTo>
                <a:close/>
                <a:moveTo>
                  <a:pt x="7547814" y="4182113"/>
                </a:moveTo>
                <a:cubicBezTo>
                  <a:pt x="7552793" y="4188081"/>
                  <a:pt x="7541176" y="4190610"/>
                  <a:pt x="7535091" y="4194251"/>
                </a:cubicBezTo>
                <a:cubicBezTo>
                  <a:pt x="7532602" y="4187879"/>
                  <a:pt x="7541729" y="4185755"/>
                  <a:pt x="7547814" y="4182113"/>
                </a:cubicBezTo>
                <a:close/>
                <a:moveTo>
                  <a:pt x="9201097" y="4182090"/>
                </a:moveTo>
                <a:cubicBezTo>
                  <a:pt x="9205799" y="4187653"/>
                  <a:pt x="9209671" y="4184720"/>
                  <a:pt x="9216586" y="4183202"/>
                </a:cubicBezTo>
                <a:cubicBezTo>
                  <a:pt x="9213543" y="4188260"/>
                  <a:pt x="9193629" y="4194835"/>
                  <a:pt x="9185884" y="4187754"/>
                </a:cubicBezTo>
                <a:cubicBezTo>
                  <a:pt x="9195841" y="4187754"/>
                  <a:pt x="9192799" y="4186136"/>
                  <a:pt x="9201097" y="4182090"/>
                </a:cubicBezTo>
                <a:close/>
                <a:moveTo>
                  <a:pt x="7448242" y="4180899"/>
                </a:moveTo>
                <a:cubicBezTo>
                  <a:pt x="7440774" y="4187171"/>
                  <a:pt x="7442433" y="4191419"/>
                  <a:pt x="7441880" y="4196072"/>
                </a:cubicBezTo>
                <a:cubicBezTo>
                  <a:pt x="7429434" y="4196578"/>
                  <a:pt x="7414774" y="4197387"/>
                  <a:pt x="7397349" y="4203557"/>
                </a:cubicBezTo>
                <a:cubicBezTo>
                  <a:pt x="7404541" y="4190509"/>
                  <a:pt x="7431370" y="4182315"/>
                  <a:pt x="7448242" y="4180899"/>
                </a:cubicBezTo>
                <a:close/>
                <a:moveTo>
                  <a:pt x="6472156" y="4179281"/>
                </a:moveTo>
                <a:cubicBezTo>
                  <a:pt x="6477411" y="4179078"/>
                  <a:pt x="6482666" y="4180292"/>
                  <a:pt x="6484602" y="4182720"/>
                </a:cubicBezTo>
                <a:cubicBezTo>
                  <a:pt x="6481006" y="4188991"/>
                  <a:pt x="6469390" y="4185451"/>
                  <a:pt x="6465517" y="4191723"/>
                </a:cubicBezTo>
                <a:cubicBezTo>
                  <a:pt x="6460815" y="4191217"/>
                  <a:pt x="6464411" y="4184945"/>
                  <a:pt x="6459709" y="4184338"/>
                </a:cubicBezTo>
                <a:cubicBezTo>
                  <a:pt x="6461369" y="4181203"/>
                  <a:pt x="6466900" y="4179584"/>
                  <a:pt x="6472156" y="4179281"/>
                </a:cubicBezTo>
                <a:close/>
                <a:moveTo>
                  <a:pt x="6147715" y="4165726"/>
                </a:moveTo>
                <a:cubicBezTo>
                  <a:pt x="6148545" y="4165625"/>
                  <a:pt x="6149098" y="4166131"/>
                  <a:pt x="6149928" y="4166738"/>
                </a:cubicBezTo>
                <a:cubicBezTo>
                  <a:pt x="6151588" y="4168053"/>
                  <a:pt x="6153524" y="4169975"/>
                  <a:pt x="6157396" y="4169267"/>
                </a:cubicBezTo>
                <a:cubicBezTo>
                  <a:pt x="6154630" y="4171189"/>
                  <a:pt x="6152141" y="4170885"/>
                  <a:pt x="6151311" y="4175235"/>
                </a:cubicBezTo>
                <a:cubicBezTo>
                  <a:pt x="6149375" y="4172807"/>
                  <a:pt x="6144673" y="4172200"/>
                  <a:pt x="6145503" y="4167952"/>
                </a:cubicBezTo>
                <a:cubicBezTo>
                  <a:pt x="6146333" y="4166434"/>
                  <a:pt x="6147162" y="4165726"/>
                  <a:pt x="6147715" y="4165726"/>
                </a:cubicBezTo>
                <a:close/>
                <a:moveTo>
                  <a:pt x="3325868" y="4163884"/>
                </a:moveTo>
                <a:cubicBezTo>
                  <a:pt x="3332506" y="4162974"/>
                  <a:pt x="3339421" y="4164895"/>
                  <a:pt x="3339421" y="4171673"/>
                </a:cubicBezTo>
                <a:cubicBezTo>
                  <a:pt x="3328081" y="4168132"/>
                  <a:pt x="3324762" y="4172381"/>
                  <a:pt x="3312315" y="4173291"/>
                </a:cubicBezTo>
                <a:cubicBezTo>
                  <a:pt x="3312038" y="4168638"/>
                  <a:pt x="3318953" y="4164895"/>
                  <a:pt x="3325868" y="4163884"/>
                </a:cubicBezTo>
                <a:close/>
                <a:moveTo>
                  <a:pt x="7213693" y="4159556"/>
                </a:moveTo>
                <a:cubicBezTo>
                  <a:pt x="7210374" y="4169874"/>
                  <a:pt x="7194885" y="4168559"/>
                  <a:pt x="7181332" y="4171492"/>
                </a:cubicBezTo>
                <a:cubicBezTo>
                  <a:pt x="7185481" y="4163501"/>
                  <a:pt x="7207608" y="4163299"/>
                  <a:pt x="7213693" y="4159556"/>
                </a:cubicBezTo>
                <a:close/>
                <a:moveTo>
                  <a:pt x="5561345" y="4157331"/>
                </a:moveTo>
                <a:cubicBezTo>
                  <a:pt x="5563834" y="4157735"/>
                  <a:pt x="5565217" y="4158747"/>
                  <a:pt x="5565217" y="4159758"/>
                </a:cubicBezTo>
                <a:cubicBezTo>
                  <a:pt x="5565770" y="4161781"/>
                  <a:pt x="5561898" y="4163602"/>
                  <a:pt x="5551664" y="4159151"/>
                </a:cubicBezTo>
                <a:cubicBezTo>
                  <a:pt x="5555814" y="4157331"/>
                  <a:pt x="5559132" y="4157027"/>
                  <a:pt x="5561345" y="4157331"/>
                </a:cubicBezTo>
                <a:close/>
                <a:moveTo>
                  <a:pt x="7440497" y="4156521"/>
                </a:moveTo>
                <a:cubicBezTo>
                  <a:pt x="7442710" y="4156016"/>
                  <a:pt x="7444370" y="4160264"/>
                  <a:pt x="7446306" y="4164513"/>
                </a:cubicBezTo>
                <a:cubicBezTo>
                  <a:pt x="7440774" y="4163400"/>
                  <a:pt x="7431923" y="4177157"/>
                  <a:pt x="7426115" y="4169064"/>
                </a:cubicBezTo>
                <a:cubicBezTo>
                  <a:pt x="7434136" y="4164917"/>
                  <a:pt x="7439944" y="4161276"/>
                  <a:pt x="7440497" y="4156521"/>
                </a:cubicBezTo>
                <a:close/>
                <a:moveTo>
                  <a:pt x="3161850" y="4154072"/>
                </a:moveTo>
                <a:cubicBezTo>
                  <a:pt x="3162956" y="4161052"/>
                  <a:pt x="3152723" y="4162266"/>
                  <a:pt x="3150786" y="4159737"/>
                </a:cubicBezTo>
                <a:cubicBezTo>
                  <a:pt x="3151616" y="4155286"/>
                  <a:pt x="3157148" y="4153566"/>
                  <a:pt x="3161850" y="4154072"/>
                </a:cubicBezTo>
                <a:close/>
                <a:moveTo>
                  <a:pt x="3215232" y="4153465"/>
                </a:moveTo>
                <a:cubicBezTo>
                  <a:pt x="3214402" y="4157815"/>
                  <a:pt x="3219104" y="4158422"/>
                  <a:pt x="3221593" y="4158624"/>
                </a:cubicBezTo>
                <a:cubicBezTo>
                  <a:pt x="3213572" y="4162367"/>
                  <a:pt x="3196977" y="4160546"/>
                  <a:pt x="3196147" y="4153668"/>
                </a:cubicBezTo>
                <a:cubicBezTo>
                  <a:pt x="3202509" y="4156601"/>
                  <a:pt x="3204998" y="4156803"/>
                  <a:pt x="3215232" y="4153465"/>
                </a:cubicBezTo>
                <a:close/>
                <a:moveTo>
                  <a:pt x="3261976" y="4152049"/>
                </a:moveTo>
                <a:cubicBezTo>
                  <a:pt x="3263635" y="4151847"/>
                  <a:pt x="3265571" y="4152555"/>
                  <a:pt x="3268337" y="4154477"/>
                </a:cubicBezTo>
                <a:cubicBezTo>
                  <a:pt x="3267231" y="4158927"/>
                  <a:pt x="3265295" y="4156500"/>
                  <a:pt x="3265295" y="4156500"/>
                </a:cubicBezTo>
                <a:cubicBezTo>
                  <a:pt x="3255614" y="4157714"/>
                  <a:pt x="3265018" y="4170054"/>
                  <a:pt x="3266954" y="4172583"/>
                </a:cubicBezTo>
                <a:cubicBezTo>
                  <a:pt x="3245657" y="4158826"/>
                  <a:pt x="3200849" y="4176528"/>
                  <a:pt x="3170701" y="4170965"/>
                </a:cubicBezTo>
                <a:cubicBezTo>
                  <a:pt x="3192275" y="4159737"/>
                  <a:pt x="3229615" y="4166210"/>
                  <a:pt x="3249529" y="4163783"/>
                </a:cubicBezTo>
                <a:cubicBezTo>
                  <a:pt x="3255337" y="4161052"/>
                  <a:pt x="3256997" y="4152656"/>
                  <a:pt x="3261976" y="4152049"/>
                </a:cubicBezTo>
                <a:close/>
                <a:moveTo>
                  <a:pt x="3025491" y="4150633"/>
                </a:moveTo>
                <a:cubicBezTo>
                  <a:pt x="3026597" y="4157208"/>
                  <a:pt x="3031853" y="4155589"/>
                  <a:pt x="3039044" y="4156298"/>
                </a:cubicBezTo>
                <a:cubicBezTo>
                  <a:pt x="3033236" y="4160040"/>
                  <a:pt x="3011385" y="4159838"/>
                  <a:pt x="3008343" y="4150936"/>
                </a:cubicBezTo>
                <a:cubicBezTo>
                  <a:pt x="3017470" y="4154072"/>
                  <a:pt x="3015534" y="4151645"/>
                  <a:pt x="3025491" y="4150633"/>
                </a:cubicBezTo>
                <a:close/>
                <a:moveTo>
                  <a:pt x="7322117" y="4144889"/>
                </a:moveTo>
                <a:cubicBezTo>
                  <a:pt x="7320180" y="4152577"/>
                  <a:pt x="7302479" y="4158848"/>
                  <a:pt x="7294734" y="4158140"/>
                </a:cubicBezTo>
                <a:cubicBezTo>
                  <a:pt x="7297224" y="4145496"/>
                  <a:pt x="7313819" y="4149137"/>
                  <a:pt x="7322117" y="4144889"/>
                </a:cubicBezTo>
                <a:close/>
                <a:moveTo>
                  <a:pt x="7950080" y="4143449"/>
                </a:moveTo>
                <a:cubicBezTo>
                  <a:pt x="7951740" y="4143348"/>
                  <a:pt x="7953676" y="4143551"/>
                  <a:pt x="7955889" y="4143854"/>
                </a:cubicBezTo>
                <a:cubicBezTo>
                  <a:pt x="7955059" y="4148305"/>
                  <a:pt x="7952569" y="4147900"/>
                  <a:pt x="7947591" y="4149620"/>
                </a:cubicBezTo>
                <a:cubicBezTo>
                  <a:pt x="7946208" y="4156296"/>
                  <a:pt x="7956718" y="4150631"/>
                  <a:pt x="7955612" y="4157307"/>
                </a:cubicBezTo>
                <a:cubicBezTo>
                  <a:pt x="7940953" y="4158015"/>
                  <a:pt x="7935974" y="4159735"/>
                  <a:pt x="7921868" y="4158218"/>
                </a:cubicBezTo>
                <a:cubicBezTo>
                  <a:pt x="7923251" y="4151542"/>
                  <a:pt x="7934591" y="4155082"/>
                  <a:pt x="7935697" y="4148406"/>
                </a:cubicBezTo>
                <a:cubicBezTo>
                  <a:pt x="7938187" y="4148608"/>
                  <a:pt x="7932932" y="4150429"/>
                  <a:pt x="7934868" y="4152857"/>
                </a:cubicBezTo>
                <a:cubicBezTo>
                  <a:pt x="7946484" y="4154172"/>
                  <a:pt x="7940676" y="4148912"/>
                  <a:pt x="7943719" y="4144663"/>
                </a:cubicBezTo>
                <a:cubicBezTo>
                  <a:pt x="7946208" y="4143854"/>
                  <a:pt x="7948144" y="4143551"/>
                  <a:pt x="7950080" y="4143449"/>
                </a:cubicBezTo>
                <a:close/>
                <a:moveTo>
                  <a:pt x="7997377" y="4142843"/>
                </a:moveTo>
                <a:cubicBezTo>
                  <a:pt x="7999037" y="4142741"/>
                  <a:pt x="8000973" y="4142944"/>
                  <a:pt x="8003185" y="4143348"/>
                </a:cubicBezTo>
                <a:cubicBezTo>
                  <a:pt x="8007611" y="4144056"/>
                  <a:pt x="8012036" y="4145675"/>
                  <a:pt x="8012866" y="4148102"/>
                </a:cubicBezTo>
                <a:cubicBezTo>
                  <a:pt x="8006228" y="4156599"/>
                  <a:pt x="7989356" y="4157105"/>
                  <a:pt x="7979952" y="4156094"/>
                </a:cubicBezTo>
                <a:cubicBezTo>
                  <a:pt x="7993228" y="4162163"/>
                  <a:pt x="7957548" y="4160443"/>
                  <a:pt x="7959208" y="4151440"/>
                </a:cubicBezTo>
                <a:cubicBezTo>
                  <a:pt x="7974420" y="4148406"/>
                  <a:pt x="7994888" y="4153059"/>
                  <a:pt x="7994611" y="4143753"/>
                </a:cubicBezTo>
                <a:cubicBezTo>
                  <a:pt x="7994611" y="4143146"/>
                  <a:pt x="7995717" y="4142944"/>
                  <a:pt x="7997377" y="4142843"/>
                </a:cubicBezTo>
                <a:close/>
                <a:moveTo>
                  <a:pt x="9326669" y="4142539"/>
                </a:moveTo>
                <a:cubicBezTo>
                  <a:pt x="9331647" y="4148507"/>
                  <a:pt x="9323073" y="4152654"/>
                  <a:pt x="9319754" y="4151036"/>
                </a:cubicBezTo>
                <a:cubicBezTo>
                  <a:pt x="9318094" y="4146686"/>
                  <a:pt x="9321967" y="4143551"/>
                  <a:pt x="9326669" y="4142539"/>
                </a:cubicBezTo>
                <a:close/>
                <a:moveTo>
                  <a:pt x="3477716" y="4141226"/>
                </a:moveTo>
                <a:cubicBezTo>
                  <a:pt x="3484354" y="4144159"/>
                  <a:pt x="3469418" y="4158321"/>
                  <a:pt x="3487120" y="4153566"/>
                </a:cubicBezTo>
                <a:cubicBezTo>
                  <a:pt x="3486290" y="4157916"/>
                  <a:pt x="3484077" y="4157613"/>
                  <a:pt x="3482971" y="4162063"/>
                </a:cubicBezTo>
                <a:cubicBezTo>
                  <a:pt x="3439546" y="4161760"/>
                  <a:pt x="3399994" y="4166413"/>
                  <a:pt x="3351038" y="4170054"/>
                </a:cubicBezTo>
                <a:cubicBezTo>
                  <a:pt x="3355186" y="4161456"/>
                  <a:pt x="3380909" y="4166615"/>
                  <a:pt x="3381462" y="4150936"/>
                </a:cubicBezTo>
                <a:cubicBezTo>
                  <a:pt x="3388654" y="4151645"/>
                  <a:pt x="3393909" y="4150026"/>
                  <a:pt x="3398611" y="4150532"/>
                </a:cubicBezTo>
                <a:cubicBezTo>
                  <a:pt x="3402483" y="4155488"/>
                  <a:pt x="3392803" y="4154376"/>
                  <a:pt x="3390037" y="4156298"/>
                </a:cubicBezTo>
                <a:cubicBezTo>
                  <a:pt x="3393356" y="4163479"/>
                  <a:pt x="3412164" y="4154274"/>
                  <a:pt x="3418526" y="4159433"/>
                </a:cubicBezTo>
                <a:cubicBezTo>
                  <a:pt x="3410504" y="4138292"/>
                  <a:pt x="3440100" y="4159636"/>
                  <a:pt x="3447844" y="4144665"/>
                </a:cubicBezTo>
                <a:cubicBezTo>
                  <a:pt x="3448950" y="4151543"/>
                  <a:pt x="3444248" y="4151038"/>
                  <a:pt x="3448674" y="4153769"/>
                </a:cubicBezTo>
                <a:cubicBezTo>
                  <a:pt x="3451716" y="4149621"/>
                  <a:pt x="3465546" y="4153364"/>
                  <a:pt x="3464439" y="4146486"/>
                </a:cubicBezTo>
                <a:cubicBezTo>
                  <a:pt x="3466929" y="4146789"/>
                  <a:pt x="3466099" y="4151139"/>
                  <a:pt x="3468035" y="4153668"/>
                </a:cubicBezTo>
                <a:cubicBezTo>
                  <a:pt x="3475503" y="4152150"/>
                  <a:pt x="3474397" y="4145373"/>
                  <a:pt x="3477716" y="4141226"/>
                </a:cubicBezTo>
                <a:close/>
                <a:moveTo>
                  <a:pt x="7471752" y="4140135"/>
                </a:moveTo>
                <a:cubicBezTo>
                  <a:pt x="7473688" y="4140337"/>
                  <a:pt x="7474794" y="4140944"/>
                  <a:pt x="7475071" y="4141652"/>
                </a:cubicBezTo>
                <a:cubicBezTo>
                  <a:pt x="7476177" y="4143776"/>
                  <a:pt x="7472305" y="4147721"/>
                  <a:pt x="7473135" y="4149340"/>
                </a:cubicBezTo>
                <a:cubicBezTo>
                  <a:pt x="7468709" y="4150250"/>
                  <a:pt x="7466773" y="4146002"/>
                  <a:pt x="7465114" y="4141753"/>
                </a:cubicBezTo>
                <a:cubicBezTo>
                  <a:pt x="7467327" y="4141247"/>
                  <a:pt x="7473411" y="4144484"/>
                  <a:pt x="7471752" y="4140135"/>
                </a:cubicBezTo>
                <a:close/>
                <a:moveTo>
                  <a:pt x="6958401" y="4133054"/>
                </a:moveTo>
                <a:cubicBezTo>
                  <a:pt x="6960890" y="4132650"/>
                  <a:pt x="6962826" y="4133155"/>
                  <a:pt x="6963379" y="4134066"/>
                </a:cubicBezTo>
                <a:cubicBezTo>
                  <a:pt x="6965039" y="4135684"/>
                  <a:pt x="6962550" y="4138618"/>
                  <a:pt x="6950656" y="4137707"/>
                </a:cubicBezTo>
                <a:cubicBezTo>
                  <a:pt x="6953422" y="4134875"/>
                  <a:pt x="6956188" y="4133459"/>
                  <a:pt x="6958401" y="4133054"/>
                </a:cubicBezTo>
                <a:close/>
                <a:moveTo>
                  <a:pt x="3463057" y="4130706"/>
                </a:moveTo>
                <a:cubicBezTo>
                  <a:pt x="3463333" y="4130504"/>
                  <a:pt x="3463610" y="4130605"/>
                  <a:pt x="3464439" y="4130807"/>
                </a:cubicBezTo>
                <a:cubicBezTo>
                  <a:pt x="3465546" y="4131212"/>
                  <a:pt x="3467205" y="4131920"/>
                  <a:pt x="3469695" y="4131111"/>
                </a:cubicBezTo>
                <a:cubicBezTo>
                  <a:pt x="3469418" y="4133336"/>
                  <a:pt x="3468865" y="4135662"/>
                  <a:pt x="3468312" y="4137989"/>
                </a:cubicBezTo>
                <a:cubicBezTo>
                  <a:pt x="3463610" y="4137483"/>
                  <a:pt x="3458078" y="4141529"/>
                  <a:pt x="3459461" y="4134651"/>
                </a:cubicBezTo>
                <a:cubicBezTo>
                  <a:pt x="3461674" y="4134954"/>
                  <a:pt x="3461674" y="4134853"/>
                  <a:pt x="3464163" y="4135157"/>
                </a:cubicBezTo>
                <a:cubicBezTo>
                  <a:pt x="3464439" y="4132830"/>
                  <a:pt x="3464439" y="4132931"/>
                  <a:pt x="3462227" y="4132628"/>
                </a:cubicBezTo>
                <a:cubicBezTo>
                  <a:pt x="3462503" y="4131515"/>
                  <a:pt x="3462780" y="4130908"/>
                  <a:pt x="3463057" y="4130706"/>
                </a:cubicBezTo>
                <a:close/>
                <a:moveTo>
                  <a:pt x="3436227" y="4129189"/>
                </a:moveTo>
                <a:cubicBezTo>
                  <a:pt x="3443142" y="4128582"/>
                  <a:pt x="3449780" y="4128582"/>
                  <a:pt x="3456972" y="4134044"/>
                </a:cubicBezTo>
                <a:cubicBezTo>
                  <a:pt x="3457801" y="4136370"/>
                  <a:pt x="3457525" y="4137483"/>
                  <a:pt x="3456972" y="4137685"/>
                </a:cubicBezTo>
                <a:cubicBezTo>
                  <a:pt x="3456142" y="4137888"/>
                  <a:pt x="3455312" y="4137281"/>
                  <a:pt x="3454206" y="4136067"/>
                </a:cubicBezTo>
                <a:cubicBezTo>
                  <a:pt x="3425717" y="4135157"/>
                  <a:pt x="3401654" y="4146182"/>
                  <a:pt x="3365973" y="4144463"/>
                </a:cubicBezTo>
                <a:cubicBezTo>
                  <a:pt x="3375654" y="4131920"/>
                  <a:pt x="3406909" y="4144463"/>
                  <a:pt x="3414653" y="4129290"/>
                </a:cubicBezTo>
                <a:cubicBezTo>
                  <a:pt x="3422674" y="4131313"/>
                  <a:pt x="3429589" y="4129897"/>
                  <a:pt x="3436227" y="4129189"/>
                </a:cubicBezTo>
                <a:close/>
                <a:moveTo>
                  <a:pt x="7363882" y="4126378"/>
                </a:moveTo>
                <a:cubicBezTo>
                  <a:pt x="7364711" y="4128603"/>
                  <a:pt x="7366648" y="4133054"/>
                  <a:pt x="7368860" y="4132548"/>
                </a:cubicBezTo>
                <a:cubicBezTo>
                  <a:pt x="7370520" y="4136999"/>
                  <a:pt x="7366094" y="4138011"/>
                  <a:pt x="7361669" y="4139022"/>
                </a:cubicBezTo>
                <a:cubicBezTo>
                  <a:pt x="7362222" y="4134066"/>
                  <a:pt x="7359456" y="4127390"/>
                  <a:pt x="7351159" y="4131638"/>
                </a:cubicBezTo>
                <a:cubicBezTo>
                  <a:pt x="7350882" y="4124456"/>
                  <a:pt x="7362499" y="4129109"/>
                  <a:pt x="7363882" y="4126378"/>
                </a:cubicBezTo>
                <a:close/>
                <a:moveTo>
                  <a:pt x="3498183" y="4125345"/>
                </a:moveTo>
                <a:cubicBezTo>
                  <a:pt x="3490439" y="4126660"/>
                  <a:pt x="3483248" y="4136876"/>
                  <a:pt x="3478822" y="4134145"/>
                </a:cubicBezTo>
                <a:cubicBezTo>
                  <a:pt x="3482141" y="4130200"/>
                  <a:pt x="3487950" y="4126458"/>
                  <a:pt x="3498183" y="4125345"/>
                </a:cubicBezTo>
                <a:close/>
                <a:moveTo>
                  <a:pt x="9374795" y="4125141"/>
                </a:moveTo>
                <a:cubicBezTo>
                  <a:pt x="9376455" y="4129490"/>
                  <a:pt x="9380880" y="4128378"/>
                  <a:pt x="9383093" y="4127872"/>
                </a:cubicBezTo>
                <a:cubicBezTo>
                  <a:pt x="9378114" y="4133739"/>
                  <a:pt x="9362349" y="4137279"/>
                  <a:pt x="9357370" y="4131311"/>
                </a:cubicBezTo>
                <a:cubicBezTo>
                  <a:pt x="9365115" y="4131918"/>
                  <a:pt x="9367327" y="4131513"/>
                  <a:pt x="9374795" y="4125141"/>
                </a:cubicBezTo>
                <a:close/>
                <a:moveTo>
                  <a:pt x="7990186" y="4122106"/>
                </a:moveTo>
                <a:cubicBezTo>
                  <a:pt x="7992952" y="4122410"/>
                  <a:pt x="7995994" y="4123320"/>
                  <a:pt x="7998483" y="4123624"/>
                </a:cubicBezTo>
                <a:cubicBezTo>
                  <a:pt x="7999590" y="4130502"/>
                  <a:pt x="7985760" y="4124433"/>
                  <a:pt x="7987420" y="4129187"/>
                </a:cubicBezTo>
                <a:cubicBezTo>
                  <a:pt x="7984930" y="4128884"/>
                  <a:pt x="7982994" y="4126456"/>
                  <a:pt x="7983271" y="4124231"/>
                </a:cubicBezTo>
                <a:cubicBezTo>
                  <a:pt x="7984930" y="4122106"/>
                  <a:pt x="7987420" y="4121702"/>
                  <a:pt x="7990186" y="4122106"/>
                </a:cubicBezTo>
                <a:close/>
                <a:moveTo>
                  <a:pt x="5926168" y="4120916"/>
                </a:moveTo>
                <a:cubicBezTo>
                  <a:pt x="5926997" y="4121017"/>
                  <a:pt x="5928104" y="4121725"/>
                  <a:pt x="5928933" y="4122737"/>
                </a:cubicBezTo>
                <a:cubicBezTo>
                  <a:pt x="5930592" y="4124962"/>
                  <a:pt x="5931699" y="4128502"/>
                  <a:pt x="5931146" y="4130728"/>
                </a:cubicBezTo>
                <a:cubicBezTo>
                  <a:pt x="5920912" y="4134167"/>
                  <a:pt x="5925337" y="4123343"/>
                  <a:pt x="5923125" y="4123040"/>
                </a:cubicBezTo>
                <a:cubicBezTo>
                  <a:pt x="5923954" y="4121422"/>
                  <a:pt x="5925061" y="4120815"/>
                  <a:pt x="5926168" y="4120916"/>
                </a:cubicBezTo>
                <a:close/>
                <a:moveTo>
                  <a:pt x="7807360" y="4114216"/>
                </a:moveTo>
                <a:cubicBezTo>
                  <a:pt x="7806806" y="4116442"/>
                  <a:pt x="7808743" y="4118971"/>
                  <a:pt x="7810955" y="4119274"/>
                </a:cubicBezTo>
                <a:cubicBezTo>
                  <a:pt x="7807360" y="4125748"/>
                  <a:pt x="7804594" y="4116138"/>
                  <a:pt x="7797126" y="4117656"/>
                </a:cubicBezTo>
                <a:cubicBezTo>
                  <a:pt x="7799892" y="4115633"/>
                  <a:pt x="7802658" y="4113711"/>
                  <a:pt x="7807360" y="4114216"/>
                </a:cubicBezTo>
                <a:close/>
                <a:moveTo>
                  <a:pt x="7836402" y="4113104"/>
                </a:moveTo>
                <a:cubicBezTo>
                  <a:pt x="7836678" y="4113205"/>
                  <a:pt x="7837231" y="4113812"/>
                  <a:pt x="7838061" y="4114621"/>
                </a:cubicBezTo>
                <a:cubicBezTo>
                  <a:pt x="7839168" y="4116138"/>
                  <a:pt x="7840550" y="4118566"/>
                  <a:pt x="7840274" y="4119679"/>
                </a:cubicBezTo>
                <a:cubicBezTo>
                  <a:pt x="7832253" y="4123522"/>
                  <a:pt x="7827827" y="4120690"/>
                  <a:pt x="7820636" y="4119881"/>
                </a:cubicBezTo>
                <a:cubicBezTo>
                  <a:pt x="7824785" y="4111081"/>
                  <a:pt x="7844146" y="4124837"/>
                  <a:pt x="7836402" y="4114722"/>
                </a:cubicBezTo>
                <a:cubicBezTo>
                  <a:pt x="7836125" y="4113508"/>
                  <a:pt x="7836125" y="4113003"/>
                  <a:pt x="7836402" y="4113104"/>
                </a:cubicBezTo>
                <a:close/>
                <a:moveTo>
                  <a:pt x="9416284" y="4109260"/>
                </a:moveTo>
                <a:cubicBezTo>
                  <a:pt x="9417667" y="4108552"/>
                  <a:pt x="9419879" y="4108552"/>
                  <a:pt x="9423475" y="4109563"/>
                </a:cubicBezTo>
                <a:cubicBezTo>
                  <a:pt x="9425135" y="4113812"/>
                  <a:pt x="9421816" y="4112193"/>
                  <a:pt x="9421816" y="4112193"/>
                </a:cubicBezTo>
                <a:cubicBezTo>
                  <a:pt x="9413518" y="4116341"/>
                  <a:pt x="9429284" y="4124635"/>
                  <a:pt x="9432603" y="4126254"/>
                </a:cubicBezTo>
                <a:cubicBezTo>
                  <a:pt x="9405220" y="4120589"/>
                  <a:pt x="9374795" y="4150530"/>
                  <a:pt x="9344094" y="4154981"/>
                </a:cubicBezTo>
                <a:cubicBezTo>
                  <a:pt x="9357370" y="4138088"/>
                  <a:pt x="9394986" y="4132120"/>
                  <a:pt x="9411582" y="4123826"/>
                </a:cubicBezTo>
                <a:cubicBezTo>
                  <a:pt x="9415454" y="4119476"/>
                  <a:pt x="9412135" y="4111384"/>
                  <a:pt x="9416284" y="4109260"/>
                </a:cubicBezTo>
                <a:close/>
                <a:moveTo>
                  <a:pt x="7337606" y="4108575"/>
                </a:moveTo>
                <a:cubicBezTo>
                  <a:pt x="7339542" y="4120107"/>
                  <a:pt x="7324883" y="4120916"/>
                  <a:pt x="7319074" y="4124658"/>
                </a:cubicBezTo>
                <a:cubicBezTo>
                  <a:pt x="7322117" y="4126277"/>
                  <a:pt x="7325436" y="4127997"/>
                  <a:pt x="7326265" y="4130222"/>
                </a:cubicBezTo>
                <a:cubicBezTo>
                  <a:pt x="7320734" y="4129008"/>
                  <a:pt x="7318798" y="4136696"/>
                  <a:pt x="7309670" y="4138719"/>
                </a:cubicBezTo>
                <a:cubicBezTo>
                  <a:pt x="7308564" y="4129413"/>
                  <a:pt x="7284224" y="4137201"/>
                  <a:pt x="7289202" y="4143271"/>
                </a:cubicBezTo>
                <a:cubicBezTo>
                  <a:pt x="7279522" y="4138213"/>
                  <a:pt x="7263756" y="4141652"/>
                  <a:pt x="7257948" y="4152475"/>
                </a:cubicBezTo>
                <a:cubicBezTo>
                  <a:pt x="7254905" y="4150756"/>
                  <a:pt x="7251586" y="4149137"/>
                  <a:pt x="7247161" y="4150149"/>
                </a:cubicBezTo>
                <a:cubicBezTo>
                  <a:pt x="7271501" y="4130424"/>
                  <a:pt x="7306628" y="4124962"/>
                  <a:pt x="7337606" y="4108575"/>
                </a:cubicBezTo>
                <a:close/>
                <a:moveTo>
                  <a:pt x="7987696" y="4107945"/>
                </a:moveTo>
                <a:cubicBezTo>
                  <a:pt x="7988803" y="4107540"/>
                  <a:pt x="7989909" y="4107439"/>
                  <a:pt x="7991015" y="4108046"/>
                </a:cubicBezTo>
                <a:cubicBezTo>
                  <a:pt x="7992398" y="4108855"/>
                  <a:pt x="7993228" y="4110777"/>
                  <a:pt x="7993228" y="4114318"/>
                </a:cubicBezTo>
                <a:cubicBezTo>
                  <a:pt x="7991015" y="4114014"/>
                  <a:pt x="7987973" y="4116037"/>
                  <a:pt x="7987973" y="4116037"/>
                </a:cubicBezTo>
                <a:cubicBezTo>
                  <a:pt x="7981888" y="4114014"/>
                  <a:pt x="7984377" y="4109260"/>
                  <a:pt x="7987696" y="4107945"/>
                </a:cubicBezTo>
                <a:close/>
                <a:moveTo>
                  <a:pt x="5667555" y="4101191"/>
                </a:moveTo>
                <a:cubicBezTo>
                  <a:pt x="5666449" y="4105743"/>
                  <a:pt x="5666449" y="4105743"/>
                  <a:pt x="5668938" y="4105945"/>
                </a:cubicBezTo>
                <a:cubicBezTo>
                  <a:pt x="5667555" y="4112722"/>
                  <a:pt x="5662023" y="4105136"/>
                  <a:pt x="5654557" y="4106653"/>
                </a:cubicBezTo>
                <a:cubicBezTo>
                  <a:pt x="5657321" y="4104630"/>
                  <a:pt x="5660087" y="4102708"/>
                  <a:pt x="5667555" y="4101191"/>
                </a:cubicBezTo>
                <a:close/>
                <a:moveTo>
                  <a:pt x="9489857" y="4097830"/>
                </a:moveTo>
                <a:cubicBezTo>
                  <a:pt x="9492899" y="4098133"/>
                  <a:pt x="9495665" y="4099650"/>
                  <a:pt x="9497601" y="4102685"/>
                </a:cubicBezTo>
                <a:cubicBezTo>
                  <a:pt x="9485155" y="4103090"/>
                  <a:pt x="9484602" y="4107844"/>
                  <a:pt x="9474091" y="4112497"/>
                </a:cubicBezTo>
                <a:cubicBezTo>
                  <a:pt x="9469666" y="4106428"/>
                  <a:pt x="9481006" y="4097021"/>
                  <a:pt x="9489857" y="4097830"/>
                </a:cubicBezTo>
                <a:close/>
                <a:moveTo>
                  <a:pt x="4642160" y="4090650"/>
                </a:moveTo>
                <a:cubicBezTo>
                  <a:pt x="4646862" y="4096213"/>
                  <a:pt x="4650734" y="4093280"/>
                  <a:pt x="4657649" y="4091762"/>
                </a:cubicBezTo>
                <a:cubicBezTo>
                  <a:pt x="4654607" y="4096820"/>
                  <a:pt x="4634692" y="4103395"/>
                  <a:pt x="4626947" y="4096314"/>
                </a:cubicBezTo>
                <a:cubicBezTo>
                  <a:pt x="4636905" y="4096314"/>
                  <a:pt x="4633862" y="4094696"/>
                  <a:pt x="4642160" y="4090650"/>
                </a:cubicBezTo>
                <a:close/>
                <a:moveTo>
                  <a:pt x="7444370" y="4087738"/>
                </a:moveTo>
                <a:cubicBezTo>
                  <a:pt x="7447412" y="4088041"/>
                  <a:pt x="7450731" y="4088851"/>
                  <a:pt x="7454603" y="4090166"/>
                </a:cubicBezTo>
                <a:cubicBezTo>
                  <a:pt x="7439668" y="4102911"/>
                  <a:pt x="7420030" y="4109688"/>
                  <a:pt x="7402881" y="4111003"/>
                </a:cubicBezTo>
                <a:cubicBezTo>
                  <a:pt x="7403711" y="4113228"/>
                  <a:pt x="7407583" y="4109991"/>
                  <a:pt x="7409243" y="4114442"/>
                </a:cubicBezTo>
                <a:cubicBezTo>
                  <a:pt x="7404264" y="4120309"/>
                  <a:pt x="7400668" y="4111509"/>
                  <a:pt x="7394583" y="4115150"/>
                </a:cubicBezTo>
                <a:cubicBezTo>
                  <a:pt x="7407583" y="4105237"/>
                  <a:pt x="7418370" y="4090267"/>
                  <a:pt x="7435242" y="4087839"/>
                </a:cubicBezTo>
                <a:cubicBezTo>
                  <a:pt x="7438008" y="4087333"/>
                  <a:pt x="7441050" y="4087333"/>
                  <a:pt x="7444370" y="4087738"/>
                </a:cubicBezTo>
                <a:close/>
                <a:moveTo>
                  <a:pt x="8092247" y="4086298"/>
                </a:moveTo>
                <a:cubicBezTo>
                  <a:pt x="8093354" y="4093177"/>
                  <a:pt x="8081460" y="4091963"/>
                  <a:pt x="8073992" y="4093379"/>
                </a:cubicBezTo>
                <a:cubicBezTo>
                  <a:pt x="8075099" y="4086703"/>
                  <a:pt x="8084779" y="4087714"/>
                  <a:pt x="8092247" y="4086298"/>
                </a:cubicBezTo>
                <a:close/>
                <a:moveTo>
                  <a:pt x="7410902" y="4076206"/>
                </a:moveTo>
                <a:cubicBezTo>
                  <a:pt x="7402328" y="4092087"/>
                  <a:pt x="7374392" y="4095931"/>
                  <a:pt x="7354201" y="4107463"/>
                </a:cubicBezTo>
                <a:cubicBezTo>
                  <a:pt x="7359456" y="4089862"/>
                  <a:pt x="7389328" y="4090267"/>
                  <a:pt x="7410902" y="4076206"/>
                </a:cubicBezTo>
                <a:close/>
                <a:moveTo>
                  <a:pt x="5492197" y="4075296"/>
                </a:moveTo>
                <a:cubicBezTo>
                  <a:pt x="5523453" y="4087738"/>
                  <a:pt x="5586514" y="4085614"/>
                  <a:pt x="5626620" y="4101292"/>
                </a:cubicBezTo>
                <a:cubicBezTo>
                  <a:pt x="5602833" y="4112116"/>
                  <a:pt x="5585685" y="4090064"/>
                  <a:pt x="5559686" y="4098460"/>
                </a:cubicBezTo>
                <a:cubicBezTo>
                  <a:pt x="5559686" y="4098460"/>
                  <a:pt x="5559962" y="4098460"/>
                  <a:pt x="5484453" y="4078836"/>
                </a:cubicBezTo>
                <a:cubicBezTo>
                  <a:pt x="5487219" y="4076915"/>
                  <a:pt x="5487496" y="4074689"/>
                  <a:pt x="5492197" y="4075296"/>
                </a:cubicBezTo>
                <a:close/>
                <a:moveTo>
                  <a:pt x="3391143" y="4052009"/>
                </a:moveTo>
                <a:cubicBezTo>
                  <a:pt x="3392803" y="4051908"/>
                  <a:pt x="3394739" y="4052111"/>
                  <a:pt x="3396952" y="4052414"/>
                </a:cubicBezTo>
                <a:cubicBezTo>
                  <a:pt x="3396122" y="4056865"/>
                  <a:pt x="3393632" y="4056460"/>
                  <a:pt x="3388654" y="4058180"/>
                </a:cubicBezTo>
                <a:cubicBezTo>
                  <a:pt x="3387271" y="4064856"/>
                  <a:pt x="3397781" y="4059191"/>
                  <a:pt x="3396675" y="4065867"/>
                </a:cubicBezTo>
                <a:cubicBezTo>
                  <a:pt x="3382016" y="4066575"/>
                  <a:pt x="3377037" y="4068295"/>
                  <a:pt x="3362931" y="4066778"/>
                </a:cubicBezTo>
                <a:cubicBezTo>
                  <a:pt x="3364314" y="4060102"/>
                  <a:pt x="3375654" y="4063642"/>
                  <a:pt x="3376760" y="4056966"/>
                </a:cubicBezTo>
                <a:cubicBezTo>
                  <a:pt x="3379250" y="4057168"/>
                  <a:pt x="3373995" y="4058989"/>
                  <a:pt x="3375931" y="4061417"/>
                </a:cubicBezTo>
                <a:cubicBezTo>
                  <a:pt x="3387547" y="4062732"/>
                  <a:pt x="3381739" y="4057472"/>
                  <a:pt x="3384782" y="4053223"/>
                </a:cubicBezTo>
                <a:cubicBezTo>
                  <a:pt x="3387271" y="4052414"/>
                  <a:pt x="3389207" y="4052111"/>
                  <a:pt x="3391143" y="4052009"/>
                </a:cubicBezTo>
                <a:close/>
                <a:moveTo>
                  <a:pt x="3438440" y="4051403"/>
                </a:moveTo>
                <a:cubicBezTo>
                  <a:pt x="3440100" y="4051301"/>
                  <a:pt x="3442036" y="4051504"/>
                  <a:pt x="3444248" y="4051908"/>
                </a:cubicBezTo>
                <a:cubicBezTo>
                  <a:pt x="3448674" y="4052616"/>
                  <a:pt x="3453099" y="4054235"/>
                  <a:pt x="3453929" y="4056662"/>
                </a:cubicBezTo>
                <a:cubicBezTo>
                  <a:pt x="3447291" y="4065159"/>
                  <a:pt x="3430419" y="4065665"/>
                  <a:pt x="3421015" y="4064654"/>
                </a:cubicBezTo>
                <a:cubicBezTo>
                  <a:pt x="3434291" y="4070723"/>
                  <a:pt x="3398611" y="4069003"/>
                  <a:pt x="3400271" y="4060000"/>
                </a:cubicBezTo>
                <a:cubicBezTo>
                  <a:pt x="3415483" y="4056966"/>
                  <a:pt x="3435951" y="4061619"/>
                  <a:pt x="3435674" y="4052313"/>
                </a:cubicBezTo>
                <a:cubicBezTo>
                  <a:pt x="3435674" y="4051706"/>
                  <a:pt x="3436780" y="4051504"/>
                  <a:pt x="3438440" y="4051403"/>
                </a:cubicBezTo>
                <a:close/>
                <a:moveTo>
                  <a:pt x="4815858" y="4033701"/>
                </a:moveTo>
                <a:cubicBezTo>
                  <a:pt x="4817518" y="4038050"/>
                  <a:pt x="4821943" y="4036938"/>
                  <a:pt x="4824156" y="4036432"/>
                </a:cubicBezTo>
                <a:cubicBezTo>
                  <a:pt x="4819177" y="4042299"/>
                  <a:pt x="4803413" y="4045839"/>
                  <a:pt x="4798433" y="4039871"/>
                </a:cubicBezTo>
                <a:cubicBezTo>
                  <a:pt x="4806178" y="4040478"/>
                  <a:pt x="4808390" y="4040073"/>
                  <a:pt x="4815858" y="4033701"/>
                </a:cubicBezTo>
                <a:close/>
                <a:moveTo>
                  <a:pt x="9605471" y="4031676"/>
                </a:moveTo>
                <a:cubicBezTo>
                  <a:pt x="9613216" y="4032283"/>
                  <a:pt x="9607684" y="4049782"/>
                  <a:pt x="9621237" y="4039869"/>
                </a:cubicBezTo>
                <a:cubicBezTo>
                  <a:pt x="9622897" y="4044118"/>
                  <a:pt x="9620684" y="4044624"/>
                  <a:pt x="9622343" y="4048872"/>
                </a:cubicBezTo>
                <a:cubicBezTo>
                  <a:pt x="9582791" y="4062224"/>
                  <a:pt x="9549600" y="4078914"/>
                  <a:pt x="9507282" y="4097526"/>
                </a:cubicBezTo>
                <a:cubicBezTo>
                  <a:pt x="9506176" y="4088524"/>
                  <a:pt x="9532175" y="4085085"/>
                  <a:pt x="9523877" y="4070620"/>
                </a:cubicBezTo>
                <a:cubicBezTo>
                  <a:pt x="9530792" y="4069102"/>
                  <a:pt x="9534388" y="4065967"/>
                  <a:pt x="9539090" y="4064955"/>
                </a:cubicBezTo>
                <a:cubicBezTo>
                  <a:pt x="9545451" y="4068192"/>
                  <a:pt x="9536047" y="4070215"/>
                  <a:pt x="9534664" y="4072845"/>
                </a:cubicBezTo>
                <a:cubicBezTo>
                  <a:pt x="9541856" y="4078307"/>
                  <a:pt x="9553472" y="4064146"/>
                  <a:pt x="9562323" y="4066877"/>
                </a:cubicBezTo>
                <a:cubicBezTo>
                  <a:pt x="9542962" y="4050187"/>
                  <a:pt x="9581961" y="4060100"/>
                  <a:pt x="9580578" y="4044118"/>
                </a:cubicBezTo>
                <a:cubicBezTo>
                  <a:pt x="9585280" y="4050086"/>
                  <a:pt x="9580855" y="4051097"/>
                  <a:pt x="9586387" y="4052210"/>
                </a:cubicBezTo>
                <a:cubicBezTo>
                  <a:pt x="9586940" y="4047456"/>
                  <a:pt x="9601323" y="4046545"/>
                  <a:pt x="9596621" y="4040679"/>
                </a:cubicBezTo>
                <a:cubicBezTo>
                  <a:pt x="9598833" y="4040173"/>
                  <a:pt x="9600493" y="4044421"/>
                  <a:pt x="9603812" y="4046040"/>
                </a:cubicBezTo>
                <a:cubicBezTo>
                  <a:pt x="9609620" y="4042398"/>
                  <a:pt x="9604918" y="4036531"/>
                  <a:pt x="9605471" y="4031676"/>
                </a:cubicBezTo>
                <a:close/>
                <a:moveTo>
                  <a:pt x="9570344" y="4030766"/>
                </a:moveTo>
                <a:cubicBezTo>
                  <a:pt x="9573940" y="4030260"/>
                  <a:pt x="9577812" y="4030462"/>
                  <a:pt x="9582791" y="4031676"/>
                </a:cubicBezTo>
                <a:cubicBezTo>
                  <a:pt x="9584727" y="4033598"/>
                  <a:pt x="9585280" y="4034711"/>
                  <a:pt x="9584727" y="4035115"/>
                </a:cubicBezTo>
                <a:cubicBezTo>
                  <a:pt x="9584174" y="4035520"/>
                  <a:pt x="9582791" y="4035115"/>
                  <a:pt x="9581408" y="4034306"/>
                </a:cubicBezTo>
                <a:cubicBezTo>
                  <a:pt x="9554855" y="4042499"/>
                  <a:pt x="9539366" y="4060100"/>
                  <a:pt x="9506176" y="4069811"/>
                </a:cubicBezTo>
                <a:cubicBezTo>
                  <a:pt x="9507835" y="4055245"/>
                  <a:pt x="9543239" y="4056863"/>
                  <a:pt x="9541579" y="4040780"/>
                </a:cubicBezTo>
                <a:cubicBezTo>
                  <a:pt x="9554302" y="4039667"/>
                  <a:pt x="9560111" y="4032283"/>
                  <a:pt x="9570344" y="4030766"/>
                </a:cubicBezTo>
                <a:close/>
                <a:moveTo>
                  <a:pt x="3431249" y="4030666"/>
                </a:moveTo>
                <a:cubicBezTo>
                  <a:pt x="3434015" y="4030970"/>
                  <a:pt x="3437057" y="4031880"/>
                  <a:pt x="3439546" y="4032184"/>
                </a:cubicBezTo>
                <a:cubicBezTo>
                  <a:pt x="3440653" y="4039062"/>
                  <a:pt x="3426823" y="4032993"/>
                  <a:pt x="3428483" y="4037747"/>
                </a:cubicBezTo>
                <a:cubicBezTo>
                  <a:pt x="3425993" y="4037444"/>
                  <a:pt x="3424057" y="4035016"/>
                  <a:pt x="3424334" y="4032791"/>
                </a:cubicBezTo>
                <a:cubicBezTo>
                  <a:pt x="3425993" y="4030666"/>
                  <a:pt x="3428483" y="4030262"/>
                  <a:pt x="3431249" y="4030666"/>
                </a:cubicBezTo>
                <a:close/>
                <a:moveTo>
                  <a:pt x="9592472" y="4025000"/>
                </a:moveTo>
                <a:cubicBezTo>
                  <a:pt x="9593301" y="4027225"/>
                  <a:pt x="9594408" y="4029451"/>
                  <a:pt x="9595238" y="4031676"/>
                </a:cubicBezTo>
                <a:cubicBezTo>
                  <a:pt x="9590536" y="4032688"/>
                  <a:pt x="9587770" y="4038150"/>
                  <a:pt x="9585004" y="4031474"/>
                </a:cubicBezTo>
                <a:cubicBezTo>
                  <a:pt x="9587493" y="4030968"/>
                  <a:pt x="9587493" y="4030968"/>
                  <a:pt x="9589706" y="4030462"/>
                </a:cubicBezTo>
                <a:cubicBezTo>
                  <a:pt x="9588876" y="4028237"/>
                  <a:pt x="9588876" y="4028237"/>
                  <a:pt x="9586663" y="4028743"/>
                </a:cubicBezTo>
                <a:cubicBezTo>
                  <a:pt x="9584727" y="4024393"/>
                  <a:pt x="9588876" y="4028237"/>
                  <a:pt x="9592472" y="4025000"/>
                </a:cubicBezTo>
                <a:close/>
                <a:moveTo>
                  <a:pt x="3336378" y="4023586"/>
                </a:moveTo>
                <a:cubicBezTo>
                  <a:pt x="3339697" y="4023687"/>
                  <a:pt x="3343016" y="4023990"/>
                  <a:pt x="3347165" y="4024496"/>
                </a:cubicBezTo>
                <a:cubicBezTo>
                  <a:pt x="3349931" y="4022473"/>
                  <a:pt x="3352144" y="4025002"/>
                  <a:pt x="3351591" y="4027227"/>
                </a:cubicBezTo>
                <a:cubicBezTo>
                  <a:pt x="3340804" y="4032892"/>
                  <a:pt x="3319230" y="4030666"/>
                  <a:pt x="3310102" y="4027328"/>
                </a:cubicBezTo>
                <a:cubicBezTo>
                  <a:pt x="3305400" y="4026823"/>
                  <a:pt x="3300145" y="4028441"/>
                  <a:pt x="3297656" y="4028137"/>
                </a:cubicBezTo>
                <a:cubicBezTo>
                  <a:pt x="3298209" y="4025912"/>
                  <a:pt x="3302911" y="4026519"/>
                  <a:pt x="3305953" y="4024496"/>
                </a:cubicBezTo>
                <a:cubicBezTo>
                  <a:pt x="3315634" y="4024395"/>
                  <a:pt x="3321719" y="4023889"/>
                  <a:pt x="3327527" y="4023687"/>
                </a:cubicBezTo>
                <a:cubicBezTo>
                  <a:pt x="3330570" y="4023586"/>
                  <a:pt x="3333336" y="4023484"/>
                  <a:pt x="3336378" y="4023586"/>
                </a:cubicBezTo>
                <a:close/>
                <a:moveTo>
                  <a:pt x="3188679" y="4023282"/>
                </a:moveTo>
                <a:cubicBezTo>
                  <a:pt x="3195317" y="4023687"/>
                  <a:pt x="3204445" y="4027733"/>
                  <a:pt x="3212189" y="4025204"/>
                </a:cubicBezTo>
                <a:cubicBezTo>
                  <a:pt x="3196977" y="4028137"/>
                  <a:pt x="3193658" y="4032386"/>
                  <a:pt x="3183424" y="4024294"/>
                </a:cubicBezTo>
                <a:cubicBezTo>
                  <a:pt x="3184807" y="4023282"/>
                  <a:pt x="3186467" y="4023080"/>
                  <a:pt x="3188679" y="4023282"/>
                </a:cubicBezTo>
                <a:close/>
                <a:moveTo>
                  <a:pt x="3248423" y="4022776"/>
                </a:moveTo>
                <a:cubicBezTo>
                  <a:pt x="3247869" y="4025002"/>
                  <a:pt x="3249806" y="4027531"/>
                  <a:pt x="3252018" y="4027834"/>
                </a:cubicBezTo>
                <a:cubicBezTo>
                  <a:pt x="3248423" y="4034308"/>
                  <a:pt x="3245657" y="4024698"/>
                  <a:pt x="3238189" y="4026216"/>
                </a:cubicBezTo>
                <a:cubicBezTo>
                  <a:pt x="3240955" y="4024193"/>
                  <a:pt x="3243721" y="4022271"/>
                  <a:pt x="3248423" y="4022776"/>
                </a:cubicBezTo>
                <a:close/>
                <a:moveTo>
                  <a:pt x="3277465" y="4021664"/>
                </a:moveTo>
                <a:cubicBezTo>
                  <a:pt x="3277741" y="4021765"/>
                  <a:pt x="3278294" y="4022372"/>
                  <a:pt x="3279124" y="4023181"/>
                </a:cubicBezTo>
                <a:cubicBezTo>
                  <a:pt x="3280231" y="4024698"/>
                  <a:pt x="3281613" y="4027126"/>
                  <a:pt x="3281337" y="4028239"/>
                </a:cubicBezTo>
                <a:cubicBezTo>
                  <a:pt x="3273316" y="4032082"/>
                  <a:pt x="3268890" y="4029250"/>
                  <a:pt x="3261699" y="4028441"/>
                </a:cubicBezTo>
                <a:cubicBezTo>
                  <a:pt x="3265848" y="4019641"/>
                  <a:pt x="3285209" y="4033397"/>
                  <a:pt x="3277465" y="4023282"/>
                </a:cubicBezTo>
                <a:cubicBezTo>
                  <a:pt x="3277188" y="4022068"/>
                  <a:pt x="3277188" y="4021563"/>
                  <a:pt x="3277465" y="4021664"/>
                </a:cubicBezTo>
                <a:close/>
                <a:moveTo>
                  <a:pt x="3381739" y="4021461"/>
                </a:moveTo>
                <a:cubicBezTo>
                  <a:pt x="3387547" y="4021563"/>
                  <a:pt x="3393356" y="4023383"/>
                  <a:pt x="3397228" y="4027733"/>
                </a:cubicBezTo>
                <a:cubicBezTo>
                  <a:pt x="3388930" y="4033499"/>
                  <a:pt x="3380633" y="4025811"/>
                  <a:pt x="3367910" y="4028846"/>
                </a:cubicBezTo>
                <a:cubicBezTo>
                  <a:pt x="3366527" y="4035420"/>
                  <a:pt x="3371782" y="4033802"/>
                  <a:pt x="3370399" y="4040377"/>
                </a:cubicBezTo>
                <a:cubicBezTo>
                  <a:pt x="3346059" y="4035926"/>
                  <a:pt x="3364314" y="4021259"/>
                  <a:pt x="3381739" y="4021461"/>
                </a:cubicBezTo>
                <a:close/>
                <a:moveTo>
                  <a:pt x="3410504" y="4020045"/>
                </a:moveTo>
                <a:cubicBezTo>
                  <a:pt x="3411058" y="4022372"/>
                  <a:pt x="3410781" y="4024091"/>
                  <a:pt x="3410228" y="4025508"/>
                </a:cubicBezTo>
                <a:cubicBezTo>
                  <a:pt x="3409675" y="4026823"/>
                  <a:pt x="3408845" y="4027834"/>
                  <a:pt x="3408568" y="4028947"/>
                </a:cubicBezTo>
                <a:cubicBezTo>
                  <a:pt x="3403866" y="4028441"/>
                  <a:pt x="3401930" y="4025912"/>
                  <a:pt x="3402760" y="4021461"/>
                </a:cubicBezTo>
                <a:cubicBezTo>
                  <a:pt x="3405249" y="4021765"/>
                  <a:pt x="3408015" y="4019742"/>
                  <a:pt x="3410504" y="4020045"/>
                </a:cubicBezTo>
                <a:close/>
                <a:moveTo>
                  <a:pt x="3428759" y="4016505"/>
                </a:moveTo>
                <a:cubicBezTo>
                  <a:pt x="3429866" y="4016100"/>
                  <a:pt x="3430972" y="4015999"/>
                  <a:pt x="3432078" y="4016606"/>
                </a:cubicBezTo>
                <a:cubicBezTo>
                  <a:pt x="3433461" y="4017415"/>
                  <a:pt x="3434291" y="4019337"/>
                  <a:pt x="3434291" y="4022878"/>
                </a:cubicBezTo>
                <a:cubicBezTo>
                  <a:pt x="3432078" y="4022574"/>
                  <a:pt x="3429036" y="4024597"/>
                  <a:pt x="3429036" y="4024597"/>
                </a:cubicBezTo>
                <a:cubicBezTo>
                  <a:pt x="3422951" y="4022574"/>
                  <a:pt x="3425440" y="4017820"/>
                  <a:pt x="3428759" y="4016505"/>
                </a:cubicBezTo>
                <a:close/>
                <a:moveTo>
                  <a:pt x="9615152" y="4010940"/>
                </a:moveTo>
                <a:cubicBezTo>
                  <a:pt x="9608790" y="4014581"/>
                  <a:pt x="9608237" y="4026012"/>
                  <a:pt x="9602429" y="4025000"/>
                </a:cubicBezTo>
                <a:cubicBezTo>
                  <a:pt x="9603259" y="4020347"/>
                  <a:pt x="9606301" y="4015087"/>
                  <a:pt x="9615152" y="4010940"/>
                </a:cubicBezTo>
                <a:close/>
                <a:moveTo>
                  <a:pt x="9298733" y="4009928"/>
                </a:moveTo>
                <a:cubicBezTo>
                  <a:pt x="9286840" y="4017312"/>
                  <a:pt x="9286286" y="4022269"/>
                  <a:pt x="9272180" y="4018223"/>
                </a:cubicBezTo>
                <a:cubicBezTo>
                  <a:pt x="9274946" y="4012761"/>
                  <a:pt x="9291265" y="4016301"/>
                  <a:pt x="9298733" y="4009928"/>
                </a:cubicBezTo>
                <a:close/>
                <a:moveTo>
                  <a:pt x="9330264" y="3996374"/>
                </a:moveTo>
                <a:cubicBezTo>
                  <a:pt x="9331094" y="3998498"/>
                  <a:pt x="9334136" y="4000218"/>
                  <a:pt x="9336349" y="3999712"/>
                </a:cubicBezTo>
                <a:cubicBezTo>
                  <a:pt x="9336902" y="4006793"/>
                  <a:pt x="9328881" y="3999004"/>
                  <a:pt x="9323073" y="4002645"/>
                </a:cubicBezTo>
                <a:cubicBezTo>
                  <a:pt x="9324456" y="4000015"/>
                  <a:pt x="9325839" y="3997284"/>
                  <a:pt x="9330264" y="3996374"/>
                </a:cubicBezTo>
                <a:close/>
                <a:moveTo>
                  <a:pt x="3533310" y="3994858"/>
                </a:moveTo>
                <a:cubicBezTo>
                  <a:pt x="3534417" y="4001737"/>
                  <a:pt x="3522523" y="4000523"/>
                  <a:pt x="3515055" y="4001939"/>
                </a:cubicBezTo>
                <a:cubicBezTo>
                  <a:pt x="3516162" y="3995263"/>
                  <a:pt x="3525842" y="3996274"/>
                  <a:pt x="3533310" y="3994858"/>
                </a:cubicBezTo>
                <a:close/>
                <a:moveTo>
                  <a:pt x="6024356" y="3990429"/>
                </a:moveTo>
                <a:cubicBezTo>
                  <a:pt x="6036527" y="3989519"/>
                  <a:pt x="6040399" y="3994475"/>
                  <a:pt x="6049526" y="3997712"/>
                </a:cubicBezTo>
                <a:cubicBezTo>
                  <a:pt x="6038186" y="4005602"/>
                  <a:pt x="6003889" y="4008738"/>
                  <a:pt x="5983698" y="4013391"/>
                </a:cubicBezTo>
                <a:cubicBezTo>
                  <a:pt x="5985634" y="4004388"/>
                  <a:pt x="5995869" y="4000949"/>
                  <a:pt x="6001953" y="4006209"/>
                </a:cubicBezTo>
                <a:cubicBezTo>
                  <a:pt x="6008038" y="4000039"/>
                  <a:pt x="6016612" y="3994172"/>
                  <a:pt x="6024356" y="3990429"/>
                </a:cubicBezTo>
                <a:close/>
                <a:moveTo>
                  <a:pt x="7662322" y="3990126"/>
                </a:moveTo>
                <a:cubicBezTo>
                  <a:pt x="7665642" y="3999027"/>
                  <a:pt x="7662046" y="4002264"/>
                  <a:pt x="7654025" y="4006512"/>
                </a:cubicBezTo>
                <a:cubicBezTo>
                  <a:pt x="7648216" y="3998117"/>
                  <a:pt x="7656237" y="3993868"/>
                  <a:pt x="7662322" y="3990126"/>
                </a:cubicBezTo>
                <a:close/>
                <a:moveTo>
                  <a:pt x="4369796" y="3989418"/>
                </a:moveTo>
                <a:cubicBezTo>
                  <a:pt x="4373668" y="3989114"/>
                  <a:pt x="4377816" y="3989418"/>
                  <a:pt x="4382795" y="3990834"/>
                </a:cubicBezTo>
                <a:cubicBezTo>
                  <a:pt x="4375050" y="3989215"/>
                  <a:pt x="4362327" y="3995689"/>
                  <a:pt x="4360114" y="3991744"/>
                </a:cubicBezTo>
                <a:cubicBezTo>
                  <a:pt x="4362881" y="3990530"/>
                  <a:pt x="4366199" y="3989620"/>
                  <a:pt x="4369796" y="3989418"/>
                </a:cubicBezTo>
                <a:close/>
                <a:moveTo>
                  <a:pt x="9355987" y="3986259"/>
                </a:moveTo>
                <a:cubicBezTo>
                  <a:pt x="9356264" y="3986157"/>
                  <a:pt x="9357093" y="3986461"/>
                  <a:pt x="9358200" y="3986967"/>
                </a:cubicBezTo>
                <a:cubicBezTo>
                  <a:pt x="9360136" y="3988079"/>
                  <a:pt x="9362902" y="3989900"/>
                  <a:pt x="9363178" y="3991013"/>
                </a:cubicBezTo>
                <a:cubicBezTo>
                  <a:pt x="9358200" y="3996981"/>
                  <a:pt x="9352391" y="3995868"/>
                  <a:pt x="9345477" y="3997385"/>
                </a:cubicBezTo>
                <a:cubicBezTo>
                  <a:pt x="9344370" y="3988079"/>
                  <a:pt x="9369540" y="3994351"/>
                  <a:pt x="9356817" y="3987574"/>
                </a:cubicBezTo>
                <a:cubicBezTo>
                  <a:pt x="9355711" y="3986562"/>
                  <a:pt x="9355711" y="3986259"/>
                  <a:pt x="9355987" y="3986259"/>
                </a:cubicBezTo>
                <a:close/>
                <a:moveTo>
                  <a:pt x="6100142" y="3985776"/>
                </a:moveTo>
                <a:cubicBezTo>
                  <a:pt x="6092674" y="3998521"/>
                  <a:pt x="6077462" y="4001455"/>
                  <a:pt x="6063079" y="3999836"/>
                </a:cubicBezTo>
                <a:cubicBezTo>
                  <a:pt x="6071930" y="3991744"/>
                  <a:pt x="6085759" y="3984158"/>
                  <a:pt x="6100142" y="3985776"/>
                </a:cubicBezTo>
                <a:close/>
                <a:moveTo>
                  <a:pt x="3366803" y="3985350"/>
                </a:moveTo>
                <a:cubicBezTo>
                  <a:pt x="3372058" y="3983630"/>
                  <a:pt x="3365420" y="4003355"/>
                  <a:pt x="3374548" y="3995263"/>
                </a:cubicBezTo>
                <a:cubicBezTo>
                  <a:pt x="3376207" y="3995971"/>
                  <a:pt x="3376207" y="3996578"/>
                  <a:pt x="3375377" y="3997084"/>
                </a:cubicBezTo>
                <a:cubicBezTo>
                  <a:pt x="3372888" y="3998601"/>
                  <a:pt x="3362654" y="3999714"/>
                  <a:pt x="3365697" y="4003456"/>
                </a:cubicBezTo>
                <a:cubicBezTo>
                  <a:pt x="3353250" y="4004367"/>
                  <a:pt x="3341357" y="4002951"/>
                  <a:pt x="3326698" y="4003557"/>
                </a:cubicBezTo>
                <a:cubicBezTo>
                  <a:pt x="3323379" y="3996477"/>
                  <a:pt x="3325868" y="3996679"/>
                  <a:pt x="3329187" y="3992532"/>
                </a:cubicBezTo>
                <a:cubicBezTo>
                  <a:pt x="3335825" y="4006895"/>
                  <a:pt x="3362101" y="3996173"/>
                  <a:pt x="3366803" y="3985350"/>
                </a:cubicBezTo>
                <a:close/>
                <a:moveTo>
                  <a:pt x="5943870" y="3983955"/>
                </a:moveTo>
                <a:cubicBezTo>
                  <a:pt x="5951337" y="3982539"/>
                  <a:pt x="5953273" y="3984967"/>
                  <a:pt x="5960187" y="3985776"/>
                </a:cubicBezTo>
                <a:cubicBezTo>
                  <a:pt x="5957145" y="3989923"/>
                  <a:pt x="5956315" y="3994273"/>
                  <a:pt x="5955486" y="3998724"/>
                </a:cubicBezTo>
                <a:cubicBezTo>
                  <a:pt x="5952996" y="3998420"/>
                  <a:pt x="5950783" y="3998218"/>
                  <a:pt x="5948294" y="3997915"/>
                </a:cubicBezTo>
                <a:cubicBezTo>
                  <a:pt x="5949678" y="3991340"/>
                  <a:pt x="5945528" y="3988608"/>
                  <a:pt x="5943870" y="3983955"/>
                </a:cubicBezTo>
                <a:close/>
                <a:moveTo>
                  <a:pt x="4348498" y="3983045"/>
                </a:moveTo>
                <a:cubicBezTo>
                  <a:pt x="4349051" y="3982944"/>
                  <a:pt x="4349327" y="3983247"/>
                  <a:pt x="4349604" y="3983652"/>
                </a:cubicBezTo>
                <a:cubicBezTo>
                  <a:pt x="4350158" y="3984360"/>
                  <a:pt x="4351264" y="3985574"/>
                  <a:pt x="4354030" y="3985776"/>
                </a:cubicBezTo>
                <a:cubicBezTo>
                  <a:pt x="4352370" y="3987597"/>
                  <a:pt x="4350434" y="3989519"/>
                  <a:pt x="4348498" y="3991340"/>
                </a:cubicBezTo>
                <a:cubicBezTo>
                  <a:pt x="4344625" y="3989215"/>
                  <a:pt x="4337158" y="3990733"/>
                  <a:pt x="4342689" y="3985169"/>
                </a:cubicBezTo>
                <a:cubicBezTo>
                  <a:pt x="4344625" y="3986282"/>
                  <a:pt x="4344625" y="3986282"/>
                  <a:pt x="4346561" y="3987294"/>
                </a:cubicBezTo>
                <a:cubicBezTo>
                  <a:pt x="4348498" y="3985473"/>
                  <a:pt x="4348498" y="3985473"/>
                  <a:pt x="4346561" y="3984461"/>
                </a:cubicBezTo>
                <a:cubicBezTo>
                  <a:pt x="4347391" y="3983450"/>
                  <a:pt x="4347945" y="3983146"/>
                  <a:pt x="4348498" y="3983045"/>
                </a:cubicBezTo>
                <a:close/>
                <a:moveTo>
                  <a:pt x="8024743" y="3978748"/>
                </a:moveTo>
                <a:lnTo>
                  <a:pt x="8024932" y="3982742"/>
                </a:lnTo>
                <a:lnTo>
                  <a:pt x="8029726" y="3979065"/>
                </a:lnTo>
                <a:lnTo>
                  <a:pt x="8029081" y="3979178"/>
                </a:lnTo>
                <a:close/>
                <a:moveTo>
                  <a:pt x="3442589" y="3978269"/>
                </a:moveTo>
                <a:cubicBezTo>
                  <a:pt x="3445078" y="3978472"/>
                  <a:pt x="3440929" y="3986968"/>
                  <a:pt x="3444802" y="3991723"/>
                </a:cubicBezTo>
                <a:cubicBezTo>
                  <a:pt x="3440929" y="3986968"/>
                  <a:pt x="3433185" y="3988283"/>
                  <a:pt x="3434568" y="3981810"/>
                </a:cubicBezTo>
                <a:cubicBezTo>
                  <a:pt x="3437334" y="3979989"/>
                  <a:pt x="3442312" y="3980394"/>
                  <a:pt x="3442589" y="3978269"/>
                </a:cubicBezTo>
                <a:close/>
                <a:moveTo>
                  <a:pt x="3476886" y="3977157"/>
                </a:moveTo>
                <a:cubicBezTo>
                  <a:pt x="3480205" y="3978674"/>
                  <a:pt x="3482418" y="3979989"/>
                  <a:pt x="3483248" y="3981709"/>
                </a:cubicBezTo>
                <a:cubicBezTo>
                  <a:pt x="3484077" y="3983529"/>
                  <a:pt x="3483524" y="3985653"/>
                  <a:pt x="3481865" y="3988789"/>
                </a:cubicBezTo>
                <a:cubicBezTo>
                  <a:pt x="3479099" y="3990812"/>
                  <a:pt x="3474397" y="3990205"/>
                  <a:pt x="3469695" y="3989700"/>
                </a:cubicBezTo>
                <a:cubicBezTo>
                  <a:pt x="3473290" y="3983428"/>
                  <a:pt x="3459184" y="3981911"/>
                  <a:pt x="3460291" y="3988789"/>
                </a:cubicBezTo>
                <a:cubicBezTo>
                  <a:pt x="3450610" y="3989902"/>
                  <a:pt x="3459184" y="3981911"/>
                  <a:pt x="3452823" y="3978977"/>
                </a:cubicBezTo>
                <a:cubicBezTo>
                  <a:pt x="3455865" y="3974830"/>
                  <a:pt x="3473290" y="3983529"/>
                  <a:pt x="3476886" y="3977157"/>
                </a:cubicBezTo>
                <a:close/>
                <a:moveTo>
                  <a:pt x="9481836" y="3976548"/>
                </a:moveTo>
                <a:cubicBezTo>
                  <a:pt x="9483495" y="3980796"/>
                  <a:pt x="9481006" y="3981302"/>
                  <a:pt x="9477410" y="3984438"/>
                </a:cubicBezTo>
                <a:cubicBezTo>
                  <a:pt x="9480176" y="3990912"/>
                  <a:pt x="9486538" y="3982516"/>
                  <a:pt x="9489027" y="3988990"/>
                </a:cubicBezTo>
                <a:cubicBezTo>
                  <a:pt x="9476304" y="3994047"/>
                  <a:pt x="9472708" y="3997183"/>
                  <a:pt x="9459155" y="4000218"/>
                </a:cubicBezTo>
                <a:cubicBezTo>
                  <a:pt x="9456666" y="3993744"/>
                  <a:pt x="9468836" y="3993440"/>
                  <a:pt x="9466070" y="3986967"/>
                </a:cubicBezTo>
                <a:cubicBezTo>
                  <a:pt x="9468559" y="3986461"/>
                  <a:pt x="9464687" y="3989597"/>
                  <a:pt x="9468006" y="3991316"/>
                </a:cubicBezTo>
                <a:cubicBezTo>
                  <a:pt x="9479346" y="3988787"/>
                  <a:pt x="9470772" y="3985955"/>
                  <a:pt x="9471325" y="3981201"/>
                </a:cubicBezTo>
                <a:cubicBezTo>
                  <a:pt x="9474921" y="3978065"/>
                  <a:pt x="9477134" y="3977560"/>
                  <a:pt x="9481836" y="3976548"/>
                </a:cubicBezTo>
                <a:close/>
                <a:moveTo>
                  <a:pt x="3419355" y="3975741"/>
                </a:moveTo>
                <a:cubicBezTo>
                  <a:pt x="3425717" y="3978674"/>
                  <a:pt x="3424887" y="3983125"/>
                  <a:pt x="3425717" y="3990003"/>
                </a:cubicBezTo>
                <a:cubicBezTo>
                  <a:pt x="3419355" y="3998399"/>
                  <a:pt x="3411334" y="3990711"/>
                  <a:pt x="3404973" y="3999006"/>
                </a:cubicBezTo>
                <a:cubicBezTo>
                  <a:pt x="3406356" y="4003760"/>
                  <a:pt x="3411611" y="4002040"/>
                  <a:pt x="3410228" y="4008615"/>
                </a:cubicBezTo>
                <a:cubicBezTo>
                  <a:pt x="3400824" y="4007604"/>
                  <a:pt x="3391696" y="4006693"/>
                  <a:pt x="3381739" y="4007907"/>
                </a:cubicBezTo>
                <a:cubicBezTo>
                  <a:pt x="3382292" y="4005682"/>
                  <a:pt x="3387271" y="4003962"/>
                  <a:pt x="3385611" y="4001433"/>
                </a:cubicBezTo>
                <a:cubicBezTo>
                  <a:pt x="3393356" y="3997792"/>
                  <a:pt x="3394739" y="4002445"/>
                  <a:pt x="3399994" y="4000826"/>
                </a:cubicBezTo>
                <a:cubicBezTo>
                  <a:pt x="3401100" y="3994150"/>
                  <a:pt x="3391143" y="3997488"/>
                  <a:pt x="3386441" y="3996983"/>
                </a:cubicBezTo>
                <a:cubicBezTo>
                  <a:pt x="3387271" y="3992532"/>
                  <a:pt x="3406356" y="3992330"/>
                  <a:pt x="3397505" y="3989093"/>
                </a:cubicBezTo>
                <a:cubicBezTo>
                  <a:pt x="3402483" y="3987474"/>
                  <a:pt x="3420738" y="3991723"/>
                  <a:pt x="3419355" y="3975741"/>
                </a:cubicBezTo>
                <a:close/>
                <a:moveTo>
                  <a:pt x="4263861" y="3971716"/>
                </a:moveTo>
                <a:cubicBezTo>
                  <a:pt x="4269671" y="3974852"/>
                  <a:pt x="4275201" y="3975256"/>
                  <a:pt x="4279074" y="3977381"/>
                </a:cubicBezTo>
                <a:cubicBezTo>
                  <a:pt x="4279350" y="3983146"/>
                  <a:pt x="4271607" y="3978898"/>
                  <a:pt x="4268010" y="3979505"/>
                </a:cubicBezTo>
                <a:cubicBezTo>
                  <a:pt x="4266350" y="3986990"/>
                  <a:pt x="4288755" y="3985574"/>
                  <a:pt x="4290691" y="3992351"/>
                </a:cubicBezTo>
                <a:cubicBezTo>
                  <a:pt x="4297606" y="3971008"/>
                  <a:pt x="4309775" y="4000241"/>
                  <a:pt x="4326371" y="3989923"/>
                </a:cubicBezTo>
                <a:cubicBezTo>
                  <a:pt x="4322775" y="3996397"/>
                  <a:pt x="4318902" y="3994172"/>
                  <a:pt x="4320839" y="3998117"/>
                </a:cubicBezTo>
                <a:cubicBezTo>
                  <a:pt x="4326371" y="3995588"/>
                  <a:pt x="4336051" y="4003883"/>
                  <a:pt x="4339647" y="3997409"/>
                </a:cubicBezTo>
                <a:cubicBezTo>
                  <a:pt x="4341584" y="3998521"/>
                  <a:pt x="4337711" y="4002062"/>
                  <a:pt x="4337987" y="4004894"/>
                </a:cubicBezTo>
                <a:cubicBezTo>
                  <a:pt x="4345455" y="4006310"/>
                  <a:pt x="4349051" y="3999938"/>
                  <a:pt x="4354584" y="3997409"/>
                </a:cubicBezTo>
                <a:cubicBezTo>
                  <a:pt x="4358455" y="4002466"/>
                  <a:pt x="4336328" y="4009547"/>
                  <a:pt x="4355137" y="4011671"/>
                </a:cubicBezTo>
                <a:cubicBezTo>
                  <a:pt x="4351264" y="4015313"/>
                  <a:pt x="4349327" y="4014200"/>
                  <a:pt x="4345733" y="4017740"/>
                </a:cubicBezTo>
                <a:cubicBezTo>
                  <a:pt x="4307839" y="4002062"/>
                  <a:pt x="4270223" y="3992048"/>
                  <a:pt x="4224862" y="3977684"/>
                </a:cubicBezTo>
                <a:cubicBezTo>
                  <a:pt x="4233989" y="3971716"/>
                  <a:pt x="4253074" y="3985169"/>
                  <a:pt x="4263861" y="3971716"/>
                </a:cubicBezTo>
                <a:close/>
                <a:moveTo>
                  <a:pt x="9423752" y="3965624"/>
                </a:moveTo>
                <a:cubicBezTo>
                  <a:pt x="9424858" y="3966028"/>
                  <a:pt x="9425688" y="3966837"/>
                  <a:pt x="9426241" y="3967950"/>
                </a:cubicBezTo>
                <a:cubicBezTo>
                  <a:pt x="9419603" y="3976548"/>
                  <a:pt x="9398859" y="3981201"/>
                  <a:pt x="9388625" y="3981100"/>
                </a:cubicBezTo>
                <a:cubicBezTo>
                  <a:pt x="9384199" y="3982111"/>
                  <a:pt x="9380327" y="3985247"/>
                  <a:pt x="9378114" y="3985753"/>
                </a:cubicBezTo>
                <a:cubicBezTo>
                  <a:pt x="9377285" y="3983528"/>
                  <a:pt x="9381710" y="3982617"/>
                  <a:pt x="9383093" y="3979886"/>
                </a:cubicBezTo>
                <a:cubicBezTo>
                  <a:pt x="9400795" y="3973615"/>
                  <a:pt x="9404667" y="3970378"/>
                  <a:pt x="9420709" y="3966837"/>
                </a:cubicBezTo>
                <a:cubicBezTo>
                  <a:pt x="9421539" y="3965421"/>
                  <a:pt x="9422645" y="3965320"/>
                  <a:pt x="9423752" y="3965624"/>
                </a:cubicBezTo>
                <a:close/>
                <a:moveTo>
                  <a:pt x="3374548" y="3961680"/>
                </a:moveTo>
                <a:cubicBezTo>
                  <a:pt x="3373995" y="3963805"/>
                  <a:pt x="3371505" y="3963501"/>
                  <a:pt x="3368739" y="3965322"/>
                </a:cubicBezTo>
                <a:cubicBezTo>
                  <a:pt x="3370675" y="3967648"/>
                  <a:pt x="3370675" y="3967648"/>
                  <a:pt x="3372335" y="3972099"/>
                </a:cubicBezTo>
                <a:cubicBezTo>
                  <a:pt x="3370399" y="3969773"/>
                  <a:pt x="3367910" y="3969570"/>
                  <a:pt x="3365697" y="3967143"/>
                </a:cubicBezTo>
                <a:cubicBezTo>
                  <a:pt x="3363208" y="3966940"/>
                  <a:pt x="3362378" y="3971088"/>
                  <a:pt x="3357676" y="3970582"/>
                </a:cubicBezTo>
                <a:cubicBezTo>
                  <a:pt x="3358782" y="3964310"/>
                  <a:pt x="3364314" y="3962793"/>
                  <a:pt x="3374548" y="3961680"/>
                </a:cubicBezTo>
                <a:close/>
                <a:moveTo>
                  <a:pt x="9530792" y="3960869"/>
                </a:moveTo>
                <a:cubicBezTo>
                  <a:pt x="9533005" y="3961072"/>
                  <a:pt x="9534664" y="3961577"/>
                  <a:pt x="9535771" y="3962488"/>
                </a:cubicBezTo>
                <a:cubicBezTo>
                  <a:pt x="9534664" y="3972300"/>
                  <a:pt x="9519729" y="3977964"/>
                  <a:pt x="9510601" y="3979987"/>
                </a:cubicBezTo>
                <a:cubicBezTo>
                  <a:pt x="9526090" y="3981403"/>
                  <a:pt x="9492623" y="3991114"/>
                  <a:pt x="9489304" y="3982314"/>
                </a:cubicBezTo>
                <a:cubicBezTo>
                  <a:pt x="9501197" y="3974930"/>
                  <a:pt x="9522494" y="3972603"/>
                  <a:pt x="9516686" y="3964410"/>
                </a:cubicBezTo>
                <a:cubicBezTo>
                  <a:pt x="9516409" y="3963297"/>
                  <a:pt x="9520005" y="3961780"/>
                  <a:pt x="9524431" y="3961173"/>
                </a:cubicBezTo>
                <a:cubicBezTo>
                  <a:pt x="9526643" y="3960869"/>
                  <a:pt x="9528856" y="3960667"/>
                  <a:pt x="9530792" y="3960869"/>
                </a:cubicBezTo>
                <a:close/>
                <a:moveTo>
                  <a:pt x="3413270" y="3959657"/>
                </a:moveTo>
                <a:cubicBezTo>
                  <a:pt x="3424334" y="3959253"/>
                  <a:pt x="3435674" y="3960467"/>
                  <a:pt x="3443695" y="3962490"/>
                </a:cubicBezTo>
                <a:cubicBezTo>
                  <a:pt x="3433461" y="3965828"/>
                  <a:pt x="3432355" y="3970278"/>
                  <a:pt x="3429313" y="3974324"/>
                </a:cubicBezTo>
                <a:cubicBezTo>
                  <a:pt x="3417972" y="3970885"/>
                  <a:pt x="3404143" y="3967041"/>
                  <a:pt x="3384782" y="3967143"/>
                </a:cubicBezTo>
                <a:cubicBezTo>
                  <a:pt x="3391696" y="3962388"/>
                  <a:pt x="3402483" y="3960163"/>
                  <a:pt x="3413270" y="3959657"/>
                </a:cubicBezTo>
                <a:close/>
                <a:moveTo>
                  <a:pt x="4260820" y="3958971"/>
                </a:moveTo>
                <a:cubicBezTo>
                  <a:pt x="4263031" y="3958769"/>
                  <a:pt x="4264968" y="3958971"/>
                  <a:pt x="4267181" y="3959477"/>
                </a:cubicBezTo>
                <a:cubicBezTo>
                  <a:pt x="4280456" y="3962005"/>
                  <a:pt x="4294286" y="3972424"/>
                  <a:pt x="4307009" y="3964635"/>
                </a:cubicBezTo>
                <a:cubicBezTo>
                  <a:pt x="4318349" y="3973840"/>
                  <a:pt x="4335221" y="3969187"/>
                  <a:pt x="4341030" y="3983854"/>
                </a:cubicBezTo>
                <a:cubicBezTo>
                  <a:pt x="4340200" y="3986181"/>
                  <a:pt x="4339371" y="3987091"/>
                  <a:pt x="4338540" y="3986990"/>
                </a:cubicBezTo>
                <a:cubicBezTo>
                  <a:pt x="4337987" y="3986990"/>
                  <a:pt x="4337434" y="3985979"/>
                  <a:pt x="4337434" y="3984461"/>
                </a:cubicBezTo>
                <a:cubicBezTo>
                  <a:pt x="4312817" y="3973537"/>
                  <a:pt x="4284605" y="3974751"/>
                  <a:pt x="4254457" y="3960488"/>
                </a:cubicBezTo>
                <a:cubicBezTo>
                  <a:pt x="4256393" y="3959578"/>
                  <a:pt x="4258606" y="3959072"/>
                  <a:pt x="4260820" y="3958971"/>
                </a:cubicBezTo>
                <a:close/>
                <a:moveTo>
                  <a:pt x="7494709" y="3956644"/>
                </a:moveTo>
                <a:cubicBezTo>
                  <a:pt x="7496368" y="3955835"/>
                  <a:pt x="7500794" y="3959477"/>
                  <a:pt x="7505496" y="3956745"/>
                </a:cubicBezTo>
                <a:cubicBezTo>
                  <a:pt x="7503836" y="3959274"/>
                  <a:pt x="7501624" y="3959881"/>
                  <a:pt x="7503283" y="3964028"/>
                </a:cubicBezTo>
                <a:cubicBezTo>
                  <a:pt x="7499964" y="3962410"/>
                  <a:pt x="7495262" y="3963523"/>
                  <a:pt x="7493603" y="3959375"/>
                </a:cubicBezTo>
                <a:cubicBezTo>
                  <a:pt x="7493603" y="3957656"/>
                  <a:pt x="7493879" y="3956948"/>
                  <a:pt x="7494709" y="3956644"/>
                </a:cubicBezTo>
                <a:close/>
                <a:moveTo>
                  <a:pt x="9561494" y="3952979"/>
                </a:moveTo>
                <a:lnTo>
                  <a:pt x="9559834" y="3956722"/>
                </a:lnTo>
                <a:cubicBezTo>
                  <a:pt x="9559281" y="3959453"/>
                  <a:pt x="9559004" y="3961881"/>
                  <a:pt x="9557068" y="3959959"/>
                </a:cubicBezTo>
                <a:close/>
                <a:moveTo>
                  <a:pt x="9458879" y="3952069"/>
                </a:moveTo>
                <a:cubicBezTo>
                  <a:pt x="9461645" y="3952069"/>
                  <a:pt x="9464964" y="3952676"/>
                  <a:pt x="9468006" y="3954092"/>
                </a:cubicBezTo>
                <a:cubicBezTo>
                  <a:pt x="9463581" y="3961982"/>
                  <a:pt x="9451964" y="3957632"/>
                  <a:pt x="9442007" y="3964410"/>
                </a:cubicBezTo>
                <a:cubicBezTo>
                  <a:pt x="9444773" y="3970681"/>
                  <a:pt x="9448368" y="3967647"/>
                  <a:pt x="9450858" y="3974019"/>
                </a:cubicBezTo>
                <a:cubicBezTo>
                  <a:pt x="9426241" y="3977661"/>
                  <a:pt x="9434539" y="3958543"/>
                  <a:pt x="9450304" y="3953283"/>
                </a:cubicBezTo>
                <a:cubicBezTo>
                  <a:pt x="9453070" y="3952373"/>
                  <a:pt x="9455836" y="3951968"/>
                  <a:pt x="9458879" y="3952069"/>
                </a:cubicBezTo>
                <a:close/>
                <a:moveTo>
                  <a:pt x="8305222" y="3948326"/>
                </a:moveTo>
                <a:cubicBezTo>
                  <a:pt x="8303562" y="3957430"/>
                  <a:pt x="8298307" y="3959251"/>
                  <a:pt x="8288626" y="3960465"/>
                </a:cubicBezTo>
                <a:cubicBezTo>
                  <a:pt x="8288073" y="3951058"/>
                  <a:pt x="8297754" y="3949844"/>
                  <a:pt x="8305222" y="3948326"/>
                </a:cubicBezTo>
                <a:close/>
                <a:moveTo>
                  <a:pt x="9508941" y="3944887"/>
                </a:moveTo>
                <a:cubicBezTo>
                  <a:pt x="9513920" y="3950754"/>
                  <a:pt x="9497878" y="3949641"/>
                  <a:pt x="9501750" y="3953384"/>
                </a:cubicBezTo>
                <a:cubicBezTo>
                  <a:pt x="9499537" y="3953890"/>
                  <a:pt x="9496218" y="3952271"/>
                  <a:pt x="9495389" y="3950046"/>
                </a:cubicBezTo>
                <a:cubicBezTo>
                  <a:pt x="9495942" y="3945292"/>
                  <a:pt x="9503963" y="3945899"/>
                  <a:pt x="9508941" y="3944887"/>
                </a:cubicBezTo>
                <a:close/>
                <a:moveTo>
                  <a:pt x="9475474" y="3942965"/>
                </a:moveTo>
                <a:cubicBezTo>
                  <a:pt x="9477410" y="3944887"/>
                  <a:pt x="9478240" y="3946506"/>
                  <a:pt x="9478517" y="3947922"/>
                </a:cubicBezTo>
                <a:cubicBezTo>
                  <a:pt x="9478793" y="3949338"/>
                  <a:pt x="9478517" y="3950552"/>
                  <a:pt x="9478793" y="3951665"/>
                </a:cubicBezTo>
                <a:cubicBezTo>
                  <a:pt x="9474368" y="3952676"/>
                  <a:pt x="9471325" y="3950956"/>
                  <a:pt x="9469389" y="3946708"/>
                </a:cubicBezTo>
                <a:cubicBezTo>
                  <a:pt x="9471878" y="3946202"/>
                  <a:pt x="9473261" y="3943471"/>
                  <a:pt x="9475474" y="3942965"/>
                </a:cubicBezTo>
                <a:close/>
                <a:moveTo>
                  <a:pt x="3450610" y="3938011"/>
                </a:moveTo>
                <a:cubicBezTo>
                  <a:pt x="3453099" y="3938314"/>
                  <a:pt x="3451993" y="3942664"/>
                  <a:pt x="3451163" y="3947013"/>
                </a:cubicBezTo>
                <a:cubicBezTo>
                  <a:pt x="3447014" y="3944383"/>
                  <a:pt x="3430972" y="3953993"/>
                  <a:pt x="3430419" y="3944788"/>
                </a:cubicBezTo>
                <a:cubicBezTo>
                  <a:pt x="3440100" y="3943574"/>
                  <a:pt x="3447567" y="3942158"/>
                  <a:pt x="3450610" y="3938011"/>
                </a:cubicBezTo>
                <a:close/>
                <a:moveTo>
                  <a:pt x="9493176" y="3933052"/>
                </a:moveTo>
                <a:cubicBezTo>
                  <a:pt x="9494835" y="3933356"/>
                  <a:pt x="9496772" y="3934772"/>
                  <a:pt x="9498708" y="3938009"/>
                </a:cubicBezTo>
                <a:cubicBezTo>
                  <a:pt x="9496495" y="3938515"/>
                  <a:pt x="9495112" y="3941246"/>
                  <a:pt x="9495112" y="3941246"/>
                </a:cubicBezTo>
                <a:cubicBezTo>
                  <a:pt x="9485985" y="3941448"/>
                  <a:pt x="9488197" y="3932243"/>
                  <a:pt x="9493176" y="3933052"/>
                </a:cubicBezTo>
                <a:close/>
                <a:moveTo>
                  <a:pt x="3481311" y="3932245"/>
                </a:moveTo>
                <a:cubicBezTo>
                  <a:pt x="3483801" y="3932548"/>
                  <a:pt x="3487396" y="3937505"/>
                  <a:pt x="3488226" y="3933054"/>
                </a:cubicBezTo>
                <a:cubicBezTo>
                  <a:pt x="3489886" y="3933863"/>
                  <a:pt x="3490439" y="3934673"/>
                  <a:pt x="3490439" y="3935381"/>
                </a:cubicBezTo>
                <a:cubicBezTo>
                  <a:pt x="3490439" y="3937707"/>
                  <a:pt x="3484631" y="3940034"/>
                  <a:pt x="3484354" y="3941753"/>
                </a:cubicBezTo>
                <a:cubicBezTo>
                  <a:pt x="3479652" y="3941248"/>
                  <a:pt x="3480482" y="3936696"/>
                  <a:pt x="3481311" y="3932245"/>
                </a:cubicBezTo>
                <a:close/>
                <a:moveTo>
                  <a:pt x="9417667" y="3925163"/>
                </a:moveTo>
                <a:cubicBezTo>
                  <a:pt x="9421262" y="3926680"/>
                  <a:pt x="9425964" y="3940639"/>
                  <a:pt x="9429007" y="3931839"/>
                </a:cubicBezTo>
                <a:cubicBezTo>
                  <a:pt x="9430943" y="3931940"/>
                  <a:pt x="9430943" y="3932547"/>
                  <a:pt x="9430667" y="3933255"/>
                </a:cubicBezTo>
                <a:cubicBezTo>
                  <a:pt x="9429284" y="3935480"/>
                  <a:pt x="9420709" y="3939425"/>
                  <a:pt x="9425411" y="3941954"/>
                </a:cubicBezTo>
                <a:cubicBezTo>
                  <a:pt x="9414901" y="3946607"/>
                  <a:pt x="9403284" y="3949136"/>
                  <a:pt x="9390284" y="3954396"/>
                </a:cubicBezTo>
                <a:cubicBezTo>
                  <a:pt x="9383370" y="3948933"/>
                  <a:pt x="9385582" y="3948428"/>
                  <a:pt x="9386135" y="3943572"/>
                </a:cubicBezTo>
                <a:cubicBezTo>
                  <a:pt x="9400518" y="3954396"/>
                  <a:pt x="9418220" y="3936593"/>
                  <a:pt x="9416284" y="3925264"/>
                </a:cubicBezTo>
                <a:cubicBezTo>
                  <a:pt x="9416837" y="3924960"/>
                  <a:pt x="9417113" y="3924859"/>
                  <a:pt x="9417667" y="3925163"/>
                </a:cubicBezTo>
                <a:close/>
                <a:moveTo>
                  <a:pt x="4099567" y="3907990"/>
                </a:moveTo>
                <a:cubicBezTo>
                  <a:pt x="4103440" y="3912947"/>
                  <a:pt x="4105375" y="3913958"/>
                  <a:pt x="4116440" y="3914666"/>
                </a:cubicBezTo>
                <a:cubicBezTo>
                  <a:pt x="4112843" y="3918206"/>
                  <a:pt x="4116716" y="3920432"/>
                  <a:pt x="4118375" y="3921443"/>
                </a:cubicBezTo>
                <a:cubicBezTo>
                  <a:pt x="4109247" y="3921848"/>
                  <a:pt x="4095972" y="3914363"/>
                  <a:pt x="4099567" y="3907990"/>
                </a:cubicBezTo>
                <a:close/>
                <a:moveTo>
                  <a:pt x="6058930" y="3902932"/>
                </a:moveTo>
                <a:cubicBezTo>
                  <a:pt x="6056164" y="3904146"/>
                  <a:pt x="6053398" y="3905461"/>
                  <a:pt x="6051186" y="3907383"/>
                </a:cubicBezTo>
                <a:lnTo>
                  <a:pt x="6047037" y="3913958"/>
                </a:lnTo>
                <a:lnTo>
                  <a:pt x="6054505" y="3910418"/>
                </a:lnTo>
                <a:lnTo>
                  <a:pt x="6061973" y="3904955"/>
                </a:lnTo>
                <a:close/>
                <a:moveTo>
                  <a:pt x="9409646" y="3901392"/>
                </a:moveTo>
                <a:cubicBezTo>
                  <a:pt x="9410475" y="3903415"/>
                  <a:pt x="9407986" y="3904022"/>
                  <a:pt x="9406603" y="3906551"/>
                </a:cubicBezTo>
                <a:cubicBezTo>
                  <a:pt x="9409646" y="3908068"/>
                  <a:pt x="9409646" y="3908068"/>
                  <a:pt x="9413794" y="3911608"/>
                </a:cubicBezTo>
                <a:cubicBezTo>
                  <a:pt x="9410475" y="3910091"/>
                  <a:pt x="9408263" y="3910597"/>
                  <a:pt x="9404944" y="3909079"/>
                </a:cubicBezTo>
                <a:cubicBezTo>
                  <a:pt x="9402731" y="3909585"/>
                  <a:pt x="9404390" y="3913631"/>
                  <a:pt x="9399412" y="3914744"/>
                </a:cubicBezTo>
                <a:cubicBezTo>
                  <a:pt x="9397199" y="3908675"/>
                  <a:pt x="9401071" y="3905539"/>
                  <a:pt x="9409646" y="3901392"/>
                </a:cubicBezTo>
                <a:close/>
                <a:moveTo>
                  <a:pt x="9458326" y="3900077"/>
                </a:moveTo>
                <a:cubicBezTo>
                  <a:pt x="9465793" y="3900684"/>
                  <a:pt x="9467453" y="3905033"/>
                  <a:pt x="9472432" y="3910900"/>
                </a:cubicBezTo>
                <a:cubicBezTo>
                  <a:pt x="9471325" y="3920510"/>
                  <a:pt x="9459708" y="3916059"/>
                  <a:pt x="9458602" y="3925668"/>
                </a:cubicBezTo>
                <a:cubicBezTo>
                  <a:pt x="9462751" y="3929512"/>
                  <a:pt x="9466347" y="3926376"/>
                  <a:pt x="9468836" y="3932749"/>
                </a:cubicBezTo>
                <a:cubicBezTo>
                  <a:pt x="9459985" y="3934772"/>
                  <a:pt x="9450858" y="3936795"/>
                  <a:pt x="9442560" y="3940942"/>
                </a:cubicBezTo>
                <a:cubicBezTo>
                  <a:pt x="9441730" y="3938818"/>
                  <a:pt x="9445602" y="3935581"/>
                  <a:pt x="9442283" y="3933963"/>
                </a:cubicBezTo>
                <a:cubicBezTo>
                  <a:pt x="9447539" y="3928197"/>
                  <a:pt x="9451411" y="3931940"/>
                  <a:pt x="9455006" y="3928804"/>
                </a:cubicBezTo>
                <a:cubicBezTo>
                  <a:pt x="9452517" y="3922330"/>
                  <a:pt x="9445049" y="3928703"/>
                  <a:pt x="9440624" y="3929714"/>
                </a:cubicBezTo>
                <a:cubicBezTo>
                  <a:pt x="9438964" y="3925365"/>
                  <a:pt x="9456113" y="3919296"/>
                  <a:pt x="9446156" y="3919093"/>
                </a:cubicBezTo>
                <a:cubicBezTo>
                  <a:pt x="9449751" y="3915958"/>
                  <a:pt x="9468836" y="3914137"/>
                  <a:pt x="9458326" y="3900077"/>
                </a:cubicBezTo>
                <a:close/>
                <a:moveTo>
                  <a:pt x="4339371" y="3898684"/>
                </a:moveTo>
                <a:cubicBezTo>
                  <a:pt x="4354306" y="3901415"/>
                  <a:pt x="4369518" y="3912744"/>
                  <a:pt x="4375050" y="3904450"/>
                </a:cubicBezTo>
                <a:cubicBezTo>
                  <a:pt x="4376986" y="3902629"/>
                  <a:pt x="4390263" y="3910114"/>
                  <a:pt x="4388327" y="3914868"/>
                </a:cubicBezTo>
                <a:cubicBezTo>
                  <a:pt x="4376986" y="3920027"/>
                  <a:pt x="4362051" y="3914363"/>
                  <a:pt x="4354584" y="3910114"/>
                </a:cubicBezTo>
                <a:cubicBezTo>
                  <a:pt x="4362051" y="3920128"/>
                  <a:pt x="4331902" y="3905967"/>
                  <a:pt x="4339371" y="3898684"/>
                </a:cubicBezTo>
                <a:close/>
                <a:moveTo>
                  <a:pt x="9481006" y="3895120"/>
                </a:moveTo>
                <a:cubicBezTo>
                  <a:pt x="9483219" y="3894615"/>
                  <a:pt x="9484325" y="3903415"/>
                  <a:pt x="9490687" y="3906551"/>
                </a:cubicBezTo>
                <a:cubicBezTo>
                  <a:pt x="9484325" y="3903415"/>
                  <a:pt x="9478240" y="3906955"/>
                  <a:pt x="9475751" y="3900684"/>
                </a:cubicBezTo>
                <a:cubicBezTo>
                  <a:pt x="9477134" y="3898155"/>
                  <a:pt x="9481836" y="3897143"/>
                  <a:pt x="9481006" y="3895120"/>
                </a:cubicBezTo>
                <a:close/>
                <a:moveTo>
                  <a:pt x="8471452" y="3889253"/>
                </a:moveTo>
                <a:cubicBezTo>
                  <a:pt x="8472005" y="3891681"/>
                  <a:pt x="8471729" y="3893300"/>
                  <a:pt x="8471176" y="3895019"/>
                </a:cubicBezTo>
                <a:cubicBezTo>
                  <a:pt x="8470346" y="3896638"/>
                  <a:pt x="8469516" y="3898357"/>
                  <a:pt x="8468963" y="3900583"/>
                </a:cubicBezTo>
                <a:cubicBezTo>
                  <a:pt x="8467580" y="3895828"/>
                  <a:pt x="8457070" y="3901695"/>
                  <a:pt x="8459006" y="3892592"/>
                </a:cubicBezTo>
                <a:cubicBezTo>
                  <a:pt x="8464814" y="3897851"/>
                  <a:pt x="8463984" y="3890771"/>
                  <a:pt x="8471452" y="3889253"/>
                </a:cubicBezTo>
                <a:close/>
                <a:moveTo>
                  <a:pt x="3333612" y="3888446"/>
                </a:moveTo>
                <a:cubicBezTo>
                  <a:pt x="3339144" y="3889053"/>
                  <a:pt x="3344953" y="3890975"/>
                  <a:pt x="3349931" y="3890368"/>
                </a:cubicBezTo>
                <a:cubicBezTo>
                  <a:pt x="3343846" y="3896639"/>
                  <a:pt x="3324208" y="3896842"/>
                  <a:pt x="3317570" y="3893706"/>
                </a:cubicBezTo>
                <a:cubicBezTo>
                  <a:pt x="3322272" y="3888446"/>
                  <a:pt x="3328081" y="3887839"/>
                  <a:pt x="3333612" y="3888446"/>
                </a:cubicBezTo>
                <a:close/>
                <a:moveTo>
                  <a:pt x="4481815" y="3886141"/>
                </a:moveTo>
                <a:cubicBezTo>
                  <a:pt x="4483474" y="3885838"/>
                  <a:pt x="4485133" y="3885939"/>
                  <a:pt x="4486793" y="3886141"/>
                </a:cubicBezTo>
                <a:cubicBezTo>
                  <a:pt x="4490388" y="3886748"/>
                  <a:pt x="4494261" y="3888164"/>
                  <a:pt x="4498133" y="3888872"/>
                </a:cubicBezTo>
                <a:cubicBezTo>
                  <a:pt x="4494538" y="3895346"/>
                  <a:pt x="4484857" y="3890086"/>
                  <a:pt x="4477390" y="3888569"/>
                </a:cubicBezTo>
                <a:cubicBezTo>
                  <a:pt x="4478772" y="3887254"/>
                  <a:pt x="4480155" y="3886546"/>
                  <a:pt x="4481815" y="3886141"/>
                </a:cubicBezTo>
                <a:close/>
                <a:moveTo>
                  <a:pt x="3387547" y="3884805"/>
                </a:moveTo>
                <a:cubicBezTo>
                  <a:pt x="3388654" y="3884602"/>
                  <a:pt x="3390037" y="3884805"/>
                  <a:pt x="3391420" y="3885310"/>
                </a:cubicBezTo>
                <a:cubicBezTo>
                  <a:pt x="3394462" y="3886120"/>
                  <a:pt x="3396952" y="3887637"/>
                  <a:pt x="3398334" y="3886625"/>
                </a:cubicBezTo>
                <a:cubicBezTo>
                  <a:pt x="3398058" y="3888952"/>
                  <a:pt x="3396952" y="3893605"/>
                  <a:pt x="3399441" y="3893807"/>
                </a:cubicBezTo>
                <a:cubicBezTo>
                  <a:pt x="3398611" y="3898460"/>
                  <a:pt x="3393909" y="3897954"/>
                  <a:pt x="3389207" y="3897449"/>
                </a:cubicBezTo>
                <a:cubicBezTo>
                  <a:pt x="3392526" y="3893099"/>
                  <a:pt x="3393632" y="3886120"/>
                  <a:pt x="3383952" y="3887435"/>
                </a:cubicBezTo>
                <a:cubicBezTo>
                  <a:pt x="3384782" y="3885715"/>
                  <a:pt x="3386164" y="3885007"/>
                  <a:pt x="3387547" y="3884805"/>
                </a:cubicBezTo>
                <a:close/>
                <a:moveTo>
                  <a:pt x="7779043" y="3884422"/>
                </a:moveTo>
                <a:cubicBezTo>
                  <a:pt x="7780980" y="3886445"/>
                  <a:pt x="7781809" y="3888164"/>
                  <a:pt x="7782086" y="3889884"/>
                </a:cubicBezTo>
                <a:cubicBezTo>
                  <a:pt x="7782363" y="3891603"/>
                  <a:pt x="7782639" y="3893323"/>
                  <a:pt x="7783469" y="3895548"/>
                </a:cubicBezTo>
                <a:cubicBezTo>
                  <a:pt x="7779597" y="3891603"/>
                  <a:pt x="7773235" y="3900201"/>
                  <a:pt x="7769639" y="3891300"/>
                </a:cubicBezTo>
                <a:cubicBezTo>
                  <a:pt x="7778214" y="3894334"/>
                  <a:pt x="7773235" y="3888164"/>
                  <a:pt x="7779043" y="3884422"/>
                </a:cubicBezTo>
                <a:close/>
                <a:moveTo>
                  <a:pt x="9511431" y="3883285"/>
                </a:moveTo>
                <a:cubicBezTo>
                  <a:pt x="9515303" y="3883589"/>
                  <a:pt x="9517792" y="3884095"/>
                  <a:pt x="9519729" y="3885511"/>
                </a:cubicBezTo>
                <a:cubicBezTo>
                  <a:pt x="9521388" y="3886826"/>
                  <a:pt x="9522218" y="3888950"/>
                  <a:pt x="9522494" y="3892389"/>
                </a:cubicBezTo>
                <a:cubicBezTo>
                  <a:pt x="9521111" y="3895019"/>
                  <a:pt x="9516409" y="3895930"/>
                  <a:pt x="9511984" y="3896941"/>
                </a:cubicBezTo>
                <a:cubicBezTo>
                  <a:pt x="9511707" y="3890063"/>
                  <a:pt x="9498154" y="3893097"/>
                  <a:pt x="9502857" y="3898964"/>
                </a:cubicBezTo>
                <a:cubicBezTo>
                  <a:pt x="9494835" y="3903111"/>
                  <a:pt x="9498154" y="3893097"/>
                  <a:pt x="9490410" y="3892490"/>
                </a:cubicBezTo>
                <a:cubicBezTo>
                  <a:pt x="9490963" y="3887736"/>
                  <a:pt x="9511707" y="3890063"/>
                  <a:pt x="9511431" y="3883285"/>
                </a:cubicBezTo>
                <a:close/>
                <a:moveTo>
                  <a:pt x="9572557" y="3881667"/>
                </a:moveTo>
                <a:cubicBezTo>
                  <a:pt x="9577536" y="3887635"/>
                  <a:pt x="9565919" y="3890164"/>
                  <a:pt x="9559834" y="3893805"/>
                </a:cubicBezTo>
                <a:cubicBezTo>
                  <a:pt x="9557345" y="3887433"/>
                  <a:pt x="9566472" y="3885309"/>
                  <a:pt x="9572557" y="3881667"/>
                </a:cubicBezTo>
                <a:close/>
                <a:moveTo>
                  <a:pt x="9472985" y="3880453"/>
                </a:moveTo>
                <a:cubicBezTo>
                  <a:pt x="9465517" y="3886725"/>
                  <a:pt x="9467176" y="3890973"/>
                  <a:pt x="9466623" y="3895626"/>
                </a:cubicBezTo>
                <a:cubicBezTo>
                  <a:pt x="9454177" y="3896132"/>
                  <a:pt x="9439517" y="3896941"/>
                  <a:pt x="9422092" y="3903111"/>
                </a:cubicBezTo>
                <a:cubicBezTo>
                  <a:pt x="9429284" y="3890063"/>
                  <a:pt x="9456113" y="3881869"/>
                  <a:pt x="9472985" y="3880453"/>
                </a:cubicBezTo>
                <a:close/>
                <a:moveTo>
                  <a:pt x="8496899" y="3878835"/>
                </a:moveTo>
                <a:cubicBezTo>
                  <a:pt x="8502154" y="3878632"/>
                  <a:pt x="8507409" y="3879846"/>
                  <a:pt x="8509345" y="3882274"/>
                </a:cubicBezTo>
                <a:cubicBezTo>
                  <a:pt x="8505749" y="3888545"/>
                  <a:pt x="8494133" y="3885005"/>
                  <a:pt x="8490260" y="3891277"/>
                </a:cubicBezTo>
                <a:cubicBezTo>
                  <a:pt x="8485558" y="3890771"/>
                  <a:pt x="8489154" y="3884499"/>
                  <a:pt x="8484452" y="3883892"/>
                </a:cubicBezTo>
                <a:cubicBezTo>
                  <a:pt x="8486112" y="3880757"/>
                  <a:pt x="8491643" y="3879138"/>
                  <a:pt x="8496899" y="3878835"/>
                </a:cubicBezTo>
                <a:close/>
                <a:moveTo>
                  <a:pt x="3472184" y="3874082"/>
                </a:moveTo>
                <a:cubicBezTo>
                  <a:pt x="3476609" y="3873475"/>
                  <a:pt x="3480758" y="3873475"/>
                  <a:pt x="3484907" y="3874184"/>
                </a:cubicBezTo>
                <a:cubicBezTo>
                  <a:pt x="3490716" y="3875195"/>
                  <a:pt x="3495971" y="3877623"/>
                  <a:pt x="3501226" y="3882276"/>
                </a:cubicBezTo>
                <a:cubicBezTo>
                  <a:pt x="3480482" y="3889154"/>
                  <a:pt x="3458631" y="3889053"/>
                  <a:pt x="3442589" y="3885007"/>
                </a:cubicBezTo>
                <a:cubicBezTo>
                  <a:pt x="3442036" y="3887232"/>
                  <a:pt x="3447291" y="3885513"/>
                  <a:pt x="3446461" y="3890064"/>
                </a:cubicBezTo>
                <a:cubicBezTo>
                  <a:pt x="3438440" y="3893807"/>
                  <a:pt x="3440100" y="3884805"/>
                  <a:pt x="3432632" y="3886221"/>
                </a:cubicBezTo>
                <a:cubicBezTo>
                  <a:pt x="3445631" y="3882478"/>
                  <a:pt x="3459184" y="3875903"/>
                  <a:pt x="3472184" y="3874082"/>
                </a:cubicBezTo>
                <a:close/>
                <a:moveTo>
                  <a:pt x="8511834" y="3868618"/>
                </a:moveTo>
                <a:cubicBezTo>
                  <a:pt x="8493856" y="3873474"/>
                  <a:pt x="8476707" y="3876104"/>
                  <a:pt x="8467857" y="3884196"/>
                </a:cubicBezTo>
                <a:cubicBezTo>
                  <a:pt x="8455410" y="3873777"/>
                  <a:pt x="8449878" y="3889051"/>
                  <a:pt x="8436325" y="3896638"/>
                </a:cubicBezTo>
                <a:cubicBezTo>
                  <a:pt x="8420836" y="3901796"/>
                  <a:pt x="8396496" y="3903617"/>
                  <a:pt x="8378241" y="3910698"/>
                </a:cubicBezTo>
                <a:cubicBezTo>
                  <a:pt x="8362199" y="3918082"/>
                  <a:pt x="8335093" y="3921825"/>
                  <a:pt x="8315732" y="3922027"/>
                </a:cubicBezTo>
                <a:cubicBezTo>
                  <a:pt x="8311030" y="3921521"/>
                  <a:pt x="8311860" y="3928399"/>
                  <a:pt x="8304392" y="3929917"/>
                </a:cubicBezTo>
                <a:cubicBezTo>
                  <a:pt x="8303009" y="3925163"/>
                  <a:pt x="8297754" y="3926882"/>
                  <a:pt x="8295541" y="3926579"/>
                </a:cubicBezTo>
                <a:cubicBezTo>
                  <a:pt x="8285307" y="3941347"/>
                  <a:pt x="8262627" y="3934266"/>
                  <a:pt x="8252393" y="3949136"/>
                </a:cubicBezTo>
                <a:cubicBezTo>
                  <a:pt x="8206963" y="3950881"/>
                  <a:pt x="8173980" y="3964347"/>
                  <a:pt x="8137457" y="3968453"/>
                </a:cubicBezTo>
                <a:lnTo>
                  <a:pt x="8112753" y="3968585"/>
                </a:lnTo>
                <a:lnTo>
                  <a:pt x="8109983" y="3971261"/>
                </a:lnTo>
                <a:cubicBezTo>
                  <a:pt x="8093734" y="3990404"/>
                  <a:pt x="8077899" y="4009749"/>
                  <a:pt x="8055357" y="4027653"/>
                </a:cubicBezTo>
                <a:cubicBezTo>
                  <a:pt x="8052314" y="4033014"/>
                  <a:pt x="8063931" y="4030486"/>
                  <a:pt x="8064208" y="4037465"/>
                </a:cubicBezTo>
                <a:lnTo>
                  <a:pt x="8054927" y="4040792"/>
                </a:lnTo>
                <a:lnTo>
                  <a:pt x="8060197" y="4044485"/>
                </a:lnTo>
                <a:cubicBezTo>
                  <a:pt x="8062514" y="4046445"/>
                  <a:pt x="8064312" y="4046647"/>
                  <a:pt x="8065695" y="4039971"/>
                </a:cubicBezTo>
                <a:cubicBezTo>
                  <a:pt x="8072333" y="4043005"/>
                  <a:pt x="8063482" y="4051097"/>
                  <a:pt x="8072886" y="4052109"/>
                </a:cubicBezTo>
                <a:cubicBezTo>
                  <a:pt x="8075375" y="4052412"/>
                  <a:pt x="8075929" y="4047962"/>
                  <a:pt x="8074269" y="4045534"/>
                </a:cubicBezTo>
                <a:cubicBezTo>
                  <a:pt x="8084503" y="4042095"/>
                  <a:pt x="8082290" y="4053120"/>
                  <a:pt x="8089758" y="4051704"/>
                </a:cubicBezTo>
                <a:cubicBezTo>
                  <a:pt x="8097779" y="4048063"/>
                  <a:pt x="8083673" y="4046545"/>
                  <a:pt x="8085056" y="4039869"/>
                </a:cubicBezTo>
                <a:cubicBezTo>
                  <a:pt x="8097226" y="4038959"/>
                  <a:pt x="8103311" y="4032789"/>
                  <a:pt x="8103034" y="4021359"/>
                </a:cubicBezTo>
                <a:cubicBezTo>
                  <a:pt x="8117694" y="4032081"/>
                  <a:pt x="8125162" y="4019234"/>
                  <a:pt x="8124885" y="4032890"/>
                </a:cubicBezTo>
                <a:cubicBezTo>
                  <a:pt x="8148395" y="4035419"/>
                  <a:pt x="8175501" y="4008816"/>
                  <a:pt x="8181586" y="4025506"/>
                </a:cubicBezTo>
                <a:cubicBezTo>
                  <a:pt x="8196245" y="4024798"/>
                  <a:pt x="8181586" y="4014076"/>
                  <a:pt x="8195692" y="4015694"/>
                </a:cubicBezTo>
                <a:cubicBezTo>
                  <a:pt x="8201500" y="4023078"/>
                  <a:pt x="8190160" y="4019538"/>
                  <a:pt x="8189330" y="4023988"/>
                </a:cubicBezTo>
                <a:cubicBezTo>
                  <a:pt x="8196522" y="4036228"/>
                  <a:pt x="8209798" y="4017211"/>
                  <a:pt x="8216160" y="4022471"/>
                </a:cubicBezTo>
                <a:cubicBezTo>
                  <a:pt x="8217543" y="4015795"/>
                  <a:pt x="8215053" y="4015492"/>
                  <a:pt x="8214500" y="4006388"/>
                </a:cubicBezTo>
                <a:cubicBezTo>
                  <a:pt x="8219202" y="4006894"/>
                  <a:pt x="8221692" y="4007096"/>
                  <a:pt x="8224457" y="4005174"/>
                </a:cubicBezTo>
                <a:cubicBezTo>
                  <a:pt x="8227776" y="4012356"/>
                  <a:pt x="8220585" y="4011648"/>
                  <a:pt x="8219755" y="4016099"/>
                </a:cubicBezTo>
                <a:cubicBezTo>
                  <a:pt x="8222521" y="4014076"/>
                  <a:pt x="8225011" y="4014379"/>
                  <a:pt x="8227223" y="4014581"/>
                </a:cubicBezTo>
                <a:cubicBezTo>
                  <a:pt x="8229989" y="4012659"/>
                  <a:pt x="8225287" y="4012154"/>
                  <a:pt x="8226117" y="4007703"/>
                </a:cubicBezTo>
                <a:cubicBezTo>
                  <a:pt x="8252116" y="4010535"/>
                  <a:pt x="8274797" y="4006287"/>
                  <a:pt x="8289733" y="3991923"/>
                </a:cubicBezTo>
                <a:cubicBezTo>
                  <a:pt x="8298584" y="3995261"/>
                  <a:pt x="8304115" y="3991215"/>
                  <a:pt x="8309647" y="3987270"/>
                </a:cubicBezTo>
                <a:cubicBezTo>
                  <a:pt x="8310200" y="3985045"/>
                  <a:pt x="8311030" y="3980695"/>
                  <a:pt x="8308817" y="3980392"/>
                </a:cubicBezTo>
                <a:cubicBezTo>
                  <a:pt x="8322094" y="3986461"/>
                  <a:pt x="8349753" y="3980291"/>
                  <a:pt x="8359433" y="3967748"/>
                </a:cubicBezTo>
                <a:cubicBezTo>
                  <a:pt x="8358050" y="3974424"/>
                  <a:pt x="8363582" y="3970580"/>
                  <a:pt x="8365242" y="3975233"/>
                </a:cubicBezTo>
                <a:cubicBezTo>
                  <a:pt x="8391794" y="3962286"/>
                  <a:pt x="8412539" y="3955508"/>
                  <a:pt x="8442687" y="3949743"/>
                </a:cubicBezTo>
                <a:cubicBezTo>
                  <a:pt x="8443517" y="3945292"/>
                  <a:pt x="8434113" y="3944179"/>
                  <a:pt x="8444070" y="3942965"/>
                </a:cubicBezTo>
                <a:cubicBezTo>
                  <a:pt x="8444346" y="3940740"/>
                  <a:pt x="8442134" y="3940437"/>
                  <a:pt x="8442410" y="3938211"/>
                </a:cubicBezTo>
                <a:cubicBezTo>
                  <a:pt x="8430794" y="3936896"/>
                  <a:pt x="8436325" y="3944382"/>
                  <a:pt x="8431347" y="3946101"/>
                </a:cubicBezTo>
                <a:cubicBezTo>
                  <a:pt x="8428857" y="3945798"/>
                  <a:pt x="8424155" y="3945393"/>
                  <a:pt x="8422219" y="3942864"/>
                </a:cubicBezTo>
                <a:cubicBezTo>
                  <a:pt x="8436602" y="3930827"/>
                  <a:pt x="8454857" y="3923746"/>
                  <a:pt x="8475601" y="3916969"/>
                </a:cubicBezTo>
                <a:cubicBezTo>
                  <a:pt x="8475048" y="3907764"/>
                  <a:pt x="8468133" y="3918385"/>
                  <a:pt x="8469793" y="3909484"/>
                </a:cubicBezTo>
                <a:cubicBezTo>
                  <a:pt x="8492473" y="3905134"/>
                  <a:pt x="8511281" y="3895828"/>
                  <a:pt x="8523728" y="3881262"/>
                </a:cubicBezTo>
                <a:cubicBezTo>
                  <a:pt x="8522621" y="3874384"/>
                  <a:pt x="8512388" y="3877722"/>
                  <a:pt x="8511834" y="3868618"/>
                </a:cubicBezTo>
                <a:close/>
                <a:moveTo>
                  <a:pt x="3215232" y="3867811"/>
                </a:moveTo>
                <a:cubicBezTo>
                  <a:pt x="3218551" y="3867507"/>
                  <a:pt x="3222147" y="3867811"/>
                  <a:pt x="3225466" y="3868216"/>
                </a:cubicBezTo>
                <a:cubicBezTo>
                  <a:pt x="3232657" y="3868924"/>
                  <a:pt x="3239572" y="3870340"/>
                  <a:pt x="3243444" y="3869632"/>
                </a:cubicBezTo>
                <a:cubicBezTo>
                  <a:pt x="3234593" y="3877825"/>
                  <a:pt x="3221317" y="3871756"/>
                  <a:pt x="3207211" y="3870239"/>
                </a:cubicBezTo>
                <a:cubicBezTo>
                  <a:pt x="3209147" y="3868721"/>
                  <a:pt x="3212189" y="3868013"/>
                  <a:pt x="3215232" y="3867811"/>
                </a:cubicBezTo>
                <a:close/>
                <a:moveTo>
                  <a:pt x="7803383" y="3865405"/>
                </a:moveTo>
                <a:cubicBezTo>
                  <a:pt x="7805596" y="3865203"/>
                  <a:pt x="7807809" y="3865405"/>
                  <a:pt x="7809468" y="3866214"/>
                </a:cubicBezTo>
                <a:cubicBezTo>
                  <a:pt x="7809745" y="3873092"/>
                  <a:pt x="7797298" y="3873598"/>
                  <a:pt x="7797575" y="3880477"/>
                </a:cubicBezTo>
                <a:cubicBezTo>
                  <a:pt x="7792873" y="3881488"/>
                  <a:pt x="7792596" y="3874610"/>
                  <a:pt x="7787894" y="3875621"/>
                </a:cubicBezTo>
                <a:cubicBezTo>
                  <a:pt x="7787618" y="3870462"/>
                  <a:pt x="7796469" y="3866012"/>
                  <a:pt x="7803383" y="3865405"/>
                </a:cubicBezTo>
                <a:close/>
                <a:moveTo>
                  <a:pt x="3384505" y="3862349"/>
                </a:moveTo>
                <a:cubicBezTo>
                  <a:pt x="3380080" y="3873475"/>
                  <a:pt x="3366250" y="3869632"/>
                  <a:pt x="3358782" y="3871048"/>
                </a:cubicBezTo>
                <a:cubicBezTo>
                  <a:pt x="3360718" y="3873577"/>
                  <a:pt x="3362654" y="3876105"/>
                  <a:pt x="3362101" y="3878331"/>
                </a:cubicBezTo>
                <a:cubicBezTo>
                  <a:pt x="3357952" y="3875600"/>
                  <a:pt x="3351591" y="3881871"/>
                  <a:pt x="3342187" y="3880758"/>
                </a:cubicBezTo>
                <a:cubicBezTo>
                  <a:pt x="3346336" y="3871958"/>
                  <a:pt x="3320059" y="3871351"/>
                  <a:pt x="3321166" y="3878432"/>
                </a:cubicBezTo>
                <a:cubicBezTo>
                  <a:pt x="3315357" y="3870846"/>
                  <a:pt x="3298762" y="3869025"/>
                  <a:pt x="3287698" y="3877117"/>
                </a:cubicBezTo>
                <a:cubicBezTo>
                  <a:pt x="3285762" y="3874588"/>
                  <a:pt x="3283826" y="3872059"/>
                  <a:pt x="3279124" y="3871554"/>
                </a:cubicBezTo>
                <a:cubicBezTo>
                  <a:pt x="3312315" y="3861337"/>
                  <a:pt x="3347442" y="3867507"/>
                  <a:pt x="3384505" y="3862349"/>
                </a:cubicBezTo>
                <a:close/>
                <a:moveTo>
                  <a:pt x="9238436" y="3859110"/>
                </a:moveTo>
                <a:cubicBezTo>
                  <a:pt x="9235117" y="3869428"/>
                  <a:pt x="9219628" y="3868113"/>
                  <a:pt x="9206075" y="3871046"/>
                </a:cubicBezTo>
                <a:cubicBezTo>
                  <a:pt x="9210224" y="3863055"/>
                  <a:pt x="9232351" y="3862853"/>
                  <a:pt x="9238436" y="3859110"/>
                </a:cubicBezTo>
                <a:close/>
                <a:moveTo>
                  <a:pt x="3746285" y="3856886"/>
                </a:moveTo>
                <a:cubicBezTo>
                  <a:pt x="3744625" y="3865990"/>
                  <a:pt x="3739370" y="3867811"/>
                  <a:pt x="3729689" y="3869025"/>
                </a:cubicBezTo>
                <a:cubicBezTo>
                  <a:pt x="3729136" y="3859618"/>
                  <a:pt x="3738817" y="3858404"/>
                  <a:pt x="3746285" y="3856886"/>
                </a:cubicBezTo>
                <a:close/>
                <a:moveTo>
                  <a:pt x="9465240" y="3856075"/>
                </a:moveTo>
                <a:cubicBezTo>
                  <a:pt x="9467453" y="3855570"/>
                  <a:pt x="9469113" y="3859818"/>
                  <a:pt x="9471049" y="3864067"/>
                </a:cubicBezTo>
                <a:cubicBezTo>
                  <a:pt x="9465517" y="3862954"/>
                  <a:pt x="9456666" y="3876711"/>
                  <a:pt x="9450858" y="3868618"/>
                </a:cubicBezTo>
                <a:cubicBezTo>
                  <a:pt x="9458879" y="3864471"/>
                  <a:pt x="9464687" y="3860830"/>
                  <a:pt x="9465240" y="3856075"/>
                </a:cubicBezTo>
                <a:close/>
                <a:moveTo>
                  <a:pt x="3469418" y="3855976"/>
                </a:moveTo>
                <a:cubicBezTo>
                  <a:pt x="3452823" y="3867811"/>
                  <a:pt x="3425164" y="3862450"/>
                  <a:pt x="3400547" y="3866496"/>
                </a:cubicBezTo>
                <a:cubicBezTo>
                  <a:pt x="3415206" y="3852335"/>
                  <a:pt x="3442036" y="3862045"/>
                  <a:pt x="3469418" y="3855976"/>
                </a:cubicBezTo>
                <a:close/>
                <a:moveTo>
                  <a:pt x="4916537" y="3851525"/>
                </a:moveTo>
                <a:cubicBezTo>
                  <a:pt x="4918473" y="3853447"/>
                  <a:pt x="4919304" y="3855066"/>
                  <a:pt x="4919580" y="3856482"/>
                </a:cubicBezTo>
                <a:cubicBezTo>
                  <a:pt x="4919856" y="3857898"/>
                  <a:pt x="4919580" y="3859112"/>
                  <a:pt x="4919856" y="3860225"/>
                </a:cubicBezTo>
                <a:cubicBezTo>
                  <a:pt x="4915432" y="3861236"/>
                  <a:pt x="4912389" y="3859516"/>
                  <a:pt x="4910453" y="3855268"/>
                </a:cubicBezTo>
                <a:cubicBezTo>
                  <a:pt x="4912941" y="3854762"/>
                  <a:pt x="4914325" y="3852031"/>
                  <a:pt x="4916537" y="3851525"/>
                </a:cubicBezTo>
                <a:close/>
                <a:moveTo>
                  <a:pt x="4979676" y="3849726"/>
                </a:moveTo>
                <a:cubicBezTo>
                  <a:pt x="4982166" y="3849827"/>
                  <a:pt x="4984655" y="3850232"/>
                  <a:pt x="4987145" y="3851142"/>
                </a:cubicBezTo>
                <a:cubicBezTo>
                  <a:pt x="4991846" y="3852761"/>
                  <a:pt x="4995718" y="3855694"/>
                  <a:pt x="4995996" y="3858628"/>
                </a:cubicBezTo>
                <a:cubicBezTo>
                  <a:pt x="4988527" y="3862775"/>
                  <a:pt x="4980782" y="3855593"/>
                  <a:pt x="4973315" y="3859740"/>
                </a:cubicBezTo>
                <a:cubicBezTo>
                  <a:pt x="4969443" y="3857616"/>
                  <a:pt x="4976633" y="3853368"/>
                  <a:pt x="4972761" y="3851244"/>
                </a:cubicBezTo>
                <a:cubicBezTo>
                  <a:pt x="4974697" y="3850131"/>
                  <a:pt x="4977187" y="3849726"/>
                  <a:pt x="4979676" y="3849726"/>
                </a:cubicBezTo>
                <a:close/>
                <a:moveTo>
                  <a:pt x="4945102" y="3849524"/>
                </a:moveTo>
                <a:cubicBezTo>
                  <a:pt x="4946762" y="3856402"/>
                  <a:pt x="4950634" y="3849827"/>
                  <a:pt x="4958103" y="3851142"/>
                </a:cubicBezTo>
                <a:cubicBezTo>
                  <a:pt x="4956996" y="3853469"/>
                  <a:pt x="4955613" y="3854784"/>
                  <a:pt x="4953953" y="3856099"/>
                </a:cubicBezTo>
                <a:cubicBezTo>
                  <a:pt x="4952295" y="3857313"/>
                  <a:pt x="4950634" y="3858527"/>
                  <a:pt x="4948698" y="3860347"/>
                </a:cubicBezTo>
                <a:lnTo>
                  <a:pt x="4946909" y="3858356"/>
                </a:lnTo>
                <a:lnTo>
                  <a:pt x="4946824" y="3858492"/>
                </a:lnTo>
                <a:cubicBezTo>
                  <a:pt x="4943919" y="3859415"/>
                  <a:pt x="4940877" y="3860073"/>
                  <a:pt x="4942813" y="3861944"/>
                </a:cubicBezTo>
                <a:cubicBezTo>
                  <a:pt x="4940600" y="3862450"/>
                  <a:pt x="4937281" y="3860831"/>
                  <a:pt x="4936452" y="3858606"/>
                </a:cubicBezTo>
                <a:cubicBezTo>
                  <a:pt x="4936728" y="3856229"/>
                  <a:pt x="4938873" y="3855192"/>
                  <a:pt x="4941569" y="3854623"/>
                </a:cubicBezTo>
                <a:lnTo>
                  <a:pt x="4944826" y="3854169"/>
                </a:lnTo>
                <a:close/>
                <a:moveTo>
                  <a:pt x="8460596" y="3846441"/>
                </a:moveTo>
                <a:cubicBezTo>
                  <a:pt x="8454926" y="3846365"/>
                  <a:pt x="8448634" y="3847933"/>
                  <a:pt x="8446283" y="3847680"/>
                </a:cubicBezTo>
                <a:cubicBezTo>
                  <a:pt x="8435772" y="3851119"/>
                  <a:pt x="8418624" y="3865179"/>
                  <a:pt x="8400645" y="3870035"/>
                </a:cubicBezTo>
                <a:cubicBezTo>
                  <a:pt x="8377688" y="3876609"/>
                  <a:pt x="8357221" y="3883387"/>
                  <a:pt x="8341732" y="3888444"/>
                </a:cubicBezTo>
                <a:cubicBezTo>
                  <a:pt x="8328455" y="3893906"/>
                  <a:pt x="8312136" y="3892086"/>
                  <a:pt x="8298860" y="3897447"/>
                </a:cubicBezTo>
                <a:cubicBezTo>
                  <a:pt x="8268435" y="3905438"/>
                  <a:pt x="8241883" y="3918385"/>
                  <a:pt x="8213947" y="3924455"/>
                </a:cubicBezTo>
                <a:lnTo>
                  <a:pt x="8149706" y="3932885"/>
                </a:lnTo>
                <a:lnTo>
                  <a:pt x="8134588" y="3947490"/>
                </a:lnTo>
                <a:lnTo>
                  <a:pt x="8149778" y="3944685"/>
                </a:lnTo>
                <a:cubicBezTo>
                  <a:pt x="8150608" y="3940234"/>
                  <a:pt x="8145629" y="3941853"/>
                  <a:pt x="8143140" y="3941650"/>
                </a:cubicBezTo>
                <a:cubicBezTo>
                  <a:pt x="8164991" y="3928096"/>
                  <a:pt x="8204543" y="3948326"/>
                  <a:pt x="8211734" y="3935480"/>
                </a:cubicBezTo>
                <a:cubicBezTo>
                  <a:pt x="8234138" y="3944786"/>
                  <a:pt x="8274244" y="3912923"/>
                  <a:pt x="8290839" y="3926073"/>
                </a:cubicBezTo>
                <a:cubicBezTo>
                  <a:pt x="8306328" y="3921015"/>
                  <a:pt x="8306605" y="3918790"/>
                  <a:pt x="8321817" y="3915857"/>
                </a:cubicBezTo>
                <a:cubicBezTo>
                  <a:pt x="8326519" y="3916362"/>
                  <a:pt x="8317945" y="3910900"/>
                  <a:pt x="8315456" y="3910597"/>
                </a:cubicBezTo>
                <a:cubicBezTo>
                  <a:pt x="8370220" y="3889355"/>
                  <a:pt x="8416687" y="3874081"/>
                  <a:pt x="8471176" y="3855064"/>
                </a:cubicBezTo>
                <a:cubicBezTo>
                  <a:pt x="8471314" y="3848236"/>
                  <a:pt x="8466266" y="3846517"/>
                  <a:pt x="8460596" y="3846441"/>
                </a:cubicBezTo>
                <a:close/>
                <a:moveTo>
                  <a:pt x="4437560" y="3846287"/>
                </a:moveTo>
                <a:cubicBezTo>
                  <a:pt x="4443091" y="3843758"/>
                  <a:pt x="4452773" y="3857515"/>
                  <a:pt x="4459963" y="3853267"/>
                </a:cubicBezTo>
                <a:cubicBezTo>
                  <a:pt x="4461899" y="3855694"/>
                  <a:pt x="4463006" y="3857717"/>
                  <a:pt x="4462453" y="3859538"/>
                </a:cubicBezTo>
                <a:cubicBezTo>
                  <a:pt x="4462176" y="3861460"/>
                  <a:pt x="4460240" y="3863180"/>
                  <a:pt x="4456645" y="3865304"/>
                </a:cubicBezTo>
                <a:cubicBezTo>
                  <a:pt x="4453049" y="3866012"/>
                  <a:pt x="4449176" y="3863786"/>
                  <a:pt x="4445581" y="3861662"/>
                </a:cubicBezTo>
                <a:cubicBezTo>
                  <a:pt x="4452773" y="3857515"/>
                  <a:pt x="4441432" y="3851142"/>
                  <a:pt x="4438114" y="3857515"/>
                </a:cubicBezTo>
                <a:cubicBezTo>
                  <a:pt x="4428709" y="3855087"/>
                  <a:pt x="4441432" y="3851142"/>
                  <a:pt x="4437560" y="3846287"/>
                </a:cubicBezTo>
                <a:close/>
                <a:moveTo>
                  <a:pt x="9346860" y="3844443"/>
                </a:moveTo>
                <a:cubicBezTo>
                  <a:pt x="9344923" y="3852131"/>
                  <a:pt x="9327222" y="3858402"/>
                  <a:pt x="9319477" y="3857694"/>
                </a:cubicBezTo>
                <a:cubicBezTo>
                  <a:pt x="9321967" y="3845050"/>
                  <a:pt x="9338562" y="3848691"/>
                  <a:pt x="9346860" y="3844443"/>
                </a:cubicBezTo>
                <a:close/>
                <a:moveTo>
                  <a:pt x="7446029" y="3842747"/>
                </a:moveTo>
                <a:cubicBezTo>
                  <a:pt x="7444370" y="3844871"/>
                  <a:pt x="7442710" y="3846995"/>
                  <a:pt x="7441880" y="3849423"/>
                </a:cubicBezTo>
                <a:lnTo>
                  <a:pt x="7449072" y="3843455"/>
                </a:lnTo>
                <a:close/>
                <a:moveTo>
                  <a:pt x="4762000" y="3842443"/>
                </a:moveTo>
                <a:cubicBezTo>
                  <a:pt x="4766148" y="3842140"/>
                  <a:pt x="4770297" y="3843151"/>
                  <a:pt x="4774170" y="3843859"/>
                </a:cubicBezTo>
                <a:cubicBezTo>
                  <a:pt x="4766425" y="3851142"/>
                  <a:pt x="4760893" y="3850839"/>
                  <a:pt x="4751489" y="3848512"/>
                </a:cubicBezTo>
                <a:cubicBezTo>
                  <a:pt x="4754255" y="3844264"/>
                  <a:pt x="4758127" y="3842747"/>
                  <a:pt x="4762000" y="3842443"/>
                </a:cubicBezTo>
                <a:close/>
                <a:moveTo>
                  <a:pt x="9496495" y="3839689"/>
                </a:moveTo>
                <a:cubicBezTo>
                  <a:pt x="9498431" y="3839891"/>
                  <a:pt x="9499537" y="3840498"/>
                  <a:pt x="9499814" y="3841206"/>
                </a:cubicBezTo>
                <a:cubicBezTo>
                  <a:pt x="9500920" y="3843330"/>
                  <a:pt x="9497048" y="3847275"/>
                  <a:pt x="9497878" y="3848894"/>
                </a:cubicBezTo>
                <a:cubicBezTo>
                  <a:pt x="9493452" y="3849804"/>
                  <a:pt x="9491516" y="3845556"/>
                  <a:pt x="9489857" y="3841307"/>
                </a:cubicBezTo>
                <a:cubicBezTo>
                  <a:pt x="9492070" y="3840801"/>
                  <a:pt x="9498154" y="3844038"/>
                  <a:pt x="9496495" y="3839689"/>
                </a:cubicBezTo>
                <a:close/>
                <a:moveTo>
                  <a:pt x="8983144" y="3832608"/>
                </a:moveTo>
                <a:cubicBezTo>
                  <a:pt x="8985633" y="3832204"/>
                  <a:pt x="8987569" y="3832709"/>
                  <a:pt x="8988122" y="3833620"/>
                </a:cubicBezTo>
                <a:cubicBezTo>
                  <a:pt x="8989782" y="3835238"/>
                  <a:pt x="8987293" y="3838172"/>
                  <a:pt x="8975399" y="3837261"/>
                </a:cubicBezTo>
                <a:cubicBezTo>
                  <a:pt x="8978165" y="3834429"/>
                  <a:pt x="8980931" y="3833013"/>
                  <a:pt x="8983144" y="3832608"/>
                </a:cubicBezTo>
                <a:close/>
                <a:moveTo>
                  <a:pt x="7462624" y="3832126"/>
                </a:moveTo>
                <a:lnTo>
                  <a:pt x="7454050" y="3835666"/>
                </a:lnTo>
                <a:lnTo>
                  <a:pt x="7456263" y="3837386"/>
                </a:lnTo>
                <a:close/>
                <a:moveTo>
                  <a:pt x="8155774" y="3826757"/>
                </a:moveTo>
                <a:lnTo>
                  <a:pt x="8130451" y="3829068"/>
                </a:lnTo>
                <a:cubicBezTo>
                  <a:pt x="8118091" y="3829852"/>
                  <a:pt x="8105636" y="3830699"/>
                  <a:pt x="8093574" y="3832760"/>
                </a:cubicBezTo>
                <a:lnTo>
                  <a:pt x="8075211" y="3838599"/>
                </a:lnTo>
                <a:lnTo>
                  <a:pt x="8065867" y="3849220"/>
                </a:lnTo>
                <a:lnTo>
                  <a:pt x="8056750" y="3843368"/>
                </a:lnTo>
                <a:lnTo>
                  <a:pt x="8053152" y="3842796"/>
                </a:lnTo>
                <a:lnTo>
                  <a:pt x="8055115" y="3848120"/>
                </a:lnTo>
                <a:cubicBezTo>
                  <a:pt x="8057984" y="3849828"/>
                  <a:pt x="8061718" y="3851345"/>
                  <a:pt x="8063101" y="3854582"/>
                </a:cubicBezTo>
                <a:lnTo>
                  <a:pt x="8061763" y="3855334"/>
                </a:lnTo>
                <a:lnTo>
                  <a:pt x="8072506" y="3853977"/>
                </a:lnTo>
                <a:cubicBezTo>
                  <a:pt x="8097433" y="3851322"/>
                  <a:pt x="8122119" y="3848338"/>
                  <a:pt x="8144799" y="3837160"/>
                </a:cubicBezTo>
                <a:lnTo>
                  <a:pt x="8148884" y="3836556"/>
                </a:lnTo>
                <a:close/>
                <a:moveTo>
                  <a:pt x="9388625" y="3825932"/>
                </a:moveTo>
                <a:cubicBezTo>
                  <a:pt x="9389454" y="3828157"/>
                  <a:pt x="9391391" y="3832608"/>
                  <a:pt x="9393603" y="3832102"/>
                </a:cubicBezTo>
                <a:cubicBezTo>
                  <a:pt x="9395263" y="3836553"/>
                  <a:pt x="9390837" y="3837565"/>
                  <a:pt x="9386412" y="3838576"/>
                </a:cubicBezTo>
                <a:cubicBezTo>
                  <a:pt x="9386965" y="3833620"/>
                  <a:pt x="9384199" y="3826944"/>
                  <a:pt x="9375902" y="3831192"/>
                </a:cubicBezTo>
                <a:cubicBezTo>
                  <a:pt x="9375625" y="3824010"/>
                  <a:pt x="9387242" y="3828663"/>
                  <a:pt x="9388625" y="3825932"/>
                </a:cubicBezTo>
                <a:close/>
                <a:moveTo>
                  <a:pt x="4492878" y="3815537"/>
                </a:moveTo>
                <a:cubicBezTo>
                  <a:pt x="4494814" y="3816548"/>
                  <a:pt x="4494814" y="3822213"/>
                  <a:pt x="4498410" y="3818672"/>
                </a:cubicBezTo>
                <a:cubicBezTo>
                  <a:pt x="4499517" y="3819886"/>
                  <a:pt x="4499517" y="3820797"/>
                  <a:pt x="4498963" y="3821505"/>
                </a:cubicBezTo>
                <a:cubicBezTo>
                  <a:pt x="4497303" y="3823427"/>
                  <a:pt x="4490666" y="3823427"/>
                  <a:pt x="4489282" y="3824742"/>
                </a:cubicBezTo>
                <a:cubicBezTo>
                  <a:pt x="4485687" y="3822719"/>
                  <a:pt x="4489282" y="3819077"/>
                  <a:pt x="4492878" y="3815537"/>
                </a:cubicBezTo>
                <a:close/>
                <a:moveTo>
                  <a:pt x="5049246" y="3811873"/>
                </a:moveTo>
                <a:lnTo>
                  <a:pt x="5032471" y="3812490"/>
                </a:lnTo>
                <a:lnTo>
                  <a:pt x="5005288" y="3814198"/>
                </a:lnTo>
                <a:lnTo>
                  <a:pt x="5003001" y="3815087"/>
                </a:lnTo>
                <a:lnTo>
                  <a:pt x="5042531" y="3819115"/>
                </a:lnTo>
                <a:lnTo>
                  <a:pt x="5047368" y="3818733"/>
                </a:lnTo>
                <a:lnTo>
                  <a:pt x="5049577" y="3817235"/>
                </a:lnTo>
                <a:close/>
                <a:moveTo>
                  <a:pt x="7788828" y="3811568"/>
                </a:moveTo>
                <a:cubicBezTo>
                  <a:pt x="7787030" y="3814223"/>
                  <a:pt x="7785301" y="3815172"/>
                  <a:pt x="7783564" y="3815120"/>
                </a:cubicBezTo>
                <a:lnTo>
                  <a:pt x="7783040" y="3814878"/>
                </a:lnTo>
                <a:lnTo>
                  <a:pt x="7781117" y="3817041"/>
                </a:lnTo>
                <a:cubicBezTo>
                  <a:pt x="7773649" y="3823983"/>
                  <a:pt x="7766458" y="3830861"/>
                  <a:pt x="7763278" y="3838599"/>
                </a:cubicBezTo>
                <a:lnTo>
                  <a:pt x="7793784" y="3815389"/>
                </a:lnTo>
                <a:close/>
                <a:moveTo>
                  <a:pt x="8114375" y="3808837"/>
                </a:moveTo>
                <a:cubicBezTo>
                  <a:pt x="8110779" y="3808433"/>
                  <a:pt x="8109880" y="3810026"/>
                  <a:pt x="8108393" y="3811556"/>
                </a:cubicBezTo>
                <a:lnTo>
                  <a:pt x="8105264" y="3812326"/>
                </a:lnTo>
                <a:lnTo>
                  <a:pt x="8103760" y="3819785"/>
                </a:lnTo>
                <a:lnTo>
                  <a:pt x="8100193" y="3821048"/>
                </a:lnTo>
                <a:lnTo>
                  <a:pt x="8104612" y="3824862"/>
                </a:lnTo>
                <a:cubicBezTo>
                  <a:pt x="8110226" y="3824762"/>
                  <a:pt x="8118524" y="3815033"/>
                  <a:pt x="8126821" y="3819357"/>
                </a:cubicBezTo>
                <a:cubicBezTo>
                  <a:pt x="8125715" y="3812378"/>
                  <a:pt x="8118523" y="3811568"/>
                  <a:pt x="8114375" y="3808837"/>
                </a:cubicBezTo>
                <a:close/>
                <a:moveTo>
                  <a:pt x="9362349" y="3808129"/>
                </a:moveTo>
                <a:cubicBezTo>
                  <a:pt x="9364285" y="3819661"/>
                  <a:pt x="9349626" y="3820470"/>
                  <a:pt x="9343817" y="3824212"/>
                </a:cubicBezTo>
                <a:cubicBezTo>
                  <a:pt x="9346860" y="3825831"/>
                  <a:pt x="9350179" y="3827551"/>
                  <a:pt x="9351008" y="3829776"/>
                </a:cubicBezTo>
                <a:cubicBezTo>
                  <a:pt x="9345477" y="3828562"/>
                  <a:pt x="9343541" y="3836250"/>
                  <a:pt x="9334413" y="3838273"/>
                </a:cubicBezTo>
                <a:cubicBezTo>
                  <a:pt x="9333307" y="3828967"/>
                  <a:pt x="9308967" y="3836755"/>
                  <a:pt x="9313945" y="3842825"/>
                </a:cubicBezTo>
                <a:cubicBezTo>
                  <a:pt x="9304265" y="3837767"/>
                  <a:pt x="9288499" y="3841206"/>
                  <a:pt x="9282691" y="3852029"/>
                </a:cubicBezTo>
                <a:cubicBezTo>
                  <a:pt x="9279648" y="3850310"/>
                  <a:pt x="9276329" y="3848691"/>
                  <a:pt x="9271904" y="3849703"/>
                </a:cubicBezTo>
                <a:cubicBezTo>
                  <a:pt x="9296244" y="3829978"/>
                  <a:pt x="9331371" y="3824516"/>
                  <a:pt x="9362349" y="3808129"/>
                </a:cubicBezTo>
                <a:close/>
                <a:moveTo>
                  <a:pt x="4946616" y="3801733"/>
                </a:moveTo>
                <a:lnTo>
                  <a:pt x="4945741" y="3803612"/>
                </a:lnTo>
                <a:lnTo>
                  <a:pt x="4949528" y="3804005"/>
                </a:lnTo>
                <a:lnTo>
                  <a:pt x="4950130" y="3803792"/>
                </a:lnTo>
                <a:close/>
                <a:moveTo>
                  <a:pt x="4368136" y="3801173"/>
                </a:moveTo>
                <a:cubicBezTo>
                  <a:pt x="4371455" y="3800971"/>
                  <a:pt x="4375327" y="3801881"/>
                  <a:pt x="4380029" y="3803196"/>
                </a:cubicBezTo>
                <a:cubicBezTo>
                  <a:pt x="4378369" y="3804916"/>
                  <a:pt x="4376433" y="3803803"/>
                  <a:pt x="4372561" y="3804410"/>
                </a:cubicBezTo>
                <a:cubicBezTo>
                  <a:pt x="4372839" y="3807141"/>
                  <a:pt x="4372839" y="3807141"/>
                  <a:pt x="4371455" y="3811693"/>
                </a:cubicBezTo>
                <a:cubicBezTo>
                  <a:pt x="4371178" y="3808861"/>
                  <a:pt x="4369242" y="3807748"/>
                  <a:pt x="4368965" y="3804916"/>
                </a:cubicBezTo>
                <a:cubicBezTo>
                  <a:pt x="4367029" y="3803904"/>
                  <a:pt x="4363710" y="3807141"/>
                  <a:pt x="4359563" y="3804916"/>
                </a:cubicBezTo>
                <a:cubicBezTo>
                  <a:pt x="4362327" y="3802387"/>
                  <a:pt x="4365093" y="3801375"/>
                  <a:pt x="4368136" y="3801173"/>
                </a:cubicBezTo>
                <a:close/>
                <a:moveTo>
                  <a:pt x="5040449" y="3800545"/>
                </a:moveTo>
                <a:lnTo>
                  <a:pt x="5030357" y="3804464"/>
                </a:lnTo>
                <a:lnTo>
                  <a:pt x="5038085" y="3804764"/>
                </a:lnTo>
                <a:lnTo>
                  <a:pt x="5048884" y="3807090"/>
                </a:lnTo>
                <a:close/>
                <a:moveTo>
                  <a:pt x="3912515" y="3797813"/>
                </a:moveTo>
                <a:cubicBezTo>
                  <a:pt x="3913068" y="3800241"/>
                  <a:pt x="3912792" y="3801860"/>
                  <a:pt x="3912239" y="3803579"/>
                </a:cubicBezTo>
                <a:cubicBezTo>
                  <a:pt x="3911409" y="3805198"/>
                  <a:pt x="3910579" y="3806917"/>
                  <a:pt x="3910026" y="3809143"/>
                </a:cubicBezTo>
                <a:cubicBezTo>
                  <a:pt x="3908643" y="3804388"/>
                  <a:pt x="3898133" y="3810255"/>
                  <a:pt x="3900069" y="3801152"/>
                </a:cubicBezTo>
                <a:cubicBezTo>
                  <a:pt x="3905877" y="3806411"/>
                  <a:pt x="3905047" y="3799331"/>
                  <a:pt x="3912515" y="3797813"/>
                </a:cubicBezTo>
                <a:close/>
                <a:moveTo>
                  <a:pt x="5013621" y="3790227"/>
                </a:moveTo>
                <a:cubicBezTo>
                  <a:pt x="5018599" y="3796195"/>
                  <a:pt x="5006982" y="3798724"/>
                  <a:pt x="5000897" y="3802365"/>
                </a:cubicBezTo>
                <a:cubicBezTo>
                  <a:pt x="4998409" y="3795993"/>
                  <a:pt x="5007535" y="3793869"/>
                  <a:pt x="5013621" y="3790227"/>
                </a:cubicBezTo>
                <a:close/>
                <a:moveTo>
                  <a:pt x="5402583" y="3787720"/>
                </a:moveTo>
                <a:lnTo>
                  <a:pt x="5327355" y="3797468"/>
                </a:lnTo>
                <a:lnTo>
                  <a:pt x="5325337" y="3798623"/>
                </a:lnTo>
                <a:lnTo>
                  <a:pt x="5316630" y="3805216"/>
                </a:lnTo>
                <a:lnTo>
                  <a:pt x="5337308" y="3801881"/>
                </a:lnTo>
                <a:cubicBezTo>
                  <a:pt x="5369115" y="3805725"/>
                  <a:pt x="5398986" y="3794194"/>
                  <a:pt x="5430794" y="3792373"/>
                </a:cubicBezTo>
                <a:cubicBezTo>
                  <a:pt x="5424986" y="3780538"/>
                  <a:pt x="5406731" y="3798442"/>
                  <a:pt x="5402583" y="3787720"/>
                </a:cubicBezTo>
                <a:close/>
                <a:moveTo>
                  <a:pt x="3937962" y="3787395"/>
                </a:moveTo>
                <a:cubicBezTo>
                  <a:pt x="3943217" y="3787192"/>
                  <a:pt x="3948472" y="3788406"/>
                  <a:pt x="3950408" y="3790834"/>
                </a:cubicBezTo>
                <a:cubicBezTo>
                  <a:pt x="3946812" y="3797105"/>
                  <a:pt x="3935196" y="3793565"/>
                  <a:pt x="3931323" y="3799837"/>
                </a:cubicBezTo>
                <a:cubicBezTo>
                  <a:pt x="3926621" y="3799331"/>
                  <a:pt x="3930217" y="3793059"/>
                  <a:pt x="3925515" y="3792452"/>
                </a:cubicBezTo>
                <a:cubicBezTo>
                  <a:pt x="3927175" y="3789317"/>
                  <a:pt x="3932706" y="3787698"/>
                  <a:pt x="3937962" y="3787395"/>
                </a:cubicBezTo>
                <a:close/>
                <a:moveTo>
                  <a:pt x="9469113" y="3787292"/>
                </a:moveTo>
                <a:cubicBezTo>
                  <a:pt x="9472155" y="3787595"/>
                  <a:pt x="9475474" y="3788405"/>
                  <a:pt x="9479346" y="3789720"/>
                </a:cubicBezTo>
                <a:cubicBezTo>
                  <a:pt x="9464411" y="3802465"/>
                  <a:pt x="9444773" y="3809242"/>
                  <a:pt x="9427624" y="3810557"/>
                </a:cubicBezTo>
                <a:cubicBezTo>
                  <a:pt x="9428454" y="3812782"/>
                  <a:pt x="9432326" y="3809545"/>
                  <a:pt x="9433986" y="3813996"/>
                </a:cubicBezTo>
                <a:cubicBezTo>
                  <a:pt x="9429007" y="3819863"/>
                  <a:pt x="9425411" y="3811063"/>
                  <a:pt x="9419326" y="3814704"/>
                </a:cubicBezTo>
                <a:cubicBezTo>
                  <a:pt x="9432326" y="3804791"/>
                  <a:pt x="9443113" y="3789821"/>
                  <a:pt x="9459985" y="3787393"/>
                </a:cubicBezTo>
                <a:cubicBezTo>
                  <a:pt x="9462751" y="3786887"/>
                  <a:pt x="9465793" y="3786887"/>
                  <a:pt x="9469113" y="3787292"/>
                </a:cubicBezTo>
                <a:close/>
                <a:moveTo>
                  <a:pt x="7380201" y="3786911"/>
                </a:moveTo>
                <a:lnTo>
                  <a:pt x="7378818" y="3788731"/>
                </a:lnTo>
                <a:cubicBezTo>
                  <a:pt x="7371626" y="3795913"/>
                  <a:pt x="7363605" y="3802387"/>
                  <a:pt x="7354201" y="3807546"/>
                </a:cubicBezTo>
                <a:lnTo>
                  <a:pt x="7343414" y="3820493"/>
                </a:lnTo>
                <a:lnTo>
                  <a:pt x="7341478" y="3824640"/>
                </a:lnTo>
                <a:lnTo>
                  <a:pt x="7338989" y="3825854"/>
                </a:lnTo>
                <a:lnTo>
                  <a:pt x="7334010" y="3831822"/>
                </a:lnTo>
                <a:cubicBezTo>
                  <a:pt x="7326265" y="3839206"/>
                  <a:pt x="7318521" y="3846894"/>
                  <a:pt x="7315202" y="3857920"/>
                </a:cubicBezTo>
                <a:cubicBezTo>
                  <a:pt x="7297500" y="3862775"/>
                  <a:pt x="7288649" y="3882297"/>
                  <a:pt x="7270947" y="3898482"/>
                </a:cubicBezTo>
                <a:cubicBezTo>
                  <a:pt x="7259331" y="3908597"/>
                  <a:pt x="7239693" y="3911025"/>
                  <a:pt x="7240799" y="3929333"/>
                </a:cubicBezTo>
                <a:cubicBezTo>
                  <a:pt x="7220608" y="3933885"/>
                  <a:pt x="7213693" y="3944506"/>
                  <a:pt x="7208438" y="3957555"/>
                </a:cubicBezTo>
                <a:cubicBezTo>
                  <a:pt x="7184098" y="3970806"/>
                  <a:pt x="7162524" y="3986585"/>
                  <a:pt x="7141227" y="4002669"/>
                </a:cubicBezTo>
                <a:lnTo>
                  <a:pt x="7122142" y="4016729"/>
                </a:lnTo>
                <a:lnTo>
                  <a:pt x="7124355" y="4015920"/>
                </a:lnTo>
                <a:cubicBezTo>
                  <a:pt x="7134312" y="4012986"/>
                  <a:pt x="7143993" y="4011064"/>
                  <a:pt x="7153950" y="4010660"/>
                </a:cubicBezTo>
                <a:cubicBezTo>
                  <a:pt x="7159758" y="4007018"/>
                  <a:pt x="7161141" y="4004287"/>
                  <a:pt x="7165014" y="4001151"/>
                </a:cubicBezTo>
                <a:cubicBezTo>
                  <a:pt x="7179120" y="3999128"/>
                  <a:pt x="7192119" y="3995285"/>
                  <a:pt x="7205119" y="3990126"/>
                </a:cubicBezTo>
                <a:lnTo>
                  <a:pt x="7230842" y="3977785"/>
                </a:lnTo>
                <a:lnTo>
                  <a:pt x="7247161" y="3964433"/>
                </a:lnTo>
                <a:cubicBezTo>
                  <a:pt x="7269011" y="3947743"/>
                  <a:pt x="7290862" y="3931356"/>
                  <a:pt x="7309670" y="3909608"/>
                </a:cubicBezTo>
                <a:cubicBezTo>
                  <a:pt x="7319074" y="3910620"/>
                  <a:pt x="7324053" y="3897571"/>
                  <a:pt x="7333180" y="3900808"/>
                </a:cubicBezTo>
                <a:cubicBezTo>
                  <a:pt x="7334563" y="3894132"/>
                  <a:pt x="7332627" y="3891603"/>
                  <a:pt x="7325159" y="3893121"/>
                </a:cubicBezTo>
                <a:cubicBezTo>
                  <a:pt x="7332350" y="3880274"/>
                  <a:pt x="7349776" y="3877644"/>
                  <a:pt x="7361392" y="3867529"/>
                </a:cubicBezTo>
                <a:cubicBezTo>
                  <a:pt x="7352818" y="3862067"/>
                  <a:pt x="7365265" y="3861156"/>
                  <a:pt x="7362222" y="3851648"/>
                </a:cubicBezTo>
                <a:cubicBezTo>
                  <a:pt x="7364711" y="3851952"/>
                  <a:pt x="7366924" y="3852154"/>
                  <a:pt x="7369690" y="3850232"/>
                </a:cubicBezTo>
                <a:lnTo>
                  <a:pt x="7398732" y="3814424"/>
                </a:lnTo>
                <a:lnTo>
                  <a:pt x="7388222" y="3820392"/>
                </a:lnTo>
                <a:cubicBezTo>
                  <a:pt x="7386562" y="3816144"/>
                  <a:pt x="7385179" y="3818774"/>
                  <a:pt x="7381030" y="3814930"/>
                </a:cubicBezTo>
                <a:cubicBezTo>
                  <a:pt x="7382966" y="3807445"/>
                  <a:pt x="7384903" y="3799959"/>
                  <a:pt x="7400115" y="3794295"/>
                </a:cubicBezTo>
                <a:cubicBezTo>
                  <a:pt x="7403987" y="3791058"/>
                  <a:pt x="7394860" y="3793182"/>
                  <a:pt x="7397626" y="3787821"/>
                </a:cubicBezTo>
                <a:cubicBezTo>
                  <a:pt x="7391541" y="3788023"/>
                  <a:pt x="7388775" y="3789136"/>
                  <a:pt x="7386562" y="3789439"/>
                </a:cubicBezTo>
                <a:close/>
                <a:moveTo>
                  <a:pt x="9435645" y="3775760"/>
                </a:moveTo>
                <a:cubicBezTo>
                  <a:pt x="9427071" y="3791641"/>
                  <a:pt x="9399135" y="3795485"/>
                  <a:pt x="9378944" y="3807017"/>
                </a:cubicBezTo>
                <a:cubicBezTo>
                  <a:pt x="9384199" y="3789416"/>
                  <a:pt x="9414071" y="3789821"/>
                  <a:pt x="9435645" y="3775760"/>
                </a:cubicBezTo>
                <a:close/>
                <a:moveTo>
                  <a:pt x="5363780" y="3774817"/>
                </a:moveTo>
                <a:lnTo>
                  <a:pt x="5352967" y="3782364"/>
                </a:lnTo>
                <a:lnTo>
                  <a:pt x="5357498" y="3782156"/>
                </a:lnTo>
                <a:cubicBezTo>
                  <a:pt x="5361094" y="3778515"/>
                  <a:pt x="5363030" y="3773862"/>
                  <a:pt x="5364689" y="3774975"/>
                </a:cubicBezTo>
                <a:close/>
                <a:moveTo>
                  <a:pt x="3613521" y="3773840"/>
                </a:moveTo>
                <a:cubicBezTo>
                  <a:pt x="3614351" y="3773739"/>
                  <a:pt x="3614904" y="3774245"/>
                  <a:pt x="3615734" y="3774852"/>
                </a:cubicBezTo>
                <a:cubicBezTo>
                  <a:pt x="3617394" y="3776167"/>
                  <a:pt x="3619330" y="3778089"/>
                  <a:pt x="3623202" y="3777381"/>
                </a:cubicBezTo>
                <a:cubicBezTo>
                  <a:pt x="3620436" y="3779303"/>
                  <a:pt x="3617947" y="3778999"/>
                  <a:pt x="3617117" y="3783349"/>
                </a:cubicBezTo>
                <a:cubicBezTo>
                  <a:pt x="3615181" y="3780921"/>
                  <a:pt x="3610479" y="3780314"/>
                  <a:pt x="3611309" y="3776066"/>
                </a:cubicBezTo>
                <a:cubicBezTo>
                  <a:pt x="3612139" y="3774548"/>
                  <a:pt x="3612968" y="3773840"/>
                  <a:pt x="3613521" y="3773840"/>
                </a:cubicBezTo>
                <a:close/>
                <a:moveTo>
                  <a:pt x="8540580" y="3772444"/>
                </a:moveTo>
                <a:lnTo>
                  <a:pt x="8538110" y="3773636"/>
                </a:lnTo>
                <a:lnTo>
                  <a:pt x="8540196" y="3774112"/>
                </a:lnTo>
                <a:close/>
                <a:moveTo>
                  <a:pt x="5250458" y="3769917"/>
                </a:moveTo>
                <a:cubicBezTo>
                  <a:pt x="5242991" y="3777099"/>
                  <a:pt x="5254331" y="3777807"/>
                  <a:pt x="5254331" y="3780639"/>
                </a:cubicBezTo>
                <a:cubicBezTo>
                  <a:pt x="5249075" y="3788934"/>
                  <a:pt x="5241330" y="3778818"/>
                  <a:pt x="5239671" y="3789237"/>
                </a:cubicBezTo>
                <a:cubicBezTo>
                  <a:pt x="5226394" y="3784584"/>
                  <a:pt x="5215054" y="3783977"/>
                  <a:pt x="5202054" y="3785090"/>
                </a:cubicBezTo>
                <a:cubicBezTo>
                  <a:pt x="5192650" y="3779729"/>
                  <a:pt x="5211458" y="3781853"/>
                  <a:pt x="5211182" y="3776087"/>
                </a:cubicBezTo>
                <a:lnTo>
                  <a:pt x="5168240" y="3771528"/>
                </a:lnTo>
                <a:lnTo>
                  <a:pt x="5148596" y="3797712"/>
                </a:lnTo>
                <a:cubicBezTo>
                  <a:pt x="5136565" y="3798623"/>
                  <a:pt x="5125016" y="3802353"/>
                  <a:pt x="5113633" y="3807583"/>
                </a:cubicBezTo>
                <a:lnTo>
                  <a:pt x="5098398" y="3816044"/>
                </a:lnTo>
                <a:lnTo>
                  <a:pt x="5140894" y="3819773"/>
                </a:lnTo>
                <a:cubicBezTo>
                  <a:pt x="5157524" y="3819962"/>
                  <a:pt x="5173842" y="3818572"/>
                  <a:pt x="5189608" y="3814728"/>
                </a:cubicBezTo>
                <a:cubicBezTo>
                  <a:pt x="5197214" y="3819027"/>
                  <a:pt x="5207102" y="3819633"/>
                  <a:pt x="5216921" y="3818445"/>
                </a:cubicBezTo>
                <a:lnTo>
                  <a:pt x="5237090" y="3813154"/>
                </a:lnTo>
                <a:lnTo>
                  <a:pt x="5237389" y="3804557"/>
                </a:lnTo>
                <a:lnTo>
                  <a:pt x="5146184" y="3804511"/>
                </a:lnTo>
                <a:lnTo>
                  <a:pt x="5263928" y="3793087"/>
                </a:lnTo>
                <a:lnTo>
                  <a:pt x="5266908" y="3791555"/>
                </a:lnTo>
                <a:cubicBezTo>
                  <a:pt x="5271817" y="3787547"/>
                  <a:pt x="5274306" y="3782894"/>
                  <a:pt x="5272232" y="3777482"/>
                </a:cubicBezTo>
                <a:lnTo>
                  <a:pt x="5275066" y="3776930"/>
                </a:lnTo>
                <a:close/>
                <a:moveTo>
                  <a:pt x="3027151" y="3765445"/>
                </a:moveTo>
                <a:cubicBezTo>
                  <a:pt x="3029640" y="3765849"/>
                  <a:pt x="3031023" y="3766861"/>
                  <a:pt x="3031023" y="3767872"/>
                </a:cubicBezTo>
                <a:cubicBezTo>
                  <a:pt x="3031576" y="3769895"/>
                  <a:pt x="3027704" y="3771716"/>
                  <a:pt x="3017470" y="3767265"/>
                </a:cubicBezTo>
                <a:cubicBezTo>
                  <a:pt x="3021619" y="3765445"/>
                  <a:pt x="3024938" y="3765141"/>
                  <a:pt x="3027151" y="3765445"/>
                </a:cubicBezTo>
                <a:close/>
                <a:moveTo>
                  <a:pt x="4906303" y="3764635"/>
                </a:moveTo>
                <a:cubicBezTo>
                  <a:pt x="4908517" y="3764130"/>
                  <a:pt x="4910176" y="3768378"/>
                  <a:pt x="4912112" y="3772627"/>
                </a:cubicBezTo>
                <a:cubicBezTo>
                  <a:pt x="4906581" y="3771514"/>
                  <a:pt x="4897730" y="3785271"/>
                  <a:pt x="4891921" y="3777178"/>
                </a:cubicBezTo>
                <a:cubicBezTo>
                  <a:pt x="4899942" y="3773031"/>
                  <a:pt x="4905750" y="3769390"/>
                  <a:pt x="4906303" y="3764635"/>
                </a:cubicBezTo>
                <a:close/>
                <a:moveTo>
                  <a:pt x="4787923" y="3753003"/>
                </a:moveTo>
                <a:cubicBezTo>
                  <a:pt x="4785986" y="3760691"/>
                  <a:pt x="4768285" y="3766962"/>
                  <a:pt x="4760540" y="3766254"/>
                </a:cubicBezTo>
                <a:cubicBezTo>
                  <a:pt x="4763030" y="3753610"/>
                  <a:pt x="4779625" y="3757251"/>
                  <a:pt x="4787923" y="3753003"/>
                </a:cubicBezTo>
                <a:close/>
                <a:moveTo>
                  <a:pt x="8213505" y="3742520"/>
                </a:moveTo>
                <a:lnTo>
                  <a:pt x="8182969" y="3744163"/>
                </a:lnTo>
                <a:cubicBezTo>
                  <a:pt x="8173357" y="3745390"/>
                  <a:pt x="8164852" y="3748450"/>
                  <a:pt x="8158352" y="3756845"/>
                </a:cubicBezTo>
                <a:lnTo>
                  <a:pt x="8150734" y="3755227"/>
                </a:lnTo>
                <a:lnTo>
                  <a:pt x="8142527" y="3765432"/>
                </a:lnTo>
                <a:lnTo>
                  <a:pt x="8213300" y="3742777"/>
                </a:lnTo>
                <a:close/>
                <a:moveTo>
                  <a:pt x="4424207" y="3741168"/>
                </a:moveTo>
                <a:cubicBezTo>
                  <a:pt x="4426697" y="3740764"/>
                  <a:pt x="4428633" y="3741269"/>
                  <a:pt x="4429185" y="3742180"/>
                </a:cubicBezTo>
                <a:cubicBezTo>
                  <a:pt x="4430845" y="3743798"/>
                  <a:pt x="4428356" y="3746732"/>
                  <a:pt x="4416462" y="3745821"/>
                </a:cubicBezTo>
                <a:cubicBezTo>
                  <a:pt x="4419228" y="3742989"/>
                  <a:pt x="4421994" y="3741573"/>
                  <a:pt x="4424207" y="3741168"/>
                </a:cubicBezTo>
                <a:close/>
                <a:moveTo>
                  <a:pt x="4441155" y="3740381"/>
                </a:moveTo>
                <a:cubicBezTo>
                  <a:pt x="4445304" y="3741190"/>
                  <a:pt x="4446965" y="3746551"/>
                  <a:pt x="4449730" y="3745944"/>
                </a:cubicBezTo>
                <a:cubicBezTo>
                  <a:pt x="4447794" y="3747866"/>
                  <a:pt x="4444198" y="3751507"/>
                  <a:pt x="4445858" y="3752620"/>
                </a:cubicBezTo>
                <a:cubicBezTo>
                  <a:pt x="4442262" y="3756261"/>
                  <a:pt x="4438389" y="3754137"/>
                  <a:pt x="4434517" y="3752013"/>
                </a:cubicBezTo>
                <a:cubicBezTo>
                  <a:pt x="4440326" y="3749383"/>
                  <a:pt x="4445858" y="3743820"/>
                  <a:pt x="4436453" y="3741392"/>
                </a:cubicBezTo>
                <a:cubicBezTo>
                  <a:pt x="4438389" y="3740279"/>
                  <a:pt x="4440050" y="3740077"/>
                  <a:pt x="4441155" y="3740381"/>
                </a:cubicBezTo>
                <a:close/>
                <a:moveTo>
                  <a:pt x="6459085" y="3739258"/>
                </a:moveTo>
                <a:lnTo>
                  <a:pt x="6444220" y="3745742"/>
                </a:lnTo>
                <a:cubicBezTo>
                  <a:pt x="6420986" y="3765972"/>
                  <a:pt x="6376732" y="3770220"/>
                  <a:pt x="6357647" y="3793081"/>
                </a:cubicBezTo>
                <a:cubicBezTo>
                  <a:pt x="6352669" y="3794800"/>
                  <a:pt x="6350733" y="3792373"/>
                  <a:pt x="6349073" y="3787619"/>
                </a:cubicBezTo>
                <a:cubicBezTo>
                  <a:pt x="6344371" y="3793991"/>
                  <a:pt x="6334414" y="3797430"/>
                  <a:pt x="6325563" y="3800667"/>
                </a:cubicBezTo>
                <a:lnTo>
                  <a:pt x="6323074" y="3801578"/>
                </a:lnTo>
                <a:lnTo>
                  <a:pt x="6322520" y="3802792"/>
                </a:lnTo>
                <a:lnTo>
                  <a:pt x="6312840" y="3805927"/>
                </a:lnTo>
                <a:lnTo>
                  <a:pt x="6305648" y="3812300"/>
                </a:lnTo>
                <a:lnTo>
                  <a:pt x="6298734" y="3811592"/>
                </a:lnTo>
                <a:lnTo>
                  <a:pt x="6272458" y="3819684"/>
                </a:lnTo>
                <a:lnTo>
                  <a:pt x="6264713" y="3824438"/>
                </a:lnTo>
                <a:cubicBezTo>
                  <a:pt x="6257798" y="3828383"/>
                  <a:pt x="6250330" y="3831215"/>
                  <a:pt x="6238990" y="3831923"/>
                </a:cubicBezTo>
                <a:cubicBezTo>
                  <a:pt x="6224608" y="3854885"/>
                  <a:pt x="6187268" y="3859336"/>
                  <a:pt x="6161268" y="3867226"/>
                </a:cubicBezTo>
                <a:cubicBezTo>
                  <a:pt x="6154077" y="3883005"/>
                  <a:pt x="6112865" y="3882398"/>
                  <a:pt x="6103738" y="3891300"/>
                </a:cubicBezTo>
                <a:cubicBezTo>
                  <a:pt x="6090738" y="3895346"/>
                  <a:pt x="6088525" y="3888569"/>
                  <a:pt x="6073589" y="3891401"/>
                </a:cubicBezTo>
                <a:cubicBezTo>
                  <a:pt x="6069994" y="3895043"/>
                  <a:pt x="6075802" y="3895346"/>
                  <a:pt x="6069994" y="3897875"/>
                </a:cubicBezTo>
                <a:cubicBezTo>
                  <a:pt x="6066121" y="3901921"/>
                  <a:pt x="6073313" y="3901314"/>
                  <a:pt x="6073313" y="3903236"/>
                </a:cubicBezTo>
                <a:lnTo>
                  <a:pt x="6071100" y="3905765"/>
                </a:lnTo>
                <a:lnTo>
                  <a:pt x="6074696" y="3907484"/>
                </a:lnTo>
                <a:cubicBezTo>
                  <a:pt x="6082164" y="3906068"/>
                  <a:pt x="6083547" y="3899291"/>
                  <a:pt x="6093504" y="3898178"/>
                </a:cubicBezTo>
                <a:cubicBezTo>
                  <a:pt x="6092951" y="3900404"/>
                  <a:pt x="6092397" y="3902629"/>
                  <a:pt x="6092121" y="3904854"/>
                </a:cubicBezTo>
                <a:cubicBezTo>
                  <a:pt x="6093780" y="3895953"/>
                  <a:pt x="6128078" y="3881488"/>
                  <a:pt x="6135269" y="3893626"/>
                </a:cubicBezTo>
                <a:cubicBezTo>
                  <a:pt x="6150205" y="3879364"/>
                  <a:pt x="6167077" y="3878959"/>
                  <a:pt x="6178417" y="3871171"/>
                </a:cubicBezTo>
                <a:cubicBezTo>
                  <a:pt x="6183119" y="3871676"/>
                  <a:pt x="6179800" y="3875824"/>
                  <a:pt x="6179247" y="3878049"/>
                </a:cubicBezTo>
                <a:cubicBezTo>
                  <a:pt x="6181736" y="3878251"/>
                  <a:pt x="6184502" y="3876329"/>
                  <a:pt x="6186715" y="3876532"/>
                </a:cubicBezTo>
                <a:cubicBezTo>
                  <a:pt x="6191417" y="3877037"/>
                  <a:pt x="6183119" y="3871676"/>
                  <a:pt x="6188651" y="3867731"/>
                </a:cubicBezTo>
                <a:cubicBezTo>
                  <a:pt x="6193353" y="3868237"/>
                  <a:pt x="6195566" y="3868439"/>
                  <a:pt x="6197502" y="3870968"/>
                </a:cubicBezTo>
                <a:cubicBezTo>
                  <a:pt x="6234565" y="3854582"/>
                  <a:pt x="6288500" y="3837790"/>
                  <a:pt x="6335520" y="3820190"/>
                </a:cubicBezTo>
                <a:cubicBezTo>
                  <a:pt x="6345754" y="3816852"/>
                  <a:pt x="6361520" y="3809468"/>
                  <a:pt x="6368711" y="3798847"/>
                </a:cubicBezTo>
                <a:cubicBezTo>
                  <a:pt x="6393742" y="3793638"/>
                  <a:pt x="6417875" y="3784357"/>
                  <a:pt x="6439587" y="3773685"/>
                </a:cubicBezTo>
                <a:lnTo>
                  <a:pt x="6487715" y="3745069"/>
                </a:lnTo>
                <a:close/>
                <a:moveTo>
                  <a:pt x="3391973" y="3729030"/>
                </a:moveTo>
                <a:cubicBezTo>
                  <a:pt x="3392803" y="3729131"/>
                  <a:pt x="3393909" y="3729839"/>
                  <a:pt x="3394739" y="3730851"/>
                </a:cubicBezTo>
                <a:cubicBezTo>
                  <a:pt x="3396398" y="3733076"/>
                  <a:pt x="3397505" y="3736616"/>
                  <a:pt x="3396952" y="3738842"/>
                </a:cubicBezTo>
                <a:cubicBezTo>
                  <a:pt x="3386718" y="3742281"/>
                  <a:pt x="3391143" y="3731457"/>
                  <a:pt x="3388930" y="3731154"/>
                </a:cubicBezTo>
                <a:cubicBezTo>
                  <a:pt x="3389760" y="3729536"/>
                  <a:pt x="3390867" y="3728929"/>
                  <a:pt x="3391973" y="3729030"/>
                </a:cubicBezTo>
                <a:close/>
                <a:moveTo>
                  <a:pt x="4711384" y="3723589"/>
                </a:moveTo>
                <a:cubicBezTo>
                  <a:pt x="4713320" y="3724196"/>
                  <a:pt x="4711937" y="3729051"/>
                  <a:pt x="4717745" y="3730265"/>
                </a:cubicBezTo>
                <a:cubicBezTo>
                  <a:pt x="4713873" y="3730872"/>
                  <a:pt x="4711937" y="3729760"/>
                  <a:pt x="4708341" y="3733300"/>
                </a:cubicBezTo>
                <a:cubicBezTo>
                  <a:pt x="4708341" y="3730468"/>
                  <a:pt x="4704469" y="3728242"/>
                  <a:pt x="4707788" y="3724803"/>
                </a:cubicBezTo>
                <a:cubicBezTo>
                  <a:pt x="4709724" y="3723792"/>
                  <a:pt x="4710831" y="3723488"/>
                  <a:pt x="4711384" y="3723589"/>
                </a:cubicBezTo>
                <a:close/>
                <a:moveTo>
                  <a:pt x="3133361" y="3709305"/>
                </a:moveTo>
                <a:cubicBezTo>
                  <a:pt x="3132255" y="3713857"/>
                  <a:pt x="3132255" y="3713857"/>
                  <a:pt x="3134744" y="3714059"/>
                </a:cubicBezTo>
                <a:cubicBezTo>
                  <a:pt x="3133361" y="3720836"/>
                  <a:pt x="3127829" y="3713250"/>
                  <a:pt x="3120362" y="3714767"/>
                </a:cubicBezTo>
                <a:cubicBezTo>
                  <a:pt x="3123127" y="3712744"/>
                  <a:pt x="3125893" y="3710822"/>
                  <a:pt x="3133361" y="3709305"/>
                </a:cubicBezTo>
                <a:close/>
                <a:moveTo>
                  <a:pt x="8190298" y="3707308"/>
                </a:moveTo>
                <a:lnTo>
                  <a:pt x="8191163" y="3708922"/>
                </a:lnTo>
                <a:cubicBezTo>
                  <a:pt x="8185769" y="3711299"/>
                  <a:pt x="8179753" y="3714966"/>
                  <a:pt x="8175639" y="3719391"/>
                </a:cubicBezTo>
                <a:lnTo>
                  <a:pt x="8172630" y="3730377"/>
                </a:lnTo>
                <a:lnTo>
                  <a:pt x="8178820" y="3729471"/>
                </a:lnTo>
                <a:cubicBezTo>
                  <a:pt x="8185458" y="3727941"/>
                  <a:pt x="8192373" y="3726449"/>
                  <a:pt x="8198181" y="3727106"/>
                </a:cubicBezTo>
                <a:cubicBezTo>
                  <a:pt x="8192373" y="3719621"/>
                  <a:pt x="8190437" y="3717092"/>
                  <a:pt x="8197075" y="3708696"/>
                </a:cubicBezTo>
                <a:close/>
                <a:moveTo>
                  <a:pt x="7468986" y="3690512"/>
                </a:moveTo>
                <a:lnTo>
                  <a:pt x="7462348" y="3694457"/>
                </a:lnTo>
                <a:cubicBezTo>
                  <a:pt x="7460135" y="3697087"/>
                  <a:pt x="7457646" y="3699616"/>
                  <a:pt x="7452944" y="3700223"/>
                </a:cubicBezTo>
                <a:lnTo>
                  <a:pt x="7449625" y="3706596"/>
                </a:lnTo>
                <a:lnTo>
                  <a:pt x="7464837" y="3694356"/>
                </a:lnTo>
                <a:close/>
                <a:moveTo>
                  <a:pt x="9687065" y="3689680"/>
                </a:moveTo>
                <a:cubicBezTo>
                  <a:pt x="9690385" y="3698581"/>
                  <a:pt x="9686789" y="3701818"/>
                  <a:pt x="9678768" y="3706066"/>
                </a:cubicBezTo>
                <a:cubicBezTo>
                  <a:pt x="9672959" y="3697671"/>
                  <a:pt x="9680980" y="3693422"/>
                  <a:pt x="9687065" y="3689680"/>
                </a:cubicBezTo>
                <a:close/>
                <a:moveTo>
                  <a:pt x="2958003" y="3683410"/>
                </a:moveTo>
                <a:cubicBezTo>
                  <a:pt x="2989258" y="3695852"/>
                  <a:pt x="3052320" y="3693728"/>
                  <a:pt x="3092426" y="3709406"/>
                </a:cubicBezTo>
                <a:cubicBezTo>
                  <a:pt x="3068639" y="3720230"/>
                  <a:pt x="3051491" y="3698178"/>
                  <a:pt x="3025491" y="3706574"/>
                </a:cubicBezTo>
                <a:cubicBezTo>
                  <a:pt x="3025491" y="3706574"/>
                  <a:pt x="3025768" y="3706574"/>
                  <a:pt x="2950259" y="3686950"/>
                </a:cubicBezTo>
                <a:cubicBezTo>
                  <a:pt x="2953025" y="3685029"/>
                  <a:pt x="2953301" y="3682803"/>
                  <a:pt x="2958003" y="3683410"/>
                </a:cubicBezTo>
                <a:close/>
                <a:moveTo>
                  <a:pt x="7481193" y="3678930"/>
                </a:moveTo>
                <a:lnTo>
                  <a:pt x="7478736" y="3679437"/>
                </a:lnTo>
                <a:lnTo>
                  <a:pt x="7474518" y="3685252"/>
                </a:lnTo>
                <a:close/>
                <a:moveTo>
                  <a:pt x="4681328" y="3672126"/>
                </a:moveTo>
                <a:lnTo>
                  <a:pt x="4667035" y="3686695"/>
                </a:lnTo>
                <a:lnTo>
                  <a:pt x="4705300" y="3689096"/>
                </a:lnTo>
                <a:cubicBezTo>
                  <a:pt x="4733789" y="3702347"/>
                  <a:pt x="4776935" y="3703966"/>
                  <a:pt x="4808467" y="3699211"/>
                </a:cubicBezTo>
                <a:cubicBezTo>
                  <a:pt x="4801000" y="3692131"/>
                  <a:pt x="4773063" y="3704674"/>
                  <a:pt x="4766978" y="3690007"/>
                </a:cubicBezTo>
                <a:cubicBezTo>
                  <a:pt x="4742776" y="3691878"/>
                  <a:pt x="4720650" y="3684342"/>
                  <a:pt x="4698005" y="3676895"/>
                </a:cubicBezTo>
                <a:close/>
                <a:moveTo>
                  <a:pt x="6588813" y="3670959"/>
                </a:moveTo>
                <a:lnTo>
                  <a:pt x="6544345" y="3695709"/>
                </a:lnTo>
                <a:lnTo>
                  <a:pt x="6516798" y="3711291"/>
                </a:lnTo>
                <a:lnTo>
                  <a:pt x="6529065" y="3714353"/>
                </a:lnTo>
                <a:lnTo>
                  <a:pt x="6543815" y="3713214"/>
                </a:lnTo>
                <a:lnTo>
                  <a:pt x="6547941" y="3709428"/>
                </a:lnTo>
                <a:cubicBezTo>
                  <a:pt x="6568132" y="3704826"/>
                  <a:pt x="6585280" y="3694230"/>
                  <a:pt x="6600770" y="3681459"/>
                </a:cubicBezTo>
                <a:lnTo>
                  <a:pt x="6608539" y="3674026"/>
                </a:lnTo>
                <a:lnTo>
                  <a:pt x="6594513" y="3673698"/>
                </a:lnTo>
                <a:close/>
                <a:moveTo>
                  <a:pt x="8839680" y="3667804"/>
                </a:moveTo>
                <a:cubicBezTo>
                  <a:pt x="8832575" y="3670189"/>
                  <a:pt x="8828115" y="3681208"/>
                  <a:pt x="8820232" y="3675215"/>
                </a:cubicBezTo>
                <a:cubicBezTo>
                  <a:pt x="8745830" y="3721644"/>
                  <a:pt x="8690788" y="3756440"/>
                  <a:pt x="8606428" y="3781223"/>
                </a:cubicBezTo>
                <a:cubicBezTo>
                  <a:pt x="8652342" y="3756744"/>
                  <a:pt x="8688299" y="3733378"/>
                  <a:pt x="8738638" y="3709405"/>
                </a:cubicBezTo>
                <a:cubicBezTo>
                  <a:pt x="8739745" y="3704954"/>
                  <a:pt x="8737255" y="3704650"/>
                  <a:pt x="8732553" y="3704145"/>
                </a:cubicBezTo>
                <a:cubicBezTo>
                  <a:pt x="8749978" y="3701515"/>
                  <a:pt x="8758829" y="3693524"/>
                  <a:pt x="8777084" y="3686443"/>
                </a:cubicBezTo>
                <a:cubicBezTo>
                  <a:pt x="8777914" y="3681992"/>
                  <a:pt x="8776531" y="3677238"/>
                  <a:pt x="8778744" y="3677440"/>
                </a:cubicBezTo>
                <a:cubicBezTo>
                  <a:pt x="8743617" y="3673597"/>
                  <a:pt x="8722043" y="3721239"/>
                  <a:pt x="8675299" y="3713754"/>
                </a:cubicBezTo>
                <a:cubicBezTo>
                  <a:pt x="8673640" y="3722655"/>
                  <a:pt x="8683873" y="3719317"/>
                  <a:pt x="8685810" y="3721745"/>
                </a:cubicBezTo>
                <a:cubicBezTo>
                  <a:pt x="8686363" y="3730950"/>
                  <a:pt x="8673086" y="3724881"/>
                  <a:pt x="8678342" y="3734591"/>
                </a:cubicBezTo>
                <a:cubicBezTo>
                  <a:pt x="8663682" y="3735300"/>
                  <a:pt x="8653448" y="3738638"/>
                  <a:pt x="8642661" y="3744302"/>
                </a:cubicBezTo>
                <a:cubicBezTo>
                  <a:pt x="8630768" y="3742987"/>
                  <a:pt x="8648746" y="3738233"/>
                  <a:pt x="8644874" y="3733276"/>
                </a:cubicBezTo>
                <a:lnTo>
                  <a:pt x="8601340" y="3745301"/>
                </a:lnTo>
                <a:lnTo>
                  <a:pt x="8598199" y="3747992"/>
                </a:lnTo>
                <a:cubicBezTo>
                  <a:pt x="8587585" y="3758639"/>
                  <a:pt x="8577144" y="3770575"/>
                  <a:pt x="8563729" y="3776492"/>
                </a:cubicBezTo>
                <a:lnTo>
                  <a:pt x="8585640" y="3750696"/>
                </a:lnTo>
                <a:lnTo>
                  <a:pt x="8542396" y="3771568"/>
                </a:lnTo>
                <a:lnTo>
                  <a:pt x="8543822" y="3774707"/>
                </a:lnTo>
                <a:lnTo>
                  <a:pt x="8552770" y="3773029"/>
                </a:lnTo>
                <a:cubicBezTo>
                  <a:pt x="8548068" y="3783954"/>
                  <a:pt x="8537834" y="3787292"/>
                  <a:pt x="8529536" y="3779604"/>
                </a:cubicBezTo>
                <a:cubicBezTo>
                  <a:pt x="8530089" y="3777379"/>
                  <a:pt x="8534791" y="3777885"/>
                  <a:pt x="8535345" y="3775659"/>
                </a:cubicBezTo>
                <a:cubicBezTo>
                  <a:pt x="8522068" y="3769691"/>
                  <a:pt x="8491643" y="3789011"/>
                  <a:pt x="8478920" y="3792248"/>
                </a:cubicBezTo>
                <a:cubicBezTo>
                  <a:pt x="8481963" y="3801655"/>
                  <a:pt x="8484729" y="3799632"/>
                  <a:pt x="8489431" y="3800138"/>
                </a:cubicBezTo>
                <a:cubicBezTo>
                  <a:pt x="8448772" y="3834328"/>
                  <a:pt x="8384880" y="3804589"/>
                  <a:pt x="8344774" y="3836553"/>
                </a:cubicBezTo>
                <a:cubicBezTo>
                  <a:pt x="8337859" y="3835744"/>
                  <a:pt x="8336200" y="3830990"/>
                  <a:pt x="8332051" y="3828259"/>
                </a:cubicBezTo>
                <a:cubicBezTo>
                  <a:pt x="8325966" y="3834429"/>
                  <a:pt x="8320711" y="3836148"/>
                  <a:pt x="8311860" y="3832912"/>
                </a:cubicBezTo>
                <a:cubicBezTo>
                  <a:pt x="8309924" y="3841813"/>
                  <a:pt x="8295541" y="3842420"/>
                  <a:pt x="8291392" y="3851119"/>
                </a:cubicBezTo>
                <a:cubicBezTo>
                  <a:pt x="8264010" y="3843533"/>
                  <a:pt x="8244095" y="3845859"/>
                  <a:pt x="8217266" y="3847478"/>
                </a:cubicBezTo>
                <a:cubicBezTo>
                  <a:pt x="8221138" y="3841105"/>
                  <a:pt x="8230542" y="3842015"/>
                  <a:pt x="8233861" y="3837868"/>
                </a:cubicBezTo>
                <a:cubicBezTo>
                  <a:pt x="8231925" y="3835390"/>
                  <a:pt x="8230127" y="3834492"/>
                  <a:pt x="8228364" y="3834380"/>
                </a:cubicBezTo>
                <a:lnTo>
                  <a:pt x="8224877" y="3835187"/>
                </a:lnTo>
                <a:lnTo>
                  <a:pt x="8206098" y="3858223"/>
                </a:lnTo>
                <a:cubicBezTo>
                  <a:pt x="8206928" y="3860347"/>
                  <a:pt x="8209971" y="3862067"/>
                  <a:pt x="8211077" y="3864191"/>
                </a:cubicBezTo>
                <a:cubicBezTo>
                  <a:pt x="8199184" y="3859740"/>
                  <a:pt x="8165716" y="3899999"/>
                  <a:pt x="8167099" y="3916082"/>
                </a:cubicBezTo>
                <a:lnTo>
                  <a:pt x="8155618" y="3927174"/>
                </a:lnTo>
                <a:lnTo>
                  <a:pt x="8183669" y="3919617"/>
                </a:lnTo>
                <a:cubicBezTo>
                  <a:pt x="8248624" y="3904932"/>
                  <a:pt x="8315524" y="3895298"/>
                  <a:pt x="8369667" y="3868821"/>
                </a:cubicBezTo>
                <a:cubicBezTo>
                  <a:pt x="8392071" y="3864572"/>
                  <a:pt x="8410879" y="3855266"/>
                  <a:pt x="8433559" y="3850917"/>
                </a:cubicBezTo>
                <a:lnTo>
                  <a:pt x="8438111" y="3846002"/>
                </a:lnTo>
                <a:lnTo>
                  <a:pt x="8429583" y="3847096"/>
                </a:lnTo>
                <a:cubicBezTo>
                  <a:pt x="8438987" y="3844567"/>
                  <a:pt x="8435392" y="3843961"/>
                  <a:pt x="8441476" y="3837993"/>
                </a:cubicBezTo>
                <a:cubicBezTo>
                  <a:pt x="8448391" y="3842039"/>
                  <a:pt x="8450604" y="3838195"/>
                  <a:pt x="8456412" y="3834958"/>
                </a:cubicBezTo>
                <a:lnTo>
                  <a:pt x="8450656" y="3840867"/>
                </a:lnTo>
                <a:lnTo>
                  <a:pt x="8489085" y="3828006"/>
                </a:lnTo>
                <a:cubicBezTo>
                  <a:pt x="8502915" y="3822139"/>
                  <a:pt x="8517228" y="3816879"/>
                  <a:pt x="8541706" y="3815008"/>
                </a:cubicBezTo>
                <a:cubicBezTo>
                  <a:pt x="8525111" y="3826842"/>
                  <a:pt x="8497728" y="3830686"/>
                  <a:pt x="8483346" y="3842723"/>
                </a:cubicBezTo>
                <a:cubicBezTo>
                  <a:pt x="8510451" y="3838880"/>
                  <a:pt x="8539493" y="3826236"/>
                  <a:pt x="8564387" y="3810759"/>
                </a:cubicBezTo>
                <a:cubicBezTo>
                  <a:pt x="8597301" y="3802970"/>
                  <a:pt x="8628002" y="3792754"/>
                  <a:pt x="8650959" y="3774850"/>
                </a:cubicBezTo>
                <a:cubicBezTo>
                  <a:pt x="8669767" y="3776873"/>
                  <a:pt x="8687192" y="3762914"/>
                  <a:pt x="8696320" y="3752597"/>
                </a:cubicBezTo>
                <a:cubicBezTo>
                  <a:pt x="8716511" y="3747944"/>
                  <a:pt x="8749702" y="3726600"/>
                  <a:pt x="8772106" y="3710922"/>
                </a:cubicBezTo>
                <a:cubicBezTo>
                  <a:pt x="8802531" y="3702830"/>
                  <a:pt x="8821339" y="3682195"/>
                  <a:pt x="8847891" y="3669247"/>
                </a:cubicBezTo>
                <a:cubicBezTo>
                  <a:pt x="8844710" y="3667174"/>
                  <a:pt x="8842048" y="3667009"/>
                  <a:pt x="8839680" y="3667804"/>
                </a:cubicBezTo>
                <a:close/>
                <a:moveTo>
                  <a:pt x="7925419" y="3667346"/>
                </a:moveTo>
                <a:lnTo>
                  <a:pt x="7913596" y="3669833"/>
                </a:lnTo>
                <a:lnTo>
                  <a:pt x="7839893" y="3744224"/>
                </a:lnTo>
                <a:cubicBezTo>
                  <a:pt x="7853722" y="3725916"/>
                  <a:pt x="7865408" y="3708644"/>
                  <a:pt x="7877682" y="3691246"/>
                </a:cubicBezTo>
                <a:lnTo>
                  <a:pt x="7884175" y="3682801"/>
                </a:lnTo>
                <a:lnTo>
                  <a:pt x="7871020" y="3684955"/>
                </a:lnTo>
                <a:lnTo>
                  <a:pt x="7851787" y="3699313"/>
                </a:lnTo>
                <a:cubicBezTo>
                  <a:pt x="7846116" y="3700577"/>
                  <a:pt x="7846600" y="3698706"/>
                  <a:pt x="7847707" y="3696113"/>
                </a:cubicBezTo>
                <a:lnTo>
                  <a:pt x="7847410" y="3689660"/>
                </a:lnTo>
                <a:lnTo>
                  <a:pt x="7845051" y="3690339"/>
                </a:lnTo>
                <a:lnTo>
                  <a:pt x="7806910" y="3719215"/>
                </a:lnTo>
                <a:cubicBezTo>
                  <a:pt x="7795293" y="3730569"/>
                  <a:pt x="7784852" y="3743415"/>
                  <a:pt x="7773512" y="3758790"/>
                </a:cubicBezTo>
                <a:cubicBezTo>
                  <a:pt x="7775448" y="3763140"/>
                  <a:pt x="7781809" y="3754643"/>
                  <a:pt x="7786511" y="3753631"/>
                </a:cubicBezTo>
                <a:cubicBezTo>
                  <a:pt x="7788447" y="3764961"/>
                  <a:pt x="7780980" y="3771232"/>
                  <a:pt x="7769363" y="3766781"/>
                </a:cubicBezTo>
                <a:cubicBezTo>
                  <a:pt x="7768533" y="3764657"/>
                  <a:pt x="7772958" y="3763646"/>
                  <a:pt x="7772129" y="3761521"/>
                </a:cubicBezTo>
                <a:cubicBezTo>
                  <a:pt x="7756640" y="3760206"/>
                  <a:pt x="7740321" y="3787315"/>
                  <a:pt x="7730640" y="3794194"/>
                </a:cubicBezTo>
                <a:cubicBezTo>
                  <a:pt x="7738661" y="3801780"/>
                  <a:pt x="7740044" y="3799049"/>
                  <a:pt x="7744746" y="3798037"/>
                </a:cubicBezTo>
                <a:lnTo>
                  <a:pt x="7739867" y="3803541"/>
                </a:lnTo>
                <a:lnTo>
                  <a:pt x="7770538" y="3802908"/>
                </a:lnTo>
                <a:lnTo>
                  <a:pt x="7789648" y="3802823"/>
                </a:lnTo>
                <a:lnTo>
                  <a:pt x="7800617" y="3795104"/>
                </a:lnTo>
                <a:lnTo>
                  <a:pt x="7793772" y="3802805"/>
                </a:lnTo>
                <a:lnTo>
                  <a:pt x="7803059" y="3802764"/>
                </a:lnTo>
                <a:lnTo>
                  <a:pt x="7803841" y="3802881"/>
                </a:lnTo>
                <a:lnTo>
                  <a:pt x="7818596" y="3784179"/>
                </a:lnTo>
                <a:cubicBezTo>
                  <a:pt x="7843765" y="3766882"/>
                  <a:pt x="7866169" y="3747866"/>
                  <a:pt x="7876680" y="3724398"/>
                </a:cubicBezTo>
                <a:cubicBezTo>
                  <a:pt x="7894935" y="3720352"/>
                  <a:pt x="7902679" y="3702246"/>
                  <a:pt x="7905168" y="3689905"/>
                </a:cubicBezTo>
                <a:close/>
                <a:moveTo>
                  <a:pt x="4699277" y="3661356"/>
                </a:moveTo>
                <a:lnTo>
                  <a:pt x="4694773" y="3663954"/>
                </a:lnTo>
                <a:lnTo>
                  <a:pt x="4700873" y="3666944"/>
                </a:lnTo>
                <a:close/>
                <a:moveTo>
                  <a:pt x="9519452" y="3656198"/>
                </a:moveTo>
                <a:cubicBezTo>
                  <a:pt x="9521111" y="3655389"/>
                  <a:pt x="9525537" y="3659031"/>
                  <a:pt x="9530239" y="3656299"/>
                </a:cubicBezTo>
                <a:cubicBezTo>
                  <a:pt x="9528579" y="3658828"/>
                  <a:pt x="9526367" y="3659435"/>
                  <a:pt x="9528026" y="3663582"/>
                </a:cubicBezTo>
                <a:cubicBezTo>
                  <a:pt x="9524707" y="3661964"/>
                  <a:pt x="9520005" y="3663077"/>
                  <a:pt x="9518346" y="3658929"/>
                </a:cubicBezTo>
                <a:cubicBezTo>
                  <a:pt x="9518346" y="3657210"/>
                  <a:pt x="9518622" y="3656502"/>
                  <a:pt x="9519452" y="3656198"/>
                </a:cubicBezTo>
                <a:close/>
                <a:moveTo>
                  <a:pt x="4566927" y="3640117"/>
                </a:moveTo>
                <a:lnTo>
                  <a:pt x="4542588" y="3658021"/>
                </a:lnTo>
                <a:cubicBezTo>
                  <a:pt x="4541758" y="3662472"/>
                  <a:pt x="4544247" y="3662775"/>
                  <a:pt x="4545631" y="3667428"/>
                </a:cubicBezTo>
                <a:cubicBezTo>
                  <a:pt x="4538438" y="3655290"/>
                  <a:pt x="4515205" y="3675419"/>
                  <a:pt x="4524609" y="3676431"/>
                </a:cubicBezTo>
                <a:cubicBezTo>
                  <a:pt x="4504418" y="3686749"/>
                  <a:pt x="4479940" y="3700556"/>
                  <a:pt x="4456845" y="3715071"/>
                </a:cubicBezTo>
                <a:lnTo>
                  <a:pt x="4451413" y="3718988"/>
                </a:lnTo>
                <a:lnTo>
                  <a:pt x="4453326" y="3719644"/>
                </a:lnTo>
                <a:lnTo>
                  <a:pt x="4449582" y="3720309"/>
                </a:lnTo>
                <a:lnTo>
                  <a:pt x="4397378" y="3757959"/>
                </a:lnTo>
                <a:cubicBezTo>
                  <a:pt x="4397101" y="3760185"/>
                  <a:pt x="4389357" y="3761702"/>
                  <a:pt x="4389911" y="3759477"/>
                </a:cubicBezTo>
                <a:cubicBezTo>
                  <a:pt x="4382442" y="3760893"/>
                  <a:pt x="4389080" y="3763927"/>
                  <a:pt x="4385761" y="3768075"/>
                </a:cubicBezTo>
                <a:cubicBezTo>
                  <a:pt x="4373591" y="3768985"/>
                  <a:pt x="4355612" y="3773840"/>
                  <a:pt x="4353400" y="3784967"/>
                </a:cubicBezTo>
                <a:cubicBezTo>
                  <a:pt x="4322975" y="3792958"/>
                  <a:pt x="4280933" y="3822495"/>
                  <a:pt x="4252721" y="3830789"/>
                </a:cubicBezTo>
                <a:cubicBezTo>
                  <a:pt x="4249403" y="3834936"/>
                  <a:pt x="4246359" y="3839084"/>
                  <a:pt x="4243317" y="3841107"/>
                </a:cubicBezTo>
                <a:cubicBezTo>
                  <a:pt x="4235849" y="3842523"/>
                  <a:pt x="4231147" y="3842017"/>
                  <a:pt x="4224233" y="3841208"/>
                </a:cubicBezTo>
                <a:cubicBezTo>
                  <a:pt x="4218147" y="3847378"/>
                  <a:pt x="4209296" y="3855571"/>
                  <a:pt x="4192424" y="3855875"/>
                </a:cubicBezTo>
                <a:cubicBezTo>
                  <a:pt x="4191318" y="3848997"/>
                  <a:pt x="4194084" y="3847075"/>
                  <a:pt x="4185233" y="3843737"/>
                </a:cubicBezTo>
                <a:cubicBezTo>
                  <a:pt x="4176660" y="3849705"/>
                  <a:pt x="4187999" y="3853144"/>
                  <a:pt x="4186616" y="3859820"/>
                </a:cubicBezTo>
                <a:cubicBezTo>
                  <a:pt x="4177765" y="3867912"/>
                  <a:pt x="4170297" y="3858100"/>
                  <a:pt x="4163106" y="3857291"/>
                </a:cubicBezTo>
                <a:cubicBezTo>
                  <a:pt x="4169467" y="3873880"/>
                  <a:pt x="4155085" y="3885917"/>
                  <a:pt x="4132681" y="3876611"/>
                </a:cubicBezTo>
                <a:cubicBezTo>
                  <a:pt x="4123000" y="3877825"/>
                  <a:pt x="4125490" y="3889559"/>
                  <a:pt x="4116086" y="3888446"/>
                </a:cubicBezTo>
                <a:cubicBezTo>
                  <a:pt x="4115532" y="3890671"/>
                  <a:pt x="4114703" y="3895122"/>
                  <a:pt x="4119405" y="3895628"/>
                </a:cubicBezTo>
                <a:cubicBezTo>
                  <a:pt x="4113873" y="3899573"/>
                  <a:pt x="4104745" y="3896336"/>
                  <a:pt x="4105299" y="3905440"/>
                </a:cubicBezTo>
                <a:cubicBezTo>
                  <a:pt x="4101842" y="3905086"/>
                  <a:pt x="4094720" y="3904884"/>
                  <a:pt x="4088462" y="3906186"/>
                </a:cubicBezTo>
                <a:lnTo>
                  <a:pt x="4077678" y="3915231"/>
                </a:lnTo>
                <a:lnTo>
                  <a:pt x="4085803" y="3915965"/>
                </a:lnTo>
                <a:cubicBezTo>
                  <a:pt x="4092489" y="3917517"/>
                  <a:pt x="4099135" y="3919838"/>
                  <a:pt x="4105549" y="3922379"/>
                </a:cubicBezTo>
                <a:lnTo>
                  <a:pt x="4133553" y="3933482"/>
                </a:lnTo>
                <a:lnTo>
                  <a:pt x="4143745" y="3930121"/>
                </a:lnTo>
                <a:lnTo>
                  <a:pt x="4141261" y="3935330"/>
                </a:lnTo>
                <a:lnTo>
                  <a:pt x="4152983" y="3931066"/>
                </a:lnTo>
                <a:cubicBezTo>
                  <a:pt x="4154971" y="3930238"/>
                  <a:pt x="4156795" y="3929754"/>
                  <a:pt x="4158381" y="3930147"/>
                </a:cubicBezTo>
                <a:lnTo>
                  <a:pt x="4160733" y="3932720"/>
                </a:lnTo>
                <a:lnTo>
                  <a:pt x="4165319" y="3930222"/>
                </a:lnTo>
                <a:cubicBezTo>
                  <a:pt x="4163936" y="3925569"/>
                  <a:pt x="4152872" y="3933459"/>
                  <a:pt x="4154532" y="3924557"/>
                </a:cubicBezTo>
                <a:cubicBezTo>
                  <a:pt x="4169467" y="3921624"/>
                  <a:pt x="4171404" y="3912723"/>
                  <a:pt x="4185786" y="3912116"/>
                </a:cubicBezTo>
                <a:cubicBezTo>
                  <a:pt x="4184680" y="3918792"/>
                  <a:pt x="4178871" y="3922636"/>
                  <a:pt x="4170021" y="3919399"/>
                </a:cubicBezTo>
                <a:cubicBezTo>
                  <a:pt x="4171957" y="3921826"/>
                  <a:pt x="4176660" y="3922433"/>
                  <a:pt x="4175829" y="3926884"/>
                </a:cubicBezTo>
                <a:cubicBezTo>
                  <a:pt x="4188829" y="3921523"/>
                  <a:pt x="4196850" y="3917780"/>
                  <a:pt x="4194637" y="3903922"/>
                </a:cubicBezTo>
                <a:cubicBezTo>
                  <a:pt x="4202383" y="3902506"/>
                  <a:pt x="4198233" y="3911104"/>
                  <a:pt x="4199892" y="3913633"/>
                </a:cubicBezTo>
                <a:cubicBezTo>
                  <a:pt x="4224508" y="3904985"/>
                  <a:pt x="4243593" y="3891152"/>
                  <a:pt x="4263647" y="3876864"/>
                </a:cubicBezTo>
                <a:lnTo>
                  <a:pt x="4309628" y="3850754"/>
                </a:lnTo>
                <a:lnTo>
                  <a:pt x="4296741" y="3847906"/>
                </a:lnTo>
                <a:cubicBezTo>
                  <a:pt x="4290000" y="3844846"/>
                  <a:pt x="4284190" y="3840876"/>
                  <a:pt x="4281286" y="3837790"/>
                </a:cubicBezTo>
                <a:cubicBezTo>
                  <a:pt x="4277414" y="3835666"/>
                  <a:pt x="4271607" y="3835261"/>
                  <a:pt x="4269671" y="3834250"/>
                </a:cubicBezTo>
                <a:cubicBezTo>
                  <a:pt x="4270776" y="3833340"/>
                  <a:pt x="4272160" y="3833441"/>
                  <a:pt x="4273818" y="3833643"/>
                </a:cubicBezTo>
                <a:cubicBezTo>
                  <a:pt x="4275479" y="3833845"/>
                  <a:pt x="4277414" y="3834149"/>
                  <a:pt x="4279350" y="3833845"/>
                </a:cubicBezTo>
                <a:cubicBezTo>
                  <a:pt x="4287924" y="3837234"/>
                  <a:pt x="4293664" y="3839030"/>
                  <a:pt x="4298919" y="3840926"/>
                </a:cubicBezTo>
                <a:lnTo>
                  <a:pt x="4314377" y="3848058"/>
                </a:lnTo>
                <a:lnTo>
                  <a:pt x="4333209" y="3837364"/>
                </a:lnTo>
                <a:cubicBezTo>
                  <a:pt x="4337634" y="3840095"/>
                  <a:pt x="4341784" y="3842927"/>
                  <a:pt x="4348974" y="3843636"/>
                </a:cubicBezTo>
                <a:lnTo>
                  <a:pt x="4357758" y="3834546"/>
                </a:lnTo>
                <a:lnTo>
                  <a:pt x="4350434" y="3834174"/>
                </a:lnTo>
                <a:cubicBezTo>
                  <a:pt x="4347668" y="3834098"/>
                  <a:pt x="4345317" y="3834503"/>
                  <a:pt x="4345455" y="3836678"/>
                </a:cubicBezTo>
                <a:cubicBezTo>
                  <a:pt x="4334115" y="3833036"/>
                  <a:pt x="4324434" y="3827675"/>
                  <a:pt x="4311158" y="3823022"/>
                </a:cubicBezTo>
                <a:cubicBezTo>
                  <a:pt x="4312817" y="3815537"/>
                  <a:pt x="4314754" y="3816548"/>
                  <a:pt x="4320287" y="3814121"/>
                </a:cubicBezTo>
                <a:cubicBezTo>
                  <a:pt x="4316966" y="3829091"/>
                  <a:pt x="4347116" y="3829192"/>
                  <a:pt x="4358178" y="3821302"/>
                </a:cubicBezTo>
                <a:cubicBezTo>
                  <a:pt x="4363710" y="3821606"/>
                  <a:pt x="4345455" y="3836576"/>
                  <a:pt x="4358455" y="3832631"/>
                </a:cubicBezTo>
                <a:lnTo>
                  <a:pt x="4357966" y="3834331"/>
                </a:lnTo>
                <a:lnTo>
                  <a:pt x="4361144" y="3831042"/>
                </a:lnTo>
                <a:cubicBezTo>
                  <a:pt x="4365500" y="3827249"/>
                  <a:pt x="4368750" y="3823051"/>
                  <a:pt x="4366676" y="3816021"/>
                </a:cubicBezTo>
                <a:cubicBezTo>
                  <a:pt x="4397378" y="3805805"/>
                  <a:pt x="4417846" y="3787597"/>
                  <a:pt x="4438313" y="3769390"/>
                </a:cubicBezTo>
                <a:lnTo>
                  <a:pt x="4496074" y="3739329"/>
                </a:lnTo>
                <a:lnTo>
                  <a:pt x="4464389" y="3728950"/>
                </a:lnTo>
                <a:cubicBezTo>
                  <a:pt x="4467155" y="3728040"/>
                  <a:pt x="4469921" y="3727635"/>
                  <a:pt x="4472686" y="3727433"/>
                </a:cubicBezTo>
                <a:cubicBezTo>
                  <a:pt x="4475176" y="3727231"/>
                  <a:pt x="4477942" y="3727332"/>
                  <a:pt x="4480431" y="3727736"/>
                </a:cubicBezTo>
                <a:lnTo>
                  <a:pt x="4502565" y="3735109"/>
                </a:lnTo>
                <a:lnTo>
                  <a:pt x="4549779" y="3703198"/>
                </a:lnTo>
                <a:lnTo>
                  <a:pt x="4591248" y="3673210"/>
                </a:lnTo>
                <a:lnTo>
                  <a:pt x="4556770" y="3664820"/>
                </a:lnTo>
                <a:cubicBezTo>
                  <a:pt x="4570323" y="3664694"/>
                  <a:pt x="4582995" y="3666363"/>
                  <a:pt x="4595226" y="3668883"/>
                </a:cubicBezTo>
                <a:lnTo>
                  <a:pt x="4596706" y="3669263"/>
                </a:lnTo>
                <a:lnTo>
                  <a:pt x="4614019" y="3656742"/>
                </a:lnTo>
                <a:lnTo>
                  <a:pt x="4611016" y="3654831"/>
                </a:lnTo>
                <a:cubicBezTo>
                  <a:pt x="4604205" y="3652049"/>
                  <a:pt x="4596737" y="3650659"/>
                  <a:pt x="4592173" y="3653693"/>
                </a:cubicBezTo>
                <a:cubicBezTo>
                  <a:pt x="4589269" y="3650659"/>
                  <a:pt x="4587333" y="3648863"/>
                  <a:pt x="4584705" y="3647017"/>
                </a:cubicBezTo>
                <a:lnTo>
                  <a:pt x="4574448" y="3640854"/>
                </a:lnTo>
                <a:lnTo>
                  <a:pt x="4573013" y="3640724"/>
                </a:lnTo>
                <a:close/>
                <a:moveTo>
                  <a:pt x="4590710" y="3622808"/>
                </a:moveTo>
                <a:lnTo>
                  <a:pt x="4587948" y="3624843"/>
                </a:lnTo>
                <a:lnTo>
                  <a:pt x="4590161" y="3624034"/>
                </a:lnTo>
                <a:lnTo>
                  <a:pt x="4590413" y="3623989"/>
                </a:lnTo>
                <a:close/>
                <a:moveTo>
                  <a:pt x="4645693" y="3620058"/>
                </a:moveTo>
                <a:lnTo>
                  <a:pt x="4631332" y="3624703"/>
                </a:lnTo>
                <a:lnTo>
                  <a:pt x="4631829" y="3625257"/>
                </a:lnTo>
                <a:cubicBezTo>
                  <a:pt x="4634906" y="3626281"/>
                  <a:pt x="4638225" y="3627444"/>
                  <a:pt x="4638364" y="3631743"/>
                </a:cubicBezTo>
                <a:cubicBezTo>
                  <a:pt x="4634768" y="3635283"/>
                  <a:pt x="4632832" y="3639936"/>
                  <a:pt x="4629236" y="3640644"/>
                </a:cubicBezTo>
                <a:lnTo>
                  <a:pt x="4610835" y="3633181"/>
                </a:lnTo>
                <a:lnTo>
                  <a:pt x="4595969" y="3640420"/>
                </a:lnTo>
                <a:cubicBezTo>
                  <a:pt x="4592927" y="3638802"/>
                  <a:pt x="4587395" y="3637588"/>
                  <a:pt x="4581864" y="3636475"/>
                </a:cubicBezTo>
                <a:cubicBezTo>
                  <a:pt x="4581864" y="3639409"/>
                  <a:pt x="4580895" y="3640800"/>
                  <a:pt x="4579305" y="3641293"/>
                </a:cubicBezTo>
                <a:lnTo>
                  <a:pt x="4578364" y="3641208"/>
                </a:lnTo>
                <a:lnTo>
                  <a:pt x="4622085" y="3650911"/>
                </a:lnTo>
                <a:lnTo>
                  <a:pt x="4651064" y="3629954"/>
                </a:lnTo>
                <a:lnTo>
                  <a:pt x="4650292" y="3621463"/>
                </a:lnTo>
                <a:close/>
                <a:moveTo>
                  <a:pt x="4762000" y="3619503"/>
                </a:moveTo>
                <a:lnTo>
                  <a:pt x="4751010" y="3620087"/>
                </a:lnTo>
                <a:lnTo>
                  <a:pt x="4745298" y="3625124"/>
                </a:lnTo>
                <a:lnTo>
                  <a:pt x="4787170" y="3628000"/>
                </a:lnTo>
                <a:lnTo>
                  <a:pt x="4771957" y="3622841"/>
                </a:lnTo>
                <a:lnTo>
                  <a:pt x="4769191" y="3623448"/>
                </a:lnTo>
                <a:lnTo>
                  <a:pt x="4765319" y="3620616"/>
                </a:lnTo>
                <a:close/>
                <a:moveTo>
                  <a:pt x="3490162" y="3598543"/>
                </a:moveTo>
                <a:cubicBezTo>
                  <a:pt x="3502332" y="3597633"/>
                  <a:pt x="3506205" y="3602589"/>
                  <a:pt x="3515332" y="3605826"/>
                </a:cubicBezTo>
                <a:cubicBezTo>
                  <a:pt x="3503992" y="3613716"/>
                  <a:pt x="3469695" y="3616852"/>
                  <a:pt x="3449504" y="3621505"/>
                </a:cubicBezTo>
                <a:cubicBezTo>
                  <a:pt x="3451440" y="3612502"/>
                  <a:pt x="3461674" y="3609063"/>
                  <a:pt x="3467759" y="3614323"/>
                </a:cubicBezTo>
                <a:cubicBezTo>
                  <a:pt x="3473844" y="3608153"/>
                  <a:pt x="3482418" y="3602286"/>
                  <a:pt x="3490162" y="3598543"/>
                </a:cubicBezTo>
                <a:close/>
                <a:moveTo>
                  <a:pt x="1835601" y="3597532"/>
                </a:moveTo>
                <a:cubicBezTo>
                  <a:pt x="1839473" y="3597228"/>
                  <a:pt x="1843622" y="3597532"/>
                  <a:pt x="1848601" y="3598948"/>
                </a:cubicBezTo>
                <a:cubicBezTo>
                  <a:pt x="1840856" y="3597329"/>
                  <a:pt x="1828133" y="3603803"/>
                  <a:pt x="1825920" y="3599858"/>
                </a:cubicBezTo>
                <a:cubicBezTo>
                  <a:pt x="1828686" y="3598644"/>
                  <a:pt x="1832005" y="3597734"/>
                  <a:pt x="1835601" y="3597532"/>
                </a:cubicBezTo>
                <a:close/>
                <a:moveTo>
                  <a:pt x="7936976" y="3596036"/>
                </a:moveTo>
                <a:cubicBezTo>
                  <a:pt x="7928471" y="3597933"/>
                  <a:pt x="7922559" y="3602472"/>
                  <a:pt x="7917749" y="3608339"/>
                </a:cubicBezTo>
                <a:lnTo>
                  <a:pt x="7913560" y="3615069"/>
                </a:lnTo>
                <a:lnTo>
                  <a:pt x="7921038" y="3612602"/>
                </a:lnTo>
                <a:lnTo>
                  <a:pt x="7932957" y="3612273"/>
                </a:lnTo>
                <a:lnTo>
                  <a:pt x="7940572" y="3604634"/>
                </a:lnTo>
                <a:cubicBezTo>
                  <a:pt x="7938912" y="3600284"/>
                  <a:pt x="7934764" y="3596542"/>
                  <a:pt x="7936976" y="3596036"/>
                </a:cubicBezTo>
                <a:close/>
                <a:moveTo>
                  <a:pt x="3565948" y="3593890"/>
                </a:moveTo>
                <a:cubicBezTo>
                  <a:pt x="3558480" y="3606635"/>
                  <a:pt x="3543268" y="3609569"/>
                  <a:pt x="3528885" y="3607950"/>
                </a:cubicBezTo>
                <a:cubicBezTo>
                  <a:pt x="3537736" y="3599858"/>
                  <a:pt x="3551565" y="3592272"/>
                  <a:pt x="3565948" y="3593890"/>
                </a:cubicBezTo>
                <a:close/>
                <a:moveTo>
                  <a:pt x="3409675" y="3592069"/>
                </a:moveTo>
                <a:cubicBezTo>
                  <a:pt x="3417143" y="3590653"/>
                  <a:pt x="3419079" y="3593081"/>
                  <a:pt x="3425993" y="3593890"/>
                </a:cubicBezTo>
                <a:cubicBezTo>
                  <a:pt x="3422951" y="3598037"/>
                  <a:pt x="3422121" y="3602387"/>
                  <a:pt x="3421291" y="3606838"/>
                </a:cubicBezTo>
                <a:cubicBezTo>
                  <a:pt x="3418802" y="3606534"/>
                  <a:pt x="3416589" y="3606332"/>
                  <a:pt x="3414100" y="3606029"/>
                </a:cubicBezTo>
                <a:cubicBezTo>
                  <a:pt x="3415483" y="3599454"/>
                  <a:pt x="3411334" y="3596722"/>
                  <a:pt x="3409675" y="3592069"/>
                </a:cubicBezTo>
                <a:close/>
                <a:moveTo>
                  <a:pt x="1814304" y="3591159"/>
                </a:moveTo>
                <a:cubicBezTo>
                  <a:pt x="1814857" y="3591058"/>
                  <a:pt x="1815133" y="3591361"/>
                  <a:pt x="1815410" y="3591766"/>
                </a:cubicBezTo>
                <a:cubicBezTo>
                  <a:pt x="1815963" y="3592474"/>
                  <a:pt x="1817070" y="3593688"/>
                  <a:pt x="1819836" y="3593890"/>
                </a:cubicBezTo>
                <a:cubicBezTo>
                  <a:pt x="1818176" y="3595711"/>
                  <a:pt x="1816240" y="3597633"/>
                  <a:pt x="1814304" y="3599454"/>
                </a:cubicBezTo>
                <a:cubicBezTo>
                  <a:pt x="1810431" y="3597329"/>
                  <a:pt x="1802964" y="3598847"/>
                  <a:pt x="1808495" y="3593283"/>
                </a:cubicBezTo>
                <a:cubicBezTo>
                  <a:pt x="1810431" y="3594396"/>
                  <a:pt x="1810431" y="3594396"/>
                  <a:pt x="1812367" y="3595408"/>
                </a:cubicBezTo>
                <a:cubicBezTo>
                  <a:pt x="1814304" y="3593587"/>
                  <a:pt x="1814304" y="3593587"/>
                  <a:pt x="1812367" y="3592575"/>
                </a:cubicBezTo>
                <a:cubicBezTo>
                  <a:pt x="1813197" y="3591564"/>
                  <a:pt x="1813751" y="3591260"/>
                  <a:pt x="1814304" y="3591159"/>
                </a:cubicBezTo>
                <a:close/>
                <a:moveTo>
                  <a:pt x="4646005" y="3590194"/>
                </a:moveTo>
                <a:cubicBezTo>
                  <a:pt x="4642582" y="3590321"/>
                  <a:pt x="4638918" y="3591130"/>
                  <a:pt x="4634768" y="3593305"/>
                </a:cubicBezTo>
                <a:lnTo>
                  <a:pt x="4633904" y="3592746"/>
                </a:lnTo>
                <a:lnTo>
                  <a:pt x="4619253" y="3602581"/>
                </a:lnTo>
                <a:lnTo>
                  <a:pt x="4635450" y="3607992"/>
                </a:lnTo>
                <a:lnTo>
                  <a:pt x="4642703" y="3605998"/>
                </a:lnTo>
                <a:lnTo>
                  <a:pt x="4645279" y="3604533"/>
                </a:lnTo>
                <a:lnTo>
                  <a:pt x="4646815" y="3604868"/>
                </a:lnTo>
                <a:lnTo>
                  <a:pt x="4670925" y="3598240"/>
                </a:lnTo>
                <a:lnTo>
                  <a:pt x="4680696" y="3593552"/>
                </a:lnTo>
                <a:lnTo>
                  <a:pt x="4677087" y="3590675"/>
                </a:lnTo>
                <a:cubicBezTo>
                  <a:pt x="4671002" y="3591383"/>
                  <a:pt x="4674597" y="3594620"/>
                  <a:pt x="4668236" y="3593406"/>
                </a:cubicBezTo>
                <a:cubicBezTo>
                  <a:pt x="4659385" y="3594418"/>
                  <a:pt x="4672661" y="3600183"/>
                  <a:pt x="4660492" y="3599678"/>
                </a:cubicBezTo>
                <a:cubicBezTo>
                  <a:pt x="4656342" y="3594721"/>
                  <a:pt x="4654130" y="3598565"/>
                  <a:pt x="4655789" y="3591181"/>
                </a:cubicBezTo>
                <a:cubicBezTo>
                  <a:pt x="4652608" y="3590625"/>
                  <a:pt x="4649428" y="3590068"/>
                  <a:pt x="4646005" y="3590194"/>
                </a:cubicBezTo>
                <a:close/>
                <a:moveTo>
                  <a:pt x="8309057" y="3586444"/>
                </a:moveTo>
                <a:lnTo>
                  <a:pt x="8299690" y="3592776"/>
                </a:lnTo>
                <a:cubicBezTo>
                  <a:pt x="8284062" y="3598997"/>
                  <a:pt x="8267536" y="3603397"/>
                  <a:pt x="8249627" y="3607089"/>
                </a:cubicBezTo>
                <a:lnTo>
                  <a:pt x="8247169" y="3607513"/>
                </a:lnTo>
                <a:lnTo>
                  <a:pt x="8225321" y="3638647"/>
                </a:lnTo>
                <a:lnTo>
                  <a:pt x="8224857" y="3639552"/>
                </a:lnTo>
                <a:lnTo>
                  <a:pt x="8288444" y="3620281"/>
                </a:lnTo>
                <a:lnTo>
                  <a:pt x="8302836" y="3598679"/>
                </a:lnTo>
                <a:close/>
                <a:moveTo>
                  <a:pt x="9803786" y="3583976"/>
                </a:moveTo>
                <a:cubicBezTo>
                  <a:pt x="9805723" y="3585999"/>
                  <a:pt x="9806552" y="3587718"/>
                  <a:pt x="9806829" y="3589438"/>
                </a:cubicBezTo>
                <a:cubicBezTo>
                  <a:pt x="9807106" y="3591157"/>
                  <a:pt x="9807382" y="3592877"/>
                  <a:pt x="9808212" y="3595102"/>
                </a:cubicBezTo>
                <a:cubicBezTo>
                  <a:pt x="9804340" y="3591157"/>
                  <a:pt x="9797978" y="3599755"/>
                  <a:pt x="9794382" y="3590854"/>
                </a:cubicBezTo>
                <a:cubicBezTo>
                  <a:pt x="9802957" y="3593888"/>
                  <a:pt x="9797978" y="3587718"/>
                  <a:pt x="9803786" y="3583976"/>
                </a:cubicBezTo>
                <a:close/>
                <a:moveTo>
                  <a:pt x="1729667" y="3579830"/>
                </a:moveTo>
                <a:cubicBezTo>
                  <a:pt x="1735476" y="3582966"/>
                  <a:pt x="1741007" y="3583370"/>
                  <a:pt x="1744879" y="3585495"/>
                </a:cubicBezTo>
                <a:cubicBezTo>
                  <a:pt x="1745156" y="3591260"/>
                  <a:pt x="1737412" y="3587012"/>
                  <a:pt x="1733816" y="3587619"/>
                </a:cubicBezTo>
                <a:cubicBezTo>
                  <a:pt x="1732156" y="3595104"/>
                  <a:pt x="1754560" y="3593688"/>
                  <a:pt x="1756496" y="3600465"/>
                </a:cubicBezTo>
                <a:cubicBezTo>
                  <a:pt x="1763411" y="3579122"/>
                  <a:pt x="1775581" y="3608355"/>
                  <a:pt x="1792177" y="3598037"/>
                </a:cubicBezTo>
                <a:cubicBezTo>
                  <a:pt x="1788581" y="3604511"/>
                  <a:pt x="1784708" y="3602286"/>
                  <a:pt x="1786645" y="3606231"/>
                </a:cubicBezTo>
                <a:cubicBezTo>
                  <a:pt x="1792177" y="3603702"/>
                  <a:pt x="1801857" y="3611997"/>
                  <a:pt x="1805453" y="3605523"/>
                </a:cubicBezTo>
                <a:cubicBezTo>
                  <a:pt x="1807389" y="3606635"/>
                  <a:pt x="1803517" y="3610176"/>
                  <a:pt x="1803793" y="3613008"/>
                </a:cubicBezTo>
                <a:cubicBezTo>
                  <a:pt x="1811261" y="3614424"/>
                  <a:pt x="1814857" y="3608052"/>
                  <a:pt x="1820389" y="3605523"/>
                </a:cubicBezTo>
                <a:cubicBezTo>
                  <a:pt x="1824261" y="3610580"/>
                  <a:pt x="1802134" y="3617661"/>
                  <a:pt x="1820942" y="3619785"/>
                </a:cubicBezTo>
                <a:cubicBezTo>
                  <a:pt x="1817070" y="3623427"/>
                  <a:pt x="1815133" y="3622314"/>
                  <a:pt x="1811538" y="3625854"/>
                </a:cubicBezTo>
                <a:cubicBezTo>
                  <a:pt x="1773645" y="3610176"/>
                  <a:pt x="1736029" y="3600162"/>
                  <a:pt x="1690668" y="3585798"/>
                </a:cubicBezTo>
                <a:cubicBezTo>
                  <a:pt x="1699795" y="3579830"/>
                  <a:pt x="1718880" y="3593283"/>
                  <a:pt x="1729667" y="3579830"/>
                </a:cubicBezTo>
                <a:close/>
                <a:moveTo>
                  <a:pt x="4797666" y="3576754"/>
                </a:moveTo>
                <a:lnTo>
                  <a:pt x="4797327" y="3576998"/>
                </a:lnTo>
                <a:lnTo>
                  <a:pt x="4797243" y="3577419"/>
                </a:lnTo>
                <a:lnTo>
                  <a:pt x="4797403" y="3577424"/>
                </a:lnTo>
                <a:close/>
                <a:moveTo>
                  <a:pt x="1662179" y="3570929"/>
                </a:moveTo>
                <a:cubicBezTo>
                  <a:pt x="1665222" y="3570423"/>
                  <a:pt x="1669094" y="3570524"/>
                  <a:pt x="1672413" y="3571333"/>
                </a:cubicBezTo>
                <a:cubicBezTo>
                  <a:pt x="1679051" y="3572952"/>
                  <a:pt x="1683753" y="3577099"/>
                  <a:pt x="1679328" y="3582966"/>
                </a:cubicBezTo>
                <a:cubicBezTo>
                  <a:pt x="1671583" y="3575885"/>
                  <a:pt x="1666051" y="3578313"/>
                  <a:pt x="1654711" y="3574772"/>
                </a:cubicBezTo>
                <a:cubicBezTo>
                  <a:pt x="1656094" y="3572648"/>
                  <a:pt x="1658860" y="3571536"/>
                  <a:pt x="1662179" y="3570929"/>
                </a:cubicBezTo>
                <a:close/>
                <a:moveTo>
                  <a:pt x="1726625" y="3567085"/>
                </a:moveTo>
                <a:cubicBezTo>
                  <a:pt x="1728837" y="3566883"/>
                  <a:pt x="1730774" y="3567085"/>
                  <a:pt x="1732986" y="3567591"/>
                </a:cubicBezTo>
                <a:cubicBezTo>
                  <a:pt x="1746262" y="3570119"/>
                  <a:pt x="1760092" y="3580538"/>
                  <a:pt x="1772815" y="3572749"/>
                </a:cubicBezTo>
                <a:cubicBezTo>
                  <a:pt x="1784155" y="3581954"/>
                  <a:pt x="1801027" y="3577301"/>
                  <a:pt x="1806836" y="3591968"/>
                </a:cubicBezTo>
                <a:cubicBezTo>
                  <a:pt x="1806006" y="3594295"/>
                  <a:pt x="1805176" y="3595205"/>
                  <a:pt x="1804346" y="3595104"/>
                </a:cubicBezTo>
                <a:cubicBezTo>
                  <a:pt x="1803793" y="3595104"/>
                  <a:pt x="1803240" y="3594093"/>
                  <a:pt x="1803240" y="3592575"/>
                </a:cubicBezTo>
                <a:cubicBezTo>
                  <a:pt x="1778623" y="3581651"/>
                  <a:pt x="1750411" y="3582865"/>
                  <a:pt x="1720263" y="3568602"/>
                </a:cubicBezTo>
                <a:cubicBezTo>
                  <a:pt x="1722199" y="3567692"/>
                  <a:pt x="1724412" y="3567186"/>
                  <a:pt x="1726625" y="3567085"/>
                </a:cubicBezTo>
                <a:close/>
                <a:moveTo>
                  <a:pt x="7995060" y="3566803"/>
                </a:moveTo>
                <a:cubicBezTo>
                  <a:pt x="7978741" y="3563364"/>
                  <a:pt x="7987316" y="3584909"/>
                  <a:pt x="7973210" y="3580964"/>
                </a:cubicBezTo>
                <a:lnTo>
                  <a:pt x="7960948" y="3599349"/>
                </a:lnTo>
                <a:lnTo>
                  <a:pt x="7968715" y="3597315"/>
                </a:lnTo>
                <a:lnTo>
                  <a:pt x="7976502" y="3596314"/>
                </a:lnTo>
                <a:close/>
                <a:moveTo>
                  <a:pt x="9828126" y="3564959"/>
                </a:moveTo>
                <a:cubicBezTo>
                  <a:pt x="9830339" y="3564757"/>
                  <a:pt x="9832552" y="3564959"/>
                  <a:pt x="9834211" y="3565768"/>
                </a:cubicBezTo>
                <a:cubicBezTo>
                  <a:pt x="9834488" y="3572646"/>
                  <a:pt x="9822041" y="3573152"/>
                  <a:pt x="9822318" y="3580031"/>
                </a:cubicBezTo>
                <a:cubicBezTo>
                  <a:pt x="9817616" y="3581042"/>
                  <a:pt x="9817339" y="3574164"/>
                  <a:pt x="9812637" y="3575175"/>
                </a:cubicBezTo>
                <a:cubicBezTo>
                  <a:pt x="9812361" y="3570016"/>
                  <a:pt x="9821212" y="3565566"/>
                  <a:pt x="9828126" y="3564959"/>
                </a:cubicBezTo>
                <a:close/>
                <a:moveTo>
                  <a:pt x="4826169" y="3555069"/>
                </a:moveTo>
                <a:lnTo>
                  <a:pt x="4824736" y="3555134"/>
                </a:lnTo>
                <a:lnTo>
                  <a:pt x="4820007" y="3560409"/>
                </a:lnTo>
                <a:lnTo>
                  <a:pt x="4820007" y="3560510"/>
                </a:lnTo>
                <a:lnTo>
                  <a:pt x="4821668" y="3564758"/>
                </a:lnTo>
                <a:lnTo>
                  <a:pt x="4810698" y="3568616"/>
                </a:lnTo>
                <a:lnTo>
                  <a:pt x="4812650" y="3568118"/>
                </a:lnTo>
                <a:cubicBezTo>
                  <a:pt x="4818009" y="3567612"/>
                  <a:pt x="4824094" y="3568219"/>
                  <a:pt x="4831700" y="3571051"/>
                </a:cubicBezTo>
                <a:cubicBezTo>
                  <a:pt x="4837232" y="3571456"/>
                  <a:pt x="4829764" y="3567208"/>
                  <a:pt x="4837232" y="3565791"/>
                </a:cubicBezTo>
                <a:cubicBezTo>
                  <a:pt x="4833360" y="3562150"/>
                  <a:pt x="4830594" y="3561341"/>
                  <a:pt x="4828935" y="3560026"/>
                </a:cubicBezTo>
                <a:lnTo>
                  <a:pt x="4828105" y="3555272"/>
                </a:lnTo>
                <a:close/>
                <a:moveTo>
                  <a:pt x="9470772" y="3542301"/>
                </a:moveTo>
                <a:cubicBezTo>
                  <a:pt x="9469113" y="3544425"/>
                  <a:pt x="9467453" y="3546549"/>
                  <a:pt x="9466623" y="3548977"/>
                </a:cubicBezTo>
                <a:lnTo>
                  <a:pt x="9473815" y="3543009"/>
                </a:lnTo>
                <a:close/>
                <a:moveTo>
                  <a:pt x="10481155" y="3534512"/>
                </a:moveTo>
                <a:cubicBezTo>
                  <a:pt x="10480602" y="3540075"/>
                  <a:pt x="10464837" y="3551404"/>
                  <a:pt x="10454326" y="3546650"/>
                </a:cubicBezTo>
                <a:cubicBezTo>
                  <a:pt x="10463730" y="3544121"/>
                  <a:pt x="10460135" y="3543515"/>
                  <a:pt x="10466219" y="3537547"/>
                </a:cubicBezTo>
                <a:cubicBezTo>
                  <a:pt x="10473134" y="3541593"/>
                  <a:pt x="10475347" y="3537749"/>
                  <a:pt x="10481155" y="3534512"/>
                </a:cubicBezTo>
                <a:close/>
                <a:moveTo>
                  <a:pt x="4727426" y="3532715"/>
                </a:moveTo>
                <a:lnTo>
                  <a:pt x="4733789" y="3541211"/>
                </a:lnTo>
                <a:lnTo>
                  <a:pt x="4703920" y="3538794"/>
                </a:lnTo>
                <a:lnTo>
                  <a:pt x="4684823" y="3548372"/>
                </a:lnTo>
                <a:lnTo>
                  <a:pt x="4683550" y="3550454"/>
                </a:lnTo>
                <a:lnTo>
                  <a:pt x="4684140" y="3550568"/>
                </a:lnTo>
                <a:lnTo>
                  <a:pt x="4731639" y="3557840"/>
                </a:lnTo>
                <a:lnTo>
                  <a:pt x="4745362" y="3547031"/>
                </a:lnTo>
                <a:lnTo>
                  <a:pt x="4753580" y="3539033"/>
                </a:lnTo>
                <a:lnTo>
                  <a:pt x="4753149" y="3538986"/>
                </a:lnTo>
                <a:lnTo>
                  <a:pt x="4750660" y="3537873"/>
                </a:lnTo>
                <a:lnTo>
                  <a:pt x="4741809" y="3535952"/>
                </a:lnTo>
                <a:close/>
                <a:moveTo>
                  <a:pt x="9487367" y="3531680"/>
                </a:moveTo>
                <a:lnTo>
                  <a:pt x="9478793" y="3535220"/>
                </a:lnTo>
                <a:lnTo>
                  <a:pt x="9481006" y="3536940"/>
                </a:lnTo>
                <a:close/>
                <a:moveTo>
                  <a:pt x="1531629" y="3522274"/>
                </a:moveTo>
                <a:cubicBezTo>
                  <a:pt x="1557905" y="3520150"/>
                  <a:pt x="1586670" y="3539066"/>
                  <a:pt x="1605478" y="3544022"/>
                </a:cubicBezTo>
                <a:cubicBezTo>
                  <a:pt x="1614882" y="3543719"/>
                  <a:pt x="1624010" y="3531884"/>
                  <a:pt x="1628158" y="3542606"/>
                </a:cubicBezTo>
                <a:cubicBezTo>
                  <a:pt x="1624286" y="3546146"/>
                  <a:pt x="1624286" y="3543314"/>
                  <a:pt x="1624286" y="3543314"/>
                </a:cubicBezTo>
                <a:cubicBezTo>
                  <a:pt x="1614882" y="3540886"/>
                  <a:pt x="1615159" y="3555149"/>
                  <a:pt x="1615435" y="3558082"/>
                </a:cubicBezTo>
                <a:cubicBezTo>
                  <a:pt x="1605478" y="3538358"/>
                  <a:pt x="1554586" y="3538054"/>
                  <a:pt x="1531629" y="3522274"/>
                </a:cubicBezTo>
                <a:close/>
                <a:moveTo>
                  <a:pt x="1565373" y="3516104"/>
                </a:moveTo>
                <a:cubicBezTo>
                  <a:pt x="1569245" y="3521061"/>
                  <a:pt x="1571181" y="3522072"/>
                  <a:pt x="1582245" y="3522780"/>
                </a:cubicBezTo>
                <a:cubicBezTo>
                  <a:pt x="1578649" y="3526320"/>
                  <a:pt x="1582521" y="3528546"/>
                  <a:pt x="1584181" y="3529557"/>
                </a:cubicBezTo>
                <a:cubicBezTo>
                  <a:pt x="1575053" y="3529962"/>
                  <a:pt x="1561777" y="3522477"/>
                  <a:pt x="1565373" y="3516104"/>
                </a:cubicBezTo>
                <a:close/>
                <a:moveTo>
                  <a:pt x="3524736" y="3511046"/>
                </a:moveTo>
                <a:cubicBezTo>
                  <a:pt x="3521970" y="3512260"/>
                  <a:pt x="3519204" y="3513575"/>
                  <a:pt x="3516992" y="3515497"/>
                </a:cubicBezTo>
                <a:lnTo>
                  <a:pt x="3512843" y="3522072"/>
                </a:lnTo>
                <a:lnTo>
                  <a:pt x="3520311" y="3518532"/>
                </a:lnTo>
                <a:lnTo>
                  <a:pt x="3527779" y="3513069"/>
                </a:lnTo>
                <a:close/>
                <a:moveTo>
                  <a:pt x="1805176" y="3506798"/>
                </a:moveTo>
                <a:cubicBezTo>
                  <a:pt x="1820112" y="3509529"/>
                  <a:pt x="1835324" y="3520858"/>
                  <a:pt x="1840856" y="3512564"/>
                </a:cubicBezTo>
                <a:cubicBezTo>
                  <a:pt x="1842792" y="3510743"/>
                  <a:pt x="1856069" y="3518228"/>
                  <a:pt x="1854133" y="3522982"/>
                </a:cubicBezTo>
                <a:cubicBezTo>
                  <a:pt x="1842792" y="3528141"/>
                  <a:pt x="1827857" y="3522477"/>
                  <a:pt x="1820389" y="3518228"/>
                </a:cubicBezTo>
                <a:cubicBezTo>
                  <a:pt x="1827857" y="3528242"/>
                  <a:pt x="1797708" y="3514081"/>
                  <a:pt x="1805176" y="3506798"/>
                </a:cubicBezTo>
                <a:close/>
                <a:moveTo>
                  <a:pt x="1528310" y="3502651"/>
                </a:moveTo>
                <a:cubicBezTo>
                  <a:pt x="1530522" y="3502550"/>
                  <a:pt x="1533012" y="3503258"/>
                  <a:pt x="1534948" y="3504269"/>
                </a:cubicBezTo>
                <a:cubicBezTo>
                  <a:pt x="1531352" y="3510743"/>
                  <a:pt x="1521948" y="3508214"/>
                  <a:pt x="1521672" y="3505382"/>
                </a:cubicBezTo>
                <a:cubicBezTo>
                  <a:pt x="1523608" y="3503561"/>
                  <a:pt x="1525820" y="3502752"/>
                  <a:pt x="1528310" y="3502651"/>
                </a:cubicBezTo>
                <a:close/>
                <a:moveTo>
                  <a:pt x="8353620" y="3498382"/>
                </a:moveTo>
                <a:lnTo>
                  <a:pt x="8350306" y="3500221"/>
                </a:lnTo>
                <a:lnTo>
                  <a:pt x="8347817" y="3501132"/>
                </a:lnTo>
                <a:lnTo>
                  <a:pt x="8347263" y="3502346"/>
                </a:lnTo>
                <a:lnTo>
                  <a:pt x="8337583" y="3505481"/>
                </a:lnTo>
                <a:lnTo>
                  <a:pt x="8330391" y="3511854"/>
                </a:lnTo>
                <a:lnTo>
                  <a:pt x="8323477" y="3511146"/>
                </a:lnTo>
                <a:lnTo>
                  <a:pt x="8297201" y="3519238"/>
                </a:lnTo>
                <a:lnTo>
                  <a:pt x="8289456" y="3523992"/>
                </a:lnTo>
                <a:lnTo>
                  <a:pt x="8288257" y="3524341"/>
                </a:lnTo>
                <a:lnTo>
                  <a:pt x="8275416" y="3550212"/>
                </a:lnTo>
                <a:lnTo>
                  <a:pt x="8287520" y="3545588"/>
                </a:lnTo>
                <a:lnTo>
                  <a:pt x="8310878" y="3537290"/>
                </a:lnTo>
                <a:lnTo>
                  <a:pt x="8315352" y="3532955"/>
                </a:lnTo>
                <a:cubicBezTo>
                  <a:pt x="8321091" y="3529832"/>
                  <a:pt x="8327245" y="3527151"/>
                  <a:pt x="8329181" y="3524622"/>
                </a:cubicBezTo>
                <a:lnTo>
                  <a:pt x="8323697" y="3532735"/>
                </a:lnTo>
                <a:lnTo>
                  <a:pt x="8339158" y="3527243"/>
                </a:lnTo>
                <a:lnTo>
                  <a:pt x="8353244" y="3499537"/>
                </a:lnTo>
                <a:close/>
                <a:moveTo>
                  <a:pt x="8540600" y="3496479"/>
                </a:moveTo>
                <a:cubicBezTo>
                  <a:pt x="8529813" y="3502042"/>
                  <a:pt x="8495239" y="3507403"/>
                  <a:pt x="8496622" y="3523486"/>
                </a:cubicBezTo>
                <a:cubicBezTo>
                  <a:pt x="8470346" y="3522778"/>
                  <a:pt x="8428028" y="3529556"/>
                  <a:pt x="8418900" y="3551202"/>
                </a:cubicBezTo>
                <a:lnTo>
                  <a:pt x="8397129" y="3556534"/>
                </a:lnTo>
                <a:lnTo>
                  <a:pt x="8396427" y="3559268"/>
                </a:lnTo>
                <a:cubicBezTo>
                  <a:pt x="8392243" y="3568978"/>
                  <a:pt x="8385882" y="3577981"/>
                  <a:pt x="8375371" y="3586123"/>
                </a:cubicBezTo>
                <a:lnTo>
                  <a:pt x="8374214" y="3588458"/>
                </a:lnTo>
                <a:lnTo>
                  <a:pt x="8409220" y="3575276"/>
                </a:lnTo>
                <a:cubicBezTo>
                  <a:pt x="8414751" y="3571331"/>
                  <a:pt x="8418624" y="3564959"/>
                  <a:pt x="8419730" y="3558283"/>
                </a:cubicBezTo>
                <a:cubicBezTo>
                  <a:pt x="8431623" y="3559497"/>
                  <a:pt x="8450708" y="3547965"/>
                  <a:pt x="8467857" y="3547561"/>
                </a:cubicBezTo>
                <a:cubicBezTo>
                  <a:pt x="8472835" y="3545841"/>
                  <a:pt x="8461495" y="3542301"/>
                  <a:pt x="8465644" y="3533703"/>
                </a:cubicBezTo>
                <a:cubicBezTo>
                  <a:pt x="8479611" y="3542048"/>
                  <a:pt x="8492335" y="3538887"/>
                  <a:pt x="8504539" y="3532262"/>
                </a:cubicBezTo>
                <a:lnTo>
                  <a:pt x="8507558" y="3530386"/>
                </a:lnTo>
                <a:lnTo>
                  <a:pt x="8509518" y="3521487"/>
                </a:lnTo>
                <a:cubicBezTo>
                  <a:pt x="8511454" y="3523206"/>
                  <a:pt x="8509241" y="3524319"/>
                  <a:pt x="8508964" y="3527050"/>
                </a:cubicBezTo>
                <a:lnTo>
                  <a:pt x="8511577" y="3527890"/>
                </a:lnTo>
                <a:lnTo>
                  <a:pt x="8540323" y="3510033"/>
                </a:lnTo>
                <a:lnTo>
                  <a:pt x="8540336" y="3509407"/>
                </a:lnTo>
                <a:lnTo>
                  <a:pt x="8522241" y="3519969"/>
                </a:lnTo>
                <a:cubicBezTo>
                  <a:pt x="8522656" y="3512889"/>
                  <a:pt x="8528188" y="3505732"/>
                  <a:pt x="8535517" y="3499650"/>
                </a:cubicBezTo>
                <a:lnTo>
                  <a:pt x="8540595" y="3496723"/>
                </a:lnTo>
                <a:close/>
                <a:moveTo>
                  <a:pt x="3611105" y="3495765"/>
                </a:moveTo>
                <a:lnTo>
                  <a:pt x="3577129" y="3496982"/>
                </a:lnTo>
                <a:lnTo>
                  <a:pt x="3569544" y="3499414"/>
                </a:lnTo>
                <a:cubicBezTo>
                  <a:pt x="3556544" y="3503460"/>
                  <a:pt x="3554331" y="3496683"/>
                  <a:pt x="3539395" y="3499515"/>
                </a:cubicBezTo>
                <a:cubicBezTo>
                  <a:pt x="3535800" y="3503157"/>
                  <a:pt x="3541608" y="3503460"/>
                  <a:pt x="3535800" y="3505989"/>
                </a:cubicBezTo>
                <a:cubicBezTo>
                  <a:pt x="3531927" y="3510035"/>
                  <a:pt x="3539119" y="3509428"/>
                  <a:pt x="3539119" y="3511350"/>
                </a:cubicBezTo>
                <a:lnTo>
                  <a:pt x="3536906" y="3513879"/>
                </a:lnTo>
                <a:lnTo>
                  <a:pt x="3540502" y="3515598"/>
                </a:lnTo>
                <a:cubicBezTo>
                  <a:pt x="3547970" y="3514182"/>
                  <a:pt x="3549353" y="3507405"/>
                  <a:pt x="3559310" y="3506292"/>
                </a:cubicBezTo>
                <a:cubicBezTo>
                  <a:pt x="3558757" y="3508518"/>
                  <a:pt x="3558203" y="3510743"/>
                  <a:pt x="3557927" y="3512968"/>
                </a:cubicBezTo>
                <a:cubicBezTo>
                  <a:pt x="3559586" y="3504067"/>
                  <a:pt x="3593884" y="3489602"/>
                  <a:pt x="3601075" y="3501740"/>
                </a:cubicBezTo>
                <a:close/>
                <a:moveTo>
                  <a:pt x="1795772" y="3495368"/>
                </a:moveTo>
                <a:cubicBezTo>
                  <a:pt x="1801304" y="3495671"/>
                  <a:pt x="1803240" y="3496784"/>
                  <a:pt x="1807112" y="3498908"/>
                </a:cubicBezTo>
                <a:cubicBezTo>
                  <a:pt x="1803240" y="3502448"/>
                  <a:pt x="1801304" y="3501336"/>
                  <a:pt x="1795772" y="3501032"/>
                </a:cubicBezTo>
                <a:cubicBezTo>
                  <a:pt x="1790240" y="3506393"/>
                  <a:pt x="1803517" y="3505281"/>
                  <a:pt x="1797985" y="3510642"/>
                </a:cubicBezTo>
                <a:cubicBezTo>
                  <a:pt x="1784985" y="3506090"/>
                  <a:pt x="1779177" y="3505685"/>
                  <a:pt x="1767836" y="3499313"/>
                </a:cubicBezTo>
                <a:cubicBezTo>
                  <a:pt x="1773368" y="3493952"/>
                  <a:pt x="1781113" y="3501133"/>
                  <a:pt x="1786645" y="3495772"/>
                </a:cubicBezTo>
                <a:cubicBezTo>
                  <a:pt x="1788304" y="3496784"/>
                  <a:pt x="1782772" y="3496480"/>
                  <a:pt x="1782772" y="3499313"/>
                </a:cubicBezTo>
                <a:cubicBezTo>
                  <a:pt x="1792177" y="3504674"/>
                  <a:pt x="1790240" y="3497897"/>
                  <a:pt x="1795772" y="3495368"/>
                </a:cubicBezTo>
                <a:close/>
                <a:moveTo>
                  <a:pt x="1947620" y="3494255"/>
                </a:moveTo>
                <a:cubicBezTo>
                  <a:pt x="1949280" y="3493952"/>
                  <a:pt x="1950939" y="3494053"/>
                  <a:pt x="1952599" y="3494255"/>
                </a:cubicBezTo>
                <a:cubicBezTo>
                  <a:pt x="1956194" y="3494862"/>
                  <a:pt x="1960067" y="3496278"/>
                  <a:pt x="1963939" y="3496986"/>
                </a:cubicBezTo>
                <a:cubicBezTo>
                  <a:pt x="1960343" y="3503460"/>
                  <a:pt x="1950663" y="3498200"/>
                  <a:pt x="1943195" y="3496683"/>
                </a:cubicBezTo>
                <a:cubicBezTo>
                  <a:pt x="1944578" y="3495368"/>
                  <a:pt x="1945961" y="3494660"/>
                  <a:pt x="1947620" y="3494255"/>
                </a:cubicBezTo>
                <a:close/>
                <a:moveTo>
                  <a:pt x="1847771" y="3490816"/>
                </a:moveTo>
                <a:cubicBezTo>
                  <a:pt x="1851367" y="3491322"/>
                  <a:pt x="1854409" y="3494660"/>
                  <a:pt x="1857452" y="3496379"/>
                </a:cubicBezTo>
                <a:cubicBezTo>
                  <a:pt x="1853856" y="3502853"/>
                  <a:pt x="1845835" y="3492536"/>
                  <a:pt x="1843899" y="3497189"/>
                </a:cubicBezTo>
                <a:cubicBezTo>
                  <a:pt x="1841963" y="3496076"/>
                  <a:pt x="1841963" y="3493142"/>
                  <a:pt x="1843622" y="3491423"/>
                </a:cubicBezTo>
                <a:cubicBezTo>
                  <a:pt x="1845282" y="3490816"/>
                  <a:pt x="1846388" y="3490614"/>
                  <a:pt x="1847771" y="3490816"/>
                </a:cubicBezTo>
                <a:close/>
                <a:moveTo>
                  <a:pt x="9404944" y="3486465"/>
                </a:moveTo>
                <a:lnTo>
                  <a:pt x="9403561" y="3488285"/>
                </a:lnTo>
                <a:cubicBezTo>
                  <a:pt x="9396369" y="3495467"/>
                  <a:pt x="9388348" y="3501941"/>
                  <a:pt x="9378944" y="3507100"/>
                </a:cubicBezTo>
                <a:lnTo>
                  <a:pt x="9368157" y="3520047"/>
                </a:lnTo>
                <a:lnTo>
                  <a:pt x="9366221" y="3524194"/>
                </a:lnTo>
                <a:lnTo>
                  <a:pt x="9363732" y="3525408"/>
                </a:lnTo>
                <a:lnTo>
                  <a:pt x="9358753" y="3531376"/>
                </a:lnTo>
                <a:cubicBezTo>
                  <a:pt x="9351008" y="3538760"/>
                  <a:pt x="9343264" y="3546448"/>
                  <a:pt x="9339945" y="3557474"/>
                </a:cubicBezTo>
                <a:cubicBezTo>
                  <a:pt x="9322243" y="3562329"/>
                  <a:pt x="9313392" y="3581851"/>
                  <a:pt x="9295690" y="3598036"/>
                </a:cubicBezTo>
                <a:cubicBezTo>
                  <a:pt x="9284074" y="3608151"/>
                  <a:pt x="9264436" y="3610579"/>
                  <a:pt x="9265542" y="3628887"/>
                </a:cubicBezTo>
                <a:cubicBezTo>
                  <a:pt x="9245351" y="3633439"/>
                  <a:pt x="9238436" y="3644060"/>
                  <a:pt x="9233181" y="3657109"/>
                </a:cubicBezTo>
                <a:cubicBezTo>
                  <a:pt x="9208841" y="3670360"/>
                  <a:pt x="9187267" y="3686139"/>
                  <a:pt x="9165970" y="3702223"/>
                </a:cubicBezTo>
                <a:lnTo>
                  <a:pt x="9146885" y="3716283"/>
                </a:lnTo>
                <a:lnTo>
                  <a:pt x="9149098" y="3715474"/>
                </a:lnTo>
                <a:cubicBezTo>
                  <a:pt x="9159055" y="3712540"/>
                  <a:pt x="9168736" y="3710618"/>
                  <a:pt x="9178693" y="3710214"/>
                </a:cubicBezTo>
                <a:cubicBezTo>
                  <a:pt x="9184501" y="3706572"/>
                  <a:pt x="9185884" y="3703841"/>
                  <a:pt x="9189757" y="3700705"/>
                </a:cubicBezTo>
                <a:cubicBezTo>
                  <a:pt x="9203863" y="3698682"/>
                  <a:pt x="9216862" y="3694839"/>
                  <a:pt x="9229862" y="3689680"/>
                </a:cubicBezTo>
                <a:lnTo>
                  <a:pt x="9255585" y="3677339"/>
                </a:lnTo>
                <a:lnTo>
                  <a:pt x="9271904" y="3663987"/>
                </a:lnTo>
                <a:cubicBezTo>
                  <a:pt x="9293754" y="3647297"/>
                  <a:pt x="9315605" y="3630910"/>
                  <a:pt x="9334413" y="3609162"/>
                </a:cubicBezTo>
                <a:cubicBezTo>
                  <a:pt x="9343817" y="3610174"/>
                  <a:pt x="9348796" y="3597125"/>
                  <a:pt x="9357923" y="3600362"/>
                </a:cubicBezTo>
                <a:cubicBezTo>
                  <a:pt x="9359306" y="3593686"/>
                  <a:pt x="9357370" y="3591157"/>
                  <a:pt x="9349902" y="3592675"/>
                </a:cubicBezTo>
                <a:cubicBezTo>
                  <a:pt x="9357093" y="3579828"/>
                  <a:pt x="9374519" y="3577198"/>
                  <a:pt x="9386135" y="3567083"/>
                </a:cubicBezTo>
                <a:cubicBezTo>
                  <a:pt x="9377561" y="3561621"/>
                  <a:pt x="9390008" y="3560710"/>
                  <a:pt x="9386965" y="3551202"/>
                </a:cubicBezTo>
                <a:cubicBezTo>
                  <a:pt x="9389454" y="3551506"/>
                  <a:pt x="9391667" y="3551708"/>
                  <a:pt x="9394433" y="3549786"/>
                </a:cubicBezTo>
                <a:lnTo>
                  <a:pt x="9423475" y="3513978"/>
                </a:lnTo>
                <a:lnTo>
                  <a:pt x="9412965" y="3519946"/>
                </a:lnTo>
                <a:cubicBezTo>
                  <a:pt x="9411305" y="3515698"/>
                  <a:pt x="9409922" y="3518328"/>
                  <a:pt x="9405773" y="3514484"/>
                </a:cubicBezTo>
                <a:cubicBezTo>
                  <a:pt x="9407709" y="3506999"/>
                  <a:pt x="9409646" y="3499513"/>
                  <a:pt x="9424858" y="3493849"/>
                </a:cubicBezTo>
                <a:cubicBezTo>
                  <a:pt x="9428730" y="3490612"/>
                  <a:pt x="9419603" y="3492736"/>
                  <a:pt x="9422369" y="3487375"/>
                </a:cubicBezTo>
                <a:cubicBezTo>
                  <a:pt x="9416284" y="3487577"/>
                  <a:pt x="9413518" y="3488690"/>
                  <a:pt x="9411305" y="3488993"/>
                </a:cubicBezTo>
                <a:close/>
                <a:moveTo>
                  <a:pt x="1856898" y="3478880"/>
                </a:moveTo>
                <a:cubicBezTo>
                  <a:pt x="1860218" y="3478273"/>
                  <a:pt x="1863537" y="3480094"/>
                  <a:pt x="1858835" y="3486264"/>
                </a:cubicBezTo>
                <a:cubicBezTo>
                  <a:pt x="1856898" y="3485151"/>
                  <a:pt x="1853303" y="3485961"/>
                  <a:pt x="1853303" y="3485961"/>
                </a:cubicBezTo>
                <a:cubicBezTo>
                  <a:pt x="1849431" y="3482319"/>
                  <a:pt x="1853303" y="3479386"/>
                  <a:pt x="1856898" y="3478880"/>
                </a:cubicBezTo>
                <a:close/>
                <a:moveTo>
                  <a:pt x="1832282" y="3473923"/>
                </a:moveTo>
                <a:cubicBezTo>
                  <a:pt x="1834218" y="3474935"/>
                  <a:pt x="1837814" y="3474328"/>
                  <a:pt x="1839750" y="3475340"/>
                </a:cubicBezTo>
                <a:cubicBezTo>
                  <a:pt x="1838920" y="3477666"/>
                  <a:pt x="1837537" y="3479082"/>
                  <a:pt x="1836154" y="3479993"/>
                </a:cubicBezTo>
                <a:cubicBezTo>
                  <a:pt x="1834771" y="3481004"/>
                  <a:pt x="1833388" y="3481510"/>
                  <a:pt x="1832282" y="3482420"/>
                </a:cubicBezTo>
                <a:cubicBezTo>
                  <a:pt x="1828686" y="3480296"/>
                  <a:pt x="1828410" y="3477464"/>
                  <a:pt x="1832282" y="3473923"/>
                </a:cubicBezTo>
                <a:close/>
                <a:moveTo>
                  <a:pt x="10566068" y="3468763"/>
                </a:moveTo>
                <a:cubicBezTo>
                  <a:pt x="10573536" y="3473112"/>
                  <a:pt x="10567451" y="3479080"/>
                  <a:pt x="10563856" y="3478372"/>
                </a:cubicBezTo>
                <a:cubicBezTo>
                  <a:pt x="10560260" y="3474731"/>
                  <a:pt x="10562196" y="3470887"/>
                  <a:pt x="10566068" y="3468763"/>
                </a:cubicBezTo>
                <a:close/>
                <a:moveTo>
                  <a:pt x="1797155" y="3464011"/>
                </a:moveTo>
                <a:cubicBezTo>
                  <a:pt x="1807665" y="3463100"/>
                  <a:pt x="1822048" y="3466843"/>
                  <a:pt x="1823154" y="3477262"/>
                </a:cubicBezTo>
                <a:cubicBezTo>
                  <a:pt x="1812091" y="3479386"/>
                  <a:pt x="1809878" y="3469776"/>
                  <a:pt x="1796602" y="3467955"/>
                </a:cubicBezTo>
                <a:cubicBezTo>
                  <a:pt x="1791347" y="3473215"/>
                  <a:pt x="1796879" y="3473620"/>
                  <a:pt x="1791623" y="3478981"/>
                </a:cubicBezTo>
                <a:cubicBezTo>
                  <a:pt x="1779177" y="3470585"/>
                  <a:pt x="1786368" y="3464921"/>
                  <a:pt x="1797155" y="3464011"/>
                </a:cubicBezTo>
                <a:close/>
                <a:moveTo>
                  <a:pt x="2445482" y="3457840"/>
                </a:moveTo>
                <a:cubicBezTo>
                  <a:pt x="2447971" y="3457941"/>
                  <a:pt x="2450461" y="3458346"/>
                  <a:pt x="2452950" y="3459256"/>
                </a:cubicBezTo>
                <a:cubicBezTo>
                  <a:pt x="2457652" y="3460875"/>
                  <a:pt x="2461524" y="3463808"/>
                  <a:pt x="2461801" y="3466742"/>
                </a:cubicBezTo>
                <a:cubicBezTo>
                  <a:pt x="2454333" y="3470889"/>
                  <a:pt x="2446588" y="3463707"/>
                  <a:pt x="2439120" y="3467854"/>
                </a:cubicBezTo>
                <a:cubicBezTo>
                  <a:pt x="2435248" y="3465730"/>
                  <a:pt x="2442439" y="3461482"/>
                  <a:pt x="2438567" y="3459358"/>
                </a:cubicBezTo>
                <a:cubicBezTo>
                  <a:pt x="2440503" y="3458245"/>
                  <a:pt x="2442993" y="3457840"/>
                  <a:pt x="2445482" y="3457840"/>
                </a:cubicBezTo>
                <a:close/>
                <a:moveTo>
                  <a:pt x="2410908" y="3457638"/>
                </a:moveTo>
                <a:cubicBezTo>
                  <a:pt x="2412568" y="3464516"/>
                  <a:pt x="2416440" y="3457941"/>
                  <a:pt x="2423908" y="3459256"/>
                </a:cubicBezTo>
                <a:cubicBezTo>
                  <a:pt x="2422802" y="3461583"/>
                  <a:pt x="2421419" y="3462898"/>
                  <a:pt x="2419759" y="3464213"/>
                </a:cubicBezTo>
                <a:cubicBezTo>
                  <a:pt x="2418100" y="3465427"/>
                  <a:pt x="2416440" y="3466641"/>
                  <a:pt x="2414504" y="3468461"/>
                </a:cubicBezTo>
                <a:cubicBezTo>
                  <a:pt x="2416440" y="3463707"/>
                  <a:pt x="2403164" y="3465022"/>
                  <a:pt x="2410908" y="3457638"/>
                </a:cubicBezTo>
                <a:close/>
                <a:moveTo>
                  <a:pt x="8455583" y="3455535"/>
                </a:moveTo>
                <a:cubicBezTo>
                  <a:pt x="8457519" y="3457457"/>
                  <a:pt x="8461114" y="3461301"/>
                  <a:pt x="8463051" y="3460290"/>
                </a:cubicBezTo>
                <a:cubicBezTo>
                  <a:pt x="8466646" y="3464032"/>
                  <a:pt x="8463051" y="3466055"/>
                  <a:pt x="8459178" y="3468078"/>
                </a:cubicBezTo>
                <a:cubicBezTo>
                  <a:pt x="8457242" y="3463324"/>
                  <a:pt x="8451710" y="3457660"/>
                  <a:pt x="8445902" y="3463729"/>
                </a:cubicBezTo>
                <a:cubicBezTo>
                  <a:pt x="8442306" y="3457053"/>
                  <a:pt x="8455583" y="3458469"/>
                  <a:pt x="8455583" y="3455535"/>
                </a:cubicBezTo>
                <a:close/>
                <a:moveTo>
                  <a:pt x="1903366" y="3454401"/>
                </a:moveTo>
                <a:cubicBezTo>
                  <a:pt x="1908897" y="3451872"/>
                  <a:pt x="1918578" y="3465629"/>
                  <a:pt x="1925769" y="3461381"/>
                </a:cubicBezTo>
                <a:cubicBezTo>
                  <a:pt x="1927705" y="3463808"/>
                  <a:pt x="1928812" y="3465831"/>
                  <a:pt x="1928259" y="3467652"/>
                </a:cubicBezTo>
                <a:cubicBezTo>
                  <a:pt x="1927982" y="3469574"/>
                  <a:pt x="1926046" y="3471294"/>
                  <a:pt x="1922450" y="3473418"/>
                </a:cubicBezTo>
                <a:cubicBezTo>
                  <a:pt x="1918855" y="3474126"/>
                  <a:pt x="1914982" y="3471900"/>
                  <a:pt x="1911387" y="3469776"/>
                </a:cubicBezTo>
                <a:cubicBezTo>
                  <a:pt x="1918578" y="3465629"/>
                  <a:pt x="1907238" y="3459256"/>
                  <a:pt x="1903919" y="3465629"/>
                </a:cubicBezTo>
                <a:cubicBezTo>
                  <a:pt x="1894515" y="3463201"/>
                  <a:pt x="1907238" y="3459256"/>
                  <a:pt x="1903366" y="3454401"/>
                </a:cubicBezTo>
                <a:close/>
                <a:moveTo>
                  <a:pt x="2227806" y="3450557"/>
                </a:moveTo>
                <a:cubicBezTo>
                  <a:pt x="2231954" y="3450254"/>
                  <a:pt x="2236103" y="3451265"/>
                  <a:pt x="2239976" y="3451973"/>
                </a:cubicBezTo>
                <a:cubicBezTo>
                  <a:pt x="2232231" y="3459256"/>
                  <a:pt x="2226699" y="3458953"/>
                  <a:pt x="2217295" y="3456626"/>
                </a:cubicBezTo>
                <a:cubicBezTo>
                  <a:pt x="2220061" y="3452378"/>
                  <a:pt x="2223933" y="3450861"/>
                  <a:pt x="2227806" y="3450557"/>
                </a:cubicBezTo>
                <a:close/>
                <a:moveTo>
                  <a:pt x="1895068" y="3450153"/>
                </a:moveTo>
                <a:cubicBezTo>
                  <a:pt x="1897004" y="3451265"/>
                  <a:pt x="1887877" y="3457031"/>
                  <a:pt x="1888153" y="3462696"/>
                </a:cubicBezTo>
                <a:cubicBezTo>
                  <a:pt x="1887877" y="3457031"/>
                  <a:pt x="1880409" y="3455615"/>
                  <a:pt x="1885664" y="3450355"/>
                </a:cubicBezTo>
                <a:cubicBezTo>
                  <a:pt x="1889260" y="3449748"/>
                  <a:pt x="1893408" y="3451872"/>
                  <a:pt x="1895068" y="3450153"/>
                </a:cubicBezTo>
                <a:close/>
                <a:moveTo>
                  <a:pt x="1402461" y="3446815"/>
                </a:moveTo>
                <a:cubicBezTo>
                  <a:pt x="1408270" y="3452783"/>
                  <a:pt x="1408270" y="3450052"/>
                  <a:pt x="1417674" y="3452681"/>
                </a:cubicBezTo>
                <a:cubicBezTo>
                  <a:pt x="1414355" y="3458852"/>
                  <a:pt x="1419886" y="3459256"/>
                  <a:pt x="1425695" y="3462493"/>
                </a:cubicBezTo>
                <a:cubicBezTo>
                  <a:pt x="1418503" y="3463707"/>
                  <a:pt x="1399419" y="3455716"/>
                  <a:pt x="1402461" y="3446815"/>
                </a:cubicBezTo>
                <a:close/>
                <a:moveTo>
                  <a:pt x="1739624" y="3441757"/>
                </a:moveTo>
                <a:cubicBezTo>
                  <a:pt x="1741284" y="3441959"/>
                  <a:pt x="1743220" y="3442263"/>
                  <a:pt x="1745156" y="3441959"/>
                </a:cubicBezTo>
                <a:cubicBezTo>
                  <a:pt x="1762305" y="3448737"/>
                  <a:pt x="1768113" y="3449141"/>
                  <a:pt x="1781389" y="3456728"/>
                </a:cubicBezTo>
                <a:cubicBezTo>
                  <a:pt x="1785262" y="3455918"/>
                  <a:pt x="1785262" y="3458852"/>
                  <a:pt x="1783602" y="3460673"/>
                </a:cubicBezTo>
                <a:cubicBezTo>
                  <a:pt x="1770326" y="3461785"/>
                  <a:pt x="1752901" y="3452075"/>
                  <a:pt x="1747092" y="3445904"/>
                </a:cubicBezTo>
                <a:cubicBezTo>
                  <a:pt x="1743220" y="3443780"/>
                  <a:pt x="1737412" y="3443375"/>
                  <a:pt x="1735476" y="3442364"/>
                </a:cubicBezTo>
                <a:cubicBezTo>
                  <a:pt x="1736582" y="3441454"/>
                  <a:pt x="1737965" y="3441555"/>
                  <a:pt x="1739624" y="3441757"/>
                </a:cubicBezTo>
                <a:close/>
                <a:moveTo>
                  <a:pt x="10603408" y="3440339"/>
                </a:moveTo>
                <a:cubicBezTo>
                  <a:pt x="10607004" y="3443879"/>
                  <a:pt x="10610876" y="3441856"/>
                  <a:pt x="10612812" y="3440744"/>
                </a:cubicBezTo>
                <a:cubicBezTo>
                  <a:pt x="10610599" y="3447521"/>
                  <a:pt x="10597323" y="3454804"/>
                  <a:pt x="10589855" y="3450353"/>
                </a:cubicBezTo>
                <a:cubicBezTo>
                  <a:pt x="10597600" y="3449038"/>
                  <a:pt x="10599536" y="3448027"/>
                  <a:pt x="10603408" y="3440339"/>
                </a:cubicBezTo>
                <a:close/>
                <a:moveTo>
                  <a:pt x="1875983" y="3439633"/>
                </a:moveTo>
                <a:cubicBezTo>
                  <a:pt x="1879855" y="3444589"/>
                  <a:pt x="1876260" y="3448028"/>
                  <a:pt x="1872664" y="3454502"/>
                </a:cubicBezTo>
                <a:cubicBezTo>
                  <a:pt x="1861601" y="3459459"/>
                  <a:pt x="1859664" y="3449950"/>
                  <a:pt x="1848601" y="3454907"/>
                </a:cubicBezTo>
                <a:cubicBezTo>
                  <a:pt x="1846941" y="3459560"/>
                  <a:pt x="1852473" y="3459964"/>
                  <a:pt x="1846941" y="3465326"/>
                </a:cubicBezTo>
                <a:cubicBezTo>
                  <a:pt x="1839473" y="3461077"/>
                  <a:pt x="1832005" y="3456930"/>
                  <a:pt x="1822601" y="3454502"/>
                </a:cubicBezTo>
                <a:cubicBezTo>
                  <a:pt x="1824261" y="3452681"/>
                  <a:pt x="1830069" y="3452884"/>
                  <a:pt x="1830069" y="3450052"/>
                </a:cubicBezTo>
                <a:cubicBezTo>
                  <a:pt x="1839197" y="3449647"/>
                  <a:pt x="1837261" y="3454300"/>
                  <a:pt x="1843069" y="3454705"/>
                </a:cubicBezTo>
                <a:cubicBezTo>
                  <a:pt x="1848324" y="3449343"/>
                  <a:pt x="1837261" y="3448737"/>
                  <a:pt x="1833665" y="3446612"/>
                </a:cubicBezTo>
                <a:cubicBezTo>
                  <a:pt x="1837261" y="3442971"/>
                  <a:pt x="1854133" y="3449546"/>
                  <a:pt x="1848324" y="3443578"/>
                </a:cubicBezTo>
                <a:cubicBezTo>
                  <a:pt x="1853856" y="3443881"/>
                  <a:pt x="1867132" y="3454199"/>
                  <a:pt x="1875983" y="3439633"/>
                </a:cubicBezTo>
                <a:close/>
                <a:moveTo>
                  <a:pt x="8341732" y="3428808"/>
                </a:moveTo>
                <a:lnTo>
                  <a:pt x="8337122" y="3430569"/>
                </a:lnTo>
                <a:lnTo>
                  <a:pt x="8337131" y="3431080"/>
                </a:lnTo>
                <a:close/>
                <a:moveTo>
                  <a:pt x="1707263" y="3428405"/>
                </a:moveTo>
                <a:cubicBezTo>
                  <a:pt x="1708370" y="3428304"/>
                  <a:pt x="1709476" y="3428405"/>
                  <a:pt x="1710306" y="3428810"/>
                </a:cubicBezTo>
                <a:cubicBezTo>
                  <a:pt x="1716667" y="3430934"/>
                  <a:pt x="1721093" y="3439532"/>
                  <a:pt x="1721093" y="3430731"/>
                </a:cubicBezTo>
                <a:cubicBezTo>
                  <a:pt x="1722752" y="3425977"/>
                  <a:pt x="1723029" y="3434778"/>
                  <a:pt x="1721093" y="3436598"/>
                </a:cubicBezTo>
                <a:cubicBezTo>
                  <a:pt x="1711412" y="3437003"/>
                  <a:pt x="1709476" y="3432957"/>
                  <a:pt x="1703668" y="3429720"/>
                </a:cubicBezTo>
                <a:cubicBezTo>
                  <a:pt x="1705051" y="3428911"/>
                  <a:pt x="1706157" y="3428506"/>
                  <a:pt x="1707263" y="3428405"/>
                </a:cubicBezTo>
                <a:close/>
                <a:moveTo>
                  <a:pt x="1958684" y="3423651"/>
                </a:moveTo>
                <a:cubicBezTo>
                  <a:pt x="1960620" y="3424662"/>
                  <a:pt x="1960620" y="3430327"/>
                  <a:pt x="1964215" y="3426786"/>
                </a:cubicBezTo>
                <a:cubicBezTo>
                  <a:pt x="1965322" y="3428000"/>
                  <a:pt x="1965322" y="3428911"/>
                  <a:pt x="1964769" y="3429619"/>
                </a:cubicBezTo>
                <a:cubicBezTo>
                  <a:pt x="1963109" y="3431541"/>
                  <a:pt x="1956471" y="3431541"/>
                  <a:pt x="1955088" y="3432856"/>
                </a:cubicBezTo>
                <a:cubicBezTo>
                  <a:pt x="1951492" y="3430833"/>
                  <a:pt x="1955088" y="3427191"/>
                  <a:pt x="1958684" y="3423651"/>
                </a:cubicBezTo>
                <a:close/>
                <a:moveTo>
                  <a:pt x="1786092" y="3422235"/>
                </a:moveTo>
                <a:cubicBezTo>
                  <a:pt x="1782772" y="3437205"/>
                  <a:pt x="1812921" y="3437306"/>
                  <a:pt x="1823984" y="3429416"/>
                </a:cubicBezTo>
                <a:cubicBezTo>
                  <a:pt x="1829516" y="3429720"/>
                  <a:pt x="1811261" y="3444690"/>
                  <a:pt x="1824261" y="3440745"/>
                </a:cubicBezTo>
                <a:cubicBezTo>
                  <a:pt x="1825091" y="3442060"/>
                  <a:pt x="1824814" y="3442566"/>
                  <a:pt x="1823708" y="3442667"/>
                </a:cubicBezTo>
                <a:cubicBezTo>
                  <a:pt x="1820665" y="3443173"/>
                  <a:pt x="1810985" y="3440442"/>
                  <a:pt x="1811261" y="3444792"/>
                </a:cubicBezTo>
                <a:cubicBezTo>
                  <a:pt x="1799921" y="3441150"/>
                  <a:pt x="1790240" y="3435789"/>
                  <a:pt x="1776964" y="3431136"/>
                </a:cubicBezTo>
                <a:cubicBezTo>
                  <a:pt x="1778623" y="3423651"/>
                  <a:pt x="1780560" y="3424662"/>
                  <a:pt x="1786092" y="3422235"/>
                </a:cubicBezTo>
                <a:close/>
                <a:moveTo>
                  <a:pt x="1866026" y="3419706"/>
                </a:moveTo>
                <a:cubicBezTo>
                  <a:pt x="1881515" y="3421830"/>
                  <a:pt x="1897557" y="3429720"/>
                  <a:pt x="1906132" y="3436699"/>
                </a:cubicBezTo>
                <a:cubicBezTo>
                  <a:pt x="1894791" y="3435890"/>
                  <a:pt x="1891196" y="3439431"/>
                  <a:pt x="1885940" y="3441959"/>
                </a:cubicBezTo>
                <a:cubicBezTo>
                  <a:pt x="1878196" y="3434778"/>
                  <a:pt x="1868515" y="3426584"/>
                  <a:pt x="1851367" y="3419807"/>
                </a:cubicBezTo>
                <a:cubicBezTo>
                  <a:pt x="1856069" y="3418897"/>
                  <a:pt x="1861047" y="3418998"/>
                  <a:pt x="1866026" y="3419706"/>
                </a:cubicBezTo>
                <a:close/>
                <a:moveTo>
                  <a:pt x="1690391" y="3418593"/>
                </a:moveTo>
                <a:cubicBezTo>
                  <a:pt x="1692051" y="3418593"/>
                  <a:pt x="1693987" y="3418897"/>
                  <a:pt x="1695923" y="3420009"/>
                </a:cubicBezTo>
                <a:cubicBezTo>
                  <a:pt x="1693987" y="3421830"/>
                  <a:pt x="1693987" y="3424662"/>
                  <a:pt x="1695923" y="3425674"/>
                </a:cubicBezTo>
                <a:cubicBezTo>
                  <a:pt x="1688455" y="3430124"/>
                  <a:pt x="1692051" y="3420818"/>
                  <a:pt x="1684583" y="3419503"/>
                </a:cubicBezTo>
                <a:cubicBezTo>
                  <a:pt x="1686519" y="3419099"/>
                  <a:pt x="1688455" y="3418593"/>
                  <a:pt x="1690391" y="3418593"/>
                </a:cubicBezTo>
                <a:close/>
                <a:moveTo>
                  <a:pt x="1906132" y="3416469"/>
                </a:moveTo>
                <a:cubicBezTo>
                  <a:pt x="1915259" y="3418897"/>
                  <a:pt x="1922450" y="3420212"/>
                  <a:pt x="1927982" y="3417683"/>
                </a:cubicBezTo>
                <a:cubicBezTo>
                  <a:pt x="1929918" y="3418694"/>
                  <a:pt x="1926323" y="3422336"/>
                  <a:pt x="1922727" y="3425876"/>
                </a:cubicBezTo>
                <a:cubicBezTo>
                  <a:pt x="1920791" y="3422032"/>
                  <a:pt x="1900600" y="3424662"/>
                  <a:pt x="1906132" y="3416469"/>
                </a:cubicBezTo>
                <a:close/>
                <a:moveTo>
                  <a:pt x="10642131" y="3413331"/>
                </a:moveTo>
                <a:cubicBezTo>
                  <a:pt x="10645726" y="3416973"/>
                  <a:pt x="10641854" y="3416164"/>
                  <a:pt x="10641854" y="3416164"/>
                </a:cubicBezTo>
                <a:cubicBezTo>
                  <a:pt x="10636046" y="3422233"/>
                  <a:pt x="10654577" y="3426077"/>
                  <a:pt x="10658450" y="3426785"/>
                </a:cubicBezTo>
                <a:cubicBezTo>
                  <a:pt x="10630237" y="3428302"/>
                  <a:pt x="10615301" y="3464211"/>
                  <a:pt x="10588472" y="3476046"/>
                </a:cubicBezTo>
                <a:cubicBezTo>
                  <a:pt x="10593174" y="3456827"/>
                  <a:pt x="10625812" y="3441856"/>
                  <a:pt x="10637705" y="3429819"/>
                </a:cubicBezTo>
                <a:cubicBezTo>
                  <a:pt x="10639641" y="3423042"/>
                  <a:pt x="10626918" y="3413230"/>
                  <a:pt x="10642131" y="3413331"/>
                </a:cubicBezTo>
                <a:close/>
                <a:moveTo>
                  <a:pt x="1833942" y="3409287"/>
                </a:moveTo>
                <a:cubicBezTo>
                  <a:pt x="1837261" y="3409085"/>
                  <a:pt x="1841133" y="3409995"/>
                  <a:pt x="1845835" y="3411310"/>
                </a:cubicBezTo>
                <a:cubicBezTo>
                  <a:pt x="1844175" y="3413030"/>
                  <a:pt x="1842239" y="3411917"/>
                  <a:pt x="1838367" y="3412524"/>
                </a:cubicBezTo>
                <a:cubicBezTo>
                  <a:pt x="1838644" y="3415255"/>
                  <a:pt x="1838644" y="3415255"/>
                  <a:pt x="1837261" y="3419807"/>
                </a:cubicBezTo>
                <a:cubicBezTo>
                  <a:pt x="1836984" y="3416975"/>
                  <a:pt x="1835048" y="3415862"/>
                  <a:pt x="1834771" y="3413030"/>
                </a:cubicBezTo>
                <a:cubicBezTo>
                  <a:pt x="1832835" y="3412018"/>
                  <a:pt x="1829516" y="3415255"/>
                  <a:pt x="1825367" y="3413030"/>
                </a:cubicBezTo>
                <a:cubicBezTo>
                  <a:pt x="1828133" y="3410501"/>
                  <a:pt x="1830899" y="3409489"/>
                  <a:pt x="1833942" y="3409287"/>
                </a:cubicBezTo>
                <a:close/>
                <a:moveTo>
                  <a:pt x="1637839" y="3398160"/>
                </a:moveTo>
                <a:cubicBezTo>
                  <a:pt x="1645307" y="3396643"/>
                  <a:pt x="1651115" y="3408579"/>
                  <a:pt x="1662456" y="3409186"/>
                </a:cubicBezTo>
                <a:cubicBezTo>
                  <a:pt x="1647243" y="3406354"/>
                  <a:pt x="1641712" y="3408882"/>
                  <a:pt x="1637839" y="3398160"/>
                </a:cubicBezTo>
                <a:close/>
                <a:moveTo>
                  <a:pt x="9493729" y="3390066"/>
                </a:moveTo>
                <a:lnTo>
                  <a:pt x="9487091" y="3394011"/>
                </a:lnTo>
                <a:cubicBezTo>
                  <a:pt x="9484878" y="3396641"/>
                  <a:pt x="9482389" y="3399170"/>
                  <a:pt x="9477687" y="3399777"/>
                </a:cubicBezTo>
                <a:lnTo>
                  <a:pt x="9474368" y="3406150"/>
                </a:lnTo>
                <a:lnTo>
                  <a:pt x="9489580" y="3393910"/>
                </a:lnTo>
                <a:close/>
                <a:moveTo>
                  <a:pt x="10699385" y="3385717"/>
                </a:moveTo>
                <a:cubicBezTo>
                  <a:pt x="10702427" y="3385211"/>
                  <a:pt x="10705746" y="3385818"/>
                  <a:pt x="10708789" y="3388347"/>
                </a:cubicBezTo>
                <a:cubicBezTo>
                  <a:pt x="10697449" y="3391786"/>
                  <a:pt x="10699108" y="3396540"/>
                  <a:pt x="10691087" y="3403520"/>
                </a:cubicBezTo>
                <a:cubicBezTo>
                  <a:pt x="10684449" y="3398968"/>
                  <a:pt x="10690534" y="3387133"/>
                  <a:pt x="10699385" y="3385717"/>
                </a:cubicBezTo>
                <a:close/>
                <a:moveTo>
                  <a:pt x="1945684" y="3365893"/>
                </a:moveTo>
                <a:cubicBezTo>
                  <a:pt x="1970300" y="3368219"/>
                  <a:pt x="2002385" y="3363263"/>
                  <a:pt x="2008470" y="3386730"/>
                </a:cubicBezTo>
                <a:cubicBezTo>
                  <a:pt x="1985789" y="3385415"/>
                  <a:pt x="1966705" y="3377626"/>
                  <a:pt x="1955364" y="3368320"/>
                </a:cubicBezTo>
                <a:cubicBezTo>
                  <a:pt x="1953428" y="3370141"/>
                  <a:pt x="1958960" y="3370445"/>
                  <a:pt x="1955364" y="3374086"/>
                </a:cubicBezTo>
                <a:cubicBezTo>
                  <a:pt x="1945961" y="3374491"/>
                  <a:pt x="1953428" y="3367208"/>
                  <a:pt x="1945684" y="3365893"/>
                </a:cubicBezTo>
                <a:close/>
                <a:moveTo>
                  <a:pt x="10479496" y="3350920"/>
                </a:moveTo>
                <a:cubicBezTo>
                  <a:pt x="10471475" y="3360934"/>
                  <a:pt x="10473411" y="3365689"/>
                  <a:pt x="10458198" y="3365385"/>
                </a:cubicBezTo>
                <a:cubicBezTo>
                  <a:pt x="10458475" y="3359619"/>
                  <a:pt x="10475347" y="3358810"/>
                  <a:pt x="10479496" y="3350920"/>
                </a:cubicBezTo>
                <a:close/>
                <a:moveTo>
                  <a:pt x="1906961" y="3348495"/>
                </a:moveTo>
                <a:cubicBezTo>
                  <a:pt x="1911110" y="3349304"/>
                  <a:pt x="1912770" y="3354665"/>
                  <a:pt x="1915536" y="3354058"/>
                </a:cubicBezTo>
                <a:cubicBezTo>
                  <a:pt x="1913599" y="3355980"/>
                  <a:pt x="1910004" y="3359621"/>
                  <a:pt x="1911663" y="3360734"/>
                </a:cubicBezTo>
                <a:cubicBezTo>
                  <a:pt x="1908068" y="3364375"/>
                  <a:pt x="1904195" y="3362251"/>
                  <a:pt x="1900323" y="3360127"/>
                </a:cubicBezTo>
                <a:cubicBezTo>
                  <a:pt x="1906132" y="3357497"/>
                  <a:pt x="1911663" y="3351934"/>
                  <a:pt x="1902259" y="3349506"/>
                </a:cubicBezTo>
                <a:cubicBezTo>
                  <a:pt x="1904195" y="3348393"/>
                  <a:pt x="1905855" y="3348191"/>
                  <a:pt x="1906961" y="3348495"/>
                </a:cubicBezTo>
                <a:close/>
                <a:moveTo>
                  <a:pt x="8665409" y="3341652"/>
                </a:moveTo>
                <a:lnTo>
                  <a:pt x="8569088" y="3395263"/>
                </a:lnTo>
                <a:cubicBezTo>
                  <a:pt x="8536589" y="3414697"/>
                  <a:pt x="8503952" y="3433259"/>
                  <a:pt x="8468963" y="3445296"/>
                </a:cubicBezTo>
                <a:lnTo>
                  <a:pt x="8437329" y="3461298"/>
                </a:lnTo>
                <a:lnTo>
                  <a:pt x="8428557" y="3485939"/>
                </a:lnTo>
                <a:lnTo>
                  <a:pt x="8464330" y="3473239"/>
                </a:lnTo>
                <a:cubicBezTo>
                  <a:pt x="8486043" y="3462568"/>
                  <a:pt x="8505335" y="3450505"/>
                  <a:pt x="8520685" y="3439732"/>
                </a:cubicBezTo>
                <a:cubicBezTo>
                  <a:pt x="8524004" y="3435484"/>
                  <a:pt x="8538110" y="3437102"/>
                  <a:pt x="8535068" y="3427695"/>
                </a:cubicBezTo>
                <a:cubicBezTo>
                  <a:pt x="8545578" y="3435686"/>
                  <a:pt x="8571578" y="3413433"/>
                  <a:pt x="8572684" y="3408982"/>
                </a:cubicBezTo>
                <a:cubicBezTo>
                  <a:pt x="8592875" y="3404380"/>
                  <a:pt x="8610024" y="3393784"/>
                  <a:pt x="8625513" y="3381013"/>
                </a:cubicBezTo>
                <a:lnTo>
                  <a:pt x="8666185" y="3342100"/>
                </a:lnTo>
                <a:close/>
                <a:moveTo>
                  <a:pt x="1938492" y="3335547"/>
                </a:moveTo>
                <a:cubicBezTo>
                  <a:pt x="1940982" y="3335345"/>
                  <a:pt x="1943748" y="3335446"/>
                  <a:pt x="1946237" y="3335850"/>
                </a:cubicBezTo>
                <a:cubicBezTo>
                  <a:pt x="1961726" y="3338076"/>
                  <a:pt x="1976662" y="3349101"/>
                  <a:pt x="1997683" y="3352439"/>
                </a:cubicBezTo>
                <a:cubicBezTo>
                  <a:pt x="1975279" y="3356789"/>
                  <a:pt x="1954535" y="3342324"/>
                  <a:pt x="1930195" y="3337064"/>
                </a:cubicBezTo>
                <a:cubicBezTo>
                  <a:pt x="1932961" y="3336154"/>
                  <a:pt x="1935727" y="3335749"/>
                  <a:pt x="1938492" y="3335547"/>
                </a:cubicBezTo>
                <a:close/>
                <a:moveTo>
                  <a:pt x="2177190" y="3331703"/>
                </a:moveTo>
                <a:cubicBezTo>
                  <a:pt x="2179126" y="3332310"/>
                  <a:pt x="2177743" y="3337165"/>
                  <a:pt x="2183551" y="3338379"/>
                </a:cubicBezTo>
                <a:cubicBezTo>
                  <a:pt x="2179679" y="3338986"/>
                  <a:pt x="2177743" y="3337874"/>
                  <a:pt x="2174147" y="3341414"/>
                </a:cubicBezTo>
                <a:cubicBezTo>
                  <a:pt x="2174147" y="3338582"/>
                  <a:pt x="2170275" y="3336356"/>
                  <a:pt x="2173594" y="3332917"/>
                </a:cubicBezTo>
                <a:cubicBezTo>
                  <a:pt x="2175530" y="3331906"/>
                  <a:pt x="2176637" y="3331602"/>
                  <a:pt x="2177190" y="3331703"/>
                </a:cubicBezTo>
                <a:close/>
                <a:moveTo>
                  <a:pt x="10503006" y="3330184"/>
                </a:moveTo>
                <a:cubicBezTo>
                  <a:pt x="10504665" y="3332005"/>
                  <a:pt x="10508538" y="3332915"/>
                  <a:pt x="10510197" y="3331904"/>
                </a:cubicBezTo>
                <a:cubicBezTo>
                  <a:pt x="10513793" y="3338377"/>
                  <a:pt x="10503006" y="3333118"/>
                  <a:pt x="10499134" y="3337973"/>
                </a:cubicBezTo>
                <a:cubicBezTo>
                  <a:pt x="10499134" y="3335141"/>
                  <a:pt x="10499134" y="3332207"/>
                  <a:pt x="10503006" y="3330184"/>
                </a:cubicBezTo>
                <a:close/>
                <a:moveTo>
                  <a:pt x="1849984" y="3329882"/>
                </a:moveTo>
                <a:cubicBezTo>
                  <a:pt x="1858281" y="3330894"/>
                  <a:pt x="1863537" y="3338177"/>
                  <a:pt x="1870728" y="3339998"/>
                </a:cubicBezTo>
                <a:cubicBezTo>
                  <a:pt x="1861047" y="3343336"/>
                  <a:pt x="1843899" y="3336559"/>
                  <a:pt x="1840026" y="3331501"/>
                </a:cubicBezTo>
                <a:cubicBezTo>
                  <a:pt x="1843899" y="3329984"/>
                  <a:pt x="1846941" y="3329579"/>
                  <a:pt x="1849984" y="3329882"/>
                </a:cubicBezTo>
                <a:close/>
                <a:moveTo>
                  <a:pt x="10522644" y="3314303"/>
                </a:moveTo>
                <a:cubicBezTo>
                  <a:pt x="10522920" y="3314202"/>
                  <a:pt x="10523750" y="3314202"/>
                  <a:pt x="10524857" y="3314506"/>
                </a:cubicBezTo>
                <a:cubicBezTo>
                  <a:pt x="10527346" y="3315011"/>
                  <a:pt x="10530665" y="3316023"/>
                  <a:pt x="10531495" y="3317034"/>
                </a:cubicBezTo>
                <a:cubicBezTo>
                  <a:pt x="10529282" y="3323913"/>
                  <a:pt x="10523750" y="3324216"/>
                  <a:pt x="10517665" y="3327352"/>
                </a:cubicBezTo>
                <a:cubicBezTo>
                  <a:pt x="10512410" y="3318855"/>
                  <a:pt x="10539239" y="3318552"/>
                  <a:pt x="10524027" y="3315315"/>
                </a:cubicBezTo>
                <a:cubicBezTo>
                  <a:pt x="10522644" y="3314708"/>
                  <a:pt x="10522367" y="3314404"/>
                  <a:pt x="10522644" y="3314303"/>
                </a:cubicBezTo>
                <a:close/>
                <a:moveTo>
                  <a:pt x="10756639" y="3300041"/>
                </a:moveTo>
                <a:cubicBezTo>
                  <a:pt x="10759405" y="3301356"/>
                  <a:pt x="10760235" y="3302367"/>
                  <a:pt x="10759958" y="3302772"/>
                </a:cubicBezTo>
                <a:cubicBezTo>
                  <a:pt x="10759958" y="3303278"/>
                  <a:pt x="10758299" y="3303379"/>
                  <a:pt x="10756362" y="3302974"/>
                </a:cubicBezTo>
                <a:cubicBezTo>
                  <a:pt x="10735342" y="3317338"/>
                  <a:pt x="10728980" y="3337669"/>
                  <a:pt x="10701874" y="3355169"/>
                </a:cubicBezTo>
                <a:cubicBezTo>
                  <a:pt x="10696896" y="3341109"/>
                  <a:pt x="10730916" y="3333724"/>
                  <a:pt x="10722065" y="3318956"/>
                </a:cubicBezTo>
                <a:cubicBezTo>
                  <a:pt x="10737278" y="3313393"/>
                  <a:pt x="10735895" y="3300142"/>
                  <a:pt x="10756639" y="3300041"/>
                </a:cubicBezTo>
                <a:close/>
                <a:moveTo>
                  <a:pt x="1820389" y="3298222"/>
                </a:moveTo>
                <a:cubicBezTo>
                  <a:pt x="1856345" y="3301155"/>
                  <a:pt x="1883175" y="3319059"/>
                  <a:pt x="1919131" y="3327758"/>
                </a:cubicBezTo>
                <a:cubicBezTo>
                  <a:pt x="1907791" y="3335850"/>
                  <a:pt x="1898387" y="3327556"/>
                  <a:pt x="1890642" y="3326241"/>
                </a:cubicBezTo>
                <a:cubicBezTo>
                  <a:pt x="1890919" y="3329073"/>
                  <a:pt x="1890919" y="3332007"/>
                  <a:pt x="1888983" y="3333827"/>
                </a:cubicBezTo>
                <a:cubicBezTo>
                  <a:pt x="1887047" y="3329781"/>
                  <a:pt x="1877643" y="3333220"/>
                  <a:pt x="1869898" y="3328972"/>
                </a:cubicBezTo>
                <a:cubicBezTo>
                  <a:pt x="1879302" y="3322701"/>
                  <a:pt x="1856622" y="3312788"/>
                  <a:pt x="1852750" y="3319363"/>
                </a:cubicBezTo>
                <a:cubicBezTo>
                  <a:pt x="1852750" y="3310562"/>
                  <a:pt x="1839473" y="3303077"/>
                  <a:pt x="1824537" y="3306112"/>
                </a:cubicBezTo>
                <a:cubicBezTo>
                  <a:pt x="1824261" y="3303178"/>
                  <a:pt x="1824261" y="3300346"/>
                  <a:pt x="1820389" y="3298222"/>
                </a:cubicBezTo>
                <a:close/>
                <a:moveTo>
                  <a:pt x="10777936" y="3294477"/>
                </a:moveTo>
                <a:cubicBezTo>
                  <a:pt x="10785681" y="3293061"/>
                  <a:pt x="10788447" y="3310864"/>
                  <a:pt x="10796468" y="3298119"/>
                </a:cubicBezTo>
                <a:cubicBezTo>
                  <a:pt x="10800064" y="3301760"/>
                  <a:pt x="10798127" y="3302772"/>
                  <a:pt x="10801723" y="3306413"/>
                </a:cubicBezTo>
                <a:cubicBezTo>
                  <a:pt x="10770745" y="3328869"/>
                  <a:pt x="10746958" y="3352943"/>
                  <a:pt x="10715704" y="3381165"/>
                </a:cubicBezTo>
                <a:cubicBezTo>
                  <a:pt x="10710448" y="3372870"/>
                  <a:pt x="10733405" y="3363160"/>
                  <a:pt x="10719023" y="3351628"/>
                </a:cubicBezTo>
                <a:cubicBezTo>
                  <a:pt x="10724831" y="3348392"/>
                  <a:pt x="10726767" y="3344548"/>
                  <a:pt x="10730640" y="3342424"/>
                </a:cubicBezTo>
                <a:cubicBezTo>
                  <a:pt x="10738107" y="3343941"/>
                  <a:pt x="10730363" y="3348088"/>
                  <a:pt x="10730363" y="3350920"/>
                </a:cubicBezTo>
                <a:cubicBezTo>
                  <a:pt x="10739490" y="3354157"/>
                  <a:pt x="10744192" y="3337973"/>
                  <a:pt x="10753320" y="3338377"/>
                </a:cubicBezTo>
                <a:cubicBezTo>
                  <a:pt x="10727874" y="3327453"/>
                  <a:pt x="10768809" y="3327150"/>
                  <a:pt x="10760235" y="3312381"/>
                </a:cubicBezTo>
                <a:cubicBezTo>
                  <a:pt x="10767426" y="3316731"/>
                  <a:pt x="10763830" y="3318855"/>
                  <a:pt x="10769362" y="3318552"/>
                </a:cubicBezTo>
                <a:cubicBezTo>
                  <a:pt x="10767703" y="3313899"/>
                  <a:pt x="10780979" y="3309347"/>
                  <a:pt x="10773788" y="3304997"/>
                </a:cubicBezTo>
                <a:cubicBezTo>
                  <a:pt x="10775724" y="3303986"/>
                  <a:pt x="10779319" y="3307627"/>
                  <a:pt x="10782915" y="3308335"/>
                </a:cubicBezTo>
                <a:cubicBezTo>
                  <a:pt x="10786787" y="3303379"/>
                  <a:pt x="10779596" y="3299130"/>
                  <a:pt x="10777936" y="3294477"/>
                </a:cubicBezTo>
                <a:close/>
                <a:moveTo>
                  <a:pt x="10762724" y="3291443"/>
                </a:moveTo>
                <a:cubicBezTo>
                  <a:pt x="10764660" y="3293264"/>
                  <a:pt x="10766596" y="3295084"/>
                  <a:pt x="10768256" y="3297006"/>
                </a:cubicBezTo>
                <a:cubicBezTo>
                  <a:pt x="10764384" y="3299130"/>
                  <a:pt x="10764384" y="3304896"/>
                  <a:pt x="10758852" y="3299333"/>
                </a:cubicBezTo>
                <a:cubicBezTo>
                  <a:pt x="10760788" y="3298220"/>
                  <a:pt x="10760788" y="3298321"/>
                  <a:pt x="10762724" y="3297310"/>
                </a:cubicBezTo>
                <a:cubicBezTo>
                  <a:pt x="10760788" y="3295388"/>
                  <a:pt x="10760788" y="3295388"/>
                  <a:pt x="10758852" y="3296399"/>
                </a:cubicBezTo>
                <a:cubicBezTo>
                  <a:pt x="10755256" y="3292657"/>
                  <a:pt x="10760788" y="3295388"/>
                  <a:pt x="10762724" y="3291443"/>
                </a:cubicBezTo>
                <a:close/>
                <a:moveTo>
                  <a:pt x="10576855" y="3277888"/>
                </a:moveTo>
                <a:cubicBezTo>
                  <a:pt x="10578238" y="3277888"/>
                  <a:pt x="10579621" y="3278596"/>
                  <a:pt x="10580451" y="3279507"/>
                </a:cubicBezTo>
                <a:cubicBezTo>
                  <a:pt x="10578238" y="3289217"/>
                  <a:pt x="10560537" y="3298726"/>
                  <a:pt x="10551133" y="3301153"/>
                </a:cubicBezTo>
                <a:cubicBezTo>
                  <a:pt x="10546984" y="3303278"/>
                  <a:pt x="10545048" y="3307324"/>
                  <a:pt x="10543112" y="3308335"/>
                </a:cubicBezTo>
                <a:cubicBezTo>
                  <a:pt x="10541175" y="3306514"/>
                  <a:pt x="10545048" y="3304390"/>
                  <a:pt x="10545324" y="3301457"/>
                </a:cubicBezTo>
                <a:cubicBezTo>
                  <a:pt x="10558877" y="3291139"/>
                  <a:pt x="10561090" y="3287194"/>
                  <a:pt x="10574643" y="3279810"/>
                </a:cubicBezTo>
                <a:cubicBezTo>
                  <a:pt x="10574643" y="3278293"/>
                  <a:pt x="10575749" y="3277787"/>
                  <a:pt x="10576855" y="3277888"/>
                </a:cubicBezTo>
                <a:close/>
                <a:moveTo>
                  <a:pt x="10636322" y="3273539"/>
                </a:moveTo>
                <a:cubicBezTo>
                  <a:pt x="10639918" y="3277180"/>
                  <a:pt x="10638258" y="3278192"/>
                  <a:pt x="10636046" y="3282137"/>
                </a:cubicBezTo>
                <a:cubicBezTo>
                  <a:pt x="10641578" y="3287498"/>
                  <a:pt x="10643790" y="3277990"/>
                  <a:pt x="10649045" y="3283351"/>
                </a:cubicBezTo>
                <a:cubicBezTo>
                  <a:pt x="10639365" y="3291443"/>
                  <a:pt x="10637429" y="3295287"/>
                  <a:pt x="10626089" y="3301558"/>
                </a:cubicBezTo>
                <a:cubicBezTo>
                  <a:pt x="10620557" y="3296096"/>
                  <a:pt x="10631897" y="3292657"/>
                  <a:pt x="10626642" y="3287296"/>
                </a:cubicBezTo>
                <a:cubicBezTo>
                  <a:pt x="10628578" y="3286183"/>
                  <a:pt x="10626365" y="3290128"/>
                  <a:pt x="10630237" y="3290836"/>
                </a:cubicBezTo>
                <a:cubicBezTo>
                  <a:pt x="10639641" y="3285677"/>
                  <a:pt x="10630514" y="3285171"/>
                  <a:pt x="10628854" y="3280518"/>
                </a:cubicBezTo>
                <a:cubicBezTo>
                  <a:pt x="10630791" y="3276675"/>
                  <a:pt x="10632727" y="3275663"/>
                  <a:pt x="10636322" y="3273539"/>
                </a:cubicBezTo>
                <a:close/>
                <a:moveTo>
                  <a:pt x="10777660" y="3272426"/>
                </a:moveTo>
                <a:cubicBezTo>
                  <a:pt x="10773234" y="3277383"/>
                  <a:pt x="10777936" y="3288408"/>
                  <a:pt x="10772128" y="3288813"/>
                </a:cubicBezTo>
                <a:cubicBezTo>
                  <a:pt x="10770745" y="3284261"/>
                  <a:pt x="10771298" y="3278495"/>
                  <a:pt x="10777660" y="3272426"/>
                </a:cubicBezTo>
                <a:close/>
                <a:moveTo>
                  <a:pt x="1758433" y="3271416"/>
                </a:moveTo>
                <a:cubicBezTo>
                  <a:pt x="1769496" y="3269191"/>
                  <a:pt x="1783049" y="3282341"/>
                  <a:pt x="1790517" y="3283757"/>
                </a:cubicBezTo>
                <a:cubicBezTo>
                  <a:pt x="1777517" y="3287803"/>
                  <a:pt x="1769773" y="3277789"/>
                  <a:pt x="1758433" y="3271416"/>
                </a:cubicBezTo>
                <a:close/>
                <a:moveTo>
                  <a:pt x="10613089" y="3255837"/>
                </a:moveTo>
                <a:cubicBezTo>
                  <a:pt x="10612812" y="3264435"/>
                  <a:pt x="10599812" y="3263322"/>
                  <a:pt x="10593727" y="3272123"/>
                </a:cubicBezTo>
                <a:cubicBezTo>
                  <a:pt x="10598983" y="3277484"/>
                  <a:pt x="10600919" y="3273539"/>
                  <a:pt x="10606174" y="3278900"/>
                </a:cubicBezTo>
                <a:cubicBezTo>
                  <a:pt x="10577409" y="3291847"/>
                  <a:pt x="10585430" y="3251791"/>
                  <a:pt x="10613089" y="3255837"/>
                </a:cubicBezTo>
                <a:close/>
                <a:moveTo>
                  <a:pt x="10675598" y="3246430"/>
                </a:moveTo>
                <a:cubicBezTo>
                  <a:pt x="10677534" y="3246127"/>
                  <a:pt x="10679470" y="3246228"/>
                  <a:pt x="10680853" y="3246835"/>
                </a:cubicBezTo>
                <a:cubicBezTo>
                  <a:pt x="10684449" y="3256242"/>
                  <a:pt x="10672832" y="3265447"/>
                  <a:pt x="10665088" y="3269594"/>
                </a:cubicBezTo>
                <a:cubicBezTo>
                  <a:pt x="10680300" y="3266964"/>
                  <a:pt x="10653471" y="3284564"/>
                  <a:pt x="10646003" y="3277180"/>
                </a:cubicBezTo>
                <a:cubicBezTo>
                  <a:pt x="10654024" y="3267267"/>
                  <a:pt x="10673109" y="3259681"/>
                  <a:pt x="10663705" y="3253308"/>
                </a:cubicBezTo>
                <a:cubicBezTo>
                  <a:pt x="10662322" y="3251993"/>
                  <a:pt x="10669513" y="3247441"/>
                  <a:pt x="10675598" y="3246430"/>
                </a:cubicBezTo>
                <a:close/>
                <a:moveTo>
                  <a:pt x="10615301" y="3243598"/>
                </a:moveTo>
                <a:cubicBezTo>
                  <a:pt x="10618067" y="3244913"/>
                  <a:pt x="10619450" y="3246228"/>
                  <a:pt x="10620280" y="3247543"/>
                </a:cubicBezTo>
                <a:cubicBezTo>
                  <a:pt x="10621110" y="3248756"/>
                  <a:pt x="10621663" y="3249970"/>
                  <a:pt x="10622493" y="3250881"/>
                </a:cubicBezTo>
                <a:cubicBezTo>
                  <a:pt x="10618621" y="3252904"/>
                  <a:pt x="10615025" y="3252196"/>
                  <a:pt x="10611429" y="3248554"/>
                </a:cubicBezTo>
                <a:cubicBezTo>
                  <a:pt x="10613365" y="3247543"/>
                  <a:pt x="10613365" y="3244710"/>
                  <a:pt x="10615301" y="3243598"/>
                </a:cubicBezTo>
                <a:close/>
                <a:moveTo>
                  <a:pt x="10551409" y="3241777"/>
                </a:moveTo>
                <a:cubicBezTo>
                  <a:pt x="10553622" y="3237933"/>
                  <a:pt x="10567728" y="3255230"/>
                  <a:pt x="10566345" y="3244812"/>
                </a:cubicBezTo>
                <a:cubicBezTo>
                  <a:pt x="10568281" y="3244508"/>
                  <a:pt x="10568834" y="3244913"/>
                  <a:pt x="10568558" y="3245722"/>
                </a:cubicBezTo>
                <a:cubicBezTo>
                  <a:pt x="10568281" y="3248048"/>
                  <a:pt x="10562196" y="3254118"/>
                  <a:pt x="10567728" y="3255230"/>
                </a:cubicBezTo>
                <a:cubicBezTo>
                  <a:pt x="10559983" y="3262311"/>
                  <a:pt x="10550303" y="3267470"/>
                  <a:pt x="10540346" y="3275562"/>
                </a:cubicBezTo>
                <a:cubicBezTo>
                  <a:pt x="10531218" y="3272325"/>
                  <a:pt x="10533154" y="3271212"/>
                  <a:pt x="10531495" y="3266559"/>
                </a:cubicBezTo>
                <a:cubicBezTo>
                  <a:pt x="10550026" y="3273235"/>
                  <a:pt x="10558601" y="3251892"/>
                  <a:pt x="10551409" y="3241777"/>
                </a:cubicBezTo>
                <a:close/>
                <a:moveTo>
                  <a:pt x="10647386" y="3236922"/>
                </a:moveTo>
                <a:cubicBezTo>
                  <a:pt x="10654854" y="3241271"/>
                  <a:pt x="10639365" y="3244205"/>
                  <a:pt x="10644897" y="3246733"/>
                </a:cubicBezTo>
                <a:cubicBezTo>
                  <a:pt x="10642960" y="3247846"/>
                  <a:pt x="10639088" y="3247138"/>
                  <a:pt x="10637152" y="3245317"/>
                </a:cubicBezTo>
                <a:cubicBezTo>
                  <a:pt x="10635769" y="3240563"/>
                  <a:pt x="10643514" y="3239147"/>
                  <a:pt x="10647386" y="3236922"/>
                </a:cubicBezTo>
                <a:close/>
                <a:moveTo>
                  <a:pt x="10700768" y="3231358"/>
                </a:moveTo>
                <a:lnTo>
                  <a:pt x="10701044" y="3235202"/>
                </a:lnTo>
                <a:cubicBezTo>
                  <a:pt x="10701598" y="3238034"/>
                  <a:pt x="10702427" y="3240361"/>
                  <a:pt x="10699661" y="3239046"/>
                </a:cubicBezTo>
                <a:close/>
                <a:moveTo>
                  <a:pt x="10701044" y="3230954"/>
                </a:moveTo>
                <a:lnTo>
                  <a:pt x="10700768" y="3231358"/>
                </a:lnTo>
                <a:lnTo>
                  <a:pt x="10700768" y="3231055"/>
                </a:lnTo>
                <a:close/>
                <a:moveTo>
                  <a:pt x="10627471" y="3229841"/>
                </a:moveTo>
                <a:cubicBezTo>
                  <a:pt x="10629131" y="3229740"/>
                  <a:pt x="10631620" y="3230448"/>
                  <a:pt x="10634939" y="3233078"/>
                </a:cubicBezTo>
                <a:cubicBezTo>
                  <a:pt x="10633003" y="3234089"/>
                  <a:pt x="10633003" y="3237023"/>
                  <a:pt x="10633003" y="3237023"/>
                </a:cubicBezTo>
                <a:cubicBezTo>
                  <a:pt x="10624429" y="3239552"/>
                  <a:pt x="10622493" y="3230347"/>
                  <a:pt x="10627471" y="3229841"/>
                </a:cubicBezTo>
                <a:close/>
                <a:moveTo>
                  <a:pt x="10353924" y="3224176"/>
                </a:moveTo>
                <a:cubicBezTo>
                  <a:pt x="10355583" y="3234696"/>
                  <a:pt x="10340371" y="3237225"/>
                  <a:pt x="10328754" y="3243497"/>
                </a:cubicBezTo>
                <a:cubicBezTo>
                  <a:pt x="10329307" y="3234899"/>
                  <a:pt x="10350052" y="3229234"/>
                  <a:pt x="10353924" y="3224176"/>
                </a:cubicBezTo>
                <a:close/>
                <a:moveTo>
                  <a:pt x="10534261" y="3221041"/>
                </a:moveTo>
                <a:cubicBezTo>
                  <a:pt x="10536197" y="3222760"/>
                  <a:pt x="10533984" y="3223873"/>
                  <a:pt x="10533707" y="3226604"/>
                </a:cubicBezTo>
                <a:cubicBezTo>
                  <a:pt x="10537580" y="3227312"/>
                  <a:pt x="10537580" y="3227211"/>
                  <a:pt x="10542835" y="3229538"/>
                </a:cubicBezTo>
                <a:cubicBezTo>
                  <a:pt x="10539239" y="3228931"/>
                  <a:pt x="10537303" y="3229942"/>
                  <a:pt x="10533431" y="3229335"/>
                </a:cubicBezTo>
                <a:cubicBezTo>
                  <a:pt x="10531495" y="3230448"/>
                  <a:pt x="10534814" y="3233887"/>
                  <a:pt x="10530942" y="3236112"/>
                </a:cubicBezTo>
                <a:cubicBezTo>
                  <a:pt x="10525686" y="3230954"/>
                  <a:pt x="10528176" y="3227009"/>
                  <a:pt x="10534261" y="3221041"/>
                </a:cubicBezTo>
                <a:close/>
                <a:moveTo>
                  <a:pt x="2011789" y="3213456"/>
                </a:moveTo>
                <a:cubicBezTo>
                  <a:pt x="2014278" y="3214670"/>
                  <a:pt x="2012619" y="3221245"/>
                  <a:pt x="2009853" y="3223875"/>
                </a:cubicBezTo>
                <a:cubicBezTo>
                  <a:pt x="1998513" y="3223167"/>
                  <a:pt x="2009576" y="3215277"/>
                  <a:pt x="2007640" y="3214164"/>
                </a:cubicBezTo>
                <a:cubicBezTo>
                  <a:pt x="2009576" y="3213153"/>
                  <a:pt x="2010959" y="3212950"/>
                  <a:pt x="2011789" y="3213456"/>
                </a:cubicBezTo>
                <a:close/>
                <a:moveTo>
                  <a:pt x="10584600" y="3207385"/>
                </a:moveTo>
                <a:cubicBezTo>
                  <a:pt x="10589025" y="3208093"/>
                  <a:pt x="10592345" y="3210925"/>
                  <a:pt x="10597876" y="3214162"/>
                </a:cubicBezTo>
                <a:cubicBezTo>
                  <a:pt x="10601195" y="3223468"/>
                  <a:pt x="10588196" y="3222153"/>
                  <a:pt x="10591515" y="3231459"/>
                </a:cubicBezTo>
                <a:cubicBezTo>
                  <a:pt x="10597047" y="3234089"/>
                  <a:pt x="10598983" y="3230246"/>
                  <a:pt x="10604514" y="3235708"/>
                </a:cubicBezTo>
                <a:cubicBezTo>
                  <a:pt x="10596770" y="3239855"/>
                  <a:pt x="10589302" y="3243901"/>
                  <a:pt x="10583494" y="3249869"/>
                </a:cubicBezTo>
                <a:cubicBezTo>
                  <a:pt x="10581558" y="3248048"/>
                  <a:pt x="10583770" y="3244205"/>
                  <a:pt x="10580175" y="3243497"/>
                </a:cubicBezTo>
                <a:cubicBezTo>
                  <a:pt x="10582111" y="3236719"/>
                  <a:pt x="10587642" y="3239248"/>
                  <a:pt x="10589579" y="3235404"/>
                </a:cubicBezTo>
                <a:cubicBezTo>
                  <a:pt x="10584323" y="3229942"/>
                  <a:pt x="10580175" y="3237731"/>
                  <a:pt x="10576579" y="3239754"/>
                </a:cubicBezTo>
                <a:cubicBezTo>
                  <a:pt x="10572983" y="3236112"/>
                  <a:pt x="10586260" y="3226098"/>
                  <a:pt x="10576855" y="3228425"/>
                </a:cubicBezTo>
                <a:cubicBezTo>
                  <a:pt x="10578792" y="3224480"/>
                  <a:pt x="10595940" y="3218107"/>
                  <a:pt x="10579621" y="3207486"/>
                </a:cubicBezTo>
                <a:cubicBezTo>
                  <a:pt x="10581558" y="3207183"/>
                  <a:pt x="10582940" y="3207183"/>
                  <a:pt x="10584600" y="3207385"/>
                </a:cubicBezTo>
                <a:close/>
                <a:moveTo>
                  <a:pt x="9642811" y="3206475"/>
                </a:moveTo>
                <a:cubicBezTo>
                  <a:pt x="9636173" y="3214870"/>
                  <a:pt x="9607684" y="3230549"/>
                  <a:pt x="9618471" y="3244609"/>
                </a:cubicBezTo>
                <a:lnTo>
                  <a:pt x="9588599" y="3259681"/>
                </a:lnTo>
                <a:lnTo>
                  <a:pt x="9563983" y="3295590"/>
                </a:lnTo>
                <a:lnTo>
                  <a:pt x="9499261" y="3384806"/>
                </a:lnTo>
                <a:lnTo>
                  <a:pt x="9568685" y="3319057"/>
                </a:lnTo>
                <a:cubicBezTo>
                  <a:pt x="9571451" y="3313696"/>
                  <a:pt x="9571174" y="3306616"/>
                  <a:pt x="9568408" y="3300142"/>
                </a:cubicBezTo>
                <a:cubicBezTo>
                  <a:pt x="9574217" y="3298928"/>
                  <a:pt x="9579749" y="3294275"/>
                  <a:pt x="9585834" y="3289116"/>
                </a:cubicBezTo>
                <a:lnTo>
                  <a:pt x="9590259" y="3286082"/>
                </a:lnTo>
                <a:lnTo>
                  <a:pt x="9596621" y="3274146"/>
                </a:lnTo>
                <a:lnTo>
                  <a:pt x="9600493" y="3269088"/>
                </a:lnTo>
                <a:lnTo>
                  <a:pt x="9596067" y="3263626"/>
                </a:lnTo>
                <a:lnTo>
                  <a:pt x="9605471" y="3262817"/>
                </a:lnTo>
                <a:lnTo>
                  <a:pt x="9631471" y="3229639"/>
                </a:lnTo>
                <a:lnTo>
                  <a:pt x="9644747" y="3209610"/>
                </a:lnTo>
                <a:close/>
                <a:moveTo>
                  <a:pt x="10598706" y="3197068"/>
                </a:moveTo>
                <a:cubicBezTo>
                  <a:pt x="10600642" y="3196056"/>
                  <a:pt x="10605621" y="3204047"/>
                  <a:pt x="10612812" y="3205463"/>
                </a:cubicBezTo>
                <a:cubicBezTo>
                  <a:pt x="10605621" y="3204148"/>
                  <a:pt x="10601472" y="3209105"/>
                  <a:pt x="10596217" y="3203845"/>
                </a:cubicBezTo>
                <a:cubicBezTo>
                  <a:pt x="10596493" y="3201013"/>
                  <a:pt x="10600366" y="3198888"/>
                  <a:pt x="10598706" y="3197068"/>
                </a:cubicBezTo>
                <a:close/>
                <a:moveTo>
                  <a:pt x="10584323" y="3185334"/>
                </a:moveTo>
                <a:cubicBezTo>
                  <a:pt x="10580175" y="3193123"/>
                  <a:pt x="10583770" y="3196663"/>
                  <a:pt x="10585430" y="3201316"/>
                </a:cubicBezTo>
                <a:cubicBezTo>
                  <a:pt x="10573813" y="3204755"/>
                  <a:pt x="10560537" y="3209307"/>
                  <a:pt x="10546984" y="3219523"/>
                </a:cubicBezTo>
                <a:cubicBezTo>
                  <a:pt x="10547814" y="3205362"/>
                  <a:pt x="10569111" y="3190897"/>
                  <a:pt x="10584323" y="3185334"/>
                </a:cubicBezTo>
                <a:close/>
                <a:moveTo>
                  <a:pt x="10621940" y="3178354"/>
                </a:moveTo>
                <a:cubicBezTo>
                  <a:pt x="10625535" y="3177646"/>
                  <a:pt x="10628301" y="3177545"/>
                  <a:pt x="10630791" y="3178354"/>
                </a:cubicBezTo>
                <a:cubicBezTo>
                  <a:pt x="10633003" y="3179164"/>
                  <a:pt x="10634663" y="3180984"/>
                  <a:pt x="10636322" y="3184221"/>
                </a:cubicBezTo>
                <a:cubicBezTo>
                  <a:pt x="10636322" y="3186952"/>
                  <a:pt x="10632450" y="3188975"/>
                  <a:pt x="10628578" y="3191100"/>
                </a:cubicBezTo>
                <a:cubicBezTo>
                  <a:pt x="10625259" y="3184727"/>
                  <a:pt x="10613919" y="3190897"/>
                  <a:pt x="10621110" y="3195247"/>
                </a:cubicBezTo>
                <a:cubicBezTo>
                  <a:pt x="10615301" y="3201215"/>
                  <a:pt x="10613919" y="3190897"/>
                  <a:pt x="10606451" y="3192212"/>
                </a:cubicBezTo>
                <a:cubicBezTo>
                  <a:pt x="10604791" y="3187660"/>
                  <a:pt x="10625259" y="3184727"/>
                  <a:pt x="10621940" y="3178354"/>
                </a:cubicBezTo>
                <a:close/>
                <a:moveTo>
                  <a:pt x="10566068" y="3164294"/>
                </a:moveTo>
                <a:cubicBezTo>
                  <a:pt x="10568005" y="3163283"/>
                  <a:pt x="10571600" y="3166823"/>
                  <a:pt x="10575196" y="3170465"/>
                </a:cubicBezTo>
                <a:cubicBezTo>
                  <a:pt x="10569664" y="3170667"/>
                  <a:pt x="10567175" y="3185941"/>
                  <a:pt x="10558324" y="3179669"/>
                </a:cubicBezTo>
                <a:cubicBezTo>
                  <a:pt x="10563856" y="3173803"/>
                  <a:pt x="10567728" y="3168846"/>
                  <a:pt x="10566068" y="3164294"/>
                </a:cubicBezTo>
                <a:close/>
                <a:moveTo>
                  <a:pt x="10678641" y="3161462"/>
                </a:moveTo>
                <a:cubicBezTo>
                  <a:pt x="10685832" y="3165811"/>
                  <a:pt x="10676428" y="3171071"/>
                  <a:pt x="10672279" y="3176028"/>
                </a:cubicBezTo>
                <a:cubicBezTo>
                  <a:pt x="10667024" y="3170566"/>
                  <a:pt x="10674768" y="3166418"/>
                  <a:pt x="10678641" y="3161462"/>
                </a:cubicBezTo>
                <a:close/>
                <a:moveTo>
                  <a:pt x="10480326" y="3155089"/>
                </a:moveTo>
                <a:cubicBezTo>
                  <a:pt x="10482262" y="3157011"/>
                  <a:pt x="10485857" y="3160855"/>
                  <a:pt x="10487794" y="3159844"/>
                </a:cubicBezTo>
                <a:cubicBezTo>
                  <a:pt x="10491389" y="3163586"/>
                  <a:pt x="10487794" y="3165609"/>
                  <a:pt x="10483921" y="3167632"/>
                </a:cubicBezTo>
                <a:cubicBezTo>
                  <a:pt x="10481985" y="3162878"/>
                  <a:pt x="10476453" y="3157214"/>
                  <a:pt x="10470645" y="3163283"/>
                </a:cubicBezTo>
                <a:cubicBezTo>
                  <a:pt x="10467049" y="3156607"/>
                  <a:pt x="10480326" y="3158023"/>
                  <a:pt x="10480326" y="3155089"/>
                </a:cubicBezTo>
                <a:close/>
                <a:moveTo>
                  <a:pt x="2231401" y="3152562"/>
                </a:moveTo>
                <a:cubicBezTo>
                  <a:pt x="2238869" y="3152461"/>
                  <a:pt x="2246061" y="3153675"/>
                  <a:pt x="2251869" y="3156912"/>
                </a:cubicBezTo>
                <a:cubicBezTo>
                  <a:pt x="2236933" y="3165510"/>
                  <a:pt x="2221721" y="3162475"/>
                  <a:pt x="2210104" y="3156001"/>
                </a:cubicBezTo>
                <a:cubicBezTo>
                  <a:pt x="2216742" y="3154080"/>
                  <a:pt x="2224210" y="3152663"/>
                  <a:pt x="2231401" y="3152562"/>
                </a:cubicBezTo>
                <a:close/>
                <a:moveTo>
                  <a:pt x="1901706" y="3150438"/>
                </a:moveTo>
                <a:lnTo>
                  <a:pt x="1916919" y="3159845"/>
                </a:lnTo>
                <a:cubicBezTo>
                  <a:pt x="1924386" y="3161261"/>
                  <a:pt x="1927982" y="3160553"/>
                  <a:pt x="1933791" y="3160857"/>
                </a:cubicBezTo>
                <a:cubicBezTo>
                  <a:pt x="1975556" y="3190090"/>
                  <a:pt x="2043044" y="3191304"/>
                  <a:pt x="2103617" y="3216895"/>
                </a:cubicBezTo>
                <a:cubicBezTo>
                  <a:pt x="2107489" y="3216187"/>
                  <a:pt x="2109149" y="3214468"/>
                  <a:pt x="2111085" y="3212647"/>
                </a:cubicBezTo>
                <a:cubicBezTo>
                  <a:pt x="2143169" y="3222155"/>
                  <a:pt x="2173317" y="3228528"/>
                  <a:pt x="2202913" y="3232675"/>
                </a:cubicBezTo>
                <a:lnTo>
                  <a:pt x="2252975" y="3236114"/>
                </a:lnTo>
                <a:lnTo>
                  <a:pt x="2237763" y="3230955"/>
                </a:lnTo>
                <a:lnTo>
                  <a:pt x="2234997" y="3231562"/>
                </a:lnTo>
                <a:lnTo>
                  <a:pt x="2231125" y="3228730"/>
                </a:lnTo>
                <a:lnTo>
                  <a:pt x="2227806" y="3227617"/>
                </a:lnTo>
                <a:cubicBezTo>
                  <a:pt x="2207891" y="3235002"/>
                  <a:pt x="2179126" y="3213051"/>
                  <a:pt x="2164190" y="3214569"/>
                </a:cubicBezTo>
                <a:cubicBezTo>
                  <a:pt x="2151190" y="3210523"/>
                  <a:pt x="2156169" y="3204656"/>
                  <a:pt x="2142893" y="3198789"/>
                </a:cubicBezTo>
                <a:cubicBezTo>
                  <a:pt x="2136808" y="3199497"/>
                  <a:pt x="2140403" y="3202734"/>
                  <a:pt x="2134042" y="3201520"/>
                </a:cubicBezTo>
                <a:cubicBezTo>
                  <a:pt x="2125191" y="3202532"/>
                  <a:pt x="2138467" y="3208297"/>
                  <a:pt x="2126297" y="3207792"/>
                </a:cubicBezTo>
                <a:cubicBezTo>
                  <a:pt x="2122148" y="3202835"/>
                  <a:pt x="2119936" y="3206679"/>
                  <a:pt x="2121595" y="3199295"/>
                </a:cubicBezTo>
                <a:cubicBezTo>
                  <a:pt x="2115234" y="3198182"/>
                  <a:pt x="2108872" y="3197069"/>
                  <a:pt x="2100574" y="3201419"/>
                </a:cubicBezTo>
                <a:cubicBezTo>
                  <a:pt x="2090894" y="3198890"/>
                  <a:pt x="2096149" y="3194844"/>
                  <a:pt x="2086468" y="3192214"/>
                </a:cubicBezTo>
                <a:cubicBezTo>
                  <a:pt x="2085915" y="3204757"/>
                  <a:pt x="2082872" y="3189078"/>
                  <a:pt x="2067383" y="3188876"/>
                </a:cubicBezTo>
                <a:cubicBezTo>
                  <a:pt x="2061575" y="3189483"/>
                  <a:pt x="2062405" y="3194743"/>
                  <a:pt x="2053554" y="3195653"/>
                </a:cubicBezTo>
                <a:cubicBezTo>
                  <a:pt x="2047192" y="3194541"/>
                  <a:pt x="2043873" y="3193023"/>
                  <a:pt x="2037788" y="3193731"/>
                </a:cubicBezTo>
                <a:cubicBezTo>
                  <a:pt x="2018151" y="3170669"/>
                  <a:pt x="1957577" y="3173299"/>
                  <a:pt x="1926323" y="3153372"/>
                </a:cubicBezTo>
                <a:cubicBezTo>
                  <a:pt x="1920514" y="3155698"/>
                  <a:pt x="1917472" y="3156103"/>
                  <a:pt x="1911387" y="3154889"/>
                </a:cubicBezTo>
                <a:close/>
                <a:moveTo>
                  <a:pt x="10588196" y="3141130"/>
                </a:moveTo>
                <a:cubicBezTo>
                  <a:pt x="10589855" y="3140827"/>
                  <a:pt x="10591238" y="3141029"/>
                  <a:pt x="10591791" y="3141636"/>
                </a:cubicBezTo>
                <a:cubicBezTo>
                  <a:pt x="10594004" y="3143356"/>
                  <a:pt x="10592068" y="3148009"/>
                  <a:pt x="10593451" y="3149425"/>
                </a:cubicBezTo>
                <a:cubicBezTo>
                  <a:pt x="10589579" y="3151448"/>
                  <a:pt x="10585983" y="3147806"/>
                  <a:pt x="10582387" y="3144165"/>
                </a:cubicBezTo>
                <a:cubicBezTo>
                  <a:pt x="10584323" y="3143153"/>
                  <a:pt x="10591791" y="3144772"/>
                  <a:pt x="10588196" y="3141130"/>
                </a:cubicBezTo>
                <a:close/>
                <a:moveTo>
                  <a:pt x="1658583" y="3113517"/>
                </a:moveTo>
                <a:cubicBezTo>
                  <a:pt x="1667987" y="3113214"/>
                  <a:pt x="1671030" y="3117058"/>
                  <a:pt x="1670200" y="3118980"/>
                </a:cubicBezTo>
                <a:cubicBezTo>
                  <a:pt x="1669371" y="3120902"/>
                  <a:pt x="1664668" y="3121003"/>
                  <a:pt x="1658583" y="3113517"/>
                </a:cubicBezTo>
                <a:close/>
                <a:moveTo>
                  <a:pt x="10548920" y="3098343"/>
                </a:moveTo>
                <a:cubicBezTo>
                  <a:pt x="10540899" y="3114123"/>
                  <a:pt x="10525410" y="3125452"/>
                  <a:pt x="10509921" y="3130914"/>
                </a:cubicBezTo>
                <a:cubicBezTo>
                  <a:pt x="10511857" y="3132735"/>
                  <a:pt x="10513793" y="3128790"/>
                  <a:pt x="10517389" y="3132532"/>
                </a:cubicBezTo>
                <a:cubicBezTo>
                  <a:pt x="10515453" y="3139310"/>
                  <a:pt x="10507985" y="3131925"/>
                  <a:pt x="10504112" y="3136983"/>
                </a:cubicBezTo>
                <a:cubicBezTo>
                  <a:pt x="10514070" y="3120091"/>
                  <a:pt x="10516835" y="3096016"/>
                  <a:pt x="10548920" y="3098343"/>
                </a:cubicBezTo>
                <a:close/>
                <a:moveTo>
                  <a:pt x="10536197" y="2960067"/>
                </a:moveTo>
                <a:cubicBezTo>
                  <a:pt x="10535920" y="2962900"/>
                  <a:pt x="10533984" y="2963911"/>
                  <a:pt x="10537303" y="2967452"/>
                </a:cubicBezTo>
                <a:cubicBezTo>
                  <a:pt x="10533707" y="2966744"/>
                  <a:pt x="10529835" y="2968868"/>
                  <a:pt x="10526240" y="2965327"/>
                </a:cubicBezTo>
                <a:cubicBezTo>
                  <a:pt x="10523197" y="2959056"/>
                  <a:pt x="10532048" y="2965024"/>
                  <a:pt x="10536197" y="2960067"/>
                </a:cubicBezTo>
                <a:close/>
                <a:moveTo>
                  <a:pt x="10698832" y="2952178"/>
                </a:moveTo>
                <a:cubicBezTo>
                  <a:pt x="10706300" y="2959562"/>
                  <a:pt x="10704363" y="2963507"/>
                  <a:pt x="10698555" y="2969576"/>
                </a:cubicBezTo>
                <a:cubicBezTo>
                  <a:pt x="10689428" y="2963102"/>
                  <a:pt x="10694959" y="2957134"/>
                  <a:pt x="10698832" y="2952178"/>
                </a:cubicBezTo>
                <a:close/>
                <a:moveTo>
                  <a:pt x="10439667" y="2951672"/>
                </a:moveTo>
                <a:cubicBezTo>
                  <a:pt x="10436624" y="2951975"/>
                  <a:pt x="10433858" y="2952785"/>
                  <a:pt x="10431093" y="2952987"/>
                </a:cubicBezTo>
                <a:cubicBezTo>
                  <a:pt x="10425284" y="2956123"/>
                  <a:pt x="10434412" y="2959359"/>
                  <a:pt x="10425008" y="2964619"/>
                </a:cubicBezTo>
                <a:cubicBezTo>
                  <a:pt x="10421688" y="2952380"/>
                  <a:pt x="10419199" y="2967755"/>
                  <a:pt x="10411455" y="2969070"/>
                </a:cubicBezTo>
                <a:lnTo>
                  <a:pt x="10407029" y="2962394"/>
                </a:lnTo>
                <a:lnTo>
                  <a:pt x="10405923" y="2968868"/>
                </a:lnTo>
                <a:lnTo>
                  <a:pt x="10407582" y="2971194"/>
                </a:lnTo>
                <a:lnTo>
                  <a:pt x="10405370" y="2972206"/>
                </a:lnTo>
                <a:lnTo>
                  <a:pt x="10403987" y="2981208"/>
                </a:lnTo>
                <a:lnTo>
                  <a:pt x="10402051" y="3009632"/>
                </a:lnTo>
                <a:lnTo>
                  <a:pt x="10409519" y="3001945"/>
                </a:lnTo>
                <a:cubicBezTo>
                  <a:pt x="10421412" y="2990312"/>
                  <a:pt x="10431646" y="2979084"/>
                  <a:pt x="10432199" y="2969070"/>
                </a:cubicBezTo>
                <a:cubicBezTo>
                  <a:pt x="10446858" y="2975038"/>
                  <a:pt x="10436348" y="2955516"/>
                  <a:pt x="10449624" y="2953897"/>
                </a:cubicBezTo>
                <a:cubicBezTo>
                  <a:pt x="10446028" y="2951672"/>
                  <a:pt x="10442709" y="2951368"/>
                  <a:pt x="10439667" y="2951672"/>
                </a:cubicBezTo>
                <a:close/>
                <a:moveTo>
                  <a:pt x="10760788" y="2823309"/>
                </a:moveTo>
                <a:cubicBezTo>
                  <a:pt x="10763554" y="2824726"/>
                  <a:pt x="10764660" y="2826041"/>
                  <a:pt x="10766043" y="2827558"/>
                </a:cubicBezTo>
                <a:cubicBezTo>
                  <a:pt x="10767149" y="2829176"/>
                  <a:pt x="10767979" y="2830795"/>
                  <a:pt x="10769915" y="2832615"/>
                </a:cubicBezTo>
                <a:cubicBezTo>
                  <a:pt x="10764384" y="2829985"/>
                  <a:pt x="10762447" y="2839595"/>
                  <a:pt x="10754979" y="2832211"/>
                </a:cubicBezTo>
                <a:cubicBezTo>
                  <a:pt x="10764384" y="2832818"/>
                  <a:pt x="10756916" y="2828266"/>
                  <a:pt x="10760788" y="2823309"/>
                </a:cubicBezTo>
                <a:close/>
                <a:moveTo>
                  <a:pt x="10780979" y="2798527"/>
                </a:moveTo>
                <a:cubicBezTo>
                  <a:pt x="10784298" y="2805001"/>
                  <a:pt x="10772681" y="2808440"/>
                  <a:pt x="10776000" y="2814914"/>
                </a:cubicBezTo>
                <a:cubicBezTo>
                  <a:pt x="10772128" y="2817038"/>
                  <a:pt x="10768809" y="2810564"/>
                  <a:pt x="10764937" y="2812790"/>
                </a:cubicBezTo>
                <a:cubicBezTo>
                  <a:pt x="10761618" y="2806316"/>
                  <a:pt x="10773511" y="2797111"/>
                  <a:pt x="10780979" y="2798527"/>
                </a:cubicBezTo>
                <a:close/>
                <a:moveTo>
                  <a:pt x="1401908" y="2593189"/>
                </a:moveTo>
                <a:cubicBezTo>
                  <a:pt x="1411035" y="2593999"/>
                  <a:pt x="1416567" y="2606238"/>
                  <a:pt x="1411312" y="2610487"/>
                </a:cubicBezTo>
                <a:cubicBezTo>
                  <a:pt x="1402184" y="2609576"/>
                  <a:pt x="1403291" y="2600371"/>
                  <a:pt x="1394163" y="2599461"/>
                </a:cubicBezTo>
                <a:cubicBezTo>
                  <a:pt x="1393610" y="2595921"/>
                  <a:pt x="1402738" y="2596730"/>
                  <a:pt x="1401908" y="2593189"/>
                </a:cubicBezTo>
                <a:close/>
                <a:moveTo>
                  <a:pt x="1383653" y="2577410"/>
                </a:moveTo>
                <a:cubicBezTo>
                  <a:pt x="1378674" y="2583175"/>
                  <a:pt x="1387525" y="2580545"/>
                  <a:pt x="1391397" y="2585401"/>
                </a:cubicBezTo>
                <a:cubicBezTo>
                  <a:pt x="1388632" y="2586513"/>
                  <a:pt x="1386142" y="2586716"/>
                  <a:pt x="1383930" y="2586716"/>
                </a:cubicBezTo>
                <a:cubicBezTo>
                  <a:pt x="1381440" y="2586716"/>
                  <a:pt x="1379227" y="2586615"/>
                  <a:pt x="1376185" y="2586918"/>
                </a:cubicBezTo>
                <a:cubicBezTo>
                  <a:pt x="1381994" y="2584592"/>
                  <a:pt x="1371483" y="2578725"/>
                  <a:pt x="1383653" y="2577410"/>
                </a:cubicBezTo>
                <a:close/>
                <a:moveTo>
                  <a:pt x="1255592" y="2474639"/>
                </a:moveTo>
                <a:cubicBezTo>
                  <a:pt x="1261954" y="2475448"/>
                  <a:pt x="1265272" y="2480101"/>
                  <a:pt x="1268315" y="2483743"/>
                </a:cubicBezTo>
                <a:cubicBezTo>
                  <a:pt x="1255869" y="2485058"/>
                  <a:pt x="1252273" y="2481821"/>
                  <a:pt x="1247847" y="2475246"/>
                </a:cubicBezTo>
                <a:cubicBezTo>
                  <a:pt x="1250890" y="2474437"/>
                  <a:pt x="1253379" y="2474335"/>
                  <a:pt x="1255592" y="2474639"/>
                </a:cubicBezTo>
                <a:close/>
                <a:moveTo>
                  <a:pt x="941258" y="2362177"/>
                </a:moveTo>
                <a:lnTo>
                  <a:pt x="940937" y="2362222"/>
                </a:lnTo>
                <a:lnTo>
                  <a:pt x="846684" y="2379389"/>
                </a:lnTo>
                <a:lnTo>
                  <a:pt x="851494" y="2382590"/>
                </a:lnTo>
                <a:lnTo>
                  <a:pt x="846046" y="2379505"/>
                </a:lnTo>
                <a:lnTo>
                  <a:pt x="810844" y="2385916"/>
                </a:lnTo>
                <a:lnTo>
                  <a:pt x="819721" y="2392933"/>
                </a:lnTo>
                <a:cubicBezTo>
                  <a:pt x="822798" y="2395082"/>
                  <a:pt x="826739" y="2395588"/>
                  <a:pt x="835175" y="2391188"/>
                </a:cubicBezTo>
                <a:cubicBezTo>
                  <a:pt x="836282" y="2398168"/>
                  <a:pt x="833792" y="2400191"/>
                  <a:pt x="843749" y="2404540"/>
                </a:cubicBezTo>
                <a:cubicBezTo>
                  <a:pt x="857579" y="2397763"/>
                  <a:pt x="854536" y="2396347"/>
                  <a:pt x="869196" y="2393009"/>
                </a:cubicBezTo>
                <a:cubicBezTo>
                  <a:pt x="873068" y="2397965"/>
                  <a:pt x="897131" y="2411520"/>
                  <a:pt x="883302" y="2420118"/>
                </a:cubicBezTo>
                <a:cubicBezTo>
                  <a:pt x="904046" y="2432256"/>
                  <a:pt x="904046" y="2466243"/>
                  <a:pt x="929769" y="2472515"/>
                </a:cubicBezTo>
                <a:cubicBezTo>
                  <a:pt x="919258" y="2480708"/>
                  <a:pt x="941662" y="2487283"/>
                  <a:pt x="949683" y="2497196"/>
                </a:cubicBezTo>
                <a:cubicBezTo>
                  <a:pt x="954385" y="2505591"/>
                  <a:pt x="948300" y="2538365"/>
                  <a:pt x="987300" y="2534319"/>
                </a:cubicBezTo>
                <a:cubicBezTo>
                  <a:pt x="991725" y="2541096"/>
                  <a:pt x="981215" y="2534926"/>
                  <a:pt x="979279" y="2540489"/>
                </a:cubicBezTo>
                <a:cubicBezTo>
                  <a:pt x="984534" y="2552425"/>
                  <a:pt x="992831" y="2564058"/>
                  <a:pt x="1007767" y="2562540"/>
                </a:cubicBezTo>
                <a:cubicBezTo>
                  <a:pt x="1003065" y="2570127"/>
                  <a:pt x="1010533" y="2592583"/>
                  <a:pt x="1034597" y="2590155"/>
                </a:cubicBezTo>
                <a:cubicBezTo>
                  <a:pt x="1036256" y="2616758"/>
                  <a:pt x="1087702" y="2661467"/>
                  <a:pt x="1138318" y="2670470"/>
                </a:cubicBezTo>
                <a:cubicBezTo>
                  <a:pt x="1132509" y="2672898"/>
                  <a:pt x="1133063" y="2676438"/>
                  <a:pt x="1137211" y="2681394"/>
                </a:cubicBezTo>
                <a:cubicBezTo>
                  <a:pt x="1142743" y="2678967"/>
                  <a:pt x="1132509" y="2672898"/>
                  <a:pt x="1144956" y="2673403"/>
                </a:cubicBezTo>
                <a:cubicBezTo>
                  <a:pt x="1168189" y="2699602"/>
                  <a:pt x="1218805" y="2724688"/>
                  <a:pt x="1238997" y="2751088"/>
                </a:cubicBezTo>
                <a:cubicBezTo>
                  <a:pt x="1230699" y="2755539"/>
                  <a:pt x="1232358" y="2748256"/>
                  <a:pt x="1223784" y="2750886"/>
                </a:cubicBezTo>
                <a:cubicBezTo>
                  <a:pt x="1228486" y="2761102"/>
                  <a:pt x="1246464" y="2775365"/>
                  <a:pt x="1263613" y="2768183"/>
                </a:cubicBezTo>
                <a:cubicBezTo>
                  <a:pt x="1273570" y="2772533"/>
                  <a:pt x="1280485" y="2777287"/>
                  <a:pt x="1285464" y="2787503"/>
                </a:cubicBezTo>
                <a:cubicBezTo>
                  <a:pt x="1283251" y="2791246"/>
                  <a:pt x="1279102" y="2786289"/>
                  <a:pt x="1273294" y="2786896"/>
                </a:cubicBezTo>
                <a:cubicBezTo>
                  <a:pt x="1275506" y="2799136"/>
                  <a:pt x="1283804" y="2794786"/>
                  <a:pt x="1291549" y="2802878"/>
                </a:cubicBezTo>
                <a:cubicBezTo>
                  <a:pt x="1297357" y="2800552"/>
                  <a:pt x="1283804" y="2794685"/>
                  <a:pt x="1295974" y="2793471"/>
                </a:cubicBezTo>
                <a:cubicBezTo>
                  <a:pt x="1303718" y="2803384"/>
                  <a:pt x="1315888" y="2802170"/>
                  <a:pt x="1320867" y="2812387"/>
                </a:cubicBezTo>
                <a:cubicBezTo>
                  <a:pt x="1311740" y="2813297"/>
                  <a:pt x="1305101" y="2810465"/>
                  <a:pt x="1306761" y="2803081"/>
                </a:cubicBezTo>
                <a:cubicBezTo>
                  <a:pt x="1304272" y="2805205"/>
                  <a:pt x="1304825" y="2808644"/>
                  <a:pt x="1298740" y="2809251"/>
                </a:cubicBezTo>
                <a:cubicBezTo>
                  <a:pt x="1309527" y="2817040"/>
                  <a:pt x="1316442" y="2821693"/>
                  <a:pt x="1333867" y="2816332"/>
                </a:cubicBezTo>
                <a:cubicBezTo>
                  <a:pt x="1337739" y="2821288"/>
                  <a:pt x="1325569" y="2820782"/>
                  <a:pt x="1322803" y="2822805"/>
                </a:cubicBezTo>
                <a:cubicBezTo>
                  <a:pt x="1359037" y="2853050"/>
                  <a:pt x="1415737" y="2861446"/>
                  <a:pt x="1458886" y="2896242"/>
                </a:cubicBezTo>
                <a:cubicBezTo>
                  <a:pt x="1456673" y="2900086"/>
                  <a:pt x="1454184" y="2903930"/>
                  <a:pt x="1455290" y="2909190"/>
                </a:cubicBezTo>
                <a:cubicBezTo>
                  <a:pt x="1470502" y="2909392"/>
                  <a:pt x="1478800" y="2921024"/>
                  <a:pt x="1495949" y="2913843"/>
                </a:cubicBezTo>
                <a:cubicBezTo>
                  <a:pt x="1517799" y="2933062"/>
                  <a:pt x="1547118" y="2942570"/>
                  <a:pt x="1576436" y="2952078"/>
                </a:cubicBezTo>
                <a:cubicBezTo>
                  <a:pt x="1646967" y="3001946"/>
                  <a:pt x="1737135" y="3026425"/>
                  <a:pt x="1817899" y="3064560"/>
                </a:cubicBezTo>
                <a:cubicBezTo>
                  <a:pt x="1887323" y="3077001"/>
                  <a:pt x="1929918" y="3106639"/>
                  <a:pt x="1996853" y="3121104"/>
                </a:cubicBezTo>
                <a:cubicBezTo>
                  <a:pt x="1997959" y="3128083"/>
                  <a:pt x="2016214" y="3127982"/>
                  <a:pt x="2014555" y="3135265"/>
                </a:cubicBezTo>
                <a:cubicBezTo>
                  <a:pt x="2023682" y="3134355"/>
                  <a:pt x="2026448" y="3132332"/>
                  <a:pt x="2022299" y="3127375"/>
                </a:cubicBezTo>
                <a:cubicBezTo>
                  <a:pt x="2041108" y="3129095"/>
                  <a:pt x="2049405" y="3140727"/>
                  <a:pt x="2065724" y="3146190"/>
                </a:cubicBezTo>
                <a:cubicBezTo>
                  <a:pt x="2070426" y="3138603"/>
                  <a:pt x="2075128" y="3146898"/>
                  <a:pt x="2086468" y="3142144"/>
                </a:cubicBezTo>
                <a:cubicBezTo>
                  <a:pt x="2086745" y="3143964"/>
                  <a:pt x="2087021" y="3145684"/>
                  <a:pt x="2090341" y="3147100"/>
                </a:cubicBezTo>
                <a:cubicBezTo>
                  <a:pt x="2133765" y="3149831"/>
                  <a:pt x="2164743" y="3168140"/>
                  <a:pt x="2213700" y="3168443"/>
                </a:cubicBezTo>
                <a:cubicBezTo>
                  <a:pt x="2221721" y="3178356"/>
                  <a:pt x="2256848" y="3170972"/>
                  <a:pt x="2256571" y="3185336"/>
                </a:cubicBezTo>
                <a:lnTo>
                  <a:pt x="2263209" y="3185538"/>
                </a:lnTo>
                <a:lnTo>
                  <a:pt x="2263762" y="3184122"/>
                </a:lnTo>
                <a:cubicBezTo>
                  <a:pt x="2263486" y="3183313"/>
                  <a:pt x="2262933" y="3182301"/>
                  <a:pt x="2263762" y="3179975"/>
                </a:cubicBezTo>
                <a:cubicBezTo>
                  <a:pt x="2273167" y="3176738"/>
                  <a:pt x="2282294" y="3173501"/>
                  <a:pt x="2297506" y="3179165"/>
                </a:cubicBezTo>
                <a:cubicBezTo>
                  <a:pt x="2303038" y="3179570"/>
                  <a:pt x="2295570" y="3175322"/>
                  <a:pt x="2303038" y="3173905"/>
                </a:cubicBezTo>
                <a:cubicBezTo>
                  <a:pt x="2299166" y="3170264"/>
                  <a:pt x="2296400" y="3169455"/>
                  <a:pt x="2294741" y="3168140"/>
                </a:cubicBezTo>
                <a:lnTo>
                  <a:pt x="2293911" y="3163386"/>
                </a:lnTo>
                <a:lnTo>
                  <a:pt x="2291975" y="3163183"/>
                </a:lnTo>
                <a:cubicBezTo>
                  <a:pt x="2287272" y="3161666"/>
                  <a:pt x="2282570" y="3160452"/>
                  <a:pt x="2273996" y="3163993"/>
                </a:cubicBezTo>
                <a:cubicBezTo>
                  <a:pt x="2264592" y="3158631"/>
                  <a:pt x="2254082" y="3154889"/>
                  <a:pt x="2242741" y="3151854"/>
                </a:cubicBezTo>
                <a:lnTo>
                  <a:pt x="2224487" y="3147707"/>
                </a:lnTo>
                <a:lnTo>
                  <a:pt x="2218955" y="3147100"/>
                </a:lnTo>
                <a:lnTo>
                  <a:pt x="2216466" y="3145987"/>
                </a:lnTo>
                <a:lnTo>
                  <a:pt x="2207615" y="3144066"/>
                </a:lnTo>
                <a:lnTo>
                  <a:pt x="2193232" y="3140829"/>
                </a:lnTo>
                <a:lnTo>
                  <a:pt x="2199594" y="3149325"/>
                </a:lnTo>
                <a:cubicBezTo>
                  <a:pt x="2184658" y="3152259"/>
                  <a:pt x="2152573" y="3142751"/>
                  <a:pt x="2131829" y="3139716"/>
                </a:cubicBezTo>
                <a:cubicBezTo>
                  <a:pt x="2139297" y="3132433"/>
                  <a:pt x="2150637" y="3133040"/>
                  <a:pt x="2152573" y="3139817"/>
                </a:cubicBezTo>
                <a:lnTo>
                  <a:pt x="2171935" y="3136074"/>
                </a:lnTo>
                <a:lnTo>
                  <a:pt x="2141233" y="3124138"/>
                </a:lnTo>
                <a:cubicBezTo>
                  <a:pt x="2113574" y="3123430"/>
                  <a:pt x="2095319" y="3109168"/>
                  <a:pt x="2065171" y="3110483"/>
                </a:cubicBezTo>
                <a:cubicBezTo>
                  <a:pt x="2053831" y="3099154"/>
                  <a:pt x="2026172" y="3098446"/>
                  <a:pt x="2000172" y="3090455"/>
                </a:cubicBezTo>
                <a:cubicBezTo>
                  <a:pt x="1983853" y="3084992"/>
                  <a:pt x="1975279" y="3071640"/>
                  <a:pt x="1951769" y="3077608"/>
                </a:cubicBezTo>
                <a:cubicBezTo>
                  <a:pt x="1940152" y="3064459"/>
                  <a:pt x="1924663" y="3062537"/>
                  <a:pt x="1906132" y="3062638"/>
                </a:cubicBezTo>
                <a:cubicBezTo>
                  <a:pt x="1858281" y="3035428"/>
                  <a:pt x="1799921" y="3018232"/>
                  <a:pt x="1749582" y="2994765"/>
                </a:cubicBezTo>
                <a:cubicBezTo>
                  <a:pt x="1743773" y="2995473"/>
                  <a:pt x="1744050" y="2997192"/>
                  <a:pt x="1738241" y="2999519"/>
                </a:cubicBezTo>
                <a:cubicBezTo>
                  <a:pt x="1752071" y="2991022"/>
                  <a:pt x="1719433" y="2980097"/>
                  <a:pt x="1720816" y="2987178"/>
                </a:cubicBezTo>
                <a:cubicBezTo>
                  <a:pt x="1682923" y="2964216"/>
                  <a:pt x="1621797" y="2933062"/>
                  <a:pt x="1579479" y="2919608"/>
                </a:cubicBezTo>
                <a:cubicBezTo>
                  <a:pt x="1576436" y="2919912"/>
                  <a:pt x="1572564" y="2914955"/>
                  <a:pt x="1575606" y="2914652"/>
                </a:cubicBezTo>
                <a:cubicBezTo>
                  <a:pt x="1571458" y="2909695"/>
                  <a:pt x="1569521" y="2915158"/>
                  <a:pt x="1563160" y="2914045"/>
                </a:cubicBezTo>
                <a:cubicBezTo>
                  <a:pt x="1558458" y="2905649"/>
                  <a:pt x="1547394" y="2894320"/>
                  <a:pt x="1532459" y="2895939"/>
                </a:cubicBezTo>
                <a:cubicBezTo>
                  <a:pt x="1513374" y="2876416"/>
                  <a:pt x="1463311" y="2854770"/>
                  <a:pt x="1444779" y="2837068"/>
                </a:cubicBezTo>
                <a:cubicBezTo>
                  <a:pt x="1438418" y="2835854"/>
                  <a:pt x="1432056" y="2834741"/>
                  <a:pt x="1428737" y="2833325"/>
                </a:cubicBezTo>
                <a:cubicBezTo>
                  <a:pt x="1424865" y="2828369"/>
                  <a:pt x="1424312" y="2824930"/>
                  <a:pt x="1423205" y="2819670"/>
                </a:cubicBezTo>
                <a:cubicBezTo>
                  <a:pt x="1413525" y="2817040"/>
                  <a:pt x="1400525" y="2812994"/>
                  <a:pt x="1395270" y="2801058"/>
                </a:cubicBezTo>
                <a:cubicBezTo>
                  <a:pt x="1403844" y="2798428"/>
                  <a:pt x="1407163" y="2799844"/>
                  <a:pt x="1408823" y="2792561"/>
                </a:cubicBezTo>
                <a:cubicBezTo>
                  <a:pt x="1398865" y="2788211"/>
                  <a:pt x="1397483" y="2797315"/>
                  <a:pt x="1388632" y="2798225"/>
                </a:cubicBezTo>
                <a:cubicBezTo>
                  <a:pt x="1375632" y="2794280"/>
                  <a:pt x="1386419" y="2785986"/>
                  <a:pt x="1385312" y="2780726"/>
                </a:cubicBezTo>
                <a:cubicBezTo>
                  <a:pt x="1365675" y="2789931"/>
                  <a:pt x="1346037" y="2782951"/>
                  <a:pt x="1351845" y="2764542"/>
                </a:cubicBezTo>
                <a:cubicBezTo>
                  <a:pt x="1347420" y="2757866"/>
                  <a:pt x="1333037" y="2762923"/>
                  <a:pt x="1331654" y="2755843"/>
                </a:cubicBezTo>
                <a:cubicBezTo>
                  <a:pt x="1328612" y="2756247"/>
                  <a:pt x="1322803" y="2756854"/>
                  <a:pt x="1323356" y="2760394"/>
                </a:cubicBezTo>
                <a:cubicBezTo>
                  <a:pt x="1316718" y="2757461"/>
                  <a:pt x="1318378" y="2750077"/>
                  <a:pt x="1306761" y="2753111"/>
                </a:cubicBezTo>
                <a:cubicBezTo>
                  <a:pt x="1305655" y="2747852"/>
                  <a:pt x="1299846" y="2732375"/>
                  <a:pt x="1285187" y="2735713"/>
                </a:cubicBezTo>
                <a:cubicBezTo>
                  <a:pt x="1284357" y="2732173"/>
                  <a:pt x="1293485" y="2731364"/>
                  <a:pt x="1292655" y="2727823"/>
                </a:cubicBezTo>
                <a:cubicBezTo>
                  <a:pt x="1280485" y="2727318"/>
                  <a:pt x="1278825" y="2718517"/>
                  <a:pt x="1264166" y="2721754"/>
                </a:cubicBezTo>
                <a:cubicBezTo>
                  <a:pt x="1263060" y="2716494"/>
                  <a:pt x="1261124" y="2705974"/>
                  <a:pt x="1255869" y="2710122"/>
                </a:cubicBezTo>
                <a:cubicBezTo>
                  <a:pt x="1233741" y="2691004"/>
                  <a:pt x="1197508" y="2676944"/>
                  <a:pt x="1186997" y="2652971"/>
                </a:cubicBezTo>
                <a:cubicBezTo>
                  <a:pt x="1183402" y="2649835"/>
                  <a:pt x="1179806" y="2646598"/>
                  <a:pt x="1170679" y="2647508"/>
                </a:cubicBezTo>
                <a:cubicBezTo>
                  <a:pt x="1169572" y="2624446"/>
                  <a:pt x="1114531" y="2608767"/>
                  <a:pt x="1112318" y="2580444"/>
                </a:cubicBezTo>
                <a:cubicBezTo>
                  <a:pt x="1108446" y="2577207"/>
                  <a:pt x="1099872" y="2579837"/>
                  <a:pt x="1096276" y="2576600"/>
                </a:cubicBezTo>
                <a:cubicBezTo>
                  <a:pt x="1091574" y="2568205"/>
                  <a:pt x="1103191" y="2565170"/>
                  <a:pt x="1105404" y="2559607"/>
                </a:cubicBezTo>
                <a:cubicBezTo>
                  <a:pt x="1094893" y="2553538"/>
                  <a:pt x="1061426" y="2553538"/>
                  <a:pt x="1076362" y="2535937"/>
                </a:cubicBezTo>
                <a:cubicBezTo>
                  <a:pt x="1069170" y="2529565"/>
                  <a:pt x="1053958" y="2531082"/>
                  <a:pt x="1047043" y="2526429"/>
                </a:cubicBezTo>
                <a:cubicBezTo>
                  <a:pt x="1049256" y="2522585"/>
                  <a:pt x="1052021" y="2520562"/>
                  <a:pt x="1051469" y="2517123"/>
                </a:cubicBezTo>
                <a:cubicBezTo>
                  <a:pt x="1039022" y="2516516"/>
                  <a:pt x="1023533" y="2498511"/>
                  <a:pt x="1033767" y="2488497"/>
                </a:cubicBezTo>
                <a:cubicBezTo>
                  <a:pt x="1018001" y="2486575"/>
                  <a:pt x="1010256" y="2476662"/>
                  <a:pt x="999469" y="2468772"/>
                </a:cubicBezTo>
                <a:cubicBezTo>
                  <a:pt x="1001337" y="2441840"/>
                  <a:pt x="968664" y="2414396"/>
                  <a:pt x="950345" y="2385245"/>
                </a:cubicBezTo>
                <a:close/>
                <a:moveTo>
                  <a:pt x="1015512" y="2359831"/>
                </a:moveTo>
                <a:cubicBezTo>
                  <a:pt x="1024639" y="2358921"/>
                  <a:pt x="1026022" y="2366001"/>
                  <a:pt x="1029895" y="2370958"/>
                </a:cubicBezTo>
                <a:cubicBezTo>
                  <a:pt x="1021320" y="2373588"/>
                  <a:pt x="1019660" y="2364889"/>
                  <a:pt x="1015512" y="2359831"/>
                </a:cubicBezTo>
                <a:close/>
                <a:moveTo>
                  <a:pt x="996056" y="2354493"/>
                </a:moveTo>
                <a:lnTo>
                  <a:pt x="952744" y="2360566"/>
                </a:lnTo>
                <a:lnTo>
                  <a:pt x="964239" y="2366507"/>
                </a:lnTo>
                <a:cubicBezTo>
                  <a:pt x="974922" y="2374548"/>
                  <a:pt x="983566" y="2383905"/>
                  <a:pt x="988406" y="2393211"/>
                </a:cubicBezTo>
                <a:cubicBezTo>
                  <a:pt x="995321" y="2397864"/>
                  <a:pt x="1009703" y="2392807"/>
                  <a:pt x="1012193" y="2389064"/>
                </a:cubicBezTo>
                <a:cubicBezTo>
                  <a:pt x="1004034" y="2378291"/>
                  <a:pt x="1000784" y="2365217"/>
                  <a:pt x="996082" y="2354533"/>
                </a:cubicBezTo>
                <a:close/>
                <a:moveTo>
                  <a:pt x="1040442" y="2348269"/>
                </a:moveTo>
                <a:lnTo>
                  <a:pt x="1004862" y="2353258"/>
                </a:lnTo>
                <a:lnTo>
                  <a:pt x="1018554" y="2374093"/>
                </a:lnTo>
                <a:cubicBezTo>
                  <a:pt x="1027682" y="2373082"/>
                  <a:pt x="1031554" y="2378038"/>
                  <a:pt x="1043171" y="2375004"/>
                </a:cubicBezTo>
                <a:cubicBezTo>
                  <a:pt x="1052021" y="2372374"/>
                  <a:pt x="1036256" y="2370452"/>
                  <a:pt x="1041511" y="2366305"/>
                </a:cubicBezTo>
                <a:cubicBezTo>
                  <a:pt x="1047596" y="2365698"/>
                  <a:pt x="1050639" y="2365394"/>
                  <a:pt x="1051192" y="2368935"/>
                </a:cubicBezTo>
                <a:cubicBezTo>
                  <a:pt x="1053958" y="2366810"/>
                  <a:pt x="1053128" y="2363270"/>
                  <a:pt x="1059213" y="2362663"/>
                </a:cubicBezTo>
                <a:cubicBezTo>
                  <a:pt x="1057139" y="2359325"/>
                  <a:pt x="1052299" y="2358035"/>
                  <a:pt x="1047700" y="2356050"/>
                </a:cubicBezTo>
                <a:close/>
                <a:moveTo>
                  <a:pt x="1170411" y="2330079"/>
                </a:moveTo>
                <a:lnTo>
                  <a:pt x="1108748" y="2338691"/>
                </a:lnTo>
                <a:lnTo>
                  <a:pt x="1072892" y="2343718"/>
                </a:lnTo>
                <a:lnTo>
                  <a:pt x="1068617" y="2347389"/>
                </a:lnTo>
                <a:cubicBezTo>
                  <a:pt x="1068893" y="2349210"/>
                  <a:pt x="1074978" y="2348603"/>
                  <a:pt x="1077744" y="2346580"/>
                </a:cubicBezTo>
                <a:cubicBezTo>
                  <a:pt x="1084936" y="2352953"/>
                  <a:pt x="1070000" y="2354470"/>
                  <a:pt x="1073872" y="2359426"/>
                </a:cubicBezTo>
                <a:cubicBezTo>
                  <a:pt x="1080787" y="2363978"/>
                  <a:pt x="1078851" y="2353559"/>
                  <a:pt x="1087978" y="2352548"/>
                </a:cubicBezTo>
                <a:cubicBezTo>
                  <a:pt x="1092680" y="2361045"/>
                  <a:pt x="1102361" y="2363675"/>
                  <a:pt x="1117020" y="2360337"/>
                </a:cubicBezTo>
                <a:cubicBezTo>
                  <a:pt x="1107340" y="2373891"/>
                  <a:pt x="1125871" y="2375510"/>
                  <a:pt x="1108169" y="2379151"/>
                </a:cubicBezTo>
                <a:cubicBezTo>
                  <a:pt x="1111488" y="2396650"/>
                  <a:pt x="1153530" y="2408283"/>
                  <a:pt x="1133892" y="2417488"/>
                </a:cubicBezTo>
                <a:cubicBezTo>
                  <a:pt x="1138871" y="2427704"/>
                  <a:pt x="1148552" y="2414150"/>
                  <a:pt x="1150488" y="2424670"/>
                </a:cubicBezTo>
                <a:cubicBezTo>
                  <a:pt x="1142466" y="2430840"/>
                  <a:pt x="1143850" y="2421837"/>
                  <a:pt x="1137765" y="2422444"/>
                </a:cubicBezTo>
                <a:cubicBezTo>
                  <a:pt x="1123935" y="2431042"/>
                  <a:pt x="1152424" y="2435189"/>
                  <a:pt x="1147445" y="2441056"/>
                </a:cubicBezTo>
                <a:cubicBezTo>
                  <a:pt x="1156296" y="2440146"/>
                  <a:pt x="1156019" y="2438426"/>
                  <a:pt x="1167636" y="2435493"/>
                </a:cubicBezTo>
                <a:cubicBezTo>
                  <a:pt x="1168466" y="2438932"/>
                  <a:pt x="1168743" y="2440753"/>
                  <a:pt x="1172062" y="2442169"/>
                </a:cubicBezTo>
                <a:cubicBezTo>
                  <a:pt x="1163764" y="2446620"/>
                  <a:pt x="1162658" y="2441259"/>
                  <a:pt x="1156573" y="2441865"/>
                </a:cubicBezTo>
                <a:cubicBezTo>
                  <a:pt x="1160168" y="2443282"/>
                  <a:pt x="1160445" y="2445102"/>
                  <a:pt x="1160722" y="2446822"/>
                </a:cubicBezTo>
                <a:cubicBezTo>
                  <a:pt x="1164040" y="2448238"/>
                  <a:pt x="1163211" y="2444799"/>
                  <a:pt x="1169296" y="2444192"/>
                </a:cubicBezTo>
                <a:cubicBezTo>
                  <a:pt x="1172891" y="2463512"/>
                  <a:pt x="1184785" y="2478280"/>
                  <a:pt x="1207465" y="2484956"/>
                </a:cubicBezTo>
                <a:cubicBezTo>
                  <a:pt x="1205806" y="2492239"/>
                  <a:pt x="1212444" y="2495072"/>
                  <a:pt x="1219082" y="2497904"/>
                </a:cubicBezTo>
                <a:cubicBezTo>
                  <a:pt x="1222125" y="2497600"/>
                  <a:pt x="1228210" y="2497095"/>
                  <a:pt x="1227933" y="2495274"/>
                </a:cubicBezTo>
                <a:cubicBezTo>
                  <a:pt x="1223784" y="2506401"/>
                  <a:pt x="1239550" y="2524507"/>
                  <a:pt x="1258358" y="2527845"/>
                </a:cubicBezTo>
                <a:cubicBezTo>
                  <a:pt x="1249507" y="2528755"/>
                  <a:pt x="1256145" y="2531588"/>
                  <a:pt x="1250337" y="2534015"/>
                </a:cubicBezTo>
                <a:cubicBezTo>
                  <a:pt x="1274677" y="2549289"/>
                  <a:pt x="1289336" y="2562136"/>
                  <a:pt x="1305378" y="2581860"/>
                </a:cubicBezTo>
                <a:cubicBezTo>
                  <a:pt x="1311187" y="2581254"/>
                  <a:pt x="1310080" y="2574274"/>
                  <a:pt x="1314229" y="2581051"/>
                </a:cubicBezTo>
                <a:cubicBezTo>
                  <a:pt x="1317272" y="2580647"/>
                  <a:pt x="1316995" y="2578927"/>
                  <a:pt x="1320037" y="2578624"/>
                </a:cubicBezTo>
                <a:cubicBezTo>
                  <a:pt x="1318378" y="2569823"/>
                  <a:pt x="1310357" y="2575994"/>
                  <a:pt x="1306761" y="2572858"/>
                </a:cubicBezTo>
                <a:cubicBezTo>
                  <a:pt x="1306208" y="2571138"/>
                  <a:pt x="1305655" y="2567598"/>
                  <a:pt x="1308421" y="2565575"/>
                </a:cubicBezTo>
                <a:cubicBezTo>
                  <a:pt x="1328059" y="2572453"/>
                  <a:pt x="1342165" y="2583479"/>
                  <a:pt x="1356824" y="2596224"/>
                </a:cubicBezTo>
                <a:cubicBezTo>
                  <a:pt x="1368440" y="2593291"/>
                  <a:pt x="1352952" y="2591268"/>
                  <a:pt x="1364845" y="2590054"/>
                </a:cubicBezTo>
                <a:cubicBezTo>
                  <a:pt x="1377015" y="2604822"/>
                  <a:pt x="1394163" y="2615645"/>
                  <a:pt x="1416567" y="2620399"/>
                </a:cubicBezTo>
                <a:cubicBezTo>
                  <a:pt x="1425142" y="2617770"/>
                  <a:pt x="1417950" y="2611397"/>
                  <a:pt x="1429567" y="2608362"/>
                </a:cubicBezTo>
                <a:cubicBezTo>
                  <a:pt x="1418227" y="2597033"/>
                  <a:pt x="1409929" y="2585401"/>
                  <a:pt x="1396929" y="2581355"/>
                </a:cubicBezTo>
                <a:cubicBezTo>
                  <a:pt x="1407163" y="2569621"/>
                  <a:pt x="1385589" y="2570026"/>
                  <a:pt x="1372036" y="2562540"/>
                </a:cubicBezTo>
                <a:cubicBezTo>
                  <a:pt x="1360973" y="2552931"/>
                  <a:pt x="1351845" y="2536038"/>
                  <a:pt x="1337462" y="2525013"/>
                </a:cubicBezTo>
                <a:cubicBezTo>
                  <a:pt x="1323356" y="2515808"/>
                  <a:pt x="1310910" y="2497398"/>
                  <a:pt x="1305378" y="2483743"/>
                </a:cubicBezTo>
                <a:cubicBezTo>
                  <a:pt x="1304548" y="2480202"/>
                  <a:pt x="1295974" y="2482832"/>
                  <a:pt x="1291825" y="2477876"/>
                </a:cubicBezTo>
                <a:cubicBezTo>
                  <a:pt x="1297634" y="2475549"/>
                  <a:pt x="1294038" y="2472414"/>
                  <a:pt x="1293485" y="2470593"/>
                </a:cubicBezTo>
                <a:cubicBezTo>
                  <a:pt x="1271634" y="2467558"/>
                  <a:pt x="1274400" y="2449452"/>
                  <a:pt x="1252549" y="2446316"/>
                </a:cubicBezTo>
                <a:cubicBezTo>
                  <a:pt x="1232082" y="2403832"/>
                  <a:pt x="1191423" y="2382995"/>
                  <a:pt x="1183955" y="2342635"/>
                </a:cubicBezTo>
                <a:cubicBezTo>
                  <a:pt x="1180083" y="2337679"/>
                  <a:pt x="1170679" y="2336970"/>
                  <a:pt x="1166807" y="2332014"/>
                </a:cubicBezTo>
                <a:close/>
                <a:moveTo>
                  <a:pt x="1227234" y="2322143"/>
                </a:moveTo>
                <a:lnTo>
                  <a:pt x="1191654" y="2327112"/>
                </a:lnTo>
                <a:lnTo>
                  <a:pt x="1203732" y="2339524"/>
                </a:lnTo>
                <a:cubicBezTo>
                  <a:pt x="1212167" y="2350019"/>
                  <a:pt x="1219774" y="2362157"/>
                  <a:pt x="1229316" y="2371868"/>
                </a:cubicBezTo>
                <a:cubicBezTo>
                  <a:pt x="1235401" y="2371261"/>
                  <a:pt x="1231528" y="2368125"/>
                  <a:pt x="1231252" y="2366406"/>
                </a:cubicBezTo>
                <a:cubicBezTo>
                  <a:pt x="1255039" y="2378241"/>
                  <a:pt x="1239826" y="2411924"/>
                  <a:pt x="1258634" y="2413644"/>
                </a:cubicBezTo>
                <a:cubicBezTo>
                  <a:pt x="1252826" y="2432054"/>
                  <a:pt x="1305378" y="2451576"/>
                  <a:pt x="1292931" y="2467154"/>
                </a:cubicBezTo>
                <a:cubicBezTo>
                  <a:pt x="1303995" y="2476763"/>
                  <a:pt x="1307037" y="2476358"/>
                  <a:pt x="1314782" y="2486271"/>
                </a:cubicBezTo>
                <a:cubicBezTo>
                  <a:pt x="1315612" y="2489812"/>
                  <a:pt x="1320314" y="2482225"/>
                  <a:pt x="1320037" y="2480405"/>
                </a:cubicBezTo>
                <a:cubicBezTo>
                  <a:pt x="1362909" y="2513481"/>
                  <a:pt x="1395823" y="2542209"/>
                  <a:pt x="1435652" y="2575589"/>
                </a:cubicBezTo>
                <a:cubicBezTo>
                  <a:pt x="1453354" y="2571947"/>
                  <a:pt x="1438694" y="2559202"/>
                  <a:pt x="1438141" y="2555763"/>
                </a:cubicBezTo>
                <a:cubicBezTo>
                  <a:pt x="1430673" y="2549390"/>
                  <a:pt x="1407716" y="2540995"/>
                  <a:pt x="1396376" y="2529666"/>
                </a:cubicBezTo>
                <a:cubicBezTo>
                  <a:pt x="1381440" y="2515201"/>
                  <a:pt x="1366781" y="2502355"/>
                  <a:pt x="1355994" y="2492745"/>
                </a:cubicBezTo>
                <a:cubicBezTo>
                  <a:pt x="1345207" y="2484956"/>
                  <a:pt x="1342994" y="2472717"/>
                  <a:pt x="1332484" y="2464928"/>
                </a:cubicBezTo>
                <a:cubicBezTo>
                  <a:pt x="1313399" y="2445406"/>
                  <a:pt x="1289059" y="2430031"/>
                  <a:pt x="1273570" y="2412026"/>
                </a:cubicBezTo>
                <a:cubicBezTo>
                  <a:pt x="1257251" y="2390480"/>
                  <a:pt x="1243975" y="2368732"/>
                  <a:pt x="1230975" y="2348603"/>
                </a:cubicBezTo>
                <a:cubicBezTo>
                  <a:pt x="1289613" y="2399685"/>
                  <a:pt x="1323356" y="2465737"/>
                  <a:pt x="1389185" y="2507210"/>
                </a:cubicBezTo>
                <a:cubicBezTo>
                  <a:pt x="1401078" y="2521978"/>
                  <a:pt x="1418503" y="2532700"/>
                  <a:pt x="1430397" y="2547570"/>
                </a:cubicBezTo>
                <a:cubicBezTo>
                  <a:pt x="1430673" y="2549289"/>
                  <a:pt x="1437035" y="2550503"/>
                  <a:pt x="1440077" y="2550200"/>
                </a:cubicBezTo>
                <a:cubicBezTo>
                  <a:pt x="1464141" y="2579837"/>
                  <a:pt x="1488757" y="2580849"/>
                  <a:pt x="1507289" y="2614634"/>
                </a:cubicBezTo>
                <a:cubicBezTo>
                  <a:pt x="1487374" y="2605935"/>
                  <a:pt x="1474651" y="2587626"/>
                  <a:pt x="1455013" y="2580748"/>
                </a:cubicBezTo>
                <a:cubicBezTo>
                  <a:pt x="1467736" y="2599056"/>
                  <a:pt x="1492353" y="2616151"/>
                  <a:pt x="1519182" y="2629503"/>
                </a:cubicBezTo>
                <a:cubicBezTo>
                  <a:pt x="1538544" y="2650745"/>
                  <a:pt x="1560394" y="2669863"/>
                  <a:pt x="1589989" y="2681091"/>
                </a:cubicBezTo>
                <a:cubicBezTo>
                  <a:pt x="1592755" y="2695050"/>
                  <a:pt x="1615712" y="2703446"/>
                  <a:pt x="1631754" y="2707087"/>
                </a:cubicBezTo>
                <a:cubicBezTo>
                  <a:pt x="1643371" y="2720237"/>
                  <a:pt x="1680158" y="2737837"/>
                  <a:pt x="1706710" y="2749369"/>
                </a:cubicBezTo>
                <a:cubicBezTo>
                  <a:pt x="1725795" y="2768891"/>
                  <a:pt x="1757879" y="2776174"/>
                  <a:pt x="1781943" y="2791549"/>
                </a:cubicBezTo>
                <a:cubicBezTo>
                  <a:pt x="1789134" y="2780119"/>
                  <a:pt x="1759262" y="2783255"/>
                  <a:pt x="1766454" y="2773544"/>
                </a:cubicBezTo>
                <a:cubicBezTo>
                  <a:pt x="1685689" y="2733690"/>
                  <a:pt x="1625116" y="2704255"/>
                  <a:pt x="1569245" y="2651049"/>
                </a:cubicBezTo>
                <a:cubicBezTo>
                  <a:pt x="1613776" y="2676843"/>
                  <a:pt x="1653881" y="2695960"/>
                  <a:pt x="1699242" y="2725193"/>
                </a:cubicBezTo>
                <a:cubicBezTo>
                  <a:pt x="1705327" y="2724586"/>
                  <a:pt x="1705051" y="2722766"/>
                  <a:pt x="1704221" y="2719225"/>
                </a:cubicBezTo>
                <a:cubicBezTo>
                  <a:pt x="1712518" y="2730858"/>
                  <a:pt x="1725518" y="2735005"/>
                  <a:pt x="1739901" y="2745930"/>
                </a:cubicBezTo>
                <a:cubicBezTo>
                  <a:pt x="1745986" y="2745323"/>
                  <a:pt x="1751518" y="2742996"/>
                  <a:pt x="1751794" y="2744716"/>
                </a:cubicBezTo>
                <a:cubicBezTo>
                  <a:pt x="1747092" y="2718416"/>
                  <a:pt x="1679328" y="2716494"/>
                  <a:pt x="1675732" y="2681192"/>
                </a:cubicBezTo>
                <a:cubicBezTo>
                  <a:pt x="1663839" y="2682406"/>
                  <a:pt x="1671030" y="2688779"/>
                  <a:pt x="1668264" y="2690903"/>
                </a:cubicBezTo>
                <a:cubicBezTo>
                  <a:pt x="1656647" y="2693836"/>
                  <a:pt x="1660796" y="2682709"/>
                  <a:pt x="1649733" y="2689284"/>
                </a:cubicBezTo>
                <a:cubicBezTo>
                  <a:pt x="1644754" y="2679068"/>
                  <a:pt x="1637286" y="2672594"/>
                  <a:pt x="1627052" y="2666525"/>
                </a:cubicBezTo>
                <a:cubicBezTo>
                  <a:pt x="1625393" y="2657725"/>
                  <a:pt x="1636733" y="2669155"/>
                  <a:pt x="1642265" y="2665008"/>
                </a:cubicBezTo>
                <a:cubicBezTo>
                  <a:pt x="1621797" y="2638607"/>
                  <a:pt x="1597180" y="2621411"/>
                  <a:pt x="1559564" y="2600371"/>
                </a:cubicBezTo>
                <a:cubicBezTo>
                  <a:pt x="1553756" y="2600978"/>
                  <a:pt x="1563990" y="2607047"/>
                  <a:pt x="1564543" y="2610588"/>
                </a:cubicBezTo>
                <a:cubicBezTo>
                  <a:pt x="1549331" y="2610385"/>
                  <a:pt x="1541862" y="2603912"/>
                  <a:pt x="1549607" y="2595921"/>
                </a:cubicBezTo>
                <a:cubicBezTo>
                  <a:pt x="1552649" y="2595617"/>
                  <a:pt x="1553203" y="2599157"/>
                  <a:pt x="1556245" y="2598854"/>
                </a:cubicBezTo>
                <a:cubicBezTo>
                  <a:pt x="1560394" y="2587727"/>
                  <a:pt x="1526650" y="2571543"/>
                  <a:pt x="1519182" y="2563451"/>
                </a:cubicBezTo>
                <a:cubicBezTo>
                  <a:pt x="1507842" y="2568205"/>
                  <a:pt x="1511161" y="2569621"/>
                  <a:pt x="1511714" y="2573161"/>
                </a:cubicBezTo>
                <a:cubicBezTo>
                  <a:pt x="1456120" y="2553841"/>
                  <a:pt x="1476587" y="2500028"/>
                  <a:pt x="1424035" y="2480405"/>
                </a:cubicBezTo>
                <a:cubicBezTo>
                  <a:pt x="1422929" y="2475145"/>
                  <a:pt x="1428737" y="2472818"/>
                  <a:pt x="1430950" y="2468974"/>
                </a:cubicBezTo>
                <a:cubicBezTo>
                  <a:pt x="1421269" y="2466446"/>
                  <a:pt x="1417674" y="2463209"/>
                  <a:pt x="1419333" y="2455825"/>
                </a:cubicBezTo>
                <a:cubicBezTo>
                  <a:pt x="1407440" y="2457139"/>
                  <a:pt x="1402461" y="2446923"/>
                  <a:pt x="1390014" y="2446417"/>
                </a:cubicBezTo>
                <a:lnTo>
                  <a:pt x="1386972" y="2422242"/>
                </a:lnTo>
                <a:lnTo>
                  <a:pt x="1373972" y="2419410"/>
                </a:lnTo>
                <a:cubicBezTo>
                  <a:pt x="1362079" y="2415768"/>
                  <a:pt x="1361249" y="2410812"/>
                  <a:pt x="1359590" y="2400292"/>
                </a:cubicBezTo>
                <a:cubicBezTo>
                  <a:pt x="1337186" y="2387749"/>
                  <a:pt x="1304548" y="2381579"/>
                  <a:pt x="1294038" y="2359325"/>
                </a:cubicBezTo>
                <a:cubicBezTo>
                  <a:pt x="1289336" y="2361753"/>
                  <a:pt x="1286570" y="2360842"/>
                  <a:pt x="1277996" y="2358314"/>
                </a:cubicBezTo>
                <a:cubicBezTo>
                  <a:pt x="1277996" y="2352548"/>
                  <a:pt x="1283528" y="2354268"/>
                  <a:pt x="1282421" y="2350120"/>
                </a:cubicBezTo>
                <a:cubicBezTo>
                  <a:pt x="1276889" y="2348401"/>
                  <a:pt x="1270528" y="2348300"/>
                  <a:pt x="1265826" y="2350727"/>
                </a:cubicBezTo>
                <a:cubicBezTo>
                  <a:pt x="1261954" y="2345771"/>
                  <a:pt x="1248677" y="2328372"/>
                  <a:pt x="1238720" y="2334846"/>
                </a:cubicBezTo>
                <a:cubicBezTo>
                  <a:pt x="1235677" y="2333936"/>
                  <a:pt x="1236784" y="2332419"/>
                  <a:pt x="1240379" y="2331609"/>
                </a:cubicBezTo>
                <a:close/>
                <a:moveTo>
                  <a:pt x="1328593" y="2307616"/>
                </a:moveTo>
                <a:lnTo>
                  <a:pt x="1327326" y="2307802"/>
                </a:lnTo>
                <a:lnTo>
                  <a:pt x="1329995" y="2309457"/>
                </a:lnTo>
                <a:close/>
                <a:moveTo>
                  <a:pt x="1349168" y="2304588"/>
                </a:moveTo>
                <a:lnTo>
                  <a:pt x="1335271" y="2306633"/>
                </a:lnTo>
                <a:lnTo>
                  <a:pt x="1341888" y="2316234"/>
                </a:lnTo>
                <a:lnTo>
                  <a:pt x="1344654" y="2318561"/>
                </a:lnTo>
                <a:lnTo>
                  <a:pt x="1352675" y="2323719"/>
                </a:lnTo>
                <a:cubicBezTo>
                  <a:pt x="1358483" y="2325439"/>
                  <a:pt x="1367887" y="2326349"/>
                  <a:pt x="1373419" y="2328069"/>
                </a:cubicBezTo>
                <a:lnTo>
                  <a:pt x="1375909" y="2330294"/>
                </a:lnTo>
                <a:lnTo>
                  <a:pt x="1373419" y="2325641"/>
                </a:lnTo>
                <a:lnTo>
                  <a:pt x="1368717" y="2318257"/>
                </a:lnTo>
                <a:lnTo>
                  <a:pt x="1362355" y="2314515"/>
                </a:lnTo>
                <a:close/>
                <a:moveTo>
                  <a:pt x="1715296" y="1449817"/>
                </a:moveTo>
                <a:cubicBezTo>
                  <a:pt x="1719168" y="1447693"/>
                  <a:pt x="1722487" y="1454167"/>
                  <a:pt x="1726359" y="1451941"/>
                </a:cubicBezTo>
                <a:cubicBezTo>
                  <a:pt x="1729678" y="1458415"/>
                  <a:pt x="1717785" y="1467620"/>
                  <a:pt x="1710317" y="1466204"/>
                </a:cubicBezTo>
                <a:cubicBezTo>
                  <a:pt x="1706998" y="1459730"/>
                  <a:pt x="1718615" y="1456291"/>
                  <a:pt x="1715296" y="1449817"/>
                </a:cubicBezTo>
                <a:close/>
                <a:moveTo>
                  <a:pt x="1728122" y="1430536"/>
                </a:moveTo>
                <a:cubicBezTo>
                  <a:pt x="1730231" y="1429385"/>
                  <a:pt x="1732583" y="1428828"/>
                  <a:pt x="1736317" y="1432520"/>
                </a:cubicBezTo>
                <a:cubicBezTo>
                  <a:pt x="1726912" y="1431913"/>
                  <a:pt x="1734380" y="1436465"/>
                  <a:pt x="1730508" y="1441422"/>
                </a:cubicBezTo>
                <a:cubicBezTo>
                  <a:pt x="1727742" y="1440005"/>
                  <a:pt x="1726635" y="1438690"/>
                  <a:pt x="1725253" y="1437173"/>
                </a:cubicBezTo>
                <a:cubicBezTo>
                  <a:pt x="1724147" y="1435555"/>
                  <a:pt x="1723317" y="1433936"/>
                  <a:pt x="1721381" y="1432116"/>
                </a:cubicBezTo>
                <a:cubicBezTo>
                  <a:pt x="1724146" y="1433431"/>
                  <a:pt x="1726013" y="1431686"/>
                  <a:pt x="1728122" y="1430536"/>
                </a:cubicBezTo>
                <a:close/>
                <a:moveTo>
                  <a:pt x="1953993" y="1297279"/>
                </a:moveTo>
                <a:cubicBezTo>
                  <a:pt x="1957588" y="1297987"/>
                  <a:pt x="1961461" y="1295863"/>
                  <a:pt x="1965055" y="1299404"/>
                </a:cubicBezTo>
                <a:cubicBezTo>
                  <a:pt x="1968098" y="1305675"/>
                  <a:pt x="1959248" y="1299707"/>
                  <a:pt x="1955099" y="1304664"/>
                </a:cubicBezTo>
                <a:cubicBezTo>
                  <a:pt x="1955375" y="1301831"/>
                  <a:pt x="1957312" y="1300820"/>
                  <a:pt x="1953993" y="1297279"/>
                </a:cubicBezTo>
                <a:close/>
                <a:moveTo>
                  <a:pt x="1792741" y="1295155"/>
                </a:moveTo>
                <a:cubicBezTo>
                  <a:pt x="1801868" y="1301629"/>
                  <a:pt x="1796336" y="1307597"/>
                  <a:pt x="1792464" y="1312553"/>
                </a:cubicBezTo>
                <a:cubicBezTo>
                  <a:pt x="1784996" y="1305169"/>
                  <a:pt x="1786933" y="1301224"/>
                  <a:pt x="1792741" y="1295155"/>
                </a:cubicBezTo>
                <a:close/>
                <a:moveTo>
                  <a:pt x="2089245" y="1255099"/>
                </a:moveTo>
                <a:lnTo>
                  <a:pt x="2081777" y="1262786"/>
                </a:lnTo>
                <a:cubicBezTo>
                  <a:pt x="2069883" y="1274419"/>
                  <a:pt x="2059650" y="1285647"/>
                  <a:pt x="2059097" y="1295661"/>
                </a:cubicBezTo>
                <a:cubicBezTo>
                  <a:pt x="2044438" y="1289693"/>
                  <a:pt x="2054948" y="1309215"/>
                  <a:pt x="2041672" y="1310834"/>
                </a:cubicBezTo>
                <a:cubicBezTo>
                  <a:pt x="2045267" y="1313059"/>
                  <a:pt x="2048586" y="1313363"/>
                  <a:pt x="2051629" y="1313059"/>
                </a:cubicBezTo>
                <a:cubicBezTo>
                  <a:pt x="2054672" y="1312756"/>
                  <a:pt x="2057438" y="1311946"/>
                  <a:pt x="2060202" y="1311744"/>
                </a:cubicBezTo>
                <a:cubicBezTo>
                  <a:pt x="2066012" y="1308608"/>
                  <a:pt x="2056884" y="1305372"/>
                  <a:pt x="2066287" y="1300112"/>
                </a:cubicBezTo>
                <a:cubicBezTo>
                  <a:pt x="2069608" y="1312351"/>
                  <a:pt x="2072097" y="1296976"/>
                  <a:pt x="2079841" y="1295661"/>
                </a:cubicBezTo>
                <a:lnTo>
                  <a:pt x="2084266" y="1302337"/>
                </a:lnTo>
                <a:lnTo>
                  <a:pt x="2085373" y="1295863"/>
                </a:lnTo>
                <a:lnTo>
                  <a:pt x="2083714" y="1293537"/>
                </a:lnTo>
                <a:lnTo>
                  <a:pt x="2085926" y="1292525"/>
                </a:lnTo>
                <a:lnTo>
                  <a:pt x="2087309" y="1283523"/>
                </a:lnTo>
                <a:close/>
                <a:moveTo>
                  <a:pt x="1987183" y="1127748"/>
                </a:moveTo>
                <a:cubicBezTo>
                  <a:pt x="1977226" y="1144640"/>
                  <a:pt x="1974461" y="1168715"/>
                  <a:pt x="1942376" y="1166388"/>
                </a:cubicBezTo>
                <a:cubicBezTo>
                  <a:pt x="1950397" y="1150608"/>
                  <a:pt x="1965886" y="1139279"/>
                  <a:pt x="1981375" y="1133817"/>
                </a:cubicBezTo>
                <a:cubicBezTo>
                  <a:pt x="1979439" y="1131996"/>
                  <a:pt x="1977503" y="1135941"/>
                  <a:pt x="1973907" y="1132199"/>
                </a:cubicBezTo>
                <a:cubicBezTo>
                  <a:pt x="1975843" y="1125421"/>
                  <a:pt x="1983311" y="1132806"/>
                  <a:pt x="1987183" y="1127748"/>
                </a:cubicBezTo>
                <a:close/>
                <a:moveTo>
                  <a:pt x="1897845" y="1115306"/>
                </a:moveTo>
                <a:cubicBezTo>
                  <a:pt x="1901717" y="1113283"/>
                  <a:pt x="1905312" y="1116925"/>
                  <a:pt x="1908909" y="1120566"/>
                </a:cubicBezTo>
                <a:cubicBezTo>
                  <a:pt x="1906973" y="1121578"/>
                  <a:pt x="1899505" y="1119959"/>
                  <a:pt x="1903099" y="1123601"/>
                </a:cubicBezTo>
                <a:cubicBezTo>
                  <a:pt x="1901441" y="1123904"/>
                  <a:pt x="1900058" y="1123702"/>
                  <a:pt x="1899505" y="1123095"/>
                </a:cubicBezTo>
                <a:cubicBezTo>
                  <a:pt x="1897292" y="1121375"/>
                  <a:pt x="1899228" y="1116722"/>
                  <a:pt x="1897845" y="1115306"/>
                </a:cubicBezTo>
                <a:close/>
                <a:moveTo>
                  <a:pt x="2007374" y="1097099"/>
                </a:moveTo>
                <a:cubicBezTo>
                  <a:pt x="2009311" y="1101853"/>
                  <a:pt x="2014843" y="1107517"/>
                  <a:pt x="2020651" y="1101448"/>
                </a:cubicBezTo>
                <a:cubicBezTo>
                  <a:pt x="2024247" y="1108124"/>
                  <a:pt x="2010970" y="1106708"/>
                  <a:pt x="2010970" y="1109642"/>
                </a:cubicBezTo>
                <a:cubicBezTo>
                  <a:pt x="2009034" y="1107720"/>
                  <a:pt x="2005439" y="1103876"/>
                  <a:pt x="2003502" y="1104887"/>
                </a:cubicBezTo>
                <a:cubicBezTo>
                  <a:pt x="1999907" y="1101145"/>
                  <a:pt x="2003502" y="1099122"/>
                  <a:pt x="2007374" y="1097099"/>
                </a:cubicBezTo>
                <a:close/>
                <a:moveTo>
                  <a:pt x="1819017" y="1088703"/>
                </a:moveTo>
                <a:cubicBezTo>
                  <a:pt x="1824272" y="1094165"/>
                  <a:pt x="1816528" y="1098313"/>
                  <a:pt x="1812655" y="1103269"/>
                </a:cubicBezTo>
                <a:cubicBezTo>
                  <a:pt x="1805464" y="1098920"/>
                  <a:pt x="1814867" y="1093660"/>
                  <a:pt x="1819017" y="1088703"/>
                </a:cubicBezTo>
                <a:close/>
                <a:moveTo>
                  <a:pt x="1927379" y="1083826"/>
                </a:moveTo>
                <a:cubicBezTo>
                  <a:pt x="1928944" y="1083273"/>
                  <a:pt x="1930759" y="1083494"/>
                  <a:pt x="1932972" y="1085062"/>
                </a:cubicBezTo>
                <a:cubicBezTo>
                  <a:pt x="1927440" y="1090928"/>
                  <a:pt x="1923568" y="1095885"/>
                  <a:pt x="1925227" y="1100437"/>
                </a:cubicBezTo>
                <a:cubicBezTo>
                  <a:pt x="1923291" y="1101448"/>
                  <a:pt x="1919695" y="1097908"/>
                  <a:pt x="1916100" y="1094266"/>
                </a:cubicBezTo>
                <a:cubicBezTo>
                  <a:pt x="1920248" y="1094115"/>
                  <a:pt x="1922686" y="1085485"/>
                  <a:pt x="1927379" y="1083826"/>
                </a:cubicBezTo>
                <a:close/>
                <a:moveTo>
                  <a:pt x="1876893" y="1069257"/>
                </a:moveTo>
                <a:cubicBezTo>
                  <a:pt x="1878898" y="1070926"/>
                  <a:pt x="1881110" y="1073177"/>
                  <a:pt x="1884845" y="1072519"/>
                </a:cubicBezTo>
                <a:cubicBezTo>
                  <a:pt x="1886505" y="1077071"/>
                  <a:pt x="1866037" y="1080004"/>
                  <a:pt x="1869356" y="1086377"/>
                </a:cubicBezTo>
                <a:cubicBezTo>
                  <a:pt x="1865760" y="1087085"/>
                  <a:pt x="1862995" y="1087186"/>
                  <a:pt x="1860505" y="1086377"/>
                </a:cubicBezTo>
                <a:cubicBezTo>
                  <a:pt x="1858292" y="1085567"/>
                  <a:pt x="1856633" y="1083747"/>
                  <a:pt x="1854973" y="1080510"/>
                </a:cubicBezTo>
                <a:cubicBezTo>
                  <a:pt x="1854973" y="1077779"/>
                  <a:pt x="1858845" y="1075756"/>
                  <a:pt x="1862718" y="1073631"/>
                </a:cubicBezTo>
                <a:cubicBezTo>
                  <a:pt x="1866037" y="1080004"/>
                  <a:pt x="1877377" y="1073834"/>
                  <a:pt x="1870186" y="1069484"/>
                </a:cubicBezTo>
                <a:cubicBezTo>
                  <a:pt x="1873090" y="1066500"/>
                  <a:pt x="1874888" y="1067588"/>
                  <a:pt x="1876893" y="1069257"/>
                </a:cubicBezTo>
                <a:close/>
                <a:moveTo>
                  <a:pt x="1887507" y="1058598"/>
                </a:moveTo>
                <a:cubicBezTo>
                  <a:pt x="1890100" y="1058180"/>
                  <a:pt x="1892451" y="1058256"/>
                  <a:pt x="1895079" y="1060886"/>
                </a:cubicBezTo>
                <a:cubicBezTo>
                  <a:pt x="1894803" y="1063718"/>
                  <a:pt x="1890930" y="1065843"/>
                  <a:pt x="1892590" y="1067663"/>
                </a:cubicBezTo>
                <a:cubicBezTo>
                  <a:pt x="1890653" y="1068675"/>
                  <a:pt x="1885675" y="1060684"/>
                  <a:pt x="1878484" y="1059268"/>
                </a:cubicBezTo>
                <a:cubicBezTo>
                  <a:pt x="1882079" y="1059926"/>
                  <a:pt x="1884914" y="1059015"/>
                  <a:pt x="1887507" y="1058598"/>
                </a:cubicBezTo>
                <a:close/>
                <a:moveTo>
                  <a:pt x="1944312" y="1045208"/>
                </a:moveTo>
                <a:cubicBezTo>
                  <a:pt x="1943482" y="1059369"/>
                  <a:pt x="1922185" y="1073834"/>
                  <a:pt x="1906973" y="1079397"/>
                </a:cubicBezTo>
                <a:cubicBezTo>
                  <a:pt x="1911121" y="1071608"/>
                  <a:pt x="1907526" y="1068068"/>
                  <a:pt x="1905865" y="1063415"/>
                </a:cubicBezTo>
                <a:cubicBezTo>
                  <a:pt x="1917482" y="1059976"/>
                  <a:pt x="1930759" y="1055424"/>
                  <a:pt x="1944312" y="1045208"/>
                </a:cubicBezTo>
                <a:close/>
                <a:moveTo>
                  <a:pt x="1790528" y="1033373"/>
                </a:moveTo>
                <a:lnTo>
                  <a:pt x="1790528" y="1033676"/>
                </a:lnTo>
                <a:lnTo>
                  <a:pt x="1790252" y="1033777"/>
                </a:lnTo>
                <a:close/>
                <a:moveTo>
                  <a:pt x="1960354" y="1028619"/>
                </a:moveTo>
                <a:cubicBezTo>
                  <a:pt x="1965610" y="1033777"/>
                  <a:pt x="1963120" y="1037722"/>
                  <a:pt x="1957035" y="1043690"/>
                </a:cubicBezTo>
                <a:cubicBezTo>
                  <a:pt x="1955099" y="1041971"/>
                  <a:pt x="1957312" y="1040858"/>
                  <a:pt x="1957588" y="1038127"/>
                </a:cubicBezTo>
                <a:cubicBezTo>
                  <a:pt x="1953716" y="1037419"/>
                  <a:pt x="1953716" y="1037520"/>
                  <a:pt x="1948461" y="1035193"/>
                </a:cubicBezTo>
                <a:cubicBezTo>
                  <a:pt x="1952056" y="1035800"/>
                  <a:pt x="1953993" y="1034789"/>
                  <a:pt x="1957865" y="1035396"/>
                </a:cubicBezTo>
                <a:cubicBezTo>
                  <a:pt x="1959801" y="1034283"/>
                  <a:pt x="1956482" y="1030844"/>
                  <a:pt x="1960354" y="1028619"/>
                </a:cubicBezTo>
                <a:close/>
                <a:moveTo>
                  <a:pt x="1858292" y="1027708"/>
                </a:moveTo>
                <a:cubicBezTo>
                  <a:pt x="1866867" y="1025179"/>
                  <a:pt x="1868803" y="1034384"/>
                  <a:pt x="1863824" y="1034890"/>
                </a:cubicBezTo>
                <a:cubicBezTo>
                  <a:pt x="1862165" y="1034991"/>
                  <a:pt x="1859676" y="1034283"/>
                  <a:pt x="1856357" y="1031653"/>
                </a:cubicBezTo>
                <a:cubicBezTo>
                  <a:pt x="1858292" y="1030642"/>
                  <a:pt x="1858292" y="1027708"/>
                  <a:pt x="1858292" y="1027708"/>
                </a:cubicBezTo>
                <a:close/>
                <a:moveTo>
                  <a:pt x="1791635" y="1025685"/>
                </a:moveTo>
                <a:lnTo>
                  <a:pt x="1790528" y="1033373"/>
                </a:lnTo>
                <a:lnTo>
                  <a:pt x="1790252" y="1029529"/>
                </a:lnTo>
                <a:cubicBezTo>
                  <a:pt x="1789698" y="1026697"/>
                  <a:pt x="1788869" y="1024370"/>
                  <a:pt x="1791635" y="1025685"/>
                </a:cubicBezTo>
                <a:close/>
                <a:moveTo>
                  <a:pt x="2162542" y="1021234"/>
                </a:moveTo>
                <a:cubicBezTo>
                  <a:pt x="2161988" y="1029832"/>
                  <a:pt x="2141244" y="1035497"/>
                  <a:pt x="2137372" y="1040555"/>
                </a:cubicBezTo>
                <a:cubicBezTo>
                  <a:pt x="2135713" y="1030035"/>
                  <a:pt x="2150925" y="1027506"/>
                  <a:pt x="2162542" y="1021234"/>
                </a:cubicBezTo>
                <a:close/>
                <a:moveTo>
                  <a:pt x="1846399" y="1017998"/>
                </a:moveTo>
                <a:cubicBezTo>
                  <a:pt x="1848336" y="1016885"/>
                  <a:pt x="1852207" y="1017593"/>
                  <a:pt x="1854144" y="1019414"/>
                </a:cubicBezTo>
                <a:cubicBezTo>
                  <a:pt x="1855526" y="1024168"/>
                  <a:pt x="1847782" y="1025584"/>
                  <a:pt x="1843909" y="1027809"/>
                </a:cubicBezTo>
                <a:cubicBezTo>
                  <a:pt x="1836442" y="1023460"/>
                  <a:pt x="1851931" y="1020526"/>
                  <a:pt x="1846399" y="1017998"/>
                </a:cubicBezTo>
                <a:close/>
                <a:moveTo>
                  <a:pt x="1907802" y="1014862"/>
                </a:moveTo>
                <a:cubicBezTo>
                  <a:pt x="1909738" y="1016683"/>
                  <a:pt x="1907526" y="1020526"/>
                  <a:pt x="1911121" y="1021234"/>
                </a:cubicBezTo>
                <a:cubicBezTo>
                  <a:pt x="1909184" y="1028012"/>
                  <a:pt x="1903654" y="1025483"/>
                  <a:pt x="1901717" y="1029327"/>
                </a:cubicBezTo>
                <a:cubicBezTo>
                  <a:pt x="1906973" y="1034789"/>
                  <a:pt x="1911121" y="1027000"/>
                  <a:pt x="1914716" y="1024977"/>
                </a:cubicBezTo>
                <a:cubicBezTo>
                  <a:pt x="1918313" y="1028619"/>
                  <a:pt x="1905036" y="1038633"/>
                  <a:pt x="1914441" y="1036306"/>
                </a:cubicBezTo>
                <a:cubicBezTo>
                  <a:pt x="1912504" y="1040251"/>
                  <a:pt x="1895356" y="1046624"/>
                  <a:pt x="1911675" y="1057245"/>
                </a:cubicBezTo>
                <a:cubicBezTo>
                  <a:pt x="1909738" y="1057548"/>
                  <a:pt x="1908355" y="1057548"/>
                  <a:pt x="1906696" y="1057346"/>
                </a:cubicBezTo>
                <a:cubicBezTo>
                  <a:pt x="1902270" y="1056638"/>
                  <a:pt x="1898951" y="1053806"/>
                  <a:pt x="1893419" y="1050569"/>
                </a:cubicBezTo>
                <a:cubicBezTo>
                  <a:pt x="1890100" y="1041263"/>
                  <a:pt x="1903099" y="1042578"/>
                  <a:pt x="1899780" y="1033272"/>
                </a:cubicBezTo>
                <a:cubicBezTo>
                  <a:pt x="1894248" y="1030642"/>
                  <a:pt x="1892313" y="1034485"/>
                  <a:pt x="1886782" y="1029023"/>
                </a:cubicBezTo>
                <a:cubicBezTo>
                  <a:pt x="1894526" y="1024876"/>
                  <a:pt x="1901994" y="1020830"/>
                  <a:pt x="1907802" y="1014862"/>
                </a:cubicBezTo>
                <a:close/>
                <a:moveTo>
                  <a:pt x="1868803" y="1013850"/>
                </a:moveTo>
                <a:cubicBezTo>
                  <a:pt x="1872675" y="1011827"/>
                  <a:pt x="1876270" y="1012535"/>
                  <a:pt x="1879867" y="1016177"/>
                </a:cubicBezTo>
                <a:cubicBezTo>
                  <a:pt x="1877931" y="1017188"/>
                  <a:pt x="1877931" y="1020021"/>
                  <a:pt x="1875995" y="1021133"/>
                </a:cubicBezTo>
                <a:cubicBezTo>
                  <a:pt x="1873229" y="1019818"/>
                  <a:pt x="1871846" y="1018503"/>
                  <a:pt x="1871016" y="1017188"/>
                </a:cubicBezTo>
                <a:cubicBezTo>
                  <a:pt x="1870186" y="1015975"/>
                  <a:pt x="1869633" y="1014761"/>
                  <a:pt x="1868803" y="1013850"/>
                </a:cubicBezTo>
                <a:close/>
                <a:moveTo>
                  <a:pt x="5702616" y="1011183"/>
                </a:moveTo>
                <a:cubicBezTo>
                  <a:pt x="5709738" y="1011676"/>
                  <a:pt x="5716446" y="1014053"/>
                  <a:pt x="5722254" y="1017290"/>
                </a:cubicBezTo>
                <a:cubicBezTo>
                  <a:pt x="5715616" y="1019211"/>
                  <a:pt x="5708148" y="1020628"/>
                  <a:pt x="5700958" y="1020729"/>
                </a:cubicBezTo>
                <a:cubicBezTo>
                  <a:pt x="5693489" y="1020830"/>
                  <a:pt x="5686297" y="1019616"/>
                  <a:pt x="5680489" y="1016379"/>
                </a:cubicBezTo>
                <a:cubicBezTo>
                  <a:pt x="5687957" y="1012080"/>
                  <a:pt x="5695494" y="1010690"/>
                  <a:pt x="5702616" y="1011183"/>
                </a:cubicBezTo>
                <a:close/>
                <a:moveTo>
                  <a:pt x="1950950" y="989169"/>
                </a:moveTo>
                <a:cubicBezTo>
                  <a:pt x="1960078" y="992406"/>
                  <a:pt x="1958141" y="993519"/>
                  <a:pt x="1959801" y="998172"/>
                </a:cubicBezTo>
                <a:cubicBezTo>
                  <a:pt x="1941270" y="991496"/>
                  <a:pt x="1932694" y="1012839"/>
                  <a:pt x="1939887" y="1022954"/>
                </a:cubicBezTo>
                <a:cubicBezTo>
                  <a:pt x="1937673" y="1026798"/>
                  <a:pt x="1923568" y="1009501"/>
                  <a:pt x="1924951" y="1019919"/>
                </a:cubicBezTo>
                <a:cubicBezTo>
                  <a:pt x="1923014" y="1020223"/>
                  <a:pt x="1922461" y="1019818"/>
                  <a:pt x="1922738" y="1019009"/>
                </a:cubicBezTo>
                <a:cubicBezTo>
                  <a:pt x="1923014" y="1016683"/>
                  <a:pt x="1929100" y="1010613"/>
                  <a:pt x="1923568" y="1009501"/>
                </a:cubicBezTo>
                <a:cubicBezTo>
                  <a:pt x="1931312" y="1002420"/>
                  <a:pt x="1940992" y="997261"/>
                  <a:pt x="1950950" y="989169"/>
                </a:cubicBezTo>
                <a:close/>
                <a:moveTo>
                  <a:pt x="5669149" y="987753"/>
                </a:moveTo>
                <a:lnTo>
                  <a:pt x="5668597" y="989169"/>
                </a:lnTo>
                <a:cubicBezTo>
                  <a:pt x="5668872" y="989978"/>
                  <a:pt x="5669425" y="990990"/>
                  <a:pt x="5668597" y="993317"/>
                </a:cubicBezTo>
                <a:cubicBezTo>
                  <a:pt x="5659191" y="996553"/>
                  <a:pt x="5650064" y="999790"/>
                  <a:pt x="5634852" y="994126"/>
                </a:cubicBezTo>
                <a:cubicBezTo>
                  <a:pt x="5629320" y="993721"/>
                  <a:pt x="5636788" y="997969"/>
                  <a:pt x="5629320" y="999387"/>
                </a:cubicBezTo>
                <a:cubicBezTo>
                  <a:pt x="5633193" y="1003027"/>
                  <a:pt x="5635958" y="1003836"/>
                  <a:pt x="5637617" y="1005151"/>
                </a:cubicBezTo>
                <a:lnTo>
                  <a:pt x="5638447" y="1009906"/>
                </a:lnTo>
                <a:lnTo>
                  <a:pt x="5640383" y="1010108"/>
                </a:lnTo>
                <a:cubicBezTo>
                  <a:pt x="5645086" y="1011625"/>
                  <a:pt x="5649788" y="1012839"/>
                  <a:pt x="5658362" y="1009299"/>
                </a:cubicBezTo>
                <a:cubicBezTo>
                  <a:pt x="5667766" y="1014660"/>
                  <a:pt x="5678276" y="1018402"/>
                  <a:pt x="5689617" y="1021437"/>
                </a:cubicBezTo>
                <a:lnTo>
                  <a:pt x="5707871" y="1025585"/>
                </a:lnTo>
                <a:lnTo>
                  <a:pt x="5713403" y="1026192"/>
                </a:lnTo>
                <a:lnTo>
                  <a:pt x="5715892" y="1027304"/>
                </a:lnTo>
                <a:lnTo>
                  <a:pt x="5720790" y="1028367"/>
                </a:lnTo>
                <a:lnTo>
                  <a:pt x="5724427" y="1028287"/>
                </a:lnTo>
                <a:lnTo>
                  <a:pt x="5735906" y="1028162"/>
                </a:lnTo>
                <a:lnTo>
                  <a:pt x="5732764" y="1023966"/>
                </a:lnTo>
                <a:cubicBezTo>
                  <a:pt x="5740233" y="1022499"/>
                  <a:pt x="5751987" y="1024143"/>
                  <a:pt x="5764469" y="1026533"/>
                </a:cubicBezTo>
                <a:lnTo>
                  <a:pt x="5770856" y="1027780"/>
                </a:lnTo>
                <a:lnTo>
                  <a:pt x="5842646" y="1026996"/>
                </a:lnTo>
                <a:lnTo>
                  <a:pt x="5842017" y="1026192"/>
                </a:lnTo>
                <a:cubicBezTo>
                  <a:pt x="5798593" y="1023460"/>
                  <a:pt x="5767615" y="1005151"/>
                  <a:pt x="5718658" y="1004848"/>
                </a:cubicBezTo>
                <a:cubicBezTo>
                  <a:pt x="5710637" y="994935"/>
                  <a:pt x="5675510" y="1002319"/>
                  <a:pt x="5675787" y="987955"/>
                </a:cubicBezTo>
                <a:close/>
                <a:moveTo>
                  <a:pt x="1837021" y="985991"/>
                </a:moveTo>
                <a:cubicBezTo>
                  <a:pt x="1840348" y="985421"/>
                  <a:pt x="1843425" y="985705"/>
                  <a:pt x="1845293" y="987551"/>
                </a:cubicBezTo>
                <a:cubicBezTo>
                  <a:pt x="1837272" y="997464"/>
                  <a:pt x="1818186" y="1005050"/>
                  <a:pt x="1827591" y="1011423"/>
                </a:cubicBezTo>
                <a:cubicBezTo>
                  <a:pt x="1828974" y="1012738"/>
                  <a:pt x="1821783" y="1017290"/>
                  <a:pt x="1815698" y="1018301"/>
                </a:cubicBezTo>
                <a:cubicBezTo>
                  <a:pt x="1813762" y="1018604"/>
                  <a:pt x="1811826" y="1018503"/>
                  <a:pt x="1810443" y="1017896"/>
                </a:cubicBezTo>
                <a:cubicBezTo>
                  <a:pt x="1806847" y="1008489"/>
                  <a:pt x="1818464" y="999284"/>
                  <a:pt x="1826208" y="995137"/>
                </a:cubicBezTo>
                <a:cubicBezTo>
                  <a:pt x="1814799" y="997110"/>
                  <a:pt x="1827038" y="987703"/>
                  <a:pt x="1837021" y="985991"/>
                </a:cubicBezTo>
                <a:close/>
                <a:moveTo>
                  <a:pt x="1900066" y="984542"/>
                </a:moveTo>
                <a:cubicBezTo>
                  <a:pt x="1908649" y="990156"/>
                  <a:pt x="1898951" y="1011929"/>
                  <a:pt x="1878207" y="1008894"/>
                </a:cubicBezTo>
                <a:cubicBezTo>
                  <a:pt x="1878484" y="1000296"/>
                  <a:pt x="1891484" y="1001409"/>
                  <a:pt x="1897569" y="992608"/>
                </a:cubicBezTo>
                <a:cubicBezTo>
                  <a:pt x="1892313" y="987247"/>
                  <a:pt x="1890377" y="991192"/>
                  <a:pt x="1885121" y="985831"/>
                </a:cubicBezTo>
                <a:cubicBezTo>
                  <a:pt x="1892313" y="982594"/>
                  <a:pt x="1897205" y="982671"/>
                  <a:pt x="1900066" y="984542"/>
                </a:cubicBezTo>
                <a:close/>
                <a:moveTo>
                  <a:pt x="1719168" y="975918"/>
                </a:moveTo>
                <a:cubicBezTo>
                  <a:pt x="1720551" y="980470"/>
                  <a:pt x="1719998" y="986236"/>
                  <a:pt x="1713636" y="992305"/>
                </a:cubicBezTo>
                <a:cubicBezTo>
                  <a:pt x="1718062" y="987348"/>
                  <a:pt x="1713360" y="976323"/>
                  <a:pt x="1719168" y="975918"/>
                </a:cubicBezTo>
                <a:close/>
                <a:moveTo>
                  <a:pt x="1727119" y="963679"/>
                </a:moveTo>
                <a:cubicBezTo>
                  <a:pt x="1728295" y="962667"/>
                  <a:pt x="1729678" y="962617"/>
                  <a:pt x="1732444" y="965398"/>
                </a:cubicBezTo>
                <a:cubicBezTo>
                  <a:pt x="1730508" y="966511"/>
                  <a:pt x="1730508" y="966410"/>
                  <a:pt x="1728572" y="967421"/>
                </a:cubicBezTo>
                <a:cubicBezTo>
                  <a:pt x="1730508" y="969343"/>
                  <a:pt x="1730508" y="969343"/>
                  <a:pt x="1732444" y="968332"/>
                </a:cubicBezTo>
                <a:cubicBezTo>
                  <a:pt x="1736040" y="972074"/>
                  <a:pt x="1730508" y="969343"/>
                  <a:pt x="1728572" y="973288"/>
                </a:cubicBezTo>
                <a:cubicBezTo>
                  <a:pt x="1726635" y="971467"/>
                  <a:pt x="1724700" y="969647"/>
                  <a:pt x="1723040" y="967725"/>
                </a:cubicBezTo>
                <a:cubicBezTo>
                  <a:pt x="1724976" y="966663"/>
                  <a:pt x="1725943" y="964691"/>
                  <a:pt x="1727119" y="963679"/>
                </a:cubicBezTo>
                <a:close/>
                <a:moveTo>
                  <a:pt x="1865206" y="963173"/>
                </a:moveTo>
                <a:cubicBezTo>
                  <a:pt x="1870738" y="968635"/>
                  <a:pt x="1859399" y="972074"/>
                  <a:pt x="1864653" y="977435"/>
                </a:cubicBezTo>
                <a:cubicBezTo>
                  <a:pt x="1862718" y="978548"/>
                  <a:pt x="1864931" y="974603"/>
                  <a:pt x="1861058" y="973895"/>
                </a:cubicBezTo>
                <a:cubicBezTo>
                  <a:pt x="1851655" y="979054"/>
                  <a:pt x="1860782" y="979560"/>
                  <a:pt x="1862442" y="984213"/>
                </a:cubicBezTo>
                <a:cubicBezTo>
                  <a:pt x="1860505" y="988056"/>
                  <a:pt x="1858569" y="989068"/>
                  <a:pt x="1854973" y="991192"/>
                </a:cubicBezTo>
                <a:cubicBezTo>
                  <a:pt x="1851378" y="987551"/>
                  <a:pt x="1853038" y="986539"/>
                  <a:pt x="1855250" y="982594"/>
                </a:cubicBezTo>
                <a:cubicBezTo>
                  <a:pt x="1849718" y="977233"/>
                  <a:pt x="1847506" y="986741"/>
                  <a:pt x="1842251" y="981380"/>
                </a:cubicBezTo>
                <a:cubicBezTo>
                  <a:pt x="1851931" y="973288"/>
                  <a:pt x="1853867" y="969444"/>
                  <a:pt x="1865206" y="963173"/>
                </a:cubicBezTo>
                <a:close/>
                <a:moveTo>
                  <a:pt x="1948184" y="956396"/>
                </a:moveTo>
                <a:cubicBezTo>
                  <a:pt x="1950121" y="958217"/>
                  <a:pt x="1946248" y="960341"/>
                  <a:pt x="1945971" y="963274"/>
                </a:cubicBezTo>
                <a:cubicBezTo>
                  <a:pt x="1932419" y="973592"/>
                  <a:pt x="1930206" y="977537"/>
                  <a:pt x="1916653" y="984921"/>
                </a:cubicBezTo>
                <a:cubicBezTo>
                  <a:pt x="1916653" y="986438"/>
                  <a:pt x="1915547" y="986944"/>
                  <a:pt x="1914441" y="986843"/>
                </a:cubicBezTo>
                <a:cubicBezTo>
                  <a:pt x="1913058" y="986843"/>
                  <a:pt x="1911675" y="986135"/>
                  <a:pt x="1910844" y="985224"/>
                </a:cubicBezTo>
                <a:cubicBezTo>
                  <a:pt x="1913058" y="975514"/>
                  <a:pt x="1930759" y="966005"/>
                  <a:pt x="1940163" y="963578"/>
                </a:cubicBezTo>
                <a:cubicBezTo>
                  <a:pt x="1944312" y="961453"/>
                  <a:pt x="1946248" y="957407"/>
                  <a:pt x="1948184" y="956396"/>
                </a:cubicBezTo>
                <a:close/>
                <a:moveTo>
                  <a:pt x="5922505" y="949416"/>
                </a:moveTo>
                <a:cubicBezTo>
                  <a:pt x="5933845" y="950124"/>
                  <a:pt x="5922782" y="958014"/>
                  <a:pt x="5924718" y="959128"/>
                </a:cubicBezTo>
                <a:cubicBezTo>
                  <a:pt x="5922782" y="960138"/>
                  <a:pt x="5921399" y="960342"/>
                  <a:pt x="5920569" y="959835"/>
                </a:cubicBezTo>
                <a:cubicBezTo>
                  <a:pt x="5918081" y="958621"/>
                  <a:pt x="5919739" y="952047"/>
                  <a:pt x="5922505" y="949416"/>
                </a:cubicBezTo>
                <a:close/>
                <a:moveTo>
                  <a:pt x="1973631" y="937379"/>
                </a:moveTo>
                <a:cubicBezTo>
                  <a:pt x="1978885" y="945876"/>
                  <a:pt x="1952056" y="946179"/>
                  <a:pt x="1967268" y="949416"/>
                </a:cubicBezTo>
                <a:cubicBezTo>
                  <a:pt x="1968652" y="950023"/>
                  <a:pt x="1968929" y="950327"/>
                  <a:pt x="1968652" y="950428"/>
                </a:cubicBezTo>
                <a:cubicBezTo>
                  <a:pt x="1968376" y="950529"/>
                  <a:pt x="1967546" y="950529"/>
                  <a:pt x="1966439" y="950225"/>
                </a:cubicBezTo>
                <a:cubicBezTo>
                  <a:pt x="1963949" y="949720"/>
                  <a:pt x="1960631" y="948708"/>
                  <a:pt x="1959801" y="947697"/>
                </a:cubicBezTo>
                <a:cubicBezTo>
                  <a:pt x="1962014" y="940818"/>
                  <a:pt x="1967546" y="940515"/>
                  <a:pt x="1973631" y="937379"/>
                </a:cubicBezTo>
                <a:close/>
                <a:moveTo>
                  <a:pt x="5679384" y="937177"/>
                </a:moveTo>
                <a:lnTo>
                  <a:pt x="5694596" y="942336"/>
                </a:lnTo>
                <a:lnTo>
                  <a:pt x="5697361" y="941729"/>
                </a:lnTo>
                <a:lnTo>
                  <a:pt x="5701233" y="944561"/>
                </a:lnTo>
                <a:lnTo>
                  <a:pt x="5704552" y="945674"/>
                </a:lnTo>
                <a:cubicBezTo>
                  <a:pt x="5724467" y="938289"/>
                  <a:pt x="5753232" y="960240"/>
                  <a:pt x="5768168" y="958722"/>
                </a:cubicBezTo>
                <a:cubicBezTo>
                  <a:pt x="5781168" y="962768"/>
                  <a:pt x="5776189" y="968635"/>
                  <a:pt x="5789465" y="974503"/>
                </a:cubicBezTo>
                <a:cubicBezTo>
                  <a:pt x="5795550" y="973794"/>
                  <a:pt x="5791955" y="970557"/>
                  <a:pt x="5798316" y="971771"/>
                </a:cubicBezTo>
                <a:cubicBezTo>
                  <a:pt x="5807167" y="970759"/>
                  <a:pt x="5793891" y="964994"/>
                  <a:pt x="5806062" y="965499"/>
                </a:cubicBezTo>
                <a:cubicBezTo>
                  <a:pt x="5810210" y="970456"/>
                  <a:pt x="5812423" y="966612"/>
                  <a:pt x="5810763" y="973996"/>
                </a:cubicBezTo>
                <a:cubicBezTo>
                  <a:pt x="5817124" y="975110"/>
                  <a:pt x="5823486" y="976222"/>
                  <a:pt x="5831784" y="971872"/>
                </a:cubicBezTo>
                <a:cubicBezTo>
                  <a:pt x="5841464" y="974401"/>
                  <a:pt x="5836209" y="978447"/>
                  <a:pt x="5845891" y="981077"/>
                </a:cubicBezTo>
                <a:cubicBezTo>
                  <a:pt x="5846443" y="968534"/>
                  <a:pt x="5849486" y="984213"/>
                  <a:pt x="5864975" y="984415"/>
                </a:cubicBezTo>
                <a:cubicBezTo>
                  <a:pt x="5870783" y="983808"/>
                  <a:pt x="5869953" y="978548"/>
                  <a:pt x="5878804" y="977638"/>
                </a:cubicBezTo>
                <a:cubicBezTo>
                  <a:pt x="5885167" y="978750"/>
                  <a:pt x="5888485" y="980268"/>
                  <a:pt x="5894570" y="979560"/>
                </a:cubicBezTo>
                <a:cubicBezTo>
                  <a:pt x="5914207" y="1002622"/>
                  <a:pt x="5974781" y="999992"/>
                  <a:pt x="6006035" y="1019919"/>
                </a:cubicBezTo>
                <a:cubicBezTo>
                  <a:pt x="6011845" y="1017593"/>
                  <a:pt x="6014886" y="1017188"/>
                  <a:pt x="6020971" y="1018402"/>
                </a:cubicBezTo>
                <a:lnTo>
                  <a:pt x="6030652" y="1022853"/>
                </a:lnTo>
                <a:lnTo>
                  <a:pt x="6015439" y="1013446"/>
                </a:lnTo>
                <a:cubicBezTo>
                  <a:pt x="6007973" y="1012030"/>
                  <a:pt x="6004376" y="1012738"/>
                  <a:pt x="5998567" y="1012434"/>
                </a:cubicBezTo>
                <a:cubicBezTo>
                  <a:pt x="5956803" y="983201"/>
                  <a:pt x="5889314" y="981987"/>
                  <a:pt x="5828741" y="956396"/>
                </a:cubicBezTo>
                <a:cubicBezTo>
                  <a:pt x="5824869" y="957104"/>
                  <a:pt x="5823210" y="958823"/>
                  <a:pt x="5821274" y="960644"/>
                </a:cubicBezTo>
                <a:cubicBezTo>
                  <a:pt x="5789189" y="951136"/>
                  <a:pt x="5759041" y="944763"/>
                  <a:pt x="5729445" y="940616"/>
                </a:cubicBezTo>
                <a:close/>
                <a:moveTo>
                  <a:pt x="1992162" y="926758"/>
                </a:moveTo>
                <a:cubicBezTo>
                  <a:pt x="1992162" y="929590"/>
                  <a:pt x="1992162" y="932524"/>
                  <a:pt x="1988290" y="934547"/>
                </a:cubicBezTo>
                <a:cubicBezTo>
                  <a:pt x="1986630" y="932726"/>
                  <a:pt x="1982758" y="931816"/>
                  <a:pt x="1981098" y="932827"/>
                </a:cubicBezTo>
                <a:cubicBezTo>
                  <a:pt x="1977503" y="926354"/>
                  <a:pt x="1988290" y="931613"/>
                  <a:pt x="1992162" y="926758"/>
                </a:cubicBezTo>
                <a:close/>
                <a:moveTo>
                  <a:pt x="1789422" y="909562"/>
                </a:moveTo>
                <a:cubicBezTo>
                  <a:pt x="1794400" y="923622"/>
                  <a:pt x="1760380" y="931007"/>
                  <a:pt x="1769231" y="945775"/>
                </a:cubicBezTo>
                <a:cubicBezTo>
                  <a:pt x="1754018" y="951338"/>
                  <a:pt x="1755401" y="964589"/>
                  <a:pt x="1734657" y="964690"/>
                </a:cubicBezTo>
                <a:cubicBezTo>
                  <a:pt x="1731891" y="963375"/>
                  <a:pt x="1731061" y="962364"/>
                  <a:pt x="1731338" y="961959"/>
                </a:cubicBezTo>
                <a:cubicBezTo>
                  <a:pt x="1731338" y="961453"/>
                  <a:pt x="1732997" y="961352"/>
                  <a:pt x="1734933" y="961757"/>
                </a:cubicBezTo>
                <a:cubicBezTo>
                  <a:pt x="1755954" y="947393"/>
                  <a:pt x="1762316" y="927062"/>
                  <a:pt x="1789422" y="909562"/>
                </a:cubicBezTo>
                <a:close/>
                <a:moveTo>
                  <a:pt x="2033098" y="899346"/>
                </a:moveTo>
                <a:cubicBezTo>
                  <a:pt x="2032821" y="905112"/>
                  <a:pt x="2015949" y="905921"/>
                  <a:pt x="2011800" y="913811"/>
                </a:cubicBezTo>
                <a:cubicBezTo>
                  <a:pt x="2019820" y="903797"/>
                  <a:pt x="2017885" y="899042"/>
                  <a:pt x="2033098" y="899346"/>
                </a:cubicBezTo>
                <a:close/>
                <a:moveTo>
                  <a:pt x="6141841" y="889534"/>
                </a:moveTo>
                <a:cubicBezTo>
                  <a:pt x="6154841" y="885488"/>
                  <a:pt x="6162585" y="895502"/>
                  <a:pt x="6173925" y="901876"/>
                </a:cubicBezTo>
                <a:cubicBezTo>
                  <a:pt x="6162862" y="904100"/>
                  <a:pt x="6149309" y="890950"/>
                  <a:pt x="6141841" y="889534"/>
                </a:cubicBezTo>
                <a:close/>
                <a:moveTo>
                  <a:pt x="1775592" y="883566"/>
                </a:moveTo>
                <a:cubicBezTo>
                  <a:pt x="1780848" y="891861"/>
                  <a:pt x="1757891" y="901571"/>
                  <a:pt x="1772273" y="913103"/>
                </a:cubicBezTo>
                <a:cubicBezTo>
                  <a:pt x="1766465" y="916339"/>
                  <a:pt x="1764528" y="920183"/>
                  <a:pt x="1760656" y="922307"/>
                </a:cubicBezTo>
                <a:cubicBezTo>
                  <a:pt x="1753189" y="920790"/>
                  <a:pt x="1760933" y="916643"/>
                  <a:pt x="1760933" y="913811"/>
                </a:cubicBezTo>
                <a:cubicBezTo>
                  <a:pt x="1751806" y="910574"/>
                  <a:pt x="1747104" y="926758"/>
                  <a:pt x="1737975" y="926354"/>
                </a:cubicBezTo>
                <a:cubicBezTo>
                  <a:pt x="1763422" y="937278"/>
                  <a:pt x="1722487" y="937581"/>
                  <a:pt x="1731061" y="952350"/>
                </a:cubicBezTo>
                <a:cubicBezTo>
                  <a:pt x="1723869" y="948000"/>
                  <a:pt x="1727466" y="945876"/>
                  <a:pt x="1721934" y="946179"/>
                </a:cubicBezTo>
                <a:cubicBezTo>
                  <a:pt x="1723593" y="950832"/>
                  <a:pt x="1710317" y="955384"/>
                  <a:pt x="1717508" y="959734"/>
                </a:cubicBezTo>
                <a:cubicBezTo>
                  <a:pt x="1715571" y="960745"/>
                  <a:pt x="1711977" y="957104"/>
                  <a:pt x="1708381" y="956396"/>
                </a:cubicBezTo>
                <a:cubicBezTo>
                  <a:pt x="1704509" y="961352"/>
                  <a:pt x="1711700" y="965601"/>
                  <a:pt x="1713360" y="970254"/>
                </a:cubicBezTo>
                <a:cubicBezTo>
                  <a:pt x="1705615" y="971670"/>
                  <a:pt x="1702849" y="953867"/>
                  <a:pt x="1694827" y="966612"/>
                </a:cubicBezTo>
                <a:cubicBezTo>
                  <a:pt x="1691232" y="962971"/>
                  <a:pt x="1693169" y="961959"/>
                  <a:pt x="1689573" y="958318"/>
                </a:cubicBezTo>
                <a:cubicBezTo>
                  <a:pt x="1720551" y="935862"/>
                  <a:pt x="1744338" y="911788"/>
                  <a:pt x="1775592" y="883566"/>
                </a:cubicBezTo>
                <a:close/>
                <a:moveTo>
                  <a:pt x="2992035" y="879925"/>
                </a:moveTo>
                <a:lnTo>
                  <a:pt x="2922611" y="945674"/>
                </a:lnTo>
                <a:cubicBezTo>
                  <a:pt x="2919845" y="951035"/>
                  <a:pt x="2920122" y="958115"/>
                  <a:pt x="2922887" y="964589"/>
                </a:cubicBezTo>
                <a:cubicBezTo>
                  <a:pt x="2917079" y="965803"/>
                  <a:pt x="2911547" y="970456"/>
                  <a:pt x="2905461" y="975615"/>
                </a:cubicBezTo>
                <a:lnTo>
                  <a:pt x="2901037" y="978649"/>
                </a:lnTo>
                <a:lnTo>
                  <a:pt x="2894675" y="990585"/>
                </a:lnTo>
                <a:lnTo>
                  <a:pt x="2890803" y="995643"/>
                </a:lnTo>
                <a:lnTo>
                  <a:pt x="2895229" y="1001105"/>
                </a:lnTo>
                <a:lnTo>
                  <a:pt x="2885825" y="1001914"/>
                </a:lnTo>
                <a:lnTo>
                  <a:pt x="2859825" y="1035092"/>
                </a:lnTo>
                <a:lnTo>
                  <a:pt x="2846549" y="1055121"/>
                </a:lnTo>
                <a:lnTo>
                  <a:pt x="2848485" y="1058256"/>
                </a:lnTo>
                <a:cubicBezTo>
                  <a:pt x="2855122" y="1049861"/>
                  <a:pt x="2883612" y="1034182"/>
                  <a:pt x="2872825" y="1020122"/>
                </a:cubicBezTo>
                <a:lnTo>
                  <a:pt x="2902697" y="1005050"/>
                </a:lnTo>
                <a:lnTo>
                  <a:pt x="2927313" y="969141"/>
                </a:lnTo>
                <a:close/>
                <a:moveTo>
                  <a:pt x="1800209" y="861211"/>
                </a:moveTo>
                <a:cubicBezTo>
                  <a:pt x="1806847" y="865763"/>
                  <a:pt x="1800762" y="877598"/>
                  <a:pt x="1791911" y="879014"/>
                </a:cubicBezTo>
                <a:cubicBezTo>
                  <a:pt x="1788869" y="879520"/>
                  <a:pt x="1785550" y="878913"/>
                  <a:pt x="1782506" y="876384"/>
                </a:cubicBezTo>
                <a:cubicBezTo>
                  <a:pt x="1793847" y="872945"/>
                  <a:pt x="1792188" y="868191"/>
                  <a:pt x="1800209" y="861211"/>
                </a:cubicBezTo>
                <a:close/>
                <a:moveTo>
                  <a:pt x="3016928" y="858581"/>
                </a:moveTo>
                <a:lnTo>
                  <a:pt x="3001716" y="870821"/>
                </a:lnTo>
                <a:lnTo>
                  <a:pt x="2997567" y="874665"/>
                </a:lnTo>
                <a:lnTo>
                  <a:pt x="3004204" y="870720"/>
                </a:lnTo>
                <a:cubicBezTo>
                  <a:pt x="3006418" y="868090"/>
                  <a:pt x="3008907" y="865561"/>
                  <a:pt x="3013609" y="864954"/>
                </a:cubicBezTo>
                <a:close/>
                <a:moveTo>
                  <a:pt x="3974205" y="858379"/>
                </a:moveTo>
                <a:lnTo>
                  <a:pt x="3973100" y="858784"/>
                </a:lnTo>
                <a:lnTo>
                  <a:pt x="3973929" y="858784"/>
                </a:lnTo>
                <a:close/>
                <a:moveTo>
                  <a:pt x="3989694" y="849478"/>
                </a:moveTo>
                <a:lnTo>
                  <a:pt x="3986100" y="851400"/>
                </a:lnTo>
                <a:lnTo>
                  <a:pt x="3988866" y="852917"/>
                </a:lnTo>
                <a:close/>
                <a:moveTo>
                  <a:pt x="6043375" y="839464"/>
                </a:moveTo>
                <a:cubicBezTo>
                  <a:pt x="6045311" y="843510"/>
                  <a:pt x="6054715" y="840071"/>
                  <a:pt x="6062460" y="844319"/>
                </a:cubicBezTo>
                <a:cubicBezTo>
                  <a:pt x="6053056" y="850590"/>
                  <a:pt x="6075736" y="860503"/>
                  <a:pt x="6079608" y="853929"/>
                </a:cubicBezTo>
                <a:cubicBezTo>
                  <a:pt x="6079608" y="862729"/>
                  <a:pt x="6092885" y="870215"/>
                  <a:pt x="6107821" y="867180"/>
                </a:cubicBezTo>
                <a:cubicBezTo>
                  <a:pt x="6108097" y="870113"/>
                  <a:pt x="6108097" y="872945"/>
                  <a:pt x="6111969" y="875069"/>
                </a:cubicBezTo>
                <a:cubicBezTo>
                  <a:pt x="6076013" y="872136"/>
                  <a:pt x="6049183" y="854233"/>
                  <a:pt x="6013227" y="845533"/>
                </a:cubicBezTo>
                <a:cubicBezTo>
                  <a:pt x="6024568" y="837441"/>
                  <a:pt x="6033971" y="845735"/>
                  <a:pt x="6041716" y="847050"/>
                </a:cubicBezTo>
                <a:cubicBezTo>
                  <a:pt x="6041439" y="844218"/>
                  <a:pt x="6041439" y="841285"/>
                  <a:pt x="6043375" y="839464"/>
                </a:cubicBezTo>
                <a:close/>
                <a:moveTo>
                  <a:pt x="6061630" y="833294"/>
                </a:moveTo>
                <a:cubicBezTo>
                  <a:pt x="6071311" y="829956"/>
                  <a:pt x="6088459" y="836733"/>
                  <a:pt x="6092332" y="841790"/>
                </a:cubicBezTo>
                <a:cubicBezTo>
                  <a:pt x="6088459" y="843307"/>
                  <a:pt x="6085417" y="843712"/>
                  <a:pt x="6082374" y="843410"/>
                </a:cubicBezTo>
                <a:cubicBezTo>
                  <a:pt x="6074077" y="842397"/>
                  <a:pt x="6068821" y="835115"/>
                  <a:pt x="6061630" y="833294"/>
                </a:cubicBezTo>
                <a:close/>
                <a:moveTo>
                  <a:pt x="5758211" y="831877"/>
                </a:moveTo>
                <a:cubicBezTo>
                  <a:pt x="5758211" y="834709"/>
                  <a:pt x="5762083" y="836936"/>
                  <a:pt x="5758764" y="840375"/>
                </a:cubicBezTo>
                <a:cubicBezTo>
                  <a:pt x="5756828" y="841385"/>
                  <a:pt x="5755721" y="841689"/>
                  <a:pt x="5755168" y="841589"/>
                </a:cubicBezTo>
                <a:cubicBezTo>
                  <a:pt x="5753232" y="840982"/>
                  <a:pt x="5754615" y="836126"/>
                  <a:pt x="5748807" y="834912"/>
                </a:cubicBezTo>
                <a:cubicBezTo>
                  <a:pt x="5752679" y="834305"/>
                  <a:pt x="5754615" y="835417"/>
                  <a:pt x="5758211" y="831877"/>
                </a:cubicBezTo>
                <a:close/>
                <a:moveTo>
                  <a:pt x="5934676" y="820852"/>
                </a:moveTo>
                <a:cubicBezTo>
                  <a:pt x="5957079" y="816502"/>
                  <a:pt x="5977823" y="830967"/>
                  <a:pt x="6002163" y="836227"/>
                </a:cubicBezTo>
                <a:cubicBezTo>
                  <a:pt x="5999397" y="837137"/>
                  <a:pt x="5996631" y="837543"/>
                  <a:pt x="5993866" y="837744"/>
                </a:cubicBezTo>
                <a:cubicBezTo>
                  <a:pt x="5991376" y="837947"/>
                  <a:pt x="5988610" y="837845"/>
                  <a:pt x="5986121" y="837441"/>
                </a:cubicBezTo>
                <a:cubicBezTo>
                  <a:pt x="5970632" y="835215"/>
                  <a:pt x="5955696" y="824190"/>
                  <a:pt x="5934676" y="820852"/>
                </a:cubicBezTo>
                <a:close/>
                <a:moveTo>
                  <a:pt x="1901441" y="814378"/>
                </a:moveTo>
                <a:cubicBezTo>
                  <a:pt x="1893696" y="815693"/>
                  <a:pt x="1891760" y="816704"/>
                  <a:pt x="1887887" y="824392"/>
                </a:cubicBezTo>
                <a:cubicBezTo>
                  <a:pt x="1884292" y="820852"/>
                  <a:pt x="1880420" y="822875"/>
                  <a:pt x="1878484" y="823987"/>
                </a:cubicBezTo>
                <a:cubicBezTo>
                  <a:pt x="1880697" y="817210"/>
                  <a:pt x="1893973" y="809927"/>
                  <a:pt x="1901441" y="814378"/>
                </a:cubicBezTo>
                <a:close/>
                <a:moveTo>
                  <a:pt x="6026261" y="810699"/>
                </a:moveTo>
                <a:cubicBezTo>
                  <a:pt x="6028163" y="811040"/>
                  <a:pt x="6030099" y="812103"/>
                  <a:pt x="6032035" y="813164"/>
                </a:cubicBezTo>
                <a:cubicBezTo>
                  <a:pt x="6026226" y="815794"/>
                  <a:pt x="6020696" y="821358"/>
                  <a:pt x="6030099" y="823786"/>
                </a:cubicBezTo>
                <a:cubicBezTo>
                  <a:pt x="6028163" y="824898"/>
                  <a:pt x="6026504" y="825100"/>
                  <a:pt x="6025397" y="824796"/>
                </a:cubicBezTo>
                <a:cubicBezTo>
                  <a:pt x="6021248" y="823987"/>
                  <a:pt x="6019588" y="818626"/>
                  <a:pt x="6016822" y="819233"/>
                </a:cubicBezTo>
                <a:cubicBezTo>
                  <a:pt x="6018760" y="817312"/>
                  <a:pt x="6022354" y="813670"/>
                  <a:pt x="6020696" y="812557"/>
                </a:cubicBezTo>
                <a:cubicBezTo>
                  <a:pt x="6022492" y="810737"/>
                  <a:pt x="6024360" y="810358"/>
                  <a:pt x="6026261" y="810699"/>
                </a:cubicBezTo>
                <a:close/>
                <a:moveTo>
                  <a:pt x="1902824" y="788685"/>
                </a:moveTo>
                <a:cubicBezTo>
                  <a:pt x="1898122" y="807904"/>
                  <a:pt x="1865484" y="822875"/>
                  <a:pt x="1853591" y="834912"/>
                </a:cubicBezTo>
                <a:cubicBezTo>
                  <a:pt x="1851655" y="841689"/>
                  <a:pt x="1864377" y="851501"/>
                  <a:pt x="1849165" y="851400"/>
                </a:cubicBezTo>
                <a:cubicBezTo>
                  <a:pt x="1845570" y="847758"/>
                  <a:pt x="1849441" y="848567"/>
                  <a:pt x="1849441" y="848567"/>
                </a:cubicBezTo>
                <a:cubicBezTo>
                  <a:pt x="1855250" y="842498"/>
                  <a:pt x="1836719" y="838654"/>
                  <a:pt x="1832845" y="837946"/>
                </a:cubicBezTo>
                <a:cubicBezTo>
                  <a:pt x="1861058" y="836429"/>
                  <a:pt x="1875995" y="800520"/>
                  <a:pt x="1902824" y="788685"/>
                </a:cubicBezTo>
                <a:close/>
                <a:moveTo>
                  <a:pt x="5923889" y="786561"/>
                </a:moveTo>
                <a:cubicBezTo>
                  <a:pt x="5946570" y="787876"/>
                  <a:pt x="5965654" y="795665"/>
                  <a:pt x="5976995" y="804971"/>
                </a:cubicBezTo>
                <a:cubicBezTo>
                  <a:pt x="5978931" y="803150"/>
                  <a:pt x="5973398" y="802846"/>
                  <a:pt x="5976995" y="799205"/>
                </a:cubicBezTo>
                <a:cubicBezTo>
                  <a:pt x="5986397" y="798800"/>
                  <a:pt x="5978931" y="806083"/>
                  <a:pt x="5986674" y="807398"/>
                </a:cubicBezTo>
                <a:cubicBezTo>
                  <a:pt x="5962058" y="805072"/>
                  <a:pt x="5929973" y="810028"/>
                  <a:pt x="5923889" y="786561"/>
                </a:cubicBezTo>
                <a:close/>
                <a:moveTo>
                  <a:pt x="1927440" y="786359"/>
                </a:moveTo>
                <a:cubicBezTo>
                  <a:pt x="1931036" y="790000"/>
                  <a:pt x="1929100" y="793844"/>
                  <a:pt x="1925227" y="795968"/>
                </a:cubicBezTo>
                <a:cubicBezTo>
                  <a:pt x="1917760" y="791619"/>
                  <a:pt x="1923845" y="785651"/>
                  <a:pt x="1927440" y="786359"/>
                </a:cubicBezTo>
                <a:close/>
                <a:moveTo>
                  <a:pt x="6269902" y="764105"/>
                </a:moveTo>
                <a:cubicBezTo>
                  <a:pt x="6285115" y="766937"/>
                  <a:pt x="6290646" y="764409"/>
                  <a:pt x="6294519" y="775131"/>
                </a:cubicBezTo>
                <a:cubicBezTo>
                  <a:pt x="6287051" y="776648"/>
                  <a:pt x="6281243" y="764712"/>
                  <a:pt x="6269902" y="764105"/>
                </a:cubicBezTo>
                <a:close/>
                <a:moveTo>
                  <a:pt x="6095097" y="753484"/>
                </a:moveTo>
                <a:cubicBezTo>
                  <a:pt x="6095374" y="756316"/>
                  <a:pt x="6097310" y="757429"/>
                  <a:pt x="6097587" y="760261"/>
                </a:cubicBezTo>
                <a:cubicBezTo>
                  <a:pt x="6099523" y="761273"/>
                  <a:pt x="6102842" y="758036"/>
                  <a:pt x="6106991" y="760261"/>
                </a:cubicBezTo>
                <a:cubicBezTo>
                  <a:pt x="6104225" y="762790"/>
                  <a:pt x="6101459" y="763802"/>
                  <a:pt x="6098416" y="764004"/>
                </a:cubicBezTo>
                <a:cubicBezTo>
                  <a:pt x="6095097" y="764206"/>
                  <a:pt x="6091225" y="763296"/>
                  <a:pt x="6086523" y="761981"/>
                </a:cubicBezTo>
                <a:cubicBezTo>
                  <a:pt x="6088183" y="760261"/>
                  <a:pt x="6090119" y="761374"/>
                  <a:pt x="6093991" y="760767"/>
                </a:cubicBezTo>
                <a:cubicBezTo>
                  <a:pt x="6093714" y="758036"/>
                  <a:pt x="6093714" y="758036"/>
                  <a:pt x="6095097" y="753484"/>
                </a:cubicBezTo>
                <a:close/>
                <a:moveTo>
                  <a:pt x="6236435" y="747617"/>
                </a:moveTo>
                <a:cubicBezTo>
                  <a:pt x="6243903" y="743167"/>
                  <a:pt x="6240307" y="752473"/>
                  <a:pt x="6247775" y="753788"/>
                </a:cubicBezTo>
                <a:cubicBezTo>
                  <a:pt x="6245839" y="754192"/>
                  <a:pt x="6243903" y="754698"/>
                  <a:pt x="6241967" y="754698"/>
                </a:cubicBezTo>
                <a:cubicBezTo>
                  <a:pt x="6240307" y="754698"/>
                  <a:pt x="6238371" y="754394"/>
                  <a:pt x="6236435" y="753282"/>
                </a:cubicBezTo>
                <a:cubicBezTo>
                  <a:pt x="6238371" y="751461"/>
                  <a:pt x="6238371" y="748629"/>
                  <a:pt x="6236435" y="747617"/>
                </a:cubicBezTo>
                <a:close/>
                <a:moveTo>
                  <a:pt x="6009631" y="747415"/>
                </a:moveTo>
                <a:cubicBezTo>
                  <a:pt x="6011567" y="751259"/>
                  <a:pt x="6031758" y="748629"/>
                  <a:pt x="6026226" y="756822"/>
                </a:cubicBezTo>
                <a:cubicBezTo>
                  <a:pt x="6017099" y="754394"/>
                  <a:pt x="6009909" y="753079"/>
                  <a:pt x="6004376" y="755608"/>
                </a:cubicBezTo>
                <a:cubicBezTo>
                  <a:pt x="6002440" y="754597"/>
                  <a:pt x="6006035" y="750955"/>
                  <a:pt x="6009631" y="747415"/>
                </a:cubicBezTo>
                <a:close/>
                <a:moveTo>
                  <a:pt x="5977270" y="740435"/>
                </a:moveTo>
                <a:cubicBezTo>
                  <a:pt x="5980866" y="742458"/>
                  <a:pt x="5977270" y="746100"/>
                  <a:pt x="5973674" y="749640"/>
                </a:cubicBezTo>
                <a:cubicBezTo>
                  <a:pt x="5971738" y="748629"/>
                  <a:pt x="5971738" y="742964"/>
                  <a:pt x="5968144" y="746505"/>
                </a:cubicBezTo>
                <a:cubicBezTo>
                  <a:pt x="5967036" y="745291"/>
                  <a:pt x="5967036" y="744380"/>
                  <a:pt x="5967590" y="743672"/>
                </a:cubicBezTo>
                <a:cubicBezTo>
                  <a:pt x="5969249" y="741750"/>
                  <a:pt x="5975887" y="741750"/>
                  <a:pt x="5977270" y="740435"/>
                </a:cubicBezTo>
                <a:close/>
                <a:moveTo>
                  <a:pt x="6211265" y="736693"/>
                </a:moveTo>
                <a:cubicBezTo>
                  <a:pt x="6220946" y="736288"/>
                  <a:pt x="6222882" y="740334"/>
                  <a:pt x="6228690" y="743571"/>
                </a:cubicBezTo>
                <a:cubicBezTo>
                  <a:pt x="6227307" y="744380"/>
                  <a:pt x="6226201" y="744785"/>
                  <a:pt x="6225095" y="744886"/>
                </a:cubicBezTo>
                <a:cubicBezTo>
                  <a:pt x="6223988" y="744987"/>
                  <a:pt x="6222882" y="744886"/>
                  <a:pt x="6222052" y="744481"/>
                </a:cubicBezTo>
                <a:cubicBezTo>
                  <a:pt x="6215691" y="742357"/>
                  <a:pt x="6211265" y="733759"/>
                  <a:pt x="6211265" y="742560"/>
                </a:cubicBezTo>
                <a:cubicBezTo>
                  <a:pt x="6209606" y="747314"/>
                  <a:pt x="6209329" y="738513"/>
                  <a:pt x="6211265" y="736693"/>
                </a:cubicBezTo>
                <a:close/>
                <a:moveTo>
                  <a:pt x="6046418" y="731332"/>
                </a:moveTo>
                <a:cubicBezTo>
                  <a:pt x="6054162" y="738513"/>
                  <a:pt x="6063843" y="746707"/>
                  <a:pt x="6080991" y="753484"/>
                </a:cubicBezTo>
                <a:cubicBezTo>
                  <a:pt x="6076289" y="754394"/>
                  <a:pt x="6071311" y="754293"/>
                  <a:pt x="6066332" y="753585"/>
                </a:cubicBezTo>
                <a:cubicBezTo>
                  <a:pt x="6050843" y="751461"/>
                  <a:pt x="6034801" y="743571"/>
                  <a:pt x="6026226" y="736592"/>
                </a:cubicBezTo>
                <a:cubicBezTo>
                  <a:pt x="6037567" y="737401"/>
                  <a:pt x="6041162" y="733860"/>
                  <a:pt x="6046418" y="731332"/>
                </a:cubicBezTo>
                <a:close/>
                <a:moveTo>
                  <a:pt x="6121097" y="728499"/>
                </a:moveTo>
                <a:cubicBezTo>
                  <a:pt x="6132437" y="732141"/>
                  <a:pt x="6142118" y="737502"/>
                  <a:pt x="6155394" y="742155"/>
                </a:cubicBezTo>
                <a:cubicBezTo>
                  <a:pt x="6153735" y="749640"/>
                  <a:pt x="6151798" y="748629"/>
                  <a:pt x="6146266" y="751056"/>
                </a:cubicBezTo>
                <a:cubicBezTo>
                  <a:pt x="6149586" y="736086"/>
                  <a:pt x="6119437" y="735985"/>
                  <a:pt x="6108374" y="743875"/>
                </a:cubicBezTo>
                <a:cubicBezTo>
                  <a:pt x="6102842" y="743571"/>
                  <a:pt x="6121097" y="728601"/>
                  <a:pt x="6108097" y="732546"/>
                </a:cubicBezTo>
                <a:cubicBezTo>
                  <a:pt x="6107267" y="731231"/>
                  <a:pt x="6107544" y="730725"/>
                  <a:pt x="6108650" y="730624"/>
                </a:cubicBezTo>
                <a:cubicBezTo>
                  <a:pt x="6111693" y="730118"/>
                  <a:pt x="6121373" y="732849"/>
                  <a:pt x="6121097" y="728499"/>
                </a:cubicBezTo>
                <a:close/>
                <a:moveTo>
                  <a:pt x="3010289" y="727791"/>
                </a:moveTo>
                <a:lnTo>
                  <a:pt x="3003929" y="733051"/>
                </a:lnTo>
                <a:lnTo>
                  <a:pt x="3012503" y="729511"/>
                </a:lnTo>
                <a:close/>
                <a:moveTo>
                  <a:pt x="2036969" y="718081"/>
                </a:moveTo>
                <a:cubicBezTo>
                  <a:pt x="2027566" y="720610"/>
                  <a:pt x="2031161" y="721216"/>
                  <a:pt x="2025076" y="727184"/>
                </a:cubicBezTo>
                <a:cubicBezTo>
                  <a:pt x="2018162" y="723138"/>
                  <a:pt x="2015949" y="726982"/>
                  <a:pt x="2010140" y="730219"/>
                </a:cubicBezTo>
                <a:cubicBezTo>
                  <a:pt x="2010693" y="724656"/>
                  <a:pt x="2026458" y="713327"/>
                  <a:pt x="2036969" y="718081"/>
                </a:cubicBezTo>
                <a:close/>
                <a:moveTo>
                  <a:pt x="3024672" y="715754"/>
                </a:moveTo>
                <a:lnTo>
                  <a:pt x="3017480" y="721722"/>
                </a:lnTo>
                <a:lnTo>
                  <a:pt x="3020523" y="722430"/>
                </a:lnTo>
                <a:cubicBezTo>
                  <a:pt x="3022183" y="720306"/>
                  <a:pt x="3023843" y="718182"/>
                  <a:pt x="3024672" y="715754"/>
                </a:cubicBezTo>
                <a:close/>
                <a:moveTo>
                  <a:pt x="5703100" y="715388"/>
                </a:moveTo>
                <a:cubicBezTo>
                  <a:pt x="5706628" y="714844"/>
                  <a:pt x="5710362" y="715502"/>
                  <a:pt x="5715063" y="716665"/>
                </a:cubicBezTo>
                <a:cubicBezTo>
                  <a:pt x="5712298" y="720913"/>
                  <a:pt x="5708425" y="722430"/>
                  <a:pt x="5704552" y="722734"/>
                </a:cubicBezTo>
                <a:cubicBezTo>
                  <a:pt x="5700404" y="723037"/>
                  <a:pt x="5696255" y="722026"/>
                  <a:pt x="5692382" y="721318"/>
                </a:cubicBezTo>
                <a:cubicBezTo>
                  <a:pt x="5696254" y="717677"/>
                  <a:pt x="5699573" y="715932"/>
                  <a:pt x="5703100" y="715388"/>
                </a:cubicBezTo>
                <a:close/>
                <a:moveTo>
                  <a:pt x="6148756" y="712618"/>
                </a:moveTo>
                <a:cubicBezTo>
                  <a:pt x="6162032" y="711506"/>
                  <a:pt x="6179457" y="721216"/>
                  <a:pt x="6185266" y="727387"/>
                </a:cubicBezTo>
                <a:cubicBezTo>
                  <a:pt x="6189138" y="729511"/>
                  <a:pt x="6194946" y="729916"/>
                  <a:pt x="6196882" y="730927"/>
                </a:cubicBezTo>
                <a:cubicBezTo>
                  <a:pt x="6195776" y="731837"/>
                  <a:pt x="6194393" y="731736"/>
                  <a:pt x="6192734" y="731534"/>
                </a:cubicBezTo>
                <a:cubicBezTo>
                  <a:pt x="6191074" y="731332"/>
                  <a:pt x="6189138" y="731028"/>
                  <a:pt x="6187202" y="731332"/>
                </a:cubicBezTo>
                <a:cubicBezTo>
                  <a:pt x="6170053" y="724554"/>
                  <a:pt x="6164245" y="724150"/>
                  <a:pt x="6150969" y="716563"/>
                </a:cubicBezTo>
                <a:cubicBezTo>
                  <a:pt x="6147096" y="717373"/>
                  <a:pt x="6147096" y="714439"/>
                  <a:pt x="6148756" y="712618"/>
                </a:cubicBezTo>
                <a:close/>
                <a:moveTo>
                  <a:pt x="6506663" y="710798"/>
                </a:moveTo>
                <a:cubicBezTo>
                  <a:pt x="6513855" y="709584"/>
                  <a:pt x="6532939" y="717575"/>
                  <a:pt x="6529897" y="726476"/>
                </a:cubicBezTo>
                <a:cubicBezTo>
                  <a:pt x="6524088" y="720508"/>
                  <a:pt x="6524088" y="723239"/>
                  <a:pt x="6514684" y="720610"/>
                </a:cubicBezTo>
                <a:cubicBezTo>
                  <a:pt x="6518003" y="714439"/>
                  <a:pt x="6512472" y="714035"/>
                  <a:pt x="6506663" y="710798"/>
                </a:cubicBezTo>
                <a:close/>
                <a:moveTo>
                  <a:pt x="6044205" y="710595"/>
                </a:moveTo>
                <a:cubicBezTo>
                  <a:pt x="6044481" y="716260"/>
                  <a:pt x="6051949" y="717676"/>
                  <a:pt x="6046695" y="722936"/>
                </a:cubicBezTo>
                <a:cubicBezTo>
                  <a:pt x="6043098" y="723543"/>
                  <a:pt x="6038950" y="721419"/>
                  <a:pt x="6037290" y="723138"/>
                </a:cubicBezTo>
                <a:cubicBezTo>
                  <a:pt x="6035354" y="722026"/>
                  <a:pt x="6044481" y="716260"/>
                  <a:pt x="6044205" y="710595"/>
                </a:cubicBezTo>
                <a:close/>
                <a:moveTo>
                  <a:pt x="6085417" y="707965"/>
                </a:moveTo>
                <a:cubicBezTo>
                  <a:pt x="6092885" y="712214"/>
                  <a:pt x="6100353" y="716361"/>
                  <a:pt x="6109757" y="718789"/>
                </a:cubicBezTo>
                <a:cubicBezTo>
                  <a:pt x="6108097" y="720610"/>
                  <a:pt x="6102289" y="720407"/>
                  <a:pt x="6102289" y="723239"/>
                </a:cubicBezTo>
                <a:cubicBezTo>
                  <a:pt x="6093161" y="723644"/>
                  <a:pt x="6095097" y="718991"/>
                  <a:pt x="6089289" y="718586"/>
                </a:cubicBezTo>
                <a:cubicBezTo>
                  <a:pt x="6084034" y="723948"/>
                  <a:pt x="6095097" y="724554"/>
                  <a:pt x="6098693" y="726679"/>
                </a:cubicBezTo>
                <a:cubicBezTo>
                  <a:pt x="6095097" y="730320"/>
                  <a:pt x="6078225" y="723745"/>
                  <a:pt x="6084034" y="729713"/>
                </a:cubicBezTo>
                <a:cubicBezTo>
                  <a:pt x="6078502" y="729410"/>
                  <a:pt x="6065226" y="719092"/>
                  <a:pt x="6056375" y="733658"/>
                </a:cubicBezTo>
                <a:cubicBezTo>
                  <a:pt x="6052503" y="728702"/>
                  <a:pt x="6056098" y="725263"/>
                  <a:pt x="6059694" y="718789"/>
                </a:cubicBezTo>
                <a:cubicBezTo>
                  <a:pt x="6070757" y="713832"/>
                  <a:pt x="6072694" y="723341"/>
                  <a:pt x="6083757" y="718384"/>
                </a:cubicBezTo>
                <a:cubicBezTo>
                  <a:pt x="6085417" y="713731"/>
                  <a:pt x="6079885" y="713327"/>
                  <a:pt x="6085417" y="707965"/>
                </a:cubicBezTo>
                <a:close/>
                <a:moveTo>
                  <a:pt x="5493239" y="705437"/>
                </a:moveTo>
                <a:cubicBezTo>
                  <a:pt x="5497110" y="707561"/>
                  <a:pt x="5489919" y="711809"/>
                  <a:pt x="5493791" y="713933"/>
                </a:cubicBezTo>
                <a:cubicBezTo>
                  <a:pt x="5491855" y="715046"/>
                  <a:pt x="5489365" y="715451"/>
                  <a:pt x="5486877" y="715451"/>
                </a:cubicBezTo>
                <a:cubicBezTo>
                  <a:pt x="5484388" y="715350"/>
                  <a:pt x="5481898" y="714945"/>
                  <a:pt x="5479408" y="714035"/>
                </a:cubicBezTo>
                <a:cubicBezTo>
                  <a:pt x="5474706" y="712416"/>
                  <a:pt x="5470834" y="709483"/>
                  <a:pt x="5470558" y="706549"/>
                </a:cubicBezTo>
                <a:cubicBezTo>
                  <a:pt x="5478025" y="702402"/>
                  <a:pt x="5485770" y="709584"/>
                  <a:pt x="5493239" y="705437"/>
                </a:cubicBezTo>
                <a:close/>
                <a:moveTo>
                  <a:pt x="5517854" y="704830"/>
                </a:moveTo>
                <a:cubicBezTo>
                  <a:pt x="5515918" y="709584"/>
                  <a:pt x="5529194" y="708269"/>
                  <a:pt x="5521450" y="715653"/>
                </a:cubicBezTo>
                <a:cubicBezTo>
                  <a:pt x="5519790" y="708775"/>
                  <a:pt x="5515918" y="715350"/>
                  <a:pt x="5508451" y="714035"/>
                </a:cubicBezTo>
                <a:cubicBezTo>
                  <a:pt x="5509556" y="711708"/>
                  <a:pt x="5510939" y="710393"/>
                  <a:pt x="5512599" y="709078"/>
                </a:cubicBezTo>
                <a:cubicBezTo>
                  <a:pt x="5514259" y="707864"/>
                  <a:pt x="5515918" y="706650"/>
                  <a:pt x="5517854" y="704830"/>
                </a:cubicBezTo>
                <a:close/>
                <a:moveTo>
                  <a:pt x="6009909" y="699873"/>
                </a:moveTo>
                <a:cubicBezTo>
                  <a:pt x="6013503" y="699165"/>
                  <a:pt x="6017376" y="701391"/>
                  <a:pt x="6020971" y="703515"/>
                </a:cubicBezTo>
                <a:cubicBezTo>
                  <a:pt x="6013781" y="707662"/>
                  <a:pt x="6025120" y="714035"/>
                  <a:pt x="6028439" y="707662"/>
                </a:cubicBezTo>
                <a:cubicBezTo>
                  <a:pt x="6037844" y="710090"/>
                  <a:pt x="6025120" y="714035"/>
                  <a:pt x="6028993" y="718890"/>
                </a:cubicBezTo>
                <a:cubicBezTo>
                  <a:pt x="6023461" y="721419"/>
                  <a:pt x="6013781" y="707662"/>
                  <a:pt x="6006589" y="711910"/>
                </a:cubicBezTo>
                <a:cubicBezTo>
                  <a:pt x="6004653" y="709483"/>
                  <a:pt x="6003546" y="707460"/>
                  <a:pt x="6004099" y="705639"/>
                </a:cubicBezTo>
                <a:cubicBezTo>
                  <a:pt x="6004376" y="703717"/>
                  <a:pt x="6006312" y="701997"/>
                  <a:pt x="6009909" y="699873"/>
                </a:cubicBezTo>
                <a:close/>
                <a:moveTo>
                  <a:pt x="6140735" y="694310"/>
                </a:moveTo>
                <a:cubicBezTo>
                  <a:pt x="6153181" y="702706"/>
                  <a:pt x="6145990" y="708370"/>
                  <a:pt x="6135203" y="709280"/>
                </a:cubicBezTo>
                <a:cubicBezTo>
                  <a:pt x="6124693" y="710191"/>
                  <a:pt x="6110310" y="706448"/>
                  <a:pt x="6109204" y="696029"/>
                </a:cubicBezTo>
                <a:cubicBezTo>
                  <a:pt x="6120267" y="693905"/>
                  <a:pt x="6122480" y="703515"/>
                  <a:pt x="6135756" y="705336"/>
                </a:cubicBezTo>
                <a:cubicBezTo>
                  <a:pt x="6141011" y="700076"/>
                  <a:pt x="6135479" y="699671"/>
                  <a:pt x="6140735" y="694310"/>
                </a:cubicBezTo>
                <a:close/>
                <a:moveTo>
                  <a:pt x="6100076" y="690871"/>
                </a:moveTo>
                <a:cubicBezTo>
                  <a:pt x="6103672" y="692995"/>
                  <a:pt x="6103948" y="695827"/>
                  <a:pt x="6100076" y="699368"/>
                </a:cubicBezTo>
                <a:cubicBezTo>
                  <a:pt x="6098140" y="698356"/>
                  <a:pt x="6094544" y="698963"/>
                  <a:pt x="6092608" y="697951"/>
                </a:cubicBezTo>
                <a:cubicBezTo>
                  <a:pt x="6093438" y="695625"/>
                  <a:pt x="6094821" y="694209"/>
                  <a:pt x="6096204" y="693298"/>
                </a:cubicBezTo>
                <a:cubicBezTo>
                  <a:pt x="6097587" y="692287"/>
                  <a:pt x="6098970" y="691781"/>
                  <a:pt x="6100076" y="690871"/>
                </a:cubicBezTo>
                <a:close/>
                <a:moveTo>
                  <a:pt x="6073523" y="687027"/>
                </a:moveTo>
                <a:cubicBezTo>
                  <a:pt x="6075460" y="688140"/>
                  <a:pt x="6079055" y="687330"/>
                  <a:pt x="6079055" y="687330"/>
                </a:cubicBezTo>
                <a:cubicBezTo>
                  <a:pt x="6082927" y="690972"/>
                  <a:pt x="6079055" y="693905"/>
                  <a:pt x="6075460" y="694411"/>
                </a:cubicBezTo>
                <a:cubicBezTo>
                  <a:pt x="6072140" y="695018"/>
                  <a:pt x="6068821" y="693197"/>
                  <a:pt x="6073523" y="687027"/>
                </a:cubicBezTo>
                <a:close/>
                <a:moveTo>
                  <a:pt x="2668978" y="684700"/>
                </a:moveTo>
                <a:cubicBezTo>
                  <a:pt x="2673680" y="683689"/>
                  <a:pt x="2673957" y="690567"/>
                  <a:pt x="2678659" y="689556"/>
                </a:cubicBezTo>
                <a:cubicBezTo>
                  <a:pt x="2678935" y="694715"/>
                  <a:pt x="2670084" y="699165"/>
                  <a:pt x="2663170" y="699772"/>
                </a:cubicBezTo>
                <a:cubicBezTo>
                  <a:pt x="2660957" y="699974"/>
                  <a:pt x="2658743" y="699772"/>
                  <a:pt x="2657084" y="698963"/>
                </a:cubicBezTo>
                <a:cubicBezTo>
                  <a:pt x="2656807" y="692085"/>
                  <a:pt x="2669255" y="691579"/>
                  <a:pt x="2668978" y="684700"/>
                </a:cubicBezTo>
                <a:close/>
                <a:moveTo>
                  <a:pt x="6082305" y="675824"/>
                </a:moveTo>
                <a:cubicBezTo>
                  <a:pt x="6085001" y="677013"/>
                  <a:pt x="6087491" y="678429"/>
                  <a:pt x="6088459" y="676102"/>
                </a:cubicBezTo>
                <a:cubicBezTo>
                  <a:pt x="6090395" y="677215"/>
                  <a:pt x="6090395" y="680149"/>
                  <a:pt x="6088736" y="681868"/>
                </a:cubicBezTo>
                <a:cubicBezTo>
                  <a:pt x="6087076" y="682475"/>
                  <a:pt x="6085970" y="682677"/>
                  <a:pt x="6084587" y="682475"/>
                </a:cubicBezTo>
                <a:cubicBezTo>
                  <a:pt x="6080991" y="681969"/>
                  <a:pt x="6077949" y="678631"/>
                  <a:pt x="6074906" y="676912"/>
                </a:cubicBezTo>
                <a:cubicBezTo>
                  <a:pt x="6076704" y="673675"/>
                  <a:pt x="6079608" y="674636"/>
                  <a:pt x="6082305" y="675824"/>
                </a:cubicBezTo>
                <a:close/>
                <a:moveTo>
                  <a:pt x="5977339" y="673460"/>
                </a:moveTo>
                <a:cubicBezTo>
                  <a:pt x="5981142" y="674156"/>
                  <a:pt x="5985429" y="675850"/>
                  <a:pt x="5989164" y="676608"/>
                </a:cubicBezTo>
                <a:cubicBezTo>
                  <a:pt x="5987780" y="677923"/>
                  <a:pt x="5986397" y="678631"/>
                  <a:pt x="5984738" y="679036"/>
                </a:cubicBezTo>
                <a:cubicBezTo>
                  <a:pt x="5983078" y="679339"/>
                  <a:pt x="5981420" y="679238"/>
                  <a:pt x="5979759" y="679036"/>
                </a:cubicBezTo>
                <a:cubicBezTo>
                  <a:pt x="5976164" y="678429"/>
                  <a:pt x="5972291" y="677013"/>
                  <a:pt x="5968419" y="676305"/>
                </a:cubicBezTo>
                <a:cubicBezTo>
                  <a:pt x="5970217" y="673068"/>
                  <a:pt x="5973536" y="672765"/>
                  <a:pt x="5977339" y="673460"/>
                </a:cubicBezTo>
                <a:close/>
                <a:moveTo>
                  <a:pt x="2683084" y="669629"/>
                </a:moveTo>
                <a:cubicBezTo>
                  <a:pt x="2686956" y="673574"/>
                  <a:pt x="2693318" y="664976"/>
                  <a:pt x="2696914" y="673877"/>
                </a:cubicBezTo>
                <a:cubicBezTo>
                  <a:pt x="2688339" y="670843"/>
                  <a:pt x="2693318" y="677013"/>
                  <a:pt x="2687510" y="680755"/>
                </a:cubicBezTo>
                <a:cubicBezTo>
                  <a:pt x="2685573" y="678732"/>
                  <a:pt x="2684744" y="677013"/>
                  <a:pt x="2684467" y="675293"/>
                </a:cubicBezTo>
                <a:cubicBezTo>
                  <a:pt x="2684189" y="673574"/>
                  <a:pt x="2683913" y="671854"/>
                  <a:pt x="2683084" y="669629"/>
                </a:cubicBezTo>
                <a:close/>
                <a:moveTo>
                  <a:pt x="6405293" y="664976"/>
                </a:moveTo>
                <a:cubicBezTo>
                  <a:pt x="6408128" y="665153"/>
                  <a:pt x="6410548" y="666493"/>
                  <a:pt x="6410686" y="667909"/>
                </a:cubicBezTo>
                <a:cubicBezTo>
                  <a:pt x="6408750" y="669730"/>
                  <a:pt x="6406538" y="670539"/>
                  <a:pt x="6404048" y="670640"/>
                </a:cubicBezTo>
                <a:cubicBezTo>
                  <a:pt x="6401836" y="670741"/>
                  <a:pt x="6399346" y="670033"/>
                  <a:pt x="6397410" y="669022"/>
                </a:cubicBezTo>
                <a:cubicBezTo>
                  <a:pt x="6399208" y="665785"/>
                  <a:pt x="6402458" y="664799"/>
                  <a:pt x="6405293" y="664976"/>
                </a:cubicBezTo>
                <a:close/>
                <a:moveTo>
                  <a:pt x="6134373" y="662649"/>
                </a:moveTo>
                <a:cubicBezTo>
                  <a:pt x="6147373" y="667201"/>
                  <a:pt x="6153181" y="667606"/>
                  <a:pt x="6164522" y="673978"/>
                </a:cubicBezTo>
                <a:cubicBezTo>
                  <a:pt x="6158990" y="679339"/>
                  <a:pt x="6151245" y="672158"/>
                  <a:pt x="6145713" y="677519"/>
                </a:cubicBezTo>
                <a:cubicBezTo>
                  <a:pt x="6144054" y="676507"/>
                  <a:pt x="6149586" y="676811"/>
                  <a:pt x="6149586" y="673978"/>
                </a:cubicBezTo>
                <a:cubicBezTo>
                  <a:pt x="6140181" y="668617"/>
                  <a:pt x="6142118" y="675394"/>
                  <a:pt x="6136586" y="677923"/>
                </a:cubicBezTo>
                <a:cubicBezTo>
                  <a:pt x="6131054" y="677620"/>
                  <a:pt x="6129118" y="676507"/>
                  <a:pt x="6125246" y="674383"/>
                </a:cubicBezTo>
                <a:cubicBezTo>
                  <a:pt x="6129118" y="670843"/>
                  <a:pt x="6131054" y="671955"/>
                  <a:pt x="6136586" y="672259"/>
                </a:cubicBezTo>
                <a:cubicBezTo>
                  <a:pt x="6142118" y="666898"/>
                  <a:pt x="6128841" y="668010"/>
                  <a:pt x="6134373" y="662649"/>
                </a:cubicBezTo>
                <a:close/>
                <a:moveTo>
                  <a:pt x="4391856" y="657693"/>
                </a:moveTo>
                <a:cubicBezTo>
                  <a:pt x="4384388" y="659109"/>
                  <a:pt x="4383005" y="665886"/>
                  <a:pt x="4373048" y="666999"/>
                </a:cubicBezTo>
                <a:cubicBezTo>
                  <a:pt x="4373603" y="664773"/>
                  <a:pt x="4374155" y="662548"/>
                  <a:pt x="4374432" y="660323"/>
                </a:cubicBezTo>
                <a:cubicBezTo>
                  <a:pt x="4372772" y="669224"/>
                  <a:pt x="4338474" y="683689"/>
                  <a:pt x="4331284" y="671551"/>
                </a:cubicBezTo>
                <a:cubicBezTo>
                  <a:pt x="4316347" y="685813"/>
                  <a:pt x="4299475" y="686218"/>
                  <a:pt x="4288135" y="694006"/>
                </a:cubicBezTo>
                <a:cubicBezTo>
                  <a:pt x="4283433" y="693501"/>
                  <a:pt x="4286752" y="689353"/>
                  <a:pt x="4287305" y="687128"/>
                </a:cubicBezTo>
                <a:cubicBezTo>
                  <a:pt x="4284816" y="686926"/>
                  <a:pt x="4282050" y="688848"/>
                  <a:pt x="4279838" y="688645"/>
                </a:cubicBezTo>
                <a:cubicBezTo>
                  <a:pt x="4275135" y="688140"/>
                  <a:pt x="4283433" y="693501"/>
                  <a:pt x="4277901" y="697446"/>
                </a:cubicBezTo>
                <a:cubicBezTo>
                  <a:pt x="4273199" y="696940"/>
                  <a:pt x="4270986" y="696738"/>
                  <a:pt x="4269050" y="694209"/>
                </a:cubicBezTo>
                <a:cubicBezTo>
                  <a:pt x="4231988" y="710595"/>
                  <a:pt x="4178052" y="727387"/>
                  <a:pt x="4131033" y="744987"/>
                </a:cubicBezTo>
                <a:cubicBezTo>
                  <a:pt x="4120798" y="748325"/>
                  <a:pt x="4105033" y="755709"/>
                  <a:pt x="4097842" y="766330"/>
                </a:cubicBezTo>
                <a:cubicBezTo>
                  <a:pt x="4047779" y="776749"/>
                  <a:pt x="4001312" y="803453"/>
                  <a:pt x="3970611" y="824999"/>
                </a:cubicBezTo>
                <a:cubicBezTo>
                  <a:pt x="3967291" y="829247"/>
                  <a:pt x="3953185" y="827629"/>
                  <a:pt x="3956228" y="837036"/>
                </a:cubicBezTo>
                <a:cubicBezTo>
                  <a:pt x="3945717" y="829045"/>
                  <a:pt x="3919718" y="851298"/>
                  <a:pt x="3918611" y="855749"/>
                </a:cubicBezTo>
                <a:cubicBezTo>
                  <a:pt x="3878229" y="864954"/>
                  <a:pt x="3850017" y="898132"/>
                  <a:pt x="3822912" y="924735"/>
                </a:cubicBezTo>
                <a:cubicBezTo>
                  <a:pt x="3891782" y="893681"/>
                  <a:pt x="3952355" y="843510"/>
                  <a:pt x="4022332" y="819435"/>
                </a:cubicBezTo>
                <a:cubicBezTo>
                  <a:pt x="4045567" y="799205"/>
                  <a:pt x="4089820" y="794957"/>
                  <a:pt x="4108906" y="772096"/>
                </a:cubicBezTo>
                <a:cubicBezTo>
                  <a:pt x="4113884" y="770377"/>
                  <a:pt x="4115820" y="772804"/>
                  <a:pt x="4117480" y="777558"/>
                </a:cubicBezTo>
                <a:cubicBezTo>
                  <a:pt x="4122181" y="771186"/>
                  <a:pt x="4132138" y="767747"/>
                  <a:pt x="4140990" y="764510"/>
                </a:cubicBezTo>
                <a:lnTo>
                  <a:pt x="4143479" y="763599"/>
                </a:lnTo>
                <a:lnTo>
                  <a:pt x="4144033" y="762385"/>
                </a:lnTo>
                <a:lnTo>
                  <a:pt x="4153712" y="759250"/>
                </a:lnTo>
                <a:lnTo>
                  <a:pt x="4160904" y="752877"/>
                </a:lnTo>
                <a:lnTo>
                  <a:pt x="4167818" y="753585"/>
                </a:lnTo>
                <a:lnTo>
                  <a:pt x="4194094" y="745493"/>
                </a:lnTo>
                <a:lnTo>
                  <a:pt x="4201839" y="740739"/>
                </a:lnTo>
                <a:cubicBezTo>
                  <a:pt x="4208755" y="736794"/>
                  <a:pt x="4216222" y="733962"/>
                  <a:pt x="4227562" y="733254"/>
                </a:cubicBezTo>
                <a:cubicBezTo>
                  <a:pt x="4241944" y="710292"/>
                  <a:pt x="4279284" y="705841"/>
                  <a:pt x="4305285" y="697951"/>
                </a:cubicBezTo>
                <a:cubicBezTo>
                  <a:pt x="4312475" y="682172"/>
                  <a:pt x="4353687" y="682779"/>
                  <a:pt x="4362814" y="673877"/>
                </a:cubicBezTo>
                <a:cubicBezTo>
                  <a:pt x="4375814" y="669831"/>
                  <a:pt x="4378027" y="676608"/>
                  <a:pt x="4392963" y="673776"/>
                </a:cubicBezTo>
                <a:cubicBezTo>
                  <a:pt x="4396559" y="670134"/>
                  <a:pt x="4390750" y="669831"/>
                  <a:pt x="4396559" y="667302"/>
                </a:cubicBezTo>
                <a:cubicBezTo>
                  <a:pt x="4400431" y="663256"/>
                  <a:pt x="4393239" y="663863"/>
                  <a:pt x="4393239" y="661941"/>
                </a:cubicBezTo>
                <a:lnTo>
                  <a:pt x="4395452" y="659412"/>
                </a:lnTo>
                <a:close/>
                <a:moveTo>
                  <a:pt x="4419515" y="651219"/>
                </a:moveTo>
                <a:lnTo>
                  <a:pt x="4412047" y="654759"/>
                </a:lnTo>
                <a:lnTo>
                  <a:pt x="4404579" y="660222"/>
                </a:lnTo>
                <a:lnTo>
                  <a:pt x="4407622" y="662245"/>
                </a:lnTo>
                <a:cubicBezTo>
                  <a:pt x="4410389" y="661031"/>
                  <a:pt x="4413154" y="659716"/>
                  <a:pt x="4415366" y="657794"/>
                </a:cubicBezTo>
                <a:close/>
                <a:moveTo>
                  <a:pt x="6096549" y="649158"/>
                </a:moveTo>
                <a:cubicBezTo>
                  <a:pt x="6102634" y="650461"/>
                  <a:pt x="6108235" y="652939"/>
                  <a:pt x="6111969" y="655063"/>
                </a:cubicBezTo>
                <a:cubicBezTo>
                  <a:pt x="6104501" y="645049"/>
                  <a:pt x="6134650" y="659210"/>
                  <a:pt x="6127182" y="666493"/>
                </a:cubicBezTo>
                <a:cubicBezTo>
                  <a:pt x="6112246" y="663762"/>
                  <a:pt x="6097034" y="652433"/>
                  <a:pt x="6091502" y="660727"/>
                </a:cubicBezTo>
                <a:cubicBezTo>
                  <a:pt x="6089566" y="662548"/>
                  <a:pt x="6076289" y="655063"/>
                  <a:pt x="6078225" y="650309"/>
                </a:cubicBezTo>
                <a:cubicBezTo>
                  <a:pt x="6083896" y="647730"/>
                  <a:pt x="6090465" y="647856"/>
                  <a:pt x="6096549" y="649158"/>
                </a:cubicBezTo>
                <a:close/>
                <a:moveTo>
                  <a:pt x="6348177" y="643734"/>
                </a:moveTo>
                <a:cubicBezTo>
                  <a:pt x="6357305" y="643329"/>
                  <a:pt x="6370581" y="650814"/>
                  <a:pt x="6366985" y="657187"/>
                </a:cubicBezTo>
                <a:cubicBezTo>
                  <a:pt x="6363113" y="652230"/>
                  <a:pt x="6361177" y="651219"/>
                  <a:pt x="6350113" y="650511"/>
                </a:cubicBezTo>
                <a:cubicBezTo>
                  <a:pt x="6353709" y="646971"/>
                  <a:pt x="6349837" y="644745"/>
                  <a:pt x="6348177" y="643734"/>
                </a:cubicBezTo>
                <a:close/>
                <a:moveTo>
                  <a:pt x="6316923" y="615209"/>
                </a:moveTo>
                <a:cubicBezTo>
                  <a:pt x="6326880" y="634933"/>
                  <a:pt x="6377772" y="635237"/>
                  <a:pt x="6400729" y="651017"/>
                </a:cubicBezTo>
                <a:cubicBezTo>
                  <a:pt x="6374453" y="653141"/>
                  <a:pt x="6345688" y="634225"/>
                  <a:pt x="6326880" y="629269"/>
                </a:cubicBezTo>
                <a:cubicBezTo>
                  <a:pt x="6317476" y="629572"/>
                  <a:pt x="6308348" y="641407"/>
                  <a:pt x="6304200" y="630685"/>
                </a:cubicBezTo>
                <a:cubicBezTo>
                  <a:pt x="6308072" y="627145"/>
                  <a:pt x="6308072" y="629977"/>
                  <a:pt x="6308072" y="629977"/>
                </a:cubicBezTo>
                <a:cubicBezTo>
                  <a:pt x="6317476" y="632405"/>
                  <a:pt x="6317199" y="618142"/>
                  <a:pt x="6316923" y="615209"/>
                </a:cubicBezTo>
                <a:close/>
                <a:moveTo>
                  <a:pt x="2963270" y="601149"/>
                </a:moveTo>
                <a:cubicBezTo>
                  <a:pt x="2966589" y="602767"/>
                  <a:pt x="2971291" y="601654"/>
                  <a:pt x="2972950" y="605802"/>
                </a:cubicBezTo>
                <a:cubicBezTo>
                  <a:pt x="2972950" y="607521"/>
                  <a:pt x="2972673" y="608229"/>
                  <a:pt x="2971844" y="608533"/>
                </a:cubicBezTo>
                <a:cubicBezTo>
                  <a:pt x="2970185" y="609342"/>
                  <a:pt x="2965759" y="605700"/>
                  <a:pt x="2961057" y="608432"/>
                </a:cubicBezTo>
                <a:cubicBezTo>
                  <a:pt x="2962717" y="605903"/>
                  <a:pt x="2964929" y="605296"/>
                  <a:pt x="2963270" y="601149"/>
                </a:cubicBezTo>
                <a:close/>
                <a:moveTo>
                  <a:pt x="6253030" y="590325"/>
                </a:moveTo>
                <a:cubicBezTo>
                  <a:pt x="6260775" y="597406"/>
                  <a:pt x="6266307" y="594978"/>
                  <a:pt x="6277647" y="598519"/>
                </a:cubicBezTo>
                <a:cubicBezTo>
                  <a:pt x="6276264" y="600643"/>
                  <a:pt x="6273498" y="601755"/>
                  <a:pt x="6270179" y="602362"/>
                </a:cubicBezTo>
                <a:cubicBezTo>
                  <a:pt x="6267136" y="602868"/>
                  <a:pt x="6263264" y="602767"/>
                  <a:pt x="6259945" y="601958"/>
                </a:cubicBezTo>
                <a:cubicBezTo>
                  <a:pt x="6253307" y="600339"/>
                  <a:pt x="6248605" y="596192"/>
                  <a:pt x="6253030" y="590325"/>
                </a:cubicBezTo>
                <a:close/>
                <a:moveTo>
                  <a:pt x="6128012" y="578187"/>
                </a:moveTo>
                <a:cubicBezTo>
                  <a:pt x="6128565" y="578187"/>
                  <a:pt x="6129118" y="579198"/>
                  <a:pt x="6129118" y="580716"/>
                </a:cubicBezTo>
                <a:cubicBezTo>
                  <a:pt x="6153735" y="591640"/>
                  <a:pt x="6181947" y="590426"/>
                  <a:pt x="6212095" y="604689"/>
                </a:cubicBezTo>
                <a:cubicBezTo>
                  <a:pt x="6210159" y="605599"/>
                  <a:pt x="6207946" y="606105"/>
                  <a:pt x="6205733" y="606206"/>
                </a:cubicBezTo>
                <a:cubicBezTo>
                  <a:pt x="6203521" y="606408"/>
                  <a:pt x="6201584" y="606206"/>
                  <a:pt x="6199372" y="605700"/>
                </a:cubicBezTo>
                <a:cubicBezTo>
                  <a:pt x="6186096" y="603172"/>
                  <a:pt x="6172266" y="592753"/>
                  <a:pt x="6159543" y="600542"/>
                </a:cubicBezTo>
                <a:cubicBezTo>
                  <a:pt x="6148203" y="591337"/>
                  <a:pt x="6131331" y="595990"/>
                  <a:pt x="6125522" y="581323"/>
                </a:cubicBezTo>
                <a:cubicBezTo>
                  <a:pt x="6126352" y="578996"/>
                  <a:pt x="6127182" y="578086"/>
                  <a:pt x="6128012" y="578187"/>
                </a:cubicBezTo>
                <a:close/>
                <a:moveTo>
                  <a:pt x="6118054" y="573837"/>
                </a:moveTo>
                <a:cubicBezTo>
                  <a:pt x="6121927" y="575962"/>
                  <a:pt x="6129394" y="574444"/>
                  <a:pt x="6123863" y="580008"/>
                </a:cubicBezTo>
                <a:cubicBezTo>
                  <a:pt x="6121927" y="578895"/>
                  <a:pt x="6121927" y="578895"/>
                  <a:pt x="6119991" y="577883"/>
                </a:cubicBezTo>
                <a:cubicBezTo>
                  <a:pt x="6118054" y="579704"/>
                  <a:pt x="6118054" y="579704"/>
                  <a:pt x="6119991" y="580716"/>
                </a:cubicBezTo>
                <a:cubicBezTo>
                  <a:pt x="6119161" y="581727"/>
                  <a:pt x="6118607" y="582031"/>
                  <a:pt x="6118054" y="582132"/>
                </a:cubicBezTo>
                <a:cubicBezTo>
                  <a:pt x="6117501" y="582233"/>
                  <a:pt x="6117225" y="581930"/>
                  <a:pt x="6116948" y="581525"/>
                </a:cubicBezTo>
                <a:cubicBezTo>
                  <a:pt x="6116395" y="580817"/>
                  <a:pt x="6115288" y="579603"/>
                  <a:pt x="6112522" y="579401"/>
                </a:cubicBezTo>
                <a:cubicBezTo>
                  <a:pt x="6114182" y="577580"/>
                  <a:pt x="6116118" y="575658"/>
                  <a:pt x="6118054" y="573837"/>
                </a:cubicBezTo>
                <a:close/>
                <a:moveTo>
                  <a:pt x="6097172" y="573016"/>
                </a:moveTo>
                <a:cubicBezTo>
                  <a:pt x="6101597" y="572093"/>
                  <a:pt x="6105332" y="571461"/>
                  <a:pt x="6106438" y="573433"/>
                </a:cubicBezTo>
                <a:cubicBezTo>
                  <a:pt x="6103672" y="574647"/>
                  <a:pt x="6100353" y="575557"/>
                  <a:pt x="6096757" y="575759"/>
                </a:cubicBezTo>
                <a:cubicBezTo>
                  <a:pt x="6092885" y="576063"/>
                  <a:pt x="6088736" y="575759"/>
                  <a:pt x="6083757" y="574343"/>
                </a:cubicBezTo>
                <a:cubicBezTo>
                  <a:pt x="6087629" y="575153"/>
                  <a:pt x="6092746" y="573939"/>
                  <a:pt x="6097172" y="573016"/>
                </a:cubicBezTo>
                <a:close/>
                <a:moveTo>
                  <a:pt x="4511068" y="566453"/>
                </a:moveTo>
                <a:cubicBezTo>
                  <a:pt x="4513556" y="566757"/>
                  <a:pt x="4515769" y="566959"/>
                  <a:pt x="4518258" y="567262"/>
                </a:cubicBezTo>
                <a:cubicBezTo>
                  <a:pt x="4516876" y="573837"/>
                  <a:pt x="4521024" y="576569"/>
                  <a:pt x="4522683" y="581222"/>
                </a:cubicBezTo>
                <a:cubicBezTo>
                  <a:pt x="4515215" y="582638"/>
                  <a:pt x="4513279" y="580210"/>
                  <a:pt x="4506365" y="579401"/>
                </a:cubicBezTo>
                <a:cubicBezTo>
                  <a:pt x="4509407" y="575254"/>
                  <a:pt x="4510237" y="570904"/>
                  <a:pt x="4511068" y="566453"/>
                </a:cubicBezTo>
                <a:close/>
                <a:moveTo>
                  <a:pt x="4403474" y="565341"/>
                </a:moveTo>
                <a:cubicBezTo>
                  <a:pt x="4394623" y="573433"/>
                  <a:pt x="4380793" y="581019"/>
                  <a:pt x="4366410" y="579401"/>
                </a:cubicBezTo>
                <a:cubicBezTo>
                  <a:pt x="4373878" y="566656"/>
                  <a:pt x="4389090" y="563722"/>
                  <a:pt x="4403474" y="565341"/>
                </a:cubicBezTo>
                <a:close/>
                <a:moveTo>
                  <a:pt x="2812527" y="558665"/>
                </a:moveTo>
                <a:cubicBezTo>
                  <a:pt x="2818336" y="567060"/>
                  <a:pt x="2810316" y="571309"/>
                  <a:pt x="2804230" y="575051"/>
                </a:cubicBezTo>
                <a:cubicBezTo>
                  <a:pt x="2800911" y="566150"/>
                  <a:pt x="2804507" y="562913"/>
                  <a:pt x="2812527" y="558665"/>
                </a:cubicBezTo>
                <a:close/>
                <a:moveTo>
                  <a:pt x="4482854" y="551786"/>
                </a:moveTo>
                <a:cubicBezTo>
                  <a:pt x="4480918" y="560789"/>
                  <a:pt x="4470685" y="564228"/>
                  <a:pt x="4464599" y="558968"/>
                </a:cubicBezTo>
                <a:cubicBezTo>
                  <a:pt x="4458514" y="565138"/>
                  <a:pt x="4449940" y="571005"/>
                  <a:pt x="4442196" y="574748"/>
                </a:cubicBezTo>
                <a:cubicBezTo>
                  <a:pt x="4430027" y="575658"/>
                  <a:pt x="4426153" y="570702"/>
                  <a:pt x="4417027" y="567465"/>
                </a:cubicBezTo>
                <a:cubicBezTo>
                  <a:pt x="4428366" y="559575"/>
                  <a:pt x="4462663" y="556439"/>
                  <a:pt x="4482854" y="551786"/>
                </a:cubicBezTo>
                <a:close/>
                <a:moveTo>
                  <a:pt x="3344411" y="548448"/>
                </a:moveTo>
                <a:lnTo>
                  <a:pt x="3342197" y="549257"/>
                </a:lnTo>
                <a:cubicBezTo>
                  <a:pt x="3332240" y="552191"/>
                  <a:pt x="3322560" y="554113"/>
                  <a:pt x="3312602" y="554517"/>
                </a:cubicBezTo>
                <a:cubicBezTo>
                  <a:pt x="3306795" y="558159"/>
                  <a:pt x="3305412" y="560890"/>
                  <a:pt x="3301538" y="564026"/>
                </a:cubicBezTo>
                <a:cubicBezTo>
                  <a:pt x="3287433" y="566049"/>
                  <a:pt x="3274434" y="569892"/>
                  <a:pt x="3261434" y="575051"/>
                </a:cubicBezTo>
                <a:lnTo>
                  <a:pt x="3235710" y="587392"/>
                </a:lnTo>
                <a:lnTo>
                  <a:pt x="3219391" y="600744"/>
                </a:lnTo>
                <a:cubicBezTo>
                  <a:pt x="3197542" y="617434"/>
                  <a:pt x="3175690" y="633821"/>
                  <a:pt x="3156883" y="655569"/>
                </a:cubicBezTo>
                <a:cubicBezTo>
                  <a:pt x="3147479" y="654557"/>
                  <a:pt x="3142500" y="667606"/>
                  <a:pt x="3133373" y="664369"/>
                </a:cubicBezTo>
                <a:cubicBezTo>
                  <a:pt x="3131990" y="671045"/>
                  <a:pt x="3133926" y="673574"/>
                  <a:pt x="3141394" y="672056"/>
                </a:cubicBezTo>
                <a:cubicBezTo>
                  <a:pt x="3134203" y="684903"/>
                  <a:pt x="3116776" y="687533"/>
                  <a:pt x="3105161" y="697648"/>
                </a:cubicBezTo>
                <a:cubicBezTo>
                  <a:pt x="3113735" y="703110"/>
                  <a:pt x="3101288" y="704021"/>
                  <a:pt x="3104330" y="713529"/>
                </a:cubicBezTo>
                <a:cubicBezTo>
                  <a:pt x="3101841" y="713225"/>
                  <a:pt x="3099629" y="713023"/>
                  <a:pt x="3096863" y="714945"/>
                </a:cubicBezTo>
                <a:lnTo>
                  <a:pt x="3067821" y="750753"/>
                </a:lnTo>
                <a:lnTo>
                  <a:pt x="3078331" y="744785"/>
                </a:lnTo>
                <a:cubicBezTo>
                  <a:pt x="3079991" y="749033"/>
                  <a:pt x="3081374" y="746403"/>
                  <a:pt x="3085522" y="750247"/>
                </a:cubicBezTo>
                <a:cubicBezTo>
                  <a:pt x="3083586" y="757732"/>
                  <a:pt x="3081650" y="765218"/>
                  <a:pt x="3066437" y="770882"/>
                </a:cubicBezTo>
                <a:cubicBezTo>
                  <a:pt x="3062566" y="774119"/>
                  <a:pt x="3071692" y="771995"/>
                  <a:pt x="3068926" y="777356"/>
                </a:cubicBezTo>
                <a:cubicBezTo>
                  <a:pt x="3075012" y="777154"/>
                  <a:pt x="3077777" y="776041"/>
                  <a:pt x="3079991" y="775738"/>
                </a:cubicBezTo>
                <a:lnTo>
                  <a:pt x="3086352" y="778266"/>
                </a:lnTo>
                <a:lnTo>
                  <a:pt x="3087734" y="776446"/>
                </a:lnTo>
                <a:cubicBezTo>
                  <a:pt x="3094927" y="769264"/>
                  <a:pt x="3102948" y="762790"/>
                  <a:pt x="3112352" y="757631"/>
                </a:cubicBezTo>
                <a:lnTo>
                  <a:pt x="3123138" y="744684"/>
                </a:lnTo>
                <a:lnTo>
                  <a:pt x="3125074" y="740537"/>
                </a:lnTo>
                <a:lnTo>
                  <a:pt x="3127563" y="739323"/>
                </a:lnTo>
                <a:lnTo>
                  <a:pt x="3132543" y="733355"/>
                </a:lnTo>
                <a:cubicBezTo>
                  <a:pt x="3140288" y="725971"/>
                  <a:pt x="3148032" y="718283"/>
                  <a:pt x="3151351" y="707257"/>
                </a:cubicBezTo>
                <a:cubicBezTo>
                  <a:pt x="3169053" y="702402"/>
                  <a:pt x="3177904" y="682880"/>
                  <a:pt x="3195605" y="666695"/>
                </a:cubicBezTo>
                <a:cubicBezTo>
                  <a:pt x="3207222" y="656580"/>
                  <a:pt x="3226859" y="654152"/>
                  <a:pt x="3225754" y="635844"/>
                </a:cubicBezTo>
                <a:cubicBezTo>
                  <a:pt x="3245944" y="631292"/>
                  <a:pt x="3252860" y="620671"/>
                  <a:pt x="3258115" y="607622"/>
                </a:cubicBezTo>
                <a:cubicBezTo>
                  <a:pt x="3282455" y="594371"/>
                  <a:pt x="3304029" y="578592"/>
                  <a:pt x="3325325" y="562508"/>
                </a:cubicBezTo>
                <a:close/>
                <a:moveTo>
                  <a:pt x="6120820" y="547437"/>
                </a:moveTo>
                <a:cubicBezTo>
                  <a:pt x="6158713" y="563115"/>
                  <a:pt x="6196329" y="573129"/>
                  <a:pt x="6241690" y="587493"/>
                </a:cubicBezTo>
                <a:cubicBezTo>
                  <a:pt x="6232563" y="593461"/>
                  <a:pt x="6213478" y="580008"/>
                  <a:pt x="6202691" y="593461"/>
                </a:cubicBezTo>
                <a:cubicBezTo>
                  <a:pt x="6196882" y="590325"/>
                  <a:pt x="6191351" y="589921"/>
                  <a:pt x="6187479" y="587796"/>
                </a:cubicBezTo>
                <a:cubicBezTo>
                  <a:pt x="6187202" y="582031"/>
                  <a:pt x="6194946" y="586279"/>
                  <a:pt x="6198542" y="585672"/>
                </a:cubicBezTo>
                <a:cubicBezTo>
                  <a:pt x="6200202" y="578187"/>
                  <a:pt x="6177798" y="579603"/>
                  <a:pt x="6175862" y="572826"/>
                </a:cubicBezTo>
                <a:cubicBezTo>
                  <a:pt x="6168947" y="594169"/>
                  <a:pt x="6156777" y="564936"/>
                  <a:pt x="6140181" y="575254"/>
                </a:cubicBezTo>
                <a:cubicBezTo>
                  <a:pt x="6143777" y="568780"/>
                  <a:pt x="6147650" y="571005"/>
                  <a:pt x="6145713" y="567060"/>
                </a:cubicBezTo>
                <a:cubicBezTo>
                  <a:pt x="6140181" y="569589"/>
                  <a:pt x="6130501" y="561294"/>
                  <a:pt x="6126905" y="567768"/>
                </a:cubicBezTo>
                <a:cubicBezTo>
                  <a:pt x="6124969" y="566656"/>
                  <a:pt x="6128841" y="563115"/>
                  <a:pt x="6128565" y="560283"/>
                </a:cubicBezTo>
                <a:cubicBezTo>
                  <a:pt x="6121097" y="558867"/>
                  <a:pt x="6117501" y="565239"/>
                  <a:pt x="6111969" y="567768"/>
                </a:cubicBezTo>
                <a:cubicBezTo>
                  <a:pt x="6108097" y="562711"/>
                  <a:pt x="6130224" y="555630"/>
                  <a:pt x="6111416" y="553506"/>
                </a:cubicBezTo>
                <a:cubicBezTo>
                  <a:pt x="6115288" y="549864"/>
                  <a:pt x="6117225" y="550977"/>
                  <a:pt x="6120820" y="547437"/>
                </a:cubicBezTo>
                <a:close/>
                <a:moveTo>
                  <a:pt x="4856770" y="460942"/>
                </a:moveTo>
                <a:cubicBezTo>
                  <a:pt x="4872846" y="462184"/>
                  <a:pt x="4887367" y="473014"/>
                  <a:pt x="4906868" y="466717"/>
                </a:cubicBezTo>
                <a:cubicBezTo>
                  <a:pt x="4906868" y="466717"/>
                  <a:pt x="4906590" y="466717"/>
                  <a:pt x="4982099" y="486341"/>
                </a:cubicBezTo>
                <a:cubicBezTo>
                  <a:pt x="4979333" y="488262"/>
                  <a:pt x="4979058" y="490488"/>
                  <a:pt x="4974355" y="489881"/>
                </a:cubicBezTo>
                <a:cubicBezTo>
                  <a:pt x="4943100" y="477439"/>
                  <a:pt x="4880038" y="479563"/>
                  <a:pt x="4839932" y="463885"/>
                </a:cubicBezTo>
                <a:cubicBezTo>
                  <a:pt x="4845879" y="461179"/>
                  <a:pt x="4851410" y="460528"/>
                  <a:pt x="4856770" y="460942"/>
                </a:cubicBezTo>
                <a:close/>
                <a:moveTo>
                  <a:pt x="3112352" y="457714"/>
                </a:moveTo>
                <a:cubicBezTo>
                  <a:pt x="3107096" y="475315"/>
                  <a:pt x="3077225" y="474910"/>
                  <a:pt x="3055650" y="488971"/>
                </a:cubicBezTo>
                <a:cubicBezTo>
                  <a:pt x="3064224" y="473090"/>
                  <a:pt x="3092161" y="469246"/>
                  <a:pt x="3112352" y="457714"/>
                </a:cubicBezTo>
                <a:close/>
                <a:moveTo>
                  <a:pt x="4802523" y="456906"/>
                </a:moveTo>
                <a:cubicBezTo>
                  <a:pt x="4805013" y="457765"/>
                  <a:pt x="4808262" y="459283"/>
                  <a:pt x="4811997" y="458524"/>
                </a:cubicBezTo>
                <a:cubicBezTo>
                  <a:pt x="4809231" y="460547"/>
                  <a:pt x="4806465" y="462469"/>
                  <a:pt x="4798997" y="463986"/>
                </a:cubicBezTo>
                <a:cubicBezTo>
                  <a:pt x="4800103" y="459434"/>
                  <a:pt x="4800103" y="459434"/>
                  <a:pt x="4797614" y="459232"/>
                </a:cubicBezTo>
                <a:cubicBezTo>
                  <a:pt x="4798305" y="455844"/>
                  <a:pt x="4800034" y="456046"/>
                  <a:pt x="4802523" y="456906"/>
                </a:cubicBezTo>
                <a:close/>
                <a:moveTo>
                  <a:pt x="3064225" y="449547"/>
                </a:moveTo>
                <a:cubicBezTo>
                  <a:pt x="3066507" y="450558"/>
                  <a:pt x="3068927" y="451848"/>
                  <a:pt x="3071969" y="450027"/>
                </a:cubicBezTo>
                <a:cubicBezTo>
                  <a:pt x="3058969" y="459940"/>
                  <a:pt x="3048182" y="474910"/>
                  <a:pt x="3031311" y="477338"/>
                </a:cubicBezTo>
                <a:cubicBezTo>
                  <a:pt x="3028545" y="477844"/>
                  <a:pt x="3025503" y="477844"/>
                  <a:pt x="3022183" y="477439"/>
                </a:cubicBezTo>
                <a:cubicBezTo>
                  <a:pt x="3019141" y="477136"/>
                  <a:pt x="3015821" y="476326"/>
                  <a:pt x="3011950" y="475011"/>
                </a:cubicBezTo>
                <a:cubicBezTo>
                  <a:pt x="3026885" y="462266"/>
                  <a:pt x="3046523" y="455489"/>
                  <a:pt x="3063671" y="454174"/>
                </a:cubicBezTo>
                <a:cubicBezTo>
                  <a:pt x="3062841" y="451949"/>
                  <a:pt x="3058969" y="455186"/>
                  <a:pt x="3057310" y="450735"/>
                </a:cubicBezTo>
                <a:cubicBezTo>
                  <a:pt x="3059799" y="447802"/>
                  <a:pt x="3061943" y="448535"/>
                  <a:pt x="3064225" y="449547"/>
                </a:cubicBezTo>
                <a:close/>
                <a:moveTo>
                  <a:pt x="4535406" y="434449"/>
                </a:moveTo>
                <a:cubicBezTo>
                  <a:pt x="4545640" y="431010"/>
                  <a:pt x="4541215" y="441834"/>
                  <a:pt x="4543428" y="442137"/>
                </a:cubicBezTo>
                <a:cubicBezTo>
                  <a:pt x="4542598" y="443755"/>
                  <a:pt x="4541491" y="444362"/>
                  <a:pt x="4540385" y="444261"/>
                </a:cubicBezTo>
                <a:cubicBezTo>
                  <a:pt x="4539555" y="444160"/>
                  <a:pt x="4538449" y="443452"/>
                  <a:pt x="4537619" y="442440"/>
                </a:cubicBezTo>
                <a:cubicBezTo>
                  <a:pt x="4535960" y="440215"/>
                  <a:pt x="4534853" y="436675"/>
                  <a:pt x="4535406" y="434449"/>
                </a:cubicBezTo>
                <a:close/>
                <a:moveTo>
                  <a:pt x="3515897" y="427470"/>
                </a:moveTo>
                <a:cubicBezTo>
                  <a:pt x="3513131" y="430302"/>
                  <a:pt x="3510365" y="431718"/>
                  <a:pt x="3508151" y="432123"/>
                </a:cubicBezTo>
                <a:cubicBezTo>
                  <a:pt x="3505662" y="432527"/>
                  <a:pt x="3503727" y="432022"/>
                  <a:pt x="3503173" y="431111"/>
                </a:cubicBezTo>
                <a:cubicBezTo>
                  <a:pt x="3501514" y="429493"/>
                  <a:pt x="3504003" y="426559"/>
                  <a:pt x="3515897" y="427470"/>
                </a:cubicBezTo>
                <a:close/>
                <a:moveTo>
                  <a:pt x="3104884" y="426155"/>
                </a:moveTo>
                <a:cubicBezTo>
                  <a:pt x="3104330" y="431111"/>
                  <a:pt x="3107096" y="437787"/>
                  <a:pt x="3115394" y="433539"/>
                </a:cubicBezTo>
                <a:cubicBezTo>
                  <a:pt x="3115671" y="440721"/>
                  <a:pt x="3104053" y="436068"/>
                  <a:pt x="3102671" y="438799"/>
                </a:cubicBezTo>
                <a:cubicBezTo>
                  <a:pt x="3101841" y="436574"/>
                  <a:pt x="3099905" y="432123"/>
                  <a:pt x="3097693" y="432629"/>
                </a:cubicBezTo>
                <a:cubicBezTo>
                  <a:pt x="3096032" y="428178"/>
                  <a:pt x="3100459" y="427166"/>
                  <a:pt x="3104884" y="426155"/>
                </a:cubicBezTo>
                <a:close/>
                <a:moveTo>
                  <a:pt x="2993418" y="415837"/>
                </a:moveTo>
                <a:cubicBezTo>
                  <a:pt x="2997844" y="414927"/>
                  <a:pt x="2999779" y="419175"/>
                  <a:pt x="3001438" y="423424"/>
                </a:cubicBezTo>
                <a:cubicBezTo>
                  <a:pt x="2999225" y="423930"/>
                  <a:pt x="2993141" y="420693"/>
                  <a:pt x="2994801" y="425042"/>
                </a:cubicBezTo>
                <a:cubicBezTo>
                  <a:pt x="2992865" y="424840"/>
                  <a:pt x="2991758" y="424233"/>
                  <a:pt x="2991481" y="423525"/>
                </a:cubicBezTo>
                <a:cubicBezTo>
                  <a:pt x="2990376" y="421401"/>
                  <a:pt x="2994247" y="417456"/>
                  <a:pt x="2993418" y="415837"/>
                </a:cubicBezTo>
                <a:close/>
                <a:moveTo>
                  <a:pt x="3208605" y="412702"/>
                </a:moveTo>
                <a:cubicBezTo>
                  <a:pt x="3211648" y="414421"/>
                  <a:pt x="3214967" y="416040"/>
                  <a:pt x="3219391" y="415028"/>
                </a:cubicBezTo>
                <a:cubicBezTo>
                  <a:pt x="3195052" y="434753"/>
                  <a:pt x="3159925" y="440215"/>
                  <a:pt x="3128947" y="456602"/>
                </a:cubicBezTo>
                <a:cubicBezTo>
                  <a:pt x="3127011" y="445070"/>
                  <a:pt x="3141670" y="444261"/>
                  <a:pt x="3147479" y="440519"/>
                </a:cubicBezTo>
                <a:cubicBezTo>
                  <a:pt x="3144436" y="438900"/>
                  <a:pt x="3141117" y="437180"/>
                  <a:pt x="3140288" y="434955"/>
                </a:cubicBezTo>
                <a:cubicBezTo>
                  <a:pt x="3145819" y="436169"/>
                  <a:pt x="3147755" y="428481"/>
                  <a:pt x="3156883" y="426458"/>
                </a:cubicBezTo>
                <a:cubicBezTo>
                  <a:pt x="3157988" y="435764"/>
                  <a:pt x="3182329" y="427976"/>
                  <a:pt x="3177350" y="421906"/>
                </a:cubicBezTo>
                <a:cubicBezTo>
                  <a:pt x="3187030" y="426964"/>
                  <a:pt x="3202797" y="423525"/>
                  <a:pt x="3208605" y="412702"/>
                </a:cubicBezTo>
                <a:close/>
                <a:moveTo>
                  <a:pt x="3171818" y="407037"/>
                </a:moveTo>
                <a:cubicBezTo>
                  <a:pt x="3169329" y="419681"/>
                  <a:pt x="3152733" y="416040"/>
                  <a:pt x="3144436" y="420288"/>
                </a:cubicBezTo>
                <a:cubicBezTo>
                  <a:pt x="3146373" y="412600"/>
                  <a:pt x="3164074" y="406329"/>
                  <a:pt x="3171818" y="407037"/>
                </a:cubicBezTo>
                <a:close/>
                <a:moveTo>
                  <a:pt x="4904067" y="403295"/>
                </a:moveTo>
                <a:cubicBezTo>
                  <a:pt x="4906244" y="403143"/>
                  <a:pt x="4909771" y="403801"/>
                  <a:pt x="4914888" y="406026"/>
                </a:cubicBezTo>
                <a:cubicBezTo>
                  <a:pt x="4910740" y="407846"/>
                  <a:pt x="4907420" y="408150"/>
                  <a:pt x="4905207" y="407846"/>
                </a:cubicBezTo>
                <a:cubicBezTo>
                  <a:pt x="4902718" y="407442"/>
                  <a:pt x="4901335" y="406430"/>
                  <a:pt x="4901335" y="405419"/>
                </a:cubicBezTo>
                <a:cubicBezTo>
                  <a:pt x="4901058" y="404408"/>
                  <a:pt x="4901889" y="403447"/>
                  <a:pt x="4904067" y="403295"/>
                </a:cubicBezTo>
                <a:close/>
                <a:moveTo>
                  <a:pt x="3285221" y="393685"/>
                </a:moveTo>
                <a:cubicBezTo>
                  <a:pt x="3281071" y="401676"/>
                  <a:pt x="3258945" y="401878"/>
                  <a:pt x="3252860" y="405621"/>
                </a:cubicBezTo>
                <a:cubicBezTo>
                  <a:pt x="3256179" y="395303"/>
                  <a:pt x="3271668" y="396618"/>
                  <a:pt x="3285221" y="393685"/>
                </a:cubicBezTo>
                <a:close/>
                <a:moveTo>
                  <a:pt x="3035610" y="393567"/>
                </a:moveTo>
                <a:cubicBezTo>
                  <a:pt x="3037343" y="393432"/>
                  <a:pt x="3038985" y="394090"/>
                  <a:pt x="3040438" y="396113"/>
                </a:cubicBezTo>
                <a:cubicBezTo>
                  <a:pt x="3032417" y="400260"/>
                  <a:pt x="3026608" y="403901"/>
                  <a:pt x="3026056" y="408656"/>
                </a:cubicBezTo>
                <a:cubicBezTo>
                  <a:pt x="3023843" y="409161"/>
                  <a:pt x="3022183" y="404913"/>
                  <a:pt x="3020246" y="400664"/>
                </a:cubicBezTo>
                <a:cubicBezTo>
                  <a:pt x="3024396" y="401499"/>
                  <a:pt x="3030411" y="393969"/>
                  <a:pt x="3035610" y="393567"/>
                </a:cubicBezTo>
                <a:close/>
                <a:moveTo>
                  <a:pt x="4315241" y="389942"/>
                </a:moveTo>
                <a:cubicBezTo>
                  <a:pt x="4317177" y="392370"/>
                  <a:pt x="4321879" y="392977"/>
                  <a:pt x="4321049" y="397225"/>
                </a:cubicBezTo>
                <a:cubicBezTo>
                  <a:pt x="4320219" y="398743"/>
                  <a:pt x="4319390" y="399451"/>
                  <a:pt x="4318837" y="399451"/>
                </a:cubicBezTo>
                <a:cubicBezTo>
                  <a:pt x="4318008" y="399552"/>
                  <a:pt x="4317454" y="399046"/>
                  <a:pt x="4316624" y="398439"/>
                </a:cubicBezTo>
                <a:cubicBezTo>
                  <a:pt x="4314965" y="397124"/>
                  <a:pt x="4313028" y="395202"/>
                  <a:pt x="4309157" y="395910"/>
                </a:cubicBezTo>
                <a:cubicBezTo>
                  <a:pt x="4311922" y="393988"/>
                  <a:pt x="4314411" y="394292"/>
                  <a:pt x="4315241" y="389942"/>
                </a:cubicBezTo>
                <a:close/>
                <a:moveTo>
                  <a:pt x="4001036" y="373454"/>
                </a:moveTo>
                <a:cubicBezTo>
                  <a:pt x="4005738" y="373960"/>
                  <a:pt x="4002142" y="380232"/>
                  <a:pt x="4006844" y="380839"/>
                </a:cubicBezTo>
                <a:cubicBezTo>
                  <a:pt x="4005184" y="383974"/>
                  <a:pt x="3999653" y="385593"/>
                  <a:pt x="3994396" y="385896"/>
                </a:cubicBezTo>
                <a:cubicBezTo>
                  <a:pt x="3989141" y="386099"/>
                  <a:pt x="3983887" y="384885"/>
                  <a:pt x="3981950" y="382457"/>
                </a:cubicBezTo>
                <a:cubicBezTo>
                  <a:pt x="3985546" y="376186"/>
                  <a:pt x="3997162" y="379726"/>
                  <a:pt x="4001036" y="373454"/>
                </a:cubicBezTo>
                <a:close/>
                <a:moveTo>
                  <a:pt x="2931462" y="370926"/>
                </a:moveTo>
                <a:cubicBezTo>
                  <a:pt x="2933951" y="377298"/>
                  <a:pt x="2924824" y="379422"/>
                  <a:pt x="2918739" y="383064"/>
                </a:cubicBezTo>
                <a:cubicBezTo>
                  <a:pt x="2913760" y="377096"/>
                  <a:pt x="2925376" y="374567"/>
                  <a:pt x="2931462" y="370926"/>
                </a:cubicBezTo>
                <a:close/>
                <a:moveTo>
                  <a:pt x="2988439" y="365767"/>
                </a:moveTo>
                <a:cubicBezTo>
                  <a:pt x="2996461" y="361620"/>
                  <a:pt x="2993141" y="371634"/>
                  <a:pt x="3000886" y="372241"/>
                </a:cubicBezTo>
                <a:cubicBezTo>
                  <a:pt x="3000333" y="376995"/>
                  <a:pt x="2979589" y="374668"/>
                  <a:pt x="2979865" y="381446"/>
                </a:cubicBezTo>
                <a:cubicBezTo>
                  <a:pt x="2975993" y="381142"/>
                  <a:pt x="2973503" y="380636"/>
                  <a:pt x="2971566" y="379220"/>
                </a:cubicBezTo>
                <a:cubicBezTo>
                  <a:pt x="2969907" y="377905"/>
                  <a:pt x="2969077" y="375781"/>
                  <a:pt x="2968802" y="372342"/>
                </a:cubicBezTo>
                <a:cubicBezTo>
                  <a:pt x="2970185" y="369712"/>
                  <a:pt x="2974887" y="368801"/>
                  <a:pt x="2979312" y="367790"/>
                </a:cubicBezTo>
                <a:cubicBezTo>
                  <a:pt x="2979589" y="374668"/>
                  <a:pt x="2993141" y="371634"/>
                  <a:pt x="2988439" y="365767"/>
                </a:cubicBezTo>
                <a:close/>
                <a:moveTo>
                  <a:pt x="4022332" y="364148"/>
                </a:moveTo>
                <a:cubicBezTo>
                  <a:pt x="4023716" y="368903"/>
                  <a:pt x="4034226" y="363036"/>
                  <a:pt x="4032290" y="372139"/>
                </a:cubicBezTo>
                <a:cubicBezTo>
                  <a:pt x="4026482" y="366880"/>
                  <a:pt x="4027312" y="373960"/>
                  <a:pt x="4019843" y="375478"/>
                </a:cubicBezTo>
                <a:cubicBezTo>
                  <a:pt x="4019291" y="373050"/>
                  <a:pt x="4019566" y="371431"/>
                  <a:pt x="4020120" y="369712"/>
                </a:cubicBezTo>
                <a:cubicBezTo>
                  <a:pt x="4020950" y="368093"/>
                  <a:pt x="4021780" y="366374"/>
                  <a:pt x="4022332" y="364148"/>
                </a:cubicBezTo>
                <a:close/>
                <a:moveTo>
                  <a:pt x="3069203" y="361620"/>
                </a:moveTo>
                <a:cubicBezTo>
                  <a:pt x="3062012" y="374668"/>
                  <a:pt x="3035183" y="382862"/>
                  <a:pt x="3018311" y="384278"/>
                </a:cubicBezTo>
                <a:cubicBezTo>
                  <a:pt x="3025778" y="378006"/>
                  <a:pt x="3024120" y="373758"/>
                  <a:pt x="3024672" y="369105"/>
                </a:cubicBezTo>
                <a:cubicBezTo>
                  <a:pt x="3037119" y="368599"/>
                  <a:pt x="3051778" y="367790"/>
                  <a:pt x="3069203" y="361620"/>
                </a:cubicBezTo>
                <a:close/>
                <a:moveTo>
                  <a:pt x="3000609" y="358180"/>
                </a:moveTo>
                <a:cubicBezTo>
                  <a:pt x="3006970" y="361316"/>
                  <a:pt x="3013055" y="357776"/>
                  <a:pt x="3015544" y="364047"/>
                </a:cubicBezTo>
                <a:cubicBezTo>
                  <a:pt x="3014162" y="366576"/>
                  <a:pt x="3009460" y="367588"/>
                  <a:pt x="3010289" y="369611"/>
                </a:cubicBezTo>
                <a:cubicBezTo>
                  <a:pt x="3008077" y="370116"/>
                  <a:pt x="3006970" y="361316"/>
                  <a:pt x="3000609" y="358180"/>
                </a:cubicBezTo>
                <a:close/>
                <a:moveTo>
                  <a:pt x="3091884" y="349987"/>
                </a:moveTo>
                <a:cubicBezTo>
                  <a:pt x="3094097" y="356056"/>
                  <a:pt x="3090225" y="359192"/>
                  <a:pt x="3081650" y="363339"/>
                </a:cubicBezTo>
                <a:cubicBezTo>
                  <a:pt x="3080820" y="361316"/>
                  <a:pt x="3083309" y="360709"/>
                  <a:pt x="3084692" y="358180"/>
                </a:cubicBezTo>
                <a:cubicBezTo>
                  <a:pt x="3081650" y="356663"/>
                  <a:pt x="3081650" y="356663"/>
                  <a:pt x="3077502" y="353123"/>
                </a:cubicBezTo>
                <a:cubicBezTo>
                  <a:pt x="3080820" y="354640"/>
                  <a:pt x="3083033" y="354134"/>
                  <a:pt x="3086352" y="355652"/>
                </a:cubicBezTo>
                <a:cubicBezTo>
                  <a:pt x="3088565" y="355146"/>
                  <a:pt x="3086905" y="351100"/>
                  <a:pt x="3091884" y="349987"/>
                </a:cubicBezTo>
                <a:close/>
                <a:moveTo>
                  <a:pt x="3048736" y="323789"/>
                </a:moveTo>
                <a:cubicBezTo>
                  <a:pt x="3049566" y="325913"/>
                  <a:pt x="3045693" y="329150"/>
                  <a:pt x="3049013" y="330768"/>
                </a:cubicBezTo>
                <a:cubicBezTo>
                  <a:pt x="3043757" y="336534"/>
                  <a:pt x="3039885" y="332791"/>
                  <a:pt x="3036290" y="335927"/>
                </a:cubicBezTo>
                <a:cubicBezTo>
                  <a:pt x="3038779" y="342401"/>
                  <a:pt x="3046247" y="336028"/>
                  <a:pt x="3050672" y="335017"/>
                </a:cubicBezTo>
                <a:cubicBezTo>
                  <a:pt x="3052332" y="339366"/>
                  <a:pt x="3035183" y="345435"/>
                  <a:pt x="3045140" y="345638"/>
                </a:cubicBezTo>
                <a:cubicBezTo>
                  <a:pt x="3041545" y="348773"/>
                  <a:pt x="3022460" y="350594"/>
                  <a:pt x="3032969" y="364654"/>
                </a:cubicBezTo>
                <a:cubicBezTo>
                  <a:pt x="3025503" y="364047"/>
                  <a:pt x="3023843" y="359698"/>
                  <a:pt x="3018864" y="353831"/>
                </a:cubicBezTo>
                <a:cubicBezTo>
                  <a:pt x="3019971" y="344221"/>
                  <a:pt x="3031588" y="348672"/>
                  <a:pt x="3032694" y="339063"/>
                </a:cubicBezTo>
                <a:cubicBezTo>
                  <a:pt x="3028545" y="335219"/>
                  <a:pt x="3024949" y="338355"/>
                  <a:pt x="3022460" y="331982"/>
                </a:cubicBezTo>
                <a:cubicBezTo>
                  <a:pt x="3031311" y="329959"/>
                  <a:pt x="3040438" y="327936"/>
                  <a:pt x="3048736" y="323789"/>
                </a:cubicBezTo>
                <a:close/>
                <a:moveTo>
                  <a:pt x="2996184" y="323485"/>
                </a:moveTo>
                <a:cubicBezTo>
                  <a:pt x="3005311" y="323283"/>
                  <a:pt x="3003099" y="332488"/>
                  <a:pt x="2998120" y="331679"/>
                </a:cubicBezTo>
                <a:cubicBezTo>
                  <a:pt x="2996461" y="331375"/>
                  <a:pt x="2994524" y="329959"/>
                  <a:pt x="2992588" y="326722"/>
                </a:cubicBezTo>
                <a:cubicBezTo>
                  <a:pt x="2994801" y="326216"/>
                  <a:pt x="2996184" y="323485"/>
                  <a:pt x="2996184" y="323485"/>
                </a:cubicBezTo>
                <a:close/>
                <a:moveTo>
                  <a:pt x="3012503" y="313066"/>
                </a:moveTo>
                <a:cubicBezTo>
                  <a:pt x="3016928" y="312055"/>
                  <a:pt x="3019971" y="313775"/>
                  <a:pt x="3021907" y="318023"/>
                </a:cubicBezTo>
                <a:cubicBezTo>
                  <a:pt x="3019417" y="318529"/>
                  <a:pt x="3018035" y="321260"/>
                  <a:pt x="3015821" y="321766"/>
                </a:cubicBezTo>
                <a:cubicBezTo>
                  <a:pt x="3013886" y="319844"/>
                  <a:pt x="3013055" y="318225"/>
                  <a:pt x="3012778" y="316809"/>
                </a:cubicBezTo>
                <a:cubicBezTo>
                  <a:pt x="3012503" y="315393"/>
                  <a:pt x="3012778" y="314179"/>
                  <a:pt x="3012503" y="313066"/>
                </a:cubicBezTo>
                <a:close/>
                <a:moveTo>
                  <a:pt x="2989545" y="311347"/>
                </a:moveTo>
                <a:cubicBezTo>
                  <a:pt x="2991758" y="310841"/>
                  <a:pt x="2995078" y="312460"/>
                  <a:pt x="2995907" y="314685"/>
                </a:cubicBezTo>
                <a:cubicBezTo>
                  <a:pt x="2995354" y="319439"/>
                  <a:pt x="2987333" y="318832"/>
                  <a:pt x="2982355" y="319844"/>
                </a:cubicBezTo>
                <a:cubicBezTo>
                  <a:pt x="2977376" y="313977"/>
                  <a:pt x="2993418" y="315090"/>
                  <a:pt x="2989545" y="311347"/>
                </a:cubicBezTo>
                <a:close/>
                <a:moveTo>
                  <a:pt x="3101012" y="310335"/>
                </a:moveTo>
                <a:cubicBezTo>
                  <a:pt x="3107926" y="315798"/>
                  <a:pt x="3105714" y="316303"/>
                  <a:pt x="3105161" y="321159"/>
                </a:cubicBezTo>
                <a:cubicBezTo>
                  <a:pt x="3090777" y="310335"/>
                  <a:pt x="3073076" y="328138"/>
                  <a:pt x="3075012" y="339467"/>
                </a:cubicBezTo>
                <a:cubicBezTo>
                  <a:pt x="3074458" y="339771"/>
                  <a:pt x="3074183" y="339872"/>
                  <a:pt x="3073629" y="339568"/>
                </a:cubicBezTo>
                <a:cubicBezTo>
                  <a:pt x="3070034" y="338051"/>
                  <a:pt x="3065332" y="324092"/>
                  <a:pt x="3062289" y="332892"/>
                </a:cubicBezTo>
                <a:cubicBezTo>
                  <a:pt x="3060353" y="332791"/>
                  <a:pt x="3060353" y="332184"/>
                  <a:pt x="3060629" y="331476"/>
                </a:cubicBezTo>
                <a:cubicBezTo>
                  <a:pt x="3062012" y="329251"/>
                  <a:pt x="3070587" y="325306"/>
                  <a:pt x="3065885" y="322777"/>
                </a:cubicBezTo>
                <a:cubicBezTo>
                  <a:pt x="3076394" y="318124"/>
                  <a:pt x="3088011" y="315595"/>
                  <a:pt x="3101012" y="310335"/>
                </a:cubicBezTo>
                <a:close/>
                <a:moveTo>
                  <a:pt x="4531811" y="306795"/>
                </a:moveTo>
                <a:cubicBezTo>
                  <a:pt x="4517152" y="320956"/>
                  <a:pt x="4490323" y="311246"/>
                  <a:pt x="4462941" y="317315"/>
                </a:cubicBezTo>
                <a:cubicBezTo>
                  <a:pt x="4479536" y="305480"/>
                  <a:pt x="4507194" y="310841"/>
                  <a:pt x="4531811" y="306795"/>
                </a:cubicBezTo>
                <a:close/>
                <a:moveTo>
                  <a:pt x="2934228" y="304772"/>
                </a:moveTo>
                <a:lnTo>
                  <a:pt x="2929802" y="311752"/>
                </a:lnTo>
                <a:lnTo>
                  <a:pt x="2931462" y="308009"/>
                </a:lnTo>
                <a:cubicBezTo>
                  <a:pt x="2932015" y="305278"/>
                  <a:pt x="2932292" y="302850"/>
                  <a:pt x="2934228" y="304772"/>
                </a:cubicBezTo>
                <a:close/>
                <a:moveTo>
                  <a:pt x="4202670" y="304266"/>
                </a:moveTo>
                <a:cubicBezTo>
                  <a:pt x="4203222" y="313673"/>
                  <a:pt x="4193541" y="314887"/>
                  <a:pt x="4186073" y="316405"/>
                </a:cubicBezTo>
                <a:cubicBezTo>
                  <a:pt x="4187733" y="307301"/>
                  <a:pt x="4192988" y="305480"/>
                  <a:pt x="4202670" y="304266"/>
                </a:cubicBezTo>
                <a:close/>
                <a:moveTo>
                  <a:pt x="4705060" y="299714"/>
                </a:moveTo>
                <a:cubicBezTo>
                  <a:pt x="4711249" y="300397"/>
                  <a:pt x="4718094" y="302294"/>
                  <a:pt x="4725148" y="303052"/>
                </a:cubicBezTo>
                <a:cubicBezTo>
                  <a:pt x="4723211" y="304570"/>
                  <a:pt x="4720169" y="305278"/>
                  <a:pt x="4717126" y="305480"/>
                </a:cubicBezTo>
                <a:cubicBezTo>
                  <a:pt x="4713808" y="305784"/>
                  <a:pt x="4710211" y="305480"/>
                  <a:pt x="4706893" y="305075"/>
                </a:cubicBezTo>
                <a:cubicBezTo>
                  <a:pt x="4699701" y="304367"/>
                  <a:pt x="4692786" y="302951"/>
                  <a:pt x="4688914" y="303659"/>
                </a:cubicBezTo>
                <a:cubicBezTo>
                  <a:pt x="4693339" y="299563"/>
                  <a:pt x="4698871" y="299032"/>
                  <a:pt x="4705060" y="299714"/>
                </a:cubicBezTo>
                <a:close/>
                <a:moveTo>
                  <a:pt x="4590171" y="292533"/>
                </a:moveTo>
                <a:cubicBezTo>
                  <a:pt x="4586022" y="301333"/>
                  <a:pt x="4612299" y="301940"/>
                  <a:pt x="4611193" y="294859"/>
                </a:cubicBezTo>
                <a:cubicBezTo>
                  <a:pt x="4617001" y="302445"/>
                  <a:pt x="4633596" y="304266"/>
                  <a:pt x="4644661" y="296174"/>
                </a:cubicBezTo>
                <a:cubicBezTo>
                  <a:pt x="4646597" y="298703"/>
                  <a:pt x="4648533" y="301232"/>
                  <a:pt x="4653234" y="301737"/>
                </a:cubicBezTo>
                <a:cubicBezTo>
                  <a:pt x="4620044" y="311954"/>
                  <a:pt x="4584916" y="305784"/>
                  <a:pt x="4547854" y="310942"/>
                </a:cubicBezTo>
                <a:cubicBezTo>
                  <a:pt x="4552278" y="299816"/>
                  <a:pt x="4566108" y="303659"/>
                  <a:pt x="4573576" y="302243"/>
                </a:cubicBezTo>
                <a:cubicBezTo>
                  <a:pt x="4571640" y="299714"/>
                  <a:pt x="4569704" y="297186"/>
                  <a:pt x="4570257" y="294960"/>
                </a:cubicBezTo>
                <a:cubicBezTo>
                  <a:pt x="4574407" y="297691"/>
                  <a:pt x="4580767" y="291420"/>
                  <a:pt x="4590171" y="292533"/>
                </a:cubicBezTo>
                <a:close/>
                <a:moveTo>
                  <a:pt x="3040438" y="290712"/>
                </a:moveTo>
                <a:cubicBezTo>
                  <a:pt x="3065055" y="287070"/>
                  <a:pt x="3056757" y="306188"/>
                  <a:pt x="3040992" y="311448"/>
                </a:cubicBezTo>
                <a:cubicBezTo>
                  <a:pt x="3038226" y="312358"/>
                  <a:pt x="3035460" y="312763"/>
                  <a:pt x="3032417" y="312662"/>
                </a:cubicBezTo>
                <a:cubicBezTo>
                  <a:pt x="3029651" y="312662"/>
                  <a:pt x="3026331" y="312055"/>
                  <a:pt x="3023289" y="310639"/>
                </a:cubicBezTo>
                <a:cubicBezTo>
                  <a:pt x="3027715" y="302749"/>
                  <a:pt x="3039331" y="307099"/>
                  <a:pt x="3049289" y="300321"/>
                </a:cubicBezTo>
                <a:cubicBezTo>
                  <a:pt x="3046523" y="294050"/>
                  <a:pt x="3042927" y="297084"/>
                  <a:pt x="3040438" y="290712"/>
                </a:cubicBezTo>
                <a:close/>
                <a:moveTo>
                  <a:pt x="4485897" y="283227"/>
                </a:moveTo>
                <a:cubicBezTo>
                  <a:pt x="4493918" y="279484"/>
                  <a:pt x="4492259" y="288486"/>
                  <a:pt x="4499726" y="287070"/>
                </a:cubicBezTo>
                <a:cubicBezTo>
                  <a:pt x="4486727" y="290813"/>
                  <a:pt x="4473174" y="297388"/>
                  <a:pt x="4460174" y="299209"/>
                </a:cubicBezTo>
                <a:cubicBezTo>
                  <a:pt x="4455749" y="299816"/>
                  <a:pt x="4451601" y="299816"/>
                  <a:pt x="4447451" y="299107"/>
                </a:cubicBezTo>
                <a:cubicBezTo>
                  <a:pt x="4441642" y="298096"/>
                  <a:pt x="4436387" y="295668"/>
                  <a:pt x="4431132" y="291015"/>
                </a:cubicBezTo>
                <a:cubicBezTo>
                  <a:pt x="4451876" y="284137"/>
                  <a:pt x="4473728" y="284238"/>
                  <a:pt x="4489769" y="288284"/>
                </a:cubicBezTo>
                <a:cubicBezTo>
                  <a:pt x="4490323" y="286059"/>
                  <a:pt x="4485067" y="287778"/>
                  <a:pt x="4485897" y="283227"/>
                </a:cubicBezTo>
                <a:close/>
                <a:moveTo>
                  <a:pt x="2984290" y="279750"/>
                </a:moveTo>
                <a:cubicBezTo>
                  <a:pt x="2991136" y="278245"/>
                  <a:pt x="3000332" y="278017"/>
                  <a:pt x="3001992" y="282417"/>
                </a:cubicBezTo>
                <a:cubicBezTo>
                  <a:pt x="2990099" y="289801"/>
                  <a:pt x="2968802" y="292128"/>
                  <a:pt x="2974610" y="300321"/>
                </a:cubicBezTo>
                <a:cubicBezTo>
                  <a:pt x="2974887" y="301434"/>
                  <a:pt x="2971291" y="302951"/>
                  <a:pt x="2966865" y="303558"/>
                </a:cubicBezTo>
                <a:cubicBezTo>
                  <a:pt x="2964652" y="303862"/>
                  <a:pt x="2962440" y="304064"/>
                  <a:pt x="2960504" y="303862"/>
                </a:cubicBezTo>
                <a:cubicBezTo>
                  <a:pt x="2958291" y="303659"/>
                  <a:pt x="2956631" y="303154"/>
                  <a:pt x="2955525" y="302243"/>
                </a:cubicBezTo>
                <a:cubicBezTo>
                  <a:pt x="2956631" y="292431"/>
                  <a:pt x="2971566" y="286767"/>
                  <a:pt x="2980694" y="284744"/>
                </a:cubicBezTo>
                <a:cubicBezTo>
                  <a:pt x="2972950" y="284036"/>
                  <a:pt x="2977444" y="281254"/>
                  <a:pt x="2984290" y="279750"/>
                </a:cubicBezTo>
                <a:close/>
                <a:moveTo>
                  <a:pt x="3113181" y="278978"/>
                </a:moveTo>
                <a:cubicBezTo>
                  <a:pt x="3114010" y="281203"/>
                  <a:pt x="3109585" y="282114"/>
                  <a:pt x="3108203" y="284845"/>
                </a:cubicBezTo>
                <a:cubicBezTo>
                  <a:pt x="3090500" y="291116"/>
                  <a:pt x="3086629" y="294353"/>
                  <a:pt x="3070587" y="297894"/>
                </a:cubicBezTo>
                <a:cubicBezTo>
                  <a:pt x="3069757" y="299310"/>
                  <a:pt x="3068651" y="299411"/>
                  <a:pt x="3067544" y="299107"/>
                </a:cubicBezTo>
                <a:cubicBezTo>
                  <a:pt x="3066437" y="298703"/>
                  <a:pt x="3065607" y="297894"/>
                  <a:pt x="3065055" y="296781"/>
                </a:cubicBezTo>
                <a:cubicBezTo>
                  <a:pt x="3071692" y="288183"/>
                  <a:pt x="3092437" y="283530"/>
                  <a:pt x="3102671" y="283631"/>
                </a:cubicBezTo>
                <a:cubicBezTo>
                  <a:pt x="3107096" y="282620"/>
                  <a:pt x="3110969" y="279484"/>
                  <a:pt x="3113181" y="278978"/>
                </a:cubicBezTo>
                <a:close/>
                <a:moveTo>
                  <a:pt x="4598400" y="277727"/>
                </a:moveTo>
                <a:cubicBezTo>
                  <a:pt x="4604900" y="277284"/>
                  <a:pt x="4611469" y="278017"/>
                  <a:pt x="4614788" y="279585"/>
                </a:cubicBezTo>
                <a:cubicBezTo>
                  <a:pt x="4610086" y="284845"/>
                  <a:pt x="4604278" y="285452"/>
                  <a:pt x="4598746" y="284845"/>
                </a:cubicBezTo>
                <a:cubicBezTo>
                  <a:pt x="4593214" y="284238"/>
                  <a:pt x="4587405" y="282316"/>
                  <a:pt x="4582427" y="282923"/>
                </a:cubicBezTo>
                <a:cubicBezTo>
                  <a:pt x="4585469" y="279788"/>
                  <a:pt x="4591901" y="278169"/>
                  <a:pt x="4598400" y="277727"/>
                </a:cubicBezTo>
                <a:close/>
                <a:moveTo>
                  <a:pt x="4536582" y="275729"/>
                </a:moveTo>
                <a:cubicBezTo>
                  <a:pt x="4538449" y="275337"/>
                  <a:pt x="4540800" y="275590"/>
                  <a:pt x="4543151" y="275842"/>
                </a:cubicBezTo>
                <a:cubicBezTo>
                  <a:pt x="4539832" y="280192"/>
                  <a:pt x="4538726" y="287171"/>
                  <a:pt x="4548406" y="285856"/>
                </a:cubicBezTo>
                <a:cubicBezTo>
                  <a:pt x="4547576" y="287576"/>
                  <a:pt x="4546194" y="288284"/>
                  <a:pt x="4544811" y="288486"/>
                </a:cubicBezTo>
                <a:cubicBezTo>
                  <a:pt x="4543704" y="288689"/>
                  <a:pt x="4542321" y="288486"/>
                  <a:pt x="4540939" y="287981"/>
                </a:cubicBezTo>
                <a:cubicBezTo>
                  <a:pt x="4537896" y="287171"/>
                  <a:pt x="4535406" y="285654"/>
                  <a:pt x="4534024" y="286666"/>
                </a:cubicBezTo>
                <a:cubicBezTo>
                  <a:pt x="4534300" y="284339"/>
                  <a:pt x="4535406" y="279686"/>
                  <a:pt x="4532917" y="279484"/>
                </a:cubicBezTo>
                <a:cubicBezTo>
                  <a:pt x="4533333" y="277158"/>
                  <a:pt x="4534715" y="276121"/>
                  <a:pt x="4536582" y="275729"/>
                </a:cubicBezTo>
                <a:close/>
                <a:moveTo>
                  <a:pt x="3145819" y="267346"/>
                </a:moveTo>
                <a:cubicBezTo>
                  <a:pt x="3146925" y="276652"/>
                  <a:pt x="3121756" y="270380"/>
                  <a:pt x="3134479" y="277157"/>
                </a:cubicBezTo>
                <a:cubicBezTo>
                  <a:pt x="3135584" y="278169"/>
                  <a:pt x="3135584" y="278472"/>
                  <a:pt x="3135309" y="278472"/>
                </a:cubicBezTo>
                <a:cubicBezTo>
                  <a:pt x="3135032" y="278574"/>
                  <a:pt x="3134203" y="278270"/>
                  <a:pt x="3133095" y="277764"/>
                </a:cubicBezTo>
                <a:cubicBezTo>
                  <a:pt x="3131160" y="276652"/>
                  <a:pt x="3128394" y="274831"/>
                  <a:pt x="3128117" y="273718"/>
                </a:cubicBezTo>
                <a:cubicBezTo>
                  <a:pt x="3133095" y="267750"/>
                  <a:pt x="3138905" y="268863"/>
                  <a:pt x="3145819" y="267346"/>
                </a:cubicBezTo>
                <a:close/>
                <a:moveTo>
                  <a:pt x="3032140" y="264513"/>
                </a:moveTo>
                <a:cubicBezTo>
                  <a:pt x="3034630" y="270987"/>
                  <a:pt x="3022460" y="271291"/>
                  <a:pt x="3025226" y="277764"/>
                </a:cubicBezTo>
                <a:cubicBezTo>
                  <a:pt x="3022737" y="278270"/>
                  <a:pt x="3026608" y="275134"/>
                  <a:pt x="3023289" y="273415"/>
                </a:cubicBezTo>
                <a:cubicBezTo>
                  <a:pt x="3011950" y="275944"/>
                  <a:pt x="3020523" y="278776"/>
                  <a:pt x="3019971" y="283530"/>
                </a:cubicBezTo>
                <a:cubicBezTo>
                  <a:pt x="3016375" y="286666"/>
                  <a:pt x="3014162" y="287171"/>
                  <a:pt x="3009460" y="288183"/>
                </a:cubicBezTo>
                <a:cubicBezTo>
                  <a:pt x="3007800" y="283935"/>
                  <a:pt x="3010289" y="283429"/>
                  <a:pt x="3013886" y="280293"/>
                </a:cubicBezTo>
                <a:cubicBezTo>
                  <a:pt x="3011120" y="273819"/>
                  <a:pt x="3004758" y="282215"/>
                  <a:pt x="3002268" y="275741"/>
                </a:cubicBezTo>
                <a:cubicBezTo>
                  <a:pt x="3014992" y="270684"/>
                  <a:pt x="3018588" y="267548"/>
                  <a:pt x="3032140" y="264513"/>
                </a:cubicBezTo>
                <a:close/>
                <a:moveTo>
                  <a:pt x="3168222" y="262086"/>
                </a:moveTo>
                <a:cubicBezTo>
                  <a:pt x="3166840" y="264716"/>
                  <a:pt x="3165456" y="267447"/>
                  <a:pt x="3161031" y="268357"/>
                </a:cubicBezTo>
                <a:cubicBezTo>
                  <a:pt x="3160201" y="266233"/>
                  <a:pt x="3157160" y="264513"/>
                  <a:pt x="3154947" y="265019"/>
                </a:cubicBezTo>
                <a:cubicBezTo>
                  <a:pt x="3154394" y="257938"/>
                  <a:pt x="3162415" y="265727"/>
                  <a:pt x="3168222" y="262086"/>
                </a:cubicBezTo>
                <a:close/>
                <a:moveTo>
                  <a:pt x="3205009" y="246369"/>
                </a:moveTo>
                <a:cubicBezTo>
                  <a:pt x="3208398" y="244713"/>
                  <a:pt x="3212063" y="244485"/>
                  <a:pt x="3219116" y="246508"/>
                </a:cubicBezTo>
                <a:cubicBezTo>
                  <a:pt x="3216350" y="251970"/>
                  <a:pt x="3200031" y="248430"/>
                  <a:pt x="3192562" y="254803"/>
                </a:cubicBezTo>
                <a:cubicBezTo>
                  <a:pt x="3198509" y="251111"/>
                  <a:pt x="3201621" y="248026"/>
                  <a:pt x="3205009" y="246369"/>
                </a:cubicBezTo>
                <a:close/>
                <a:moveTo>
                  <a:pt x="2888866" y="239731"/>
                </a:moveTo>
                <a:cubicBezTo>
                  <a:pt x="2888037" y="244384"/>
                  <a:pt x="2884995" y="249644"/>
                  <a:pt x="2876144" y="253791"/>
                </a:cubicBezTo>
                <a:cubicBezTo>
                  <a:pt x="2882506" y="250150"/>
                  <a:pt x="2883059" y="238719"/>
                  <a:pt x="2888866" y="239731"/>
                </a:cubicBezTo>
                <a:close/>
                <a:moveTo>
                  <a:pt x="4448004" y="231538"/>
                </a:moveTo>
                <a:cubicBezTo>
                  <a:pt x="4452706" y="232043"/>
                  <a:pt x="4451876" y="236595"/>
                  <a:pt x="4451047" y="241046"/>
                </a:cubicBezTo>
                <a:cubicBezTo>
                  <a:pt x="4448557" y="240743"/>
                  <a:pt x="4444962" y="235786"/>
                  <a:pt x="4444132" y="240237"/>
                </a:cubicBezTo>
                <a:cubicBezTo>
                  <a:pt x="4442472" y="239428"/>
                  <a:pt x="4441919" y="238618"/>
                  <a:pt x="4441919" y="237910"/>
                </a:cubicBezTo>
                <a:cubicBezTo>
                  <a:pt x="4441919" y="235584"/>
                  <a:pt x="4447727" y="233257"/>
                  <a:pt x="4448004" y="231538"/>
                </a:cubicBezTo>
                <a:close/>
                <a:moveTo>
                  <a:pt x="2901901" y="230273"/>
                </a:moveTo>
                <a:cubicBezTo>
                  <a:pt x="2903526" y="229616"/>
                  <a:pt x="2904909" y="229919"/>
                  <a:pt x="2906291" y="233257"/>
                </a:cubicBezTo>
                <a:cubicBezTo>
                  <a:pt x="2903803" y="233763"/>
                  <a:pt x="2903803" y="233763"/>
                  <a:pt x="2901590" y="234269"/>
                </a:cubicBezTo>
                <a:cubicBezTo>
                  <a:pt x="2902420" y="236494"/>
                  <a:pt x="2902420" y="236494"/>
                  <a:pt x="2904633" y="235988"/>
                </a:cubicBezTo>
                <a:cubicBezTo>
                  <a:pt x="2906569" y="240338"/>
                  <a:pt x="2902420" y="236494"/>
                  <a:pt x="2898824" y="239731"/>
                </a:cubicBezTo>
                <a:cubicBezTo>
                  <a:pt x="2897994" y="237506"/>
                  <a:pt x="2896888" y="235280"/>
                  <a:pt x="2896058" y="233055"/>
                </a:cubicBezTo>
                <a:cubicBezTo>
                  <a:pt x="2898409" y="232549"/>
                  <a:pt x="2900276" y="230931"/>
                  <a:pt x="2901901" y="230273"/>
                </a:cubicBezTo>
                <a:close/>
                <a:moveTo>
                  <a:pt x="4492915" y="224925"/>
                </a:moveTo>
                <a:cubicBezTo>
                  <a:pt x="4497514" y="224002"/>
                  <a:pt x="4501663" y="223901"/>
                  <a:pt x="4501939" y="228503"/>
                </a:cubicBezTo>
                <a:cubicBezTo>
                  <a:pt x="4492259" y="229717"/>
                  <a:pt x="4484791" y="231133"/>
                  <a:pt x="4481748" y="235280"/>
                </a:cubicBezTo>
                <a:cubicBezTo>
                  <a:pt x="4479259" y="234977"/>
                  <a:pt x="4480365" y="230627"/>
                  <a:pt x="4481195" y="226278"/>
                </a:cubicBezTo>
                <a:cubicBezTo>
                  <a:pt x="4483270" y="227593"/>
                  <a:pt x="4488318" y="225848"/>
                  <a:pt x="4492915" y="224925"/>
                </a:cubicBezTo>
                <a:close/>
                <a:moveTo>
                  <a:pt x="4560023" y="201192"/>
                </a:moveTo>
                <a:cubicBezTo>
                  <a:pt x="4561959" y="203518"/>
                  <a:pt x="4564449" y="203721"/>
                  <a:pt x="4566661" y="206148"/>
                </a:cubicBezTo>
                <a:cubicBezTo>
                  <a:pt x="4569150" y="206351"/>
                  <a:pt x="4569980" y="202203"/>
                  <a:pt x="4574682" y="202709"/>
                </a:cubicBezTo>
                <a:cubicBezTo>
                  <a:pt x="4573576" y="208981"/>
                  <a:pt x="4568044" y="210498"/>
                  <a:pt x="4557810" y="211611"/>
                </a:cubicBezTo>
                <a:cubicBezTo>
                  <a:pt x="4558363" y="209486"/>
                  <a:pt x="4560853" y="209790"/>
                  <a:pt x="4563620" y="207969"/>
                </a:cubicBezTo>
                <a:cubicBezTo>
                  <a:pt x="4561684" y="205643"/>
                  <a:pt x="4561684" y="205643"/>
                  <a:pt x="4560023" y="201192"/>
                </a:cubicBezTo>
                <a:close/>
                <a:moveTo>
                  <a:pt x="4503045" y="198967"/>
                </a:moveTo>
                <a:cubicBezTo>
                  <a:pt x="4514386" y="202406"/>
                  <a:pt x="4528216" y="206250"/>
                  <a:pt x="4547576" y="206148"/>
                </a:cubicBezTo>
                <a:cubicBezTo>
                  <a:pt x="4540662" y="210903"/>
                  <a:pt x="4529875" y="213128"/>
                  <a:pt x="4519089" y="213634"/>
                </a:cubicBezTo>
                <a:cubicBezTo>
                  <a:pt x="4508025" y="214038"/>
                  <a:pt x="4496684" y="212824"/>
                  <a:pt x="4488663" y="210801"/>
                </a:cubicBezTo>
                <a:cubicBezTo>
                  <a:pt x="4498897" y="207463"/>
                  <a:pt x="4500003" y="203013"/>
                  <a:pt x="4503045" y="198967"/>
                </a:cubicBezTo>
                <a:close/>
                <a:moveTo>
                  <a:pt x="2985120" y="194920"/>
                </a:moveTo>
                <a:cubicBezTo>
                  <a:pt x="2983461" y="209486"/>
                  <a:pt x="2948056" y="207868"/>
                  <a:pt x="2949717" y="223951"/>
                </a:cubicBezTo>
                <a:cubicBezTo>
                  <a:pt x="2936994" y="225064"/>
                  <a:pt x="2931185" y="232448"/>
                  <a:pt x="2920952" y="233965"/>
                </a:cubicBezTo>
                <a:cubicBezTo>
                  <a:pt x="2917356" y="234471"/>
                  <a:pt x="2913484" y="234269"/>
                  <a:pt x="2908504" y="233055"/>
                </a:cubicBezTo>
                <a:cubicBezTo>
                  <a:pt x="2906569" y="231133"/>
                  <a:pt x="2906015" y="230020"/>
                  <a:pt x="2906569" y="229616"/>
                </a:cubicBezTo>
                <a:cubicBezTo>
                  <a:pt x="2907122" y="229211"/>
                  <a:pt x="2908504" y="229616"/>
                  <a:pt x="2909888" y="230425"/>
                </a:cubicBezTo>
                <a:cubicBezTo>
                  <a:pt x="2936441" y="222232"/>
                  <a:pt x="2951929" y="204631"/>
                  <a:pt x="2985120" y="194920"/>
                </a:cubicBezTo>
                <a:close/>
                <a:moveTo>
                  <a:pt x="4462663" y="183591"/>
                </a:moveTo>
                <a:cubicBezTo>
                  <a:pt x="4459068" y="189863"/>
                  <a:pt x="4473174" y="191380"/>
                  <a:pt x="4472067" y="184502"/>
                </a:cubicBezTo>
                <a:cubicBezTo>
                  <a:pt x="4481748" y="183389"/>
                  <a:pt x="4473174" y="191380"/>
                  <a:pt x="4479536" y="194314"/>
                </a:cubicBezTo>
                <a:cubicBezTo>
                  <a:pt x="4476493" y="198461"/>
                  <a:pt x="4459068" y="189762"/>
                  <a:pt x="4455472" y="196134"/>
                </a:cubicBezTo>
                <a:cubicBezTo>
                  <a:pt x="4452153" y="194617"/>
                  <a:pt x="4449940" y="193302"/>
                  <a:pt x="4449111" y="191582"/>
                </a:cubicBezTo>
                <a:cubicBezTo>
                  <a:pt x="4448281" y="189762"/>
                  <a:pt x="4448834" y="187638"/>
                  <a:pt x="4450493" y="184502"/>
                </a:cubicBezTo>
                <a:cubicBezTo>
                  <a:pt x="4453259" y="182479"/>
                  <a:pt x="4457962" y="183086"/>
                  <a:pt x="4462663" y="183591"/>
                </a:cubicBezTo>
                <a:close/>
                <a:moveTo>
                  <a:pt x="4487556" y="181568"/>
                </a:moveTo>
                <a:cubicBezTo>
                  <a:pt x="4491430" y="186323"/>
                  <a:pt x="4499174" y="185008"/>
                  <a:pt x="4497790" y="191481"/>
                </a:cubicBezTo>
                <a:cubicBezTo>
                  <a:pt x="4495024" y="193302"/>
                  <a:pt x="4490046" y="192897"/>
                  <a:pt x="4489769" y="195022"/>
                </a:cubicBezTo>
                <a:cubicBezTo>
                  <a:pt x="4487280" y="194819"/>
                  <a:pt x="4491430" y="186323"/>
                  <a:pt x="4487556" y="181568"/>
                </a:cubicBezTo>
                <a:close/>
                <a:moveTo>
                  <a:pt x="4417304" y="171352"/>
                </a:moveTo>
                <a:cubicBezTo>
                  <a:pt x="4416197" y="178028"/>
                  <a:pt x="4406516" y="177017"/>
                  <a:pt x="4399049" y="178433"/>
                </a:cubicBezTo>
                <a:cubicBezTo>
                  <a:pt x="4397941" y="171554"/>
                  <a:pt x="4409835" y="172768"/>
                  <a:pt x="4417304" y="171352"/>
                </a:cubicBezTo>
                <a:close/>
                <a:moveTo>
                  <a:pt x="4605660" y="169734"/>
                </a:moveTo>
                <a:cubicBezTo>
                  <a:pt x="4608979" y="176814"/>
                  <a:pt x="4606490" y="176612"/>
                  <a:pt x="4603171" y="180759"/>
                </a:cubicBezTo>
                <a:cubicBezTo>
                  <a:pt x="4596533" y="166396"/>
                  <a:pt x="4570257" y="177118"/>
                  <a:pt x="4565556" y="187941"/>
                </a:cubicBezTo>
                <a:cubicBezTo>
                  <a:pt x="4560300" y="189661"/>
                  <a:pt x="4566938" y="169936"/>
                  <a:pt x="4557810" y="178028"/>
                </a:cubicBezTo>
                <a:cubicBezTo>
                  <a:pt x="4556151" y="177320"/>
                  <a:pt x="4556151" y="176713"/>
                  <a:pt x="4556981" y="176207"/>
                </a:cubicBezTo>
                <a:cubicBezTo>
                  <a:pt x="4559470" y="174690"/>
                  <a:pt x="4569704" y="173577"/>
                  <a:pt x="4566661" y="169835"/>
                </a:cubicBezTo>
                <a:cubicBezTo>
                  <a:pt x="4579108" y="168924"/>
                  <a:pt x="4591001" y="170340"/>
                  <a:pt x="4605660" y="169734"/>
                </a:cubicBezTo>
                <a:close/>
                <a:moveTo>
                  <a:pt x="2984013" y="167205"/>
                </a:moveTo>
                <a:cubicBezTo>
                  <a:pt x="2985120" y="176207"/>
                  <a:pt x="2959120" y="179646"/>
                  <a:pt x="2967419" y="194111"/>
                </a:cubicBezTo>
                <a:cubicBezTo>
                  <a:pt x="2960504" y="195629"/>
                  <a:pt x="2956908" y="198764"/>
                  <a:pt x="2952206" y="199776"/>
                </a:cubicBezTo>
                <a:cubicBezTo>
                  <a:pt x="2945845" y="196539"/>
                  <a:pt x="2955249" y="194516"/>
                  <a:pt x="2956631" y="191886"/>
                </a:cubicBezTo>
                <a:cubicBezTo>
                  <a:pt x="2949440" y="186424"/>
                  <a:pt x="2937824" y="200585"/>
                  <a:pt x="2928973" y="197854"/>
                </a:cubicBezTo>
                <a:cubicBezTo>
                  <a:pt x="2948333" y="214544"/>
                  <a:pt x="2909335" y="204631"/>
                  <a:pt x="2910718" y="220613"/>
                </a:cubicBezTo>
                <a:cubicBezTo>
                  <a:pt x="2906015" y="214645"/>
                  <a:pt x="2910440" y="213634"/>
                  <a:pt x="2904909" y="212521"/>
                </a:cubicBezTo>
                <a:cubicBezTo>
                  <a:pt x="2904356" y="217275"/>
                  <a:pt x="2889973" y="218186"/>
                  <a:pt x="2894675" y="224052"/>
                </a:cubicBezTo>
                <a:cubicBezTo>
                  <a:pt x="2892463" y="224558"/>
                  <a:pt x="2890803" y="220310"/>
                  <a:pt x="2887484" y="218691"/>
                </a:cubicBezTo>
                <a:cubicBezTo>
                  <a:pt x="2881676" y="222333"/>
                  <a:pt x="2886378" y="228200"/>
                  <a:pt x="2885825" y="233055"/>
                </a:cubicBezTo>
                <a:cubicBezTo>
                  <a:pt x="2878080" y="232448"/>
                  <a:pt x="2883612" y="214949"/>
                  <a:pt x="2870059" y="224862"/>
                </a:cubicBezTo>
                <a:cubicBezTo>
                  <a:pt x="2868399" y="220613"/>
                  <a:pt x="2870611" y="220107"/>
                  <a:pt x="2868953" y="215859"/>
                </a:cubicBezTo>
                <a:cubicBezTo>
                  <a:pt x="2908504" y="202507"/>
                  <a:pt x="2941696" y="185817"/>
                  <a:pt x="2984013" y="167205"/>
                </a:cubicBezTo>
                <a:close/>
                <a:moveTo>
                  <a:pt x="4522130" y="164676"/>
                </a:moveTo>
                <a:cubicBezTo>
                  <a:pt x="4531534" y="165687"/>
                  <a:pt x="4540662" y="166598"/>
                  <a:pt x="4550619" y="165384"/>
                </a:cubicBezTo>
                <a:cubicBezTo>
                  <a:pt x="4550066" y="167609"/>
                  <a:pt x="4545087" y="169329"/>
                  <a:pt x="4546747" y="171858"/>
                </a:cubicBezTo>
                <a:cubicBezTo>
                  <a:pt x="4539003" y="175499"/>
                  <a:pt x="4537619" y="170846"/>
                  <a:pt x="4532364" y="172465"/>
                </a:cubicBezTo>
                <a:cubicBezTo>
                  <a:pt x="4531258" y="179141"/>
                  <a:pt x="4541215" y="175803"/>
                  <a:pt x="4545918" y="176308"/>
                </a:cubicBezTo>
                <a:cubicBezTo>
                  <a:pt x="4545087" y="180759"/>
                  <a:pt x="4526003" y="180961"/>
                  <a:pt x="4534853" y="184198"/>
                </a:cubicBezTo>
                <a:cubicBezTo>
                  <a:pt x="4529875" y="185817"/>
                  <a:pt x="4511620" y="181568"/>
                  <a:pt x="4513004" y="197550"/>
                </a:cubicBezTo>
                <a:cubicBezTo>
                  <a:pt x="4506641" y="194617"/>
                  <a:pt x="4507471" y="190166"/>
                  <a:pt x="4506641" y="183288"/>
                </a:cubicBezTo>
                <a:cubicBezTo>
                  <a:pt x="4513004" y="174892"/>
                  <a:pt x="4521024" y="182580"/>
                  <a:pt x="4527385" y="174285"/>
                </a:cubicBezTo>
                <a:cubicBezTo>
                  <a:pt x="4526003" y="169531"/>
                  <a:pt x="4520747" y="171251"/>
                  <a:pt x="4522130" y="164676"/>
                </a:cubicBezTo>
                <a:close/>
                <a:moveTo>
                  <a:pt x="3017205" y="152234"/>
                </a:moveTo>
                <a:cubicBezTo>
                  <a:pt x="3021630" y="158303"/>
                  <a:pt x="3010289" y="167710"/>
                  <a:pt x="3001438" y="166901"/>
                </a:cubicBezTo>
                <a:cubicBezTo>
                  <a:pt x="2998397" y="166598"/>
                  <a:pt x="2995631" y="165081"/>
                  <a:pt x="2993695" y="162046"/>
                </a:cubicBezTo>
                <a:cubicBezTo>
                  <a:pt x="3006141" y="161641"/>
                  <a:pt x="3006693" y="156887"/>
                  <a:pt x="3017205" y="152234"/>
                </a:cubicBezTo>
                <a:close/>
                <a:moveTo>
                  <a:pt x="4503322" y="148694"/>
                </a:moveTo>
                <a:cubicBezTo>
                  <a:pt x="4509407" y="150717"/>
                  <a:pt x="4506918" y="155471"/>
                  <a:pt x="4503599" y="156786"/>
                </a:cubicBezTo>
                <a:cubicBezTo>
                  <a:pt x="4502492" y="157191"/>
                  <a:pt x="4501386" y="157292"/>
                  <a:pt x="4500281" y="156685"/>
                </a:cubicBezTo>
                <a:cubicBezTo>
                  <a:pt x="4498897" y="155876"/>
                  <a:pt x="4498067" y="153954"/>
                  <a:pt x="4498067" y="150413"/>
                </a:cubicBezTo>
                <a:cubicBezTo>
                  <a:pt x="4500281" y="150717"/>
                  <a:pt x="4503322" y="148694"/>
                  <a:pt x="4503322" y="148694"/>
                </a:cubicBezTo>
                <a:close/>
                <a:moveTo>
                  <a:pt x="4736420" y="144408"/>
                </a:moveTo>
                <a:cubicBezTo>
                  <a:pt x="4740429" y="143991"/>
                  <a:pt x="4743817" y="144951"/>
                  <a:pt x="4748934" y="148997"/>
                </a:cubicBezTo>
                <a:cubicBezTo>
                  <a:pt x="4747551" y="150009"/>
                  <a:pt x="4745891" y="150211"/>
                  <a:pt x="4743679" y="150009"/>
                </a:cubicBezTo>
                <a:cubicBezTo>
                  <a:pt x="4737041" y="149604"/>
                  <a:pt x="4727913" y="145558"/>
                  <a:pt x="4720169" y="148087"/>
                </a:cubicBezTo>
                <a:cubicBezTo>
                  <a:pt x="4727775" y="146621"/>
                  <a:pt x="4732408" y="144825"/>
                  <a:pt x="4736420" y="144408"/>
                </a:cubicBezTo>
                <a:close/>
                <a:moveTo>
                  <a:pt x="4685804" y="144408"/>
                </a:moveTo>
                <a:cubicBezTo>
                  <a:pt x="4687877" y="145811"/>
                  <a:pt x="4690435" y="147834"/>
                  <a:pt x="4694170" y="147075"/>
                </a:cubicBezTo>
                <a:cubicBezTo>
                  <a:pt x="4691403" y="149098"/>
                  <a:pt x="4688637" y="151020"/>
                  <a:pt x="4683935" y="150515"/>
                </a:cubicBezTo>
                <a:cubicBezTo>
                  <a:pt x="4684489" y="148289"/>
                  <a:pt x="4682552" y="145760"/>
                  <a:pt x="4680340" y="145457"/>
                </a:cubicBezTo>
                <a:cubicBezTo>
                  <a:pt x="4682138" y="142220"/>
                  <a:pt x="4683728" y="143004"/>
                  <a:pt x="4685804" y="144408"/>
                </a:cubicBezTo>
                <a:close/>
                <a:moveTo>
                  <a:pt x="4523791" y="144344"/>
                </a:moveTo>
                <a:cubicBezTo>
                  <a:pt x="4528492" y="144850"/>
                  <a:pt x="4530428" y="147379"/>
                  <a:pt x="4529598" y="151830"/>
                </a:cubicBezTo>
                <a:cubicBezTo>
                  <a:pt x="4527109" y="151526"/>
                  <a:pt x="4524343" y="153549"/>
                  <a:pt x="4521855" y="153246"/>
                </a:cubicBezTo>
                <a:cubicBezTo>
                  <a:pt x="4521301" y="150919"/>
                  <a:pt x="4521577" y="149200"/>
                  <a:pt x="4522130" y="147783"/>
                </a:cubicBezTo>
                <a:cubicBezTo>
                  <a:pt x="4522683" y="146468"/>
                  <a:pt x="4523513" y="145457"/>
                  <a:pt x="4523791" y="144344"/>
                </a:cubicBezTo>
                <a:close/>
                <a:moveTo>
                  <a:pt x="4661152" y="143207"/>
                </a:moveTo>
                <a:cubicBezTo>
                  <a:pt x="4664159" y="143536"/>
                  <a:pt x="4667063" y="144446"/>
                  <a:pt x="4670660" y="144850"/>
                </a:cubicBezTo>
                <a:cubicBezTo>
                  <a:pt x="4666510" y="153650"/>
                  <a:pt x="4647149" y="139894"/>
                  <a:pt x="4654894" y="150009"/>
                </a:cubicBezTo>
                <a:cubicBezTo>
                  <a:pt x="4655170" y="151223"/>
                  <a:pt x="4655170" y="151728"/>
                  <a:pt x="4654894" y="151627"/>
                </a:cubicBezTo>
                <a:cubicBezTo>
                  <a:pt x="4654617" y="151526"/>
                  <a:pt x="4654064" y="150919"/>
                  <a:pt x="4653234" y="150110"/>
                </a:cubicBezTo>
                <a:cubicBezTo>
                  <a:pt x="4652127" y="148593"/>
                  <a:pt x="4650745" y="146165"/>
                  <a:pt x="4651021" y="145052"/>
                </a:cubicBezTo>
                <a:cubicBezTo>
                  <a:pt x="4655032" y="143131"/>
                  <a:pt x="4658144" y="142878"/>
                  <a:pt x="4661152" y="143207"/>
                </a:cubicBezTo>
                <a:close/>
                <a:moveTo>
                  <a:pt x="4602134" y="142638"/>
                </a:moveTo>
                <a:cubicBezTo>
                  <a:pt x="4610017" y="142903"/>
                  <a:pt x="4617692" y="144294"/>
                  <a:pt x="4622256" y="145963"/>
                </a:cubicBezTo>
                <a:cubicBezTo>
                  <a:pt x="4626959" y="146468"/>
                  <a:pt x="4632213" y="144850"/>
                  <a:pt x="4634703" y="145154"/>
                </a:cubicBezTo>
                <a:cubicBezTo>
                  <a:pt x="4634149" y="147379"/>
                  <a:pt x="4629447" y="146772"/>
                  <a:pt x="4626405" y="148795"/>
                </a:cubicBezTo>
                <a:cubicBezTo>
                  <a:pt x="4616724" y="148896"/>
                  <a:pt x="4610639" y="149402"/>
                  <a:pt x="4604832" y="149604"/>
                </a:cubicBezTo>
                <a:cubicBezTo>
                  <a:pt x="4601788" y="149705"/>
                  <a:pt x="4599022" y="149807"/>
                  <a:pt x="4595981" y="149705"/>
                </a:cubicBezTo>
                <a:cubicBezTo>
                  <a:pt x="4592661" y="149604"/>
                  <a:pt x="4589342" y="149301"/>
                  <a:pt x="4585194" y="148795"/>
                </a:cubicBezTo>
                <a:cubicBezTo>
                  <a:pt x="4582427" y="150818"/>
                  <a:pt x="4580215" y="148289"/>
                  <a:pt x="4580767" y="146064"/>
                </a:cubicBezTo>
                <a:cubicBezTo>
                  <a:pt x="4586161" y="143232"/>
                  <a:pt x="4594251" y="142372"/>
                  <a:pt x="4602134" y="142638"/>
                </a:cubicBezTo>
                <a:close/>
                <a:moveTo>
                  <a:pt x="4503875" y="135544"/>
                </a:moveTo>
                <a:cubicBezTo>
                  <a:pt x="4506365" y="135847"/>
                  <a:pt x="4508301" y="138275"/>
                  <a:pt x="4508025" y="140500"/>
                </a:cubicBezTo>
                <a:cubicBezTo>
                  <a:pt x="4506365" y="142625"/>
                  <a:pt x="4503875" y="143029"/>
                  <a:pt x="4501110" y="142625"/>
                </a:cubicBezTo>
                <a:cubicBezTo>
                  <a:pt x="4498343" y="142321"/>
                  <a:pt x="4495302" y="141411"/>
                  <a:pt x="4492812" y="141107"/>
                </a:cubicBezTo>
                <a:cubicBezTo>
                  <a:pt x="4491705" y="134229"/>
                  <a:pt x="4505535" y="140298"/>
                  <a:pt x="4503875" y="135544"/>
                </a:cubicBezTo>
                <a:close/>
                <a:moveTo>
                  <a:pt x="4561959" y="132914"/>
                </a:moveTo>
                <a:cubicBezTo>
                  <a:pt x="4586299" y="137365"/>
                  <a:pt x="4568044" y="152032"/>
                  <a:pt x="4550619" y="151830"/>
                </a:cubicBezTo>
                <a:cubicBezTo>
                  <a:pt x="4544811" y="151728"/>
                  <a:pt x="4539003" y="149908"/>
                  <a:pt x="4535131" y="145558"/>
                </a:cubicBezTo>
                <a:cubicBezTo>
                  <a:pt x="4543428" y="139792"/>
                  <a:pt x="4551726" y="147480"/>
                  <a:pt x="4564449" y="144445"/>
                </a:cubicBezTo>
                <a:cubicBezTo>
                  <a:pt x="4565831" y="137871"/>
                  <a:pt x="4560577" y="139489"/>
                  <a:pt x="4561959" y="132914"/>
                </a:cubicBezTo>
                <a:close/>
                <a:moveTo>
                  <a:pt x="3121064" y="130702"/>
                </a:moveTo>
                <a:cubicBezTo>
                  <a:pt x="3126250" y="129829"/>
                  <a:pt x="3131436" y="130436"/>
                  <a:pt x="3133926" y="133420"/>
                </a:cubicBezTo>
                <a:cubicBezTo>
                  <a:pt x="3126181" y="132813"/>
                  <a:pt x="3123969" y="133218"/>
                  <a:pt x="3116501" y="139590"/>
                </a:cubicBezTo>
                <a:cubicBezTo>
                  <a:pt x="3114841" y="135241"/>
                  <a:pt x="3110415" y="136353"/>
                  <a:pt x="3108203" y="136859"/>
                </a:cubicBezTo>
                <a:cubicBezTo>
                  <a:pt x="3110692" y="133926"/>
                  <a:pt x="3115878" y="131574"/>
                  <a:pt x="3121064" y="130702"/>
                </a:cubicBezTo>
                <a:close/>
                <a:moveTo>
                  <a:pt x="3171542" y="113695"/>
                </a:moveTo>
                <a:cubicBezTo>
                  <a:pt x="3173202" y="118045"/>
                  <a:pt x="3169329" y="121180"/>
                  <a:pt x="3164627" y="122192"/>
                </a:cubicBezTo>
                <a:cubicBezTo>
                  <a:pt x="3159649" y="116224"/>
                  <a:pt x="3168222" y="112077"/>
                  <a:pt x="3171542" y="113695"/>
                </a:cubicBezTo>
                <a:close/>
                <a:moveTo>
                  <a:pt x="3147202" y="109750"/>
                </a:moveTo>
                <a:cubicBezTo>
                  <a:pt x="3133926" y="126643"/>
                  <a:pt x="3096310" y="132611"/>
                  <a:pt x="3079714" y="140905"/>
                </a:cubicBezTo>
                <a:cubicBezTo>
                  <a:pt x="3075842" y="145255"/>
                  <a:pt x="3079160" y="153347"/>
                  <a:pt x="3075012" y="155471"/>
                </a:cubicBezTo>
                <a:cubicBezTo>
                  <a:pt x="3073629" y="156179"/>
                  <a:pt x="3071417" y="156179"/>
                  <a:pt x="3067821" y="155168"/>
                </a:cubicBezTo>
                <a:cubicBezTo>
                  <a:pt x="3066161" y="150919"/>
                  <a:pt x="3069480" y="152538"/>
                  <a:pt x="3069480" y="152538"/>
                </a:cubicBezTo>
                <a:cubicBezTo>
                  <a:pt x="3077777" y="148390"/>
                  <a:pt x="3062012" y="140096"/>
                  <a:pt x="3058693" y="138477"/>
                </a:cubicBezTo>
                <a:cubicBezTo>
                  <a:pt x="3086076" y="144142"/>
                  <a:pt x="3116501" y="114201"/>
                  <a:pt x="3147202" y="109750"/>
                </a:cubicBezTo>
                <a:close/>
                <a:moveTo>
                  <a:pt x="4552762" y="106134"/>
                </a:moveTo>
                <a:cubicBezTo>
                  <a:pt x="4557603" y="105805"/>
                  <a:pt x="4562375" y="105755"/>
                  <a:pt x="4569428" y="106513"/>
                </a:cubicBezTo>
                <a:cubicBezTo>
                  <a:pt x="4568044" y="113189"/>
                  <a:pt x="4556705" y="109649"/>
                  <a:pt x="4555598" y="116325"/>
                </a:cubicBezTo>
                <a:cubicBezTo>
                  <a:pt x="4553108" y="116123"/>
                  <a:pt x="4558363" y="114302"/>
                  <a:pt x="4556427" y="111874"/>
                </a:cubicBezTo>
                <a:cubicBezTo>
                  <a:pt x="4544811" y="110559"/>
                  <a:pt x="4550619" y="115819"/>
                  <a:pt x="4547576" y="120068"/>
                </a:cubicBezTo>
                <a:cubicBezTo>
                  <a:pt x="4545087" y="120877"/>
                  <a:pt x="4543151" y="121180"/>
                  <a:pt x="4541215" y="121282"/>
                </a:cubicBezTo>
                <a:cubicBezTo>
                  <a:pt x="4539555" y="121383"/>
                  <a:pt x="4537619" y="121180"/>
                  <a:pt x="4535406" y="120877"/>
                </a:cubicBezTo>
                <a:cubicBezTo>
                  <a:pt x="4536236" y="116426"/>
                  <a:pt x="4538726" y="116831"/>
                  <a:pt x="4543704" y="115111"/>
                </a:cubicBezTo>
                <a:cubicBezTo>
                  <a:pt x="4545087" y="108435"/>
                  <a:pt x="4534578" y="114100"/>
                  <a:pt x="4535683" y="107424"/>
                </a:cubicBezTo>
                <a:cubicBezTo>
                  <a:pt x="4543012" y="107070"/>
                  <a:pt x="4547923" y="106463"/>
                  <a:pt x="4552762" y="106134"/>
                </a:cubicBezTo>
                <a:close/>
                <a:moveTo>
                  <a:pt x="4517361" y="105312"/>
                </a:moveTo>
                <a:cubicBezTo>
                  <a:pt x="4524413" y="106109"/>
                  <a:pt x="4532917" y="108790"/>
                  <a:pt x="4532088" y="113291"/>
                </a:cubicBezTo>
                <a:cubicBezTo>
                  <a:pt x="4516876" y="116325"/>
                  <a:pt x="4496407" y="111672"/>
                  <a:pt x="4496684" y="120978"/>
                </a:cubicBezTo>
                <a:cubicBezTo>
                  <a:pt x="4496684" y="121585"/>
                  <a:pt x="4495578" y="121787"/>
                  <a:pt x="4493918" y="121888"/>
                </a:cubicBezTo>
                <a:cubicBezTo>
                  <a:pt x="4492259" y="121990"/>
                  <a:pt x="4490323" y="121787"/>
                  <a:pt x="4488110" y="121383"/>
                </a:cubicBezTo>
                <a:cubicBezTo>
                  <a:pt x="4483684" y="120675"/>
                  <a:pt x="4479259" y="119056"/>
                  <a:pt x="4478429" y="116629"/>
                </a:cubicBezTo>
                <a:cubicBezTo>
                  <a:pt x="4485067" y="108132"/>
                  <a:pt x="4501939" y="107626"/>
                  <a:pt x="4511343" y="108637"/>
                </a:cubicBezTo>
                <a:cubicBezTo>
                  <a:pt x="4504705" y="105603"/>
                  <a:pt x="4510306" y="104515"/>
                  <a:pt x="4517361" y="105312"/>
                </a:cubicBezTo>
                <a:close/>
                <a:moveTo>
                  <a:pt x="3288297" y="74701"/>
                </a:moveTo>
                <a:cubicBezTo>
                  <a:pt x="3294624" y="73310"/>
                  <a:pt x="3301539" y="73437"/>
                  <a:pt x="3305412" y="76977"/>
                </a:cubicBezTo>
                <a:cubicBezTo>
                  <a:pt x="3295455" y="76977"/>
                  <a:pt x="3298497" y="78595"/>
                  <a:pt x="3290199" y="82641"/>
                </a:cubicBezTo>
                <a:cubicBezTo>
                  <a:pt x="3285496" y="77078"/>
                  <a:pt x="3281625" y="80011"/>
                  <a:pt x="3274709" y="81529"/>
                </a:cubicBezTo>
                <a:cubicBezTo>
                  <a:pt x="3276231" y="79000"/>
                  <a:pt x="3281971" y="76092"/>
                  <a:pt x="3288297" y="74701"/>
                </a:cubicBezTo>
                <a:close/>
                <a:moveTo>
                  <a:pt x="4453537" y="39146"/>
                </a:moveTo>
                <a:cubicBezTo>
                  <a:pt x="4450217" y="43091"/>
                  <a:pt x="4444408" y="46833"/>
                  <a:pt x="4434175" y="47946"/>
                </a:cubicBezTo>
                <a:cubicBezTo>
                  <a:pt x="4441919" y="46631"/>
                  <a:pt x="4449111" y="36415"/>
                  <a:pt x="4453537" y="39146"/>
                </a:cubicBezTo>
                <a:close/>
                <a:moveTo>
                  <a:pt x="4470754" y="34582"/>
                </a:moveTo>
                <a:cubicBezTo>
                  <a:pt x="4472552" y="34493"/>
                  <a:pt x="4473588" y="35201"/>
                  <a:pt x="4472898" y="38640"/>
                </a:cubicBezTo>
                <a:cubicBezTo>
                  <a:pt x="4470685" y="38337"/>
                  <a:pt x="4470685" y="38438"/>
                  <a:pt x="4468195" y="38134"/>
                </a:cubicBezTo>
                <a:cubicBezTo>
                  <a:pt x="4467919" y="40461"/>
                  <a:pt x="4467919" y="40360"/>
                  <a:pt x="4470132" y="40663"/>
                </a:cubicBezTo>
                <a:cubicBezTo>
                  <a:pt x="4469855" y="41776"/>
                  <a:pt x="4469578" y="42383"/>
                  <a:pt x="4469301" y="42585"/>
                </a:cubicBezTo>
                <a:cubicBezTo>
                  <a:pt x="4469025" y="42787"/>
                  <a:pt x="4468749" y="42686"/>
                  <a:pt x="4467919" y="42484"/>
                </a:cubicBezTo>
                <a:cubicBezTo>
                  <a:pt x="4466813" y="42079"/>
                  <a:pt x="4465153" y="41371"/>
                  <a:pt x="4462663" y="42180"/>
                </a:cubicBezTo>
                <a:cubicBezTo>
                  <a:pt x="4462941" y="39955"/>
                  <a:pt x="4463493" y="37629"/>
                  <a:pt x="4464046" y="35302"/>
                </a:cubicBezTo>
                <a:cubicBezTo>
                  <a:pt x="4466397" y="35555"/>
                  <a:pt x="4468955" y="34670"/>
                  <a:pt x="4470754" y="34582"/>
                </a:cubicBezTo>
                <a:close/>
                <a:moveTo>
                  <a:pt x="4566385" y="28828"/>
                </a:moveTo>
                <a:cubicBezTo>
                  <a:pt x="4556705" y="41371"/>
                  <a:pt x="4525449" y="28828"/>
                  <a:pt x="4517705" y="44001"/>
                </a:cubicBezTo>
                <a:cubicBezTo>
                  <a:pt x="4509684" y="41978"/>
                  <a:pt x="4502769" y="43394"/>
                  <a:pt x="4496131" y="44102"/>
                </a:cubicBezTo>
                <a:cubicBezTo>
                  <a:pt x="4489216" y="44709"/>
                  <a:pt x="4482579" y="44709"/>
                  <a:pt x="4475386" y="39247"/>
                </a:cubicBezTo>
                <a:cubicBezTo>
                  <a:pt x="4474557" y="36921"/>
                  <a:pt x="4474833" y="35808"/>
                  <a:pt x="4475386" y="35606"/>
                </a:cubicBezTo>
                <a:cubicBezTo>
                  <a:pt x="4476216" y="35403"/>
                  <a:pt x="4477046" y="36010"/>
                  <a:pt x="4478152" y="37224"/>
                </a:cubicBezTo>
                <a:cubicBezTo>
                  <a:pt x="4506641" y="38134"/>
                  <a:pt x="4530704" y="27109"/>
                  <a:pt x="4566385" y="28828"/>
                </a:cubicBezTo>
                <a:close/>
                <a:moveTo>
                  <a:pt x="4443025" y="17398"/>
                </a:moveTo>
                <a:cubicBezTo>
                  <a:pt x="4434728" y="23366"/>
                  <a:pt x="4420898" y="19522"/>
                  <a:pt x="4427813" y="33987"/>
                </a:cubicBezTo>
                <a:cubicBezTo>
                  <a:pt x="4418409" y="32874"/>
                  <a:pt x="4416473" y="30346"/>
                  <a:pt x="4407900" y="36314"/>
                </a:cubicBezTo>
                <a:cubicBezTo>
                  <a:pt x="4412877" y="48148"/>
                  <a:pt x="4415643" y="46227"/>
                  <a:pt x="4415920" y="57657"/>
                </a:cubicBezTo>
                <a:cubicBezTo>
                  <a:pt x="4408175" y="59073"/>
                  <a:pt x="4383836" y="72324"/>
                  <a:pt x="4376644" y="60186"/>
                </a:cubicBezTo>
                <a:cubicBezTo>
                  <a:pt x="4355070" y="71413"/>
                  <a:pt x="4311369" y="62006"/>
                  <a:pt x="4295880" y="78595"/>
                </a:cubicBezTo>
                <a:cubicBezTo>
                  <a:pt x="4288412" y="68581"/>
                  <a:pt x="4273476" y="82844"/>
                  <a:pt x="4258540" y="85777"/>
                </a:cubicBezTo>
                <a:cubicBezTo>
                  <a:pt x="4246370" y="86687"/>
                  <a:pt x="4205711" y="73133"/>
                  <a:pt x="4199903" y="102063"/>
                </a:cubicBezTo>
                <a:cubicBezTo>
                  <a:pt x="4189946" y="103276"/>
                  <a:pt x="4200733" y="97612"/>
                  <a:pt x="4194094" y="94577"/>
                </a:cubicBezTo>
                <a:cubicBezTo>
                  <a:pt x="4177222" y="94982"/>
                  <a:pt x="4159798" y="97612"/>
                  <a:pt x="4157585" y="108739"/>
                </a:cubicBezTo>
                <a:cubicBezTo>
                  <a:pt x="4149011" y="103276"/>
                  <a:pt x="4117757" y="102063"/>
                  <a:pt x="4114161" y="119865"/>
                </a:cubicBezTo>
                <a:cubicBezTo>
                  <a:pt x="4079310" y="113695"/>
                  <a:pt x="4007397" y="137668"/>
                  <a:pt x="3981398" y="171150"/>
                </a:cubicBezTo>
                <a:cubicBezTo>
                  <a:pt x="3979737" y="166396"/>
                  <a:pt x="3975036" y="165890"/>
                  <a:pt x="3967568" y="167306"/>
                </a:cubicBezTo>
                <a:cubicBezTo>
                  <a:pt x="3968950" y="172060"/>
                  <a:pt x="3979737" y="166396"/>
                  <a:pt x="3975589" y="174993"/>
                </a:cubicBezTo>
                <a:cubicBezTo>
                  <a:pt x="3935207" y="184198"/>
                  <a:pt x="3888463" y="213229"/>
                  <a:pt x="3848634" y="220209"/>
                </a:cubicBezTo>
                <a:cubicBezTo>
                  <a:pt x="3845039" y="213027"/>
                  <a:pt x="3854166" y="216264"/>
                  <a:pt x="3853337" y="209284"/>
                </a:cubicBezTo>
                <a:cubicBezTo>
                  <a:pt x="3838677" y="209992"/>
                  <a:pt x="3815167" y="218792"/>
                  <a:pt x="3819592" y="232954"/>
                </a:cubicBezTo>
                <a:cubicBezTo>
                  <a:pt x="3811295" y="238821"/>
                  <a:pt x="3803273" y="242462"/>
                  <a:pt x="3788614" y="243170"/>
                </a:cubicBezTo>
                <a:cubicBezTo>
                  <a:pt x="3784465" y="240439"/>
                  <a:pt x="3791933" y="238922"/>
                  <a:pt x="3792763" y="234471"/>
                </a:cubicBezTo>
                <a:cubicBezTo>
                  <a:pt x="3776168" y="232650"/>
                  <a:pt x="3779486" y="239933"/>
                  <a:pt x="3767039" y="243069"/>
                </a:cubicBezTo>
                <a:cubicBezTo>
                  <a:pt x="3768423" y="247722"/>
                  <a:pt x="3779486" y="239832"/>
                  <a:pt x="3777826" y="248734"/>
                </a:cubicBezTo>
                <a:cubicBezTo>
                  <a:pt x="3762891" y="251667"/>
                  <a:pt x="3760955" y="260568"/>
                  <a:pt x="3746573" y="261175"/>
                </a:cubicBezTo>
                <a:cubicBezTo>
                  <a:pt x="3747679" y="254499"/>
                  <a:pt x="3753488" y="250655"/>
                  <a:pt x="3762338" y="253892"/>
                </a:cubicBezTo>
                <a:cubicBezTo>
                  <a:pt x="3760402" y="251465"/>
                  <a:pt x="3755700" y="250858"/>
                  <a:pt x="3756530" y="246407"/>
                </a:cubicBezTo>
                <a:cubicBezTo>
                  <a:pt x="3743529" y="251768"/>
                  <a:pt x="3735508" y="255511"/>
                  <a:pt x="3737722" y="269369"/>
                </a:cubicBezTo>
                <a:cubicBezTo>
                  <a:pt x="3729977" y="270785"/>
                  <a:pt x="3734126" y="262187"/>
                  <a:pt x="3732467" y="259658"/>
                </a:cubicBezTo>
                <a:cubicBezTo>
                  <a:pt x="3683233" y="276955"/>
                  <a:pt x="3656127" y="314988"/>
                  <a:pt x="3599149" y="335927"/>
                </a:cubicBezTo>
                <a:cubicBezTo>
                  <a:pt x="3594724" y="333196"/>
                  <a:pt x="3590575" y="330364"/>
                  <a:pt x="3583384" y="329655"/>
                </a:cubicBezTo>
                <a:cubicBezTo>
                  <a:pt x="3578682" y="340479"/>
                  <a:pt x="3561533" y="343210"/>
                  <a:pt x="3565683" y="357270"/>
                </a:cubicBezTo>
                <a:cubicBezTo>
                  <a:pt x="3534981" y="367486"/>
                  <a:pt x="3514513" y="385694"/>
                  <a:pt x="3494046" y="403901"/>
                </a:cubicBezTo>
                <a:cubicBezTo>
                  <a:pt x="3409686" y="440114"/>
                  <a:pt x="3352432" y="497467"/>
                  <a:pt x="3280241" y="544099"/>
                </a:cubicBezTo>
                <a:lnTo>
                  <a:pt x="3265029" y="560485"/>
                </a:lnTo>
                <a:lnTo>
                  <a:pt x="3283008" y="554416"/>
                </a:lnTo>
                <a:cubicBezTo>
                  <a:pt x="3301263" y="548954"/>
                  <a:pt x="3319518" y="543593"/>
                  <a:pt x="3336390" y="532871"/>
                </a:cubicBezTo>
                <a:cubicBezTo>
                  <a:pt x="3339431" y="534489"/>
                  <a:pt x="3344963" y="535703"/>
                  <a:pt x="3350495" y="536816"/>
                </a:cubicBezTo>
                <a:cubicBezTo>
                  <a:pt x="3350495" y="530949"/>
                  <a:pt x="3354368" y="531252"/>
                  <a:pt x="3359346" y="532567"/>
                </a:cubicBezTo>
                <a:lnTo>
                  <a:pt x="3365432" y="533174"/>
                </a:lnTo>
                <a:lnTo>
                  <a:pt x="3389772" y="515270"/>
                </a:lnTo>
                <a:cubicBezTo>
                  <a:pt x="3390601" y="510819"/>
                  <a:pt x="3388111" y="510516"/>
                  <a:pt x="3386729" y="505863"/>
                </a:cubicBezTo>
                <a:cubicBezTo>
                  <a:pt x="3393920" y="518001"/>
                  <a:pt x="3417153" y="497872"/>
                  <a:pt x="3407750" y="496860"/>
                </a:cubicBezTo>
                <a:cubicBezTo>
                  <a:pt x="3448132" y="476225"/>
                  <a:pt x="3505662" y="441631"/>
                  <a:pt x="3534981" y="415332"/>
                </a:cubicBezTo>
                <a:cubicBezTo>
                  <a:pt x="3535257" y="413106"/>
                  <a:pt x="3543003" y="411589"/>
                  <a:pt x="3542449" y="413814"/>
                </a:cubicBezTo>
                <a:cubicBezTo>
                  <a:pt x="3549917" y="412398"/>
                  <a:pt x="3543278" y="409364"/>
                  <a:pt x="3546598" y="405216"/>
                </a:cubicBezTo>
                <a:cubicBezTo>
                  <a:pt x="3558767" y="404306"/>
                  <a:pt x="3576747" y="399451"/>
                  <a:pt x="3578959" y="388324"/>
                </a:cubicBezTo>
                <a:cubicBezTo>
                  <a:pt x="3609383" y="380333"/>
                  <a:pt x="3651426" y="350796"/>
                  <a:pt x="3679637" y="342502"/>
                </a:cubicBezTo>
                <a:cubicBezTo>
                  <a:pt x="3682956" y="338355"/>
                  <a:pt x="3685999" y="334207"/>
                  <a:pt x="3689042" y="332184"/>
                </a:cubicBezTo>
                <a:cubicBezTo>
                  <a:pt x="3696510" y="330768"/>
                  <a:pt x="3701212" y="331274"/>
                  <a:pt x="3708127" y="332083"/>
                </a:cubicBezTo>
                <a:cubicBezTo>
                  <a:pt x="3714212" y="325913"/>
                  <a:pt x="3723063" y="317720"/>
                  <a:pt x="3739935" y="317416"/>
                </a:cubicBezTo>
                <a:cubicBezTo>
                  <a:pt x="3741040" y="324294"/>
                  <a:pt x="3738274" y="326216"/>
                  <a:pt x="3747125" y="329554"/>
                </a:cubicBezTo>
                <a:cubicBezTo>
                  <a:pt x="3755700" y="323586"/>
                  <a:pt x="3744359" y="320147"/>
                  <a:pt x="3745742" y="313471"/>
                </a:cubicBezTo>
                <a:cubicBezTo>
                  <a:pt x="3754593" y="305379"/>
                  <a:pt x="3762062" y="315191"/>
                  <a:pt x="3769253" y="316000"/>
                </a:cubicBezTo>
                <a:cubicBezTo>
                  <a:pt x="3762891" y="299411"/>
                  <a:pt x="3777274" y="287374"/>
                  <a:pt x="3799677" y="296680"/>
                </a:cubicBezTo>
                <a:cubicBezTo>
                  <a:pt x="3809359" y="295466"/>
                  <a:pt x="3806868" y="283732"/>
                  <a:pt x="3816273" y="284845"/>
                </a:cubicBezTo>
                <a:cubicBezTo>
                  <a:pt x="3816827" y="282620"/>
                  <a:pt x="3817656" y="278169"/>
                  <a:pt x="3812953" y="277663"/>
                </a:cubicBezTo>
                <a:cubicBezTo>
                  <a:pt x="3818485" y="273718"/>
                  <a:pt x="3827613" y="276955"/>
                  <a:pt x="3827059" y="267851"/>
                </a:cubicBezTo>
                <a:cubicBezTo>
                  <a:pt x="3833974" y="268559"/>
                  <a:pt x="3855548" y="268661"/>
                  <a:pt x="3855548" y="257332"/>
                </a:cubicBezTo>
                <a:cubicBezTo>
                  <a:pt x="3860251" y="257837"/>
                  <a:pt x="3858868" y="264614"/>
                  <a:pt x="3863847" y="265120"/>
                </a:cubicBezTo>
                <a:cubicBezTo>
                  <a:pt x="3867719" y="256421"/>
                  <a:pt x="3879613" y="257736"/>
                  <a:pt x="3879336" y="246306"/>
                </a:cubicBezTo>
                <a:cubicBezTo>
                  <a:pt x="3886527" y="247115"/>
                  <a:pt x="3900632" y="248734"/>
                  <a:pt x="3896760" y="243676"/>
                </a:cubicBezTo>
                <a:cubicBezTo>
                  <a:pt x="3927738" y="233460"/>
                  <a:pt x="3956228" y="211611"/>
                  <a:pt x="3990249" y="210801"/>
                </a:cubicBezTo>
                <a:cubicBezTo>
                  <a:pt x="3995226" y="209082"/>
                  <a:pt x="4000481" y="207362"/>
                  <a:pt x="4001865" y="200686"/>
                </a:cubicBezTo>
                <a:cubicBezTo>
                  <a:pt x="4032014" y="206250"/>
                  <a:pt x="4067693" y="171655"/>
                  <a:pt x="4105033" y="178028"/>
                </a:cubicBezTo>
                <a:cubicBezTo>
                  <a:pt x="4110289" y="176308"/>
                  <a:pt x="4109181" y="169329"/>
                  <a:pt x="4114437" y="167609"/>
                </a:cubicBezTo>
                <a:cubicBezTo>
                  <a:pt x="4126606" y="166699"/>
                  <a:pt x="4127160" y="175904"/>
                  <a:pt x="4133799" y="178938"/>
                </a:cubicBezTo>
                <a:cubicBezTo>
                  <a:pt x="4144586" y="173274"/>
                  <a:pt x="4154265" y="149301"/>
                  <a:pt x="4172797" y="164979"/>
                </a:cubicBezTo>
                <a:cubicBezTo>
                  <a:pt x="4183031" y="161641"/>
                  <a:pt x="4185244" y="150413"/>
                  <a:pt x="4193265" y="146772"/>
                </a:cubicBezTo>
                <a:cubicBezTo>
                  <a:pt x="4197414" y="149503"/>
                  <a:pt x="4199350" y="152032"/>
                  <a:pt x="4204052" y="152538"/>
                </a:cubicBezTo>
                <a:cubicBezTo>
                  <a:pt x="4208201" y="143940"/>
                  <a:pt x="4235861" y="137769"/>
                  <a:pt x="4245818" y="147986"/>
                </a:cubicBezTo>
                <a:cubicBezTo>
                  <a:pt x="4253008" y="137365"/>
                  <a:pt x="4267945" y="134533"/>
                  <a:pt x="4280944" y="129171"/>
                </a:cubicBezTo>
                <a:cubicBezTo>
                  <a:pt x="4326859" y="141006"/>
                  <a:pt x="4391027" y="109447"/>
                  <a:pt x="4444686" y="117741"/>
                </a:cubicBezTo>
                <a:cubicBezTo>
                  <a:pt x="4451323" y="120675"/>
                  <a:pt x="4456302" y="107626"/>
                  <a:pt x="4457962" y="112380"/>
                </a:cubicBezTo>
                <a:cubicBezTo>
                  <a:pt x="4440260" y="128565"/>
                  <a:pt x="4408728" y="141006"/>
                  <a:pt x="4381899" y="142625"/>
                </a:cubicBezTo>
                <a:cubicBezTo>
                  <a:pt x="4373878" y="146266"/>
                  <a:pt x="4376368" y="157899"/>
                  <a:pt x="4380793" y="160630"/>
                </a:cubicBezTo>
                <a:cubicBezTo>
                  <a:pt x="4413154" y="155168"/>
                  <a:pt x="4451876" y="166193"/>
                  <a:pt x="4462941" y="146974"/>
                </a:cubicBezTo>
                <a:cubicBezTo>
                  <a:pt x="4471792" y="150211"/>
                  <a:pt x="4486451" y="149604"/>
                  <a:pt x="4492259" y="157089"/>
                </a:cubicBezTo>
                <a:cubicBezTo>
                  <a:pt x="4457962" y="160124"/>
                  <a:pt x="4435004" y="166598"/>
                  <a:pt x="4398218" y="169430"/>
                </a:cubicBezTo>
                <a:cubicBezTo>
                  <a:pt x="4396835" y="176106"/>
                  <a:pt x="4389367" y="177522"/>
                  <a:pt x="4389920" y="186727"/>
                </a:cubicBezTo>
                <a:cubicBezTo>
                  <a:pt x="4391027" y="193606"/>
                  <a:pt x="4397941" y="183086"/>
                  <a:pt x="4401814" y="188042"/>
                </a:cubicBezTo>
                <a:cubicBezTo>
                  <a:pt x="4400707" y="192493"/>
                  <a:pt x="4400431" y="194718"/>
                  <a:pt x="4395729" y="194212"/>
                </a:cubicBezTo>
                <a:cubicBezTo>
                  <a:pt x="4397665" y="196640"/>
                  <a:pt x="4402367" y="197247"/>
                  <a:pt x="4401538" y="201698"/>
                </a:cubicBezTo>
                <a:cubicBezTo>
                  <a:pt x="4411218" y="200484"/>
                  <a:pt x="4413430" y="189357"/>
                  <a:pt x="4430027" y="191178"/>
                </a:cubicBezTo>
                <a:cubicBezTo>
                  <a:pt x="4418686" y="199068"/>
                  <a:pt x="4436664" y="205541"/>
                  <a:pt x="4423664" y="210903"/>
                </a:cubicBezTo>
                <a:cubicBezTo>
                  <a:pt x="4430302" y="213836"/>
                  <a:pt x="4442472" y="212926"/>
                  <a:pt x="4439706" y="226278"/>
                </a:cubicBezTo>
                <a:cubicBezTo>
                  <a:pt x="4432792" y="225570"/>
                  <a:pt x="4428366" y="211408"/>
                  <a:pt x="4425600" y="224760"/>
                </a:cubicBezTo>
                <a:cubicBezTo>
                  <a:pt x="4418962" y="221726"/>
                  <a:pt x="4427813" y="213634"/>
                  <a:pt x="4418409" y="212622"/>
                </a:cubicBezTo>
                <a:cubicBezTo>
                  <a:pt x="4415920" y="212319"/>
                  <a:pt x="4415366" y="216769"/>
                  <a:pt x="4417027" y="219197"/>
                </a:cubicBezTo>
                <a:cubicBezTo>
                  <a:pt x="4406792" y="222636"/>
                  <a:pt x="4409005" y="211611"/>
                  <a:pt x="4401538" y="213027"/>
                </a:cubicBezTo>
                <a:cubicBezTo>
                  <a:pt x="4393516" y="216668"/>
                  <a:pt x="4407622" y="218186"/>
                  <a:pt x="4406239" y="224862"/>
                </a:cubicBezTo>
                <a:cubicBezTo>
                  <a:pt x="4394069" y="225772"/>
                  <a:pt x="4387984" y="231942"/>
                  <a:pt x="4388262" y="243372"/>
                </a:cubicBezTo>
                <a:cubicBezTo>
                  <a:pt x="4373603" y="232650"/>
                  <a:pt x="4366133" y="245497"/>
                  <a:pt x="4366410" y="231841"/>
                </a:cubicBezTo>
                <a:cubicBezTo>
                  <a:pt x="4342900" y="229312"/>
                  <a:pt x="4315794" y="255915"/>
                  <a:pt x="4309709" y="239225"/>
                </a:cubicBezTo>
                <a:cubicBezTo>
                  <a:pt x="4295050" y="239933"/>
                  <a:pt x="4309709" y="250655"/>
                  <a:pt x="4295603" y="249037"/>
                </a:cubicBezTo>
                <a:cubicBezTo>
                  <a:pt x="4289795" y="241653"/>
                  <a:pt x="4301135" y="245193"/>
                  <a:pt x="4301965" y="240743"/>
                </a:cubicBezTo>
                <a:cubicBezTo>
                  <a:pt x="4294773" y="228503"/>
                  <a:pt x="4281497" y="247520"/>
                  <a:pt x="4275135" y="242260"/>
                </a:cubicBezTo>
                <a:cubicBezTo>
                  <a:pt x="4273753" y="248936"/>
                  <a:pt x="4276242" y="249239"/>
                  <a:pt x="4276796" y="258343"/>
                </a:cubicBezTo>
                <a:cubicBezTo>
                  <a:pt x="4272093" y="257837"/>
                  <a:pt x="4269603" y="257635"/>
                  <a:pt x="4266838" y="259557"/>
                </a:cubicBezTo>
                <a:cubicBezTo>
                  <a:pt x="4263520" y="252375"/>
                  <a:pt x="4270710" y="253083"/>
                  <a:pt x="4271540" y="248632"/>
                </a:cubicBezTo>
                <a:cubicBezTo>
                  <a:pt x="4268774" y="250655"/>
                  <a:pt x="4266284" y="250352"/>
                  <a:pt x="4264072" y="250150"/>
                </a:cubicBezTo>
                <a:cubicBezTo>
                  <a:pt x="4261306" y="252072"/>
                  <a:pt x="4266009" y="252577"/>
                  <a:pt x="4265178" y="257028"/>
                </a:cubicBezTo>
                <a:cubicBezTo>
                  <a:pt x="4239179" y="254196"/>
                  <a:pt x="4216498" y="258444"/>
                  <a:pt x="4201563" y="272808"/>
                </a:cubicBezTo>
                <a:cubicBezTo>
                  <a:pt x="4192711" y="269470"/>
                  <a:pt x="4187180" y="273516"/>
                  <a:pt x="4181648" y="277461"/>
                </a:cubicBezTo>
                <a:cubicBezTo>
                  <a:pt x="4181095" y="279686"/>
                  <a:pt x="4180265" y="284036"/>
                  <a:pt x="4182478" y="284339"/>
                </a:cubicBezTo>
                <a:cubicBezTo>
                  <a:pt x="4169201" y="278270"/>
                  <a:pt x="4141543" y="284440"/>
                  <a:pt x="4131863" y="296983"/>
                </a:cubicBezTo>
                <a:cubicBezTo>
                  <a:pt x="4133245" y="290307"/>
                  <a:pt x="4127714" y="294151"/>
                  <a:pt x="4126054" y="289498"/>
                </a:cubicBezTo>
                <a:cubicBezTo>
                  <a:pt x="4099501" y="302445"/>
                  <a:pt x="4078757" y="309223"/>
                  <a:pt x="4048608" y="314988"/>
                </a:cubicBezTo>
                <a:cubicBezTo>
                  <a:pt x="4047779" y="319439"/>
                  <a:pt x="4057183" y="320552"/>
                  <a:pt x="4047226" y="321766"/>
                </a:cubicBezTo>
                <a:cubicBezTo>
                  <a:pt x="4046949" y="323991"/>
                  <a:pt x="4049161" y="324294"/>
                  <a:pt x="4048885" y="326520"/>
                </a:cubicBezTo>
                <a:cubicBezTo>
                  <a:pt x="4060502" y="327835"/>
                  <a:pt x="4054970" y="320349"/>
                  <a:pt x="4059949" y="318630"/>
                </a:cubicBezTo>
                <a:cubicBezTo>
                  <a:pt x="4062439" y="318933"/>
                  <a:pt x="4067141" y="319338"/>
                  <a:pt x="4069077" y="321867"/>
                </a:cubicBezTo>
                <a:cubicBezTo>
                  <a:pt x="4054693" y="333904"/>
                  <a:pt x="4036439" y="340985"/>
                  <a:pt x="4015695" y="347762"/>
                </a:cubicBezTo>
                <a:cubicBezTo>
                  <a:pt x="4016248" y="356967"/>
                  <a:pt x="4023162" y="346346"/>
                  <a:pt x="4021502" y="355247"/>
                </a:cubicBezTo>
                <a:cubicBezTo>
                  <a:pt x="3998823" y="359597"/>
                  <a:pt x="3980014" y="368903"/>
                  <a:pt x="3967568" y="383469"/>
                </a:cubicBezTo>
                <a:cubicBezTo>
                  <a:pt x="3968675" y="390347"/>
                  <a:pt x="3978908" y="387009"/>
                  <a:pt x="3979461" y="396113"/>
                </a:cubicBezTo>
                <a:cubicBezTo>
                  <a:pt x="3997439" y="391257"/>
                  <a:pt x="4014588" y="388627"/>
                  <a:pt x="4023439" y="380535"/>
                </a:cubicBezTo>
                <a:cubicBezTo>
                  <a:pt x="4035885" y="390954"/>
                  <a:pt x="4041417" y="375680"/>
                  <a:pt x="4054970" y="368093"/>
                </a:cubicBezTo>
                <a:cubicBezTo>
                  <a:pt x="4070459" y="362935"/>
                  <a:pt x="4094800" y="361114"/>
                  <a:pt x="4113055" y="354033"/>
                </a:cubicBezTo>
                <a:cubicBezTo>
                  <a:pt x="4129097" y="346649"/>
                  <a:pt x="4156202" y="342906"/>
                  <a:pt x="4175563" y="342704"/>
                </a:cubicBezTo>
                <a:cubicBezTo>
                  <a:pt x="4180265" y="343210"/>
                  <a:pt x="4179435" y="336332"/>
                  <a:pt x="4186904" y="334814"/>
                </a:cubicBezTo>
                <a:cubicBezTo>
                  <a:pt x="4188286" y="339568"/>
                  <a:pt x="4193541" y="337849"/>
                  <a:pt x="4195755" y="338152"/>
                </a:cubicBezTo>
                <a:cubicBezTo>
                  <a:pt x="4205989" y="323384"/>
                  <a:pt x="4228668" y="330465"/>
                  <a:pt x="4238903" y="315595"/>
                </a:cubicBezTo>
                <a:cubicBezTo>
                  <a:pt x="4299475" y="313269"/>
                  <a:pt x="4337921" y="290105"/>
                  <a:pt x="4392133" y="296073"/>
                </a:cubicBezTo>
                <a:cubicBezTo>
                  <a:pt x="4399602" y="294657"/>
                  <a:pt x="4403196" y="288284"/>
                  <a:pt x="4410941" y="286868"/>
                </a:cubicBezTo>
                <a:cubicBezTo>
                  <a:pt x="4405686" y="299917"/>
                  <a:pt x="4421176" y="294859"/>
                  <a:pt x="4428366" y="295567"/>
                </a:cubicBezTo>
                <a:cubicBezTo>
                  <a:pt x="4412877" y="312055"/>
                  <a:pt x="4371942" y="312055"/>
                  <a:pt x="4341517" y="320046"/>
                </a:cubicBezTo>
                <a:cubicBezTo>
                  <a:pt x="4340687" y="324497"/>
                  <a:pt x="4345666" y="322878"/>
                  <a:pt x="4348155" y="323081"/>
                </a:cubicBezTo>
                <a:cubicBezTo>
                  <a:pt x="4326305" y="336635"/>
                  <a:pt x="4286752" y="316405"/>
                  <a:pt x="4279561" y="329251"/>
                </a:cubicBezTo>
                <a:cubicBezTo>
                  <a:pt x="4257158" y="319945"/>
                  <a:pt x="4217051" y="351808"/>
                  <a:pt x="4200456" y="338658"/>
                </a:cubicBezTo>
                <a:cubicBezTo>
                  <a:pt x="4184967" y="343716"/>
                  <a:pt x="4184690" y="345941"/>
                  <a:pt x="4169478" y="348874"/>
                </a:cubicBezTo>
                <a:cubicBezTo>
                  <a:pt x="4164776" y="348369"/>
                  <a:pt x="4173350" y="353831"/>
                  <a:pt x="4175839" y="354134"/>
                </a:cubicBezTo>
                <a:cubicBezTo>
                  <a:pt x="4121076" y="375376"/>
                  <a:pt x="4074608" y="390650"/>
                  <a:pt x="4020120" y="409667"/>
                </a:cubicBezTo>
                <a:cubicBezTo>
                  <a:pt x="4019843" y="423323"/>
                  <a:pt x="4040310" y="416545"/>
                  <a:pt x="4045013" y="417051"/>
                </a:cubicBezTo>
                <a:cubicBezTo>
                  <a:pt x="4055524" y="413612"/>
                  <a:pt x="4072672" y="399552"/>
                  <a:pt x="4090651" y="394696"/>
                </a:cubicBezTo>
                <a:cubicBezTo>
                  <a:pt x="4113607" y="388122"/>
                  <a:pt x="4134074" y="381344"/>
                  <a:pt x="4149563" y="376287"/>
                </a:cubicBezTo>
                <a:cubicBezTo>
                  <a:pt x="4162840" y="370825"/>
                  <a:pt x="4179159" y="372645"/>
                  <a:pt x="4192436" y="367284"/>
                </a:cubicBezTo>
                <a:cubicBezTo>
                  <a:pt x="4222860" y="359293"/>
                  <a:pt x="4249412" y="346346"/>
                  <a:pt x="4277348" y="340276"/>
                </a:cubicBezTo>
                <a:cubicBezTo>
                  <a:pt x="4309709" y="334814"/>
                  <a:pt x="4341793" y="331476"/>
                  <a:pt x="4371389" y="327936"/>
                </a:cubicBezTo>
                <a:cubicBezTo>
                  <a:pt x="4288688" y="355247"/>
                  <a:pt x="4193818" y="360608"/>
                  <a:pt x="4121629" y="395910"/>
                </a:cubicBezTo>
                <a:cubicBezTo>
                  <a:pt x="4099224" y="400159"/>
                  <a:pt x="4080417" y="409465"/>
                  <a:pt x="4057737" y="413814"/>
                </a:cubicBezTo>
                <a:cubicBezTo>
                  <a:pt x="4055524" y="413612"/>
                  <a:pt x="4052204" y="417860"/>
                  <a:pt x="4051927" y="420086"/>
                </a:cubicBezTo>
                <a:cubicBezTo>
                  <a:pt x="4006844" y="428684"/>
                  <a:pt x="3998546" y="445981"/>
                  <a:pt x="3949589" y="449723"/>
                </a:cubicBezTo>
                <a:cubicBezTo>
                  <a:pt x="3966184" y="437889"/>
                  <a:pt x="3993567" y="434045"/>
                  <a:pt x="4007950" y="422008"/>
                </a:cubicBezTo>
                <a:cubicBezTo>
                  <a:pt x="3980844" y="425851"/>
                  <a:pt x="3951803" y="438495"/>
                  <a:pt x="3926909" y="453972"/>
                </a:cubicBezTo>
                <a:cubicBezTo>
                  <a:pt x="3893995" y="461761"/>
                  <a:pt x="3863294" y="471977"/>
                  <a:pt x="3840337" y="489881"/>
                </a:cubicBezTo>
                <a:cubicBezTo>
                  <a:pt x="3821528" y="487858"/>
                  <a:pt x="3804103" y="501817"/>
                  <a:pt x="3794976" y="512134"/>
                </a:cubicBezTo>
                <a:cubicBezTo>
                  <a:pt x="3774785" y="516787"/>
                  <a:pt x="3741593" y="538131"/>
                  <a:pt x="3719189" y="553809"/>
                </a:cubicBezTo>
                <a:cubicBezTo>
                  <a:pt x="3688765" y="561901"/>
                  <a:pt x="3669957" y="582536"/>
                  <a:pt x="3643405" y="595484"/>
                </a:cubicBezTo>
                <a:cubicBezTo>
                  <a:pt x="3656127" y="603778"/>
                  <a:pt x="3660552" y="581525"/>
                  <a:pt x="3671064" y="589516"/>
                </a:cubicBezTo>
                <a:cubicBezTo>
                  <a:pt x="3745465" y="543087"/>
                  <a:pt x="3800508" y="508291"/>
                  <a:pt x="3884868" y="483508"/>
                </a:cubicBezTo>
                <a:cubicBezTo>
                  <a:pt x="3838954" y="507987"/>
                  <a:pt x="3802996" y="531353"/>
                  <a:pt x="3752658" y="555326"/>
                </a:cubicBezTo>
                <a:cubicBezTo>
                  <a:pt x="3751550" y="559777"/>
                  <a:pt x="3754041" y="560081"/>
                  <a:pt x="3758743" y="560586"/>
                </a:cubicBezTo>
                <a:cubicBezTo>
                  <a:pt x="3741317" y="563216"/>
                  <a:pt x="3732467" y="571207"/>
                  <a:pt x="3714212" y="578288"/>
                </a:cubicBezTo>
                <a:cubicBezTo>
                  <a:pt x="3713382" y="582739"/>
                  <a:pt x="3714764" y="587493"/>
                  <a:pt x="3712552" y="587291"/>
                </a:cubicBezTo>
                <a:cubicBezTo>
                  <a:pt x="3747679" y="591134"/>
                  <a:pt x="3769253" y="543492"/>
                  <a:pt x="3815996" y="550977"/>
                </a:cubicBezTo>
                <a:cubicBezTo>
                  <a:pt x="3817656" y="542076"/>
                  <a:pt x="3807423" y="545414"/>
                  <a:pt x="3805486" y="542986"/>
                </a:cubicBezTo>
                <a:cubicBezTo>
                  <a:pt x="3804932" y="533781"/>
                  <a:pt x="3818210" y="539850"/>
                  <a:pt x="3812953" y="530140"/>
                </a:cubicBezTo>
                <a:cubicBezTo>
                  <a:pt x="3827613" y="529431"/>
                  <a:pt x="3837848" y="526093"/>
                  <a:pt x="3848634" y="520429"/>
                </a:cubicBezTo>
                <a:cubicBezTo>
                  <a:pt x="3860528" y="521744"/>
                  <a:pt x="3842550" y="526498"/>
                  <a:pt x="3846422" y="531455"/>
                </a:cubicBezTo>
                <a:cubicBezTo>
                  <a:pt x="3886250" y="524576"/>
                  <a:pt x="3915292" y="511932"/>
                  <a:pt x="3953185" y="491095"/>
                </a:cubicBezTo>
                <a:cubicBezTo>
                  <a:pt x="3954292" y="486644"/>
                  <a:pt x="3943228" y="492207"/>
                  <a:pt x="3938526" y="491702"/>
                </a:cubicBezTo>
                <a:cubicBezTo>
                  <a:pt x="3943228" y="480777"/>
                  <a:pt x="3953462" y="477439"/>
                  <a:pt x="3961760" y="485127"/>
                </a:cubicBezTo>
                <a:cubicBezTo>
                  <a:pt x="3961206" y="487352"/>
                  <a:pt x="3956505" y="486846"/>
                  <a:pt x="3955951" y="489072"/>
                </a:cubicBezTo>
                <a:cubicBezTo>
                  <a:pt x="3969228" y="495040"/>
                  <a:pt x="3999653" y="475720"/>
                  <a:pt x="4012376" y="472483"/>
                </a:cubicBezTo>
                <a:cubicBezTo>
                  <a:pt x="4009333" y="463076"/>
                  <a:pt x="4006567" y="465099"/>
                  <a:pt x="4001865" y="464593"/>
                </a:cubicBezTo>
                <a:cubicBezTo>
                  <a:pt x="4042524" y="430403"/>
                  <a:pt x="4106416" y="460142"/>
                  <a:pt x="4146522" y="428178"/>
                </a:cubicBezTo>
                <a:cubicBezTo>
                  <a:pt x="4153436" y="428987"/>
                  <a:pt x="4155095" y="433741"/>
                  <a:pt x="4159244" y="436472"/>
                </a:cubicBezTo>
                <a:cubicBezTo>
                  <a:pt x="4165330" y="430302"/>
                  <a:pt x="4170584" y="428583"/>
                  <a:pt x="4179435" y="431819"/>
                </a:cubicBezTo>
                <a:cubicBezTo>
                  <a:pt x="4181371" y="422918"/>
                  <a:pt x="4195755" y="422311"/>
                  <a:pt x="4199903" y="413612"/>
                </a:cubicBezTo>
                <a:cubicBezTo>
                  <a:pt x="4227285" y="421198"/>
                  <a:pt x="4247200" y="418872"/>
                  <a:pt x="4274029" y="417253"/>
                </a:cubicBezTo>
                <a:cubicBezTo>
                  <a:pt x="4270158" y="423626"/>
                  <a:pt x="4260753" y="422716"/>
                  <a:pt x="4257434" y="426863"/>
                </a:cubicBezTo>
                <a:cubicBezTo>
                  <a:pt x="4265178" y="436776"/>
                  <a:pt x="4270710" y="421401"/>
                  <a:pt x="4280668" y="431617"/>
                </a:cubicBezTo>
                <a:cubicBezTo>
                  <a:pt x="4288135" y="430201"/>
                  <a:pt x="4279284" y="426964"/>
                  <a:pt x="4279561" y="424739"/>
                </a:cubicBezTo>
                <a:cubicBezTo>
                  <a:pt x="4354794" y="421704"/>
                  <a:pt x="4429473" y="398035"/>
                  <a:pt x="4492535" y="395910"/>
                </a:cubicBezTo>
                <a:cubicBezTo>
                  <a:pt x="4445238" y="415635"/>
                  <a:pt x="4391856" y="405216"/>
                  <a:pt x="4346496" y="427571"/>
                </a:cubicBezTo>
                <a:cubicBezTo>
                  <a:pt x="4313028" y="426155"/>
                  <a:pt x="4274029" y="440114"/>
                  <a:pt x="4249412" y="455489"/>
                </a:cubicBezTo>
                <a:cubicBezTo>
                  <a:pt x="4260753" y="459029"/>
                  <a:pt x="4276796" y="438091"/>
                  <a:pt x="4291731" y="448813"/>
                </a:cubicBezTo>
                <a:cubicBezTo>
                  <a:pt x="4331836" y="428279"/>
                  <a:pt x="4389090" y="443553"/>
                  <a:pt x="4432239" y="420996"/>
                </a:cubicBezTo>
                <a:cubicBezTo>
                  <a:pt x="4438600" y="424031"/>
                  <a:pt x="4464599" y="426964"/>
                  <a:pt x="4468749" y="418265"/>
                </a:cubicBezTo>
                <a:cubicBezTo>
                  <a:pt x="4477600" y="421603"/>
                  <a:pt x="4480088" y="421805"/>
                  <a:pt x="4494195" y="423323"/>
                </a:cubicBezTo>
                <a:cubicBezTo>
                  <a:pt x="4463218" y="433640"/>
                  <a:pt x="4410941" y="430100"/>
                  <a:pt x="4391303" y="443857"/>
                </a:cubicBezTo>
                <a:cubicBezTo>
                  <a:pt x="4386601" y="431921"/>
                  <a:pt x="4375537" y="451140"/>
                  <a:pt x="4364474" y="445374"/>
                </a:cubicBezTo>
                <a:cubicBezTo>
                  <a:pt x="4365581" y="452353"/>
                  <a:pt x="4372772" y="453163"/>
                  <a:pt x="4376921" y="455894"/>
                </a:cubicBezTo>
                <a:cubicBezTo>
                  <a:pt x="4384112" y="456703"/>
                  <a:pt x="4380516" y="449521"/>
                  <a:pt x="4392410" y="450836"/>
                </a:cubicBezTo>
                <a:cubicBezTo>
                  <a:pt x="4383005" y="461255"/>
                  <a:pt x="4399324" y="451645"/>
                  <a:pt x="4405962" y="454680"/>
                </a:cubicBezTo>
                <a:cubicBezTo>
                  <a:pt x="4409005" y="464087"/>
                  <a:pt x="4397665" y="460547"/>
                  <a:pt x="4396282" y="467223"/>
                </a:cubicBezTo>
                <a:cubicBezTo>
                  <a:pt x="4398771" y="467425"/>
                  <a:pt x="4403474" y="468032"/>
                  <a:pt x="4405686" y="468234"/>
                </a:cubicBezTo>
                <a:cubicBezTo>
                  <a:pt x="4410941" y="466515"/>
                  <a:pt x="4405686" y="456804"/>
                  <a:pt x="4410941" y="455186"/>
                </a:cubicBezTo>
                <a:cubicBezTo>
                  <a:pt x="4417856" y="455894"/>
                  <a:pt x="4419794" y="458422"/>
                  <a:pt x="4427813" y="454781"/>
                </a:cubicBezTo>
                <a:cubicBezTo>
                  <a:pt x="4419794" y="469853"/>
                  <a:pt x="4453259" y="471168"/>
                  <a:pt x="4460174" y="460547"/>
                </a:cubicBezTo>
                <a:cubicBezTo>
                  <a:pt x="4456855" y="453365"/>
                  <a:pt x="4448004" y="461558"/>
                  <a:pt x="4442196" y="454073"/>
                </a:cubicBezTo>
                <a:cubicBezTo>
                  <a:pt x="4443302" y="449622"/>
                  <a:pt x="4441642" y="444868"/>
                  <a:pt x="4444408" y="442946"/>
                </a:cubicBezTo>
                <a:cubicBezTo>
                  <a:pt x="4459898" y="437787"/>
                  <a:pt x="4477046" y="448813"/>
                  <a:pt x="4488387" y="440923"/>
                </a:cubicBezTo>
                <a:cubicBezTo>
                  <a:pt x="4483684" y="451848"/>
                  <a:pt x="4498897" y="460344"/>
                  <a:pt x="4512726" y="450431"/>
                </a:cubicBezTo>
                <a:cubicBezTo>
                  <a:pt x="4513832" y="445981"/>
                  <a:pt x="4508577" y="447801"/>
                  <a:pt x="4501663" y="446992"/>
                </a:cubicBezTo>
                <a:cubicBezTo>
                  <a:pt x="4507194" y="443047"/>
                  <a:pt x="4521301" y="444565"/>
                  <a:pt x="4528770" y="443047"/>
                </a:cubicBezTo>
                <a:cubicBezTo>
                  <a:pt x="4521301" y="455894"/>
                  <a:pt x="4541491" y="451342"/>
                  <a:pt x="4554215" y="448206"/>
                </a:cubicBezTo>
                <a:cubicBezTo>
                  <a:pt x="4558917" y="448712"/>
                  <a:pt x="4563065" y="451443"/>
                  <a:pt x="4570257" y="452252"/>
                </a:cubicBezTo>
                <a:cubicBezTo>
                  <a:pt x="4613405" y="441024"/>
                  <a:pt x="4649362" y="454174"/>
                  <a:pt x="4692234" y="445273"/>
                </a:cubicBezTo>
                <a:cubicBezTo>
                  <a:pt x="4693893" y="447700"/>
                  <a:pt x="4698318" y="450431"/>
                  <a:pt x="4702467" y="453163"/>
                </a:cubicBezTo>
                <a:cubicBezTo>
                  <a:pt x="4709658" y="442542"/>
                  <a:pt x="4715744" y="459232"/>
                  <a:pt x="4725700" y="458018"/>
                </a:cubicBezTo>
                <a:cubicBezTo>
                  <a:pt x="4732615" y="458827"/>
                  <a:pt x="4739253" y="450431"/>
                  <a:pt x="4748658" y="451443"/>
                </a:cubicBezTo>
                <a:cubicBezTo>
                  <a:pt x="4758061" y="452455"/>
                  <a:pt x="4776593" y="456804"/>
                  <a:pt x="4788210" y="458119"/>
                </a:cubicBezTo>
                <a:cubicBezTo>
                  <a:pt x="4787380" y="462570"/>
                  <a:pt x="4778254" y="459333"/>
                  <a:pt x="4779912" y="464087"/>
                </a:cubicBezTo>
                <a:cubicBezTo>
                  <a:pt x="4747828" y="455995"/>
                  <a:pt x="4694722" y="468335"/>
                  <a:pt x="4658489" y="457512"/>
                </a:cubicBezTo>
                <a:cubicBezTo>
                  <a:pt x="4650745" y="458928"/>
                  <a:pt x="4647979" y="460850"/>
                  <a:pt x="4642723" y="462570"/>
                </a:cubicBezTo>
                <a:cubicBezTo>
                  <a:pt x="4587130" y="451848"/>
                  <a:pt x="4527109" y="474809"/>
                  <a:pt x="4457685" y="474000"/>
                </a:cubicBezTo>
                <a:cubicBezTo>
                  <a:pt x="4454642" y="475922"/>
                  <a:pt x="4454366" y="478147"/>
                  <a:pt x="4453812" y="480373"/>
                </a:cubicBezTo>
                <a:cubicBezTo>
                  <a:pt x="4385218" y="486442"/>
                  <a:pt x="4331836" y="501008"/>
                  <a:pt x="4277072" y="522250"/>
                </a:cubicBezTo>
                <a:cubicBezTo>
                  <a:pt x="4298922" y="520125"/>
                  <a:pt x="4319944" y="524677"/>
                  <a:pt x="4332943" y="507886"/>
                </a:cubicBezTo>
                <a:cubicBezTo>
                  <a:pt x="4343176" y="515877"/>
                  <a:pt x="4366133" y="497872"/>
                  <a:pt x="4368070" y="511831"/>
                </a:cubicBezTo>
                <a:cubicBezTo>
                  <a:pt x="4353963" y="510213"/>
                  <a:pt x="4349261" y="521137"/>
                  <a:pt x="4337921" y="517597"/>
                </a:cubicBezTo>
                <a:cubicBezTo>
                  <a:pt x="4344559" y="520631"/>
                  <a:pt x="4342347" y="520328"/>
                  <a:pt x="4345114" y="529735"/>
                </a:cubicBezTo>
                <a:cubicBezTo>
                  <a:pt x="4330730" y="530443"/>
                  <a:pt x="4339857" y="520024"/>
                  <a:pt x="4332943" y="519215"/>
                </a:cubicBezTo>
                <a:cubicBezTo>
                  <a:pt x="4326859" y="525385"/>
                  <a:pt x="4333772" y="526296"/>
                  <a:pt x="4330177" y="532668"/>
                </a:cubicBezTo>
                <a:cubicBezTo>
                  <a:pt x="4320773" y="531657"/>
                  <a:pt x="4304731" y="538940"/>
                  <a:pt x="4293114" y="537625"/>
                </a:cubicBezTo>
                <a:cubicBezTo>
                  <a:pt x="4298922" y="545110"/>
                  <a:pt x="4300858" y="547639"/>
                  <a:pt x="4294220" y="556035"/>
                </a:cubicBezTo>
                <a:cubicBezTo>
                  <a:pt x="4308051" y="559777"/>
                  <a:pt x="4319390" y="563216"/>
                  <a:pt x="4337645" y="556136"/>
                </a:cubicBezTo>
                <a:cubicBezTo>
                  <a:pt x="4336538" y="560586"/>
                  <a:pt x="4339305" y="558665"/>
                  <a:pt x="4340964" y="563419"/>
                </a:cubicBezTo>
                <a:cubicBezTo>
                  <a:pt x="4334879" y="569488"/>
                  <a:pt x="4328794" y="575658"/>
                  <a:pt x="4311922" y="576063"/>
                </a:cubicBezTo>
                <a:cubicBezTo>
                  <a:pt x="4306667" y="577782"/>
                  <a:pt x="4316072" y="578895"/>
                  <a:pt x="4310539" y="582840"/>
                </a:cubicBezTo>
                <a:cubicBezTo>
                  <a:pt x="4321879" y="586380"/>
                  <a:pt x="4322709" y="581828"/>
                  <a:pt x="4327964" y="591539"/>
                </a:cubicBezTo>
                <a:cubicBezTo>
                  <a:pt x="4366133" y="593461"/>
                  <a:pt x="4395175" y="569387"/>
                  <a:pt x="4422559" y="576973"/>
                </a:cubicBezTo>
                <a:cubicBezTo>
                  <a:pt x="4407900" y="589010"/>
                  <a:pt x="4368070" y="584661"/>
                  <a:pt x="4361156" y="606611"/>
                </a:cubicBezTo>
                <a:cubicBezTo>
                  <a:pt x="4355070" y="612781"/>
                  <a:pt x="4362538" y="599935"/>
                  <a:pt x="4363368" y="595484"/>
                </a:cubicBezTo>
                <a:cubicBezTo>
                  <a:pt x="4352304" y="603273"/>
                  <a:pt x="4343730" y="597811"/>
                  <a:pt x="4330177" y="605397"/>
                </a:cubicBezTo>
                <a:cubicBezTo>
                  <a:pt x="4327411" y="607420"/>
                  <a:pt x="4330730" y="614602"/>
                  <a:pt x="4324923" y="618547"/>
                </a:cubicBezTo>
                <a:cubicBezTo>
                  <a:pt x="4320219" y="618041"/>
                  <a:pt x="4318837" y="613388"/>
                  <a:pt x="4314688" y="610556"/>
                </a:cubicBezTo>
                <a:cubicBezTo>
                  <a:pt x="4235861" y="631494"/>
                  <a:pt x="4155648" y="658907"/>
                  <a:pt x="4082076" y="689455"/>
                </a:cubicBezTo>
                <a:cubicBezTo>
                  <a:pt x="4076544" y="693400"/>
                  <a:pt x="4072672" y="699772"/>
                  <a:pt x="4071566" y="706448"/>
                </a:cubicBezTo>
                <a:cubicBezTo>
                  <a:pt x="4059673" y="705234"/>
                  <a:pt x="4040587" y="716766"/>
                  <a:pt x="4023439" y="717170"/>
                </a:cubicBezTo>
                <a:cubicBezTo>
                  <a:pt x="4018461" y="718890"/>
                  <a:pt x="4029800" y="722430"/>
                  <a:pt x="4025651" y="731028"/>
                </a:cubicBezTo>
                <a:cubicBezTo>
                  <a:pt x="3997717" y="714338"/>
                  <a:pt x="3974759" y="743672"/>
                  <a:pt x="3950973" y="754698"/>
                </a:cubicBezTo>
                <a:cubicBezTo>
                  <a:pt x="3952909" y="757126"/>
                  <a:pt x="3954015" y="764105"/>
                  <a:pt x="3950696" y="768252"/>
                </a:cubicBezTo>
                <a:cubicBezTo>
                  <a:pt x="3961483" y="762689"/>
                  <a:pt x="3996056" y="757328"/>
                  <a:pt x="3994673" y="741245"/>
                </a:cubicBezTo>
                <a:cubicBezTo>
                  <a:pt x="4020950" y="741953"/>
                  <a:pt x="4063268" y="735175"/>
                  <a:pt x="4072396" y="713529"/>
                </a:cubicBezTo>
                <a:cubicBezTo>
                  <a:pt x="4097288" y="709382"/>
                  <a:pt x="4125501" y="701087"/>
                  <a:pt x="4147352" y="687634"/>
                </a:cubicBezTo>
                <a:cubicBezTo>
                  <a:pt x="4162010" y="686926"/>
                  <a:pt x="4186626" y="685105"/>
                  <a:pt x="4191605" y="671955"/>
                </a:cubicBezTo>
                <a:cubicBezTo>
                  <a:pt x="4222860" y="659513"/>
                  <a:pt x="4257710" y="654355"/>
                  <a:pt x="4300028" y="647577"/>
                </a:cubicBezTo>
                <a:cubicBezTo>
                  <a:pt x="4299475" y="649803"/>
                  <a:pt x="4296709" y="651826"/>
                  <a:pt x="4296156" y="654051"/>
                </a:cubicBezTo>
                <a:cubicBezTo>
                  <a:pt x="4314134" y="660525"/>
                  <a:pt x="4338474" y="647375"/>
                  <a:pt x="4355070" y="649196"/>
                </a:cubicBezTo>
                <a:cubicBezTo>
                  <a:pt x="4354240" y="653647"/>
                  <a:pt x="4358942" y="654152"/>
                  <a:pt x="4357837" y="658603"/>
                </a:cubicBezTo>
                <a:cubicBezTo>
                  <a:pt x="4367793" y="657389"/>
                  <a:pt x="4382452" y="656782"/>
                  <a:pt x="4386048" y="650309"/>
                </a:cubicBezTo>
                <a:cubicBezTo>
                  <a:pt x="4410664" y="648488"/>
                  <a:pt x="4422281" y="649803"/>
                  <a:pt x="4436387" y="639890"/>
                </a:cubicBezTo>
                <a:cubicBezTo>
                  <a:pt x="4439706" y="641407"/>
                  <a:pt x="4433068" y="644644"/>
                  <a:pt x="4424770" y="648589"/>
                </a:cubicBezTo>
                <a:lnTo>
                  <a:pt x="4422559" y="649601"/>
                </a:lnTo>
                <a:lnTo>
                  <a:pt x="4429749" y="649398"/>
                </a:lnTo>
                <a:cubicBezTo>
                  <a:pt x="4431963" y="650005"/>
                  <a:pt x="4434451" y="650612"/>
                  <a:pt x="4439153" y="648994"/>
                </a:cubicBezTo>
                <a:cubicBezTo>
                  <a:pt x="4427536" y="639688"/>
                  <a:pt x="4444686" y="649297"/>
                  <a:pt x="4455749" y="641407"/>
                </a:cubicBezTo>
                <a:cubicBezTo>
                  <a:pt x="4459344" y="637766"/>
                  <a:pt x="4453812" y="634630"/>
                  <a:pt x="4459344" y="629269"/>
                </a:cubicBezTo>
                <a:cubicBezTo>
                  <a:pt x="4464877" y="626740"/>
                  <a:pt x="4468472" y="625931"/>
                  <a:pt x="4472067" y="622391"/>
                </a:cubicBezTo>
                <a:cubicBezTo>
                  <a:pt x="4507747" y="628359"/>
                  <a:pt x="4548130" y="594675"/>
                  <a:pt x="4589342" y="592449"/>
                </a:cubicBezTo>
                <a:cubicBezTo>
                  <a:pt x="4591278" y="587796"/>
                  <a:pt x="4592937" y="585875"/>
                  <a:pt x="4598470" y="583346"/>
                </a:cubicBezTo>
                <a:cubicBezTo>
                  <a:pt x="4649085" y="580716"/>
                  <a:pt x="4704403" y="549864"/>
                  <a:pt x="4751423" y="550876"/>
                </a:cubicBezTo>
                <a:cubicBezTo>
                  <a:pt x="4777423" y="540052"/>
                  <a:pt x="4801486" y="531050"/>
                  <a:pt x="4831635" y="533882"/>
                </a:cubicBezTo>
                <a:cubicBezTo>
                  <a:pt x="4885569" y="516181"/>
                  <a:pt x="4947249" y="514157"/>
                  <a:pt x="5003121" y="500401"/>
                </a:cubicBezTo>
                <a:cubicBezTo>
                  <a:pt x="5008652" y="492207"/>
                  <a:pt x="4991781" y="502626"/>
                  <a:pt x="4999248" y="492511"/>
                </a:cubicBezTo>
                <a:cubicBezTo>
                  <a:pt x="5012248" y="488566"/>
                  <a:pt x="5021652" y="493927"/>
                  <a:pt x="5032992" y="497467"/>
                </a:cubicBezTo>
                <a:cubicBezTo>
                  <a:pt x="5055396" y="496051"/>
                  <a:pt x="5066460" y="485228"/>
                  <a:pt x="5088863" y="486644"/>
                </a:cubicBezTo>
                <a:cubicBezTo>
                  <a:pt x="5098267" y="489072"/>
                  <a:pt x="5091077" y="496253"/>
                  <a:pt x="5100480" y="495849"/>
                </a:cubicBezTo>
                <a:cubicBezTo>
                  <a:pt x="5107672" y="488667"/>
                  <a:pt x="5113203" y="489072"/>
                  <a:pt x="5114863" y="478653"/>
                </a:cubicBezTo>
                <a:cubicBezTo>
                  <a:pt x="5120671" y="481890"/>
                  <a:pt x="5129799" y="478653"/>
                  <a:pt x="5126203" y="476529"/>
                </a:cubicBezTo>
                <a:cubicBezTo>
                  <a:pt x="5131735" y="474000"/>
                  <a:pt x="5141140" y="482092"/>
                  <a:pt x="5150543" y="481789"/>
                </a:cubicBezTo>
                <a:cubicBezTo>
                  <a:pt x="5154416" y="478147"/>
                  <a:pt x="5139479" y="481081"/>
                  <a:pt x="5148607" y="474910"/>
                </a:cubicBezTo>
                <a:cubicBezTo>
                  <a:pt x="5150543" y="476023"/>
                  <a:pt x="5150543" y="473292"/>
                  <a:pt x="5152202" y="471471"/>
                </a:cubicBezTo>
                <a:cubicBezTo>
                  <a:pt x="5175159" y="484318"/>
                  <a:pt x="5202818" y="471673"/>
                  <a:pt x="5227158" y="474101"/>
                </a:cubicBezTo>
                <a:cubicBezTo>
                  <a:pt x="5229094" y="472280"/>
                  <a:pt x="5229094" y="469448"/>
                  <a:pt x="5230754" y="467627"/>
                </a:cubicBezTo>
                <a:cubicBezTo>
                  <a:pt x="5232966" y="477338"/>
                  <a:pt x="5296582" y="473494"/>
                  <a:pt x="5313178" y="463076"/>
                </a:cubicBezTo>
                <a:cubicBezTo>
                  <a:pt x="5379006" y="471876"/>
                  <a:pt x="5434877" y="458220"/>
                  <a:pt x="5500429" y="464087"/>
                </a:cubicBezTo>
                <a:cubicBezTo>
                  <a:pt x="5507897" y="462671"/>
                  <a:pt x="5498493" y="457209"/>
                  <a:pt x="5505961" y="452859"/>
                </a:cubicBezTo>
                <a:cubicBezTo>
                  <a:pt x="5509833" y="457917"/>
                  <a:pt x="5524492" y="455084"/>
                  <a:pt x="5521174" y="464390"/>
                </a:cubicBezTo>
                <a:cubicBezTo>
                  <a:pt x="5537769" y="459636"/>
                  <a:pt x="5569854" y="472078"/>
                  <a:pt x="5578980" y="463076"/>
                </a:cubicBezTo>
                <a:cubicBezTo>
                  <a:pt x="5586449" y="458827"/>
                  <a:pt x="5583129" y="468133"/>
                  <a:pt x="5590597" y="466717"/>
                </a:cubicBezTo>
                <a:cubicBezTo>
                  <a:pt x="5596129" y="467020"/>
                  <a:pt x="5590321" y="460951"/>
                  <a:pt x="5597789" y="459535"/>
                </a:cubicBezTo>
                <a:cubicBezTo>
                  <a:pt x="5586449" y="461659"/>
                  <a:pt x="5590321" y="460951"/>
                  <a:pt x="5580917" y="455590"/>
                </a:cubicBezTo>
                <a:cubicBezTo>
                  <a:pt x="5588108" y="448408"/>
                  <a:pt x="5597789" y="456602"/>
                  <a:pt x="5607194" y="456197"/>
                </a:cubicBezTo>
                <a:cubicBezTo>
                  <a:pt x="5601661" y="461558"/>
                  <a:pt x="5601661" y="464492"/>
                  <a:pt x="5603597" y="465503"/>
                </a:cubicBezTo>
                <a:cubicBezTo>
                  <a:pt x="5613002" y="468032"/>
                  <a:pt x="5618533" y="462671"/>
                  <a:pt x="5627937" y="467931"/>
                </a:cubicBezTo>
                <a:cubicBezTo>
                  <a:pt x="5627937" y="465099"/>
                  <a:pt x="5629596" y="460446"/>
                  <a:pt x="5622129" y="459029"/>
                </a:cubicBezTo>
                <a:cubicBezTo>
                  <a:pt x="5627660" y="456501"/>
                  <a:pt x="5635405" y="463682"/>
                  <a:pt x="5633469" y="465402"/>
                </a:cubicBezTo>
                <a:cubicBezTo>
                  <a:pt x="5652000" y="456096"/>
                  <a:pt x="5677170" y="484318"/>
                  <a:pt x="5697361" y="467526"/>
                </a:cubicBezTo>
                <a:cubicBezTo>
                  <a:pt x="5703169" y="476428"/>
                  <a:pt x="5731105" y="475214"/>
                  <a:pt x="5734977" y="474506"/>
                </a:cubicBezTo>
                <a:cubicBezTo>
                  <a:pt x="5755446" y="474809"/>
                  <a:pt x="5772594" y="481485"/>
                  <a:pt x="5793061" y="484722"/>
                </a:cubicBezTo>
                <a:cubicBezTo>
                  <a:pt x="5806337" y="486442"/>
                  <a:pt x="5830677" y="491803"/>
                  <a:pt x="5845613" y="480271"/>
                </a:cubicBezTo>
                <a:cubicBezTo>
                  <a:pt x="5860826" y="497467"/>
                  <a:pt x="5915038" y="491196"/>
                  <a:pt x="5936058" y="508695"/>
                </a:cubicBezTo>
                <a:cubicBezTo>
                  <a:pt x="5941591" y="508999"/>
                  <a:pt x="5945463" y="508291"/>
                  <a:pt x="5950994" y="502930"/>
                </a:cubicBezTo>
                <a:cubicBezTo>
                  <a:pt x="5985015" y="522149"/>
                  <a:pt x="6018760" y="518507"/>
                  <a:pt x="6062183" y="531556"/>
                </a:cubicBezTo>
                <a:cubicBezTo>
                  <a:pt x="6058588" y="535197"/>
                  <a:pt x="6056651" y="539749"/>
                  <a:pt x="6053056" y="543391"/>
                </a:cubicBezTo>
                <a:cubicBezTo>
                  <a:pt x="6062460" y="548650"/>
                  <a:pt x="6066055" y="542278"/>
                  <a:pt x="6073523" y="538029"/>
                </a:cubicBezTo>
                <a:cubicBezTo>
                  <a:pt x="6086800" y="548347"/>
                  <a:pt x="6101735" y="542581"/>
                  <a:pt x="6111416" y="550775"/>
                </a:cubicBezTo>
                <a:cubicBezTo>
                  <a:pt x="6100076" y="552899"/>
                  <a:pt x="6090672" y="544705"/>
                  <a:pt x="6087076" y="559777"/>
                </a:cubicBezTo>
                <a:cubicBezTo>
                  <a:pt x="6079608" y="555529"/>
                  <a:pt x="6079608" y="552697"/>
                  <a:pt x="6068268" y="554821"/>
                </a:cubicBezTo>
                <a:cubicBezTo>
                  <a:pt x="6064949" y="566959"/>
                  <a:pt x="6068545" y="566251"/>
                  <a:pt x="6061353" y="576265"/>
                </a:cubicBezTo>
                <a:cubicBezTo>
                  <a:pt x="6053885" y="574849"/>
                  <a:pt x="6024014" y="577782"/>
                  <a:pt x="6025397" y="564531"/>
                </a:cubicBezTo>
                <a:cubicBezTo>
                  <a:pt x="5999397" y="566757"/>
                  <a:pt x="5967036" y="542885"/>
                  <a:pt x="5942696" y="551887"/>
                </a:cubicBezTo>
                <a:cubicBezTo>
                  <a:pt x="5942420" y="540457"/>
                  <a:pt x="5920292" y="547639"/>
                  <a:pt x="5905080" y="544807"/>
                </a:cubicBezTo>
                <a:cubicBezTo>
                  <a:pt x="5893740" y="541266"/>
                  <a:pt x="5866911" y="514866"/>
                  <a:pt x="5843124" y="538232"/>
                </a:cubicBezTo>
                <a:cubicBezTo>
                  <a:pt x="5833720" y="535703"/>
                  <a:pt x="5846720" y="534691"/>
                  <a:pt x="5843124" y="529634"/>
                </a:cubicBezTo>
                <a:cubicBezTo>
                  <a:pt x="5827911" y="523969"/>
                  <a:pt x="5810763" y="520125"/>
                  <a:pt x="5801635" y="529027"/>
                </a:cubicBezTo>
                <a:cubicBezTo>
                  <a:pt x="5797763" y="521238"/>
                  <a:pt x="5771210" y="509100"/>
                  <a:pt x="5756551" y="523463"/>
                </a:cubicBezTo>
                <a:cubicBezTo>
                  <a:pt x="5730000" y="505661"/>
                  <a:pt x="5651170" y="500907"/>
                  <a:pt x="5606640" y="521036"/>
                </a:cubicBezTo>
                <a:cubicBezTo>
                  <a:pt x="5608576" y="516383"/>
                  <a:pt x="5604704" y="514157"/>
                  <a:pt x="5597235" y="512741"/>
                </a:cubicBezTo>
                <a:cubicBezTo>
                  <a:pt x="5595300" y="517394"/>
                  <a:pt x="5608576" y="516383"/>
                  <a:pt x="5599448" y="522452"/>
                </a:cubicBezTo>
                <a:cubicBezTo>
                  <a:pt x="5557960" y="516181"/>
                  <a:pt x="5498216" y="524880"/>
                  <a:pt x="5458664" y="516686"/>
                </a:cubicBezTo>
                <a:cubicBezTo>
                  <a:pt x="5460323" y="509201"/>
                  <a:pt x="5466132" y="515270"/>
                  <a:pt x="5469727" y="508898"/>
                </a:cubicBezTo>
                <a:cubicBezTo>
                  <a:pt x="5456451" y="504245"/>
                  <a:pt x="5430175" y="503536"/>
                  <a:pt x="5424920" y="517495"/>
                </a:cubicBezTo>
                <a:cubicBezTo>
                  <a:pt x="5413856" y="519721"/>
                  <a:pt x="5404452" y="520125"/>
                  <a:pt x="5391176" y="515472"/>
                </a:cubicBezTo>
                <a:cubicBezTo>
                  <a:pt x="5389240" y="511528"/>
                  <a:pt x="5396708" y="512944"/>
                  <a:pt x="5400303" y="509302"/>
                </a:cubicBezTo>
                <a:cubicBezTo>
                  <a:pt x="5387027" y="501918"/>
                  <a:pt x="5385368" y="509403"/>
                  <a:pt x="5372368" y="507684"/>
                </a:cubicBezTo>
                <a:cubicBezTo>
                  <a:pt x="5370432" y="512337"/>
                  <a:pt x="5385368" y="509504"/>
                  <a:pt x="5378176" y="516686"/>
                </a:cubicBezTo>
                <a:cubicBezTo>
                  <a:pt x="5362964" y="513854"/>
                  <a:pt x="5355772" y="520935"/>
                  <a:pt x="5342496" y="516383"/>
                </a:cubicBezTo>
                <a:cubicBezTo>
                  <a:pt x="5348028" y="510921"/>
                  <a:pt x="5355496" y="509504"/>
                  <a:pt x="5361304" y="515574"/>
                </a:cubicBezTo>
                <a:cubicBezTo>
                  <a:pt x="5361304" y="512741"/>
                  <a:pt x="5357432" y="510617"/>
                  <a:pt x="5361028" y="506976"/>
                </a:cubicBezTo>
                <a:cubicBezTo>
                  <a:pt x="5346092" y="507077"/>
                  <a:pt x="5336688" y="507481"/>
                  <a:pt x="5329496" y="520328"/>
                </a:cubicBezTo>
                <a:cubicBezTo>
                  <a:pt x="5322028" y="518912"/>
                  <a:pt x="5331157" y="512843"/>
                  <a:pt x="5331157" y="509909"/>
                </a:cubicBezTo>
                <a:cubicBezTo>
                  <a:pt x="5276669" y="507583"/>
                  <a:pt x="5228542" y="531353"/>
                  <a:pt x="5164925" y="529330"/>
                </a:cubicBezTo>
                <a:cubicBezTo>
                  <a:pt x="5162989" y="525487"/>
                  <a:pt x="5161053" y="521542"/>
                  <a:pt x="5155245" y="518305"/>
                </a:cubicBezTo>
                <a:cubicBezTo>
                  <a:pt x="5144181" y="526195"/>
                  <a:pt x="5127310" y="522351"/>
                  <a:pt x="5122054" y="536310"/>
                </a:cubicBezTo>
                <a:cubicBezTo>
                  <a:pt x="5088310" y="534186"/>
                  <a:pt x="5058438" y="542885"/>
                  <a:pt x="5028567" y="551483"/>
                </a:cubicBezTo>
                <a:cubicBezTo>
                  <a:pt x="4931207" y="553202"/>
                  <a:pt x="4844081" y="583042"/>
                  <a:pt x="4750594" y="598316"/>
                </a:cubicBezTo>
                <a:cubicBezTo>
                  <a:pt x="4689467" y="626032"/>
                  <a:pt x="4631383" y="627347"/>
                  <a:pt x="4570257" y="652129"/>
                </a:cubicBezTo>
                <a:cubicBezTo>
                  <a:pt x="4562789" y="647881"/>
                  <a:pt x="4549790" y="657592"/>
                  <a:pt x="4543982" y="651522"/>
                </a:cubicBezTo>
                <a:cubicBezTo>
                  <a:pt x="4538449" y="656884"/>
                  <a:pt x="4538449" y="659817"/>
                  <a:pt x="4546194" y="661233"/>
                </a:cubicBezTo>
                <a:cubicBezTo>
                  <a:pt x="4531258" y="669831"/>
                  <a:pt x="4514386" y="665987"/>
                  <a:pt x="4497514" y="670640"/>
                </a:cubicBezTo>
                <a:cubicBezTo>
                  <a:pt x="4501663" y="678530"/>
                  <a:pt x="4490323" y="674889"/>
                  <a:pt x="4486727" y="684195"/>
                </a:cubicBezTo>
                <a:cubicBezTo>
                  <a:pt x="4484791" y="683183"/>
                  <a:pt x="4482854" y="682070"/>
                  <a:pt x="4479259" y="682779"/>
                </a:cubicBezTo>
                <a:cubicBezTo>
                  <a:pt x="4446068" y="703616"/>
                  <a:pt x="4406792" y="706954"/>
                  <a:pt x="4371665" y="732444"/>
                </a:cubicBezTo>
                <a:cubicBezTo>
                  <a:pt x="4356730" y="729612"/>
                  <a:pt x="4338474" y="753282"/>
                  <a:pt x="4325198" y="742964"/>
                </a:cubicBezTo>
                <a:cubicBezTo>
                  <a:pt x="4321602" y="747921"/>
                  <a:pt x="4316347" y="750045"/>
                  <a:pt x="4311369" y="752473"/>
                </a:cubicBezTo>
                <a:lnTo>
                  <a:pt x="4310815" y="752877"/>
                </a:lnTo>
                <a:lnTo>
                  <a:pt x="4324369" y="754394"/>
                </a:lnTo>
                <a:cubicBezTo>
                  <a:pt x="4321602" y="756519"/>
                  <a:pt x="4318837" y="758643"/>
                  <a:pt x="4318283" y="761070"/>
                </a:cubicBezTo>
                <a:lnTo>
                  <a:pt x="4310539" y="752978"/>
                </a:lnTo>
                <a:lnTo>
                  <a:pt x="4297539" y="764105"/>
                </a:lnTo>
                <a:cubicBezTo>
                  <a:pt x="4285369" y="765015"/>
                  <a:pt x="4275135" y="768455"/>
                  <a:pt x="4266009" y="773006"/>
                </a:cubicBezTo>
                <a:lnTo>
                  <a:pt x="4252455" y="781706"/>
                </a:lnTo>
                <a:lnTo>
                  <a:pt x="4256051" y="783931"/>
                </a:lnTo>
                <a:lnTo>
                  <a:pt x="4246093" y="785651"/>
                </a:lnTo>
                <a:lnTo>
                  <a:pt x="4240562" y="789191"/>
                </a:lnTo>
                <a:lnTo>
                  <a:pt x="4239179" y="790101"/>
                </a:lnTo>
                <a:lnTo>
                  <a:pt x="4236136" y="797586"/>
                </a:lnTo>
                <a:cubicBezTo>
                  <a:pt x="4231711" y="794855"/>
                  <a:pt x="4233923" y="797384"/>
                  <a:pt x="4226180" y="798800"/>
                </a:cubicBezTo>
                <a:lnTo>
                  <a:pt x="4225902" y="798295"/>
                </a:lnTo>
                <a:lnTo>
                  <a:pt x="4215945" y="804667"/>
                </a:lnTo>
                <a:cubicBezTo>
                  <a:pt x="4207094" y="808916"/>
                  <a:pt x="4197414" y="811546"/>
                  <a:pt x="4186350" y="811647"/>
                </a:cubicBezTo>
                <a:cubicBezTo>
                  <a:pt x="4176116" y="822875"/>
                  <a:pt x="4165606" y="828236"/>
                  <a:pt x="4155095" y="833192"/>
                </a:cubicBezTo>
                <a:lnTo>
                  <a:pt x="4149563" y="835923"/>
                </a:lnTo>
                <a:lnTo>
                  <a:pt x="4237242" y="802442"/>
                </a:lnTo>
                <a:cubicBezTo>
                  <a:pt x="4254115" y="795968"/>
                  <a:pt x="4270986" y="789798"/>
                  <a:pt x="4288412" y="784639"/>
                </a:cubicBezTo>
                <a:lnTo>
                  <a:pt x="4320497" y="777558"/>
                </a:lnTo>
                <a:lnTo>
                  <a:pt x="4321326" y="777154"/>
                </a:lnTo>
                <a:cubicBezTo>
                  <a:pt x="4326030" y="775839"/>
                  <a:pt x="4330453" y="774220"/>
                  <a:pt x="4333220" y="767241"/>
                </a:cubicBezTo>
                <a:cubicBezTo>
                  <a:pt x="4379963" y="762487"/>
                  <a:pt x="4418409" y="730522"/>
                  <a:pt x="4465153" y="725768"/>
                </a:cubicBezTo>
                <a:cubicBezTo>
                  <a:pt x="4485620" y="711708"/>
                  <a:pt x="4511896" y="712416"/>
                  <a:pt x="4532088" y="695524"/>
                </a:cubicBezTo>
                <a:cubicBezTo>
                  <a:pt x="4550897" y="697648"/>
                  <a:pt x="4571087" y="683588"/>
                  <a:pt x="4597086" y="675698"/>
                </a:cubicBezTo>
                <a:cubicBezTo>
                  <a:pt x="4613681" y="671045"/>
                  <a:pt x="4632490" y="675900"/>
                  <a:pt x="4643554" y="659513"/>
                </a:cubicBezTo>
                <a:cubicBezTo>
                  <a:pt x="4664021" y="662649"/>
                  <a:pt x="4677022" y="655872"/>
                  <a:pt x="4690020" y="646161"/>
                </a:cubicBezTo>
                <a:cubicBezTo>
                  <a:pt x="4749765" y="640295"/>
                  <a:pt x="4807294" y="621885"/>
                  <a:pt x="4865378" y="612073"/>
                </a:cubicBezTo>
                <a:cubicBezTo>
                  <a:pt x="4868974" y="608432"/>
                  <a:pt x="4867039" y="607420"/>
                  <a:pt x="4868697" y="602767"/>
                </a:cubicBezTo>
                <a:cubicBezTo>
                  <a:pt x="4867314" y="615917"/>
                  <a:pt x="4900782" y="606611"/>
                  <a:pt x="4893038" y="602362"/>
                </a:cubicBezTo>
                <a:cubicBezTo>
                  <a:pt x="4941718" y="598620"/>
                  <a:pt x="5014460" y="588707"/>
                  <a:pt x="5057332" y="576063"/>
                </a:cubicBezTo>
                <a:cubicBezTo>
                  <a:pt x="5059268" y="574343"/>
                  <a:pt x="5066736" y="575759"/>
                  <a:pt x="5064800" y="577580"/>
                </a:cubicBezTo>
                <a:cubicBezTo>
                  <a:pt x="5072268" y="578996"/>
                  <a:pt x="5068396" y="573939"/>
                  <a:pt x="5073927" y="571410"/>
                </a:cubicBezTo>
                <a:cubicBezTo>
                  <a:pt x="5085267" y="574950"/>
                  <a:pt x="5104076" y="577074"/>
                  <a:pt x="5113203" y="568173"/>
                </a:cubicBezTo>
                <a:cubicBezTo>
                  <a:pt x="5145287" y="572017"/>
                  <a:pt x="5201159" y="561092"/>
                  <a:pt x="5231307" y="563823"/>
                </a:cubicBezTo>
                <a:cubicBezTo>
                  <a:pt x="5236839" y="561294"/>
                  <a:pt x="5242370" y="558766"/>
                  <a:pt x="5246244" y="558058"/>
                </a:cubicBezTo>
                <a:cubicBezTo>
                  <a:pt x="5253711" y="559474"/>
                  <a:pt x="5257306" y="561598"/>
                  <a:pt x="5263115" y="564835"/>
                </a:cubicBezTo>
                <a:cubicBezTo>
                  <a:pt x="5272519" y="561598"/>
                  <a:pt x="5285520" y="557552"/>
                  <a:pt x="5300454" y="563318"/>
                </a:cubicBezTo>
                <a:cubicBezTo>
                  <a:pt x="5296860" y="569690"/>
                  <a:pt x="5293263" y="570398"/>
                  <a:pt x="5299071" y="576467"/>
                </a:cubicBezTo>
                <a:cubicBezTo>
                  <a:pt x="5310135" y="574343"/>
                  <a:pt x="5302391" y="567161"/>
                  <a:pt x="5307922" y="561800"/>
                </a:cubicBezTo>
                <a:cubicBezTo>
                  <a:pt x="5320922" y="557855"/>
                  <a:pt x="5321199" y="569286"/>
                  <a:pt x="5327007" y="572522"/>
                </a:cubicBezTo>
                <a:cubicBezTo>
                  <a:pt x="5332262" y="555731"/>
                  <a:pt x="5352730" y="550269"/>
                  <a:pt x="5366283" y="566251"/>
                </a:cubicBezTo>
                <a:cubicBezTo>
                  <a:pt x="5375687" y="568780"/>
                  <a:pt x="5380942" y="557754"/>
                  <a:pt x="5388688" y="562003"/>
                </a:cubicBezTo>
                <a:cubicBezTo>
                  <a:pt x="5390346" y="560182"/>
                  <a:pt x="5393942" y="556540"/>
                  <a:pt x="5390346" y="554416"/>
                </a:cubicBezTo>
                <a:cubicBezTo>
                  <a:pt x="5397814" y="553000"/>
                  <a:pt x="5403347" y="559069"/>
                  <a:pt x="5408878" y="550876"/>
                </a:cubicBezTo>
                <a:cubicBezTo>
                  <a:pt x="5414686" y="554012"/>
                  <a:pt x="5433494" y="561800"/>
                  <a:pt x="5440686" y="551786"/>
                </a:cubicBezTo>
                <a:cubicBezTo>
                  <a:pt x="5444558" y="553910"/>
                  <a:pt x="5439026" y="559373"/>
                  <a:pt x="5442898" y="561497"/>
                </a:cubicBezTo>
                <a:cubicBezTo>
                  <a:pt x="5452027" y="555428"/>
                  <a:pt x="5461430" y="560688"/>
                  <a:pt x="5468898" y="550673"/>
                </a:cubicBezTo>
                <a:cubicBezTo>
                  <a:pt x="5474429" y="553809"/>
                  <a:pt x="5486046" y="560283"/>
                  <a:pt x="5485770" y="554517"/>
                </a:cubicBezTo>
                <a:cubicBezTo>
                  <a:pt x="5519514" y="556540"/>
                  <a:pt x="5558789" y="547538"/>
                  <a:pt x="5588938" y="558867"/>
                </a:cubicBezTo>
                <a:cubicBezTo>
                  <a:pt x="5594471" y="559271"/>
                  <a:pt x="5600001" y="559575"/>
                  <a:pt x="5605533" y="554214"/>
                </a:cubicBezTo>
                <a:cubicBezTo>
                  <a:pt x="5628490" y="569892"/>
                  <a:pt x="5682425" y="552292"/>
                  <a:pt x="5710914" y="571106"/>
                </a:cubicBezTo>
                <a:cubicBezTo>
                  <a:pt x="5716446" y="571511"/>
                  <a:pt x="5720318" y="565037"/>
                  <a:pt x="5725850" y="565442"/>
                </a:cubicBezTo>
                <a:cubicBezTo>
                  <a:pt x="5737190" y="568982"/>
                  <a:pt x="5731658" y="577175"/>
                  <a:pt x="5735530" y="582132"/>
                </a:cubicBezTo>
                <a:cubicBezTo>
                  <a:pt x="5748531" y="581019"/>
                  <a:pt x="5772594" y="563419"/>
                  <a:pt x="5778678" y="583750"/>
                </a:cubicBezTo>
                <a:cubicBezTo>
                  <a:pt x="5790019" y="584458"/>
                  <a:pt x="5799147" y="575557"/>
                  <a:pt x="5808550" y="575152"/>
                </a:cubicBezTo>
                <a:cubicBezTo>
                  <a:pt x="5810486" y="579097"/>
                  <a:pt x="5810486" y="581930"/>
                  <a:pt x="5814359" y="584054"/>
                </a:cubicBezTo>
                <a:cubicBezTo>
                  <a:pt x="5823486" y="577985"/>
                  <a:pt x="5851699" y="582536"/>
                  <a:pt x="5853911" y="595079"/>
                </a:cubicBezTo>
                <a:cubicBezTo>
                  <a:pt x="5866911" y="588201"/>
                  <a:pt x="5881847" y="591134"/>
                  <a:pt x="5896782" y="591033"/>
                </a:cubicBezTo>
                <a:cubicBezTo>
                  <a:pt x="5929420" y="617839"/>
                  <a:pt x="6006035" y="612882"/>
                  <a:pt x="6047800" y="639283"/>
                </a:cubicBezTo>
                <a:cubicBezTo>
                  <a:pt x="6051674" y="644239"/>
                  <a:pt x="6064672" y="634630"/>
                  <a:pt x="6062736" y="639283"/>
                </a:cubicBezTo>
                <a:cubicBezTo>
                  <a:pt x="6036737" y="647173"/>
                  <a:pt x="6001333" y="646971"/>
                  <a:pt x="5976717" y="638777"/>
                </a:cubicBezTo>
                <a:cubicBezTo>
                  <a:pt x="5967313" y="639182"/>
                  <a:pt x="5962058" y="650207"/>
                  <a:pt x="5963994" y="654152"/>
                </a:cubicBezTo>
                <a:cubicBezTo>
                  <a:pt x="5996079" y="660828"/>
                  <a:pt x="6022632" y="684397"/>
                  <a:pt x="6044759" y="671449"/>
                </a:cubicBezTo>
                <a:cubicBezTo>
                  <a:pt x="6050567" y="677519"/>
                  <a:pt x="6063843" y="682172"/>
                  <a:pt x="6064119" y="690770"/>
                </a:cubicBezTo>
                <a:cubicBezTo>
                  <a:pt x="6032035" y="681160"/>
                  <a:pt x="6007418" y="678631"/>
                  <a:pt x="5973674" y="668010"/>
                </a:cubicBezTo>
                <a:cubicBezTo>
                  <a:pt x="5968144" y="673371"/>
                  <a:pt x="5960675" y="672056"/>
                  <a:pt x="5955143" y="680250"/>
                </a:cubicBezTo>
                <a:cubicBezTo>
                  <a:pt x="5951547" y="686723"/>
                  <a:pt x="5964547" y="679845"/>
                  <a:pt x="5964547" y="685611"/>
                </a:cubicBezTo>
                <a:cubicBezTo>
                  <a:pt x="5960951" y="689151"/>
                  <a:pt x="5959293" y="690972"/>
                  <a:pt x="5955419" y="688848"/>
                </a:cubicBezTo>
                <a:cubicBezTo>
                  <a:pt x="5955419" y="691680"/>
                  <a:pt x="5959293" y="693905"/>
                  <a:pt x="5955696" y="697446"/>
                </a:cubicBezTo>
                <a:cubicBezTo>
                  <a:pt x="5965100" y="699974"/>
                  <a:pt x="5974228" y="690972"/>
                  <a:pt x="5987504" y="698457"/>
                </a:cubicBezTo>
                <a:cubicBezTo>
                  <a:pt x="5972569" y="701289"/>
                  <a:pt x="5984185" y="713428"/>
                  <a:pt x="5968972" y="713529"/>
                </a:cubicBezTo>
                <a:cubicBezTo>
                  <a:pt x="5972845" y="718485"/>
                  <a:pt x="5984185" y="722026"/>
                  <a:pt x="5973398" y="732849"/>
                </a:cubicBezTo>
                <a:cubicBezTo>
                  <a:pt x="5967590" y="729612"/>
                  <a:pt x="5972845" y="715653"/>
                  <a:pt x="5961781" y="726375"/>
                </a:cubicBezTo>
                <a:cubicBezTo>
                  <a:pt x="5958185" y="721419"/>
                  <a:pt x="5971185" y="717474"/>
                  <a:pt x="5963441" y="713225"/>
                </a:cubicBezTo>
                <a:cubicBezTo>
                  <a:pt x="5961504" y="712113"/>
                  <a:pt x="5957909" y="715653"/>
                  <a:pt x="5957909" y="718586"/>
                </a:cubicBezTo>
                <a:cubicBezTo>
                  <a:pt x="5946570" y="717878"/>
                  <a:pt x="5955973" y="708876"/>
                  <a:pt x="5948228" y="707460"/>
                </a:cubicBezTo>
                <a:cubicBezTo>
                  <a:pt x="5938824" y="707864"/>
                  <a:pt x="5950442" y="714237"/>
                  <a:pt x="5944909" y="719598"/>
                </a:cubicBezTo>
                <a:cubicBezTo>
                  <a:pt x="5933569" y="716058"/>
                  <a:pt x="5924165" y="719396"/>
                  <a:pt x="5916974" y="729410"/>
                </a:cubicBezTo>
                <a:cubicBezTo>
                  <a:pt x="5911166" y="714743"/>
                  <a:pt x="5896229" y="723341"/>
                  <a:pt x="5905357" y="711506"/>
                </a:cubicBezTo>
                <a:cubicBezTo>
                  <a:pt x="5886272" y="700885"/>
                  <a:pt x="5845337" y="714540"/>
                  <a:pt x="5850592" y="697749"/>
                </a:cubicBezTo>
                <a:cubicBezTo>
                  <a:pt x="5837316" y="693096"/>
                  <a:pt x="5843402" y="707763"/>
                  <a:pt x="5832061" y="701289"/>
                </a:cubicBezTo>
                <a:cubicBezTo>
                  <a:pt x="5831784" y="692793"/>
                  <a:pt x="5839528" y="699873"/>
                  <a:pt x="5843124" y="696333"/>
                </a:cubicBezTo>
                <a:cubicBezTo>
                  <a:pt x="5844784" y="683082"/>
                  <a:pt x="5820720" y="694917"/>
                  <a:pt x="5818507" y="688140"/>
                </a:cubicBezTo>
                <a:cubicBezTo>
                  <a:pt x="5812977" y="693501"/>
                  <a:pt x="5814913" y="694512"/>
                  <a:pt x="5809657" y="702807"/>
                </a:cubicBezTo>
                <a:cubicBezTo>
                  <a:pt x="5805784" y="700682"/>
                  <a:pt x="5803848" y="699671"/>
                  <a:pt x="5800252" y="700379"/>
                </a:cubicBezTo>
                <a:cubicBezTo>
                  <a:pt x="5801912" y="692894"/>
                  <a:pt x="5807444" y="696131"/>
                  <a:pt x="5811316" y="692489"/>
                </a:cubicBezTo>
                <a:cubicBezTo>
                  <a:pt x="5807444" y="693197"/>
                  <a:pt x="5805508" y="692085"/>
                  <a:pt x="5803848" y="691073"/>
                </a:cubicBezTo>
                <a:cubicBezTo>
                  <a:pt x="5799976" y="691781"/>
                  <a:pt x="5803848" y="693905"/>
                  <a:pt x="5800252" y="697446"/>
                </a:cubicBezTo>
                <a:cubicBezTo>
                  <a:pt x="5779232" y="685712"/>
                  <a:pt x="5756551" y="681464"/>
                  <a:pt x="5734424" y="688747"/>
                </a:cubicBezTo>
                <a:cubicBezTo>
                  <a:pt x="5728616" y="682677"/>
                  <a:pt x="5721149" y="684195"/>
                  <a:pt x="5713680" y="685611"/>
                </a:cubicBezTo>
                <a:cubicBezTo>
                  <a:pt x="5711744" y="687432"/>
                  <a:pt x="5708148" y="690972"/>
                  <a:pt x="5710084" y="691983"/>
                </a:cubicBezTo>
                <a:cubicBezTo>
                  <a:pt x="5702340" y="681969"/>
                  <a:pt x="5674127" y="677417"/>
                  <a:pt x="5657532" y="685004"/>
                </a:cubicBezTo>
                <a:cubicBezTo>
                  <a:pt x="5662787" y="679643"/>
                  <a:pt x="5655319" y="681160"/>
                  <a:pt x="5657255" y="676507"/>
                </a:cubicBezTo>
                <a:cubicBezTo>
                  <a:pt x="5625448" y="678328"/>
                  <a:pt x="5603044" y="676912"/>
                  <a:pt x="5572896" y="671348"/>
                </a:cubicBezTo>
                <a:cubicBezTo>
                  <a:pt x="5569300" y="674889"/>
                  <a:pt x="5576769" y="679137"/>
                  <a:pt x="5567364" y="676709"/>
                </a:cubicBezTo>
                <a:cubicBezTo>
                  <a:pt x="5565427" y="678429"/>
                  <a:pt x="5567364" y="679542"/>
                  <a:pt x="5565704" y="681362"/>
                </a:cubicBezTo>
                <a:cubicBezTo>
                  <a:pt x="5575108" y="686622"/>
                  <a:pt x="5574833" y="678024"/>
                  <a:pt x="5580363" y="678429"/>
                </a:cubicBezTo>
                <a:cubicBezTo>
                  <a:pt x="5582299" y="679440"/>
                  <a:pt x="5586172" y="681565"/>
                  <a:pt x="5586172" y="684397"/>
                </a:cubicBezTo>
                <a:cubicBezTo>
                  <a:pt x="5565704" y="689859"/>
                  <a:pt x="5545237" y="689556"/>
                  <a:pt x="5522556" y="688241"/>
                </a:cubicBezTo>
                <a:cubicBezTo>
                  <a:pt x="5517302" y="696434"/>
                  <a:pt x="5530301" y="689556"/>
                  <a:pt x="5522833" y="696738"/>
                </a:cubicBezTo>
                <a:cubicBezTo>
                  <a:pt x="5500152" y="692590"/>
                  <a:pt x="5477749" y="694006"/>
                  <a:pt x="5457557" y="702301"/>
                </a:cubicBezTo>
                <a:cubicBezTo>
                  <a:pt x="5453963" y="708775"/>
                  <a:pt x="5465025" y="709483"/>
                  <a:pt x="5459771" y="717777"/>
                </a:cubicBezTo>
                <a:cubicBezTo>
                  <a:pt x="5478578" y="719901"/>
                  <a:pt x="5495450" y="723644"/>
                  <a:pt x="5508451" y="719699"/>
                </a:cubicBezTo>
                <a:cubicBezTo>
                  <a:pt x="5512599" y="733254"/>
                  <a:pt x="5527258" y="721823"/>
                  <a:pt x="5544130" y="720003"/>
                </a:cubicBezTo>
                <a:cubicBezTo>
                  <a:pt x="5561003" y="721014"/>
                  <a:pt x="5583684" y="728095"/>
                  <a:pt x="5604151" y="728398"/>
                </a:cubicBezTo>
                <a:cubicBezTo>
                  <a:pt x="5622958" y="727690"/>
                  <a:pt x="5649234" y="734063"/>
                  <a:pt x="5666383" y="740739"/>
                </a:cubicBezTo>
                <a:cubicBezTo>
                  <a:pt x="5669979" y="742964"/>
                  <a:pt x="5673574" y="736490"/>
                  <a:pt x="5681320" y="737907"/>
                </a:cubicBezTo>
                <a:cubicBezTo>
                  <a:pt x="5679384" y="742560"/>
                  <a:pt x="5684914" y="742863"/>
                  <a:pt x="5686851" y="743875"/>
                </a:cubicBezTo>
                <a:cubicBezTo>
                  <a:pt x="5705383" y="734569"/>
                  <a:pt x="5720871" y="748831"/>
                  <a:pt x="5739403" y="739525"/>
                </a:cubicBezTo>
                <a:cubicBezTo>
                  <a:pt x="5794168" y="759047"/>
                  <a:pt x="5842571" y="752473"/>
                  <a:pt x="5886272" y="777053"/>
                </a:cubicBezTo>
                <a:cubicBezTo>
                  <a:pt x="5893740" y="778469"/>
                  <a:pt x="5901208" y="774119"/>
                  <a:pt x="5908676" y="775535"/>
                </a:cubicBezTo>
                <a:cubicBezTo>
                  <a:pt x="5895954" y="785246"/>
                  <a:pt x="5912825" y="786257"/>
                  <a:pt x="5918356" y="789494"/>
                </a:cubicBezTo>
                <a:cubicBezTo>
                  <a:pt x="5894293" y="798497"/>
                  <a:pt x="5858336" y="783931"/>
                  <a:pt x="5826529" y="780087"/>
                </a:cubicBezTo>
                <a:cubicBezTo>
                  <a:pt x="5822933" y="783627"/>
                  <a:pt x="5828465" y="783931"/>
                  <a:pt x="5830401" y="784942"/>
                </a:cubicBezTo>
                <a:cubicBezTo>
                  <a:pt x="5802190" y="788989"/>
                  <a:pt x="5780891" y="757227"/>
                  <a:pt x="5766232" y="765825"/>
                </a:cubicBezTo>
                <a:cubicBezTo>
                  <a:pt x="5752679" y="749843"/>
                  <a:pt x="5696808" y="763498"/>
                  <a:pt x="5690723" y="745999"/>
                </a:cubicBezTo>
                <a:cubicBezTo>
                  <a:pt x="5673851" y="744987"/>
                  <a:pt x="5672191" y="746808"/>
                  <a:pt x="5656979" y="743976"/>
                </a:cubicBezTo>
                <a:cubicBezTo>
                  <a:pt x="5653107" y="741852"/>
                  <a:pt x="5657255" y="749741"/>
                  <a:pt x="5659191" y="750753"/>
                </a:cubicBezTo>
                <a:cubicBezTo>
                  <a:pt x="5597235" y="749843"/>
                  <a:pt x="5546619" y="746808"/>
                  <a:pt x="5486599" y="744077"/>
                </a:cubicBezTo>
                <a:cubicBezTo>
                  <a:pt x="5477473" y="755912"/>
                  <a:pt x="5499876" y="757328"/>
                  <a:pt x="5503748" y="759452"/>
                </a:cubicBezTo>
                <a:cubicBezTo>
                  <a:pt x="5515088" y="760160"/>
                  <a:pt x="5539152" y="753990"/>
                  <a:pt x="5557960" y="756013"/>
                </a:cubicBezTo>
                <a:cubicBezTo>
                  <a:pt x="5582299" y="758441"/>
                  <a:pt x="5604980" y="759857"/>
                  <a:pt x="5621853" y="760868"/>
                </a:cubicBezTo>
                <a:cubicBezTo>
                  <a:pt x="5636788" y="760868"/>
                  <a:pt x="5650064" y="768353"/>
                  <a:pt x="5665000" y="768252"/>
                </a:cubicBezTo>
                <a:cubicBezTo>
                  <a:pt x="5697084" y="772096"/>
                  <a:pt x="5728893" y="770275"/>
                  <a:pt x="5757104" y="774928"/>
                </a:cubicBezTo>
                <a:cubicBezTo>
                  <a:pt x="5788912" y="781604"/>
                  <a:pt x="5819061" y="790101"/>
                  <a:pt x="5847549" y="797485"/>
                </a:cubicBezTo>
                <a:cubicBezTo>
                  <a:pt x="5757381" y="792023"/>
                  <a:pt x="5670533" y="762992"/>
                  <a:pt x="5584513" y="768151"/>
                </a:cubicBezTo>
                <a:cubicBezTo>
                  <a:pt x="5561832" y="763903"/>
                  <a:pt x="5539428" y="765420"/>
                  <a:pt x="5517024" y="761172"/>
                </a:cubicBezTo>
                <a:cubicBezTo>
                  <a:pt x="5515088" y="760160"/>
                  <a:pt x="5509556" y="762689"/>
                  <a:pt x="5507620" y="764510"/>
                </a:cubicBezTo>
                <a:cubicBezTo>
                  <a:pt x="5462536" y="756013"/>
                  <a:pt x="5444005" y="768151"/>
                  <a:pt x="5398644" y="753990"/>
                </a:cubicBezTo>
                <a:cubicBezTo>
                  <a:pt x="5421049" y="749640"/>
                  <a:pt x="5447600" y="756013"/>
                  <a:pt x="5468068" y="750551"/>
                </a:cubicBezTo>
                <a:cubicBezTo>
                  <a:pt x="5441515" y="744279"/>
                  <a:pt x="5407772" y="745088"/>
                  <a:pt x="5376240" y="749843"/>
                </a:cubicBezTo>
                <a:cubicBezTo>
                  <a:pt x="5342219" y="744886"/>
                  <a:pt x="5308476" y="742762"/>
                  <a:pt x="5276944" y="750449"/>
                </a:cubicBezTo>
                <a:cubicBezTo>
                  <a:pt x="5261732" y="741852"/>
                  <a:pt x="5237393" y="748022"/>
                  <a:pt x="5222733" y="753788"/>
                </a:cubicBezTo>
                <a:cubicBezTo>
                  <a:pt x="5201989" y="750652"/>
                  <a:pt x="5159117" y="757530"/>
                  <a:pt x="5129246" y="763296"/>
                </a:cubicBezTo>
                <a:cubicBezTo>
                  <a:pt x="5097437" y="759452"/>
                  <a:pt x="5067566" y="770983"/>
                  <a:pt x="5035758" y="772804"/>
                </a:cubicBezTo>
                <a:cubicBezTo>
                  <a:pt x="5041566" y="784639"/>
                  <a:pt x="5059821" y="766735"/>
                  <a:pt x="5063971" y="777457"/>
                </a:cubicBezTo>
                <a:cubicBezTo>
                  <a:pt x="5159117" y="763195"/>
                  <a:pt x="5230201" y="752371"/>
                  <a:pt x="5320370" y="760666"/>
                </a:cubicBezTo>
                <a:cubicBezTo>
                  <a:pt x="5264221" y="765825"/>
                  <a:pt x="5217477" y="773411"/>
                  <a:pt x="5157734" y="776446"/>
                </a:cubicBezTo>
                <a:cubicBezTo>
                  <a:pt x="5153863" y="779986"/>
                  <a:pt x="5155798" y="781099"/>
                  <a:pt x="5159670" y="783223"/>
                </a:cubicBezTo>
                <a:cubicBezTo>
                  <a:pt x="5142798" y="779379"/>
                  <a:pt x="5129799" y="783324"/>
                  <a:pt x="5109054" y="783021"/>
                </a:cubicBezTo>
                <a:cubicBezTo>
                  <a:pt x="5105458" y="786662"/>
                  <a:pt x="5103522" y="791315"/>
                  <a:pt x="5101864" y="790202"/>
                </a:cubicBezTo>
                <a:cubicBezTo>
                  <a:pt x="5130353" y="806286"/>
                  <a:pt x="5179862" y="772096"/>
                  <a:pt x="5216094" y="795260"/>
                </a:cubicBezTo>
                <a:cubicBezTo>
                  <a:pt x="5223563" y="788078"/>
                  <a:pt x="5212222" y="787370"/>
                  <a:pt x="5212222" y="784538"/>
                </a:cubicBezTo>
                <a:cubicBezTo>
                  <a:pt x="5217477" y="776243"/>
                  <a:pt x="5225222" y="786359"/>
                  <a:pt x="5226881" y="775940"/>
                </a:cubicBezTo>
                <a:cubicBezTo>
                  <a:pt x="5240158" y="780593"/>
                  <a:pt x="5251498" y="781200"/>
                  <a:pt x="5264498" y="780087"/>
                </a:cubicBezTo>
                <a:cubicBezTo>
                  <a:pt x="5273902" y="785448"/>
                  <a:pt x="5255095" y="783324"/>
                  <a:pt x="5255370" y="789090"/>
                </a:cubicBezTo>
                <a:cubicBezTo>
                  <a:pt x="5294923" y="797182"/>
                  <a:pt x="5328667" y="796373"/>
                  <a:pt x="5375134" y="791619"/>
                </a:cubicBezTo>
                <a:cubicBezTo>
                  <a:pt x="5379006" y="787977"/>
                  <a:pt x="5365730" y="789191"/>
                  <a:pt x="5362135" y="787067"/>
                </a:cubicBezTo>
                <a:cubicBezTo>
                  <a:pt x="5373198" y="779177"/>
                  <a:pt x="5384261" y="779784"/>
                  <a:pt x="5386474" y="789494"/>
                </a:cubicBezTo>
                <a:cubicBezTo>
                  <a:pt x="5384538" y="791214"/>
                  <a:pt x="5380942" y="789090"/>
                  <a:pt x="5379006" y="790910"/>
                </a:cubicBezTo>
                <a:cubicBezTo>
                  <a:pt x="5386750" y="800925"/>
                  <a:pt x="5426026" y="794754"/>
                  <a:pt x="5439026" y="796474"/>
                </a:cubicBezTo>
                <a:cubicBezTo>
                  <a:pt x="5442622" y="787168"/>
                  <a:pt x="5439026" y="787876"/>
                  <a:pt x="5435154" y="785752"/>
                </a:cubicBezTo>
                <a:cubicBezTo>
                  <a:pt x="5492685" y="770275"/>
                  <a:pt x="5529471" y="819133"/>
                  <a:pt x="5585342" y="805375"/>
                </a:cubicBezTo>
                <a:cubicBezTo>
                  <a:pt x="5591150" y="808612"/>
                  <a:pt x="5589214" y="813266"/>
                  <a:pt x="5591150" y="817109"/>
                </a:cubicBezTo>
                <a:cubicBezTo>
                  <a:pt x="5600555" y="813873"/>
                  <a:pt x="5606086" y="814277"/>
                  <a:pt x="5611895" y="820347"/>
                </a:cubicBezTo>
                <a:cubicBezTo>
                  <a:pt x="5619363" y="813164"/>
                  <a:pt x="5632639" y="817716"/>
                  <a:pt x="5641766" y="811647"/>
                </a:cubicBezTo>
                <a:cubicBezTo>
                  <a:pt x="5660851" y="828033"/>
                  <a:pt x="5679659" y="832991"/>
                  <a:pt x="5704276" y="841183"/>
                </a:cubicBezTo>
                <a:cubicBezTo>
                  <a:pt x="5696808" y="845432"/>
                  <a:pt x="5689340" y="841285"/>
                  <a:pt x="5683808" y="843813"/>
                </a:cubicBezTo>
                <a:cubicBezTo>
                  <a:pt x="5684085" y="855243"/>
                  <a:pt x="5698744" y="843712"/>
                  <a:pt x="5700958" y="856255"/>
                </a:cubicBezTo>
                <a:cubicBezTo>
                  <a:pt x="5708425" y="857571"/>
                  <a:pt x="5702616" y="851602"/>
                  <a:pt x="5704552" y="849781"/>
                </a:cubicBezTo>
                <a:cubicBezTo>
                  <a:pt x="5772317" y="873957"/>
                  <a:pt x="5853081" y="879722"/>
                  <a:pt x="5909782" y="900357"/>
                </a:cubicBezTo>
                <a:cubicBezTo>
                  <a:pt x="5855571" y="900863"/>
                  <a:pt x="5815465" y="872643"/>
                  <a:pt x="5761253" y="876081"/>
                </a:cubicBezTo>
                <a:cubicBezTo>
                  <a:pt x="5732764" y="862831"/>
                  <a:pt x="5689617" y="861211"/>
                  <a:pt x="5658085" y="865966"/>
                </a:cubicBezTo>
                <a:cubicBezTo>
                  <a:pt x="5665554" y="873046"/>
                  <a:pt x="5693489" y="860503"/>
                  <a:pt x="5699574" y="875171"/>
                </a:cubicBezTo>
                <a:cubicBezTo>
                  <a:pt x="5747977" y="871429"/>
                  <a:pt x="5788082" y="905314"/>
                  <a:pt x="5840635" y="900863"/>
                </a:cubicBezTo>
                <a:cubicBezTo>
                  <a:pt x="5844507" y="905921"/>
                  <a:pt x="5865251" y="917553"/>
                  <a:pt x="5874380" y="911484"/>
                </a:cubicBezTo>
                <a:cubicBezTo>
                  <a:pt x="5880188" y="917553"/>
                  <a:pt x="5882124" y="918666"/>
                  <a:pt x="5893464" y="925140"/>
                </a:cubicBezTo>
                <a:cubicBezTo>
                  <a:pt x="5859719" y="923015"/>
                  <a:pt x="5816295" y="901269"/>
                  <a:pt x="5790019" y="906325"/>
                </a:cubicBezTo>
                <a:cubicBezTo>
                  <a:pt x="5793614" y="894188"/>
                  <a:pt x="5771487" y="907135"/>
                  <a:pt x="5765679" y="898234"/>
                </a:cubicBezTo>
                <a:cubicBezTo>
                  <a:pt x="5762083" y="904606"/>
                  <a:pt x="5767615" y="907843"/>
                  <a:pt x="5769551" y="911788"/>
                </a:cubicBezTo>
                <a:cubicBezTo>
                  <a:pt x="5775359" y="915024"/>
                  <a:pt x="5777019" y="907539"/>
                  <a:pt x="5786424" y="912900"/>
                </a:cubicBezTo>
                <a:cubicBezTo>
                  <a:pt x="5771764" y="918666"/>
                  <a:pt x="5792232" y="916037"/>
                  <a:pt x="5796104" y="920993"/>
                </a:cubicBezTo>
                <a:cubicBezTo>
                  <a:pt x="5792508" y="930298"/>
                  <a:pt x="5784763" y="923218"/>
                  <a:pt x="5779232" y="928579"/>
                </a:cubicBezTo>
                <a:cubicBezTo>
                  <a:pt x="5781168" y="929692"/>
                  <a:pt x="5785040" y="931816"/>
                  <a:pt x="5786976" y="932827"/>
                </a:cubicBezTo>
                <a:cubicBezTo>
                  <a:pt x="5792508" y="933232"/>
                  <a:pt x="5794168" y="922814"/>
                  <a:pt x="5799976" y="923118"/>
                </a:cubicBezTo>
                <a:cubicBezTo>
                  <a:pt x="5805508" y="926354"/>
                  <a:pt x="5805784" y="929288"/>
                  <a:pt x="5814913" y="928882"/>
                </a:cubicBezTo>
                <a:cubicBezTo>
                  <a:pt x="5798316" y="939301"/>
                  <a:pt x="5826805" y="952451"/>
                  <a:pt x="5839805" y="945572"/>
                </a:cubicBezTo>
                <a:cubicBezTo>
                  <a:pt x="5841464" y="938087"/>
                  <a:pt x="5828465" y="942032"/>
                  <a:pt x="5828189" y="933434"/>
                </a:cubicBezTo>
                <a:cubicBezTo>
                  <a:pt x="5831784" y="929895"/>
                  <a:pt x="5833720" y="925242"/>
                  <a:pt x="5837316" y="924533"/>
                </a:cubicBezTo>
                <a:cubicBezTo>
                  <a:pt x="5854188" y="925544"/>
                  <a:pt x="5862209" y="941223"/>
                  <a:pt x="5876868" y="938289"/>
                </a:cubicBezTo>
                <a:cubicBezTo>
                  <a:pt x="5866081" y="946179"/>
                  <a:pt x="5873825" y="959128"/>
                  <a:pt x="5892357" y="955486"/>
                </a:cubicBezTo>
                <a:cubicBezTo>
                  <a:pt x="5896229" y="951945"/>
                  <a:pt x="5890421" y="951540"/>
                  <a:pt x="5884889" y="948305"/>
                </a:cubicBezTo>
                <a:cubicBezTo>
                  <a:pt x="5892357" y="946887"/>
                  <a:pt x="5903697" y="953361"/>
                  <a:pt x="5911166" y="954777"/>
                </a:cubicBezTo>
                <a:cubicBezTo>
                  <a:pt x="5896229" y="963375"/>
                  <a:pt x="5916974" y="966512"/>
                  <a:pt x="5930250" y="968231"/>
                </a:cubicBezTo>
                <a:cubicBezTo>
                  <a:pt x="5933845" y="970355"/>
                  <a:pt x="5935781" y="974300"/>
                  <a:pt x="5941591" y="977435"/>
                </a:cubicBezTo>
                <a:cubicBezTo>
                  <a:pt x="5986674" y="983101"/>
                  <a:pt x="6009909" y="1007378"/>
                  <a:pt x="6053056" y="1014762"/>
                </a:cubicBezTo>
                <a:lnTo>
                  <a:pt x="6056630" y="1024657"/>
                </a:lnTo>
                <a:lnTo>
                  <a:pt x="6061599" y="1024603"/>
                </a:lnTo>
                <a:lnTo>
                  <a:pt x="6063813" y="1024185"/>
                </a:lnTo>
                <a:lnTo>
                  <a:pt x="6064119" y="1024575"/>
                </a:lnTo>
                <a:lnTo>
                  <a:pt x="6559382" y="1019163"/>
                </a:lnTo>
                <a:lnTo>
                  <a:pt x="6761434" y="1022171"/>
                </a:lnTo>
                <a:lnTo>
                  <a:pt x="6930623" y="988926"/>
                </a:lnTo>
                <a:cubicBezTo>
                  <a:pt x="7091709" y="963129"/>
                  <a:pt x="7255280" y="948363"/>
                  <a:pt x="7421000" y="943537"/>
                </a:cubicBezTo>
                <a:cubicBezTo>
                  <a:pt x="7618833" y="940316"/>
                  <a:pt x="7809733" y="973073"/>
                  <a:pt x="7994126" y="1036915"/>
                </a:cubicBezTo>
                <a:lnTo>
                  <a:pt x="8101314" y="1080451"/>
                </a:lnTo>
                <a:lnTo>
                  <a:pt x="8198946" y="1087156"/>
                </a:lnTo>
                <a:lnTo>
                  <a:pt x="8288576" y="1094982"/>
                </a:lnTo>
                <a:lnTo>
                  <a:pt x="8411432" y="1048209"/>
                </a:lnTo>
                <a:cubicBezTo>
                  <a:pt x="8632766" y="960229"/>
                  <a:pt x="8853671" y="865102"/>
                  <a:pt x="9081512" y="794508"/>
                </a:cubicBezTo>
                <a:cubicBezTo>
                  <a:pt x="9315158" y="719403"/>
                  <a:pt x="9556969" y="726608"/>
                  <a:pt x="9798615" y="893515"/>
                </a:cubicBezTo>
                <a:cubicBezTo>
                  <a:pt x="9905265" y="970245"/>
                  <a:pt x="10010874" y="1056649"/>
                  <a:pt x="10112881" y="1136986"/>
                </a:cubicBezTo>
                <a:cubicBezTo>
                  <a:pt x="10124730" y="1145512"/>
                  <a:pt x="10128334" y="1151579"/>
                  <a:pt x="10140185" y="1160103"/>
                </a:cubicBezTo>
                <a:cubicBezTo>
                  <a:pt x="10121608" y="1174533"/>
                  <a:pt x="10103031" y="1188962"/>
                  <a:pt x="10065878" y="1217822"/>
                </a:cubicBezTo>
                <a:cubicBezTo>
                  <a:pt x="10178214" y="1281272"/>
                  <a:pt x="10275097" y="1330127"/>
                  <a:pt x="10383830" y="1387511"/>
                </a:cubicBezTo>
                <a:cubicBezTo>
                  <a:pt x="10325059" y="1379971"/>
                  <a:pt x="10282783" y="1377348"/>
                  <a:pt x="10232259" y="1372267"/>
                </a:cubicBezTo>
                <a:cubicBezTo>
                  <a:pt x="10240986" y="1409815"/>
                  <a:pt x="10251793" y="1428013"/>
                  <a:pt x="10257959" y="1449821"/>
                </a:cubicBezTo>
                <a:cubicBezTo>
                  <a:pt x="10147624" y="1446874"/>
                  <a:pt x="10050178" y="1442779"/>
                  <a:pt x="9948088" y="1442291"/>
                </a:cubicBezTo>
                <a:cubicBezTo>
                  <a:pt x="9987242" y="1473934"/>
                  <a:pt x="10029519" y="1476556"/>
                  <a:pt x="10061465" y="1496066"/>
                </a:cubicBezTo>
                <a:cubicBezTo>
                  <a:pt x="10085166" y="1513117"/>
                  <a:pt x="10102140" y="1553124"/>
                  <a:pt x="10103660" y="1578537"/>
                </a:cubicBezTo>
                <a:cubicBezTo>
                  <a:pt x="10110866" y="1590671"/>
                  <a:pt x="10081961" y="1621989"/>
                  <a:pt x="10064425" y="1626744"/>
                </a:cubicBezTo>
                <a:cubicBezTo>
                  <a:pt x="9988118" y="1623960"/>
                  <a:pt x="9916456" y="1617569"/>
                  <a:pt x="9828300" y="1606257"/>
                </a:cubicBezTo>
                <a:cubicBezTo>
                  <a:pt x="9861768" y="1651182"/>
                  <a:pt x="9880823" y="1671841"/>
                  <a:pt x="9899880" y="1692499"/>
                </a:cubicBezTo>
                <a:cubicBezTo>
                  <a:pt x="9803436" y="1718655"/>
                  <a:pt x="9707510" y="1739974"/>
                  <a:pt x="9612617" y="1761601"/>
                </a:cubicBezTo>
                <a:lnTo>
                  <a:pt x="9575008" y="1770454"/>
                </a:lnTo>
                <a:lnTo>
                  <a:pt x="9506499" y="1835712"/>
                </a:lnTo>
                <a:cubicBezTo>
                  <a:pt x="9422785" y="1907303"/>
                  <a:pt x="9331391" y="1962837"/>
                  <a:pt x="9233671" y="2010761"/>
                </a:cubicBezTo>
                <a:lnTo>
                  <a:pt x="9211021" y="2021135"/>
                </a:lnTo>
                <a:lnTo>
                  <a:pt x="9223104" y="2040399"/>
                </a:lnTo>
                <a:lnTo>
                  <a:pt x="9264816" y="2037295"/>
                </a:lnTo>
                <a:cubicBezTo>
                  <a:pt x="9387022" y="2028806"/>
                  <a:pt x="9508970" y="2022735"/>
                  <a:pt x="9629874" y="2026338"/>
                </a:cubicBezTo>
                <a:cubicBezTo>
                  <a:pt x="9926853" y="2035016"/>
                  <a:pt x="10207899" y="1994014"/>
                  <a:pt x="10482302" y="1896119"/>
                </a:cubicBezTo>
                <a:cubicBezTo>
                  <a:pt x="10755662" y="1807898"/>
                  <a:pt x="11027503" y="1694260"/>
                  <a:pt x="11300863" y="1606039"/>
                </a:cubicBezTo>
                <a:cubicBezTo>
                  <a:pt x="11446832" y="1554711"/>
                  <a:pt x="11590718" y="1522733"/>
                  <a:pt x="11723317" y="1437467"/>
                </a:cubicBezTo>
                <a:cubicBezTo>
                  <a:pt x="11804830" y="1391883"/>
                  <a:pt x="11916205" y="1385156"/>
                  <a:pt x="12014693" y="1379578"/>
                </a:cubicBezTo>
                <a:cubicBezTo>
                  <a:pt x="12053367" y="1376133"/>
                  <a:pt x="12103328" y="1425977"/>
                  <a:pt x="12155373" y="1456472"/>
                </a:cubicBezTo>
                <a:cubicBezTo>
                  <a:pt x="12087794" y="1491234"/>
                  <a:pt x="12033104" y="1524848"/>
                  <a:pt x="11955195" y="1576499"/>
                </a:cubicBezTo>
                <a:cubicBezTo>
                  <a:pt x="12069134" y="1585512"/>
                  <a:pt x="12153688" y="1590756"/>
                  <a:pt x="12238241" y="1596000"/>
                </a:cubicBezTo>
                <a:cubicBezTo>
                  <a:pt x="12237200" y="1605674"/>
                  <a:pt x="12244405" y="1617808"/>
                  <a:pt x="12243364" y="1627481"/>
                </a:cubicBezTo>
                <a:cubicBezTo>
                  <a:pt x="12058161" y="1727013"/>
                  <a:pt x="11881202" y="1829004"/>
                  <a:pt x="11699602" y="1934603"/>
                </a:cubicBezTo>
                <a:cubicBezTo>
                  <a:pt x="11676381" y="1952641"/>
                  <a:pt x="11649558" y="1964611"/>
                  <a:pt x="11621691" y="1986254"/>
                </a:cubicBezTo>
                <a:cubicBezTo>
                  <a:pt x="11595910" y="1988551"/>
                  <a:pt x="11570128" y="1990847"/>
                  <a:pt x="11546906" y="2008884"/>
                </a:cubicBezTo>
                <a:cubicBezTo>
                  <a:pt x="11462366" y="2052942"/>
                  <a:pt x="11376633" y="2094187"/>
                  <a:pt x="11289879" y="2132835"/>
                </a:cubicBezTo>
                <a:lnTo>
                  <a:pt x="11176078" y="2179701"/>
                </a:lnTo>
                <a:lnTo>
                  <a:pt x="11179269" y="2203953"/>
                </a:lnTo>
                <a:cubicBezTo>
                  <a:pt x="11184800" y="2206482"/>
                  <a:pt x="11186459" y="2208303"/>
                  <a:pt x="11188119" y="2212956"/>
                </a:cubicBezTo>
                <a:cubicBezTo>
                  <a:pt x="11177055" y="2249674"/>
                  <a:pt x="11201395" y="2297924"/>
                  <a:pt x="11186736" y="2331001"/>
                </a:cubicBezTo>
                <a:cubicBezTo>
                  <a:pt x="11193375" y="2352546"/>
                  <a:pt x="11198077" y="2372271"/>
                  <a:pt x="11185907" y="2392805"/>
                </a:cubicBezTo>
                <a:cubicBezTo>
                  <a:pt x="11193375" y="2436199"/>
                  <a:pt x="11178439" y="2480706"/>
                  <a:pt x="11180375" y="2524404"/>
                </a:cubicBezTo>
                <a:cubicBezTo>
                  <a:pt x="11189502" y="2530574"/>
                  <a:pt x="11180651" y="2515907"/>
                  <a:pt x="11191715" y="2523898"/>
                </a:cubicBezTo>
                <a:cubicBezTo>
                  <a:pt x="11193098" y="2534317"/>
                  <a:pt x="11183417" y="2539476"/>
                  <a:pt x="11175673" y="2546556"/>
                </a:cubicBezTo>
                <a:cubicBezTo>
                  <a:pt x="11170971" y="2562943"/>
                  <a:pt x="11181757" y="2573868"/>
                  <a:pt x="11173737" y="2589445"/>
                </a:cubicBezTo>
                <a:cubicBezTo>
                  <a:pt x="11167928" y="2595514"/>
                  <a:pt x="11160737" y="2588130"/>
                  <a:pt x="11158524" y="2594907"/>
                </a:cubicBezTo>
                <a:cubicBezTo>
                  <a:pt x="11165715" y="2602190"/>
                  <a:pt x="11163779" y="2606135"/>
                  <a:pt x="11176503" y="2610282"/>
                </a:cubicBezTo>
                <a:cubicBezTo>
                  <a:pt x="11170971" y="2613418"/>
                  <a:pt x="11172353" y="2620903"/>
                  <a:pt x="11176226" y="2618779"/>
                </a:cubicBezTo>
                <a:cubicBezTo>
                  <a:pt x="11177885" y="2623533"/>
                  <a:pt x="11164609" y="2627984"/>
                  <a:pt x="11162397" y="2634761"/>
                </a:cubicBezTo>
                <a:cubicBezTo>
                  <a:pt x="11165992" y="2638403"/>
                  <a:pt x="11166545" y="2626973"/>
                  <a:pt x="11171801" y="2635267"/>
                </a:cubicBezTo>
                <a:cubicBezTo>
                  <a:pt x="11169864" y="2636279"/>
                  <a:pt x="11173460" y="2636987"/>
                  <a:pt x="11175396" y="2638807"/>
                </a:cubicBezTo>
                <a:cubicBezTo>
                  <a:pt x="11152439" y="2651350"/>
                  <a:pt x="11160737" y="2674717"/>
                  <a:pt x="11150503" y="2691407"/>
                </a:cubicBezTo>
                <a:cubicBezTo>
                  <a:pt x="11152439" y="2693227"/>
                  <a:pt x="11156035" y="2694037"/>
                  <a:pt x="11157971" y="2695857"/>
                </a:cubicBezTo>
                <a:cubicBezTo>
                  <a:pt x="11144695" y="2694644"/>
                  <a:pt x="11131695" y="2740971"/>
                  <a:pt x="11140269" y="2755740"/>
                </a:cubicBezTo>
                <a:cubicBezTo>
                  <a:pt x="11110398" y="2800044"/>
                  <a:pt x="11112057" y="2843641"/>
                  <a:pt x="11085781" y="2888755"/>
                </a:cubicBezTo>
                <a:cubicBezTo>
                  <a:pt x="11085504" y="2894420"/>
                  <a:pt x="11095185" y="2889261"/>
                  <a:pt x="11098781" y="2895735"/>
                </a:cubicBezTo>
                <a:cubicBezTo>
                  <a:pt x="11091036" y="2897050"/>
                  <a:pt x="11090760" y="2908480"/>
                  <a:pt x="11079696" y="2903321"/>
                </a:cubicBezTo>
                <a:cubicBezTo>
                  <a:pt x="11081079" y="2916572"/>
                  <a:pt x="11055633" y="2935892"/>
                  <a:pt x="11064760" y="2944996"/>
                </a:cubicBezTo>
                <a:cubicBezTo>
                  <a:pt x="11068079" y="2951470"/>
                  <a:pt x="11057292" y="2946210"/>
                  <a:pt x="11057016" y="2951975"/>
                </a:cubicBezTo>
                <a:cubicBezTo>
                  <a:pt x="11054803" y="2955920"/>
                  <a:pt x="11064484" y="2953493"/>
                  <a:pt x="11064207" y="2959258"/>
                </a:cubicBezTo>
                <a:cubicBezTo>
                  <a:pt x="11064484" y="2950660"/>
                  <a:pt x="11064207" y="2953493"/>
                  <a:pt x="11073888" y="2948233"/>
                </a:cubicBezTo>
                <a:cubicBezTo>
                  <a:pt x="11081079" y="2955516"/>
                  <a:pt x="11067803" y="2959966"/>
                  <a:pt x="11065590" y="2966744"/>
                </a:cubicBezTo>
                <a:cubicBezTo>
                  <a:pt x="11060335" y="2961281"/>
                  <a:pt x="11056463" y="2960573"/>
                  <a:pt x="11054526" y="2961585"/>
                </a:cubicBezTo>
                <a:cubicBezTo>
                  <a:pt x="11048718" y="2967553"/>
                  <a:pt x="11053973" y="2973015"/>
                  <a:pt x="11044569" y="2978275"/>
                </a:cubicBezTo>
                <a:cubicBezTo>
                  <a:pt x="11048165" y="2979084"/>
                  <a:pt x="11053697" y="2981613"/>
                  <a:pt x="11057569" y="2976656"/>
                </a:cubicBezTo>
                <a:cubicBezTo>
                  <a:pt x="11059505" y="2981309"/>
                  <a:pt x="11048165" y="2984749"/>
                  <a:pt x="11046229" y="2982928"/>
                </a:cubicBezTo>
                <a:cubicBezTo>
                  <a:pt x="11053143" y="2998809"/>
                  <a:pt x="11009442" y="3008621"/>
                  <a:pt x="11025484" y="3027738"/>
                </a:cubicBezTo>
                <a:cubicBezTo>
                  <a:pt x="11012485" y="3029357"/>
                  <a:pt x="11005847" y="3049689"/>
                  <a:pt x="11005847" y="3052521"/>
                </a:cubicBezTo>
                <a:cubicBezTo>
                  <a:pt x="10999485" y="3067087"/>
                  <a:pt x="10985932" y="3077303"/>
                  <a:pt x="10975975" y="3091060"/>
                </a:cubicBezTo>
                <a:cubicBezTo>
                  <a:pt x="10969890" y="3099961"/>
                  <a:pt x="10956060" y="3115943"/>
                  <a:pt x="10966847" y="3129700"/>
                </a:cubicBezTo>
                <a:cubicBezTo>
                  <a:pt x="10940295" y="3135769"/>
                  <a:pt x="10932827" y="3176028"/>
                  <a:pt x="10904338" y="3186042"/>
                </a:cubicBezTo>
                <a:cubicBezTo>
                  <a:pt x="10902402" y="3189886"/>
                  <a:pt x="10902125" y="3192819"/>
                  <a:pt x="10907657" y="3198281"/>
                </a:cubicBezTo>
                <a:cubicBezTo>
                  <a:pt x="10873083" y="3217096"/>
                  <a:pt x="10868381" y="3242080"/>
                  <a:pt x="10839063" y="3269189"/>
                </a:cubicBezTo>
                <a:cubicBezTo>
                  <a:pt x="10835467" y="3265548"/>
                  <a:pt x="10829935" y="3263019"/>
                  <a:pt x="10826340" y="3259377"/>
                </a:cubicBezTo>
                <a:cubicBezTo>
                  <a:pt x="10816659" y="3264637"/>
                  <a:pt x="10823850" y="3268987"/>
                  <a:pt x="10827446" y="3275461"/>
                </a:cubicBezTo>
                <a:cubicBezTo>
                  <a:pt x="10810297" y="3282036"/>
                  <a:pt x="10813617" y="3294275"/>
                  <a:pt x="10800340" y="3298726"/>
                </a:cubicBezTo>
                <a:cubicBezTo>
                  <a:pt x="10800617" y="3290128"/>
                  <a:pt x="10813893" y="3285677"/>
                  <a:pt x="10795362" y="3279001"/>
                </a:cubicBezTo>
                <a:cubicBezTo>
                  <a:pt x="10803106" y="3274854"/>
                  <a:pt x="10806978" y="3275562"/>
                  <a:pt x="10807255" y="3266964"/>
                </a:cubicBezTo>
                <a:cubicBezTo>
                  <a:pt x="10792596" y="3260996"/>
                  <a:pt x="10792319" y="3263929"/>
                  <a:pt x="10781532" y="3255837"/>
                </a:cubicBezTo>
                <a:cubicBezTo>
                  <a:pt x="10785404" y="3250881"/>
                  <a:pt x="10790106" y="3228829"/>
                  <a:pt x="10806702" y="3233685"/>
                </a:cubicBezTo>
                <a:cubicBezTo>
                  <a:pt x="10811404" y="3214466"/>
                  <a:pt x="10851233" y="3198180"/>
                  <a:pt x="10846531" y="3178456"/>
                </a:cubicBezTo>
                <a:cubicBezTo>
                  <a:pt x="10861467" y="3181490"/>
                  <a:pt x="10858424" y="3163586"/>
                  <a:pt x="10866445" y="3153673"/>
                </a:cubicBezTo>
                <a:cubicBezTo>
                  <a:pt x="10874190" y="3146593"/>
                  <a:pt x="10915955" y="3135061"/>
                  <a:pt x="10892721" y="3111493"/>
                </a:cubicBezTo>
                <a:cubicBezTo>
                  <a:pt x="10898530" y="3105525"/>
                  <a:pt x="10896317" y="3115033"/>
                  <a:pt x="10903785" y="3113718"/>
                </a:cubicBezTo>
                <a:cubicBezTo>
                  <a:pt x="10915402" y="3104614"/>
                  <a:pt x="10925082" y="3093690"/>
                  <a:pt x="10916231" y="3084586"/>
                </a:cubicBezTo>
                <a:cubicBezTo>
                  <a:pt x="10927572" y="3083979"/>
                  <a:pt x="10950805" y="3068604"/>
                  <a:pt x="10936422" y="3054038"/>
                </a:cubicBezTo>
                <a:cubicBezTo>
                  <a:pt x="10966847" y="3040180"/>
                  <a:pt x="10995613" y="2985558"/>
                  <a:pt x="10982060" y="2948131"/>
                </a:cubicBezTo>
                <a:cubicBezTo>
                  <a:pt x="10987592" y="2950761"/>
                  <a:pt x="10991464" y="2948637"/>
                  <a:pt x="10995336" y="2943681"/>
                </a:cubicBezTo>
                <a:cubicBezTo>
                  <a:pt x="10989804" y="2941152"/>
                  <a:pt x="10987592" y="2950761"/>
                  <a:pt x="10982336" y="2942467"/>
                </a:cubicBezTo>
                <a:cubicBezTo>
                  <a:pt x="11002251" y="2914852"/>
                  <a:pt x="11008059" y="2869738"/>
                  <a:pt x="11029633" y="2843945"/>
                </a:cubicBezTo>
                <a:cubicBezTo>
                  <a:pt x="11039037" y="2847283"/>
                  <a:pt x="11029633" y="2849609"/>
                  <a:pt x="11036825" y="2854060"/>
                </a:cubicBezTo>
                <a:cubicBezTo>
                  <a:pt x="11046505" y="2845968"/>
                  <a:pt x="11054803" y="2827457"/>
                  <a:pt x="11038208" y="2819769"/>
                </a:cubicBezTo>
                <a:cubicBezTo>
                  <a:pt x="11038761" y="2811171"/>
                  <a:pt x="11040697" y="2804394"/>
                  <a:pt x="11050378" y="2796302"/>
                </a:cubicBezTo>
                <a:cubicBezTo>
                  <a:pt x="11056186" y="2795998"/>
                  <a:pt x="11052037" y="2800955"/>
                  <a:pt x="11055633" y="2804596"/>
                </a:cubicBezTo>
                <a:cubicBezTo>
                  <a:pt x="11069186" y="2797212"/>
                  <a:pt x="11060058" y="2793874"/>
                  <a:pt x="11065867" y="2785074"/>
                </a:cubicBezTo>
                <a:cubicBezTo>
                  <a:pt x="11060335" y="2782444"/>
                  <a:pt x="11060058" y="2793975"/>
                  <a:pt x="11052867" y="2786692"/>
                </a:cubicBezTo>
                <a:cubicBezTo>
                  <a:pt x="11060611" y="2776779"/>
                  <a:pt x="11053420" y="2769496"/>
                  <a:pt x="11063377" y="2761404"/>
                </a:cubicBezTo>
                <a:cubicBezTo>
                  <a:pt x="11068633" y="2766866"/>
                  <a:pt x="11068356" y="2772531"/>
                  <a:pt x="11058952" y="2774959"/>
                </a:cubicBezTo>
                <a:cubicBezTo>
                  <a:pt x="11062548" y="2775667"/>
                  <a:pt x="11066420" y="2773644"/>
                  <a:pt x="11070015" y="2777285"/>
                </a:cubicBezTo>
                <a:cubicBezTo>
                  <a:pt x="11074164" y="2766563"/>
                  <a:pt x="11076377" y="2759786"/>
                  <a:pt x="11061718" y="2751087"/>
                </a:cubicBezTo>
                <a:cubicBezTo>
                  <a:pt x="11065867" y="2746130"/>
                  <a:pt x="11071122" y="2754323"/>
                  <a:pt x="11074717" y="2755133"/>
                </a:cubicBezTo>
                <a:cubicBezTo>
                  <a:pt x="11093249" y="2717099"/>
                  <a:pt x="11076377" y="2676133"/>
                  <a:pt x="11096845" y="2631322"/>
                </a:cubicBezTo>
                <a:cubicBezTo>
                  <a:pt x="11102653" y="2631019"/>
                  <a:pt x="11108185" y="2630816"/>
                  <a:pt x="11113993" y="2627681"/>
                </a:cubicBezTo>
                <a:cubicBezTo>
                  <a:pt x="11106802" y="2617565"/>
                  <a:pt x="11116759" y="2606540"/>
                  <a:pt x="11100164" y="2598751"/>
                </a:cubicBezTo>
                <a:cubicBezTo>
                  <a:pt x="11112610" y="2575385"/>
                  <a:pt x="11109844" y="2551715"/>
                  <a:pt x="11107079" y="2528046"/>
                </a:cubicBezTo>
                <a:cubicBezTo>
                  <a:pt x="11132525" y="2458250"/>
                  <a:pt x="11118695" y="2387646"/>
                  <a:pt x="11125610" y="2316940"/>
                </a:cubicBezTo>
                <a:cubicBezTo>
                  <a:pt x="11111781" y="2278401"/>
                  <a:pt x="11116759" y="2245325"/>
                  <a:pt x="11113993" y="2209820"/>
                </a:cubicBezTo>
                <a:lnTo>
                  <a:pt x="11113231" y="2205583"/>
                </a:lnTo>
                <a:lnTo>
                  <a:pt x="11093199" y="2213832"/>
                </a:lnTo>
                <a:lnTo>
                  <a:pt x="11088547" y="2227319"/>
                </a:lnTo>
                <a:lnTo>
                  <a:pt x="11078037" y="2253821"/>
                </a:lnTo>
                <a:lnTo>
                  <a:pt x="11081079" y="2260194"/>
                </a:lnTo>
                <a:cubicBezTo>
                  <a:pt x="11071675" y="2304398"/>
                  <a:pt x="11079143" y="2350624"/>
                  <a:pt x="11075271" y="2394524"/>
                </a:cubicBezTo>
                <a:cubicBezTo>
                  <a:pt x="11078866" y="2398166"/>
                  <a:pt x="11080802" y="2397154"/>
                  <a:pt x="11086334" y="2399683"/>
                </a:cubicBezTo>
                <a:cubicBezTo>
                  <a:pt x="11069739" y="2394828"/>
                  <a:pt x="11072228" y="2421431"/>
                  <a:pt x="11079973" y="2417183"/>
                </a:cubicBezTo>
                <a:cubicBezTo>
                  <a:pt x="11070845" y="2452889"/>
                  <a:pt x="11063101" y="2507410"/>
                  <a:pt x="11067250" y="2541499"/>
                </a:cubicBezTo>
                <a:cubicBezTo>
                  <a:pt x="11068909" y="2543320"/>
                  <a:pt x="11065037" y="2548276"/>
                  <a:pt x="11063101" y="2546455"/>
                </a:cubicBezTo>
                <a:cubicBezTo>
                  <a:pt x="11059228" y="2551412"/>
                  <a:pt x="11066696" y="2550097"/>
                  <a:pt x="11068356" y="2554750"/>
                </a:cubicBezTo>
                <a:cubicBezTo>
                  <a:pt x="11060611" y="2561830"/>
                  <a:pt x="11052590" y="2574576"/>
                  <a:pt x="11061718" y="2583679"/>
                </a:cubicBezTo>
                <a:cubicBezTo>
                  <a:pt x="11047612" y="2605225"/>
                  <a:pt x="11045676" y="2648215"/>
                  <a:pt x="11033506" y="2668749"/>
                </a:cubicBezTo>
                <a:cubicBezTo>
                  <a:pt x="11035165" y="2673402"/>
                  <a:pt x="11036825" y="2678156"/>
                  <a:pt x="11036825" y="2680988"/>
                </a:cubicBezTo>
                <a:cubicBezTo>
                  <a:pt x="11032676" y="2685944"/>
                  <a:pt x="11029080" y="2688069"/>
                  <a:pt x="11023272" y="2691204"/>
                </a:cubicBezTo>
                <a:cubicBezTo>
                  <a:pt x="11024655" y="2698690"/>
                  <a:pt x="11026314" y="2709108"/>
                  <a:pt x="11014697" y="2718212"/>
                </a:cubicBezTo>
                <a:cubicBezTo>
                  <a:pt x="11007230" y="2713863"/>
                  <a:pt x="11007230" y="2710929"/>
                  <a:pt x="10997825" y="2713357"/>
                </a:cubicBezTo>
                <a:cubicBezTo>
                  <a:pt x="10997549" y="2721955"/>
                  <a:pt x="11008889" y="2718516"/>
                  <a:pt x="11014144" y="2723978"/>
                </a:cubicBezTo>
                <a:cubicBezTo>
                  <a:pt x="11015804" y="2734295"/>
                  <a:pt x="11000868" y="2731261"/>
                  <a:pt x="10995060" y="2734396"/>
                </a:cubicBezTo>
                <a:cubicBezTo>
                  <a:pt x="11015251" y="2742893"/>
                  <a:pt x="11016634" y="2759078"/>
                  <a:pt x="10992017" y="2764034"/>
                </a:cubicBezTo>
                <a:cubicBezTo>
                  <a:pt x="10985932" y="2770103"/>
                  <a:pt x="10998932" y="2777083"/>
                  <a:pt x="10991187" y="2781230"/>
                </a:cubicBezTo>
                <a:cubicBezTo>
                  <a:pt x="10992847" y="2783051"/>
                  <a:pt x="10996443" y="2786692"/>
                  <a:pt x="11000315" y="2784568"/>
                </a:cubicBezTo>
                <a:cubicBezTo>
                  <a:pt x="11000038" y="2790334"/>
                  <a:pt x="10990634" y="2792660"/>
                  <a:pt x="10999762" y="2798831"/>
                </a:cubicBezTo>
                <a:cubicBezTo>
                  <a:pt x="10993953" y="2801966"/>
                  <a:pt x="10978464" y="2813295"/>
                  <a:pt x="10989528" y="2821286"/>
                </a:cubicBezTo>
                <a:cubicBezTo>
                  <a:pt x="10985656" y="2823411"/>
                  <a:pt x="10980124" y="2817948"/>
                  <a:pt x="10976251" y="2820073"/>
                </a:cubicBezTo>
                <a:cubicBezTo>
                  <a:pt x="10981507" y="2828367"/>
                  <a:pt x="10972103" y="2833627"/>
                  <a:pt x="10982890" y="2841618"/>
                </a:cubicBezTo>
                <a:cubicBezTo>
                  <a:pt x="10977358" y="2844754"/>
                  <a:pt x="10965741" y="2850924"/>
                  <a:pt x="10973209" y="2852441"/>
                </a:cubicBezTo>
                <a:cubicBezTo>
                  <a:pt x="10961039" y="2875909"/>
                  <a:pt x="10961592" y="2906356"/>
                  <a:pt x="10938082" y="2924664"/>
                </a:cubicBezTo>
                <a:cubicBezTo>
                  <a:pt x="10936146" y="2928609"/>
                  <a:pt x="10933933" y="2932453"/>
                  <a:pt x="10939465" y="2937915"/>
                </a:cubicBezTo>
                <a:cubicBezTo>
                  <a:pt x="10912636" y="2949649"/>
                  <a:pt x="10920104" y="2993043"/>
                  <a:pt x="10887743" y="3008014"/>
                </a:cubicBezTo>
                <a:cubicBezTo>
                  <a:pt x="10885530" y="3011959"/>
                  <a:pt x="10892998" y="3016409"/>
                  <a:pt x="10891062" y="3020253"/>
                </a:cubicBezTo>
                <a:cubicBezTo>
                  <a:pt x="10883041" y="3027334"/>
                  <a:pt x="10873913" y="3021062"/>
                  <a:pt x="10866445" y="3022377"/>
                </a:cubicBezTo>
                <a:cubicBezTo>
                  <a:pt x="10864232" y="3032088"/>
                  <a:pt x="10879998" y="3054038"/>
                  <a:pt x="10852063" y="3052622"/>
                </a:cubicBezTo>
                <a:cubicBezTo>
                  <a:pt x="10847914" y="3060411"/>
                  <a:pt x="10856765" y="3069514"/>
                  <a:pt x="10854828" y="3076190"/>
                </a:cubicBezTo>
                <a:cubicBezTo>
                  <a:pt x="10849020" y="3076494"/>
                  <a:pt x="10845424" y="3075786"/>
                  <a:pt x="10841552" y="3077910"/>
                </a:cubicBezTo>
                <a:cubicBezTo>
                  <a:pt x="10846807" y="3086205"/>
                  <a:pt x="10832978" y="3104918"/>
                  <a:pt x="10816106" y="3102996"/>
                </a:cubicBezTo>
                <a:cubicBezTo>
                  <a:pt x="10821361" y="3114123"/>
                  <a:pt x="10813340" y="3124036"/>
                  <a:pt x="10809191" y="3134758"/>
                </a:cubicBezTo>
                <a:cubicBezTo>
                  <a:pt x="10765490" y="3150234"/>
                  <a:pt x="10750001" y="3206070"/>
                  <a:pt x="10703810" y="3228425"/>
                </a:cubicBezTo>
                <a:lnTo>
                  <a:pt x="10701044" y="3230954"/>
                </a:lnTo>
                <a:lnTo>
                  <a:pt x="10704640" y="3206475"/>
                </a:lnTo>
                <a:cubicBezTo>
                  <a:pt x="10709066" y="3195651"/>
                  <a:pt x="10715980" y="3185435"/>
                  <a:pt x="10724831" y="3177849"/>
                </a:cubicBezTo>
                <a:cubicBezTo>
                  <a:pt x="10727044" y="3171071"/>
                  <a:pt x="10714321" y="3164193"/>
                  <a:pt x="10708512" y="3164497"/>
                </a:cubicBezTo>
                <a:cubicBezTo>
                  <a:pt x="10690811" y="3185334"/>
                  <a:pt x="10652918" y="3197675"/>
                  <a:pt x="10663152" y="3217096"/>
                </a:cubicBezTo>
                <a:cubicBezTo>
                  <a:pt x="10653748" y="3219523"/>
                  <a:pt x="10644067" y="3227616"/>
                  <a:pt x="10632727" y="3225289"/>
                </a:cubicBezTo>
                <a:cubicBezTo>
                  <a:pt x="10654301" y="3205160"/>
                  <a:pt x="10664535" y="3188571"/>
                  <a:pt x="10687768" y="3167329"/>
                </a:cubicBezTo>
                <a:cubicBezTo>
                  <a:pt x="10682513" y="3161968"/>
                  <a:pt x="10686385" y="3156910"/>
                  <a:pt x="10677258" y="3150740"/>
                </a:cubicBezTo>
                <a:cubicBezTo>
                  <a:pt x="10670066" y="3146390"/>
                  <a:pt x="10675045" y="3157517"/>
                  <a:pt x="10667577" y="3156000"/>
                </a:cubicBezTo>
                <a:cubicBezTo>
                  <a:pt x="10663981" y="3152358"/>
                  <a:pt x="10662322" y="3150639"/>
                  <a:pt x="10666194" y="3148514"/>
                </a:cubicBezTo>
                <a:cubicBezTo>
                  <a:pt x="10662322" y="3147806"/>
                  <a:pt x="10658450" y="3149829"/>
                  <a:pt x="10654854" y="3146188"/>
                </a:cubicBezTo>
                <a:cubicBezTo>
                  <a:pt x="10649045" y="3152156"/>
                  <a:pt x="10658173" y="3161260"/>
                  <a:pt x="10644620" y="3168644"/>
                </a:cubicBezTo>
                <a:cubicBezTo>
                  <a:pt x="10645173" y="3157214"/>
                  <a:pt x="10626089" y="3161968"/>
                  <a:pt x="10630514" y="3151246"/>
                </a:cubicBezTo>
                <a:cubicBezTo>
                  <a:pt x="10622769" y="3152561"/>
                  <a:pt x="10615025" y="3159641"/>
                  <a:pt x="10604238" y="3148717"/>
                </a:cubicBezTo>
                <a:cubicBezTo>
                  <a:pt x="10610046" y="3145581"/>
                  <a:pt x="10626642" y="3153370"/>
                  <a:pt x="10615855" y="3142546"/>
                </a:cubicBezTo>
                <a:cubicBezTo>
                  <a:pt x="10623323" y="3141130"/>
                  <a:pt x="10624706" y="3151549"/>
                  <a:pt x="10632450" y="3147402"/>
                </a:cubicBezTo>
                <a:cubicBezTo>
                  <a:pt x="10634386" y="3146289"/>
                  <a:pt x="10630791" y="3142648"/>
                  <a:pt x="10627195" y="3141940"/>
                </a:cubicBezTo>
                <a:cubicBezTo>
                  <a:pt x="10631067" y="3134151"/>
                  <a:pt x="10640195" y="3143153"/>
                  <a:pt x="10644067" y="3138197"/>
                </a:cubicBezTo>
                <a:cubicBezTo>
                  <a:pt x="10646280" y="3131420"/>
                  <a:pt x="10634663" y="3137691"/>
                  <a:pt x="10629408" y="3132330"/>
                </a:cubicBezTo>
                <a:cubicBezTo>
                  <a:pt x="10637152" y="3125249"/>
                  <a:pt x="10635769" y="3117663"/>
                  <a:pt x="10624706" y="3109672"/>
                </a:cubicBezTo>
                <a:cubicBezTo>
                  <a:pt x="10645450" y="3109571"/>
                  <a:pt x="10638258" y="3096623"/>
                  <a:pt x="10650982" y="3106435"/>
                </a:cubicBezTo>
                <a:cubicBezTo>
                  <a:pt x="10670343" y="3096016"/>
                  <a:pt x="10664258" y="3062939"/>
                  <a:pt x="10684449" y="3071436"/>
                </a:cubicBezTo>
                <a:cubicBezTo>
                  <a:pt x="10694130" y="3063344"/>
                  <a:pt x="10673662" y="3063445"/>
                  <a:pt x="10685002" y="3057174"/>
                </a:cubicBezTo>
                <a:cubicBezTo>
                  <a:pt x="10696342" y="3059500"/>
                  <a:pt x="10684726" y="3062939"/>
                  <a:pt x="10688321" y="3066480"/>
                </a:cubicBezTo>
                <a:cubicBezTo>
                  <a:pt x="10704917" y="3071436"/>
                  <a:pt x="10696619" y="3050902"/>
                  <a:pt x="10706023" y="3051408"/>
                </a:cubicBezTo>
                <a:cubicBezTo>
                  <a:pt x="10700491" y="3045946"/>
                  <a:pt x="10698555" y="3046957"/>
                  <a:pt x="10689428" y="3040787"/>
                </a:cubicBezTo>
                <a:cubicBezTo>
                  <a:pt x="10693300" y="3038663"/>
                  <a:pt x="10695236" y="3037651"/>
                  <a:pt x="10695513" y="3034718"/>
                </a:cubicBezTo>
                <a:cubicBezTo>
                  <a:pt x="10704640" y="3038056"/>
                  <a:pt x="10698832" y="3041293"/>
                  <a:pt x="10702427" y="3044934"/>
                </a:cubicBezTo>
                <a:cubicBezTo>
                  <a:pt x="10702704" y="3042102"/>
                  <a:pt x="10704640" y="3041091"/>
                  <a:pt x="10706576" y="3039978"/>
                </a:cubicBezTo>
                <a:cubicBezTo>
                  <a:pt x="10706576" y="3037146"/>
                  <a:pt x="10702704" y="3039169"/>
                  <a:pt x="10699108" y="3035527"/>
                </a:cubicBezTo>
                <a:cubicBezTo>
                  <a:pt x="10720406" y="3023996"/>
                  <a:pt x="10732299" y="3009126"/>
                  <a:pt x="10729257" y="2991222"/>
                </a:cubicBezTo>
                <a:cubicBezTo>
                  <a:pt x="10738661" y="2988896"/>
                  <a:pt x="10738937" y="2983130"/>
                  <a:pt x="10739214" y="2977466"/>
                </a:cubicBezTo>
                <a:cubicBezTo>
                  <a:pt x="10737278" y="2975645"/>
                  <a:pt x="10733682" y="2972003"/>
                  <a:pt x="10731746" y="2973015"/>
                </a:cubicBezTo>
                <a:cubicBezTo>
                  <a:pt x="10746958" y="2970385"/>
                  <a:pt x="10760788" y="2951571"/>
                  <a:pt x="10755809" y="2937612"/>
                </a:cubicBezTo>
                <a:cubicBezTo>
                  <a:pt x="10761341" y="2943074"/>
                  <a:pt x="10761618" y="2937308"/>
                  <a:pt x="10766873" y="2939938"/>
                </a:cubicBezTo>
                <a:cubicBezTo>
                  <a:pt x="10773511" y="2916774"/>
                  <a:pt x="10781809" y="2901096"/>
                  <a:pt x="10797574" y="2881270"/>
                </a:cubicBezTo>
                <a:cubicBezTo>
                  <a:pt x="10793979" y="2877628"/>
                  <a:pt x="10786234" y="2881776"/>
                  <a:pt x="10792319" y="2875808"/>
                </a:cubicBezTo>
                <a:cubicBezTo>
                  <a:pt x="10790383" y="2873987"/>
                  <a:pt x="10788447" y="2875099"/>
                  <a:pt x="10786787" y="2873279"/>
                </a:cubicBezTo>
                <a:cubicBezTo>
                  <a:pt x="10777107" y="2878539"/>
                  <a:pt x="10788170" y="2880865"/>
                  <a:pt x="10786234" y="2884709"/>
                </a:cubicBezTo>
                <a:cubicBezTo>
                  <a:pt x="10784298" y="2885822"/>
                  <a:pt x="10780426" y="2887845"/>
                  <a:pt x="10776830" y="2887035"/>
                </a:cubicBezTo>
                <a:cubicBezTo>
                  <a:pt x="10775447" y="2870952"/>
                  <a:pt x="10781809" y="2856386"/>
                  <a:pt x="10790106" y="2840708"/>
                </a:cubicBezTo>
                <a:cubicBezTo>
                  <a:pt x="10780979" y="2834537"/>
                  <a:pt x="10785958" y="2845765"/>
                  <a:pt x="10778766" y="2838482"/>
                </a:cubicBezTo>
                <a:cubicBezTo>
                  <a:pt x="10790660" y="2823613"/>
                  <a:pt x="10795085" y="2807125"/>
                  <a:pt x="10790383" y="2790334"/>
                </a:cubicBezTo>
                <a:cubicBezTo>
                  <a:pt x="10782915" y="2785883"/>
                  <a:pt x="10779043" y="2793773"/>
                  <a:pt x="10769915" y="2787603"/>
                </a:cubicBezTo>
                <a:cubicBezTo>
                  <a:pt x="10761894" y="2800348"/>
                  <a:pt x="10751937" y="2811272"/>
                  <a:pt x="10753320" y="2821691"/>
                </a:cubicBezTo>
                <a:cubicBezTo>
                  <a:pt x="10734788" y="2820679"/>
                  <a:pt x="10745299" y="2834436"/>
                  <a:pt x="10742809" y="2846979"/>
                </a:cubicBezTo>
                <a:cubicBezTo>
                  <a:pt x="10736725" y="2858713"/>
                  <a:pt x="10721235" y="2872773"/>
                  <a:pt x="10714874" y="2887339"/>
                </a:cubicBezTo>
                <a:cubicBezTo>
                  <a:pt x="10710448" y="2900893"/>
                  <a:pt x="10694959" y="2917786"/>
                  <a:pt x="10681407" y="2928002"/>
                </a:cubicBezTo>
                <a:cubicBezTo>
                  <a:pt x="10677534" y="2930025"/>
                  <a:pt x="10684726" y="2934476"/>
                  <a:pt x="10680853" y="2939432"/>
                </a:cubicBezTo>
                <a:cubicBezTo>
                  <a:pt x="10675322" y="2936904"/>
                  <a:pt x="10673109" y="2940849"/>
                  <a:pt x="10671173" y="2941860"/>
                </a:cubicBezTo>
                <a:cubicBezTo>
                  <a:pt x="10678087" y="2957741"/>
                  <a:pt x="10655407" y="2964518"/>
                  <a:pt x="10662045" y="2980298"/>
                </a:cubicBezTo>
                <a:cubicBezTo>
                  <a:pt x="10621386" y="3013779"/>
                  <a:pt x="10616131" y="3050194"/>
                  <a:pt x="10571877" y="3074269"/>
                </a:cubicBezTo>
                <a:cubicBezTo>
                  <a:pt x="10568005" y="3079225"/>
                  <a:pt x="10571324" y="3085800"/>
                  <a:pt x="10567451" y="3090756"/>
                </a:cubicBezTo>
                <a:cubicBezTo>
                  <a:pt x="10558601" y="3078820"/>
                  <a:pt x="10552516" y="3090453"/>
                  <a:pt x="10546707" y="3093589"/>
                </a:cubicBezTo>
                <a:cubicBezTo>
                  <a:pt x="10542005" y="3073864"/>
                  <a:pt x="10571047" y="3052420"/>
                  <a:pt x="10584877" y="3030773"/>
                </a:cubicBezTo>
                <a:cubicBezTo>
                  <a:pt x="10581281" y="3027132"/>
                  <a:pt x="10579345" y="3031076"/>
                  <a:pt x="10577409" y="3032088"/>
                </a:cubicBezTo>
                <a:cubicBezTo>
                  <a:pt x="10580175" y="3011048"/>
                  <a:pt x="10627471" y="3004878"/>
                  <a:pt x="10620557" y="2991930"/>
                </a:cubicBezTo>
                <a:cubicBezTo>
                  <a:pt x="10645173" y="2986873"/>
                  <a:pt x="10643237" y="2943175"/>
                  <a:pt x="10667577" y="2943883"/>
                </a:cubicBezTo>
                <a:cubicBezTo>
                  <a:pt x="10673662" y="2932149"/>
                  <a:pt x="10671726" y="2930430"/>
                  <a:pt x="10679747" y="2920517"/>
                </a:cubicBezTo>
                <a:cubicBezTo>
                  <a:pt x="10683619" y="2918393"/>
                  <a:pt x="10672279" y="2919000"/>
                  <a:pt x="10670343" y="2920011"/>
                </a:cubicBezTo>
                <a:cubicBezTo>
                  <a:pt x="10689151" y="2876212"/>
                  <a:pt x="10707683" y="2841112"/>
                  <a:pt x="10728150" y="2799134"/>
                </a:cubicBezTo>
                <a:cubicBezTo>
                  <a:pt x="10715427" y="2789322"/>
                  <a:pt x="10707129" y="2804900"/>
                  <a:pt x="10703257" y="2807024"/>
                </a:cubicBezTo>
                <a:cubicBezTo>
                  <a:pt x="10699385" y="2814813"/>
                  <a:pt x="10700215" y="2833930"/>
                  <a:pt x="10692194" y="2846676"/>
                </a:cubicBezTo>
                <a:cubicBezTo>
                  <a:pt x="10682236" y="2863366"/>
                  <a:pt x="10673939" y="2878943"/>
                  <a:pt x="10667854" y="2890677"/>
                </a:cubicBezTo>
                <a:cubicBezTo>
                  <a:pt x="10663705" y="2901298"/>
                  <a:pt x="10650152" y="2908682"/>
                  <a:pt x="10646003" y="2919303"/>
                </a:cubicBezTo>
                <a:cubicBezTo>
                  <a:pt x="10631897" y="2940950"/>
                  <a:pt x="10625259" y="2964114"/>
                  <a:pt x="10611429" y="2982827"/>
                </a:cubicBezTo>
                <a:cubicBezTo>
                  <a:pt x="10593727" y="3003765"/>
                  <a:pt x="10574090" y="3022782"/>
                  <a:pt x="10556664" y="3040787"/>
                </a:cubicBezTo>
                <a:cubicBezTo>
                  <a:pt x="10589302" y="2978275"/>
                  <a:pt x="10651535" y="2924765"/>
                  <a:pt x="10669237" y="2862051"/>
                </a:cubicBezTo>
                <a:cubicBezTo>
                  <a:pt x="10681130" y="2847181"/>
                  <a:pt x="10685555" y="2830795"/>
                  <a:pt x="10697449" y="2815925"/>
                </a:cubicBezTo>
                <a:cubicBezTo>
                  <a:pt x="10699385" y="2814914"/>
                  <a:pt x="10697725" y="2810160"/>
                  <a:pt x="10695789" y="2808339"/>
                </a:cubicBezTo>
                <a:cubicBezTo>
                  <a:pt x="10719576" y="2778600"/>
                  <a:pt x="10709066" y="2762011"/>
                  <a:pt x="10740320" y="2733891"/>
                </a:cubicBezTo>
                <a:cubicBezTo>
                  <a:pt x="10739490" y="2750985"/>
                  <a:pt x="10723725" y="2767979"/>
                  <a:pt x="10725108" y="2784062"/>
                </a:cubicBezTo>
                <a:cubicBezTo>
                  <a:pt x="10740873" y="2767170"/>
                  <a:pt x="10749171" y="2742893"/>
                  <a:pt x="10752214" y="2719021"/>
                </a:cubicBezTo>
                <a:cubicBezTo>
                  <a:pt x="10767979" y="2696262"/>
                  <a:pt x="10780426" y="2672795"/>
                  <a:pt x="10779596" y="2648113"/>
                </a:cubicBezTo>
                <a:cubicBezTo>
                  <a:pt x="10794808" y="2639819"/>
                  <a:pt x="10793702" y="2620802"/>
                  <a:pt x="10790660" y="2608563"/>
                </a:cubicBezTo>
                <a:cubicBezTo>
                  <a:pt x="10800617" y="2594806"/>
                  <a:pt x="10803936" y="2562336"/>
                  <a:pt x="10804766" y="2539476"/>
                </a:cubicBezTo>
                <a:cubicBezTo>
                  <a:pt x="10818872" y="2517829"/>
                  <a:pt x="10812510" y="2493451"/>
                  <a:pt x="10819148" y="2470288"/>
                </a:cubicBezTo>
                <a:cubicBezTo>
                  <a:pt x="10802276" y="2471097"/>
                  <a:pt x="10820255" y="2489203"/>
                  <a:pt x="10805042" y="2489001"/>
                </a:cubicBezTo>
                <a:cubicBezTo>
                  <a:pt x="10796468" y="2560819"/>
                  <a:pt x="10790383" y="2614430"/>
                  <a:pt x="10753873" y="2676133"/>
                </a:cubicBezTo>
                <a:cubicBezTo>
                  <a:pt x="10763277" y="2634761"/>
                  <a:pt x="10766596" y="2599358"/>
                  <a:pt x="10779873" y="2555862"/>
                </a:cubicBezTo>
                <a:cubicBezTo>
                  <a:pt x="10776277" y="2552221"/>
                  <a:pt x="10774341" y="2553233"/>
                  <a:pt x="10770468" y="2555357"/>
                </a:cubicBezTo>
                <a:cubicBezTo>
                  <a:pt x="10780426" y="2544432"/>
                  <a:pt x="10779043" y="2534115"/>
                  <a:pt x="10785128" y="2519549"/>
                </a:cubicBezTo>
                <a:cubicBezTo>
                  <a:pt x="10781532" y="2515907"/>
                  <a:pt x="10776000" y="2513277"/>
                  <a:pt x="10777936" y="2512266"/>
                </a:cubicBezTo>
                <a:cubicBezTo>
                  <a:pt x="10749171" y="2527944"/>
                  <a:pt x="10779043" y="2573058"/>
                  <a:pt x="10738937" y="2592176"/>
                </a:cubicBezTo>
                <a:cubicBezTo>
                  <a:pt x="10746129" y="2599459"/>
                  <a:pt x="10750277" y="2591569"/>
                  <a:pt x="10753873" y="2592378"/>
                </a:cubicBezTo>
                <a:cubicBezTo>
                  <a:pt x="10763001" y="2598549"/>
                  <a:pt x="10747788" y="2601280"/>
                  <a:pt x="10760788" y="2605427"/>
                </a:cubicBezTo>
                <a:cubicBezTo>
                  <a:pt x="10751107" y="2613519"/>
                  <a:pt x="10746958" y="2621207"/>
                  <a:pt x="10744746" y="2630816"/>
                </a:cubicBezTo>
                <a:cubicBezTo>
                  <a:pt x="10735065" y="2636076"/>
                  <a:pt x="10743086" y="2623331"/>
                  <a:pt x="10735618" y="2621814"/>
                </a:cubicBezTo>
                <a:cubicBezTo>
                  <a:pt x="10714044" y="2647608"/>
                  <a:pt x="10705470" y="2671884"/>
                  <a:pt x="10698278" y="2706478"/>
                </a:cubicBezTo>
                <a:cubicBezTo>
                  <a:pt x="10701874" y="2710120"/>
                  <a:pt x="10704363" y="2700510"/>
                  <a:pt x="10708236" y="2698386"/>
                </a:cubicBezTo>
                <a:cubicBezTo>
                  <a:pt x="10715150" y="2708501"/>
                  <a:pt x="10711002" y="2716391"/>
                  <a:pt x="10698002" y="2715076"/>
                </a:cubicBezTo>
                <a:cubicBezTo>
                  <a:pt x="10696342" y="2713256"/>
                  <a:pt x="10699938" y="2711131"/>
                  <a:pt x="10698278" y="2709412"/>
                </a:cubicBezTo>
                <a:cubicBezTo>
                  <a:pt x="10683066" y="2712042"/>
                  <a:pt x="10680024" y="2741578"/>
                  <a:pt x="10673939" y="2750480"/>
                </a:cubicBezTo>
                <a:cubicBezTo>
                  <a:pt x="10685002" y="2755638"/>
                  <a:pt x="10685002" y="2752705"/>
                  <a:pt x="10688874" y="2750682"/>
                </a:cubicBezTo>
                <a:cubicBezTo>
                  <a:pt x="10692747" y="2796099"/>
                  <a:pt x="10618897" y="2808440"/>
                  <a:pt x="10620833" y="2852138"/>
                </a:cubicBezTo>
                <a:cubicBezTo>
                  <a:pt x="10615025" y="2855274"/>
                  <a:pt x="10609493" y="2852644"/>
                  <a:pt x="10603961" y="2852947"/>
                </a:cubicBezTo>
                <a:cubicBezTo>
                  <a:pt x="10605621" y="2860534"/>
                  <a:pt x="10603408" y="2864377"/>
                  <a:pt x="10594004" y="2866805"/>
                </a:cubicBezTo>
                <a:cubicBezTo>
                  <a:pt x="10601195" y="2873987"/>
                  <a:pt x="10591515" y="2882079"/>
                  <a:pt x="10596770" y="2890373"/>
                </a:cubicBezTo>
                <a:cubicBezTo>
                  <a:pt x="10570217" y="2899275"/>
                  <a:pt x="10558324" y="2911413"/>
                  <a:pt x="10540899" y="2926485"/>
                </a:cubicBezTo>
                <a:cubicBezTo>
                  <a:pt x="10537303" y="2920011"/>
                  <a:pt x="10545048" y="2915864"/>
                  <a:pt x="10543388" y="2911211"/>
                </a:cubicBezTo>
                <a:cubicBezTo>
                  <a:pt x="10532048" y="2908884"/>
                  <a:pt x="10535367" y="2915965"/>
                  <a:pt x="10530665" y="2918797"/>
                </a:cubicBezTo>
                <a:lnTo>
                  <a:pt x="10525963" y="2919404"/>
                </a:lnTo>
                <a:lnTo>
                  <a:pt x="10525410" y="2922439"/>
                </a:lnTo>
                <a:lnTo>
                  <a:pt x="10524580" y="2923349"/>
                </a:lnTo>
                <a:lnTo>
                  <a:pt x="10529835" y="2924158"/>
                </a:lnTo>
                <a:lnTo>
                  <a:pt x="10511304" y="2943478"/>
                </a:lnTo>
                <a:lnTo>
                  <a:pt x="10512687" y="2946311"/>
                </a:lnTo>
                <a:cubicBezTo>
                  <a:pt x="10515176" y="2952785"/>
                  <a:pt x="10520984" y="2942164"/>
                  <a:pt x="10522367" y="2951267"/>
                </a:cubicBezTo>
                <a:cubicBezTo>
                  <a:pt x="10516282" y="2954909"/>
                  <a:pt x="10521537" y="2956123"/>
                  <a:pt x="10511580" y="2955920"/>
                </a:cubicBezTo>
                <a:cubicBezTo>
                  <a:pt x="10511027" y="2960776"/>
                  <a:pt x="10510474" y="2965631"/>
                  <a:pt x="10517665" y="2971093"/>
                </a:cubicBezTo>
                <a:cubicBezTo>
                  <a:pt x="10515729" y="2978578"/>
                  <a:pt x="10509368" y="2975341"/>
                  <a:pt x="10507431" y="2982726"/>
                </a:cubicBezTo>
                <a:cubicBezTo>
                  <a:pt x="10524303" y="2981411"/>
                  <a:pt x="10503836" y="2985861"/>
                  <a:pt x="10505772" y="2997190"/>
                </a:cubicBezTo>
                <a:cubicBezTo>
                  <a:pt x="10507431" y="3001439"/>
                  <a:pt x="10514346" y="3000023"/>
                  <a:pt x="10517112" y="3006496"/>
                </a:cubicBezTo>
                <a:cubicBezTo>
                  <a:pt x="10516559" y="3011251"/>
                  <a:pt x="10514899" y="3013881"/>
                  <a:pt x="10516835" y="3018230"/>
                </a:cubicBezTo>
                <a:cubicBezTo>
                  <a:pt x="10489176" y="3036033"/>
                  <a:pt x="10501900" y="3080237"/>
                  <a:pt x="10479772" y="3106132"/>
                </a:cubicBezTo>
                <a:lnTo>
                  <a:pt x="10482538" y="3112706"/>
                </a:lnTo>
                <a:lnTo>
                  <a:pt x="10501623" y="3096219"/>
                </a:lnTo>
                <a:cubicBezTo>
                  <a:pt x="10501070" y="3104817"/>
                  <a:pt x="10494985" y="3111695"/>
                  <a:pt x="10486964" y="3118472"/>
                </a:cubicBezTo>
                <a:lnTo>
                  <a:pt x="10479219" y="3125249"/>
                </a:lnTo>
                <a:lnTo>
                  <a:pt x="10468156" y="3143760"/>
                </a:lnTo>
                <a:cubicBezTo>
                  <a:pt x="10455709" y="3172892"/>
                  <a:pt x="10450730" y="3207082"/>
                  <a:pt x="10429156" y="3227717"/>
                </a:cubicBezTo>
                <a:cubicBezTo>
                  <a:pt x="10425561" y="3249667"/>
                  <a:pt x="10421135" y="3269392"/>
                  <a:pt x="10400114" y="3285677"/>
                </a:cubicBezTo>
                <a:cubicBezTo>
                  <a:pt x="10387391" y="3328465"/>
                  <a:pt x="10353094" y="3366498"/>
                  <a:pt x="10334839" y="3408071"/>
                </a:cubicBezTo>
                <a:cubicBezTo>
                  <a:pt x="10340648" y="3416164"/>
                  <a:pt x="10339265" y="3400080"/>
                  <a:pt x="10345903" y="3410398"/>
                </a:cubicBezTo>
                <a:cubicBezTo>
                  <a:pt x="10342307" y="3420513"/>
                  <a:pt x="10330967" y="3422941"/>
                  <a:pt x="10320457" y="3427695"/>
                </a:cubicBezTo>
                <a:cubicBezTo>
                  <a:pt x="10308563" y="3441958"/>
                  <a:pt x="10313818" y="3454905"/>
                  <a:pt x="10299159" y="3467549"/>
                </a:cubicBezTo>
                <a:cubicBezTo>
                  <a:pt x="10290861" y="3471798"/>
                  <a:pt x="10287266" y="3463098"/>
                  <a:pt x="10282287" y="3468965"/>
                </a:cubicBezTo>
                <a:cubicBezTo>
                  <a:pt x="10285606" y="3477563"/>
                  <a:pt x="10282011" y="3480800"/>
                  <a:pt x="10292244" y="3487881"/>
                </a:cubicBezTo>
                <a:cubicBezTo>
                  <a:pt x="10285330" y="3489398"/>
                  <a:pt x="10283393" y="3496883"/>
                  <a:pt x="10288096" y="3495872"/>
                </a:cubicBezTo>
                <a:cubicBezTo>
                  <a:pt x="10287542" y="3500727"/>
                  <a:pt x="10272883" y="3501536"/>
                  <a:pt x="10267904" y="3507302"/>
                </a:cubicBezTo>
                <a:cubicBezTo>
                  <a:pt x="10269564" y="3511652"/>
                  <a:pt x="10275372" y="3501031"/>
                  <a:pt x="10276479" y="3510134"/>
                </a:cubicBezTo>
                <a:cubicBezTo>
                  <a:pt x="10274266" y="3510640"/>
                  <a:pt x="10277309" y="3512360"/>
                  <a:pt x="10278138" y="3514484"/>
                </a:cubicBezTo>
                <a:cubicBezTo>
                  <a:pt x="10250756" y="3520553"/>
                  <a:pt x="10247990" y="3544627"/>
                  <a:pt x="10230841" y="3557777"/>
                </a:cubicBezTo>
                <a:cubicBezTo>
                  <a:pt x="10231671" y="3559901"/>
                  <a:pt x="10234714" y="3561621"/>
                  <a:pt x="10235820" y="3563745"/>
                </a:cubicBezTo>
                <a:cubicBezTo>
                  <a:pt x="10223927" y="3559294"/>
                  <a:pt x="10190459" y="3599553"/>
                  <a:pt x="10191842" y="3615636"/>
                </a:cubicBezTo>
                <a:cubicBezTo>
                  <a:pt x="10143439" y="3649826"/>
                  <a:pt x="10125184" y="3691399"/>
                  <a:pt x="10080100" y="3727207"/>
                </a:cubicBezTo>
                <a:cubicBezTo>
                  <a:pt x="10077057" y="3732568"/>
                  <a:pt x="10088674" y="3730040"/>
                  <a:pt x="10088951" y="3737019"/>
                </a:cubicBezTo>
                <a:cubicBezTo>
                  <a:pt x="10081206" y="3736412"/>
                  <a:pt x="10075674" y="3746932"/>
                  <a:pt x="10067653" y="3739346"/>
                </a:cubicBezTo>
                <a:cubicBezTo>
                  <a:pt x="10062675" y="3752192"/>
                  <a:pt x="10030037" y="3764027"/>
                  <a:pt x="10034462" y="3774850"/>
                </a:cubicBezTo>
                <a:cubicBezTo>
                  <a:pt x="10034739" y="3781830"/>
                  <a:pt x="10026718" y="3774142"/>
                  <a:pt x="10023952" y="3779503"/>
                </a:cubicBezTo>
                <a:cubicBezTo>
                  <a:pt x="10020080" y="3782639"/>
                  <a:pt x="10030314" y="3782841"/>
                  <a:pt x="10027271" y="3788101"/>
                </a:cubicBezTo>
                <a:cubicBezTo>
                  <a:pt x="10031697" y="3780110"/>
                  <a:pt x="10030037" y="3782740"/>
                  <a:pt x="10041654" y="3780211"/>
                </a:cubicBezTo>
                <a:cubicBezTo>
                  <a:pt x="10044973" y="3788910"/>
                  <a:pt x="10030590" y="3789821"/>
                  <a:pt x="10025335" y="3795586"/>
                </a:cubicBezTo>
                <a:cubicBezTo>
                  <a:pt x="10022846" y="3789113"/>
                  <a:pt x="10019803" y="3787393"/>
                  <a:pt x="10017314" y="3787899"/>
                </a:cubicBezTo>
                <a:cubicBezTo>
                  <a:pt x="10009016" y="3792147"/>
                  <a:pt x="10011782" y="3798621"/>
                  <a:pt x="10000165" y="3801150"/>
                </a:cubicBezTo>
                <a:cubicBezTo>
                  <a:pt x="10003484" y="3802768"/>
                  <a:pt x="10007357" y="3806511"/>
                  <a:pt x="10013442" y="3802869"/>
                </a:cubicBezTo>
                <a:cubicBezTo>
                  <a:pt x="10012888" y="3807725"/>
                  <a:pt x="10000442" y="3808028"/>
                  <a:pt x="9999612" y="3805904"/>
                </a:cubicBezTo>
                <a:cubicBezTo>
                  <a:pt x="9998782" y="3822493"/>
                  <a:pt x="9953422" y="3820874"/>
                  <a:pt x="9959783" y="3842926"/>
                </a:cubicBezTo>
                <a:cubicBezTo>
                  <a:pt x="9946783" y="3841105"/>
                  <a:pt x="9931294" y="3858604"/>
                  <a:pt x="9929911" y="3861234"/>
                </a:cubicBezTo>
                <a:cubicBezTo>
                  <a:pt x="9917465" y="3873474"/>
                  <a:pt x="9900040" y="3879543"/>
                  <a:pt x="9884274" y="3890063"/>
                </a:cubicBezTo>
                <a:cubicBezTo>
                  <a:pt x="9874593" y="3896840"/>
                  <a:pt x="9854402" y="3908472"/>
                  <a:pt x="9858275" y="3924050"/>
                </a:cubicBezTo>
                <a:cubicBezTo>
                  <a:pt x="9830339" y="3923140"/>
                  <a:pt x="9805169" y="3959251"/>
                  <a:pt x="9773638" y="3961476"/>
                </a:cubicBezTo>
                <a:cubicBezTo>
                  <a:pt x="9770042" y="3964612"/>
                  <a:pt x="9768660" y="3967242"/>
                  <a:pt x="9771149" y="3973716"/>
                </a:cubicBezTo>
                <a:cubicBezTo>
                  <a:pt x="9730213" y="3982718"/>
                  <a:pt x="9714171" y="4005073"/>
                  <a:pt x="9674342" y="4023280"/>
                </a:cubicBezTo>
                <a:cubicBezTo>
                  <a:pt x="9672406" y="4018931"/>
                  <a:pt x="9668534" y="4015087"/>
                  <a:pt x="9666874" y="4010839"/>
                </a:cubicBezTo>
                <a:cubicBezTo>
                  <a:pt x="9655534" y="4013367"/>
                  <a:pt x="9660236" y="4019234"/>
                  <a:pt x="9660513" y="4026214"/>
                </a:cubicBezTo>
                <a:cubicBezTo>
                  <a:pt x="9641428" y="4028136"/>
                  <a:pt x="9638939" y="4040476"/>
                  <a:pt x="9624280" y="4041286"/>
                </a:cubicBezTo>
                <a:cubicBezTo>
                  <a:pt x="9628705" y="4033294"/>
                  <a:pt x="9643088" y="4032485"/>
                  <a:pt x="9628705" y="4021561"/>
                </a:cubicBezTo>
                <a:cubicBezTo>
                  <a:pt x="9638109" y="4019538"/>
                  <a:pt x="9641152" y="4021257"/>
                  <a:pt x="9645300" y="4013266"/>
                </a:cubicBezTo>
                <a:cubicBezTo>
                  <a:pt x="9634237" y="4003960"/>
                  <a:pt x="9632854" y="4006590"/>
                  <a:pt x="9626216" y="3996374"/>
                </a:cubicBezTo>
                <a:cubicBezTo>
                  <a:pt x="9632301" y="3992631"/>
                  <a:pt x="9646683" y="3973008"/>
                  <a:pt x="9660236" y="3981808"/>
                </a:cubicBezTo>
                <a:cubicBezTo>
                  <a:pt x="9673236" y="3964814"/>
                  <a:pt x="9718320" y="3959554"/>
                  <a:pt x="9722746" y="3939830"/>
                </a:cubicBezTo>
                <a:cubicBezTo>
                  <a:pt x="9735469" y="3946405"/>
                  <a:pt x="9740724" y="3928804"/>
                  <a:pt x="9752617" y="3921420"/>
                </a:cubicBezTo>
                <a:cubicBezTo>
                  <a:pt x="9763404" y="3916767"/>
                  <a:pt x="9807935" y="3916362"/>
                  <a:pt x="9796595" y="3888242"/>
                </a:cubicBezTo>
                <a:cubicBezTo>
                  <a:pt x="9804893" y="3884095"/>
                  <a:pt x="9798255" y="3892592"/>
                  <a:pt x="9805999" y="3893198"/>
                </a:cubicBezTo>
                <a:cubicBezTo>
                  <a:pt x="9821212" y="3887534"/>
                  <a:pt x="9835318" y="3879745"/>
                  <a:pt x="9831169" y="3868922"/>
                </a:cubicBezTo>
                <a:cubicBezTo>
                  <a:pt x="9841956" y="3871248"/>
                  <a:pt x="9870721" y="3862549"/>
                  <a:pt x="9863806" y="3845252"/>
                </a:cubicBezTo>
                <a:cubicBezTo>
                  <a:pt x="9898933" y="3839891"/>
                  <a:pt x="9950932" y="3795586"/>
                  <a:pt x="9955358" y="3757047"/>
                </a:cubicBezTo>
                <a:cubicBezTo>
                  <a:pt x="9959230" y="3760790"/>
                  <a:pt x="9963932" y="3759778"/>
                  <a:pt x="9969740" y="3756137"/>
                </a:cubicBezTo>
                <a:cubicBezTo>
                  <a:pt x="9965868" y="3752394"/>
                  <a:pt x="9959230" y="3760891"/>
                  <a:pt x="9958124" y="3751787"/>
                </a:cubicBezTo>
                <a:cubicBezTo>
                  <a:pt x="9989378" y="3730748"/>
                  <a:pt x="10015378" y="3689781"/>
                  <a:pt x="10047462" y="3670967"/>
                </a:cubicBezTo>
                <a:cubicBezTo>
                  <a:pt x="10054654" y="3676429"/>
                  <a:pt x="10044696" y="3676328"/>
                  <a:pt x="10049675" y="3682296"/>
                </a:cubicBezTo>
                <a:cubicBezTo>
                  <a:pt x="10062398" y="3677137"/>
                  <a:pt x="10078717" y="3661762"/>
                  <a:pt x="10066547" y="3650331"/>
                </a:cubicBezTo>
                <a:cubicBezTo>
                  <a:pt x="10070972" y="3642340"/>
                  <a:pt x="10075951" y="3636575"/>
                  <a:pt x="10088674" y="3631416"/>
                </a:cubicBezTo>
                <a:cubicBezTo>
                  <a:pt x="10094206" y="3632529"/>
                  <a:pt x="10088121" y="3636271"/>
                  <a:pt x="10090057" y="3640520"/>
                </a:cubicBezTo>
                <a:cubicBezTo>
                  <a:pt x="10105823" y="3636979"/>
                  <a:pt x="10098908" y="3631517"/>
                  <a:pt x="10108589" y="3624740"/>
                </a:cubicBezTo>
                <a:cubicBezTo>
                  <a:pt x="10104440" y="3620896"/>
                  <a:pt x="10098908" y="3631517"/>
                  <a:pt x="10095312" y="3622818"/>
                </a:cubicBezTo>
                <a:cubicBezTo>
                  <a:pt x="10107482" y="3615535"/>
                  <a:pt x="10103887" y="3606937"/>
                  <a:pt x="10116610" y="3601778"/>
                </a:cubicBezTo>
                <a:cubicBezTo>
                  <a:pt x="10119376" y="3608252"/>
                  <a:pt x="10116610" y="3613613"/>
                  <a:pt x="10106376" y="3613411"/>
                </a:cubicBezTo>
                <a:cubicBezTo>
                  <a:pt x="10109695" y="3615130"/>
                  <a:pt x="10114120" y="3614119"/>
                  <a:pt x="10115780" y="3618367"/>
                </a:cubicBezTo>
                <a:cubicBezTo>
                  <a:pt x="10124631" y="3609365"/>
                  <a:pt x="10129886" y="3603498"/>
                  <a:pt x="10120205" y="3591562"/>
                </a:cubicBezTo>
                <a:cubicBezTo>
                  <a:pt x="10126014" y="3587920"/>
                  <a:pt x="10127120" y="3597125"/>
                  <a:pt x="10130439" y="3598744"/>
                </a:cubicBezTo>
                <a:cubicBezTo>
                  <a:pt x="10165013" y="3567589"/>
                  <a:pt x="10167779" y="3524801"/>
                  <a:pt x="10207608" y="3487780"/>
                </a:cubicBezTo>
                <a:cubicBezTo>
                  <a:pt x="10213140" y="3488993"/>
                  <a:pt x="10218671" y="3490106"/>
                  <a:pt x="10225586" y="3488589"/>
                </a:cubicBezTo>
                <a:cubicBezTo>
                  <a:pt x="10223373" y="3477260"/>
                  <a:pt x="10237756" y="3469370"/>
                  <a:pt x="10225586" y="3457940"/>
                </a:cubicBezTo>
                <a:cubicBezTo>
                  <a:pt x="10247990" y="3439024"/>
                  <a:pt x="10256011" y="3416063"/>
                  <a:pt x="10264309" y="3393202"/>
                </a:cubicBezTo>
                <a:cubicBezTo>
                  <a:pt x="10320180" y="3333927"/>
                  <a:pt x="10339265" y="3263929"/>
                  <a:pt x="10377987" y="3199091"/>
                </a:cubicBezTo>
                <a:cubicBezTo>
                  <a:pt x="10384072" y="3146087"/>
                  <a:pt x="10416986" y="3110683"/>
                  <a:pt x="10426391" y="3059298"/>
                </a:cubicBezTo>
                <a:cubicBezTo>
                  <a:pt x="10435518" y="3057275"/>
                  <a:pt x="10432476" y="3043822"/>
                  <a:pt x="10442433" y="3044024"/>
                </a:cubicBezTo>
                <a:cubicBezTo>
                  <a:pt x="10439943" y="3037550"/>
                  <a:pt x="10436901" y="3035831"/>
                  <a:pt x="10430816" y="3039472"/>
                </a:cubicBezTo>
                <a:lnTo>
                  <a:pt x="10436071" y="3026929"/>
                </a:lnTo>
                <a:lnTo>
                  <a:pt x="10405923" y="3055960"/>
                </a:lnTo>
                <a:cubicBezTo>
                  <a:pt x="10413391" y="3036539"/>
                  <a:pt x="10428880" y="3021770"/>
                  <a:pt x="10444092" y="3006901"/>
                </a:cubicBezTo>
                <a:lnTo>
                  <a:pt x="10447411" y="3003158"/>
                </a:lnTo>
                <a:lnTo>
                  <a:pt x="10444092" y="2999719"/>
                </a:lnTo>
                <a:cubicBezTo>
                  <a:pt x="10444369" y="2997292"/>
                  <a:pt x="10444922" y="2994156"/>
                  <a:pt x="10441050" y="2990312"/>
                </a:cubicBezTo>
                <a:cubicBezTo>
                  <a:pt x="10443263" y="2989806"/>
                  <a:pt x="10445475" y="2989301"/>
                  <a:pt x="10446858" y="2986671"/>
                </a:cubicBezTo>
                <a:lnTo>
                  <a:pt x="10449071" y="2970891"/>
                </a:lnTo>
                <a:lnTo>
                  <a:pt x="10438837" y="2980703"/>
                </a:lnTo>
                <a:cubicBezTo>
                  <a:pt x="10432476" y="2988491"/>
                  <a:pt x="10427220" y="2996887"/>
                  <a:pt x="10425008" y="3006496"/>
                </a:cubicBezTo>
                <a:cubicBezTo>
                  <a:pt x="10417540" y="3007811"/>
                  <a:pt x="10396242" y="3019343"/>
                  <a:pt x="10401497" y="3027637"/>
                </a:cubicBezTo>
                <a:lnTo>
                  <a:pt x="10391540" y="3030773"/>
                </a:lnTo>
                <a:lnTo>
                  <a:pt x="10390987" y="3032189"/>
                </a:lnTo>
                <a:cubicBezTo>
                  <a:pt x="10389051" y="3041091"/>
                  <a:pt x="10388221" y="3051206"/>
                  <a:pt x="10384902" y="3061321"/>
                </a:cubicBezTo>
                <a:cubicBezTo>
                  <a:pt x="10379923" y="3074167"/>
                  <a:pt x="10363605" y="3082563"/>
                  <a:pt x="10374945" y="3098747"/>
                </a:cubicBezTo>
                <a:cubicBezTo>
                  <a:pt x="10359456" y="3109267"/>
                  <a:pt x="10359179" y="3121102"/>
                  <a:pt x="10361945" y="3134555"/>
                </a:cubicBezTo>
                <a:cubicBezTo>
                  <a:pt x="10332903" y="3173803"/>
                  <a:pt x="10318797" y="3219119"/>
                  <a:pt x="10295287" y="3259580"/>
                </a:cubicBezTo>
                <a:cubicBezTo>
                  <a:pt x="10296946" y="3263929"/>
                  <a:pt x="10299436" y="3263322"/>
                  <a:pt x="10303308" y="3267166"/>
                </a:cubicBezTo>
                <a:cubicBezTo>
                  <a:pt x="10289755" y="3258366"/>
                  <a:pt x="10280074" y="3284059"/>
                  <a:pt x="10289478" y="3282036"/>
                </a:cubicBezTo>
                <a:cubicBezTo>
                  <a:pt x="10264585" y="3313292"/>
                  <a:pt x="10232224" y="3362654"/>
                  <a:pt x="10220608" y="3395731"/>
                </a:cubicBezTo>
                <a:cubicBezTo>
                  <a:pt x="10221437" y="3397855"/>
                  <a:pt x="10215629" y="3401497"/>
                  <a:pt x="10214523" y="3399372"/>
                </a:cubicBezTo>
                <a:cubicBezTo>
                  <a:pt x="10208714" y="3403014"/>
                  <a:pt x="10216459" y="3403722"/>
                  <a:pt x="10215906" y="3408476"/>
                </a:cubicBezTo>
                <a:cubicBezTo>
                  <a:pt x="10205119" y="3413230"/>
                  <a:pt x="10191842" y="3423143"/>
                  <a:pt x="10196268" y="3433967"/>
                </a:cubicBezTo>
                <a:cubicBezTo>
                  <a:pt x="10173034" y="3450758"/>
                  <a:pt x="10151737" y="3490713"/>
                  <a:pt x="10130992" y="3506999"/>
                </a:cubicBezTo>
                <a:cubicBezTo>
                  <a:pt x="10130439" y="3511854"/>
                  <a:pt x="10129886" y="3516709"/>
                  <a:pt x="10128503" y="3519339"/>
                </a:cubicBezTo>
                <a:cubicBezTo>
                  <a:pt x="10122418" y="3523082"/>
                  <a:pt x="10117993" y="3523992"/>
                  <a:pt x="10111078" y="3525509"/>
                </a:cubicBezTo>
                <a:cubicBezTo>
                  <a:pt x="10109142" y="3532995"/>
                  <a:pt x="10105546" y="3543110"/>
                  <a:pt x="10090610" y="3548774"/>
                </a:cubicBezTo>
                <a:cubicBezTo>
                  <a:pt x="10085632" y="3542806"/>
                  <a:pt x="10087015" y="3540177"/>
                  <a:pt x="10077057" y="3540075"/>
                </a:cubicBezTo>
                <a:cubicBezTo>
                  <a:pt x="10072909" y="3548066"/>
                  <a:pt x="10085078" y="3547662"/>
                  <a:pt x="10087844" y="3554136"/>
                </a:cubicBezTo>
                <a:cubicBezTo>
                  <a:pt x="10084249" y="3564251"/>
                  <a:pt x="10071802" y="3557676"/>
                  <a:pt x="10064887" y="3559193"/>
                </a:cubicBezTo>
                <a:cubicBezTo>
                  <a:pt x="10080100" y="3572343"/>
                  <a:pt x="10073738" y="3587718"/>
                  <a:pt x="10048292" y="3586302"/>
                </a:cubicBezTo>
                <a:cubicBezTo>
                  <a:pt x="10039994" y="3590449"/>
                  <a:pt x="10049122" y="3600261"/>
                  <a:pt x="10039994" y="3602284"/>
                </a:cubicBezTo>
                <a:cubicBezTo>
                  <a:pt x="10040824" y="3604408"/>
                  <a:pt x="10042484" y="3608657"/>
                  <a:pt x="10046909" y="3607746"/>
                </a:cubicBezTo>
                <a:cubicBezTo>
                  <a:pt x="10044143" y="3613006"/>
                  <a:pt x="10034186" y="3612905"/>
                  <a:pt x="10039994" y="3620997"/>
                </a:cubicBezTo>
                <a:cubicBezTo>
                  <a:pt x="10033080" y="3622515"/>
                  <a:pt x="10013442" y="3629191"/>
                  <a:pt x="10020080" y="3639508"/>
                </a:cubicBezTo>
                <a:cubicBezTo>
                  <a:pt x="10015378" y="3640520"/>
                  <a:pt x="10012888" y="3633945"/>
                  <a:pt x="10008463" y="3634956"/>
                </a:cubicBezTo>
                <a:cubicBezTo>
                  <a:pt x="10009569" y="3644161"/>
                  <a:pt x="9997953" y="3646690"/>
                  <a:pt x="10004591" y="3656906"/>
                </a:cubicBezTo>
                <a:cubicBezTo>
                  <a:pt x="9997676" y="3658424"/>
                  <a:pt x="9984123" y="3661559"/>
                  <a:pt x="9990485" y="3664796"/>
                </a:cubicBezTo>
                <a:cubicBezTo>
                  <a:pt x="9968081" y="3683813"/>
                  <a:pt x="9954805" y="3712540"/>
                  <a:pt x="9924656" y="3723869"/>
                </a:cubicBezTo>
                <a:cubicBezTo>
                  <a:pt x="9920784" y="3727106"/>
                  <a:pt x="9917188" y="3730242"/>
                  <a:pt x="9919954" y="3736716"/>
                </a:cubicBezTo>
                <a:cubicBezTo>
                  <a:pt x="9889253" y="3741166"/>
                  <a:pt x="9876530" y="3783853"/>
                  <a:pt x="9839190" y="3789821"/>
                </a:cubicBezTo>
                <a:cubicBezTo>
                  <a:pt x="9835594" y="3792956"/>
                  <a:pt x="9840296" y="3798823"/>
                  <a:pt x="9836701" y="3802060"/>
                </a:cubicBezTo>
                <a:cubicBezTo>
                  <a:pt x="9826190" y="3806713"/>
                  <a:pt x="9820382" y="3798621"/>
                  <a:pt x="9812637" y="3797913"/>
                </a:cubicBezTo>
                <a:cubicBezTo>
                  <a:pt x="9805999" y="3806410"/>
                  <a:pt x="9810978" y="3831091"/>
                  <a:pt x="9785255" y="3822695"/>
                </a:cubicBezTo>
                <a:cubicBezTo>
                  <a:pt x="9777787" y="3829068"/>
                  <a:pt x="9782212" y="3839790"/>
                  <a:pt x="9777234" y="3845657"/>
                </a:cubicBezTo>
                <a:cubicBezTo>
                  <a:pt x="9771702" y="3844443"/>
                  <a:pt x="9768383" y="3842926"/>
                  <a:pt x="9763957" y="3843937"/>
                </a:cubicBezTo>
                <a:cubicBezTo>
                  <a:pt x="9765064" y="3853041"/>
                  <a:pt x="9743490" y="3867202"/>
                  <a:pt x="9728554" y="3861133"/>
                </a:cubicBezTo>
                <a:cubicBezTo>
                  <a:pt x="9728277" y="3872867"/>
                  <a:pt x="9716384" y="3880150"/>
                  <a:pt x="9707533" y="3889152"/>
                </a:cubicBezTo>
                <a:cubicBezTo>
                  <a:pt x="9659406" y="3892794"/>
                  <a:pt x="9619024" y="3941549"/>
                  <a:pt x="9565919" y="3950956"/>
                </a:cubicBezTo>
                <a:lnTo>
                  <a:pt x="9561770" y="3952575"/>
                </a:lnTo>
                <a:lnTo>
                  <a:pt x="9576429" y="3930422"/>
                </a:lnTo>
                <a:cubicBezTo>
                  <a:pt x="9585557" y="3921420"/>
                  <a:pt x="9596897" y="3913631"/>
                  <a:pt x="9608514" y="3908675"/>
                </a:cubicBezTo>
                <a:cubicBezTo>
                  <a:pt x="9613769" y="3902909"/>
                  <a:pt x="9604642" y="3893097"/>
                  <a:pt x="9599386" y="3891985"/>
                </a:cubicBezTo>
                <a:cubicBezTo>
                  <a:pt x="9573110" y="3907157"/>
                  <a:pt x="9531622" y="3909282"/>
                  <a:pt x="9532452" y="3930119"/>
                </a:cubicBezTo>
                <a:cubicBezTo>
                  <a:pt x="9522494" y="3930018"/>
                  <a:pt x="9509771" y="3935177"/>
                  <a:pt x="9500367" y="3930220"/>
                </a:cubicBezTo>
                <a:cubicBezTo>
                  <a:pt x="9529686" y="3916767"/>
                  <a:pt x="9546834" y="3903617"/>
                  <a:pt x="9578366" y="3889557"/>
                </a:cubicBezTo>
                <a:cubicBezTo>
                  <a:pt x="9575876" y="3883083"/>
                  <a:pt x="9581685" y="3879442"/>
                  <a:pt x="9576153" y="3871248"/>
                </a:cubicBezTo>
                <a:cubicBezTo>
                  <a:pt x="9571174" y="3865280"/>
                  <a:pt x="9570898" y="3877115"/>
                  <a:pt x="9564813" y="3873777"/>
                </a:cubicBezTo>
                <a:cubicBezTo>
                  <a:pt x="9562877" y="3869529"/>
                  <a:pt x="9562047" y="3867303"/>
                  <a:pt x="9566749" y="3866292"/>
                </a:cubicBezTo>
                <a:cubicBezTo>
                  <a:pt x="9563430" y="3864673"/>
                  <a:pt x="9559004" y="3865685"/>
                  <a:pt x="9557345" y="3861335"/>
                </a:cubicBezTo>
                <a:cubicBezTo>
                  <a:pt x="9549047" y="3865584"/>
                  <a:pt x="9553196" y="3876306"/>
                  <a:pt x="9537430" y="3879846"/>
                </a:cubicBezTo>
                <a:cubicBezTo>
                  <a:pt x="9542962" y="3869225"/>
                  <a:pt x="9523048" y="3868922"/>
                  <a:pt x="9531898" y="3859919"/>
                </a:cubicBezTo>
                <a:cubicBezTo>
                  <a:pt x="9524154" y="3859312"/>
                  <a:pt x="9513644" y="3863965"/>
                  <a:pt x="9508388" y="3851018"/>
                </a:cubicBezTo>
                <a:cubicBezTo>
                  <a:pt x="9515303" y="3849501"/>
                  <a:pt x="9527196" y="3860931"/>
                  <a:pt x="9521941" y="3847983"/>
                </a:cubicBezTo>
                <a:cubicBezTo>
                  <a:pt x="9529686" y="3848590"/>
                  <a:pt x="9526367" y="3858705"/>
                  <a:pt x="9535494" y="3856682"/>
                </a:cubicBezTo>
                <a:cubicBezTo>
                  <a:pt x="9537707" y="3856177"/>
                  <a:pt x="9536047" y="3851928"/>
                  <a:pt x="9533005" y="3850310"/>
                </a:cubicBezTo>
                <a:cubicBezTo>
                  <a:pt x="9540473" y="3843937"/>
                  <a:pt x="9544622" y="3854761"/>
                  <a:pt x="9550707" y="3851119"/>
                </a:cubicBezTo>
                <a:cubicBezTo>
                  <a:pt x="9555685" y="3845252"/>
                  <a:pt x="9542132" y="3848186"/>
                  <a:pt x="9539366" y="3841712"/>
                </a:cubicBezTo>
                <a:cubicBezTo>
                  <a:pt x="9549877" y="3837059"/>
                  <a:pt x="9552090" y="3829574"/>
                  <a:pt x="9545451" y="3819357"/>
                </a:cubicBezTo>
                <a:cubicBezTo>
                  <a:pt x="9564813" y="3824415"/>
                  <a:pt x="9564259" y="3810456"/>
                  <a:pt x="9571727" y="3822897"/>
                </a:cubicBezTo>
                <a:cubicBezTo>
                  <a:pt x="9594408" y="3817840"/>
                  <a:pt x="9603812" y="3785370"/>
                  <a:pt x="9619024" y="3798419"/>
                </a:cubicBezTo>
                <a:cubicBezTo>
                  <a:pt x="9631747" y="3793260"/>
                  <a:pt x="9612386" y="3788101"/>
                  <a:pt x="9626216" y="3785066"/>
                </a:cubicBezTo>
                <a:cubicBezTo>
                  <a:pt x="9635620" y="3790023"/>
                  <a:pt x="9623173" y="3790428"/>
                  <a:pt x="9624833" y="3794777"/>
                </a:cubicBezTo>
                <a:cubicBezTo>
                  <a:pt x="9638386" y="3803476"/>
                  <a:pt x="9639769" y="3782133"/>
                  <a:pt x="9648343" y="3784864"/>
                </a:cubicBezTo>
                <a:cubicBezTo>
                  <a:pt x="9645854" y="3778492"/>
                  <a:pt x="9643641" y="3778997"/>
                  <a:pt x="9637832" y="3770804"/>
                </a:cubicBezTo>
                <a:cubicBezTo>
                  <a:pt x="9642258" y="3769792"/>
                  <a:pt x="9644747" y="3769287"/>
                  <a:pt x="9646130" y="3766657"/>
                </a:cubicBezTo>
                <a:cubicBezTo>
                  <a:pt x="9653321" y="3772119"/>
                  <a:pt x="9646407" y="3773636"/>
                  <a:pt x="9648066" y="3777885"/>
                </a:cubicBezTo>
                <a:cubicBezTo>
                  <a:pt x="9649449" y="3775255"/>
                  <a:pt x="9651662" y="3774749"/>
                  <a:pt x="9653875" y="3774243"/>
                </a:cubicBezTo>
                <a:cubicBezTo>
                  <a:pt x="9655534" y="3771613"/>
                  <a:pt x="9650832" y="3772625"/>
                  <a:pt x="9649173" y="3768275"/>
                </a:cubicBezTo>
                <a:cubicBezTo>
                  <a:pt x="9674342" y="3762712"/>
                  <a:pt x="9692321" y="3751686"/>
                  <a:pt x="9697576" y="3734086"/>
                </a:cubicBezTo>
                <a:cubicBezTo>
                  <a:pt x="9707533" y="3734288"/>
                  <a:pt x="9710299" y="3728927"/>
                  <a:pt x="9713342" y="3723566"/>
                </a:cubicBezTo>
                <a:cubicBezTo>
                  <a:pt x="9712512" y="3721442"/>
                  <a:pt x="9710576" y="3717193"/>
                  <a:pt x="9708363" y="3717699"/>
                </a:cubicBezTo>
                <a:cubicBezTo>
                  <a:pt x="9723852" y="3719014"/>
                  <a:pt x="9745426" y="3704751"/>
                  <a:pt x="9747085" y="3690287"/>
                </a:cubicBezTo>
                <a:cubicBezTo>
                  <a:pt x="9749851" y="3696760"/>
                  <a:pt x="9752617" y="3691501"/>
                  <a:pt x="9756490" y="3695344"/>
                </a:cubicBezTo>
                <a:cubicBezTo>
                  <a:pt x="9773362" y="3675215"/>
                  <a:pt x="9788297" y="3662470"/>
                  <a:pt x="9812084" y="3647803"/>
                </a:cubicBezTo>
                <a:cubicBezTo>
                  <a:pt x="9810425" y="3643554"/>
                  <a:pt x="9801297" y="3645476"/>
                  <a:pt x="9809595" y="3641329"/>
                </a:cubicBezTo>
                <a:cubicBezTo>
                  <a:pt x="9808765" y="3639205"/>
                  <a:pt x="9806552" y="3639710"/>
                  <a:pt x="9805446" y="3637485"/>
                </a:cubicBezTo>
                <a:cubicBezTo>
                  <a:pt x="9794106" y="3640014"/>
                  <a:pt x="9803510" y="3645072"/>
                  <a:pt x="9799914" y="3648207"/>
                </a:cubicBezTo>
                <a:cubicBezTo>
                  <a:pt x="9797425" y="3648713"/>
                  <a:pt x="9792999" y="3649623"/>
                  <a:pt x="9789957" y="3648005"/>
                </a:cubicBezTo>
                <a:cubicBezTo>
                  <a:pt x="9796042" y="3632529"/>
                  <a:pt x="9808765" y="3620492"/>
                  <a:pt x="9823424" y="3607746"/>
                </a:cubicBezTo>
                <a:cubicBezTo>
                  <a:pt x="9817616" y="3599654"/>
                  <a:pt x="9817616" y="3611489"/>
                  <a:pt x="9814020" y="3602790"/>
                </a:cubicBezTo>
                <a:cubicBezTo>
                  <a:pt x="9831999" y="3591865"/>
                  <a:pt x="9843615" y="3577502"/>
                  <a:pt x="9846658" y="3560407"/>
                </a:cubicBezTo>
                <a:cubicBezTo>
                  <a:pt x="9841679" y="3554439"/>
                  <a:pt x="9834488" y="3560710"/>
                  <a:pt x="9828680" y="3552618"/>
                </a:cubicBezTo>
                <a:cubicBezTo>
                  <a:pt x="9815403" y="3562632"/>
                  <a:pt x="9801021" y="3570421"/>
                  <a:pt x="9797701" y="3580637"/>
                </a:cubicBezTo>
                <a:cubicBezTo>
                  <a:pt x="9780553" y="3574973"/>
                  <a:pt x="9784425" y="3590652"/>
                  <a:pt x="9776404" y="3601778"/>
                </a:cubicBezTo>
                <a:cubicBezTo>
                  <a:pt x="9765340" y="3611287"/>
                  <a:pt x="9744043" y="3620593"/>
                  <a:pt x="9731596" y="3632731"/>
                </a:cubicBezTo>
                <a:cubicBezTo>
                  <a:pt x="9721363" y="3644364"/>
                  <a:pt x="9698682" y="3656401"/>
                  <a:pt x="9681534" y="3662571"/>
                </a:cubicBezTo>
                <a:cubicBezTo>
                  <a:pt x="9676832" y="3663582"/>
                  <a:pt x="9681534" y="3669652"/>
                  <a:pt x="9675725" y="3673293"/>
                </a:cubicBezTo>
                <a:cubicBezTo>
                  <a:pt x="9671576" y="3669449"/>
                  <a:pt x="9667981" y="3672585"/>
                  <a:pt x="9665768" y="3673091"/>
                </a:cubicBezTo>
                <a:cubicBezTo>
                  <a:pt x="9664938" y="3689680"/>
                  <a:pt x="9640322" y="3690388"/>
                  <a:pt x="9639492" y="3706977"/>
                </a:cubicBezTo>
                <a:cubicBezTo>
                  <a:pt x="9585834" y="3728219"/>
                  <a:pt x="9564259" y="3761195"/>
                  <a:pt x="9511707" y="3772726"/>
                </a:cubicBezTo>
                <a:cubicBezTo>
                  <a:pt x="9505899" y="3776469"/>
                  <a:pt x="9506176" y="3783347"/>
                  <a:pt x="9500091" y="3787090"/>
                </a:cubicBezTo>
                <a:cubicBezTo>
                  <a:pt x="9497325" y="3773636"/>
                  <a:pt x="9486261" y="3783145"/>
                  <a:pt x="9479346" y="3784662"/>
                </a:cubicBezTo>
                <a:cubicBezTo>
                  <a:pt x="9483772" y="3764836"/>
                  <a:pt x="9520835" y="3751990"/>
                  <a:pt x="9543792" y="3735198"/>
                </a:cubicBezTo>
                <a:cubicBezTo>
                  <a:pt x="9542132" y="3730849"/>
                  <a:pt x="9538537" y="3733985"/>
                  <a:pt x="9536324" y="3734490"/>
                </a:cubicBezTo>
                <a:cubicBezTo>
                  <a:pt x="9548494" y="3715372"/>
                  <a:pt x="9595514" y="3721442"/>
                  <a:pt x="9594961" y="3707483"/>
                </a:cubicBezTo>
                <a:cubicBezTo>
                  <a:pt x="9620407" y="3708899"/>
                  <a:pt x="9638386" y="3667325"/>
                  <a:pt x="9661066" y="3674102"/>
                </a:cubicBezTo>
                <a:cubicBezTo>
                  <a:pt x="9672130" y="3664594"/>
                  <a:pt x="9671300" y="3662470"/>
                  <a:pt x="9683470" y="3655086"/>
                </a:cubicBezTo>
                <a:cubicBezTo>
                  <a:pt x="9687895" y="3654074"/>
                  <a:pt x="9677108" y="3651748"/>
                  <a:pt x="9674895" y="3652253"/>
                </a:cubicBezTo>
                <a:cubicBezTo>
                  <a:pt x="9712512" y="3615839"/>
                  <a:pt x="9745703" y="3587415"/>
                  <a:pt x="9784149" y="3553124"/>
                </a:cubicBezTo>
                <a:cubicBezTo>
                  <a:pt x="9776681" y="3540682"/>
                  <a:pt x="9761745" y="3553326"/>
                  <a:pt x="9757319" y="3554338"/>
                </a:cubicBezTo>
                <a:cubicBezTo>
                  <a:pt x="9749851" y="3560710"/>
                  <a:pt x="9742107" y="3578716"/>
                  <a:pt x="9728831" y="3588730"/>
                </a:cubicBezTo>
                <a:cubicBezTo>
                  <a:pt x="9711682" y="3601879"/>
                  <a:pt x="9697023" y="3614524"/>
                  <a:pt x="9685959" y="3624032"/>
                </a:cubicBezTo>
                <a:cubicBezTo>
                  <a:pt x="9677108" y="3633034"/>
                  <a:pt x="9661066" y="3636575"/>
                  <a:pt x="9652215" y="3645577"/>
                </a:cubicBezTo>
                <a:cubicBezTo>
                  <a:pt x="9628982" y="3662369"/>
                  <a:pt x="9612386" y="3682498"/>
                  <a:pt x="9590536" y="3696659"/>
                </a:cubicBezTo>
                <a:cubicBezTo>
                  <a:pt x="9564536" y="3711832"/>
                  <a:pt x="9537430" y="3724881"/>
                  <a:pt x="9512537" y="3737424"/>
                </a:cubicBezTo>
                <a:cubicBezTo>
                  <a:pt x="9571727" y="3686746"/>
                  <a:pt x="9654704" y="3652051"/>
                  <a:pt x="9700065" y="3597530"/>
                </a:cubicBezTo>
                <a:cubicBezTo>
                  <a:pt x="9718044" y="3586504"/>
                  <a:pt x="9729660" y="3572141"/>
                  <a:pt x="9747639" y="3561115"/>
                </a:cubicBezTo>
                <a:cubicBezTo>
                  <a:pt x="9749851" y="3560609"/>
                  <a:pt x="9750405" y="3555855"/>
                  <a:pt x="9749575" y="3553630"/>
                </a:cubicBezTo>
                <a:cubicBezTo>
                  <a:pt x="9785531" y="3531680"/>
                  <a:pt x="9783319" y="3513371"/>
                  <a:pt x="9825360" y="3494658"/>
                </a:cubicBezTo>
                <a:cubicBezTo>
                  <a:pt x="9816786" y="3510640"/>
                  <a:pt x="9794382" y="3522677"/>
                  <a:pt x="9788021" y="3538153"/>
                </a:cubicBezTo>
                <a:cubicBezTo>
                  <a:pt x="9810701" y="3526116"/>
                  <a:pt x="9829509" y="3505481"/>
                  <a:pt x="9843339" y="3483733"/>
                </a:cubicBezTo>
                <a:cubicBezTo>
                  <a:pt x="9868508" y="3466436"/>
                  <a:pt x="9890912" y="3447420"/>
                  <a:pt x="9901423" y="3423952"/>
                </a:cubicBezTo>
                <a:cubicBezTo>
                  <a:pt x="9919678" y="3419906"/>
                  <a:pt x="9927422" y="3401800"/>
                  <a:pt x="9929911" y="3389459"/>
                </a:cubicBezTo>
                <a:cubicBezTo>
                  <a:pt x="9945401" y="3378940"/>
                  <a:pt x="9963379" y="3349302"/>
                  <a:pt x="9974719" y="3327959"/>
                </a:cubicBezTo>
                <a:cubicBezTo>
                  <a:pt x="9997953" y="3311167"/>
                  <a:pt x="10002931" y="3286486"/>
                  <a:pt x="10019803" y="3266357"/>
                </a:cubicBezTo>
                <a:cubicBezTo>
                  <a:pt x="10003484" y="3262918"/>
                  <a:pt x="10012059" y="3284463"/>
                  <a:pt x="9997953" y="3280518"/>
                </a:cubicBezTo>
                <a:cubicBezTo>
                  <a:pt x="9957017" y="3345964"/>
                  <a:pt x="9927146" y="3394821"/>
                  <a:pt x="9864636" y="3443778"/>
                </a:cubicBezTo>
                <a:cubicBezTo>
                  <a:pt x="9892295" y="3407161"/>
                  <a:pt x="9911380" y="3374691"/>
                  <a:pt x="9943741" y="3337063"/>
                </a:cubicBezTo>
                <a:cubicBezTo>
                  <a:pt x="9941805" y="3332814"/>
                  <a:pt x="9939592" y="3333421"/>
                  <a:pt x="9935167" y="3334433"/>
                </a:cubicBezTo>
                <a:cubicBezTo>
                  <a:pt x="9949273" y="3326543"/>
                  <a:pt x="9952868" y="3316326"/>
                  <a:pt x="9965315" y="3304188"/>
                </a:cubicBezTo>
                <a:cubicBezTo>
                  <a:pt x="9963655" y="3299838"/>
                  <a:pt x="9959507" y="3296096"/>
                  <a:pt x="9961719" y="3295590"/>
                </a:cubicBezTo>
                <a:cubicBezTo>
                  <a:pt x="9927699" y="3303176"/>
                  <a:pt x="9935167" y="3353045"/>
                  <a:pt x="9888700" y="3361036"/>
                </a:cubicBezTo>
                <a:cubicBezTo>
                  <a:pt x="9892019" y="3369634"/>
                  <a:pt x="9899487" y="3363362"/>
                  <a:pt x="9902529" y="3364981"/>
                </a:cubicBezTo>
                <a:cubicBezTo>
                  <a:pt x="9908337" y="3373073"/>
                  <a:pt x="9892848" y="3371758"/>
                  <a:pt x="9903359" y="3378838"/>
                </a:cubicBezTo>
                <a:cubicBezTo>
                  <a:pt x="9890359" y="3384098"/>
                  <a:pt x="9883168" y="3390370"/>
                  <a:pt x="9876530" y="3398867"/>
                </a:cubicBezTo>
                <a:cubicBezTo>
                  <a:pt x="9865189" y="3401395"/>
                  <a:pt x="9878466" y="3391381"/>
                  <a:pt x="9872104" y="3388144"/>
                </a:cubicBezTo>
                <a:cubicBezTo>
                  <a:pt x="9840020" y="3406959"/>
                  <a:pt x="9820935" y="3427594"/>
                  <a:pt x="9798255" y="3458344"/>
                </a:cubicBezTo>
                <a:cubicBezTo>
                  <a:pt x="9800191" y="3462694"/>
                  <a:pt x="9806552" y="3454197"/>
                  <a:pt x="9811254" y="3453185"/>
                </a:cubicBezTo>
                <a:cubicBezTo>
                  <a:pt x="9813190" y="3464515"/>
                  <a:pt x="9805723" y="3470786"/>
                  <a:pt x="9794106" y="3466335"/>
                </a:cubicBezTo>
                <a:cubicBezTo>
                  <a:pt x="9793276" y="3464211"/>
                  <a:pt x="9797701" y="3463200"/>
                  <a:pt x="9796872" y="3461075"/>
                </a:cubicBezTo>
                <a:cubicBezTo>
                  <a:pt x="9781383" y="3459760"/>
                  <a:pt x="9765064" y="3486869"/>
                  <a:pt x="9755383" y="3493748"/>
                </a:cubicBezTo>
                <a:cubicBezTo>
                  <a:pt x="9763404" y="3501334"/>
                  <a:pt x="9764787" y="3498603"/>
                  <a:pt x="9769489" y="3497591"/>
                </a:cubicBezTo>
                <a:cubicBezTo>
                  <a:pt x="9752064" y="3541289"/>
                  <a:pt x="9677385" y="3534512"/>
                  <a:pt x="9659130" y="3575984"/>
                </a:cubicBezTo>
                <a:cubicBezTo>
                  <a:pt x="9652215" y="3577502"/>
                  <a:pt x="9648343" y="3573658"/>
                  <a:pt x="9642811" y="3572545"/>
                </a:cubicBezTo>
                <a:cubicBezTo>
                  <a:pt x="9640875" y="3580031"/>
                  <a:pt x="9637279" y="3583166"/>
                  <a:pt x="9627322" y="3583065"/>
                </a:cubicBezTo>
                <a:cubicBezTo>
                  <a:pt x="9630641" y="3591663"/>
                  <a:pt x="9617641" y="3596822"/>
                  <a:pt x="9619024" y="3605926"/>
                </a:cubicBezTo>
                <a:cubicBezTo>
                  <a:pt x="9589706" y="3607645"/>
                  <a:pt x="9573110" y="3616041"/>
                  <a:pt x="9549877" y="3625853"/>
                </a:cubicBezTo>
                <a:cubicBezTo>
                  <a:pt x="9549600" y="3618873"/>
                  <a:pt x="9558728" y="3616850"/>
                  <a:pt x="9559281" y="3612096"/>
                </a:cubicBezTo>
                <a:cubicBezTo>
                  <a:pt x="9546558" y="3605420"/>
                  <a:pt x="9550430" y="3621098"/>
                  <a:pt x="9535494" y="3615029"/>
                </a:cubicBezTo>
                <a:cubicBezTo>
                  <a:pt x="9529686" y="3618671"/>
                  <a:pt x="9539643" y="3618772"/>
                  <a:pt x="9540473" y="3620896"/>
                </a:cubicBezTo>
                <a:cubicBezTo>
                  <a:pt x="9474091" y="3647297"/>
                  <a:pt x="9419879" y="3692209"/>
                  <a:pt x="9364008" y="3713855"/>
                </a:cubicBezTo>
                <a:cubicBezTo>
                  <a:pt x="9395539" y="3681082"/>
                  <a:pt x="9449751" y="3673799"/>
                  <a:pt x="9478240" y="3639407"/>
                </a:cubicBezTo>
                <a:cubicBezTo>
                  <a:pt x="9509218" y="3630202"/>
                  <a:pt x="9536600" y="3605319"/>
                  <a:pt x="9550430" y="3583470"/>
                </a:cubicBezTo>
                <a:cubicBezTo>
                  <a:pt x="9537983" y="3583874"/>
                  <a:pt x="9535218" y="3608050"/>
                  <a:pt x="9515856" y="3602891"/>
                </a:cubicBezTo>
                <a:cubicBezTo>
                  <a:pt x="9490963" y="3634248"/>
                  <a:pt x="9430667" y="3638193"/>
                  <a:pt x="9404390" y="3672079"/>
                </a:cubicBezTo>
                <a:cubicBezTo>
                  <a:pt x="9396646" y="3671472"/>
                  <a:pt x="9371476" y="3676935"/>
                  <a:pt x="9372582" y="3686139"/>
                </a:cubicBezTo>
                <a:cubicBezTo>
                  <a:pt x="9362625" y="3685937"/>
                  <a:pt x="9360413" y="3686443"/>
                  <a:pt x="9346860" y="3689477"/>
                </a:cubicBezTo>
                <a:cubicBezTo>
                  <a:pt x="9368987" y="3670562"/>
                  <a:pt x="9418496" y="3657311"/>
                  <a:pt x="9428177" y="3638699"/>
                </a:cubicBezTo>
                <a:cubicBezTo>
                  <a:pt x="9439517" y="3648005"/>
                  <a:pt x="9438411" y="3626965"/>
                  <a:pt x="9451687" y="3628786"/>
                </a:cubicBezTo>
                <a:cubicBezTo>
                  <a:pt x="9446709" y="3622818"/>
                  <a:pt x="9440071" y="3624436"/>
                  <a:pt x="9434539" y="3623223"/>
                </a:cubicBezTo>
                <a:cubicBezTo>
                  <a:pt x="9427624" y="3624740"/>
                  <a:pt x="9434815" y="3630101"/>
                  <a:pt x="9423475" y="3632630"/>
                </a:cubicBezTo>
                <a:cubicBezTo>
                  <a:pt x="9425964" y="3620390"/>
                  <a:pt x="9416560" y="3634147"/>
                  <a:pt x="9408816" y="3633540"/>
                </a:cubicBezTo>
                <a:cubicBezTo>
                  <a:pt x="9400795" y="3625954"/>
                  <a:pt x="9413241" y="3625549"/>
                  <a:pt x="9410475" y="3619075"/>
                </a:cubicBezTo>
                <a:lnTo>
                  <a:pt x="9409092" y="3619379"/>
                </a:lnTo>
                <a:lnTo>
                  <a:pt x="9402454" y="3626257"/>
                </a:lnTo>
                <a:lnTo>
                  <a:pt x="9402731" y="3627775"/>
                </a:lnTo>
                <a:cubicBezTo>
                  <a:pt x="9404390" y="3630404"/>
                  <a:pt x="9406050" y="3633034"/>
                  <a:pt x="9404390" y="3634653"/>
                </a:cubicBezTo>
                <a:cubicBezTo>
                  <a:pt x="9400795" y="3635361"/>
                  <a:pt x="9398305" y="3635260"/>
                  <a:pt x="9396093" y="3635766"/>
                </a:cubicBezTo>
                <a:lnTo>
                  <a:pt x="9389731" y="3639812"/>
                </a:lnTo>
                <a:lnTo>
                  <a:pt x="9378944" y="3651849"/>
                </a:lnTo>
                <a:lnTo>
                  <a:pt x="9378944" y="3651950"/>
                </a:lnTo>
                <a:lnTo>
                  <a:pt x="9380604" y="3656198"/>
                </a:lnTo>
                <a:lnTo>
                  <a:pt x="9366221" y="3661256"/>
                </a:lnTo>
                <a:lnTo>
                  <a:pt x="9356264" y="3668438"/>
                </a:lnTo>
                <a:cubicBezTo>
                  <a:pt x="9357647" y="3673091"/>
                  <a:pt x="9357370" y="3675417"/>
                  <a:pt x="9354051" y="3679565"/>
                </a:cubicBezTo>
                <a:cubicBezTo>
                  <a:pt x="9311456" y="3699896"/>
                  <a:pt x="9282691" y="3746730"/>
                  <a:pt x="9241202" y="3762611"/>
                </a:cubicBezTo>
                <a:cubicBezTo>
                  <a:pt x="9225160" y="3781324"/>
                  <a:pt x="9209948" y="3797812"/>
                  <a:pt x="9181735" y="3806106"/>
                </a:cubicBezTo>
                <a:cubicBezTo>
                  <a:pt x="9146055" y="3840801"/>
                  <a:pt x="9092950" y="3864471"/>
                  <a:pt x="9052844" y="3896435"/>
                </a:cubicBezTo>
                <a:cubicBezTo>
                  <a:pt x="9053398" y="3905640"/>
                  <a:pt x="9061419" y="3890568"/>
                  <a:pt x="9061419" y="3901999"/>
                </a:cubicBezTo>
                <a:cubicBezTo>
                  <a:pt x="9052568" y="3910091"/>
                  <a:pt x="9040674" y="3908877"/>
                  <a:pt x="9028505" y="3909787"/>
                </a:cubicBezTo>
                <a:cubicBezTo>
                  <a:pt x="9009973" y="3919093"/>
                  <a:pt x="9007207" y="3932344"/>
                  <a:pt x="8986463" y="3939223"/>
                </a:cubicBezTo>
                <a:cubicBezTo>
                  <a:pt x="8976506" y="3940437"/>
                  <a:pt x="8978442" y="3931434"/>
                  <a:pt x="8970421" y="3935076"/>
                </a:cubicBezTo>
                <a:cubicBezTo>
                  <a:pt x="8968761" y="3943977"/>
                  <a:pt x="8963506" y="3945798"/>
                  <a:pt x="8968761" y="3955407"/>
                </a:cubicBezTo>
                <a:cubicBezTo>
                  <a:pt x="8961846" y="3954598"/>
                  <a:pt x="8955761" y="3960869"/>
                  <a:pt x="8960463" y="3961375"/>
                </a:cubicBezTo>
                <a:cubicBezTo>
                  <a:pt x="8957144" y="3965522"/>
                  <a:pt x="8943315" y="3961780"/>
                  <a:pt x="8935570" y="3965421"/>
                </a:cubicBezTo>
                <a:cubicBezTo>
                  <a:pt x="8934464" y="3969872"/>
                  <a:pt x="8945804" y="3962083"/>
                  <a:pt x="8941655" y="3970681"/>
                </a:cubicBezTo>
                <a:cubicBezTo>
                  <a:pt x="8939443" y="3970378"/>
                  <a:pt x="8941379" y="3972907"/>
                  <a:pt x="8940826" y="3975132"/>
                </a:cubicBezTo>
                <a:cubicBezTo>
                  <a:pt x="8912613" y="3971996"/>
                  <a:pt x="8896295" y="3992935"/>
                  <a:pt x="8873338" y="3999510"/>
                </a:cubicBezTo>
                <a:cubicBezTo>
                  <a:pt x="8872784" y="4001735"/>
                  <a:pt x="8874720" y="4004163"/>
                  <a:pt x="8874167" y="4006388"/>
                </a:cubicBezTo>
                <a:cubicBezTo>
                  <a:pt x="8866146" y="3998700"/>
                  <a:pt x="8812764" y="4024697"/>
                  <a:pt x="8805020" y="4039768"/>
                </a:cubicBezTo>
                <a:cubicBezTo>
                  <a:pt x="8741681" y="4055548"/>
                  <a:pt x="8701575" y="4087411"/>
                  <a:pt x="8640172" y="4105618"/>
                </a:cubicBezTo>
                <a:cubicBezTo>
                  <a:pt x="8634640" y="4109563"/>
                  <a:pt x="8646257" y="4110878"/>
                  <a:pt x="8642661" y="4117251"/>
                </a:cubicBezTo>
                <a:cubicBezTo>
                  <a:pt x="8636023" y="4114318"/>
                  <a:pt x="8624683" y="4122106"/>
                  <a:pt x="8621917" y="4112699"/>
                </a:cubicBezTo>
                <a:cubicBezTo>
                  <a:pt x="8610300" y="4122814"/>
                  <a:pt x="8574067" y="4123320"/>
                  <a:pt x="8571854" y="4134447"/>
                </a:cubicBezTo>
                <a:cubicBezTo>
                  <a:pt x="8567982" y="4140921"/>
                  <a:pt x="8565216" y="4131513"/>
                  <a:pt x="8559408" y="4135458"/>
                </a:cubicBezTo>
                <a:cubicBezTo>
                  <a:pt x="8554429" y="4137178"/>
                  <a:pt x="8563280" y="4140415"/>
                  <a:pt x="8557748" y="4144259"/>
                </a:cubicBezTo>
                <a:cubicBezTo>
                  <a:pt x="8566046" y="4138392"/>
                  <a:pt x="8563280" y="4140415"/>
                  <a:pt x="8574897" y="4141730"/>
                </a:cubicBezTo>
                <a:cubicBezTo>
                  <a:pt x="8573237" y="4150631"/>
                  <a:pt x="8559684" y="4146889"/>
                  <a:pt x="8551663" y="4150530"/>
                </a:cubicBezTo>
                <a:cubicBezTo>
                  <a:pt x="8553046" y="4143854"/>
                  <a:pt x="8551110" y="4141325"/>
                  <a:pt x="8548621" y="4141123"/>
                </a:cubicBezTo>
                <a:cubicBezTo>
                  <a:pt x="8538940" y="4142236"/>
                  <a:pt x="8537557" y="4148912"/>
                  <a:pt x="8525664" y="4147597"/>
                </a:cubicBezTo>
                <a:cubicBezTo>
                  <a:pt x="8527600" y="4150126"/>
                  <a:pt x="8529260" y="4154779"/>
                  <a:pt x="8536728" y="4153362"/>
                </a:cubicBezTo>
                <a:cubicBezTo>
                  <a:pt x="8533408" y="4157510"/>
                  <a:pt x="8522068" y="4153969"/>
                  <a:pt x="8522345" y="4151744"/>
                </a:cubicBezTo>
                <a:cubicBezTo>
                  <a:pt x="8512388" y="4166613"/>
                  <a:pt x="8472005" y="4150732"/>
                  <a:pt x="8465367" y="4172784"/>
                </a:cubicBezTo>
                <a:cubicBezTo>
                  <a:pt x="8454304" y="4167018"/>
                  <a:pt x="8430517" y="4178145"/>
                  <a:pt x="8427751" y="4180067"/>
                </a:cubicBezTo>
                <a:cubicBezTo>
                  <a:pt x="8409496" y="4187147"/>
                  <a:pt x="8390135" y="4187248"/>
                  <a:pt x="8369944" y="4191800"/>
                </a:cubicBezTo>
                <a:cubicBezTo>
                  <a:pt x="8357221" y="4194936"/>
                  <a:pt x="8332328" y="4199083"/>
                  <a:pt x="8326796" y="4214357"/>
                </a:cubicBezTo>
                <a:cubicBezTo>
                  <a:pt x="8302179" y="4204849"/>
                  <a:pt x="8258755" y="4229530"/>
                  <a:pt x="8229159" y="4221741"/>
                </a:cubicBezTo>
                <a:cubicBezTo>
                  <a:pt x="8223904" y="4223461"/>
                  <a:pt x="8221138" y="4225484"/>
                  <a:pt x="8219755" y="4232160"/>
                </a:cubicBezTo>
                <a:cubicBezTo>
                  <a:pt x="8177437" y="4227406"/>
                  <a:pt x="8150331" y="4242680"/>
                  <a:pt x="8103588" y="4246625"/>
                </a:cubicBezTo>
                <a:cubicBezTo>
                  <a:pt x="8104694" y="4242174"/>
                  <a:pt x="8103034" y="4237420"/>
                  <a:pt x="8103864" y="4232969"/>
                </a:cubicBezTo>
                <a:cubicBezTo>
                  <a:pt x="8092247" y="4231755"/>
                  <a:pt x="8093354" y="4238634"/>
                  <a:pt x="8089481" y="4245108"/>
                </a:cubicBezTo>
                <a:cubicBezTo>
                  <a:pt x="8071227" y="4240758"/>
                  <a:pt x="8061822" y="4251076"/>
                  <a:pt x="8048270" y="4247333"/>
                </a:cubicBezTo>
                <a:cubicBezTo>
                  <a:pt x="8056567" y="4241365"/>
                  <a:pt x="8070397" y="4245209"/>
                  <a:pt x="8063482" y="4230744"/>
                </a:cubicBezTo>
                <a:cubicBezTo>
                  <a:pt x="8072886" y="4231857"/>
                  <a:pt x="8074822" y="4234385"/>
                  <a:pt x="8083396" y="4228417"/>
                </a:cubicBezTo>
                <a:cubicBezTo>
                  <a:pt x="8078418" y="4216583"/>
                  <a:pt x="8075652" y="4218504"/>
                  <a:pt x="8075375" y="4207074"/>
                </a:cubicBezTo>
                <a:cubicBezTo>
                  <a:pt x="8083120" y="4205658"/>
                  <a:pt x="8107460" y="4192407"/>
                  <a:pt x="8114651" y="4204545"/>
                </a:cubicBezTo>
                <a:cubicBezTo>
                  <a:pt x="8136225" y="4193318"/>
                  <a:pt x="8179926" y="4202725"/>
                  <a:pt x="8195415" y="4186136"/>
                </a:cubicBezTo>
                <a:cubicBezTo>
                  <a:pt x="8202883" y="4196150"/>
                  <a:pt x="8217819" y="4181887"/>
                  <a:pt x="8232755" y="4178954"/>
                </a:cubicBezTo>
                <a:cubicBezTo>
                  <a:pt x="8244925" y="4178044"/>
                  <a:pt x="8285584" y="4191598"/>
                  <a:pt x="8291392" y="4162668"/>
                </a:cubicBezTo>
                <a:cubicBezTo>
                  <a:pt x="8301349" y="4161455"/>
                  <a:pt x="8290562" y="4167119"/>
                  <a:pt x="8297201" y="4170154"/>
                </a:cubicBezTo>
                <a:cubicBezTo>
                  <a:pt x="8314073" y="4169749"/>
                  <a:pt x="8331498" y="4167119"/>
                  <a:pt x="8333710" y="4155992"/>
                </a:cubicBezTo>
                <a:cubicBezTo>
                  <a:pt x="8342285" y="4161455"/>
                  <a:pt x="8373539" y="4162668"/>
                  <a:pt x="8377135" y="4144866"/>
                </a:cubicBezTo>
                <a:cubicBezTo>
                  <a:pt x="8411985" y="4151036"/>
                  <a:pt x="8483899" y="4127063"/>
                  <a:pt x="8509898" y="4093581"/>
                </a:cubicBezTo>
                <a:cubicBezTo>
                  <a:pt x="8511558" y="4098335"/>
                  <a:pt x="8516260" y="4098841"/>
                  <a:pt x="8523728" y="4097425"/>
                </a:cubicBezTo>
                <a:cubicBezTo>
                  <a:pt x="8522345" y="4092671"/>
                  <a:pt x="8511558" y="4098335"/>
                  <a:pt x="8515707" y="4089738"/>
                </a:cubicBezTo>
                <a:cubicBezTo>
                  <a:pt x="8556089" y="4080533"/>
                  <a:pt x="8602833" y="4051502"/>
                  <a:pt x="8642661" y="4044522"/>
                </a:cubicBezTo>
                <a:cubicBezTo>
                  <a:pt x="8646257" y="4051704"/>
                  <a:pt x="8637130" y="4048467"/>
                  <a:pt x="8637959" y="4055447"/>
                </a:cubicBezTo>
                <a:cubicBezTo>
                  <a:pt x="8652619" y="4054739"/>
                  <a:pt x="8676129" y="4045939"/>
                  <a:pt x="8671703" y="4031777"/>
                </a:cubicBezTo>
                <a:cubicBezTo>
                  <a:pt x="8680001" y="4025910"/>
                  <a:pt x="8688022" y="4022269"/>
                  <a:pt x="8702682" y="4021561"/>
                </a:cubicBezTo>
                <a:cubicBezTo>
                  <a:pt x="8706830" y="4024292"/>
                  <a:pt x="8699362" y="4025809"/>
                  <a:pt x="8698533" y="4030260"/>
                </a:cubicBezTo>
                <a:cubicBezTo>
                  <a:pt x="8715128" y="4032081"/>
                  <a:pt x="8711809" y="4024798"/>
                  <a:pt x="8724256" y="4021662"/>
                </a:cubicBezTo>
                <a:cubicBezTo>
                  <a:pt x="8722873" y="4017009"/>
                  <a:pt x="8711809" y="4024899"/>
                  <a:pt x="8713469" y="4015997"/>
                </a:cubicBezTo>
                <a:cubicBezTo>
                  <a:pt x="8728404" y="4013064"/>
                  <a:pt x="8730341" y="4004163"/>
                  <a:pt x="8744723" y="4003556"/>
                </a:cubicBezTo>
                <a:cubicBezTo>
                  <a:pt x="8743617" y="4010232"/>
                  <a:pt x="8737808" y="4014076"/>
                  <a:pt x="8728958" y="4010839"/>
                </a:cubicBezTo>
                <a:cubicBezTo>
                  <a:pt x="8730894" y="4013266"/>
                  <a:pt x="8735596" y="4013873"/>
                  <a:pt x="8734766" y="4018324"/>
                </a:cubicBezTo>
                <a:cubicBezTo>
                  <a:pt x="8747766" y="4012963"/>
                  <a:pt x="8755787" y="4009220"/>
                  <a:pt x="8753574" y="3995362"/>
                </a:cubicBezTo>
                <a:cubicBezTo>
                  <a:pt x="8761319" y="3993946"/>
                  <a:pt x="8757170" y="4002544"/>
                  <a:pt x="8758829" y="4005073"/>
                </a:cubicBezTo>
                <a:cubicBezTo>
                  <a:pt x="8808062" y="3987776"/>
                  <a:pt x="8835168" y="3949743"/>
                  <a:pt x="8892146" y="3928804"/>
                </a:cubicBezTo>
                <a:cubicBezTo>
                  <a:pt x="8896571" y="3931535"/>
                  <a:pt x="8900720" y="3934367"/>
                  <a:pt x="8907911" y="3935076"/>
                </a:cubicBezTo>
                <a:cubicBezTo>
                  <a:pt x="8912613" y="3924252"/>
                  <a:pt x="8929762" y="3921521"/>
                  <a:pt x="8925613" y="3907461"/>
                </a:cubicBezTo>
                <a:cubicBezTo>
                  <a:pt x="8956315" y="3897245"/>
                  <a:pt x="8976782" y="3879037"/>
                  <a:pt x="8997250" y="3860830"/>
                </a:cubicBezTo>
                <a:cubicBezTo>
                  <a:pt x="9081610" y="3824617"/>
                  <a:pt x="9138864" y="3767264"/>
                  <a:pt x="9211054" y="3720632"/>
                </a:cubicBezTo>
                <a:lnTo>
                  <a:pt x="9226266" y="3704246"/>
                </a:lnTo>
                <a:lnTo>
                  <a:pt x="9208288" y="3710315"/>
                </a:lnTo>
                <a:cubicBezTo>
                  <a:pt x="9190033" y="3715777"/>
                  <a:pt x="9171778" y="3721138"/>
                  <a:pt x="9154906" y="3731860"/>
                </a:cubicBezTo>
                <a:cubicBezTo>
                  <a:pt x="9151864" y="3730242"/>
                  <a:pt x="9146332" y="3729028"/>
                  <a:pt x="9140800" y="3727915"/>
                </a:cubicBezTo>
                <a:cubicBezTo>
                  <a:pt x="9140800" y="3733782"/>
                  <a:pt x="9136928" y="3733479"/>
                  <a:pt x="9131949" y="3732164"/>
                </a:cubicBezTo>
                <a:lnTo>
                  <a:pt x="9125864" y="3731557"/>
                </a:lnTo>
                <a:lnTo>
                  <a:pt x="9101524" y="3749461"/>
                </a:lnTo>
                <a:cubicBezTo>
                  <a:pt x="9100695" y="3753912"/>
                  <a:pt x="9103184" y="3754215"/>
                  <a:pt x="9104567" y="3758868"/>
                </a:cubicBezTo>
                <a:cubicBezTo>
                  <a:pt x="9097375" y="3746730"/>
                  <a:pt x="9074142" y="3766859"/>
                  <a:pt x="9083546" y="3767871"/>
                </a:cubicBezTo>
                <a:cubicBezTo>
                  <a:pt x="9043164" y="3788506"/>
                  <a:pt x="8985633" y="3823100"/>
                  <a:pt x="8956315" y="3849399"/>
                </a:cubicBezTo>
                <a:cubicBezTo>
                  <a:pt x="8956038" y="3851625"/>
                  <a:pt x="8948293" y="3853142"/>
                  <a:pt x="8948847" y="3850917"/>
                </a:cubicBezTo>
                <a:cubicBezTo>
                  <a:pt x="8941379" y="3852333"/>
                  <a:pt x="8948017" y="3855367"/>
                  <a:pt x="8944698" y="3859515"/>
                </a:cubicBezTo>
                <a:cubicBezTo>
                  <a:pt x="8932528" y="3860425"/>
                  <a:pt x="8914549" y="3865280"/>
                  <a:pt x="8912337" y="3876407"/>
                </a:cubicBezTo>
                <a:cubicBezTo>
                  <a:pt x="8881912" y="3884398"/>
                  <a:pt x="8839870" y="3913935"/>
                  <a:pt x="8811658" y="3922229"/>
                </a:cubicBezTo>
                <a:cubicBezTo>
                  <a:pt x="8808339" y="3926376"/>
                  <a:pt x="8805296" y="3930524"/>
                  <a:pt x="8802254" y="3932547"/>
                </a:cubicBezTo>
                <a:cubicBezTo>
                  <a:pt x="8794786" y="3933963"/>
                  <a:pt x="8790084" y="3933457"/>
                  <a:pt x="8783169" y="3932648"/>
                </a:cubicBezTo>
                <a:cubicBezTo>
                  <a:pt x="8777084" y="3938818"/>
                  <a:pt x="8768233" y="3947011"/>
                  <a:pt x="8751361" y="3947315"/>
                </a:cubicBezTo>
                <a:cubicBezTo>
                  <a:pt x="8750255" y="3940437"/>
                  <a:pt x="8753021" y="3938515"/>
                  <a:pt x="8744170" y="3935177"/>
                </a:cubicBezTo>
                <a:cubicBezTo>
                  <a:pt x="8735596" y="3941145"/>
                  <a:pt x="8746936" y="3944584"/>
                  <a:pt x="8745553" y="3951260"/>
                </a:cubicBezTo>
                <a:cubicBezTo>
                  <a:pt x="8736702" y="3959352"/>
                  <a:pt x="8729234" y="3949540"/>
                  <a:pt x="8722043" y="3948731"/>
                </a:cubicBezTo>
                <a:cubicBezTo>
                  <a:pt x="8728404" y="3965320"/>
                  <a:pt x="8714022" y="3977357"/>
                  <a:pt x="8691618" y="3968051"/>
                </a:cubicBezTo>
                <a:cubicBezTo>
                  <a:pt x="8681937" y="3969265"/>
                  <a:pt x="8684427" y="3980999"/>
                  <a:pt x="8675023" y="3979886"/>
                </a:cubicBezTo>
                <a:cubicBezTo>
                  <a:pt x="8674469" y="3982111"/>
                  <a:pt x="8673640" y="3986562"/>
                  <a:pt x="8678342" y="3987068"/>
                </a:cubicBezTo>
                <a:cubicBezTo>
                  <a:pt x="8672810" y="3991013"/>
                  <a:pt x="8663682" y="3987776"/>
                  <a:pt x="8664236" y="3996880"/>
                </a:cubicBezTo>
                <a:cubicBezTo>
                  <a:pt x="8657321" y="3996172"/>
                  <a:pt x="8635747" y="3996070"/>
                  <a:pt x="8635747" y="4007399"/>
                </a:cubicBezTo>
                <a:cubicBezTo>
                  <a:pt x="8631045" y="4006894"/>
                  <a:pt x="8632428" y="4000117"/>
                  <a:pt x="8627449" y="3999611"/>
                </a:cubicBezTo>
                <a:cubicBezTo>
                  <a:pt x="8623577" y="4008310"/>
                  <a:pt x="8611683" y="4006995"/>
                  <a:pt x="8611960" y="4018425"/>
                </a:cubicBezTo>
                <a:cubicBezTo>
                  <a:pt x="8604769" y="4017616"/>
                  <a:pt x="8590663" y="4015997"/>
                  <a:pt x="8594535" y="4021055"/>
                </a:cubicBezTo>
                <a:cubicBezTo>
                  <a:pt x="8563557" y="4031271"/>
                  <a:pt x="8535068" y="4053120"/>
                  <a:pt x="8501047" y="4053930"/>
                </a:cubicBezTo>
                <a:cubicBezTo>
                  <a:pt x="8496069" y="4055649"/>
                  <a:pt x="8490814" y="4057369"/>
                  <a:pt x="8489431" y="4064045"/>
                </a:cubicBezTo>
                <a:cubicBezTo>
                  <a:pt x="8459282" y="4058481"/>
                  <a:pt x="8423602" y="4093076"/>
                  <a:pt x="8386263" y="4086703"/>
                </a:cubicBezTo>
                <a:cubicBezTo>
                  <a:pt x="8381007" y="4088423"/>
                  <a:pt x="8382114" y="4095402"/>
                  <a:pt x="8376858" y="4097122"/>
                </a:cubicBezTo>
                <a:cubicBezTo>
                  <a:pt x="8364689" y="4098032"/>
                  <a:pt x="8364135" y="4088827"/>
                  <a:pt x="8357497" y="4085793"/>
                </a:cubicBezTo>
                <a:cubicBezTo>
                  <a:pt x="8346710" y="4091457"/>
                  <a:pt x="8337030" y="4115430"/>
                  <a:pt x="8318498" y="4099752"/>
                </a:cubicBezTo>
                <a:cubicBezTo>
                  <a:pt x="8308264" y="4103090"/>
                  <a:pt x="8306051" y="4114318"/>
                  <a:pt x="8298030" y="4117959"/>
                </a:cubicBezTo>
                <a:cubicBezTo>
                  <a:pt x="8293881" y="4115228"/>
                  <a:pt x="8291945" y="4112699"/>
                  <a:pt x="8287243" y="4112193"/>
                </a:cubicBezTo>
                <a:cubicBezTo>
                  <a:pt x="8283094" y="4120791"/>
                  <a:pt x="8255435" y="4126962"/>
                  <a:pt x="8245478" y="4116745"/>
                </a:cubicBezTo>
                <a:cubicBezTo>
                  <a:pt x="8238287" y="4127366"/>
                  <a:pt x="8223351" y="4130198"/>
                  <a:pt x="8210351" y="4135560"/>
                </a:cubicBezTo>
                <a:cubicBezTo>
                  <a:pt x="8164437" y="4123725"/>
                  <a:pt x="8100268" y="4155284"/>
                  <a:pt x="8046610" y="4146990"/>
                </a:cubicBezTo>
                <a:cubicBezTo>
                  <a:pt x="8039972" y="4144056"/>
                  <a:pt x="8034993" y="4157105"/>
                  <a:pt x="8033334" y="4152351"/>
                </a:cubicBezTo>
                <a:cubicBezTo>
                  <a:pt x="8051035" y="4136166"/>
                  <a:pt x="8082567" y="4123725"/>
                  <a:pt x="8109396" y="4122106"/>
                </a:cubicBezTo>
                <a:cubicBezTo>
                  <a:pt x="8117417" y="4118465"/>
                  <a:pt x="8114928" y="4106832"/>
                  <a:pt x="8110502" y="4104101"/>
                </a:cubicBezTo>
                <a:cubicBezTo>
                  <a:pt x="8078141" y="4109563"/>
                  <a:pt x="8039419" y="4098538"/>
                  <a:pt x="8028355" y="4117757"/>
                </a:cubicBezTo>
                <a:cubicBezTo>
                  <a:pt x="8019504" y="4114520"/>
                  <a:pt x="8004845" y="4115127"/>
                  <a:pt x="7999037" y="4107642"/>
                </a:cubicBezTo>
                <a:cubicBezTo>
                  <a:pt x="8033334" y="4104607"/>
                  <a:pt x="8056291" y="4098133"/>
                  <a:pt x="8093077" y="4095301"/>
                </a:cubicBezTo>
                <a:cubicBezTo>
                  <a:pt x="8094460" y="4088625"/>
                  <a:pt x="8101928" y="4087209"/>
                  <a:pt x="8101375" y="4078004"/>
                </a:cubicBezTo>
                <a:cubicBezTo>
                  <a:pt x="8100268" y="4071125"/>
                  <a:pt x="8093354" y="4081645"/>
                  <a:pt x="8089481" y="4076689"/>
                </a:cubicBezTo>
                <a:cubicBezTo>
                  <a:pt x="8090588" y="4072238"/>
                  <a:pt x="8090864" y="4070013"/>
                  <a:pt x="8095566" y="4070519"/>
                </a:cubicBezTo>
                <a:cubicBezTo>
                  <a:pt x="8093630" y="4068091"/>
                  <a:pt x="8088928" y="4067484"/>
                  <a:pt x="8089758" y="4063033"/>
                </a:cubicBezTo>
                <a:cubicBezTo>
                  <a:pt x="8080077" y="4064247"/>
                  <a:pt x="8077865" y="4075374"/>
                  <a:pt x="8061269" y="4073553"/>
                </a:cubicBezTo>
                <a:cubicBezTo>
                  <a:pt x="8072609" y="4065663"/>
                  <a:pt x="8054631" y="4059190"/>
                  <a:pt x="8067631" y="4053828"/>
                </a:cubicBezTo>
                <a:cubicBezTo>
                  <a:pt x="8064312" y="4052362"/>
                  <a:pt x="8059610" y="4051856"/>
                  <a:pt x="8056083" y="4050048"/>
                </a:cubicBezTo>
                <a:lnTo>
                  <a:pt x="8052616" y="4041104"/>
                </a:lnTo>
                <a:lnTo>
                  <a:pt x="8042910" y="4039792"/>
                </a:lnTo>
                <a:cubicBezTo>
                  <a:pt x="8040421" y="4046215"/>
                  <a:pt x="8031017" y="4052386"/>
                  <a:pt x="8022788" y="4058303"/>
                </a:cubicBezTo>
                <a:lnTo>
                  <a:pt x="8013480" y="4070406"/>
                </a:lnTo>
                <a:lnTo>
                  <a:pt x="8023584" y="4070342"/>
                </a:lnTo>
                <a:cubicBezTo>
                  <a:pt x="8028769" y="4071201"/>
                  <a:pt x="8034025" y="4071783"/>
                  <a:pt x="8035823" y="4068597"/>
                </a:cubicBezTo>
                <a:cubicBezTo>
                  <a:pt x="8039142" y="4070114"/>
                  <a:pt x="8041355" y="4071429"/>
                  <a:pt x="8042185" y="4073149"/>
                </a:cubicBezTo>
                <a:cubicBezTo>
                  <a:pt x="8043014" y="4074969"/>
                  <a:pt x="8042461" y="4077093"/>
                  <a:pt x="8040802" y="4080229"/>
                </a:cubicBezTo>
                <a:cubicBezTo>
                  <a:pt x="8038036" y="4082252"/>
                  <a:pt x="8033334" y="4081645"/>
                  <a:pt x="8028632" y="4081140"/>
                </a:cubicBezTo>
                <a:cubicBezTo>
                  <a:pt x="8032227" y="4074868"/>
                  <a:pt x="8018121" y="4073351"/>
                  <a:pt x="8019228" y="4080229"/>
                </a:cubicBezTo>
                <a:cubicBezTo>
                  <a:pt x="8014387" y="4080786"/>
                  <a:pt x="8014111" y="4079066"/>
                  <a:pt x="8014249" y="4076841"/>
                </a:cubicBezTo>
                <a:lnTo>
                  <a:pt x="8012333" y="4071897"/>
                </a:lnTo>
                <a:lnTo>
                  <a:pt x="8009719" y="4075296"/>
                </a:lnTo>
                <a:cubicBezTo>
                  <a:pt x="8009857" y="4078786"/>
                  <a:pt x="8007921" y="4078609"/>
                  <a:pt x="8005605" y="4078230"/>
                </a:cubicBezTo>
                <a:lnTo>
                  <a:pt x="8002927" y="4078950"/>
                </a:lnTo>
                <a:lnTo>
                  <a:pt x="8003739" y="4083163"/>
                </a:lnTo>
                <a:lnTo>
                  <a:pt x="7999439" y="4080547"/>
                </a:lnTo>
                <a:lnTo>
                  <a:pt x="8000557" y="4083452"/>
                </a:lnTo>
                <a:cubicBezTo>
                  <a:pt x="8002251" y="4084552"/>
                  <a:pt x="8004049" y="4085917"/>
                  <a:pt x="8002528" y="4088547"/>
                </a:cubicBezTo>
                <a:cubicBezTo>
                  <a:pt x="8006954" y="4080556"/>
                  <a:pt x="8005294" y="4083186"/>
                  <a:pt x="8016911" y="4080657"/>
                </a:cubicBezTo>
                <a:cubicBezTo>
                  <a:pt x="8020230" y="4089356"/>
                  <a:pt x="8005847" y="4090267"/>
                  <a:pt x="8000592" y="4096032"/>
                </a:cubicBezTo>
                <a:cubicBezTo>
                  <a:pt x="7998103" y="4089559"/>
                  <a:pt x="7995060" y="4087839"/>
                  <a:pt x="7992571" y="4088345"/>
                </a:cubicBezTo>
                <a:cubicBezTo>
                  <a:pt x="7984273" y="4092593"/>
                  <a:pt x="7987039" y="4099067"/>
                  <a:pt x="7975422" y="4101596"/>
                </a:cubicBezTo>
                <a:cubicBezTo>
                  <a:pt x="7978741" y="4103214"/>
                  <a:pt x="7982614" y="4106957"/>
                  <a:pt x="7988699" y="4103315"/>
                </a:cubicBezTo>
                <a:cubicBezTo>
                  <a:pt x="7988145" y="4108171"/>
                  <a:pt x="7975699" y="4108474"/>
                  <a:pt x="7974869" y="4106350"/>
                </a:cubicBezTo>
                <a:lnTo>
                  <a:pt x="7967271" y="4111882"/>
                </a:lnTo>
                <a:lnTo>
                  <a:pt x="7969441" y="4111485"/>
                </a:lnTo>
                <a:cubicBezTo>
                  <a:pt x="7969995" y="4113812"/>
                  <a:pt x="7969718" y="4115531"/>
                  <a:pt x="7969165" y="4116948"/>
                </a:cubicBezTo>
                <a:cubicBezTo>
                  <a:pt x="7968612" y="4118263"/>
                  <a:pt x="7967782" y="4119274"/>
                  <a:pt x="7967505" y="4120387"/>
                </a:cubicBezTo>
                <a:lnTo>
                  <a:pt x="7963203" y="4114843"/>
                </a:lnTo>
                <a:lnTo>
                  <a:pt x="7952258" y="4122813"/>
                </a:lnTo>
                <a:cubicBezTo>
                  <a:pt x="7941609" y="4127238"/>
                  <a:pt x="7931859" y="4132346"/>
                  <a:pt x="7935040" y="4143372"/>
                </a:cubicBezTo>
                <a:cubicBezTo>
                  <a:pt x="7922040" y="4141551"/>
                  <a:pt x="7906551" y="4159050"/>
                  <a:pt x="7905168" y="4161680"/>
                </a:cubicBezTo>
                <a:cubicBezTo>
                  <a:pt x="7892722" y="4173920"/>
                  <a:pt x="7875297" y="4179989"/>
                  <a:pt x="7859531" y="4190509"/>
                </a:cubicBezTo>
                <a:cubicBezTo>
                  <a:pt x="7849850" y="4197286"/>
                  <a:pt x="7829659" y="4208918"/>
                  <a:pt x="7833532" y="4224496"/>
                </a:cubicBezTo>
                <a:cubicBezTo>
                  <a:pt x="7819564" y="4224041"/>
                  <a:pt x="7806287" y="4232841"/>
                  <a:pt x="7792561" y="4242034"/>
                </a:cubicBezTo>
                <a:lnTo>
                  <a:pt x="7780094" y="4249711"/>
                </a:lnTo>
                <a:lnTo>
                  <a:pt x="7780530" y="4250064"/>
                </a:lnTo>
                <a:lnTo>
                  <a:pt x="7779331" y="4250181"/>
                </a:lnTo>
                <a:lnTo>
                  <a:pt x="7771493" y="4255008"/>
                </a:lnTo>
                <a:lnTo>
                  <a:pt x="7769843" y="4255513"/>
                </a:lnTo>
                <a:lnTo>
                  <a:pt x="7808466" y="4255223"/>
                </a:lnTo>
                <a:cubicBezTo>
                  <a:pt x="7814274" y="4252492"/>
                  <a:pt x="7815934" y="4244096"/>
                  <a:pt x="7820913" y="4243489"/>
                </a:cubicBezTo>
                <a:cubicBezTo>
                  <a:pt x="7822572" y="4243287"/>
                  <a:pt x="7824508" y="4243995"/>
                  <a:pt x="7827274" y="4245917"/>
                </a:cubicBezTo>
                <a:cubicBezTo>
                  <a:pt x="7826168" y="4250367"/>
                  <a:pt x="7824232" y="4247940"/>
                  <a:pt x="7824232" y="4247940"/>
                </a:cubicBezTo>
                <a:cubicBezTo>
                  <a:pt x="7814551" y="4249154"/>
                  <a:pt x="7823955" y="4261494"/>
                  <a:pt x="7825891" y="4264023"/>
                </a:cubicBezTo>
                <a:cubicBezTo>
                  <a:pt x="7809918" y="4253706"/>
                  <a:pt x="7780720" y="4261083"/>
                  <a:pt x="7754401" y="4263070"/>
                </a:cubicBezTo>
                <a:lnTo>
                  <a:pt x="7748693" y="4262917"/>
                </a:lnTo>
                <a:lnTo>
                  <a:pt x="7746406" y="4274162"/>
                </a:lnTo>
                <a:cubicBezTo>
                  <a:pt x="7705470" y="4283164"/>
                  <a:pt x="7689428" y="4305519"/>
                  <a:pt x="7649599" y="4323726"/>
                </a:cubicBezTo>
                <a:cubicBezTo>
                  <a:pt x="7647663" y="4319377"/>
                  <a:pt x="7643791" y="4315533"/>
                  <a:pt x="7642131" y="4311285"/>
                </a:cubicBezTo>
                <a:cubicBezTo>
                  <a:pt x="7630791" y="4313813"/>
                  <a:pt x="7635493" y="4319680"/>
                  <a:pt x="7635770" y="4326660"/>
                </a:cubicBezTo>
                <a:cubicBezTo>
                  <a:pt x="7616685" y="4328582"/>
                  <a:pt x="7614196" y="4340922"/>
                  <a:pt x="7599537" y="4341732"/>
                </a:cubicBezTo>
                <a:cubicBezTo>
                  <a:pt x="7603962" y="4333740"/>
                  <a:pt x="7618345" y="4332931"/>
                  <a:pt x="7603962" y="4322007"/>
                </a:cubicBezTo>
                <a:cubicBezTo>
                  <a:pt x="7613366" y="4319984"/>
                  <a:pt x="7616409" y="4321703"/>
                  <a:pt x="7620557" y="4313712"/>
                </a:cubicBezTo>
                <a:cubicBezTo>
                  <a:pt x="7609494" y="4304406"/>
                  <a:pt x="7608111" y="4307036"/>
                  <a:pt x="7601473" y="4296820"/>
                </a:cubicBezTo>
                <a:cubicBezTo>
                  <a:pt x="7607558" y="4293077"/>
                  <a:pt x="7621940" y="4273454"/>
                  <a:pt x="7635493" y="4282254"/>
                </a:cubicBezTo>
                <a:cubicBezTo>
                  <a:pt x="7648493" y="4265260"/>
                  <a:pt x="7693577" y="4260000"/>
                  <a:pt x="7698003" y="4240276"/>
                </a:cubicBezTo>
                <a:cubicBezTo>
                  <a:pt x="7710726" y="4246851"/>
                  <a:pt x="7715981" y="4229250"/>
                  <a:pt x="7727874" y="4221866"/>
                </a:cubicBezTo>
                <a:cubicBezTo>
                  <a:pt x="7738661" y="4217213"/>
                  <a:pt x="7783192" y="4216808"/>
                  <a:pt x="7771852" y="4188688"/>
                </a:cubicBezTo>
                <a:cubicBezTo>
                  <a:pt x="7780150" y="4184541"/>
                  <a:pt x="7773512" y="4193038"/>
                  <a:pt x="7781256" y="4193644"/>
                </a:cubicBezTo>
                <a:cubicBezTo>
                  <a:pt x="7796469" y="4187980"/>
                  <a:pt x="7810575" y="4180191"/>
                  <a:pt x="7806426" y="4169368"/>
                </a:cubicBezTo>
                <a:cubicBezTo>
                  <a:pt x="7817213" y="4171694"/>
                  <a:pt x="7845978" y="4162995"/>
                  <a:pt x="7839063" y="4145698"/>
                </a:cubicBezTo>
                <a:cubicBezTo>
                  <a:pt x="7847844" y="4144358"/>
                  <a:pt x="7857681" y="4140584"/>
                  <a:pt x="7867565" y="4135074"/>
                </a:cubicBezTo>
                <a:lnTo>
                  <a:pt x="7886034" y="4121577"/>
                </a:lnTo>
                <a:lnTo>
                  <a:pt x="7869039" y="4118768"/>
                </a:lnTo>
                <a:cubicBezTo>
                  <a:pt x="7864337" y="4118263"/>
                  <a:pt x="7859082" y="4119881"/>
                  <a:pt x="7856593" y="4119577"/>
                </a:cubicBezTo>
                <a:cubicBezTo>
                  <a:pt x="7857146" y="4117352"/>
                  <a:pt x="7861848" y="4117959"/>
                  <a:pt x="7864890" y="4115936"/>
                </a:cubicBezTo>
                <a:cubicBezTo>
                  <a:pt x="7874571" y="4115835"/>
                  <a:pt x="7880656" y="4115329"/>
                  <a:pt x="7886464" y="4115127"/>
                </a:cubicBezTo>
                <a:lnTo>
                  <a:pt x="7894994" y="4115030"/>
                </a:lnTo>
                <a:lnTo>
                  <a:pt x="7896352" y="4114037"/>
                </a:lnTo>
                <a:lnTo>
                  <a:pt x="7907924" y="4094940"/>
                </a:lnTo>
                <a:lnTo>
                  <a:pt x="7885635" y="4094997"/>
                </a:lnTo>
                <a:cubicBezTo>
                  <a:pt x="7882316" y="4087917"/>
                  <a:pt x="7884805" y="4088119"/>
                  <a:pt x="7888124" y="4083972"/>
                </a:cubicBezTo>
                <a:cubicBezTo>
                  <a:pt x="7891443" y="4091154"/>
                  <a:pt x="7899671" y="4092064"/>
                  <a:pt x="7907658" y="4089826"/>
                </a:cubicBezTo>
                <a:lnTo>
                  <a:pt x="7913633" y="4085518"/>
                </a:lnTo>
                <a:lnTo>
                  <a:pt x="7928297" y="4061318"/>
                </a:lnTo>
                <a:lnTo>
                  <a:pt x="7924634" y="4058583"/>
                </a:lnTo>
                <a:cubicBezTo>
                  <a:pt x="7922145" y="4058380"/>
                  <a:pt x="7921315" y="4062528"/>
                  <a:pt x="7916613" y="4062022"/>
                </a:cubicBezTo>
                <a:cubicBezTo>
                  <a:pt x="7917719" y="4055750"/>
                  <a:pt x="7923251" y="4054233"/>
                  <a:pt x="7933485" y="4053120"/>
                </a:cubicBezTo>
                <a:cubicBezTo>
                  <a:pt x="7932932" y="4055245"/>
                  <a:pt x="7930442" y="4054941"/>
                  <a:pt x="7927676" y="4056762"/>
                </a:cubicBezTo>
                <a:lnTo>
                  <a:pt x="7929255" y="4059738"/>
                </a:lnTo>
                <a:lnTo>
                  <a:pt x="7930615" y="4057493"/>
                </a:lnTo>
                <a:cubicBezTo>
                  <a:pt x="7934487" y="4061236"/>
                  <a:pt x="7939189" y="4060224"/>
                  <a:pt x="7944997" y="4056583"/>
                </a:cubicBezTo>
                <a:cubicBezTo>
                  <a:pt x="7941125" y="4052840"/>
                  <a:pt x="7934487" y="4061337"/>
                  <a:pt x="7933381" y="4052233"/>
                </a:cubicBezTo>
                <a:cubicBezTo>
                  <a:pt x="7956821" y="4036454"/>
                  <a:pt x="7977306" y="4009465"/>
                  <a:pt x="7999619" y="3989020"/>
                </a:cubicBezTo>
                <a:lnTo>
                  <a:pt x="8014436" y="3977727"/>
                </a:lnTo>
                <a:lnTo>
                  <a:pt x="8001526" y="3976447"/>
                </a:lnTo>
                <a:cubicBezTo>
                  <a:pt x="8000973" y="3978672"/>
                  <a:pt x="8006228" y="3976953"/>
                  <a:pt x="8005398" y="3981504"/>
                </a:cubicBezTo>
                <a:cubicBezTo>
                  <a:pt x="7997377" y="3985247"/>
                  <a:pt x="7999037" y="3976245"/>
                  <a:pt x="7991569" y="3977661"/>
                </a:cubicBezTo>
                <a:cubicBezTo>
                  <a:pt x="8004568" y="3973918"/>
                  <a:pt x="8018121" y="3967343"/>
                  <a:pt x="8031121" y="3965522"/>
                </a:cubicBezTo>
                <a:lnTo>
                  <a:pt x="8042531" y="3965614"/>
                </a:lnTo>
                <a:lnTo>
                  <a:pt x="8041804" y="3950777"/>
                </a:lnTo>
                <a:cubicBezTo>
                  <a:pt x="8046229" y="3942786"/>
                  <a:pt x="8051208" y="3937021"/>
                  <a:pt x="8063931" y="3931862"/>
                </a:cubicBezTo>
                <a:cubicBezTo>
                  <a:pt x="8069463" y="3932975"/>
                  <a:pt x="8063378" y="3936717"/>
                  <a:pt x="8065314" y="3940966"/>
                </a:cubicBezTo>
                <a:cubicBezTo>
                  <a:pt x="8081080" y="3937425"/>
                  <a:pt x="8074165" y="3931963"/>
                  <a:pt x="8083846" y="3925186"/>
                </a:cubicBezTo>
                <a:cubicBezTo>
                  <a:pt x="8079697" y="3921342"/>
                  <a:pt x="8074165" y="3931963"/>
                  <a:pt x="8070569" y="3923264"/>
                </a:cubicBezTo>
                <a:cubicBezTo>
                  <a:pt x="8082739" y="3915981"/>
                  <a:pt x="8079144" y="3907383"/>
                  <a:pt x="8091867" y="3902224"/>
                </a:cubicBezTo>
                <a:cubicBezTo>
                  <a:pt x="8094633" y="3908698"/>
                  <a:pt x="8091867" y="3914059"/>
                  <a:pt x="8081633" y="3913857"/>
                </a:cubicBezTo>
                <a:cubicBezTo>
                  <a:pt x="8084952" y="3915576"/>
                  <a:pt x="8089377" y="3914565"/>
                  <a:pt x="8091037" y="3918813"/>
                </a:cubicBezTo>
                <a:cubicBezTo>
                  <a:pt x="8099888" y="3909811"/>
                  <a:pt x="8105143" y="3903944"/>
                  <a:pt x="8095462" y="3892008"/>
                </a:cubicBezTo>
                <a:cubicBezTo>
                  <a:pt x="8101271" y="3888366"/>
                  <a:pt x="8102377" y="3897571"/>
                  <a:pt x="8105696" y="3899190"/>
                </a:cubicBezTo>
                <a:lnTo>
                  <a:pt x="8140901" y="3847958"/>
                </a:lnTo>
                <a:lnTo>
                  <a:pt x="8100683" y="3854748"/>
                </a:lnTo>
                <a:cubicBezTo>
                  <a:pt x="8082705" y="3858029"/>
                  <a:pt x="8065107" y="3861282"/>
                  <a:pt x="8048062" y="3863847"/>
                </a:cubicBezTo>
                <a:lnTo>
                  <a:pt x="8041908" y="3864468"/>
                </a:lnTo>
                <a:lnTo>
                  <a:pt x="8047093" y="3878656"/>
                </a:lnTo>
                <a:cubicBezTo>
                  <a:pt x="8044224" y="3883966"/>
                  <a:pt x="8036272" y="3887456"/>
                  <a:pt x="8023549" y="3886748"/>
                </a:cubicBezTo>
                <a:cubicBezTo>
                  <a:pt x="8015251" y="3890895"/>
                  <a:pt x="8024379" y="3900707"/>
                  <a:pt x="8015251" y="3902730"/>
                </a:cubicBezTo>
                <a:cubicBezTo>
                  <a:pt x="8016081" y="3904854"/>
                  <a:pt x="8017741" y="3909103"/>
                  <a:pt x="8022166" y="3908192"/>
                </a:cubicBezTo>
                <a:cubicBezTo>
                  <a:pt x="8019400" y="3913452"/>
                  <a:pt x="8009443" y="3913351"/>
                  <a:pt x="8015251" y="3921443"/>
                </a:cubicBezTo>
                <a:cubicBezTo>
                  <a:pt x="8008337" y="3922961"/>
                  <a:pt x="7988699" y="3929637"/>
                  <a:pt x="7995337" y="3939954"/>
                </a:cubicBezTo>
                <a:cubicBezTo>
                  <a:pt x="7990635" y="3940966"/>
                  <a:pt x="7988145" y="3934391"/>
                  <a:pt x="7983720" y="3935402"/>
                </a:cubicBezTo>
                <a:cubicBezTo>
                  <a:pt x="7984273" y="3940005"/>
                  <a:pt x="7981645" y="3942938"/>
                  <a:pt x="7979709" y="3945998"/>
                </a:cubicBezTo>
                <a:lnTo>
                  <a:pt x="7979764" y="3950508"/>
                </a:lnTo>
                <a:lnTo>
                  <a:pt x="7989148" y="3949642"/>
                </a:lnTo>
                <a:cubicBezTo>
                  <a:pt x="8001111" y="3949540"/>
                  <a:pt x="8014664" y="3950451"/>
                  <a:pt x="8028355" y="3947416"/>
                </a:cubicBezTo>
                <a:cubicBezTo>
                  <a:pt x="8020057" y="3953334"/>
                  <a:pt x="8008994" y="3954952"/>
                  <a:pt x="7996927" y="3955597"/>
                </a:cubicBezTo>
                <a:lnTo>
                  <a:pt x="7979839" y="3956665"/>
                </a:lnTo>
                <a:lnTo>
                  <a:pt x="7979848" y="3957352"/>
                </a:lnTo>
                <a:cubicBezTo>
                  <a:pt x="7972933" y="3958870"/>
                  <a:pt x="7959380" y="3962005"/>
                  <a:pt x="7965742" y="3965242"/>
                </a:cubicBezTo>
                <a:lnTo>
                  <a:pt x="7954381" y="3977516"/>
                </a:lnTo>
                <a:lnTo>
                  <a:pt x="7957271" y="3978065"/>
                </a:lnTo>
                <a:cubicBezTo>
                  <a:pt x="7956995" y="3980392"/>
                  <a:pt x="7955889" y="3985045"/>
                  <a:pt x="7958378" y="3985247"/>
                </a:cubicBezTo>
                <a:cubicBezTo>
                  <a:pt x="7957548" y="3989900"/>
                  <a:pt x="7952846" y="3989394"/>
                  <a:pt x="7948144" y="3988889"/>
                </a:cubicBezTo>
                <a:lnTo>
                  <a:pt x="7950359" y="3981861"/>
                </a:lnTo>
                <a:lnTo>
                  <a:pt x="7935732" y="3997662"/>
                </a:lnTo>
                <a:cubicBezTo>
                  <a:pt x="7925844" y="4008637"/>
                  <a:pt x="7914987" y="4018651"/>
                  <a:pt x="7899913" y="4024315"/>
                </a:cubicBezTo>
                <a:cubicBezTo>
                  <a:pt x="7896041" y="4027552"/>
                  <a:pt x="7892445" y="4030688"/>
                  <a:pt x="7895211" y="4037162"/>
                </a:cubicBezTo>
                <a:cubicBezTo>
                  <a:pt x="7864510" y="4041612"/>
                  <a:pt x="7851787" y="4084299"/>
                  <a:pt x="7814447" y="4090267"/>
                </a:cubicBezTo>
                <a:cubicBezTo>
                  <a:pt x="7810851" y="4093402"/>
                  <a:pt x="7815553" y="4099269"/>
                  <a:pt x="7811958" y="4102506"/>
                </a:cubicBezTo>
                <a:cubicBezTo>
                  <a:pt x="7801447" y="4107159"/>
                  <a:pt x="7795639" y="4099067"/>
                  <a:pt x="7787894" y="4098359"/>
                </a:cubicBezTo>
                <a:cubicBezTo>
                  <a:pt x="7781256" y="4106856"/>
                  <a:pt x="7786235" y="4131537"/>
                  <a:pt x="7760512" y="4123141"/>
                </a:cubicBezTo>
                <a:cubicBezTo>
                  <a:pt x="7753044" y="4129514"/>
                  <a:pt x="7757469" y="4140236"/>
                  <a:pt x="7752491" y="4146103"/>
                </a:cubicBezTo>
                <a:cubicBezTo>
                  <a:pt x="7746959" y="4144889"/>
                  <a:pt x="7743640" y="4143372"/>
                  <a:pt x="7739214" y="4144383"/>
                </a:cubicBezTo>
                <a:cubicBezTo>
                  <a:pt x="7740321" y="4153487"/>
                  <a:pt x="7718747" y="4167648"/>
                  <a:pt x="7703811" y="4161579"/>
                </a:cubicBezTo>
                <a:cubicBezTo>
                  <a:pt x="7703534" y="4173313"/>
                  <a:pt x="7691641" y="4180596"/>
                  <a:pt x="7682790" y="4189598"/>
                </a:cubicBezTo>
                <a:cubicBezTo>
                  <a:pt x="7634663" y="4193240"/>
                  <a:pt x="7594281" y="4241995"/>
                  <a:pt x="7541176" y="4251402"/>
                </a:cubicBezTo>
                <a:lnTo>
                  <a:pt x="7537027" y="4253021"/>
                </a:lnTo>
                <a:lnTo>
                  <a:pt x="7551686" y="4230868"/>
                </a:lnTo>
                <a:cubicBezTo>
                  <a:pt x="7560814" y="4221866"/>
                  <a:pt x="7572154" y="4214077"/>
                  <a:pt x="7583771" y="4209121"/>
                </a:cubicBezTo>
                <a:cubicBezTo>
                  <a:pt x="7589026" y="4203355"/>
                  <a:pt x="7579899" y="4193543"/>
                  <a:pt x="7574643" y="4192431"/>
                </a:cubicBezTo>
                <a:cubicBezTo>
                  <a:pt x="7548367" y="4207603"/>
                  <a:pt x="7506879" y="4209728"/>
                  <a:pt x="7507709" y="4230565"/>
                </a:cubicBezTo>
                <a:cubicBezTo>
                  <a:pt x="7497751" y="4230464"/>
                  <a:pt x="7485028" y="4235623"/>
                  <a:pt x="7475624" y="4230666"/>
                </a:cubicBezTo>
                <a:cubicBezTo>
                  <a:pt x="7504943" y="4217213"/>
                  <a:pt x="7522091" y="4204063"/>
                  <a:pt x="7553623" y="4190003"/>
                </a:cubicBezTo>
                <a:cubicBezTo>
                  <a:pt x="7551133" y="4183529"/>
                  <a:pt x="7556942" y="4179888"/>
                  <a:pt x="7551410" y="4171694"/>
                </a:cubicBezTo>
                <a:cubicBezTo>
                  <a:pt x="7546431" y="4165726"/>
                  <a:pt x="7546155" y="4177561"/>
                  <a:pt x="7540070" y="4174223"/>
                </a:cubicBezTo>
                <a:cubicBezTo>
                  <a:pt x="7538134" y="4169975"/>
                  <a:pt x="7537304" y="4167749"/>
                  <a:pt x="7542006" y="4166738"/>
                </a:cubicBezTo>
                <a:cubicBezTo>
                  <a:pt x="7538687" y="4165119"/>
                  <a:pt x="7534261" y="4166131"/>
                  <a:pt x="7532602" y="4161781"/>
                </a:cubicBezTo>
                <a:cubicBezTo>
                  <a:pt x="7524304" y="4166030"/>
                  <a:pt x="7528453" y="4176752"/>
                  <a:pt x="7512687" y="4180292"/>
                </a:cubicBezTo>
                <a:cubicBezTo>
                  <a:pt x="7518219" y="4169671"/>
                  <a:pt x="7498305" y="4169368"/>
                  <a:pt x="7507155" y="4160365"/>
                </a:cubicBezTo>
                <a:cubicBezTo>
                  <a:pt x="7499411" y="4159758"/>
                  <a:pt x="7488901" y="4164411"/>
                  <a:pt x="7483645" y="4151464"/>
                </a:cubicBezTo>
                <a:cubicBezTo>
                  <a:pt x="7490560" y="4149947"/>
                  <a:pt x="7502453" y="4161377"/>
                  <a:pt x="7497198" y="4148429"/>
                </a:cubicBezTo>
                <a:cubicBezTo>
                  <a:pt x="7504943" y="4149036"/>
                  <a:pt x="7501624" y="4159151"/>
                  <a:pt x="7510751" y="4157128"/>
                </a:cubicBezTo>
                <a:cubicBezTo>
                  <a:pt x="7512964" y="4156623"/>
                  <a:pt x="7511304" y="4152374"/>
                  <a:pt x="7508262" y="4150756"/>
                </a:cubicBezTo>
                <a:cubicBezTo>
                  <a:pt x="7515730" y="4144383"/>
                  <a:pt x="7519879" y="4155207"/>
                  <a:pt x="7525964" y="4151565"/>
                </a:cubicBezTo>
                <a:cubicBezTo>
                  <a:pt x="7530942" y="4145698"/>
                  <a:pt x="7517389" y="4148632"/>
                  <a:pt x="7514623" y="4142158"/>
                </a:cubicBezTo>
                <a:cubicBezTo>
                  <a:pt x="7525134" y="4137505"/>
                  <a:pt x="7527347" y="4130020"/>
                  <a:pt x="7520708" y="4119803"/>
                </a:cubicBezTo>
                <a:cubicBezTo>
                  <a:pt x="7540070" y="4124861"/>
                  <a:pt x="7539516" y="4110902"/>
                  <a:pt x="7546984" y="4123343"/>
                </a:cubicBezTo>
                <a:cubicBezTo>
                  <a:pt x="7569665" y="4118286"/>
                  <a:pt x="7579069" y="4085816"/>
                  <a:pt x="7594281" y="4098865"/>
                </a:cubicBezTo>
                <a:cubicBezTo>
                  <a:pt x="7607004" y="4093706"/>
                  <a:pt x="7587643" y="4088547"/>
                  <a:pt x="7601473" y="4085512"/>
                </a:cubicBezTo>
                <a:cubicBezTo>
                  <a:pt x="7610877" y="4090469"/>
                  <a:pt x="7598430" y="4090874"/>
                  <a:pt x="7600090" y="4095223"/>
                </a:cubicBezTo>
                <a:cubicBezTo>
                  <a:pt x="7613643" y="4103922"/>
                  <a:pt x="7615026" y="4082579"/>
                  <a:pt x="7623600" y="4085310"/>
                </a:cubicBezTo>
                <a:cubicBezTo>
                  <a:pt x="7621111" y="4078938"/>
                  <a:pt x="7618898" y="4079443"/>
                  <a:pt x="7613089" y="4071250"/>
                </a:cubicBezTo>
                <a:cubicBezTo>
                  <a:pt x="7617515" y="4070238"/>
                  <a:pt x="7620004" y="4069733"/>
                  <a:pt x="7621387" y="4067103"/>
                </a:cubicBezTo>
                <a:cubicBezTo>
                  <a:pt x="7628578" y="4072565"/>
                  <a:pt x="7621664" y="4074082"/>
                  <a:pt x="7623323" y="4078331"/>
                </a:cubicBezTo>
                <a:cubicBezTo>
                  <a:pt x="7624706" y="4075701"/>
                  <a:pt x="7626919" y="4075195"/>
                  <a:pt x="7629132" y="4074689"/>
                </a:cubicBezTo>
                <a:cubicBezTo>
                  <a:pt x="7630791" y="4072059"/>
                  <a:pt x="7626089" y="4073071"/>
                  <a:pt x="7624430" y="4068721"/>
                </a:cubicBezTo>
                <a:cubicBezTo>
                  <a:pt x="7649599" y="4063158"/>
                  <a:pt x="7667578" y="4052132"/>
                  <a:pt x="7672833" y="4034532"/>
                </a:cubicBezTo>
                <a:cubicBezTo>
                  <a:pt x="7682790" y="4034734"/>
                  <a:pt x="7685556" y="4029373"/>
                  <a:pt x="7688599" y="4024012"/>
                </a:cubicBezTo>
                <a:cubicBezTo>
                  <a:pt x="7687769" y="4021888"/>
                  <a:pt x="7685833" y="4017639"/>
                  <a:pt x="7683620" y="4018145"/>
                </a:cubicBezTo>
                <a:cubicBezTo>
                  <a:pt x="7699109" y="4019460"/>
                  <a:pt x="7720683" y="4005197"/>
                  <a:pt x="7722342" y="3990733"/>
                </a:cubicBezTo>
                <a:cubicBezTo>
                  <a:pt x="7725108" y="3997206"/>
                  <a:pt x="7727874" y="3991947"/>
                  <a:pt x="7731747" y="3995790"/>
                </a:cubicBezTo>
                <a:cubicBezTo>
                  <a:pt x="7740183" y="3985726"/>
                  <a:pt x="7748135" y="3977507"/>
                  <a:pt x="7756951" y="3969972"/>
                </a:cubicBezTo>
                <a:lnTo>
                  <a:pt x="7768098" y="3962003"/>
                </a:lnTo>
                <a:lnTo>
                  <a:pt x="7766148" y="3961679"/>
                </a:lnTo>
                <a:lnTo>
                  <a:pt x="7770318" y="3960417"/>
                </a:lnTo>
                <a:lnTo>
                  <a:pt x="7787341" y="3948249"/>
                </a:lnTo>
                <a:cubicBezTo>
                  <a:pt x="7785682" y="3944000"/>
                  <a:pt x="7776554" y="3945922"/>
                  <a:pt x="7784852" y="3941775"/>
                </a:cubicBezTo>
                <a:cubicBezTo>
                  <a:pt x="7784022" y="3939651"/>
                  <a:pt x="7781809" y="3940156"/>
                  <a:pt x="7780703" y="3937931"/>
                </a:cubicBezTo>
                <a:cubicBezTo>
                  <a:pt x="7769363" y="3940460"/>
                  <a:pt x="7778767" y="3945518"/>
                  <a:pt x="7775171" y="3948653"/>
                </a:cubicBezTo>
                <a:cubicBezTo>
                  <a:pt x="7772682" y="3949159"/>
                  <a:pt x="7768256" y="3950069"/>
                  <a:pt x="7765214" y="3948451"/>
                </a:cubicBezTo>
                <a:cubicBezTo>
                  <a:pt x="7771299" y="3932975"/>
                  <a:pt x="7784022" y="3920938"/>
                  <a:pt x="7798681" y="3908192"/>
                </a:cubicBezTo>
                <a:cubicBezTo>
                  <a:pt x="7792873" y="3900100"/>
                  <a:pt x="7792873" y="3911935"/>
                  <a:pt x="7789277" y="3903236"/>
                </a:cubicBezTo>
                <a:cubicBezTo>
                  <a:pt x="7807256" y="3892311"/>
                  <a:pt x="7818872" y="3877948"/>
                  <a:pt x="7821915" y="3860853"/>
                </a:cubicBezTo>
                <a:cubicBezTo>
                  <a:pt x="7816936" y="3854885"/>
                  <a:pt x="7809745" y="3861156"/>
                  <a:pt x="7803937" y="3853064"/>
                </a:cubicBezTo>
                <a:cubicBezTo>
                  <a:pt x="7790660" y="3863078"/>
                  <a:pt x="7776278" y="3870867"/>
                  <a:pt x="7772958" y="3881083"/>
                </a:cubicBezTo>
                <a:cubicBezTo>
                  <a:pt x="7755810" y="3875419"/>
                  <a:pt x="7759682" y="3891098"/>
                  <a:pt x="7751661" y="3902224"/>
                </a:cubicBezTo>
                <a:cubicBezTo>
                  <a:pt x="7740597" y="3911733"/>
                  <a:pt x="7719300" y="3921039"/>
                  <a:pt x="7706853" y="3933177"/>
                </a:cubicBezTo>
                <a:cubicBezTo>
                  <a:pt x="7696620" y="3944810"/>
                  <a:pt x="7673939" y="3956847"/>
                  <a:pt x="7656791" y="3963017"/>
                </a:cubicBezTo>
                <a:cubicBezTo>
                  <a:pt x="7652089" y="3964028"/>
                  <a:pt x="7656791" y="3970098"/>
                  <a:pt x="7650982" y="3973739"/>
                </a:cubicBezTo>
                <a:cubicBezTo>
                  <a:pt x="7646833" y="3969895"/>
                  <a:pt x="7643238" y="3973031"/>
                  <a:pt x="7641025" y="3973537"/>
                </a:cubicBezTo>
                <a:cubicBezTo>
                  <a:pt x="7640195" y="3990126"/>
                  <a:pt x="7615579" y="3990834"/>
                  <a:pt x="7614749" y="4007423"/>
                </a:cubicBezTo>
                <a:cubicBezTo>
                  <a:pt x="7561091" y="4028665"/>
                  <a:pt x="7539516" y="4061641"/>
                  <a:pt x="7486964" y="4073172"/>
                </a:cubicBezTo>
                <a:cubicBezTo>
                  <a:pt x="7481156" y="4076915"/>
                  <a:pt x="7481433" y="4083793"/>
                  <a:pt x="7475348" y="4087536"/>
                </a:cubicBezTo>
                <a:cubicBezTo>
                  <a:pt x="7472582" y="4074082"/>
                  <a:pt x="7461518" y="4083591"/>
                  <a:pt x="7454603" y="4085108"/>
                </a:cubicBezTo>
                <a:cubicBezTo>
                  <a:pt x="7459029" y="4065282"/>
                  <a:pt x="7496092" y="4052436"/>
                  <a:pt x="7519049" y="4035644"/>
                </a:cubicBezTo>
                <a:cubicBezTo>
                  <a:pt x="7517389" y="4031295"/>
                  <a:pt x="7513794" y="4034431"/>
                  <a:pt x="7511581" y="4034936"/>
                </a:cubicBezTo>
                <a:cubicBezTo>
                  <a:pt x="7523751" y="4015818"/>
                  <a:pt x="7570771" y="4021888"/>
                  <a:pt x="7570218" y="4007929"/>
                </a:cubicBezTo>
                <a:cubicBezTo>
                  <a:pt x="7595664" y="4009345"/>
                  <a:pt x="7613643" y="3967771"/>
                  <a:pt x="7636323" y="3974548"/>
                </a:cubicBezTo>
                <a:cubicBezTo>
                  <a:pt x="7647387" y="3965040"/>
                  <a:pt x="7646557" y="3962916"/>
                  <a:pt x="7658727" y="3955532"/>
                </a:cubicBezTo>
                <a:cubicBezTo>
                  <a:pt x="7663152" y="3954520"/>
                  <a:pt x="7652365" y="3952194"/>
                  <a:pt x="7650152" y="3952699"/>
                </a:cubicBezTo>
                <a:cubicBezTo>
                  <a:pt x="7687769" y="3916285"/>
                  <a:pt x="7720960" y="3887861"/>
                  <a:pt x="7759406" y="3853570"/>
                </a:cubicBezTo>
                <a:cubicBezTo>
                  <a:pt x="7751938" y="3841128"/>
                  <a:pt x="7737002" y="3853772"/>
                  <a:pt x="7732576" y="3854784"/>
                </a:cubicBezTo>
                <a:cubicBezTo>
                  <a:pt x="7725108" y="3861156"/>
                  <a:pt x="7717364" y="3879162"/>
                  <a:pt x="7704088" y="3889176"/>
                </a:cubicBezTo>
                <a:cubicBezTo>
                  <a:pt x="7686939" y="3902325"/>
                  <a:pt x="7672280" y="3914970"/>
                  <a:pt x="7661216" y="3924478"/>
                </a:cubicBezTo>
                <a:cubicBezTo>
                  <a:pt x="7652365" y="3933480"/>
                  <a:pt x="7636323" y="3937021"/>
                  <a:pt x="7627472" y="3946023"/>
                </a:cubicBezTo>
                <a:cubicBezTo>
                  <a:pt x="7604239" y="3962815"/>
                  <a:pt x="7587643" y="3982944"/>
                  <a:pt x="7565793" y="3997105"/>
                </a:cubicBezTo>
                <a:cubicBezTo>
                  <a:pt x="7539793" y="4012278"/>
                  <a:pt x="7512687" y="4025327"/>
                  <a:pt x="7487794" y="4037870"/>
                </a:cubicBezTo>
                <a:cubicBezTo>
                  <a:pt x="7546984" y="3987192"/>
                  <a:pt x="7629961" y="3952497"/>
                  <a:pt x="7675322" y="3897976"/>
                </a:cubicBezTo>
                <a:cubicBezTo>
                  <a:pt x="7693301" y="3886950"/>
                  <a:pt x="7704917" y="3872587"/>
                  <a:pt x="7722896" y="3861561"/>
                </a:cubicBezTo>
                <a:cubicBezTo>
                  <a:pt x="7725108" y="3861055"/>
                  <a:pt x="7725662" y="3856301"/>
                  <a:pt x="7724832" y="3854076"/>
                </a:cubicBezTo>
                <a:cubicBezTo>
                  <a:pt x="7742810" y="3843101"/>
                  <a:pt x="7751246" y="3833036"/>
                  <a:pt x="7760442" y="3823376"/>
                </a:cubicBezTo>
                <a:lnTo>
                  <a:pt x="7776696" y="3811938"/>
                </a:lnTo>
                <a:lnTo>
                  <a:pt x="7765595" y="3806713"/>
                </a:lnTo>
                <a:cubicBezTo>
                  <a:pt x="7758680" y="3805904"/>
                  <a:pt x="7752042" y="3814300"/>
                  <a:pt x="7742638" y="3813288"/>
                </a:cubicBezTo>
                <a:lnTo>
                  <a:pt x="7732713" y="3811613"/>
                </a:lnTo>
                <a:lnTo>
                  <a:pt x="7722718" y="3822889"/>
                </a:lnTo>
                <a:cubicBezTo>
                  <a:pt x="7693508" y="3841362"/>
                  <a:pt x="7648078" y="3845326"/>
                  <a:pt x="7634387" y="3876430"/>
                </a:cubicBezTo>
                <a:cubicBezTo>
                  <a:pt x="7627472" y="3877948"/>
                  <a:pt x="7623600" y="3874104"/>
                  <a:pt x="7618068" y="3872991"/>
                </a:cubicBezTo>
                <a:cubicBezTo>
                  <a:pt x="7616132" y="3880477"/>
                  <a:pt x="7612536" y="3883612"/>
                  <a:pt x="7602579" y="3883511"/>
                </a:cubicBezTo>
                <a:cubicBezTo>
                  <a:pt x="7605898" y="3892109"/>
                  <a:pt x="7592898" y="3897268"/>
                  <a:pt x="7594281" y="3906372"/>
                </a:cubicBezTo>
                <a:cubicBezTo>
                  <a:pt x="7564963" y="3908091"/>
                  <a:pt x="7548367" y="3916487"/>
                  <a:pt x="7525134" y="3926299"/>
                </a:cubicBezTo>
                <a:cubicBezTo>
                  <a:pt x="7524857" y="3919319"/>
                  <a:pt x="7533985" y="3917296"/>
                  <a:pt x="7534538" y="3912542"/>
                </a:cubicBezTo>
                <a:cubicBezTo>
                  <a:pt x="7521815" y="3905866"/>
                  <a:pt x="7525687" y="3921544"/>
                  <a:pt x="7510751" y="3915475"/>
                </a:cubicBezTo>
                <a:cubicBezTo>
                  <a:pt x="7504943" y="3919117"/>
                  <a:pt x="7514900" y="3919218"/>
                  <a:pt x="7515730" y="3921342"/>
                </a:cubicBezTo>
                <a:cubicBezTo>
                  <a:pt x="7449348" y="3947743"/>
                  <a:pt x="7395136" y="3992655"/>
                  <a:pt x="7339265" y="4014301"/>
                </a:cubicBezTo>
                <a:cubicBezTo>
                  <a:pt x="7370796" y="3981528"/>
                  <a:pt x="7425008" y="3974245"/>
                  <a:pt x="7453497" y="3939853"/>
                </a:cubicBezTo>
                <a:cubicBezTo>
                  <a:pt x="7484475" y="3930648"/>
                  <a:pt x="7511857" y="3905765"/>
                  <a:pt x="7525687" y="3883916"/>
                </a:cubicBezTo>
                <a:cubicBezTo>
                  <a:pt x="7513240" y="3884320"/>
                  <a:pt x="7510475" y="3908496"/>
                  <a:pt x="7491113" y="3903337"/>
                </a:cubicBezTo>
                <a:cubicBezTo>
                  <a:pt x="7466220" y="3934694"/>
                  <a:pt x="7405924" y="3938639"/>
                  <a:pt x="7379647" y="3972525"/>
                </a:cubicBezTo>
                <a:cubicBezTo>
                  <a:pt x="7371903" y="3971918"/>
                  <a:pt x="7346733" y="3977381"/>
                  <a:pt x="7347839" y="3986585"/>
                </a:cubicBezTo>
                <a:cubicBezTo>
                  <a:pt x="7337882" y="3986383"/>
                  <a:pt x="7335670" y="3986889"/>
                  <a:pt x="7322117" y="3989923"/>
                </a:cubicBezTo>
                <a:cubicBezTo>
                  <a:pt x="7344244" y="3971008"/>
                  <a:pt x="7393753" y="3957757"/>
                  <a:pt x="7403434" y="3939145"/>
                </a:cubicBezTo>
                <a:cubicBezTo>
                  <a:pt x="7414774" y="3948451"/>
                  <a:pt x="7413668" y="3927411"/>
                  <a:pt x="7426944" y="3929232"/>
                </a:cubicBezTo>
                <a:cubicBezTo>
                  <a:pt x="7421966" y="3923264"/>
                  <a:pt x="7415328" y="3924882"/>
                  <a:pt x="7409796" y="3923669"/>
                </a:cubicBezTo>
                <a:cubicBezTo>
                  <a:pt x="7402881" y="3925186"/>
                  <a:pt x="7410072" y="3930547"/>
                  <a:pt x="7398732" y="3933076"/>
                </a:cubicBezTo>
                <a:cubicBezTo>
                  <a:pt x="7401221" y="3920836"/>
                  <a:pt x="7391817" y="3934593"/>
                  <a:pt x="7384073" y="3933986"/>
                </a:cubicBezTo>
                <a:cubicBezTo>
                  <a:pt x="7376052" y="3926400"/>
                  <a:pt x="7388498" y="3925995"/>
                  <a:pt x="7385732" y="3919521"/>
                </a:cubicBezTo>
                <a:lnTo>
                  <a:pt x="7384349" y="3919825"/>
                </a:lnTo>
                <a:lnTo>
                  <a:pt x="7377711" y="3926703"/>
                </a:lnTo>
                <a:lnTo>
                  <a:pt x="7377988" y="3928221"/>
                </a:lnTo>
                <a:cubicBezTo>
                  <a:pt x="7379647" y="3930850"/>
                  <a:pt x="7381307" y="3933480"/>
                  <a:pt x="7379647" y="3935099"/>
                </a:cubicBezTo>
                <a:cubicBezTo>
                  <a:pt x="7376052" y="3935807"/>
                  <a:pt x="7373562" y="3935706"/>
                  <a:pt x="7371350" y="3936212"/>
                </a:cubicBezTo>
                <a:lnTo>
                  <a:pt x="7364988" y="3940258"/>
                </a:lnTo>
                <a:lnTo>
                  <a:pt x="7354201" y="3952295"/>
                </a:lnTo>
                <a:lnTo>
                  <a:pt x="7354201" y="3952396"/>
                </a:lnTo>
                <a:lnTo>
                  <a:pt x="7355861" y="3956644"/>
                </a:lnTo>
                <a:lnTo>
                  <a:pt x="7341478" y="3961702"/>
                </a:lnTo>
                <a:lnTo>
                  <a:pt x="7331521" y="3968884"/>
                </a:lnTo>
                <a:cubicBezTo>
                  <a:pt x="7332904" y="3973537"/>
                  <a:pt x="7332627" y="3975863"/>
                  <a:pt x="7329308" y="3980011"/>
                </a:cubicBezTo>
                <a:cubicBezTo>
                  <a:pt x="7286713" y="4000342"/>
                  <a:pt x="7257948" y="4047176"/>
                  <a:pt x="7216459" y="4063057"/>
                </a:cubicBezTo>
                <a:cubicBezTo>
                  <a:pt x="7200417" y="4081770"/>
                  <a:pt x="7185205" y="4098258"/>
                  <a:pt x="7156992" y="4106552"/>
                </a:cubicBezTo>
                <a:cubicBezTo>
                  <a:pt x="7121312" y="4141247"/>
                  <a:pt x="7068207" y="4164917"/>
                  <a:pt x="7028101" y="4196881"/>
                </a:cubicBezTo>
                <a:cubicBezTo>
                  <a:pt x="7028655" y="4206086"/>
                  <a:pt x="7036676" y="4191014"/>
                  <a:pt x="7036676" y="4202445"/>
                </a:cubicBezTo>
                <a:cubicBezTo>
                  <a:pt x="7027825" y="4210537"/>
                  <a:pt x="7015931" y="4209323"/>
                  <a:pt x="7003762" y="4210233"/>
                </a:cubicBezTo>
                <a:cubicBezTo>
                  <a:pt x="6985230" y="4219539"/>
                  <a:pt x="6982464" y="4232790"/>
                  <a:pt x="6961720" y="4239669"/>
                </a:cubicBezTo>
                <a:cubicBezTo>
                  <a:pt x="6951763" y="4240883"/>
                  <a:pt x="6953699" y="4231880"/>
                  <a:pt x="6945678" y="4235522"/>
                </a:cubicBezTo>
                <a:cubicBezTo>
                  <a:pt x="6944018" y="4244423"/>
                  <a:pt x="6938763" y="4246244"/>
                  <a:pt x="6944018" y="4255853"/>
                </a:cubicBezTo>
                <a:cubicBezTo>
                  <a:pt x="6937103" y="4255044"/>
                  <a:pt x="6931018" y="4261315"/>
                  <a:pt x="6935720" y="4261821"/>
                </a:cubicBezTo>
                <a:cubicBezTo>
                  <a:pt x="6932401" y="4265968"/>
                  <a:pt x="6918572" y="4262226"/>
                  <a:pt x="6910827" y="4265867"/>
                </a:cubicBezTo>
                <a:cubicBezTo>
                  <a:pt x="6909721" y="4270318"/>
                  <a:pt x="6921061" y="4262529"/>
                  <a:pt x="6916912" y="4271127"/>
                </a:cubicBezTo>
                <a:cubicBezTo>
                  <a:pt x="6914700" y="4270824"/>
                  <a:pt x="6916636" y="4273353"/>
                  <a:pt x="6916083" y="4275578"/>
                </a:cubicBezTo>
                <a:cubicBezTo>
                  <a:pt x="6887870" y="4272442"/>
                  <a:pt x="6871552" y="4293381"/>
                  <a:pt x="6848595" y="4299956"/>
                </a:cubicBezTo>
                <a:cubicBezTo>
                  <a:pt x="6848041" y="4302181"/>
                  <a:pt x="6849977" y="4304609"/>
                  <a:pt x="6849424" y="4306834"/>
                </a:cubicBezTo>
                <a:cubicBezTo>
                  <a:pt x="6841403" y="4299146"/>
                  <a:pt x="6788021" y="4325143"/>
                  <a:pt x="6780277" y="4340214"/>
                </a:cubicBezTo>
                <a:cubicBezTo>
                  <a:pt x="6716938" y="4355994"/>
                  <a:pt x="6676832" y="4387857"/>
                  <a:pt x="6615429" y="4406064"/>
                </a:cubicBezTo>
                <a:cubicBezTo>
                  <a:pt x="6609897" y="4410009"/>
                  <a:pt x="6621514" y="4411324"/>
                  <a:pt x="6617918" y="4417697"/>
                </a:cubicBezTo>
                <a:cubicBezTo>
                  <a:pt x="6611280" y="4414764"/>
                  <a:pt x="6599940" y="4422552"/>
                  <a:pt x="6597174" y="4413145"/>
                </a:cubicBezTo>
                <a:cubicBezTo>
                  <a:pt x="6585557" y="4423260"/>
                  <a:pt x="6549324" y="4423766"/>
                  <a:pt x="6547111" y="4434893"/>
                </a:cubicBezTo>
                <a:cubicBezTo>
                  <a:pt x="6543239" y="4441367"/>
                  <a:pt x="6540473" y="4431959"/>
                  <a:pt x="6534665" y="4435904"/>
                </a:cubicBezTo>
                <a:cubicBezTo>
                  <a:pt x="6529686" y="4437624"/>
                  <a:pt x="6538537" y="4440861"/>
                  <a:pt x="6533005" y="4444705"/>
                </a:cubicBezTo>
                <a:cubicBezTo>
                  <a:pt x="6541303" y="4438838"/>
                  <a:pt x="6538537" y="4440861"/>
                  <a:pt x="6550154" y="4442176"/>
                </a:cubicBezTo>
                <a:cubicBezTo>
                  <a:pt x="6548494" y="4451077"/>
                  <a:pt x="6534941" y="4447335"/>
                  <a:pt x="6526920" y="4450976"/>
                </a:cubicBezTo>
                <a:cubicBezTo>
                  <a:pt x="6528303" y="4444300"/>
                  <a:pt x="6526367" y="4441771"/>
                  <a:pt x="6523878" y="4441569"/>
                </a:cubicBezTo>
                <a:cubicBezTo>
                  <a:pt x="6514197" y="4442682"/>
                  <a:pt x="6512814" y="4449358"/>
                  <a:pt x="6500921" y="4448043"/>
                </a:cubicBezTo>
                <a:cubicBezTo>
                  <a:pt x="6502857" y="4450572"/>
                  <a:pt x="6504517" y="4455225"/>
                  <a:pt x="6511985" y="4453808"/>
                </a:cubicBezTo>
                <a:cubicBezTo>
                  <a:pt x="6508665" y="4457956"/>
                  <a:pt x="6497325" y="4454415"/>
                  <a:pt x="6497602" y="4452190"/>
                </a:cubicBezTo>
                <a:cubicBezTo>
                  <a:pt x="6487645" y="4467059"/>
                  <a:pt x="6447262" y="4451178"/>
                  <a:pt x="6440624" y="4473230"/>
                </a:cubicBezTo>
                <a:cubicBezTo>
                  <a:pt x="6429561" y="4467464"/>
                  <a:pt x="6405774" y="4478591"/>
                  <a:pt x="6403008" y="4480513"/>
                </a:cubicBezTo>
                <a:cubicBezTo>
                  <a:pt x="6384753" y="4487593"/>
                  <a:pt x="6365392" y="4487694"/>
                  <a:pt x="6345201" y="4492246"/>
                </a:cubicBezTo>
                <a:cubicBezTo>
                  <a:pt x="6332478" y="4495382"/>
                  <a:pt x="6307585" y="4499529"/>
                  <a:pt x="6302053" y="4514803"/>
                </a:cubicBezTo>
                <a:cubicBezTo>
                  <a:pt x="6277436" y="4505295"/>
                  <a:pt x="6234012" y="4529976"/>
                  <a:pt x="6204416" y="4522187"/>
                </a:cubicBezTo>
                <a:cubicBezTo>
                  <a:pt x="6199161" y="4523907"/>
                  <a:pt x="6196395" y="4525930"/>
                  <a:pt x="6195012" y="4532606"/>
                </a:cubicBezTo>
                <a:cubicBezTo>
                  <a:pt x="6152694" y="4527852"/>
                  <a:pt x="6125588" y="4543126"/>
                  <a:pt x="6078845" y="4547071"/>
                </a:cubicBezTo>
                <a:cubicBezTo>
                  <a:pt x="6079951" y="4542620"/>
                  <a:pt x="6078291" y="4537866"/>
                  <a:pt x="6079121" y="4533415"/>
                </a:cubicBezTo>
                <a:cubicBezTo>
                  <a:pt x="6067504" y="4532201"/>
                  <a:pt x="6068611" y="4539080"/>
                  <a:pt x="6064738" y="4545554"/>
                </a:cubicBezTo>
                <a:cubicBezTo>
                  <a:pt x="6046485" y="4541204"/>
                  <a:pt x="6037080" y="4551522"/>
                  <a:pt x="6023527" y="4547779"/>
                </a:cubicBezTo>
                <a:cubicBezTo>
                  <a:pt x="6031824" y="4541811"/>
                  <a:pt x="6045654" y="4545655"/>
                  <a:pt x="6038739" y="4531190"/>
                </a:cubicBezTo>
                <a:cubicBezTo>
                  <a:pt x="6048143" y="4532303"/>
                  <a:pt x="6050079" y="4534831"/>
                  <a:pt x="6058653" y="4528863"/>
                </a:cubicBezTo>
                <a:cubicBezTo>
                  <a:pt x="6053675" y="4517029"/>
                  <a:pt x="6050909" y="4518950"/>
                  <a:pt x="6050632" y="4507520"/>
                </a:cubicBezTo>
                <a:cubicBezTo>
                  <a:pt x="6058377" y="4506104"/>
                  <a:pt x="6082717" y="4492853"/>
                  <a:pt x="6089908" y="4504991"/>
                </a:cubicBezTo>
                <a:cubicBezTo>
                  <a:pt x="6111482" y="4493764"/>
                  <a:pt x="6155183" y="4503171"/>
                  <a:pt x="6170672" y="4486582"/>
                </a:cubicBezTo>
                <a:cubicBezTo>
                  <a:pt x="6178140" y="4496596"/>
                  <a:pt x="6193076" y="4482333"/>
                  <a:pt x="6208012" y="4479400"/>
                </a:cubicBezTo>
                <a:cubicBezTo>
                  <a:pt x="6220182" y="4478490"/>
                  <a:pt x="6260841" y="4492044"/>
                  <a:pt x="6266649" y="4463114"/>
                </a:cubicBezTo>
                <a:cubicBezTo>
                  <a:pt x="6276606" y="4461901"/>
                  <a:pt x="6265819" y="4467565"/>
                  <a:pt x="6272458" y="4470600"/>
                </a:cubicBezTo>
                <a:cubicBezTo>
                  <a:pt x="6289330" y="4470195"/>
                  <a:pt x="6306755" y="4467565"/>
                  <a:pt x="6308967" y="4456438"/>
                </a:cubicBezTo>
                <a:cubicBezTo>
                  <a:pt x="6317542" y="4461901"/>
                  <a:pt x="6348796" y="4463114"/>
                  <a:pt x="6352392" y="4445312"/>
                </a:cubicBezTo>
                <a:cubicBezTo>
                  <a:pt x="6387242" y="4451482"/>
                  <a:pt x="6459156" y="4427509"/>
                  <a:pt x="6485155" y="4394027"/>
                </a:cubicBezTo>
                <a:cubicBezTo>
                  <a:pt x="6486815" y="4398781"/>
                  <a:pt x="6491517" y="4399287"/>
                  <a:pt x="6498985" y="4397871"/>
                </a:cubicBezTo>
                <a:cubicBezTo>
                  <a:pt x="6497602" y="4393117"/>
                  <a:pt x="6486815" y="4398781"/>
                  <a:pt x="6490964" y="4390184"/>
                </a:cubicBezTo>
                <a:cubicBezTo>
                  <a:pt x="6531346" y="4380979"/>
                  <a:pt x="6578090" y="4351948"/>
                  <a:pt x="6617918" y="4344968"/>
                </a:cubicBezTo>
                <a:cubicBezTo>
                  <a:pt x="6621514" y="4352150"/>
                  <a:pt x="6612387" y="4348913"/>
                  <a:pt x="6613216" y="4355893"/>
                </a:cubicBezTo>
                <a:cubicBezTo>
                  <a:pt x="6627876" y="4355185"/>
                  <a:pt x="6651386" y="4346385"/>
                  <a:pt x="6646960" y="4332223"/>
                </a:cubicBezTo>
                <a:cubicBezTo>
                  <a:pt x="6655258" y="4326356"/>
                  <a:pt x="6663279" y="4322715"/>
                  <a:pt x="6677939" y="4322007"/>
                </a:cubicBezTo>
                <a:cubicBezTo>
                  <a:pt x="6682087" y="4324738"/>
                  <a:pt x="6674619" y="4326255"/>
                  <a:pt x="6673790" y="4330706"/>
                </a:cubicBezTo>
                <a:cubicBezTo>
                  <a:pt x="6690385" y="4332527"/>
                  <a:pt x="6687066" y="4325244"/>
                  <a:pt x="6699513" y="4322108"/>
                </a:cubicBezTo>
                <a:cubicBezTo>
                  <a:pt x="6698130" y="4317455"/>
                  <a:pt x="6687066" y="4325345"/>
                  <a:pt x="6688726" y="4316443"/>
                </a:cubicBezTo>
                <a:cubicBezTo>
                  <a:pt x="6703661" y="4313510"/>
                  <a:pt x="6705598" y="4304609"/>
                  <a:pt x="6719980" y="4304002"/>
                </a:cubicBezTo>
                <a:cubicBezTo>
                  <a:pt x="6718874" y="4310678"/>
                  <a:pt x="6713065" y="4314522"/>
                  <a:pt x="6704215" y="4311285"/>
                </a:cubicBezTo>
                <a:cubicBezTo>
                  <a:pt x="6706151" y="4313712"/>
                  <a:pt x="6710853" y="4314319"/>
                  <a:pt x="6710023" y="4318770"/>
                </a:cubicBezTo>
                <a:cubicBezTo>
                  <a:pt x="6723023" y="4313409"/>
                  <a:pt x="6731044" y="4309666"/>
                  <a:pt x="6728831" y="4295808"/>
                </a:cubicBezTo>
                <a:cubicBezTo>
                  <a:pt x="6736576" y="4294392"/>
                  <a:pt x="6732427" y="4302990"/>
                  <a:pt x="6734086" y="4305519"/>
                </a:cubicBezTo>
                <a:cubicBezTo>
                  <a:pt x="6783319" y="4288222"/>
                  <a:pt x="6810425" y="4250189"/>
                  <a:pt x="6867403" y="4229250"/>
                </a:cubicBezTo>
                <a:cubicBezTo>
                  <a:pt x="6871828" y="4231981"/>
                  <a:pt x="6875977" y="4234813"/>
                  <a:pt x="6883168" y="4235522"/>
                </a:cubicBezTo>
                <a:cubicBezTo>
                  <a:pt x="6887870" y="4224698"/>
                  <a:pt x="6905019" y="4221967"/>
                  <a:pt x="6900870" y="4207907"/>
                </a:cubicBezTo>
                <a:cubicBezTo>
                  <a:pt x="6931572" y="4197691"/>
                  <a:pt x="6952039" y="4179483"/>
                  <a:pt x="6972507" y="4161276"/>
                </a:cubicBezTo>
                <a:cubicBezTo>
                  <a:pt x="7056867" y="4125063"/>
                  <a:pt x="7114121" y="4067710"/>
                  <a:pt x="7186311" y="4021078"/>
                </a:cubicBezTo>
                <a:lnTo>
                  <a:pt x="7201523" y="4004692"/>
                </a:lnTo>
                <a:lnTo>
                  <a:pt x="7183545" y="4010761"/>
                </a:lnTo>
                <a:cubicBezTo>
                  <a:pt x="7165290" y="4016223"/>
                  <a:pt x="7147035" y="4021584"/>
                  <a:pt x="7130163" y="4032306"/>
                </a:cubicBezTo>
                <a:cubicBezTo>
                  <a:pt x="7127121" y="4030688"/>
                  <a:pt x="7121589" y="4029474"/>
                  <a:pt x="7116057" y="4028361"/>
                </a:cubicBezTo>
                <a:cubicBezTo>
                  <a:pt x="7116057" y="4034228"/>
                  <a:pt x="7112185" y="4033925"/>
                  <a:pt x="7107206" y="4032610"/>
                </a:cubicBezTo>
                <a:lnTo>
                  <a:pt x="7101121" y="4032003"/>
                </a:lnTo>
                <a:lnTo>
                  <a:pt x="7076781" y="4049907"/>
                </a:lnTo>
                <a:cubicBezTo>
                  <a:pt x="7075952" y="4054358"/>
                  <a:pt x="7078441" y="4054661"/>
                  <a:pt x="7079824" y="4059314"/>
                </a:cubicBezTo>
                <a:cubicBezTo>
                  <a:pt x="7072632" y="4047176"/>
                  <a:pt x="7049399" y="4067305"/>
                  <a:pt x="7058803" y="4068317"/>
                </a:cubicBezTo>
                <a:cubicBezTo>
                  <a:pt x="7018421" y="4088952"/>
                  <a:pt x="6960890" y="4123546"/>
                  <a:pt x="6931572" y="4149845"/>
                </a:cubicBezTo>
                <a:cubicBezTo>
                  <a:pt x="6931295" y="4152071"/>
                  <a:pt x="6923550" y="4153588"/>
                  <a:pt x="6924104" y="4151363"/>
                </a:cubicBezTo>
                <a:cubicBezTo>
                  <a:pt x="6916636" y="4152779"/>
                  <a:pt x="6923274" y="4155813"/>
                  <a:pt x="6919955" y="4159961"/>
                </a:cubicBezTo>
                <a:cubicBezTo>
                  <a:pt x="6907785" y="4160871"/>
                  <a:pt x="6889806" y="4165726"/>
                  <a:pt x="6887594" y="4176853"/>
                </a:cubicBezTo>
                <a:cubicBezTo>
                  <a:pt x="6857169" y="4184844"/>
                  <a:pt x="6815127" y="4214381"/>
                  <a:pt x="6786915" y="4222675"/>
                </a:cubicBezTo>
                <a:cubicBezTo>
                  <a:pt x="6783596" y="4226822"/>
                  <a:pt x="6780553" y="4230970"/>
                  <a:pt x="6777511" y="4232993"/>
                </a:cubicBezTo>
                <a:cubicBezTo>
                  <a:pt x="6770043" y="4234409"/>
                  <a:pt x="6765341" y="4233903"/>
                  <a:pt x="6758426" y="4233094"/>
                </a:cubicBezTo>
                <a:cubicBezTo>
                  <a:pt x="6752341" y="4239264"/>
                  <a:pt x="6743490" y="4247457"/>
                  <a:pt x="6726618" y="4247761"/>
                </a:cubicBezTo>
                <a:cubicBezTo>
                  <a:pt x="6725512" y="4240883"/>
                  <a:pt x="6728278" y="4238961"/>
                  <a:pt x="6719427" y="4235623"/>
                </a:cubicBezTo>
                <a:cubicBezTo>
                  <a:pt x="6710853" y="4241591"/>
                  <a:pt x="6722193" y="4245030"/>
                  <a:pt x="6720810" y="4251706"/>
                </a:cubicBezTo>
                <a:cubicBezTo>
                  <a:pt x="6711959" y="4259798"/>
                  <a:pt x="6704491" y="4249986"/>
                  <a:pt x="6697300" y="4249177"/>
                </a:cubicBezTo>
                <a:cubicBezTo>
                  <a:pt x="6703661" y="4265766"/>
                  <a:pt x="6689279" y="4277803"/>
                  <a:pt x="6666875" y="4268497"/>
                </a:cubicBezTo>
                <a:cubicBezTo>
                  <a:pt x="6657194" y="4269711"/>
                  <a:pt x="6659684" y="4281445"/>
                  <a:pt x="6650280" y="4280332"/>
                </a:cubicBezTo>
                <a:cubicBezTo>
                  <a:pt x="6649726" y="4282557"/>
                  <a:pt x="6648897" y="4287008"/>
                  <a:pt x="6653599" y="4287514"/>
                </a:cubicBezTo>
                <a:cubicBezTo>
                  <a:pt x="6648067" y="4291459"/>
                  <a:pt x="6638939" y="4288222"/>
                  <a:pt x="6639493" y="4297326"/>
                </a:cubicBezTo>
                <a:cubicBezTo>
                  <a:pt x="6632578" y="4296618"/>
                  <a:pt x="6611004" y="4296516"/>
                  <a:pt x="6611004" y="4307845"/>
                </a:cubicBezTo>
                <a:cubicBezTo>
                  <a:pt x="6606302" y="4307340"/>
                  <a:pt x="6607685" y="4300563"/>
                  <a:pt x="6602706" y="4300057"/>
                </a:cubicBezTo>
                <a:cubicBezTo>
                  <a:pt x="6598834" y="4308756"/>
                  <a:pt x="6586940" y="4307441"/>
                  <a:pt x="6587217" y="4318871"/>
                </a:cubicBezTo>
                <a:cubicBezTo>
                  <a:pt x="6580026" y="4318062"/>
                  <a:pt x="6565920" y="4316443"/>
                  <a:pt x="6569792" y="4321501"/>
                </a:cubicBezTo>
                <a:cubicBezTo>
                  <a:pt x="6538814" y="4331717"/>
                  <a:pt x="6510325" y="4353566"/>
                  <a:pt x="6476304" y="4354376"/>
                </a:cubicBezTo>
                <a:cubicBezTo>
                  <a:pt x="6471326" y="4356095"/>
                  <a:pt x="6466071" y="4357815"/>
                  <a:pt x="6464688" y="4364491"/>
                </a:cubicBezTo>
                <a:cubicBezTo>
                  <a:pt x="6434539" y="4358927"/>
                  <a:pt x="6398859" y="4393522"/>
                  <a:pt x="6361520" y="4387149"/>
                </a:cubicBezTo>
                <a:cubicBezTo>
                  <a:pt x="6356264" y="4388869"/>
                  <a:pt x="6357371" y="4395848"/>
                  <a:pt x="6352115" y="4397568"/>
                </a:cubicBezTo>
                <a:cubicBezTo>
                  <a:pt x="6339946" y="4398478"/>
                  <a:pt x="6339392" y="4389273"/>
                  <a:pt x="6332754" y="4386239"/>
                </a:cubicBezTo>
                <a:cubicBezTo>
                  <a:pt x="6321967" y="4391903"/>
                  <a:pt x="6312287" y="4415876"/>
                  <a:pt x="6293755" y="4400198"/>
                </a:cubicBezTo>
                <a:cubicBezTo>
                  <a:pt x="6283521" y="4403536"/>
                  <a:pt x="6281308" y="4414764"/>
                  <a:pt x="6273287" y="4418405"/>
                </a:cubicBezTo>
                <a:cubicBezTo>
                  <a:pt x="6269138" y="4415674"/>
                  <a:pt x="6267202" y="4413145"/>
                  <a:pt x="6262500" y="4412639"/>
                </a:cubicBezTo>
                <a:cubicBezTo>
                  <a:pt x="6258351" y="4421237"/>
                  <a:pt x="6230692" y="4427408"/>
                  <a:pt x="6220735" y="4417191"/>
                </a:cubicBezTo>
                <a:cubicBezTo>
                  <a:pt x="6213544" y="4427812"/>
                  <a:pt x="6198608" y="4430644"/>
                  <a:pt x="6185608" y="4436006"/>
                </a:cubicBezTo>
                <a:cubicBezTo>
                  <a:pt x="6139694" y="4424171"/>
                  <a:pt x="6075525" y="4455730"/>
                  <a:pt x="6021868" y="4447436"/>
                </a:cubicBezTo>
                <a:cubicBezTo>
                  <a:pt x="6015229" y="4444502"/>
                  <a:pt x="6010250" y="4457551"/>
                  <a:pt x="6008591" y="4452797"/>
                </a:cubicBezTo>
                <a:cubicBezTo>
                  <a:pt x="6026292" y="4436612"/>
                  <a:pt x="6057824" y="4424171"/>
                  <a:pt x="6084653" y="4422552"/>
                </a:cubicBezTo>
                <a:cubicBezTo>
                  <a:pt x="6092674" y="4418911"/>
                  <a:pt x="6090185" y="4407278"/>
                  <a:pt x="6085759" y="4404547"/>
                </a:cubicBezTo>
                <a:cubicBezTo>
                  <a:pt x="6053398" y="4410009"/>
                  <a:pt x="6014676" y="4398984"/>
                  <a:pt x="6003612" y="4418203"/>
                </a:cubicBezTo>
                <a:cubicBezTo>
                  <a:pt x="5994761" y="4414966"/>
                  <a:pt x="5980103" y="4415573"/>
                  <a:pt x="5974295" y="4408088"/>
                </a:cubicBezTo>
                <a:cubicBezTo>
                  <a:pt x="6008591" y="4405053"/>
                  <a:pt x="6031548" y="4398579"/>
                  <a:pt x="6068334" y="4395747"/>
                </a:cubicBezTo>
                <a:cubicBezTo>
                  <a:pt x="6069717" y="4389071"/>
                  <a:pt x="6077185" y="4387655"/>
                  <a:pt x="6076632" y="4378450"/>
                </a:cubicBezTo>
                <a:cubicBezTo>
                  <a:pt x="6075525" y="4371571"/>
                  <a:pt x="6068611" y="4382091"/>
                  <a:pt x="6064738" y="4377135"/>
                </a:cubicBezTo>
                <a:cubicBezTo>
                  <a:pt x="6065845" y="4372684"/>
                  <a:pt x="6066121" y="4370459"/>
                  <a:pt x="6070823" y="4370965"/>
                </a:cubicBezTo>
                <a:cubicBezTo>
                  <a:pt x="6068887" y="4368537"/>
                  <a:pt x="6064185" y="4367930"/>
                  <a:pt x="6065015" y="4363479"/>
                </a:cubicBezTo>
                <a:cubicBezTo>
                  <a:pt x="6055334" y="4364693"/>
                  <a:pt x="6053122" y="4375820"/>
                  <a:pt x="6036527" y="4373999"/>
                </a:cubicBezTo>
                <a:cubicBezTo>
                  <a:pt x="6047867" y="4366109"/>
                  <a:pt x="6029888" y="4359636"/>
                  <a:pt x="6042888" y="4354274"/>
                </a:cubicBezTo>
                <a:cubicBezTo>
                  <a:pt x="6036250" y="4351341"/>
                  <a:pt x="6024080" y="4352251"/>
                  <a:pt x="6026847" y="4338899"/>
                </a:cubicBezTo>
                <a:cubicBezTo>
                  <a:pt x="6033760" y="4339607"/>
                  <a:pt x="6038186" y="4353769"/>
                  <a:pt x="6040952" y="4340417"/>
                </a:cubicBezTo>
                <a:cubicBezTo>
                  <a:pt x="6047590" y="4343451"/>
                  <a:pt x="6038739" y="4351543"/>
                  <a:pt x="6048143" y="4352555"/>
                </a:cubicBezTo>
                <a:cubicBezTo>
                  <a:pt x="6050632" y="4352858"/>
                  <a:pt x="6051186" y="4348408"/>
                  <a:pt x="6049526" y="4345980"/>
                </a:cubicBezTo>
                <a:cubicBezTo>
                  <a:pt x="6059760" y="4342541"/>
                  <a:pt x="6057547" y="4353566"/>
                  <a:pt x="6065015" y="4352150"/>
                </a:cubicBezTo>
                <a:cubicBezTo>
                  <a:pt x="6073036" y="4348509"/>
                  <a:pt x="6058930" y="4346991"/>
                  <a:pt x="6060313" y="4340315"/>
                </a:cubicBezTo>
                <a:cubicBezTo>
                  <a:pt x="6072483" y="4339405"/>
                  <a:pt x="6078568" y="4333235"/>
                  <a:pt x="6078291" y="4321805"/>
                </a:cubicBezTo>
                <a:cubicBezTo>
                  <a:pt x="6092951" y="4332527"/>
                  <a:pt x="6100419" y="4319680"/>
                  <a:pt x="6100142" y="4333336"/>
                </a:cubicBezTo>
                <a:cubicBezTo>
                  <a:pt x="6123652" y="4335865"/>
                  <a:pt x="6150758" y="4309262"/>
                  <a:pt x="6156843" y="4325952"/>
                </a:cubicBezTo>
                <a:cubicBezTo>
                  <a:pt x="6171502" y="4325244"/>
                  <a:pt x="6156843" y="4314522"/>
                  <a:pt x="6170949" y="4316140"/>
                </a:cubicBezTo>
                <a:cubicBezTo>
                  <a:pt x="6176757" y="4323524"/>
                  <a:pt x="6165417" y="4319984"/>
                  <a:pt x="6164587" y="4324434"/>
                </a:cubicBezTo>
                <a:cubicBezTo>
                  <a:pt x="6171779" y="4336674"/>
                  <a:pt x="6185055" y="4317657"/>
                  <a:pt x="6191417" y="4322917"/>
                </a:cubicBezTo>
                <a:cubicBezTo>
                  <a:pt x="6192800" y="4316241"/>
                  <a:pt x="6190310" y="4315938"/>
                  <a:pt x="6189757" y="4306834"/>
                </a:cubicBezTo>
                <a:cubicBezTo>
                  <a:pt x="6194459" y="4307340"/>
                  <a:pt x="6196949" y="4307542"/>
                  <a:pt x="6199714" y="4305620"/>
                </a:cubicBezTo>
                <a:cubicBezTo>
                  <a:pt x="6203033" y="4312802"/>
                  <a:pt x="6195842" y="4312094"/>
                  <a:pt x="6195012" y="4316545"/>
                </a:cubicBezTo>
                <a:cubicBezTo>
                  <a:pt x="6197778" y="4314522"/>
                  <a:pt x="6200268" y="4314825"/>
                  <a:pt x="6202480" y="4315027"/>
                </a:cubicBezTo>
                <a:cubicBezTo>
                  <a:pt x="6205246" y="4313105"/>
                  <a:pt x="6200544" y="4312600"/>
                  <a:pt x="6201374" y="4308149"/>
                </a:cubicBezTo>
                <a:cubicBezTo>
                  <a:pt x="6227373" y="4310981"/>
                  <a:pt x="6250054" y="4306733"/>
                  <a:pt x="6264990" y="4292369"/>
                </a:cubicBezTo>
                <a:cubicBezTo>
                  <a:pt x="6273841" y="4295707"/>
                  <a:pt x="6279372" y="4291661"/>
                  <a:pt x="6284904" y="4287716"/>
                </a:cubicBezTo>
                <a:cubicBezTo>
                  <a:pt x="6285457" y="4285491"/>
                  <a:pt x="6286287" y="4281141"/>
                  <a:pt x="6284074" y="4280838"/>
                </a:cubicBezTo>
                <a:cubicBezTo>
                  <a:pt x="6297351" y="4286907"/>
                  <a:pt x="6325010" y="4280737"/>
                  <a:pt x="6334690" y="4268194"/>
                </a:cubicBezTo>
                <a:cubicBezTo>
                  <a:pt x="6333307" y="4274870"/>
                  <a:pt x="6338839" y="4271026"/>
                  <a:pt x="6340499" y="4275679"/>
                </a:cubicBezTo>
                <a:cubicBezTo>
                  <a:pt x="6367051" y="4262732"/>
                  <a:pt x="6387796" y="4255954"/>
                  <a:pt x="6417944" y="4250189"/>
                </a:cubicBezTo>
                <a:cubicBezTo>
                  <a:pt x="6418774" y="4245738"/>
                  <a:pt x="6409370" y="4244625"/>
                  <a:pt x="6419327" y="4243411"/>
                </a:cubicBezTo>
                <a:cubicBezTo>
                  <a:pt x="6419603" y="4241186"/>
                  <a:pt x="6417391" y="4240883"/>
                  <a:pt x="6417667" y="4238657"/>
                </a:cubicBezTo>
                <a:cubicBezTo>
                  <a:pt x="6406051" y="4237342"/>
                  <a:pt x="6411582" y="4244828"/>
                  <a:pt x="6406604" y="4246547"/>
                </a:cubicBezTo>
                <a:cubicBezTo>
                  <a:pt x="6404114" y="4246244"/>
                  <a:pt x="6399412" y="4245839"/>
                  <a:pt x="6397476" y="4243310"/>
                </a:cubicBezTo>
                <a:cubicBezTo>
                  <a:pt x="6411859" y="4231273"/>
                  <a:pt x="6430114" y="4224192"/>
                  <a:pt x="6450858" y="4217415"/>
                </a:cubicBezTo>
                <a:cubicBezTo>
                  <a:pt x="6450305" y="4208210"/>
                  <a:pt x="6443390" y="4218831"/>
                  <a:pt x="6445050" y="4209930"/>
                </a:cubicBezTo>
                <a:cubicBezTo>
                  <a:pt x="6467730" y="4205580"/>
                  <a:pt x="6486538" y="4196274"/>
                  <a:pt x="6498985" y="4181708"/>
                </a:cubicBezTo>
                <a:cubicBezTo>
                  <a:pt x="6497878" y="4174830"/>
                  <a:pt x="6487645" y="4178168"/>
                  <a:pt x="6487091" y="4169064"/>
                </a:cubicBezTo>
                <a:cubicBezTo>
                  <a:pt x="6469113" y="4173920"/>
                  <a:pt x="6451964" y="4176550"/>
                  <a:pt x="6443114" y="4184642"/>
                </a:cubicBezTo>
                <a:cubicBezTo>
                  <a:pt x="6430667" y="4174223"/>
                  <a:pt x="6425135" y="4189497"/>
                  <a:pt x="6411582" y="4197084"/>
                </a:cubicBezTo>
                <a:cubicBezTo>
                  <a:pt x="6396093" y="4202242"/>
                  <a:pt x="6371753" y="4204063"/>
                  <a:pt x="6353498" y="4211144"/>
                </a:cubicBezTo>
                <a:cubicBezTo>
                  <a:pt x="6337456" y="4218528"/>
                  <a:pt x="6310350" y="4222271"/>
                  <a:pt x="6290989" y="4222473"/>
                </a:cubicBezTo>
                <a:cubicBezTo>
                  <a:pt x="6286287" y="4221967"/>
                  <a:pt x="6287117" y="4228845"/>
                  <a:pt x="6279649" y="4230363"/>
                </a:cubicBezTo>
                <a:cubicBezTo>
                  <a:pt x="6278266" y="4225609"/>
                  <a:pt x="6273011" y="4227328"/>
                  <a:pt x="6270798" y="4227025"/>
                </a:cubicBezTo>
                <a:cubicBezTo>
                  <a:pt x="6260564" y="4241793"/>
                  <a:pt x="6237884" y="4234712"/>
                  <a:pt x="6227650" y="4249582"/>
                </a:cubicBezTo>
                <a:cubicBezTo>
                  <a:pt x="6167077" y="4251908"/>
                  <a:pt x="6128631" y="4275072"/>
                  <a:pt x="6074419" y="4269104"/>
                </a:cubicBezTo>
                <a:cubicBezTo>
                  <a:pt x="6066951" y="4270520"/>
                  <a:pt x="6063356" y="4276893"/>
                  <a:pt x="6055611" y="4278309"/>
                </a:cubicBezTo>
                <a:cubicBezTo>
                  <a:pt x="6060866" y="4265260"/>
                  <a:pt x="6045377" y="4270318"/>
                  <a:pt x="6038186" y="4269610"/>
                </a:cubicBezTo>
                <a:cubicBezTo>
                  <a:pt x="6053675" y="4253122"/>
                  <a:pt x="6094610" y="4253122"/>
                  <a:pt x="6125035" y="4245131"/>
                </a:cubicBezTo>
                <a:cubicBezTo>
                  <a:pt x="6125865" y="4240680"/>
                  <a:pt x="6120886" y="4242299"/>
                  <a:pt x="6118397" y="4242096"/>
                </a:cubicBezTo>
                <a:cubicBezTo>
                  <a:pt x="6140248" y="4228542"/>
                  <a:pt x="6179800" y="4248772"/>
                  <a:pt x="6186991" y="4235926"/>
                </a:cubicBezTo>
                <a:cubicBezTo>
                  <a:pt x="6209395" y="4245232"/>
                  <a:pt x="6249501" y="4213369"/>
                  <a:pt x="6266096" y="4226519"/>
                </a:cubicBezTo>
                <a:cubicBezTo>
                  <a:pt x="6281585" y="4221461"/>
                  <a:pt x="6281862" y="4219236"/>
                  <a:pt x="6297074" y="4216303"/>
                </a:cubicBezTo>
                <a:cubicBezTo>
                  <a:pt x="6301776" y="4216808"/>
                  <a:pt x="6293202" y="4211346"/>
                  <a:pt x="6290713" y="4211043"/>
                </a:cubicBezTo>
                <a:cubicBezTo>
                  <a:pt x="6345477" y="4189801"/>
                  <a:pt x="6391944" y="4174527"/>
                  <a:pt x="6446433" y="4155510"/>
                </a:cubicBezTo>
                <a:cubicBezTo>
                  <a:pt x="6446709" y="4141854"/>
                  <a:pt x="6426242" y="4148632"/>
                  <a:pt x="6421540" y="4148126"/>
                </a:cubicBezTo>
                <a:cubicBezTo>
                  <a:pt x="6411029" y="4151565"/>
                  <a:pt x="6393881" y="4165625"/>
                  <a:pt x="6375902" y="4170481"/>
                </a:cubicBezTo>
                <a:cubicBezTo>
                  <a:pt x="6352945" y="4177055"/>
                  <a:pt x="6332478" y="4183833"/>
                  <a:pt x="6316989" y="4188890"/>
                </a:cubicBezTo>
                <a:cubicBezTo>
                  <a:pt x="6303712" y="4194352"/>
                  <a:pt x="6287393" y="4192532"/>
                  <a:pt x="6274117" y="4197893"/>
                </a:cubicBezTo>
                <a:cubicBezTo>
                  <a:pt x="6243692" y="4205884"/>
                  <a:pt x="6217140" y="4218831"/>
                  <a:pt x="6189204" y="4224901"/>
                </a:cubicBezTo>
                <a:cubicBezTo>
                  <a:pt x="6156843" y="4230363"/>
                  <a:pt x="6124759" y="4233701"/>
                  <a:pt x="6095163" y="4237241"/>
                </a:cubicBezTo>
                <a:cubicBezTo>
                  <a:pt x="6177864" y="4209930"/>
                  <a:pt x="6272734" y="4204569"/>
                  <a:pt x="6344924" y="4169267"/>
                </a:cubicBezTo>
                <a:cubicBezTo>
                  <a:pt x="6367328" y="4165018"/>
                  <a:pt x="6386136" y="4155712"/>
                  <a:pt x="6408816" y="4151363"/>
                </a:cubicBezTo>
                <a:cubicBezTo>
                  <a:pt x="6411029" y="4151565"/>
                  <a:pt x="6414348" y="4147317"/>
                  <a:pt x="6414625" y="4145091"/>
                </a:cubicBezTo>
                <a:cubicBezTo>
                  <a:pt x="6459709" y="4136493"/>
                  <a:pt x="6468007" y="4119196"/>
                  <a:pt x="6516963" y="4115454"/>
                </a:cubicBezTo>
                <a:cubicBezTo>
                  <a:pt x="6500368" y="4127288"/>
                  <a:pt x="6472985" y="4131132"/>
                  <a:pt x="6458603" y="4143169"/>
                </a:cubicBezTo>
                <a:cubicBezTo>
                  <a:pt x="6485708" y="4139326"/>
                  <a:pt x="6514750" y="4126682"/>
                  <a:pt x="6539644" y="4111205"/>
                </a:cubicBezTo>
                <a:cubicBezTo>
                  <a:pt x="6572558" y="4103416"/>
                  <a:pt x="6603259" y="4093200"/>
                  <a:pt x="6626216" y="4075296"/>
                </a:cubicBezTo>
                <a:cubicBezTo>
                  <a:pt x="6645024" y="4077319"/>
                  <a:pt x="6662449" y="4063360"/>
                  <a:pt x="6671577" y="4053043"/>
                </a:cubicBezTo>
                <a:cubicBezTo>
                  <a:pt x="6691768" y="4048390"/>
                  <a:pt x="6724959" y="4027046"/>
                  <a:pt x="6747363" y="4011368"/>
                </a:cubicBezTo>
                <a:cubicBezTo>
                  <a:pt x="6777788" y="4003276"/>
                  <a:pt x="6796596" y="3982641"/>
                  <a:pt x="6823148" y="3969693"/>
                </a:cubicBezTo>
                <a:cubicBezTo>
                  <a:pt x="6810425" y="3961399"/>
                  <a:pt x="6806000" y="3983652"/>
                  <a:pt x="6795489" y="3975661"/>
                </a:cubicBezTo>
                <a:cubicBezTo>
                  <a:pt x="6721087" y="4022090"/>
                  <a:pt x="6666045" y="4056886"/>
                  <a:pt x="6581685" y="4081669"/>
                </a:cubicBezTo>
                <a:cubicBezTo>
                  <a:pt x="6627599" y="4057190"/>
                  <a:pt x="6663556" y="4033824"/>
                  <a:pt x="6713895" y="4009851"/>
                </a:cubicBezTo>
                <a:cubicBezTo>
                  <a:pt x="6715002" y="4005400"/>
                  <a:pt x="6712512" y="4005096"/>
                  <a:pt x="6707810" y="4004591"/>
                </a:cubicBezTo>
                <a:cubicBezTo>
                  <a:pt x="6725235" y="4001961"/>
                  <a:pt x="6734086" y="3993970"/>
                  <a:pt x="6752341" y="3986889"/>
                </a:cubicBezTo>
                <a:cubicBezTo>
                  <a:pt x="6753171" y="3982438"/>
                  <a:pt x="6751788" y="3977684"/>
                  <a:pt x="6754001" y="3977886"/>
                </a:cubicBezTo>
                <a:cubicBezTo>
                  <a:pt x="6718874" y="3974043"/>
                  <a:pt x="6697300" y="4021685"/>
                  <a:pt x="6650556" y="4014200"/>
                </a:cubicBezTo>
                <a:cubicBezTo>
                  <a:pt x="6648897" y="4023101"/>
                  <a:pt x="6659130" y="4019763"/>
                  <a:pt x="6661067" y="4022191"/>
                </a:cubicBezTo>
                <a:cubicBezTo>
                  <a:pt x="6661620" y="4031396"/>
                  <a:pt x="6648343" y="4025327"/>
                  <a:pt x="6653599" y="4035037"/>
                </a:cubicBezTo>
                <a:cubicBezTo>
                  <a:pt x="6638939" y="4035746"/>
                  <a:pt x="6628705" y="4039084"/>
                  <a:pt x="6617918" y="4044748"/>
                </a:cubicBezTo>
                <a:cubicBezTo>
                  <a:pt x="6606025" y="4043433"/>
                  <a:pt x="6624003" y="4038679"/>
                  <a:pt x="6620131" y="4033722"/>
                </a:cubicBezTo>
                <a:cubicBezTo>
                  <a:pt x="6580302" y="4040601"/>
                  <a:pt x="6551260" y="4053245"/>
                  <a:pt x="6513367" y="4074082"/>
                </a:cubicBezTo>
                <a:cubicBezTo>
                  <a:pt x="6512261" y="4078533"/>
                  <a:pt x="6523325" y="4072970"/>
                  <a:pt x="6528027" y="4073475"/>
                </a:cubicBezTo>
                <a:cubicBezTo>
                  <a:pt x="6523325" y="4084400"/>
                  <a:pt x="6513091" y="4087738"/>
                  <a:pt x="6504793" y="4080050"/>
                </a:cubicBezTo>
                <a:cubicBezTo>
                  <a:pt x="6505346" y="4077825"/>
                  <a:pt x="6510048" y="4078331"/>
                  <a:pt x="6510602" y="4076105"/>
                </a:cubicBezTo>
                <a:cubicBezTo>
                  <a:pt x="6497325" y="4070137"/>
                  <a:pt x="6466900" y="4089457"/>
                  <a:pt x="6454177" y="4092694"/>
                </a:cubicBezTo>
                <a:cubicBezTo>
                  <a:pt x="6457220" y="4102101"/>
                  <a:pt x="6459986" y="4100078"/>
                  <a:pt x="6464688" y="4100584"/>
                </a:cubicBezTo>
                <a:cubicBezTo>
                  <a:pt x="6424029" y="4134774"/>
                  <a:pt x="6360137" y="4105035"/>
                  <a:pt x="6320031" y="4136999"/>
                </a:cubicBezTo>
                <a:cubicBezTo>
                  <a:pt x="6313116" y="4136190"/>
                  <a:pt x="6311457" y="4131436"/>
                  <a:pt x="6307308" y="4128705"/>
                </a:cubicBezTo>
                <a:cubicBezTo>
                  <a:pt x="6301223" y="4134875"/>
                  <a:pt x="6295968" y="4136594"/>
                  <a:pt x="6287117" y="4133358"/>
                </a:cubicBezTo>
                <a:cubicBezTo>
                  <a:pt x="6285181" y="4142259"/>
                  <a:pt x="6270798" y="4142866"/>
                  <a:pt x="6266649" y="4151565"/>
                </a:cubicBezTo>
                <a:cubicBezTo>
                  <a:pt x="6239267" y="4143979"/>
                  <a:pt x="6219352" y="4146305"/>
                  <a:pt x="6192523" y="4147924"/>
                </a:cubicBezTo>
                <a:cubicBezTo>
                  <a:pt x="6196395" y="4141551"/>
                  <a:pt x="6205799" y="4142461"/>
                  <a:pt x="6209118" y="4138314"/>
                </a:cubicBezTo>
                <a:cubicBezTo>
                  <a:pt x="6201374" y="4128401"/>
                  <a:pt x="6195842" y="4143776"/>
                  <a:pt x="6185885" y="4133560"/>
                </a:cubicBezTo>
                <a:cubicBezTo>
                  <a:pt x="6178417" y="4134976"/>
                  <a:pt x="6187268" y="4138213"/>
                  <a:pt x="6186991" y="4140438"/>
                </a:cubicBezTo>
                <a:cubicBezTo>
                  <a:pt x="6111759" y="4143473"/>
                  <a:pt x="6037080" y="4167142"/>
                  <a:pt x="5974017" y="4169267"/>
                </a:cubicBezTo>
                <a:cubicBezTo>
                  <a:pt x="6021314" y="4149542"/>
                  <a:pt x="6074696" y="4159961"/>
                  <a:pt x="6120056" y="4137606"/>
                </a:cubicBezTo>
                <a:cubicBezTo>
                  <a:pt x="6153524" y="4139022"/>
                  <a:pt x="6192523" y="4125063"/>
                  <a:pt x="6217140" y="4109688"/>
                </a:cubicBezTo>
                <a:cubicBezTo>
                  <a:pt x="6205799" y="4106148"/>
                  <a:pt x="6189757" y="4127086"/>
                  <a:pt x="6174821" y="4116364"/>
                </a:cubicBezTo>
                <a:cubicBezTo>
                  <a:pt x="6134716" y="4136898"/>
                  <a:pt x="6077462" y="4121624"/>
                  <a:pt x="6034314" y="4144181"/>
                </a:cubicBezTo>
                <a:cubicBezTo>
                  <a:pt x="6027952" y="4141146"/>
                  <a:pt x="6001953" y="4138213"/>
                  <a:pt x="5997805" y="4146912"/>
                </a:cubicBezTo>
                <a:cubicBezTo>
                  <a:pt x="5988954" y="4143574"/>
                  <a:pt x="5986464" y="4143372"/>
                  <a:pt x="5972357" y="4141854"/>
                </a:cubicBezTo>
                <a:cubicBezTo>
                  <a:pt x="6003335" y="4131537"/>
                  <a:pt x="6055611" y="4135077"/>
                  <a:pt x="6075249" y="4121320"/>
                </a:cubicBezTo>
                <a:cubicBezTo>
                  <a:pt x="6079951" y="4133256"/>
                  <a:pt x="6091015" y="4114037"/>
                  <a:pt x="6102078" y="4119803"/>
                </a:cubicBezTo>
                <a:cubicBezTo>
                  <a:pt x="6100972" y="4112824"/>
                  <a:pt x="6093780" y="4112014"/>
                  <a:pt x="6089632" y="4109283"/>
                </a:cubicBezTo>
                <a:cubicBezTo>
                  <a:pt x="6082440" y="4108474"/>
                  <a:pt x="6086036" y="4115656"/>
                  <a:pt x="6074143" y="4114341"/>
                </a:cubicBezTo>
                <a:cubicBezTo>
                  <a:pt x="6083547" y="4103922"/>
                  <a:pt x="6067228" y="4113532"/>
                  <a:pt x="6060590" y="4110497"/>
                </a:cubicBezTo>
                <a:cubicBezTo>
                  <a:pt x="6057547" y="4101090"/>
                  <a:pt x="6068887" y="4104630"/>
                  <a:pt x="6070270" y="4097954"/>
                </a:cubicBezTo>
                <a:cubicBezTo>
                  <a:pt x="6067781" y="4097752"/>
                  <a:pt x="6063079" y="4097145"/>
                  <a:pt x="6060866" y="4096943"/>
                </a:cubicBezTo>
                <a:cubicBezTo>
                  <a:pt x="6055611" y="4098662"/>
                  <a:pt x="6060866" y="4108373"/>
                  <a:pt x="6055611" y="4109991"/>
                </a:cubicBezTo>
                <a:cubicBezTo>
                  <a:pt x="6048696" y="4109283"/>
                  <a:pt x="6046760" y="4106755"/>
                  <a:pt x="6038739" y="4110396"/>
                </a:cubicBezTo>
                <a:cubicBezTo>
                  <a:pt x="6046760" y="4095324"/>
                  <a:pt x="6013293" y="4094009"/>
                  <a:pt x="6006378" y="4104630"/>
                </a:cubicBezTo>
                <a:cubicBezTo>
                  <a:pt x="6009697" y="4111812"/>
                  <a:pt x="6018548" y="4103619"/>
                  <a:pt x="6024356" y="4111104"/>
                </a:cubicBezTo>
                <a:cubicBezTo>
                  <a:pt x="6023250" y="4115555"/>
                  <a:pt x="6024911" y="4120309"/>
                  <a:pt x="6022144" y="4122231"/>
                </a:cubicBezTo>
                <a:cubicBezTo>
                  <a:pt x="6006656" y="4127390"/>
                  <a:pt x="5989507" y="4116364"/>
                  <a:pt x="5978167" y="4124254"/>
                </a:cubicBezTo>
                <a:cubicBezTo>
                  <a:pt x="5982868" y="4113329"/>
                  <a:pt x="5967655" y="4104833"/>
                  <a:pt x="5953826" y="4114746"/>
                </a:cubicBezTo>
                <a:cubicBezTo>
                  <a:pt x="5952721" y="4119196"/>
                  <a:pt x="5957975" y="4117376"/>
                  <a:pt x="5964890" y="4118185"/>
                </a:cubicBezTo>
                <a:cubicBezTo>
                  <a:pt x="5959358" y="4122130"/>
                  <a:pt x="5945252" y="4120612"/>
                  <a:pt x="5937784" y="4122130"/>
                </a:cubicBezTo>
                <a:cubicBezTo>
                  <a:pt x="5945252" y="4109283"/>
                  <a:pt x="5925061" y="4113835"/>
                  <a:pt x="5912338" y="4116971"/>
                </a:cubicBezTo>
                <a:cubicBezTo>
                  <a:pt x="5907635" y="4116465"/>
                  <a:pt x="5903487" y="4113734"/>
                  <a:pt x="5896295" y="4112925"/>
                </a:cubicBezTo>
                <a:cubicBezTo>
                  <a:pt x="5853147" y="4124153"/>
                  <a:pt x="5817190" y="4111003"/>
                  <a:pt x="5774320" y="4119904"/>
                </a:cubicBezTo>
                <a:cubicBezTo>
                  <a:pt x="5772659" y="4117477"/>
                  <a:pt x="5768234" y="4114746"/>
                  <a:pt x="5764085" y="4112014"/>
                </a:cubicBezTo>
                <a:cubicBezTo>
                  <a:pt x="5756894" y="4122635"/>
                  <a:pt x="5750810" y="4105945"/>
                  <a:pt x="5740852" y="4107159"/>
                </a:cubicBezTo>
                <a:cubicBezTo>
                  <a:pt x="5733937" y="4106350"/>
                  <a:pt x="5727299" y="4114746"/>
                  <a:pt x="5717896" y="4113734"/>
                </a:cubicBezTo>
                <a:cubicBezTo>
                  <a:pt x="5708491" y="4112722"/>
                  <a:pt x="5689959" y="4108373"/>
                  <a:pt x="5678342" y="4107058"/>
                </a:cubicBezTo>
                <a:cubicBezTo>
                  <a:pt x="5679172" y="4102607"/>
                  <a:pt x="5688299" y="4105844"/>
                  <a:pt x="5686640" y="4101090"/>
                </a:cubicBezTo>
                <a:cubicBezTo>
                  <a:pt x="5718724" y="4109182"/>
                  <a:pt x="5771830" y="4096842"/>
                  <a:pt x="5808063" y="4107665"/>
                </a:cubicBezTo>
                <a:cubicBezTo>
                  <a:pt x="5815807" y="4106249"/>
                  <a:pt x="5818573" y="4104327"/>
                  <a:pt x="5823829" y="4102607"/>
                </a:cubicBezTo>
                <a:cubicBezTo>
                  <a:pt x="5879424" y="4113329"/>
                  <a:pt x="5939443" y="4090368"/>
                  <a:pt x="6008867" y="4091177"/>
                </a:cubicBezTo>
                <a:cubicBezTo>
                  <a:pt x="6011910" y="4089255"/>
                  <a:pt x="6012186" y="4087030"/>
                  <a:pt x="6012740" y="4084804"/>
                </a:cubicBezTo>
                <a:cubicBezTo>
                  <a:pt x="6081334" y="4078735"/>
                  <a:pt x="6134716" y="4064169"/>
                  <a:pt x="6189481" y="4042927"/>
                </a:cubicBezTo>
                <a:cubicBezTo>
                  <a:pt x="6167630" y="4045052"/>
                  <a:pt x="6146609" y="4040500"/>
                  <a:pt x="6133609" y="4057291"/>
                </a:cubicBezTo>
                <a:cubicBezTo>
                  <a:pt x="6123376" y="4049300"/>
                  <a:pt x="6100419" y="4067305"/>
                  <a:pt x="6098482" y="4053346"/>
                </a:cubicBezTo>
                <a:cubicBezTo>
                  <a:pt x="6112589" y="4054964"/>
                  <a:pt x="6117291" y="4044040"/>
                  <a:pt x="6128631" y="4047580"/>
                </a:cubicBezTo>
                <a:cubicBezTo>
                  <a:pt x="6121993" y="4044546"/>
                  <a:pt x="6124205" y="4044849"/>
                  <a:pt x="6121439" y="4035442"/>
                </a:cubicBezTo>
                <a:cubicBezTo>
                  <a:pt x="6135822" y="4034734"/>
                  <a:pt x="6126695" y="4045153"/>
                  <a:pt x="6133609" y="4045962"/>
                </a:cubicBezTo>
                <a:cubicBezTo>
                  <a:pt x="6139694" y="4039792"/>
                  <a:pt x="6132780" y="4038881"/>
                  <a:pt x="6136375" y="4032509"/>
                </a:cubicBezTo>
                <a:cubicBezTo>
                  <a:pt x="6145779" y="4033520"/>
                  <a:pt x="6161822" y="4026237"/>
                  <a:pt x="6173438" y="4027552"/>
                </a:cubicBezTo>
                <a:cubicBezTo>
                  <a:pt x="6167630" y="4020067"/>
                  <a:pt x="6165694" y="4017538"/>
                  <a:pt x="6172332" y="4009142"/>
                </a:cubicBezTo>
                <a:cubicBezTo>
                  <a:pt x="6158502" y="4005400"/>
                  <a:pt x="6147162" y="4001961"/>
                  <a:pt x="6128907" y="4009041"/>
                </a:cubicBezTo>
                <a:cubicBezTo>
                  <a:pt x="6130014" y="4004591"/>
                  <a:pt x="6127248" y="4006512"/>
                  <a:pt x="6125588" y="4001758"/>
                </a:cubicBezTo>
                <a:cubicBezTo>
                  <a:pt x="6131673" y="3995689"/>
                  <a:pt x="6137758" y="3989519"/>
                  <a:pt x="6154630" y="3989114"/>
                </a:cubicBezTo>
                <a:cubicBezTo>
                  <a:pt x="6159885" y="3987395"/>
                  <a:pt x="6150481" y="3986282"/>
                  <a:pt x="6156013" y="3982337"/>
                </a:cubicBezTo>
                <a:cubicBezTo>
                  <a:pt x="6144673" y="3978797"/>
                  <a:pt x="6143843" y="3983349"/>
                  <a:pt x="6138588" y="3973638"/>
                </a:cubicBezTo>
                <a:cubicBezTo>
                  <a:pt x="6100419" y="3971716"/>
                  <a:pt x="6071377" y="3995790"/>
                  <a:pt x="6043994" y="3988204"/>
                </a:cubicBezTo>
                <a:cubicBezTo>
                  <a:pt x="6058653" y="3976167"/>
                  <a:pt x="6098482" y="3980516"/>
                  <a:pt x="6105397" y="3958566"/>
                </a:cubicBezTo>
                <a:cubicBezTo>
                  <a:pt x="6111482" y="3952396"/>
                  <a:pt x="6104014" y="3965242"/>
                  <a:pt x="6103184" y="3969693"/>
                </a:cubicBezTo>
                <a:cubicBezTo>
                  <a:pt x="6114248" y="3961904"/>
                  <a:pt x="6122822" y="3967366"/>
                  <a:pt x="6136375" y="3959780"/>
                </a:cubicBezTo>
                <a:cubicBezTo>
                  <a:pt x="6139141" y="3957757"/>
                  <a:pt x="6135822" y="3950575"/>
                  <a:pt x="6141630" y="3946630"/>
                </a:cubicBezTo>
                <a:cubicBezTo>
                  <a:pt x="6146333" y="3947136"/>
                  <a:pt x="6147715" y="3951789"/>
                  <a:pt x="6151864" y="3954621"/>
                </a:cubicBezTo>
                <a:cubicBezTo>
                  <a:pt x="6230692" y="3933683"/>
                  <a:pt x="6310904" y="3906270"/>
                  <a:pt x="6384477" y="3875722"/>
                </a:cubicBezTo>
                <a:cubicBezTo>
                  <a:pt x="6390008" y="3871777"/>
                  <a:pt x="6393881" y="3865405"/>
                  <a:pt x="6394987" y="3858729"/>
                </a:cubicBezTo>
                <a:cubicBezTo>
                  <a:pt x="6406880" y="3859943"/>
                  <a:pt x="6425965" y="3848411"/>
                  <a:pt x="6443114" y="3848007"/>
                </a:cubicBezTo>
                <a:cubicBezTo>
                  <a:pt x="6448092" y="3846287"/>
                  <a:pt x="6436752" y="3842747"/>
                  <a:pt x="6440901" y="3834149"/>
                </a:cubicBezTo>
                <a:cubicBezTo>
                  <a:pt x="6468836" y="3850839"/>
                  <a:pt x="6491793" y="3821505"/>
                  <a:pt x="6515580" y="3810479"/>
                </a:cubicBezTo>
                <a:cubicBezTo>
                  <a:pt x="6513644" y="3808051"/>
                  <a:pt x="6512538" y="3801072"/>
                  <a:pt x="6515857" y="3796925"/>
                </a:cubicBezTo>
                <a:cubicBezTo>
                  <a:pt x="6505070" y="3802488"/>
                  <a:pt x="6470496" y="3807849"/>
                  <a:pt x="6471879" y="3823932"/>
                </a:cubicBezTo>
                <a:cubicBezTo>
                  <a:pt x="6445603" y="3823224"/>
                  <a:pt x="6403285" y="3830002"/>
                  <a:pt x="6394157" y="3851648"/>
                </a:cubicBezTo>
                <a:cubicBezTo>
                  <a:pt x="6369264" y="3855795"/>
                  <a:pt x="6341052" y="3864090"/>
                  <a:pt x="6319201" y="3877543"/>
                </a:cubicBezTo>
                <a:cubicBezTo>
                  <a:pt x="6304542" y="3878251"/>
                  <a:pt x="6279926" y="3880072"/>
                  <a:pt x="6274947" y="3893222"/>
                </a:cubicBezTo>
                <a:cubicBezTo>
                  <a:pt x="6243692" y="3905664"/>
                  <a:pt x="6208842" y="3910822"/>
                  <a:pt x="6166524" y="3917600"/>
                </a:cubicBezTo>
                <a:cubicBezTo>
                  <a:pt x="6167077" y="3915374"/>
                  <a:pt x="6169843" y="3913351"/>
                  <a:pt x="6170396" y="3911126"/>
                </a:cubicBezTo>
                <a:cubicBezTo>
                  <a:pt x="6152418" y="3904652"/>
                  <a:pt x="6128078" y="3917802"/>
                  <a:pt x="6111482" y="3915981"/>
                </a:cubicBezTo>
                <a:cubicBezTo>
                  <a:pt x="6112312" y="3911530"/>
                  <a:pt x="6107610" y="3911025"/>
                  <a:pt x="6108716" y="3906574"/>
                </a:cubicBezTo>
                <a:cubicBezTo>
                  <a:pt x="6098759" y="3907788"/>
                  <a:pt x="6084100" y="3908395"/>
                  <a:pt x="6080504" y="3914868"/>
                </a:cubicBezTo>
                <a:cubicBezTo>
                  <a:pt x="6055888" y="3916689"/>
                  <a:pt x="6044271" y="3915374"/>
                  <a:pt x="6030165" y="3925287"/>
                </a:cubicBezTo>
                <a:cubicBezTo>
                  <a:pt x="6026847" y="3923770"/>
                  <a:pt x="6033484" y="3920533"/>
                  <a:pt x="6041782" y="3916588"/>
                </a:cubicBezTo>
                <a:lnTo>
                  <a:pt x="6043994" y="3915576"/>
                </a:lnTo>
                <a:lnTo>
                  <a:pt x="6036803" y="3915779"/>
                </a:lnTo>
                <a:cubicBezTo>
                  <a:pt x="6034591" y="3915172"/>
                  <a:pt x="6032101" y="3914565"/>
                  <a:pt x="6027399" y="3916183"/>
                </a:cubicBezTo>
                <a:cubicBezTo>
                  <a:pt x="6039016" y="3925489"/>
                  <a:pt x="6021868" y="3915880"/>
                  <a:pt x="6010803" y="3923770"/>
                </a:cubicBezTo>
                <a:cubicBezTo>
                  <a:pt x="6007209" y="3927411"/>
                  <a:pt x="6012740" y="3930547"/>
                  <a:pt x="6007209" y="3935908"/>
                </a:cubicBezTo>
                <a:cubicBezTo>
                  <a:pt x="6001676" y="3938437"/>
                  <a:pt x="5998080" y="3939246"/>
                  <a:pt x="5994485" y="3942786"/>
                </a:cubicBezTo>
                <a:cubicBezTo>
                  <a:pt x="5958805" y="3936818"/>
                  <a:pt x="5918422" y="3970502"/>
                  <a:pt x="5877210" y="3972728"/>
                </a:cubicBezTo>
                <a:cubicBezTo>
                  <a:pt x="5875274" y="3977381"/>
                  <a:pt x="5873616" y="3979302"/>
                  <a:pt x="5868083" y="3981831"/>
                </a:cubicBezTo>
                <a:cubicBezTo>
                  <a:pt x="5817467" y="3984461"/>
                  <a:pt x="5762149" y="4015313"/>
                  <a:pt x="5715129" y="4014301"/>
                </a:cubicBezTo>
                <a:cubicBezTo>
                  <a:pt x="5689129" y="4025125"/>
                  <a:pt x="5665066" y="4034127"/>
                  <a:pt x="5634919" y="4031295"/>
                </a:cubicBezTo>
                <a:cubicBezTo>
                  <a:pt x="5580983" y="4048996"/>
                  <a:pt x="5519303" y="4051020"/>
                  <a:pt x="5463432" y="4064776"/>
                </a:cubicBezTo>
                <a:cubicBezTo>
                  <a:pt x="5457900" y="4072970"/>
                  <a:pt x="5474773" y="4062551"/>
                  <a:pt x="5467304" y="4072666"/>
                </a:cubicBezTo>
                <a:cubicBezTo>
                  <a:pt x="5454304" y="4076611"/>
                  <a:pt x="5444900" y="4071250"/>
                  <a:pt x="5433561" y="4067710"/>
                </a:cubicBezTo>
                <a:cubicBezTo>
                  <a:pt x="5411156" y="4069126"/>
                  <a:pt x="5400093" y="4079949"/>
                  <a:pt x="5377689" y="4078533"/>
                </a:cubicBezTo>
                <a:cubicBezTo>
                  <a:pt x="5368285" y="4076105"/>
                  <a:pt x="5375476" y="4068924"/>
                  <a:pt x="5366072" y="4069328"/>
                </a:cubicBezTo>
                <a:cubicBezTo>
                  <a:pt x="5358882" y="4076510"/>
                  <a:pt x="5353349" y="4076105"/>
                  <a:pt x="5351689" y="4086524"/>
                </a:cubicBezTo>
                <a:cubicBezTo>
                  <a:pt x="5345881" y="4083287"/>
                  <a:pt x="5336754" y="4086524"/>
                  <a:pt x="5340349" y="4088648"/>
                </a:cubicBezTo>
                <a:cubicBezTo>
                  <a:pt x="5334817" y="4091177"/>
                  <a:pt x="5325414" y="4083085"/>
                  <a:pt x="5316009" y="4083388"/>
                </a:cubicBezTo>
                <a:cubicBezTo>
                  <a:pt x="5312137" y="4087030"/>
                  <a:pt x="5327073" y="4084096"/>
                  <a:pt x="5317945" y="4090267"/>
                </a:cubicBezTo>
                <a:cubicBezTo>
                  <a:pt x="5316009" y="4089154"/>
                  <a:pt x="5316009" y="4091885"/>
                  <a:pt x="5314350" y="4093706"/>
                </a:cubicBezTo>
                <a:cubicBezTo>
                  <a:pt x="5291393" y="4080859"/>
                  <a:pt x="5263734" y="4093504"/>
                  <a:pt x="5239394" y="4091076"/>
                </a:cubicBezTo>
                <a:cubicBezTo>
                  <a:pt x="5237458" y="4092897"/>
                  <a:pt x="5237458" y="4095729"/>
                  <a:pt x="5235798" y="4097550"/>
                </a:cubicBezTo>
                <a:cubicBezTo>
                  <a:pt x="5233586" y="4087839"/>
                  <a:pt x="5169970" y="4091683"/>
                  <a:pt x="5153374" y="4102101"/>
                </a:cubicBezTo>
                <a:cubicBezTo>
                  <a:pt x="5087546" y="4093301"/>
                  <a:pt x="5031675" y="4106957"/>
                  <a:pt x="4966123" y="4101090"/>
                </a:cubicBezTo>
                <a:cubicBezTo>
                  <a:pt x="4958656" y="4102506"/>
                  <a:pt x="4968059" y="4107968"/>
                  <a:pt x="4960592" y="4112318"/>
                </a:cubicBezTo>
                <a:cubicBezTo>
                  <a:pt x="4956719" y="4107260"/>
                  <a:pt x="4942060" y="4110093"/>
                  <a:pt x="4945380" y="4100787"/>
                </a:cubicBezTo>
                <a:cubicBezTo>
                  <a:pt x="4928783" y="4105541"/>
                  <a:pt x="4896699" y="4093099"/>
                  <a:pt x="4887572" y="4102101"/>
                </a:cubicBezTo>
                <a:cubicBezTo>
                  <a:pt x="4880105" y="4106350"/>
                  <a:pt x="4883423" y="4097044"/>
                  <a:pt x="4875955" y="4098460"/>
                </a:cubicBezTo>
                <a:cubicBezTo>
                  <a:pt x="4870423" y="4098157"/>
                  <a:pt x="4876231" y="4104226"/>
                  <a:pt x="4868764" y="4105642"/>
                </a:cubicBezTo>
                <a:cubicBezTo>
                  <a:pt x="4880105" y="4103518"/>
                  <a:pt x="4876231" y="4104226"/>
                  <a:pt x="4885635" y="4109587"/>
                </a:cubicBezTo>
                <a:cubicBezTo>
                  <a:pt x="4878444" y="4116769"/>
                  <a:pt x="4868764" y="4108575"/>
                  <a:pt x="4859360" y="4108980"/>
                </a:cubicBezTo>
                <a:cubicBezTo>
                  <a:pt x="4864891" y="4103619"/>
                  <a:pt x="4864891" y="4100685"/>
                  <a:pt x="4862955" y="4099674"/>
                </a:cubicBezTo>
                <a:cubicBezTo>
                  <a:pt x="4853552" y="4097145"/>
                  <a:pt x="4848019" y="4102506"/>
                  <a:pt x="4838615" y="4097246"/>
                </a:cubicBezTo>
                <a:cubicBezTo>
                  <a:pt x="4838615" y="4100078"/>
                  <a:pt x="4836956" y="4104731"/>
                  <a:pt x="4844423" y="4106148"/>
                </a:cubicBezTo>
                <a:cubicBezTo>
                  <a:pt x="4838892" y="4108676"/>
                  <a:pt x="4831147" y="4101495"/>
                  <a:pt x="4833083" y="4099775"/>
                </a:cubicBezTo>
                <a:cubicBezTo>
                  <a:pt x="4814552" y="4109081"/>
                  <a:pt x="4789382" y="4080859"/>
                  <a:pt x="4769191" y="4097651"/>
                </a:cubicBezTo>
                <a:cubicBezTo>
                  <a:pt x="4763383" y="4088749"/>
                  <a:pt x="4735447" y="4089963"/>
                  <a:pt x="4731575" y="4090671"/>
                </a:cubicBezTo>
                <a:cubicBezTo>
                  <a:pt x="4711108" y="4090368"/>
                  <a:pt x="4693960" y="4083692"/>
                  <a:pt x="4673491" y="4080455"/>
                </a:cubicBezTo>
                <a:cubicBezTo>
                  <a:pt x="4660215" y="4078735"/>
                  <a:pt x="4635875" y="4073374"/>
                  <a:pt x="4620939" y="4084906"/>
                </a:cubicBezTo>
                <a:cubicBezTo>
                  <a:pt x="4605727" y="4067710"/>
                  <a:pt x="4551516" y="4073981"/>
                  <a:pt x="4530494" y="4056482"/>
                </a:cubicBezTo>
                <a:cubicBezTo>
                  <a:pt x="4524963" y="4056178"/>
                  <a:pt x="4521091" y="4056886"/>
                  <a:pt x="4515558" y="4062247"/>
                </a:cubicBezTo>
                <a:cubicBezTo>
                  <a:pt x="4481537" y="4043028"/>
                  <a:pt x="4447794" y="4046670"/>
                  <a:pt x="4404369" y="4033621"/>
                </a:cubicBezTo>
                <a:cubicBezTo>
                  <a:pt x="4407964" y="4029980"/>
                  <a:pt x="4409901" y="4025428"/>
                  <a:pt x="4413497" y="4021786"/>
                </a:cubicBezTo>
                <a:cubicBezTo>
                  <a:pt x="4404092" y="4016527"/>
                  <a:pt x="4400497" y="4022899"/>
                  <a:pt x="4393029" y="4027148"/>
                </a:cubicBezTo>
                <a:cubicBezTo>
                  <a:pt x="4379752" y="4016830"/>
                  <a:pt x="4364817" y="4022596"/>
                  <a:pt x="4355137" y="4014402"/>
                </a:cubicBezTo>
                <a:cubicBezTo>
                  <a:pt x="4366476" y="4012278"/>
                  <a:pt x="4375880" y="4020472"/>
                  <a:pt x="4379476" y="4005400"/>
                </a:cubicBezTo>
                <a:cubicBezTo>
                  <a:pt x="4386944" y="4009648"/>
                  <a:pt x="4386944" y="4012480"/>
                  <a:pt x="4398285" y="4010356"/>
                </a:cubicBezTo>
                <a:cubicBezTo>
                  <a:pt x="4401603" y="3998218"/>
                  <a:pt x="4398007" y="3998926"/>
                  <a:pt x="4405200" y="3988912"/>
                </a:cubicBezTo>
                <a:cubicBezTo>
                  <a:pt x="4412667" y="3990328"/>
                  <a:pt x="4442538" y="3987395"/>
                  <a:pt x="4441155" y="4000646"/>
                </a:cubicBezTo>
                <a:cubicBezTo>
                  <a:pt x="4467155" y="3998420"/>
                  <a:pt x="4499517" y="4022292"/>
                  <a:pt x="4523856" y="4013290"/>
                </a:cubicBezTo>
                <a:cubicBezTo>
                  <a:pt x="4524132" y="4024720"/>
                  <a:pt x="4546260" y="4017538"/>
                  <a:pt x="4561472" y="4020370"/>
                </a:cubicBezTo>
                <a:cubicBezTo>
                  <a:pt x="4572812" y="4023911"/>
                  <a:pt x="4599642" y="4050311"/>
                  <a:pt x="4623428" y="4026945"/>
                </a:cubicBezTo>
                <a:cubicBezTo>
                  <a:pt x="4632832" y="4029474"/>
                  <a:pt x="4619832" y="4030486"/>
                  <a:pt x="4623428" y="4035543"/>
                </a:cubicBezTo>
                <a:cubicBezTo>
                  <a:pt x="4638641" y="4041208"/>
                  <a:pt x="4655789" y="4045052"/>
                  <a:pt x="4664917" y="4036150"/>
                </a:cubicBezTo>
                <a:cubicBezTo>
                  <a:pt x="4668789" y="4043939"/>
                  <a:pt x="4695342" y="4056077"/>
                  <a:pt x="4710001" y="4041714"/>
                </a:cubicBezTo>
                <a:lnTo>
                  <a:pt x="4765204" y="4054207"/>
                </a:lnTo>
                <a:lnTo>
                  <a:pt x="4767732" y="4051099"/>
                </a:lnTo>
                <a:lnTo>
                  <a:pt x="4767554" y="4054739"/>
                </a:lnTo>
                <a:lnTo>
                  <a:pt x="4778215" y="4057152"/>
                </a:lnTo>
                <a:lnTo>
                  <a:pt x="4798106" y="4056050"/>
                </a:lnTo>
                <a:lnTo>
                  <a:pt x="4817656" y="4044739"/>
                </a:lnTo>
                <a:cubicBezTo>
                  <a:pt x="4830794" y="4040099"/>
                  <a:pt x="4844347" y="4036533"/>
                  <a:pt x="4852645" y="4032386"/>
                </a:cubicBezTo>
                <a:cubicBezTo>
                  <a:pt x="4856517" y="4028036"/>
                  <a:pt x="4853198" y="4019944"/>
                  <a:pt x="4857347" y="4017820"/>
                </a:cubicBezTo>
                <a:cubicBezTo>
                  <a:pt x="4858730" y="4017112"/>
                  <a:pt x="4860942" y="4017112"/>
                  <a:pt x="4864538" y="4018123"/>
                </a:cubicBezTo>
                <a:cubicBezTo>
                  <a:pt x="4866198" y="4022372"/>
                  <a:pt x="4862880" y="4020753"/>
                  <a:pt x="4862880" y="4020753"/>
                </a:cubicBezTo>
                <a:cubicBezTo>
                  <a:pt x="4854581" y="4024901"/>
                  <a:pt x="4870347" y="4033195"/>
                  <a:pt x="4873667" y="4034814"/>
                </a:cubicBezTo>
                <a:cubicBezTo>
                  <a:pt x="4859974" y="4031982"/>
                  <a:pt x="4845522" y="4038051"/>
                  <a:pt x="4830657" y="4045384"/>
                </a:cubicBezTo>
                <a:lnTo>
                  <a:pt x="4810130" y="4055384"/>
                </a:lnTo>
                <a:lnTo>
                  <a:pt x="4821438" y="4054757"/>
                </a:lnTo>
                <a:cubicBezTo>
                  <a:pt x="4835504" y="4052651"/>
                  <a:pt x="4848780" y="4049173"/>
                  <a:pt x="4859913" y="4044141"/>
                </a:cubicBezTo>
                <a:cubicBezTo>
                  <a:pt x="4857976" y="4048794"/>
                  <a:pt x="4861849" y="4051020"/>
                  <a:pt x="4869318" y="4052436"/>
                </a:cubicBezTo>
                <a:cubicBezTo>
                  <a:pt x="4871254" y="4047783"/>
                  <a:pt x="4857976" y="4048794"/>
                  <a:pt x="4867104" y="4042725"/>
                </a:cubicBezTo>
                <a:cubicBezTo>
                  <a:pt x="4908592" y="4048996"/>
                  <a:pt x="4968336" y="4040297"/>
                  <a:pt x="5007888" y="4048491"/>
                </a:cubicBezTo>
                <a:cubicBezTo>
                  <a:pt x="5006229" y="4055976"/>
                  <a:pt x="5000420" y="4049907"/>
                  <a:pt x="4996825" y="4056279"/>
                </a:cubicBezTo>
                <a:cubicBezTo>
                  <a:pt x="5010101" y="4060932"/>
                  <a:pt x="5036377" y="4061641"/>
                  <a:pt x="5041633" y="4047682"/>
                </a:cubicBezTo>
                <a:cubicBezTo>
                  <a:pt x="5052696" y="4045456"/>
                  <a:pt x="5062100" y="4045052"/>
                  <a:pt x="5075376" y="4049705"/>
                </a:cubicBezTo>
                <a:cubicBezTo>
                  <a:pt x="5077312" y="4053649"/>
                  <a:pt x="5069844" y="4052233"/>
                  <a:pt x="5066250" y="4055875"/>
                </a:cubicBezTo>
                <a:cubicBezTo>
                  <a:pt x="5079525" y="4063259"/>
                  <a:pt x="5081184" y="4055774"/>
                  <a:pt x="5094185" y="4057493"/>
                </a:cubicBezTo>
                <a:cubicBezTo>
                  <a:pt x="5096121" y="4052840"/>
                  <a:pt x="5081184" y="4055673"/>
                  <a:pt x="5088376" y="4048491"/>
                </a:cubicBezTo>
                <a:cubicBezTo>
                  <a:pt x="5103588" y="4051323"/>
                  <a:pt x="5110780" y="4044242"/>
                  <a:pt x="5124056" y="4048794"/>
                </a:cubicBezTo>
                <a:cubicBezTo>
                  <a:pt x="5118524" y="4054256"/>
                  <a:pt x="5111056" y="4055673"/>
                  <a:pt x="5105248" y="4049603"/>
                </a:cubicBezTo>
                <a:cubicBezTo>
                  <a:pt x="5105248" y="4052436"/>
                  <a:pt x="5109120" y="4054560"/>
                  <a:pt x="5105524" y="4058201"/>
                </a:cubicBezTo>
                <a:cubicBezTo>
                  <a:pt x="5120460" y="4058100"/>
                  <a:pt x="5129864" y="4057696"/>
                  <a:pt x="5137056" y="4044849"/>
                </a:cubicBezTo>
                <a:cubicBezTo>
                  <a:pt x="5144524" y="4046265"/>
                  <a:pt x="5135397" y="4052335"/>
                  <a:pt x="5135397" y="4055268"/>
                </a:cubicBezTo>
                <a:cubicBezTo>
                  <a:pt x="5189885" y="4057594"/>
                  <a:pt x="5238011" y="4033824"/>
                  <a:pt x="5301627" y="4035847"/>
                </a:cubicBezTo>
                <a:cubicBezTo>
                  <a:pt x="5303563" y="4039690"/>
                  <a:pt x="5305499" y="4043635"/>
                  <a:pt x="5311307" y="4046872"/>
                </a:cubicBezTo>
                <a:cubicBezTo>
                  <a:pt x="5322371" y="4038982"/>
                  <a:pt x="5339244" y="4042826"/>
                  <a:pt x="5344498" y="4028867"/>
                </a:cubicBezTo>
                <a:cubicBezTo>
                  <a:pt x="5378242" y="4030991"/>
                  <a:pt x="5408114" y="4022292"/>
                  <a:pt x="5437987" y="4013694"/>
                </a:cubicBezTo>
                <a:cubicBezTo>
                  <a:pt x="5535345" y="4011975"/>
                  <a:pt x="5622471" y="3982135"/>
                  <a:pt x="5715958" y="3966861"/>
                </a:cubicBezTo>
                <a:cubicBezTo>
                  <a:pt x="5777085" y="3939145"/>
                  <a:pt x="5835169" y="3937830"/>
                  <a:pt x="5896295" y="3913048"/>
                </a:cubicBezTo>
                <a:cubicBezTo>
                  <a:pt x="5903763" y="3917296"/>
                  <a:pt x="5916764" y="3907585"/>
                  <a:pt x="5922571" y="3913655"/>
                </a:cubicBezTo>
                <a:cubicBezTo>
                  <a:pt x="5928104" y="3908293"/>
                  <a:pt x="5928104" y="3905360"/>
                  <a:pt x="5920358" y="3903944"/>
                </a:cubicBezTo>
                <a:cubicBezTo>
                  <a:pt x="5935294" y="3895346"/>
                  <a:pt x="5952166" y="3899190"/>
                  <a:pt x="5969038" y="3894537"/>
                </a:cubicBezTo>
                <a:cubicBezTo>
                  <a:pt x="5964890" y="3886647"/>
                  <a:pt x="5976231" y="3890288"/>
                  <a:pt x="5979825" y="3880982"/>
                </a:cubicBezTo>
                <a:cubicBezTo>
                  <a:pt x="5981761" y="3881994"/>
                  <a:pt x="5983698" y="3883107"/>
                  <a:pt x="5987293" y="3882398"/>
                </a:cubicBezTo>
                <a:cubicBezTo>
                  <a:pt x="6020484" y="3861561"/>
                  <a:pt x="6059760" y="3858223"/>
                  <a:pt x="6094887" y="3832733"/>
                </a:cubicBezTo>
                <a:cubicBezTo>
                  <a:pt x="6109823" y="3835565"/>
                  <a:pt x="6128078" y="3811895"/>
                  <a:pt x="6141354" y="3822213"/>
                </a:cubicBezTo>
                <a:cubicBezTo>
                  <a:pt x="6144950" y="3817256"/>
                  <a:pt x="6150205" y="3815132"/>
                  <a:pt x="6155183" y="3812704"/>
                </a:cubicBezTo>
                <a:lnTo>
                  <a:pt x="6155737" y="3812300"/>
                </a:lnTo>
                <a:lnTo>
                  <a:pt x="6142184" y="3810783"/>
                </a:lnTo>
                <a:cubicBezTo>
                  <a:pt x="6144950" y="3808658"/>
                  <a:pt x="6147715" y="3806534"/>
                  <a:pt x="6148269" y="3804107"/>
                </a:cubicBezTo>
                <a:lnTo>
                  <a:pt x="6156013" y="3812199"/>
                </a:lnTo>
                <a:lnTo>
                  <a:pt x="6169013" y="3801072"/>
                </a:lnTo>
                <a:cubicBezTo>
                  <a:pt x="6181183" y="3800162"/>
                  <a:pt x="6191417" y="3796722"/>
                  <a:pt x="6200544" y="3792171"/>
                </a:cubicBezTo>
                <a:lnTo>
                  <a:pt x="6214097" y="3783471"/>
                </a:lnTo>
                <a:lnTo>
                  <a:pt x="6210501" y="3781246"/>
                </a:lnTo>
                <a:lnTo>
                  <a:pt x="6220459" y="3779526"/>
                </a:lnTo>
                <a:lnTo>
                  <a:pt x="6225990" y="3775986"/>
                </a:lnTo>
                <a:lnTo>
                  <a:pt x="6227373" y="3775076"/>
                </a:lnTo>
                <a:lnTo>
                  <a:pt x="6230416" y="3767591"/>
                </a:lnTo>
                <a:cubicBezTo>
                  <a:pt x="6234841" y="3770322"/>
                  <a:pt x="6232629" y="3767793"/>
                  <a:pt x="6240373" y="3766377"/>
                </a:cubicBezTo>
                <a:lnTo>
                  <a:pt x="6240650" y="3766882"/>
                </a:lnTo>
                <a:lnTo>
                  <a:pt x="6250607" y="3760510"/>
                </a:lnTo>
                <a:cubicBezTo>
                  <a:pt x="6259458" y="3756261"/>
                  <a:pt x="6269138" y="3753631"/>
                  <a:pt x="6280202" y="3753530"/>
                </a:cubicBezTo>
                <a:cubicBezTo>
                  <a:pt x="6290436" y="3742302"/>
                  <a:pt x="6300946" y="3736941"/>
                  <a:pt x="6311457" y="3731985"/>
                </a:cubicBezTo>
                <a:lnTo>
                  <a:pt x="6316989" y="3729254"/>
                </a:lnTo>
                <a:lnTo>
                  <a:pt x="6229310" y="3762735"/>
                </a:lnTo>
                <a:cubicBezTo>
                  <a:pt x="6212438" y="3769209"/>
                  <a:pt x="6195566" y="3775379"/>
                  <a:pt x="6178140" y="3780538"/>
                </a:cubicBezTo>
                <a:lnTo>
                  <a:pt x="6146056" y="3787619"/>
                </a:lnTo>
                <a:lnTo>
                  <a:pt x="6145226" y="3788023"/>
                </a:lnTo>
                <a:cubicBezTo>
                  <a:pt x="6140524" y="3789338"/>
                  <a:pt x="6136099" y="3790957"/>
                  <a:pt x="6133333" y="3797936"/>
                </a:cubicBezTo>
                <a:cubicBezTo>
                  <a:pt x="6086589" y="3802690"/>
                  <a:pt x="6048143" y="3834655"/>
                  <a:pt x="6001399" y="3839409"/>
                </a:cubicBezTo>
                <a:cubicBezTo>
                  <a:pt x="5980932" y="3853469"/>
                  <a:pt x="5954657" y="3852761"/>
                  <a:pt x="5934466" y="3869653"/>
                </a:cubicBezTo>
                <a:cubicBezTo>
                  <a:pt x="5915656" y="3867529"/>
                  <a:pt x="5895465" y="3881589"/>
                  <a:pt x="5869466" y="3889479"/>
                </a:cubicBezTo>
                <a:cubicBezTo>
                  <a:pt x="5852871" y="3894132"/>
                  <a:pt x="5834062" y="3889277"/>
                  <a:pt x="5823000" y="3905664"/>
                </a:cubicBezTo>
                <a:cubicBezTo>
                  <a:pt x="5802531" y="3902528"/>
                  <a:pt x="5789532" y="3909305"/>
                  <a:pt x="5776532" y="3919016"/>
                </a:cubicBezTo>
                <a:cubicBezTo>
                  <a:pt x="5716788" y="3924882"/>
                  <a:pt x="5659258" y="3943292"/>
                  <a:pt x="5601174" y="3953104"/>
                </a:cubicBezTo>
                <a:cubicBezTo>
                  <a:pt x="5597579" y="3956745"/>
                  <a:pt x="5599515" y="3957757"/>
                  <a:pt x="5597855" y="3962410"/>
                </a:cubicBezTo>
                <a:cubicBezTo>
                  <a:pt x="5599238" y="3949260"/>
                  <a:pt x="5565770" y="3958566"/>
                  <a:pt x="5573516" y="3962815"/>
                </a:cubicBezTo>
                <a:cubicBezTo>
                  <a:pt x="5524835" y="3966557"/>
                  <a:pt x="5452092" y="3976470"/>
                  <a:pt x="5409220" y="3989114"/>
                </a:cubicBezTo>
                <a:cubicBezTo>
                  <a:pt x="5407284" y="3990834"/>
                  <a:pt x="5399816" y="3989418"/>
                  <a:pt x="5401752" y="3987597"/>
                </a:cubicBezTo>
                <a:cubicBezTo>
                  <a:pt x="5394284" y="3986181"/>
                  <a:pt x="5398157" y="3991238"/>
                  <a:pt x="5392625" y="3993767"/>
                </a:cubicBezTo>
                <a:cubicBezTo>
                  <a:pt x="5381285" y="3990227"/>
                  <a:pt x="5362476" y="3988103"/>
                  <a:pt x="5353349" y="3997004"/>
                </a:cubicBezTo>
                <a:cubicBezTo>
                  <a:pt x="5321265" y="3993160"/>
                  <a:pt x="5265393" y="4004085"/>
                  <a:pt x="5235245" y="4001354"/>
                </a:cubicBezTo>
                <a:cubicBezTo>
                  <a:pt x="5229714" y="4003883"/>
                  <a:pt x="5224182" y="4006411"/>
                  <a:pt x="5220309" y="4007119"/>
                </a:cubicBezTo>
                <a:cubicBezTo>
                  <a:pt x="5212841" y="4005703"/>
                  <a:pt x="5209246" y="4003579"/>
                  <a:pt x="5203437" y="4000342"/>
                </a:cubicBezTo>
                <a:cubicBezTo>
                  <a:pt x="5194033" y="4003579"/>
                  <a:pt x="5181034" y="4007625"/>
                  <a:pt x="5166098" y="4001859"/>
                </a:cubicBezTo>
                <a:cubicBezTo>
                  <a:pt x="5169693" y="3995487"/>
                  <a:pt x="5173290" y="3994779"/>
                  <a:pt x="5167481" y="3988710"/>
                </a:cubicBezTo>
                <a:cubicBezTo>
                  <a:pt x="5156417" y="3990834"/>
                  <a:pt x="5164161" y="3998016"/>
                  <a:pt x="5158630" y="4003377"/>
                </a:cubicBezTo>
                <a:cubicBezTo>
                  <a:pt x="5145630" y="4007322"/>
                  <a:pt x="5145353" y="3995891"/>
                  <a:pt x="5139545" y="3992655"/>
                </a:cubicBezTo>
                <a:cubicBezTo>
                  <a:pt x="5134290" y="4009446"/>
                  <a:pt x="5113823" y="4014908"/>
                  <a:pt x="5100269" y="3998926"/>
                </a:cubicBezTo>
                <a:cubicBezTo>
                  <a:pt x="5090865" y="3996397"/>
                  <a:pt x="5085610" y="4007423"/>
                  <a:pt x="5077865" y="4003174"/>
                </a:cubicBezTo>
                <a:cubicBezTo>
                  <a:pt x="5076206" y="4004995"/>
                  <a:pt x="5072610" y="4008637"/>
                  <a:pt x="5076206" y="4010761"/>
                </a:cubicBezTo>
                <a:cubicBezTo>
                  <a:pt x="5068738" y="4012177"/>
                  <a:pt x="5063207" y="4006108"/>
                  <a:pt x="5057674" y="4014301"/>
                </a:cubicBezTo>
                <a:cubicBezTo>
                  <a:pt x="5051866" y="4011165"/>
                  <a:pt x="5033058" y="4003377"/>
                  <a:pt x="5025867" y="4013391"/>
                </a:cubicBezTo>
                <a:cubicBezTo>
                  <a:pt x="5021995" y="4011267"/>
                  <a:pt x="5027526" y="4005804"/>
                  <a:pt x="5023654" y="4003680"/>
                </a:cubicBezTo>
                <a:cubicBezTo>
                  <a:pt x="5014526" y="4009749"/>
                  <a:pt x="5005122" y="4004489"/>
                  <a:pt x="4997654" y="4014504"/>
                </a:cubicBezTo>
                <a:cubicBezTo>
                  <a:pt x="4992124" y="4011368"/>
                  <a:pt x="4980506" y="4004894"/>
                  <a:pt x="4980782" y="4010660"/>
                </a:cubicBezTo>
                <a:lnTo>
                  <a:pt x="4937489" y="4011736"/>
                </a:lnTo>
                <a:lnTo>
                  <a:pt x="4915154" y="4021057"/>
                </a:lnTo>
                <a:lnTo>
                  <a:pt x="4917870" y="4011788"/>
                </a:lnTo>
                <a:lnTo>
                  <a:pt x="4901708" y="4011485"/>
                </a:lnTo>
                <a:cubicBezTo>
                  <a:pt x="4893260" y="4010704"/>
                  <a:pt x="4885151" y="4009142"/>
                  <a:pt x="4877615" y="4006310"/>
                </a:cubicBezTo>
                <a:cubicBezTo>
                  <a:pt x="4872082" y="4005906"/>
                  <a:pt x="4866551" y="4005602"/>
                  <a:pt x="4861019" y="4010963"/>
                </a:cubicBezTo>
                <a:cubicBezTo>
                  <a:pt x="4838062" y="3995285"/>
                  <a:pt x="4784127" y="4012885"/>
                  <a:pt x="4755638" y="3994071"/>
                </a:cubicBezTo>
                <a:cubicBezTo>
                  <a:pt x="4750106" y="3993666"/>
                  <a:pt x="4746234" y="4000140"/>
                  <a:pt x="4740702" y="3999735"/>
                </a:cubicBezTo>
                <a:cubicBezTo>
                  <a:pt x="4729362" y="3996195"/>
                  <a:pt x="4734894" y="3988002"/>
                  <a:pt x="4731022" y="3983045"/>
                </a:cubicBezTo>
                <a:cubicBezTo>
                  <a:pt x="4718023" y="3984158"/>
                  <a:pt x="4693960" y="4001758"/>
                  <a:pt x="4687874" y="3981427"/>
                </a:cubicBezTo>
                <a:cubicBezTo>
                  <a:pt x="4676533" y="3980719"/>
                  <a:pt x="4667407" y="3989620"/>
                  <a:pt x="4658002" y="3990025"/>
                </a:cubicBezTo>
                <a:cubicBezTo>
                  <a:pt x="4656066" y="3986080"/>
                  <a:pt x="4656066" y="3983247"/>
                  <a:pt x="4652193" y="3981123"/>
                </a:cubicBezTo>
                <a:cubicBezTo>
                  <a:pt x="4643066" y="3987192"/>
                  <a:pt x="4614855" y="3982641"/>
                  <a:pt x="4612641" y="3970098"/>
                </a:cubicBezTo>
                <a:cubicBezTo>
                  <a:pt x="4599642" y="3976976"/>
                  <a:pt x="4584705" y="3974043"/>
                  <a:pt x="4569771" y="3974144"/>
                </a:cubicBezTo>
                <a:cubicBezTo>
                  <a:pt x="4537132" y="3947338"/>
                  <a:pt x="4460517" y="3952295"/>
                  <a:pt x="4418752" y="3925894"/>
                </a:cubicBezTo>
                <a:cubicBezTo>
                  <a:pt x="4414879" y="3920938"/>
                  <a:pt x="4401880" y="3930547"/>
                  <a:pt x="4403816" y="3925894"/>
                </a:cubicBezTo>
                <a:cubicBezTo>
                  <a:pt x="4429815" y="3918004"/>
                  <a:pt x="4465219" y="3918206"/>
                  <a:pt x="4489835" y="3926400"/>
                </a:cubicBezTo>
                <a:cubicBezTo>
                  <a:pt x="4499239" y="3925995"/>
                  <a:pt x="4504494" y="3914970"/>
                  <a:pt x="4502558" y="3911025"/>
                </a:cubicBezTo>
                <a:cubicBezTo>
                  <a:pt x="4470475" y="3904349"/>
                  <a:pt x="4443922" y="3880780"/>
                  <a:pt x="4421794" y="3893728"/>
                </a:cubicBezTo>
                <a:cubicBezTo>
                  <a:pt x="4415987" y="3887658"/>
                  <a:pt x="4402710" y="3883005"/>
                  <a:pt x="4402433" y="3874407"/>
                </a:cubicBezTo>
                <a:cubicBezTo>
                  <a:pt x="4434517" y="3884017"/>
                  <a:pt x="4459134" y="3886546"/>
                  <a:pt x="4492878" y="3897167"/>
                </a:cubicBezTo>
                <a:cubicBezTo>
                  <a:pt x="4498410" y="3891806"/>
                  <a:pt x="4505877" y="3893121"/>
                  <a:pt x="4511409" y="3884927"/>
                </a:cubicBezTo>
                <a:cubicBezTo>
                  <a:pt x="4515005" y="3878454"/>
                  <a:pt x="4502005" y="3885332"/>
                  <a:pt x="4502005" y="3879566"/>
                </a:cubicBezTo>
                <a:cubicBezTo>
                  <a:pt x="4505601" y="3876026"/>
                  <a:pt x="4507261" y="3874205"/>
                  <a:pt x="4511133" y="3876329"/>
                </a:cubicBezTo>
                <a:cubicBezTo>
                  <a:pt x="4511133" y="3873497"/>
                  <a:pt x="4507261" y="3871272"/>
                  <a:pt x="4510856" y="3867731"/>
                </a:cubicBezTo>
                <a:cubicBezTo>
                  <a:pt x="4501453" y="3865203"/>
                  <a:pt x="4492324" y="3874205"/>
                  <a:pt x="4479048" y="3866720"/>
                </a:cubicBezTo>
                <a:cubicBezTo>
                  <a:pt x="4493984" y="3863888"/>
                  <a:pt x="4482367" y="3851749"/>
                  <a:pt x="4497580" y="3851648"/>
                </a:cubicBezTo>
                <a:cubicBezTo>
                  <a:pt x="4493707" y="3846692"/>
                  <a:pt x="4482367" y="3843151"/>
                  <a:pt x="4493154" y="3832328"/>
                </a:cubicBezTo>
                <a:cubicBezTo>
                  <a:pt x="4498963" y="3835565"/>
                  <a:pt x="4493707" y="3849524"/>
                  <a:pt x="4504771" y="3838802"/>
                </a:cubicBezTo>
                <a:cubicBezTo>
                  <a:pt x="4508368" y="3843758"/>
                  <a:pt x="4495367" y="3847703"/>
                  <a:pt x="4503111" y="3851952"/>
                </a:cubicBezTo>
                <a:cubicBezTo>
                  <a:pt x="4505048" y="3853064"/>
                  <a:pt x="4508643" y="3849524"/>
                  <a:pt x="4508643" y="3846591"/>
                </a:cubicBezTo>
                <a:cubicBezTo>
                  <a:pt x="4519984" y="3847299"/>
                  <a:pt x="4510579" y="3856301"/>
                  <a:pt x="4518324" y="3857717"/>
                </a:cubicBezTo>
                <a:cubicBezTo>
                  <a:pt x="4527728" y="3857313"/>
                  <a:pt x="4516112" y="3850940"/>
                  <a:pt x="4521643" y="3845579"/>
                </a:cubicBezTo>
                <a:cubicBezTo>
                  <a:pt x="4532983" y="3849119"/>
                  <a:pt x="4542387" y="3845781"/>
                  <a:pt x="4549580" y="3835767"/>
                </a:cubicBezTo>
                <a:cubicBezTo>
                  <a:pt x="4555388" y="3850434"/>
                  <a:pt x="4570323" y="3841836"/>
                  <a:pt x="4561195" y="3853671"/>
                </a:cubicBezTo>
                <a:cubicBezTo>
                  <a:pt x="4580280" y="3864292"/>
                  <a:pt x="4621216" y="3850637"/>
                  <a:pt x="4615960" y="3867428"/>
                </a:cubicBezTo>
                <a:cubicBezTo>
                  <a:pt x="4629236" y="3872081"/>
                  <a:pt x="4623152" y="3857414"/>
                  <a:pt x="4634492" y="3863888"/>
                </a:cubicBezTo>
                <a:cubicBezTo>
                  <a:pt x="4634768" y="3872384"/>
                  <a:pt x="4627024" y="3865304"/>
                  <a:pt x="4623428" y="3868844"/>
                </a:cubicBezTo>
                <a:cubicBezTo>
                  <a:pt x="4621770" y="3882095"/>
                  <a:pt x="4645833" y="3870260"/>
                  <a:pt x="4648045" y="3877037"/>
                </a:cubicBezTo>
                <a:cubicBezTo>
                  <a:pt x="4653577" y="3871676"/>
                  <a:pt x="4651641" y="3870665"/>
                  <a:pt x="4656895" y="3862370"/>
                </a:cubicBezTo>
                <a:cubicBezTo>
                  <a:pt x="4660768" y="3864495"/>
                  <a:pt x="4662704" y="3865506"/>
                  <a:pt x="4666300" y="3864798"/>
                </a:cubicBezTo>
                <a:cubicBezTo>
                  <a:pt x="4664640" y="3872283"/>
                  <a:pt x="4659108" y="3869046"/>
                  <a:pt x="4655236" y="3872688"/>
                </a:cubicBezTo>
                <a:cubicBezTo>
                  <a:pt x="4659108" y="3871980"/>
                  <a:pt x="4661044" y="3873092"/>
                  <a:pt x="4662704" y="3874104"/>
                </a:cubicBezTo>
                <a:cubicBezTo>
                  <a:pt x="4666576" y="3873396"/>
                  <a:pt x="4662704" y="3871272"/>
                  <a:pt x="4666300" y="3867731"/>
                </a:cubicBezTo>
                <a:cubicBezTo>
                  <a:pt x="4687320" y="3879465"/>
                  <a:pt x="4710001" y="3883713"/>
                  <a:pt x="4732128" y="3876430"/>
                </a:cubicBezTo>
                <a:cubicBezTo>
                  <a:pt x="4737936" y="3882500"/>
                  <a:pt x="4745404" y="3880982"/>
                  <a:pt x="4752873" y="3879566"/>
                </a:cubicBezTo>
                <a:cubicBezTo>
                  <a:pt x="4754809" y="3877745"/>
                  <a:pt x="4758404" y="3874205"/>
                  <a:pt x="4756468" y="3873194"/>
                </a:cubicBezTo>
                <a:cubicBezTo>
                  <a:pt x="4764212" y="3883208"/>
                  <a:pt x="4792425" y="3887760"/>
                  <a:pt x="4809020" y="3880173"/>
                </a:cubicBezTo>
                <a:cubicBezTo>
                  <a:pt x="4803765" y="3885534"/>
                  <a:pt x="4811233" y="3884017"/>
                  <a:pt x="4809297" y="3888670"/>
                </a:cubicBezTo>
                <a:lnTo>
                  <a:pt x="4823242" y="3889523"/>
                </a:lnTo>
                <a:lnTo>
                  <a:pt x="4824156" y="3888446"/>
                </a:lnTo>
                <a:cubicBezTo>
                  <a:pt x="4841858" y="3882175"/>
                  <a:pt x="4845730" y="3878938"/>
                  <a:pt x="4861772" y="3875397"/>
                </a:cubicBezTo>
                <a:cubicBezTo>
                  <a:pt x="4862602" y="3873981"/>
                  <a:pt x="4863708" y="3873880"/>
                  <a:pt x="4864816" y="3874184"/>
                </a:cubicBezTo>
                <a:cubicBezTo>
                  <a:pt x="4865921" y="3874588"/>
                  <a:pt x="4866752" y="3875397"/>
                  <a:pt x="4867304" y="3876510"/>
                </a:cubicBezTo>
                <a:cubicBezTo>
                  <a:pt x="4860666" y="3885108"/>
                  <a:pt x="4839922" y="3889761"/>
                  <a:pt x="4829688" y="3889660"/>
                </a:cubicBezTo>
                <a:lnTo>
                  <a:pt x="4829178" y="3889886"/>
                </a:lnTo>
                <a:lnTo>
                  <a:pt x="4893656" y="3893829"/>
                </a:lnTo>
                <a:cubicBezTo>
                  <a:pt x="4897253" y="3890288"/>
                  <a:pt x="4889784" y="3886040"/>
                  <a:pt x="4899189" y="3888468"/>
                </a:cubicBezTo>
                <a:cubicBezTo>
                  <a:pt x="4901125" y="3886748"/>
                  <a:pt x="4899189" y="3885635"/>
                  <a:pt x="4900848" y="3883815"/>
                </a:cubicBezTo>
                <a:cubicBezTo>
                  <a:pt x="4891444" y="3878555"/>
                  <a:pt x="4891720" y="3887153"/>
                  <a:pt x="4886189" y="3886748"/>
                </a:cubicBezTo>
                <a:lnTo>
                  <a:pt x="4881350" y="3881776"/>
                </a:lnTo>
                <a:lnTo>
                  <a:pt x="4879232" y="3881615"/>
                </a:lnTo>
                <a:cubicBezTo>
                  <a:pt x="4871921" y="3877528"/>
                  <a:pt x="4879543" y="3865788"/>
                  <a:pt x="4891367" y="3861843"/>
                </a:cubicBezTo>
                <a:cubicBezTo>
                  <a:pt x="4894133" y="3860933"/>
                  <a:pt x="4896899" y="3860528"/>
                  <a:pt x="4899942" y="3860629"/>
                </a:cubicBezTo>
                <a:cubicBezTo>
                  <a:pt x="4902709" y="3860629"/>
                  <a:pt x="4906027" y="3861236"/>
                  <a:pt x="4909069" y="3862652"/>
                </a:cubicBezTo>
                <a:cubicBezTo>
                  <a:pt x="4904645" y="3870542"/>
                  <a:pt x="4893027" y="3866192"/>
                  <a:pt x="4883070" y="3872970"/>
                </a:cubicBezTo>
                <a:cubicBezTo>
                  <a:pt x="4884454" y="3876106"/>
                  <a:pt x="4886044" y="3876915"/>
                  <a:pt x="4887599" y="3877737"/>
                </a:cubicBezTo>
                <a:lnTo>
                  <a:pt x="4889183" y="3879512"/>
                </a:lnTo>
                <a:lnTo>
                  <a:pt x="4911358" y="3876317"/>
                </a:lnTo>
                <a:cubicBezTo>
                  <a:pt x="4921868" y="3875874"/>
                  <a:pt x="4932655" y="3876279"/>
                  <a:pt x="4943996" y="3876936"/>
                </a:cubicBezTo>
                <a:cubicBezTo>
                  <a:pt x="4949252" y="3868743"/>
                  <a:pt x="4936251" y="3875621"/>
                  <a:pt x="4943719" y="3868439"/>
                </a:cubicBezTo>
                <a:lnTo>
                  <a:pt x="4966183" y="3869700"/>
                </a:lnTo>
                <a:lnTo>
                  <a:pt x="4971856" y="3869429"/>
                </a:lnTo>
                <a:lnTo>
                  <a:pt x="4974046" y="3870142"/>
                </a:lnTo>
                <a:lnTo>
                  <a:pt x="4977292" y="3870324"/>
                </a:lnTo>
                <a:lnTo>
                  <a:pt x="5000434" y="3864887"/>
                </a:lnTo>
                <a:lnTo>
                  <a:pt x="5002557" y="3861539"/>
                </a:lnTo>
                <a:lnTo>
                  <a:pt x="5001146" y="3864720"/>
                </a:lnTo>
                <a:lnTo>
                  <a:pt x="5008995" y="3862876"/>
                </a:lnTo>
                <a:lnTo>
                  <a:pt x="5008078" y="3859135"/>
                </a:lnTo>
                <a:lnTo>
                  <a:pt x="5006982" y="3859516"/>
                </a:lnTo>
                <a:lnTo>
                  <a:pt x="5002834" y="3861135"/>
                </a:lnTo>
                <a:lnTo>
                  <a:pt x="5007193" y="3854546"/>
                </a:lnTo>
                <a:lnTo>
                  <a:pt x="5006783" y="3847400"/>
                </a:lnTo>
                <a:cubicBezTo>
                  <a:pt x="4987974" y="3845276"/>
                  <a:pt x="4971102" y="3841533"/>
                  <a:pt x="4958103" y="3845478"/>
                </a:cubicBezTo>
                <a:lnTo>
                  <a:pt x="4953724" y="3840155"/>
                </a:lnTo>
                <a:lnTo>
                  <a:pt x="4948061" y="3839522"/>
                </a:lnTo>
                <a:lnTo>
                  <a:pt x="4945033" y="3839560"/>
                </a:lnTo>
                <a:lnTo>
                  <a:pt x="4934788" y="3842104"/>
                </a:lnTo>
                <a:lnTo>
                  <a:pt x="4939771" y="3846569"/>
                </a:lnTo>
                <a:cubicBezTo>
                  <a:pt x="4937558" y="3847075"/>
                  <a:pt x="4936175" y="3849806"/>
                  <a:pt x="4936175" y="3849806"/>
                </a:cubicBezTo>
                <a:cubicBezTo>
                  <a:pt x="4931611" y="3849907"/>
                  <a:pt x="4929883" y="3847656"/>
                  <a:pt x="4929918" y="3845482"/>
                </a:cubicBezTo>
                <a:lnTo>
                  <a:pt x="4933268" y="3842481"/>
                </a:lnTo>
                <a:lnTo>
                  <a:pt x="4922422" y="3845174"/>
                </a:lnTo>
                <a:lnTo>
                  <a:pt x="4905803" y="3842586"/>
                </a:lnTo>
                <a:lnTo>
                  <a:pt x="4883623" y="3849502"/>
                </a:lnTo>
                <a:cubicBezTo>
                  <a:pt x="4882793" y="3847378"/>
                  <a:pt x="4886665" y="3844141"/>
                  <a:pt x="4883346" y="3842523"/>
                </a:cubicBezTo>
                <a:lnTo>
                  <a:pt x="4888249" y="3840020"/>
                </a:lnTo>
                <a:lnTo>
                  <a:pt x="4862403" y="3836779"/>
                </a:lnTo>
                <a:lnTo>
                  <a:pt x="4861110" y="3836641"/>
                </a:lnTo>
                <a:lnTo>
                  <a:pt x="4864607" y="3840930"/>
                </a:lnTo>
                <a:cubicBezTo>
                  <a:pt x="4866612" y="3843509"/>
                  <a:pt x="4868548" y="3844799"/>
                  <a:pt x="4870070" y="3840399"/>
                </a:cubicBezTo>
                <a:cubicBezTo>
                  <a:pt x="4872006" y="3840500"/>
                  <a:pt x="4872006" y="3841107"/>
                  <a:pt x="4871731" y="3841815"/>
                </a:cubicBezTo>
                <a:cubicBezTo>
                  <a:pt x="4870347" y="3844040"/>
                  <a:pt x="4861772" y="3847985"/>
                  <a:pt x="4866474" y="3850514"/>
                </a:cubicBezTo>
                <a:cubicBezTo>
                  <a:pt x="4855965" y="3855167"/>
                  <a:pt x="4844347" y="3857696"/>
                  <a:pt x="4831348" y="3862956"/>
                </a:cubicBezTo>
                <a:cubicBezTo>
                  <a:pt x="4824433" y="3857493"/>
                  <a:pt x="4826645" y="3856988"/>
                  <a:pt x="4827198" y="3852132"/>
                </a:cubicBezTo>
                <a:cubicBezTo>
                  <a:pt x="4834389" y="3857544"/>
                  <a:pt x="4842411" y="3855799"/>
                  <a:pt x="4848392" y="3851286"/>
                </a:cubicBezTo>
                <a:lnTo>
                  <a:pt x="4856175" y="3836112"/>
                </a:lnTo>
                <a:lnTo>
                  <a:pt x="4830665" y="3833378"/>
                </a:lnTo>
                <a:cubicBezTo>
                  <a:pt x="4819600" y="3831038"/>
                  <a:pt x="4808744" y="3827776"/>
                  <a:pt x="4800169" y="3824438"/>
                </a:cubicBezTo>
                <a:cubicBezTo>
                  <a:pt x="4796573" y="3822213"/>
                  <a:pt x="4792978" y="3828687"/>
                  <a:pt x="4785234" y="3827270"/>
                </a:cubicBezTo>
                <a:cubicBezTo>
                  <a:pt x="4787170" y="3822617"/>
                  <a:pt x="4781638" y="3822314"/>
                  <a:pt x="4779701" y="3821302"/>
                </a:cubicBezTo>
                <a:cubicBezTo>
                  <a:pt x="4761170" y="3830608"/>
                  <a:pt x="4745681" y="3816346"/>
                  <a:pt x="4727149" y="3825652"/>
                </a:cubicBezTo>
                <a:cubicBezTo>
                  <a:pt x="4672386" y="3806130"/>
                  <a:pt x="4623981" y="3812704"/>
                  <a:pt x="4580280" y="3788124"/>
                </a:cubicBezTo>
                <a:cubicBezTo>
                  <a:pt x="4572812" y="3786708"/>
                  <a:pt x="4565344" y="3791058"/>
                  <a:pt x="4557877" y="3789642"/>
                </a:cubicBezTo>
                <a:cubicBezTo>
                  <a:pt x="4570600" y="3779931"/>
                  <a:pt x="4553727" y="3778920"/>
                  <a:pt x="4548196" y="3775683"/>
                </a:cubicBezTo>
                <a:cubicBezTo>
                  <a:pt x="4572259" y="3766680"/>
                  <a:pt x="4608216" y="3781246"/>
                  <a:pt x="4640023" y="3785090"/>
                </a:cubicBezTo>
                <a:cubicBezTo>
                  <a:pt x="4643619" y="3781550"/>
                  <a:pt x="4638087" y="3781246"/>
                  <a:pt x="4636151" y="3780235"/>
                </a:cubicBezTo>
                <a:cubicBezTo>
                  <a:pt x="4664363" y="3776188"/>
                  <a:pt x="4685661" y="3807950"/>
                  <a:pt x="4700321" y="3799352"/>
                </a:cubicBezTo>
                <a:cubicBezTo>
                  <a:pt x="4713873" y="3815334"/>
                  <a:pt x="4769744" y="3801679"/>
                  <a:pt x="4775829" y="3819178"/>
                </a:cubicBezTo>
                <a:cubicBezTo>
                  <a:pt x="4792701" y="3820190"/>
                  <a:pt x="4794361" y="3818369"/>
                  <a:pt x="4809573" y="3821201"/>
                </a:cubicBezTo>
                <a:cubicBezTo>
                  <a:pt x="4813445" y="3823325"/>
                  <a:pt x="4809297" y="3815436"/>
                  <a:pt x="4807361" y="3814424"/>
                </a:cubicBezTo>
                <a:lnTo>
                  <a:pt x="4846132" y="3815924"/>
                </a:lnTo>
                <a:lnTo>
                  <a:pt x="4850709" y="3809952"/>
                </a:lnTo>
                <a:cubicBezTo>
                  <a:pt x="4851539" y="3811975"/>
                  <a:pt x="4849050" y="3812582"/>
                  <a:pt x="4847666" y="3815111"/>
                </a:cubicBezTo>
                <a:lnTo>
                  <a:pt x="4848978" y="3816034"/>
                </a:lnTo>
                <a:lnTo>
                  <a:pt x="4898843" y="3817963"/>
                </a:lnTo>
                <a:lnTo>
                  <a:pt x="4899389" y="3808637"/>
                </a:lnTo>
                <a:lnTo>
                  <a:pt x="4912219" y="3818480"/>
                </a:lnTo>
                <a:lnTo>
                  <a:pt x="4975337" y="3820922"/>
                </a:lnTo>
                <a:lnTo>
                  <a:pt x="4979226" y="3818873"/>
                </a:lnTo>
                <a:lnTo>
                  <a:pt x="4976253" y="3809771"/>
                </a:lnTo>
                <a:cubicBezTo>
                  <a:pt x="4971310" y="3807672"/>
                  <a:pt x="4964740" y="3806787"/>
                  <a:pt x="4962804" y="3805725"/>
                </a:cubicBezTo>
                <a:lnTo>
                  <a:pt x="4943959" y="3807441"/>
                </a:lnTo>
                <a:lnTo>
                  <a:pt x="4943921" y="3807524"/>
                </a:lnTo>
                <a:lnTo>
                  <a:pt x="4943671" y="3807467"/>
                </a:lnTo>
                <a:lnTo>
                  <a:pt x="4938498" y="3807938"/>
                </a:lnTo>
                <a:lnTo>
                  <a:pt x="4925743" y="3808461"/>
                </a:lnTo>
                <a:lnTo>
                  <a:pt x="4931750" y="3815111"/>
                </a:lnTo>
                <a:cubicBezTo>
                  <a:pt x="4925388" y="3811975"/>
                  <a:pt x="4919304" y="3815515"/>
                  <a:pt x="4916814" y="3809244"/>
                </a:cubicBezTo>
                <a:lnTo>
                  <a:pt x="4917224" y="3808810"/>
                </a:lnTo>
                <a:lnTo>
                  <a:pt x="4908592" y="3809164"/>
                </a:lnTo>
                <a:lnTo>
                  <a:pt x="4881833" y="3807131"/>
                </a:lnTo>
                <a:lnTo>
                  <a:pt x="4863155" y="3811671"/>
                </a:lnTo>
                <a:lnTo>
                  <a:pt x="4870649" y="3806281"/>
                </a:lnTo>
                <a:lnTo>
                  <a:pt x="4844701" y="3804309"/>
                </a:lnTo>
                <a:cubicBezTo>
                  <a:pt x="4829764" y="3804309"/>
                  <a:pt x="4816488" y="3796824"/>
                  <a:pt x="4801552" y="3796925"/>
                </a:cubicBezTo>
                <a:cubicBezTo>
                  <a:pt x="4769468" y="3793081"/>
                  <a:pt x="4737661" y="3794902"/>
                  <a:pt x="4709448" y="3790249"/>
                </a:cubicBezTo>
                <a:lnTo>
                  <a:pt x="4659106" y="3777694"/>
                </a:lnTo>
                <a:lnTo>
                  <a:pt x="4647138" y="3779606"/>
                </a:lnTo>
                <a:lnTo>
                  <a:pt x="4653768" y="3776363"/>
                </a:lnTo>
                <a:lnTo>
                  <a:pt x="4619003" y="3767692"/>
                </a:lnTo>
                <a:lnTo>
                  <a:pt x="4661603" y="3772530"/>
                </a:lnTo>
                <a:lnTo>
                  <a:pt x="4662592" y="3772045"/>
                </a:lnTo>
                <a:cubicBezTo>
                  <a:pt x="4669403" y="3770528"/>
                  <a:pt x="4676456" y="3769542"/>
                  <a:pt x="4679499" y="3767670"/>
                </a:cubicBezTo>
                <a:lnTo>
                  <a:pt x="4671109" y="3773609"/>
                </a:lnTo>
                <a:lnTo>
                  <a:pt x="4686046" y="3775305"/>
                </a:lnTo>
                <a:cubicBezTo>
                  <a:pt x="4752544" y="3785533"/>
                  <a:pt x="4817526" y="3800895"/>
                  <a:pt x="4882041" y="3797026"/>
                </a:cubicBezTo>
                <a:lnTo>
                  <a:pt x="4883332" y="3797159"/>
                </a:lnTo>
                <a:lnTo>
                  <a:pt x="4884971" y="3795980"/>
                </a:lnTo>
                <a:cubicBezTo>
                  <a:pt x="4894687" y="3792124"/>
                  <a:pt x="4905612" y="3789721"/>
                  <a:pt x="4914048" y="3789013"/>
                </a:cubicBezTo>
                <a:lnTo>
                  <a:pt x="4909501" y="3799857"/>
                </a:lnTo>
                <a:lnTo>
                  <a:pt x="4915887" y="3800516"/>
                </a:lnTo>
                <a:lnTo>
                  <a:pt x="4932983" y="3802289"/>
                </a:lnTo>
                <a:lnTo>
                  <a:pt x="4931473" y="3801050"/>
                </a:lnTo>
                <a:cubicBezTo>
                  <a:pt x="4932026" y="3796296"/>
                  <a:pt x="4952770" y="3798623"/>
                  <a:pt x="4952494" y="3791845"/>
                </a:cubicBezTo>
                <a:cubicBezTo>
                  <a:pt x="4956366" y="3792149"/>
                  <a:pt x="4958855" y="3792655"/>
                  <a:pt x="4960792" y="3794071"/>
                </a:cubicBezTo>
                <a:cubicBezTo>
                  <a:pt x="4962451" y="3795386"/>
                  <a:pt x="4963281" y="3797510"/>
                  <a:pt x="4963557" y="3800949"/>
                </a:cubicBezTo>
                <a:lnTo>
                  <a:pt x="4963146" y="3801127"/>
                </a:lnTo>
                <a:lnTo>
                  <a:pt x="4988600" y="3803904"/>
                </a:lnTo>
                <a:lnTo>
                  <a:pt x="5008375" y="3803823"/>
                </a:lnTo>
                <a:lnTo>
                  <a:pt x="5019429" y="3798117"/>
                </a:lnTo>
                <a:lnTo>
                  <a:pt x="5017235" y="3779968"/>
                </a:lnTo>
                <a:lnTo>
                  <a:pt x="5011708" y="3780180"/>
                </a:lnTo>
                <a:lnTo>
                  <a:pt x="5005876" y="3782337"/>
                </a:lnTo>
                <a:lnTo>
                  <a:pt x="5006381" y="3780384"/>
                </a:lnTo>
                <a:lnTo>
                  <a:pt x="4991518" y="3780954"/>
                </a:lnTo>
                <a:lnTo>
                  <a:pt x="4989798" y="3780441"/>
                </a:lnTo>
                <a:lnTo>
                  <a:pt x="4978493" y="3788406"/>
                </a:lnTo>
                <a:cubicBezTo>
                  <a:pt x="4981259" y="3783096"/>
                  <a:pt x="4977664" y="3780365"/>
                  <a:pt x="4974483" y="3777836"/>
                </a:cubicBezTo>
                <a:lnTo>
                  <a:pt x="4974147" y="3775769"/>
                </a:lnTo>
                <a:lnTo>
                  <a:pt x="4955682" y="3770259"/>
                </a:lnTo>
                <a:cubicBezTo>
                  <a:pt x="4932310" y="3761699"/>
                  <a:pt x="4909145" y="3752924"/>
                  <a:pt x="4881210" y="3759802"/>
                </a:cubicBezTo>
                <a:cubicBezTo>
                  <a:pt x="4875402" y="3756565"/>
                  <a:pt x="4877338" y="3751912"/>
                  <a:pt x="4875402" y="3748068"/>
                </a:cubicBezTo>
                <a:cubicBezTo>
                  <a:pt x="4865997" y="3751305"/>
                  <a:pt x="4860467" y="3750900"/>
                  <a:pt x="4854657" y="3744831"/>
                </a:cubicBezTo>
                <a:cubicBezTo>
                  <a:pt x="4847189" y="3752013"/>
                  <a:pt x="4833914" y="3747461"/>
                  <a:pt x="4824786" y="3753530"/>
                </a:cubicBezTo>
                <a:cubicBezTo>
                  <a:pt x="4815244" y="3745337"/>
                  <a:pt x="4805770" y="3740001"/>
                  <a:pt x="4795606" y="3735690"/>
                </a:cubicBezTo>
                <a:lnTo>
                  <a:pt x="4785977" y="3732311"/>
                </a:lnTo>
                <a:lnTo>
                  <a:pt x="4784880" y="3732772"/>
                </a:lnTo>
                <a:cubicBezTo>
                  <a:pt x="4787923" y="3734391"/>
                  <a:pt x="4791242" y="3736111"/>
                  <a:pt x="4792072" y="3738336"/>
                </a:cubicBezTo>
                <a:cubicBezTo>
                  <a:pt x="4786540" y="3737122"/>
                  <a:pt x="4784604" y="3744810"/>
                  <a:pt x="4775476" y="3746833"/>
                </a:cubicBezTo>
                <a:cubicBezTo>
                  <a:pt x="4774370" y="3737527"/>
                  <a:pt x="4750030" y="3745315"/>
                  <a:pt x="4755008" y="3751385"/>
                </a:cubicBezTo>
                <a:cubicBezTo>
                  <a:pt x="4745328" y="3746327"/>
                  <a:pt x="4729562" y="3749766"/>
                  <a:pt x="4723754" y="3760589"/>
                </a:cubicBezTo>
                <a:cubicBezTo>
                  <a:pt x="4720711" y="3758870"/>
                  <a:pt x="4717392" y="3757251"/>
                  <a:pt x="4712967" y="3758263"/>
                </a:cubicBezTo>
                <a:cubicBezTo>
                  <a:pt x="4725137" y="3748401"/>
                  <a:pt x="4740005" y="3742104"/>
                  <a:pt x="4755700" y="3736224"/>
                </a:cubicBezTo>
                <a:lnTo>
                  <a:pt x="4774820" y="3728396"/>
                </a:lnTo>
                <a:lnTo>
                  <a:pt x="4762276" y="3723994"/>
                </a:lnTo>
                <a:cubicBezTo>
                  <a:pt x="4769744" y="3719745"/>
                  <a:pt x="4777212" y="3723893"/>
                  <a:pt x="4782744" y="3721364"/>
                </a:cubicBezTo>
                <a:cubicBezTo>
                  <a:pt x="4782467" y="3709934"/>
                  <a:pt x="4767808" y="3721465"/>
                  <a:pt x="4765596" y="3708922"/>
                </a:cubicBezTo>
                <a:cubicBezTo>
                  <a:pt x="4758127" y="3707607"/>
                  <a:pt x="4763936" y="3713575"/>
                  <a:pt x="4762000" y="3715396"/>
                </a:cubicBezTo>
                <a:lnTo>
                  <a:pt x="4663072" y="3690734"/>
                </a:lnTo>
                <a:lnTo>
                  <a:pt x="4657097" y="3696826"/>
                </a:lnTo>
                <a:cubicBezTo>
                  <a:pt x="4647761" y="3704324"/>
                  <a:pt x="4636905" y="3710519"/>
                  <a:pt x="4622798" y="3714666"/>
                </a:cubicBezTo>
                <a:cubicBezTo>
                  <a:pt x="4604958" y="3732014"/>
                  <a:pt x="4582762" y="3746605"/>
                  <a:pt x="4560012" y="3760855"/>
                </a:cubicBezTo>
                <a:lnTo>
                  <a:pt x="4539731" y="3774397"/>
                </a:lnTo>
                <a:lnTo>
                  <a:pt x="4542665" y="3778616"/>
                </a:lnTo>
                <a:lnTo>
                  <a:pt x="4535557" y="3777184"/>
                </a:lnTo>
                <a:lnTo>
                  <a:pt x="4493908" y="3804995"/>
                </a:lnTo>
                <a:cubicBezTo>
                  <a:pt x="4494461" y="3814200"/>
                  <a:pt x="4502482" y="3799128"/>
                  <a:pt x="4502482" y="3810559"/>
                </a:cubicBezTo>
                <a:cubicBezTo>
                  <a:pt x="4493631" y="3818651"/>
                  <a:pt x="4481737" y="3817437"/>
                  <a:pt x="4469568" y="3818347"/>
                </a:cubicBezTo>
                <a:cubicBezTo>
                  <a:pt x="4451036" y="3827653"/>
                  <a:pt x="4448270" y="3840904"/>
                  <a:pt x="4427526" y="3847783"/>
                </a:cubicBezTo>
                <a:lnTo>
                  <a:pt x="4426322" y="3847372"/>
                </a:lnTo>
                <a:lnTo>
                  <a:pt x="4422348" y="3854582"/>
                </a:lnTo>
                <a:lnTo>
                  <a:pt x="4420493" y="3845383"/>
                </a:lnTo>
                <a:lnTo>
                  <a:pt x="4418779" y="3844799"/>
                </a:lnTo>
                <a:cubicBezTo>
                  <a:pt x="4417017" y="3843155"/>
                  <a:pt x="4415494" y="3841815"/>
                  <a:pt x="4411484" y="3843636"/>
                </a:cubicBezTo>
                <a:cubicBezTo>
                  <a:pt x="4409824" y="3852537"/>
                  <a:pt x="4404569" y="3854358"/>
                  <a:pt x="4409824" y="3863967"/>
                </a:cubicBezTo>
                <a:cubicBezTo>
                  <a:pt x="4402909" y="3863158"/>
                  <a:pt x="4396824" y="3869429"/>
                  <a:pt x="4401526" y="3869935"/>
                </a:cubicBezTo>
                <a:lnTo>
                  <a:pt x="4391418" y="3872009"/>
                </a:lnTo>
                <a:lnTo>
                  <a:pt x="4393029" y="3878150"/>
                </a:lnTo>
                <a:cubicBezTo>
                  <a:pt x="4391092" y="3877037"/>
                  <a:pt x="4387498" y="3877847"/>
                  <a:pt x="4387498" y="3877847"/>
                </a:cubicBezTo>
                <a:lnTo>
                  <a:pt x="4390366" y="3872196"/>
                </a:lnTo>
                <a:lnTo>
                  <a:pt x="4376634" y="3873981"/>
                </a:lnTo>
                <a:cubicBezTo>
                  <a:pt x="4375527" y="3878432"/>
                  <a:pt x="4386867" y="3870643"/>
                  <a:pt x="4382718" y="3879241"/>
                </a:cubicBezTo>
                <a:lnTo>
                  <a:pt x="4382063" y="3882758"/>
                </a:lnTo>
                <a:lnTo>
                  <a:pt x="4391646" y="3888265"/>
                </a:lnTo>
                <a:cubicBezTo>
                  <a:pt x="4388050" y="3894739"/>
                  <a:pt x="4380029" y="3884422"/>
                  <a:pt x="4378093" y="3889075"/>
                </a:cubicBezTo>
                <a:lnTo>
                  <a:pt x="4377851" y="3884020"/>
                </a:lnTo>
                <a:lnTo>
                  <a:pt x="4362671" y="3885254"/>
                </a:lnTo>
                <a:cubicBezTo>
                  <a:pt x="4356814" y="3886878"/>
                  <a:pt x="4351412" y="3889407"/>
                  <a:pt x="4346174" y="3892239"/>
                </a:cubicBezTo>
                <a:lnTo>
                  <a:pt x="4331494" y="3899554"/>
                </a:lnTo>
                <a:lnTo>
                  <a:pt x="4332179" y="3902528"/>
                </a:lnTo>
                <a:lnTo>
                  <a:pt x="4328114" y="3901238"/>
                </a:lnTo>
                <a:lnTo>
                  <a:pt x="4314401" y="3908070"/>
                </a:lnTo>
                <a:cubicBezTo>
                  <a:pt x="4313847" y="3910295"/>
                  <a:pt x="4315783" y="3912723"/>
                  <a:pt x="4315231" y="3914948"/>
                </a:cubicBezTo>
                <a:cubicBezTo>
                  <a:pt x="4307209" y="3907260"/>
                  <a:pt x="4253828" y="3933257"/>
                  <a:pt x="4246083" y="3948328"/>
                </a:cubicBezTo>
                <a:lnTo>
                  <a:pt x="4206756" y="3963470"/>
                </a:lnTo>
                <a:lnTo>
                  <a:pt x="4213523" y="3974852"/>
                </a:lnTo>
                <a:cubicBezTo>
                  <a:pt x="4209650" y="3971312"/>
                  <a:pt x="4206330" y="3970149"/>
                  <a:pt x="4202562" y="3969428"/>
                </a:cubicBezTo>
                <a:lnTo>
                  <a:pt x="4195174" y="3967930"/>
                </a:lnTo>
                <a:lnTo>
                  <a:pt x="4162933" y="3980343"/>
                </a:lnTo>
                <a:cubicBezTo>
                  <a:pt x="4137314" y="3992557"/>
                  <a:pt x="4111937" y="4005075"/>
                  <a:pt x="4081235" y="4014178"/>
                </a:cubicBezTo>
                <a:cubicBezTo>
                  <a:pt x="4075703" y="4018123"/>
                  <a:pt x="4087320" y="4019438"/>
                  <a:pt x="4083724" y="4025811"/>
                </a:cubicBezTo>
                <a:cubicBezTo>
                  <a:pt x="4077086" y="4022878"/>
                  <a:pt x="4065746" y="4030666"/>
                  <a:pt x="4062980" y="4021259"/>
                </a:cubicBezTo>
                <a:cubicBezTo>
                  <a:pt x="4051363" y="4031374"/>
                  <a:pt x="4015130" y="4031880"/>
                  <a:pt x="4012917" y="4043007"/>
                </a:cubicBezTo>
                <a:cubicBezTo>
                  <a:pt x="4009045" y="4049481"/>
                  <a:pt x="4006279" y="4040073"/>
                  <a:pt x="4000471" y="4044018"/>
                </a:cubicBezTo>
                <a:cubicBezTo>
                  <a:pt x="3995492" y="4045738"/>
                  <a:pt x="4004343" y="4048975"/>
                  <a:pt x="3998811" y="4052819"/>
                </a:cubicBezTo>
                <a:cubicBezTo>
                  <a:pt x="4007109" y="4046952"/>
                  <a:pt x="4004343" y="4048975"/>
                  <a:pt x="4015960" y="4050290"/>
                </a:cubicBezTo>
                <a:cubicBezTo>
                  <a:pt x="4014300" y="4059191"/>
                  <a:pt x="4000747" y="4055449"/>
                  <a:pt x="3992726" y="4059090"/>
                </a:cubicBezTo>
                <a:cubicBezTo>
                  <a:pt x="3994109" y="4052414"/>
                  <a:pt x="3992173" y="4049885"/>
                  <a:pt x="3989684" y="4049683"/>
                </a:cubicBezTo>
                <a:cubicBezTo>
                  <a:pt x="3980003" y="4050796"/>
                  <a:pt x="3978620" y="4057472"/>
                  <a:pt x="3966727" y="4056157"/>
                </a:cubicBezTo>
                <a:cubicBezTo>
                  <a:pt x="3968663" y="4058686"/>
                  <a:pt x="3970323" y="4063339"/>
                  <a:pt x="3977791" y="4061922"/>
                </a:cubicBezTo>
                <a:cubicBezTo>
                  <a:pt x="3974471" y="4066070"/>
                  <a:pt x="3963131" y="4062529"/>
                  <a:pt x="3963408" y="4060304"/>
                </a:cubicBezTo>
                <a:cubicBezTo>
                  <a:pt x="3953451" y="4075173"/>
                  <a:pt x="3913068" y="4059292"/>
                  <a:pt x="3906430" y="4081344"/>
                </a:cubicBezTo>
                <a:cubicBezTo>
                  <a:pt x="3895367" y="4075578"/>
                  <a:pt x="3871580" y="4086705"/>
                  <a:pt x="3868814" y="4088627"/>
                </a:cubicBezTo>
                <a:cubicBezTo>
                  <a:pt x="3850559" y="4095707"/>
                  <a:pt x="3831198" y="4095808"/>
                  <a:pt x="3811007" y="4100360"/>
                </a:cubicBezTo>
                <a:cubicBezTo>
                  <a:pt x="3798284" y="4103496"/>
                  <a:pt x="3773391" y="4107643"/>
                  <a:pt x="3767859" y="4122917"/>
                </a:cubicBezTo>
                <a:cubicBezTo>
                  <a:pt x="3743242" y="4113409"/>
                  <a:pt x="3699818" y="4138090"/>
                  <a:pt x="3670222" y="4130301"/>
                </a:cubicBezTo>
                <a:cubicBezTo>
                  <a:pt x="3664967" y="4132021"/>
                  <a:pt x="3662201" y="4134044"/>
                  <a:pt x="3660818" y="4140720"/>
                </a:cubicBezTo>
                <a:cubicBezTo>
                  <a:pt x="3618500" y="4135966"/>
                  <a:pt x="3591394" y="4151240"/>
                  <a:pt x="3544651" y="4155185"/>
                </a:cubicBezTo>
                <a:cubicBezTo>
                  <a:pt x="3545757" y="4150734"/>
                  <a:pt x="3544097" y="4145980"/>
                  <a:pt x="3544927" y="4141529"/>
                </a:cubicBezTo>
                <a:cubicBezTo>
                  <a:pt x="3533310" y="4140315"/>
                  <a:pt x="3534417" y="4147194"/>
                  <a:pt x="3530544" y="4153668"/>
                </a:cubicBezTo>
                <a:cubicBezTo>
                  <a:pt x="3512290" y="4149318"/>
                  <a:pt x="3502885" y="4159636"/>
                  <a:pt x="3489333" y="4155893"/>
                </a:cubicBezTo>
                <a:cubicBezTo>
                  <a:pt x="3497630" y="4149925"/>
                  <a:pt x="3511460" y="4153769"/>
                  <a:pt x="3504545" y="4139304"/>
                </a:cubicBezTo>
                <a:cubicBezTo>
                  <a:pt x="3513949" y="4140417"/>
                  <a:pt x="3515885" y="4142945"/>
                  <a:pt x="3524459" y="4136977"/>
                </a:cubicBezTo>
                <a:cubicBezTo>
                  <a:pt x="3519481" y="4125143"/>
                  <a:pt x="3516715" y="4127064"/>
                  <a:pt x="3516438" y="4115634"/>
                </a:cubicBezTo>
                <a:cubicBezTo>
                  <a:pt x="3524183" y="4114218"/>
                  <a:pt x="3548523" y="4100967"/>
                  <a:pt x="3555714" y="4113105"/>
                </a:cubicBezTo>
                <a:cubicBezTo>
                  <a:pt x="3577288" y="4101878"/>
                  <a:pt x="3620989" y="4111285"/>
                  <a:pt x="3636478" y="4094696"/>
                </a:cubicBezTo>
                <a:cubicBezTo>
                  <a:pt x="3643946" y="4104710"/>
                  <a:pt x="3658882" y="4090447"/>
                  <a:pt x="3673818" y="4087514"/>
                </a:cubicBezTo>
                <a:cubicBezTo>
                  <a:pt x="3685988" y="4086604"/>
                  <a:pt x="3726647" y="4100158"/>
                  <a:pt x="3732455" y="4071228"/>
                </a:cubicBezTo>
                <a:cubicBezTo>
                  <a:pt x="3742412" y="4070015"/>
                  <a:pt x="3731625" y="4075679"/>
                  <a:pt x="3738264" y="4078714"/>
                </a:cubicBezTo>
                <a:cubicBezTo>
                  <a:pt x="3755136" y="4078309"/>
                  <a:pt x="3772561" y="4075679"/>
                  <a:pt x="3774773" y="4064552"/>
                </a:cubicBezTo>
                <a:cubicBezTo>
                  <a:pt x="3783348" y="4070015"/>
                  <a:pt x="3814602" y="4071228"/>
                  <a:pt x="3818198" y="4053426"/>
                </a:cubicBezTo>
                <a:cubicBezTo>
                  <a:pt x="3853048" y="4059596"/>
                  <a:pt x="3924962" y="4035623"/>
                  <a:pt x="3950961" y="4002141"/>
                </a:cubicBezTo>
                <a:cubicBezTo>
                  <a:pt x="3952621" y="4006895"/>
                  <a:pt x="3957323" y="4007401"/>
                  <a:pt x="3964791" y="4005985"/>
                </a:cubicBezTo>
                <a:cubicBezTo>
                  <a:pt x="3963408" y="4001231"/>
                  <a:pt x="3952621" y="4006895"/>
                  <a:pt x="3956770" y="3998298"/>
                </a:cubicBezTo>
                <a:cubicBezTo>
                  <a:pt x="3997152" y="3989093"/>
                  <a:pt x="4043896" y="3960062"/>
                  <a:pt x="4083724" y="3953082"/>
                </a:cubicBezTo>
                <a:cubicBezTo>
                  <a:pt x="4087320" y="3960264"/>
                  <a:pt x="4078193" y="3957027"/>
                  <a:pt x="4079022" y="3964007"/>
                </a:cubicBezTo>
                <a:cubicBezTo>
                  <a:pt x="4093682" y="3963299"/>
                  <a:pt x="4117192" y="3954499"/>
                  <a:pt x="4112766" y="3940337"/>
                </a:cubicBezTo>
                <a:lnTo>
                  <a:pt x="4124094" y="3936601"/>
                </a:lnTo>
                <a:lnTo>
                  <a:pt x="4112602" y="3930585"/>
                </a:lnTo>
                <a:cubicBezTo>
                  <a:pt x="4095764" y="3926071"/>
                  <a:pt x="4077302" y="3922050"/>
                  <a:pt x="4065824" y="3914160"/>
                </a:cubicBezTo>
                <a:lnTo>
                  <a:pt x="4075885" y="3915069"/>
                </a:lnTo>
                <a:lnTo>
                  <a:pt x="4072765" y="3912066"/>
                </a:lnTo>
                <a:cubicBezTo>
                  <a:pt x="4071901" y="3910245"/>
                  <a:pt x="4071002" y="3908424"/>
                  <a:pt x="4068512" y="3908171"/>
                </a:cubicBezTo>
                <a:cubicBezTo>
                  <a:pt x="4064640" y="3916870"/>
                  <a:pt x="4052746" y="3915555"/>
                  <a:pt x="4053023" y="3926985"/>
                </a:cubicBezTo>
                <a:cubicBezTo>
                  <a:pt x="4045832" y="3926176"/>
                  <a:pt x="4031726" y="3924557"/>
                  <a:pt x="4035598" y="3929615"/>
                </a:cubicBezTo>
                <a:cubicBezTo>
                  <a:pt x="4004620" y="3939831"/>
                  <a:pt x="3976131" y="3961680"/>
                  <a:pt x="3942110" y="3962490"/>
                </a:cubicBezTo>
                <a:cubicBezTo>
                  <a:pt x="3937132" y="3964209"/>
                  <a:pt x="3931877" y="3965929"/>
                  <a:pt x="3930494" y="3972605"/>
                </a:cubicBezTo>
                <a:cubicBezTo>
                  <a:pt x="3900345" y="3967041"/>
                  <a:pt x="3864665" y="4001636"/>
                  <a:pt x="3827326" y="3995263"/>
                </a:cubicBezTo>
                <a:cubicBezTo>
                  <a:pt x="3822070" y="3996983"/>
                  <a:pt x="3823177" y="4003962"/>
                  <a:pt x="3817921" y="4005682"/>
                </a:cubicBezTo>
                <a:cubicBezTo>
                  <a:pt x="3805752" y="4006592"/>
                  <a:pt x="3805198" y="3997387"/>
                  <a:pt x="3798560" y="3994353"/>
                </a:cubicBezTo>
                <a:cubicBezTo>
                  <a:pt x="3787773" y="4000017"/>
                  <a:pt x="3778093" y="4023990"/>
                  <a:pt x="3759561" y="4008312"/>
                </a:cubicBezTo>
                <a:cubicBezTo>
                  <a:pt x="3749327" y="4011650"/>
                  <a:pt x="3747114" y="4022878"/>
                  <a:pt x="3739093" y="4026519"/>
                </a:cubicBezTo>
                <a:cubicBezTo>
                  <a:pt x="3734944" y="4023788"/>
                  <a:pt x="3733008" y="4021259"/>
                  <a:pt x="3728306" y="4020753"/>
                </a:cubicBezTo>
                <a:cubicBezTo>
                  <a:pt x="3724157" y="4029351"/>
                  <a:pt x="3696498" y="4035522"/>
                  <a:pt x="3686541" y="4025305"/>
                </a:cubicBezTo>
                <a:cubicBezTo>
                  <a:pt x="3679350" y="4035926"/>
                  <a:pt x="3664414" y="4038758"/>
                  <a:pt x="3651414" y="4044120"/>
                </a:cubicBezTo>
                <a:cubicBezTo>
                  <a:pt x="3605500" y="4032285"/>
                  <a:pt x="3541331" y="4063844"/>
                  <a:pt x="3487673" y="4055550"/>
                </a:cubicBezTo>
                <a:cubicBezTo>
                  <a:pt x="3481035" y="4052616"/>
                  <a:pt x="3476056" y="4065665"/>
                  <a:pt x="3474397" y="4060911"/>
                </a:cubicBezTo>
                <a:cubicBezTo>
                  <a:pt x="3492098" y="4044726"/>
                  <a:pt x="3523630" y="4032285"/>
                  <a:pt x="3550459" y="4030666"/>
                </a:cubicBezTo>
                <a:cubicBezTo>
                  <a:pt x="3558480" y="4027025"/>
                  <a:pt x="3555991" y="4015392"/>
                  <a:pt x="3551565" y="4012661"/>
                </a:cubicBezTo>
                <a:cubicBezTo>
                  <a:pt x="3519204" y="4018123"/>
                  <a:pt x="3480482" y="4007098"/>
                  <a:pt x="3469418" y="4026317"/>
                </a:cubicBezTo>
                <a:cubicBezTo>
                  <a:pt x="3460567" y="4023080"/>
                  <a:pt x="3445908" y="4023687"/>
                  <a:pt x="3440100" y="4016202"/>
                </a:cubicBezTo>
                <a:cubicBezTo>
                  <a:pt x="3474397" y="4013167"/>
                  <a:pt x="3497354" y="4006693"/>
                  <a:pt x="3534140" y="4003861"/>
                </a:cubicBezTo>
                <a:cubicBezTo>
                  <a:pt x="3535523" y="3997185"/>
                  <a:pt x="3542991" y="3995769"/>
                  <a:pt x="3542438" y="3986564"/>
                </a:cubicBezTo>
                <a:cubicBezTo>
                  <a:pt x="3541331" y="3979685"/>
                  <a:pt x="3534417" y="3990205"/>
                  <a:pt x="3530544" y="3985249"/>
                </a:cubicBezTo>
                <a:cubicBezTo>
                  <a:pt x="3531651" y="3980798"/>
                  <a:pt x="3531927" y="3978573"/>
                  <a:pt x="3536629" y="3979079"/>
                </a:cubicBezTo>
                <a:cubicBezTo>
                  <a:pt x="3534693" y="3976651"/>
                  <a:pt x="3529991" y="3976044"/>
                  <a:pt x="3530821" y="3971593"/>
                </a:cubicBezTo>
                <a:cubicBezTo>
                  <a:pt x="3521140" y="3972807"/>
                  <a:pt x="3518928" y="3983934"/>
                  <a:pt x="3502332" y="3982113"/>
                </a:cubicBezTo>
                <a:cubicBezTo>
                  <a:pt x="3513672" y="3974223"/>
                  <a:pt x="3495694" y="3967750"/>
                  <a:pt x="3508694" y="3962388"/>
                </a:cubicBezTo>
                <a:cubicBezTo>
                  <a:pt x="3502056" y="3959455"/>
                  <a:pt x="3489886" y="3960365"/>
                  <a:pt x="3492652" y="3947013"/>
                </a:cubicBezTo>
                <a:cubicBezTo>
                  <a:pt x="3499566" y="3947721"/>
                  <a:pt x="3503992" y="3961883"/>
                  <a:pt x="3506758" y="3948531"/>
                </a:cubicBezTo>
                <a:cubicBezTo>
                  <a:pt x="3513396" y="3951565"/>
                  <a:pt x="3504545" y="3959657"/>
                  <a:pt x="3513949" y="3960669"/>
                </a:cubicBezTo>
                <a:cubicBezTo>
                  <a:pt x="3516438" y="3960972"/>
                  <a:pt x="3516992" y="3956522"/>
                  <a:pt x="3515332" y="3954094"/>
                </a:cubicBezTo>
                <a:cubicBezTo>
                  <a:pt x="3525566" y="3950655"/>
                  <a:pt x="3523353" y="3961680"/>
                  <a:pt x="3530821" y="3960264"/>
                </a:cubicBezTo>
                <a:cubicBezTo>
                  <a:pt x="3538842" y="3956623"/>
                  <a:pt x="3524736" y="3955105"/>
                  <a:pt x="3526119" y="3948429"/>
                </a:cubicBezTo>
                <a:cubicBezTo>
                  <a:pt x="3538289" y="3947519"/>
                  <a:pt x="3544374" y="3941349"/>
                  <a:pt x="3544097" y="3929919"/>
                </a:cubicBezTo>
                <a:cubicBezTo>
                  <a:pt x="3558757" y="3940641"/>
                  <a:pt x="3566225" y="3927794"/>
                  <a:pt x="3565948" y="3941450"/>
                </a:cubicBezTo>
                <a:cubicBezTo>
                  <a:pt x="3589458" y="3943979"/>
                  <a:pt x="3616564" y="3917376"/>
                  <a:pt x="3622649" y="3934066"/>
                </a:cubicBezTo>
                <a:cubicBezTo>
                  <a:pt x="3637308" y="3933358"/>
                  <a:pt x="3622649" y="3922636"/>
                  <a:pt x="3636755" y="3924254"/>
                </a:cubicBezTo>
                <a:cubicBezTo>
                  <a:pt x="3642563" y="3931638"/>
                  <a:pt x="3631223" y="3928098"/>
                  <a:pt x="3630393" y="3932548"/>
                </a:cubicBezTo>
                <a:cubicBezTo>
                  <a:pt x="3637585" y="3944788"/>
                  <a:pt x="3650861" y="3925771"/>
                  <a:pt x="3657223" y="3931031"/>
                </a:cubicBezTo>
                <a:cubicBezTo>
                  <a:pt x="3658606" y="3924355"/>
                  <a:pt x="3656116" y="3924052"/>
                  <a:pt x="3655563" y="3914948"/>
                </a:cubicBezTo>
                <a:cubicBezTo>
                  <a:pt x="3660265" y="3915454"/>
                  <a:pt x="3662755" y="3915656"/>
                  <a:pt x="3665520" y="3913734"/>
                </a:cubicBezTo>
                <a:cubicBezTo>
                  <a:pt x="3668839" y="3920916"/>
                  <a:pt x="3661648" y="3920208"/>
                  <a:pt x="3660818" y="3924659"/>
                </a:cubicBezTo>
                <a:cubicBezTo>
                  <a:pt x="3663584" y="3922636"/>
                  <a:pt x="3666074" y="3922939"/>
                  <a:pt x="3668286" y="3923141"/>
                </a:cubicBezTo>
                <a:cubicBezTo>
                  <a:pt x="3671052" y="3921219"/>
                  <a:pt x="3666350" y="3920714"/>
                  <a:pt x="3667180" y="3916263"/>
                </a:cubicBezTo>
                <a:cubicBezTo>
                  <a:pt x="3693179" y="3919095"/>
                  <a:pt x="3715860" y="3914847"/>
                  <a:pt x="3730796" y="3900483"/>
                </a:cubicBezTo>
                <a:cubicBezTo>
                  <a:pt x="3739647" y="3903821"/>
                  <a:pt x="3745178" y="3899775"/>
                  <a:pt x="3750710" y="3895830"/>
                </a:cubicBezTo>
                <a:cubicBezTo>
                  <a:pt x="3751263" y="3893605"/>
                  <a:pt x="3752093" y="3889255"/>
                  <a:pt x="3749880" y="3888952"/>
                </a:cubicBezTo>
                <a:cubicBezTo>
                  <a:pt x="3763157" y="3895021"/>
                  <a:pt x="3790816" y="3888851"/>
                  <a:pt x="3800496" y="3876308"/>
                </a:cubicBezTo>
                <a:cubicBezTo>
                  <a:pt x="3799113" y="3882984"/>
                  <a:pt x="3804645" y="3879140"/>
                  <a:pt x="3806305" y="3883793"/>
                </a:cubicBezTo>
                <a:cubicBezTo>
                  <a:pt x="3832857" y="3870846"/>
                  <a:pt x="3853602" y="3864068"/>
                  <a:pt x="3883750" y="3858303"/>
                </a:cubicBezTo>
                <a:cubicBezTo>
                  <a:pt x="3884580" y="3853852"/>
                  <a:pt x="3875176" y="3852739"/>
                  <a:pt x="3885133" y="3851525"/>
                </a:cubicBezTo>
                <a:cubicBezTo>
                  <a:pt x="3885409" y="3849300"/>
                  <a:pt x="3883197" y="3848997"/>
                  <a:pt x="3883473" y="3846771"/>
                </a:cubicBezTo>
                <a:cubicBezTo>
                  <a:pt x="3871857" y="3845456"/>
                  <a:pt x="3877388" y="3852942"/>
                  <a:pt x="3872410" y="3854661"/>
                </a:cubicBezTo>
                <a:cubicBezTo>
                  <a:pt x="3869920" y="3854358"/>
                  <a:pt x="3865218" y="3853953"/>
                  <a:pt x="3863282" y="3851424"/>
                </a:cubicBezTo>
                <a:cubicBezTo>
                  <a:pt x="3877665" y="3839387"/>
                  <a:pt x="3895920" y="3832306"/>
                  <a:pt x="3916664" y="3825529"/>
                </a:cubicBezTo>
                <a:cubicBezTo>
                  <a:pt x="3916111" y="3816324"/>
                  <a:pt x="3909196" y="3826945"/>
                  <a:pt x="3910856" y="3818044"/>
                </a:cubicBezTo>
                <a:cubicBezTo>
                  <a:pt x="3933536" y="3813694"/>
                  <a:pt x="3952344" y="3804388"/>
                  <a:pt x="3964791" y="3789822"/>
                </a:cubicBezTo>
                <a:cubicBezTo>
                  <a:pt x="3963684" y="3782944"/>
                  <a:pt x="3953451" y="3786282"/>
                  <a:pt x="3952897" y="3777178"/>
                </a:cubicBezTo>
                <a:cubicBezTo>
                  <a:pt x="3934919" y="3782034"/>
                  <a:pt x="3917770" y="3784664"/>
                  <a:pt x="3908920" y="3792756"/>
                </a:cubicBezTo>
                <a:cubicBezTo>
                  <a:pt x="3896473" y="3782337"/>
                  <a:pt x="3890941" y="3797611"/>
                  <a:pt x="3877388" y="3805198"/>
                </a:cubicBezTo>
                <a:cubicBezTo>
                  <a:pt x="3861899" y="3810356"/>
                  <a:pt x="3837559" y="3812177"/>
                  <a:pt x="3819304" y="3819258"/>
                </a:cubicBezTo>
                <a:cubicBezTo>
                  <a:pt x="3803262" y="3826642"/>
                  <a:pt x="3776156" y="3830385"/>
                  <a:pt x="3756795" y="3830587"/>
                </a:cubicBezTo>
                <a:cubicBezTo>
                  <a:pt x="3752093" y="3830081"/>
                  <a:pt x="3752923" y="3836959"/>
                  <a:pt x="3745455" y="3838477"/>
                </a:cubicBezTo>
                <a:cubicBezTo>
                  <a:pt x="3744072" y="3833723"/>
                  <a:pt x="3738817" y="3835442"/>
                  <a:pt x="3736604" y="3835139"/>
                </a:cubicBezTo>
                <a:cubicBezTo>
                  <a:pt x="3726370" y="3849907"/>
                  <a:pt x="3703690" y="3842826"/>
                  <a:pt x="3693456" y="3857696"/>
                </a:cubicBezTo>
                <a:cubicBezTo>
                  <a:pt x="3632883" y="3860022"/>
                  <a:pt x="3594437" y="3883186"/>
                  <a:pt x="3540225" y="3877218"/>
                </a:cubicBezTo>
                <a:cubicBezTo>
                  <a:pt x="3532757" y="3878634"/>
                  <a:pt x="3529162" y="3885007"/>
                  <a:pt x="3521417" y="3886423"/>
                </a:cubicBezTo>
                <a:cubicBezTo>
                  <a:pt x="3526672" y="3873374"/>
                  <a:pt x="3511183" y="3878432"/>
                  <a:pt x="3503992" y="3877724"/>
                </a:cubicBezTo>
                <a:cubicBezTo>
                  <a:pt x="3519481" y="3861236"/>
                  <a:pt x="3560416" y="3861236"/>
                  <a:pt x="3590841" y="3853245"/>
                </a:cubicBezTo>
                <a:cubicBezTo>
                  <a:pt x="3591671" y="3848794"/>
                  <a:pt x="3586692" y="3850413"/>
                  <a:pt x="3584203" y="3850210"/>
                </a:cubicBezTo>
                <a:cubicBezTo>
                  <a:pt x="3606054" y="3836656"/>
                  <a:pt x="3645606" y="3856886"/>
                  <a:pt x="3652797" y="3844040"/>
                </a:cubicBezTo>
                <a:cubicBezTo>
                  <a:pt x="3675201" y="3853346"/>
                  <a:pt x="3715307" y="3821483"/>
                  <a:pt x="3731902" y="3834633"/>
                </a:cubicBezTo>
                <a:cubicBezTo>
                  <a:pt x="3747391" y="3829575"/>
                  <a:pt x="3747668" y="3827350"/>
                  <a:pt x="3762880" y="3824417"/>
                </a:cubicBezTo>
                <a:cubicBezTo>
                  <a:pt x="3767582" y="3824922"/>
                  <a:pt x="3759008" y="3819460"/>
                  <a:pt x="3756519" y="3819157"/>
                </a:cubicBezTo>
                <a:cubicBezTo>
                  <a:pt x="3811283" y="3797915"/>
                  <a:pt x="3857750" y="3782641"/>
                  <a:pt x="3912239" y="3763624"/>
                </a:cubicBezTo>
                <a:cubicBezTo>
                  <a:pt x="3912515" y="3749968"/>
                  <a:pt x="3892048" y="3756746"/>
                  <a:pt x="3887346" y="3756240"/>
                </a:cubicBezTo>
                <a:cubicBezTo>
                  <a:pt x="3876835" y="3759679"/>
                  <a:pt x="3859687" y="3773739"/>
                  <a:pt x="3841708" y="3778595"/>
                </a:cubicBezTo>
                <a:cubicBezTo>
                  <a:pt x="3818751" y="3785169"/>
                  <a:pt x="3798284" y="3791947"/>
                  <a:pt x="3782795" y="3797004"/>
                </a:cubicBezTo>
                <a:cubicBezTo>
                  <a:pt x="3769518" y="3802466"/>
                  <a:pt x="3753199" y="3800646"/>
                  <a:pt x="3739923" y="3806007"/>
                </a:cubicBezTo>
                <a:cubicBezTo>
                  <a:pt x="3709498" y="3813998"/>
                  <a:pt x="3682946" y="3826945"/>
                  <a:pt x="3655010" y="3833015"/>
                </a:cubicBezTo>
                <a:cubicBezTo>
                  <a:pt x="3622649" y="3838477"/>
                  <a:pt x="3590565" y="3841815"/>
                  <a:pt x="3560969" y="3845355"/>
                </a:cubicBezTo>
                <a:cubicBezTo>
                  <a:pt x="3643670" y="3818044"/>
                  <a:pt x="3738540" y="3812683"/>
                  <a:pt x="3810730" y="3777381"/>
                </a:cubicBezTo>
                <a:cubicBezTo>
                  <a:pt x="3833134" y="3773132"/>
                  <a:pt x="3851942" y="3763826"/>
                  <a:pt x="3874622" y="3759477"/>
                </a:cubicBezTo>
                <a:cubicBezTo>
                  <a:pt x="3876835" y="3759679"/>
                  <a:pt x="3880154" y="3755431"/>
                  <a:pt x="3880431" y="3753205"/>
                </a:cubicBezTo>
                <a:cubicBezTo>
                  <a:pt x="3925515" y="3744607"/>
                  <a:pt x="3933813" y="3727310"/>
                  <a:pt x="3982769" y="3723568"/>
                </a:cubicBezTo>
                <a:cubicBezTo>
                  <a:pt x="3966174" y="3735402"/>
                  <a:pt x="3938791" y="3739246"/>
                  <a:pt x="3924409" y="3751283"/>
                </a:cubicBezTo>
                <a:cubicBezTo>
                  <a:pt x="3951514" y="3747440"/>
                  <a:pt x="3980556" y="3734796"/>
                  <a:pt x="4005450" y="3719319"/>
                </a:cubicBezTo>
                <a:cubicBezTo>
                  <a:pt x="4038364" y="3711530"/>
                  <a:pt x="4069065" y="3701314"/>
                  <a:pt x="4092022" y="3683410"/>
                </a:cubicBezTo>
                <a:cubicBezTo>
                  <a:pt x="4110830" y="3685433"/>
                  <a:pt x="4128255" y="3671474"/>
                  <a:pt x="4137383" y="3661157"/>
                </a:cubicBezTo>
                <a:cubicBezTo>
                  <a:pt x="4157574" y="3656504"/>
                  <a:pt x="4190765" y="3635160"/>
                  <a:pt x="4213170" y="3619482"/>
                </a:cubicBezTo>
                <a:cubicBezTo>
                  <a:pt x="4243595" y="3611390"/>
                  <a:pt x="4262402" y="3590755"/>
                  <a:pt x="4288954" y="3577807"/>
                </a:cubicBezTo>
                <a:cubicBezTo>
                  <a:pt x="4276231" y="3569513"/>
                  <a:pt x="4271806" y="3591766"/>
                  <a:pt x="4261295" y="3583775"/>
                </a:cubicBezTo>
                <a:cubicBezTo>
                  <a:pt x="4186893" y="3630204"/>
                  <a:pt x="4131851" y="3665000"/>
                  <a:pt x="4047491" y="3689783"/>
                </a:cubicBezTo>
                <a:cubicBezTo>
                  <a:pt x="4093405" y="3665304"/>
                  <a:pt x="4129362" y="3641938"/>
                  <a:pt x="4179701" y="3617965"/>
                </a:cubicBezTo>
                <a:cubicBezTo>
                  <a:pt x="4180808" y="3613514"/>
                  <a:pt x="4178318" y="3613210"/>
                  <a:pt x="4173616" y="3612705"/>
                </a:cubicBezTo>
                <a:cubicBezTo>
                  <a:pt x="4191041" y="3610075"/>
                  <a:pt x="4199892" y="3602084"/>
                  <a:pt x="4218147" y="3595003"/>
                </a:cubicBezTo>
                <a:cubicBezTo>
                  <a:pt x="4218978" y="3590552"/>
                  <a:pt x="4217594" y="3585798"/>
                  <a:pt x="4219807" y="3586000"/>
                </a:cubicBezTo>
                <a:cubicBezTo>
                  <a:pt x="4184680" y="3582157"/>
                  <a:pt x="4163106" y="3629799"/>
                  <a:pt x="4116362" y="3622314"/>
                </a:cubicBezTo>
                <a:cubicBezTo>
                  <a:pt x="4114703" y="3631215"/>
                  <a:pt x="4124936" y="3627877"/>
                  <a:pt x="4126873" y="3630305"/>
                </a:cubicBezTo>
                <a:cubicBezTo>
                  <a:pt x="4127426" y="3639510"/>
                  <a:pt x="4114149" y="3633441"/>
                  <a:pt x="4119405" y="3643151"/>
                </a:cubicBezTo>
                <a:cubicBezTo>
                  <a:pt x="4104745" y="3643860"/>
                  <a:pt x="4094511" y="3647198"/>
                  <a:pt x="4083724" y="3652862"/>
                </a:cubicBezTo>
                <a:cubicBezTo>
                  <a:pt x="4071831" y="3651547"/>
                  <a:pt x="4089809" y="3646793"/>
                  <a:pt x="4085937" y="3641836"/>
                </a:cubicBezTo>
                <a:cubicBezTo>
                  <a:pt x="4046108" y="3648715"/>
                  <a:pt x="4017066" y="3661359"/>
                  <a:pt x="3979173" y="3682196"/>
                </a:cubicBezTo>
                <a:cubicBezTo>
                  <a:pt x="3978067" y="3686647"/>
                  <a:pt x="3989131" y="3681084"/>
                  <a:pt x="3993833" y="3681589"/>
                </a:cubicBezTo>
                <a:cubicBezTo>
                  <a:pt x="3989131" y="3692514"/>
                  <a:pt x="3978897" y="3695852"/>
                  <a:pt x="3970599" y="3688164"/>
                </a:cubicBezTo>
                <a:cubicBezTo>
                  <a:pt x="3971152" y="3685939"/>
                  <a:pt x="3975854" y="3686445"/>
                  <a:pt x="3976408" y="3684219"/>
                </a:cubicBezTo>
                <a:cubicBezTo>
                  <a:pt x="3963131" y="3678251"/>
                  <a:pt x="3932706" y="3697571"/>
                  <a:pt x="3919983" y="3700808"/>
                </a:cubicBezTo>
                <a:cubicBezTo>
                  <a:pt x="3923026" y="3710215"/>
                  <a:pt x="3925792" y="3708192"/>
                  <a:pt x="3930494" y="3708698"/>
                </a:cubicBezTo>
                <a:cubicBezTo>
                  <a:pt x="3889835" y="3742888"/>
                  <a:pt x="3825943" y="3713149"/>
                  <a:pt x="3785837" y="3745113"/>
                </a:cubicBezTo>
                <a:cubicBezTo>
                  <a:pt x="3778922" y="3744304"/>
                  <a:pt x="3777263" y="3739550"/>
                  <a:pt x="3773114" y="3736819"/>
                </a:cubicBezTo>
                <a:cubicBezTo>
                  <a:pt x="3767029" y="3742989"/>
                  <a:pt x="3761774" y="3744708"/>
                  <a:pt x="3752923" y="3741472"/>
                </a:cubicBezTo>
                <a:cubicBezTo>
                  <a:pt x="3750987" y="3750373"/>
                  <a:pt x="3736604" y="3750980"/>
                  <a:pt x="3732455" y="3759679"/>
                </a:cubicBezTo>
                <a:cubicBezTo>
                  <a:pt x="3705073" y="3752093"/>
                  <a:pt x="3685158" y="3754419"/>
                  <a:pt x="3658329" y="3756038"/>
                </a:cubicBezTo>
                <a:cubicBezTo>
                  <a:pt x="3662201" y="3749665"/>
                  <a:pt x="3671605" y="3750575"/>
                  <a:pt x="3674924" y="3746428"/>
                </a:cubicBezTo>
                <a:cubicBezTo>
                  <a:pt x="3667180" y="3736515"/>
                  <a:pt x="3661648" y="3751890"/>
                  <a:pt x="3651691" y="3741674"/>
                </a:cubicBezTo>
                <a:cubicBezTo>
                  <a:pt x="3644223" y="3743090"/>
                  <a:pt x="3653074" y="3746327"/>
                  <a:pt x="3652797" y="3748552"/>
                </a:cubicBezTo>
                <a:cubicBezTo>
                  <a:pt x="3577565" y="3751587"/>
                  <a:pt x="3502885" y="3775256"/>
                  <a:pt x="3439823" y="3777381"/>
                </a:cubicBezTo>
                <a:cubicBezTo>
                  <a:pt x="3487120" y="3757656"/>
                  <a:pt x="3540502" y="3768075"/>
                  <a:pt x="3585862" y="3745720"/>
                </a:cubicBezTo>
                <a:cubicBezTo>
                  <a:pt x="3619330" y="3747136"/>
                  <a:pt x="3658329" y="3733177"/>
                  <a:pt x="3682946" y="3717802"/>
                </a:cubicBezTo>
                <a:cubicBezTo>
                  <a:pt x="3671605" y="3714262"/>
                  <a:pt x="3655563" y="3735200"/>
                  <a:pt x="3640627" y="3724478"/>
                </a:cubicBezTo>
                <a:cubicBezTo>
                  <a:pt x="3600522" y="3745012"/>
                  <a:pt x="3543268" y="3729738"/>
                  <a:pt x="3500120" y="3752295"/>
                </a:cubicBezTo>
                <a:cubicBezTo>
                  <a:pt x="3493758" y="3749260"/>
                  <a:pt x="3467759" y="3746327"/>
                  <a:pt x="3463610" y="3755026"/>
                </a:cubicBezTo>
                <a:cubicBezTo>
                  <a:pt x="3454759" y="3751688"/>
                  <a:pt x="3452270" y="3751486"/>
                  <a:pt x="3438163" y="3749968"/>
                </a:cubicBezTo>
                <a:cubicBezTo>
                  <a:pt x="3469141" y="3739651"/>
                  <a:pt x="3521417" y="3743191"/>
                  <a:pt x="3541055" y="3729434"/>
                </a:cubicBezTo>
                <a:cubicBezTo>
                  <a:pt x="3545757" y="3741370"/>
                  <a:pt x="3556821" y="3722151"/>
                  <a:pt x="3567884" y="3727917"/>
                </a:cubicBezTo>
                <a:cubicBezTo>
                  <a:pt x="3566778" y="3720938"/>
                  <a:pt x="3559586" y="3720128"/>
                  <a:pt x="3555438" y="3717397"/>
                </a:cubicBezTo>
                <a:cubicBezTo>
                  <a:pt x="3548246" y="3716588"/>
                  <a:pt x="3551842" y="3723770"/>
                  <a:pt x="3539949" y="3722455"/>
                </a:cubicBezTo>
                <a:cubicBezTo>
                  <a:pt x="3549353" y="3712036"/>
                  <a:pt x="3533034" y="3721646"/>
                  <a:pt x="3526396" y="3718611"/>
                </a:cubicBezTo>
                <a:cubicBezTo>
                  <a:pt x="3523353" y="3709204"/>
                  <a:pt x="3534693" y="3712744"/>
                  <a:pt x="3536076" y="3706068"/>
                </a:cubicBezTo>
                <a:cubicBezTo>
                  <a:pt x="3533587" y="3705866"/>
                  <a:pt x="3528885" y="3705259"/>
                  <a:pt x="3526672" y="3705057"/>
                </a:cubicBezTo>
                <a:cubicBezTo>
                  <a:pt x="3521417" y="3706776"/>
                  <a:pt x="3526672" y="3716487"/>
                  <a:pt x="3521417" y="3718105"/>
                </a:cubicBezTo>
                <a:cubicBezTo>
                  <a:pt x="3514502" y="3717397"/>
                  <a:pt x="3512566" y="3714869"/>
                  <a:pt x="3504545" y="3718510"/>
                </a:cubicBezTo>
                <a:cubicBezTo>
                  <a:pt x="3512566" y="3703438"/>
                  <a:pt x="3479099" y="3702123"/>
                  <a:pt x="3472184" y="3712744"/>
                </a:cubicBezTo>
                <a:cubicBezTo>
                  <a:pt x="3475503" y="3719926"/>
                  <a:pt x="3484354" y="3711733"/>
                  <a:pt x="3490162" y="3719218"/>
                </a:cubicBezTo>
                <a:cubicBezTo>
                  <a:pt x="3489056" y="3723669"/>
                  <a:pt x="3490716" y="3728423"/>
                  <a:pt x="3487950" y="3730345"/>
                </a:cubicBezTo>
                <a:cubicBezTo>
                  <a:pt x="3472461" y="3735504"/>
                  <a:pt x="3455312" y="3724478"/>
                  <a:pt x="3443972" y="3732368"/>
                </a:cubicBezTo>
                <a:cubicBezTo>
                  <a:pt x="3448674" y="3721443"/>
                  <a:pt x="3433461" y="3712947"/>
                  <a:pt x="3419632" y="3722860"/>
                </a:cubicBezTo>
                <a:cubicBezTo>
                  <a:pt x="3418526" y="3727310"/>
                  <a:pt x="3423781" y="3725490"/>
                  <a:pt x="3430695" y="3726299"/>
                </a:cubicBezTo>
                <a:cubicBezTo>
                  <a:pt x="3425164" y="3730244"/>
                  <a:pt x="3411058" y="3728726"/>
                  <a:pt x="3403590" y="3730244"/>
                </a:cubicBezTo>
                <a:cubicBezTo>
                  <a:pt x="3411058" y="3717397"/>
                  <a:pt x="3390867" y="3721949"/>
                  <a:pt x="3378143" y="3725085"/>
                </a:cubicBezTo>
                <a:cubicBezTo>
                  <a:pt x="3373441" y="3724579"/>
                  <a:pt x="3369293" y="3721848"/>
                  <a:pt x="3362101" y="3721039"/>
                </a:cubicBezTo>
                <a:cubicBezTo>
                  <a:pt x="3318953" y="3732267"/>
                  <a:pt x="3282996" y="3719117"/>
                  <a:pt x="3240125" y="3728018"/>
                </a:cubicBezTo>
                <a:cubicBezTo>
                  <a:pt x="3238465" y="3725591"/>
                  <a:pt x="3234040" y="3722860"/>
                  <a:pt x="3229891" y="3720128"/>
                </a:cubicBezTo>
                <a:cubicBezTo>
                  <a:pt x="3222700" y="3730749"/>
                  <a:pt x="3216615" y="3714059"/>
                  <a:pt x="3206658" y="3715273"/>
                </a:cubicBezTo>
                <a:cubicBezTo>
                  <a:pt x="3199743" y="3714464"/>
                  <a:pt x="3193105" y="3722860"/>
                  <a:pt x="3183701" y="3721848"/>
                </a:cubicBezTo>
                <a:cubicBezTo>
                  <a:pt x="3174297" y="3720836"/>
                  <a:pt x="3155765" y="3716487"/>
                  <a:pt x="3144148" y="3715172"/>
                </a:cubicBezTo>
                <a:cubicBezTo>
                  <a:pt x="3144978" y="3710721"/>
                  <a:pt x="3154105" y="3713958"/>
                  <a:pt x="3152446" y="3709204"/>
                </a:cubicBezTo>
                <a:cubicBezTo>
                  <a:pt x="3184530" y="3717296"/>
                  <a:pt x="3237636" y="3704956"/>
                  <a:pt x="3273869" y="3715779"/>
                </a:cubicBezTo>
                <a:cubicBezTo>
                  <a:pt x="3281613" y="3714363"/>
                  <a:pt x="3284379" y="3712441"/>
                  <a:pt x="3289635" y="3710721"/>
                </a:cubicBezTo>
                <a:cubicBezTo>
                  <a:pt x="3345229" y="3721443"/>
                  <a:pt x="3405249" y="3698482"/>
                  <a:pt x="3474673" y="3699291"/>
                </a:cubicBezTo>
                <a:cubicBezTo>
                  <a:pt x="3477716" y="3697369"/>
                  <a:pt x="3477992" y="3695144"/>
                  <a:pt x="3478546" y="3692918"/>
                </a:cubicBezTo>
                <a:cubicBezTo>
                  <a:pt x="3547140" y="3686849"/>
                  <a:pt x="3600522" y="3672283"/>
                  <a:pt x="3655287" y="3651041"/>
                </a:cubicBezTo>
                <a:cubicBezTo>
                  <a:pt x="3633436" y="3653166"/>
                  <a:pt x="3612415" y="3648614"/>
                  <a:pt x="3599415" y="3665405"/>
                </a:cubicBezTo>
                <a:cubicBezTo>
                  <a:pt x="3589182" y="3657414"/>
                  <a:pt x="3566225" y="3675419"/>
                  <a:pt x="3564288" y="3661460"/>
                </a:cubicBezTo>
                <a:cubicBezTo>
                  <a:pt x="3578395" y="3663078"/>
                  <a:pt x="3583097" y="3652154"/>
                  <a:pt x="3594437" y="3655694"/>
                </a:cubicBezTo>
                <a:cubicBezTo>
                  <a:pt x="3587799" y="3652660"/>
                  <a:pt x="3590011" y="3652963"/>
                  <a:pt x="3587245" y="3643556"/>
                </a:cubicBezTo>
                <a:cubicBezTo>
                  <a:pt x="3601628" y="3642848"/>
                  <a:pt x="3592501" y="3653267"/>
                  <a:pt x="3599415" y="3654076"/>
                </a:cubicBezTo>
                <a:cubicBezTo>
                  <a:pt x="3605500" y="3647906"/>
                  <a:pt x="3598586" y="3646995"/>
                  <a:pt x="3602181" y="3640623"/>
                </a:cubicBezTo>
                <a:cubicBezTo>
                  <a:pt x="3611585" y="3641634"/>
                  <a:pt x="3627628" y="3634351"/>
                  <a:pt x="3639244" y="3635666"/>
                </a:cubicBezTo>
                <a:cubicBezTo>
                  <a:pt x="3633436" y="3628181"/>
                  <a:pt x="3631500" y="3625652"/>
                  <a:pt x="3638138" y="3617256"/>
                </a:cubicBezTo>
                <a:cubicBezTo>
                  <a:pt x="3624308" y="3613514"/>
                  <a:pt x="3612968" y="3610075"/>
                  <a:pt x="3594713" y="3617155"/>
                </a:cubicBezTo>
                <a:cubicBezTo>
                  <a:pt x="3595820" y="3612705"/>
                  <a:pt x="3593054" y="3614626"/>
                  <a:pt x="3591394" y="3609872"/>
                </a:cubicBezTo>
                <a:cubicBezTo>
                  <a:pt x="3597479" y="3603803"/>
                  <a:pt x="3603564" y="3597633"/>
                  <a:pt x="3620436" y="3597228"/>
                </a:cubicBezTo>
                <a:cubicBezTo>
                  <a:pt x="3625691" y="3595509"/>
                  <a:pt x="3616287" y="3594396"/>
                  <a:pt x="3621819" y="3590451"/>
                </a:cubicBezTo>
                <a:cubicBezTo>
                  <a:pt x="3610479" y="3586911"/>
                  <a:pt x="3609649" y="3591463"/>
                  <a:pt x="3604394" y="3581752"/>
                </a:cubicBezTo>
                <a:cubicBezTo>
                  <a:pt x="3566225" y="3579830"/>
                  <a:pt x="3537183" y="3603904"/>
                  <a:pt x="3509800" y="3596318"/>
                </a:cubicBezTo>
                <a:cubicBezTo>
                  <a:pt x="3524459" y="3584281"/>
                  <a:pt x="3564288" y="3588630"/>
                  <a:pt x="3571203" y="3566680"/>
                </a:cubicBezTo>
                <a:cubicBezTo>
                  <a:pt x="3577288" y="3560510"/>
                  <a:pt x="3569820" y="3573356"/>
                  <a:pt x="3568990" y="3577807"/>
                </a:cubicBezTo>
                <a:cubicBezTo>
                  <a:pt x="3580054" y="3570018"/>
                  <a:pt x="3588628" y="3575480"/>
                  <a:pt x="3602181" y="3567894"/>
                </a:cubicBezTo>
                <a:cubicBezTo>
                  <a:pt x="3604947" y="3565871"/>
                  <a:pt x="3601628" y="3558689"/>
                  <a:pt x="3607436" y="3554744"/>
                </a:cubicBezTo>
                <a:cubicBezTo>
                  <a:pt x="3612139" y="3555250"/>
                  <a:pt x="3613521" y="3559903"/>
                  <a:pt x="3617670" y="3562735"/>
                </a:cubicBezTo>
                <a:cubicBezTo>
                  <a:pt x="3696498" y="3541797"/>
                  <a:pt x="3776710" y="3514384"/>
                  <a:pt x="3850283" y="3483836"/>
                </a:cubicBezTo>
                <a:lnTo>
                  <a:pt x="3858752" y="3470144"/>
                </a:lnTo>
                <a:lnTo>
                  <a:pt x="3801019" y="3478414"/>
                </a:lnTo>
                <a:lnTo>
                  <a:pt x="3785007" y="3485657"/>
                </a:lnTo>
                <a:cubicBezTo>
                  <a:pt x="3770348" y="3486365"/>
                  <a:pt x="3745732" y="3488186"/>
                  <a:pt x="3740753" y="3501336"/>
                </a:cubicBezTo>
                <a:cubicBezTo>
                  <a:pt x="3709498" y="3513778"/>
                  <a:pt x="3674648" y="3518936"/>
                  <a:pt x="3632330" y="3525714"/>
                </a:cubicBezTo>
                <a:cubicBezTo>
                  <a:pt x="3632883" y="3523488"/>
                  <a:pt x="3635649" y="3521465"/>
                  <a:pt x="3636202" y="3519240"/>
                </a:cubicBezTo>
                <a:cubicBezTo>
                  <a:pt x="3618224" y="3512766"/>
                  <a:pt x="3593884" y="3525916"/>
                  <a:pt x="3577288" y="3524095"/>
                </a:cubicBezTo>
                <a:cubicBezTo>
                  <a:pt x="3578118" y="3519644"/>
                  <a:pt x="3573416" y="3519139"/>
                  <a:pt x="3574522" y="3514688"/>
                </a:cubicBezTo>
                <a:cubicBezTo>
                  <a:pt x="3564565" y="3515902"/>
                  <a:pt x="3549906" y="3516509"/>
                  <a:pt x="3546310" y="3522982"/>
                </a:cubicBezTo>
                <a:cubicBezTo>
                  <a:pt x="3521694" y="3524803"/>
                  <a:pt x="3510077" y="3523488"/>
                  <a:pt x="3495971" y="3533401"/>
                </a:cubicBezTo>
                <a:cubicBezTo>
                  <a:pt x="3492652" y="3531884"/>
                  <a:pt x="3499290" y="3528647"/>
                  <a:pt x="3507588" y="3524702"/>
                </a:cubicBezTo>
                <a:lnTo>
                  <a:pt x="3509800" y="3523690"/>
                </a:lnTo>
                <a:lnTo>
                  <a:pt x="3502609" y="3523893"/>
                </a:lnTo>
                <a:cubicBezTo>
                  <a:pt x="3500396" y="3523286"/>
                  <a:pt x="3497907" y="3522679"/>
                  <a:pt x="3493205" y="3524297"/>
                </a:cubicBezTo>
                <a:cubicBezTo>
                  <a:pt x="3504822" y="3533603"/>
                  <a:pt x="3487673" y="3523994"/>
                  <a:pt x="3476609" y="3531884"/>
                </a:cubicBezTo>
                <a:cubicBezTo>
                  <a:pt x="3473014" y="3535525"/>
                  <a:pt x="3478546" y="3538661"/>
                  <a:pt x="3473014" y="3544022"/>
                </a:cubicBezTo>
                <a:cubicBezTo>
                  <a:pt x="3467482" y="3546551"/>
                  <a:pt x="3463886" y="3547360"/>
                  <a:pt x="3460291" y="3550900"/>
                </a:cubicBezTo>
                <a:cubicBezTo>
                  <a:pt x="3424611" y="3544932"/>
                  <a:pt x="3384228" y="3578616"/>
                  <a:pt x="3343016" y="3580842"/>
                </a:cubicBezTo>
                <a:cubicBezTo>
                  <a:pt x="3341080" y="3585495"/>
                  <a:pt x="3339421" y="3587416"/>
                  <a:pt x="3333889" y="3589945"/>
                </a:cubicBezTo>
                <a:cubicBezTo>
                  <a:pt x="3283273" y="3592575"/>
                  <a:pt x="3227955" y="3623427"/>
                  <a:pt x="3180935" y="3622415"/>
                </a:cubicBezTo>
                <a:cubicBezTo>
                  <a:pt x="3154935" y="3633239"/>
                  <a:pt x="3130872" y="3642241"/>
                  <a:pt x="3100724" y="3639409"/>
                </a:cubicBezTo>
                <a:cubicBezTo>
                  <a:pt x="3046789" y="3657110"/>
                  <a:pt x="2985109" y="3659134"/>
                  <a:pt x="2929238" y="3672890"/>
                </a:cubicBezTo>
                <a:cubicBezTo>
                  <a:pt x="2923706" y="3681084"/>
                  <a:pt x="2940578" y="3670665"/>
                  <a:pt x="2933110" y="3680780"/>
                </a:cubicBezTo>
                <a:cubicBezTo>
                  <a:pt x="2920110" y="3684725"/>
                  <a:pt x="2910706" y="3679364"/>
                  <a:pt x="2899366" y="3675824"/>
                </a:cubicBezTo>
                <a:cubicBezTo>
                  <a:pt x="2876962" y="3677240"/>
                  <a:pt x="2865899" y="3688063"/>
                  <a:pt x="2843495" y="3686647"/>
                </a:cubicBezTo>
                <a:cubicBezTo>
                  <a:pt x="2834091" y="3684219"/>
                  <a:pt x="2841282" y="3677038"/>
                  <a:pt x="2831878" y="3677442"/>
                </a:cubicBezTo>
                <a:cubicBezTo>
                  <a:pt x="2824687" y="3684624"/>
                  <a:pt x="2819155" y="3684219"/>
                  <a:pt x="2817495" y="3694638"/>
                </a:cubicBezTo>
                <a:cubicBezTo>
                  <a:pt x="2811687" y="3691401"/>
                  <a:pt x="2802560" y="3694638"/>
                  <a:pt x="2806155" y="3696762"/>
                </a:cubicBezTo>
                <a:cubicBezTo>
                  <a:pt x="2800623" y="3699291"/>
                  <a:pt x="2791219" y="3691199"/>
                  <a:pt x="2781815" y="3691502"/>
                </a:cubicBezTo>
                <a:cubicBezTo>
                  <a:pt x="2777943" y="3695144"/>
                  <a:pt x="2792879" y="3692210"/>
                  <a:pt x="2783751" y="3698381"/>
                </a:cubicBezTo>
                <a:cubicBezTo>
                  <a:pt x="2781815" y="3697268"/>
                  <a:pt x="2781815" y="3699999"/>
                  <a:pt x="2780156" y="3701820"/>
                </a:cubicBezTo>
                <a:cubicBezTo>
                  <a:pt x="2757199" y="3688973"/>
                  <a:pt x="2729540" y="3701618"/>
                  <a:pt x="2705200" y="3699190"/>
                </a:cubicBezTo>
                <a:cubicBezTo>
                  <a:pt x="2703264" y="3701011"/>
                  <a:pt x="2703264" y="3703843"/>
                  <a:pt x="2701604" y="3705664"/>
                </a:cubicBezTo>
                <a:cubicBezTo>
                  <a:pt x="2699392" y="3695953"/>
                  <a:pt x="2635776" y="3699797"/>
                  <a:pt x="2619180" y="3710215"/>
                </a:cubicBezTo>
                <a:cubicBezTo>
                  <a:pt x="2553352" y="3701415"/>
                  <a:pt x="2497481" y="3715071"/>
                  <a:pt x="2431929" y="3709204"/>
                </a:cubicBezTo>
                <a:cubicBezTo>
                  <a:pt x="2424461" y="3710620"/>
                  <a:pt x="2433865" y="3716082"/>
                  <a:pt x="2426397" y="3720432"/>
                </a:cubicBezTo>
                <a:cubicBezTo>
                  <a:pt x="2422525" y="3715374"/>
                  <a:pt x="2407866" y="3718207"/>
                  <a:pt x="2411185" y="3708901"/>
                </a:cubicBezTo>
                <a:cubicBezTo>
                  <a:pt x="2394589" y="3713655"/>
                  <a:pt x="2362505" y="3701213"/>
                  <a:pt x="2353378" y="3710215"/>
                </a:cubicBezTo>
                <a:cubicBezTo>
                  <a:pt x="2345910" y="3714464"/>
                  <a:pt x="2349229" y="3705158"/>
                  <a:pt x="2341761" y="3706574"/>
                </a:cubicBezTo>
                <a:cubicBezTo>
                  <a:pt x="2336229" y="3706271"/>
                  <a:pt x="2342037" y="3712340"/>
                  <a:pt x="2334570" y="3713756"/>
                </a:cubicBezTo>
                <a:cubicBezTo>
                  <a:pt x="2345910" y="3711632"/>
                  <a:pt x="2342037" y="3712340"/>
                  <a:pt x="2351441" y="3717701"/>
                </a:cubicBezTo>
                <a:cubicBezTo>
                  <a:pt x="2344250" y="3724883"/>
                  <a:pt x="2334570" y="3716689"/>
                  <a:pt x="2325165" y="3717094"/>
                </a:cubicBezTo>
                <a:cubicBezTo>
                  <a:pt x="2330697" y="3711733"/>
                  <a:pt x="2330697" y="3708799"/>
                  <a:pt x="2328761" y="3707788"/>
                </a:cubicBezTo>
                <a:cubicBezTo>
                  <a:pt x="2319357" y="3705259"/>
                  <a:pt x="2313825" y="3710620"/>
                  <a:pt x="2304421" y="3705360"/>
                </a:cubicBezTo>
                <a:cubicBezTo>
                  <a:pt x="2304421" y="3708192"/>
                  <a:pt x="2302762" y="3712845"/>
                  <a:pt x="2310229" y="3714262"/>
                </a:cubicBezTo>
                <a:cubicBezTo>
                  <a:pt x="2304698" y="3716790"/>
                  <a:pt x="2296953" y="3709609"/>
                  <a:pt x="2298889" y="3707889"/>
                </a:cubicBezTo>
                <a:cubicBezTo>
                  <a:pt x="2280358" y="3717195"/>
                  <a:pt x="2255188" y="3688973"/>
                  <a:pt x="2234997" y="3705765"/>
                </a:cubicBezTo>
                <a:cubicBezTo>
                  <a:pt x="2229189" y="3696863"/>
                  <a:pt x="2201253" y="3698077"/>
                  <a:pt x="2197381" y="3698785"/>
                </a:cubicBezTo>
                <a:cubicBezTo>
                  <a:pt x="2176913" y="3698482"/>
                  <a:pt x="2159765" y="3691806"/>
                  <a:pt x="2139297" y="3688569"/>
                </a:cubicBezTo>
                <a:cubicBezTo>
                  <a:pt x="2126021" y="3686849"/>
                  <a:pt x="2101681" y="3681488"/>
                  <a:pt x="2086745" y="3693020"/>
                </a:cubicBezTo>
                <a:cubicBezTo>
                  <a:pt x="2071532" y="3675824"/>
                  <a:pt x="2017321" y="3682095"/>
                  <a:pt x="1996300" y="3664596"/>
                </a:cubicBezTo>
                <a:cubicBezTo>
                  <a:pt x="1990768" y="3664292"/>
                  <a:pt x="1986896" y="3665000"/>
                  <a:pt x="1981364" y="3670361"/>
                </a:cubicBezTo>
                <a:cubicBezTo>
                  <a:pt x="1947343" y="3651142"/>
                  <a:pt x="1913599" y="3654784"/>
                  <a:pt x="1870175" y="3641735"/>
                </a:cubicBezTo>
                <a:cubicBezTo>
                  <a:pt x="1873770" y="3638094"/>
                  <a:pt x="1875707" y="3633542"/>
                  <a:pt x="1879302" y="3629900"/>
                </a:cubicBezTo>
                <a:cubicBezTo>
                  <a:pt x="1869898" y="3624641"/>
                  <a:pt x="1866303" y="3631013"/>
                  <a:pt x="1858835" y="3635262"/>
                </a:cubicBezTo>
                <a:cubicBezTo>
                  <a:pt x="1845558" y="3624944"/>
                  <a:pt x="1830623" y="3630710"/>
                  <a:pt x="1820942" y="3622516"/>
                </a:cubicBezTo>
                <a:cubicBezTo>
                  <a:pt x="1832282" y="3620392"/>
                  <a:pt x="1841686" y="3628586"/>
                  <a:pt x="1845282" y="3613514"/>
                </a:cubicBezTo>
                <a:cubicBezTo>
                  <a:pt x="1852750" y="3617762"/>
                  <a:pt x="1852750" y="3620594"/>
                  <a:pt x="1864090" y="3618470"/>
                </a:cubicBezTo>
                <a:cubicBezTo>
                  <a:pt x="1867409" y="3606332"/>
                  <a:pt x="1863813" y="3607040"/>
                  <a:pt x="1871005" y="3597026"/>
                </a:cubicBezTo>
                <a:cubicBezTo>
                  <a:pt x="1878473" y="3598442"/>
                  <a:pt x="1908344" y="3595509"/>
                  <a:pt x="1906961" y="3608760"/>
                </a:cubicBezTo>
                <a:cubicBezTo>
                  <a:pt x="1932961" y="3606534"/>
                  <a:pt x="1965322" y="3630406"/>
                  <a:pt x="1989662" y="3621404"/>
                </a:cubicBezTo>
                <a:cubicBezTo>
                  <a:pt x="1989938" y="3632834"/>
                  <a:pt x="2012066" y="3625652"/>
                  <a:pt x="2027278" y="3628484"/>
                </a:cubicBezTo>
                <a:cubicBezTo>
                  <a:pt x="2038618" y="3632025"/>
                  <a:pt x="2065447" y="3658425"/>
                  <a:pt x="2089234" y="3635059"/>
                </a:cubicBezTo>
                <a:cubicBezTo>
                  <a:pt x="2098638" y="3637588"/>
                  <a:pt x="2085638" y="3638600"/>
                  <a:pt x="2089234" y="3643657"/>
                </a:cubicBezTo>
                <a:cubicBezTo>
                  <a:pt x="2104447" y="3649322"/>
                  <a:pt x="2121595" y="3653166"/>
                  <a:pt x="2130723" y="3644264"/>
                </a:cubicBezTo>
                <a:cubicBezTo>
                  <a:pt x="2134595" y="3652053"/>
                  <a:pt x="2161148" y="3664191"/>
                  <a:pt x="2175807" y="3649828"/>
                </a:cubicBezTo>
                <a:cubicBezTo>
                  <a:pt x="2202359" y="3667630"/>
                  <a:pt x="2281188" y="3672384"/>
                  <a:pt x="2325719" y="3652255"/>
                </a:cubicBezTo>
                <a:cubicBezTo>
                  <a:pt x="2323782" y="3656908"/>
                  <a:pt x="2327655" y="3659134"/>
                  <a:pt x="2335123" y="3660550"/>
                </a:cubicBezTo>
                <a:cubicBezTo>
                  <a:pt x="2337059" y="3655897"/>
                  <a:pt x="2323782" y="3656908"/>
                  <a:pt x="2332910" y="3650839"/>
                </a:cubicBezTo>
                <a:cubicBezTo>
                  <a:pt x="2374398" y="3657110"/>
                  <a:pt x="2434142" y="3648411"/>
                  <a:pt x="2473694" y="3656605"/>
                </a:cubicBezTo>
                <a:cubicBezTo>
                  <a:pt x="2472035" y="3664090"/>
                  <a:pt x="2466226" y="3658021"/>
                  <a:pt x="2462631" y="3664393"/>
                </a:cubicBezTo>
                <a:cubicBezTo>
                  <a:pt x="2475907" y="3669046"/>
                  <a:pt x="2502183" y="3669755"/>
                  <a:pt x="2507438" y="3655796"/>
                </a:cubicBezTo>
                <a:cubicBezTo>
                  <a:pt x="2518502" y="3653570"/>
                  <a:pt x="2527906" y="3653166"/>
                  <a:pt x="2541182" y="3657819"/>
                </a:cubicBezTo>
                <a:cubicBezTo>
                  <a:pt x="2543118" y="3661763"/>
                  <a:pt x="2535650" y="3660347"/>
                  <a:pt x="2532055" y="3663989"/>
                </a:cubicBezTo>
                <a:cubicBezTo>
                  <a:pt x="2545331" y="3671373"/>
                  <a:pt x="2546990" y="3663888"/>
                  <a:pt x="2559990" y="3665607"/>
                </a:cubicBezTo>
                <a:cubicBezTo>
                  <a:pt x="2561926" y="3660954"/>
                  <a:pt x="2546990" y="3663787"/>
                  <a:pt x="2554182" y="3656605"/>
                </a:cubicBezTo>
                <a:cubicBezTo>
                  <a:pt x="2569394" y="3659437"/>
                  <a:pt x="2576586" y="3652356"/>
                  <a:pt x="2589862" y="3656908"/>
                </a:cubicBezTo>
                <a:cubicBezTo>
                  <a:pt x="2584330" y="3662370"/>
                  <a:pt x="2576862" y="3663787"/>
                  <a:pt x="2571054" y="3657717"/>
                </a:cubicBezTo>
                <a:cubicBezTo>
                  <a:pt x="2571054" y="3660550"/>
                  <a:pt x="2574926" y="3662674"/>
                  <a:pt x="2571330" y="3666315"/>
                </a:cubicBezTo>
                <a:cubicBezTo>
                  <a:pt x="2586266" y="3666214"/>
                  <a:pt x="2595670" y="3665810"/>
                  <a:pt x="2602862" y="3652963"/>
                </a:cubicBezTo>
                <a:cubicBezTo>
                  <a:pt x="2610330" y="3654379"/>
                  <a:pt x="2601202" y="3660449"/>
                  <a:pt x="2601202" y="3663382"/>
                </a:cubicBezTo>
                <a:cubicBezTo>
                  <a:pt x="2655690" y="3665708"/>
                  <a:pt x="2703817" y="3641938"/>
                  <a:pt x="2767433" y="3643961"/>
                </a:cubicBezTo>
                <a:cubicBezTo>
                  <a:pt x="2769369" y="3647804"/>
                  <a:pt x="2771305" y="3651749"/>
                  <a:pt x="2777113" y="3654986"/>
                </a:cubicBezTo>
                <a:cubicBezTo>
                  <a:pt x="2788177" y="3647096"/>
                  <a:pt x="2805049" y="3650940"/>
                  <a:pt x="2810304" y="3636981"/>
                </a:cubicBezTo>
                <a:cubicBezTo>
                  <a:pt x="2844048" y="3639105"/>
                  <a:pt x="2873920" y="3630406"/>
                  <a:pt x="2903792" y="3621808"/>
                </a:cubicBezTo>
                <a:cubicBezTo>
                  <a:pt x="3001151" y="3620089"/>
                  <a:pt x="3088277" y="3590249"/>
                  <a:pt x="3181764" y="3574975"/>
                </a:cubicBezTo>
                <a:cubicBezTo>
                  <a:pt x="3242891" y="3547259"/>
                  <a:pt x="3300975" y="3545944"/>
                  <a:pt x="3362101" y="3521162"/>
                </a:cubicBezTo>
                <a:cubicBezTo>
                  <a:pt x="3369569" y="3525410"/>
                  <a:pt x="3382569" y="3515699"/>
                  <a:pt x="3388377" y="3521769"/>
                </a:cubicBezTo>
                <a:cubicBezTo>
                  <a:pt x="3393909" y="3516407"/>
                  <a:pt x="3393909" y="3513474"/>
                  <a:pt x="3386164" y="3512058"/>
                </a:cubicBezTo>
                <a:cubicBezTo>
                  <a:pt x="3401100" y="3503460"/>
                  <a:pt x="3417972" y="3507304"/>
                  <a:pt x="3434844" y="3502651"/>
                </a:cubicBezTo>
                <a:cubicBezTo>
                  <a:pt x="3432770" y="3498706"/>
                  <a:pt x="3434568" y="3497644"/>
                  <a:pt x="3437334" y="3496405"/>
                </a:cubicBezTo>
                <a:lnTo>
                  <a:pt x="3438797" y="3495116"/>
                </a:lnTo>
                <a:lnTo>
                  <a:pt x="3398461" y="3493308"/>
                </a:lnTo>
                <a:lnTo>
                  <a:pt x="3360215" y="3487906"/>
                </a:lnTo>
                <a:lnTo>
                  <a:pt x="3335272" y="3497593"/>
                </a:lnTo>
                <a:cubicBezTo>
                  <a:pt x="3318677" y="3502246"/>
                  <a:pt x="3299868" y="3497391"/>
                  <a:pt x="3288805" y="3513778"/>
                </a:cubicBezTo>
                <a:cubicBezTo>
                  <a:pt x="3268337" y="3510642"/>
                  <a:pt x="3255337" y="3517419"/>
                  <a:pt x="3242338" y="3527130"/>
                </a:cubicBezTo>
                <a:cubicBezTo>
                  <a:pt x="3182594" y="3532996"/>
                  <a:pt x="3125064" y="3551406"/>
                  <a:pt x="3066980" y="3561218"/>
                </a:cubicBezTo>
                <a:cubicBezTo>
                  <a:pt x="3063384" y="3564859"/>
                  <a:pt x="3065320" y="3565871"/>
                  <a:pt x="3063661" y="3570524"/>
                </a:cubicBezTo>
                <a:cubicBezTo>
                  <a:pt x="3065044" y="3557374"/>
                  <a:pt x="3031576" y="3566680"/>
                  <a:pt x="3039321" y="3570929"/>
                </a:cubicBezTo>
                <a:cubicBezTo>
                  <a:pt x="2990641" y="3574671"/>
                  <a:pt x="2917898" y="3584584"/>
                  <a:pt x="2875026" y="3597228"/>
                </a:cubicBezTo>
                <a:cubicBezTo>
                  <a:pt x="2873090" y="3598948"/>
                  <a:pt x="2865622" y="3597532"/>
                  <a:pt x="2867558" y="3595711"/>
                </a:cubicBezTo>
                <a:cubicBezTo>
                  <a:pt x="2860090" y="3594295"/>
                  <a:pt x="2863963" y="3599352"/>
                  <a:pt x="2858431" y="3601881"/>
                </a:cubicBezTo>
                <a:cubicBezTo>
                  <a:pt x="2847091" y="3598341"/>
                  <a:pt x="2828282" y="3596217"/>
                  <a:pt x="2819155" y="3605118"/>
                </a:cubicBezTo>
                <a:cubicBezTo>
                  <a:pt x="2787071" y="3601274"/>
                  <a:pt x="2731199" y="3612199"/>
                  <a:pt x="2701051" y="3609468"/>
                </a:cubicBezTo>
                <a:cubicBezTo>
                  <a:pt x="2695519" y="3611997"/>
                  <a:pt x="2689988" y="3614525"/>
                  <a:pt x="2686115" y="3615233"/>
                </a:cubicBezTo>
                <a:cubicBezTo>
                  <a:pt x="2678647" y="3613817"/>
                  <a:pt x="2675052" y="3611693"/>
                  <a:pt x="2669243" y="3608456"/>
                </a:cubicBezTo>
                <a:cubicBezTo>
                  <a:pt x="2659839" y="3611693"/>
                  <a:pt x="2646839" y="3615739"/>
                  <a:pt x="2631904" y="3609973"/>
                </a:cubicBezTo>
                <a:cubicBezTo>
                  <a:pt x="2635499" y="3603601"/>
                  <a:pt x="2639095" y="3602893"/>
                  <a:pt x="2633287" y="3596824"/>
                </a:cubicBezTo>
                <a:cubicBezTo>
                  <a:pt x="2622223" y="3598948"/>
                  <a:pt x="2629967" y="3606130"/>
                  <a:pt x="2624436" y="3611491"/>
                </a:cubicBezTo>
                <a:cubicBezTo>
                  <a:pt x="2611436" y="3615436"/>
                  <a:pt x="2611159" y="3604005"/>
                  <a:pt x="2605351" y="3600769"/>
                </a:cubicBezTo>
                <a:cubicBezTo>
                  <a:pt x="2600096" y="3617560"/>
                  <a:pt x="2579628" y="3623022"/>
                  <a:pt x="2566075" y="3607040"/>
                </a:cubicBezTo>
                <a:cubicBezTo>
                  <a:pt x="2556671" y="3604511"/>
                  <a:pt x="2551416" y="3615537"/>
                  <a:pt x="2543671" y="3611288"/>
                </a:cubicBezTo>
                <a:cubicBezTo>
                  <a:pt x="2542012" y="3613109"/>
                  <a:pt x="2538416" y="3616751"/>
                  <a:pt x="2542012" y="3618875"/>
                </a:cubicBezTo>
                <a:cubicBezTo>
                  <a:pt x="2534544" y="3620291"/>
                  <a:pt x="2529012" y="3614222"/>
                  <a:pt x="2523480" y="3622415"/>
                </a:cubicBezTo>
                <a:cubicBezTo>
                  <a:pt x="2517672" y="3619279"/>
                  <a:pt x="2498864" y="3611491"/>
                  <a:pt x="2491672" y="3621505"/>
                </a:cubicBezTo>
                <a:cubicBezTo>
                  <a:pt x="2487800" y="3619381"/>
                  <a:pt x="2493332" y="3613918"/>
                  <a:pt x="2489460" y="3611794"/>
                </a:cubicBezTo>
                <a:cubicBezTo>
                  <a:pt x="2480332" y="3617863"/>
                  <a:pt x="2470928" y="3612603"/>
                  <a:pt x="2463460" y="3622618"/>
                </a:cubicBezTo>
                <a:cubicBezTo>
                  <a:pt x="2457929" y="3619482"/>
                  <a:pt x="2446312" y="3613008"/>
                  <a:pt x="2446588" y="3618774"/>
                </a:cubicBezTo>
                <a:cubicBezTo>
                  <a:pt x="2412844" y="3616751"/>
                  <a:pt x="2373569" y="3625753"/>
                  <a:pt x="2343420" y="3614424"/>
                </a:cubicBezTo>
                <a:cubicBezTo>
                  <a:pt x="2337888" y="3614020"/>
                  <a:pt x="2332357" y="3613716"/>
                  <a:pt x="2326825" y="3619077"/>
                </a:cubicBezTo>
                <a:cubicBezTo>
                  <a:pt x="2303868" y="3603399"/>
                  <a:pt x="2249933" y="3620999"/>
                  <a:pt x="2221444" y="3602185"/>
                </a:cubicBezTo>
                <a:cubicBezTo>
                  <a:pt x="2215912" y="3601780"/>
                  <a:pt x="2212040" y="3608254"/>
                  <a:pt x="2206508" y="3607849"/>
                </a:cubicBezTo>
                <a:cubicBezTo>
                  <a:pt x="2195168" y="3604309"/>
                  <a:pt x="2200700" y="3596116"/>
                  <a:pt x="2196828" y="3591159"/>
                </a:cubicBezTo>
                <a:cubicBezTo>
                  <a:pt x="2183828" y="3592272"/>
                  <a:pt x="2159765" y="3609872"/>
                  <a:pt x="2153680" y="3589541"/>
                </a:cubicBezTo>
                <a:cubicBezTo>
                  <a:pt x="2142339" y="3588833"/>
                  <a:pt x="2133212" y="3597734"/>
                  <a:pt x="2123808" y="3598139"/>
                </a:cubicBezTo>
                <a:cubicBezTo>
                  <a:pt x="2121872" y="3594194"/>
                  <a:pt x="2121872" y="3591361"/>
                  <a:pt x="2117999" y="3589237"/>
                </a:cubicBezTo>
                <a:cubicBezTo>
                  <a:pt x="2108872" y="3595306"/>
                  <a:pt x="2080660" y="3590755"/>
                  <a:pt x="2078447" y="3578212"/>
                </a:cubicBezTo>
                <a:cubicBezTo>
                  <a:pt x="2065447" y="3585090"/>
                  <a:pt x="2050511" y="3582157"/>
                  <a:pt x="2035576" y="3582258"/>
                </a:cubicBezTo>
                <a:cubicBezTo>
                  <a:pt x="2002938" y="3555452"/>
                  <a:pt x="1926323" y="3560409"/>
                  <a:pt x="1884558" y="3534008"/>
                </a:cubicBezTo>
                <a:cubicBezTo>
                  <a:pt x="1880685" y="3529052"/>
                  <a:pt x="1867686" y="3538661"/>
                  <a:pt x="1869622" y="3534008"/>
                </a:cubicBezTo>
                <a:cubicBezTo>
                  <a:pt x="1895621" y="3526118"/>
                  <a:pt x="1931025" y="3526320"/>
                  <a:pt x="1955641" y="3534514"/>
                </a:cubicBezTo>
                <a:cubicBezTo>
                  <a:pt x="1965045" y="3534109"/>
                  <a:pt x="1970300" y="3523084"/>
                  <a:pt x="1968364" y="3519139"/>
                </a:cubicBezTo>
                <a:cubicBezTo>
                  <a:pt x="1936280" y="3512463"/>
                  <a:pt x="1909727" y="3488894"/>
                  <a:pt x="1887600" y="3501842"/>
                </a:cubicBezTo>
                <a:cubicBezTo>
                  <a:pt x="1881792" y="3495772"/>
                  <a:pt x="1868515" y="3491119"/>
                  <a:pt x="1868239" y="3482521"/>
                </a:cubicBezTo>
                <a:cubicBezTo>
                  <a:pt x="1900323" y="3492131"/>
                  <a:pt x="1924940" y="3494660"/>
                  <a:pt x="1958684" y="3505281"/>
                </a:cubicBezTo>
                <a:cubicBezTo>
                  <a:pt x="1964215" y="3499920"/>
                  <a:pt x="1971683" y="3501235"/>
                  <a:pt x="1977215" y="3493041"/>
                </a:cubicBezTo>
                <a:cubicBezTo>
                  <a:pt x="1980811" y="3486568"/>
                  <a:pt x="1967811" y="3493446"/>
                  <a:pt x="1967811" y="3487680"/>
                </a:cubicBezTo>
                <a:cubicBezTo>
                  <a:pt x="1971407" y="3484140"/>
                  <a:pt x="1973066" y="3482319"/>
                  <a:pt x="1976939" y="3484443"/>
                </a:cubicBezTo>
                <a:cubicBezTo>
                  <a:pt x="1976939" y="3481611"/>
                  <a:pt x="1973066" y="3479386"/>
                  <a:pt x="1976662" y="3475845"/>
                </a:cubicBezTo>
                <a:cubicBezTo>
                  <a:pt x="1967258" y="3473317"/>
                  <a:pt x="1958130" y="3482319"/>
                  <a:pt x="1944854" y="3474834"/>
                </a:cubicBezTo>
                <a:cubicBezTo>
                  <a:pt x="1959790" y="3472002"/>
                  <a:pt x="1948173" y="3459863"/>
                  <a:pt x="1963386" y="3459762"/>
                </a:cubicBezTo>
                <a:cubicBezTo>
                  <a:pt x="1959513" y="3454806"/>
                  <a:pt x="1948173" y="3451265"/>
                  <a:pt x="1958960" y="3440442"/>
                </a:cubicBezTo>
                <a:cubicBezTo>
                  <a:pt x="1964769" y="3443679"/>
                  <a:pt x="1959513" y="3457638"/>
                  <a:pt x="1970577" y="3446916"/>
                </a:cubicBezTo>
                <a:cubicBezTo>
                  <a:pt x="1974173" y="3451872"/>
                  <a:pt x="1961173" y="3455817"/>
                  <a:pt x="1968917" y="3460066"/>
                </a:cubicBezTo>
                <a:cubicBezTo>
                  <a:pt x="1970854" y="3461178"/>
                  <a:pt x="1974449" y="3457638"/>
                  <a:pt x="1974449" y="3454705"/>
                </a:cubicBezTo>
                <a:cubicBezTo>
                  <a:pt x="1985789" y="3455413"/>
                  <a:pt x="1976385" y="3464415"/>
                  <a:pt x="1984130" y="3465831"/>
                </a:cubicBezTo>
                <a:cubicBezTo>
                  <a:pt x="1993534" y="3465427"/>
                  <a:pt x="1981917" y="3459054"/>
                  <a:pt x="1987449" y="3453693"/>
                </a:cubicBezTo>
                <a:cubicBezTo>
                  <a:pt x="1998789" y="3457233"/>
                  <a:pt x="2008193" y="3453895"/>
                  <a:pt x="2015385" y="3443881"/>
                </a:cubicBezTo>
                <a:cubicBezTo>
                  <a:pt x="2021193" y="3458548"/>
                  <a:pt x="2036129" y="3449950"/>
                  <a:pt x="2027001" y="3461785"/>
                </a:cubicBezTo>
                <a:cubicBezTo>
                  <a:pt x="2046086" y="3472406"/>
                  <a:pt x="2087021" y="3458751"/>
                  <a:pt x="2081766" y="3475542"/>
                </a:cubicBezTo>
                <a:cubicBezTo>
                  <a:pt x="2095042" y="3480195"/>
                  <a:pt x="2088957" y="3465528"/>
                  <a:pt x="2100298" y="3472002"/>
                </a:cubicBezTo>
                <a:cubicBezTo>
                  <a:pt x="2100574" y="3480498"/>
                  <a:pt x="2092830" y="3473418"/>
                  <a:pt x="2089234" y="3476958"/>
                </a:cubicBezTo>
                <a:cubicBezTo>
                  <a:pt x="2087575" y="3490209"/>
                  <a:pt x="2111638" y="3478374"/>
                  <a:pt x="2113851" y="3485151"/>
                </a:cubicBezTo>
                <a:cubicBezTo>
                  <a:pt x="2119382" y="3479790"/>
                  <a:pt x="2117446" y="3478779"/>
                  <a:pt x="2122701" y="3470484"/>
                </a:cubicBezTo>
                <a:cubicBezTo>
                  <a:pt x="2126574" y="3472609"/>
                  <a:pt x="2128510" y="3473620"/>
                  <a:pt x="2132106" y="3472912"/>
                </a:cubicBezTo>
                <a:cubicBezTo>
                  <a:pt x="2130446" y="3480397"/>
                  <a:pt x="2124914" y="3477160"/>
                  <a:pt x="2121042" y="3480802"/>
                </a:cubicBezTo>
                <a:cubicBezTo>
                  <a:pt x="2124914" y="3480094"/>
                  <a:pt x="2126850" y="3481206"/>
                  <a:pt x="2128510" y="3482218"/>
                </a:cubicBezTo>
                <a:cubicBezTo>
                  <a:pt x="2132382" y="3481510"/>
                  <a:pt x="2128510" y="3479386"/>
                  <a:pt x="2132106" y="3475845"/>
                </a:cubicBezTo>
                <a:cubicBezTo>
                  <a:pt x="2153126" y="3487579"/>
                  <a:pt x="2175807" y="3491827"/>
                  <a:pt x="2197934" y="3484544"/>
                </a:cubicBezTo>
                <a:cubicBezTo>
                  <a:pt x="2203742" y="3490614"/>
                  <a:pt x="2211210" y="3489096"/>
                  <a:pt x="2218678" y="3487680"/>
                </a:cubicBezTo>
                <a:cubicBezTo>
                  <a:pt x="2220614" y="3485859"/>
                  <a:pt x="2224210" y="3482319"/>
                  <a:pt x="2222274" y="3481308"/>
                </a:cubicBezTo>
                <a:cubicBezTo>
                  <a:pt x="2230018" y="3491322"/>
                  <a:pt x="2258231" y="3495874"/>
                  <a:pt x="2274826" y="3488287"/>
                </a:cubicBezTo>
                <a:cubicBezTo>
                  <a:pt x="2269571" y="3493648"/>
                  <a:pt x="2277039" y="3492131"/>
                  <a:pt x="2275103" y="3496784"/>
                </a:cubicBezTo>
                <a:cubicBezTo>
                  <a:pt x="2306910" y="3494963"/>
                  <a:pt x="2329314" y="3496379"/>
                  <a:pt x="2359462" y="3501943"/>
                </a:cubicBezTo>
                <a:cubicBezTo>
                  <a:pt x="2363058" y="3498402"/>
                  <a:pt x="2355590" y="3494154"/>
                  <a:pt x="2364994" y="3496582"/>
                </a:cubicBezTo>
                <a:cubicBezTo>
                  <a:pt x="2366931" y="3494862"/>
                  <a:pt x="2364994" y="3493749"/>
                  <a:pt x="2366654" y="3491929"/>
                </a:cubicBezTo>
                <a:cubicBezTo>
                  <a:pt x="2357250" y="3486669"/>
                  <a:pt x="2357526" y="3495267"/>
                  <a:pt x="2351995" y="3494862"/>
                </a:cubicBezTo>
                <a:cubicBezTo>
                  <a:pt x="2350059" y="3493851"/>
                  <a:pt x="2346186" y="3491726"/>
                  <a:pt x="2346186" y="3488894"/>
                </a:cubicBezTo>
                <a:cubicBezTo>
                  <a:pt x="2366654" y="3483432"/>
                  <a:pt x="2387121" y="3483735"/>
                  <a:pt x="2409802" y="3485050"/>
                </a:cubicBezTo>
                <a:cubicBezTo>
                  <a:pt x="2415057" y="3476857"/>
                  <a:pt x="2402057" y="3483735"/>
                  <a:pt x="2409525" y="3476553"/>
                </a:cubicBezTo>
                <a:cubicBezTo>
                  <a:pt x="2432206" y="3480701"/>
                  <a:pt x="2454609" y="3479285"/>
                  <a:pt x="2474801" y="3470990"/>
                </a:cubicBezTo>
                <a:cubicBezTo>
                  <a:pt x="2478396" y="3464516"/>
                  <a:pt x="2467333" y="3463808"/>
                  <a:pt x="2472588" y="3455514"/>
                </a:cubicBezTo>
                <a:cubicBezTo>
                  <a:pt x="2453780" y="3453390"/>
                  <a:pt x="2436908" y="3449647"/>
                  <a:pt x="2423908" y="3453592"/>
                </a:cubicBezTo>
                <a:cubicBezTo>
                  <a:pt x="2419759" y="3440037"/>
                  <a:pt x="2405100" y="3451468"/>
                  <a:pt x="2388228" y="3453288"/>
                </a:cubicBezTo>
                <a:cubicBezTo>
                  <a:pt x="2371356" y="3452277"/>
                  <a:pt x="2348675" y="3445196"/>
                  <a:pt x="2328208" y="3444893"/>
                </a:cubicBezTo>
                <a:cubicBezTo>
                  <a:pt x="2309400" y="3445601"/>
                  <a:pt x="2283124" y="3439228"/>
                  <a:pt x="2265975" y="3432552"/>
                </a:cubicBezTo>
                <a:cubicBezTo>
                  <a:pt x="2262379" y="3430327"/>
                  <a:pt x="2258784" y="3436801"/>
                  <a:pt x="2251039" y="3435384"/>
                </a:cubicBezTo>
                <a:cubicBezTo>
                  <a:pt x="2252975" y="3430731"/>
                  <a:pt x="2247444" y="3430428"/>
                  <a:pt x="2245507" y="3429416"/>
                </a:cubicBezTo>
                <a:cubicBezTo>
                  <a:pt x="2226976" y="3438722"/>
                  <a:pt x="2211487" y="3424460"/>
                  <a:pt x="2192955" y="3433766"/>
                </a:cubicBezTo>
                <a:cubicBezTo>
                  <a:pt x="2138191" y="3414244"/>
                  <a:pt x="2089787" y="3420818"/>
                  <a:pt x="2046086" y="3396238"/>
                </a:cubicBezTo>
                <a:cubicBezTo>
                  <a:pt x="2038618" y="3394822"/>
                  <a:pt x="2031150" y="3399172"/>
                  <a:pt x="2023682" y="3397756"/>
                </a:cubicBezTo>
                <a:cubicBezTo>
                  <a:pt x="2036405" y="3388045"/>
                  <a:pt x="2019533" y="3387034"/>
                  <a:pt x="2014002" y="3383797"/>
                </a:cubicBezTo>
                <a:cubicBezTo>
                  <a:pt x="2038065" y="3374794"/>
                  <a:pt x="2074022" y="3389360"/>
                  <a:pt x="2105829" y="3393204"/>
                </a:cubicBezTo>
                <a:cubicBezTo>
                  <a:pt x="2109425" y="3389664"/>
                  <a:pt x="2103893" y="3389360"/>
                  <a:pt x="2101957" y="3388349"/>
                </a:cubicBezTo>
                <a:cubicBezTo>
                  <a:pt x="2130169" y="3384302"/>
                  <a:pt x="2151467" y="3416064"/>
                  <a:pt x="2166126" y="3407466"/>
                </a:cubicBezTo>
                <a:cubicBezTo>
                  <a:pt x="2179679" y="3423448"/>
                  <a:pt x="2235550" y="3409793"/>
                  <a:pt x="2241635" y="3427292"/>
                </a:cubicBezTo>
                <a:cubicBezTo>
                  <a:pt x="2258507" y="3428304"/>
                  <a:pt x="2260167" y="3426483"/>
                  <a:pt x="2275379" y="3429315"/>
                </a:cubicBezTo>
                <a:cubicBezTo>
                  <a:pt x="2279251" y="3431439"/>
                  <a:pt x="2275103" y="3423550"/>
                  <a:pt x="2273167" y="3422538"/>
                </a:cubicBezTo>
                <a:cubicBezTo>
                  <a:pt x="2335123" y="3423448"/>
                  <a:pt x="2385739" y="3426483"/>
                  <a:pt x="2445759" y="3429214"/>
                </a:cubicBezTo>
                <a:cubicBezTo>
                  <a:pt x="2454886" y="3417379"/>
                  <a:pt x="2432482" y="3415963"/>
                  <a:pt x="2428610" y="3413839"/>
                </a:cubicBezTo>
                <a:cubicBezTo>
                  <a:pt x="2417270" y="3413131"/>
                  <a:pt x="2393206" y="3419301"/>
                  <a:pt x="2374398" y="3417278"/>
                </a:cubicBezTo>
                <a:cubicBezTo>
                  <a:pt x="2350059" y="3414850"/>
                  <a:pt x="2327378" y="3413434"/>
                  <a:pt x="2310506" y="3412423"/>
                </a:cubicBezTo>
                <a:cubicBezTo>
                  <a:pt x="2295570" y="3412423"/>
                  <a:pt x="2282294" y="3404938"/>
                  <a:pt x="2267358" y="3405039"/>
                </a:cubicBezTo>
                <a:cubicBezTo>
                  <a:pt x="2235274" y="3401195"/>
                  <a:pt x="2203466" y="3403016"/>
                  <a:pt x="2175254" y="3398363"/>
                </a:cubicBezTo>
                <a:cubicBezTo>
                  <a:pt x="2143446" y="3391687"/>
                  <a:pt x="2113297" y="3383190"/>
                  <a:pt x="2084809" y="3375806"/>
                </a:cubicBezTo>
                <a:cubicBezTo>
                  <a:pt x="2174977" y="3381268"/>
                  <a:pt x="2261826" y="3410299"/>
                  <a:pt x="2347846" y="3405140"/>
                </a:cubicBezTo>
                <a:cubicBezTo>
                  <a:pt x="2370526" y="3409388"/>
                  <a:pt x="2392930" y="3407871"/>
                  <a:pt x="2415334" y="3412119"/>
                </a:cubicBezTo>
                <a:cubicBezTo>
                  <a:pt x="2417270" y="3413131"/>
                  <a:pt x="2422802" y="3410602"/>
                  <a:pt x="2424738" y="3408781"/>
                </a:cubicBezTo>
                <a:cubicBezTo>
                  <a:pt x="2469822" y="3417278"/>
                  <a:pt x="2488353" y="3405140"/>
                  <a:pt x="2533714" y="3419301"/>
                </a:cubicBezTo>
                <a:cubicBezTo>
                  <a:pt x="2511310" y="3423651"/>
                  <a:pt x="2484758" y="3417278"/>
                  <a:pt x="2464290" y="3422740"/>
                </a:cubicBezTo>
                <a:cubicBezTo>
                  <a:pt x="2490843" y="3429012"/>
                  <a:pt x="2524587" y="3428203"/>
                  <a:pt x="2556118" y="3423448"/>
                </a:cubicBezTo>
                <a:cubicBezTo>
                  <a:pt x="2590139" y="3428405"/>
                  <a:pt x="2623883" y="3430529"/>
                  <a:pt x="2655414" y="3422842"/>
                </a:cubicBezTo>
                <a:cubicBezTo>
                  <a:pt x="2670626" y="3431439"/>
                  <a:pt x="2694966" y="3425269"/>
                  <a:pt x="2709625" y="3419503"/>
                </a:cubicBezTo>
                <a:cubicBezTo>
                  <a:pt x="2730370" y="3422639"/>
                  <a:pt x="2773241" y="3415761"/>
                  <a:pt x="2803113" y="3409995"/>
                </a:cubicBezTo>
                <a:cubicBezTo>
                  <a:pt x="2834921" y="3413839"/>
                  <a:pt x="2864792" y="3402308"/>
                  <a:pt x="2896600" y="3400487"/>
                </a:cubicBezTo>
                <a:cubicBezTo>
                  <a:pt x="2890792" y="3388652"/>
                  <a:pt x="2872537" y="3406556"/>
                  <a:pt x="2868388" y="3395834"/>
                </a:cubicBezTo>
                <a:cubicBezTo>
                  <a:pt x="2773241" y="3410096"/>
                  <a:pt x="2702157" y="3420920"/>
                  <a:pt x="2611989" y="3412625"/>
                </a:cubicBezTo>
                <a:cubicBezTo>
                  <a:pt x="2668137" y="3407466"/>
                  <a:pt x="2714881" y="3399880"/>
                  <a:pt x="2774624" y="3396845"/>
                </a:cubicBezTo>
                <a:cubicBezTo>
                  <a:pt x="2778496" y="3393305"/>
                  <a:pt x="2776560" y="3392192"/>
                  <a:pt x="2772688" y="3390068"/>
                </a:cubicBezTo>
                <a:cubicBezTo>
                  <a:pt x="2789560" y="3393912"/>
                  <a:pt x="2802560" y="3389967"/>
                  <a:pt x="2823304" y="3390270"/>
                </a:cubicBezTo>
                <a:cubicBezTo>
                  <a:pt x="2826900" y="3386629"/>
                  <a:pt x="2828836" y="3381976"/>
                  <a:pt x="2830495" y="3383089"/>
                </a:cubicBezTo>
                <a:cubicBezTo>
                  <a:pt x="2802006" y="3367005"/>
                  <a:pt x="2752497" y="3401195"/>
                  <a:pt x="2716264" y="3378031"/>
                </a:cubicBezTo>
                <a:cubicBezTo>
                  <a:pt x="2708796" y="3385213"/>
                  <a:pt x="2720136" y="3385921"/>
                  <a:pt x="2720136" y="3388753"/>
                </a:cubicBezTo>
                <a:cubicBezTo>
                  <a:pt x="2714881" y="3397048"/>
                  <a:pt x="2707136" y="3386932"/>
                  <a:pt x="2705477" y="3397351"/>
                </a:cubicBezTo>
                <a:cubicBezTo>
                  <a:pt x="2692200" y="3392698"/>
                  <a:pt x="2680860" y="3392091"/>
                  <a:pt x="2667860" y="3393204"/>
                </a:cubicBezTo>
                <a:cubicBezTo>
                  <a:pt x="2658456" y="3387843"/>
                  <a:pt x="2677264" y="3389967"/>
                  <a:pt x="2676988" y="3384201"/>
                </a:cubicBezTo>
                <a:cubicBezTo>
                  <a:pt x="2637435" y="3376109"/>
                  <a:pt x="2603691" y="3376918"/>
                  <a:pt x="2557224" y="3381672"/>
                </a:cubicBezTo>
                <a:cubicBezTo>
                  <a:pt x="2553352" y="3385314"/>
                  <a:pt x="2566628" y="3384100"/>
                  <a:pt x="2570224" y="3386224"/>
                </a:cubicBezTo>
                <a:cubicBezTo>
                  <a:pt x="2559160" y="3394114"/>
                  <a:pt x="2548097" y="3393507"/>
                  <a:pt x="2545884" y="3383797"/>
                </a:cubicBezTo>
                <a:cubicBezTo>
                  <a:pt x="2547820" y="3382077"/>
                  <a:pt x="2551416" y="3384201"/>
                  <a:pt x="2553352" y="3382381"/>
                </a:cubicBezTo>
                <a:cubicBezTo>
                  <a:pt x="2545608" y="3372366"/>
                  <a:pt x="2506332" y="3378537"/>
                  <a:pt x="2493332" y="3376817"/>
                </a:cubicBezTo>
                <a:cubicBezTo>
                  <a:pt x="2489736" y="3386123"/>
                  <a:pt x="2493332" y="3385415"/>
                  <a:pt x="2497204" y="3387539"/>
                </a:cubicBezTo>
                <a:cubicBezTo>
                  <a:pt x="2439674" y="3403016"/>
                  <a:pt x="2402887" y="3354159"/>
                  <a:pt x="2347016" y="3367916"/>
                </a:cubicBezTo>
                <a:cubicBezTo>
                  <a:pt x="2341208" y="3364679"/>
                  <a:pt x="2343144" y="3360026"/>
                  <a:pt x="2341208" y="3356182"/>
                </a:cubicBezTo>
                <a:cubicBezTo>
                  <a:pt x="2331803" y="3359419"/>
                  <a:pt x="2326272" y="3359014"/>
                  <a:pt x="2320463" y="3352945"/>
                </a:cubicBezTo>
                <a:cubicBezTo>
                  <a:pt x="2312995" y="3360127"/>
                  <a:pt x="2299719" y="3355575"/>
                  <a:pt x="2290592" y="3361644"/>
                </a:cubicBezTo>
                <a:cubicBezTo>
                  <a:pt x="2271507" y="3345258"/>
                  <a:pt x="2252699" y="3340301"/>
                  <a:pt x="2228082" y="3332108"/>
                </a:cubicBezTo>
                <a:cubicBezTo>
                  <a:pt x="2235550" y="3327859"/>
                  <a:pt x="2243018" y="3332007"/>
                  <a:pt x="2248550" y="3329478"/>
                </a:cubicBezTo>
                <a:cubicBezTo>
                  <a:pt x="2248273" y="3318048"/>
                  <a:pt x="2233614" y="3329579"/>
                  <a:pt x="2231401" y="3317036"/>
                </a:cubicBezTo>
                <a:cubicBezTo>
                  <a:pt x="2223933" y="3315721"/>
                  <a:pt x="2229742" y="3321689"/>
                  <a:pt x="2227806" y="3323510"/>
                </a:cubicBezTo>
                <a:cubicBezTo>
                  <a:pt x="2160041" y="3299334"/>
                  <a:pt x="2079277" y="3293569"/>
                  <a:pt x="2022576" y="3272934"/>
                </a:cubicBezTo>
                <a:cubicBezTo>
                  <a:pt x="2076788" y="3272428"/>
                  <a:pt x="2116893" y="3300649"/>
                  <a:pt x="2171105" y="3297210"/>
                </a:cubicBezTo>
                <a:cubicBezTo>
                  <a:pt x="2199594" y="3310461"/>
                  <a:pt x="2242741" y="3312080"/>
                  <a:pt x="2274273" y="3307325"/>
                </a:cubicBezTo>
                <a:cubicBezTo>
                  <a:pt x="2266805" y="3300245"/>
                  <a:pt x="2238869" y="3312788"/>
                  <a:pt x="2232784" y="3298121"/>
                </a:cubicBezTo>
                <a:cubicBezTo>
                  <a:pt x="2184381" y="3301863"/>
                  <a:pt x="2144276" y="3267977"/>
                  <a:pt x="2091723" y="3272428"/>
                </a:cubicBezTo>
                <a:cubicBezTo>
                  <a:pt x="2087851" y="3267370"/>
                  <a:pt x="2067107" y="3255738"/>
                  <a:pt x="2057979" y="3261807"/>
                </a:cubicBezTo>
                <a:cubicBezTo>
                  <a:pt x="2052171" y="3255738"/>
                  <a:pt x="2050235" y="3254625"/>
                  <a:pt x="2038895" y="3248151"/>
                </a:cubicBezTo>
                <a:cubicBezTo>
                  <a:pt x="2072639" y="3250276"/>
                  <a:pt x="2116063" y="3272023"/>
                  <a:pt x="2142339" y="3266966"/>
                </a:cubicBezTo>
                <a:cubicBezTo>
                  <a:pt x="2138744" y="3279104"/>
                  <a:pt x="2160871" y="3266156"/>
                  <a:pt x="2166679" y="3275058"/>
                </a:cubicBezTo>
                <a:cubicBezTo>
                  <a:pt x="2170275" y="3268685"/>
                  <a:pt x="2164743" y="3265448"/>
                  <a:pt x="2162807" y="3261503"/>
                </a:cubicBezTo>
                <a:cubicBezTo>
                  <a:pt x="2156999" y="3258267"/>
                  <a:pt x="2155339" y="3265752"/>
                  <a:pt x="2145935" y="3260391"/>
                </a:cubicBezTo>
                <a:cubicBezTo>
                  <a:pt x="2160594" y="3254625"/>
                  <a:pt x="2140127" y="3257255"/>
                  <a:pt x="2136254" y="3252299"/>
                </a:cubicBezTo>
                <a:cubicBezTo>
                  <a:pt x="2139850" y="3242993"/>
                  <a:pt x="2147595" y="3250073"/>
                  <a:pt x="2153126" y="3244712"/>
                </a:cubicBezTo>
                <a:cubicBezTo>
                  <a:pt x="2151190" y="3243599"/>
                  <a:pt x="2147318" y="3241475"/>
                  <a:pt x="2145382" y="3240464"/>
                </a:cubicBezTo>
                <a:cubicBezTo>
                  <a:pt x="2139850" y="3240059"/>
                  <a:pt x="2138191" y="3250478"/>
                  <a:pt x="2132382" y="3250174"/>
                </a:cubicBezTo>
                <a:cubicBezTo>
                  <a:pt x="2126850" y="3246937"/>
                  <a:pt x="2126574" y="3244004"/>
                  <a:pt x="2117446" y="3244409"/>
                </a:cubicBezTo>
                <a:cubicBezTo>
                  <a:pt x="2134042" y="3233990"/>
                  <a:pt x="2105553" y="3220840"/>
                  <a:pt x="2092553" y="3227719"/>
                </a:cubicBezTo>
                <a:cubicBezTo>
                  <a:pt x="2090894" y="3235204"/>
                  <a:pt x="2103893" y="3231259"/>
                  <a:pt x="2104170" y="3239857"/>
                </a:cubicBezTo>
                <a:cubicBezTo>
                  <a:pt x="2100574" y="3243397"/>
                  <a:pt x="2098638" y="3248050"/>
                  <a:pt x="2095042" y="3248758"/>
                </a:cubicBezTo>
                <a:cubicBezTo>
                  <a:pt x="2078170" y="3247747"/>
                  <a:pt x="2070149" y="3232068"/>
                  <a:pt x="2055490" y="3235002"/>
                </a:cubicBezTo>
                <a:cubicBezTo>
                  <a:pt x="2066277" y="3227112"/>
                  <a:pt x="2058533" y="3214164"/>
                  <a:pt x="2040001" y="3217806"/>
                </a:cubicBezTo>
                <a:cubicBezTo>
                  <a:pt x="2036129" y="3221346"/>
                  <a:pt x="2041937" y="3221751"/>
                  <a:pt x="2047469" y="3224987"/>
                </a:cubicBezTo>
                <a:cubicBezTo>
                  <a:pt x="2040001" y="3226404"/>
                  <a:pt x="2028661" y="3219930"/>
                  <a:pt x="2021193" y="3218514"/>
                </a:cubicBezTo>
                <a:cubicBezTo>
                  <a:pt x="2036129" y="3209916"/>
                  <a:pt x="2015385" y="3206780"/>
                  <a:pt x="2002108" y="3205060"/>
                </a:cubicBezTo>
                <a:cubicBezTo>
                  <a:pt x="1998513" y="3202936"/>
                  <a:pt x="1996577" y="3198991"/>
                  <a:pt x="1990768" y="3195856"/>
                </a:cubicBezTo>
                <a:cubicBezTo>
                  <a:pt x="1945684" y="3190191"/>
                  <a:pt x="1922450" y="3165914"/>
                  <a:pt x="1879302" y="3158530"/>
                </a:cubicBezTo>
                <a:cubicBezTo>
                  <a:pt x="1879302" y="3155698"/>
                  <a:pt x="1877366" y="3151753"/>
                  <a:pt x="1875430" y="3147808"/>
                </a:cubicBezTo>
                <a:cubicBezTo>
                  <a:pt x="1862430" y="3154687"/>
                  <a:pt x="1867409" y="3137794"/>
                  <a:pt x="1858005" y="3135265"/>
                </a:cubicBezTo>
                <a:cubicBezTo>
                  <a:pt x="1852473" y="3132130"/>
                  <a:pt x="1841409" y="3137187"/>
                  <a:pt x="1833665" y="3132838"/>
                </a:cubicBezTo>
                <a:cubicBezTo>
                  <a:pt x="1830069" y="3130713"/>
                  <a:pt x="1824814" y="3127173"/>
                  <a:pt x="1819282" y="3123329"/>
                </a:cubicBezTo>
                <a:lnTo>
                  <a:pt x="1807942" y="3115945"/>
                </a:lnTo>
                <a:lnTo>
                  <a:pt x="1802134" y="3113922"/>
                </a:lnTo>
                <a:lnTo>
                  <a:pt x="1792453" y="3108763"/>
                </a:lnTo>
                <a:lnTo>
                  <a:pt x="1789964" y="3108966"/>
                </a:lnTo>
                <a:cubicBezTo>
                  <a:pt x="1788304" y="3107347"/>
                  <a:pt x="1786645" y="3104818"/>
                  <a:pt x="1782772" y="3104211"/>
                </a:cubicBezTo>
                <a:lnTo>
                  <a:pt x="1783879" y="3104211"/>
                </a:lnTo>
                <a:lnTo>
                  <a:pt x="1771985" y="3097940"/>
                </a:lnTo>
                <a:cubicBezTo>
                  <a:pt x="1743497" y="3091871"/>
                  <a:pt x="1717774" y="3085599"/>
                  <a:pt x="1699242" y="3067898"/>
                </a:cubicBezTo>
                <a:cubicBezTo>
                  <a:pt x="1644201" y="3052118"/>
                  <a:pt x="1598563" y="3021165"/>
                  <a:pt x="1546011" y="3001643"/>
                </a:cubicBezTo>
                <a:cubicBezTo>
                  <a:pt x="1534395" y="3004576"/>
                  <a:pt x="1555968" y="3005891"/>
                  <a:pt x="1541309" y="3009229"/>
                </a:cubicBezTo>
                <a:cubicBezTo>
                  <a:pt x="1528310" y="3005183"/>
                  <a:pt x="1526650" y="2996484"/>
                  <a:pt x="1521948" y="2987987"/>
                </a:cubicBezTo>
                <a:cubicBezTo>
                  <a:pt x="1504800" y="2977265"/>
                  <a:pt x="1486544" y="2979086"/>
                  <a:pt x="1471885" y="2966341"/>
                </a:cubicBezTo>
                <a:cubicBezTo>
                  <a:pt x="1467736" y="2959665"/>
                  <a:pt x="1479630" y="2958451"/>
                  <a:pt x="1472715" y="2953798"/>
                </a:cubicBezTo>
                <a:cubicBezTo>
                  <a:pt x="1460822" y="2955012"/>
                  <a:pt x="1456949" y="2951775"/>
                  <a:pt x="1446162" y="2958249"/>
                </a:cubicBezTo>
                <a:cubicBezTo>
                  <a:pt x="1445056" y="2952989"/>
                  <a:pt x="1435375" y="2950460"/>
                  <a:pt x="1435928" y="2954000"/>
                </a:cubicBezTo>
                <a:cubicBezTo>
                  <a:pt x="1429843" y="2952887"/>
                  <a:pt x="1430673" y="2942064"/>
                  <a:pt x="1423758" y="2937411"/>
                </a:cubicBezTo>
                <a:cubicBezTo>
                  <a:pt x="1417674" y="2938018"/>
                  <a:pt x="1431227" y="2943784"/>
                  <a:pt x="1418780" y="2943278"/>
                </a:cubicBezTo>
                <a:cubicBezTo>
                  <a:pt x="1418503" y="2941558"/>
                  <a:pt x="1415737" y="2943581"/>
                  <a:pt x="1412695" y="2943885"/>
                </a:cubicBezTo>
                <a:cubicBezTo>
                  <a:pt x="1408823" y="2922845"/>
                  <a:pt x="1377291" y="2917181"/>
                  <a:pt x="1362079" y="2902716"/>
                </a:cubicBezTo>
                <a:cubicBezTo>
                  <a:pt x="1359313" y="2903019"/>
                  <a:pt x="1356547" y="2905143"/>
                  <a:pt x="1353505" y="2905447"/>
                </a:cubicBezTo>
                <a:cubicBezTo>
                  <a:pt x="1361249" y="2897456"/>
                  <a:pt x="1312569" y="2866706"/>
                  <a:pt x="1290995" y="2865391"/>
                </a:cubicBezTo>
                <a:cubicBezTo>
                  <a:pt x="1252826" y="2824727"/>
                  <a:pt x="1199997" y="2805104"/>
                  <a:pt x="1159338" y="2766464"/>
                </a:cubicBezTo>
                <a:cubicBezTo>
                  <a:pt x="1152700" y="2763631"/>
                  <a:pt x="1154360" y="2772330"/>
                  <a:pt x="1144956" y="2771521"/>
                </a:cubicBezTo>
                <a:cubicBezTo>
                  <a:pt x="1146892" y="2765958"/>
                  <a:pt x="1133616" y="2760192"/>
                  <a:pt x="1144956" y="2755539"/>
                </a:cubicBezTo>
                <a:cubicBezTo>
                  <a:pt x="1128637" y="2750077"/>
                  <a:pt x="1117573" y="2724384"/>
                  <a:pt x="1102637" y="2726003"/>
                </a:cubicBezTo>
                <a:cubicBezTo>
                  <a:pt x="1093234" y="2725092"/>
                  <a:pt x="1104574" y="2720439"/>
                  <a:pt x="1097935" y="2717506"/>
                </a:cubicBezTo>
                <a:cubicBezTo>
                  <a:pt x="1094340" y="2714269"/>
                  <a:pt x="1092680" y="2721653"/>
                  <a:pt x="1086042" y="2718821"/>
                </a:cubicBezTo>
                <a:cubicBezTo>
                  <a:pt x="1096000" y="2723069"/>
                  <a:pt x="1092680" y="2721552"/>
                  <a:pt x="1094340" y="2730352"/>
                </a:cubicBezTo>
                <a:cubicBezTo>
                  <a:pt x="1082447" y="2731566"/>
                  <a:pt x="1083276" y="2720743"/>
                  <a:pt x="1076362" y="2716191"/>
                </a:cubicBezTo>
                <a:cubicBezTo>
                  <a:pt x="1085489" y="2715179"/>
                  <a:pt x="1087978" y="2713156"/>
                  <a:pt x="1087702" y="2711437"/>
                </a:cubicBezTo>
                <a:cubicBezTo>
                  <a:pt x="1083276" y="2704659"/>
                  <a:pt x="1074426" y="2705671"/>
                  <a:pt x="1072766" y="2696871"/>
                </a:cubicBezTo>
                <a:cubicBezTo>
                  <a:pt x="1070000" y="2698995"/>
                  <a:pt x="1064468" y="2701321"/>
                  <a:pt x="1068341" y="2706278"/>
                </a:cubicBezTo>
                <a:cubicBezTo>
                  <a:pt x="1061979" y="2705064"/>
                  <a:pt x="1063362" y="2696061"/>
                  <a:pt x="1066404" y="2695758"/>
                </a:cubicBezTo>
                <a:cubicBezTo>
                  <a:pt x="1044554" y="2692622"/>
                  <a:pt x="1053681" y="2659647"/>
                  <a:pt x="1023256" y="2660962"/>
                </a:cubicBezTo>
                <a:cubicBezTo>
                  <a:pt x="1027682" y="2651554"/>
                  <a:pt x="1006661" y="2637595"/>
                  <a:pt x="1003342" y="2636179"/>
                </a:cubicBezTo>
                <a:cubicBezTo>
                  <a:pt x="988959" y="2625154"/>
                  <a:pt x="983427" y="2611498"/>
                  <a:pt x="971810" y="2598348"/>
                </a:cubicBezTo>
                <a:cubicBezTo>
                  <a:pt x="964066" y="2590256"/>
                  <a:pt x="951896" y="2573667"/>
                  <a:pt x="930599" y="2574072"/>
                </a:cubicBezTo>
                <a:cubicBezTo>
                  <a:pt x="935854" y="2553942"/>
                  <a:pt x="891599" y="2529969"/>
                  <a:pt x="893535" y="2506603"/>
                </a:cubicBezTo>
                <a:cubicBezTo>
                  <a:pt x="889663" y="2503366"/>
                  <a:pt x="886344" y="2501849"/>
                  <a:pt x="877493" y="2502759"/>
                </a:cubicBezTo>
                <a:cubicBezTo>
                  <a:pt x="871408" y="2471301"/>
                  <a:pt x="844303" y="2456229"/>
                  <a:pt x="826047" y="2424164"/>
                </a:cubicBezTo>
                <a:cubicBezTo>
                  <a:pt x="831856" y="2423557"/>
                  <a:pt x="837664" y="2421230"/>
                  <a:pt x="843749" y="2420623"/>
                </a:cubicBezTo>
                <a:cubicBezTo>
                  <a:pt x="842090" y="2411823"/>
                  <a:pt x="833239" y="2414554"/>
                  <a:pt x="824111" y="2413745"/>
                </a:cubicBezTo>
                <a:cubicBezTo>
                  <a:pt x="824250" y="2406563"/>
                  <a:pt x="820309" y="2402036"/>
                  <a:pt x="816471" y="2397953"/>
                </a:cubicBezTo>
                <a:lnTo>
                  <a:pt x="810112" y="2386050"/>
                </a:lnTo>
                <a:lnTo>
                  <a:pt x="772572" y="2392887"/>
                </a:lnTo>
                <a:cubicBezTo>
                  <a:pt x="716017" y="2405118"/>
                  <a:pt x="658860" y="2419770"/>
                  <a:pt x="600589" y="2438074"/>
                </a:cubicBezTo>
                <a:cubicBezTo>
                  <a:pt x="461554" y="2475785"/>
                  <a:pt x="306137" y="2467978"/>
                  <a:pt x="168938" y="2460681"/>
                </a:cubicBezTo>
                <a:cubicBezTo>
                  <a:pt x="114281" y="2459155"/>
                  <a:pt x="77442" y="2399200"/>
                  <a:pt x="25739" y="2359627"/>
                </a:cubicBezTo>
                <a:cubicBezTo>
                  <a:pt x="139125" y="2331598"/>
                  <a:pt x="234293" y="2303059"/>
                  <a:pt x="372208" y="2258384"/>
                </a:cubicBezTo>
                <a:cubicBezTo>
                  <a:pt x="223101" y="2233422"/>
                  <a:pt x="111550" y="2216442"/>
                  <a:pt x="0" y="2199462"/>
                </a:cubicBezTo>
                <a:cubicBezTo>
                  <a:pt x="7431" y="2189271"/>
                  <a:pt x="5193" y="2175343"/>
                  <a:pt x="12624" y="2165152"/>
                </a:cubicBezTo>
                <a:cubicBezTo>
                  <a:pt x="326012" y="2083782"/>
                  <a:pt x="629731" y="1998675"/>
                  <a:pt x="942001" y="1910341"/>
                </a:cubicBezTo>
                <a:cubicBezTo>
                  <a:pt x="984750" y="1894202"/>
                  <a:pt x="1028617" y="1885029"/>
                  <a:pt x="1079916" y="1865665"/>
                </a:cubicBezTo>
                <a:cubicBezTo>
                  <a:pt x="1116354" y="1866682"/>
                  <a:pt x="1152790" y="1867699"/>
                  <a:pt x="1195539" y="1851562"/>
                </a:cubicBezTo>
                <a:lnTo>
                  <a:pt x="1305878" y="1825470"/>
                </a:lnTo>
                <a:lnTo>
                  <a:pt x="1306080" y="1806241"/>
                </a:lnTo>
                <a:cubicBezTo>
                  <a:pt x="1308639" y="1784227"/>
                  <a:pt x="1311889" y="1762176"/>
                  <a:pt x="1310921" y="1740327"/>
                </a:cubicBezTo>
                <a:cubicBezTo>
                  <a:pt x="1301793" y="1734157"/>
                  <a:pt x="1310645" y="1748824"/>
                  <a:pt x="1299581" y="1740833"/>
                </a:cubicBezTo>
                <a:cubicBezTo>
                  <a:pt x="1298198" y="1730414"/>
                  <a:pt x="1307879" y="1725255"/>
                  <a:pt x="1315623" y="1718175"/>
                </a:cubicBezTo>
                <a:cubicBezTo>
                  <a:pt x="1320324" y="1701788"/>
                  <a:pt x="1309539" y="1690863"/>
                  <a:pt x="1317559" y="1675286"/>
                </a:cubicBezTo>
                <a:cubicBezTo>
                  <a:pt x="1323368" y="1669217"/>
                  <a:pt x="1330559" y="1676601"/>
                  <a:pt x="1332772" y="1669824"/>
                </a:cubicBezTo>
                <a:cubicBezTo>
                  <a:pt x="1325581" y="1662541"/>
                  <a:pt x="1327517" y="1658596"/>
                  <a:pt x="1314793" y="1654449"/>
                </a:cubicBezTo>
                <a:cubicBezTo>
                  <a:pt x="1320324" y="1651313"/>
                  <a:pt x="1318943" y="1643828"/>
                  <a:pt x="1315070" y="1645952"/>
                </a:cubicBezTo>
                <a:cubicBezTo>
                  <a:pt x="1313411" y="1641198"/>
                  <a:pt x="1326687" y="1636747"/>
                  <a:pt x="1328899" y="1629970"/>
                </a:cubicBezTo>
                <a:cubicBezTo>
                  <a:pt x="1325303" y="1626328"/>
                  <a:pt x="1324751" y="1637758"/>
                  <a:pt x="1319495" y="1629464"/>
                </a:cubicBezTo>
                <a:cubicBezTo>
                  <a:pt x="1321432" y="1628452"/>
                  <a:pt x="1317836" y="1627744"/>
                  <a:pt x="1315900" y="1625924"/>
                </a:cubicBezTo>
                <a:cubicBezTo>
                  <a:pt x="1338857" y="1613381"/>
                  <a:pt x="1330559" y="1590014"/>
                  <a:pt x="1340793" y="1573324"/>
                </a:cubicBezTo>
                <a:cubicBezTo>
                  <a:pt x="1338857" y="1571504"/>
                  <a:pt x="1335261" y="1570694"/>
                  <a:pt x="1333325" y="1568874"/>
                </a:cubicBezTo>
                <a:cubicBezTo>
                  <a:pt x="1346600" y="1570087"/>
                  <a:pt x="1359601" y="1523760"/>
                  <a:pt x="1351027" y="1508991"/>
                </a:cubicBezTo>
                <a:cubicBezTo>
                  <a:pt x="1380898" y="1464687"/>
                  <a:pt x="1379239" y="1421090"/>
                  <a:pt x="1405514" y="1375976"/>
                </a:cubicBezTo>
                <a:cubicBezTo>
                  <a:pt x="1405792" y="1370311"/>
                  <a:pt x="1396111" y="1375470"/>
                  <a:pt x="1392515" y="1368996"/>
                </a:cubicBezTo>
                <a:cubicBezTo>
                  <a:pt x="1400260" y="1367681"/>
                  <a:pt x="1400536" y="1356251"/>
                  <a:pt x="1411600" y="1361410"/>
                </a:cubicBezTo>
                <a:cubicBezTo>
                  <a:pt x="1410217" y="1348159"/>
                  <a:pt x="1435663" y="1328839"/>
                  <a:pt x="1426536" y="1319735"/>
                </a:cubicBezTo>
                <a:cubicBezTo>
                  <a:pt x="1423217" y="1313261"/>
                  <a:pt x="1434004" y="1318521"/>
                  <a:pt x="1434279" y="1312756"/>
                </a:cubicBezTo>
                <a:cubicBezTo>
                  <a:pt x="1436493" y="1308811"/>
                  <a:pt x="1426812" y="1311238"/>
                  <a:pt x="1427089" y="1305473"/>
                </a:cubicBezTo>
                <a:cubicBezTo>
                  <a:pt x="1426812" y="1314071"/>
                  <a:pt x="1427089" y="1311238"/>
                  <a:pt x="1417408" y="1316498"/>
                </a:cubicBezTo>
                <a:cubicBezTo>
                  <a:pt x="1410217" y="1309215"/>
                  <a:pt x="1423493" y="1304765"/>
                  <a:pt x="1425706" y="1297987"/>
                </a:cubicBezTo>
                <a:cubicBezTo>
                  <a:pt x="1430961" y="1303450"/>
                  <a:pt x="1434832" y="1304158"/>
                  <a:pt x="1436770" y="1303146"/>
                </a:cubicBezTo>
                <a:cubicBezTo>
                  <a:pt x="1442577" y="1297178"/>
                  <a:pt x="1437323" y="1291716"/>
                  <a:pt x="1446727" y="1286456"/>
                </a:cubicBezTo>
                <a:cubicBezTo>
                  <a:pt x="1443130" y="1285647"/>
                  <a:pt x="1437598" y="1283118"/>
                  <a:pt x="1433727" y="1288075"/>
                </a:cubicBezTo>
                <a:cubicBezTo>
                  <a:pt x="1431791" y="1283422"/>
                  <a:pt x="1443130" y="1279982"/>
                  <a:pt x="1445067" y="1281803"/>
                </a:cubicBezTo>
                <a:cubicBezTo>
                  <a:pt x="1438153" y="1265922"/>
                  <a:pt x="1481853" y="1256110"/>
                  <a:pt x="1465812" y="1236993"/>
                </a:cubicBezTo>
                <a:cubicBezTo>
                  <a:pt x="1478811" y="1235374"/>
                  <a:pt x="1485449" y="1215042"/>
                  <a:pt x="1485449" y="1212210"/>
                </a:cubicBezTo>
                <a:cubicBezTo>
                  <a:pt x="1491811" y="1197644"/>
                  <a:pt x="1505364" y="1187428"/>
                  <a:pt x="1515321" y="1173671"/>
                </a:cubicBezTo>
                <a:cubicBezTo>
                  <a:pt x="1521406" y="1164770"/>
                  <a:pt x="1535236" y="1148788"/>
                  <a:pt x="1524448" y="1135031"/>
                </a:cubicBezTo>
                <a:cubicBezTo>
                  <a:pt x="1551001" y="1128962"/>
                  <a:pt x="1558469" y="1088703"/>
                  <a:pt x="1586958" y="1078689"/>
                </a:cubicBezTo>
                <a:cubicBezTo>
                  <a:pt x="1588894" y="1074845"/>
                  <a:pt x="1589171" y="1071912"/>
                  <a:pt x="1583639" y="1066450"/>
                </a:cubicBezTo>
                <a:cubicBezTo>
                  <a:pt x="1618212" y="1047635"/>
                  <a:pt x="1622915" y="1022651"/>
                  <a:pt x="1652233" y="995542"/>
                </a:cubicBezTo>
                <a:cubicBezTo>
                  <a:pt x="1655829" y="999183"/>
                  <a:pt x="1661361" y="1001712"/>
                  <a:pt x="1664956" y="1005354"/>
                </a:cubicBezTo>
                <a:cubicBezTo>
                  <a:pt x="1674637" y="1000094"/>
                  <a:pt x="1667446" y="995744"/>
                  <a:pt x="1663850" y="989270"/>
                </a:cubicBezTo>
                <a:cubicBezTo>
                  <a:pt x="1680999" y="982695"/>
                  <a:pt x="1677678" y="970456"/>
                  <a:pt x="1690956" y="966005"/>
                </a:cubicBezTo>
                <a:cubicBezTo>
                  <a:pt x="1690679" y="974603"/>
                  <a:pt x="1677403" y="979054"/>
                  <a:pt x="1695934" y="985730"/>
                </a:cubicBezTo>
                <a:cubicBezTo>
                  <a:pt x="1688190" y="989877"/>
                  <a:pt x="1684318" y="989169"/>
                  <a:pt x="1684041" y="997767"/>
                </a:cubicBezTo>
                <a:cubicBezTo>
                  <a:pt x="1698700" y="1003735"/>
                  <a:pt x="1698977" y="1000802"/>
                  <a:pt x="1709764" y="1008894"/>
                </a:cubicBezTo>
                <a:cubicBezTo>
                  <a:pt x="1705891" y="1013850"/>
                  <a:pt x="1701190" y="1035902"/>
                  <a:pt x="1684594" y="1031046"/>
                </a:cubicBezTo>
                <a:cubicBezTo>
                  <a:pt x="1679892" y="1050265"/>
                  <a:pt x="1640063" y="1066551"/>
                  <a:pt x="1644765" y="1086275"/>
                </a:cubicBezTo>
                <a:cubicBezTo>
                  <a:pt x="1629829" y="1083241"/>
                  <a:pt x="1632871" y="1101145"/>
                  <a:pt x="1624851" y="1111058"/>
                </a:cubicBezTo>
                <a:cubicBezTo>
                  <a:pt x="1617106" y="1118138"/>
                  <a:pt x="1575341" y="1129670"/>
                  <a:pt x="1598575" y="1153238"/>
                </a:cubicBezTo>
                <a:cubicBezTo>
                  <a:pt x="1592765" y="1159206"/>
                  <a:pt x="1594978" y="1149698"/>
                  <a:pt x="1587511" y="1151013"/>
                </a:cubicBezTo>
                <a:cubicBezTo>
                  <a:pt x="1575894" y="1160117"/>
                  <a:pt x="1566214" y="1171041"/>
                  <a:pt x="1575065" y="1180145"/>
                </a:cubicBezTo>
                <a:cubicBezTo>
                  <a:pt x="1563724" y="1180752"/>
                  <a:pt x="1540491" y="1196127"/>
                  <a:pt x="1554874" y="1210693"/>
                </a:cubicBezTo>
                <a:cubicBezTo>
                  <a:pt x="1524448" y="1224551"/>
                  <a:pt x="1495682" y="1279173"/>
                  <a:pt x="1509236" y="1316600"/>
                </a:cubicBezTo>
                <a:cubicBezTo>
                  <a:pt x="1503704" y="1313970"/>
                  <a:pt x="1499832" y="1316094"/>
                  <a:pt x="1495960" y="1321050"/>
                </a:cubicBezTo>
                <a:cubicBezTo>
                  <a:pt x="1501492" y="1323579"/>
                  <a:pt x="1503704" y="1313970"/>
                  <a:pt x="1508960" y="1322264"/>
                </a:cubicBezTo>
                <a:cubicBezTo>
                  <a:pt x="1489045" y="1349879"/>
                  <a:pt x="1483236" y="1394993"/>
                  <a:pt x="1461663" y="1420786"/>
                </a:cubicBezTo>
                <a:cubicBezTo>
                  <a:pt x="1452259" y="1417448"/>
                  <a:pt x="1461663" y="1415122"/>
                  <a:pt x="1454471" y="1410671"/>
                </a:cubicBezTo>
                <a:cubicBezTo>
                  <a:pt x="1444791" y="1418763"/>
                  <a:pt x="1436493" y="1437274"/>
                  <a:pt x="1453088" y="1444962"/>
                </a:cubicBezTo>
                <a:cubicBezTo>
                  <a:pt x="1452535" y="1453560"/>
                  <a:pt x="1450599" y="1460337"/>
                  <a:pt x="1440918" y="1468429"/>
                </a:cubicBezTo>
                <a:cubicBezTo>
                  <a:pt x="1435110" y="1468733"/>
                  <a:pt x="1439259" y="1463776"/>
                  <a:pt x="1435663" y="1460135"/>
                </a:cubicBezTo>
                <a:cubicBezTo>
                  <a:pt x="1422110" y="1467519"/>
                  <a:pt x="1431238" y="1470857"/>
                  <a:pt x="1425429" y="1479657"/>
                </a:cubicBezTo>
                <a:cubicBezTo>
                  <a:pt x="1430961" y="1482287"/>
                  <a:pt x="1431238" y="1470756"/>
                  <a:pt x="1438429" y="1478039"/>
                </a:cubicBezTo>
                <a:cubicBezTo>
                  <a:pt x="1430684" y="1487952"/>
                  <a:pt x="1437876" y="1495235"/>
                  <a:pt x="1427918" y="1503327"/>
                </a:cubicBezTo>
                <a:cubicBezTo>
                  <a:pt x="1422663" y="1497865"/>
                  <a:pt x="1422940" y="1492200"/>
                  <a:pt x="1432344" y="1489772"/>
                </a:cubicBezTo>
                <a:cubicBezTo>
                  <a:pt x="1428747" y="1489064"/>
                  <a:pt x="1424876" y="1491087"/>
                  <a:pt x="1421281" y="1487446"/>
                </a:cubicBezTo>
                <a:cubicBezTo>
                  <a:pt x="1417132" y="1498168"/>
                  <a:pt x="1414919" y="1504945"/>
                  <a:pt x="1429578" y="1513644"/>
                </a:cubicBezTo>
                <a:cubicBezTo>
                  <a:pt x="1425429" y="1518601"/>
                  <a:pt x="1420174" y="1510408"/>
                  <a:pt x="1416579" y="1509598"/>
                </a:cubicBezTo>
                <a:cubicBezTo>
                  <a:pt x="1398047" y="1547632"/>
                  <a:pt x="1414919" y="1588598"/>
                  <a:pt x="1394451" y="1633409"/>
                </a:cubicBezTo>
                <a:cubicBezTo>
                  <a:pt x="1388643" y="1633712"/>
                  <a:pt x="1383111" y="1633915"/>
                  <a:pt x="1377303" y="1637050"/>
                </a:cubicBezTo>
                <a:cubicBezTo>
                  <a:pt x="1384493" y="1647166"/>
                  <a:pt x="1374537" y="1658191"/>
                  <a:pt x="1391132" y="1665980"/>
                </a:cubicBezTo>
                <a:cubicBezTo>
                  <a:pt x="1378686" y="1689346"/>
                  <a:pt x="1381452" y="1713016"/>
                  <a:pt x="1384217" y="1736685"/>
                </a:cubicBezTo>
                <a:lnTo>
                  <a:pt x="1372979" y="1809603"/>
                </a:lnTo>
                <a:lnTo>
                  <a:pt x="1420196" y="1798437"/>
                </a:lnTo>
                <a:lnTo>
                  <a:pt x="1422663" y="1784784"/>
                </a:lnTo>
                <a:cubicBezTo>
                  <a:pt x="1425221" y="1762429"/>
                  <a:pt x="1426120" y="1740277"/>
                  <a:pt x="1424046" y="1723232"/>
                </a:cubicBezTo>
                <a:cubicBezTo>
                  <a:pt x="1422387" y="1721411"/>
                  <a:pt x="1426259" y="1716455"/>
                  <a:pt x="1428195" y="1718276"/>
                </a:cubicBezTo>
                <a:cubicBezTo>
                  <a:pt x="1432068" y="1713319"/>
                  <a:pt x="1424599" y="1714634"/>
                  <a:pt x="1422940" y="1709981"/>
                </a:cubicBezTo>
                <a:cubicBezTo>
                  <a:pt x="1430684" y="1702901"/>
                  <a:pt x="1438706" y="1690155"/>
                  <a:pt x="1429578" y="1681052"/>
                </a:cubicBezTo>
                <a:cubicBezTo>
                  <a:pt x="1443684" y="1659506"/>
                  <a:pt x="1445620" y="1616516"/>
                  <a:pt x="1457790" y="1595982"/>
                </a:cubicBezTo>
                <a:cubicBezTo>
                  <a:pt x="1456131" y="1591329"/>
                  <a:pt x="1454471" y="1586575"/>
                  <a:pt x="1454471" y="1583743"/>
                </a:cubicBezTo>
                <a:cubicBezTo>
                  <a:pt x="1458620" y="1578787"/>
                  <a:pt x="1462216" y="1576662"/>
                  <a:pt x="1468024" y="1573527"/>
                </a:cubicBezTo>
                <a:cubicBezTo>
                  <a:pt x="1466640" y="1566041"/>
                  <a:pt x="1464982" y="1555623"/>
                  <a:pt x="1476599" y="1546519"/>
                </a:cubicBezTo>
                <a:cubicBezTo>
                  <a:pt x="1484066" y="1550868"/>
                  <a:pt x="1484066" y="1553802"/>
                  <a:pt x="1493471" y="1551374"/>
                </a:cubicBezTo>
                <a:cubicBezTo>
                  <a:pt x="1493747" y="1542776"/>
                  <a:pt x="1482407" y="1546215"/>
                  <a:pt x="1477152" y="1540753"/>
                </a:cubicBezTo>
                <a:cubicBezTo>
                  <a:pt x="1475492" y="1530436"/>
                  <a:pt x="1490427" y="1533470"/>
                  <a:pt x="1496235" y="1530335"/>
                </a:cubicBezTo>
                <a:cubicBezTo>
                  <a:pt x="1476045" y="1521838"/>
                  <a:pt x="1474662" y="1505653"/>
                  <a:pt x="1499278" y="1500697"/>
                </a:cubicBezTo>
                <a:cubicBezTo>
                  <a:pt x="1505364" y="1494628"/>
                  <a:pt x="1492364" y="1487648"/>
                  <a:pt x="1500109" y="1483501"/>
                </a:cubicBezTo>
                <a:cubicBezTo>
                  <a:pt x="1498448" y="1481680"/>
                  <a:pt x="1494853" y="1478039"/>
                  <a:pt x="1490981" y="1480163"/>
                </a:cubicBezTo>
                <a:cubicBezTo>
                  <a:pt x="1491258" y="1474397"/>
                  <a:pt x="1500662" y="1472071"/>
                  <a:pt x="1491534" y="1465900"/>
                </a:cubicBezTo>
                <a:cubicBezTo>
                  <a:pt x="1497343" y="1462765"/>
                  <a:pt x="1512831" y="1451436"/>
                  <a:pt x="1501767" y="1443445"/>
                </a:cubicBezTo>
                <a:cubicBezTo>
                  <a:pt x="1505640" y="1441320"/>
                  <a:pt x="1511172" y="1446783"/>
                  <a:pt x="1515045" y="1444658"/>
                </a:cubicBezTo>
                <a:cubicBezTo>
                  <a:pt x="1509789" y="1436364"/>
                  <a:pt x="1519193" y="1431104"/>
                  <a:pt x="1508406" y="1423113"/>
                </a:cubicBezTo>
                <a:cubicBezTo>
                  <a:pt x="1513938" y="1419977"/>
                  <a:pt x="1525555" y="1413807"/>
                  <a:pt x="1518087" y="1412290"/>
                </a:cubicBezTo>
                <a:cubicBezTo>
                  <a:pt x="1530257" y="1388822"/>
                  <a:pt x="1529704" y="1358375"/>
                  <a:pt x="1553214" y="1340067"/>
                </a:cubicBezTo>
                <a:cubicBezTo>
                  <a:pt x="1555150" y="1336122"/>
                  <a:pt x="1557363" y="1332278"/>
                  <a:pt x="1551831" y="1326816"/>
                </a:cubicBezTo>
                <a:cubicBezTo>
                  <a:pt x="1578660" y="1315082"/>
                  <a:pt x="1571192" y="1271688"/>
                  <a:pt x="1603553" y="1256717"/>
                </a:cubicBezTo>
                <a:cubicBezTo>
                  <a:pt x="1605766" y="1252772"/>
                  <a:pt x="1598297" y="1248322"/>
                  <a:pt x="1600234" y="1244478"/>
                </a:cubicBezTo>
                <a:cubicBezTo>
                  <a:pt x="1608255" y="1237397"/>
                  <a:pt x="1617383" y="1243669"/>
                  <a:pt x="1624851" y="1242354"/>
                </a:cubicBezTo>
                <a:cubicBezTo>
                  <a:pt x="1627063" y="1232643"/>
                  <a:pt x="1611298" y="1210693"/>
                  <a:pt x="1639233" y="1212109"/>
                </a:cubicBezTo>
                <a:cubicBezTo>
                  <a:pt x="1643382" y="1204320"/>
                  <a:pt x="1634531" y="1195217"/>
                  <a:pt x="1636468" y="1188541"/>
                </a:cubicBezTo>
                <a:cubicBezTo>
                  <a:pt x="1642276" y="1188237"/>
                  <a:pt x="1645872" y="1188945"/>
                  <a:pt x="1649744" y="1186821"/>
                </a:cubicBezTo>
                <a:cubicBezTo>
                  <a:pt x="1644488" y="1178526"/>
                  <a:pt x="1658318" y="1159813"/>
                  <a:pt x="1675190" y="1161735"/>
                </a:cubicBezTo>
                <a:cubicBezTo>
                  <a:pt x="1669935" y="1150608"/>
                  <a:pt x="1677955" y="1140695"/>
                  <a:pt x="1682105" y="1129973"/>
                </a:cubicBezTo>
                <a:cubicBezTo>
                  <a:pt x="1725806" y="1114497"/>
                  <a:pt x="1741295" y="1058661"/>
                  <a:pt x="1787486" y="1036306"/>
                </a:cubicBezTo>
                <a:lnTo>
                  <a:pt x="1790252" y="1033777"/>
                </a:lnTo>
                <a:lnTo>
                  <a:pt x="1786656" y="1058256"/>
                </a:lnTo>
                <a:cubicBezTo>
                  <a:pt x="1782230" y="1069080"/>
                  <a:pt x="1775316" y="1079296"/>
                  <a:pt x="1766465" y="1086882"/>
                </a:cubicBezTo>
                <a:cubicBezTo>
                  <a:pt x="1764252" y="1093660"/>
                  <a:pt x="1776974" y="1100538"/>
                  <a:pt x="1782784" y="1100234"/>
                </a:cubicBezTo>
                <a:cubicBezTo>
                  <a:pt x="1800484" y="1079397"/>
                  <a:pt x="1838377" y="1067056"/>
                  <a:pt x="1828144" y="1047635"/>
                </a:cubicBezTo>
                <a:cubicBezTo>
                  <a:pt x="1837548" y="1045208"/>
                  <a:pt x="1847228" y="1037115"/>
                  <a:pt x="1858569" y="1039442"/>
                </a:cubicBezTo>
                <a:cubicBezTo>
                  <a:pt x="1836995" y="1059571"/>
                  <a:pt x="1826761" y="1076160"/>
                  <a:pt x="1803528" y="1097402"/>
                </a:cubicBezTo>
                <a:cubicBezTo>
                  <a:pt x="1808782" y="1102763"/>
                  <a:pt x="1804911" y="1107821"/>
                  <a:pt x="1814038" y="1113991"/>
                </a:cubicBezTo>
                <a:cubicBezTo>
                  <a:pt x="1821230" y="1118341"/>
                  <a:pt x="1816251" y="1107214"/>
                  <a:pt x="1823718" y="1108731"/>
                </a:cubicBezTo>
                <a:cubicBezTo>
                  <a:pt x="1827315" y="1112373"/>
                  <a:pt x="1828974" y="1114092"/>
                  <a:pt x="1825102" y="1116217"/>
                </a:cubicBezTo>
                <a:cubicBezTo>
                  <a:pt x="1828974" y="1116925"/>
                  <a:pt x="1832845" y="1114902"/>
                  <a:pt x="1836442" y="1118543"/>
                </a:cubicBezTo>
                <a:cubicBezTo>
                  <a:pt x="1842251" y="1112575"/>
                  <a:pt x="1833123" y="1103471"/>
                  <a:pt x="1846675" y="1096087"/>
                </a:cubicBezTo>
                <a:cubicBezTo>
                  <a:pt x="1846123" y="1107517"/>
                  <a:pt x="1865206" y="1102763"/>
                  <a:pt x="1860782" y="1113485"/>
                </a:cubicBezTo>
                <a:cubicBezTo>
                  <a:pt x="1868527" y="1112170"/>
                  <a:pt x="1876270" y="1105090"/>
                  <a:pt x="1887058" y="1116014"/>
                </a:cubicBezTo>
                <a:cubicBezTo>
                  <a:pt x="1881250" y="1119150"/>
                  <a:pt x="1864653" y="1111361"/>
                  <a:pt x="1875441" y="1122185"/>
                </a:cubicBezTo>
                <a:cubicBezTo>
                  <a:pt x="1867972" y="1123601"/>
                  <a:pt x="1866590" y="1113182"/>
                  <a:pt x="1858845" y="1117329"/>
                </a:cubicBezTo>
                <a:cubicBezTo>
                  <a:pt x="1856910" y="1118442"/>
                  <a:pt x="1860505" y="1122083"/>
                  <a:pt x="1864101" y="1122791"/>
                </a:cubicBezTo>
                <a:cubicBezTo>
                  <a:pt x="1860229" y="1130580"/>
                  <a:pt x="1851101" y="1121578"/>
                  <a:pt x="1847228" y="1126534"/>
                </a:cubicBezTo>
                <a:cubicBezTo>
                  <a:pt x="1845016" y="1133311"/>
                  <a:pt x="1856633" y="1127040"/>
                  <a:pt x="1861887" y="1132401"/>
                </a:cubicBezTo>
                <a:cubicBezTo>
                  <a:pt x="1854144" y="1139482"/>
                  <a:pt x="1855526" y="1147068"/>
                  <a:pt x="1866590" y="1155059"/>
                </a:cubicBezTo>
                <a:cubicBezTo>
                  <a:pt x="1845846" y="1155160"/>
                  <a:pt x="1853038" y="1168108"/>
                  <a:pt x="1840313" y="1158296"/>
                </a:cubicBezTo>
                <a:cubicBezTo>
                  <a:pt x="1820952" y="1168715"/>
                  <a:pt x="1827038" y="1201792"/>
                  <a:pt x="1806847" y="1193295"/>
                </a:cubicBezTo>
                <a:cubicBezTo>
                  <a:pt x="1797166" y="1201387"/>
                  <a:pt x="1817633" y="1201286"/>
                  <a:pt x="1806294" y="1207557"/>
                </a:cubicBezTo>
                <a:cubicBezTo>
                  <a:pt x="1794954" y="1205231"/>
                  <a:pt x="1806569" y="1201792"/>
                  <a:pt x="1802975" y="1198251"/>
                </a:cubicBezTo>
                <a:cubicBezTo>
                  <a:pt x="1786379" y="1193295"/>
                  <a:pt x="1794677" y="1213829"/>
                  <a:pt x="1785272" y="1213323"/>
                </a:cubicBezTo>
                <a:cubicBezTo>
                  <a:pt x="1790804" y="1218785"/>
                  <a:pt x="1792741" y="1217774"/>
                  <a:pt x="1801868" y="1223944"/>
                </a:cubicBezTo>
                <a:cubicBezTo>
                  <a:pt x="1797996" y="1226068"/>
                  <a:pt x="1796060" y="1227080"/>
                  <a:pt x="1795783" y="1230013"/>
                </a:cubicBezTo>
                <a:cubicBezTo>
                  <a:pt x="1786656" y="1226675"/>
                  <a:pt x="1792464" y="1223438"/>
                  <a:pt x="1788869" y="1219797"/>
                </a:cubicBezTo>
                <a:cubicBezTo>
                  <a:pt x="1788591" y="1222629"/>
                  <a:pt x="1786656" y="1223640"/>
                  <a:pt x="1784720" y="1224753"/>
                </a:cubicBezTo>
                <a:cubicBezTo>
                  <a:pt x="1784720" y="1227585"/>
                  <a:pt x="1788591" y="1225562"/>
                  <a:pt x="1792188" y="1229204"/>
                </a:cubicBezTo>
                <a:cubicBezTo>
                  <a:pt x="1770890" y="1240735"/>
                  <a:pt x="1758996" y="1255605"/>
                  <a:pt x="1762039" y="1273509"/>
                </a:cubicBezTo>
                <a:cubicBezTo>
                  <a:pt x="1752635" y="1275835"/>
                  <a:pt x="1752359" y="1281601"/>
                  <a:pt x="1752082" y="1287265"/>
                </a:cubicBezTo>
                <a:cubicBezTo>
                  <a:pt x="1754018" y="1289086"/>
                  <a:pt x="1757614" y="1292728"/>
                  <a:pt x="1759550" y="1291716"/>
                </a:cubicBezTo>
                <a:cubicBezTo>
                  <a:pt x="1744338" y="1294346"/>
                  <a:pt x="1730508" y="1313160"/>
                  <a:pt x="1735486" y="1327119"/>
                </a:cubicBezTo>
                <a:cubicBezTo>
                  <a:pt x="1729954" y="1321657"/>
                  <a:pt x="1729678" y="1327423"/>
                  <a:pt x="1724422" y="1324793"/>
                </a:cubicBezTo>
                <a:cubicBezTo>
                  <a:pt x="1717785" y="1347957"/>
                  <a:pt x="1709486" y="1363635"/>
                  <a:pt x="1693722" y="1383461"/>
                </a:cubicBezTo>
                <a:cubicBezTo>
                  <a:pt x="1697317" y="1387103"/>
                  <a:pt x="1705062" y="1382955"/>
                  <a:pt x="1698977" y="1388923"/>
                </a:cubicBezTo>
                <a:cubicBezTo>
                  <a:pt x="1700913" y="1390744"/>
                  <a:pt x="1702849" y="1389632"/>
                  <a:pt x="1704509" y="1391452"/>
                </a:cubicBezTo>
                <a:cubicBezTo>
                  <a:pt x="1714189" y="1386192"/>
                  <a:pt x="1703125" y="1383866"/>
                  <a:pt x="1705062" y="1380022"/>
                </a:cubicBezTo>
                <a:cubicBezTo>
                  <a:pt x="1706998" y="1378909"/>
                  <a:pt x="1710870" y="1376886"/>
                  <a:pt x="1714466" y="1377696"/>
                </a:cubicBezTo>
                <a:cubicBezTo>
                  <a:pt x="1715849" y="1393779"/>
                  <a:pt x="1709486" y="1408345"/>
                  <a:pt x="1701190" y="1424023"/>
                </a:cubicBezTo>
                <a:cubicBezTo>
                  <a:pt x="1710317" y="1430194"/>
                  <a:pt x="1705338" y="1418966"/>
                  <a:pt x="1712530" y="1426249"/>
                </a:cubicBezTo>
                <a:cubicBezTo>
                  <a:pt x="1700636" y="1441118"/>
                  <a:pt x="1696211" y="1457606"/>
                  <a:pt x="1700913" y="1474397"/>
                </a:cubicBezTo>
                <a:cubicBezTo>
                  <a:pt x="1708381" y="1478848"/>
                  <a:pt x="1712252" y="1470958"/>
                  <a:pt x="1721381" y="1477128"/>
                </a:cubicBezTo>
                <a:cubicBezTo>
                  <a:pt x="1729401" y="1464383"/>
                  <a:pt x="1739359" y="1453459"/>
                  <a:pt x="1737975" y="1443040"/>
                </a:cubicBezTo>
                <a:cubicBezTo>
                  <a:pt x="1756508" y="1444052"/>
                  <a:pt x="1745997" y="1430295"/>
                  <a:pt x="1748487" y="1417752"/>
                </a:cubicBezTo>
                <a:cubicBezTo>
                  <a:pt x="1754571" y="1406018"/>
                  <a:pt x="1770060" y="1391958"/>
                  <a:pt x="1776422" y="1377392"/>
                </a:cubicBezTo>
                <a:cubicBezTo>
                  <a:pt x="1780848" y="1363838"/>
                  <a:pt x="1796336" y="1346945"/>
                  <a:pt x="1809889" y="1336729"/>
                </a:cubicBezTo>
                <a:cubicBezTo>
                  <a:pt x="1813762" y="1334706"/>
                  <a:pt x="1806569" y="1330255"/>
                  <a:pt x="1810443" y="1325299"/>
                </a:cubicBezTo>
                <a:cubicBezTo>
                  <a:pt x="1815974" y="1327827"/>
                  <a:pt x="1818186" y="1323882"/>
                  <a:pt x="1820123" y="1322871"/>
                </a:cubicBezTo>
                <a:cubicBezTo>
                  <a:pt x="1813209" y="1306990"/>
                  <a:pt x="1835889" y="1300213"/>
                  <a:pt x="1829250" y="1284433"/>
                </a:cubicBezTo>
                <a:cubicBezTo>
                  <a:pt x="1869909" y="1250952"/>
                  <a:pt x="1875165" y="1214537"/>
                  <a:pt x="1919419" y="1190462"/>
                </a:cubicBezTo>
                <a:cubicBezTo>
                  <a:pt x="1923291" y="1185506"/>
                  <a:pt x="1919972" y="1178931"/>
                  <a:pt x="1923845" y="1173975"/>
                </a:cubicBezTo>
                <a:cubicBezTo>
                  <a:pt x="1932694" y="1185911"/>
                  <a:pt x="1938780" y="1174278"/>
                  <a:pt x="1944589" y="1171142"/>
                </a:cubicBezTo>
                <a:cubicBezTo>
                  <a:pt x="1949290" y="1190867"/>
                  <a:pt x="1920248" y="1212311"/>
                  <a:pt x="1906419" y="1233958"/>
                </a:cubicBezTo>
                <a:cubicBezTo>
                  <a:pt x="1910015" y="1237599"/>
                  <a:pt x="1911950" y="1233655"/>
                  <a:pt x="1913887" y="1232643"/>
                </a:cubicBezTo>
                <a:cubicBezTo>
                  <a:pt x="1911121" y="1253683"/>
                  <a:pt x="1863824" y="1259853"/>
                  <a:pt x="1870738" y="1272801"/>
                </a:cubicBezTo>
                <a:cubicBezTo>
                  <a:pt x="1846123" y="1277858"/>
                  <a:pt x="1848059" y="1321556"/>
                  <a:pt x="1823718" y="1320848"/>
                </a:cubicBezTo>
                <a:cubicBezTo>
                  <a:pt x="1817633" y="1332582"/>
                  <a:pt x="1819570" y="1334301"/>
                  <a:pt x="1811548" y="1344214"/>
                </a:cubicBezTo>
                <a:cubicBezTo>
                  <a:pt x="1807677" y="1346338"/>
                  <a:pt x="1819017" y="1345731"/>
                  <a:pt x="1820952" y="1344720"/>
                </a:cubicBezTo>
                <a:cubicBezTo>
                  <a:pt x="1802145" y="1388519"/>
                  <a:pt x="1783613" y="1423619"/>
                  <a:pt x="1763146" y="1465597"/>
                </a:cubicBezTo>
                <a:cubicBezTo>
                  <a:pt x="1775869" y="1475409"/>
                  <a:pt x="1784167" y="1459831"/>
                  <a:pt x="1788038" y="1457707"/>
                </a:cubicBezTo>
                <a:cubicBezTo>
                  <a:pt x="1791911" y="1449918"/>
                  <a:pt x="1791081" y="1430801"/>
                  <a:pt x="1799102" y="1418055"/>
                </a:cubicBezTo>
                <a:cubicBezTo>
                  <a:pt x="1809060" y="1401365"/>
                  <a:pt x="1817357" y="1385788"/>
                  <a:pt x="1823442" y="1374054"/>
                </a:cubicBezTo>
                <a:cubicBezTo>
                  <a:pt x="1827591" y="1363433"/>
                  <a:pt x="1841143" y="1356049"/>
                  <a:pt x="1845293" y="1345428"/>
                </a:cubicBezTo>
                <a:cubicBezTo>
                  <a:pt x="1859399" y="1323781"/>
                  <a:pt x="1866037" y="1300617"/>
                  <a:pt x="1879867" y="1281904"/>
                </a:cubicBezTo>
                <a:cubicBezTo>
                  <a:pt x="1897569" y="1260966"/>
                  <a:pt x="1917206" y="1241949"/>
                  <a:pt x="1934632" y="1223944"/>
                </a:cubicBezTo>
                <a:cubicBezTo>
                  <a:pt x="1901994" y="1286456"/>
                  <a:pt x="1839761" y="1339966"/>
                  <a:pt x="1822059" y="1402680"/>
                </a:cubicBezTo>
                <a:cubicBezTo>
                  <a:pt x="1810166" y="1417550"/>
                  <a:pt x="1805741" y="1433936"/>
                  <a:pt x="1793847" y="1448806"/>
                </a:cubicBezTo>
                <a:cubicBezTo>
                  <a:pt x="1791911" y="1449817"/>
                  <a:pt x="1793570" y="1454571"/>
                  <a:pt x="1795507" y="1456392"/>
                </a:cubicBezTo>
                <a:cubicBezTo>
                  <a:pt x="1771720" y="1486131"/>
                  <a:pt x="1782230" y="1502720"/>
                  <a:pt x="1750976" y="1530840"/>
                </a:cubicBezTo>
                <a:cubicBezTo>
                  <a:pt x="1751806" y="1513746"/>
                  <a:pt x="1767571" y="1496752"/>
                  <a:pt x="1766188" y="1480669"/>
                </a:cubicBezTo>
                <a:cubicBezTo>
                  <a:pt x="1750423" y="1497561"/>
                  <a:pt x="1742125" y="1521838"/>
                  <a:pt x="1739081" y="1545710"/>
                </a:cubicBezTo>
                <a:cubicBezTo>
                  <a:pt x="1723317" y="1568469"/>
                  <a:pt x="1710870" y="1591936"/>
                  <a:pt x="1711700" y="1616618"/>
                </a:cubicBezTo>
                <a:cubicBezTo>
                  <a:pt x="1696488" y="1624912"/>
                  <a:pt x="1697593" y="1643929"/>
                  <a:pt x="1700636" y="1656168"/>
                </a:cubicBezTo>
                <a:cubicBezTo>
                  <a:pt x="1690679" y="1669925"/>
                  <a:pt x="1687360" y="1702395"/>
                  <a:pt x="1686529" y="1725255"/>
                </a:cubicBezTo>
                <a:lnTo>
                  <a:pt x="1681545" y="1742230"/>
                </a:lnTo>
                <a:lnTo>
                  <a:pt x="1691784" y="1740092"/>
                </a:lnTo>
                <a:lnTo>
                  <a:pt x="1701362" y="1678371"/>
                </a:lnTo>
                <a:cubicBezTo>
                  <a:pt x="1708519" y="1648278"/>
                  <a:pt x="1719168" y="1619450"/>
                  <a:pt x="1737423" y="1588598"/>
                </a:cubicBezTo>
                <a:cubicBezTo>
                  <a:pt x="1728019" y="1629970"/>
                  <a:pt x="1724700" y="1665373"/>
                  <a:pt x="1711423" y="1708869"/>
                </a:cubicBezTo>
                <a:cubicBezTo>
                  <a:pt x="1715019" y="1712510"/>
                  <a:pt x="1716955" y="1711498"/>
                  <a:pt x="1720827" y="1709374"/>
                </a:cubicBezTo>
                <a:lnTo>
                  <a:pt x="1709790" y="1736333"/>
                </a:lnTo>
                <a:lnTo>
                  <a:pt x="1726327" y="1732881"/>
                </a:lnTo>
                <a:lnTo>
                  <a:pt x="1728606" y="1713800"/>
                </a:lnTo>
                <a:cubicBezTo>
                  <a:pt x="1729747" y="1698172"/>
                  <a:pt x="1732306" y="1682114"/>
                  <a:pt x="1752359" y="1672555"/>
                </a:cubicBezTo>
                <a:cubicBezTo>
                  <a:pt x="1745166" y="1665272"/>
                  <a:pt x="1741018" y="1673162"/>
                  <a:pt x="1737423" y="1672353"/>
                </a:cubicBezTo>
                <a:cubicBezTo>
                  <a:pt x="1728295" y="1666182"/>
                  <a:pt x="1743508" y="1663451"/>
                  <a:pt x="1730508" y="1659304"/>
                </a:cubicBezTo>
                <a:cubicBezTo>
                  <a:pt x="1740189" y="1651212"/>
                  <a:pt x="1744338" y="1643524"/>
                  <a:pt x="1746549" y="1633915"/>
                </a:cubicBezTo>
                <a:cubicBezTo>
                  <a:pt x="1756230" y="1628655"/>
                  <a:pt x="1748210" y="1641400"/>
                  <a:pt x="1755677" y="1642917"/>
                </a:cubicBezTo>
                <a:cubicBezTo>
                  <a:pt x="1777252" y="1617123"/>
                  <a:pt x="1785825" y="1592847"/>
                  <a:pt x="1793018" y="1558253"/>
                </a:cubicBezTo>
                <a:cubicBezTo>
                  <a:pt x="1789422" y="1554611"/>
                  <a:pt x="1786933" y="1564221"/>
                  <a:pt x="1783059" y="1566345"/>
                </a:cubicBezTo>
                <a:cubicBezTo>
                  <a:pt x="1776145" y="1556230"/>
                  <a:pt x="1780293" y="1548340"/>
                  <a:pt x="1793294" y="1549655"/>
                </a:cubicBezTo>
                <a:cubicBezTo>
                  <a:pt x="1794954" y="1551475"/>
                  <a:pt x="1791357" y="1553600"/>
                  <a:pt x="1793018" y="1555319"/>
                </a:cubicBezTo>
                <a:cubicBezTo>
                  <a:pt x="1808230" y="1552689"/>
                  <a:pt x="1811272" y="1523153"/>
                  <a:pt x="1817357" y="1514251"/>
                </a:cubicBezTo>
                <a:cubicBezTo>
                  <a:pt x="1806294" y="1509093"/>
                  <a:pt x="1806294" y="1512026"/>
                  <a:pt x="1802421" y="1514049"/>
                </a:cubicBezTo>
                <a:cubicBezTo>
                  <a:pt x="1798549" y="1468632"/>
                  <a:pt x="1872399" y="1456291"/>
                  <a:pt x="1870463" y="1412593"/>
                </a:cubicBezTo>
                <a:cubicBezTo>
                  <a:pt x="1876270" y="1409457"/>
                  <a:pt x="1881802" y="1412087"/>
                  <a:pt x="1887334" y="1411784"/>
                </a:cubicBezTo>
                <a:cubicBezTo>
                  <a:pt x="1885675" y="1404197"/>
                  <a:pt x="1887887" y="1400354"/>
                  <a:pt x="1897292" y="1397926"/>
                </a:cubicBezTo>
                <a:cubicBezTo>
                  <a:pt x="1890100" y="1390744"/>
                  <a:pt x="1899780" y="1382652"/>
                  <a:pt x="1894526" y="1374358"/>
                </a:cubicBezTo>
                <a:cubicBezTo>
                  <a:pt x="1921079" y="1365456"/>
                  <a:pt x="1932972" y="1353318"/>
                  <a:pt x="1950397" y="1338246"/>
                </a:cubicBezTo>
                <a:cubicBezTo>
                  <a:pt x="1953993" y="1344720"/>
                  <a:pt x="1946248" y="1348867"/>
                  <a:pt x="1947908" y="1353520"/>
                </a:cubicBezTo>
                <a:cubicBezTo>
                  <a:pt x="1959248" y="1355847"/>
                  <a:pt x="1955929" y="1348766"/>
                  <a:pt x="1960631" y="1345934"/>
                </a:cubicBezTo>
                <a:lnTo>
                  <a:pt x="1965333" y="1345327"/>
                </a:lnTo>
                <a:lnTo>
                  <a:pt x="1965886" y="1342292"/>
                </a:lnTo>
                <a:lnTo>
                  <a:pt x="1966715" y="1341382"/>
                </a:lnTo>
                <a:lnTo>
                  <a:pt x="1961461" y="1340573"/>
                </a:lnTo>
                <a:lnTo>
                  <a:pt x="1979992" y="1321253"/>
                </a:lnTo>
                <a:lnTo>
                  <a:pt x="1978609" y="1318420"/>
                </a:lnTo>
                <a:cubicBezTo>
                  <a:pt x="1976119" y="1311946"/>
                  <a:pt x="1970312" y="1322567"/>
                  <a:pt x="1968929" y="1313464"/>
                </a:cubicBezTo>
                <a:cubicBezTo>
                  <a:pt x="1975014" y="1309822"/>
                  <a:pt x="1969759" y="1308608"/>
                  <a:pt x="1979716" y="1308811"/>
                </a:cubicBezTo>
                <a:cubicBezTo>
                  <a:pt x="1980269" y="1303955"/>
                  <a:pt x="1980822" y="1299100"/>
                  <a:pt x="1973631" y="1293638"/>
                </a:cubicBezTo>
                <a:cubicBezTo>
                  <a:pt x="1975566" y="1286153"/>
                  <a:pt x="1981928" y="1289390"/>
                  <a:pt x="1983864" y="1282005"/>
                </a:cubicBezTo>
                <a:cubicBezTo>
                  <a:pt x="1966993" y="1283320"/>
                  <a:pt x="1987460" y="1278870"/>
                  <a:pt x="1985524" y="1267541"/>
                </a:cubicBezTo>
                <a:cubicBezTo>
                  <a:pt x="1983864" y="1263292"/>
                  <a:pt x="1976950" y="1264708"/>
                  <a:pt x="1974184" y="1258235"/>
                </a:cubicBezTo>
                <a:cubicBezTo>
                  <a:pt x="1974737" y="1253480"/>
                  <a:pt x="1976397" y="1250850"/>
                  <a:pt x="1974461" y="1246501"/>
                </a:cubicBezTo>
                <a:cubicBezTo>
                  <a:pt x="2002119" y="1228698"/>
                  <a:pt x="1989396" y="1184494"/>
                  <a:pt x="2011524" y="1158599"/>
                </a:cubicBezTo>
                <a:lnTo>
                  <a:pt x="2008758" y="1152025"/>
                </a:lnTo>
                <a:lnTo>
                  <a:pt x="1989673" y="1168512"/>
                </a:lnTo>
                <a:cubicBezTo>
                  <a:pt x="1990226" y="1159914"/>
                  <a:pt x="1996310" y="1153036"/>
                  <a:pt x="2004332" y="1146259"/>
                </a:cubicBezTo>
                <a:lnTo>
                  <a:pt x="2012077" y="1139482"/>
                </a:lnTo>
                <a:lnTo>
                  <a:pt x="2023139" y="1120971"/>
                </a:lnTo>
                <a:cubicBezTo>
                  <a:pt x="2035587" y="1091839"/>
                  <a:pt x="2040566" y="1057649"/>
                  <a:pt x="2062139" y="1037014"/>
                </a:cubicBezTo>
                <a:cubicBezTo>
                  <a:pt x="2065735" y="1015064"/>
                  <a:pt x="2070161" y="995339"/>
                  <a:pt x="2091182" y="979054"/>
                </a:cubicBezTo>
                <a:cubicBezTo>
                  <a:pt x="2103905" y="936266"/>
                  <a:pt x="2138201" y="898233"/>
                  <a:pt x="2156456" y="856660"/>
                </a:cubicBezTo>
                <a:cubicBezTo>
                  <a:pt x="2150648" y="848567"/>
                  <a:pt x="2152031" y="864651"/>
                  <a:pt x="2145393" y="854333"/>
                </a:cubicBezTo>
                <a:cubicBezTo>
                  <a:pt x="2148988" y="844218"/>
                  <a:pt x="2160329" y="841790"/>
                  <a:pt x="2170839" y="837036"/>
                </a:cubicBezTo>
                <a:cubicBezTo>
                  <a:pt x="2182732" y="822773"/>
                  <a:pt x="2177478" y="809826"/>
                  <a:pt x="2192137" y="797182"/>
                </a:cubicBezTo>
                <a:cubicBezTo>
                  <a:pt x="2200435" y="792933"/>
                  <a:pt x="2204029" y="801633"/>
                  <a:pt x="2209008" y="795766"/>
                </a:cubicBezTo>
                <a:cubicBezTo>
                  <a:pt x="2205689" y="787168"/>
                  <a:pt x="2209285" y="783931"/>
                  <a:pt x="2199052" y="776850"/>
                </a:cubicBezTo>
                <a:cubicBezTo>
                  <a:pt x="2205966" y="775333"/>
                  <a:pt x="2207903" y="767848"/>
                  <a:pt x="2203200" y="768859"/>
                </a:cubicBezTo>
                <a:cubicBezTo>
                  <a:pt x="2203754" y="764004"/>
                  <a:pt x="2218413" y="763195"/>
                  <a:pt x="2223391" y="757429"/>
                </a:cubicBezTo>
                <a:cubicBezTo>
                  <a:pt x="2221732" y="753079"/>
                  <a:pt x="2215924" y="763700"/>
                  <a:pt x="2214817" y="754597"/>
                </a:cubicBezTo>
                <a:cubicBezTo>
                  <a:pt x="2217030" y="754091"/>
                  <a:pt x="2213986" y="752371"/>
                  <a:pt x="2213157" y="750247"/>
                </a:cubicBezTo>
                <a:cubicBezTo>
                  <a:pt x="2240540" y="744178"/>
                  <a:pt x="2243306" y="720104"/>
                  <a:pt x="2260455" y="706954"/>
                </a:cubicBezTo>
                <a:cubicBezTo>
                  <a:pt x="2259625" y="704830"/>
                  <a:pt x="2256581" y="703110"/>
                  <a:pt x="2255476" y="700986"/>
                </a:cubicBezTo>
                <a:cubicBezTo>
                  <a:pt x="2267369" y="705437"/>
                  <a:pt x="2300836" y="665178"/>
                  <a:pt x="2299453" y="649095"/>
                </a:cubicBezTo>
                <a:cubicBezTo>
                  <a:pt x="2347857" y="614905"/>
                  <a:pt x="2366112" y="573332"/>
                  <a:pt x="2411195" y="537524"/>
                </a:cubicBezTo>
                <a:cubicBezTo>
                  <a:pt x="2414239" y="532163"/>
                  <a:pt x="2402621" y="534691"/>
                  <a:pt x="2402344" y="527712"/>
                </a:cubicBezTo>
                <a:cubicBezTo>
                  <a:pt x="2410090" y="528319"/>
                  <a:pt x="2415622" y="517799"/>
                  <a:pt x="2423643" y="525385"/>
                </a:cubicBezTo>
                <a:cubicBezTo>
                  <a:pt x="2428621" y="512539"/>
                  <a:pt x="2461259" y="500704"/>
                  <a:pt x="2456834" y="489881"/>
                </a:cubicBezTo>
                <a:cubicBezTo>
                  <a:pt x="2456556" y="482901"/>
                  <a:pt x="2464578" y="490589"/>
                  <a:pt x="2467344" y="485228"/>
                </a:cubicBezTo>
                <a:cubicBezTo>
                  <a:pt x="2471215" y="482092"/>
                  <a:pt x="2460982" y="481890"/>
                  <a:pt x="2464024" y="476630"/>
                </a:cubicBezTo>
                <a:cubicBezTo>
                  <a:pt x="2459599" y="484621"/>
                  <a:pt x="2461259" y="481991"/>
                  <a:pt x="2449642" y="484520"/>
                </a:cubicBezTo>
                <a:cubicBezTo>
                  <a:pt x="2446322" y="475821"/>
                  <a:pt x="2460705" y="474910"/>
                  <a:pt x="2465961" y="469145"/>
                </a:cubicBezTo>
                <a:cubicBezTo>
                  <a:pt x="2468450" y="475618"/>
                  <a:pt x="2471493" y="477338"/>
                  <a:pt x="2473982" y="476832"/>
                </a:cubicBezTo>
                <a:cubicBezTo>
                  <a:pt x="2482280" y="472584"/>
                  <a:pt x="2479514" y="466110"/>
                  <a:pt x="2491131" y="463581"/>
                </a:cubicBezTo>
                <a:cubicBezTo>
                  <a:pt x="2487812" y="461963"/>
                  <a:pt x="2483939" y="458220"/>
                  <a:pt x="2477854" y="461862"/>
                </a:cubicBezTo>
                <a:cubicBezTo>
                  <a:pt x="2478408" y="457006"/>
                  <a:pt x="2490854" y="456703"/>
                  <a:pt x="2491683" y="458827"/>
                </a:cubicBezTo>
                <a:cubicBezTo>
                  <a:pt x="2492514" y="442238"/>
                  <a:pt x="2537873" y="443857"/>
                  <a:pt x="2531512" y="421805"/>
                </a:cubicBezTo>
                <a:cubicBezTo>
                  <a:pt x="2544513" y="423626"/>
                  <a:pt x="2560002" y="406127"/>
                  <a:pt x="2561385" y="403497"/>
                </a:cubicBezTo>
                <a:cubicBezTo>
                  <a:pt x="2573830" y="391257"/>
                  <a:pt x="2591256" y="385188"/>
                  <a:pt x="2607021" y="374668"/>
                </a:cubicBezTo>
                <a:cubicBezTo>
                  <a:pt x="2616703" y="367891"/>
                  <a:pt x="2636894" y="356259"/>
                  <a:pt x="2633020" y="340681"/>
                </a:cubicBezTo>
                <a:cubicBezTo>
                  <a:pt x="2660957" y="341591"/>
                  <a:pt x="2686127" y="305480"/>
                  <a:pt x="2717658" y="303255"/>
                </a:cubicBezTo>
                <a:cubicBezTo>
                  <a:pt x="2721254" y="300119"/>
                  <a:pt x="2722635" y="297489"/>
                  <a:pt x="2720146" y="291015"/>
                </a:cubicBezTo>
                <a:cubicBezTo>
                  <a:pt x="2761083" y="282013"/>
                  <a:pt x="2777124" y="259658"/>
                  <a:pt x="2816954" y="241451"/>
                </a:cubicBezTo>
                <a:cubicBezTo>
                  <a:pt x="2818890" y="245800"/>
                  <a:pt x="2822761" y="249644"/>
                  <a:pt x="2824422" y="253892"/>
                </a:cubicBezTo>
                <a:cubicBezTo>
                  <a:pt x="2835761" y="251364"/>
                  <a:pt x="2831060" y="245497"/>
                  <a:pt x="2830783" y="238517"/>
                </a:cubicBezTo>
                <a:cubicBezTo>
                  <a:pt x="2849868" y="236595"/>
                  <a:pt x="2852357" y="224255"/>
                  <a:pt x="2867016" y="223445"/>
                </a:cubicBezTo>
                <a:cubicBezTo>
                  <a:pt x="2862591" y="231437"/>
                  <a:pt x="2848208" y="232246"/>
                  <a:pt x="2862591" y="243170"/>
                </a:cubicBezTo>
                <a:cubicBezTo>
                  <a:pt x="2853186" y="245193"/>
                  <a:pt x="2850144" y="243474"/>
                  <a:pt x="2845996" y="251465"/>
                </a:cubicBezTo>
                <a:cubicBezTo>
                  <a:pt x="2857059" y="260771"/>
                  <a:pt x="2858442" y="258141"/>
                  <a:pt x="2865079" y="268357"/>
                </a:cubicBezTo>
                <a:cubicBezTo>
                  <a:pt x="2858995" y="272100"/>
                  <a:pt x="2844612" y="291723"/>
                  <a:pt x="2831060" y="282923"/>
                </a:cubicBezTo>
                <a:cubicBezTo>
                  <a:pt x="2818059" y="299917"/>
                  <a:pt x="2772976" y="305177"/>
                  <a:pt x="2768549" y="324901"/>
                </a:cubicBezTo>
                <a:cubicBezTo>
                  <a:pt x="2755827" y="318326"/>
                  <a:pt x="2750571" y="335927"/>
                  <a:pt x="2738679" y="343311"/>
                </a:cubicBezTo>
                <a:cubicBezTo>
                  <a:pt x="2727892" y="347964"/>
                  <a:pt x="2683360" y="348369"/>
                  <a:pt x="2694701" y="376489"/>
                </a:cubicBezTo>
                <a:cubicBezTo>
                  <a:pt x="2686402" y="380636"/>
                  <a:pt x="2693040" y="372139"/>
                  <a:pt x="2685297" y="371533"/>
                </a:cubicBezTo>
                <a:cubicBezTo>
                  <a:pt x="2670084" y="377197"/>
                  <a:pt x="2655978" y="384986"/>
                  <a:pt x="2660126" y="395809"/>
                </a:cubicBezTo>
                <a:cubicBezTo>
                  <a:pt x="2649340" y="393483"/>
                  <a:pt x="2620575" y="402182"/>
                  <a:pt x="2627490" y="419479"/>
                </a:cubicBezTo>
                <a:cubicBezTo>
                  <a:pt x="2592363" y="424840"/>
                  <a:pt x="2540364" y="469145"/>
                  <a:pt x="2535938" y="507684"/>
                </a:cubicBezTo>
                <a:cubicBezTo>
                  <a:pt x="2532066" y="503941"/>
                  <a:pt x="2527364" y="504953"/>
                  <a:pt x="2521556" y="508594"/>
                </a:cubicBezTo>
                <a:cubicBezTo>
                  <a:pt x="2525427" y="512337"/>
                  <a:pt x="2532066" y="503840"/>
                  <a:pt x="2533172" y="512944"/>
                </a:cubicBezTo>
                <a:cubicBezTo>
                  <a:pt x="2501917" y="533983"/>
                  <a:pt x="2475918" y="574950"/>
                  <a:pt x="2443834" y="593764"/>
                </a:cubicBezTo>
                <a:cubicBezTo>
                  <a:pt x="2436641" y="588302"/>
                  <a:pt x="2446600" y="588403"/>
                  <a:pt x="2441621" y="582435"/>
                </a:cubicBezTo>
                <a:cubicBezTo>
                  <a:pt x="2428897" y="587594"/>
                  <a:pt x="2412578" y="602969"/>
                  <a:pt x="2424749" y="614400"/>
                </a:cubicBezTo>
                <a:cubicBezTo>
                  <a:pt x="2420324" y="622391"/>
                  <a:pt x="2415344" y="628156"/>
                  <a:pt x="2402621" y="633315"/>
                </a:cubicBezTo>
                <a:cubicBezTo>
                  <a:pt x="2397090" y="632202"/>
                  <a:pt x="2403175" y="628460"/>
                  <a:pt x="2401239" y="624211"/>
                </a:cubicBezTo>
                <a:cubicBezTo>
                  <a:pt x="2385472" y="627752"/>
                  <a:pt x="2392388" y="633214"/>
                  <a:pt x="2382706" y="639991"/>
                </a:cubicBezTo>
                <a:cubicBezTo>
                  <a:pt x="2386856" y="643835"/>
                  <a:pt x="2392388" y="633214"/>
                  <a:pt x="2395984" y="641913"/>
                </a:cubicBezTo>
                <a:cubicBezTo>
                  <a:pt x="2383814" y="649196"/>
                  <a:pt x="2387409" y="657794"/>
                  <a:pt x="2374686" y="662953"/>
                </a:cubicBezTo>
                <a:cubicBezTo>
                  <a:pt x="2371920" y="656479"/>
                  <a:pt x="2374686" y="651118"/>
                  <a:pt x="2384920" y="651320"/>
                </a:cubicBezTo>
                <a:cubicBezTo>
                  <a:pt x="2381600" y="649601"/>
                  <a:pt x="2377175" y="650612"/>
                  <a:pt x="2375516" y="646364"/>
                </a:cubicBezTo>
                <a:cubicBezTo>
                  <a:pt x="2366665" y="655366"/>
                  <a:pt x="2361409" y="661233"/>
                  <a:pt x="2371091" y="673169"/>
                </a:cubicBezTo>
                <a:cubicBezTo>
                  <a:pt x="2365282" y="676811"/>
                  <a:pt x="2364175" y="667606"/>
                  <a:pt x="2360857" y="665987"/>
                </a:cubicBezTo>
                <a:cubicBezTo>
                  <a:pt x="2326282" y="697142"/>
                  <a:pt x="2323517" y="739930"/>
                  <a:pt x="2283688" y="776951"/>
                </a:cubicBezTo>
                <a:cubicBezTo>
                  <a:pt x="2278156" y="775738"/>
                  <a:pt x="2272625" y="774625"/>
                  <a:pt x="2265709" y="776142"/>
                </a:cubicBezTo>
                <a:cubicBezTo>
                  <a:pt x="2267923" y="787471"/>
                  <a:pt x="2253540" y="795361"/>
                  <a:pt x="2265709" y="806791"/>
                </a:cubicBezTo>
                <a:cubicBezTo>
                  <a:pt x="2243306" y="825707"/>
                  <a:pt x="2235284" y="848668"/>
                  <a:pt x="2226987" y="871529"/>
                </a:cubicBezTo>
                <a:cubicBezTo>
                  <a:pt x="2171116" y="930804"/>
                  <a:pt x="2152031" y="1000802"/>
                  <a:pt x="2113308" y="1065640"/>
                </a:cubicBezTo>
                <a:cubicBezTo>
                  <a:pt x="2107224" y="1118644"/>
                  <a:pt x="2074310" y="1154048"/>
                  <a:pt x="2064904" y="1205433"/>
                </a:cubicBezTo>
                <a:cubicBezTo>
                  <a:pt x="2055778" y="1207456"/>
                  <a:pt x="2058819" y="1220909"/>
                  <a:pt x="2048863" y="1220707"/>
                </a:cubicBezTo>
                <a:cubicBezTo>
                  <a:pt x="2051352" y="1227181"/>
                  <a:pt x="2054395" y="1228900"/>
                  <a:pt x="2060480" y="1225259"/>
                </a:cubicBezTo>
                <a:lnTo>
                  <a:pt x="2055224" y="1237802"/>
                </a:lnTo>
                <a:lnTo>
                  <a:pt x="2085373" y="1208771"/>
                </a:lnTo>
                <a:cubicBezTo>
                  <a:pt x="2077904" y="1228192"/>
                  <a:pt x="2062416" y="1242961"/>
                  <a:pt x="2047204" y="1257830"/>
                </a:cubicBezTo>
                <a:lnTo>
                  <a:pt x="2043885" y="1261573"/>
                </a:lnTo>
                <a:lnTo>
                  <a:pt x="2047204" y="1265012"/>
                </a:lnTo>
                <a:cubicBezTo>
                  <a:pt x="2046927" y="1267439"/>
                  <a:pt x="2046374" y="1270575"/>
                  <a:pt x="2050246" y="1274419"/>
                </a:cubicBezTo>
                <a:cubicBezTo>
                  <a:pt x="2048033" y="1274925"/>
                  <a:pt x="2045820" y="1275430"/>
                  <a:pt x="2044438" y="1278060"/>
                </a:cubicBezTo>
                <a:lnTo>
                  <a:pt x="2042225" y="1293840"/>
                </a:lnTo>
                <a:lnTo>
                  <a:pt x="2052459" y="1284028"/>
                </a:lnTo>
                <a:cubicBezTo>
                  <a:pt x="2058819" y="1276240"/>
                  <a:pt x="2064076" y="1267844"/>
                  <a:pt x="2066287" y="1258235"/>
                </a:cubicBezTo>
                <a:cubicBezTo>
                  <a:pt x="2073756" y="1256920"/>
                  <a:pt x="2095054" y="1245388"/>
                  <a:pt x="2089799" y="1237094"/>
                </a:cubicBezTo>
                <a:lnTo>
                  <a:pt x="2099756" y="1233958"/>
                </a:lnTo>
                <a:lnTo>
                  <a:pt x="2100309" y="1232542"/>
                </a:lnTo>
                <a:cubicBezTo>
                  <a:pt x="2102245" y="1223640"/>
                  <a:pt x="2103075" y="1213525"/>
                  <a:pt x="2106393" y="1203410"/>
                </a:cubicBezTo>
                <a:cubicBezTo>
                  <a:pt x="2111373" y="1190564"/>
                  <a:pt x="2127690" y="1182168"/>
                  <a:pt x="2116351" y="1165984"/>
                </a:cubicBezTo>
                <a:cubicBezTo>
                  <a:pt x="2131840" y="1155464"/>
                  <a:pt x="2132117" y="1143629"/>
                  <a:pt x="2129351" y="1130176"/>
                </a:cubicBezTo>
                <a:cubicBezTo>
                  <a:pt x="2158393" y="1090928"/>
                  <a:pt x="2172498" y="1045612"/>
                  <a:pt x="2196009" y="1005151"/>
                </a:cubicBezTo>
                <a:cubicBezTo>
                  <a:pt x="2194350" y="1000802"/>
                  <a:pt x="2191860" y="1001409"/>
                  <a:pt x="2187988" y="997565"/>
                </a:cubicBezTo>
                <a:cubicBezTo>
                  <a:pt x="2201540" y="1006365"/>
                  <a:pt x="2211222" y="980672"/>
                  <a:pt x="2201818" y="982695"/>
                </a:cubicBezTo>
                <a:cubicBezTo>
                  <a:pt x="2226711" y="951439"/>
                  <a:pt x="2259072" y="902077"/>
                  <a:pt x="2270688" y="869000"/>
                </a:cubicBezTo>
                <a:cubicBezTo>
                  <a:pt x="2269859" y="866876"/>
                  <a:pt x="2275667" y="863234"/>
                  <a:pt x="2276773" y="865359"/>
                </a:cubicBezTo>
                <a:cubicBezTo>
                  <a:pt x="2282582" y="861717"/>
                  <a:pt x="2274837" y="861009"/>
                  <a:pt x="2275389" y="856255"/>
                </a:cubicBezTo>
                <a:cubicBezTo>
                  <a:pt x="2286176" y="851501"/>
                  <a:pt x="2299453" y="841588"/>
                  <a:pt x="2295028" y="830764"/>
                </a:cubicBezTo>
                <a:cubicBezTo>
                  <a:pt x="2318262" y="813973"/>
                  <a:pt x="2339559" y="774018"/>
                  <a:pt x="2360304" y="757732"/>
                </a:cubicBezTo>
                <a:cubicBezTo>
                  <a:pt x="2360857" y="752877"/>
                  <a:pt x="2361409" y="748022"/>
                  <a:pt x="2362792" y="745392"/>
                </a:cubicBezTo>
                <a:cubicBezTo>
                  <a:pt x="2368878" y="741649"/>
                  <a:pt x="2373303" y="740739"/>
                  <a:pt x="2380218" y="739222"/>
                </a:cubicBezTo>
                <a:cubicBezTo>
                  <a:pt x="2382154" y="731736"/>
                  <a:pt x="2385750" y="721621"/>
                  <a:pt x="2400685" y="715957"/>
                </a:cubicBezTo>
                <a:cubicBezTo>
                  <a:pt x="2405664" y="721925"/>
                  <a:pt x="2404281" y="724554"/>
                  <a:pt x="2414239" y="724656"/>
                </a:cubicBezTo>
                <a:cubicBezTo>
                  <a:pt x="2418387" y="716665"/>
                  <a:pt x="2406218" y="717069"/>
                  <a:pt x="2403452" y="710595"/>
                </a:cubicBezTo>
                <a:cubicBezTo>
                  <a:pt x="2407047" y="700480"/>
                  <a:pt x="2419493" y="707055"/>
                  <a:pt x="2426409" y="705538"/>
                </a:cubicBezTo>
                <a:cubicBezTo>
                  <a:pt x="2411195" y="692388"/>
                  <a:pt x="2417558" y="677013"/>
                  <a:pt x="2443003" y="678429"/>
                </a:cubicBezTo>
                <a:cubicBezTo>
                  <a:pt x="2451302" y="674282"/>
                  <a:pt x="2442174" y="664470"/>
                  <a:pt x="2451302" y="662447"/>
                </a:cubicBezTo>
                <a:cubicBezTo>
                  <a:pt x="2450471" y="660323"/>
                  <a:pt x="2448812" y="656074"/>
                  <a:pt x="2444387" y="656985"/>
                </a:cubicBezTo>
                <a:cubicBezTo>
                  <a:pt x="2447153" y="651725"/>
                  <a:pt x="2457110" y="651826"/>
                  <a:pt x="2451302" y="643734"/>
                </a:cubicBezTo>
                <a:cubicBezTo>
                  <a:pt x="2458216" y="642216"/>
                  <a:pt x="2477854" y="635540"/>
                  <a:pt x="2471215" y="625223"/>
                </a:cubicBezTo>
                <a:cubicBezTo>
                  <a:pt x="2475918" y="624211"/>
                  <a:pt x="2478408" y="630786"/>
                  <a:pt x="2482832" y="629775"/>
                </a:cubicBezTo>
                <a:cubicBezTo>
                  <a:pt x="2481727" y="620570"/>
                  <a:pt x="2493343" y="618041"/>
                  <a:pt x="2486705" y="607825"/>
                </a:cubicBezTo>
                <a:cubicBezTo>
                  <a:pt x="2493620" y="606307"/>
                  <a:pt x="2507173" y="603172"/>
                  <a:pt x="2500811" y="599935"/>
                </a:cubicBezTo>
                <a:cubicBezTo>
                  <a:pt x="2523215" y="580918"/>
                  <a:pt x="2536490" y="552191"/>
                  <a:pt x="2566640" y="540862"/>
                </a:cubicBezTo>
                <a:cubicBezTo>
                  <a:pt x="2570512" y="537625"/>
                  <a:pt x="2574108" y="534489"/>
                  <a:pt x="2571342" y="528015"/>
                </a:cubicBezTo>
                <a:cubicBezTo>
                  <a:pt x="2602043" y="523565"/>
                  <a:pt x="2614766" y="480878"/>
                  <a:pt x="2652106" y="474910"/>
                </a:cubicBezTo>
                <a:cubicBezTo>
                  <a:pt x="2655702" y="471775"/>
                  <a:pt x="2651000" y="465908"/>
                  <a:pt x="2654595" y="462671"/>
                </a:cubicBezTo>
                <a:cubicBezTo>
                  <a:pt x="2665106" y="458018"/>
                  <a:pt x="2670914" y="466110"/>
                  <a:pt x="2678659" y="466818"/>
                </a:cubicBezTo>
                <a:cubicBezTo>
                  <a:pt x="2685297" y="458321"/>
                  <a:pt x="2680318" y="433640"/>
                  <a:pt x="2706041" y="442036"/>
                </a:cubicBezTo>
                <a:cubicBezTo>
                  <a:pt x="2713509" y="435663"/>
                  <a:pt x="2709084" y="424941"/>
                  <a:pt x="2714062" y="419074"/>
                </a:cubicBezTo>
                <a:cubicBezTo>
                  <a:pt x="2719594" y="420288"/>
                  <a:pt x="2722913" y="421805"/>
                  <a:pt x="2727339" y="420794"/>
                </a:cubicBezTo>
                <a:cubicBezTo>
                  <a:pt x="2726232" y="411690"/>
                  <a:pt x="2747805" y="397529"/>
                  <a:pt x="2762741" y="403598"/>
                </a:cubicBezTo>
                <a:cubicBezTo>
                  <a:pt x="2763019" y="391864"/>
                  <a:pt x="2774912" y="384581"/>
                  <a:pt x="2783763" y="375579"/>
                </a:cubicBezTo>
                <a:cubicBezTo>
                  <a:pt x="2831889" y="371937"/>
                  <a:pt x="2872272" y="323182"/>
                  <a:pt x="2925376" y="313775"/>
                </a:cubicBezTo>
                <a:lnTo>
                  <a:pt x="2929525" y="312156"/>
                </a:lnTo>
                <a:lnTo>
                  <a:pt x="2914866" y="334309"/>
                </a:lnTo>
                <a:cubicBezTo>
                  <a:pt x="2905738" y="343311"/>
                  <a:pt x="2894398" y="351100"/>
                  <a:pt x="2882781" y="356056"/>
                </a:cubicBezTo>
                <a:cubicBezTo>
                  <a:pt x="2877527" y="361822"/>
                  <a:pt x="2886653" y="371634"/>
                  <a:pt x="2891910" y="372746"/>
                </a:cubicBezTo>
                <a:cubicBezTo>
                  <a:pt x="2918186" y="357574"/>
                  <a:pt x="2959674" y="355449"/>
                  <a:pt x="2958843" y="334612"/>
                </a:cubicBezTo>
                <a:cubicBezTo>
                  <a:pt x="2968802" y="334713"/>
                  <a:pt x="2981525" y="329554"/>
                  <a:pt x="2990928" y="334511"/>
                </a:cubicBezTo>
                <a:cubicBezTo>
                  <a:pt x="2961609" y="347964"/>
                  <a:pt x="2944462" y="361114"/>
                  <a:pt x="2912929" y="375174"/>
                </a:cubicBezTo>
                <a:cubicBezTo>
                  <a:pt x="2915420" y="381648"/>
                  <a:pt x="2909611" y="385289"/>
                  <a:pt x="2915143" y="393483"/>
                </a:cubicBezTo>
                <a:cubicBezTo>
                  <a:pt x="2920122" y="399451"/>
                  <a:pt x="2920398" y="387616"/>
                  <a:pt x="2926483" y="390954"/>
                </a:cubicBezTo>
                <a:cubicBezTo>
                  <a:pt x="2928419" y="395202"/>
                  <a:pt x="2929249" y="397428"/>
                  <a:pt x="2924547" y="398439"/>
                </a:cubicBezTo>
                <a:cubicBezTo>
                  <a:pt x="2927866" y="400058"/>
                  <a:pt x="2932292" y="399046"/>
                  <a:pt x="2933951" y="403396"/>
                </a:cubicBezTo>
                <a:cubicBezTo>
                  <a:pt x="2942249" y="399147"/>
                  <a:pt x="2938099" y="388425"/>
                  <a:pt x="2953866" y="384885"/>
                </a:cubicBezTo>
                <a:cubicBezTo>
                  <a:pt x="2948333" y="395506"/>
                  <a:pt x="2968248" y="395809"/>
                  <a:pt x="2959397" y="404812"/>
                </a:cubicBezTo>
                <a:cubicBezTo>
                  <a:pt x="2967141" y="405419"/>
                  <a:pt x="2977651" y="400766"/>
                  <a:pt x="2982908" y="413713"/>
                </a:cubicBezTo>
                <a:cubicBezTo>
                  <a:pt x="2975993" y="415230"/>
                  <a:pt x="2964100" y="403800"/>
                  <a:pt x="2969355" y="416748"/>
                </a:cubicBezTo>
                <a:cubicBezTo>
                  <a:pt x="2961609" y="416141"/>
                  <a:pt x="2964929" y="406026"/>
                  <a:pt x="2955802" y="408049"/>
                </a:cubicBezTo>
                <a:cubicBezTo>
                  <a:pt x="2953589" y="408554"/>
                  <a:pt x="2955249" y="412803"/>
                  <a:pt x="2958291" y="414421"/>
                </a:cubicBezTo>
                <a:cubicBezTo>
                  <a:pt x="2950823" y="420794"/>
                  <a:pt x="2946674" y="409970"/>
                  <a:pt x="2940589" y="413612"/>
                </a:cubicBezTo>
                <a:cubicBezTo>
                  <a:pt x="2935610" y="419479"/>
                  <a:pt x="2949163" y="416545"/>
                  <a:pt x="2951929" y="423019"/>
                </a:cubicBezTo>
                <a:cubicBezTo>
                  <a:pt x="2941418" y="427672"/>
                  <a:pt x="2939205" y="435157"/>
                  <a:pt x="2945845" y="445374"/>
                </a:cubicBezTo>
                <a:cubicBezTo>
                  <a:pt x="2926483" y="440316"/>
                  <a:pt x="2927037" y="454275"/>
                  <a:pt x="2919569" y="441834"/>
                </a:cubicBezTo>
                <a:cubicBezTo>
                  <a:pt x="2896888" y="446891"/>
                  <a:pt x="2887484" y="479361"/>
                  <a:pt x="2872272" y="466312"/>
                </a:cubicBezTo>
                <a:cubicBezTo>
                  <a:pt x="2859549" y="471471"/>
                  <a:pt x="2878910" y="476630"/>
                  <a:pt x="2865079" y="479665"/>
                </a:cubicBezTo>
                <a:cubicBezTo>
                  <a:pt x="2855676" y="474708"/>
                  <a:pt x="2868122" y="474303"/>
                  <a:pt x="2866463" y="469954"/>
                </a:cubicBezTo>
                <a:cubicBezTo>
                  <a:pt x="2852910" y="461255"/>
                  <a:pt x="2851526" y="482598"/>
                  <a:pt x="2842953" y="479867"/>
                </a:cubicBezTo>
                <a:cubicBezTo>
                  <a:pt x="2845441" y="486239"/>
                  <a:pt x="2847654" y="485734"/>
                  <a:pt x="2853464" y="493927"/>
                </a:cubicBezTo>
                <a:cubicBezTo>
                  <a:pt x="2849037" y="494939"/>
                  <a:pt x="2846549" y="495444"/>
                  <a:pt x="2845166" y="498074"/>
                </a:cubicBezTo>
                <a:cubicBezTo>
                  <a:pt x="2837974" y="492612"/>
                  <a:pt x="2844889" y="491095"/>
                  <a:pt x="2843230" y="486846"/>
                </a:cubicBezTo>
                <a:cubicBezTo>
                  <a:pt x="2841846" y="489476"/>
                  <a:pt x="2839634" y="489982"/>
                  <a:pt x="2837421" y="490488"/>
                </a:cubicBezTo>
                <a:cubicBezTo>
                  <a:pt x="2835761" y="493118"/>
                  <a:pt x="2840464" y="492106"/>
                  <a:pt x="2842123" y="496456"/>
                </a:cubicBezTo>
                <a:cubicBezTo>
                  <a:pt x="2816954" y="502019"/>
                  <a:pt x="2798975" y="513045"/>
                  <a:pt x="2793720" y="530645"/>
                </a:cubicBezTo>
                <a:cubicBezTo>
                  <a:pt x="2783763" y="530443"/>
                  <a:pt x="2780997" y="535804"/>
                  <a:pt x="2777954" y="541165"/>
                </a:cubicBezTo>
                <a:cubicBezTo>
                  <a:pt x="2778784" y="543289"/>
                  <a:pt x="2780720" y="547538"/>
                  <a:pt x="2782932" y="547032"/>
                </a:cubicBezTo>
                <a:cubicBezTo>
                  <a:pt x="2767444" y="545717"/>
                  <a:pt x="2745870" y="559980"/>
                  <a:pt x="2744210" y="574444"/>
                </a:cubicBezTo>
                <a:cubicBezTo>
                  <a:pt x="2741445" y="567971"/>
                  <a:pt x="2738679" y="573230"/>
                  <a:pt x="2734806" y="569387"/>
                </a:cubicBezTo>
                <a:cubicBezTo>
                  <a:pt x="2717933" y="589516"/>
                  <a:pt x="2702998" y="602261"/>
                  <a:pt x="2679211" y="616928"/>
                </a:cubicBezTo>
                <a:cubicBezTo>
                  <a:pt x="2680871" y="621177"/>
                  <a:pt x="2689999" y="619255"/>
                  <a:pt x="2681701" y="623402"/>
                </a:cubicBezTo>
                <a:cubicBezTo>
                  <a:pt x="2682531" y="625526"/>
                  <a:pt x="2684744" y="625021"/>
                  <a:pt x="2685850" y="627246"/>
                </a:cubicBezTo>
                <a:cubicBezTo>
                  <a:pt x="2697190" y="624717"/>
                  <a:pt x="2687786" y="619659"/>
                  <a:pt x="2691382" y="616524"/>
                </a:cubicBezTo>
                <a:cubicBezTo>
                  <a:pt x="2693870" y="616018"/>
                  <a:pt x="2698297" y="615108"/>
                  <a:pt x="2701338" y="616726"/>
                </a:cubicBezTo>
                <a:cubicBezTo>
                  <a:pt x="2695253" y="632202"/>
                  <a:pt x="2682531" y="644239"/>
                  <a:pt x="2667872" y="656985"/>
                </a:cubicBezTo>
                <a:cubicBezTo>
                  <a:pt x="2673680" y="665077"/>
                  <a:pt x="2673680" y="653242"/>
                  <a:pt x="2677276" y="661941"/>
                </a:cubicBezTo>
                <a:cubicBezTo>
                  <a:pt x="2659297" y="672866"/>
                  <a:pt x="2647681" y="687229"/>
                  <a:pt x="2644638" y="704324"/>
                </a:cubicBezTo>
                <a:cubicBezTo>
                  <a:pt x="2649616" y="710292"/>
                  <a:pt x="2656807" y="704021"/>
                  <a:pt x="2662616" y="712113"/>
                </a:cubicBezTo>
                <a:cubicBezTo>
                  <a:pt x="2675892" y="702099"/>
                  <a:pt x="2690274" y="694310"/>
                  <a:pt x="2693595" y="684094"/>
                </a:cubicBezTo>
                <a:cubicBezTo>
                  <a:pt x="2710743" y="689758"/>
                  <a:pt x="2706870" y="674079"/>
                  <a:pt x="2714892" y="662953"/>
                </a:cubicBezTo>
                <a:cubicBezTo>
                  <a:pt x="2725956" y="653444"/>
                  <a:pt x="2747253" y="644138"/>
                  <a:pt x="2759700" y="632000"/>
                </a:cubicBezTo>
                <a:cubicBezTo>
                  <a:pt x="2769933" y="620367"/>
                  <a:pt x="2792614" y="608330"/>
                  <a:pt x="2809762" y="602160"/>
                </a:cubicBezTo>
                <a:cubicBezTo>
                  <a:pt x="2814464" y="601149"/>
                  <a:pt x="2809762" y="595079"/>
                  <a:pt x="2815571" y="591438"/>
                </a:cubicBezTo>
                <a:cubicBezTo>
                  <a:pt x="2819720" y="595282"/>
                  <a:pt x="2823315" y="592146"/>
                  <a:pt x="2825527" y="591640"/>
                </a:cubicBezTo>
                <a:cubicBezTo>
                  <a:pt x="2826358" y="575051"/>
                  <a:pt x="2850974" y="574343"/>
                  <a:pt x="2851803" y="557754"/>
                </a:cubicBezTo>
                <a:cubicBezTo>
                  <a:pt x="2905461" y="536512"/>
                  <a:pt x="2927037" y="503536"/>
                  <a:pt x="2979589" y="492005"/>
                </a:cubicBezTo>
                <a:cubicBezTo>
                  <a:pt x="2985396" y="488262"/>
                  <a:pt x="2985120" y="481384"/>
                  <a:pt x="2991204" y="477641"/>
                </a:cubicBezTo>
                <a:cubicBezTo>
                  <a:pt x="2993970" y="491095"/>
                  <a:pt x="3005034" y="481586"/>
                  <a:pt x="3011950" y="480069"/>
                </a:cubicBezTo>
                <a:cubicBezTo>
                  <a:pt x="3007524" y="499895"/>
                  <a:pt x="2970460" y="512741"/>
                  <a:pt x="2947504" y="529533"/>
                </a:cubicBezTo>
                <a:cubicBezTo>
                  <a:pt x="2949163" y="533882"/>
                  <a:pt x="2952759" y="530746"/>
                  <a:pt x="2954972" y="530241"/>
                </a:cubicBezTo>
                <a:cubicBezTo>
                  <a:pt x="2942801" y="549359"/>
                  <a:pt x="2895781" y="543289"/>
                  <a:pt x="2896335" y="557248"/>
                </a:cubicBezTo>
                <a:cubicBezTo>
                  <a:pt x="2870888" y="555832"/>
                  <a:pt x="2852910" y="597406"/>
                  <a:pt x="2830229" y="590629"/>
                </a:cubicBezTo>
                <a:cubicBezTo>
                  <a:pt x="2819165" y="600137"/>
                  <a:pt x="2819996" y="602261"/>
                  <a:pt x="2807826" y="609645"/>
                </a:cubicBezTo>
                <a:cubicBezTo>
                  <a:pt x="2803400" y="610657"/>
                  <a:pt x="2814188" y="612983"/>
                  <a:pt x="2816401" y="612478"/>
                </a:cubicBezTo>
                <a:cubicBezTo>
                  <a:pt x="2778784" y="648892"/>
                  <a:pt x="2745593" y="677316"/>
                  <a:pt x="2707147" y="711607"/>
                </a:cubicBezTo>
                <a:cubicBezTo>
                  <a:pt x="2714615" y="724049"/>
                  <a:pt x="2729551" y="711405"/>
                  <a:pt x="2733977" y="710393"/>
                </a:cubicBezTo>
                <a:cubicBezTo>
                  <a:pt x="2741445" y="704021"/>
                  <a:pt x="2749189" y="686015"/>
                  <a:pt x="2762465" y="676001"/>
                </a:cubicBezTo>
                <a:cubicBezTo>
                  <a:pt x="2779614" y="662852"/>
                  <a:pt x="2794273" y="650207"/>
                  <a:pt x="2805337" y="640699"/>
                </a:cubicBezTo>
                <a:cubicBezTo>
                  <a:pt x="2814188" y="631697"/>
                  <a:pt x="2830229" y="628156"/>
                  <a:pt x="2839080" y="619154"/>
                </a:cubicBezTo>
                <a:cubicBezTo>
                  <a:pt x="2862313" y="602362"/>
                  <a:pt x="2878910" y="582233"/>
                  <a:pt x="2900760" y="568072"/>
                </a:cubicBezTo>
                <a:cubicBezTo>
                  <a:pt x="2926759" y="552899"/>
                  <a:pt x="2953866" y="539850"/>
                  <a:pt x="2978759" y="527307"/>
                </a:cubicBezTo>
                <a:cubicBezTo>
                  <a:pt x="2919569" y="577985"/>
                  <a:pt x="2836592" y="612680"/>
                  <a:pt x="2791231" y="667201"/>
                </a:cubicBezTo>
                <a:cubicBezTo>
                  <a:pt x="2773252" y="678227"/>
                  <a:pt x="2761635" y="692590"/>
                  <a:pt x="2743657" y="703616"/>
                </a:cubicBezTo>
                <a:cubicBezTo>
                  <a:pt x="2741445" y="704122"/>
                  <a:pt x="2740891" y="708876"/>
                  <a:pt x="2741721" y="711101"/>
                </a:cubicBezTo>
                <a:cubicBezTo>
                  <a:pt x="2705764" y="733051"/>
                  <a:pt x="2707977" y="751360"/>
                  <a:pt x="2665936" y="770073"/>
                </a:cubicBezTo>
                <a:cubicBezTo>
                  <a:pt x="2674509" y="754091"/>
                  <a:pt x="2696914" y="742054"/>
                  <a:pt x="2703275" y="726578"/>
                </a:cubicBezTo>
                <a:cubicBezTo>
                  <a:pt x="2680594" y="738615"/>
                  <a:pt x="2661787" y="759250"/>
                  <a:pt x="2647957" y="780998"/>
                </a:cubicBezTo>
                <a:cubicBezTo>
                  <a:pt x="2622788" y="798295"/>
                  <a:pt x="2600384" y="817311"/>
                  <a:pt x="2589872" y="840779"/>
                </a:cubicBezTo>
                <a:cubicBezTo>
                  <a:pt x="2571618" y="844825"/>
                  <a:pt x="2563874" y="862931"/>
                  <a:pt x="2561385" y="875272"/>
                </a:cubicBezTo>
                <a:cubicBezTo>
                  <a:pt x="2545895" y="885791"/>
                  <a:pt x="2527917" y="915429"/>
                  <a:pt x="2516576" y="936772"/>
                </a:cubicBezTo>
                <a:cubicBezTo>
                  <a:pt x="2493343" y="953564"/>
                  <a:pt x="2488364" y="978245"/>
                  <a:pt x="2471493" y="998374"/>
                </a:cubicBezTo>
                <a:cubicBezTo>
                  <a:pt x="2487812" y="1001813"/>
                  <a:pt x="2479236" y="980268"/>
                  <a:pt x="2493343" y="984213"/>
                </a:cubicBezTo>
                <a:cubicBezTo>
                  <a:pt x="2534278" y="918767"/>
                  <a:pt x="2564149" y="869910"/>
                  <a:pt x="2626660" y="820953"/>
                </a:cubicBezTo>
                <a:cubicBezTo>
                  <a:pt x="2599001" y="857570"/>
                  <a:pt x="2579916" y="890040"/>
                  <a:pt x="2547554" y="927668"/>
                </a:cubicBezTo>
                <a:cubicBezTo>
                  <a:pt x="2549491" y="931917"/>
                  <a:pt x="2551703" y="931310"/>
                  <a:pt x="2556129" y="930298"/>
                </a:cubicBezTo>
                <a:cubicBezTo>
                  <a:pt x="2542023" y="938188"/>
                  <a:pt x="2538428" y="948405"/>
                  <a:pt x="2525981" y="960543"/>
                </a:cubicBezTo>
                <a:cubicBezTo>
                  <a:pt x="2527641" y="964893"/>
                  <a:pt x="2531789" y="968635"/>
                  <a:pt x="2529576" y="969141"/>
                </a:cubicBezTo>
                <a:cubicBezTo>
                  <a:pt x="2563597" y="961555"/>
                  <a:pt x="2556129" y="911686"/>
                  <a:pt x="2602595" y="903695"/>
                </a:cubicBezTo>
                <a:cubicBezTo>
                  <a:pt x="2599276" y="895097"/>
                  <a:pt x="2591809" y="901369"/>
                  <a:pt x="2588767" y="899750"/>
                </a:cubicBezTo>
                <a:cubicBezTo>
                  <a:pt x="2582958" y="891658"/>
                  <a:pt x="2598447" y="892973"/>
                  <a:pt x="2587937" y="885893"/>
                </a:cubicBezTo>
                <a:cubicBezTo>
                  <a:pt x="2600937" y="880633"/>
                  <a:pt x="2608128" y="874361"/>
                  <a:pt x="2614766" y="865864"/>
                </a:cubicBezTo>
                <a:cubicBezTo>
                  <a:pt x="2626107" y="863336"/>
                  <a:pt x="2612830" y="873350"/>
                  <a:pt x="2619191" y="876587"/>
                </a:cubicBezTo>
                <a:cubicBezTo>
                  <a:pt x="2651275" y="857772"/>
                  <a:pt x="2670360" y="837137"/>
                  <a:pt x="2693040" y="806387"/>
                </a:cubicBezTo>
                <a:cubicBezTo>
                  <a:pt x="2691105" y="802037"/>
                  <a:pt x="2684744" y="810534"/>
                  <a:pt x="2680042" y="811546"/>
                </a:cubicBezTo>
                <a:cubicBezTo>
                  <a:pt x="2678106" y="800216"/>
                  <a:pt x="2685573" y="793945"/>
                  <a:pt x="2697190" y="798396"/>
                </a:cubicBezTo>
                <a:cubicBezTo>
                  <a:pt x="2698019" y="800520"/>
                  <a:pt x="2693595" y="801531"/>
                  <a:pt x="2694424" y="803656"/>
                </a:cubicBezTo>
                <a:cubicBezTo>
                  <a:pt x="2709912" y="804971"/>
                  <a:pt x="2726232" y="777862"/>
                  <a:pt x="2735913" y="770983"/>
                </a:cubicBezTo>
                <a:cubicBezTo>
                  <a:pt x="2727892" y="763397"/>
                  <a:pt x="2726509" y="766128"/>
                  <a:pt x="2721806" y="767140"/>
                </a:cubicBezTo>
                <a:cubicBezTo>
                  <a:pt x="2739231" y="723442"/>
                  <a:pt x="2813910" y="730219"/>
                  <a:pt x="2832166" y="688747"/>
                </a:cubicBezTo>
                <a:cubicBezTo>
                  <a:pt x="2839080" y="687229"/>
                  <a:pt x="2842953" y="691073"/>
                  <a:pt x="2848485" y="692186"/>
                </a:cubicBezTo>
                <a:cubicBezTo>
                  <a:pt x="2850420" y="684700"/>
                  <a:pt x="2854017" y="681565"/>
                  <a:pt x="2863974" y="681666"/>
                </a:cubicBezTo>
                <a:cubicBezTo>
                  <a:pt x="2860654" y="673068"/>
                  <a:pt x="2873655" y="667909"/>
                  <a:pt x="2872272" y="658805"/>
                </a:cubicBezTo>
                <a:cubicBezTo>
                  <a:pt x="2901590" y="657086"/>
                  <a:pt x="2918186" y="648690"/>
                  <a:pt x="2941418" y="638878"/>
                </a:cubicBezTo>
                <a:cubicBezTo>
                  <a:pt x="2941696" y="645858"/>
                  <a:pt x="2932567" y="647881"/>
                  <a:pt x="2932015" y="652635"/>
                </a:cubicBezTo>
                <a:cubicBezTo>
                  <a:pt x="2944738" y="659311"/>
                  <a:pt x="2940866" y="643633"/>
                  <a:pt x="2955802" y="649702"/>
                </a:cubicBezTo>
                <a:cubicBezTo>
                  <a:pt x="2961609" y="646060"/>
                  <a:pt x="2951652" y="645959"/>
                  <a:pt x="2950823" y="643835"/>
                </a:cubicBezTo>
                <a:cubicBezTo>
                  <a:pt x="3017205" y="617434"/>
                  <a:pt x="3071417" y="572522"/>
                  <a:pt x="3127288" y="550876"/>
                </a:cubicBezTo>
                <a:cubicBezTo>
                  <a:pt x="3095757" y="583649"/>
                  <a:pt x="3041545" y="590932"/>
                  <a:pt x="3013055" y="625324"/>
                </a:cubicBezTo>
                <a:cubicBezTo>
                  <a:pt x="2982077" y="634529"/>
                  <a:pt x="2954695" y="659412"/>
                  <a:pt x="2940866" y="681261"/>
                </a:cubicBezTo>
                <a:cubicBezTo>
                  <a:pt x="2953313" y="680857"/>
                  <a:pt x="2956077" y="656681"/>
                  <a:pt x="2975440" y="661840"/>
                </a:cubicBezTo>
                <a:cubicBezTo>
                  <a:pt x="3000333" y="630483"/>
                  <a:pt x="3060629" y="626538"/>
                  <a:pt x="3086905" y="592652"/>
                </a:cubicBezTo>
                <a:cubicBezTo>
                  <a:pt x="3094650" y="593259"/>
                  <a:pt x="3119820" y="587796"/>
                  <a:pt x="3118713" y="578592"/>
                </a:cubicBezTo>
                <a:cubicBezTo>
                  <a:pt x="3128671" y="578794"/>
                  <a:pt x="3130883" y="578288"/>
                  <a:pt x="3144436" y="575254"/>
                </a:cubicBezTo>
                <a:cubicBezTo>
                  <a:pt x="3122308" y="594169"/>
                  <a:pt x="3072800" y="607420"/>
                  <a:pt x="3063119" y="626032"/>
                </a:cubicBezTo>
                <a:cubicBezTo>
                  <a:pt x="3051778" y="616726"/>
                  <a:pt x="3052884" y="637766"/>
                  <a:pt x="3039609" y="635945"/>
                </a:cubicBezTo>
                <a:cubicBezTo>
                  <a:pt x="3044587" y="641913"/>
                  <a:pt x="3051225" y="640295"/>
                  <a:pt x="3056757" y="641508"/>
                </a:cubicBezTo>
                <a:cubicBezTo>
                  <a:pt x="3063671" y="639991"/>
                  <a:pt x="3056481" y="634630"/>
                  <a:pt x="3067821" y="632101"/>
                </a:cubicBezTo>
                <a:cubicBezTo>
                  <a:pt x="3065332" y="644341"/>
                  <a:pt x="3074736" y="630584"/>
                  <a:pt x="3082480" y="631191"/>
                </a:cubicBezTo>
                <a:cubicBezTo>
                  <a:pt x="3090500" y="638777"/>
                  <a:pt x="3078054" y="639182"/>
                  <a:pt x="3080820" y="645656"/>
                </a:cubicBezTo>
                <a:lnTo>
                  <a:pt x="3082204" y="645352"/>
                </a:lnTo>
                <a:lnTo>
                  <a:pt x="3088842" y="638474"/>
                </a:lnTo>
                <a:lnTo>
                  <a:pt x="3088565" y="636956"/>
                </a:lnTo>
                <a:cubicBezTo>
                  <a:pt x="3086905" y="634327"/>
                  <a:pt x="3085245" y="631697"/>
                  <a:pt x="3086905" y="630078"/>
                </a:cubicBezTo>
                <a:cubicBezTo>
                  <a:pt x="3090500" y="629370"/>
                  <a:pt x="3092991" y="629471"/>
                  <a:pt x="3095202" y="628965"/>
                </a:cubicBezTo>
                <a:lnTo>
                  <a:pt x="3101564" y="624919"/>
                </a:lnTo>
                <a:lnTo>
                  <a:pt x="3112352" y="612882"/>
                </a:lnTo>
                <a:lnTo>
                  <a:pt x="3112352" y="612781"/>
                </a:lnTo>
                <a:lnTo>
                  <a:pt x="3110692" y="608533"/>
                </a:lnTo>
                <a:lnTo>
                  <a:pt x="3125074" y="603475"/>
                </a:lnTo>
                <a:lnTo>
                  <a:pt x="3135032" y="596293"/>
                </a:lnTo>
                <a:cubicBezTo>
                  <a:pt x="3133649" y="591640"/>
                  <a:pt x="3133926" y="589314"/>
                  <a:pt x="3137245" y="585166"/>
                </a:cubicBezTo>
                <a:cubicBezTo>
                  <a:pt x="3179840" y="564835"/>
                  <a:pt x="3208605" y="518001"/>
                  <a:pt x="3250094" y="502120"/>
                </a:cubicBezTo>
                <a:cubicBezTo>
                  <a:pt x="3266136" y="483407"/>
                  <a:pt x="3281348" y="466919"/>
                  <a:pt x="3309561" y="458625"/>
                </a:cubicBezTo>
                <a:cubicBezTo>
                  <a:pt x="3345241" y="423930"/>
                  <a:pt x="3398345" y="400260"/>
                  <a:pt x="3438452" y="368296"/>
                </a:cubicBezTo>
                <a:cubicBezTo>
                  <a:pt x="3437897" y="359091"/>
                  <a:pt x="3429876" y="374163"/>
                  <a:pt x="3429876" y="362732"/>
                </a:cubicBezTo>
                <a:cubicBezTo>
                  <a:pt x="3438727" y="354640"/>
                  <a:pt x="3450622" y="355854"/>
                  <a:pt x="3462790" y="354944"/>
                </a:cubicBezTo>
                <a:cubicBezTo>
                  <a:pt x="3481323" y="345638"/>
                  <a:pt x="3484089" y="332387"/>
                  <a:pt x="3504833" y="325508"/>
                </a:cubicBezTo>
                <a:cubicBezTo>
                  <a:pt x="3514790" y="324294"/>
                  <a:pt x="3512853" y="333297"/>
                  <a:pt x="3520874" y="329655"/>
                </a:cubicBezTo>
                <a:cubicBezTo>
                  <a:pt x="3522535" y="320754"/>
                  <a:pt x="3527790" y="318933"/>
                  <a:pt x="3522535" y="309324"/>
                </a:cubicBezTo>
                <a:cubicBezTo>
                  <a:pt x="3529450" y="310133"/>
                  <a:pt x="3535535" y="303862"/>
                  <a:pt x="3530832" y="303356"/>
                </a:cubicBezTo>
                <a:cubicBezTo>
                  <a:pt x="3534152" y="299209"/>
                  <a:pt x="3547980" y="302951"/>
                  <a:pt x="3555726" y="299310"/>
                </a:cubicBezTo>
                <a:cubicBezTo>
                  <a:pt x="3556831" y="294859"/>
                  <a:pt x="3545491" y="302648"/>
                  <a:pt x="3549640" y="294050"/>
                </a:cubicBezTo>
                <a:cubicBezTo>
                  <a:pt x="3551853" y="294353"/>
                  <a:pt x="3549917" y="291824"/>
                  <a:pt x="3550469" y="289599"/>
                </a:cubicBezTo>
                <a:cubicBezTo>
                  <a:pt x="3578682" y="292735"/>
                  <a:pt x="3595001" y="271796"/>
                  <a:pt x="3617957" y="265221"/>
                </a:cubicBezTo>
                <a:cubicBezTo>
                  <a:pt x="3618511" y="262996"/>
                  <a:pt x="3616575" y="260568"/>
                  <a:pt x="3617129" y="258343"/>
                </a:cubicBezTo>
                <a:cubicBezTo>
                  <a:pt x="3625150" y="266031"/>
                  <a:pt x="3678532" y="240034"/>
                  <a:pt x="3686276" y="224963"/>
                </a:cubicBezTo>
                <a:cubicBezTo>
                  <a:pt x="3749615" y="209183"/>
                  <a:pt x="3789720" y="177320"/>
                  <a:pt x="3851123" y="159113"/>
                </a:cubicBezTo>
                <a:cubicBezTo>
                  <a:pt x="3856655" y="155168"/>
                  <a:pt x="3845039" y="153853"/>
                  <a:pt x="3848634" y="147480"/>
                </a:cubicBezTo>
                <a:cubicBezTo>
                  <a:pt x="3855273" y="150413"/>
                  <a:pt x="3866613" y="142625"/>
                  <a:pt x="3869379" y="152032"/>
                </a:cubicBezTo>
                <a:cubicBezTo>
                  <a:pt x="3880995" y="141917"/>
                  <a:pt x="3917229" y="141411"/>
                  <a:pt x="3919442" y="130284"/>
                </a:cubicBezTo>
                <a:cubicBezTo>
                  <a:pt x="3923313" y="123810"/>
                  <a:pt x="3926079" y="133218"/>
                  <a:pt x="3931887" y="129273"/>
                </a:cubicBezTo>
                <a:cubicBezTo>
                  <a:pt x="3936867" y="127553"/>
                  <a:pt x="3928016" y="124316"/>
                  <a:pt x="3933548" y="120472"/>
                </a:cubicBezTo>
                <a:cubicBezTo>
                  <a:pt x="3925250" y="126339"/>
                  <a:pt x="3928016" y="124316"/>
                  <a:pt x="3916399" y="123001"/>
                </a:cubicBezTo>
                <a:cubicBezTo>
                  <a:pt x="3918058" y="114100"/>
                  <a:pt x="3931612" y="117842"/>
                  <a:pt x="3939632" y="114201"/>
                </a:cubicBezTo>
                <a:cubicBezTo>
                  <a:pt x="3938250" y="120877"/>
                  <a:pt x="3940186" y="123406"/>
                  <a:pt x="3942675" y="123608"/>
                </a:cubicBezTo>
                <a:cubicBezTo>
                  <a:pt x="3952355" y="122495"/>
                  <a:pt x="3953739" y="115819"/>
                  <a:pt x="3965631" y="117134"/>
                </a:cubicBezTo>
                <a:cubicBezTo>
                  <a:pt x="3963695" y="114605"/>
                  <a:pt x="3962035" y="109952"/>
                  <a:pt x="3954567" y="111369"/>
                </a:cubicBezTo>
                <a:cubicBezTo>
                  <a:pt x="3957888" y="107221"/>
                  <a:pt x="3969228" y="110762"/>
                  <a:pt x="3968950" y="112987"/>
                </a:cubicBezTo>
                <a:cubicBezTo>
                  <a:pt x="3978908" y="98118"/>
                  <a:pt x="4019291" y="113999"/>
                  <a:pt x="4025928" y="91947"/>
                </a:cubicBezTo>
                <a:cubicBezTo>
                  <a:pt x="4036992" y="97713"/>
                  <a:pt x="4060778" y="86586"/>
                  <a:pt x="4063544" y="84664"/>
                </a:cubicBezTo>
                <a:cubicBezTo>
                  <a:pt x="4081800" y="77584"/>
                  <a:pt x="4101161" y="77483"/>
                  <a:pt x="4121351" y="72931"/>
                </a:cubicBezTo>
                <a:cubicBezTo>
                  <a:pt x="4134074" y="69795"/>
                  <a:pt x="4158967" y="65648"/>
                  <a:pt x="4164499" y="50374"/>
                </a:cubicBezTo>
                <a:cubicBezTo>
                  <a:pt x="4189116" y="59882"/>
                  <a:pt x="4232541" y="35201"/>
                  <a:pt x="4262136" y="42990"/>
                </a:cubicBezTo>
                <a:cubicBezTo>
                  <a:pt x="4267392" y="41270"/>
                  <a:pt x="4270158" y="39247"/>
                  <a:pt x="4271540" y="32571"/>
                </a:cubicBezTo>
                <a:cubicBezTo>
                  <a:pt x="4313858" y="37325"/>
                  <a:pt x="4340964" y="22051"/>
                  <a:pt x="4387708" y="18106"/>
                </a:cubicBezTo>
                <a:cubicBezTo>
                  <a:pt x="4386601" y="22557"/>
                  <a:pt x="4388262" y="27311"/>
                  <a:pt x="4387431" y="31762"/>
                </a:cubicBezTo>
                <a:cubicBezTo>
                  <a:pt x="4399049" y="32976"/>
                  <a:pt x="4397941" y="26097"/>
                  <a:pt x="4401814" y="19623"/>
                </a:cubicBezTo>
                <a:cubicBezTo>
                  <a:pt x="4420069" y="23973"/>
                  <a:pt x="4429473" y="13655"/>
                  <a:pt x="4443025" y="17398"/>
                </a:cubicBezTo>
                <a:close/>
                <a:moveTo>
                  <a:pt x="4909702" y="14933"/>
                </a:moveTo>
                <a:cubicBezTo>
                  <a:pt x="4916271" y="15628"/>
                  <a:pt x="4922494" y="17904"/>
                  <a:pt x="4924016" y="22355"/>
                </a:cubicBezTo>
                <a:cubicBezTo>
                  <a:pt x="4914888" y="19219"/>
                  <a:pt x="4916824" y="21646"/>
                  <a:pt x="4906868" y="22658"/>
                </a:cubicBezTo>
                <a:cubicBezTo>
                  <a:pt x="4905761" y="16083"/>
                  <a:pt x="4900505" y="17702"/>
                  <a:pt x="4893314" y="16993"/>
                </a:cubicBezTo>
                <a:cubicBezTo>
                  <a:pt x="4896218" y="15122"/>
                  <a:pt x="4903134" y="14237"/>
                  <a:pt x="4909702" y="14933"/>
                </a:cubicBezTo>
                <a:close/>
                <a:moveTo>
                  <a:pt x="4726184" y="13162"/>
                </a:moveTo>
                <a:cubicBezTo>
                  <a:pt x="4731441" y="14010"/>
                  <a:pt x="4735796" y="16184"/>
                  <a:pt x="4736211" y="19623"/>
                </a:cubicBezTo>
                <a:cubicBezTo>
                  <a:pt x="4729849" y="16690"/>
                  <a:pt x="4727360" y="16488"/>
                  <a:pt x="4717126" y="19826"/>
                </a:cubicBezTo>
                <a:cubicBezTo>
                  <a:pt x="4717956" y="15476"/>
                  <a:pt x="4713254" y="14869"/>
                  <a:pt x="4710765" y="14667"/>
                </a:cubicBezTo>
                <a:cubicBezTo>
                  <a:pt x="4714775" y="12796"/>
                  <a:pt x="4720929" y="12315"/>
                  <a:pt x="4726184" y="13162"/>
                </a:cubicBezTo>
                <a:close/>
                <a:moveTo>
                  <a:pt x="4774900" y="12821"/>
                </a:moveTo>
                <a:cubicBezTo>
                  <a:pt x="4777561" y="11961"/>
                  <a:pt x="4780603" y="12290"/>
                  <a:pt x="4781572" y="13554"/>
                </a:cubicBezTo>
                <a:cubicBezTo>
                  <a:pt x="4780742" y="18005"/>
                  <a:pt x="4775211" y="19725"/>
                  <a:pt x="4770508" y="19219"/>
                </a:cubicBezTo>
                <a:cubicBezTo>
                  <a:pt x="4769955" y="15729"/>
                  <a:pt x="4772237" y="13681"/>
                  <a:pt x="4774900" y="12821"/>
                </a:cubicBezTo>
                <a:close/>
                <a:moveTo>
                  <a:pt x="4581320" y="3237"/>
                </a:moveTo>
                <a:cubicBezTo>
                  <a:pt x="4577172" y="11835"/>
                  <a:pt x="4551449" y="6676"/>
                  <a:pt x="4550897" y="22355"/>
                </a:cubicBezTo>
                <a:cubicBezTo>
                  <a:pt x="4543704" y="21646"/>
                  <a:pt x="4538449" y="23265"/>
                  <a:pt x="4533747" y="22759"/>
                </a:cubicBezTo>
                <a:cubicBezTo>
                  <a:pt x="4529875" y="17803"/>
                  <a:pt x="4539555" y="18915"/>
                  <a:pt x="4542321" y="16993"/>
                </a:cubicBezTo>
                <a:cubicBezTo>
                  <a:pt x="4539003" y="9812"/>
                  <a:pt x="4520194" y="19017"/>
                  <a:pt x="4513832" y="13858"/>
                </a:cubicBezTo>
                <a:cubicBezTo>
                  <a:pt x="4521855" y="34999"/>
                  <a:pt x="4492259" y="13655"/>
                  <a:pt x="4484515" y="28626"/>
                </a:cubicBezTo>
                <a:cubicBezTo>
                  <a:pt x="4483408" y="21748"/>
                  <a:pt x="4488110" y="22253"/>
                  <a:pt x="4483684" y="19522"/>
                </a:cubicBezTo>
                <a:cubicBezTo>
                  <a:pt x="4480643" y="23670"/>
                  <a:pt x="4466813" y="19927"/>
                  <a:pt x="4467919" y="26805"/>
                </a:cubicBezTo>
                <a:cubicBezTo>
                  <a:pt x="4465429" y="26502"/>
                  <a:pt x="4466259" y="22152"/>
                  <a:pt x="4464323" y="19623"/>
                </a:cubicBezTo>
                <a:cubicBezTo>
                  <a:pt x="4456855" y="21141"/>
                  <a:pt x="4457962" y="27918"/>
                  <a:pt x="4454642" y="32065"/>
                </a:cubicBezTo>
                <a:cubicBezTo>
                  <a:pt x="4448004" y="29132"/>
                  <a:pt x="4462941" y="14970"/>
                  <a:pt x="4445238" y="19725"/>
                </a:cubicBezTo>
                <a:cubicBezTo>
                  <a:pt x="4446068" y="15375"/>
                  <a:pt x="4448281" y="15678"/>
                  <a:pt x="4449387" y="11228"/>
                </a:cubicBezTo>
                <a:cubicBezTo>
                  <a:pt x="4492812" y="11531"/>
                  <a:pt x="4532364" y="6878"/>
                  <a:pt x="4581320" y="3237"/>
                </a:cubicBezTo>
                <a:close/>
                <a:moveTo>
                  <a:pt x="4665404" y="708"/>
                </a:moveTo>
                <a:cubicBezTo>
                  <a:pt x="4686701" y="14465"/>
                  <a:pt x="4731510" y="-3237"/>
                  <a:pt x="4761657" y="2326"/>
                </a:cubicBezTo>
                <a:cubicBezTo>
                  <a:pt x="4740083" y="13554"/>
                  <a:pt x="4702743" y="7081"/>
                  <a:pt x="4682829" y="9508"/>
                </a:cubicBezTo>
                <a:cubicBezTo>
                  <a:pt x="4677022" y="12239"/>
                  <a:pt x="4675361" y="20635"/>
                  <a:pt x="4670382" y="21242"/>
                </a:cubicBezTo>
                <a:cubicBezTo>
                  <a:pt x="4668723" y="21444"/>
                  <a:pt x="4666787" y="20736"/>
                  <a:pt x="4664021" y="18814"/>
                </a:cubicBezTo>
                <a:cubicBezTo>
                  <a:pt x="4665127" y="14364"/>
                  <a:pt x="4667063" y="16791"/>
                  <a:pt x="4667063" y="16791"/>
                </a:cubicBezTo>
                <a:cubicBezTo>
                  <a:pt x="4676744" y="15577"/>
                  <a:pt x="4667340" y="3237"/>
                  <a:pt x="4665404" y="708"/>
                </a:cubicBezTo>
                <a:close/>
                <a:moveTo>
                  <a:pt x="4620044" y="0"/>
                </a:moveTo>
                <a:cubicBezTo>
                  <a:pt x="4620320" y="4653"/>
                  <a:pt x="4613405" y="8396"/>
                  <a:pt x="4606490" y="9407"/>
                </a:cubicBezTo>
                <a:cubicBezTo>
                  <a:pt x="4599852" y="10317"/>
                  <a:pt x="4592937" y="8396"/>
                  <a:pt x="4592937" y="1618"/>
                </a:cubicBezTo>
                <a:cubicBezTo>
                  <a:pt x="4604278" y="5159"/>
                  <a:pt x="4607596" y="910"/>
                  <a:pt x="4620044" y="0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944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AA20F15-1A40-4314-9355-595143EB78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07218" y="442496"/>
            <a:ext cx="6884782" cy="5973007"/>
          </a:xfrm>
          <a:custGeom>
            <a:avLst/>
            <a:gdLst>
              <a:gd name="connsiteX0" fmla="*/ 3635377 w 6884782"/>
              <a:gd name="connsiteY0" fmla="*/ 5934079 h 5973007"/>
              <a:gd name="connsiteX1" fmla="*/ 3642967 w 6884782"/>
              <a:gd name="connsiteY1" fmla="*/ 5953594 h 5973007"/>
              <a:gd name="connsiteX2" fmla="*/ 3638165 w 6884782"/>
              <a:gd name="connsiteY2" fmla="*/ 5963197 h 5973007"/>
              <a:gd name="connsiteX3" fmla="*/ 3628871 w 6884782"/>
              <a:gd name="connsiteY3" fmla="*/ 5973007 h 5973007"/>
              <a:gd name="connsiteX4" fmla="*/ 3623915 w 6884782"/>
              <a:gd name="connsiteY4" fmla="*/ 5962784 h 5973007"/>
              <a:gd name="connsiteX5" fmla="*/ 3625618 w 6884782"/>
              <a:gd name="connsiteY5" fmla="*/ 5948225 h 5973007"/>
              <a:gd name="connsiteX6" fmla="*/ 3635377 w 6884782"/>
              <a:gd name="connsiteY6" fmla="*/ 5934079 h 5973007"/>
              <a:gd name="connsiteX7" fmla="*/ 3081158 w 6884782"/>
              <a:gd name="connsiteY7" fmla="*/ 5929433 h 5973007"/>
              <a:gd name="connsiteX8" fmla="*/ 3081003 w 6884782"/>
              <a:gd name="connsiteY8" fmla="*/ 5930981 h 5973007"/>
              <a:gd name="connsiteX9" fmla="*/ 3081777 w 6884782"/>
              <a:gd name="connsiteY9" fmla="*/ 5930981 h 5973007"/>
              <a:gd name="connsiteX10" fmla="*/ 3080848 w 6884782"/>
              <a:gd name="connsiteY10" fmla="*/ 5932634 h 5973007"/>
              <a:gd name="connsiteX11" fmla="*/ 3080073 w 6884782"/>
              <a:gd name="connsiteY11" fmla="*/ 5932634 h 5973007"/>
              <a:gd name="connsiteX12" fmla="*/ 3079764 w 6884782"/>
              <a:gd name="connsiteY12" fmla="*/ 5932840 h 5973007"/>
              <a:gd name="connsiteX13" fmla="*/ 3078525 w 6884782"/>
              <a:gd name="connsiteY13" fmla="*/ 5931808 h 5973007"/>
              <a:gd name="connsiteX14" fmla="*/ 3077595 w 6884782"/>
              <a:gd name="connsiteY14" fmla="*/ 5930981 h 5973007"/>
              <a:gd name="connsiteX15" fmla="*/ 3077750 w 6884782"/>
              <a:gd name="connsiteY15" fmla="*/ 5930155 h 5973007"/>
              <a:gd name="connsiteX16" fmla="*/ 3081158 w 6884782"/>
              <a:gd name="connsiteY16" fmla="*/ 5929433 h 5973007"/>
              <a:gd name="connsiteX17" fmla="*/ 3321693 w 6884782"/>
              <a:gd name="connsiteY17" fmla="*/ 5902573 h 5973007"/>
              <a:gd name="connsiteX18" fmla="*/ 3331470 w 6884782"/>
              <a:gd name="connsiteY18" fmla="*/ 5907646 h 5973007"/>
              <a:gd name="connsiteX19" fmla="*/ 3319853 w 6884782"/>
              <a:gd name="connsiteY19" fmla="*/ 5921688 h 5973007"/>
              <a:gd name="connsiteX20" fmla="*/ 3313038 w 6884782"/>
              <a:gd name="connsiteY20" fmla="*/ 5914151 h 5973007"/>
              <a:gd name="connsiteX21" fmla="*/ 3311334 w 6884782"/>
              <a:gd name="connsiteY21" fmla="*/ 5906716 h 5973007"/>
              <a:gd name="connsiteX22" fmla="*/ 3321693 w 6884782"/>
              <a:gd name="connsiteY22" fmla="*/ 5902573 h 5973007"/>
              <a:gd name="connsiteX23" fmla="*/ 3006188 w 6884782"/>
              <a:gd name="connsiteY23" fmla="*/ 5901037 h 5973007"/>
              <a:gd name="connsiteX24" fmla="*/ 3004794 w 6884782"/>
              <a:gd name="connsiteY24" fmla="*/ 5906200 h 5973007"/>
              <a:gd name="connsiteX25" fmla="*/ 3002161 w 6884782"/>
              <a:gd name="connsiteY25" fmla="*/ 5907749 h 5973007"/>
              <a:gd name="connsiteX26" fmla="*/ 2999682 w 6884782"/>
              <a:gd name="connsiteY26" fmla="*/ 5906097 h 5973007"/>
              <a:gd name="connsiteX27" fmla="*/ 2999218 w 6884782"/>
              <a:gd name="connsiteY27" fmla="*/ 5902586 h 5973007"/>
              <a:gd name="connsiteX28" fmla="*/ 3006188 w 6884782"/>
              <a:gd name="connsiteY28" fmla="*/ 5901037 h 5973007"/>
              <a:gd name="connsiteX29" fmla="*/ 3073878 w 6884782"/>
              <a:gd name="connsiteY29" fmla="*/ 5869028 h 5973007"/>
              <a:gd name="connsiteX30" fmla="*/ 3079609 w 6884782"/>
              <a:gd name="connsiteY30" fmla="*/ 5870886 h 5973007"/>
              <a:gd name="connsiteX31" fmla="*/ 3080073 w 6884782"/>
              <a:gd name="connsiteY31" fmla="*/ 5873468 h 5973007"/>
              <a:gd name="connsiteX32" fmla="*/ 3078834 w 6884782"/>
              <a:gd name="connsiteY32" fmla="*/ 5878734 h 5973007"/>
              <a:gd name="connsiteX33" fmla="*/ 3079609 w 6884782"/>
              <a:gd name="connsiteY33" fmla="*/ 5878734 h 5973007"/>
              <a:gd name="connsiteX34" fmla="*/ 3074497 w 6884782"/>
              <a:gd name="connsiteY34" fmla="*/ 5879560 h 5973007"/>
              <a:gd name="connsiteX35" fmla="*/ 3071554 w 6884782"/>
              <a:gd name="connsiteY35" fmla="*/ 5876049 h 5973007"/>
              <a:gd name="connsiteX36" fmla="*/ 3073878 w 6884782"/>
              <a:gd name="connsiteY36" fmla="*/ 5869028 h 5973007"/>
              <a:gd name="connsiteX37" fmla="*/ 3641728 w 6884782"/>
              <a:gd name="connsiteY37" fmla="*/ 5865723 h 5973007"/>
              <a:gd name="connsiteX38" fmla="*/ 3645445 w 6884782"/>
              <a:gd name="connsiteY38" fmla="*/ 5892777 h 5973007"/>
              <a:gd name="connsiteX39" fmla="*/ 3638629 w 6884782"/>
              <a:gd name="connsiteY39" fmla="*/ 5896907 h 5973007"/>
              <a:gd name="connsiteX40" fmla="*/ 3632124 w 6884782"/>
              <a:gd name="connsiteY40" fmla="*/ 5897010 h 5973007"/>
              <a:gd name="connsiteX41" fmla="*/ 3618648 w 6884782"/>
              <a:gd name="connsiteY41" fmla="*/ 5886581 h 5973007"/>
              <a:gd name="connsiteX42" fmla="*/ 3619268 w 6884782"/>
              <a:gd name="connsiteY42" fmla="*/ 5881831 h 5973007"/>
              <a:gd name="connsiteX43" fmla="*/ 3641728 w 6884782"/>
              <a:gd name="connsiteY43" fmla="*/ 5865723 h 5973007"/>
              <a:gd name="connsiteX44" fmla="*/ 3023846 w 6884782"/>
              <a:gd name="connsiteY44" fmla="*/ 5859425 h 5973007"/>
              <a:gd name="connsiteX45" fmla="*/ 3025550 w 6884782"/>
              <a:gd name="connsiteY45" fmla="*/ 5863452 h 5973007"/>
              <a:gd name="connsiteX46" fmla="*/ 3013158 w 6884782"/>
              <a:gd name="connsiteY46" fmla="*/ 5874294 h 5973007"/>
              <a:gd name="connsiteX47" fmla="*/ 3007427 w 6884782"/>
              <a:gd name="connsiteY47" fmla="*/ 5873158 h 5973007"/>
              <a:gd name="connsiteX48" fmla="*/ 3023846 w 6884782"/>
              <a:gd name="connsiteY48" fmla="*/ 5859425 h 5973007"/>
              <a:gd name="connsiteX49" fmla="*/ 3222578 w 6884782"/>
              <a:gd name="connsiteY49" fmla="*/ 5857050 h 5973007"/>
              <a:gd name="connsiteX50" fmla="*/ 3227380 w 6884782"/>
              <a:gd name="connsiteY50" fmla="*/ 5862213 h 5973007"/>
              <a:gd name="connsiteX51" fmla="*/ 3223043 w 6884782"/>
              <a:gd name="connsiteY51" fmla="*/ 5864072 h 5973007"/>
              <a:gd name="connsiteX52" fmla="*/ 3221339 w 6884782"/>
              <a:gd name="connsiteY52" fmla="*/ 5863349 h 5973007"/>
              <a:gd name="connsiteX53" fmla="*/ 3222578 w 6884782"/>
              <a:gd name="connsiteY53" fmla="*/ 5857050 h 5973007"/>
              <a:gd name="connsiteX54" fmla="*/ 2962197 w 6884782"/>
              <a:gd name="connsiteY54" fmla="*/ 5853436 h 5973007"/>
              <a:gd name="connsiteX55" fmla="*/ 2964056 w 6884782"/>
              <a:gd name="connsiteY55" fmla="*/ 5860457 h 5973007"/>
              <a:gd name="connsiteX56" fmla="*/ 2962352 w 6884782"/>
              <a:gd name="connsiteY56" fmla="*/ 5861283 h 5973007"/>
              <a:gd name="connsiteX57" fmla="*/ 2960184 w 6884782"/>
              <a:gd name="connsiteY57" fmla="*/ 5861800 h 5973007"/>
              <a:gd name="connsiteX58" fmla="*/ 2955846 w 6884782"/>
              <a:gd name="connsiteY58" fmla="*/ 5860251 h 5973007"/>
              <a:gd name="connsiteX59" fmla="*/ 2954607 w 6884782"/>
              <a:gd name="connsiteY59" fmla="*/ 5858186 h 5973007"/>
              <a:gd name="connsiteX60" fmla="*/ 2954453 w 6884782"/>
              <a:gd name="connsiteY60" fmla="*/ 5856844 h 5973007"/>
              <a:gd name="connsiteX61" fmla="*/ 2954607 w 6884782"/>
              <a:gd name="connsiteY61" fmla="*/ 5855088 h 5973007"/>
              <a:gd name="connsiteX62" fmla="*/ 2962197 w 6884782"/>
              <a:gd name="connsiteY62" fmla="*/ 5853436 h 5973007"/>
              <a:gd name="connsiteX63" fmla="*/ 3089058 w 6884782"/>
              <a:gd name="connsiteY63" fmla="*/ 5851268 h 5973007"/>
              <a:gd name="connsiteX64" fmla="*/ 3098661 w 6884782"/>
              <a:gd name="connsiteY64" fmla="*/ 5855708 h 5973007"/>
              <a:gd name="connsiteX65" fmla="*/ 3099745 w 6884782"/>
              <a:gd name="connsiteY65" fmla="*/ 5870577 h 5973007"/>
              <a:gd name="connsiteX66" fmla="*/ 3090297 w 6884782"/>
              <a:gd name="connsiteY66" fmla="*/ 5874294 h 5973007"/>
              <a:gd name="connsiteX67" fmla="*/ 3085340 w 6884782"/>
              <a:gd name="connsiteY67" fmla="*/ 5872022 h 5973007"/>
              <a:gd name="connsiteX68" fmla="*/ 3082707 w 6884782"/>
              <a:gd name="connsiteY68" fmla="*/ 5869028 h 5973007"/>
              <a:gd name="connsiteX69" fmla="*/ 3085185 w 6884782"/>
              <a:gd name="connsiteY69" fmla="*/ 5856327 h 5973007"/>
              <a:gd name="connsiteX70" fmla="*/ 3087044 w 6884782"/>
              <a:gd name="connsiteY70" fmla="*/ 5854675 h 5973007"/>
              <a:gd name="connsiteX71" fmla="*/ 3089058 w 6884782"/>
              <a:gd name="connsiteY71" fmla="*/ 5851268 h 5973007"/>
              <a:gd name="connsiteX72" fmla="*/ 2965915 w 6884782"/>
              <a:gd name="connsiteY72" fmla="*/ 5850132 h 5973007"/>
              <a:gd name="connsiteX73" fmla="*/ 2966380 w 6884782"/>
              <a:gd name="connsiteY73" fmla="*/ 5853539 h 5973007"/>
              <a:gd name="connsiteX74" fmla="*/ 2964986 w 6884782"/>
              <a:gd name="connsiteY74" fmla="*/ 5854055 h 5973007"/>
              <a:gd name="connsiteX75" fmla="*/ 2963127 w 6884782"/>
              <a:gd name="connsiteY75" fmla="*/ 5852610 h 5973007"/>
              <a:gd name="connsiteX76" fmla="*/ 2975518 w 6884782"/>
              <a:gd name="connsiteY76" fmla="*/ 5846724 h 5973007"/>
              <a:gd name="connsiteX77" fmla="*/ 2976913 w 6884782"/>
              <a:gd name="connsiteY77" fmla="*/ 5848377 h 5973007"/>
              <a:gd name="connsiteX78" fmla="*/ 2976448 w 6884782"/>
              <a:gd name="connsiteY78" fmla="*/ 5853539 h 5973007"/>
              <a:gd name="connsiteX79" fmla="*/ 2974744 w 6884782"/>
              <a:gd name="connsiteY79" fmla="*/ 5854469 h 5973007"/>
              <a:gd name="connsiteX80" fmla="*/ 2972266 w 6884782"/>
              <a:gd name="connsiteY80" fmla="*/ 5851268 h 5973007"/>
              <a:gd name="connsiteX81" fmla="*/ 2973814 w 6884782"/>
              <a:gd name="connsiteY81" fmla="*/ 5847550 h 5973007"/>
              <a:gd name="connsiteX82" fmla="*/ 2975518 w 6884782"/>
              <a:gd name="connsiteY82" fmla="*/ 5846724 h 5973007"/>
              <a:gd name="connsiteX83" fmla="*/ 3245193 w 6884782"/>
              <a:gd name="connsiteY83" fmla="*/ 5838877 h 5973007"/>
              <a:gd name="connsiteX84" fmla="*/ 3245812 w 6884782"/>
              <a:gd name="connsiteY84" fmla="*/ 5841561 h 5973007"/>
              <a:gd name="connsiteX85" fmla="*/ 3244728 w 6884782"/>
              <a:gd name="connsiteY85" fmla="*/ 5844143 h 5973007"/>
              <a:gd name="connsiteX86" fmla="*/ 3243334 w 6884782"/>
              <a:gd name="connsiteY86" fmla="*/ 5844453 h 5973007"/>
              <a:gd name="connsiteX87" fmla="*/ 3241320 w 6884782"/>
              <a:gd name="connsiteY87" fmla="*/ 5844040 h 5973007"/>
              <a:gd name="connsiteX88" fmla="*/ 3240856 w 6884782"/>
              <a:gd name="connsiteY88" fmla="*/ 5843111 h 5973007"/>
              <a:gd name="connsiteX89" fmla="*/ 3242715 w 6884782"/>
              <a:gd name="connsiteY89" fmla="*/ 5839703 h 5973007"/>
              <a:gd name="connsiteX90" fmla="*/ 3245193 w 6884782"/>
              <a:gd name="connsiteY90" fmla="*/ 5838877 h 5973007"/>
              <a:gd name="connsiteX91" fmla="*/ 3496435 w 6884782"/>
              <a:gd name="connsiteY91" fmla="*/ 5822872 h 5973007"/>
              <a:gd name="connsiteX92" fmla="*/ 3498138 w 6884782"/>
              <a:gd name="connsiteY92" fmla="*/ 5847034 h 5973007"/>
              <a:gd name="connsiteX93" fmla="*/ 3478777 w 6884782"/>
              <a:gd name="connsiteY93" fmla="*/ 5864691 h 5973007"/>
              <a:gd name="connsiteX94" fmla="*/ 3483114 w 6884782"/>
              <a:gd name="connsiteY94" fmla="*/ 5840426 h 5973007"/>
              <a:gd name="connsiteX95" fmla="*/ 3496435 w 6884782"/>
              <a:gd name="connsiteY95" fmla="*/ 5822872 h 5973007"/>
              <a:gd name="connsiteX96" fmla="*/ 2800428 w 6884782"/>
              <a:gd name="connsiteY96" fmla="*/ 5821181 h 5973007"/>
              <a:gd name="connsiteX97" fmla="*/ 2805752 w 6884782"/>
              <a:gd name="connsiteY97" fmla="*/ 5822046 h 5973007"/>
              <a:gd name="connsiteX98" fmla="*/ 2800331 w 6884782"/>
              <a:gd name="connsiteY98" fmla="*/ 5827622 h 5973007"/>
              <a:gd name="connsiteX99" fmla="*/ 2798007 w 6884782"/>
              <a:gd name="connsiteY99" fmla="*/ 5826899 h 5973007"/>
              <a:gd name="connsiteX100" fmla="*/ 2800428 w 6884782"/>
              <a:gd name="connsiteY100" fmla="*/ 5821181 h 5973007"/>
              <a:gd name="connsiteX101" fmla="*/ 3200273 w 6884782"/>
              <a:gd name="connsiteY101" fmla="*/ 5819258 h 5973007"/>
              <a:gd name="connsiteX102" fmla="*/ 3207708 w 6884782"/>
              <a:gd name="connsiteY102" fmla="*/ 5819361 h 5973007"/>
              <a:gd name="connsiteX103" fmla="*/ 3208328 w 6884782"/>
              <a:gd name="connsiteY103" fmla="*/ 5822046 h 5973007"/>
              <a:gd name="connsiteX104" fmla="*/ 3202906 w 6884782"/>
              <a:gd name="connsiteY104" fmla="*/ 5825144 h 5973007"/>
              <a:gd name="connsiteX105" fmla="*/ 3200893 w 6884782"/>
              <a:gd name="connsiteY105" fmla="*/ 5823698 h 5973007"/>
              <a:gd name="connsiteX106" fmla="*/ 3202906 w 6884782"/>
              <a:gd name="connsiteY106" fmla="*/ 5827622 h 5973007"/>
              <a:gd name="connsiteX107" fmla="*/ 3202287 w 6884782"/>
              <a:gd name="connsiteY107" fmla="*/ 5832475 h 5973007"/>
              <a:gd name="connsiteX108" fmla="*/ 3173631 w 6884782"/>
              <a:gd name="connsiteY108" fmla="*/ 5851681 h 5973007"/>
              <a:gd name="connsiteX109" fmla="*/ 3173321 w 6884782"/>
              <a:gd name="connsiteY109" fmla="*/ 5841355 h 5973007"/>
              <a:gd name="connsiteX110" fmla="*/ 3193303 w 6884782"/>
              <a:gd name="connsiteY110" fmla="*/ 5825041 h 5973007"/>
              <a:gd name="connsiteX111" fmla="*/ 3200428 w 6884782"/>
              <a:gd name="connsiteY111" fmla="*/ 5822872 h 5973007"/>
              <a:gd name="connsiteX112" fmla="*/ 3199963 w 6884782"/>
              <a:gd name="connsiteY112" fmla="*/ 5821736 h 5973007"/>
              <a:gd name="connsiteX113" fmla="*/ 3200273 w 6884782"/>
              <a:gd name="connsiteY113" fmla="*/ 5819258 h 5973007"/>
              <a:gd name="connsiteX114" fmla="*/ 2872357 w 6884782"/>
              <a:gd name="connsiteY114" fmla="*/ 5816367 h 5973007"/>
              <a:gd name="connsiteX115" fmla="*/ 2876230 w 6884782"/>
              <a:gd name="connsiteY115" fmla="*/ 5819052 h 5973007"/>
              <a:gd name="connsiteX116" fmla="*/ 2874371 w 6884782"/>
              <a:gd name="connsiteY116" fmla="*/ 5829481 h 5973007"/>
              <a:gd name="connsiteX117" fmla="*/ 2864923 w 6884782"/>
              <a:gd name="connsiteY117" fmla="*/ 5831029 h 5973007"/>
              <a:gd name="connsiteX118" fmla="*/ 2863993 w 6884782"/>
              <a:gd name="connsiteY118" fmla="*/ 5832785 h 5973007"/>
              <a:gd name="connsiteX119" fmla="*/ 2860431 w 6884782"/>
              <a:gd name="connsiteY119" fmla="*/ 5834437 h 5973007"/>
              <a:gd name="connsiteX120" fmla="*/ 2859811 w 6884782"/>
              <a:gd name="connsiteY120" fmla="*/ 5832682 h 5973007"/>
              <a:gd name="connsiteX121" fmla="*/ 2863374 w 6884782"/>
              <a:gd name="connsiteY121" fmla="*/ 5830203 h 5973007"/>
              <a:gd name="connsiteX122" fmla="*/ 2863374 w 6884782"/>
              <a:gd name="connsiteY122" fmla="*/ 5829274 h 5973007"/>
              <a:gd name="connsiteX123" fmla="*/ 2861979 w 6884782"/>
              <a:gd name="connsiteY123" fmla="*/ 5827519 h 5973007"/>
              <a:gd name="connsiteX124" fmla="*/ 2862909 w 6884782"/>
              <a:gd name="connsiteY124" fmla="*/ 5818845 h 5973007"/>
              <a:gd name="connsiteX125" fmla="*/ 2872357 w 6884782"/>
              <a:gd name="connsiteY125" fmla="*/ 5816367 h 5973007"/>
              <a:gd name="connsiteX126" fmla="*/ 2945314 w 6884782"/>
              <a:gd name="connsiteY126" fmla="*/ 5813166 h 5973007"/>
              <a:gd name="connsiteX127" fmla="*/ 2945004 w 6884782"/>
              <a:gd name="connsiteY127" fmla="*/ 5816574 h 5973007"/>
              <a:gd name="connsiteX128" fmla="*/ 2938189 w 6884782"/>
              <a:gd name="connsiteY128" fmla="*/ 5820601 h 5973007"/>
              <a:gd name="connsiteX129" fmla="*/ 2936330 w 6884782"/>
              <a:gd name="connsiteY129" fmla="*/ 5819981 h 5973007"/>
              <a:gd name="connsiteX130" fmla="*/ 2937569 w 6884782"/>
              <a:gd name="connsiteY130" fmla="*/ 5815644 h 5973007"/>
              <a:gd name="connsiteX131" fmla="*/ 2945314 w 6884782"/>
              <a:gd name="connsiteY131" fmla="*/ 5813166 h 5973007"/>
              <a:gd name="connsiteX132" fmla="*/ 2954917 w 6884782"/>
              <a:gd name="connsiteY132" fmla="*/ 5809655 h 5973007"/>
              <a:gd name="connsiteX133" fmla="*/ 2954607 w 6884782"/>
              <a:gd name="connsiteY133" fmla="*/ 5812443 h 5973007"/>
              <a:gd name="connsiteX134" fmla="*/ 2952903 w 6884782"/>
              <a:gd name="connsiteY134" fmla="*/ 5813269 h 5973007"/>
              <a:gd name="connsiteX135" fmla="*/ 2951819 w 6884782"/>
              <a:gd name="connsiteY135" fmla="*/ 5815954 h 5973007"/>
              <a:gd name="connsiteX136" fmla="*/ 2950270 w 6884782"/>
              <a:gd name="connsiteY136" fmla="*/ 5815954 h 5973007"/>
              <a:gd name="connsiteX137" fmla="*/ 2952439 w 6884782"/>
              <a:gd name="connsiteY137" fmla="*/ 5810585 h 5973007"/>
              <a:gd name="connsiteX138" fmla="*/ 2954917 w 6884782"/>
              <a:gd name="connsiteY138" fmla="*/ 5809655 h 5973007"/>
              <a:gd name="connsiteX139" fmla="*/ 3280354 w 6884782"/>
              <a:gd name="connsiteY139" fmla="*/ 5805938 h 5973007"/>
              <a:gd name="connsiteX140" fmla="*/ 3283297 w 6884782"/>
              <a:gd name="connsiteY140" fmla="*/ 5815748 h 5973007"/>
              <a:gd name="connsiteX141" fmla="*/ 3277256 w 6884782"/>
              <a:gd name="connsiteY141" fmla="*/ 5816883 h 5973007"/>
              <a:gd name="connsiteX142" fmla="*/ 3280354 w 6884782"/>
              <a:gd name="connsiteY142" fmla="*/ 5805938 h 5973007"/>
              <a:gd name="connsiteX143" fmla="*/ 3139805 w 6884782"/>
              <a:gd name="connsiteY143" fmla="*/ 5803383 h 5973007"/>
              <a:gd name="connsiteX144" fmla="*/ 3145750 w 6884782"/>
              <a:gd name="connsiteY144" fmla="*/ 5803460 h 5973007"/>
              <a:gd name="connsiteX145" fmla="*/ 3143271 w 6884782"/>
              <a:gd name="connsiteY145" fmla="*/ 5811204 h 5973007"/>
              <a:gd name="connsiteX146" fmla="*/ 3140018 w 6884782"/>
              <a:gd name="connsiteY146" fmla="*/ 5812959 h 5973007"/>
              <a:gd name="connsiteX147" fmla="*/ 3136456 w 6884782"/>
              <a:gd name="connsiteY147" fmla="*/ 5812753 h 5973007"/>
              <a:gd name="connsiteX148" fmla="*/ 3133513 w 6884782"/>
              <a:gd name="connsiteY148" fmla="*/ 5813476 h 5973007"/>
              <a:gd name="connsiteX149" fmla="*/ 3130725 w 6884782"/>
              <a:gd name="connsiteY149" fmla="*/ 5812753 h 5973007"/>
              <a:gd name="connsiteX150" fmla="*/ 3129640 w 6884782"/>
              <a:gd name="connsiteY150" fmla="*/ 5810172 h 5973007"/>
              <a:gd name="connsiteX151" fmla="*/ 3130260 w 6884782"/>
              <a:gd name="connsiteY151" fmla="*/ 5808416 h 5973007"/>
              <a:gd name="connsiteX152" fmla="*/ 3139805 w 6884782"/>
              <a:gd name="connsiteY152" fmla="*/ 5803383 h 5973007"/>
              <a:gd name="connsiteX153" fmla="*/ 2949806 w 6884782"/>
              <a:gd name="connsiteY153" fmla="*/ 5802841 h 5973007"/>
              <a:gd name="connsiteX154" fmla="*/ 2952439 w 6884782"/>
              <a:gd name="connsiteY154" fmla="*/ 5802944 h 5973007"/>
              <a:gd name="connsiteX155" fmla="*/ 2951355 w 6884782"/>
              <a:gd name="connsiteY155" fmla="*/ 5804699 h 5973007"/>
              <a:gd name="connsiteX156" fmla="*/ 2947482 w 6884782"/>
              <a:gd name="connsiteY156" fmla="*/ 5808933 h 5973007"/>
              <a:gd name="connsiteX157" fmla="*/ 2946243 w 6884782"/>
              <a:gd name="connsiteY157" fmla="*/ 5807693 h 5973007"/>
              <a:gd name="connsiteX158" fmla="*/ 2946863 w 6884782"/>
              <a:gd name="connsiteY158" fmla="*/ 5806248 h 5973007"/>
              <a:gd name="connsiteX159" fmla="*/ 2948722 w 6884782"/>
              <a:gd name="connsiteY159" fmla="*/ 5804596 h 5973007"/>
              <a:gd name="connsiteX160" fmla="*/ 2949806 w 6884782"/>
              <a:gd name="connsiteY160" fmla="*/ 5802841 h 5973007"/>
              <a:gd name="connsiteX161" fmla="*/ 2912476 w 6884782"/>
              <a:gd name="connsiteY161" fmla="*/ 5800362 h 5973007"/>
              <a:gd name="connsiteX162" fmla="*/ 2897296 w 6884782"/>
              <a:gd name="connsiteY162" fmla="*/ 5808107 h 5973007"/>
              <a:gd name="connsiteX163" fmla="*/ 2897761 w 6884782"/>
              <a:gd name="connsiteY163" fmla="*/ 5804596 h 5973007"/>
              <a:gd name="connsiteX164" fmla="*/ 2899465 w 6884782"/>
              <a:gd name="connsiteY164" fmla="*/ 5804596 h 5973007"/>
              <a:gd name="connsiteX165" fmla="*/ 2912476 w 6884782"/>
              <a:gd name="connsiteY165" fmla="*/ 5800362 h 5973007"/>
              <a:gd name="connsiteX166" fmla="*/ 3209257 w 6884782"/>
              <a:gd name="connsiteY166" fmla="*/ 5797987 h 5973007"/>
              <a:gd name="connsiteX167" fmla="*/ 3214523 w 6884782"/>
              <a:gd name="connsiteY167" fmla="*/ 5803563 h 5973007"/>
              <a:gd name="connsiteX168" fmla="*/ 3211426 w 6884782"/>
              <a:gd name="connsiteY168" fmla="*/ 5806971 h 5973007"/>
              <a:gd name="connsiteX169" fmla="*/ 3205384 w 6884782"/>
              <a:gd name="connsiteY169" fmla="*/ 5803150 h 5973007"/>
              <a:gd name="connsiteX170" fmla="*/ 3209257 w 6884782"/>
              <a:gd name="connsiteY170" fmla="*/ 5797987 h 5973007"/>
              <a:gd name="connsiteX171" fmla="*/ 2919446 w 6884782"/>
              <a:gd name="connsiteY171" fmla="*/ 5796335 h 5973007"/>
              <a:gd name="connsiteX172" fmla="*/ 2915883 w 6884782"/>
              <a:gd name="connsiteY172" fmla="*/ 5798917 h 5973007"/>
              <a:gd name="connsiteX173" fmla="*/ 2915109 w 6884782"/>
              <a:gd name="connsiteY173" fmla="*/ 5797987 h 5973007"/>
              <a:gd name="connsiteX174" fmla="*/ 2919446 w 6884782"/>
              <a:gd name="connsiteY174" fmla="*/ 5796335 h 5973007"/>
              <a:gd name="connsiteX175" fmla="*/ 2906396 w 6884782"/>
              <a:gd name="connsiteY175" fmla="*/ 5795974 h 5973007"/>
              <a:gd name="connsiteX176" fmla="*/ 2911082 w 6884782"/>
              <a:gd name="connsiteY176" fmla="*/ 5796129 h 5973007"/>
              <a:gd name="connsiteX177" fmla="*/ 2910927 w 6884782"/>
              <a:gd name="connsiteY177" fmla="*/ 5797058 h 5973007"/>
              <a:gd name="connsiteX178" fmla="*/ 2902098 w 6884782"/>
              <a:gd name="connsiteY178" fmla="*/ 5798917 h 5973007"/>
              <a:gd name="connsiteX179" fmla="*/ 2899000 w 6884782"/>
              <a:gd name="connsiteY179" fmla="*/ 5798504 h 5973007"/>
              <a:gd name="connsiteX180" fmla="*/ 2899929 w 6884782"/>
              <a:gd name="connsiteY180" fmla="*/ 5798504 h 5973007"/>
              <a:gd name="connsiteX181" fmla="*/ 2899155 w 6884782"/>
              <a:gd name="connsiteY181" fmla="*/ 5797678 h 5973007"/>
              <a:gd name="connsiteX182" fmla="*/ 2906396 w 6884782"/>
              <a:gd name="connsiteY182" fmla="*/ 5795974 h 5973007"/>
              <a:gd name="connsiteX183" fmla="*/ 3289338 w 6884782"/>
              <a:gd name="connsiteY183" fmla="*/ 5794683 h 5973007"/>
              <a:gd name="connsiteX184" fmla="*/ 3290577 w 6884782"/>
              <a:gd name="connsiteY184" fmla="*/ 5798297 h 5973007"/>
              <a:gd name="connsiteX185" fmla="*/ 3282833 w 6884782"/>
              <a:gd name="connsiteY185" fmla="*/ 5800259 h 5973007"/>
              <a:gd name="connsiteX186" fmla="*/ 3276482 w 6884782"/>
              <a:gd name="connsiteY186" fmla="*/ 5797678 h 5973007"/>
              <a:gd name="connsiteX187" fmla="*/ 3276792 w 6884782"/>
              <a:gd name="connsiteY187" fmla="*/ 5795200 h 5973007"/>
              <a:gd name="connsiteX188" fmla="*/ 3289338 w 6884782"/>
              <a:gd name="connsiteY188" fmla="*/ 5794683 h 5973007"/>
              <a:gd name="connsiteX189" fmla="*/ 3140270 w 6884782"/>
              <a:gd name="connsiteY189" fmla="*/ 5788230 h 5973007"/>
              <a:gd name="connsiteX190" fmla="*/ 3143271 w 6884782"/>
              <a:gd name="connsiteY190" fmla="*/ 5798297 h 5973007"/>
              <a:gd name="connsiteX191" fmla="*/ 3134597 w 6884782"/>
              <a:gd name="connsiteY191" fmla="*/ 5795819 h 5973007"/>
              <a:gd name="connsiteX192" fmla="*/ 3140270 w 6884782"/>
              <a:gd name="connsiteY192" fmla="*/ 5788230 h 5973007"/>
              <a:gd name="connsiteX193" fmla="*/ 3187649 w 6884782"/>
              <a:gd name="connsiteY193" fmla="*/ 5787171 h 5973007"/>
              <a:gd name="connsiteX194" fmla="*/ 3202752 w 6884782"/>
              <a:gd name="connsiteY194" fmla="*/ 5788694 h 5973007"/>
              <a:gd name="connsiteX195" fmla="*/ 3206624 w 6884782"/>
              <a:gd name="connsiteY195" fmla="*/ 5796232 h 5973007"/>
              <a:gd name="connsiteX196" fmla="*/ 3182925 w 6884782"/>
              <a:gd name="connsiteY196" fmla="*/ 5817503 h 5973007"/>
              <a:gd name="connsiteX197" fmla="*/ 3178123 w 6884782"/>
              <a:gd name="connsiteY197" fmla="*/ 5817503 h 5973007"/>
              <a:gd name="connsiteX198" fmla="*/ 3172082 w 6884782"/>
              <a:gd name="connsiteY198" fmla="*/ 5815541 h 5973007"/>
              <a:gd name="connsiteX199" fmla="*/ 3174406 w 6884782"/>
              <a:gd name="connsiteY199" fmla="*/ 5802221 h 5973007"/>
              <a:gd name="connsiteX200" fmla="*/ 3187649 w 6884782"/>
              <a:gd name="connsiteY200" fmla="*/ 5787171 h 5973007"/>
              <a:gd name="connsiteX201" fmla="*/ 2944849 w 6884782"/>
              <a:gd name="connsiteY201" fmla="*/ 5785390 h 5973007"/>
              <a:gd name="connsiteX202" fmla="*/ 2938808 w 6884782"/>
              <a:gd name="connsiteY202" fmla="*/ 5791379 h 5973007"/>
              <a:gd name="connsiteX203" fmla="*/ 2936949 w 6884782"/>
              <a:gd name="connsiteY203" fmla="*/ 5791173 h 5973007"/>
              <a:gd name="connsiteX204" fmla="*/ 2937104 w 6884782"/>
              <a:gd name="connsiteY204" fmla="*/ 5788694 h 5973007"/>
              <a:gd name="connsiteX205" fmla="*/ 2944849 w 6884782"/>
              <a:gd name="connsiteY205" fmla="*/ 5785390 h 5973007"/>
              <a:gd name="connsiteX206" fmla="*/ 3031746 w 6884782"/>
              <a:gd name="connsiteY206" fmla="*/ 5783015 h 5973007"/>
              <a:gd name="connsiteX207" fmla="*/ 3032365 w 6884782"/>
              <a:gd name="connsiteY207" fmla="*/ 5783428 h 5973007"/>
              <a:gd name="connsiteX208" fmla="*/ 3035154 w 6884782"/>
              <a:gd name="connsiteY208" fmla="*/ 5785184 h 5973007"/>
              <a:gd name="connsiteX209" fmla="*/ 3034069 w 6884782"/>
              <a:gd name="connsiteY209" fmla="*/ 5789830 h 5973007"/>
              <a:gd name="connsiteX210" fmla="*/ 3030816 w 6884782"/>
              <a:gd name="connsiteY210" fmla="*/ 5789933 h 5973007"/>
              <a:gd name="connsiteX211" fmla="*/ 3029113 w 6884782"/>
              <a:gd name="connsiteY211" fmla="*/ 5788694 h 5973007"/>
              <a:gd name="connsiteX212" fmla="*/ 3029887 w 6884782"/>
              <a:gd name="connsiteY212" fmla="*/ 5783945 h 5973007"/>
              <a:gd name="connsiteX213" fmla="*/ 3031746 w 6884782"/>
              <a:gd name="connsiteY213" fmla="*/ 5783015 h 5973007"/>
              <a:gd name="connsiteX214" fmla="*/ 3366322 w 6884782"/>
              <a:gd name="connsiteY214" fmla="*/ 5772586 h 5973007"/>
              <a:gd name="connsiteX215" fmla="*/ 3364463 w 6884782"/>
              <a:gd name="connsiteY215" fmla="*/ 5777336 h 5973007"/>
              <a:gd name="connsiteX216" fmla="*/ 3356563 w 6884782"/>
              <a:gd name="connsiteY216" fmla="*/ 5773619 h 5973007"/>
              <a:gd name="connsiteX217" fmla="*/ 3366322 w 6884782"/>
              <a:gd name="connsiteY217" fmla="*/ 5772586 h 5973007"/>
              <a:gd name="connsiteX218" fmla="*/ 2976293 w 6884782"/>
              <a:gd name="connsiteY218" fmla="*/ 5769902 h 5973007"/>
              <a:gd name="connsiteX219" fmla="*/ 2969323 w 6884782"/>
              <a:gd name="connsiteY219" fmla="*/ 5797471 h 5973007"/>
              <a:gd name="connsiteX220" fmla="*/ 2966535 w 6884782"/>
              <a:gd name="connsiteY220" fmla="*/ 5791069 h 5973007"/>
              <a:gd name="connsiteX221" fmla="*/ 2976293 w 6884782"/>
              <a:gd name="connsiteY221" fmla="*/ 5769902 h 5973007"/>
              <a:gd name="connsiteX222" fmla="*/ 2949806 w 6884782"/>
              <a:gd name="connsiteY222" fmla="*/ 5766391 h 5973007"/>
              <a:gd name="connsiteX223" fmla="*/ 2947947 w 6884782"/>
              <a:gd name="connsiteY223" fmla="*/ 5773619 h 5973007"/>
              <a:gd name="connsiteX224" fmla="*/ 2944075 w 6884782"/>
              <a:gd name="connsiteY224" fmla="*/ 5774239 h 5973007"/>
              <a:gd name="connsiteX225" fmla="*/ 2940202 w 6884782"/>
              <a:gd name="connsiteY225" fmla="*/ 5772896 h 5973007"/>
              <a:gd name="connsiteX226" fmla="*/ 2949806 w 6884782"/>
              <a:gd name="connsiteY226" fmla="*/ 5766391 h 5973007"/>
              <a:gd name="connsiteX227" fmla="*/ 2840759 w 6884782"/>
              <a:gd name="connsiteY227" fmla="*/ 5759266 h 5973007"/>
              <a:gd name="connsiteX228" fmla="*/ 2847419 w 6884782"/>
              <a:gd name="connsiteY228" fmla="*/ 5761331 h 5973007"/>
              <a:gd name="connsiteX229" fmla="*/ 2840914 w 6884782"/>
              <a:gd name="connsiteY229" fmla="*/ 5773722 h 5973007"/>
              <a:gd name="connsiteX230" fmla="*/ 2836576 w 6884782"/>
              <a:gd name="connsiteY230" fmla="*/ 5770728 h 5973007"/>
              <a:gd name="connsiteX231" fmla="*/ 2840759 w 6884782"/>
              <a:gd name="connsiteY231" fmla="*/ 5759266 h 5973007"/>
              <a:gd name="connsiteX232" fmla="*/ 3151171 w 6884782"/>
              <a:gd name="connsiteY232" fmla="*/ 5756375 h 5973007"/>
              <a:gd name="connsiteX233" fmla="*/ 3152875 w 6884782"/>
              <a:gd name="connsiteY233" fmla="*/ 5758956 h 5973007"/>
              <a:gd name="connsiteX234" fmla="*/ 3142651 w 6884782"/>
              <a:gd name="connsiteY234" fmla="*/ 5772586 h 5973007"/>
              <a:gd name="connsiteX235" fmla="*/ 3140328 w 6884782"/>
              <a:gd name="connsiteY235" fmla="*/ 5771347 h 5973007"/>
              <a:gd name="connsiteX236" fmla="*/ 3151171 w 6884782"/>
              <a:gd name="connsiteY236" fmla="*/ 5756375 h 5973007"/>
              <a:gd name="connsiteX237" fmla="*/ 3303434 w 6884782"/>
              <a:gd name="connsiteY237" fmla="*/ 5755962 h 5973007"/>
              <a:gd name="connsiteX238" fmla="*/ 3315051 w 6884782"/>
              <a:gd name="connsiteY238" fmla="*/ 5762467 h 5973007"/>
              <a:gd name="connsiteX239" fmla="*/ 3311488 w 6884782"/>
              <a:gd name="connsiteY239" fmla="*/ 5768766 h 5973007"/>
              <a:gd name="connsiteX240" fmla="*/ 3309320 w 6884782"/>
              <a:gd name="connsiteY240" fmla="*/ 5768559 h 5973007"/>
              <a:gd name="connsiteX241" fmla="*/ 3300181 w 6884782"/>
              <a:gd name="connsiteY241" fmla="*/ 5764119 h 5973007"/>
              <a:gd name="connsiteX242" fmla="*/ 3303434 w 6884782"/>
              <a:gd name="connsiteY242" fmla="*/ 5755962 h 5973007"/>
              <a:gd name="connsiteX243" fmla="*/ 3429190 w 6884782"/>
              <a:gd name="connsiteY243" fmla="*/ 5755420 h 5973007"/>
              <a:gd name="connsiteX244" fmla="*/ 3432927 w 6884782"/>
              <a:gd name="connsiteY244" fmla="*/ 5757511 h 5973007"/>
              <a:gd name="connsiteX245" fmla="*/ 3430604 w 6884782"/>
              <a:gd name="connsiteY245" fmla="*/ 5762571 h 5973007"/>
              <a:gd name="connsiteX246" fmla="*/ 3426267 w 6884782"/>
              <a:gd name="connsiteY246" fmla="*/ 5757201 h 5973007"/>
              <a:gd name="connsiteX247" fmla="*/ 3429190 w 6884782"/>
              <a:gd name="connsiteY247" fmla="*/ 5755420 h 5973007"/>
              <a:gd name="connsiteX248" fmla="*/ 3013933 w 6884782"/>
              <a:gd name="connsiteY248" fmla="*/ 5753174 h 5973007"/>
              <a:gd name="connsiteX249" fmla="*/ 3004484 w 6884782"/>
              <a:gd name="connsiteY249" fmla="*/ 5771967 h 5973007"/>
              <a:gd name="connsiteX250" fmla="*/ 3000767 w 6884782"/>
              <a:gd name="connsiteY250" fmla="*/ 5773103 h 5973007"/>
              <a:gd name="connsiteX251" fmla="*/ 2999218 w 6884782"/>
              <a:gd name="connsiteY251" fmla="*/ 5772690 h 5973007"/>
              <a:gd name="connsiteX252" fmla="*/ 3013933 w 6884782"/>
              <a:gd name="connsiteY252" fmla="*/ 5753174 h 5973007"/>
              <a:gd name="connsiteX253" fmla="*/ 3294605 w 6884782"/>
              <a:gd name="connsiteY253" fmla="*/ 5752039 h 5973007"/>
              <a:gd name="connsiteX254" fmla="*/ 3291507 w 6884782"/>
              <a:gd name="connsiteY254" fmla="*/ 5779401 h 5973007"/>
              <a:gd name="connsiteX255" fmla="*/ 3294605 w 6884782"/>
              <a:gd name="connsiteY255" fmla="*/ 5752039 h 5973007"/>
              <a:gd name="connsiteX256" fmla="*/ 3063345 w 6884782"/>
              <a:gd name="connsiteY256" fmla="*/ 5751729 h 5973007"/>
              <a:gd name="connsiteX257" fmla="*/ 3077440 w 6884782"/>
              <a:gd name="connsiteY257" fmla="*/ 5760815 h 5973007"/>
              <a:gd name="connsiteX258" fmla="*/ 3076976 w 6884782"/>
              <a:gd name="connsiteY258" fmla="*/ 5779711 h 5973007"/>
              <a:gd name="connsiteX259" fmla="*/ 3071864 w 6884782"/>
              <a:gd name="connsiteY259" fmla="*/ 5780434 h 5973007"/>
              <a:gd name="connsiteX260" fmla="*/ 3063500 w 6884782"/>
              <a:gd name="connsiteY260" fmla="*/ 5770831 h 5973007"/>
              <a:gd name="connsiteX261" fmla="*/ 3061796 w 6884782"/>
              <a:gd name="connsiteY261" fmla="*/ 5764636 h 5973007"/>
              <a:gd name="connsiteX262" fmla="*/ 3061176 w 6884782"/>
              <a:gd name="connsiteY262" fmla="*/ 5753794 h 5973007"/>
              <a:gd name="connsiteX263" fmla="*/ 3063345 w 6884782"/>
              <a:gd name="connsiteY263" fmla="*/ 5751729 h 5973007"/>
              <a:gd name="connsiteX264" fmla="*/ 3107335 w 6884782"/>
              <a:gd name="connsiteY264" fmla="*/ 5748631 h 5973007"/>
              <a:gd name="connsiteX265" fmla="*/ 3109349 w 6884782"/>
              <a:gd name="connsiteY265" fmla="*/ 5757201 h 5973007"/>
              <a:gd name="connsiteX266" fmla="*/ 3103463 w 6884782"/>
              <a:gd name="connsiteY266" fmla="*/ 5751832 h 5973007"/>
              <a:gd name="connsiteX267" fmla="*/ 3107335 w 6884782"/>
              <a:gd name="connsiteY267" fmla="*/ 5748631 h 5973007"/>
              <a:gd name="connsiteX268" fmla="*/ 2997204 w 6884782"/>
              <a:gd name="connsiteY268" fmla="*/ 5748424 h 5973007"/>
              <a:gd name="connsiteX269" fmla="*/ 3000457 w 6884782"/>
              <a:gd name="connsiteY269" fmla="*/ 5749663 h 5973007"/>
              <a:gd name="connsiteX270" fmla="*/ 2996429 w 6884782"/>
              <a:gd name="connsiteY270" fmla="*/ 5753381 h 5973007"/>
              <a:gd name="connsiteX271" fmla="*/ 2997204 w 6884782"/>
              <a:gd name="connsiteY271" fmla="*/ 5748424 h 5973007"/>
              <a:gd name="connsiteX272" fmla="*/ 2833634 w 6884782"/>
              <a:gd name="connsiteY272" fmla="*/ 5748115 h 5973007"/>
              <a:gd name="connsiteX273" fmla="*/ 2828987 w 6884782"/>
              <a:gd name="connsiteY273" fmla="*/ 5758027 h 5973007"/>
              <a:gd name="connsiteX274" fmla="*/ 2833634 w 6884782"/>
              <a:gd name="connsiteY274" fmla="*/ 5748115 h 5973007"/>
              <a:gd name="connsiteX275" fmla="*/ 3220255 w 6884782"/>
              <a:gd name="connsiteY275" fmla="*/ 5747908 h 5973007"/>
              <a:gd name="connsiteX276" fmla="*/ 3220100 w 6884782"/>
              <a:gd name="connsiteY276" fmla="*/ 5756891 h 5973007"/>
              <a:gd name="connsiteX277" fmla="*/ 3217002 w 6884782"/>
              <a:gd name="connsiteY277" fmla="*/ 5755240 h 5973007"/>
              <a:gd name="connsiteX278" fmla="*/ 3220255 w 6884782"/>
              <a:gd name="connsiteY278" fmla="*/ 5747908 h 5973007"/>
              <a:gd name="connsiteX279" fmla="*/ 3373757 w 6884782"/>
              <a:gd name="connsiteY279" fmla="*/ 5745946 h 5973007"/>
              <a:gd name="connsiteX280" fmla="*/ 3374996 w 6884782"/>
              <a:gd name="connsiteY280" fmla="*/ 5747495 h 5973007"/>
              <a:gd name="connsiteX281" fmla="*/ 3374531 w 6884782"/>
              <a:gd name="connsiteY281" fmla="*/ 5749870 h 5973007"/>
              <a:gd name="connsiteX282" fmla="*/ 3369265 w 6884782"/>
              <a:gd name="connsiteY282" fmla="*/ 5755859 h 5973007"/>
              <a:gd name="connsiteX283" fmla="*/ 3367716 w 6884782"/>
              <a:gd name="connsiteY283" fmla="*/ 5756891 h 5973007"/>
              <a:gd name="connsiteX284" fmla="*/ 3366167 w 6884782"/>
              <a:gd name="connsiteY284" fmla="*/ 5758027 h 5973007"/>
              <a:gd name="connsiteX285" fmla="*/ 3364618 w 6884782"/>
              <a:gd name="connsiteY285" fmla="*/ 5758234 h 5973007"/>
              <a:gd name="connsiteX286" fmla="*/ 3362759 w 6884782"/>
              <a:gd name="connsiteY286" fmla="*/ 5756995 h 5973007"/>
              <a:gd name="connsiteX287" fmla="*/ 3373757 w 6884782"/>
              <a:gd name="connsiteY287" fmla="*/ 5745946 h 5973007"/>
              <a:gd name="connsiteX288" fmla="*/ 2894043 w 6884782"/>
              <a:gd name="connsiteY288" fmla="*/ 5741919 h 5973007"/>
              <a:gd name="connsiteX289" fmla="*/ 2898225 w 6884782"/>
              <a:gd name="connsiteY289" fmla="*/ 5742022 h 5973007"/>
              <a:gd name="connsiteX290" fmla="*/ 2899619 w 6884782"/>
              <a:gd name="connsiteY290" fmla="*/ 5743778 h 5973007"/>
              <a:gd name="connsiteX291" fmla="*/ 2899619 w 6884782"/>
              <a:gd name="connsiteY291" fmla="*/ 5744604 h 5973007"/>
              <a:gd name="connsiteX292" fmla="*/ 2897761 w 6884782"/>
              <a:gd name="connsiteY292" fmla="*/ 5745327 h 5973007"/>
              <a:gd name="connsiteX293" fmla="*/ 2889551 w 6884782"/>
              <a:gd name="connsiteY293" fmla="*/ 5744501 h 5973007"/>
              <a:gd name="connsiteX294" fmla="*/ 2888002 w 6884782"/>
              <a:gd name="connsiteY294" fmla="*/ 5744397 h 5973007"/>
              <a:gd name="connsiteX295" fmla="*/ 2886453 w 6884782"/>
              <a:gd name="connsiteY295" fmla="*/ 5742642 h 5973007"/>
              <a:gd name="connsiteX296" fmla="*/ 2894043 w 6884782"/>
              <a:gd name="connsiteY296" fmla="*/ 5741919 h 5973007"/>
              <a:gd name="connsiteX297" fmla="*/ 3139825 w 6884782"/>
              <a:gd name="connsiteY297" fmla="*/ 5741842 h 5973007"/>
              <a:gd name="connsiteX298" fmla="*/ 3145750 w 6884782"/>
              <a:gd name="connsiteY298" fmla="*/ 5743675 h 5973007"/>
              <a:gd name="connsiteX299" fmla="*/ 3146989 w 6884782"/>
              <a:gd name="connsiteY299" fmla="*/ 5748941 h 5973007"/>
              <a:gd name="connsiteX300" fmla="*/ 3141877 w 6884782"/>
              <a:gd name="connsiteY300" fmla="*/ 5750386 h 5973007"/>
              <a:gd name="connsiteX301" fmla="*/ 3136920 w 6884782"/>
              <a:gd name="connsiteY301" fmla="*/ 5749147 h 5973007"/>
              <a:gd name="connsiteX302" fmla="*/ 3139825 w 6884782"/>
              <a:gd name="connsiteY302" fmla="*/ 5741842 h 5973007"/>
              <a:gd name="connsiteX303" fmla="*/ 2793670 w 6884782"/>
              <a:gd name="connsiteY303" fmla="*/ 5739338 h 5973007"/>
              <a:gd name="connsiteX304" fmla="*/ 2797853 w 6884782"/>
              <a:gd name="connsiteY304" fmla="*/ 5739441 h 5973007"/>
              <a:gd name="connsiteX305" fmla="*/ 2810709 w 6884782"/>
              <a:gd name="connsiteY305" fmla="*/ 5743158 h 5973007"/>
              <a:gd name="connsiteX306" fmla="*/ 2804823 w 6884782"/>
              <a:gd name="connsiteY306" fmla="*/ 5744088 h 5973007"/>
              <a:gd name="connsiteX307" fmla="*/ 2791656 w 6884782"/>
              <a:gd name="connsiteY307" fmla="*/ 5743675 h 5973007"/>
              <a:gd name="connsiteX308" fmla="*/ 2790108 w 6884782"/>
              <a:gd name="connsiteY308" fmla="*/ 5741919 h 5973007"/>
              <a:gd name="connsiteX309" fmla="*/ 2789333 w 6884782"/>
              <a:gd name="connsiteY309" fmla="*/ 5741919 h 5973007"/>
              <a:gd name="connsiteX310" fmla="*/ 2788714 w 6884782"/>
              <a:gd name="connsiteY310" fmla="*/ 5741093 h 5973007"/>
              <a:gd name="connsiteX311" fmla="*/ 2788714 w 6884782"/>
              <a:gd name="connsiteY311" fmla="*/ 5740164 h 5973007"/>
              <a:gd name="connsiteX312" fmla="*/ 2793670 w 6884782"/>
              <a:gd name="connsiteY312" fmla="*/ 5739338 h 5973007"/>
              <a:gd name="connsiteX313" fmla="*/ 3536243 w 6884782"/>
              <a:gd name="connsiteY313" fmla="*/ 5738305 h 5973007"/>
              <a:gd name="connsiteX314" fmla="*/ 3537482 w 6884782"/>
              <a:gd name="connsiteY314" fmla="*/ 5747288 h 5973007"/>
              <a:gd name="connsiteX315" fmla="*/ 3536243 w 6884782"/>
              <a:gd name="connsiteY315" fmla="*/ 5738305 h 5973007"/>
              <a:gd name="connsiteX316" fmla="*/ 2975054 w 6884782"/>
              <a:gd name="connsiteY316" fmla="*/ 5738305 h 5973007"/>
              <a:gd name="connsiteX317" fmla="*/ 2972111 w 6884782"/>
              <a:gd name="connsiteY317" fmla="*/ 5744914 h 5973007"/>
              <a:gd name="connsiteX318" fmla="*/ 2969478 w 6884782"/>
              <a:gd name="connsiteY318" fmla="*/ 5744707 h 5973007"/>
              <a:gd name="connsiteX319" fmla="*/ 2975054 w 6884782"/>
              <a:gd name="connsiteY319" fmla="*/ 5738305 h 5973007"/>
              <a:gd name="connsiteX320" fmla="*/ 3157057 w 6884782"/>
              <a:gd name="connsiteY320" fmla="*/ 5736756 h 5973007"/>
              <a:gd name="connsiteX321" fmla="*/ 3163873 w 6884782"/>
              <a:gd name="connsiteY321" fmla="*/ 5739028 h 5973007"/>
              <a:gd name="connsiteX322" fmla="*/ 3159380 w 6884782"/>
              <a:gd name="connsiteY322" fmla="*/ 5751212 h 5973007"/>
              <a:gd name="connsiteX323" fmla="*/ 3157057 w 6884782"/>
              <a:gd name="connsiteY323" fmla="*/ 5736756 h 5973007"/>
              <a:gd name="connsiteX324" fmla="*/ 3348199 w 6884782"/>
              <a:gd name="connsiteY324" fmla="*/ 5735001 h 5973007"/>
              <a:gd name="connsiteX325" fmla="*/ 3354085 w 6884782"/>
              <a:gd name="connsiteY325" fmla="*/ 5735827 h 5973007"/>
              <a:gd name="connsiteX326" fmla="*/ 3347889 w 6884782"/>
              <a:gd name="connsiteY326" fmla="*/ 5747392 h 5973007"/>
              <a:gd name="connsiteX327" fmla="*/ 3346805 w 6884782"/>
              <a:gd name="connsiteY327" fmla="*/ 5744707 h 5973007"/>
              <a:gd name="connsiteX328" fmla="*/ 3348199 w 6884782"/>
              <a:gd name="connsiteY328" fmla="*/ 5735001 h 5973007"/>
              <a:gd name="connsiteX329" fmla="*/ 2943145 w 6884782"/>
              <a:gd name="connsiteY329" fmla="*/ 5734898 h 5973007"/>
              <a:gd name="connsiteX330" fmla="*/ 2948722 w 6884782"/>
              <a:gd name="connsiteY330" fmla="*/ 5737686 h 5973007"/>
              <a:gd name="connsiteX331" fmla="*/ 2947637 w 6884782"/>
              <a:gd name="connsiteY331" fmla="*/ 5739338 h 5973007"/>
              <a:gd name="connsiteX332" fmla="*/ 2945159 w 6884782"/>
              <a:gd name="connsiteY332" fmla="*/ 5740783 h 5973007"/>
              <a:gd name="connsiteX333" fmla="*/ 2942680 w 6884782"/>
              <a:gd name="connsiteY333" fmla="*/ 5740164 h 5973007"/>
              <a:gd name="connsiteX334" fmla="*/ 2943145 w 6884782"/>
              <a:gd name="connsiteY334" fmla="*/ 5734898 h 5973007"/>
              <a:gd name="connsiteX335" fmla="*/ 3062105 w 6884782"/>
              <a:gd name="connsiteY335" fmla="*/ 5731800 h 5973007"/>
              <a:gd name="connsiteX336" fmla="*/ 3062261 w 6884782"/>
              <a:gd name="connsiteY336" fmla="*/ 5733452 h 5973007"/>
              <a:gd name="connsiteX337" fmla="*/ 3063190 w 6884782"/>
              <a:gd name="connsiteY337" fmla="*/ 5733349 h 5973007"/>
              <a:gd name="connsiteX338" fmla="*/ 3062570 w 6884782"/>
              <a:gd name="connsiteY338" fmla="*/ 5735105 h 5973007"/>
              <a:gd name="connsiteX339" fmla="*/ 3061796 w 6884782"/>
              <a:gd name="connsiteY339" fmla="*/ 5735105 h 5973007"/>
              <a:gd name="connsiteX340" fmla="*/ 3061641 w 6884782"/>
              <a:gd name="connsiteY340" fmla="*/ 5735311 h 5973007"/>
              <a:gd name="connsiteX341" fmla="*/ 3060092 w 6884782"/>
              <a:gd name="connsiteY341" fmla="*/ 5734382 h 5973007"/>
              <a:gd name="connsiteX342" fmla="*/ 3059008 w 6884782"/>
              <a:gd name="connsiteY342" fmla="*/ 5732833 h 5973007"/>
              <a:gd name="connsiteX343" fmla="*/ 3062105 w 6884782"/>
              <a:gd name="connsiteY343" fmla="*/ 5731800 h 5973007"/>
              <a:gd name="connsiteX344" fmla="*/ 3281129 w 6884782"/>
              <a:gd name="connsiteY344" fmla="*/ 5731593 h 5973007"/>
              <a:gd name="connsiteX345" fmla="*/ 3289648 w 6884782"/>
              <a:gd name="connsiteY345" fmla="*/ 5737170 h 5973007"/>
              <a:gd name="connsiteX346" fmla="*/ 3285931 w 6884782"/>
              <a:gd name="connsiteY346" fmla="*/ 5739957 h 5973007"/>
              <a:gd name="connsiteX347" fmla="*/ 3281129 w 6884782"/>
              <a:gd name="connsiteY347" fmla="*/ 5731593 h 5973007"/>
              <a:gd name="connsiteX348" fmla="*/ 3238571 w 6884782"/>
              <a:gd name="connsiteY348" fmla="*/ 5731103 h 5973007"/>
              <a:gd name="connsiteX349" fmla="*/ 3243644 w 6884782"/>
              <a:gd name="connsiteY349" fmla="*/ 5734691 h 5973007"/>
              <a:gd name="connsiteX350" fmla="*/ 3242095 w 6884782"/>
              <a:gd name="connsiteY350" fmla="*/ 5756685 h 5973007"/>
              <a:gd name="connsiteX351" fmla="*/ 3235280 w 6884782"/>
              <a:gd name="connsiteY351" fmla="*/ 5747392 h 5973007"/>
              <a:gd name="connsiteX352" fmla="*/ 3232337 w 6884782"/>
              <a:gd name="connsiteY352" fmla="*/ 5733555 h 5973007"/>
              <a:gd name="connsiteX353" fmla="*/ 3238571 w 6884782"/>
              <a:gd name="connsiteY353" fmla="*/ 5731103 h 5973007"/>
              <a:gd name="connsiteX354" fmla="*/ 2743949 w 6884782"/>
              <a:gd name="connsiteY354" fmla="*/ 5729219 h 5973007"/>
              <a:gd name="connsiteX355" fmla="*/ 2746272 w 6884782"/>
              <a:gd name="connsiteY355" fmla="*/ 5735414 h 5973007"/>
              <a:gd name="connsiteX356" fmla="*/ 2743794 w 6884782"/>
              <a:gd name="connsiteY356" fmla="*/ 5735930 h 5973007"/>
              <a:gd name="connsiteX357" fmla="*/ 2740851 w 6884782"/>
              <a:gd name="connsiteY357" fmla="*/ 5735414 h 5973007"/>
              <a:gd name="connsiteX358" fmla="*/ 2743949 w 6884782"/>
              <a:gd name="connsiteY358" fmla="*/ 5729219 h 5973007"/>
              <a:gd name="connsiteX359" fmla="*/ 3271680 w 6884782"/>
              <a:gd name="connsiteY359" fmla="*/ 5728186 h 5973007"/>
              <a:gd name="connsiteX360" fmla="*/ 3273694 w 6884782"/>
              <a:gd name="connsiteY360" fmla="*/ 5729942 h 5973007"/>
              <a:gd name="connsiteX361" fmla="*/ 3272145 w 6884782"/>
              <a:gd name="connsiteY361" fmla="*/ 5732007 h 5973007"/>
              <a:gd name="connsiteX362" fmla="*/ 3269666 w 6884782"/>
              <a:gd name="connsiteY362" fmla="*/ 5732626 h 5973007"/>
              <a:gd name="connsiteX363" fmla="*/ 3268737 w 6884782"/>
              <a:gd name="connsiteY363" fmla="*/ 5731593 h 5973007"/>
              <a:gd name="connsiteX364" fmla="*/ 3267808 w 6884782"/>
              <a:gd name="connsiteY364" fmla="*/ 5729632 h 5973007"/>
              <a:gd name="connsiteX365" fmla="*/ 3271680 w 6884782"/>
              <a:gd name="connsiteY365" fmla="*/ 5728186 h 5973007"/>
              <a:gd name="connsiteX366" fmla="*/ 3211116 w 6884782"/>
              <a:gd name="connsiteY366" fmla="*/ 5727257 h 5973007"/>
              <a:gd name="connsiteX367" fmla="*/ 3219016 w 6884782"/>
              <a:gd name="connsiteY367" fmla="*/ 5735414 h 5973007"/>
              <a:gd name="connsiteX368" fmla="*/ 3223817 w 6884782"/>
              <a:gd name="connsiteY368" fmla="*/ 5747082 h 5973007"/>
              <a:gd name="connsiteX369" fmla="*/ 3213749 w 6884782"/>
              <a:gd name="connsiteY369" fmla="*/ 5739751 h 5973007"/>
              <a:gd name="connsiteX370" fmla="*/ 3211116 w 6884782"/>
              <a:gd name="connsiteY370" fmla="*/ 5727257 h 5973007"/>
              <a:gd name="connsiteX371" fmla="*/ 2761626 w 6884782"/>
              <a:gd name="connsiteY371" fmla="*/ 5723888 h 5973007"/>
              <a:gd name="connsiteX372" fmla="*/ 2769197 w 6884782"/>
              <a:gd name="connsiteY372" fmla="*/ 5726121 h 5973007"/>
              <a:gd name="connsiteX373" fmla="*/ 2759283 w 6884782"/>
              <a:gd name="connsiteY373" fmla="*/ 5736756 h 5973007"/>
              <a:gd name="connsiteX374" fmla="*/ 2754636 w 6884782"/>
              <a:gd name="connsiteY374" fmla="*/ 5735517 h 5973007"/>
              <a:gd name="connsiteX375" fmla="*/ 2754636 w 6884782"/>
              <a:gd name="connsiteY375" fmla="*/ 5728393 h 5973007"/>
              <a:gd name="connsiteX376" fmla="*/ 2761626 w 6884782"/>
              <a:gd name="connsiteY376" fmla="*/ 5723888 h 5973007"/>
              <a:gd name="connsiteX377" fmla="*/ 3358267 w 6884782"/>
              <a:gd name="connsiteY377" fmla="*/ 5723746 h 5973007"/>
              <a:gd name="connsiteX378" fmla="*/ 3358887 w 6884782"/>
              <a:gd name="connsiteY378" fmla="*/ 5724262 h 5973007"/>
              <a:gd name="connsiteX379" fmla="*/ 3360126 w 6884782"/>
              <a:gd name="connsiteY379" fmla="*/ 5723849 h 5973007"/>
              <a:gd name="connsiteX380" fmla="*/ 3362449 w 6884782"/>
              <a:gd name="connsiteY380" fmla="*/ 5727154 h 5973007"/>
              <a:gd name="connsiteX381" fmla="*/ 3362759 w 6884782"/>
              <a:gd name="connsiteY381" fmla="*/ 5729219 h 5973007"/>
              <a:gd name="connsiteX382" fmla="*/ 3361830 w 6884782"/>
              <a:gd name="connsiteY382" fmla="*/ 5730561 h 5973007"/>
              <a:gd name="connsiteX383" fmla="*/ 3359971 w 6884782"/>
              <a:gd name="connsiteY383" fmla="*/ 5730458 h 5973007"/>
              <a:gd name="connsiteX384" fmla="*/ 3356873 w 6884782"/>
              <a:gd name="connsiteY384" fmla="*/ 5728703 h 5973007"/>
              <a:gd name="connsiteX385" fmla="*/ 3356099 w 6884782"/>
              <a:gd name="connsiteY385" fmla="*/ 5726327 h 5973007"/>
              <a:gd name="connsiteX386" fmla="*/ 3357493 w 6884782"/>
              <a:gd name="connsiteY386" fmla="*/ 5725295 h 5973007"/>
              <a:gd name="connsiteX387" fmla="*/ 3358267 w 6884782"/>
              <a:gd name="connsiteY387" fmla="*/ 5723746 h 5973007"/>
              <a:gd name="connsiteX388" fmla="*/ 3325274 w 6884782"/>
              <a:gd name="connsiteY388" fmla="*/ 5723643 h 5973007"/>
              <a:gd name="connsiteX389" fmla="*/ 3317530 w 6884782"/>
              <a:gd name="connsiteY389" fmla="*/ 5740577 h 5973007"/>
              <a:gd name="connsiteX390" fmla="*/ 3325274 w 6884782"/>
              <a:gd name="connsiteY390" fmla="*/ 5723643 h 5973007"/>
              <a:gd name="connsiteX391" fmla="*/ 3197640 w 6884782"/>
              <a:gd name="connsiteY391" fmla="*/ 5722301 h 5973007"/>
              <a:gd name="connsiteX392" fmla="*/ 3200738 w 6884782"/>
              <a:gd name="connsiteY392" fmla="*/ 5725605 h 5973007"/>
              <a:gd name="connsiteX393" fmla="*/ 3190515 w 6884782"/>
              <a:gd name="connsiteY393" fmla="*/ 5739545 h 5973007"/>
              <a:gd name="connsiteX394" fmla="*/ 3187107 w 6884782"/>
              <a:gd name="connsiteY394" fmla="*/ 5739235 h 5973007"/>
              <a:gd name="connsiteX395" fmla="*/ 3197640 w 6884782"/>
              <a:gd name="connsiteY395" fmla="*/ 5722301 h 5973007"/>
              <a:gd name="connsiteX396" fmla="*/ 2856093 w 6884782"/>
              <a:gd name="connsiteY396" fmla="*/ 5720236 h 5973007"/>
              <a:gd name="connsiteX397" fmla="*/ 2859656 w 6884782"/>
              <a:gd name="connsiteY397" fmla="*/ 5724882 h 5973007"/>
              <a:gd name="connsiteX398" fmla="*/ 2861825 w 6884782"/>
              <a:gd name="connsiteY398" fmla="*/ 5723230 h 5973007"/>
              <a:gd name="connsiteX399" fmla="*/ 2867246 w 6884782"/>
              <a:gd name="connsiteY399" fmla="*/ 5723023 h 5973007"/>
              <a:gd name="connsiteX400" fmla="*/ 2868640 w 6884782"/>
              <a:gd name="connsiteY400" fmla="*/ 5726327 h 5973007"/>
              <a:gd name="connsiteX401" fmla="*/ 2865542 w 6884782"/>
              <a:gd name="connsiteY401" fmla="*/ 5730871 h 5973007"/>
              <a:gd name="connsiteX402" fmla="*/ 2864458 w 6884782"/>
              <a:gd name="connsiteY402" fmla="*/ 5730974 h 5973007"/>
              <a:gd name="connsiteX403" fmla="*/ 2864458 w 6884782"/>
              <a:gd name="connsiteY403" fmla="*/ 5731181 h 5973007"/>
              <a:gd name="connsiteX404" fmla="*/ 2857178 w 6884782"/>
              <a:gd name="connsiteY404" fmla="*/ 5737376 h 5973007"/>
              <a:gd name="connsiteX405" fmla="*/ 2846799 w 6884782"/>
              <a:gd name="connsiteY405" fmla="*/ 5729735 h 5973007"/>
              <a:gd name="connsiteX406" fmla="*/ 2856093 w 6884782"/>
              <a:gd name="connsiteY406" fmla="*/ 5720236 h 5973007"/>
              <a:gd name="connsiteX407" fmla="*/ 3230478 w 6884782"/>
              <a:gd name="connsiteY407" fmla="*/ 5719719 h 5973007"/>
              <a:gd name="connsiteX408" fmla="*/ 3234505 w 6884782"/>
              <a:gd name="connsiteY408" fmla="*/ 5720752 h 5973007"/>
              <a:gd name="connsiteX409" fmla="*/ 3230942 w 6884782"/>
              <a:gd name="connsiteY409" fmla="*/ 5722404 h 5973007"/>
              <a:gd name="connsiteX410" fmla="*/ 3230478 w 6884782"/>
              <a:gd name="connsiteY410" fmla="*/ 5719719 h 5973007"/>
              <a:gd name="connsiteX411" fmla="*/ 3177968 w 6884782"/>
              <a:gd name="connsiteY411" fmla="*/ 5718996 h 5973007"/>
              <a:gd name="connsiteX412" fmla="*/ 3183234 w 6884782"/>
              <a:gd name="connsiteY412" fmla="*/ 5724366 h 5973007"/>
              <a:gd name="connsiteX413" fmla="*/ 3178587 w 6884782"/>
              <a:gd name="connsiteY413" fmla="*/ 5733349 h 5973007"/>
              <a:gd name="connsiteX414" fmla="*/ 3174715 w 6884782"/>
              <a:gd name="connsiteY414" fmla="*/ 5733143 h 5973007"/>
              <a:gd name="connsiteX415" fmla="*/ 3169294 w 6884782"/>
              <a:gd name="connsiteY415" fmla="*/ 5729012 h 5973007"/>
              <a:gd name="connsiteX416" fmla="*/ 3177968 w 6884782"/>
              <a:gd name="connsiteY416" fmla="*/ 5718996 h 5973007"/>
              <a:gd name="connsiteX417" fmla="*/ 3028338 w 6884782"/>
              <a:gd name="connsiteY417" fmla="*/ 5717654 h 5973007"/>
              <a:gd name="connsiteX418" fmla="*/ 3036858 w 6884782"/>
              <a:gd name="connsiteY418" fmla="*/ 5724159 h 5973007"/>
              <a:gd name="connsiteX419" fmla="*/ 3037167 w 6884782"/>
              <a:gd name="connsiteY419" fmla="*/ 5726534 h 5973007"/>
              <a:gd name="connsiteX420" fmla="*/ 3038097 w 6884782"/>
              <a:gd name="connsiteY420" fmla="*/ 5728186 h 5973007"/>
              <a:gd name="connsiteX421" fmla="*/ 3037322 w 6884782"/>
              <a:gd name="connsiteY421" fmla="*/ 5734072 h 5973007"/>
              <a:gd name="connsiteX422" fmla="*/ 3027099 w 6884782"/>
              <a:gd name="connsiteY422" fmla="*/ 5721165 h 5973007"/>
              <a:gd name="connsiteX423" fmla="*/ 3026789 w 6884782"/>
              <a:gd name="connsiteY423" fmla="*/ 5719203 h 5973007"/>
              <a:gd name="connsiteX424" fmla="*/ 3028338 w 6884782"/>
              <a:gd name="connsiteY424" fmla="*/ 5717654 h 5973007"/>
              <a:gd name="connsiteX425" fmla="*/ 2956157 w 6884782"/>
              <a:gd name="connsiteY425" fmla="*/ 5713730 h 5973007"/>
              <a:gd name="connsiteX426" fmla="*/ 2964521 w 6884782"/>
              <a:gd name="connsiteY426" fmla="*/ 5745017 h 5973007"/>
              <a:gd name="connsiteX427" fmla="*/ 2953214 w 6884782"/>
              <a:gd name="connsiteY427" fmla="*/ 5731490 h 5973007"/>
              <a:gd name="connsiteX428" fmla="*/ 2956157 w 6884782"/>
              <a:gd name="connsiteY428" fmla="*/ 5713730 h 5973007"/>
              <a:gd name="connsiteX429" fmla="*/ 3130415 w 6884782"/>
              <a:gd name="connsiteY429" fmla="*/ 5712491 h 5973007"/>
              <a:gd name="connsiteX430" fmla="*/ 3133203 w 6884782"/>
              <a:gd name="connsiteY430" fmla="*/ 5716312 h 5973007"/>
              <a:gd name="connsiteX431" fmla="*/ 3132119 w 6884782"/>
              <a:gd name="connsiteY431" fmla="*/ 5719719 h 5973007"/>
              <a:gd name="connsiteX432" fmla="*/ 3132738 w 6884782"/>
              <a:gd name="connsiteY432" fmla="*/ 5719616 h 5973007"/>
              <a:gd name="connsiteX433" fmla="*/ 3132584 w 6884782"/>
              <a:gd name="connsiteY433" fmla="*/ 5720236 h 5973007"/>
              <a:gd name="connsiteX434" fmla="*/ 3135836 w 6884782"/>
              <a:gd name="connsiteY434" fmla="*/ 5721268 h 5973007"/>
              <a:gd name="connsiteX435" fmla="*/ 3133358 w 6884782"/>
              <a:gd name="connsiteY435" fmla="*/ 5725088 h 5973007"/>
              <a:gd name="connsiteX436" fmla="*/ 3131034 w 6884782"/>
              <a:gd name="connsiteY436" fmla="*/ 5722507 h 5973007"/>
              <a:gd name="connsiteX437" fmla="*/ 3131499 w 6884782"/>
              <a:gd name="connsiteY437" fmla="*/ 5721165 h 5973007"/>
              <a:gd name="connsiteX438" fmla="*/ 3131809 w 6884782"/>
              <a:gd name="connsiteY438" fmla="*/ 5719822 h 5973007"/>
              <a:gd name="connsiteX439" fmla="*/ 3130415 w 6884782"/>
              <a:gd name="connsiteY439" fmla="*/ 5719100 h 5973007"/>
              <a:gd name="connsiteX440" fmla="*/ 3126387 w 6884782"/>
              <a:gd name="connsiteY440" fmla="*/ 5716828 h 5973007"/>
              <a:gd name="connsiteX441" fmla="*/ 3130415 w 6884782"/>
              <a:gd name="connsiteY441" fmla="*/ 5712491 h 5973007"/>
              <a:gd name="connsiteX442" fmla="*/ 2980940 w 6884782"/>
              <a:gd name="connsiteY442" fmla="*/ 5709393 h 5973007"/>
              <a:gd name="connsiteX443" fmla="*/ 2980785 w 6884782"/>
              <a:gd name="connsiteY443" fmla="*/ 5714556 h 5973007"/>
              <a:gd name="connsiteX444" fmla="*/ 2978616 w 6884782"/>
              <a:gd name="connsiteY444" fmla="*/ 5716312 h 5973007"/>
              <a:gd name="connsiteX445" fmla="*/ 2975828 w 6884782"/>
              <a:gd name="connsiteY445" fmla="*/ 5714866 h 5973007"/>
              <a:gd name="connsiteX446" fmla="*/ 2974434 w 6884782"/>
              <a:gd name="connsiteY446" fmla="*/ 5711459 h 5973007"/>
              <a:gd name="connsiteX447" fmla="*/ 2980940 w 6884782"/>
              <a:gd name="connsiteY447" fmla="*/ 5709393 h 5973007"/>
              <a:gd name="connsiteX448" fmla="*/ 3202441 w 6884782"/>
              <a:gd name="connsiteY448" fmla="*/ 5708258 h 5973007"/>
              <a:gd name="connsiteX449" fmla="*/ 3200273 w 6884782"/>
              <a:gd name="connsiteY449" fmla="*/ 5718171 h 5973007"/>
              <a:gd name="connsiteX450" fmla="*/ 3194697 w 6884782"/>
              <a:gd name="connsiteY450" fmla="*/ 5715073 h 5973007"/>
              <a:gd name="connsiteX451" fmla="*/ 3202441 w 6884782"/>
              <a:gd name="connsiteY451" fmla="*/ 5708258 h 5973007"/>
              <a:gd name="connsiteX452" fmla="*/ 3249220 w 6884782"/>
              <a:gd name="connsiteY452" fmla="*/ 5707742 h 5973007"/>
              <a:gd name="connsiteX453" fmla="*/ 3256500 w 6884782"/>
              <a:gd name="connsiteY453" fmla="*/ 5709704 h 5973007"/>
              <a:gd name="connsiteX454" fmla="*/ 3255261 w 6884782"/>
              <a:gd name="connsiteY454" fmla="*/ 5714040 h 5973007"/>
              <a:gd name="connsiteX455" fmla="*/ 3243024 w 6884782"/>
              <a:gd name="connsiteY455" fmla="*/ 5718377 h 5973007"/>
              <a:gd name="connsiteX456" fmla="*/ 3244728 w 6884782"/>
              <a:gd name="connsiteY456" fmla="*/ 5710323 h 5973007"/>
              <a:gd name="connsiteX457" fmla="*/ 3249220 w 6884782"/>
              <a:gd name="connsiteY457" fmla="*/ 5707742 h 5973007"/>
              <a:gd name="connsiteX458" fmla="*/ 2961423 w 6884782"/>
              <a:gd name="connsiteY458" fmla="*/ 5705573 h 5973007"/>
              <a:gd name="connsiteX459" fmla="*/ 2962043 w 6884782"/>
              <a:gd name="connsiteY459" fmla="*/ 5707328 h 5973007"/>
              <a:gd name="connsiteX460" fmla="*/ 2960958 w 6884782"/>
              <a:gd name="connsiteY460" fmla="*/ 5710013 h 5973007"/>
              <a:gd name="connsiteX461" fmla="*/ 2957396 w 6884782"/>
              <a:gd name="connsiteY461" fmla="*/ 5710839 h 5973007"/>
              <a:gd name="connsiteX462" fmla="*/ 2956776 w 6884782"/>
              <a:gd name="connsiteY462" fmla="*/ 5709084 h 5973007"/>
              <a:gd name="connsiteX463" fmla="*/ 2956931 w 6884782"/>
              <a:gd name="connsiteY463" fmla="*/ 5706399 h 5973007"/>
              <a:gd name="connsiteX464" fmla="*/ 2961423 w 6884782"/>
              <a:gd name="connsiteY464" fmla="*/ 5705573 h 5973007"/>
              <a:gd name="connsiteX465" fmla="*/ 3273694 w 6884782"/>
              <a:gd name="connsiteY465" fmla="*/ 5702682 h 5973007"/>
              <a:gd name="connsiteX466" fmla="*/ 3275243 w 6884782"/>
              <a:gd name="connsiteY466" fmla="*/ 5710323 h 5973007"/>
              <a:gd name="connsiteX467" fmla="*/ 3273694 w 6884782"/>
              <a:gd name="connsiteY467" fmla="*/ 5702682 h 5973007"/>
              <a:gd name="connsiteX468" fmla="*/ 3466075 w 6884782"/>
              <a:gd name="connsiteY468" fmla="*/ 5701753 h 5973007"/>
              <a:gd name="connsiteX469" fmla="*/ 3464526 w 6884782"/>
              <a:gd name="connsiteY469" fmla="*/ 5707535 h 5973007"/>
              <a:gd name="connsiteX470" fmla="*/ 3458795 w 6884782"/>
              <a:gd name="connsiteY470" fmla="*/ 5719410 h 5973007"/>
              <a:gd name="connsiteX471" fmla="*/ 3456626 w 6884782"/>
              <a:gd name="connsiteY471" fmla="*/ 5720132 h 5973007"/>
              <a:gd name="connsiteX472" fmla="*/ 3456317 w 6884782"/>
              <a:gd name="connsiteY472" fmla="*/ 5720855 h 5973007"/>
              <a:gd name="connsiteX473" fmla="*/ 3455232 w 6884782"/>
              <a:gd name="connsiteY473" fmla="*/ 5721061 h 5973007"/>
              <a:gd name="connsiteX474" fmla="*/ 3454458 w 6884782"/>
              <a:gd name="connsiteY474" fmla="*/ 5720752 h 5973007"/>
              <a:gd name="connsiteX475" fmla="*/ 3455697 w 6884782"/>
              <a:gd name="connsiteY475" fmla="*/ 5715795 h 5973007"/>
              <a:gd name="connsiteX476" fmla="*/ 3457401 w 6884782"/>
              <a:gd name="connsiteY476" fmla="*/ 5711975 h 5973007"/>
              <a:gd name="connsiteX477" fmla="*/ 3466075 w 6884782"/>
              <a:gd name="connsiteY477" fmla="*/ 5701753 h 5973007"/>
              <a:gd name="connsiteX478" fmla="*/ 2873907 w 6884782"/>
              <a:gd name="connsiteY478" fmla="*/ 5700926 h 5973007"/>
              <a:gd name="connsiteX479" fmla="*/ 2874061 w 6884782"/>
              <a:gd name="connsiteY479" fmla="*/ 5714453 h 5973007"/>
              <a:gd name="connsiteX480" fmla="*/ 2866936 w 6884782"/>
              <a:gd name="connsiteY480" fmla="*/ 5701340 h 5973007"/>
              <a:gd name="connsiteX481" fmla="*/ 2873907 w 6884782"/>
              <a:gd name="connsiteY481" fmla="*/ 5700926 h 5973007"/>
              <a:gd name="connsiteX482" fmla="*/ 3370659 w 6884782"/>
              <a:gd name="connsiteY482" fmla="*/ 5697003 h 5973007"/>
              <a:gd name="connsiteX483" fmla="*/ 3378404 w 6884782"/>
              <a:gd name="connsiteY483" fmla="*/ 5698552 h 5973007"/>
              <a:gd name="connsiteX484" fmla="*/ 3380108 w 6884782"/>
              <a:gd name="connsiteY484" fmla="*/ 5707225 h 5973007"/>
              <a:gd name="connsiteX485" fmla="*/ 3370814 w 6884782"/>
              <a:gd name="connsiteY485" fmla="*/ 5701546 h 5973007"/>
              <a:gd name="connsiteX486" fmla="*/ 3370659 w 6884782"/>
              <a:gd name="connsiteY486" fmla="*/ 5697003 h 5973007"/>
              <a:gd name="connsiteX487" fmla="*/ 3277644 w 6884782"/>
              <a:gd name="connsiteY487" fmla="*/ 5694525 h 5973007"/>
              <a:gd name="connsiteX488" fmla="*/ 3282368 w 6884782"/>
              <a:gd name="connsiteY488" fmla="*/ 5694835 h 5973007"/>
              <a:gd name="connsiteX489" fmla="*/ 3276947 w 6884782"/>
              <a:gd name="connsiteY489" fmla="*/ 5701959 h 5973007"/>
              <a:gd name="connsiteX490" fmla="*/ 3275708 w 6884782"/>
              <a:gd name="connsiteY490" fmla="*/ 5698552 h 5973007"/>
              <a:gd name="connsiteX491" fmla="*/ 3277644 w 6884782"/>
              <a:gd name="connsiteY491" fmla="*/ 5694525 h 5973007"/>
              <a:gd name="connsiteX492" fmla="*/ 3558083 w 6884782"/>
              <a:gd name="connsiteY492" fmla="*/ 5692976 h 5973007"/>
              <a:gd name="connsiteX493" fmla="*/ 3557154 w 6884782"/>
              <a:gd name="connsiteY493" fmla="*/ 5699997 h 5973007"/>
              <a:gd name="connsiteX494" fmla="*/ 3538412 w 6884782"/>
              <a:gd name="connsiteY494" fmla="*/ 5715589 h 5973007"/>
              <a:gd name="connsiteX495" fmla="*/ 3535314 w 6884782"/>
              <a:gd name="connsiteY495" fmla="*/ 5711046 h 5973007"/>
              <a:gd name="connsiteX496" fmla="*/ 3536553 w 6884782"/>
              <a:gd name="connsiteY496" fmla="*/ 5704024 h 5973007"/>
              <a:gd name="connsiteX497" fmla="*/ 3558083 w 6884782"/>
              <a:gd name="connsiteY497" fmla="*/ 5692976 h 5973007"/>
              <a:gd name="connsiteX498" fmla="*/ 3002626 w 6884782"/>
              <a:gd name="connsiteY498" fmla="*/ 5692563 h 5973007"/>
              <a:gd name="connsiteX499" fmla="*/ 2994726 w 6884782"/>
              <a:gd name="connsiteY499" fmla="*/ 5715073 h 5973007"/>
              <a:gd name="connsiteX500" fmla="*/ 3002626 w 6884782"/>
              <a:gd name="connsiteY500" fmla="*/ 5692563 h 5973007"/>
              <a:gd name="connsiteX501" fmla="*/ 2935865 w 6884782"/>
              <a:gd name="connsiteY501" fmla="*/ 5692150 h 5973007"/>
              <a:gd name="connsiteX502" fmla="*/ 2936639 w 6884782"/>
              <a:gd name="connsiteY502" fmla="*/ 5692150 h 5973007"/>
              <a:gd name="connsiteX503" fmla="*/ 2934006 w 6884782"/>
              <a:gd name="connsiteY503" fmla="*/ 5702682 h 5973007"/>
              <a:gd name="connsiteX504" fmla="*/ 2932458 w 6884782"/>
              <a:gd name="connsiteY504" fmla="*/ 5703611 h 5973007"/>
              <a:gd name="connsiteX505" fmla="*/ 2930599 w 6884782"/>
              <a:gd name="connsiteY505" fmla="*/ 5702682 h 5973007"/>
              <a:gd name="connsiteX506" fmla="*/ 2929514 w 6884782"/>
              <a:gd name="connsiteY506" fmla="*/ 5701030 h 5973007"/>
              <a:gd name="connsiteX507" fmla="*/ 2931063 w 6884782"/>
              <a:gd name="connsiteY507" fmla="*/ 5698242 h 5973007"/>
              <a:gd name="connsiteX508" fmla="*/ 2934781 w 6884782"/>
              <a:gd name="connsiteY508" fmla="*/ 5694835 h 5973007"/>
              <a:gd name="connsiteX509" fmla="*/ 2935865 w 6884782"/>
              <a:gd name="connsiteY509" fmla="*/ 5692150 h 5973007"/>
              <a:gd name="connsiteX510" fmla="*/ 3167590 w 6884782"/>
              <a:gd name="connsiteY510" fmla="*/ 5691840 h 5973007"/>
              <a:gd name="connsiteX511" fmla="*/ 3152565 w 6884782"/>
              <a:gd name="connsiteY511" fmla="*/ 5712904 h 5973007"/>
              <a:gd name="connsiteX512" fmla="*/ 3167590 w 6884782"/>
              <a:gd name="connsiteY512" fmla="*/ 5691840 h 5973007"/>
              <a:gd name="connsiteX513" fmla="*/ 3296464 w 6884782"/>
              <a:gd name="connsiteY513" fmla="*/ 5688226 h 5973007"/>
              <a:gd name="connsiteX514" fmla="*/ 3307771 w 6884782"/>
              <a:gd name="connsiteY514" fmla="*/ 5699068 h 5973007"/>
              <a:gd name="connsiteX515" fmla="*/ 3305602 w 6884782"/>
              <a:gd name="connsiteY515" fmla="*/ 5704127 h 5973007"/>
              <a:gd name="connsiteX516" fmla="*/ 3296464 w 6884782"/>
              <a:gd name="connsiteY516" fmla="*/ 5688226 h 5973007"/>
              <a:gd name="connsiteX517" fmla="*/ 3178278 w 6884782"/>
              <a:gd name="connsiteY517" fmla="*/ 5686781 h 5973007"/>
              <a:gd name="connsiteX518" fmla="*/ 3186023 w 6884782"/>
              <a:gd name="connsiteY518" fmla="*/ 5686884 h 5973007"/>
              <a:gd name="connsiteX519" fmla="*/ 3186797 w 6884782"/>
              <a:gd name="connsiteY519" fmla="*/ 5688639 h 5973007"/>
              <a:gd name="connsiteX520" fmla="*/ 3187107 w 6884782"/>
              <a:gd name="connsiteY520" fmla="*/ 5693079 h 5973007"/>
              <a:gd name="connsiteX521" fmla="*/ 3184319 w 6884782"/>
              <a:gd name="connsiteY521" fmla="*/ 5694628 h 5973007"/>
              <a:gd name="connsiteX522" fmla="*/ 3181221 w 6884782"/>
              <a:gd name="connsiteY522" fmla="*/ 5692976 h 5973007"/>
              <a:gd name="connsiteX523" fmla="*/ 3179362 w 6884782"/>
              <a:gd name="connsiteY523" fmla="*/ 5689878 h 5973007"/>
              <a:gd name="connsiteX524" fmla="*/ 3178278 w 6884782"/>
              <a:gd name="connsiteY524" fmla="*/ 5686781 h 5973007"/>
              <a:gd name="connsiteX525" fmla="*/ 2959874 w 6884782"/>
              <a:gd name="connsiteY525" fmla="*/ 5685542 h 5973007"/>
              <a:gd name="connsiteX526" fmla="*/ 2960648 w 6884782"/>
              <a:gd name="connsiteY526" fmla="*/ 5687090 h 5973007"/>
              <a:gd name="connsiteX527" fmla="*/ 2961113 w 6884782"/>
              <a:gd name="connsiteY527" fmla="*/ 5689465 h 5973007"/>
              <a:gd name="connsiteX528" fmla="*/ 2962507 w 6884782"/>
              <a:gd name="connsiteY528" fmla="*/ 5690394 h 5973007"/>
              <a:gd name="connsiteX529" fmla="*/ 2961888 w 6884782"/>
              <a:gd name="connsiteY529" fmla="*/ 5697209 h 5973007"/>
              <a:gd name="connsiteX530" fmla="*/ 2960958 w 6884782"/>
              <a:gd name="connsiteY530" fmla="*/ 5695557 h 5973007"/>
              <a:gd name="connsiteX531" fmla="*/ 2960648 w 6884782"/>
              <a:gd name="connsiteY531" fmla="*/ 5693286 h 5973007"/>
              <a:gd name="connsiteX532" fmla="*/ 2960184 w 6884782"/>
              <a:gd name="connsiteY532" fmla="*/ 5690911 h 5973007"/>
              <a:gd name="connsiteX533" fmla="*/ 2959254 w 6884782"/>
              <a:gd name="connsiteY533" fmla="*/ 5689362 h 5973007"/>
              <a:gd name="connsiteX534" fmla="*/ 2959874 w 6884782"/>
              <a:gd name="connsiteY534" fmla="*/ 5685542 h 5973007"/>
              <a:gd name="connsiteX535" fmla="*/ 3468089 w 6884782"/>
              <a:gd name="connsiteY535" fmla="*/ 5684096 h 5973007"/>
              <a:gd name="connsiteX536" fmla="*/ 3471961 w 6884782"/>
              <a:gd name="connsiteY536" fmla="*/ 5698861 h 5973007"/>
              <a:gd name="connsiteX537" fmla="*/ 3469018 w 6884782"/>
              <a:gd name="connsiteY537" fmla="*/ 5699997 h 5973007"/>
              <a:gd name="connsiteX538" fmla="*/ 3466385 w 6884782"/>
              <a:gd name="connsiteY538" fmla="*/ 5699997 h 5973007"/>
              <a:gd name="connsiteX539" fmla="*/ 3460964 w 6884782"/>
              <a:gd name="connsiteY539" fmla="*/ 5687607 h 5973007"/>
              <a:gd name="connsiteX540" fmla="*/ 3468089 w 6884782"/>
              <a:gd name="connsiteY540" fmla="*/ 5684096 h 5973007"/>
              <a:gd name="connsiteX541" fmla="*/ 3479861 w 6884782"/>
              <a:gd name="connsiteY541" fmla="*/ 5682857 h 5973007"/>
              <a:gd name="connsiteX542" fmla="*/ 3487141 w 6884782"/>
              <a:gd name="connsiteY542" fmla="*/ 5691117 h 5973007"/>
              <a:gd name="connsiteX543" fmla="*/ 3479861 w 6884782"/>
              <a:gd name="connsiteY543" fmla="*/ 5682857 h 5973007"/>
              <a:gd name="connsiteX544" fmla="*/ 3274623 w 6884782"/>
              <a:gd name="connsiteY544" fmla="*/ 5682134 h 5973007"/>
              <a:gd name="connsiteX545" fmla="*/ 3264400 w 6884782"/>
              <a:gd name="connsiteY545" fmla="*/ 5694628 h 5973007"/>
              <a:gd name="connsiteX546" fmla="*/ 3274623 w 6884782"/>
              <a:gd name="connsiteY546" fmla="*/ 5682134 h 5973007"/>
              <a:gd name="connsiteX547" fmla="*/ 3245038 w 6884782"/>
              <a:gd name="connsiteY547" fmla="*/ 5681927 h 5973007"/>
              <a:gd name="connsiteX548" fmla="*/ 3251698 w 6884782"/>
              <a:gd name="connsiteY548" fmla="*/ 5695041 h 5973007"/>
              <a:gd name="connsiteX549" fmla="*/ 3247516 w 6884782"/>
              <a:gd name="connsiteY549" fmla="*/ 5698242 h 5973007"/>
              <a:gd name="connsiteX550" fmla="*/ 3238532 w 6884782"/>
              <a:gd name="connsiteY550" fmla="*/ 5686574 h 5973007"/>
              <a:gd name="connsiteX551" fmla="*/ 3245038 w 6884782"/>
              <a:gd name="connsiteY551" fmla="*/ 5681927 h 5973007"/>
              <a:gd name="connsiteX552" fmla="*/ 2922854 w 6884782"/>
              <a:gd name="connsiteY552" fmla="*/ 5680688 h 5973007"/>
              <a:gd name="connsiteX553" fmla="*/ 2923473 w 6884782"/>
              <a:gd name="connsiteY553" fmla="*/ 5682134 h 5973007"/>
              <a:gd name="connsiteX554" fmla="*/ 2926726 w 6884782"/>
              <a:gd name="connsiteY554" fmla="*/ 5682547 h 5973007"/>
              <a:gd name="connsiteX555" fmla="*/ 2931063 w 6884782"/>
              <a:gd name="connsiteY555" fmla="*/ 5680895 h 5973007"/>
              <a:gd name="connsiteX556" fmla="*/ 2925642 w 6884782"/>
              <a:gd name="connsiteY556" fmla="*/ 5684199 h 5973007"/>
              <a:gd name="connsiteX557" fmla="*/ 2925177 w 6884782"/>
              <a:gd name="connsiteY557" fmla="*/ 5685335 h 5973007"/>
              <a:gd name="connsiteX558" fmla="*/ 2925332 w 6884782"/>
              <a:gd name="connsiteY558" fmla="*/ 5685542 h 5973007"/>
              <a:gd name="connsiteX559" fmla="*/ 2925022 w 6884782"/>
              <a:gd name="connsiteY559" fmla="*/ 5685851 h 5973007"/>
              <a:gd name="connsiteX560" fmla="*/ 2924557 w 6884782"/>
              <a:gd name="connsiteY560" fmla="*/ 5686781 h 5973007"/>
              <a:gd name="connsiteX561" fmla="*/ 2924248 w 6884782"/>
              <a:gd name="connsiteY561" fmla="*/ 5686884 h 5973007"/>
              <a:gd name="connsiteX562" fmla="*/ 2923164 w 6884782"/>
              <a:gd name="connsiteY562" fmla="*/ 5688949 h 5973007"/>
              <a:gd name="connsiteX563" fmla="*/ 2921614 w 6884782"/>
              <a:gd name="connsiteY563" fmla="*/ 5692769 h 5973007"/>
              <a:gd name="connsiteX564" fmla="*/ 2919446 w 6884782"/>
              <a:gd name="connsiteY564" fmla="*/ 5693079 h 5973007"/>
              <a:gd name="connsiteX565" fmla="*/ 2918207 w 6884782"/>
              <a:gd name="connsiteY565" fmla="*/ 5690704 h 5973007"/>
              <a:gd name="connsiteX566" fmla="*/ 2918981 w 6884782"/>
              <a:gd name="connsiteY566" fmla="*/ 5687400 h 5973007"/>
              <a:gd name="connsiteX567" fmla="*/ 2918517 w 6884782"/>
              <a:gd name="connsiteY567" fmla="*/ 5686574 h 5973007"/>
              <a:gd name="connsiteX568" fmla="*/ 2919756 w 6884782"/>
              <a:gd name="connsiteY568" fmla="*/ 5684096 h 5973007"/>
              <a:gd name="connsiteX569" fmla="*/ 2920685 w 6884782"/>
              <a:gd name="connsiteY569" fmla="*/ 5683476 h 5973007"/>
              <a:gd name="connsiteX570" fmla="*/ 3260683 w 6884782"/>
              <a:gd name="connsiteY570" fmla="*/ 5678314 h 5973007"/>
              <a:gd name="connsiteX571" fmla="*/ 3265175 w 6884782"/>
              <a:gd name="connsiteY571" fmla="*/ 5685025 h 5973007"/>
              <a:gd name="connsiteX572" fmla="*/ 3263626 w 6884782"/>
              <a:gd name="connsiteY572" fmla="*/ 5687090 h 5973007"/>
              <a:gd name="connsiteX573" fmla="*/ 3258049 w 6884782"/>
              <a:gd name="connsiteY573" fmla="*/ 5684096 h 5973007"/>
              <a:gd name="connsiteX574" fmla="*/ 3257895 w 6884782"/>
              <a:gd name="connsiteY574" fmla="*/ 5681205 h 5973007"/>
              <a:gd name="connsiteX575" fmla="*/ 3260683 w 6884782"/>
              <a:gd name="connsiteY575" fmla="*/ 5678314 h 5973007"/>
              <a:gd name="connsiteX576" fmla="*/ 3454613 w 6884782"/>
              <a:gd name="connsiteY576" fmla="*/ 5676971 h 5973007"/>
              <a:gd name="connsiteX577" fmla="*/ 3451980 w 6884782"/>
              <a:gd name="connsiteY577" fmla="*/ 5697313 h 5973007"/>
              <a:gd name="connsiteX578" fmla="*/ 3435715 w 6884782"/>
              <a:gd name="connsiteY578" fmla="*/ 5712078 h 5973007"/>
              <a:gd name="connsiteX579" fmla="*/ 3436335 w 6884782"/>
              <a:gd name="connsiteY579" fmla="*/ 5702166 h 5973007"/>
              <a:gd name="connsiteX580" fmla="*/ 3438968 w 6884782"/>
              <a:gd name="connsiteY580" fmla="*/ 5695557 h 5973007"/>
              <a:gd name="connsiteX581" fmla="*/ 3440053 w 6884782"/>
              <a:gd name="connsiteY581" fmla="*/ 5693905 h 5973007"/>
              <a:gd name="connsiteX582" fmla="*/ 3440053 w 6884782"/>
              <a:gd name="connsiteY582" fmla="*/ 5693182 h 5973007"/>
              <a:gd name="connsiteX583" fmla="*/ 3444390 w 6884782"/>
              <a:gd name="connsiteY583" fmla="*/ 5686368 h 5973007"/>
              <a:gd name="connsiteX584" fmla="*/ 3454613 w 6884782"/>
              <a:gd name="connsiteY584" fmla="*/ 5676971 h 5973007"/>
              <a:gd name="connsiteX585" fmla="*/ 2846180 w 6884782"/>
              <a:gd name="connsiteY585" fmla="*/ 5676765 h 5973007"/>
              <a:gd name="connsiteX586" fmla="*/ 2857178 w 6884782"/>
              <a:gd name="connsiteY586" fmla="*/ 5682134 h 5973007"/>
              <a:gd name="connsiteX587" fmla="*/ 2854700 w 6884782"/>
              <a:gd name="connsiteY587" fmla="*/ 5682341 h 5973007"/>
              <a:gd name="connsiteX588" fmla="*/ 2846180 w 6884782"/>
              <a:gd name="connsiteY588" fmla="*/ 5676765 h 5973007"/>
              <a:gd name="connsiteX589" fmla="*/ 3497519 w 6884782"/>
              <a:gd name="connsiteY589" fmla="*/ 5675629 h 5973007"/>
              <a:gd name="connsiteX590" fmla="*/ 3506193 w 6884782"/>
              <a:gd name="connsiteY590" fmla="*/ 5686471 h 5973007"/>
              <a:gd name="connsiteX591" fmla="*/ 3501701 w 6884782"/>
              <a:gd name="connsiteY591" fmla="*/ 5689258 h 5973007"/>
              <a:gd name="connsiteX592" fmla="*/ 3492872 w 6884782"/>
              <a:gd name="connsiteY592" fmla="*/ 5680791 h 5973007"/>
              <a:gd name="connsiteX593" fmla="*/ 3497519 w 6884782"/>
              <a:gd name="connsiteY593" fmla="*/ 5675629 h 5973007"/>
              <a:gd name="connsiteX594" fmla="*/ 2990544 w 6884782"/>
              <a:gd name="connsiteY594" fmla="*/ 5675113 h 5973007"/>
              <a:gd name="connsiteX595" fmla="*/ 2991008 w 6884782"/>
              <a:gd name="connsiteY595" fmla="*/ 5677591 h 5973007"/>
              <a:gd name="connsiteX596" fmla="*/ 2992402 w 6884782"/>
              <a:gd name="connsiteY596" fmla="*/ 5678520 h 5973007"/>
              <a:gd name="connsiteX597" fmla="*/ 2991628 w 6884782"/>
              <a:gd name="connsiteY597" fmla="*/ 5681205 h 5973007"/>
              <a:gd name="connsiteX598" fmla="*/ 2990544 w 6884782"/>
              <a:gd name="connsiteY598" fmla="*/ 5675113 h 5973007"/>
              <a:gd name="connsiteX599" fmla="*/ 3426422 w 6884782"/>
              <a:gd name="connsiteY599" fmla="*/ 5674906 h 5973007"/>
              <a:gd name="connsiteX600" fmla="*/ 3440207 w 6884782"/>
              <a:gd name="connsiteY600" fmla="*/ 5687090 h 5973007"/>
              <a:gd name="connsiteX601" fmla="*/ 3440053 w 6884782"/>
              <a:gd name="connsiteY601" fmla="*/ 5693182 h 5973007"/>
              <a:gd name="connsiteX602" fmla="*/ 3439588 w 6884782"/>
              <a:gd name="connsiteY602" fmla="*/ 5694009 h 5973007"/>
              <a:gd name="connsiteX603" fmla="*/ 3438968 w 6884782"/>
              <a:gd name="connsiteY603" fmla="*/ 5695557 h 5973007"/>
              <a:gd name="connsiteX604" fmla="*/ 3435251 w 6884782"/>
              <a:gd name="connsiteY604" fmla="*/ 5701030 h 5973007"/>
              <a:gd name="connsiteX605" fmla="*/ 3422859 w 6884782"/>
              <a:gd name="connsiteY605" fmla="*/ 5682444 h 5973007"/>
              <a:gd name="connsiteX606" fmla="*/ 3426422 w 6884782"/>
              <a:gd name="connsiteY606" fmla="*/ 5674906 h 5973007"/>
              <a:gd name="connsiteX607" fmla="*/ 3183234 w 6884782"/>
              <a:gd name="connsiteY607" fmla="*/ 5673874 h 5973007"/>
              <a:gd name="connsiteX608" fmla="*/ 3185713 w 6884782"/>
              <a:gd name="connsiteY608" fmla="*/ 5674390 h 5973007"/>
              <a:gd name="connsiteX609" fmla="*/ 3182925 w 6884782"/>
              <a:gd name="connsiteY609" fmla="*/ 5675835 h 5973007"/>
              <a:gd name="connsiteX610" fmla="*/ 3182770 w 6884782"/>
              <a:gd name="connsiteY610" fmla="*/ 5674596 h 5973007"/>
              <a:gd name="connsiteX611" fmla="*/ 3182305 w 6884782"/>
              <a:gd name="connsiteY611" fmla="*/ 5675422 h 5973007"/>
              <a:gd name="connsiteX612" fmla="*/ 3182615 w 6884782"/>
              <a:gd name="connsiteY612" fmla="*/ 5674183 h 5973007"/>
              <a:gd name="connsiteX613" fmla="*/ 3183234 w 6884782"/>
              <a:gd name="connsiteY613" fmla="*/ 5673874 h 5973007"/>
              <a:gd name="connsiteX614" fmla="*/ 3562111 w 6884782"/>
              <a:gd name="connsiteY614" fmla="*/ 5672634 h 5973007"/>
              <a:gd name="connsiteX615" fmla="*/ 3570785 w 6884782"/>
              <a:gd name="connsiteY615" fmla="*/ 5678520 h 5973007"/>
              <a:gd name="connsiteX616" fmla="*/ 3568306 w 6884782"/>
              <a:gd name="connsiteY616" fmla="*/ 5687813 h 5973007"/>
              <a:gd name="connsiteX617" fmla="*/ 3569546 w 6884782"/>
              <a:gd name="connsiteY617" fmla="*/ 5689362 h 5973007"/>
              <a:gd name="connsiteX618" fmla="*/ 3569701 w 6884782"/>
              <a:gd name="connsiteY618" fmla="*/ 5693286 h 5973007"/>
              <a:gd name="connsiteX619" fmla="*/ 3567842 w 6884782"/>
              <a:gd name="connsiteY619" fmla="*/ 5693286 h 5973007"/>
              <a:gd name="connsiteX620" fmla="*/ 3566913 w 6884782"/>
              <a:gd name="connsiteY620" fmla="*/ 5688846 h 5973007"/>
              <a:gd name="connsiteX621" fmla="*/ 3566138 w 6884782"/>
              <a:gd name="connsiteY621" fmla="*/ 5688433 h 5973007"/>
              <a:gd name="connsiteX622" fmla="*/ 3563970 w 6884782"/>
              <a:gd name="connsiteY622" fmla="*/ 5689155 h 5973007"/>
              <a:gd name="connsiteX623" fmla="*/ 3556380 w 6884782"/>
              <a:gd name="connsiteY623" fmla="*/ 5684819 h 5973007"/>
              <a:gd name="connsiteX624" fmla="*/ 3557928 w 6884782"/>
              <a:gd name="connsiteY624" fmla="*/ 5675113 h 5973007"/>
              <a:gd name="connsiteX625" fmla="*/ 3562111 w 6884782"/>
              <a:gd name="connsiteY625" fmla="*/ 5672634 h 5973007"/>
              <a:gd name="connsiteX626" fmla="*/ 3189895 w 6884782"/>
              <a:gd name="connsiteY626" fmla="*/ 5672634 h 5973007"/>
              <a:gd name="connsiteX627" fmla="*/ 3192683 w 6884782"/>
              <a:gd name="connsiteY627" fmla="*/ 5674493 h 5973007"/>
              <a:gd name="connsiteX628" fmla="*/ 3188966 w 6884782"/>
              <a:gd name="connsiteY628" fmla="*/ 5675422 h 5973007"/>
              <a:gd name="connsiteX629" fmla="*/ 3185868 w 6884782"/>
              <a:gd name="connsiteY629" fmla="*/ 5674286 h 5973007"/>
              <a:gd name="connsiteX630" fmla="*/ 3189895 w 6884782"/>
              <a:gd name="connsiteY630" fmla="*/ 5672634 h 5973007"/>
              <a:gd name="connsiteX631" fmla="*/ 3040575 w 6884782"/>
              <a:gd name="connsiteY631" fmla="*/ 5672634 h 5973007"/>
              <a:gd name="connsiteX632" fmla="*/ 3046616 w 6884782"/>
              <a:gd name="connsiteY632" fmla="*/ 5673977 h 5973007"/>
              <a:gd name="connsiteX633" fmla="*/ 3047700 w 6884782"/>
              <a:gd name="connsiteY633" fmla="*/ 5676558 h 5973007"/>
              <a:gd name="connsiteX634" fmla="*/ 3047700 w 6884782"/>
              <a:gd name="connsiteY634" fmla="*/ 5681824 h 5973007"/>
              <a:gd name="connsiteX635" fmla="*/ 3048475 w 6884782"/>
              <a:gd name="connsiteY635" fmla="*/ 5681721 h 5973007"/>
              <a:gd name="connsiteX636" fmla="*/ 3043673 w 6884782"/>
              <a:gd name="connsiteY636" fmla="*/ 5682960 h 5973007"/>
              <a:gd name="connsiteX637" fmla="*/ 3040575 w 6884782"/>
              <a:gd name="connsiteY637" fmla="*/ 5672634 h 5973007"/>
              <a:gd name="connsiteX638" fmla="*/ 2718391 w 6884782"/>
              <a:gd name="connsiteY638" fmla="*/ 5671085 h 5973007"/>
              <a:gd name="connsiteX639" fmla="*/ 2732951 w 6884782"/>
              <a:gd name="connsiteY639" fmla="*/ 5676661 h 5973007"/>
              <a:gd name="connsiteX640" fmla="*/ 2732021 w 6884782"/>
              <a:gd name="connsiteY640" fmla="*/ 5678417 h 5973007"/>
              <a:gd name="connsiteX641" fmla="*/ 2729698 w 6884782"/>
              <a:gd name="connsiteY641" fmla="*/ 5678933 h 5973007"/>
              <a:gd name="connsiteX642" fmla="*/ 2722108 w 6884782"/>
              <a:gd name="connsiteY642" fmla="*/ 5676455 h 5973007"/>
              <a:gd name="connsiteX643" fmla="*/ 2720559 w 6884782"/>
              <a:gd name="connsiteY643" fmla="*/ 5675525 h 5973007"/>
              <a:gd name="connsiteX644" fmla="*/ 2718855 w 6884782"/>
              <a:gd name="connsiteY644" fmla="*/ 5674596 h 5973007"/>
              <a:gd name="connsiteX645" fmla="*/ 2717926 w 6884782"/>
              <a:gd name="connsiteY645" fmla="*/ 5673151 h 5973007"/>
              <a:gd name="connsiteX646" fmla="*/ 2718391 w 6884782"/>
              <a:gd name="connsiteY646" fmla="*/ 5671085 h 5973007"/>
              <a:gd name="connsiteX647" fmla="*/ 2828212 w 6884782"/>
              <a:gd name="connsiteY647" fmla="*/ 5670569 h 5973007"/>
              <a:gd name="connsiteX648" fmla="*/ 2829606 w 6884782"/>
              <a:gd name="connsiteY648" fmla="*/ 5673977 h 5973007"/>
              <a:gd name="connsiteX649" fmla="*/ 2824340 w 6884782"/>
              <a:gd name="connsiteY649" fmla="*/ 5675732 h 5973007"/>
              <a:gd name="connsiteX650" fmla="*/ 2823101 w 6884782"/>
              <a:gd name="connsiteY650" fmla="*/ 5672221 h 5973007"/>
              <a:gd name="connsiteX651" fmla="*/ 2828212 w 6884782"/>
              <a:gd name="connsiteY651" fmla="*/ 5670569 h 5973007"/>
              <a:gd name="connsiteX652" fmla="*/ 3389711 w 6884782"/>
              <a:gd name="connsiteY652" fmla="*/ 5670259 h 5973007"/>
              <a:gd name="connsiteX653" fmla="*/ 3388317 w 6884782"/>
              <a:gd name="connsiteY653" fmla="*/ 5682650 h 5973007"/>
              <a:gd name="connsiteX654" fmla="*/ 3383515 w 6884782"/>
              <a:gd name="connsiteY654" fmla="*/ 5681101 h 5973007"/>
              <a:gd name="connsiteX655" fmla="*/ 3389711 w 6884782"/>
              <a:gd name="connsiteY655" fmla="*/ 5670259 h 5973007"/>
              <a:gd name="connsiteX656" fmla="*/ 3226915 w 6884782"/>
              <a:gd name="connsiteY656" fmla="*/ 5668711 h 5973007"/>
              <a:gd name="connsiteX657" fmla="*/ 3229703 w 6884782"/>
              <a:gd name="connsiteY657" fmla="*/ 5670569 h 5973007"/>
              <a:gd name="connsiteX658" fmla="*/ 3228929 w 6884782"/>
              <a:gd name="connsiteY658" fmla="*/ 5673254 h 5973007"/>
              <a:gd name="connsiteX659" fmla="*/ 3227380 w 6884782"/>
              <a:gd name="connsiteY659" fmla="*/ 5671085 h 5973007"/>
              <a:gd name="connsiteX660" fmla="*/ 3226915 w 6884782"/>
              <a:gd name="connsiteY660" fmla="*/ 5668711 h 5973007"/>
              <a:gd name="connsiteX661" fmla="*/ 3224902 w 6884782"/>
              <a:gd name="connsiteY661" fmla="*/ 5667472 h 5973007"/>
              <a:gd name="connsiteX662" fmla="*/ 3226451 w 6884782"/>
              <a:gd name="connsiteY662" fmla="*/ 5668298 h 5973007"/>
              <a:gd name="connsiteX663" fmla="*/ 3225986 w 6884782"/>
              <a:gd name="connsiteY663" fmla="*/ 5669020 h 5973007"/>
              <a:gd name="connsiteX664" fmla="*/ 3225056 w 6884782"/>
              <a:gd name="connsiteY664" fmla="*/ 5668298 h 5973007"/>
              <a:gd name="connsiteX665" fmla="*/ 3224902 w 6884782"/>
              <a:gd name="connsiteY665" fmla="*/ 5667472 h 5973007"/>
              <a:gd name="connsiteX666" fmla="*/ 2968083 w 6884782"/>
              <a:gd name="connsiteY666" fmla="*/ 5666232 h 5973007"/>
              <a:gd name="connsiteX667" fmla="*/ 2971026 w 6884782"/>
              <a:gd name="connsiteY667" fmla="*/ 5671602 h 5973007"/>
              <a:gd name="connsiteX668" fmla="*/ 2965295 w 6884782"/>
              <a:gd name="connsiteY668" fmla="*/ 5678314 h 5973007"/>
              <a:gd name="connsiteX669" fmla="*/ 2962197 w 6884782"/>
              <a:gd name="connsiteY669" fmla="*/ 5678314 h 5973007"/>
              <a:gd name="connsiteX670" fmla="*/ 2959100 w 6884782"/>
              <a:gd name="connsiteY670" fmla="*/ 5675216 h 5973007"/>
              <a:gd name="connsiteX671" fmla="*/ 2968083 w 6884782"/>
              <a:gd name="connsiteY671" fmla="*/ 5666232 h 5973007"/>
              <a:gd name="connsiteX672" fmla="*/ 2877314 w 6884782"/>
              <a:gd name="connsiteY672" fmla="*/ 5665923 h 5973007"/>
              <a:gd name="connsiteX673" fmla="*/ 2877624 w 6884782"/>
              <a:gd name="connsiteY673" fmla="*/ 5666232 h 5973007"/>
              <a:gd name="connsiteX674" fmla="*/ 2885989 w 6884782"/>
              <a:gd name="connsiteY674" fmla="*/ 5670569 h 5973007"/>
              <a:gd name="connsiteX675" fmla="*/ 2887228 w 6884782"/>
              <a:gd name="connsiteY675" fmla="*/ 5675939 h 5973007"/>
              <a:gd name="connsiteX676" fmla="*/ 2884594 w 6884782"/>
              <a:gd name="connsiteY676" fmla="*/ 5676765 h 5973007"/>
              <a:gd name="connsiteX677" fmla="*/ 2880877 w 6884782"/>
              <a:gd name="connsiteY677" fmla="*/ 5674493 h 5973007"/>
              <a:gd name="connsiteX678" fmla="*/ 2880877 w 6884782"/>
              <a:gd name="connsiteY678" fmla="*/ 5676352 h 5973007"/>
              <a:gd name="connsiteX679" fmla="*/ 2878708 w 6884782"/>
              <a:gd name="connsiteY679" fmla="*/ 5680482 h 5973007"/>
              <a:gd name="connsiteX680" fmla="*/ 2872667 w 6884782"/>
              <a:gd name="connsiteY680" fmla="*/ 5676558 h 5973007"/>
              <a:gd name="connsiteX681" fmla="*/ 2872822 w 6884782"/>
              <a:gd name="connsiteY681" fmla="*/ 5667162 h 5973007"/>
              <a:gd name="connsiteX682" fmla="*/ 2877314 w 6884782"/>
              <a:gd name="connsiteY682" fmla="*/ 5665923 h 5973007"/>
              <a:gd name="connsiteX683" fmla="*/ 2985277 w 6884782"/>
              <a:gd name="connsiteY683" fmla="*/ 5665510 h 5973007"/>
              <a:gd name="connsiteX684" fmla="*/ 2987755 w 6884782"/>
              <a:gd name="connsiteY684" fmla="*/ 5666026 h 5973007"/>
              <a:gd name="connsiteX685" fmla="*/ 2987755 w 6884782"/>
              <a:gd name="connsiteY685" fmla="*/ 5669227 h 5973007"/>
              <a:gd name="connsiteX686" fmla="*/ 2989924 w 6884782"/>
              <a:gd name="connsiteY686" fmla="*/ 5671602 h 5973007"/>
              <a:gd name="connsiteX687" fmla="*/ 2989924 w 6884782"/>
              <a:gd name="connsiteY687" fmla="*/ 5674803 h 5973007"/>
              <a:gd name="connsiteX688" fmla="*/ 2988840 w 6884782"/>
              <a:gd name="connsiteY688" fmla="*/ 5674906 h 5973007"/>
              <a:gd name="connsiteX689" fmla="*/ 2989149 w 6884782"/>
              <a:gd name="connsiteY689" fmla="*/ 5674390 h 5973007"/>
              <a:gd name="connsiteX690" fmla="*/ 2988840 w 6884782"/>
              <a:gd name="connsiteY690" fmla="*/ 5671912 h 5973007"/>
              <a:gd name="connsiteX691" fmla="*/ 2984967 w 6884782"/>
              <a:gd name="connsiteY691" fmla="*/ 5667472 h 5973007"/>
              <a:gd name="connsiteX692" fmla="*/ 2985277 w 6884782"/>
              <a:gd name="connsiteY692" fmla="*/ 5665510 h 5973007"/>
              <a:gd name="connsiteX693" fmla="*/ 2925952 w 6884782"/>
              <a:gd name="connsiteY693" fmla="*/ 5665510 h 5973007"/>
              <a:gd name="connsiteX694" fmla="*/ 2929514 w 6884782"/>
              <a:gd name="connsiteY694" fmla="*/ 5672324 h 5973007"/>
              <a:gd name="connsiteX695" fmla="*/ 2927965 w 6884782"/>
              <a:gd name="connsiteY695" fmla="*/ 5673357 h 5973007"/>
              <a:gd name="connsiteX696" fmla="*/ 2925952 w 6884782"/>
              <a:gd name="connsiteY696" fmla="*/ 5673977 h 5973007"/>
              <a:gd name="connsiteX697" fmla="*/ 2923938 w 6884782"/>
              <a:gd name="connsiteY697" fmla="*/ 5673977 h 5973007"/>
              <a:gd name="connsiteX698" fmla="*/ 2921150 w 6884782"/>
              <a:gd name="connsiteY698" fmla="*/ 5672841 h 5973007"/>
              <a:gd name="connsiteX699" fmla="*/ 2919136 w 6884782"/>
              <a:gd name="connsiteY699" fmla="*/ 5669434 h 5973007"/>
              <a:gd name="connsiteX700" fmla="*/ 2918826 w 6884782"/>
              <a:gd name="connsiteY700" fmla="*/ 5667678 h 5973007"/>
              <a:gd name="connsiteX701" fmla="*/ 2925952 w 6884782"/>
              <a:gd name="connsiteY701" fmla="*/ 5665510 h 5973007"/>
              <a:gd name="connsiteX702" fmla="*/ 3222578 w 6884782"/>
              <a:gd name="connsiteY702" fmla="*/ 5664993 h 5973007"/>
              <a:gd name="connsiteX703" fmla="*/ 3222423 w 6884782"/>
              <a:gd name="connsiteY703" fmla="*/ 5666852 h 5973007"/>
              <a:gd name="connsiteX704" fmla="*/ 3221494 w 6884782"/>
              <a:gd name="connsiteY704" fmla="*/ 5665200 h 5973007"/>
              <a:gd name="connsiteX705" fmla="*/ 3222578 w 6884782"/>
              <a:gd name="connsiteY705" fmla="*/ 5664993 h 5973007"/>
              <a:gd name="connsiteX706" fmla="*/ 3081158 w 6884782"/>
              <a:gd name="connsiteY706" fmla="*/ 5663651 h 5973007"/>
              <a:gd name="connsiteX707" fmla="*/ 3103772 w 6884782"/>
              <a:gd name="connsiteY707" fmla="*/ 5672841 h 5973007"/>
              <a:gd name="connsiteX708" fmla="*/ 3108265 w 6884782"/>
              <a:gd name="connsiteY708" fmla="*/ 5678830 h 5973007"/>
              <a:gd name="connsiteX709" fmla="*/ 3092001 w 6884782"/>
              <a:gd name="connsiteY709" fmla="*/ 5676971 h 5973007"/>
              <a:gd name="connsiteX710" fmla="*/ 3085495 w 6884782"/>
              <a:gd name="connsiteY710" fmla="*/ 5692666 h 5973007"/>
              <a:gd name="connsiteX711" fmla="*/ 3083481 w 6884782"/>
              <a:gd name="connsiteY711" fmla="*/ 5688742 h 5973007"/>
              <a:gd name="connsiteX712" fmla="*/ 3085495 w 6884782"/>
              <a:gd name="connsiteY712" fmla="*/ 5672944 h 5973007"/>
              <a:gd name="connsiteX713" fmla="*/ 3081158 w 6884782"/>
              <a:gd name="connsiteY713" fmla="*/ 5663651 h 5973007"/>
              <a:gd name="connsiteX714" fmla="*/ 3114616 w 6884782"/>
              <a:gd name="connsiteY714" fmla="*/ 5663032 h 5973007"/>
              <a:gd name="connsiteX715" fmla="*/ 3120192 w 6884782"/>
              <a:gd name="connsiteY715" fmla="*/ 5667575 h 5973007"/>
              <a:gd name="connsiteX716" fmla="*/ 3116009 w 6884782"/>
              <a:gd name="connsiteY716" fmla="*/ 5666749 h 5973007"/>
              <a:gd name="connsiteX717" fmla="*/ 3114616 w 6884782"/>
              <a:gd name="connsiteY717" fmla="*/ 5663032 h 5973007"/>
              <a:gd name="connsiteX718" fmla="*/ 3014707 w 6884782"/>
              <a:gd name="connsiteY718" fmla="*/ 5662928 h 5973007"/>
              <a:gd name="connsiteX719" fmla="*/ 3022607 w 6884782"/>
              <a:gd name="connsiteY719" fmla="*/ 5665097 h 5973007"/>
              <a:gd name="connsiteX720" fmla="*/ 3012848 w 6884782"/>
              <a:gd name="connsiteY720" fmla="*/ 5681205 h 5973007"/>
              <a:gd name="connsiteX721" fmla="*/ 3010835 w 6884782"/>
              <a:gd name="connsiteY721" fmla="*/ 5677281 h 5973007"/>
              <a:gd name="connsiteX722" fmla="*/ 3014707 w 6884782"/>
              <a:gd name="connsiteY722" fmla="*/ 5662928 h 5973007"/>
              <a:gd name="connsiteX723" fmla="*/ 2926261 w 6884782"/>
              <a:gd name="connsiteY723" fmla="*/ 5662515 h 5973007"/>
              <a:gd name="connsiteX724" fmla="*/ 2927811 w 6884782"/>
              <a:gd name="connsiteY724" fmla="*/ 5662515 h 5973007"/>
              <a:gd name="connsiteX725" fmla="*/ 2927036 w 6884782"/>
              <a:gd name="connsiteY725" fmla="*/ 5663238 h 5973007"/>
              <a:gd name="connsiteX726" fmla="*/ 2926261 w 6884782"/>
              <a:gd name="connsiteY726" fmla="*/ 5662515 h 5973007"/>
              <a:gd name="connsiteX727" fmla="*/ 2995190 w 6884782"/>
              <a:gd name="connsiteY727" fmla="*/ 5662412 h 5973007"/>
              <a:gd name="connsiteX728" fmla="*/ 3002315 w 6884782"/>
              <a:gd name="connsiteY728" fmla="*/ 5689878 h 5973007"/>
              <a:gd name="connsiteX729" fmla="*/ 2995190 w 6884782"/>
              <a:gd name="connsiteY729" fmla="*/ 5662412 h 5973007"/>
              <a:gd name="connsiteX730" fmla="*/ 2928895 w 6884782"/>
              <a:gd name="connsiteY730" fmla="*/ 5661999 h 5973007"/>
              <a:gd name="connsiteX731" fmla="*/ 2930134 w 6884782"/>
              <a:gd name="connsiteY731" fmla="*/ 5665303 h 5973007"/>
              <a:gd name="connsiteX732" fmla="*/ 2928895 w 6884782"/>
              <a:gd name="connsiteY732" fmla="*/ 5665923 h 5973007"/>
              <a:gd name="connsiteX733" fmla="*/ 2926726 w 6884782"/>
              <a:gd name="connsiteY733" fmla="*/ 5664684 h 5973007"/>
              <a:gd name="connsiteX734" fmla="*/ 2937569 w 6884782"/>
              <a:gd name="connsiteY734" fmla="*/ 5657869 h 5973007"/>
              <a:gd name="connsiteX735" fmla="*/ 2939428 w 6884782"/>
              <a:gd name="connsiteY735" fmla="*/ 5659521 h 5973007"/>
              <a:gd name="connsiteX736" fmla="*/ 2940202 w 6884782"/>
              <a:gd name="connsiteY736" fmla="*/ 5664580 h 5973007"/>
              <a:gd name="connsiteX737" fmla="*/ 2938653 w 6884782"/>
              <a:gd name="connsiteY737" fmla="*/ 5665613 h 5973007"/>
              <a:gd name="connsiteX738" fmla="*/ 2936020 w 6884782"/>
              <a:gd name="connsiteY738" fmla="*/ 5658901 h 5973007"/>
              <a:gd name="connsiteX739" fmla="*/ 2937569 w 6884782"/>
              <a:gd name="connsiteY739" fmla="*/ 5657869 h 5973007"/>
              <a:gd name="connsiteX740" fmla="*/ 2803468 w 6884782"/>
              <a:gd name="connsiteY740" fmla="*/ 5657249 h 5973007"/>
              <a:gd name="connsiteX741" fmla="*/ 2808695 w 6884782"/>
              <a:gd name="connsiteY741" fmla="*/ 5660553 h 5973007"/>
              <a:gd name="connsiteX742" fmla="*/ 2802964 w 6884782"/>
              <a:gd name="connsiteY742" fmla="*/ 5666852 h 5973007"/>
              <a:gd name="connsiteX743" fmla="*/ 2796768 w 6884782"/>
              <a:gd name="connsiteY743" fmla="*/ 5664271 h 5973007"/>
              <a:gd name="connsiteX744" fmla="*/ 2796149 w 6884782"/>
              <a:gd name="connsiteY744" fmla="*/ 5659211 h 5973007"/>
              <a:gd name="connsiteX745" fmla="*/ 2803468 w 6884782"/>
              <a:gd name="connsiteY745" fmla="*/ 5657249 h 5973007"/>
              <a:gd name="connsiteX746" fmla="*/ 3406750 w 6884782"/>
              <a:gd name="connsiteY746" fmla="*/ 5656423 h 5973007"/>
              <a:gd name="connsiteX747" fmla="*/ 3410467 w 6884782"/>
              <a:gd name="connsiteY747" fmla="*/ 5656630 h 5973007"/>
              <a:gd name="connsiteX748" fmla="*/ 3409848 w 6884782"/>
              <a:gd name="connsiteY748" fmla="*/ 5661999 h 5973007"/>
              <a:gd name="connsiteX749" fmla="*/ 3406130 w 6884782"/>
              <a:gd name="connsiteY749" fmla="*/ 5661792 h 5973007"/>
              <a:gd name="connsiteX750" fmla="*/ 3406750 w 6884782"/>
              <a:gd name="connsiteY750" fmla="*/ 5656423 h 5973007"/>
              <a:gd name="connsiteX751" fmla="*/ 3008821 w 6884782"/>
              <a:gd name="connsiteY751" fmla="*/ 5655804 h 5973007"/>
              <a:gd name="connsiteX752" fmla="*/ 3012384 w 6884782"/>
              <a:gd name="connsiteY752" fmla="*/ 5663032 h 5973007"/>
              <a:gd name="connsiteX753" fmla="*/ 3007117 w 6884782"/>
              <a:gd name="connsiteY753" fmla="*/ 5670673 h 5973007"/>
              <a:gd name="connsiteX754" fmla="*/ 3005259 w 6884782"/>
              <a:gd name="connsiteY754" fmla="*/ 5666646 h 5973007"/>
              <a:gd name="connsiteX755" fmla="*/ 3008821 w 6884782"/>
              <a:gd name="connsiteY755" fmla="*/ 5655804 h 5973007"/>
              <a:gd name="connsiteX756" fmla="*/ 2881806 w 6884782"/>
              <a:gd name="connsiteY756" fmla="*/ 5655184 h 5973007"/>
              <a:gd name="connsiteX757" fmla="*/ 2889861 w 6884782"/>
              <a:gd name="connsiteY757" fmla="*/ 5664477 h 5973007"/>
              <a:gd name="connsiteX758" fmla="*/ 2888002 w 6884782"/>
              <a:gd name="connsiteY758" fmla="*/ 5668194 h 5973007"/>
              <a:gd name="connsiteX759" fmla="*/ 2880258 w 6884782"/>
              <a:gd name="connsiteY759" fmla="*/ 5661586 h 5973007"/>
              <a:gd name="connsiteX760" fmla="*/ 2879328 w 6884782"/>
              <a:gd name="connsiteY760" fmla="*/ 5658591 h 5973007"/>
              <a:gd name="connsiteX761" fmla="*/ 2881806 w 6884782"/>
              <a:gd name="connsiteY761" fmla="*/ 5655184 h 5973007"/>
              <a:gd name="connsiteX762" fmla="*/ 3300781 w 6884782"/>
              <a:gd name="connsiteY762" fmla="*/ 5655068 h 5973007"/>
              <a:gd name="connsiteX763" fmla="*/ 3307461 w 6884782"/>
              <a:gd name="connsiteY763" fmla="*/ 5659314 h 5973007"/>
              <a:gd name="connsiteX764" fmla="*/ 3301420 w 6884782"/>
              <a:gd name="connsiteY764" fmla="*/ 5668711 h 5973007"/>
              <a:gd name="connsiteX765" fmla="*/ 3294450 w 6884782"/>
              <a:gd name="connsiteY765" fmla="*/ 5658179 h 5973007"/>
              <a:gd name="connsiteX766" fmla="*/ 3300781 w 6884782"/>
              <a:gd name="connsiteY766" fmla="*/ 5655068 h 5973007"/>
              <a:gd name="connsiteX767" fmla="*/ 3707520 w 6884782"/>
              <a:gd name="connsiteY767" fmla="*/ 5654603 h 5973007"/>
              <a:gd name="connsiteX768" fmla="*/ 3717627 w 6884782"/>
              <a:gd name="connsiteY768" fmla="*/ 5655081 h 5973007"/>
              <a:gd name="connsiteX769" fmla="*/ 3720725 w 6884782"/>
              <a:gd name="connsiteY769" fmla="*/ 5661792 h 5973007"/>
              <a:gd name="connsiteX770" fmla="*/ 3703066 w 6884782"/>
              <a:gd name="connsiteY770" fmla="*/ 5666129 h 5973007"/>
              <a:gd name="connsiteX771" fmla="*/ 3692998 w 6884782"/>
              <a:gd name="connsiteY771" fmla="*/ 5656526 h 5973007"/>
              <a:gd name="connsiteX772" fmla="*/ 3707520 w 6884782"/>
              <a:gd name="connsiteY772" fmla="*/ 5654603 h 5973007"/>
              <a:gd name="connsiteX773" fmla="*/ 3028435 w 6884782"/>
              <a:gd name="connsiteY773" fmla="*/ 5653971 h 5973007"/>
              <a:gd name="connsiteX774" fmla="*/ 3034534 w 6884782"/>
              <a:gd name="connsiteY774" fmla="*/ 5655597 h 5973007"/>
              <a:gd name="connsiteX775" fmla="*/ 3028958 w 6884782"/>
              <a:gd name="connsiteY775" fmla="*/ 5660553 h 5973007"/>
              <a:gd name="connsiteX776" fmla="*/ 3028435 w 6884782"/>
              <a:gd name="connsiteY776" fmla="*/ 5653971 h 5973007"/>
              <a:gd name="connsiteX777" fmla="*/ 3345256 w 6884782"/>
              <a:gd name="connsiteY777" fmla="*/ 5653842 h 5973007"/>
              <a:gd name="connsiteX778" fmla="*/ 3347734 w 6884782"/>
              <a:gd name="connsiteY778" fmla="*/ 5657146 h 5973007"/>
              <a:gd name="connsiteX779" fmla="*/ 3345566 w 6884782"/>
              <a:gd name="connsiteY779" fmla="*/ 5664580 h 5973007"/>
              <a:gd name="connsiteX780" fmla="*/ 3336891 w 6884782"/>
              <a:gd name="connsiteY780" fmla="*/ 5662309 h 5973007"/>
              <a:gd name="connsiteX781" fmla="*/ 3345256 w 6884782"/>
              <a:gd name="connsiteY781" fmla="*/ 5653842 h 5973007"/>
              <a:gd name="connsiteX782" fmla="*/ 3051263 w 6884782"/>
              <a:gd name="connsiteY782" fmla="*/ 5653842 h 5973007"/>
              <a:gd name="connsiteX783" fmla="*/ 3061950 w 6884782"/>
              <a:gd name="connsiteY783" fmla="*/ 5657559 h 5973007"/>
              <a:gd name="connsiteX784" fmla="*/ 3067682 w 6884782"/>
              <a:gd name="connsiteY784" fmla="*/ 5669020 h 5973007"/>
              <a:gd name="connsiteX785" fmla="*/ 3066597 w 6884782"/>
              <a:gd name="connsiteY785" fmla="*/ 5671705 h 5973007"/>
              <a:gd name="connsiteX786" fmla="*/ 3068611 w 6884782"/>
              <a:gd name="connsiteY786" fmla="*/ 5673460 h 5973007"/>
              <a:gd name="connsiteX787" fmla="*/ 3066752 w 6884782"/>
              <a:gd name="connsiteY787" fmla="*/ 5686264 h 5973007"/>
              <a:gd name="connsiteX788" fmla="*/ 3059008 w 6884782"/>
              <a:gd name="connsiteY788" fmla="*/ 5687813 h 5973007"/>
              <a:gd name="connsiteX789" fmla="*/ 3055910 w 6884782"/>
              <a:gd name="connsiteY789" fmla="*/ 5686677 h 5973007"/>
              <a:gd name="connsiteX790" fmla="*/ 3059937 w 6884782"/>
              <a:gd name="connsiteY790" fmla="*/ 5678210 h 5973007"/>
              <a:gd name="connsiteX791" fmla="*/ 3060712 w 6884782"/>
              <a:gd name="connsiteY791" fmla="*/ 5675939 h 5973007"/>
              <a:gd name="connsiteX792" fmla="*/ 3058078 w 6884782"/>
              <a:gd name="connsiteY792" fmla="*/ 5676558 h 5973007"/>
              <a:gd name="connsiteX793" fmla="*/ 3052502 w 6884782"/>
              <a:gd name="connsiteY793" fmla="*/ 5674700 h 5973007"/>
              <a:gd name="connsiteX794" fmla="*/ 3048629 w 6884782"/>
              <a:gd name="connsiteY794" fmla="*/ 5659211 h 5973007"/>
              <a:gd name="connsiteX795" fmla="*/ 3050024 w 6884782"/>
              <a:gd name="connsiteY795" fmla="*/ 5657456 h 5973007"/>
              <a:gd name="connsiteX796" fmla="*/ 3051263 w 6884782"/>
              <a:gd name="connsiteY796" fmla="*/ 5653842 h 5973007"/>
              <a:gd name="connsiteX797" fmla="*/ 3171617 w 6884782"/>
              <a:gd name="connsiteY797" fmla="*/ 5653325 h 5973007"/>
              <a:gd name="connsiteX798" fmla="*/ 3171152 w 6884782"/>
              <a:gd name="connsiteY798" fmla="*/ 5664167 h 5973007"/>
              <a:gd name="connsiteX799" fmla="*/ 3165886 w 6884782"/>
              <a:gd name="connsiteY799" fmla="*/ 5663857 h 5973007"/>
              <a:gd name="connsiteX800" fmla="*/ 3168055 w 6884782"/>
              <a:gd name="connsiteY800" fmla="*/ 5653429 h 5973007"/>
              <a:gd name="connsiteX801" fmla="*/ 3171617 w 6884782"/>
              <a:gd name="connsiteY801" fmla="*/ 5653325 h 5973007"/>
              <a:gd name="connsiteX802" fmla="*/ 2743794 w 6884782"/>
              <a:gd name="connsiteY802" fmla="*/ 5652499 h 5973007"/>
              <a:gd name="connsiteX803" fmla="*/ 2745342 w 6884782"/>
              <a:gd name="connsiteY803" fmla="*/ 5653325 h 5973007"/>
              <a:gd name="connsiteX804" fmla="*/ 2746892 w 6884782"/>
              <a:gd name="connsiteY804" fmla="*/ 5653429 h 5973007"/>
              <a:gd name="connsiteX805" fmla="*/ 2746892 w 6884782"/>
              <a:gd name="connsiteY805" fmla="*/ 5654255 h 5973007"/>
              <a:gd name="connsiteX806" fmla="*/ 2747666 w 6884782"/>
              <a:gd name="connsiteY806" fmla="*/ 5655184 h 5973007"/>
              <a:gd name="connsiteX807" fmla="*/ 2745652 w 6884782"/>
              <a:gd name="connsiteY807" fmla="*/ 5658695 h 5973007"/>
              <a:gd name="connsiteX808" fmla="*/ 2743794 w 6884782"/>
              <a:gd name="connsiteY808" fmla="*/ 5659727 h 5973007"/>
              <a:gd name="connsiteX809" fmla="*/ 2742245 w 6884782"/>
              <a:gd name="connsiteY809" fmla="*/ 5659521 h 5973007"/>
              <a:gd name="connsiteX810" fmla="*/ 2741470 w 6884782"/>
              <a:gd name="connsiteY810" fmla="*/ 5657662 h 5973007"/>
              <a:gd name="connsiteX811" fmla="*/ 2741935 w 6884782"/>
              <a:gd name="connsiteY811" fmla="*/ 5654255 h 5973007"/>
              <a:gd name="connsiteX812" fmla="*/ 2743794 w 6884782"/>
              <a:gd name="connsiteY812" fmla="*/ 5652499 h 5973007"/>
              <a:gd name="connsiteX813" fmla="*/ 3186023 w 6884782"/>
              <a:gd name="connsiteY813" fmla="*/ 5652189 h 5973007"/>
              <a:gd name="connsiteX814" fmla="*/ 3194387 w 6884782"/>
              <a:gd name="connsiteY814" fmla="*/ 5653325 h 5973007"/>
              <a:gd name="connsiteX815" fmla="*/ 3191444 w 6884782"/>
              <a:gd name="connsiteY815" fmla="*/ 5662618 h 5973007"/>
              <a:gd name="connsiteX816" fmla="*/ 3186023 w 6884782"/>
              <a:gd name="connsiteY816" fmla="*/ 5652189 h 5973007"/>
              <a:gd name="connsiteX817" fmla="*/ 3365547 w 6884782"/>
              <a:gd name="connsiteY817" fmla="*/ 5652086 h 5973007"/>
              <a:gd name="connsiteX818" fmla="*/ 3370039 w 6884782"/>
              <a:gd name="connsiteY818" fmla="*/ 5654461 h 5973007"/>
              <a:gd name="connsiteX819" fmla="*/ 3373137 w 6884782"/>
              <a:gd name="connsiteY819" fmla="*/ 5662206 h 5973007"/>
              <a:gd name="connsiteX820" fmla="*/ 3369265 w 6884782"/>
              <a:gd name="connsiteY820" fmla="*/ 5663651 h 5973007"/>
              <a:gd name="connsiteX821" fmla="*/ 3358887 w 6884782"/>
              <a:gd name="connsiteY821" fmla="*/ 5655390 h 5973007"/>
              <a:gd name="connsiteX822" fmla="*/ 3365547 w 6884782"/>
              <a:gd name="connsiteY822" fmla="*/ 5652086 h 5973007"/>
              <a:gd name="connsiteX823" fmla="*/ 3120192 w 6884782"/>
              <a:gd name="connsiteY823" fmla="*/ 5650021 h 5973007"/>
              <a:gd name="connsiteX824" fmla="*/ 3127627 w 6884782"/>
              <a:gd name="connsiteY824" fmla="*/ 5650124 h 5973007"/>
              <a:gd name="connsiteX825" fmla="*/ 3126233 w 6884782"/>
              <a:gd name="connsiteY825" fmla="*/ 5656217 h 5973007"/>
              <a:gd name="connsiteX826" fmla="*/ 3123909 w 6884782"/>
              <a:gd name="connsiteY826" fmla="*/ 5657559 h 5973007"/>
              <a:gd name="connsiteX827" fmla="*/ 3121276 w 6884782"/>
              <a:gd name="connsiteY827" fmla="*/ 5656940 h 5973007"/>
              <a:gd name="connsiteX828" fmla="*/ 3119727 w 6884782"/>
              <a:gd name="connsiteY828" fmla="*/ 5655287 h 5973007"/>
              <a:gd name="connsiteX829" fmla="*/ 3120192 w 6884782"/>
              <a:gd name="connsiteY829" fmla="*/ 5650021 h 5973007"/>
              <a:gd name="connsiteX830" fmla="*/ 3202287 w 6884782"/>
              <a:gd name="connsiteY830" fmla="*/ 5647543 h 5973007"/>
              <a:gd name="connsiteX831" fmla="*/ 3207553 w 6884782"/>
              <a:gd name="connsiteY831" fmla="*/ 5650847 h 5973007"/>
              <a:gd name="connsiteX832" fmla="*/ 3207863 w 6884782"/>
              <a:gd name="connsiteY832" fmla="*/ 5651983 h 5973007"/>
              <a:gd name="connsiteX833" fmla="*/ 3202287 w 6884782"/>
              <a:gd name="connsiteY833" fmla="*/ 5647543 h 5973007"/>
              <a:gd name="connsiteX834" fmla="*/ 3276947 w 6884782"/>
              <a:gd name="connsiteY834" fmla="*/ 5645272 h 5973007"/>
              <a:gd name="connsiteX835" fmla="*/ 3277256 w 6884782"/>
              <a:gd name="connsiteY835" fmla="*/ 5657662 h 5973007"/>
              <a:gd name="connsiteX836" fmla="*/ 3274778 w 6884782"/>
              <a:gd name="connsiteY836" fmla="*/ 5661792 h 5973007"/>
              <a:gd name="connsiteX837" fmla="*/ 3277102 w 6884782"/>
              <a:gd name="connsiteY837" fmla="*/ 5660450 h 5973007"/>
              <a:gd name="connsiteX838" fmla="*/ 3286086 w 6884782"/>
              <a:gd name="connsiteY838" fmla="*/ 5663754 h 5973007"/>
              <a:gd name="connsiteX839" fmla="*/ 3280819 w 6884782"/>
              <a:gd name="connsiteY839" fmla="*/ 5667575 h 5973007"/>
              <a:gd name="connsiteX840" fmla="*/ 3274933 w 6884782"/>
              <a:gd name="connsiteY840" fmla="*/ 5665923 h 5973007"/>
              <a:gd name="connsiteX841" fmla="*/ 3274313 w 6884782"/>
              <a:gd name="connsiteY841" fmla="*/ 5662515 h 5973007"/>
              <a:gd name="connsiteX842" fmla="*/ 3274159 w 6884782"/>
              <a:gd name="connsiteY842" fmla="*/ 5662825 h 5973007"/>
              <a:gd name="connsiteX843" fmla="*/ 3268427 w 6884782"/>
              <a:gd name="connsiteY843" fmla="*/ 5667162 h 5973007"/>
              <a:gd name="connsiteX844" fmla="*/ 3259598 w 6884782"/>
              <a:gd name="connsiteY844" fmla="*/ 5648576 h 5973007"/>
              <a:gd name="connsiteX845" fmla="*/ 3276947 w 6884782"/>
              <a:gd name="connsiteY845" fmla="*/ 5645272 h 5973007"/>
              <a:gd name="connsiteX846" fmla="*/ 3340764 w 6884782"/>
              <a:gd name="connsiteY846" fmla="*/ 5643826 h 5973007"/>
              <a:gd name="connsiteX847" fmla="*/ 3350832 w 6884782"/>
              <a:gd name="connsiteY847" fmla="*/ 5644755 h 5973007"/>
              <a:gd name="connsiteX848" fmla="*/ 3359197 w 6884782"/>
              <a:gd name="connsiteY848" fmla="*/ 5651467 h 5973007"/>
              <a:gd name="connsiteX849" fmla="*/ 3354395 w 6884782"/>
              <a:gd name="connsiteY849" fmla="*/ 5651983 h 5973007"/>
              <a:gd name="connsiteX850" fmla="*/ 3340764 w 6884782"/>
              <a:gd name="connsiteY850" fmla="*/ 5643826 h 5973007"/>
              <a:gd name="connsiteX851" fmla="*/ 3054826 w 6884782"/>
              <a:gd name="connsiteY851" fmla="*/ 5643826 h 5973007"/>
              <a:gd name="connsiteX852" fmla="*/ 3058698 w 6884782"/>
              <a:gd name="connsiteY852" fmla="*/ 5650744 h 5973007"/>
              <a:gd name="connsiteX853" fmla="*/ 3054206 w 6884782"/>
              <a:gd name="connsiteY853" fmla="*/ 5645994 h 5973007"/>
              <a:gd name="connsiteX854" fmla="*/ 3054826 w 6884782"/>
              <a:gd name="connsiteY854" fmla="*/ 5643826 h 5973007"/>
              <a:gd name="connsiteX855" fmla="*/ 3470567 w 6884782"/>
              <a:gd name="connsiteY855" fmla="*/ 5641967 h 5973007"/>
              <a:gd name="connsiteX856" fmla="*/ 3474130 w 6884782"/>
              <a:gd name="connsiteY856" fmla="*/ 5641967 h 5973007"/>
              <a:gd name="connsiteX857" fmla="*/ 3475214 w 6884782"/>
              <a:gd name="connsiteY857" fmla="*/ 5652809 h 5973007"/>
              <a:gd name="connsiteX858" fmla="*/ 3469947 w 6884782"/>
              <a:gd name="connsiteY858" fmla="*/ 5652293 h 5973007"/>
              <a:gd name="connsiteX859" fmla="*/ 3470567 w 6884782"/>
              <a:gd name="connsiteY859" fmla="*/ 5641967 h 5973007"/>
              <a:gd name="connsiteX860" fmla="*/ 3314587 w 6884782"/>
              <a:gd name="connsiteY860" fmla="*/ 5640522 h 5973007"/>
              <a:gd name="connsiteX861" fmla="*/ 3319388 w 6884782"/>
              <a:gd name="connsiteY861" fmla="*/ 5640625 h 5973007"/>
              <a:gd name="connsiteX862" fmla="*/ 3317839 w 6884782"/>
              <a:gd name="connsiteY862" fmla="*/ 5644446 h 5973007"/>
              <a:gd name="connsiteX863" fmla="*/ 3314587 w 6884782"/>
              <a:gd name="connsiteY863" fmla="*/ 5643207 h 5973007"/>
              <a:gd name="connsiteX864" fmla="*/ 3314587 w 6884782"/>
              <a:gd name="connsiteY864" fmla="*/ 5640522 h 5973007"/>
              <a:gd name="connsiteX865" fmla="*/ 2962352 w 6884782"/>
              <a:gd name="connsiteY865" fmla="*/ 5640212 h 5973007"/>
              <a:gd name="connsiteX866" fmla="*/ 2949806 w 6884782"/>
              <a:gd name="connsiteY866" fmla="*/ 5649195 h 5973007"/>
              <a:gd name="connsiteX867" fmla="*/ 2945624 w 6884782"/>
              <a:gd name="connsiteY867" fmla="*/ 5646614 h 5973007"/>
              <a:gd name="connsiteX868" fmla="*/ 2962352 w 6884782"/>
              <a:gd name="connsiteY868" fmla="*/ 5640212 h 5973007"/>
              <a:gd name="connsiteX869" fmla="*/ 3330541 w 6884782"/>
              <a:gd name="connsiteY869" fmla="*/ 5637940 h 5973007"/>
              <a:gd name="connsiteX870" fmla="*/ 3336891 w 6884782"/>
              <a:gd name="connsiteY870" fmla="*/ 5642277 h 5973007"/>
              <a:gd name="connsiteX871" fmla="*/ 3334723 w 6884782"/>
              <a:gd name="connsiteY871" fmla="*/ 5648885 h 5973007"/>
              <a:gd name="connsiteX872" fmla="*/ 3329302 w 6884782"/>
              <a:gd name="connsiteY872" fmla="*/ 5650434 h 5973007"/>
              <a:gd name="connsiteX873" fmla="*/ 3326204 w 6884782"/>
              <a:gd name="connsiteY873" fmla="*/ 5647337 h 5973007"/>
              <a:gd name="connsiteX874" fmla="*/ 3330541 w 6884782"/>
              <a:gd name="connsiteY874" fmla="*/ 5637940 h 5973007"/>
              <a:gd name="connsiteX875" fmla="*/ 3107180 w 6884782"/>
              <a:gd name="connsiteY875" fmla="*/ 5636288 h 5973007"/>
              <a:gd name="connsiteX876" fmla="*/ 3109814 w 6884782"/>
              <a:gd name="connsiteY876" fmla="*/ 5638766 h 5973007"/>
              <a:gd name="connsiteX877" fmla="*/ 3108419 w 6884782"/>
              <a:gd name="connsiteY877" fmla="*/ 5639592 h 5973007"/>
              <a:gd name="connsiteX878" fmla="*/ 3109039 w 6884782"/>
              <a:gd name="connsiteY878" fmla="*/ 5640315 h 5973007"/>
              <a:gd name="connsiteX879" fmla="*/ 3107180 w 6884782"/>
              <a:gd name="connsiteY879" fmla="*/ 5640522 h 5973007"/>
              <a:gd name="connsiteX880" fmla="*/ 3106716 w 6884782"/>
              <a:gd name="connsiteY880" fmla="*/ 5639799 h 5973007"/>
              <a:gd name="connsiteX881" fmla="*/ 3106406 w 6884782"/>
              <a:gd name="connsiteY881" fmla="*/ 5639696 h 5973007"/>
              <a:gd name="connsiteX882" fmla="*/ 3106406 w 6884782"/>
              <a:gd name="connsiteY882" fmla="*/ 5637940 h 5973007"/>
              <a:gd name="connsiteX883" fmla="*/ 3107180 w 6884782"/>
              <a:gd name="connsiteY883" fmla="*/ 5636288 h 5973007"/>
              <a:gd name="connsiteX884" fmla="*/ 3524471 w 6884782"/>
              <a:gd name="connsiteY884" fmla="*/ 5635772 h 5973007"/>
              <a:gd name="connsiteX885" fmla="*/ 3544298 w 6884782"/>
              <a:gd name="connsiteY885" fmla="*/ 5650124 h 5973007"/>
              <a:gd name="connsiteX886" fmla="*/ 3540735 w 6884782"/>
              <a:gd name="connsiteY886" fmla="*/ 5665923 h 5973007"/>
              <a:gd name="connsiteX887" fmla="*/ 3536398 w 6884782"/>
              <a:gd name="connsiteY887" fmla="*/ 5670466 h 5973007"/>
              <a:gd name="connsiteX888" fmla="*/ 3525555 w 6884782"/>
              <a:gd name="connsiteY888" fmla="*/ 5655907 h 5973007"/>
              <a:gd name="connsiteX889" fmla="*/ 3524316 w 6884782"/>
              <a:gd name="connsiteY889" fmla="*/ 5654771 h 5973007"/>
              <a:gd name="connsiteX890" fmla="*/ 3524316 w 6884782"/>
              <a:gd name="connsiteY890" fmla="*/ 5655804 h 5973007"/>
              <a:gd name="connsiteX891" fmla="*/ 3516106 w 6884782"/>
              <a:gd name="connsiteY891" fmla="*/ 5660450 h 5973007"/>
              <a:gd name="connsiteX892" fmla="*/ 3509756 w 6884782"/>
              <a:gd name="connsiteY892" fmla="*/ 5644032 h 5973007"/>
              <a:gd name="connsiteX893" fmla="*/ 3514093 w 6884782"/>
              <a:gd name="connsiteY893" fmla="*/ 5643207 h 5973007"/>
              <a:gd name="connsiteX894" fmla="*/ 3517036 w 6884782"/>
              <a:gd name="connsiteY894" fmla="*/ 5639592 h 5973007"/>
              <a:gd name="connsiteX895" fmla="*/ 3524471 w 6884782"/>
              <a:gd name="connsiteY895" fmla="*/ 5635772 h 5973007"/>
              <a:gd name="connsiteX896" fmla="*/ 2827902 w 6884782"/>
              <a:gd name="connsiteY896" fmla="*/ 5635669 h 5973007"/>
              <a:gd name="connsiteX897" fmla="*/ 2832394 w 6884782"/>
              <a:gd name="connsiteY897" fmla="*/ 5637940 h 5973007"/>
              <a:gd name="connsiteX898" fmla="*/ 2833014 w 6884782"/>
              <a:gd name="connsiteY898" fmla="*/ 5648369 h 5973007"/>
              <a:gd name="connsiteX899" fmla="*/ 2824185 w 6884782"/>
              <a:gd name="connsiteY899" fmla="*/ 5650641 h 5973007"/>
              <a:gd name="connsiteX900" fmla="*/ 2823565 w 6884782"/>
              <a:gd name="connsiteY900" fmla="*/ 5652499 h 5973007"/>
              <a:gd name="connsiteX901" fmla="*/ 2820467 w 6884782"/>
              <a:gd name="connsiteY901" fmla="*/ 5654358 h 5973007"/>
              <a:gd name="connsiteX902" fmla="*/ 2819383 w 6884782"/>
              <a:gd name="connsiteY902" fmla="*/ 5652706 h 5973007"/>
              <a:gd name="connsiteX903" fmla="*/ 2822326 w 6884782"/>
              <a:gd name="connsiteY903" fmla="*/ 5649918 h 5973007"/>
              <a:gd name="connsiteX904" fmla="*/ 2822171 w 6884782"/>
              <a:gd name="connsiteY904" fmla="*/ 5649092 h 5973007"/>
              <a:gd name="connsiteX905" fmla="*/ 2820312 w 6884782"/>
              <a:gd name="connsiteY905" fmla="*/ 5647337 h 5973007"/>
              <a:gd name="connsiteX906" fmla="*/ 2819073 w 6884782"/>
              <a:gd name="connsiteY906" fmla="*/ 5638766 h 5973007"/>
              <a:gd name="connsiteX907" fmla="*/ 2827902 w 6884782"/>
              <a:gd name="connsiteY907" fmla="*/ 5635669 h 5973007"/>
              <a:gd name="connsiteX908" fmla="*/ 3176884 w 6884782"/>
              <a:gd name="connsiteY908" fmla="*/ 5634430 h 5973007"/>
              <a:gd name="connsiteX909" fmla="*/ 3177503 w 6884782"/>
              <a:gd name="connsiteY909" fmla="*/ 5636391 h 5973007"/>
              <a:gd name="connsiteX910" fmla="*/ 3177968 w 6884782"/>
              <a:gd name="connsiteY910" fmla="*/ 5635875 h 5973007"/>
              <a:gd name="connsiteX911" fmla="*/ 3182150 w 6884782"/>
              <a:gd name="connsiteY911" fmla="*/ 5634740 h 5973007"/>
              <a:gd name="connsiteX912" fmla="*/ 3179362 w 6884782"/>
              <a:gd name="connsiteY912" fmla="*/ 5637217 h 5973007"/>
              <a:gd name="connsiteX913" fmla="*/ 3178123 w 6884782"/>
              <a:gd name="connsiteY913" fmla="*/ 5638147 h 5973007"/>
              <a:gd name="connsiteX914" fmla="*/ 3178897 w 6884782"/>
              <a:gd name="connsiteY914" fmla="*/ 5640522 h 5973007"/>
              <a:gd name="connsiteX915" fmla="*/ 3175799 w 6884782"/>
              <a:gd name="connsiteY915" fmla="*/ 5646614 h 5973007"/>
              <a:gd name="connsiteX916" fmla="*/ 3168829 w 6884782"/>
              <a:gd name="connsiteY916" fmla="*/ 5639076 h 5973007"/>
              <a:gd name="connsiteX917" fmla="*/ 3176884 w 6884782"/>
              <a:gd name="connsiteY917" fmla="*/ 5634430 h 5973007"/>
              <a:gd name="connsiteX918" fmla="*/ 3272455 w 6884782"/>
              <a:gd name="connsiteY918" fmla="*/ 5633294 h 5973007"/>
              <a:gd name="connsiteX919" fmla="*/ 3270751 w 6884782"/>
              <a:gd name="connsiteY919" fmla="*/ 5642484 h 5973007"/>
              <a:gd name="connsiteX920" fmla="*/ 3269357 w 6884782"/>
              <a:gd name="connsiteY920" fmla="*/ 5640522 h 5973007"/>
              <a:gd name="connsiteX921" fmla="*/ 3272455 w 6884782"/>
              <a:gd name="connsiteY921" fmla="*/ 5633294 h 5973007"/>
              <a:gd name="connsiteX922" fmla="*/ 3029422 w 6884782"/>
              <a:gd name="connsiteY922" fmla="*/ 5632984 h 5973007"/>
              <a:gd name="connsiteX923" fmla="*/ 3024001 w 6884782"/>
              <a:gd name="connsiteY923" fmla="*/ 5643722 h 5973007"/>
              <a:gd name="connsiteX924" fmla="*/ 3019819 w 6884782"/>
              <a:gd name="connsiteY924" fmla="*/ 5642897 h 5973007"/>
              <a:gd name="connsiteX925" fmla="*/ 3029422 w 6884782"/>
              <a:gd name="connsiteY925" fmla="*/ 5632984 h 5973007"/>
              <a:gd name="connsiteX926" fmla="*/ 3559632 w 6884782"/>
              <a:gd name="connsiteY926" fmla="*/ 5631951 h 5973007"/>
              <a:gd name="connsiteX927" fmla="*/ 3560562 w 6884782"/>
              <a:gd name="connsiteY927" fmla="*/ 5648885 h 5973007"/>
              <a:gd name="connsiteX928" fmla="*/ 3557464 w 6884782"/>
              <a:gd name="connsiteY928" fmla="*/ 5647130 h 5973007"/>
              <a:gd name="connsiteX929" fmla="*/ 3558238 w 6884782"/>
              <a:gd name="connsiteY929" fmla="*/ 5645581 h 5973007"/>
              <a:gd name="connsiteX930" fmla="*/ 3559632 w 6884782"/>
              <a:gd name="connsiteY930" fmla="*/ 5631951 h 5973007"/>
              <a:gd name="connsiteX931" fmla="*/ 3555140 w 6884782"/>
              <a:gd name="connsiteY931" fmla="*/ 5631539 h 5973007"/>
              <a:gd name="connsiteX932" fmla="*/ 3555915 w 6884782"/>
              <a:gd name="connsiteY932" fmla="*/ 5631951 h 5973007"/>
              <a:gd name="connsiteX933" fmla="*/ 3554056 w 6884782"/>
              <a:gd name="connsiteY933" fmla="*/ 5640831 h 5973007"/>
              <a:gd name="connsiteX934" fmla="*/ 3552352 w 6884782"/>
              <a:gd name="connsiteY934" fmla="*/ 5643516 h 5973007"/>
              <a:gd name="connsiteX935" fmla="*/ 3552817 w 6884782"/>
              <a:gd name="connsiteY935" fmla="*/ 5642690 h 5973007"/>
              <a:gd name="connsiteX936" fmla="*/ 3551733 w 6884782"/>
              <a:gd name="connsiteY936" fmla="*/ 5643103 h 5973007"/>
              <a:gd name="connsiteX937" fmla="*/ 3555140 w 6884782"/>
              <a:gd name="connsiteY937" fmla="*/ 5631539 h 5973007"/>
              <a:gd name="connsiteX938" fmla="*/ 2995965 w 6884782"/>
              <a:gd name="connsiteY938" fmla="*/ 5629370 h 5973007"/>
              <a:gd name="connsiteX939" fmla="*/ 2998443 w 6884782"/>
              <a:gd name="connsiteY939" fmla="*/ 5632261 h 5973007"/>
              <a:gd name="connsiteX940" fmla="*/ 2991628 w 6884782"/>
              <a:gd name="connsiteY940" fmla="*/ 5639489 h 5973007"/>
              <a:gd name="connsiteX941" fmla="*/ 2987910 w 6884782"/>
              <a:gd name="connsiteY941" fmla="*/ 5635152 h 5973007"/>
              <a:gd name="connsiteX942" fmla="*/ 2995965 w 6884782"/>
              <a:gd name="connsiteY942" fmla="*/ 5629370 h 5973007"/>
              <a:gd name="connsiteX943" fmla="*/ 2899619 w 6884782"/>
              <a:gd name="connsiteY943" fmla="*/ 5626892 h 5973007"/>
              <a:gd name="connsiteX944" fmla="*/ 2900084 w 6884782"/>
              <a:gd name="connsiteY944" fmla="*/ 5630403 h 5973007"/>
              <a:gd name="connsiteX945" fmla="*/ 2894353 w 6884782"/>
              <a:gd name="connsiteY945" fmla="*/ 5634843 h 5973007"/>
              <a:gd name="connsiteX946" fmla="*/ 2892339 w 6884782"/>
              <a:gd name="connsiteY946" fmla="*/ 5634430 h 5973007"/>
              <a:gd name="connsiteX947" fmla="*/ 2892494 w 6884782"/>
              <a:gd name="connsiteY947" fmla="*/ 5629989 h 5973007"/>
              <a:gd name="connsiteX948" fmla="*/ 2899619 w 6884782"/>
              <a:gd name="connsiteY948" fmla="*/ 5626892 h 5973007"/>
              <a:gd name="connsiteX949" fmla="*/ 2809624 w 6884782"/>
              <a:gd name="connsiteY949" fmla="*/ 5626376 h 5973007"/>
              <a:gd name="connsiteX950" fmla="*/ 2815510 w 6884782"/>
              <a:gd name="connsiteY950" fmla="*/ 5631125 h 5973007"/>
              <a:gd name="connsiteX951" fmla="*/ 2815046 w 6884782"/>
              <a:gd name="connsiteY951" fmla="*/ 5636288 h 5973007"/>
              <a:gd name="connsiteX952" fmla="*/ 2809315 w 6884782"/>
              <a:gd name="connsiteY952" fmla="*/ 5642174 h 5973007"/>
              <a:gd name="connsiteX953" fmla="*/ 2806372 w 6884782"/>
              <a:gd name="connsiteY953" fmla="*/ 5639283 h 5973007"/>
              <a:gd name="connsiteX954" fmla="*/ 2809624 w 6884782"/>
              <a:gd name="connsiteY954" fmla="*/ 5626376 h 5973007"/>
              <a:gd name="connsiteX955" fmla="*/ 3204300 w 6884782"/>
              <a:gd name="connsiteY955" fmla="*/ 5626169 h 5973007"/>
              <a:gd name="connsiteX956" fmla="*/ 3212200 w 6884782"/>
              <a:gd name="connsiteY956" fmla="*/ 5629060 h 5973007"/>
              <a:gd name="connsiteX957" fmla="*/ 3200273 w 6884782"/>
              <a:gd name="connsiteY957" fmla="*/ 5646511 h 5973007"/>
              <a:gd name="connsiteX958" fmla="*/ 3197950 w 6884782"/>
              <a:gd name="connsiteY958" fmla="*/ 5641657 h 5973007"/>
              <a:gd name="connsiteX959" fmla="*/ 3199653 w 6884782"/>
              <a:gd name="connsiteY959" fmla="*/ 5633087 h 5973007"/>
              <a:gd name="connsiteX960" fmla="*/ 3200738 w 6884782"/>
              <a:gd name="connsiteY960" fmla="*/ 5631539 h 5973007"/>
              <a:gd name="connsiteX961" fmla="*/ 3200893 w 6884782"/>
              <a:gd name="connsiteY961" fmla="*/ 5630919 h 5973007"/>
              <a:gd name="connsiteX962" fmla="*/ 3201822 w 6884782"/>
              <a:gd name="connsiteY962" fmla="*/ 5629989 h 5973007"/>
              <a:gd name="connsiteX963" fmla="*/ 3140018 w 6884782"/>
              <a:gd name="connsiteY963" fmla="*/ 5626066 h 5973007"/>
              <a:gd name="connsiteX964" fmla="*/ 3139708 w 6884782"/>
              <a:gd name="connsiteY964" fmla="*/ 5630506 h 5973007"/>
              <a:gd name="connsiteX965" fmla="*/ 3136611 w 6884782"/>
              <a:gd name="connsiteY965" fmla="*/ 5632571 h 5973007"/>
              <a:gd name="connsiteX966" fmla="*/ 3132738 w 6884782"/>
              <a:gd name="connsiteY966" fmla="*/ 5632158 h 5973007"/>
              <a:gd name="connsiteX967" fmla="*/ 3133513 w 6884782"/>
              <a:gd name="connsiteY967" fmla="*/ 5632158 h 5973007"/>
              <a:gd name="connsiteX968" fmla="*/ 3133823 w 6884782"/>
              <a:gd name="connsiteY968" fmla="*/ 5630403 h 5973007"/>
              <a:gd name="connsiteX969" fmla="*/ 3132893 w 6884782"/>
              <a:gd name="connsiteY969" fmla="*/ 5630299 h 5973007"/>
              <a:gd name="connsiteX970" fmla="*/ 3133823 w 6884782"/>
              <a:gd name="connsiteY970" fmla="*/ 5628647 h 5973007"/>
              <a:gd name="connsiteX971" fmla="*/ 3140018 w 6884782"/>
              <a:gd name="connsiteY971" fmla="*/ 5626066 h 5973007"/>
              <a:gd name="connsiteX972" fmla="*/ 3688622 w 6884782"/>
              <a:gd name="connsiteY972" fmla="*/ 5625356 h 5973007"/>
              <a:gd name="connsiteX973" fmla="*/ 3695476 w 6884782"/>
              <a:gd name="connsiteY973" fmla="*/ 5630712 h 5973007"/>
              <a:gd name="connsiteX974" fmla="*/ 3685563 w 6884782"/>
              <a:gd name="connsiteY974" fmla="*/ 5637527 h 5973007"/>
              <a:gd name="connsiteX975" fmla="*/ 3681846 w 6884782"/>
              <a:gd name="connsiteY975" fmla="*/ 5637217 h 5973007"/>
              <a:gd name="connsiteX976" fmla="*/ 3679677 w 6884782"/>
              <a:gd name="connsiteY976" fmla="*/ 5627202 h 5973007"/>
              <a:gd name="connsiteX977" fmla="*/ 3688622 w 6884782"/>
              <a:gd name="connsiteY977" fmla="*/ 5625356 h 5973007"/>
              <a:gd name="connsiteX978" fmla="*/ 3558703 w 6884782"/>
              <a:gd name="connsiteY978" fmla="*/ 5623794 h 5973007"/>
              <a:gd name="connsiteX979" fmla="*/ 3559632 w 6884782"/>
              <a:gd name="connsiteY979" fmla="*/ 5628234 h 5973007"/>
              <a:gd name="connsiteX980" fmla="*/ 3558548 w 6884782"/>
              <a:gd name="connsiteY980" fmla="*/ 5628544 h 5973007"/>
              <a:gd name="connsiteX981" fmla="*/ 3558703 w 6884782"/>
              <a:gd name="connsiteY981" fmla="*/ 5623794 h 5973007"/>
              <a:gd name="connsiteX982" fmla="*/ 3255261 w 6884782"/>
              <a:gd name="connsiteY982" fmla="*/ 5623484 h 5973007"/>
              <a:gd name="connsiteX983" fmla="*/ 3264710 w 6884782"/>
              <a:gd name="connsiteY983" fmla="*/ 5630506 h 5973007"/>
              <a:gd name="connsiteX984" fmla="*/ 3263316 w 6884782"/>
              <a:gd name="connsiteY984" fmla="*/ 5634843 h 5973007"/>
              <a:gd name="connsiteX985" fmla="*/ 3258979 w 6884782"/>
              <a:gd name="connsiteY985" fmla="*/ 5634946 h 5973007"/>
              <a:gd name="connsiteX986" fmla="*/ 3257585 w 6884782"/>
              <a:gd name="connsiteY986" fmla="*/ 5633604 h 5973007"/>
              <a:gd name="connsiteX987" fmla="*/ 3255726 w 6884782"/>
              <a:gd name="connsiteY987" fmla="*/ 5634946 h 5973007"/>
              <a:gd name="connsiteX988" fmla="*/ 3251389 w 6884782"/>
              <a:gd name="connsiteY988" fmla="*/ 5637527 h 5973007"/>
              <a:gd name="connsiteX989" fmla="*/ 3248601 w 6884782"/>
              <a:gd name="connsiteY989" fmla="*/ 5634223 h 5973007"/>
              <a:gd name="connsiteX990" fmla="*/ 3249685 w 6884782"/>
              <a:gd name="connsiteY990" fmla="*/ 5629680 h 5973007"/>
              <a:gd name="connsiteX991" fmla="*/ 3250459 w 6884782"/>
              <a:gd name="connsiteY991" fmla="*/ 5628750 h 5973007"/>
              <a:gd name="connsiteX992" fmla="*/ 3254952 w 6884782"/>
              <a:gd name="connsiteY992" fmla="*/ 5625653 h 5973007"/>
              <a:gd name="connsiteX993" fmla="*/ 3089367 w 6884782"/>
              <a:gd name="connsiteY993" fmla="*/ 5623484 h 5973007"/>
              <a:gd name="connsiteX994" fmla="*/ 3090297 w 6884782"/>
              <a:gd name="connsiteY994" fmla="*/ 5629783 h 5973007"/>
              <a:gd name="connsiteX995" fmla="*/ 3088903 w 6884782"/>
              <a:gd name="connsiteY995" fmla="*/ 5626892 h 5973007"/>
              <a:gd name="connsiteX996" fmla="*/ 3089367 w 6884782"/>
              <a:gd name="connsiteY996" fmla="*/ 5623484 h 5973007"/>
              <a:gd name="connsiteX997" fmla="*/ 2908139 w 6884782"/>
              <a:gd name="connsiteY997" fmla="*/ 5622761 h 5973007"/>
              <a:gd name="connsiteX998" fmla="*/ 2908603 w 6884782"/>
              <a:gd name="connsiteY998" fmla="*/ 5625550 h 5973007"/>
              <a:gd name="connsiteX999" fmla="*/ 2907054 w 6884782"/>
              <a:gd name="connsiteY999" fmla="*/ 5626582 h 5973007"/>
              <a:gd name="connsiteX1000" fmla="*/ 2906744 w 6884782"/>
              <a:gd name="connsiteY1000" fmla="*/ 5629267 h 5973007"/>
              <a:gd name="connsiteX1001" fmla="*/ 2905041 w 6884782"/>
              <a:gd name="connsiteY1001" fmla="*/ 5629370 h 5973007"/>
              <a:gd name="connsiteX1002" fmla="*/ 2905970 w 6884782"/>
              <a:gd name="connsiteY1002" fmla="*/ 5623794 h 5973007"/>
              <a:gd name="connsiteX1003" fmla="*/ 2908139 w 6884782"/>
              <a:gd name="connsiteY1003" fmla="*/ 5622761 h 5973007"/>
              <a:gd name="connsiteX1004" fmla="*/ 3277256 w 6884782"/>
              <a:gd name="connsiteY1004" fmla="*/ 5621006 h 5973007"/>
              <a:gd name="connsiteX1005" fmla="*/ 3281129 w 6884782"/>
              <a:gd name="connsiteY1005" fmla="*/ 5627511 h 5973007"/>
              <a:gd name="connsiteX1006" fmla="*/ 3277721 w 6884782"/>
              <a:gd name="connsiteY1006" fmla="*/ 5628957 h 5973007"/>
              <a:gd name="connsiteX1007" fmla="*/ 3274933 w 6884782"/>
              <a:gd name="connsiteY1007" fmla="*/ 5627202 h 5973007"/>
              <a:gd name="connsiteX1008" fmla="*/ 3277256 w 6884782"/>
              <a:gd name="connsiteY1008" fmla="*/ 5621006 h 5973007"/>
              <a:gd name="connsiteX1009" fmla="*/ 3502631 w 6884782"/>
              <a:gd name="connsiteY1009" fmla="*/ 5620696 h 5973007"/>
              <a:gd name="connsiteX1010" fmla="*/ 3503405 w 6884782"/>
              <a:gd name="connsiteY1010" fmla="*/ 5621110 h 5973007"/>
              <a:gd name="connsiteX1011" fmla="*/ 3503250 w 6884782"/>
              <a:gd name="connsiteY1011" fmla="*/ 5623072 h 5973007"/>
              <a:gd name="connsiteX1012" fmla="*/ 3499223 w 6884782"/>
              <a:gd name="connsiteY1012" fmla="*/ 5630196 h 5973007"/>
              <a:gd name="connsiteX1013" fmla="*/ 3498448 w 6884782"/>
              <a:gd name="connsiteY1013" fmla="*/ 5631745 h 5973007"/>
              <a:gd name="connsiteX1014" fmla="*/ 3496280 w 6884782"/>
              <a:gd name="connsiteY1014" fmla="*/ 5632364 h 5973007"/>
              <a:gd name="connsiteX1015" fmla="*/ 3498603 w 6884782"/>
              <a:gd name="connsiteY1015" fmla="*/ 5625137 h 5973007"/>
              <a:gd name="connsiteX1016" fmla="*/ 3500462 w 6884782"/>
              <a:gd name="connsiteY1016" fmla="*/ 5621419 h 5973007"/>
              <a:gd name="connsiteX1017" fmla="*/ 3502631 w 6884782"/>
              <a:gd name="connsiteY1017" fmla="*/ 5620696 h 5973007"/>
              <a:gd name="connsiteX1018" fmla="*/ 2672231 w 6884782"/>
              <a:gd name="connsiteY1018" fmla="*/ 5618838 h 5973007"/>
              <a:gd name="connsiteX1019" fmla="*/ 2673316 w 6884782"/>
              <a:gd name="connsiteY1019" fmla="*/ 5635359 h 5973007"/>
              <a:gd name="connsiteX1020" fmla="*/ 2663557 w 6884782"/>
              <a:gd name="connsiteY1020" fmla="*/ 5624723 h 5973007"/>
              <a:gd name="connsiteX1021" fmla="*/ 2672231 w 6884782"/>
              <a:gd name="connsiteY1021" fmla="*/ 5618838 h 5973007"/>
              <a:gd name="connsiteX1022" fmla="*/ 2904266 w 6884782"/>
              <a:gd name="connsiteY1022" fmla="*/ 5616256 h 5973007"/>
              <a:gd name="connsiteX1023" fmla="*/ 2903492 w 6884782"/>
              <a:gd name="connsiteY1023" fmla="*/ 5618115 h 5973007"/>
              <a:gd name="connsiteX1024" fmla="*/ 2900703 w 6884782"/>
              <a:gd name="connsiteY1024" fmla="*/ 5622555 h 5973007"/>
              <a:gd name="connsiteX1025" fmla="*/ 2899465 w 6884782"/>
              <a:gd name="connsiteY1025" fmla="*/ 5620077 h 5973007"/>
              <a:gd name="connsiteX1026" fmla="*/ 2901013 w 6884782"/>
              <a:gd name="connsiteY1026" fmla="*/ 5618218 h 5973007"/>
              <a:gd name="connsiteX1027" fmla="*/ 2901633 w 6884782"/>
              <a:gd name="connsiteY1027" fmla="*/ 5616360 h 5973007"/>
              <a:gd name="connsiteX1028" fmla="*/ 2904266 w 6884782"/>
              <a:gd name="connsiteY1028" fmla="*/ 5616256 h 5973007"/>
              <a:gd name="connsiteX1029" fmla="*/ 2996120 w 6884782"/>
              <a:gd name="connsiteY1029" fmla="*/ 5615740 h 5973007"/>
              <a:gd name="connsiteX1030" fmla="*/ 2999527 w 6884782"/>
              <a:gd name="connsiteY1030" fmla="*/ 5622142 h 5973007"/>
              <a:gd name="connsiteX1031" fmla="*/ 2997514 w 6884782"/>
              <a:gd name="connsiteY1031" fmla="*/ 5628234 h 5973007"/>
              <a:gd name="connsiteX1032" fmla="*/ 2994106 w 6884782"/>
              <a:gd name="connsiteY1032" fmla="*/ 5626169 h 5973007"/>
              <a:gd name="connsiteX1033" fmla="*/ 2994571 w 6884782"/>
              <a:gd name="connsiteY1033" fmla="*/ 5621110 h 5973007"/>
              <a:gd name="connsiteX1034" fmla="*/ 2994261 w 6884782"/>
              <a:gd name="connsiteY1034" fmla="*/ 5617806 h 5973007"/>
              <a:gd name="connsiteX1035" fmla="*/ 2996120 w 6884782"/>
              <a:gd name="connsiteY1035" fmla="*/ 5615740 h 5973007"/>
              <a:gd name="connsiteX1036" fmla="*/ 2833014 w 6884782"/>
              <a:gd name="connsiteY1036" fmla="*/ 5612539 h 5973007"/>
              <a:gd name="connsiteX1037" fmla="*/ 2828522 w 6884782"/>
              <a:gd name="connsiteY1037" fmla="*/ 5619871 h 5973007"/>
              <a:gd name="connsiteX1038" fmla="*/ 2833014 w 6884782"/>
              <a:gd name="connsiteY1038" fmla="*/ 5612539 h 5973007"/>
              <a:gd name="connsiteX1039" fmla="*/ 2869879 w 6884782"/>
              <a:gd name="connsiteY1039" fmla="*/ 5612229 h 5973007"/>
              <a:gd name="connsiteX1040" fmla="*/ 2866936 w 6884782"/>
              <a:gd name="connsiteY1040" fmla="*/ 5615017 h 5973007"/>
              <a:gd name="connsiteX1041" fmla="*/ 2866007 w 6884782"/>
              <a:gd name="connsiteY1041" fmla="*/ 5614191 h 5973007"/>
              <a:gd name="connsiteX1042" fmla="*/ 2869879 w 6884782"/>
              <a:gd name="connsiteY1042" fmla="*/ 5612229 h 5973007"/>
              <a:gd name="connsiteX1043" fmla="*/ 3305777 w 6884782"/>
              <a:gd name="connsiteY1043" fmla="*/ 5610810 h 5973007"/>
              <a:gd name="connsiteX1044" fmla="*/ 3308700 w 6884782"/>
              <a:gd name="connsiteY1044" fmla="*/ 5615017 h 5973007"/>
              <a:gd name="connsiteX1045" fmla="*/ 3305138 w 6884782"/>
              <a:gd name="connsiteY1045" fmla="*/ 5615534 h 5973007"/>
              <a:gd name="connsiteX1046" fmla="*/ 3303434 w 6884782"/>
              <a:gd name="connsiteY1046" fmla="*/ 5614811 h 5973007"/>
              <a:gd name="connsiteX1047" fmla="*/ 3305777 w 6884782"/>
              <a:gd name="connsiteY1047" fmla="*/ 5610810 h 5973007"/>
              <a:gd name="connsiteX1048" fmla="*/ 3226141 w 6884782"/>
              <a:gd name="connsiteY1048" fmla="*/ 5609648 h 5973007"/>
              <a:gd name="connsiteX1049" fmla="*/ 3238997 w 6884782"/>
              <a:gd name="connsiteY1049" fmla="*/ 5620283 h 5973007"/>
              <a:gd name="connsiteX1050" fmla="*/ 3235744 w 6884782"/>
              <a:gd name="connsiteY1050" fmla="*/ 5623278 h 5973007"/>
              <a:gd name="connsiteX1051" fmla="*/ 3232027 w 6884782"/>
              <a:gd name="connsiteY1051" fmla="*/ 5622761 h 5973007"/>
              <a:gd name="connsiteX1052" fmla="*/ 3228774 w 6884782"/>
              <a:gd name="connsiteY1052" fmla="*/ 5621006 h 5973007"/>
              <a:gd name="connsiteX1053" fmla="*/ 3226760 w 6884782"/>
              <a:gd name="connsiteY1053" fmla="*/ 5617806 h 5973007"/>
              <a:gd name="connsiteX1054" fmla="*/ 3223353 w 6884782"/>
              <a:gd name="connsiteY1054" fmla="*/ 5612539 h 5973007"/>
              <a:gd name="connsiteX1055" fmla="*/ 3226141 w 6884782"/>
              <a:gd name="connsiteY1055" fmla="*/ 5609648 h 5973007"/>
              <a:gd name="connsiteX1056" fmla="*/ 2974899 w 6884782"/>
              <a:gd name="connsiteY1056" fmla="*/ 5608512 h 5973007"/>
              <a:gd name="connsiteX1057" fmla="*/ 2980011 w 6884782"/>
              <a:gd name="connsiteY1057" fmla="*/ 5610784 h 5973007"/>
              <a:gd name="connsiteX1058" fmla="*/ 2984658 w 6884782"/>
              <a:gd name="connsiteY1058" fmla="*/ 5616876 h 5973007"/>
              <a:gd name="connsiteX1059" fmla="*/ 2983418 w 6884782"/>
              <a:gd name="connsiteY1059" fmla="*/ 5617289 h 5973007"/>
              <a:gd name="connsiteX1060" fmla="*/ 2974899 w 6884782"/>
              <a:gd name="connsiteY1060" fmla="*/ 5608512 h 5973007"/>
              <a:gd name="connsiteX1061" fmla="*/ 3628251 w 6884782"/>
              <a:gd name="connsiteY1061" fmla="*/ 5607893 h 5973007"/>
              <a:gd name="connsiteX1062" fmla="*/ 3635377 w 6884782"/>
              <a:gd name="connsiteY1062" fmla="*/ 5609132 h 5973007"/>
              <a:gd name="connsiteX1063" fmla="*/ 3635532 w 6884782"/>
              <a:gd name="connsiteY1063" fmla="*/ 5611094 h 5973007"/>
              <a:gd name="connsiteX1064" fmla="*/ 3635067 w 6884782"/>
              <a:gd name="connsiteY1064" fmla="*/ 5613159 h 5973007"/>
              <a:gd name="connsiteX1065" fmla="*/ 3631969 w 6884782"/>
              <a:gd name="connsiteY1065" fmla="*/ 5616566 h 5973007"/>
              <a:gd name="connsiteX1066" fmla="*/ 3629491 w 6884782"/>
              <a:gd name="connsiteY1066" fmla="*/ 5616876 h 5973007"/>
              <a:gd name="connsiteX1067" fmla="*/ 3628096 w 6884782"/>
              <a:gd name="connsiteY1067" fmla="*/ 5616360 h 5973007"/>
              <a:gd name="connsiteX1068" fmla="*/ 3626703 w 6884782"/>
              <a:gd name="connsiteY1068" fmla="*/ 5615534 h 5973007"/>
              <a:gd name="connsiteX1069" fmla="*/ 3628251 w 6884782"/>
              <a:gd name="connsiteY1069" fmla="*/ 5607893 h 5973007"/>
              <a:gd name="connsiteX1070" fmla="*/ 3584571 w 6884782"/>
              <a:gd name="connsiteY1070" fmla="*/ 5607067 h 5973007"/>
              <a:gd name="connsiteX1071" fmla="*/ 3587669 w 6884782"/>
              <a:gd name="connsiteY1071" fmla="*/ 5608822 h 5973007"/>
              <a:gd name="connsiteX1072" fmla="*/ 3588598 w 6884782"/>
              <a:gd name="connsiteY1072" fmla="*/ 5616566 h 5973007"/>
              <a:gd name="connsiteX1073" fmla="*/ 3587204 w 6884782"/>
              <a:gd name="connsiteY1073" fmla="*/ 5618012 h 5973007"/>
              <a:gd name="connsiteX1074" fmla="*/ 3583641 w 6884782"/>
              <a:gd name="connsiteY1074" fmla="*/ 5615121 h 5973007"/>
              <a:gd name="connsiteX1075" fmla="*/ 3584571 w 6884782"/>
              <a:gd name="connsiteY1075" fmla="*/ 5607067 h 5973007"/>
              <a:gd name="connsiteX1076" fmla="*/ 2975054 w 6884782"/>
              <a:gd name="connsiteY1076" fmla="*/ 5605311 h 5973007"/>
              <a:gd name="connsiteX1077" fmla="*/ 2962197 w 6884782"/>
              <a:gd name="connsiteY1077" fmla="*/ 5613262 h 5973007"/>
              <a:gd name="connsiteX1078" fmla="*/ 2961423 w 6884782"/>
              <a:gd name="connsiteY1078" fmla="*/ 5612849 h 5973007"/>
              <a:gd name="connsiteX1079" fmla="*/ 2961888 w 6884782"/>
              <a:gd name="connsiteY1079" fmla="*/ 5610681 h 5973007"/>
              <a:gd name="connsiteX1080" fmla="*/ 2965140 w 6884782"/>
              <a:gd name="connsiteY1080" fmla="*/ 5608719 h 5973007"/>
              <a:gd name="connsiteX1081" fmla="*/ 2973350 w 6884782"/>
              <a:gd name="connsiteY1081" fmla="*/ 5606447 h 5973007"/>
              <a:gd name="connsiteX1082" fmla="*/ 2975054 w 6884782"/>
              <a:gd name="connsiteY1082" fmla="*/ 5605311 h 5973007"/>
              <a:gd name="connsiteX1083" fmla="*/ 2813032 w 6884782"/>
              <a:gd name="connsiteY1083" fmla="*/ 5605208 h 5973007"/>
              <a:gd name="connsiteX1084" fmla="*/ 2816130 w 6884782"/>
              <a:gd name="connsiteY1084" fmla="*/ 5614708 h 5973007"/>
              <a:gd name="connsiteX1085" fmla="*/ 2813497 w 6884782"/>
              <a:gd name="connsiteY1085" fmla="*/ 5625137 h 5973007"/>
              <a:gd name="connsiteX1086" fmla="*/ 2811019 w 6884782"/>
              <a:gd name="connsiteY1086" fmla="*/ 5620903 h 5973007"/>
              <a:gd name="connsiteX1087" fmla="*/ 2813032 w 6884782"/>
              <a:gd name="connsiteY1087" fmla="*/ 5605208 h 5973007"/>
              <a:gd name="connsiteX1088" fmla="*/ 2681409 w 6884782"/>
              <a:gd name="connsiteY1088" fmla="*/ 5604563 h 5973007"/>
              <a:gd name="connsiteX1089" fmla="*/ 2695311 w 6884782"/>
              <a:gd name="connsiteY1089" fmla="*/ 5606654 h 5973007"/>
              <a:gd name="connsiteX1090" fmla="*/ 2669134 w 6884782"/>
              <a:gd name="connsiteY1090" fmla="*/ 5615017 h 5973007"/>
              <a:gd name="connsiteX1091" fmla="*/ 2681409 w 6884782"/>
              <a:gd name="connsiteY1091" fmla="*/ 5604563 h 5973007"/>
              <a:gd name="connsiteX1092" fmla="*/ 3626703 w 6884782"/>
              <a:gd name="connsiteY1092" fmla="*/ 5603143 h 5973007"/>
              <a:gd name="connsiteX1093" fmla="*/ 3630110 w 6884782"/>
              <a:gd name="connsiteY1093" fmla="*/ 5604072 h 5973007"/>
              <a:gd name="connsiteX1094" fmla="*/ 3629955 w 6884782"/>
              <a:gd name="connsiteY1094" fmla="*/ 5605518 h 5973007"/>
              <a:gd name="connsiteX1095" fmla="*/ 3627942 w 6884782"/>
              <a:gd name="connsiteY1095" fmla="*/ 5606757 h 5973007"/>
              <a:gd name="connsiteX1096" fmla="*/ 2981095 w 6884782"/>
              <a:gd name="connsiteY1096" fmla="*/ 5601697 h 5973007"/>
              <a:gd name="connsiteX1097" fmla="*/ 2982489 w 6884782"/>
              <a:gd name="connsiteY1097" fmla="*/ 5603762 h 5973007"/>
              <a:gd name="connsiteX1098" fmla="*/ 2977997 w 6884782"/>
              <a:gd name="connsiteY1098" fmla="*/ 5605002 h 5973007"/>
              <a:gd name="connsiteX1099" fmla="*/ 2976293 w 6884782"/>
              <a:gd name="connsiteY1099" fmla="*/ 5606138 h 5973007"/>
              <a:gd name="connsiteX1100" fmla="*/ 2976603 w 6884782"/>
              <a:gd name="connsiteY1100" fmla="*/ 5604176 h 5973007"/>
              <a:gd name="connsiteX1101" fmla="*/ 2979546 w 6884782"/>
              <a:gd name="connsiteY1101" fmla="*/ 5603969 h 5973007"/>
              <a:gd name="connsiteX1102" fmla="*/ 2979856 w 6884782"/>
              <a:gd name="connsiteY1102" fmla="*/ 5602007 h 5973007"/>
              <a:gd name="connsiteX1103" fmla="*/ 2981095 w 6884782"/>
              <a:gd name="connsiteY1103" fmla="*/ 5601697 h 5973007"/>
              <a:gd name="connsiteX1104" fmla="*/ 3094014 w 6884782"/>
              <a:gd name="connsiteY1104" fmla="*/ 5601078 h 5973007"/>
              <a:gd name="connsiteX1105" fmla="*/ 3095718 w 6884782"/>
              <a:gd name="connsiteY1105" fmla="*/ 5602317 h 5973007"/>
              <a:gd name="connsiteX1106" fmla="*/ 3096028 w 6884782"/>
              <a:gd name="connsiteY1106" fmla="*/ 5602317 h 5973007"/>
              <a:gd name="connsiteX1107" fmla="*/ 3095408 w 6884782"/>
              <a:gd name="connsiteY1107" fmla="*/ 5610164 h 5973007"/>
              <a:gd name="connsiteX1108" fmla="*/ 3092775 w 6884782"/>
              <a:gd name="connsiteY1108" fmla="*/ 5612126 h 5973007"/>
              <a:gd name="connsiteX1109" fmla="*/ 3089058 w 6884782"/>
              <a:gd name="connsiteY1109" fmla="*/ 5612229 h 5973007"/>
              <a:gd name="connsiteX1110" fmla="*/ 3086269 w 6884782"/>
              <a:gd name="connsiteY1110" fmla="*/ 5613055 h 5973007"/>
              <a:gd name="connsiteX1111" fmla="*/ 3083327 w 6884782"/>
              <a:gd name="connsiteY1111" fmla="*/ 5612643 h 5973007"/>
              <a:gd name="connsiteX1112" fmla="*/ 3081932 w 6884782"/>
              <a:gd name="connsiteY1112" fmla="*/ 5608306 h 5973007"/>
              <a:gd name="connsiteX1113" fmla="*/ 3085805 w 6884782"/>
              <a:gd name="connsiteY1113" fmla="*/ 5604176 h 5973007"/>
              <a:gd name="connsiteX1114" fmla="*/ 3085650 w 6884782"/>
              <a:gd name="connsiteY1114" fmla="*/ 5603556 h 5973007"/>
              <a:gd name="connsiteX1115" fmla="*/ 3094014 w 6884782"/>
              <a:gd name="connsiteY1115" fmla="*/ 5601078 h 5973007"/>
              <a:gd name="connsiteX1116" fmla="*/ 3020806 w 6884782"/>
              <a:gd name="connsiteY1116" fmla="*/ 5599916 h 5973007"/>
              <a:gd name="connsiteX1117" fmla="*/ 3024466 w 6884782"/>
              <a:gd name="connsiteY1117" fmla="*/ 5604382 h 5973007"/>
              <a:gd name="connsiteX1118" fmla="*/ 3023537 w 6884782"/>
              <a:gd name="connsiteY1118" fmla="*/ 5608616 h 5973007"/>
              <a:gd name="connsiteX1119" fmla="*/ 3016876 w 6884782"/>
              <a:gd name="connsiteY1119" fmla="*/ 5612436 h 5973007"/>
              <a:gd name="connsiteX1120" fmla="*/ 3014552 w 6884782"/>
              <a:gd name="connsiteY1120" fmla="*/ 5608099 h 5973007"/>
              <a:gd name="connsiteX1121" fmla="*/ 3013313 w 6884782"/>
              <a:gd name="connsiteY1121" fmla="*/ 5603969 h 5973007"/>
              <a:gd name="connsiteX1122" fmla="*/ 3020806 w 6884782"/>
              <a:gd name="connsiteY1122" fmla="*/ 5599916 h 5973007"/>
              <a:gd name="connsiteX1123" fmla="*/ 3585190 w 6884782"/>
              <a:gd name="connsiteY1123" fmla="*/ 5596948 h 5973007"/>
              <a:gd name="connsiteX1124" fmla="*/ 3587669 w 6884782"/>
              <a:gd name="connsiteY1124" fmla="*/ 5598290 h 5973007"/>
              <a:gd name="connsiteX1125" fmla="*/ 3587824 w 6884782"/>
              <a:gd name="connsiteY1125" fmla="*/ 5600252 h 5973007"/>
              <a:gd name="connsiteX1126" fmla="*/ 3589837 w 6884782"/>
              <a:gd name="connsiteY1126" fmla="*/ 5602317 h 5973007"/>
              <a:gd name="connsiteX1127" fmla="*/ 3589063 w 6884782"/>
              <a:gd name="connsiteY1127" fmla="*/ 5603762 h 5973007"/>
              <a:gd name="connsiteX1128" fmla="*/ 3585036 w 6884782"/>
              <a:gd name="connsiteY1128" fmla="*/ 5599529 h 5973007"/>
              <a:gd name="connsiteX1129" fmla="*/ 3585190 w 6884782"/>
              <a:gd name="connsiteY1129" fmla="*/ 5596948 h 5973007"/>
              <a:gd name="connsiteX1130" fmla="*/ 2914954 w 6884782"/>
              <a:gd name="connsiteY1130" fmla="*/ 5596948 h 5973007"/>
              <a:gd name="connsiteX1131" fmla="*/ 2914644 w 6884782"/>
              <a:gd name="connsiteY1131" fmla="*/ 5605105 h 5973007"/>
              <a:gd name="connsiteX1132" fmla="*/ 2913870 w 6884782"/>
              <a:gd name="connsiteY1132" fmla="*/ 5598187 h 5973007"/>
              <a:gd name="connsiteX1133" fmla="*/ 2914954 w 6884782"/>
              <a:gd name="connsiteY1133" fmla="*/ 5596948 h 5973007"/>
              <a:gd name="connsiteX1134" fmla="*/ 3578065 w 6884782"/>
              <a:gd name="connsiteY1134" fmla="*/ 5596431 h 5973007"/>
              <a:gd name="connsiteX1135" fmla="*/ 3579304 w 6884782"/>
              <a:gd name="connsiteY1135" fmla="*/ 5598083 h 5973007"/>
              <a:gd name="connsiteX1136" fmla="*/ 3581628 w 6884782"/>
              <a:gd name="connsiteY1136" fmla="*/ 5603349 h 5973007"/>
              <a:gd name="connsiteX1137" fmla="*/ 3579924 w 6884782"/>
              <a:gd name="connsiteY1137" fmla="*/ 5603969 h 5973007"/>
              <a:gd name="connsiteX1138" fmla="*/ 3578995 w 6884782"/>
              <a:gd name="connsiteY1138" fmla="*/ 5602833 h 5973007"/>
              <a:gd name="connsiteX1139" fmla="*/ 3578220 w 6884782"/>
              <a:gd name="connsiteY1139" fmla="*/ 5600355 h 5973007"/>
              <a:gd name="connsiteX1140" fmla="*/ 3576981 w 6884782"/>
              <a:gd name="connsiteY1140" fmla="*/ 5598806 h 5973007"/>
              <a:gd name="connsiteX1141" fmla="*/ 3578065 w 6884782"/>
              <a:gd name="connsiteY1141" fmla="*/ 5596431 h 5973007"/>
              <a:gd name="connsiteX1142" fmla="*/ 3559013 w 6884782"/>
              <a:gd name="connsiteY1142" fmla="*/ 5596225 h 5973007"/>
              <a:gd name="connsiteX1143" fmla="*/ 3562111 w 6884782"/>
              <a:gd name="connsiteY1143" fmla="*/ 5604176 h 5973007"/>
              <a:gd name="connsiteX1144" fmla="*/ 3561027 w 6884782"/>
              <a:gd name="connsiteY1144" fmla="*/ 5605931 h 5973007"/>
              <a:gd name="connsiteX1145" fmla="*/ 3558858 w 6884782"/>
              <a:gd name="connsiteY1145" fmla="*/ 5604588 h 5973007"/>
              <a:gd name="connsiteX1146" fmla="*/ 3559013 w 6884782"/>
              <a:gd name="connsiteY1146" fmla="*/ 5596225 h 5973007"/>
              <a:gd name="connsiteX1147" fmla="*/ 3367716 w 6884782"/>
              <a:gd name="connsiteY1147" fmla="*/ 5595192 h 5973007"/>
              <a:gd name="connsiteX1148" fmla="*/ 3367096 w 6884782"/>
              <a:gd name="connsiteY1148" fmla="*/ 5600149 h 5973007"/>
              <a:gd name="connsiteX1149" fmla="*/ 3364153 w 6884782"/>
              <a:gd name="connsiteY1149" fmla="*/ 5603453 h 5973007"/>
              <a:gd name="connsiteX1150" fmla="*/ 3363379 w 6884782"/>
              <a:gd name="connsiteY1150" fmla="*/ 5606757 h 5973007"/>
              <a:gd name="connsiteX1151" fmla="*/ 3363844 w 6884782"/>
              <a:gd name="connsiteY1151" fmla="*/ 5606034 h 5973007"/>
              <a:gd name="connsiteX1152" fmla="*/ 3371898 w 6884782"/>
              <a:gd name="connsiteY1152" fmla="*/ 5603969 h 5973007"/>
              <a:gd name="connsiteX1153" fmla="*/ 3373137 w 6884782"/>
              <a:gd name="connsiteY1153" fmla="*/ 5603866 h 5973007"/>
              <a:gd name="connsiteX1154" fmla="*/ 3313192 w 6884782"/>
              <a:gd name="connsiteY1154" fmla="*/ 5594056 h 5973007"/>
              <a:gd name="connsiteX1155" fmla="*/ 3318459 w 6884782"/>
              <a:gd name="connsiteY1155" fmla="*/ 5596121 h 5973007"/>
              <a:gd name="connsiteX1156" fmla="*/ 3319233 w 6884782"/>
              <a:gd name="connsiteY1156" fmla="*/ 5602317 h 5973007"/>
              <a:gd name="connsiteX1157" fmla="*/ 3322641 w 6884782"/>
              <a:gd name="connsiteY1157" fmla="*/ 5601801 h 5973007"/>
              <a:gd name="connsiteX1158" fmla="*/ 3325894 w 6884782"/>
              <a:gd name="connsiteY1158" fmla="*/ 5609545 h 5973007"/>
              <a:gd name="connsiteX1159" fmla="*/ 3321092 w 6884782"/>
              <a:gd name="connsiteY1159" fmla="*/ 5613675 h 5973007"/>
              <a:gd name="connsiteX1160" fmla="*/ 3314587 w 6884782"/>
              <a:gd name="connsiteY1160" fmla="*/ 5606654 h 5973007"/>
              <a:gd name="connsiteX1161" fmla="*/ 3317065 w 6884782"/>
              <a:gd name="connsiteY1161" fmla="*/ 5602833 h 5973007"/>
              <a:gd name="connsiteX1162" fmla="*/ 3315980 w 6884782"/>
              <a:gd name="connsiteY1162" fmla="*/ 5602627 h 5973007"/>
              <a:gd name="connsiteX1163" fmla="*/ 3314432 w 6884782"/>
              <a:gd name="connsiteY1163" fmla="*/ 5600561 h 5973007"/>
              <a:gd name="connsiteX1164" fmla="*/ 3313192 w 6884782"/>
              <a:gd name="connsiteY1164" fmla="*/ 5594056 h 5973007"/>
              <a:gd name="connsiteX1165" fmla="*/ 2857797 w 6884782"/>
              <a:gd name="connsiteY1165" fmla="*/ 5593540 h 5973007"/>
              <a:gd name="connsiteX1166" fmla="*/ 2863529 w 6884782"/>
              <a:gd name="connsiteY1166" fmla="*/ 5595399 h 5973007"/>
              <a:gd name="connsiteX1167" fmla="*/ 2863993 w 6884782"/>
              <a:gd name="connsiteY1167" fmla="*/ 5606654 h 5973007"/>
              <a:gd name="connsiteX1168" fmla="*/ 2856093 w 6884782"/>
              <a:gd name="connsiteY1168" fmla="*/ 5610887 h 5973007"/>
              <a:gd name="connsiteX1169" fmla="*/ 2856868 w 6884782"/>
              <a:gd name="connsiteY1169" fmla="*/ 5610887 h 5973007"/>
              <a:gd name="connsiteX1170" fmla="*/ 2858417 w 6884782"/>
              <a:gd name="connsiteY1170" fmla="*/ 5612746 h 5973007"/>
              <a:gd name="connsiteX1171" fmla="*/ 2859811 w 6884782"/>
              <a:gd name="connsiteY1171" fmla="*/ 5612746 h 5973007"/>
              <a:gd name="connsiteX1172" fmla="*/ 2861515 w 6884782"/>
              <a:gd name="connsiteY1172" fmla="*/ 5612746 h 5973007"/>
              <a:gd name="connsiteX1173" fmla="*/ 2861670 w 6884782"/>
              <a:gd name="connsiteY1173" fmla="*/ 5613572 h 5973007"/>
              <a:gd name="connsiteX1174" fmla="*/ 2859346 w 6884782"/>
              <a:gd name="connsiteY1174" fmla="*/ 5613985 h 5973007"/>
              <a:gd name="connsiteX1175" fmla="*/ 2861825 w 6884782"/>
              <a:gd name="connsiteY1175" fmla="*/ 5617083 h 5973007"/>
              <a:gd name="connsiteX1176" fmla="*/ 2863838 w 6884782"/>
              <a:gd name="connsiteY1176" fmla="*/ 5616773 h 5973007"/>
              <a:gd name="connsiteX1177" fmla="*/ 2862599 w 6884782"/>
              <a:gd name="connsiteY1177" fmla="*/ 5618321 h 5973007"/>
              <a:gd name="connsiteX1178" fmla="*/ 2863838 w 6884782"/>
              <a:gd name="connsiteY1178" fmla="*/ 5620593 h 5973007"/>
              <a:gd name="connsiteX1179" fmla="*/ 2863993 w 6884782"/>
              <a:gd name="connsiteY1179" fmla="*/ 5623072 h 5973007"/>
              <a:gd name="connsiteX1180" fmla="*/ 2861670 w 6884782"/>
              <a:gd name="connsiteY1180" fmla="*/ 5622245 h 5973007"/>
              <a:gd name="connsiteX1181" fmla="*/ 2860895 w 6884782"/>
              <a:gd name="connsiteY1181" fmla="*/ 5621316 h 5973007"/>
              <a:gd name="connsiteX1182" fmla="*/ 2860121 w 6884782"/>
              <a:gd name="connsiteY1182" fmla="*/ 5621316 h 5973007"/>
              <a:gd name="connsiteX1183" fmla="*/ 2860121 w 6884782"/>
              <a:gd name="connsiteY1183" fmla="*/ 5621006 h 5973007"/>
              <a:gd name="connsiteX1184" fmla="*/ 2856558 w 6884782"/>
              <a:gd name="connsiteY1184" fmla="*/ 5622555 h 5973007"/>
              <a:gd name="connsiteX1185" fmla="*/ 2850827 w 6884782"/>
              <a:gd name="connsiteY1185" fmla="*/ 5625550 h 5973007"/>
              <a:gd name="connsiteX1186" fmla="*/ 2850362 w 6884782"/>
              <a:gd name="connsiteY1186" fmla="*/ 5622039 h 5973007"/>
              <a:gd name="connsiteX1187" fmla="*/ 2852066 w 6884782"/>
              <a:gd name="connsiteY1187" fmla="*/ 5621936 h 5973007"/>
              <a:gd name="connsiteX1188" fmla="*/ 2857023 w 6884782"/>
              <a:gd name="connsiteY1188" fmla="*/ 5618012 h 5973007"/>
              <a:gd name="connsiteX1189" fmla="*/ 2857488 w 6884782"/>
              <a:gd name="connsiteY1189" fmla="*/ 5617909 h 5973007"/>
              <a:gd name="connsiteX1190" fmla="*/ 2855939 w 6884782"/>
              <a:gd name="connsiteY1190" fmla="*/ 5617083 h 5973007"/>
              <a:gd name="connsiteX1191" fmla="*/ 2853925 w 6884782"/>
              <a:gd name="connsiteY1191" fmla="*/ 5616050 h 5973007"/>
              <a:gd name="connsiteX1192" fmla="*/ 2853770 w 6884782"/>
              <a:gd name="connsiteY1192" fmla="*/ 5615844 h 5973007"/>
              <a:gd name="connsiteX1193" fmla="*/ 2853305 w 6884782"/>
              <a:gd name="connsiteY1193" fmla="*/ 5616050 h 5973007"/>
              <a:gd name="connsiteX1194" fmla="*/ 2850053 w 6884782"/>
              <a:gd name="connsiteY1194" fmla="*/ 5615947 h 5973007"/>
              <a:gd name="connsiteX1195" fmla="*/ 2850982 w 6884782"/>
              <a:gd name="connsiteY1195" fmla="*/ 5615844 h 5973007"/>
              <a:gd name="connsiteX1196" fmla="*/ 2850053 w 6884782"/>
              <a:gd name="connsiteY1196" fmla="*/ 5615121 h 5973007"/>
              <a:gd name="connsiteX1197" fmla="*/ 2852686 w 6884782"/>
              <a:gd name="connsiteY1197" fmla="*/ 5614191 h 5973007"/>
              <a:gd name="connsiteX1198" fmla="*/ 2852376 w 6884782"/>
              <a:gd name="connsiteY1198" fmla="*/ 5613675 h 5973007"/>
              <a:gd name="connsiteX1199" fmla="*/ 2850982 w 6884782"/>
              <a:gd name="connsiteY1199" fmla="*/ 5610784 h 5973007"/>
              <a:gd name="connsiteX1200" fmla="*/ 2852841 w 6884782"/>
              <a:gd name="connsiteY1200" fmla="*/ 5609028 h 5973007"/>
              <a:gd name="connsiteX1201" fmla="*/ 2851292 w 6884782"/>
              <a:gd name="connsiteY1201" fmla="*/ 5607273 h 5973007"/>
              <a:gd name="connsiteX1202" fmla="*/ 2853305 w 6884782"/>
              <a:gd name="connsiteY1202" fmla="*/ 5596121 h 5973007"/>
              <a:gd name="connsiteX1203" fmla="*/ 2857797 w 6884782"/>
              <a:gd name="connsiteY1203" fmla="*/ 5593540 h 5973007"/>
              <a:gd name="connsiteX1204" fmla="*/ 3629646 w 6884782"/>
              <a:gd name="connsiteY1204" fmla="*/ 5592405 h 5973007"/>
              <a:gd name="connsiteX1205" fmla="*/ 3634138 w 6884782"/>
              <a:gd name="connsiteY1205" fmla="*/ 5594986 h 5973007"/>
              <a:gd name="connsiteX1206" fmla="*/ 3634138 w 6884782"/>
              <a:gd name="connsiteY1206" fmla="*/ 5596948 h 5973007"/>
              <a:gd name="connsiteX1207" fmla="*/ 3630420 w 6884782"/>
              <a:gd name="connsiteY1207" fmla="*/ 5597774 h 5973007"/>
              <a:gd name="connsiteX1208" fmla="*/ 3627477 w 6884782"/>
              <a:gd name="connsiteY1208" fmla="*/ 5594986 h 5973007"/>
              <a:gd name="connsiteX1209" fmla="*/ 3627477 w 6884782"/>
              <a:gd name="connsiteY1209" fmla="*/ 5593024 h 5973007"/>
              <a:gd name="connsiteX1210" fmla="*/ 3629646 w 6884782"/>
              <a:gd name="connsiteY1210" fmla="*/ 5592405 h 5973007"/>
              <a:gd name="connsiteX1211" fmla="*/ 2662163 w 6884782"/>
              <a:gd name="connsiteY1211" fmla="*/ 5591785 h 5973007"/>
              <a:gd name="connsiteX1212" fmla="*/ 2665571 w 6884782"/>
              <a:gd name="connsiteY1212" fmla="*/ 5601594 h 5973007"/>
              <a:gd name="connsiteX1213" fmla="*/ 2663403 w 6884782"/>
              <a:gd name="connsiteY1213" fmla="*/ 5601491 h 5973007"/>
              <a:gd name="connsiteX1214" fmla="*/ 2660769 w 6884782"/>
              <a:gd name="connsiteY1214" fmla="*/ 5600872 h 5973007"/>
              <a:gd name="connsiteX1215" fmla="*/ 2662163 w 6884782"/>
              <a:gd name="connsiteY1215" fmla="*/ 5591785 h 5973007"/>
              <a:gd name="connsiteX1216" fmla="*/ 3223043 w 6884782"/>
              <a:gd name="connsiteY1216" fmla="*/ 5587345 h 5973007"/>
              <a:gd name="connsiteX1217" fmla="*/ 3223198 w 6884782"/>
              <a:gd name="connsiteY1217" fmla="*/ 5601697 h 5973007"/>
              <a:gd name="connsiteX1218" fmla="*/ 3213439 w 6884782"/>
              <a:gd name="connsiteY1218" fmla="*/ 5595089 h 5973007"/>
              <a:gd name="connsiteX1219" fmla="*/ 3223043 w 6884782"/>
              <a:gd name="connsiteY1219" fmla="*/ 5587345 h 5973007"/>
              <a:gd name="connsiteX1220" fmla="*/ 2970252 w 6884782"/>
              <a:gd name="connsiteY1220" fmla="*/ 5587345 h 5973007"/>
              <a:gd name="connsiteX1221" fmla="*/ 2981559 w 6884782"/>
              <a:gd name="connsiteY1221" fmla="*/ 5597774 h 5973007"/>
              <a:gd name="connsiteX1222" fmla="*/ 2982489 w 6884782"/>
              <a:gd name="connsiteY1222" fmla="*/ 5599426 h 5973007"/>
              <a:gd name="connsiteX1223" fmla="*/ 2981095 w 6884782"/>
              <a:gd name="connsiteY1223" fmla="*/ 5601697 h 5973007"/>
              <a:gd name="connsiteX1224" fmla="*/ 2970872 w 6884782"/>
              <a:gd name="connsiteY1224" fmla="*/ 5595192 h 5973007"/>
              <a:gd name="connsiteX1225" fmla="*/ 2969942 w 6884782"/>
              <a:gd name="connsiteY1225" fmla="*/ 5593643 h 5973007"/>
              <a:gd name="connsiteX1226" fmla="*/ 2970252 w 6884782"/>
              <a:gd name="connsiteY1226" fmla="*/ 5587345 h 5973007"/>
              <a:gd name="connsiteX1227" fmla="*/ 3017031 w 6884782"/>
              <a:gd name="connsiteY1227" fmla="*/ 5586312 h 5973007"/>
              <a:gd name="connsiteX1228" fmla="*/ 3011300 w 6884782"/>
              <a:gd name="connsiteY1228" fmla="*/ 5597154 h 5973007"/>
              <a:gd name="connsiteX1229" fmla="*/ 3009596 w 6884782"/>
              <a:gd name="connsiteY1229" fmla="*/ 5592094 h 5973007"/>
              <a:gd name="connsiteX1230" fmla="*/ 3017031 w 6884782"/>
              <a:gd name="connsiteY1230" fmla="*/ 5586312 h 5973007"/>
              <a:gd name="connsiteX1231" fmla="*/ 2708477 w 6884782"/>
              <a:gd name="connsiteY1231" fmla="*/ 5586106 h 5973007"/>
              <a:gd name="connsiteX1232" fmla="*/ 2706928 w 6884782"/>
              <a:gd name="connsiteY1232" fmla="*/ 5596225 h 5973007"/>
              <a:gd name="connsiteX1233" fmla="*/ 2702901 w 6884782"/>
              <a:gd name="connsiteY1233" fmla="*/ 5593850 h 5973007"/>
              <a:gd name="connsiteX1234" fmla="*/ 2708477 w 6884782"/>
              <a:gd name="connsiteY1234" fmla="*/ 5586106 h 5973007"/>
              <a:gd name="connsiteX1235" fmla="*/ 3510221 w 6884782"/>
              <a:gd name="connsiteY1235" fmla="*/ 5584247 h 5973007"/>
              <a:gd name="connsiteX1236" fmla="*/ 3522612 w 6884782"/>
              <a:gd name="connsiteY1236" fmla="*/ 5587448 h 5973007"/>
              <a:gd name="connsiteX1237" fmla="*/ 3516106 w 6884782"/>
              <a:gd name="connsiteY1237" fmla="*/ 5594882 h 5973007"/>
              <a:gd name="connsiteX1238" fmla="*/ 3508982 w 6884782"/>
              <a:gd name="connsiteY1238" fmla="*/ 5591475 h 5973007"/>
              <a:gd name="connsiteX1239" fmla="*/ 3510221 w 6884782"/>
              <a:gd name="connsiteY1239" fmla="*/ 5584247 h 5973007"/>
              <a:gd name="connsiteX1240" fmla="*/ 3543523 w 6884782"/>
              <a:gd name="connsiteY1240" fmla="*/ 5584041 h 5973007"/>
              <a:gd name="connsiteX1241" fmla="*/ 3549409 w 6884782"/>
              <a:gd name="connsiteY1241" fmla="*/ 5588584 h 5973007"/>
              <a:gd name="connsiteX1242" fmla="*/ 3545692 w 6884782"/>
              <a:gd name="connsiteY1242" fmla="*/ 5595399 h 5973007"/>
              <a:gd name="connsiteX1243" fmla="*/ 3543523 w 6884782"/>
              <a:gd name="connsiteY1243" fmla="*/ 5584041 h 5973007"/>
              <a:gd name="connsiteX1244" fmla="*/ 3076046 w 6884782"/>
              <a:gd name="connsiteY1244" fmla="*/ 5582995 h 5973007"/>
              <a:gd name="connsiteX1245" fmla="*/ 3087508 w 6884782"/>
              <a:gd name="connsiteY1245" fmla="*/ 5591062 h 5973007"/>
              <a:gd name="connsiteX1246" fmla="*/ 3087199 w 6884782"/>
              <a:gd name="connsiteY1246" fmla="*/ 5593747 h 5973007"/>
              <a:gd name="connsiteX1247" fmla="*/ 3067527 w 6884782"/>
              <a:gd name="connsiteY1247" fmla="*/ 5605724 h 5973007"/>
              <a:gd name="connsiteX1248" fmla="*/ 3049094 w 6884782"/>
              <a:gd name="connsiteY1248" fmla="*/ 5596225 h 5973007"/>
              <a:gd name="connsiteX1249" fmla="*/ 3062261 w 6884782"/>
              <a:gd name="connsiteY1249" fmla="*/ 5583524 h 5973007"/>
              <a:gd name="connsiteX1250" fmla="*/ 3076046 w 6884782"/>
              <a:gd name="connsiteY1250" fmla="*/ 5582995 h 5973007"/>
              <a:gd name="connsiteX1251" fmla="*/ 2754482 w 6884782"/>
              <a:gd name="connsiteY1251" fmla="*/ 5582698 h 5973007"/>
              <a:gd name="connsiteX1252" fmla="*/ 2749060 w 6884782"/>
              <a:gd name="connsiteY1252" fmla="*/ 5597360 h 5973007"/>
              <a:gd name="connsiteX1253" fmla="*/ 2743484 w 6884782"/>
              <a:gd name="connsiteY1253" fmla="*/ 5597360 h 5973007"/>
              <a:gd name="connsiteX1254" fmla="*/ 2754482 w 6884782"/>
              <a:gd name="connsiteY1254" fmla="*/ 5582698 h 5973007"/>
              <a:gd name="connsiteX1255" fmla="*/ 3106561 w 6884782"/>
              <a:gd name="connsiteY1255" fmla="*/ 5577845 h 5973007"/>
              <a:gd name="connsiteX1256" fmla="*/ 3109194 w 6884782"/>
              <a:gd name="connsiteY1256" fmla="*/ 5600252 h 5973007"/>
              <a:gd name="connsiteX1257" fmla="*/ 3105012 w 6884782"/>
              <a:gd name="connsiteY1257" fmla="*/ 5596121 h 5973007"/>
              <a:gd name="connsiteX1258" fmla="*/ 3104857 w 6884782"/>
              <a:gd name="connsiteY1258" fmla="*/ 5595295 h 5973007"/>
              <a:gd name="connsiteX1259" fmla="*/ 3104702 w 6884782"/>
              <a:gd name="connsiteY1259" fmla="*/ 5596535 h 5973007"/>
              <a:gd name="connsiteX1260" fmla="*/ 3102688 w 6884782"/>
              <a:gd name="connsiteY1260" fmla="*/ 5616050 h 5973007"/>
              <a:gd name="connsiteX1261" fmla="*/ 3098661 w 6884782"/>
              <a:gd name="connsiteY1261" fmla="*/ 5605931 h 5973007"/>
              <a:gd name="connsiteX1262" fmla="*/ 3096028 w 6884782"/>
              <a:gd name="connsiteY1262" fmla="*/ 5596121 h 5973007"/>
              <a:gd name="connsiteX1263" fmla="*/ 3097112 w 6884782"/>
              <a:gd name="connsiteY1263" fmla="*/ 5593024 h 5973007"/>
              <a:gd name="connsiteX1264" fmla="*/ 3096648 w 6884782"/>
              <a:gd name="connsiteY1264" fmla="*/ 5592714 h 5973007"/>
              <a:gd name="connsiteX1265" fmla="*/ 3099900 w 6884782"/>
              <a:gd name="connsiteY1265" fmla="*/ 5587654 h 5973007"/>
              <a:gd name="connsiteX1266" fmla="*/ 3102069 w 6884782"/>
              <a:gd name="connsiteY1266" fmla="*/ 5590133 h 5973007"/>
              <a:gd name="connsiteX1267" fmla="*/ 3103772 w 6884782"/>
              <a:gd name="connsiteY1267" fmla="*/ 5589720 h 5973007"/>
              <a:gd name="connsiteX1268" fmla="*/ 3104547 w 6884782"/>
              <a:gd name="connsiteY1268" fmla="*/ 5583627 h 5973007"/>
              <a:gd name="connsiteX1269" fmla="*/ 3106561 w 6884782"/>
              <a:gd name="connsiteY1269" fmla="*/ 5577845 h 5973007"/>
              <a:gd name="connsiteX1270" fmla="*/ 3149467 w 6884782"/>
              <a:gd name="connsiteY1270" fmla="*/ 5575986 h 5973007"/>
              <a:gd name="connsiteX1271" fmla="*/ 3151945 w 6884782"/>
              <a:gd name="connsiteY1271" fmla="*/ 5575986 h 5973007"/>
              <a:gd name="connsiteX1272" fmla="*/ 3150551 w 6884782"/>
              <a:gd name="connsiteY1272" fmla="*/ 5588893 h 5973007"/>
              <a:gd name="connsiteX1273" fmla="*/ 3149622 w 6884782"/>
              <a:gd name="connsiteY1273" fmla="*/ 5590649 h 5973007"/>
              <a:gd name="connsiteX1274" fmla="*/ 3144201 w 6884782"/>
              <a:gd name="connsiteY1274" fmla="*/ 5594056 h 5973007"/>
              <a:gd name="connsiteX1275" fmla="*/ 3148383 w 6884782"/>
              <a:gd name="connsiteY1275" fmla="*/ 5577742 h 5973007"/>
              <a:gd name="connsiteX1276" fmla="*/ 3149467 w 6884782"/>
              <a:gd name="connsiteY1276" fmla="*/ 5575986 h 5973007"/>
              <a:gd name="connsiteX1277" fmla="*/ 3516881 w 6884782"/>
              <a:gd name="connsiteY1277" fmla="*/ 5573405 h 5973007"/>
              <a:gd name="connsiteX1278" fmla="*/ 3518120 w 6884782"/>
              <a:gd name="connsiteY1278" fmla="*/ 5574954 h 5973007"/>
              <a:gd name="connsiteX1279" fmla="*/ 3518275 w 6884782"/>
              <a:gd name="connsiteY1279" fmla="*/ 5577948 h 5973007"/>
              <a:gd name="connsiteX1280" fmla="*/ 3516726 w 6884782"/>
              <a:gd name="connsiteY1280" fmla="*/ 5579910 h 5973007"/>
              <a:gd name="connsiteX1281" fmla="*/ 3512234 w 6884782"/>
              <a:gd name="connsiteY1281" fmla="*/ 5577329 h 5973007"/>
              <a:gd name="connsiteX1282" fmla="*/ 3516881 w 6884782"/>
              <a:gd name="connsiteY1282" fmla="*/ 5573405 h 5973007"/>
              <a:gd name="connsiteX1283" fmla="*/ 2704915 w 6884782"/>
              <a:gd name="connsiteY1283" fmla="*/ 5573095 h 5973007"/>
              <a:gd name="connsiteX1284" fmla="*/ 2707858 w 6884782"/>
              <a:gd name="connsiteY1284" fmla="*/ 5575986 h 5973007"/>
              <a:gd name="connsiteX1285" fmla="*/ 2707083 w 6884782"/>
              <a:gd name="connsiteY1285" fmla="*/ 5578775 h 5973007"/>
              <a:gd name="connsiteX1286" fmla="*/ 2705689 w 6884782"/>
              <a:gd name="connsiteY1286" fmla="*/ 5579187 h 5973007"/>
              <a:gd name="connsiteX1287" fmla="*/ 2704605 w 6884782"/>
              <a:gd name="connsiteY1287" fmla="*/ 5578155 h 5973007"/>
              <a:gd name="connsiteX1288" fmla="*/ 2703056 w 6884782"/>
              <a:gd name="connsiteY1288" fmla="*/ 5576090 h 5973007"/>
              <a:gd name="connsiteX1289" fmla="*/ 2703520 w 6884782"/>
              <a:gd name="connsiteY1289" fmla="*/ 5574747 h 5973007"/>
              <a:gd name="connsiteX1290" fmla="*/ 2704915 w 6884782"/>
              <a:gd name="connsiteY1290" fmla="*/ 5573095 h 5973007"/>
              <a:gd name="connsiteX1291" fmla="*/ 3304828 w 6884782"/>
              <a:gd name="connsiteY1291" fmla="*/ 5572682 h 5973007"/>
              <a:gd name="connsiteX1292" fmla="*/ 3304363 w 6884782"/>
              <a:gd name="connsiteY1292" fmla="*/ 5576400 h 5973007"/>
              <a:gd name="connsiteX1293" fmla="*/ 3300026 w 6884782"/>
              <a:gd name="connsiteY1293" fmla="*/ 5577845 h 5973007"/>
              <a:gd name="connsiteX1294" fmla="*/ 3296774 w 6884782"/>
              <a:gd name="connsiteY1294" fmla="*/ 5576296 h 5973007"/>
              <a:gd name="connsiteX1295" fmla="*/ 3296154 w 6884782"/>
              <a:gd name="connsiteY1295" fmla="*/ 5573199 h 5973007"/>
              <a:gd name="connsiteX1296" fmla="*/ 3304828 w 6884782"/>
              <a:gd name="connsiteY1296" fmla="*/ 5572682 h 5973007"/>
              <a:gd name="connsiteX1297" fmla="*/ 2943455 w 6884782"/>
              <a:gd name="connsiteY1297" fmla="*/ 5571959 h 5973007"/>
              <a:gd name="connsiteX1298" fmla="*/ 2942835 w 6884782"/>
              <a:gd name="connsiteY1298" fmla="*/ 5577019 h 5973007"/>
              <a:gd name="connsiteX1299" fmla="*/ 2940357 w 6884782"/>
              <a:gd name="connsiteY1299" fmla="*/ 5578568 h 5973007"/>
              <a:gd name="connsiteX1300" fmla="*/ 2937879 w 6884782"/>
              <a:gd name="connsiteY1300" fmla="*/ 5576813 h 5973007"/>
              <a:gd name="connsiteX1301" fmla="*/ 2936794 w 6884782"/>
              <a:gd name="connsiteY1301" fmla="*/ 5573302 h 5973007"/>
              <a:gd name="connsiteX1302" fmla="*/ 2943455 w 6884782"/>
              <a:gd name="connsiteY1302" fmla="*/ 5571959 h 5973007"/>
              <a:gd name="connsiteX1303" fmla="*/ 2877159 w 6884782"/>
              <a:gd name="connsiteY1303" fmla="*/ 5571134 h 5973007"/>
              <a:gd name="connsiteX1304" fmla="*/ 2880258 w 6884782"/>
              <a:gd name="connsiteY1304" fmla="*/ 5577329 h 5973007"/>
              <a:gd name="connsiteX1305" fmla="*/ 2879947 w 6884782"/>
              <a:gd name="connsiteY1305" fmla="*/ 5582698 h 5973007"/>
              <a:gd name="connsiteX1306" fmla="*/ 2880877 w 6884782"/>
              <a:gd name="connsiteY1306" fmla="*/ 5582905 h 5973007"/>
              <a:gd name="connsiteX1307" fmla="*/ 2887537 w 6884782"/>
              <a:gd name="connsiteY1307" fmla="*/ 5587345 h 5973007"/>
              <a:gd name="connsiteX1308" fmla="*/ 2890325 w 6884782"/>
              <a:gd name="connsiteY1308" fmla="*/ 5591372 h 5973007"/>
              <a:gd name="connsiteX1309" fmla="*/ 2891100 w 6884782"/>
              <a:gd name="connsiteY1309" fmla="*/ 5587654 h 5973007"/>
              <a:gd name="connsiteX1310" fmla="*/ 2899155 w 6884782"/>
              <a:gd name="connsiteY1310" fmla="*/ 5575367 h 5973007"/>
              <a:gd name="connsiteX1311" fmla="*/ 2905196 w 6884782"/>
              <a:gd name="connsiteY1311" fmla="*/ 5584970 h 5973007"/>
              <a:gd name="connsiteX1312" fmla="*/ 2893733 w 6884782"/>
              <a:gd name="connsiteY1312" fmla="*/ 5600355 h 5973007"/>
              <a:gd name="connsiteX1313" fmla="*/ 2893269 w 6884782"/>
              <a:gd name="connsiteY1313" fmla="*/ 5600355 h 5973007"/>
              <a:gd name="connsiteX1314" fmla="*/ 2892959 w 6884782"/>
              <a:gd name="connsiteY1314" fmla="*/ 5607273 h 5973007"/>
              <a:gd name="connsiteX1315" fmla="*/ 2890635 w 6884782"/>
              <a:gd name="connsiteY1315" fmla="*/ 5614811 h 5973007"/>
              <a:gd name="connsiteX1316" fmla="*/ 2888157 w 6884782"/>
              <a:gd name="connsiteY1316" fmla="*/ 5615844 h 5973007"/>
              <a:gd name="connsiteX1317" fmla="*/ 2870499 w 6884782"/>
              <a:gd name="connsiteY1317" fmla="*/ 5603969 h 5973007"/>
              <a:gd name="connsiteX1318" fmla="*/ 2868175 w 6884782"/>
              <a:gd name="connsiteY1318" fmla="*/ 5595709 h 5973007"/>
              <a:gd name="connsiteX1319" fmla="*/ 2868640 w 6884782"/>
              <a:gd name="connsiteY1319" fmla="*/ 5591475 h 5973007"/>
              <a:gd name="connsiteX1320" fmla="*/ 2867556 w 6884782"/>
              <a:gd name="connsiteY1320" fmla="*/ 5591888 h 5973007"/>
              <a:gd name="connsiteX1321" fmla="*/ 2855939 w 6884782"/>
              <a:gd name="connsiteY1321" fmla="*/ 5581976 h 5973007"/>
              <a:gd name="connsiteX1322" fmla="*/ 2877159 w 6884782"/>
              <a:gd name="connsiteY1322" fmla="*/ 5571134 h 5973007"/>
              <a:gd name="connsiteX1323" fmla="*/ 3015482 w 6884782"/>
              <a:gd name="connsiteY1323" fmla="*/ 5570617 h 5973007"/>
              <a:gd name="connsiteX1324" fmla="*/ 3018270 w 6884782"/>
              <a:gd name="connsiteY1324" fmla="*/ 5574438 h 5973007"/>
              <a:gd name="connsiteX1325" fmla="*/ 3015637 w 6884782"/>
              <a:gd name="connsiteY1325" fmla="*/ 5576503 h 5973007"/>
              <a:gd name="connsiteX1326" fmla="*/ 3013933 w 6884782"/>
              <a:gd name="connsiteY1326" fmla="*/ 5575264 h 5973007"/>
              <a:gd name="connsiteX1327" fmla="*/ 3015482 w 6884782"/>
              <a:gd name="connsiteY1327" fmla="*/ 5570617 h 5973007"/>
              <a:gd name="connsiteX1328" fmla="*/ 3265639 w 6884782"/>
              <a:gd name="connsiteY1328" fmla="*/ 5568965 h 5973007"/>
              <a:gd name="connsiteX1329" fmla="*/ 3266878 w 6884782"/>
              <a:gd name="connsiteY1329" fmla="*/ 5577948 h 5973007"/>
              <a:gd name="connsiteX1330" fmla="*/ 3265949 w 6884782"/>
              <a:gd name="connsiteY1330" fmla="*/ 5581976 h 5973007"/>
              <a:gd name="connsiteX1331" fmla="*/ 3266259 w 6884782"/>
              <a:gd name="connsiteY1331" fmla="*/ 5581976 h 5973007"/>
              <a:gd name="connsiteX1332" fmla="*/ 3269512 w 6884782"/>
              <a:gd name="connsiteY1332" fmla="*/ 5583111 h 5973007"/>
              <a:gd name="connsiteX1333" fmla="*/ 3272455 w 6884782"/>
              <a:gd name="connsiteY1333" fmla="*/ 5587138 h 5973007"/>
              <a:gd name="connsiteX1334" fmla="*/ 3286705 w 6884782"/>
              <a:gd name="connsiteY1334" fmla="*/ 5586622 h 5973007"/>
              <a:gd name="connsiteX1335" fmla="*/ 3306532 w 6884782"/>
              <a:gd name="connsiteY1335" fmla="*/ 5586106 h 5973007"/>
              <a:gd name="connsiteX1336" fmla="*/ 3300801 w 6884782"/>
              <a:gd name="connsiteY1336" fmla="*/ 5590029 h 5973007"/>
              <a:gd name="connsiteX1337" fmla="*/ 3301420 w 6884782"/>
              <a:gd name="connsiteY1337" fmla="*/ 5590546 h 5973007"/>
              <a:gd name="connsiteX1338" fmla="*/ 3310249 w 6884782"/>
              <a:gd name="connsiteY1338" fmla="*/ 5591372 h 5973007"/>
              <a:gd name="connsiteX1339" fmla="*/ 3310714 w 6884782"/>
              <a:gd name="connsiteY1339" fmla="*/ 5599736 h 5973007"/>
              <a:gd name="connsiteX1340" fmla="*/ 3309165 w 6884782"/>
              <a:gd name="connsiteY1340" fmla="*/ 5602627 h 5973007"/>
              <a:gd name="connsiteX1341" fmla="*/ 3294140 w 6884782"/>
              <a:gd name="connsiteY1341" fmla="*/ 5593437 h 5973007"/>
              <a:gd name="connsiteX1342" fmla="*/ 3294295 w 6884782"/>
              <a:gd name="connsiteY1342" fmla="*/ 5593024 h 5973007"/>
              <a:gd name="connsiteX1343" fmla="*/ 3286860 w 6884782"/>
              <a:gd name="connsiteY1343" fmla="*/ 5594986 h 5973007"/>
              <a:gd name="connsiteX1344" fmla="*/ 3281748 w 6884782"/>
              <a:gd name="connsiteY1344" fmla="*/ 5595502 h 5973007"/>
              <a:gd name="connsiteX1345" fmla="*/ 3282213 w 6884782"/>
              <a:gd name="connsiteY1345" fmla="*/ 5595915 h 5973007"/>
              <a:gd name="connsiteX1346" fmla="*/ 3277721 w 6884782"/>
              <a:gd name="connsiteY1346" fmla="*/ 5611404 h 5973007"/>
              <a:gd name="connsiteX1347" fmla="*/ 3275088 w 6884782"/>
              <a:gd name="connsiteY1347" fmla="*/ 5610681 h 5973007"/>
              <a:gd name="connsiteX1348" fmla="*/ 3272300 w 6884782"/>
              <a:gd name="connsiteY1348" fmla="*/ 5605621 h 5973007"/>
              <a:gd name="connsiteX1349" fmla="*/ 3272609 w 6884782"/>
              <a:gd name="connsiteY1349" fmla="*/ 5602007 h 5973007"/>
              <a:gd name="connsiteX1350" fmla="*/ 3268118 w 6884782"/>
              <a:gd name="connsiteY1350" fmla="*/ 5601594 h 5973007"/>
              <a:gd name="connsiteX1351" fmla="*/ 3268737 w 6884782"/>
              <a:gd name="connsiteY1351" fmla="*/ 5596948 h 5973007"/>
              <a:gd name="connsiteX1352" fmla="*/ 3268892 w 6884782"/>
              <a:gd name="connsiteY1352" fmla="*/ 5596741 h 5973007"/>
              <a:gd name="connsiteX1353" fmla="*/ 3263935 w 6884782"/>
              <a:gd name="connsiteY1353" fmla="*/ 5597154 h 5973007"/>
              <a:gd name="connsiteX1354" fmla="*/ 3263935 w 6884782"/>
              <a:gd name="connsiteY1354" fmla="*/ 5592817 h 5973007"/>
              <a:gd name="connsiteX1355" fmla="*/ 3264245 w 6884782"/>
              <a:gd name="connsiteY1355" fmla="*/ 5590443 h 5973007"/>
              <a:gd name="connsiteX1356" fmla="*/ 3263316 w 6884782"/>
              <a:gd name="connsiteY1356" fmla="*/ 5590339 h 5973007"/>
              <a:gd name="connsiteX1357" fmla="*/ 3261922 w 6884782"/>
              <a:gd name="connsiteY1357" fmla="*/ 5585486 h 5973007"/>
              <a:gd name="connsiteX1358" fmla="*/ 3262542 w 6884782"/>
              <a:gd name="connsiteY1358" fmla="*/ 5584247 h 5973007"/>
              <a:gd name="connsiteX1359" fmla="*/ 3258359 w 6884782"/>
              <a:gd name="connsiteY1359" fmla="*/ 5584453 h 5973007"/>
              <a:gd name="connsiteX1360" fmla="*/ 3254487 w 6884782"/>
              <a:gd name="connsiteY1360" fmla="*/ 5582905 h 5973007"/>
              <a:gd name="connsiteX1361" fmla="*/ 3253557 w 6884782"/>
              <a:gd name="connsiteY1361" fmla="*/ 5581046 h 5973007"/>
              <a:gd name="connsiteX1362" fmla="*/ 3252473 w 6884782"/>
              <a:gd name="connsiteY1362" fmla="*/ 5582905 h 5973007"/>
              <a:gd name="connsiteX1363" fmla="*/ 3247516 w 6884782"/>
              <a:gd name="connsiteY1363" fmla="*/ 5584867 h 5973007"/>
              <a:gd name="connsiteX1364" fmla="*/ 3242250 w 6884782"/>
              <a:gd name="connsiteY1364" fmla="*/ 5584350 h 5973007"/>
              <a:gd name="connsiteX1365" fmla="*/ 3245193 w 6884782"/>
              <a:gd name="connsiteY1365" fmla="*/ 5579291 h 5973007"/>
              <a:gd name="connsiteX1366" fmla="*/ 3252938 w 6884782"/>
              <a:gd name="connsiteY1366" fmla="*/ 5578568 h 5973007"/>
              <a:gd name="connsiteX1367" fmla="*/ 3253712 w 6884782"/>
              <a:gd name="connsiteY1367" fmla="*/ 5579910 h 5973007"/>
              <a:gd name="connsiteX1368" fmla="*/ 3254487 w 6884782"/>
              <a:gd name="connsiteY1368" fmla="*/ 5576296 h 5973007"/>
              <a:gd name="connsiteX1369" fmla="*/ 3265639 w 6884782"/>
              <a:gd name="connsiteY1369" fmla="*/ 5568965 h 5973007"/>
              <a:gd name="connsiteX1370" fmla="*/ 2820467 w 6884782"/>
              <a:gd name="connsiteY1370" fmla="*/ 5567726 h 5973007"/>
              <a:gd name="connsiteX1371" fmla="*/ 2828987 w 6884782"/>
              <a:gd name="connsiteY1371" fmla="*/ 5578361 h 5973007"/>
              <a:gd name="connsiteX1372" fmla="*/ 2816905 w 6884782"/>
              <a:gd name="connsiteY1372" fmla="*/ 5595089 h 5973007"/>
              <a:gd name="connsiteX1373" fmla="*/ 2813187 w 6884782"/>
              <a:gd name="connsiteY1373" fmla="*/ 5595192 h 5973007"/>
              <a:gd name="connsiteX1374" fmla="*/ 2809470 w 6884782"/>
              <a:gd name="connsiteY1374" fmla="*/ 5594366 h 5973007"/>
              <a:gd name="connsiteX1375" fmla="*/ 2800021 w 6884782"/>
              <a:gd name="connsiteY1375" fmla="*/ 5586003 h 5973007"/>
              <a:gd name="connsiteX1376" fmla="*/ 2801105 w 6884782"/>
              <a:gd name="connsiteY1376" fmla="*/ 5579187 h 5973007"/>
              <a:gd name="connsiteX1377" fmla="*/ 2820467 w 6884782"/>
              <a:gd name="connsiteY1377" fmla="*/ 5567726 h 5973007"/>
              <a:gd name="connsiteX1378" fmla="*/ 2964521 w 6884782"/>
              <a:gd name="connsiteY1378" fmla="*/ 5567519 h 5973007"/>
              <a:gd name="connsiteX1379" fmla="*/ 2970872 w 6884782"/>
              <a:gd name="connsiteY1379" fmla="*/ 5572682 h 5973007"/>
              <a:gd name="connsiteX1380" fmla="*/ 2965450 w 6884782"/>
              <a:gd name="connsiteY1380" fmla="*/ 5588584 h 5973007"/>
              <a:gd name="connsiteX1381" fmla="*/ 2964831 w 6884782"/>
              <a:gd name="connsiteY1381" fmla="*/ 5588171 h 5973007"/>
              <a:gd name="connsiteX1382" fmla="*/ 2963127 w 6884782"/>
              <a:gd name="connsiteY1382" fmla="*/ 5593540 h 5973007"/>
              <a:gd name="connsiteX1383" fmla="*/ 2959719 w 6884782"/>
              <a:gd name="connsiteY1383" fmla="*/ 5593850 h 5973007"/>
              <a:gd name="connsiteX1384" fmla="*/ 2954453 w 6884782"/>
              <a:gd name="connsiteY1384" fmla="*/ 5600872 h 5973007"/>
              <a:gd name="connsiteX1385" fmla="*/ 2946553 w 6884782"/>
              <a:gd name="connsiteY1385" fmla="*/ 5604382 h 5973007"/>
              <a:gd name="connsiteX1386" fmla="*/ 2945933 w 6884782"/>
              <a:gd name="connsiteY1386" fmla="*/ 5588377 h 5973007"/>
              <a:gd name="connsiteX1387" fmla="*/ 2949031 w 6884782"/>
              <a:gd name="connsiteY1387" fmla="*/ 5583627 h 5973007"/>
              <a:gd name="connsiteX1388" fmla="*/ 2948722 w 6884782"/>
              <a:gd name="connsiteY1388" fmla="*/ 5582698 h 5973007"/>
              <a:gd name="connsiteX1389" fmla="*/ 2950115 w 6884782"/>
              <a:gd name="connsiteY1389" fmla="*/ 5580943 h 5973007"/>
              <a:gd name="connsiteX1390" fmla="*/ 2952284 w 6884782"/>
              <a:gd name="connsiteY1390" fmla="*/ 5580633 h 5973007"/>
              <a:gd name="connsiteX1391" fmla="*/ 2952439 w 6884782"/>
              <a:gd name="connsiteY1391" fmla="*/ 5580633 h 5973007"/>
              <a:gd name="connsiteX1392" fmla="*/ 2957241 w 6884782"/>
              <a:gd name="connsiteY1392" fmla="*/ 5577742 h 5973007"/>
              <a:gd name="connsiteX1393" fmla="*/ 2958325 w 6884782"/>
              <a:gd name="connsiteY1393" fmla="*/ 5574747 h 5973007"/>
              <a:gd name="connsiteX1394" fmla="*/ 2959719 w 6884782"/>
              <a:gd name="connsiteY1394" fmla="*/ 5571856 h 5973007"/>
              <a:gd name="connsiteX1395" fmla="*/ 2958790 w 6884782"/>
              <a:gd name="connsiteY1395" fmla="*/ 5572579 h 5973007"/>
              <a:gd name="connsiteX1396" fmla="*/ 2946398 w 6884782"/>
              <a:gd name="connsiteY1396" fmla="*/ 5571547 h 5973007"/>
              <a:gd name="connsiteX1397" fmla="*/ 2954453 w 6884782"/>
              <a:gd name="connsiteY1397" fmla="*/ 5567726 h 5973007"/>
              <a:gd name="connsiteX1398" fmla="*/ 2961113 w 6884782"/>
              <a:gd name="connsiteY1398" fmla="*/ 5570101 h 5973007"/>
              <a:gd name="connsiteX1399" fmla="*/ 2836422 w 6884782"/>
              <a:gd name="connsiteY1399" fmla="*/ 5566177 h 5973007"/>
              <a:gd name="connsiteX1400" fmla="*/ 2844167 w 6884782"/>
              <a:gd name="connsiteY1400" fmla="*/ 5571547 h 5973007"/>
              <a:gd name="connsiteX1401" fmla="*/ 2838280 w 6884782"/>
              <a:gd name="connsiteY1401" fmla="*/ 5577639 h 5973007"/>
              <a:gd name="connsiteX1402" fmla="*/ 2832704 w 6884782"/>
              <a:gd name="connsiteY1402" fmla="*/ 5574954 h 5973007"/>
              <a:gd name="connsiteX1403" fmla="*/ 2836422 w 6884782"/>
              <a:gd name="connsiteY1403" fmla="*/ 5566177 h 5973007"/>
              <a:gd name="connsiteX1404" fmla="*/ 3111827 w 6884782"/>
              <a:gd name="connsiteY1404" fmla="*/ 5565145 h 5973007"/>
              <a:gd name="connsiteX1405" fmla="*/ 3113221 w 6884782"/>
              <a:gd name="connsiteY1405" fmla="*/ 5568758 h 5973007"/>
              <a:gd name="connsiteX1406" fmla="*/ 3113376 w 6884782"/>
              <a:gd name="connsiteY1406" fmla="*/ 5568242 h 5973007"/>
              <a:gd name="connsiteX1407" fmla="*/ 3114461 w 6884782"/>
              <a:gd name="connsiteY1407" fmla="*/ 5591578 h 5973007"/>
              <a:gd name="connsiteX1408" fmla="*/ 3110123 w 6884782"/>
              <a:gd name="connsiteY1408" fmla="*/ 5578878 h 5973007"/>
              <a:gd name="connsiteX1409" fmla="*/ 3110588 w 6884782"/>
              <a:gd name="connsiteY1409" fmla="*/ 5574644 h 5973007"/>
              <a:gd name="connsiteX1410" fmla="*/ 3107645 w 6884782"/>
              <a:gd name="connsiteY1410" fmla="*/ 5573818 h 5973007"/>
              <a:gd name="connsiteX1411" fmla="*/ 3102069 w 6884782"/>
              <a:gd name="connsiteY1411" fmla="*/ 5570720 h 5973007"/>
              <a:gd name="connsiteX1412" fmla="*/ 3111827 w 6884782"/>
              <a:gd name="connsiteY1412" fmla="*/ 5565145 h 5973007"/>
              <a:gd name="connsiteX1413" fmla="*/ 2727685 w 6884782"/>
              <a:gd name="connsiteY1413" fmla="*/ 5565042 h 5973007"/>
              <a:gd name="connsiteX1414" fmla="*/ 2728304 w 6884782"/>
              <a:gd name="connsiteY1414" fmla="*/ 5565454 h 5973007"/>
              <a:gd name="connsiteX1415" fmla="*/ 2728769 w 6884782"/>
              <a:gd name="connsiteY1415" fmla="*/ 5565248 h 5973007"/>
              <a:gd name="connsiteX1416" fmla="*/ 2731557 w 6884782"/>
              <a:gd name="connsiteY1416" fmla="*/ 5565351 h 5973007"/>
              <a:gd name="connsiteX1417" fmla="*/ 2735739 w 6884782"/>
              <a:gd name="connsiteY1417" fmla="*/ 5565042 h 5973007"/>
              <a:gd name="connsiteX1418" fmla="*/ 2749370 w 6884782"/>
              <a:gd name="connsiteY1418" fmla="*/ 5567726 h 5973007"/>
              <a:gd name="connsiteX1419" fmla="*/ 2743794 w 6884782"/>
              <a:gd name="connsiteY1419" fmla="*/ 5569069 h 5973007"/>
              <a:gd name="connsiteX1420" fmla="*/ 2736514 w 6884782"/>
              <a:gd name="connsiteY1420" fmla="*/ 5569069 h 5973007"/>
              <a:gd name="connsiteX1421" fmla="*/ 2730937 w 6884782"/>
              <a:gd name="connsiteY1421" fmla="*/ 5569688 h 5973007"/>
              <a:gd name="connsiteX1422" fmla="*/ 2730008 w 6884782"/>
              <a:gd name="connsiteY1422" fmla="*/ 5571340 h 5973007"/>
              <a:gd name="connsiteX1423" fmla="*/ 2728304 w 6884782"/>
              <a:gd name="connsiteY1423" fmla="*/ 5572992 h 5973007"/>
              <a:gd name="connsiteX1424" fmla="*/ 2726755 w 6884782"/>
              <a:gd name="connsiteY1424" fmla="*/ 5573095 h 5973007"/>
              <a:gd name="connsiteX1425" fmla="*/ 2725671 w 6884782"/>
              <a:gd name="connsiteY1425" fmla="*/ 5572166 h 5973007"/>
              <a:gd name="connsiteX1426" fmla="*/ 2727685 w 6884782"/>
              <a:gd name="connsiteY1426" fmla="*/ 5565042 h 5973007"/>
              <a:gd name="connsiteX1427" fmla="*/ 3314645 w 6884782"/>
              <a:gd name="connsiteY1427" fmla="*/ 5562847 h 5973007"/>
              <a:gd name="connsiteX1428" fmla="*/ 3315051 w 6884782"/>
              <a:gd name="connsiteY1428" fmla="*/ 5568242 h 5973007"/>
              <a:gd name="connsiteX1429" fmla="*/ 3310869 w 6884782"/>
              <a:gd name="connsiteY1429" fmla="*/ 5564732 h 5973007"/>
              <a:gd name="connsiteX1430" fmla="*/ 3314645 w 6884782"/>
              <a:gd name="connsiteY1430" fmla="*/ 5562847 h 5973007"/>
              <a:gd name="connsiteX1431" fmla="*/ 3123135 w 6884782"/>
              <a:gd name="connsiteY1431" fmla="*/ 5562253 h 5973007"/>
              <a:gd name="connsiteX1432" fmla="*/ 3125148 w 6884782"/>
              <a:gd name="connsiteY1432" fmla="*/ 5565145 h 5973007"/>
              <a:gd name="connsiteX1433" fmla="*/ 3117404 w 6884782"/>
              <a:gd name="connsiteY1433" fmla="*/ 5576813 h 5973007"/>
              <a:gd name="connsiteX1434" fmla="*/ 3123135 w 6884782"/>
              <a:gd name="connsiteY1434" fmla="*/ 5562253 h 5973007"/>
              <a:gd name="connsiteX1435" fmla="*/ 3557619 w 6884782"/>
              <a:gd name="connsiteY1435" fmla="*/ 5561324 h 5973007"/>
              <a:gd name="connsiteX1436" fmla="*/ 3579924 w 6884782"/>
              <a:gd name="connsiteY1436" fmla="*/ 5578775 h 5973007"/>
              <a:gd name="connsiteX1437" fmla="*/ 3576826 w 6884782"/>
              <a:gd name="connsiteY1437" fmla="*/ 5579394 h 5973007"/>
              <a:gd name="connsiteX1438" fmla="*/ 3572953 w 6884782"/>
              <a:gd name="connsiteY1438" fmla="*/ 5578775 h 5973007"/>
              <a:gd name="connsiteX1439" fmla="*/ 3557619 w 6884782"/>
              <a:gd name="connsiteY1439" fmla="*/ 5561324 h 5973007"/>
              <a:gd name="connsiteX1440" fmla="*/ 2944694 w 6884782"/>
              <a:gd name="connsiteY1440" fmla="*/ 5561221 h 5973007"/>
              <a:gd name="connsiteX1441" fmla="*/ 2944229 w 6884782"/>
              <a:gd name="connsiteY1441" fmla="*/ 5561944 h 5973007"/>
              <a:gd name="connsiteX1442" fmla="*/ 2945624 w 6884782"/>
              <a:gd name="connsiteY1442" fmla="*/ 5562770 h 5973007"/>
              <a:gd name="connsiteX1443" fmla="*/ 2946088 w 6884782"/>
              <a:gd name="connsiteY1443" fmla="*/ 5562047 h 5973007"/>
              <a:gd name="connsiteX1444" fmla="*/ 2947018 w 6884782"/>
              <a:gd name="connsiteY1444" fmla="*/ 5563699 h 5973007"/>
              <a:gd name="connsiteX1445" fmla="*/ 2945624 w 6884782"/>
              <a:gd name="connsiteY1445" fmla="*/ 5570411 h 5973007"/>
              <a:gd name="connsiteX1446" fmla="*/ 2942061 w 6884782"/>
              <a:gd name="connsiteY1446" fmla="*/ 5568139 h 5973007"/>
              <a:gd name="connsiteX1447" fmla="*/ 2942061 w 6884782"/>
              <a:gd name="connsiteY1447" fmla="*/ 5564628 h 5973007"/>
              <a:gd name="connsiteX1448" fmla="*/ 2944694 w 6884782"/>
              <a:gd name="connsiteY1448" fmla="*/ 5561221 h 5973007"/>
              <a:gd name="connsiteX1449" fmla="*/ 2835802 w 6884782"/>
              <a:gd name="connsiteY1449" fmla="*/ 5560085 h 5973007"/>
              <a:gd name="connsiteX1450" fmla="*/ 2837661 w 6884782"/>
              <a:gd name="connsiteY1450" fmla="*/ 5561737 h 5973007"/>
              <a:gd name="connsiteX1451" fmla="*/ 2837816 w 6884782"/>
              <a:gd name="connsiteY1451" fmla="*/ 5562563 h 5973007"/>
              <a:gd name="connsiteX1452" fmla="*/ 2836112 w 6884782"/>
              <a:gd name="connsiteY1452" fmla="*/ 5563389 h 5973007"/>
              <a:gd name="connsiteX1453" fmla="*/ 2831155 w 6884782"/>
              <a:gd name="connsiteY1453" fmla="*/ 5563389 h 5973007"/>
              <a:gd name="connsiteX1454" fmla="*/ 2827902 w 6884782"/>
              <a:gd name="connsiteY1454" fmla="*/ 5563080 h 5973007"/>
              <a:gd name="connsiteX1455" fmla="*/ 2826198 w 6884782"/>
              <a:gd name="connsiteY1455" fmla="*/ 5563286 h 5973007"/>
              <a:gd name="connsiteX1456" fmla="*/ 2824340 w 6884782"/>
              <a:gd name="connsiteY1456" fmla="*/ 5561634 h 5973007"/>
              <a:gd name="connsiteX1457" fmla="*/ 2831620 w 6884782"/>
              <a:gd name="connsiteY1457" fmla="*/ 5560291 h 5973007"/>
              <a:gd name="connsiteX1458" fmla="*/ 2835802 w 6884782"/>
              <a:gd name="connsiteY1458" fmla="*/ 5560085 h 5973007"/>
              <a:gd name="connsiteX1459" fmla="*/ 2787164 w 6884782"/>
              <a:gd name="connsiteY1459" fmla="*/ 5559259 h 5973007"/>
              <a:gd name="connsiteX1460" fmla="*/ 2765479 w 6884782"/>
              <a:gd name="connsiteY1460" fmla="*/ 5573405 h 5973007"/>
              <a:gd name="connsiteX1461" fmla="*/ 2787164 w 6884782"/>
              <a:gd name="connsiteY1461" fmla="*/ 5559259 h 5973007"/>
              <a:gd name="connsiteX1462" fmla="*/ 2999992 w 6884782"/>
              <a:gd name="connsiteY1462" fmla="*/ 5558846 h 5973007"/>
              <a:gd name="connsiteX1463" fmla="*/ 2999682 w 6884782"/>
              <a:gd name="connsiteY1463" fmla="*/ 5568965 h 5973007"/>
              <a:gd name="connsiteX1464" fmla="*/ 2995345 w 6884782"/>
              <a:gd name="connsiteY1464" fmla="*/ 5566487 h 5973007"/>
              <a:gd name="connsiteX1465" fmla="*/ 2999992 w 6884782"/>
              <a:gd name="connsiteY1465" fmla="*/ 5558846 h 5973007"/>
              <a:gd name="connsiteX1466" fmla="*/ 2890945 w 6884782"/>
              <a:gd name="connsiteY1466" fmla="*/ 5554200 h 5973007"/>
              <a:gd name="connsiteX1467" fmla="*/ 2889861 w 6884782"/>
              <a:gd name="connsiteY1467" fmla="*/ 5566280 h 5973007"/>
              <a:gd name="connsiteX1468" fmla="*/ 2884439 w 6884782"/>
              <a:gd name="connsiteY1468" fmla="*/ 5578568 h 5973007"/>
              <a:gd name="connsiteX1469" fmla="*/ 2890945 w 6884782"/>
              <a:gd name="connsiteY1469" fmla="*/ 5554200 h 5973007"/>
              <a:gd name="connsiteX1470" fmla="*/ 3079454 w 6884782"/>
              <a:gd name="connsiteY1470" fmla="*/ 5549966 h 5973007"/>
              <a:gd name="connsiteX1471" fmla="*/ 3084720 w 6884782"/>
              <a:gd name="connsiteY1471" fmla="*/ 5555129 h 5973007"/>
              <a:gd name="connsiteX1472" fmla="*/ 3080228 w 6884782"/>
              <a:gd name="connsiteY1472" fmla="*/ 5557090 h 5973007"/>
              <a:gd name="connsiteX1473" fmla="*/ 3077440 w 6884782"/>
              <a:gd name="connsiteY1473" fmla="*/ 5555645 h 5973007"/>
              <a:gd name="connsiteX1474" fmla="*/ 3077285 w 6884782"/>
              <a:gd name="connsiteY1474" fmla="*/ 5552547 h 5973007"/>
              <a:gd name="connsiteX1475" fmla="*/ 3079454 w 6884782"/>
              <a:gd name="connsiteY1475" fmla="*/ 5549966 h 5973007"/>
              <a:gd name="connsiteX1476" fmla="*/ 2878708 w 6884782"/>
              <a:gd name="connsiteY1476" fmla="*/ 5549656 h 5973007"/>
              <a:gd name="connsiteX1477" fmla="*/ 2884904 w 6884782"/>
              <a:gd name="connsiteY1477" fmla="*/ 5551928 h 5973007"/>
              <a:gd name="connsiteX1478" fmla="*/ 2884285 w 6884782"/>
              <a:gd name="connsiteY1478" fmla="*/ 5553786 h 5973007"/>
              <a:gd name="connsiteX1479" fmla="*/ 2881961 w 6884782"/>
              <a:gd name="connsiteY1479" fmla="*/ 5555335 h 5973007"/>
              <a:gd name="connsiteX1480" fmla="*/ 2879483 w 6884782"/>
              <a:gd name="connsiteY1480" fmla="*/ 5554922 h 5973007"/>
              <a:gd name="connsiteX1481" fmla="*/ 2878708 w 6884782"/>
              <a:gd name="connsiteY1481" fmla="*/ 5549656 h 5973007"/>
              <a:gd name="connsiteX1482" fmla="*/ 3366477 w 6884782"/>
              <a:gd name="connsiteY1482" fmla="*/ 5549140 h 5973007"/>
              <a:gd name="connsiteX1483" fmla="*/ 3356873 w 6884782"/>
              <a:gd name="connsiteY1483" fmla="*/ 5550276 h 5973007"/>
              <a:gd name="connsiteX1484" fmla="*/ 3359661 w 6884782"/>
              <a:gd name="connsiteY1484" fmla="*/ 5551308 h 5973007"/>
              <a:gd name="connsiteX1485" fmla="*/ 3363689 w 6884782"/>
              <a:gd name="connsiteY1485" fmla="*/ 5555748 h 5973007"/>
              <a:gd name="connsiteX1486" fmla="*/ 3363689 w 6884782"/>
              <a:gd name="connsiteY1486" fmla="*/ 5555439 h 5973007"/>
              <a:gd name="connsiteX1487" fmla="*/ 3105167 w 6884782"/>
              <a:gd name="connsiteY1487" fmla="*/ 5546765 h 5973007"/>
              <a:gd name="connsiteX1488" fmla="*/ 3105012 w 6884782"/>
              <a:gd name="connsiteY1488" fmla="*/ 5560188 h 5973007"/>
              <a:gd name="connsiteX1489" fmla="*/ 3098041 w 6884782"/>
              <a:gd name="connsiteY1489" fmla="*/ 5555852 h 5973007"/>
              <a:gd name="connsiteX1490" fmla="*/ 3105167 w 6884782"/>
              <a:gd name="connsiteY1490" fmla="*/ 5546765 h 5973007"/>
              <a:gd name="connsiteX1491" fmla="*/ 2612441 w 6884782"/>
              <a:gd name="connsiteY1491" fmla="*/ 5545836 h 5973007"/>
              <a:gd name="connsiteX1492" fmla="*/ 2618792 w 6884782"/>
              <a:gd name="connsiteY1492" fmla="*/ 5547385 h 5973007"/>
              <a:gd name="connsiteX1493" fmla="*/ 2615849 w 6884782"/>
              <a:gd name="connsiteY1493" fmla="*/ 5554406 h 5973007"/>
              <a:gd name="connsiteX1494" fmla="*/ 2611357 w 6884782"/>
              <a:gd name="connsiteY1494" fmla="*/ 5552857 h 5973007"/>
              <a:gd name="connsiteX1495" fmla="*/ 2612441 w 6884782"/>
              <a:gd name="connsiteY1495" fmla="*/ 5545836 h 5973007"/>
              <a:gd name="connsiteX1496" fmla="*/ 2745188 w 6884782"/>
              <a:gd name="connsiteY1496" fmla="*/ 5544493 h 5973007"/>
              <a:gd name="connsiteX1497" fmla="*/ 2749060 w 6884782"/>
              <a:gd name="connsiteY1497" fmla="*/ 5545836 h 5973007"/>
              <a:gd name="connsiteX1498" fmla="*/ 2744723 w 6884782"/>
              <a:gd name="connsiteY1498" fmla="*/ 5552547 h 5973007"/>
              <a:gd name="connsiteX1499" fmla="*/ 2742245 w 6884782"/>
              <a:gd name="connsiteY1499" fmla="*/ 5552031 h 5973007"/>
              <a:gd name="connsiteX1500" fmla="*/ 2742554 w 6884782"/>
              <a:gd name="connsiteY1500" fmla="*/ 5545836 h 5973007"/>
              <a:gd name="connsiteX1501" fmla="*/ 2745188 w 6884782"/>
              <a:gd name="connsiteY1501" fmla="*/ 5544493 h 5973007"/>
              <a:gd name="connsiteX1502" fmla="*/ 2920066 w 6884782"/>
              <a:gd name="connsiteY1502" fmla="*/ 5542635 h 5973007"/>
              <a:gd name="connsiteX1503" fmla="*/ 2919601 w 6884782"/>
              <a:gd name="connsiteY1503" fmla="*/ 5545836 h 5973007"/>
              <a:gd name="connsiteX1504" fmla="*/ 2919136 w 6884782"/>
              <a:gd name="connsiteY1504" fmla="*/ 5546558 h 5973007"/>
              <a:gd name="connsiteX1505" fmla="*/ 2918826 w 6884782"/>
              <a:gd name="connsiteY1505" fmla="*/ 5545836 h 5973007"/>
              <a:gd name="connsiteX1506" fmla="*/ 2920066 w 6884782"/>
              <a:gd name="connsiteY1506" fmla="*/ 5542635 h 5973007"/>
              <a:gd name="connsiteX1507" fmla="*/ 3006808 w 6884782"/>
              <a:gd name="connsiteY1507" fmla="*/ 5541912 h 5973007"/>
              <a:gd name="connsiteX1508" fmla="*/ 3009750 w 6884782"/>
              <a:gd name="connsiteY1508" fmla="*/ 5542635 h 5973007"/>
              <a:gd name="connsiteX1509" fmla="*/ 3012693 w 6884782"/>
              <a:gd name="connsiteY1509" fmla="*/ 5543874 h 5973007"/>
              <a:gd name="connsiteX1510" fmla="*/ 3013468 w 6884782"/>
              <a:gd name="connsiteY1510" fmla="*/ 5543564 h 5973007"/>
              <a:gd name="connsiteX1511" fmla="*/ 3013933 w 6884782"/>
              <a:gd name="connsiteY1511" fmla="*/ 5558020 h 5973007"/>
              <a:gd name="connsiteX1512" fmla="*/ 3005414 w 6884782"/>
              <a:gd name="connsiteY1512" fmla="*/ 5555645 h 5973007"/>
              <a:gd name="connsiteX1513" fmla="*/ 3004639 w 6884782"/>
              <a:gd name="connsiteY1513" fmla="*/ 5554716 h 5973007"/>
              <a:gd name="connsiteX1514" fmla="*/ 3003400 w 6884782"/>
              <a:gd name="connsiteY1514" fmla="*/ 5555439 h 5973007"/>
              <a:gd name="connsiteX1515" fmla="*/ 2997204 w 6884782"/>
              <a:gd name="connsiteY1515" fmla="*/ 5552960 h 5973007"/>
              <a:gd name="connsiteX1516" fmla="*/ 3003555 w 6884782"/>
              <a:gd name="connsiteY1516" fmla="*/ 5544700 h 5973007"/>
              <a:gd name="connsiteX1517" fmla="*/ 3004639 w 6884782"/>
              <a:gd name="connsiteY1517" fmla="*/ 5545939 h 5973007"/>
              <a:gd name="connsiteX1518" fmla="*/ 3005259 w 6884782"/>
              <a:gd name="connsiteY1518" fmla="*/ 5544184 h 5973007"/>
              <a:gd name="connsiteX1519" fmla="*/ 3006808 w 6884782"/>
              <a:gd name="connsiteY1519" fmla="*/ 5541912 h 5973007"/>
              <a:gd name="connsiteX1520" fmla="*/ 2932612 w 6884782"/>
              <a:gd name="connsiteY1520" fmla="*/ 5539847 h 5973007"/>
              <a:gd name="connsiteX1521" fmla="*/ 2936639 w 6884782"/>
              <a:gd name="connsiteY1521" fmla="*/ 5542428 h 5973007"/>
              <a:gd name="connsiteX1522" fmla="*/ 2932458 w 6884782"/>
              <a:gd name="connsiteY1522" fmla="*/ 5549140 h 5973007"/>
              <a:gd name="connsiteX1523" fmla="*/ 2928120 w 6884782"/>
              <a:gd name="connsiteY1523" fmla="*/ 5545319 h 5973007"/>
              <a:gd name="connsiteX1524" fmla="*/ 2928275 w 6884782"/>
              <a:gd name="connsiteY1524" fmla="*/ 5542738 h 5973007"/>
              <a:gd name="connsiteX1525" fmla="*/ 2930289 w 6884782"/>
              <a:gd name="connsiteY1525" fmla="*/ 5540466 h 5973007"/>
              <a:gd name="connsiteX1526" fmla="*/ 2932612 w 6884782"/>
              <a:gd name="connsiteY1526" fmla="*/ 5539847 h 5973007"/>
              <a:gd name="connsiteX1527" fmla="*/ 3113686 w 6884782"/>
              <a:gd name="connsiteY1527" fmla="*/ 5537162 h 5973007"/>
              <a:gd name="connsiteX1528" fmla="*/ 3122051 w 6884782"/>
              <a:gd name="connsiteY1528" fmla="*/ 5537369 h 5973007"/>
              <a:gd name="connsiteX1529" fmla="*/ 3125303 w 6884782"/>
              <a:gd name="connsiteY1529" fmla="*/ 5541499 h 5973007"/>
              <a:gd name="connsiteX1530" fmla="*/ 3125458 w 6884782"/>
              <a:gd name="connsiteY1530" fmla="*/ 5543254 h 5973007"/>
              <a:gd name="connsiteX1531" fmla="*/ 3133977 w 6884782"/>
              <a:gd name="connsiteY1531" fmla="*/ 5548830 h 5973007"/>
              <a:gd name="connsiteX1532" fmla="*/ 3129176 w 6884782"/>
              <a:gd name="connsiteY1532" fmla="*/ 5554819 h 5973007"/>
              <a:gd name="connsiteX1533" fmla="*/ 3123754 w 6884782"/>
              <a:gd name="connsiteY1533" fmla="*/ 5552238 h 5973007"/>
              <a:gd name="connsiteX1534" fmla="*/ 3118797 w 6884782"/>
              <a:gd name="connsiteY1534" fmla="*/ 5555129 h 5973007"/>
              <a:gd name="connsiteX1535" fmla="*/ 3113686 w 6884782"/>
              <a:gd name="connsiteY1535" fmla="*/ 5537162 h 5973007"/>
              <a:gd name="connsiteX1536" fmla="*/ 3047855 w 6884782"/>
              <a:gd name="connsiteY1536" fmla="*/ 5535407 h 5973007"/>
              <a:gd name="connsiteX1537" fmla="*/ 3049559 w 6884782"/>
              <a:gd name="connsiteY1537" fmla="*/ 5541086 h 5973007"/>
              <a:gd name="connsiteX1538" fmla="*/ 3045067 w 6884782"/>
              <a:gd name="connsiteY1538" fmla="*/ 5546765 h 5973007"/>
              <a:gd name="connsiteX1539" fmla="*/ 3043363 w 6884782"/>
              <a:gd name="connsiteY1539" fmla="*/ 5543874 h 5973007"/>
              <a:gd name="connsiteX1540" fmla="*/ 3047855 w 6884782"/>
              <a:gd name="connsiteY1540" fmla="*/ 5535407 h 5973007"/>
              <a:gd name="connsiteX1541" fmla="*/ 2878708 w 6884782"/>
              <a:gd name="connsiteY1541" fmla="*/ 5534994 h 5973007"/>
              <a:gd name="connsiteX1542" fmla="*/ 2881806 w 6884782"/>
              <a:gd name="connsiteY1542" fmla="*/ 5541292 h 5973007"/>
              <a:gd name="connsiteX1543" fmla="*/ 2876075 w 6884782"/>
              <a:gd name="connsiteY1543" fmla="*/ 5550069 h 5973007"/>
              <a:gd name="connsiteX1544" fmla="*/ 2875920 w 6884782"/>
              <a:gd name="connsiteY1544" fmla="*/ 5550173 h 5973007"/>
              <a:gd name="connsiteX1545" fmla="*/ 2875610 w 6884782"/>
              <a:gd name="connsiteY1545" fmla="*/ 5550689 h 5973007"/>
              <a:gd name="connsiteX1546" fmla="*/ 2872822 w 6884782"/>
              <a:gd name="connsiteY1546" fmla="*/ 5550895 h 5973007"/>
              <a:gd name="connsiteX1547" fmla="*/ 2870499 w 6884782"/>
              <a:gd name="connsiteY1547" fmla="*/ 5551515 h 5973007"/>
              <a:gd name="connsiteX1548" fmla="*/ 2863838 w 6884782"/>
              <a:gd name="connsiteY1548" fmla="*/ 5551721 h 5973007"/>
              <a:gd name="connsiteX1549" fmla="*/ 2859811 w 6884782"/>
              <a:gd name="connsiteY1549" fmla="*/ 5542325 h 5973007"/>
              <a:gd name="connsiteX1550" fmla="*/ 2878708 w 6884782"/>
              <a:gd name="connsiteY1550" fmla="*/ 5534994 h 5973007"/>
              <a:gd name="connsiteX1551" fmla="*/ 2995190 w 6884782"/>
              <a:gd name="connsiteY1551" fmla="*/ 5532619 h 5973007"/>
              <a:gd name="connsiteX1552" fmla="*/ 2989614 w 6884782"/>
              <a:gd name="connsiteY1552" fmla="*/ 5539124 h 5973007"/>
              <a:gd name="connsiteX1553" fmla="*/ 2987601 w 6884782"/>
              <a:gd name="connsiteY1553" fmla="*/ 5538091 h 5973007"/>
              <a:gd name="connsiteX1554" fmla="*/ 2995190 w 6884782"/>
              <a:gd name="connsiteY1554" fmla="*/ 5532619 h 5973007"/>
              <a:gd name="connsiteX1555" fmla="*/ 2656122 w 6884782"/>
              <a:gd name="connsiteY1555" fmla="*/ 5531277 h 5973007"/>
              <a:gd name="connsiteX1556" fmla="*/ 2664332 w 6884782"/>
              <a:gd name="connsiteY1556" fmla="*/ 5532516 h 5973007"/>
              <a:gd name="connsiteX1557" fmla="*/ 2661389 w 6884782"/>
              <a:gd name="connsiteY1557" fmla="*/ 5546249 h 5973007"/>
              <a:gd name="connsiteX1558" fmla="*/ 2657981 w 6884782"/>
              <a:gd name="connsiteY1558" fmla="*/ 5546352 h 5973007"/>
              <a:gd name="connsiteX1559" fmla="*/ 2656122 w 6884782"/>
              <a:gd name="connsiteY1559" fmla="*/ 5531277 h 5973007"/>
              <a:gd name="connsiteX1560" fmla="*/ 3548790 w 6884782"/>
              <a:gd name="connsiteY1560" fmla="*/ 5530967 h 5973007"/>
              <a:gd name="connsiteX1561" fmla="*/ 3550649 w 6884782"/>
              <a:gd name="connsiteY1561" fmla="*/ 5536026 h 5973007"/>
              <a:gd name="connsiteX1562" fmla="*/ 3546466 w 6884782"/>
              <a:gd name="connsiteY1562" fmla="*/ 5533342 h 5973007"/>
              <a:gd name="connsiteX1563" fmla="*/ 3548790 w 6884782"/>
              <a:gd name="connsiteY1563" fmla="*/ 5530967 h 5973007"/>
              <a:gd name="connsiteX1564" fmla="*/ 2732486 w 6884782"/>
              <a:gd name="connsiteY1564" fmla="*/ 5528902 h 5973007"/>
              <a:gd name="connsiteX1565" fmla="*/ 2739456 w 6884782"/>
              <a:gd name="connsiteY1565" fmla="*/ 5533032 h 5973007"/>
              <a:gd name="connsiteX1566" fmla="*/ 2730163 w 6884782"/>
              <a:gd name="connsiteY1566" fmla="*/ 5544390 h 5973007"/>
              <a:gd name="connsiteX1567" fmla="*/ 2725361 w 6884782"/>
              <a:gd name="connsiteY1567" fmla="*/ 5541912 h 5973007"/>
              <a:gd name="connsiteX1568" fmla="*/ 2732486 w 6884782"/>
              <a:gd name="connsiteY1568" fmla="*/ 5528902 h 5973007"/>
              <a:gd name="connsiteX1569" fmla="*/ 2768577 w 6884782"/>
              <a:gd name="connsiteY1569" fmla="*/ 5527766 h 5973007"/>
              <a:gd name="connsiteX1570" fmla="*/ 2778335 w 6884782"/>
              <a:gd name="connsiteY1570" fmla="*/ 5529934 h 5973007"/>
              <a:gd name="connsiteX1571" fmla="*/ 2776012 w 6884782"/>
              <a:gd name="connsiteY1571" fmla="*/ 5537472 h 5973007"/>
              <a:gd name="connsiteX1572" fmla="*/ 2769507 w 6884782"/>
              <a:gd name="connsiteY1572" fmla="*/ 5537059 h 5973007"/>
              <a:gd name="connsiteX1573" fmla="*/ 2768577 w 6884782"/>
              <a:gd name="connsiteY1573" fmla="*/ 5527766 h 5973007"/>
              <a:gd name="connsiteX1574" fmla="*/ 2825850 w 6884782"/>
              <a:gd name="connsiteY1574" fmla="*/ 5524978 h 5973007"/>
              <a:gd name="connsiteX1575" fmla="*/ 2833788 w 6884782"/>
              <a:gd name="connsiteY1575" fmla="*/ 5528902 h 5973007"/>
              <a:gd name="connsiteX1576" fmla="*/ 2833014 w 6884782"/>
              <a:gd name="connsiteY1576" fmla="*/ 5532206 h 5973007"/>
              <a:gd name="connsiteX1577" fmla="*/ 2828832 w 6884782"/>
              <a:gd name="connsiteY1577" fmla="*/ 5535200 h 5973007"/>
              <a:gd name="connsiteX1578" fmla="*/ 2824804 w 6884782"/>
              <a:gd name="connsiteY1578" fmla="*/ 5536852 h 5973007"/>
              <a:gd name="connsiteX1579" fmla="*/ 2825114 w 6884782"/>
              <a:gd name="connsiteY1579" fmla="*/ 5543151 h 5973007"/>
              <a:gd name="connsiteX1580" fmla="*/ 2821861 w 6884782"/>
              <a:gd name="connsiteY1580" fmla="*/ 5548108 h 5973007"/>
              <a:gd name="connsiteX1581" fmla="*/ 2819538 w 6884782"/>
              <a:gd name="connsiteY1581" fmla="*/ 5542428 h 5973007"/>
              <a:gd name="connsiteX1582" fmla="*/ 2819383 w 6884782"/>
              <a:gd name="connsiteY1582" fmla="*/ 5535820 h 5973007"/>
              <a:gd name="connsiteX1583" fmla="*/ 2817060 w 6884782"/>
              <a:gd name="connsiteY1583" fmla="*/ 5534374 h 5973007"/>
              <a:gd name="connsiteX1584" fmla="*/ 2816750 w 6884782"/>
              <a:gd name="connsiteY1584" fmla="*/ 5531586 h 5973007"/>
              <a:gd name="connsiteX1585" fmla="*/ 2825850 w 6884782"/>
              <a:gd name="connsiteY1585" fmla="*/ 5524978 h 5973007"/>
              <a:gd name="connsiteX1586" fmla="*/ 3019354 w 6884782"/>
              <a:gd name="connsiteY1586" fmla="*/ 5524565 h 5973007"/>
              <a:gd name="connsiteX1587" fmla="*/ 3029732 w 6884782"/>
              <a:gd name="connsiteY1587" fmla="*/ 5529315 h 5973007"/>
              <a:gd name="connsiteX1588" fmla="*/ 3032985 w 6884782"/>
              <a:gd name="connsiteY1588" fmla="*/ 5544184 h 5973007"/>
              <a:gd name="connsiteX1589" fmla="*/ 3024001 w 6884782"/>
              <a:gd name="connsiteY1589" fmla="*/ 5547591 h 5973007"/>
              <a:gd name="connsiteX1590" fmla="*/ 3018580 w 6884782"/>
              <a:gd name="connsiteY1590" fmla="*/ 5545216 h 5973007"/>
              <a:gd name="connsiteX1591" fmla="*/ 3016256 w 6884782"/>
              <a:gd name="connsiteY1591" fmla="*/ 5529521 h 5973007"/>
              <a:gd name="connsiteX1592" fmla="*/ 3017805 w 6884782"/>
              <a:gd name="connsiteY1592" fmla="*/ 5527973 h 5973007"/>
              <a:gd name="connsiteX1593" fmla="*/ 3019354 w 6884782"/>
              <a:gd name="connsiteY1593" fmla="*/ 5524565 h 5973007"/>
              <a:gd name="connsiteX1594" fmla="*/ 2970717 w 6884782"/>
              <a:gd name="connsiteY1594" fmla="*/ 5523532 h 5973007"/>
              <a:gd name="connsiteX1595" fmla="*/ 2976603 w 6884782"/>
              <a:gd name="connsiteY1595" fmla="*/ 5525184 h 5973007"/>
              <a:gd name="connsiteX1596" fmla="*/ 2973040 w 6884782"/>
              <a:gd name="connsiteY1596" fmla="*/ 5525184 h 5973007"/>
              <a:gd name="connsiteX1597" fmla="*/ 2970717 w 6884782"/>
              <a:gd name="connsiteY1597" fmla="*/ 5523532 h 5973007"/>
              <a:gd name="connsiteX1598" fmla="*/ 2602373 w 6884782"/>
              <a:gd name="connsiteY1598" fmla="*/ 5521261 h 5973007"/>
              <a:gd name="connsiteX1599" fmla="*/ 2613061 w 6884782"/>
              <a:gd name="connsiteY1599" fmla="*/ 5521777 h 5973007"/>
              <a:gd name="connsiteX1600" fmla="*/ 2608414 w 6884782"/>
              <a:gd name="connsiteY1600" fmla="*/ 5527766 h 5973007"/>
              <a:gd name="connsiteX1601" fmla="*/ 2605006 w 6884782"/>
              <a:gd name="connsiteY1601" fmla="*/ 5527146 h 5973007"/>
              <a:gd name="connsiteX1602" fmla="*/ 2602373 w 6884782"/>
              <a:gd name="connsiteY1602" fmla="*/ 5521261 h 5973007"/>
              <a:gd name="connsiteX1603" fmla="*/ 2531895 w 6884782"/>
              <a:gd name="connsiteY1603" fmla="*/ 5520641 h 5973007"/>
              <a:gd name="connsiteX1604" fmla="*/ 2531741 w 6884782"/>
              <a:gd name="connsiteY1604" fmla="*/ 5522293 h 5973007"/>
              <a:gd name="connsiteX1605" fmla="*/ 2532515 w 6884782"/>
              <a:gd name="connsiteY1605" fmla="*/ 5522293 h 5973007"/>
              <a:gd name="connsiteX1606" fmla="*/ 2531586 w 6884782"/>
              <a:gd name="connsiteY1606" fmla="*/ 5523842 h 5973007"/>
              <a:gd name="connsiteX1607" fmla="*/ 2530811 w 6884782"/>
              <a:gd name="connsiteY1607" fmla="*/ 5523842 h 5973007"/>
              <a:gd name="connsiteX1608" fmla="*/ 2530502 w 6884782"/>
              <a:gd name="connsiteY1608" fmla="*/ 5524049 h 5973007"/>
              <a:gd name="connsiteX1609" fmla="*/ 2529262 w 6884782"/>
              <a:gd name="connsiteY1609" fmla="*/ 5523016 h 5973007"/>
              <a:gd name="connsiteX1610" fmla="*/ 2528333 w 6884782"/>
              <a:gd name="connsiteY1610" fmla="*/ 5522190 h 5973007"/>
              <a:gd name="connsiteX1611" fmla="*/ 2528643 w 6884782"/>
              <a:gd name="connsiteY1611" fmla="*/ 5521364 h 5973007"/>
              <a:gd name="connsiteX1612" fmla="*/ 2531895 w 6884782"/>
              <a:gd name="connsiteY1612" fmla="*/ 5520641 h 5973007"/>
              <a:gd name="connsiteX1613" fmla="*/ 2895747 w 6884782"/>
              <a:gd name="connsiteY1613" fmla="*/ 5519815 h 5973007"/>
              <a:gd name="connsiteX1614" fmla="*/ 2896831 w 6884782"/>
              <a:gd name="connsiteY1614" fmla="*/ 5523222 h 5973007"/>
              <a:gd name="connsiteX1615" fmla="*/ 2895437 w 6884782"/>
              <a:gd name="connsiteY1615" fmla="*/ 5523739 h 5973007"/>
              <a:gd name="connsiteX1616" fmla="*/ 2893423 w 6884782"/>
              <a:gd name="connsiteY1616" fmla="*/ 5522190 h 5973007"/>
              <a:gd name="connsiteX1617" fmla="*/ 3010099 w 6884782"/>
              <a:gd name="connsiteY1617" fmla="*/ 5519260 h 5973007"/>
              <a:gd name="connsiteX1618" fmla="*/ 3012074 w 6884782"/>
              <a:gd name="connsiteY1618" fmla="*/ 5524668 h 5973007"/>
              <a:gd name="connsiteX1619" fmla="*/ 3005104 w 6884782"/>
              <a:gd name="connsiteY1619" fmla="*/ 5519815 h 5973007"/>
              <a:gd name="connsiteX1620" fmla="*/ 3010099 w 6884782"/>
              <a:gd name="connsiteY1620" fmla="*/ 5519260 h 5973007"/>
              <a:gd name="connsiteX1621" fmla="*/ 2889706 w 6884782"/>
              <a:gd name="connsiteY1621" fmla="*/ 5519196 h 5973007"/>
              <a:gd name="connsiteX1622" fmla="*/ 2890790 w 6884782"/>
              <a:gd name="connsiteY1622" fmla="*/ 5520951 h 5973007"/>
              <a:gd name="connsiteX1623" fmla="*/ 2890480 w 6884782"/>
              <a:gd name="connsiteY1623" fmla="*/ 5522500 h 5973007"/>
              <a:gd name="connsiteX1624" fmla="*/ 2892649 w 6884782"/>
              <a:gd name="connsiteY1624" fmla="*/ 5523016 h 5973007"/>
              <a:gd name="connsiteX1625" fmla="*/ 2895282 w 6884782"/>
              <a:gd name="connsiteY1625" fmla="*/ 5530038 h 5973007"/>
              <a:gd name="connsiteX1626" fmla="*/ 2893733 w 6884782"/>
              <a:gd name="connsiteY1626" fmla="*/ 5530967 h 5973007"/>
              <a:gd name="connsiteX1627" fmla="*/ 2891720 w 6884782"/>
              <a:gd name="connsiteY1627" fmla="*/ 5531380 h 5973007"/>
              <a:gd name="connsiteX1628" fmla="*/ 2887073 w 6884782"/>
              <a:gd name="connsiteY1628" fmla="*/ 5529728 h 5973007"/>
              <a:gd name="connsiteX1629" fmla="*/ 2885214 w 6884782"/>
              <a:gd name="connsiteY1629" fmla="*/ 5526114 h 5973007"/>
              <a:gd name="connsiteX1630" fmla="*/ 2885214 w 6884782"/>
              <a:gd name="connsiteY1630" fmla="*/ 5524358 h 5973007"/>
              <a:gd name="connsiteX1631" fmla="*/ 2886298 w 6884782"/>
              <a:gd name="connsiteY1631" fmla="*/ 5523739 h 5973007"/>
              <a:gd name="connsiteX1632" fmla="*/ 2885833 w 6884782"/>
              <a:gd name="connsiteY1632" fmla="*/ 5523016 h 5973007"/>
              <a:gd name="connsiteX1633" fmla="*/ 2885524 w 6884782"/>
              <a:gd name="connsiteY1633" fmla="*/ 5520435 h 5973007"/>
              <a:gd name="connsiteX1634" fmla="*/ 2889706 w 6884782"/>
              <a:gd name="connsiteY1634" fmla="*/ 5519196 h 5973007"/>
              <a:gd name="connsiteX1635" fmla="*/ 2809005 w 6884782"/>
              <a:gd name="connsiteY1635" fmla="*/ 5515272 h 5973007"/>
              <a:gd name="connsiteX1636" fmla="*/ 2772604 w 6884782"/>
              <a:gd name="connsiteY1636" fmla="*/ 5554200 h 5973007"/>
              <a:gd name="connsiteX1637" fmla="*/ 2809005 w 6884782"/>
              <a:gd name="connsiteY1637" fmla="*/ 5515272 h 5973007"/>
              <a:gd name="connsiteX1638" fmla="*/ 2837486 w 6884782"/>
              <a:gd name="connsiteY1638" fmla="*/ 5509554 h 5973007"/>
              <a:gd name="connsiteX1639" fmla="*/ 2839675 w 6884782"/>
              <a:gd name="connsiteY1639" fmla="*/ 5515478 h 5973007"/>
              <a:gd name="connsiteX1640" fmla="*/ 2836731 w 6884782"/>
              <a:gd name="connsiteY1640" fmla="*/ 5520332 h 5973007"/>
              <a:gd name="connsiteX1641" fmla="*/ 2834563 w 6884782"/>
              <a:gd name="connsiteY1641" fmla="*/ 5519402 h 5973007"/>
              <a:gd name="connsiteX1642" fmla="*/ 2834408 w 6884782"/>
              <a:gd name="connsiteY1642" fmla="*/ 5519196 h 5973007"/>
              <a:gd name="connsiteX1643" fmla="*/ 2831465 w 6884782"/>
              <a:gd name="connsiteY1643" fmla="*/ 5523532 h 5973007"/>
              <a:gd name="connsiteX1644" fmla="*/ 2829606 w 6884782"/>
              <a:gd name="connsiteY1644" fmla="*/ 5521054 h 5973007"/>
              <a:gd name="connsiteX1645" fmla="*/ 2829606 w 6884782"/>
              <a:gd name="connsiteY1645" fmla="*/ 5515891 h 5973007"/>
              <a:gd name="connsiteX1646" fmla="*/ 2831000 w 6884782"/>
              <a:gd name="connsiteY1646" fmla="*/ 5513723 h 5973007"/>
              <a:gd name="connsiteX1647" fmla="*/ 2830535 w 6884782"/>
              <a:gd name="connsiteY1647" fmla="*/ 5512690 h 5973007"/>
              <a:gd name="connsiteX1648" fmla="*/ 2837486 w 6884782"/>
              <a:gd name="connsiteY1648" fmla="*/ 5509554 h 5973007"/>
              <a:gd name="connsiteX1649" fmla="*/ 2861205 w 6884782"/>
              <a:gd name="connsiteY1649" fmla="*/ 5507838 h 5973007"/>
              <a:gd name="connsiteX1650" fmla="*/ 2861979 w 6884782"/>
              <a:gd name="connsiteY1650" fmla="*/ 5507838 h 5973007"/>
              <a:gd name="connsiteX1651" fmla="*/ 2862289 w 6884782"/>
              <a:gd name="connsiteY1651" fmla="*/ 5513413 h 5973007"/>
              <a:gd name="connsiteX1652" fmla="*/ 2861825 w 6884782"/>
              <a:gd name="connsiteY1652" fmla="*/ 5518370 h 5973007"/>
              <a:gd name="connsiteX1653" fmla="*/ 2863374 w 6884782"/>
              <a:gd name="connsiteY1653" fmla="*/ 5518163 h 5973007"/>
              <a:gd name="connsiteX1654" fmla="*/ 2880567 w 6884782"/>
              <a:gd name="connsiteY1654" fmla="*/ 5518989 h 5973007"/>
              <a:gd name="connsiteX1655" fmla="*/ 2862444 w 6884782"/>
              <a:gd name="connsiteY1655" fmla="*/ 5528902 h 5973007"/>
              <a:gd name="connsiteX1656" fmla="*/ 2857332 w 6884782"/>
              <a:gd name="connsiteY1656" fmla="*/ 5529005 h 5973007"/>
              <a:gd name="connsiteX1657" fmla="*/ 2846335 w 6884782"/>
              <a:gd name="connsiteY1657" fmla="*/ 5520228 h 5973007"/>
              <a:gd name="connsiteX1658" fmla="*/ 2858727 w 6884782"/>
              <a:gd name="connsiteY1658" fmla="*/ 5518679 h 5973007"/>
              <a:gd name="connsiteX1659" fmla="*/ 2858417 w 6884782"/>
              <a:gd name="connsiteY1659" fmla="*/ 5518679 h 5973007"/>
              <a:gd name="connsiteX1660" fmla="*/ 2857797 w 6884782"/>
              <a:gd name="connsiteY1660" fmla="*/ 5514240 h 5973007"/>
              <a:gd name="connsiteX1661" fmla="*/ 2860740 w 6884782"/>
              <a:gd name="connsiteY1661" fmla="*/ 5510522 h 5973007"/>
              <a:gd name="connsiteX1662" fmla="*/ 2861205 w 6884782"/>
              <a:gd name="connsiteY1662" fmla="*/ 5507838 h 5973007"/>
              <a:gd name="connsiteX1663" fmla="*/ 2900549 w 6884782"/>
              <a:gd name="connsiteY1663" fmla="*/ 5506702 h 5973007"/>
              <a:gd name="connsiteX1664" fmla="*/ 2909533 w 6884782"/>
              <a:gd name="connsiteY1664" fmla="*/ 5508354 h 5973007"/>
              <a:gd name="connsiteX1665" fmla="*/ 2906900 w 6884782"/>
              <a:gd name="connsiteY1665" fmla="*/ 5519815 h 5973007"/>
              <a:gd name="connsiteX1666" fmla="*/ 2907364 w 6884782"/>
              <a:gd name="connsiteY1666" fmla="*/ 5521364 h 5973007"/>
              <a:gd name="connsiteX1667" fmla="*/ 2906900 w 6884782"/>
              <a:gd name="connsiteY1667" fmla="*/ 5523532 h 5973007"/>
              <a:gd name="connsiteX1668" fmla="*/ 2905970 w 6884782"/>
              <a:gd name="connsiteY1668" fmla="*/ 5523945 h 5973007"/>
              <a:gd name="connsiteX1669" fmla="*/ 2904421 w 6884782"/>
              <a:gd name="connsiteY1669" fmla="*/ 5530967 h 5973007"/>
              <a:gd name="connsiteX1670" fmla="*/ 2899619 w 6884782"/>
              <a:gd name="connsiteY1670" fmla="*/ 5551515 h 5973007"/>
              <a:gd name="connsiteX1671" fmla="*/ 2900549 w 6884782"/>
              <a:gd name="connsiteY1671" fmla="*/ 5506702 h 5973007"/>
              <a:gd name="connsiteX1672" fmla="*/ 3113415 w 6884782"/>
              <a:gd name="connsiteY1672" fmla="*/ 5505062 h 5973007"/>
              <a:gd name="connsiteX1673" fmla="*/ 3119417 w 6884782"/>
              <a:gd name="connsiteY1673" fmla="*/ 5505462 h 5973007"/>
              <a:gd name="connsiteX1674" fmla="*/ 3119262 w 6884782"/>
              <a:gd name="connsiteY1674" fmla="*/ 5508044 h 5973007"/>
              <a:gd name="connsiteX1675" fmla="*/ 3112912 w 6884782"/>
              <a:gd name="connsiteY1675" fmla="*/ 5512071 h 5973007"/>
              <a:gd name="connsiteX1676" fmla="*/ 3110898 w 6884782"/>
              <a:gd name="connsiteY1676" fmla="*/ 5510935 h 5973007"/>
              <a:gd name="connsiteX1677" fmla="*/ 3113415 w 6884782"/>
              <a:gd name="connsiteY1677" fmla="*/ 5505062 h 5973007"/>
              <a:gd name="connsiteX1678" fmla="*/ 2640478 w 6884782"/>
              <a:gd name="connsiteY1678" fmla="*/ 5503294 h 5973007"/>
              <a:gd name="connsiteX1679" fmla="*/ 2656277 w 6884782"/>
              <a:gd name="connsiteY1679" fmla="*/ 5507734 h 5973007"/>
              <a:gd name="connsiteX1680" fmla="*/ 2655658 w 6884782"/>
              <a:gd name="connsiteY1680" fmla="*/ 5509593 h 5973007"/>
              <a:gd name="connsiteX1681" fmla="*/ 2653489 w 6884782"/>
              <a:gd name="connsiteY1681" fmla="*/ 5510316 h 5973007"/>
              <a:gd name="connsiteX1682" fmla="*/ 2645280 w 6884782"/>
              <a:gd name="connsiteY1682" fmla="*/ 5508354 h 5973007"/>
              <a:gd name="connsiteX1683" fmla="*/ 2643576 w 6884782"/>
              <a:gd name="connsiteY1683" fmla="*/ 5507631 h 5973007"/>
              <a:gd name="connsiteX1684" fmla="*/ 2641717 w 6884782"/>
              <a:gd name="connsiteY1684" fmla="*/ 5506805 h 5973007"/>
              <a:gd name="connsiteX1685" fmla="*/ 2640478 w 6884782"/>
              <a:gd name="connsiteY1685" fmla="*/ 5503294 h 5973007"/>
              <a:gd name="connsiteX1686" fmla="*/ 3401638 w 6884782"/>
              <a:gd name="connsiteY1686" fmla="*/ 5502984 h 5973007"/>
              <a:gd name="connsiteX1687" fmla="*/ 3397766 w 6884782"/>
              <a:gd name="connsiteY1687" fmla="*/ 5504327 h 5973007"/>
              <a:gd name="connsiteX1688" fmla="*/ 3400399 w 6884782"/>
              <a:gd name="connsiteY1688" fmla="*/ 5505049 h 5973007"/>
              <a:gd name="connsiteX1689" fmla="*/ 3400709 w 6884782"/>
              <a:gd name="connsiteY1689" fmla="*/ 5504843 h 5973007"/>
              <a:gd name="connsiteX1690" fmla="*/ 3400709 w 6884782"/>
              <a:gd name="connsiteY1690" fmla="*/ 5504740 h 5973007"/>
              <a:gd name="connsiteX1691" fmla="*/ 3015947 w 6884782"/>
              <a:gd name="connsiteY1691" fmla="*/ 5502365 h 5973007"/>
              <a:gd name="connsiteX1692" fmla="*/ 3018580 w 6884782"/>
              <a:gd name="connsiteY1692" fmla="*/ 5503294 h 5973007"/>
              <a:gd name="connsiteX1693" fmla="*/ 3019044 w 6884782"/>
              <a:gd name="connsiteY1693" fmla="*/ 5502984 h 5973007"/>
              <a:gd name="connsiteX1694" fmla="*/ 3025395 w 6884782"/>
              <a:gd name="connsiteY1694" fmla="*/ 5508250 h 5973007"/>
              <a:gd name="connsiteX1695" fmla="*/ 3021678 w 6884782"/>
              <a:gd name="connsiteY1695" fmla="*/ 5512690 h 5973007"/>
              <a:gd name="connsiteX1696" fmla="*/ 3021058 w 6884782"/>
              <a:gd name="connsiteY1696" fmla="*/ 5512278 h 5973007"/>
              <a:gd name="connsiteX1697" fmla="*/ 3020593 w 6884782"/>
              <a:gd name="connsiteY1697" fmla="*/ 5513413 h 5973007"/>
              <a:gd name="connsiteX1698" fmla="*/ 3015792 w 6884782"/>
              <a:gd name="connsiteY1698" fmla="*/ 5517853 h 5973007"/>
              <a:gd name="connsiteX1699" fmla="*/ 3015947 w 6884782"/>
              <a:gd name="connsiteY1699" fmla="*/ 5502365 h 5973007"/>
              <a:gd name="connsiteX1700" fmla="*/ 2688650 w 6884782"/>
              <a:gd name="connsiteY1700" fmla="*/ 5500403 h 5973007"/>
              <a:gd name="connsiteX1701" fmla="*/ 2698099 w 6884782"/>
              <a:gd name="connsiteY1701" fmla="*/ 5504740 h 5973007"/>
              <a:gd name="connsiteX1702" fmla="*/ 2693762 w 6884782"/>
              <a:gd name="connsiteY1702" fmla="*/ 5508870 h 5973007"/>
              <a:gd name="connsiteX1703" fmla="*/ 2688186 w 6884782"/>
              <a:gd name="connsiteY1703" fmla="*/ 5506805 h 5973007"/>
              <a:gd name="connsiteX1704" fmla="*/ 2688650 w 6884782"/>
              <a:gd name="connsiteY1704" fmla="*/ 5500403 h 5973007"/>
              <a:gd name="connsiteX1705" fmla="*/ 2768577 w 6884782"/>
              <a:gd name="connsiteY1705" fmla="*/ 5499474 h 5973007"/>
              <a:gd name="connsiteX1706" fmla="*/ 2780659 w 6884782"/>
              <a:gd name="connsiteY1706" fmla="*/ 5503914 h 5973007"/>
              <a:gd name="connsiteX1707" fmla="*/ 2778181 w 6884782"/>
              <a:gd name="connsiteY1707" fmla="*/ 5504223 h 5973007"/>
              <a:gd name="connsiteX1708" fmla="*/ 2768577 w 6884782"/>
              <a:gd name="connsiteY1708" fmla="*/ 5499474 h 5973007"/>
              <a:gd name="connsiteX1709" fmla="*/ 2676355 w 6884782"/>
              <a:gd name="connsiteY1709" fmla="*/ 5498673 h 5973007"/>
              <a:gd name="connsiteX1710" fmla="*/ 2683229 w 6884782"/>
              <a:gd name="connsiteY1710" fmla="*/ 5505979 h 5973007"/>
              <a:gd name="connsiteX1711" fmla="*/ 2681525 w 6884782"/>
              <a:gd name="connsiteY1711" fmla="*/ 5510212 h 5973007"/>
              <a:gd name="connsiteX1712" fmla="*/ 2676414 w 6884782"/>
              <a:gd name="connsiteY1712" fmla="*/ 5510625 h 5973007"/>
              <a:gd name="connsiteX1713" fmla="*/ 2672231 w 6884782"/>
              <a:gd name="connsiteY1713" fmla="*/ 5510729 h 5973007"/>
              <a:gd name="connsiteX1714" fmla="*/ 2663557 w 6884782"/>
              <a:gd name="connsiteY1714" fmla="*/ 5503294 h 5973007"/>
              <a:gd name="connsiteX1715" fmla="*/ 2676355 w 6884782"/>
              <a:gd name="connsiteY1715" fmla="*/ 5498673 h 5973007"/>
              <a:gd name="connsiteX1716" fmla="*/ 3371743 w 6884782"/>
              <a:gd name="connsiteY1716" fmla="*/ 5498544 h 5973007"/>
              <a:gd name="connsiteX1717" fmla="*/ 3369885 w 6884782"/>
              <a:gd name="connsiteY1717" fmla="*/ 5499267 h 5973007"/>
              <a:gd name="connsiteX1718" fmla="*/ 3369265 w 6884782"/>
              <a:gd name="connsiteY1718" fmla="*/ 5503914 h 5973007"/>
              <a:gd name="connsiteX1719" fmla="*/ 3364153 w 6884782"/>
              <a:gd name="connsiteY1719" fmla="*/ 5508250 h 5973007"/>
              <a:gd name="connsiteX1720" fmla="*/ 3362914 w 6884782"/>
              <a:gd name="connsiteY1720" fmla="*/ 5502984 h 5973007"/>
              <a:gd name="connsiteX1721" fmla="*/ 3363689 w 6884782"/>
              <a:gd name="connsiteY1721" fmla="*/ 5499680 h 5973007"/>
              <a:gd name="connsiteX1722" fmla="*/ 3363379 w 6884782"/>
              <a:gd name="connsiteY1722" fmla="*/ 5499680 h 5973007"/>
              <a:gd name="connsiteX1723" fmla="*/ 3361056 w 6884782"/>
              <a:gd name="connsiteY1723" fmla="*/ 5499990 h 5973007"/>
              <a:gd name="connsiteX1724" fmla="*/ 3361985 w 6884782"/>
              <a:gd name="connsiteY1724" fmla="*/ 5500300 h 5973007"/>
              <a:gd name="connsiteX1725" fmla="*/ 3357183 w 6884782"/>
              <a:gd name="connsiteY1725" fmla="*/ 5504533 h 5973007"/>
              <a:gd name="connsiteX1726" fmla="*/ 3360746 w 6884782"/>
              <a:gd name="connsiteY1726" fmla="*/ 5505979 h 5973007"/>
              <a:gd name="connsiteX1727" fmla="*/ 3362759 w 6884782"/>
              <a:gd name="connsiteY1727" fmla="*/ 5508457 h 5973007"/>
              <a:gd name="connsiteX1728" fmla="*/ 3359352 w 6884782"/>
              <a:gd name="connsiteY1728" fmla="*/ 5510729 h 5973007"/>
              <a:gd name="connsiteX1729" fmla="*/ 3355944 w 6884782"/>
              <a:gd name="connsiteY1729" fmla="*/ 5509386 h 5973007"/>
              <a:gd name="connsiteX1730" fmla="*/ 3354550 w 6884782"/>
              <a:gd name="connsiteY1730" fmla="*/ 5506805 h 5973007"/>
              <a:gd name="connsiteX1731" fmla="*/ 3352691 w 6884782"/>
              <a:gd name="connsiteY1731" fmla="*/ 5508560 h 5973007"/>
              <a:gd name="connsiteX1732" fmla="*/ 3343707 w 6884782"/>
              <a:gd name="connsiteY1732" fmla="*/ 5515478 h 5973007"/>
              <a:gd name="connsiteX1733" fmla="*/ 3337976 w 6884782"/>
              <a:gd name="connsiteY1733" fmla="*/ 5519196 h 5973007"/>
              <a:gd name="connsiteX1734" fmla="*/ 3339060 w 6884782"/>
              <a:gd name="connsiteY1734" fmla="*/ 5519299 h 5973007"/>
              <a:gd name="connsiteX1735" fmla="*/ 3350522 w 6884782"/>
              <a:gd name="connsiteY1735" fmla="*/ 5517544 h 5973007"/>
              <a:gd name="connsiteX1736" fmla="*/ 3380727 w 6884782"/>
              <a:gd name="connsiteY1736" fmla="*/ 5517853 h 5973007"/>
              <a:gd name="connsiteX1737" fmla="*/ 3387543 w 6884782"/>
              <a:gd name="connsiteY1737" fmla="*/ 5516305 h 5973007"/>
              <a:gd name="connsiteX1738" fmla="*/ 3387853 w 6884782"/>
              <a:gd name="connsiteY1738" fmla="*/ 5516098 h 5973007"/>
              <a:gd name="connsiteX1739" fmla="*/ 3395907 w 6884782"/>
              <a:gd name="connsiteY1739" fmla="*/ 5509077 h 5973007"/>
              <a:gd name="connsiteX1740" fmla="*/ 3393893 w 6884782"/>
              <a:gd name="connsiteY1740" fmla="*/ 5509180 h 5973007"/>
              <a:gd name="connsiteX1741" fmla="*/ 3390795 w 6884782"/>
              <a:gd name="connsiteY1741" fmla="*/ 5502468 h 5973007"/>
              <a:gd name="connsiteX1742" fmla="*/ 3390641 w 6884782"/>
              <a:gd name="connsiteY1742" fmla="*/ 5502468 h 5973007"/>
              <a:gd name="connsiteX1743" fmla="*/ 3387543 w 6884782"/>
              <a:gd name="connsiteY1743" fmla="*/ 5507321 h 5973007"/>
              <a:gd name="connsiteX1744" fmla="*/ 3381967 w 6884782"/>
              <a:gd name="connsiteY1744" fmla="*/ 5509593 h 5973007"/>
              <a:gd name="connsiteX1745" fmla="*/ 3381347 w 6884782"/>
              <a:gd name="connsiteY1745" fmla="*/ 5509799 h 5973007"/>
              <a:gd name="connsiteX1746" fmla="*/ 3380572 w 6884782"/>
              <a:gd name="connsiteY1746" fmla="*/ 5510522 h 5973007"/>
              <a:gd name="connsiteX1747" fmla="*/ 3380727 w 6884782"/>
              <a:gd name="connsiteY1747" fmla="*/ 5510832 h 5973007"/>
              <a:gd name="connsiteX1748" fmla="*/ 3380417 w 6884782"/>
              <a:gd name="connsiteY1748" fmla="*/ 5510729 h 5973007"/>
              <a:gd name="connsiteX1749" fmla="*/ 3378868 w 6884782"/>
              <a:gd name="connsiteY1749" fmla="*/ 5512174 h 5973007"/>
              <a:gd name="connsiteX1750" fmla="*/ 3377784 w 6884782"/>
              <a:gd name="connsiteY1750" fmla="*/ 5510935 h 5973007"/>
              <a:gd name="connsiteX1751" fmla="*/ 3375151 w 6884782"/>
              <a:gd name="connsiteY1751" fmla="*/ 5510625 h 5973007"/>
              <a:gd name="connsiteX1752" fmla="*/ 3374222 w 6884782"/>
              <a:gd name="connsiteY1752" fmla="*/ 5508560 h 5973007"/>
              <a:gd name="connsiteX1753" fmla="*/ 3376080 w 6884782"/>
              <a:gd name="connsiteY1753" fmla="*/ 5504120 h 5973007"/>
              <a:gd name="connsiteX1754" fmla="*/ 3371898 w 6884782"/>
              <a:gd name="connsiteY1754" fmla="*/ 5498751 h 5973007"/>
              <a:gd name="connsiteX1755" fmla="*/ 2853770 w 6884782"/>
              <a:gd name="connsiteY1755" fmla="*/ 5496995 h 5973007"/>
              <a:gd name="connsiteX1756" fmla="*/ 2849278 w 6884782"/>
              <a:gd name="connsiteY1756" fmla="*/ 5500816 h 5973007"/>
              <a:gd name="connsiteX1757" fmla="*/ 2848658 w 6884782"/>
              <a:gd name="connsiteY1757" fmla="*/ 5503397 h 5973007"/>
              <a:gd name="connsiteX1758" fmla="*/ 2843856 w 6884782"/>
              <a:gd name="connsiteY1758" fmla="*/ 5505359 h 5973007"/>
              <a:gd name="connsiteX1759" fmla="*/ 2843237 w 6884782"/>
              <a:gd name="connsiteY1759" fmla="*/ 5501126 h 5973007"/>
              <a:gd name="connsiteX1760" fmla="*/ 2849743 w 6884782"/>
              <a:gd name="connsiteY1760" fmla="*/ 5498957 h 5973007"/>
              <a:gd name="connsiteX1761" fmla="*/ 2853770 w 6884782"/>
              <a:gd name="connsiteY1761" fmla="*/ 5496995 h 5973007"/>
              <a:gd name="connsiteX1762" fmla="*/ 3370039 w 6884782"/>
              <a:gd name="connsiteY1762" fmla="*/ 5496582 h 5973007"/>
              <a:gd name="connsiteX1763" fmla="*/ 3369885 w 6884782"/>
              <a:gd name="connsiteY1763" fmla="*/ 5496686 h 5973007"/>
              <a:gd name="connsiteX1764" fmla="*/ 3370039 w 6884782"/>
              <a:gd name="connsiteY1764" fmla="*/ 5497305 h 5973007"/>
              <a:gd name="connsiteX1765" fmla="*/ 3370039 w 6884782"/>
              <a:gd name="connsiteY1765" fmla="*/ 5497512 h 5973007"/>
              <a:gd name="connsiteX1766" fmla="*/ 3370969 w 6884782"/>
              <a:gd name="connsiteY1766" fmla="*/ 5497512 h 5973007"/>
              <a:gd name="connsiteX1767" fmla="*/ 2725051 w 6884782"/>
              <a:gd name="connsiteY1767" fmla="*/ 5495447 h 5973007"/>
              <a:gd name="connsiteX1768" fmla="*/ 2734500 w 6884782"/>
              <a:gd name="connsiteY1768" fmla="*/ 5517853 h 5973007"/>
              <a:gd name="connsiteX1769" fmla="*/ 2729388 w 6884782"/>
              <a:gd name="connsiteY1769" fmla="*/ 5523636 h 5973007"/>
              <a:gd name="connsiteX1770" fmla="*/ 2718546 w 6884782"/>
              <a:gd name="connsiteY1770" fmla="*/ 5500300 h 5973007"/>
              <a:gd name="connsiteX1771" fmla="*/ 2725051 w 6884782"/>
              <a:gd name="connsiteY1771" fmla="*/ 5495447 h 5973007"/>
              <a:gd name="connsiteX1772" fmla="*/ 2749215 w 6884782"/>
              <a:gd name="connsiteY1772" fmla="*/ 5494517 h 5973007"/>
              <a:gd name="connsiteX1773" fmla="*/ 2751384 w 6884782"/>
              <a:gd name="connsiteY1773" fmla="*/ 5497925 h 5973007"/>
              <a:gd name="connsiteX1774" fmla="*/ 2746582 w 6884782"/>
              <a:gd name="connsiteY1774" fmla="*/ 5499990 h 5973007"/>
              <a:gd name="connsiteX1775" fmla="*/ 2744568 w 6884782"/>
              <a:gd name="connsiteY1775" fmla="*/ 5496582 h 5973007"/>
              <a:gd name="connsiteX1776" fmla="*/ 2749215 w 6884782"/>
              <a:gd name="connsiteY1776" fmla="*/ 5494517 h 5973007"/>
              <a:gd name="connsiteX1777" fmla="*/ 2946243 w 6884782"/>
              <a:gd name="connsiteY1777" fmla="*/ 5493794 h 5973007"/>
              <a:gd name="connsiteX1778" fmla="*/ 2963282 w 6884782"/>
              <a:gd name="connsiteY1778" fmla="*/ 5495344 h 5973007"/>
              <a:gd name="connsiteX1779" fmla="*/ 2976758 w 6884782"/>
              <a:gd name="connsiteY1779" fmla="*/ 5520745 h 5973007"/>
              <a:gd name="connsiteX1780" fmla="*/ 2974899 w 6884782"/>
              <a:gd name="connsiteY1780" fmla="*/ 5522396 h 5973007"/>
              <a:gd name="connsiteX1781" fmla="*/ 2969323 w 6884782"/>
              <a:gd name="connsiteY1781" fmla="*/ 5523016 h 5973007"/>
              <a:gd name="connsiteX1782" fmla="*/ 2946243 w 6884782"/>
              <a:gd name="connsiteY1782" fmla="*/ 5493794 h 5973007"/>
              <a:gd name="connsiteX1783" fmla="*/ 3389091 w 6884782"/>
              <a:gd name="connsiteY1783" fmla="*/ 5493588 h 5973007"/>
              <a:gd name="connsiteX1784" fmla="*/ 3385994 w 6884782"/>
              <a:gd name="connsiteY1784" fmla="*/ 5493691 h 5973007"/>
              <a:gd name="connsiteX1785" fmla="*/ 3387388 w 6884782"/>
              <a:gd name="connsiteY1785" fmla="*/ 5497718 h 5973007"/>
              <a:gd name="connsiteX1786" fmla="*/ 3386613 w 6884782"/>
              <a:gd name="connsiteY1786" fmla="*/ 5498131 h 5973007"/>
              <a:gd name="connsiteX1787" fmla="*/ 3388627 w 6884782"/>
              <a:gd name="connsiteY1787" fmla="*/ 5499680 h 5973007"/>
              <a:gd name="connsiteX1788" fmla="*/ 3389711 w 6884782"/>
              <a:gd name="connsiteY1788" fmla="*/ 5500093 h 5973007"/>
              <a:gd name="connsiteX1789" fmla="*/ 3390176 w 6884782"/>
              <a:gd name="connsiteY1789" fmla="*/ 5499783 h 5973007"/>
              <a:gd name="connsiteX1790" fmla="*/ 3396681 w 6884782"/>
              <a:gd name="connsiteY1790" fmla="*/ 5497202 h 5973007"/>
              <a:gd name="connsiteX1791" fmla="*/ 3395133 w 6884782"/>
              <a:gd name="connsiteY1791" fmla="*/ 5495344 h 5973007"/>
              <a:gd name="connsiteX1792" fmla="*/ 3393893 w 6884782"/>
              <a:gd name="connsiteY1792" fmla="*/ 5495344 h 5973007"/>
              <a:gd name="connsiteX1793" fmla="*/ 3393893 w 6884782"/>
              <a:gd name="connsiteY1793" fmla="*/ 5495550 h 5973007"/>
              <a:gd name="connsiteX1794" fmla="*/ 3390331 w 6884782"/>
              <a:gd name="connsiteY1794" fmla="*/ 5494724 h 5973007"/>
              <a:gd name="connsiteX1795" fmla="*/ 2456926 w 6884782"/>
              <a:gd name="connsiteY1795" fmla="*/ 5492246 h 5973007"/>
              <a:gd name="connsiteX1796" fmla="*/ 2455532 w 6884782"/>
              <a:gd name="connsiteY1796" fmla="*/ 5497409 h 5973007"/>
              <a:gd name="connsiteX1797" fmla="*/ 2452898 w 6884782"/>
              <a:gd name="connsiteY1797" fmla="*/ 5498957 h 5973007"/>
              <a:gd name="connsiteX1798" fmla="*/ 2450575 w 6884782"/>
              <a:gd name="connsiteY1798" fmla="*/ 5497305 h 5973007"/>
              <a:gd name="connsiteX1799" fmla="*/ 2449956 w 6884782"/>
              <a:gd name="connsiteY1799" fmla="*/ 5493898 h 5973007"/>
              <a:gd name="connsiteX1800" fmla="*/ 2456926 w 6884782"/>
              <a:gd name="connsiteY1800" fmla="*/ 5492246 h 5973007"/>
              <a:gd name="connsiteX1801" fmla="*/ 3058698 w 6884782"/>
              <a:gd name="connsiteY1801" fmla="*/ 5489045 h 5973007"/>
              <a:gd name="connsiteX1802" fmla="*/ 3059472 w 6884782"/>
              <a:gd name="connsiteY1802" fmla="*/ 5491007 h 5973007"/>
              <a:gd name="connsiteX1803" fmla="*/ 3060402 w 6884782"/>
              <a:gd name="connsiteY1803" fmla="*/ 5490490 h 5973007"/>
              <a:gd name="connsiteX1804" fmla="*/ 3065978 w 6884782"/>
              <a:gd name="connsiteY1804" fmla="*/ 5496170 h 5973007"/>
              <a:gd name="connsiteX1805" fmla="*/ 3065049 w 6884782"/>
              <a:gd name="connsiteY1805" fmla="*/ 5499680 h 5973007"/>
              <a:gd name="connsiteX1806" fmla="*/ 3069540 w 6884782"/>
              <a:gd name="connsiteY1806" fmla="*/ 5503191 h 5973007"/>
              <a:gd name="connsiteX1807" fmla="*/ 3073568 w 6884782"/>
              <a:gd name="connsiteY1807" fmla="*/ 5507011 h 5973007"/>
              <a:gd name="connsiteX1808" fmla="*/ 3075891 w 6884782"/>
              <a:gd name="connsiteY1808" fmla="*/ 5514446 h 5973007"/>
              <a:gd name="connsiteX1809" fmla="*/ 3074033 w 6884782"/>
              <a:gd name="connsiteY1809" fmla="*/ 5523429 h 5973007"/>
              <a:gd name="connsiteX1810" fmla="*/ 3073878 w 6884782"/>
              <a:gd name="connsiteY1810" fmla="*/ 5523739 h 5973007"/>
              <a:gd name="connsiteX1811" fmla="*/ 3074962 w 6884782"/>
              <a:gd name="connsiteY1811" fmla="*/ 5524875 h 5973007"/>
              <a:gd name="connsiteX1812" fmla="*/ 3076666 w 6884782"/>
              <a:gd name="connsiteY1812" fmla="*/ 5527869 h 5973007"/>
              <a:gd name="connsiteX1813" fmla="*/ 3078060 w 6884782"/>
              <a:gd name="connsiteY1813" fmla="*/ 5526527 h 5973007"/>
              <a:gd name="connsiteX1814" fmla="*/ 3098506 w 6884782"/>
              <a:gd name="connsiteY1814" fmla="*/ 5527353 h 5973007"/>
              <a:gd name="connsiteX1815" fmla="*/ 3101295 w 6884782"/>
              <a:gd name="connsiteY1815" fmla="*/ 5534581 h 5973007"/>
              <a:gd name="connsiteX1816" fmla="*/ 3099745 w 6884782"/>
              <a:gd name="connsiteY1816" fmla="*/ 5539434 h 5973007"/>
              <a:gd name="connsiteX1817" fmla="*/ 3100055 w 6884782"/>
              <a:gd name="connsiteY1817" fmla="*/ 5540053 h 5973007"/>
              <a:gd name="connsiteX1818" fmla="*/ 3099591 w 6884782"/>
              <a:gd name="connsiteY1818" fmla="*/ 5540156 h 5973007"/>
              <a:gd name="connsiteX1819" fmla="*/ 3099436 w 6884782"/>
              <a:gd name="connsiteY1819" fmla="*/ 5540673 h 5973007"/>
              <a:gd name="connsiteX1820" fmla="*/ 3087044 w 6884782"/>
              <a:gd name="connsiteY1820" fmla="*/ 5546042 h 5973007"/>
              <a:gd name="connsiteX1821" fmla="*/ 3082552 w 6884782"/>
              <a:gd name="connsiteY1821" fmla="*/ 5545113 h 5973007"/>
              <a:gd name="connsiteX1822" fmla="*/ 3078834 w 6884782"/>
              <a:gd name="connsiteY1822" fmla="*/ 5542945 h 5973007"/>
              <a:gd name="connsiteX1823" fmla="*/ 3078370 w 6884782"/>
              <a:gd name="connsiteY1823" fmla="*/ 5543874 h 5973007"/>
              <a:gd name="connsiteX1824" fmla="*/ 3075272 w 6884782"/>
              <a:gd name="connsiteY1824" fmla="*/ 5548623 h 5973007"/>
              <a:gd name="connsiteX1825" fmla="*/ 3068921 w 6884782"/>
              <a:gd name="connsiteY1825" fmla="*/ 5540570 h 5973007"/>
              <a:gd name="connsiteX1826" fmla="*/ 3063500 w 6884782"/>
              <a:gd name="connsiteY1826" fmla="*/ 5532722 h 5973007"/>
              <a:gd name="connsiteX1827" fmla="*/ 3061486 w 6884782"/>
              <a:gd name="connsiteY1827" fmla="*/ 5533858 h 5973007"/>
              <a:gd name="connsiteX1828" fmla="*/ 3053586 w 6884782"/>
              <a:gd name="connsiteY1828" fmla="*/ 5534787 h 5973007"/>
              <a:gd name="connsiteX1829" fmla="*/ 3039955 w 6884782"/>
              <a:gd name="connsiteY1829" fmla="*/ 5524255 h 5973007"/>
              <a:gd name="connsiteX1830" fmla="*/ 3039801 w 6884782"/>
              <a:gd name="connsiteY1830" fmla="*/ 5514962 h 5973007"/>
              <a:gd name="connsiteX1831" fmla="*/ 3058698 w 6884782"/>
              <a:gd name="connsiteY1831" fmla="*/ 5489045 h 5973007"/>
              <a:gd name="connsiteX1832" fmla="*/ 2796923 w 6884782"/>
              <a:gd name="connsiteY1832" fmla="*/ 5483262 h 5973007"/>
              <a:gd name="connsiteX1833" fmla="*/ 2801260 w 6884782"/>
              <a:gd name="connsiteY1833" fmla="*/ 5486050 h 5973007"/>
              <a:gd name="connsiteX1834" fmla="*/ 2801880 w 6884782"/>
              <a:gd name="connsiteY1834" fmla="*/ 5488425 h 5973007"/>
              <a:gd name="connsiteX1835" fmla="*/ 2806682 w 6884782"/>
              <a:gd name="connsiteY1835" fmla="*/ 5490284 h 5973007"/>
              <a:gd name="connsiteX1836" fmla="*/ 2809005 w 6884782"/>
              <a:gd name="connsiteY1836" fmla="*/ 5495447 h 5973007"/>
              <a:gd name="connsiteX1837" fmla="*/ 2806682 w 6884782"/>
              <a:gd name="connsiteY1837" fmla="*/ 5496376 h 5973007"/>
              <a:gd name="connsiteX1838" fmla="*/ 2801725 w 6884782"/>
              <a:gd name="connsiteY1838" fmla="*/ 5494311 h 5973007"/>
              <a:gd name="connsiteX1839" fmla="*/ 2800950 w 6884782"/>
              <a:gd name="connsiteY1839" fmla="*/ 5496376 h 5973007"/>
              <a:gd name="connsiteX1840" fmla="*/ 2797853 w 6884782"/>
              <a:gd name="connsiteY1840" fmla="*/ 5498544 h 5973007"/>
              <a:gd name="connsiteX1841" fmla="*/ 2796613 w 6884782"/>
              <a:gd name="connsiteY1841" fmla="*/ 5498544 h 5973007"/>
              <a:gd name="connsiteX1842" fmla="*/ 2796768 w 6884782"/>
              <a:gd name="connsiteY1842" fmla="*/ 5499577 h 5973007"/>
              <a:gd name="connsiteX1843" fmla="*/ 2794290 w 6884782"/>
              <a:gd name="connsiteY1843" fmla="*/ 5500919 h 5973007"/>
              <a:gd name="connsiteX1844" fmla="*/ 2793206 w 6884782"/>
              <a:gd name="connsiteY1844" fmla="*/ 5502572 h 5973007"/>
              <a:gd name="connsiteX1845" fmla="*/ 2790572 w 6884782"/>
              <a:gd name="connsiteY1845" fmla="*/ 5502881 h 5973007"/>
              <a:gd name="connsiteX1846" fmla="*/ 2789178 w 6884782"/>
              <a:gd name="connsiteY1846" fmla="*/ 5500816 h 5973007"/>
              <a:gd name="connsiteX1847" fmla="*/ 2789023 w 6884782"/>
              <a:gd name="connsiteY1847" fmla="*/ 5500300 h 5973007"/>
              <a:gd name="connsiteX1848" fmla="*/ 2787629 w 6884782"/>
              <a:gd name="connsiteY1848" fmla="*/ 5501022 h 5973007"/>
              <a:gd name="connsiteX1849" fmla="*/ 2786700 w 6884782"/>
              <a:gd name="connsiteY1849" fmla="*/ 5499267 h 5973007"/>
              <a:gd name="connsiteX1850" fmla="*/ 2788404 w 6884782"/>
              <a:gd name="connsiteY1850" fmla="*/ 5497925 h 5973007"/>
              <a:gd name="connsiteX1851" fmla="*/ 2788249 w 6884782"/>
              <a:gd name="connsiteY1851" fmla="*/ 5497099 h 5973007"/>
              <a:gd name="connsiteX1852" fmla="*/ 2788404 w 6884782"/>
              <a:gd name="connsiteY1852" fmla="*/ 5494311 h 5973007"/>
              <a:gd name="connsiteX1853" fmla="*/ 2788094 w 6884782"/>
              <a:gd name="connsiteY1853" fmla="*/ 5494105 h 5973007"/>
              <a:gd name="connsiteX1854" fmla="*/ 2787784 w 6884782"/>
              <a:gd name="connsiteY1854" fmla="*/ 5485431 h 5973007"/>
              <a:gd name="connsiteX1855" fmla="*/ 2796923 w 6884782"/>
              <a:gd name="connsiteY1855" fmla="*/ 5483262 h 5973007"/>
              <a:gd name="connsiteX1856" fmla="*/ 2869724 w 6884782"/>
              <a:gd name="connsiteY1856" fmla="*/ 5482126 h 5973007"/>
              <a:gd name="connsiteX1857" fmla="*/ 2869879 w 6884782"/>
              <a:gd name="connsiteY1857" fmla="*/ 5485638 h 5973007"/>
              <a:gd name="connsiteX1858" fmla="*/ 2863683 w 6884782"/>
              <a:gd name="connsiteY1858" fmla="*/ 5489458 h 5973007"/>
              <a:gd name="connsiteX1859" fmla="*/ 2861670 w 6884782"/>
              <a:gd name="connsiteY1859" fmla="*/ 5488735 h 5973007"/>
              <a:gd name="connsiteX1860" fmla="*/ 2862289 w 6884782"/>
              <a:gd name="connsiteY1860" fmla="*/ 5484502 h 5973007"/>
              <a:gd name="connsiteX1861" fmla="*/ 2869724 w 6884782"/>
              <a:gd name="connsiteY1861" fmla="*/ 5482126 h 5973007"/>
              <a:gd name="connsiteX1862" fmla="*/ 2672929 w 6884782"/>
              <a:gd name="connsiteY1862" fmla="*/ 5481856 h 5973007"/>
              <a:gd name="connsiteX1863" fmla="*/ 2678273 w 6884782"/>
              <a:gd name="connsiteY1863" fmla="*/ 5486773 h 5973007"/>
              <a:gd name="connsiteX1864" fmla="*/ 2675484 w 6884782"/>
              <a:gd name="connsiteY1864" fmla="*/ 5493794 h 5973007"/>
              <a:gd name="connsiteX1865" fmla="*/ 2669908 w 6884782"/>
              <a:gd name="connsiteY1865" fmla="*/ 5495550 h 5973007"/>
              <a:gd name="connsiteX1866" fmla="*/ 2665416 w 6884782"/>
              <a:gd name="connsiteY1866" fmla="*/ 5493072 h 5973007"/>
              <a:gd name="connsiteX1867" fmla="*/ 2664022 w 6884782"/>
              <a:gd name="connsiteY1867" fmla="*/ 5489458 h 5973007"/>
              <a:gd name="connsiteX1868" fmla="*/ 2664177 w 6884782"/>
              <a:gd name="connsiteY1868" fmla="*/ 5489251 h 5973007"/>
              <a:gd name="connsiteX1869" fmla="*/ 2662938 w 6884782"/>
              <a:gd name="connsiteY1869" fmla="*/ 5490181 h 5973007"/>
              <a:gd name="connsiteX1870" fmla="*/ 2661234 w 6884782"/>
              <a:gd name="connsiteY1870" fmla="*/ 5490077 h 5973007"/>
              <a:gd name="connsiteX1871" fmla="*/ 2660150 w 6884782"/>
              <a:gd name="connsiteY1871" fmla="*/ 5488425 h 5973007"/>
              <a:gd name="connsiteX1872" fmla="*/ 2659685 w 6884782"/>
              <a:gd name="connsiteY1872" fmla="*/ 5484811 h 5973007"/>
              <a:gd name="connsiteX1873" fmla="*/ 2661079 w 6884782"/>
              <a:gd name="connsiteY1873" fmla="*/ 5483056 h 5973007"/>
              <a:gd name="connsiteX1874" fmla="*/ 2662783 w 6884782"/>
              <a:gd name="connsiteY1874" fmla="*/ 5483779 h 5973007"/>
              <a:gd name="connsiteX1875" fmla="*/ 2664487 w 6884782"/>
              <a:gd name="connsiteY1875" fmla="*/ 5483676 h 5973007"/>
              <a:gd name="connsiteX1876" fmla="*/ 2664642 w 6884782"/>
              <a:gd name="connsiteY1876" fmla="*/ 5484605 h 5973007"/>
              <a:gd name="connsiteX1877" fmla="*/ 2664487 w 6884782"/>
              <a:gd name="connsiteY1877" fmla="*/ 5484708 h 5973007"/>
              <a:gd name="connsiteX1878" fmla="*/ 2665106 w 6884782"/>
              <a:gd name="connsiteY1878" fmla="*/ 5485121 h 5973007"/>
              <a:gd name="connsiteX1879" fmla="*/ 2665726 w 6884782"/>
              <a:gd name="connsiteY1879" fmla="*/ 5482746 h 5973007"/>
              <a:gd name="connsiteX1880" fmla="*/ 2672929 w 6884782"/>
              <a:gd name="connsiteY1880" fmla="*/ 5481856 h 5973007"/>
              <a:gd name="connsiteX1881" fmla="*/ 3008976 w 6884782"/>
              <a:gd name="connsiteY1881" fmla="*/ 5481339 h 5973007"/>
              <a:gd name="connsiteX1882" fmla="*/ 3013158 w 6884782"/>
              <a:gd name="connsiteY1882" fmla="*/ 5491833 h 5973007"/>
              <a:gd name="connsiteX1883" fmla="*/ 3009286 w 6884782"/>
              <a:gd name="connsiteY1883" fmla="*/ 5499267 h 5973007"/>
              <a:gd name="connsiteX1884" fmla="*/ 3003555 w 6884782"/>
              <a:gd name="connsiteY1884" fmla="*/ 5502158 h 5973007"/>
              <a:gd name="connsiteX1885" fmla="*/ 2995190 w 6884782"/>
              <a:gd name="connsiteY1885" fmla="*/ 5502055 h 5973007"/>
              <a:gd name="connsiteX1886" fmla="*/ 2993486 w 6884782"/>
              <a:gd name="connsiteY1886" fmla="*/ 5494414 h 5973007"/>
              <a:gd name="connsiteX1887" fmla="*/ 2988530 w 6884782"/>
              <a:gd name="connsiteY1887" fmla="*/ 5497925 h 5973007"/>
              <a:gd name="connsiteX1888" fmla="*/ 2983728 w 6884782"/>
              <a:gd name="connsiteY1888" fmla="*/ 5495137 h 5973007"/>
              <a:gd name="connsiteX1889" fmla="*/ 2992557 w 6884782"/>
              <a:gd name="connsiteY1889" fmla="*/ 5486360 h 5973007"/>
              <a:gd name="connsiteX1890" fmla="*/ 2993177 w 6884782"/>
              <a:gd name="connsiteY1890" fmla="*/ 5486360 h 5973007"/>
              <a:gd name="connsiteX1891" fmla="*/ 2993177 w 6884782"/>
              <a:gd name="connsiteY1891" fmla="*/ 5484088 h 5973007"/>
              <a:gd name="connsiteX1892" fmla="*/ 3008976 w 6884782"/>
              <a:gd name="connsiteY1892" fmla="*/ 5481339 h 5973007"/>
              <a:gd name="connsiteX1893" fmla="*/ 2846180 w 6884782"/>
              <a:gd name="connsiteY1893" fmla="*/ 5479132 h 5973007"/>
              <a:gd name="connsiteX1894" fmla="*/ 2845406 w 6884782"/>
              <a:gd name="connsiteY1894" fmla="*/ 5479855 h 5973007"/>
              <a:gd name="connsiteX1895" fmla="*/ 2844631 w 6884782"/>
              <a:gd name="connsiteY1895" fmla="*/ 5479236 h 5973007"/>
              <a:gd name="connsiteX1896" fmla="*/ 2846180 w 6884782"/>
              <a:gd name="connsiteY1896" fmla="*/ 5479132 h 5973007"/>
              <a:gd name="connsiteX1897" fmla="*/ 2878863 w 6884782"/>
              <a:gd name="connsiteY1897" fmla="*/ 5479029 h 5973007"/>
              <a:gd name="connsiteX1898" fmla="*/ 2878863 w 6884782"/>
              <a:gd name="connsiteY1898" fmla="*/ 5481714 h 5973007"/>
              <a:gd name="connsiteX1899" fmla="*/ 2877314 w 6884782"/>
              <a:gd name="connsiteY1899" fmla="*/ 5482540 h 5973007"/>
              <a:gd name="connsiteX1900" fmla="*/ 2876695 w 6884782"/>
              <a:gd name="connsiteY1900" fmla="*/ 5485224 h 5973007"/>
              <a:gd name="connsiteX1901" fmla="*/ 2874991 w 6884782"/>
              <a:gd name="connsiteY1901" fmla="*/ 5485121 h 5973007"/>
              <a:gd name="connsiteX1902" fmla="*/ 2876385 w 6884782"/>
              <a:gd name="connsiteY1902" fmla="*/ 5479855 h 5973007"/>
              <a:gd name="connsiteX1903" fmla="*/ 2878863 w 6884782"/>
              <a:gd name="connsiteY1903" fmla="*/ 5479029 h 5973007"/>
              <a:gd name="connsiteX1904" fmla="*/ 2741780 w 6884782"/>
              <a:gd name="connsiteY1904" fmla="*/ 5478203 h 5973007"/>
              <a:gd name="connsiteX1905" fmla="*/ 2743329 w 6884782"/>
              <a:gd name="connsiteY1905" fmla="*/ 5490800 h 5973007"/>
              <a:gd name="connsiteX1906" fmla="*/ 2738372 w 6884782"/>
              <a:gd name="connsiteY1906" fmla="*/ 5479855 h 5973007"/>
              <a:gd name="connsiteX1907" fmla="*/ 2741780 w 6884782"/>
              <a:gd name="connsiteY1907" fmla="*/ 5478203 h 5973007"/>
              <a:gd name="connsiteX1908" fmla="*/ 3063403 w 6884782"/>
              <a:gd name="connsiteY1908" fmla="*/ 5478074 h 5973007"/>
              <a:gd name="connsiteX1909" fmla="*/ 3069231 w 6884782"/>
              <a:gd name="connsiteY1909" fmla="*/ 5478410 h 5973007"/>
              <a:gd name="connsiteX1910" fmla="*/ 3070315 w 6884782"/>
              <a:gd name="connsiteY1910" fmla="*/ 5483056 h 5973007"/>
              <a:gd name="connsiteX1911" fmla="*/ 3068611 w 6884782"/>
              <a:gd name="connsiteY1911" fmla="*/ 5485327 h 5973007"/>
              <a:gd name="connsiteX1912" fmla="*/ 3069850 w 6884782"/>
              <a:gd name="connsiteY1912" fmla="*/ 5487186 h 5973007"/>
              <a:gd name="connsiteX1913" fmla="*/ 3067527 w 6884782"/>
              <a:gd name="connsiteY1913" fmla="*/ 5489664 h 5973007"/>
              <a:gd name="connsiteX1914" fmla="*/ 3063964 w 6884782"/>
              <a:gd name="connsiteY1914" fmla="*/ 5487703 h 5973007"/>
              <a:gd name="connsiteX1915" fmla="*/ 3061486 w 6884782"/>
              <a:gd name="connsiteY1915" fmla="*/ 5487496 h 5973007"/>
              <a:gd name="connsiteX1916" fmla="*/ 3055755 w 6884782"/>
              <a:gd name="connsiteY1916" fmla="*/ 5487186 h 5973007"/>
              <a:gd name="connsiteX1917" fmla="*/ 3054671 w 6884782"/>
              <a:gd name="connsiteY1917" fmla="*/ 5482849 h 5973007"/>
              <a:gd name="connsiteX1918" fmla="*/ 3063403 w 6884782"/>
              <a:gd name="connsiteY1918" fmla="*/ 5478074 h 5973007"/>
              <a:gd name="connsiteX1919" fmla="*/ 2551722 w 6884782"/>
              <a:gd name="connsiteY1919" fmla="*/ 5475415 h 5973007"/>
              <a:gd name="connsiteX1920" fmla="*/ 2548159 w 6884782"/>
              <a:gd name="connsiteY1920" fmla="*/ 5481714 h 5973007"/>
              <a:gd name="connsiteX1921" fmla="*/ 2545527 w 6884782"/>
              <a:gd name="connsiteY1921" fmla="*/ 5475725 h 5973007"/>
              <a:gd name="connsiteX1922" fmla="*/ 2551722 w 6884782"/>
              <a:gd name="connsiteY1922" fmla="*/ 5475415 h 5973007"/>
              <a:gd name="connsiteX1923" fmla="*/ 2959100 w 6884782"/>
              <a:gd name="connsiteY1923" fmla="*/ 5474486 h 5973007"/>
              <a:gd name="connsiteX1924" fmla="*/ 2961888 w 6884782"/>
              <a:gd name="connsiteY1924" fmla="*/ 5482746 h 5973007"/>
              <a:gd name="connsiteX1925" fmla="*/ 2953214 w 6884782"/>
              <a:gd name="connsiteY1925" fmla="*/ 5490181 h 5973007"/>
              <a:gd name="connsiteX1926" fmla="*/ 2942216 w 6884782"/>
              <a:gd name="connsiteY1926" fmla="*/ 5486360 h 5973007"/>
              <a:gd name="connsiteX1927" fmla="*/ 2959100 w 6884782"/>
              <a:gd name="connsiteY1927" fmla="*/ 5474486 h 5973007"/>
              <a:gd name="connsiteX1928" fmla="*/ 2645667 w 6884782"/>
              <a:gd name="connsiteY1928" fmla="*/ 5473789 h 5973007"/>
              <a:gd name="connsiteX1929" fmla="*/ 2653644 w 6884782"/>
              <a:gd name="connsiteY1929" fmla="*/ 5474899 h 5973007"/>
              <a:gd name="connsiteX1930" fmla="*/ 2654264 w 6884782"/>
              <a:gd name="connsiteY1930" fmla="*/ 5482023 h 5973007"/>
              <a:gd name="connsiteX1931" fmla="*/ 2644350 w 6884782"/>
              <a:gd name="connsiteY1931" fmla="*/ 5483676 h 5973007"/>
              <a:gd name="connsiteX1932" fmla="*/ 2641407 w 6884782"/>
              <a:gd name="connsiteY1932" fmla="*/ 5482746 h 5973007"/>
              <a:gd name="connsiteX1933" fmla="*/ 2645667 w 6884782"/>
              <a:gd name="connsiteY1933" fmla="*/ 5473789 h 5973007"/>
              <a:gd name="connsiteX1934" fmla="*/ 2872822 w 6884782"/>
              <a:gd name="connsiteY1934" fmla="*/ 5472008 h 5973007"/>
              <a:gd name="connsiteX1935" fmla="*/ 2875301 w 6884782"/>
              <a:gd name="connsiteY1935" fmla="*/ 5472111 h 5973007"/>
              <a:gd name="connsiteX1936" fmla="*/ 2874526 w 6884782"/>
              <a:gd name="connsiteY1936" fmla="*/ 5473866 h 5973007"/>
              <a:gd name="connsiteX1937" fmla="*/ 2871273 w 6884782"/>
              <a:gd name="connsiteY1937" fmla="*/ 5477996 h 5973007"/>
              <a:gd name="connsiteX1938" fmla="*/ 2870344 w 6884782"/>
              <a:gd name="connsiteY1938" fmla="*/ 5475415 h 5973007"/>
              <a:gd name="connsiteX1939" fmla="*/ 2872048 w 6884782"/>
              <a:gd name="connsiteY1939" fmla="*/ 5473763 h 5973007"/>
              <a:gd name="connsiteX1940" fmla="*/ 2872822 w 6884782"/>
              <a:gd name="connsiteY1940" fmla="*/ 5472008 h 5973007"/>
              <a:gd name="connsiteX1941" fmla="*/ 2768112 w 6884782"/>
              <a:gd name="connsiteY1941" fmla="*/ 5471904 h 5973007"/>
              <a:gd name="connsiteX1942" fmla="*/ 2769971 w 6884782"/>
              <a:gd name="connsiteY1942" fmla="*/ 5473659 h 5973007"/>
              <a:gd name="connsiteX1943" fmla="*/ 2768112 w 6884782"/>
              <a:gd name="connsiteY1943" fmla="*/ 5475828 h 5973007"/>
              <a:gd name="connsiteX1944" fmla="*/ 2765479 w 6884782"/>
              <a:gd name="connsiteY1944" fmla="*/ 5476551 h 5973007"/>
              <a:gd name="connsiteX1945" fmla="*/ 2764705 w 6884782"/>
              <a:gd name="connsiteY1945" fmla="*/ 5475518 h 5973007"/>
              <a:gd name="connsiteX1946" fmla="*/ 2763930 w 6884782"/>
              <a:gd name="connsiteY1946" fmla="*/ 5473556 h 5973007"/>
              <a:gd name="connsiteX1947" fmla="*/ 2768112 w 6884782"/>
              <a:gd name="connsiteY1947" fmla="*/ 5471904 h 5973007"/>
              <a:gd name="connsiteX1948" fmla="*/ 2834873 w 6884782"/>
              <a:gd name="connsiteY1948" fmla="*/ 5468393 h 5973007"/>
              <a:gd name="connsiteX1949" fmla="*/ 2820932 w 6884782"/>
              <a:gd name="connsiteY1949" fmla="*/ 5475725 h 5973007"/>
              <a:gd name="connsiteX1950" fmla="*/ 2820777 w 6884782"/>
              <a:gd name="connsiteY1950" fmla="*/ 5472214 h 5973007"/>
              <a:gd name="connsiteX1951" fmla="*/ 2822481 w 6884782"/>
              <a:gd name="connsiteY1951" fmla="*/ 5472317 h 5973007"/>
              <a:gd name="connsiteX1952" fmla="*/ 2834873 w 6884782"/>
              <a:gd name="connsiteY1952" fmla="*/ 5468393 h 5973007"/>
              <a:gd name="connsiteX1953" fmla="*/ 3116629 w 6884782"/>
              <a:gd name="connsiteY1953" fmla="*/ 5467877 h 5973007"/>
              <a:gd name="connsiteX1954" fmla="*/ 3122980 w 6884782"/>
              <a:gd name="connsiteY1954" fmla="*/ 5476035 h 5973007"/>
              <a:gd name="connsiteX1955" fmla="*/ 3120501 w 6884782"/>
              <a:gd name="connsiteY1955" fmla="*/ 5476241 h 5973007"/>
              <a:gd name="connsiteX1956" fmla="*/ 3116629 w 6884782"/>
              <a:gd name="connsiteY1956" fmla="*/ 5467877 h 5973007"/>
              <a:gd name="connsiteX1957" fmla="*/ 2742554 w 6884782"/>
              <a:gd name="connsiteY1957" fmla="*/ 5466948 h 5973007"/>
              <a:gd name="connsiteX1958" fmla="*/ 2744878 w 6884782"/>
              <a:gd name="connsiteY1958" fmla="*/ 5475105 h 5973007"/>
              <a:gd name="connsiteX1959" fmla="*/ 2740696 w 6884782"/>
              <a:gd name="connsiteY1959" fmla="*/ 5477067 h 5973007"/>
              <a:gd name="connsiteX1960" fmla="*/ 2735274 w 6884782"/>
              <a:gd name="connsiteY1960" fmla="*/ 5476241 h 5973007"/>
              <a:gd name="connsiteX1961" fmla="*/ 2742554 w 6884782"/>
              <a:gd name="connsiteY1961" fmla="*/ 5466948 h 5973007"/>
              <a:gd name="connsiteX1962" fmla="*/ 2610428 w 6884782"/>
              <a:gd name="connsiteY1962" fmla="*/ 5465606 h 5973007"/>
              <a:gd name="connsiteX1963" fmla="*/ 2620961 w 6884782"/>
              <a:gd name="connsiteY1963" fmla="*/ 5473040 h 5973007"/>
              <a:gd name="connsiteX1964" fmla="*/ 2613061 w 6884782"/>
              <a:gd name="connsiteY1964" fmla="*/ 5497409 h 5973007"/>
              <a:gd name="connsiteX1965" fmla="*/ 2601289 w 6884782"/>
              <a:gd name="connsiteY1965" fmla="*/ 5499990 h 5973007"/>
              <a:gd name="connsiteX1966" fmla="*/ 2597262 w 6884782"/>
              <a:gd name="connsiteY1966" fmla="*/ 5499783 h 5973007"/>
              <a:gd name="connsiteX1967" fmla="*/ 2591840 w 6884782"/>
              <a:gd name="connsiteY1967" fmla="*/ 5497305 h 5973007"/>
              <a:gd name="connsiteX1968" fmla="*/ 2610428 w 6884782"/>
              <a:gd name="connsiteY1968" fmla="*/ 5465606 h 5973007"/>
              <a:gd name="connsiteX1969" fmla="*/ 2841378 w 6884782"/>
              <a:gd name="connsiteY1969" fmla="*/ 5464573 h 5973007"/>
              <a:gd name="connsiteX1970" fmla="*/ 2838125 w 6884782"/>
              <a:gd name="connsiteY1970" fmla="*/ 5467051 h 5973007"/>
              <a:gd name="connsiteX1971" fmla="*/ 2837196 w 6884782"/>
              <a:gd name="connsiteY1971" fmla="*/ 5466122 h 5973007"/>
              <a:gd name="connsiteX1972" fmla="*/ 2841378 w 6884782"/>
              <a:gd name="connsiteY1972" fmla="*/ 5464573 h 5973007"/>
              <a:gd name="connsiteX1973" fmla="*/ 2828251 w 6884782"/>
              <a:gd name="connsiteY1973" fmla="*/ 5463889 h 5973007"/>
              <a:gd name="connsiteX1974" fmla="*/ 2832859 w 6884782"/>
              <a:gd name="connsiteY1974" fmla="*/ 5464160 h 5973007"/>
              <a:gd name="connsiteX1975" fmla="*/ 2832859 w 6884782"/>
              <a:gd name="connsiteY1975" fmla="*/ 5465089 h 5973007"/>
              <a:gd name="connsiteX1976" fmla="*/ 2824340 w 6884782"/>
              <a:gd name="connsiteY1976" fmla="*/ 5466638 h 5973007"/>
              <a:gd name="connsiteX1977" fmla="*/ 2821087 w 6884782"/>
              <a:gd name="connsiteY1977" fmla="*/ 5466225 h 5973007"/>
              <a:gd name="connsiteX1978" fmla="*/ 2822016 w 6884782"/>
              <a:gd name="connsiteY1978" fmla="*/ 5466225 h 5973007"/>
              <a:gd name="connsiteX1979" fmla="*/ 2821087 w 6884782"/>
              <a:gd name="connsiteY1979" fmla="*/ 5465399 h 5973007"/>
              <a:gd name="connsiteX1980" fmla="*/ 2828251 w 6884782"/>
              <a:gd name="connsiteY1980" fmla="*/ 5463889 h 5973007"/>
              <a:gd name="connsiteX1981" fmla="*/ 3037632 w 6884782"/>
              <a:gd name="connsiteY1981" fmla="*/ 5463437 h 5973007"/>
              <a:gd name="connsiteX1982" fmla="*/ 3042898 w 6884782"/>
              <a:gd name="connsiteY1982" fmla="*/ 5466225 h 5973007"/>
              <a:gd name="connsiteX1983" fmla="*/ 3039646 w 6884782"/>
              <a:gd name="connsiteY1983" fmla="*/ 5470458 h 5973007"/>
              <a:gd name="connsiteX1984" fmla="*/ 3037632 w 6884782"/>
              <a:gd name="connsiteY1984" fmla="*/ 5463437 h 5973007"/>
              <a:gd name="connsiteX1985" fmla="*/ 2673626 w 6884782"/>
              <a:gd name="connsiteY1985" fmla="*/ 5461062 h 5973007"/>
              <a:gd name="connsiteX1986" fmla="*/ 2699028 w 6884782"/>
              <a:gd name="connsiteY1986" fmla="*/ 5466225 h 5973007"/>
              <a:gd name="connsiteX1987" fmla="*/ 2693452 w 6884782"/>
              <a:gd name="connsiteY1987" fmla="*/ 5469839 h 5973007"/>
              <a:gd name="connsiteX1988" fmla="*/ 2673626 w 6884782"/>
              <a:gd name="connsiteY1988" fmla="*/ 5461062 h 5973007"/>
              <a:gd name="connsiteX1989" fmla="*/ 2524771 w 6884782"/>
              <a:gd name="connsiteY1989" fmla="*/ 5460236 h 5973007"/>
              <a:gd name="connsiteX1990" fmla="*/ 2530347 w 6884782"/>
              <a:gd name="connsiteY1990" fmla="*/ 5462095 h 5973007"/>
              <a:gd name="connsiteX1991" fmla="*/ 2530966 w 6884782"/>
              <a:gd name="connsiteY1991" fmla="*/ 5464676 h 5973007"/>
              <a:gd name="connsiteX1992" fmla="*/ 2529572 w 6884782"/>
              <a:gd name="connsiteY1992" fmla="*/ 5469943 h 5973007"/>
              <a:gd name="connsiteX1993" fmla="*/ 2530502 w 6884782"/>
              <a:gd name="connsiteY1993" fmla="*/ 5469943 h 5973007"/>
              <a:gd name="connsiteX1994" fmla="*/ 2525390 w 6884782"/>
              <a:gd name="connsiteY1994" fmla="*/ 5470769 h 5973007"/>
              <a:gd name="connsiteX1995" fmla="*/ 2522292 w 6884782"/>
              <a:gd name="connsiteY1995" fmla="*/ 5467361 h 5973007"/>
              <a:gd name="connsiteX1996" fmla="*/ 2524771 w 6884782"/>
              <a:gd name="connsiteY1996" fmla="*/ 5460236 h 5973007"/>
              <a:gd name="connsiteX1997" fmla="*/ 2934471 w 6884782"/>
              <a:gd name="connsiteY1997" fmla="*/ 5456313 h 5973007"/>
              <a:gd name="connsiteX1998" fmla="*/ 2945469 w 6884782"/>
              <a:gd name="connsiteY1998" fmla="*/ 5457242 h 5973007"/>
              <a:gd name="connsiteX1999" fmla="*/ 2940512 w 6884782"/>
              <a:gd name="connsiteY1999" fmla="*/ 5461992 h 5973007"/>
              <a:gd name="connsiteX2000" fmla="*/ 2934471 w 6884782"/>
              <a:gd name="connsiteY2000" fmla="*/ 5456313 h 5973007"/>
              <a:gd name="connsiteX2001" fmla="*/ 3156283 w 6884782"/>
              <a:gd name="connsiteY2001" fmla="*/ 5453421 h 5973007"/>
              <a:gd name="connsiteX2002" fmla="*/ 3156283 w 6884782"/>
              <a:gd name="connsiteY2002" fmla="*/ 5454557 h 5973007"/>
              <a:gd name="connsiteX2003" fmla="*/ 3157057 w 6884782"/>
              <a:gd name="connsiteY2003" fmla="*/ 5457139 h 5973007"/>
              <a:gd name="connsiteX2004" fmla="*/ 3160774 w 6884782"/>
              <a:gd name="connsiteY2004" fmla="*/ 5455074 h 5973007"/>
              <a:gd name="connsiteX2005" fmla="*/ 3159845 w 6884782"/>
              <a:gd name="connsiteY2005" fmla="*/ 5454970 h 5973007"/>
              <a:gd name="connsiteX2006" fmla="*/ 3166196 w 6884782"/>
              <a:gd name="connsiteY2006" fmla="*/ 5453215 h 5973007"/>
              <a:gd name="connsiteX2007" fmla="*/ 3165112 w 6884782"/>
              <a:gd name="connsiteY2007" fmla="*/ 5453525 h 5973007"/>
              <a:gd name="connsiteX2008" fmla="*/ 3165266 w 6884782"/>
              <a:gd name="connsiteY2008" fmla="*/ 5455074 h 5973007"/>
              <a:gd name="connsiteX2009" fmla="*/ 3162323 w 6884782"/>
              <a:gd name="connsiteY2009" fmla="*/ 5455074 h 5973007"/>
              <a:gd name="connsiteX2010" fmla="*/ 3162943 w 6884782"/>
              <a:gd name="connsiteY2010" fmla="*/ 5455280 h 5973007"/>
              <a:gd name="connsiteX2011" fmla="*/ 3164957 w 6884782"/>
              <a:gd name="connsiteY2011" fmla="*/ 5457345 h 5973007"/>
              <a:gd name="connsiteX2012" fmla="*/ 3166970 w 6884782"/>
              <a:gd name="connsiteY2012" fmla="*/ 5456106 h 5973007"/>
              <a:gd name="connsiteX2013" fmla="*/ 3117094 w 6884782"/>
              <a:gd name="connsiteY2013" fmla="*/ 5452905 h 5973007"/>
              <a:gd name="connsiteX2014" fmla="*/ 3119107 w 6884782"/>
              <a:gd name="connsiteY2014" fmla="*/ 5454660 h 5973007"/>
              <a:gd name="connsiteX2015" fmla="*/ 3117094 w 6884782"/>
              <a:gd name="connsiteY2015" fmla="*/ 5456003 h 5973007"/>
              <a:gd name="connsiteX2016" fmla="*/ 3115390 w 6884782"/>
              <a:gd name="connsiteY2016" fmla="*/ 5455074 h 5973007"/>
              <a:gd name="connsiteX2017" fmla="*/ 3112912 w 6884782"/>
              <a:gd name="connsiteY2017" fmla="*/ 5455693 h 5973007"/>
              <a:gd name="connsiteX2018" fmla="*/ 3111827 w 6884782"/>
              <a:gd name="connsiteY2018" fmla="*/ 5454247 h 5973007"/>
              <a:gd name="connsiteX2019" fmla="*/ 3117094 w 6884782"/>
              <a:gd name="connsiteY2019" fmla="*/ 5452905 h 5973007"/>
              <a:gd name="connsiteX2020" fmla="*/ 2474584 w 6884782"/>
              <a:gd name="connsiteY2020" fmla="*/ 5450737 h 5973007"/>
              <a:gd name="connsiteX2021" fmla="*/ 2476288 w 6884782"/>
              <a:gd name="connsiteY2021" fmla="*/ 5454660 h 5973007"/>
              <a:gd name="connsiteX2022" fmla="*/ 2463896 w 6884782"/>
              <a:gd name="connsiteY2022" fmla="*/ 5465606 h 5973007"/>
              <a:gd name="connsiteX2023" fmla="*/ 2458165 w 6884782"/>
              <a:gd name="connsiteY2023" fmla="*/ 5464470 h 5973007"/>
              <a:gd name="connsiteX2024" fmla="*/ 2474584 w 6884782"/>
              <a:gd name="connsiteY2024" fmla="*/ 5450737 h 5973007"/>
              <a:gd name="connsiteX2025" fmla="*/ 3142497 w 6884782"/>
              <a:gd name="connsiteY2025" fmla="*/ 5449911 h 5973007"/>
              <a:gd name="connsiteX2026" fmla="*/ 3141567 w 6884782"/>
              <a:gd name="connsiteY2026" fmla="*/ 5450634 h 5973007"/>
              <a:gd name="connsiteX2027" fmla="*/ 3141877 w 6884782"/>
              <a:gd name="connsiteY2027" fmla="*/ 5451150 h 5973007"/>
              <a:gd name="connsiteX2028" fmla="*/ 3142342 w 6884782"/>
              <a:gd name="connsiteY2028" fmla="*/ 5453318 h 5973007"/>
              <a:gd name="connsiteX2029" fmla="*/ 3148383 w 6884782"/>
              <a:gd name="connsiteY2029" fmla="*/ 5453835 h 5973007"/>
              <a:gd name="connsiteX2030" fmla="*/ 3153495 w 6884782"/>
              <a:gd name="connsiteY2030" fmla="*/ 5452802 h 5973007"/>
              <a:gd name="connsiteX2031" fmla="*/ 3153649 w 6884782"/>
              <a:gd name="connsiteY2031" fmla="*/ 5452286 h 5973007"/>
              <a:gd name="connsiteX2032" fmla="*/ 3147144 w 6884782"/>
              <a:gd name="connsiteY2032" fmla="*/ 5450220 h 5973007"/>
              <a:gd name="connsiteX2033" fmla="*/ 2806991 w 6884782"/>
              <a:gd name="connsiteY2033" fmla="*/ 5449085 h 5973007"/>
              <a:gd name="connsiteX2034" fmla="*/ 2819073 w 6884782"/>
              <a:gd name="connsiteY2034" fmla="*/ 5491833 h 5973007"/>
              <a:gd name="connsiteX2035" fmla="*/ 2797853 w 6884782"/>
              <a:gd name="connsiteY2035" fmla="*/ 5450737 h 5973007"/>
              <a:gd name="connsiteX2036" fmla="*/ 2806991 w 6884782"/>
              <a:gd name="connsiteY2036" fmla="*/ 5449085 h 5973007"/>
              <a:gd name="connsiteX2037" fmla="*/ 2673471 w 6884782"/>
              <a:gd name="connsiteY2037" fmla="*/ 5448155 h 5973007"/>
              <a:gd name="connsiteX2038" fmla="*/ 2678118 w 6884782"/>
              <a:gd name="connsiteY2038" fmla="*/ 5453421 h 5973007"/>
              <a:gd name="connsiteX2039" fmla="*/ 2673781 w 6884782"/>
              <a:gd name="connsiteY2039" fmla="*/ 5455280 h 5973007"/>
              <a:gd name="connsiteX2040" fmla="*/ 2672077 w 6884782"/>
              <a:gd name="connsiteY2040" fmla="*/ 5454557 h 5973007"/>
              <a:gd name="connsiteX2041" fmla="*/ 2673471 w 6884782"/>
              <a:gd name="connsiteY2041" fmla="*/ 5448155 h 5973007"/>
              <a:gd name="connsiteX2042" fmla="*/ 2839829 w 6884782"/>
              <a:gd name="connsiteY2042" fmla="*/ 5446090 h 5973007"/>
              <a:gd name="connsiteX2043" fmla="*/ 2834098 w 6884782"/>
              <a:gd name="connsiteY2043" fmla="*/ 5453318 h 5973007"/>
              <a:gd name="connsiteX2044" fmla="*/ 2839829 w 6884782"/>
              <a:gd name="connsiteY2044" fmla="*/ 5446090 h 5973007"/>
              <a:gd name="connsiteX2045" fmla="*/ 3116784 w 6884782"/>
              <a:gd name="connsiteY2045" fmla="*/ 5445471 h 5973007"/>
              <a:gd name="connsiteX2046" fmla="*/ 3119107 w 6884782"/>
              <a:gd name="connsiteY2046" fmla="*/ 5446193 h 5973007"/>
              <a:gd name="connsiteX2047" fmla="*/ 3120966 w 6884782"/>
              <a:gd name="connsiteY2047" fmla="*/ 5446090 h 5973007"/>
              <a:gd name="connsiteX2048" fmla="*/ 3122515 w 6884782"/>
              <a:gd name="connsiteY2048" fmla="*/ 5448362 h 5973007"/>
              <a:gd name="connsiteX2049" fmla="*/ 3120656 w 6884782"/>
              <a:gd name="connsiteY2049" fmla="*/ 5448568 h 5973007"/>
              <a:gd name="connsiteX2050" fmla="*/ 3115235 w 6884782"/>
              <a:gd name="connsiteY2050" fmla="*/ 5447639 h 5973007"/>
              <a:gd name="connsiteX2051" fmla="*/ 3116784 w 6884782"/>
              <a:gd name="connsiteY2051" fmla="*/ 5445471 h 5973007"/>
              <a:gd name="connsiteX2052" fmla="*/ 2413090 w 6884782"/>
              <a:gd name="connsiteY2052" fmla="*/ 5444645 h 5973007"/>
              <a:gd name="connsiteX2053" fmla="*/ 2414794 w 6884782"/>
              <a:gd name="connsiteY2053" fmla="*/ 5451666 h 5973007"/>
              <a:gd name="connsiteX2054" fmla="*/ 2413090 w 6884782"/>
              <a:gd name="connsiteY2054" fmla="*/ 5452492 h 5973007"/>
              <a:gd name="connsiteX2055" fmla="*/ 2410922 w 6884782"/>
              <a:gd name="connsiteY2055" fmla="*/ 5453009 h 5973007"/>
              <a:gd name="connsiteX2056" fmla="*/ 2406584 w 6884782"/>
              <a:gd name="connsiteY2056" fmla="*/ 5451563 h 5973007"/>
              <a:gd name="connsiteX2057" fmla="*/ 2405345 w 6884782"/>
              <a:gd name="connsiteY2057" fmla="*/ 5449394 h 5973007"/>
              <a:gd name="connsiteX2058" fmla="*/ 2405345 w 6884782"/>
              <a:gd name="connsiteY2058" fmla="*/ 5448052 h 5973007"/>
              <a:gd name="connsiteX2059" fmla="*/ 2405500 w 6884782"/>
              <a:gd name="connsiteY2059" fmla="*/ 5446297 h 5973007"/>
              <a:gd name="connsiteX2060" fmla="*/ 2413090 w 6884782"/>
              <a:gd name="connsiteY2060" fmla="*/ 5444645 h 5973007"/>
              <a:gd name="connsiteX2061" fmla="*/ 2697015 w 6884782"/>
              <a:gd name="connsiteY2061" fmla="*/ 5443509 h 5973007"/>
              <a:gd name="connsiteX2062" fmla="*/ 2700423 w 6884782"/>
              <a:gd name="connsiteY2062" fmla="*/ 5450220 h 5973007"/>
              <a:gd name="connsiteX2063" fmla="*/ 2691594 w 6884782"/>
              <a:gd name="connsiteY2063" fmla="*/ 5454247 h 5973007"/>
              <a:gd name="connsiteX2064" fmla="*/ 2688186 w 6884782"/>
              <a:gd name="connsiteY2064" fmla="*/ 5454041 h 5973007"/>
              <a:gd name="connsiteX2065" fmla="*/ 2697015 w 6884782"/>
              <a:gd name="connsiteY2065" fmla="*/ 5443509 h 5973007"/>
              <a:gd name="connsiteX2066" fmla="*/ 3104547 w 6884782"/>
              <a:gd name="connsiteY2066" fmla="*/ 5442889 h 5973007"/>
              <a:gd name="connsiteX2067" fmla="*/ 3111053 w 6884782"/>
              <a:gd name="connsiteY2067" fmla="*/ 5448258 h 5973007"/>
              <a:gd name="connsiteX2068" fmla="*/ 3108265 w 6884782"/>
              <a:gd name="connsiteY2068" fmla="*/ 5450117 h 5973007"/>
              <a:gd name="connsiteX2069" fmla="*/ 3101295 w 6884782"/>
              <a:gd name="connsiteY2069" fmla="*/ 5446504 h 5973007"/>
              <a:gd name="connsiteX2070" fmla="*/ 3100675 w 6884782"/>
              <a:gd name="connsiteY2070" fmla="*/ 5444438 h 5973007"/>
              <a:gd name="connsiteX2071" fmla="*/ 3104547 w 6884782"/>
              <a:gd name="connsiteY2071" fmla="*/ 5442889 h 5973007"/>
              <a:gd name="connsiteX2072" fmla="*/ 2416808 w 6884782"/>
              <a:gd name="connsiteY2072" fmla="*/ 5441341 h 5973007"/>
              <a:gd name="connsiteX2073" fmla="*/ 2417272 w 6884782"/>
              <a:gd name="connsiteY2073" fmla="*/ 5444748 h 5973007"/>
              <a:gd name="connsiteX2074" fmla="*/ 2415878 w 6884782"/>
              <a:gd name="connsiteY2074" fmla="*/ 5445264 h 5973007"/>
              <a:gd name="connsiteX2075" fmla="*/ 2414020 w 6884782"/>
              <a:gd name="connsiteY2075" fmla="*/ 5443922 h 5973007"/>
              <a:gd name="connsiteX2076" fmla="*/ 2865426 w 6884782"/>
              <a:gd name="connsiteY2076" fmla="*/ 5440101 h 5973007"/>
              <a:gd name="connsiteX2077" fmla="*/ 2873752 w 6884782"/>
              <a:gd name="connsiteY2077" fmla="*/ 5444025 h 5973007"/>
              <a:gd name="connsiteX2078" fmla="*/ 2865077 w 6884782"/>
              <a:gd name="connsiteY2078" fmla="*/ 5461476 h 5973007"/>
              <a:gd name="connsiteX2079" fmla="*/ 2860586 w 6884782"/>
              <a:gd name="connsiteY2079" fmla="*/ 5460030 h 5973007"/>
              <a:gd name="connsiteX2080" fmla="*/ 2860431 w 6884782"/>
              <a:gd name="connsiteY2080" fmla="*/ 5459926 h 5973007"/>
              <a:gd name="connsiteX2081" fmla="*/ 2860121 w 6884782"/>
              <a:gd name="connsiteY2081" fmla="*/ 5460236 h 5973007"/>
              <a:gd name="connsiteX2082" fmla="*/ 2858107 w 6884782"/>
              <a:gd name="connsiteY2082" fmla="*/ 5459926 h 5973007"/>
              <a:gd name="connsiteX2083" fmla="*/ 2857643 w 6884782"/>
              <a:gd name="connsiteY2083" fmla="*/ 5458687 h 5973007"/>
              <a:gd name="connsiteX2084" fmla="*/ 2857797 w 6884782"/>
              <a:gd name="connsiteY2084" fmla="*/ 5457655 h 5973007"/>
              <a:gd name="connsiteX2085" fmla="*/ 2856713 w 6884782"/>
              <a:gd name="connsiteY2085" fmla="*/ 5456725 h 5973007"/>
              <a:gd name="connsiteX2086" fmla="*/ 2853925 w 6884782"/>
              <a:gd name="connsiteY2086" fmla="*/ 5447329 h 5973007"/>
              <a:gd name="connsiteX2087" fmla="*/ 2857797 w 6884782"/>
              <a:gd name="connsiteY2087" fmla="*/ 5441134 h 5973007"/>
              <a:gd name="connsiteX2088" fmla="*/ 2865426 w 6884782"/>
              <a:gd name="connsiteY2088" fmla="*/ 5440101 h 5973007"/>
              <a:gd name="connsiteX2089" fmla="*/ 2659375 w 6884782"/>
              <a:gd name="connsiteY2089" fmla="*/ 5438759 h 5973007"/>
              <a:gd name="connsiteX2090" fmla="*/ 2664951 w 6884782"/>
              <a:gd name="connsiteY2090" fmla="*/ 5440618 h 5973007"/>
              <a:gd name="connsiteX2091" fmla="*/ 2658756 w 6884782"/>
              <a:gd name="connsiteY2091" fmla="*/ 5445058 h 5973007"/>
              <a:gd name="connsiteX2092" fmla="*/ 2659375 w 6884782"/>
              <a:gd name="connsiteY2092" fmla="*/ 5438759 h 5973007"/>
              <a:gd name="connsiteX2093" fmla="*/ 2426256 w 6884782"/>
              <a:gd name="connsiteY2093" fmla="*/ 5437933 h 5973007"/>
              <a:gd name="connsiteX2094" fmla="*/ 2427805 w 6884782"/>
              <a:gd name="connsiteY2094" fmla="*/ 5439688 h 5973007"/>
              <a:gd name="connsiteX2095" fmla="*/ 2427186 w 6884782"/>
              <a:gd name="connsiteY2095" fmla="*/ 5444748 h 5973007"/>
              <a:gd name="connsiteX2096" fmla="*/ 2425482 w 6884782"/>
              <a:gd name="connsiteY2096" fmla="*/ 5445574 h 5973007"/>
              <a:gd name="connsiteX2097" fmla="*/ 2423158 w 6884782"/>
              <a:gd name="connsiteY2097" fmla="*/ 5442476 h 5973007"/>
              <a:gd name="connsiteX2098" fmla="*/ 2424552 w 6884782"/>
              <a:gd name="connsiteY2098" fmla="*/ 5438759 h 5973007"/>
              <a:gd name="connsiteX2099" fmla="*/ 2426256 w 6884782"/>
              <a:gd name="connsiteY2099" fmla="*/ 5437933 h 5973007"/>
              <a:gd name="connsiteX2100" fmla="*/ 2763156 w 6884782"/>
              <a:gd name="connsiteY2100" fmla="*/ 5433183 h 5973007"/>
              <a:gd name="connsiteX2101" fmla="*/ 2762536 w 6884782"/>
              <a:gd name="connsiteY2101" fmla="*/ 5433390 h 5973007"/>
              <a:gd name="connsiteX2102" fmla="*/ 2763156 w 6884782"/>
              <a:gd name="connsiteY2102" fmla="*/ 5433390 h 5973007"/>
              <a:gd name="connsiteX2103" fmla="*/ 3091691 w 6884782"/>
              <a:gd name="connsiteY2103" fmla="*/ 5432564 h 5973007"/>
              <a:gd name="connsiteX2104" fmla="*/ 3087199 w 6884782"/>
              <a:gd name="connsiteY2104" fmla="*/ 5437417 h 5973007"/>
              <a:gd name="connsiteX2105" fmla="*/ 3085650 w 6884782"/>
              <a:gd name="connsiteY2105" fmla="*/ 5437210 h 5973007"/>
              <a:gd name="connsiteX2106" fmla="*/ 3091691 w 6884782"/>
              <a:gd name="connsiteY2106" fmla="*/ 5432564 h 5973007"/>
              <a:gd name="connsiteX2107" fmla="*/ 2618173 w 6884782"/>
              <a:gd name="connsiteY2107" fmla="*/ 5431841 h 5973007"/>
              <a:gd name="connsiteX2108" fmla="*/ 2622665 w 6884782"/>
              <a:gd name="connsiteY2108" fmla="*/ 5434113 h 5973007"/>
              <a:gd name="connsiteX2109" fmla="*/ 2615539 w 6884782"/>
              <a:gd name="connsiteY2109" fmla="*/ 5439379 h 5973007"/>
              <a:gd name="connsiteX2110" fmla="*/ 2618173 w 6884782"/>
              <a:gd name="connsiteY2110" fmla="*/ 5431841 h 5973007"/>
              <a:gd name="connsiteX2111" fmla="*/ 2551471 w 6884782"/>
              <a:gd name="connsiteY2111" fmla="*/ 5431441 h 5973007"/>
              <a:gd name="connsiteX2112" fmla="*/ 2559932 w 6884782"/>
              <a:gd name="connsiteY2112" fmla="*/ 5436694 h 5973007"/>
              <a:gd name="connsiteX2113" fmla="*/ 2552806 w 6884782"/>
              <a:gd name="connsiteY2113" fmla="*/ 5442373 h 5973007"/>
              <a:gd name="connsiteX2114" fmla="*/ 2547540 w 6884782"/>
              <a:gd name="connsiteY2114" fmla="*/ 5445574 h 5973007"/>
              <a:gd name="connsiteX2115" fmla="*/ 2549399 w 6884782"/>
              <a:gd name="connsiteY2115" fmla="*/ 5447019 h 5973007"/>
              <a:gd name="connsiteX2116" fmla="*/ 2550483 w 6884782"/>
              <a:gd name="connsiteY2116" fmla="*/ 5461785 h 5973007"/>
              <a:gd name="connsiteX2117" fmla="*/ 2541189 w 6884782"/>
              <a:gd name="connsiteY2117" fmla="*/ 5465503 h 5973007"/>
              <a:gd name="connsiteX2118" fmla="*/ 2536078 w 6884782"/>
              <a:gd name="connsiteY2118" fmla="*/ 5463231 h 5973007"/>
              <a:gd name="connsiteX2119" fmla="*/ 2533445 w 6884782"/>
              <a:gd name="connsiteY2119" fmla="*/ 5460236 h 5973007"/>
              <a:gd name="connsiteX2120" fmla="*/ 2535923 w 6884782"/>
              <a:gd name="connsiteY2120" fmla="*/ 5447639 h 5973007"/>
              <a:gd name="connsiteX2121" fmla="*/ 2537782 w 6884782"/>
              <a:gd name="connsiteY2121" fmla="*/ 5445884 h 5973007"/>
              <a:gd name="connsiteX2122" fmla="*/ 2539795 w 6884782"/>
              <a:gd name="connsiteY2122" fmla="*/ 5442476 h 5973007"/>
              <a:gd name="connsiteX2123" fmla="*/ 2546456 w 6884782"/>
              <a:gd name="connsiteY2123" fmla="*/ 5444748 h 5973007"/>
              <a:gd name="connsiteX2124" fmla="*/ 2547075 w 6884782"/>
              <a:gd name="connsiteY2124" fmla="*/ 5445161 h 5973007"/>
              <a:gd name="connsiteX2125" fmla="*/ 2544752 w 6884782"/>
              <a:gd name="connsiteY2125" fmla="*/ 5439275 h 5973007"/>
              <a:gd name="connsiteX2126" fmla="*/ 2551471 w 6884782"/>
              <a:gd name="connsiteY2126" fmla="*/ 5431441 h 5973007"/>
              <a:gd name="connsiteX2127" fmla="*/ 2945043 w 6884782"/>
              <a:gd name="connsiteY2127" fmla="*/ 5431286 h 5973007"/>
              <a:gd name="connsiteX2128" fmla="*/ 2947172 w 6884782"/>
              <a:gd name="connsiteY2128" fmla="*/ 5435455 h 5973007"/>
              <a:gd name="connsiteX2129" fmla="*/ 2943455 w 6884782"/>
              <a:gd name="connsiteY2129" fmla="*/ 5437313 h 5973007"/>
              <a:gd name="connsiteX2130" fmla="*/ 2940822 w 6884782"/>
              <a:gd name="connsiteY2130" fmla="*/ 5434525 h 5973007"/>
              <a:gd name="connsiteX2131" fmla="*/ 2940357 w 6884782"/>
              <a:gd name="connsiteY2131" fmla="*/ 5432151 h 5973007"/>
              <a:gd name="connsiteX2132" fmla="*/ 2945043 w 6884782"/>
              <a:gd name="connsiteY2132" fmla="*/ 5431286 h 5973007"/>
              <a:gd name="connsiteX2133" fmla="*/ 3367911 w 6884782"/>
              <a:gd name="connsiteY2133" fmla="*/ 5431053 h 5973007"/>
              <a:gd name="connsiteX2134" fmla="*/ 3359352 w 6884782"/>
              <a:gd name="connsiteY2134" fmla="*/ 5432151 h 5973007"/>
              <a:gd name="connsiteX2135" fmla="*/ 3348819 w 6884782"/>
              <a:gd name="connsiteY2135" fmla="*/ 5432874 h 5973007"/>
              <a:gd name="connsiteX2136" fmla="*/ 3348819 w 6884782"/>
              <a:gd name="connsiteY2136" fmla="*/ 5433286 h 5973007"/>
              <a:gd name="connsiteX2137" fmla="*/ 3347115 w 6884782"/>
              <a:gd name="connsiteY2137" fmla="*/ 5438449 h 5973007"/>
              <a:gd name="connsiteX2138" fmla="*/ 3346031 w 6884782"/>
              <a:gd name="connsiteY2138" fmla="*/ 5436178 h 5973007"/>
              <a:gd name="connsiteX2139" fmla="*/ 3346340 w 6884782"/>
              <a:gd name="connsiteY2139" fmla="*/ 5433080 h 5973007"/>
              <a:gd name="connsiteX2140" fmla="*/ 3340764 w 6884782"/>
              <a:gd name="connsiteY2140" fmla="*/ 5433080 h 5973007"/>
              <a:gd name="connsiteX2141" fmla="*/ 3347734 w 6884782"/>
              <a:gd name="connsiteY2141" fmla="*/ 5441444 h 5973007"/>
              <a:gd name="connsiteX2142" fmla="*/ 3315671 w 6884782"/>
              <a:gd name="connsiteY2142" fmla="*/ 5438552 h 5973007"/>
              <a:gd name="connsiteX2143" fmla="*/ 3314742 w 6884782"/>
              <a:gd name="connsiteY2143" fmla="*/ 5456622 h 5973007"/>
              <a:gd name="connsiteX2144" fmla="*/ 3319853 w 6884782"/>
              <a:gd name="connsiteY2144" fmla="*/ 5457861 h 5973007"/>
              <a:gd name="connsiteX2145" fmla="*/ 3321712 w 6884782"/>
              <a:gd name="connsiteY2145" fmla="*/ 5459720 h 5973007"/>
              <a:gd name="connsiteX2146" fmla="*/ 3325894 w 6884782"/>
              <a:gd name="connsiteY2146" fmla="*/ 5457965 h 5973007"/>
              <a:gd name="connsiteX2147" fmla="*/ 3324190 w 6884782"/>
              <a:gd name="connsiteY2147" fmla="*/ 5460546 h 5973007"/>
              <a:gd name="connsiteX2148" fmla="*/ 3333329 w 6884782"/>
              <a:gd name="connsiteY2148" fmla="*/ 5457345 h 5973007"/>
              <a:gd name="connsiteX2149" fmla="*/ 3340144 w 6884782"/>
              <a:gd name="connsiteY2149" fmla="*/ 5460030 h 5973007"/>
              <a:gd name="connsiteX2150" fmla="*/ 3343088 w 6884782"/>
              <a:gd name="connsiteY2150" fmla="*/ 5461062 h 5973007"/>
              <a:gd name="connsiteX2151" fmla="*/ 3347115 w 6884782"/>
              <a:gd name="connsiteY2151" fmla="*/ 5459410 h 5973007"/>
              <a:gd name="connsiteX2152" fmla="*/ 3347115 w 6884782"/>
              <a:gd name="connsiteY2152" fmla="*/ 5458687 h 5973007"/>
              <a:gd name="connsiteX2153" fmla="*/ 3349283 w 6884782"/>
              <a:gd name="connsiteY2153" fmla="*/ 5456313 h 5973007"/>
              <a:gd name="connsiteX2154" fmla="*/ 3348199 w 6884782"/>
              <a:gd name="connsiteY2154" fmla="*/ 5455486 h 5973007"/>
              <a:gd name="connsiteX2155" fmla="*/ 3348354 w 6884782"/>
              <a:gd name="connsiteY2155" fmla="*/ 5447846 h 5973007"/>
              <a:gd name="connsiteX2156" fmla="*/ 3351917 w 6884782"/>
              <a:gd name="connsiteY2156" fmla="*/ 5455486 h 5973007"/>
              <a:gd name="connsiteX2157" fmla="*/ 3350522 w 6884782"/>
              <a:gd name="connsiteY2157" fmla="*/ 5456725 h 5973007"/>
              <a:gd name="connsiteX2158" fmla="*/ 3351452 w 6884782"/>
              <a:gd name="connsiteY2158" fmla="*/ 5457758 h 5973007"/>
              <a:gd name="connsiteX2159" fmla="*/ 3355479 w 6884782"/>
              <a:gd name="connsiteY2159" fmla="*/ 5456106 h 5973007"/>
              <a:gd name="connsiteX2160" fmla="*/ 3356099 w 6884782"/>
              <a:gd name="connsiteY2160" fmla="*/ 5456313 h 5973007"/>
              <a:gd name="connsiteX2161" fmla="*/ 3359197 w 6884782"/>
              <a:gd name="connsiteY2161" fmla="*/ 5453938 h 5973007"/>
              <a:gd name="connsiteX2162" fmla="*/ 3370349 w 6884782"/>
              <a:gd name="connsiteY2162" fmla="*/ 5455177 h 5973007"/>
              <a:gd name="connsiteX2163" fmla="*/ 3375306 w 6884782"/>
              <a:gd name="connsiteY2163" fmla="*/ 5455280 h 5973007"/>
              <a:gd name="connsiteX2164" fmla="*/ 3376700 w 6884782"/>
              <a:gd name="connsiteY2164" fmla="*/ 5455590 h 5973007"/>
              <a:gd name="connsiteX2165" fmla="*/ 3378404 w 6884782"/>
              <a:gd name="connsiteY2165" fmla="*/ 5454660 h 5973007"/>
              <a:gd name="connsiteX2166" fmla="*/ 3381192 w 6884782"/>
              <a:gd name="connsiteY2166" fmla="*/ 5453215 h 5973007"/>
              <a:gd name="connsiteX2167" fmla="*/ 3391880 w 6884782"/>
              <a:gd name="connsiteY2167" fmla="*/ 5455796 h 5973007"/>
              <a:gd name="connsiteX2168" fmla="*/ 3403291 w 6884782"/>
              <a:gd name="connsiteY2168" fmla="*/ 5452083 h 5973007"/>
              <a:gd name="connsiteX2169" fmla="*/ 3395013 w 6884782"/>
              <a:gd name="connsiteY2169" fmla="*/ 5447163 h 5973007"/>
              <a:gd name="connsiteX2170" fmla="*/ 3394823 w 6884782"/>
              <a:gd name="connsiteY2170" fmla="*/ 5448052 h 5973007"/>
              <a:gd name="connsiteX2171" fmla="*/ 3391815 w 6884782"/>
              <a:gd name="connsiteY2171" fmla="*/ 5445262 h 5973007"/>
              <a:gd name="connsiteX2172" fmla="*/ 2718391 w 6884782"/>
              <a:gd name="connsiteY2172" fmla="*/ 5431015 h 5973007"/>
              <a:gd name="connsiteX2173" fmla="*/ 2723967 w 6884782"/>
              <a:gd name="connsiteY2173" fmla="*/ 5440308 h 5973007"/>
              <a:gd name="connsiteX2174" fmla="*/ 2723657 w 6884782"/>
              <a:gd name="connsiteY2174" fmla="*/ 5450737 h 5973007"/>
              <a:gd name="connsiteX2175" fmla="*/ 2718391 w 6884782"/>
              <a:gd name="connsiteY2175" fmla="*/ 5431015 h 5973007"/>
              <a:gd name="connsiteX2176" fmla="*/ 2696086 w 6884782"/>
              <a:gd name="connsiteY2176" fmla="*/ 5430085 h 5973007"/>
              <a:gd name="connsiteX2177" fmla="*/ 2696550 w 6884782"/>
              <a:gd name="connsiteY2177" fmla="*/ 5432667 h 5973007"/>
              <a:gd name="connsiteX2178" fmla="*/ 2695466 w 6884782"/>
              <a:gd name="connsiteY2178" fmla="*/ 5435248 h 5973007"/>
              <a:gd name="connsiteX2179" fmla="*/ 2694072 w 6884782"/>
              <a:gd name="connsiteY2179" fmla="*/ 5435661 h 5973007"/>
              <a:gd name="connsiteX2180" fmla="*/ 2692213 w 6884782"/>
              <a:gd name="connsiteY2180" fmla="*/ 5435248 h 5973007"/>
              <a:gd name="connsiteX2181" fmla="*/ 2691594 w 6884782"/>
              <a:gd name="connsiteY2181" fmla="*/ 5434319 h 5973007"/>
              <a:gd name="connsiteX2182" fmla="*/ 2693452 w 6884782"/>
              <a:gd name="connsiteY2182" fmla="*/ 5430912 h 5973007"/>
              <a:gd name="connsiteX2183" fmla="*/ 2696086 w 6884782"/>
              <a:gd name="connsiteY2183" fmla="*/ 5430085 h 5973007"/>
              <a:gd name="connsiteX2184" fmla="*/ 3208173 w 6884782"/>
              <a:gd name="connsiteY2184" fmla="*/ 5429879 h 5973007"/>
              <a:gd name="connsiteX2185" fmla="*/ 3208483 w 6884782"/>
              <a:gd name="connsiteY2185" fmla="*/ 5430602 h 5973007"/>
              <a:gd name="connsiteX2186" fmla="*/ 3207088 w 6884782"/>
              <a:gd name="connsiteY2186" fmla="*/ 5431841 h 5973007"/>
              <a:gd name="connsiteX2187" fmla="*/ 3205230 w 6884782"/>
              <a:gd name="connsiteY2187" fmla="*/ 5431118 h 5973007"/>
              <a:gd name="connsiteX2188" fmla="*/ 3208173 w 6884782"/>
              <a:gd name="connsiteY2188" fmla="*/ 5429879 h 5973007"/>
              <a:gd name="connsiteX2189" fmla="*/ 3048010 w 6884782"/>
              <a:gd name="connsiteY2189" fmla="*/ 5427194 h 5973007"/>
              <a:gd name="connsiteX2190" fmla="*/ 3048629 w 6884782"/>
              <a:gd name="connsiteY2190" fmla="*/ 5431531 h 5973007"/>
              <a:gd name="connsiteX2191" fmla="*/ 3046151 w 6884782"/>
              <a:gd name="connsiteY2191" fmla="*/ 5433906 h 5973007"/>
              <a:gd name="connsiteX2192" fmla="*/ 3042124 w 6884782"/>
              <a:gd name="connsiteY2192" fmla="*/ 5433700 h 5973007"/>
              <a:gd name="connsiteX2193" fmla="*/ 3042898 w 6884782"/>
              <a:gd name="connsiteY2193" fmla="*/ 5433596 h 5973007"/>
              <a:gd name="connsiteX2194" fmla="*/ 3042744 w 6884782"/>
              <a:gd name="connsiteY2194" fmla="*/ 5431841 h 5973007"/>
              <a:gd name="connsiteX2195" fmla="*/ 3041814 w 6884782"/>
              <a:gd name="connsiteY2195" fmla="*/ 5431944 h 5973007"/>
              <a:gd name="connsiteX2196" fmla="*/ 3042434 w 6884782"/>
              <a:gd name="connsiteY2196" fmla="*/ 5430085 h 5973007"/>
              <a:gd name="connsiteX2197" fmla="*/ 3048010 w 6884782"/>
              <a:gd name="connsiteY2197" fmla="*/ 5427194 h 5973007"/>
              <a:gd name="connsiteX2198" fmla="*/ 3098196 w 6884782"/>
              <a:gd name="connsiteY2198" fmla="*/ 5424097 h 5973007"/>
              <a:gd name="connsiteX2199" fmla="*/ 3098816 w 6884782"/>
              <a:gd name="connsiteY2199" fmla="*/ 5425232 h 5973007"/>
              <a:gd name="connsiteX2200" fmla="*/ 3098196 w 6884782"/>
              <a:gd name="connsiteY2200" fmla="*/ 5426885 h 5973007"/>
              <a:gd name="connsiteX2201" fmla="*/ 3096493 w 6884782"/>
              <a:gd name="connsiteY2201" fmla="*/ 5430395 h 5973007"/>
              <a:gd name="connsiteX2202" fmla="*/ 3098196 w 6884782"/>
              <a:gd name="connsiteY2202" fmla="*/ 5424097 h 5973007"/>
              <a:gd name="connsiteX2203" fmla="*/ 2813032 w 6884782"/>
              <a:gd name="connsiteY2203" fmla="*/ 5420379 h 5973007"/>
              <a:gd name="connsiteX2204" fmla="*/ 2813187 w 6884782"/>
              <a:gd name="connsiteY2204" fmla="*/ 5425955 h 5973007"/>
              <a:gd name="connsiteX2205" fmla="*/ 2804823 w 6884782"/>
              <a:gd name="connsiteY2205" fmla="*/ 5426678 h 5973007"/>
              <a:gd name="connsiteX2206" fmla="*/ 2799866 w 6884782"/>
              <a:gd name="connsiteY2206" fmla="*/ 5423374 h 5973007"/>
              <a:gd name="connsiteX2207" fmla="*/ 2813032 w 6884782"/>
              <a:gd name="connsiteY2207" fmla="*/ 5420379 h 5973007"/>
              <a:gd name="connsiteX2208" fmla="*/ 3056065 w 6884782"/>
              <a:gd name="connsiteY2208" fmla="*/ 5419141 h 5973007"/>
              <a:gd name="connsiteX2209" fmla="*/ 3056994 w 6884782"/>
              <a:gd name="connsiteY2209" fmla="*/ 5419244 h 5973007"/>
              <a:gd name="connsiteX2210" fmla="*/ 3060247 w 6884782"/>
              <a:gd name="connsiteY2210" fmla="*/ 5419760 h 5973007"/>
              <a:gd name="connsiteX2211" fmla="*/ 3061641 w 6884782"/>
              <a:gd name="connsiteY2211" fmla="*/ 5424303 h 5973007"/>
              <a:gd name="connsiteX2212" fmla="*/ 3058853 w 6884782"/>
              <a:gd name="connsiteY2212" fmla="*/ 5425646 h 5973007"/>
              <a:gd name="connsiteX2213" fmla="*/ 3056529 w 6884782"/>
              <a:gd name="connsiteY2213" fmla="*/ 5425232 h 5973007"/>
              <a:gd name="connsiteX2214" fmla="*/ 3054980 w 6884782"/>
              <a:gd name="connsiteY2214" fmla="*/ 5420689 h 5973007"/>
              <a:gd name="connsiteX2215" fmla="*/ 3056065 w 6884782"/>
              <a:gd name="connsiteY2215" fmla="*/ 5419141 h 5973007"/>
              <a:gd name="connsiteX2216" fmla="*/ 2752952 w 6884782"/>
              <a:gd name="connsiteY2216" fmla="*/ 5416211 h 5973007"/>
              <a:gd name="connsiteX2217" fmla="*/ 2754482 w 6884782"/>
              <a:gd name="connsiteY2217" fmla="*/ 5420896 h 5973007"/>
              <a:gd name="connsiteX2218" fmla="*/ 2748285 w 6884782"/>
              <a:gd name="connsiteY2218" fmla="*/ 5419347 h 5973007"/>
              <a:gd name="connsiteX2219" fmla="*/ 2752952 w 6884782"/>
              <a:gd name="connsiteY2219" fmla="*/ 5416211 h 5973007"/>
              <a:gd name="connsiteX2220" fmla="*/ 2760058 w 6884782"/>
              <a:gd name="connsiteY2220" fmla="*/ 5416146 h 5973007"/>
              <a:gd name="connsiteX2221" fmla="*/ 2766254 w 6884782"/>
              <a:gd name="connsiteY2221" fmla="*/ 5417488 h 5973007"/>
              <a:gd name="connsiteX2222" fmla="*/ 2768112 w 6884782"/>
              <a:gd name="connsiteY2222" fmla="*/ 5420586 h 5973007"/>
              <a:gd name="connsiteX2223" fmla="*/ 2769971 w 6884782"/>
              <a:gd name="connsiteY2223" fmla="*/ 5419244 h 5973007"/>
              <a:gd name="connsiteX2224" fmla="*/ 2783137 w 6884782"/>
              <a:gd name="connsiteY2224" fmla="*/ 5425542 h 5973007"/>
              <a:gd name="connsiteX2225" fmla="*/ 2783447 w 6884782"/>
              <a:gd name="connsiteY2225" fmla="*/ 5427917 h 5973007"/>
              <a:gd name="connsiteX2226" fmla="*/ 2785151 w 6884782"/>
              <a:gd name="connsiteY2226" fmla="*/ 5431221 h 5973007"/>
              <a:gd name="connsiteX2227" fmla="*/ 2776012 w 6884782"/>
              <a:gd name="connsiteY2227" fmla="*/ 5438140 h 5973007"/>
              <a:gd name="connsiteX2228" fmla="*/ 2770746 w 6884782"/>
              <a:gd name="connsiteY2228" fmla="*/ 5439379 h 5973007"/>
              <a:gd name="connsiteX2229" fmla="*/ 2769661 w 6884782"/>
              <a:gd name="connsiteY2229" fmla="*/ 5439069 h 5973007"/>
              <a:gd name="connsiteX2230" fmla="*/ 2769971 w 6884782"/>
              <a:gd name="connsiteY2230" fmla="*/ 5439379 h 5973007"/>
              <a:gd name="connsiteX2231" fmla="*/ 2773379 w 6884782"/>
              <a:gd name="connsiteY2231" fmla="*/ 5444954 h 5973007"/>
              <a:gd name="connsiteX2232" fmla="*/ 2770900 w 6884782"/>
              <a:gd name="connsiteY2232" fmla="*/ 5444232 h 5973007"/>
              <a:gd name="connsiteX2233" fmla="*/ 2769816 w 6884782"/>
              <a:gd name="connsiteY2233" fmla="*/ 5443406 h 5973007"/>
              <a:gd name="connsiteX2234" fmla="*/ 2769042 w 6884782"/>
              <a:gd name="connsiteY2234" fmla="*/ 5443406 h 5973007"/>
              <a:gd name="connsiteX2235" fmla="*/ 2768887 w 6884782"/>
              <a:gd name="connsiteY2235" fmla="*/ 5442580 h 5973007"/>
              <a:gd name="connsiteX2236" fmla="*/ 2767028 w 6884782"/>
              <a:gd name="connsiteY2236" fmla="*/ 5440927 h 5973007"/>
              <a:gd name="connsiteX2237" fmla="*/ 2761607 w 6884782"/>
              <a:gd name="connsiteY2237" fmla="*/ 5438656 h 5973007"/>
              <a:gd name="connsiteX2238" fmla="*/ 2757424 w 6884782"/>
              <a:gd name="connsiteY2238" fmla="*/ 5433700 h 5973007"/>
              <a:gd name="connsiteX2239" fmla="*/ 2758974 w 6884782"/>
              <a:gd name="connsiteY2239" fmla="*/ 5431841 h 5973007"/>
              <a:gd name="connsiteX2240" fmla="*/ 2756960 w 6884782"/>
              <a:gd name="connsiteY2240" fmla="*/ 5430189 h 5973007"/>
              <a:gd name="connsiteX2241" fmla="*/ 2756340 w 6884782"/>
              <a:gd name="connsiteY2241" fmla="*/ 5418934 h 5973007"/>
              <a:gd name="connsiteX2242" fmla="*/ 2760058 w 6884782"/>
              <a:gd name="connsiteY2242" fmla="*/ 5416146 h 5973007"/>
              <a:gd name="connsiteX2243" fmla="*/ 2251282 w 6884782"/>
              <a:gd name="connsiteY2243" fmla="*/ 5412403 h 5973007"/>
              <a:gd name="connsiteX2244" fmla="*/ 2256491 w 6884782"/>
              <a:gd name="connsiteY2244" fmla="*/ 5413358 h 5973007"/>
              <a:gd name="connsiteX2245" fmla="*/ 2251224 w 6884782"/>
              <a:gd name="connsiteY2245" fmla="*/ 5418831 h 5973007"/>
              <a:gd name="connsiteX2246" fmla="*/ 2248745 w 6884782"/>
              <a:gd name="connsiteY2246" fmla="*/ 5418108 h 5973007"/>
              <a:gd name="connsiteX2247" fmla="*/ 2251282 w 6884782"/>
              <a:gd name="connsiteY2247" fmla="*/ 5412403 h 5973007"/>
              <a:gd name="connsiteX2248" fmla="*/ 2651166 w 6884782"/>
              <a:gd name="connsiteY2248" fmla="*/ 5410570 h 5973007"/>
              <a:gd name="connsiteX2249" fmla="*/ 2658601 w 6884782"/>
              <a:gd name="connsiteY2249" fmla="*/ 5410674 h 5973007"/>
              <a:gd name="connsiteX2250" fmla="*/ 2659065 w 6884782"/>
              <a:gd name="connsiteY2250" fmla="*/ 5413255 h 5973007"/>
              <a:gd name="connsiteX2251" fmla="*/ 2653799 w 6884782"/>
              <a:gd name="connsiteY2251" fmla="*/ 5416352 h 5973007"/>
              <a:gd name="connsiteX2252" fmla="*/ 2651475 w 6884782"/>
              <a:gd name="connsiteY2252" fmla="*/ 5414804 h 5973007"/>
              <a:gd name="connsiteX2253" fmla="*/ 2650701 w 6884782"/>
              <a:gd name="connsiteY2253" fmla="*/ 5412945 h 5973007"/>
              <a:gd name="connsiteX2254" fmla="*/ 2651166 w 6884782"/>
              <a:gd name="connsiteY2254" fmla="*/ 5410570 h 5973007"/>
              <a:gd name="connsiteX2255" fmla="*/ 2807920 w 6884782"/>
              <a:gd name="connsiteY2255" fmla="*/ 5409434 h 5973007"/>
              <a:gd name="connsiteX2256" fmla="*/ 2812103 w 6884782"/>
              <a:gd name="connsiteY2256" fmla="*/ 5409641 h 5973007"/>
              <a:gd name="connsiteX2257" fmla="*/ 2813807 w 6884782"/>
              <a:gd name="connsiteY2257" fmla="*/ 5411396 h 5973007"/>
              <a:gd name="connsiteX2258" fmla="*/ 2813962 w 6884782"/>
              <a:gd name="connsiteY2258" fmla="*/ 5412222 h 5973007"/>
              <a:gd name="connsiteX2259" fmla="*/ 2812103 w 6884782"/>
              <a:gd name="connsiteY2259" fmla="*/ 5412945 h 5973007"/>
              <a:gd name="connsiteX2260" fmla="*/ 2803893 w 6884782"/>
              <a:gd name="connsiteY2260" fmla="*/ 5411809 h 5973007"/>
              <a:gd name="connsiteX2261" fmla="*/ 2802189 w 6884782"/>
              <a:gd name="connsiteY2261" fmla="*/ 5411706 h 5973007"/>
              <a:gd name="connsiteX2262" fmla="*/ 2800486 w 6884782"/>
              <a:gd name="connsiteY2262" fmla="*/ 5409951 h 5973007"/>
              <a:gd name="connsiteX2263" fmla="*/ 2807920 w 6884782"/>
              <a:gd name="connsiteY2263" fmla="*/ 5409434 h 5973007"/>
              <a:gd name="connsiteX2264" fmla="*/ 2323095 w 6884782"/>
              <a:gd name="connsiteY2264" fmla="*/ 5407576 h 5973007"/>
              <a:gd name="connsiteX2265" fmla="*/ 2327123 w 6884782"/>
              <a:gd name="connsiteY2265" fmla="*/ 5410260 h 5973007"/>
              <a:gd name="connsiteX2266" fmla="*/ 2325109 w 6884782"/>
              <a:gd name="connsiteY2266" fmla="*/ 5420689 h 5973007"/>
              <a:gd name="connsiteX2267" fmla="*/ 2315815 w 6884782"/>
              <a:gd name="connsiteY2267" fmla="*/ 5422238 h 5973007"/>
              <a:gd name="connsiteX2268" fmla="*/ 2314731 w 6884782"/>
              <a:gd name="connsiteY2268" fmla="*/ 5423993 h 5973007"/>
              <a:gd name="connsiteX2269" fmla="*/ 2311168 w 6884782"/>
              <a:gd name="connsiteY2269" fmla="*/ 5425646 h 5973007"/>
              <a:gd name="connsiteX2270" fmla="*/ 2310549 w 6884782"/>
              <a:gd name="connsiteY2270" fmla="*/ 5423890 h 5973007"/>
              <a:gd name="connsiteX2271" fmla="*/ 2314112 w 6884782"/>
              <a:gd name="connsiteY2271" fmla="*/ 5421412 h 5973007"/>
              <a:gd name="connsiteX2272" fmla="*/ 2314266 w 6884782"/>
              <a:gd name="connsiteY2272" fmla="*/ 5420483 h 5973007"/>
              <a:gd name="connsiteX2273" fmla="*/ 2312717 w 6884782"/>
              <a:gd name="connsiteY2273" fmla="*/ 5418727 h 5973007"/>
              <a:gd name="connsiteX2274" fmla="*/ 2313647 w 6884782"/>
              <a:gd name="connsiteY2274" fmla="*/ 5410054 h 5973007"/>
              <a:gd name="connsiteX2275" fmla="*/ 2323095 w 6884782"/>
              <a:gd name="connsiteY2275" fmla="*/ 5407576 h 5973007"/>
              <a:gd name="connsiteX2276" fmla="*/ 3177194 w 6884782"/>
              <a:gd name="connsiteY2276" fmla="*/ 5407473 h 5973007"/>
              <a:gd name="connsiteX2277" fmla="*/ 3176109 w 6884782"/>
              <a:gd name="connsiteY2277" fmla="*/ 5407576 h 5973007"/>
              <a:gd name="connsiteX2278" fmla="*/ 3175180 w 6884782"/>
              <a:gd name="connsiteY2278" fmla="*/ 5407782 h 5973007"/>
              <a:gd name="connsiteX2279" fmla="*/ 3174715 w 6884782"/>
              <a:gd name="connsiteY2279" fmla="*/ 5407576 h 5973007"/>
              <a:gd name="connsiteX2280" fmla="*/ 3172702 w 6884782"/>
              <a:gd name="connsiteY2280" fmla="*/ 5407782 h 5973007"/>
              <a:gd name="connsiteX2281" fmla="*/ 3173476 w 6884782"/>
              <a:gd name="connsiteY2281" fmla="*/ 5413978 h 5973007"/>
              <a:gd name="connsiteX2282" fmla="*/ 3184784 w 6884782"/>
              <a:gd name="connsiteY2282" fmla="*/ 5421206 h 5973007"/>
              <a:gd name="connsiteX2283" fmla="*/ 3194387 w 6884782"/>
              <a:gd name="connsiteY2283" fmla="*/ 5429466 h 5973007"/>
              <a:gd name="connsiteX2284" fmla="*/ 3184474 w 6884782"/>
              <a:gd name="connsiteY2284" fmla="*/ 5426678 h 5973007"/>
              <a:gd name="connsiteX2285" fmla="*/ 3180137 w 6884782"/>
              <a:gd name="connsiteY2285" fmla="*/ 5424923 h 5973007"/>
              <a:gd name="connsiteX2286" fmla="*/ 3181221 w 6884782"/>
              <a:gd name="connsiteY2286" fmla="*/ 5427608 h 5973007"/>
              <a:gd name="connsiteX2287" fmla="*/ 3180601 w 6884782"/>
              <a:gd name="connsiteY2287" fmla="*/ 5430085 h 5973007"/>
              <a:gd name="connsiteX2288" fmla="*/ 3185558 w 6884782"/>
              <a:gd name="connsiteY2288" fmla="*/ 5433596 h 5973007"/>
              <a:gd name="connsiteX2289" fmla="*/ 3201667 w 6884782"/>
              <a:gd name="connsiteY2289" fmla="*/ 5437726 h 5973007"/>
              <a:gd name="connsiteX2290" fmla="*/ 3188346 w 6884782"/>
              <a:gd name="connsiteY2290" fmla="*/ 5438243 h 5973007"/>
              <a:gd name="connsiteX2291" fmla="*/ 3190670 w 6884782"/>
              <a:gd name="connsiteY2291" fmla="*/ 5440308 h 5973007"/>
              <a:gd name="connsiteX2292" fmla="*/ 3186177 w 6884782"/>
              <a:gd name="connsiteY2292" fmla="*/ 5440514 h 5973007"/>
              <a:gd name="connsiteX2293" fmla="*/ 3199034 w 6884782"/>
              <a:gd name="connsiteY2293" fmla="*/ 5447536 h 5973007"/>
              <a:gd name="connsiteX2294" fmla="*/ 3204920 w 6884782"/>
              <a:gd name="connsiteY2294" fmla="*/ 5451563 h 5973007"/>
              <a:gd name="connsiteX2295" fmla="*/ 3212975 w 6884782"/>
              <a:gd name="connsiteY2295" fmla="*/ 5455590 h 5973007"/>
              <a:gd name="connsiteX2296" fmla="*/ 3212819 w 6884782"/>
              <a:gd name="connsiteY2296" fmla="*/ 5460443 h 5973007"/>
              <a:gd name="connsiteX2297" fmla="*/ 3217312 w 6884782"/>
              <a:gd name="connsiteY2297" fmla="*/ 5462508 h 5973007"/>
              <a:gd name="connsiteX2298" fmla="*/ 3217466 w 6884782"/>
              <a:gd name="connsiteY2298" fmla="*/ 5462405 h 5973007"/>
              <a:gd name="connsiteX2299" fmla="*/ 3216382 w 6884782"/>
              <a:gd name="connsiteY2299" fmla="*/ 5457448 h 5973007"/>
              <a:gd name="connsiteX2300" fmla="*/ 3219635 w 6884782"/>
              <a:gd name="connsiteY2300" fmla="*/ 5452699 h 5973007"/>
              <a:gd name="connsiteX2301" fmla="*/ 3222113 w 6884782"/>
              <a:gd name="connsiteY2301" fmla="*/ 5458275 h 5973007"/>
              <a:gd name="connsiteX2302" fmla="*/ 3223817 w 6884782"/>
              <a:gd name="connsiteY2302" fmla="*/ 5462302 h 5973007"/>
              <a:gd name="connsiteX2303" fmla="*/ 3225521 w 6884782"/>
              <a:gd name="connsiteY2303" fmla="*/ 5462405 h 5973007"/>
              <a:gd name="connsiteX2304" fmla="*/ 3229703 w 6884782"/>
              <a:gd name="connsiteY2304" fmla="*/ 5462818 h 5973007"/>
              <a:gd name="connsiteX2305" fmla="*/ 3229703 w 6884782"/>
              <a:gd name="connsiteY2305" fmla="*/ 5461682 h 5973007"/>
              <a:gd name="connsiteX2306" fmla="*/ 3231872 w 6884782"/>
              <a:gd name="connsiteY2306" fmla="*/ 5455693 h 5973007"/>
              <a:gd name="connsiteX2307" fmla="*/ 3233731 w 6884782"/>
              <a:gd name="connsiteY2307" fmla="*/ 5453938 h 5973007"/>
              <a:gd name="connsiteX2308" fmla="*/ 3234660 w 6884782"/>
              <a:gd name="connsiteY2308" fmla="*/ 5452182 h 5973007"/>
              <a:gd name="connsiteX2309" fmla="*/ 3240081 w 6884782"/>
              <a:gd name="connsiteY2309" fmla="*/ 5449704 h 5973007"/>
              <a:gd name="connsiteX2310" fmla="*/ 3238997 w 6884782"/>
              <a:gd name="connsiteY2310" fmla="*/ 5452492 h 5973007"/>
              <a:gd name="connsiteX2311" fmla="*/ 3239927 w 6884782"/>
              <a:gd name="connsiteY2311" fmla="*/ 5452492 h 5973007"/>
              <a:gd name="connsiteX2312" fmla="*/ 3240236 w 6884782"/>
              <a:gd name="connsiteY2312" fmla="*/ 5456622 h 5973007"/>
              <a:gd name="connsiteX2313" fmla="*/ 3237293 w 6884782"/>
              <a:gd name="connsiteY2313" fmla="*/ 5457655 h 5973007"/>
              <a:gd name="connsiteX2314" fmla="*/ 3236984 w 6884782"/>
              <a:gd name="connsiteY2314" fmla="*/ 5458687 h 5973007"/>
              <a:gd name="connsiteX2315" fmla="*/ 3240546 w 6884782"/>
              <a:gd name="connsiteY2315" fmla="*/ 5458997 h 5973007"/>
              <a:gd name="connsiteX2316" fmla="*/ 3250769 w 6884782"/>
              <a:gd name="connsiteY2316" fmla="*/ 5458894 h 5973007"/>
              <a:gd name="connsiteX2317" fmla="*/ 3270596 w 6884782"/>
              <a:gd name="connsiteY2317" fmla="*/ 5456003 h 5973007"/>
              <a:gd name="connsiteX2318" fmla="*/ 3271061 w 6884782"/>
              <a:gd name="connsiteY2318" fmla="*/ 5458687 h 5973007"/>
              <a:gd name="connsiteX2319" fmla="*/ 3273849 w 6884782"/>
              <a:gd name="connsiteY2319" fmla="*/ 5455590 h 5973007"/>
              <a:gd name="connsiteX2320" fmla="*/ 3279270 w 6884782"/>
              <a:gd name="connsiteY2320" fmla="*/ 5454557 h 5973007"/>
              <a:gd name="connsiteX2321" fmla="*/ 3283607 w 6884782"/>
              <a:gd name="connsiteY2321" fmla="*/ 5456932 h 5973007"/>
              <a:gd name="connsiteX2322" fmla="*/ 3285466 w 6884782"/>
              <a:gd name="connsiteY2322" fmla="*/ 5456622 h 5973007"/>
              <a:gd name="connsiteX2323" fmla="*/ 3286395 w 6884782"/>
              <a:gd name="connsiteY2323" fmla="*/ 5457035 h 5973007"/>
              <a:gd name="connsiteX2324" fmla="*/ 3289493 w 6884782"/>
              <a:gd name="connsiteY2324" fmla="*/ 5451459 h 5973007"/>
              <a:gd name="connsiteX2325" fmla="*/ 3293831 w 6884782"/>
              <a:gd name="connsiteY2325" fmla="*/ 5446710 h 5973007"/>
              <a:gd name="connsiteX2326" fmla="*/ 3293831 w 6884782"/>
              <a:gd name="connsiteY2326" fmla="*/ 5449498 h 5973007"/>
              <a:gd name="connsiteX2327" fmla="*/ 3293366 w 6884782"/>
              <a:gd name="connsiteY2327" fmla="*/ 5450634 h 5973007"/>
              <a:gd name="connsiteX2328" fmla="*/ 3293521 w 6884782"/>
              <a:gd name="connsiteY2328" fmla="*/ 5451459 h 5973007"/>
              <a:gd name="connsiteX2329" fmla="*/ 3292746 w 6884782"/>
              <a:gd name="connsiteY2329" fmla="*/ 5451769 h 5973007"/>
              <a:gd name="connsiteX2330" fmla="*/ 3291662 w 6884782"/>
              <a:gd name="connsiteY2330" fmla="*/ 5454041 h 5973007"/>
              <a:gd name="connsiteX2331" fmla="*/ 3290732 w 6884782"/>
              <a:gd name="connsiteY2331" fmla="*/ 5459926 h 5973007"/>
              <a:gd name="connsiteX2332" fmla="*/ 3290577 w 6884782"/>
              <a:gd name="connsiteY2332" fmla="*/ 5460236 h 5973007"/>
              <a:gd name="connsiteX2333" fmla="*/ 3290732 w 6884782"/>
              <a:gd name="connsiteY2333" fmla="*/ 5460649 h 5973007"/>
              <a:gd name="connsiteX2334" fmla="*/ 3292746 w 6884782"/>
              <a:gd name="connsiteY2334" fmla="*/ 5459410 h 5973007"/>
              <a:gd name="connsiteX2335" fmla="*/ 3293366 w 6884782"/>
              <a:gd name="connsiteY2335" fmla="*/ 5458481 h 5973007"/>
              <a:gd name="connsiteX2336" fmla="*/ 3293211 w 6884782"/>
              <a:gd name="connsiteY2336" fmla="*/ 5458481 h 5973007"/>
              <a:gd name="connsiteX2337" fmla="*/ 3295689 w 6884782"/>
              <a:gd name="connsiteY2337" fmla="*/ 5453938 h 5973007"/>
              <a:gd name="connsiteX2338" fmla="*/ 3300181 w 6884782"/>
              <a:gd name="connsiteY2338" fmla="*/ 5454454 h 5973007"/>
              <a:gd name="connsiteX2339" fmla="*/ 3300646 w 6884782"/>
              <a:gd name="connsiteY2339" fmla="*/ 5454970 h 5973007"/>
              <a:gd name="connsiteX2340" fmla="*/ 3301110 w 6884782"/>
              <a:gd name="connsiteY2340" fmla="*/ 5447123 h 5973007"/>
              <a:gd name="connsiteX2341" fmla="*/ 3302195 w 6884782"/>
              <a:gd name="connsiteY2341" fmla="*/ 5431324 h 5973007"/>
              <a:gd name="connsiteX2342" fmla="*/ 3295534 w 6884782"/>
              <a:gd name="connsiteY2342" fmla="*/ 5425129 h 5973007"/>
              <a:gd name="connsiteX2343" fmla="*/ 3293056 w 6884782"/>
              <a:gd name="connsiteY2343" fmla="*/ 5421102 h 5973007"/>
              <a:gd name="connsiteX2344" fmla="*/ 3291042 w 6884782"/>
              <a:gd name="connsiteY2344" fmla="*/ 5421412 h 5973007"/>
              <a:gd name="connsiteX2345" fmla="*/ 3288719 w 6884782"/>
              <a:gd name="connsiteY2345" fmla="*/ 5422032 h 5973007"/>
              <a:gd name="connsiteX2346" fmla="*/ 3289648 w 6884782"/>
              <a:gd name="connsiteY2346" fmla="*/ 5423890 h 5973007"/>
              <a:gd name="connsiteX2347" fmla="*/ 3289338 w 6884782"/>
              <a:gd name="connsiteY2347" fmla="*/ 5426162 h 5973007"/>
              <a:gd name="connsiteX2348" fmla="*/ 3285001 w 6884782"/>
              <a:gd name="connsiteY2348" fmla="*/ 5428227 h 5973007"/>
              <a:gd name="connsiteX2349" fmla="*/ 3283452 w 6884782"/>
              <a:gd name="connsiteY2349" fmla="*/ 5426988 h 5973007"/>
              <a:gd name="connsiteX2350" fmla="*/ 3283607 w 6884782"/>
              <a:gd name="connsiteY2350" fmla="*/ 5426058 h 5973007"/>
              <a:gd name="connsiteX2351" fmla="*/ 3283762 w 6884782"/>
              <a:gd name="connsiteY2351" fmla="*/ 5423684 h 5973007"/>
              <a:gd name="connsiteX2352" fmla="*/ 3282213 w 6884782"/>
              <a:gd name="connsiteY2352" fmla="*/ 5424200 h 5973007"/>
              <a:gd name="connsiteX2353" fmla="*/ 3271061 w 6884782"/>
              <a:gd name="connsiteY2353" fmla="*/ 5422961 h 5973007"/>
              <a:gd name="connsiteX2354" fmla="*/ 3264090 w 6884782"/>
              <a:gd name="connsiteY2354" fmla="*/ 5430499 h 5973007"/>
              <a:gd name="connsiteX2355" fmla="*/ 3258824 w 6884782"/>
              <a:gd name="connsiteY2355" fmla="*/ 5436075 h 5973007"/>
              <a:gd name="connsiteX2356" fmla="*/ 3258514 w 6884782"/>
              <a:gd name="connsiteY2356" fmla="*/ 5438759 h 5973007"/>
              <a:gd name="connsiteX2357" fmla="*/ 3256191 w 6884782"/>
              <a:gd name="connsiteY2357" fmla="*/ 5438862 h 5973007"/>
              <a:gd name="connsiteX2358" fmla="*/ 3254177 w 6884782"/>
              <a:gd name="connsiteY2358" fmla="*/ 5441134 h 5973007"/>
              <a:gd name="connsiteX2359" fmla="*/ 3253248 w 6884782"/>
              <a:gd name="connsiteY2359" fmla="*/ 5440927 h 5973007"/>
              <a:gd name="connsiteX2360" fmla="*/ 3253248 w 6884782"/>
              <a:gd name="connsiteY2360" fmla="*/ 5442786 h 5973007"/>
              <a:gd name="connsiteX2361" fmla="*/ 3252318 w 6884782"/>
              <a:gd name="connsiteY2361" fmla="*/ 5444335 h 5973007"/>
              <a:gd name="connsiteX2362" fmla="*/ 3245967 w 6884782"/>
              <a:gd name="connsiteY2362" fmla="*/ 5446090 h 5973007"/>
              <a:gd name="connsiteX2363" fmla="*/ 3242095 w 6884782"/>
              <a:gd name="connsiteY2363" fmla="*/ 5444748 h 5973007"/>
              <a:gd name="connsiteX2364" fmla="*/ 3240236 w 6884782"/>
              <a:gd name="connsiteY2364" fmla="*/ 5440101 h 5973007"/>
              <a:gd name="connsiteX2365" fmla="*/ 3240236 w 6884782"/>
              <a:gd name="connsiteY2365" fmla="*/ 5439895 h 5973007"/>
              <a:gd name="connsiteX2366" fmla="*/ 3235899 w 6884782"/>
              <a:gd name="connsiteY2366" fmla="*/ 5440101 h 5973007"/>
              <a:gd name="connsiteX2367" fmla="*/ 3218551 w 6884782"/>
              <a:gd name="connsiteY2367" fmla="*/ 5434525 h 5973007"/>
              <a:gd name="connsiteX2368" fmla="*/ 3213439 w 6884782"/>
              <a:gd name="connsiteY2368" fmla="*/ 5423064 h 5973007"/>
              <a:gd name="connsiteX2369" fmla="*/ 3209567 w 6884782"/>
              <a:gd name="connsiteY2369" fmla="*/ 5418108 h 5973007"/>
              <a:gd name="connsiteX2370" fmla="*/ 3205230 w 6884782"/>
              <a:gd name="connsiteY2370" fmla="*/ 5417798 h 5973007"/>
              <a:gd name="connsiteX2371" fmla="*/ 3206004 w 6884782"/>
              <a:gd name="connsiteY2371" fmla="*/ 5413461 h 5973007"/>
              <a:gd name="connsiteX2372" fmla="*/ 3201202 w 6884782"/>
              <a:gd name="connsiteY2372" fmla="*/ 5417282 h 5973007"/>
              <a:gd name="connsiteX2373" fmla="*/ 3195936 w 6884782"/>
              <a:gd name="connsiteY2373" fmla="*/ 5414081 h 5973007"/>
              <a:gd name="connsiteX2374" fmla="*/ 3194387 w 6884782"/>
              <a:gd name="connsiteY2374" fmla="*/ 5413668 h 5973007"/>
              <a:gd name="connsiteX2375" fmla="*/ 3191444 w 6884782"/>
              <a:gd name="connsiteY2375" fmla="*/ 5414287 h 5973007"/>
              <a:gd name="connsiteX2376" fmla="*/ 3190515 w 6884782"/>
              <a:gd name="connsiteY2376" fmla="*/ 5412739 h 5973007"/>
              <a:gd name="connsiteX2377" fmla="*/ 3190670 w 6884782"/>
              <a:gd name="connsiteY2377" fmla="*/ 5412532 h 5973007"/>
              <a:gd name="connsiteX2378" fmla="*/ 3188656 w 6884782"/>
              <a:gd name="connsiteY2378" fmla="*/ 5412016 h 5973007"/>
              <a:gd name="connsiteX2379" fmla="*/ 3185403 w 6884782"/>
              <a:gd name="connsiteY2379" fmla="*/ 5410570 h 5973007"/>
              <a:gd name="connsiteX2380" fmla="*/ 3186023 w 6884782"/>
              <a:gd name="connsiteY2380" fmla="*/ 5411086 h 5973007"/>
              <a:gd name="connsiteX2381" fmla="*/ 3177194 w 6884782"/>
              <a:gd name="connsiteY2381" fmla="*/ 5407473 h 5973007"/>
              <a:gd name="connsiteX2382" fmla="*/ 2776729 w 6884782"/>
              <a:gd name="connsiteY2382" fmla="*/ 5405459 h 5973007"/>
              <a:gd name="connsiteX2383" fmla="*/ 2778800 w 6884782"/>
              <a:gd name="connsiteY2383" fmla="*/ 5410157 h 5973007"/>
              <a:gd name="connsiteX2384" fmla="*/ 2774153 w 6884782"/>
              <a:gd name="connsiteY2384" fmla="*/ 5414494 h 5973007"/>
              <a:gd name="connsiteX2385" fmla="*/ 2773379 w 6884782"/>
              <a:gd name="connsiteY2385" fmla="*/ 5414494 h 5973007"/>
              <a:gd name="connsiteX2386" fmla="*/ 2771520 w 6884782"/>
              <a:gd name="connsiteY2386" fmla="*/ 5413978 h 5973007"/>
              <a:gd name="connsiteX2387" fmla="*/ 2767957 w 6884782"/>
              <a:gd name="connsiteY2387" fmla="*/ 5410570 h 5973007"/>
              <a:gd name="connsiteX2388" fmla="*/ 2767493 w 6884782"/>
              <a:gd name="connsiteY2388" fmla="*/ 5411293 h 5973007"/>
              <a:gd name="connsiteX2389" fmla="*/ 2769661 w 6884782"/>
              <a:gd name="connsiteY2389" fmla="*/ 5406337 h 5973007"/>
              <a:gd name="connsiteX2390" fmla="*/ 2776729 w 6884782"/>
              <a:gd name="connsiteY2390" fmla="*/ 5405459 h 5973007"/>
              <a:gd name="connsiteX2391" fmla="*/ 2396206 w 6884782"/>
              <a:gd name="connsiteY2391" fmla="*/ 5404375 h 5973007"/>
              <a:gd name="connsiteX2392" fmla="*/ 2395742 w 6884782"/>
              <a:gd name="connsiteY2392" fmla="*/ 5407885 h 5973007"/>
              <a:gd name="connsiteX2393" fmla="*/ 2389081 w 6884782"/>
              <a:gd name="connsiteY2393" fmla="*/ 5411809 h 5973007"/>
              <a:gd name="connsiteX2394" fmla="*/ 2387067 w 6884782"/>
              <a:gd name="connsiteY2394" fmla="*/ 5411189 h 5973007"/>
              <a:gd name="connsiteX2395" fmla="*/ 2388462 w 6884782"/>
              <a:gd name="connsiteY2395" fmla="*/ 5406853 h 5973007"/>
              <a:gd name="connsiteX2396" fmla="*/ 2396206 w 6884782"/>
              <a:gd name="connsiteY2396" fmla="*/ 5404375 h 5973007"/>
              <a:gd name="connsiteX2397" fmla="*/ 2706928 w 6884782"/>
              <a:gd name="connsiteY2397" fmla="*/ 5403858 h 5973007"/>
              <a:gd name="connsiteX2398" fmla="*/ 2711110 w 6884782"/>
              <a:gd name="connsiteY2398" fmla="*/ 5404065 h 5973007"/>
              <a:gd name="connsiteX2399" fmla="*/ 2724586 w 6884782"/>
              <a:gd name="connsiteY2399" fmla="*/ 5408195 h 5973007"/>
              <a:gd name="connsiteX2400" fmla="*/ 2718855 w 6884782"/>
              <a:gd name="connsiteY2400" fmla="*/ 5408918 h 5973007"/>
              <a:gd name="connsiteX2401" fmla="*/ 2705534 w 6884782"/>
              <a:gd name="connsiteY2401" fmla="*/ 5408195 h 5973007"/>
              <a:gd name="connsiteX2402" fmla="*/ 2703676 w 6884782"/>
              <a:gd name="connsiteY2402" fmla="*/ 5406337 h 5973007"/>
              <a:gd name="connsiteX2403" fmla="*/ 2702901 w 6884782"/>
              <a:gd name="connsiteY2403" fmla="*/ 5406337 h 5973007"/>
              <a:gd name="connsiteX2404" fmla="*/ 2701972 w 6884782"/>
              <a:gd name="connsiteY2404" fmla="*/ 5404478 h 5973007"/>
              <a:gd name="connsiteX2405" fmla="*/ 2706928 w 6884782"/>
              <a:gd name="connsiteY2405" fmla="*/ 5403858 h 5973007"/>
              <a:gd name="connsiteX2406" fmla="*/ 2405655 w 6884782"/>
              <a:gd name="connsiteY2406" fmla="*/ 5400864 h 5973007"/>
              <a:gd name="connsiteX2407" fmla="*/ 2405345 w 6884782"/>
              <a:gd name="connsiteY2407" fmla="*/ 5403652 h 5973007"/>
              <a:gd name="connsiteX2408" fmla="*/ 2403641 w 6884782"/>
              <a:gd name="connsiteY2408" fmla="*/ 5404478 h 5973007"/>
              <a:gd name="connsiteX2409" fmla="*/ 2402557 w 6884782"/>
              <a:gd name="connsiteY2409" fmla="*/ 5407266 h 5973007"/>
              <a:gd name="connsiteX2410" fmla="*/ 2401008 w 6884782"/>
              <a:gd name="connsiteY2410" fmla="*/ 5407163 h 5973007"/>
              <a:gd name="connsiteX2411" fmla="*/ 2403177 w 6884782"/>
              <a:gd name="connsiteY2411" fmla="*/ 5401793 h 5973007"/>
              <a:gd name="connsiteX2412" fmla="*/ 2405655 w 6884782"/>
              <a:gd name="connsiteY2412" fmla="*/ 5400864 h 5973007"/>
              <a:gd name="connsiteX2413" fmla="*/ 2860121 w 6884782"/>
              <a:gd name="connsiteY2413" fmla="*/ 5399522 h 5973007"/>
              <a:gd name="connsiteX2414" fmla="*/ 2861670 w 6884782"/>
              <a:gd name="connsiteY2414" fmla="*/ 5401484 h 5973007"/>
              <a:gd name="connsiteX2415" fmla="*/ 2859811 w 6884782"/>
              <a:gd name="connsiteY2415" fmla="*/ 5403445 h 5973007"/>
              <a:gd name="connsiteX2416" fmla="*/ 2857023 w 6884782"/>
              <a:gd name="connsiteY2416" fmla="*/ 5403858 h 5973007"/>
              <a:gd name="connsiteX2417" fmla="*/ 2856248 w 6884782"/>
              <a:gd name="connsiteY2417" fmla="*/ 5402619 h 5973007"/>
              <a:gd name="connsiteX2418" fmla="*/ 2855939 w 6884782"/>
              <a:gd name="connsiteY2418" fmla="*/ 5400657 h 5973007"/>
              <a:gd name="connsiteX2419" fmla="*/ 2860121 w 6884782"/>
              <a:gd name="connsiteY2419" fmla="*/ 5399522 h 5973007"/>
              <a:gd name="connsiteX2420" fmla="*/ 3272609 w 6884782"/>
              <a:gd name="connsiteY2420" fmla="*/ 5397870 h 5973007"/>
              <a:gd name="connsiteX2421" fmla="*/ 3272455 w 6884782"/>
              <a:gd name="connsiteY2421" fmla="*/ 5405923 h 5973007"/>
              <a:gd name="connsiteX2422" fmla="*/ 3273694 w 6884782"/>
              <a:gd name="connsiteY2422" fmla="*/ 5417901 h 5973007"/>
              <a:gd name="connsiteX2423" fmla="*/ 3279735 w 6884782"/>
              <a:gd name="connsiteY2423" fmla="*/ 5418934 h 5973007"/>
              <a:gd name="connsiteX2424" fmla="*/ 3290423 w 6884782"/>
              <a:gd name="connsiteY2424" fmla="*/ 5419244 h 5973007"/>
              <a:gd name="connsiteX2425" fmla="*/ 3292901 w 6884782"/>
              <a:gd name="connsiteY2425" fmla="*/ 5418831 h 5973007"/>
              <a:gd name="connsiteX2426" fmla="*/ 3292746 w 6884782"/>
              <a:gd name="connsiteY2426" fmla="*/ 5413668 h 5973007"/>
              <a:gd name="connsiteX2427" fmla="*/ 3300955 w 6884782"/>
              <a:gd name="connsiteY2427" fmla="*/ 5415217 h 5973007"/>
              <a:gd name="connsiteX2428" fmla="*/ 3299097 w 6884782"/>
              <a:gd name="connsiteY2428" fmla="*/ 5402826 h 5973007"/>
              <a:gd name="connsiteX2429" fmla="*/ 3299871 w 6884782"/>
              <a:gd name="connsiteY2429" fmla="*/ 5398076 h 5973007"/>
              <a:gd name="connsiteX2430" fmla="*/ 3287789 w 6884782"/>
              <a:gd name="connsiteY2430" fmla="*/ 5398076 h 5973007"/>
              <a:gd name="connsiteX2431" fmla="*/ 2731247 w 6884782"/>
              <a:gd name="connsiteY2431" fmla="*/ 5397147 h 5973007"/>
              <a:gd name="connsiteX2432" fmla="*/ 2734035 w 6884782"/>
              <a:gd name="connsiteY2432" fmla="*/ 5406956 h 5973007"/>
              <a:gd name="connsiteX2433" fmla="*/ 2727994 w 6884782"/>
              <a:gd name="connsiteY2433" fmla="*/ 5408092 h 5973007"/>
              <a:gd name="connsiteX2434" fmla="*/ 2731247 w 6884782"/>
              <a:gd name="connsiteY2434" fmla="*/ 5397147 h 5973007"/>
              <a:gd name="connsiteX2435" fmla="*/ 2590621 w 6884782"/>
              <a:gd name="connsiteY2435" fmla="*/ 5394553 h 5973007"/>
              <a:gd name="connsiteX2436" fmla="*/ 2596487 w 6884782"/>
              <a:gd name="connsiteY2436" fmla="*/ 5394669 h 5973007"/>
              <a:gd name="connsiteX2437" fmla="*/ 2594009 w 6884782"/>
              <a:gd name="connsiteY2437" fmla="*/ 5402413 h 5973007"/>
              <a:gd name="connsiteX2438" fmla="*/ 2590911 w 6884782"/>
              <a:gd name="connsiteY2438" fmla="*/ 5404168 h 5973007"/>
              <a:gd name="connsiteX2439" fmla="*/ 2587193 w 6884782"/>
              <a:gd name="connsiteY2439" fmla="*/ 5404065 h 5973007"/>
              <a:gd name="connsiteX2440" fmla="*/ 2584406 w 6884782"/>
              <a:gd name="connsiteY2440" fmla="*/ 5404684 h 5973007"/>
              <a:gd name="connsiteX2441" fmla="*/ 2581462 w 6884782"/>
              <a:gd name="connsiteY2441" fmla="*/ 5403962 h 5973007"/>
              <a:gd name="connsiteX2442" fmla="*/ 2580378 w 6884782"/>
              <a:gd name="connsiteY2442" fmla="*/ 5401380 h 5973007"/>
              <a:gd name="connsiteX2443" fmla="*/ 2581152 w 6884782"/>
              <a:gd name="connsiteY2443" fmla="*/ 5399625 h 5973007"/>
              <a:gd name="connsiteX2444" fmla="*/ 2590621 w 6884782"/>
              <a:gd name="connsiteY2444" fmla="*/ 5394553 h 5973007"/>
              <a:gd name="connsiteX2445" fmla="*/ 2400698 w 6884782"/>
              <a:gd name="connsiteY2445" fmla="*/ 5394152 h 5973007"/>
              <a:gd name="connsiteX2446" fmla="*/ 2403332 w 6884782"/>
              <a:gd name="connsiteY2446" fmla="*/ 5394152 h 5973007"/>
              <a:gd name="connsiteX2447" fmla="*/ 2402247 w 6884782"/>
              <a:gd name="connsiteY2447" fmla="*/ 5395908 h 5973007"/>
              <a:gd name="connsiteX2448" fmla="*/ 2398220 w 6884782"/>
              <a:gd name="connsiteY2448" fmla="*/ 5400245 h 5973007"/>
              <a:gd name="connsiteX2449" fmla="*/ 2397136 w 6884782"/>
              <a:gd name="connsiteY2449" fmla="*/ 5398799 h 5973007"/>
              <a:gd name="connsiteX2450" fmla="*/ 2397755 w 6884782"/>
              <a:gd name="connsiteY2450" fmla="*/ 5397560 h 5973007"/>
              <a:gd name="connsiteX2451" fmla="*/ 2399614 w 6884782"/>
              <a:gd name="connsiteY2451" fmla="*/ 5395805 h 5973007"/>
              <a:gd name="connsiteX2452" fmla="*/ 2400698 w 6884782"/>
              <a:gd name="connsiteY2452" fmla="*/ 5394152 h 5973007"/>
              <a:gd name="connsiteX2453" fmla="*/ 2873597 w 6884782"/>
              <a:gd name="connsiteY2453" fmla="*/ 5393636 h 5973007"/>
              <a:gd name="connsiteX2454" fmla="*/ 2877779 w 6884782"/>
              <a:gd name="connsiteY2454" fmla="*/ 5395908 h 5973007"/>
              <a:gd name="connsiteX2455" fmla="*/ 2878863 w 6884782"/>
              <a:gd name="connsiteY2455" fmla="*/ 5399315 h 5973007"/>
              <a:gd name="connsiteX2456" fmla="*/ 2879638 w 6884782"/>
              <a:gd name="connsiteY2456" fmla="*/ 5400761 h 5973007"/>
              <a:gd name="connsiteX2457" fmla="*/ 2892959 w 6884782"/>
              <a:gd name="connsiteY2457" fmla="*/ 5395598 h 5973007"/>
              <a:gd name="connsiteX2458" fmla="*/ 2894198 w 6884782"/>
              <a:gd name="connsiteY2458" fmla="*/ 5399522 h 5973007"/>
              <a:gd name="connsiteX2459" fmla="*/ 2894663 w 6884782"/>
              <a:gd name="connsiteY2459" fmla="*/ 5404168 h 5973007"/>
              <a:gd name="connsiteX2460" fmla="*/ 2898845 w 6884782"/>
              <a:gd name="connsiteY2460" fmla="*/ 5407163 h 5973007"/>
              <a:gd name="connsiteX2461" fmla="*/ 2899774 w 6884782"/>
              <a:gd name="connsiteY2461" fmla="*/ 5414184 h 5973007"/>
              <a:gd name="connsiteX2462" fmla="*/ 2894043 w 6884782"/>
              <a:gd name="connsiteY2462" fmla="*/ 5415836 h 5973007"/>
              <a:gd name="connsiteX2463" fmla="*/ 2889706 w 6884782"/>
              <a:gd name="connsiteY2463" fmla="*/ 5415630 h 5973007"/>
              <a:gd name="connsiteX2464" fmla="*/ 2883820 w 6884782"/>
              <a:gd name="connsiteY2464" fmla="*/ 5410674 h 5973007"/>
              <a:gd name="connsiteX2465" fmla="*/ 2886608 w 6884782"/>
              <a:gd name="connsiteY2465" fmla="*/ 5407679 h 5973007"/>
              <a:gd name="connsiteX2466" fmla="*/ 2873442 w 6884782"/>
              <a:gd name="connsiteY2466" fmla="*/ 5412222 h 5973007"/>
              <a:gd name="connsiteX2467" fmla="*/ 2862444 w 6884782"/>
              <a:gd name="connsiteY2467" fmla="*/ 5415836 h 5973007"/>
              <a:gd name="connsiteX2468" fmla="*/ 2863838 w 6884782"/>
              <a:gd name="connsiteY2468" fmla="*/ 5418831 h 5973007"/>
              <a:gd name="connsiteX2469" fmla="*/ 2865233 w 6884782"/>
              <a:gd name="connsiteY2469" fmla="*/ 5430808 h 5973007"/>
              <a:gd name="connsiteX2470" fmla="*/ 2863529 w 6884782"/>
              <a:gd name="connsiteY2470" fmla="*/ 5438552 h 5973007"/>
              <a:gd name="connsiteX2471" fmla="*/ 2855164 w 6884782"/>
              <a:gd name="connsiteY2471" fmla="*/ 5424613 h 5973007"/>
              <a:gd name="connsiteX2472" fmla="*/ 2839984 w 6884782"/>
              <a:gd name="connsiteY2472" fmla="*/ 5431221 h 5973007"/>
              <a:gd name="connsiteX2473" fmla="*/ 2853925 w 6884782"/>
              <a:gd name="connsiteY2473" fmla="*/ 5416559 h 5973007"/>
              <a:gd name="connsiteX2474" fmla="*/ 2855319 w 6884782"/>
              <a:gd name="connsiteY2474" fmla="*/ 5409124 h 5973007"/>
              <a:gd name="connsiteX2475" fmla="*/ 2856403 w 6884782"/>
              <a:gd name="connsiteY2475" fmla="*/ 5408092 h 5973007"/>
              <a:gd name="connsiteX2476" fmla="*/ 2856248 w 6884782"/>
              <a:gd name="connsiteY2476" fmla="*/ 5403858 h 5973007"/>
              <a:gd name="connsiteX2477" fmla="*/ 2862134 w 6884782"/>
              <a:gd name="connsiteY2477" fmla="*/ 5406750 h 5973007"/>
              <a:gd name="connsiteX2478" fmla="*/ 2861360 w 6884782"/>
              <a:gd name="connsiteY2478" fmla="*/ 5408402 h 5973007"/>
              <a:gd name="connsiteX2479" fmla="*/ 2859501 w 6884782"/>
              <a:gd name="connsiteY2479" fmla="*/ 5409434 h 5973007"/>
              <a:gd name="connsiteX2480" fmla="*/ 2860431 w 6884782"/>
              <a:gd name="connsiteY2480" fmla="*/ 5411293 h 5973007"/>
              <a:gd name="connsiteX2481" fmla="*/ 2861205 w 6884782"/>
              <a:gd name="connsiteY2481" fmla="*/ 5410364 h 5973007"/>
              <a:gd name="connsiteX2482" fmla="*/ 2868330 w 6884782"/>
              <a:gd name="connsiteY2482" fmla="*/ 5405820 h 5973007"/>
              <a:gd name="connsiteX2483" fmla="*/ 2872667 w 6884782"/>
              <a:gd name="connsiteY2483" fmla="*/ 5403755 h 5973007"/>
              <a:gd name="connsiteX2484" fmla="*/ 2870809 w 6884782"/>
              <a:gd name="connsiteY2484" fmla="*/ 5402826 h 5973007"/>
              <a:gd name="connsiteX2485" fmla="*/ 2866471 w 6884782"/>
              <a:gd name="connsiteY2485" fmla="*/ 5397147 h 5973007"/>
              <a:gd name="connsiteX2486" fmla="*/ 2873597 w 6884782"/>
              <a:gd name="connsiteY2486" fmla="*/ 5393636 h 5973007"/>
              <a:gd name="connsiteX2487" fmla="*/ 2556989 w 6884782"/>
              <a:gd name="connsiteY2487" fmla="*/ 5393326 h 5973007"/>
              <a:gd name="connsiteX2488" fmla="*/ 2543048 w 6884782"/>
              <a:gd name="connsiteY2488" fmla="*/ 5413358 h 5973007"/>
              <a:gd name="connsiteX2489" fmla="*/ 2534994 w 6884782"/>
              <a:gd name="connsiteY2489" fmla="*/ 5411396 h 5973007"/>
              <a:gd name="connsiteX2490" fmla="*/ 2534994 w 6884782"/>
              <a:gd name="connsiteY2490" fmla="*/ 5402929 h 5973007"/>
              <a:gd name="connsiteX2491" fmla="*/ 2556989 w 6884782"/>
              <a:gd name="connsiteY2491" fmla="*/ 5393326 h 5973007"/>
              <a:gd name="connsiteX2492" fmla="*/ 2363213 w 6884782"/>
              <a:gd name="connsiteY2492" fmla="*/ 5391571 h 5973007"/>
              <a:gd name="connsiteX2493" fmla="*/ 2348188 w 6884782"/>
              <a:gd name="connsiteY2493" fmla="*/ 5399315 h 5973007"/>
              <a:gd name="connsiteX2494" fmla="*/ 2348498 w 6884782"/>
              <a:gd name="connsiteY2494" fmla="*/ 5395805 h 5973007"/>
              <a:gd name="connsiteX2495" fmla="*/ 2350202 w 6884782"/>
              <a:gd name="connsiteY2495" fmla="*/ 5395805 h 5973007"/>
              <a:gd name="connsiteX2496" fmla="*/ 2363213 w 6884782"/>
              <a:gd name="connsiteY2496" fmla="*/ 5391571 h 5973007"/>
              <a:gd name="connsiteX2497" fmla="*/ 2849123 w 6884782"/>
              <a:gd name="connsiteY2497" fmla="*/ 5391055 h 5973007"/>
              <a:gd name="connsiteX2498" fmla="*/ 2845870 w 6884782"/>
              <a:gd name="connsiteY2498" fmla="*/ 5395908 h 5973007"/>
              <a:gd name="connsiteX2499" fmla="*/ 2844011 w 6884782"/>
              <a:gd name="connsiteY2499" fmla="*/ 5392397 h 5973007"/>
              <a:gd name="connsiteX2500" fmla="*/ 2849123 w 6884782"/>
              <a:gd name="connsiteY2500" fmla="*/ 5391055 h 5973007"/>
              <a:gd name="connsiteX2501" fmla="*/ 2660150 w 6884782"/>
              <a:gd name="connsiteY2501" fmla="*/ 5389299 h 5973007"/>
              <a:gd name="connsiteX2502" fmla="*/ 2665261 w 6884782"/>
              <a:gd name="connsiteY2502" fmla="*/ 5394772 h 5973007"/>
              <a:gd name="connsiteX2503" fmla="*/ 2662163 w 6884782"/>
              <a:gd name="connsiteY2503" fmla="*/ 5398179 h 5973007"/>
              <a:gd name="connsiteX2504" fmla="*/ 2656277 w 6884782"/>
              <a:gd name="connsiteY2504" fmla="*/ 5394359 h 5973007"/>
              <a:gd name="connsiteX2505" fmla="*/ 2660150 w 6884782"/>
              <a:gd name="connsiteY2505" fmla="*/ 5389299 h 5973007"/>
              <a:gd name="connsiteX2506" fmla="*/ 2723502 w 6884782"/>
              <a:gd name="connsiteY2506" fmla="*/ 5388473 h 5973007"/>
              <a:gd name="connsiteX2507" fmla="*/ 2725206 w 6884782"/>
              <a:gd name="connsiteY2507" fmla="*/ 5388473 h 5973007"/>
              <a:gd name="connsiteX2508" fmla="*/ 2724122 w 6884782"/>
              <a:gd name="connsiteY2508" fmla="*/ 5391881 h 5973007"/>
              <a:gd name="connsiteX2509" fmla="*/ 2722728 w 6884782"/>
              <a:gd name="connsiteY2509" fmla="*/ 5391055 h 5973007"/>
              <a:gd name="connsiteX2510" fmla="*/ 2722263 w 6884782"/>
              <a:gd name="connsiteY2510" fmla="*/ 5391778 h 5973007"/>
              <a:gd name="connsiteX2511" fmla="*/ 2721488 w 6884782"/>
              <a:gd name="connsiteY2511" fmla="*/ 5390229 h 5973007"/>
              <a:gd name="connsiteX2512" fmla="*/ 2721954 w 6884782"/>
              <a:gd name="connsiteY2512" fmla="*/ 5389506 h 5973007"/>
              <a:gd name="connsiteX2513" fmla="*/ 2721798 w 6884782"/>
              <a:gd name="connsiteY2513" fmla="*/ 5389196 h 5973007"/>
              <a:gd name="connsiteX2514" fmla="*/ 2723502 w 6884782"/>
              <a:gd name="connsiteY2514" fmla="*/ 5388473 h 5973007"/>
              <a:gd name="connsiteX2515" fmla="*/ 2370339 w 6884782"/>
              <a:gd name="connsiteY2515" fmla="*/ 5387544 h 5973007"/>
              <a:gd name="connsiteX2516" fmla="*/ 2366621 w 6884782"/>
              <a:gd name="connsiteY2516" fmla="*/ 5390125 h 5973007"/>
              <a:gd name="connsiteX2517" fmla="*/ 2365847 w 6884782"/>
              <a:gd name="connsiteY2517" fmla="*/ 5389196 h 5973007"/>
              <a:gd name="connsiteX2518" fmla="*/ 2370339 w 6884782"/>
              <a:gd name="connsiteY2518" fmla="*/ 5387544 h 5973007"/>
              <a:gd name="connsiteX2519" fmla="*/ 2357250 w 6884782"/>
              <a:gd name="connsiteY2519" fmla="*/ 5387234 h 5973007"/>
              <a:gd name="connsiteX2520" fmla="*/ 2361819 w 6884782"/>
              <a:gd name="connsiteY2520" fmla="*/ 5387441 h 5973007"/>
              <a:gd name="connsiteX2521" fmla="*/ 2361819 w 6884782"/>
              <a:gd name="connsiteY2521" fmla="*/ 5388267 h 5973007"/>
              <a:gd name="connsiteX2522" fmla="*/ 2352990 w 6884782"/>
              <a:gd name="connsiteY2522" fmla="*/ 5390125 h 5973007"/>
              <a:gd name="connsiteX2523" fmla="*/ 2349892 w 6884782"/>
              <a:gd name="connsiteY2523" fmla="*/ 5389712 h 5973007"/>
              <a:gd name="connsiteX2524" fmla="*/ 2350667 w 6884782"/>
              <a:gd name="connsiteY2524" fmla="*/ 5389712 h 5973007"/>
              <a:gd name="connsiteX2525" fmla="*/ 2349892 w 6884782"/>
              <a:gd name="connsiteY2525" fmla="*/ 5388886 h 5973007"/>
              <a:gd name="connsiteX2526" fmla="*/ 2357250 w 6884782"/>
              <a:gd name="connsiteY2526" fmla="*/ 5387234 h 5973007"/>
              <a:gd name="connsiteX2527" fmla="*/ 2859346 w 6884782"/>
              <a:gd name="connsiteY2527" fmla="*/ 5386924 h 5973007"/>
              <a:gd name="connsiteX2528" fmla="*/ 2860586 w 6884782"/>
              <a:gd name="connsiteY2528" fmla="*/ 5391055 h 5973007"/>
              <a:gd name="connsiteX2529" fmla="*/ 2857488 w 6884782"/>
              <a:gd name="connsiteY2529" fmla="*/ 5388989 h 5973007"/>
              <a:gd name="connsiteX2530" fmla="*/ 2859346 w 6884782"/>
              <a:gd name="connsiteY2530" fmla="*/ 5386924 h 5973007"/>
              <a:gd name="connsiteX2531" fmla="*/ 2740076 w 6884782"/>
              <a:gd name="connsiteY2531" fmla="*/ 5385892 h 5973007"/>
              <a:gd name="connsiteX2532" fmla="*/ 2741470 w 6884782"/>
              <a:gd name="connsiteY2532" fmla="*/ 5389506 h 5973007"/>
              <a:gd name="connsiteX2533" fmla="*/ 2733725 w 6884782"/>
              <a:gd name="connsiteY2533" fmla="*/ 5391571 h 5973007"/>
              <a:gd name="connsiteX2534" fmla="*/ 2727220 w 6884782"/>
              <a:gd name="connsiteY2534" fmla="*/ 5388886 h 5973007"/>
              <a:gd name="connsiteX2535" fmla="*/ 2727529 w 6884782"/>
              <a:gd name="connsiteY2535" fmla="*/ 5386408 h 5973007"/>
              <a:gd name="connsiteX2536" fmla="*/ 2740076 w 6884782"/>
              <a:gd name="connsiteY2536" fmla="*/ 5385892 h 5973007"/>
              <a:gd name="connsiteX2537" fmla="*/ 3192838 w 6884782"/>
              <a:gd name="connsiteY2537" fmla="*/ 5385273 h 5973007"/>
              <a:gd name="connsiteX2538" fmla="*/ 3191289 w 6884782"/>
              <a:gd name="connsiteY2538" fmla="*/ 5386615 h 5973007"/>
              <a:gd name="connsiteX2539" fmla="*/ 3192683 w 6884782"/>
              <a:gd name="connsiteY2539" fmla="*/ 5387131 h 5973007"/>
              <a:gd name="connsiteX2540" fmla="*/ 3198569 w 6884782"/>
              <a:gd name="connsiteY2540" fmla="*/ 5389506 h 5973007"/>
              <a:gd name="connsiteX2541" fmla="*/ 3201357 w 6884782"/>
              <a:gd name="connsiteY2541" fmla="*/ 5393223 h 5973007"/>
              <a:gd name="connsiteX2542" fmla="*/ 3201512 w 6884782"/>
              <a:gd name="connsiteY2542" fmla="*/ 5393326 h 5973007"/>
              <a:gd name="connsiteX2543" fmla="*/ 3209102 w 6884782"/>
              <a:gd name="connsiteY2543" fmla="*/ 5396114 h 5973007"/>
              <a:gd name="connsiteX2544" fmla="*/ 3210342 w 6884782"/>
              <a:gd name="connsiteY2544" fmla="*/ 5391055 h 5973007"/>
              <a:gd name="connsiteX2545" fmla="*/ 3210496 w 6884782"/>
              <a:gd name="connsiteY2545" fmla="*/ 5390745 h 5973007"/>
              <a:gd name="connsiteX2546" fmla="*/ 2617553 w 6884782"/>
              <a:gd name="connsiteY2546" fmla="*/ 5383517 h 5973007"/>
              <a:gd name="connsiteX2547" fmla="*/ 2619722 w 6884782"/>
              <a:gd name="connsiteY2547" fmla="*/ 5385995 h 5973007"/>
              <a:gd name="connsiteX2548" fmla="*/ 2618327 w 6884782"/>
              <a:gd name="connsiteY2548" fmla="*/ 5386821 h 5973007"/>
              <a:gd name="connsiteX2549" fmla="*/ 2618638 w 6884782"/>
              <a:gd name="connsiteY2549" fmla="*/ 5387544 h 5973007"/>
              <a:gd name="connsiteX2550" fmla="*/ 2616934 w 6884782"/>
              <a:gd name="connsiteY2550" fmla="*/ 5387750 h 5973007"/>
              <a:gd name="connsiteX2551" fmla="*/ 2616469 w 6884782"/>
              <a:gd name="connsiteY2551" fmla="*/ 5387028 h 5973007"/>
              <a:gd name="connsiteX2552" fmla="*/ 2616314 w 6884782"/>
              <a:gd name="connsiteY2552" fmla="*/ 5386924 h 5973007"/>
              <a:gd name="connsiteX2553" fmla="*/ 2616469 w 6884782"/>
              <a:gd name="connsiteY2553" fmla="*/ 5385169 h 5973007"/>
              <a:gd name="connsiteX2554" fmla="*/ 2617553 w 6884782"/>
              <a:gd name="connsiteY2554" fmla="*/ 5383517 h 5973007"/>
              <a:gd name="connsiteX2555" fmla="*/ 3178587 w 6884782"/>
              <a:gd name="connsiteY2555" fmla="*/ 5382072 h 5973007"/>
              <a:gd name="connsiteX2556" fmla="*/ 3178587 w 6884782"/>
              <a:gd name="connsiteY2556" fmla="*/ 5382175 h 5973007"/>
              <a:gd name="connsiteX2557" fmla="*/ 3177194 w 6884782"/>
              <a:gd name="connsiteY2557" fmla="*/ 5383827 h 5973007"/>
              <a:gd name="connsiteX2558" fmla="*/ 3179362 w 6884782"/>
              <a:gd name="connsiteY2558" fmla="*/ 5385066 h 5973007"/>
              <a:gd name="connsiteX2559" fmla="*/ 3179827 w 6884782"/>
              <a:gd name="connsiteY2559" fmla="*/ 5383311 h 5973007"/>
              <a:gd name="connsiteX2560" fmla="*/ 2591124 w 6884782"/>
              <a:gd name="connsiteY2560" fmla="*/ 5379477 h 5973007"/>
              <a:gd name="connsiteX2561" fmla="*/ 2594009 w 6884782"/>
              <a:gd name="connsiteY2561" fmla="*/ 5389506 h 5973007"/>
              <a:gd name="connsiteX2562" fmla="*/ 2585335 w 6884782"/>
              <a:gd name="connsiteY2562" fmla="*/ 5387028 h 5973007"/>
              <a:gd name="connsiteX2563" fmla="*/ 2591124 w 6884782"/>
              <a:gd name="connsiteY2563" fmla="*/ 5379477 h 5973007"/>
              <a:gd name="connsiteX2564" fmla="*/ 3016256 w 6884782"/>
              <a:gd name="connsiteY2564" fmla="*/ 5378044 h 5973007"/>
              <a:gd name="connsiteX2565" fmla="*/ 3017495 w 6884782"/>
              <a:gd name="connsiteY2565" fmla="*/ 5389609 h 5973007"/>
              <a:gd name="connsiteX2566" fmla="*/ 3013158 w 6884782"/>
              <a:gd name="connsiteY2566" fmla="*/ 5389196 h 5973007"/>
              <a:gd name="connsiteX2567" fmla="*/ 3008976 w 6884782"/>
              <a:gd name="connsiteY2567" fmla="*/ 5382794 h 5973007"/>
              <a:gd name="connsiteX2568" fmla="*/ 3016256 w 6884782"/>
              <a:gd name="connsiteY2568" fmla="*/ 5378044 h 5973007"/>
              <a:gd name="connsiteX2569" fmla="*/ 2395587 w 6884782"/>
              <a:gd name="connsiteY2569" fmla="*/ 5376599 h 5973007"/>
              <a:gd name="connsiteX2570" fmla="*/ 2389701 w 6884782"/>
              <a:gd name="connsiteY2570" fmla="*/ 5382691 h 5973007"/>
              <a:gd name="connsiteX2571" fmla="*/ 2387687 w 6884782"/>
              <a:gd name="connsiteY2571" fmla="*/ 5382484 h 5973007"/>
              <a:gd name="connsiteX2572" fmla="*/ 2387997 w 6884782"/>
              <a:gd name="connsiteY2572" fmla="*/ 5379903 h 5973007"/>
              <a:gd name="connsiteX2573" fmla="*/ 2395587 w 6884782"/>
              <a:gd name="connsiteY2573" fmla="*/ 5376599 h 5973007"/>
              <a:gd name="connsiteX2574" fmla="*/ 2959622 w 6884782"/>
              <a:gd name="connsiteY2574" fmla="*/ 5376483 h 5973007"/>
              <a:gd name="connsiteX2575" fmla="*/ 2966844 w 6884782"/>
              <a:gd name="connsiteY2575" fmla="*/ 5379903 h 5973007"/>
              <a:gd name="connsiteX2576" fmla="*/ 2960648 w 6884782"/>
              <a:gd name="connsiteY2576" fmla="*/ 5384549 h 5973007"/>
              <a:gd name="connsiteX2577" fmla="*/ 2952749 w 6884782"/>
              <a:gd name="connsiteY2577" fmla="*/ 5380110 h 5973007"/>
              <a:gd name="connsiteX2578" fmla="*/ 2959622 w 6884782"/>
              <a:gd name="connsiteY2578" fmla="*/ 5376483 h 5973007"/>
              <a:gd name="connsiteX2579" fmla="*/ 2870189 w 6884782"/>
              <a:gd name="connsiteY2579" fmla="*/ 5374947 h 5973007"/>
              <a:gd name="connsiteX2580" fmla="*/ 2871118 w 6884782"/>
              <a:gd name="connsiteY2580" fmla="*/ 5376806 h 5973007"/>
              <a:gd name="connsiteX2581" fmla="*/ 2870344 w 6884782"/>
              <a:gd name="connsiteY2581" fmla="*/ 5379387 h 5973007"/>
              <a:gd name="connsiteX2582" fmla="*/ 2866936 w 6884782"/>
              <a:gd name="connsiteY2582" fmla="*/ 5380110 h 5973007"/>
              <a:gd name="connsiteX2583" fmla="*/ 2866007 w 6884782"/>
              <a:gd name="connsiteY2583" fmla="*/ 5378354 h 5973007"/>
              <a:gd name="connsiteX2584" fmla="*/ 2866007 w 6884782"/>
              <a:gd name="connsiteY2584" fmla="*/ 5375566 h 5973007"/>
              <a:gd name="connsiteX2585" fmla="*/ 2870189 w 6884782"/>
              <a:gd name="connsiteY2585" fmla="*/ 5374947 h 5973007"/>
              <a:gd name="connsiteX2586" fmla="*/ 2482484 w 6884782"/>
              <a:gd name="connsiteY2586" fmla="*/ 5374224 h 5973007"/>
              <a:gd name="connsiteX2587" fmla="*/ 2483258 w 6884782"/>
              <a:gd name="connsiteY2587" fmla="*/ 5374740 h 5973007"/>
              <a:gd name="connsiteX2588" fmla="*/ 2485892 w 6884782"/>
              <a:gd name="connsiteY2588" fmla="*/ 5376495 h 5973007"/>
              <a:gd name="connsiteX2589" fmla="*/ 2484807 w 6884782"/>
              <a:gd name="connsiteY2589" fmla="*/ 5381039 h 5973007"/>
              <a:gd name="connsiteX2590" fmla="*/ 2481554 w 6884782"/>
              <a:gd name="connsiteY2590" fmla="*/ 5381142 h 5973007"/>
              <a:gd name="connsiteX2591" fmla="*/ 2479850 w 6884782"/>
              <a:gd name="connsiteY2591" fmla="*/ 5379903 h 5973007"/>
              <a:gd name="connsiteX2592" fmla="*/ 2480625 w 6884782"/>
              <a:gd name="connsiteY2592" fmla="*/ 5375256 h 5973007"/>
              <a:gd name="connsiteX2593" fmla="*/ 2482484 w 6884782"/>
              <a:gd name="connsiteY2593" fmla="*/ 5374224 h 5973007"/>
              <a:gd name="connsiteX2594" fmla="*/ 2862444 w 6884782"/>
              <a:gd name="connsiteY2594" fmla="*/ 5373398 h 5973007"/>
              <a:gd name="connsiteX2595" fmla="*/ 2863219 w 6884782"/>
              <a:gd name="connsiteY2595" fmla="*/ 5374327 h 5973007"/>
              <a:gd name="connsiteX2596" fmla="*/ 2866781 w 6884782"/>
              <a:gd name="connsiteY2596" fmla="*/ 5384549 h 5973007"/>
              <a:gd name="connsiteX2597" fmla="*/ 2863219 w 6884782"/>
              <a:gd name="connsiteY2597" fmla="*/ 5385582 h 5973007"/>
              <a:gd name="connsiteX2598" fmla="*/ 2859346 w 6884782"/>
              <a:gd name="connsiteY2598" fmla="*/ 5383311 h 5973007"/>
              <a:gd name="connsiteX2599" fmla="*/ 2854700 w 6884782"/>
              <a:gd name="connsiteY2599" fmla="*/ 5374740 h 5973007"/>
              <a:gd name="connsiteX2600" fmla="*/ 2862444 w 6884782"/>
              <a:gd name="connsiteY2600" fmla="*/ 5373398 h 5973007"/>
              <a:gd name="connsiteX2601" fmla="*/ 3156128 w 6884782"/>
              <a:gd name="connsiteY2601" fmla="*/ 5371952 h 5973007"/>
              <a:gd name="connsiteX2602" fmla="*/ 3157212 w 6884782"/>
              <a:gd name="connsiteY2602" fmla="*/ 5375670 h 5973007"/>
              <a:gd name="connsiteX2603" fmla="*/ 3157522 w 6884782"/>
              <a:gd name="connsiteY2603" fmla="*/ 5375153 h 5973007"/>
              <a:gd name="connsiteX2604" fmla="*/ 3162788 w 6884782"/>
              <a:gd name="connsiteY2604" fmla="*/ 5379593 h 5973007"/>
              <a:gd name="connsiteX2605" fmla="*/ 3166970 w 6884782"/>
              <a:gd name="connsiteY2605" fmla="*/ 5380729 h 5973007"/>
              <a:gd name="connsiteX2606" fmla="*/ 3172082 w 6884782"/>
              <a:gd name="connsiteY2606" fmla="*/ 5381968 h 5973007"/>
              <a:gd name="connsiteX2607" fmla="*/ 3172856 w 6884782"/>
              <a:gd name="connsiteY2607" fmla="*/ 5382175 h 5973007"/>
              <a:gd name="connsiteX2608" fmla="*/ 3170378 w 6884782"/>
              <a:gd name="connsiteY2608" fmla="*/ 5379593 h 5973007"/>
              <a:gd name="connsiteX2609" fmla="*/ 3157057 w 6884782"/>
              <a:gd name="connsiteY2609" fmla="*/ 5373501 h 5973007"/>
              <a:gd name="connsiteX2610" fmla="*/ 1821696 w 6884782"/>
              <a:gd name="connsiteY2610" fmla="*/ 5371952 h 5973007"/>
              <a:gd name="connsiteX2611" fmla="*/ 1821542 w 6884782"/>
              <a:gd name="connsiteY2611" fmla="*/ 5373605 h 5973007"/>
              <a:gd name="connsiteX2612" fmla="*/ 1822316 w 6884782"/>
              <a:gd name="connsiteY2612" fmla="*/ 5373605 h 5973007"/>
              <a:gd name="connsiteX2613" fmla="*/ 1821387 w 6884782"/>
              <a:gd name="connsiteY2613" fmla="*/ 5375256 h 5973007"/>
              <a:gd name="connsiteX2614" fmla="*/ 1820612 w 6884782"/>
              <a:gd name="connsiteY2614" fmla="*/ 5375256 h 5973007"/>
              <a:gd name="connsiteX2615" fmla="*/ 1820302 w 6884782"/>
              <a:gd name="connsiteY2615" fmla="*/ 5375463 h 5973007"/>
              <a:gd name="connsiteX2616" fmla="*/ 1819063 w 6884782"/>
              <a:gd name="connsiteY2616" fmla="*/ 5374430 h 5973007"/>
              <a:gd name="connsiteX2617" fmla="*/ 1818134 w 6884782"/>
              <a:gd name="connsiteY2617" fmla="*/ 5373501 h 5973007"/>
              <a:gd name="connsiteX2618" fmla="*/ 1818444 w 6884782"/>
              <a:gd name="connsiteY2618" fmla="*/ 5372675 h 5973007"/>
              <a:gd name="connsiteX2619" fmla="*/ 1821696 w 6884782"/>
              <a:gd name="connsiteY2619" fmla="*/ 5371952 h 5973007"/>
              <a:gd name="connsiteX2620" fmla="*/ 2584095 w 6884782"/>
              <a:gd name="connsiteY2620" fmla="*/ 5368958 h 5973007"/>
              <a:gd name="connsiteX2621" fmla="*/ 2584250 w 6884782"/>
              <a:gd name="connsiteY2621" fmla="*/ 5378664 h 5973007"/>
              <a:gd name="connsiteX2622" fmla="*/ 2584095 w 6884782"/>
              <a:gd name="connsiteY2622" fmla="*/ 5368958 h 5973007"/>
              <a:gd name="connsiteX2623" fmla="*/ 2977842 w 6884782"/>
              <a:gd name="connsiteY2623" fmla="*/ 5368854 h 5973007"/>
              <a:gd name="connsiteX2624" fmla="*/ 2979856 w 6884782"/>
              <a:gd name="connsiteY2624" fmla="*/ 5368958 h 5973007"/>
              <a:gd name="connsiteX2625" fmla="*/ 2981869 w 6884782"/>
              <a:gd name="connsiteY2625" fmla="*/ 5370300 h 5973007"/>
              <a:gd name="connsiteX2626" fmla="*/ 2980165 w 6884782"/>
              <a:gd name="connsiteY2626" fmla="*/ 5374637 h 5973007"/>
              <a:gd name="connsiteX2627" fmla="*/ 2978152 w 6884782"/>
              <a:gd name="connsiteY2627" fmla="*/ 5374534 h 5973007"/>
              <a:gd name="connsiteX2628" fmla="*/ 2976603 w 6884782"/>
              <a:gd name="connsiteY2628" fmla="*/ 5372365 h 5973007"/>
              <a:gd name="connsiteX2629" fmla="*/ 2977842 w 6884782"/>
              <a:gd name="connsiteY2629" fmla="*/ 5368854 h 5973007"/>
              <a:gd name="connsiteX2630" fmla="*/ 2857178 w 6884782"/>
              <a:gd name="connsiteY2630" fmla="*/ 5365447 h 5973007"/>
              <a:gd name="connsiteX2631" fmla="*/ 2851137 w 6884782"/>
              <a:gd name="connsiteY2631" fmla="*/ 5370920 h 5973007"/>
              <a:gd name="connsiteX2632" fmla="*/ 2848658 w 6884782"/>
              <a:gd name="connsiteY2632" fmla="*/ 5370610 h 5973007"/>
              <a:gd name="connsiteX2633" fmla="*/ 2857178 w 6884782"/>
              <a:gd name="connsiteY2633" fmla="*/ 5365447 h 5973007"/>
              <a:gd name="connsiteX2634" fmla="*/ 2427031 w 6884782"/>
              <a:gd name="connsiteY2634" fmla="*/ 5361214 h 5973007"/>
              <a:gd name="connsiteX2635" fmla="*/ 2420215 w 6884782"/>
              <a:gd name="connsiteY2635" fmla="*/ 5388680 h 5973007"/>
              <a:gd name="connsiteX2636" fmla="*/ 2417272 w 6884782"/>
              <a:gd name="connsiteY2636" fmla="*/ 5382278 h 5973007"/>
              <a:gd name="connsiteX2637" fmla="*/ 2427031 w 6884782"/>
              <a:gd name="connsiteY2637" fmla="*/ 5361214 h 5973007"/>
              <a:gd name="connsiteX2638" fmla="*/ 2842618 w 6884782"/>
              <a:gd name="connsiteY2638" fmla="*/ 5360801 h 5973007"/>
              <a:gd name="connsiteX2639" fmla="*/ 2843547 w 6884782"/>
              <a:gd name="connsiteY2639" fmla="*/ 5360801 h 5973007"/>
              <a:gd name="connsiteX2640" fmla="*/ 2842308 w 6884782"/>
              <a:gd name="connsiteY2640" fmla="*/ 5371333 h 5973007"/>
              <a:gd name="connsiteX2641" fmla="*/ 2840914 w 6884782"/>
              <a:gd name="connsiteY2641" fmla="*/ 5372159 h 5973007"/>
              <a:gd name="connsiteX2642" fmla="*/ 2838900 w 6884782"/>
              <a:gd name="connsiteY2642" fmla="*/ 5371126 h 5973007"/>
              <a:gd name="connsiteX2643" fmla="*/ 2838745 w 6884782"/>
              <a:gd name="connsiteY2643" fmla="*/ 5366686 h 5973007"/>
              <a:gd name="connsiteX2644" fmla="*/ 2841998 w 6884782"/>
              <a:gd name="connsiteY2644" fmla="*/ 5363382 h 5973007"/>
              <a:gd name="connsiteX2645" fmla="*/ 2842618 w 6884782"/>
              <a:gd name="connsiteY2645" fmla="*/ 5360801 h 5973007"/>
              <a:gd name="connsiteX2646" fmla="*/ 2944694 w 6884782"/>
              <a:gd name="connsiteY2646" fmla="*/ 5358632 h 5973007"/>
              <a:gd name="connsiteX2647" fmla="*/ 2946553 w 6884782"/>
              <a:gd name="connsiteY2647" fmla="*/ 5358736 h 5973007"/>
              <a:gd name="connsiteX2648" fmla="*/ 2946243 w 6884782"/>
              <a:gd name="connsiteY2648" fmla="*/ 5359458 h 5973007"/>
              <a:gd name="connsiteX2649" fmla="*/ 2944849 w 6884782"/>
              <a:gd name="connsiteY2649" fmla="*/ 5359458 h 5973007"/>
              <a:gd name="connsiteX2650" fmla="*/ 2944694 w 6884782"/>
              <a:gd name="connsiteY2650" fmla="*/ 5358632 h 5973007"/>
              <a:gd name="connsiteX2651" fmla="*/ 2942371 w 6884782"/>
              <a:gd name="connsiteY2651" fmla="*/ 5358426 h 5973007"/>
              <a:gd name="connsiteX2652" fmla="*/ 2943610 w 6884782"/>
              <a:gd name="connsiteY2652" fmla="*/ 5359252 h 5973007"/>
              <a:gd name="connsiteX2653" fmla="*/ 2944229 w 6884782"/>
              <a:gd name="connsiteY2653" fmla="*/ 5359561 h 5973007"/>
              <a:gd name="connsiteX2654" fmla="*/ 2944075 w 6884782"/>
              <a:gd name="connsiteY2654" fmla="*/ 5359665 h 5973007"/>
              <a:gd name="connsiteX2655" fmla="*/ 2945469 w 6884782"/>
              <a:gd name="connsiteY2655" fmla="*/ 5361523 h 5973007"/>
              <a:gd name="connsiteX2656" fmla="*/ 2947172 w 6884782"/>
              <a:gd name="connsiteY2656" fmla="*/ 5361833 h 5973007"/>
              <a:gd name="connsiteX2657" fmla="*/ 2950115 w 6884782"/>
              <a:gd name="connsiteY2657" fmla="*/ 5368235 h 5973007"/>
              <a:gd name="connsiteX2658" fmla="*/ 2946863 w 6884782"/>
              <a:gd name="connsiteY2658" fmla="*/ 5365241 h 5973007"/>
              <a:gd name="connsiteX2659" fmla="*/ 2945314 w 6884782"/>
              <a:gd name="connsiteY2659" fmla="*/ 5363279 h 5973007"/>
              <a:gd name="connsiteX2660" fmla="*/ 2943765 w 6884782"/>
              <a:gd name="connsiteY2660" fmla="*/ 5362143 h 5973007"/>
              <a:gd name="connsiteX2661" fmla="*/ 2942835 w 6884782"/>
              <a:gd name="connsiteY2661" fmla="*/ 5360491 h 5973007"/>
              <a:gd name="connsiteX2662" fmla="*/ 2942680 w 6884782"/>
              <a:gd name="connsiteY2662" fmla="*/ 5360491 h 5973007"/>
              <a:gd name="connsiteX2663" fmla="*/ 2940977 w 6884782"/>
              <a:gd name="connsiteY2663" fmla="*/ 5360904 h 5973007"/>
              <a:gd name="connsiteX2664" fmla="*/ 2940047 w 6884782"/>
              <a:gd name="connsiteY2664" fmla="*/ 5360284 h 5973007"/>
              <a:gd name="connsiteX2665" fmla="*/ 2939428 w 6884782"/>
              <a:gd name="connsiteY2665" fmla="*/ 5358839 h 5973007"/>
              <a:gd name="connsiteX2666" fmla="*/ 2942061 w 6884782"/>
              <a:gd name="connsiteY2666" fmla="*/ 5358736 h 5973007"/>
              <a:gd name="connsiteX2667" fmla="*/ 2942371 w 6884782"/>
              <a:gd name="connsiteY2667" fmla="*/ 5358942 h 5973007"/>
              <a:gd name="connsiteX2668" fmla="*/ 2400544 w 6884782"/>
              <a:gd name="connsiteY2668" fmla="*/ 5357600 h 5973007"/>
              <a:gd name="connsiteX2669" fmla="*/ 2398685 w 6884782"/>
              <a:gd name="connsiteY2669" fmla="*/ 5364827 h 5973007"/>
              <a:gd name="connsiteX2670" fmla="*/ 2394967 w 6884782"/>
              <a:gd name="connsiteY2670" fmla="*/ 5365447 h 5973007"/>
              <a:gd name="connsiteX2671" fmla="*/ 2390940 w 6884782"/>
              <a:gd name="connsiteY2671" fmla="*/ 5364105 h 5973007"/>
              <a:gd name="connsiteX2672" fmla="*/ 2400544 w 6884782"/>
              <a:gd name="connsiteY2672" fmla="*/ 5357600 h 5973007"/>
              <a:gd name="connsiteX2673" fmla="*/ 2948722 w 6884782"/>
              <a:gd name="connsiteY2673" fmla="*/ 5356980 h 5973007"/>
              <a:gd name="connsiteX2674" fmla="*/ 2950580 w 6884782"/>
              <a:gd name="connsiteY2674" fmla="*/ 5357083 h 5973007"/>
              <a:gd name="connsiteX2675" fmla="*/ 2949961 w 6884782"/>
              <a:gd name="connsiteY2675" fmla="*/ 5358116 h 5973007"/>
              <a:gd name="connsiteX2676" fmla="*/ 2948722 w 6884782"/>
              <a:gd name="connsiteY2676" fmla="*/ 5356980 h 5973007"/>
              <a:gd name="connsiteX2677" fmla="*/ 2964211 w 6884782"/>
              <a:gd name="connsiteY2677" fmla="*/ 5354295 h 5973007"/>
              <a:gd name="connsiteX2678" fmla="*/ 2950735 w 6884782"/>
              <a:gd name="connsiteY2678" fmla="*/ 5357187 h 5973007"/>
              <a:gd name="connsiteX2679" fmla="*/ 2964211 w 6884782"/>
              <a:gd name="connsiteY2679" fmla="*/ 5354295 h 5973007"/>
              <a:gd name="connsiteX2680" fmla="*/ 2656122 w 6884782"/>
              <a:gd name="connsiteY2680" fmla="*/ 5353470 h 5973007"/>
              <a:gd name="connsiteX2681" fmla="*/ 2660305 w 6884782"/>
              <a:gd name="connsiteY2681" fmla="*/ 5354915 h 5973007"/>
              <a:gd name="connsiteX2682" fmla="*/ 2660924 w 6884782"/>
              <a:gd name="connsiteY2682" fmla="*/ 5357600 h 5973007"/>
              <a:gd name="connsiteX2683" fmla="*/ 2659840 w 6884782"/>
              <a:gd name="connsiteY2683" fmla="*/ 5358632 h 5973007"/>
              <a:gd name="connsiteX2684" fmla="*/ 2658446 w 6884782"/>
              <a:gd name="connsiteY2684" fmla="*/ 5358116 h 5973007"/>
              <a:gd name="connsiteX2685" fmla="*/ 2655967 w 6884782"/>
              <a:gd name="connsiteY2685" fmla="*/ 5356877 h 5973007"/>
              <a:gd name="connsiteX2686" fmla="*/ 2655658 w 6884782"/>
              <a:gd name="connsiteY2686" fmla="*/ 5355328 h 5973007"/>
              <a:gd name="connsiteX2687" fmla="*/ 2656122 w 6884782"/>
              <a:gd name="connsiteY2687" fmla="*/ 5353470 h 5973007"/>
              <a:gd name="connsiteX2688" fmla="*/ 2291497 w 6884782"/>
              <a:gd name="connsiteY2688" fmla="*/ 5350475 h 5973007"/>
              <a:gd name="connsiteX2689" fmla="*/ 2298157 w 6884782"/>
              <a:gd name="connsiteY2689" fmla="*/ 5352540 h 5973007"/>
              <a:gd name="connsiteX2690" fmla="*/ 2291807 w 6884782"/>
              <a:gd name="connsiteY2690" fmla="*/ 5364931 h 5973007"/>
              <a:gd name="connsiteX2691" fmla="*/ 2287469 w 6884782"/>
              <a:gd name="connsiteY2691" fmla="*/ 5362040 h 5973007"/>
              <a:gd name="connsiteX2692" fmla="*/ 2291497 w 6884782"/>
              <a:gd name="connsiteY2692" fmla="*/ 5350475 h 5973007"/>
              <a:gd name="connsiteX2693" fmla="*/ 2861515 w 6884782"/>
              <a:gd name="connsiteY2693" fmla="*/ 5349236 h 5973007"/>
              <a:gd name="connsiteX2694" fmla="*/ 2864303 w 6884782"/>
              <a:gd name="connsiteY2694" fmla="*/ 5356154 h 5973007"/>
              <a:gd name="connsiteX2695" fmla="*/ 2862134 w 6884782"/>
              <a:gd name="connsiteY2695" fmla="*/ 5358116 h 5973007"/>
              <a:gd name="connsiteX2696" fmla="*/ 2857488 w 6884782"/>
              <a:gd name="connsiteY2696" fmla="*/ 5354812 h 5973007"/>
              <a:gd name="connsiteX2697" fmla="*/ 2857952 w 6884782"/>
              <a:gd name="connsiteY2697" fmla="*/ 5351920 h 5973007"/>
              <a:gd name="connsiteX2698" fmla="*/ 2861515 w 6884782"/>
              <a:gd name="connsiteY2698" fmla="*/ 5349236 h 5973007"/>
              <a:gd name="connsiteX2699" fmla="*/ 2941132 w 6884782"/>
              <a:gd name="connsiteY2699" fmla="*/ 5347893 h 5973007"/>
              <a:gd name="connsiteX2700" fmla="*/ 2942216 w 6884782"/>
              <a:gd name="connsiteY2700" fmla="*/ 5348100 h 5973007"/>
              <a:gd name="connsiteX2701" fmla="*/ 2950270 w 6884782"/>
              <a:gd name="connsiteY2701" fmla="*/ 5353986 h 5973007"/>
              <a:gd name="connsiteX2702" fmla="*/ 2945933 w 6884782"/>
              <a:gd name="connsiteY2702" fmla="*/ 5358219 h 5973007"/>
              <a:gd name="connsiteX2703" fmla="*/ 2943455 w 6884782"/>
              <a:gd name="connsiteY2703" fmla="*/ 5358116 h 5973007"/>
              <a:gd name="connsiteX2704" fmla="*/ 2935555 w 6884782"/>
              <a:gd name="connsiteY2704" fmla="*/ 5354295 h 5973007"/>
              <a:gd name="connsiteX2705" fmla="*/ 2941132 w 6884782"/>
              <a:gd name="connsiteY2705" fmla="*/ 5347893 h 5973007"/>
              <a:gd name="connsiteX2706" fmla="*/ 2601909 w 6884782"/>
              <a:gd name="connsiteY2706" fmla="*/ 5347584 h 5973007"/>
              <a:gd name="connsiteX2707" fmla="*/ 2603613 w 6884782"/>
              <a:gd name="connsiteY2707" fmla="*/ 5350165 h 5973007"/>
              <a:gd name="connsiteX2708" fmla="*/ 2593389 w 6884782"/>
              <a:gd name="connsiteY2708" fmla="*/ 5363898 h 5973007"/>
              <a:gd name="connsiteX2709" fmla="*/ 2591221 w 6884782"/>
              <a:gd name="connsiteY2709" fmla="*/ 5362556 h 5973007"/>
              <a:gd name="connsiteX2710" fmla="*/ 2601909 w 6884782"/>
              <a:gd name="connsiteY2710" fmla="*/ 5347584 h 5973007"/>
              <a:gd name="connsiteX2711" fmla="*/ 2754172 w 6884782"/>
              <a:gd name="connsiteY2711" fmla="*/ 5347171 h 5973007"/>
              <a:gd name="connsiteX2712" fmla="*/ 2765944 w 6884782"/>
              <a:gd name="connsiteY2712" fmla="*/ 5353676 h 5973007"/>
              <a:gd name="connsiteX2713" fmla="*/ 2762226 w 6884782"/>
              <a:gd name="connsiteY2713" fmla="*/ 5359975 h 5973007"/>
              <a:gd name="connsiteX2714" fmla="*/ 2760213 w 6884782"/>
              <a:gd name="connsiteY2714" fmla="*/ 5359768 h 5973007"/>
              <a:gd name="connsiteX2715" fmla="*/ 2751074 w 6884782"/>
              <a:gd name="connsiteY2715" fmla="*/ 5355431 h 5973007"/>
              <a:gd name="connsiteX2716" fmla="*/ 2754172 w 6884782"/>
              <a:gd name="connsiteY2716" fmla="*/ 5347171 h 5973007"/>
              <a:gd name="connsiteX2717" fmla="*/ 2801880 w 6884782"/>
              <a:gd name="connsiteY2717" fmla="*/ 5346654 h 5973007"/>
              <a:gd name="connsiteX2718" fmla="*/ 2806372 w 6884782"/>
              <a:gd name="connsiteY2718" fmla="*/ 5350372 h 5973007"/>
              <a:gd name="connsiteX2719" fmla="*/ 2803584 w 6884782"/>
              <a:gd name="connsiteY2719" fmla="*/ 5357083 h 5973007"/>
              <a:gd name="connsiteX2720" fmla="*/ 2800796 w 6884782"/>
              <a:gd name="connsiteY2720" fmla="*/ 5359148 h 5973007"/>
              <a:gd name="connsiteX2721" fmla="*/ 2804823 w 6884782"/>
              <a:gd name="connsiteY2721" fmla="*/ 5361730 h 5973007"/>
              <a:gd name="connsiteX2722" fmla="*/ 2805442 w 6884782"/>
              <a:gd name="connsiteY2722" fmla="*/ 5362866 h 5973007"/>
              <a:gd name="connsiteX2723" fmla="*/ 2805907 w 6884782"/>
              <a:gd name="connsiteY2723" fmla="*/ 5361730 h 5973007"/>
              <a:gd name="connsiteX2724" fmla="*/ 2818453 w 6884782"/>
              <a:gd name="connsiteY2724" fmla="*/ 5354295 h 5973007"/>
              <a:gd name="connsiteX2725" fmla="*/ 2820157 w 6884782"/>
              <a:gd name="connsiteY2725" fmla="*/ 5356774 h 5973007"/>
              <a:gd name="connsiteX2726" fmla="*/ 2821087 w 6884782"/>
              <a:gd name="connsiteY2726" fmla="*/ 5356257 h 5973007"/>
              <a:gd name="connsiteX2727" fmla="*/ 2824804 w 6884782"/>
              <a:gd name="connsiteY2727" fmla="*/ 5355121 h 5973007"/>
              <a:gd name="connsiteX2728" fmla="*/ 2824495 w 6884782"/>
              <a:gd name="connsiteY2728" fmla="*/ 5354605 h 5973007"/>
              <a:gd name="connsiteX2729" fmla="*/ 2825424 w 6884782"/>
              <a:gd name="connsiteY2729" fmla="*/ 5352230 h 5973007"/>
              <a:gd name="connsiteX2730" fmla="*/ 2832085 w 6884782"/>
              <a:gd name="connsiteY2730" fmla="*/ 5350888 h 5973007"/>
              <a:gd name="connsiteX2731" fmla="*/ 2836267 w 6884782"/>
              <a:gd name="connsiteY2731" fmla="*/ 5349339 h 5973007"/>
              <a:gd name="connsiteX2732" fmla="*/ 2831310 w 6884782"/>
              <a:gd name="connsiteY2732" fmla="*/ 5352540 h 5973007"/>
              <a:gd name="connsiteX2733" fmla="*/ 2830535 w 6884782"/>
              <a:gd name="connsiteY2733" fmla="*/ 5355018 h 5973007"/>
              <a:gd name="connsiteX2734" fmla="*/ 2828987 w 6884782"/>
              <a:gd name="connsiteY2734" fmla="*/ 5355741 h 5973007"/>
              <a:gd name="connsiteX2735" fmla="*/ 2829296 w 6884782"/>
              <a:gd name="connsiteY2735" fmla="*/ 5356877 h 5973007"/>
              <a:gd name="connsiteX2736" fmla="*/ 2830535 w 6884782"/>
              <a:gd name="connsiteY2736" fmla="*/ 5359148 h 5973007"/>
              <a:gd name="connsiteX2737" fmla="*/ 2824340 w 6884782"/>
              <a:gd name="connsiteY2737" fmla="*/ 5361317 h 5973007"/>
              <a:gd name="connsiteX2738" fmla="*/ 2821707 w 6884782"/>
              <a:gd name="connsiteY2738" fmla="*/ 5361730 h 5973007"/>
              <a:gd name="connsiteX2739" fmla="*/ 2821707 w 6884782"/>
              <a:gd name="connsiteY2739" fmla="*/ 5362040 h 5973007"/>
              <a:gd name="connsiteX2740" fmla="*/ 2819228 w 6884782"/>
              <a:gd name="connsiteY2740" fmla="*/ 5366686 h 5973007"/>
              <a:gd name="connsiteX2741" fmla="*/ 2817834 w 6884782"/>
              <a:gd name="connsiteY2741" fmla="*/ 5367512 h 5973007"/>
              <a:gd name="connsiteX2742" fmla="*/ 2816130 w 6884782"/>
              <a:gd name="connsiteY2742" fmla="*/ 5377631 h 5973007"/>
              <a:gd name="connsiteX2743" fmla="*/ 2808695 w 6884782"/>
              <a:gd name="connsiteY2743" fmla="*/ 5375566 h 5973007"/>
              <a:gd name="connsiteX2744" fmla="*/ 2808850 w 6884782"/>
              <a:gd name="connsiteY2744" fmla="*/ 5369577 h 5973007"/>
              <a:gd name="connsiteX2745" fmla="*/ 2807456 w 6884782"/>
              <a:gd name="connsiteY2745" fmla="*/ 5368545 h 5973007"/>
              <a:gd name="connsiteX2746" fmla="*/ 2807301 w 6884782"/>
              <a:gd name="connsiteY2746" fmla="*/ 5373088 h 5973007"/>
              <a:gd name="connsiteX2747" fmla="*/ 2804823 w 6884782"/>
              <a:gd name="connsiteY2747" fmla="*/ 5379696 h 5973007"/>
              <a:gd name="connsiteX2748" fmla="*/ 2775547 w 6884782"/>
              <a:gd name="connsiteY2748" fmla="*/ 5401071 h 5973007"/>
              <a:gd name="connsiteX2749" fmla="*/ 2766408 w 6884782"/>
              <a:gd name="connsiteY2749" fmla="*/ 5396837 h 5973007"/>
              <a:gd name="connsiteX2750" fmla="*/ 2770900 w 6884782"/>
              <a:gd name="connsiteY2750" fmla="*/ 5386098 h 5973007"/>
              <a:gd name="connsiteX2751" fmla="*/ 2777406 w 6884782"/>
              <a:gd name="connsiteY2751" fmla="*/ 5376082 h 5973007"/>
              <a:gd name="connsiteX2752" fmla="*/ 2774308 w 6884782"/>
              <a:gd name="connsiteY2752" fmla="*/ 5376909 h 5973007"/>
              <a:gd name="connsiteX2753" fmla="*/ 2769042 w 6884782"/>
              <a:gd name="connsiteY2753" fmla="*/ 5377115 h 5973007"/>
              <a:gd name="connsiteX2754" fmla="*/ 2773224 w 6884782"/>
              <a:gd name="connsiteY2754" fmla="*/ 5371643 h 5973007"/>
              <a:gd name="connsiteX2755" fmla="*/ 2777871 w 6884782"/>
              <a:gd name="connsiteY2755" fmla="*/ 5368648 h 5973007"/>
              <a:gd name="connsiteX2756" fmla="*/ 2777406 w 6884782"/>
              <a:gd name="connsiteY2756" fmla="*/ 5366067 h 5973007"/>
              <a:gd name="connsiteX2757" fmla="*/ 2774928 w 6884782"/>
              <a:gd name="connsiteY2757" fmla="*/ 5369784 h 5973007"/>
              <a:gd name="connsiteX2758" fmla="*/ 2758974 w 6884782"/>
              <a:gd name="connsiteY2758" fmla="*/ 5375773 h 5973007"/>
              <a:gd name="connsiteX2759" fmla="*/ 2766099 w 6884782"/>
              <a:gd name="connsiteY2759" fmla="*/ 5366686 h 5973007"/>
              <a:gd name="connsiteX2760" fmla="*/ 2777251 w 6884782"/>
              <a:gd name="connsiteY2760" fmla="*/ 5364415 h 5973007"/>
              <a:gd name="connsiteX2761" fmla="*/ 2777251 w 6884782"/>
              <a:gd name="connsiteY2761" fmla="*/ 5361833 h 5973007"/>
              <a:gd name="connsiteX2762" fmla="*/ 2780969 w 6884782"/>
              <a:gd name="connsiteY2762" fmla="*/ 5361214 h 5973007"/>
              <a:gd name="connsiteX2763" fmla="*/ 2782673 w 6884782"/>
              <a:gd name="connsiteY2763" fmla="*/ 5362453 h 5973007"/>
              <a:gd name="connsiteX2764" fmla="*/ 2783137 w 6884782"/>
              <a:gd name="connsiteY2764" fmla="*/ 5357290 h 5973007"/>
              <a:gd name="connsiteX2765" fmla="*/ 2788404 w 6884782"/>
              <a:gd name="connsiteY2765" fmla="*/ 5363072 h 5973007"/>
              <a:gd name="connsiteX2766" fmla="*/ 2790727 w 6884782"/>
              <a:gd name="connsiteY2766" fmla="*/ 5363588 h 5973007"/>
              <a:gd name="connsiteX2767" fmla="*/ 2797078 w 6884782"/>
              <a:gd name="connsiteY2767" fmla="*/ 5359252 h 5973007"/>
              <a:gd name="connsiteX2768" fmla="*/ 2796303 w 6884782"/>
              <a:gd name="connsiteY2768" fmla="*/ 5359148 h 5973007"/>
              <a:gd name="connsiteX2769" fmla="*/ 2793980 w 6884782"/>
              <a:gd name="connsiteY2769" fmla="*/ 5355741 h 5973007"/>
              <a:gd name="connsiteX2770" fmla="*/ 2795064 w 6884782"/>
              <a:gd name="connsiteY2770" fmla="*/ 5347584 h 5973007"/>
              <a:gd name="connsiteX2771" fmla="*/ 2801880 w 6884782"/>
              <a:gd name="connsiteY2771" fmla="*/ 5346654 h 5973007"/>
              <a:gd name="connsiteX2772" fmla="*/ 2464671 w 6884782"/>
              <a:gd name="connsiteY2772" fmla="*/ 5344383 h 5973007"/>
              <a:gd name="connsiteX2773" fmla="*/ 2455377 w 6884782"/>
              <a:gd name="connsiteY2773" fmla="*/ 5363176 h 5973007"/>
              <a:gd name="connsiteX2774" fmla="*/ 2451504 w 6884782"/>
              <a:gd name="connsiteY2774" fmla="*/ 5364415 h 5973007"/>
              <a:gd name="connsiteX2775" fmla="*/ 2449956 w 6884782"/>
              <a:gd name="connsiteY2775" fmla="*/ 5363898 h 5973007"/>
              <a:gd name="connsiteX2776" fmla="*/ 2464671 w 6884782"/>
              <a:gd name="connsiteY2776" fmla="*/ 5344383 h 5973007"/>
              <a:gd name="connsiteX2777" fmla="*/ 1746727 w 6884782"/>
              <a:gd name="connsiteY2777" fmla="*/ 5343660 h 5973007"/>
              <a:gd name="connsiteX2778" fmla="*/ 1745332 w 6884782"/>
              <a:gd name="connsiteY2778" fmla="*/ 5348823 h 5973007"/>
              <a:gd name="connsiteX2779" fmla="*/ 1742699 w 6884782"/>
              <a:gd name="connsiteY2779" fmla="*/ 5350372 h 5973007"/>
              <a:gd name="connsiteX2780" fmla="*/ 1740376 w 6884782"/>
              <a:gd name="connsiteY2780" fmla="*/ 5348616 h 5973007"/>
              <a:gd name="connsiteX2781" fmla="*/ 1739756 w 6884782"/>
              <a:gd name="connsiteY2781" fmla="*/ 5345209 h 5973007"/>
              <a:gd name="connsiteX2782" fmla="*/ 1746727 w 6884782"/>
              <a:gd name="connsiteY2782" fmla="*/ 5343660 h 5973007"/>
              <a:gd name="connsiteX2783" fmla="*/ 2745342 w 6884782"/>
              <a:gd name="connsiteY2783" fmla="*/ 5343247 h 5973007"/>
              <a:gd name="connsiteX2784" fmla="*/ 2744723 w 6884782"/>
              <a:gd name="connsiteY2784" fmla="*/ 5355535 h 5973007"/>
              <a:gd name="connsiteX2785" fmla="*/ 2745962 w 6884782"/>
              <a:gd name="connsiteY2785" fmla="*/ 5356051 h 5973007"/>
              <a:gd name="connsiteX2786" fmla="*/ 2746427 w 6884782"/>
              <a:gd name="connsiteY2786" fmla="*/ 5355535 h 5973007"/>
              <a:gd name="connsiteX2787" fmla="*/ 2752158 w 6884782"/>
              <a:gd name="connsiteY2787" fmla="*/ 5362246 h 5973007"/>
              <a:gd name="connsiteX2788" fmla="*/ 2751693 w 6884782"/>
              <a:gd name="connsiteY2788" fmla="*/ 5364311 h 5973007"/>
              <a:gd name="connsiteX2789" fmla="*/ 2751848 w 6884782"/>
              <a:gd name="connsiteY2789" fmla="*/ 5364518 h 5973007"/>
              <a:gd name="connsiteX2790" fmla="*/ 2747976 w 6884782"/>
              <a:gd name="connsiteY2790" fmla="*/ 5367615 h 5973007"/>
              <a:gd name="connsiteX2791" fmla="*/ 2744413 w 6884782"/>
              <a:gd name="connsiteY2791" fmla="*/ 5367203 h 5973007"/>
              <a:gd name="connsiteX2792" fmla="*/ 2743329 w 6884782"/>
              <a:gd name="connsiteY2792" fmla="*/ 5366686 h 5973007"/>
              <a:gd name="connsiteX2793" fmla="*/ 2742245 w 6884782"/>
              <a:gd name="connsiteY2793" fmla="*/ 5370610 h 5973007"/>
              <a:gd name="connsiteX2794" fmla="*/ 2738527 w 6884782"/>
              <a:gd name="connsiteY2794" fmla="*/ 5364105 h 5973007"/>
              <a:gd name="connsiteX2795" fmla="*/ 2738218 w 6884782"/>
              <a:gd name="connsiteY2795" fmla="*/ 5360284 h 5973007"/>
              <a:gd name="connsiteX2796" fmla="*/ 2738063 w 6884782"/>
              <a:gd name="connsiteY2796" fmla="*/ 5360078 h 5973007"/>
              <a:gd name="connsiteX2797" fmla="*/ 2737288 w 6884782"/>
              <a:gd name="connsiteY2797" fmla="*/ 5357187 h 5973007"/>
              <a:gd name="connsiteX2798" fmla="*/ 2737908 w 6884782"/>
              <a:gd name="connsiteY2798" fmla="*/ 5356154 h 5973007"/>
              <a:gd name="connsiteX2799" fmla="*/ 2737753 w 6884782"/>
              <a:gd name="connsiteY2799" fmla="*/ 5355121 h 5973007"/>
              <a:gd name="connsiteX2800" fmla="*/ 2745342 w 6884782"/>
              <a:gd name="connsiteY2800" fmla="*/ 5343247 h 5973007"/>
              <a:gd name="connsiteX2801" fmla="*/ 2514238 w 6884782"/>
              <a:gd name="connsiteY2801" fmla="*/ 5343041 h 5973007"/>
              <a:gd name="connsiteX2802" fmla="*/ 2528333 w 6884782"/>
              <a:gd name="connsiteY2802" fmla="*/ 5352127 h 5973007"/>
              <a:gd name="connsiteX2803" fmla="*/ 2527713 w 6884782"/>
              <a:gd name="connsiteY2803" fmla="*/ 5370920 h 5973007"/>
              <a:gd name="connsiteX2804" fmla="*/ 2522602 w 6884782"/>
              <a:gd name="connsiteY2804" fmla="*/ 5371643 h 5973007"/>
              <a:gd name="connsiteX2805" fmla="*/ 2514238 w 6884782"/>
              <a:gd name="connsiteY2805" fmla="*/ 5362040 h 5973007"/>
              <a:gd name="connsiteX2806" fmla="*/ 2512534 w 6884782"/>
              <a:gd name="connsiteY2806" fmla="*/ 5355844 h 5973007"/>
              <a:gd name="connsiteX2807" fmla="*/ 2512069 w 6884782"/>
              <a:gd name="connsiteY2807" fmla="*/ 5345003 h 5973007"/>
              <a:gd name="connsiteX2808" fmla="*/ 2514238 w 6884782"/>
              <a:gd name="connsiteY2808" fmla="*/ 5343041 h 5973007"/>
              <a:gd name="connsiteX2809" fmla="*/ 2750454 w 6884782"/>
              <a:gd name="connsiteY2809" fmla="*/ 5342731 h 5973007"/>
              <a:gd name="connsiteX2810" fmla="*/ 2762226 w 6884782"/>
              <a:gd name="connsiteY2810" fmla="*/ 5348410 h 5973007"/>
              <a:gd name="connsiteX2811" fmla="*/ 2759748 w 6884782"/>
              <a:gd name="connsiteY2811" fmla="*/ 5348616 h 5973007"/>
              <a:gd name="connsiteX2812" fmla="*/ 2750454 w 6884782"/>
              <a:gd name="connsiteY2812" fmla="*/ 5342731 h 5973007"/>
              <a:gd name="connsiteX2813" fmla="*/ 2665106 w 6884782"/>
              <a:gd name="connsiteY2813" fmla="*/ 5342214 h 5973007"/>
              <a:gd name="connsiteX2814" fmla="*/ 2666191 w 6884782"/>
              <a:gd name="connsiteY2814" fmla="*/ 5348307 h 5973007"/>
              <a:gd name="connsiteX2815" fmla="*/ 2664332 w 6884782"/>
              <a:gd name="connsiteY2815" fmla="*/ 5350475 h 5973007"/>
              <a:gd name="connsiteX2816" fmla="*/ 2659530 w 6884782"/>
              <a:gd name="connsiteY2816" fmla="*/ 5352540 h 5973007"/>
              <a:gd name="connsiteX2817" fmla="*/ 2659840 w 6884782"/>
              <a:gd name="connsiteY2817" fmla="*/ 5353263 h 5973007"/>
              <a:gd name="connsiteX2818" fmla="*/ 2656897 w 6884782"/>
              <a:gd name="connsiteY2818" fmla="*/ 5349339 h 5973007"/>
              <a:gd name="connsiteX2819" fmla="*/ 2665106 w 6884782"/>
              <a:gd name="connsiteY2819" fmla="*/ 5342214 h 5973007"/>
              <a:gd name="connsiteX2820" fmla="*/ 2558073 w 6884782"/>
              <a:gd name="connsiteY2820" fmla="*/ 5339840 h 5973007"/>
              <a:gd name="connsiteX2821" fmla="*/ 2560087 w 6884782"/>
              <a:gd name="connsiteY2821" fmla="*/ 5348410 h 5973007"/>
              <a:gd name="connsiteX2822" fmla="*/ 2554201 w 6884782"/>
              <a:gd name="connsiteY2822" fmla="*/ 5343144 h 5973007"/>
              <a:gd name="connsiteX2823" fmla="*/ 2558073 w 6884782"/>
              <a:gd name="connsiteY2823" fmla="*/ 5339840 h 5973007"/>
              <a:gd name="connsiteX2824" fmla="*/ 2448097 w 6884782"/>
              <a:gd name="connsiteY2824" fmla="*/ 5339633 h 5973007"/>
              <a:gd name="connsiteX2825" fmla="*/ 2451194 w 6884782"/>
              <a:gd name="connsiteY2825" fmla="*/ 5340872 h 5973007"/>
              <a:gd name="connsiteX2826" fmla="*/ 2447322 w 6884782"/>
              <a:gd name="connsiteY2826" fmla="*/ 5344693 h 5973007"/>
              <a:gd name="connsiteX2827" fmla="*/ 2448097 w 6884782"/>
              <a:gd name="connsiteY2827" fmla="*/ 5339633 h 5973007"/>
              <a:gd name="connsiteX2828" fmla="*/ 2284372 w 6884782"/>
              <a:gd name="connsiteY2828" fmla="*/ 5339323 h 5973007"/>
              <a:gd name="connsiteX2829" fmla="*/ 2279725 w 6884782"/>
              <a:gd name="connsiteY2829" fmla="*/ 5349236 h 5973007"/>
              <a:gd name="connsiteX2830" fmla="*/ 2284372 w 6884782"/>
              <a:gd name="connsiteY2830" fmla="*/ 5339323 h 5973007"/>
              <a:gd name="connsiteX2831" fmla="*/ 2670992 w 6884782"/>
              <a:gd name="connsiteY2831" fmla="*/ 5339117 h 5973007"/>
              <a:gd name="connsiteX2832" fmla="*/ 2673626 w 6884782"/>
              <a:gd name="connsiteY2832" fmla="*/ 5343557 h 5973007"/>
              <a:gd name="connsiteX2833" fmla="*/ 2672077 w 6884782"/>
              <a:gd name="connsiteY2833" fmla="*/ 5346138 h 5973007"/>
              <a:gd name="connsiteX2834" fmla="*/ 2675174 w 6884782"/>
              <a:gd name="connsiteY2834" fmla="*/ 5344383 h 5973007"/>
              <a:gd name="connsiteX2835" fmla="*/ 2680596 w 6884782"/>
              <a:gd name="connsiteY2835" fmla="*/ 5344280 h 5973007"/>
              <a:gd name="connsiteX2836" fmla="*/ 2682764 w 6884782"/>
              <a:gd name="connsiteY2836" fmla="*/ 5344796 h 5973007"/>
              <a:gd name="connsiteX2837" fmla="*/ 2686637 w 6884782"/>
              <a:gd name="connsiteY2837" fmla="*/ 5344486 h 5973007"/>
              <a:gd name="connsiteX2838" fmla="*/ 2687411 w 6884782"/>
              <a:gd name="connsiteY2838" fmla="*/ 5355638 h 5973007"/>
              <a:gd name="connsiteX2839" fmla="*/ 2679357 w 6884782"/>
              <a:gd name="connsiteY2839" fmla="*/ 5365654 h 5973007"/>
              <a:gd name="connsiteX2840" fmla="*/ 2676569 w 6884782"/>
              <a:gd name="connsiteY2840" fmla="*/ 5365757 h 5973007"/>
              <a:gd name="connsiteX2841" fmla="*/ 2675794 w 6884782"/>
              <a:gd name="connsiteY2841" fmla="*/ 5368339 h 5973007"/>
              <a:gd name="connsiteX2842" fmla="*/ 2666500 w 6884782"/>
              <a:gd name="connsiteY2842" fmla="*/ 5371849 h 5973007"/>
              <a:gd name="connsiteX2843" fmla="*/ 2663248 w 6884782"/>
              <a:gd name="connsiteY2843" fmla="*/ 5371746 h 5973007"/>
              <a:gd name="connsiteX2844" fmla="*/ 2658601 w 6884782"/>
              <a:gd name="connsiteY2844" fmla="*/ 5365344 h 5973007"/>
              <a:gd name="connsiteX2845" fmla="*/ 2658446 w 6884782"/>
              <a:gd name="connsiteY2845" fmla="*/ 5362040 h 5973007"/>
              <a:gd name="connsiteX2846" fmla="*/ 2667739 w 6884782"/>
              <a:gd name="connsiteY2846" fmla="*/ 5362246 h 5973007"/>
              <a:gd name="connsiteX2847" fmla="*/ 2670218 w 6884782"/>
              <a:gd name="connsiteY2847" fmla="*/ 5362040 h 5973007"/>
              <a:gd name="connsiteX2848" fmla="*/ 2668514 w 6884782"/>
              <a:gd name="connsiteY2848" fmla="*/ 5359871 h 5973007"/>
              <a:gd name="connsiteX2849" fmla="*/ 2668050 w 6884782"/>
              <a:gd name="connsiteY2849" fmla="*/ 5354089 h 5973007"/>
              <a:gd name="connsiteX2850" fmla="*/ 2670683 w 6884782"/>
              <a:gd name="connsiteY2850" fmla="*/ 5347997 h 5973007"/>
              <a:gd name="connsiteX2851" fmla="*/ 2667895 w 6884782"/>
              <a:gd name="connsiteY2851" fmla="*/ 5346551 h 5973007"/>
              <a:gd name="connsiteX2852" fmla="*/ 2670992 w 6884782"/>
              <a:gd name="connsiteY2852" fmla="*/ 5339117 h 5973007"/>
              <a:gd name="connsiteX2853" fmla="*/ 2824650 w 6884782"/>
              <a:gd name="connsiteY2853" fmla="*/ 5337052 h 5973007"/>
              <a:gd name="connsiteX2854" fmla="*/ 2825734 w 6884782"/>
              <a:gd name="connsiteY2854" fmla="*/ 5338807 h 5973007"/>
              <a:gd name="connsiteX2855" fmla="*/ 2825424 w 6884782"/>
              <a:gd name="connsiteY2855" fmla="*/ 5341079 h 5973007"/>
              <a:gd name="connsiteX2856" fmla="*/ 2820003 w 6884782"/>
              <a:gd name="connsiteY2856" fmla="*/ 5347068 h 5973007"/>
              <a:gd name="connsiteX2857" fmla="*/ 2818453 w 6884782"/>
              <a:gd name="connsiteY2857" fmla="*/ 5348100 h 5973007"/>
              <a:gd name="connsiteX2858" fmla="*/ 2817060 w 6884782"/>
              <a:gd name="connsiteY2858" fmla="*/ 5349236 h 5973007"/>
              <a:gd name="connsiteX2859" fmla="*/ 2815356 w 6884782"/>
              <a:gd name="connsiteY2859" fmla="*/ 5349443 h 5973007"/>
              <a:gd name="connsiteX2860" fmla="*/ 2813652 w 6884782"/>
              <a:gd name="connsiteY2860" fmla="*/ 5348307 h 5973007"/>
              <a:gd name="connsiteX2861" fmla="*/ 2824650 w 6884782"/>
              <a:gd name="connsiteY2861" fmla="*/ 5337052 h 5973007"/>
              <a:gd name="connsiteX2862" fmla="*/ 2731557 w 6884782"/>
              <a:gd name="connsiteY2862" fmla="*/ 5336019 h 5973007"/>
              <a:gd name="connsiteX2863" fmla="*/ 2733416 w 6884782"/>
              <a:gd name="connsiteY2863" fmla="*/ 5339530 h 5973007"/>
              <a:gd name="connsiteX2864" fmla="*/ 2728459 w 6884782"/>
              <a:gd name="connsiteY2864" fmla="*/ 5341079 h 5973007"/>
              <a:gd name="connsiteX2865" fmla="*/ 2726600 w 6884782"/>
              <a:gd name="connsiteY2865" fmla="*/ 5337465 h 5973007"/>
              <a:gd name="connsiteX2866" fmla="*/ 2731557 w 6884782"/>
              <a:gd name="connsiteY2866" fmla="*/ 5336019 h 5973007"/>
              <a:gd name="connsiteX2867" fmla="*/ 2621426 w 6884782"/>
              <a:gd name="connsiteY2867" fmla="*/ 5333335 h 5973007"/>
              <a:gd name="connsiteX2868" fmla="*/ 2636915 w 6884782"/>
              <a:gd name="connsiteY2868" fmla="*/ 5339323 h 5973007"/>
              <a:gd name="connsiteX2869" fmla="*/ 2636141 w 6884782"/>
              <a:gd name="connsiteY2869" fmla="*/ 5341079 h 5973007"/>
              <a:gd name="connsiteX2870" fmla="*/ 2633972 w 6884782"/>
              <a:gd name="connsiteY2870" fmla="*/ 5341491 h 5973007"/>
              <a:gd name="connsiteX2871" fmla="*/ 2625918 w 6884782"/>
              <a:gd name="connsiteY2871" fmla="*/ 5338807 h 5973007"/>
              <a:gd name="connsiteX2872" fmla="*/ 2624214 w 6884782"/>
              <a:gd name="connsiteY2872" fmla="*/ 5337775 h 5973007"/>
              <a:gd name="connsiteX2873" fmla="*/ 2622510 w 6884782"/>
              <a:gd name="connsiteY2873" fmla="*/ 5336845 h 5973007"/>
              <a:gd name="connsiteX2874" fmla="*/ 2621426 w 6884782"/>
              <a:gd name="connsiteY2874" fmla="*/ 5333335 h 5973007"/>
              <a:gd name="connsiteX2875" fmla="*/ 2344936 w 6884782"/>
              <a:gd name="connsiteY2875" fmla="*/ 5333128 h 5973007"/>
              <a:gd name="connsiteX2876" fmla="*/ 2348963 w 6884782"/>
              <a:gd name="connsiteY2876" fmla="*/ 5333231 h 5973007"/>
              <a:gd name="connsiteX2877" fmla="*/ 2350512 w 6884782"/>
              <a:gd name="connsiteY2877" fmla="*/ 5334986 h 5973007"/>
              <a:gd name="connsiteX2878" fmla="*/ 2350357 w 6884782"/>
              <a:gd name="connsiteY2878" fmla="*/ 5335916 h 5973007"/>
              <a:gd name="connsiteX2879" fmla="*/ 2348498 w 6884782"/>
              <a:gd name="connsiteY2879" fmla="*/ 5336536 h 5973007"/>
              <a:gd name="connsiteX2880" fmla="*/ 2340443 w 6884782"/>
              <a:gd name="connsiteY2880" fmla="*/ 5335709 h 5973007"/>
              <a:gd name="connsiteX2881" fmla="*/ 2338740 w 6884782"/>
              <a:gd name="connsiteY2881" fmla="*/ 5335709 h 5973007"/>
              <a:gd name="connsiteX2882" fmla="*/ 2337191 w 6884782"/>
              <a:gd name="connsiteY2882" fmla="*/ 5333954 h 5973007"/>
              <a:gd name="connsiteX2883" fmla="*/ 2344936 w 6884782"/>
              <a:gd name="connsiteY2883" fmla="*/ 5333128 h 5973007"/>
              <a:gd name="connsiteX2884" fmla="*/ 2590679 w 6884782"/>
              <a:gd name="connsiteY2884" fmla="*/ 5333102 h 5973007"/>
              <a:gd name="connsiteX2885" fmla="*/ 2596487 w 6884782"/>
              <a:gd name="connsiteY2885" fmla="*/ 5334986 h 5973007"/>
              <a:gd name="connsiteX2886" fmla="*/ 2597881 w 6884782"/>
              <a:gd name="connsiteY2886" fmla="*/ 5340149 h 5973007"/>
              <a:gd name="connsiteX2887" fmla="*/ 2592615 w 6884782"/>
              <a:gd name="connsiteY2887" fmla="*/ 5341698 h 5973007"/>
              <a:gd name="connsiteX2888" fmla="*/ 2587658 w 6884782"/>
              <a:gd name="connsiteY2888" fmla="*/ 5340356 h 5973007"/>
              <a:gd name="connsiteX2889" fmla="*/ 2590679 w 6884782"/>
              <a:gd name="connsiteY2889" fmla="*/ 5333102 h 5973007"/>
              <a:gd name="connsiteX2890" fmla="*/ 2787475 w 6884782"/>
              <a:gd name="connsiteY2890" fmla="*/ 5332921 h 5973007"/>
              <a:gd name="connsiteX2891" fmla="*/ 2786700 w 6884782"/>
              <a:gd name="connsiteY2891" fmla="*/ 5335090 h 5973007"/>
              <a:gd name="connsiteX2892" fmla="*/ 2786080 w 6884782"/>
              <a:gd name="connsiteY2892" fmla="*/ 5336019 h 5973007"/>
              <a:gd name="connsiteX2893" fmla="*/ 2789643 w 6884782"/>
              <a:gd name="connsiteY2893" fmla="*/ 5337775 h 5973007"/>
              <a:gd name="connsiteX2894" fmla="*/ 2790572 w 6884782"/>
              <a:gd name="connsiteY2894" fmla="*/ 5339530 h 5973007"/>
              <a:gd name="connsiteX2895" fmla="*/ 2791502 w 6884782"/>
              <a:gd name="connsiteY2895" fmla="*/ 5333954 h 5973007"/>
              <a:gd name="connsiteX2896" fmla="*/ 2790418 w 6884782"/>
              <a:gd name="connsiteY2896" fmla="*/ 5335193 h 5973007"/>
              <a:gd name="connsiteX2897" fmla="*/ 2788249 w 6884782"/>
              <a:gd name="connsiteY2897" fmla="*/ 5334057 h 5973007"/>
              <a:gd name="connsiteX2898" fmla="*/ 2828832 w 6884782"/>
              <a:gd name="connsiteY2898" fmla="*/ 5330856 h 5973007"/>
              <a:gd name="connsiteX2899" fmla="*/ 2830381 w 6884782"/>
              <a:gd name="connsiteY2899" fmla="*/ 5330856 h 5973007"/>
              <a:gd name="connsiteX2900" fmla="*/ 2829606 w 6884782"/>
              <a:gd name="connsiteY2900" fmla="*/ 5331579 h 5973007"/>
              <a:gd name="connsiteX2901" fmla="*/ 2828832 w 6884782"/>
              <a:gd name="connsiteY2901" fmla="*/ 5330856 h 5973007"/>
              <a:gd name="connsiteX2902" fmla="*/ 2244563 w 6884782"/>
              <a:gd name="connsiteY2902" fmla="*/ 5330547 h 5973007"/>
              <a:gd name="connsiteX2903" fmla="*/ 2248591 w 6884782"/>
              <a:gd name="connsiteY2903" fmla="*/ 5330650 h 5973007"/>
              <a:gd name="connsiteX2904" fmla="*/ 2261602 w 6884782"/>
              <a:gd name="connsiteY2904" fmla="*/ 5334367 h 5973007"/>
              <a:gd name="connsiteX2905" fmla="*/ 2255716 w 6884782"/>
              <a:gd name="connsiteY2905" fmla="*/ 5335296 h 5973007"/>
              <a:gd name="connsiteX2906" fmla="*/ 2242395 w 6884782"/>
              <a:gd name="connsiteY2906" fmla="*/ 5334986 h 5973007"/>
              <a:gd name="connsiteX2907" fmla="*/ 2241001 w 6884782"/>
              <a:gd name="connsiteY2907" fmla="*/ 5333128 h 5973007"/>
              <a:gd name="connsiteX2908" fmla="*/ 2240226 w 6884782"/>
              <a:gd name="connsiteY2908" fmla="*/ 5333128 h 5973007"/>
              <a:gd name="connsiteX2909" fmla="*/ 2239452 w 6884782"/>
              <a:gd name="connsiteY2909" fmla="*/ 5332302 h 5973007"/>
              <a:gd name="connsiteX2910" fmla="*/ 2239452 w 6884782"/>
              <a:gd name="connsiteY2910" fmla="*/ 5331373 h 5973007"/>
              <a:gd name="connsiteX2911" fmla="*/ 2244563 w 6884782"/>
              <a:gd name="connsiteY2911" fmla="*/ 5330547 h 5973007"/>
              <a:gd name="connsiteX2912" fmla="*/ 2425946 w 6884782"/>
              <a:gd name="connsiteY2912" fmla="*/ 5329617 h 5973007"/>
              <a:gd name="connsiteX2913" fmla="*/ 2423003 w 6884782"/>
              <a:gd name="connsiteY2913" fmla="*/ 5336019 h 5973007"/>
              <a:gd name="connsiteX2914" fmla="*/ 2420370 w 6884782"/>
              <a:gd name="connsiteY2914" fmla="*/ 5336019 h 5973007"/>
              <a:gd name="connsiteX2915" fmla="*/ 2425946 w 6884782"/>
              <a:gd name="connsiteY2915" fmla="*/ 5329617 h 5973007"/>
              <a:gd name="connsiteX2916" fmla="*/ 2607950 w 6884782"/>
              <a:gd name="connsiteY2916" fmla="*/ 5327965 h 5973007"/>
              <a:gd name="connsiteX2917" fmla="*/ 2614765 w 6884782"/>
              <a:gd name="connsiteY2917" fmla="*/ 5330237 h 5973007"/>
              <a:gd name="connsiteX2918" fmla="*/ 2610118 w 6884782"/>
              <a:gd name="connsiteY2918" fmla="*/ 5342421 h 5973007"/>
              <a:gd name="connsiteX2919" fmla="*/ 2607950 w 6884782"/>
              <a:gd name="connsiteY2919" fmla="*/ 5327965 h 5973007"/>
              <a:gd name="connsiteX2920" fmla="*/ 2394038 w 6884782"/>
              <a:gd name="connsiteY2920" fmla="*/ 5326210 h 5973007"/>
              <a:gd name="connsiteX2921" fmla="*/ 2399459 w 6884782"/>
              <a:gd name="connsiteY2921" fmla="*/ 5328894 h 5973007"/>
              <a:gd name="connsiteX2922" fmla="*/ 2398530 w 6884782"/>
              <a:gd name="connsiteY2922" fmla="*/ 5330650 h 5973007"/>
              <a:gd name="connsiteX2923" fmla="*/ 2395897 w 6884782"/>
              <a:gd name="connsiteY2923" fmla="*/ 5331992 h 5973007"/>
              <a:gd name="connsiteX2924" fmla="*/ 2393418 w 6884782"/>
              <a:gd name="connsiteY2924" fmla="*/ 5331373 h 5973007"/>
              <a:gd name="connsiteX2925" fmla="*/ 2394038 w 6884782"/>
              <a:gd name="connsiteY2925" fmla="*/ 5326210 h 5973007"/>
              <a:gd name="connsiteX2926" fmla="*/ 2677227 w 6884782"/>
              <a:gd name="connsiteY2926" fmla="*/ 5323641 h 5973007"/>
              <a:gd name="connsiteX2927" fmla="*/ 2678273 w 6884782"/>
              <a:gd name="connsiteY2927" fmla="*/ 5329927 h 5973007"/>
              <a:gd name="connsiteX2928" fmla="*/ 2671302 w 6884782"/>
              <a:gd name="connsiteY2928" fmla="*/ 5326726 h 5973007"/>
              <a:gd name="connsiteX2929" fmla="*/ 2677227 w 6884782"/>
              <a:gd name="connsiteY2929" fmla="*/ 5323641 h 5973007"/>
              <a:gd name="connsiteX2930" fmla="*/ 2731867 w 6884782"/>
              <a:gd name="connsiteY2930" fmla="*/ 5322802 h 5973007"/>
              <a:gd name="connsiteX2931" fmla="*/ 2740386 w 6884782"/>
              <a:gd name="connsiteY2931" fmla="*/ 5328481 h 5973007"/>
              <a:gd name="connsiteX2932" fmla="*/ 2736668 w 6884782"/>
              <a:gd name="connsiteY2932" fmla="*/ 5331166 h 5973007"/>
              <a:gd name="connsiteX2933" fmla="*/ 2731867 w 6884782"/>
              <a:gd name="connsiteY2933" fmla="*/ 5322802 h 5973007"/>
              <a:gd name="connsiteX2934" fmla="*/ 2689348 w 6884782"/>
              <a:gd name="connsiteY2934" fmla="*/ 5322312 h 5973007"/>
              <a:gd name="connsiteX2935" fmla="*/ 2694537 w 6884782"/>
              <a:gd name="connsiteY2935" fmla="*/ 5325900 h 5973007"/>
              <a:gd name="connsiteX2936" fmla="*/ 2692988 w 6884782"/>
              <a:gd name="connsiteY2936" fmla="*/ 5347893 h 5973007"/>
              <a:gd name="connsiteX2937" fmla="*/ 2686017 w 6884782"/>
              <a:gd name="connsiteY2937" fmla="*/ 5338601 h 5973007"/>
              <a:gd name="connsiteX2938" fmla="*/ 2683229 w 6884782"/>
              <a:gd name="connsiteY2938" fmla="*/ 5324764 h 5973007"/>
              <a:gd name="connsiteX2939" fmla="*/ 2689348 w 6884782"/>
              <a:gd name="connsiteY2939" fmla="*/ 5322312 h 5973007"/>
              <a:gd name="connsiteX2940" fmla="*/ 2194686 w 6884782"/>
              <a:gd name="connsiteY2940" fmla="*/ 5320427 h 5973007"/>
              <a:gd name="connsiteX2941" fmla="*/ 2197165 w 6884782"/>
              <a:gd name="connsiteY2941" fmla="*/ 5326623 h 5973007"/>
              <a:gd name="connsiteX2942" fmla="*/ 2194532 w 6884782"/>
              <a:gd name="connsiteY2942" fmla="*/ 5327242 h 5973007"/>
              <a:gd name="connsiteX2943" fmla="*/ 2191589 w 6884782"/>
              <a:gd name="connsiteY2943" fmla="*/ 5326623 h 5973007"/>
              <a:gd name="connsiteX2944" fmla="*/ 2194686 w 6884782"/>
              <a:gd name="connsiteY2944" fmla="*/ 5320427 h 5973007"/>
              <a:gd name="connsiteX2945" fmla="*/ 2662008 w 6884782"/>
              <a:gd name="connsiteY2945" fmla="*/ 5318466 h 5973007"/>
              <a:gd name="connsiteX2946" fmla="*/ 2669908 w 6884782"/>
              <a:gd name="connsiteY2946" fmla="*/ 5326623 h 5973007"/>
              <a:gd name="connsiteX2947" fmla="*/ 2674555 w 6884782"/>
              <a:gd name="connsiteY2947" fmla="*/ 5338291 h 5973007"/>
              <a:gd name="connsiteX2948" fmla="*/ 2664487 w 6884782"/>
              <a:gd name="connsiteY2948" fmla="*/ 5331063 h 5973007"/>
              <a:gd name="connsiteX2949" fmla="*/ 2662008 w 6884782"/>
              <a:gd name="connsiteY2949" fmla="*/ 5318466 h 5973007"/>
              <a:gd name="connsiteX2950" fmla="*/ 2921924 w 6884782"/>
              <a:gd name="connsiteY2950" fmla="*/ 5317123 h 5973007"/>
              <a:gd name="connsiteX2951" fmla="*/ 2923938 w 6884782"/>
              <a:gd name="connsiteY2951" fmla="*/ 5318362 h 5973007"/>
              <a:gd name="connsiteX2952" fmla="*/ 2922389 w 6884782"/>
              <a:gd name="connsiteY2952" fmla="*/ 5326726 h 5973007"/>
              <a:gd name="connsiteX2953" fmla="*/ 2920685 w 6884782"/>
              <a:gd name="connsiteY2953" fmla="*/ 5318775 h 5973007"/>
              <a:gd name="connsiteX2954" fmla="*/ 2921924 w 6884782"/>
              <a:gd name="connsiteY2954" fmla="*/ 5317123 h 5973007"/>
              <a:gd name="connsiteX2955" fmla="*/ 2776167 w 6884782"/>
              <a:gd name="connsiteY2955" fmla="*/ 5314851 h 5973007"/>
              <a:gd name="connsiteX2956" fmla="*/ 2768267 w 6884782"/>
              <a:gd name="connsiteY2956" fmla="*/ 5331786 h 5973007"/>
              <a:gd name="connsiteX2957" fmla="*/ 2776167 w 6884782"/>
              <a:gd name="connsiteY2957" fmla="*/ 5314851 h 5973007"/>
              <a:gd name="connsiteX2958" fmla="*/ 2318139 w 6884782"/>
              <a:gd name="connsiteY2958" fmla="*/ 5314232 h 5973007"/>
              <a:gd name="connsiteX2959" fmla="*/ 2319533 w 6884782"/>
              <a:gd name="connsiteY2959" fmla="*/ 5317536 h 5973007"/>
              <a:gd name="connsiteX2960" fmla="*/ 2310084 w 6884782"/>
              <a:gd name="connsiteY2960" fmla="*/ 5322802 h 5973007"/>
              <a:gd name="connsiteX2961" fmla="*/ 2308225 w 6884782"/>
              <a:gd name="connsiteY2961" fmla="*/ 5317846 h 5973007"/>
              <a:gd name="connsiteX2962" fmla="*/ 2318139 w 6884782"/>
              <a:gd name="connsiteY2962" fmla="*/ 5314232 h 5973007"/>
              <a:gd name="connsiteX2963" fmla="*/ 2648378 w 6884782"/>
              <a:gd name="connsiteY2963" fmla="*/ 5313509 h 5973007"/>
              <a:gd name="connsiteX2964" fmla="*/ 2651475 w 6884782"/>
              <a:gd name="connsiteY2964" fmla="*/ 5316813 h 5973007"/>
              <a:gd name="connsiteX2965" fmla="*/ 2641252 w 6884782"/>
              <a:gd name="connsiteY2965" fmla="*/ 5330856 h 5973007"/>
              <a:gd name="connsiteX2966" fmla="*/ 2637999 w 6884782"/>
              <a:gd name="connsiteY2966" fmla="*/ 5330547 h 5973007"/>
              <a:gd name="connsiteX2967" fmla="*/ 2648378 w 6884782"/>
              <a:gd name="connsiteY2967" fmla="*/ 5313509 h 5973007"/>
              <a:gd name="connsiteX2968" fmla="*/ 2794909 w 6884782"/>
              <a:gd name="connsiteY2968" fmla="*/ 5313406 h 5973007"/>
              <a:gd name="connsiteX2969" fmla="*/ 2789798 w 6884782"/>
              <a:gd name="connsiteY2969" fmla="*/ 5327139 h 5973007"/>
              <a:gd name="connsiteX2970" fmla="*/ 2792896 w 6884782"/>
              <a:gd name="connsiteY2970" fmla="*/ 5328172 h 5973007"/>
              <a:gd name="connsiteX2971" fmla="*/ 2792896 w 6884782"/>
              <a:gd name="connsiteY2971" fmla="*/ 5329101 h 5973007"/>
              <a:gd name="connsiteX2972" fmla="*/ 2794290 w 6884782"/>
              <a:gd name="connsiteY2972" fmla="*/ 5327242 h 5973007"/>
              <a:gd name="connsiteX2973" fmla="*/ 2798472 w 6884782"/>
              <a:gd name="connsiteY2973" fmla="*/ 5326107 h 5973007"/>
              <a:gd name="connsiteX2974" fmla="*/ 2798782 w 6884782"/>
              <a:gd name="connsiteY2974" fmla="*/ 5326726 h 5973007"/>
              <a:gd name="connsiteX2975" fmla="*/ 2798937 w 6884782"/>
              <a:gd name="connsiteY2975" fmla="*/ 5326210 h 5973007"/>
              <a:gd name="connsiteX2976" fmla="*/ 2799246 w 6884782"/>
              <a:gd name="connsiteY2976" fmla="*/ 5326210 h 5973007"/>
              <a:gd name="connsiteX2977" fmla="*/ 2799246 w 6884782"/>
              <a:gd name="connsiteY2977" fmla="*/ 5324145 h 5973007"/>
              <a:gd name="connsiteX2978" fmla="*/ 2806217 w 6884782"/>
              <a:gd name="connsiteY2978" fmla="*/ 5314025 h 5973007"/>
              <a:gd name="connsiteX2979" fmla="*/ 2809160 w 6884782"/>
              <a:gd name="connsiteY2979" fmla="*/ 5315265 h 5973007"/>
              <a:gd name="connsiteX2980" fmla="*/ 2809005 w 6884782"/>
              <a:gd name="connsiteY2980" fmla="*/ 5314955 h 5973007"/>
              <a:gd name="connsiteX2981" fmla="*/ 2809779 w 6884782"/>
              <a:gd name="connsiteY2981" fmla="*/ 5315368 h 5973007"/>
              <a:gd name="connsiteX2982" fmla="*/ 2809779 w 6884782"/>
              <a:gd name="connsiteY2982" fmla="*/ 5315575 h 5973007"/>
              <a:gd name="connsiteX2983" fmla="*/ 2810864 w 6884782"/>
              <a:gd name="connsiteY2983" fmla="*/ 5315058 h 5973007"/>
              <a:gd name="connsiteX2984" fmla="*/ 2812258 w 6884782"/>
              <a:gd name="connsiteY2984" fmla="*/ 5316710 h 5973007"/>
              <a:gd name="connsiteX2985" fmla="*/ 2813807 w 6884782"/>
              <a:gd name="connsiteY2985" fmla="*/ 5317433 h 5973007"/>
              <a:gd name="connsiteX2986" fmla="*/ 2821397 w 6884782"/>
              <a:gd name="connsiteY2986" fmla="*/ 5336432 h 5973007"/>
              <a:gd name="connsiteX2987" fmla="*/ 2809470 w 6884782"/>
              <a:gd name="connsiteY2987" fmla="*/ 5342627 h 5973007"/>
              <a:gd name="connsiteX2988" fmla="*/ 2803584 w 6884782"/>
              <a:gd name="connsiteY2988" fmla="*/ 5339530 h 5973007"/>
              <a:gd name="connsiteX2989" fmla="*/ 2802499 w 6884782"/>
              <a:gd name="connsiteY2989" fmla="*/ 5338084 h 5973007"/>
              <a:gd name="connsiteX2990" fmla="*/ 2798627 w 6884782"/>
              <a:gd name="connsiteY2990" fmla="*/ 5338601 h 5973007"/>
              <a:gd name="connsiteX2991" fmla="*/ 2798317 w 6884782"/>
              <a:gd name="connsiteY2991" fmla="*/ 5337775 h 5973007"/>
              <a:gd name="connsiteX2992" fmla="*/ 2796923 w 6884782"/>
              <a:gd name="connsiteY2992" fmla="*/ 5339220 h 5973007"/>
              <a:gd name="connsiteX2993" fmla="*/ 2790882 w 6884782"/>
              <a:gd name="connsiteY2993" fmla="*/ 5340046 h 5973007"/>
              <a:gd name="connsiteX2994" fmla="*/ 2791192 w 6884782"/>
              <a:gd name="connsiteY2994" fmla="*/ 5340459 h 5973007"/>
              <a:gd name="connsiteX2995" fmla="*/ 2791502 w 6884782"/>
              <a:gd name="connsiteY2995" fmla="*/ 5343041 h 5973007"/>
              <a:gd name="connsiteX2996" fmla="*/ 2789023 w 6884782"/>
              <a:gd name="connsiteY2996" fmla="*/ 5343763 h 5973007"/>
              <a:gd name="connsiteX2997" fmla="*/ 2783912 w 6884782"/>
              <a:gd name="connsiteY2997" fmla="*/ 5340976 h 5973007"/>
              <a:gd name="connsiteX2998" fmla="*/ 2783292 w 6884782"/>
              <a:gd name="connsiteY2998" fmla="*/ 5340253 h 5973007"/>
              <a:gd name="connsiteX2999" fmla="*/ 2780039 w 6884782"/>
              <a:gd name="connsiteY2999" fmla="*/ 5345312 h 5973007"/>
              <a:gd name="connsiteX3000" fmla="*/ 2776631 w 6884782"/>
              <a:gd name="connsiteY3000" fmla="*/ 5348616 h 5973007"/>
              <a:gd name="connsiteX3001" fmla="*/ 2775392 w 6884782"/>
              <a:gd name="connsiteY3001" fmla="*/ 5352953 h 5973007"/>
              <a:gd name="connsiteX3002" fmla="*/ 2774463 w 6884782"/>
              <a:gd name="connsiteY3002" fmla="*/ 5350475 h 5973007"/>
              <a:gd name="connsiteX3003" fmla="*/ 2770126 w 6884782"/>
              <a:gd name="connsiteY3003" fmla="*/ 5354605 h 5973007"/>
              <a:gd name="connsiteX3004" fmla="*/ 2769352 w 6884782"/>
              <a:gd name="connsiteY3004" fmla="*/ 5341285 h 5973007"/>
              <a:gd name="connsiteX3005" fmla="*/ 2794909 w 6884782"/>
              <a:gd name="connsiteY3005" fmla="*/ 5313406 h 5973007"/>
              <a:gd name="connsiteX3006" fmla="*/ 1814571 w 6884782"/>
              <a:gd name="connsiteY3006" fmla="*/ 5311651 h 5973007"/>
              <a:gd name="connsiteX3007" fmla="*/ 1820147 w 6884782"/>
              <a:gd name="connsiteY3007" fmla="*/ 5313509 h 5973007"/>
              <a:gd name="connsiteX3008" fmla="*/ 1820768 w 6884782"/>
              <a:gd name="connsiteY3008" fmla="*/ 5316090 h 5973007"/>
              <a:gd name="connsiteX3009" fmla="*/ 1819373 w 6884782"/>
              <a:gd name="connsiteY3009" fmla="*/ 5321253 h 5973007"/>
              <a:gd name="connsiteX3010" fmla="*/ 1820147 w 6884782"/>
              <a:gd name="connsiteY3010" fmla="*/ 5321253 h 5973007"/>
              <a:gd name="connsiteX3011" fmla="*/ 1815036 w 6884782"/>
              <a:gd name="connsiteY3011" fmla="*/ 5322080 h 5973007"/>
              <a:gd name="connsiteX3012" fmla="*/ 1812093 w 6884782"/>
              <a:gd name="connsiteY3012" fmla="*/ 5318672 h 5973007"/>
              <a:gd name="connsiteX3013" fmla="*/ 1814571 w 6884782"/>
              <a:gd name="connsiteY3013" fmla="*/ 5311651 h 5973007"/>
              <a:gd name="connsiteX3014" fmla="*/ 2628860 w 6884782"/>
              <a:gd name="connsiteY3014" fmla="*/ 5310308 h 5973007"/>
              <a:gd name="connsiteX3015" fmla="*/ 2634127 w 6884782"/>
              <a:gd name="connsiteY3015" fmla="*/ 5315678 h 5973007"/>
              <a:gd name="connsiteX3016" fmla="*/ 2629325 w 6884782"/>
              <a:gd name="connsiteY3016" fmla="*/ 5324557 h 5973007"/>
              <a:gd name="connsiteX3017" fmla="*/ 2625453 w 6884782"/>
              <a:gd name="connsiteY3017" fmla="*/ 5324351 h 5973007"/>
              <a:gd name="connsiteX3018" fmla="*/ 2620031 w 6884782"/>
              <a:gd name="connsiteY3018" fmla="*/ 5320221 h 5973007"/>
              <a:gd name="connsiteX3019" fmla="*/ 2628860 w 6884782"/>
              <a:gd name="connsiteY3019" fmla="*/ 5310308 h 5973007"/>
              <a:gd name="connsiteX3020" fmla="*/ 2928895 w 6884782"/>
              <a:gd name="connsiteY3020" fmla="*/ 5309895 h 5973007"/>
              <a:gd name="connsiteX3021" fmla="*/ 2929050 w 6884782"/>
              <a:gd name="connsiteY3021" fmla="*/ 5312477 h 5973007"/>
              <a:gd name="connsiteX3022" fmla="*/ 2930289 w 6884782"/>
              <a:gd name="connsiteY3022" fmla="*/ 5314232 h 5973007"/>
              <a:gd name="connsiteX3023" fmla="*/ 2929824 w 6884782"/>
              <a:gd name="connsiteY3023" fmla="*/ 5312683 h 5973007"/>
              <a:gd name="connsiteX3024" fmla="*/ 2930754 w 6884782"/>
              <a:gd name="connsiteY3024" fmla="*/ 5310618 h 5973007"/>
              <a:gd name="connsiteX3025" fmla="*/ 2479231 w 6884782"/>
              <a:gd name="connsiteY3025" fmla="*/ 5308863 h 5973007"/>
              <a:gd name="connsiteX3026" fmla="*/ 2487595 w 6884782"/>
              <a:gd name="connsiteY3026" fmla="*/ 5315368 h 5973007"/>
              <a:gd name="connsiteX3027" fmla="*/ 2488060 w 6884782"/>
              <a:gd name="connsiteY3027" fmla="*/ 5317846 h 5973007"/>
              <a:gd name="connsiteX3028" fmla="*/ 2488989 w 6884782"/>
              <a:gd name="connsiteY3028" fmla="*/ 5319395 h 5973007"/>
              <a:gd name="connsiteX3029" fmla="*/ 2489454 w 6884782"/>
              <a:gd name="connsiteY3029" fmla="*/ 5322286 h 5973007"/>
              <a:gd name="connsiteX3030" fmla="*/ 2498903 w 6884782"/>
              <a:gd name="connsiteY3030" fmla="*/ 5316813 h 5973007"/>
              <a:gd name="connsiteX3031" fmla="*/ 2526629 w 6884782"/>
              <a:gd name="connsiteY3031" fmla="*/ 5320221 h 5973007"/>
              <a:gd name="connsiteX3032" fmla="*/ 2513927 w 6884782"/>
              <a:gd name="connsiteY3032" fmla="*/ 5324661 h 5973007"/>
              <a:gd name="connsiteX3033" fmla="*/ 2513463 w 6884782"/>
              <a:gd name="connsiteY3033" fmla="*/ 5326313 h 5973007"/>
              <a:gd name="connsiteX3034" fmla="*/ 2512688 w 6884782"/>
              <a:gd name="connsiteY3034" fmla="*/ 5326416 h 5973007"/>
              <a:gd name="connsiteX3035" fmla="*/ 2512379 w 6884782"/>
              <a:gd name="connsiteY3035" fmla="*/ 5326623 h 5973007"/>
              <a:gd name="connsiteX3036" fmla="*/ 2511294 w 6884782"/>
              <a:gd name="connsiteY3036" fmla="*/ 5325900 h 5973007"/>
              <a:gd name="connsiteX3037" fmla="*/ 2502620 w 6884782"/>
              <a:gd name="connsiteY3037" fmla="*/ 5330030 h 5973007"/>
              <a:gd name="connsiteX3038" fmla="*/ 2475978 w 6884782"/>
              <a:gd name="connsiteY3038" fmla="*/ 5337155 h 5973007"/>
              <a:gd name="connsiteX3039" fmla="*/ 2484033 w 6884782"/>
              <a:gd name="connsiteY3039" fmla="*/ 5325384 h 5973007"/>
              <a:gd name="connsiteX3040" fmla="*/ 2486821 w 6884782"/>
              <a:gd name="connsiteY3040" fmla="*/ 5323835 h 5973007"/>
              <a:gd name="connsiteX3041" fmla="*/ 2481399 w 6884782"/>
              <a:gd name="connsiteY3041" fmla="*/ 5317846 h 5973007"/>
              <a:gd name="connsiteX3042" fmla="*/ 2477837 w 6884782"/>
              <a:gd name="connsiteY3042" fmla="*/ 5312374 h 5973007"/>
              <a:gd name="connsiteX3043" fmla="*/ 2477527 w 6884782"/>
              <a:gd name="connsiteY3043" fmla="*/ 5310412 h 5973007"/>
              <a:gd name="connsiteX3044" fmla="*/ 2479231 w 6884782"/>
              <a:gd name="connsiteY3044" fmla="*/ 5308863 h 5973007"/>
              <a:gd name="connsiteX3045" fmla="*/ 2687566 w 6884782"/>
              <a:gd name="connsiteY3045" fmla="*/ 5308759 h 5973007"/>
              <a:gd name="connsiteX3046" fmla="*/ 2696705 w 6884782"/>
              <a:gd name="connsiteY3046" fmla="*/ 5315987 h 5973007"/>
              <a:gd name="connsiteX3047" fmla="*/ 2690509 w 6884782"/>
              <a:gd name="connsiteY3047" fmla="*/ 5318672 h 5973007"/>
              <a:gd name="connsiteX3048" fmla="*/ 2684778 w 6884782"/>
              <a:gd name="connsiteY3048" fmla="*/ 5315368 h 5973007"/>
              <a:gd name="connsiteX3049" fmla="*/ 2684159 w 6884782"/>
              <a:gd name="connsiteY3049" fmla="*/ 5312477 h 5973007"/>
              <a:gd name="connsiteX3050" fmla="*/ 2682455 w 6884782"/>
              <a:gd name="connsiteY3050" fmla="*/ 5313406 h 5973007"/>
              <a:gd name="connsiteX3051" fmla="*/ 2683229 w 6884782"/>
              <a:gd name="connsiteY3051" fmla="*/ 5315678 h 5973007"/>
              <a:gd name="connsiteX3052" fmla="*/ 2681680 w 6884782"/>
              <a:gd name="connsiteY3052" fmla="*/ 5319911 h 5973007"/>
              <a:gd name="connsiteX3053" fmla="*/ 2679047 w 6884782"/>
              <a:gd name="connsiteY3053" fmla="*/ 5320427 h 5973007"/>
              <a:gd name="connsiteX3054" fmla="*/ 2676414 w 6884782"/>
              <a:gd name="connsiteY3054" fmla="*/ 5314645 h 5973007"/>
              <a:gd name="connsiteX3055" fmla="*/ 2677963 w 6884782"/>
              <a:gd name="connsiteY3055" fmla="*/ 5312477 h 5973007"/>
              <a:gd name="connsiteX3056" fmla="*/ 2679821 w 6884782"/>
              <a:gd name="connsiteY3056" fmla="*/ 5311651 h 5973007"/>
              <a:gd name="connsiteX3057" fmla="*/ 2681525 w 6884782"/>
              <a:gd name="connsiteY3057" fmla="*/ 5312167 h 5973007"/>
              <a:gd name="connsiteX3058" fmla="*/ 2681216 w 6884782"/>
              <a:gd name="connsiteY3058" fmla="*/ 5310928 h 5973007"/>
              <a:gd name="connsiteX3059" fmla="*/ 2684004 w 6884782"/>
              <a:gd name="connsiteY3059" fmla="*/ 5310412 h 5973007"/>
              <a:gd name="connsiteX3060" fmla="*/ 2684314 w 6884782"/>
              <a:gd name="connsiteY3060" fmla="*/ 5310928 h 5973007"/>
              <a:gd name="connsiteX3061" fmla="*/ 2406894 w 6884782"/>
              <a:gd name="connsiteY3061" fmla="*/ 5304939 h 5973007"/>
              <a:gd name="connsiteX3062" fmla="*/ 2415413 w 6884782"/>
              <a:gd name="connsiteY3062" fmla="*/ 5336226 h 5973007"/>
              <a:gd name="connsiteX3063" fmla="*/ 2404106 w 6884782"/>
              <a:gd name="connsiteY3063" fmla="*/ 5322802 h 5973007"/>
              <a:gd name="connsiteX3064" fmla="*/ 2406894 w 6884782"/>
              <a:gd name="connsiteY3064" fmla="*/ 5304939 h 5973007"/>
              <a:gd name="connsiteX3065" fmla="*/ 2581307 w 6884782"/>
              <a:gd name="connsiteY3065" fmla="*/ 5303700 h 5973007"/>
              <a:gd name="connsiteX3066" fmla="*/ 2583941 w 6884782"/>
              <a:gd name="connsiteY3066" fmla="*/ 5307520 h 5973007"/>
              <a:gd name="connsiteX3067" fmla="*/ 2583011 w 6884782"/>
              <a:gd name="connsiteY3067" fmla="*/ 5310928 h 5973007"/>
              <a:gd name="connsiteX3068" fmla="*/ 2583631 w 6884782"/>
              <a:gd name="connsiteY3068" fmla="*/ 5310824 h 5973007"/>
              <a:gd name="connsiteX3069" fmla="*/ 2583321 w 6884782"/>
              <a:gd name="connsiteY3069" fmla="*/ 5311444 h 5973007"/>
              <a:gd name="connsiteX3070" fmla="*/ 2586574 w 6884782"/>
              <a:gd name="connsiteY3070" fmla="*/ 5312477 h 5973007"/>
              <a:gd name="connsiteX3071" fmla="*/ 2584095 w 6884782"/>
              <a:gd name="connsiteY3071" fmla="*/ 5316297 h 5973007"/>
              <a:gd name="connsiteX3072" fmla="*/ 2581772 w 6884782"/>
              <a:gd name="connsiteY3072" fmla="*/ 5313716 h 5973007"/>
              <a:gd name="connsiteX3073" fmla="*/ 2582237 w 6884782"/>
              <a:gd name="connsiteY3073" fmla="*/ 5312374 h 5973007"/>
              <a:gd name="connsiteX3074" fmla="*/ 2582547 w 6884782"/>
              <a:gd name="connsiteY3074" fmla="*/ 5311031 h 5973007"/>
              <a:gd name="connsiteX3075" fmla="*/ 2581152 w 6884782"/>
              <a:gd name="connsiteY3075" fmla="*/ 5310308 h 5973007"/>
              <a:gd name="connsiteX3076" fmla="*/ 2578984 w 6884782"/>
              <a:gd name="connsiteY3076" fmla="*/ 5310102 h 5973007"/>
              <a:gd name="connsiteX3077" fmla="*/ 2578209 w 6884782"/>
              <a:gd name="connsiteY3077" fmla="*/ 5309276 h 5973007"/>
              <a:gd name="connsiteX3078" fmla="*/ 2575886 w 6884782"/>
              <a:gd name="connsiteY3078" fmla="*/ 5310618 h 5973007"/>
              <a:gd name="connsiteX3079" fmla="*/ 2570310 w 6884782"/>
              <a:gd name="connsiteY3079" fmla="*/ 5306591 h 5973007"/>
              <a:gd name="connsiteX3080" fmla="*/ 2577900 w 6884782"/>
              <a:gd name="connsiteY3080" fmla="*/ 5306384 h 5973007"/>
              <a:gd name="connsiteX3081" fmla="*/ 2577900 w 6884782"/>
              <a:gd name="connsiteY3081" fmla="*/ 5306488 h 5973007"/>
              <a:gd name="connsiteX3082" fmla="*/ 2578364 w 6884782"/>
              <a:gd name="connsiteY3082" fmla="*/ 5305662 h 5973007"/>
              <a:gd name="connsiteX3083" fmla="*/ 2581307 w 6884782"/>
              <a:gd name="connsiteY3083" fmla="*/ 5303700 h 5973007"/>
              <a:gd name="connsiteX3084" fmla="*/ 1764385 w 6884782"/>
              <a:gd name="connsiteY3084" fmla="*/ 5302048 h 5973007"/>
              <a:gd name="connsiteX3085" fmla="*/ 1766088 w 6884782"/>
              <a:gd name="connsiteY3085" fmla="*/ 5305972 h 5973007"/>
              <a:gd name="connsiteX3086" fmla="*/ 1753697 w 6884782"/>
              <a:gd name="connsiteY3086" fmla="*/ 5316917 h 5973007"/>
              <a:gd name="connsiteX3087" fmla="*/ 1747966 w 6884782"/>
              <a:gd name="connsiteY3087" fmla="*/ 5315781 h 5973007"/>
              <a:gd name="connsiteX3088" fmla="*/ 1764385 w 6884782"/>
              <a:gd name="connsiteY3088" fmla="*/ 5302048 h 5973007"/>
              <a:gd name="connsiteX3089" fmla="*/ 2915419 w 6884782"/>
              <a:gd name="connsiteY3089" fmla="*/ 5301118 h 5973007"/>
              <a:gd name="connsiteX3090" fmla="*/ 2915883 w 6884782"/>
              <a:gd name="connsiteY3090" fmla="*/ 5313613 h 5973007"/>
              <a:gd name="connsiteX3091" fmla="*/ 2912011 w 6884782"/>
              <a:gd name="connsiteY3091" fmla="*/ 5328069 h 5973007"/>
              <a:gd name="connsiteX3092" fmla="*/ 2907364 w 6884782"/>
              <a:gd name="connsiteY3092" fmla="*/ 5330340 h 5973007"/>
              <a:gd name="connsiteX3093" fmla="*/ 2896366 w 6884782"/>
              <a:gd name="connsiteY3093" fmla="*/ 5329101 h 5973007"/>
              <a:gd name="connsiteX3094" fmla="*/ 2890635 w 6884782"/>
              <a:gd name="connsiteY3094" fmla="*/ 5326416 h 5973007"/>
              <a:gd name="connsiteX3095" fmla="*/ 2883975 w 6884782"/>
              <a:gd name="connsiteY3095" fmla="*/ 5330959 h 5973007"/>
              <a:gd name="connsiteX3096" fmla="*/ 2884130 w 6884782"/>
              <a:gd name="connsiteY3096" fmla="*/ 5331373 h 5973007"/>
              <a:gd name="connsiteX3097" fmla="*/ 2882890 w 6884782"/>
              <a:gd name="connsiteY3097" fmla="*/ 5336742 h 5973007"/>
              <a:gd name="connsiteX3098" fmla="*/ 2881961 w 6884782"/>
              <a:gd name="connsiteY3098" fmla="*/ 5337465 h 5973007"/>
              <a:gd name="connsiteX3099" fmla="*/ 2886453 w 6884782"/>
              <a:gd name="connsiteY3099" fmla="*/ 5343557 h 5973007"/>
              <a:gd name="connsiteX3100" fmla="*/ 2899000 w 6884782"/>
              <a:gd name="connsiteY3100" fmla="*/ 5357187 h 5973007"/>
              <a:gd name="connsiteX3101" fmla="*/ 2884130 w 6884782"/>
              <a:gd name="connsiteY3101" fmla="*/ 5348307 h 5973007"/>
              <a:gd name="connsiteX3102" fmla="*/ 2883046 w 6884782"/>
              <a:gd name="connsiteY3102" fmla="*/ 5347790 h 5973007"/>
              <a:gd name="connsiteX3103" fmla="*/ 2882890 w 6884782"/>
              <a:gd name="connsiteY3103" fmla="*/ 5348307 h 5973007"/>
              <a:gd name="connsiteX3104" fmla="*/ 2883665 w 6884782"/>
              <a:gd name="connsiteY3104" fmla="*/ 5348720 h 5973007"/>
              <a:gd name="connsiteX3105" fmla="*/ 2883200 w 6884782"/>
              <a:gd name="connsiteY3105" fmla="*/ 5351301 h 5973007"/>
              <a:gd name="connsiteX3106" fmla="*/ 2883046 w 6884782"/>
              <a:gd name="connsiteY3106" fmla="*/ 5351404 h 5973007"/>
              <a:gd name="connsiteX3107" fmla="*/ 2887228 w 6884782"/>
              <a:gd name="connsiteY3107" fmla="*/ 5355741 h 5973007"/>
              <a:gd name="connsiteX3108" fmla="*/ 2895282 w 6884782"/>
              <a:gd name="connsiteY3108" fmla="*/ 5363588 h 5973007"/>
              <a:gd name="connsiteX3109" fmla="*/ 2903956 w 6884782"/>
              <a:gd name="connsiteY3109" fmla="*/ 5369887 h 5973007"/>
              <a:gd name="connsiteX3110" fmla="*/ 2906125 w 6884782"/>
              <a:gd name="connsiteY3110" fmla="*/ 5370816 h 5973007"/>
              <a:gd name="connsiteX3111" fmla="*/ 2906590 w 6884782"/>
              <a:gd name="connsiteY3111" fmla="*/ 5368028 h 5973007"/>
              <a:gd name="connsiteX3112" fmla="*/ 2911236 w 6884782"/>
              <a:gd name="connsiteY3112" fmla="*/ 5371436 h 5973007"/>
              <a:gd name="connsiteX3113" fmla="*/ 2910927 w 6884782"/>
              <a:gd name="connsiteY3113" fmla="*/ 5372675 h 5973007"/>
              <a:gd name="connsiteX3114" fmla="*/ 2912011 w 6884782"/>
              <a:gd name="connsiteY3114" fmla="*/ 5373191 h 5973007"/>
              <a:gd name="connsiteX3115" fmla="*/ 2912940 w 6884782"/>
              <a:gd name="connsiteY3115" fmla="*/ 5371333 h 5973007"/>
              <a:gd name="connsiteX3116" fmla="*/ 2926261 w 6884782"/>
              <a:gd name="connsiteY3116" fmla="*/ 5370713 h 5973007"/>
              <a:gd name="connsiteX3117" fmla="*/ 2920221 w 6884782"/>
              <a:gd name="connsiteY3117" fmla="*/ 5375360 h 5973007"/>
              <a:gd name="connsiteX3118" fmla="*/ 2916348 w 6884782"/>
              <a:gd name="connsiteY3118" fmla="*/ 5380006 h 5973007"/>
              <a:gd name="connsiteX3119" fmla="*/ 2918362 w 6884782"/>
              <a:gd name="connsiteY3119" fmla="*/ 5383311 h 5973007"/>
              <a:gd name="connsiteX3120" fmla="*/ 2926107 w 6884782"/>
              <a:gd name="connsiteY3120" fmla="*/ 5392604 h 5973007"/>
              <a:gd name="connsiteX3121" fmla="*/ 2944694 w 6884782"/>
              <a:gd name="connsiteY3121" fmla="*/ 5408195 h 5973007"/>
              <a:gd name="connsiteX3122" fmla="*/ 2954143 w 6884782"/>
              <a:gd name="connsiteY3122" fmla="*/ 5415010 h 5973007"/>
              <a:gd name="connsiteX3123" fmla="*/ 2954762 w 6884782"/>
              <a:gd name="connsiteY3123" fmla="*/ 5408608 h 5973007"/>
              <a:gd name="connsiteX3124" fmla="*/ 2967929 w 6884782"/>
              <a:gd name="connsiteY3124" fmla="*/ 5390229 h 5973007"/>
              <a:gd name="connsiteX3125" fmla="*/ 3013778 w 6884782"/>
              <a:gd name="connsiteY3125" fmla="*/ 5389919 h 5973007"/>
              <a:gd name="connsiteX3126" fmla="*/ 3024156 w 6884782"/>
              <a:gd name="connsiteY3126" fmla="*/ 5422651 h 5973007"/>
              <a:gd name="connsiteX3127" fmla="*/ 3019044 w 6884782"/>
              <a:gd name="connsiteY3127" fmla="*/ 5427401 h 5973007"/>
              <a:gd name="connsiteX3128" fmla="*/ 3017340 w 6884782"/>
              <a:gd name="connsiteY3128" fmla="*/ 5430499 h 5973007"/>
              <a:gd name="connsiteX3129" fmla="*/ 3017805 w 6884782"/>
              <a:gd name="connsiteY3129" fmla="*/ 5432151 h 5973007"/>
              <a:gd name="connsiteX3130" fmla="*/ 3016256 w 6884782"/>
              <a:gd name="connsiteY3130" fmla="*/ 5432874 h 5973007"/>
              <a:gd name="connsiteX3131" fmla="*/ 3015172 w 6884782"/>
              <a:gd name="connsiteY3131" fmla="*/ 5438140 h 5973007"/>
              <a:gd name="connsiteX3132" fmla="*/ 3015482 w 6884782"/>
              <a:gd name="connsiteY3132" fmla="*/ 5438243 h 5973007"/>
              <a:gd name="connsiteX3133" fmla="*/ 3026015 w 6884782"/>
              <a:gd name="connsiteY3133" fmla="*/ 5444542 h 5973007"/>
              <a:gd name="connsiteX3134" fmla="*/ 3028183 w 6884782"/>
              <a:gd name="connsiteY3134" fmla="*/ 5440411 h 5973007"/>
              <a:gd name="connsiteX3135" fmla="*/ 3033915 w 6884782"/>
              <a:gd name="connsiteY3135" fmla="*/ 5434319 h 5973007"/>
              <a:gd name="connsiteX3136" fmla="*/ 3040730 w 6884782"/>
              <a:gd name="connsiteY3136" fmla="*/ 5438449 h 5973007"/>
              <a:gd name="connsiteX3137" fmla="*/ 3034689 w 6884782"/>
              <a:gd name="connsiteY3137" fmla="*/ 5443406 h 5973007"/>
              <a:gd name="connsiteX3138" fmla="*/ 3032056 w 6884782"/>
              <a:gd name="connsiteY3138" fmla="*/ 5448155 h 5973007"/>
              <a:gd name="connsiteX3139" fmla="*/ 3033604 w 6884782"/>
              <a:gd name="connsiteY3139" fmla="*/ 5449085 h 5973007"/>
              <a:gd name="connsiteX3140" fmla="*/ 3037322 w 6884782"/>
              <a:gd name="connsiteY3140" fmla="*/ 5451253 h 5973007"/>
              <a:gd name="connsiteX3141" fmla="*/ 3037632 w 6884782"/>
              <a:gd name="connsiteY3141" fmla="*/ 5451150 h 5973007"/>
              <a:gd name="connsiteX3142" fmla="*/ 3041505 w 6884782"/>
              <a:gd name="connsiteY3142" fmla="*/ 5451976 h 5973007"/>
              <a:gd name="connsiteX3143" fmla="*/ 3042279 w 6884782"/>
              <a:gd name="connsiteY3143" fmla="*/ 5454041 h 5973007"/>
              <a:gd name="connsiteX3144" fmla="*/ 3049404 w 6884782"/>
              <a:gd name="connsiteY3144" fmla="*/ 5457861 h 5973007"/>
              <a:gd name="connsiteX3145" fmla="*/ 3050024 w 6884782"/>
              <a:gd name="connsiteY3145" fmla="*/ 5457965 h 5973007"/>
              <a:gd name="connsiteX3146" fmla="*/ 3050333 w 6884782"/>
              <a:gd name="connsiteY3146" fmla="*/ 5458378 h 5973007"/>
              <a:gd name="connsiteX3147" fmla="*/ 3052967 w 6884782"/>
              <a:gd name="connsiteY3147" fmla="*/ 5459823 h 5973007"/>
              <a:gd name="connsiteX3148" fmla="*/ 3071709 w 6884782"/>
              <a:gd name="connsiteY3148" fmla="*/ 5469220 h 5973007"/>
              <a:gd name="connsiteX3149" fmla="*/ 3077130 w 6884782"/>
              <a:gd name="connsiteY3149" fmla="*/ 5470355 h 5973007"/>
              <a:gd name="connsiteX3150" fmla="*/ 3081932 w 6884782"/>
              <a:gd name="connsiteY3150" fmla="*/ 5471285 h 5973007"/>
              <a:gd name="connsiteX3151" fmla="*/ 3081623 w 6884782"/>
              <a:gd name="connsiteY3151" fmla="*/ 5470872 h 5973007"/>
              <a:gd name="connsiteX3152" fmla="*/ 3086579 w 6884782"/>
              <a:gd name="connsiteY3152" fmla="*/ 5463644 h 5973007"/>
              <a:gd name="connsiteX3153" fmla="*/ 3088593 w 6884782"/>
              <a:gd name="connsiteY3153" fmla="*/ 5473453 h 5973007"/>
              <a:gd name="connsiteX3154" fmla="*/ 3087354 w 6884782"/>
              <a:gd name="connsiteY3154" fmla="*/ 5474073 h 5973007"/>
              <a:gd name="connsiteX3155" fmla="*/ 3087663 w 6884782"/>
              <a:gd name="connsiteY3155" fmla="*/ 5474279 h 5973007"/>
              <a:gd name="connsiteX3156" fmla="*/ 3088128 w 6884782"/>
              <a:gd name="connsiteY3156" fmla="*/ 5480371 h 5973007"/>
              <a:gd name="connsiteX3157" fmla="*/ 3101759 w 6884782"/>
              <a:gd name="connsiteY3157" fmla="*/ 5483469 h 5973007"/>
              <a:gd name="connsiteX3158" fmla="*/ 3103308 w 6884782"/>
              <a:gd name="connsiteY3158" fmla="*/ 5482953 h 5973007"/>
              <a:gd name="connsiteX3159" fmla="*/ 3103463 w 6884782"/>
              <a:gd name="connsiteY3159" fmla="*/ 5482849 h 5973007"/>
              <a:gd name="connsiteX3160" fmla="*/ 3103618 w 6884782"/>
              <a:gd name="connsiteY3160" fmla="*/ 5482849 h 5973007"/>
              <a:gd name="connsiteX3161" fmla="*/ 3104857 w 6884782"/>
              <a:gd name="connsiteY3161" fmla="*/ 5482437 h 5973007"/>
              <a:gd name="connsiteX3162" fmla="*/ 3105476 w 6884782"/>
              <a:gd name="connsiteY3162" fmla="*/ 5483262 h 5973007"/>
              <a:gd name="connsiteX3163" fmla="*/ 3108110 w 6884782"/>
              <a:gd name="connsiteY3163" fmla="*/ 5483882 h 5973007"/>
              <a:gd name="connsiteX3164" fmla="*/ 3109194 w 6884782"/>
              <a:gd name="connsiteY3164" fmla="*/ 5485638 h 5973007"/>
              <a:gd name="connsiteX3165" fmla="*/ 3110278 w 6884782"/>
              <a:gd name="connsiteY3165" fmla="*/ 5488632 h 5973007"/>
              <a:gd name="connsiteX3166" fmla="*/ 3112602 w 6884782"/>
              <a:gd name="connsiteY3166" fmla="*/ 5489354 h 5973007"/>
              <a:gd name="connsiteX3167" fmla="*/ 3112602 w 6884782"/>
              <a:gd name="connsiteY3167" fmla="*/ 5487909 h 5973007"/>
              <a:gd name="connsiteX3168" fmla="*/ 3115855 w 6884782"/>
              <a:gd name="connsiteY3168" fmla="*/ 5486463 h 5973007"/>
              <a:gd name="connsiteX3169" fmla="*/ 3117559 w 6884782"/>
              <a:gd name="connsiteY3169" fmla="*/ 5487703 h 5973007"/>
              <a:gd name="connsiteX3170" fmla="*/ 3117559 w 6884782"/>
              <a:gd name="connsiteY3170" fmla="*/ 5486154 h 5973007"/>
              <a:gd name="connsiteX3171" fmla="*/ 3120037 w 6884782"/>
              <a:gd name="connsiteY3171" fmla="*/ 5482540 h 5973007"/>
              <a:gd name="connsiteX3172" fmla="*/ 3125613 w 6884782"/>
              <a:gd name="connsiteY3172" fmla="*/ 5487393 h 5973007"/>
              <a:gd name="connsiteX3173" fmla="*/ 3128711 w 6884782"/>
              <a:gd name="connsiteY3173" fmla="*/ 5489148 h 5973007"/>
              <a:gd name="connsiteX3174" fmla="*/ 3132429 w 6884782"/>
              <a:gd name="connsiteY3174" fmla="*/ 5481507 h 5973007"/>
              <a:gd name="connsiteX3175" fmla="*/ 3130880 w 6884782"/>
              <a:gd name="connsiteY3175" fmla="*/ 5478100 h 5973007"/>
              <a:gd name="connsiteX3176" fmla="*/ 3133048 w 6884782"/>
              <a:gd name="connsiteY3176" fmla="*/ 5474692 h 5973007"/>
              <a:gd name="connsiteX3177" fmla="*/ 3135062 w 6884782"/>
              <a:gd name="connsiteY3177" fmla="*/ 5477790 h 5973007"/>
              <a:gd name="connsiteX3178" fmla="*/ 3141412 w 6884782"/>
              <a:gd name="connsiteY3178" fmla="*/ 5471801 h 5973007"/>
              <a:gd name="connsiteX3179" fmla="*/ 3143736 w 6884782"/>
              <a:gd name="connsiteY3179" fmla="*/ 5483882 h 5973007"/>
              <a:gd name="connsiteX3180" fmla="*/ 3140948 w 6884782"/>
              <a:gd name="connsiteY3180" fmla="*/ 5495963 h 5973007"/>
              <a:gd name="connsiteX3181" fmla="*/ 3154424 w 6884782"/>
              <a:gd name="connsiteY3181" fmla="*/ 5500816 h 5973007"/>
              <a:gd name="connsiteX3182" fmla="*/ 3171307 w 6884782"/>
              <a:gd name="connsiteY3182" fmla="*/ 5504637 h 5973007"/>
              <a:gd name="connsiteX3183" fmla="*/ 3171927 w 6884782"/>
              <a:gd name="connsiteY3183" fmla="*/ 5502675 h 5973007"/>
              <a:gd name="connsiteX3184" fmla="*/ 3175799 w 6884782"/>
              <a:gd name="connsiteY3184" fmla="*/ 5499783 h 5973007"/>
              <a:gd name="connsiteX3185" fmla="*/ 3179207 w 6884782"/>
              <a:gd name="connsiteY3185" fmla="*/ 5500093 h 5973007"/>
              <a:gd name="connsiteX3186" fmla="*/ 3180911 w 6884782"/>
              <a:gd name="connsiteY3186" fmla="*/ 5500093 h 5973007"/>
              <a:gd name="connsiteX3187" fmla="*/ 3181530 w 6884782"/>
              <a:gd name="connsiteY3187" fmla="*/ 5485844 h 5973007"/>
              <a:gd name="connsiteX3188" fmla="*/ 3190824 w 6884782"/>
              <a:gd name="connsiteY3188" fmla="*/ 5487909 h 5973007"/>
              <a:gd name="connsiteX3189" fmla="*/ 3189120 w 6884782"/>
              <a:gd name="connsiteY3189" fmla="*/ 5507218 h 5973007"/>
              <a:gd name="connsiteX3190" fmla="*/ 3194232 w 6884782"/>
              <a:gd name="connsiteY3190" fmla="*/ 5507734 h 5973007"/>
              <a:gd name="connsiteX3191" fmla="*/ 3207398 w 6884782"/>
              <a:gd name="connsiteY3191" fmla="*/ 5515582 h 5973007"/>
              <a:gd name="connsiteX3192" fmla="*/ 3214214 w 6884782"/>
              <a:gd name="connsiteY3192" fmla="*/ 5516098 h 5973007"/>
              <a:gd name="connsiteX3193" fmla="*/ 3214059 w 6884782"/>
              <a:gd name="connsiteY3193" fmla="*/ 5515995 h 5973007"/>
              <a:gd name="connsiteX3194" fmla="*/ 3214988 w 6884782"/>
              <a:gd name="connsiteY3194" fmla="*/ 5516201 h 5973007"/>
              <a:gd name="connsiteX3195" fmla="*/ 3215763 w 6884782"/>
              <a:gd name="connsiteY3195" fmla="*/ 5516305 h 5973007"/>
              <a:gd name="connsiteX3196" fmla="*/ 3223043 w 6884782"/>
              <a:gd name="connsiteY3196" fmla="*/ 5516614 h 5973007"/>
              <a:gd name="connsiteX3197" fmla="*/ 3215453 w 6884782"/>
              <a:gd name="connsiteY3197" fmla="*/ 5511348 h 5973007"/>
              <a:gd name="connsiteX3198" fmla="*/ 3228464 w 6884782"/>
              <a:gd name="connsiteY3198" fmla="*/ 5511555 h 5973007"/>
              <a:gd name="connsiteX3199" fmla="*/ 3251234 w 6884782"/>
              <a:gd name="connsiteY3199" fmla="*/ 5519299 h 5973007"/>
              <a:gd name="connsiteX3200" fmla="*/ 3247362 w 6884782"/>
              <a:gd name="connsiteY3200" fmla="*/ 5515788 h 5973007"/>
              <a:gd name="connsiteX3201" fmla="*/ 3239617 w 6884782"/>
              <a:gd name="connsiteY3201" fmla="*/ 5514962 h 5973007"/>
              <a:gd name="connsiteX3202" fmla="*/ 3246587 w 6884782"/>
              <a:gd name="connsiteY3202" fmla="*/ 5513413 h 5973007"/>
              <a:gd name="connsiteX3203" fmla="*/ 3253557 w 6884782"/>
              <a:gd name="connsiteY3203" fmla="*/ 5512484 h 5973007"/>
              <a:gd name="connsiteX3204" fmla="*/ 3267963 w 6884782"/>
              <a:gd name="connsiteY3204" fmla="*/ 5514755 h 5973007"/>
              <a:gd name="connsiteX3205" fmla="*/ 3275398 w 6884782"/>
              <a:gd name="connsiteY3205" fmla="*/ 5516201 h 5973007"/>
              <a:gd name="connsiteX3206" fmla="*/ 3278960 w 6884782"/>
              <a:gd name="connsiteY3206" fmla="*/ 5513929 h 5973007"/>
              <a:gd name="connsiteX3207" fmla="*/ 3280510 w 6884782"/>
              <a:gd name="connsiteY3207" fmla="*/ 5517130 h 5973007"/>
              <a:gd name="connsiteX3208" fmla="*/ 3283452 w 6884782"/>
              <a:gd name="connsiteY3208" fmla="*/ 5517750 h 5973007"/>
              <a:gd name="connsiteX3209" fmla="*/ 3289958 w 6884782"/>
              <a:gd name="connsiteY3209" fmla="*/ 5518163 h 5973007"/>
              <a:gd name="connsiteX3210" fmla="*/ 3291352 w 6884782"/>
              <a:gd name="connsiteY3210" fmla="*/ 5516408 h 5973007"/>
              <a:gd name="connsiteX3211" fmla="*/ 3293676 w 6884782"/>
              <a:gd name="connsiteY3211" fmla="*/ 5518060 h 5973007"/>
              <a:gd name="connsiteX3212" fmla="*/ 3298942 w 6884782"/>
              <a:gd name="connsiteY3212" fmla="*/ 5517544 h 5973007"/>
              <a:gd name="connsiteX3213" fmla="*/ 3303899 w 6884782"/>
              <a:gd name="connsiteY3213" fmla="*/ 5521984 h 5973007"/>
              <a:gd name="connsiteX3214" fmla="*/ 3315671 w 6884782"/>
              <a:gd name="connsiteY3214" fmla="*/ 5518989 h 5973007"/>
              <a:gd name="connsiteX3215" fmla="*/ 3326823 w 6884782"/>
              <a:gd name="connsiteY3215" fmla="*/ 5518783 h 5973007"/>
              <a:gd name="connsiteX3216" fmla="*/ 3327288 w 6884782"/>
              <a:gd name="connsiteY3216" fmla="*/ 5516511 h 5973007"/>
              <a:gd name="connsiteX3217" fmla="*/ 3330386 w 6884782"/>
              <a:gd name="connsiteY3217" fmla="*/ 5512897 h 5973007"/>
              <a:gd name="connsiteX3218" fmla="*/ 3329147 w 6884782"/>
              <a:gd name="connsiteY3218" fmla="*/ 5510316 h 5973007"/>
              <a:gd name="connsiteX3219" fmla="*/ 3329456 w 6884782"/>
              <a:gd name="connsiteY3219" fmla="*/ 5507941 h 5973007"/>
              <a:gd name="connsiteX3220" fmla="*/ 3333484 w 6884782"/>
              <a:gd name="connsiteY3220" fmla="*/ 5505256 h 5973007"/>
              <a:gd name="connsiteX3221" fmla="*/ 3335343 w 6884782"/>
              <a:gd name="connsiteY3221" fmla="*/ 5507115 h 5973007"/>
              <a:gd name="connsiteX3222" fmla="*/ 3336891 w 6884782"/>
              <a:gd name="connsiteY3222" fmla="*/ 5505359 h 5973007"/>
              <a:gd name="connsiteX3223" fmla="*/ 3342623 w 6884782"/>
              <a:gd name="connsiteY3223" fmla="*/ 5502365 h 5973007"/>
              <a:gd name="connsiteX3224" fmla="*/ 3340919 w 6884782"/>
              <a:gd name="connsiteY3224" fmla="*/ 5501022 h 5973007"/>
              <a:gd name="connsiteX3225" fmla="*/ 3335188 w 6884782"/>
              <a:gd name="connsiteY3225" fmla="*/ 5500816 h 5973007"/>
              <a:gd name="connsiteX3226" fmla="*/ 3318923 w 6884782"/>
              <a:gd name="connsiteY3226" fmla="*/ 5510109 h 5973007"/>
              <a:gd name="connsiteX3227" fmla="*/ 3319233 w 6884782"/>
              <a:gd name="connsiteY3227" fmla="*/ 5507218 h 5973007"/>
              <a:gd name="connsiteX3228" fmla="*/ 3306377 w 6884782"/>
              <a:gd name="connsiteY3228" fmla="*/ 5510935 h 5973007"/>
              <a:gd name="connsiteX3229" fmla="*/ 3306067 w 6884782"/>
              <a:gd name="connsiteY3229" fmla="*/ 5510419 h 5973007"/>
              <a:gd name="connsiteX3230" fmla="*/ 3304983 w 6884782"/>
              <a:gd name="connsiteY3230" fmla="*/ 5510729 h 5973007"/>
              <a:gd name="connsiteX3231" fmla="*/ 3292591 w 6884782"/>
              <a:gd name="connsiteY3231" fmla="*/ 5510625 h 5973007"/>
              <a:gd name="connsiteX3232" fmla="*/ 3290268 w 6884782"/>
              <a:gd name="connsiteY3232" fmla="*/ 5502158 h 5973007"/>
              <a:gd name="connsiteX3233" fmla="*/ 3279735 w 6884782"/>
              <a:gd name="connsiteY3233" fmla="*/ 5501745 h 5973007"/>
              <a:gd name="connsiteX3234" fmla="*/ 3265639 w 6884782"/>
              <a:gd name="connsiteY3234" fmla="*/ 5502675 h 5973007"/>
              <a:gd name="connsiteX3235" fmla="*/ 3264400 w 6884782"/>
              <a:gd name="connsiteY3235" fmla="*/ 5497718 h 5973007"/>
              <a:gd name="connsiteX3236" fmla="*/ 3261147 w 6884782"/>
              <a:gd name="connsiteY3236" fmla="*/ 5497925 h 5973007"/>
              <a:gd name="connsiteX3237" fmla="*/ 3265175 w 6884782"/>
              <a:gd name="connsiteY3237" fmla="*/ 5502365 h 5973007"/>
              <a:gd name="connsiteX3238" fmla="*/ 3262231 w 6884782"/>
              <a:gd name="connsiteY3238" fmla="*/ 5504327 h 5973007"/>
              <a:gd name="connsiteX3239" fmla="*/ 3259753 w 6884782"/>
              <a:gd name="connsiteY3239" fmla="*/ 5502675 h 5973007"/>
              <a:gd name="connsiteX3240" fmla="*/ 3258824 w 6884782"/>
              <a:gd name="connsiteY3240" fmla="*/ 5499783 h 5973007"/>
              <a:gd name="connsiteX3241" fmla="*/ 3260683 w 6884782"/>
              <a:gd name="connsiteY3241" fmla="*/ 5497925 h 5973007"/>
              <a:gd name="connsiteX3242" fmla="*/ 3256191 w 6884782"/>
              <a:gd name="connsiteY3242" fmla="*/ 5498131 h 5973007"/>
              <a:gd name="connsiteX3243" fmla="*/ 3255571 w 6884782"/>
              <a:gd name="connsiteY3243" fmla="*/ 5505049 h 5973007"/>
              <a:gd name="connsiteX3244" fmla="*/ 3244264 w 6884782"/>
              <a:gd name="connsiteY3244" fmla="*/ 5513620 h 5973007"/>
              <a:gd name="connsiteX3245" fmla="*/ 3235434 w 6884782"/>
              <a:gd name="connsiteY3245" fmla="*/ 5510419 h 5973007"/>
              <a:gd name="connsiteX3246" fmla="*/ 3239927 w 6884782"/>
              <a:gd name="connsiteY3246" fmla="*/ 5496892 h 5973007"/>
              <a:gd name="connsiteX3247" fmla="*/ 3233886 w 6884782"/>
              <a:gd name="connsiteY3247" fmla="*/ 5495860 h 5973007"/>
              <a:gd name="connsiteX3248" fmla="*/ 3219635 w 6884782"/>
              <a:gd name="connsiteY3248" fmla="*/ 5492969 h 5973007"/>
              <a:gd name="connsiteX3249" fmla="*/ 3210342 w 6884782"/>
              <a:gd name="connsiteY3249" fmla="*/ 5492452 h 5973007"/>
              <a:gd name="connsiteX3250" fmla="*/ 3211580 w 6884782"/>
              <a:gd name="connsiteY3250" fmla="*/ 5496170 h 5973007"/>
              <a:gd name="connsiteX3251" fmla="*/ 3209876 w 6884782"/>
              <a:gd name="connsiteY3251" fmla="*/ 5502158 h 5973007"/>
              <a:gd name="connsiteX3252" fmla="*/ 3206469 w 6884782"/>
              <a:gd name="connsiteY3252" fmla="*/ 5502778 h 5973007"/>
              <a:gd name="connsiteX3253" fmla="*/ 3201357 w 6884782"/>
              <a:gd name="connsiteY3253" fmla="*/ 5501022 h 5973007"/>
              <a:gd name="connsiteX3254" fmla="*/ 3199189 w 6884782"/>
              <a:gd name="connsiteY3254" fmla="*/ 5499061 h 5973007"/>
              <a:gd name="connsiteX3255" fmla="*/ 3198259 w 6884782"/>
              <a:gd name="connsiteY3255" fmla="*/ 5499783 h 5973007"/>
              <a:gd name="connsiteX3256" fmla="*/ 3198414 w 6884782"/>
              <a:gd name="connsiteY3256" fmla="*/ 5498441 h 5973007"/>
              <a:gd name="connsiteX3257" fmla="*/ 3197020 w 6884782"/>
              <a:gd name="connsiteY3257" fmla="*/ 5497305 h 5973007"/>
              <a:gd name="connsiteX3258" fmla="*/ 3196246 w 6884782"/>
              <a:gd name="connsiteY3258" fmla="*/ 5495653 h 5973007"/>
              <a:gd name="connsiteX3259" fmla="*/ 3192993 w 6884782"/>
              <a:gd name="connsiteY3259" fmla="*/ 5497305 h 5973007"/>
              <a:gd name="connsiteX3260" fmla="*/ 3193458 w 6884782"/>
              <a:gd name="connsiteY3260" fmla="*/ 5495963 h 5973007"/>
              <a:gd name="connsiteX3261" fmla="*/ 3195162 w 6884782"/>
              <a:gd name="connsiteY3261" fmla="*/ 5495447 h 5973007"/>
              <a:gd name="connsiteX3262" fmla="*/ 3196091 w 6884782"/>
              <a:gd name="connsiteY3262" fmla="*/ 5495137 h 5973007"/>
              <a:gd name="connsiteX3263" fmla="*/ 3195162 w 6884782"/>
              <a:gd name="connsiteY3263" fmla="*/ 5493485 h 5973007"/>
              <a:gd name="connsiteX3264" fmla="*/ 3197795 w 6884782"/>
              <a:gd name="connsiteY3264" fmla="*/ 5489458 h 5973007"/>
              <a:gd name="connsiteX3265" fmla="*/ 3191908 w 6884782"/>
              <a:gd name="connsiteY3265" fmla="*/ 5486670 h 5973007"/>
              <a:gd name="connsiteX3266" fmla="*/ 3199963 w 6884782"/>
              <a:gd name="connsiteY3266" fmla="*/ 5484088 h 5973007"/>
              <a:gd name="connsiteX3267" fmla="*/ 3201822 w 6884782"/>
              <a:gd name="connsiteY3267" fmla="*/ 5484295 h 5973007"/>
              <a:gd name="connsiteX3268" fmla="*/ 3202132 w 6884782"/>
              <a:gd name="connsiteY3268" fmla="*/ 5483985 h 5973007"/>
              <a:gd name="connsiteX3269" fmla="*/ 3192219 w 6884782"/>
              <a:gd name="connsiteY3269" fmla="*/ 5481197 h 5973007"/>
              <a:gd name="connsiteX3270" fmla="*/ 3181685 w 6884782"/>
              <a:gd name="connsiteY3270" fmla="*/ 5474486 h 5973007"/>
              <a:gd name="connsiteX3271" fmla="*/ 3182150 w 6884782"/>
              <a:gd name="connsiteY3271" fmla="*/ 5479132 h 5973007"/>
              <a:gd name="connsiteX3272" fmla="*/ 3169294 w 6884782"/>
              <a:gd name="connsiteY3272" fmla="*/ 5472214 h 5973007"/>
              <a:gd name="connsiteX3273" fmla="*/ 3162014 w 6884782"/>
              <a:gd name="connsiteY3273" fmla="*/ 5476757 h 5973007"/>
              <a:gd name="connsiteX3274" fmla="*/ 3144665 w 6884782"/>
              <a:gd name="connsiteY3274" fmla="*/ 5472111 h 5973007"/>
              <a:gd name="connsiteX3275" fmla="*/ 3137385 w 6884782"/>
              <a:gd name="connsiteY3275" fmla="*/ 5470252 h 5973007"/>
              <a:gd name="connsiteX3276" fmla="*/ 3136920 w 6884782"/>
              <a:gd name="connsiteY3276" fmla="*/ 5471904 h 5973007"/>
              <a:gd name="connsiteX3277" fmla="*/ 3131499 w 6884782"/>
              <a:gd name="connsiteY3277" fmla="*/ 5471801 h 5973007"/>
              <a:gd name="connsiteX3278" fmla="*/ 3129795 w 6884782"/>
              <a:gd name="connsiteY3278" fmla="*/ 5468187 h 5973007"/>
              <a:gd name="connsiteX3279" fmla="*/ 3126697 w 6884782"/>
              <a:gd name="connsiteY3279" fmla="*/ 5467361 h 5973007"/>
              <a:gd name="connsiteX3280" fmla="*/ 3128711 w 6884782"/>
              <a:gd name="connsiteY3280" fmla="*/ 5464573 h 5973007"/>
              <a:gd name="connsiteX3281" fmla="*/ 3129950 w 6884782"/>
              <a:gd name="connsiteY3281" fmla="*/ 5464057 h 5973007"/>
              <a:gd name="connsiteX3282" fmla="*/ 3130725 w 6884782"/>
              <a:gd name="connsiteY3282" fmla="*/ 5462508 h 5973007"/>
              <a:gd name="connsiteX3283" fmla="*/ 3132119 w 6884782"/>
              <a:gd name="connsiteY3283" fmla="*/ 5462611 h 5973007"/>
              <a:gd name="connsiteX3284" fmla="*/ 3132893 w 6884782"/>
              <a:gd name="connsiteY3284" fmla="*/ 5461992 h 5973007"/>
              <a:gd name="connsiteX3285" fmla="*/ 3132584 w 6884782"/>
              <a:gd name="connsiteY3285" fmla="*/ 5458584 h 5973007"/>
              <a:gd name="connsiteX3286" fmla="*/ 3148538 w 6884782"/>
              <a:gd name="connsiteY3286" fmla="*/ 5465089 h 5973007"/>
              <a:gd name="connsiteX3287" fmla="*/ 3163563 w 6884782"/>
              <a:gd name="connsiteY3287" fmla="*/ 5463644 h 5973007"/>
              <a:gd name="connsiteX3288" fmla="*/ 3164182 w 6884782"/>
              <a:gd name="connsiteY3288" fmla="*/ 5468290 h 5973007"/>
              <a:gd name="connsiteX3289" fmla="*/ 3167900 w 6884782"/>
              <a:gd name="connsiteY3289" fmla="*/ 5465709 h 5973007"/>
              <a:gd name="connsiteX3290" fmla="*/ 3157212 w 6884782"/>
              <a:gd name="connsiteY3290" fmla="*/ 5458687 h 5973007"/>
              <a:gd name="connsiteX3291" fmla="*/ 3145130 w 6884782"/>
              <a:gd name="connsiteY3291" fmla="*/ 5460236 h 5973007"/>
              <a:gd name="connsiteX3292" fmla="*/ 3138934 w 6884782"/>
              <a:gd name="connsiteY3292" fmla="*/ 5456416 h 5973007"/>
              <a:gd name="connsiteX3293" fmla="*/ 3136146 w 6884782"/>
              <a:gd name="connsiteY3293" fmla="*/ 5454660 h 5973007"/>
              <a:gd name="connsiteX3294" fmla="*/ 3135527 w 6884782"/>
              <a:gd name="connsiteY3294" fmla="*/ 5455177 h 5973007"/>
              <a:gd name="connsiteX3295" fmla="*/ 3135527 w 6884782"/>
              <a:gd name="connsiteY3295" fmla="*/ 5454247 h 5973007"/>
              <a:gd name="connsiteX3296" fmla="*/ 3133203 w 6884782"/>
              <a:gd name="connsiteY3296" fmla="*/ 5452802 h 5973007"/>
              <a:gd name="connsiteX3297" fmla="*/ 3135216 w 6884782"/>
              <a:gd name="connsiteY3297" fmla="*/ 5448362 h 5973007"/>
              <a:gd name="connsiteX3298" fmla="*/ 3132738 w 6884782"/>
              <a:gd name="connsiteY3298" fmla="*/ 5442992 h 5973007"/>
              <a:gd name="connsiteX3299" fmla="*/ 3131189 w 6884782"/>
              <a:gd name="connsiteY3299" fmla="*/ 5440411 h 5973007"/>
              <a:gd name="connsiteX3300" fmla="*/ 3129176 w 6884782"/>
              <a:gd name="connsiteY3300" fmla="*/ 5439482 h 5973007"/>
              <a:gd name="connsiteX3301" fmla="*/ 3111827 w 6884782"/>
              <a:gd name="connsiteY3301" fmla="*/ 5434939 h 5973007"/>
              <a:gd name="connsiteX3302" fmla="*/ 3105941 w 6884782"/>
              <a:gd name="connsiteY3302" fmla="*/ 5429259 h 5973007"/>
              <a:gd name="connsiteX3303" fmla="*/ 3101759 w 6884782"/>
              <a:gd name="connsiteY3303" fmla="*/ 5426472 h 5973007"/>
              <a:gd name="connsiteX3304" fmla="*/ 3097887 w 6884782"/>
              <a:gd name="connsiteY3304" fmla="*/ 5423064 h 5973007"/>
              <a:gd name="connsiteX3305" fmla="*/ 3089987 w 6884782"/>
              <a:gd name="connsiteY3305" fmla="*/ 5417901 h 5973007"/>
              <a:gd name="connsiteX3306" fmla="*/ 3089522 w 6884782"/>
              <a:gd name="connsiteY3306" fmla="*/ 5417901 h 5973007"/>
              <a:gd name="connsiteX3307" fmla="*/ 3081468 w 6884782"/>
              <a:gd name="connsiteY3307" fmla="*/ 5414597 h 5973007"/>
              <a:gd name="connsiteX3308" fmla="*/ 3077750 w 6884782"/>
              <a:gd name="connsiteY3308" fmla="*/ 5409847 h 5973007"/>
              <a:gd name="connsiteX3309" fmla="*/ 3064584 w 6884782"/>
              <a:gd name="connsiteY3309" fmla="*/ 5400761 h 5973007"/>
              <a:gd name="connsiteX3310" fmla="*/ 3063035 w 6884782"/>
              <a:gd name="connsiteY3310" fmla="*/ 5404788 h 5973007"/>
              <a:gd name="connsiteX3311" fmla="*/ 3057923 w 6884782"/>
              <a:gd name="connsiteY3311" fmla="*/ 5411603 h 5973007"/>
              <a:gd name="connsiteX3312" fmla="*/ 3056839 w 6884782"/>
              <a:gd name="connsiteY3312" fmla="*/ 5411706 h 5973007"/>
              <a:gd name="connsiteX3313" fmla="*/ 3056065 w 6884782"/>
              <a:gd name="connsiteY3313" fmla="*/ 5412739 h 5973007"/>
              <a:gd name="connsiteX3314" fmla="*/ 3056219 w 6884782"/>
              <a:gd name="connsiteY3314" fmla="*/ 5412945 h 5973007"/>
              <a:gd name="connsiteX3315" fmla="*/ 3056374 w 6884782"/>
              <a:gd name="connsiteY3315" fmla="*/ 5413771 h 5973007"/>
              <a:gd name="connsiteX3316" fmla="*/ 3054671 w 6884782"/>
              <a:gd name="connsiteY3316" fmla="*/ 5416765 h 5973007"/>
              <a:gd name="connsiteX3317" fmla="*/ 3052502 w 6884782"/>
              <a:gd name="connsiteY3317" fmla="*/ 5416559 h 5973007"/>
              <a:gd name="connsiteX3318" fmla="*/ 3049404 w 6884782"/>
              <a:gd name="connsiteY3318" fmla="*/ 5412429 h 5973007"/>
              <a:gd name="connsiteX3319" fmla="*/ 3034069 w 6884782"/>
              <a:gd name="connsiteY3319" fmla="*/ 5412429 h 5973007"/>
              <a:gd name="connsiteX3320" fmla="*/ 3033759 w 6884782"/>
              <a:gd name="connsiteY3320" fmla="*/ 5403652 h 5973007"/>
              <a:gd name="connsiteX3321" fmla="*/ 3048320 w 6884782"/>
              <a:gd name="connsiteY3321" fmla="*/ 5398489 h 5973007"/>
              <a:gd name="connsiteX3322" fmla="*/ 3048320 w 6884782"/>
              <a:gd name="connsiteY3322" fmla="*/ 5399315 h 5973007"/>
              <a:gd name="connsiteX3323" fmla="*/ 3053122 w 6884782"/>
              <a:gd name="connsiteY3323" fmla="*/ 5397250 h 5973007"/>
              <a:gd name="connsiteX3324" fmla="*/ 3053741 w 6884782"/>
              <a:gd name="connsiteY3324" fmla="*/ 5398076 h 5973007"/>
              <a:gd name="connsiteX3325" fmla="*/ 3054051 w 6884782"/>
              <a:gd name="connsiteY3325" fmla="*/ 5398076 h 5973007"/>
              <a:gd name="connsiteX3326" fmla="*/ 3056839 w 6884782"/>
              <a:gd name="connsiteY3326" fmla="*/ 5395082 h 5973007"/>
              <a:gd name="connsiteX3327" fmla="*/ 3056684 w 6884782"/>
              <a:gd name="connsiteY3327" fmla="*/ 5395082 h 5973007"/>
              <a:gd name="connsiteX3328" fmla="*/ 3056374 w 6884782"/>
              <a:gd name="connsiteY3328" fmla="*/ 5395082 h 5973007"/>
              <a:gd name="connsiteX3329" fmla="*/ 3050798 w 6884782"/>
              <a:gd name="connsiteY3329" fmla="*/ 5390745 h 5973007"/>
              <a:gd name="connsiteX3330" fmla="*/ 3050179 w 6884782"/>
              <a:gd name="connsiteY3330" fmla="*/ 5388886 h 5973007"/>
              <a:gd name="connsiteX3331" fmla="*/ 3048784 w 6884782"/>
              <a:gd name="connsiteY3331" fmla="*/ 5387647 h 5973007"/>
              <a:gd name="connsiteX3332" fmla="*/ 3049094 w 6884782"/>
              <a:gd name="connsiteY3332" fmla="*/ 5388473 h 5973007"/>
              <a:gd name="connsiteX3333" fmla="*/ 3049559 w 6884782"/>
              <a:gd name="connsiteY3333" fmla="*/ 5389506 h 5973007"/>
              <a:gd name="connsiteX3334" fmla="*/ 3048939 w 6884782"/>
              <a:gd name="connsiteY3334" fmla="*/ 5391364 h 5973007"/>
              <a:gd name="connsiteX3335" fmla="*/ 3044448 w 6884782"/>
              <a:gd name="connsiteY3335" fmla="*/ 5395082 h 5973007"/>
              <a:gd name="connsiteX3336" fmla="*/ 3041814 w 6884782"/>
              <a:gd name="connsiteY3336" fmla="*/ 5388783 h 5973007"/>
              <a:gd name="connsiteX3337" fmla="*/ 3043208 w 6884782"/>
              <a:gd name="connsiteY3337" fmla="*/ 5383311 h 5973007"/>
              <a:gd name="connsiteX3338" fmla="*/ 3040885 w 6884782"/>
              <a:gd name="connsiteY3338" fmla="*/ 5384240 h 5973007"/>
              <a:gd name="connsiteX3339" fmla="*/ 3037942 w 6884782"/>
              <a:gd name="connsiteY3339" fmla="*/ 5381968 h 5973007"/>
              <a:gd name="connsiteX3340" fmla="*/ 3033759 w 6884782"/>
              <a:gd name="connsiteY3340" fmla="*/ 5379180 h 5973007"/>
              <a:gd name="connsiteX3341" fmla="*/ 3026944 w 6884782"/>
              <a:gd name="connsiteY3341" fmla="*/ 5377838 h 5973007"/>
              <a:gd name="connsiteX3342" fmla="*/ 3031746 w 6884782"/>
              <a:gd name="connsiteY3342" fmla="*/ 5376289 h 5973007"/>
              <a:gd name="connsiteX3343" fmla="*/ 3009131 w 6884782"/>
              <a:gd name="connsiteY3343" fmla="*/ 5366273 h 5973007"/>
              <a:gd name="connsiteX3344" fmla="*/ 2986671 w 6884782"/>
              <a:gd name="connsiteY3344" fmla="*/ 5355535 h 5973007"/>
              <a:gd name="connsiteX3345" fmla="*/ 2990079 w 6884782"/>
              <a:gd name="connsiteY3345" fmla="*/ 5364931 h 5973007"/>
              <a:gd name="connsiteX3346" fmla="*/ 2981559 w 6884782"/>
              <a:gd name="connsiteY3346" fmla="*/ 5357703 h 5973007"/>
              <a:gd name="connsiteX3347" fmla="*/ 2976138 w 6884782"/>
              <a:gd name="connsiteY3347" fmla="*/ 5351508 h 5973007"/>
              <a:gd name="connsiteX3348" fmla="*/ 2974280 w 6884782"/>
              <a:gd name="connsiteY3348" fmla="*/ 5352953 h 5973007"/>
              <a:gd name="connsiteX3349" fmla="*/ 2971026 w 6884782"/>
              <a:gd name="connsiteY3349" fmla="*/ 5353366 h 5973007"/>
              <a:gd name="connsiteX3350" fmla="*/ 2969942 w 6884782"/>
              <a:gd name="connsiteY3350" fmla="*/ 5352850 h 5973007"/>
              <a:gd name="connsiteX3351" fmla="*/ 2973814 w 6884782"/>
              <a:gd name="connsiteY3351" fmla="*/ 5351404 h 5973007"/>
              <a:gd name="connsiteX3352" fmla="*/ 2975673 w 6884782"/>
              <a:gd name="connsiteY3352" fmla="*/ 5350991 h 5973007"/>
              <a:gd name="connsiteX3353" fmla="*/ 2975364 w 6884782"/>
              <a:gd name="connsiteY3353" fmla="*/ 5350578 h 5973007"/>
              <a:gd name="connsiteX3354" fmla="*/ 2968083 w 6884782"/>
              <a:gd name="connsiteY3354" fmla="*/ 5345725 h 5973007"/>
              <a:gd name="connsiteX3355" fmla="*/ 2964056 w 6884782"/>
              <a:gd name="connsiteY3355" fmla="*/ 5344280 h 5973007"/>
              <a:gd name="connsiteX3356" fmla="*/ 2965605 w 6884782"/>
              <a:gd name="connsiteY3356" fmla="*/ 5345932 h 5973007"/>
              <a:gd name="connsiteX3357" fmla="*/ 2960184 w 6884782"/>
              <a:gd name="connsiteY3357" fmla="*/ 5349959 h 5973007"/>
              <a:gd name="connsiteX3358" fmla="*/ 2959409 w 6884782"/>
              <a:gd name="connsiteY3358" fmla="*/ 5348307 h 5973007"/>
              <a:gd name="connsiteX3359" fmla="*/ 2959719 w 6884782"/>
              <a:gd name="connsiteY3359" fmla="*/ 5345312 h 5973007"/>
              <a:gd name="connsiteX3360" fmla="*/ 2961578 w 6884782"/>
              <a:gd name="connsiteY3360" fmla="*/ 5343453 h 5973007"/>
              <a:gd name="connsiteX3361" fmla="*/ 2959100 w 6884782"/>
              <a:gd name="connsiteY3361" fmla="*/ 5342627 h 5973007"/>
              <a:gd name="connsiteX3362" fmla="*/ 2959409 w 6884782"/>
              <a:gd name="connsiteY3362" fmla="*/ 5337878 h 5973007"/>
              <a:gd name="connsiteX3363" fmla="*/ 2958015 w 6884782"/>
              <a:gd name="connsiteY3363" fmla="*/ 5333231 h 5973007"/>
              <a:gd name="connsiteX3364" fmla="*/ 2957860 w 6884782"/>
              <a:gd name="connsiteY3364" fmla="*/ 5333231 h 5973007"/>
              <a:gd name="connsiteX3365" fmla="*/ 2956157 w 6884782"/>
              <a:gd name="connsiteY3365" fmla="*/ 5333335 h 5973007"/>
              <a:gd name="connsiteX3366" fmla="*/ 2950115 w 6884782"/>
              <a:gd name="connsiteY3366" fmla="*/ 5333024 h 5973007"/>
              <a:gd name="connsiteX3367" fmla="*/ 2954298 w 6884782"/>
              <a:gd name="connsiteY3367" fmla="*/ 5331889 h 5973007"/>
              <a:gd name="connsiteX3368" fmla="*/ 2955382 w 6884782"/>
              <a:gd name="connsiteY3368" fmla="*/ 5331269 h 5973007"/>
              <a:gd name="connsiteX3369" fmla="*/ 2955227 w 6884782"/>
              <a:gd name="connsiteY3369" fmla="*/ 5330856 h 5973007"/>
              <a:gd name="connsiteX3370" fmla="*/ 2955537 w 6884782"/>
              <a:gd name="connsiteY3370" fmla="*/ 5330753 h 5973007"/>
              <a:gd name="connsiteX3371" fmla="*/ 2949031 w 6884782"/>
              <a:gd name="connsiteY3371" fmla="*/ 5326210 h 5973007"/>
              <a:gd name="connsiteX3372" fmla="*/ 2942061 w 6884782"/>
              <a:gd name="connsiteY3372" fmla="*/ 5318466 h 5973007"/>
              <a:gd name="connsiteX3373" fmla="*/ 2937724 w 6884782"/>
              <a:gd name="connsiteY3373" fmla="*/ 5326933 h 5973007"/>
              <a:gd name="connsiteX3374" fmla="*/ 2946863 w 6884782"/>
              <a:gd name="connsiteY3374" fmla="*/ 5331992 h 5973007"/>
              <a:gd name="connsiteX3375" fmla="*/ 2945624 w 6884782"/>
              <a:gd name="connsiteY3375" fmla="*/ 5331889 h 5973007"/>
              <a:gd name="connsiteX3376" fmla="*/ 2947947 w 6884782"/>
              <a:gd name="connsiteY3376" fmla="*/ 5333644 h 5973007"/>
              <a:gd name="connsiteX3377" fmla="*/ 2951665 w 6884782"/>
              <a:gd name="connsiteY3377" fmla="*/ 5338807 h 5973007"/>
              <a:gd name="connsiteX3378" fmla="*/ 2947172 w 6884782"/>
              <a:gd name="connsiteY3378" fmla="*/ 5342627 h 5973007"/>
              <a:gd name="connsiteX3379" fmla="*/ 2939737 w 6884782"/>
              <a:gd name="connsiteY3379" fmla="*/ 5334264 h 5973007"/>
              <a:gd name="connsiteX3380" fmla="*/ 2941596 w 6884782"/>
              <a:gd name="connsiteY3380" fmla="*/ 5331373 h 5973007"/>
              <a:gd name="connsiteX3381" fmla="*/ 2938189 w 6884782"/>
              <a:gd name="connsiteY3381" fmla="*/ 5329824 h 5973007"/>
              <a:gd name="connsiteX3382" fmla="*/ 2929359 w 6884782"/>
              <a:gd name="connsiteY3382" fmla="*/ 5328069 h 5973007"/>
              <a:gd name="connsiteX3383" fmla="*/ 2935710 w 6884782"/>
              <a:gd name="connsiteY3383" fmla="*/ 5326313 h 5973007"/>
              <a:gd name="connsiteX3384" fmla="*/ 2938498 w 6884782"/>
              <a:gd name="connsiteY3384" fmla="*/ 5321563 h 5973007"/>
              <a:gd name="connsiteX3385" fmla="*/ 2937879 w 6884782"/>
              <a:gd name="connsiteY3385" fmla="*/ 5318156 h 5973007"/>
              <a:gd name="connsiteX3386" fmla="*/ 2934316 w 6884782"/>
              <a:gd name="connsiteY3386" fmla="*/ 5318466 h 5973007"/>
              <a:gd name="connsiteX3387" fmla="*/ 2930908 w 6884782"/>
              <a:gd name="connsiteY3387" fmla="*/ 5316504 h 5973007"/>
              <a:gd name="connsiteX3388" fmla="*/ 2930444 w 6884782"/>
              <a:gd name="connsiteY3388" fmla="*/ 5315058 h 5973007"/>
              <a:gd name="connsiteX3389" fmla="*/ 2925642 w 6884782"/>
              <a:gd name="connsiteY3389" fmla="*/ 5315058 h 5973007"/>
              <a:gd name="connsiteX3390" fmla="*/ 2920375 w 6884782"/>
              <a:gd name="connsiteY3390" fmla="*/ 5314025 h 5973007"/>
              <a:gd name="connsiteX3391" fmla="*/ 2924093 w 6884782"/>
              <a:gd name="connsiteY3391" fmla="*/ 5308656 h 5973007"/>
              <a:gd name="connsiteX3392" fmla="*/ 2925177 w 6884782"/>
              <a:gd name="connsiteY3392" fmla="*/ 5302357 h 5973007"/>
              <a:gd name="connsiteX3393" fmla="*/ 2917587 w 6884782"/>
              <a:gd name="connsiteY3393" fmla="*/ 5302151 h 5973007"/>
              <a:gd name="connsiteX3394" fmla="*/ 2431833 w 6884782"/>
              <a:gd name="connsiteY3394" fmla="*/ 5300602 h 5973007"/>
              <a:gd name="connsiteX3395" fmla="*/ 2431678 w 6884782"/>
              <a:gd name="connsiteY3395" fmla="*/ 5305765 h 5973007"/>
              <a:gd name="connsiteX3396" fmla="*/ 2429354 w 6884782"/>
              <a:gd name="connsiteY3396" fmla="*/ 5307520 h 5973007"/>
              <a:gd name="connsiteX3397" fmla="*/ 2426566 w 6884782"/>
              <a:gd name="connsiteY3397" fmla="*/ 5306075 h 5973007"/>
              <a:gd name="connsiteX3398" fmla="*/ 2425327 w 6884782"/>
              <a:gd name="connsiteY3398" fmla="*/ 5302668 h 5973007"/>
              <a:gd name="connsiteX3399" fmla="*/ 2431833 w 6884782"/>
              <a:gd name="connsiteY3399" fmla="*/ 5300602 h 5973007"/>
              <a:gd name="connsiteX3400" fmla="*/ 1963117 w 6884782"/>
              <a:gd name="connsiteY3400" fmla="*/ 5299570 h 5973007"/>
              <a:gd name="connsiteX3401" fmla="*/ 1967918 w 6884782"/>
              <a:gd name="connsiteY3401" fmla="*/ 5304733 h 5973007"/>
              <a:gd name="connsiteX3402" fmla="*/ 1963581 w 6884782"/>
              <a:gd name="connsiteY3402" fmla="*/ 5306694 h 5973007"/>
              <a:gd name="connsiteX3403" fmla="*/ 1961878 w 6884782"/>
              <a:gd name="connsiteY3403" fmla="*/ 5305868 h 5973007"/>
              <a:gd name="connsiteX3404" fmla="*/ 1963117 w 6884782"/>
              <a:gd name="connsiteY3404" fmla="*/ 5299570 h 5973007"/>
              <a:gd name="connsiteX3405" fmla="*/ 2699958 w 6884782"/>
              <a:gd name="connsiteY3405" fmla="*/ 5299053 h 5973007"/>
              <a:gd name="connsiteX3406" fmla="*/ 2707393 w 6884782"/>
              <a:gd name="connsiteY3406" fmla="*/ 5300912 h 5973007"/>
              <a:gd name="connsiteX3407" fmla="*/ 2705999 w 6884782"/>
              <a:gd name="connsiteY3407" fmla="*/ 5305249 h 5973007"/>
              <a:gd name="connsiteX3408" fmla="*/ 2693917 w 6884782"/>
              <a:gd name="connsiteY3408" fmla="*/ 5309585 h 5973007"/>
              <a:gd name="connsiteX3409" fmla="*/ 2695466 w 6884782"/>
              <a:gd name="connsiteY3409" fmla="*/ 5301635 h 5973007"/>
              <a:gd name="connsiteX3410" fmla="*/ 2699958 w 6884782"/>
              <a:gd name="connsiteY3410" fmla="*/ 5299053 h 5973007"/>
              <a:gd name="connsiteX3411" fmla="*/ 2412161 w 6884782"/>
              <a:gd name="connsiteY3411" fmla="*/ 5296782 h 5973007"/>
              <a:gd name="connsiteX3412" fmla="*/ 2412935 w 6884782"/>
              <a:gd name="connsiteY3412" fmla="*/ 5298537 h 5973007"/>
              <a:gd name="connsiteX3413" fmla="*/ 2411696 w 6884782"/>
              <a:gd name="connsiteY3413" fmla="*/ 5301325 h 5973007"/>
              <a:gd name="connsiteX3414" fmla="*/ 2408134 w 6884782"/>
              <a:gd name="connsiteY3414" fmla="*/ 5302151 h 5973007"/>
              <a:gd name="connsiteX3415" fmla="*/ 2407514 w 6884782"/>
              <a:gd name="connsiteY3415" fmla="*/ 5300292 h 5973007"/>
              <a:gd name="connsiteX3416" fmla="*/ 2407823 w 6884782"/>
              <a:gd name="connsiteY3416" fmla="*/ 5297608 h 5973007"/>
              <a:gd name="connsiteX3417" fmla="*/ 2412161 w 6884782"/>
              <a:gd name="connsiteY3417" fmla="*/ 5296782 h 5973007"/>
              <a:gd name="connsiteX3418" fmla="*/ 2811019 w 6884782"/>
              <a:gd name="connsiteY3418" fmla="*/ 5296575 h 5973007"/>
              <a:gd name="connsiteX3419" fmla="*/ 2812103 w 6884782"/>
              <a:gd name="connsiteY3419" fmla="*/ 5300086 h 5973007"/>
              <a:gd name="connsiteX3420" fmla="*/ 2811328 w 6884782"/>
              <a:gd name="connsiteY3420" fmla="*/ 5302254 h 5973007"/>
              <a:gd name="connsiteX3421" fmla="*/ 2812567 w 6884782"/>
              <a:gd name="connsiteY3421" fmla="*/ 5302461 h 5973007"/>
              <a:gd name="connsiteX3422" fmla="*/ 2814891 w 6884782"/>
              <a:gd name="connsiteY3422" fmla="*/ 5312477 h 5973007"/>
              <a:gd name="connsiteX3423" fmla="*/ 2810244 w 6884782"/>
              <a:gd name="connsiteY3423" fmla="*/ 5312683 h 5973007"/>
              <a:gd name="connsiteX3424" fmla="*/ 2806991 w 6884782"/>
              <a:gd name="connsiteY3424" fmla="*/ 5312270 h 5973007"/>
              <a:gd name="connsiteX3425" fmla="*/ 2804513 w 6884782"/>
              <a:gd name="connsiteY3425" fmla="*/ 5305765 h 5973007"/>
              <a:gd name="connsiteX3426" fmla="*/ 2804668 w 6884782"/>
              <a:gd name="connsiteY3426" fmla="*/ 5305455 h 5973007"/>
              <a:gd name="connsiteX3427" fmla="*/ 2804513 w 6884782"/>
              <a:gd name="connsiteY3427" fmla="*/ 5305352 h 5973007"/>
              <a:gd name="connsiteX3428" fmla="*/ 2803119 w 6884782"/>
              <a:gd name="connsiteY3428" fmla="*/ 5302357 h 5973007"/>
              <a:gd name="connsiteX3429" fmla="*/ 2804978 w 6884782"/>
              <a:gd name="connsiteY3429" fmla="*/ 5299156 h 5973007"/>
              <a:gd name="connsiteX3430" fmla="*/ 2811019 w 6884782"/>
              <a:gd name="connsiteY3430" fmla="*/ 5296575 h 5973007"/>
              <a:gd name="connsiteX3431" fmla="*/ 1702891 w 6884782"/>
              <a:gd name="connsiteY3431" fmla="*/ 5295956 h 5973007"/>
              <a:gd name="connsiteX3432" fmla="*/ 1704595 w 6884782"/>
              <a:gd name="connsiteY3432" fmla="*/ 5303080 h 5973007"/>
              <a:gd name="connsiteX3433" fmla="*/ 1702891 w 6884782"/>
              <a:gd name="connsiteY3433" fmla="*/ 5303907 h 5973007"/>
              <a:gd name="connsiteX3434" fmla="*/ 1700722 w 6884782"/>
              <a:gd name="connsiteY3434" fmla="*/ 5304423 h 5973007"/>
              <a:gd name="connsiteX3435" fmla="*/ 1696385 w 6884782"/>
              <a:gd name="connsiteY3435" fmla="*/ 5302874 h 5973007"/>
              <a:gd name="connsiteX3436" fmla="*/ 1695146 w 6884782"/>
              <a:gd name="connsiteY3436" fmla="*/ 5300809 h 5973007"/>
              <a:gd name="connsiteX3437" fmla="*/ 1695146 w 6884782"/>
              <a:gd name="connsiteY3437" fmla="*/ 5299363 h 5973007"/>
              <a:gd name="connsiteX3438" fmla="*/ 1695146 w 6884782"/>
              <a:gd name="connsiteY3438" fmla="*/ 5297608 h 5973007"/>
              <a:gd name="connsiteX3439" fmla="*/ 1702891 w 6884782"/>
              <a:gd name="connsiteY3439" fmla="*/ 5295956 h 5973007"/>
              <a:gd name="connsiteX3440" fmla="*/ 2649348 w 6884782"/>
              <a:gd name="connsiteY3440" fmla="*/ 5295895 h 5973007"/>
              <a:gd name="connsiteX3441" fmla="*/ 2655967 w 6884782"/>
              <a:gd name="connsiteY3441" fmla="*/ 5296679 h 5973007"/>
              <a:gd name="connsiteX3442" fmla="*/ 2652870 w 6884782"/>
              <a:gd name="connsiteY3442" fmla="*/ 5299570 h 5973007"/>
              <a:gd name="connsiteX3443" fmla="*/ 2653334 w 6884782"/>
              <a:gd name="connsiteY3443" fmla="*/ 5299466 h 5973007"/>
              <a:gd name="connsiteX3444" fmla="*/ 2651011 w 6884782"/>
              <a:gd name="connsiteY3444" fmla="*/ 5309379 h 5973007"/>
              <a:gd name="connsiteX3445" fmla="*/ 2645435 w 6884782"/>
              <a:gd name="connsiteY3445" fmla="*/ 5306384 h 5973007"/>
              <a:gd name="connsiteX3446" fmla="*/ 2645744 w 6884782"/>
              <a:gd name="connsiteY3446" fmla="*/ 5305972 h 5973007"/>
              <a:gd name="connsiteX3447" fmla="*/ 2640633 w 6884782"/>
              <a:gd name="connsiteY3447" fmla="*/ 5310515 h 5973007"/>
              <a:gd name="connsiteX3448" fmla="*/ 2633817 w 6884782"/>
              <a:gd name="connsiteY3448" fmla="*/ 5314335 h 5973007"/>
              <a:gd name="connsiteX3449" fmla="*/ 2649348 w 6884782"/>
              <a:gd name="connsiteY3449" fmla="*/ 5295895 h 5973007"/>
              <a:gd name="connsiteX3450" fmla="*/ 2857488 w 6884782"/>
              <a:gd name="connsiteY3450" fmla="*/ 5295646 h 5973007"/>
              <a:gd name="connsiteX3451" fmla="*/ 2861050 w 6884782"/>
              <a:gd name="connsiteY3451" fmla="*/ 5303184 h 5973007"/>
              <a:gd name="connsiteX3452" fmla="*/ 2857023 w 6884782"/>
              <a:gd name="connsiteY3452" fmla="*/ 5297195 h 5973007"/>
              <a:gd name="connsiteX3453" fmla="*/ 2857488 w 6884782"/>
              <a:gd name="connsiteY3453" fmla="*/ 5295646 h 5973007"/>
              <a:gd name="connsiteX3454" fmla="*/ 2724586 w 6884782"/>
              <a:gd name="connsiteY3454" fmla="*/ 5293890 h 5973007"/>
              <a:gd name="connsiteX3455" fmla="*/ 2725516 w 6884782"/>
              <a:gd name="connsiteY3455" fmla="*/ 5295440 h 5973007"/>
              <a:gd name="connsiteX3456" fmla="*/ 2726290 w 6884782"/>
              <a:gd name="connsiteY3456" fmla="*/ 5293890 h 5973007"/>
              <a:gd name="connsiteX3457" fmla="*/ 2724122 w 6884782"/>
              <a:gd name="connsiteY3457" fmla="*/ 5336948 h 5973007"/>
              <a:gd name="connsiteX3458" fmla="*/ 2720559 w 6884782"/>
              <a:gd name="connsiteY3458" fmla="*/ 5304836 h 5973007"/>
              <a:gd name="connsiteX3459" fmla="*/ 2722573 w 6884782"/>
              <a:gd name="connsiteY3459" fmla="*/ 5300809 h 5973007"/>
              <a:gd name="connsiteX3460" fmla="*/ 2720404 w 6884782"/>
              <a:gd name="connsiteY3460" fmla="*/ 5299466 h 5973007"/>
              <a:gd name="connsiteX3461" fmla="*/ 2720404 w 6884782"/>
              <a:gd name="connsiteY3461" fmla="*/ 5299156 h 5973007"/>
              <a:gd name="connsiteX3462" fmla="*/ 2719940 w 6884782"/>
              <a:gd name="connsiteY3462" fmla="*/ 5299156 h 5973007"/>
              <a:gd name="connsiteX3463" fmla="*/ 2719010 w 6884782"/>
              <a:gd name="connsiteY3463" fmla="*/ 5299156 h 5973007"/>
              <a:gd name="connsiteX3464" fmla="*/ 2718700 w 6884782"/>
              <a:gd name="connsiteY3464" fmla="*/ 5298434 h 5973007"/>
              <a:gd name="connsiteX3465" fmla="*/ 2718546 w 6884782"/>
              <a:gd name="connsiteY3465" fmla="*/ 5298331 h 5973007"/>
              <a:gd name="connsiteX3466" fmla="*/ 2718855 w 6884782"/>
              <a:gd name="connsiteY3466" fmla="*/ 5296472 h 5973007"/>
              <a:gd name="connsiteX3467" fmla="*/ 2720095 w 6884782"/>
              <a:gd name="connsiteY3467" fmla="*/ 5295026 h 5973007"/>
              <a:gd name="connsiteX3468" fmla="*/ 2721024 w 6884782"/>
              <a:gd name="connsiteY3468" fmla="*/ 5295646 h 5973007"/>
              <a:gd name="connsiteX3469" fmla="*/ 2721334 w 6884782"/>
              <a:gd name="connsiteY3469" fmla="*/ 5296162 h 5973007"/>
              <a:gd name="connsiteX3470" fmla="*/ 1829596 w 6884782"/>
              <a:gd name="connsiteY3470" fmla="*/ 5293787 h 5973007"/>
              <a:gd name="connsiteX3471" fmla="*/ 1839200 w 6884782"/>
              <a:gd name="connsiteY3471" fmla="*/ 5298331 h 5973007"/>
              <a:gd name="connsiteX3472" fmla="*/ 1840284 w 6884782"/>
              <a:gd name="connsiteY3472" fmla="*/ 5313096 h 5973007"/>
              <a:gd name="connsiteX3473" fmla="*/ 1830835 w 6884782"/>
              <a:gd name="connsiteY3473" fmla="*/ 5316813 h 5973007"/>
              <a:gd name="connsiteX3474" fmla="*/ 1825879 w 6884782"/>
              <a:gd name="connsiteY3474" fmla="*/ 5314542 h 5973007"/>
              <a:gd name="connsiteX3475" fmla="*/ 1823246 w 6884782"/>
              <a:gd name="connsiteY3475" fmla="*/ 5311651 h 5973007"/>
              <a:gd name="connsiteX3476" fmla="*/ 1825724 w 6884782"/>
              <a:gd name="connsiteY3476" fmla="*/ 5298950 h 5973007"/>
              <a:gd name="connsiteX3477" fmla="*/ 1827582 w 6884782"/>
              <a:gd name="connsiteY3477" fmla="*/ 5297195 h 5973007"/>
              <a:gd name="connsiteX3478" fmla="*/ 1829596 w 6884782"/>
              <a:gd name="connsiteY3478" fmla="*/ 5293787 h 5973007"/>
              <a:gd name="connsiteX3479" fmla="*/ 1706454 w 6884782"/>
              <a:gd name="connsiteY3479" fmla="*/ 5292755 h 5973007"/>
              <a:gd name="connsiteX3480" fmla="*/ 1707073 w 6884782"/>
              <a:gd name="connsiteY3480" fmla="*/ 5296059 h 5973007"/>
              <a:gd name="connsiteX3481" fmla="*/ 1705524 w 6884782"/>
              <a:gd name="connsiteY3481" fmla="*/ 5296575 h 5973007"/>
              <a:gd name="connsiteX3482" fmla="*/ 1703665 w 6884782"/>
              <a:gd name="connsiteY3482" fmla="*/ 5295233 h 5973007"/>
              <a:gd name="connsiteX3483" fmla="*/ 2324644 w 6884782"/>
              <a:gd name="connsiteY3483" fmla="*/ 5292239 h 5973007"/>
              <a:gd name="connsiteX3484" fmla="*/ 2324799 w 6884782"/>
              <a:gd name="connsiteY3484" fmla="*/ 5305662 h 5973007"/>
              <a:gd name="connsiteX3485" fmla="*/ 2317674 w 6884782"/>
              <a:gd name="connsiteY3485" fmla="*/ 5292651 h 5973007"/>
              <a:gd name="connsiteX3486" fmla="*/ 2324644 w 6884782"/>
              <a:gd name="connsiteY3486" fmla="*/ 5292239 h 5973007"/>
              <a:gd name="connsiteX3487" fmla="*/ 2791347 w 6884782"/>
              <a:gd name="connsiteY3487" fmla="*/ 5290483 h 5973007"/>
              <a:gd name="connsiteX3488" fmla="*/ 2790418 w 6884782"/>
              <a:gd name="connsiteY3488" fmla="*/ 5297298 h 5973007"/>
              <a:gd name="connsiteX3489" fmla="*/ 2785925 w 6884782"/>
              <a:gd name="connsiteY3489" fmla="*/ 5293581 h 5973007"/>
              <a:gd name="connsiteX3490" fmla="*/ 2791347 w 6884782"/>
              <a:gd name="connsiteY3490" fmla="*/ 5290483 h 5973007"/>
              <a:gd name="connsiteX3491" fmla="*/ 1716057 w 6884782"/>
              <a:gd name="connsiteY3491" fmla="*/ 5289244 h 5973007"/>
              <a:gd name="connsiteX3492" fmla="*/ 1717606 w 6884782"/>
              <a:gd name="connsiteY3492" fmla="*/ 5290999 h 5973007"/>
              <a:gd name="connsiteX3493" fmla="*/ 1716987 w 6884782"/>
              <a:gd name="connsiteY3493" fmla="*/ 5296162 h 5973007"/>
              <a:gd name="connsiteX3494" fmla="*/ 1715283 w 6884782"/>
              <a:gd name="connsiteY3494" fmla="*/ 5296988 h 5973007"/>
              <a:gd name="connsiteX3495" fmla="*/ 1712960 w 6884782"/>
              <a:gd name="connsiteY3495" fmla="*/ 5293787 h 5973007"/>
              <a:gd name="connsiteX3496" fmla="*/ 1714353 w 6884782"/>
              <a:gd name="connsiteY3496" fmla="*/ 5290174 h 5973007"/>
              <a:gd name="connsiteX3497" fmla="*/ 1716057 w 6884782"/>
              <a:gd name="connsiteY3497" fmla="*/ 5289244 h 5973007"/>
              <a:gd name="connsiteX3498" fmla="*/ 2453363 w 6884782"/>
              <a:gd name="connsiteY3498" fmla="*/ 5283772 h 5973007"/>
              <a:gd name="connsiteX3499" fmla="*/ 2445463 w 6884782"/>
              <a:gd name="connsiteY3499" fmla="*/ 5306281 h 5973007"/>
              <a:gd name="connsiteX3500" fmla="*/ 2453363 w 6884782"/>
              <a:gd name="connsiteY3500" fmla="*/ 5283772 h 5973007"/>
              <a:gd name="connsiteX3501" fmla="*/ 2386603 w 6884782"/>
              <a:gd name="connsiteY3501" fmla="*/ 5283358 h 5973007"/>
              <a:gd name="connsiteX3502" fmla="*/ 2387377 w 6884782"/>
              <a:gd name="connsiteY3502" fmla="*/ 5283358 h 5973007"/>
              <a:gd name="connsiteX3503" fmla="*/ 2384744 w 6884782"/>
              <a:gd name="connsiteY3503" fmla="*/ 5293890 h 5973007"/>
              <a:gd name="connsiteX3504" fmla="*/ 2383195 w 6884782"/>
              <a:gd name="connsiteY3504" fmla="*/ 5294923 h 5973007"/>
              <a:gd name="connsiteX3505" fmla="*/ 2381336 w 6884782"/>
              <a:gd name="connsiteY3505" fmla="*/ 5293890 h 5973007"/>
              <a:gd name="connsiteX3506" fmla="*/ 2380252 w 6884782"/>
              <a:gd name="connsiteY3506" fmla="*/ 5292342 h 5973007"/>
              <a:gd name="connsiteX3507" fmla="*/ 2381801 w 6884782"/>
              <a:gd name="connsiteY3507" fmla="*/ 5289450 h 5973007"/>
              <a:gd name="connsiteX3508" fmla="*/ 2385519 w 6884782"/>
              <a:gd name="connsiteY3508" fmla="*/ 5286043 h 5973007"/>
              <a:gd name="connsiteX3509" fmla="*/ 2386603 w 6884782"/>
              <a:gd name="connsiteY3509" fmla="*/ 5283358 h 5973007"/>
              <a:gd name="connsiteX3510" fmla="*/ 2618483 w 6884782"/>
              <a:gd name="connsiteY3510" fmla="*/ 5283049 h 5973007"/>
              <a:gd name="connsiteX3511" fmla="*/ 2609034 w 6884782"/>
              <a:gd name="connsiteY3511" fmla="*/ 5301325 h 5973007"/>
              <a:gd name="connsiteX3512" fmla="*/ 2607175 w 6884782"/>
              <a:gd name="connsiteY3512" fmla="*/ 5302254 h 5973007"/>
              <a:gd name="connsiteX3513" fmla="*/ 2607330 w 6884782"/>
              <a:gd name="connsiteY3513" fmla="*/ 5302668 h 5973007"/>
              <a:gd name="connsiteX3514" fmla="*/ 2602528 w 6884782"/>
              <a:gd name="connsiteY3514" fmla="*/ 5304733 h 5973007"/>
              <a:gd name="connsiteX3515" fmla="*/ 2600050 w 6884782"/>
              <a:gd name="connsiteY3515" fmla="*/ 5303287 h 5973007"/>
              <a:gd name="connsiteX3516" fmla="*/ 2600205 w 6884782"/>
              <a:gd name="connsiteY3516" fmla="*/ 5300189 h 5973007"/>
              <a:gd name="connsiteX3517" fmla="*/ 2602838 w 6884782"/>
              <a:gd name="connsiteY3517" fmla="*/ 5297608 h 5973007"/>
              <a:gd name="connsiteX3518" fmla="*/ 2606091 w 6884782"/>
              <a:gd name="connsiteY3518" fmla="*/ 5298950 h 5973007"/>
              <a:gd name="connsiteX3519" fmla="*/ 2609653 w 6884782"/>
              <a:gd name="connsiteY3519" fmla="*/ 5292239 h 5973007"/>
              <a:gd name="connsiteX3520" fmla="*/ 2618483 w 6884782"/>
              <a:gd name="connsiteY3520" fmla="*/ 5283049 h 5973007"/>
              <a:gd name="connsiteX3521" fmla="*/ 1985887 w 6884782"/>
              <a:gd name="connsiteY3521" fmla="*/ 5281500 h 5973007"/>
              <a:gd name="connsiteX3522" fmla="*/ 1986351 w 6884782"/>
              <a:gd name="connsiteY3522" fmla="*/ 5284081 h 5973007"/>
              <a:gd name="connsiteX3523" fmla="*/ 1985267 w 6884782"/>
              <a:gd name="connsiteY3523" fmla="*/ 5286663 h 5973007"/>
              <a:gd name="connsiteX3524" fmla="*/ 1983873 w 6884782"/>
              <a:gd name="connsiteY3524" fmla="*/ 5286973 h 5973007"/>
              <a:gd name="connsiteX3525" fmla="*/ 1982014 w 6884782"/>
              <a:gd name="connsiteY3525" fmla="*/ 5286663 h 5973007"/>
              <a:gd name="connsiteX3526" fmla="*/ 1981394 w 6884782"/>
              <a:gd name="connsiteY3526" fmla="*/ 5285630 h 5973007"/>
              <a:gd name="connsiteX3527" fmla="*/ 1983254 w 6884782"/>
              <a:gd name="connsiteY3527" fmla="*/ 5282222 h 5973007"/>
              <a:gd name="connsiteX3528" fmla="*/ 1985887 w 6884782"/>
              <a:gd name="connsiteY3528" fmla="*/ 5281500 h 5973007"/>
              <a:gd name="connsiteX3529" fmla="*/ 2677963 w 6884782"/>
              <a:gd name="connsiteY3529" fmla="*/ 5279022 h 5973007"/>
              <a:gd name="connsiteX3530" fmla="*/ 2686482 w 6884782"/>
              <a:gd name="connsiteY3530" fmla="*/ 5283978 h 5973007"/>
              <a:gd name="connsiteX3531" fmla="*/ 2685088 w 6884782"/>
              <a:gd name="connsiteY3531" fmla="*/ 5287592 h 5973007"/>
              <a:gd name="connsiteX3532" fmla="*/ 2682300 w 6884782"/>
              <a:gd name="connsiteY3532" fmla="*/ 5288831 h 5973007"/>
              <a:gd name="connsiteX3533" fmla="*/ 2675484 w 6884782"/>
              <a:gd name="connsiteY3533" fmla="*/ 5284081 h 5973007"/>
              <a:gd name="connsiteX3534" fmla="*/ 2677963 w 6884782"/>
              <a:gd name="connsiteY3534" fmla="*/ 5279022 h 5973007"/>
              <a:gd name="connsiteX3535" fmla="*/ 2629171 w 6884782"/>
              <a:gd name="connsiteY3535" fmla="*/ 5277989 h 5973007"/>
              <a:gd name="connsiteX3536" fmla="*/ 2636915 w 6884782"/>
              <a:gd name="connsiteY3536" fmla="*/ 5278092 h 5973007"/>
              <a:gd name="connsiteX3537" fmla="*/ 2637535 w 6884782"/>
              <a:gd name="connsiteY3537" fmla="*/ 5279951 h 5973007"/>
              <a:gd name="connsiteX3538" fmla="*/ 2637999 w 6884782"/>
              <a:gd name="connsiteY3538" fmla="*/ 5284288 h 5973007"/>
              <a:gd name="connsiteX3539" fmla="*/ 2635211 w 6884782"/>
              <a:gd name="connsiteY3539" fmla="*/ 5285940 h 5973007"/>
              <a:gd name="connsiteX3540" fmla="*/ 2631959 w 6884782"/>
              <a:gd name="connsiteY3540" fmla="*/ 5284184 h 5973007"/>
              <a:gd name="connsiteX3541" fmla="*/ 2630255 w 6884782"/>
              <a:gd name="connsiteY3541" fmla="*/ 5281087 h 5973007"/>
              <a:gd name="connsiteX3542" fmla="*/ 2629171 w 6884782"/>
              <a:gd name="connsiteY3542" fmla="*/ 5277989 h 5973007"/>
              <a:gd name="connsiteX3543" fmla="*/ 2410611 w 6884782"/>
              <a:gd name="connsiteY3543" fmla="*/ 5276750 h 5973007"/>
              <a:gd name="connsiteX3544" fmla="*/ 2411541 w 6884782"/>
              <a:gd name="connsiteY3544" fmla="*/ 5278402 h 5973007"/>
              <a:gd name="connsiteX3545" fmla="*/ 2411851 w 6884782"/>
              <a:gd name="connsiteY3545" fmla="*/ 5280674 h 5973007"/>
              <a:gd name="connsiteX3546" fmla="*/ 2413245 w 6884782"/>
              <a:gd name="connsiteY3546" fmla="*/ 5281500 h 5973007"/>
              <a:gd name="connsiteX3547" fmla="*/ 2412625 w 6884782"/>
              <a:gd name="connsiteY3547" fmla="*/ 5288418 h 5973007"/>
              <a:gd name="connsiteX3548" fmla="*/ 2411851 w 6884782"/>
              <a:gd name="connsiteY3548" fmla="*/ 5286766 h 5973007"/>
              <a:gd name="connsiteX3549" fmla="*/ 2411386 w 6884782"/>
              <a:gd name="connsiteY3549" fmla="*/ 5284494 h 5973007"/>
              <a:gd name="connsiteX3550" fmla="*/ 2410922 w 6884782"/>
              <a:gd name="connsiteY3550" fmla="*/ 5282222 h 5973007"/>
              <a:gd name="connsiteX3551" fmla="*/ 2410147 w 6884782"/>
              <a:gd name="connsiteY3551" fmla="*/ 5280571 h 5973007"/>
              <a:gd name="connsiteX3552" fmla="*/ 2410611 w 6884782"/>
              <a:gd name="connsiteY3552" fmla="*/ 5276750 h 5973007"/>
              <a:gd name="connsiteX3553" fmla="*/ 2695776 w 6884782"/>
              <a:gd name="connsiteY3553" fmla="*/ 5273136 h 5973007"/>
              <a:gd name="connsiteX3554" fmla="*/ 2702436 w 6884782"/>
              <a:gd name="connsiteY3554" fmla="*/ 5286146 h 5973007"/>
              <a:gd name="connsiteX3555" fmla="*/ 2698254 w 6884782"/>
              <a:gd name="connsiteY3555" fmla="*/ 5289554 h 5973007"/>
              <a:gd name="connsiteX3556" fmla="*/ 2689270 w 6884782"/>
              <a:gd name="connsiteY3556" fmla="*/ 5277783 h 5973007"/>
              <a:gd name="connsiteX3557" fmla="*/ 2695776 w 6884782"/>
              <a:gd name="connsiteY3557" fmla="*/ 5273136 h 5973007"/>
              <a:gd name="connsiteX3558" fmla="*/ 2373591 w 6884782"/>
              <a:gd name="connsiteY3558" fmla="*/ 5271897 h 5973007"/>
              <a:gd name="connsiteX3559" fmla="*/ 2374366 w 6884782"/>
              <a:gd name="connsiteY3559" fmla="*/ 5273239 h 5973007"/>
              <a:gd name="connsiteX3560" fmla="*/ 2377464 w 6884782"/>
              <a:gd name="connsiteY3560" fmla="*/ 5273755 h 5973007"/>
              <a:gd name="connsiteX3561" fmla="*/ 2381956 w 6884782"/>
              <a:gd name="connsiteY3561" fmla="*/ 5272104 h 5973007"/>
              <a:gd name="connsiteX3562" fmla="*/ 2376534 w 6884782"/>
              <a:gd name="connsiteY3562" fmla="*/ 5275408 h 5973007"/>
              <a:gd name="connsiteX3563" fmla="*/ 2376070 w 6884782"/>
              <a:gd name="connsiteY3563" fmla="*/ 5276544 h 5973007"/>
              <a:gd name="connsiteX3564" fmla="*/ 2376070 w 6884782"/>
              <a:gd name="connsiteY3564" fmla="*/ 5276750 h 5973007"/>
              <a:gd name="connsiteX3565" fmla="*/ 2375760 w 6884782"/>
              <a:gd name="connsiteY3565" fmla="*/ 5277060 h 5973007"/>
              <a:gd name="connsiteX3566" fmla="*/ 2375450 w 6884782"/>
              <a:gd name="connsiteY3566" fmla="*/ 5277989 h 5973007"/>
              <a:gd name="connsiteX3567" fmla="*/ 2374986 w 6884782"/>
              <a:gd name="connsiteY3567" fmla="*/ 5278092 h 5973007"/>
              <a:gd name="connsiteX3568" fmla="*/ 2373902 w 6884782"/>
              <a:gd name="connsiteY3568" fmla="*/ 5280261 h 5973007"/>
              <a:gd name="connsiteX3569" fmla="*/ 2372352 w 6884782"/>
              <a:gd name="connsiteY3569" fmla="*/ 5283978 h 5973007"/>
              <a:gd name="connsiteX3570" fmla="*/ 2370184 w 6884782"/>
              <a:gd name="connsiteY3570" fmla="*/ 5284288 h 5973007"/>
              <a:gd name="connsiteX3571" fmla="*/ 2369099 w 6884782"/>
              <a:gd name="connsiteY3571" fmla="*/ 5281913 h 5973007"/>
              <a:gd name="connsiteX3572" fmla="*/ 2369719 w 6884782"/>
              <a:gd name="connsiteY3572" fmla="*/ 5278609 h 5973007"/>
              <a:gd name="connsiteX3573" fmla="*/ 2369409 w 6884782"/>
              <a:gd name="connsiteY3573" fmla="*/ 5277783 h 5973007"/>
              <a:gd name="connsiteX3574" fmla="*/ 2370648 w 6884782"/>
              <a:gd name="connsiteY3574" fmla="*/ 5275305 h 5973007"/>
              <a:gd name="connsiteX3575" fmla="*/ 2371578 w 6884782"/>
              <a:gd name="connsiteY3575" fmla="*/ 5274788 h 5973007"/>
              <a:gd name="connsiteX3576" fmla="*/ 2711575 w 6884782"/>
              <a:gd name="connsiteY3576" fmla="*/ 5269522 h 5973007"/>
              <a:gd name="connsiteX3577" fmla="*/ 2715912 w 6884782"/>
              <a:gd name="connsiteY3577" fmla="*/ 5276234 h 5973007"/>
              <a:gd name="connsiteX3578" fmla="*/ 2714364 w 6884782"/>
              <a:gd name="connsiteY3578" fmla="*/ 5278299 h 5973007"/>
              <a:gd name="connsiteX3579" fmla="*/ 2711265 w 6884782"/>
              <a:gd name="connsiteY3579" fmla="*/ 5277370 h 5973007"/>
              <a:gd name="connsiteX3580" fmla="*/ 2709717 w 6884782"/>
              <a:gd name="connsiteY3580" fmla="*/ 5276027 h 5973007"/>
              <a:gd name="connsiteX3581" fmla="*/ 2711421 w 6884782"/>
              <a:gd name="connsiteY3581" fmla="*/ 5279848 h 5973007"/>
              <a:gd name="connsiteX3582" fmla="*/ 2710181 w 6884782"/>
              <a:gd name="connsiteY3582" fmla="*/ 5290174 h 5973007"/>
              <a:gd name="connsiteX3583" fmla="*/ 2706773 w 6884782"/>
              <a:gd name="connsiteY3583" fmla="*/ 5270039 h 5973007"/>
              <a:gd name="connsiteX3584" fmla="*/ 2708787 w 6884782"/>
              <a:gd name="connsiteY3584" fmla="*/ 5273962 h 5973007"/>
              <a:gd name="connsiteX3585" fmla="*/ 2708632 w 6884782"/>
              <a:gd name="connsiteY3585" fmla="*/ 5272516 h 5973007"/>
              <a:gd name="connsiteX3586" fmla="*/ 2711575 w 6884782"/>
              <a:gd name="connsiteY3586" fmla="*/ 5269522 h 5973007"/>
              <a:gd name="connsiteX3587" fmla="*/ 2296918 w 6884782"/>
              <a:gd name="connsiteY3587" fmla="*/ 5268077 h 5973007"/>
              <a:gd name="connsiteX3588" fmla="*/ 2307915 w 6884782"/>
              <a:gd name="connsiteY3588" fmla="*/ 5273343 h 5973007"/>
              <a:gd name="connsiteX3589" fmla="*/ 2305437 w 6884782"/>
              <a:gd name="connsiteY3589" fmla="*/ 5273652 h 5973007"/>
              <a:gd name="connsiteX3590" fmla="*/ 2296918 w 6884782"/>
              <a:gd name="connsiteY3590" fmla="*/ 5268077 h 5973007"/>
              <a:gd name="connsiteX3591" fmla="*/ 2441436 w 6884782"/>
              <a:gd name="connsiteY3591" fmla="*/ 5266424 h 5973007"/>
              <a:gd name="connsiteX3592" fmla="*/ 2441901 w 6884782"/>
              <a:gd name="connsiteY3592" fmla="*/ 5268799 h 5973007"/>
              <a:gd name="connsiteX3593" fmla="*/ 2443140 w 6884782"/>
              <a:gd name="connsiteY3593" fmla="*/ 5269729 h 5973007"/>
              <a:gd name="connsiteX3594" fmla="*/ 2442366 w 6884782"/>
              <a:gd name="connsiteY3594" fmla="*/ 5272413 h 5973007"/>
              <a:gd name="connsiteX3595" fmla="*/ 2441436 w 6884782"/>
              <a:gd name="connsiteY3595" fmla="*/ 5266424 h 5973007"/>
              <a:gd name="connsiteX3596" fmla="*/ 2633972 w 6884782"/>
              <a:gd name="connsiteY3596" fmla="*/ 5265082 h 5973007"/>
              <a:gd name="connsiteX3597" fmla="*/ 2636605 w 6884782"/>
              <a:gd name="connsiteY3597" fmla="*/ 5265702 h 5973007"/>
              <a:gd name="connsiteX3598" fmla="*/ 2633662 w 6884782"/>
              <a:gd name="connsiteY3598" fmla="*/ 5267044 h 5973007"/>
              <a:gd name="connsiteX3599" fmla="*/ 2633508 w 6884782"/>
              <a:gd name="connsiteY3599" fmla="*/ 5265908 h 5973007"/>
              <a:gd name="connsiteX3600" fmla="*/ 2633043 w 6884782"/>
              <a:gd name="connsiteY3600" fmla="*/ 5266528 h 5973007"/>
              <a:gd name="connsiteX3601" fmla="*/ 2633508 w 6884782"/>
              <a:gd name="connsiteY3601" fmla="*/ 5265392 h 5973007"/>
              <a:gd name="connsiteX3602" fmla="*/ 2633972 w 6884782"/>
              <a:gd name="connsiteY3602" fmla="*/ 5265082 h 5973007"/>
              <a:gd name="connsiteX3603" fmla="*/ 2640633 w 6884782"/>
              <a:gd name="connsiteY3603" fmla="*/ 5263946 h 5973007"/>
              <a:gd name="connsiteX3604" fmla="*/ 2643421 w 6884782"/>
              <a:gd name="connsiteY3604" fmla="*/ 5265702 h 5973007"/>
              <a:gd name="connsiteX3605" fmla="*/ 2639858 w 6884782"/>
              <a:gd name="connsiteY3605" fmla="*/ 5266631 h 5973007"/>
              <a:gd name="connsiteX3606" fmla="*/ 2636605 w 6884782"/>
              <a:gd name="connsiteY3606" fmla="*/ 5265495 h 5973007"/>
              <a:gd name="connsiteX3607" fmla="*/ 2640633 w 6884782"/>
              <a:gd name="connsiteY3607" fmla="*/ 5263946 h 5973007"/>
              <a:gd name="connsiteX3608" fmla="*/ 2491313 w 6884782"/>
              <a:gd name="connsiteY3608" fmla="*/ 5263843 h 5973007"/>
              <a:gd name="connsiteX3609" fmla="*/ 2497354 w 6884782"/>
              <a:gd name="connsiteY3609" fmla="*/ 5265185 h 5973007"/>
              <a:gd name="connsiteX3610" fmla="*/ 2498593 w 6884782"/>
              <a:gd name="connsiteY3610" fmla="*/ 5267767 h 5973007"/>
              <a:gd name="connsiteX3611" fmla="*/ 2498438 w 6884782"/>
              <a:gd name="connsiteY3611" fmla="*/ 5273033 h 5973007"/>
              <a:gd name="connsiteX3612" fmla="*/ 2499367 w 6884782"/>
              <a:gd name="connsiteY3612" fmla="*/ 5273033 h 5973007"/>
              <a:gd name="connsiteX3613" fmla="*/ 2494411 w 6884782"/>
              <a:gd name="connsiteY3613" fmla="*/ 5274169 h 5973007"/>
              <a:gd name="connsiteX3614" fmla="*/ 2491313 w 6884782"/>
              <a:gd name="connsiteY3614" fmla="*/ 5263843 h 5973007"/>
              <a:gd name="connsiteX3615" fmla="*/ 1541082 w 6884782"/>
              <a:gd name="connsiteY3615" fmla="*/ 5263804 h 5973007"/>
              <a:gd name="connsiteX3616" fmla="*/ 1546291 w 6884782"/>
              <a:gd name="connsiteY3616" fmla="*/ 5264669 h 5973007"/>
              <a:gd name="connsiteX3617" fmla="*/ 1540869 w 6884782"/>
              <a:gd name="connsiteY3617" fmla="*/ 5270142 h 5973007"/>
              <a:gd name="connsiteX3618" fmla="*/ 1538546 w 6884782"/>
              <a:gd name="connsiteY3618" fmla="*/ 5269522 h 5973007"/>
              <a:gd name="connsiteX3619" fmla="*/ 1541082 w 6884782"/>
              <a:gd name="connsiteY3619" fmla="*/ 5263804 h 5973007"/>
              <a:gd name="connsiteX3620" fmla="*/ 2169129 w 6884782"/>
              <a:gd name="connsiteY3620" fmla="*/ 5262294 h 5973007"/>
              <a:gd name="connsiteX3621" fmla="*/ 2183844 w 6884782"/>
              <a:gd name="connsiteY3621" fmla="*/ 5267870 h 5973007"/>
              <a:gd name="connsiteX3622" fmla="*/ 2182760 w 6884782"/>
              <a:gd name="connsiteY3622" fmla="*/ 5269625 h 5973007"/>
              <a:gd name="connsiteX3623" fmla="*/ 2180436 w 6884782"/>
              <a:gd name="connsiteY3623" fmla="*/ 5270142 h 5973007"/>
              <a:gd name="connsiteX3624" fmla="*/ 2172846 w 6884782"/>
              <a:gd name="connsiteY3624" fmla="*/ 5267663 h 5973007"/>
              <a:gd name="connsiteX3625" fmla="*/ 2171298 w 6884782"/>
              <a:gd name="connsiteY3625" fmla="*/ 5266734 h 5973007"/>
              <a:gd name="connsiteX3626" fmla="*/ 2169748 w 6884782"/>
              <a:gd name="connsiteY3626" fmla="*/ 5265908 h 5973007"/>
              <a:gd name="connsiteX3627" fmla="*/ 2168819 w 6884782"/>
              <a:gd name="connsiteY3627" fmla="*/ 5264359 h 5973007"/>
              <a:gd name="connsiteX3628" fmla="*/ 2169129 w 6884782"/>
              <a:gd name="connsiteY3628" fmla="*/ 5262294 h 5973007"/>
              <a:gd name="connsiteX3629" fmla="*/ 2786080 w 6884782"/>
              <a:gd name="connsiteY3629" fmla="*/ 5262191 h 5973007"/>
              <a:gd name="connsiteX3630" fmla="*/ 2788249 w 6884782"/>
              <a:gd name="connsiteY3630" fmla="*/ 5262914 h 5973007"/>
              <a:gd name="connsiteX3631" fmla="*/ 2791966 w 6884782"/>
              <a:gd name="connsiteY3631" fmla="*/ 5263017 h 5973007"/>
              <a:gd name="connsiteX3632" fmla="*/ 2791656 w 6884782"/>
              <a:gd name="connsiteY3632" fmla="*/ 5274375 h 5973007"/>
              <a:gd name="connsiteX3633" fmla="*/ 2782673 w 6884782"/>
              <a:gd name="connsiteY3633" fmla="*/ 5283462 h 5973007"/>
              <a:gd name="connsiteX3634" fmla="*/ 2779420 w 6884782"/>
              <a:gd name="connsiteY3634" fmla="*/ 5283255 h 5973007"/>
              <a:gd name="connsiteX3635" fmla="*/ 2772604 w 6884782"/>
              <a:gd name="connsiteY3635" fmla="*/ 5276544 h 5973007"/>
              <a:gd name="connsiteX3636" fmla="*/ 2772759 w 6884782"/>
              <a:gd name="connsiteY3636" fmla="*/ 5270658 h 5973007"/>
              <a:gd name="connsiteX3637" fmla="*/ 2786080 w 6884782"/>
              <a:gd name="connsiteY3637" fmla="*/ 5262191 h 5973007"/>
              <a:gd name="connsiteX3638" fmla="*/ 1940967 w 6884782"/>
              <a:gd name="connsiteY3638" fmla="*/ 5261881 h 5973007"/>
              <a:gd name="connsiteX3639" fmla="*/ 1948247 w 6884782"/>
              <a:gd name="connsiteY3639" fmla="*/ 5261984 h 5973007"/>
              <a:gd name="connsiteX3640" fmla="*/ 1948866 w 6884782"/>
              <a:gd name="connsiteY3640" fmla="*/ 5264566 h 5973007"/>
              <a:gd name="connsiteX3641" fmla="*/ 1943445 w 6884782"/>
              <a:gd name="connsiteY3641" fmla="*/ 5267663 h 5973007"/>
              <a:gd name="connsiteX3642" fmla="*/ 1941276 w 6884782"/>
              <a:gd name="connsiteY3642" fmla="*/ 5266218 h 5973007"/>
              <a:gd name="connsiteX3643" fmla="*/ 1940502 w 6884782"/>
              <a:gd name="connsiteY3643" fmla="*/ 5264359 h 5973007"/>
              <a:gd name="connsiteX3644" fmla="*/ 1940967 w 6884782"/>
              <a:gd name="connsiteY3644" fmla="*/ 5261881 h 5973007"/>
              <a:gd name="connsiteX3645" fmla="*/ 2278950 w 6884782"/>
              <a:gd name="connsiteY3645" fmla="*/ 5261778 h 5973007"/>
              <a:gd name="connsiteX3646" fmla="*/ 2280344 w 6884782"/>
              <a:gd name="connsiteY3646" fmla="*/ 5265288 h 5973007"/>
              <a:gd name="connsiteX3647" fmla="*/ 2275233 w 6884782"/>
              <a:gd name="connsiteY3647" fmla="*/ 5266941 h 5973007"/>
              <a:gd name="connsiteX3648" fmla="*/ 2273839 w 6884782"/>
              <a:gd name="connsiteY3648" fmla="*/ 5263430 h 5973007"/>
              <a:gd name="connsiteX3649" fmla="*/ 2278950 w 6884782"/>
              <a:gd name="connsiteY3649" fmla="*/ 5261778 h 5973007"/>
              <a:gd name="connsiteX3650" fmla="*/ 2843082 w 6884782"/>
              <a:gd name="connsiteY3650" fmla="*/ 5260539 h 5973007"/>
              <a:gd name="connsiteX3651" fmla="*/ 2846180 w 6884782"/>
              <a:gd name="connsiteY3651" fmla="*/ 5263430 h 5973007"/>
              <a:gd name="connsiteX3652" fmla="*/ 2844786 w 6884782"/>
              <a:gd name="connsiteY3652" fmla="*/ 5266115 h 5973007"/>
              <a:gd name="connsiteX3653" fmla="*/ 2843856 w 6884782"/>
              <a:gd name="connsiteY3653" fmla="*/ 5266528 h 5973007"/>
              <a:gd name="connsiteX3654" fmla="*/ 2844011 w 6884782"/>
              <a:gd name="connsiteY3654" fmla="*/ 5269109 h 5973007"/>
              <a:gd name="connsiteX3655" fmla="*/ 2839055 w 6884782"/>
              <a:gd name="connsiteY3655" fmla="*/ 5273859 h 5973007"/>
              <a:gd name="connsiteX3656" fmla="*/ 2834253 w 6884782"/>
              <a:gd name="connsiteY3656" fmla="*/ 5272413 h 5973007"/>
              <a:gd name="connsiteX3657" fmla="*/ 2837196 w 6884782"/>
              <a:gd name="connsiteY3657" fmla="*/ 5262294 h 5973007"/>
              <a:gd name="connsiteX3658" fmla="*/ 2837351 w 6884782"/>
              <a:gd name="connsiteY3658" fmla="*/ 5262294 h 5973007"/>
              <a:gd name="connsiteX3659" fmla="*/ 2843082 w 6884782"/>
              <a:gd name="connsiteY3659" fmla="*/ 5260539 h 5973007"/>
              <a:gd name="connsiteX3660" fmla="*/ 2677653 w 6884782"/>
              <a:gd name="connsiteY3660" fmla="*/ 5260022 h 5973007"/>
              <a:gd name="connsiteX3661" fmla="*/ 2680441 w 6884782"/>
              <a:gd name="connsiteY3661" fmla="*/ 5261778 h 5973007"/>
              <a:gd name="connsiteX3662" fmla="*/ 2679667 w 6884782"/>
              <a:gd name="connsiteY3662" fmla="*/ 5264463 h 5973007"/>
              <a:gd name="connsiteX3663" fmla="*/ 2678273 w 6884782"/>
              <a:gd name="connsiteY3663" fmla="*/ 5262294 h 5973007"/>
              <a:gd name="connsiteX3664" fmla="*/ 2677653 w 6884782"/>
              <a:gd name="connsiteY3664" fmla="*/ 5260022 h 5973007"/>
              <a:gd name="connsiteX3665" fmla="*/ 2875146 w 6884782"/>
              <a:gd name="connsiteY3665" fmla="*/ 5259506 h 5973007"/>
              <a:gd name="connsiteX3666" fmla="*/ 2872977 w 6884782"/>
              <a:gd name="connsiteY3666" fmla="*/ 5262088 h 5973007"/>
              <a:gd name="connsiteX3667" fmla="*/ 2871893 w 6884782"/>
              <a:gd name="connsiteY3667" fmla="*/ 5261984 h 5973007"/>
              <a:gd name="connsiteX3668" fmla="*/ 2875146 w 6884782"/>
              <a:gd name="connsiteY3668" fmla="*/ 5259506 h 5973007"/>
              <a:gd name="connsiteX3669" fmla="*/ 1612896 w 6884782"/>
              <a:gd name="connsiteY3669" fmla="*/ 5258990 h 5973007"/>
              <a:gd name="connsiteX3670" fmla="*/ 1616769 w 6884782"/>
              <a:gd name="connsiteY3670" fmla="*/ 5261572 h 5973007"/>
              <a:gd name="connsiteX3671" fmla="*/ 1614910 w 6884782"/>
              <a:gd name="connsiteY3671" fmla="*/ 5272000 h 5973007"/>
              <a:gd name="connsiteX3672" fmla="*/ 1605462 w 6884782"/>
              <a:gd name="connsiteY3672" fmla="*/ 5273652 h 5973007"/>
              <a:gd name="connsiteX3673" fmla="*/ 1604532 w 6884782"/>
              <a:gd name="connsiteY3673" fmla="*/ 5275305 h 5973007"/>
              <a:gd name="connsiteX3674" fmla="*/ 1600969 w 6884782"/>
              <a:gd name="connsiteY3674" fmla="*/ 5276956 h 5973007"/>
              <a:gd name="connsiteX3675" fmla="*/ 1600350 w 6884782"/>
              <a:gd name="connsiteY3675" fmla="*/ 5275201 h 5973007"/>
              <a:gd name="connsiteX3676" fmla="*/ 1603913 w 6884782"/>
              <a:gd name="connsiteY3676" fmla="*/ 5272723 h 5973007"/>
              <a:gd name="connsiteX3677" fmla="*/ 1603913 w 6884782"/>
              <a:gd name="connsiteY3677" fmla="*/ 5271897 h 5973007"/>
              <a:gd name="connsiteX3678" fmla="*/ 1602518 w 6884782"/>
              <a:gd name="connsiteY3678" fmla="*/ 5270039 h 5973007"/>
              <a:gd name="connsiteX3679" fmla="*/ 1603448 w 6884782"/>
              <a:gd name="connsiteY3679" fmla="*/ 5261365 h 5973007"/>
              <a:gd name="connsiteX3680" fmla="*/ 1612896 w 6884782"/>
              <a:gd name="connsiteY3680" fmla="*/ 5258990 h 5973007"/>
              <a:gd name="connsiteX3681" fmla="*/ 2675794 w 6884782"/>
              <a:gd name="connsiteY3681" fmla="*/ 5258680 h 5973007"/>
              <a:gd name="connsiteX3682" fmla="*/ 2677188 w 6884782"/>
              <a:gd name="connsiteY3682" fmla="*/ 5259610 h 5973007"/>
              <a:gd name="connsiteX3683" fmla="*/ 2676724 w 6884782"/>
              <a:gd name="connsiteY3683" fmla="*/ 5260332 h 5973007"/>
              <a:gd name="connsiteX3684" fmla="*/ 2675794 w 6884782"/>
              <a:gd name="connsiteY3684" fmla="*/ 5259506 h 5973007"/>
              <a:gd name="connsiteX3685" fmla="*/ 2675794 w 6884782"/>
              <a:gd name="connsiteY3685" fmla="*/ 5258680 h 5973007"/>
              <a:gd name="connsiteX3686" fmla="*/ 2418821 w 6884782"/>
              <a:gd name="connsiteY3686" fmla="*/ 5257441 h 5973007"/>
              <a:gd name="connsiteX3687" fmla="*/ 2421919 w 6884782"/>
              <a:gd name="connsiteY3687" fmla="*/ 5262811 h 5973007"/>
              <a:gd name="connsiteX3688" fmla="*/ 2416033 w 6884782"/>
              <a:gd name="connsiteY3688" fmla="*/ 5269625 h 5973007"/>
              <a:gd name="connsiteX3689" fmla="*/ 2413090 w 6884782"/>
              <a:gd name="connsiteY3689" fmla="*/ 5269522 h 5973007"/>
              <a:gd name="connsiteX3690" fmla="*/ 2409837 w 6884782"/>
              <a:gd name="connsiteY3690" fmla="*/ 5266424 h 5973007"/>
              <a:gd name="connsiteX3691" fmla="*/ 2418821 w 6884782"/>
              <a:gd name="connsiteY3691" fmla="*/ 5257441 h 5973007"/>
              <a:gd name="connsiteX3692" fmla="*/ 2328052 w 6884782"/>
              <a:gd name="connsiteY3692" fmla="*/ 5257131 h 5973007"/>
              <a:gd name="connsiteX3693" fmla="*/ 2328517 w 6884782"/>
              <a:gd name="connsiteY3693" fmla="*/ 5257544 h 5973007"/>
              <a:gd name="connsiteX3694" fmla="*/ 2336881 w 6884782"/>
              <a:gd name="connsiteY3694" fmla="*/ 5261881 h 5973007"/>
              <a:gd name="connsiteX3695" fmla="*/ 2337965 w 6884782"/>
              <a:gd name="connsiteY3695" fmla="*/ 5267044 h 5973007"/>
              <a:gd name="connsiteX3696" fmla="*/ 2335487 w 6884782"/>
              <a:gd name="connsiteY3696" fmla="*/ 5267973 h 5973007"/>
              <a:gd name="connsiteX3697" fmla="*/ 2331615 w 6884782"/>
              <a:gd name="connsiteY3697" fmla="*/ 5265702 h 5973007"/>
              <a:gd name="connsiteX3698" fmla="*/ 2331615 w 6884782"/>
              <a:gd name="connsiteY3698" fmla="*/ 5267560 h 5973007"/>
              <a:gd name="connsiteX3699" fmla="*/ 2329601 w 6884782"/>
              <a:gd name="connsiteY3699" fmla="*/ 5271690 h 5973007"/>
              <a:gd name="connsiteX3700" fmla="*/ 2323405 w 6884782"/>
              <a:gd name="connsiteY3700" fmla="*/ 5267767 h 5973007"/>
              <a:gd name="connsiteX3701" fmla="*/ 2323715 w 6884782"/>
              <a:gd name="connsiteY3701" fmla="*/ 5258371 h 5973007"/>
              <a:gd name="connsiteX3702" fmla="*/ 2328052 w 6884782"/>
              <a:gd name="connsiteY3702" fmla="*/ 5257131 h 5973007"/>
              <a:gd name="connsiteX3703" fmla="*/ 2376844 w 6884782"/>
              <a:gd name="connsiteY3703" fmla="*/ 5256821 h 5973007"/>
              <a:gd name="connsiteX3704" fmla="*/ 2380252 w 6884782"/>
              <a:gd name="connsiteY3704" fmla="*/ 5263637 h 5973007"/>
              <a:gd name="connsiteX3705" fmla="*/ 2378703 w 6884782"/>
              <a:gd name="connsiteY3705" fmla="*/ 5264566 h 5973007"/>
              <a:gd name="connsiteX3706" fmla="*/ 2376844 w 6884782"/>
              <a:gd name="connsiteY3706" fmla="*/ 5265185 h 5973007"/>
              <a:gd name="connsiteX3707" fmla="*/ 2374676 w 6884782"/>
              <a:gd name="connsiteY3707" fmla="*/ 5265185 h 5973007"/>
              <a:gd name="connsiteX3708" fmla="*/ 2372043 w 6884782"/>
              <a:gd name="connsiteY3708" fmla="*/ 5264049 h 5973007"/>
              <a:gd name="connsiteX3709" fmla="*/ 2369874 w 6884782"/>
              <a:gd name="connsiteY3709" fmla="*/ 5260745 h 5973007"/>
              <a:gd name="connsiteX3710" fmla="*/ 2369719 w 6884782"/>
              <a:gd name="connsiteY3710" fmla="*/ 5258887 h 5973007"/>
              <a:gd name="connsiteX3711" fmla="*/ 2376844 w 6884782"/>
              <a:gd name="connsiteY3711" fmla="*/ 5256821 h 5973007"/>
              <a:gd name="connsiteX3712" fmla="*/ 2436169 w 6884782"/>
              <a:gd name="connsiteY3712" fmla="*/ 5256718 h 5973007"/>
              <a:gd name="connsiteX3713" fmla="*/ 2438648 w 6884782"/>
              <a:gd name="connsiteY3713" fmla="*/ 5257338 h 5973007"/>
              <a:gd name="connsiteX3714" fmla="*/ 2438493 w 6884782"/>
              <a:gd name="connsiteY3714" fmla="*/ 5260332 h 5973007"/>
              <a:gd name="connsiteX3715" fmla="*/ 2440816 w 6884782"/>
              <a:gd name="connsiteY3715" fmla="*/ 5262914 h 5973007"/>
              <a:gd name="connsiteX3716" fmla="*/ 2440662 w 6884782"/>
              <a:gd name="connsiteY3716" fmla="*/ 5266011 h 5973007"/>
              <a:gd name="connsiteX3717" fmla="*/ 2439732 w 6884782"/>
              <a:gd name="connsiteY3717" fmla="*/ 5266218 h 5973007"/>
              <a:gd name="connsiteX3718" fmla="*/ 2440042 w 6884782"/>
              <a:gd name="connsiteY3718" fmla="*/ 5265495 h 5973007"/>
              <a:gd name="connsiteX3719" fmla="*/ 2439577 w 6884782"/>
              <a:gd name="connsiteY3719" fmla="*/ 5263223 h 5973007"/>
              <a:gd name="connsiteX3720" fmla="*/ 2435860 w 6884782"/>
              <a:gd name="connsiteY3720" fmla="*/ 5258680 h 5973007"/>
              <a:gd name="connsiteX3721" fmla="*/ 2436169 w 6884782"/>
              <a:gd name="connsiteY3721" fmla="*/ 5256718 h 5973007"/>
              <a:gd name="connsiteX3722" fmla="*/ 2673471 w 6884782"/>
              <a:gd name="connsiteY3722" fmla="*/ 5256202 h 5973007"/>
              <a:gd name="connsiteX3723" fmla="*/ 2673316 w 6884782"/>
              <a:gd name="connsiteY3723" fmla="*/ 5258061 h 5973007"/>
              <a:gd name="connsiteX3724" fmla="*/ 2672231 w 6884782"/>
              <a:gd name="connsiteY3724" fmla="*/ 5256409 h 5973007"/>
              <a:gd name="connsiteX3725" fmla="*/ 2673471 w 6884782"/>
              <a:gd name="connsiteY3725" fmla="*/ 5256202 h 5973007"/>
              <a:gd name="connsiteX3726" fmla="*/ 1685853 w 6884782"/>
              <a:gd name="connsiteY3726" fmla="*/ 5255686 h 5973007"/>
              <a:gd name="connsiteX3727" fmla="*/ 1685543 w 6884782"/>
              <a:gd name="connsiteY3727" fmla="*/ 5259196 h 5973007"/>
              <a:gd name="connsiteX3728" fmla="*/ 1678882 w 6884782"/>
              <a:gd name="connsiteY3728" fmla="*/ 5263120 h 5973007"/>
              <a:gd name="connsiteX3729" fmla="*/ 1676869 w 6884782"/>
              <a:gd name="connsiteY3729" fmla="*/ 5262604 h 5973007"/>
              <a:gd name="connsiteX3730" fmla="*/ 1678108 w 6884782"/>
              <a:gd name="connsiteY3730" fmla="*/ 5258164 h 5973007"/>
              <a:gd name="connsiteX3731" fmla="*/ 1685853 w 6884782"/>
              <a:gd name="connsiteY3731" fmla="*/ 5255686 h 5973007"/>
              <a:gd name="connsiteX3732" fmla="*/ 2855164 w 6884782"/>
              <a:gd name="connsiteY3732" fmla="*/ 5254963 h 5973007"/>
              <a:gd name="connsiteX3733" fmla="*/ 2854700 w 6884782"/>
              <a:gd name="connsiteY3733" fmla="*/ 5260849 h 5973007"/>
              <a:gd name="connsiteX3734" fmla="*/ 2849588 w 6884782"/>
              <a:gd name="connsiteY3734" fmla="*/ 5259610 h 5973007"/>
              <a:gd name="connsiteX3735" fmla="*/ 2855164 w 6884782"/>
              <a:gd name="connsiteY3735" fmla="*/ 5254963 h 5973007"/>
              <a:gd name="connsiteX3736" fmla="*/ 2532050 w 6884782"/>
              <a:gd name="connsiteY3736" fmla="*/ 5254860 h 5973007"/>
              <a:gd name="connsiteX3737" fmla="*/ 2554665 w 6884782"/>
              <a:gd name="connsiteY3737" fmla="*/ 5264049 h 5973007"/>
              <a:gd name="connsiteX3738" fmla="*/ 2559003 w 6884782"/>
              <a:gd name="connsiteY3738" fmla="*/ 5270039 h 5973007"/>
              <a:gd name="connsiteX3739" fmla="*/ 2542738 w 6884782"/>
              <a:gd name="connsiteY3739" fmla="*/ 5268180 h 5973007"/>
              <a:gd name="connsiteX3740" fmla="*/ 2536388 w 6884782"/>
              <a:gd name="connsiteY3740" fmla="*/ 5283978 h 5973007"/>
              <a:gd name="connsiteX3741" fmla="*/ 2534374 w 6884782"/>
              <a:gd name="connsiteY3741" fmla="*/ 5279951 h 5973007"/>
              <a:gd name="connsiteX3742" fmla="*/ 2536233 w 6884782"/>
              <a:gd name="connsiteY3742" fmla="*/ 5264256 h 5973007"/>
              <a:gd name="connsiteX3743" fmla="*/ 2532050 w 6884782"/>
              <a:gd name="connsiteY3743" fmla="*/ 5254860 h 5973007"/>
              <a:gd name="connsiteX3744" fmla="*/ 2565508 w 6884782"/>
              <a:gd name="connsiteY3744" fmla="*/ 5254240 h 5973007"/>
              <a:gd name="connsiteX3745" fmla="*/ 2570929 w 6884782"/>
              <a:gd name="connsiteY3745" fmla="*/ 5258783 h 5973007"/>
              <a:gd name="connsiteX3746" fmla="*/ 2566902 w 6884782"/>
              <a:gd name="connsiteY3746" fmla="*/ 5257957 h 5973007"/>
              <a:gd name="connsiteX3747" fmla="*/ 2565508 w 6884782"/>
              <a:gd name="connsiteY3747" fmla="*/ 5254240 h 5973007"/>
              <a:gd name="connsiteX3748" fmla="*/ 2465600 w 6884782"/>
              <a:gd name="connsiteY3748" fmla="*/ 5254137 h 5973007"/>
              <a:gd name="connsiteX3749" fmla="*/ 2473345 w 6884782"/>
              <a:gd name="connsiteY3749" fmla="*/ 5256305 h 5973007"/>
              <a:gd name="connsiteX3750" fmla="*/ 2463586 w 6884782"/>
              <a:gd name="connsiteY3750" fmla="*/ 5272516 h 5973007"/>
              <a:gd name="connsiteX3751" fmla="*/ 2461573 w 6884782"/>
              <a:gd name="connsiteY3751" fmla="*/ 5268489 h 5973007"/>
              <a:gd name="connsiteX3752" fmla="*/ 2465600 w 6884782"/>
              <a:gd name="connsiteY3752" fmla="*/ 5254137 h 5973007"/>
              <a:gd name="connsiteX3753" fmla="*/ 2762342 w 6884782"/>
              <a:gd name="connsiteY3753" fmla="*/ 5253840 h 5973007"/>
              <a:gd name="connsiteX3754" fmla="*/ 2767028 w 6884782"/>
              <a:gd name="connsiteY3754" fmla="*/ 5256615 h 5973007"/>
              <a:gd name="connsiteX3755" fmla="*/ 2766254 w 6884782"/>
              <a:gd name="connsiteY3755" fmla="*/ 5258164 h 5973007"/>
              <a:gd name="connsiteX3756" fmla="*/ 2768112 w 6884782"/>
              <a:gd name="connsiteY3756" fmla="*/ 5257957 h 5973007"/>
              <a:gd name="connsiteX3757" fmla="*/ 2770900 w 6884782"/>
              <a:gd name="connsiteY3757" fmla="*/ 5258474 h 5973007"/>
              <a:gd name="connsiteX3758" fmla="*/ 2771520 w 6884782"/>
              <a:gd name="connsiteY3758" fmla="*/ 5264772 h 5973007"/>
              <a:gd name="connsiteX3759" fmla="*/ 2769507 w 6884782"/>
              <a:gd name="connsiteY3759" fmla="*/ 5266734 h 5973007"/>
              <a:gd name="connsiteX3760" fmla="*/ 2764550 w 6884782"/>
              <a:gd name="connsiteY3760" fmla="*/ 5268283 h 5973007"/>
              <a:gd name="connsiteX3761" fmla="*/ 2764705 w 6884782"/>
              <a:gd name="connsiteY3761" fmla="*/ 5269006 h 5973007"/>
              <a:gd name="connsiteX3762" fmla="*/ 2762226 w 6884782"/>
              <a:gd name="connsiteY3762" fmla="*/ 5264772 h 5973007"/>
              <a:gd name="connsiteX3763" fmla="*/ 2762381 w 6884782"/>
              <a:gd name="connsiteY3763" fmla="*/ 5264049 h 5973007"/>
              <a:gd name="connsiteX3764" fmla="*/ 2761917 w 6884782"/>
              <a:gd name="connsiteY3764" fmla="*/ 5264669 h 5973007"/>
              <a:gd name="connsiteX3765" fmla="*/ 2757270 w 6884782"/>
              <a:gd name="connsiteY3765" fmla="*/ 5260849 h 5973007"/>
              <a:gd name="connsiteX3766" fmla="*/ 2756960 w 6884782"/>
              <a:gd name="connsiteY3766" fmla="*/ 5254240 h 5973007"/>
              <a:gd name="connsiteX3767" fmla="*/ 2762342 w 6884782"/>
              <a:gd name="connsiteY3767" fmla="*/ 5253840 h 5973007"/>
              <a:gd name="connsiteX3768" fmla="*/ 2836422 w 6884782"/>
              <a:gd name="connsiteY3768" fmla="*/ 5253827 h 5973007"/>
              <a:gd name="connsiteX3769" fmla="*/ 2841998 w 6884782"/>
              <a:gd name="connsiteY3769" fmla="*/ 5257131 h 5973007"/>
              <a:gd name="connsiteX3770" fmla="*/ 2840759 w 6884782"/>
              <a:gd name="connsiteY3770" fmla="*/ 5257338 h 5973007"/>
              <a:gd name="connsiteX3771" fmla="*/ 2839210 w 6884782"/>
              <a:gd name="connsiteY3771" fmla="*/ 5256305 h 5973007"/>
              <a:gd name="connsiteX3772" fmla="*/ 2836422 w 6884782"/>
              <a:gd name="connsiteY3772" fmla="*/ 5253827 h 5973007"/>
              <a:gd name="connsiteX3773" fmla="*/ 2445928 w 6884782"/>
              <a:gd name="connsiteY3773" fmla="*/ 5253724 h 5973007"/>
              <a:gd name="connsiteX3774" fmla="*/ 2453208 w 6884782"/>
              <a:gd name="connsiteY3774" fmla="*/ 5281087 h 5973007"/>
              <a:gd name="connsiteX3775" fmla="*/ 2445928 w 6884782"/>
              <a:gd name="connsiteY3775" fmla="*/ 5253724 h 5973007"/>
              <a:gd name="connsiteX3776" fmla="*/ 2377154 w 6884782"/>
              <a:gd name="connsiteY3776" fmla="*/ 5253724 h 5973007"/>
              <a:gd name="connsiteX3777" fmla="*/ 2378548 w 6884782"/>
              <a:gd name="connsiteY3777" fmla="*/ 5253724 h 5973007"/>
              <a:gd name="connsiteX3778" fmla="*/ 2377774 w 6884782"/>
              <a:gd name="connsiteY3778" fmla="*/ 5254447 h 5973007"/>
              <a:gd name="connsiteX3779" fmla="*/ 2377154 w 6884782"/>
              <a:gd name="connsiteY3779" fmla="*/ 5253724 h 5973007"/>
              <a:gd name="connsiteX3780" fmla="*/ 2379633 w 6884782"/>
              <a:gd name="connsiteY3780" fmla="*/ 5253208 h 5973007"/>
              <a:gd name="connsiteX3781" fmla="*/ 2381026 w 6884782"/>
              <a:gd name="connsiteY3781" fmla="*/ 5256512 h 5973007"/>
              <a:gd name="connsiteX3782" fmla="*/ 2379633 w 6884782"/>
              <a:gd name="connsiteY3782" fmla="*/ 5257131 h 5973007"/>
              <a:gd name="connsiteX3783" fmla="*/ 2377464 w 6884782"/>
              <a:gd name="connsiteY3783" fmla="*/ 5255892 h 5973007"/>
              <a:gd name="connsiteX3784" fmla="*/ 1695456 w 6884782"/>
              <a:gd name="connsiteY3784" fmla="*/ 5252278 h 5973007"/>
              <a:gd name="connsiteX3785" fmla="*/ 1695146 w 6884782"/>
              <a:gd name="connsiteY3785" fmla="*/ 5254963 h 5973007"/>
              <a:gd name="connsiteX3786" fmla="*/ 1693442 w 6884782"/>
              <a:gd name="connsiteY3786" fmla="*/ 5255892 h 5973007"/>
              <a:gd name="connsiteX3787" fmla="*/ 1692358 w 6884782"/>
              <a:gd name="connsiteY3787" fmla="*/ 5258577 h 5973007"/>
              <a:gd name="connsiteX3788" fmla="*/ 1690809 w 6884782"/>
              <a:gd name="connsiteY3788" fmla="*/ 5258474 h 5973007"/>
              <a:gd name="connsiteX3789" fmla="*/ 1692978 w 6884782"/>
              <a:gd name="connsiteY3789" fmla="*/ 5253208 h 5973007"/>
              <a:gd name="connsiteX3790" fmla="*/ 1695456 w 6884782"/>
              <a:gd name="connsiteY3790" fmla="*/ 5252278 h 5973007"/>
              <a:gd name="connsiteX3791" fmla="*/ 2388307 w 6884782"/>
              <a:gd name="connsiteY3791" fmla="*/ 5249077 h 5973007"/>
              <a:gd name="connsiteX3792" fmla="*/ 2390166 w 6884782"/>
              <a:gd name="connsiteY3792" fmla="*/ 5250729 h 5973007"/>
              <a:gd name="connsiteX3793" fmla="*/ 2390940 w 6884782"/>
              <a:gd name="connsiteY3793" fmla="*/ 5255892 h 5973007"/>
              <a:gd name="connsiteX3794" fmla="*/ 2389391 w 6884782"/>
              <a:gd name="connsiteY3794" fmla="*/ 5256821 h 5973007"/>
              <a:gd name="connsiteX3795" fmla="*/ 2386758 w 6884782"/>
              <a:gd name="connsiteY3795" fmla="*/ 5250110 h 5973007"/>
              <a:gd name="connsiteX3796" fmla="*/ 2388307 w 6884782"/>
              <a:gd name="connsiteY3796" fmla="*/ 5249077 h 5973007"/>
              <a:gd name="connsiteX3797" fmla="*/ 2021049 w 6884782"/>
              <a:gd name="connsiteY3797" fmla="*/ 5248561 h 5973007"/>
              <a:gd name="connsiteX3798" fmla="*/ 2023836 w 6884782"/>
              <a:gd name="connsiteY3798" fmla="*/ 5258267 h 5973007"/>
              <a:gd name="connsiteX3799" fmla="*/ 2017795 w 6884782"/>
              <a:gd name="connsiteY3799" fmla="*/ 5259403 h 5973007"/>
              <a:gd name="connsiteX3800" fmla="*/ 2021049 w 6884782"/>
              <a:gd name="connsiteY3800" fmla="*/ 5248561 h 5973007"/>
              <a:gd name="connsiteX3801" fmla="*/ 2254341 w 6884782"/>
              <a:gd name="connsiteY3801" fmla="*/ 5248509 h 5973007"/>
              <a:gd name="connsiteX3802" fmla="*/ 2259434 w 6884782"/>
              <a:gd name="connsiteY3802" fmla="*/ 5251762 h 5973007"/>
              <a:gd name="connsiteX3803" fmla="*/ 2253857 w 6884782"/>
              <a:gd name="connsiteY3803" fmla="*/ 5258061 h 5973007"/>
              <a:gd name="connsiteX3804" fmla="*/ 2247507 w 6884782"/>
              <a:gd name="connsiteY3804" fmla="*/ 5255479 h 5973007"/>
              <a:gd name="connsiteX3805" fmla="*/ 2247041 w 6884782"/>
              <a:gd name="connsiteY3805" fmla="*/ 5250523 h 5973007"/>
              <a:gd name="connsiteX3806" fmla="*/ 2254341 w 6884782"/>
              <a:gd name="connsiteY3806" fmla="*/ 5248509 h 5973007"/>
              <a:gd name="connsiteX3807" fmla="*/ 2863838 w 6884782"/>
              <a:gd name="connsiteY3807" fmla="*/ 5247115 h 5973007"/>
              <a:gd name="connsiteX3808" fmla="*/ 2866317 w 6884782"/>
              <a:gd name="connsiteY3808" fmla="*/ 5249904 h 5973007"/>
              <a:gd name="connsiteX3809" fmla="*/ 2867246 w 6884782"/>
              <a:gd name="connsiteY3809" fmla="*/ 5253620 h 5973007"/>
              <a:gd name="connsiteX3810" fmla="*/ 2867865 w 6884782"/>
              <a:gd name="connsiteY3810" fmla="*/ 5253517 h 5973007"/>
              <a:gd name="connsiteX3811" fmla="*/ 2867865 w 6884782"/>
              <a:gd name="connsiteY3811" fmla="*/ 5252588 h 5973007"/>
              <a:gd name="connsiteX3812" fmla="*/ 2869414 w 6884782"/>
              <a:gd name="connsiteY3812" fmla="*/ 5253724 h 5973007"/>
              <a:gd name="connsiteX3813" fmla="*/ 2871583 w 6884782"/>
              <a:gd name="connsiteY3813" fmla="*/ 5260229 h 5973007"/>
              <a:gd name="connsiteX3814" fmla="*/ 2869105 w 6884782"/>
              <a:gd name="connsiteY3814" fmla="*/ 5260849 h 5973007"/>
              <a:gd name="connsiteX3815" fmla="*/ 2867401 w 6884782"/>
              <a:gd name="connsiteY3815" fmla="*/ 5259506 h 5973007"/>
              <a:gd name="connsiteX3816" fmla="*/ 2865542 w 6884782"/>
              <a:gd name="connsiteY3816" fmla="*/ 5256409 h 5973007"/>
              <a:gd name="connsiteX3817" fmla="*/ 2865697 w 6884782"/>
              <a:gd name="connsiteY3817" fmla="*/ 5255376 h 5973007"/>
              <a:gd name="connsiteX3818" fmla="*/ 2865077 w 6884782"/>
              <a:gd name="connsiteY3818" fmla="*/ 5256099 h 5973007"/>
              <a:gd name="connsiteX3819" fmla="*/ 2861670 w 6884782"/>
              <a:gd name="connsiteY3819" fmla="*/ 5256202 h 5973007"/>
              <a:gd name="connsiteX3820" fmla="*/ 2859501 w 6884782"/>
              <a:gd name="connsiteY3820" fmla="*/ 5255066 h 5973007"/>
              <a:gd name="connsiteX3821" fmla="*/ 2858727 w 6884782"/>
              <a:gd name="connsiteY3821" fmla="*/ 5252691 h 5973007"/>
              <a:gd name="connsiteX3822" fmla="*/ 2857023 w 6884782"/>
              <a:gd name="connsiteY3822" fmla="*/ 5253001 h 5973007"/>
              <a:gd name="connsiteX3823" fmla="*/ 2857488 w 6884782"/>
              <a:gd name="connsiteY3823" fmla="*/ 5247632 h 5973007"/>
              <a:gd name="connsiteX3824" fmla="*/ 2861360 w 6884782"/>
              <a:gd name="connsiteY3824" fmla="*/ 5247838 h 5973007"/>
              <a:gd name="connsiteX3825" fmla="*/ 2861360 w 6884782"/>
              <a:gd name="connsiteY3825" fmla="*/ 5248354 h 5973007"/>
              <a:gd name="connsiteX3826" fmla="*/ 2861515 w 6884782"/>
              <a:gd name="connsiteY3826" fmla="*/ 5248148 h 5973007"/>
              <a:gd name="connsiteX3827" fmla="*/ 2863838 w 6884782"/>
              <a:gd name="connsiteY3827" fmla="*/ 5247115 h 5973007"/>
              <a:gd name="connsiteX3828" fmla="*/ 2459559 w 6884782"/>
              <a:gd name="connsiteY3828" fmla="*/ 5247012 h 5973007"/>
              <a:gd name="connsiteX3829" fmla="*/ 2463122 w 6884782"/>
              <a:gd name="connsiteY3829" fmla="*/ 5254240 h 5973007"/>
              <a:gd name="connsiteX3830" fmla="*/ 2458010 w 6884782"/>
              <a:gd name="connsiteY3830" fmla="*/ 5261881 h 5973007"/>
              <a:gd name="connsiteX3831" fmla="*/ 2455996 w 6884782"/>
              <a:gd name="connsiteY3831" fmla="*/ 5257957 h 5973007"/>
              <a:gd name="connsiteX3832" fmla="*/ 2459559 w 6884782"/>
              <a:gd name="connsiteY3832" fmla="*/ 5247012 h 5973007"/>
              <a:gd name="connsiteX3833" fmla="*/ 2332699 w 6884782"/>
              <a:gd name="connsiteY3833" fmla="*/ 5246393 h 5973007"/>
              <a:gd name="connsiteX3834" fmla="*/ 2340599 w 6884782"/>
              <a:gd name="connsiteY3834" fmla="*/ 5255789 h 5973007"/>
              <a:gd name="connsiteX3835" fmla="*/ 2338895 w 6884782"/>
              <a:gd name="connsiteY3835" fmla="*/ 5259403 h 5973007"/>
              <a:gd name="connsiteX3836" fmla="*/ 2331150 w 6884782"/>
              <a:gd name="connsiteY3836" fmla="*/ 5252898 h 5973007"/>
              <a:gd name="connsiteX3837" fmla="*/ 2330066 w 6884782"/>
              <a:gd name="connsiteY3837" fmla="*/ 5249904 h 5973007"/>
              <a:gd name="connsiteX3838" fmla="*/ 2332699 w 6884782"/>
              <a:gd name="connsiteY3838" fmla="*/ 5246393 h 5973007"/>
              <a:gd name="connsiteX3839" fmla="*/ 1880422 w 6884782"/>
              <a:gd name="connsiteY3839" fmla="*/ 5245902 h 5973007"/>
              <a:gd name="connsiteX3840" fmla="*/ 1886289 w 6884782"/>
              <a:gd name="connsiteY3840" fmla="*/ 5245980 h 5973007"/>
              <a:gd name="connsiteX3841" fmla="*/ 1883810 w 6884782"/>
              <a:gd name="connsiteY3841" fmla="*/ 5253827 h 5973007"/>
              <a:gd name="connsiteX3842" fmla="*/ 1880713 w 6884782"/>
              <a:gd name="connsiteY3842" fmla="*/ 5255582 h 5973007"/>
              <a:gd name="connsiteX3843" fmla="*/ 1876994 w 6884782"/>
              <a:gd name="connsiteY3843" fmla="*/ 5255376 h 5973007"/>
              <a:gd name="connsiteX3844" fmla="*/ 1874051 w 6884782"/>
              <a:gd name="connsiteY3844" fmla="*/ 5255995 h 5973007"/>
              <a:gd name="connsiteX3845" fmla="*/ 1871263 w 6884782"/>
              <a:gd name="connsiteY3845" fmla="*/ 5255273 h 5973007"/>
              <a:gd name="connsiteX3846" fmla="*/ 1870179 w 6884782"/>
              <a:gd name="connsiteY3846" fmla="*/ 5252795 h 5973007"/>
              <a:gd name="connsiteX3847" fmla="*/ 1870953 w 6884782"/>
              <a:gd name="connsiteY3847" fmla="*/ 5250936 h 5973007"/>
              <a:gd name="connsiteX3848" fmla="*/ 1880422 w 6884782"/>
              <a:gd name="connsiteY3848" fmla="*/ 5245902 h 5973007"/>
              <a:gd name="connsiteX3849" fmla="*/ 1690499 w 6884782"/>
              <a:gd name="connsiteY3849" fmla="*/ 5245464 h 5973007"/>
              <a:gd name="connsiteX3850" fmla="*/ 1692978 w 6884782"/>
              <a:gd name="connsiteY3850" fmla="*/ 5245464 h 5973007"/>
              <a:gd name="connsiteX3851" fmla="*/ 1692048 w 6884782"/>
              <a:gd name="connsiteY3851" fmla="*/ 5247219 h 5973007"/>
              <a:gd name="connsiteX3852" fmla="*/ 1688021 w 6884782"/>
              <a:gd name="connsiteY3852" fmla="*/ 5251555 h 5973007"/>
              <a:gd name="connsiteX3853" fmla="*/ 1686782 w 6884782"/>
              <a:gd name="connsiteY3853" fmla="*/ 5250213 h 5973007"/>
              <a:gd name="connsiteX3854" fmla="*/ 1687401 w 6884782"/>
              <a:gd name="connsiteY3854" fmla="*/ 5248871 h 5973007"/>
              <a:gd name="connsiteX3855" fmla="*/ 1689415 w 6884782"/>
              <a:gd name="connsiteY3855" fmla="*/ 5247115 h 5973007"/>
              <a:gd name="connsiteX3856" fmla="*/ 1690499 w 6884782"/>
              <a:gd name="connsiteY3856" fmla="*/ 5245464 h 5973007"/>
              <a:gd name="connsiteX3857" fmla="*/ 2479250 w 6884782"/>
              <a:gd name="connsiteY3857" fmla="*/ 5245218 h 5973007"/>
              <a:gd name="connsiteX3858" fmla="*/ 2485427 w 6884782"/>
              <a:gd name="connsiteY3858" fmla="*/ 5246806 h 5973007"/>
              <a:gd name="connsiteX3859" fmla="*/ 2479695 w 6884782"/>
              <a:gd name="connsiteY3859" fmla="*/ 5251762 h 5973007"/>
              <a:gd name="connsiteX3860" fmla="*/ 2479250 w 6884782"/>
              <a:gd name="connsiteY3860" fmla="*/ 5245218 h 5973007"/>
              <a:gd name="connsiteX3861" fmla="*/ 2502001 w 6884782"/>
              <a:gd name="connsiteY3861" fmla="*/ 5245050 h 5973007"/>
              <a:gd name="connsiteX3862" fmla="*/ 2512688 w 6884782"/>
              <a:gd name="connsiteY3862" fmla="*/ 5248871 h 5973007"/>
              <a:gd name="connsiteX3863" fmla="*/ 2518420 w 6884782"/>
              <a:gd name="connsiteY3863" fmla="*/ 5260229 h 5973007"/>
              <a:gd name="connsiteX3864" fmla="*/ 2517490 w 6884782"/>
              <a:gd name="connsiteY3864" fmla="*/ 5262914 h 5973007"/>
              <a:gd name="connsiteX3865" fmla="*/ 2519504 w 6884782"/>
              <a:gd name="connsiteY3865" fmla="*/ 5264669 h 5973007"/>
              <a:gd name="connsiteX3866" fmla="*/ 2517490 w 6884782"/>
              <a:gd name="connsiteY3866" fmla="*/ 5277473 h 5973007"/>
              <a:gd name="connsiteX3867" fmla="*/ 2509745 w 6884782"/>
              <a:gd name="connsiteY3867" fmla="*/ 5279125 h 5973007"/>
              <a:gd name="connsiteX3868" fmla="*/ 2506802 w 6884782"/>
              <a:gd name="connsiteY3868" fmla="*/ 5277886 h 5973007"/>
              <a:gd name="connsiteX3869" fmla="*/ 2510675 w 6884782"/>
              <a:gd name="connsiteY3869" fmla="*/ 5269419 h 5973007"/>
              <a:gd name="connsiteX3870" fmla="*/ 2511449 w 6884782"/>
              <a:gd name="connsiteY3870" fmla="*/ 5267147 h 5973007"/>
              <a:gd name="connsiteX3871" fmla="*/ 2508816 w 6884782"/>
              <a:gd name="connsiteY3871" fmla="*/ 5267767 h 5973007"/>
              <a:gd name="connsiteX3872" fmla="*/ 2503394 w 6884782"/>
              <a:gd name="connsiteY3872" fmla="*/ 5265908 h 5973007"/>
              <a:gd name="connsiteX3873" fmla="*/ 2499522 w 6884782"/>
              <a:gd name="connsiteY3873" fmla="*/ 5250420 h 5973007"/>
              <a:gd name="connsiteX3874" fmla="*/ 2500916 w 6884782"/>
              <a:gd name="connsiteY3874" fmla="*/ 5248664 h 5973007"/>
              <a:gd name="connsiteX3875" fmla="*/ 2502001 w 6884782"/>
              <a:gd name="connsiteY3875" fmla="*/ 5245050 h 5973007"/>
              <a:gd name="connsiteX3876" fmla="*/ 2622355 w 6884782"/>
              <a:gd name="connsiteY3876" fmla="*/ 5244534 h 5973007"/>
              <a:gd name="connsiteX3877" fmla="*/ 2621890 w 6884782"/>
              <a:gd name="connsiteY3877" fmla="*/ 5255376 h 5973007"/>
              <a:gd name="connsiteX3878" fmla="*/ 2616624 w 6884782"/>
              <a:gd name="connsiteY3878" fmla="*/ 5255066 h 5973007"/>
              <a:gd name="connsiteX3879" fmla="*/ 2618792 w 6884782"/>
              <a:gd name="connsiteY3879" fmla="*/ 5244638 h 5973007"/>
              <a:gd name="connsiteX3880" fmla="*/ 2622355 w 6884782"/>
              <a:gd name="connsiteY3880" fmla="*/ 5244534 h 5973007"/>
              <a:gd name="connsiteX3881" fmla="*/ 2194532 w 6884782"/>
              <a:gd name="connsiteY3881" fmla="*/ 5243708 h 5973007"/>
              <a:gd name="connsiteX3882" fmla="*/ 2196081 w 6884782"/>
              <a:gd name="connsiteY3882" fmla="*/ 5244638 h 5973007"/>
              <a:gd name="connsiteX3883" fmla="*/ 2197785 w 6884782"/>
              <a:gd name="connsiteY3883" fmla="*/ 5244638 h 5973007"/>
              <a:gd name="connsiteX3884" fmla="*/ 2197630 w 6884782"/>
              <a:gd name="connsiteY3884" fmla="*/ 5245567 h 5973007"/>
              <a:gd name="connsiteX3885" fmla="*/ 2198404 w 6884782"/>
              <a:gd name="connsiteY3885" fmla="*/ 5246496 h 5973007"/>
              <a:gd name="connsiteX3886" fmla="*/ 2196391 w 6884782"/>
              <a:gd name="connsiteY3886" fmla="*/ 5249904 h 5973007"/>
              <a:gd name="connsiteX3887" fmla="*/ 2194532 w 6884782"/>
              <a:gd name="connsiteY3887" fmla="*/ 5250936 h 5973007"/>
              <a:gd name="connsiteX3888" fmla="*/ 2192983 w 6884782"/>
              <a:gd name="connsiteY3888" fmla="*/ 5250729 h 5973007"/>
              <a:gd name="connsiteX3889" fmla="*/ 2192363 w 6884782"/>
              <a:gd name="connsiteY3889" fmla="*/ 5248974 h 5973007"/>
              <a:gd name="connsiteX3890" fmla="*/ 2192674 w 6884782"/>
              <a:gd name="connsiteY3890" fmla="*/ 5245464 h 5973007"/>
              <a:gd name="connsiteX3891" fmla="*/ 2194532 w 6884782"/>
              <a:gd name="connsiteY3891" fmla="*/ 5243708 h 5973007"/>
              <a:gd name="connsiteX3892" fmla="*/ 2636760 w 6884782"/>
              <a:gd name="connsiteY3892" fmla="*/ 5243398 h 5973007"/>
              <a:gd name="connsiteX3893" fmla="*/ 2645125 w 6884782"/>
              <a:gd name="connsiteY3893" fmla="*/ 5244638 h 5973007"/>
              <a:gd name="connsiteX3894" fmla="*/ 2642182 w 6884782"/>
              <a:gd name="connsiteY3894" fmla="*/ 5253931 h 5973007"/>
              <a:gd name="connsiteX3895" fmla="*/ 2636760 w 6884782"/>
              <a:gd name="connsiteY3895" fmla="*/ 5243398 h 5973007"/>
              <a:gd name="connsiteX3896" fmla="*/ 1653014 w 6884782"/>
              <a:gd name="connsiteY3896" fmla="*/ 5242985 h 5973007"/>
              <a:gd name="connsiteX3897" fmla="*/ 1637990 w 6884782"/>
              <a:gd name="connsiteY3897" fmla="*/ 5250729 h 5973007"/>
              <a:gd name="connsiteX3898" fmla="*/ 1638299 w 6884782"/>
              <a:gd name="connsiteY3898" fmla="*/ 5247115 h 5973007"/>
              <a:gd name="connsiteX3899" fmla="*/ 1640003 w 6884782"/>
              <a:gd name="connsiteY3899" fmla="*/ 5247115 h 5973007"/>
              <a:gd name="connsiteX3900" fmla="*/ 1653014 w 6884782"/>
              <a:gd name="connsiteY3900" fmla="*/ 5242985 h 5973007"/>
              <a:gd name="connsiteX3901" fmla="*/ 2571084 w 6884782"/>
              <a:gd name="connsiteY3901" fmla="*/ 5241333 h 5973007"/>
              <a:gd name="connsiteX3902" fmla="*/ 2578519 w 6884782"/>
              <a:gd name="connsiteY3902" fmla="*/ 5241437 h 5973007"/>
              <a:gd name="connsiteX3903" fmla="*/ 2577125 w 6884782"/>
              <a:gd name="connsiteY3903" fmla="*/ 5247425 h 5973007"/>
              <a:gd name="connsiteX3904" fmla="*/ 2574802 w 6884782"/>
              <a:gd name="connsiteY3904" fmla="*/ 5248768 h 5973007"/>
              <a:gd name="connsiteX3905" fmla="*/ 2572014 w 6884782"/>
              <a:gd name="connsiteY3905" fmla="*/ 5248148 h 5973007"/>
              <a:gd name="connsiteX3906" fmla="*/ 2570620 w 6884782"/>
              <a:gd name="connsiteY3906" fmla="*/ 5246496 h 5973007"/>
              <a:gd name="connsiteX3907" fmla="*/ 2571084 w 6884782"/>
              <a:gd name="connsiteY3907" fmla="*/ 5241333 h 5973007"/>
              <a:gd name="connsiteX3908" fmla="*/ 2635366 w 6884782"/>
              <a:gd name="connsiteY3908" fmla="*/ 5241127 h 5973007"/>
              <a:gd name="connsiteX3909" fmla="*/ 2636760 w 6884782"/>
              <a:gd name="connsiteY3909" fmla="*/ 5242159 h 5973007"/>
              <a:gd name="connsiteX3910" fmla="*/ 2636141 w 6884782"/>
              <a:gd name="connsiteY3910" fmla="*/ 5244534 h 5973007"/>
              <a:gd name="connsiteX3911" fmla="*/ 2631649 w 6884782"/>
              <a:gd name="connsiteY3911" fmla="*/ 5247219 h 5973007"/>
              <a:gd name="connsiteX3912" fmla="*/ 2630255 w 6884782"/>
              <a:gd name="connsiteY3912" fmla="*/ 5246186 h 5973007"/>
              <a:gd name="connsiteX3913" fmla="*/ 2635366 w 6884782"/>
              <a:gd name="connsiteY3913" fmla="*/ 5241127 h 5973007"/>
              <a:gd name="connsiteX3914" fmla="*/ 1949796 w 6884782"/>
              <a:gd name="connsiteY3914" fmla="*/ 5240610 h 5973007"/>
              <a:gd name="connsiteX3915" fmla="*/ 1955062 w 6884782"/>
              <a:gd name="connsiteY3915" fmla="*/ 5246083 h 5973007"/>
              <a:gd name="connsiteX3916" fmla="*/ 1951965 w 6884782"/>
              <a:gd name="connsiteY3916" fmla="*/ 5249594 h 5973007"/>
              <a:gd name="connsiteX3917" fmla="*/ 1946079 w 6884782"/>
              <a:gd name="connsiteY3917" fmla="*/ 5245773 h 5973007"/>
              <a:gd name="connsiteX3918" fmla="*/ 1949796 w 6884782"/>
              <a:gd name="connsiteY3918" fmla="*/ 5240610 h 5973007"/>
              <a:gd name="connsiteX3919" fmla="*/ 2696240 w 6884782"/>
              <a:gd name="connsiteY3919" fmla="*/ 5240404 h 5973007"/>
              <a:gd name="connsiteX3920" fmla="*/ 2700268 w 6884782"/>
              <a:gd name="connsiteY3920" fmla="*/ 5256615 h 5973007"/>
              <a:gd name="connsiteX3921" fmla="*/ 2697325 w 6884782"/>
              <a:gd name="connsiteY3921" fmla="*/ 5257854 h 5973007"/>
              <a:gd name="connsiteX3922" fmla="*/ 2692988 w 6884782"/>
              <a:gd name="connsiteY3922" fmla="*/ 5253724 h 5973007"/>
              <a:gd name="connsiteX3923" fmla="*/ 2691284 w 6884782"/>
              <a:gd name="connsiteY3923" fmla="*/ 5250316 h 5973007"/>
              <a:gd name="connsiteX3924" fmla="*/ 2691749 w 6884782"/>
              <a:gd name="connsiteY3924" fmla="*/ 5246599 h 5973007"/>
              <a:gd name="connsiteX3925" fmla="*/ 2692058 w 6884782"/>
              <a:gd name="connsiteY3925" fmla="*/ 5240610 h 5973007"/>
              <a:gd name="connsiteX3926" fmla="*/ 2696240 w 6884782"/>
              <a:gd name="connsiteY3926" fmla="*/ 5240404 h 5973007"/>
              <a:gd name="connsiteX3927" fmla="*/ 1659985 w 6884782"/>
              <a:gd name="connsiteY3927" fmla="*/ 5238855 h 5973007"/>
              <a:gd name="connsiteX3928" fmla="*/ 1656422 w 6884782"/>
              <a:gd name="connsiteY3928" fmla="*/ 5241437 h 5973007"/>
              <a:gd name="connsiteX3929" fmla="*/ 1655648 w 6884782"/>
              <a:gd name="connsiteY3929" fmla="*/ 5240610 h 5973007"/>
              <a:gd name="connsiteX3930" fmla="*/ 1659985 w 6884782"/>
              <a:gd name="connsiteY3930" fmla="*/ 5238855 h 5973007"/>
              <a:gd name="connsiteX3931" fmla="*/ 2653179 w 6884782"/>
              <a:gd name="connsiteY3931" fmla="*/ 5238752 h 5973007"/>
              <a:gd name="connsiteX3932" fmla="*/ 2658446 w 6884782"/>
              <a:gd name="connsiteY3932" fmla="*/ 5242159 h 5973007"/>
              <a:gd name="connsiteX3933" fmla="*/ 2658601 w 6884782"/>
              <a:gd name="connsiteY3933" fmla="*/ 5243192 h 5973007"/>
              <a:gd name="connsiteX3934" fmla="*/ 2653179 w 6884782"/>
              <a:gd name="connsiteY3934" fmla="*/ 5238752 h 5973007"/>
              <a:gd name="connsiteX3935" fmla="*/ 1646993 w 6884782"/>
              <a:gd name="connsiteY3935" fmla="*/ 5238597 h 5973007"/>
              <a:gd name="connsiteX3936" fmla="*/ 1651621 w 6884782"/>
              <a:gd name="connsiteY3936" fmla="*/ 5238752 h 5973007"/>
              <a:gd name="connsiteX3937" fmla="*/ 1651466 w 6884782"/>
              <a:gd name="connsiteY3937" fmla="*/ 5239578 h 5973007"/>
              <a:gd name="connsiteX3938" fmla="*/ 1642636 w 6884782"/>
              <a:gd name="connsiteY3938" fmla="*/ 5241437 h 5973007"/>
              <a:gd name="connsiteX3939" fmla="*/ 1639539 w 6884782"/>
              <a:gd name="connsiteY3939" fmla="*/ 5241127 h 5973007"/>
              <a:gd name="connsiteX3940" fmla="*/ 1640468 w 6884782"/>
              <a:gd name="connsiteY3940" fmla="*/ 5241127 h 5973007"/>
              <a:gd name="connsiteX3941" fmla="*/ 1639694 w 6884782"/>
              <a:gd name="connsiteY3941" fmla="*/ 5240301 h 5973007"/>
              <a:gd name="connsiteX3942" fmla="*/ 1646993 w 6884782"/>
              <a:gd name="connsiteY3942" fmla="*/ 5238597 h 5973007"/>
              <a:gd name="connsiteX3943" fmla="*/ 2844631 w 6884782"/>
              <a:gd name="connsiteY3943" fmla="*/ 5237719 h 5973007"/>
              <a:gd name="connsiteX3944" fmla="*/ 2849588 w 6884782"/>
              <a:gd name="connsiteY3944" fmla="*/ 5238442 h 5973007"/>
              <a:gd name="connsiteX3945" fmla="*/ 2848968 w 6884782"/>
              <a:gd name="connsiteY3945" fmla="*/ 5246186 h 5973007"/>
              <a:gd name="connsiteX3946" fmla="*/ 2846025 w 6884782"/>
              <a:gd name="connsiteY3946" fmla="*/ 5246599 h 5973007"/>
              <a:gd name="connsiteX3947" fmla="*/ 2843237 w 6884782"/>
              <a:gd name="connsiteY3947" fmla="*/ 5244431 h 5973007"/>
              <a:gd name="connsiteX3948" fmla="*/ 2842153 w 6884782"/>
              <a:gd name="connsiteY3948" fmla="*/ 5241953 h 5973007"/>
              <a:gd name="connsiteX3949" fmla="*/ 2842772 w 6884782"/>
              <a:gd name="connsiteY3949" fmla="*/ 5239061 h 5973007"/>
              <a:gd name="connsiteX3950" fmla="*/ 2844631 w 6884782"/>
              <a:gd name="connsiteY3950" fmla="*/ 5237719 h 5973007"/>
              <a:gd name="connsiteX3951" fmla="*/ 2029877 w 6884782"/>
              <a:gd name="connsiteY3951" fmla="*/ 5237306 h 5973007"/>
              <a:gd name="connsiteX3952" fmla="*/ 2031117 w 6884782"/>
              <a:gd name="connsiteY3952" fmla="*/ 5240817 h 5973007"/>
              <a:gd name="connsiteX3953" fmla="*/ 2023372 w 6884782"/>
              <a:gd name="connsiteY3953" fmla="*/ 5242882 h 5973007"/>
              <a:gd name="connsiteX3954" fmla="*/ 2017021 w 6884782"/>
              <a:gd name="connsiteY3954" fmla="*/ 5240301 h 5973007"/>
              <a:gd name="connsiteX3955" fmla="*/ 2017330 w 6884782"/>
              <a:gd name="connsiteY3955" fmla="*/ 5237822 h 5973007"/>
              <a:gd name="connsiteX3956" fmla="*/ 2029877 w 6884782"/>
              <a:gd name="connsiteY3956" fmla="*/ 5237306 h 5973007"/>
              <a:gd name="connsiteX3957" fmla="*/ 2505718 w 6884782"/>
              <a:gd name="connsiteY3957" fmla="*/ 5235035 h 5973007"/>
              <a:gd name="connsiteX3958" fmla="*/ 2509591 w 6884782"/>
              <a:gd name="connsiteY3958" fmla="*/ 5241953 h 5973007"/>
              <a:gd name="connsiteX3959" fmla="*/ 2504944 w 6884782"/>
              <a:gd name="connsiteY3959" fmla="*/ 5237203 h 5973007"/>
              <a:gd name="connsiteX3960" fmla="*/ 2505718 w 6884782"/>
              <a:gd name="connsiteY3960" fmla="*/ 5235035 h 5973007"/>
              <a:gd name="connsiteX3961" fmla="*/ 2733725 w 6884782"/>
              <a:gd name="connsiteY3961" fmla="*/ 5234725 h 5973007"/>
              <a:gd name="connsiteX3962" fmla="*/ 2741780 w 6884782"/>
              <a:gd name="connsiteY3962" fmla="*/ 5244947 h 5973007"/>
              <a:gd name="connsiteX3963" fmla="*/ 2742245 w 6884782"/>
              <a:gd name="connsiteY3963" fmla="*/ 5253208 h 5973007"/>
              <a:gd name="connsiteX3964" fmla="*/ 2746427 w 6884782"/>
              <a:gd name="connsiteY3964" fmla="*/ 5257338 h 5973007"/>
              <a:gd name="connsiteX3965" fmla="*/ 2748905 w 6884782"/>
              <a:gd name="connsiteY3965" fmla="*/ 5256718 h 5973007"/>
              <a:gd name="connsiteX3966" fmla="*/ 2752623 w 6884782"/>
              <a:gd name="connsiteY3966" fmla="*/ 5259093 h 5973007"/>
              <a:gd name="connsiteX3967" fmla="*/ 2752313 w 6884782"/>
              <a:gd name="connsiteY3967" fmla="*/ 5260022 h 5973007"/>
              <a:gd name="connsiteX3968" fmla="*/ 2753397 w 6884782"/>
              <a:gd name="connsiteY3968" fmla="*/ 5260126 h 5973007"/>
              <a:gd name="connsiteX3969" fmla="*/ 2756031 w 6884782"/>
              <a:gd name="connsiteY3969" fmla="*/ 5261778 h 5973007"/>
              <a:gd name="connsiteX3970" fmla="*/ 2758199 w 6884782"/>
              <a:gd name="connsiteY3970" fmla="*/ 5273136 h 5973007"/>
              <a:gd name="connsiteX3971" fmla="*/ 2750764 w 6884782"/>
              <a:gd name="connsiteY3971" fmla="*/ 5277060 h 5973007"/>
              <a:gd name="connsiteX3972" fmla="*/ 2751693 w 6884782"/>
              <a:gd name="connsiteY3972" fmla="*/ 5277060 h 5973007"/>
              <a:gd name="connsiteX3973" fmla="*/ 2760677 w 6884782"/>
              <a:gd name="connsiteY3973" fmla="*/ 5289554 h 5973007"/>
              <a:gd name="connsiteX3974" fmla="*/ 2758044 w 6884782"/>
              <a:gd name="connsiteY3974" fmla="*/ 5288624 h 5973007"/>
              <a:gd name="connsiteX3975" fmla="*/ 2757270 w 6884782"/>
              <a:gd name="connsiteY3975" fmla="*/ 5287695 h 5973007"/>
              <a:gd name="connsiteX3976" fmla="*/ 2756960 w 6884782"/>
              <a:gd name="connsiteY3976" fmla="*/ 5287592 h 5973007"/>
              <a:gd name="connsiteX3977" fmla="*/ 2758663 w 6884782"/>
              <a:gd name="connsiteY3977" fmla="*/ 5290277 h 5973007"/>
              <a:gd name="connsiteX3978" fmla="*/ 2756340 w 6884782"/>
              <a:gd name="connsiteY3978" fmla="*/ 5295336 h 5973007"/>
              <a:gd name="connsiteX3979" fmla="*/ 2747356 w 6884782"/>
              <a:gd name="connsiteY3979" fmla="*/ 5279435 h 5973007"/>
              <a:gd name="connsiteX3980" fmla="*/ 2745652 w 6884782"/>
              <a:gd name="connsiteY3980" fmla="*/ 5276853 h 5973007"/>
              <a:gd name="connsiteX3981" fmla="*/ 2747356 w 6884782"/>
              <a:gd name="connsiteY3981" fmla="*/ 5275201 h 5973007"/>
              <a:gd name="connsiteX3982" fmla="*/ 2745962 w 6884782"/>
              <a:gd name="connsiteY3982" fmla="*/ 5273652 h 5973007"/>
              <a:gd name="connsiteX3983" fmla="*/ 2744568 w 6884782"/>
              <a:gd name="connsiteY3983" fmla="*/ 5277783 h 5973007"/>
              <a:gd name="connsiteX3984" fmla="*/ 2742710 w 6884782"/>
              <a:gd name="connsiteY3984" fmla="*/ 5279538 h 5973007"/>
              <a:gd name="connsiteX3985" fmla="*/ 2742864 w 6884782"/>
              <a:gd name="connsiteY3985" fmla="*/ 5280364 h 5973007"/>
              <a:gd name="connsiteX3986" fmla="*/ 2741470 w 6884782"/>
              <a:gd name="connsiteY3986" fmla="*/ 5290277 h 5973007"/>
              <a:gd name="connsiteX3987" fmla="*/ 2735584 w 6884782"/>
              <a:gd name="connsiteY3987" fmla="*/ 5288934 h 5973007"/>
              <a:gd name="connsiteX3988" fmla="*/ 2732641 w 6884782"/>
              <a:gd name="connsiteY3988" fmla="*/ 5287695 h 5973007"/>
              <a:gd name="connsiteX3989" fmla="*/ 2731402 w 6884782"/>
              <a:gd name="connsiteY3989" fmla="*/ 5291206 h 5973007"/>
              <a:gd name="connsiteX3990" fmla="*/ 2727839 w 6884782"/>
              <a:gd name="connsiteY3990" fmla="*/ 5293168 h 5973007"/>
              <a:gd name="connsiteX3991" fmla="*/ 2726445 w 6884782"/>
              <a:gd name="connsiteY3991" fmla="*/ 5289760 h 5973007"/>
              <a:gd name="connsiteX3992" fmla="*/ 2728459 w 6884782"/>
              <a:gd name="connsiteY3992" fmla="*/ 5285733 h 5973007"/>
              <a:gd name="connsiteX3993" fmla="*/ 2728769 w 6884782"/>
              <a:gd name="connsiteY3993" fmla="*/ 5285630 h 5973007"/>
              <a:gd name="connsiteX3994" fmla="*/ 2722418 w 6884782"/>
              <a:gd name="connsiteY3994" fmla="*/ 5281810 h 5973007"/>
              <a:gd name="connsiteX3995" fmla="*/ 2719784 w 6884782"/>
              <a:gd name="connsiteY3995" fmla="*/ 5284494 h 5973007"/>
              <a:gd name="connsiteX3996" fmla="*/ 2715138 w 6884782"/>
              <a:gd name="connsiteY3996" fmla="*/ 5285837 h 5973007"/>
              <a:gd name="connsiteX3997" fmla="*/ 2725361 w 6884782"/>
              <a:gd name="connsiteY3997" fmla="*/ 5273343 h 5973007"/>
              <a:gd name="connsiteX3998" fmla="*/ 2725051 w 6884782"/>
              <a:gd name="connsiteY3998" fmla="*/ 5276853 h 5973007"/>
              <a:gd name="connsiteX3999" fmla="*/ 2724122 w 6884782"/>
              <a:gd name="connsiteY3999" fmla="*/ 5279228 h 5973007"/>
              <a:gd name="connsiteX4000" fmla="*/ 2724897 w 6884782"/>
              <a:gd name="connsiteY4000" fmla="*/ 5278918 h 5973007"/>
              <a:gd name="connsiteX4001" fmla="*/ 2729853 w 6884782"/>
              <a:gd name="connsiteY4001" fmla="*/ 5278299 h 5973007"/>
              <a:gd name="connsiteX4002" fmla="*/ 2733725 w 6884782"/>
              <a:gd name="connsiteY4002" fmla="*/ 5276544 h 5973007"/>
              <a:gd name="connsiteX4003" fmla="*/ 2731092 w 6884782"/>
              <a:gd name="connsiteY4003" fmla="*/ 5266528 h 5973007"/>
              <a:gd name="connsiteX4004" fmla="*/ 2731557 w 6884782"/>
              <a:gd name="connsiteY4004" fmla="*/ 5260022 h 5973007"/>
              <a:gd name="connsiteX4005" fmla="*/ 2729078 w 6884782"/>
              <a:gd name="connsiteY4005" fmla="*/ 5260332 h 5973007"/>
              <a:gd name="connsiteX4006" fmla="*/ 2716687 w 6884782"/>
              <a:gd name="connsiteY4006" fmla="*/ 5251452 h 5973007"/>
              <a:gd name="connsiteX4007" fmla="*/ 2718236 w 6884782"/>
              <a:gd name="connsiteY4007" fmla="*/ 5245050 h 5973007"/>
              <a:gd name="connsiteX4008" fmla="*/ 2733725 w 6884782"/>
              <a:gd name="connsiteY4008" fmla="*/ 5234725 h 5973007"/>
              <a:gd name="connsiteX4009" fmla="*/ 2765479 w 6884782"/>
              <a:gd name="connsiteY4009" fmla="*/ 5231627 h 5973007"/>
              <a:gd name="connsiteX4010" fmla="*/ 2770126 w 6884782"/>
              <a:gd name="connsiteY4010" fmla="*/ 5231834 h 5973007"/>
              <a:gd name="connsiteX4011" fmla="*/ 2768732 w 6884782"/>
              <a:gd name="connsiteY4011" fmla="*/ 5235654 h 5973007"/>
              <a:gd name="connsiteX4012" fmla="*/ 2765324 w 6884782"/>
              <a:gd name="connsiteY4012" fmla="*/ 5234415 h 5973007"/>
              <a:gd name="connsiteX4013" fmla="*/ 2765479 w 6884782"/>
              <a:gd name="connsiteY4013" fmla="*/ 5231627 h 5973007"/>
              <a:gd name="connsiteX4014" fmla="*/ 2413245 w 6884782"/>
              <a:gd name="connsiteY4014" fmla="*/ 5231420 h 5973007"/>
              <a:gd name="connsiteX4015" fmla="*/ 2400544 w 6884782"/>
              <a:gd name="connsiteY4015" fmla="*/ 5240404 h 5973007"/>
              <a:gd name="connsiteX4016" fmla="*/ 2396361 w 6884782"/>
              <a:gd name="connsiteY4016" fmla="*/ 5237822 h 5973007"/>
              <a:gd name="connsiteX4017" fmla="*/ 2413245 w 6884782"/>
              <a:gd name="connsiteY4017" fmla="*/ 5231420 h 5973007"/>
              <a:gd name="connsiteX4018" fmla="*/ 1880925 w 6884782"/>
              <a:gd name="connsiteY4018" fmla="*/ 5230801 h 5973007"/>
              <a:gd name="connsiteX4019" fmla="*/ 1883810 w 6884782"/>
              <a:gd name="connsiteY4019" fmla="*/ 5240920 h 5973007"/>
              <a:gd name="connsiteX4020" fmla="*/ 1875135 w 6884782"/>
              <a:gd name="connsiteY4020" fmla="*/ 5238339 h 5973007"/>
              <a:gd name="connsiteX4021" fmla="*/ 1880925 w 6884782"/>
              <a:gd name="connsiteY4021" fmla="*/ 5230801 h 5973007"/>
              <a:gd name="connsiteX4022" fmla="*/ 1685388 w 6884782"/>
              <a:gd name="connsiteY4022" fmla="*/ 5227910 h 5973007"/>
              <a:gd name="connsiteX4023" fmla="*/ 1679347 w 6884782"/>
              <a:gd name="connsiteY4023" fmla="*/ 5234002 h 5973007"/>
              <a:gd name="connsiteX4024" fmla="*/ 1677488 w 6884782"/>
              <a:gd name="connsiteY4024" fmla="*/ 5233795 h 5973007"/>
              <a:gd name="connsiteX4025" fmla="*/ 1677798 w 6884782"/>
              <a:gd name="connsiteY4025" fmla="*/ 5231214 h 5973007"/>
              <a:gd name="connsiteX4026" fmla="*/ 1685388 w 6884782"/>
              <a:gd name="connsiteY4026" fmla="*/ 5227910 h 5973007"/>
              <a:gd name="connsiteX4027" fmla="*/ 2558073 w 6884782"/>
              <a:gd name="connsiteY4027" fmla="*/ 5227497 h 5973007"/>
              <a:gd name="connsiteX4028" fmla="*/ 2560551 w 6884782"/>
              <a:gd name="connsiteY4028" fmla="*/ 5229975 h 5973007"/>
              <a:gd name="connsiteX4029" fmla="*/ 2559312 w 6884782"/>
              <a:gd name="connsiteY4029" fmla="*/ 5230801 h 5973007"/>
              <a:gd name="connsiteX4030" fmla="*/ 2559777 w 6884782"/>
              <a:gd name="connsiteY4030" fmla="*/ 5231627 h 5973007"/>
              <a:gd name="connsiteX4031" fmla="*/ 2558073 w 6884782"/>
              <a:gd name="connsiteY4031" fmla="*/ 5231627 h 5973007"/>
              <a:gd name="connsiteX4032" fmla="*/ 2557453 w 6884782"/>
              <a:gd name="connsiteY4032" fmla="*/ 5231008 h 5973007"/>
              <a:gd name="connsiteX4033" fmla="*/ 2557299 w 6884782"/>
              <a:gd name="connsiteY4033" fmla="*/ 5230904 h 5973007"/>
              <a:gd name="connsiteX4034" fmla="*/ 2557144 w 6884782"/>
              <a:gd name="connsiteY4034" fmla="*/ 5229046 h 5973007"/>
              <a:gd name="connsiteX4035" fmla="*/ 2558073 w 6884782"/>
              <a:gd name="connsiteY4035" fmla="*/ 5227497 h 5973007"/>
              <a:gd name="connsiteX4036" fmla="*/ 2738837 w 6884782"/>
              <a:gd name="connsiteY4036" fmla="*/ 5227290 h 5973007"/>
              <a:gd name="connsiteX4037" fmla="*/ 2734500 w 6884782"/>
              <a:gd name="connsiteY4037" fmla="*/ 5234931 h 5973007"/>
              <a:gd name="connsiteX4038" fmla="*/ 2733571 w 6884782"/>
              <a:gd name="connsiteY4038" fmla="*/ 5227497 h 5973007"/>
              <a:gd name="connsiteX4039" fmla="*/ 2738837 w 6884782"/>
              <a:gd name="connsiteY4039" fmla="*/ 5227290 h 5973007"/>
              <a:gd name="connsiteX4040" fmla="*/ 2278796 w 6884782"/>
              <a:gd name="connsiteY4040" fmla="*/ 5226877 h 5973007"/>
              <a:gd name="connsiteX4041" fmla="*/ 2283287 w 6884782"/>
              <a:gd name="connsiteY4041" fmla="*/ 5229252 h 5973007"/>
              <a:gd name="connsiteX4042" fmla="*/ 2283907 w 6884782"/>
              <a:gd name="connsiteY4042" fmla="*/ 5239578 h 5973007"/>
              <a:gd name="connsiteX4043" fmla="*/ 2274923 w 6884782"/>
              <a:gd name="connsiteY4043" fmla="*/ 5241849 h 5973007"/>
              <a:gd name="connsiteX4044" fmla="*/ 2274303 w 6884782"/>
              <a:gd name="connsiteY4044" fmla="*/ 5243708 h 5973007"/>
              <a:gd name="connsiteX4045" fmla="*/ 2271205 w 6884782"/>
              <a:gd name="connsiteY4045" fmla="*/ 5245567 h 5973007"/>
              <a:gd name="connsiteX4046" fmla="*/ 2270121 w 6884782"/>
              <a:gd name="connsiteY4046" fmla="*/ 5243915 h 5973007"/>
              <a:gd name="connsiteX4047" fmla="*/ 2273064 w 6884782"/>
              <a:gd name="connsiteY4047" fmla="*/ 5241127 h 5973007"/>
              <a:gd name="connsiteX4048" fmla="*/ 2273064 w 6884782"/>
              <a:gd name="connsiteY4048" fmla="*/ 5240301 h 5973007"/>
              <a:gd name="connsiteX4049" fmla="*/ 2271051 w 6884782"/>
              <a:gd name="connsiteY4049" fmla="*/ 5238648 h 5973007"/>
              <a:gd name="connsiteX4050" fmla="*/ 2269967 w 6884782"/>
              <a:gd name="connsiteY4050" fmla="*/ 5229975 h 5973007"/>
              <a:gd name="connsiteX4051" fmla="*/ 2278796 w 6884782"/>
              <a:gd name="connsiteY4051" fmla="*/ 5226877 h 5973007"/>
              <a:gd name="connsiteX4052" fmla="*/ 2627776 w 6884782"/>
              <a:gd name="connsiteY4052" fmla="*/ 5225742 h 5973007"/>
              <a:gd name="connsiteX4053" fmla="*/ 2628241 w 6884782"/>
              <a:gd name="connsiteY4053" fmla="*/ 5227600 h 5973007"/>
              <a:gd name="connsiteX4054" fmla="*/ 2628860 w 6884782"/>
              <a:gd name="connsiteY4054" fmla="*/ 5227084 h 5973007"/>
              <a:gd name="connsiteX4055" fmla="*/ 2632888 w 6884782"/>
              <a:gd name="connsiteY4055" fmla="*/ 5225948 h 5973007"/>
              <a:gd name="connsiteX4056" fmla="*/ 2630255 w 6884782"/>
              <a:gd name="connsiteY4056" fmla="*/ 5228529 h 5973007"/>
              <a:gd name="connsiteX4057" fmla="*/ 2628860 w 6884782"/>
              <a:gd name="connsiteY4057" fmla="*/ 5229459 h 5973007"/>
              <a:gd name="connsiteX4058" fmla="*/ 2629635 w 6884782"/>
              <a:gd name="connsiteY4058" fmla="*/ 5231627 h 5973007"/>
              <a:gd name="connsiteX4059" fmla="*/ 2627776 w 6884782"/>
              <a:gd name="connsiteY4059" fmla="*/ 5235448 h 5973007"/>
              <a:gd name="connsiteX4060" fmla="*/ 2629480 w 6884782"/>
              <a:gd name="connsiteY4060" fmla="*/ 5235861 h 5973007"/>
              <a:gd name="connsiteX4061" fmla="*/ 2627002 w 6884782"/>
              <a:gd name="connsiteY4061" fmla="*/ 5238442 h 5973007"/>
              <a:gd name="connsiteX4062" fmla="*/ 2626382 w 6884782"/>
              <a:gd name="connsiteY4062" fmla="*/ 5237822 h 5973007"/>
              <a:gd name="connsiteX4063" fmla="*/ 2624059 w 6884782"/>
              <a:gd name="connsiteY4063" fmla="*/ 5237306 h 5973007"/>
              <a:gd name="connsiteX4064" fmla="*/ 2623594 w 6884782"/>
              <a:gd name="connsiteY4064" fmla="*/ 5238545 h 5973007"/>
              <a:gd name="connsiteX4065" fmla="*/ 2620341 w 6884782"/>
              <a:gd name="connsiteY4065" fmla="*/ 5240610 h 5973007"/>
              <a:gd name="connsiteX4066" fmla="*/ 2618792 w 6884782"/>
              <a:gd name="connsiteY4066" fmla="*/ 5239578 h 5973007"/>
              <a:gd name="connsiteX4067" fmla="*/ 2617398 w 6884782"/>
              <a:gd name="connsiteY4067" fmla="*/ 5238029 h 5973007"/>
              <a:gd name="connsiteX4068" fmla="*/ 2616624 w 6884782"/>
              <a:gd name="connsiteY4068" fmla="*/ 5236171 h 5973007"/>
              <a:gd name="connsiteX4069" fmla="*/ 2616624 w 6884782"/>
              <a:gd name="connsiteY4069" fmla="*/ 5233279 h 5973007"/>
              <a:gd name="connsiteX4070" fmla="*/ 2618792 w 6884782"/>
              <a:gd name="connsiteY4070" fmla="*/ 5229975 h 5973007"/>
              <a:gd name="connsiteX4071" fmla="*/ 2620341 w 6884782"/>
              <a:gd name="connsiteY4071" fmla="*/ 5229046 h 5973007"/>
              <a:gd name="connsiteX4072" fmla="*/ 2620806 w 6884782"/>
              <a:gd name="connsiteY4072" fmla="*/ 5229252 h 5973007"/>
              <a:gd name="connsiteX4073" fmla="*/ 2623749 w 6884782"/>
              <a:gd name="connsiteY4073" fmla="*/ 5226981 h 5973007"/>
              <a:gd name="connsiteX4074" fmla="*/ 2627776 w 6884782"/>
              <a:gd name="connsiteY4074" fmla="*/ 5225742 h 5973007"/>
              <a:gd name="connsiteX4075" fmla="*/ 1772285 w 6884782"/>
              <a:gd name="connsiteY4075" fmla="*/ 5225638 h 5973007"/>
              <a:gd name="connsiteX4076" fmla="*/ 1772904 w 6884782"/>
              <a:gd name="connsiteY4076" fmla="*/ 5226051 h 5973007"/>
              <a:gd name="connsiteX4077" fmla="*/ 1775692 w 6884782"/>
              <a:gd name="connsiteY4077" fmla="*/ 5227807 h 5973007"/>
              <a:gd name="connsiteX4078" fmla="*/ 1774608 w 6884782"/>
              <a:gd name="connsiteY4078" fmla="*/ 5232350 h 5973007"/>
              <a:gd name="connsiteX4079" fmla="*/ 1771355 w 6884782"/>
              <a:gd name="connsiteY4079" fmla="*/ 5232556 h 5973007"/>
              <a:gd name="connsiteX4080" fmla="*/ 1769651 w 6884782"/>
              <a:gd name="connsiteY4080" fmla="*/ 5231317 h 5973007"/>
              <a:gd name="connsiteX4081" fmla="*/ 1770426 w 6884782"/>
              <a:gd name="connsiteY4081" fmla="*/ 5226568 h 5973007"/>
              <a:gd name="connsiteX4082" fmla="*/ 1772285 w 6884782"/>
              <a:gd name="connsiteY4082" fmla="*/ 5225638 h 5973007"/>
              <a:gd name="connsiteX4083" fmla="*/ 2723192 w 6884782"/>
              <a:gd name="connsiteY4083" fmla="*/ 5224503 h 5973007"/>
              <a:gd name="connsiteX4084" fmla="*/ 2721643 w 6884782"/>
              <a:gd name="connsiteY4084" fmla="*/ 5233692 h 5973007"/>
              <a:gd name="connsiteX4085" fmla="*/ 2720250 w 6884782"/>
              <a:gd name="connsiteY4085" fmla="*/ 5231834 h 5973007"/>
              <a:gd name="connsiteX4086" fmla="*/ 2723192 w 6884782"/>
              <a:gd name="connsiteY4086" fmla="*/ 5224503 h 5973007"/>
              <a:gd name="connsiteX4087" fmla="*/ 2480160 w 6884782"/>
              <a:gd name="connsiteY4087" fmla="*/ 5224296 h 5973007"/>
              <a:gd name="connsiteX4088" fmla="*/ 2474739 w 6884782"/>
              <a:gd name="connsiteY4088" fmla="*/ 5234931 h 5973007"/>
              <a:gd name="connsiteX4089" fmla="*/ 2470557 w 6884782"/>
              <a:gd name="connsiteY4089" fmla="*/ 5234105 h 5973007"/>
              <a:gd name="connsiteX4090" fmla="*/ 2480160 w 6884782"/>
              <a:gd name="connsiteY4090" fmla="*/ 5224296 h 5973007"/>
              <a:gd name="connsiteX4091" fmla="*/ 2569845 w 6884782"/>
              <a:gd name="connsiteY4091" fmla="*/ 5223780 h 5973007"/>
              <a:gd name="connsiteX4092" fmla="*/ 2591531 w 6884782"/>
              <a:gd name="connsiteY4092" fmla="*/ 5233795 h 5973007"/>
              <a:gd name="connsiteX4093" fmla="*/ 2572014 w 6884782"/>
              <a:gd name="connsiteY4093" fmla="*/ 5229046 h 5973007"/>
              <a:gd name="connsiteX4094" fmla="*/ 2569845 w 6884782"/>
              <a:gd name="connsiteY4094" fmla="*/ 5223780 h 5973007"/>
              <a:gd name="connsiteX4095" fmla="*/ 2535148 w 6884782"/>
              <a:gd name="connsiteY4095" fmla="*/ 5223573 h 5973007"/>
              <a:gd name="connsiteX4096" fmla="*/ 2542893 w 6884782"/>
              <a:gd name="connsiteY4096" fmla="*/ 5239061 h 5973007"/>
              <a:gd name="connsiteX4097" fmla="*/ 2531586 w 6884782"/>
              <a:gd name="connsiteY4097" fmla="*/ 5243915 h 5973007"/>
              <a:gd name="connsiteX4098" fmla="*/ 2520124 w 6884782"/>
              <a:gd name="connsiteY4098" fmla="*/ 5238855 h 5973007"/>
              <a:gd name="connsiteX4099" fmla="*/ 2521517 w 6884782"/>
              <a:gd name="connsiteY4099" fmla="*/ 5233382 h 5973007"/>
              <a:gd name="connsiteX4100" fmla="*/ 2535148 w 6884782"/>
              <a:gd name="connsiteY4100" fmla="*/ 5223573 h 5973007"/>
              <a:gd name="connsiteX4101" fmla="*/ 2446702 w 6884782"/>
              <a:gd name="connsiteY4101" fmla="*/ 5220682 h 5973007"/>
              <a:gd name="connsiteX4102" fmla="*/ 2449336 w 6884782"/>
              <a:gd name="connsiteY4102" fmla="*/ 5223367 h 5973007"/>
              <a:gd name="connsiteX4103" fmla="*/ 2442366 w 6884782"/>
              <a:gd name="connsiteY4103" fmla="*/ 5230698 h 5973007"/>
              <a:gd name="connsiteX4104" fmla="*/ 2438803 w 6884782"/>
              <a:gd name="connsiteY4104" fmla="*/ 5226361 h 5973007"/>
              <a:gd name="connsiteX4105" fmla="*/ 2446702 w 6884782"/>
              <a:gd name="connsiteY4105" fmla="*/ 5220682 h 5973007"/>
              <a:gd name="connsiteX4106" fmla="*/ 2804358 w 6884782"/>
              <a:gd name="connsiteY4106" fmla="*/ 5218410 h 5973007"/>
              <a:gd name="connsiteX4107" fmla="*/ 2819073 w 6884782"/>
              <a:gd name="connsiteY4107" fmla="*/ 5235241 h 5973007"/>
              <a:gd name="connsiteX4108" fmla="*/ 2803739 w 6884782"/>
              <a:gd name="connsiteY4108" fmla="*/ 5223883 h 5973007"/>
              <a:gd name="connsiteX4109" fmla="*/ 2804358 w 6884782"/>
              <a:gd name="connsiteY4109" fmla="*/ 5218410 h 5973007"/>
              <a:gd name="connsiteX4110" fmla="*/ 2350357 w 6884782"/>
              <a:gd name="connsiteY4110" fmla="*/ 5218101 h 5973007"/>
              <a:gd name="connsiteX4111" fmla="*/ 2350822 w 6884782"/>
              <a:gd name="connsiteY4111" fmla="*/ 5221611 h 5973007"/>
              <a:gd name="connsiteX4112" fmla="*/ 2345245 w 6884782"/>
              <a:gd name="connsiteY4112" fmla="*/ 5226051 h 5973007"/>
              <a:gd name="connsiteX4113" fmla="*/ 2343077 w 6884782"/>
              <a:gd name="connsiteY4113" fmla="*/ 5225638 h 5973007"/>
              <a:gd name="connsiteX4114" fmla="*/ 2343387 w 6884782"/>
              <a:gd name="connsiteY4114" fmla="*/ 5221198 h 5973007"/>
              <a:gd name="connsiteX4115" fmla="*/ 2350357 w 6884782"/>
              <a:gd name="connsiteY4115" fmla="*/ 5218101 h 5973007"/>
              <a:gd name="connsiteX4116" fmla="*/ 2260518 w 6884782"/>
              <a:gd name="connsiteY4116" fmla="*/ 5217584 h 5973007"/>
              <a:gd name="connsiteX4117" fmla="*/ 2266249 w 6884782"/>
              <a:gd name="connsiteY4117" fmla="*/ 5222334 h 5973007"/>
              <a:gd name="connsiteX4118" fmla="*/ 2265939 w 6884782"/>
              <a:gd name="connsiteY4118" fmla="*/ 5227497 h 5973007"/>
              <a:gd name="connsiteX4119" fmla="*/ 2260208 w 6884782"/>
              <a:gd name="connsiteY4119" fmla="*/ 5233382 h 5973007"/>
              <a:gd name="connsiteX4120" fmla="*/ 2257110 w 6884782"/>
              <a:gd name="connsiteY4120" fmla="*/ 5230491 h 5973007"/>
              <a:gd name="connsiteX4121" fmla="*/ 2260518 w 6884782"/>
              <a:gd name="connsiteY4121" fmla="*/ 5217584 h 5973007"/>
              <a:gd name="connsiteX4122" fmla="*/ 2655038 w 6884782"/>
              <a:gd name="connsiteY4122" fmla="*/ 5217481 h 5973007"/>
              <a:gd name="connsiteX4123" fmla="*/ 2662938 w 6884782"/>
              <a:gd name="connsiteY4123" fmla="*/ 5220269 h 5973007"/>
              <a:gd name="connsiteX4124" fmla="*/ 2651166 w 6884782"/>
              <a:gd name="connsiteY4124" fmla="*/ 5237719 h 5973007"/>
              <a:gd name="connsiteX4125" fmla="*/ 2648842 w 6884782"/>
              <a:gd name="connsiteY4125" fmla="*/ 5232970 h 5973007"/>
              <a:gd name="connsiteX4126" fmla="*/ 2650391 w 6884782"/>
              <a:gd name="connsiteY4126" fmla="*/ 5224296 h 5973007"/>
              <a:gd name="connsiteX4127" fmla="*/ 2651475 w 6884782"/>
              <a:gd name="connsiteY4127" fmla="*/ 5222850 h 5973007"/>
              <a:gd name="connsiteX4128" fmla="*/ 2651630 w 6884782"/>
              <a:gd name="connsiteY4128" fmla="*/ 5222127 h 5973007"/>
              <a:gd name="connsiteX4129" fmla="*/ 2652560 w 6884782"/>
              <a:gd name="connsiteY4129" fmla="*/ 5221198 h 5973007"/>
              <a:gd name="connsiteX4130" fmla="*/ 2591376 w 6884782"/>
              <a:gd name="connsiteY4130" fmla="*/ 5215416 h 5973007"/>
              <a:gd name="connsiteX4131" fmla="*/ 2591221 w 6884782"/>
              <a:gd name="connsiteY4131" fmla="*/ 5218307 h 5973007"/>
              <a:gd name="connsiteX4132" fmla="*/ 2591531 w 6884782"/>
              <a:gd name="connsiteY4132" fmla="*/ 5219856 h 5973007"/>
              <a:gd name="connsiteX4133" fmla="*/ 2590446 w 6884782"/>
              <a:gd name="connsiteY4133" fmla="*/ 5221714 h 5973007"/>
              <a:gd name="connsiteX4134" fmla="*/ 2587503 w 6884782"/>
              <a:gd name="connsiteY4134" fmla="*/ 5223883 h 5973007"/>
              <a:gd name="connsiteX4135" fmla="*/ 2583476 w 6884782"/>
              <a:gd name="connsiteY4135" fmla="*/ 5223367 h 5973007"/>
              <a:gd name="connsiteX4136" fmla="*/ 2584406 w 6884782"/>
              <a:gd name="connsiteY4136" fmla="*/ 5223367 h 5973007"/>
              <a:gd name="connsiteX4137" fmla="*/ 2584560 w 6884782"/>
              <a:gd name="connsiteY4137" fmla="*/ 5221611 h 5973007"/>
              <a:gd name="connsiteX4138" fmla="*/ 2583786 w 6884782"/>
              <a:gd name="connsiteY4138" fmla="*/ 5221611 h 5973007"/>
              <a:gd name="connsiteX4139" fmla="*/ 2584715 w 6884782"/>
              <a:gd name="connsiteY4139" fmla="*/ 5219856 h 5973007"/>
              <a:gd name="connsiteX4140" fmla="*/ 2587658 w 6884782"/>
              <a:gd name="connsiteY4140" fmla="*/ 5217687 h 5973007"/>
              <a:gd name="connsiteX4141" fmla="*/ 2586729 w 6884782"/>
              <a:gd name="connsiteY4141" fmla="*/ 5215932 h 5973007"/>
              <a:gd name="connsiteX4142" fmla="*/ 2591376 w 6884782"/>
              <a:gd name="connsiteY4142" fmla="*/ 5215416 h 5973007"/>
              <a:gd name="connsiteX4143" fmla="*/ 2106861 w 6884782"/>
              <a:gd name="connsiteY4143" fmla="*/ 5215209 h 5973007"/>
              <a:gd name="connsiteX4144" fmla="*/ 2105002 w 6884782"/>
              <a:gd name="connsiteY4144" fmla="*/ 5219959 h 5973007"/>
              <a:gd name="connsiteX4145" fmla="*/ 2097102 w 6884782"/>
              <a:gd name="connsiteY4145" fmla="*/ 5216139 h 5973007"/>
              <a:gd name="connsiteX4146" fmla="*/ 2106861 w 6884782"/>
              <a:gd name="connsiteY4146" fmla="*/ 5215209 h 5973007"/>
              <a:gd name="connsiteX4147" fmla="*/ 2540105 w 6884782"/>
              <a:gd name="connsiteY4147" fmla="*/ 5214590 h 5973007"/>
              <a:gd name="connsiteX4148" fmla="*/ 2541189 w 6884782"/>
              <a:gd name="connsiteY4148" fmla="*/ 5220992 h 5973007"/>
              <a:gd name="connsiteX4149" fmla="*/ 2539640 w 6884782"/>
              <a:gd name="connsiteY4149" fmla="*/ 5218101 h 5973007"/>
              <a:gd name="connsiteX4150" fmla="*/ 2540105 w 6884782"/>
              <a:gd name="connsiteY4150" fmla="*/ 5214590 h 5973007"/>
              <a:gd name="connsiteX4151" fmla="*/ 2359031 w 6884782"/>
              <a:gd name="connsiteY4151" fmla="*/ 5214074 h 5973007"/>
              <a:gd name="connsiteX4152" fmla="*/ 2359341 w 6884782"/>
              <a:gd name="connsiteY4152" fmla="*/ 5216758 h 5973007"/>
              <a:gd name="connsiteX4153" fmla="*/ 2357947 w 6884782"/>
              <a:gd name="connsiteY4153" fmla="*/ 5217687 h 5973007"/>
              <a:gd name="connsiteX4154" fmla="*/ 2357482 w 6884782"/>
              <a:gd name="connsiteY4154" fmla="*/ 5220476 h 5973007"/>
              <a:gd name="connsiteX4155" fmla="*/ 2355934 w 6884782"/>
              <a:gd name="connsiteY4155" fmla="*/ 5220579 h 5973007"/>
              <a:gd name="connsiteX4156" fmla="*/ 2356708 w 6884782"/>
              <a:gd name="connsiteY4156" fmla="*/ 5215106 h 5973007"/>
              <a:gd name="connsiteX4157" fmla="*/ 2359031 w 6884782"/>
              <a:gd name="connsiteY4157" fmla="*/ 5214074 h 5973007"/>
              <a:gd name="connsiteX4158" fmla="*/ 1716832 w 6884782"/>
              <a:gd name="connsiteY4158" fmla="*/ 5212524 h 5973007"/>
              <a:gd name="connsiteX4159" fmla="*/ 1709861 w 6884782"/>
              <a:gd name="connsiteY4159" fmla="*/ 5240094 h 5973007"/>
              <a:gd name="connsiteX4160" fmla="*/ 1707073 w 6884782"/>
              <a:gd name="connsiteY4160" fmla="*/ 5233692 h 5973007"/>
              <a:gd name="connsiteX4161" fmla="*/ 1716832 w 6884782"/>
              <a:gd name="connsiteY4161" fmla="*/ 5212524 h 5973007"/>
              <a:gd name="connsiteX4162" fmla="*/ 2805133 w 6884782"/>
              <a:gd name="connsiteY4162" fmla="*/ 5210666 h 5973007"/>
              <a:gd name="connsiteX4163" fmla="*/ 2805287 w 6884782"/>
              <a:gd name="connsiteY4163" fmla="*/ 5213970 h 5973007"/>
              <a:gd name="connsiteX4164" fmla="*/ 2804823 w 6884782"/>
              <a:gd name="connsiteY4164" fmla="*/ 5214486 h 5973007"/>
              <a:gd name="connsiteX4165" fmla="*/ 2804358 w 6884782"/>
              <a:gd name="connsiteY4165" fmla="*/ 5213867 h 5973007"/>
              <a:gd name="connsiteX4166" fmla="*/ 2805133 w 6884782"/>
              <a:gd name="connsiteY4166" fmla="*/ 5210666 h 5973007"/>
              <a:gd name="connsiteX4167" fmla="*/ 1690344 w 6884782"/>
              <a:gd name="connsiteY4167" fmla="*/ 5208911 h 5973007"/>
              <a:gd name="connsiteX4168" fmla="*/ 1688486 w 6884782"/>
              <a:gd name="connsiteY4168" fmla="*/ 5216139 h 5973007"/>
              <a:gd name="connsiteX4169" fmla="*/ 1684768 w 6884782"/>
              <a:gd name="connsiteY4169" fmla="*/ 5216861 h 5973007"/>
              <a:gd name="connsiteX4170" fmla="*/ 1680741 w 6884782"/>
              <a:gd name="connsiteY4170" fmla="*/ 5215519 h 5973007"/>
              <a:gd name="connsiteX4171" fmla="*/ 1690344 w 6884782"/>
              <a:gd name="connsiteY4171" fmla="*/ 5208911 h 5973007"/>
              <a:gd name="connsiteX4172" fmla="*/ 2355004 w 6884782"/>
              <a:gd name="connsiteY4172" fmla="*/ 5207569 h 5973007"/>
              <a:gd name="connsiteX4173" fmla="*/ 2354384 w 6884782"/>
              <a:gd name="connsiteY4173" fmla="*/ 5209324 h 5973007"/>
              <a:gd name="connsiteX4174" fmla="*/ 2351441 w 6884782"/>
              <a:gd name="connsiteY4174" fmla="*/ 5213867 h 5973007"/>
              <a:gd name="connsiteX4175" fmla="*/ 2350357 w 6884782"/>
              <a:gd name="connsiteY4175" fmla="*/ 5211285 h 5973007"/>
              <a:gd name="connsiteX4176" fmla="*/ 2351751 w 6884782"/>
              <a:gd name="connsiteY4176" fmla="*/ 5209427 h 5973007"/>
              <a:gd name="connsiteX4177" fmla="*/ 2352371 w 6884782"/>
              <a:gd name="connsiteY4177" fmla="*/ 5207672 h 5973007"/>
              <a:gd name="connsiteX4178" fmla="*/ 2355004 w 6884782"/>
              <a:gd name="connsiteY4178" fmla="*/ 5207569 h 5973007"/>
              <a:gd name="connsiteX4179" fmla="*/ 2446858 w 6884782"/>
              <a:gd name="connsiteY4179" fmla="*/ 5206949 h 5973007"/>
              <a:gd name="connsiteX4180" fmla="*/ 2450265 w 6884782"/>
              <a:gd name="connsiteY4180" fmla="*/ 5213454 h 5973007"/>
              <a:gd name="connsiteX4181" fmla="*/ 2448252 w 6884782"/>
              <a:gd name="connsiteY4181" fmla="*/ 5219546 h 5973007"/>
              <a:gd name="connsiteX4182" fmla="*/ 2444844 w 6884782"/>
              <a:gd name="connsiteY4182" fmla="*/ 5217378 h 5973007"/>
              <a:gd name="connsiteX4183" fmla="*/ 2445309 w 6884782"/>
              <a:gd name="connsiteY4183" fmla="*/ 5212318 h 5973007"/>
              <a:gd name="connsiteX4184" fmla="*/ 2444999 w 6884782"/>
              <a:gd name="connsiteY4184" fmla="*/ 5208911 h 5973007"/>
              <a:gd name="connsiteX4185" fmla="*/ 2446858 w 6884782"/>
              <a:gd name="connsiteY4185" fmla="*/ 5206949 h 5973007"/>
              <a:gd name="connsiteX4186" fmla="*/ 2503394 w 6884782"/>
              <a:gd name="connsiteY4186" fmla="*/ 5204161 h 5973007"/>
              <a:gd name="connsiteX4187" fmla="*/ 2510675 w 6884782"/>
              <a:gd name="connsiteY4187" fmla="*/ 5208085 h 5973007"/>
              <a:gd name="connsiteX4188" fmla="*/ 2510675 w 6884782"/>
              <a:gd name="connsiteY4188" fmla="*/ 5213454 h 5973007"/>
              <a:gd name="connsiteX4189" fmla="*/ 2508196 w 6884782"/>
              <a:gd name="connsiteY4189" fmla="*/ 5214796 h 5973007"/>
              <a:gd name="connsiteX4190" fmla="*/ 2505408 w 6884782"/>
              <a:gd name="connsiteY4190" fmla="*/ 5213557 h 5973007"/>
              <a:gd name="connsiteX4191" fmla="*/ 2501381 w 6884782"/>
              <a:gd name="connsiteY4191" fmla="*/ 5210459 h 5973007"/>
              <a:gd name="connsiteX4192" fmla="*/ 2501691 w 6884782"/>
              <a:gd name="connsiteY4192" fmla="*/ 5207775 h 5973007"/>
              <a:gd name="connsiteX4193" fmla="*/ 2503394 w 6884782"/>
              <a:gd name="connsiteY4193" fmla="*/ 5204161 h 5973007"/>
              <a:gd name="connsiteX4194" fmla="*/ 2283752 w 6884782"/>
              <a:gd name="connsiteY4194" fmla="*/ 5203748 h 5973007"/>
              <a:gd name="connsiteX4195" fmla="*/ 2279415 w 6884782"/>
              <a:gd name="connsiteY4195" fmla="*/ 5211079 h 5973007"/>
              <a:gd name="connsiteX4196" fmla="*/ 2283752 w 6884782"/>
              <a:gd name="connsiteY4196" fmla="*/ 5203748 h 5973007"/>
              <a:gd name="connsiteX4197" fmla="*/ 2320772 w 6884782"/>
              <a:gd name="connsiteY4197" fmla="*/ 5203438 h 5973007"/>
              <a:gd name="connsiteX4198" fmla="*/ 2317674 w 6884782"/>
              <a:gd name="connsiteY4198" fmla="*/ 5206226 h 5973007"/>
              <a:gd name="connsiteX4199" fmla="*/ 2316744 w 6884782"/>
              <a:gd name="connsiteY4199" fmla="*/ 5205503 h 5973007"/>
              <a:gd name="connsiteX4200" fmla="*/ 2320772 w 6884782"/>
              <a:gd name="connsiteY4200" fmla="*/ 5203438 h 5973007"/>
              <a:gd name="connsiteX4201" fmla="*/ 1581297 w 6884782"/>
              <a:gd name="connsiteY4201" fmla="*/ 5201786 h 5973007"/>
              <a:gd name="connsiteX4202" fmla="*/ 1587958 w 6884782"/>
              <a:gd name="connsiteY4202" fmla="*/ 5203954 h 5973007"/>
              <a:gd name="connsiteX4203" fmla="*/ 1581452 w 6884782"/>
              <a:gd name="connsiteY4203" fmla="*/ 5216242 h 5973007"/>
              <a:gd name="connsiteX4204" fmla="*/ 1577270 w 6884782"/>
              <a:gd name="connsiteY4204" fmla="*/ 5213351 h 5973007"/>
              <a:gd name="connsiteX4205" fmla="*/ 1581297 w 6884782"/>
              <a:gd name="connsiteY4205" fmla="*/ 5201786 h 5973007"/>
              <a:gd name="connsiteX4206" fmla="*/ 2425637 w 6884782"/>
              <a:gd name="connsiteY4206" fmla="*/ 5199824 h 5973007"/>
              <a:gd name="connsiteX4207" fmla="*/ 2430903 w 6884782"/>
              <a:gd name="connsiteY4207" fmla="*/ 5201992 h 5973007"/>
              <a:gd name="connsiteX4208" fmla="*/ 2435395 w 6884782"/>
              <a:gd name="connsiteY4208" fmla="*/ 5208188 h 5973007"/>
              <a:gd name="connsiteX4209" fmla="*/ 2434156 w 6884782"/>
              <a:gd name="connsiteY4209" fmla="*/ 5208498 h 5973007"/>
              <a:gd name="connsiteX4210" fmla="*/ 2425637 w 6884782"/>
              <a:gd name="connsiteY4210" fmla="*/ 5199824 h 5973007"/>
              <a:gd name="connsiteX4211" fmla="*/ 2821242 w 6884782"/>
              <a:gd name="connsiteY4211" fmla="*/ 5199618 h 5973007"/>
              <a:gd name="connsiteX4212" fmla="*/ 2820157 w 6884782"/>
              <a:gd name="connsiteY4212" fmla="*/ 5200444 h 5973007"/>
              <a:gd name="connsiteX4213" fmla="*/ 2818918 w 6884782"/>
              <a:gd name="connsiteY4213" fmla="*/ 5204677 h 5973007"/>
              <a:gd name="connsiteX4214" fmla="*/ 2823411 w 6884782"/>
              <a:gd name="connsiteY4214" fmla="*/ 5203438 h 5973007"/>
              <a:gd name="connsiteX4215" fmla="*/ 2822016 w 6884782"/>
              <a:gd name="connsiteY4215" fmla="*/ 5201889 h 5973007"/>
              <a:gd name="connsiteX4216" fmla="*/ 1891710 w 6884782"/>
              <a:gd name="connsiteY4216" fmla="*/ 5198895 h 5973007"/>
              <a:gd name="connsiteX4217" fmla="*/ 1893413 w 6884782"/>
              <a:gd name="connsiteY4217" fmla="*/ 5201580 h 5973007"/>
              <a:gd name="connsiteX4218" fmla="*/ 1883191 w 6884782"/>
              <a:gd name="connsiteY4218" fmla="*/ 5215209 h 5973007"/>
              <a:gd name="connsiteX4219" fmla="*/ 1881022 w 6884782"/>
              <a:gd name="connsiteY4219" fmla="*/ 5213867 h 5973007"/>
              <a:gd name="connsiteX4220" fmla="*/ 1891710 w 6884782"/>
              <a:gd name="connsiteY4220" fmla="*/ 5198895 h 5973007"/>
              <a:gd name="connsiteX4221" fmla="*/ 2043973 w 6884782"/>
              <a:gd name="connsiteY4221" fmla="*/ 5198482 h 5973007"/>
              <a:gd name="connsiteX4222" fmla="*/ 2055745 w 6884782"/>
              <a:gd name="connsiteY4222" fmla="*/ 5204987 h 5973007"/>
              <a:gd name="connsiteX4223" fmla="*/ 2052027 w 6884782"/>
              <a:gd name="connsiteY4223" fmla="*/ 5211285 h 5973007"/>
              <a:gd name="connsiteX4224" fmla="*/ 2050014 w 6884782"/>
              <a:gd name="connsiteY4224" fmla="*/ 5211079 h 5973007"/>
              <a:gd name="connsiteX4225" fmla="*/ 2040720 w 6884782"/>
              <a:gd name="connsiteY4225" fmla="*/ 5206742 h 5973007"/>
              <a:gd name="connsiteX4226" fmla="*/ 2043973 w 6884782"/>
              <a:gd name="connsiteY4226" fmla="*/ 5198482 h 5973007"/>
              <a:gd name="connsiteX4227" fmla="*/ 2169788 w 6884782"/>
              <a:gd name="connsiteY4227" fmla="*/ 5197991 h 5973007"/>
              <a:gd name="connsiteX4228" fmla="*/ 2173466 w 6884782"/>
              <a:gd name="connsiteY4228" fmla="*/ 5200031 h 5973007"/>
              <a:gd name="connsiteX4229" fmla="*/ 2171143 w 6884782"/>
              <a:gd name="connsiteY4229" fmla="*/ 5205090 h 5973007"/>
              <a:gd name="connsiteX4230" fmla="*/ 2166805 w 6884782"/>
              <a:gd name="connsiteY4230" fmla="*/ 5199824 h 5973007"/>
              <a:gd name="connsiteX4231" fmla="*/ 2169788 w 6884782"/>
              <a:gd name="connsiteY4231" fmla="*/ 5197991 h 5973007"/>
              <a:gd name="connsiteX4232" fmla="*/ 2425792 w 6884782"/>
              <a:gd name="connsiteY4232" fmla="*/ 5196623 h 5973007"/>
              <a:gd name="connsiteX4233" fmla="*/ 2412935 w 6884782"/>
              <a:gd name="connsiteY4233" fmla="*/ 5204471 h 5973007"/>
              <a:gd name="connsiteX4234" fmla="*/ 2412315 w 6884782"/>
              <a:gd name="connsiteY4234" fmla="*/ 5204057 h 5973007"/>
              <a:gd name="connsiteX4235" fmla="*/ 2412781 w 6884782"/>
              <a:gd name="connsiteY4235" fmla="*/ 5201889 h 5973007"/>
              <a:gd name="connsiteX4236" fmla="*/ 2416033 w 6884782"/>
              <a:gd name="connsiteY4236" fmla="*/ 5199927 h 5973007"/>
              <a:gd name="connsiteX4237" fmla="*/ 2424088 w 6884782"/>
              <a:gd name="connsiteY4237" fmla="*/ 5197656 h 5973007"/>
              <a:gd name="connsiteX4238" fmla="*/ 2425792 w 6884782"/>
              <a:gd name="connsiteY4238" fmla="*/ 5196623 h 5973007"/>
              <a:gd name="connsiteX4239" fmla="*/ 2263770 w 6884782"/>
              <a:gd name="connsiteY4239" fmla="*/ 5196417 h 5973007"/>
              <a:gd name="connsiteX4240" fmla="*/ 2267023 w 6884782"/>
              <a:gd name="connsiteY4240" fmla="*/ 5206019 h 5973007"/>
              <a:gd name="connsiteX4241" fmla="*/ 2264235 w 6884782"/>
              <a:gd name="connsiteY4241" fmla="*/ 5216345 h 5973007"/>
              <a:gd name="connsiteX4242" fmla="*/ 2261757 w 6884782"/>
              <a:gd name="connsiteY4242" fmla="*/ 5212112 h 5973007"/>
              <a:gd name="connsiteX4243" fmla="*/ 2263770 w 6884782"/>
              <a:gd name="connsiteY4243" fmla="*/ 5196417 h 5973007"/>
              <a:gd name="connsiteX4244" fmla="*/ 2132147 w 6884782"/>
              <a:gd name="connsiteY4244" fmla="*/ 5195771 h 5973007"/>
              <a:gd name="connsiteX4245" fmla="*/ 2146049 w 6884782"/>
              <a:gd name="connsiteY4245" fmla="*/ 5197862 h 5973007"/>
              <a:gd name="connsiteX4246" fmla="*/ 2119872 w 6884782"/>
              <a:gd name="connsiteY4246" fmla="*/ 5206226 h 5973007"/>
              <a:gd name="connsiteX4247" fmla="*/ 2132147 w 6884782"/>
              <a:gd name="connsiteY4247" fmla="*/ 5195771 h 5973007"/>
              <a:gd name="connsiteX4248" fmla="*/ 1754471 w 6884782"/>
              <a:gd name="connsiteY4248" fmla="*/ 5195694 h 5973007"/>
              <a:gd name="connsiteX4249" fmla="*/ 1745023 w 6884782"/>
              <a:gd name="connsiteY4249" fmla="*/ 5214486 h 5973007"/>
              <a:gd name="connsiteX4250" fmla="*/ 1741305 w 6884782"/>
              <a:gd name="connsiteY4250" fmla="*/ 5215725 h 5973007"/>
              <a:gd name="connsiteX4251" fmla="*/ 1739756 w 6884782"/>
              <a:gd name="connsiteY4251" fmla="*/ 5215313 h 5973007"/>
              <a:gd name="connsiteX4252" fmla="*/ 1754471 w 6884782"/>
              <a:gd name="connsiteY4252" fmla="*/ 5195694 h 5973007"/>
              <a:gd name="connsiteX4253" fmla="*/ 2568451 w 6884782"/>
              <a:gd name="connsiteY4253" fmla="*/ 5195178 h 5973007"/>
              <a:gd name="connsiteX4254" fmla="*/ 2571704 w 6884782"/>
              <a:gd name="connsiteY4254" fmla="*/ 5201373 h 5973007"/>
              <a:gd name="connsiteX4255" fmla="*/ 2559467 w 6884782"/>
              <a:gd name="connsiteY4255" fmla="*/ 5207052 h 5973007"/>
              <a:gd name="connsiteX4256" fmla="*/ 2568451 w 6884782"/>
              <a:gd name="connsiteY4256" fmla="*/ 5195178 h 5973007"/>
              <a:gd name="connsiteX4257" fmla="*/ 2035143 w 6884782"/>
              <a:gd name="connsiteY4257" fmla="*/ 5194661 h 5973007"/>
              <a:gd name="connsiteX4258" fmla="*/ 2032046 w 6884782"/>
              <a:gd name="connsiteY4258" fmla="*/ 5222024 h 5973007"/>
              <a:gd name="connsiteX4259" fmla="*/ 2035143 w 6884782"/>
              <a:gd name="connsiteY4259" fmla="*/ 5194661 h 5973007"/>
              <a:gd name="connsiteX4260" fmla="*/ 1803883 w 6884782"/>
              <a:gd name="connsiteY4260" fmla="*/ 5194351 h 5973007"/>
              <a:gd name="connsiteX4261" fmla="*/ 1818134 w 6884782"/>
              <a:gd name="connsiteY4261" fmla="*/ 5203438 h 5973007"/>
              <a:gd name="connsiteX4262" fmla="*/ 1817514 w 6884782"/>
              <a:gd name="connsiteY4262" fmla="*/ 5222231 h 5973007"/>
              <a:gd name="connsiteX4263" fmla="*/ 1812402 w 6884782"/>
              <a:gd name="connsiteY4263" fmla="*/ 5223057 h 5973007"/>
              <a:gd name="connsiteX4264" fmla="*/ 1804038 w 6884782"/>
              <a:gd name="connsiteY4264" fmla="*/ 5213351 h 5973007"/>
              <a:gd name="connsiteX4265" fmla="*/ 1802334 w 6884782"/>
              <a:gd name="connsiteY4265" fmla="*/ 5207258 h 5973007"/>
              <a:gd name="connsiteX4266" fmla="*/ 1801870 w 6884782"/>
              <a:gd name="connsiteY4266" fmla="*/ 5196417 h 5973007"/>
              <a:gd name="connsiteX4267" fmla="*/ 1803883 w 6884782"/>
              <a:gd name="connsiteY4267" fmla="*/ 5194351 h 5973007"/>
              <a:gd name="connsiteX4268" fmla="*/ 2722263 w 6884782"/>
              <a:gd name="connsiteY4268" fmla="*/ 5193113 h 5973007"/>
              <a:gd name="connsiteX4269" fmla="*/ 2723347 w 6884782"/>
              <a:gd name="connsiteY4269" fmla="*/ 5194042 h 5973007"/>
              <a:gd name="connsiteX4270" fmla="*/ 2723347 w 6884782"/>
              <a:gd name="connsiteY4270" fmla="*/ 5193319 h 5973007"/>
              <a:gd name="connsiteX4271" fmla="*/ 2431833 w 6884782"/>
              <a:gd name="connsiteY4271" fmla="*/ 5193009 h 5973007"/>
              <a:gd name="connsiteX4272" fmla="*/ 2433381 w 6884782"/>
              <a:gd name="connsiteY4272" fmla="*/ 5195074 h 5973007"/>
              <a:gd name="connsiteX4273" fmla="*/ 2428734 w 6884782"/>
              <a:gd name="connsiteY4273" fmla="*/ 5196210 h 5973007"/>
              <a:gd name="connsiteX4274" fmla="*/ 2427031 w 6884782"/>
              <a:gd name="connsiteY4274" fmla="*/ 5197346 h 5973007"/>
              <a:gd name="connsiteX4275" fmla="*/ 2427341 w 6884782"/>
              <a:gd name="connsiteY4275" fmla="*/ 5195384 h 5973007"/>
              <a:gd name="connsiteX4276" fmla="*/ 2430284 w 6884782"/>
              <a:gd name="connsiteY4276" fmla="*/ 5195178 h 5973007"/>
              <a:gd name="connsiteX4277" fmla="*/ 2430748 w 6884782"/>
              <a:gd name="connsiteY4277" fmla="*/ 5193319 h 5973007"/>
              <a:gd name="connsiteX4278" fmla="*/ 2431833 w 6884782"/>
              <a:gd name="connsiteY4278" fmla="*/ 5193009 h 5973007"/>
              <a:gd name="connsiteX4279" fmla="*/ 2544752 w 6884782"/>
              <a:gd name="connsiteY4279" fmla="*/ 5192286 h 5973007"/>
              <a:gd name="connsiteX4280" fmla="*/ 2546611 w 6884782"/>
              <a:gd name="connsiteY4280" fmla="*/ 5193525 h 5973007"/>
              <a:gd name="connsiteX4281" fmla="*/ 2546766 w 6884782"/>
              <a:gd name="connsiteY4281" fmla="*/ 5193525 h 5973007"/>
              <a:gd name="connsiteX4282" fmla="*/ 2546301 w 6884782"/>
              <a:gd name="connsiteY4282" fmla="*/ 5201373 h 5973007"/>
              <a:gd name="connsiteX4283" fmla="*/ 2543513 w 6884782"/>
              <a:gd name="connsiteY4283" fmla="*/ 5203438 h 5973007"/>
              <a:gd name="connsiteX4284" fmla="*/ 2539950 w 6884782"/>
              <a:gd name="connsiteY4284" fmla="*/ 5203438 h 5973007"/>
              <a:gd name="connsiteX4285" fmla="*/ 2537162 w 6884782"/>
              <a:gd name="connsiteY4285" fmla="*/ 5204368 h 5973007"/>
              <a:gd name="connsiteX4286" fmla="*/ 2534219 w 6884782"/>
              <a:gd name="connsiteY4286" fmla="*/ 5203851 h 5973007"/>
              <a:gd name="connsiteX4287" fmla="*/ 2532825 w 6884782"/>
              <a:gd name="connsiteY4287" fmla="*/ 5199514 h 5973007"/>
              <a:gd name="connsiteX4288" fmla="*/ 2536542 w 6884782"/>
              <a:gd name="connsiteY4288" fmla="*/ 5195384 h 5973007"/>
              <a:gd name="connsiteX4289" fmla="*/ 2536388 w 6884782"/>
              <a:gd name="connsiteY4289" fmla="*/ 5194765 h 5973007"/>
              <a:gd name="connsiteX4290" fmla="*/ 2544752 w 6884782"/>
              <a:gd name="connsiteY4290" fmla="*/ 5192286 h 5973007"/>
              <a:gd name="connsiteX4291" fmla="*/ 1847874 w 6884782"/>
              <a:gd name="connsiteY4291" fmla="*/ 5191254 h 5973007"/>
              <a:gd name="connsiteX4292" fmla="*/ 1849888 w 6884782"/>
              <a:gd name="connsiteY4292" fmla="*/ 5199824 h 5973007"/>
              <a:gd name="connsiteX4293" fmla="*/ 1844001 w 6884782"/>
              <a:gd name="connsiteY4293" fmla="*/ 5194455 h 5973007"/>
              <a:gd name="connsiteX4294" fmla="*/ 1847874 w 6884782"/>
              <a:gd name="connsiteY4294" fmla="*/ 5191254 h 5973007"/>
              <a:gd name="connsiteX4295" fmla="*/ 2471602 w 6884782"/>
              <a:gd name="connsiteY4295" fmla="*/ 5191176 h 5973007"/>
              <a:gd name="connsiteX4296" fmla="*/ 2475204 w 6884782"/>
              <a:gd name="connsiteY4296" fmla="*/ 5195590 h 5973007"/>
              <a:gd name="connsiteX4297" fmla="*/ 2474274 w 6884782"/>
              <a:gd name="connsiteY4297" fmla="*/ 5199927 h 5973007"/>
              <a:gd name="connsiteX4298" fmla="*/ 2467768 w 6884782"/>
              <a:gd name="connsiteY4298" fmla="*/ 5203645 h 5973007"/>
              <a:gd name="connsiteX4299" fmla="*/ 2465290 w 6884782"/>
              <a:gd name="connsiteY4299" fmla="*/ 5199308 h 5973007"/>
              <a:gd name="connsiteX4300" fmla="*/ 2464051 w 6884782"/>
              <a:gd name="connsiteY4300" fmla="*/ 5195281 h 5973007"/>
              <a:gd name="connsiteX4301" fmla="*/ 2471602 w 6884782"/>
              <a:gd name="connsiteY4301" fmla="*/ 5191176 h 5973007"/>
              <a:gd name="connsiteX4302" fmla="*/ 1737743 w 6884782"/>
              <a:gd name="connsiteY4302" fmla="*/ 5191047 h 5973007"/>
              <a:gd name="connsiteX4303" fmla="*/ 1740996 w 6884782"/>
              <a:gd name="connsiteY4303" fmla="*/ 5192183 h 5973007"/>
              <a:gd name="connsiteX4304" fmla="*/ 1736968 w 6884782"/>
              <a:gd name="connsiteY4304" fmla="*/ 5196004 h 5973007"/>
              <a:gd name="connsiteX4305" fmla="*/ 1737743 w 6884782"/>
              <a:gd name="connsiteY4305" fmla="*/ 5191047 h 5973007"/>
              <a:gd name="connsiteX4306" fmla="*/ 1574173 w 6884782"/>
              <a:gd name="connsiteY4306" fmla="*/ 5190738 h 5973007"/>
              <a:gd name="connsiteX4307" fmla="*/ 1569526 w 6884782"/>
              <a:gd name="connsiteY4307" fmla="*/ 5200547 h 5973007"/>
              <a:gd name="connsiteX4308" fmla="*/ 1574173 w 6884782"/>
              <a:gd name="connsiteY4308" fmla="*/ 5190738 h 5973007"/>
              <a:gd name="connsiteX4309" fmla="*/ 1960793 w 6884782"/>
              <a:gd name="connsiteY4309" fmla="*/ 5190428 h 5973007"/>
              <a:gd name="connsiteX4310" fmla="*/ 1960638 w 6884782"/>
              <a:gd name="connsiteY4310" fmla="*/ 5199514 h 5973007"/>
              <a:gd name="connsiteX4311" fmla="*/ 1957540 w 6884782"/>
              <a:gd name="connsiteY4311" fmla="*/ 5197862 h 5973007"/>
              <a:gd name="connsiteX4312" fmla="*/ 1960793 w 6884782"/>
              <a:gd name="connsiteY4312" fmla="*/ 5190428 h 5973007"/>
              <a:gd name="connsiteX4313" fmla="*/ 2365847 w 6884782"/>
              <a:gd name="connsiteY4313" fmla="*/ 5188156 h 5973007"/>
              <a:gd name="connsiteX4314" fmla="*/ 2365382 w 6884782"/>
              <a:gd name="connsiteY4314" fmla="*/ 5196417 h 5973007"/>
              <a:gd name="connsiteX4315" fmla="*/ 2364762 w 6884782"/>
              <a:gd name="connsiteY4315" fmla="*/ 5189395 h 5973007"/>
              <a:gd name="connsiteX4316" fmla="*/ 2365847 w 6884782"/>
              <a:gd name="connsiteY4316" fmla="*/ 5188156 h 5973007"/>
              <a:gd name="connsiteX4317" fmla="*/ 2308535 w 6884782"/>
              <a:gd name="connsiteY4317" fmla="*/ 5184749 h 5973007"/>
              <a:gd name="connsiteX4318" fmla="*/ 2314266 w 6884782"/>
              <a:gd name="connsiteY4318" fmla="*/ 5186607 h 5973007"/>
              <a:gd name="connsiteX4319" fmla="*/ 2314886 w 6884782"/>
              <a:gd name="connsiteY4319" fmla="*/ 5197862 h 5973007"/>
              <a:gd name="connsiteX4320" fmla="*/ 2306831 w 6884782"/>
              <a:gd name="connsiteY4320" fmla="*/ 5202096 h 5973007"/>
              <a:gd name="connsiteX4321" fmla="*/ 2307761 w 6884782"/>
              <a:gd name="connsiteY4321" fmla="*/ 5202096 h 5973007"/>
              <a:gd name="connsiteX4322" fmla="*/ 2309154 w 6884782"/>
              <a:gd name="connsiteY4322" fmla="*/ 5204057 h 5973007"/>
              <a:gd name="connsiteX4323" fmla="*/ 2310704 w 6884782"/>
              <a:gd name="connsiteY4323" fmla="*/ 5203954 h 5973007"/>
              <a:gd name="connsiteX4324" fmla="*/ 2312253 w 6884782"/>
              <a:gd name="connsiteY4324" fmla="*/ 5203954 h 5973007"/>
              <a:gd name="connsiteX4325" fmla="*/ 2312408 w 6884782"/>
              <a:gd name="connsiteY4325" fmla="*/ 5204780 h 5973007"/>
              <a:gd name="connsiteX4326" fmla="*/ 2310239 w 6884782"/>
              <a:gd name="connsiteY4326" fmla="*/ 5205297 h 5973007"/>
              <a:gd name="connsiteX4327" fmla="*/ 2312717 w 6884782"/>
              <a:gd name="connsiteY4327" fmla="*/ 5208394 h 5973007"/>
              <a:gd name="connsiteX4328" fmla="*/ 2314731 w 6884782"/>
              <a:gd name="connsiteY4328" fmla="*/ 5207981 h 5973007"/>
              <a:gd name="connsiteX4329" fmla="*/ 2313337 w 6884782"/>
              <a:gd name="connsiteY4329" fmla="*/ 5209530 h 5973007"/>
              <a:gd name="connsiteX4330" fmla="*/ 2314576 w 6884782"/>
              <a:gd name="connsiteY4330" fmla="*/ 5211905 h 5973007"/>
              <a:gd name="connsiteX4331" fmla="*/ 2314886 w 6884782"/>
              <a:gd name="connsiteY4331" fmla="*/ 5214383 h 5973007"/>
              <a:gd name="connsiteX4332" fmla="*/ 2312408 w 6884782"/>
              <a:gd name="connsiteY4332" fmla="*/ 5213454 h 5973007"/>
              <a:gd name="connsiteX4333" fmla="*/ 2311633 w 6884782"/>
              <a:gd name="connsiteY4333" fmla="*/ 5212524 h 5973007"/>
              <a:gd name="connsiteX4334" fmla="*/ 2310858 w 6884782"/>
              <a:gd name="connsiteY4334" fmla="*/ 5212524 h 5973007"/>
              <a:gd name="connsiteX4335" fmla="*/ 2310858 w 6884782"/>
              <a:gd name="connsiteY4335" fmla="*/ 5212215 h 5973007"/>
              <a:gd name="connsiteX4336" fmla="*/ 2307451 w 6884782"/>
              <a:gd name="connsiteY4336" fmla="*/ 5213764 h 5973007"/>
              <a:gd name="connsiteX4337" fmla="*/ 2301565 w 6884782"/>
              <a:gd name="connsiteY4337" fmla="*/ 5216758 h 5973007"/>
              <a:gd name="connsiteX4338" fmla="*/ 2301100 w 6884782"/>
              <a:gd name="connsiteY4338" fmla="*/ 5213247 h 5973007"/>
              <a:gd name="connsiteX4339" fmla="*/ 2302804 w 6884782"/>
              <a:gd name="connsiteY4339" fmla="*/ 5213144 h 5973007"/>
              <a:gd name="connsiteX4340" fmla="*/ 2307915 w 6884782"/>
              <a:gd name="connsiteY4340" fmla="*/ 5209324 h 5973007"/>
              <a:gd name="connsiteX4341" fmla="*/ 2308225 w 6884782"/>
              <a:gd name="connsiteY4341" fmla="*/ 5209220 h 5973007"/>
              <a:gd name="connsiteX4342" fmla="*/ 2306676 w 6884782"/>
              <a:gd name="connsiteY4342" fmla="*/ 5208291 h 5973007"/>
              <a:gd name="connsiteX4343" fmla="*/ 2304663 w 6884782"/>
              <a:gd name="connsiteY4343" fmla="*/ 5207258 h 5973007"/>
              <a:gd name="connsiteX4344" fmla="*/ 2304508 w 6884782"/>
              <a:gd name="connsiteY4344" fmla="*/ 5207155 h 5973007"/>
              <a:gd name="connsiteX4345" fmla="*/ 2304043 w 6884782"/>
              <a:gd name="connsiteY4345" fmla="*/ 5207258 h 5973007"/>
              <a:gd name="connsiteX4346" fmla="*/ 2300945 w 6884782"/>
              <a:gd name="connsiteY4346" fmla="*/ 5207155 h 5973007"/>
              <a:gd name="connsiteX4347" fmla="*/ 2301720 w 6884782"/>
              <a:gd name="connsiteY4347" fmla="*/ 5207052 h 5973007"/>
              <a:gd name="connsiteX4348" fmla="*/ 2300790 w 6884782"/>
              <a:gd name="connsiteY4348" fmla="*/ 5206329 h 5973007"/>
              <a:gd name="connsiteX4349" fmla="*/ 2303579 w 6884782"/>
              <a:gd name="connsiteY4349" fmla="*/ 5205503 h 5973007"/>
              <a:gd name="connsiteX4350" fmla="*/ 2303114 w 6884782"/>
              <a:gd name="connsiteY4350" fmla="*/ 5204987 h 5973007"/>
              <a:gd name="connsiteX4351" fmla="*/ 2301720 w 6884782"/>
              <a:gd name="connsiteY4351" fmla="*/ 5201992 h 5973007"/>
              <a:gd name="connsiteX4352" fmla="*/ 2303579 w 6884782"/>
              <a:gd name="connsiteY4352" fmla="*/ 5200341 h 5973007"/>
              <a:gd name="connsiteX4353" fmla="*/ 2302184 w 6884782"/>
              <a:gd name="connsiteY4353" fmla="*/ 5198482 h 5973007"/>
              <a:gd name="connsiteX4354" fmla="*/ 2304043 w 6884782"/>
              <a:gd name="connsiteY4354" fmla="*/ 5187330 h 5973007"/>
              <a:gd name="connsiteX4355" fmla="*/ 2308535 w 6884782"/>
              <a:gd name="connsiteY4355" fmla="*/ 5184749 h 5973007"/>
              <a:gd name="connsiteX4356" fmla="*/ 1634582 w 6884782"/>
              <a:gd name="connsiteY4356" fmla="*/ 5184542 h 5973007"/>
              <a:gd name="connsiteX4357" fmla="*/ 1638764 w 6884782"/>
              <a:gd name="connsiteY4357" fmla="*/ 5184542 h 5973007"/>
              <a:gd name="connsiteX4358" fmla="*/ 1640313 w 6884782"/>
              <a:gd name="connsiteY4358" fmla="*/ 5186401 h 5973007"/>
              <a:gd name="connsiteX4359" fmla="*/ 1640158 w 6884782"/>
              <a:gd name="connsiteY4359" fmla="*/ 5187227 h 5973007"/>
              <a:gd name="connsiteX4360" fmla="*/ 1638299 w 6884782"/>
              <a:gd name="connsiteY4360" fmla="*/ 5187950 h 5973007"/>
              <a:gd name="connsiteX4361" fmla="*/ 1630245 w 6884782"/>
              <a:gd name="connsiteY4361" fmla="*/ 5187020 h 5973007"/>
              <a:gd name="connsiteX4362" fmla="*/ 1628541 w 6884782"/>
              <a:gd name="connsiteY4362" fmla="*/ 5187020 h 5973007"/>
              <a:gd name="connsiteX4363" fmla="*/ 1626992 w 6884782"/>
              <a:gd name="connsiteY4363" fmla="*/ 5185265 h 5973007"/>
              <a:gd name="connsiteX4364" fmla="*/ 1634582 w 6884782"/>
              <a:gd name="connsiteY4364" fmla="*/ 5184542 h 5973007"/>
              <a:gd name="connsiteX4365" fmla="*/ 1880480 w 6884782"/>
              <a:gd name="connsiteY4365" fmla="*/ 5184426 h 5973007"/>
              <a:gd name="connsiteX4366" fmla="*/ 1886289 w 6884782"/>
              <a:gd name="connsiteY4366" fmla="*/ 5186298 h 5973007"/>
              <a:gd name="connsiteX4367" fmla="*/ 1887682 w 6884782"/>
              <a:gd name="connsiteY4367" fmla="*/ 5191564 h 5973007"/>
              <a:gd name="connsiteX4368" fmla="*/ 1882416 w 6884782"/>
              <a:gd name="connsiteY4368" fmla="*/ 5193009 h 5973007"/>
              <a:gd name="connsiteX4369" fmla="*/ 1877459 w 6884782"/>
              <a:gd name="connsiteY4369" fmla="*/ 5191770 h 5973007"/>
              <a:gd name="connsiteX4370" fmla="*/ 1880480 w 6884782"/>
              <a:gd name="connsiteY4370" fmla="*/ 5184426 h 5973007"/>
              <a:gd name="connsiteX4371" fmla="*/ 2112901 w 6884782"/>
              <a:gd name="connsiteY4371" fmla="*/ 5182993 h 5973007"/>
              <a:gd name="connsiteX4372" fmla="*/ 2116464 w 6884782"/>
              <a:gd name="connsiteY4372" fmla="*/ 5192803 h 5973007"/>
              <a:gd name="connsiteX4373" fmla="*/ 2114916 w 6884782"/>
              <a:gd name="connsiteY4373" fmla="*/ 5192700 h 5973007"/>
              <a:gd name="connsiteX4374" fmla="*/ 2112127 w 6884782"/>
              <a:gd name="connsiteY4374" fmla="*/ 5196623 h 5973007"/>
              <a:gd name="connsiteX4375" fmla="*/ 2109804 w 6884782"/>
              <a:gd name="connsiteY4375" fmla="*/ 5198379 h 5973007"/>
              <a:gd name="connsiteX4376" fmla="*/ 2108254 w 6884782"/>
              <a:gd name="connsiteY4376" fmla="*/ 5199514 h 5973007"/>
              <a:gd name="connsiteX4377" fmla="*/ 2106861 w 6884782"/>
              <a:gd name="connsiteY4377" fmla="*/ 5200547 h 5973007"/>
              <a:gd name="connsiteX4378" fmla="*/ 2105157 w 6884782"/>
              <a:gd name="connsiteY4378" fmla="*/ 5200857 h 5973007"/>
              <a:gd name="connsiteX4379" fmla="*/ 2103298 w 6884782"/>
              <a:gd name="connsiteY4379" fmla="*/ 5199618 h 5973007"/>
              <a:gd name="connsiteX4380" fmla="*/ 2109184 w 6884782"/>
              <a:gd name="connsiteY4380" fmla="*/ 5193422 h 5973007"/>
              <a:gd name="connsiteX4381" fmla="*/ 2111508 w 6884782"/>
              <a:gd name="connsiteY4381" fmla="*/ 5191254 h 5973007"/>
              <a:gd name="connsiteX4382" fmla="*/ 2110578 w 6884782"/>
              <a:gd name="connsiteY4382" fmla="*/ 5186814 h 5973007"/>
              <a:gd name="connsiteX4383" fmla="*/ 2112901 w 6884782"/>
              <a:gd name="connsiteY4383" fmla="*/ 5182993 h 5973007"/>
              <a:gd name="connsiteX4384" fmla="*/ 1534364 w 6884782"/>
              <a:gd name="connsiteY4384" fmla="*/ 5181961 h 5973007"/>
              <a:gd name="connsiteX4385" fmla="*/ 1538391 w 6884782"/>
              <a:gd name="connsiteY4385" fmla="*/ 5181961 h 5973007"/>
              <a:gd name="connsiteX4386" fmla="*/ 1551403 w 6884782"/>
              <a:gd name="connsiteY4386" fmla="*/ 5185781 h 5973007"/>
              <a:gd name="connsiteX4387" fmla="*/ 1545516 w 6884782"/>
              <a:gd name="connsiteY4387" fmla="*/ 5186607 h 5973007"/>
              <a:gd name="connsiteX4388" fmla="*/ 1532195 w 6884782"/>
              <a:gd name="connsiteY4388" fmla="*/ 5186298 h 5973007"/>
              <a:gd name="connsiteX4389" fmla="*/ 1530801 w 6884782"/>
              <a:gd name="connsiteY4389" fmla="*/ 5184542 h 5973007"/>
              <a:gd name="connsiteX4390" fmla="*/ 1529872 w 6884782"/>
              <a:gd name="connsiteY4390" fmla="*/ 5184542 h 5973007"/>
              <a:gd name="connsiteX4391" fmla="*/ 1529252 w 6884782"/>
              <a:gd name="connsiteY4391" fmla="*/ 5183613 h 5973007"/>
              <a:gd name="connsiteX4392" fmla="*/ 1529252 w 6884782"/>
              <a:gd name="connsiteY4392" fmla="*/ 5182787 h 5973007"/>
              <a:gd name="connsiteX4393" fmla="*/ 1534364 w 6884782"/>
              <a:gd name="connsiteY4393" fmla="*/ 5181961 h 5973007"/>
              <a:gd name="connsiteX4394" fmla="*/ 2276782 w 6884782"/>
              <a:gd name="connsiteY4394" fmla="*/ 5180928 h 5973007"/>
              <a:gd name="connsiteX4395" fmla="*/ 2278021 w 6884782"/>
              <a:gd name="connsiteY4395" fmla="*/ 5189912 h 5973007"/>
              <a:gd name="connsiteX4396" fmla="*/ 2276782 w 6884782"/>
              <a:gd name="connsiteY4396" fmla="*/ 5180928 h 5973007"/>
              <a:gd name="connsiteX4397" fmla="*/ 1715593 w 6884782"/>
              <a:gd name="connsiteY4397" fmla="*/ 5180928 h 5973007"/>
              <a:gd name="connsiteX4398" fmla="*/ 1712649 w 6884782"/>
              <a:gd name="connsiteY4398" fmla="*/ 5187434 h 5973007"/>
              <a:gd name="connsiteX4399" fmla="*/ 1710171 w 6884782"/>
              <a:gd name="connsiteY4399" fmla="*/ 5187330 h 5973007"/>
              <a:gd name="connsiteX4400" fmla="*/ 1715593 w 6884782"/>
              <a:gd name="connsiteY4400" fmla="*/ 5180928 h 5973007"/>
              <a:gd name="connsiteX4401" fmla="*/ 2818299 w 6884782"/>
              <a:gd name="connsiteY4401" fmla="*/ 5180722 h 5973007"/>
              <a:gd name="connsiteX4402" fmla="*/ 2816905 w 6884782"/>
              <a:gd name="connsiteY4402" fmla="*/ 5181135 h 5973007"/>
              <a:gd name="connsiteX4403" fmla="*/ 2817369 w 6884782"/>
              <a:gd name="connsiteY4403" fmla="*/ 5182167 h 5973007"/>
              <a:gd name="connsiteX4404" fmla="*/ 2581617 w 6884782"/>
              <a:gd name="connsiteY4404" fmla="*/ 5179689 h 5973007"/>
              <a:gd name="connsiteX4405" fmla="*/ 2582237 w 6884782"/>
              <a:gd name="connsiteY4405" fmla="*/ 5183200 h 5973007"/>
              <a:gd name="connsiteX4406" fmla="*/ 2580688 w 6884782"/>
              <a:gd name="connsiteY4406" fmla="*/ 5182890 h 5973007"/>
              <a:gd name="connsiteX4407" fmla="*/ 2580533 w 6884782"/>
              <a:gd name="connsiteY4407" fmla="*/ 5183716 h 5973007"/>
              <a:gd name="connsiteX4408" fmla="*/ 2579139 w 6884782"/>
              <a:gd name="connsiteY4408" fmla="*/ 5182684 h 5973007"/>
              <a:gd name="connsiteX4409" fmla="*/ 2579139 w 6884782"/>
              <a:gd name="connsiteY4409" fmla="*/ 5181754 h 5973007"/>
              <a:gd name="connsiteX4410" fmla="*/ 2578984 w 6884782"/>
              <a:gd name="connsiteY4410" fmla="*/ 5181651 h 5973007"/>
              <a:gd name="connsiteX4411" fmla="*/ 2579913 w 6884782"/>
              <a:gd name="connsiteY4411" fmla="*/ 5180309 h 5973007"/>
              <a:gd name="connsiteX4412" fmla="*/ 2581617 w 6884782"/>
              <a:gd name="connsiteY4412" fmla="*/ 5179689 h 5973007"/>
              <a:gd name="connsiteX4413" fmla="*/ 1897750 w 6884782"/>
              <a:gd name="connsiteY4413" fmla="*/ 5179379 h 5973007"/>
              <a:gd name="connsiteX4414" fmla="*/ 1904566 w 6884782"/>
              <a:gd name="connsiteY4414" fmla="*/ 5181651 h 5973007"/>
              <a:gd name="connsiteX4415" fmla="*/ 1899919 w 6884782"/>
              <a:gd name="connsiteY4415" fmla="*/ 5193835 h 5973007"/>
              <a:gd name="connsiteX4416" fmla="*/ 1897750 w 6884782"/>
              <a:gd name="connsiteY4416" fmla="*/ 5179379 h 5973007"/>
              <a:gd name="connsiteX4417" fmla="*/ 2755256 w 6884782"/>
              <a:gd name="connsiteY4417" fmla="*/ 5178863 h 5973007"/>
              <a:gd name="connsiteX4418" fmla="*/ 2751539 w 6884782"/>
              <a:gd name="connsiteY4418" fmla="*/ 5181238 h 5973007"/>
              <a:gd name="connsiteX4419" fmla="*/ 2752158 w 6884782"/>
              <a:gd name="connsiteY4419" fmla="*/ 5181857 h 5973007"/>
              <a:gd name="connsiteX4420" fmla="*/ 2756960 w 6884782"/>
              <a:gd name="connsiteY4420" fmla="*/ 5180928 h 5973007"/>
              <a:gd name="connsiteX4421" fmla="*/ 2757579 w 6884782"/>
              <a:gd name="connsiteY4421" fmla="*/ 5180928 h 5973007"/>
              <a:gd name="connsiteX4422" fmla="*/ 2756031 w 6884782"/>
              <a:gd name="connsiteY4422" fmla="*/ 5180102 h 5973007"/>
              <a:gd name="connsiteX4423" fmla="*/ 2420990 w 6884782"/>
              <a:gd name="connsiteY4423" fmla="*/ 5178553 h 5973007"/>
              <a:gd name="connsiteX4424" fmla="*/ 2432452 w 6884782"/>
              <a:gd name="connsiteY4424" fmla="*/ 5189085 h 5973007"/>
              <a:gd name="connsiteX4425" fmla="*/ 2433226 w 6884782"/>
              <a:gd name="connsiteY4425" fmla="*/ 5190738 h 5973007"/>
              <a:gd name="connsiteX4426" fmla="*/ 2431833 w 6884782"/>
              <a:gd name="connsiteY4426" fmla="*/ 5193009 h 5973007"/>
              <a:gd name="connsiteX4427" fmla="*/ 2421764 w 6884782"/>
              <a:gd name="connsiteY4427" fmla="*/ 5186401 h 5973007"/>
              <a:gd name="connsiteX4428" fmla="*/ 2420835 w 6884782"/>
              <a:gd name="connsiteY4428" fmla="*/ 5184852 h 5973007"/>
              <a:gd name="connsiteX4429" fmla="*/ 2420990 w 6884782"/>
              <a:gd name="connsiteY4429" fmla="*/ 5178553 h 5973007"/>
              <a:gd name="connsiteX4430" fmla="*/ 2467924 w 6884782"/>
              <a:gd name="connsiteY4430" fmla="*/ 5177521 h 5973007"/>
              <a:gd name="connsiteX4431" fmla="*/ 2462192 w 6884782"/>
              <a:gd name="connsiteY4431" fmla="*/ 5188363 h 5973007"/>
              <a:gd name="connsiteX4432" fmla="*/ 2460334 w 6884782"/>
              <a:gd name="connsiteY4432" fmla="*/ 5183303 h 5973007"/>
              <a:gd name="connsiteX4433" fmla="*/ 2467924 w 6884782"/>
              <a:gd name="connsiteY4433" fmla="*/ 5177521 h 5973007"/>
              <a:gd name="connsiteX4434" fmla="*/ 2088738 w 6884782"/>
              <a:gd name="connsiteY4434" fmla="*/ 5177521 h 5973007"/>
              <a:gd name="connsiteX4435" fmla="*/ 2094779 w 6884782"/>
              <a:gd name="connsiteY4435" fmla="*/ 5178347 h 5973007"/>
              <a:gd name="connsiteX4436" fmla="*/ 2088428 w 6884782"/>
              <a:gd name="connsiteY4436" fmla="*/ 5189912 h 5973007"/>
              <a:gd name="connsiteX4437" fmla="*/ 2087498 w 6884782"/>
              <a:gd name="connsiteY4437" fmla="*/ 5187330 h 5973007"/>
              <a:gd name="connsiteX4438" fmla="*/ 2088738 w 6884782"/>
              <a:gd name="connsiteY4438" fmla="*/ 5177521 h 5973007"/>
              <a:gd name="connsiteX4439" fmla="*/ 1683684 w 6884782"/>
              <a:gd name="connsiteY4439" fmla="*/ 5177521 h 5973007"/>
              <a:gd name="connsiteX4440" fmla="*/ 1689260 w 6884782"/>
              <a:gd name="connsiteY4440" fmla="*/ 5180206 h 5973007"/>
              <a:gd name="connsiteX4441" fmla="*/ 1688176 w 6884782"/>
              <a:gd name="connsiteY4441" fmla="*/ 5181961 h 5973007"/>
              <a:gd name="connsiteX4442" fmla="*/ 1685698 w 6884782"/>
              <a:gd name="connsiteY4442" fmla="*/ 5183303 h 5973007"/>
              <a:gd name="connsiteX4443" fmla="*/ 1683219 w 6884782"/>
              <a:gd name="connsiteY4443" fmla="*/ 5182787 h 5973007"/>
              <a:gd name="connsiteX4444" fmla="*/ 1683684 w 6884782"/>
              <a:gd name="connsiteY4444" fmla="*/ 5177521 h 5973007"/>
              <a:gd name="connsiteX4445" fmla="*/ 2159370 w 6884782"/>
              <a:gd name="connsiteY4445" fmla="*/ 5177314 h 5973007"/>
              <a:gd name="connsiteX4446" fmla="*/ 2157667 w 6884782"/>
              <a:gd name="connsiteY4446" fmla="*/ 5187434 h 5973007"/>
              <a:gd name="connsiteX4447" fmla="*/ 2153639 w 6884782"/>
              <a:gd name="connsiteY4447" fmla="*/ 5185058 h 5973007"/>
              <a:gd name="connsiteX4448" fmla="*/ 2159370 w 6884782"/>
              <a:gd name="connsiteY4448" fmla="*/ 5177314 h 5973007"/>
              <a:gd name="connsiteX4449" fmla="*/ 1802644 w 6884782"/>
              <a:gd name="connsiteY4449" fmla="*/ 5174423 h 5973007"/>
              <a:gd name="connsiteX4450" fmla="*/ 1802954 w 6884782"/>
              <a:gd name="connsiteY4450" fmla="*/ 5175972 h 5973007"/>
              <a:gd name="connsiteX4451" fmla="*/ 1803729 w 6884782"/>
              <a:gd name="connsiteY4451" fmla="*/ 5175972 h 5973007"/>
              <a:gd name="connsiteX4452" fmla="*/ 1803109 w 6884782"/>
              <a:gd name="connsiteY4452" fmla="*/ 5177624 h 5973007"/>
              <a:gd name="connsiteX4453" fmla="*/ 1802334 w 6884782"/>
              <a:gd name="connsiteY4453" fmla="*/ 5177727 h 5973007"/>
              <a:gd name="connsiteX4454" fmla="*/ 1802179 w 6884782"/>
              <a:gd name="connsiteY4454" fmla="*/ 5177934 h 5973007"/>
              <a:gd name="connsiteX4455" fmla="*/ 1800631 w 6884782"/>
              <a:gd name="connsiteY4455" fmla="*/ 5177005 h 5973007"/>
              <a:gd name="connsiteX4456" fmla="*/ 1799546 w 6884782"/>
              <a:gd name="connsiteY4456" fmla="*/ 5175455 h 5973007"/>
              <a:gd name="connsiteX4457" fmla="*/ 1802644 w 6884782"/>
              <a:gd name="connsiteY4457" fmla="*/ 5174423 h 5973007"/>
              <a:gd name="connsiteX4458" fmla="*/ 2021668 w 6884782"/>
              <a:gd name="connsiteY4458" fmla="*/ 5174217 h 5973007"/>
              <a:gd name="connsiteX4459" fmla="*/ 2030187 w 6884782"/>
              <a:gd name="connsiteY4459" fmla="*/ 5179792 h 5973007"/>
              <a:gd name="connsiteX4460" fmla="*/ 2026470 w 6884782"/>
              <a:gd name="connsiteY4460" fmla="*/ 5182477 h 5973007"/>
              <a:gd name="connsiteX4461" fmla="*/ 2021668 w 6884782"/>
              <a:gd name="connsiteY4461" fmla="*/ 5174217 h 5973007"/>
              <a:gd name="connsiteX4462" fmla="*/ 2526823 w 6884782"/>
              <a:gd name="connsiteY4462" fmla="*/ 5174204 h 5973007"/>
              <a:gd name="connsiteX4463" fmla="*/ 2538401 w 6884782"/>
              <a:gd name="connsiteY4463" fmla="*/ 5182271 h 5973007"/>
              <a:gd name="connsiteX4464" fmla="*/ 2537936 w 6884782"/>
              <a:gd name="connsiteY4464" fmla="*/ 5184955 h 5973007"/>
              <a:gd name="connsiteX4465" fmla="*/ 2518420 w 6884782"/>
              <a:gd name="connsiteY4465" fmla="*/ 5196933 h 5973007"/>
              <a:gd name="connsiteX4466" fmla="*/ 2499987 w 6884782"/>
              <a:gd name="connsiteY4466" fmla="*/ 5187434 h 5973007"/>
              <a:gd name="connsiteX4467" fmla="*/ 2513153 w 6884782"/>
              <a:gd name="connsiteY4467" fmla="*/ 5174733 h 5973007"/>
              <a:gd name="connsiteX4468" fmla="*/ 2526823 w 6884782"/>
              <a:gd name="connsiteY4468" fmla="*/ 5174204 h 5973007"/>
              <a:gd name="connsiteX4469" fmla="*/ 2205220 w 6884782"/>
              <a:gd name="connsiteY4469" fmla="*/ 5173907 h 5973007"/>
              <a:gd name="connsiteX4470" fmla="*/ 2199953 w 6884782"/>
              <a:gd name="connsiteY4470" fmla="*/ 5188673 h 5973007"/>
              <a:gd name="connsiteX4471" fmla="*/ 2194377 w 6884782"/>
              <a:gd name="connsiteY4471" fmla="*/ 5188569 h 5973007"/>
              <a:gd name="connsiteX4472" fmla="*/ 2205220 w 6884782"/>
              <a:gd name="connsiteY4472" fmla="*/ 5173907 h 5973007"/>
              <a:gd name="connsiteX4473" fmla="*/ 1979149 w 6884782"/>
              <a:gd name="connsiteY4473" fmla="*/ 5173636 h 5973007"/>
              <a:gd name="connsiteX4474" fmla="*/ 1984337 w 6884782"/>
              <a:gd name="connsiteY4474" fmla="*/ 5177314 h 5973007"/>
              <a:gd name="connsiteX4475" fmla="*/ 1982789 w 6884782"/>
              <a:gd name="connsiteY4475" fmla="*/ 5199308 h 5973007"/>
              <a:gd name="connsiteX4476" fmla="*/ 1975818 w 6884782"/>
              <a:gd name="connsiteY4476" fmla="*/ 5190015 h 5973007"/>
              <a:gd name="connsiteX4477" fmla="*/ 1973030 w 6884782"/>
              <a:gd name="connsiteY4477" fmla="*/ 5176075 h 5973007"/>
              <a:gd name="connsiteX4478" fmla="*/ 1979149 w 6884782"/>
              <a:gd name="connsiteY4478" fmla="*/ 5173636 h 5973007"/>
              <a:gd name="connsiteX4479" fmla="*/ 1484487 w 6884782"/>
              <a:gd name="connsiteY4479" fmla="*/ 5171739 h 5973007"/>
              <a:gd name="connsiteX4480" fmla="*/ 1486966 w 6884782"/>
              <a:gd name="connsiteY4480" fmla="*/ 5178037 h 5973007"/>
              <a:gd name="connsiteX4481" fmla="*/ 1484332 w 6884782"/>
              <a:gd name="connsiteY4481" fmla="*/ 5178553 h 5973007"/>
              <a:gd name="connsiteX4482" fmla="*/ 1481389 w 6884782"/>
              <a:gd name="connsiteY4482" fmla="*/ 5177934 h 5973007"/>
              <a:gd name="connsiteX4483" fmla="*/ 1484487 w 6884782"/>
              <a:gd name="connsiteY4483" fmla="*/ 5171739 h 5973007"/>
              <a:gd name="connsiteX4484" fmla="*/ 2012219 w 6884782"/>
              <a:gd name="connsiteY4484" fmla="*/ 5170706 h 5973007"/>
              <a:gd name="connsiteX4485" fmla="*/ 2014387 w 6884782"/>
              <a:gd name="connsiteY4485" fmla="*/ 5172461 h 5973007"/>
              <a:gd name="connsiteX4486" fmla="*/ 2012838 w 6884782"/>
              <a:gd name="connsiteY4486" fmla="*/ 5174526 h 5973007"/>
              <a:gd name="connsiteX4487" fmla="*/ 2010205 w 6884782"/>
              <a:gd name="connsiteY4487" fmla="*/ 5175249 h 5973007"/>
              <a:gd name="connsiteX4488" fmla="*/ 2009276 w 6884782"/>
              <a:gd name="connsiteY4488" fmla="*/ 5174113 h 5973007"/>
              <a:gd name="connsiteX4489" fmla="*/ 2008347 w 6884782"/>
              <a:gd name="connsiteY4489" fmla="*/ 5172151 h 5973007"/>
              <a:gd name="connsiteX4490" fmla="*/ 2012219 w 6884782"/>
              <a:gd name="connsiteY4490" fmla="*/ 5170706 h 5973007"/>
              <a:gd name="connsiteX4491" fmla="*/ 1951809 w 6884782"/>
              <a:gd name="connsiteY4491" fmla="*/ 5169880 h 5973007"/>
              <a:gd name="connsiteX4492" fmla="*/ 1959554 w 6884782"/>
              <a:gd name="connsiteY4492" fmla="*/ 5177934 h 5973007"/>
              <a:gd name="connsiteX4493" fmla="*/ 1964356 w 6884782"/>
              <a:gd name="connsiteY4493" fmla="*/ 5189602 h 5973007"/>
              <a:gd name="connsiteX4494" fmla="*/ 1954288 w 6884782"/>
              <a:gd name="connsiteY4494" fmla="*/ 5182374 h 5973007"/>
              <a:gd name="connsiteX4495" fmla="*/ 1951809 w 6884782"/>
              <a:gd name="connsiteY4495" fmla="*/ 5169880 h 5973007"/>
              <a:gd name="connsiteX4496" fmla="*/ 2350047 w 6884782"/>
              <a:gd name="connsiteY4496" fmla="*/ 5166576 h 5973007"/>
              <a:gd name="connsiteX4497" fmla="*/ 2356088 w 6884782"/>
              <a:gd name="connsiteY4497" fmla="*/ 5176179 h 5973007"/>
              <a:gd name="connsiteX4498" fmla="*/ 2344471 w 6884782"/>
              <a:gd name="connsiteY4498" fmla="*/ 5191667 h 5973007"/>
              <a:gd name="connsiteX4499" fmla="*/ 2344006 w 6884782"/>
              <a:gd name="connsiteY4499" fmla="*/ 5191564 h 5973007"/>
              <a:gd name="connsiteX4500" fmla="*/ 2343851 w 6884782"/>
              <a:gd name="connsiteY4500" fmla="*/ 5198482 h 5973007"/>
              <a:gd name="connsiteX4501" fmla="*/ 2341373 w 6884782"/>
              <a:gd name="connsiteY4501" fmla="*/ 5206019 h 5973007"/>
              <a:gd name="connsiteX4502" fmla="*/ 2339050 w 6884782"/>
              <a:gd name="connsiteY4502" fmla="*/ 5207155 h 5973007"/>
              <a:gd name="connsiteX4503" fmla="*/ 2321391 w 6884782"/>
              <a:gd name="connsiteY4503" fmla="*/ 5195178 h 5973007"/>
              <a:gd name="connsiteX4504" fmla="*/ 2319843 w 6884782"/>
              <a:gd name="connsiteY4504" fmla="*/ 5178347 h 5973007"/>
              <a:gd name="connsiteX4505" fmla="*/ 2320307 w 6884782"/>
              <a:gd name="connsiteY4505" fmla="*/ 5177521 h 5973007"/>
              <a:gd name="connsiteX4506" fmla="*/ 2319223 w 6884782"/>
              <a:gd name="connsiteY4506" fmla="*/ 5178553 h 5973007"/>
              <a:gd name="connsiteX4507" fmla="*/ 2317364 w 6884782"/>
              <a:gd name="connsiteY4507" fmla="*/ 5178347 h 5973007"/>
              <a:gd name="connsiteX4508" fmla="*/ 2313337 w 6884782"/>
              <a:gd name="connsiteY4508" fmla="*/ 5177005 h 5973007"/>
              <a:gd name="connsiteX4509" fmla="*/ 2313647 w 6884782"/>
              <a:gd name="connsiteY4509" fmla="*/ 5173700 h 5973007"/>
              <a:gd name="connsiteX4510" fmla="*/ 2316899 w 6884782"/>
              <a:gd name="connsiteY4510" fmla="*/ 5171532 h 5973007"/>
              <a:gd name="connsiteX4511" fmla="*/ 2323715 w 6884782"/>
              <a:gd name="connsiteY4511" fmla="*/ 5171532 h 5973007"/>
              <a:gd name="connsiteX4512" fmla="*/ 2323250 w 6884782"/>
              <a:gd name="connsiteY4512" fmla="*/ 5173081 h 5973007"/>
              <a:gd name="connsiteX4513" fmla="*/ 2331615 w 6884782"/>
              <a:gd name="connsiteY4513" fmla="*/ 5174010 h 5973007"/>
              <a:gd name="connsiteX4514" fmla="*/ 2338430 w 6884782"/>
              <a:gd name="connsiteY4514" fmla="*/ 5178553 h 5973007"/>
              <a:gd name="connsiteX4515" fmla="*/ 2341063 w 6884782"/>
              <a:gd name="connsiteY4515" fmla="*/ 5182580 h 5973007"/>
              <a:gd name="connsiteX4516" fmla="*/ 2341838 w 6884782"/>
              <a:gd name="connsiteY4516" fmla="*/ 5178966 h 5973007"/>
              <a:gd name="connsiteX4517" fmla="*/ 2350047 w 6884782"/>
              <a:gd name="connsiteY4517" fmla="*/ 5166576 h 5973007"/>
              <a:gd name="connsiteX4518" fmla="*/ 2098806 w 6884782"/>
              <a:gd name="connsiteY4518" fmla="*/ 5166266 h 5973007"/>
              <a:gd name="connsiteX4519" fmla="*/ 2099426 w 6884782"/>
              <a:gd name="connsiteY4519" fmla="*/ 5166782 h 5973007"/>
              <a:gd name="connsiteX4520" fmla="*/ 2100665 w 6884782"/>
              <a:gd name="connsiteY4520" fmla="*/ 5166473 h 5973007"/>
              <a:gd name="connsiteX4521" fmla="*/ 2102988 w 6884782"/>
              <a:gd name="connsiteY4521" fmla="*/ 5169777 h 5973007"/>
              <a:gd name="connsiteX4522" fmla="*/ 2103298 w 6884782"/>
              <a:gd name="connsiteY4522" fmla="*/ 5171739 h 5973007"/>
              <a:gd name="connsiteX4523" fmla="*/ 2102369 w 6884782"/>
              <a:gd name="connsiteY4523" fmla="*/ 5173184 h 5973007"/>
              <a:gd name="connsiteX4524" fmla="*/ 2100510 w 6884782"/>
              <a:gd name="connsiteY4524" fmla="*/ 5172978 h 5973007"/>
              <a:gd name="connsiteX4525" fmla="*/ 2097412 w 6884782"/>
              <a:gd name="connsiteY4525" fmla="*/ 5171325 h 5973007"/>
              <a:gd name="connsiteX4526" fmla="*/ 2096637 w 6884782"/>
              <a:gd name="connsiteY4526" fmla="*/ 5168847 h 5973007"/>
              <a:gd name="connsiteX4527" fmla="*/ 2098031 w 6884782"/>
              <a:gd name="connsiteY4527" fmla="*/ 5167815 h 5973007"/>
              <a:gd name="connsiteX4528" fmla="*/ 2098806 w 6884782"/>
              <a:gd name="connsiteY4528" fmla="*/ 5166266 h 5973007"/>
              <a:gd name="connsiteX4529" fmla="*/ 2065813 w 6884782"/>
              <a:gd name="connsiteY4529" fmla="*/ 5166163 h 5973007"/>
              <a:gd name="connsiteX4530" fmla="*/ 2058068 w 6884782"/>
              <a:gd name="connsiteY4530" fmla="*/ 5183200 h 5973007"/>
              <a:gd name="connsiteX4531" fmla="*/ 2065813 w 6884782"/>
              <a:gd name="connsiteY4531" fmla="*/ 5166163 h 5973007"/>
              <a:gd name="connsiteX4532" fmla="*/ 1607785 w 6884782"/>
              <a:gd name="connsiteY4532" fmla="*/ 5165646 h 5973007"/>
              <a:gd name="connsiteX4533" fmla="*/ 1609333 w 6884782"/>
              <a:gd name="connsiteY4533" fmla="*/ 5168847 h 5973007"/>
              <a:gd name="connsiteX4534" fmla="*/ 1599730 w 6884782"/>
              <a:gd name="connsiteY4534" fmla="*/ 5174217 h 5973007"/>
              <a:gd name="connsiteX4535" fmla="*/ 1598026 w 6884782"/>
              <a:gd name="connsiteY4535" fmla="*/ 5169260 h 5973007"/>
              <a:gd name="connsiteX4536" fmla="*/ 1607785 w 6884782"/>
              <a:gd name="connsiteY4536" fmla="*/ 5165646 h 5973007"/>
              <a:gd name="connsiteX4537" fmla="*/ 1938179 w 6884782"/>
              <a:gd name="connsiteY4537" fmla="*/ 5164820 h 5973007"/>
              <a:gd name="connsiteX4538" fmla="*/ 1941276 w 6884782"/>
              <a:gd name="connsiteY4538" fmla="*/ 5168228 h 5973007"/>
              <a:gd name="connsiteX4539" fmla="*/ 1931053 w 6884782"/>
              <a:gd name="connsiteY4539" fmla="*/ 5182167 h 5973007"/>
              <a:gd name="connsiteX4540" fmla="*/ 1927800 w 6884782"/>
              <a:gd name="connsiteY4540" fmla="*/ 5181857 h 5973007"/>
              <a:gd name="connsiteX4541" fmla="*/ 1938179 w 6884782"/>
              <a:gd name="connsiteY4541" fmla="*/ 5164820 h 5973007"/>
              <a:gd name="connsiteX4542" fmla="*/ 2155808 w 6884782"/>
              <a:gd name="connsiteY4542" fmla="*/ 5164304 h 5973007"/>
              <a:gd name="connsiteX4543" fmla="*/ 2158596 w 6884782"/>
              <a:gd name="connsiteY4543" fmla="*/ 5167299 h 5973007"/>
              <a:gd name="connsiteX4544" fmla="*/ 2157821 w 6884782"/>
              <a:gd name="connsiteY4544" fmla="*/ 5169983 h 5973007"/>
              <a:gd name="connsiteX4545" fmla="*/ 2156582 w 6884782"/>
              <a:gd name="connsiteY4545" fmla="*/ 5170396 h 5973007"/>
              <a:gd name="connsiteX4546" fmla="*/ 2155343 w 6884782"/>
              <a:gd name="connsiteY4546" fmla="*/ 5169364 h 5973007"/>
              <a:gd name="connsiteX4547" fmla="*/ 2153794 w 6884782"/>
              <a:gd name="connsiteY4547" fmla="*/ 5167299 h 5973007"/>
              <a:gd name="connsiteX4548" fmla="*/ 2154414 w 6884782"/>
              <a:gd name="connsiteY4548" fmla="*/ 5165956 h 5973007"/>
              <a:gd name="connsiteX4549" fmla="*/ 2155808 w 6884782"/>
              <a:gd name="connsiteY4549" fmla="*/ 5164304 h 5973007"/>
              <a:gd name="connsiteX4550" fmla="*/ 2394347 w 6884782"/>
              <a:gd name="connsiteY4550" fmla="*/ 5163168 h 5973007"/>
              <a:gd name="connsiteX4551" fmla="*/ 2393728 w 6884782"/>
              <a:gd name="connsiteY4551" fmla="*/ 5168331 h 5973007"/>
              <a:gd name="connsiteX4552" fmla="*/ 2391250 w 6884782"/>
              <a:gd name="connsiteY4552" fmla="*/ 5169777 h 5973007"/>
              <a:gd name="connsiteX4553" fmla="*/ 2388616 w 6884782"/>
              <a:gd name="connsiteY4553" fmla="*/ 5168021 h 5973007"/>
              <a:gd name="connsiteX4554" fmla="*/ 2387532 w 6884782"/>
              <a:gd name="connsiteY4554" fmla="*/ 5164614 h 5973007"/>
              <a:gd name="connsiteX4555" fmla="*/ 2394347 w 6884782"/>
              <a:gd name="connsiteY4555" fmla="*/ 5163168 h 5973007"/>
              <a:gd name="connsiteX4556" fmla="*/ 1971017 w 6884782"/>
              <a:gd name="connsiteY4556" fmla="*/ 5162342 h 5973007"/>
              <a:gd name="connsiteX4557" fmla="*/ 1975044 w 6884782"/>
              <a:gd name="connsiteY4557" fmla="*/ 5163272 h 5973007"/>
              <a:gd name="connsiteX4558" fmla="*/ 1971481 w 6884782"/>
              <a:gd name="connsiteY4558" fmla="*/ 5165027 h 5973007"/>
              <a:gd name="connsiteX4559" fmla="*/ 1971017 w 6884782"/>
              <a:gd name="connsiteY4559" fmla="*/ 5162342 h 5973007"/>
              <a:gd name="connsiteX4560" fmla="*/ 2466220 w 6884782"/>
              <a:gd name="connsiteY4560" fmla="*/ 5161826 h 5973007"/>
              <a:gd name="connsiteX4561" fmla="*/ 2469008 w 6884782"/>
              <a:gd name="connsiteY4561" fmla="*/ 5165646 h 5973007"/>
              <a:gd name="connsiteX4562" fmla="*/ 2466529 w 6884782"/>
              <a:gd name="connsiteY4562" fmla="*/ 5167712 h 5973007"/>
              <a:gd name="connsiteX4563" fmla="*/ 2464671 w 6884782"/>
              <a:gd name="connsiteY4563" fmla="*/ 5166473 h 5973007"/>
              <a:gd name="connsiteX4564" fmla="*/ 2466220 w 6884782"/>
              <a:gd name="connsiteY4564" fmla="*/ 5161826 h 5973007"/>
              <a:gd name="connsiteX4565" fmla="*/ 1918507 w 6884782"/>
              <a:gd name="connsiteY4565" fmla="*/ 5161619 h 5973007"/>
              <a:gd name="connsiteX4566" fmla="*/ 1923928 w 6884782"/>
              <a:gd name="connsiteY4566" fmla="*/ 5166988 h 5973007"/>
              <a:gd name="connsiteX4567" fmla="*/ 1919126 w 6884782"/>
              <a:gd name="connsiteY4567" fmla="*/ 5175972 h 5973007"/>
              <a:gd name="connsiteX4568" fmla="*/ 1915254 w 6884782"/>
              <a:gd name="connsiteY4568" fmla="*/ 5175766 h 5973007"/>
              <a:gd name="connsiteX4569" fmla="*/ 1909832 w 6884782"/>
              <a:gd name="connsiteY4569" fmla="*/ 5171532 h 5973007"/>
              <a:gd name="connsiteX4570" fmla="*/ 1918507 w 6884782"/>
              <a:gd name="connsiteY4570" fmla="*/ 5161619 h 5973007"/>
              <a:gd name="connsiteX4571" fmla="*/ 1769032 w 6884782"/>
              <a:gd name="connsiteY4571" fmla="*/ 5160277 h 5973007"/>
              <a:gd name="connsiteX4572" fmla="*/ 1777396 w 6884782"/>
              <a:gd name="connsiteY4572" fmla="*/ 5166782 h 5973007"/>
              <a:gd name="connsiteX4573" fmla="*/ 1777861 w 6884782"/>
              <a:gd name="connsiteY4573" fmla="*/ 5169157 h 5973007"/>
              <a:gd name="connsiteX4574" fmla="*/ 1778635 w 6884782"/>
              <a:gd name="connsiteY4574" fmla="*/ 5170809 h 5973007"/>
              <a:gd name="connsiteX4575" fmla="*/ 1777861 w 6884782"/>
              <a:gd name="connsiteY4575" fmla="*/ 5176591 h 5973007"/>
              <a:gd name="connsiteX4576" fmla="*/ 1767638 w 6884782"/>
              <a:gd name="connsiteY4576" fmla="*/ 5163684 h 5973007"/>
              <a:gd name="connsiteX4577" fmla="*/ 1767328 w 6884782"/>
              <a:gd name="connsiteY4577" fmla="*/ 5161826 h 5973007"/>
              <a:gd name="connsiteX4578" fmla="*/ 1769032 w 6884782"/>
              <a:gd name="connsiteY4578" fmla="*/ 5160277 h 5973007"/>
              <a:gd name="connsiteX4579" fmla="*/ 2415258 w 6884782"/>
              <a:gd name="connsiteY4579" fmla="*/ 5158728 h 5973007"/>
              <a:gd name="connsiteX4580" fmla="*/ 2421609 w 6884782"/>
              <a:gd name="connsiteY4580" fmla="*/ 5163891 h 5973007"/>
              <a:gd name="connsiteX4581" fmla="*/ 2416188 w 6884782"/>
              <a:gd name="connsiteY4581" fmla="*/ 5179792 h 5973007"/>
              <a:gd name="connsiteX4582" fmla="*/ 2415569 w 6884782"/>
              <a:gd name="connsiteY4582" fmla="*/ 5179379 h 5973007"/>
              <a:gd name="connsiteX4583" fmla="*/ 2414020 w 6884782"/>
              <a:gd name="connsiteY4583" fmla="*/ 5184852 h 5973007"/>
              <a:gd name="connsiteX4584" fmla="*/ 2410611 w 6884782"/>
              <a:gd name="connsiteY4584" fmla="*/ 5185058 h 5973007"/>
              <a:gd name="connsiteX4585" fmla="*/ 2403177 w 6884782"/>
              <a:gd name="connsiteY4585" fmla="*/ 5179689 h 5973007"/>
              <a:gd name="connsiteX4586" fmla="*/ 2402867 w 6884782"/>
              <a:gd name="connsiteY4586" fmla="*/ 5179173 h 5973007"/>
              <a:gd name="connsiteX4587" fmla="*/ 2401783 w 6884782"/>
              <a:gd name="connsiteY4587" fmla="*/ 5178760 h 5973007"/>
              <a:gd name="connsiteX4588" fmla="*/ 2401628 w 6884782"/>
              <a:gd name="connsiteY4588" fmla="*/ 5179070 h 5973007"/>
              <a:gd name="connsiteX4589" fmla="*/ 2401473 w 6884782"/>
              <a:gd name="connsiteY4589" fmla="*/ 5178657 h 5973007"/>
              <a:gd name="connsiteX4590" fmla="*/ 2399614 w 6884782"/>
              <a:gd name="connsiteY4590" fmla="*/ 5177934 h 5973007"/>
              <a:gd name="connsiteX4591" fmla="*/ 2400234 w 6884782"/>
              <a:gd name="connsiteY4591" fmla="*/ 5176488 h 5973007"/>
              <a:gd name="connsiteX4592" fmla="*/ 2399459 w 6884782"/>
              <a:gd name="connsiteY4592" fmla="*/ 5173907 h 5973007"/>
              <a:gd name="connsiteX4593" fmla="*/ 2401008 w 6884782"/>
              <a:gd name="connsiteY4593" fmla="*/ 5172151 h 5973007"/>
              <a:gd name="connsiteX4594" fmla="*/ 2405810 w 6884782"/>
              <a:gd name="connsiteY4594" fmla="*/ 5172048 h 5973007"/>
              <a:gd name="connsiteX4595" fmla="*/ 2409063 w 6884782"/>
              <a:gd name="connsiteY4595" fmla="*/ 5166059 h 5973007"/>
              <a:gd name="connsiteX4596" fmla="*/ 2410611 w 6884782"/>
              <a:gd name="connsiteY4596" fmla="*/ 5163065 h 5973007"/>
              <a:gd name="connsiteX4597" fmla="*/ 2409682 w 6884782"/>
              <a:gd name="connsiteY4597" fmla="*/ 5163891 h 5973007"/>
              <a:gd name="connsiteX4598" fmla="*/ 2397290 w 6884782"/>
              <a:gd name="connsiteY4598" fmla="*/ 5162755 h 5973007"/>
              <a:gd name="connsiteX4599" fmla="*/ 2405345 w 6884782"/>
              <a:gd name="connsiteY4599" fmla="*/ 5158935 h 5973007"/>
              <a:gd name="connsiteX4600" fmla="*/ 2412006 w 6884782"/>
              <a:gd name="connsiteY4600" fmla="*/ 5161310 h 5973007"/>
              <a:gd name="connsiteX4601" fmla="*/ 2287160 w 6884782"/>
              <a:gd name="connsiteY4601" fmla="*/ 5157386 h 5973007"/>
              <a:gd name="connsiteX4602" fmla="*/ 2294905 w 6884782"/>
              <a:gd name="connsiteY4602" fmla="*/ 5162755 h 5973007"/>
              <a:gd name="connsiteX4603" fmla="*/ 2289174 w 6884782"/>
              <a:gd name="connsiteY4603" fmla="*/ 5168847 h 5973007"/>
              <a:gd name="connsiteX4604" fmla="*/ 2283442 w 6884782"/>
              <a:gd name="connsiteY4604" fmla="*/ 5166163 h 5973007"/>
              <a:gd name="connsiteX4605" fmla="*/ 2287160 w 6884782"/>
              <a:gd name="connsiteY4605" fmla="*/ 5157386 h 5973007"/>
              <a:gd name="connsiteX4606" fmla="*/ 2807301 w 6884782"/>
              <a:gd name="connsiteY4606" fmla="*/ 5156663 h 5973007"/>
              <a:gd name="connsiteX4607" fmla="*/ 2807920 w 6884782"/>
              <a:gd name="connsiteY4607" fmla="*/ 5159141 h 5973007"/>
              <a:gd name="connsiteX4608" fmla="*/ 2810244 w 6884782"/>
              <a:gd name="connsiteY4608" fmla="*/ 5158728 h 5973007"/>
              <a:gd name="connsiteX4609" fmla="*/ 2562565 w 6884782"/>
              <a:gd name="connsiteY4609" fmla="*/ 5156353 h 5973007"/>
              <a:gd name="connsiteX4610" fmla="*/ 2563959 w 6884782"/>
              <a:gd name="connsiteY4610" fmla="*/ 5159967 h 5973007"/>
              <a:gd name="connsiteX4611" fmla="*/ 2564269 w 6884782"/>
              <a:gd name="connsiteY4611" fmla="*/ 5159554 h 5973007"/>
              <a:gd name="connsiteX4612" fmla="*/ 2565353 w 6884782"/>
              <a:gd name="connsiteY4612" fmla="*/ 5182787 h 5973007"/>
              <a:gd name="connsiteX4613" fmla="*/ 2561945 w 6884782"/>
              <a:gd name="connsiteY4613" fmla="*/ 5176798 h 5973007"/>
              <a:gd name="connsiteX4614" fmla="*/ 2561171 w 6884782"/>
              <a:gd name="connsiteY4614" fmla="*/ 5171532 h 5973007"/>
              <a:gd name="connsiteX4615" fmla="*/ 2559777 w 6884782"/>
              <a:gd name="connsiteY4615" fmla="*/ 5171842 h 5973007"/>
              <a:gd name="connsiteX4616" fmla="*/ 2559157 w 6884782"/>
              <a:gd name="connsiteY4616" fmla="*/ 5171739 h 5973007"/>
              <a:gd name="connsiteX4617" fmla="*/ 2561016 w 6884782"/>
              <a:gd name="connsiteY4617" fmla="*/ 5174526 h 5973007"/>
              <a:gd name="connsiteX4618" fmla="*/ 2560087 w 6884782"/>
              <a:gd name="connsiteY4618" fmla="*/ 5191564 h 5973007"/>
              <a:gd name="connsiteX4619" fmla="*/ 2555904 w 6884782"/>
              <a:gd name="connsiteY4619" fmla="*/ 5187330 h 5973007"/>
              <a:gd name="connsiteX4620" fmla="*/ 2555595 w 6884782"/>
              <a:gd name="connsiteY4620" fmla="*/ 5186504 h 5973007"/>
              <a:gd name="connsiteX4621" fmla="*/ 2555595 w 6884782"/>
              <a:gd name="connsiteY4621" fmla="*/ 5187846 h 5973007"/>
              <a:gd name="connsiteX4622" fmla="*/ 2553581 w 6884782"/>
              <a:gd name="connsiteY4622" fmla="*/ 5207362 h 5973007"/>
              <a:gd name="connsiteX4623" fmla="*/ 2549399 w 6884782"/>
              <a:gd name="connsiteY4623" fmla="*/ 5197140 h 5973007"/>
              <a:gd name="connsiteX4624" fmla="*/ 2546920 w 6884782"/>
              <a:gd name="connsiteY4624" fmla="*/ 5187330 h 5973007"/>
              <a:gd name="connsiteX4625" fmla="*/ 2548005 w 6884782"/>
              <a:gd name="connsiteY4625" fmla="*/ 5184336 h 5973007"/>
              <a:gd name="connsiteX4626" fmla="*/ 2547385 w 6884782"/>
              <a:gd name="connsiteY4626" fmla="*/ 5184026 h 5973007"/>
              <a:gd name="connsiteX4627" fmla="*/ 2550638 w 6884782"/>
              <a:gd name="connsiteY4627" fmla="*/ 5178966 h 5973007"/>
              <a:gd name="connsiteX4628" fmla="*/ 2552961 w 6884782"/>
              <a:gd name="connsiteY4628" fmla="*/ 5181341 h 5973007"/>
              <a:gd name="connsiteX4629" fmla="*/ 2554665 w 6884782"/>
              <a:gd name="connsiteY4629" fmla="*/ 5180928 h 5973007"/>
              <a:gd name="connsiteX4630" fmla="*/ 2555285 w 6884782"/>
              <a:gd name="connsiteY4630" fmla="*/ 5174836 h 5973007"/>
              <a:gd name="connsiteX4631" fmla="*/ 2556524 w 6884782"/>
              <a:gd name="connsiteY4631" fmla="*/ 5171325 h 5973007"/>
              <a:gd name="connsiteX4632" fmla="*/ 2555749 w 6884782"/>
              <a:gd name="connsiteY4632" fmla="*/ 5171222 h 5973007"/>
              <a:gd name="connsiteX4633" fmla="*/ 2554356 w 6884782"/>
              <a:gd name="connsiteY4633" fmla="*/ 5163065 h 5973007"/>
              <a:gd name="connsiteX4634" fmla="*/ 2559777 w 6884782"/>
              <a:gd name="connsiteY4634" fmla="*/ 5165750 h 5973007"/>
              <a:gd name="connsiteX4635" fmla="*/ 2561171 w 6884782"/>
              <a:gd name="connsiteY4635" fmla="*/ 5168331 h 5973007"/>
              <a:gd name="connsiteX4636" fmla="*/ 2561481 w 6884782"/>
              <a:gd name="connsiteY4636" fmla="*/ 5165956 h 5973007"/>
              <a:gd name="connsiteX4637" fmla="*/ 2558538 w 6884782"/>
              <a:gd name="connsiteY4637" fmla="*/ 5165027 h 5973007"/>
              <a:gd name="connsiteX4638" fmla="*/ 2552806 w 6884782"/>
              <a:gd name="connsiteY4638" fmla="*/ 5162033 h 5973007"/>
              <a:gd name="connsiteX4639" fmla="*/ 2562565 w 6884782"/>
              <a:gd name="connsiteY4639" fmla="*/ 5156353 h 5973007"/>
              <a:gd name="connsiteX4640" fmla="*/ 1696696 w 6884782"/>
              <a:gd name="connsiteY4640" fmla="*/ 5156353 h 5973007"/>
              <a:gd name="connsiteX4641" fmla="*/ 1705215 w 6884782"/>
              <a:gd name="connsiteY4641" fmla="*/ 5187640 h 5973007"/>
              <a:gd name="connsiteX4642" fmla="*/ 1693752 w 6884782"/>
              <a:gd name="connsiteY4642" fmla="*/ 5174113 h 5973007"/>
              <a:gd name="connsiteX4643" fmla="*/ 1696696 w 6884782"/>
              <a:gd name="connsiteY4643" fmla="*/ 5156353 h 5973007"/>
              <a:gd name="connsiteX4644" fmla="*/ 1870953 w 6884782"/>
              <a:gd name="connsiteY4644" fmla="*/ 5155011 h 5973007"/>
              <a:gd name="connsiteX4645" fmla="*/ 1873742 w 6884782"/>
              <a:gd name="connsiteY4645" fmla="*/ 5158935 h 5973007"/>
              <a:gd name="connsiteX4646" fmla="*/ 1872657 w 6884782"/>
              <a:gd name="connsiteY4646" fmla="*/ 5162239 h 5973007"/>
              <a:gd name="connsiteX4647" fmla="*/ 1873277 w 6884782"/>
              <a:gd name="connsiteY4647" fmla="*/ 5162136 h 5973007"/>
              <a:gd name="connsiteX4648" fmla="*/ 1873122 w 6884782"/>
              <a:gd name="connsiteY4648" fmla="*/ 5162755 h 5973007"/>
              <a:gd name="connsiteX4649" fmla="*/ 1876375 w 6884782"/>
              <a:gd name="connsiteY4649" fmla="*/ 5163788 h 5973007"/>
              <a:gd name="connsiteX4650" fmla="*/ 1873896 w 6884782"/>
              <a:gd name="connsiteY4650" fmla="*/ 5167712 h 5973007"/>
              <a:gd name="connsiteX4651" fmla="*/ 1871573 w 6884782"/>
              <a:gd name="connsiteY4651" fmla="*/ 5165130 h 5973007"/>
              <a:gd name="connsiteX4652" fmla="*/ 1872038 w 6884782"/>
              <a:gd name="connsiteY4652" fmla="*/ 5163684 h 5973007"/>
              <a:gd name="connsiteX4653" fmla="*/ 1872348 w 6884782"/>
              <a:gd name="connsiteY4653" fmla="*/ 5162342 h 5973007"/>
              <a:gd name="connsiteX4654" fmla="*/ 1870953 w 6884782"/>
              <a:gd name="connsiteY4654" fmla="*/ 5161619 h 5973007"/>
              <a:gd name="connsiteX4655" fmla="*/ 1867081 w 6884782"/>
              <a:gd name="connsiteY4655" fmla="*/ 5159451 h 5973007"/>
              <a:gd name="connsiteX4656" fmla="*/ 1870953 w 6884782"/>
              <a:gd name="connsiteY4656" fmla="*/ 5155011 h 5973007"/>
              <a:gd name="connsiteX4657" fmla="*/ 2573873 w 6884782"/>
              <a:gd name="connsiteY4657" fmla="*/ 5153462 h 5973007"/>
              <a:gd name="connsiteX4658" fmla="*/ 2575886 w 6884782"/>
              <a:gd name="connsiteY4658" fmla="*/ 5156353 h 5973007"/>
              <a:gd name="connsiteX4659" fmla="*/ 2568141 w 6884782"/>
              <a:gd name="connsiteY4659" fmla="*/ 5168021 h 5973007"/>
              <a:gd name="connsiteX4660" fmla="*/ 2573873 w 6884782"/>
              <a:gd name="connsiteY4660" fmla="*/ 5153462 h 5973007"/>
              <a:gd name="connsiteX4661" fmla="*/ 2395587 w 6884782"/>
              <a:gd name="connsiteY4661" fmla="*/ 5152326 h 5973007"/>
              <a:gd name="connsiteX4662" fmla="*/ 2394967 w 6884782"/>
              <a:gd name="connsiteY4662" fmla="*/ 5153152 h 5973007"/>
              <a:gd name="connsiteX4663" fmla="*/ 2396361 w 6884782"/>
              <a:gd name="connsiteY4663" fmla="*/ 5154082 h 5973007"/>
              <a:gd name="connsiteX4664" fmla="*/ 2396826 w 6884782"/>
              <a:gd name="connsiteY4664" fmla="*/ 5153255 h 5973007"/>
              <a:gd name="connsiteX4665" fmla="*/ 2397755 w 6884782"/>
              <a:gd name="connsiteY4665" fmla="*/ 5154908 h 5973007"/>
              <a:gd name="connsiteX4666" fmla="*/ 2396361 w 6884782"/>
              <a:gd name="connsiteY4666" fmla="*/ 5161619 h 5973007"/>
              <a:gd name="connsiteX4667" fmla="*/ 2392954 w 6884782"/>
              <a:gd name="connsiteY4667" fmla="*/ 5159451 h 5973007"/>
              <a:gd name="connsiteX4668" fmla="*/ 2392799 w 6884782"/>
              <a:gd name="connsiteY4668" fmla="*/ 5155837 h 5973007"/>
              <a:gd name="connsiteX4669" fmla="*/ 2395587 w 6884782"/>
              <a:gd name="connsiteY4669" fmla="*/ 5152326 h 5973007"/>
              <a:gd name="connsiteX4670" fmla="*/ 1721478 w 6884782"/>
              <a:gd name="connsiteY4670" fmla="*/ 5151913 h 5973007"/>
              <a:gd name="connsiteX4671" fmla="*/ 1721478 w 6884782"/>
              <a:gd name="connsiteY4671" fmla="*/ 5157179 h 5973007"/>
              <a:gd name="connsiteX4672" fmla="*/ 1719155 w 6884782"/>
              <a:gd name="connsiteY4672" fmla="*/ 5158935 h 5973007"/>
              <a:gd name="connsiteX4673" fmla="*/ 1716367 w 6884782"/>
              <a:gd name="connsiteY4673" fmla="*/ 5157386 h 5973007"/>
              <a:gd name="connsiteX4674" fmla="*/ 1714973 w 6884782"/>
              <a:gd name="connsiteY4674" fmla="*/ 5154082 h 5973007"/>
              <a:gd name="connsiteX4675" fmla="*/ 1721478 w 6884782"/>
              <a:gd name="connsiteY4675" fmla="*/ 5151913 h 5973007"/>
              <a:gd name="connsiteX4676" fmla="*/ 2286541 w 6884782"/>
              <a:gd name="connsiteY4676" fmla="*/ 5151294 h 5973007"/>
              <a:gd name="connsiteX4677" fmla="*/ 2288399 w 6884782"/>
              <a:gd name="connsiteY4677" fmla="*/ 5152843 h 5973007"/>
              <a:gd name="connsiteX4678" fmla="*/ 2288554 w 6884782"/>
              <a:gd name="connsiteY4678" fmla="*/ 5153772 h 5973007"/>
              <a:gd name="connsiteX4679" fmla="*/ 2286850 w 6884782"/>
              <a:gd name="connsiteY4679" fmla="*/ 5154598 h 5973007"/>
              <a:gd name="connsiteX4680" fmla="*/ 2282048 w 6884782"/>
              <a:gd name="connsiteY4680" fmla="*/ 5154598 h 5973007"/>
              <a:gd name="connsiteX4681" fmla="*/ 2278641 w 6884782"/>
              <a:gd name="connsiteY4681" fmla="*/ 5154391 h 5973007"/>
              <a:gd name="connsiteX4682" fmla="*/ 2276937 w 6884782"/>
              <a:gd name="connsiteY4682" fmla="*/ 5154391 h 5973007"/>
              <a:gd name="connsiteX4683" fmla="*/ 2275078 w 6884782"/>
              <a:gd name="connsiteY4683" fmla="*/ 5152843 h 5973007"/>
              <a:gd name="connsiteX4684" fmla="*/ 2282358 w 6884782"/>
              <a:gd name="connsiteY4684" fmla="*/ 5151500 h 5973007"/>
              <a:gd name="connsiteX4685" fmla="*/ 2286541 w 6884782"/>
              <a:gd name="connsiteY4685" fmla="*/ 5151294 h 5973007"/>
              <a:gd name="connsiteX4686" fmla="*/ 1942980 w 6884782"/>
              <a:gd name="connsiteY4686" fmla="*/ 5150777 h 5973007"/>
              <a:gd name="connsiteX4687" fmla="*/ 1940812 w 6884782"/>
              <a:gd name="connsiteY4687" fmla="*/ 5160793 h 5973007"/>
              <a:gd name="connsiteX4688" fmla="*/ 1935236 w 6884782"/>
              <a:gd name="connsiteY4688" fmla="*/ 5157696 h 5973007"/>
              <a:gd name="connsiteX4689" fmla="*/ 1942980 w 6884782"/>
              <a:gd name="connsiteY4689" fmla="*/ 5150777 h 5973007"/>
              <a:gd name="connsiteX4690" fmla="*/ 2238058 w 6884782"/>
              <a:gd name="connsiteY4690" fmla="*/ 5150468 h 5973007"/>
              <a:gd name="connsiteX4691" fmla="*/ 2216217 w 6884782"/>
              <a:gd name="connsiteY4691" fmla="*/ 5164717 h 5973007"/>
              <a:gd name="connsiteX4692" fmla="*/ 2238058 w 6884782"/>
              <a:gd name="connsiteY4692" fmla="*/ 5150468 h 5973007"/>
              <a:gd name="connsiteX4693" fmla="*/ 1989759 w 6884782"/>
              <a:gd name="connsiteY4693" fmla="*/ 5150364 h 5973007"/>
              <a:gd name="connsiteX4694" fmla="*/ 1997039 w 6884782"/>
              <a:gd name="connsiteY4694" fmla="*/ 5152223 h 5973007"/>
              <a:gd name="connsiteX4695" fmla="*/ 1995800 w 6884782"/>
              <a:gd name="connsiteY4695" fmla="*/ 5156663 h 5973007"/>
              <a:gd name="connsiteX4696" fmla="*/ 1983563 w 6884782"/>
              <a:gd name="connsiteY4696" fmla="*/ 5160897 h 5973007"/>
              <a:gd name="connsiteX4697" fmla="*/ 1985267 w 6884782"/>
              <a:gd name="connsiteY4697" fmla="*/ 5152946 h 5973007"/>
              <a:gd name="connsiteX4698" fmla="*/ 1989759 w 6884782"/>
              <a:gd name="connsiteY4698" fmla="*/ 5150364 h 5973007"/>
              <a:gd name="connsiteX4699" fmla="*/ 2450730 w 6884782"/>
              <a:gd name="connsiteY4699" fmla="*/ 5150054 h 5973007"/>
              <a:gd name="connsiteX4700" fmla="*/ 2450575 w 6884782"/>
              <a:gd name="connsiteY4700" fmla="*/ 5160071 h 5973007"/>
              <a:gd name="connsiteX4701" fmla="*/ 2446238 w 6884782"/>
              <a:gd name="connsiteY4701" fmla="*/ 5157696 h 5973007"/>
              <a:gd name="connsiteX4702" fmla="*/ 2450730 w 6884782"/>
              <a:gd name="connsiteY4702" fmla="*/ 5150054 h 5973007"/>
              <a:gd name="connsiteX4703" fmla="*/ 1701962 w 6884782"/>
              <a:gd name="connsiteY4703" fmla="*/ 5148093 h 5973007"/>
              <a:gd name="connsiteX4704" fmla="*/ 1702581 w 6884782"/>
              <a:gd name="connsiteY4704" fmla="*/ 5149951 h 5973007"/>
              <a:gd name="connsiteX4705" fmla="*/ 1701497 w 6884782"/>
              <a:gd name="connsiteY4705" fmla="*/ 5152636 h 5973007"/>
              <a:gd name="connsiteX4706" fmla="*/ 1697934 w 6884782"/>
              <a:gd name="connsiteY4706" fmla="*/ 5153462 h 5973007"/>
              <a:gd name="connsiteX4707" fmla="*/ 1697315 w 6884782"/>
              <a:gd name="connsiteY4707" fmla="*/ 5151707 h 5973007"/>
              <a:gd name="connsiteX4708" fmla="*/ 1697470 w 6884782"/>
              <a:gd name="connsiteY4708" fmla="*/ 5148919 h 5973007"/>
              <a:gd name="connsiteX4709" fmla="*/ 1701962 w 6884782"/>
              <a:gd name="connsiteY4709" fmla="*/ 5148093 h 5973007"/>
              <a:gd name="connsiteX4710" fmla="*/ 2341838 w 6884782"/>
              <a:gd name="connsiteY4710" fmla="*/ 5145511 h 5973007"/>
              <a:gd name="connsiteX4711" fmla="*/ 2340599 w 6884782"/>
              <a:gd name="connsiteY4711" fmla="*/ 5157489 h 5973007"/>
              <a:gd name="connsiteX4712" fmla="*/ 2335177 w 6884782"/>
              <a:gd name="connsiteY4712" fmla="*/ 5169880 h 5973007"/>
              <a:gd name="connsiteX4713" fmla="*/ 2341838 w 6884782"/>
              <a:gd name="connsiteY4713" fmla="*/ 5145511 h 5973007"/>
              <a:gd name="connsiteX4714" fmla="*/ 2014387 w 6884782"/>
              <a:gd name="connsiteY4714" fmla="*/ 5145305 h 5973007"/>
              <a:gd name="connsiteX4715" fmla="*/ 2015937 w 6884782"/>
              <a:gd name="connsiteY4715" fmla="*/ 5152843 h 5973007"/>
              <a:gd name="connsiteX4716" fmla="*/ 2014387 w 6884782"/>
              <a:gd name="connsiteY4716" fmla="*/ 5145305 h 5973007"/>
              <a:gd name="connsiteX4717" fmla="*/ 2206614 w 6884782"/>
              <a:gd name="connsiteY4717" fmla="*/ 5144272 h 5973007"/>
              <a:gd name="connsiteX4718" fmla="*/ 2205065 w 6884782"/>
              <a:gd name="connsiteY4718" fmla="*/ 5150054 h 5973007"/>
              <a:gd name="connsiteX4719" fmla="*/ 2199488 w 6884782"/>
              <a:gd name="connsiteY4719" fmla="*/ 5162033 h 5973007"/>
              <a:gd name="connsiteX4720" fmla="*/ 2197165 w 6884782"/>
              <a:gd name="connsiteY4720" fmla="*/ 5162652 h 5973007"/>
              <a:gd name="connsiteX4721" fmla="*/ 2196855 w 6884782"/>
              <a:gd name="connsiteY4721" fmla="*/ 5163375 h 5973007"/>
              <a:gd name="connsiteX4722" fmla="*/ 2195771 w 6884782"/>
              <a:gd name="connsiteY4722" fmla="*/ 5163684 h 5973007"/>
              <a:gd name="connsiteX4723" fmla="*/ 2194997 w 6884782"/>
              <a:gd name="connsiteY4723" fmla="*/ 5163272 h 5973007"/>
              <a:gd name="connsiteX4724" fmla="*/ 2194997 w 6884782"/>
              <a:gd name="connsiteY4724" fmla="*/ 5160793 h 5973007"/>
              <a:gd name="connsiteX4725" fmla="*/ 2195306 w 6884782"/>
              <a:gd name="connsiteY4725" fmla="*/ 5160174 h 5973007"/>
              <a:gd name="connsiteX4726" fmla="*/ 2194532 w 6884782"/>
              <a:gd name="connsiteY4726" fmla="*/ 5160277 h 5973007"/>
              <a:gd name="connsiteX4727" fmla="*/ 2187252 w 6884782"/>
              <a:gd name="connsiteY4727" fmla="*/ 5160277 h 5973007"/>
              <a:gd name="connsiteX4728" fmla="*/ 2181676 w 6884782"/>
              <a:gd name="connsiteY4728" fmla="*/ 5161000 h 5973007"/>
              <a:gd name="connsiteX4729" fmla="*/ 2180901 w 6884782"/>
              <a:gd name="connsiteY4729" fmla="*/ 5162549 h 5973007"/>
              <a:gd name="connsiteX4730" fmla="*/ 2179042 w 6884782"/>
              <a:gd name="connsiteY4730" fmla="*/ 5164201 h 5973007"/>
              <a:gd name="connsiteX4731" fmla="*/ 2177649 w 6884782"/>
              <a:gd name="connsiteY4731" fmla="*/ 5164407 h 5973007"/>
              <a:gd name="connsiteX4732" fmla="*/ 2176564 w 6884782"/>
              <a:gd name="connsiteY4732" fmla="*/ 5163375 h 5973007"/>
              <a:gd name="connsiteX4733" fmla="*/ 2178422 w 6884782"/>
              <a:gd name="connsiteY4733" fmla="*/ 5156250 h 5973007"/>
              <a:gd name="connsiteX4734" fmla="*/ 2179042 w 6884782"/>
              <a:gd name="connsiteY4734" fmla="*/ 5156663 h 5973007"/>
              <a:gd name="connsiteX4735" fmla="*/ 2179507 w 6884782"/>
              <a:gd name="connsiteY4735" fmla="*/ 5156456 h 5973007"/>
              <a:gd name="connsiteX4736" fmla="*/ 2182295 w 6884782"/>
              <a:gd name="connsiteY4736" fmla="*/ 5156456 h 5973007"/>
              <a:gd name="connsiteX4737" fmla="*/ 2186477 w 6884782"/>
              <a:gd name="connsiteY4737" fmla="*/ 5156250 h 5973007"/>
              <a:gd name="connsiteX4738" fmla="*/ 2195771 w 6884782"/>
              <a:gd name="connsiteY4738" fmla="*/ 5157386 h 5973007"/>
              <a:gd name="connsiteX4739" fmla="*/ 2196545 w 6884782"/>
              <a:gd name="connsiteY4739" fmla="*/ 5157696 h 5973007"/>
              <a:gd name="connsiteX4740" fmla="*/ 2197165 w 6884782"/>
              <a:gd name="connsiteY4740" fmla="*/ 5156456 h 5973007"/>
              <a:gd name="connsiteX4741" fmla="*/ 2198095 w 6884782"/>
              <a:gd name="connsiteY4741" fmla="*/ 5154598 h 5973007"/>
              <a:gd name="connsiteX4742" fmla="*/ 2206614 w 6884782"/>
              <a:gd name="connsiteY4742" fmla="*/ 5144272 h 5973007"/>
              <a:gd name="connsiteX4743" fmla="*/ 1614445 w 6884782"/>
              <a:gd name="connsiteY4743" fmla="*/ 5143549 h 5973007"/>
              <a:gd name="connsiteX4744" fmla="*/ 1614600 w 6884782"/>
              <a:gd name="connsiteY4744" fmla="*/ 5156973 h 5973007"/>
              <a:gd name="connsiteX4745" fmla="*/ 1607475 w 6884782"/>
              <a:gd name="connsiteY4745" fmla="*/ 5143963 h 5973007"/>
              <a:gd name="connsiteX4746" fmla="*/ 1614445 w 6884782"/>
              <a:gd name="connsiteY4746" fmla="*/ 5143549 h 5973007"/>
              <a:gd name="connsiteX4747" fmla="*/ 2743639 w 6884782"/>
              <a:gd name="connsiteY4747" fmla="*/ 5143240 h 5973007"/>
              <a:gd name="connsiteX4748" fmla="*/ 2743019 w 6884782"/>
              <a:gd name="connsiteY4748" fmla="*/ 5143963 h 5973007"/>
              <a:gd name="connsiteX4749" fmla="*/ 2741625 w 6884782"/>
              <a:gd name="connsiteY4749" fmla="*/ 5144272 h 5973007"/>
              <a:gd name="connsiteX4750" fmla="*/ 2741935 w 6884782"/>
              <a:gd name="connsiteY4750" fmla="*/ 5145718 h 5973007"/>
              <a:gd name="connsiteX4751" fmla="*/ 2742864 w 6884782"/>
              <a:gd name="connsiteY4751" fmla="*/ 5147267 h 5973007"/>
              <a:gd name="connsiteX4752" fmla="*/ 2743019 w 6884782"/>
              <a:gd name="connsiteY4752" fmla="*/ 5146750 h 5973007"/>
              <a:gd name="connsiteX4753" fmla="*/ 2744103 w 6884782"/>
              <a:gd name="connsiteY4753" fmla="*/ 5147267 h 5973007"/>
              <a:gd name="connsiteX4754" fmla="*/ 2745033 w 6884782"/>
              <a:gd name="connsiteY4754" fmla="*/ 5146854 h 5973007"/>
              <a:gd name="connsiteX4755" fmla="*/ 2744878 w 6884782"/>
              <a:gd name="connsiteY4755" fmla="*/ 5146854 h 5973007"/>
              <a:gd name="connsiteX4756" fmla="*/ 2530191 w 6884782"/>
              <a:gd name="connsiteY4756" fmla="*/ 5141175 h 5973007"/>
              <a:gd name="connsiteX4757" fmla="*/ 2535613 w 6884782"/>
              <a:gd name="connsiteY4757" fmla="*/ 5146338 h 5973007"/>
              <a:gd name="connsiteX4758" fmla="*/ 2531121 w 6884782"/>
              <a:gd name="connsiteY4758" fmla="*/ 5148299 h 5973007"/>
              <a:gd name="connsiteX4759" fmla="*/ 2528333 w 6884782"/>
              <a:gd name="connsiteY4759" fmla="*/ 5146854 h 5973007"/>
              <a:gd name="connsiteX4760" fmla="*/ 2528023 w 6884782"/>
              <a:gd name="connsiteY4760" fmla="*/ 5143756 h 5973007"/>
              <a:gd name="connsiteX4761" fmla="*/ 2530191 w 6884782"/>
              <a:gd name="connsiteY4761" fmla="*/ 5141175 h 5973007"/>
              <a:gd name="connsiteX4762" fmla="*/ 2329446 w 6884782"/>
              <a:gd name="connsiteY4762" fmla="*/ 5140968 h 5973007"/>
              <a:gd name="connsiteX4763" fmla="*/ 2335642 w 6884782"/>
              <a:gd name="connsiteY4763" fmla="*/ 5143240 h 5973007"/>
              <a:gd name="connsiteX4764" fmla="*/ 2335022 w 6884782"/>
              <a:gd name="connsiteY4764" fmla="*/ 5144995 h 5973007"/>
              <a:gd name="connsiteX4765" fmla="*/ 2332854 w 6884782"/>
              <a:gd name="connsiteY4765" fmla="*/ 5146544 h 5973007"/>
              <a:gd name="connsiteX4766" fmla="*/ 2330221 w 6884782"/>
              <a:gd name="connsiteY4766" fmla="*/ 5146131 h 5973007"/>
              <a:gd name="connsiteX4767" fmla="*/ 2329446 w 6884782"/>
              <a:gd name="connsiteY4767" fmla="*/ 5140968 h 5973007"/>
              <a:gd name="connsiteX4768" fmla="*/ 2111198 w 6884782"/>
              <a:gd name="connsiteY4768" fmla="*/ 5139626 h 5973007"/>
              <a:gd name="connsiteX4769" fmla="*/ 2118942 w 6884782"/>
              <a:gd name="connsiteY4769" fmla="*/ 5141175 h 5973007"/>
              <a:gd name="connsiteX4770" fmla="*/ 2120646 w 6884782"/>
              <a:gd name="connsiteY4770" fmla="*/ 5149848 h 5973007"/>
              <a:gd name="connsiteX4771" fmla="*/ 2111508 w 6884782"/>
              <a:gd name="connsiteY4771" fmla="*/ 5144169 h 5973007"/>
              <a:gd name="connsiteX4772" fmla="*/ 2111198 w 6884782"/>
              <a:gd name="connsiteY4772" fmla="*/ 5139626 h 5973007"/>
              <a:gd name="connsiteX4773" fmla="*/ 2555904 w 6884782"/>
              <a:gd name="connsiteY4773" fmla="*/ 5137974 h 5973007"/>
              <a:gd name="connsiteX4774" fmla="*/ 2555904 w 6884782"/>
              <a:gd name="connsiteY4774" fmla="*/ 5151397 h 5973007"/>
              <a:gd name="connsiteX4775" fmla="*/ 2548779 w 6884782"/>
              <a:gd name="connsiteY4775" fmla="*/ 5147060 h 5973007"/>
              <a:gd name="connsiteX4776" fmla="*/ 2555904 w 6884782"/>
              <a:gd name="connsiteY4776" fmla="*/ 5137974 h 5973007"/>
              <a:gd name="connsiteX4777" fmla="*/ 2063335 w 6884782"/>
              <a:gd name="connsiteY4777" fmla="*/ 5137148 h 5973007"/>
              <a:gd name="connsiteX4778" fmla="*/ 2069530 w 6884782"/>
              <a:gd name="connsiteY4778" fmla="*/ 5138593 h 5973007"/>
              <a:gd name="connsiteX4779" fmla="*/ 2066588 w 6884782"/>
              <a:gd name="connsiteY4779" fmla="*/ 5145615 h 5973007"/>
              <a:gd name="connsiteX4780" fmla="*/ 2062251 w 6884782"/>
              <a:gd name="connsiteY4780" fmla="*/ 5144169 h 5973007"/>
              <a:gd name="connsiteX4781" fmla="*/ 2063335 w 6884782"/>
              <a:gd name="connsiteY4781" fmla="*/ 5137148 h 5973007"/>
              <a:gd name="connsiteX4782" fmla="*/ 2018182 w 6884782"/>
              <a:gd name="connsiteY4782" fmla="*/ 5137057 h 5973007"/>
              <a:gd name="connsiteX4783" fmla="*/ 2022907 w 6884782"/>
              <a:gd name="connsiteY4783" fmla="*/ 5137457 h 5973007"/>
              <a:gd name="connsiteX4784" fmla="*/ 2017485 w 6884782"/>
              <a:gd name="connsiteY4784" fmla="*/ 5144479 h 5973007"/>
              <a:gd name="connsiteX4785" fmla="*/ 2016247 w 6884782"/>
              <a:gd name="connsiteY4785" fmla="*/ 5141072 h 5973007"/>
              <a:gd name="connsiteX4786" fmla="*/ 2018182 w 6884782"/>
              <a:gd name="connsiteY4786" fmla="*/ 5137057 h 5973007"/>
              <a:gd name="connsiteX4787" fmla="*/ 2324025 w 6884782"/>
              <a:gd name="connsiteY4787" fmla="*/ 5137044 h 5973007"/>
              <a:gd name="connsiteX4788" fmla="*/ 2322476 w 6884782"/>
              <a:gd name="connsiteY4788" fmla="*/ 5142207 h 5973007"/>
              <a:gd name="connsiteX4789" fmla="*/ 2324025 w 6884782"/>
              <a:gd name="connsiteY4789" fmla="*/ 5137044 h 5973007"/>
              <a:gd name="connsiteX4790" fmla="*/ 2195926 w 6884782"/>
              <a:gd name="connsiteY4790" fmla="*/ 5135702 h 5973007"/>
              <a:gd name="connsiteX4791" fmla="*/ 2199798 w 6884782"/>
              <a:gd name="connsiteY4791" fmla="*/ 5137044 h 5973007"/>
              <a:gd name="connsiteX4792" fmla="*/ 2195461 w 6884782"/>
              <a:gd name="connsiteY4792" fmla="*/ 5143756 h 5973007"/>
              <a:gd name="connsiteX4793" fmla="*/ 2192983 w 6884782"/>
              <a:gd name="connsiteY4793" fmla="*/ 5143240 h 5973007"/>
              <a:gd name="connsiteX4794" fmla="*/ 2193448 w 6884782"/>
              <a:gd name="connsiteY4794" fmla="*/ 5137044 h 5973007"/>
              <a:gd name="connsiteX4795" fmla="*/ 2195926 w 6884782"/>
              <a:gd name="connsiteY4795" fmla="*/ 5135702 h 5973007"/>
              <a:gd name="connsiteX4796" fmla="*/ 1743164 w 6884782"/>
              <a:gd name="connsiteY4796" fmla="*/ 5135186 h 5973007"/>
              <a:gd name="connsiteX4797" fmla="*/ 1735265 w 6884782"/>
              <a:gd name="connsiteY4797" fmla="*/ 5157696 h 5973007"/>
              <a:gd name="connsiteX4798" fmla="*/ 1743164 w 6884782"/>
              <a:gd name="connsiteY4798" fmla="*/ 5135186 h 5973007"/>
              <a:gd name="connsiteX4799" fmla="*/ 1676404 w 6884782"/>
              <a:gd name="connsiteY4799" fmla="*/ 5134670 h 5973007"/>
              <a:gd name="connsiteX4800" fmla="*/ 1677178 w 6884782"/>
              <a:gd name="connsiteY4800" fmla="*/ 5134670 h 5973007"/>
              <a:gd name="connsiteX4801" fmla="*/ 1674545 w 6884782"/>
              <a:gd name="connsiteY4801" fmla="*/ 5145305 h 5973007"/>
              <a:gd name="connsiteX4802" fmla="*/ 1672996 w 6884782"/>
              <a:gd name="connsiteY4802" fmla="*/ 5146234 h 5973007"/>
              <a:gd name="connsiteX4803" fmla="*/ 1671137 w 6884782"/>
              <a:gd name="connsiteY4803" fmla="*/ 5145202 h 5973007"/>
              <a:gd name="connsiteX4804" fmla="*/ 1670053 w 6884782"/>
              <a:gd name="connsiteY4804" fmla="*/ 5143653 h 5973007"/>
              <a:gd name="connsiteX4805" fmla="*/ 1671602 w 6884782"/>
              <a:gd name="connsiteY4805" fmla="*/ 5140865 h 5973007"/>
              <a:gd name="connsiteX4806" fmla="*/ 1675320 w 6884782"/>
              <a:gd name="connsiteY4806" fmla="*/ 5137354 h 5973007"/>
              <a:gd name="connsiteX4807" fmla="*/ 1676404 w 6884782"/>
              <a:gd name="connsiteY4807" fmla="*/ 5134670 h 5973007"/>
              <a:gd name="connsiteX4808" fmla="*/ 1908129 w 6884782"/>
              <a:gd name="connsiteY4808" fmla="*/ 5134463 h 5973007"/>
              <a:gd name="connsiteX4809" fmla="*/ 1893103 w 6884782"/>
              <a:gd name="connsiteY4809" fmla="*/ 5155424 h 5973007"/>
              <a:gd name="connsiteX4810" fmla="*/ 1908129 w 6884782"/>
              <a:gd name="connsiteY4810" fmla="*/ 5134463 h 5973007"/>
              <a:gd name="connsiteX4811" fmla="*/ 2370803 w 6884782"/>
              <a:gd name="connsiteY4811" fmla="*/ 5133843 h 5973007"/>
              <a:gd name="connsiteX4812" fmla="*/ 2370494 w 6884782"/>
              <a:gd name="connsiteY4812" fmla="*/ 5137148 h 5973007"/>
              <a:gd name="connsiteX4813" fmla="*/ 2370029 w 6884782"/>
              <a:gd name="connsiteY4813" fmla="*/ 5137767 h 5973007"/>
              <a:gd name="connsiteX4814" fmla="*/ 2369564 w 6884782"/>
              <a:gd name="connsiteY4814" fmla="*/ 5137148 h 5973007"/>
              <a:gd name="connsiteX4815" fmla="*/ 2370803 w 6884782"/>
              <a:gd name="connsiteY4815" fmla="*/ 5133843 h 5973007"/>
              <a:gd name="connsiteX4816" fmla="*/ 2457700 w 6884782"/>
              <a:gd name="connsiteY4816" fmla="*/ 5133120 h 5973007"/>
              <a:gd name="connsiteX4817" fmla="*/ 2463586 w 6884782"/>
              <a:gd name="connsiteY4817" fmla="*/ 5135186 h 5973007"/>
              <a:gd name="connsiteX4818" fmla="*/ 2464516 w 6884782"/>
              <a:gd name="connsiteY4818" fmla="*/ 5137767 h 5973007"/>
              <a:gd name="connsiteX4819" fmla="*/ 2463896 w 6884782"/>
              <a:gd name="connsiteY4819" fmla="*/ 5142930 h 5973007"/>
              <a:gd name="connsiteX4820" fmla="*/ 2464671 w 6884782"/>
              <a:gd name="connsiteY4820" fmla="*/ 5143033 h 5973007"/>
              <a:gd name="connsiteX4821" fmla="*/ 2459714 w 6884782"/>
              <a:gd name="connsiteY4821" fmla="*/ 5143653 h 5973007"/>
              <a:gd name="connsiteX4822" fmla="*/ 2459249 w 6884782"/>
              <a:gd name="connsiteY4822" fmla="*/ 5143137 h 5973007"/>
              <a:gd name="connsiteX4823" fmla="*/ 2459559 w 6884782"/>
              <a:gd name="connsiteY4823" fmla="*/ 5143859 h 5973007"/>
              <a:gd name="connsiteX4824" fmla="*/ 2454292 w 6884782"/>
              <a:gd name="connsiteY4824" fmla="*/ 5146647 h 5973007"/>
              <a:gd name="connsiteX4825" fmla="*/ 2448097 w 6884782"/>
              <a:gd name="connsiteY4825" fmla="*/ 5144169 h 5973007"/>
              <a:gd name="connsiteX4826" fmla="*/ 2454292 w 6884782"/>
              <a:gd name="connsiteY4826" fmla="*/ 5135909 h 5973007"/>
              <a:gd name="connsiteX4827" fmla="*/ 2455377 w 6884782"/>
              <a:gd name="connsiteY4827" fmla="*/ 5137148 h 5973007"/>
              <a:gd name="connsiteX4828" fmla="*/ 2455996 w 6884782"/>
              <a:gd name="connsiteY4828" fmla="*/ 5135392 h 5973007"/>
              <a:gd name="connsiteX4829" fmla="*/ 2457700 w 6884782"/>
              <a:gd name="connsiteY4829" fmla="*/ 5133120 h 5973007"/>
              <a:gd name="connsiteX4830" fmla="*/ 2383505 w 6884782"/>
              <a:gd name="connsiteY4830" fmla="*/ 5131055 h 5973007"/>
              <a:gd name="connsiteX4831" fmla="*/ 2387532 w 6884782"/>
              <a:gd name="connsiteY4831" fmla="*/ 5133637 h 5973007"/>
              <a:gd name="connsiteX4832" fmla="*/ 2383195 w 6884782"/>
              <a:gd name="connsiteY4832" fmla="*/ 5140349 h 5973007"/>
              <a:gd name="connsiteX4833" fmla="*/ 2378858 w 6884782"/>
              <a:gd name="connsiteY4833" fmla="*/ 5136632 h 5973007"/>
              <a:gd name="connsiteX4834" fmla="*/ 2379013 w 6884782"/>
              <a:gd name="connsiteY4834" fmla="*/ 5133947 h 5973007"/>
              <a:gd name="connsiteX4835" fmla="*/ 2381181 w 6884782"/>
              <a:gd name="connsiteY4835" fmla="*/ 5131675 h 5973007"/>
              <a:gd name="connsiteX4836" fmla="*/ 2383505 w 6884782"/>
              <a:gd name="connsiteY4836" fmla="*/ 5131055 h 5973007"/>
              <a:gd name="connsiteX4837" fmla="*/ 2037157 w 6884782"/>
              <a:gd name="connsiteY4837" fmla="*/ 5130746 h 5973007"/>
              <a:gd name="connsiteX4838" fmla="*/ 2048465 w 6884782"/>
              <a:gd name="connsiteY4838" fmla="*/ 5141691 h 5973007"/>
              <a:gd name="connsiteX4839" fmla="*/ 2046141 w 6884782"/>
              <a:gd name="connsiteY4839" fmla="*/ 5146750 h 5973007"/>
              <a:gd name="connsiteX4840" fmla="*/ 2037157 w 6884782"/>
              <a:gd name="connsiteY4840" fmla="*/ 5130746 h 5973007"/>
              <a:gd name="connsiteX4841" fmla="*/ 1918971 w 6884782"/>
              <a:gd name="connsiteY4841" fmla="*/ 5129300 h 5973007"/>
              <a:gd name="connsiteX4842" fmla="*/ 1926716 w 6884782"/>
              <a:gd name="connsiteY4842" fmla="*/ 5129507 h 5973007"/>
              <a:gd name="connsiteX4843" fmla="*/ 1927336 w 6884782"/>
              <a:gd name="connsiteY4843" fmla="*/ 5131262 h 5973007"/>
              <a:gd name="connsiteX4844" fmla="*/ 1927800 w 6884782"/>
              <a:gd name="connsiteY4844" fmla="*/ 5135702 h 5973007"/>
              <a:gd name="connsiteX4845" fmla="*/ 1924858 w 6884782"/>
              <a:gd name="connsiteY4845" fmla="*/ 5137251 h 5973007"/>
              <a:gd name="connsiteX4846" fmla="*/ 1921759 w 6884782"/>
              <a:gd name="connsiteY4846" fmla="*/ 5135496 h 5973007"/>
              <a:gd name="connsiteX4847" fmla="*/ 1920056 w 6884782"/>
              <a:gd name="connsiteY4847" fmla="*/ 5132398 h 5973007"/>
              <a:gd name="connsiteX4848" fmla="*/ 1918971 w 6884782"/>
              <a:gd name="connsiteY4848" fmla="*/ 5129300 h 5973007"/>
              <a:gd name="connsiteX4849" fmla="*/ 2564424 w 6884782"/>
              <a:gd name="connsiteY4849" fmla="*/ 5128371 h 5973007"/>
              <a:gd name="connsiteX4850" fmla="*/ 2572788 w 6884782"/>
              <a:gd name="connsiteY4850" fmla="*/ 5128681 h 5973007"/>
              <a:gd name="connsiteX4851" fmla="*/ 2576041 w 6884782"/>
              <a:gd name="connsiteY4851" fmla="*/ 5132811 h 5973007"/>
              <a:gd name="connsiteX4852" fmla="*/ 2576196 w 6884782"/>
              <a:gd name="connsiteY4852" fmla="*/ 5134463 h 5973007"/>
              <a:gd name="connsiteX4853" fmla="*/ 2576351 w 6884782"/>
              <a:gd name="connsiteY4853" fmla="*/ 5134463 h 5973007"/>
              <a:gd name="connsiteX4854" fmla="*/ 2584870 w 6884782"/>
              <a:gd name="connsiteY4854" fmla="*/ 5140142 h 5973007"/>
              <a:gd name="connsiteX4855" fmla="*/ 2579913 w 6884782"/>
              <a:gd name="connsiteY4855" fmla="*/ 5146028 h 5973007"/>
              <a:gd name="connsiteX4856" fmla="*/ 2574492 w 6884782"/>
              <a:gd name="connsiteY4856" fmla="*/ 5143446 h 5973007"/>
              <a:gd name="connsiteX4857" fmla="*/ 2572169 w 6884782"/>
              <a:gd name="connsiteY4857" fmla="*/ 5144788 h 5973007"/>
              <a:gd name="connsiteX4858" fmla="*/ 2569690 w 6884782"/>
              <a:gd name="connsiteY4858" fmla="*/ 5148403 h 5973007"/>
              <a:gd name="connsiteX4859" fmla="*/ 2564579 w 6884782"/>
              <a:gd name="connsiteY4859" fmla="*/ 5148609 h 5973007"/>
              <a:gd name="connsiteX4860" fmla="*/ 2562255 w 6884782"/>
              <a:gd name="connsiteY4860" fmla="*/ 5137044 h 5973007"/>
              <a:gd name="connsiteX4861" fmla="*/ 2563804 w 6884782"/>
              <a:gd name="connsiteY4861" fmla="*/ 5135702 h 5973007"/>
              <a:gd name="connsiteX4862" fmla="*/ 2563494 w 6884782"/>
              <a:gd name="connsiteY4862" fmla="*/ 5132605 h 5973007"/>
              <a:gd name="connsiteX4863" fmla="*/ 2564424 w 6884782"/>
              <a:gd name="connsiteY4863" fmla="*/ 5128371 h 5973007"/>
              <a:gd name="connsiteX4864" fmla="*/ 1700413 w 6884782"/>
              <a:gd name="connsiteY4864" fmla="*/ 5128164 h 5973007"/>
              <a:gd name="connsiteX4865" fmla="*/ 1701342 w 6884782"/>
              <a:gd name="connsiteY4865" fmla="*/ 5129713 h 5973007"/>
              <a:gd name="connsiteX4866" fmla="*/ 1701652 w 6884782"/>
              <a:gd name="connsiteY4866" fmla="*/ 5132088 h 5973007"/>
              <a:gd name="connsiteX4867" fmla="*/ 1703046 w 6884782"/>
              <a:gd name="connsiteY4867" fmla="*/ 5132914 h 5973007"/>
              <a:gd name="connsiteX4868" fmla="*/ 1702426 w 6884782"/>
              <a:gd name="connsiteY4868" fmla="*/ 5139832 h 5973007"/>
              <a:gd name="connsiteX4869" fmla="*/ 1701652 w 6884782"/>
              <a:gd name="connsiteY4869" fmla="*/ 5138077 h 5973007"/>
              <a:gd name="connsiteX4870" fmla="*/ 1701187 w 6884782"/>
              <a:gd name="connsiteY4870" fmla="*/ 5135909 h 5973007"/>
              <a:gd name="connsiteX4871" fmla="*/ 1700722 w 6884782"/>
              <a:gd name="connsiteY4871" fmla="*/ 5133534 h 5973007"/>
              <a:gd name="connsiteX4872" fmla="*/ 1699793 w 6884782"/>
              <a:gd name="connsiteY4872" fmla="*/ 5131882 h 5973007"/>
              <a:gd name="connsiteX4873" fmla="*/ 1700413 w 6884782"/>
              <a:gd name="connsiteY4873" fmla="*/ 5128164 h 5973007"/>
              <a:gd name="connsiteX4874" fmla="*/ 2498593 w 6884782"/>
              <a:gd name="connsiteY4874" fmla="*/ 5126719 h 5973007"/>
              <a:gd name="connsiteX4875" fmla="*/ 2500452 w 6884782"/>
              <a:gd name="connsiteY4875" fmla="*/ 5132295 h 5973007"/>
              <a:gd name="connsiteX4876" fmla="*/ 2495960 w 6884782"/>
              <a:gd name="connsiteY4876" fmla="*/ 5137974 h 5973007"/>
              <a:gd name="connsiteX4877" fmla="*/ 2494101 w 6884782"/>
              <a:gd name="connsiteY4877" fmla="*/ 5135186 h 5973007"/>
              <a:gd name="connsiteX4878" fmla="*/ 2498593 w 6884782"/>
              <a:gd name="connsiteY4878" fmla="*/ 5126719 h 5973007"/>
              <a:gd name="connsiteX4879" fmla="*/ 2015162 w 6884782"/>
              <a:gd name="connsiteY4879" fmla="*/ 5124653 h 5973007"/>
              <a:gd name="connsiteX4880" fmla="*/ 2004939 w 6884782"/>
              <a:gd name="connsiteY4880" fmla="*/ 5137148 h 5973007"/>
              <a:gd name="connsiteX4881" fmla="*/ 2015162 w 6884782"/>
              <a:gd name="connsiteY4881" fmla="*/ 5124653 h 5973007"/>
              <a:gd name="connsiteX4882" fmla="*/ 1985577 w 6884782"/>
              <a:gd name="connsiteY4882" fmla="*/ 5124447 h 5973007"/>
              <a:gd name="connsiteX4883" fmla="*/ 1992238 w 6884782"/>
              <a:gd name="connsiteY4883" fmla="*/ 5137561 h 5973007"/>
              <a:gd name="connsiteX4884" fmla="*/ 1988055 w 6884782"/>
              <a:gd name="connsiteY4884" fmla="*/ 5140865 h 5973007"/>
              <a:gd name="connsiteX4885" fmla="*/ 1979071 w 6884782"/>
              <a:gd name="connsiteY4885" fmla="*/ 5129197 h 5973007"/>
              <a:gd name="connsiteX4886" fmla="*/ 1985577 w 6884782"/>
              <a:gd name="connsiteY4886" fmla="*/ 5124447 h 5973007"/>
              <a:gd name="connsiteX4887" fmla="*/ 2445928 w 6884782"/>
              <a:gd name="connsiteY4887" fmla="*/ 5123828 h 5973007"/>
              <a:gd name="connsiteX4888" fmla="*/ 2440507 w 6884782"/>
              <a:gd name="connsiteY4888" fmla="*/ 5130333 h 5973007"/>
              <a:gd name="connsiteX4889" fmla="*/ 2438493 w 6884782"/>
              <a:gd name="connsiteY4889" fmla="*/ 5129300 h 5973007"/>
              <a:gd name="connsiteX4890" fmla="*/ 2445928 w 6884782"/>
              <a:gd name="connsiteY4890" fmla="*/ 5123828 h 5973007"/>
              <a:gd name="connsiteX4891" fmla="*/ 1663392 w 6884782"/>
              <a:gd name="connsiteY4891" fmla="*/ 5123311 h 5973007"/>
              <a:gd name="connsiteX4892" fmla="*/ 1664167 w 6884782"/>
              <a:gd name="connsiteY4892" fmla="*/ 5124653 h 5973007"/>
              <a:gd name="connsiteX4893" fmla="*/ 1667265 w 6884782"/>
              <a:gd name="connsiteY4893" fmla="*/ 5125067 h 5973007"/>
              <a:gd name="connsiteX4894" fmla="*/ 1671602 w 6884782"/>
              <a:gd name="connsiteY4894" fmla="*/ 5123518 h 5973007"/>
              <a:gd name="connsiteX4895" fmla="*/ 1666180 w 6884782"/>
              <a:gd name="connsiteY4895" fmla="*/ 5126719 h 5973007"/>
              <a:gd name="connsiteX4896" fmla="*/ 1665716 w 6884782"/>
              <a:gd name="connsiteY4896" fmla="*/ 5127958 h 5973007"/>
              <a:gd name="connsiteX4897" fmla="*/ 1665871 w 6884782"/>
              <a:gd name="connsiteY4897" fmla="*/ 5128164 h 5973007"/>
              <a:gd name="connsiteX4898" fmla="*/ 1665561 w 6884782"/>
              <a:gd name="connsiteY4898" fmla="*/ 5128474 h 5973007"/>
              <a:gd name="connsiteX4899" fmla="*/ 1665097 w 6884782"/>
              <a:gd name="connsiteY4899" fmla="*/ 5129300 h 5973007"/>
              <a:gd name="connsiteX4900" fmla="*/ 1664786 w 6884782"/>
              <a:gd name="connsiteY4900" fmla="*/ 5129507 h 5973007"/>
              <a:gd name="connsiteX4901" fmla="*/ 1663702 w 6884782"/>
              <a:gd name="connsiteY4901" fmla="*/ 5131572 h 5973007"/>
              <a:gd name="connsiteX4902" fmla="*/ 1662153 w 6884782"/>
              <a:gd name="connsiteY4902" fmla="*/ 5135392 h 5973007"/>
              <a:gd name="connsiteX4903" fmla="*/ 1659985 w 6884782"/>
              <a:gd name="connsiteY4903" fmla="*/ 5135599 h 5973007"/>
              <a:gd name="connsiteX4904" fmla="*/ 1658745 w 6884782"/>
              <a:gd name="connsiteY4904" fmla="*/ 5133327 h 5973007"/>
              <a:gd name="connsiteX4905" fmla="*/ 1659520 w 6884782"/>
              <a:gd name="connsiteY4905" fmla="*/ 5130023 h 5973007"/>
              <a:gd name="connsiteX4906" fmla="*/ 1659210 w 6884782"/>
              <a:gd name="connsiteY4906" fmla="*/ 5129197 h 5973007"/>
              <a:gd name="connsiteX4907" fmla="*/ 1660295 w 6884782"/>
              <a:gd name="connsiteY4907" fmla="*/ 5126719 h 5973007"/>
              <a:gd name="connsiteX4908" fmla="*/ 1661224 w 6884782"/>
              <a:gd name="connsiteY4908" fmla="*/ 5126099 h 5973007"/>
              <a:gd name="connsiteX4909" fmla="*/ 2106861 w 6884782"/>
              <a:gd name="connsiteY4909" fmla="*/ 5122588 h 5973007"/>
              <a:gd name="connsiteX4910" fmla="*/ 2115070 w 6884782"/>
              <a:gd name="connsiteY4910" fmla="*/ 5123724 h 5973007"/>
              <a:gd name="connsiteX4911" fmla="*/ 2112282 w 6884782"/>
              <a:gd name="connsiteY4911" fmla="*/ 5137457 h 5973007"/>
              <a:gd name="connsiteX4912" fmla="*/ 2108874 w 6884782"/>
              <a:gd name="connsiteY4912" fmla="*/ 5137664 h 5973007"/>
              <a:gd name="connsiteX4913" fmla="*/ 2106861 w 6884782"/>
              <a:gd name="connsiteY4913" fmla="*/ 5122588 h 5973007"/>
              <a:gd name="connsiteX4914" fmla="*/ 2001221 w 6884782"/>
              <a:gd name="connsiteY4914" fmla="*/ 5120937 h 5973007"/>
              <a:gd name="connsiteX4915" fmla="*/ 2005713 w 6884782"/>
              <a:gd name="connsiteY4915" fmla="*/ 5127545 h 5973007"/>
              <a:gd name="connsiteX4916" fmla="*/ 2004164 w 6884782"/>
              <a:gd name="connsiteY4916" fmla="*/ 5129610 h 5973007"/>
              <a:gd name="connsiteX4917" fmla="*/ 1998588 w 6884782"/>
              <a:gd name="connsiteY4917" fmla="*/ 5126719 h 5973007"/>
              <a:gd name="connsiteX4918" fmla="*/ 1998433 w 6884782"/>
              <a:gd name="connsiteY4918" fmla="*/ 5123828 h 5973007"/>
              <a:gd name="connsiteX4919" fmla="*/ 2001221 w 6884782"/>
              <a:gd name="connsiteY4919" fmla="*/ 5120937 h 5973007"/>
              <a:gd name="connsiteX4920" fmla="*/ 2183224 w 6884782"/>
              <a:gd name="connsiteY4920" fmla="*/ 5120110 h 5973007"/>
              <a:gd name="connsiteX4921" fmla="*/ 2190195 w 6884782"/>
              <a:gd name="connsiteY4921" fmla="*/ 5124138 h 5973007"/>
              <a:gd name="connsiteX4922" fmla="*/ 2180901 w 6884782"/>
              <a:gd name="connsiteY4922" fmla="*/ 5135599 h 5973007"/>
              <a:gd name="connsiteX4923" fmla="*/ 2176254 w 6884782"/>
              <a:gd name="connsiteY4923" fmla="*/ 5133120 h 5973007"/>
              <a:gd name="connsiteX4924" fmla="*/ 2183224 w 6884782"/>
              <a:gd name="connsiteY4924" fmla="*/ 5120110 h 5973007"/>
              <a:gd name="connsiteX4925" fmla="*/ 1586718 w 6884782"/>
              <a:gd name="connsiteY4925" fmla="*/ 5119387 h 5973007"/>
              <a:gd name="connsiteX4926" fmla="*/ 1597717 w 6884782"/>
              <a:gd name="connsiteY4926" fmla="*/ 5124653 h 5973007"/>
              <a:gd name="connsiteX4927" fmla="*/ 1595238 w 6884782"/>
              <a:gd name="connsiteY4927" fmla="*/ 5124963 h 5973007"/>
              <a:gd name="connsiteX4928" fmla="*/ 1586718 w 6884782"/>
              <a:gd name="connsiteY4928" fmla="*/ 5119387 h 5973007"/>
              <a:gd name="connsiteX4929" fmla="*/ 2219470 w 6884782"/>
              <a:gd name="connsiteY4929" fmla="*/ 5118975 h 5973007"/>
              <a:gd name="connsiteX4930" fmla="*/ 2229074 w 6884782"/>
              <a:gd name="connsiteY4930" fmla="*/ 5121040 h 5973007"/>
              <a:gd name="connsiteX4931" fmla="*/ 2226905 w 6884782"/>
              <a:gd name="connsiteY4931" fmla="*/ 5128784 h 5973007"/>
              <a:gd name="connsiteX4932" fmla="*/ 2223963 w 6884782"/>
              <a:gd name="connsiteY4932" fmla="*/ 5128577 h 5973007"/>
              <a:gd name="connsiteX4933" fmla="*/ 2225667 w 6884782"/>
              <a:gd name="connsiteY4933" fmla="*/ 5129610 h 5973007"/>
              <a:gd name="connsiteX4934" fmla="*/ 2227680 w 6884782"/>
              <a:gd name="connsiteY4934" fmla="*/ 5133637 h 5973007"/>
              <a:gd name="connsiteX4935" fmla="*/ 2222568 w 6884782"/>
              <a:gd name="connsiteY4935" fmla="*/ 5131159 h 5973007"/>
              <a:gd name="connsiteX4936" fmla="*/ 2221484 w 6884782"/>
              <a:gd name="connsiteY4936" fmla="*/ 5128371 h 5973007"/>
              <a:gd name="connsiteX4937" fmla="*/ 2220245 w 6884782"/>
              <a:gd name="connsiteY4937" fmla="*/ 5128268 h 5973007"/>
              <a:gd name="connsiteX4938" fmla="*/ 2219470 w 6884782"/>
              <a:gd name="connsiteY4938" fmla="*/ 5118975 h 5973007"/>
              <a:gd name="connsiteX4939" fmla="*/ 2238058 w 6884782"/>
              <a:gd name="connsiteY4939" fmla="*/ 5118252 h 5973007"/>
              <a:gd name="connsiteX4940" fmla="*/ 2246732 w 6884782"/>
              <a:gd name="connsiteY4940" fmla="*/ 5129094 h 5973007"/>
              <a:gd name="connsiteX4941" fmla="*/ 2242395 w 6884782"/>
              <a:gd name="connsiteY4941" fmla="*/ 5131778 h 5973007"/>
              <a:gd name="connsiteX4942" fmla="*/ 2233566 w 6884782"/>
              <a:gd name="connsiteY4942" fmla="*/ 5123415 h 5973007"/>
              <a:gd name="connsiteX4943" fmla="*/ 2238058 w 6884782"/>
              <a:gd name="connsiteY4943" fmla="*/ 5118252 h 5973007"/>
              <a:gd name="connsiteX4944" fmla="*/ 1111497 w 6884782"/>
              <a:gd name="connsiteY4944" fmla="*/ 5117942 h 5973007"/>
              <a:gd name="connsiteX4945" fmla="*/ 1111342 w 6884782"/>
              <a:gd name="connsiteY4945" fmla="*/ 5119594 h 5973007"/>
              <a:gd name="connsiteX4946" fmla="*/ 1112117 w 6884782"/>
              <a:gd name="connsiteY4946" fmla="*/ 5119594 h 5973007"/>
              <a:gd name="connsiteX4947" fmla="*/ 1111032 w 6884782"/>
              <a:gd name="connsiteY4947" fmla="*/ 5121246 h 5973007"/>
              <a:gd name="connsiteX4948" fmla="*/ 1110413 w 6884782"/>
              <a:gd name="connsiteY4948" fmla="*/ 5121246 h 5973007"/>
              <a:gd name="connsiteX4949" fmla="*/ 1110103 w 6884782"/>
              <a:gd name="connsiteY4949" fmla="*/ 5121453 h 5973007"/>
              <a:gd name="connsiteX4950" fmla="*/ 1108864 w 6884782"/>
              <a:gd name="connsiteY4950" fmla="*/ 5120420 h 5973007"/>
              <a:gd name="connsiteX4951" fmla="*/ 1107934 w 6884782"/>
              <a:gd name="connsiteY4951" fmla="*/ 5119491 h 5973007"/>
              <a:gd name="connsiteX4952" fmla="*/ 1108089 w 6884782"/>
              <a:gd name="connsiteY4952" fmla="*/ 5118665 h 5973007"/>
              <a:gd name="connsiteX4953" fmla="*/ 1111497 w 6884782"/>
              <a:gd name="connsiteY4953" fmla="*/ 5117942 h 5973007"/>
              <a:gd name="connsiteX4954" fmla="*/ 1731082 w 6884782"/>
              <a:gd name="connsiteY4954" fmla="*/ 5117736 h 5973007"/>
              <a:gd name="connsiteX4955" fmla="*/ 1731547 w 6884782"/>
              <a:gd name="connsiteY4955" fmla="*/ 5120214 h 5973007"/>
              <a:gd name="connsiteX4956" fmla="*/ 1732941 w 6884782"/>
              <a:gd name="connsiteY4956" fmla="*/ 5121040 h 5973007"/>
              <a:gd name="connsiteX4957" fmla="*/ 1732166 w 6884782"/>
              <a:gd name="connsiteY4957" fmla="*/ 5123828 h 5973007"/>
              <a:gd name="connsiteX4958" fmla="*/ 1731082 w 6884782"/>
              <a:gd name="connsiteY4958" fmla="*/ 5117736 h 5973007"/>
              <a:gd name="connsiteX4959" fmla="*/ 1923773 w 6884782"/>
              <a:gd name="connsiteY4959" fmla="*/ 5116393 h 5973007"/>
              <a:gd name="connsiteX4960" fmla="*/ 1926251 w 6884782"/>
              <a:gd name="connsiteY4960" fmla="*/ 5117013 h 5973007"/>
              <a:gd name="connsiteX4961" fmla="*/ 1923463 w 6884782"/>
              <a:gd name="connsiteY4961" fmla="*/ 5118355 h 5973007"/>
              <a:gd name="connsiteX4962" fmla="*/ 1923308 w 6884782"/>
              <a:gd name="connsiteY4962" fmla="*/ 5117219 h 5973007"/>
              <a:gd name="connsiteX4963" fmla="*/ 1922844 w 6884782"/>
              <a:gd name="connsiteY4963" fmla="*/ 5117942 h 5973007"/>
              <a:gd name="connsiteX4964" fmla="*/ 1923153 w 6884782"/>
              <a:gd name="connsiteY4964" fmla="*/ 5116806 h 5973007"/>
              <a:gd name="connsiteX4965" fmla="*/ 1923773 w 6884782"/>
              <a:gd name="connsiteY4965" fmla="*/ 5116393 h 5973007"/>
              <a:gd name="connsiteX4966" fmla="*/ 2276724 w 6884782"/>
              <a:gd name="connsiteY4966" fmla="*/ 5116238 h 5973007"/>
              <a:gd name="connsiteX4967" fmla="*/ 2284681 w 6884782"/>
              <a:gd name="connsiteY4967" fmla="*/ 5120110 h 5973007"/>
              <a:gd name="connsiteX4968" fmla="*/ 2283907 w 6884782"/>
              <a:gd name="connsiteY4968" fmla="*/ 5123518 h 5973007"/>
              <a:gd name="connsiteX4969" fmla="*/ 2279570 w 6884782"/>
              <a:gd name="connsiteY4969" fmla="*/ 5126512 h 5973007"/>
              <a:gd name="connsiteX4970" fmla="*/ 2275698 w 6884782"/>
              <a:gd name="connsiteY4970" fmla="*/ 5128164 h 5973007"/>
              <a:gd name="connsiteX4971" fmla="*/ 2276007 w 6884782"/>
              <a:gd name="connsiteY4971" fmla="*/ 5134360 h 5973007"/>
              <a:gd name="connsiteX4972" fmla="*/ 2272600 w 6884782"/>
              <a:gd name="connsiteY4972" fmla="*/ 5139316 h 5973007"/>
              <a:gd name="connsiteX4973" fmla="*/ 2270431 w 6884782"/>
              <a:gd name="connsiteY4973" fmla="*/ 5133637 h 5973007"/>
              <a:gd name="connsiteX4974" fmla="*/ 2270276 w 6884782"/>
              <a:gd name="connsiteY4974" fmla="*/ 5127029 h 5973007"/>
              <a:gd name="connsiteX4975" fmla="*/ 2267953 w 6884782"/>
              <a:gd name="connsiteY4975" fmla="*/ 5125583 h 5973007"/>
              <a:gd name="connsiteX4976" fmla="*/ 2267488 w 6884782"/>
              <a:gd name="connsiteY4976" fmla="*/ 5122898 h 5973007"/>
              <a:gd name="connsiteX4977" fmla="*/ 2276724 w 6884782"/>
              <a:gd name="connsiteY4977" fmla="*/ 5116238 h 5973007"/>
              <a:gd name="connsiteX4978" fmla="*/ 2470247 w 6884782"/>
              <a:gd name="connsiteY4978" fmla="*/ 5115774 h 5973007"/>
              <a:gd name="connsiteX4979" fmla="*/ 2480625 w 6884782"/>
              <a:gd name="connsiteY4979" fmla="*/ 5120523 h 5973007"/>
              <a:gd name="connsiteX4980" fmla="*/ 2483723 w 6884782"/>
              <a:gd name="connsiteY4980" fmla="*/ 5135392 h 5973007"/>
              <a:gd name="connsiteX4981" fmla="*/ 2474894 w 6884782"/>
              <a:gd name="connsiteY4981" fmla="*/ 5138903 h 5973007"/>
              <a:gd name="connsiteX4982" fmla="*/ 2469472 w 6884782"/>
              <a:gd name="connsiteY4982" fmla="*/ 5136425 h 5973007"/>
              <a:gd name="connsiteX4983" fmla="*/ 2466994 w 6884782"/>
              <a:gd name="connsiteY4983" fmla="*/ 5120833 h 5973007"/>
              <a:gd name="connsiteX4984" fmla="*/ 2468698 w 6884782"/>
              <a:gd name="connsiteY4984" fmla="*/ 5119181 h 5973007"/>
              <a:gd name="connsiteX4985" fmla="*/ 2470247 w 6884782"/>
              <a:gd name="connsiteY4985" fmla="*/ 5115774 h 5973007"/>
              <a:gd name="connsiteX4986" fmla="*/ 2610428 w 6884782"/>
              <a:gd name="connsiteY4986" fmla="*/ 5115361 h 5973007"/>
              <a:gd name="connsiteX4987" fmla="*/ 2609653 w 6884782"/>
              <a:gd name="connsiteY4987" fmla="*/ 5120523 h 5973007"/>
              <a:gd name="connsiteX4988" fmla="*/ 2610428 w 6884782"/>
              <a:gd name="connsiteY4988" fmla="*/ 5115361 h 5973007"/>
              <a:gd name="connsiteX4989" fmla="*/ 1930434 w 6884782"/>
              <a:gd name="connsiteY4989" fmla="*/ 5115257 h 5973007"/>
              <a:gd name="connsiteX4990" fmla="*/ 1933222 w 6884782"/>
              <a:gd name="connsiteY4990" fmla="*/ 5117116 h 5973007"/>
              <a:gd name="connsiteX4991" fmla="*/ 1929504 w 6884782"/>
              <a:gd name="connsiteY4991" fmla="*/ 5117942 h 5973007"/>
              <a:gd name="connsiteX4992" fmla="*/ 1926406 w 6884782"/>
              <a:gd name="connsiteY4992" fmla="*/ 5116909 h 5973007"/>
              <a:gd name="connsiteX4993" fmla="*/ 1930434 w 6884782"/>
              <a:gd name="connsiteY4993" fmla="*/ 5115257 h 5973007"/>
              <a:gd name="connsiteX4994" fmla="*/ 1781114 w 6884782"/>
              <a:gd name="connsiteY4994" fmla="*/ 5115257 h 5973007"/>
              <a:gd name="connsiteX4995" fmla="*/ 1787155 w 6884782"/>
              <a:gd name="connsiteY4995" fmla="*/ 5116600 h 5973007"/>
              <a:gd name="connsiteX4996" fmla="*/ 1788239 w 6884782"/>
              <a:gd name="connsiteY4996" fmla="*/ 5119181 h 5973007"/>
              <a:gd name="connsiteX4997" fmla="*/ 1788239 w 6884782"/>
              <a:gd name="connsiteY4997" fmla="*/ 5124344 h 5973007"/>
              <a:gd name="connsiteX4998" fmla="*/ 1789013 w 6884782"/>
              <a:gd name="connsiteY4998" fmla="*/ 5124344 h 5973007"/>
              <a:gd name="connsiteX4999" fmla="*/ 1784211 w 6884782"/>
              <a:gd name="connsiteY4999" fmla="*/ 5125583 h 5973007"/>
              <a:gd name="connsiteX5000" fmla="*/ 1781114 w 6884782"/>
              <a:gd name="connsiteY5000" fmla="*/ 5115257 h 5973007"/>
              <a:gd name="connsiteX5001" fmla="*/ 2302649 w 6884782"/>
              <a:gd name="connsiteY5001" fmla="*/ 5115154 h 5973007"/>
              <a:gd name="connsiteX5002" fmla="*/ 2311323 w 6884782"/>
              <a:gd name="connsiteY5002" fmla="*/ 5121040 h 5973007"/>
              <a:gd name="connsiteX5003" fmla="*/ 2309000 w 6884782"/>
              <a:gd name="connsiteY5003" fmla="*/ 5130333 h 5973007"/>
              <a:gd name="connsiteX5004" fmla="*/ 2310084 w 6884782"/>
              <a:gd name="connsiteY5004" fmla="*/ 5131985 h 5973007"/>
              <a:gd name="connsiteX5005" fmla="*/ 2310239 w 6884782"/>
              <a:gd name="connsiteY5005" fmla="*/ 5135909 h 5973007"/>
              <a:gd name="connsiteX5006" fmla="*/ 2308380 w 6884782"/>
              <a:gd name="connsiteY5006" fmla="*/ 5135805 h 5973007"/>
              <a:gd name="connsiteX5007" fmla="*/ 2307451 w 6884782"/>
              <a:gd name="connsiteY5007" fmla="*/ 5131469 h 5973007"/>
              <a:gd name="connsiteX5008" fmla="*/ 2306676 w 6884782"/>
              <a:gd name="connsiteY5008" fmla="*/ 5131055 h 5973007"/>
              <a:gd name="connsiteX5009" fmla="*/ 2304508 w 6884782"/>
              <a:gd name="connsiteY5009" fmla="*/ 5131675 h 5973007"/>
              <a:gd name="connsiteX5010" fmla="*/ 2296918 w 6884782"/>
              <a:gd name="connsiteY5010" fmla="*/ 5127442 h 5973007"/>
              <a:gd name="connsiteX5011" fmla="*/ 2298467 w 6884782"/>
              <a:gd name="connsiteY5011" fmla="*/ 5117736 h 5973007"/>
              <a:gd name="connsiteX5012" fmla="*/ 2302649 w 6884782"/>
              <a:gd name="connsiteY5012" fmla="*/ 5115154 h 5973007"/>
              <a:gd name="connsiteX5013" fmla="*/ 2536058 w 6884782"/>
              <a:gd name="connsiteY5013" fmla="*/ 5114831 h 5973007"/>
              <a:gd name="connsiteX5014" fmla="*/ 2549244 w 6884782"/>
              <a:gd name="connsiteY5014" fmla="*/ 5118561 h 5973007"/>
              <a:gd name="connsiteX5015" fmla="*/ 2552187 w 6884782"/>
              <a:gd name="connsiteY5015" fmla="*/ 5125893 h 5973007"/>
              <a:gd name="connsiteX5016" fmla="*/ 2550638 w 6884782"/>
              <a:gd name="connsiteY5016" fmla="*/ 5130643 h 5973007"/>
              <a:gd name="connsiteX5017" fmla="*/ 2550948 w 6884782"/>
              <a:gd name="connsiteY5017" fmla="*/ 5131262 h 5973007"/>
              <a:gd name="connsiteX5018" fmla="*/ 2550328 w 6884782"/>
              <a:gd name="connsiteY5018" fmla="*/ 5131469 h 5973007"/>
              <a:gd name="connsiteX5019" fmla="*/ 2550173 w 6884782"/>
              <a:gd name="connsiteY5019" fmla="*/ 5131985 h 5973007"/>
              <a:gd name="connsiteX5020" fmla="*/ 2537782 w 6884782"/>
              <a:gd name="connsiteY5020" fmla="*/ 5137354 h 5973007"/>
              <a:gd name="connsiteX5021" fmla="*/ 2522757 w 6884782"/>
              <a:gd name="connsiteY5021" fmla="*/ 5123415 h 5973007"/>
              <a:gd name="connsiteX5022" fmla="*/ 2536058 w 6884782"/>
              <a:gd name="connsiteY5022" fmla="*/ 5114831 h 5973007"/>
              <a:gd name="connsiteX5023" fmla="*/ 2421455 w 6884782"/>
              <a:gd name="connsiteY5023" fmla="*/ 5114741 h 5973007"/>
              <a:gd name="connsiteX5024" fmla="*/ 2427495 w 6884782"/>
              <a:gd name="connsiteY5024" fmla="*/ 5116393 h 5973007"/>
              <a:gd name="connsiteX5025" fmla="*/ 2423933 w 6884782"/>
              <a:gd name="connsiteY5025" fmla="*/ 5116393 h 5973007"/>
              <a:gd name="connsiteX5026" fmla="*/ 2421455 w 6884782"/>
              <a:gd name="connsiteY5026" fmla="*/ 5114741 h 5973007"/>
              <a:gd name="connsiteX5027" fmla="*/ 1458929 w 6884782"/>
              <a:gd name="connsiteY5027" fmla="*/ 5113709 h 5973007"/>
              <a:gd name="connsiteX5028" fmla="*/ 1473645 w 6884782"/>
              <a:gd name="connsiteY5028" fmla="*/ 5119181 h 5973007"/>
              <a:gd name="connsiteX5029" fmla="*/ 1472560 w 6884782"/>
              <a:gd name="connsiteY5029" fmla="*/ 5120937 h 5973007"/>
              <a:gd name="connsiteX5030" fmla="*/ 1470237 w 6884782"/>
              <a:gd name="connsiteY5030" fmla="*/ 5121556 h 5973007"/>
              <a:gd name="connsiteX5031" fmla="*/ 1462647 w 6884782"/>
              <a:gd name="connsiteY5031" fmla="*/ 5118975 h 5973007"/>
              <a:gd name="connsiteX5032" fmla="*/ 1461098 w 6884782"/>
              <a:gd name="connsiteY5032" fmla="*/ 5118148 h 5973007"/>
              <a:gd name="connsiteX5033" fmla="*/ 1459394 w 6884782"/>
              <a:gd name="connsiteY5033" fmla="*/ 5117219 h 5973007"/>
              <a:gd name="connsiteX5034" fmla="*/ 1458620 w 6884782"/>
              <a:gd name="connsiteY5034" fmla="*/ 5115774 h 5973007"/>
              <a:gd name="connsiteX5035" fmla="*/ 1458929 w 6884782"/>
              <a:gd name="connsiteY5035" fmla="*/ 5113709 h 5973007"/>
              <a:gd name="connsiteX5036" fmla="*/ 1568751 w 6884782"/>
              <a:gd name="connsiteY5036" fmla="*/ 5113089 h 5973007"/>
              <a:gd name="connsiteX5037" fmla="*/ 1570145 w 6884782"/>
              <a:gd name="connsiteY5037" fmla="*/ 5116600 h 5973007"/>
              <a:gd name="connsiteX5038" fmla="*/ 1564879 w 6884782"/>
              <a:gd name="connsiteY5038" fmla="*/ 5118252 h 5973007"/>
              <a:gd name="connsiteX5039" fmla="*/ 1563640 w 6884782"/>
              <a:gd name="connsiteY5039" fmla="*/ 5114741 h 5973007"/>
              <a:gd name="connsiteX5040" fmla="*/ 1568751 w 6884782"/>
              <a:gd name="connsiteY5040" fmla="*/ 5113089 h 5973007"/>
              <a:gd name="connsiteX5041" fmla="*/ 2130250 w 6884782"/>
              <a:gd name="connsiteY5041" fmla="*/ 5112779 h 5973007"/>
              <a:gd name="connsiteX5042" fmla="*/ 2128856 w 6884782"/>
              <a:gd name="connsiteY5042" fmla="*/ 5125170 h 5973007"/>
              <a:gd name="connsiteX5043" fmla="*/ 2124054 w 6884782"/>
              <a:gd name="connsiteY5043" fmla="*/ 5123724 h 5973007"/>
              <a:gd name="connsiteX5044" fmla="*/ 2130250 w 6884782"/>
              <a:gd name="connsiteY5044" fmla="*/ 5112779 h 5973007"/>
              <a:gd name="connsiteX5045" fmla="*/ 2053111 w 6884782"/>
              <a:gd name="connsiteY5045" fmla="*/ 5112470 h 5973007"/>
              <a:gd name="connsiteX5046" fmla="*/ 2063799 w 6884782"/>
              <a:gd name="connsiteY5046" fmla="*/ 5112986 h 5973007"/>
              <a:gd name="connsiteX5047" fmla="*/ 2059307 w 6884782"/>
              <a:gd name="connsiteY5047" fmla="*/ 5118975 h 5973007"/>
              <a:gd name="connsiteX5048" fmla="*/ 2055745 w 6884782"/>
              <a:gd name="connsiteY5048" fmla="*/ 5118458 h 5973007"/>
              <a:gd name="connsiteX5049" fmla="*/ 2053111 w 6884782"/>
              <a:gd name="connsiteY5049" fmla="*/ 5112470 h 5973007"/>
              <a:gd name="connsiteX5050" fmla="*/ 1967454 w 6884782"/>
              <a:gd name="connsiteY5050" fmla="*/ 5111334 h 5973007"/>
              <a:gd name="connsiteX5051" fmla="*/ 1970242 w 6884782"/>
              <a:gd name="connsiteY5051" fmla="*/ 5113192 h 5973007"/>
              <a:gd name="connsiteX5052" fmla="*/ 1969468 w 6884782"/>
              <a:gd name="connsiteY5052" fmla="*/ 5115774 h 5973007"/>
              <a:gd name="connsiteX5053" fmla="*/ 1968073 w 6884782"/>
              <a:gd name="connsiteY5053" fmla="*/ 5113709 h 5973007"/>
              <a:gd name="connsiteX5054" fmla="*/ 1967454 w 6884782"/>
              <a:gd name="connsiteY5054" fmla="*/ 5111334 h 5973007"/>
              <a:gd name="connsiteX5055" fmla="*/ 2346640 w 6884782"/>
              <a:gd name="connsiteY5055" fmla="*/ 5111024 h 5973007"/>
              <a:gd name="connsiteX5056" fmla="*/ 2347569 w 6884782"/>
              <a:gd name="connsiteY5056" fmla="*/ 5114431 h 5973007"/>
              <a:gd name="connsiteX5057" fmla="*/ 2346175 w 6884782"/>
              <a:gd name="connsiteY5057" fmla="*/ 5114844 h 5973007"/>
              <a:gd name="connsiteX5058" fmla="*/ 2344161 w 6884782"/>
              <a:gd name="connsiteY5058" fmla="*/ 5113502 h 5973007"/>
              <a:gd name="connsiteX5059" fmla="*/ 2460914 w 6884782"/>
              <a:gd name="connsiteY5059" fmla="*/ 5110469 h 5973007"/>
              <a:gd name="connsiteX5060" fmla="*/ 2462812 w 6884782"/>
              <a:gd name="connsiteY5060" fmla="*/ 5115877 h 5973007"/>
              <a:gd name="connsiteX5061" fmla="*/ 2455996 w 6884782"/>
              <a:gd name="connsiteY5061" fmla="*/ 5111024 h 5973007"/>
              <a:gd name="connsiteX5062" fmla="*/ 2460914 w 6884782"/>
              <a:gd name="connsiteY5062" fmla="*/ 5110469 h 5973007"/>
              <a:gd name="connsiteX5063" fmla="*/ 2340443 w 6884782"/>
              <a:gd name="connsiteY5063" fmla="*/ 5110404 h 5973007"/>
              <a:gd name="connsiteX5064" fmla="*/ 2341683 w 6884782"/>
              <a:gd name="connsiteY5064" fmla="*/ 5112160 h 5973007"/>
              <a:gd name="connsiteX5065" fmla="*/ 2341373 w 6884782"/>
              <a:gd name="connsiteY5065" fmla="*/ 5113709 h 5973007"/>
              <a:gd name="connsiteX5066" fmla="*/ 2343387 w 6884782"/>
              <a:gd name="connsiteY5066" fmla="*/ 5114225 h 5973007"/>
              <a:gd name="connsiteX5067" fmla="*/ 2346175 w 6884782"/>
              <a:gd name="connsiteY5067" fmla="*/ 5121349 h 5973007"/>
              <a:gd name="connsiteX5068" fmla="*/ 2344471 w 6884782"/>
              <a:gd name="connsiteY5068" fmla="*/ 5122072 h 5973007"/>
              <a:gd name="connsiteX5069" fmla="*/ 2342457 w 6884782"/>
              <a:gd name="connsiteY5069" fmla="*/ 5122588 h 5973007"/>
              <a:gd name="connsiteX5070" fmla="*/ 2337965 w 6884782"/>
              <a:gd name="connsiteY5070" fmla="*/ 5120937 h 5973007"/>
              <a:gd name="connsiteX5071" fmla="*/ 2335952 w 6884782"/>
              <a:gd name="connsiteY5071" fmla="*/ 5117322 h 5973007"/>
              <a:gd name="connsiteX5072" fmla="*/ 2335952 w 6884782"/>
              <a:gd name="connsiteY5072" fmla="*/ 5115567 h 5973007"/>
              <a:gd name="connsiteX5073" fmla="*/ 2337191 w 6884782"/>
              <a:gd name="connsiteY5073" fmla="*/ 5114844 h 5973007"/>
              <a:gd name="connsiteX5074" fmla="*/ 2336726 w 6884782"/>
              <a:gd name="connsiteY5074" fmla="*/ 5114328 h 5973007"/>
              <a:gd name="connsiteX5075" fmla="*/ 2336416 w 6884782"/>
              <a:gd name="connsiteY5075" fmla="*/ 5111643 h 5973007"/>
              <a:gd name="connsiteX5076" fmla="*/ 2340443 w 6884782"/>
              <a:gd name="connsiteY5076" fmla="*/ 5110404 h 5973007"/>
              <a:gd name="connsiteX5077" fmla="*/ 1965440 w 6884782"/>
              <a:gd name="connsiteY5077" fmla="*/ 5109991 h 5973007"/>
              <a:gd name="connsiteX5078" fmla="*/ 1966989 w 6884782"/>
              <a:gd name="connsiteY5078" fmla="*/ 5110920 h 5973007"/>
              <a:gd name="connsiteX5079" fmla="*/ 1966525 w 6884782"/>
              <a:gd name="connsiteY5079" fmla="*/ 5111643 h 5973007"/>
              <a:gd name="connsiteX5080" fmla="*/ 1965595 w 6884782"/>
              <a:gd name="connsiteY5080" fmla="*/ 5110920 h 5973007"/>
              <a:gd name="connsiteX5081" fmla="*/ 1965440 w 6884782"/>
              <a:gd name="connsiteY5081" fmla="*/ 5109991 h 5973007"/>
              <a:gd name="connsiteX5082" fmla="*/ 1708622 w 6884782"/>
              <a:gd name="connsiteY5082" fmla="*/ 5108855 h 5973007"/>
              <a:gd name="connsiteX5083" fmla="*/ 1711720 w 6884782"/>
              <a:gd name="connsiteY5083" fmla="*/ 5114121 h 5973007"/>
              <a:gd name="connsiteX5084" fmla="*/ 1705834 w 6884782"/>
              <a:gd name="connsiteY5084" fmla="*/ 5120937 h 5973007"/>
              <a:gd name="connsiteX5085" fmla="*/ 1702891 w 6884782"/>
              <a:gd name="connsiteY5085" fmla="*/ 5120937 h 5973007"/>
              <a:gd name="connsiteX5086" fmla="*/ 1699638 w 6884782"/>
              <a:gd name="connsiteY5086" fmla="*/ 5117839 h 5973007"/>
              <a:gd name="connsiteX5087" fmla="*/ 1708622 w 6884782"/>
              <a:gd name="connsiteY5087" fmla="*/ 5108855 h 5973007"/>
              <a:gd name="connsiteX5088" fmla="*/ 1617853 w 6884782"/>
              <a:gd name="connsiteY5088" fmla="*/ 5108546 h 5973007"/>
              <a:gd name="connsiteX5089" fmla="*/ 1618163 w 6884782"/>
              <a:gd name="connsiteY5089" fmla="*/ 5108855 h 5973007"/>
              <a:gd name="connsiteX5090" fmla="*/ 1626682 w 6884782"/>
              <a:gd name="connsiteY5090" fmla="*/ 5113192 h 5973007"/>
              <a:gd name="connsiteX5091" fmla="*/ 1627766 w 6884782"/>
              <a:gd name="connsiteY5091" fmla="*/ 5118458 h 5973007"/>
              <a:gd name="connsiteX5092" fmla="*/ 1625133 w 6884782"/>
              <a:gd name="connsiteY5092" fmla="*/ 5119284 h 5973007"/>
              <a:gd name="connsiteX5093" fmla="*/ 1621416 w 6884782"/>
              <a:gd name="connsiteY5093" fmla="*/ 5117116 h 5973007"/>
              <a:gd name="connsiteX5094" fmla="*/ 1621416 w 6884782"/>
              <a:gd name="connsiteY5094" fmla="*/ 5118975 h 5973007"/>
              <a:gd name="connsiteX5095" fmla="*/ 1619402 w 6884782"/>
              <a:gd name="connsiteY5095" fmla="*/ 5123105 h 5973007"/>
              <a:gd name="connsiteX5096" fmla="*/ 1613206 w 6884782"/>
              <a:gd name="connsiteY5096" fmla="*/ 5119181 h 5973007"/>
              <a:gd name="connsiteX5097" fmla="*/ 1613516 w 6884782"/>
              <a:gd name="connsiteY5097" fmla="*/ 5109681 h 5973007"/>
              <a:gd name="connsiteX5098" fmla="*/ 1617853 w 6884782"/>
              <a:gd name="connsiteY5098" fmla="*/ 5108546 h 5973007"/>
              <a:gd name="connsiteX5099" fmla="*/ 1666645 w 6884782"/>
              <a:gd name="connsiteY5099" fmla="*/ 5108133 h 5973007"/>
              <a:gd name="connsiteX5100" fmla="*/ 1670053 w 6884782"/>
              <a:gd name="connsiteY5100" fmla="*/ 5114948 h 5973007"/>
              <a:gd name="connsiteX5101" fmla="*/ 1668504 w 6884782"/>
              <a:gd name="connsiteY5101" fmla="*/ 5115877 h 5973007"/>
              <a:gd name="connsiteX5102" fmla="*/ 1666490 w 6884782"/>
              <a:gd name="connsiteY5102" fmla="*/ 5116600 h 5973007"/>
              <a:gd name="connsiteX5103" fmla="*/ 1664476 w 6884782"/>
              <a:gd name="connsiteY5103" fmla="*/ 5116496 h 5973007"/>
              <a:gd name="connsiteX5104" fmla="*/ 1661843 w 6884782"/>
              <a:gd name="connsiteY5104" fmla="*/ 5115361 h 5973007"/>
              <a:gd name="connsiteX5105" fmla="*/ 1659675 w 6884782"/>
              <a:gd name="connsiteY5105" fmla="*/ 5112056 h 5973007"/>
              <a:gd name="connsiteX5106" fmla="*/ 1659520 w 6884782"/>
              <a:gd name="connsiteY5106" fmla="*/ 5110198 h 5973007"/>
              <a:gd name="connsiteX5107" fmla="*/ 1666645 w 6884782"/>
              <a:gd name="connsiteY5107" fmla="*/ 5108133 h 5973007"/>
              <a:gd name="connsiteX5108" fmla="*/ 2625143 w 6884782"/>
              <a:gd name="connsiteY5108" fmla="*/ 5108029 h 5973007"/>
              <a:gd name="connsiteX5109" fmla="*/ 2626072 w 6884782"/>
              <a:gd name="connsiteY5109" fmla="*/ 5110611 h 5973007"/>
              <a:gd name="connsiteX5110" fmla="*/ 2625298 w 6884782"/>
              <a:gd name="connsiteY5110" fmla="*/ 5113192 h 5973007"/>
              <a:gd name="connsiteX5111" fmla="*/ 2623904 w 6884782"/>
              <a:gd name="connsiteY5111" fmla="*/ 5113502 h 5973007"/>
              <a:gd name="connsiteX5112" fmla="*/ 2622045 w 6884782"/>
              <a:gd name="connsiteY5112" fmla="*/ 5112986 h 5973007"/>
              <a:gd name="connsiteX5113" fmla="*/ 2622665 w 6884782"/>
              <a:gd name="connsiteY5113" fmla="*/ 5108752 h 5973007"/>
              <a:gd name="connsiteX5114" fmla="*/ 2625143 w 6884782"/>
              <a:gd name="connsiteY5114" fmla="*/ 5108029 h 5973007"/>
              <a:gd name="connsiteX5115" fmla="*/ 1725816 w 6884782"/>
              <a:gd name="connsiteY5115" fmla="*/ 5108029 h 5973007"/>
              <a:gd name="connsiteX5116" fmla="*/ 1728449 w 6884782"/>
              <a:gd name="connsiteY5116" fmla="*/ 5108649 h 5973007"/>
              <a:gd name="connsiteX5117" fmla="*/ 1728294 w 6884782"/>
              <a:gd name="connsiteY5117" fmla="*/ 5111747 h 5973007"/>
              <a:gd name="connsiteX5118" fmla="*/ 1730463 w 6884782"/>
              <a:gd name="connsiteY5118" fmla="*/ 5114225 h 5973007"/>
              <a:gd name="connsiteX5119" fmla="*/ 1730463 w 6884782"/>
              <a:gd name="connsiteY5119" fmla="*/ 5117322 h 5973007"/>
              <a:gd name="connsiteX5120" fmla="*/ 1729533 w 6884782"/>
              <a:gd name="connsiteY5120" fmla="*/ 5117529 h 5973007"/>
              <a:gd name="connsiteX5121" fmla="*/ 1729688 w 6884782"/>
              <a:gd name="connsiteY5121" fmla="*/ 5116909 h 5973007"/>
              <a:gd name="connsiteX5122" fmla="*/ 1729379 w 6884782"/>
              <a:gd name="connsiteY5122" fmla="*/ 5114535 h 5973007"/>
              <a:gd name="connsiteX5123" fmla="*/ 1725661 w 6884782"/>
              <a:gd name="connsiteY5123" fmla="*/ 5109991 h 5973007"/>
              <a:gd name="connsiteX5124" fmla="*/ 1725816 w 6884782"/>
              <a:gd name="connsiteY5124" fmla="*/ 5108029 h 5973007"/>
              <a:gd name="connsiteX5125" fmla="*/ 1963117 w 6884782"/>
              <a:gd name="connsiteY5125" fmla="*/ 5107513 h 5973007"/>
              <a:gd name="connsiteX5126" fmla="*/ 1962962 w 6884782"/>
              <a:gd name="connsiteY5126" fmla="*/ 5109372 h 5973007"/>
              <a:gd name="connsiteX5127" fmla="*/ 1962033 w 6884782"/>
              <a:gd name="connsiteY5127" fmla="*/ 5107823 h 5973007"/>
              <a:gd name="connsiteX5128" fmla="*/ 1963117 w 6884782"/>
              <a:gd name="connsiteY5128" fmla="*/ 5107513 h 5973007"/>
              <a:gd name="connsiteX5129" fmla="*/ 1821696 w 6884782"/>
              <a:gd name="connsiteY5129" fmla="*/ 5106171 h 5973007"/>
              <a:gd name="connsiteX5130" fmla="*/ 1844312 w 6884782"/>
              <a:gd name="connsiteY5130" fmla="*/ 5115361 h 5973007"/>
              <a:gd name="connsiteX5131" fmla="*/ 1848803 w 6884782"/>
              <a:gd name="connsiteY5131" fmla="*/ 5121349 h 5973007"/>
              <a:gd name="connsiteX5132" fmla="*/ 1832539 w 6884782"/>
              <a:gd name="connsiteY5132" fmla="*/ 5119491 h 5973007"/>
              <a:gd name="connsiteX5133" fmla="*/ 1826189 w 6884782"/>
              <a:gd name="connsiteY5133" fmla="*/ 5135289 h 5973007"/>
              <a:gd name="connsiteX5134" fmla="*/ 1824175 w 6884782"/>
              <a:gd name="connsiteY5134" fmla="*/ 5131365 h 5973007"/>
              <a:gd name="connsiteX5135" fmla="*/ 1826034 w 6884782"/>
              <a:gd name="connsiteY5135" fmla="*/ 5115567 h 5973007"/>
              <a:gd name="connsiteX5136" fmla="*/ 1821696 w 6884782"/>
              <a:gd name="connsiteY5136" fmla="*/ 5106171 h 5973007"/>
              <a:gd name="connsiteX5137" fmla="*/ 1855154 w 6884782"/>
              <a:gd name="connsiteY5137" fmla="*/ 5105551 h 5973007"/>
              <a:gd name="connsiteX5138" fmla="*/ 1860731 w 6884782"/>
              <a:gd name="connsiteY5138" fmla="*/ 5110094 h 5973007"/>
              <a:gd name="connsiteX5139" fmla="*/ 1856703 w 6884782"/>
              <a:gd name="connsiteY5139" fmla="*/ 5109372 h 5973007"/>
              <a:gd name="connsiteX5140" fmla="*/ 1855154 w 6884782"/>
              <a:gd name="connsiteY5140" fmla="*/ 5105551 h 5973007"/>
              <a:gd name="connsiteX5141" fmla="*/ 1755401 w 6884782"/>
              <a:gd name="connsiteY5141" fmla="*/ 5105448 h 5973007"/>
              <a:gd name="connsiteX5142" fmla="*/ 1763146 w 6884782"/>
              <a:gd name="connsiteY5142" fmla="*/ 5107616 h 5973007"/>
              <a:gd name="connsiteX5143" fmla="*/ 1753387 w 6884782"/>
              <a:gd name="connsiteY5143" fmla="*/ 5123828 h 5973007"/>
              <a:gd name="connsiteX5144" fmla="*/ 1751374 w 6884782"/>
              <a:gd name="connsiteY5144" fmla="*/ 5119904 h 5973007"/>
              <a:gd name="connsiteX5145" fmla="*/ 1755401 w 6884782"/>
              <a:gd name="connsiteY5145" fmla="*/ 5105448 h 5973007"/>
              <a:gd name="connsiteX5146" fmla="*/ 1735729 w 6884782"/>
              <a:gd name="connsiteY5146" fmla="*/ 5105035 h 5973007"/>
              <a:gd name="connsiteX5147" fmla="*/ 1743009 w 6884782"/>
              <a:gd name="connsiteY5147" fmla="*/ 5132398 h 5973007"/>
              <a:gd name="connsiteX5148" fmla="*/ 1735729 w 6884782"/>
              <a:gd name="connsiteY5148" fmla="*/ 5105035 h 5973007"/>
              <a:gd name="connsiteX5149" fmla="*/ 1666955 w 6884782"/>
              <a:gd name="connsiteY5149" fmla="*/ 5105035 h 5973007"/>
              <a:gd name="connsiteX5150" fmla="*/ 1668349 w 6884782"/>
              <a:gd name="connsiteY5150" fmla="*/ 5105035 h 5973007"/>
              <a:gd name="connsiteX5151" fmla="*/ 1667575 w 6884782"/>
              <a:gd name="connsiteY5151" fmla="*/ 5105758 h 5973007"/>
              <a:gd name="connsiteX5152" fmla="*/ 1666955 w 6884782"/>
              <a:gd name="connsiteY5152" fmla="*/ 5105035 h 5973007"/>
              <a:gd name="connsiteX5153" fmla="*/ 1669433 w 6884782"/>
              <a:gd name="connsiteY5153" fmla="*/ 5104519 h 5973007"/>
              <a:gd name="connsiteX5154" fmla="*/ 1670828 w 6884782"/>
              <a:gd name="connsiteY5154" fmla="*/ 5107823 h 5973007"/>
              <a:gd name="connsiteX5155" fmla="*/ 1669433 w 6884782"/>
              <a:gd name="connsiteY5155" fmla="*/ 5108546 h 5973007"/>
              <a:gd name="connsiteX5156" fmla="*/ 1667265 w 6884782"/>
              <a:gd name="connsiteY5156" fmla="*/ 5107307 h 5973007"/>
              <a:gd name="connsiteX5157" fmla="*/ 2770159 w 6884782"/>
              <a:gd name="connsiteY5157" fmla="*/ 5103802 h 5973007"/>
              <a:gd name="connsiteX5158" fmla="*/ 2769335 w 6884782"/>
              <a:gd name="connsiteY5158" fmla="*/ 5104754 h 5973007"/>
              <a:gd name="connsiteX5159" fmla="*/ 2769816 w 6884782"/>
              <a:gd name="connsiteY5159" fmla="*/ 5104932 h 5973007"/>
              <a:gd name="connsiteX5160" fmla="*/ 2770126 w 6884782"/>
              <a:gd name="connsiteY5160" fmla="*/ 5108959 h 5973007"/>
              <a:gd name="connsiteX5161" fmla="*/ 2766873 w 6884782"/>
              <a:gd name="connsiteY5161" fmla="*/ 5110611 h 5973007"/>
              <a:gd name="connsiteX5162" fmla="*/ 2765250 w 6884782"/>
              <a:gd name="connsiteY5162" fmla="*/ 5109472 h 5973007"/>
              <a:gd name="connsiteX5163" fmla="*/ 2758990 w 6884782"/>
              <a:gd name="connsiteY5163" fmla="*/ 5116703 h 5973007"/>
              <a:gd name="connsiteX5164" fmla="*/ 2760213 w 6884782"/>
              <a:gd name="connsiteY5164" fmla="*/ 5119904 h 5973007"/>
              <a:gd name="connsiteX5165" fmla="*/ 2760522 w 6884782"/>
              <a:gd name="connsiteY5165" fmla="*/ 5121246 h 5973007"/>
              <a:gd name="connsiteX5166" fmla="*/ 2760832 w 6884782"/>
              <a:gd name="connsiteY5166" fmla="*/ 5121453 h 5973007"/>
              <a:gd name="connsiteX5167" fmla="*/ 2777716 w 6884782"/>
              <a:gd name="connsiteY5167" fmla="*/ 5134153 h 5973007"/>
              <a:gd name="connsiteX5168" fmla="*/ 2767338 w 6884782"/>
              <a:gd name="connsiteY5168" fmla="*/ 5133120 h 5973007"/>
              <a:gd name="connsiteX5169" fmla="*/ 2763310 w 6884782"/>
              <a:gd name="connsiteY5169" fmla="*/ 5131262 h 5973007"/>
              <a:gd name="connsiteX5170" fmla="*/ 2765944 w 6884782"/>
              <a:gd name="connsiteY5170" fmla="*/ 5137354 h 5973007"/>
              <a:gd name="connsiteX5171" fmla="*/ 2770900 w 6884782"/>
              <a:gd name="connsiteY5171" fmla="*/ 5145924 h 5973007"/>
              <a:gd name="connsiteX5172" fmla="*/ 2773999 w 6884782"/>
              <a:gd name="connsiteY5172" fmla="*/ 5160483 h 5973007"/>
              <a:gd name="connsiteX5173" fmla="*/ 2781278 w 6884782"/>
              <a:gd name="connsiteY5173" fmla="*/ 5181445 h 5973007"/>
              <a:gd name="connsiteX5174" fmla="*/ 2783602 w 6884782"/>
              <a:gd name="connsiteY5174" fmla="*/ 5186711 h 5973007"/>
              <a:gd name="connsiteX5175" fmla="*/ 2790418 w 6884782"/>
              <a:gd name="connsiteY5175" fmla="*/ 5183510 h 5973007"/>
              <a:gd name="connsiteX5176" fmla="*/ 2795994 w 6884782"/>
              <a:gd name="connsiteY5176" fmla="*/ 5199927 h 5973007"/>
              <a:gd name="connsiteX5177" fmla="*/ 2793206 w 6884782"/>
              <a:gd name="connsiteY5177" fmla="*/ 5206639 h 5973007"/>
              <a:gd name="connsiteX5178" fmla="*/ 2798937 w 6884782"/>
              <a:gd name="connsiteY5178" fmla="*/ 5217068 h 5973007"/>
              <a:gd name="connsiteX5179" fmla="*/ 2807146 w 6884782"/>
              <a:gd name="connsiteY5179" fmla="*/ 5233176 h 5973007"/>
              <a:gd name="connsiteX5180" fmla="*/ 2802189 w 6884782"/>
              <a:gd name="connsiteY5180" fmla="*/ 5233073 h 5973007"/>
              <a:gd name="connsiteX5181" fmla="*/ 2800950 w 6884782"/>
              <a:gd name="connsiteY5181" fmla="*/ 5234415 h 5973007"/>
              <a:gd name="connsiteX5182" fmla="*/ 2801725 w 6884782"/>
              <a:gd name="connsiteY5182" fmla="*/ 5235964 h 5973007"/>
              <a:gd name="connsiteX5183" fmla="*/ 2805752 w 6884782"/>
              <a:gd name="connsiteY5183" fmla="*/ 5238855 h 5973007"/>
              <a:gd name="connsiteX5184" fmla="*/ 2806527 w 6884782"/>
              <a:gd name="connsiteY5184" fmla="*/ 5239578 h 5973007"/>
              <a:gd name="connsiteX5185" fmla="*/ 2806682 w 6884782"/>
              <a:gd name="connsiteY5185" fmla="*/ 5239578 h 5973007"/>
              <a:gd name="connsiteX5186" fmla="*/ 2807920 w 6884782"/>
              <a:gd name="connsiteY5186" fmla="*/ 5234931 h 5973007"/>
              <a:gd name="connsiteX5187" fmla="*/ 2814271 w 6884782"/>
              <a:gd name="connsiteY5187" fmla="*/ 5243502 h 5973007"/>
              <a:gd name="connsiteX5188" fmla="*/ 2816440 w 6884782"/>
              <a:gd name="connsiteY5188" fmla="*/ 5243398 h 5973007"/>
              <a:gd name="connsiteX5189" fmla="*/ 2820932 w 6884782"/>
              <a:gd name="connsiteY5189" fmla="*/ 5245773 h 5973007"/>
              <a:gd name="connsiteX5190" fmla="*/ 2824030 w 6884782"/>
              <a:gd name="connsiteY5190" fmla="*/ 5253414 h 5973007"/>
              <a:gd name="connsiteX5191" fmla="*/ 2820777 w 6884782"/>
              <a:gd name="connsiteY5191" fmla="*/ 5254756 h 5973007"/>
              <a:gd name="connsiteX5192" fmla="*/ 2821242 w 6884782"/>
              <a:gd name="connsiteY5192" fmla="*/ 5255582 h 5973007"/>
              <a:gd name="connsiteX5193" fmla="*/ 2835028 w 6884782"/>
              <a:gd name="connsiteY5193" fmla="*/ 5277163 h 5973007"/>
              <a:gd name="connsiteX5194" fmla="*/ 2828832 w 6884782"/>
              <a:gd name="connsiteY5194" fmla="*/ 5276027 h 5973007"/>
              <a:gd name="connsiteX5195" fmla="*/ 2838900 w 6884782"/>
              <a:gd name="connsiteY5195" fmla="*/ 5284391 h 5973007"/>
              <a:gd name="connsiteX5196" fmla="*/ 2833169 w 6884782"/>
              <a:gd name="connsiteY5196" fmla="*/ 5280364 h 5973007"/>
              <a:gd name="connsiteX5197" fmla="*/ 2844321 w 6884782"/>
              <a:gd name="connsiteY5197" fmla="*/ 5296575 h 5973007"/>
              <a:gd name="connsiteX5198" fmla="*/ 2845251 w 6884782"/>
              <a:gd name="connsiteY5198" fmla="*/ 5293581 h 5973007"/>
              <a:gd name="connsiteX5199" fmla="*/ 2843237 w 6884782"/>
              <a:gd name="connsiteY5199" fmla="*/ 5292858 h 5973007"/>
              <a:gd name="connsiteX5200" fmla="*/ 2843702 w 6884782"/>
              <a:gd name="connsiteY5200" fmla="*/ 5288831 h 5973007"/>
              <a:gd name="connsiteX5201" fmla="*/ 2842772 w 6884782"/>
              <a:gd name="connsiteY5201" fmla="*/ 5286456 h 5973007"/>
              <a:gd name="connsiteX5202" fmla="*/ 2840759 w 6884782"/>
              <a:gd name="connsiteY5202" fmla="*/ 5280983 h 5973007"/>
              <a:gd name="connsiteX5203" fmla="*/ 2844321 w 6884782"/>
              <a:gd name="connsiteY5203" fmla="*/ 5278299 h 5973007"/>
              <a:gd name="connsiteX5204" fmla="*/ 2854389 w 6884782"/>
              <a:gd name="connsiteY5204" fmla="*/ 5289967 h 5973007"/>
              <a:gd name="connsiteX5205" fmla="*/ 2850362 w 6884782"/>
              <a:gd name="connsiteY5205" fmla="*/ 5292755 h 5973007"/>
              <a:gd name="connsiteX5206" fmla="*/ 2847729 w 6884782"/>
              <a:gd name="connsiteY5206" fmla="*/ 5292032 h 5973007"/>
              <a:gd name="connsiteX5207" fmla="*/ 2846490 w 6884782"/>
              <a:gd name="connsiteY5207" fmla="*/ 5293994 h 5973007"/>
              <a:gd name="connsiteX5208" fmla="*/ 2845715 w 6884782"/>
              <a:gd name="connsiteY5208" fmla="*/ 5293787 h 5973007"/>
              <a:gd name="connsiteX5209" fmla="*/ 2847419 w 6884782"/>
              <a:gd name="connsiteY5209" fmla="*/ 5297298 h 5973007"/>
              <a:gd name="connsiteX5210" fmla="*/ 2850362 w 6884782"/>
              <a:gd name="connsiteY5210" fmla="*/ 5302151 h 5973007"/>
              <a:gd name="connsiteX5211" fmla="*/ 2852686 w 6884782"/>
              <a:gd name="connsiteY5211" fmla="*/ 5306384 h 5973007"/>
              <a:gd name="connsiteX5212" fmla="*/ 2853150 w 6884782"/>
              <a:gd name="connsiteY5212" fmla="*/ 5305972 h 5973007"/>
              <a:gd name="connsiteX5213" fmla="*/ 2856868 w 6884782"/>
              <a:gd name="connsiteY5213" fmla="*/ 5306178 h 5973007"/>
              <a:gd name="connsiteX5214" fmla="*/ 2858262 w 6884782"/>
              <a:gd name="connsiteY5214" fmla="*/ 5307108 h 5973007"/>
              <a:gd name="connsiteX5215" fmla="*/ 2858107 w 6884782"/>
              <a:gd name="connsiteY5215" fmla="*/ 5311754 h 5973007"/>
              <a:gd name="connsiteX5216" fmla="*/ 2856868 w 6884782"/>
              <a:gd name="connsiteY5216" fmla="*/ 5312993 h 5973007"/>
              <a:gd name="connsiteX5217" fmla="*/ 2863838 w 6884782"/>
              <a:gd name="connsiteY5217" fmla="*/ 5320737 h 5973007"/>
              <a:gd name="connsiteX5218" fmla="*/ 2870809 w 6884782"/>
              <a:gd name="connsiteY5218" fmla="*/ 5322802 h 5973007"/>
              <a:gd name="connsiteX5219" fmla="*/ 2872048 w 6884782"/>
              <a:gd name="connsiteY5219" fmla="*/ 5330030 h 5973007"/>
              <a:gd name="connsiteX5220" fmla="*/ 2872822 w 6884782"/>
              <a:gd name="connsiteY5220" fmla="*/ 5330237 h 5973007"/>
              <a:gd name="connsiteX5221" fmla="*/ 2877469 w 6884782"/>
              <a:gd name="connsiteY5221" fmla="*/ 5325074 h 5973007"/>
              <a:gd name="connsiteX5222" fmla="*/ 2882426 w 6884782"/>
              <a:gd name="connsiteY5222" fmla="*/ 5321253 h 5973007"/>
              <a:gd name="connsiteX5223" fmla="*/ 2877934 w 6884782"/>
              <a:gd name="connsiteY5223" fmla="*/ 5317433 h 5973007"/>
              <a:gd name="connsiteX5224" fmla="*/ 2871273 w 6884782"/>
              <a:gd name="connsiteY5224" fmla="*/ 5308346 h 5973007"/>
              <a:gd name="connsiteX5225" fmla="*/ 2869724 w 6884782"/>
              <a:gd name="connsiteY5225" fmla="*/ 5304836 h 5973007"/>
              <a:gd name="connsiteX5226" fmla="*/ 2866626 w 6884782"/>
              <a:gd name="connsiteY5226" fmla="*/ 5305455 h 5973007"/>
              <a:gd name="connsiteX5227" fmla="*/ 2863683 w 6884782"/>
              <a:gd name="connsiteY5227" fmla="*/ 5303287 h 5973007"/>
              <a:gd name="connsiteX5228" fmla="*/ 2866007 w 6884782"/>
              <a:gd name="connsiteY5228" fmla="*/ 5298124 h 5973007"/>
              <a:gd name="connsiteX5229" fmla="*/ 2866781 w 6884782"/>
              <a:gd name="connsiteY5229" fmla="*/ 5298021 h 5973007"/>
              <a:gd name="connsiteX5230" fmla="*/ 2865077 w 6884782"/>
              <a:gd name="connsiteY5230" fmla="*/ 5287076 h 5973007"/>
              <a:gd name="connsiteX5231" fmla="*/ 2866317 w 6884782"/>
              <a:gd name="connsiteY5231" fmla="*/ 5276130 h 5973007"/>
              <a:gd name="connsiteX5232" fmla="*/ 2867091 w 6884782"/>
              <a:gd name="connsiteY5232" fmla="*/ 5274582 h 5973007"/>
              <a:gd name="connsiteX5233" fmla="*/ 2865542 w 6884782"/>
              <a:gd name="connsiteY5233" fmla="*/ 5271381 h 5973007"/>
              <a:gd name="connsiteX5234" fmla="*/ 2867401 w 6884782"/>
              <a:gd name="connsiteY5234" fmla="*/ 5266941 h 5973007"/>
              <a:gd name="connsiteX5235" fmla="*/ 2870189 w 6884782"/>
              <a:gd name="connsiteY5235" fmla="*/ 5268077 h 5973007"/>
              <a:gd name="connsiteX5236" fmla="*/ 2871118 w 6884782"/>
              <a:gd name="connsiteY5236" fmla="*/ 5266011 h 5973007"/>
              <a:gd name="connsiteX5237" fmla="*/ 2882735 w 6884782"/>
              <a:gd name="connsiteY5237" fmla="*/ 5267044 h 5973007"/>
              <a:gd name="connsiteX5238" fmla="*/ 2882890 w 6884782"/>
              <a:gd name="connsiteY5238" fmla="*/ 5267044 h 5973007"/>
              <a:gd name="connsiteX5239" fmla="*/ 2882890 w 6884782"/>
              <a:gd name="connsiteY5239" fmla="*/ 5265185 h 5973007"/>
              <a:gd name="connsiteX5240" fmla="*/ 2879173 w 6884782"/>
              <a:gd name="connsiteY5240" fmla="*/ 5262191 h 5973007"/>
              <a:gd name="connsiteX5241" fmla="*/ 2879638 w 6884782"/>
              <a:gd name="connsiteY5241" fmla="*/ 5254756 h 5973007"/>
              <a:gd name="connsiteX5242" fmla="*/ 2874991 w 6884782"/>
              <a:gd name="connsiteY5242" fmla="*/ 5245050 h 5973007"/>
              <a:gd name="connsiteX5243" fmla="*/ 2874216 w 6884782"/>
              <a:gd name="connsiteY5243" fmla="*/ 5249387 h 5973007"/>
              <a:gd name="connsiteX5244" fmla="*/ 2870809 w 6884782"/>
              <a:gd name="connsiteY5244" fmla="*/ 5239991 h 5973007"/>
              <a:gd name="connsiteX5245" fmla="*/ 2863529 w 6884782"/>
              <a:gd name="connsiteY5245" fmla="*/ 5231730 h 5973007"/>
              <a:gd name="connsiteX5246" fmla="*/ 2865387 w 6884782"/>
              <a:gd name="connsiteY5246" fmla="*/ 5228529 h 5973007"/>
              <a:gd name="connsiteX5247" fmla="*/ 2859656 w 6884782"/>
              <a:gd name="connsiteY5247" fmla="*/ 5228219 h 5973007"/>
              <a:gd name="connsiteX5248" fmla="*/ 2863838 w 6884782"/>
              <a:gd name="connsiteY5248" fmla="*/ 5224296 h 5973007"/>
              <a:gd name="connsiteX5249" fmla="*/ 2848813 w 6884782"/>
              <a:gd name="connsiteY5249" fmla="*/ 5217378 h 5973007"/>
              <a:gd name="connsiteX5250" fmla="*/ 2849898 w 6884782"/>
              <a:gd name="connsiteY5250" fmla="*/ 5207878 h 5973007"/>
              <a:gd name="connsiteX5251" fmla="*/ 2845406 w 6884782"/>
              <a:gd name="connsiteY5251" fmla="*/ 5202096 h 5973007"/>
              <a:gd name="connsiteX5252" fmla="*/ 2838745 w 6884782"/>
              <a:gd name="connsiteY5252" fmla="*/ 5202303 h 5973007"/>
              <a:gd name="connsiteX5253" fmla="*/ 2831775 w 6884782"/>
              <a:gd name="connsiteY5253" fmla="*/ 5188776 h 5973007"/>
              <a:gd name="connsiteX5254" fmla="*/ 2831155 w 6884782"/>
              <a:gd name="connsiteY5254" fmla="*/ 5179586 h 5973007"/>
              <a:gd name="connsiteX5255" fmla="*/ 2828367 w 6884782"/>
              <a:gd name="connsiteY5255" fmla="*/ 5174526 h 5973007"/>
              <a:gd name="connsiteX5256" fmla="*/ 2826973 w 6884782"/>
              <a:gd name="connsiteY5256" fmla="*/ 5176282 h 5973007"/>
              <a:gd name="connsiteX5257" fmla="*/ 2828212 w 6884782"/>
              <a:gd name="connsiteY5257" fmla="*/ 5176901 h 5973007"/>
              <a:gd name="connsiteX5258" fmla="*/ 2830071 w 6884782"/>
              <a:gd name="connsiteY5258" fmla="*/ 5180722 h 5973007"/>
              <a:gd name="connsiteX5259" fmla="*/ 2826818 w 6884782"/>
              <a:gd name="connsiteY5259" fmla="*/ 5177521 h 5973007"/>
              <a:gd name="connsiteX5260" fmla="*/ 2822791 w 6884782"/>
              <a:gd name="connsiteY5260" fmla="*/ 5190221 h 5973007"/>
              <a:gd name="connsiteX5261" fmla="*/ 2823875 w 6884782"/>
              <a:gd name="connsiteY5261" fmla="*/ 5195074 h 5973007"/>
              <a:gd name="connsiteX5262" fmla="*/ 2826354 w 6884782"/>
              <a:gd name="connsiteY5262" fmla="*/ 5194868 h 5973007"/>
              <a:gd name="connsiteX5263" fmla="*/ 2828677 w 6884782"/>
              <a:gd name="connsiteY5263" fmla="*/ 5195590 h 5973007"/>
              <a:gd name="connsiteX5264" fmla="*/ 2826818 w 6884782"/>
              <a:gd name="connsiteY5264" fmla="*/ 5197449 h 5973007"/>
              <a:gd name="connsiteX5265" fmla="*/ 2825734 w 6884782"/>
              <a:gd name="connsiteY5265" fmla="*/ 5197759 h 5973007"/>
              <a:gd name="connsiteX5266" fmla="*/ 2825424 w 6884782"/>
              <a:gd name="connsiteY5266" fmla="*/ 5198585 h 5973007"/>
              <a:gd name="connsiteX5267" fmla="*/ 2824650 w 6884782"/>
              <a:gd name="connsiteY5267" fmla="*/ 5198172 h 5973007"/>
              <a:gd name="connsiteX5268" fmla="*/ 2824495 w 6884782"/>
              <a:gd name="connsiteY5268" fmla="*/ 5198275 h 5973007"/>
              <a:gd name="connsiteX5269" fmla="*/ 2825424 w 6884782"/>
              <a:gd name="connsiteY5269" fmla="*/ 5202818 h 5973007"/>
              <a:gd name="connsiteX5270" fmla="*/ 2825579 w 6884782"/>
              <a:gd name="connsiteY5270" fmla="*/ 5202818 h 5973007"/>
              <a:gd name="connsiteX5271" fmla="*/ 2833788 w 6884782"/>
              <a:gd name="connsiteY5271" fmla="*/ 5204161 h 5973007"/>
              <a:gd name="connsiteX5272" fmla="*/ 2846645 w 6884782"/>
              <a:gd name="connsiteY5272" fmla="*/ 5227497 h 5973007"/>
              <a:gd name="connsiteX5273" fmla="*/ 2844631 w 6884782"/>
              <a:gd name="connsiteY5273" fmla="*/ 5229459 h 5973007"/>
              <a:gd name="connsiteX5274" fmla="*/ 2836267 w 6884782"/>
              <a:gd name="connsiteY5274" fmla="*/ 5231008 h 5973007"/>
              <a:gd name="connsiteX5275" fmla="*/ 2817060 w 6884782"/>
              <a:gd name="connsiteY5275" fmla="*/ 5216655 h 5973007"/>
              <a:gd name="connsiteX5276" fmla="*/ 2815821 w 6884782"/>
              <a:gd name="connsiteY5276" fmla="*/ 5211182 h 5973007"/>
              <a:gd name="connsiteX5277" fmla="*/ 2816440 w 6884782"/>
              <a:gd name="connsiteY5277" fmla="*/ 5205813 h 5973007"/>
              <a:gd name="connsiteX5278" fmla="*/ 2815356 w 6884782"/>
              <a:gd name="connsiteY5278" fmla="*/ 5205710 h 5973007"/>
              <a:gd name="connsiteX5279" fmla="*/ 2812878 w 6884782"/>
              <a:gd name="connsiteY5279" fmla="*/ 5202922 h 5973007"/>
              <a:gd name="connsiteX5280" fmla="*/ 2812878 w 6884782"/>
              <a:gd name="connsiteY5280" fmla="*/ 5202612 h 5973007"/>
              <a:gd name="connsiteX5281" fmla="*/ 2812103 w 6884782"/>
              <a:gd name="connsiteY5281" fmla="*/ 5202612 h 5973007"/>
              <a:gd name="connsiteX5282" fmla="*/ 2811328 w 6884782"/>
              <a:gd name="connsiteY5282" fmla="*/ 5200237 h 5973007"/>
              <a:gd name="connsiteX5283" fmla="*/ 2809160 w 6884782"/>
              <a:gd name="connsiteY5283" fmla="*/ 5200857 h 5973007"/>
              <a:gd name="connsiteX5284" fmla="*/ 2799711 w 6884782"/>
              <a:gd name="connsiteY5284" fmla="*/ 5194558 h 5973007"/>
              <a:gd name="connsiteX5285" fmla="*/ 2799092 w 6884782"/>
              <a:gd name="connsiteY5285" fmla="*/ 5189395 h 5973007"/>
              <a:gd name="connsiteX5286" fmla="*/ 2799401 w 6884782"/>
              <a:gd name="connsiteY5286" fmla="*/ 5188879 h 5973007"/>
              <a:gd name="connsiteX5287" fmla="*/ 2795994 w 6884782"/>
              <a:gd name="connsiteY5287" fmla="*/ 5188053 h 5973007"/>
              <a:gd name="connsiteX5288" fmla="*/ 2797543 w 6884782"/>
              <a:gd name="connsiteY5288" fmla="*/ 5182684 h 5973007"/>
              <a:gd name="connsiteX5289" fmla="*/ 2805442 w 6884782"/>
              <a:gd name="connsiteY5289" fmla="*/ 5184439 h 5973007"/>
              <a:gd name="connsiteX5290" fmla="*/ 2806836 w 6884782"/>
              <a:gd name="connsiteY5290" fmla="*/ 5185058 h 5973007"/>
              <a:gd name="connsiteX5291" fmla="*/ 2809160 w 6884782"/>
              <a:gd name="connsiteY5291" fmla="*/ 5185265 h 5973007"/>
              <a:gd name="connsiteX5292" fmla="*/ 2813652 w 6884782"/>
              <a:gd name="connsiteY5292" fmla="*/ 5188982 h 5973007"/>
              <a:gd name="connsiteX5293" fmla="*/ 2815046 w 6884782"/>
              <a:gd name="connsiteY5293" fmla="*/ 5194145 h 5973007"/>
              <a:gd name="connsiteX5294" fmla="*/ 2814426 w 6884782"/>
              <a:gd name="connsiteY5294" fmla="*/ 5197036 h 5973007"/>
              <a:gd name="connsiteX5295" fmla="*/ 2818764 w 6884782"/>
              <a:gd name="connsiteY5295" fmla="*/ 5194868 h 5973007"/>
              <a:gd name="connsiteX5296" fmla="*/ 2819073 w 6884782"/>
              <a:gd name="connsiteY5296" fmla="*/ 5196107 h 5973007"/>
              <a:gd name="connsiteX5297" fmla="*/ 2820157 w 6884782"/>
              <a:gd name="connsiteY5297" fmla="*/ 5195797 h 5973007"/>
              <a:gd name="connsiteX5298" fmla="*/ 2819383 w 6884782"/>
              <a:gd name="connsiteY5298" fmla="*/ 5193525 h 5973007"/>
              <a:gd name="connsiteX5299" fmla="*/ 2819538 w 6884782"/>
              <a:gd name="connsiteY5299" fmla="*/ 5186504 h 5973007"/>
              <a:gd name="connsiteX5300" fmla="*/ 2816440 w 6884782"/>
              <a:gd name="connsiteY5300" fmla="*/ 5184439 h 5973007"/>
              <a:gd name="connsiteX5301" fmla="*/ 2814271 w 6884782"/>
              <a:gd name="connsiteY5301" fmla="*/ 5181754 h 5973007"/>
              <a:gd name="connsiteX5302" fmla="*/ 2813807 w 6884782"/>
              <a:gd name="connsiteY5302" fmla="*/ 5181961 h 5973007"/>
              <a:gd name="connsiteX5303" fmla="*/ 2797853 w 6884782"/>
              <a:gd name="connsiteY5303" fmla="*/ 5176488 h 5973007"/>
              <a:gd name="connsiteX5304" fmla="*/ 2797233 w 6884782"/>
              <a:gd name="connsiteY5304" fmla="*/ 5175766 h 5973007"/>
              <a:gd name="connsiteX5305" fmla="*/ 2797697 w 6884782"/>
              <a:gd name="connsiteY5305" fmla="*/ 5177108 h 5973007"/>
              <a:gd name="connsiteX5306" fmla="*/ 2796768 w 6884782"/>
              <a:gd name="connsiteY5306" fmla="*/ 5178863 h 5973007"/>
              <a:gd name="connsiteX5307" fmla="*/ 2793980 w 6884782"/>
              <a:gd name="connsiteY5307" fmla="*/ 5181754 h 5973007"/>
              <a:gd name="connsiteX5308" fmla="*/ 2791037 w 6884782"/>
              <a:gd name="connsiteY5308" fmla="*/ 5180206 h 5973007"/>
              <a:gd name="connsiteX5309" fmla="*/ 2790418 w 6884782"/>
              <a:gd name="connsiteY5309" fmla="*/ 5176488 h 5973007"/>
              <a:gd name="connsiteX5310" fmla="*/ 2793206 w 6884782"/>
              <a:gd name="connsiteY5310" fmla="*/ 5170293 h 5973007"/>
              <a:gd name="connsiteX5311" fmla="*/ 2794445 w 6884782"/>
              <a:gd name="connsiteY5311" fmla="*/ 5171222 h 5973007"/>
              <a:gd name="connsiteX5312" fmla="*/ 2795994 w 6884782"/>
              <a:gd name="connsiteY5312" fmla="*/ 5168641 h 5973007"/>
              <a:gd name="connsiteX5313" fmla="*/ 2795839 w 6884782"/>
              <a:gd name="connsiteY5313" fmla="*/ 5168744 h 5973007"/>
              <a:gd name="connsiteX5314" fmla="*/ 2795064 w 6884782"/>
              <a:gd name="connsiteY5314" fmla="*/ 5161826 h 5973007"/>
              <a:gd name="connsiteX5315" fmla="*/ 2792431 w 6884782"/>
              <a:gd name="connsiteY5315" fmla="*/ 5158728 h 5973007"/>
              <a:gd name="connsiteX5316" fmla="*/ 2789488 w 6884782"/>
              <a:gd name="connsiteY5316" fmla="*/ 5158521 h 5973007"/>
              <a:gd name="connsiteX5317" fmla="*/ 2776631 w 6884782"/>
              <a:gd name="connsiteY5317" fmla="*/ 5143137 h 5973007"/>
              <a:gd name="connsiteX5318" fmla="*/ 2787164 w 6884782"/>
              <a:gd name="connsiteY5318" fmla="*/ 5149022 h 5973007"/>
              <a:gd name="connsiteX5319" fmla="*/ 2792122 w 6884782"/>
              <a:gd name="connsiteY5319" fmla="*/ 5153152 h 5973007"/>
              <a:gd name="connsiteX5320" fmla="*/ 2792896 w 6884782"/>
              <a:gd name="connsiteY5320" fmla="*/ 5154288 h 5973007"/>
              <a:gd name="connsiteX5321" fmla="*/ 2793515 w 6884782"/>
              <a:gd name="connsiteY5321" fmla="*/ 5152739 h 5973007"/>
              <a:gd name="connsiteX5322" fmla="*/ 2787320 w 6884782"/>
              <a:gd name="connsiteY5322" fmla="*/ 5142723 h 5973007"/>
              <a:gd name="connsiteX5323" fmla="*/ 2780659 w 6884782"/>
              <a:gd name="connsiteY5323" fmla="*/ 5145202 h 5973007"/>
              <a:gd name="connsiteX5324" fmla="*/ 2775857 w 6884782"/>
              <a:gd name="connsiteY5324" fmla="*/ 5121040 h 5973007"/>
              <a:gd name="connsiteX5325" fmla="*/ 2774928 w 6884782"/>
              <a:gd name="connsiteY5325" fmla="*/ 5117116 h 5973007"/>
              <a:gd name="connsiteX5326" fmla="*/ 2774153 w 6884782"/>
              <a:gd name="connsiteY5326" fmla="*/ 5117219 h 5973007"/>
              <a:gd name="connsiteX5327" fmla="*/ 2772759 w 6884782"/>
              <a:gd name="connsiteY5327" fmla="*/ 5116083 h 5973007"/>
              <a:gd name="connsiteX5328" fmla="*/ 2770126 w 6884782"/>
              <a:gd name="connsiteY5328" fmla="*/ 5116496 h 5973007"/>
              <a:gd name="connsiteX5329" fmla="*/ 2769507 w 6884782"/>
              <a:gd name="connsiteY5329" fmla="*/ 5115051 h 5973007"/>
              <a:gd name="connsiteX5330" fmla="*/ 2771830 w 6884782"/>
              <a:gd name="connsiteY5330" fmla="*/ 5114741 h 5973007"/>
              <a:gd name="connsiteX5331" fmla="*/ 2774153 w 6884782"/>
              <a:gd name="connsiteY5331" fmla="*/ 5114225 h 5973007"/>
              <a:gd name="connsiteX5332" fmla="*/ 2772914 w 6884782"/>
              <a:gd name="connsiteY5332" fmla="*/ 5108649 h 5973007"/>
              <a:gd name="connsiteX5333" fmla="*/ 2020351 w 6884782"/>
              <a:gd name="connsiteY5333" fmla="*/ 5103512 h 5973007"/>
              <a:gd name="connsiteX5334" fmla="*/ 2026779 w 6884782"/>
              <a:gd name="connsiteY5334" fmla="*/ 5106274 h 5973007"/>
              <a:gd name="connsiteX5335" fmla="*/ 2021358 w 6884782"/>
              <a:gd name="connsiteY5335" fmla="*/ 5110198 h 5973007"/>
              <a:gd name="connsiteX5336" fmla="*/ 2015471 w 6884782"/>
              <a:gd name="connsiteY5336" fmla="*/ 5108546 h 5973007"/>
              <a:gd name="connsiteX5337" fmla="*/ 2014852 w 6884782"/>
              <a:gd name="connsiteY5337" fmla="*/ 5104622 h 5973007"/>
              <a:gd name="connsiteX5338" fmla="*/ 2020351 w 6884782"/>
              <a:gd name="connsiteY5338" fmla="*/ 5103512 h 5973007"/>
              <a:gd name="connsiteX5339" fmla="*/ 2288283 w 6884782"/>
              <a:gd name="connsiteY5339" fmla="*/ 5100801 h 5973007"/>
              <a:gd name="connsiteX5340" fmla="*/ 2290413 w 6884782"/>
              <a:gd name="connsiteY5340" fmla="*/ 5106687 h 5973007"/>
              <a:gd name="connsiteX5341" fmla="*/ 2287469 w 6884782"/>
              <a:gd name="connsiteY5341" fmla="*/ 5111540 h 5973007"/>
              <a:gd name="connsiteX5342" fmla="*/ 2285456 w 6884782"/>
              <a:gd name="connsiteY5342" fmla="*/ 5110611 h 5973007"/>
              <a:gd name="connsiteX5343" fmla="*/ 2285146 w 6884782"/>
              <a:gd name="connsiteY5343" fmla="*/ 5110404 h 5973007"/>
              <a:gd name="connsiteX5344" fmla="*/ 2282204 w 6884782"/>
              <a:gd name="connsiteY5344" fmla="*/ 5114741 h 5973007"/>
              <a:gd name="connsiteX5345" fmla="*/ 2280344 w 6884782"/>
              <a:gd name="connsiteY5345" fmla="*/ 5112263 h 5973007"/>
              <a:gd name="connsiteX5346" fmla="*/ 2280344 w 6884782"/>
              <a:gd name="connsiteY5346" fmla="*/ 5107100 h 5973007"/>
              <a:gd name="connsiteX5347" fmla="*/ 2281739 w 6884782"/>
              <a:gd name="connsiteY5347" fmla="*/ 5105035 h 5973007"/>
              <a:gd name="connsiteX5348" fmla="*/ 2281274 w 6884782"/>
              <a:gd name="connsiteY5348" fmla="*/ 5103899 h 5973007"/>
              <a:gd name="connsiteX5349" fmla="*/ 2288283 w 6884782"/>
              <a:gd name="connsiteY5349" fmla="*/ 5100801 h 5973007"/>
              <a:gd name="connsiteX5350" fmla="*/ 1678108 w 6884782"/>
              <a:gd name="connsiteY5350" fmla="*/ 5100388 h 5973007"/>
              <a:gd name="connsiteX5351" fmla="*/ 1679966 w 6884782"/>
              <a:gd name="connsiteY5351" fmla="*/ 5102041 h 5973007"/>
              <a:gd name="connsiteX5352" fmla="*/ 1680741 w 6884782"/>
              <a:gd name="connsiteY5352" fmla="*/ 5107204 h 5973007"/>
              <a:gd name="connsiteX5353" fmla="*/ 1679192 w 6884782"/>
              <a:gd name="connsiteY5353" fmla="*/ 5108133 h 5973007"/>
              <a:gd name="connsiteX5354" fmla="*/ 1676559 w 6884782"/>
              <a:gd name="connsiteY5354" fmla="*/ 5101421 h 5973007"/>
              <a:gd name="connsiteX5355" fmla="*/ 1678108 w 6884782"/>
              <a:gd name="connsiteY5355" fmla="*/ 5100388 h 5973007"/>
              <a:gd name="connsiteX5356" fmla="*/ 2612287 w 6884782"/>
              <a:gd name="connsiteY5356" fmla="*/ 5099872 h 5973007"/>
              <a:gd name="connsiteX5357" fmla="*/ 2614455 w 6884782"/>
              <a:gd name="connsiteY5357" fmla="*/ 5103486 h 5973007"/>
              <a:gd name="connsiteX5358" fmla="*/ 2614300 w 6884782"/>
              <a:gd name="connsiteY5358" fmla="*/ 5104209 h 5973007"/>
              <a:gd name="connsiteX5359" fmla="*/ 2615075 w 6884782"/>
              <a:gd name="connsiteY5359" fmla="*/ 5104932 h 5973007"/>
              <a:gd name="connsiteX5360" fmla="*/ 2613836 w 6884782"/>
              <a:gd name="connsiteY5360" fmla="*/ 5105758 h 5973007"/>
              <a:gd name="connsiteX5361" fmla="*/ 2613526 w 6884782"/>
              <a:gd name="connsiteY5361" fmla="*/ 5107100 h 5973007"/>
              <a:gd name="connsiteX5362" fmla="*/ 2608569 w 6884782"/>
              <a:gd name="connsiteY5362" fmla="*/ 5105448 h 5973007"/>
              <a:gd name="connsiteX5363" fmla="*/ 2607175 w 6884782"/>
              <a:gd name="connsiteY5363" fmla="*/ 5102660 h 5973007"/>
              <a:gd name="connsiteX5364" fmla="*/ 2608879 w 6884782"/>
              <a:gd name="connsiteY5364" fmla="*/ 5100285 h 5973007"/>
              <a:gd name="connsiteX5365" fmla="*/ 2612287 w 6884782"/>
              <a:gd name="connsiteY5365" fmla="*/ 5099872 h 5973007"/>
              <a:gd name="connsiteX5366" fmla="*/ 1544006 w 6884782"/>
              <a:gd name="connsiteY5366" fmla="*/ 5099833 h 5973007"/>
              <a:gd name="connsiteX5367" fmla="*/ 1549234 w 6884782"/>
              <a:gd name="connsiteY5367" fmla="*/ 5103176 h 5973007"/>
              <a:gd name="connsiteX5368" fmla="*/ 1543658 w 6884782"/>
              <a:gd name="connsiteY5368" fmla="*/ 5109372 h 5973007"/>
              <a:gd name="connsiteX5369" fmla="*/ 1537307 w 6884782"/>
              <a:gd name="connsiteY5369" fmla="*/ 5106790 h 5973007"/>
              <a:gd name="connsiteX5370" fmla="*/ 1536687 w 6884782"/>
              <a:gd name="connsiteY5370" fmla="*/ 5101834 h 5973007"/>
              <a:gd name="connsiteX5371" fmla="*/ 1544006 w 6884782"/>
              <a:gd name="connsiteY5371" fmla="*/ 5099833 h 5973007"/>
              <a:gd name="connsiteX5372" fmla="*/ 2311943 w 6884782"/>
              <a:gd name="connsiteY5372" fmla="*/ 5099046 h 5973007"/>
              <a:gd name="connsiteX5373" fmla="*/ 2312872 w 6884782"/>
              <a:gd name="connsiteY5373" fmla="*/ 5099046 h 5973007"/>
              <a:gd name="connsiteX5374" fmla="*/ 2312562 w 6884782"/>
              <a:gd name="connsiteY5374" fmla="*/ 5109681 h 5973007"/>
              <a:gd name="connsiteX5375" fmla="*/ 2311323 w 6884782"/>
              <a:gd name="connsiteY5375" fmla="*/ 5110714 h 5973007"/>
              <a:gd name="connsiteX5376" fmla="*/ 2309310 w 6884782"/>
              <a:gd name="connsiteY5376" fmla="*/ 5109888 h 5973007"/>
              <a:gd name="connsiteX5377" fmla="*/ 2308690 w 6884782"/>
              <a:gd name="connsiteY5377" fmla="*/ 5105448 h 5973007"/>
              <a:gd name="connsiteX5378" fmla="*/ 2311478 w 6884782"/>
              <a:gd name="connsiteY5378" fmla="*/ 5101834 h 5973007"/>
              <a:gd name="connsiteX5379" fmla="*/ 2311943 w 6884782"/>
              <a:gd name="connsiteY5379" fmla="*/ 5099046 h 5973007"/>
              <a:gd name="connsiteX5380" fmla="*/ 2147289 w 6884782"/>
              <a:gd name="connsiteY5380" fmla="*/ 5098943 h 5973007"/>
              <a:gd name="connsiteX5381" fmla="*/ 2151006 w 6884782"/>
              <a:gd name="connsiteY5381" fmla="*/ 5099149 h 5973007"/>
              <a:gd name="connsiteX5382" fmla="*/ 2150542 w 6884782"/>
              <a:gd name="connsiteY5382" fmla="*/ 5104519 h 5973007"/>
              <a:gd name="connsiteX5383" fmla="*/ 2146669 w 6884782"/>
              <a:gd name="connsiteY5383" fmla="*/ 5104415 h 5973007"/>
              <a:gd name="connsiteX5384" fmla="*/ 2147289 w 6884782"/>
              <a:gd name="connsiteY5384" fmla="*/ 5098943 h 5973007"/>
              <a:gd name="connsiteX5385" fmla="*/ 1749360 w 6884782"/>
              <a:gd name="connsiteY5385" fmla="*/ 5098323 h 5973007"/>
              <a:gd name="connsiteX5386" fmla="*/ 1752923 w 6884782"/>
              <a:gd name="connsiteY5386" fmla="*/ 5105551 h 5973007"/>
              <a:gd name="connsiteX5387" fmla="*/ 1747656 w 6884782"/>
              <a:gd name="connsiteY5387" fmla="*/ 5113295 h 5973007"/>
              <a:gd name="connsiteX5388" fmla="*/ 1745797 w 6884782"/>
              <a:gd name="connsiteY5388" fmla="*/ 5109269 h 5973007"/>
              <a:gd name="connsiteX5389" fmla="*/ 1749360 w 6884782"/>
              <a:gd name="connsiteY5389" fmla="*/ 5098323 h 5973007"/>
              <a:gd name="connsiteX5390" fmla="*/ 2351287 w 6884782"/>
              <a:gd name="connsiteY5390" fmla="*/ 5097807 h 5973007"/>
              <a:gd name="connsiteX5391" fmla="*/ 2360270 w 6884782"/>
              <a:gd name="connsiteY5391" fmla="*/ 5099562 h 5973007"/>
              <a:gd name="connsiteX5392" fmla="*/ 2357792 w 6884782"/>
              <a:gd name="connsiteY5392" fmla="*/ 5111024 h 5973007"/>
              <a:gd name="connsiteX5393" fmla="*/ 2358102 w 6884782"/>
              <a:gd name="connsiteY5393" fmla="*/ 5112573 h 5973007"/>
              <a:gd name="connsiteX5394" fmla="*/ 2357637 w 6884782"/>
              <a:gd name="connsiteY5394" fmla="*/ 5114741 h 5973007"/>
              <a:gd name="connsiteX5395" fmla="*/ 2356863 w 6884782"/>
              <a:gd name="connsiteY5395" fmla="*/ 5115154 h 5973007"/>
              <a:gd name="connsiteX5396" fmla="*/ 2355314 w 6884782"/>
              <a:gd name="connsiteY5396" fmla="*/ 5122176 h 5973007"/>
              <a:gd name="connsiteX5397" fmla="*/ 2350357 w 6884782"/>
              <a:gd name="connsiteY5397" fmla="*/ 5142723 h 5973007"/>
              <a:gd name="connsiteX5398" fmla="*/ 2351287 w 6884782"/>
              <a:gd name="connsiteY5398" fmla="*/ 5097807 h 5973007"/>
              <a:gd name="connsiteX5399" fmla="*/ 1622500 w 6884782"/>
              <a:gd name="connsiteY5399" fmla="*/ 5097704 h 5973007"/>
              <a:gd name="connsiteX5400" fmla="*/ 1630400 w 6884782"/>
              <a:gd name="connsiteY5400" fmla="*/ 5107100 h 5973007"/>
              <a:gd name="connsiteX5401" fmla="*/ 1628696 w 6884782"/>
              <a:gd name="connsiteY5401" fmla="*/ 5110714 h 5973007"/>
              <a:gd name="connsiteX5402" fmla="*/ 1620951 w 6884782"/>
              <a:gd name="connsiteY5402" fmla="*/ 5104209 h 5973007"/>
              <a:gd name="connsiteX5403" fmla="*/ 1619867 w 6884782"/>
              <a:gd name="connsiteY5403" fmla="*/ 5101214 h 5973007"/>
              <a:gd name="connsiteX5404" fmla="*/ 1622500 w 6884782"/>
              <a:gd name="connsiteY5404" fmla="*/ 5097704 h 5973007"/>
              <a:gd name="connsiteX5405" fmla="*/ 1768993 w 6884782"/>
              <a:gd name="connsiteY5405" fmla="*/ 5096555 h 5973007"/>
              <a:gd name="connsiteX5406" fmla="*/ 1775228 w 6884782"/>
              <a:gd name="connsiteY5406" fmla="*/ 5098220 h 5973007"/>
              <a:gd name="connsiteX5407" fmla="*/ 1769497 w 6884782"/>
              <a:gd name="connsiteY5407" fmla="*/ 5103176 h 5973007"/>
              <a:gd name="connsiteX5408" fmla="*/ 1768993 w 6884782"/>
              <a:gd name="connsiteY5408" fmla="*/ 5096555 h 5973007"/>
              <a:gd name="connsiteX5409" fmla="*/ 2085795 w 6884782"/>
              <a:gd name="connsiteY5409" fmla="*/ 5096465 h 5973007"/>
              <a:gd name="connsiteX5410" fmla="*/ 2088273 w 6884782"/>
              <a:gd name="connsiteY5410" fmla="*/ 5099769 h 5973007"/>
              <a:gd name="connsiteX5411" fmla="*/ 2086105 w 6884782"/>
              <a:gd name="connsiteY5411" fmla="*/ 5107100 h 5973007"/>
              <a:gd name="connsiteX5412" fmla="*/ 2077430 w 6884782"/>
              <a:gd name="connsiteY5412" fmla="*/ 5104828 h 5973007"/>
              <a:gd name="connsiteX5413" fmla="*/ 2085795 w 6884782"/>
              <a:gd name="connsiteY5413" fmla="*/ 5096465 h 5973007"/>
              <a:gd name="connsiteX5414" fmla="*/ 1791802 w 6884782"/>
              <a:gd name="connsiteY5414" fmla="*/ 5096465 h 5973007"/>
              <a:gd name="connsiteX5415" fmla="*/ 1802489 w 6884782"/>
              <a:gd name="connsiteY5415" fmla="*/ 5100182 h 5973007"/>
              <a:gd name="connsiteX5416" fmla="*/ 1808221 w 6884782"/>
              <a:gd name="connsiteY5416" fmla="*/ 5111643 h 5973007"/>
              <a:gd name="connsiteX5417" fmla="*/ 1807291 w 6884782"/>
              <a:gd name="connsiteY5417" fmla="*/ 5114225 h 5973007"/>
              <a:gd name="connsiteX5418" fmla="*/ 1809150 w 6884782"/>
              <a:gd name="connsiteY5418" fmla="*/ 5115980 h 5973007"/>
              <a:gd name="connsiteX5419" fmla="*/ 1807291 w 6884782"/>
              <a:gd name="connsiteY5419" fmla="*/ 5128784 h 5973007"/>
              <a:gd name="connsiteX5420" fmla="*/ 1799546 w 6884782"/>
              <a:gd name="connsiteY5420" fmla="*/ 5130436 h 5973007"/>
              <a:gd name="connsiteX5421" fmla="*/ 1796448 w 6884782"/>
              <a:gd name="connsiteY5421" fmla="*/ 5129197 h 5973007"/>
              <a:gd name="connsiteX5422" fmla="*/ 1800476 w 6884782"/>
              <a:gd name="connsiteY5422" fmla="*/ 5120730 h 5973007"/>
              <a:gd name="connsiteX5423" fmla="*/ 1801250 w 6884782"/>
              <a:gd name="connsiteY5423" fmla="*/ 5118458 h 5973007"/>
              <a:gd name="connsiteX5424" fmla="*/ 1798617 w 6884782"/>
              <a:gd name="connsiteY5424" fmla="*/ 5119181 h 5973007"/>
              <a:gd name="connsiteX5425" fmla="*/ 1793041 w 6884782"/>
              <a:gd name="connsiteY5425" fmla="*/ 5117322 h 5973007"/>
              <a:gd name="connsiteX5426" fmla="*/ 1789168 w 6884782"/>
              <a:gd name="connsiteY5426" fmla="*/ 5101834 h 5973007"/>
              <a:gd name="connsiteX5427" fmla="*/ 1790562 w 6884782"/>
              <a:gd name="connsiteY5427" fmla="*/ 5099975 h 5973007"/>
              <a:gd name="connsiteX5428" fmla="*/ 1791802 w 6884782"/>
              <a:gd name="connsiteY5428" fmla="*/ 5096465 h 5973007"/>
              <a:gd name="connsiteX5429" fmla="*/ 2564211 w 6884782"/>
              <a:gd name="connsiteY5429" fmla="*/ 5096310 h 5973007"/>
              <a:gd name="connsiteX5430" fmla="*/ 2570155 w 6884782"/>
              <a:gd name="connsiteY5430" fmla="*/ 5096671 h 5973007"/>
              <a:gd name="connsiteX5431" fmla="*/ 2570155 w 6884782"/>
              <a:gd name="connsiteY5431" fmla="*/ 5099252 h 5973007"/>
              <a:gd name="connsiteX5432" fmla="*/ 2563649 w 6884782"/>
              <a:gd name="connsiteY5432" fmla="*/ 5103280 h 5973007"/>
              <a:gd name="connsiteX5433" fmla="*/ 2561636 w 6884782"/>
              <a:gd name="connsiteY5433" fmla="*/ 5102144 h 5973007"/>
              <a:gd name="connsiteX5434" fmla="*/ 2564211 w 6884782"/>
              <a:gd name="connsiteY5434" fmla="*/ 5096310 h 5973007"/>
              <a:gd name="connsiteX5435" fmla="*/ 1908593 w 6884782"/>
              <a:gd name="connsiteY5435" fmla="*/ 5095948 h 5973007"/>
              <a:gd name="connsiteX5436" fmla="*/ 1912156 w 6884782"/>
              <a:gd name="connsiteY5436" fmla="*/ 5095948 h 5973007"/>
              <a:gd name="connsiteX5437" fmla="*/ 1911691 w 6884782"/>
              <a:gd name="connsiteY5437" fmla="*/ 5106687 h 5973007"/>
              <a:gd name="connsiteX5438" fmla="*/ 1906424 w 6884782"/>
              <a:gd name="connsiteY5438" fmla="*/ 5106481 h 5973007"/>
              <a:gd name="connsiteX5439" fmla="*/ 1908593 w 6884782"/>
              <a:gd name="connsiteY5439" fmla="*/ 5095948 h 5973007"/>
              <a:gd name="connsiteX5440" fmla="*/ 1484332 w 6884782"/>
              <a:gd name="connsiteY5440" fmla="*/ 5095122 h 5973007"/>
              <a:gd name="connsiteX5441" fmla="*/ 1485881 w 6884782"/>
              <a:gd name="connsiteY5441" fmla="*/ 5095948 h 5973007"/>
              <a:gd name="connsiteX5442" fmla="*/ 1487585 w 6884782"/>
              <a:gd name="connsiteY5442" fmla="*/ 5095948 h 5973007"/>
              <a:gd name="connsiteX5443" fmla="*/ 1487431 w 6884782"/>
              <a:gd name="connsiteY5443" fmla="*/ 5096878 h 5973007"/>
              <a:gd name="connsiteX5444" fmla="*/ 1488204 w 6884782"/>
              <a:gd name="connsiteY5444" fmla="*/ 5097807 h 5973007"/>
              <a:gd name="connsiteX5445" fmla="*/ 1486191 w 6884782"/>
              <a:gd name="connsiteY5445" fmla="*/ 5101318 h 5973007"/>
              <a:gd name="connsiteX5446" fmla="*/ 1484332 w 6884782"/>
              <a:gd name="connsiteY5446" fmla="*/ 5102350 h 5973007"/>
              <a:gd name="connsiteX5447" fmla="*/ 1482784 w 6884782"/>
              <a:gd name="connsiteY5447" fmla="*/ 5102041 h 5973007"/>
              <a:gd name="connsiteX5448" fmla="*/ 1482164 w 6884782"/>
              <a:gd name="connsiteY5448" fmla="*/ 5100285 h 5973007"/>
              <a:gd name="connsiteX5449" fmla="*/ 1482474 w 6884782"/>
              <a:gd name="connsiteY5449" fmla="*/ 5096775 h 5973007"/>
              <a:gd name="connsiteX5450" fmla="*/ 1484332 w 6884782"/>
              <a:gd name="connsiteY5450" fmla="*/ 5095122 h 5973007"/>
              <a:gd name="connsiteX5451" fmla="*/ 1926561 w 6884782"/>
              <a:gd name="connsiteY5451" fmla="*/ 5094709 h 5973007"/>
              <a:gd name="connsiteX5452" fmla="*/ 1934926 w 6884782"/>
              <a:gd name="connsiteY5452" fmla="*/ 5095948 h 5973007"/>
              <a:gd name="connsiteX5453" fmla="*/ 1931982 w 6884782"/>
              <a:gd name="connsiteY5453" fmla="*/ 5105242 h 5973007"/>
              <a:gd name="connsiteX5454" fmla="*/ 1926561 w 6884782"/>
              <a:gd name="connsiteY5454" fmla="*/ 5094709 h 5973007"/>
              <a:gd name="connsiteX5455" fmla="*/ 2091217 w 6884782"/>
              <a:gd name="connsiteY5455" fmla="*/ 5094606 h 5973007"/>
              <a:gd name="connsiteX5456" fmla="*/ 2099735 w 6884782"/>
              <a:gd name="connsiteY5456" fmla="*/ 5096671 h 5973007"/>
              <a:gd name="connsiteX5457" fmla="*/ 2100200 w 6884782"/>
              <a:gd name="connsiteY5457" fmla="*/ 5096878 h 5973007"/>
              <a:gd name="connsiteX5458" fmla="*/ 2101594 w 6884782"/>
              <a:gd name="connsiteY5458" fmla="*/ 5095122 h 5973007"/>
              <a:gd name="connsiteX5459" fmla="*/ 2106086 w 6884782"/>
              <a:gd name="connsiteY5459" fmla="*/ 5094709 h 5973007"/>
              <a:gd name="connsiteX5460" fmla="*/ 2110733 w 6884782"/>
              <a:gd name="connsiteY5460" fmla="*/ 5097084 h 5973007"/>
              <a:gd name="connsiteX5461" fmla="*/ 2113831 w 6884782"/>
              <a:gd name="connsiteY5461" fmla="*/ 5104725 h 5973007"/>
              <a:gd name="connsiteX5462" fmla="*/ 2109804 w 6884782"/>
              <a:gd name="connsiteY5462" fmla="*/ 5106274 h 5973007"/>
              <a:gd name="connsiteX5463" fmla="*/ 2104692 w 6884782"/>
              <a:gd name="connsiteY5463" fmla="*/ 5103899 h 5973007"/>
              <a:gd name="connsiteX5464" fmla="*/ 2101749 w 6884782"/>
              <a:gd name="connsiteY5464" fmla="*/ 5101214 h 5973007"/>
              <a:gd name="connsiteX5465" fmla="*/ 2099116 w 6884782"/>
              <a:gd name="connsiteY5465" fmla="*/ 5100905 h 5973007"/>
              <a:gd name="connsiteX5466" fmla="*/ 2096173 w 6884782"/>
              <a:gd name="connsiteY5466" fmla="*/ 5099562 h 5973007"/>
              <a:gd name="connsiteX5467" fmla="*/ 2094314 w 6884782"/>
              <a:gd name="connsiteY5467" fmla="*/ 5098840 h 5973007"/>
              <a:gd name="connsiteX5468" fmla="*/ 2092455 w 6884782"/>
              <a:gd name="connsiteY5468" fmla="*/ 5098014 h 5973007"/>
              <a:gd name="connsiteX5469" fmla="*/ 2091217 w 6884782"/>
              <a:gd name="connsiteY5469" fmla="*/ 5094606 h 5973007"/>
              <a:gd name="connsiteX5470" fmla="*/ 2640349 w 6884782"/>
              <a:gd name="connsiteY5470" fmla="*/ 5093805 h 5973007"/>
              <a:gd name="connsiteX5471" fmla="*/ 2639703 w 6884782"/>
              <a:gd name="connsiteY5471" fmla="*/ 5101627 h 5973007"/>
              <a:gd name="connsiteX5472" fmla="*/ 2638619 w 6884782"/>
              <a:gd name="connsiteY5472" fmla="*/ 5113089 h 5973007"/>
              <a:gd name="connsiteX5473" fmla="*/ 2641872 w 6884782"/>
              <a:gd name="connsiteY5473" fmla="*/ 5112986 h 5973007"/>
              <a:gd name="connsiteX5474" fmla="*/ 2653334 w 6884782"/>
              <a:gd name="connsiteY5474" fmla="*/ 5116806 h 5973007"/>
              <a:gd name="connsiteX5475" fmla="*/ 2656277 w 6884782"/>
              <a:gd name="connsiteY5475" fmla="*/ 5118871 h 5973007"/>
              <a:gd name="connsiteX5476" fmla="*/ 2657981 w 6884782"/>
              <a:gd name="connsiteY5476" fmla="*/ 5118458 h 5973007"/>
              <a:gd name="connsiteX5477" fmla="*/ 2659065 w 6884782"/>
              <a:gd name="connsiteY5477" fmla="*/ 5118665 h 5973007"/>
              <a:gd name="connsiteX5478" fmla="*/ 2659443 w 6884782"/>
              <a:gd name="connsiteY5478" fmla="*/ 5118413 h 5973007"/>
              <a:gd name="connsiteX5479" fmla="*/ 2648386 w 6884782"/>
              <a:gd name="connsiteY5479" fmla="*/ 5106891 h 5973007"/>
              <a:gd name="connsiteX5480" fmla="*/ 2466839 w 6884782"/>
              <a:gd name="connsiteY5480" fmla="*/ 5093677 h 5973007"/>
              <a:gd name="connsiteX5481" fmla="*/ 2469472 w 6884782"/>
              <a:gd name="connsiteY5481" fmla="*/ 5094503 h 5973007"/>
              <a:gd name="connsiteX5482" fmla="*/ 2469782 w 6884782"/>
              <a:gd name="connsiteY5482" fmla="*/ 5094296 h 5973007"/>
              <a:gd name="connsiteX5483" fmla="*/ 2476288 w 6884782"/>
              <a:gd name="connsiteY5483" fmla="*/ 5099356 h 5973007"/>
              <a:gd name="connsiteX5484" fmla="*/ 2472416 w 6884782"/>
              <a:gd name="connsiteY5484" fmla="*/ 5103899 h 5973007"/>
              <a:gd name="connsiteX5485" fmla="*/ 2471951 w 6884782"/>
              <a:gd name="connsiteY5485" fmla="*/ 5103486 h 5973007"/>
              <a:gd name="connsiteX5486" fmla="*/ 2471486 w 6884782"/>
              <a:gd name="connsiteY5486" fmla="*/ 5104519 h 5973007"/>
              <a:gd name="connsiteX5487" fmla="*/ 2466684 w 6884782"/>
              <a:gd name="connsiteY5487" fmla="*/ 5109062 h 5973007"/>
              <a:gd name="connsiteX5488" fmla="*/ 2466839 w 6884782"/>
              <a:gd name="connsiteY5488" fmla="*/ 5093677 h 5973007"/>
              <a:gd name="connsiteX5489" fmla="*/ 1860885 w 6884782"/>
              <a:gd name="connsiteY5489" fmla="*/ 5092644 h 5973007"/>
              <a:gd name="connsiteX5490" fmla="*/ 1868321 w 6884782"/>
              <a:gd name="connsiteY5490" fmla="*/ 5092747 h 5973007"/>
              <a:gd name="connsiteX5491" fmla="*/ 1866771 w 6884782"/>
              <a:gd name="connsiteY5491" fmla="*/ 5098737 h 5973007"/>
              <a:gd name="connsiteX5492" fmla="*/ 1864448 w 6884782"/>
              <a:gd name="connsiteY5492" fmla="*/ 5100079 h 5973007"/>
              <a:gd name="connsiteX5493" fmla="*/ 1861814 w 6884782"/>
              <a:gd name="connsiteY5493" fmla="*/ 5099562 h 5973007"/>
              <a:gd name="connsiteX5494" fmla="*/ 1860266 w 6884782"/>
              <a:gd name="connsiteY5494" fmla="*/ 5097807 h 5973007"/>
              <a:gd name="connsiteX5495" fmla="*/ 1860885 w 6884782"/>
              <a:gd name="connsiteY5495" fmla="*/ 5092644 h 5973007"/>
              <a:gd name="connsiteX5496" fmla="*/ 2139389 w 6884782"/>
              <a:gd name="connsiteY5496" fmla="*/ 5091715 h 5973007"/>
              <a:gd name="connsiteX5497" fmla="*/ 2148992 w 6884782"/>
              <a:gd name="connsiteY5497" fmla="*/ 5095948 h 5973007"/>
              <a:gd name="connsiteX5498" fmla="*/ 2144500 w 6884782"/>
              <a:gd name="connsiteY5498" fmla="*/ 5100182 h 5973007"/>
              <a:gd name="connsiteX5499" fmla="*/ 2138924 w 6884782"/>
              <a:gd name="connsiteY5499" fmla="*/ 5098014 h 5973007"/>
              <a:gd name="connsiteX5500" fmla="*/ 2139389 w 6884782"/>
              <a:gd name="connsiteY5500" fmla="*/ 5091715 h 5973007"/>
              <a:gd name="connsiteX5501" fmla="*/ 2219315 w 6884782"/>
              <a:gd name="connsiteY5501" fmla="*/ 5090682 h 5973007"/>
              <a:gd name="connsiteX5502" fmla="*/ 2231552 w 6884782"/>
              <a:gd name="connsiteY5502" fmla="*/ 5095122 h 5973007"/>
              <a:gd name="connsiteX5503" fmla="*/ 2229074 w 6884782"/>
              <a:gd name="connsiteY5503" fmla="*/ 5095536 h 5973007"/>
              <a:gd name="connsiteX5504" fmla="*/ 2219315 w 6884782"/>
              <a:gd name="connsiteY5504" fmla="*/ 5090682 h 5973007"/>
              <a:gd name="connsiteX5505" fmla="*/ 1942980 w 6884782"/>
              <a:gd name="connsiteY5505" fmla="*/ 5090063 h 5973007"/>
              <a:gd name="connsiteX5506" fmla="*/ 1948247 w 6884782"/>
              <a:gd name="connsiteY5506" fmla="*/ 5093470 h 5973007"/>
              <a:gd name="connsiteX5507" fmla="*/ 1948402 w 6884782"/>
              <a:gd name="connsiteY5507" fmla="*/ 5094606 h 5973007"/>
              <a:gd name="connsiteX5508" fmla="*/ 1942980 w 6884782"/>
              <a:gd name="connsiteY5508" fmla="*/ 5090063 h 5973007"/>
              <a:gd name="connsiteX5509" fmla="*/ 2127171 w 6884782"/>
              <a:gd name="connsiteY5509" fmla="*/ 5089895 h 5973007"/>
              <a:gd name="connsiteX5510" fmla="*/ 2134122 w 6884782"/>
              <a:gd name="connsiteY5510" fmla="*/ 5097187 h 5973007"/>
              <a:gd name="connsiteX5511" fmla="*/ 2132264 w 6884782"/>
              <a:gd name="connsiteY5511" fmla="*/ 5101421 h 5973007"/>
              <a:gd name="connsiteX5512" fmla="*/ 2127307 w 6884782"/>
              <a:gd name="connsiteY5512" fmla="*/ 5101937 h 5973007"/>
              <a:gd name="connsiteX5513" fmla="*/ 2122970 w 6884782"/>
              <a:gd name="connsiteY5513" fmla="*/ 5101937 h 5973007"/>
              <a:gd name="connsiteX5514" fmla="*/ 2114296 w 6884782"/>
              <a:gd name="connsiteY5514" fmla="*/ 5094606 h 5973007"/>
              <a:gd name="connsiteX5515" fmla="*/ 2127171 w 6884782"/>
              <a:gd name="connsiteY5515" fmla="*/ 5089895 h 5973007"/>
              <a:gd name="connsiteX5516" fmla="*/ 1036528 w 6884782"/>
              <a:gd name="connsiteY5516" fmla="*/ 5089650 h 5973007"/>
              <a:gd name="connsiteX5517" fmla="*/ 1035133 w 6884782"/>
              <a:gd name="connsiteY5517" fmla="*/ 5094709 h 5973007"/>
              <a:gd name="connsiteX5518" fmla="*/ 1032500 w 6884782"/>
              <a:gd name="connsiteY5518" fmla="*/ 5096258 h 5973007"/>
              <a:gd name="connsiteX5519" fmla="*/ 1030022 w 6884782"/>
              <a:gd name="connsiteY5519" fmla="*/ 5094606 h 5973007"/>
              <a:gd name="connsiteX5520" fmla="*/ 1029557 w 6884782"/>
              <a:gd name="connsiteY5520" fmla="*/ 5091199 h 5973007"/>
              <a:gd name="connsiteX5521" fmla="*/ 1036528 w 6884782"/>
              <a:gd name="connsiteY5521" fmla="*/ 5089650 h 5973007"/>
              <a:gd name="connsiteX5522" fmla="*/ 2577280 w 6884782"/>
              <a:gd name="connsiteY5522" fmla="*/ 5087069 h 5973007"/>
              <a:gd name="connsiteX5523" fmla="*/ 2584715 w 6884782"/>
              <a:gd name="connsiteY5523" fmla="*/ 5087378 h 5973007"/>
              <a:gd name="connsiteX5524" fmla="*/ 2585645 w 6884782"/>
              <a:gd name="connsiteY5524" fmla="*/ 5090063 h 5973007"/>
              <a:gd name="connsiteX5525" fmla="*/ 2580688 w 6884782"/>
              <a:gd name="connsiteY5525" fmla="*/ 5092954 h 5973007"/>
              <a:gd name="connsiteX5526" fmla="*/ 2578364 w 6884782"/>
              <a:gd name="connsiteY5526" fmla="*/ 5091405 h 5973007"/>
              <a:gd name="connsiteX5527" fmla="*/ 2577280 w 6884782"/>
              <a:gd name="connsiteY5527" fmla="*/ 5087069 h 5973007"/>
              <a:gd name="connsiteX5528" fmla="*/ 2081303 w 6884782"/>
              <a:gd name="connsiteY5528" fmla="*/ 5086449 h 5973007"/>
              <a:gd name="connsiteX5529" fmla="*/ 2091371 w 6884782"/>
              <a:gd name="connsiteY5529" fmla="*/ 5087378 h 5973007"/>
              <a:gd name="connsiteX5530" fmla="*/ 2099891 w 6884782"/>
              <a:gd name="connsiteY5530" fmla="*/ 5094090 h 5973007"/>
              <a:gd name="connsiteX5531" fmla="*/ 2094934 w 6884782"/>
              <a:gd name="connsiteY5531" fmla="*/ 5094606 h 5973007"/>
              <a:gd name="connsiteX5532" fmla="*/ 2081303 w 6884782"/>
              <a:gd name="connsiteY5532" fmla="*/ 5086449 h 5973007"/>
              <a:gd name="connsiteX5533" fmla="*/ 1795365 w 6884782"/>
              <a:gd name="connsiteY5533" fmla="*/ 5086346 h 5973007"/>
              <a:gd name="connsiteX5534" fmla="*/ 1799236 w 6884782"/>
              <a:gd name="connsiteY5534" fmla="*/ 5093264 h 5973007"/>
              <a:gd name="connsiteX5535" fmla="*/ 1794744 w 6884782"/>
              <a:gd name="connsiteY5535" fmla="*/ 5088617 h 5973007"/>
              <a:gd name="connsiteX5536" fmla="*/ 1795365 w 6884782"/>
              <a:gd name="connsiteY5536" fmla="*/ 5086346 h 5973007"/>
              <a:gd name="connsiteX5537" fmla="*/ 2199953 w 6884782"/>
              <a:gd name="connsiteY5537" fmla="*/ 5085829 h 5973007"/>
              <a:gd name="connsiteX5538" fmla="*/ 2202122 w 6884782"/>
              <a:gd name="connsiteY5538" fmla="*/ 5089134 h 5973007"/>
              <a:gd name="connsiteX5539" fmla="*/ 2197475 w 6884782"/>
              <a:gd name="connsiteY5539" fmla="*/ 5091199 h 5973007"/>
              <a:gd name="connsiteX5540" fmla="*/ 2195306 w 6884782"/>
              <a:gd name="connsiteY5540" fmla="*/ 5087791 h 5973007"/>
              <a:gd name="connsiteX5541" fmla="*/ 2199953 w 6884782"/>
              <a:gd name="connsiteY5541" fmla="*/ 5085829 h 5973007"/>
              <a:gd name="connsiteX5542" fmla="*/ 2554356 w 6884782"/>
              <a:gd name="connsiteY5542" fmla="*/ 5085416 h 5973007"/>
              <a:gd name="connsiteX5543" fmla="*/ 2555904 w 6884782"/>
              <a:gd name="connsiteY5543" fmla="*/ 5086449 h 5973007"/>
              <a:gd name="connsiteX5544" fmla="*/ 2555595 w 6884782"/>
              <a:gd name="connsiteY5544" fmla="*/ 5088823 h 5973007"/>
              <a:gd name="connsiteX5545" fmla="*/ 2551722 w 6884782"/>
              <a:gd name="connsiteY5545" fmla="*/ 5091508 h 5973007"/>
              <a:gd name="connsiteX5546" fmla="*/ 2550018 w 6884782"/>
              <a:gd name="connsiteY5546" fmla="*/ 5090373 h 5973007"/>
              <a:gd name="connsiteX5547" fmla="*/ 2554356 w 6884782"/>
              <a:gd name="connsiteY5547" fmla="*/ 5085416 h 5973007"/>
              <a:gd name="connsiteX5548" fmla="*/ 2211106 w 6884782"/>
              <a:gd name="connsiteY5548" fmla="*/ 5084487 h 5973007"/>
              <a:gd name="connsiteX5549" fmla="*/ 2214668 w 6884782"/>
              <a:gd name="connsiteY5549" fmla="*/ 5084590 h 5973007"/>
              <a:gd name="connsiteX5550" fmla="*/ 2215752 w 6884782"/>
              <a:gd name="connsiteY5550" fmla="*/ 5095329 h 5973007"/>
              <a:gd name="connsiteX5551" fmla="*/ 2210486 w 6884782"/>
              <a:gd name="connsiteY5551" fmla="*/ 5094916 h 5973007"/>
              <a:gd name="connsiteX5552" fmla="*/ 2211106 w 6884782"/>
              <a:gd name="connsiteY5552" fmla="*/ 5084487 h 5973007"/>
              <a:gd name="connsiteX5553" fmla="*/ 2055125 w 6884782"/>
              <a:gd name="connsiteY5553" fmla="*/ 5083041 h 5973007"/>
              <a:gd name="connsiteX5554" fmla="*/ 2059927 w 6884782"/>
              <a:gd name="connsiteY5554" fmla="*/ 5083145 h 5973007"/>
              <a:gd name="connsiteX5555" fmla="*/ 2058533 w 6884782"/>
              <a:gd name="connsiteY5555" fmla="*/ 5086965 h 5973007"/>
              <a:gd name="connsiteX5556" fmla="*/ 2055125 w 6884782"/>
              <a:gd name="connsiteY5556" fmla="*/ 5085726 h 5973007"/>
              <a:gd name="connsiteX5557" fmla="*/ 2055125 w 6884782"/>
              <a:gd name="connsiteY5557" fmla="*/ 5083041 h 5973007"/>
              <a:gd name="connsiteX5558" fmla="*/ 1702891 w 6884782"/>
              <a:gd name="connsiteY5558" fmla="*/ 5082732 h 5973007"/>
              <a:gd name="connsiteX5559" fmla="*/ 1690344 w 6884782"/>
              <a:gd name="connsiteY5559" fmla="*/ 5091818 h 5973007"/>
              <a:gd name="connsiteX5560" fmla="*/ 1686162 w 6884782"/>
              <a:gd name="connsiteY5560" fmla="*/ 5089237 h 5973007"/>
              <a:gd name="connsiteX5561" fmla="*/ 1702891 w 6884782"/>
              <a:gd name="connsiteY5561" fmla="*/ 5082732 h 5973007"/>
              <a:gd name="connsiteX5562" fmla="*/ 2071080 w 6884782"/>
              <a:gd name="connsiteY5562" fmla="*/ 5080563 h 5973007"/>
              <a:gd name="connsiteX5563" fmla="*/ 2077430 w 6884782"/>
              <a:gd name="connsiteY5563" fmla="*/ 5084797 h 5973007"/>
              <a:gd name="connsiteX5564" fmla="*/ 2075417 w 6884782"/>
              <a:gd name="connsiteY5564" fmla="*/ 5091508 h 5973007"/>
              <a:gd name="connsiteX5565" fmla="*/ 2072319 w 6884782"/>
              <a:gd name="connsiteY5565" fmla="*/ 5092954 h 5973007"/>
              <a:gd name="connsiteX5566" fmla="*/ 2069841 w 6884782"/>
              <a:gd name="connsiteY5566" fmla="*/ 5092954 h 5973007"/>
              <a:gd name="connsiteX5567" fmla="*/ 2066742 w 6884782"/>
              <a:gd name="connsiteY5567" fmla="*/ 5089960 h 5973007"/>
              <a:gd name="connsiteX5568" fmla="*/ 2071080 w 6884782"/>
              <a:gd name="connsiteY5568" fmla="*/ 5080563 h 5973007"/>
              <a:gd name="connsiteX5569" fmla="*/ 2509591 w 6884782"/>
              <a:gd name="connsiteY5569" fmla="*/ 5080253 h 5973007"/>
              <a:gd name="connsiteX5570" fmla="*/ 2510210 w 6884782"/>
              <a:gd name="connsiteY5570" fmla="*/ 5082318 h 5973007"/>
              <a:gd name="connsiteX5571" fmla="*/ 2511139 w 6884782"/>
              <a:gd name="connsiteY5571" fmla="*/ 5081699 h 5973007"/>
              <a:gd name="connsiteX5572" fmla="*/ 2516716 w 6884782"/>
              <a:gd name="connsiteY5572" fmla="*/ 5087481 h 5973007"/>
              <a:gd name="connsiteX5573" fmla="*/ 2515786 w 6884782"/>
              <a:gd name="connsiteY5573" fmla="*/ 5090992 h 5973007"/>
              <a:gd name="connsiteX5574" fmla="*/ 2520278 w 6884782"/>
              <a:gd name="connsiteY5574" fmla="*/ 5094400 h 5973007"/>
              <a:gd name="connsiteX5575" fmla="*/ 2524305 w 6884782"/>
              <a:gd name="connsiteY5575" fmla="*/ 5098323 h 5973007"/>
              <a:gd name="connsiteX5576" fmla="*/ 2526629 w 6884782"/>
              <a:gd name="connsiteY5576" fmla="*/ 5105654 h 5973007"/>
              <a:gd name="connsiteX5577" fmla="*/ 2504479 w 6884782"/>
              <a:gd name="connsiteY5577" fmla="*/ 5126099 h 5973007"/>
              <a:gd name="connsiteX5578" fmla="*/ 2490848 w 6884782"/>
              <a:gd name="connsiteY5578" fmla="*/ 5115361 h 5973007"/>
              <a:gd name="connsiteX5579" fmla="*/ 2490693 w 6884782"/>
              <a:gd name="connsiteY5579" fmla="*/ 5106068 h 5973007"/>
              <a:gd name="connsiteX5580" fmla="*/ 2509591 w 6884782"/>
              <a:gd name="connsiteY5580" fmla="*/ 5080253 h 5973007"/>
              <a:gd name="connsiteX5581" fmla="*/ 2544287 w 6884782"/>
              <a:gd name="connsiteY5581" fmla="*/ 5079118 h 5973007"/>
              <a:gd name="connsiteX5582" fmla="*/ 2547695 w 6884782"/>
              <a:gd name="connsiteY5582" fmla="*/ 5080047 h 5973007"/>
              <a:gd name="connsiteX5583" fmla="*/ 2545527 w 6884782"/>
              <a:gd name="connsiteY5583" fmla="*/ 5082525 h 5973007"/>
              <a:gd name="connsiteX5584" fmla="*/ 2544287 w 6884782"/>
              <a:gd name="connsiteY5584" fmla="*/ 5081596 h 5973007"/>
              <a:gd name="connsiteX5585" fmla="*/ 2544287 w 6884782"/>
              <a:gd name="connsiteY5585" fmla="*/ 5079118 h 5973007"/>
              <a:gd name="connsiteX5586" fmla="*/ 1847874 w 6884782"/>
              <a:gd name="connsiteY5586" fmla="*/ 5078911 h 5973007"/>
              <a:gd name="connsiteX5587" fmla="*/ 1850352 w 6884782"/>
              <a:gd name="connsiteY5587" fmla="*/ 5081389 h 5973007"/>
              <a:gd name="connsiteX5588" fmla="*/ 1848958 w 6884782"/>
              <a:gd name="connsiteY5588" fmla="*/ 5082215 h 5973007"/>
              <a:gd name="connsiteX5589" fmla="*/ 1849578 w 6884782"/>
              <a:gd name="connsiteY5589" fmla="*/ 5082938 h 5973007"/>
              <a:gd name="connsiteX5590" fmla="*/ 1847874 w 6884782"/>
              <a:gd name="connsiteY5590" fmla="*/ 5083041 h 5973007"/>
              <a:gd name="connsiteX5591" fmla="*/ 1847254 w 6884782"/>
              <a:gd name="connsiteY5591" fmla="*/ 5082318 h 5973007"/>
              <a:gd name="connsiteX5592" fmla="*/ 1847100 w 6884782"/>
              <a:gd name="connsiteY5592" fmla="*/ 5082215 h 5973007"/>
              <a:gd name="connsiteX5593" fmla="*/ 1846945 w 6884782"/>
              <a:gd name="connsiteY5593" fmla="*/ 5080460 h 5973007"/>
              <a:gd name="connsiteX5594" fmla="*/ 1847874 w 6884782"/>
              <a:gd name="connsiteY5594" fmla="*/ 5078911 h 5973007"/>
              <a:gd name="connsiteX5595" fmla="*/ 1568441 w 6884782"/>
              <a:gd name="connsiteY5595" fmla="*/ 5078188 h 5973007"/>
              <a:gd name="connsiteX5596" fmla="*/ 1572933 w 6884782"/>
              <a:gd name="connsiteY5596" fmla="*/ 5080563 h 5973007"/>
              <a:gd name="connsiteX5597" fmla="*/ 1573708 w 6884782"/>
              <a:gd name="connsiteY5597" fmla="*/ 5090992 h 5973007"/>
              <a:gd name="connsiteX5598" fmla="*/ 1564723 w 6884782"/>
              <a:gd name="connsiteY5598" fmla="*/ 5093264 h 5973007"/>
              <a:gd name="connsiteX5599" fmla="*/ 1564104 w 6884782"/>
              <a:gd name="connsiteY5599" fmla="*/ 5095019 h 5973007"/>
              <a:gd name="connsiteX5600" fmla="*/ 1561006 w 6884782"/>
              <a:gd name="connsiteY5600" fmla="*/ 5096981 h 5973007"/>
              <a:gd name="connsiteX5601" fmla="*/ 1559922 w 6884782"/>
              <a:gd name="connsiteY5601" fmla="*/ 5095226 h 5973007"/>
              <a:gd name="connsiteX5602" fmla="*/ 1562865 w 6884782"/>
              <a:gd name="connsiteY5602" fmla="*/ 5092541 h 5973007"/>
              <a:gd name="connsiteX5603" fmla="*/ 1562710 w 6884782"/>
              <a:gd name="connsiteY5603" fmla="*/ 5091612 h 5973007"/>
              <a:gd name="connsiteX5604" fmla="*/ 1560851 w 6884782"/>
              <a:gd name="connsiteY5604" fmla="*/ 5089960 h 5973007"/>
              <a:gd name="connsiteX5605" fmla="*/ 1559612 w 6884782"/>
              <a:gd name="connsiteY5605" fmla="*/ 5081389 h 5973007"/>
              <a:gd name="connsiteX5606" fmla="*/ 1568441 w 6884782"/>
              <a:gd name="connsiteY5606" fmla="*/ 5078188 h 5973007"/>
              <a:gd name="connsiteX5607" fmla="*/ 2566747 w 6884782"/>
              <a:gd name="connsiteY5607" fmla="*/ 5077775 h 5973007"/>
              <a:gd name="connsiteX5608" fmla="*/ 2570929 w 6884782"/>
              <a:gd name="connsiteY5608" fmla="*/ 5081183 h 5973007"/>
              <a:gd name="connsiteX5609" fmla="*/ 2571239 w 6884782"/>
              <a:gd name="connsiteY5609" fmla="*/ 5085107 h 5973007"/>
              <a:gd name="connsiteX5610" fmla="*/ 2572633 w 6884782"/>
              <a:gd name="connsiteY5610" fmla="*/ 5083971 h 5973007"/>
              <a:gd name="connsiteX5611" fmla="*/ 2576661 w 6884782"/>
              <a:gd name="connsiteY5611" fmla="*/ 5087378 h 5973007"/>
              <a:gd name="connsiteX5612" fmla="*/ 2573098 w 6884782"/>
              <a:gd name="connsiteY5612" fmla="*/ 5088617 h 5973007"/>
              <a:gd name="connsiteX5613" fmla="*/ 2571394 w 6884782"/>
              <a:gd name="connsiteY5613" fmla="*/ 5087069 h 5973007"/>
              <a:gd name="connsiteX5614" fmla="*/ 2571549 w 6884782"/>
              <a:gd name="connsiteY5614" fmla="*/ 5087688 h 5973007"/>
              <a:gd name="connsiteX5615" fmla="*/ 2566592 w 6884782"/>
              <a:gd name="connsiteY5615" fmla="*/ 5089340 h 5973007"/>
              <a:gd name="connsiteX5616" fmla="*/ 2565353 w 6884782"/>
              <a:gd name="connsiteY5616" fmla="*/ 5091612 h 5973007"/>
              <a:gd name="connsiteX5617" fmla="*/ 2562875 w 6884782"/>
              <a:gd name="connsiteY5617" fmla="*/ 5082318 h 5973007"/>
              <a:gd name="connsiteX5618" fmla="*/ 2563494 w 6884782"/>
              <a:gd name="connsiteY5618" fmla="*/ 5081492 h 5973007"/>
              <a:gd name="connsiteX5619" fmla="*/ 2563494 w 6884782"/>
              <a:gd name="connsiteY5619" fmla="*/ 5079118 h 5973007"/>
              <a:gd name="connsiteX5620" fmla="*/ 2566747 w 6884782"/>
              <a:gd name="connsiteY5620" fmla="*/ 5077775 h 5973007"/>
              <a:gd name="connsiteX5621" fmla="*/ 2169594 w 6884782"/>
              <a:gd name="connsiteY5621" fmla="*/ 5077259 h 5973007"/>
              <a:gd name="connsiteX5622" fmla="*/ 2168819 w 6884782"/>
              <a:gd name="connsiteY5622" fmla="*/ 5079634 h 5973007"/>
              <a:gd name="connsiteX5623" fmla="*/ 2160300 w 6884782"/>
              <a:gd name="connsiteY5623" fmla="*/ 5085107 h 5973007"/>
              <a:gd name="connsiteX5624" fmla="*/ 2169594 w 6884782"/>
              <a:gd name="connsiteY5624" fmla="*/ 5077259 h 5973007"/>
              <a:gd name="connsiteX5625" fmla="*/ 1917422 w 6884782"/>
              <a:gd name="connsiteY5625" fmla="*/ 5077052 h 5973007"/>
              <a:gd name="connsiteX5626" fmla="*/ 1918043 w 6884782"/>
              <a:gd name="connsiteY5626" fmla="*/ 5078911 h 5973007"/>
              <a:gd name="connsiteX5627" fmla="*/ 1918507 w 6884782"/>
              <a:gd name="connsiteY5627" fmla="*/ 5078395 h 5973007"/>
              <a:gd name="connsiteX5628" fmla="*/ 1922689 w 6884782"/>
              <a:gd name="connsiteY5628" fmla="*/ 5077259 h 5973007"/>
              <a:gd name="connsiteX5629" fmla="*/ 1920056 w 6884782"/>
              <a:gd name="connsiteY5629" fmla="*/ 5079841 h 5973007"/>
              <a:gd name="connsiteX5630" fmla="*/ 1918662 w 6884782"/>
              <a:gd name="connsiteY5630" fmla="*/ 5080770 h 5973007"/>
              <a:gd name="connsiteX5631" fmla="*/ 1919436 w 6884782"/>
              <a:gd name="connsiteY5631" fmla="*/ 5083041 h 5973007"/>
              <a:gd name="connsiteX5632" fmla="*/ 1916338 w 6884782"/>
              <a:gd name="connsiteY5632" fmla="*/ 5089237 h 5973007"/>
              <a:gd name="connsiteX5633" fmla="*/ 1909368 w 6884782"/>
              <a:gd name="connsiteY5633" fmla="*/ 5081596 h 5973007"/>
              <a:gd name="connsiteX5634" fmla="*/ 1917422 w 6884782"/>
              <a:gd name="connsiteY5634" fmla="*/ 5077052 h 5973007"/>
              <a:gd name="connsiteX5635" fmla="*/ 2012994 w 6884782"/>
              <a:gd name="connsiteY5635" fmla="*/ 5075813 h 5973007"/>
              <a:gd name="connsiteX5636" fmla="*/ 2011290 w 6884782"/>
              <a:gd name="connsiteY5636" fmla="*/ 5085003 h 5973007"/>
              <a:gd name="connsiteX5637" fmla="*/ 2009895 w 6884782"/>
              <a:gd name="connsiteY5637" fmla="*/ 5083145 h 5973007"/>
              <a:gd name="connsiteX5638" fmla="*/ 2012994 w 6884782"/>
              <a:gd name="connsiteY5638" fmla="*/ 5075813 h 5973007"/>
              <a:gd name="connsiteX5639" fmla="*/ 1769961 w 6884782"/>
              <a:gd name="connsiteY5639" fmla="*/ 5075607 h 5973007"/>
              <a:gd name="connsiteX5640" fmla="*/ 1764540 w 6884782"/>
              <a:gd name="connsiteY5640" fmla="*/ 5086346 h 5973007"/>
              <a:gd name="connsiteX5641" fmla="*/ 1760357 w 6884782"/>
              <a:gd name="connsiteY5641" fmla="*/ 5085519 h 5973007"/>
              <a:gd name="connsiteX5642" fmla="*/ 1769961 w 6884782"/>
              <a:gd name="connsiteY5642" fmla="*/ 5075607 h 5973007"/>
              <a:gd name="connsiteX5643" fmla="*/ 2559003 w 6884782"/>
              <a:gd name="connsiteY5643" fmla="*/ 5075194 h 5973007"/>
              <a:gd name="connsiteX5644" fmla="*/ 2560087 w 6884782"/>
              <a:gd name="connsiteY5644" fmla="*/ 5076846 h 5973007"/>
              <a:gd name="connsiteX5645" fmla="*/ 2561481 w 6884782"/>
              <a:gd name="connsiteY5645" fmla="*/ 5081183 h 5973007"/>
              <a:gd name="connsiteX5646" fmla="*/ 2559003 w 6884782"/>
              <a:gd name="connsiteY5646" fmla="*/ 5082938 h 5973007"/>
              <a:gd name="connsiteX5647" fmla="*/ 2555595 w 6884782"/>
              <a:gd name="connsiteY5647" fmla="*/ 5081492 h 5973007"/>
              <a:gd name="connsiteX5648" fmla="*/ 2551258 w 6884782"/>
              <a:gd name="connsiteY5648" fmla="*/ 5075607 h 5973007"/>
              <a:gd name="connsiteX5649" fmla="*/ 2559003 w 6884782"/>
              <a:gd name="connsiteY5649" fmla="*/ 5075194 h 5973007"/>
              <a:gd name="connsiteX5650" fmla="*/ 2300171 w 6884782"/>
              <a:gd name="connsiteY5650" fmla="*/ 5074471 h 5973007"/>
              <a:gd name="connsiteX5651" fmla="*/ 2300480 w 6884782"/>
              <a:gd name="connsiteY5651" fmla="*/ 5087894 h 5973007"/>
              <a:gd name="connsiteX5652" fmla="*/ 2300790 w 6884782"/>
              <a:gd name="connsiteY5652" fmla="*/ 5089960 h 5973007"/>
              <a:gd name="connsiteX5653" fmla="*/ 2302494 w 6884782"/>
              <a:gd name="connsiteY5653" fmla="*/ 5088617 h 5973007"/>
              <a:gd name="connsiteX5654" fmla="*/ 2304663 w 6884782"/>
              <a:gd name="connsiteY5654" fmla="*/ 5088308 h 5973007"/>
              <a:gd name="connsiteX5655" fmla="*/ 2301100 w 6884782"/>
              <a:gd name="connsiteY5655" fmla="*/ 5091199 h 5973007"/>
              <a:gd name="connsiteX5656" fmla="*/ 2301100 w 6884782"/>
              <a:gd name="connsiteY5656" fmla="*/ 5091405 h 5973007"/>
              <a:gd name="connsiteX5657" fmla="*/ 2300790 w 6884782"/>
              <a:gd name="connsiteY5657" fmla="*/ 5091405 h 5973007"/>
              <a:gd name="connsiteX5658" fmla="*/ 2300016 w 6884782"/>
              <a:gd name="connsiteY5658" fmla="*/ 5092025 h 5973007"/>
              <a:gd name="connsiteX5659" fmla="*/ 2299551 w 6884782"/>
              <a:gd name="connsiteY5659" fmla="*/ 5094606 h 5973007"/>
              <a:gd name="connsiteX5660" fmla="*/ 2294750 w 6884782"/>
              <a:gd name="connsiteY5660" fmla="*/ 5096671 h 5973007"/>
              <a:gd name="connsiteX5661" fmla="*/ 2294130 w 6884782"/>
              <a:gd name="connsiteY5661" fmla="*/ 5092335 h 5973007"/>
              <a:gd name="connsiteX5662" fmla="*/ 2296918 w 6884782"/>
              <a:gd name="connsiteY5662" fmla="*/ 5090063 h 5973007"/>
              <a:gd name="connsiteX5663" fmla="*/ 2298467 w 6884782"/>
              <a:gd name="connsiteY5663" fmla="*/ 5090166 h 5973007"/>
              <a:gd name="connsiteX5664" fmla="*/ 2298003 w 6884782"/>
              <a:gd name="connsiteY5664" fmla="*/ 5089650 h 5973007"/>
              <a:gd name="connsiteX5665" fmla="*/ 2298777 w 6884782"/>
              <a:gd name="connsiteY5665" fmla="*/ 5088204 h 5973007"/>
              <a:gd name="connsiteX5666" fmla="*/ 2300171 w 6884782"/>
              <a:gd name="connsiteY5666" fmla="*/ 5074471 h 5973007"/>
              <a:gd name="connsiteX5667" fmla="*/ 2247817 w 6884782"/>
              <a:gd name="connsiteY5667" fmla="*/ 5074471 h 5973007"/>
              <a:gd name="connsiteX5668" fmla="*/ 2252153 w 6884782"/>
              <a:gd name="connsiteY5668" fmla="*/ 5077259 h 5973007"/>
              <a:gd name="connsiteX5669" fmla="*/ 2252618 w 6884782"/>
              <a:gd name="connsiteY5669" fmla="*/ 5079634 h 5973007"/>
              <a:gd name="connsiteX5670" fmla="*/ 2257420 w 6884782"/>
              <a:gd name="connsiteY5670" fmla="*/ 5081492 h 5973007"/>
              <a:gd name="connsiteX5671" fmla="*/ 2259898 w 6884782"/>
              <a:gd name="connsiteY5671" fmla="*/ 5086655 h 5973007"/>
              <a:gd name="connsiteX5672" fmla="*/ 2257575 w 6884782"/>
              <a:gd name="connsiteY5672" fmla="*/ 5087688 h 5973007"/>
              <a:gd name="connsiteX5673" fmla="*/ 2252618 w 6884782"/>
              <a:gd name="connsiteY5673" fmla="*/ 5085519 h 5973007"/>
              <a:gd name="connsiteX5674" fmla="*/ 2251689 w 6884782"/>
              <a:gd name="connsiteY5674" fmla="*/ 5087688 h 5973007"/>
              <a:gd name="connsiteX5675" fmla="*/ 2248591 w 6884782"/>
              <a:gd name="connsiteY5675" fmla="*/ 5089856 h 5973007"/>
              <a:gd name="connsiteX5676" fmla="*/ 2247507 w 6884782"/>
              <a:gd name="connsiteY5676" fmla="*/ 5089856 h 5973007"/>
              <a:gd name="connsiteX5677" fmla="*/ 2247661 w 6884782"/>
              <a:gd name="connsiteY5677" fmla="*/ 5090785 h 5973007"/>
              <a:gd name="connsiteX5678" fmla="*/ 2245028 w 6884782"/>
              <a:gd name="connsiteY5678" fmla="*/ 5092231 h 5973007"/>
              <a:gd name="connsiteX5679" fmla="*/ 2244099 w 6884782"/>
              <a:gd name="connsiteY5679" fmla="*/ 5093780 h 5973007"/>
              <a:gd name="connsiteX5680" fmla="*/ 2241311 w 6884782"/>
              <a:gd name="connsiteY5680" fmla="*/ 5094090 h 5973007"/>
              <a:gd name="connsiteX5681" fmla="*/ 2240072 w 6884782"/>
              <a:gd name="connsiteY5681" fmla="*/ 5092025 h 5973007"/>
              <a:gd name="connsiteX5682" fmla="*/ 2239916 w 6884782"/>
              <a:gd name="connsiteY5682" fmla="*/ 5091508 h 5973007"/>
              <a:gd name="connsiteX5683" fmla="*/ 2238367 w 6884782"/>
              <a:gd name="connsiteY5683" fmla="*/ 5092231 h 5973007"/>
              <a:gd name="connsiteX5684" fmla="*/ 2237438 w 6884782"/>
              <a:gd name="connsiteY5684" fmla="*/ 5090476 h 5973007"/>
              <a:gd name="connsiteX5685" fmla="*/ 2239142 w 6884782"/>
              <a:gd name="connsiteY5685" fmla="*/ 5089134 h 5973007"/>
              <a:gd name="connsiteX5686" fmla="*/ 2238987 w 6884782"/>
              <a:gd name="connsiteY5686" fmla="*/ 5088411 h 5973007"/>
              <a:gd name="connsiteX5687" fmla="*/ 2239142 w 6884782"/>
              <a:gd name="connsiteY5687" fmla="*/ 5085623 h 5973007"/>
              <a:gd name="connsiteX5688" fmla="*/ 2238987 w 6884782"/>
              <a:gd name="connsiteY5688" fmla="*/ 5085313 h 5973007"/>
              <a:gd name="connsiteX5689" fmla="*/ 2238678 w 6884782"/>
              <a:gd name="connsiteY5689" fmla="*/ 5076743 h 5973007"/>
              <a:gd name="connsiteX5690" fmla="*/ 2247817 w 6884782"/>
              <a:gd name="connsiteY5690" fmla="*/ 5074471 h 5973007"/>
              <a:gd name="connsiteX5691" fmla="*/ 2295834 w 6884782"/>
              <a:gd name="connsiteY5691" fmla="*/ 5074161 h 5973007"/>
              <a:gd name="connsiteX5692" fmla="*/ 2296454 w 6884782"/>
              <a:gd name="connsiteY5692" fmla="*/ 5074471 h 5973007"/>
              <a:gd name="connsiteX5693" fmla="*/ 2294595 w 6884782"/>
              <a:gd name="connsiteY5693" fmla="*/ 5083351 h 5973007"/>
              <a:gd name="connsiteX5694" fmla="*/ 2293046 w 6884782"/>
              <a:gd name="connsiteY5694" fmla="*/ 5086036 h 5973007"/>
              <a:gd name="connsiteX5695" fmla="*/ 2293355 w 6884782"/>
              <a:gd name="connsiteY5695" fmla="*/ 5085313 h 5973007"/>
              <a:gd name="connsiteX5696" fmla="*/ 2292271 w 6884782"/>
              <a:gd name="connsiteY5696" fmla="*/ 5085623 h 5973007"/>
              <a:gd name="connsiteX5697" fmla="*/ 2295834 w 6884782"/>
              <a:gd name="connsiteY5697" fmla="*/ 5074161 h 5973007"/>
              <a:gd name="connsiteX5698" fmla="*/ 2320617 w 6884782"/>
              <a:gd name="connsiteY5698" fmla="*/ 5073439 h 5973007"/>
              <a:gd name="connsiteX5699" fmla="*/ 2320772 w 6884782"/>
              <a:gd name="connsiteY5699" fmla="*/ 5076846 h 5973007"/>
              <a:gd name="connsiteX5700" fmla="*/ 2314576 w 6884782"/>
              <a:gd name="connsiteY5700" fmla="*/ 5080667 h 5973007"/>
              <a:gd name="connsiteX5701" fmla="*/ 2312408 w 6884782"/>
              <a:gd name="connsiteY5701" fmla="*/ 5079944 h 5973007"/>
              <a:gd name="connsiteX5702" fmla="*/ 2313182 w 6884782"/>
              <a:gd name="connsiteY5702" fmla="*/ 5075710 h 5973007"/>
              <a:gd name="connsiteX5703" fmla="*/ 2320617 w 6884782"/>
              <a:gd name="connsiteY5703" fmla="*/ 5073439 h 5973007"/>
              <a:gd name="connsiteX5704" fmla="*/ 2123745 w 6884782"/>
              <a:gd name="connsiteY5704" fmla="*/ 5073026 h 5973007"/>
              <a:gd name="connsiteX5705" fmla="*/ 2129165 w 6884782"/>
              <a:gd name="connsiteY5705" fmla="*/ 5077982 h 5973007"/>
              <a:gd name="connsiteX5706" fmla="*/ 2126223 w 6884782"/>
              <a:gd name="connsiteY5706" fmla="*/ 5085003 h 5973007"/>
              <a:gd name="connsiteX5707" fmla="*/ 2120646 w 6884782"/>
              <a:gd name="connsiteY5707" fmla="*/ 5086862 h 5973007"/>
              <a:gd name="connsiteX5708" fmla="*/ 2116155 w 6884782"/>
              <a:gd name="connsiteY5708" fmla="*/ 5084280 h 5973007"/>
              <a:gd name="connsiteX5709" fmla="*/ 2114916 w 6884782"/>
              <a:gd name="connsiteY5709" fmla="*/ 5080667 h 5973007"/>
              <a:gd name="connsiteX5710" fmla="*/ 2114916 w 6884782"/>
              <a:gd name="connsiteY5710" fmla="*/ 5080460 h 5973007"/>
              <a:gd name="connsiteX5711" fmla="*/ 2113676 w 6884782"/>
              <a:gd name="connsiteY5711" fmla="*/ 5081389 h 5973007"/>
              <a:gd name="connsiteX5712" fmla="*/ 2111972 w 6884782"/>
              <a:gd name="connsiteY5712" fmla="*/ 5081389 h 5973007"/>
              <a:gd name="connsiteX5713" fmla="*/ 2111043 w 6884782"/>
              <a:gd name="connsiteY5713" fmla="*/ 5079634 h 5973007"/>
              <a:gd name="connsiteX5714" fmla="*/ 2110423 w 6884782"/>
              <a:gd name="connsiteY5714" fmla="*/ 5076123 h 5973007"/>
              <a:gd name="connsiteX5715" fmla="*/ 2111817 w 6884782"/>
              <a:gd name="connsiteY5715" fmla="*/ 5074265 h 5973007"/>
              <a:gd name="connsiteX5716" fmla="*/ 2113676 w 6884782"/>
              <a:gd name="connsiteY5716" fmla="*/ 5074987 h 5973007"/>
              <a:gd name="connsiteX5717" fmla="*/ 2115225 w 6884782"/>
              <a:gd name="connsiteY5717" fmla="*/ 5074987 h 5973007"/>
              <a:gd name="connsiteX5718" fmla="*/ 2115380 w 6884782"/>
              <a:gd name="connsiteY5718" fmla="*/ 5075813 h 5973007"/>
              <a:gd name="connsiteX5719" fmla="*/ 2115225 w 6884782"/>
              <a:gd name="connsiteY5719" fmla="*/ 5075917 h 5973007"/>
              <a:gd name="connsiteX5720" fmla="*/ 2115844 w 6884782"/>
              <a:gd name="connsiteY5720" fmla="*/ 5076330 h 5973007"/>
              <a:gd name="connsiteX5721" fmla="*/ 2116464 w 6884782"/>
              <a:gd name="connsiteY5721" fmla="*/ 5073955 h 5973007"/>
              <a:gd name="connsiteX5722" fmla="*/ 2123745 w 6884782"/>
              <a:gd name="connsiteY5722" fmla="*/ 5073026 h 5973007"/>
              <a:gd name="connsiteX5723" fmla="*/ 2537317 w 6884782"/>
              <a:gd name="connsiteY5723" fmla="*/ 5073025 h 5973007"/>
              <a:gd name="connsiteX5724" fmla="*/ 2543203 w 6884782"/>
              <a:gd name="connsiteY5724" fmla="*/ 5078808 h 5973007"/>
              <a:gd name="connsiteX5725" fmla="*/ 2539176 w 6884782"/>
              <a:gd name="connsiteY5725" fmla="*/ 5084590 h 5973007"/>
              <a:gd name="connsiteX5726" fmla="*/ 2537472 w 6884782"/>
              <a:gd name="connsiteY5726" fmla="*/ 5083558 h 5973007"/>
              <a:gd name="connsiteX5727" fmla="*/ 2535923 w 6884782"/>
              <a:gd name="connsiteY5727" fmla="*/ 5082009 h 5973007"/>
              <a:gd name="connsiteX5728" fmla="*/ 2534219 w 6884782"/>
              <a:gd name="connsiteY5728" fmla="*/ 5077156 h 5973007"/>
              <a:gd name="connsiteX5729" fmla="*/ 2536078 w 6884782"/>
              <a:gd name="connsiteY5729" fmla="*/ 5073955 h 5973007"/>
              <a:gd name="connsiteX5730" fmla="*/ 2537317 w 6884782"/>
              <a:gd name="connsiteY5730" fmla="*/ 5073025 h 5973007"/>
              <a:gd name="connsiteX5731" fmla="*/ 1736503 w 6884782"/>
              <a:gd name="connsiteY5731" fmla="*/ 5071993 h 5973007"/>
              <a:gd name="connsiteX5732" fmla="*/ 1739137 w 6884782"/>
              <a:gd name="connsiteY5732" fmla="*/ 5074781 h 5973007"/>
              <a:gd name="connsiteX5733" fmla="*/ 1732166 w 6884782"/>
              <a:gd name="connsiteY5733" fmla="*/ 5082009 h 5973007"/>
              <a:gd name="connsiteX5734" fmla="*/ 1728449 w 6884782"/>
              <a:gd name="connsiteY5734" fmla="*/ 5077775 h 5973007"/>
              <a:gd name="connsiteX5735" fmla="*/ 1736503 w 6884782"/>
              <a:gd name="connsiteY5735" fmla="*/ 5071993 h 5973007"/>
              <a:gd name="connsiteX5736" fmla="*/ 2429199 w 6884782"/>
              <a:gd name="connsiteY5736" fmla="*/ 5070857 h 5973007"/>
              <a:gd name="connsiteX5737" fmla="*/ 2430129 w 6884782"/>
              <a:gd name="connsiteY5737" fmla="*/ 5072716 h 5973007"/>
              <a:gd name="connsiteX5738" fmla="*/ 2430748 w 6884782"/>
              <a:gd name="connsiteY5738" fmla="*/ 5072922 h 5973007"/>
              <a:gd name="connsiteX5739" fmla="*/ 2431997 w 6884782"/>
              <a:gd name="connsiteY5739" fmla="*/ 5073982 h 5973007"/>
              <a:gd name="connsiteX5740" fmla="*/ 2431482 w 6884782"/>
              <a:gd name="connsiteY5740" fmla="*/ 5072172 h 5973007"/>
              <a:gd name="connsiteX5741" fmla="*/ 2296918 w 6884782"/>
              <a:gd name="connsiteY5741" fmla="*/ 5070341 h 5973007"/>
              <a:gd name="connsiteX5742" fmla="*/ 2296299 w 6884782"/>
              <a:gd name="connsiteY5742" fmla="*/ 5071167 h 5973007"/>
              <a:gd name="connsiteX5743" fmla="*/ 2295370 w 6884782"/>
              <a:gd name="connsiteY5743" fmla="*/ 5070547 h 5973007"/>
              <a:gd name="connsiteX5744" fmla="*/ 2296918 w 6884782"/>
              <a:gd name="connsiteY5744" fmla="*/ 5070341 h 5973007"/>
              <a:gd name="connsiteX5745" fmla="*/ 2329601 w 6884782"/>
              <a:gd name="connsiteY5745" fmla="*/ 5070238 h 5973007"/>
              <a:gd name="connsiteX5746" fmla="*/ 2329756 w 6884782"/>
              <a:gd name="connsiteY5746" fmla="*/ 5072922 h 5973007"/>
              <a:gd name="connsiteX5747" fmla="*/ 2328207 w 6884782"/>
              <a:gd name="connsiteY5747" fmla="*/ 5073748 h 5973007"/>
              <a:gd name="connsiteX5748" fmla="*/ 2327432 w 6884782"/>
              <a:gd name="connsiteY5748" fmla="*/ 5076433 h 5973007"/>
              <a:gd name="connsiteX5749" fmla="*/ 2325883 w 6884782"/>
              <a:gd name="connsiteY5749" fmla="*/ 5076330 h 5973007"/>
              <a:gd name="connsiteX5750" fmla="*/ 2327277 w 6884782"/>
              <a:gd name="connsiteY5750" fmla="*/ 5071064 h 5973007"/>
              <a:gd name="connsiteX5751" fmla="*/ 2329601 w 6884782"/>
              <a:gd name="connsiteY5751" fmla="*/ 5070238 h 5973007"/>
              <a:gd name="connsiteX5752" fmla="*/ 1640158 w 6884782"/>
              <a:gd name="connsiteY5752" fmla="*/ 5069515 h 5973007"/>
              <a:gd name="connsiteX5753" fmla="*/ 1640622 w 6884782"/>
              <a:gd name="connsiteY5753" fmla="*/ 5072922 h 5973007"/>
              <a:gd name="connsiteX5754" fmla="*/ 1634891 w 6884782"/>
              <a:gd name="connsiteY5754" fmla="*/ 5077362 h 5973007"/>
              <a:gd name="connsiteX5755" fmla="*/ 1632878 w 6884782"/>
              <a:gd name="connsiteY5755" fmla="*/ 5076949 h 5973007"/>
              <a:gd name="connsiteX5756" fmla="*/ 1633033 w 6884782"/>
              <a:gd name="connsiteY5756" fmla="*/ 5072612 h 5973007"/>
              <a:gd name="connsiteX5757" fmla="*/ 1640158 w 6884782"/>
              <a:gd name="connsiteY5757" fmla="*/ 5069515 h 5973007"/>
              <a:gd name="connsiteX5758" fmla="*/ 2192674 w 6884782"/>
              <a:gd name="connsiteY5758" fmla="*/ 5069412 h 5973007"/>
              <a:gd name="connsiteX5759" fmla="*/ 2194222 w 6884782"/>
              <a:gd name="connsiteY5759" fmla="*/ 5082009 h 5973007"/>
              <a:gd name="connsiteX5760" fmla="*/ 2189265 w 6884782"/>
              <a:gd name="connsiteY5760" fmla="*/ 5071167 h 5973007"/>
              <a:gd name="connsiteX5761" fmla="*/ 2192674 w 6884782"/>
              <a:gd name="connsiteY5761" fmla="*/ 5069412 h 5973007"/>
              <a:gd name="connsiteX5762" fmla="*/ 2514218 w 6884782"/>
              <a:gd name="connsiteY5762" fmla="*/ 5069334 h 5973007"/>
              <a:gd name="connsiteX5763" fmla="*/ 2520124 w 6884782"/>
              <a:gd name="connsiteY5763" fmla="*/ 5069618 h 5973007"/>
              <a:gd name="connsiteX5764" fmla="*/ 2521053 w 6884782"/>
              <a:gd name="connsiteY5764" fmla="*/ 5074368 h 5973007"/>
              <a:gd name="connsiteX5765" fmla="*/ 2519349 w 6884782"/>
              <a:gd name="connsiteY5765" fmla="*/ 5076536 h 5973007"/>
              <a:gd name="connsiteX5766" fmla="*/ 2520743 w 6884782"/>
              <a:gd name="connsiteY5766" fmla="*/ 5078395 h 5973007"/>
              <a:gd name="connsiteX5767" fmla="*/ 2518265 w 6884782"/>
              <a:gd name="connsiteY5767" fmla="*/ 5080873 h 5973007"/>
              <a:gd name="connsiteX5768" fmla="*/ 2514857 w 6884782"/>
              <a:gd name="connsiteY5768" fmla="*/ 5078911 h 5973007"/>
              <a:gd name="connsiteX5769" fmla="*/ 2512224 w 6884782"/>
              <a:gd name="connsiteY5769" fmla="*/ 5078705 h 5973007"/>
              <a:gd name="connsiteX5770" fmla="*/ 2506493 w 6884782"/>
              <a:gd name="connsiteY5770" fmla="*/ 5078395 h 5973007"/>
              <a:gd name="connsiteX5771" fmla="*/ 2505408 w 6884782"/>
              <a:gd name="connsiteY5771" fmla="*/ 5074161 h 5973007"/>
              <a:gd name="connsiteX5772" fmla="*/ 2514218 w 6884782"/>
              <a:gd name="connsiteY5772" fmla="*/ 5069334 h 5973007"/>
              <a:gd name="connsiteX5773" fmla="*/ 1550163 w 6884782"/>
              <a:gd name="connsiteY5773" fmla="*/ 5068999 h 5973007"/>
              <a:gd name="connsiteX5774" fmla="*/ 1556049 w 6884782"/>
              <a:gd name="connsiteY5774" fmla="*/ 5073748 h 5973007"/>
              <a:gd name="connsiteX5775" fmla="*/ 1555585 w 6884782"/>
              <a:gd name="connsiteY5775" fmla="*/ 5078808 h 5973007"/>
              <a:gd name="connsiteX5776" fmla="*/ 1549853 w 6884782"/>
              <a:gd name="connsiteY5776" fmla="*/ 5084797 h 5973007"/>
              <a:gd name="connsiteX5777" fmla="*/ 1546911 w 6884782"/>
              <a:gd name="connsiteY5777" fmla="*/ 5081802 h 5973007"/>
              <a:gd name="connsiteX5778" fmla="*/ 1550163 w 6884782"/>
              <a:gd name="connsiteY5778" fmla="*/ 5068999 h 5973007"/>
              <a:gd name="connsiteX5779" fmla="*/ 1944839 w 6884782"/>
              <a:gd name="connsiteY5779" fmla="*/ 5068792 h 5973007"/>
              <a:gd name="connsiteX5780" fmla="*/ 1952739 w 6884782"/>
              <a:gd name="connsiteY5780" fmla="*/ 5071580 h 5973007"/>
              <a:gd name="connsiteX5781" fmla="*/ 1940967 w 6884782"/>
              <a:gd name="connsiteY5781" fmla="*/ 5089030 h 5973007"/>
              <a:gd name="connsiteX5782" fmla="*/ 1938643 w 6884782"/>
              <a:gd name="connsiteY5782" fmla="*/ 5084280 h 5973007"/>
              <a:gd name="connsiteX5783" fmla="*/ 1940192 w 6884782"/>
              <a:gd name="connsiteY5783" fmla="*/ 5075710 h 5973007"/>
              <a:gd name="connsiteX5784" fmla="*/ 1941276 w 6884782"/>
              <a:gd name="connsiteY5784" fmla="*/ 5074161 h 5973007"/>
              <a:gd name="connsiteX5785" fmla="*/ 1941431 w 6884782"/>
              <a:gd name="connsiteY5785" fmla="*/ 5073439 h 5973007"/>
              <a:gd name="connsiteX5786" fmla="*/ 1942361 w 6884782"/>
              <a:gd name="connsiteY5786" fmla="*/ 5072612 h 5973007"/>
              <a:gd name="connsiteX5787" fmla="*/ 1880713 w 6884782"/>
              <a:gd name="connsiteY5787" fmla="*/ 5068689 h 5973007"/>
              <a:gd name="connsiteX5788" fmla="*/ 1880247 w 6884782"/>
              <a:gd name="connsiteY5788" fmla="*/ 5073129 h 5973007"/>
              <a:gd name="connsiteX5789" fmla="*/ 1877149 w 6884782"/>
              <a:gd name="connsiteY5789" fmla="*/ 5075194 h 5973007"/>
              <a:gd name="connsiteX5790" fmla="*/ 1873277 w 6884782"/>
              <a:gd name="connsiteY5790" fmla="*/ 5074678 h 5973007"/>
              <a:gd name="connsiteX5791" fmla="*/ 1874051 w 6884782"/>
              <a:gd name="connsiteY5791" fmla="*/ 5074678 h 5973007"/>
              <a:gd name="connsiteX5792" fmla="*/ 1874361 w 6884782"/>
              <a:gd name="connsiteY5792" fmla="*/ 5072922 h 5973007"/>
              <a:gd name="connsiteX5793" fmla="*/ 1873432 w 6884782"/>
              <a:gd name="connsiteY5793" fmla="*/ 5072922 h 5973007"/>
              <a:gd name="connsiteX5794" fmla="*/ 1874516 w 6884782"/>
              <a:gd name="connsiteY5794" fmla="*/ 5071167 h 5973007"/>
              <a:gd name="connsiteX5795" fmla="*/ 1880713 w 6884782"/>
              <a:gd name="connsiteY5795" fmla="*/ 5068689 h 5973007"/>
              <a:gd name="connsiteX5796" fmla="*/ 2477624 w 6884782"/>
              <a:gd name="connsiteY5796" fmla="*/ 5067617 h 5973007"/>
              <a:gd name="connsiteX5797" fmla="*/ 2488060 w 6884782"/>
              <a:gd name="connsiteY5797" fmla="*/ 5071270 h 5973007"/>
              <a:gd name="connsiteX5798" fmla="*/ 2476907 w 6884782"/>
              <a:gd name="connsiteY5798" fmla="*/ 5082215 h 5973007"/>
              <a:gd name="connsiteX5799" fmla="*/ 2472416 w 6884782"/>
              <a:gd name="connsiteY5799" fmla="*/ 5077052 h 5973007"/>
              <a:gd name="connsiteX5800" fmla="*/ 2477624 w 6884782"/>
              <a:gd name="connsiteY5800" fmla="*/ 5067617 h 5973007"/>
              <a:gd name="connsiteX5801" fmla="*/ 2299241 w 6884782"/>
              <a:gd name="connsiteY5801" fmla="*/ 5066417 h 5973007"/>
              <a:gd name="connsiteX5802" fmla="*/ 2300171 w 6884782"/>
              <a:gd name="connsiteY5802" fmla="*/ 5070857 h 5973007"/>
              <a:gd name="connsiteX5803" fmla="*/ 2299087 w 6884782"/>
              <a:gd name="connsiteY5803" fmla="*/ 5071167 h 5973007"/>
              <a:gd name="connsiteX5804" fmla="*/ 2299241 w 6884782"/>
              <a:gd name="connsiteY5804" fmla="*/ 5066417 h 5973007"/>
              <a:gd name="connsiteX5805" fmla="*/ 1829906 w 6884782"/>
              <a:gd name="connsiteY5805" fmla="*/ 5066004 h 5973007"/>
              <a:gd name="connsiteX5806" fmla="*/ 1830835 w 6884782"/>
              <a:gd name="connsiteY5806" fmla="*/ 5072303 h 5973007"/>
              <a:gd name="connsiteX5807" fmla="*/ 1829441 w 6884782"/>
              <a:gd name="connsiteY5807" fmla="*/ 5069515 h 5973007"/>
              <a:gd name="connsiteX5808" fmla="*/ 1829906 w 6884782"/>
              <a:gd name="connsiteY5808" fmla="*/ 5066004 h 5973007"/>
              <a:gd name="connsiteX5809" fmla="*/ 1999207 w 6884782"/>
              <a:gd name="connsiteY5809" fmla="*/ 5065591 h 5973007"/>
              <a:gd name="connsiteX5810" fmla="*/ 2000912 w 6884782"/>
              <a:gd name="connsiteY5810" fmla="*/ 5066417 h 5973007"/>
              <a:gd name="connsiteX5811" fmla="*/ 2002460 w 6884782"/>
              <a:gd name="connsiteY5811" fmla="*/ 5066727 h 5973007"/>
              <a:gd name="connsiteX5812" fmla="*/ 2002460 w 6884782"/>
              <a:gd name="connsiteY5812" fmla="*/ 5067450 h 5973007"/>
              <a:gd name="connsiteX5813" fmla="*/ 2005249 w 6884782"/>
              <a:gd name="connsiteY5813" fmla="*/ 5073129 h 5973007"/>
              <a:gd name="connsiteX5814" fmla="*/ 2003854 w 6884782"/>
              <a:gd name="connsiteY5814" fmla="*/ 5077362 h 5973007"/>
              <a:gd name="connsiteX5815" fmla="*/ 1999672 w 6884782"/>
              <a:gd name="connsiteY5815" fmla="*/ 5077569 h 5973007"/>
              <a:gd name="connsiteX5816" fmla="*/ 1998123 w 6884782"/>
              <a:gd name="connsiteY5816" fmla="*/ 5076226 h 5973007"/>
              <a:gd name="connsiteX5817" fmla="*/ 1996265 w 6884782"/>
              <a:gd name="connsiteY5817" fmla="*/ 5077569 h 5973007"/>
              <a:gd name="connsiteX5818" fmla="*/ 1991927 w 6884782"/>
              <a:gd name="connsiteY5818" fmla="*/ 5080150 h 5973007"/>
              <a:gd name="connsiteX5819" fmla="*/ 1989139 w 6884782"/>
              <a:gd name="connsiteY5819" fmla="*/ 5076743 h 5973007"/>
              <a:gd name="connsiteX5820" fmla="*/ 1990224 w 6884782"/>
              <a:gd name="connsiteY5820" fmla="*/ 5072199 h 5973007"/>
              <a:gd name="connsiteX5821" fmla="*/ 1991153 w 6884782"/>
              <a:gd name="connsiteY5821" fmla="*/ 5071374 h 5973007"/>
              <a:gd name="connsiteX5822" fmla="*/ 1995490 w 6884782"/>
              <a:gd name="connsiteY5822" fmla="*/ 5068276 h 5973007"/>
              <a:gd name="connsiteX5823" fmla="*/ 1995800 w 6884782"/>
              <a:gd name="connsiteY5823" fmla="*/ 5066004 h 5973007"/>
              <a:gd name="connsiteX5824" fmla="*/ 1999207 w 6884782"/>
              <a:gd name="connsiteY5824" fmla="*/ 5065591 h 5973007"/>
              <a:gd name="connsiteX5825" fmla="*/ 1648833 w 6884782"/>
              <a:gd name="connsiteY5825" fmla="*/ 5065384 h 5973007"/>
              <a:gd name="connsiteX5826" fmla="*/ 1649142 w 6884782"/>
              <a:gd name="connsiteY5826" fmla="*/ 5068069 h 5973007"/>
              <a:gd name="connsiteX5827" fmla="*/ 1647593 w 6884782"/>
              <a:gd name="connsiteY5827" fmla="*/ 5069102 h 5973007"/>
              <a:gd name="connsiteX5828" fmla="*/ 1647283 w 6884782"/>
              <a:gd name="connsiteY5828" fmla="*/ 5071890 h 5973007"/>
              <a:gd name="connsiteX5829" fmla="*/ 1645734 w 6884782"/>
              <a:gd name="connsiteY5829" fmla="*/ 5071890 h 5973007"/>
              <a:gd name="connsiteX5830" fmla="*/ 1646509 w 6884782"/>
              <a:gd name="connsiteY5830" fmla="*/ 5066417 h 5973007"/>
              <a:gd name="connsiteX5831" fmla="*/ 1648833 w 6884782"/>
              <a:gd name="connsiteY5831" fmla="*/ 5065384 h 5973007"/>
              <a:gd name="connsiteX5832" fmla="*/ 2096541 w 6884782"/>
              <a:gd name="connsiteY5832" fmla="*/ 5064984 h 5973007"/>
              <a:gd name="connsiteX5833" fmla="*/ 2104537 w 6884782"/>
              <a:gd name="connsiteY5833" fmla="*/ 5066004 h 5973007"/>
              <a:gd name="connsiteX5834" fmla="*/ 2105157 w 6884782"/>
              <a:gd name="connsiteY5834" fmla="*/ 5073232 h 5973007"/>
              <a:gd name="connsiteX5835" fmla="*/ 2101749 w 6884782"/>
              <a:gd name="connsiteY5835" fmla="*/ 5073748 h 5973007"/>
              <a:gd name="connsiteX5836" fmla="*/ 2102059 w 6884782"/>
              <a:gd name="connsiteY5836" fmla="*/ 5074987 h 5973007"/>
              <a:gd name="connsiteX5837" fmla="*/ 2101130 w 6884782"/>
              <a:gd name="connsiteY5837" fmla="*/ 5078085 h 5973007"/>
              <a:gd name="connsiteX5838" fmla="*/ 2096947 w 6884782"/>
              <a:gd name="connsiteY5838" fmla="*/ 5074987 h 5973007"/>
              <a:gd name="connsiteX5839" fmla="*/ 2096792 w 6884782"/>
              <a:gd name="connsiteY5839" fmla="*/ 5074574 h 5973007"/>
              <a:gd name="connsiteX5840" fmla="*/ 2095243 w 6884782"/>
              <a:gd name="connsiteY5840" fmla="*/ 5074884 h 5973007"/>
              <a:gd name="connsiteX5841" fmla="*/ 2092145 w 6884782"/>
              <a:gd name="connsiteY5841" fmla="*/ 5073955 h 5973007"/>
              <a:gd name="connsiteX5842" fmla="*/ 2096541 w 6884782"/>
              <a:gd name="connsiteY5842" fmla="*/ 5064984 h 5973007"/>
              <a:gd name="connsiteX5843" fmla="*/ 2017795 w 6884782"/>
              <a:gd name="connsiteY5843" fmla="*/ 5063526 h 5973007"/>
              <a:gd name="connsiteX5844" fmla="*/ 2021822 w 6884782"/>
              <a:gd name="connsiteY5844" fmla="*/ 5070135 h 5973007"/>
              <a:gd name="connsiteX5845" fmla="*/ 2018260 w 6884782"/>
              <a:gd name="connsiteY5845" fmla="*/ 5071580 h 5973007"/>
              <a:gd name="connsiteX5846" fmla="*/ 2015471 w 6884782"/>
              <a:gd name="connsiteY5846" fmla="*/ 5069721 h 5973007"/>
              <a:gd name="connsiteX5847" fmla="*/ 2017795 w 6884782"/>
              <a:gd name="connsiteY5847" fmla="*/ 5063526 h 5973007"/>
              <a:gd name="connsiteX5848" fmla="*/ 2323560 w 6884782"/>
              <a:gd name="connsiteY5848" fmla="*/ 5063319 h 5973007"/>
              <a:gd name="connsiteX5849" fmla="*/ 2326193 w 6884782"/>
              <a:gd name="connsiteY5849" fmla="*/ 5063423 h 5973007"/>
              <a:gd name="connsiteX5850" fmla="*/ 2325419 w 6884782"/>
              <a:gd name="connsiteY5850" fmla="*/ 5065075 h 5973007"/>
              <a:gd name="connsiteX5851" fmla="*/ 2322166 w 6884782"/>
              <a:gd name="connsiteY5851" fmla="*/ 5069308 h 5973007"/>
              <a:gd name="connsiteX5852" fmla="*/ 2321082 w 6884782"/>
              <a:gd name="connsiteY5852" fmla="*/ 5066624 h 5973007"/>
              <a:gd name="connsiteX5853" fmla="*/ 2322786 w 6884782"/>
              <a:gd name="connsiteY5853" fmla="*/ 5064972 h 5973007"/>
              <a:gd name="connsiteX5854" fmla="*/ 2323560 w 6884782"/>
              <a:gd name="connsiteY5854" fmla="*/ 5063319 h 5973007"/>
              <a:gd name="connsiteX5855" fmla="*/ 2243169 w 6884782"/>
              <a:gd name="connsiteY5855" fmla="*/ 5063319 h 5973007"/>
              <a:gd name="connsiteX5856" fmla="*/ 2243944 w 6884782"/>
              <a:gd name="connsiteY5856" fmla="*/ 5063732 h 5973007"/>
              <a:gd name="connsiteX5857" fmla="*/ 2243789 w 6884782"/>
              <a:gd name="connsiteY5857" fmla="*/ 5065694 h 5973007"/>
              <a:gd name="connsiteX5858" fmla="*/ 2239762 w 6884782"/>
              <a:gd name="connsiteY5858" fmla="*/ 5072716 h 5973007"/>
              <a:gd name="connsiteX5859" fmla="*/ 2238987 w 6884782"/>
              <a:gd name="connsiteY5859" fmla="*/ 5074265 h 5973007"/>
              <a:gd name="connsiteX5860" fmla="*/ 2236819 w 6884782"/>
              <a:gd name="connsiteY5860" fmla="*/ 5074884 h 5973007"/>
              <a:gd name="connsiteX5861" fmla="*/ 2239297 w 6884782"/>
              <a:gd name="connsiteY5861" fmla="*/ 5067759 h 5973007"/>
              <a:gd name="connsiteX5862" fmla="*/ 2241001 w 6884782"/>
              <a:gd name="connsiteY5862" fmla="*/ 5063939 h 5973007"/>
              <a:gd name="connsiteX5863" fmla="*/ 2243169 w 6884782"/>
              <a:gd name="connsiteY5863" fmla="*/ 5063319 h 5973007"/>
              <a:gd name="connsiteX5864" fmla="*/ 2218851 w 6884782"/>
              <a:gd name="connsiteY5864" fmla="*/ 5063216 h 5973007"/>
              <a:gd name="connsiteX5865" fmla="*/ 2220864 w 6884782"/>
              <a:gd name="connsiteY5865" fmla="*/ 5064972 h 5973007"/>
              <a:gd name="connsiteX5866" fmla="*/ 2218851 w 6884782"/>
              <a:gd name="connsiteY5866" fmla="*/ 5067037 h 5973007"/>
              <a:gd name="connsiteX5867" fmla="*/ 2216372 w 6884782"/>
              <a:gd name="connsiteY5867" fmla="*/ 5067759 h 5973007"/>
              <a:gd name="connsiteX5868" fmla="*/ 2215443 w 6884782"/>
              <a:gd name="connsiteY5868" fmla="*/ 5066727 h 5973007"/>
              <a:gd name="connsiteX5869" fmla="*/ 2214823 w 6884782"/>
              <a:gd name="connsiteY5869" fmla="*/ 5064765 h 5973007"/>
              <a:gd name="connsiteX5870" fmla="*/ 2218851 w 6884782"/>
              <a:gd name="connsiteY5870" fmla="*/ 5063216 h 5973007"/>
              <a:gd name="connsiteX5871" fmla="*/ 2285766 w 6884782"/>
              <a:gd name="connsiteY5871" fmla="*/ 5059706 h 5973007"/>
              <a:gd name="connsiteX5872" fmla="*/ 2271670 w 6884782"/>
              <a:gd name="connsiteY5872" fmla="*/ 5066934 h 5973007"/>
              <a:gd name="connsiteX5873" fmla="*/ 2271515 w 6884782"/>
              <a:gd name="connsiteY5873" fmla="*/ 5063423 h 5973007"/>
              <a:gd name="connsiteX5874" fmla="*/ 2273219 w 6884782"/>
              <a:gd name="connsiteY5874" fmla="*/ 5063423 h 5973007"/>
              <a:gd name="connsiteX5875" fmla="*/ 2285766 w 6884782"/>
              <a:gd name="connsiteY5875" fmla="*/ 5059706 h 5973007"/>
              <a:gd name="connsiteX5876" fmla="*/ 2567522 w 6884782"/>
              <a:gd name="connsiteY5876" fmla="*/ 5059086 h 5973007"/>
              <a:gd name="connsiteX5877" fmla="*/ 2573717 w 6884782"/>
              <a:gd name="connsiteY5877" fmla="*/ 5067243 h 5973007"/>
              <a:gd name="connsiteX5878" fmla="*/ 2571239 w 6884782"/>
              <a:gd name="connsiteY5878" fmla="*/ 5067553 h 5973007"/>
              <a:gd name="connsiteX5879" fmla="*/ 2567522 w 6884782"/>
              <a:gd name="connsiteY5879" fmla="*/ 5059086 h 5973007"/>
              <a:gd name="connsiteX5880" fmla="*/ 1644805 w 6884782"/>
              <a:gd name="connsiteY5880" fmla="*/ 5058879 h 5973007"/>
              <a:gd name="connsiteX5881" fmla="*/ 1644185 w 6884782"/>
              <a:gd name="connsiteY5881" fmla="*/ 5060635 h 5973007"/>
              <a:gd name="connsiteX5882" fmla="*/ 1641242 w 6884782"/>
              <a:gd name="connsiteY5882" fmla="*/ 5065178 h 5973007"/>
              <a:gd name="connsiteX5883" fmla="*/ 1640003 w 6884782"/>
              <a:gd name="connsiteY5883" fmla="*/ 5062597 h 5973007"/>
              <a:gd name="connsiteX5884" fmla="*/ 1641552 w 6884782"/>
              <a:gd name="connsiteY5884" fmla="*/ 5060841 h 5973007"/>
              <a:gd name="connsiteX5885" fmla="*/ 1642172 w 6884782"/>
              <a:gd name="connsiteY5885" fmla="*/ 5058983 h 5973007"/>
              <a:gd name="connsiteX5886" fmla="*/ 1644805 w 6884782"/>
              <a:gd name="connsiteY5886" fmla="*/ 5058879 h 5973007"/>
              <a:gd name="connsiteX5887" fmla="*/ 1736658 w 6884782"/>
              <a:gd name="connsiteY5887" fmla="*/ 5058260 h 5973007"/>
              <a:gd name="connsiteX5888" fmla="*/ 1740066 w 6884782"/>
              <a:gd name="connsiteY5888" fmla="*/ 5064765 h 5973007"/>
              <a:gd name="connsiteX5889" fmla="*/ 1738053 w 6884782"/>
              <a:gd name="connsiteY5889" fmla="*/ 5070857 h 5973007"/>
              <a:gd name="connsiteX5890" fmla="*/ 1734645 w 6884782"/>
              <a:gd name="connsiteY5890" fmla="*/ 5068689 h 5973007"/>
              <a:gd name="connsiteX5891" fmla="*/ 1735110 w 6884782"/>
              <a:gd name="connsiteY5891" fmla="*/ 5063629 h 5973007"/>
              <a:gd name="connsiteX5892" fmla="*/ 1734799 w 6884782"/>
              <a:gd name="connsiteY5892" fmla="*/ 5060325 h 5973007"/>
              <a:gd name="connsiteX5893" fmla="*/ 1736658 w 6884782"/>
              <a:gd name="connsiteY5893" fmla="*/ 5058260 h 5973007"/>
              <a:gd name="connsiteX5894" fmla="*/ 2193448 w 6884782"/>
              <a:gd name="connsiteY5894" fmla="*/ 5058157 h 5973007"/>
              <a:gd name="connsiteX5895" fmla="*/ 2195771 w 6884782"/>
              <a:gd name="connsiteY5895" fmla="*/ 5066417 h 5973007"/>
              <a:gd name="connsiteX5896" fmla="*/ 2191434 w 6884782"/>
              <a:gd name="connsiteY5896" fmla="*/ 5068379 h 5973007"/>
              <a:gd name="connsiteX5897" fmla="*/ 2186012 w 6884782"/>
              <a:gd name="connsiteY5897" fmla="*/ 5067450 h 5973007"/>
              <a:gd name="connsiteX5898" fmla="*/ 2193448 w 6884782"/>
              <a:gd name="connsiteY5898" fmla="*/ 5058157 h 5973007"/>
              <a:gd name="connsiteX5899" fmla="*/ 1104217 w 6884782"/>
              <a:gd name="connsiteY5899" fmla="*/ 5057640 h 5973007"/>
              <a:gd name="connsiteX5900" fmla="*/ 1109948 w 6884782"/>
              <a:gd name="connsiteY5900" fmla="*/ 5059499 h 5973007"/>
              <a:gd name="connsiteX5901" fmla="*/ 1110413 w 6884782"/>
              <a:gd name="connsiteY5901" fmla="*/ 5062080 h 5973007"/>
              <a:gd name="connsiteX5902" fmla="*/ 1109174 w 6884782"/>
              <a:gd name="connsiteY5902" fmla="*/ 5067243 h 5973007"/>
              <a:gd name="connsiteX5903" fmla="*/ 1109948 w 6884782"/>
              <a:gd name="connsiteY5903" fmla="*/ 5067243 h 5973007"/>
              <a:gd name="connsiteX5904" fmla="*/ 1104837 w 6884782"/>
              <a:gd name="connsiteY5904" fmla="*/ 5068069 h 5973007"/>
              <a:gd name="connsiteX5905" fmla="*/ 1101893 w 6884782"/>
              <a:gd name="connsiteY5905" fmla="*/ 5064662 h 5973007"/>
              <a:gd name="connsiteX5906" fmla="*/ 1104217 w 6884782"/>
              <a:gd name="connsiteY5906" fmla="*/ 5057640 h 5973007"/>
              <a:gd name="connsiteX5907" fmla="*/ 2292271 w 6884782"/>
              <a:gd name="connsiteY5907" fmla="*/ 5055782 h 5973007"/>
              <a:gd name="connsiteX5908" fmla="*/ 2288864 w 6884782"/>
              <a:gd name="connsiteY5908" fmla="*/ 5058260 h 5973007"/>
              <a:gd name="connsiteX5909" fmla="*/ 2288089 w 6884782"/>
              <a:gd name="connsiteY5909" fmla="*/ 5057331 h 5973007"/>
              <a:gd name="connsiteX5910" fmla="*/ 2292271 w 6884782"/>
              <a:gd name="connsiteY5910" fmla="*/ 5055782 h 5973007"/>
              <a:gd name="connsiteX5911" fmla="*/ 2279008 w 6884782"/>
              <a:gd name="connsiteY5911" fmla="*/ 5055098 h 5973007"/>
              <a:gd name="connsiteX5912" fmla="*/ 2283752 w 6884782"/>
              <a:gd name="connsiteY5912" fmla="*/ 5055369 h 5973007"/>
              <a:gd name="connsiteX5913" fmla="*/ 2283752 w 6884782"/>
              <a:gd name="connsiteY5913" fmla="*/ 5056195 h 5973007"/>
              <a:gd name="connsiteX5914" fmla="*/ 2275078 w 6884782"/>
              <a:gd name="connsiteY5914" fmla="*/ 5057847 h 5973007"/>
              <a:gd name="connsiteX5915" fmla="*/ 2271980 w 6884782"/>
              <a:gd name="connsiteY5915" fmla="*/ 5057434 h 5973007"/>
              <a:gd name="connsiteX5916" fmla="*/ 2272755 w 6884782"/>
              <a:gd name="connsiteY5916" fmla="*/ 5057434 h 5973007"/>
              <a:gd name="connsiteX5917" fmla="*/ 2271825 w 6884782"/>
              <a:gd name="connsiteY5917" fmla="*/ 5056608 h 5973007"/>
              <a:gd name="connsiteX5918" fmla="*/ 2279008 w 6884782"/>
              <a:gd name="connsiteY5918" fmla="*/ 5055098 h 5973007"/>
              <a:gd name="connsiteX5919" fmla="*/ 1573553 w 6884782"/>
              <a:gd name="connsiteY5919" fmla="*/ 5055059 h 5973007"/>
              <a:gd name="connsiteX5920" fmla="*/ 1569216 w 6884782"/>
              <a:gd name="connsiteY5920" fmla="*/ 5062390 h 5973007"/>
              <a:gd name="connsiteX5921" fmla="*/ 1573553 w 6884782"/>
              <a:gd name="connsiteY5921" fmla="*/ 5055059 h 5973007"/>
              <a:gd name="connsiteX5922" fmla="*/ 2537472 w 6884782"/>
              <a:gd name="connsiteY5922" fmla="*/ 5054852 h 5973007"/>
              <a:gd name="connsiteX5923" fmla="*/ 2536078 w 6884782"/>
              <a:gd name="connsiteY5923" fmla="*/ 5066520 h 5973007"/>
              <a:gd name="connsiteX5924" fmla="*/ 2532360 w 6884782"/>
              <a:gd name="connsiteY5924" fmla="*/ 5062184 h 5973007"/>
              <a:gd name="connsiteX5925" fmla="*/ 2537472 w 6884782"/>
              <a:gd name="connsiteY5925" fmla="*/ 5054852 h 5973007"/>
              <a:gd name="connsiteX5926" fmla="*/ 1610573 w 6884782"/>
              <a:gd name="connsiteY5926" fmla="*/ 5054749 h 5973007"/>
              <a:gd name="connsiteX5927" fmla="*/ 1607475 w 6884782"/>
              <a:gd name="connsiteY5927" fmla="*/ 5057640 h 5973007"/>
              <a:gd name="connsiteX5928" fmla="*/ 1606546 w 6884782"/>
              <a:gd name="connsiteY5928" fmla="*/ 5056814 h 5973007"/>
              <a:gd name="connsiteX5929" fmla="*/ 1610573 w 6884782"/>
              <a:gd name="connsiteY5929" fmla="*/ 5054749 h 5973007"/>
              <a:gd name="connsiteX5930" fmla="*/ 2488524 w 6884782"/>
              <a:gd name="connsiteY5930" fmla="*/ 5054646 h 5973007"/>
              <a:gd name="connsiteX5931" fmla="*/ 2493636 w 6884782"/>
              <a:gd name="connsiteY5931" fmla="*/ 5057434 h 5973007"/>
              <a:gd name="connsiteX5932" fmla="*/ 2490538 w 6884782"/>
              <a:gd name="connsiteY5932" fmla="*/ 5061668 h 5973007"/>
              <a:gd name="connsiteX5933" fmla="*/ 2488524 w 6884782"/>
              <a:gd name="connsiteY5933" fmla="*/ 5054646 h 5973007"/>
              <a:gd name="connsiteX5934" fmla="*/ 2581462 w 6884782"/>
              <a:gd name="connsiteY5934" fmla="*/ 5053820 h 5973007"/>
              <a:gd name="connsiteX5935" fmla="*/ 2587658 w 6884782"/>
              <a:gd name="connsiteY5935" fmla="*/ 5063113 h 5973007"/>
              <a:gd name="connsiteX5936" fmla="*/ 2582392 w 6884782"/>
              <a:gd name="connsiteY5936" fmla="*/ 5063010 h 5973007"/>
              <a:gd name="connsiteX5937" fmla="*/ 2580378 w 6884782"/>
              <a:gd name="connsiteY5937" fmla="*/ 5058879 h 5973007"/>
              <a:gd name="connsiteX5938" fmla="*/ 2581462 w 6884782"/>
              <a:gd name="connsiteY5938" fmla="*/ 5053820 h 5973007"/>
              <a:gd name="connsiteX5939" fmla="*/ 2046393 w 6884782"/>
              <a:gd name="connsiteY5939" fmla="*/ 5053394 h 5973007"/>
              <a:gd name="connsiteX5940" fmla="*/ 2049239 w 6884782"/>
              <a:gd name="connsiteY5940" fmla="*/ 5057640 h 5973007"/>
              <a:gd name="connsiteX5941" fmla="*/ 2045676 w 6884782"/>
              <a:gd name="connsiteY5941" fmla="*/ 5058157 h 5973007"/>
              <a:gd name="connsiteX5942" fmla="*/ 2044127 w 6884782"/>
              <a:gd name="connsiteY5942" fmla="*/ 5057434 h 5973007"/>
              <a:gd name="connsiteX5943" fmla="*/ 2046393 w 6884782"/>
              <a:gd name="connsiteY5943" fmla="*/ 5053394 h 5973007"/>
              <a:gd name="connsiteX5944" fmla="*/ 2124519 w 6884782"/>
              <a:gd name="connsiteY5944" fmla="*/ 5052271 h 5973007"/>
              <a:gd name="connsiteX5945" fmla="*/ 2149767 w 6884782"/>
              <a:gd name="connsiteY5945" fmla="*/ 5057537 h 5973007"/>
              <a:gd name="connsiteX5946" fmla="*/ 2144345 w 6884782"/>
              <a:gd name="connsiteY5946" fmla="*/ 5061151 h 5973007"/>
              <a:gd name="connsiteX5947" fmla="*/ 2124519 w 6884782"/>
              <a:gd name="connsiteY5947" fmla="*/ 5052271 h 5973007"/>
              <a:gd name="connsiteX5948" fmla="*/ 1966834 w 6884782"/>
              <a:gd name="connsiteY5948" fmla="*/ 5052168 h 5973007"/>
              <a:gd name="connsiteX5949" fmla="*/ 1979536 w 6884782"/>
              <a:gd name="connsiteY5949" fmla="*/ 5062803 h 5973007"/>
              <a:gd name="connsiteX5950" fmla="*/ 1976283 w 6884782"/>
              <a:gd name="connsiteY5950" fmla="*/ 5065901 h 5973007"/>
              <a:gd name="connsiteX5951" fmla="*/ 1972565 w 6884782"/>
              <a:gd name="connsiteY5951" fmla="*/ 5065384 h 5973007"/>
              <a:gd name="connsiteX5952" fmla="*/ 1969313 w 6884782"/>
              <a:gd name="connsiteY5952" fmla="*/ 5063629 h 5973007"/>
              <a:gd name="connsiteX5953" fmla="*/ 1967299 w 6884782"/>
              <a:gd name="connsiteY5953" fmla="*/ 5060325 h 5973007"/>
              <a:gd name="connsiteX5954" fmla="*/ 1963891 w 6884782"/>
              <a:gd name="connsiteY5954" fmla="*/ 5055162 h 5973007"/>
              <a:gd name="connsiteX5955" fmla="*/ 1966834 w 6884782"/>
              <a:gd name="connsiteY5955" fmla="*/ 5052168 h 5973007"/>
              <a:gd name="connsiteX5956" fmla="*/ 1715438 w 6884782"/>
              <a:gd name="connsiteY5956" fmla="*/ 5051135 h 5973007"/>
              <a:gd name="connsiteX5957" fmla="*/ 1720704 w 6884782"/>
              <a:gd name="connsiteY5957" fmla="*/ 5053304 h 5973007"/>
              <a:gd name="connsiteX5958" fmla="*/ 1725197 w 6884782"/>
              <a:gd name="connsiteY5958" fmla="*/ 5059499 h 5973007"/>
              <a:gd name="connsiteX5959" fmla="*/ 1723957 w 6884782"/>
              <a:gd name="connsiteY5959" fmla="*/ 5059809 h 5973007"/>
              <a:gd name="connsiteX5960" fmla="*/ 1715438 w 6884782"/>
              <a:gd name="connsiteY5960" fmla="*/ 5051135 h 5973007"/>
              <a:gd name="connsiteX5961" fmla="*/ 2325109 w 6884782"/>
              <a:gd name="connsiteY5961" fmla="*/ 5049586 h 5973007"/>
              <a:gd name="connsiteX5962" fmla="*/ 2328207 w 6884782"/>
              <a:gd name="connsiteY5962" fmla="*/ 5051342 h 5973007"/>
              <a:gd name="connsiteX5963" fmla="*/ 2329136 w 6884782"/>
              <a:gd name="connsiteY5963" fmla="*/ 5059086 h 5973007"/>
              <a:gd name="connsiteX5964" fmla="*/ 2327742 w 6884782"/>
              <a:gd name="connsiteY5964" fmla="*/ 5060635 h 5973007"/>
              <a:gd name="connsiteX5965" fmla="*/ 2324334 w 6884782"/>
              <a:gd name="connsiteY5965" fmla="*/ 5057640 h 5973007"/>
              <a:gd name="connsiteX5966" fmla="*/ 2325109 w 6884782"/>
              <a:gd name="connsiteY5966" fmla="*/ 5049586 h 5973007"/>
              <a:gd name="connsiteX5967" fmla="*/ 2500819 w 6884782"/>
              <a:gd name="connsiteY5967" fmla="*/ 5049147 h 5973007"/>
              <a:gd name="connsiteX5968" fmla="*/ 2502465 w 6884782"/>
              <a:gd name="connsiteY5968" fmla="*/ 5052065 h 5973007"/>
              <a:gd name="connsiteX5969" fmla="*/ 2500606 w 6884782"/>
              <a:gd name="connsiteY5969" fmla="*/ 5054233 h 5973007"/>
              <a:gd name="connsiteX5970" fmla="*/ 2497199 w 6884782"/>
              <a:gd name="connsiteY5970" fmla="*/ 5050412 h 5973007"/>
              <a:gd name="connsiteX5971" fmla="*/ 2500819 w 6884782"/>
              <a:gd name="connsiteY5971" fmla="*/ 5049147 h 5973007"/>
              <a:gd name="connsiteX5972" fmla="*/ 1054185 w 6884782"/>
              <a:gd name="connsiteY5972" fmla="*/ 5048038 h 5973007"/>
              <a:gd name="connsiteX5973" fmla="*/ 1055889 w 6884782"/>
              <a:gd name="connsiteY5973" fmla="*/ 5051961 h 5973007"/>
              <a:gd name="connsiteX5974" fmla="*/ 1043497 w 6884782"/>
              <a:gd name="connsiteY5974" fmla="*/ 5062907 h 5973007"/>
              <a:gd name="connsiteX5975" fmla="*/ 1037767 w 6884782"/>
              <a:gd name="connsiteY5975" fmla="*/ 5061771 h 5973007"/>
              <a:gd name="connsiteX5976" fmla="*/ 1054185 w 6884782"/>
              <a:gd name="connsiteY5976" fmla="*/ 5048038 h 5973007"/>
              <a:gd name="connsiteX5977" fmla="*/ 1715593 w 6884782"/>
              <a:gd name="connsiteY5977" fmla="*/ 5047934 h 5973007"/>
              <a:gd name="connsiteX5978" fmla="*/ 1702736 w 6884782"/>
              <a:gd name="connsiteY5978" fmla="*/ 5055885 h 5973007"/>
              <a:gd name="connsiteX5979" fmla="*/ 1702117 w 6884782"/>
              <a:gd name="connsiteY5979" fmla="*/ 5055369 h 5973007"/>
              <a:gd name="connsiteX5980" fmla="*/ 1702426 w 6884782"/>
              <a:gd name="connsiteY5980" fmla="*/ 5053304 h 5973007"/>
              <a:gd name="connsiteX5981" fmla="*/ 1705679 w 6884782"/>
              <a:gd name="connsiteY5981" fmla="*/ 5051239 h 5973007"/>
              <a:gd name="connsiteX5982" fmla="*/ 1713888 w 6884782"/>
              <a:gd name="connsiteY5982" fmla="*/ 5048967 h 5973007"/>
              <a:gd name="connsiteX5983" fmla="*/ 1715593 w 6884782"/>
              <a:gd name="connsiteY5983" fmla="*/ 5047934 h 5973007"/>
              <a:gd name="connsiteX5984" fmla="*/ 1553571 w 6884782"/>
              <a:gd name="connsiteY5984" fmla="*/ 5047728 h 5973007"/>
              <a:gd name="connsiteX5985" fmla="*/ 1556824 w 6884782"/>
              <a:gd name="connsiteY5985" fmla="*/ 5057331 h 5973007"/>
              <a:gd name="connsiteX5986" fmla="*/ 1554036 w 6884782"/>
              <a:gd name="connsiteY5986" fmla="*/ 5067759 h 5973007"/>
              <a:gd name="connsiteX5987" fmla="*/ 1551557 w 6884782"/>
              <a:gd name="connsiteY5987" fmla="*/ 5063423 h 5973007"/>
              <a:gd name="connsiteX5988" fmla="*/ 1553571 w 6884782"/>
              <a:gd name="connsiteY5988" fmla="*/ 5047728 h 5973007"/>
              <a:gd name="connsiteX5989" fmla="*/ 1421948 w 6884782"/>
              <a:gd name="connsiteY5989" fmla="*/ 5047134 h 5973007"/>
              <a:gd name="connsiteX5990" fmla="*/ 1435850 w 6884782"/>
              <a:gd name="connsiteY5990" fmla="*/ 5049173 h 5973007"/>
              <a:gd name="connsiteX5991" fmla="*/ 1409672 w 6884782"/>
              <a:gd name="connsiteY5991" fmla="*/ 5057640 h 5973007"/>
              <a:gd name="connsiteX5992" fmla="*/ 1421948 w 6884782"/>
              <a:gd name="connsiteY5992" fmla="*/ 5047134 h 5973007"/>
              <a:gd name="connsiteX5993" fmla="*/ 2170833 w 6884782"/>
              <a:gd name="connsiteY5993" fmla="*/ 5046076 h 5973007"/>
              <a:gd name="connsiteX5994" fmla="*/ 2176099 w 6884782"/>
              <a:gd name="connsiteY5994" fmla="*/ 5047108 h 5973007"/>
              <a:gd name="connsiteX5995" fmla="*/ 2175789 w 6884782"/>
              <a:gd name="connsiteY5995" fmla="*/ 5049896 h 5973007"/>
              <a:gd name="connsiteX5996" fmla="*/ 2172227 w 6884782"/>
              <a:gd name="connsiteY5996" fmla="*/ 5052478 h 5973007"/>
              <a:gd name="connsiteX5997" fmla="*/ 2173931 w 6884782"/>
              <a:gd name="connsiteY5997" fmla="*/ 5053201 h 5973007"/>
              <a:gd name="connsiteX5998" fmla="*/ 2176874 w 6884782"/>
              <a:gd name="connsiteY5998" fmla="*/ 5056711 h 5973007"/>
              <a:gd name="connsiteX5999" fmla="*/ 2173156 w 6884782"/>
              <a:gd name="connsiteY5999" fmla="*/ 5060841 h 5973007"/>
              <a:gd name="connsiteX6000" fmla="*/ 2170833 w 6884782"/>
              <a:gd name="connsiteY6000" fmla="*/ 5060738 h 5973007"/>
              <a:gd name="connsiteX6001" fmla="*/ 2162313 w 6884782"/>
              <a:gd name="connsiteY6001" fmla="*/ 5056711 h 5973007"/>
              <a:gd name="connsiteX6002" fmla="*/ 2162933 w 6884782"/>
              <a:gd name="connsiteY6002" fmla="*/ 5052271 h 5973007"/>
              <a:gd name="connsiteX6003" fmla="*/ 2163553 w 6884782"/>
              <a:gd name="connsiteY6003" fmla="*/ 5051961 h 5973007"/>
              <a:gd name="connsiteX6004" fmla="*/ 2315970 w 6884782"/>
              <a:gd name="connsiteY6004" fmla="*/ 5045559 h 5973007"/>
              <a:gd name="connsiteX6005" fmla="*/ 2310858 w 6884782"/>
              <a:gd name="connsiteY6005" fmla="*/ 5051445 h 5973007"/>
              <a:gd name="connsiteX6006" fmla="*/ 2308845 w 6884782"/>
              <a:gd name="connsiteY6006" fmla="*/ 5051239 h 5973007"/>
              <a:gd name="connsiteX6007" fmla="*/ 2308690 w 6884782"/>
              <a:gd name="connsiteY6007" fmla="*/ 5048657 h 5973007"/>
              <a:gd name="connsiteX6008" fmla="*/ 2315970 w 6884782"/>
              <a:gd name="connsiteY6008" fmla="*/ 5045559 h 5973007"/>
              <a:gd name="connsiteX6009" fmla="*/ 1252917 w 6884782"/>
              <a:gd name="connsiteY6009" fmla="*/ 5045559 h 5973007"/>
              <a:gd name="connsiteX6010" fmla="*/ 1257719 w 6884782"/>
              <a:gd name="connsiteY6010" fmla="*/ 5050722 h 5973007"/>
              <a:gd name="connsiteX6011" fmla="*/ 1253382 w 6884782"/>
              <a:gd name="connsiteY6011" fmla="*/ 5052581 h 5973007"/>
              <a:gd name="connsiteX6012" fmla="*/ 1251678 w 6884782"/>
              <a:gd name="connsiteY6012" fmla="*/ 5051858 h 5973007"/>
              <a:gd name="connsiteX6013" fmla="*/ 1252917 w 6884782"/>
              <a:gd name="connsiteY6013" fmla="*/ 5045559 h 5973007"/>
              <a:gd name="connsiteX6014" fmla="*/ 2538866 w 6884782"/>
              <a:gd name="connsiteY6014" fmla="*/ 5044734 h 5973007"/>
              <a:gd name="connsiteX6015" fmla="*/ 2549089 w 6884782"/>
              <a:gd name="connsiteY6015" fmla="*/ 5047005 h 5973007"/>
              <a:gd name="connsiteX6016" fmla="*/ 2542738 w 6884782"/>
              <a:gd name="connsiteY6016" fmla="*/ 5046902 h 5973007"/>
              <a:gd name="connsiteX6017" fmla="*/ 2538866 w 6884782"/>
              <a:gd name="connsiteY6017" fmla="*/ 5044734 h 5973007"/>
              <a:gd name="connsiteX6018" fmla="*/ 1721634 w 6884782"/>
              <a:gd name="connsiteY6018" fmla="*/ 5044320 h 5973007"/>
              <a:gd name="connsiteX6019" fmla="*/ 1723028 w 6884782"/>
              <a:gd name="connsiteY6019" fmla="*/ 5046385 h 5973007"/>
              <a:gd name="connsiteX6020" fmla="*/ 1718536 w 6884782"/>
              <a:gd name="connsiteY6020" fmla="*/ 5047624 h 5973007"/>
              <a:gd name="connsiteX6021" fmla="*/ 1716832 w 6884782"/>
              <a:gd name="connsiteY6021" fmla="*/ 5048657 h 5973007"/>
              <a:gd name="connsiteX6022" fmla="*/ 1717142 w 6884782"/>
              <a:gd name="connsiteY6022" fmla="*/ 5046799 h 5973007"/>
              <a:gd name="connsiteX6023" fmla="*/ 1720085 w 6884782"/>
              <a:gd name="connsiteY6023" fmla="*/ 5046592 h 5973007"/>
              <a:gd name="connsiteX6024" fmla="*/ 1720394 w 6884782"/>
              <a:gd name="connsiteY6024" fmla="*/ 5044630 h 5973007"/>
              <a:gd name="connsiteX6025" fmla="*/ 1721634 w 6884782"/>
              <a:gd name="connsiteY6025" fmla="*/ 5044320 h 5973007"/>
              <a:gd name="connsiteX6026" fmla="*/ 2567831 w 6884782"/>
              <a:gd name="connsiteY6026" fmla="*/ 5044217 h 5973007"/>
              <a:gd name="connsiteX6027" fmla="*/ 2570000 w 6884782"/>
              <a:gd name="connsiteY6027" fmla="*/ 5045869 h 5973007"/>
              <a:gd name="connsiteX6028" fmla="*/ 2567986 w 6884782"/>
              <a:gd name="connsiteY6028" fmla="*/ 5047315 h 5973007"/>
              <a:gd name="connsiteX6029" fmla="*/ 2566282 w 6884782"/>
              <a:gd name="connsiteY6029" fmla="*/ 5046282 h 5973007"/>
              <a:gd name="connsiteX6030" fmla="*/ 2563649 w 6884782"/>
              <a:gd name="connsiteY6030" fmla="*/ 5046902 h 5973007"/>
              <a:gd name="connsiteX6031" fmla="*/ 2562720 w 6884782"/>
              <a:gd name="connsiteY6031" fmla="*/ 5045456 h 5973007"/>
              <a:gd name="connsiteX6032" fmla="*/ 2567831 w 6884782"/>
              <a:gd name="connsiteY6032" fmla="*/ 5044217 h 5973007"/>
              <a:gd name="connsiteX6033" fmla="*/ 1834553 w 6884782"/>
              <a:gd name="connsiteY6033" fmla="*/ 5043701 h 5973007"/>
              <a:gd name="connsiteX6034" fmla="*/ 1836256 w 6884782"/>
              <a:gd name="connsiteY6034" fmla="*/ 5044837 h 5973007"/>
              <a:gd name="connsiteX6035" fmla="*/ 1836567 w 6884782"/>
              <a:gd name="connsiteY6035" fmla="*/ 5044837 h 5973007"/>
              <a:gd name="connsiteX6036" fmla="*/ 1835947 w 6884782"/>
              <a:gd name="connsiteY6036" fmla="*/ 5052787 h 5973007"/>
              <a:gd name="connsiteX6037" fmla="*/ 1833314 w 6884782"/>
              <a:gd name="connsiteY6037" fmla="*/ 5054749 h 5973007"/>
              <a:gd name="connsiteX6038" fmla="*/ 1829596 w 6884782"/>
              <a:gd name="connsiteY6038" fmla="*/ 5054852 h 5973007"/>
              <a:gd name="connsiteX6039" fmla="*/ 1826963 w 6884782"/>
              <a:gd name="connsiteY6039" fmla="*/ 5055678 h 5973007"/>
              <a:gd name="connsiteX6040" fmla="*/ 1823865 w 6884782"/>
              <a:gd name="connsiteY6040" fmla="*/ 5055162 h 5973007"/>
              <a:gd name="connsiteX6041" fmla="*/ 1822471 w 6884782"/>
              <a:gd name="connsiteY6041" fmla="*/ 5050929 h 5973007"/>
              <a:gd name="connsiteX6042" fmla="*/ 1826344 w 6884782"/>
              <a:gd name="connsiteY6042" fmla="*/ 5046799 h 5973007"/>
              <a:gd name="connsiteX6043" fmla="*/ 1826189 w 6884782"/>
              <a:gd name="connsiteY6043" fmla="*/ 5046076 h 5973007"/>
              <a:gd name="connsiteX6044" fmla="*/ 1834553 w 6884782"/>
              <a:gd name="connsiteY6044" fmla="*/ 5043701 h 5973007"/>
              <a:gd name="connsiteX6045" fmla="*/ 2492242 w 6884782"/>
              <a:gd name="connsiteY6045" fmla="*/ 5043184 h 5973007"/>
              <a:gd name="connsiteX6046" fmla="*/ 2492242 w 6884782"/>
              <a:gd name="connsiteY6046" fmla="*/ 5049173 h 5973007"/>
              <a:gd name="connsiteX6047" fmla="*/ 2490228 w 6884782"/>
              <a:gd name="connsiteY6047" fmla="*/ 5050722 h 5973007"/>
              <a:gd name="connsiteX6048" fmla="*/ 2487440 w 6884782"/>
              <a:gd name="connsiteY6048" fmla="*/ 5050412 h 5973007"/>
              <a:gd name="connsiteX6049" fmla="*/ 2485581 w 6884782"/>
              <a:gd name="connsiteY6049" fmla="*/ 5048760 h 5973007"/>
              <a:gd name="connsiteX6050" fmla="*/ 2484807 w 6884782"/>
              <a:gd name="connsiteY6050" fmla="*/ 5043598 h 5973007"/>
              <a:gd name="connsiteX6051" fmla="*/ 2492242 w 6884782"/>
              <a:gd name="connsiteY6051" fmla="*/ 5043184 h 5973007"/>
              <a:gd name="connsiteX6052" fmla="*/ 1761403 w 6884782"/>
              <a:gd name="connsiteY6052" fmla="*/ 5042487 h 5973007"/>
              <a:gd name="connsiteX6053" fmla="*/ 1765004 w 6884782"/>
              <a:gd name="connsiteY6053" fmla="*/ 5046902 h 5973007"/>
              <a:gd name="connsiteX6054" fmla="*/ 1764075 w 6884782"/>
              <a:gd name="connsiteY6054" fmla="*/ 5051239 h 5973007"/>
              <a:gd name="connsiteX6055" fmla="*/ 1757414 w 6884782"/>
              <a:gd name="connsiteY6055" fmla="*/ 5054956 h 5973007"/>
              <a:gd name="connsiteX6056" fmla="*/ 1755091 w 6884782"/>
              <a:gd name="connsiteY6056" fmla="*/ 5050722 h 5973007"/>
              <a:gd name="connsiteX6057" fmla="*/ 1753852 w 6884782"/>
              <a:gd name="connsiteY6057" fmla="*/ 5046592 h 5973007"/>
              <a:gd name="connsiteX6058" fmla="*/ 1761403 w 6884782"/>
              <a:gd name="connsiteY6058" fmla="*/ 5042487 h 5973007"/>
              <a:gd name="connsiteX6059" fmla="*/ 992537 w 6884782"/>
              <a:gd name="connsiteY6059" fmla="*/ 5041945 h 5973007"/>
              <a:gd name="connsiteX6060" fmla="*/ 994395 w 6884782"/>
              <a:gd name="connsiteY6060" fmla="*/ 5048967 h 5973007"/>
              <a:gd name="connsiteX6061" fmla="*/ 992692 w 6884782"/>
              <a:gd name="connsiteY6061" fmla="*/ 5049896 h 5973007"/>
              <a:gd name="connsiteX6062" fmla="*/ 990523 w 6884782"/>
              <a:gd name="connsiteY6062" fmla="*/ 5050412 h 5973007"/>
              <a:gd name="connsiteX6063" fmla="*/ 986186 w 6884782"/>
              <a:gd name="connsiteY6063" fmla="*/ 5048864 h 5973007"/>
              <a:gd name="connsiteX6064" fmla="*/ 984947 w 6884782"/>
              <a:gd name="connsiteY6064" fmla="*/ 5046799 h 5973007"/>
              <a:gd name="connsiteX6065" fmla="*/ 984792 w 6884782"/>
              <a:gd name="connsiteY6065" fmla="*/ 5045353 h 5973007"/>
              <a:gd name="connsiteX6066" fmla="*/ 984947 w 6884782"/>
              <a:gd name="connsiteY6066" fmla="*/ 5043598 h 5973007"/>
              <a:gd name="connsiteX6067" fmla="*/ 992537 w 6884782"/>
              <a:gd name="connsiteY6067" fmla="*/ 5041945 h 5973007"/>
              <a:gd name="connsiteX6068" fmla="*/ 2257730 w 6884782"/>
              <a:gd name="connsiteY6068" fmla="*/ 5040293 h 5973007"/>
              <a:gd name="connsiteX6069" fmla="*/ 2269811 w 6884782"/>
              <a:gd name="connsiteY6069" fmla="*/ 5083041 h 5973007"/>
              <a:gd name="connsiteX6070" fmla="*/ 2248745 w 6884782"/>
              <a:gd name="connsiteY6070" fmla="*/ 5041945 h 5973007"/>
              <a:gd name="connsiteX6071" fmla="*/ 2257730 w 6884782"/>
              <a:gd name="connsiteY6071" fmla="*/ 5040293 h 5973007"/>
              <a:gd name="connsiteX6072" fmla="*/ 2166651 w 6884782"/>
              <a:gd name="connsiteY6072" fmla="*/ 5040190 h 5973007"/>
              <a:gd name="connsiteX6073" fmla="*/ 2169439 w 6884782"/>
              <a:gd name="connsiteY6073" fmla="*/ 5043288 h 5973007"/>
              <a:gd name="connsiteX6074" fmla="*/ 2160300 w 6884782"/>
              <a:gd name="connsiteY6074" fmla="*/ 5047728 h 5973007"/>
              <a:gd name="connsiteX6075" fmla="*/ 2157047 w 6884782"/>
              <a:gd name="connsiteY6075" fmla="*/ 5047418 h 5973007"/>
              <a:gd name="connsiteX6076" fmla="*/ 2155034 w 6884782"/>
              <a:gd name="connsiteY6076" fmla="*/ 5043701 h 5973007"/>
              <a:gd name="connsiteX6077" fmla="*/ 2166651 w 6884782"/>
              <a:gd name="connsiteY6077" fmla="*/ 5040190 h 5973007"/>
              <a:gd name="connsiteX6078" fmla="*/ 1119397 w 6884782"/>
              <a:gd name="connsiteY6078" fmla="*/ 5039777 h 5973007"/>
              <a:gd name="connsiteX6079" fmla="*/ 1129000 w 6884782"/>
              <a:gd name="connsiteY6079" fmla="*/ 5044320 h 5973007"/>
              <a:gd name="connsiteX6080" fmla="*/ 1130085 w 6884782"/>
              <a:gd name="connsiteY6080" fmla="*/ 5059086 h 5973007"/>
              <a:gd name="connsiteX6081" fmla="*/ 1120636 w 6884782"/>
              <a:gd name="connsiteY6081" fmla="*/ 5062803 h 5973007"/>
              <a:gd name="connsiteX6082" fmla="*/ 1115679 w 6884782"/>
              <a:gd name="connsiteY6082" fmla="*/ 5060532 h 5973007"/>
              <a:gd name="connsiteX6083" fmla="*/ 1113046 w 6884782"/>
              <a:gd name="connsiteY6083" fmla="*/ 5057640 h 5973007"/>
              <a:gd name="connsiteX6084" fmla="*/ 1115524 w 6884782"/>
              <a:gd name="connsiteY6084" fmla="*/ 5044940 h 5973007"/>
              <a:gd name="connsiteX6085" fmla="*/ 1117383 w 6884782"/>
              <a:gd name="connsiteY6085" fmla="*/ 5043184 h 5973007"/>
              <a:gd name="connsiteX6086" fmla="*/ 1119397 w 6884782"/>
              <a:gd name="connsiteY6086" fmla="*/ 5039777 h 5973007"/>
              <a:gd name="connsiteX6087" fmla="*/ 2325883 w 6884782"/>
              <a:gd name="connsiteY6087" fmla="*/ 5039571 h 5973007"/>
              <a:gd name="connsiteX6088" fmla="*/ 2328207 w 6884782"/>
              <a:gd name="connsiteY6088" fmla="*/ 5040810 h 5973007"/>
              <a:gd name="connsiteX6089" fmla="*/ 2328362 w 6884782"/>
              <a:gd name="connsiteY6089" fmla="*/ 5042772 h 5973007"/>
              <a:gd name="connsiteX6090" fmla="*/ 2330376 w 6884782"/>
              <a:gd name="connsiteY6090" fmla="*/ 5044837 h 5973007"/>
              <a:gd name="connsiteX6091" fmla="*/ 2329756 w 6884782"/>
              <a:gd name="connsiteY6091" fmla="*/ 5046282 h 5973007"/>
              <a:gd name="connsiteX6092" fmla="*/ 2325574 w 6884782"/>
              <a:gd name="connsiteY6092" fmla="*/ 5042152 h 5973007"/>
              <a:gd name="connsiteX6093" fmla="*/ 2325883 w 6884782"/>
              <a:gd name="connsiteY6093" fmla="*/ 5039571 h 5973007"/>
              <a:gd name="connsiteX6094" fmla="*/ 1655648 w 6884782"/>
              <a:gd name="connsiteY6094" fmla="*/ 5039467 h 5973007"/>
              <a:gd name="connsiteX6095" fmla="*/ 1655183 w 6884782"/>
              <a:gd name="connsiteY6095" fmla="*/ 5047728 h 5973007"/>
              <a:gd name="connsiteX6096" fmla="*/ 1654563 w 6884782"/>
              <a:gd name="connsiteY6096" fmla="*/ 5040706 h 5973007"/>
              <a:gd name="connsiteX6097" fmla="*/ 1655648 w 6884782"/>
              <a:gd name="connsiteY6097" fmla="*/ 5039467 h 5973007"/>
              <a:gd name="connsiteX6098" fmla="*/ 2318603 w 6884782"/>
              <a:gd name="connsiteY6098" fmla="*/ 5039054 h 5973007"/>
              <a:gd name="connsiteX6099" fmla="*/ 2319843 w 6884782"/>
              <a:gd name="connsiteY6099" fmla="*/ 5040603 h 5973007"/>
              <a:gd name="connsiteX6100" fmla="*/ 2322166 w 6884782"/>
              <a:gd name="connsiteY6100" fmla="*/ 5045869 h 5973007"/>
              <a:gd name="connsiteX6101" fmla="*/ 2320462 w 6884782"/>
              <a:gd name="connsiteY6101" fmla="*/ 5046592 h 5973007"/>
              <a:gd name="connsiteX6102" fmla="*/ 2319533 w 6884782"/>
              <a:gd name="connsiteY6102" fmla="*/ 5045353 h 5973007"/>
              <a:gd name="connsiteX6103" fmla="*/ 2318758 w 6884782"/>
              <a:gd name="connsiteY6103" fmla="*/ 5042978 h 5973007"/>
              <a:gd name="connsiteX6104" fmla="*/ 2317519 w 6884782"/>
              <a:gd name="connsiteY6104" fmla="*/ 5041326 h 5973007"/>
              <a:gd name="connsiteX6105" fmla="*/ 2318603 w 6884782"/>
              <a:gd name="connsiteY6105" fmla="*/ 5039054 h 5973007"/>
              <a:gd name="connsiteX6106" fmla="*/ 2299551 w 6884782"/>
              <a:gd name="connsiteY6106" fmla="*/ 5038848 h 5973007"/>
              <a:gd name="connsiteX6107" fmla="*/ 2302649 w 6884782"/>
              <a:gd name="connsiteY6107" fmla="*/ 5046799 h 5973007"/>
              <a:gd name="connsiteX6108" fmla="*/ 2301565 w 6884782"/>
              <a:gd name="connsiteY6108" fmla="*/ 5048450 h 5973007"/>
              <a:gd name="connsiteX6109" fmla="*/ 2299396 w 6884782"/>
              <a:gd name="connsiteY6109" fmla="*/ 5047211 h 5973007"/>
              <a:gd name="connsiteX6110" fmla="*/ 2299551 w 6884782"/>
              <a:gd name="connsiteY6110" fmla="*/ 5038848 h 5973007"/>
              <a:gd name="connsiteX6111" fmla="*/ 996255 w 6884782"/>
              <a:gd name="connsiteY6111" fmla="*/ 5038744 h 5973007"/>
              <a:gd name="connsiteX6112" fmla="*/ 996719 w 6884782"/>
              <a:gd name="connsiteY6112" fmla="*/ 5042049 h 5973007"/>
              <a:gd name="connsiteX6113" fmla="*/ 995325 w 6884782"/>
              <a:gd name="connsiteY6113" fmla="*/ 5042565 h 5973007"/>
              <a:gd name="connsiteX6114" fmla="*/ 993466 w 6884782"/>
              <a:gd name="connsiteY6114" fmla="*/ 5041119 h 5973007"/>
              <a:gd name="connsiteX6115" fmla="*/ 2567522 w 6884782"/>
              <a:gd name="connsiteY6115" fmla="*/ 5036783 h 5973007"/>
              <a:gd name="connsiteX6116" fmla="*/ 2570000 w 6884782"/>
              <a:gd name="connsiteY6116" fmla="*/ 5037402 h 5973007"/>
              <a:gd name="connsiteX6117" fmla="*/ 2571859 w 6884782"/>
              <a:gd name="connsiteY6117" fmla="*/ 5037299 h 5973007"/>
              <a:gd name="connsiteX6118" fmla="*/ 2573408 w 6884782"/>
              <a:gd name="connsiteY6118" fmla="*/ 5039571 h 5973007"/>
              <a:gd name="connsiteX6119" fmla="*/ 2571549 w 6884782"/>
              <a:gd name="connsiteY6119" fmla="*/ 5039674 h 5973007"/>
              <a:gd name="connsiteX6120" fmla="*/ 2566128 w 6884782"/>
              <a:gd name="connsiteY6120" fmla="*/ 5038848 h 5973007"/>
              <a:gd name="connsiteX6121" fmla="*/ 2567522 w 6884782"/>
              <a:gd name="connsiteY6121" fmla="*/ 5036783 h 5973007"/>
              <a:gd name="connsiteX6122" fmla="*/ 2053731 w 6884782"/>
              <a:gd name="connsiteY6122" fmla="*/ 5036679 h 5973007"/>
              <a:gd name="connsiteX6123" fmla="*/ 2058997 w 6884782"/>
              <a:gd name="connsiteY6123" fmla="*/ 5038641 h 5973007"/>
              <a:gd name="connsiteX6124" fmla="*/ 2059772 w 6884782"/>
              <a:gd name="connsiteY6124" fmla="*/ 5044837 h 5973007"/>
              <a:gd name="connsiteX6125" fmla="*/ 2063180 w 6884782"/>
              <a:gd name="connsiteY6125" fmla="*/ 5044320 h 5973007"/>
              <a:gd name="connsiteX6126" fmla="*/ 2066433 w 6884782"/>
              <a:gd name="connsiteY6126" fmla="*/ 5052065 h 5973007"/>
              <a:gd name="connsiteX6127" fmla="*/ 2061631 w 6884782"/>
              <a:gd name="connsiteY6127" fmla="*/ 5056195 h 5973007"/>
              <a:gd name="connsiteX6128" fmla="*/ 2055125 w 6884782"/>
              <a:gd name="connsiteY6128" fmla="*/ 5049173 h 5973007"/>
              <a:gd name="connsiteX6129" fmla="*/ 2057604 w 6884782"/>
              <a:gd name="connsiteY6129" fmla="*/ 5045353 h 5973007"/>
              <a:gd name="connsiteX6130" fmla="*/ 2056519 w 6884782"/>
              <a:gd name="connsiteY6130" fmla="*/ 5045250 h 5973007"/>
              <a:gd name="connsiteX6131" fmla="*/ 2054970 w 6884782"/>
              <a:gd name="connsiteY6131" fmla="*/ 5043184 h 5973007"/>
              <a:gd name="connsiteX6132" fmla="*/ 2053731 w 6884782"/>
              <a:gd name="connsiteY6132" fmla="*/ 5036679 h 5973007"/>
              <a:gd name="connsiteX6133" fmla="*/ 1598336 w 6884782"/>
              <a:gd name="connsiteY6133" fmla="*/ 5036163 h 5973007"/>
              <a:gd name="connsiteX6134" fmla="*/ 1604067 w 6884782"/>
              <a:gd name="connsiteY6134" fmla="*/ 5038022 h 5973007"/>
              <a:gd name="connsiteX6135" fmla="*/ 1604686 w 6884782"/>
              <a:gd name="connsiteY6135" fmla="*/ 5049173 h 5973007"/>
              <a:gd name="connsiteX6136" fmla="*/ 1596632 w 6884782"/>
              <a:gd name="connsiteY6136" fmla="*/ 5053407 h 5973007"/>
              <a:gd name="connsiteX6137" fmla="*/ 1597407 w 6884782"/>
              <a:gd name="connsiteY6137" fmla="*/ 5053510 h 5973007"/>
              <a:gd name="connsiteX6138" fmla="*/ 1598956 w 6884782"/>
              <a:gd name="connsiteY6138" fmla="*/ 5055369 h 5973007"/>
              <a:gd name="connsiteX6139" fmla="*/ 1600505 w 6884782"/>
              <a:gd name="connsiteY6139" fmla="*/ 5055266 h 5973007"/>
              <a:gd name="connsiteX6140" fmla="*/ 1602053 w 6884782"/>
              <a:gd name="connsiteY6140" fmla="*/ 5055266 h 5973007"/>
              <a:gd name="connsiteX6141" fmla="*/ 1602208 w 6884782"/>
              <a:gd name="connsiteY6141" fmla="*/ 5056091 h 5973007"/>
              <a:gd name="connsiteX6142" fmla="*/ 1600040 w 6884782"/>
              <a:gd name="connsiteY6142" fmla="*/ 5056608 h 5973007"/>
              <a:gd name="connsiteX6143" fmla="*/ 1602363 w 6884782"/>
              <a:gd name="connsiteY6143" fmla="*/ 5059706 h 5973007"/>
              <a:gd name="connsiteX6144" fmla="*/ 1604377 w 6884782"/>
              <a:gd name="connsiteY6144" fmla="*/ 5059292 h 5973007"/>
              <a:gd name="connsiteX6145" fmla="*/ 1603138 w 6884782"/>
              <a:gd name="connsiteY6145" fmla="*/ 5060841 h 5973007"/>
              <a:gd name="connsiteX6146" fmla="*/ 1604377 w 6884782"/>
              <a:gd name="connsiteY6146" fmla="*/ 5063216 h 5973007"/>
              <a:gd name="connsiteX6147" fmla="*/ 1604686 w 6884782"/>
              <a:gd name="connsiteY6147" fmla="*/ 5065694 h 5973007"/>
              <a:gd name="connsiteX6148" fmla="*/ 1602208 w 6884782"/>
              <a:gd name="connsiteY6148" fmla="*/ 5064869 h 5973007"/>
              <a:gd name="connsiteX6149" fmla="*/ 1601434 w 6884782"/>
              <a:gd name="connsiteY6149" fmla="*/ 5063939 h 5973007"/>
              <a:gd name="connsiteX6150" fmla="*/ 1600659 w 6884782"/>
              <a:gd name="connsiteY6150" fmla="*/ 5063939 h 5973007"/>
              <a:gd name="connsiteX6151" fmla="*/ 1600659 w 6884782"/>
              <a:gd name="connsiteY6151" fmla="*/ 5063629 h 5973007"/>
              <a:gd name="connsiteX6152" fmla="*/ 1597097 w 6884782"/>
              <a:gd name="connsiteY6152" fmla="*/ 5065075 h 5973007"/>
              <a:gd name="connsiteX6153" fmla="*/ 1591366 w 6884782"/>
              <a:gd name="connsiteY6153" fmla="*/ 5068069 h 5973007"/>
              <a:gd name="connsiteX6154" fmla="*/ 1590901 w 6884782"/>
              <a:gd name="connsiteY6154" fmla="*/ 5064558 h 5973007"/>
              <a:gd name="connsiteX6155" fmla="*/ 1592605 w 6884782"/>
              <a:gd name="connsiteY6155" fmla="*/ 5064455 h 5973007"/>
              <a:gd name="connsiteX6156" fmla="*/ 1597717 w 6884782"/>
              <a:gd name="connsiteY6156" fmla="*/ 5060635 h 5973007"/>
              <a:gd name="connsiteX6157" fmla="*/ 1598026 w 6884782"/>
              <a:gd name="connsiteY6157" fmla="*/ 5060532 h 5973007"/>
              <a:gd name="connsiteX6158" fmla="*/ 1596477 w 6884782"/>
              <a:gd name="connsiteY6158" fmla="*/ 5059602 h 5973007"/>
              <a:gd name="connsiteX6159" fmla="*/ 1594464 w 6884782"/>
              <a:gd name="connsiteY6159" fmla="*/ 5058570 h 5973007"/>
              <a:gd name="connsiteX6160" fmla="*/ 1594309 w 6884782"/>
              <a:gd name="connsiteY6160" fmla="*/ 5058467 h 5973007"/>
              <a:gd name="connsiteX6161" fmla="*/ 1593844 w 6884782"/>
              <a:gd name="connsiteY6161" fmla="*/ 5058673 h 5973007"/>
              <a:gd name="connsiteX6162" fmla="*/ 1590746 w 6884782"/>
              <a:gd name="connsiteY6162" fmla="*/ 5058467 h 5973007"/>
              <a:gd name="connsiteX6163" fmla="*/ 1591521 w 6884782"/>
              <a:gd name="connsiteY6163" fmla="*/ 5058467 h 5973007"/>
              <a:gd name="connsiteX6164" fmla="*/ 1590591 w 6884782"/>
              <a:gd name="connsiteY6164" fmla="*/ 5057640 h 5973007"/>
              <a:gd name="connsiteX6165" fmla="*/ 1593225 w 6884782"/>
              <a:gd name="connsiteY6165" fmla="*/ 5056814 h 5973007"/>
              <a:gd name="connsiteX6166" fmla="*/ 1592915 w 6884782"/>
              <a:gd name="connsiteY6166" fmla="*/ 5056298 h 5973007"/>
              <a:gd name="connsiteX6167" fmla="*/ 1591521 w 6884782"/>
              <a:gd name="connsiteY6167" fmla="*/ 5053304 h 5973007"/>
              <a:gd name="connsiteX6168" fmla="*/ 1593379 w 6884782"/>
              <a:gd name="connsiteY6168" fmla="*/ 5051651 h 5973007"/>
              <a:gd name="connsiteX6169" fmla="*/ 1591985 w 6884782"/>
              <a:gd name="connsiteY6169" fmla="*/ 5049896 h 5973007"/>
              <a:gd name="connsiteX6170" fmla="*/ 1593844 w 6884782"/>
              <a:gd name="connsiteY6170" fmla="*/ 5038641 h 5973007"/>
              <a:gd name="connsiteX6171" fmla="*/ 1598336 w 6884782"/>
              <a:gd name="connsiteY6171" fmla="*/ 5036163 h 5973007"/>
              <a:gd name="connsiteX6172" fmla="*/ 1005858 w 6884782"/>
              <a:gd name="connsiteY6172" fmla="*/ 5035234 h 5973007"/>
              <a:gd name="connsiteX6173" fmla="*/ 1007252 w 6884782"/>
              <a:gd name="connsiteY6173" fmla="*/ 5036989 h 5973007"/>
              <a:gd name="connsiteX6174" fmla="*/ 1006787 w 6884782"/>
              <a:gd name="connsiteY6174" fmla="*/ 5042152 h 5973007"/>
              <a:gd name="connsiteX6175" fmla="*/ 1005084 w 6884782"/>
              <a:gd name="connsiteY6175" fmla="*/ 5042978 h 5973007"/>
              <a:gd name="connsiteX6176" fmla="*/ 1002605 w 6884782"/>
              <a:gd name="connsiteY6176" fmla="*/ 5039777 h 5973007"/>
              <a:gd name="connsiteX6177" fmla="*/ 1003999 w 6884782"/>
              <a:gd name="connsiteY6177" fmla="*/ 5036163 h 5973007"/>
              <a:gd name="connsiteX6178" fmla="*/ 1005858 w 6884782"/>
              <a:gd name="connsiteY6178" fmla="*/ 5035234 h 5973007"/>
              <a:gd name="connsiteX6179" fmla="*/ 2147753 w 6884782"/>
              <a:gd name="connsiteY6179" fmla="*/ 5034821 h 5973007"/>
              <a:gd name="connsiteX6180" fmla="*/ 2151316 w 6884782"/>
              <a:gd name="connsiteY6180" fmla="*/ 5041533 h 5973007"/>
              <a:gd name="connsiteX6181" fmla="*/ 2142332 w 6884782"/>
              <a:gd name="connsiteY6181" fmla="*/ 5045456 h 5973007"/>
              <a:gd name="connsiteX6182" fmla="*/ 2139079 w 6884782"/>
              <a:gd name="connsiteY6182" fmla="*/ 5045250 h 5973007"/>
              <a:gd name="connsiteX6183" fmla="*/ 2147753 w 6884782"/>
              <a:gd name="connsiteY6183" fmla="*/ 5034821 h 5973007"/>
              <a:gd name="connsiteX6184" fmla="*/ 1402702 w 6884782"/>
              <a:gd name="connsiteY6184" fmla="*/ 5034408 h 5973007"/>
              <a:gd name="connsiteX6185" fmla="*/ 1406110 w 6884782"/>
              <a:gd name="connsiteY6185" fmla="*/ 5044114 h 5973007"/>
              <a:gd name="connsiteX6186" fmla="*/ 1403942 w 6884782"/>
              <a:gd name="connsiteY6186" fmla="*/ 5044011 h 5973007"/>
              <a:gd name="connsiteX6187" fmla="*/ 1401463 w 6884782"/>
              <a:gd name="connsiteY6187" fmla="*/ 5043494 h 5973007"/>
              <a:gd name="connsiteX6188" fmla="*/ 1402702 w 6884782"/>
              <a:gd name="connsiteY6188" fmla="*/ 5034408 h 5973007"/>
              <a:gd name="connsiteX6189" fmla="*/ 2555285 w 6884782"/>
              <a:gd name="connsiteY6189" fmla="*/ 5034098 h 5973007"/>
              <a:gd name="connsiteX6190" fmla="*/ 2561791 w 6884782"/>
              <a:gd name="connsiteY6190" fmla="*/ 5039467 h 5973007"/>
              <a:gd name="connsiteX6191" fmla="*/ 2559003 w 6884782"/>
              <a:gd name="connsiteY6191" fmla="*/ 5041222 h 5973007"/>
              <a:gd name="connsiteX6192" fmla="*/ 2552187 w 6884782"/>
              <a:gd name="connsiteY6192" fmla="*/ 5037712 h 5973007"/>
              <a:gd name="connsiteX6193" fmla="*/ 2551413 w 6884782"/>
              <a:gd name="connsiteY6193" fmla="*/ 5035647 h 5973007"/>
              <a:gd name="connsiteX6194" fmla="*/ 2555285 w 6884782"/>
              <a:gd name="connsiteY6194" fmla="*/ 5034098 h 5973007"/>
              <a:gd name="connsiteX6195" fmla="*/ 2087344 w 6884782"/>
              <a:gd name="connsiteY6195" fmla="*/ 5033995 h 5973007"/>
              <a:gd name="connsiteX6196" fmla="*/ 2095243 w 6884782"/>
              <a:gd name="connsiteY6196" fmla="*/ 5035750 h 5973007"/>
              <a:gd name="connsiteX6197" fmla="*/ 2096483 w 6884782"/>
              <a:gd name="connsiteY6197" fmla="*/ 5036473 h 5973007"/>
              <a:gd name="connsiteX6198" fmla="*/ 2098961 w 6884782"/>
              <a:gd name="connsiteY6198" fmla="*/ 5036576 h 5973007"/>
              <a:gd name="connsiteX6199" fmla="*/ 2103453 w 6884782"/>
              <a:gd name="connsiteY6199" fmla="*/ 5040293 h 5973007"/>
              <a:gd name="connsiteX6200" fmla="*/ 2104073 w 6884782"/>
              <a:gd name="connsiteY6200" fmla="*/ 5049380 h 5973007"/>
              <a:gd name="connsiteX6201" fmla="*/ 2104382 w 6884782"/>
              <a:gd name="connsiteY6201" fmla="*/ 5048554 h 5973007"/>
              <a:gd name="connsiteX6202" fmla="*/ 2118478 w 6884782"/>
              <a:gd name="connsiteY6202" fmla="*/ 5046902 h 5973007"/>
              <a:gd name="connsiteX6203" fmla="*/ 2116619 w 6884782"/>
              <a:gd name="connsiteY6203" fmla="*/ 5048864 h 5973007"/>
              <a:gd name="connsiteX6204" fmla="*/ 2115535 w 6884782"/>
              <a:gd name="connsiteY6204" fmla="*/ 5049173 h 5973007"/>
              <a:gd name="connsiteX6205" fmla="*/ 2115225 w 6884782"/>
              <a:gd name="connsiteY6205" fmla="*/ 5049896 h 5973007"/>
              <a:gd name="connsiteX6206" fmla="*/ 2114451 w 6884782"/>
              <a:gd name="connsiteY6206" fmla="*/ 5049483 h 5973007"/>
              <a:gd name="connsiteX6207" fmla="*/ 2112282 w 6884782"/>
              <a:gd name="connsiteY6207" fmla="*/ 5050206 h 5973007"/>
              <a:gd name="connsiteX6208" fmla="*/ 2107790 w 6884782"/>
              <a:gd name="connsiteY6208" fmla="*/ 5053510 h 5973007"/>
              <a:gd name="connsiteX6209" fmla="*/ 2101904 w 6884782"/>
              <a:gd name="connsiteY6209" fmla="*/ 5053923 h 5973007"/>
              <a:gd name="connsiteX6210" fmla="*/ 2101130 w 6884782"/>
              <a:gd name="connsiteY6210" fmla="*/ 5051548 h 5973007"/>
              <a:gd name="connsiteX6211" fmla="*/ 2098806 w 6884782"/>
              <a:gd name="connsiteY6211" fmla="*/ 5052168 h 5973007"/>
              <a:gd name="connsiteX6212" fmla="*/ 2089357 w 6884782"/>
              <a:gd name="connsiteY6212" fmla="*/ 5045869 h 5973007"/>
              <a:gd name="connsiteX6213" fmla="*/ 2088893 w 6884782"/>
              <a:gd name="connsiteY6213" fmla="*/ 5040706 h 5973007"/>
              <a:gd name="connsiteX6214" fmla="*/ 2089202 w 6884782"/>
              <a:gd name="connsiteY6214" fmla="*/ 5040190 h 5973007"/>
              <a:gd name="connsiteX6215" fmla="*/ 2085795 w 6884782"/>
              <a:gd name="connsiteY6215" fmla="*/ 5039364 h 5973007"/>
              <a:gd name="connsiteX6216" fmla="*/ 2087344 w 6884782"/>
              <a:gd name="connsiteY6216" fmla="*/ 5033995 h 5973007"/>
              <a:gd name="connsiteX6217" fmla="*/ 1710791 w 6884782"/>
              <a:gd name="connsiteY6217" fmla="*/ 5029968 h 5973007"/>
              <a:gd name="connsiteX6218" fmla="*/ 1722253 w 6884782"/>
              <a:gd name="connsiteY6218" fmla="*/ 5040397 h 5973007"/>
              <a:gd name="connsiteX6219" fmla="*/ 1723028 w 6884782"/>
              <a:gd name="connsiteY6219" fmla="*/ 5042049 h 5973007"/>
              <a:gd name="connsiteX6220" fmla="*/ 1721634 w 6884782"/>
              <a:gd name="connsiteY6220" fmla="*/ 5044320 h 5973007"/>
              <a:gd name="connsiteX6221" fmla="*/ 1711410 w 6884782"/>
              <a:gd name="connsiteY6221" fmla="*/ 5037815 h 5973007"/>
              <a:gd name="connsiteX6222" fmla="*/ 1710636 w 6884782"/>
              <a:gd name="connsiteY6222" fmla="*/ 5036163 h 5973007"/>
              <a:gd name="connsiteX6223" fmla="*/ 1710791 w 6884782"/>
              <a:gd name="connsiteY6223" fmla="*/ 5029968 h 5973007"/>
              <a:gd name="connsiteX6224" fmla="*/ 1757724 w 6884782"/>
              <a:gd name="connsiteY6224" fmla="*/ 5028935 h 5973007"/>
              <a:gd name="connsiteX6225" fmla="*/ 1751993 w 6884782"/>
              <a:gd name="connsiteY6225" fmla="*/ 5039674 h 5973007"/>
              <a:gd name="connsiteX6226" fmla="*/ 1750134 w 6884782"/>
              <a:gd name="connsiteY6226" fmla="*/ 5034614 h 5973007"/>
              <a:gd name="connsiteX6227" fmla="*/ 1757724 w 6884782"/>
              <a:gd name="connsiteY6227" fmla="*/ 5028935 h 5973007"/>
              <a:gd name="connsiteX6228" fmla="*/ 1449016 w 6884782"/>
              <a:gd name="connsiteY6228" fmla="*/ 5028625 h 5973007"/>
              <a:gd name="connsiteX6229" fmla="*/ 1447467 w 6884782"/>
              <a:gd name="connsiteY6229" fmla="*/ 5038744 h 5973007"/>
              <a:gd name="connsiteX6230" fmla="*/ 1443439 w 6884782"/>
              <a:gd name="connsiteY6230" fmla="*/ 5036473 h 5973007"/>
              <a:gd name="connsiteX6231" fmla="*/ 1449016 w 6884782"/>
              <a:gd name="connsiteY6231" fmla="*/ 5028625 h 5973007"/>
              <a:gd name="connsiteX6232" fmla="*/ 2134897 w 6884782"/>
              <a:gd name="connsiteY6232" fmla="*/ 5027386 h 5973007"/>
              <a:gd name="connsiteX6233" fmla="*/ 2130715 w 6884782"/>
              <a:gd name="connsiteY6233" fmla="*/ 5033375 h 5973007"/>
              <a:gd name="connsiteX6234" fmla="*/ 2129475 w 6884782"/>
              <a:gd name="connsiteY6234" fmla="*/ 5027696 h 5973007"/>
              <a:gd name="connsiteX6235" fmla="*/ 2134897 w 6884782"/>
              <a:gd name="connsiteY6235" fmla="*/ 5027386 h 5973007"/>
              <a:gd name="connsiteX6236" fmla="*/ 1275533 w 6884782"/>
              <a:gd name="connsiteY6236" fmla="*/ 5027386 h 5973007"/>
              <a:gd name="connsiteX6237" fmla="*/ 1276152 w 6884782"/>
              <a:gd name="connsiteY6237" fmla="*/ 5030071 h 5973007"/>
              <a:gd name="connsiteX6238" fmla="*/ 1275067 w 6884782"/>
              <a:gd name="connsiteY6238" fmla="*/ 5032652 h 5973007"/>
              <a:gd name="connsiteX6239" fmla="*/ 1273674 w 6884782"/>
              <a:gd name="connsiteY6239" fmla="*/ 5032962 h 5973007"/>
              <a:gd name="connsiteX6240" fmla="*/ 1271660 w 6884782"/>
              <a:gd name="connsiteY6240" fmla="*/ 5032652 h 5973007"/>
              <a:gd name="connsiteX6241" fmla="*/ 1271195 w 6884782"/>
              <a:gd name="connsiteY6241" fmla="*/ 5031620 h 5973007"/>
              <a:gd name="connsiteX6242" fmla="*/ 1273054 w 6884782"/>
              <a:gd name="connsiteY6242" fmla="*/ 5028212 h 5973007"/>
              <a:gd name="connsiteX6243" fmla="*/ 1275533 w 6884782"/>
              <a:gd name="connsiteY6243" fmla="*/ 5027386 h 5973007"/>
              <a:gd name="connsiteX6244" fmla="*/ 2250914 w 6884782"/>
              <a:gd name="connsiteY6244" fmla="*/ 5026767 h 5973007"/>
              <a:gd name="connsiteX6245" fmla="*/ 2263151 w 6884782"/>
              <a:gd name="connsiteY6245" fmla="*/ 5030071 h 5973007"/>
              <a:gd name="connsiteX6246" fmla="*/ 2256646 w 6884782"/>
              <a:gd name="connsiteY6246" fmla="*/ 5037506 h 5973007"/>
              <a:gd name="connsiteX6247" fmla="*/ 2249520 w 6884782"/>
              <a:gd name="connsiteY6247" fmla="*/ 5034098 h 5973007"/>
              <a:gd name="connsiteX6248" fmla="*/ 2250914 w 6884782"/>
              <a:gd name="connsiteY6248" fmla="*/ 5026767 h 5973007"/>
              <a:gd name="connsiteX6249" fmla="*/ 2284217 w 6884782"/>
              <a:gd name="connsiteY6249" fmla="*/ 5026560 h 5973007"/>
              <a:gd name="connsiteX6250" fmla="*/ 2289948 w 6884782"/>
              <a:gd name="connsiteY6250" fmla="*/ 5031207 h 5973007"/>
              <a:gd name="connsiteX6251" fmla="*/ 2286385 w 6884782"/>
              <a:gd name="connsiteY6251" fmla="*/ 5038022 h 5973007"/>
              <a:gd name="connsiteX6252" fmla="*/ 2287935 w 6884782"/>
              <a:gd name="connsiteY6252" fmla="*/ 5037092 h 5973007"/>
              <a:gd name="connsiteX6253" fmla="*/ 2290723 w 6884782"/>
              <a:gd name="connsiteY6253" fmla="*/ 5037299 h 5973007"/>
              <a:gd name="connsiteX6254" fmla="*/ 2284991 w 6884782"/>
              <a:gd name="connsiteY6254" fmla="*/ 5044527 h 5973007"/>
              <a:gd name="connsiteX6255" fmla="*/ 2285301 w 6884782"/>
              <a:gd name="connsiteY6255" fmla="*/ 5038538 h 5973007"/>
              <a:gd name="connsiteX6256" fmla="*/ 2286231 w 6884782"/>
              <a:gd name="connsiteY6256" fmla="*/ 5038022 h 5973007"/>
              <a:gd name="connsiteX6257" fmla="*/ 2283442 w 6884782"/>
              <a:gd name="connsiteY6257" fmla="*/ 5032549 h 5973007"/>
              <a:gd name="connsiteX6258" fmla="*/ 2284217 w 6884782"/>
              <a:gd name="connsiteY6258" fmla="*/ 5026560 h 5973007"/>
              <a:gd name="connsiteX6259" fmla="*/ 1816604 w 6884782"/>
              <a:gd name="connsiteY6259" fmla="*/ 5025566 h 5973007"/>
              <a:gd name="connsiteX6260" fmla="*/ 1828047 w 6884782"/>
              <a:gd name="connsiteY6260" fmla="*/ 5033582 h 5973007"/>
              <a:gd name="connsiteX6261" fmla="*/ 1827737 w 6884782"/>
              <a:gd name="connsiteY6261" fmla="*/ 5036266 h 5973007"/>
              <a:gd name="connsiteX6262" fmla="*/ 1808066 w 6884782"/>
              <a:gd name="connsiteY6262" fmla="*/ 5048244 h 5973007"/>
              <a:gd name="connsiteX6263" fmla="*/ 1789788 w 6884782"/>
              <a:gd name="connsiteY6263" fmla="*/ 5038744 h 5973007"/>
              <a:gd name="connsiteX6264" fmla="*/ 1802954 w 6884782"/>
              <a:gd name="connsiteY6264" fmla="*/ 5026147 h 5973007"/>
              <a:gd name="connsiteX6265" fmla="*/ 1816604 w 6884782"/>
              <a:gd name="connsiteY6265" fmla="*/ 5025566 h 5973007"/>
              <a:gd name="connsiteX6266" fmla="*/ 1495020 w 6884782"/>
              <a:gd name="connsiteY6266" fmla="*/ 5025218 h 5973007"/>
              <a:gd name="connsiteX6267" fmla="*/ 1489599 w 6884782"/>
              <a:gd name="connsiteY6267" fmla="*/ 5039983 h 5973007"/>
              <a:gd name="connsiteX6268" fmla="*/ 1484177 w 6884782"/>
              <a:gd name="connsiteY6268" fmla="*/ 5039880 h 5973007"/>
              <a:gd name="connsiteX6269" fmla="*/ 1495020 w 6884782"/>
              <a:gd name="connsiteY6269" fmla="*/ 5025218 h 5973007"/>
              <a:gd name="connsiteX6270" fmla="*/ 2213894 w 6884782"/>
              <a:gd name="connsiteY6270" fmla="*/ 5024392 h 5973007"/>
              <a:gd name="connsiteX6271" fmla="*/ 2213274 w 6884782"/>
              <a:gd name="connsiteY6271" fmla="*/ 5024598 h 5973007"/>
              <a:gd name="connsiteX6272" fmla="*/ 2214049 w 6884782"/>
              <a:gd name="connsiteY6272" fmla="*/ 5024598 h 5973007"/>
              <a:gd name="connsiteX6273" fmla="*/ 2542428 w 6884782"/>
              <a:gd name="connsiteY6273" fmla="*/ 5023772 h 5973007"/>
              <a:gd name="connsiteX6274" fmla="*/ 2538092 w 6884782"/>
              <a:gd name="connsiteY6274" fmla="*/ 5028729 h 5973007"/>
              <a:gd name="connsiteX6275" fmla="*/ 2536542 w 6884782"/>
              <a:gd name="connsiteY6275" fmla="*/ 5028522 h 5973007"/>
              <a:gd name="connsiteX6276" fmla="*/ 2542428 w 6884782"/>
              <a:gd name="connsiteY6276" fmla="*/ 5023772 h 5973007"/>
              <a:gd name="connsiteX6277" fmla="*/ 2068911 w 6884782"/>
              <a:gd name="connsiteY6277" fmla="*/ 5023049 h 5973007"/>
              <a:gd name="connsiteX6278" fmla="*/ 2073403 w 6884782"/>
              <a:gd name="connsiteY6278" fmla="*/ 5025321 h 5973007"/>
              <a:gd name="connsiteX6279" fmla="*/ 2066278 w 6884782"/>
              <a:gd name="connsiteY6279" fmla="*/ 5030587 h 5973007"/>
              <a:gd name="connsiteX6280" fmla="*/ 2068911 w 6884782"/>
              <a:gd name="connsiteY6280" fmla="*/ 5023049 h 5973007"/>
              <a:gd name="connsiteX6281" fmla="*/ 2169284 w 6884782"/>
              <a:gd name="connsiteY6281" fmla="*/ 5022223 h 5973007"/>
              <a:gd name="connsiteX6282" fmla="*/ 2174705 w 6884782"/>
              <a:gd name="connsiteY6282" fmla="*/ 5031516 h 5973007"/>
              <a:gd name="connsiteX6283" fmla="*/ 2174550 w 6884782"/>
              <a:gd name="connsiteY6283" fmla="*/ 5041945 h 5973007"/>
              <a:gd name="connsiteX6284" fmla="*/ 2169284 w 6884782"/>
              <a:gd name="connsiteY6284" fmla="*/ 5022223 h 5973007"/>
              <a:gd name="connsiteX6285" fmla="*/ 1847100 w 6884782"/>
              <a:gd name="connsiteY6285" fmla="*/ 5020365 h 5973007"/>
              <a:gd name="connsiteX6286" fmla="*/ 1849733 w 6884782"/>
              <a:gd name="connsiteY6286" fmla="*/ 5042875 h 5973007"/>
              <a:gd name="connsiteX6287" fmla="*/ 1845551 w 6884782"/>
              <a:gd name="connsiteY6287" fmla="*/ 5038744 h 5973007"/>
              <a:gd name="connsiteX6288" fmla="*/ 1845396 w 6884782"/>
              <a:gd name="connsiteY6288" fmla="*/ 5037815 h 5973007"/>
              <a:gd name="connsiteX6289" fmla="*/ 1845241 w 6884782"/>
              <a:gd name="connsiteY6289" fmla="*/ 5039157 h 5973007"/>
              <a:gd name="connsiteX6290" fmla="*/ 1843227 w 6884782"/>
              <a:gd name="connsiteY6290" fmla="*/ 5058673 h 5973007"/>
              <a:gd name="connsiteX6291" fmla="*/ 1839200 w 6884782"/>
              <a:gd name="connsiteY6291" fmla="*/ 5048450 h 5973007"/>
              <a:gd name="connsiteX6292" fmla="*/ 1836567 w 6884782"/>
              <a:gd name="connsiteY6292" fmla="*/ 5038744 h 5973007"/>
              <a:gd name="connsiteX6293" fmla="*/ 1837806 w 6884782"/>
              <a:gd name="connsiteY6293" fmla="*/ 5035647 h 5973007"/>
              <a:gd name="connsiteX6294" fmla="*/ 1837186 w 6884782"/>
              <a:gd name="connsiteY6294" fmla="*/ 5035337 h 5973007"/>
              <a:gd name="connsiteX6295" fmla="*/ 1840439 w 6884782"/>
              <a:gd name="connsiteY6295" fmla="*/ 5030277 h 5973007"/>
              <a:gd name="connsiteX6296" fmla="*/ 1842762 w 6884782"/>
              <a:gd name="connsiteY6296" fmla="*/ 5032652 h 5973007"/>
              <a:gd name="connsiteX6297" fmla="*/ 1844312 w 6884782"/>
              <a:gd name="connsiteY6297" fmla="*/ 5032239 h 5973007"/>
              <a:gd name="connsiteX6298" fmla="*/ 1845086 w 6884782"/>
              <a:gd name="connsiteY6298" fmla="*/ 5026147 h 5973007"/>
              <a:gd name="connsiteX6299" fmla="*/ 1847100 w 6884782"/>
              <a:gd name="connsiteY6299" fmla="*/ 5020365 h 5973007"/>
              <a:gd name="connsiteX6300" fmla="*/ 1890006 w 6884782"/>
              <a:gd name="connsiteY6300" fmla="*/ 5018610 h 5973007"/>
              <a:gd name="connsiteX6301" fmla="*/ 1892484 w 6884782"/>
              <a:gd name="connsiteY6301" fmla="*/ 5018610 h 5973007"/>
              <a:gd name="connsiteX6302" fmla="*/ 1891090 w 6884782"/>
              <a:gd name="connsiteY6302" fmla="*/ 5031516 h 5973007"/>
              <a:gd name="connsiteX6303" fmla="*/ 1890160 w 6884782"/>
              <a:gd name="connsiteY6303" fmla="*/ 5033169 h 5973007"/>
              <a:gd name="connsiteX6304" fmla="*/ 1884894 w 6884782"/>
              <a:gd name="connsiteY6304" fmla="*/ 5036576 h 5973007"/>
              <a:gd name="connsiteX6305" fmla="*/ 1888921 w 6884782"/>
              <a:gd name="connsiteY6305" fmla="*/ 5020262 h 5973007"/>
              <a:gd name="connsiteX6306" fmla="*/ 1890006 w 6884782"/>
              <a:gd name="connsiteY6306" fmla="*/ 5018610 h 5973007"/>
              <a:gd name="connsiteX6307" fmla="*/ 1639848 w 6884782"/>
              <a:gd name="connsiteY6307" fmla="*/ 5017887 h 5973007"/>
              <a:gd name="connsiteX6308" fmla="*/ 1645734 w 6884782"/>
              <a:gd name="connsiteY6308" fmla="*/ 5027489 h 5973007"/>
              <a:gd name="connsiteX6309" fmla="*/ 1634272 w 6884782"/>
              <a:gd name="connsiteY6309" fmla="*/ 5042978 h 5973007"/>
              <a:gd name="connsiteX6310" fmla="*/ 1633808 w 6884782"/>
              <a:gd name="connsiteY6310" fmla="*/ 5042978 h 5973007"/>
              <a:gd name="connsiteX6311" fmla="*/ 1633652 w 6884782"/>
              <a:gd name="connsiteY6311" fmla="*/ 5049793 h 5973007"/>
              <a:gd name="connsiteX6312" fmla="*/ 1631175 w 6884782"/>
              <a:gd name="connsiteY6312" fmla="*/ 5057331 h 5973007"/>
              <a:gd name="connsiteX6313" fmla="*/ 1628696 w 6884782"/>
              <a:gd name="connsiteY6313" fmla="*/ 5058467 h 5973007"/>
              <a:gd name="connsiteX6314" fmla="*/ 1611193 w 6884782"/>
              <a:gd name="connsiteY6314" fmla="*/ 5046592 h 5973007"/>
              <a:gd name="connsiteX6315" fmla="*/ 1609643 w 6884782"/>
              <a:gd name="connsiteY6315" fmla="*/ 5029658 h 5973007"/>
              <a:gd name="connsiteX6316" fmla="*/ 1610108 w 6884782"/>
              <a:gd name="connsiteY6316" fmla="*/ 5028832 h 5973007"/>
              <a:gd name="connsiteX6317" fmla="*/ 1609024 w 6884782"/>
              <a:gd name="connsiteY6317" fmla="*/ 5029865 h 5973007"/>
              <a:gd name="connsiteX6318" fmla="*/ 1607010 w 6884782"/>
              <a:gd name="connsiteY6318" fmla="*/ 5029761 h 5973007"/>
              <a:gd name="connsiteX6319" fmla="*/ 1603138 w 6884782"/>
              <a:gd name="connsiteY6319" fmla="*/ 5028316 h 5973007"/>
              <a:gd name="connsiteX6320" fmla="*/ 1603448 w 6884782"/>
              <a:gd name="connsiteY6320" fmla="*/ 5025115 h 5973007"/>
              <a:gd name="connsiteX6321" fmla="*/ 1606700 w 6884782"/>
              <a:gd name="connsiteY6321" fmla="*/ 5022843 h 5973007"/>
              <a:gd name="connsiteX6322" fmla="*/ 1613516 w 6884782"/>
              <a:gd name="connsiteY6322" fmla="*/ 5022843 h 5973007"/>
              <a:gd name="connsiteX6323" fmla="*/ 1613051 w 6884782"/>
              <a:gd name="connsiteY6323" fmla="*/ 5024392 h 5973007"/>
              <a:gd name="connsiteX6324" fmla="*/ 1621416 w 6884782"/>
              <a:gd name="connsiteY6324" fmla="*/ 5025424 h 5973007"/>
              <a:gd name="connsiteX6325" fmla="*/ 1628231 w 6884782"/>
              <a:gd name="connsiteY6325" fmla="*/ 5029865 h 5973007"/>
              <a:gd name="connsiteX6326" fmla="*/ 1630864 w 6884782"/>
              <a:gd name="connsiteY6326" fmla="*/ 5033891 h 5973007"/>
              <a:gd name="connsiteX6327" fmla="*/ 1631639 w 6884782"/>
              <a:gd name="connsiteY6327" fmla="*/ 5030277 h 5973007"/>
              <a:gd name="connsiteX6328" fmla="*/ 1639848 w 6884782"/>
              <a:gd name="connsiteY6328" fmla="*/ 5017887 h 5973007"/>
              <a:gd name="connsiteX6329" fmla="*/ 1445453 w 6884782"/>
              <a:gd name="connsiteY6329" fmla="*/ 5015615 h 5973007"/>
              <a:gd name="connsiteX6330" fmla="*/ 1448396 w 6884782"/>
              <a:gd name="connsiteY6330" fmla="*/ 5018610 h 5973007"/>
              <a:gd name="connsiteX6331" fmla="*/ 1447622 w 6884782"/>
              <a:gd name="connsiteY6331" fmla="*/ 5021294 h 5973007"/>
              <a:gd name="connsiteX6332" fmla="*/ 1446228 w 6884782"/>
              <a:gd name="connsiteY6332" fmla="*/ 5021810 h 5973007"/>
              <a:gd name="connsiteX6333" fmla="*/ 1445143 w 6884782"/>
              <a:gd name="connsiteY6333" fmla="*/ 5020778 h 5973007"/>
              <a:gd name="connsiteX6334" fmla="*/ 1443595 w 6884782"/>
              <a:gd name="connsiteY6334" fmla="*/ 5018713 h 5973007"/>
              <a:gd name="connsiteX6335" fmla="*/ 1444059 w 6884782"/>
              <a:gd name="connsiteY6335" fmla="*/ 5017267 h 5973007"/>
              <a:gd name="connsiteX6336" fmla="*/ 1445453 w 6884782"/>
              <a:gd name="connsiteY6336" fmla="*/ 5015615 h 5973007"/>
              <a:gd name="connsiteX6337" fmla="*/ 2548934 w 6884782"/>
              <a:gd name="connsiteY6337" fmla="*/ 5015305 h 5973007"/>
              <a:gd name="connsiteX6338" fmla="*/ 2549554 w 6884782"/>
              <a:gd name="connsiteY6338" fmla="*/ 5016441 h 5973007"/>
              <a:gd name="connsiteX6339" fmla="*/ 2548934 w 6884782"/>
              <a:gd name="connsiteY6339" fmla="*/ 5018093 h 5973007"/>
              <a:gd name="connsiteX6340" fmla="*/ 2547230 w 6884782"/>
              <a:gd name="connsiteY6340" fmla="*/ 5021604 h 5973007"/>
              <a:gd name="connsiteX6341" fmla="*/ 2548934 w 6884782"/>
              <a:gd name="connsiteY6341" fmla="*/ 5015305 h 5973007"/>
              <a:gd name="connsiteX6342" fmla="*/ 2045367 w 6884782"/>
              <a:gd name="connsiteY6342" fmla="*/ 5015305 h 5973007"/>
              <a:gd name="connsiteX6343" fmla="*/ 2044902 w 6884782"/>
              <a:gd name="connsiteY6343" fmla="*/ 5019022 h 5973007"/>
              <a:gd name="connsiteX6344" fmla="*/ 2040720 w 6884782"/>
              <a:gd name="connsiteY6344" fmla="*/ 5020468 h 5973007"/>
              <a:gd name="connsiteX6345" fmla="*/ 2037313 w 6884782"/>
              <a:gd name="connsiteY6345" fmla="*/ 5018919 h 5973007"/>
              <a:gd name="connsiteX6346" fmla="*/ 2036693 w 6884782"/>
              <a:gd name="connsiteY6346" fmla="*/ 5015718 h 5973007"/>
              <a:gd name="connsiteX6347" fmla="*/ 2045367 w 6884782"/>
              <a:gd name="connsiteY6347" fmla="*/ 5015305 h 5973007"/>
              <a:gd name="connsiteX6348" fmla="*/ 1683994 w 6884782"/>
              <a:gd name="connsiteY6348" fmla="*/ 5014479 h 5973007"/>
              <a:gd name="connsiteX6349" fmla="*/ 1683529 w 6884782"/>
              <a:gd name="connsiteY6349" fmla="*/ 5019642 h 5973007"/>
              <a:gd name="connsiteX6350" fmla="*/ 1680896 w 6884782"/>
              <a:gd name="connsiteY6350" fmla="*/ 5021191 h 5973007"/>
              <a:gd name="connsiteX6351" fmla="*/ 1678417 w 6884782"/>
              <a:gd name="connsiteY6351" fmla="*/ 5019436 h 5973007"/>
              <a:gd name="connsiteX6352" fmla="*/ 1677333 w 6884782"/>
              <a:gd name="connsiteY6352" fmla="*/ 5015925 h 5973007"/>
              <a:gd name="connsiteX6353" fmla="*/ 1683994 w 6884782"/>
              <a:gd name="connsiteY6353" fmla="*/ 5014479 h 5973007"/>
              <a:gd name="connsiteX6354" fmla="*/ 1756021 w 6884782"/>
              <a:gd name="connsiteY6354" fmla="*/ 5013240 h 5973007"/>
              <a:gd name="connsiteX6355" fmla="*/ 1758809 w 6884782"/>
              <a:gd name="connsiteY6355" fmla="*/ 5016957 h 5973007"/>
              <a:gd name="connsiteX6356" fmla="*/ 1756175 w 6884782"/>
              <a:gd name="connsiteY6356" fmla="*/ 5019022 h 5973007"/>
              <a:gd name="connsiteX6357" fmla="*/ 1754471 w 6884782"/>
              <a:gd name="connsiteY6357" fmla="*/ 5017783 h 5973007"/>
              <a:gd name="connsiteX6358" fmla="*/ 1756021 w 6884782"/>
              <a:gd name="connsiteY6358" fmla="*/ 5013240 h 5973007"/>
              <a:gd name="connsiteX6359" fmla="*/ 2263925 w 6884782"/>
              <a:gd name="connsiteY6359" fmla="*/ 5011588 h 5973007"/>
              <a:gd name="connsiteX6360" fmla="*/ 2263925 w 6884782"/>
              <a:gd name="connsiteY6360" fmla="*/ 5017164 h 5973007"/>
              <a:gd name="connsiteX6361" fmla="*/ 2258659 w 6884782"/>
              <a:gd name="connsiteY6361" fmla="*/ 5017577 h 5973007"/>
              <a:gd name="connsiteX6362" fmla="*/ 2258814 w 6884782"/>
              <a:gd name="connsiteY6362" fmla="*/ 5020571 h 5973007"/>
              <a:gd name="connsiteX6363" fmla="*/ 2257265 w 6884782"/>
              <a:gd name="connsiteY6363" fmla="*/ 5022533 h 5973007"/>
              <a:gd name="connsiteX6364" fmla="*/ 2252773 w 6884782"/>
              <a:gd name="connsiteY6364" fmla="*/ 5019952 h 5973007"/>
              <a:gd name="connsiteX6365" fmla="*/ 2254477 w 6884782"/>
              <a:gd name="connsiteY6365" fmla="*/ 5017680 h 5973007"/>
              <a:gd name="connsiteX6366" fmla="*/ 2252773 w 6884782"/>
              <a:gd name="connsiteY6366" fmla="*/ 5017371 h 5973007"/>
              <a:gd name="connsiteX6367" fmla="*/ 2250759 w 6884782"/>
              <a:gd name="connsiteY6367" fmla="*/ 5014582 h 5973007"/>
              <a:gd name="connsiteX6368" fmla="*/ 2263925 w 6884782"/>
              <a:gd name="connsiteY6368" fmla="*/ 5011588 h 5973007"/>
              <a:gd name="connsiteX6369" fmla="*/ 2006333 w 6884782"/>
              <a:gd name="connsiteY6369" fmla="*/ 5011485 h 5973007"/>
              <a:gd name="connsiteX6370" fmla="*/ 2007417 w 6884782"/>
              <a:gd name="connsiteY6370" fmla="*/ 5020468 h 5973007"/>
              <a:gd name="connsiteX6371" fmla="*/ 2006488 w 6884782"/>
              <a:gd name="connsiteY6371" fmla="*/ 5024598 h 5973007"/>
              <a:gd name="connsiteX6372" fmla="*/ 2006797 w 6884782"/>
              <a:gd name="connsiteY6372" fmla="*/ 5024495 h 5973007"/>
              <a:gd name="connsiteX6373" fmla="*/ 2010205 w 6884782"/>
              <a:gd name="connsiteY6373" fmla="*/ 5025734 h 5973007"/>
              <a:gd name="connsiteX6374" fmla="*/ 2012994 w 6884782"/>
              <a:gd name="connsiteY6374" fmla="*/ 5029761 h 5973007"/>
              <a:gd name="connsiteX6375" fmla="*/ 2027244 w 6884782"/>
              <a:gd name="connsiteY6375" fmla="*/ 5029245 h 5973007"/>
              <a:gd name="connsiteX6376" fmla="*/ 2047226 w 6884782"/>
              <a:gd name="connsiteY6376" fmla="*/ 5028729 h 5973007"/>
              <a:gd name="connsiteX6377" fmla="*/ 2041339 w 6884782"/>
              <a:gd name="connsiteY6377" fmla="*/ 5032652 h 5973007"/>
              <a:gd name="connsiteX6378" fmla="*/ 2041959 w 6884782"/>
              <a:gd name="connsiteY6378" fmla="*/ 5033169 h 5973007"/>
              <a:gd name="connsiteX6379" fmla="*/ 2050788 w 6884782"/>
              <a:gd name="connsiteY6379" fmla="*/ 5033995 h 5973007"/>
              <a:gd name="connsiteX6380" fmla="*/ 2051253 w 6884782"/>
              <a:gd name="connsiteY6380" fmla="*/ 5042255 h 5973007"/>
              <a:gd name="connsiteX6381" fmla="*/ 2049704 w 6884782"/>
              <a:gd name="connsiteY6381" fmla="*/ 5045250 h 5973007"/>
              <a:gd name="connsiteX6382" fmla="*/ 2034679 w 6884782"/>
              <a:gd name="connsiteY6382" fmla="*/ 5036060 h 5973007"/>
              <a:gd name="connsiteX6383" fmla="*/ 2034834 w 6884782"/>
              <a:gd name="connsiteY6383" fmla="*/ 5035647 h 5973007"/>
              <a:gd name="connsiteX6384" fmla="*/ 2027554 w 6884782"/>
              <a:gd name="connsiteY6384" fmla="*/ 5037506 h 5973007"/>
              <a:gd name="connsiteX6385" fmla="*/ 2022288 w 6884782"/>
              <a:gd name="connsiteY6385" fmla="*/ 5038125 h 5973007"/>
              <a:gd name="connsiteX6386" fmla="*/ 2022752 w 6884782"/>
              <a:gd name="connsiteY6386" fmla="*/ 5038538 h 5973007"/>
              <a:gd name="connsiteX6387" fmla="*/ 2018260 w 6884782"/>
              <a:gd name="connsiteY6387" fmla="*/ 5054026 h 5973007"/>
              <a:gd name="connsiteX6388" fmla="*/ 2015627 w 6884782"/>
              <a:gd name="connsiteY6388" fmla="*/ 5053201 h 5973007"/>
              <a:gd name="connsiteX6389" fmla="*/ 2012838 w 6884782"/>
              <a:gd name="connsiteY6389" fmla="*/ 5048244 h 5973007"/>
              <a:gd name="connsiteX6390" fmla="*/ 2013148 w 6884782"/>
              <a:gd name="connsiteY6390" fmla="*/ 5044630 h 5973007"/>
              <a:gd name="connsiteX6391" fmla="*/ 2008656 w 6884782"/>
              <a:gd name="connsiteY6391" fmla="*/ 5044114 h 5973007"/>
              <a:gd name="connsiteX6392" fmla="*/ 2009276 w 6884782"/>
              <a:gd name="connsiteY6392" fmla="*/ 5039467 h 5973007"/>
              <a:gd name="connsiteX6393" fmla="*/ 2009431 w 6884782"/>
              <a:gd name="connsiteY6393" fmla="*/ 5039261 h 5973007"/>
              <a:gd name="connsiteX6394" fmla="*/ 2004474 w 6884782"/>
              <a:gd name="connsiteY6394" fmla="*/ 5039674 h 5973007"/>
              <a:gd name="connsiteX6395" fmla="*/ 2004474 w 6884782"/>
              <a:gd name="connsiteY6395" fmla="*/ 5035440 h 5973007"/>
              <a:gd name="connsiteX6396" fmla="*/ 2004784 w 6884782"/>
              <a:gd name="connsiteY6396" fmla="*/ 5032962 h 5973007"/>
              <a:gd name="connsiteX6397" fmla="*/ 2003854 w 6884782"/>
              <a:gd name="connsiteY6397" fmla="*/ 5032962 h 5973007"/>
              <a:gd name="connsiteX6398" fmla="*/ 2002460 w 6884782"/>
              <a:gd name="connsiteY6398" fmla="*/ 5028109 h 5973007"/>
              <a:gd name="connsiteX6399" fmla="*/ 2003235 w 6884782"/>
              <a:gd name="connsiteY6399" fmla="*/ 5026870 h 5973007"/>
              <a:gd name="connsiteX6400" fmla="*/ 1998898 w 6884782"/>
              <a:gd name="connsiteY6400" fmla="*/ 5027077 h 5973007"/>
              <a:gd name="connsiteX6401" fmla="*/ 1995026 w 6884782"/>
              <a:gd name="connsiteY6401" fmla="*/ 5025528 h 5973007"/>
              <a:gd name="connsiteX6402" fmla="*/ 1994251 w 6884782"/>
              <a:gd name="connsiteY6402" fmla="*/ 5023669 h 5973007"/>
              <a:gd name="connsiteX6403" fmla="*/ 1993012 w 6884782"/>
              <a:gd name="connsiteY6403" fmla="*/ 5025424 h 5973007"/>
              <a:gd name="connsiteX6404" fmla="*/ 1988211 w 6884782"/>
              <a:gd name="connsiteY6404" fmla="*/ 5027489 h 5973007"/>
              <a:gd name="connsiteX6405" fmla="*/ 1982789 w 6884782"/>
              <a:gd name="connsiteY6405" fmla="*/ 5026973 h 5973007"/>
              <a:gd name="connsiteX6406" fmla="*/ 1985887 w 6884782"/>
              <a:gd name="connsiteY6406" fmla="*/ 5021914 h 5973007"/>
              <a:gd name="connsiteX6407" fmla="*/ 1993477 w 6884782"/>
              <a:gd name="connsiteY6407" fmla="*/ 5021191 h 5973007"/>
              <a:gd name="connsiteX6408" fmla="*/ 1994251 w 6884782"/>
              <a:gd name="connsiteY6408" fmla="*/ 5022533 h 5973007"/>
              <a:gd name="connsiteX6409" fmla="*/ 1995026 w 6884782"/>
              <a:gd name="connsiteY6409" fmla="*/ 5018919 h 5973007"/>
              <a:gd name="connsiteX6410" fmla="*/ 2006333 w 6884782"/>
              <a:gd name="connsiteY6410" fmla="*/ 5011485 h 5973007"/>
              <a:gd name="connsiteX6411" fmla="*/ 1705059 w 6884782"/>
              <a:gd name="connsiteY6411" fmla="*/ 5010143 h 5973007"/>
              <a:gd name="connsiteX6412" fmla="*/ 1711410 w 6884782"/>
              <a:gd name="connsiteY6412" fmla="*/ 5015202 h 5973007"/>
              <a:gd name="connsiteX6413" fmla="*/ 1705989 w 6884782"/>
              <a:gd name="connsiteY6413" fmla="*/ 5031104 h 5973007"/>
              <a:gd name="connsiteX6414" fmla="*/ 1705370 w 6884782"/>
              <a:gd name="connsiteY6414" fmla="*/ 5030690 h 5973007"/>
              <a:gd name="connsiteX6415" fmla="*/ 1703665 w 6884782"/>
              <a:gd name="connsiteY6415" fmla="*/ 5036163 h 5973007"/>
              <a:gd name="connsiteX6416" fmla="*/ 1700258 w 6884782"/>
              <a:gd name="connsiteY6416" fmla="*/ 5036473 h 5973007"/>
              <a:gd name="connsiteX6417" fmla="*/ 1692978 w 6884782"/>
              <a:gd name="connsiteY6417" fmla="*/ 5031000 h 5973007"/>
              <a:gd name="connsiteX6418" fmla="*/ 1692513 w 6884782"/>
              <a:gd name="connsiteY6418" fmla="*/ 5030587 h 5973007"/>
              <a:gd name="connsiteX6419" fmla="*/ 1691584 w 6884782"/>
              <a:gd name="connsiteY6419" fmla="*/ 5030071 h 5973007"/>
              <a:gd name="connsiteX6420" fmla="*/ 1691274 w 6884782"/>
              <a:gd name="connsiteY6420" fmla="*/ 5030381 h 5973007"/>
              <a:gd name="connsiteX6421" fmla="*/ 1691274 w 6884782"/>
              <a:gd name="connsiteY6421" fmla="*/ 5030071 h 5973007"/>
              <a:gd name="connsiteX6422" fmla="*/ 1689415 w 6884782"/>
              <a:gd name="connsiteY6422" fmla="*/ 5029245 h 5973007"/>
              <a:gd name="connsiteX6423" fmla="*/ 1690034 w 6884782"/>
              <a:gd name="connsiteY6423" fmla="*/ 5027799 h 5973007"/>
              <a:gd name="connsiteX6424" fmla="*/ 1689260 w 6884782"/>
              <a:gd name="connsiteY6424" fmla="*/ 5025218 h 5973007"/>
              <a:gd name="connsiteX6425" fmla="*/ 1690654 w 6884782"/>
              <a:gd name="connsiteY6425" fmla="*/ 5023463 h 5973007"/>
              <a:gd name="connsiteX6426" fmla="*/ 1695611 w 6884782"/>
              <a:gd name="connsiteY6426" fmla="*/ 5023359 h 5973007"/>
              <a:gd name="connsiteX6427" fmla="*/ 1698864 w 6884782"/>
              <a:gd name="connsiteY6427" fmla="*/ 5017371 h 5973007"/>
              <a:gd name="connsiteX6428" fmla="*/ 1700258 w 6884782"/>
              <a:gd name="connsiteY6428" fmla="*/ 5014376 h 5973007"/>
              <a:gd name="connsiteX6429" fmla="*/ 1699328 w 6884782"/>
              <a:gd name="connsiteY6429" fmla="*/ 5015202 h 5973007"/>
              <a:gd name="connsiteX6430" fmla="*/ 1687092 w 6884782"/>
              <a:gd name="connsiteY6430" fmla="*/ 5014066 h 5973007"/>
              <a:gd name="connsiteX6431" fmla="*/ 1695146 w 6884782"/>
              <a:gd name="connsiteY6431" fmla="*/ 5010246 h 5973007"/>
              <a:gd name="connsiteX6432" fmla="*/ 1701652 w 6884782"/>
              <a:gd name="connsiteY6432" fmla="*/ 5012724 h 5973007"/>
              <a:gd name="connsiteX6433" fmla="*/ 830767 w 6884782"/>
              <a:gd name="connsiteY6433" fmla="*/ 5009794 h 5973007"/>
              <a:gd name="connsiteX6434" fmla="*/ 836092 w 6884782"/>
              <a:gd name="connsiteY6434" fmla="*/ 5010659 h 5973007"/>
              <a:gd name="connsiteX6435" fmla="*/ 830670 w 6884782"/>
              <a:gd name="connsiteY6435" fmla="*/ 5016131 h 5973007"/>
              <a:gd name="connsiteX6436" fmla="*/ 828346 w 6884782"/>
              <a:gd name="connsiteY6436" fmla="*/ 5015512 h 5973007"/>
              <a:gd name="connsiteX6437" fmla="*/ 830767 w 6884782"/>
              <a:gd name="connsiteY6437" fmla="*/ 5009794 h 5973007"/>
              <a:gd name="connsiteX6438" fmla="*/ 2198404 w 6884782"/>
              <a:gd name="connsiteY6438" fmla="*/ 5009110 h 5973007"/>
              <a:gd name="connsiteX6439" fmla="*/ 2199333 w 6884782"/>
              <a:gd name="connsiteY6439" fmla="*/ 5015305 h 5973007"/>
              <a:gd name="connsiteX6440" fmla="*/ 2200109 w 6884782"/>
              <a:gd name="connsiteY6440" fmla="*/ 5016235 h 5973007"/>
              <a:gd name="connsiteX6441" fmla="*/ 2200263 w 6884782"/>
              <a:gd name="connsiteY6441" fmla="*/ 5016235 h 5973007"/>
              <a:gd name="connsiteX6442" fmla="*/ 2200573 w 6884782"/>
              <a:gd name="connsiteY6442" fmla="*/ 5016648 h 5973007"/>
              <a:gd name="connsiteX6443" fmla="*/ 2201192 w 6884782"/>
              <a:gd name="connsiteY6443" fmla="*/ 5017371 h 5973007"/>
              <a:gd name="connsiteX6444" fmla="*/ 2201192 w 6884782"/>
              <a:gd name="connsiteY6444" fmla="*/ 5017783 h 5973007"/>
              <a:gd name="connsiteX6445" fmla="*/ 2202587 w 6884782"/>
              <a:gd name="connsiteY6445" fmla="*/ 5019642 h 5973007"/>
              <a:gd name="connsiteX6446" fmla="*/ 2205530 w 6884782"/>
              <a:gd name="connsiteY6446" fmla="*/ 5022637 h 5973007"/>
              <a:gd name="connsiteX6447" fmla="*/ 2202277 w 6884782"/>
              <a:gd name="connsiteY6447" fmla="*/ 5024805 h 5973007"/>
              <a:gd name="connsiteX6448" fmla="*/ 2199488 w 6884782"/>
              <a:gd name="connsiteY6448" fmla="*/ 5022843 h 5973007"/>
              <a:gd name="connsiteX6449" fmla="*/ 2198559 w 6884782"/>
              <a:gd name="connsiteY6449" fmla="*/ 5022843 h 5973007"/>
              <a:gd name="connsiteX6450" fmla="*/ 2196855 w 6884782"/>
              <a:gd name="connsiteY6450" fmla="*/ 5020778 h 5973007"/>
              <a:gd name="connsiteX6451" fmla="*/ 2196700 w 6884782"/>
              <a:gd name="connsiteY6451" fmla="*/ 5019642 h 5973007"/>
              <a:gd name="connsiteX6452" fmla="*/ 2194997 w 6884782"/>
              <a:gd name="connsiteY6452" fmla="*/ 5016544 h 5973007"/>
              <a:gd name="connsiteX6453" fmla="*/ 2196545 w 6884782"/>
              <a:gd name="connsiteY6453" fmla="*/ 5016544 h 5973007"/>
              <a:gd name="connsiteX6454" fmla="*/ 2198095 w 6884782"/>
              <a:gd name="connsiteY6454" fmla="*/ 5013756 h 5973007"/>
              <a:gd name="connsiteX6455" fmla="*/ 2198404 w 6884782"/>
              <a:gd name="connsiteY6455" fmla="*/ 5009110 h 5973007"/>
              <a:gd name="connsiteX6456" fmla="*/ 1576960 w 6884782"/>
              <a:gd name="connsiteY6456" fmla="*/ 5008697 h 5973007"/>
              <a:gd name="connsiteX6457" fmla="*/ 1584705 w 6884782"/>
              <a:gd name="connsiteY6457" fmla="*/ 5014066 h 5973007"/>
              <a:gd name="connsiteX6458" fmla="*/ 1578819 w 6884782"/>
              <a:gd name="connsiteY6458" fmla="*/ 5020262 h 5973007"/>
              <a:gd name="connsiteX6459" fmla="*/ 1573243 w 6884782"/>
              <a:gd name="connsiteY6459" fmla="*/ 5017474 h 5973007"/>
              <a:gd name="connsiteX6460" fmla="*/ 1576960 w 6884782"/>
              <a:gd name="connsiteY6460" fmla="*/ 5008697 h 5973007"/>
              <a:gd name="connsiteX6461" fmla="*/ 1230612 w 6884782"/>
              <a:gd name="connsiteY6461" fmla="*/ 5007871 h 5973007"/>
              <a:gd name="connsiteX6462" fmla="*/ 1238047 w 6884782"/>
              <a:gd name="connsiteY6462" fmla="*/ 5007974 h 5973007"/>
              <a:gd name="connsiteX6463" fmla="*/ 1238666 w 6884782"/>
              <a:gd name="connsiteY6463" fmla="*/ 5010555 h 5973007"/>
              <a:gd name="connsiteX6464" fmla="*/ 1233245 w 6884782"/>
              <a:gd name="connsiteY6464" fmla="*/ 5013653 h 5973007"/>
              <a:gd name="connsiteX6465" fmla="*/ 1231077 w 6884782"/>
              <a:gd name="connsiteY6465" fmla="*/ 5012208 h 5973007"/>
              <a:gd name="connsiteX6466" fmla="*/ 1230148 w 6884782"/>
              <a:gd name="connsiteY6466" fmla="*/ 5010349 h 5973007"/>
              <a:gd name="connsiteX6467" fmla="*/ 1230612 w 6884782"/>
              <a:gd name="connsiteY6467" fmla="*/ 5007871 h 5973007"/>
              <a:gd name="connsiteX6468" fmla="*/ 1852366 w 6884782"/>
              <a:gd name="connsiteY6468" fmla="*/ 5007768 h 5973007"/>
              <a:gd name="connsiteX6469" fmla="*/ 1853760 w 6884782"/>
              <a:gd name="connsiteY6469" fmla="*/ 5011381 h 5973007"/>
              <a:gd name="connsiteX6470" fmla="*/ 1854070 w 6884782"/>
              <a:gd name="connsiteY6470" fmla="*/ 5010865 h 5973007"/>
              <a:gd name="connsiteX6471" fmla="*/ 1855154 w 6884782"/>
              <a:gd name="connsiteY6471" fmla="*/ 5034201 h 5973007"/>
              <a:gd name="connsiteX6472" fmla="*/ 1850662 w 6884782"/>
              <a:gd name="connsiteY6472" fmla="*/ 5021501 h 5973007"/>
              <a:gd name="connsiteX6473" fmla="*/ 1851281 w 6884782"/>
              <a:gd name="connsiteY6473" fmla="*/ 5017267 h 5973007"/>
              <a:gd name="connsiteX6474" fmla="*/ 1848184 w 6884782"/>
              <a:gd name="connsiteY6474" fmla="*/ 5016338 h 5973007"/>
              <a:gd name="connsiteX6475" fmla="*/ 1842607 w 6884782"/>
              <a:gd name="connsiteY6475" fmla="*/ 5013343 h 5973007"/>
              <a:gd name="connsiteX6476" fmla="*/ 1852366 w 6884782"/>
              <a:gd name="connsiteY6476" fmla="*/ 5007768 h 5973007"/>
              <a:gd name="connsiteX6477" fmla="*/ 1468223 w 6884782"/>
              <a:gd name="connsiteY6477" fmla="*/ 5007561 h 5973007"/>
              <a:gd name="connsiteX6478" fmla="*/ 1468843 w 6884782"/>
              <a:gd name="connsiteY6478" fmla="*/ 5008077 h 5973007"/>
              <a:gd name="connsiteX6479" fmla="*/ 1469307 w 6884782"/>
              <a:gd name="connsiteY6479" fmla="*/ 5007768 h 5973007"/>
              <a:gd name="connsiteX6480" fmla="*/ 1472095 w 6884782"/>
              <a:gd name="connsiteY6480" fmla="*/ 5007871 h 5973007"/>
              <a:gd name="connsiteX6481" fmla="*/ 1476278 w 6884782"/>
              <a:gd name="connsiteY6481" fmla="*/ 5007561 h 5973007"/>
              <a:gd name="connsiteX6482" fmla="*/ 1489909 w 6884782"/>
              <a:gd name="connsiteY6482" fmla="*/ 5010349 h 5973007"/>
              <a:gd name="connsiteX6483" fmla="*/ 1484332 w 6884782"/>
              <a:gd name="connsiteY6483" fmla="*/ 5011691 h 5973007"/>
              <a:gd name="connsiteX6484" fmla="*/ 1477052 w 6884782"/>
              <a:gd name="connsiteY6484" fmla="*/ 5011691 h 5973007"/>
              <a:gd name="connsiteX6485" fmla="*/ 1471476 w 6884782"/>
              <a:gd name="connsiteY6485" fmla="*/ 5012311 h 5973007"/>
              <a:gd name="connsiteX6486" fmla="*/ 1470547 w 6884782"/>
              <a:gd name="connsiteY6486" fmla="*/ 5013963 h 5973007"/>
              <a:gd name="connsiteX6487" fmla="*/ 1468843 w 6884782"/>
              <a:gd name="connsiteY6487" fmla="*/ 5015615 h 5973007"/>
              <a:gd name="connsiteX6488" fmla="*/ 1467449 w 6884782"/>
              <a:gd name="connsiteY6488" fmla="*/ 5015718 h 5973007"/>
              <a:gd name="connsiteX6489" fmla="*/ 1466364 w 6884782"/>
              <a:gd name="connsiteY6489" fmla="*/ 5014789 h 5973007"/>
              <a:gd name="connsiteX6490" fmla="*/ 1468223 w 6884782"/>
              <a:gd name="connsiteY6490" fmla="*/ 5007561 h 5973007"/>
              <a:gd name="connsiteX6491" fmla="*/ 2203748 w 6884782"/>
              <a:gd name="connsiteY6491" fmla="*/ 5007432 h 5973007"/>
              <a:gd name="connsiteX6492" fmla="*/ 2205220 w 6884782"/>
              <a:gd name="connsiteY6492" fmla="*/ 5012208 h 5973007"/>
              <a:gd name="connsiteX6493" fmla="*/ 2199024 w 6884782"/>
              <a:gd name="connsiteY6493" fmla="*/ 5010555 h 5973007"/>
              <a:gd name="connsiteX6494" fmla="*/ 2203748 w 6884782"/>
              <a:gd name="connsiteY6494" fmla="*/ 5007432 h 5973007"/>
              <a:gd name="connsiteX6495" fmla="*/ 2210951 w 6884782"/>
              <a:gd name="connsiteY6495" fmla="*/ 5007354 h 5973007"/>
              <a:gd name="connsiteX6496" fmla="*/ 2216992 w 6884782"/>
              <a:gd name="connsiteY6496" fmla="*/ 5008800 h 5973007"/>
              <a:gd name="connsiteX6497" fmla="*/ 2219006 w 6884782"/>
              <a:gd name="connsiteY6497" fmla="*/ 5011795 h 5973007"/>
              <a:gd name="connsiteX6498" fmla="*/ 2220709 w 6884782"/>
              <a:gd name="connsiteY6498" fmla="*/ 5010452 h 5973007"/>
              <a:gd name="connsiteX6499" fmla="*/ 2233876 w 6884782"/>
              <a:gd name="connsiteY6499" fmla="*/ 5016854 h 5973007"/>
              <a:gd name="connsiteX6500" fmla="*/ 2234341 w 6884782"/>
              <a:gd name="connsiteY6500" fmla="*/ 5019229 h 5973007"/>
              <a:gd name="connsiteX6501" fmla="*/ 2236044 w 6884782"/>
              <a:gd name="connsiteY6501" fmla="*/ 5022430 h 5973007"/>
              <a:gd name="connsiteX6502" fmla="*/ 2226750 w 6884782"/>
              <a:gd name="connsiteY6502" fmla="*/ 5029348 h 5973007"/>
              <a:gd name="connsiteX6503" fmla="*/ 2221639 w 6884782"/>
              <a:gd name="connsiteY6503" fmla="*/ 5030587 h 5973007"/>
              <a:gd name="connsiteX6504" fmla="*/ 2220399 w 6884782"/>
              <a:gd name="connsiteY6504" fmla="*/ 5030277 h 5973007"/>
              <a:gd name="connsiteX6505" fmla="*/ 2220864 w 6884782"/>
              <a:gd name="connsiteY6505" fmla="*/ 5030587 h 5973007"/>
              <a:gd name="connsiteX6506" fmla="*/ 2224272 w 6884782"/>
              <a:gd name="connsiteY6506" fmla="*/ 5036163 h 5973007"/>
              <a:gd name="connsiteX6507" fmla="*/ 2221639 w 6884782"/>
              <a:gd name="connsiteY6507" fmla="*/ 5035440 h 5973007"/>
              <a:gd name="connsiteX6508" fmla="*/ 2220709 w 6884782"/>
              <a:gd name="connsiteY6508" fmla="*/ 5034614 h 5973007"/>
              <a:gd name="connsiteX6509" fmla="*/ 2219780 w 6884782"/>
              <a:gd name="connsiteY6509" fmla="*/ 5034717 h 5973007"/>
              <a:gd name="connsiteX6510" fmla="*/ 2219625 w 6884782"/>
              <a:gd name="connsiteY6510" fmla="*/ 5033788 h 5973007"/>
              <a:gd name="connsiteX6511" fmla="*/ 2217766 w 6884782"/>
              <a:gd name="connsiteY6511" fmla="*/ 5032136 h 5973007"/>
              <a:gd name="connsiteX6512" fmla="*/ 2212345 w 6884782"/>
              <a:gd name="connsiteY6512" fmla="*/ 5029968 h 5973007"/>
              <a:gd name="connsiteX6513" fmla="*/ 2208318 w 6884782"/>
              <a:gd name="connsiteY6513" fmla="*/ 5024908 h 5973007"/>
              <a:gd name="connsiteX6514" fmla="*/ 2209712 w 6884782"/>
              <a:gd name="connsiteY6514" fmla="*/ 5023049 h 5973007"/>
              <a:gd name="connsiteX6515" fmla="*/ 2207853 w 6884782"/>
              <a:gd name="connsiteY6515" fmla="*/ 5021501 h 5973007"/>
              <a:gd name="connsiteX6516" fmla="*/ 2207078 w 6884782"/>
              <a:gd name="connsiteY6516" fmla="*/ 5010143 h 5973007"/>
              <a:gd name="connsiteX6517" fmla="*/ 2210951 w 6884782"/>
              <a:gd name="connsiteY6517" fmla="*/ 5007354 h 5973007"/>
              <a:gd name="connsiteX6518" fmla="*/ 2055203 w 6884782"/>
              <a:gd name="connsiteY6518" fmla="*/ 5005418 h 5973007"/>
              <a:gd name="connsiteX6519" fmla="*/ 2055590 w 6884782"/>
              <a:gd name="connsiteY6519" fmla="*/ 5010865 h 5973007"/>
              <a:gd name="connsiteX6520" fmla="*/ 2051562 w 6884782"/>
              <a:gd name="connsiteY6520" fmla="*/ 5007251 h 5973007"/>
              <a:gd name="connsiteX6521" fmla="*/ 2055203 w 6884782"/>
              <a:gd name="connsiteY6521" fmla="*/ 5005418 h 5973007"/>
              <a:gd name="connsiteX6522" fmla="*/ 902697 w 6884782"/>
              <a:gd name="connsiteY6522" fmla="*/ 5004980 h 5973007"/>
              <a:gd name="connsiteX6523" fmla="*/ 906569 w 6884782"/>
              <a:gd name="connsiteY6523" fmla="*/ 5007561 h 5973007"/>
              <a:gd name="connsiteX6524" fmla="*/ 904711 w 6884782"/>
              <a:gd name="connsiteY6524" fmla="*/ 5017990 h 5973007"/>
              <a:gd name="connsiteX6525" fmla="*/ 895261 w 6884782"/>
              <a:gd name="connsiteY6525" fmla="*/ 5019642 h 5973007"/>
              <a:gd name="connsiteX6526" fmla="*/ 894332 w 6884782"/>
              <a:gd name="connsiteY6526" fmla="*/ 5021294 h 5973007"/>
              <a:gd name="connsiteX6527" fmla="*/ 890770 w 6884782"/>
              <a:gd name="connsiteY6527" fmla="*/ 5022946 h 5973007"/>
              <a:gd name="connsiteX6528" fmla="*/ 889995 w 6884782"/>
              <a:gd name="connsiteY6528" fmla="*/ 5021191 h 5973007"/>
              <a:gd name="connsiteX6529" fmla="*/ 893713 w 6884782"/>
              <a:gd name="connsiteY6529" fmla="*/ 5018713 h 5973007"/>
              <a:gd name="connsiteX6530" fmla="*/ 893868 w 6884782"/>
              <a:gd name="connsiteY6530" fmla="*/ 5017783 h 5973007"/>
              <a:gd name="connsiteX6531" fmla="*/ 892319 w 6884782"/>
              <a:gd name="connsiteY6531" fmla="*/ 5016028 h 5973007"/>
              <a:gd name="connsiteX6532" fmla="*/ 893093 w 6884782"/>
              <a:gd name="connsiteY6532" fmla="*/ 5007354 h 5973007"/>
              <a:gd name="connsiteX6533" fmla="*/ 902697 w 6884782"/>
              <a:gd name="connsiteY6533" fmla="*/ 5004980 h 5973007"/>
              <a:gd name="connsiteX6534" fmla="*/ 1863674 w 6884782"/>
              <a:gd name="connsiteY6534" fmla="*/ 5004773 h 5973007"/>
              <a:gd name="connsiteX6535" fmla="*/ 1865687 w 6884782"/>
              <a:gd name="connsiteY6535" fmla="*/ 5007664 h 5973007"/>
              <a:gd name="connsiteX6536" fmla="*/ 1857942 w 6884782"/>
              <a:gd name="connsiteY6536" fmla="*/ 5019332 h 5973007"/>
              <a:gd name="connsiteX6537" fmla="*/ 1863674 w 6884782"/>
              <a:gd name="connsiteY6537" fmla="*/ 5004773 h 5973007"/>
              <a:gd name="connsiteX6538" fmla="*/ 1685233 w 6884782"/>
              <a:gd name="connsiteY6538" fmla="*/ 5003741 h 5973007"/>
              <a:gd name="connsiteX6539" fmla="*/ 1684768 w 6884782"/>
              <a:gd name="connsiteY6539" fmla="*/ 5004463 h 5973007"/>
              <a:gd name="connsiteX6540" fmla="*/ 1686162 w 6884782"/>
              <a:gd name="connsiteY6540" fmla="*/ 5005393 h 5973007"/>
              <a:gd name="connsiteX6541" fmla="*/ 1686627 w 6884782"/>
              <a:gd name="connsiteY6541" fmla="*/ 5004670 h 5973007"/>
              <a:gd name="connsiteX6542" fmla="*/ 1687556 w 6884782"/>
              <a:gd name="connsiteY6542" fmla="*/ 5006219 h 5973007"/>
              <a:gd name="connsiteX6543" fmla="*/ 1686162 w 6884782"/>
              <a:gd name="connsiteY6543" fmla="*/ 5012931 h 5973007"/>
              <a:gd name="connsiteX6544" fmla="*/ 1682755 w 6884782"/>
              <a:gd name="connsiteY6544" fmla="*/ 5010762 h 5973007"/>
              <a:gd name="connsiteX6545" fmla="*/ 1682599 w 6884782"/>
              <a:gd name="connsiteY6545" fmla="*/ 5007148 h 5973007"/>
              <a:gd name="connsiteX6546" fmla="*/ 1685233 w 6884782"/>
              <a:gd name="connsiteY6546" fmla="*/ 5003741 h 5973007"/>
              <a:gd name="connsiteX6547" fmla="*/ 2554356 w 6884782"/>
              <a:gd name="connsiteY6547" fmla="*/ 5003534 h 5973007"/>
              <a:gd name="connsiteX6548" fmla="*/ 2558228 w 6884782"/>
              <a:gd name="connsiteY6548" fmla="*/ 5006425 h 5973007"/>
              <a:gd name="connsiteX6549" fmla="*/ 2554201 w 6884782"/>
              <a:gd name="connsiteY6549" fmla="*/ 5004773 h 5973007"/>
              <a:gd name="connsiteX6550" fmla="*/ 2554356 w 6884782"/>
              <a:gd name="connsiteY6550" fmla="*/ 5003534 h 5973007"/>
              <a:gd name="connsiteX6551" fmla="*/ 1576341 w 6884782"/>
              <a:gd name="connsiteY6551" fmla="*/ 5002605 h 5973007"/>
              <a:gd name="connsiteX6552" fmla="*/ 1578200 w 6884782"/>
              <a:gd name="connsiteY6552" fmla="*/ 5004257 h 5973007"/>
              <a:gd name="connsiteX6553" fmla="*/ 1578354 w 6884782"/>
              <a:gd name="connsiteY6553" fmla="*/ 5005186 h 5973007"/>
              <a:gd name="connsiteX6554" fmla="*/ 1576651 w 6884782"/>
              <a:gd name="connsiteY6554" fmla="*/ 5005909 h 5973007"/>
              <a:gd name="connsiteX6555" fmla="*/ 1571849 w 6884782"/>
              <a:gd name="connsiteY6555" fmla="*/ 5006012 h 5973007"/>
              <a:gd name="connsiteX6556" fmla="*/ 1568441 w 6884782"/>
              <a:gd name="connsiteY6556" fmla="*/ 5005703 h 5973007"/>
              <a:gd name="connsiteX6557" fmla="*/ 1566737 w 6884782"/>
              <a:gd name="connsiteY6557" fmla="*/ 5005806 h 5973007"/>
              <a:gd name="connsiteX6558" fmla="*/ 1564879 w 6884782"/>
              <a:gd name="connsiteY6558" fmla="*/ 5004153 h 5973007"/>
              <a:gd name="connsiteX6559" fmla="*/ 1572158 w 6884782"/>
              <a:gd name="connsiteY6559" fmla="*/ 5002914 h 5973007"/>
              <a:gd name="connsiteX6560" fmla="*/ 1576341 w 6884782"/>
              <a:gd name="connsiteY6560" fmla="*/ 5002605 h 5973007"/>
              <a:gd name="connsiteX6561" fmla="*/ 1527858 w 6884782"/>
              <a:gd name="connsiteY6561" fmla="*/ 5001882 h 5973007"/>
              <a:gd name="connsiteX6562" fmla="*/ 1506018 w 6884782"/>
              <a:gd name="connsiteY6562" fmla="*/ 5016028 h 5973007"/>
              <a:gd name="connsiteX6563" fmla="*/ 1527858 w 6884782"/>
              <a:gd name="connsiteY6563" fmla="*/ 5001882 h 5973007"/>
              <a:gd name="connsiteX6564" fmla="*/ 975653 w 6884782"/>
              <a:gd name="connsiteY6564" fmla="*/ 5001676 h 5973007"/>
              <a:gd name="connsiteX6565" fmla="*/ 975343 w 6884782"/>
              <a:gd name="connsiteY6565" fmla="*/ 5005186 h 5973007"/>
              <a:gd name="connsiteX6566" fmla="*/ 968528 w 6884782"/>
              <a:gd name="connsiteY6566" fmla="*/ 5009110 h 5973007"/>
              <a:gd name="connsiteX6567" fmla="*/ 966669 w 6884782"/>
              <a:gd name="connsiteY6567" fmla="*/ 5008594 h 5973007"/>
              <a:gd name="connsiteX6568" fmla="*/ 967908 w 6884782"/>
              <a:gd name="connsiteY6568" fmla="*/ 5004153 h 5973007"/>
              <a:gd name="connsiteX6569" fmla="*/ 975653 w 6884782"/>
              <a:gd name="connsiteY6569" fmla="*/ 5001676 h 5973007"/>
              <a:gd name="connsiteX6570" fmla="*/ 1740531 w 6884782"/>
              <a:gd name="connsiteY6570" fmla="*/ 5001366 h 5973007"/>
              <a:gd name="connsiteX6571" fmla="*/ 1740376 w 6884782"/>
              <a:gd name="connsiteY6571" fmla="*/ 5011485 h 5973007"/>
              <a:gd name="connsiteX6572" fmla="*/ 1736039 w 6884782"/>
              <a:gd name="connsiteY6572" fmla="*/ 5009007 h 5973007"/>
              <a:gd name="connsiteX6573" fmla="*/ 1740531 w 6884782"/>
              <a:gd name="connsiteY6573" fmla="*/ 5001366 h 5973007"/>
              <a:gd name="connsiteX6574" fmla="*/ 2311355 w 6884782"/>
              <a:gd name="connsiteY6574" fmla="*/ 5000070 h 5973007"/>
              <a:gd name="connsiteX6575" fmla="*/ 2310239 w 6884782"/>
              <a:gd name="connsiteY6575" fmla="*/ 5000643 h 5973007"/>
              <a:gd name="connsiteX6576" fmla="*/ 2311168 w 6884782"/>
              <a:gd name="connsiteY6576" fmla="*/ 5002605 h 5973007"/>
              <a:gd name="connsiteX6577" fmla="*/ 2312098 w 6884782"/>
              <a:gd name="connsiteY6577" fmla="*/ 5001572 h 5973007"/>
              <a:gd name="connsiteX6578" fmla="*/ 2312252 w 6884782"/>
              <a:gd name="connsiteY6578" fmla="*/ 5001472 h 5973007"/>
              <a:gd name="connsiteX6579" fmla="*/ 2238678 w 6884782"/>
              <a:gd name="connsiteY6579" fmla="*/ 4999507 h 5973007"/>
              <a:gd name="connsiteX6580" fmla="*/ 2246732 w 6884782"/>
              <a:gd name="connsiteY6580" fmla="*/ 5001469 h 5973007"/>
              <a:gd name="connsiteX6581" fmla="*/ 2251379 w 6884782"/>
              <a:gd name="connsiteY6581" fmla="*/ 5001159 h 5973007"/>
              <a:gd name="connsiteX6582" fmla="*/ 2251224 w 6884782"/>
              <a:gd name="connsiteY6582" fmla="*/ 5001159 h 5973007"/>
              <a:gd name="connsiteX6583" fmla="*/ 2258659 w 6884782"/>
              <a:gd name="connsiteY6583" fmla="*/ 5000643 h 5973007"/>
              <a:gd name="connsiteX6584" fmla="*/ 2262996 w 6884782"/>
              <a:gd name="connsiteY6584" fmla="*/ 5000849 h 5973007"/>
              <a:gd name="connsiteX6585" fmla="*/ 2263151 w 6884782"/>
              <a:gd name="connsiteY6585" fmla="*/ 5001056 h 5973007"/>
              <a:gd name="connsiteX6586" fmla="*/ 2263461 w 6884782"/>
              <a:gd name="connsiteY6586" fmla="*/ 5001366 h 5973007"/>
              <a:gd name="connsiteX6587" fmla="*/ 2270741 w 6884782"/>
              <a:gd name="connsiteY6587" fmla="*/ 5004463 h 5973007"/>
              <a:gd name="connsiteX6588" fmla="*/ 2253702 w 6884782"/>
              <a:gd name="connsiteY6588" fmla="*/ 5009316 h 5973007"/>
              <a:gd name="connsiteX6589" fmla="*/ 2238678 w 6884782"/>
              <a:gd name="connsiteY6589" fmla="*/ 4999507 h 5973007"/>
              <a:gd name="connsiteX6590" fmla="*/ 2039016 w 6884782"/>
              <a:gd name="connsiteY6590" fmla="*/ 4998991 h 5973007"/>
              <a:gd name="connsiteX6591" fmla="*/ 2040410 w 6884782"/>
              <a:gd name="connsiteY6591" fmla="*/ 5007561 h 5973007"/>
              <a:gd name="connsiteX6592" fmla="*/ 2036693 w 6884782"/>
              <a:gd name="connsiteY6592" fmla="*/ 5009213 h 5973007"/>
              <a:gd name="connsiteX6593" fmla="*/ 2029567 w 6884782"/>
              <a:gd name="connsiteY6593" fmla="*/ 5004773 h 5973007"/>
              <a:gd name="connsiteX6594" fmla="*/ 2030651 w 6884782"/>
              <a:gd name="connsiteY6594" fmla="*/ 4999817 h 5973007"/>
              <a:gd name="connsiteX6595" fmla="*/ 2039016 w 6884782"/>
              <a:gd name="connsiteY6595" fmla="*/ 4998991 h 5973007"/>
              <a:gd name="connsiteX6596" fmla="*/ 2573098 w 6884782"/>
              <a:gd name="connsiteY6596" fmla="*/ 4998784 h 5973007"/>
              <a:gd name="connsiteX6597" fmla="*/ 2580223 w 6884782"/>
              <a:gd name="connsiteY6597" fmla="*/ 5003638 h 5973007"/>
              <a:gd name="connsiteX6598" fmla="*/ 2575421 w 6884782"/>
              <a:gd name="connsiteY6598" fmla="*/ 5010349 h 5973007"/>
              <a:gd name="connsiteX6599" fmla="*/ 2567831 w 6884782"/>
              <a:gd name="connsiteY6599" fmla="*/ 5005703 h 5973007"/>
              <a:gd name="connsiteX6600" fmla="*/ 2573098 w 6884782"/>
              <a:gd name="connsiteY6600" fmla="*/ 4998784 h 5973007"/>
              <a:gd name="connsiteX6601" fmla="*/ 985257 w 6884782"/>
              <a:gd name="connsiteY6601" fmla="*/ 4998268 h 5973007"/>
              <a:gd name="connsiteX6602" fmla="*/ 984947 w 6884782"/>
              <a:gd name="connsiteY6602" fmla="*/ 5000953 h 5973007"/>
              <a:gd name="connsiteX6603" fmla="*/ 983243 w 6884782"/>
              <a:gd name="connsiteY6603" fmla="*/ 5001882 h 5973007"/>
              <a:gd name="connsiteX6604" fmla="*/ 982159 w 6884782"/>
              <a:gd name="connsiteY6604" fmla="*/ 5004567 h 5973007"/>
              <a:gd name="connsiteX6605" fmla="*/ 980455 w 6884782"/>
              <a:gd name="connsiteY6605" fmla="*/ 5004463 h 5973007"/>
              <a:gd name="connsiteX6606" fmla="*/ 982778 w 6884782"/>
              <a:gd name="connsiteY6606" fmla="*/ 4999094 h 5973007"/>
              <a:gd name="connsiteX6607" fmla="*/ 985257 w 6884782"/>
              <a:gd name="connsiteY6607" fmla="*/ 4998268 h 5973007"/>
              <a:gd name="connsiteX6608" fmla="*/ 1631484 w 6884782"/>
              <a:gd name="connsiteY6608" fmla="*/ 4996822 h 5973007"/>
              <a:gd name="connsiteX6609" fmla="*/ 1630400 w 6884782"/>
              <a:gd name="connsiteY6609" fmla="*/ 5008904 h 5973007"/>
              <a:gd name="connsiteX6610" fmla="*/ 1624978 w 6884782"/>
              <a:gd name="connsiteY6610" fmla="*/ 5021191 h 5973007"/>
              <a:gd name="connsiteX6611" fmla="*/ 1631484 w 6884782"/>
              <a:gd name="connsiteY6611" fmla="*/ 4996822 h 5973007"/>
              <a:gd name="connsiteX6612" fmla="*/ 2219625 w 6884782"/>
              <a:gd name="connsiteY6612" fmla="*/ 4996203 h 5973007"/>
              <a:gd name="connsiteX6613" fmla="*/ 2222103 w 6884782"/>
              <a:gd name="connsiteY6613" fmla="*/ 4997029 h 5973007"/>
              <a:gd name="connsiteX6614" fmla="*/ 2225047 w 6884782"/>
              <a:gd name="connsiteY6614" fmla="*/ 4996203 h 5973007"/>
              <a:gd name="connsiteX6615" fmla="*/ 2229693 w 6884782"/>
              <a:gd name="connsiteY6615" fmla="*/ 5001366 h 5973007"/>
              <a:gd name="connsiteX6616" fmla="*/ 2227525 w 6884782"/>
              <a:gd name="connsiteY6616" fmla="*/ 5003741 h 5973007"/>
              <a:gd name="connsiteX6617" fmla="*/ 2227370 w 6884782"/>
              <a:gd name="connsiteY6617" fmla="*/ 5003844 h 5973007"/>
              <a:gd name="connsiteX6618" fmla="*/ 2227525 w 6884782"/>
              <a:gd name="connsiteY6618" fmla="*/ 5004360 h 5973007"/>
              <a:gd name="connsiteX6619" fmla="*/ 2222258 w 6884782"/>
              <a:gd name="connsiteY6619" fmla="*/ 5006425 h 5973007"/>
              <a:gd name="connsiteX6620" fmla="*/ 2216837 w 6884782"/>
              <a:gd name="connsiteY6620" fmla="*/ 5005186 h 5973007"/>
              <a:gd name="connsiteX6621" fmla="*/ 2219625 w 6884782"/>
              <a:gd name="connsiteY6621" fmla="*/ 4996203 h 5973007"/>
              <a:gd name="connsiteX6622" fmla="*/ 2157821 w 6884782"/>
              <a:gd name="connsiteY6622" fmla="*/ 4995067 h 5973007"/>
              <a:gd name="connsiteX6623" fmla="*/ 2161849 w 6884782"/>
              <a:gd name="connsiteY6623" fmla="*/ 4995274 h 5973007"/>
              <a:gd name="connsiteX6624" fmla="*/ 2175325 w 6884782"/>
              <a:gd name="connsiteY6624" fmla="*/ 4999404 h 5973007"/>
              <a:gd name="connsiteX6625" fmla="*/ 2169594 w 6884782"/>
              <a:gd name="connsiteY6625" fmla="*/ 5000127 h 5973007"/>
              <a:gd name="connsiteX6626" fmla="*/ 2156273 w 6884782"/>
              <a:gd name="connsiteY6626" fmla="*/ 4999404 h 5973007"/>
              <a:gd name="connsiteX6627" fmla="*/ 2154569 w 6884782"/>
              <a:gd name="connsiteY6627" fmla="*/ 4997545 h 5973007"/>
              <a:gd name="connsiteX6628" fmla="*/ 2153639 w 6884782"/>
              <a:gd name="connsiteY6628" fmla="*/ 4997545 h 5973007"/>
              <a:gd name="connsiteX6629" fmla="*/ 2152865 w 6884782"/>
              <a:gd name="connsiteY6629" fmla="*/ 4995686 h 5973007"/>
              <a:gd name="connsiteX6630" fmla="*/ 2157821 w 6884782"/>
              <a:gd name="connsiteY6630" fmla="*/ 4995067 h 5973007"/>
              <a:gd name="connsiteX6631" fmla="*/ 2066433 w 6884782"/>
              <a:gd name="connsiteY6631" fmla="*/ 4994447 h 5973007"/>
              <a:gd name="connsiteX6632" fmla="*/ 2076965 w 6884782"/>
              <a:gd name="connsiteY6632" fmla="*/ 5000333 h 5973007"/>
              <a:gd name="connsiteX6633" fmla="*/ 2085950 w 6884782"/>
              <a:gd name="connsiteY6633" fmla="*/ 5010349 h 5973007"/>
              <a:gd name="connsiteX6634" fmla="*/ 2082542 w 6884782"/>
              <a:gd name="connsiteY6634" fmla="*/ 5010659 h 5973007"/>
              <a:gd name="connsiteX6635" fmla="*/ 2066433 w 6884782"/>
              <a:gd name="connsiteY6635" fmla="*/ 4994447 h 5973007"/>
              <a:gd name="connsiteX6636" fmla="*/ 1310694 w 6884782"/>
              <a:gd name="connsiteY6636" fmla="*/ 4994447 h 5973007"/>
              <a:gd name="connsiteX6637" fmla="*/ 1313636 w 6884782"/>
              <a:gd name="connsiteY6637" fmla="*/ 5004257 h 5973007"/>
              <a:gd name="connsiteX6638" fmla="*/ 1307441 w 6884782"/>
              <a:gd name="connsiteY6638" fmla="*/ 5005393 h 5973007"/>
              <a:gd name="connsiteX6639" fmla="*/ 1310694 w 6884782"/>
              <a:gd name="connsiteY6639" fmla="*/ 4994447 h 5973007"/>
              <a:gd name="connsiteX6640" fmla="*/ 2128391 w 6884782"/>
              <a:gd name="connsiteY6640" fmla="*/ 4994344 h 5973007"/>
              <a:gd name="connsiteX6641" fmla="*/ 2131799 w 6884782"/>
              <a:gd name="connsiteY6641" fmla="*/ 4994447 h 5973007"/>
              <a:gd name="connsiteX6642" fmla="*/ 2134432 w 6884782"/>
              <a:gd name="connsiteY6642" fmla="*/ 5007561 h 5973007"/>
              <a:gd name="connsiteX6643" fmla="*/ 2128236 w 6884782"/>
              <a:gd name="connsiteY6643" fmla="*/ 5002914 h 5973007"/>
              <a:gd name="connsiteX6644" fmla="*/ 2128391 w 6884782"/>
              <a:gd name="connsiteY6644" fmla="*/ 4994344 h 5973007"/>
              <a:gd name="connsiteX6645" fmla="*/ 1819992 w 6884782"/>
              <a:gd name="connsiteY6645" fmla="*/ 4992589 h 5973007"/>
              <a:gd name="connsiteX6646" fmla="*/ 1825414 w 6884782"/>
              <a:gd name="connsiteY6646" fmla="*/ 4997752 h 5973007"/>
              <a:gd name="connsiteX6647" fmla="*/ 1820768 w 6884782"/>
              <a:gd name="connsiteY6647" fmla="*/ 4999610 h 5973007"/>
              <a:gd name="connsiteX6648" fmla="*/ 1818134 w 6884782"/>
              <a:gd name="connsiteY6648" fmla="*/ 4998165 h 5973007"/>
              <a:gd name="connsiteX6649" fmla="*/ 1817824 w 6884782"/>
              <a:gd name="connsiteY6649" fmla="*/ 4995067 h 5973007"/>
              <a:gd name="connsiteX6650" fmla="*/ 1819992 w 6884782"/>
              <a:gd name="connsiteY6650" fmla="*/ 4992589 h 5973007"/>
              <a:gd name="connsiteX6651" fmla="*/ 1619247 w 6884782"/>
              <a:gd name="connsiteY6651" fmla="*/ 4992279 h 5973007"/>
              <a:gd name="connsiteX6652" fmla="*/ 1625443 w 6884782"/>
              <a:gd name="connsiteY6652" fmla="*/ 4994551 h 5973007"/>
              <a:gd name="connsiteX6653" fmla="*/ 1624823 w 6884782"/>
              <a:gd name="connsiteY6653" fmla="*/ 4996306 h 5973007"/>
              <a:gd name="connsiteX6654" fmla="*/ 1622500 w 6884782"/>
              <a:gd name="connsiteY6654" fmla="*/ 4997855 h 5973007"/>
              <a:gd name="connsiteX6655" fmla="*/ 1620021 w 6884782"/>
              <a:gd name="connsiteY6655" fmla="*/ 4997442 h 5973007"/>
              <a:gd name="connsiteX6656" fmla="*/ 1619247 w 6884782"/>
              <a:gd name="connsiteY6656" fmla="*/ 4992279 h 5973007"/>
              <a:gd name="connsiteX6657" fmla="*/ 1170145 w 6884782"/>
              <a:gd name="connsiteY6657" fmla="*/ 4991892 h 5973007"/>
              <a:gd name="connsiteX6658" fmla="*/ 1176088 w 6884782"/>
              <a:gd name="connsiteY6658" fmla="*/ 4991970 h 5973007"/>
              <a:gd name="connsiteX6659" fmla="*/ 1173611 w 6884782"/>
              <a:gd name="connsiteY6659" fmla="*/ 4999817 h 5973007"/>
              <a:gd name="connsiteX6660" fmla="*/ 1170357 w 6884782"/>
              <a:gd name="connsiteY6660" fmla="*/ 5001572 h 5973007"/>
              <a:gd name="connsiteX6661" fmla="*/ 1166795 w 6884782"/>
              <a:gd name="connsiteY6661" fmla="*/ 5001366 h 5973007"/>
              <a:gd name="connsiteX6662" fmla="*/ 1163852 w 6884782"/>
              <a:gd name="connsiteY6662" fmla="*/ 5001985 h 5973007"/>
              <a:gd name="connsiteX6663" fmla="*/ 1161064 w 6884782"/>
              <a:gd name="connsiteY6663" fmla="*/ 5001263 h 5973007"/>
              <a:gd name="connsiteX6664" fmla="*/ 1159980 w 6884782"/>
              <a:gd name="connsiteY6664" fmla="*/ 4998784 h 5973007"/>
              <a:gd name="connsiteX6665" fmla="*/ 1160599 w 6884782"/>
              <a:gd name="connsiteY6665" fmla="*/ 4996925 h 5973007"/>
              <a:gd name="connsiteX6666" fmla="*/ 1170145 w 6884782"/>
              <a:gd name="connsiteY6666" fmla="*/ 4991892 h 5973007"/>
              <a:gd name="connsiteX6667" fmla="*/ 2093985 w 6884782"/>
              <a:gd name="connsiteY6667" fmla="*/ 4991685 h 5973007"/>
              <a:gd name="connsiteX6668" fmla="*/ 2100200 w 6884782"/>
              <a:gd name="connsiteY6668" fmla="*/ 4993931 h 5973007"/>
              <a:gd name="connsiteX6669" fmla="*/ 2107170 w 6884782"/>
              <a:gd name="connsiteY6669" fmla="*/ 5001676 h 5973007"/>
              <a:gd name="connsiteX6670" fmla="*/ 2107635 w 6884782"/>
              <a:gd name="connsiteY6670" fmla="*/ 5002811 h 5973007"/>
              <a:gd name="connsiteX6671" fmla="*/ 2109339 w 6884782"/>
              <a:gd name="connsiteY6671" fmla="*/ 5001366 h 5973007"/>
              <a:gd name="connsiteX6672" fmla="*/ 2113676 w 6884782"/>
              <a:gd name="connsiteY6672" fmla="*/ 5001263 h 5973007"/>
              <a:gd name="connsiteX6673" fmla="*/ 2116774 w 6884782"/>
              <a:gd name="connsiteY6673" fmla="*/ 5011381 h 5973007"/>
              <a:gd name="connsiteX6674" fmla="*/ 2116619 w 6884782"/>
              <a:gd name="connsiteY6674" fmla="*/ 5014789 h 5973007"/>
              <a:gd name="connsiteX6675" fmla="*/ 2121575 w 6884782"/>
              <a:gd name="connsiteY6675" fmla="*/ 5019229 h 5973007"/>
              <a:gd name="connsiteX6676" fmla="*/ 2121575 w 6884782"/>
              <a:gd name="connsiteY6676" fmla="*/ 5022017 h 5973007"/>
              <a:gd name="connsiteX6677" fmla="*/ 2114451 w 6884782"/>
              <a:gd name="connsiteY6677" fmla="*/ 5030277 h 5973007"/>
              <a:gd name="connsiteX6678" fmla="*/ 2113676 w 6884782"/>
              <a:gd name="connsiteY6678" fmla="*/ 5030484 h 5973007"/>
              <a:gd name="connsiteX6679" fmla="*/ 2115844 w 6884782"/>
              <a:gd name="connsiteY6679" fmla="*/ 5031826 h 5973007"/>
              <a:gd name="connsiteX6680" fmla="*/ 2109649 w 6884782"/>
              <a:gd name="connsiteY6680" fmla="*/ 5036370 h 5973007"/>
              <a:gd name="connsiteX6681" fmla="*/ 2109184 w 6884782"/>
              <a:gd name="connsiteY6681" fmla="*/ 5033066 h 5973007"/>
              <a:gd name="connsiteX6682" fmla="*/ 2109029 w 6884782"/>
              <a:gd name="connsiteY6682" fmla="*/ 5031826 h 5973007"/>
              <a:gd name="connsiteX6683" fmla="*/ 2103608 w 6884782"/>
              <a:gd name="connsiteY6683" fmla="*/ 5033272 h 5973007"/>
              <a:gd name="connsiteX6684" fmla="*/ 2087498 w 6884782"/>
              <a:gd name="connsiteY6684" fmla="*/ 5027799 h 5973007"/>
              <a:gd name="connsiteX6685" fmla="*/ 2087034 w 6884782"/>
              <a:gd name="connsiteY6685" fmla="*/ 5027077 h 5973007"/>
              <a:gd name="connsiteX6686" fmla="*/ 2087498 w 6884782"/>
              <a:gd name="connsiteY6686" fmla="*/ 5028522 h 5973007"/>
              <a:gd name="connsiteX6687" fmla="*/ 2086569 w 6884782"/>
              <a:gd name="connsiteY6687" fmla="*/ 5030174 h 5973007"/>
              <a:gd name="connsiteX6688" fmla="*/ 2083627 w 6884782"/>
              <a:gd name="connsiteY6688" fmla="*/ 5033169 h 5973007"/>
              <a:gd name="connsiteX6689" fmla="*/ 2080838 w 6884782"/>
              <a:gd name="connsiteY6689" fmla="*/ 5031620 h 5973007"/>
              <a:gd name="connsiteX6690" fmla="*/ 2080063 w 6884782"/>
              <a:gd name="connsiteY6690" fmla="*/ 5027799 h 5973007"/>
              <a:gd name="connsiteX6691" fmla="*/ 2082852 w 6884782"/>
              <a:gd name="connsiteY6691" fmla="*/ 5021604 h 5973007"/>
              <a:gd name="connsiteX6692" fmla="*/ 2084246 w 6884782"/>
              <a:gd name="connsiteY6692" fmla="*/ 5022533 h 5973007"/>
              <a:gd name="connsiteX6693" fmla="*/ 2088428 w 6884782"/>
              <a:gd name="connsiteY6693" fmla="*/ 5015305 h 5973007"/>
              <a:gd name="connsiteX6694" fmla="*/ 2095243 w 6884782"/>
              <a:gd name="connsiteY6694" fmla="*/ 5010969 h 5973007"/>
              <a:gd name="connsiteX6695" fmla="*/ 2100045 w 6884782"/>
              <a:gd name="connsiteY6695" fmla="*/ 5010143 h 5973007"/>
              <a:gd name="connsiteX6696" fmla="*/ 2097102 w 6884782"/>
              <a:gd name="connsiteY6696" fmla="*/ 5007974 h 5973007"/>
              <a:gd name="connsiteX6697" fmla="*/ 2089048 w 6884782"/>
              <a:gd name="connsiteY6697" fmla="*/ 4995480 h 5973007"/>
              <a:gd name="connsiteX6698" fmla="*/ 2093985 w 6884782"/>
              <a:gd name="connsiteY6698" fmla="*/ 4991685 h 5973007"/>
              <a:gd name="connsiteX6699" fmla="*/ 980145 w 6884782"/>
              <a:gd name="connsiteY6699" fmla="*/ 4991453 h 5973007"/>
              <a:gd name="connsiteX6700" fmla="*/ 982778 w 6884782"/>
              <a:gd name="connsiteY6700" fmla="*/ 4991453 h 5973007"/>
              <a:gd name="connsiteX6701" fmla="*/ 981694 w 6884782"/>
              <a:gd name="connsiteY6701" fmla="*/ 4993209 h 5973007"/>
              <a:gd name="connsiteX6702" fmla="*/ 977822 w 6884782"/>
              <a:gd name="connsiteY6702" fmla="*/ 4997545 h 5973007"/>
              <a:gd name="connsiteX6703" fmla="*/ 976582 w 6884782"/>
              <a:gd name="connsiteY6703" fmla="*/ 4996203 h 5973007"/>
              <a:gd name="connsiteX6704" fmla="*/ 977202 w 6884782"/>
              <a:gd name="connsiteY6704" fmla="*/ 4994861 h 5973007"/>
              <a:gd name="connsiteX6705" fmla="*/ 979061 w 6884782"/>
              <a:gd name="connsiteY6705" fmla="*/ 4993105 h 5973007"/>
              <a:gd name="connsiteX6706" fmla="*/ 980145 w 6884782"/>
              <a:gd name="connsiteY6706" fmla="*/ 4991453 h 5973007"/>
              <a:gd name="connsiteX6707" fmla="*/ 2233256 w 6884782"/>
              <a:gd name="connsiteY6707" fmla="*/ 4991350 h 5973007"/>
              <a:gd name="connsiteX6708" fmla="*/ 2235115 w 6884782"/>
              <a:gd name="connsiteY6708" fmla="*/ 4991556 h 5973007"/>
              <a:gd name="connsiteX6709" fmla="*/ 2237128 w 6884782"/>
              <a:gd name="connsiteY6709" fmla="*/ 4993621 h 5973007"/>
              <a:gd name="connsiteX6710" fmla="*/ 2236509 w 6884782"/>
              <a:gd name="connsiteY6710" fmla="*/ 4997236 h 5973007"/>
              <a:gd name="connsiteX6711" fmla="*/ 2234650 w 6884782"/>
              <a:gd name="connsiteY6711" fmla="*/ 4997029 h 5973007"/>
              <a:gd name="connsiteX6712" fmla="*/ 2232172 w 6884782"/>
              <a:gd name="connsiteY6712" fmla="*/ 4995790 h 5973007"/>
              <a:gd name="connsiteX6713" fmla="*/ 2233256 w 6884782"/>
              <a:gd name="connsiteY6713" fmla="*/ 4991350 h 5973007"/>
              <a:gd name="connsiteX6714" fmla="*/ 2122660 w 6884782"/>
              <a:gd name="connsiteY6714" fmla="*/ 4989904 h 5973007"/>
              <a:gd name="connsiteX6715" fmla="*/ 2124519 w 6884782"/>
              <a:gd name="connsiteY6715" fmla="*/ 4990111 h 5973007"/>
              <a:gd name="connsiteX6716" fmla="*/ 2125758 w 6884782"/>
              <a:gd name="connsiteY6716" fmla="*/ 4992073 h 5973007"/>
              <a:gd name="connsiteX6717" fmla="*/ 2125758 w 6884782"/>
              <a:gd name="connsiteY6717" fmla="*/ 5000540 h 5973007"/>
              <a:gd name="connsiteX6718" fmla="*/ 2125448 w 6884782"/>
              <a:gd name="connsiteY6718" fmla="*/ 5002605 h 5973007"/>
              <a:gd name="connsiteX6719" fmla="*/ 2125139 w 6884782"/>
              <a:gd name="connsiteY6719" fmla="*/ 5004463 h 5973007"/>
              <a:gd name="connsiteX6720" fmla="*/ 2122195 w 6884782"/>
              <a:gd name="connsiteY6720" fmla="*/ 5006632 h 5973007"/>
              <a:gd name="connsiteX6721" fmla="*/ 2122195 w 6884782"/>
              <a:gd name="connsiteY6721" fmla="*/ 5000333 h 5973007"/>
              <a:gd name="connsiteX6722" fmla="*/ 2120957 w 6884782"/>
              <a:gd name="connsiteY6722" fmla="*/ 5002502 h 5973007"/>
              <a:gd name="connsiteX6723" fmla="*/ 2117239 w 6884782"/>
              <a:gd name="connsiteY6723" fmla="*/ 5004153 h 5973007"/>
              <a:gd name="connsiteX6724" fmla="*/ 2114760 w 6884782"/>
              <a:gd name="connsiteY6724" fmla="*/ 4999714 h 5973007"/>
              <a:gd name="connsiteX6725" fmla="*/ 2118942 w 6884782"/>
              <a:gd name="connsiteY6725" fmla="*/ 4997236 h 5973007"/>
              <a:gd name="connsiteX6726" fmla="*/ 2122195 w 6884782"/>
              <a:gd name="connsiteY6726" fmla="*/ 4998475 h 5973007"/>
              <a:gd name="connsiteX6727" fmla="*/ 2122195 w 6884782"/>
              <a:gd name="connsiteY6727" fmla="*/ 4997648 h 5973007"/>
              <a:gd name="connsiteX6728" fmla="*/ 2122350 w 6884782"/>
              <a:gd name="connsiteY6728" fmla="*/ 4993415 h 5973007"/>
              <a:gd name="connsiteX6729" fmla="*/ 2115225 w 6884782"/>
              <a:gd name="connsiteY6729" fmla="*/ 4989801 h 5973007"/>
              <a:gd name="connsiteX6730" fmla="*/ 2119252 w 6884782"/>
              <a:gd name="connsiteY6730" fmla="*/ 4990524 h 5973007"/>
              <a:gd name="connsiteX6731" fmla="*/ 2122350 w 6884782"/>
              <a:gd name="connsiteY6731" fmla="*/ 4993415 h 5973007"/>
              <a:gd name="connsiteX6732" fmla="*/ 2119097 w 6884782"/>
              <a:gd name="connsiteY6732" fmla="*/ 4992692 h 5973007"/>
              <a:gd name="connsiteX6733" fmla="*/ 2115844 w 6884782"/>
              <a:gd name="connsiteY6733" fmla="*/ 4991247 h 5973007"/>
              <a:gd name="connsiteX6734" fmla="*/ 2115225 w 6884782"/>
              <a:gd name="connsiteY6734" fmla="*/ 4989801 h 5973007"/>
              <a:gd name="connsiteX6735" fmla="*/ 1845705 w 6884782"/>
              <a:gd name="connsiteY6735" fmla="*/ 4989285 h 5973007"/>
              <a:gd name="connsiteX6736" fmla="*/ 1845551 w 6884782"/>
              <a:gd name="connsiteY6736" fmla="*/ 5002708 h 5973007"/>
              <a:gd name="connsiteX6737" fmla="*/ 1838580 w 6884782"/>
              <a:gd name="connsiteY6737" fmla="*/ 4998475 h 5973007"/>
              <a:gd name="connsiteX6738" fmla="*/ 1845705 w 6884782"/>
              <a:gd name="connsiteY6738" fmla="*/ 4989285 h 5973007"/>
              <a:gd name="connsiteX6739" fmla="*/ 942815 w 6884782"/>
              <a:gd name="connsiteY6739" fmla="*/ 4988975 h 5973007"/>
              <a:gd name="connsiteX6740" fmla="*/ 927635 w 6884782"/>
              <a:gd name="connsiteY6740" fmla="*/ 4996719 h 5973007"/>
              <a:gd name="connsiteX6741" fmla="*/ 928100 w 6884782"/>
              <a:gd name="connsiteY6741" fmla="*/ 4993105 h 5973007"/>
              <a:gd name="connsiteX6742" fmla="*/ 929804 w 6884782"/>
              <a:gd name="connsiteY6742" fmla="*/ 4993105 h 5973007"/>
              <a:gd name="connsiteX6743" fmla="*/ 942815 w 6884782"/>
              <a:gd name="connsiteY6743" fmla="*/ 4988975 h 5973007"/>
              <a:gd name="connsiteX6744" fmla="*/ 2003235 w 6884782"/>
              <a:gd name="connsiteY6744" fmla="*/ 4988665 h 5973007"/>
              <a:gd name="connsiteX6745" fmla="*/ 2003390 w 6884782"/>
              <a:gd name="connsiteY6745" fmla="*/ 4991350 h 5973007"/>
              <a:gd name="connsiteX6746" fmla="*/ 2000912 w 6884782"/>
              <a:gd name="connsiteY6746" fmla="*/ 4991763 h 5973007"/>
              <a:gd name="connsiteX6747" fmla="*/ 1998123 w 6884782"/>
              <a:gd name="connsiteY6747" fmla="*/ 4991763 h 5973007"/>
              <a:gd name="connsiteX6748" fmla="*/ 2003235 w 6884782"/>
              <a:gd name="connsiteY6748" fmla="*/ 4988665 h 5973007"/>
              <a:gd name="connsiteX6749" fmla="*/ 1353135 w 6884782"/>
              <a:gd name="connsiteY6749" fmla="*/ 4988458 h 5973007"/>
              <a:gd name="connsiteX6750" fmla="*/ 1359331 w 6884782"/>
              <a:gd name="connsiteY6750" fmla="*/ 4990008 h 5973007"/>
              <a:gd name="connsiteX6751" fmla="*/ 1356388 w 6884782"/>
              <a:gd name="connsiteY6751" fmla="*/ 4996925 h 5973007"/>
              <a:gd name="connsiteX6752" fmla="*/ 1351896 w 6884782"/>
              <a:gd name="connsiteY6752" fmla="*/ 4995480 h 5973007"/>
              <a:gd name="connsiteX6753" fmla="*/ 1353135 w 6884782"/>
              <a:gd name="connsiteY6753" fmla="*/ 4988458 h 5973007"/>
              <a:gd name="connsiteX6754" fmla="*/ 1613826 w 6884782"/>
              <a:gd name="connsiteY6754" fmla="*/ 4988355 h 5973007"/>
              <a:gd name="connsiteX6755" fmla="*/ 1612276 w 6884782"/>
              <a:gd name="connsiteY6755" fmla="*/ 4993621 h 5973007"/>
              <a:gd name="connsiteX6756" fmla="*/ 1613826 w 6884782"/>
              <a:gd name="connsiteY6756" fmla="*/ 4988355 h 5973007"/>
              <a:gd name="connsiteX6757" fmla="*/ 1485727 w 6884782"/>
              <a:gd name="connsiteY6757" fmla="*/ 4987013 h 5973007"/>
              <a:gd name="connsiteX6758" fmla="*/ 1489599 w 6884782"/>
              <a:gd name="connsiteY6758" fmla="*/ 4988458 h 5973007"/>
              <a:gd name="connsiteX6759" fmla="*/ 1485261 w 6884782"/>
              <a:gd name="connsiteY6759" fmla="*/ 4995171 h 5973007"/>
              <a:gd name="connsiteX6760" fmla="*/ 1482784 w 6884782"/>
              <a:gd name="connsiteY6760" fmla="*/ 4994654 h 5973007"/>
              <a:gd name="connsiteX6761" fmla="*/ 1483248 w 6884782"/>
              <a:gd name="connsiteY6761" fmla="*/ 4988355 h 5973007"/>
              <a:gd name="connsiteX6762" fmla="*/ 1485727 w 6884782"/>
              <a:gd name="connsiteY6762" fmla="*/ 4987013 h 5973007"/>
              <a:gd name="connsiteX6763" fmla="*/ 1239596 w 6884782"/>
              <a:gd name="connsiteY6763" fmla="*/ 4986600 h 5973007"/>
              <a:gd name="connsiteX6764" fmla="*/ 1244863 w 6884782"/>
              <a:gd name="connsiteY6764" fmla="*/ 4992073 h 5973007"/>
              <a:gd name="connsiteX6765" fmla="*/ 1241765 w 6884782"/>
              <a:gd name="connsiteY6765" fmla="*/ 4995480 h 5973007"/>
              <a:gd name="connsiteX6766" fmla="*/ 1235724 w 6884782"/>
              <a:gd name="connsiteY6766" fmla="*/ 4991763 h 5973007"/>
              <a:gd name="connsiteX6767" fmla="*/ 1239596 w 6884782"/>
              <a:gd name="connsiteY6767" fmla="*/ 4986600 h 5973007"/>
              <a:gd name="connsiteX6768" fmla="*/ 2099116 w 6884782"/>
              <a:gd name="connsiteY6768" fmla="*/ 4986084 h 5973007"/>
              <a:gd name="connsiteX6769" fmla="*/ 2102678 w 6884782"/>
              <a:gd name="connsiteY6769" fmla="*/ 4986394 h 5973007"/>
              <a:gd name="connsiteX6770" fmla="*/ 2104227 w 6884782"/>
              <a:gd name="connsiteY6770" fmla="*/ 4987633 h 5973007"/>
              <a:gd name="connsiteX6771" fmla="*/ 2104537 w 6884782"/>
              <a:gd name="connsiteY6771" fmla="*/ 4989285 h 5973007"/>
              <a:gd name="connsiteX6772" fmla="*/ 2103143 w 6884782"/>
              <a:gd name="connsiteY6772" fmla="*/ 4990730 h 5973007"/>
              <a:gd name="connsiteX6773" fmla="*/ 2101439 w 6884782"/>
              <a:gd name="connsiteY6773" fmla="*/ 4992073 h 5973007"/>
              <a:gd name="connsiteX6774" fmla="*/ 2099891 w 6884782"/>
              <a:gd name="connsiteY6774" fmla="*/ 4992073 h 5973007"/>
              <a:gd name="connsiteX6775" fmla="*/ 2097877 w 6884782"/>
              <a:gd name="connsiteY6775" fmla="*/ 4991143 h 5973007"/>
              <a:gd name="connsiteX6776" fmla="*/ 2098186 w 6884782"/>
              <a:gd name="connsiteY6776" fmla="*/ 4989181 h 5973007"/>
              <a:gd name="connsiteX6777" fmla="*/ 2097722 w 6884782"/>
              <a:gd name="connsiteY6777" fmla="*/ 4987633 h 5973007"/>
              <a:gd name="connsiteX6778" fmla="*/ 2098497 w 6884782"/>
              <a:gd name="connsiteY6778" fmla="*/ 4987219 h 5973007"/>
              <a:gd name="connsiteX6779" fmla="*/ 2099116 w 6884782"/>
              <a:gd name="connsiteY6779" fmla="*/ 4986084 h 5973007"/>
              <a:gd name="connsiteX6780" fmla="*/ 1660604 w 6884782"/>
              <a:gd name="connsiteY6780" fmla="*/ 4985154 h 5973007"/>
              <a:gd name="connsiteX6781" fmla="*/ 1660295 w 6884782"/>
              <a:gd name="connsiteY6781" fmla="*/ 4988458 h 5973007"/>
              <a:gd name="connsiteX6782" fmla="*/ 1659675 w 6884782"/>
              <a:gd name="connsiteY6782" fmla="*/ 4989078 h 5973007"/>
              <a:gd name="connsiteX6783" fmla="*/ 1659365 w 6884782"/>
              <a:gd name="connsiteY6783" fmla="*/ 4988458 h 5973007"/>
              <a:gd name="connsiteX6784" fmla="*/ 1660604 w 6884782"/>
              <a:gd name="connsiteY6784" fmla="*/ 4985154 h 5973007"/>
              <a:gd name="connsiteX6785" fmla="*/ 949785 w 6884782"/>
              <a:gd name="connsiteY6785" fmla="*/ 4984845 h 5973007"/>
              <a:gd name="connsiteX6786" fmla="*/ 946223 w 6884782"/>
              <a:gd name="connsiteY6786" fmla="*/ 4987426 h 5973007"/>
              <a:gd name="connsiteX6787" fmla="*/ 945448 w 6884782"/>
              <a:gd name="connsiteY6787" fmla="*/ 4986600 h 5973007"/>
              <a:gd name="connsiteX6788" fmla="*/ 949785 w 6884782"/>
              <a:gd name="connsiteY6788" fmla="*/ 4984845 h 5973007"/>
              <a:gd name="connsiteX6789" fmla="*/ 936735 w 6884782"/>
              <a:gd name="connsiteY6789" fmla="*/ 4984574 h 5973007"/>
              <a:gd name="connsiteX6790" fmla="*/ 941421 w 6884782"/>
              <a:gd name="connsiteY6790" fmla="*/ 4984742 h 5973007"/>
              <a:gd name="connsiteX6791" fmla="*/ 941266 w 6884782"/>
              <a:gd name="connsiteY6791" fmla="*/ 4985568 h 5973007"/>
              <a:gd name="connsiteX6792" fmla="*/ 932437 w 6884782"/>
              <a:gd name="connsiteY6792" fmla="*/ 4987426 h 5973007"/>
              <a:gd name="connsiteX6793" fmla="*/ 929339 w 6884782"/>
              <a:gd name="connsiteY6793" fmla="*/ 4987116 h 5973007"/>
              <a:gd name="connsiteX6794" fmla="*/ 930269 w 6884782"/>
              <a:gd name="connsiteY6794" fmla="*/ 4987116 h 5973007"/>
              <a:gd name="connsiteX6795" fmla="*/ 929494 w 6884782"/>
              <a:gd name="connsiteY6795" fmla="*/ 4986187 h 5973007"/>
              <a:gd name="connsiteX6796" fmla="*/ 936735 w 6884782"/>
              <a:gd name="connsiteY6796" fmla="*/ 4984574 h 5973007"/>
              <a:gd name="connsiteX6797" fmla="*/ 1747346 w 6884782"/>
              <a:gd name="connsiteY6797" fmla="*/ 4984535 h 5973007"/>
              <a:gd name="connsiteX6798" fmla="*/ 1753387 w 6884782"/>
              <a:gd name="connsiteY6798" fmla="*/ 4986497 h 5973007"/>
              <a:gd name="connsiteX6799" fmla="*/ 1754317 w 6884782"/>
              <a:gd name="connsiteY6799" fmla="*/ 4989181 h 5973007"/>
              <a:gd name="connsiteX6800" fmla="*/ 1753697 w 6884782"/>
              <a:gd name="connsiteY6800" fmla="*/ 4994344 h 5973007"/>
              <a:gd name="connsiteX6801" fmla="*/ 1754471 w 6884782"/>
              <a:gd name="connsiteY6801" fmla="*/ 4994344 h 5973007"/>
              <a:gd name="connsiteX6802" fmla="*/ 1749515 w 6884782"/>
              <a:gd name="connsiteY6802" fmla="*/ 4994964 h 5973007"/>
              <a:gd name="connsiteX6803" fmla="*/ 1749050 w 6884782"/>
              <a:gd name="connsiteY6803" fmla="*/ 4994447 h 5973007"/>
              <a:gd name="connsiteX6804" fmla="*/ 1749360 w 6884782"/>
              <a:gd name="connsiteY6804" fmla="*/ 4995171 h 5973007"/>
              <a:gd name="connsiteX6805" fmla="*/ 1743938 w 6884782"/>
              <a:gd name="connsiteY6805" fmla="*/ 4997958 h 5973007"/>
              <a:gd name="connsiteX6806" fmla="*/ 1737743 w 6884782"/>
              <a:gd name="connsiteY6806" fmla="*/ 4995480 h 5973007"/>
              <a:gd name="connsiteX6807" fmla="*/ 1744093 w 6884782"/>
              <a:gd name="connsiteY6807" fmla="*/ 4987219 h 5973007"/>
              <a:gd name="connsiteX6808" fmla="*/ 1745177 w 6884782"/>
              <a:gd name="connsiteY6808" fmla="*/ 4988458 h 5973007"/>
              <a:gd name="connsiteX6809" fmla="*/ 1745797 w 6884782"/>
              <a:gd name="connsiteY6809" fmla="*/ 4986704 h 5973007"/>
              <a:gd name="connsiteX6810" fmla="*/ 1747346 w 6884782"/>
              <a:gd name="connsiteY6810" fmla="*/ 4984535 h 5973007"/>
              <a:gd name="connsiteX6811" fmla="*/ 2219780 w 6884782"/>
              <a:gd name="connsiteY6811" fmla="*/ 4984225 h 5973007"/>
              <a:gd name="connsiteX6812" fmla="*/ 2225821 w 6884782"/>
              <a:gd name="connsiteY6812" fmla="*/ 4987633 h 5973007"/>
              <a:gd name="connsiteX6813" fmla="*/ 2223963 w 6884782"/>
              <a:gd name="connsiteY6813" fmla="*/ 4987633 h 5973007"/>
              <a:gd name="connsiteX6814" fmla="*/ 2221794 w 6884782"/>
              <a:gd name="connsiteY6814" fmla="*/ 4987116 h 5973007"/>
              <a:gd name="connsiteX6815" fmla="*/ 2219470 w 6884782"/>
              <a:gd name="connsiteY6815" fmla="*/ 4986600 h 5973007"/>
              <a:gd name="connsiteX6816" fmla="*/ 2217612 w 6884782"/>
              <a:gd name="connsiteY6816" fmla="*/ 4986704 h 5973007"/>
              <a:gd name="connsiteX6817" fmla="*/ 2214358 w 6884782"/>
              <a:gd name="connsiteY6817" fmla="*/ 4984742 h 5973007"/>
              <a:gd name="connsiteX6818" fmla="*/ 2216217 w 6884782"/>
              <a:gd name="connsiteY6818" fmla="*/ 4984535 h 5973007"/>
              <a:gd name="connsiteX6819" fmla="*/ 2218541 w 6884782"/>
              <a:gd name="connsiteY6819" fmla="*/ 4985154 h 5973007"/>
              <a:gd name="connsiteX6820" fmla="*/ 2219780 w 6884782"/>
              <a:gd name="connsiteY6820" fmla="*/ 4984225 h 5973007"/>
              <a:gd name="connsiteX6821" fmla="*/ 1319678 w 6884782"/>
              <a:gd name="connsiteY6821" fmla="*/ 4983296 h 5973007"/>
              <a:gd name="connsiteX6822" fmla="*/ 1320917 w 6884782"/>
              <a:gd name="connsiteY6822" fmla="*/ 4986807 h 5973007"/>
              <a:gd name="connsiteX6823" fmla="*/ 1313172 w 6884782"/>
              <a:gd name="connsiteY6823" fmla="*/ 4988872 h 5973007"/>
              <a:gd name="connsiteX6824" fmla="*/ 1306821 w 6884782"/>
              <a:gd name="connsiteY6824" fmla="*/ 4986187 h 5973007"/>
              <a:gd name="connsiteX6825" fmla="*/ 1307131 w 6884782"/>
              <a:gd name="connsiteY6825" fmla="*/ 4983812 h 5973007"/>
              <a:gd name="connsiteX6826" fmla="*/ 1319678 w 6884782"/>
              <a:gd name="connsiteY6826" fmla="*/ 4983296 h 5973007"/>
              <a:gd name="connsiteX6827" fmla="*/ 1673151 w 6884782"/>
              <a:gd name="connsiteY6827" fmla="*/ 4982367 h 5973007"/>
              <a:gd name="connsiteX6828" fmla="*/ 1677333 w 6884782"/>
              <a:gd name="connsiteY6828" fmla="*/ 4985051 h 5973007"/>
              <a:gd name="connsiteX6829" fmla="*/ 1672996 w 6884782"/>
              <a:gd name="connsiteY6829" fmla="*/ 4991763 h 5973007"/>
              <a:gd name="connsiteX6830" fmla="*/ 1668659 w 6884782"/>
              <a:gd name="connsiteY6830" fmla="*/ 4987942 h 5973007"/>
              <a:gd name="connsiteX6831" fmla="*/ 1668814 w 6884782"/>
              <a:gd name="connsiteY6831" fmla="*/ 4985258 h 5973007"/>
              <a:gd name="connsiteX6832" fmla="*/ 1670828 w 6884782"/>
              <a:gd name="connsiteY6832" fmla="*/ 4982986 h 5973007"/>
              <a:gd name="connsiteX6833" fmla="*/ 1673151 w 6884782"/>
              <a:gd name="connsiteY6833" fmla="*/ 4982367 h 5973007"/>
              <a:gd name="connsiteX6834" fmla="*/ 2299861 w 6884782"/>
              <a:gd name="connsiteY6834" fmla="*/ 4982263 h 5973007"/>
              <a:gd name="connsiteX6835" fmla="*/ 2296609 w 6884782"/>
              <a:gd name="connsiteY6835" fmla="*/ 4987116 h 5973007"/>
              <a:gd name="connsiteX6836" fmla="*/ 2294750 w 6884782"/>
              <a:gd name="connsiteY6836" fmla="*/ 4983606 h 5973007"/>
              <a:gd name="connsiteX6837" fmla="*/ 2299861 w 6884782"/>
              <a:gd name="connsiteY6837" fmla="*/ 4982263 h 5973007"/>
              <a:gd name="connsiteX6838" fmla="*/ 1980620 w 6884782"/>
              <a:gd name="connsiteY6838" fmla="*/ 4981953 h 5973007"/>
              <a:gd name="connsiteX6839" fmla="*/ 1979536 w 6884782"/>
              <a:gd name="connsiteY6839" fmla="*/ 4983606 h 5973007"/>
              <a:gd name="connsiteX6840" fmla="*/ 1978916 w 6884782"/>
              <a:gd name="connsiteY6840" fmla="*/ 4984328 h 5973007"/>
              <a:gd name="connsiteX6841" fmla="*/ 1977987 w 6884782"/>
              <a:gd name="connsiteY6841" fmla="*/ 4987633 h 5973007"/>
              <a:gd name="connsiteX6842" fmla="*/ 1980001 w 6884782"/>
              <a:gd name="connsiteY6842" fmla="*/ 5011381 h 5973007"/>
              <a:gd name="connsiteX6843" fmla="*/ 1973340 w 6884782"/>
              <a:gd name="connsiteY6843" fmla="*/ 5000953 h 5973007"/>
              <a:gd name="connsiteX6844" fmla="*/ 1971171 w 6884782"/>
              <a:gd name="connsiteY6844" fmla="*/ 4986497 h 5973007"/>
              <a:gd name="connsiteX6845" fmla="*/ 1974889 w 6884782"/>
              <a:gd name="connsiteY6845" fmla="*/ 4983709 h 5973007"/>
              <a:gd name="connsiteX6846" fmla="*/ 1976593 w 6884782"/>
              <a:gd name="connsiteY6846" fmla="*/ 4982986 h 5973007"/>
              <a:gd name="connsiteX6847" fmla="*/ 1977213 w 6884782"/>
              <a:gd name="connsiteY6847" fmla="*/ 4982263 h 5973007"/>
              <a:gd name="connsiteX6848" fmla="*/ 1980620 w 6884782"/>
              <a:gd name="connsiteY6848" fmla="*/ 4981953 h 5973007"/>
              <a:gd name="connsiteX6849" fmla="*/ 1854224 w 6884782"/>
              <a:gd name="connsiteY6849" fmla="*/ 4979682 h 5973007"/>
              <a:gd name="connsiteX6850" fmla="*/ 1862589 w 6884782"/>
              <a:gd name="connsiteY6850" fmla="*/ 4979992 h 5973007"/>
              <a:gd name="connsiteX6851" fmla="*/ 1865842 w 6884782"/>
              <a:gd name="connsiteY6851" fmla="*/ 4984122 h 5973007"/>
              <a:gd name="connsiteX6852" fmla="*/ 1865997 w 6884782"/>
              <a:gd name="connsiteY6852" fmla="*/ 4985877 h 5973007"/>
              <a:gd name="connsiteX6853" fmla="*/ 1865997 w 6884782"/>
              <a:gd name="connsiteY6853" fmla="*/ 4985774 h 5973007"/>
              <a:gd name="connsiteX6854" fmla="*/ 1874516 w 6884782"/>
              <a:gd name="connsiteY6854" fmla="*/ 4991453 h 5973007"/>
              <a:gd name="connsiteX6855" fmla="*/ 1869714 w 6884782"/>
              <a:gd name="connsiteY6855" fmla="*/ 4997442 h 5973007"/>
              <a:gd name="connsiteX6856" fmla="*/ 1864293 w 6884782"/>
              <a:gd name="connsiteY6856" fmla="*/ 4994757 h 5973007"/>
              <a:gd name="connsiteX6857" fmla="*/ 1859491 w 6884782"/>
              <a:gd name="connsiteY6857" fmla="*/ 4997752 h 5973007"/>
              <a:gd name="connsiteX6858" fmla="*/ 1854224 w 6884782"/>
              <a:gd name="connsiteY6858" fmla="*/ 4979682 h 5973007"/>
              <a:gd name="connsiteX6859" fmla="*/ 1788394 w 6884782"/>
              <a:gd name="connsiteY6859" fmla="*/ 4978030 h 5973007"/>
              <a:gd name="connsiteX6860" fmla="*/ 1790253 w 6884782"/>
              <a:gd name="connsiteY6860" fmla="*/ 4983606 h 5973007"/>
              <a:gd name="connsiteX6861" fmla="*/ 1785606 w 6884782"/>
              <a:gd name="connsiteY6861" fmla="*/ 4989285 h 5973007"/>
              <a:gd name="connsiteX6862" fmla="*/ 1783902 w 6884782"/>
              <a:gd name="connsiteY6862" fmla="*/ 4986497 h 5973007"/>
              <a:gd name="connsiteX6863" fmla="*/ 1788394 w 6884782"/>
              <a:gd name="connsiteY6863" fmla="*/ 4978030 h 5973007"/>
              <a:gd name="connsiteX6864" fmla="*/ 1170590 w 6884782"/>
              <a:gd name="connsiteY6864" fmla="*/ 4976791 h 5973007"/>
              <a:gd name="connsiteX6865" fmla="*/ 1173611 w 6884782"/>
              <a:gd name="connsiteY6865" fmla="*/ 4986910 h 5973007"/>
              <a:gd name="connsiteX6866" fmla="*/ 1164781 w 6884782"/>
              <a:gd name="connsiteY6866" fmla="*/ 4984328 h 5973007"/>
              <a:gd name="connsiteX6867" fmla="*/ 1170590 w 6884782"/>
              <a:gd name="connsiteY6867" fmla="*/ 4976791 h 5973007"/>
              <a:gd name="connsiteX6868" fmla="*/ 6732364 w 6884782"/>
              <a:gd name="connsiteY6868" fmla="*/ 4976602 h 5973007"/>
              <a:gd name="connsiteX6869" fmla="*/ 6739954 w 6884782"/>
              <a:gd name="connsiteY6869" fmla="*/ 4996117 h 5973007"/>
              <a:gd name="connsiteX6870" fmla="*/ 6735152 w 6884782"/>
              <a:gd name="connsiteY6870" fmla="*/ 5005720 h 5973007"/>
              <a:gd name="connsiteX6871" fmla="*/ 6725858 w 6884782"/>
              <a:gd name="connsiteY6871" fmla="*/ 5015530 h 5973007"/>
              <a:gd name="connsiteX6872" fmla="*/ 6720902 w 6884782"/>
              <a:gd name="connsiteY6872" fmla="*/ 5005307 h 5973007"/>
              <a:gd name="connsiteX6873" fmla="*/ 6722605 w 6884782"/>
              <a:gd name="connsiteY6873" fmla="*/ 4990748 h 5973007"/>
              <a:gd name="connsiteX6874" fmla="*/ 6732364 w 6884782"/>
              <a:gd name="connsiteY6874" fmla="*/ 4976602 h 5973007"/>
              <a:gd name="connsiteX6875" fmla="*/ 1735729 w 6884782"/>
              <a:gd name="connsiteY6875" fmla="*/ 4975242 h 5973007"/>
              <a:gd name="connsiteX6876" fmla="*/ 1730308 w 6884782"/>
              <a:gd name="connsiteY6876" fmla="*/ 4981644 h 5973007"/>
              <a:gd name="connsiteX6877" fmla="*/ 1728139 w 6884782"/>
              <a:gd name="connsiteY6877" fmla="*/ 4980714 h 5973007"/>
              <a:gd name="connsiteX6878" fmla="*/ 1735729 w 6884782"/>
              <a:gd name="connsiteY6878" fmla="*/ 4975242 h 5973007"/>
              <a:gd name="connsiteX6879" fmla="*/ 2068291 w 6884782"/>
              <a:gd name="connsiteY6879" fmla="*/ 4974829 h 5973007"/>
              <a:gd name="connsiteX6880" fmla="*/ 2070460 w 6884782"/>
              <a:gd name="connsiteY6880" fmla="*/ 4977204 h 5973007"/>
              <a:gd name="connsiteX6881" fmla="*/ 2069066 w 6884782"/>
              <a:gd name="connsiteY6881" fmla="*/ 4978133 h 5973007"/>
              <a:gd name="connsiteX6882" fmla="*/ 2069376 w 6884782"/>
              <a:gd name="connsiteY6882" fmla="*/ 4978856 h 5973007"/>
              <a:gd name="connsiteX6883" fmla="*/ 2067672 w 6884782"/>
              <a:gd name="connsiteY6883" fmla="*/ 4978959 h 5973007"/>
              <a:gd name="connsiteX6884" fmla="*/ 2067363 w 6884782"/>
              <a:gd name="connsiteY6884" fmla="*/ 4978236 h 5973007"/>
              <a:gd name="connsiteX6885" fmla="*/ 2067052 w 6884782"/>
              <a:gd name="connsiteY6885" fmla="*/ 4978133 h 5973007"/>
              <a:gd name="connsiteX6886" fmla="*/ 2067363 w 6884782"/>
              <a:gd name="connsiteY6886" fmla="*/ 4976378 h 5973007"/>
              <a:gd name="connsiteX6887" fmla="*/ 2068291 w 6884782"/>
              <a:gd name="connsiteY6887" fmla="*/ 4974829 h 5973007"/>
              <a:gd name="connsiteX6888" fmla="*/ 1964801 w 6884782"/>
              <a:gd name="connsiteY6888" fmla="*/ 4974764 h 5973007"/>
              <a:gd name="connsiteX6889" fmla="*/ 1975354 w 6884782"/>
              <a:gd name="connsiteY6889" fmla="*/ 4978546 h 5973007"/>
              <a:gd name="connsiteX6890" fmla="*/ 1964976 w 6884782"/>
              <a:gd name="connsiteY6890" fmla="*/ 4982780 h 5973007"/>
              <a:gd name="connsiteX6891" fmla="*/ 1953668 w 6884782"/>
              <a:gd name="connsiteY6891" fmla="*/ 4978340 h 5973007"/>
              <a:gd name="connsiteX6892" fmla="*/ 1964801 w 6884782"/>
              <a:gd name="connsiteY6892" fmla="*/ 4974764 h 5973007"/>
              <a:gd name="connsiteX6893" fmla="*/ 1396661 w 6884782"/>
              <a:gd name="connsiteY6893" fmla="*/ 4973900 h 5973007"/>
              <a:gd name="connsiteX6894" fmla="*/ 1404871 w 6884782"/>
              <a:gd name="connsiteY6894" fmla="*/ 4975036 h 5973007"/>
              <a:gd name="connsiteX6895" fmla="*/ 1402082 w 6884782"/>
              <a:gd name="connsiteY6895" fmla="*/ 4988769 h 5973007"/>
              <a:gd name="connsiteX6896" fmla="*/ 1398675 w 6884782"/>
              <a:gd name="connsiteY6896" fmla="*/ 4988975 h 5973007"/>
              <a:gd name="connsiteX6897" fmla="*/ 1396661 w 6884782"/>
              <a:gd name="connsiteY6897" fmla="*/ 4973900 h 5973007"/>
              <a:gd name="connsiteX6898" fmla="*/ 975188 w 6884782"/>
              <a:gd name="connsiteY6898" fmla="*/ 4973900 h 5973007"/>
              <a:gd name="connsiteX6899" fmla="*/ 969148 w 6884782"/>
              <a:gd name="connsiteY6899" fmla="*/ 4979888 h 5973007"/>
              <a:gd name="connsiteX6900" fmla="*/ 967288 w 6884782"/>
              <a:gd name="connsiteY6900" fmla="*/ 4979785 h 5973007"/>
              <a:gd name="connsiteX6901" fmla="*/ 967444 w 6884782"/>
              <a:gd name="connsiteY6901" fmla="*/ 4977204 h 5973007"/>
              <a:gd name="connsiteX6902" fmla="*/ 975188 w 6884782"/>
              <a:gd name="connsiteY6902" fmla="*/ 4973900 h 5973007"/>
              <a:gd name="connsiteX6903" fmla="*/ 2289328 w 6884782"/>
              <a:gd name="connsiteY6903" fmla="*/ 4973486 h 5973007"/>
              <a:gd name="connsiteX6904" fmla="*/ 2291187 w 6884782"/>
              <a:gd name="connsiteY6904" fmla="*/ 4978649 h 5973007"/>
              <a:gd name="connsiteX6905" fmla="*/ 2287005 w 6884782"/>
              <a:gd name="connsiteY6905" fmla="*/ 4975965 h 5973007"/>
              <a:gd name="connsiteX6906" fmla="*/ 2289328 w 6884782"/>
              <a:gd name="connsiteY6906" fmla="*/ 4973486 h 5973007"/>
              <a:gd name="connsiteX6907" fmla="*/ 6178145 w 6884782"/>
              <a:gd name="connsiteY6907" fmla="*/ 4971956 h 5973007"/>
              <a:gd name="connsiteX6908" fmla="*/ 6177990 w 6884782"/>
              <a:gd name="connsiteY6908" fmla="*/ 4973504 h 5973007"/>
              <a:gd name="connsiteX6909" fmla="*/ 6178765 w 6884782"/>
              <a:gd name="connsiteY6909" fmla="*/ 4973504 h 5973007"/>
              <a:gd name="connsiteX6910" fmla="*/ 6177836 w 6884782"/>
              <a:gd name="connsiteY6910" fmla="*/ 4975157 h 5973007"/>
              <a:gd name="connsiteX6911" fmla="*/ 6177061 w 6884782"/>
              <a:gd name="connsiteY6911" fmla="*/ 4975157 h 5973007"/>
              <a:gd name="connsiteX6912" fmla="*/ 6176751 w 6884782"/>
              <a:gd name="connsiteY6912" fmla="*/ 4975363 h 5973007"/>
              <a:gd name="connsiteX6913" fmla="*/ 6175512 w 6884782"/>
              <a:gd name="connsiteY6913" fmla="*/ 4974331 h 5973007"/>
              <a:gd name="connsiteX6914" fmla="*/ 6174582 w 6884782"/>
              <a:gd name="connsiteY6914" fmla="*/ 4973504 h 5973007"/>
              <a:gd name="connsiteX6915" fmla="*/ 6174737 w 6884782"/>
              <a:gd name="connsiteY6915" fmla="*/ 4972678 h 5973007"/>
              <a:gd name="connsiteX6916" fmla="*/ 6178145 w 6884782"/>
              <a:gd name="connsiteY6916" fmla="*/ 4971956 h 5973007"/>
              <a:gd name="connsiteX6917" fmla="*/ 1062085 w 6884782"/>
              <a:gd name="connsiteY6917" fmla="*/ 4971628 h 5973007"/>
              <a:gd name="connsiteX6918" fmla="*/ 1062705 w 6884782"/>
              <a:gd name="connsiteY6918" fmla="*/ 4972041 h 5973007"/>
              <a:gd name="connsiteX6919" fmla="*/ 1065493 w 6884782"/>
              <a:gd name="connsiteY6919" fmla="*/ 4973796 h 5973007"/>
              <a:gd name="connsiteX6920" fmla="*/ 1064408 w 6884782"/>
              <a:gd name="connsiteY6920" fmla="*/ 4978340 h 5973007"/>
              <a:gd name="connsiteX6921" fmla="*/ 1061155 w 6884782"/>
              <a:gd name="connsiteY6921" fmla="*/ 4978546 h 5973007"/>
              <a:gd name="connsiteX6922" fmla="*/ 1059297 w 6884782"/>
              <a:gd name="connsiteY6922" fmla="*/ 4977307 h 5973007"/>
              <a:gd name="connsiteX6923" fmla="*/ 1060071 w 6884782"/>
              <a:gd name="connsiteY6923" fmla="*/ 4972557 h 5973007"/>
              <a:gd name="connsiteX6924" fmla="*/ 1062085 w 6884782"/>
              <a:gd name="connsiteY6924" fmla="*/ 4971628 h 5973007"/>
              <a:gd name="connsiteX6925" fmla="*/ 1473025 w 6884782"/>
              <a:gd name="connsiteY6925" fmla="*/ 4971421 h 5973007"/>
              <a:gd name="connsiteX6926" fmla="*/ 1479995 w 6884782"/>
              <a:gd name="connsiteY6926" fmla="*/ 4975552 h 5973007"/>
              <a:gd name="connsiteX6927" fmla="*/ 1470702 w 6884782"/>
              <a:gd name="connsiteY6927" fmla="*/ 4986910 h 5973007"/>
              <a:gd name="connsiteX6928" fmla="*/ 1465900 w 6884782"/>
              <a:gd name="connsiteY6928" fmla="*/ 4984432 h 5973007"/>
              <a:gd name="connsiteX6929" fmla="*/ 1473025 w 6884782"/>
              <a:gd name="connsiteY6929" fmla="*/ 4971421 h 5973007"/>
              <a:gd name="connsiteX6930" fmla="*/ 2165876 w 6884782"/>
              <a:gd name="connsiteY6930" fmla="*/ 4970389 h 5973007"/>
              <a:gd name="connsiteX6931" fmla="*/ 2165102 w 6884782"/>
              <a:gd name="connsiteY6931" fmla="*/ 4976584 h 5973007"/>
              <a:gd name="connsiteX6932" fmla="*/ 2162469 w 6884782"/>
              <a:gd name="connsiteY6932" fmla="*/ 4976997 h 5973007"/>
              <a:gd name="connsiteX6933" fmla="*/ 2160920 w 6884782"/>
              <a:gd name="connsiteY6933" fmla="*/ 4975965 h 5973007"/>
              <a:gd name="connsiteX6934" fmla="*/ 2160454 w 6884782"/>
              <a:gd name="connsiteY6934" fmla="*/ 4970802 h 5973007"/>
              <a:gd name="connsiteX6935" fmla="*/ 2165876 w 6884782"/>
              <a:gd name="connsiteY6935" fmla="*/ 4970389 h 5973007"/>
              <a:gd name="connsiteX6936" fmla="*/ 1509271 w 6884782"/>
              <a:gd name="connsiteY6936" fmla="*/ 4970389 h 5973007"/>
              <a:gd name="connsiteX6937" fmla="*/ 1518874 w 6884782"/>
              <a:gd name="connsiteY6937" fmla="*/ 4972454 h 5973007"/>
              <a:gd name="connsiteX6938" fmla="*/ 1516550 w 6884782"/>
              <a:gd name="connsiteY6938" fmla="*/ 4980095 h 5973007"/>
              <a:gd name="connsiteX6939" fmla="*/ 1510045 w 6884782"/>
              <a:gd name="connsiteY6939" fmla="*/ 4979682 h 5973007"/>
              <a:gd name="connsiteX6940" fmla="*/ 1509271 w 6884782"/>
              <a:gd name="connsiteY6940" fmla="*/ 4970389 h 5973007"/>
              <a:gd name="connsiteX6941" fmla="*/ 2206149 w 6884782"/>
              <a:gd name="connsiteY6941" fmla="*/ 4968737 h 5973007"/>
              <a:gd name="connsiteX6942" fmla="*/ 2204600 w 6884782"/>
              <a:gd name="connsiteY6942" fmla="*/ 4981231 h 5973007"/>
              <a:gd name="connsiteX6943" fmla="*/ 2200109 w 6884782"/>
              <a:gd name="connsiteY6943" fmla="*/ 4969356 h 5973007"/>
              <a:gd name="connsiteX6944" fmla="*/ 2206149 w 6884782"/>
              <a:gd name="connsiteY6944" fmla="*/ 4968737 h 5973007"/>
              <a:gd name="connsiteX6945" fmla="*/ 1566466 w 6884782"/>
              <a:gd name="connsiteY6945" fmla="*/ 4967549 h 5973007"/>
              <a:gd name="connsiteX6946" fmla="*/ 1574482 w 6884782"/>
              <a:gd name="connsiteY6946" fmla="*/ 4971421 h 5973007"/>
              <a:gd name="connsiteX6947" fmla="*/ 1573708 w 6884782"/>
              <a:gd name="connsiteY6947" fmla="*/ 4974829 h 5973007"/>
              <a:gd name="connsiteX6948" fmla="*/ 1569370 w 6884782"/>
              <a:gd name="connsiteY6948" fmla="*/ 4977823 h 5973007"/>
              <a:gd name="connsiteX6949" fmla="*/ 1565343 w 6884782"/>
              <a:gd name="connsiteY6949" fmla="*/ 4979475 h 5973007"/>
              <a:gd name="connsiteX6950" fmla="*/ 1565653 w 6884782"/>
              <a:gd name="connsiteY6950" fmla="*/ 4985671 h 5973007"/>
              <a:gd name="connsiteX6951" fmla="*/ 1562400 w 6884782"/>
              <a:gd name="connsiteY6951" fmla="*/ 4990627 h 5973007"/>
              <a:gd name="connsiteX6952" fmla="*/ 1560232 w 6884782"/>
              <a:gd name="connsiteY6952" fmla="*/ 4985051 h 5973007"/>
              <a:gd name="connsiteX6953" fmla="*/ 1559922 w 6884782"/>
              <a:gd name="connsiteY6953" fmla="*/ 4978340 h 5973007"/>
              <a:gd name="connsiteX6954" fmla="*/ 1557598 w 6884782"/>
              <a:gd name="connsiteY6954" fmla="*/ 4976894 h 5973007"/>
              <a:gd name="connsiteX6955" fmla="*/ 1557288 w 6884782"/>
              <a:gd name="connsiteY6955" fmla="*/ 4974209 h 5973007"/>
              <a:gd name="connsiteX6956" fmla="*/ 1566466 w 6884782"/>
              <a:gd name="connsiteY6956" fmla="*/ 4967549 h 5973007"/>
              <a:gd name="connsiteX6957" fmla="*/ 1760048 w 6884782"/>
              <a:gd name="connsiteY6957" fmla="*/ 4967188 h 5973007"/>
              <a:gd name="connsiteX6958" fmla="*/ 1770271 w 6884782"/>
              <a:gd name="connsiteY6958" fmla="*/ 4971938 h 5973007"/>
              <a:gd name="connsiteX6959" fmla="*/ 1773524 w 6884782"/>
              <a:gd name="connsiteY6959" fmla="*/ 4986704 h 5973007"/>
              <a:gd name="connsiteX6960" fmla="*/ 1764695 w 6884782"/>
              <a:gd name="connsiteY6960" fmla="*/ 4990214 h 5973007"/>
              <a:gd name="connsiteX6961" fmla="*/ 1759273 w 6884782"/>
              <a:gd name="connsiteY6961" fmla="*/ 4987736 h 5973007"/>
              <a:gd name="connsiteX6962" fmla="*/ 1756795 w 6884782"/>
              <a:gd name="connsiteY6962" fmla="*/ 4972144 h 5973007"/>
              <a:gd name="connsiteX6963" fmla="*/ 1758499 w 6884782"/>
              <a:gd name="connsiteY6963" fmla="*/ 4970492 h 5973007"/>
              <a:gd name="connsiteX6964" fmla="*/ 1760048 w 6884782"/>
              <a:gd name="connsiteY6964" fmla="*/ 4967188 h 5973007"/>
              <a:gd name="connsiteX6965" fmla="*/ 1900229 w 6884782"/>
              <a:gd name="connsiteY6965" fmla="*/ 4966672 h 5973007"/>
              <a:gd name="connsiteX6966" fmla="*/ 1899300 w 6884782"/>
              <a:gd name="connsiteY6966" fmla="*/ 4971834 h 5973007"/>
              <a:gd name="connsiteX6967" fmla="*/ 1900229 w 6884782"/>
              <a:gd name="connsiteY6967" fmla="*/ 4966672 h 5973007"/>
              <a:gd name="connsiteX6968" fmla="*/ 1825782 w 6884782"/>
              <a:gd name="connsiteY6968" fmla="*/ 4966142 h 5973007"/>
              <a:gd name="connsiteX6969" fmla="*/ 1839045 w 6884782"/>
              <a:gd name="connsiteY6969" fmla="*/ 4969873 h 5973007"/>
              <a:gd name="connsiteX6970" fmla="*/ 1841988 w 6884782"/>
              <a:gd name="connsiteY6970" fmla="*/ 4977204 h 5973007"/>
              <a:gd name="connsiteX6971" fmla="*/ 1840439 w 6884782"/>
              <a:gd name="connsiteY6971" fmla="*/ 4981953 h 5973007"/>
              <a:gd name="connsiteX6972" fmla="*/ 1840594 w 6884782"/>
              <a:gd name="connsiteY6972" fmla="*/ 4982676 h 5973007"/>
              <a:gd name="connsiteX6973" fmla="*/ 1840129 w 6884782"/>
              <a:gd name="connsiteY6973" fmla="*/ 4982780 h 5973007"/>
              <a:gd name="connsiteX6974" fmla="*/ 1839974 w 6884782"/>
              <a:gd name="connsiteY6974" fmla="*/ 4983296 h 5973007"/>
              <a:gd name="connsiteX6975" fmla="*/ 1827582 w 6884782"/>
              <a:gd name="connsiteY6975" fmla="*/ 4988665 h 5973007"/>
              <a:gd name="connsiteX6976" fmla="*/ 1812402 w 6884782"/>
              <a:gd name="connsiteY6976" fmla="*/ 4974726 h 5973007"/>
              <a:gd name="connsiteX6977" fmla="*/ 1825782 w 6884782"/>
              <a:gd name="connsiteY6977" fmla="*/ 4966142 h 5973007"/>
              <a:gd name="connsiteX6978" fmla="*/ 1711255 w 6884782"/>
              <a:gd name="connsiteY6978" fmla="*/ 4966052 h 5973007"/>
              <a:gd name="connsiteX6979" fmla="*/ 1717142 w 6884782"/>
              <a:gd name="connsiteY6979" fmla="*/ 4967704 h 5973007"/>
              <a:gd name="connsiteX6980" fmla="*/ 1713734 w 6884782"/>
              <a:gd name="connsiteY6980" fmla="*/ 4967808 h 5973007"/>
              <a:gd name="connsiteX6981" fmla="*/ 1711255 w 6884782"/>
              <a:gd name="connsiteY6981" fmla="*/ 4966052 h 5973007"/>
              <a:gd name="connsiteX6982" fmla="*/ 2173931 w 6884782"/>
              <a:gd name="connsiteY6982" fmla="*/ 4963987 h 5973007"/>
              <a:gd name="connsiteX6983" fmla="*/ 2177029 w 6884782"/>
              <a:gd name="connsiteY6983" fmla="*/ 4979166 h 5973007"/>
              <a:gd name="connsiteX6984" fmla="*/ 2176099 w 6884782"/>
              <a:gd name="connsiteY6984" fmla="*/ 4979888 h 5973007"/>
              <a:gd name="connsiteX6985" fmla="*/ 2175944 w 6884782"/>
              <a:gd name="connsiteY6985" fmla="*/ 4981024 h 5973007"/>
              <a:gd name="connsiteX6986" fmla="*/ 2174861 w 6884782"/>
              <a:gd name="connsiteY6986" fmla="*/ 4983089 h 5973007"/>
              <a:gd name="connsiteX6987" fmla="*/ 2173621 w 6884782"/>
              <a:gd name="connsiteY6987" fmla="*/ 4982263 h 5973007"/>
              <a:gd name="connsiteX6988" fmla="*/ 2173001 w 6884782"/>
              <a:gd name="connsiteY6988" fmla="*/ 4982986 h 5973007"/>
              <a:gd name="connsiteX6989" fmla="*/ 2172227 w 6884782"/>
              <a:gd name="connsiteY6989" fmla="*/ 4981437 h 5973007"/>
              <a:gd name="connsiteX6990" fmla="*/ 2172692 w 6884782"/>
              <a:gd name="connsiteY6990" fmla="*/ 4980714 h 5973007"/>
              <a:gd name="connsiteX6991" fmla="*/ 2172692 w 6884782"/>
              <a:gd name="connsiteY6991" fmla="*/ 4980405 h 5973007"/>
              <a:gd name="connsiteX6992" fmla="*/ 2172846 w 6884782"/>
              <a:gd name="connsiteY6992" fmla="*/ 4980302 h 5973007"/>
              <a:gd name="connsiteX6993" fmla="*/ 2172692 w 6884782"/>
              <a:gd name="connsiteY6993" fmla="*/ 4972867 h 5973007"/>
              <a:gd name="connsiteX6994" fmla="*/ 2173931 w 6884782"/>
              <a:gd name="connsiteY6994" fmla="*/ 4963987 h 5973007"/>
              <a:gd name="connsiteX6995" fmla="*/ 1954907 w 6884782"/>
              <a:gd name="connsiteY6995" fmla="*/ 4963884 h 5973007"/>
              <a:gd name="connsiteX6996" fmla="*/ 1950260 w 6884782"/>
              <a:gd name="connsiteY6996" fmla="*/ 4968220 h 5973007"/>
              <a:gd name="connsiteX6997" fmla="*/ 1952119 w 6884782"/>
              <a:gd name="connsiteY6997" fmla="*/ 4966465 h 5973007"/>
              <a:gd name="connsiteX6998" fmla="*/ 1952274 w 6884782"/>
              <a:gd name="connsiteY6998" fmla="*/ 4964710 h 5973007"/>
              <a:gd name="connsiteX6999" fmla="*/ 1954907 w 6884782"/>
              <a:gd name="connsiteY6999" fmla="*/ 4963884 h 5973007"/>
              <a:gd name="connsiteX7000" fmla="*/ 1342912 w 6884782"/>
              <a:gd name="connsiteY7000" fmla="*/ 4963780 h 5973007"/>
              <a:gd name="connsiteX7001" fmla="*/ 1353600 w 6884782"/>
              <a:gd name="connsiteY7001" fmla="*/ 4964297 h 5973007"/>
              <a:gd name="connsiteX7002" fmla="*/ 1348953 w 6884782"/>
              <a:gd name="connsiteY7002" fmla="*/ 4970285 h 5973007"/>
              <a:gd name="connsiteX7003" fmla="*/ 1345546 w 6884782"/>
              <a:gd name="connsiteY7003" fmla="*/ 4969769 h 5973007"/>
              <a:gd name="connsiteX7004" fmla="*/ 1342912 w 6884782"/>
              <a:gd name="connsiteY7004" fmla="*/ 4963780 h 5973007"/>
              <a:gd name="connsiteX7005" fmla="*/ 2067517 w 6884782"/>
              <a:gd name="connsiteY7005" fmla="*/ 4963264 h 5973007"/>
              <a:gd name="connsiteX7006" fmla="*/ 2070460 w 6884782"/>
              <a:gd name="connsiteY7006" fmla="*/ 4964916 h 5973007"/>
              <a:gd name="connsiteX7007" fmla="*/ 2070150 w 6884782"/>
              <a:gd name="connsiteY7007" fmla="*/ 4965639 h 5973007"/>
              <a:gd name="connsiteX7008" fmla="*/ 2067517 w 6884782"/>
              <a:gd name="connsiteY7008" fmla="*/ 4963264 h 5973007"/>
              <a:gd name="connsiteX7009" fmla="*/ 2085020 w 6884782"/>
              <a:gd name="connsiteY7009" fmla="*/ 4963058 h 5973007"/>
              <a:gd name="connsiteX7010" fmla="*/ 2086724 w 6884782"/>
              <a:gd name="connsiteY7010" fmla="*/ 4964607 h 5973007"/>
              <a:gd name="connsiteX7011" fmla="*/ 2082542 w 6884782"/>
              <a:gd name="connsiteY7011" fmla="*/ 4972867 h 5973007"/>
              <a:gd name="connsiteX7012" fmla="*/ 2080838 w 6884782"/>
              <a:gd name="connsiteY7012" fmla="*/ 4970905 h 5973007"/>
              <a:gd name="connsiteX7013" fmla="*/ 2085020 w 6884782"/>
              <a:gd name="connsiteY7013" fmla="*/ 4963058 h 5973007"/>
              <a:gd name="connsiteX7014" fmla="*/ 1636441 w 6884782"/>
              <a:gd name="connsiteY7014" fmla="*/ 4962335 h 5973007"/>
              <a:gd name="connsiteX7015" fmla="*/ 1637370 w 6884782"/>
              <a:gd name="connsiteY7015" fmla="*/ 4965742 h 5973007"/>
              <a:gd name="connsiteX7016" fmla="*/ 1635976 w 6884782"/>
              <a:gd name="connsiteY7016" fmla="*/ 4966259 h 5973007"/>
              <a:gd name="connsiteX7017" fmla="*/ 1633962 w 6884782"/>
              <a:gd name="connsiteY7017" fmla="*/ 4964813 h 5973007"/>
              <a:gd name="connsiteX7018" fmla="*/ 1750715 w 6884782"/>
              <a:gd name="connsiteY7018" fmla="*/ 4961818 h 5973007"/>
              <a:gd name="connsiteX7019" fmla="*/ 1752613 w 6884782"/>
              <a:gd name="connsiteY7019" fmla="*/ 4967188 h 5973007"/>
              <a:gd name="connsiteX7020" fmla="*/ 1745797 w 6884782"/>
              <a:gd name="connsiteY7020" fmla="*/ 4962335 h 5973007"/>
              <a:gd name="connsiteX7021" fmla="*/ 1750715 w 6884782"/>
              <a:gd name="connsiteY7021" fmla="*/ 4961818 h 5973007"/>
              <a:gd name="connsiteX7022" fmla="*/ 1630245 w 6884782"/>
              <a:gd name="connsiteY7022" fmla="*/ 4961818 h 5973007"/>
              <a:gd name="connsiteX7023" fmla="*/ 1631329 w 6884782"/>
              <a:gd name="connsiteY7023" fmla="*/ 4963574 h 5973007"/>
              <a:gd name="connsiteX7024" fmla="*/ 1631019 w 6884782"/>
              <a:gd name="connsiteY7024" fmla="*/ 4965123 h 5973007"/>
              <a:gd name="connsiteX7025" fmla="*/ 1633187 w 6884782"/>
              <a:gd name="connsiteY7025" fmla="*/ 4965536 h 5973007"/>
              <a:gd name="connsiteX7026" fmla="*/ 1635976 w 6884782"/>
              <a:gd name="connsiteY7026" fmla="*/ 4972661 h 5973007"/>
              <a:gd name="connsiteX7027" fmla="*/ 1634272 w 6884782"/>
              <a:gd name="connsiteY7027" fmla="*/ 4973486 h 5973007"/>
              <a:gd name="connsiteX7028" fmla="*/ 1632258 w 6884782"/>
              <a:gd name="connsiteY7028" fmla="*/ 4973900 h 5973007"/>
              <a:gd name="connsiteX7029" fmla="*/ 1627611 w 6884782"/>
              <a:gd name="connsiteY7029" fmla="*/ 4972351 h 5973007"/>
              <a:gd name="connsiteX7030" fmla="*/ 1625753 w 6884782"/>
              <a:gd name="connsiteY7030" fmla="*/ 4968737 h 5973007"/>
              <a:gd name="connsiteX7031" fmla="*/ 1625753 w 6884782"/>
              <a:gd name="connsiteY7031" fmla="*/ 4966981 h 5973007"/>
              <a:gd name="connsiteX7032" fmla="*/ 1626837 w 6884782"/>
              <a:gd name="connsiteY7032" fmla="*/ 4966259 h 5973007"/>
              <a:gd name="connsiteX7033" fmla="*/ 1626372 w 6884782"/>
              <a:gd name="connsiteY7033" fmla="*/ 4965639 h 5973007"/>
              <a:gd name="connsiteX7034" fmla="*/ 1626063 w 6884782"/>
              <a:gd name="connsiteY7034" fmla="*/ 4962954 h 5973007"/>
              <a:gd name="connsiteX7035" fmla="*/ 1630245 w 6884782"/>
              <a:gd name="connsiteY7035" fmla="*/ 4961818 h 5973007"/>
              <a:gd name="connsiteX7036" fmla="*/ 1396661 w 6884782"/>
              <a:gd name="connsiteY7036" fmla="*/ 4961096 h 5973007"/>
              <a:gd name="connsiteX7037" fmla="*/ 1394803 w 6884782"/>
              <a:gd name="connsiteY7037" fmla="*/ 4965949 h 5973007"/>
              <a:gd name="connsiteX7038" fmla="*/ 1386902 w 6884782"/>
              <a:gd name="connsiteY7038" fmla="*/ 4962128 h 5973007"/>
              <a:gd name="connsiteX7039" fmla="*/ 1396661 w 6884782"/>
              <a:gd name="connsiteY7039" fmla="*/ 4961096 h 5973007"/>
              <a:gd name="connsiteX7040" fmla="*/ 1914944 w 6884782"/>
              <a:gd name="connsiteY7040" fmla="*/ 4959341 h 5973007"/>
              <a:gd name="connsiteX7041" fmla="*/ 1915874 w 6884782"/>
              <a:gd name="connsiteY7041" fmla="*/ 4962025 h 5973007"/>
              <a:gd name="connsiteX7042" fmla="*/ 1915099 w 6884782"/>
              <a:gd name="connsiteY7042" fmla="*/ 4964607 h 5973007"/>
              <a:gd name="connsiteX7043" fmla="*/ 1913705 w 6884782"/>
              <a:gd name="connsiteY7043" fmla="*/ 4964813 h 5973007"/>
              <a:gd name="connsiteX7044" fmla="*/ 1911691 w 6884782"/>
              <a:gd name="connsiteY7044" fmla="*/ 4964400 h 5973007"/>
              <a:gd name="connsiteX7045" fmla="*/ 1912311 w 6884782"/>
              <a:gd name="connsiteY7045" fmla="*/ 4960063 h 5973007"/>
              <a:gd name="connsiteX7046" fmla="*/ 1914944 w 6884782"/>
              <a:gd name="connsiteY7046" fmla="*/ 4959341 h 5973007"/>
              <a:gd name="connsiteX7047" fmla="*/ 2031891 w 6884782"/>
              <a:gd name="connsiteY7047" fmla="*/ 4958927 h 5973007"/>
              <a:gd name="connsiteX7048" fmla="*/ 2034679 w 6884782"/>
              <a:gd name="connsiteY7048" fmla="*/ 4960993 h 5973007"/>
              <a:gd name="connsiteX7049" fmla="*/ 2034989 w 6884782"/>
              <a:gd name="connsiteY7049" fmla="*/ 4960270 h 5973007"/>
              <a:gd name="connsiteX7050" fmla="*/ 2043353 w 6884782"/>
              <a:gd name="connsiteY7050" fmla="*/ 4964193 h 5973007"/>
              <a:gd name="connsiteX7051" fmla="*/ 2043198 w 6884782"/>
              <a:gd name="connsiteY7051" fmla="*/ 4967291 h 5973007"/>
              <a:gd name="connsiteX7052" fmla="*/ 2050633 w 6884782"/>
              <a:gd name="connsiteY7052" fmla="*/ 4972764 h 5973007"/>
              <a:gd name="connsiteX7053" fmla="*/ 2067363 w 6884782"/>
              <a:gd name="connsiteY7053" fmla="*/ 4985464 h 5973007"/>
              <a:gd name="connsiteX7054" fmla="*/ 2062251 w 6884782"/>
              <a:gd name="connsiteY7054" fmla="*/ 4985568 h 5973007"/>
              <a:gd name="connsiteX7055" fmla="*/ 2026779 w 6884782"/>
              <a:gd name="connsiteY7055" fmla="*/ 4966465 h 5973007"/>
              <a:gd name="connsiteX7056" fmla="*/ 2031891 w 6884782"/>
              <a:gd name="connsiteY7056" fmla="*/ 4958927 h 5973007"/>
              <a:gd name="connsiteX7057" fmla="*/ 1954598 w 6884782"/>
              <a:gd name="connsiteY7057" fmla="*/ 4958514 h 5973007"/>
              <a:gd name="connsiteX7058" fmla="*/ 1969777 w 6884782"/>
              <a:gd name="connsiteY7058" fmla="*/ 4974313 h 5973007"/>
              <a:gd name="connsiteX7059" fmla="*/ 1955682 w 6884782"/>
              <a:gd name="connsiteY7059" fmla="*/ 4963677 h 5973007"/>
              <a:gd name="connsiteX7060" fmla="*/ 1954598 w 6884782"/>
              <a:gd name="connsiteY7060" fmla="*/ 4958514 h 5973007"/>
              <a:gd name="connsiteX7061" fmla="*/ 1006632 w 6884782"/>
              <a:gd name="connsiteY7061" fmla="*/ 4958514 h 5973007"/>
              <a:gd name="connsiteX7062" fmla="*/ 999662 w 6884782"/>
              <a:gd name="connsiteY7062" fmla="*/ 4986084 h 5973007"/>
              <a:gd name="connsiteX7063" fmla="*/ 996873 w 6884782"/>
              <a:gd name="connsiteY7063" fmla="*/ 4979682 h 5973007"/>
              <a:gd name="connsiteX7064" fmla="*/ 1006632 w 6884782"/>
              <a:gd name="connsiteY7064" fmla="*/ 4958514 h 5973007"/>
              <a:gd name="connsiteX7065" fmla="*/ 1900539 w 6884782"/>
              <a:gd name="connsiteY7065" fmla="*/ 4955623 h 5973007"/>
              <a:gd name="connsiteX7066" fmla="*/ 1904876 w 6884782"/>
              <a:gd name="connsiteY7066" fmla="*/ 4956346 h 5973007"/>
              <a:gd name="connsiteX7067" fmla="*/ 1901778 w 6884782"/>
              <a:gd name="connsiteY7067" fmla="*/ 4958205 h 5973007"/>
              <a:gd name="connsiteX7068" fmla="*/ 1900539 w 6884782"/>
              <a:gd name="connsiteY7068" fmla="*/ 4955623 h 5973007"/>
              <a:gd name="connsiteX7069" fmla="*/ 980145 w 6884782"/>
              <a:gd name="connsiteY7069" fmla="*/ 4954901 h 5973007"/>
              <a:gd name="connsiteX7070" fmla="*/ 978286 w 6884782"/>
              <a:gd name="connsiteY7070" fmla="*/ 4962128 h 5973007"/>
              <a:gd name="connsiteX7071" fmla="*/ 974414 w 6884782"/>
              <a:gd name="connsiteY7071" fmla="*/ 4962851 h 5973007"/>
              <a:gd name="connsiteX7072" fmla="*/ 970541 w 6884782"/>
              <a:gd name="connsiteY7072" fmla="*/ 4961509 h 5973007"/>
              <a:gd name="connsiteX7073" fmla="*/ 980145 w 6884782"/>
              <a:gd name="connsiteY7073" fmla="*/ 4954901 h 5973007"/>
              <a:gd name="connsiteX7074" fmla="*/ 2217301 w 6884782"/>
              <a:gd name="connsiteY7074" fmla="*/ 4952319 h 5973007"/>
              <a:gd name="connsiteX7075" fmla="*/ 2219653 w 6884782"/>
              <a:gd name="connsiteY7075" fmla="*/ 4952922 h 5973007"/>
              <a:gd name="connsiteX7076" fmla="*/ 2219625 w 6884782"/>
              <a:gd name="connsiteY7076" fmla="*/ 4952939 h 5973007"/>
              <a:gd name="connsiteX7077" fmla="*/ 2217301 w 6884782"/>
              <a:gd name="connsiteY7077" fmla="*/ 4952319 h 5973007"/>
              <a:gd name="connsiteX7078" fmla="*/ 1578084 w 6884782"/>
              <a:gd name="connsiteY7078" fmla="*/ 4952112 h 5973007"/>
              <a:gd name="connsiteX7079" fmla="*/ 1580213 w 6884782"/>
              <a:gd name="connsiteY7079" fmla="*/ 4957998 h 5973007"/>
              <a:gd name="connsiteX7080" fmla="*/ 1577270 w 6884782"/>
              <a:gd name="connsiteY7080" fmla="*/ 4962851 h 5973007"/>
              <a:gd name="connsiteX7081" fmla="*/ 1575257 w 6884782"/>
              <a:gd name="connsiteY7081" fmla="*/ 4962025 h 5973007"/>
              <a:gd name="connsiteX7082" fmla="*/ 1574947 w 6884782"/>
              <a:gd name="connsiteY7082" fmla="*/ 4961818 h 5973007"/>
              <a:gd name="connsiteX7083" fmla="*/ 1572004 w 6884782"/>
              <a:gd name="connsiteY7083" fmla="*/ 4966052 h 5973007"/>
              <a:gd name="connsiteX7084" fmla="*/ 1570145 w 6884782"/>
              <a:gd name="connsiteY7084" fmla="*/ 4963574 h 5973007"/>
              <a:gd name="connsiteX7085" fmla="*/ 1570145 w 6884782"/>
              <a:gd name="connsiteY7085" fmla="*/ 4958514 h 5973007"/>
              <a:gd name="connsiteX7086" fmla="*/ 1571539 w 6884782"/>
              <a:gd name="connsiteY7086" fmla="*/ 4956346 h 5973007"/>
              <a:gd name="connsiteX7087" fmla="*/ 1571074 w 6884782"/>
              <a:gd name="connsiteY7087" fmla="*/ 4955210 h 5973007"/>
              <a:gd name="connsiteX7088" fmla="*/ 1578084 w 6884782"/>
              <a:gd name="connsiteY7088" fmla="*/ 4952112 h 5973007"/>
              <a:gd name="connsiteX7089" fmla="*/ 2221175 w 6884782"/>
              <a:gd name="connsiteY7089" fmla="*/ 4952009 h 5973007"/>
              <a:gd name="connsiteX7090" fmla="*/ 2223343 w 6884782"/>
              <a:gd name="connsiteY7090" fmla="*/ 4953868 h 5973007"/>
              <a:gd name="connsiteX7091" fmla="*/ 2219653 w 6884782"/>
              <a:gd name="connsiteY7091" fmla="*/ 4952922 h 5973007"/>
              <a:gd name="connsiteX7092" fmla="*/ 2207853 w 6884782"/>
              <a:gd name="connsiteY7092" fmla="*/ 4951183 h 5973007"/>
              <a:gd name="connsiteX7093" fmla="*/ 2210641 w 6884782"/>
              <a:gd name="connsiteY7093" fmla="*/ 4952525 h 5973007"/>
              <a:gd name="connsiteX7094" fmla="*/ 2213894 w 6884782"/>
              <a:gd name="connsiteY7094" fmla="*/ 4951493 h 5973007"/>
              <a:gd name="connsiteX7095" fmla="*/ 2216682 w 6884782"/>
              <a:gd name="connsiteY7095" fmla="*/ 4952835 h 5973007"/>
              <a:gd name="connsiteX7096" fmla="*/ 2215908 w 6884782"/>
              <a:gd name="connsiteY7096" fmla="*/ 4953351 h 5973007"/>
              <a:gd name="connsiteX7097" fmla="*/ 2213584 w 6884782"/>
              <a:gd name="connsiteY7097" fmla="*/ 4952732 h 5973007"/>
              <a:gd name="connsiteX7098" fmla="*/ 2208008 w 6884782"/>
              <a:gd name="connsiteY7098" fmla="*/ 4954281 h 5973007"/>
              <a:gd name="connsiteX7099" fmla="*/ 2206304 w 6884782"/>
              <a:gd name="connsiteY7099" fmla="*/ 4953248 h 5973007"/>
              <a:gd name="connsiteX7100" fmla="*/ 2207853 w 6884782"/>
              <a:gd name="connsiteY7100" fmla="*/ 4951183 h 5973007"/>
              <a:gd name="connsiteX7101" fmla="*/ 1602518 w 6884782"/>
              <a:gd name="connsiteY7101" fmla="*/ 4950357 h 5973007"/>
              <a:gd name="connsiteX7102" fmla="*/ 1602363 w 6884782"/>
              <a:gd name="connsiteY7102" fmla="*/ 4960993 h 5973007"/>
              <a:gd name="connsiteX7103" fmla="*/ 1601124 w 6884782"/>
              <a:gd name="connsiteY7103" fmla="*/ 4962128 h 5973007"/>
              <a:gd name="connsiteX7104" fmla="*/ 1598956 w 6884782"/>
              <a:gd name="connsiteY7104" fmla="*/ 4961199 h 5973007"/>
              <a:gd name="connsiteX7105" fmla="*/ 1598491 w 6884782"/>
              <a:gd name="connsiteY7105" fmla="*/ 4956862 h 5973007"/>
              <a:gd name="connsiteX7106" fmla="*/ 1601280 w 6884782"/>
              <a:gd name="connsiteY7106" fmla="*/ 4953145 h 5973007"/>
              <a:gd name="connsiteX7107" fmla="*/ 1601744 w 6884782"/>
              <a:gd name="connsiteY7107" fmla="*/ 4950460 h 5973007"/>
              <a:gd name="connsiteX7108" fmla="*/ 1602518 w 6884782"/>
              <a:gd name="connsiteY7108" fmla="*/ 4950357 h 5973007"/>
              <a:gd name="connsiteX7109" fmla="*/ 1641087 w 6884782"/>
              <a:gd name="connsiteY7109" fmla="*/ 4949221 h 5973007"/>
              <a:gd name="connsiteX7110" fmla="*/ 1650072 w 6884782"/>
              <a:gd name="connsiteY7110" fmla="*/ 4950977 h 5973007"/>
              <a:gd name="connsiteX7111" fmla="*/ 1647593 w 6884782"/>
              <a:gd name="connsiteY7111" fmla="*/ 4962335 h 5973007"/>
              <a:gd name="connsiteX7112" fmla="*/ 1647903 w 6884782"/>
              <a:gd name="connsiteY7112" fmla="*/ 4963884 h 5973007"/>
              <a:gd name="connsiteX7113" fmla="*/ 1647438 w 6884782"/>
              <a:gd name="connsiteY7113" fmla="*/ 4966155 h 5973007"/>
              <a:gd name="connsiteX7114" fmla="*/ 1646509 w 6884782"/>
              <a:gd name="connsiteY7114" fmla="*/ 4966465 h 5973007"/>
              <a:gd name="connsiteX7115" fmla="*/ 1644960 w 6884782"/>
              <a:gd name="connsiteY7115" fmla="*/ 4973486 h 5973007"/>
              <a:gd name="connsiteX7116" fmla="*/ 1640158 w 6884782"/>
              <a:gd name="connsiteY7116" fmla="*/ 4994138 h 5973007"/>
              <a:gd name="connsiteX7117" fmla="*/ 1641087 w 6884782"/>
              <a:gd name="connsiteY7117" fmla="*/ 4949221 h 5973007"/>
              <a:gd name="connsiteX7118" fmla="*/ 2238058 w 6884782"/>
              <a:gd name="connsiteY7118" fmla="*/ 4948395 h 5973007"/>
              <a:gd name="connsiteX7119" fmla="*/ 2255561 w 6884782"/>
              <a:gd name="connsiteY7119" fmla="*/ 4964710 h 5973007"/>
              <a:gd name="connsiteX7120" fmla="*/ 2243634 w 6884782"/>
              <a:gd name="connsiteY7120" fmla="*/ 4958824 h 5973007"/>
              <a:gd name="connsiteX7121" fmla="*/ 2241775 w 6884782"/>
              <a:gd name="connsiteY7121" fmla="*/ 4956346 h 5973007"/>
              <a:gd name="connsiteX7122" fmla="*/ 2240226 w 6884782"/>
              <a:gd name="connsiteY7122" fmla="*/ 4957895 h 5973007"/>
              <a:gd name="connsiteX7123" fmla="*/ 2240846 w 6884782"/>
              <a:gd name="connsiteY7123" fmla="*/ 4957895 h 5973007"/>
              <a:gd name="connsiteX7124" fmla="*/ 2237438 w 6884782"/>
              <a:gd name="connsiteY7124" fmla="*/ 4962128 h 5973007"/>
              <a:gd name="connsiteX7125" fmla="*/ 2237128 w 6884782"/>
              <a:gd name="connsiteY7125" fmla="*/ 4963367 h 5973007"/>
              <a:gd name="connsiteX7126" fmla="*/ 2235734 w 6884782"/>
              <a:gd name="connsiteY7126" fmla="*/ 4967498 h 5973007"/>
              <a:gd name="connsiteX7127" fmla="*/ 2231862 w 6884782"/>
              <a:gd name="connsiteY7127" fmla="*/ 4965949 h 5973007"/>
              <a:gd name="connsiteX7128" fmla="*/ 2231088 w 6884782"/>
              <a:gd name="connsiteY7128" fmla="*/ 4966465 h 5973007"/>
              <a:gd name="connsiteX7129" fmla="*/ 2219935 w 6884782"/>
              <a:gd name="connsiteY7129" fmla="*/ 4968324 h 5973007"/>
              <a:gd name="connsiteX7130" fmla="*/ 2223963 w 6884782"/>
              <a:gd name="connsiteY7130" fmla="*/ 4962851 h 5973007"/>
              <a:gd name="connsiteX7131" fmla="*/ 2228610 w 6884782"/>
              <a:gd name="connsiteY7131" fmla="*/ 4959857 h 5973007"/>
              <a:gd name="connsiteX7132" fmla="*/ 2228144 w 6884782"/>
              <a:gd name="connsiteY7132" fmla="*/ 4957275 h 5973007"/>
              <a:gd name="connsiteX7133" fmla="*/ 2225821 w 6884782"/>
              <a:gd name="connsiteY7133" fmla="*/ 4961096 h 5973007"/>
              <a:gd name="connsiteX7134" fmla="*/ 2209866 w 6884782"/>
              <a:gd name="connsiteY7134" fmla="*/ 4966981 h 5973007"/>
              <a:gd name="connsiteX7135" fmla="*/ 2216837 w 6884782"/>
              <a:gd name="connsiteY7135" fmla="*/ 4957895 h 5973007"/>
              <a:gd name="connsiteX7136" fmla="*/ 2228144 w 6884782"/>
              <a:gd name="connsiteY7136" fmla="*/ 4955623 h 5973007"/>
              <a:gd name="connsiteX7137" fmla="*/ 2228144 w 6884782"/>
              <a:gd name="connsiteY7137" fmla="*/ 4953042 h 5973007"/>
              <a:gd name="connsiteX7138" fmla="*/ 2231707 w 6884782"/>
              <a:gd name="connsiteY7138" fmla="*/ 4952422 h 5973007"/>
              <a:gd name="connsiteX7139" fmla="*/ 2233566 w 6884782"/>
              <a:gd name="connsiteY7139" fmla="*/ 4953764 h 5973007"/>
              <a:gd name="connsiteX7140" fmla="*/ 2234031 w 6884782"/>
              <a:gd name="connsiteY7140" fmla="*/ 4948499 h 5973007"/>
              <a:gd name="connsiteX7141" fmla="*/ 2239142 w 6884782"/>
              <a:gd name="connsiteY7141" fmla="*/ 4954281 h 5973007"/>
              <a:gd name="connsiteX7142" fmla="*/ 2240381 w 6884782"/>
              <a:gd name="connsiteY7142" fmla="*/ 4954487 h 5973007"/>
              <a:gd name="connsiteX7143" fmla="*/ 2239762 w 6884782"/>
              <a:gd name="connsiteY7143" fmla="*/ 4953558 h 5973007"/>
              <a:gd name="connsiteX7144" fmla="*/ 2238058 w 6884782"/>
              <a:gd name="connsiteY7144" fmla="*/ 4948395 h 5973007"/>
              <a:gd name="connsiteX7145" fmla="*/ 2074023 w 6884782"/>
              <a:gd name="connsiteY7145" fmla="*/ 4947879 h 5973007"/>
              <a:gd name="connsiteX7146" fmla="*/ 2077120 w 6884782"/>
              <a:gd name="connsiteY7146" fmla="*/ 4950770 h 5973007"/>
              <a:gd name="connsiteX7147" fmla="*/ 2077895 w 6884782"/>
              <a:gd name="connsiteY7147" fmla="*/ 4952939 h 5973007"/>
              <a:gd name="connsiteX7148" fmla="*/ 2078670 w 6884782"/>
              <a:gd name="connsiteY7148" fmla="*/ 4952009 h 5973007"/>
              <a:gd name="connsiteX7149" fmla="*/ 2083007 w 6884782"/>
              <a:gd name="connsiteY7149" fmla="*/ 4952319 h 5973007"/>
              <a:gd name="connsiteX7150" fmla="*/ 2077276 w 6884782"/>
              <a:gd name="connsiteY7150" fmla="*/ 4956449 h 5973007"/>
              <a:gd name="connsiteX7151" fmla="*/ 2077430 w 6884782"/>
              <a:gd name="connsiteY7151" fmla="*/ 4956036 h 5973007"/>
              <a:gd name="connsiteX7152" fmla="*/ 2076656 w 6884782"/>
              <a:gd name="connsiteY7152" fmla="*/ 4956862 h 5973007"/>
              <a:gd name="connsiteX7153" fmla="*/ 2073403 w 6884782"/>
              <a:gd name="connsiteY7153" fmla="*/ 4956966 h 5973007"/>
              <a:gd name="connsiteX7154" fmla="*/ 2070925 w 6884782"/>
              <a:gd name="connsiteY7154" fmla="*/ 4955726 h 5973007"/>
              <a:gd name="connsiteX7155" fmla="*/ 2069685 w 6884782"/>
              <a:gd name="connsiteY7155" fmla="*/ 4952835 h 5973007"/>
              <a:gd name="connsiteX7156" fmla="*/ 2070150 w 6884782"/>
              <a:gd name="connsiteY7156" fmla="*/ 4950460 h 5973007"/>
              <a:gd name="connsiteX7157" fmla="*/ 2074023 w 6884782"/>
              <a:gd name="connsiteY7157" fmla="*/ 4947879 h 5973007"/>
              <a:gd name="connsiteX7158" fmla="*/ 871098 w 6884782"/>
              <a:gd name="connsiteY7158" fmla="*/ 4947776 h 5973007"/>
              <a:gd name="connsiteX7159" fmla="*/ 877603 w 6884782"/>
              <a:gd name="connsiteY7159" fmla="*/ 4949841 h 5973007"/>
              <a:gd name="connsiteX7160" fmla="*/ 871253 w 6884782"/>
              <a:gd name="connsiteY7160" fmla="*/ 4962232 h 5973007"/>
              <a:gd name="connsiteX7161" fmla="*/ 866915 w 6884782"/>
              <a:gd name="connsiteY7161" fmla="*/ 4959237 h 5973007"/>
              <a:gd name="connsiteX7162" fmla="*/ 871098 w 6884782"/>
              <a:gd name="connsiteY7162" fmla="*/ 4947776 h 5973007"/>
              <a:gd name="connsiteX7163" fmla="*/ 1854012 w 6884782"/>
              <a:gd name="connsiteY7163" fmla="*/ 4947647 h 5973007"/>
              <a:gd name="connsiteX7164" fmla="*/ 1859956 w 6884782"/>
              <a:gd name="connsiteY7164" fmla="*/ 4948085 h 5973007"/>
              <a:gd name="connsiteX7165" fmla="*/ 1859801 w 6884782"/>
              <a:gd name="connsiteY7165" fmla="*/ 4950667 h 5973007"/>
              <a:gd name="connsiteX7166" fmla="*/ 1853450 w 6884782"/>
              <a:gd name="connsiteY7166" fmla="*/ 4954591 h 5973007"/>
              <a:gd name="connsiteX7167" fmla="*/ 1851436 w 6884782"/>
              <a:gd name="connsiteY7167" fmla="*/ 4953558 h 5973007"/>
              <a:gd name="connsiteX7168" fmla="*/ 1854012 w 6884782"/>
              <a:gd name="connsiteY7168" fmla="*/ 4947647 h 5973007"/>
              <a:gd name="connsiteX7169" fmla="*/ 2097722 w 6884782"/>
              <a:gd name="connsiteY7169" fmla="*/ 4947053 h 5973007"/>
              <a:gd name="connsiteX7170" fmla="*/ 2103298 w 6884782"/>
              <a:gd name="connsiteY7170" fmla="*/ 4951080 h 5973007"/>
              <a:gd name="connsiteX7171" fmla="*/ 2099891 w 6884782"/>
              <a:gd name="connsiteY7171" fmla="*/ 4953351 h 5973007"/>
              <a:gd name="connsiteX7172" fmla="*/ 2096483 w 6884782"/>
              <a:gd name="connsiteY7172" fmla="*/ 4952009 h 5973007"/>
              <a:gd name="connsiteX7173" fmla="*/ 2094469 w 6884782"/>
              <a:gd name="connsiteY7173" fmla="*/ 4948189 h 5973007"/>
              <a:gd name="connsiteX7174" fmla="*/ 2094934 w 6884782"/>
              <a:gd name="connsiteY7174" fmla="*/ 4948912 h 5973007"/>
              <a:gd name="connsiteX7175" fmla="*/ 2096328 w 6884782"/>
              <a:gd name="connsiteY7175" fmla="*/ 4947982 h 5973007"/>
              <a:gd name="connsiteX7176" fmla="*/ 2095864 w 6884782"/>
              <a:gd name="connsiteY7176" fmla="*/ 4947259 h 5973007"/>
              <a:gd name="connsiteX7177" fmla="*/ 2097722 w 6884782"/>
              <a:gd name="connsiteY7177" fmla="*/ 4947053 h 5973007"/>
              <a:gd name="connsiteX7178" fmla="*/ 1381017 w 6884782"/>
              <a:gd name="connsiteY7178" fmla="*/ 4945917 h 5973007"/>
              <a:gd name="connsiteX7179" fmla="*/ 1396816 w 6884782"/>
              <a:gd name="connsiteY7179" fmla="*/ 4950254 h 5973007"/>
              <a:gd name="connsiteX7180" fmla="*/ 1396196 w 6884782"/>
              <a:gd name="connsiteY7180" fmla="*/ 4952112 h 5973007"/>
              <a:gd name="connsiteX7181" fmla="*/ 1394028 w 6884782"/>
              <a:gd name="connsiteY7181" fmla="*/ 4952835 h 5973007"/>
              <a:gd name="connsiteX7182" fmla="*/ 1385973 w 6884782"/>
              <a:gd name="connsiteY7182" fmla="*/ 4950977 h 5973007"/>
              <a:gd name="connsiteX7183" fmla="*/ 1384114 w 6884782"/>
              <a:gd name="connsiteY7183" fmla="*/ 4950150 h 5973007"/>
              <a:gd name="connsiteX7184" fmla="*/ 1382256 w 6884782"/>
              <a:gd name="connsiteY7184" fmla="*/ 4949428 h 5973007"/>
              <a:gd name="connsiteX7185" fmla="*/ 1381017 w 6884782"/>
              <a:gd name="connsiteY7185" fmla="*/ 4945917 h 5973007"/>
              <a:gd name="connsiteX7186" fmla="*/ 2191434 w 6884782"/>
              <a:gd name="connsiteY7186" fmla="*/ 4945297 h 5973007"/>
              <a:gd name="connsiteX7187" fmla="*/ 2196855 w 6884782"/>
              <a:gd name="connsiteY7187" fmla="*/ 4947156 h 5973007"/>
              <a:gd name="connsiteX7188" fmla="*/ 2197320 w 6884782"/>
              <a:gd name="connsiteY7188" fmla="*/ 4946743 h 5973007"/>
              <a:gd name="connsiteX7189" fmla="*/ 2202896 w 6884782"/>
              <a:gd name="connsiteY7189" fmla="*/ 4953351 h 5973007"/>
              <a:gd name="connsiteX7190" fmla="*/ 2202431 w 6884782"/>
              <a:gd name="connsiteY7190" fmla="*/ 4955520 h 5973007"/>
              <a:gd name="connsiteX7191" fmla="*/ 2202587 w 6884782"/>
              <a:gd name="connsiteY7191" fmla="*/ 4955726 h 5973007"/>
              <a:gd name="connsiteX7192" fmla="*/ 2198869 w 6884782"/>
              <a:gd name="connsiteY7192" fmla="*/ 4958927 h 5973007"/>
              <a:gd name="connsiteX7193" fmla="*/ 2195306 w 6884782"/>
              <a:gd name="connsiteY7193" fmla="*/ 4958411 h 5973007"/>
              <a:gd name="connsiteX7194" fmla="*/ 2192208 w 6884782"/>
              <a:gd name="connsiteY7194" fmla="*/ 4956759 h 5973007"/>
              <a:gd name="connsiteX7195" fmla="*/ 2190659 w 6884782"/>
              <a:gd name="connsiteY7195" fmla="*/ 4953455 h 5973007"/>
              <a:gd name="connsiteX7196" fmla="*/ 2188026 w 6884782"/>
              <a:gd name="connsiteY7196" fmla="*/ 4948395 h 5973007"/>
              <a:gd name="connsiteX7197" fmla="*/ 2191434 w 6884782"/>
              <a:gd name="connsiteY7197" fmla="*/ 4945297 h 5973007"/>
              <a:gd name="connsiteX7198" fmla="*/ 6418680 w 6884782"/>
              <a:gd name="connsiteY7198" fmla="*/ 4945096 h 5973007"/>
              <a:gd name="connsiteX7199" fmla="*/ 6428458 w 6884782"/>
              <a:gd name="connsiteY7199" fmla="*/ 4950169 h 5973007"/>
              <a:gd name="connsiteX7200" fmla="*/ 6416841 w 6884782"/>
              <a:gd name="connsiteY7200" fmla="*/ 4964211 h 5973007"/>
              <a:gd name="connsiteX7201" fmla="*/ 6410025 w 6884782"/>
              <a:gd name="connsiteY7201" fmla="*/ 4956674 h 5973007"/>
              <a:gd name="connsiteX7202" fmla="*/ 6408321 w 6884782"/>
              <a:gd name="connsiteY7202" fmla="*/ 4949239 h 5973007"/>
              <a:gd name="connsiteX7203" fmla="*/ 6418680 w 6884782"/>
              <a:gd name="connsiteY7203" fmla="*/ 4945096 h 5973007"/>
              <a:gd name="connsiteX7204" fmla="*/ 1756640 w 6884782"/>
              <a:gd name="connsiteY7204" fmla="*/ 4944988 h 5973007"/>
              <a:gd name="connsiteX7205" fmla="*/ 1759273 w 6884782"/>
              <a:gd name="connsiteY7205" fmla="*/ 4945814 h 5973007"/>
              <a:gd name="connsiteX7206" fmla="*/ 1759583 w 6884782"/>
              <a:gd name="connsiteY7206" fmla="*/ 4945607 h 5973007"/>
              <a:gd name="connsiteX7207" fmla="*/ 1765934 w 6884782"/>
              <a:gd name="connsiteY7207" fmla="*/ 4950770 h 5973007"/>
              <a:gd name="connsiteX7208" fmla="*/ 1762216 w 6884782"/>
              <a:gd name="connsiteY7208" fmla="*/ 4955313 h 5973007"/>
              <a:gd name="connsiteX7209" fmla="*/ 1761597 w 6884782"/>
              <a:gd name="connsiteY7209" fmla="*/ 4954901 h 5973007"/>
              <a:gd name="connsiteX7210" fmla="*/ 1761287 w 6884782"/>
              <a:gd name="connsiteY7210" fmla="*/ 4955933 h 5973007"/>
              <a:gd name="connsiteX7211" fmla="*/ 1756331 w 6884782"/>
              <a:gd name="connsiteY7211" fmla="*/ 4960476 h 5973007"/>
              <a:gd name="connsiteX7212" fmla="*/ 1756640 w 6884782"/>
              <a:gd name="connsiteY7212" fmla="*/ 4944988 h 5973007"/>
              <a:gd name="connsiteX7213" fmla="*/ 1181510 w 6884782"/>
              <a:gd name="connsiteY7213" fmla="*/ 4944884 h 5973007"/>
              <a:gd name="connsiteX7214" fmla="*/ 1183214 w 6884782"/>
              <a:gd name="connsiteY7214" fmla="*/ 4947569 h 5973007"/>
              <a:gd name="connsiteX7215" fmla="*/ 1172991 w 6884782"/>
              <a:gd name="connsiteY7215" fmla="*/ 4961199 h 5973007"/>
              <a:gd name="connsiteX7216" fmla="*/ 1170667 w 6884782"/>
              <a:gd name="connsiteY7216" fmla="*/ 4959857 h 5973007"/>
              <a:gd name="connsiteX7217" fmla="*/ 1181510 w 6884782"/>
              <a:gd name="connsiteY7217" fmla="*/ 4944884 h 5973007"/>
              <a:gd name="connsiteX7218" fmla="*/ 1333773 w 6884782"/>
              <a:gd name="connsiteY7218" fmla="*/ 4944472 h 5973007"/>
              <a:gd name="connsiteX7219" fmla="*/ 1345391 w 6884782"/>
              <a:gd name="connsiteY7219" fmla="*/ 4950977 h 5973007"/>
              <a:gd name="connsiteX7220" fmla="*/ 1341828 w 6884782"/>
              <a:gd name="connsiteY7220" fmla="*/ 4957275 h 5973007"/>
              <a:gd name="connsiteX7221" fmla="*/ 1339660 w 6884782"/>
              <a:gd name="connsiteY7221" fmla="*/ 4957069 h 5973007"/>
              <a:gd name="connsiteX7222" fmla="*/ 1330521 w 6884782"/>
              <a:gd name="connsiteY7222" fmla="*/ 4952732 h 5973007"/>
              <a:gd name="connsiteX7223" fmla="*/ 1333773 w 6884782"/>
              <a:gd name="connsiteY7223" fmla="*/ 4944472 h 5973007"/>
              <a:gd name="connsiteX7224" fmla="*/ 1459472 w 6884782"/>
              <a:gd name="connsiteY7224" fmla="*/ 4943981 h 5973007"/>
              <a:gd name="connsiteX7225" fmla="*/ 1463266 w 6884782"/>
              <a:gd name="connsiteY7225" fmla="*/ 4946020 h 5973007"/>
              <a:gd name="connsiteX7226" fmla="*/ 1460943 w 6884782"/>
              <a:gd name="connsiteY7226" fmla="*/ 4951080 h 5973007"/>
              <a:gd name="connsiteX7227" fmla="*/ 1456606 w 6884782"/>
              <a:gd name="connsiteY7227" fmla="*/ 4945814 h 5973007"/>
              <a:gd name="connsiteX7228" fmla="*/ 1459472 w 6884782"/>
              <a:gd name="connsiteY7228" fmla="*/ 4943981 h 5973007"/>
              <a:gd name="connsiteX7229" fmla="*/ 6103175 w 6884782"/>
              <a:gd name="connsiteY7229" fmla="*/ 4943560 h 5973007"/>
              <a:gd name="connsiteX7230" fmla="*/ 6101781 w 6884782"/>
              <a:gd name="connsiteY7230" fmla="*/ 4948723 h 5973007"/>
              <a:gd name="connsiteX7231" fmla="*/ 6099148 w 6884782"/>
              <a:gd name="connsiteY7231" fmla="*/ 4950272 h 5973007"/>
              <a:gd name="connsiteX7232" fmla="*/ 6096670 w 6884782"/>
              <a:gd name="connsiteY7232" fmla="*/ 4948620 h 5973007"/>
              <a:gd name="connsiteX7233" fmla="*/ 6096205 w 6884782"/>
              <a:gd name="connsiteY7233" fmla="*/ 4945109 h 5973007"/>
              <a:gd name="connsiteX7234" fmla="*/ 6103175 w 6884782"/>
              <a:gd name="connsiteY7234" fmla="*/ 4943560 h 5973007"/>
              <a:gd name="connsiteX7235" fmla="*/ 1429189 w 6884782"/>
              <a:gd name="connsiteY7235" fmla="*/ 4943026 h 5973007"/>
              <a:gd name="connsiteX7236" fmla="*/ 1438638 w 6884782"/>
              <a:gd name="connsiteY7236" fmla="*/ 4947363 h 5973007"/>
              <a:gd name="connsiteX7237" fmla="*/ 1434301 w 6884782"/>
              <a:gd name="connsiteY7237" fmla="*/ 4951493 h 5973007"/>
              <a:gd name="connsiteX7238" fmla="*/ 1428725 w 6884782"/>
              <a:gd name="connsiteY7238" fmla="*/ 4949428 h 5973007"/>
              <a:gd name="connsiteX7239" fmla="*/ 1429189 w 6884782"/>
              <a:gd name="connsiteY7239" fmla="*/ 4943026 h 5973007"/>
              <a:gd name="connsiteX7240" fmla="*/ 1509116 w 6884782"/>
              <a:gd name="connsiteY7240" fmla="*/ 4941993 h 5973007"/>
              <a:gd name="connsiteX7241" fmla="*/ 1521198 w 6884782"/>
              <a:gd name="connsiteY7241" fmla="*/ 4946434 h 5973007"/>
              <a:gd name="connsiteX7242" fmla="*/ 1518874 w 6884782"/>
              <a:gd name="connsiteY7242" fmla="*/ 4946846 h 5973007"/>
              <a:gd name="connsiteX7243" fmla="*/ 1509116 w 6884782"/>
              <a:gd name="connsiteY7243" fmla="*/ 4941993 h 5973007"/>
              <a:gd name="connsiteX7244" fmla="*/ 1044272 w 6884782"/>
              <a:gd name="connsiteY7244" fmla="*/ 4941683 h 5973007"/>
              <a:gd name="connsiteX7245" fmla="*/ 1034823 w 6884782"/>
              <a:gd name="connsiteY7245" fmla="*/ 4960476 h 5973007"/>
              <a:gd name="connsiteX7246" fmla="*/ 1031106 w 6884782"/>
              <a:gd name="connsiteY7246" fmla="*/ 4961612 h 5973007"/>
              <a:gd name="connsiteX7247" fmla="*/ 1029557 w 6884782"/>
              <a:gd name="connsiteY7247" fmla="*/ 4961302 h 5973007"/>
              <a:gd name="connsiteX7248" fmla="*/ 1044272 w 6884782"/>
              <a:gd name="connsiteY7248" fmla="*/ 4941683 h 5973007"/>
              <a:gd name="connsiteX7249" fmla="*/ 1416894 w 6884782"/>
              <a:gd name="connsiteY7249" fmla="*/ 4941258 h 5973007"/>
              <a:gd name="connsiteX7250" fmla="*/ 1423768 w 6884782"/>
              <a:gd name="connsiteY7250" fmla="*/ 4948602 h 5973007"/>
              <a:gd name="connsiteX7251" fmla="*/ 1422064 w 6884782"/>
              <a:gd name="connsiteY7251" fmla="*/ 4952732 h 5973007"/>
              <a:gd name="connsiteX7252" fmla="*/ 1416953 w 6884782"/>
              <a:gd name="connsiteY7252" fmla="*/ 4953248 h 5973007"/>
              <a:gd name="connsiteX7253" fmla="*/ 1412770 w 6884782"/>
              <a:gd name="connsiteY7253" fmla="*/ 4953351 h 5973007"/>
              <a:gd name="connsiteX7254" fmla="*/ 1404096 w 6884782"/>
              <a:gd name="connsiteY7254" fmla="*/ 4945917 h 5973007"/>
              <a:gd name="connsiteX7255" fmla="*/ 1416894 w 6884782"/>
              <a:gd name="connsiteY7255" fmla="*/ 4941258 h 5973007"/>
              <a:gd name="connsiteX7256" fmla="*/ 1324789 w 6884782"/>
              <a:gd name="connsiteY7256" fmla="*/ 4940548 h 5973007"/>
              <a:gd name="connsiteX7257" fmla="*/ 1321846 w 6884782"/>
              <a:gd name="connsiteY7257" fmla="*/ 4967911 h 5973007"/>
              <a:gd name="connsiteX7258" fmla="*/ 1324789 w 6884782"/>
              <a:gd name="connsiteY7258" fmla="*/ 4940548 h 5973007"/>
              <a:gd name="connsiteX7259" fmla="*/ 1093684 w 6884782"/>
              <a:gd name="connsiteY7259" fmla="*/ 4940341 h 5973007"/>
              <a:gd name="connsiteX7260" fmla="*/ 1107780 w 6884782"/>
              <a:gd name="connsiteY7260" fmla="*/ 4949428 h 5973007"/>
              <a:gd name="connsiteX7261" fmla="*/ 1107315 w 6884782"/>
              <a:gd name="connsiteY7261" fmla="*/ 4968220 h 5973007"/>
              <a:gd name="connsiteX7262" fmla="*/ 1102203 w 6884782"/>
              <a:gd name="connsiteY7262" fmla="*/ 4969046 h 5973007"/>
              <a:gd name="connsiteX7263" fmla="*/ 1093684 w 6884782"/>
              <a:gd name="connsiteY7263" fmla="*/ 4959341 h 5973007"/>
              <a:gd name="connsiteX7264" fmla="*/ 1092135 w 6884782"/>
              <a:gd name="connsiteY7264" fmla="*/ 4953248 h 5973007"/>
              <a:gd name="connsiteX7265" fmla="*/ 1091516 w 6884782"/>
              <a:gd name="connsiteY7265" fmla="*/ 4942407 h 5973007"/>
              <a:gd name="connsiteX7266" fmla="*/ 1093684 w 6884782"/>
              <a:gd name="connsiteY7266" fmla="*/ 4940341 h 5973007"/>
              <a:gd name="connsiteX7267" fmla="*/ 2001531 w 6884782"/>
              <a:gd name="connsiteY7267" fmla="*/ 4940238 h 5973007"/>
              <a:gd name="connsiteX7268" fmla="*/ 2005713 w 6884782"/>
              <a:gd name="connsiteY7268" fmla="*/ 4944988 h 5973007"/>
              <a:gd name="connsiteX7269" fmla="*/ 2002770 w 6884782"/>
              <a:gd name="connsiteY7269" fmla="*/ 4946846 h 5973007"/>
              <a:gd name="connsiteX7270" fmla="*/ 2000292 w 6884782"/>
              <a:gd name="connsiteY7270" fmla="*/ 4945297 h 5973007"/>
              <a:gd name="connsiteX7271" fmla="*/ 2001531 w 6884782"/>
              <a:gd name="connsiteY7271" fmla="*/ 4940238 h 5973007"/>
              <a:gd name="connsiteX7272" fmla="*/ 2227370 w 6884782"/>
              <a:gd name="connsiteY7272" fmla="*/ 4939928 h 5973007"/>
              <a:gd name="connsiteX7273" fmla="*/ 2226285 w 6884782"/>
              <a:gd name="connsiteY7273" fmla="*/ 4944058 h 5973007"/>
              <a:gd name="connsiteX7274" fmla="*/ 2224737 w 6884782"/>
              <a:gd name="connsiteY7274" fmla="*/ 4940341 h 5973007"/>
              <a:gd name="connsiteX7275" fmla="*/ 2227370 w 6884782"/>
              <a:gd name="connsiteY7275" fmla="*/ 4939928 h 5973007"/>
              <a:gd name="connsiteX7276" fmla="*/ 1594309 w 6884782"/>
              <a:gd name="connsiteY7276" fmla="*/ 4939618 h 5973007"/>
              <a:gd name="connsiteX7277" fmla="*/ 1589817 w 6884782"/>
              <a:gd name="connsiteY7277" fmla="*/ 4943336 h 5973007"/>
              <a:gd name="connsiteX7278" fmla="*/ 1589197 w 6884782"/>
              <a:gd name="connsiteY7278" fmla="*/ 4946020 h 5973007"/>
              <a:gd name="connsiteX7279" fmla="*/ 1584550 w 6884782"/>
              <a:gd name="connsiteY7279" fmla="*/ 4947982 h 5973007"/>
              <a:gd name="connsiteX7280" fmla="*/ 1583776 w 6884782"/>
              <a:gd name="connsiteY7280" fmla="*/ 4943749 h 5973007"/>
              <a:gd name="connsiteX7281" fmla="*/ 1590437 w 6884782"/>
              <a:gd name="connsiteY7281" fmla="*/ 4941580 h 5973007"/>
              <a:gd name="connsiteX7282" fmla="*/ 1594309 w 6884782"/>
              <a:gd name="connsiteY7282" fmla="*/ 4939618 h 5973007"/>
              <a:gd name="connsiteX7283" fmla="*/ 1867081 w 6884782"/>
              <a:gd name="connsiteY7283" fmla="*/ 4938379 h 5973007"/>
              <a:gd name="connsiteX7284" fmla="*/ 1874516 w 6884782"/>
              <a:gd name="connsiteY7284" fmla="*/ 4938792 h 5973007"/>
              <a:gd name="connsiteX7285" fmla="*/ 1875446 w 6884782"/>
              <a:gd name="connsiteY7285" fmla="*/ 4941374 h 5973007"/>
              <a:gd name="connsiteX7286" fmla="*/ 1870489 w 6884782"/>
              <a:gd name="connsiteY7286" fmla="*/ 4944265 h 5973007"/>
              <a:gd name="connsiteX7287" fmla="*/ 1868011 w 6884782"/>
              <a:gd name="connsiteY7287" fmla="*/ 4942716 h 5973007"/>
              <a:gd name="connsiteX7288" fmla="*/ 1867081 w 6884782"/>
              <a:gd name="connsiteY7288" fmla="*/ 4938379 h 5973007"/>
              <a:gd name="connsiteX7289" fmla="*/ 2252638 w 6884782"/>
              <a:gd name="connsiteY7289" fmla="*/ 4937863 h 5973007"/>
              <a:gd name="connsiteX7290" fmla="*/ 2257110 w 6884782"/>
              <a:gd name="connsiteY7290" fmla="*/ 4941580 h 5973007"/>
              <a:gd name="connsiteX7291" fmla="*/ 2250604 w 6884782"/>
              <a:gd name="connsiteY7291" fmla="*/ 4950977 h 5973007"/>
              <a:gd name="connsiteX7292" fmla="*/ 2244718 w 6884782"/>
              <a:gd name="connsiteY7292" fmla="*/ 4946950 h 5973007"/>
              <a:gd name="connsiteX7293" fmla="*/ 2245957 w 6884782"/>
              <a:gd name="connsiteY7293" fmla="*/ 4938792 h 5973007"/>
              <a:gd name="connsiteX7294" fmla="*/ 2252638 w 6884782"/>
              <a:gd name="connsiteY7294" fmla="*/ 4937863 h 5973007"/>
              <a:gd name="connsiteX7295" fmla="*/ 1137674 w 6884782"/>
              <a:gd name="connsiteY7295" fmla="*/ 4937244 h 5973007"/>
              <a:gd name="connsiteX7296" fmla="*/ 1139688 w 6884782"/>
              <a:gd name="connsiteY7296" fmla="*/ 4945814 h 5973007"/>
              <a:gd name="connsiteX7297" fmla="*/ 1133802 w 6884782"/>
              <a:gd name="connsiteY7297" fmla="*/ 4940445 h 5973007"/>
              <a:gd name="connsiteX7298" fmla="*/ 1137674 w 6884782"/>
              <a:gd name="connsiteY7298" fmla="*/ 4937244 h 5973007"/>
              <a:gd name="connsiteX7299" fmla="*/ 1489754 w 6884782"/>
              <a:gd name="connsiteY7299" fmla="*/ 4937140 h 5973007"/>
              <a:gd name="connsiteX7300" fmla="*/ 1491922 w 6884782"/>
              <a:gd name="connsiteY7300" fmla="*/ 4940445 h 5973007"/>
              <a:gd name="connsiteX7301" fmla="*/ 1487276 w 6884782"/>
              <a:gd name="connsiteY7301" fmla="*/ 4942510 h 5973007"/>
              <a:gd name="connsiteX7302" fmla="*/ 1485107 w 6884782"/>
              <a:gd name="connsiteY7302" fmla="*/ 4939102 h 5973007"/>
              <a:gd name="connsiteX7303" fmla="*/ 1489754 w 6884782"/>
              <a:gd name="connsiteY7303" fmla="*/ 4937140 h 5973007"/>
              <a:gd name="connsiteX7304" fmla="*/ 2051873 w 6884782"/>
              <a:gd name="connsiteY7304" fmla="*/ 4937037 h 5973007"/>
              <a:gd name="connsiteX7305" fmla="*/ 2034369 w 6884782"/>
              <a:gd name="connsiteY7305" fmla="*/ 4946950 h 5973007"/>
              <a:gd name="connsiteX7306" fmla="*/ 2041805 w 6884782"/>
              <a:gd name="connsiteY7306" fmla="*/ 4939309 h 5973007"/>
              <a:gd name="connsiteX7307" fmla="*/ 2051873 w 6884782"/>
              <a:gd name="connsiteY7307" fmla="*/ 4937037 h 5973007"/>
              <a:gd name="connsiteX7308" fmla="*/ 1027543 w 6884782"/>
              <a:gd name="connsiteY7308" fmla="*/ 4937037 h 5973007"/>
              <a:gd name="connsiteX7309" fmla="*/ 1030641 w 6884782"/>
              <a:gd name="connsiteY7309" fmla="*/ 4938173 h 5973007"/>
              <a:gd name="connsiteX7310" fmla="*/ 1026769 w 6884782"/>
              <a:gd name="connsiteY7310" fmla="*/ 4941993 h 5973007"/>
              <a:gd name="connsiteX7311" fmla="*/ 1027543 w 6884782"/>
              <a:gd name="connsiteY7311" fmla="*/ 4937037 h 5973007"/>
              <a:gd name="connsiteX7312" fmla="*/ 1844001 w 6884782"/>
              <a:gd name="connsiteY7312" fmla="*/ 4936727 h 5973007"/>
              <a:gd name="connsiteX7313" fmla="*/ 1845705 w 6884782"/>
              <a:gd name="connsiteY7313" fmla="*/ 4937760 h 5973007"/>
              <a:gd name="connsiteX7314" fmla="*/ 1845396 w 6884782"/>
              <a:gd name="connsiteY7314" fmla="*/ 4940135 h 5973007"/>
              <a:gd name="connsiteX7315" fmla="*/ 1841368 w 6884782"/>
              <a:gd name="connsiteY7315" fmla="*/ 4942819 h 5973007"/>
              <a:gd name="connsiteX7316" fmla="*/ 1839664 w 6884782"/>
              <a:gd name="connsiteY7316" fmla="*/ 4941683 h 5973007"/>
              <a:gd name="connsiteX7317" fmla="*/ 1844001 w 6884782"/>
              <a:gd name="connsiteY7317" fmla="*/ 4936727 h 5973007"/>
              <a:gd name="connsiteX7318" fmla="*/ 863972 w 6884782"/>
              <a:gd name="connsiteY7318" fmla="*/ 4936727 h 5973007"/>
              <a:gd name="connsiteX7319" fmla="*/ 859325 w 6884782"/>
              <a:gd name="connsiteY7319" fmla="*/ 4946537 h 5973007"/>
              <a:gd name="connsiteX7320" fmla="*/ 863972 w 6884782"/>
              <a:gd name="connsiteY7320" fmla="*/ 4936727 h 5973007"/>
              <a:gd name="connsiteX7321" fmla="*/ 1250594 w 6884782"/>
              <a:gd name="connsiteY7321" fmla="*/ 4936417 h 5973007"/>
              <a:gd name="connsiteX7322" fmla="*/ 1250439 w 6884782"/>
              <a:gd name="connsiteY7322" fmla="*/ 4945504 h 5973007"/>
              <a:gd name="connsiteX7323" fmla="*/ 1247341 w 6884782"/>
              <a:gd name="connsiteY7323" fmla="*/ 4943852 h 5973007"/>
              <a:gd name="connsiteX7324" fmla="*/ 1250594 w 6884782"/>
              <a:gd name="connsiteY7324" fmla="*/ 4936417 h 5973007"/>
              <a:gd name="connsiteX7325" fmla="*/ 2179662 w 6884782"/>
              <a:gd name="connsiteY7325" fmla="*/ 4936314 h 5973007"/>
              <a:gd name="connsiteX7326" fmla="*/ 2179817 w 6884782"/>
              <a:gd name="connsiteY7326" fmla="*/ 4938070 h 5973007"/>
              <a:gd name="connsiteX7327" fmla="*/ 2179352 w 6884782"/>
              <a:gd name="connsiteY7327" fmla="*/ 4937863 h 5973007"/>
              <a:gd name="connsiteX7328" fmla="*/ 2179042 w 6884782"/>
              <a:gd name="connsiteY7328" fmla="*/ 4936727 h 5973007"/>
              <a:gd name="connsiteX7329" fmla="*/ 2179662 w 6884782"/>
              <a:gd name="connsiteY7329" fmla="*/ 4936314 h 5973007"/>
              <a:gd name="connsiteX7330" fmla="*/ 1686782 w 6884782"/>
              <a:gd name="connsiteY7330" fmla="*/ 4936314 h 5973007"/>
              <a:gd name="connsiteX7331" fmla="*/ 1703976 w 6884782"/>
              <a:gd name="connsiteY7331" fmla="*/ 4937863 h 5973007"/>
              <a:gd name="connsiteX7332" fmla="*/ 1717297 w 6884782"/>
              <a:gd name="connsiteY7332" fmla="*/ 4963264 h 5973007"/>
              <a:gd name="connsiteX7333" fmla="*/ 1715438 w 6884782"/>
              <a:gd name="connsiteY7333" fmla="*/ 4964916 h 5973007"/>
              <a:gd name="connsiteX7334" fmla="*/ 1709861 w 6884782"/>
              <a:gd name="connsiteY7334" fmla="*/ 4965536 h 5973007"/>
              <a:gd name="connsiteX7335" fmla="*/ 1686782 w 6884782"/>
              <a:gd name="connsiteY7335" fmla="*/ 4936314 h 5973007"/>
              <a:gd name="connsiteX7336" fmla="*/ 1404096 w 6884782"/>
              <a:gd name="connsiteY7336" fmla="*/ 4934456 h 5973007"/>
              <a:gd name="connsiteX7337" fmla="*/ 1405335 w 6884782"/>
              <a:gd name="connsiteY7337" fmla="*/ 4936108 h 5973007"/>
              <a:gd name="connsiteX7338" fmla="*/ 1404871 w 6884782"/>
              <a:gd name="connsiteY7338" fmla="*/ 4938379 h 5973007"/>
              <a:gd name="connsiteX7339" fmla="*/ 1399449 w 6884782"/>
              <a:gd name="connsiteY7339" fmla="*/ 4944368 h 5973007"/>
              <a:gd name="connsiteX7340" fmla="*/ 1398055 w 6884782"/>
              <a:gd name="connsiteY7340" fmla="*/ 4945504 h 5973007"/>
              <a:gd name="connsiteX7341" fmla="*/ 1396506 w 6884782"/>
              <a:gd name="connsiteY7341" fmla="*/ 4946537 h 5973007"/>
              <a:gd name="connsiteX7342" fmla="*/ 1394803 w 6884782"/>
              <a:gd name="connsiteY7342" fmla="*/ 4946846 h 5973007"/>
              <a:gd name="connsiteX7343" fmla="*/ 1393099 w 6884782"/>
              <a:gd name="connsiteY7343" fmla="*/ 4945504 h 5973007"/>
              <a:gd name="connsiteX7344" fmla="*/ 1404096 w 6884782"/>
              <a:gd name="connsiteY7344" fmla="*/ 4934456 h 5973007"/>
              <a:gd name="connsiteX7345" fmla="*/ 2161694 w 6884782"/>
              <a:gd name="connsiteY7345" fmla="*/ 4934249 h 5973007"/>
              <a:gd name="connsiteX7346" fmla="*/ 2161539 w 6884782"/>
              <a:gd name="connsiteY7346" fmla="*/ 4935488 h 5973007"/>
              <a:gd name="connsiteX7347" fmla="*/ 2155963 w 6884782"/>
              <a:gd name="connsiteY7347" fmla="*/ 4937863 h 5973007"/>
              <a:gd name="connsiteX7348" fmla="*/ 2154259 w 6884782"/>
              <a:gd name="connsiteY7348" fmla="*/ 4938379 h 5973007"/>
              <a:gd name="connsiteX7349" fmla="*/ 2157821 w 6884782"/>
              <a:gd name="connsiteY7349" fmla="*/ 4938999 h 5973007"/>
              <a:gd name="connsiteX7350" fmla="*/ 2163398 w 6884782"/>
              <a:gd name="connsiteY7350" fmla="*/ 4943439 h 5973007"/>
              <a:gd name="connsiteX7351" fmla="*/ 2162469 w 6884782"/>
              <a:gd name="connsiteY7351" fmla="*/ 4963574 h 5973007"/>
              <a:gd name="connsiteX7352" fmla="*/ 2142332 w 6884782"/>
              <a:gd name="connsiteY7352" fmla="*/ 4954074 h 5973007"/>
              <a:gd name="connsiteX7353" fmla="*/ 2141248 w 6884782"/>
              <a:gd name="connsiteY7353" fmla="*/ 4947363 h 5973007"/>
              <a:gd name="connsiteX7354" fmla="*/ 2145120 w 6884782"/>
              <a:gd name="connsiteY7354" fmla="*/ 4940445 h 5973007"/>
              <a:gd name="connsiteX7355" fmla="*/ 2147444 w 6884782"/>
              <a:gd name="connsiteY7355" fmla="*/ 4939412 h 5973007"/>
              <a:gd name="connsiteX7356" fmla="*/ 2147133 w 6884782"/>
              <a:gd name="connsiteY7356" fmla="*/ 4938276 h 5973007"/>
              <a:gd name="connsiteX7357" fmla="*/ 2147753 w 6884782"/>
              <a:gd name="connsiteY7357" fmla="*/ 4939309 h 5973007"/>
              <a:gd name="connsiteX7358" fmla="*/ 2150696 w 6884782"/>
              <a:gd name="connsiteY7358" fmla="*/ 4938070 h 5973007"/>
              <a:gd name="connsiteX7359" fmla="*/ 2151006 w 6884782"/>
              <a:gd name="connsiteY7359" fmla="*/ 4937244 h 5973007"/>
              <a:gd name="connsiteX7360" fmla="*/ 2154104 w 6884782"/>
              <a:gd name="connsiteY7360" fmla="*/ 4935798 h 5973007"/>
              <a:gd name="connsiteX7361" fmla="*/ 2161694 w 6884782"/>
              <a:gd name="connsiteY7361" fmla="*/ 4934249 h 5973007"/>
              <a:gd name="connsiteX7362" fmla="*/ 2201347 w 6884782"/>
              <a:gd name="connsiteY7362" fmla="*/ 4934043 h 5973007"/>
              <a:gd name="connsiteX7363" fmla="*/ 2213120 w 6884782"/>
              <a:gd name="connsiteY7363" fmla="*/ 4939618 h 5973007"/>
              <a:gd name="connsiteX7364" fmla="*/ 2210641 w 6884782"/>
              <a:gd name="connsiteY7364" fmla="*/ 4939825 h 5973007"/>
              <a:gd name="connsiteX7365" fmla="*/ 2201347 w 6884782"/>
              <a:gd name="connsiteY7365" fmla="*/ 4934043 h 5973007"/>
              <a:gd name="connsiteX7366" fmla="*/ 1799236 w 6884782"/>
              <a:gd name="connsiteY7366" fmla="*/ 4931565 h 5973007"/>
              <a:gd name="connsiteX7367" fmla="*/ 1800011 w 6884782"/>
              <a:gd name="connsiteY7367" fmla="*/ 4933630 h 5973007"/>
              <a:gd name="connsiteX7368" fmla="*/ 1800940 w 6884782"/>
              <a:gd name="connsiteY7368" fmla="*/ 4933113 h 5973007"/>
              <a:gd name="connsiteX7369" fmla="*/ 1806517 w 6884782"/>
              <a:gd name="connsiteY7369" fmla="*/ 4938792 h 5973007"/>
              <a:gd name="connsiteX7370" fmla="*/ 1805587 w 6884782"/>
              <a:gd name="connsiteY7370" fmla="*/ 4942303 h 5973007"/>
              <a:gd name="connsiteX7371" fmla="*/ 1810079 w 6884782"/>
              <a:gd name="connsiteY7371" fmla="*/ 4945711 h 5973007"/>
              <a:gd name="connsiteX7372" fmla="*/ 1814106 w 6884782"/>
              <a:gd name="connsiteY7372" fmla="*/ 4949635 h 5973007"/>
              <a:gd name="connsiteX7373" fmla="*/ 1816430 w 6884782"/>
              <a:gd name="connsiteY7373" fmla="*/ 4956966 h 5973007"/>
              <a:gd name="connsiteX7374" fmla="*/ 1794125 w 6884782"/>
              <a:gd name="connsiteY7374" fmla="*/ 4977410 h 5973007"/>
              <a:gd name="connsiteX7375" fmla="*/ 1780494 w 6884782"/>
              <a:gd name="connsiteY7375" fmla="*/ 4966775 h 5973007"/>
              <a:gd name="connsiteX7376" fmla="*/ 1780494 w 6884782"/>
              <a:gd name="connsiteY7376" fmla="*/ 4957482 h 5973007"/>
              <a:gd name="connsiteX7377" fmla="*/ 1799236 w 6884782"/>
              <a:gd name="connsiteY7377" fmla="*/ 4931565 h 5973007"/>
              <a:gd name="connsiteX7378" fmla="*/ 2148838 w 6884782"/>
              <a:gd name="connsiteY7378" fmla="*/ 4930842 h 5973007"/>
              <a:gd name="connsiteX7379" fmla="*/ 2148063 w 6884782"/>
              <a:gd name="connsiteY7379" fmla="*/ 4935488 h 5973007"/>
              <a:gd name="connsiteX7380" fmla="*/ 2148373 w 6884782"/>
              <a:gd name="connsiteY7380" fmla="*/ 4937450 h 5973007"/>
              <a:gd name="connsiteX7381" fmla="*/ 2146669 w 6884782"/>
              <a:gd name="connsiteY7381" fmla="*/ 4936417 h 5973007"/>
              <a:gd name="connsiteX7382" fmla="*/ 2147753 w 6884782"/>
              <a:gd name="connsiteY7382" fmla="*/ 4933630 h 5973007"/>
              <a:gd name="connsiteX7383" fmla="*/ 2146049 w 6884782"/>
              <a:gd name="connsiteY7383" fmla="*/ 4932597 h 5973007"/>
              <a:gd name="connsiteX7384" fmla="*/ 2146205 w 6884782"/>
              <a:gd name="connsiteY7384" fmla="*/ 4931358 h 5973007"/>
              <a:gd name="connsiteX7385" fmla="*/ 2148838 w 6884782"/>
              <a:gd name="connsiteY7385" fmla="*/ 4930842 h 5973007"/>
              <a:gd name="connsiteX7386" fmla="*/ 924382 w 6884782"/>
              <a:gd name="connsiteY7386" fmla="*/ 4930532 h 5973007"/>
              <a:gd name="connsiteX7387" fmla="*/ 928565 w 6884782"/>
              <a:gd name="connsiteY7387" fmla="*/ 4930532 h 5973007"/>
              <a:gd name="connsiteX7388" fmla="*/ 929959 w 6884782"/>
              <a:gd name="connsiteY7388" fmla="*/ 4932287 h 5973007"/>
              <a:gd name="connsiteX7389" fmla="*/ 929959 w 6884782"/>
              <a:gd name="connsiteY7389" fmla="*/ 4933216 h 5973007"/>
              <a:gd name="connsiteX7390" fmla="*/ 928100 w 6884782"/>
              <a:gd name="connsiteY7390" fmla="*/ 4933940 h 5973007"/>
              <a:gd name="connsiteX7391" fmla="*/ 919890 w 6884782"/>
              <a:gd name="connsiteY7391" fmla="*/ 4933010 h 5973007"/>
              <a:gd name="connsiteX7392" fmla="*/ 918186 w 6884782"/>
              <a:gd name="connsiteY7392" fmla="*/ 4933010 h 5973007"/>
              <a:gd name="connsiteX7393" fmla="*/ 916792 w 6884782"/>
              <a:gd name="connsiteY7393" fmla="*/ 4931255 h 5973007"/>
              <a:gd name="connsiteX7394" fmla="*/ 924382 w 6884782"/>
              <a:gd name="connsiteY7394" fmla="*/ 4930532 h 5973007"/>
              <a:gd name="connsiteX7395" fmla="*/ 1834088 w 6884782"/>
              <a:gd name="connsiteY7395" fmla="*/ 4930429 h 5973007"/>
              <a:gd name="connsiteX7396" fmla="*/ 1837496 w 6884782"/>
              <a:gd name="connsiteY7396" fmla="*/ 4931358 h 5973007"/>
              <a:gd name="connsiteX7397" fmla="*/ 1835327 w 6884782"/>
              <a:gd name="connsiteY7397" fmla="*/ 4933940 h 5973007"/>
              <a:gd name="connsiteX7398" fmla="*/ 1834088 w 6884782"/>
              <a:gd name="connsiteY7398" fmla="*/ 4932907 h 5973007"/>
              <a:gd name="connsiteX7399" fmla="*/ 1834088 w 6884782"/>
              <a:gd name="connsiteY7399" fmla="*/ 4930429 h 5973007"/>
              <a:gd name="connsiteX7400" fmla="*/ 1170164 w 6884782"/>
              <a:gd name="connsiteY7400" fmla="*/ 4930416 h 5973007"/>
              <a:gd name="connsiteX7401" fmla="*/ 1176088 w 6884782"/>
              <a:gd name="connsiteY7401" fmla="*/ 4932287 h 5973007"/>
              <a:gd name="connsiteX7402" fmla="*/ 1177328 w 6884782"/>
              <a:gd name="connsiteY7402" fmla="*/ 4937553 h 5973007"/>
              <a:gd name="connsiteX7403" fmla="*/ 1172216 w 6884782"/>
              <a:gd name="connsiteY7403" fmla="*/ 4938999 h 5973007"/>
              <a:gd name="connsiteX7404" fmla="*/ 1167260 w 6884782"/>
              <a:gd name="connsiteY7404" fmla="*/ 4937760 h 5973007"/>
              <a:gd name="connsiteX7405" fmla="*/ 1170164 w 6884782"/>
              <a:gd name="connsiteY7405" fmla="*/ 4930416 h 5973007"/>
              <a:gd name="connsiteX7406" fmla="*/ 1941741 w 6884782"/>
              <a:gd name="connsiteY7406" fmla="*/ 4929603 h 5973007"/>
              <a:gd name="connsiteX7407" fmla="*/ 1950415 w 6884782"/>
              <a:gd name="connsiteY7407" fmla="*/ 4944781 h 5973007"/>
              <a:gd name="connsiteX7408" fmla="*/ 1947163 w 6884782"/>
              <a:gd name="connsiteY7408" fmla="*/ 4945297 h 5973007"/>
              <a:gd name="connsiteX7409" fmla="*/ 1937559 w 6884782"/>
              <a:gd name="connsiteY7409" fmla="*/ 4939825 h 5973007"/>
              <a:gd name="connsiteX7410" fmla="*/ 1936784 w 6884782"/>
              <a:gd name="connsiteY7410" fmla="*/ 4938276 h 5973007"/>
              <a:gd name="connsiteX7411" fmla="*/ 1933532 w 6884782"/>
              <a:gd name="connsiteY7411" fmla="*/ 4939825 h 5973007"/>
              <a:gd name="connsiteX7412" fmla="*/ 1933996 w 6884782"/>
              <a:gd name="connsiteY7412" fmla="*/ 4938586 h 5973007"/>
              <a:gd name="connsiteX7413" fmla="*/ 1935701 w 6884782"/>
              <a:gd name="connsiteY7413" fmla="*/ 4937967 h 5973007"/>
              <a:gd name="connsiteX7414" fmla="*/ 1936630 w 6884782"/>
              <a:gd name="connsiteY7414" fmla="*/ 4937760 h 5973007"/>
              <a:gd name="connsiteX7415" fmla="*/ 1935701 w 6884782"/>
              <a:gd name="connsiteY7415" fmla="*/ 4936005 h 5973007"/>
              <a:gd name="connsiteX7416" fmla="*/ 1941741 w 6884782"/>
              <a:gd name="connsiteY7416" fmla="*/ 4929603 h 5973007"/>
              <a:gd name="connsiteX7417" fmla="*/ 1856393 w 6884782"/>
              <a:gd name="connsiteY7417" fmla="*/ 4929086 h 5973007"/>
              <a:gd name="connsiteX7418" fmla="*/ 1860731 w 6884782"/>
              <a:gd name="connsiteY7418" fmla="*/ 4932597 h 5973007"/>
              <a:gd name="connsiteX7419" fmla="*/ 1861040 w 6884782"/>
              <a:gd name="connsiteY7419" fmla="*/ 4936417 h 5973007"/>
              <a:gd name="connsiteX7420" fmla="*/ 1862434 w 6884782"/>
              <a:gd name="connsiteY7420" fmla="*/ 4935282 h 5973007"/>
              <a:gd name="connsiteX7421" fmla="*/ 1866461 w 6884782"/>
              <a:gd name="connsiteY7421" fmla="*/ 4938792 h 5973007"/>
              <a:gd name="connsiteX7422" fmla="*/ 1862899 w 6884782"/>
              <a:gd name="connsiteY7422" fmla="*/ 4939928 h 5973007"/>
              <a:gd name="connsiteX7423" fmla="*/ 1861195 w 6884782"/>
              <a:gd name="connsiteY7423" fmla="*/ 4938379 h 5973007"/>
              <a:gd name="connsiteX7424" fmla="*/ 1861350 w 6884782"/>
              <a:gd name="connsiteY7424" fmla="*/ 4939102 h 5973007"/>
              <a:gd name="connsiteX7425" fmla="*/ 1856393 w 6884782"/>
              <a:gd name="connsiteY7425" fmla="*/ 4940651 h 5973007"/>
              <a:gd name="connsiteX7426" fmla="*/ 1855154 w 6884782"/>
              <a:gd name="connsiteY7426" fmla="*/ 4942923 h 5973007"/>
              <a:gd name="connsiteX7427" fmla="*/ 1852676 w 6884782"/>
              <a:gd name="connsiteY7427" fmla="*/ 4933630 h 5973007"/>
              <a:gd name="connsiteX7428" fmla="*/ 1853296 w 6884782"/>
              <a:gd name="connsiteY7428" fmla="*/ 4932804 h 5973007"/>
              <a:gd name="connsiteX7429" fmla="*/ 1853296 w 6884782"/>
              <a:gd name="connsiteY7429" fmla="*/ 4930429 h 5973007"/>
              <a:gd name="connsiteX7430" fmla="*/ 1856393 w 6884782"/>
              <a:gd name="connsiteY7430" fmla="*/ 4929086 h 5973007"/>
              <a:gd name="connsiteX7431" fmla="*/ 1733096 w 6884782"/>
              <a:gd name="connsiteY7431" fmla="*/ 4929022 h 5973007"/>
              <a:gd name="connsiteX7432" fmla="*/ 1745642 w 6884782"/>
              <a:gd name="connsiteY7432" fmla="*/ 4931151 h 5973007"/>
              <a:gd name="connsiteX7433" fmla="*/ 1729068 w 6884782"/>
              <a:gd name="connsiteY7433" fmla="*/ 4940548 h 5973007"/>
              <a:gd name="connsiteX7434" fmla="*/ 1724267 w 6884782"/>
              <a:gd name="connsiteY7434" fmla="*/ 4937657 h 5973007"/>
              <a:gd name="connsiteX7435" fmla="*/ 1733096 w 6884782"/>
              <a:gd name="connsiteY7435" fmla="*/ 4929022 h 5973007"/>
              <a:gd name="connsiteX7436" fmla="*/ 2115535 w 6884782"/>
              <a:gd name="connsiteY7436" fmla="*/ 4928983 h 5973007"/>
              <a:gd name="connsiteX7437" fmla="*/ 2125293 w 6884782"/>
              <a:gd name="connsiteY7437" fmla="*/ 4932701 h 5973007"/>
              <a:gd name="connsiteX7438" fmla="*/ 2126223 w 6884782"/>
              <a:gd name="connsiteY7438" fmla="*/ 4935591 h 5973007"/>
              <a:gd name="connsiteX7439" fmla="*/ 2128856 w 6884782"/>
              <a:gd name="connsiteY7439" fmla="*/ 4935488 h 5973007"/>
              <a:gd name="connsiteX7440" fmla="*/ 2142952 w 6884782"/>
              <a:gd name="connsiteY7440" fmla="*/ 4929293 h 5973007"/>
              <a:gd name="connsiteX7441" fmla="*/ 2144810 w 6884782"/>
              <a:gd name="connsiteY7441" fmla="*/ 4929190 h 5973007"/>
              <a:gd name="connsiteX7442" fmla="*/ 2146205 w 6884782"/>
              <a:gd name="connsiteY7442" fmla="*/ 4931358 h 5973007"/>
              <a:gd name="connsiteX7443" fmla="*/ 2138924 w 6884782"/>
              <a:gd name="connsiteY7443" fmla="*/ 4935488 h 5973007"/>
              <a:gd name="connsiteX7444" fmla="*/ 2137530 w 6884782"/>
              <a:gd name="connsiteY7444" fmla="*/ 4936727 h 5973007"/>
              <a:gd name="connsiteX7445" fmla="*/ 2138150 w 6884782"/>
              <a:gd name="connsiteY7445" fmla="*/ 4940445 h 5973007"/>
              <a:gd name="connsiteX7446" fmla="*/ 2138305 w 6884782"/>
              <a:gd name="connsiteY7446" fmla="*/ 4946950 h 5973007"/>
              <a:gd name="connsiteX7447" fmla="*/ 2130095 w 6884782"/>
              <a:gd name="connsiteY7447" fmla="*/ 4956862 h 5973007"/>
              <a:gd name="connsiteX7448" fmla="*/ 2127307 w 6884782"/>
              <a:gd name="connsiteY7448" fmla="*/ 4956966 h 5973007"/>
              <a:gd name="connsiteX7449" fmla="*/ 2126532 w 6884782"/>
              <a:gd name="connsiteY7449" fmla="*/ 4959547 h 5973007"/>
              <a:gd name="connsiteX7450" fmla="*/ 2117394 w 6884782"/>
              <a:gd name="connsiteY7450" fmla="*/ 4963058 h 5973007"/>
              <a:gd name="connsiteX7451" fmla="*/ 2113986 w 6884782"/>
              <a:gd name="connsiteY7451" fmla="*/ 4963058 h 5973007"/>
              <a:gd name="connsiteX7452" fmla="*/ 2109339 w 6884782"/>
              <a:gd name="connsiteY7452" fmla="*/ 4956552 h 5973007"/>
              <a:gd name="connsiteX7453" fmla="*/ 2109339 w 6884782"/>
              <a:gd name="connsiteY7453" fmla="*/ 4953248 h 5973007"/>
              <a:gd name="connsiteX7454" fmla="*/ 2118013 w 6884782"/>
              <a:gd name="connsiteY7454" fmla="*/ 4953455 h 5973007"/>
              <a:gd name="connsiteX7455" fmla="*/ 2115690 w 6884782"/>
              <a:gd name="connsiteY7455" fmla="*/ 4953248 h 5973007"/>
              <a:gd name="connsiteX7456" fmla="*/ 2114760 w 6884782"/>
              <a:gd name="connsiteY7456" fmla="*/ 4951183 h 5973007"/>
              <a:gd name="connsiteX7457" fmla="*/ 2116619 w 6884782"/>
              <a:gd name="connsiteY7457" fmla="*/ 4946640 h 5973007"/>
              <a:gd name="connsiteX7458" fmla="*/ 2115380 w 6884782"/>
              <a:gd name="connsiteY7458" fmla="*/ 4943852 h 5973007"/>
              <a:gd name="connsiteX7459" fmla="*/ 2113986 w 6884782"/>
              <a:gd name="connsiteY7459" fmla="*/ 4942613 h 5973007"/>
              <a:gd name="connsiteX7460" fmla="*/ 2112282 w 6884782"/>
              <a:gd name="connsiteY7460" fmla="*/ 4943749 h 5973007"/>
              <a:gd name="connsiteX7461" fmla="*/ 2110268 w 6884782"/>
              <a:gd name="connsiteY7461" fmla="*/ 4943749 h 5973007"/>
              <a:gd name="connsiteX7462" fmla="*/ 2110733 w 6884782"/>
              <a:gd name="connsiteY7462" fmla="*/ 4944472 h 5973007"/>
              <a:gd name="connsiteX7463" fmla="*/ 2110113 w 6884782"/>
              <a:gd name="connsiteY7463" fmla="*/ 4943749 h 5973007"/>
              <a:gd name="connsiteX7464" fmla="*/ 2109959 w 6884782"/>
              <a:gd name="connsiteY7464" fmla="*/ 4945297 h 5973007"/>
              <a:gd name="connsiteX7465" fmla="*/ 2111043 w 6884782"/>
              <a:gd name="connsiteY7465" fmla="*/ 4946124 h 5973007"/>
              <a:gd name="connsiteX7466" fmla="*/ 2111663 w 6884782"/>
              <a:gd name="connsiteY7466" fmla="*/ 4948912 h 5973007"/>
              <a:gd name="connsiteX7467" fmla="*/ 2110733 w 6884782"/>
              <a:gd name="connsiteY7467" fmla="*/ 4949738 h 5973007"/>
              <a:gd name="connsiteX7468" fmla="*/ 2109184 w 6884782"/>
              <a:gd name="connsiteY7468" fmla="*/ 4949324 h 5973007"/>
              <a:gd name="connsiteX7469" fmla="*/ 2108100 w 6884782"/>
              <a:gd name="connsiteY7469" fmla="*/ 4948705 h 5973007"/>
              <a:gd name="connsiteX7470" fmla="*/ 2107790 w 6884782"/>
              <a:gd name="connsiteY7470" fmla="*/ 4949221 h 5973007"/>
              <a:gd name="connsiteX7471" fmla="*/ 2104692 w 6884782"/>
              <a:gd name="connsiteY7471" fmla="*/ 4950770 h 5973007"/>
              <a:gd name="connsiteX7472" fmla="*/ 2104382 w 6884782"/>
              <a:gd name="connsiteY7472" fmla="*/ 4941890 h 5973007"/>
              <a:gd name="connsiteX7473" fmla="*/ 2108409 w 6884782"/>
              <a:gd name="connsiteY7473" fmla="*/ 4937553 h 5973007"/>
              <a:gd name="connsiteX7474" fmla="*/ 2109029 w 6884782"/>
              <a:gd name="connsiteY7474" fmla="*/ 4935695 h 5973007"/>
              <a:gd name="connsiteX7475" fmla="*/ 2108409 w 6884782"/>
              <a:gd name="connsiteY7475" fmla="*/ 4932597 h 5973007"/>
              <a:gd name="connsiteX7476" fmla="*/ 2115535 w 6884782"/>
              <a:gd name="connsiteY7476" fmla="*/ 4928983 h 5973007"/>
              <a:gd name="connsiteX7477" fmla="*/ 1922070 w 6884782"/>
              <a:gd name="connsiteY7477" fmla="*/ 4928467 h 5973007"/>
              <a:gd name="connsiteX7478" fmla="*/ 1931363 w 6884782"/>
              <a:gd name="connsiteY7478" fmla="*/ 4930532 h 5973007"/>
              <a:gd name="connsiteX7479" fmla="*/ 1929349 w 6884782"/>
              <a:gd name="connsiteY7479" fmla="*/ 4952939 h 5973007"/>
              <a:gd name="connsiteX7480" fmla="*/ 1928265 w 6884782"/>
              <a:gd name="connsiteY7480" fmla="*/ 4964400 h 5973007"/>
              <a:gd name="connsiteX7481" fmla="*/ 1931673 w 6884782"/>
              <a:gd name="connsiteY7481" fmla="*/ 4964400 h 5973007"/>
              <a:gd name="connsiteX7482" fmla="*/ 1943135 w 6884782"/>
              <a:gd name="connsiteY7482" fmla="*/ 4968117 h 5973007"/>
              <a:gd name="connsiteX7483" fmla="*/ 1946079 w 6884782"/>
              <a:gd name="connsiteY7483" fmla="*/ 4970285 h 5973007"/>
              <a:gd name="connsiteX7484" fmla="*/ 1947627 w 6884782"/>
              <a:gd name="connsiteY7484" fmla="*/ 4969873 h 5973007"/>
              <a:gd name="connsiteX7485" fmla="*/ 1948866 w 6884782"/>
              <a:gd name="connsiteY7485" fmla="*/ 4969976 h 5973007"/>
              <a:gd name="connsiteX7486" fmla="*/ 1949176 w 6884782"/>
              <a:gd name="connsiteY7486" fmla="*/ 4969666 h 5973007"/>
              <a:gd name="connsiteX7487" fmla="*/ 1950260 w 6884782"/>
              <a:gd name="connsiteY7487" fmla="*/ 4969150 h 5973007"/>
              <a:gd name="connsiteX7488" fmla="*/ 1950105 w 6884782"/>
              <a:gd name="connsiteY7488" fmla="*/ 4969976 h 5973007"/>
              <a:gd name="connsiteX7489" fmla="*/ 1950105 w 6884782"/>
              <a:gd name="connsiteY7489" fmla="*/ 4970079 h 5973007"/>
              <a:gd name="connsiteX7490" fmla="*/ 1952584 w 6884782"/>
              <a:gd name="connsiteY7490" fmla="*/ 4970389 h 5973007"/>
              <a:gd name="connsiteX7491" fmla="*/ 1950105 w 6884782"/>
              <a:gd name="connsiteY7491" fmla="*/ 4976584 h 5973007"/>
              <a:gd name="connsiteX7492" fmla="*/ 1946543 w 6884782"/>
              <a:gd name="connsiteY7492" fmla="*/ 4982057 h 5973007"/>
              <a:gd name="connsiteX7493" fmla="*/ 1946079 w 6884782"/>
              <a:gd name="connsiteY7493" fmla="*/ 4977720 h 5973007"/>
              <a:gd name="connsiteX7494" fmla="*/ 1944374 w 6884782"/>
              <a:gd name="connsiteY7494" fmla="*/ 4978546 h 5973007"/>
              <a:gd name="connsiteX7495" fmla="*/ 1943755 w 6884782"/>
              <a:gd name="connsiteY7495" fmla="*/ 4975965 h 5973007"/>
              <a:gd name="connsiteX7496" fmla="*/ 1942361 w 6884782"/>
              <a:gd name="connsiteY7496" fmla="*/ 4976171 h 5973007"/>
              <a:gd name="connsiteX7497" fmla="*/ 1936939 w 6884782"/>
              <a:gd name="connsiteY7497" fmla="*/ 4975345 h 5973007"/>
              <a:gd name="connsiteX7498" fmla="*/ 1936939 w 6884782"/>
              <a:gd name="connsiteY7498" fmla="*/ 4976791 h 5973007"/>
              <a:gd name="connsiteX7499" fmla="*/ 1940812 w 6884782"/>
              <a:gd name="connsiteY7499" fmla="*/ 4978340 h 5973007"/>
              <a:gd name="connsiteX7500" fmla="*/ 1946543 w 6884782"/>
              <a:gd name="connsiteY7500" fmla="*/ 4982057 h 5973007"/>
              <a:gd name="connsiteX7501" fmla="*/ 1947627 w 6884782"/>
              <a:gd name="connsiteY7501" fmla="*/ 4982780 h 5973007"/>
              <a:gd name="connsiteX7502" fmla="*/ 1955682 w 6884782"/>
              <a:gd name="connsiteY7502" fmla="*/ 4987013 h 5973007"/>
              <a:gd name="connsiteX7503" fmla="*/ 1961723 w 6884782"/>
              <a:gd name="connsiteY7503" fmla="*/ 5005806 h 5973007"/>
              <a:gd name="connsiteX7504" fmla="*/ 1952893 w 6884782"/>
              <a:gd name="connsiteY7504" fmla="*/ 5031413 h 5973007"/>
              <a:gd name="connsiteX7505" fmla="*/ 1925942 w 6884782"/>
              <a:gd name="connsiteY7505" fmla="*/ 5047108 h 5973007"/>
              <a:gd name="connsiteX7506" fmla="*/ 1918043 w 6884782"/>
              <a:gd name="connsiteY7506" fmla="*/ 5043701 h 5973007"/>
              <a:gd name="connsiteX7507" fmla="*/ 1911381 w 6884782"/>
              <a:gd name="connsiteY7507" fmla="*/ 5042255 h 5973007"/>
              <a:gd name="connsiteX7508" fmla="*/ 1912466 w 6884782"/>
              <a:gd name="connsiteY7508" fmla="*/ 5046076 h 5973007"/>
              <a:gd name="connsiteX7509" fmla="*/ 1913705 w 6884782"/>
              <a:gd name="connsiteY7509" fmla="*/ 5052581 h 5973007"/>
              <a:gd name="connsiteX7510" fmla="*/ 1903791 w 6884782"/>
              <a:gd name="connsiteY7510" fmla="*/ 5062390 h 5973007"/>
              <a:gd name="connsiteX7511" fmla="*/ 1902862 w 6884782"/>
              <a:gd name="connsiteY7511" fmla="*/ 5061771 h 5973007"/>
              <a:gd name="connsiteX7512" fmla="*/ 1901158 w 6884782"/>
              <a:gd name="connsiteY7512" fmla="*/ 5060945 h 5973007"/>
              <a:gd name="connsiteX7513" fmla="*/ 1898525 w 6884782"/>
              <a:gd name="connsiteY7513" fmla="*/ 5062080 h 5973007"/>
              <a:gd name="connsiteX7514" fmla="*/ 1896046 w 6884782"/>
              <a:gd name="connsiteY7514" fmla="*/ 5060738 h 5973007"/>
              <a:gd name="connsiteX7515" fmla="*/ 1894653 w 6884782"/>
              <a:gd name="connsiteY7515" fmla="*/ 5056401 h 5973007"/>
              <a:gd name="connsiteX7516" fmla="*/ 1895272 w 6884782"/>
              <a:gd name="connsiteY7516" fmla="*/ 5055678 h 5973007"/>
              <a:gd name="connsiteX7517" fmla="*/ 1893878 w 6884782"/>
              <a:gd name="connsiteY7517" fmla="*/ 5050516 h 5973007"/>
              <a:gd name="connsiteX7518" fmla="*/ 1894343 w 6884782"/>
              <a:gd name="connsiteY7518" fmla="*/ 5047315 h 5973007"/>
              <a:gd name="connsiteX7519" fmla="*/ 1893103 w 6884782"/>
              <a:gd name="connsiteY7519" fmla="*/ 5052271 h 5973007"/>
              <a:gd name="connsiteX7520" fmla="*/ 1892329 w 6884782"/>
              <a:gd name="connsiteY7520" fmla="*/ 5054026 h 5973007"/>
              <a:gd name="connsiteX7521" fmla="*/ 1893258 w 6884782"/>
              <a:gd name="connsiteY7521" fmla="*/ 5054026 h 5973007"/>
              <a:gd name="connsiteX7522" fmla="*/ 1892329 w 6884782"/>
              <a:gd name="connsiteY7522" fmla="*/ 5054956 h 5973007"/>
              <a:gd name="connsiteX7523" fmla="*/ 1892174 w 6884782"/>
              <a:gd name="connsiteY7523" fmla="*/ 5055162 h 5973007"/>
              <a:gd name="connsiteX7524" fmla="*/ 1892174 w 6884782"/>
              <a:gd name="connsiteY7524" fmla="*/ 5055988 h 5973007"/>
              <a:gd name="connsiteX7525" fmla="*/ 1889696 w 6884782"/>
              <a:gd name="connsiteY7525" fmla="*/ 5058879 h 5973007"/>
              <a:gd name="connsiteX7526" fmla="*/ 1888921 w 6884782"/>
              <a:gd name="connsiteY7526" fmla="*/ 5058776 h 5973007"/>
              <a:gd name="connsiteX7527" fmla="*/ 1889076 w 6884782"/>
              <a:gd name="connsiteY7527" fmla="*/ 5063629 h 5973007"/>
              <a:gd name="connsiteX7528" fmla="*/ 1888767 w 6884782"/>
              <a:gd name="connsiteY7528" fmla="*/ 5064972 h 5973007"/>
              <a:gd name="connsiteX7529" fmla="*/ 1889231 w 6884782"/>
              <a:gd name="connsiteY7529" fmla="*/ 5065384 h 5973007"/>
              <a:gd name="connsiteX7530" fmla="*/ 1888612 w 6884782"/>
              <a:gd name="connsiteY7530" fmla="*/ 5066107 h 5973007"/>
              <a:gd name="connsiteX7531" fmla="*/ 1887837 w 6884782"/>
              <a:gd name="connsiteY7531" fmla="*/ 5070444 h 5973007"/>
              <a:gd name="connsiteX7532" fmla="*/ 1884120 w 6884782"/>
              <a:gd name="connsiteY7532" fmla="*/ 5073748 h 5973007"/>
              <a:gd name="connsiteX7533" fmla="*/ 1883346 w 6884782"/>
              <a:gd name="connsiteY7533" fmla="*/ 5067966 h 5973007"/>
              <a:gd name="connsiteX7534" fmla="*/ 1883035 w 6884782"/>
              <a:gd name="connsiteY7534" fmla="*/ 5067553 h 5973007"/>
              <a:gd name="connsiteX7535" fmla="*/ 1883191 w 6884782"/>
              <a:gd name="connsiteY7535" fmla="*/ 5067243 h 5973007"/>
              <a:gd name="connsiteX7536" fmla="*/ 1882571 w 6884782"/>
              <a:gd name="connsiteY7536" fmla="*/ 5060325 h 5973007"/>
              <a:gd name="connsiteX7537" fmla="*/ 1883655 w 6884782"/>
              <a:gd name="connsiteY7537" fmla="*/ 5053820 h 5973007"/>
              <a:gd name="connsiteX7538" fmla="*/ 1882726 w 6884782"/>
              <a:gd name="connsiteY7538" fmla="*/ 5053613 h 5973007"/>
              <a:gd name="connsiteX7539" fmla="*/ 1870489 w 6884782"/>
              <a:gd name="connsiteY7539" fmla="*/ 5052994 h 5973007"/>
              <a:gd name="connsiteX7540" fmla="*/ 1872193 w 6884782"/>
              <a:gd name="connsiteY7540" fmla="*/ 5044320 h 5973007"/>
              <a:gd name="connsiteX7541" fmla="*/ 1884120 w 6884782"/>
              <a:gd name="connsiteY7541" fmla="*/ 5038538 h 5973007"/>
              <a:gd name="connsiteX7542" fmla="*/ 1884275 w 6884782"/>
              <a:gd name="connsiteY7542" fmla="*/ 5038641 h 5973007"/>
              <a:gd name="connsiteX7543" fmla="*/ 1889231 w 6884782"/>
              <a:gd name="connsiteY7543" fmla="*/ 5038641 h 5973007"/>
              <a:gd name="connsiteX7544" fmla="*/ 1890006 w 6884782"/>
              <a:gd name="connsiteY7544" fmla="*/ 5040293 h 5973007"/>
              <a:gd name="connsiteX7545" fmla="*/ 1892949 w 6884782"/>
              <a:gd name="connsiteY7545" fmla="*/ 5039467 h 5973007"/>
              <a:gd name="connsiteX7546" fmla="*/ 1894807 w 6884782"/>
              <a:gd name="connsiteY7546" fmla="*/ 5045869 h 5973007"/>
              <a:gd name="connsiteX7547" fmla="*/ 1905031 w 6884782"/>
              <a:gd name="connsiteY7547" fmla="*/ 5041016 h 5973007"/>
              <a:gd name="connsiteX7548" fmla="*/ 1907354 w 6884782"/>
              <a:gd name="connsiteY7548" fmla="*/ 5041636 h 5973007"/>
              <a:gd name="connsiteX7549" fmla="*/ 1908593 w 6884782"/>
              <a:gd name="connsiteY7549" fmla="*/ 5041636 h 5973007"/>
              <a:gd name="connsiteX7550" fmla="*/ 1900384 w 6884782"/>
              <a:gd name="connsiteY7550" fmla="*/ 5038744 h 5973007"/>
              <a:gd name="connsiteX7551" fmla="*/ 1894498 w 6884782"/>
              <a:gd name="connsiteY7551" fmla="*/ 5032343 h 5973007"/>
              <a:gd name="connsiteX7552" fmla="*/ 1894033 w 6884782"/>
              <a:gd name="connsiteY7552" fmla="*/ 5020158 h 5973007"/>
              <a:gd name="connsiteX7553" fmla="*/ 1893878 w 6884782"/>
              <a:gd name="connsiteY7553" fmla="*/ 5019745 h 5973007"/>
              <a:gd name="connsiteX7554" fmla="*/ 1893723 w 6884782"/>
              <a:gd name="connsiteY7554" fmla="*/ 5020055 h 5973007"/>
              <a:gd name="connsiteX7555" fmla="*/ 1893258 w 6884782"/>
              <a:gd name="connsiteY7555" fmla="*/ 5019436 h 5973007"/>
              <a:gd name="connsiteX7556" fmla="*/ 1892484 w 6884782"/>
              <a:gd name="connsiteY7556" fmla="*/ 5018610 h 5973007"/>
              <a:gd name="connsiteX7557" fmla="*/ 1892329 w 6884782"/>
              <a:gd name="connsiteY7557" fmla="*/ 5018300 h 5973007"/>
              <a:gd name="connsiteX7558" fmla="*/ 1892949 w 6884782"/>
              <a:gd name="connsiteY7558" fmla="*/ 5017267 h 5973007"/>
              <a:gd name="connsiteX7559" fmla="*/ 1892329 w 6884782"/>
              <a:gd name="connsiteY7559" fmla="*/ 5015821 h 5973007"/>
              <a:gd name="connsiteX7560" fmla="*/ 1890935 w 6884782"/>
              <a:gd name="connsiteY7560" fmla="*/ 5011175 h 5973007"/>
              <a:gd name="connsiteX7561" fmla="*/ 1896046 w 6884782"/>
              <a:gd name="connsiteY7561" fmla="*/ 4999817 h 5973007"/>
              <a:gd name="connsiteX7562" fmla="*/ 1898215 w 6884782"/>
              <a:gd name="connsiteY7562" fmla="*/ 4996513 h 5973007"/>
              <a:gd name="connsiteX7563" fmla="*/ 1899765 w 6884782"/>
              <a:gd name="connsiteY7563" fmla="*/ 4993518 h 5973007"/>
              <a:gd name="connsiteX7564" fmla="*/ 1899919 w 6884782"/>
              <a:gd name="connsiteY7564" fmla="*/ 4993209 h 5973007"/>
              <a:gd name="connsiteX7565" fmla="*/ 1901003 w 6884782"/>
              <a:gd name="connsiteY7565" fmla="*/ 4986084 h 5973007"/>
              <a:gd name="connsiteX7566" fmla="*/ 1905185 w 6884782"/>
              <a:gd name="connsiteY7566" fmla="*/ 4980198 h 5973007"/>
              <a:gd name="connsiteX7567" fmla="*/ 1912311 w 6884782"/>
              <a:gd name="connsiteY7567" fmla="*/ 4978133 h 5973007"/>
              <a:gd name="connsiteX7568" fmla="*/ 1914789 w 6884782"/>
              <a:gd name="connsiteY7568" fmla="*/ 4979372 h 5973007"/>
              <a:gd name="connsiteX7569" fmla="*/ 1924547 w 6884782"/>
              <a:gd name="connsiteY7569" fmla="*/ 4975345 h 5973007"/>
              <a:gd name="connsiteX7570" fmla="*/ 1924858 w 6884782"/>
              <a:gd name="connsiteY7570" fmla="*/ 4975345 h 5973007"/>
              <a:gd name="connsiteX7571" fmla="*/ 1926096 w 6884782"/>
              <a:gd name="connsiteY7571" fmla="*/ 4974313 h 5973007"/>
              <a:gd name="connsiteX7572" fmla="*/ 1925477 w 6884782"/>
              <a:gd name="connsiteY7572" fmla="*/ 4972661 h 5973007"/>
              <a:gd name="connsiteX7573" fmla="*/ 1917887 w 6884782"/>
              <a:gd name="connsiteY7573" fmla="*/ 4964710 h 5973007"/>
              <a:gd name="connsiteX7574" fmla="*/ 1923308 w 6884782"/>
              <a:gd name="connsiteY7574" fmla="*/ 4964607 h 5973007"/>
              <a:gd name="connsiteX7575" fmla="*/ 1922844 w 6884782"/>
              <a:gd name="connsiteY7575" fmla="*/ 4963367 h 5973007"/>
              <a:gd name="connsiteX7576" fmla="*/ 1921449 w 6884782"/>
              <a:gd name="connsiteY7576" fmla="*/ 4955107 h 5973007"/>
              <a:gd name="connsiteX7577" fmla="*/ 1921449 w 6884782"/>
              <a:gd name="connsiteY7577" fmla="*/ 4950254 h 5973007"/>
              <a:gd name="connsiteX7578" fmla="*/ 1919746 w 6884782"/>
              <a:gd name="connsiteY7578" fmla="*/ 4951700 h 5973007"/>
              <a:gd name="connsiteX7579" fmla="*/ 1912775 w 6884782"/>
              <a:gd name="connsiteY7579" fmla="*/ 4953248 h 5973007"/>
              <a:gd name="connsiteX7580" fmla="*/ 1912466 w 6884782"/>
              <a:gd name="connsiteY7580" fmla="*/ 4945297 h 5973007"/>
              <a:gd name="connsiteX7581" fmla="*/ 1916338 w 6884782"/>
              <a:gd name="connsiteY7581" fmla="*/ 4942407 h 5973007"/>
              <a:gd name="connsiteX7582" fmla="*/ 1919746 w 6884782"/>
              <a:gd name="connsiteY7582" fmla="*/ 4942716 h 5973007"/>
              <a:gd name="connsiteX7583" fmla="*/ 1921604 w 6884782"/>
              <a:gd name="connsiteY7583" fmla="*/ 4942716 h 5973007"/>
              <a:gd name="connsiteX7584" fmla="*/ 824009 w 6884782"/>
              <a:gd name="connsiteY7584" fmla="*/ 4927950 h 5973007"/>
              <a:gd name="connsiteX7585" fmla="*/ 828191 w 6884782"/>
              <a:gd name="connsiteY7585" fmla="*/ 4927950 h 5973007"/>
              <a:gd name="connsiteX7586" fmla="*/ 841048 w 6884782"/>
              <a:gd name="connsiteY7586" fmla="*/ 4931668 h 5973007"/>
              <a:gd name="connsiteX7587" fmla="*/ 835162 w 6884782"/>
              <a:gd name="connsiteY7587" fmla="*/ 4932597 h 5973007"/>
              <a:gd name="connsiteX7588" fmla="*/ 821996 w 6884782"/>
              <a:gd name="connsiteY7588" fmla="*/ 4932287 h 5973007"/>
              <a:gd name="connsiteX7589" fmla="*/ 820446 w 6884782"/>
              <a:gd name="connsiteY7589" fmla="*/ 4930532 h 5973007"/>
              <a:gd name="connsiteX7590" fmla="*/ 819672 w 6884782"/>
              <a:gd name="connsiteY7590" fmla="*/ 4930532 h 5973007"/>
              <a:gd name="connsiteX7591" fmla="*/ 819053 w 6884782"/>
              <a:gd name="connsiteY7591" fmla="*/ 4929603 h 5973007"/>
              <a:gd name="connsiteX7592" fmla="*/ 819053 w 6884782"/>
              <a:gd name="connsiteY7592" fmla="*/ 4928777 h 5973007"/>
              <a:gd name="connsiteX7593" fmla="*/ 824009 w 6884782"/>
              <a:gd name="connsiteY7593" fmla="*/ 4927950 h 5973007"/>
              <a:gd name="connsiteX7594" fmla="*/ 2214978 w 6884782"/>
              <a:gd name="connsiteY7594" fmla="*/ 4927538 h 5973007"/>
              <a:gd name="connsiteX7595" fmla="*/ 2219935 w 6884782"/>
              <a:gd name="connsiteY7595" fmla="*/ 4935385 h 5973007"/>
              <a:gd name="connsiteX7596" fmla="*/ 2215443 w 6884782"/>
              <a:gd name="connsiteY7596" fmla="*/ 4935488 h 5973007"/>
              <a:gd name="connsiteX7597" fmla="*/ 2206923 w 6884782"/>
              <a:gd name="connsiteY7597" fmla="*/ 4927950 h 5973007"/>
              <a:gd name="connsiteX7598" fmla="*/ 2214978 w 6884782"/>
              <a:gd name="connsiteY7598" fmla="*/ 4927538 h 5973007"/>
              <a:gd name="connsiteX7599" fmla="*/ 2182295 w 6884782"/>
              <a:gd name="connsiteY7599" fmla="*/ 4927228 h 5973007"/>
              <a:gd name="connsiteX7600" fmla="*/ 2184154 w 6884782"/>
              <a:gd name="connsiteY7600" fmla="*/ 4930739 h 5973007"/>
              <a:gd name="connsiteX7601" fmla="*/ 2179197 w 6884782"/>
              <a:gd name="connsiteY7601" fmla="*/ 4932184 h 5973007"/>
              <a:gd name="connsiteX7602" fmla="*/ 2177494 w 6884782"/>
              <a:gd name="connsiteY7602" fmla="*/ 4928673 h 5973007"/>
              <a:gd name="connsiteX7603" fmla="*/ 2182295 w 6884782"/>
              <a:gd name="connsiteY7603" fmla="*/ 4927228 h 5973007"/>
              <a:gd name="connsiteX7604" fmla="*/ 1566582 w 6884782"/>
              <a:gd name="connsiteY7604" fmla="*/ 4926918 h 5973007"/>
              <a:gd name="connsiteX7605" fmla="*/ 1567821 w 6884782"/>
              <a:gd name="connsiteY7605" fmla="*/ 4935798 h 5973007"/>
              <a:gd name="connsiteX7606" fmla="*/ 1566582 w 6884782"/>
              <a:gd name="connsiteY7606" fmla="*/ 4926918 h 5973007"/>
              <a:gd name="connsiteX7607" fmla="*/ 1005393 w 6884782"/>
              <a:gd name="connsiteY7607" fmla="*/ 4926918 h 5973007"/>
              <a:gd name="connsiteX7608" fmla="*/ 1002450 w 6884782"/>
              <a:gd name="connsiteY7608" fmla="*/ 4933423 h 5973007"/>
              <a:gd name="connsiteX7609" fmla="*/ 999817 w 6884782"/>
              <a:gd name="connsiteY7609" fmla="*/ 4933320 h 5973007"/>
              <a:gd name="connsiteX7610" fmla="*/ 1005393 w 6884782"/>
              <a:gd name="connsiteY7610" fmla="*/ 4926918 h 5973007"/>
              <a:gd name="connsiteX7611" fmla="*/ 1848648 w 6884782"/>
              <a:gd name="connsiteY7611" fmla="*/ 4926505 h 5973007"/>
              <a:gd name="connsiteX7612" fmla="*/ 1849733 w 6884782"/>
              <a:gd name="connsiteY7612" fmla="*/ 4928157 h 5973007"/>
              <a:gd name="connsiteX7613" fmla="*/ 1851281 w 6884782"/>
              <a:gd name="connsiteY7613" fmla="*/ 4932494 h 5973007"/>
              <a:gd name="connsiteX7614" fmla="*/ 1848803 w 6884782"/>
              <a:gd name="connsiteY7614" fmla="*/ 4934249 h 5973007"/>
              <a:gd name="connsiteX7615" fmla="*/ 1845241 w 6884782"/>
              <a:gd name="connsiteY7615" fmla="*/ 4932907 h 5973007"/>
              <a:gd name="connsiteX7616" fmla="*/ 1841058 w 6884782"/>
              <a:gd name="connsiteY7616" fmla="*/ 4926918 h 5973007"/>
              <a:gd name="connsiteX7617" fmla="*/ 1848648 w 6884782"/>
              <a:gd name="connsiteY7617" fmla="*/ 4926505 h 5973007"/>
              <a:gd name="connsiteX7618" fmla="*/ 1537462 w 6884782"/>
              <a:gd name="connsiteY7618" fmla="*/ 4925885 h 5973007"/>
              <a:gd name="connsiteX7619" fmla="*/ 1541799 w 6884782"/>
              <a:gd name="connsiteY7619" fmla="*/ 4928673 h 5973007"/>
              <a:gd name="connsiteX7620" fmla="*/ 1542418 w 6884782"/>
              <a:gd name="connsiteY7620" fmla="*/ 4931048 h 5973007"/>
              <a:gd name="connsiteX7621" fmla="*/ 1547220 w 6884782"/>
              <a:gd name="connsiteY7621" fmla="*/ 4932907 h 5973007"/>
              <a:gd name="connsiteX7622" fmla="*/ 1549543 w 6884782"/>
              <a:gd name="connsiteY7622" fmla="*/ 4937967 h 5973007"/>
              <a:gd name="connsiteX7623" fmla="*/ 1547220 w 6884782"/>
              <a:gd name="connsiteY7623" fmla="*/ 4938999 h 5973007"/>
              <a:gd name="connsiteX7624" fmla="*/ 1542418 w 6884782"/>
              <a:gd name="connsiteY7624" fmla="*/ 4936831 h 5973007"/>
              <a:gd name="connsiteX7625" fmla="*/ 1541489 w 6884782"/>
              <a:gd name="connsiteY7625" fmla="*/ 4938999 h 5973007"/>
              <a:gd name="connsiteX7626" fmla="*/ 1538391 w 6884782"/>
              <a:gd name="connsiteY7626" fmla="*/ 4941168 h 5973007"/>
              <a:gd name="connsiteX7627" fmla="*/ 1537152 w 6884782"/>
              <a:gd name="connsiteY7627" fmla="*/ 4941168 h 5973007"/>
              <a:gd name="connsiteX7628" fmla="*/ 1537462 w 6884782"/>
              <a:gd name="connsiteY7628" fmla="*/ 4942200 h 5973007"/>
              <a:gd name="connsiteX7629" fmla="*/ 1534828 w 6884782"/>
              <a:gd name="connsiteY7629" fmla="*/ 4943542 h 5973007"/>
              <a:gd name="connsiteX7630" fmla="*/ 1533899 w 6884782"/>
              <a:gd name="connsiteY7630" fmla="*/ 4945091 h 5973007"/>
              <a:gd name="connsiteX7631" fmla="*/ 1531111 w 6884782"/>
              <a:gd name="connsiteY7631" fmla="*/ 4945504 h 5973007"/>
              <a:gd name="connsiteX7632" fmla="*/ 1529717 w 6884782"/>
              <a:gd name="connsiteY7632" fmla="*/ 4943336 h 5973007"/>
              <a:gd name="connsiteX7633" fmla="*/ 1529717 w 6884782"/>
              <a:gd name="connsiteY7633" fmla="*/ 4942923 h 5973007"/>
              <a:gd name="connsiteX7634" fmla="*/ 1528168 w 6884782"/>
              <a:gd name="connsiteY7634" fmla="*/ 4943542 h 5973007"/>
              <a:gd name="connsiteX7635" fmla="*/ 1527239 w 6884782"/>
              <a:gd name="connsiteY7635" fmla="*/ 4941787 h 5973007"/>
              <a:gd name="connsiteX7636" fmla="*/ 1528943 w 6884782"/>
              <a:gd name="connsiteY7636" fmla="*/ 4940445 h 5973007"/>
              <a:gd name="connsiteX7637" fmla="*/ 1528788 w 6884782"/>
              <a:gd name="connsiteY7637" fmla="*/ 4939722 h 5973007"/>
              <a:gd name="connsiteX7638" fmla="*/ 1528943 w 6884782"/>
              <a:gd name="connsiteY7638" fmla="*/ 4936934 h 5973007"/>
              <a:gd name="connsiteX7639" fmla="*/ 1528633 w 6884782"/>
              <a:gd name="connsiteY7639" fmla="*/ 4936727 h 5973007"/>
              <a:gd name="connsiteX7640" fmla="*/ 1528323 w 6884782"/>
              <a:gd name="connsiteY7640" fmla="*/ 4928054 h 5973007"/>
              <a:gd name="connsiteX7641" fmla="*/ 1537462 w 6884782"/>
              <a:gd name="connsiteY7641" fmla="*/ 4925885 h 5973007"/>
              <a:gd name="connsiteX7642" fmla="*/ 1187396 w 6884782"/>
              <a:gd name="connsiteY7642" fmla="*/ 4925266 h 5973007"/>
              <a:gd name="connsiteX7643" fmla="*/ 1194212 w 6884782"/>
              <a:gd name="connsiteY7643" fmla="*/ 4927641 h 5973007"/>
              <a:gd name="connsiteX7644" fmla="*/ 1189565 w 6884782"/>
              <a:gd name="connsiteY7644" fmla="*/ 4939825 h 5973007"/>
              <a:gd name="connsiteX7645" fmla="*/ 1187396 w 6884782"/>
              <a:gd name="connsiteY7645" fmla="*/ 4925266 h 5973007"/>
              <a:gd name="connsiteX7646" fmla="*/ 1610263 w 6884782"/>
              <a:gd name="connsiteY7646" fmla="*/ 4924749 h 5973007"/>
              <a:gd name="connsiteX7647" fmla="*/ 1610573 w 6884782"/>
              <a:gd name="connsiteY7647" fmla="*/ 4928260 h 5973007"/>
              <a:gd name="connsiteX7648" fmla="*/ 1604377 w 6884782"/>
              <a:gd name="connsiteY7648" fmla="*/ 4931978 h 5973007"/>
              <a:gd name="connsiteX7649" fmla="*/ 1602208 w 6884782"/>
              <a:gd name="connsiteY7649" fmla="*/ 4931358 h 5973007"/>
              <a:gd name="connsiteX7650" fmla="*/ 1602828 w 6884782"/>
              <a:gd name="connsiteY7650" fmla="*/ 4927021 h 5973007"/>
              <a:gd name="connsiteX7651" fmla="*/ 1610263 w 6884782"/>
              <a:gd name="connsiteY7651" fmla="*/ 4924749 h 5973007"/>
              <a:gd name="connsiteX7652" fmla="*/ 2072319 w 6884782"/>
              <a:gd name="connsiteY7652" fmla="*/ 4924543 h 5973007"/>
              <a:gd name="connsiteX7653" fmla="*/ 2087808 w 6884782"/>
              <a:gd name="connsiteY7653" fmla="*/ 4930532 h 5973007"/>
              <a:gd name="connsiteX7654" fmla="*/ 2087034 w 6884782"/>
              <a:gd name="connsiteY7654" fmla="*/ 4932184 h 5973007"/>
              <a:gd name="connsiteX7655" fmla="*/ 2084710 w 6884782"/>
              <a:gd name="connsiteY7655" fmla="*/ 4932701 h 5973007"/>
              <a:gd name="connsiteX7656" fmla="*/ 2076656 w 6884782"/>
              <a:gd name="connsiteY7656" fmla="*/ 4930016 h 5973007"/>
              <a:gd name="connsiteX7657" fmla="*/ 2075726 w 6884782"/>
              <a:gd name="connsiteY7657" fmla="*/ 4929500 h 5973007"/>
              <a:gd name="connsiteX7658" fmla="*/ 2080838 w 6884782"/>
              <a:gd name="connsiteY7658" fmla="*/ 4934146 h 5973007"/>
              <a:gd name="connsiteX7659" fmla="*/ 2086879 w 6884782"/>
              <a:gd name="connsiteY7659" fmla="*/ 4947776 h 5973007"/>
              <a:gd name="connsiteX7660" fmla="*/ 2069066 w 6884782"/>
              <a:gd name="connsiteY7660" fmla="*/ 4929293 h 5973007"/>
              <a:gd name="connsiteX7661" fmla="*/ 2072164 w 6884782"/>
              <a:gd name="connsiteY7661" fmla="*/ 4928260 h 5973007"/>
              <a:gd name="connsiteX7662" fmla="*/ 2074797 w 6884782"/>
              <a:gd name="connsiteY7662" fmla="*/ 4928983 h 5973007"/>
              <a:gd name="connsiteX7663" fmla="*/ 2073248 w 6884782"/>
              <a:gd name="connsiteY7663" fmla="*/ 4928157 h 5973007"/>
              <a:gd name="connsiteX7664" fmla="*/ 2072319 w 6884782"/>
              <a:gd name="connsiteY7664" fmla="*/ 4924543 h 5973007"/>
              <a:gd name="connsiteX7665" fmla="*/ 1413525 w 6884782"/>
              <a:gd name="connsiteY7665" fmla="*/ 4924427 h 5973007"/>
              <a:gd name="connsiteX7666" fmla="*/ 1418811 w 6884782"/>
              <a:gd name="connsiteY7666" fmla="*/ 4929293 h 5973007"/>
              <a:gd name="connsiteX7667" fmla="*/ 1416023 w 6884782"/>
              <a:gd name="connsiteY7667" fmla="*/ 4936314 h 5973007"/>
              <a:gd name="connsiteX7668" fmla="*/ 1410447 w 6884782"/>
              <a:gd name="connsiteY7668" fmla="*/ 4938173 h 5973007"/>
              <a:gd name="connsiteX7669" fmla="*/ 1405955 w 6884782"/>
              <a:gd name="connsiteY7669" fmla="*/ 4935695 h 5973007"/>
              <a:gd name="connsiteX7670" fmla="*/ 1404560 w 6884782"/>
              <a:gd name="connsiteY7670" fmla="*/ 4932081 h 5973007"/>
              <a:gd name="connsiteX7671" fmla="*/ 1404716 w 6884782"/>
              <a:gd name="connsiteY7671" fmla="*/ 4931874 h 5973007"/>
              <a:gd name="connsiteX7672" fmla="*/ 1403477 w 6884782"/>
              <a:gd name="connsiteY7672" fmla="*/ 4932701 h 5973007"/>
              <a:gd name="connsiteX7673" fmla="*/ 1401773 w 6884782"/>
              <a:gd name="connsiteY7673" fmla="*/ 4932701 h 5973007"/>
              <a:gd name="connsiteX7674" fmla="*/ 1400688 w 6884782"/>
              <a:gd name="connsiteY7674" fmla="*/ 4930945 h 5973007"/>
              <a:gd name="connsiteX7675" fmla="*/ 1400224 w 6884782"/>
              <a:gd name="connsiteY7675" fmla="*/ 4927434 h 5973007"/>
              <a:gd name="connsiteX7676" fmla="*/ 1401618 w 6884782"/>
              <a:gd name="connsiteY7676" fmla="*/ 4925576 h 5973007"/>
              <a:gd name="connsiteX7677" fmla="*/ 1403322 w 6884782"/>
              <a:gd name="connsiteY7677" fmla="*/ 4926402 h 5973007"/>
              <a:gd name="connsiteX7678" fmla="*/ 1405025 w 6884782"/>
              <a:gd name="connsiteY7678" fmla="*/ 4926299 h 5973007"/>
              <a:gd name="connsiteX7679" fmla="*/ 1405180 w 6884782"/>
              <a:gd name="connsiteY7679" fmla="*/ 4927124 h 5973007"/>
              <a:gd name="connsiteX7680" fmla="*/ 1405025 w 6884782"/>
              <a:gd name="connsiteY7680" fmla="*/ 4927228 h 5973007"/>
              <a:gd name="connsiteX7681" fmla="*/ 1405645 w 6884782"/>
              <a:gd name="connsiteY7681" fmla="*/ 4927744 h 5973007"/>
              <a:gd name="connsiteX7682" fmla="*/ 1406264 w 6884782"/>
              <a:gd name="connsiteY7682" fmla="*/ 4925369 h 5973007"/>
              <a:gd name="connsiteX7683" fmla="*/ 1413525 w 6884782"/>
              <a:gd name="connsiteY7683" fmla="*/ 4924427 h 5973007"/>
              <a:gd name="connsiteX7684" fmla="*/ 1827118 w 6884782"/>
              <a:gd name="connsiteY7684" fmla="*/ 4924337 h 5973007"/>
              <a:gd name="connsiteX7685" fmla="*/ 1832849 w 6884782"/>
              <a:gd name="connsiteY7685" fmla="*/ 4930119 h 5973007"/>
              <a:gd name="connsiteX7686" fmla="*/ 1828977 w 6884782"/>
              <a:gd name="connsiteY7686" fmla="*/ 4935901 h 5973007"/>
              <a:gd name="connsiteX7687" fmla="*/ 1827273 w 6884782"/>
              <a:gd name="connsiteY7687" fmla="*/ 4934869 h 5973007"/>
              <a:gd name="connsiteX7688" fmla="*/ 1825724 w 6884782"/>
              <a:gd name="connsiteY7688" fmla="*/ 4933320 h 5973007"/>
              <a:gd name="connsiteX7689" fmla="*/ 1824020 w 6884782"/>
              <a:gd name="connsiteY7689" fmla="*/ 4928467 h 5973007"/>
              <a:gd name="connsiteX7690" fmla="*/ 1825724 w 6884782"/>
              <a:gd name="connsiteY7690" fmla="*/ 4925266 h 5973007"/>
              <a:gd name="connsiteX7691" fmla="*/ 1827118 w 6884782"/>
              <a:gd name="connsiteY7691" fmla="*/ 4924337 h 5973007"/>
              <a:gd name="connsiteX7692" fmla="*/ 973484 w 6884782"/>
              <a:gd name="connsiteY7692" fmla="*/ 4923511 h 5973007"/>
              <a:gd name="connsiteX7693" fmla="*/ 979061 w 6884782"/>
              <a:gd name="connsiteY7693" fmla="*/ 4926195 h 5973007"/>
              <a:gd name="connsiteX7694" fmla="*/ 977976 w 6884782"/>
              <a:gd name="connsiteY7694" fmla="*/ 4927950 h 5973007"/>
              <a:gd name="connsiteX7695" fmla="*/ 975498 w 6884782"/>
              <a:gd name="connsiteY7695" fmla="*/ 4929293 h 5973007"/>
              <a:gd name="connsiteX7696" fmla="*/ 973019 w 6884782"/>
              <a:gd name="connsiteY7696" fmla="*/ 4928777 h 5973007"/>
              <a:gd name="connsiteX7697" fmla="*/ 973484 w 6884782"/>
              <a:gd name="connsiteY7697" fmla="*/ 4923511 h 5973007"/>
              <a:gd name="connsiteX7698" fmla="*/ 2172537 w 6884782"/>
              <a:gd name="connsiteY7698" fmla="*/ 4922788 h 5973007"/>
              <a:gd name="connsiteX7699" fmla="*/ 2177184 w 6884782"/>
              <a:gd name="connsiteY7699" fmla="*/ 4927124 h 5973007"/>
              <a:gd name="connsiteX7700" fmla="*/ 2173931 w 6884782"/>
              <a:gd name="connsiteY7700" fmla="*/ 4929293 h 5973007"/>
              <a:gd name="connsiteX7701" fmla="*/ 2169439 w 6884782"/>
              <a:gd name="connsiteY7701" fmla="*/ 4926918 h 5973007"/>
              <a:gd name="connsiteX7702" fmla="*/ 2166341 w 6884782"/>
              <a:gd name="connsiteY7702" fmla="*/ 4925782 h 5973007"/>
              <a:gd name="connsiteX7703" fmla="*/ 2165102 w 6884782"/>
              <a:gd name="connsiteY7703" fmla="*/ 4923304 h 5973007"/>
              <a:gd name="connsiteX7704" fmla="*/ 2172537 w 6884782"/>
              <a:gd name="connsiteY7704" fmla="*/ 4922788 h 5973007"/>
              <a:gd name="connsiteX7705" fmla="*/ 1586718 w 6884782"/>
              <a:gd name="connsiteY7705" fmla="*/ 4921755 h 5973007"/>
              <a:gd name="connsiteX7706" fmla="*/ 1586099 w 6884782"/>
              <a:gd name="connsiteY7706" fmla="*/ 4922478 h 5973007"/>
              <a:gd name="connsiteX7707" fmla="*/ 1585170 w 6884782"/>
              <a:gd name="connsiteY7707" fmla="*/ 4921858 h 5973007"/>
              <a:gd name="connsiteX7708" fmla="*/ 1586718 w 6884782"/>
              <a:gd name="connsiteY7708" fmla="*/ 4921755 h 5973007"/>
              <a:gd name="connsiteX7709" fmla="*/ 1619402 w 6884782"/>
              <a:gd name="connsiteY7709" fmla="*/ 4921549 h 5973007"/>
              <a:gd name="connsiteX7710" fmla="*/ 1619402 w 6884782"/>
              <a:gd name="connsiteY7710" fmla="*/ 4924337 h 5973007"/>
              <a:gd name="connsiteX7711" fmla="*/ 1617853 w 6884782"/>
              <a:gd name="connsiteY7711" fmla="*/ 4925163 h 5973007"/>
              <a:gd name="connsiteX7712" fmla="*/ 1617233 w 6884782"/>
              <a:gd name="connsiteY7712" fmla="*/ 4927744 h 5973007"/>
              <a:gd name="connsiteX7713" fmla="*/ 1615530 w 6884782"/>
              <a:gd name="connsiteY7713" fmla="*/ 4927744 h 5973007"/>
              <a:gd name="connsiteX7714" fmla="*/ 1617079 w 6884782"/>
              <a:gd name="connsiteY7714" fmla="*/ 4922375 h 5973007"/>
              <a:gd name="connsiteX7715" fmla="*/ 1619402 w 6884782"/>
              <a:gd name="connsiteY7715" fmla="*/ 4921549 h 5973007"/>
              <a:gd name="connsiteX7716" fmla="*/ 1482319 w 6884782"/>
              <a:gd name="connsiteY7716" fmla="*/ 4920723 h 5973007"/>
              <a:gd name="connsiteX7717" fmla="*/ 1483868 w 6884782"/>
              <a:gd name="connsiteY7717" fmla="*/ 4933423 h 5973007"/>
              <a:gd name="connsiteX7718" fmla="*/ 1479066 w 6884782"/>
              <a:gd name="connsiteY7718" fmla="*/ 4922478 h 5973007"/>
              <a:gd name="connsiteX7719" fmla="*/ 1482319 w 6884782"/>
              <a:gd name="connsiteY7719" fmla="*/ 4920723 h 5973007"/>
              <a:gd name="connsiteX7720" fmla="*/ 1803961 w 6884782"/>
              <a:gd name="connsiteY7720" fmla="*/ 4920684 h 5973007"/>
              <a:gd name="connsiteX7721" fmla="*/ 1809924 w 6884782"/>
              <a:gd name="connsiteY7721" fmla="*/ 4920929 h 5973007"/>
              <a:gd name="connsiteX7722" fmla="*/ 1810854 w 6884782"/>
              <a:gd name="connsiteY7722" fmla="*/ 4925679 h 5973007"/>
              <a:gd name="connsiteX7723" fmla="*/ 1809150 w 6884782"/>
              <a:gd name="connsiteY7723" fmla="*/ 4927847 h 5973007"/>
              <a:gd name="connsiteX7724" fmla="*/ 1810389 w 6884782"/>
              <a:gd name="connsiteY7724" fmla="*/ 4929809 h 5973007"/>
              <a:gd name="connsiteX7725" fmla="*/ 1808066 w 6884782"/>
              <a:gd name="connsiteY7725" fmla="*/ 4932184 h 5973007"/>
              <a:gd name="connsiteX7726" fmla="*/ 1804503 w 6884782"/>
              <a:gd name="connsiteY7726" fmla="*/ 4930222 h 5973007"/>
              <a:gd name="connsiteX7727" fmla="*/ 1802025 w 6884782"/>
              <a:gd name="connsiteY7727" fmla="*/ 4930016 h 5973007"/>
              <a:gd name="connsiteX7728" fmla="*/ 1796293 w 6884782"/>
              <a:gd name="connsiteY7728" fmla="*/ 4929809 h 5973007"/>
              <a:gd name="connsiteX7729" fmla="*/ 1795209 w 6884782"/>
              <a:gd name="connsiteY7729" fmla="*/ 4925473 h 5973007"/>
              <a:gd name="connsiteX7730" fmla="*/ 1803961 w 6884782"/>
              <a:gd name="connsiteY7730" fmla="*/ 4920684 h 5973007"/>
              <a:gd name="connsiteX7731" fmla="*/ 1092445 w 6884782"/>
              <a:gd name="connsiteY7731" fmla="*/ 4920413 h 5973007"/>
              <a:gd name="connsiteX7732" fmla="*/ 1092599 w 6884782"/>
              <a:gd name="connsiteY7732" fmla="*/ 4921962 h 5973007"/>
              <a:gd name="connsiteX7733" fmla="*/ 1093529 w 6884782"/>
              <a:gd name="connsiteY7733" fmla="*/ 4921962 h 5973007"/>
              <a:gd name="connsiteX7734" fmla="*/ 1092909 w 6884782"/>
              <a:gd name="connsiteY7734" fmla="*/ 4923614 h 5973007"/>
              <a:gd name="connsiteX7735" fmla="*/ 1092135 w 6884782"/>
              <a:gd name="connsiteY7735" fmla="*/ 4923614 h 5973007"/>
              <a:gd name="connsiteX7736" fmla="*/ 1091980 w 6884782"/>
              <a:gd name="connsiteY7736" fmla="*/ 4923923 h 5973007"/>
              <a:gd name="connsiteX7737" fmla="*/ 1090431 w 6884782"/>
              <a:gd name="connsiteY7737" fmla="*/ 4922994 h 5973007"/>
              <a:gd name="connsiteX7738" fmla="*/ 1089347 w 6884782"/>
              <a:gd name="connsiteY7738" fmla="*/ 4921445 h 5973007"/>
              <a:gd name="connsiteX7739" fmla="*/ 1092445 w 6884782"/>
              <a:gd name="connsiteY7739" fmla="*/ 4920413 h 5973007"/>
              <a:gd name="connsiteX7740" fmla="*/ 1311313 w 6884782"/>
              <a:gd name="connsiteY7740" fmla="*/ 4920206 h 5973007"/>
              <a:gd name="connsiteX7741" fmla="*/ 1319988 w 6884782"/>
              <a:gd name="connsiteY7741" fmla="*/ 4925782 h 5973007"/>
              <a:gd name="connsiteX7742" fmla="*/ 1316270 w 6884782"/>
              <a:gd name="connsiteY7742" fmla="*/ 4928467 h 5973007"/>
              <a:gd name="connsiteX7743" fmla="*/ 1311313 w 6884782"/>
              <a:gd name="connsiteY7743" fmla="*/ 4920206 h 5973007"/>
              <a:gd name="connsiteX7744" fmla="*/ 1268910 w 6884782"/>
              <a:gd name="connsiteY7744" fmla="*/ 4919626 h 5973007"/>
              <a:gd name="connsiteX7745" fmla="*/ 1273983 w 6884782"/>
              <a:gd name="connsiteY7745" fmla="*/ 4923304 h 5973007"/>
              <a:gd name="connsiteX7746" fmla="*/ 1272434 w 6884782"/>
              <a:gd name="connsiteY7746" fmla="*/ 4945297 h 5973007"/>
              <a:gd name="connsiteX7747" fmla="*/ 1265619 w 6884782"/>
              <a:gd name="connsiteY7747" fmla="*/ 4935901 h 5973007"/>
              <a:gd name="connsiteX7748" fmla="*/ 1262676 w 6884782"/>
              <a:gd name="connsiteY7748" fmla="*/ 4922065 h 5973007"/>
              <a:gd name="connsiteX7749" fmla="*/ 1268910 w 6884782"/>
              <a:gd name="connsiteY7749" fmla="*/ 4919626 h 5973007"/>
              <a:gd name="connsiteX7750" fmla="*/ 2155866 w 6884782"/>
              <a:gd name="connsiteY7750" fmla="*/ 4919019 h 5973007"/>
              <a:gd name="connsiteX7751" fmla="*/ 2162778 w 6884782"/>
              <a:gd name="connsiteY7751" fmla="*/ 4921033 h 5973007"/>
              <a:gd name="connsiteX7752" fmla="*/ 2163863 w 6884782"/>
              <a:gd name="connsiteY7752" fmla="*/ 4928983 h 5973007"/>
              <a:gd name="connsiteX7753" fmla="*/ 2157512 w 6884782"/>
              <a:gd name="connsiteY7753" fmla="*/ 4931874 h 5973007"/>
              <a:gd name="connsiteX7754" fmla="*/ 2152090 w 6884782"/>
              <a:gd name="connsiteY7754" fmla="*/ 4929706 h 5973007"/>
              <a:gd name="connsiteX7755" fmla="*/ 2155866 w 6884782"/>
              <a:gd name="connsiteY7755" fmla="*/ 4919019 h 5973007"/>
              <a:gd name="connsiteX7756" fmla="*/ 2221019 w 6884782"/>
              <a:gd name="connsiteY7756" fmla="*/ 4918967 h 5973007"/>
              <a:gd name="connsiteX7757" fmla="*/ 2230313 w 6884782"/>
              <a:gd name="connsiteY7757" fmla="*/ 4923098 h 5973007"/>
              <a:gd name="connsiteX7758" fmla="*/ 2231088 w 6884782"/>
              <a:gd name="connsiteY7758" fmla="*/ 4924853 h 5973007"/>
              <a:gd name="connsiteX7759" fmla="*/ 2231088 w 6884782"/>
              <a:gd name="connsiteY7759" fmla="*/ 4924233 h 5973007"/>
              <a:gd name="connsiteX7760" fmla="*/ 2240381 w 6884782"/>
              <a:gd name="connsiteY7760" fmla="*/ 4928983 h 5973007"/>
              <a:gd name="connsiteX7761" fmla="*/ 2242395 w 6884782"/>
              <a:gd name="connsiteY7761" fmla="*/ 4934249 h 5973007"/>
              <a:gd name="connsiteX7762" fmla="*/ 2239916 w 6884782"/>
              <a:gd name="connsiteY7762" fmla="*/ 4935075 h 5973007"/>
              <a:gd name="connsiteX7763" fmla="*/ 2234805 w 6884782"/>
              <a:gd name="connsiteY7763" fmla="*/ 4932184 h 5973007"/>
              <a:gd name="connsiteX7764" fmla="*/ 2232636 w 6884782"/>
              <a:gd name="connsiteY7764" fmla="*/ 4929706 h 5973007"/>
              <a:gd name="connsiteX7765" fmla="*/ 2231862 w 6884782"/>
              <a:gd name="connsiteY7765" fmla="*/ 4934559 h 5973007"/>
              <a:gd name="connsiteX7766" fmla="*/ 2227370 w 6884782"/>
              <a:gd name="connsiteY7766" fmla="*/ 4934766 h 5973007"/>
              <a:gd name="connsiteX7767" fmla="*/ 2215908 w 6884782"/>
              <a:gd name="connsiteY7767" fmla="*/ 4925369 h 5973007"/>
              <a:gd name="connsiteX7768" fmla="*/ 2221019 w 6884782"/>
              <a:gd name="connsiteY7768" fmla="*/ 4918967 h 5973007"/>
              <a:gd name="connsiteX7769" fmla="*/ 1767425 w 6884782"/>
              <a:gd name="connsiteY7769" fmla="*/ 4918967 h 5973007"/>
              <a:gd name="connsiteX7770" fmla="*/ 1777861 w 6884782"/>
              <a:gd name="connsiteY7770" fmla="*/ 4922581 h 5973007"/>
              <a:gd name="connsiteX7771" fmla="*/ 1766708 w 6884782"/>
              <a:gd name="connsiteY7771" fmla="*/ 4933630 h 5973007"/>
              <a:gd name="connsiteX7772" fmla="*/ 1762216 w 6884782"/>
              <a:gd name="connsiteY7772" fmla="*/ 4928364 h 5973007"/>
              <a:gd name="connsiteX7773" fmla="*/ 1767425 w 6884782"/>
              <a:gd name="connsiteY7773" fmla="*/ 4918967 h 5973007"/>
              <a:gd name="connsiteX7774" fmla="*/ 1292261 w 6884782"/>
              <a:gd name="connsiteY7774" fmla="*/ 4918038 h 5973007"/>
              <a:gd name="connsiteX7775" fmla="*/ 1288853 w 6884782"/>
              <a:gd name="connsiteY7775" fmla="*/ 4924337 h 5973007"/>
              <a:gd name="connsiteX7776" fmla="*/ 1286220 w 6884782"/>
              <a:gd name="connsiteY7776" fmla="*/ 4918348 h 5973007"/>
              <a:gd name="connsiteX7777" fmla="*/ 1292261 w 6884782"/>
              <a:gd name="connsiteY7777" fmla="*/ 4918038 h 5973007"/>
              <a:gd name="connsiteX7778" fmla="*/ 774288 w 6884782"/>
              <a:gd name="connsiteY7778" fmla="*/ 4917728 h 5973007"/>
              <a:gd name="connsiteX7779" fmla="*/ 776766 w 6884782"/>
              <a:gd name="connsiteY7779" fmla="*/ 4924027 h 5973007"/>
              <a:gd name="connsiteX7780" fmla="*/ 774133 w 6884782"/>
              <a:gd name="connsiteY7780" fmla="*/ 4924543 h 5973007"/>
              <a:gd name="connsiteX7781" fmla="*/ 771190 w 6884782"/>
              <a:gd name="connsiteY7781" fmla="*/ 4923923 h 5973007"/>
              <a:gd name="connsiteX7782" fmla="*/ 774288 w 6884782"/>
              <a:gd name="connsiteY7782" fmla="*/ 4917728 h 5973007"/>
              <a:gd name="connsiteX7783" fmla="*/ 2101749 w 6884782"/>
              <a:gd name="connsiteY7783" fmla="*/ 4917315 h 5973007"/>
              <a:gd name="connsiteX7784" fmla="*/ 2109494 w 6884782"/>
              <a:gd name="connsiteY7784" fmla="*/ 4923304 h 5973007"/>
              <a:gd name="connsiteX7785" fmla="*/ 2108874 w 6884782"/>
              <a:gd name="connsiteY7785" fmla="*/ 4927331 h 5973007"/>
              <a:gd name="connsiteX7786" fmla="*/ 2104227 w 6884782"/>
              <a:gd name="connsiteY7786" fmla="*/ 4932494 h 5973007"/>
              <a:gd name="connsiteX7787" fmla="*/ 2096018 w 6884782"/>
              <a:gd name="connsiteY7787" fmla="*/ 4925679 h 5973007"/>
              <a:gd name="connsiteX7788" fmla="*/ 2096018 w 6884782"/>
              <a:gd name="connsiteY7788" fmla="*/ 4922065 h 5973007"/>
              <a:gd name="connsiteX7789" fmla="*/ 2101749 w 6884782"/>
              <a:gd name="connsiteY7789" fmla="*/ 4917315 h 5973007"/>
              <a:gd name="connsiteX7790" fmla="*/ 1699793 w 6884782"/>
              <a:gd name="connsiteY7790" fmla="*/ 4917109 h 5973007"/>
              <a:gd name="connsiteX7791" fmla="*/ 1702426 w 6884782"/>
              <a:gd name="connsiteY7791" fmla="*/ 4925266 h 5973007"/>
              <a:gd name="connsiteX7792" fmla="*/ 1693908 w 6884782"/>
              <a:gd name="connsiteY7792" fmla="*/ 4932701 h 5973007"/>
              <a:gd name="connsiteX7793" fmla="*/ 1682755 w 6884782"/>
              <a:gd name="connsiteY7793" fmla="*/ 4928880 h 5973007"/>
              <a:gd name="connsiteX7794" fmla="*/ 1699793 w 6884782"/>
              <a:gd name="connsiteY7794" fmla="*/ 4917109 h 5973007"/>
              <a:gd name="connsiteX7795" fmla="*/ 1302020 w 6884782"/>
              <a:gd name="connsiteY7795" fmla="*/ 4916696 h 5973007"/>
              <a:gd name="connsiteX7796" fmla="*/ 1304033 w 6884782"/>
              <a:gd name="connsiteY7796" fmla="*/ 4918451 h 5973007"/>
              <a:gd name="connsiteX7797" fmla="*/ 1302484 w 6884782"/>
              <a:gd name="connsiteY7797" fmla="*/ 4920516 h 5973007"/>
              <a:gd name="connsiteX7798" fmla="*/ 1300006 w 6884782"/>
              <a:gd name="connsiteY7798" fmla="*/ 4921239 h 5973007"/>
              <a:gd name="connsiteX7799" fmla="*/ 1298922 w 6884782"/>
              <a:gd name="connsiteY7799" fmla="*/ 4920103 h 5973007"/>
              <a:gd name="connsiteX7800" fmla="*/ 1298147 w 6884782"/>
              <a:gd name="connsiteY7800" fmla="*/ 4918141 h 5973007"/>
              <a:gd name="connsiteX7801" fmla="*/ 1302020 w 6884782"/>
              <a:gd name="connsiteY7801" fmla="*/ 4916696 h 5973007"/>
              <a:gd name="connsiteX7802" fmla="*/ 1241455 w 6884782"/>
              <a:gd name="connsiteY7802" fmla="*/ 4915870 h 5973007"/>
              <a:gd name="connsiteX7803" fmla="*/ 1249355 w 6884782"/>
              <a:gd name="connsiteY7803" fmla="*/ 4923923 h 5973007"/>
              <a:gd name="connsiteX7804" fmla="*/ 1254156 w 6884782"/>
              <a:gd name="connsiteY7804" fmla="*/ 4935591 h 5973007"/>
              <a:gd name="connsiteX7805" fmla="*/ 1244089 w 6884782"/>
              <a:gd name="connsiteY7805" fmla="*/ 4928364 h 5973007"/>
              <a:gd name="connsiteX7806" fmla="*/ 1241455 w 6884782"/>
              <a:gd name="connsiteY7806" fmla="*/ 4915870 h 5973007"/>
              <a:gd name="connsiteX7807" fmla="*/ 2127985 w 6884782"/>
              <a:gd name="connsiteY7807" fmla="*/ 4914850 h 5973007"/>
              <a:gd name="connsiteX7808" fmla="*/ 2129011 w 6884782"/>
              <a:gd name="connsiteY7808" fmla="*/ 4921136 h 5973007"/>
              <a:gd name="connsiteX7809" fmla="*/ 2122195 w 6884782"/>
              <a:gd name="connsiteY7809" fmla="*/ 4917935 h 5973007"/>
              <a:gd name="connsiteX7810" fmla="*/ 2127985 w 6884782"/>
              <a:gd name="connsiteY7810" fmla="*/ 4914850 h 5973007"/>
              <a:gd name="connsiteX7811" fmla="*/ 1613361 w 6884782"/>
              <a:gd name="connsiteY7811" fmla="*/ 4914631 h 5973007"/>
              <a:gd name="connsiteX7812" fmla="*/ 1615839 w 6884782"/>
              <a:gd name="connsiteY7812" fmla="*/ 4914734 h 5973007"/>
              <a:gd name="connsiteX7813" fmla="*/ 1615065 w 6884782"/>
              <a:gd name="connsiteY7813" fmla="*/ 4916386 h 5973007"/>
              <a:gd name="connsiteX7814" fmla="*/ 1611812 w 6884782"/>
              <a:gd name="connsiteY7814" fmla="*/ 4920619 h 5973007"/>
              <a:gd name="connsiteX7815" fmla="*/ 1610883 w 6884782"/>
              <a:gd name="connsiteY7815" fmla="*/ 4917935 h 5973007"/>
              <a:gd name="connsiteX7816" fmla="*/ 1612587 w 6884782"/>
              <a:gd name="connsiteY7816" fmla="*/ 4916283 h 5973007"/>
              <a:gd name="connsiteX7817" fmla="*/ 1613361 w 6884782"/>
              <a:gd name="connsiteY7817" fmla="*/ 4914631 h 5973007"/>
              <a:gd name="connsiteX7818" fmla="*/ 1508651 w 6884782"/>
              <a:gd name="connsiteY7818" fmla="*/ 4914527 h 5973007"/>
              <a:gd name="connsiteX7819" fmla="*/ 1510510 w 6884782"/>
              <a:gd name="connsiteY7819" fmla="*/ 4916283 h 5973007"/>
              <a:gd name="connsiteX7820" fmla="*/ 1508651 w 6884782"/>
              <a:gd name="connsiteY7820" fmla="*/ 4918451 h 5973007"/>
              <a:gd name="connsiteX7821" fmla="*/ 1506173 w 6884782"/>
              <a:gd name="connsiteY7821" fmla="*/ 4919071 h 5973007"/>
              <a:gd name="connsiteX7822" fmla="*/ 1505243 w 6884782"/>
              <a:gd name="connsiteY7822" fmla="*/ 4918038 h 5973007"/>
              <a:gd name="connsiteX7823" fmla="*/ 1504624 w 6884782"/>
              <a:gd name="connsiteY7823" fmla="*/ 4916076 h 5973007"/>
              <a:gd name="connsiteX7824" fmla="*/ 1508651 w 6884782"/>
              <a:gd name="connsiteY7824" fmla="*/ 4914527 h 5973007"/>
              <a:gd name="connsiteX7825" fmla="*/ 1388607 w 6884782"/>
              <a:gd name="connsiteY7825" fmla="*/ 4912255 h 5973007"/>
              <a:gd name="connsiteX7826" fmla="*/ 1389226 w 6884782"/>
              <a:gd name="connsiteY7826" fmla="*/ 4912772 h 5973007"/>
              <a:gd name="connsiteX7827" fmla="*/ 1390465 w 6884782"/>
              <a:gd name="connsiteY7827" fmla="*/ 4912462 h 5973007"/>
              <a:gd name="connsiteX7828" fmla="*/ 1392789 w 6884782"/>
              <a:gd name="connsiteY7828" fmla="*/ 4915663 h 5973007"/>
              <a:gd name="connsiteX7829" fmla="*/ 1392944 w 6884782"/>
              <a:gd name="connsiteY7829" fmla="*/ 4916696 h 5973007"/>
              <a:gd name="connsiteX7830" fmla="*/ 1394183 w 6884782"/>
              <a:gd name="connsiteY7830" fmla="*/ 4917418 h 5973007"/>
              <a:gd name="connsiteX7831" fmla="*/ 1394803 w 6884782"/>
              <a:gd name="connsiteY7831" fmla="*/ 4924646 h 5973007"/>
              <a:gd name="connsiteX7832" fmla="*/ 1389381 w 6884782"/>
              <a:gd name="connsiteY7832" fmla="*/ 4925369 h 5973007"/>
              <a:gd name="connsiteX7833" fmla="*/ 1385354 w 6884782"/>
              <a:gd name="connsiteY7833" fmla="*/ 4926195 h 5973007"/>
              <a:gd name="connsiteX7834" fmla="*/ 1386128 w 6884782"/>
              <a:gd name="connsiteY7834" fmla="*/ 4927950 h 5973007"/>
              <a:gd name="connsiteX7835" fmla="*/ 1378228 w 6884782"/>
              <a:gd name="connsiteY7835" fmla="*/ 4935901 h 5973007"/>
              <a:gd name="connsiteX7836" fmla="*/ 1377145 w 6884782"/>
              <a:gd name="connsiteY7836" fmla="*/ 4933216 h 5973007"/>
              <a:gd name="connsiteX7837" fmla="*/ 1378538 w 6884782"/>
              <a:gd name="connsiteY7837" fmla="*/ 4923511 h 5973007"/>
              <a:gd name="connsiteX7838" fmla="*/ 1382101 w 6884782"/>
              <a:gd name="connsiteY7838" fmla="*/ 4923201 h 5973007"/>
              <a:gd name="connsiteX7839" fmla="*/ 1382256 w 6884782"/>
              <a:gd name="connsiteY7839" fmla="*/ 4923304 h 5973007"/>
              <a:gd name="connsiteX7840" fmla="*/ 1382875 w 6884782"/>
              <a:gd name="connsiteY7840" fmla="*/ 4919690 h 5973007"/>
              <a:gd name="connsiteX7841" fmla="*/ 1386283 w 6884782"/>
              <a:gd name="connsiteY7841" fmla="*/ 4916386 h 5973007"/>
              <a:gd name="connsiteX7842" fmla="*/ 1386748 w 6884782"/>
              <a:gd name="connsiteY7842" fmla="*/ 4916283 h 5973007"/>
              <a:gd name="connsiteX7843" fmla="*/ 1386283 w 6884782"/>
              <a:gd name="connsiteY7843" fmla="*/ 4914837 h 5973007"/>
              <a:gd name="connsiteX7844" fmla="*/ 1387832 w 6884782"/>
              <a:gd name="connsiteY7844" fmla="*/ 4913805 h 5973007"/>
              <a:gd name="connsiteX7845" fmla="*/ 1388607 w 6884782"/>
              <a:gd name="connsiteY7845" fmla="*/ 4912255 h 5973007"/>
              <a:gd name="connsiteX7846" fmla="*/ 1355613 w 6884782"/>
              <a:gd name="connsiteY7846" fmla="*/ 4912152 h 5973007"/>
              <a:gd name="connsiteX7847" fmla="*/ 1347869 w 6884782"/>
              <a:gd name="connsiteY7847" fmla="*/ 4929190 h 5973007"/>
              <a:gd name="connsiteX7848" fmla="*/ 1355613 w 6884782"/>
              <a:gd name="connsiteY7848" fmla="*/ 4912152 h 5973007"/>
              <a:gd name="connsiteX7849" fmla="*/ 897585 w 6884782"/>
              <a:gd name="connsiteY7849" fmla="*/ 4911636 h 5973007"/>
              <a:gd name="connsiteX7850" fmla="*/ 898979 w 6884782"/>
              <a:gd name="connsiteY7850" fmla="*/ 4914837 h 5973007"/>
              <a:gd name="connsiteX7851" fmla="*/ 889530 w 6884782"/>
              <a:gd name="connsiteY7851" fmla="*/ 4920206 h 5973007"/>
              <a:gd name="connsiteX7852" fmla="*/ 887826 w 6884782"/>
              <a:gd name="connsiteY7852" fmla="*/ 4915250 h 5973007"/>
              <a:gd name="connsiteX7853" fmla="*/ 897585 w 6884782"/>
              <a:gd name="connsiteY7853" fmla="*/ 4911636 h 5973007"/>
              <a:gd name="connsiteX7854" fmla="*/ 6170865 w 6884782"/>
              <a:gd name="connsiteY7854" fmla="*/ 4911551 h 5973007"/>
              <a:gd name="connsiteX7855" fmla="*/ 6176596 w 6884782"/>
              <a:gd name="connsiteY7855" fmla="*/ 4913409 h 5973007"/>
              <a:gd name="connsiteX7856" fmla="*/ 6177061 w 6884782"/>
              <a:gd name="connsiteY7856" fmla="*/ 4915991 h 5973007"/>
              <a:gd name="connsiteX7857" fmla="*/ 6175822 w 6884782"/>
              <a:gd name="connsiteY7857" fmla="*/ 4921257 h 5973007"/>
              <a:gd name="connsiteX7858" fmla="*/ 6176596 w 6884782"/>
              <a:gd name="connsiteY7858" fmla="*/ 4921257 h 5973007"/>
              <a:gd name="connsiteX7859" fmla="*/ 6171485 w 6884782"/>
              <a:gd name="connsiteY7859" fmla="*/ 4922083 h 5973007"/>
              <a:gd name="connsiteX7860" fmla="*/ 6168542 w 6884782"/>
              <a:gd name="connsiteY7860" fmla="*/ 4918572 h 5973007"/>
              <a:gd name="connsiteX7861" fmla="*/ 6170865 w 6884782"/>
              <a:gd name="connsiteY7861" fmla="*/ 4911551 h 5973007"/>
              <a:gd name="connsiteX7862" fmla="*/ 1575411 w 6884782"/>
              <a:gd name="connsiteY7862" fmla="*/ 4911016 h 5973007"/>
              <a:gd name="connsiteX7863" fmla="*/ 1561471 w 6884782"/>
              <a:gd name="connsiteY7863" fmla="*/ 4918348 h 5973007"/>
              <a:gd name="connsiteX7864" fmla="*/ 1561316 w 6884782"/>
              <a:gd name="connsiteY7864" fmla="*/ 4914734 h 5973007"/>
              <a:gd name="connsiteX7865" fmla="*/ 1563020 w 6884782"/>
              <a:gd name="connsiteY7865" fmla="*/ 4914837 h 5973007"/>
              <a:gd name="connsiteX7866" fmla="*/ 1575411 w 6884782"/>
              <a:gd name="connsiteY7866" fmla="*/ 4911016 h 5973007"/>
              <a:gd name="connsiteX7867" fmla="*/ 1227824 w 6884782"/>
              <a:gd name="connsiteY7867" fmla="*/ 4910810 h 5973007"/>
              <a:gd name="connsiteX7868" fmla="*/ 1231077 w 6884782"/>
              <a:gd name="connsiteY7868" fmla="*/ 4914217 h 5973007"/>
              <a:gd name="connsiteX7869" fmla="*/ 1220854 w 6884782"/>
              <a:gd name="connsiteY7869" fmla="*/ 4928157 h 5973007"/>
              <a:gd name="connsiteX7870" fmla="*/ 1217446 w 6884782"/>
              <a:gd name="connsiteY7870" fmla="*/ 4927744 h 5973007"/>
              <a:gd name="connsiteX7871" fmla="*/ 1227824 w 6884782"/>
              <a:gd name="connsiteY7871" fmla="*/ 4910810 h 5973007"/>
              <a:gd name="connsiteX7872" fmla="*/ 1857168 w 6884782"/>
              <a:gd name="connsiteY7872" fmla="*/ 4910397 h 5973007"/>
              <a:gd name="connsiteX7873" fmla="*/ 1863518 w 6884782"/>
              <a:gd name="connsiteY7873" fmla="*/ 4918657 h 5973007"/>
              <a:gd name="connsiteX7874" fmla="*/ 1861040 w 6884782"/>
              <a:gd name="connsiteY7874" fmla="*/ 4918864 h 5973007"/>
              <a:gd name="connsiteX7875" fmla="*/ 1857168 w 6884782"/>
              <a:gd name="connsiteY7875" fmla="*/ 4910397 h 5973007"/>
              <a:gd name="connsiteX7876" fmla="*/ 1483248 w 6884782"/>
              <a:gd name="connsiteY7876" fmla="*/ 4909571 h 5973007"/>
              <a:gd name="connsiteX7877" fmla="*/ 1485417 w 6884782"/>
              <a:gd name="connsiteY7877" fmla="*/ 4917728 h 5973007"/>
              <a:gd name="connsiteX7878" fmla="*/ 1481235 w 6884782"/>
              <a:gd name="connsiteY7878" fmla="*/ 4919690 h 5973007"/>
              <a:gd name="connsiteX7879" fmla="*/ 1475813 w 6884782"/>
              <a:gd name="connsiteY7879" fmla="*/ 4918761 h 5973007"/>
              <a:gd name="connsiteX7880" fmla="*/ 1483248 w 6884782"/>
              <a:gd name="connsiteY7880" fmla="*/ 4909571 h 5973007"/>
              <a:gd name="connsiteX7881" fmla="*/ 1260662 w 6884782"/>
              <a:gd name="connsiteY7881" fmla="*/ 4908332 h 5973007"/>
              <a:gd name="connsiteX7882" fmla="*/ 1264844 w 6884782"/>
              <a:gd name="connsiteY7882" fmla="*/ 4909261 h 5973007"/>
              <a:gd name="connsiteX7883" fmla="*/ 1261281 w 6884782"/>
              <a:gd name="connsiteY7883" fmla="*/ 4911016 h 5973007"/>
              <a:gd name="connsiteX7884" fmla="*/ 1260662 w 6884782"/>
              <a:gd name="connsiteY7884" fmla="*/ 4908332 h 5973007"/>
              <a:gd name="connsiteX7885" fmla="*/ 6738715 w 6884782"/>
              <a:gd name="connsiteY7885" fmla="*/ 4908246 h 5973007"/>
              <a:gd name="connsiteX7886" fmla="*/ 6742432 w 6884782"/>
              <a:gd name="connsiteY7886" fmla="*/ 4935300 h 5973007"/>
              <a:gd name="connsiteX7887" fmla="*/ 6735617 w 6884782"/>
              <a:gd name="connsiteY7887" fmla="*/ 4939430 h 5973007"/>
              <a:gd name="connsiteX7888" fmla="*/ 6729111 w 6884782"/>
              <a:gd name="connsiteY7888" fmla="*/ 4939533 h 5973007"/>
              <a:gd name="connsiteX7889" fmla="*/ 6715635 w 6884782"/>
              <a:gd name="connsiteY7889" fmla="*/ 4929104 h 5973007"/>
              <a:gd name="connsiteX7890" fmla="*/ 6716255 w 6884782"/>
              <a:gd name="connsiteY7890" fmla="*/ 4924354 h 5973007"/>
              <a:gd name="connsiteX7891" fmla="*/ 6738715 w 6884782"/>
              <a:gd name="connsiteY7891" fmla="*/ 4908246 h 5973007"/>
              <a:gd name="connsiteX7892" fmla="*/ 1208307 w 6884782"/>
              <a:gd name="connsiteY7892" fmla="*/ 4907609 h 5973007"/>
              <a:gd name="connsiteX7893" fmla="*/ 1213574 w 6884782"/>
              <a:gd name="connsiteY7893" fmla="*/ 4912978 h 5973007"/>
              <a:gd name="connsiteX7894" fmla="*/ 1208927 w 6884782"/>
              <a:gd name="connsiteY7894" fmla="*/ 4921962 h 5973007"/>
              <a:gd name="connsiteX7895" fmla="*/ 1205054 w 6884782"/>
              <a:gd name="connsiteY7895" fmla="*/ 4921755 h 5973007"/>
              <a:gd name="connsiteX7896" fmla="*/ 1199633 w 6884782"/>
              <a:gd name="connsiteY7896" fmla="*/ 4917522 h 5973007"/>
              <a:gd name="connsiteX7897" fmla="*/ 1208307 w 6884782"/>
              <a:gd name="connsiteY7897" fmla="*/ 4907609 h 5973007"/>
              <a:gd name="connsiteX7898" fmla="*/ 1581917 w 6884782"/>
              <a:gd name="connsiteY7898" fmla="*/ 4907093 h 5973007"/>
              <a:gd name="connsiteX7899" fmla="*/ 1578665 w 6884782"/>
              <a:gd name="connsiteY7899" fmla="*/ 4909674 h 5973007"/>
              <a:gd name="connsiteX7900" fmla="*/ 1577735 w 6884782"/>
              <a:gd name="connsiteY7900" fmla="*/ 4908642 h 5973007"/>
              <a:gd name="connsiteX7901" fmla="*/ 1581917 w 6884782"/>
              <a:gd name="connsiteY7901" fmla="*/ 4907093 h 5973007"/>
              <a:gd name="connsiteX7902" fmla="*/ 2094934 w 6884782"/>
              <a:gd name="connsiteY7902" fmla="*/ 4906680 h 5973007"/>
              <a:gd name="connsiteX7903" fmla="*/ 2096637 w 6884782"/>
              <a:gd name="connsiteY7903" fmla="*/ 4907609 h 5973007"/>
              <a:gd name="connsiteX7904" fmla="*/ 2098342 w 6884782"/>
              <a:gd name="connsiteY7904" fmla="*/ 4907712 h 5973007"/>
              <a:gd name="connsiteX7905" fmla="*/ 2098342 w 6884782"/>
              <a:gd name="connsiteY7905" fmla="*/ 4908539 h 5973007"/>
              <a:gd name="connsiteX7906" fmla="*/ 2099271 w 6884782"/>
              <a:gd name="connsiteY7906" fmla="*/ 4909468 h 5973007"/>
              <a:gd name="connsiteX7907" fmla="*/ 2097722 w 6884782"/>
              <a:gd name="connsiteY7907" fmla="*/ 4912978 h 5973007"/>
              <a:gd name="connsiteX7908" fmla="*/ 2096173 w 6884782"/>
              <a:gd name="connsiteY7908" fmla="*/ 4913908 h 5973007"/>
              <a:gd name="connsiteX7909" fmla="*/ 2094469 w 6884782"/>
              <a:gd name="connsiteY7909" fmla="*/ 4913701 h 5973007"/>
              <a:gd name="connsiteX7910" fmla="*/ 2093540 w 6884782"/>
              <a:gd name="connsiteY7910" fmla="*/ 4911843 h 5973007"/>
              <a:gd name="connsiteX7911" fmla="*/ 2093385 w 6884782"/>
              <a:gd name="connsiteY7911" fmla="*/ 4908332 h 5973007"/>
              <a:gd name="connsiteX7912" fmla="*/ 2094934 w 6884782"/>
              <a:gd name="connsiteY7912" fmla="*/ 4906680 h 5973007"/>
              <a:gd name="connsiteX7913" fmla="*/ 1568789 w 6884782"/>
              <a:gd name="connsiteY7913" fmla="*/ 4906422 h 5973007"/>
              <a:gd name="connsiteX7914" fmla="*/ 1573397 w 6884782"/>
              <a:gd name="connsiteY7914" fmla="*/ 4906783 h 5973007"/>
              <a:gd name="connsiteX7915" fmla="*/ 1573397 w 6884782"/>
              <a:gd name="connsiteY7915" fmla="*/ 4907609 h 5973007"/>
              <a:gd name="connsiteX7916" fmla="*/ 1564879 w 6884782"/>
              <a:gd name="connsiteY7916" fmla="*/ 4909158 h 5973007"/>
              <a:gd name="connsiteX7917" fmla="*/ 1562555 w 6884782"/>
              <a:gd name="connsiteY7917" fmla="*/ 4908848 h 5973007"/>
              <a:gd name="connsiteX7918" fmla="*/ 1561626 w 6884782"/>
              <a:gd name="connsiteY7918" fmla="*/ 4907919 h 5973007"/>
              <a:gd name="connsiteX7919" fmla="*/ 1568789 w 6884782"/>
              <a:gd name="connsiteY7919" fmla="*/ 4906422 h 5973007"/>
              <a:gd name="connsiteX7920" fmla="*/ 1827273 w 6884782"/>
              <a:gd name="connsiteY7920" fmla="*/ 4906267 h 5973007"/>
              <a:gd name="connsiteX7921" fmla="*/ 1825879 w 6884782"/>
              <a:gd name="connsiteY7921" fmla="*/ 4917832 h 5973007"/>
              <a:gd name="connsiteX7922" fmla="*/ 1822161 w 6884782"/>
              <a:gd name="connsiteY7922" fmla="*/ 4913495 h 5973007"/>
              <a:gd name="connsiteX7923" fmla="*/ 1827273 w 6884782"/>
              <a:gd name="connsiteY7923" fmla="*/ 4906267 h 5973007"/>
              <a:gd name="connsiteX7924" fmla="*/ 1058677 w 6884782"/>
              <a:gd name="connsiteY7924" fmla="*/ 4906267 h 5973007"/>
              <a:gd name="connsiteX7925" fmla="*/ 1067196 w 6884782"/>
              <a:gd name="connsiteY7925" fmla="*/ 4912772 h 5973007"/>
              <a:gd name="connsiteX7926" fmla="*/ 1067507 w 6884782"/>
              <a:gd name="connsiteY7926" fmla="*/ 4915147 h 5973007"/>
              <a:gd name="connsiteX7927" fmla="*/ 1068436 w 6884782"/>
              <a:gd name="connsiteY7927" fmla="*/ 4916799 h 5973007"/>
              <a:gd name="connsiteX7928" fmla="*/ 1067662 w 6884782"/>
              <a:gd name="connsiteY7928" fmla="*/ 4922581 h 5973007"/>
              <a:gd name="connsiteX7929" fmla="*/ 1057438 w 6884782"/>
              <a:gd name="connsiteY7929" fmla="*/ 4909674 h 5973007"/>
              <a:gd name="connsiteX7930" fmla="*/ 1057128 w 6884782"/>
              <a:gd name="connsiteY7930" fmla="*/ 4907816 h 5973007"/>
              <a:gd name="connsiteX7931" fmla="*/ 1058677 w 6884782"/>
              <a:gd name="connsiteY7931" fmla="*/ 4906267 h 5973007"/>
              <a:gd name="connsiteX7932" fmla="*/ 1778325 w 6884782"/>
              <a:gd name="connsiteY7932" fmla="*/ 4905957 h 5973007"/>
              <a:gd name="connsiteX7933" fmla="*/ 1783437 w 6884782"/>
              <a:gd name="connsiteY7933" fmla="*/ 4908848 h 5973007"/>
              <a:gd name="connsiteX7934" fmla="*/ 1780184 w 6884782"/>
              <a:gd name="connsiteY7934" fmla="*/ 4912978 h 5973007"/>
              <a:gd name="connsiteX7935" fmla="*/ 1778325 w 6884782"/>
              <a:gd name="connsiteY7935" fmla="*/ 4905957 h 5973007"/>
              <a:gd name="connsiteX7936" fmla="*/ 1871263 w 6884782"/>
              <a:gd name="connsiteY7936" fmla="*/ 4905131 h 5973007"/>
              <a:gd name="connsiteX7937" fmla="*/ 1877459 w 6884782"/>
              <a:gd name="connsiteY7937" fmla="*/ 4914527 h 5973007"/>
              <a:gd name="connsiteX7938" fmla="*/ 1872193 w 6884782"/>
              <a:gd name="connsiteY7938" fmla="*/ 4914321 h 5973007"/>
              <a:gd name="connsiteX7939" fmla="*/ 1870179 w 6884782"/>
              <a:gd name="connsiteY7939" fmla="*/ 4910190 h 5973007"/>
              <a:gd name="connsiteX7940" fmla="*/ 1871263 w 6884782"/>
              <a:gd name="connsiteY7940" fmla="*/ 4905131 h 5973007"/>
              <a:gd name="connsiteX7941" fmla="*/ 1414164 w 6884782"/>
              <a:gd name="connsiteY7941" fmla="*/ 4903685 h 5973007"/>
              <a:gd name="connsiteX7942" fmla="*/ 1439567 w 6884782"/>
              <a:gd name="connsiteY7942" fmla="*/ 4908848 h 5973007"/>
              <a:gd name="connsiteX7943" fmla="*/ 1433991 w 6884782"/>
              <a:gd name="connsiteY7943" fmla="*/ 4912462 h 5973007"/>
              <a:gd name="connsiteX7944" fmla="*/ 1414164 w 6884782"/>
              <a:gd name="connsiteY7944" fmla="*/ 4903685 h 5973007"/>
              <a:gd name="connsiteX7945" fmla="*/ 2133038 w 6884782"/>
              <a:gd name="connsiteY7945" fmla="*/ 4903479 h 5973007"/>
              <a:gd name="connsiteX7946" fmla="*/ 2132419 w 6884782"/>
              <a:gd name="connsiteY7946" fmla="*/ 4911223 h 5973007"/>
              <a:gd name="connsiteX7947" fmla="*/ 2129941 w 6884782"/>
              <a:gd name="connsiteY7947" fmla="*/ 4911636 h 5973007"/>
              <a:gd name="connsiteX7948" fmla="*/ 2127152 w 6884782"/>
              <a:gd name="connsiteY7948" fmla="*/ 4905854 h 5973007"/>
              <a:gd name="connsiteX7949" fmla="*/ 2128701 w 6884782"/>
              <a:gd name="connsiteY7949" fmla="*/ 4903685 h 5973007"/>
              <a:gd name="connsiteX7950" fmla="*/ 2133038 w 6884782"/>
              <a:gd name="connsiteY7950" fmla="*/ 4903479 h 5973007"/>
              <a:gd name="connsiteX7951" fmla="*/ 986496 w 6884782"/>
              <a:gd name="connsiteY7951" fmla="*/ 4902343 h 5973007"/>
              <a:gd name="connsiteX7952" fmla="*/ 994860 w 6884782"/>
              <a:gd name="connsiteY7952" fmla="*/ 4933630 h 5973007"/>
              <a:gd name="connsiteX7953" fmla="*/ 983552 w 6884782"/>
              <a:gd name="connsiteY7953" fmla="*/ 4920000 h 5973007"/>
              <a:gd name="connsiteX7954" fmla="*/ 986496 w 6884782"/>
              <a:gd name="connsiteY7954" fmla="*/ 4902343 h 5973007"/>
              <a:gd name="connsiteX7955" fmla="*/ 6120834 w 6884782"/>
              <a:gd name="connsiteY7955" fmla="*/ 4901948 h 5973007"/>
              <a:gd name="connsiteX7956" fmla="*/ 6122537 w 6884782"/>
              <a:gd name="connsiteY7956" fmla="*/ 4905975 h 5973007"/>
              <a:gd name="connsiteX7957" fmla="*/ 6110146 w 6884782"/>
              <a:gd name="connsiteY7957" fmla="*/ 4916817 h 5973007"/>
              <a:gd name="connsiteX7958" fmla="*/ 6104414 w 6884782"/>
              <a:gd name="connsiteY7958" fmla="*/ 4915681 h 5973007"/>
              <a:gd name="connsiteX7959" fmla="*/ 6120834 w 6884782"/>
              <a:gd name="connsiteY7959" fmla="*/ 4901948 h 5973007"/>
              <a:gd name="connsiteX7960" fmla="*/ 1160754 w 6884782"/>
              <a:gd name="connsiteY7960" fmla="*/ 4901001 h 5973007"/>
              <a:gd name="connsiteX7961" fmla="*/ 1163542 w 6884782"/>
              <a:gd name="connsiteY7961" fmla="*/ 4904924 h 5973007"/>
              <a:gd name="connsiteX7962" fmla="*/ 1162458 w 6884782"/>
              <a:gd name="connsiteY7962" fmla="*/ 4908229 h 5973007"/>
              <a:gd name="connsiteX7963" fmla="*/ 1163077 w 6884782"/>
              <a:gd name="connsiteY7963" fmla="*/ 4908125 h 5973007"/>
              <a:gd name="connsiteX7964" fmla="*/ 1162923 w 6884782"/>
              <a:gd name="connsiteY7964" fmla="*/ 4908745 h 5973007"/>
              <a:gd name="connsiteX7965" fmla="*/ 1166175 w 6884782"/>
              <a:gd name="connsiteY7965" fmla="*/ 4909778 h 5973007"/>
              <a:gd name="connsiteX7966" fmla="*/ 1163697 w 6884782"/>
              <a:gd name="connsiteY7966" fmla="*/ 4913701 h 5973007"/>
              <a:gd name="connsiteX7967" fmla="*/ 1161374 w 6884782"/>
              <a:gd name="connsiteY7967" fmla="*/ 4911120 h 5973007"/>
              <a:gd name="connsiteX7968" fmla="*/ 1161684 w 6884782"/>
              <a:gd name="connsiteY7968" fmla="*/ 4909674 h 5973007"/>
              <a:gd name="connsiteX7969" fmla="*/ 1162148 w 6884782"/>
              <a:gd name="connsiteY7969" fmla="*/ 4908332 h 5973007"/>
              <a:gd name="connsiteX7970" fmla="*/ 1160754 w 6884782"/>
              <a:gd name="connsiteY7970" fmla="*/ 4907609 h 5973007"/>
              <a:gd name="connsiteX7971" fmla="*/ 1156727 w 6884782"/>
              <a:gd name="connsiteY7971" fmla="*/ 4905441 h 5973007"/>
              <a:gd name="connsiteX7972" fmla="*/ 1160754 w 6884782"/>
              <a:gd name="connsiteY7972" fmla="*/ 4901001 h 5973007"/>
              <a:gd name="connsiteX7973" fmla="*/ 2142545 w 6884782"/>
              <a:gd name="connsiteY7973" fmla="*/ 4900600 h 5973007"/>
              <a:gd name="connsiteX7974" fmla="*/ 2147598 w 6884782"/>
              <a:gd name="connsiteY7974" fmla="*/ 4907196 h 5973007"/>
              <a:gd name="connsiteX7975" fmla="*/ 2141248 w 6884782"/>
              <a:gd name="connsiteY7975" fmla="*/ 4909881 h 5973007"/>
              <a:gd name="connsiteX7976" fmla="*/ 2135516 w 6884782"/>
              <a:gd name="connsiteY7976" fmla="*/ 4906577 h 5973007"/>
              <a:gd name="connsiteX7977" fmla="*/ 2134587 w 6884782"/>
              <a:gd name="connsiteY7977" fmla="*/ 4902446 h 5973007"/>
              <a:gd name="connsiteX7978" fmla="*/ 2142545 w 6884782"/>
              <a:gd name="connsiteY7978" fmla="*/ 4900600 h 5973007"/>
              <a:gd name="connsiteX7979" fmla="*/ 1790601 w 6884782"/>
              <a:gd name="connsiteY7979" fmla="*/ 4900549 h 5973007"/>
              <a:gd name="connsiteX7980" fmla="*/ 1792111 w 6884782"/>
              <a:gd name="connsiteY7980" fmla="*/ 4903479 h 5973007"/>
              <a:gd name="connsiteX7981" fmla="*/ 1790408 w 6884782"/>
              <a:gd name="connsiteY7981" fmla="*/ 4905544 h 5973007"/>
              <a:gd name="connsiteX7982" fmla="*/ 1787000 w 6884782"/>
              <a:gd name="connsiteY7982" fmla="*/ 4901723 h 5973007"/>
              <a:gd name="connsiteX7983" fmla="*/ 1790601 w 6884782"/>
              <a:gd name="connsiteY7983" fmla="*/ 4900549 h 5973007"/>
              <a:gd name="connsiteX7984" fmla="*/ 1735303 w 6884782"/>
              <a:gd name="connsiteY7984" fmla="*/ 4899594 h 5973007"/>
              <a:gd name="connsiteX7985" fmla="*/ 1749670 w 6884782"/>
              <a:gd name="connsiteY7985" fmla="*/ 4902756 h 5973007"/>
              <a:gd name="connsiteX7986" fmla="*/ 1750754 w 6884782"/>
              <a:gd name="connsiteY7986" fmla="*/ 4905338 h 5973007"/>
              <a:gd name="connsiteX7987" fmla="*/ 1727674 w 6884782"/>
              <a:gd name="connsiteY7987" fmla="*/ 4925369 h 5973007"/>
              <a:gd name="connsiteX7988" fmla="*/ 1722253 w 6884782"/>
              <a:gd name="connsiteY7988" fmla="*/ 4924130 h 5973007"/>
              <a:gd name="connsiteX7989" fmla="*/ 1717606 w 6884782"/>
              <a:gd name="connsiteY7989" fmla="*/ 4921445 h 5973007"/>
              <a:gd name="connsiteX7990" fmla="*/ 1716987 w 6884782"/>
              <a:gd name="connsiteY7990" fmla="*/ 4922478 h 5973007"/>
              <a:gd name="connsiteX7991" fmla="*/ 1708932 w 6884782"/>
              <a:gd name="connsiteY7991" fmla="*/ 4921342 h 5973007"/>
              <a:gd name="connsiteX7992" fmla="*/ 1708622 w 6884782"/>
              <a:gd name="connsiteY7992" fmla="*/ 4915044 h 5973007"/>
              <a:gd name="connsiteX7993" fmla="*/ 1713734 w 6884782"/>
              <a:gd name="connsiteY7993" fmla="*/ 4915560 h 5973007"/>
              <a:gd name="connsiteX7994" fmla="*/ 1717606 w 6884782"/>
              <a:gd name="connsiteY7994" fmla="*/ 4918761 h 5973007"/>
              <a:gd name="connsiteX7995" fmla="*/ 1718536 w 6884782"/>
              <a:gd name="connsiteY7995" fmla="*/ 4911946 h 5973007"/>
              <a:gd name="connsiteX7996" fmla="*/ 1723028 w 6884782"/>
              <a:gd name="connsiteY7996" fmla="*/ 4905028 h 5973007"/>
              <a:gd name="connsiteX7997" fmla="*/ 1735303 w 6884782"/>
              <a:gd name="connsiteY7997" fmla="*/ 4899594 h 5973007"/>
              <a:gd name="connsiteX7998" fmla="*/ 6319565 w 6884782"/>
              <a:gd name="connsiteY7998" fmla="*/ 4899573 h 5973007"/>
              <a:gd name="connsiteX7999" fmla="*/ 6324367 w 6884782"/>
              <a:gd name="connsiteY7999" fmla="*/ 4904736 h 5973007"/>
              <a:gd name="connsiteX8000" fmla="*/ 6320030 w 6884782"/>
              <a:gd name="connsiteY8000" fmla="*/ 4906595 h 5973007"/>
              <a:gd name="connsiteX8001" fmla="*/ 6318326 w 6884782"/>
              <a:gd name="connsiteY8001" fmla="*/ 4905872 h 5973007"/>
              <a:gd name="connsiteX8002" fmla="*/ 6319565 w 6884782"/>
              <a:gd name="connsiteY8002" fmla="*/ 4899573 h 5973007"/>
              <a:gd name="connsiteX8003" fmla="*/ 1675009 w 6884782"/>
              <a:gd name="connsiteY8003" fmla="*/ 4898936 h 5973007"/>
              <a:gd name="connsiteX8004" fmla="*/ 1686008 w 6884782"/>
              <a:gd name="connsiteY8004" fmla="*/ 4899762 h 5973007"/>
              <a:gd name="connsiteX8005" fmla="*/ 1681206 w 6884782"/>
              <a:gd name="connsiteY8005" fmla="*/ 4904511 h 5973007"/>
              <a:gd name="connsiteX8006" fmla="*/ 1675009 w 6884782"/>
              <a:gd name="connsiteY8006" fmla="*/ 4898936 h 5973007"/>
              <a:gd name="connsiteX8007" fmla="*/ 1011279 w 6884782"/>
              <a:gd name="connsiteY8007" fmla="*/ 4897903 h 5973007"/>
              <a:gd name="connsiteX8008" fmla="*/ 1011124 w 6884782"/>
              <a:gd name="connsiteY8008" fmla="*/ 4903169 h 5973007"/>
              <a:gd name="connsiteX8009" fmla="*/ 1008956 w 6884782"/>
              <a:gd name="connsiteY8009" fmla="*/ 4904924 h 5973007"/>
              <a:gd name="connsiteX8010" fmla="*/ 1006168 w 6884782"/>
              <a:gd name="connsiteY8010" fmla="*/ 4903376 h 5973007"/>
              <a:gd name="connsiteX8011" fmla="*/ 1004773 w 6884782"/>
              <a:gd name="connsiteY8011" fmla="*/ 4900072 h 5973007"/>
              <a:gd name="connsiteX8012" fmla="*/ 1011279 w 6884782"/>
              <a:gd name="connsiteY8012" fmla="*/ 4897903 h 5973007"/>
              <a:gd name="connsiteX8013" fmla="*/ 1605771 w 6884782"/>
              <a:gd name="connsiteY8013" fmla="*/ 4896974 h 5973007"/>
              <a:gd name="connsiteX8014" fmla="*/ 1600659 w 6884782"/>
              <a:gd name="connsiteY8014" fmla="*/ 4902859 h 5973007"/>
              <a:gd name="connsiteX8015" fmla="*/ 1598646 w 6884782"/>
              <a:gd name="connsiteY8015" fmla="*/ 4902549 h 5973007"/>
              <a:gd name="connsiteX8016" fmla="*/ 1598491 w 6884782"/>
              <a:gd name="connsiteY8016" fmla="*/ 4899968 h 5973007"/>
              <a:gd name="connsiteX8017" fmla="*/ 1605771 w 6884782"/>
              <a:gd name="connsiteY8017" fmla="*/ 4896974 h 5973007"/>
              <a:gd name="connsiteX8018" fmla="*/ 1232781 w 6884782"/>
              <a:gd name="connsiteY8018" fmla="*/ 4896767 h 5973007"/>
              <a:gd name="connsiteX8019" fmla="*/ 1230612 w 6884782"/>
              <a:gd name="connsiteY8019" fmla="*/ 4906783 h 5973007"/>
              <a:gd name="connsiteX8020" fmla="*/ 1225036 w 6884782"/>
              <a:gd name="connsiteY8020" fmla="*/ 4903685 h 5973007"/>
              <a:gd name="connsiteX8021" fmla="*/ 1232781 w 6884782"/>
              <a:gd name="connsiteY8021" fmla="*/ 4896767 h 5973007"/>
              <a:gd name="connsiteX8022" fmla="*/ 2036228 w 6884782"/>
              <a:gd name="connsiteY8022" fmla="*/ 4896457 h 5973007"/>
              <a:gd name="connsiteX8023" fmla="*/ 2044592 w 6884782"/>
              <a:gd name="connsiteY8023" fmla="*/ 4900794 h 5973007"/>
              <a:gd name="connsiteX8024" fmla="*/ 2037002 w 6884782"/>
              <a:gd name="connsiteY8024" fmla="*/ 4906989 h 5973007"/>
              <a:gd name="connsiteX8025" fmla="*/ 2034059 w 6884782"/>
              <a:gd name="connsiteY8025" fmla="*/ 4905131 h 5973007"/>
              <a:gd name="connsiteX8026" fmla="*/ 2036228 w 6884782"/>
              <a:gd name="connsiteY8026" fmla="*/ 4896457 h 5973007"/>
              <a:gd name="connsiteX8027" fmla="*/ 1279560 w 6884782"/>
              <a:gd name="connsiteY8027" fmla="*/ 4896251 h 5973007"/>
              <a:gd name="connsiteX8028" fmla="*/ 1286839 w 6884782"/>
              <a:gd name="connsiteY8028" fmla="*/ 4898213 h 5973007"/>
              <a:gd name="connsiteX8029" fmla="*/ 1285600 w 6884782"/>
              <a:gd name="connsiteY8029" fmla="*/ 4902653 h 5973007"/>
              <a:gd name="connsiteX8030" fmla="*/ 1273364 w 6884782"/>
              <a:gd name="connsiteY8030" fmla="*/ 4906886 h 5973007"/>
              <a:gd name="connsiteX8031" fmla="*/ 1275067 w 6884782"/>
              <a:gd name="connsiteY8031" fmla="*/ 4898936 h 5973007"/>
              <a:gd name="connsiteX8032" fmla="*/ 1279560 w 6884782"/>
              <a:gd name="connsiteY8032" fmla="*/ 4896251 h 5973007"/>
              <a:gd name="connsiteX8033" fmla="*/ 6059185 w 6884782"/>
              <a:gd name="connsiteY8033" fmla="*/ 4895959 h 5973007"/>
              <a:gd name="connsiteX8034" fmla="*/ 6061044 w 6884782"/>
              <a:gd name="connsiteY8034" fmla="*/ 4902980 h 5973007"/>
              <a:gd name="connsiteX8035" fmla="*/ 6059340 w 6884782"/>
              <a:gd name="connsiteY8035" fmla="*/ 4903806 h 5973007"/>
              <a:gd name="connsiteX8036" fmla="*/ 6057171 w 6884782"/>
              <a:gd name="connsiteY8036" fmla="*/ 4904323 h 5973007"/>
              <a:gd name="connsiteX8037" fmla="*/ 6052834 w 6884782"/>
              <a:gd name="connsiteY8037" fmla="*/ 4902774 h 5973007"/>
              <a:gd name="connsiteX8038" fmla="*/ 6051595 w 6884782"/>
              <a:gd name="connsiteY8038" fmla="*/ 4900709 h 5973007"/>
              <a:gd name="connsiteX8039" fmla="*/ 6051440 w 6884782"/>
              <a:gd name="connsiteY8039" fmla="*/ 4899367 h 5973007"/>
              <a:gd name="connsiteX8040" fmla="*/ 6051595 w 6884782"/>
              <a:gd name="connsiteY8040" fmla="*/ 4897611 h 5973007"/>
              <a:gd name="connsiteX8041" fmla="*/ 6059185 w 6884782"/>
              <a:gd name="connsiteY8041" fmla="*/ 4895959 h 5973007"/>
              <a:gd name="connsiteX8042" fmla="*/ 1857632 w 6884782"/>
              <a:gd name="connsiteY8042" fmla="*/ 4895528 h 5973007"/>
              <a:gd name="connsiteX8043" fmla="*/ 1859801 w 6884782"/>
              <a:gd name="connsiteY8043" fmla="*/ 4897180 h 5973007"/>
              <a:gd name="connsiteX8044" fmla="*/ 1857632 w 6884782"/>
              <a:gd name="connsiteY8044" fmla="*/ 4898626 h 5973007"/>
              <a:gd name="connsiteX8045" fmla="*/ 1855928 w 6884782"/>
              <a:gd name="connsiteY8045" fmla="*/ 4897696 h 5973007"/>
              <a:gd name="connsiteX8046" fmla="*/ 1853450 w 6884782"/>
              <a:gd name="connsiteY8046" fmla="*/ 4898316 h 5973007"/>
              <a:gd name="connsiteX8047" fmla="*/ 1852521 w 6884782"/>
              <a:gd name="connsiteY8047" fmla="*/ 4896767 h 5973007"/>
              <a:gd name="connsiteX8048" fmla="*/ 1857632 w 6884782"/>
              <a:gd name="connsiteY8048" fmla="*/ 4895528 h 5973007"/>
              <a:gd name="connsiteX8049" fmla="*/ 1960174 w 6884782"/>
              <a:gd name="connsiteY8049" fmla="*/ 4895218 h 5973007"/>
              <a:gd name="connsiteX8050" fmla="*/ 1965130 w 6884782"/>
              <a:gd name="connsiteY8050" fmla="*/ 4918967 h 5973007"/>
              <a:gd name="connsiteX8051" fmla="*/ 1960174 w 6884782"/>
              <a:gd name="connsiteY8051" fmla="*/ 4895218 h 5973007"/>
              <a:gd name="connsiteX8052" fmla="*/ 1782043 w 6884782"/>
              <a:gd name="connsiteY8052" fmla="*/ 4894496 h 5973007"/>
              <a:gd name="connsiteX8053" fmla="*/ 1782043 w 6884782"/>
              <a:gd name="connsiteY8053" fmla="*/ 4900587 h 5973007"/>
              <a:gd name="connsiteX8054" fmla="*/ 1780029 w 6884782"/>
              <a:gd name="connsiteY8054" fmla="*/ 4902137 h 5973007"/>
              <a:gd name="connsiteX8055" fmla="*/ 1777241 w 6884782"/>
              <a:gd name="connsiteY8055" fmla="*/ 4901723 h 5973007"/>
              <a:gd name="connsiteX8056" fmla="*/ 1775228 w 6884782"/>
              <a:gd name="connsiteY8056" fmla="*/ 4900072 h 5973007"/>
              <a:gd name="connsiteX8057" fmla="*/ 1774608 w 6884782"/>
              <a:gd name="connsiteY8057" fmla="*/ 4894909 h 5973007"/>
              <a:gd name="connsiteX8058" fmla="*/ 1782043 w 6884782"/>
              <a:gd name="connsiteY8058" fmla="*/ 4894496 h 5973007"/>
              <a:gd name="connsiteX8059" fmla="*/ 991607 w 6884782"/>
              <a:gd name="connsiteY8059" fmla="*/ 4894082 h 5973007"/>
              <a:gd name="connsiteX8060" fmla="*/ 992382 w 6884782"/>
              <a:gd name="connsiteY8060" fmla="*/ 4895941 h 5973007"/>
              <a:gd name="connsiteX8061" fmla="*/ 991297 w 6884782"/>
              <a:gd name="connsiteY8061" fmla="*/ 4898626 h 5973007"/>
              <a:gd name="connsiteX8062" fmla="*/ 987735 w 6884782"/>
              <a:gd name="connsiteY8062" fmla="*/ 4899452 h 5973007"/>
              <a:gd name="connsiteX8063" fmla="*/ 986960 w 6884782"/>
              <a:gd name="connsiteY8063" fmla="*/ 4897696 h 5973007"/>
              <a:gd name="connsiteX8064" fmla="*/ 987270 w 6884782"/>
              <a:gd name="connsiteY8064" fmla="*/ 4894909 h 5973007"/>
              <a:gd name="connsiteX8065" fmla="*/ 991607 w 6884782"/>
              <a:gd name="connsiteY8065" fmla="*/ 4894082 h 5973007"/>
              <a:gd name="connsiteX8066" fmla="*/ 6186045 w 6884782"/>
              <a:gd name="connsiteY8066" fmla="*/ 4893791 h 5973007"/>
              <a:gd name="connsiteX8067" fmla="*/ 6195648 w 6884782"/>
              <a:gd name="connsiteY8067" fmla="*/ 4898231 h 5973007"/>
              <a:gd name="connsiteX8068" fmla="*/ 6196733 w 6884782"/>
              <a:gd name="connsiteY8068" fmla="*/ 4913100 h 5973007"/>
              <a:gd name="connsiteX8069" fmla="*/ 6187284 w 6884782"/>
              <a:gd name="connsiteY8069" fmla="*/ 4916817 h 5973007"/>
              <a:gd name="connsiteX8070" fmla="*/ 6182327 w 6884782"/>
              <a:gd name="connsiteY8070" fmla="*/ 4914545 h 5973007"/>
              <a:gd name="connsiteX8071" fmla="*/ 6179694 w 6884782"/>
              <a:gd name="connsiteY8071" fmla="*/ 4911551 h 5973007"/>
              <a:gd name="connsiteX8072" fmla="*/ 6182172 w 6884782"/>
              <a:gd name="connsiteY8072" fmla="*/ 4898850 h 5973007"/>
              <a:gd name="connsiteX8073" fmla="*/ 6184031 w 6884782"/>
              <a:gd name="connsiteY8073" fmla="*/ 4897198 h 5973007"/>
              <a:gd name="connsiteX8074" fmla="*/ 6186045 w 6884782"/>
              <a:gd name="connsiteY8074" fmla="*/ 4893791 h 5973007"/>
              <a:gd name="connsiteX8075" fmla="*/ 6062902 w 6884782"/>
              <a:gd name="connsiteY8075" fmla="*/ 4892655 h 5973007"/>
              <a:gd name="connsiteX8076" fmla="*/ 6063367 w 6884782"/>
              <a:gd name="connsiteY8076" fmla="*/ 4896062 h 5973007"/>
              <a:gd name="connsiteX8077" fmla="*/ 6061973 w 6884782"/>
              <a:gd name="connsiteY8077" fmla="*/ 4896578 h 5973007"/>
              <a:gd name="connsiteX8078" fmla="*/ 6060114 w 6884782"/>
              <a:gd name="connsiteY8078" fmla="*/ 4895133 h 5973007"/>
              <a:gd name="connsiteX8079" fmla="*/ 1980620 w 6884782"/>
              <a:gd name="connsiteY8079" fmla="*/ 4892224 h 5973007"/>
              <a:gd name="connsiteX8080" fmla="*/ 1979691 w 6884782"/>
              <a:gd name="connsiteY8080" fmla="*/ 4895115 h 5973007"/>
              <a:gd name="connsiteX8081" fmla="*/ 1980465 w 6884782"/>
              <a:gd name="connsiteY8081" fmla="*/ 4895115 h 5973007"/>
              <a:gd name="connsiteX8082" fmla="*/ 1980775 w 6884782"/>
              <a:gd name="connsiteY8082" fmla="*/ 4899245 h 5973007"/>
              <a:gd name="connsiteX8083" fmla="*/ 1977832 w 6884782"/>
              <a:gd name="connsiteY8083" fmla="*/ 4900278 h 5973007"/>
              <a:gd name="connsiteX8084" fmla="*/ 1977058 w 6884782"/>
              <a:gd name="connsiteY8084" fmla="*/ 4902446 h 5973007"/>
              <a:gd name="connsiteX8085" fmla="*/ 1973804 w 6884782"/>
              <a:gd name="connsiteY8085" fmla="*/ 4908848 h 5973007"/>
              <a:gd name="connsiteX8086" fmla="*/ 1972411 w 6884782"/>
              <a:gd name="connsiteY8086" fmla="*/ 4910190 h 5973007"/>
              <a:gd name="connsiteX8087" fmla="*/ 1970397 w 6884782"/>
              <a:gd name="connsiteY8087" fmla="*/ 4909674 h 5973007"/>
              <a:gd name="connsiteX8088" fmla="*/ 1972411 w 6884782"/>
              <a:gd name="connsiteY8088" fmla="*/ 4898213 h 5973007"/>
              <a:gd name="connsiteX8089" fmla="*/ 1974269 w 6884782"/>
              <a:gd name="connsiteY8089" fmla="*/ 4896561 h 5973007"/>
              <a:gd name="connsiteX8090" fmla="*/ 1975354 w 6884782"/>
              <a:gd name="connsiteY8090" fmla="*/ 4894805 h 5973007"/>
              <a:gd name="connsiteX8091" fmla="*/ 1980620 w 6884782"/>
              <a:gd name="connsiteY8091" fmla="*/ 4892224 h 5973007"/>
              <a:gd name="connsiteX8092" fmla="*/ 1547530 w 6884782"/>
              <a:gd name="connsiteY8092" fmla="*/ 4891605 h 5973007"/>
              <a:gd name="connsiteX8093" fmla="*/ 1559612 w 6884782"/>
              <a:gd name="connsiteY8093" fmla="*/ 4934352 h 5973007"/>
              <a:gd name="connsiteX8094" fmla="*/ 1538546 w 6884782"/>
              <a:gd name="connsiteY8094" fmla="*/ 4893360 h 5973007"/>
              <a:gd name="connsiteX8095" fmla="*/ 1547530 w 6884782"/>
              <a:gd name="connsiteY8095" fmla="*/ 4891605 h 5973007"/>
              <a:gd name="connsiteX8096" fmla="*/ 1304033 w 6884782"/>
              <a:gd name="connsiteY8096" fmla="*/ 4891295 h 5973007"/>
              <a:gd name="connsiteX8097" fmla="*/ 1305582 w 6884782"/>
              <a:gd name="connsiteY8097" fmla="*/ 4898832 h 5973007"/>
              <a:gd name="connsiteX8098" fmla="*/ 1304033 w 6884782"/>
              <a:gd name="connsiteY8098" fmla="*/ 4891295 h 5973007"/>
              <a:gd name="connsiteX8099" fmla="*/ 1496414 w 6884782"/>
              <a:gd name="connsiteY8099" fmla="*/ 4890262 h 5973007"/>
              <a:gd name="connsiteX8100" fmla="*/ 1494865 w 6884782"/>
              <a:gd name="connsiteY8100" fmla="*/ 4896044 h 5973007"/>
              <a:gd name="connsiteX8101" fmla="*/ 1489134 w 6884782"/>
              <a:gd name="connsiteY8101" fmla="*/ 4908022 h 5973007"/>
              <a:gd name="connsiteX8102" fmla="*/ 1486966 w 6884782"/>
              <a:gd name="connsiteY8102" fmla="*/ 4908642 h 5973007"/>
              <a:gd name="connsiteX8103" fmla="*/ 1486656 w 6884782"/>
              <a:gd name="connsiteY8103" fmla="*/ 4909365 h 5973007"/>
              <a:gd name="connsiteX8104" fmla="*/ 1485571 w 6884782"/>
              <a:gd name="connsiteY8104" fmla="*/ 4909674 h 5973007"/>
              <a:gd name="connsiteX8105" fmla="*/ 1484797 w 6884782"/>
              <a:gd name="connsiteY8105" fmla="*/ 4909261 h 5973007"/>
              <a:gd name="connsiteX8106" fmla="*/ 1486036 w 6884782"/>
              <a:gd name="connsiteY8106" fmla="*/ 4904408 h 5973007"/>
              <a:gd name="connsiteX8107" fmla="*/ 1487740 w 6884782"/>
              <a:gd name="connsiteY8107" fmla="*/ 4900587 h 5973007"/>
              <a:gd name="connsiteX8108" fmla="*/ 1496414 w 6884782"/>
              <a:gd name="connsiteY8108" fmla="*/ 4890262 h 5973007"/>
              <a:gd name="connsiteX8109" fmla="*/ 904246 w 6884782"/>
              <a:gd name="connsiteY8109" fmla="*/ 4889539 h 5973007"/>
              <a:gd name="connsiteX8110" fmla="*/ 904401 w 6884782"/>
              <a:gd name="connsiteY8110" fmla="*/ 4902963 h 5973007"/>
              <a:gd name="connsiteX8111" fmla="*/ 897276 w 6884782"/>
              <a:gd name="connsiteY8111" fmla="*/ 4889952 h 5973007"/>
              <a:gd name="connsiteX8112" fmla="*/ 904246 w 6884782"/>
              <a:gd name="connsiteY8112" fmla="*/ 4889539 h 5973007"/>
              <a:gd name="connsiteX8113" fmla="*/ 6072506 w 6884782"/>
              <a:gd name="connsiteY8113" fmla="*/ 4889247 h 5973007"/>
              <a:gd name="connsiteX8114" fmla="*/ 6073900 w 6884782"/>
              <a:gd name="connsiteY8114" fmla="*/ 4890900 h 5973007"/>
              <a:gd name="connsiteX8115" fmla="*/ 6073435 w 6884782"/>
              <a:gd name="connsiteY8115" fmla="*/ 4896062 h 5973007"/>
              <a:gd name="connsiteX8116" fmla="*/ 6071732 w 6884782"/>
              <a:gd name="connsiteY8116" fmla="*/ 4896992 h 5973007"/>
              <a:gd name="connsiteX8117" fmla="*/ 6069253 w 6884782"/>
              <a:gd name="connsiteY8117" fmla="*/ 4893791 h 5973007"/>
              <a:gd name="connsiteX8118" fmla="*/ 6070802 w 6884782"/>
              <a:gd name="connsiteY8118" fmla="*/ 4890073 h 5973007"/>
              <a:gd name="connsiteX8119" fmla="*/ 6072506 w 6884782"/>
              <a:gd name="connsiteY8119" fmla="*/ 4889247 h 5973007"/>
              <a:gd name="connsiteX8120" fmla="*/ 2034524 w 6884782"/>
              <a:gd name="connsiteY8120" fmla="*/ 4889230 h 5973007"/>
              <a:gd name="connsiteX8121" fmla="*/ 2034369 w 6884782"/>
              <a:gd name="connsiteY8121" fmla="*/ 4892017 h 5973007"/>
              <a:gd name="connsiteX8122" fmla="*/ 2033905 w 6884782"/>
              <a:gd name="connsiteY8122" fmla="*/ 4893153 h 5973007"/>
              <a:gd name="connsiteX8123" fmla="*/ 2034059 w 6884782"/>
              <a:gd name="connsiteY8123" fmla="*/ 4894082 h 5973007"/>
              <a:gd name="connsiteX8124" fmla="*/ 2033285 w 6884782"/>
              <a:gd name="connsiteY8124" fmla="*/ 4894392 h 5973007"/>
              <a:gd name="connsiteX8125" fmla="*/ 2032201 w 6884782"/>
              <a:gd name="connsiteY8125" fmla="*/ 4896664 h 5973007"/>
              <a:gd name="connsiteX8126" fmla="*/ 2031426 w 6884782"/>
              <a:gd name="connsiteY8126" fmla="*/ 4902446 h 5973007"/>
              <a:gd name="connsiteX8127" fmla="*/ 2031117 w 6884782"/>
              <a:gd name="connsiteY8127" fmla="*/ 4902859 h 5973007"/>
              <a:gd name="connsiteX8128" fmla="*/ 2032820 w 6884782"/>
              <a:gd name="connsiteY8128" fmla="*/ 4905441 h 5973007"/>
              <a:gd name="connsiteX8129" fmla="*/ 2025075 w 6884782"/>
              <a:gd name="connsiteY8129" fmla="*/ 4920103 h 5973007"/>
              <a:gd name="connsiteX8130" fmla="*/ 2021049 w 6884782"/>
              <a:gd name="connsiteY8130" fmla="*/ 4916076 h 5973007"/>
              <a:gd name="connsiteX8131" fmla="*/ 2020273 w 6884782"/>
              <a:gd name="connsiteY8131" fmla="*/ 4913185 h 5973007"/>
              <a:gd name="connsiteX8132" fmla="*/ 2013768 w 6884782"/>
              <a:gd name="connsiteY8132" fmla="*/ 4912462 h 5973007"/>
              <a:gd name="connsiteX8133" fmla="*/ 2010205 w 6884782"/>
              <a:gd name="connsiteY8133" fmla="*/ 4909365 h 5973007"/>
              <a:gd name="connsiteX8134" fmla="*/ 2010050 w 6884782"/>
              <a:gd name="connsiteY8134" fmla="*/ 4902963 h 5973007"/>
              <a:gd name="connsiteX8135" fmla="*/ 2019809 w 6884782"/>
              <a:gd name="connsiteY8135" fmla="*/ 4897180 h 5973007"/>
              <a:gd name="connsiteX8136" fmla="*/ 2021203 w 6884782"/>
              <a:gd name="connsiteY8136" fmla="*/ 4897800 h 5973007"/>
              <a:gd name="connsiteX8137" fmla="*/ 2023991 w 6884782"/>
              <a:gd name="connsiteY8137" fmla="*/ 4895218 h 5973007"/>
              <a:gd name="connsiteX8138" fmla="*/ 2026779 w 6884782"/>
              <a:gd name="connsiteY8138" fmla="*/ 4895632 h 5973007"/>
              <a:gd name="connsiteX8139" fmla="*/ 2028328 w 6884782"/>
              <a:gd name="connsiteY8139" fmla="*/ 4897180 h 5973007"/>
              <a:gd name="connsiteX8140" fmla="*/ 2030032 w 6884782"/>
              <a:gd name="connsiteY8140" fmla="*/ 4893979 h 5973007"/>
              <a:gd name="connsiteX8141" fmla="*/ 2034524 w 6884782"/>
              <a:gd name="connsiteY8141" fmla="*/ 4889230 h 5973007"/>
              <a:gd name="connsiteX8142" fmla="*/ 2053577 w 6884782"/>
              <a:gd name="connsiteY8142" fmla="*/ 4888816 h 5973007"/>
              <a:gd name="connsiteX8143" fmla="*/ 2058068 w 6884782"/>
              <a:gd name="connsiteY8143" fmla="*/ 4893876 h 5973007"/>
              <a:gd name="connsiteX8144" fmla="*/ 2053421 w 6884782"/>
              <a:gd name="connsiteY8144" fmla="*/ 4895941 h 5973007"/>
              <a:gd name="connsiteX8145" fmla="*/ 2050788 w 6884782"/>
              <a:gd name="connsiteY8145" fmla="*/ 4894599 h 5973007"/>
              <a:gd name="connsiteX8146" fmla="*/ 2051098 w 6884782"/>
              <a:gd name="connsiteY8146" fmla="*/ 4891398 h 5973007"/>
              <a:gd name="connsiteX8147" fmla="*/ 2053577 w 6884782"/>
              <a:gd name="connsiteY8147" fmla="*/ 4888816 h 5973007"/>
              <a:gd name="connsiteX8148" fmla="*/ 1580368 w 6884782"/>
              <a:gd name="connsiteY8148" fmla="*/ 4888610 h 5973007"/>
              <a:gd name="connsiteX8149" fmla="*/ 1574637 w 6884782"/>
              <a:gd name="connsiteY8149" fmla="*/ 4895941 h 5973007"/>
              <a:gd name="connsiteX8150" fmla="*/ 1580368 w 6884782"/>
              <a:gd name="connsiteY8150" fmla="*/ 4888610 h 5973007"/>
              <a:gd name="connsiteX8151" fmla="*/ 1857323 w 6884782"/>
              <a:gd name="connsiteY8151" fmla="*/ 4888093 h 5973007"/>
              <a:gd name="connsiteX8152" fmla="*/ 1859801 w 6884782"/>
              <a:gd name="connsiteY8152" fmla="*/ 4888713 h 5973007"/>
              <a:gd name="connsiteX8153" fmla="*/ 1861660 w 6884782"/>
              <a:gd name="connsiteY8153" fmla="*/ 4888610 h 5973007"/>
              <a:gd name="connsiteX8154" fmla="*/ 1863209 w 6884782"/>
              <a:gd name="connsiteY8154" fmla="*/ 4890985 h 5973007"/>
              <a:gd name="connsiteX8155" fmla="*/ 1861350 w 6884782"/>
              <a:gd name="connsiteY8155" fmla="*/ 4891088 h 5973007"/>
              <a:gd name="connsiteX8156" fmla="*/ 1855928 w 6884782"/>
              <a:gd name="connsiteY8156" fmla="*/ 4890262 h 5973007"/>
              <a:gd name="connsiteX8157" fmla="*/ 1857323 w 6884782"/>
              <a:gd name="connsiteY8157" fmla="*/ 4888093 h 5973007"/>
              <a:gd name="connsiteX8158" fmla="*/ 1912930 w 6884782"/>
              <a:gd name="connsiteY8158" fmla="*/ 4887887 h 5973007"/>
              <a:gd name="connsiteX8159" fmla="*/ 1914015 w 6884782"/>
              <a:gd name="connsiteY8159" fmla="*/ 4892740 h 5973007"/>
              <a:gd name="connsiteX8160" fmla="*/ 1915254 w 6884782"/>
              <a:gd name="connsiteY8160" fmla="*/ 4891811 h 5973007"/>
              <a:gd name="connsiteX8161" fmla="*/ 1917422 w 6884782"/>
              <a:gd name="connsiteY8161" fmla="*/ 4893153 h 5973007"/>
              <a:gd name="connsiteX8162" fmla="*/ 1916028 w 6884782"/>
              <a:gd name="connsiteY8162" fmla="*/ 4895115 h 5973007"/>
              <a:gd name="connsiteX8163" fmla="*/ 1915099 w 6884782"/>
              <a:gd name="connsiteY8163" fmla="*/ 4895941 h 5973007"/>
              <a:gd name="connsiteX8164" fmla="*/ 1918043 w 6884782"/>
              <a:gd name="connsiteY8164" fmla="*/ 4902033 h 5973007"/>
              <a:gd name="connsiteX8165" fmla="*/ 1920365 w 6884782"/>
              <a:gd name="connsiteY8165" fmla="*/ 4914321 h 5973007"/>
              <a:gd name="connsiteX8166" fmla="*/ 1914325 w 6884782"/>
              <a:gd name="connsiteY8166" fmla="*/ 4907403 h 5973007"/>
              <a:gd name="connsiteX8167" fmla="*/ 1909987 w 6884782"/>
              <a:gd name="connsiteY8167" fmla="*/ 4902653 h 5973007"/>
              <a:gd name="connsiteX8168" fmla="*/ 1909987 w 6884782"/>
              <a:gd name="connsiteY8168" fmla="*/ 4902859 h 5973007"/>
              <a:gd name="connsiteX8169" fmla="*/ 1907664 w 6884782"/>
              <a:gd name="connsiteY8169" fmla="*/ 4903995 h 5973007"/>
              <a:gd name="connsiteX8170" fmla="*/ 1907199 w 6884782"/>
              <a:gd name="connsiteY8170" fmla="*/ 4901827 h 5973007"/>
              <a:gd name="connsiteX8171" fmla="*/ 1908439 w 6884782"/>
              <a:gd name="connsiteY8171" fmla="*/ 4900587 h 5973007"/>
              <a:gd name="connsiteX8172" fmla="*/ 1908129 w 6884782"/>
              <a:gd name="connsiteY8172" fmla="*/ 4900278 h 5973007"/>
              <a:gd name="connsiteX8173" fmla="*/ 1912930 w 6884782"/>
              <a:gd name="connsiteY8173" fmla="*/ 4887887 h 5973007"/>
              <a:gd name="connsiteX8174" fmla="*/ 2100142 w 6884782"/>
              <a:gd name="connsiteY8174" fmla="*/ 4887138 h 5973007"/>
              <a:gd name="connsiteX8175" fmla="*/ 2106861 w 6884782"/>
              <a:gd name="connsiteY8175" fmla="*/ 4887887 h 5973007"/>
              <a:gd name="connsiteX8176" fmla="*/ 2096483 w 6884782"/>
              <a:gd name="connsiteY8176" fmla="*/ 4897180 h 5973007"/>
              <a:gd name="connsiteX8177" fmla="*/ 2092455 w 6884782"/>
              <a:gd name="connsiteY8177" fmla="*/ 4900898 h 5973007"/>
              <a:gd name="connsiteX8178" fmla="*/ 2093385 w 6884782"/>
              <a:gd name="connsiteY8178" fmla="*/ 4902549 h 5973007"/>
              <a:gd name="connsiteX8179" fmla="*/ 2090752 w 6884782"/>
              <a:gd name="connsiteY8179" fmla="*/ 4905441 h 5973007"/>
              <a:gd name="connsiteX8180" fmla="*/ 2087963 w 6884782"/>
              <a:gd name="connsiteY8180" fmla="*/ 4903892 h 5973007"/>
              <a:gd name="connsiteX8181" fmla="*/ 2087963 w 6884782"/>
              <a:gd name="connsiteY8181" fmla="*/ 4903685 h 5973007"/>
              <a:gd name="connsiteX8182" fmla="*/ 2084555 w 6884782"/>
              <a:gd name="connsiteY8182" fmla="*/ 4905647 h 5973007"/>
              <a:gd name="connsiteX8183" fmla="*/ 2086724 w 6884782"/>
              <a:gd name="connsiteY8183" fmla="*/ 4898522 h 5973007"/>
              <a:gd name="connsiteX8184" fmla="*/ 2088428 w 6884782"/>
              <a:gd name="connsiteY8184" fmla="*/ 4896457 h 5973007"/>
              <a:gd name="connsiteX8185" fmla="*/ 2087808 w 6884782"/>
              <a:gd name="connsiteY8185" fmla="*/ 4893670 h 5973007"/>
              <a:gd name="connsiteX8186" fmla="*/ 2088893 w 6884782"/>
              <a:gd name="connsiteY8186" fmla="*/ 4890469 h 5973007"/>
              <a:gd name="connsiteX8187" fmla="*/ 2090132 w 6884782"/>
              <a:gd name="connsiteY8187" fmla="*/ 4891398 h 5973007"/>
              <a:gd name="connsiteX8188" fmla="*/ 2091217 w 6884782"/>
              <a:gd name="connsiteY8188" fmla="*/ 4893153 h 5973007"/>
              <a:gd name="connsiteX8189" fmla="*/ 2092610 w 6884782"/>
              <a:gd name="connsiteY8189" fmla="*/ 4891501 h 5973007"/>
              <a:gd name="connsiteX8190" fmla="*/ 2100142 w 6884782"/>
              <a:gd name="connsiteY8190" fmla="*/ 4887138 h 5973007"/>
              <a:gd name="connsiteX8191" fmla="*/ 1437554 w 6884782"/>
              <a:gd name="connsiteY8191" fmla="*/ 4886132 h 5973007"/>
              <a:gd name="connsiteX8192" fmla="*/ 1440961 w 6884782"/>
              <a:gd name="connsiteY8192" fmla="*/ 4892843 h 5973007"/>
              <a:gd name="connsiteX8193" fmla="*/ 1432132 w 6884782"/>
              <a:gd name="connsiteY8193" fmla="*/ 4896767 h 5973007"/>
              <a:gd name="connsiteX8194" fmla="*/ 1428879 w 6884782"/>
              <a:gd name="connsiteY8194" fmla="*/ 4896664 h 5973007"/>
              <a:gd name="connsiteX8195" fmla="*/ 1437554 w 6884782"/>
              <a:gd name="connsiteY8195" fmla="*/ 4886132 h 5973007"/>
              <a:gd name="connsiteX8196" fmla="*/ 1845086 w 6884782"/>
              <a:gd name="connsiteY8196" fmla="*/ 4885409 h 5973007"/>
              <a:gd name="connsiteX8197" fmla="*/ 1851591 w 6884782"/>
              <a:gd name="connsiteY8197" fmla="*/ 4890778 h 5973007"/>
              <a:gd name="connsiteX8198" fmla="*/ 1848803 w 6884782"/>
              <a:gd name="connsiteY8198" fmla="*/ 4892637 h 5973007"/>
              <a:gd name="connsiteX8199" fmla="*/ 1841988 w 6884782"/>
              <a:gd name="connsiteY8199" fmla="*/ 4889023 h 5973007"/>
              <a:gd name="connsiteX8200" fmla="*/ 1841213 w 6884782"/>
              <a:gd name="connsiteY8200" fmla="*/ 4886958 h 5973007"/>
              <a:gd name="connsiteX8201" fmla="*/ 1845086 w 6884782"/>
              <a:gd name="connsiteY8201" fmla="*/ 4885409 h 5973007"/>
              <a:gd name="connsiteX8202" fmla="*/ 1307964 w 6884782"/>
              <a:gd name="connsiteY8202" fmla="*/ 4883034 h 5973007"/>
              <a:gd name="connsiteX8203" fmla="*/ 1312707 w 6884782"/>
              <a:gd name="connsiteY8203" fmla="*/ 4883344 h 5973007"/>
              <a:gd name="connsiteX8204" fmla="*/ 1307286 w 6884782"/>
              <a:gd name="connsiteY8204" fmla="*/ 4890469 h 5973007"/>
              <a:gd name="connsiteX8205" fmla="*/ 1305892 w 6884782"/>
              <a:gd name="connsiteY8205" fmla="*/ 4887061 h 5973007"/>
              <a:gd name="connsiteX8206" fmla="*/ 1307964 w 6884782"/>
              <a:gd name="connsiteY8206" fmla="*/ 4883034 h 5973007"/>
              <a:gd name="connsiteX8207" fmla="*/ 6342180 w 6884782"/>
              <a:gd name="connsiteY8207" fmla="*/ 4881400 h 5973007"/>
              <a:gd name="connsiteX8208" fmla="*/ 6342800 w 6884782"/>
              <a:gd name="connsiteY8208" fmla="*/ 4884084 h 5973007"/>
              <a:gd name="connsiteX8209" fmla="*/ 6341716 w 6884782"/>
              <a:gd name="connsiteY8209" fmla="*/ 4886666 h 5973007"/>
              <a:gd name="connsiteX8210" fmla="*/ 6340322 w 6884782"/>
              <a:gd name="connsiteY8210" fmla="*/ 4886976 h 5973007"/>
              <a:gd name="connsiteX8211" fmla="*/ 6338308 w 6884782"/>
              <a:gd name="connsiteY8211" fmla="*/ 4886563 h 5973007"/>
              <a:gd name="connsiteX8212" fmla="*/ 6337843 w 6884782"/>
              <a:gd name="connsiteY8212" fmla="*/ 4885634 h 5973007"/>
              <a:gd name="connsiteX8213" fmla="*/ 6339702 w 6884782"/>
              <a:gd name="connsiteY8213" fmla="*/ 4882226 h 5973007"/>
              <a:gd name="connsiteX8214" fmla="*/ 6342180 w 6884782"/>
              <a:gd name="connsiteY8214" fmla="*/ 4881400 h 5973007"/>
              <a:gd name="connsiteX8215" fmla="*/ 1399914 w 6884782"/>
              <a:gd name="connsiteY8215" fmla="*/ 4881279 h 5973007"/>
              <a:gd name="connsiteX8216" fmla="*/ 1405645 w 6884782"/>
              <a:gd name="connsiteY8216" fmla="*/ 4883241 h 5973007"/>
              <a:gd name="connsiteX8217" fmla="*/ 1405025 w 6884782"/>
              <a:gd name="connsiteY8217" fmla="*/ 4884789 h 5973007"/>
              <a:gd name="connsiteX8218" fmla="*/ 1405180 w 6884782"/>
              <a:gd name="connsiteY8218" fmla="*/ 4884686 h 5973007"/>
              <a:gd name="connsiteX8219" fmla="*/ 1408743 w 6884782"/>
              <a:gd name="connsiteY8219" fmla="*/ 4887164 h 5973007"/>
              <a:gd name="connsiteX8220" fmla="*/ 1410447 w 6884782"/>
              <a:gd name="connsiteY8220" fmla="*/ 4895838 h 5973007"/>
              <a:gd name="connsiteX8221" fmla="*/ 1401153 w 6884782"/>
              <a:gd name="connsiteY8221" fmla="*/ 4890159 h 5973007"/>
              <a:gd name="connsiteX8222" fmla="*/ 1400998 w 6884782"/>
              <a:gd name="connsiteY8222" fmla="*/ 4887474 h 5973007"/>
              <a:gd name="connsiteX8223" fmla="*/ 1399449 w 6884782"/>
              <a:gd name="connsiteY8223" fmla="*/ 4887681 h 5973007"/>
              <a:gd name="connsiteX8224" fmla="*/ 1399914 w 6884782"/>
              <a:gd name="connsiteY8224" fmla="*/ 4881279 h 5973007"/>
              <a:gd name="connsiteX8225" fmla="*/ 1032964 w 6884782"/>
              <a:gd name="connsiteY8225" fmla="*/ 4881176 h 5973007"/>
              <a:gd name="connsiteX8226" fmla="*/ 1025065 w 6884782"/>
              <a:gd name="connsiteY8226" fmla="*/ 4903685 h 5973007"/>
              <a:gd name="connsiteX8227" fmla="*/ 1032964 w 6884782"/>
              <a:gd name="connsiteY8227" fmla="*/ 4881176 h 5973007"/>
              <a:gd name="connsiteX8228" fmla="*/ 966205 w 6884782"/>
              <a:gd name="connsiteY8228" fmla="*/ 4880659 h 5973007"/>
              <a:gd name="connsiteX8229" fmla="*/ 966979 w 6884782"/>
              <a:gd name="connsiteY8229" fmla="*/ 4880659 h 5973007"/>
              <a:gd name="connsiteX8230" fmla="*/ 964191 w 6884782"/>
              <a:gd name="connsiteY8230" fmla="*/ 4891295 h 5973007"/>
              <a:gd name="connsiteX8231" fmla="*/ 962796 w 6884782"/>
              <a:gd name="connsiteY8231" fmla="*/ 4892224 h 5973007"/>
              <a:gd name="connsiteX8232" fmla="*/ 960938 w 6884782"/>
              <a:gd name="connsiteY8232" fmla="*/ 4891191 h 5973007"/>
              <a:gd name="connsiteX8233" fmla="*/ 959854 w 6884782"/>
              <a:gd name="connsiteY8233" fmla="*/ 4889643 h 5973007"/>
              <a:gd name="connsiteX8234" fmla="*/ 961403 w 6884782"/>
              <a:gd name="connsiteY8234" fmla="*/ 4886854 h 5973007"/>
              <a:gd name="connsiteX8235" fmla="*/ 964965 w 6884782"/>
              <a:gd name="connsiteY8235" fmla="*/ 4883344 h 5973007"/>
              <a:gd name="connsiteX8236" fmla="*/ 966205 w 6884782"/>
              <a:gd name="connsiteY8236" fmla="*/ 4880659 h 5973007"/>
              <a:gd name="connsiteX8237" fmla="*/ 1197929 w 6884782"/>
              <a:gd name="connsiteY8237" fmla="*/ 4880349 h 5973007"/>
              <a:gd name="connsiteX8238" fmla="*/ 1182904 w 6884782"/>
              <a:gd name="connsiteY8238" fmla="*/ 4901414 h 5973007"/>
              <a:gd name="connsiteX8239" fmla="*/ 1197929 w 6884782"/>
              <a:gd name="connsiteY8239" fmla="*/ 4880349 h 5973007"/>
              <a:gd name="connsiteX8240" fmla="*/ 1774453 w 6884782"/>
              <a:gd name="connsiteY8240" fmla="*/ 4876942 h 5973007"/>
              <a:gd name="connsiteX8241" fmla="*/ 1781268 w 6884782"/>
              <a:gd name="connsiteY8241" fmla="*/ 4880969 h 5973007"/>
              <a:gd name="connsiteX8242" fmla="*/ 1762061 w 6884782"/>
              <a:gd name="connsiteY8242" fmla="*/ 4902137 h 5973007"/>
              <a:gd name="connsiteX8243" fmla="*/ 1774453 w 6884782"/>
              <a:gd name="connsiteY8243" fmla="*/ 4876942 h 5973007"/>
              <a:gd name="connsiteX8244" fmla="*/ 1326803 w 6884782"/>
              <a:gd name="connsiteY8244" fmla="*/ 4876736 h 5973007"/>
              <a:gd name="connsiteX8245" fmla="*/ 1338110 w 6884782"/>
              <a:gd name="connsiteY8245" fmla="*/ 4887681 h 5973007"/>
              <a:gd name="connsiteX8246" fmla="*/ 1335942 w 6884782"/>
              <a:gd name="connsiteY8246" fmla="*/ 4892637 h 5973007"/>
              <a:gd name="connsiteX8247" fmla="*/ 1326803 w 6884782"/>
              <a:gd name="connsiteY8247" fmla="*/ 4876736 h 5973007"/>
              <a:gd name="connsiteX8248" fmla="*/ 1503694 w 6884782"/>
              <a:gd name="connsiteY8248" fmla="*/ 4875806 h 5973007"/>
              <a:gd name="connsiteX8249" fmla="*/ 1503075 w 6884782"/>
              <a:gd name="connsiteY8249" fmla="*/ 4876013 h 5973007"/>
              <a:gd name="connsiteX8250" fmla="*/ 1503850 w 6884782"/>
              <a:gd name="connsiteY8250" fmla="*/ 4875909 h 5973007"/>
              <a:gd name="connsiteX8251" fmla="*/ 1208617 w 6884782"/>
              <a:gd name="connsiteY8251" fmla="*/ 4875290 h 5973007"/>
              <a:gd name="connsiteX8252" fmla="*/ 1216362 w 6884782"/>
              <a:gd name="connsiteY8252" fmla="*/ 4875497 h 5973007"/>
              <a:gd name="connsiteX8253" fmla="*/ 1216981 w 6884782"/>
              <a:gd name="connsiteY8253" fmla="*/ 4877252 h 5973007"/>
              <a:gd name="connsiteX8254" fmla="*/ 1217446 w 6884782"/>
              <a:gd name="connsiteY8254" fmla="*/ 4881692 h 5973007"/>
              <a:gd name="connsiteX8255" fmla="*/ 1214658 w 6884782"/>
              <a:gd name="connsiteY8255" fmla="*/ 4883241 h 5973007"/>
              <a:gd name="connsiteX8256" fmla="*/ 1211560 w 6884782"/>
              <a:gd name="connsiteY8256" fmla="*/ 4881485 h 5973007"/>
              <a:gd name="connsiteX8257" fmla="*/ 1209701 w 6884782"/>
              <a:gd name="connsiteY8257" fmla="*/ 4878387 h 5973007"/>
              <a:gd name="connsiteX8258" fmla="*/ 1208617 w 6884782"/>
              <a:gd name="connsiteY8258" fmla="*/ 4875290 h 5973007"/>
              <a:gd name="connsiteX8259" fmla="*/ 1832229 w 6884782"/>
              <a:gd name="connsiteY8259" fmla="*/ 4875083 h 5973007"/>
              <a:gd name="connsiteX8260" fmla="*/ 1827737 w 6884782"/>
              <a:gd name="connsiteY8260" fmla="*/ 4880040 h 5973007"/>
              <a:gd name="connsiteX8261" fmla="*/ 1826189 w 6884782"/>
              <a:gd name="connsiteY8261" fmla="*/ 4879833 h 5973007"/>
              <a:gd name="connsiteX8262" fmla="*/ 1832229 w 6884782"/>
              <a:gd name="connsiteY8262" fmla="*/ 4875083 h 5973007"/>
              <a:gd name="connsiteX8263" fmla="*/ 1358711 w 6884782"/>
              <a:gd name="connsiteY8263" fmla="*/ 4874464 h 5973007"/>
              <a:gd name="connsiteX8264" fmla="*/ 1363203 w 6884782"/>
              <a:gd name="connsiteY8264" fmla="*/ 4876632 h 5973007"/>
              <a:gd name="connsiteX8265" fmla="*/ 1356078 w 6884782"/>
              <a:gd name="connsiteY8265" fmla="*/ 4882002 h 5973007"/>
              <a:gd name="connsiteX8266" fmla="*/ 1358711 w 6884782"/>
              <a:gd name="connsiteY8266" fmla="*/ 4874464 h 5973007"/>
              <a:gd name="connsiteX8267" fmla="*/ 990058 w 6884782"/>
              <a:gd name="connsiteY8267" fmla="*/ 4874154 h 5973007"/>
              <a:gd name="connsiteX8268" fmla="*/ 990987 w 6884782"/>
              <a:gd name="connsiteY8268" fmla="*/ 4875703 h 5973007"/>
              <a:gd name="connsiteX8269" fmla="*/ 991452 w 6884782"/>
              <a:gd name="connsiteY8269" fmla="*/ 4878078 h 5973007"/>
              <a:gd name="connsiteX8270" fmla="*/ 992846 w 6884782"/>
              <a:gd name="connsiteY8270" fmla="*/ 4878904 h 5973007"/>
              <a:gd name="connsiteX8271" fmla="*/ 992227 w 6884782"/>
              <a:gd name="connsiteY8271" fmla="*/ 4885822 h 5973007"/>
              <a:gd name="connsiteX8272" fmla="*/ 991297 w 6884782"/>
              <a:gd name="connsiteY8272" fmla="*/ 4884067 h 5973007"/>
              <a:gd name="connsiteX8273" fmla="*/ 990833 w 6884782"/>
              <a:gd name="connsiteY8273" fmla="*/ 4881795 h 5973007"/>
              <a:gd name="connsiteX8274" fmla="*/ 990523 w 6884782"/>
              <a:gd name="connsiteY8274" fmla="*/ 4879523 h 5973007"/>
              <a:gd name="connsiteX8275" fmla="*/ 989594 w 6884782"/>
              <a:gd name="connsiteY8275" fmla="*/ 4877871 h 5973007"/>
              <a:gd name="connsiteX8276" fmla="*/ 990058 w 6884782"/>
              <a:gd name="connsiteY8276" fmla="*/ 4874154 h 5973007"/>
              <a:gd name="connsiteX8277" fmla="*/ 1685581 w 6884782"/>
              <a:gd name="connsiteY8277" fmla="*/ 4873870 h 5973007"/>
              <a:gd name="connsiteX8278" fmla="*/ 1687711 w 6884782"/>
              <a:gd name="connsiteY8278" fmla="*/ 4878078 h 5973007"/>
              <a:gd name="connsiteX8279" fmla="*/ 1683994 w 6884782"/>
              <a:gd name="connsiteY8279" fmla="*/ 4879937 h 5973007"/>
              <a:gd name="connsiteX8280" fmla="*/ 1681360 w 6884782"/>
              <a:gd name="connsiteY8280" fmla="*/ 4877148 h 5973007"/>
              <a:gd name="connsiteX8281" fmla="*/ 1680896 w 6884782"/>
              <a:gd name="connsiteY8281" fmla="*/ 4874774 h 5973007"/>
              <a:gd name="connsiteX8282" fmla="*/ 1685581 w 6884782"/>
              <a:gd name="connsiteY8282" fmla="*/ 4873870 h 5973007"/>
              <a:gd name="connsiteX8283" fmla="*/ 1458929 w 6884782"/>
              <a:gd name="connsiteY8283" fmla="*/ 4873638 h 5973007"/>
              <a:gd name="connsiteX8284" fmla="*/ 1464506 w 6884782"/>
              <a:gd name="connsiteY8284" fmla="*/ 4882828 h 5973007"/>
              <a:gd name="connsiteX8285" fmla="*/ 1464351 w 6884782"/>
              <a:gd name="connsiteY8285" fmla="*/ 4893256 h 5973007"/>
              <a:gd name="connsiteX8286" fmla="*/ 1458929 w 6884782"/>
              <a:gd name="connsiteY8286" fmla="*/ 4873638 h 5973007"/>
              <a:gd name="connsiteX8287" fmla="*/ 1948712 w 6884782"/>
              <a:gd name="connsiteY8287" fmla="*/ 4872399 h 5973007"/>
              <a:gd name="connsiteX8288" fmla="*/ 1949021 w 6884782"/>
              <a:gd name="connsiteY8288" fmla="*/ 4873225 h 5973007"/>
              <a:gd name="connsiteX8289" fmla="*/ 1947627 w 6884782"/>
              <a:gd name="connsiteY8289" fmla="*/ 4874361 h 5973007"/>
              <a:gd name="connsiteX8290" fmla="*/ 1945769 w 6884782"/>
              <a:gd name="connsiteY8290" fmla="*/ 4873638 h 5973007"/>
              <a:gd name="connsiteX8291" fmla="*/ 1948712 w 6884782"/>
              <a:gd name="connsiteY8291" fmla="*/ 4872399 h 5973007"/>
              <a:gd name="connsiteX8292" fmla="*/ 1304962 w 6884782"/>
              <a:gd name="connsiteY8292" fmla="*/ 4870643 h 5973007"/>
              <a:gd name="connsiteX8293" fmla="*/ 1294739 w 6884782"/>
              <a:gd name="connsiteY8293" fmla="*/ 4883138 h 5973007"/>
              <a:gd name="connsiteX8294" fmla="*/ 1304962 w 6884782"/>
              <a:gd name="connsiteY8294" fmla="*/ 4870643 h 5973007"/>
              <a:gd name="connsiteX8295" fmla="*/ 1275377 w 6884782"/>
              <a:gd name="connsiteY8295" fmla="*/ 4870437 h 5973007"/>
              <a:gd name="connsiteX8296" fmla="*/ 1282038 w 6884782"/>
              <a:gd name="connsiteY8296" fmla="*/ 4883550 h 5973007"/>
              <a:gd name="connsiteX8297" fmla="*/ 1277856 w 6884782"/>
              <a:gd name="connsiteY8297" fmla="*/ 4886854 h 5973007"/>
              <a:gd name="connsiteX8298" fmla="*/ 1268872 w 6884782"/>
              <a:gd name="connsiteY8298" fmla="*/ 4875083 h 5973007"/>
              <a:gd name="connsiteX8299" fmla="*/ 1275377 w 6884782"/>
              <a:gd name="connsiteY8299" fmla="*/ 4870437 h 5973007"/>
              <a:gd name="connsiteX8300" fmla="*/ 1788549 w 6884782"/>
              <a:gd name="connsiteY8300" fmla="*/ 4869714 h 5973007"/>
              <a:gd name="connsiteX8301" fmla="*/ 1789168 w 6884782"/>
              <a:gd name="connsiteY8301" fmla="*/ 4874154 h 5973007"/>
              <a:gd name="connsiteX8302" fmla="*/ 1786690 w 6884782"/>
              <a:gd name="connsiteY8302" fmla="*/ 4876426 h 5973007"/>
              <a:gd name="connsiteX8303" fmla="*/ 1782663 w 6884782"/>
              <a:gd name="connsiteY8303" fmla="*/ 4876219 h 5973007"/>
              <a:gd name="connsiteX8304" fmla="*/ 1783437 w 6884782"/>
              <a:gd name="connsiteY8304" fmla="*/ 4876219 h 5973007"/>
              <a:gd name="connsiteX8305" fmla="*/ 1783282 w 6884782"/>
              <a:gd name="connsiteY8305" fmla="*/ 4874464 h 5973007"/>
              <a:gd name="connsiteX8306" fmla="*/ 1782508 w 6884782"/>
              <a:gd name="connsiteY8306" fmla="*/ 4874464 h 5973007"/>
              <a:gd name="connsiteX8307" fmla="*/ 1782972 w 6884782"/>
              <a:gd name="connsiteY8307" fmla="*/ 4872709 h 5973007"/>
              <a:gd name="connsiteX8308" fmla="*/ 1788549 w 6884782"/>
              <a:gd name="connsiteY8308" fmla="*/ 4869714 h 5973007"/>
              <a:gd name="connsiteX8309" fmla="*/ 953193 w 6884782"/>
              <a:gd name="connsiteY8309" fmla="*/ 4869301 h 5973007"/>
              <a:gd name="connsiteX8310" fmla="*/ 953813 w 6884782"/>
              <a:gd name="connsiteY8310" fmla="*/ 4870643 h 5973007"/>
              <a:gd name="connsiteX8311" fmla="*/ 957065 w 6884782"/>
              <a:gd name="connsiteY8311" fmla="*/ 4871056 h 5973007"/>
              <a:gd name="connsiteX8312" fmla="*/ 961403 w 6884782"/>
              <a:gd name="connsiteY8312" fmla="*/ 4869508 h 5973007"/>
              <a:gd name="connsiteX8313" fmla="*/ 955981 w 6884782"/>
              <a:gd name="connsiteY8313" fmla="*/ 4872709 h 5973007"/>
              <a:gd name="connsiteX8314" fmla="*/ 955516 w 6884782"/>
              <a:gd name="connsiteY8314" fmla="*/ 4873948 h 5973007"/>
              <a:gd name="connsiteX8315" fmla="*/ 955671 w 6884782"/>
              <a:gd name="connsiteY8315" fmla="*/ 4874051 h 5973007"/>
              <a:gd name="connsiteX8316" fmla="*/ 955361 w 6884782"/>
              <a:gd name="connsiteY8316" fmla="*/ 4874464 h 5973007"/>
              <a:gd name="connsiteX8317" fmla="*/ 954897 w 6884782"/>
              <a:gd name="connsiteY8317" fmla="*/ 4875290 h 5973007"/>
              <a:gd name="connsiteX8318" fmla="*/ 954587 w 6884782"/>
              <a:gd name="connsiteY8318" fmla="*/ 4875497 h 5973007"/>
              <a:gd name="connsiteX8319" fmla="*/ 953503 w 6884782"/>
              <a:gd name="connsiteY8319" fmla="*/ 4877562 h 5973007"/>
              <a:gd name="connsiteX8320" fmla="*/ 951799 w 6884782"/>
              <a:gd name="connsiteY8320" fmla="*/ 4881279 h 5973007"/>
              <a:gd name="connsiteX8321" fmla="*/ 949785 w 6884782"/>
              <a:gd name="connsiteY8321" fmla="*/ 4881588 h 5973007"/>
              <a:gd name="connsiteX8322" fmla="*/ 948546 w 6884782"/>
              <a:gd name="connsiteY8322" fmla="*/ 4879214 h 5973007"/>
              <a:gd name="connsiteX8323" fmla="*/ 949321 w 6884782"/>
              <a:gd name="connsiteY8323" fmla="*/ 4876013 h 5973007"/>
              <a:gd name="connsiteX8324" fmla="*/ 948856 w 6884782"/>
              <a:gd name="connsiteY8324" fmla="*/ 4875083 h 5973007"/>
              <a:gd name="connsiteX8325" fmla="*/ 950095 w 6884782"/>
              <a:gd name="connsiteY8325" fmla="*/ 4872709 h 5973007"/>
              <a:gd name="connsiteX8326" fmla="*/ 951024 w 6884782"/>
              <a:gd name="connsiteY8326" fmla="*/ 4872089 h 5973007"/>
              <a:gd name="connsiteX8327" fmla="*/ 2088893 w 6884782"/>
              <a:gd name="connsiteY8327" fmla="*/ 4867959 h 5973007"/>
              <a:gd name="connsiteX8328" fmla="*/ 2089977 w 6884782"/>
              <a:gd name="connsiteY8328" fmla="*/ 4870230 h 5973007"/>
              <a:gd name="connsiteX8329" fmla="*/ 2087653 w 6884782"/>
              <a:gd name="connsiteY8329" fmla="*/ 4880969 h 5973007"/>
              <a:gd name="connsiteX8330" fmla="*/ 2086724 w 6884782"/>
              <a:gd name="connsiteY8330" fmla="*/ 4878697 h 5973007"/>
              <a:gd name="connsiteX8331" fmla="*/ 2088893 w 6884782"/>
              <a:gd name="connsiteY8331" fmla="*/ 4867959 h 5973007"/>
              <a:gd name="connsiteX8332" fmla="*/ 1909987 w 6884782"/>
              <a:gd name="connsiteY8332" fmla="*/ 4866926 h 5973007"/>
              <a:gd name="connsiteX8333" fmla="*/ 1909832 w 6884782"/>
              <a:gd name="connsiteY8333" fmla="*/ 4870540 h 5973007"/>
              <a:gd name="connsiteX8334" fmla="*/ 1908903 w 6884782"/>
              <a:gd name="connsiteY8334" fmla="*/ 4871160 h 5973007"/>
              <a:gd name="connsiteX8335" fmla="*/ 1907354 w 6884782"/>
              <a:gd name="connsiteY8335" fmla="*/ 4871056 h 5973007"/>
              <a:gd name="connsiteX8336" fmla="*/ 1909987 w 6884782"/>
              <a:gd name="connsiteY8336" fmla="*/ 4866926 h 5973007"/>
              <a:gd name="connsiteX8337" fmla="*/ 1291022 w 6884782"/>
              <a:gd name="connsiteY8337" fmla="*/ 4866926 h 5973007"/>
              <a:gd name="connsiteX8338" fmla="*/ 1295513 w 6884782"/>
              <a:gd name="connsiteY8338" fmla="*/ 4873535 h 5973007"/>
              <a:gd name="connsiteX8339" fmla="*/ 1293965 w 6884782"/>
              <a:gd name="connsiteY8339" fmla="*/ 4875600 h 5973007"/>
              <a:gd name="connsiteX8340" fmla="*/ 1288389 w 6884782"/>
              <a:gd name="connsiteY8340" fmla="*/ 4872709 h 5973007"/>
              <a:gd name="connsiteX8341" fmla="*/ 1288078 w 6884782"/>
              <a:gd name="connsiteY8341" fmla="*/ 4869817 h 5973007"/>
              <a:gd name="connsiteX8342" fmla="*/ 1291022 w 6884782"/>
              <a:gd name="connsiteY8342" fmla="*/ 4866926 h 5973007"/>
              <a:gd name="connsiteX8343" fmla="*/ 1838735 w 6884782"/>
              <a:gd name="connsiteY8343" fmla="*/ 4866616 h 5973007"/>
              <a:gd name="connsiteX8344" fmla="*/ 1839355 w 6884782"/>
              <a:gd name="connsiteY8344" fmla="*/ 4867752 h 5973007"/>
              <a:gd name="connsiteX8345" fmla="*/ 1838735 w 6884782"/>
              <a:gd name="connsiteY8345" fmla="*/ 4869508 h 5973007"/>
              <a:gd name="connsiteX8346" fmla="*/ 1837031 w 6884782"/>
              <a:gd name="connsiteY8346" fmla="*/ 4872915 h 5973007"/>
              <a:gd name="connsiteX8347" fmla="*/ 1838735 w 6884782"/>
              <a:gd name="connsiteY8347" fmla="*/ 4866616 h 5973007"/>
              <a:gd name="connsiteX8348" fmla="*/ 6593422 w 6884782"/>
              <a:gd name="connsiteY8348" fmla="*/ 4865395 h 5973007"/>
              <a:gd name="connsiteX8349" fmla="*/ 6595126 w 6884782"/>
              <a:gd name="connsiteY8349" fmla="*/ 4889557 h 5973007"/>
              <a:gd name="connsiteX8350" fmla="*/ 6575764 w 6884782"/>
              <a:gd name="connsiteY8350" fmla="*/ 4907214 h 5973007"/>
              <a:gd name="connsiteX8351" fmla="*/ 6580101 w 6884782"/>
              <a:gd name="connsiteY8351" fmla="*/ 4882949 h 5973007"/>
              <a:gd name="connsiteX8352" fmla="*/ 6593422 w 6884782"/>
              <a:gd name="connsiteY8352" fmla="*/ 4865395 h 5973007"/>
              <a:gd name="connsiteX8353" fmla="*/ 876519 w 6884782"/>
              <a:gd name="connsiteY8353" fmla="*/ 4865377 h 5973007"/>
              <a:gd name="connsiteX8354" fmla="*/ 887517 w 6884782"/>
              <a:gd name="connsiteY8354" fmla="*/ 4870643 h 5973007"/>
              <a:gd name="connsiteX8355" fmla="*/ 885039 w 6884782"/>
              <a:gd name="connsiteY8355" fmla="*/ 4870953 h 5973007"/>
              <a:gd name="connsiteX8356" fmla="*/ 876519 w 6884782"/>
              <a:gd name="connsiteY8356" fmla="*/ 4865377 h 5973007"/>
              <a:gd name="connsiteX8357" fmla="*/ 1910142 w 6884782"/>
              <a:gd name="connsiteY8357" fmla="*/ 4864448 h 5973007"/>
              <a:gd name="connsiteX8358" fmla="*/ 1909987 w 6884782"/>
              <a:gd name="connsiteY8358" fmla="*/ 4866307 h 5973007"/>
              <a:gd name="connsiteX8359" fmla="*/ 1909213 w 6884782"/>
              <a:gd name="connsiteY8359" fmla="*/ 4866204 h 5973007"/>
              <a:gd name="connsiteX8360" fmla="*/ 1910142 w 6884782"/>
              <a:gd name="connsiteY8360" fmla="*/ 4864448 h 5973007"/>
              <a:gd name="connsiteX8361" fmla="*/ 1020883 w 6884782"/>
              <a:gd name="connsiteY8361" fmla="*/ 4863725 h 5973007"/>
              <a:gd name="connsiteX8362" fmla="*/ 1021348 w 6884782"/>
              <a:gd name="connsiteY8362" fmla="*/ 4866204 h 5973007"/>
              <a:gd name="connsiteX8363" fmla="*/ 1022741 w 6884782"/>
              <a:gd name="connsiteY8363" fmla="*/ 4867029 h 5973007"/>
              <a:gd name="connsiteX8364" fmla="*/ 1021967 w 6884782"/>
              <a:gd name="connsiteY8364" fmla="*/ 4869817 h 5973007"/>
              <a:gd name="connsiteX8365" fmla="*/ 1020883 w 6884782"/>
              <a:gd name="connsiteY8365" fmla="*/ 4863725 h 5973007"/>
              <a:gd name="connsiteX8366" fmla="*/ 5897415 w 6884782"/>
              <a:gd name="connsiteY8366" fmla="*/ 4863704 h 5973007"/>
              <a:gd name="connsiteX8367" fmla="*/ 5902740 w 6884782"/>
              <a:gd name="connsiteY8367" fmla="*/ 4864569 h 5973007"/>
              <a:gd name="connsiteX8368" fmla="*/ 5897318 w 6884782"/>
              <a:gd name="connsiteY8368" fmla="*/ 4870145 h 5973007"/>
              <a:gd name="connsiteX8369" fmla="*/ 5894995 w 6884782"/>
              <a:gd name="connsiteY8369" fmla="*/ 4869422 h 5973007"/>
              <a:gd name="connsiteX8370" fmla="*/ 5897415 w 6884782"/>
              <a:gd name="connsiteY8370" fmla="*/ 4863704 h 5973007"/>
              <a:gd name="connsiteX8371" fmla="*/ 2028793 w 6884782"/>
              <a:gd name="connsiteY8371" fmla="*/ 4863622 h 5973007"/>
              <a:gd name="connsiteX8372" fmla="*/ 2029877 w 6884782"/>
              <a:gd name="connsiteY8372" fmla="*/ 4868785 h 5973007"/>
              <a:gd name="connsiteX8373" fmla="*/ 2025695 w 6884782"/>
              <a:gd name="connsiteY8373" fmla="*/ 4870747 h 5973007"/>
              <a:gd name="connsiteX8374" fmla="*/ 2023991 w 6884782"/>
              <a:gd name="connsiteY8374" fmla="*/ 4869508 h 5973007"/>
              <a:gd name="connsiteX8375" fmla="*/ 2024146 w 6884782"/>
              <a:gd name="connsiteY8375" fmla="*/ 4868681 h 5973007"/>
              <a:gd name="connsiteX8376" fmla="*/ 2024456 w 6884782"/>
              <a:gd name="connsiteY8376" fmla="*/ 4865171 h 5973007"/>
              <a:gd name="connsiteX8377" fmla="*/ 2028793 w 6884782"/>
              <a:gd name="connsiteY8377" fmla="*/ 4863622 h 5973007"/>
              <a:gd name="connsiteX8378" fmla="*/ 1553726 w 6884782"/>
              <a:gd name="connsiteY8378" fmla="*/ 4862899 h 5973007"/>
              <a:gd name="connsiteX8379" fmla="*/ 1553726 w 6884782"/>
              <a:gd name="connsiteY8379" fmla="*/ 4868475 h 5973007"/>
              <a:gd name="connsiteX8380" fmla="*/ 1545361 w 6884782"/>
              <a:gd name="connsiteY8380" fmla="*/ 4869198 h 5973007"/>
              <a:gd name="connsiteX8381" fmla="*/ 1540560 w 6884782"/>
              <a:gd name="connsiteY8381" fmla="*/ 4865997 h 5973007"/>
              <a:gd name="connsiteX8382" fmla="*/ 1553726 w 6884782"/>
              <a:gd name="connsiteY8382" fmla="*/ 4862899 h 5973007"/>
              <a:gd name="connsiteX8383" fmla="*/ 1213574 w 6884782"/>
              <a:gd name="connsiteY8383" fmla="*/ 4862383 h 5973007"/>
              <a:gd name="connsiteX8384" fmla="*/ 1216052 w 6884782"/>
              <a:gd name="connsiteY8384" fmla="*/ 4863002 h 5973007"/>
              <a:gd name="connsiteX8385" fmla="*/ 1213264 w 6884782"/>
              <a:gd name="connsiteY8385" fmla="*/ 4864345 h 5973007"/>
              <a:gd name="connsiteX8386" fmla="*/ 1213109 w 6884782"/>
              <a:gd name="connsiteY8386" fmla="*/ 4863209 h 5973007"/>
              <a:gd name="connsiteX8387" fmla="*/ 1212644 w 6884782"/>
              <a:gd name="connsiteY8387" fmla="*/ 4863932 h 5973007"/>
              <a:gd name="connsiteX8388" fmla="*/ 1212955 w 6884782"/>
              <a:gd name="connsiteY8388" fmla="*/ 4862796 h 5973007"/>
              <a:gd name="connsiteX8389" fmla="*/ 1213574 w 6884782"/>
              <a:gd name="connsiteY8389" fmla="*/ 4862383 h 5973007"/>
              <a:gd name="connsiteX8390" fmla="*/ 6297261 w 6884782"/>
              <a:gd name="connsiteY8390" fmla="*/ 4861781 h 5973007"/>
              <a:gd name="connsiteX8391" fmla="*/ 6304695 w 6884782"/>
              <a:gd name="connsiteY8391" fmla="*/ 4861884 h 5973007"/>
              <a:gd name="connsiteX8392" fmla="*/ 6305315 w 6884782"/>
              <a:gd name="connsiteY8392" fmla="*/ 4864569 h 5973007"/>
              <a:gd name="connsiteX8393" fmla="*/ 6299894 w 6884782"/>
              <a:gd name="connsiteY8393" fmla="*/ 4867667 h 5973007"/>
              <a:gd name="connsiteX8394" fmla="*/ 6297880 w 6884782"/>
              <a:gd name="connsiteY8394" fmla="*/ 4866221 h 5973007"/>
              <a:gd name="connsiteX8395" fmla="*/ 6299894 w 6884782"/>
              <a:gd name="connsiteY8395" fmla="*/ 4870145 h 5973007"/>
              <a:gd name="connsiteX8396" fmla="*/ 6299274 w 6884782"/>
              <a:gd name="connsiteY8396" fmla="*/ 4874998 h 5973007"/>
              <a:gd name="connsiteX8397" fmla="*/ 6270618 w 6884782"/>
              <a:gd name="connsiteY8397" fmla="*/ 4894204 h 5973007"/>
              <a:gd name="connsiteX8398" fmla="*/ 6270308 w 6884782"/>
              <a:gd name="connsiteY8398" fmla="*/ 4883878 h 5973007"/>
              <a:gd name="connsiteX8399" fmla="*/ 6290290 w 6884782"/>
              <a:gd name="connsiteY8399" fmla="*/ 4867564 h 5973007"/>
              <a:gd name="connsiteX8400" fmla="*/ 6297416 w 6884782"/>
              <a:gd name="connsiteY8400" fmla="*/ 4865395 h 5973007"/>
              <a:gd name="connsiteX8401" fmla="*/ 6296951 w 6884782"/>
              <a:gd name="connsiteY8401" fmla="*/ 4864259 h 5973007"/>
              <a:gd name="connsiteX8402" fmla="*/ 6297261 w 6884782"/>
              <a:gd name="connsiteY8402" fmla="*/ 4861781 h 5973007"/>
              <a:gd name="connsiteX8403" fmla="*/ 1796758 w 6884782"/>
              <a:gd name="connsiteY8403" fmla="*/ 4861660 h 5973007"/>
              <a:gd name="connsiteX8404" fmla="*/ 1797533 w 6884782"/>
              <a:gd name="connsiteY8404" fmla="*/ 4861763 h 5973007"/>
              <a:gd name="connsiteX8405" fmla="*/ 1800786 w 6884782"/>
              <a:gd name="connsiteY8405" fmla="*/ 4862383 h 5973007"/>
              <a:gd name="connsiteX8406" fmla="*/ 1802179 w 6884782"/>
              <a:gd name="connsiteY8406" fmla="*/ 4866926 h 5973007"/>
              <a:gd name="connsiteX8407" fmla="*/ 1799392 w 6884782"/>
              <a:gd name="connsiteY8407" fmla="*/ 4868269 h 5973007"/>
              <a:gd name="connsiteX8408" fmla="*/ 1797223 w 6884782"/>
              <a:gd name="connsiteY8408" fmla="*/ 4867855 h 5973007"/>
              <a:gd name="connsiteX8409" fmla="*/ 1795519 w 6884782"/>
              <a:gd name="connsiteY8409" fmla="*/ 4863312 h 5973007"/>
              <a:gd name="connsiteX8410" fmla="*/ 1796758 w 6884782"/>
              <a:gd name="connsiteY8410" fmla="*/ 4861660 h 5973007"/>
              <a:gd name="connsiteX8411" fmla="*/ 1220234 w 6884782"/>
              <a:gd name="connsiteY8411" fmla="*/ 4861247 h 5973007"/>
              <a:gd name="connsiteX8412" fmla="*/ 1223022 w 6884782"/>
              <a:gd name="connsiteY8412" fmla="*/ 4863106 h 5973007"/>
              <a:gd name="connsiteX8413" fmla="*/ 1219305 w 6884782"/>
              <a:gd name="connsiteY8413" fmla="*/ 4863932 h 5973007"/>
              <a:gd name="connsiteX8414" fmla="*/ 1216207 w 6884782"/>
              <a:gd name="connsiteY8414" fmla="*/ 4862899 h 5973007"/>
              <a:gd name="connsiteX8415" fmla="*/ 1220234 w 6884782"/>
              <a:gd name="connsiteY8415" fmla="*/ 4861247 h 5973007"/>
              <a:gd name="connsiteX8416" fmla="*/ 1070914 w 6884782"/>
              <a:gd name="connsiteY8416" fmla="*/ 4861247 h 5973007"/>
              <a:gd name="connsiteX8417" fmla="*/ 1076955 w 6884782"/>
              <a:gd name="connsiteY8417" fmla="*/ 4862589 h 5973007"/>
              <a:gd name="connsiteX8418" fmla="*/ 1078039 w 6884782"/>
              <a:gd name="connsiteY8418" fmla="*/ 4865171 h 5973007"/>
              <a:gd name="connsiteX8419" fmla="*/ 1078039 w 6884782"/>
              <a:gd name="connsiteY8419" fmla="*/ 4870334 h 5973007"/>
              <a:gd name="connsiteX8420" fmla="*/ 1078814 w 6884782"/>
              <a:gd name="connsiteY8420" fmla="*/ 4870334 h 5973007"/>
              <a:gd name="connsiteX8421" fmla="*/ 1074012 w 6884782"/>
              <a:gd name="connsiteY8421" fmla="*/ 4871573 h 5973007"/>
              <a:gd name="connsiteX8422" fmla="*/ 1070914 w 6884782"/>
              <a:gd name="connsiteY8422" fmla="*/ 4861247 h 5973007"/>
              <a:gd name="connsiteX8423" fmla="*/ 1910297 w 6884782"/>
              <a:gd name="connsiteY8423" fmla="*/ 4860008 h 5973007"/>
              <a:gd name="connsiteX8424" fmla="*/ 1910917 w 6884782"/>
              <a:gd name="connsiteY8424" fmla="*/ 4861041 h 5973007"/>
              <a:gd name="connsiteX8425" fmla="*/ 1910452 w 6884782"/>
              <a:gd name="connsiteY8425" fmla="*/ 4861867 h 5973007"/>
              <a:gd name="connsiteX8426" fmla="*/ 1909368 w 6884782"/>
              <a:gd name="connsiteY8426" fmla="*/ 4861867 h 5973007"/>
              <a:gd name="connsiteX8427" fmla="*/ 1910297 w 6884782"/>
              <a:gd name="connsiteY8427" fmla="*/ 4860008 h 5973007"/>
              <a:gd name="connsiteX8428" fmla="*/ 748730 w 6884782"/>
              <a:gd name="connsiteY8428" fmla="*/ 4859698 h 5973007"/>
              <a:gd name="connsiteX8429" fmla="*/ 763290 w 6884782"/>
              <a:gd name="connsiteY8429" fmla="*/ 4865171 h 5973007"/>
              <a:gd name="connsiteX8430" fmla="*/ 762361 w 6884782"/>
              <a:gd name="connsiteY8430" fmla="*/ 4866926 h 5973007"/>
              <a:gd name="connsiteX8431" fmla="*/ 760037 w 6884782"/>
              <a:gd name="connsiteY8431" fmla="*/ 4867546 h 5973007"/>
              <a:gd name="connsiteX8432" fmla="*/ 752447 w 6884782"/>
              <a:gd name="connsiteY8432" fmla="*/ 4864964 h 5973007"/>
              <a:gd name="connsiteX8433" fmla="*/ 750899 w 6884782"/>
              <a:gd name="connsiteY8433" fmla="*/ 4864138 h 5973007"/>
              <a:gd name="connsiteX8434" fmla="*/ 749194 w 6884782"/>
              <a:gd name="connsiteY8434" fmla="*/ 4863209 h 5973007"/>
              <a:gd name="connsiteX8435" fmla="*/ 748265 w 6884782"/>
              <a:gd name="connsiteY8435" fmla="*/ 4861763 h 5973007"/>
              <a:gd name="connsiteX8436" fmla="*/ 748730 w 6884782"/>
              <a:gd name="connsiteY8436" fmla="*/ 4859698 h 5973007"/>
              <a:gd name="connsiteX8437" fmla="*/ 858551 w 6884782"/>
              <a:gd name="connsiteY8437" fmla="*/ 4859079 h 5973007"/>
              <a:gd name="connsiteX8438" fmla="*/ 859946 w 6884782"/>
              <a:gd name="connsiteY8438" fmla="*/ 4862589 h 5973007"/>
              <a:gd name="connsiteX8439" fmla="*/ 854679 w 6884782"/>
              <a:gd name="connsiteY8439" fmla="*/ 4864242 h 5973007"/>
              <a:gd name="connsiteX8440" fmla="*/ 853285 w 6884782"/>
              <a:gd name="connsiteY8440" fmla="*/ 4860731 h 5973007"/>
              <a:gd name="connsiteX8441" fmla="*/ 858551 w 6884782"/>
              <a:gd name="connsiteY8441" fmla="*/ 4859079 h 5973007"/>
              <a:gd name="connsiteX8442" fmla="*/ 5969345 w 6884782"/>
              <a:gd name="connsiteY8442" fmla="*/ 4858890 h 5973007"/>
              <a:gd name="connsiteX8443" fmla="*/ 5973217 w 6884782"/>
              <a:gd name="connsiteY8443" fmla="*/ 4861575 h 5973007"/>
              <a:gd name="connsiteX8444" fmla="*/ 5971359 w 6884782"/>
              <a:gd name="connsiteY8444" fmla="*/ 4872004 h 5973007"/>
              <a:gd name="connsiteX8445" fmla="*/ 5961910 w 6884782"/>
              <a:gd name="connsiteY8445" fmla="*/ 4873552 h 5973007"/>
              <a:gd name="connsiteX8446" fmla="*/ 5960981 w 6884782"/>
              <a:gd name="connsiteY8446" fmla="*/ 4875308 h 5973007"/>
              <a:gd name="connsiteX8447" fmla="*/ 5957418 w 6884782"/>
              <a:gd name="connsiteY8447" fmla="*/ 4876960 h 5973007"/>
              <a:gd name="connsiteX8448" fmla="*/ 5956798 w 6884782"/>
              <a:gd name="connsiteY8448" fmla="*/ 4875205 h 5973007"/>
              <a:gd name="connsiteX8449" fmla="*/ 5960361 w 6884782"/>
              <a:gd name="connsiteY8449" fmla="*/ 4872726 h 5973007"/>
              <a:gd name="connsiteX8450" fmla="*/ 5960361 w 6884782"/>
              <a:gd name="connsiteY8450" fmla="*/ 4871797 h 5973007"/>
              <a:gd name="connsiteX8451" fmla="*/ 5958967 w 6884782"/>
              <a:gd name="connsiteY8451" fmla="*/ 4870042 h 5973007"/>
              <a:gd name="connsiteX8452" fmla="*/ 5959896 w 6884782"/>
              <a:gd name="connsiteY8452" fmla="*/ 4861368 h 5973007"/>
              <a:gd name="connsiteX8453" fmla="*/ 5969345 w 6884782"/>
              <a:gd name="connsiteY8453" fmla="*/ 4858890 h 5973007"/>
              <a:gd name="connsiteX8454" fmla="*/ 1420050 w 6884782"/>
              <a:gd name="connsiteY8454" fmla="*/ 4858769 h 5973007"/>
              <a:gd name="connsiteX8455" fmla="*/ 1418657 w 6884782"/>
              <a:gd name="connsiteY8455" fmla="*/ 4871160 h 5973007"/>
              <a:gd name="connsiteX8456" fmla="*/ 1413700 w 6884782"/>
              <a:gd name="connsiteY8456" fmla="*/ 4869611 h 5973007"/>
              <a:gd name="connsiteX8457" fmla="*/ 1420050 w 6884782"/>
              <a:gd name="connsiteY8457" fmla="*/ 4858769 h 5973007"/>
              <a:gd name="connsiteX8458" fmla="*/ 1493491 w 6884782"/>
              <a:gd name="connsiteY8458" fmla="*/ 4858743 h 5973007"/>
              <a:gd name="connsiteX8459" fmla="*/ 1495020 w 6884782"/>
              <a:gd name="connsiteY8459" fmla="*/ 4863519 h 5973007"/>
              <a:gd name="connsiteX8460" fmla="*/ 1488824 w 6884782"/>
              <a:gd name="connsiteY8460" fmla="*/ 4861867 h 5973007"/>
              <a:gd name="connsiteX8461" fmla="*/ 1493491 w 6884782"/>
              <a:gd name="connsiteY8461" fmla="*/ 4858743 h 5973007"/>
              <a:gd name="connsiteX8462" fmla="*/ 1500751 w 6884782"/>
              <a:gd name="connsiteY8462" fmla="*/ 4858666 h 5973007"/>
              <a:gd name="connsiteX8463" fmla="*/ 1506792 w 6884782"/>
              <a:gd name="connsiteY8463" fmla="*/ 4860111 h 5973007"/>
              <a:gd name="connsiteX8464" fmla="*/ 1508806 w 6884782"/>
              <a:gd name="connsiteY8464" fmla="*/ 4863106 h 5973007"/>
              <a:gd name="connsiteX8465" fmla="*/ 1510510 w 6884782"/>
              <a:gd name="connsiteY8465" fmla="*/ 4861763 h 5973007"/>
              <a:gd name="connsiteX8466" fmla="*/ 1523676 w 6884782"/>
              <a:gd name="connsiteY8466" fmla="*/ 4868165 h 5973007"/>
              <a:gd name="connsiteX8467" fmla="*/ 1523831 w 6884782"/>
              <a:gd name="connsiteY8467" fmla="*/ 4868681 h 5973007"/>
              <a:gd name="connsiteX8468" fmla="*/ 1527858 w 6884782"/>
              <a:gd name="connsiteY8468" fmla="*/ 4864242 h 5973007"/>
              <a:gd name="connsiteX8469" fmla="*/ 1536532 w 6884782"/>
              <a:gd name="connsiteY8469" fmla="*/ 4874980 h 5973007"/>
              <a:gd name="connsiteX8470" fmla="*/ 1532040 w 6884782"/>
              <a:gd name="connsiteY8470" fmla="*/ 4877768 h 5973007"/>
              <a:gd name="connsiteX8471" fmla="*/ 1525690 w 6884782"/>
              <a:gd name="connsiteY8471" fmla="*/ 4875497 h 5973007"/>
              <a:gd name="connsiteX8472" fmla="*/ 1525225 w 6884782"/>
              <a:gd name="connsiteY8472" fmla="*/ 4874257 h 5973007"/>
              <a:gd name="connsiteX8473" fmla="*/ 1521972 w 6884782"/>
              <a:gd name="connsiteY8473" fmla="*/ 4877045 h 5973007"/>
              <a:gd name="connsiteX8474" fmla="*/ 1516550 w 6884782"/>
              <a:gd name="connsiteY8474" fmla="*/ 4880659 h 5973007"/>
              <a:gd name="connsiteX8475" fmla="*/ 1511284 w 6884782"/>
              <a:gd name="connsiteY8475" fmla="*/ 4881898 h 5973007"/>
              <a:gd name="connsiteX8476" fmla="*/ 1510200 w 6884782"/>
              <a:gd name="connsiteY8476" fmla="*/ 4881692 h 5973007"/>
              <a:gd name="connsiteX8477" fmla="*/ 1510510 w 6884782"/>
              <a:gd name="connsiteY8477" fmla="*/ 4881898 h 5973007"/>
              <a:gd name="connsiteX8478" fmla="*/ 1513918 w 6884782"/>
              <a:gd name="connsiteY8478" fmla="*/ 4887474 h 5973007"/>
              <a:gd name="connsiteX8479" fmla="*/ 1511439 w 6884782"/>
              <a:gd name="connsiteY8479" fmla="*/ 4886854 h 5973007"/>
              <a:gd name="connsiteX8480" fmla="*/ 1510355 w 6884782"/>
              <a:gd name="connsiteY8480" fmla="*/ 4885925 h 5973007"/>
              <a:gd name="connsiteX8481" fmla="*/ 1509581 w 6884782"/>
              <a:gd name="connsiteY8481" fmla="*/ 4886029 h 5973007"/>
              <a:gd name="connsiteX8482" fmla="*/ 1509426 w 6884782"/>
              <a:gd name="connsiteY8482" fmla="*/ 4885099 h 5973007"/>
              <a:gd name="connsiteX8483" fmla="*/ 1507567 w 6884782"/>
              <a:gd name="connsiteY8483" fmla="*/ 4883550 h 5973007"/>
              <a:gd name="connsiteX8484" fmla="*/ 1502145 w 6884782"/>
              <a:gd name="connsiteY8484" fmla="*/ 4881279 h 5973007"/>
              <a:gd name="connsiteX8485" fmla="*/ 1497963 w 6884782"/>
              <a:gd name="connsiteY8485" fmla="*/ 4876219 h 5973007"/>
              <a:gd name="connsiteX8486" fmla="*/ 1499512 w 6884782"/>
              <a:gd name="connsiteY8486" fmla="*/ 4874464 h 5973007"/>
              <a:gd name="connsiteX8487" fmla="*/ 1497653 w 6884782"/>
              <a:gd name="connsiteY8487" fmla="*/ 4872812 h 5973007"/>
              <a:gd name="connsiteX8488" fmla="*/ 1496879 w 6884782"/>
              <a:gd name="connsiteY8488" fmla="*/ 4861557 h 5973007"/>
              <a:gd name="connsiteX8489" fmla="*/ 1500751 w 6884782"/>
              <a:gd name="connsiteY8489" fmla="*/ 4858666 h 5973007"/>
              <a:gd name="connsiteX8490" fmla="*/ 1673635 w 6884782"/>
              <a:gd name="connsiteY8490" fmla="*/ 4858478 h 5973007"/>
              <a:gd name="connsiteX8491" fmla="*/ 1679192 w 6884782"/>
              <a:gd name="connsiteY8491" fmla="*/ 4859492 h 5973007"/>
              <a:gd name="connsiteX8492" fmla="*/ 1661689 w 6884782"/>
              <a:gd name="connsiteY8492" fmla="*/ 4874567 h 5973007"/>
              <a:gd name="connsiteX8493" fmla="*/ 1659520 w 6884782"/>
              <a:gd name="connsiteY8493" fmla="*/ 4873638 h 5973007"/>
              <a:gd name="connsiteX8494" fmla="*/ 1673635 w 6884782"/>
              <a:gd name="connsiteY8494" fmla="*/ 4858478 h 5973007"/>
              <a:gd name="connsiteX8495" fmla="*/ 1257254 w 6884782"/>
              <a:gd name="connsiteY8495" fmla="*/ 4857323 h 5973007"/>
              <a:gd name="connsiteX8496" fmla="*/ 1259888 w 6884782"/>
              <a:gd name="connsiteY8496" fmla="*/ 4859079 h 5973007"/>
              <a:gd name="connsiteX8497" fmla="*/ 1259113 w 6884782"/>
              <a:gd name="connsiteY8497" fmla="*/ 4861763 h 5973007"/>
              <a:gd name="connsiteX8498" fmla="*/ 1257719 w 6884782"/>
              <a:gd name="connsiteY8498" fmla="*/ 4859698 h 5973007"/>
              <a:gd name="connsiteX8499" fmla="*/ 1257254 w 6884782"/>
              <a:gd name="connsiteY8499" fmla="*/ 4857323 h 5973007"/>
              <a:gd name="connsiteX8500" fmla="*/ 1255241 w 6884782"/>
              <a:gd name="connsiteY8500" fmla="*/ 4855981 h 5973007"/>
              <a:gd name="connsiteX8501" fmla="*/ 1256790 w 6884782"/>
              <a:gd name="connsiteY8501" fmla="*/ 4856910 h 5973007"/>
              <a:gd name="connsiteX8502" fmla="*/ 1256325 w 6884782"/>
              <a:gd name="connsiteY8502" fmla="*/ 4857633 h 5973007"/>
              <a:gd name="connsiteX8503" fmla="*/ 1255241 w 6884782"/>
              <a:gd name="connsiteY8503" fmla="*/ 4856910 h 5973007"/>
              <a:gd name="connsiteX8504" fmla="*/ 1255241 w 6884782"/>
              <a:gd name="connsiteY8504" fmla="*/ 4855981 h 5973007"/>
              <a:gd name="connsiteX8505" fmla="*/ 6042301 w 6884782"/>
              <a:gd name="connsiteY8505" fmla="*/ 4855689 h 5973007"/>
              <a:gd name="connsiteX8506" fmla="*/ 6041991 w 6884782"/>
              <a:gd name="connsiteY8506" fmla="*/ 4859097 h 5973007"/>
              <a:gd name="connsiteX8507" fmla="*/ 6035176 w 6884782"/>
              <a:gd name="connsiteY8507" fmla="*/ 4863124 h 5973007"/>
              <a:gd name="connsiteX8508" fmla="*/ 6033317 w 6884782"/>
              <a:gd name="connsiteY8508" fmla="*/ 4862504 h 5973007"/>
              <a:gd name="connsiteX8509" fmla="*/ 6034556 w 6884782"/>
              <a:gd name="connsiteY8509" fmla="*/ 4858167 h 5973007"/>
              <a:gd name="connsiteX8510" fmla="*/ 6042301 w 6884782"/>
              <a:gd name="connsiteY8510" fmla="*/ 4855689 h 5973007"/>
              <a:gd name="connsiteX8511" fmla="*/ 1844157 w 6884782"/>
              <a:gd name="connsiteY8511" fmla="*/ 4854845 h 5973007"/>
              <a:gd name="connsiteX8512" fmla="*/ 1848029 w 6884782"/>
              <a:gd name="connsiteY8512" fmla="*/ 4857737 h 5973007"/>
              <a:gd name="connsiteX8513" fmla="*/ 1844001 w 6884782"/>
              <a:gd name="connsiteY8513" fmla="*/ 4856084 h 5973007"/>
              <a:gd name="connsiteX8514" fmla="*/ 1844157 w 6884782"/>
              <a:gd name="connsiteY8514" fmla="*/ 4854845 h 5973007"/>
              <a:gd name="connsiteX8515" fmla="*/ 998423 w 6884782"/>
              <a:gd name="connsiteY8515" fmla="*/ 4854845 h 5973007"/>
              <a:gd name="connsiteX8516" fmla="*/ 1001366 w 6884782"/>
              <a:gd name="connsiteY8516" fmla="*/ 4860111 h 5973007"/>
              <a:gd name="connsiteX8517" fmla="*/ 995480 w 6884782"/>
              <a:gd name="connsiteY8517" fmla="*/ 4866926 h 5973007"/>
              <a:gd name="connsiteX8518" fmla="*/ 992537 w 6884782"/>
              <a:gd name="connsiteY8518" fmla="*/ 4866926 h 5973007"/>
              <a:gd name="connsiteX8519" fmla="*/ 989283 w 6884782"/>
              <a:gd name="connsiteY8519" fmla="*/ 4863829 h 5973007"/>
              <a:gd name="connsiteX8520" fmla="*/ 998423 w 6884782"/>
              <a:gd name="connsiteY8520" fmla="*/ 4854845 h 5973007"/>
              <a:gd name="connsiteX8521" fmla="*/ 907653 w 6884782"/>
              <a:gd name="connsiteY8521" fmla="*/ 4854535 h 5973007"/>
              <a:gd name="connsiteX8522" fmla="*/ 907963 w 6884782"/>
              <a:gd name="connsiteY8522" fmla="*/ 4854845 h 5973007"/>
              <a:gd name="connsiteX8523" fmla="*/ 916328 w 6884782"/>
              <a:gd name="connsiteY8523" fmla="*/ 4859182 h 5973007"/>
              <a:gd name="connsiteX8524" fmla="*/ 917567 w 6884782"/>
              <a:gd name="connsiteY8524" fmla="*/ 4864448 h 5973007"/>
              <a:gd name="connsiteX8525" fmla="*/ 914934 w 6884782"/>
              <a:gd name="connsiteY8525" fmla="*/ 4865274 h 5973007"/>
              <a:gd name="connsiteX8526" fmla="*/ 911216 w 6884782"/>
              <a:gd name="connsiteY8526" fmla="*/ 4863106 h 5973007"/>
              <a:gd name="connsiteX8527" fmla="*/ 911216 w 6884782"/>
              <a:gd name="connsiteY8527" fmla="*/ 4864964 h 5973007"/>
              <a:gd name="connsiteX8528" fmla="*/ 909048 w 6884782"/>
              <a:gd name="connsiteY8528" fmla="*/ 4869095 h 5973007"/>
              <a:gd name="connsiteX8529" fmla="*/ 903006 w 6884782"/>
              <a:gd name="connsiteY8529" fmla="*/ 4865171 h 5973007"/>
              <a:gd name="connsiteX8530" fmla="*/ 903161 w 6884782"/>
              <a:gd name="connsiteY8530" fmla="*/ 4855671 h 5973007"/>
              <a:gd name="connsiteX8531" fmla="*/ 907653 w 6884782"/>
              <a:gd name="connsiteY8531" fmla="*/ 4854535 h 5973007"/>
              <a:gd name="connsiteX8532" fmla="*/ 956446 w 6884782"/>
              <a:gd name="connsiteY8532" fmla="*/ 4854122 h 5973007"/>
              <a:gd name="connsiteX8533" fmla="*/ 959854 w 6884782"/>
              <a:gd name="connsiteY8533" fmla="*/ 4860937 h 5973007"/>
              <a:gd name="connsiteX8534" fmla="*/ 958304 w 6884782"/>
              <a:gd name="connsiteY8534" fmla="*/ 4861867 h 5973007"/>
              <a:gd name="connsiteX8535" fmla="*/ 956291 w 6884782"/>
              <a:gd name="connsiteY8535" fmla="*/ 4862589 h 5973007"/>
              <a:gd name="connsiteX8536" fmla="*/ 954122 w 6884782"/>
              <a:gd name="connsiteY8536" fmla="*/ 4862486 h 5973007"/>
              <a:gd name="connsiteX8537" fmla="*/ 951489 w 6884782"/>
              <a:gd name="connsiteY8537" fmla="*/ 4861350 h 5973007"/>
              <a:gd name="connsiteX8538" fmla="*/ 949475 w 6884782"/>
              <a:gd name="connsiteY8538" fmla="*/ 4857943 h 5973007"/>
              <a:gd name="connsiteX8539" fmla="*/ 949166 w 6884782"/>
              <a:gd name="connsiteY8539" fmla="*/ 4856187 h 5973007"/>
              <a:gd name="connsiteX8540" fmla="*/ 956446 w 6884782"/>
              <a:gd name="connsiteY8540" fmla="*/ 4854122 h 5973007"/>
              <a:gd name="connsiteX8541" fmla="*/ 1015616 w 6884782"/>
              <a:gd name="connsiteY8541" fmla="*/ 4854019 h 5973007"/>
              <a:gd name="connsiteX8542" fmla="*/ 1018095 w 6884782"/>
              <a:gd name="connsiteY8542" fmla="*/ 4854639 h 5973007"/>
              <a:gd name="connsiteX8543" fmla="*/ 1018095 w 6884782"/>
              <a:gd name="connsiteY8543" fmla="*/ 4857737 h 5973007"/>
              <a:gd name="connsiteX8544" fmla="*/ 1020263 w 6884782"/>
              <a:gd name="connsiteY8544" fmla="*/ 4860214 h 5973007"/>
              <a:gd name="connsiteX8545" fmla="*/ 1020263 w 6884782"/>
              <a:gd name="connsiteY8545" fmla="*/ 4863312 h 5973007"/>
              <a:gd name="connsiteX8546" fmla="*/ 1019179 w 6884782"/>
              <a:gd name="connsiteY8546" fmla="*/ 4863519 h 5973007"/>
              <a:gd name="connsiteX8547" fmla="*/ 1019488 w 6884782"/>
              <a:gd name="connsiteY8547" fmla="*/ 4862899 h 5973007"/>
              <a:gd name="connsiteX8548" fmla="*/ 1019179 w 6884782"/>
              <a:gd name="connsiteY8548" fmla="*/ 4860524 h 5973007"/>
              <a:gd name="connsiteX8549" fmla="*/ 1015307 w 6884782"/>
              <a:gd name="connsiteY8549" fmla="*/ 4855981 h 5973007"/>
              <a:gd name="connsiteX8550" fmla="*/ 1015616 w 6884782"/>
              <a:gd name="connsiteY8550" fmla="*/ 4854019 h 5973007"/>
              <a:gd name="connsiteX8551" fmla="*/ 1880228 w 6884782"/>
              <a:gd name="connsiteY8551" fmla="*/ 4853645 h 5973007"/>
              <a:gd name="connsiteX8552" fmla="*/ 1897441 w 6884782"/>
              <a:gd name="connsiteY8552" fmla="*/ 4856394 h 5973007"/>
              <a:gd name="connsiteX8553" fmla="*/ 1901623 w 6884782"/>
              <a:gd name="connsiteY8553" fmla="*/ 4861350 h 5973007"/>
              <a:gd name="connsiteX8554" fmla="*/ 1903172 w 6884782"/>
              <a:gd name="connsiteY8554" fmla="*/ 4860008 h 5973007"/>
              <a:gd name="connsiteX8555" fmla="*/ 1907354 w 6884782"/>
              <a:gd name="connsiteY8555" fmla="*/ 4859285 h 5973007"/>
              <a:gd name="connsiteX8556" fmla="*/ 1908439 w 6884782"/>
              <a:gd name="connsiteY8556" fmla="*/ 4867029 h 5973007"/>
              <a:gd name="connsiteX8557" fmla="*/ 1905340 w 6884782"/>
              <a:gd name="connsiteY8557" fmla="*/ 4869817 h 5973007"/>
              <a:gd name="connsiteX8558" fmla="*/ 1902398 w 6884782"/>
              <a:gd name="connsiteY8558" fmla="*/ 4872089 h 5973007"/>
              <a:gd name="connsiteX8559" fmla="*/ 1900849 w 6884782"/>
              <a:gd name="connsiteY8559" fmla="*/ 4877975 h 5973007"/>
              <a:gd name="connsiteX8560" fmla="*/ 1876065 w 6884782"/>
              <a:gd name="connsiteY8560" fmla="*/ 4897696 h 5973007"/>
              <a:gd name="connsiteX8561" fmla="*/ 1867391 w 6884782"/>
              <a:gd name="connsiteY8561" fmla="*/ 4875497 h 5973007"/>
              <a:gd name="connsiteX8562" fmla="*/ 1866926 w 6884782"/>
              <a:gd name="connsiteY8562" fmla="*/ 4873225 h 5973007"/>
              <a:gd name="connsiteX8563" fmla="*/ 1863209 w 6884782"/>
              <a:gd name="connsiteY8563" fmla="*/ 4871882 h 5973007"/>
              <a:gd name="connsiteX8564" fmla="*/ 1862124 w 6884782"/>
              <a:gd name="connsiteY8564" fmla="*/ 4870127 h 5973007"/>
              <a:gd name="connsiteX8565" fmla="*/ 1864138 w 6884782"/>
              <a:gd name="connsiteY8565" fmla="*/ 4868785 h 5973007"/>
              <a:gd name="connsiteX8566" fmla="*/ 1866771 w 6884782"/>
              <a:gd name="connsiteY8566" fmla="*/ 4870024 h 5973007"/>
              <a:gd name="connsiteX8567" fmla="*/ 1867081 w 6884782"/>
              <a:gd name="connsiteY8567" fmla="*/ 4867546 h 5973007"/>
              <a:gd name="connsiteX8568" fmla="*/ 1880228 w 6884782"/>
              <a:gd name="connsiteY8568" fmla="*/ 4853645 h 5973007"/>
              <a:gd name="connsiteX8569" fmla="*/ 1252917 w 6884782"/>
              <a:gd name="connsiteY8569" fmla="*/ 4853503 h 5973007"/>
              <a:gd name="connsiteX8570" fmla="*/ 1252763 w 6884782"/>
              <a:gd name="connsiteY8570" fmla="*/ 4855361 h 5973007"/>
              <a:gd name="connsiteX8571" fmla="*/ 1251833 w 6884782"/>
              <a:gd name="connsiteY8571" fmla="*/ 4853709 h 5973007"/>
              <a:gd name="connsiteX8572" fmla="*/ 1252917 w 6884782"/>
              <a:gd name="connsiteY8572" fmla="*/ 4853503 h 5973007"/>
              <a:gd name="connsiteX8573" fmla="*/ 1670518 w 6884782"/>
              <a:gd name="connsiteY8573" fmla="*/ 4852264 h 5973007"/>
              <a:gd name="connsiteX8574" fmla="*/ 1676559 w 6884782"/>
              <a:gd name="connsiteY8574" fmla="*/ 4854329 h 5973007"/>
              <a:gd name="connsiteX8575" fmla="*/ 1670828 w 6884782"/>
              <a:gd name="connsiteY8575" fmla="*/ 4858666 h 5973007"/>
              <a:gd name="connsiteX8576" fmla="*/ 1670518 w 6884782"/>
              <a:gd name="connsiteY8576" fmla="*/ 4852264 h 5973007"/>
              <a:gd name="connsiteX8577" fmla="*/ 6051905 w 6884782"/>
              <a:gd name="connsiteY8577" fmla="*/ 4852178 h 5973007"/>
              <a:gd name="connsiteX8578" fmla="*/ 6051595 w 6884782"/>
              <a:gd name="connsiteY8578" fmla="*/ 4854966 h 5973007"/>
              <a:gd name="connsiteX8579" fmla="*/ 6049891 w 6884782"/>
              <a:gd name="connsiteY8579" fmla="*/ 4855792 h 5973007"/>
              <a:gd name="connsiteX8580" fmla="*/ 6048807 w 6884782"/>
              <a:gd name="connsiteY8580" fmla="*/ 4858477 h 5973007"/>
              <a:gd name="connsiteX8581" fmla="*/ 6047258 w 6884782"/>
              <a:gd name="connsiteY8581" fmla="*/ 4858477 h 5973007"/>
              <a:gd name="connsiteX8582" fmla="*/ 6049426 w 6884782"/>
              <a:gd name="connsiteY8582" fmla="*/ 4853108 h 5973007"/>
              <a:gd name="connsiteX8583" fmla="*/ 6051905 w 6884782"/>
              <a:gd name="connsiteY8583" fmla="*/ 4852178 h 5973007"/>
              <a:gd name="connsiteX8584" fmla="*/ 1111497 w 6884782"/>
              <a:gd name="connsiteY8584" fmla="*/ 4852161 h 5973007"/>
              <a:gd name="connsiteX8585" fmla="*/ 1134112 w 6884782"/>
              <a:gd name="connsiteY8585" fmla="*/ 4861350 h 5973007"/>
              <a:gd name="connsiteX8586" fmla="*/ 1138604 w 6884782"/>
              <a:gd name="connsiteY8586" fmla="*/ 4867339 h 5973007"/>
              <a:gd name="connsiteX8587" fmla="*/ 1122340 w 6884782"/>
              <a:gd name="connsiteY8587" fmla="*/ 4865481 h 5973007"/>
              <a:gd name="connsiteX8588" fmla="*/ 1115834 w 6884782"/>
              <a:gd name="connsiteY8588" fmla="*/ 4881279 h 5973007"/>
              <a:gd name="connsiteX8589" fmla="*/ 1113820 w 6884782"/>
              <a:gd name="connsiteY8589" fmla="*/ 4877355 h 5973007"/>
              <a:gd name="connsiteX8590" fmla="*/ 1115679 w 6884782"/>
              <a:gd name="connsiteY8590" fmla="*/ 4861557 h 5973007"/>
              <a:gd name="connsiteX8591" fmla="*/ 1111497 w 6884782"/>
              <a:gd name="connsiteY8591" fmla="*/ 4852161 h 5973007"/>
              <a:gd name="connsiteX8592" fmla="*/ 1548459 w 6884782"/>
              <a:gd name="connsiteY8592" fmla="*/ 4851954 h 5973007"/>
              <a:gd name="connsiteX8593" fmla="*/ 1552642 w 6884782"/>
              <a:gd name="connsiteY8593" fmla="*/ 4852161 h 5973007"/>
              <a:gd name="connsiteX8594" fmla="*/ 1554500 w 6884782"/>
              <a:gd name="connsiteY8594" fmla="*/ 4854019 h 5973007"/>
              <a:gd name="connsiteX8595" fmla="*/ 1554500 w 6884782"/>
              <a:gd name="connsiteY8595" fmla="*/ 4854845 h 5973007"/>
              <a:gd name="connsiteX8596" fmla="*/ 1552642 w 6884782"/>
              <a:gd name="connsiteY8596" fmla="*/ 4855465 h 5973007"/>
              <a:gd name="connsiteX8597" fmla="*/ 1544432 w 6884782"/>
              <a:gd name="connsiteY8597" fmla="*/ 4854329 h 5973007"/>
              <a:gd name="connsiteX8598" fmla="*/ 1542728 w 6884782"/>
              <a:gd name="connsiteY8598" fmla="*/ 4854329 h 5973007"/>
              <a:gd name="connsiteX8599" fmla="*/ 1541024 w 6884782"/>
              <a:gd name="connsiteY8599" fmla="*/ 4852470 h 5973007"/>
              <a:gd name="connsiteX8600" fmla="*/ 1548459 w 6884782"/>
              <a:gd name="connsiteY8600" fmla="*/ 4851954 h 5973007"/>
              <a:gd name="connsiteX8601" fmla="*/ 1144954 w 6884782"/>
              <a:gd name="connsiteY8601" fmla="*/ 4851541 h 5973007"/>
              <a:gd name="connsiteX8602" fmla="*/ 1150531 w 6884782"/>
              <a:gd name="connsiteY8602" fmla="*/ 4856084 h 5973007"/>
              <a:gd name="connsiteX8603" fmla="*/ 1146349 w 6884782"/>
              <a:gd name="connsiteY8603" fmla="*/ 4855361 h 5973007"/>
              <a:gd name="connsiteX8604" fmla="*/ 1144954 w 6884782"/>
              <a:gd name="connsiteY8604" fmla="*/ 4851541 h 5973007"/>
              <a:gd name="connsiteX8605" fmla="*/ 1045046 w 6884782"/>
              <a:gd name="connsiteY8605" fmla="*/ 4851438 h 5973007"/>
              <a:gd name="connsiteX8606" fmla="*/ 1052946 w 6884782"/>
              <a:gd name="connsiteY8606" fmla="*/ 4853606 h 5973007"/>
              <a:gd name="connsiteX8607" fmla="*/ 1043033 w 6884782"/>
              <a:gd name="connsiteY8607" fmla="*/ 4869817 h 5973007"/>
              <a:gd name="connsiteX8608" fmla="*/ 1041174 w 6884782"/>
              <a:gd name="connsiteY8608" fmla="*/ 4865894 h 5973007"/>
              <a:gd name="connsiteX8609" fmla="*/ 1045046 w 6884782"/>
              <a:gd name="connsiteY8609" fmla="*/ 4851438 h 5973007"/>
              <a:gd name="connsiteX8610" fmla="*/ 1025529 w 6884782"/>
              <a:gd name="connsiteY8610" fmla="*/ 4851025 h 5973007"/>
              <a:gd name="connsiteX8611" fmla="*/ 1032655 w 6884782"/>
              <a:gd name="connsiteY8611" fmla="*/ 4878387 h 5973007"/>
              <a:gd name="connsiteX8612" fmla="*/ 1025529 w 6884782"/>
              <a:gd name="connsiteY8612" fmla="*/ 4851025 h 5973007"/>
              <a:gd name="connsiteX8613" fmla="*/ 956601 w 6884782"/>
              <a:gd name="connsiteY8613" fmla="*/ 4851025 h 5973007"/>
              <a:gd name="connsiteX8614" fmla="*/ 958149 w 6884782"/>
              <a:gd name="connsiteY8614" fmla="*/ 4851025 h 5973007"/>
              <a:gd name="connsiteX8615" fmla="*/ 957220 w 6884782"/>
              <a:gd name="connsiteY8615" fmla="*/ 4851747 h 5973007"/>
              <a:gd name="connsiteX8616" fmla="*/ 956601 w 6884782"/>
              <a:gd name="connsiteY8616" fmla="*/ 4851025 h 5973007"/>
              <a:gd name="connsiteX8617" fmla="*/ 959234 w 6884782"/>
              <a:gd name="connsiteY8617" fmla="*/ 4850508 h 5973007"/>
              <a:gd name="connsiteX8618" fmla="*/ 960473 w 6884782"/>
              <a:gd name="connsiteY8618" fmla="*/ 4853813 h 5973007"/>
              <a:gd name="connsiteX8619" fmla="*/ 959234 w 6884782"/>
              <a:gd name="connsiteY8619" fmla="*/ 4854535 h 5973007"/>
              <a:gd name="connsiteX8620" fmla="*/ 957065 w 6884782"/>
              <a:gd name="connsiteY8620" fmla="*/ 4853193 h 5973007"/>
              <a:gd name="connsiteX8621" fmla="*/ 1862861 w 6884782"/>
              <a:gd name="connsiteY8621" fmla="*/ 4850121 h 5973007"/>
              <a:gd name="connsiteX8622" fmla="*/ 1869869 w 6884782"/>
              <a:gd name="connsiteY8622" fmla="*/ 4855052 h 5973007"/>
              <a:gd name="connsiteX8623" fmla="*/ 1865222 w 6884782"/>
              <a:gd name="connsiteY8623" fmla="*/ 4861660 h 5973007"/>
              <a:gd name="connsiteX8624" fmla="*/ 1857478 w 6884782"/>
              <a:gd name="connsiteY8624" fmla="*/ 4857117 h 5973007"/>
              <a:gd name="connsiteX8625" fmla="*/ 1862861 w 6884782"/>
              <a:gd name="connsiteY8625" fmla="*/ 4850121 h 5973007"/>
              <a:gd name="connsiteX8626" fmla="*/ 1310132 w 6884782"/>
              <a:gd name="connsiteY8626" fmla="*/ 4849502 h 5973007"/>
              <a:gd name="connsiteX8627" fmla="*/ 1316424 w 6884782"/>
              <a:gd name="connsiteY8627" fmla="*/ 4852264 h 5973007"/>
              <a:gd name="connsiteX8628" fmla="*/ 1311158 w 6884782"/>
              <a:gd name="connsiteY8628" fmla="*/ 4856187 h 5973007"/>
              <a:gd name="connsiteX8629" fmla="*/ 1305272 w 6884782"/>
              <a:gd name="connsiteY8629" fmla="*/ 4854535 h 5973007"/>
              <a:gd name="connsiteX8630" fmla="*/ 1304653 w 6884782"/>
              <a:gd name="connsiteY8630" fmla="*/ 4850612 h 5973007"/>
              <a:gd name="connsiteX8631" fmla="*/ 1310132 w 6884782"/>
              <a:gd name="connsiteY8631" fmla="*/ 4849502 h 5973007"/>
              <a:gd name="connsiteX8632" fmla="*/ 6377342 w 6884782"/>
              <a:gd name="connsiteY8632" fmla="*/ 4848461 h 5973007"/>
              <a:gd name="connsiteX8633" fmla="*/ 6380285 w 6884782"/>
              <a:gd name="connsiteY8633" fmla="*/ 4858271 h 5973007"/>
              <a:gd name="connsiteX8634" fmla="*/ 6374244 w 6884782"/>
              <a:gd name="connsiteY8634" fmla="*/ 4859406 h 5973007"/>
              <a:gd name="connsiteX8635" fmla="*/ 6377342 w 6884782"/>
              <a:gd name="connsiteY8635" fmla="*/ 4848461 h 5973007"/>
              <a:gd name="connsiteX8636" fmla="*/ 1517325 w 6884782"/>
              <a:gd name="connsiteY8636" fmla="*/ 4848030 h 5973007"/>
              <a:gd name="connsiteX8637" fmla="*/ 1519339 w 6884782"/>
              <a:gd name="connsiteY8637" fmla="*/ 4852677 h 5973007"/>
              <a:gd name="connsiteX8638" fmla="*/ 1514692 w 6884782"/>
              <a:gd name="connsiteY8638" fmla="*/ 4857117 h 5973007"/>
              <a:gd name="connsiteX8639" fmla="*/ 1513918 w 6884782"/>
              <a:gd name="connsiteY8639" fmla="*/ 4857117 h 5973007"/>
              <a:gd name="connsiteX8640" fmla="*/ 1512059 w 6884782"/>
              <a:gd name="connsiteY8640" fmla="*/ 4856497 h 5973007"/>
              <a:gd name="connsiteX8641" fmla="*/ 1508496 w 6884782"/>
              <a:gd name="connsiteY8641" fmla="*/ 4853090 h 5973007"/>
              <a:gd name="connsiteX8642" fmla="*/ 1508032 w 6884782"/>
              <a:gd name="connsiteY8642" fmla="*/ 4853916 h 5973007"/>
              <a:gd name="connsiteX8643" fmla="*/ 1510200 w 6884782"/>
              <a:gd name="connsiteY8643" fmla="*/ 4848960 h 5973007"/>
              <a:gd name="connsiteX8644" fmla="*/ 1517325 w 6884782"/>
              <a:gd name="connsiteY8644" fmla="*/ 4848030 h 5973007"/>
              <a:gd name="connsiteX8645" fmla="*/ 1913240 w 6884782"/>
              <a:gd name="connsiteY8645" fmla="*/ 4846585 h 5973007"/>
              <a:gd name="connsiteX8646" fmla="*/ 1910452 w 6884782"/>
              <a:gd name="connsiteY8646" fmla="*/ 4860008 h 5973007"/>
              <a:gd name="connsiteX8647" fmla="*/ 1913240 w 6884782"/>
              <a:gd name="connsiteY8647" fmla="*/ 4846585 h 5973007"/>
              <a:gd name="connsiteX8648" fmla="*/ 1447467 w 6884782"/>
              <a:gd name="connsiteY8648" fmla="*/ 4846378 h 5973007"/>
              <a:gd name="connsiteX8649" fmla="*/ 1451649 w 6884782"/>
              <a:gd name="connsiteY8649" fmla="*/ 4846585 h 5973007"/>
              <a:gd name="connsiteX8650" fmla="*/ 1465125 w 6884782"/>
              <a:gd name="connsiteY8650" fmla="*/ 4850715 h 5973007"/>
              <a:gd name="connsiteX8651" fmla="*/ 1459394 w 6884782"/>
              <a:gd name="connsiteY8651" fmla="*/ 4851541 h 5973007"/>
              <a:gd name="connsiteX8652" fmla="*/ 1446073 w 6884782"/>
              <a:gd name="connsiteY8652" fmla="*/ 4850715 h 5973007"/>
              <a:gd name="connsiteX8653" fmla="*/ 1444369 w 6884782"/>
              <a:gd name="connsiteY8653" fmla="*/ 4848960 h 5973007"/>
              <a:gd name="connsiteX8654" fmla="*/ 1443439 w 6884782"/>
              <a:gd name="connsiteY8654" fmla="*/ 4848856 h 5973007"/>
              <a:gd name="connsiteX8655" fmla="*/ 1442510 w 6884782"/>
              <a:gd name="connsiteY8655" fmla="*/ 4847101 h 5973007"/>
              <a:gd name="connsiteX8656" fmla="*/ 1447467 w 6884782"/>
              <a:gd name="connsiteY8656" fmla="*/ 4846378 h 5973007"/>
              <a:gd name="connsiteX8657" fmla="*/ 967908 w 6884782"/>
              <a:gd name="connsiteY8657" fmla="*/ 4846378 h 5973007"/>
              <a:gd name="connsiteX8658" fmla="*/ 969767 w 6884782"/>
              <a:gd name="connsiteY8658" fmla="*/ 4848030 h 5973007"/>
              <a:gd name="connsiteX8659" fmla="*/ 970386 w 6884782"/>
              <a:gd name="connsiteY8659" fmla="*/ 4853193 h 5973007"/>
              <a:gd name="connsiteX8660" fmla="*/ 968838 w 6884782"/>
              <a:gd name="connsiteY8660" fmla="*/ 4854122 h 5973007"/>
              <a:gd name="connsiteX8661" fmla="*/ 966360 w 6884782"/>
              <a:gd name="connsiteY8661" fmla="*/ 4847411 h 5973007"/>
              <a:gd name="connsiteX8662" fmla="*/ 967908 w 6884782"/>
              <a:gd name="connsiteY8662" fmla="*/ 4846378 h 5973007"/>
              <a:gd name="connsiteX8663" fmla="*/ 6236793 w 6884782"/>
              <a:gd name="connsiteY8663" fmla="*/ 4845906 h 5973007"/>
              <a:gd name="connsiteX8664" fmla="*/ 6242737 w 6884782"/>
              <a:gd name="connsiteY8664" fmla="*/ 4845983 h 5973007"/>
              <a:gd name="connsiteX8665" fmla="*/ 6240259 w 6884782"/>
              <a:gd name="connsiteY8665" fmla="*/ 4853727 h 5973007"/>
              <a:gd name="connsiteX8666" fmla="*/ 6237006 w 6884782"/>
              <a:gd name="connsiteY8666" fmla="*/ 4855482 h 5973007"/>
              <a:gd name="connsiteX8667" fmla="*/ 6233443 w 6884782"/>
              <a:gd name="connsiteY8667" fmla="*/ 4855276 h 5973007"/>
              <a:gd name="connsiteX8668" fmla="*/ 6230500 w 6884782"/>
              <a:gd name="connsiteY8668" fmla="*/ 4855999 h 5973007"/>
              <a:gd name="connsiteX8669" fmla="*/ 6227712 w 6884782"/>
              <a:gd name="connsiteY8669" fmla="*/ 4855276 h 5973007"/>
              <a:gd name="connsiteX8670" fmla="*/ 6226628 w 6884782"/>
              <a:gd name="connsiteY8670" fmla="*/ 4852695 h 5973007"/>
              <a:gd name="connsiteX8671" fmla="*/ 6227247 w 6884782"/>
              <a:gd name="connsiteY8671" fmla="*/ 4850939 h 5973007"/>
              <a:gd name="connsiteX8672" fmla="*/ 6236793 w 6884782"/>
              <a:gd name="connsiteY8672" fmla="*/ 4845906 h 5973007"/>
              <a:gd name="connsiteX8673" fmla="*/ 833807 w 6884782"/>
              <a:gd name="connsiteY8673" fmla="*/ 4845823 h 5973007"/>
              <a:gd name="connsiteX8674" fmla="*/ 839035 w 6884782"/>
              <a:gd name="connsiteY8674" fmla="*/ 4849166 h 5973007"/>
              <a:gd name="connsiteX8675" fmla="*/ 833303 w 6884782"/>
              <a:gd name="connsiteY8675" fmla="*/ 4855361 h 5973007"/>
              <a:gd name="connsiteX8676" fmla="*/ 826953 w 6884782"/>
              <a:gd name="connsiteY8676" fmla="*/ 4852780 h 5973007"/>
              <a:gd name="connsiteX8677" fmla="*/ 826488 w 6884782"/>
              <a:gd name="connsiteY8677" fmla="*/ 4847824 h 5973007"/>
              <a:gd name="connsiteX8678" fmla="*/ 833807 w 6884782"/>
              <a:gd name="connsiteY8678" fmla="*/ 4845823 h 5973007"/>
              <a:gd name="connsiteX8679" fmla="*/ 6046793 w 6884782"/>
              <a:gd name="connsiteY8679" fmla="*/ 4845364 h 5973007"/>
              <a:gd name="connsiteX8680" fmla="*/ 6049426 w 6884782"/>
              <a:gd name="connsiteY8680" fmla="*/ 4845467 h 5973007"/>
              <a:gd name="connsiteX8681" fmla="*/ 6048342 w 6884782"/>
              <a:gd name="connsiteY8681" fmla="*/ 4847222 h 5973007"/>
              <a:gd name="connsiteX8682" fmla="*/ 6044470 w 6884782"/>
              <a:gd name="connsiteY8682" fmla="*/ 4851456 h 5973007"/>
              <a:gd name="connsiteX8683" fmla="*/ 6043231 w 6884782"/>
              <a:gd name="connsiteY8683" fmla="*/ 4850216 h 5973007"/>
              <a:gd name="connsiteX8684" fmla="*/ 6043850 w 6884782"/>
              <a:gd name="connsiteY8684" fmla="*/ 4848771 h 5973007"/>
              <a:gd name="connsiteX8685" fmla="*/ 6045709 w 6884782"/>
              <a:gd name="connsiteY8685" fmla="*/ 4847119 h 5973007"/>
              <a:gd name="connsiteX8686" fmla="*/ 6046793 w 6884782"/>
              <a:gd name="connsiteY8686" fmla="*/ 4845364 h 5973007"/>
              <a:gd name="connsiteX8687" fmla="*/ 1437089 w 6884782"/>
              <a:gd name="connsiteY8687" fmla="*/ 4844933 h 5973007"/>
              <a:gd name="connsiteX8688" fmla="*/ 1440806 w 6884782"/>
              <a:gd name="connsiteY8688" fmla="*/ 4845139 h 5973007"/>
              <a:gd name="connsiteX8689" fmla="*/ 1440187 w 6884782"/>
              <a:gd name="connsiteY8689" fmla="*/ 4850508 h 5973007"/>
              <a:gd name="connsiteX8690" fmla="*/ 1436469 w 6884782"/>
              <a:gd name="connsiteY8690" fmla="*/ 4850302 h 5973007"/>
              <a:gd name="connsiteX8691" fmla="*/ 1437089 w 6884782"/>
              <a:gd name="connsiteY8691" fmla="*/ 4844933 h 5973007"/>
              <a:gd name="connsiteX8692" fmla="*/ 1039160 w 6884782"/>
              <a:gd name="connsiteY8692" fmla="*/ 4844313 h 5973007"/>
              <a:gd name="connsiteX8693" fmla="*/ 1042723 w 6884782"/>
              <a:gd name="connsiteY8693" fmla="*/ 4851541 h 5973007"/>
              <a:gd name="connsiteX8694" fmla="*/ 1037457 w 6884782"/>
              <a:gd name="connsiteY8694" fmla="*/ 4859285 h 5973007"/>
              <a:gd name="connsiteX8695" fmla="*/ 1035598 w 6884782"/>
              <a:gd name="connsiteY8695" fmla="*/ 4855258 h 5973007"/>
              <a:gd name="connsiteX8696" fmla="*/ 1039160 w 6884782"/>
              <a:gd name="connsiteY8696" fmla="*/ 4844313 h 5973007"/>
              <a:gd name="connsiteX8697" fmla="*/ 1879008 w 6884782"/>
              <a:gd name="connsiteY8697" fmla="*/ 4844107 h 5973007"/>
              <a:gd name="connsiteX8698" fmla="*/ 1881022 w 6884782"/>
              <a:gd name="connsiteY8698" fmla="*/ 4846481 h 5973007"/>
              <a:gd name="connsiteX8699" fmla="*/ 1878543 w 6884782"/>
              <a:gd name="connsiteY8699" fmla="*/ 4844829 h 5973007"/>
              <a:gd name="connsiteX8700" fmla="*/ 1879008 w 6884782"/>
              <a:gd name="connsiteY8700" fmla="*/ 4844107 h 5973007"/>
              <a:gd name="connsiteX8701" fmla="*/ 912145 w 6884782"/>
              <a:gd name="connsiteY8701" fmla="*/ 4843694 h 5973007"/>
              <a:gd name="connsiteX8702" fmla="*/ 920200 w 6884782"/>
              <a:gd name="connsiteY8702" fmla="*/ 4853090 h 5973007"/>
              <a:gd name="connsiteX8703" fmla="*/ 918341 w 6884782"/>
              <a:gd name="connsiteY8703" fmla="*/ 4856704 h 5973007"/>
              <a:gd name="connsiteX8704" fmla="*/ 910596 w 6884782"/>
              <a:gd name="connsiteY8704" fmla="*/ 4850199 h 5973007"/>
              <a:gd name="connsiteX8705" fmla="*/ 909668 w 6884782"/>
              <a:gd name="connsiteY8705" fmla="*/ 4847204 h 5973007"/>
              <a:gd name="connsiteX8706" fmla="*/ 912145 w 6884782"/>
              <a:gd name="connsiteY8706" fmla="*/ 4843694 h 5973007"/>
              <a:gd name="connsiteX8707" fmla="*/ 2091991 w 6884782"/>
              <a:gd name="connsiteY8707" fmla="*/ 4843487 h 5973007"/>
              <a:gd name="connsiteX8708" fmla="*/ 2098186 w 6884782"/>
              <a:gd name="connsiteY8708" fmla="*/ 4858149 h 5973007"/>
              <a:gd name="connsiteX8709" fmla="*/ 2095864 w 6884782"/>
              <a:gd name="connsiteY8709" fmla="*/ 4859698 h 5973007"/>
              <a:gd name="connsiteX8710" fmla="*/ 2087498 w 6884782"/>
              <a:gd name="connsiteY8710" fmla="*/ 4853606 h 5973007"/>
              <a:gd name="connsiteX8711" fmla="*/ 2088738 w 6884782"/>
              <a:gd name="connsiteY8711" fmla="*/ 4844210 h 5973007"/>
              <a:gd name="connsiteX8712" fmla="*/ 2091991 w 6884782"/>
              <a:gd name="connsiteY8712" fmla="*/ 4843487 h 5973007"/>
              <a:gd name="connsiteX8713" fmla="*/ 6009463 w 6884782"/>
              <a:gd name="connsiteY8713" fmla="*/ 4842885 h 5973007"/>
              <a:gd name="connsiteX8714" fmla="*/ 5994283 w 6884782"/>
              <a:gd name="connsiteY8714" fmla="*/ 4850630 h 5973007"/>
              <a:gd name="connsiteX8715" fmla="*/ 5994748 w 6884782"/>
              <a:gd name="connsiteY8715" fmla="*/ 4847119 h 5973007"/>
              <a:gd name="connsiteX8716" fmla="*/ 5996452 w 6884782"/>
              <a:gd name="connsiteY8716" fmla="*/ 4847119 h 5973007"/>
              <a:gd name="connsiteX8717" fmla="*/ 6009463 w 6884782"/>
              <a:gd name="connsiteY8717" fmla="*/ 4842885 h 5973007"/>
              <a:gd name="connsiteX8718" fmla="*/ 1058774 w 6884782"/>
              <a:gd name="connsiteY8718" fmla="*/ 4842493 h 5973007"/>
              <a:gd name="connsiteX8719" fmla="*/ 1064874 w 6884782"/>
              <a:gd name="connsiteY8719" fmla="*/ 4844107 h 5973007"/>
              <a:gd name="connsiteX8720" fmla="*/ 1059297 w 6884782"/>
              <a:gd name="connsiteY8720" fmla="*/ 4849166 h 5973007"/>
              <a:gd name="connsiteX8721" fmla="*/ 1058774 w 6884782"/>
              <a:gd name="connsiteY8721" fmla="*/ 4842493 h 5973007"/>
              <a:gd name="connsiteX8722" fmla="*/ 1375595 w 6884782"/>
              <a:gd name="connsiteY8722" fmla="*/ 4842454 h 5973007"/>
              <a:gd name="connsiteX8723" fmla="*/ 1378074 w 6884782"/>
              <a:gd name="connsiteY8723" fmla="*/ 4845759 h 5973007"/>
              <a:gd name="connsiteX8724" fmla="*/ 1375905 w 6884782"/>
              <a:gd name="connsiteY8724" fmla="*/ 4853090 h 5973007"/>
              <a:gd name="connsiteX8725" fmla="*/ 1367231 w 6884782"/>
              <a:gd name="connsiteY8725" fmla="*/ 4850818 h 5973007"/>
              <a:gd name="connsiteX8726" fmla="*/ 1375595 w 6884782"/>
              <a:gd name="connsiteY8726" fmla="*/ 4842454 h 5973007"/>
              <a:gd name="connsiteX8727" fmla="*/ 1081602 w 6884782"/>
              <a:gd name="connsiteY8727" fmla="*/ 4842454 h 5973007"/>
              <a:gd name="connsiteX8728" fmla="*/ 1092135 w 6884782"/>
              <a:gd name="connsiteY8728" fmla="*/ 4846172 h 5973007"/>
              <a:gd name="connsiteX8729" fmla="*/ 1098021 w 6884782"/>
              <a:gd name="connsiteY8729" fmla="*/ 4857633 h 5973007"/>
              <a:gd name="connsiteX8730" fmla="*/ 1096937 w 6884782"/>
              <a:gd name="connsiteY8730" fmla="*/ 4860214 h 5973007"/>
              <a:gd name="connsiteX8731" fmla="*/ 1098951 w 6884782"/>
              <a:gd name="connsiteY8731" fmla="*/ 4861970 h 5973007"/>
              <a:gd name="connsiteX8732" fmla="*/ 1097091 w 6884782"/>
              <a:gd name="connsiteY8732" fmla="*/ 4874774 h 5973007"/>
              <a:gd name="connsiteX8733" fmla="*/ 1089347 w 6884782"/>
              <a:gd name="connsiteY8733" fmla="*/ 4876426 h 5973007"/>
              <a:gd name="connsiteX8734" fmla="*/ 1086249 w 6884782"/>
              <a:gd name="connsiteY8734" fmla="*/ 4875186 h 5973007"/>
              <a:gd name="connsiteX8735" fmla="*/ 1090276 w 6884782"/>
              <a:gd name="connsiteY8735" fmla="*/ 4866719 h 5973007"/>
              <a:gd name="connsiteX8736" fmla="*/ 1091051 w 6884782"/>
              <a:gd name="connsiteY8736" fmla="*/ 4864448 h 5973007"/>
              <a:gd name="connsiteX8737" fmla="*/ 1088417 w 6884782"/>
              <a:gd name="connsiteY8737" fmla="*/ 4865171 h 5973007"/>
              <a:gd name="connsiteX8738" fmla="*/ 1082841 w 6884782"/>
              <a:gd name="connsiteY8738" fmla="*/ 4863312 h 5973007"/>
              <a:gd name="connsiteX8739" fmla="*/ 1078969 w 6884782"/>
              <a:gd name="connsiteY8739" fmla="*/ 4847824 h 5973007"/>
              <a:gd name="connsiteX8740" fmla="*/ 1080363 w 6884782"/>
              <a:gd name="connsiteY8740" fmla="*/ 4845965 h 5973007"/>
              <a:gd name="connsiteX8741" fmla="*/ 1081602 w 6884782"/>
              <a:gd name="connsiteY8741" fmla="*/ 4842454 h 5973007"/>
              <a:gd name="connsiteX8742" fmla="*/ 1600659 w 6884782"/>
              <a:gd name="connsiteY8742" fmla="*/ 4842145 h 5973007"/>
              <a:gd name="connsiteX8743" fmla="*/ 1602363 w 6884782"/>
              <a:gd name="connsiteY8743" fmla="*/ 4844003 h 5973007"/>
              <a:gd name="connsiteX8744" fmla="*/ 1600350 w 6884782"/>
              <a:gd name="connsiteY8744" fmla="*/ 4845965 h 5973007"/>
              <a:gd name="connsiteX8745" fmla="*/ 1597717 w 6884782"/>
              <a:gd name="connsiteY8745" fmla="*/ 4846378 h 5973007"/>
              <a:gd name="connsiteX8746" fmla="*/ 1596942 w 6884782"/>
              <a:gd name="connsiteY8746" fmla="*/ 4845242 h 5973007"/>
              <a:gd name="connsiteX8747" fmla="*/ 1596477 w 6884782"/>
              <a:gd name="connsiteY8747" fmla="*/ 4843280 h 5973007"/>
              <a:gd name="connsiteX8748" fmla="*/ 1600659 w 6884782"/>
              <a:gd name="connsiteY8748" fmla="*/ 4842145 h 5973007"/>
              <a:gd name="connsiteX8749" fmla="*/ 1198394 w 6884782"/>
              <a:gd name="connsiteY8749" fmla="*/ 4841938 h 5973007"/>
              <a:gd name="connsiteX8750" fmla="*/ 1201957 w 6884782"/>
              <a:gd name="connsiteY8750" fmla="*/ 4841938 h 5973007"/>
              <a:gd name="connsiteX8751" fmla="*/ 1201492 w 6884782"/>
              <a:gd name="connsiteY8751" fmla="*/ 4852677 h 5973007"/>
              <a:gd name="connsiteX8752" fmla="*/ 1196226 w 6884782"/>
              <a:gd name="connsiteY8752" fmla="*/ 4852470 h 5973007"/>
              <a:gd name="connsiteX8753" fmla="*/ 1198394 w 6884782"/>
              <a:gd name="connsiteY8753" fmla="*/ 4841938 h 5973007"/>
              <a:gd name="connsiteX8754" fmla="*/ 1906270 w 6884782"/>
              <a:gd name="connsiteY8754" fmla="*/ 4841732 h 5973007"/>
              <a:gd name="connsiteX8755" fmla="*/ 1907664 w 6884782"/>
              <a:gd name="connsiteY8755" fmla="*/ 4848340 h 5973007"/>
              <a:gd name="connsiteX8756" fmla="*/ 1905805 w 6884782"/>
              <a:gd name="connsiteY8756" fmla="*/ 4848443 h 5973007"/>
              <a:gd name="connsiteX8757" fmla="*/ 1903172 w 6884782"/>
              <a:gd name="connsiteY8757" fmla="*/ 4846998 h 5973007"/>
              <a:gd name="connsiteX8758" fmla="*/ 1902243 w 6884782"/>
              <a:gd name="connsiteY8758" fmla="*/ 4844519 h 5973007"/>
              <a:gd name="connsiteX8759" fmla="*/ 1906270 w 6884782"/>
              <a:gd name="connsiteY8759" fmla="*/ 4841732 h 5973007"/>
              <a:gd name="connsiteX8760" fmla="*/ 774133 w 6884782"/>
              <a:gd name="connsiteY8760" fmla="*/ 4841112 h 5973007"/>
              <a:gd name="connsiteX8761" fmla="*/ 775682 w 6884782"/>
              <a:gd name="connsiteY8761" fmla="*/ 4841938 h 5973007"/>
              <a:gd name="connsiteX8762" fmla="*/ 777231 w 6884782"/>
              <a:gd name="connsiteY8762" fmla="*/ 4841938 h 5973007"/>
              <a:gd name="connsiteX8763" fmla="*/ 777231 w 6884782"/>
              <a:gd name="connsiteY8763" fmla="*/ 4842868 h 5973007"/>
              <a:gd name="connsiteX8764" fmla="*/ 777850 w 6884782"/>
              <a:gd name="connsiteY8764" fmla="*/ 4843694 h 5973007"/>
              <a:gd name="connsiteX8765" fmla="*/ 775992 w 6884782"/>
              <a:gd name="connsiteY8765" fmla="*/ 4847308 h 5973007"/>
              <a:gd name="connsiteX8766" fmla="*/ 774133 w 6884782"/>
              <a:gd name="connsiteY8766" fmla="*/ 4848340 h 5973007"/>
              <a:gd name="connsiteX8767" fmla="*/ 772584 w 6884782"/>
              <a:gd name="connsiteY8767" fmla="*/ 4848030 h 5973007"/>
              <a:gd name="connsiteX8768" fmla="*/ 771809 w 6884782"/>
              <a:gd name="connsiteY8768" fmla="*/ 4846275 h 5973007"/>
              <a:gd name="connsiteX8769" fmla="*/ 772119 w 6884782"/>
              <a:gd name="connsiteY8769" fmla="*/ 4842764 h 5973007"/>
              <a:gd name="connsiteX8770" fmla="*/ 774133 w 6884782"/>
              <a:gd name="connsiteY8770" fmla="*/ 4841112 h 5973007"/>
              <a:gd name="connsiteX8771" fmla="*/ 1395887 w 6884782"/>
              <a:gd name="connsiteY8771" fmla="*/ 4840699 h 5973007"/>
              <a:gd name="connsiteX8772" fmla="*/ 1400379 w 6884782"/>
              <a:gd name="connsiteY8772" fmla="*/ 4843074 h 5973007"/>
              <a:gd name="connsiteX8773" fmla="*/ 1403477 w 6884782"/>
              <a:gd name="connsiteY8773" fmla="*/ 4850715 h 5973007"/>
              <a:gd name="connsiteX8774" fmla="*/ 1399604 w 6884782"/>
              <a:gd name="connsiteY8774" fmla="*/ 4852264 h 5973007"/>
              <a:gd name="connsiteX8775" fmla="*/ 1389226 w 6884782"/>
              <a:gd name="connsiteY8775" fmla="*/ 4844003 h 5973007"/>
              <a:gd name="connsiteX8776" fmla="*/ 1395887 w 6884782"/>
              <a:gd name="connsiteY8776" fmla="*/ 4840699 h 5973007"/>
              <a:gd name="connsiteX8777" fmla="*/ 1216207 w 6884782"/>
              <a:gd name="connsiteY8777" fmla="*/ 4840699 h 5973007"/>
              <a:gd name="connsiteX8778" fmla="*/ 1224726 w 6884782"/>
              <a:gd name="connsiteY8778" fmla="*/ 4841938 h 5973007"/>
              <a:gd name="connsiteX8779" fmla="*/ 1221784 w 6884782"/>
              <a:gd name="connsiteY8779" fmla="*/ 4851231 h 5973007"/>
              <a:gd name="connsiteX8780" fmla="*/ 1216207 w 6884782"/>
              <a:gd name="connsiteY8780" fmla="*/ 4840699 h 5973007"/>
              <a:gd name="connsiteX8781" fmla="*/ 6306244 w 6884782"/>
              <a:gd name="connsiteY8781" fmla="*/ 4840510 h 5973007"/>
              <a:gd name="connsiteX8782" fmla="*/ 6311511 w 6884782"/>
              <a:gd name="connsiteY8782" fmla="*/ 4846086 h 5973007"/>
              <a:gd name="connsiteX8783" fmla="*/ 6308413 w 6884782"/>
              <a:gd name="connsiteY8783" fmla="*/ 4849494 h 5973007"/>
              <a:gd name="connsiteX8784" fmla="*/ 6302372 w 6884782"/>
              <a:gd name="connsiteY8784" fmla="*/ 4845673 h 5973007"/>
              <a:gd name="connsiteX8785" fmla="*/ 6306244 w 6884782"/>
              <a:gd name="connsiteY8785" fmla="*/ 4840510 h 5973007"/>
              <a:gd name="connsiteX8786" fmla="*/ 1880713 w 6884782"/>
              <a:gd name="connsiteY8786" fmla="*/ 4839150 h 5973007"/>
              <a:gd name="connsiteX8787" fmla="*/ 1885514 w 6884782"/>
              <a:gd name="connsiteY8787" fmla="*/ 4839150 h 5973007"/>
              <a:gd name="connsiteX8788" fmla="*/ 1886443 w 6884782"/>
              <a:gd name="connsiteY8788" fmla="*/ 4840079 h 5973007"/>
              <a:gd name="connsiteX8789" fmla="*/ 1887063 w 6884782"/>
              <a:gd name="connsiteY8789" fmla="*/ 4840699 h 5973007"/>
              <a:gd name="connsiteX8790" fmla="*/ 1888612 w 6884782"/>
              <a:gd name="connsiteY8790" fmla="*/ 4842454 h 5973007"/>
              <a:gd name="connsiteX8791" fmla="*/ 1886443 w 6884782"/>
              <a:gd name="connsiteY8791" fmla="*/ 4844623 h 5973007"/>
              <a:gd name="connsiteX8792" fmla="*/ 1884120 w 6884782"/>
              <a:gd name="connsiteY8792" fmla="*/ 4844519 h 5973007"/>
              <a:gd name="connsiteX8793" fmla="*/ 1880713 w 6884782"/>
              <a:gd name="connsiteY8793" fmla="*/ 4839150 h 5973007"/>
              <a:gd name="connsiteX8794" fmla="*/ 6016434 w 6884782"/>
              <a:gd name="connsiteY8794" fmla="*/ 4838858 h 5973007"/>
              <a:gd name="connsiteX8795" fmla="*/ 6012871 w 6884782"/>
              <a:gd name="connsiteY8795" fmla="*/ 4841440 h 5973007"/>
              <a:gd name="connsiteX8796" fmla="*/ 6012096 w 6884782"/>
              <a:gd name="connsiteY8796" fmla="*/ 4840510 h 5973007"/>
              <a:gd name="connsiteX8797" fmla="*/ 6016434 w 6884782"/>
              <a:gd name="connsiteY8797" fmla="*/ 4838858 h 5973007"/>
              <a:gd name="connsiteX8798" fmla="*/ 1150531 w 6884782"/>
              <a:gd name="connsiteY8798" fmla="*/ 4838634 h 5973007"/>
              <a:gd name="connsiteX8799" fmla="*/ 1158121 w 6884782"/>
              <a:gd name="connsiteY8799" fmla="*/ 4838737 h 5973007"/>
              <a:gd name="connsiteX8800" fmla="*/ 1156572 w 6884782"/>
              <a:gd name="connsiteY8800" fmla="*/ 4844726 h 5973007"/>
              <a:gd name="connsiteX8801" fmla="*/ 1154248 w 6884782"/>
              <a:gd name="connsiteY8801" fmla="*/ 4846069 h 5973007"/>
              <a:gd name="connsiteX8802" fmla="*/ 1151615 w 6884782"/>
              <a:gd name="connsiteY8802" fmla="*/ 4845552 h 5973007"/>
              <a:gd name="connsiteX8803" fmla="*/ 1150066 w 6884782"/>
              <a:gd name="connsiteY8803" fmla="*/ 4843797 h 5973007"/>
              <a:gd name="connsiteX8804" fmla="*/ 1150531 w 6884782"/>
              <a:gd name="connsiteY8804" fmla="*/ 4838634 h 5973007"/>
              <a:gd name="connsiteX8805" fmla="*/ 6003384 w 6884782"/>
              <a:gd name="connsiteY8805" fmla="*/ 4838497 h 5973007"/>
              <a:gd name="connsiteX8806" fmla="*/ 6008069 w 6884782"/>
              <a:gd name="connsiteY8806" fmla="*/ 4838652 h 5973007"/>
              <a:gd name="connsiteX8807" fmla="*/ 6007914 w 6884782"/>
              <a:gd name="connsiteY8807" fmla="*/ 4839581 h 5973007"/>
              <a:gd name="connsiteX8808" fmla="*/ 5999085 w 6884782"/>
              <a:gd name="connsiteY8808" fmla="*/ 4841440 h 5973007"/>
              <a:gd name="connsiteX8809" fmla="*/ 5995987 w 6884782"/>
              <a:gd name="connsiteY8809" fmla="*/ 4841027 h 5973007"/>
              <a:gd name="connsiteX8810" fmla="*/ 5996917 w 6884782"/>
              <a:gd name="connsiteY8810" fmla="*/ 4841027 h 5973007"/>
              <a:gd name="connsiteX8811" fmla="*/ 5996142 w 6884782"/>
              <a:gd name="connsiteY8811" fmla="*/ 4840201 h 5973007"/>
              <a:gd name="connsiteX8812" fmla="*/ 6003384 w 6884782"/>
              <a:gd name="connsiteY8812" fmla="*/ 4838497 h 5973007"/>
              <a:gd name="connsiteX8813" fmla="*/ 6386326 w 6884782"/>
              <a:gd name="connsiteY8813" fmla="*/ 4837206 h 5973007"/>
              <a:gd name="connsiteX8814" fmla="*/ 6387565 w 6884782"/>
              <a:gd name="connsiteY8814" fmla="*/ 4840820 h 5973007"/>
              <a:gd name="connsiteX8815" fmla="*/ 6379820 w 6884782"/>
              <a:gd name="connsiteY8815" fmla="*/ 4842782 h 5973007"/>
              <a:gd name="connsiteX8816" fmla="*/ 6373469 w 6884782"/>
              <a:gd name="connsiteY8816" fmla="*/ 4840201 h 5973007"/>
              <a:gd name="connsiteX8817" fmla="*/ 6373779 w 6884782"/>
              <a:gd name="connsiteY8817" fmla="*/ 4837723 h 5973007"/>
              <a:gd name="connsiteX8818" fmla="*/ 6386326 w 6884782"/>
              <a:gd name="connsiteY8818" fmla="*/ 4837206 h 5973007"/>
              <a:gd name="connsiteX8819" fmla="*/ 1935081 w 6884782"/>
              <a:gd name="connsiteY8819" fmla="*/ 4836775 h 5973007"/>
              <a:gd name="connsiteX8820" fmla="*/ 1938334 w 6884782"/>
              <a:gd name="connsiteY8820" fmla="*/ 4840183 h 5973007"/>
              <a:gd name="connsiteX8821" fmla="*/ 1937404 w 6884782"/>
              <a:gd name="connsiteY8821" fmla="*/ 4841938 h 5973007"/>
              <a:gd name="connsiteX8822" fmla="*/ 1934771 w 6884782"/>
              <a:gd name="connsiteY8822" fmla="*/ 4842558 h 5973007"/>
              <a:gd name="connsiteX8823" fmla="*/ 1932138 w 6884782"/>
              <a:gd name="connsiteY8823" fmla="*/ 4839873 h 5973007"/>
              <a:gd name="connsiteX8824" fmla="*/ 1932912 w 6884782"/>
              <a:gd name="connsiteY8824" fmla="*/ 4838221 h 5973007"/>
              <a:gd name="connsiteX8825" fmla="*/ 1935081 w 6884782"/>
              <a:gd name="connsiteY8825" fmla="*/ 4836775 h 5973007"/>
              <a:gd name="connsiteX8826" fmla="*/ 1614136 w 6884782"/>
              <a:gd name="connsiteY8826" fmla="*/ 4836156 h 5973007"/>
              <a:gd name="connsiteX8827" fmla="*/ 1618318 w 6884782"/>
              <a:gd name="connsiteY8827" fmla="*/ 4838531 h 5973007"/>
              <a:gd name="connsiteX8828" fmla="*/ 1619402 w 6884782"/>
              <a:gd name="connsiteY8828" fmla="*/ 4841835 h 5973007"/>
              <a:gd name="connsiteX8829" fmla="*/ 1620176 w 6884782"/>
              <a:gd name="connsiteY8829" fmla="*/ 4843384 h 5973007"/>
              <a:gd name="connsiteX8830" fmla="*/ 1633497 w 6884782"/>
              <a:gd name="connsiteY8830" fmla="*/ 4838118 h 5973007"/>
              <a:gd name="connsiteX8831" fmla="*/ 1635356 w 6884782"/>
              <a:gd name="connsiteY8831" fmla="*/ 4847411 h 5973007"/>
              <a:gd name="connsiteX8832" fmla="*/ 1613981 w 6884782"/>
              <a:gd name="connsiteY8832" fmla="*/ 4854742 h 5973007"/>
              <a:gd name="connsiteX8833" fmla="*/ 1603138 w 6884782"/>
              <a:gd name="connsiteY8833" fmla="*/ 4858459 h 5973007"/>
              <a:gd name="connsiteX8834" fmla="*/ 1604377 w 6884782"/>
              <a:gd name="connsiteY8834" fmla="*/ 4861350 h 5973007"/>
              <a:gd name="connsiteX8835" fmla="*/ 1605771 w 6884782"/>
              <a:gd name="connsiteY8835" fmla="*/ 4873431 h 5973007"/>
              <a:gd name="connsiteX8836" fmla="*/ 1604067 w 6884782"/>
              <a:gd name="connsiteY8836" fmla="*/ 4881176 h 5973007"/>
              <a:gd name="connsiteX8837" fmla="*/ 1600195 w 6884782"/>
              <a:gd name="connsiteY8837" fmla="*/ 4879420 h 5973007"/>
              <a:gd name="connsiteX8838" fmla="*/ 1599730 w 6884782"/>
              <a:gd name="connsiteY8838" fmla="*/ 4878697 h 5973007"/>
              <a:gd name="connsiteX8839" fmla="*/ 1599730 w 6884782"/>
              <a:gd name="connsiteY8839" fmla="*/ 4879730 h 5973007"/>
              <a:gd name="connsiteX8840" fmla="*/ 1600040 w 6884782"/>
              <a:gd name="connsiteY8840" fmla="*/ 4881795 h 5973007"/>
              <a:gd name="connsiteX8841" fmla="*/ 1598181 w 6884782"/>
              <a:gd name="connsiteY8841" fmla="*/ 4881795 h 5973007"/>
              <a:gd name="connsiteX8842" fmla="*/ 1597252 w 6884782"/>
              <a:gd name="connsiteY8842" fmla="*/ 4877458 h 5973007"/>
              <a:gd name="connsiteX8843" fmla="*/ 1596477 w 6884782"/>
              <a:gd name="connsiteY8843" fmla="*/ 4877045 h 5973007"/>
              <a:gd name="connsiteX8844" fmla="*/ 1594309 w 6884782"/>
              <a:gd name="connsiteY8844" fmla="*/ 4877665 h 5973007"/>
              <a:gd name="connsiteX8845" fmla="*/ 1588887 w 6884782"/>
              <a:gd name="connsiteY8845" fmla="*/ 4876219 h 5973007"/>
              <a:gd name="connsiteX8846" fmla="*/ 1587184 w 6884782"/>
              <a:gd name="connsiteY8846" fmla="*/ 4874051 h 5973007"/>
              <a:gd name="connsiteX8847" fmla="*/ 1583931 w 6884782"/>
              <a:gd name="connsiteY8847" fmla="*/ 4875290 h 5973007"/>
              <a:gd name="connsiteX8848" fmla="*/ 1580523 w 6884782"/>
              <a:gd name="connsiteY8848" fmla="*/ 4873741 h 5973007"/>
              <a:gd name="connsiteX8849" fmla="*/ 1585790 w 6884782"/>
              <a:gd name="connsiteY8849" fmla="*/ 4865997 h 5973007"/>
              <a:gd name="connsiteX8850" fmla="*/ 1587958 w 6884782"/>
              <a:gd name="connsiteY8850" fmla="*/ 4864242 h 5973007"/>
              <a:gd name="connsiteX8851" fmla="*/ 1588268 w 6884782"/>
              <a:gd name="connsiteY8851" fmla="*/ 4863622 h 5973007"/>
              <a:gd name="connsiteX8852" fmla="*/ 1590437 w 6884782"/>
              <a:gd name="connsiteY8852" fmla="*/ 4862383 h 5973007"/>
              <a:gd name="connsiteX8853" fmla="*/ 1594464 w 6884782"/>
              <a:gd name="connsiteY8853" fmla="*/ 4859182 h 5973007"/>
              <a:gd name="connsiteX8854" fmla="*/ 1595858 w 6884782"/>
              <a:gd name="connsiteY8854" fmla="*/ 4851747 h 5973007"/>
              <a:gd name="connsiteX8855" fmla="*/ 1596942 w 6884782"/>
              <a:gd name="connsiteY8855" fmla="*/ 4850715 h 5973007"/>
              <a:gd name="connsiteX8856" fmla="*/ 1596787 w 6884782"/>
              <a:gd name="connsiteY8856" fmla="*/ 4846378 h 5973007"/>
              <a:gd name="connsiteX8857" fmla="*/ 1602828 w 6884782"/>
              <a:gd name="connsiteY8857" fmla="*/ 4849373 h 5973007"/>
              <a:gd name="connsiteX8858" fmla="*/ 1602053 w 6884782"/>
              <a:gd name="connsiteY8858" fmla="*/ 4851025 h 5973007"/>
              <a:gd name="connsiteX8859" fmla="*/ 1600040 w 6884782"/>
              <a:gd name="connsiteY8859" fmla="*/ 4852057 h 5973007"/>
              <a:gd name="connsiteX8860" fmla="*/ 1600969 w 6884782"/>
              <a:gd name="connsiteY8860" fmla="*/ 4853916 h 5973007"/>
              <a:gd name="connsiteX8861" fmla="*/ 1601744 w 6884782"/>
              <a:gd name="connsiteY8861" fmla="*/ 4852986 h 5973007"/>
              <a:gd name="connsiteX8862" fmla="*/ 1608869 w 6884782"/>
              <a:gd name="connsiteY8862" fmla="*/ 4848340 h 5973007"/>
              <a:gd name="connsiteX8863" fmla="*/ 1613206 w 6884782"/>
              <a:gd name="connsiteY8863" fmla="*/ 4846378 h 5973007"/>
              <a:gd name="connsiteX8864" fmla="*/ 1611347 w 6884782"/>
              <a:gd name="connsiteY8864" fmla="*/ 4845346 h 5973007"/>
              <a:gd name="connsiteX8865" fmla="*/ 1607010 w 6884782"/>
              <a:gd name="connsiteY8865" fmla="*/ 4839667 h 5973007"/>
              <a:gd name="connsiteX8866" fmla="*/ 1614136 w 6884782"/>
              <a:gd name="connsiteY8866" fmla="*/ 4836156 h 5973007"/>
              <a:gd name="connsiteX8867" fmla="*/ 1232626 w 6884782"/>
              <a:gd name="connsiteY8867" fmla="*/ 4836052 h 5973007"/>
              <a:gd name="connsiteX8868" fmla="*/ 1237892 w 6884782"/>
              <a:gd name="connsiteY8868" fmla="*/ 4839460 h 5973007"/>
              <a:gd name="connsiteX8869" fmla="*/ 1238202 w 6884782"/>
              <a:gd name="connsiteY8869" fmla="*/ 4840596 h 5973007"/>
              <a:gd name="connsiteX8870" fmla="*/ 1232626 w 6884782"/>
              <a:gd name="connsiteY8870" fmla="*/ 4836052 h 5973007"/>
              <a:gd name="connsiteX8871" fmla="*/ 1915254 w 6884782"/>
              <a:gd name="connsiteY8871" fmla="*/ 4833265 h 5973007"/>
              <a:gd name="connsiteX8872" fmla="*/ 1915099 w 6884782"/>
              <a:gd name="connsiteY8872" fmla="*/ 4839976 h 5973007"/>
              <a:gd name="connsiteX8873" fmla="*/ 1914325 w 6884782"/>
              <a:gd name="connsiteY8873" fmla="*/ 4840699 h 5973007"/>
              <a:gd name="connsiteX8874" fmla="*/ 1915254 w 6884782"/>
              <a:gd name="connsiteY8874" fmla="*/ 4833265 h 5973007"/>
              <a:gd name="connsiteX8875" fmla="*/ 1371103 w 6884782"/>
              <a:gd name="connsiteY8875" fmla="*/ 4832439 h 5973007"/>
              <a:gd name="connsiteX8876" fmla="*/ 1381171 w 6884782"/>
              <a:gd name="connsiteY8876" fmla="*/ 4833368 h 5973007"/>
              <a:gd name="connsiteX8877" fmla="*/ 1389536 w 6884782"/>
              <a:gd name="connsiteY8877" fmla="*/ 4840079 h 5973007"/>
              <a:gd name="connsiteX8878" fmla="*/ 1384734 w 6884782"/>
              <a:gd name="connsiteY8878" fmla="*/ 4840596 h 5973007"/>
              <a:gd name="connsiteX8879" fmla="*/ 1371103 w 6884782"/>
              <a:gd name="connsiteY8879" fmla="*/ 4832439 h 5973007"/>
              <a:gd name="connsiteX8880" fmla="*/ 1085165 w 6884782"/>
              <a:gd name="connsiteY8880" fmla="*/ 4832336 h 5973007"/>
              <a:gd name="connsiteX8881" fmla="*/ 1089037 w 6884782"/>
              <a:gd name="connsiteY8881" fmla="*/ 4839253 h 5973007"/>
              <a:gd name="connsiteX8882" fmla="*/ 1084545 w 6884782"/>
              <a:gd name="connsiteY8882" fmla="*/ 4834504 h 5973007"/>
              <a:gd name="connsiteX8883" fmla="*/ 1085165 w 6884782"/>
              <a:gd name="connsiteY8883" fmla="*/ 4832336 h 5973007"/>
              <a:gd name="connsiteX8884" fmla="*/ 1583156 w 6884782"/>
              <a:gd name="connsiteY8884" fmla="*/ 4831303 h 5973007"/>
              <a:gd name="connsiteX8885" fmla="*/ 1582692 w 6884782"/>
              <a:gd name="connsiteY8885" fmla="*/ 4832026 h 5973007"/>
              <a:gd name="connsiteX8886" fmla="*/ 1583149 w 6884782"/>
              <a:gd name="connsiteY8886" fmla="*/ 4831305 h 5973007"/>
              <a:gd name="connsiteX8887" fmla="*/ 1464041 w 6884782"/>
              <a:gd name="connsiteY8887" fmla="*/ 4830993 h 5973007"/>
              <a:gd name="connsiteX8888" fmla="*/ 1465900 w 6884782"/>
              <a:gd name="connsiteY8888" fmla="*/ 4831096 h 5973007"/>
              <a:gd name="connsiteX8889" fmla="*/ 1464660 w 6884782"/>
              <a:gd name="connsiteY8889" fmla="*/ 4834401 h 5973007"/>
              <a:gd name="connsiteX8890" fmla="*/ 1463266 w 6884782"/>
              <a:gd name="connsiteY8890" fmla="*/ 4833574 h 5973007"/>
              <a:gd name="connsiteX8891" fmla="*/ 1462802 w 6884782"/>
              <a:gd name="connsiteY8891" fmla="*/ 4834401 h 5973007"/>
              <a:gd name="connsiteX8892" fmla="*/ 1462027 w 6884782"/>
              <a:gd name="connsiteY8892" fmla="*/ 4832851 h 5973007"/>
              <a:gd name="connsiteX8893" fmla="*/ 1462492 w 6884782"/>
              <a:gd name="connsiteY8893" fmla="*/ 4832026 h 5973007"/>
              <a:gd name="connsiteX8894" fmla="*/ 1462492 w 6884782"/>
              <a:gd name="connsiteY8894" fmla="*/ 4831819 h 5973007"/>
              <a:gd name="connsiteX8895" fmla="*/ 1464041 w 6884782"/>
              <a:gd name="connsiteY8895" fmla="*/ 4830993 h 5973007"/>
              <a:gd name="connsiteX8896" fmla="*/ 6237258 w 6884782"/>
              <a:gd name="connsiteY8896" fmla="*/ 4830753 h 5973007"/>
              <a:gd name="connsiteX8897" fmla="*/ 6240259 w 6884782"/>
              <a:gd name="connsiteY8897" fmla="*/ 4840820 h 5973007"/>
              <a:gd name="connsiteX8898" fmla="*/ 6231584 w 6884782"/>
              <a:gd name="connsiteY8898" fmla="*/ 4838342 h 5973007"/>
              <a:gd name="connsiteX8899" fmla="*/ 6237258 w 6884782"/>
              <a:gd name="connsiteY8899" fmla="*/ 4830753 h 5973007"/>
              <a:gd name="connsiteX8900" fmla="*/ 1500906 w 6884782"/>
              <a:gd name="connsiteY8900" fmla="*/ 4830477 h 5973007"/>
              <a:gd name="connsiteX8901" fmla="*/ 1504469 w 6884782"/>
              <a:gd name="connsiteY8901" fmla="*/ 4830580 h 5973007"/>
              <a:gd name="connsiteX8902" fmla="*/ 1505553 w 6884782"/>
              <a:gd name="connsiteY8902" fmla="*/ 4841318 h 5973007"/>
              <a:gd name="connsiteX8903" fmla="*/ 1500286 w 6884782"/>
              <a:gd name="connsiteY8903" fmla="*/ 4840906 h 5973007"/>
              <a:gd name="connsiteX8904" fmla="*/ 1500906 w 6884782"/>
              <a:gd name="connsiteY8904" fmla="*/ 4830477 h 5973007"/>
              <a:gd name="connsiteX8905" fmla="*/ 1885824 w 6884782"/>
              <a:gd name="connsiteY8905" fmla="*/ 4830270 h 5973007"/>
              <a:gd name="connsiteX8906" fmla="*/ 1889076 w 6884782"/>
              <a:gd name="connsiteY8906" fmla="*/ 4833368 h 5973007"/>
              <a:gd name="connsiteX8907" fmla="*/ 1888921 w 6884782"/>
              <a:gd name="connsiteY8907" fmla="*/ 4836982 h 5973007"/>
              <a:gd name="connsiteX8908" fmla="*/ 1885824 w 6884782"/>
              <a:gd name="connsiteY8908" fmla="*/ 4830270 h 5973007"/>
              <a:gd name="connsiteX8909" fmla="*/ 6284637 w 6884782"/>
              <a:gd name="connsiteY8909" fmla="*/ 4829694 h 5973007"/>
              <a:gd name="connsiteX8910" fmla="*/ 6299739 w 6884782"/>
              <a:gd name="connsiteY8910" fmla="*/ 4831217 h 5973007"/>
              <a:gd name="connsiteX8911" fmla="*/ 6303611 w 6884782"/>
              <a:gd name="connsiteY8911" fmla="*/ 4838755 h 5973007"/>
              <a:gd name="connsiteX8912" fmla="*/ 6279912 w 6884782"/>
              <a:gd name="connsiteY8912" fmla="*/ 4860026 h 5973007"/>
              <a:gd name="connsiteX8913" fmla="*/ 6275110 w 6884782"/>
              <a:gd name="connsiteY8913" fmla="*/ 4860026 h 5973007"/>
              <a:gd name="connsiteX8914" fmla="*/ 6269069 w 6884782"/>
              <a:gd name="connsiteY8914" fmla="*/ 4858064 h 5973007"/>
              <a:gd name="connsiteX8915" fmla="*/ 6271393 w 6884782"/>
              <a:gd name="connsiteY8915" fmla="*/ 4844744 h 5973007"/>
              <a:gd name="connsiteX8916" fmla="*/ 6284637 w 6884782"/>
              <a:gd name="connsiteY8916" fmla="*/ 4829694 h 5973007"/>
              <a:gd name="connsiteX8917" fmla="*/ 1599885 w 6884782"/>
              <a:gd name="connsiteY8917" fmla="*/ 4829444 h 5973007"/>
              <a:gd name="connsiteX8918" fmla="*/ 1601124 w 6884782"/>
              <a:gd name="connsiteY8918" fmla="*/ 4833678 h 5973007"/>
              <a:gd name="connsiteX8919" fmla="*/ 1598026 w 6884782"/>
              <a:gd name="connsiteY8919" fmla="*/ 4831612 h 5973007"/>
              <a:gd name="connsiteX8920" fmla="*/ 1599885 w 6884782"/>
              <a:gd name="connsiteY8920" fmla="*/ 4829444 h 5973007"/>
              <a:gd name="connsiteX8921" fmla="*/ 1344925 w 6884782"/>
              <a:gd name="connsiteY8921" fmla="*/ 4829031 h 5973007"/>
              <a:gd name="connsiteX8922" fmla="*/ 1349573 w 6884782"/>
              <a:gd name="connsiteY8922" fmla="*/ 4829135 h 5973007"/>
              <a:gd name="connsiteX8923" fmla="*/ 1348179 w 6884782"/>
              <a:gd name="connsiteY8923" fmla="*/ 4832955 h 5973007"/>
              <a:gd name="connsiteX8924" fmla="*/ 1344925 w 6884782"/>
              <a:gd name="connsiteY8924" fmla="*/ 4831716 h 5973007"/>
              <a:gd name="connsiteX8925" fmla="*/ 1344925 w 6884782"/>
              <a:gd name="connsiteY8925" fmla="*/ 4829031 h 5973007"/>
              <a:gd name="connsiteX8926" fmla="*/ 992692 w 6884782"/>
              <a:gd name="connsiteY8926" fmla="*/ 4828721 h 5973007"/>
              <a:gd name="connsiteX8927" fmla="*/ 980145 w 6884782"/>
              <a:gd name="connsiteY8927" fmla="*/ 4837808 h 5973007"/>
              <a:gd name="connsiteX8928" fmla="*/ 975808 w 6884782"/>
              <a:gd name="connsiteY8928" fmla="*/ 4835226 h 5973007"/>
              <a:gd name="connsiteX8929" fmla="*/ 992692 w 6884782"/>
              <a:gd name="connsiteY8929" fmla="*/ 4828721 h 5973007"/>
              <a:gd name="connsiteX8930" fmla="*/ 1899919 w 6884782"/>
              <a:gd name="connsiteY8930" fmla="*/ 4828205 h 5973007"/>
              <a:gd name="connsiteX8931" fmla="*/ 1907509 w 6884782"/>
              <a:gd name="connsiteY8931" fmla="*/ 4830374 h 5973007"/>
              <a:gd name="connsiteX8932" fmla="*/ 1906890 w 6884782"/>
              <a:gd name="connsiteY8932" fmla="*/ 4834710 h 5973007"/>
              <a:gd name="connsiteX8933" fmla="*/ 1902398 w 6884782"/>
              <a:gd name="connsiteY8933" fmla="*/ 4837602 h 5973007"/>
              <a:gd name="connsiteX8934" fmla="*/ 1899145 w 6884782"/>
              <a:gd name="connsiteY8934" fmla="*/ 4838531 h 5973007"/>
              <a:gd name="connsiteX8935" fmla="*/ 1899300 w 6884782"/>
              <a:gd name="connsiteY8935" fmla="*/ 4840183 h 5973007"/>
              <a:gd name="connsiteX8936" fmla="*/ 1896666 w 6884782"/>
              <a:gd name="connsiteY8936" fmla="*/ 4842145 h 5973007"/>
              <a:gd name="connsiteX8937" fmla="*/ 1894498 w 6884782"/>
              <a:gd name="connsiteY8937" fmla="*/ 4840596 h 5973007"/>
              <a:gd name="connsiteX8938" fmla="*/ 1896046 w 6884782"/>
              <a:gd name="connsiteY8938" fmla="*/ 4838531 h 5973007"/>
              <a:gd name="connsiteX8939" fmla="*/ 1895272 w 6884782"/>
              <a:gd name="connsiteY8939" fmla="*/ 4838634 h 5973007"/>
              <a:gd name="connsiteX8940" fmla="*/ 1895737 w 6884782"/>
              <a:gd name="connsiteY8940" fmla="*/ 4830683 h 5973007"/>
              <a:gd name="connsiteX8941" fmla="*/ 1899919 w 6884782"/>
              <a:gd name="connsiteY8941" fmla="*/ 4828205 h 5973007"/>
              <a:gd name="connsiteX8942" fmla="*/ 6041836 w 6884782"/>
              <a:gd name="connsiteY8942" fmla="*/ 4827913 h 5973007"/>
              <a:gd name="connsiteX8943" fmla="*/ 6035796 w 6884782"/>
              <a:gd name="connsiteY8943" fmla="*/ 4833902 h 5973007"/>
              <a:gd name="connsiteX8944" fmla="*/ 6033937 w 6884782"/>
              <a:gd name="connsiteY8944" fmla="*/ 4833696 h 5973007"/>
              <a:gd name="connsiteX8945" fmla="*/ 6034092 w 6884782"/>
              <a:gd name="connsiteY8945" fmla="*/ 4831217 h 5973007"/>
              <a:gd name="connsiteX8946" fmla="*/ 6041836 w 6884782"/>
              <a:gd name="connsiteY8946" fmla="*/ 4827913 h 5973007"/>
              <a:gd name="connsiteX8947" fmla="*/ 1884430 w 6884782"/>
              <a:gd name="connsiteY8947" fmla="*/ 4827173 h 5973007"/>
              <a:gd name="connsiteX8948" fmla="*/ 1884894 w 6884782"/>
              <a:gd name="connsiteY8948" fmla="*/ 4827585 h 5973007"/>
              <a:gd name="connsiteX8949" fmla="*/ 1885669 w 6884782"/>
              <a:gd name="connsiteY8949" fmla="*/ 4830270 h 5973007"/>
              <a:gd name="connsiteX8950" fmla="*/ 1883191 w 6884782"/>
              <a:gd name="connsiteY8950" fmla="*/ 4828205 h 5973007"/>
              <a:gd name="connsiteX8951" fmla="*/ 1884120 w 6884782"/>
              <a:gd name="connsiteY8951" fmla="*/ 4827482 h 5973007"/>
              <a:gd name="connsiteX8952" fmla="*/ 1883191 w 6884782"/>
              <a:gd name="connsiteY8952" fmla="*/ 4827379 h 5973007"/>
              <a:gd name="connsiteX8953" fmla="*/ 1884430 w 6884782"/>
              <a:gd name="connsiteY8953" fmla="*/ 4827173 h 5973007"/>
              <a:gd name="connsiteX8954" fmla="*/ 1358092 w 6884782"/>
              <a:gd name="connsiteY8954" fmla="*/ 4826140 h 5973007"/>
              <a:gd name="connsiteX8955" fmla="*/ 1359176 w 6884782"/>
              <a:gd name="connsiteY8955" fmla="*/ 4826656 h 5973007"/>
              <a:gd name="connsiteX8956" fmla="*/ 1359796 w 6884782"/>
              <a:gd name="connsiteY8956" fmla="*/ 4827689 h 5973007"/>
              <a:gd name="connsiteX8957" fmla="*/ 1360880 w 6884782"/>
              <a:gd name="connsiteY8957" fmla="*/ 4826553 h 5973007"/>
              <a:gd name="connsiteX8958" fmla="*/ 1367231 w 6884782"/>
              <a:gd name="connsiteY8958" fmla="*/ 4830786 h 5973007"/>
              <a:gd name="connsiteX8959" fmla="*/ 1365062 w 6884782"/>
              <a:gd name="connsiteY8959" fmla="*/ 4837498 h 5973007"/>
              <a:gd name="connsiteX8960" fmla="*/ 1362119 w 6884782"/>
              <a:gd name="connsiteY8960" fmla="*/ 4838944 h 5973007"/>
              <a:gd name="connsiteX8961" fmla="*/ 1359641 w 6884782"/>
              <a:gd name="connsiteY8961" fmla="*/ 4838944 h 5973007"/>
              <a:gd name="connsiteX8962" fmla="*/ 1356543 w 6884782"/>
              <a:gd name="connsiteY8962" fmla="*/ 4835949 h 5973007"/>
              <a:gd name="connsiteX8963" fmla="*/ 1356698 w 6884782"/>
              <a:gd name="connsiteY8963" fmla="*/ 4830890 h 5973007"/>
              <a:gd name="connsiteX8964" fmla="*/ 1357317 w 6884782"/>
              <a:gd name="connsiteY8964" fmla="*/ 4830167 h 5973007"/>
              <a:gd name="connsiteX8965" fmla="*/ 1357007 w 6884782"/>
              <a:gd name="connsiteY8965" fmla="*/ 4829547 h 5973007"/>
              <a:gd name="connsiteX8966" fmla="*/ 1356853 w 6884782"/>
              <a:gd name="connsiteY8966" fmla="*/ 4829547 h 5973007"/>
              <a:gd name="connsiteX8967" fmla="*/ 1357007 w 6884782"/>
              <a:gd name="connsiteY8967" fmla="*/ 4827689 h 5973007"/>
              <a:gd name="connsiteX8968" fmla="*/ 1358092 w 6884782"/>
              <a:gd name="connsiteY8968" fmla="*/ 4826140 h 5973007"/>
              <a:gd name="connsiteX8969" fmla="*/ 1731857 w 6884782"/>
              <a:gd name="connsiteY8969" fmla="*/ 4826101 h 5973007"/>
              <a:gd name="connsiteX8970" fmla="*/ 1754317 w 6884782"/>
              <a:gd name="connsiteY8970" fmla="*/ 4832439 h 5973007"/>
              <a:gd name="connsiteX8971" fmla="*/ 1764695 w 6884782"/>
              <a:gd name="connsiteY8971" fmla="*/ 4865274 h 5973007"/>
              <a:gd name="connsiteX8972" fmla="*/ 1755091 w 6884782"/>
              <a:gd name="connsiteY8972" fmla="*/ 4883860 h 5973007"/>
              <a:gd name="connsiteX8973" fmla="*/ 1731392 w 6884782"/>
              <a:gd name="connsiteY8973" fmla="*/ 4895941 h 5973007"/>
              <a:gd name="connsiteX8974" fmla="*/ 1717606 w 6884782"/>
              <a:gd name="connsiteY8974" fmla="*/ 4891088 h 5973007"/>
              <a:gd name="connsiteX8975" fmla="*/ 1710171 w 6884782"/>
              <a:gd name="connsiteY8975" fmla="*/ 4888507 h 5973007"/>
              <a:gd name="connsiteX8976" fmla="*/ 1708312 w 6884782"/>
              <a:gd name="connsiteY8976" fmla="*/ 4891811 h 5973007"/>
              <a:gd name="connsiteX8977" fmla="*/ 1706454 w 6884782"/>
              <a:gd name="connsiteY8977" fmla="*/ 4887371 h 5973007"/>
              <a:gd name="connsiteX8978" fmla="*/ 1703820 w 6884782"/>
              <a:gd name="connsiteY8978" fmla="*/ 4886338 h 5973007"/>
              <a:gd name="connsiteX8979" fmla="*/ 1695456 w 6884782"/>
              <a:gd name="connsiteY8979" fmla="*/ 4851128 h 5973007"/>
              <a:gd name="connsiteX8980" fmla="*/ 1708467 w 6884782"/>
              <a:gd name="connsiteY8980" fmla="*/ 4832851 h 5973007"/>
              <a:gd name="connsiteX8981" fmla="*/ 1731857 w 6884782"/>
              <a:gd name="connsiteY8981" fmla="*/ 4826101 h 5973007"/>
              <a:gd name="connsiteX8982" fmla="*/ 6128733 w 6884782"/>
              <a:gd name="connsiteY8982" fmla="*/ 4825538 h 5973007"/>
              <a:gd name="connsiteX8983" fmla="*/ 6129353 w 6884782"/>
              <a:gd name="connsiteY8983" fmla="*/ 4825951 h 5973007"/>
              <a:gd name="connsiteX8984" fmla="*/ 6132141 w 6884782"/>
              <a:gd name="connsiteY8984" fmla="*/ 4827707 h 5973007"/>
              <a:gd name="connsiteX8985" fmla="*/ 6131057 w 6884782"/>
              <a:gd name="connsiteY8985" fmla="*/ 4832353 h 5973007"/>
              <a:gd name="connsiteX8986" fmla="*/ 6127804 w 6884782"/>
              <a:gd name="connsiteY8986" fmla="*/ 4832456 h 5973007"/>
              <a:gd name="connsiteX8987" fmla="*/ 6126100 w 6884782"/>
              <a:gd name="connsiteY8987" fmla="*/ 4831217 h 5973007"/>
              <a:gd name="connsiteX8988" fmla="*/ 6126875 w 6884782"/>
              <a:gd name="connsiteY8988" fmla="*/ 4826468 h 5973007"/>
              <a:gd name="connsiteX8989" fmla="*/ 6128733 w 6884782"/>
              <a:gd name="connsiteY8989" fmla="*/ 4825538 h 5973007"/>
              <a:gd name="connsiteX8990" fmla="*/ 1137519 w 6884782"/>
              <a:gd name="connsiteY8990" fmla="*/ 4824901 h 5973007"/>
              <a:gd name="connsiteX8991" fmla="*/ 1140154 w 6884782"/>
              <a:gd name="connsiteY8991" fmla="*/ 4827276 h 5973007"/>
              <a:gd name="connsiteX8992" fmla="*/ 1138759 w 6884782"/>
              <a:gd name="connsiteY8992" fmla="*/ 4828205 h 5973007"/>
              <a:gd name="connsiteX8993" fmla="*/ 1139378 w 6884782"/>
              <a:gd name="connsiteY8993" fmla="*/ 4828825 h 5973007"/>
              <a:gd name="connsiteX8994" fmla="*/ 1137519 w 6884782"/>
              <a:gd name="connsiteY8994" fmla="*/ 4829031 h 5973007"/>
              <a:gd name="connsiteX8995" fmla="*/ 1137055 w 6884782"/>
              <a:gd name="connsiteY8995" fmla="*/ 4828308 h 5973007"/>
              <a:gd name="connsiteX8996" fmla="*/ 1136745 w 6884782"/>
              <a:gd name="connsiteY8996" fmla="*/ 4828205 h 5973007"/>
              <a:gd name="connsiteX8997" fmla="*/ 1136745 w 6884782"/>
              <a:gd name="connsiteY8997" fmla="*/ 4826450 h 5973007"/>
              <a:gd name="connsiteX8998" fmla="*/ 1137519 w 6884782"/>
              <a:gd name="connsiteY8998" fmla="*/ 4824901 h 5973007"/>
              <a:gd name="connsiteX8999" fmla="*/ 858241 w 6884782"/>
              <a:gd name="connsiteY8999" fmla="*/ 4824178 h 5973007"/>
              <a:gd name="connsiteX9000" fmla="*/ 862733 w 6884782"/>
              <a:gd name="connsiteY9000" fmla="*/ 4826553 h 5973007"/>
              <a:gd name="connsiteX9001" fmla="*/ 863353 w 6884782"/>
              <a:gd name="connsiteY9001" fmla="*/ 4836982 h 5973007"/>
              <a:gd name="connsiteX9002" fmla="*/ 854524 w 6884782"/>
              <a:gd name="connsiteY9002" fmla="*/ 4839150 h 5973007"/>
              <a:gd name="connsiteX9003" fmla="*/ 853904 w 6884782"/>
              <a:gd name="connsiteY9003" fmla="*/ 4841009 h 5973007"/>
              <a:gd name="connsiteX9004" fmla="*/ 850806 w 6884782"/>
              <a:gd name="connsiteY9004" fmla="*/ 4842971 h 5973007"/>
              <a:gd name="connsiteX9005" fmla="*/ 849723 w 6884782"/>
              <a:gd name="connsiteY9005" fmla="*/ 4841215 h 5973007"/>
              <a:gd name="connsiteX9006" fmla="*/ 852665 w 6884782"/>
              <a:gd name="connsiteY9006" fmla="*/ 4838531 h 5973007"/>
              <a:gd name="connsiteX9007" fmla="*/ 852511 w 6884782"/>
              <a:gd name="connsiteY9007" fmla="*/ 4837602 h 5973007"/>
              <a:gd name="connsiteX9008" fmla="*/ 850651 w 6884782"/>
              <a:gd name="connsiteY9008" fmla="*/ 4835949 h 5973007"/>
              <a:gd name="connsiteX9009" fmla="*/ 849412 w 6884782"/>
              <a:gd name="connsiteY9009" fmla="*/ 4827276 h 5973007"/>
              <a:gd name="connsiteX9010" fmla="*/ 858241 w 6884782"/>
              <a:gd name="connsiteY9010" fmla="*/ 4824178 h 5973007"/>
              <a:gd name="connsiteX9011" fmla="*/ 1459394 w 6884782"/>
              <a:gd name="connsiteY9011" fmla="*/ 4823145 h 5973007"/>
              <a:gd name="connsiteX9012" fmla="*/ 1458620 w 6884782"/>
              <a:gd name="connsiteY9012" fmla="*/ 4825624 h 5973007"/>
              <a:gd name="connsiteX9013" fmla="*/ 1450100 w 6884782"/>
              <a:gd name="connsiteY9013" fmla="*/ 4831096 h 5973007"/>
              <a:gd name="connsiteX9014" fmla="*/ 1459394 w 6884782"/>
              <a:gd name="connsiteY9014" fmla="*/ 4823145 h 5973007"/>
              <a:gd name="connsiteX9015" fmla="*/ 1207223 w 6884782"/>
              <a:gd name="connsiteY9015" fmla="*/ 4823042 h 5973007"/>
              <a:gd name="connsiteX9016" fmla="*/ 1207843 w 6884782"/>
              <a:gd name="connsiteY9016" fmla="*/ 4824901 h 5973007"/>
              <a:gd name="connsiteX9017" fmla="*/ 1208307 w 6884782"/>
              <a:gd name="connsiteY9017" fmla="*/ 4824384 h 5973007"/>
              <a:gd name="connsiteX9018" fmla="*/ 1212334 w 6884782"/>
              <a:gd name="connsiteY9018" fmla="*/ 4823249 h 5973007"/>
              <a:gd name="connsiteX9019" fmla="*/ 1209701 w 6884782"/>
              <a:gd name="connsiteY9019" fmla="*/ 4825830 h 5973007"/>
              <a:gd name="connsiteX9020" fmla="*/ 1208462 w 6884782"/>
              <a:gd name="connsiteY9020" fmla="*/ 4826759 h 5973007"/>
              <a:gd name="connsiteX9021" fmla="*/ 1209237 w 6884782"/>
              <a:gd name="connsiteY9021" fmla="*/ 4829031 h 5973007"/>
              <a:gd name="connsiteX9022" fmla="*/ 1206138 w 6884782"/>
              <a:gd name="connsiteY9022" fmla="*/ 4835226 h 5973007"/>
              <a:gd name="connsiteX9023" fmla="*/ 1199169 w 6884782"/>
              <a:gd name="connsiteY9023" fmla="*/ 4827585 h 5973007"/>
              <a:gd name="connsiteX9024" fmla="*/ 1207223 w 6884782"/>
              <a:gd name="connsiteY9024" fmla="*/ 4823042 h 5973007"/>
              <a:gd name="connsiteX9025" fmla="*/ 1302794 w 6884782"/>
              <a:gd name="connsiteY9025" fmla="*/ 4821803 h 5973007"/>
              <a:gd name="connsiteX9026" fmla="*/ 1301090 w 6884782"/>
              <a:gd name="connsiteY9026" fmla="*/ 4830993 h 5973007"/>
              <a:gd name="connsiteX9027" fmla="*/ 1299696 w 6884782"/>
              <a:gd name="connsiteY9027" fmla="*/ 4829135 h 5973007"/>
              <a:gd name="connsiteX9028" fmla="*/ 1302794 w 6884782"/>
              <a:gd name="connsiteY9028" fmla="*/ 4821803 h 5973007"/>
              <a:gd name="connsiteX9029" fmla="*/ 1059762 w 6884782"/>
              <a:gd name="connsiteY9029" fmla="*/ 4821597 h 5973007"/>
              <a:gd name="connsiteX9030" fmla="*/ 1054340 w 6884782"/>
              <a:gd name="connsiteY9030" fmla="*/ 4832336 h 5973007"/>
              <a:gd name="connsiteX9031" fmla="*/ 1050003 w 6884782"/>
              <a:gd name="connsiteY9031" fmla="*/ 4831406 h 5973007"/>
              <a:gd name="connsiteX9032" fmla="*/ 1059762 w 6884782"/>
              <a:gd name="connsiteY9032" fmla="*/ 4821597 h 5973007"/>
              <a:gd name="connsiteX9033" fmla="*/ 1756795 w 6884782"/>
              <a:gd name="connsiteY9033" fmla="*/ 4820564 h 5973007"/>
              <a:gd name="connsiteX9034" fmla="*/ 1758034 w 6884782"/>
              <a:gd name="connsiteY9034" fmla="*/ 4832129 h 5973007"/>
              <a:gd name="connsiteX9035" fmla="*/ 1753852 w 6884782"/>
              <a:gd name="connsiteY9035" fmla="*/ 4831819 h 5973007"/>
              <a:gd name="connsiteX9036" fmla="*/ 1749515 w 6884782"/>
              <a:gd name="connsiteY9036" fmla="*/ 4825417 h 5973007"/>
              <a:gd name="connsiteX9037" fmla="*/ 1756795 w 6884782"/>
              <a:gd name="connsiteY9037" fmla="*/ 4820564 h 5973007"/>
              <a:gd name="connsiteX9038" fmla="*/ 1589972 w 6884782"/>
              <a:gd name="connsiteY9038" fmla="*/ 4820461 h 5973007"/>
              <a:gd name="connsiteX9039" fmla="*/ 1590901 w 6884782"/>
              <a:gd name="connsiteY9039" fmla="*/ 4837395 h 5973007"/>
              <a:gd name="connsiteX9040" fmla="*/ 1589197 w 6884782"/>
              <a:gd name="connsiteY9040" fmla="*/ 4837085 h 5973007"/>
              <a:gd name="connsiteX9041" fmla="*/ 1588113 w 6884782"/>
              <a:gd name="connsiteY9041" fmla="*/ 4838427 h 5973007"/>
              <a:gd name="connsiteX9042" fmla="*/ 1586409 w 6884782"/>
              <a:gd name="connsiteY9042" fmla="*/ 4838531 h 5973007"/>
              <a:gd name="connsiteX9043" fmla="*/ 1584550 w 6884782"/>
              <a:gd name="connsiteY9043" fmla="*/ 4834917 h 5973007"/>
              <a:gd name="connsiteX9044" fmla="*/ 1587958 w 6884782"/>
              <a:gd name="connsiteY9044" fmla="*/ 4833368 h 5973007"/>
              <a:gd name="connsiteX9045" fmla="*/ 1588268 w 6884782"/>
              <a:gd name="connsiteY9045" fmla="*/ 4833471 h 5973007"/>
              <a:gd name="connsiteX9046" fmla="*/ 1587649 w 6884782"/>
              <a:gd name="connsiteY9046" fmla="*/ 4831200 h 5973007"/>
              <a:gd name="connsiteX9047" fmla="*/ 1589972 w 6884782"/>
              <a:gd name="connsiteY9047" fmla="*/ 4820461 h 5973007"/>
              <a:gd name="connsiteX9048" fmla="*/ 1585480 w 6884782"/>
              <a:gd name="connsiteY9048" fmla="*/ 4820151 h 5973007"/>
              <a:gd name="connsiteX9049" fmla="*/ 1586254 w 6884782"/>
              <a:gd name="connsiteY9049" fmla="*/ 4820461 h 5973007"/>
              <a:gd name="connsiteX9050" fmla="*/ 1584395 w 6884782"/>
              <a:gd name="connsiteY9050" fmla="*/ 4829341 h 5973007"/>
              <a:gd name="connsiteX9051" fmla="*/ 1583149 w 6884782"/>
              <a:gd name="connsiteY9051" fmla="*/ 4831305 h 5973007"/>
              <a:gd name="connsiteX9052" fmla="*/ 1582072 w 6884782"/>
              <a:gd name="connsiteY9052" fmla="*/ 4831612 h 5973007"/>
              <a:gd name="connsiteX9053" fmla="*/ 1585480 w 6884782"/>
              <a:gd name="connsiteY9053" fmla="*/ 4820151 h 5973007"/>
              <a:gd name="connsiteX9054" fmla="*/ 1700239 w 6884782"/>
              <a:gd name="connsiteY9054" fmla="*/ 4819054 h 5973007"/>
              <a:gd name="connsiteX9055" fmla="*/ 1707538 w 6884782"/>
              <a:gd name="connsiteY9055" fmla="*/ 4822526 h 5973007"/>
              <a:gd name="connsiteX9056" fmla="*/ 1701187 w 6884782"/>
              <a:gd name="connsiteY9056" fmla="*/ 4827173 h 5973007"/>
              <a:gd name="connsiteX9057" fmla="*/ 1693287 w 6884782"/>
              <a:gd name="connsiteY9057" fmla="*/ 4822629 h 5973007"/>
              <a:gd name="connsiteX9058" fmla="*/ 1700239 w 6884782"/>
              <a:gd name="connsiteY9058" fmla="*/ 4819054 h 5973007"/>
              <a:gd name="connsiteX9059" fmla="*/ 1026304 w 6884782"/>
              <a:gd name="connsiteY9059" fmla="*/ 4817983 h 5973007"/>
              <a:gd name="connsiteX9060" fmla="*/ 1028783 w 6884782"/>
              <a:gd name="connsiteY9060" fmla="*/ 4820771 h 5973007"/>
              <a:gd name="connsiteX9061" fmla="*/ 1021812 w 6884782"/>
              <a:gd name="connsiteY9061" fmla="*/ 4827999 h 5973007"/>
              <a:gd name="connsiteX9062" fmla="*/ 1018249 w 6884782"/>
              <a:gd name="connsiteY9062" fmla="*/ 4823662 h 5973007"/>
              <a:gd name="connsiteX9063" fmla="*/ 1026304 w 6884782"/>
              <a:gd name="connsiteY9063" fmla="*/ 4817983 h 5973007"/>
              <a:gd name="connsiteX9064" fmla="*/ 1610728 w 6884782"/>
              <a:gd name="connsiteY9064" fmla="*/ 4817570 h 5973007"/>
              <a:gd name="connsiteX9065" fmla="*/ 1611657 w 6884782"/>
              <a:gd name="connsiteY9065" fmla="*/ 4819428 h 5973007"/>
              <a:gd name="connsiteX9066" fmla="*/ 1610883 w 6884782"/>
              <a:gd name="connsiteY9066" fmla="*/ 4822010 h 5973007"/>
              <a:gd name="connsiteX9067" fmla="*/ 1607475 w 6884782"/>
              <a:gd name="connsiteY9067" fmla="*/ 4822733 h 5973007"/>
              <a:gd name="connsiteX9068" fmla="*/ 1606700 w 6884782"/>
              <a:gd name="connsiteY9068" fmla="*/ 4820977 h 5973007"/>
              <a:gd name="connsiteX9069" fmla="*/ 1606546 w 6884782"/>
              <a:gd name="connsiteY9069" fmla="*/ 4818189 h 5973007"/>
              <a:gd name="connsiteX9070" fmla="*/ 1610728 w 6884782"/>
              <a:gd name="connsiteY9070" fmla="*/ 4817570 h 5973007"/>
              <a:gd name="connsiteX9071" fmla="*/ 1788703 w 6884782"/>
              <a:gd name="connsiteY9071" fmla="*/ 4816640 h 5973007"/>
              <a:gd name="connsiteX9072" fmla="*/ 1792576 w 6884782"/>
              <a:gd name="connsiteY9072" fmla="*/ 4819945 h 5973007"/>
              <a:gd name="connsiteX9073" fmla="*/ 1794280 w 6884782"/>
              <a:gd name="connsiteY9073" fmla="*/ 4820668 h 5973007"/>
              <a:gd name="connsiteX9074" fmla="*/ 1792731 w 6884782"/>
              <a:gd name="connsiteY9074" fmla="*/ 4821597 h 5973007"/>
              <a:gd name="connsiteX9075" fmla="*/ 1790717 w 6884782"/>
              <a:gd name="connsiteY9075" fmla="*/ 4819118 h 5973007"/>
              <a:gd name="connsiteX9076" fmla="*/ 1789168 w 6884782"/>
              <a:gd name="connsiteY9076" fmla="*/ 4820151 h 5973007"/>
              <a:gd name="connsiteX9077" fmla="*/ 1788239 w 6884782"/>
              <a:gd name="connsiteY9077" fmla="*/ 4819222 h 5973007"/>
              <a:gd name="connsiteX9078" fmla="*/ 1788084 w 6884782"/>
              <a:gd name="connsiteY9078" fmla="*/ 4819118 h 5973007"/>
              <a:gd name="connsiteX9079" fmla="*/ 1787929 w 6884782"/>
              <a:gd name="connsiteY9079" fmla="*/ 4819222 h 5973007"/>
              <a:gd name="connsiteX9080" fmla="*/ 1788239 w 6884782"/>
              <a:gd name="connsiteY9080" fmla="*/ 4819222 h 5973007"/>
              <a:gd name="connsiteX9081" fmla="*/ 1788858 w 6884782"/>
              <a:gd name="connsiteY9081" fmla="*/ 4827792 h 5973007"/>
              <a:gd name="connsiteX9082" fmla="*/ 1789788 w 6884782"/>
              <a:gd name="connsiteY9082" fmla="*/ 4828308 h 5973007"/>
              <a:gd name="connsiteX9083" fmla="*/ 1790562 w 6884782"/>
              <a:gd name="connsiteY9083" fmla="*/ 4827792 h 5973007"/>
              <a:gd name="connsiteX9084" fmla="*/ 1790873 w 6884782"/>
              <a:gd name="connsiteY9084" fmla="*/ 4825417 h 5973007"/>
              <a:gd name="connsiteX9085" fmla="*/ 1797533 w 6884782"/>
              <a:gd name="connsiteY9085" fmla="*/ 4820977 h 5973007"/>
              <a:gd name="connsiteX9086" fmla="*/ 1803574 w 6884782"/>
              <a:gd name="connsiteY9086" fmla="*/ 4825417 h 5973007"/>
              <a:gd name="connsiteX9087" fmla="*/ 1804038 w 6884782"/>
              <a:gd name="connsiteY9087" fmla="*/ 4826037 h 5973007"/>
              <a:gd name="connsiteX9088" fmla="*/ 1804967 w 6884782"/>
              <a:gd name="connsiteY9088" fmla="*/ 4826553 h 5973007"/>
              <a:gd name="connsiteX9089" fmla="*/ 1808066 w 6884782"/>
              <a:gd name="connsiteY9089" fmla="*/ 4828515 h 5973007"/>
              <a:gd name="connsiteX9090" fmla="*/ 1808221 w 6884782"/>
              <a:gd name="connsiteY9090" fmla="*/ 4829341 h 5973007"/>
              <a:gd name="connsiteX9091" fmla="*/ 1806517 w 6884782"/>
              <a:gd name="connsiteY9091" fmla="*/ 4830270 h 5973007"/>
              <a:gd name="connsiteX9092" fmla="*/ 1805278 w 6884782"/>
              <a:gd name="connsiteY9092" fmla="*/ 4829754 h 5973007"/>
              <a:gd name="connsiteX9093" fmla="*/ 1805587 w 6884782"/>
              <a:gd name="connsiteY9093" fmla="*/ 4833058 h 5973007"/>
              <a:gd name="connsiteX9094" fmla="*/ 1802799 w 6884782"/>
              <a:gd name="connsiteY9094" fmla="*/ 4835949 h 5973007"/>
              <a:gd name="connsiteX9095" fmla="*/ 1801405 w 6884782"/>
              <a:gd name="connsiteY9095" fmla="*/ 4836775 h 5973007"/>
              <a:gd name="connsiteX9096" fmla="*/ 1803419 w 6884782"/>
              <a:gd name="connsiteY9096" fmla="*/ 4836672 h 5973007"/>
              <a:gd name="connsiteX9097" fmla="*/ 1806517 w 6884782"/>
              <a:gd name="connsiteY9097" fmla="*/ 4839563 h 5973007"/>
              <a:gd name="connsiteX9098" fmla="*/ 1798462 w 6884782"/>
              <a:gd name="connsiteY9098" fmla="*/ 4854122 h 5973007"/>
              <a:gd name="connsiteX9099" fmla="*/ 1797533 w 6884782"/>
              <a:gd name="connsiteY9099" fmla="*/ 4854329 h 5973007"/>
              <a:gd name="connsiteX9100" fmla="*/ 1796758 w 6884782"/>
              <a:gd name="connsiteY9100" fmla="*/ 4855258 h 5973007"/>
              <a:gd name="connsiteX9101" fmla="*/ 1796758 w 6884782"/>
              <a:gd name="connsiteY9101" fmla="*/ 4855465 h 5973007"/>
              <a:gd name="connsiteX9102" fmla="*/ 1796913 w 6884782"/>
              <a:gd name="connsiteY9102" fmla="*/ 4856394 h 5973007"/>
              <a:gd name="connsiteX9103" fmla="*/ 1795209 w 6884782"/>
              <a:gd name="connsiteY9103" fmla="*/ 4859388 h 5973007"/>
              <a:gd name="connsiteX9104" fmla="*/ 1794280 w 6884782"/>
              <a:gd name="connsiteY9104" fmla="*/ 4859802 h 5973007"/>
              <a:gd name="connsiteX9105" fmla="*/ 1793041 w 6884782"/>
              <a:gd name="connsiteY9105" fmla="*/ 4859182 h 5973007"/>
              <a:gd name="connsiteX9106" fmla="*/ 1789943 w 6884782"/>
              <a:gd name="connsiteY9106" fmla="*/ 4855052 h 5973007"/>
              <a:gd name="connsiteX9107" fmla="*/ 1774763 w 6884782"/>
              <a:gd name="connsiteY9107" fmla="*/ 4855052 h 5973007"/>
              <a:gd name="connsiteX9108" fmla="*/ 1774298 w 6884782"/>
              <a:gd name="connsiteY9108" fmla="*/ 4846275 h 5973007"/>
              <a:gd name="connsiteX9109" fmla="*/ 1788858 w 6884782"/>
              <a:gd name="connsiteY9109" fmla="*/ 4841112 h 5973007"/>
              <a:gd name="connsiteX9110" fmla="*/ 1789013 w 6884782"/>
              <a:gd name="connsiteY9110" fmla="*/ 4841938 h 5973007"/>
              <a:gd name="connsiteX9111" fmla="*/ 1793660 w 6884782"/>
              <a:gd name="connsiteY9111" fmla="*/ 4839873 h 5973007"/>
              <a:gd name="connsiteX9112" fmla="*/ 1794280 w 6884782"/>
              <a:gd name="connsiteY9112" fmla="*/ 4840596 h 5973007"/>
              <a:gd name="connsiteX9113" fmla="*/ 1794589 w 6884782"/>
              <a:gd name="connsiteY9113" fmla="*/ 4840596 h 5973007"/>
              <a:gd name="connsiteX9114" fmla="*/ 1797378 w 6884782"/>
              <a:gd name="connsiteY9114" fmla="*/ 4837602 h 5973007"/>
              <a:gd name="connsiteX9115" fmla="*/ 1796913 w 6884782"/>
              <a:gd name="connsiteY9115" fmla="*/ 4837602 h 5973007"/>
              <a:gd name="connsiteX9116" fmla="*/ 1790098 w 6884782"/>
              <a:gd name="connsiteY9116" fmla="*/ 4830270 h 5973007"/>
              <a:gd name="connsiteX9117" fmla="*/ 1789478 w 6884782"/>
              <a:gd name="connsiteY9117" fmla="*/ 4830064 h 5973007"/>
              <a:gd name="connsiteX9118" fmla="*/ 1789633 w 6884782"/>
              <a:gd name="connsiteY9118" fmla="*/ 4831096 h 5973007"/>
              <a:gd name="connsiteX9119" fmla="*/ 1790098 w 6884782"/>
              <a:gd name="connsiteY9119" fmla="*/ 4832129 h 5973007"/>
              <a:gd name="connsiteX9120" fmla="*/ 1789478 w 6884782"/>
              <a:gd name="connsiteY9120" fmla="*/ 4833884 h 5973007"/>
              <a:gd name="connsiteX9121" fmla="*/ 1784986 w 6884782"/>
              <a:gd name="connsiteY9121" fmla="*/ 4837602 h 5973007"/>
              <a:gd name="connsiteX9122" fmla="*/ 1784211 w 6884782"/>
              <a:gd name="connsiteY9122" fmla="*/ 4824281 h 5973007"/>
              <a:gd name="connsiteX9123" fmla="*/ 1785141 w 6884782"/>
              <a:gd name="connsiteY9123" fmla="*/ 4821493 h 5973007"/>
              <a:gd name="connsiteX9124" fmla="*/ 1783128 w 6884782"/>
              <a:gd name="connsiteY9124" fmla="*/ 4819532 h 5973007"/>
              <a:gd name="connsiteX9125" fmla="*/ 1786380 w 6884782"/>
              <a:gd name="connsiteY9125" fmla="*/ 4816744 h 5973007"/>
              <a:gd name="connsiteX9126" fmla="*/ 1788239 w 6884782"/>
              <a:gd name="connsiteY9126" fmla="*/ 4818189 h 5973007"/>
              <a:gd name="connsiteX9127" fmla="*/ 1602983 w 6884782"/>
              <a:gd name="connsiteY9127" fmla="*/ 4815917 h 5973007"/>
              <a:gd name="connsiteX9128" fmla="*/ 1603758 w 6884782"/>
              <a:gd name="connsiteY9128" fmla="*/ 4816847 h 5973007"/>
              <a:gd name="connsiteX9129" fmla="*/ 1607320 w 6884782"/>
              <a:gd name="connsiteY9129" fmla="*/ 4827069 h 5973007"/>
              <a:gd name="connsiteX9130" fmla="*/ 1603758 w 6884782"/>
              <a:gd name="connsiteY9130" fmla="*/ 4828205 h 5973007"/>
              <a:gd name="connsiteX9131" fmla="*/ 1599885 w 6884782"/>
              <a:gd name="connsiteY9131" fmla="*/ 4825830 h 5973007"/>
              <a:gd name="connsiteX9132" fmla="*/ 1595393 w 6884782"/>
              <a:gd name="connsiteY9132" fmla="*/ 4817260 h 5973007"/>
              <a:gd name="connsiteX9133" fmla="*/ 1602983 w 6884782"/>
              <a:gd name="connsiteY9133" fmla="*/ 4815917 h 5973007"/>
              <a:gd name="connsiteX9134" fmla="*/ 929959 w 6884782"/>
              <a:gd name="connsiteY9134" fmla="*/ 4815505 h 5973007"/>
              <a:gd name="connsiteX9135" fmla="*/ 930423 w 6884782"/>
              <a:gd name="connsiteY9135" fmla="*/ 4818912 h 5973007"/>
              <a:gd name="connsiteX9136" fmla="*/ 924693 w 6884782"/>
              <a:gd name="connsiteY9136" fmla="*/ 4823352 h 5973007"/>
              <a:gd name="connsiteX9137" fmla="*/ 922678 w 6884782"/>
              <a:gd name="connsiteY9137" fmla="*/ 4822939 h 5973007"/>
              <a:gd name="connsiteX9138" fmla="*/ 922833 w 6884782"/>
              <a:gd name="connsiteY9138" fmla="*/ 4818602 h 5973007"/>
              <a:gd name="connsiteX9139" fmla="*/ 929959 w 6884782"/>
              <a:gd name="connsiteY9139" fmla="*/ 4815505 h 5973007"/>
              <a:gd name="connsiteX9140" fmla="*/ 6463310 w 6884782"/>
              <a:gd name="connsiteY9140" fmla="*/ 4815109 h 5973007"/>
              <a:gd name="connsiteX9141" fmla="*/ 6461451 w 6884782"/>
              <a:gd name="connsiteY9141" fmla="*/ 4819859 h 5973007"/>
              <a:gd name="connsiteX9142" fmla="*/ 6453551 w 6884782"/>
              <a:gd name="connsiteY9142" fmla="*/ 4816142 h 5973007"/>
              <a:gd name="connsiteX9143" fmla="*/ 6463310 w 6884782"/>
              <a:gd name="connsiteY9143" fmla="*/ 4815109 h 5973007"/>
              <a:gd name="connsiteX9144" fmla="*/ 839964 w 6884782"/>
              <a:gd name="connsiteY9144" fmla="*/ 4814988 h 5973007"/>
              <a:gd name="connsiteX9145" fmla="*/ 845850 w 6884782"/>
              <a:gd name="connsiteY9145" fmla="*/ 4819738 h 5973007"/>
              <a:gd name="connsiteX9146" fmla="*/ 845385 w 6884782"/>
              <a:gd name="connsiteY9146" fmla="*/ 4824798 h 5973007"/>
              <a:gd name="connsiteX9147" fmla="*/ 839654 w 6884782"/>
              <a:gd name="connsiteY9147" fmla="*/ 4830786 h 5973007"/>
              <a:gd name="connsiteX9148" fmla="*/ 836711 w 6884782"/>
              <a:gd name="connsiteY9148" fmla="*/ 4827792 h 5973007"/>
              <a:gd name="connsiteX9149" fmla="*/ 839964 w 6884782"/>
              <a:gd name="connsiteY9149" fmla="*/ 4814988 h 5973007"/>
              <a:gd name="connsiteX9150" fmla="*/ 1234639 w 6884782"/>
              <a:gd name="connsiteY9150" fmla="*/ 4814782 h 5973007"/>
              <a:gd name="connsiteX9151" fmla="*/ 1242539 w 6884782"/>
              <a:gd name="connsiteY9151" fmla="*/ 4817570 h 5973007"/>
              <a:gd name="connsiteX9152" fmla="*/ 1230612 w 6884782"/>
              <a:gd name="connsiteY9152" fmla="*/ 4835020 h 5973007"/>
              <a:gd name="connsiteX9153" fmla="*/ 1228289 w 6884782"/>
              <a:gd name="connsiteY9153" fmla="*/ 4830270 h 5973007"/>
              <a:gd name="connsiteX9154" fmla="*/ 1229992 w 6884782"/>
              <a:gd name="connsiteY9154" fmla="*/ 4821597 h 5973007"/>
              <a:gd name="connsiteX9155" fmla="*/ 1230922 w 6884782"/>
              <a:gd name="connsiteY9155" fmla="*/ 4820151 h 5973007"/>
              <a:gd name="connsiteX9156" fmla="*/ 1231232 w 6884782"/>
              <a:gd name="connsiteY9156" fmla="*/ 4819428 h 5973007"/>
              <a:gd name="connsiteX9157" fmla="*/ 1232161 w 6884782"/>
              <a:gd name="connsiteY9157" fmla="*/ 4818602 h 5973007"/>
              <a:gd name="connsiteX9158" fmla="*/ 1982673 w 6884782"/>
              <a:gd name="connsiteY9158" fmla="*/ 4814730 h 5973007"/>
              <a:gd name="connsiteX9159" fmla="*/ 2000137 w 6884782"/>
              <a:gd name="connsiteY9159" fmla="*/ 4819428 h 5973007"/>
              <a:gd name="connsiteX9160" fmla="*/ 2013148 w 6884782"/>
              <a:gd name="connsiteY9160" fmla="*/ 4835846 h 5973007"/>
              <a:gd name="connsiteX9161" fmla="*/ 2014542 w 6884782"/>
              <a:gd name="connsiteY9161" fmla="*/ 4862383 h 5973007"/>
              <a:gd name="connsiteX9162" fmla="*/ 2004629 w 6884782"/>
              <a:gd name="connsiteY9162" fmla="*/ 4873018 h 5973007"/>
              <a:gd name="connsiteX9163" fmla="*/ 1999363 w 6884782"/>
              <a:gd name="connsiteY9163" fmla="*/ 4878594 h 5973007"/>
              <a:gd name="connsiteX9164" fmla="*/ 1999053 w 6884782"/>
              <a:gd name="connsiteY9164" fmla="*/ 4881279 h 5973007"/>
              <a:gd name="connsiteX9165" fmla="*/ 1996729 w 6884782"/>
              <a:gd name="connsiteY9165" fmla="*/ 4881485 h 5973007"/>
              <a:gd name="connsiteX9166" fmla="*/ 1994715 w 6884782"/>
              <a:gd name="connsiteY9166" fmla="*/ 4883757 h 5973007"/>
              <a:gd name="connsiteX9167" fmla="*/ 1959090 w 6884782"/>
              <a:gd name="connsiteY9167" fmla="*/ 4877045 h 5973007"/>
              <a:gd name="connsiteX9168" fmla="*/ 1947627 w 6884782"/>
              <a:gd name="connsiteY9168" fmla="*/ 4857737 h 5973007"/>
              <a:gd name="connsiteX9169" fmla="*/ 1965905 w 6884782"/>
              <a:gd name="connsiteY9169" fmla="*/ 4815608 h 5973007"/>
              <a:gd name="connsiteX9170" fmla="*/ 1982673 w 6884782"/>
              <a:gd name="connsiteY9170" fmla="*/ 4814730 h 5973007"/>
              <a:gd name="connsiteX9171" fmla="*/ 1170357 w 6884782"/>
              <a:gd name="connsiteY9171" fmla="*/ 4814575 h 5973007"/>
              <a:gd name="connsiteX9172" fmla="*/ 1170048 w 6884782"/>
              <a:gd name="connsiteY9172" fmla="*/ 4819118 h 5973007"/>
              <a:gd name="connsiteX9173" fmla="*/ 1166950 w 6884782"/>
              <a:gd name="connsiteY9173" fmla="*/ 4821184 h 5973007"/>
              <a:gd name="connsiteX9174" fmla="*/ 1163077 w 6884782"/>
              <a:gd name="connsiteY9174" fmla="*/ 4820668 h 5973007"/>
              <a:gd name="connsiteX9175" fmla="*/ 1163852 w 6884782"/>
              <a:gd name="connsiteY9175" fmla="*/ 4820668 h 5973007"/>
              <a:gd name="connsiteX9176" fmla="*/ 1164007 w 6884782"/>
              <a:gd name="connsiteY9176" fmla="*/ 4818912 h 5973007"/>
              <a:gd name="connsiteX9177" fmla="*/ 1163232 w 6884782"/>
              <a:gd name="connsiteY9177" fmla="*/ 4818912 h 5973007"/>
              <a:gd name="connsiteX9178" fmla="*/ 1164162 w 6884782"/>
              <a:gd name="connsiteY9178" fmla="*/ 4817157 h 5973007"/>
              <a:gd name="connsiteX9179" fmla="*/ 1170357 w 6884782"/>
              <a:gd name="connsiteY9179" fmla="*/ 4814575 h 5973007"/>
              <a:gd name="connsiteX9180" fmla="*/ 1889076 w 6884782"/>
              <a:gd name="connsiteY9180" fmla="*/ 4814266 h 5973007"/>
              <a:gd name="connsiteX9181" fmla="*/ 1889696 w 6884782"/>
              <a:gd name="connsiteY9181" fmla="*/ 4818499 h 5973007"/>
              <a:gd name="connsiteX9182" fmla="*/ 1885204 w 6884782"/>
              <a:gd name="connsiteY9182" fmla="*/ 4820874 h 5973007"/>
              <a:gd name="connsiteX9183" fmla="*/ 1882261 w 6884782"/>
              <a:gd name="connsiteY9183" fmla="*/ 4821287 h 5973007"/>
              <a:gd name="connsiteX9184" fmla="*/ 1879937 w 6884782"/>
              <a:gd name="connsiteY9184" fmla="*/ 4820771 h 5973007"/>
              <a:gd name="connsiteX9185" fmla="*/ 1881641 w 6884782"/>
              <a:gd name="connsiteY9185" fmla="*/ 4815505 h 5973007"/>
              <a:gd name="connsiteX9186" fmla="*/ 1889076 w 6884782"/>
              <a:gd name="connsiteY9186" fmla="*/ 4814266 h 5973007"/>
              <a:gd name="connsiteX9187" fmla="*/ 6073280 w 6884782"/>
              <a:gd name="connsiteY9187" fmla="*/ 4812425 h 5973007"/>
              <a:gd name="connsiteX9188" fmla="*/ 6066310 w 6884782"/>
              <a:gd name="connsiteY9188" fmla="*/ 4839994 h 5973007"/>
              <a:gd name="connsiteX9189" fmla="*/ 6063522 w 6884782"/>
              <a:gd name="connsiteY9189" fmla="*/ 4833592 h 5973007"/>
              <a:gd name="connsiteX9190" fmla="*/ 6073280 w 6884782"/>
              <a:gd name="connsiteY9190" fmla="*/ 4812425 h 5973007"/>
              <a:gd name="connsiteX9191" fmla="*/ 1589042 w 6884782"/>
              <a:gd name="connsiteY9191" fmla="*/ 4812407 h 5973007"/>
              <a:gd name="connsiteX9192" fmla="*/ 1589972 w 6884782"/>
              <a:gd name="connsiteY9192" fmla="*/ 4816847 h 5973007"/>
              <a:gd name="connsiteX9193" fmla="*/ 1588887 w 6884782"/>
              <a:gd name="connsiteY9193" fmla="*/ 4817157 h 5973007"/>
              <a:gd name="connsiteX9194" fmla="*/ 1589042 w 6884782"/>
              <a:gd name="connsiteY9194" fmla="*/ 4812407 h 5973007"/>
              <a:gd name="connsiteX9195" fmla="*/ 1285600 w 6884782"/>
              <a:gd name="connsiteY9195" fmla="*/ 4811994 h 5973007"/>
              <a:gd name="connsiteX9196" fmla="*/ 1295049 w 6884782"/>
              <a:gd name="connsiteY9196" fmla="*/ 4819118 h 5973007"/>
              <a:gd name="connsiteX9197" fmla="*/ 1293655 w 6884782"/>
              <a:gd name="connsiteY9197" fmla="*/ 4823352 h 5973007"/>
              <a:gd name="connsiteX9198" fmla="*/ 1289318 w 6884782"/>
              <a:gd name="connsiteY9198" fmla="*/ 4823559 h 5973007"/>
              <a:gd name="connsiteX9199" fmla="*/ 1287924 w 6884782"/>
              <a:gd name="connsiteY9199" fmla="*/ 4822216 h 5973007"/>
              <a:gd name="connsiteX9200" fmla="*/ 1286065 w 6884782"/>
              <a:gd name="connsiteY9200" fmla="*/ 4823559 h 5973007"/>
              <a:gd name="connsiteX9201" fmla="*/ 1281728 w 6884782"/>
              <a:gd name="connsiteY9201" fmla="*/ 4826140 h 5973007"/>
              <a:gd name="connsiteX9202" fmla="*/ 1278785 w 6884782"/>
              <a:gd name="connsiteY9202" fmla="*/ 4822733 h 5973007"/>
              <a:gd name="connsiteX9203" fmla="*/ 1280024 w 6884782"/>
              <a:gd name="connsiteY9203" fmla="*/ 4818189 h 5973007"/>
              <a:gd name="connsiteX9204" fmla="*/ 1280799 w 6884782"/>
              <a:gd name="connsiteY9204" fmla="*/ 4817363 h 5973007"/>
              <a:gd name="connsiteX9205" fmla="*/ 1285291 w 6884782"/>
              <a:gd name="connsiteY9205" fmla="*/ 4814266 h 5973007"/>
              <a:gd name="connsiteX9206" fmla="*/ 1119706 w 6884782"/>
              <a:gd name="connsiteY9206" fmla="*/ 4811994 h 5973007"/>
              <a:gd name="connsiteX9207" fmla="*/ 1120636 w 6884782"/>
              <a:gd name="connsiteY9207" fmla="*/ 4818292 h 5973007"/>
              <a:gd name="connsiteX9208" fmla="*/ 1119242 w 6884782"/>
              <a:gd name="connsiteY9208" fmla="*/ 4815505 h 5973007"/>
              <a:gd name="connsiteX9209" fmla="*/ 1119706 w 6884782"/>
              <a:gd name="connsiteY9209" fmla="*/ 4811994 h 5973007"/>
              <a:gd name="connsiteX9210" fmla="*/ 1324789 w 6884782"/>
              <a:gd name="connsiteY9210" fmla="*/ 4811581 h 5973007"/>
              <a:gd name="connsiteX9211" fmla="*/ 1324789 w 6884782"/>
              <a:gd name="connsiteY9211" fmla="*/ 4821184 h 5973007"/>
              <a:gd name="connsiteX9212" fmla="*/ 1324789 w 6884782"/>
              <a:gd name="connsiteY9212" fmla="*/ 4811581 h 5973007"/>
              <a:gd name="connsiteX9213" fmla="*/ 1718381 w 6884782"/>
              <a:gd name="connsiteY9213" fmla="*/ 4811374 h 5973007"/>
              <a:gd name="connsiteX9214" fmla="*/ 1720394 w 6884782"/>
              <a:gd name="connsiteY9214" fmla="*/ 4811478 h 5973007"/>
              <a:gd name="connsiteX9215" fmla="*/ 1722563 w 6884782"/>
              <a:gd name="connsiteY9215" fmla="*/ 4812923 h 5973007"/>
              <a:gd name="connsiteX9216" fmla="*/ 1720704 w 6884782"/>
              <a:gd name="connsiteY9216" fmla="*/ 4817260 h 5973007"/>
              <a:gd name="connsiteX9217" fmla="*/ 1718690 w 6884782"/>
              <a:gd name="connsiteY9217" fmla="*/ 4817157 h 5973007"/>
              <a:gd name="connsiteX9218" fmla="*/ 1717142 w 6884782"/>
              <a:gd name="connsiteY9218" fmla="*/ 4814988 h 5973007"/>
              <a:gd name="connsiteX9219" fmla="*/ 1718381 w 6884782"/>
              <a:gd name="connsiteY9219" fmla="*/ 4811374 h 5973007"/>
              <a:gd name="connsiteX9220" fmla="*/ 938478 w 6884782"/>
              <a:gd name="connsiteY9220" fmla="*/ 4811374 h 5973007"/>
              <a:gd name="connsiteX9221" fmla="*/ 938943 w 6884782"/>
              <a:gd name="connsiteY9221" fmla="*/ 4814059 h 5973007"/>
              <a:gd name="connsiteX9222" fmla="*/ 937393 w 6884782"/>
              <a:gd name="connsiteY9222" fmla="*/ 4815091 h 5973007"/>
              <a:gd name="connsiteX9223" fmla="*/ 937083 w 6884782"/>
              <a:gd name="connsiteY9223" fmla="*/ 4817879 h 5973007"/>
              <a:gd name="connsiteX9224" fmla="*/ 935380 w 6884782"/>
              <a:gd name="connsiteY9224" fmla="*/ 4817879 h 5973007"/>
              <a:gd name="connsiteX9225" fmla="*/ 936309 w 6884782"/>
              <a:gd name="connsiteY9225" fmla="*/ 4812407 h 5973007"/>
              <a:gd name="connsiteX9226" fmla="*/ 938478 w 6884782"/>
              <a:gd name="connsiteY9226" fmla="*/ 4811374 h 5973007"/>
              <a:gd name="connsiteX9227" fmla="*/ 2021203 w 6884782"/>
              <a:gd name="connsiteY9227" fmla="*/ 4810651 h 5973007"/>
              <a:gd name="connsiteX9228" fmla="*/ 2022288 w 6884782"/>
              <a:gd name="connsiteY9228" fmla="*/ 4814575 h 5973007"/>
              <a:gd name="connsiteX9229" fmla="*/ 2026315 w 6884782"/>
              <a:gd name="connsiteY9229" fmla="*/ 4813543 h 5973007"/>
              <a:gd name="connsiteX9230" fmla="*/ 2042269 w 6884782"/>
              <a:gd name="connsiteY9230" fmla="*/ 4825107 h 5973007"/>
              <a:gd name="connsiteX9231" fmla="*/ 2033439 w 6884782"/>
              <a:gd name="connsiteY9231" fmla="*/ 4821907 h 5973007"/>
              <a:gd name="connsiteX9232" fmla="*/ 2025075 w 6884782"/>
              <a:gd name="connsiteY9232" fmla="*/ 4820564 h 5973007"/>
              <a:gd name="connsiteX9233" fmla="*/ 2028018 w 6884782"/>
              <a:gd name="connsiteY9233" fmla="*/ 4824488 h 5973007"/>
              <a:gd name="connsiteX9234" fmla="*/ 2032665 w 6884782"/>
              <a:gd name="connsiteY9234" fmla="*/ 4836775 h 5973007"/>
              <a:gd name="connsiteX9235" fmla="*/ 2014697 w 6884782"/>
              <a:gd name="connsiteY9235" fmla="*/ 4815195 h 5973007"/>
              <a:gd name="connsiteX9236" fmla="*/ 2021203 w 6884782"/>
              <a:gd name="connsiteY9236" fmla="*/ 4810651 h 5973007"/>
              <a:gd name="connsiteX9237" fmla="*/ 1894033 w 6884782"/>
              <a:gd name="connsiteY9237" fmla="*/ 4810445 h 5973007"/>
              <a:gd name="connsiteX9238" fmla="*/ 1919436 w 6884782"/>
              <a:gd name="connsiteY9238" fmla="*/ 4820254 h 5973007"/>
              <a:gd name="connsiteX9239" fmla="*/ 1916338 w 6884782"/>
              <a:gd name="connsiteY9239" fmla="*/ 4827895 h 5973007"/>
              <a:gd name="connsiteX9240" fmla="*/ 1894033 w 6884782"/>
              <a:gd name="connsiteY9240" fmla="*/ 4810445 h 5973007"/>
              <a:gd name="connsiteX9241" fmla="*/ 1875755 w 6884782"/>
              <a:gd name="connsiteY9241" fmla="*/ 4810445 h 5973007"/>
              <a:gd name="connsiteX9242" fmla="*/ 1875601 w 6884782"/>
              <a:gd name="connsiteY9242" fmla="*/ 4813233 h 5973007"/>
              <a:gd name="connsiteX9243" fmla="*/ 1876065 w 6884782"/>
              <a:gd name="connsiteY9243" fmla="*/ 4813336 h 5973007"/>
              <a:gd name="connsiteX9244" fmla="*/ 1876839 w 6884782"/>
              <a:gd name="connsiteY9244" fmla="*/ 4829547 h 5973007"/>
              <a:gd name="connsiteX9245" fmla="*/ 1865068 w 6884782"/>
              <a:gd name="connsiteY9245" fmla="*/ 4819428 h 5973007"/>
              <a:gd name="connsiteX9246" fmla="*/ 1868630 w 6884782"/>
              <a:gd name="connsiteY9246" fmla="*/ 4814885 h 5973007"/>
              <a:gd name="connsiteX9247" fmla="*/ 1868011 w 6884782"/>
              <a:gd name="connsiteY9247" fmla="*/ 4814575 h 5973007"/>
              <a:gd name="connsiteX9248" fmla="*/ 1871573 w 6884782"/>
              <a:gd name="connsiteY9248" fmla="*/ 4810651 h 5973007"/>
              <a:gd name="connsiteX9249" fmla="*/ 1875755 w 6884782"/>
              <a:gd name="connsiteY9249" fmla="*/ 4810445 h 5973007"/>
              <a:gd name="connsiteX9250" fmla="*/ 2046141 w 6884782"/>
              <a:gd name="connsiteY9250" fmla="*/ 4809825 h 5973007"/>
              <a:gd name="connsiteX9251" fmla="*/ 2047381 w 6884782"/>
              <a:gd name="connsiteY9251" fmla="*/ 4812201 h 5973007"/>
              <a:gd name="connsiteX9252" fmla="*/ 2042424 w 6884782"/>
              <a:gd name="connsiteY9252" fmla="*/ 4813852 h 5973007"/>
              <a:gd name="connsiteX9253" fmla="*/ 2046141 w 6884782"/>
              <a:gd name="connsiteY9253" fmla="*/ 4809825 h 5973007"/>
              <a:gd name="connsiteX9254" fmla="*/ 1307441 w 6884782"/>
              <a:gd name="connsiteY9254" fmla="*/ 4809516 h 5973007"/>
              <a:gd name="connsiteX9255" fmla="*/ 1311468 w 6884782"/>
              <a:gd name="connsiteY9255" fmla="*/ 4816124 h 5973007"/>
              <a:gd name="connsiteX9256" fmla="*/ 1308060 w 6884782"/>
              <a:gd name="connsiteY9256" fmla="*/ 4817570 h 5973007"/>
              <a:gd name="connsiteX9257" fmla="*/ 1305272 w 6884782"/>
              <a:gd name="connsiteY9257" fmla="*/ 4815711 h 5973007"/>
              <a:gd name="connsiteX9258" fmla="*/ 1307441 w 6884782"/>
              <a:gd name="connsiteY9258" fmla="*/ 4809516 h 5973007"/>
              <a:gd name="connsiteX9259" fmla="*/ 1658804 w 6884782"/>
              <a:gd name="connsiteY9259" fmla="*/ 4809464 h 5973007"/>
              <a:gd name="connsiteX9260" fmla="*/ 1666800 w 6884782"/>
              <a:gd name="connsiteY9260" fmla="*/ 4813336 h 5973007"/>
              <a:gd name="connsiteX9261" fmla="*/ 1645734 w 6884782"/>
              <a:gd name="connsiteY9261" fmla="*/ 4830786 h 5973007"/>
              <a:gd name="connsiteX9262" fmla="*/ 1649607 w 6884782"/>
              <a:gd name="connsiteY9262" fmla="*/ 4822526 h 5973007"/>
              <a:gd name="connsiteX9263" fmla="*/ 1648058 w 6884782"/>
              <a:gd name="connsiteY9263" fmla="*/ 4821287 h 5973007"/>
              <a:gd name="connsiteX9264" fmla="*/ 1646354 w 6884782"/>
              <a:gd name="connsiteY9264" fmla="*/ 4816124 h 5973007"/>
              <a:gd name="connsiteX9265" fmla="*/ 1647128 w 6884782"/>
              <a:gd name="connsiteY9265" fmla="*/ 4810651 h 5973007"/>
              <a:gd name="connsiteX9266" fmla="*/ 1651775 w 6884782"/>
              <a:gd name="connsiteY9266" fmla="*/ 4814059 h 5973007"/>
              <a:gd name="connsiteX9267" fmla="*/ 1651621 w 6884782"/>
              <a:gd name="connsiteY9267" fmla="*/ 4817983 h 5973007"/>
              <a:gd name="connsiteX9268" fmla="*/ 1653479 w 6884782"/>
              <a:gd name="connsiteY9268" fmla="*/ 4813956 h 5973007"/>
              <a:gd name="connsiteX9269" fmla="*/ 1658804 w 6884782"/>
              <a:gd name="connsiteY9269" fmla="*/ 4809464 h 5973007"/>
              <a:gd name="connsiteX9270" fmla="*/ 2049549 w 6884782"/>
              <a:gd name="connsiteY9270" fmla="*/ 4809309 h 5973007"/>
              <a:gd name="connsiteX9271" fmla="*/ 2050014 w 6884782"/>
              <a:gd name="connsiteY9271" fmla="*/ 4810755 h 5973007"/>
              <a:gd name="connsiteX9272" fmla="*/ 2049549 w 6884782"/>
              <a:gd name="connsiteY9272" fmla="*/ 4810135 h 5973007"/>
              <a:gd name="connsiteX9273" fmla="*/ 2049549 w 6884782"/>
              <a:gd name="connsiteY9273" fmla="*/ 4809309 h 5973007"/>
              <a:gd name="connsiteX9274" fmla="*/ 6046793 w 6884782"/>
              <a:gd name="connsiteY9274" fmla="*/ 4808914 h 5973007"/>
              <a:gd name="connsiteX9275" fmla="*/ 6044935 w 6884782"/>
              <a:gd name="connsiteY9275" fmla="*/ 4816142 h 5973007"/>
              <a:gd name="connsiteX9276" fmla="*/ 6041062 w 6884782"/>
              <a:gd name="connsiteY9276" fmla="*/ 4816762 h 5973007"/>
              <a:gd name="connsiteX9277" fmla="*/ 6037190 w 6884782"/>
              <a:gd name="connsiteY9277" fmla="*/ 4815419 h 5973007"/>
              <a:gd name="connsiteX9278" fmla="*/ 6046793 w 6884782"/>
              <a:gd name="connsiteY9278" fmla="*/ 4808914 h 5973007"/>
              <a:gd name="connsiteX9279" fmla="*/ 1597717 w 6884782"/>
              <a:gd name="connsiteY9279" fmla="*/ 4808070 h 5973007"/>
              <a:gd name="connsiteX9280" fmla="*/ 1591675 w 6884782"/>
              <a:gd name="connsiteY9280" fmla="*/ 4813440 h 5973007"/>
              <a:gd name="connsiteX9281" fmla="*/ 1589197 w 6884782"/>
              <a:gd name="connsiteY9281" fmla="*/ 4813130 h 5973007"/>
              <a:gd name="connsiteX9282" fmla="*/ 1597717 w 6884782"/>
              <a:gd name="connsiteY9282" fmla="*/ 4808070 h 5973007"/>
              <a:gd name="connsiteX9283" fmla="*/ 2042269 w 6884782"/>
              <a:gd name="connsiteY9283" fmla="*/ 4806728 h 5973007"/>
              <a:gd name="connsiteX9284" fmla="*/ 2041959 w 6884782"/>
              <a:gd name="connsiteY9284" fmla="*/ 4810239 h 5973007"/>
              <a:gd name="connsiteX9285" fmla="*/ 2037467 w 6884782"/>
              <a:gd name="connsiteY9285" fmla="*/ 4807141 h 5973007"/>
              <a:gd name="connsiteX9286" fmla="*/ 2042269 w 6884782"/>
              <a:gd name="connsiteY9286" fmla="*/ 4806728 h 5973007"/>
              <a:gd name="connsiteX9287" fmla="*/ 934450 w 6884782"/>
              <a:gd name="connsiteY9287" fmla="*/ 4804766 h 5973007"/>
              <a:gd name="connsiteX9288" fmla="*/ 933831 w 6884782"/>
              <a:gd name="connsiteY9288" fmla="*/ 4806624 h 5973007"/>
              <a:gd name="connsiteX9289" fmla="*/ 931043 w 6884782"/>
              <a:gd name="connsiteY9289" fmla="*/ 4811168 h 5973007"/>
              <a:gd name="connsiteX9290" fmla="*/ 929804 w 6884782"/>
              <a:gd name="connsiteY9290" fmla="*/ 4808586 h 5973007"/>
              <a:gd name="connsiteX9291" fmla="*/ 931353 w 6884782"/>
              <a:gd name="connsiteY9291" fmla="*/ 4806831 h 5973007"/>
              <a:gd name="connsiteX9292" fmla="*/ 931972 w 6884782"/>
              <a:gd name="connsiteY9292" fmla="*/ 4804973 h 5973007"/>
              <a:gd name="connsiteX9293" fmla="*/ 934450 w 6884782"/>
              <a:gd name="connsiteY9293" fmla="*/ 4804766 h 5973007"/>
              <a:gd name="connsiteX9294" fmla="*/ 1026459 w 6884782"/>
              <a:gd name="connsiteY9294" fmla="*/ 4804250 h 5973007"/>
              <a:gd name="connsiteX9295" fmla="*/ 1029866 w 6884782"/>
              <a:gd name="connsiteY9295" fmla="*/ 4810755 h 5973007"/>
              <a:gd name="connsiteX9296" fmla="*/ 1027853 w 6884782"/>
              <a:gd name="connsiteY9296" fmla="*/ 4816847 h 5973007"/>
              <a:gd name="connsiteX9297" fmla="*/ 1024445 w 6884782"/>
              <a:gd name="connsiteY9297" fmla="*/ 4814678 h 5973007"/>
              <a:gd name="connsiteX9298" fmla="*/ 1024910 w 6884782"/>
              <a:gd name="connsiteY9298" fmla="*/ 4809619 h 5973007"/>
              <a:gd name="connsiteX9299" fmla="*/ 1024600 w 6884782"/>
              <a:gd name="connsiteY9299" fmla="*/ 4806315 h 5973007"/>
              <a:gd name="connsiteX9300" fmla="*/ 1026459 w 6884782"/>
              <a:gd name="connsiteY9300" fmla="*/ 4804250 h 5973007"/>
              <a:gd name="connsiteX9301" fmla="*/ 1829596 w 6884782"/>
              <a:gd name="connsiteY9301" fmla="*/ 4803734 h 5973007"/>
              <a:gd name="connsiteX9302" fmla="*/ 1829906 w 6884782"/>
              <a:gd name="connsiteY9302" fmla="*/ 4804043 h 5973007"/>
              <a:gd name="connsiteX9303" fmla="*/ 1830990 w 6884782"/>
              <a:gd name="connsiteY9303" fmla="*/ 4804146 h 5973007"/>
              <a:gd name="connsiteX9304" fmla="*/ 1833468 w 6884782"/>
              <a:gd name="connsiteY9304" fmla="*/ 4805489 h 5973007"/>
              <a:gd name="connsiteX9305" fmla="*/ 1834398 w 6884782"/>
              <a:gd name="connsiteY9305" fmla="*/ 4807244 h 5973007"/>
              <a:gd name="connsiteX9306" fmla="*/ 1835637 w 6884782"/>
              <a:gd name="connsiteY9306" fmla="*/ 4809516 h 5973007"/>
              <a:gd name="connsiteX9307" fmla="*/ 1835637 w 6884782"/>
              <a:gd name="connsiteY9307" fmla="*/ 4809929 h 5973007"/>
              <a:gd name="connsiteX9308" fmla="*/ 1836722 w 6884782"/>
              <a:gd name="connsiteY9308" fmla="*/ 4810858 h 5973007"/>
              <a:gd name="connsiteX9309" fmla="*/ 1845396 w 6884782"/>
              <a:gd name="connsiteY9309" fmla="*/ 4814575 h 5973007"/>
              <a:gd name="connsiteX9310" fmla="*/ 1846170 w 6884782"/>
              <a:gd name="connsiteY9310" fmla="*/ 4813026 h 5973007"/>
              <a:gd name="connsiteX9311" fmla="*/ 1849578 w 6884782"/>
              <a:gd name="connsiteY9311" fmla="*/ 4810032 h 5973007"/>
              <a:gd name="connsiteX9312" fmla="*/ 1853296 w 6884782"/>
              <a:gd name="connsiteY9312" fmla="*/ 4817157 h 5973007"/>
              <a:gd name="connsiteX9313" fmla="*/ 1852366 w 6884782"/>
              <a:gd name="connsiteY9313" fmla="*/ 4818809 h 5973007"/>
              <a:gd name="connsiteX9314" fmla="*/ 1853605 w 6884782"/>
              <a:gd name="connsiteY9314" fmla="*/ 4820048 h 5973007"/>
              <a:gd name="connsiteX9315" fmla="*/ 1855774 w 6884782"/>
              <a:gd name="connsiteY9315" fmla="*/ 4823765 h 5973007"/>
              <a:gd name="connsiteX9316" fmla="*/ 1857478 w 6884782"/>
              <a:gd name="connsiteY9316" fmla="*/ 4831612 h 5973007"/>
              <a:gd name="connsiteX9317" fmla="*/ 1856703 w 6884782"/>
              <a:gd name="connsiteY9317" fmla="*/ 4835536 h 5973007"/>
              <a:gd name="connsiteX9318" fmla="*/ 1856858 w 6884782"/>
              <a:gd name="connsiteY9318" fmla="*/ 4835743 h 5973007"/>
              <a:gd name="connsiteX9319" fmla="*/ 1856393 w 6884782"/>
              <a:gd name="connsiteY9319" fmla="*/ 4841938 h 5973007"/>
              <a:gd name="connsiteX9320" fmla="*/ 1854380 w 6884782"/>
              <a:gd name="connsiteY9320" fmla="*/ 4840699 h 5973007"/>
              <a:gd name="connsiteX9321" fmla="*/ 1852057 w 6884782"/>
              <a:gd name="connsiteY9321" fmla="*/ 4843694 h 5973007"/>
              <a:gd name="connsiteX9322" fmla="*/ 1849113 w 6884782"/>
              <a:gd name="connsiteY9322" fmla="*/ 4845552 h 5973007"/>
              <a:gd name="connsiteX9323" fmla="*/ 1848339 w 6884782"/>
              <a:gd name="connsiteY9323" fmla="*/ 4847927 h 5973007"/>
              <a:gd name="connsiteX9324" fmla="*/ 1850662 w 6884782"/>
              <a:gd name="connsiteY9324" fmla="*/ 4847411 h 5973007"/>
              <a:gd name="connsiteX9325" fmla="*/ 1853605 w 6884782"/>
              <a:gd name="connsiteY9325" fmla="*/ 4848960 h 5973007"/>
              <a:gd name="connsiteX9326" fmla="*/ 1848184 w 6884782"/>
              <a:gd name="connsiteY9326" fmla="*/ 4855671 h 5973007"/>
              <a:gd name="connsiteX9327" fmla="*/ 1845551 w 6884782"/>
              <a:gd name="connsiteY9327" fmla="*/ 4852986 h 5973007"/>
              <a:gd name="connsiteX9328" fmla="*/ 1846170 w 6884782"/>
              <a:gd name="connsiteY9328" fmla="*/ 4851747 h 5973007"/>
              <a:gd name="connsiteX9329" fmla="*/ 1843537 w 6884782"/>
              <a:gd name="connsiteY9329" fmla="*/ 4855568 h 5973007"/>
              <a:gd name="connsiteX9330" fmla="*/ 1830061 w 6884782"/>
              <a:gd name="connsiteY9330" fmla="*/ 4860524 h 5973007"/>
              <a:gd name="connsiteX9331" fmla="*/ 1822006 w 6884782"/>
              <a:gd name="connsiteY9331" fmla="*/ 4857117 h 5973007"/>
              <a:gd name="connsiteX9332" fmla="*/ 1817979 w 6884782"/>
              <a:gd name="connsiteY9332" fmla="*/ 4851954 h 5973007"/>
              <a:gd name="connsiteX9333" fmla="*/ 1816275 w 6884782"/>
              <a:gd name="connsiteY9333" fmla="*/ 4847308 h 5973007"/>
              <a:gd name="connsiteX9334" fmla="*/ 1815036 w 6884782"/>
              <a:gd name="connsiteY9334" fmla="*/ 4846378 h 5973007"/>
              <a:gd name="connsiteX9335" fmla="*/ 1815811 w 6884782"/>
              <a:gd name="connsiteY9335" fmla="*/ 4845759 h 5973007"/>
              <a:gd name="connsiteX9336" fmla="*/ 1814261 w 6884782"/>
              <a:gd name="connsiteY9336" fmla="*/ 4841732 h 5973007"/>
              <a:gd name="connsiteX9337" fmla="*/ 1809924 w 6884782"/>
              <a:gd name="connsiteY9337" fmla="*/ 4829857 h 5973007"/>
              <a:gd name="connsiteX9338" fmla="*/ 1811318 w 6884782"/>
              <a:gd name="connsiteY9338" fmla="*/ 4829960 h 5973007"/>
              <a:gd name="connsiteX9339" fmla="*/ 1810544 w 6884782"/>
              <a:gd name="connsiteY9339" fmla="*/ 4829031 h 5973007"/>
              <a:gd name="connsiteX9340" fmla="*/ 1808530 w 6884782"/>
              <a:gd name="connsiteY9340" fmla="*/ 4824281 h 5973007"/>
              <a:gd name="connsiteX9341" fmla="*/ 1809460 w 6884782"/>
              <a:gd name="connsiteY9341" fmla="*/ 4821597 h 5973007"/>
              <a:gd name="connsiteX9342" fmla="*/ 1822316 w 6884782"/>
              <a:gd name="connsiteY9342" fmla="*/ 4820771 h 5973007"/>
              <a:gd name="connsiteX9343" fmla="*/ 1823091 w 6884782"/>
              <a:gd name="connsiteY9343" fmla="*/ 4821493 h 5973007"/>
              <a:gd name="connsiteX9344" fmla="*/ 1826963 w 6884782"/>
              <a:gd name="connsiteY9344" fmla="*/ 4811891 h 5973007"/>
              <a:gd name="connsiteX9345" fmla="*/ 1827892 w 6884782"/>
              <a:gd name="connsiteY9345" fmla="*/ 4809103 h 5973007"/>
              <a:gd name="connsiteX9346" fmla="*/ 1827273 w 6884782"/>
              <a:gd name="connsiteY9346" fmla="*/ 4808277 h 5973007"/>
              <a:gd name="connsiteX9347" fmla="*/ 1825724 w 6884782"/>
              <a:gd name="connsiteY9347" fmla="*/ 4805179 h 5973007"/>
              <a:gd name="connsiteX9348" fmla="*/ 1828822 w 6884782"/>
              <a:gd name="connsiteY9348" fmla="*/ 4803940 h 5973007"/>
              <a:gd name="connsiteX9349" fmla="*/ 1829596 w 6884782"/>
              <a:gd name="connsiteY9349" fmla="*/ 4804043 h 5973007"/>
              <a:gd name="connsiteX9350" fmla="*/ 1583156 w 6884782"/>
              <a:gd name="connsiteY9350" fmla="*/ 4803320 h 5973007"/>
              <a:gd name="connsiteX9351" fmla="*/ 1584085 w 6884782"/>
              <a:gd name="connsiteY9351" fmla="*/ 4803423 h 5973007"/>
              <a:gd name="connsiteX9352" fmla="*/ 1582847 w 6884782"/>
              <a:gd name="connsiteY9352" fmla="*/ 4813852 h 5973007"/>
              <a:gd name="connsiteX9353" fmla="*/ 1581452 w 6884782"/>
              <a:gd name="connsiteY9353" fmla="*/ 4814782 h 5973007"/>
              <a:gd name="connsiteX9354" fmla="*/ 1579439 w 6884782"/>
              <a:gd name="connsiteY9354" fmla="*/ 4813749 h 5973007"/>
              <a:gd name="connsiteX9355" fmla="*/ 1579284 w 6884782"/>
              <a:gd name="connsiteY9355" fmla="*/ 4809309 h 5973007"/>
              <a:gd name="connsiteX9356" fmla="*/ 1582537 w 6884782"/>
              <a:gd name="connsiteY9356" fmla="*/ 4806005 h 5973007"/>
              <a:gd name="connsiteX9357" fmla="*/ 1583156 w 6884782"/>
              <a:gd name="connsiteY9357" fmla="*/ 4803320 h 5973007"/>
              <a:gd name="connsiteX9358" fmla="*/ 5937746 w 6884782"/>
              <a:gd name="connsiteY9358" fmla="*/ 4801789 h 5973007"/>
              <a:gd name="connsiteX9359" fmla="*/ 5944407 w 6884782"/>
              <a:gd name="connsiteY9359" fmla="*/ 4803854 h 5973007"/>
              <a:gd name="connsiteX9360" fmla="*/ 5937901 w 6884782"/>
              <a:gd name="connsiteY9360" fmla="*/ 4816245 h 5973007"/>
              <a:gd name="connsiteX9361" fmla="*/ 5933564 w 6884782"/>
              <a:gd name="connsiteY9361" fmla="*/ 4813251 h 5973007"/>
              <a:gd name="connsiteX9362" fmla="*/ 5937746 w 6884782"/>
              <a:gd name="connsiteY9362" fmla="*/ 4801789 h 5973007"/>
              <a:gd name="connsiteX9363" fmla="*/ 1685233 w 6884782"/>
              <a:gd name="connsiteY9363" fmla="*/ 4801255 h 5973007"/>
              <a:gd name="connsiteX9364" fmla="*/ 1687092 w 6884782"/>
              <a:gd name="connsiteY9364" fmla="*/ 4801255 h 5973007"/>
              <a:gd name="connsiteX9365" fmla="*/ 1686782 w 6884782"/>
              <a:gd name="connsiteY9365" fmla="*/ 4802081 h 5973007"/>
              <a:gd name="connsiteX9366" fmla="*/ 1685388 w 6884782"/>
              <a:gd name="connsiteY9366" fmla="*/ 4801978 h 5973007"/>
              <a:gd name="connsiteX9367" fmla="*/ 1685233 w 6884782"/>
              <a:gd name="connsiteY9367" fmla="*/ 4801255 h 5973007"/>
              <a:gd name="connsiteX9368" fmla="*/ 2073566 w 6884782"/>
              <a:gd name="connsiteY9368" fmla="*/ 4801102 h 5973007"/>
              <a:gd name="connsiteX9369" fmla="*/ 2072938 w 6884782"/>
              <a:gd name="connsiteY9369" fmla="*/ 4801668 h 5973007"/>
              <a:gd name="connsiteX9370" fmla="*/ 2073868 w 6884782"/>
              <a:gd name="connsiteY9370" fmla="*/ 4802907 h 5973007"/>
              <a:gd name="connsiteX9371" fmla="*/ 2075107 w 6884782"/>
              <a:gd name="connsiteY9371" fmla="*/ 4805179 h 5973007"/>
              <a:gd name="connsiteX9372" fmla="*/ 2071234 w 6884782"/>
              <a:gd name="connsiteY9372" fmla="*/ 4806728 h 5973007"/>
              <a:gd name="connsiteX9373" fmla="*/ 2069221 w 6884782"/>
              <a:gd name="connsiteY9373" fmla="*/ 4805179 h 5973007"/>
              <a:gd name="connsiteX9374" fmla="*/ 2065194 w 6884782"/>
              <a:gd name="connsiteY9374" fmla="*/ 4808793 h 5973007"/>
              <a:gd name="connsiteX9375" fmla="*/ 2058688 w 6884782"/>
              <a:gd name="connsiteY9375" fmla="*/ 4819635 h 5973007"/>
              <a:gd name="connsiteX9376" fmla="*/ 2056055 w 6884782"/>
              <a:gd name="connsiteY9376" fmla="*/ 4830890 h 5973007"/>
              <a:gd name="connsiteX9377" fmla="*/ 2057759 w 6884782"/>
              <a:gd name="connsiteY9377" fmla="*/ 4830786 h 5973007"/>
              <a:gd name="connsiteX9378" fmla="*/ 2061166 w 6884782"/>
              <a:gd name="connsiteY9378" fmla="*/ 4834710 h 5973007"/>
              <a:gd name="connsiteX9379" fmla="*/ 2061786 w 6884782"/>
              <a:gd name="connsiteY9379" fmla="*/ 4836775 h 5973007"/>
              <a:gd name="connsiteX9380" fmla="*/ 2063335 w 6884782"/>
              <a:gd name="connsiteY9380" fmla="*/ 4831612 h 5973007"/>
              <a:gd name="connsiteX9381" fmla="*/ 2067363 w 6884782"/>
              <a:gd name="connsiteY9381" fmla="*/ 4825417 h 5973007"/>
              <a:gd name="connsiteX9382" fmla="*/ 2067363 w 6884782"/>
              <a:gd name="connsiteY9382" fmla="*/ 4824591 h 5973007"/>
              <a:gd name="connsiteX9383" fmla="*/ 2069685 w 6884782"/>
              <a:gd name="connsiteY9383" fmla="*/ 4821184 h 5973007"/>
              <a:gd name="connsiteX9384" fmla="*/ 2071080 w 6884782"/>
              <a:gd name="connsiteY9384" fmla="*/ 4820254 h 5973007"/>
              <a:gd name="connsiteX9385" fmla="*/ 2076036 w 6884782"/>
              <a:gd name="connsiteY9385" fmla="*/ 4825934 h 5973007"/>
              <a:gd name="connsiteX9386" fmla="*/ 2075417 w 6884782"/>
              <a:gd name="connsiteY9386" fmla="*/ 4827482 h 5973007"/>
              <a:gd name="connsiteX9387" fmla="*/ 2076811 w 6884782"/>
              <a:gd name="connsiteY9387" fmla="*/ 4828412 h 5973007"/>
              <a:gd name="connsiteX9388" fmla="*/ 2076965 w 6884782"/>
              <a:gd name="connsiteY9388" fmla="*/ 4826243 h 5973007"/>
              <a:gd name="connsiteX9389" fmla="*/ 2080373 w 6884782"/>
              <a:gd name="connsiteY9389" fmla="*/ 4827173 h 5973007"/>
              <a:gd name="connsiteX9390" fmla="*/ 2079444 w 6884782"/>
              <a:gd name="connsiteY9390" fmla="*/ 4828928 h 5973007"/>
              <a:gd name="connsiteX9391" fmla="*/ 2077895 w 6884782"/>
              <a:gd name="connsiteY9391" fmla="*/ 4829651 h 5973007"/>
              <a:gd name="connsiteX9392" fmla="*/ 2081612 w 6884782"/>
              <a:gd name="connsiteY9392" fmla="*/ 4835536 h 5973007"/>
              <a:gd name="connsiteX9393" fmla="*/ 2082387 w 6884782"/>
              <a:gd name="connsiteY9393" fmla="*/ 4833368 h 5973007"/>
              <a:gd name="connsiteX9394" fmla="*/ 2083781 w 6884782"/>
              <a:gd name="connsiteY9394" fmla="*/ 4832955 h 5973007"/>
              <a:gd name="connsiteX9395" fmla="*/ 2082387 w 6884782"/>
              <a:gd name="connsiteY9395" fmla="*/ 4830374 h 5973007"/>
              <a:gd name="connsiteX9396" fmla="*/ 2074642 w 6884782"/>
              <a:gd name="connsiteY9396" fmla="*/ 4814782 h 5973007"/>
              <a:gd name="connsiteX9397" fmla="*/ 2076811 w 6884782"/>
              <a:gd name="connsiteY9397" fmla="*/ 4814885 h 5973007"/>
              <a:gd name="connsiteX9398" fmla="*/ 2076656 w 6884782"/>
              <a:gd name="connsiteY9398" fmla="*/ 4813852 h 5973007"/>
              <a:gd name="connsiteX9399" fmla="*/ 2082039 w 6884782"/>
              <a:gd name="connsiteY9399" fmla="*/ 4811802 h 5973007"/>
              <a:gd name="connsiteX9400" fmla="*/ 1682909 w 6884782"/>
              <a:gd name="connsiteY9400" fmla="*/ 4801049 h 5973007"/>
              <a:gd name="connsiteX9401" fmla="*/ 1684149 w 6884782"/>
              <a:gd name="connsiteY9401" fmla="*/ 4801875 h 5973007"/>
              <a:gd name="connsiteX9402" fmla="*/ 1684768 w 6884782"/>
              <a:gd name="connsiteY9402" fmla="*/ 4802184 h 5973007"/>
              <a:gd name="connsiteX9403" fmla="*/ 1684613 w 6884782"/>
              <a:gd name="connsiteY9403" fmla="*/ 4802288 h 5973007"/>
              <a:gd name="connsiteX9404" fmla="*/ 1686008 w 6884782"/>
              <a:gd name="connsiteY9404" fmla="*/ 4804146 h 5973007"/>
              <a:gd name="connsiteX9405" fmla="*/ 1687711 w 6884782"/>
              <a:gd name="connsiteY9405" fmla="*/ 4804456 h 5973007"/>
              <a:gd name="connsiteX9406" fmla="*/ 1690654 w 6884782"/>
              <a:gd name="connsiteY9406" fmla="*/ 4810858 h 5973007"/>
              <a:gd name="connsiteX9407" fmla="*/ 1687401 w 6884782"/>
              <a:gd name="connsiteY9407" fmla="*/ 4807760 h 5973007"/>
              <a:gd name="connsiteX9408" fmla="*/ 1685853 w 6884782"/>
              <a:gd name="connsiteY9408" fmla="*/ 4805799 h 5973007"/>
              <a:gd name="connsiteX9409" fmla="*/ 1684303 w 6884782"/>
              <a:gd name="connsiteY9409" fmla="*/ 4804663 h 5973007"/>
              <a:gd name="connsiteX9410" fmla="*/ 1683374 w 6884782"/>
              <a:gd name="connsiteY9410" fmla="*/ 4803114 h 5973007"/>
              <a:gd name="connsiteX9411" fmla="*/ 1683219 w 6884782"/>
              <a:gd name="connsiteY9411" fmla="*/ 4803114 h 5973007"/>
              <a:gd name="connsiteX9412" fmla="*/ 1681515 w 6884782"/>
              <a:gd name="connsiteY9412" fmla="*/ 4803527 h 5973007"/>
              <a:gd name="connsiteX9413" fmla="*/ 1680586 w 6884782"/>
              <a:gd name="connsiteY9413" fmla="*/ 4802907 h 5973007"/>
              <a:gd name="connsiteX9414" fmla="*/ 1679966 w 6884782"/>
              <a:gd name="connsiteY9414" fmla="*/ 4801358 h 5973007"/>
              <a:gd name="connsiteX9415" fmla="*/ 1682599 w 6884782"/>
              <a:gd name="connsiteY9415" fmla="*/ 4801358 h 5973007"/>
              <a:gd name="connsiteX9416" fmla="*/ 1682909 w 6884782"/>
              <a:gd name="connsiteY9416" fmla="*/ 4801462 h 5973007"/>
              <a:gd name="connsiteX9417" fmla="*/ 863353 w 6884782"/>
              <a:gd name="connsiteY9417" fmla="*/ 4801049 h 5973007"/>
              <a:gd name="connsiteX9418" fmla="*/ 858861 w 6884782"/>
              <a:gd name="connsiteY9418" fmla="*/ 4808380 h 5973007"/>
              <a:gd name="connsiteX9419" fmla="*/ 863353 w 6884782"/>
              <a:gd name="connsiteY9419" fmla="*/ 4801049 h 5973007"/>
              <a:gd name="connsiteX9420" fmla="*/ 900218 w 6884782"/>
              <a:gd name="connsiteY9420" fmla="*/ 4800739 h 5973007"/>
              <a:gd name="connsiteX9421" fmla="*/ 897276 w 6884782"/>
              <a:gd name="connsiteY9421" fmla="*/ 4803630 h 5973007"/>
              <a:gd name="connsiteX9422" fmla="*/ 896192 w 6884782"/>
              <a:gd name="connsiteY9422" fmla="*/ 4802701 h 5973007"/>
              <a:gd name="connsiteX9423" fmla="*/ 900218 w 6884782"/>
              <a:gd name="connsiteY9423" fmla="*/ 4800739 h 5973007"/>
              <a:gd name="connsiteX9424" fmla="*/ 1823246 w 6884782"/>
              <a:gd name="connsiteY9424" fmla="*/ 4800326 h 5973007"/>
              <a:gd name="connsiteX9425" fmla="*/ 1823246 w 6884782"/>
              <a:gd name="connsiteY9425" fmla="*/ 4801152 h 5973007"/>
              <a:gd name="connsiteX9426" fmla="*/ 1824020 w 6884782"/>
              <a:gd name="connsiteY9426" fmla="*/ 4804869 h 5973007"/>
              <a:gd name="connsiteX9427" fmla="*/ 1822161 w 6884782"/>
              <a:gd name="connsiteY9427" fmla="*/ 4805282 h 5973007"/>
              <a:gd name="connsiteX9428" fmla="*/ 1819838 w 6884782"/>
              <a:gd name="connsiteY9428" fmla="*/ 4804353 h 5973007"/>
              <a:gd name="connsiteX9429" fmla="*/ 1820768 w 6884782"/>
              <a:gd name="connsiteY9429" fmla="*/ 4800842 h 5973007"/>
              <a:gd name="connsiteX9430" fmla="*/ 1823246 w 6884782"/>
              <a:gd name="connsiteY9430" fmla="*/ 4800326 h 5973007"/>
              <a:gd name="connsiteX9431" fmla="*/ 1523676 w 6884782"/>
              <a:gd name="connsiteY9431" fmla="*/ 4799810 h 5973007"/>
              <a:gd name="connsiteX9432" fmla="*/ 1532815 w 6884782"/>
              <a:gd name="connsiteY9432" fmla="*/ 4806418 h 5973007"/>
              <a:gd name="connsiteX9433" fmla="*/ 1530027 w 6884782"/>
              <a:gd name="connsiteY9433" fmla="*/ 4809206 h 5973007"/>
              <a:gd name="connsiteX9434" fmla="*/ 1530491 w 6884782"/>
              <a:gd name="connsiteY9434" fmla="*/ 4809309 h 5973007"/>
              <a:gd name="connsiteX9435" fmla="*/ 1527239 w 6884782"/>
              <a:gd name="connsiteY9435" fmla="*/ 4813543 h 5973007"/>
              <a:gd name="connsiteX9436" fmla="*/ 1526929 w 6884782"/>
              <a:gd name="connsiteY9436" fmla="*/ 4814782 h 5973007"/>
              <a:gd name="connsiteX9437" fmla="*/ 1526774 w 6884782"/>
              <a:gd name="connsiteY9437" fmla="*/ 4816537 h 5973007"/>
              <a:gd name="connsiteX9438" fmla="*/ 1529098 w 6884782"/>
              <a:gd name="connsiteY9438" fmla="*/ 4813749 h 5973007"/>
              <a:gd name="connsiteX9439" fmla="*/ 1530801 w 6884782"/>
              <a:gd name="connsiteY9439" fmla="*/ 4809929 h 5973007"/>
              <a:gd name="connsiteX9440" fmla="*/ 1532970 w 6884782"/>
              <a:gd name="connsiteY9440" fmla="*/ 4809309 h 5973007"/>
              <a:gd name="connsiteX9441" fmla="*/ 1533744 w 6884782"/>
              <a:gd name="connsiteY9441" fmla="*/ 4809722 h 5973007"/>
              <a:gd name="connsiteX9442" fmla="*/ 1533589 w 6884782"/>
              <a:gd name="connsiteY9442" fmla="*/ 4811684 h 5973007"/>
              <a:gd name="connsiteX9443" fmla="*/ 1529562 w 6884782"/>
              <a:gd name="connsiteY9443" fmla="*/ 4818706 h 5973007"/>
              <a:gd name="connsiteX9444" fmla="*/ 1528943 w 6884782"/>
              <a:gd name="connsiteY9444" fmla="*/ 4820254 h 5973007"/>
              <a:gd name="connsiteX9445" fmla="*/ 1526619 w 6884782"/>
              <a:gd name="connsiteY9445" fmla="*/ 4820874 h 5973007"/>
              <a:gd name="connsiteX9446" fmla="*/ 1526774 w 6884782"/>
              <a:gd name="connsiteY9446" fmla="*/ 4816950 h 5973007"/>
              <a:gd name="connsiteX9447" fmla="*/ 1525535 w 6884782"/>
              <a:gd name="connsiteY9447" fmla="*/ 4818809 h 5973007"/>
              <a:gd name="connsiteX9448" fmla="*/ 1521662 w 6884782"/>
              <a:gd name="connsiteY9448" fmla="*/ 4817363 h 5973007"/>
              <a:gd name="connsiteX9449" fmla="*/ 1520888 w 6884782"/>
              <a:gd name="connsiteY9449" fmla="*/ 4817879 h 5973007"/>
              <a:gd name="connsiteX9450" fmla="*/ 1509581 w 6884782"/>
              <a:gd name="connsiteY9450" fmla="*/ 4819738 h 5973007"/>
              <a:gd name="connsiteX9451" fmla="*/ 1513763 w 6884782"/>
              <a:gd name="connsiteY9451" fmla="*/ 4814162 h 5973007"/>
              <a:gd name="connsiteX9452" fmla="*/ 1518409 w 6884782"/>
              <a:gd name="connsiteY9452" fmla="*/ 4811168 h 5973007"/>
              <a:gd name="connsiteX9453" fmla="*/ 1517945 w 6884782"/>
              <a:gd name="connsiteY9453" fmla="*/ 4808586 h 5973007"/>
              <a:gd name="connsiteX9454" fmla="*/ 1515466 w 6884782"/>
              <a:gd name="connsiteY9454" fmla="*/ 4812407 h 5973007"/>
              <a:gd name="connsiteX9455" fmla="*/ 1499512 w 6884782"/>
              <a:gd name="connsiteY9455" fmla="*/ 4818396 h 5973007"/>
              <a:gd name="connsiteX9456" fmla="*/ 1506638 w 6884782"/>
              <a:gd name="connsiteY9456" fmla="*/ 4809309 h 5973007"/>
              <a:gd name="connsiteX9457" fmla="*/ 1517790 w 6884782"/>
              <a:gd name="connsiteY9457" fmla="*/ 4807038 h 5973007"/>
              <a:gd name="connsiteX9458" fmla="*/ 1517790 w 6884782"/>
              <a:gd name="connsiteY9458" fmla="*/ 4804456 h 5973007"/>
              <a:gd name="connsiteX9459" fmla="*/ 1521507 w 6884782"/>
              <a:gd name="connsiteY9459" fmla="*/ 4803734 h 5973007"/>
              <a:gd name="connsiteX9460" fmla="*/ 1523211 w 6884782"/>
              <a:gd name="connsiteY9460" fmla="*/ 4805076 h 5973007"/>
              <a:gd name="connsiteX9461" fmla="*/ 1689260 w 6884782"/>
              <a:gd name="connsiteY9461" fmla="*/ 4799603 h 5973007"/>
              <a:gd name="connsiteX9462" fmla="*/ 1691274 w 6884782"/>
              <a:gd name="connsiteY9462" fmla="*/ 4799603 h 5973007"/>
              <a:gd name="connsiteX9463" fmla="*/ 1690499 w 6884782"/>
              <a:gd name="connsiteY9463" fmla="*/ 4800636 h 5973007"/>
              <a:gd name="connsiteX9464" fmla="*/ 1689260 w 6884782"/>
              <a:gd name="connsiteY9464" fmla="*/ 4799603 h 5973007"/>
              <a:gd name="connsiteX9465" fmla="*/ 1336116 w 6884782"/>
              <a:gd name="connsiteY9465" fmla="*/ 4799383 h 5973007"/>
              <a:gd name="connsiteX9466" fmla="*/ 1339039 w 6884782"/>
              <a:gd name="connsiteY9466" fmla="*/ 4803630 h 5973007"/>
              <a:gd name="connsiteX9467" fmla="*/ 1335477 w 6884782"/>
              <a:gd name="connsiteY9467" fmla="*/ 4804146 h 5973007"/>
              <a:gd name="connsiteX9468" fmla="*/ 1333773 w 6884782"/>
              <a:gd name="connsiteY9468" fmla="*/ 4803423 h 5973007"/>
              <a:gd name="connsiteX9469" fmla="*/ 1336116 w 6884782"/>
              <a:gd name="connsiteY9469" fmla="*/ 4799383 h 5973007"/>
              <a:gd name="connsiteX9470" fmla="*/ 6248158 w 6884782"/>
              <a:gd name="connsiteY9470" fmla="*/ 4798898 h 5973007"/>
              <a:gd name="connsiteX9471" fmla="*/ 6249862 w 6884782"/>
              <a:gd name="connsiteY9471" fmla="*/ 4801479 h 5973007"/>
              <a:gd name="connsiteX9472" fmla="*/ 6239639 w 6884782"/>
              <a:gd name="connsiteY9472" fmla="*/ 4815109 h 5973007"/>
              <a:gd name="connsiteX9473" fmla="*/ 6237316 w 6884782"/>
              <a:gd name="connsiteY9473" fmla="*/ 4813870 h 5973007"/>
              <a:gd name="connsiteX9474" fmla="*/ 6248158 w 6884782"/>
              <a:gd name="connsiteY9474" fmla="*/ 4798898 h 5973007"/>
              <a:gd name="connsiteX9475" fmla="*/ 6400421 w 6884782"/>
              <a:gd name="connsiteY9475" fmla="*/ 4798485 h 5973007"/>
              <a:gd name="connsiteX9476" fmla="*/ 6412039 w 6884782"/>
              <a:gd name="connsiteY9476" fmla="*/ 4804990 h 5973007"/>
              <a:gd name="connsiteX9477" fmla="*/ 6408476 w 6884782"/>
              <a:gd name="connsiteY9477" fmla="*/ 4811289 h 5973007"/>
              <a:gd name="connsiteX9478" fmla="*/ 6406308 w 6884782"/>
              <a:gd name="connsiteY9478" fmla="*/ 4811082 h 5973007"/>
              <a:gd name="connsiteX9479" fmla="*/ 6397169 w 6884782"/>
              <a:gd name="connsiteY9479" fmla="*/ 4806642 h 5973007"/>
              <a:gd name="connsiteX9480" fmla="*/ 6400421 w 6884782"/>
              <a:gd name="connsiteY9480" fmla="*/ 4798485 h 5973007"/>
              <a:gd name="connsiteX9481" fmla="*/ 1256480 w 6884782"/>
              <a:gd name="connsiteY9481" fmla="*/ 4798157 h 5973007"/>
              <a:gd name="connsiteX9482" fmla="*/ 1269336 w 6884782"/>
              <a:gd name="connsiteY9482" fmla="*/ 4808793 h 5973007"/>
              <a:gd name="connsiteX9483" fmla="*/ 1266084 w 6884782"/>
              <a:gd name="connsiteY9483" fmla="*/ 4811891 h 5973007"/>
              <a:gd name="connsiteX9484" fmla="*/ 1262211 w 6884782"/>
              <a:gd name="connsiteY9484" fmla="*/ 4811374 h 5973007"/>
              <a:gd name="connsiteX9485" fmla="*/ 1259113 w 6884782"/>
              <a:gd name="connsiteY9485" fmla="*/ 4809619 h 5973007"/>
              <a:gd name="connsiteX9486" fmla="*/ 1257100 w 6884782"/>
              <a:gd name="connsiteY9486" fmla="*/ 4806315 h 5973007"/>
              <a:gd name="connsiteX9487" fmla="*/ 1253692 w 6884782"/>
              <a:gd name="connsiteY9487" fmla="*/ 4801152 h 5973007"/>
              <a:gd name="connsiteX9488" fmla="*/ 1256480 w 6884782"/>
              <a:gd name="connsiteY9488" fmla="*/ 4798157 h 5973007"/>
              <a:gd name="connsiteX9489" fmla="*/ 6526177 w 6884782"/>
              <a:gd name="connsiteY9489" fmla="*/ 4797943 h 5973007"/>
              <a:gd name="connsiteX9490" fmla="*/ 6529914 w 6884782"/>
              <a:gd name="connsiteY9490" fmla="*/ 4800034 h 5973007"/>
              <a:gd name="connsiteX9491" fmla="*/ 6527591 w 6884782"/>
              <a:gd name="connsiteY9491" fmla="*/ 4805094 h 5973007"/>
              <a:gd name="connsiteX9492" fmla="*/ 6523254 w 6884782"/>
              <a:gd name="connsiteY9492" fmla="*/ 4799724 h 5973007"/>
              <a:gd name="connsiteX9493" fmla="*/ 6526177 w 6884782"/>
              <a:gd name="connsiteY9493" fmla="*/ 4797943 h 5973007"/>
              <a:gd name="connsiteX9494" fmla="*/ 1005238 w 6884782"/>
              <a:gd name="connsiteY9494" fmla="*/ 4797125 h 5973007"/>
              <a:gd name="connsiteX9495" fmla="*/ 1010350 w 6884782"/>
              <a:gd name="connsiteY9495" fmla="*/ 4799293 h 5973007"/>
              <a:gd name="connsiteX9496" fmla="*/ 1014841 w 6884782"/>
              <a:gd name="connsiteY9496" fmla="*/ 4805489 h 5973007"/>
              <a:gd name="connsiteX9497" fmla="*/ 1013758 w 6884782"/>
              <a:gd name="connsiteY9497" fmla="*/ 4805799 h 5973007"/>
              <a:gd name="connsiteX9498" fmla="*/ 1005238 w 6884782"/>
              <a:gd name="connsiteY9498" fmla="*/ 4797125 h 5973007"/>
              <a:gd name="connsiteX9499" fmla="*/ 1704750 w 6884782"/>
              <a:gd name="connsiteY9499" fmla="*/ 4796815 h 5973007"/>
              <a:gd name="connsiteX9500" fmla="*/ 1691274 w 6884782"/>
              <a:gd name="connsiteY9500" fmla="*/ 4799706 h 5973007"/>
              <a:gd name="connsiteX9501" fmla="*/ 1704750 w 6884782"/>
              <a:gd name="connsiteY9501" fmla="*/ 4796815 h 5973007"/>
              <a:gd name="connsiteX9502" fmla="*/ 1481235 w 6884782"/>
              <a:gd name="connsiteY9502" fmla="*/ 4796712 h 5973007"/>
              <a:gd name="connsiteX9503" fmla="*/ 1486501 w 6884782"/>
              <a:gd name="connsiteY9503" fmla="*/ 4798571 h 5973007"/>
              <a:gd name="connsiteX9504" fmla="*/ 1487121 w 6884782"/>
              <a:gd name="connsiteY9504" fmla="*/ 4798054 h 5973007"/>
              <a:gd name="connsiteX9505" fmla="*/ 1492697 w 6884782"/>
              <a:gd name="connsiteY9505" fmla="*/ 4804766 h 5973007"/>
              <a:gd name="connsiteX9506" fmla="*/ 1492232 w 6884782"/>
              <a:gd name="connsiteY9506" fmla="*/ 4806831 h 5973007"/>
              <a:gd name="connsiteX9507" fmla="*/ 1492387 w 6884782"/>
              <a:gd name="connsiteY9507" fmla="*/ 4807038 h 5973007"/>
              <a:gd name="connsiteX9508" fmla="*/ 1488670 w 6884782"/>
              <a:gd name="connsiteY9508" fmla="*/ 4810239 h 5973007"/>
              <a:gd name="connsiteX9509" fmla="*/ 1484952 w 6884782"/>
              <a:gd name="connsiteY9509" fmla="*/ 4809825 h 5973007"/>
              <a:gd name="connsiteX9510" fmla="*/ 1482009 w 6884782"/>
              <a:gd name="connsiteY9510" fmla="*/ 4808070 h 5973007"/>
              <a:gd name="connsiteX9511" fmla="*/ 1480460 w 6884782"/>
              <a:gd name="connsiteY9511" fmla="*/ 4804766 h 5973007"/>
              <a:gd name="connsiteX9512" fmla="*/ 1477827 w 6884782"/>
              <a:gd name="connsiteY9512" fmla="*/ 4799706 h 5973007"/>
              <a:gd name="connsiteX9513" fmla="*/ 1481235 w 6884782"/>
              <a:gd name="connsiteY9513" fmla="*/ 4796712 h 5973007"/>
              <a:gd name="connsiteX9514" fmla="*/ 1658590 w 6884782"/>
              <a:gd name="connsiteY9514" fmla="*/ 4796402 h 5973007"/>
              <a:gd name="connsiteX9515" fmla="*/ 1665716 w 6884782"/>
              <a:gd name="connsiteY9515" fmla="*/ 4797641 h 5973007"/>
              <a:gd name="connsiteX9516" fmla="*/ 1665716 w 6884782"/>
              <a:gd name="connsiteY9516" fmla="*/ 4799603 h 5973007"/>
              <a:gd name="connsiteX9517" fmla="*/ 1665406 w 6884782"/>
              <a:gd name="connsiteY9517" fmla="*/ 4801668 h 5973007"/>
              <a:gd name="connsiteX9518" fmla="*/ 1662308 w 6884782"/>
              <a:gd name="connsiteY9518" fmla="*/ 4805179 h 5973007"/>
              <a:gd name="connsiteX9519" fmla="*/ 1659830 w 6884782"/>
              <a:gd name="connsiteY9519" fmla="*/ 4805385 h 5973007"/>
              <a:gd name="connsiteX9520" fmla="*/ 1658436 w 6884782"/>
              <a:gd name="connsiteY9520" fmla="*/ 4804869 h 5973007"/>
              <a:gd name="connsiteX9521" fmla="*/ 1657042 w 6884782"/>
              <a:gd name="connsiteY9521" fmla="*/ 4804043 h 5973007"/>
              <a:gd name="connsiteX9522" fmla="*/ 1658590 w 6884782"/>
              <a:gd name="connsiteY9522" fmla="*/ 4796402 h 5973007"/>
              <a:gd name="connsiteX9523" fmla="*/ 1866461 w 6884782"/>
              <a:gd name="connsiteY9523" fmla="*/ 4796196 h 5973007"/>
              <a:gd name="connsiteX9524" fmla="*/ 1871573 w 6884782"/>
              <a:gd name="connsiteY9524" fmla="*/ 4802391 h 5973007"/>
              <a:gd name="connsiteX9525" fmla="*/ 1874051 w 6884782"/>
              <a:gd name="connsiteY9525" fmla="*/ 4806211 h 5973007"/>
              <a:gd name="connsiteX9526" fmla="*/ 1873742 w 6884782"/>
              <a:gd name="connsiteY9526" fmla="*/ 4808483 h 5973007"/>
              <a:gd name="connsiteX9527" fmla="*/ 1872967 w 6884782"/>
              <a:gd name="connsiteY9527" fmla="*/ 4808896 h 5973007"/>
              <a:gd name="connsiteX9528" fmla="*/ 1871418 w 6884782"/>
              <a:gd name="connsiteY9528" fmla="*/ 4807760 h 5973007"/>
              <a:gd name="connsiteX9529" fmla="*/ 1867081 w 6884782"/>
              <a:gd name="connsiteY9529" fmla="*/ 4800016 h 5973007"/>
              <a:gd name="connsiteX9530" fmla="*/ 1865997 w 6884782"/>
              <a:gd name="connsiteY9530" fmla="*/ 4798467 h 5973007"/>
              <a:gd name="connsiteX9531" fmla="*/ 1866461 w 6884782"/>
              <a:gd name="connsiteY9531" fmla="*/ 4796196 h 5973007"/>
              <a:gd name="connsiteX9532" fmla="*/ 6110920 w 6884782"/>
              <a:gd name="connsiteY9532" fmla="*/ 4795697 h 5973007"/>
              <a:gd name="connsiteX9533" fmla="*/ 6101471 w 6884782"/>
              <a:gd name="connsiteY9533" fmla="*/ 4814490 h 5973007"/>
              <a:gd name="connsiteX9534" fmla="*/ 6097754 w 6884782"/>
              <a:gd name="connsiteY9534" fmla="*/ 4815626 h 5973007"/>
              <a:gd name="connsiteX9535" fmla="*/ 6096205 w 6884782"/>
              <a:gd name="connsiteY9535" fmla="*/ 4815213 h 5973007"/>
              <a:gd name="connsiteX9536" fmla="*/ 6110920 w 6884782"/>
              <a:gd name="connsiteY9536" fmla="*/ 4795697 h 5973007"/>
              <a:gd name="connsiteX9537" fmla="*/ 1614910 w 6884782"/>
              <a:gd name="connsiteY9537" fmla="*/ 4795576 h 5973007"/>
              <a:gd name="connsiteX9538" fmla="*/ 1618008 w 6884782"/>
              <a:gd name="connsiteY9538" fmla="*/ 4797332 h 5973007"/>
              <a:gd name="connsiteX9539" fmla="*/ 1618937 w 6884782"/>
              <a:gd name="connsiteY9539" fmla="*/ 4805076 h 5973007"/>
              <a:gd name="connsiteX9540" fmla="*/ 1617544 w 6884782"/>
              <a:gd name="connsiteY9540" fmla="*/ 4806624 h 5973007"/>
              <a:gd name="connsiteX9541" fmla="*/ 1613981 w 6884782"/>
              <a:gd name="connsiteY9541" fmla="*/ 4803630 h 5973007"/>
              <a:gd name="connsiteX9542" fmla="*/ 1614910 w 6884782"/>
              <a:gd name="connsiteY9542" fmla="*/ 4795576 h 5973007"/>
              <a:gd name="connsiteX9543" fmla="*/ 6391592 w 6884782"/>
              <a:gd name="connsiteY9543" fmla="*/ 4794562 h 5973007"/>
              <a:gd name="connsiteX9544" fmla="*/ 6388495 w 6884782"/>
              <a:gd name="connsiteY9544" fmla="*/ 4821924 h 5973007"/>
              <a:gd name="connsiteX9545" fmla="*/ 6391592 w 6884782"/>
              <a:gd name="connsiteY9545" fmla="*/ 4794562 h 5973007"/>
              <a:gd name="connsiteX9546" fmla="*/ 6160332 w 6884782"/>
              <a:gd name="connsiteY9546" fmla="*/ 4794252 h 5973007"/>
              <a:gd name="connsiteX9547" fmla="*/ 6174428 w 6884782"/>
              <a:gd name="connsiteY9547" fmla="*/ 4803338 h 5973007"/>
              <a:gd name="connsiteX9548" fmla="*/ 6173963 w 6884782"/>
              <a:gd name="connsiteY9548" fmla="*/ 4822234 h 5973007"/>
              <a:gd name="connsiteX9549" fmla="*/ 6168851 w 6884782"/>
              <a:gd name="connsiteY9549" fmla="*/ 4822957 h 5973007"/>
              <a:gd name="connsiteX9550" fmla="*/ 6160487 w 6884782"/>
              <a:gd name="connsiteY9550" fmla="*/ 4813354 h 5973007"/>
              <a:gd name="connsiteX9551" fmla="*/ 6158783 w 6884782"/>
              <a:gd name="connsiteY9551" fmla="*/ 4807159 h 5973007"/>
              <a:gd name="connsiteX9552" fmla="*/ 6158164 w 6884782"/>
              <a:gd name="connsiteY9552" fmla="*/ 4796317 h 5973007"/>
              <a:gd name="connsiteX9553" fmla="*/ 6160332 w 6884782"/>
              <a:gd name="connsiteY9553" fmla="*/ 4794252 h 5973007"/>
              <a:gd name="connsiteX9554" fmla="*/ 1005393 w 6884782"/>
              <a:gd name="connsiteY9554" fmla="*/ 4793924 h 5973007"/>
              <a:gd name="connsiteX9555" fmla="*/ 992537 w 6884782"/>
              <a:gd name="connsiteY9555" fmla="*/ 4801875 h 5973007"/>
              <a:gd name="connsiteX9556" fmla="*/ 991762 w 6884782"/>
              <a:gd name="connsiteY9556" fmla="*/ 4801358 h 5973007"/>
              <a:gd name="connsiteX9557" fmla="*/ 992227 w 6884782"/>
              <a:gd name="connsiteY9557" fmla="*/ 4799293 h 5973007"/>
              <a:gd name="connsiteX9558" fmla="*/ 995480 w 6884782"/>
              <a:gd name="connsiteY9558" fmla="*/ 4797228 h 5973007"/>
              <a:gd name="connsiteX9559" fmla="*/ 1003690 w 6884782"/>
              <a:gd name="connsiteY9559" fmla="*/ 4794956 h 5973007"/>
              <a:gd name="connsiteX9560" fmla="*/ 1005393 w 6884782"/>
              <a:gd name="connsiteY9560" fmla="*/ 4793924 h 5973007"/>
              <a:gd name="connsiteX9561" fmla="*/ 843217 w 6884782"/>
              <a:gd name="connsiteY9561" fmla="*/ 4793717 h 5973007"/>
              <a:gd name="connsiteX9562" fmla="*/ 846469 w 6884782"/>
              <a:gd name="connsiteY9562" fmla="*/ 4803320 h 5973007"/>
              <a:gd name="connsiteX9563" fmla="*/ 843836 w 6884782"/>
              <a:gd name="connsiteY9563" fmla="*/ 4813749 h 5973007"/>
              <a:gd name="connsiteX9564" fmla="*/ 841357 w 6884782"/>
              <a:gd name="connsiteY9564" fmla="*/ 4809412 h 5973007"/>
              <a:gd name="connsiteX9565" fmla="*/ 843217 w 6884782"/>
              <a:gd name="connsiteY9565" fmla="*/ 4793717 h 5973007"/>
              <a:gd name="connsiteX9566" fmla="*/ 1717761 w 6884782"/>
              <a:gd name="connsiteY9566" fmla="*/ 4793305 h 5973007"/>
              <a:gd name="connsiteX9567" fmla="*/ 1711565 w 6884782"/>
              <a:gd name="connsiteY9567" fmla="*/ 4795886 h 5973007"/>
              <a:gd name="connsiteX9568" fmla="*/ 1710481 w 6884782"/>
              <a:gd name="connsiteY9568" fmla="*/ 4795473 h 5973007"/>
              <a:gd name="connsiteX9569" fmla="*/ 1717761 w 6884782"/>
              <a:gd name="connsiteY9569" fmla="*/ 4793305 h 5973007"/>
              <a:gd name="connsiteX9570" fmla="*/ 711690 w 6884782"/>
              <a:gd name="connsiteY9570" fmla="*/ 4793124 h 5973007"/>
              <a:gd name="connsiteX9571" fmla="*/ 725650 w 6884782"/>
              <a:gd name="connsiteY9571" fmla="*/ 4795163 h 5973007"/>
              <a:gd name="connsiteX9572" fmla="*/ 699473 w 6884782"/>
              <a:gd name="connsiteY9572" fmla="*/ 4803630 h 5973007"/>
              <a:gd name="connsiteX9573" fmla="*/ 711690 w 6884782"/>
              <a:gd name="connsiteY9573" fmla="*/ 4793124 h 5973007"/>
              <a:gd name="connsiteX9574" fmla="*/ 1460633 w 6884782"/>
              <a:gd name="connsiteY9574" fmla="*/ 4792066 h 5973007"/>
              <a:gd name="connsiteX9575" fmla="*/ 1465900 w 6884782"/>
              <a:gd name="connsiteY9575" fmla="*/ 4793098 h 5973007"/>
              <a:gd name="connsiteX9576" fmla="*/ 1465590 w 6884782"/>
              <a:gd name="connsiteY9576" fmla="*/ 4795886 h 5973007"/>
              <a:gd name="connsiteX9577" fmla="*/ 1462027 w 6884782"/>
              <a:gd name="connsiteY9577" fmla="*/ 4798467 h 5973007"/>
              <a:gd name="connsiteX9578" fmla="*/ 1463731 w 6884782"/>
              <a:gd name="connsiteY9578" fmla="*/ 4799190 h 5973007"/>
              <a:gd name="connsiteX9579" fmla="*/ 1466674 w 6884782"/>
              <a:gd name="connsiteY9579" fmla="*/ 4802701 h 5973007"/>
              <a:gd name="connsiteX9580" fmla="*/ 1462957 w 6884782"/>
              <a:gd name="connsiteY9580" fmla="*/ 4806831 h 5973007"/>
              <a:gd name="connsiteX9581" fmla="*/ 1460633 w 6884782"/>
              <a:gd name="connsiteY9581" fmla="*/ 4806728 h 5973007"/>
              <a:gd name="connsiteX9582" fmla="*/ 1452114 w 6884782"/>
              <a:gd name="connsiteY9582" fmla="*/ 4802701 h 5973007"/>
              <a:gd name="connsiteX9583" fmla="*/ 1452734 w 6884782"/>
              <a:gd name="connsiteY9583" fmla="*/ 4798157 h 5973007"/>
              <a:gd name="connsiteX9584" fmla="*/ 1453198 w 6884782"/>
              <a:gd name="connsiteY9584" fmla="*/ 4797951 h 5973007"/>
              <a:gd name="connsiteX9585" fmla="*/ 1602053 w 6884782"/>
              <a:gd name="connsiteY9585" fmla="*/ 4791859 h 5973007"/>
              <a:gd name="connsiteX9586" fmla="*/ 1604841 w 6884782"/>
              <a:gd name="connsiteY9586" fmla="*/ 4798777 h 5973007"/>
              <a:gd name="connsiteX9587" fmla="*/ 1602828 w 6884782"/>
              <a:gd name="connsiteY9587" fmla="*/ 4800636 h 5973007"/>
              <a:gd name="connsiteX9588" fmla="*/ 1598026 w 6884782"/>
              <a:gd name="connsiteY9588" fmla="*/ 4797332 h 5973007"/>
              <a:gd name="connsiteX9589" fmla="*/ 1598491 w 6884782"/>
              <a:gd name="connsiteY9589" fmla="*/ 4794544 h 5973007"/>
              <a:gd name="connsiteX9590" fmla="*/ 1602053 w 6884782"/>
              <a:gd name="connsiteY9590" fmla="*/ 4791859 h 5973007"/>
              <a:gd name="connsiteX9591" fmla="*/ 1576806 w 6884782"/>
              <a:gd name="connsiteY9591" fmla="*/ 4791859 h 5973007"/>
              <a:gd name="connsiteX9592" fmla="*/ 1571849 w 6884782"/>
              <a:gd name="connsiteY9592" fmla="*/ 4795163 h 5973007"/>
              <a:gd name="connsiteX9593" fmla="*/ 1571074 w 6884782"/>
              <a:gd name="connsiteY9593" fmla="*/ 4797641 h 5973007"/>
              <a:gd name="connsiteX9594" fmla="*/ 1569526 w 6884782"/>
              <a:gd name="connsiteY9594" fmla="*/ 4798364 h 5973007"/>
              <a:gd name="connsiteX9595" fmla="*/ 1569835 w 6884782"/>
              <a:gd name="connsiteY9595" fmla="*/ 4799397 h 5973007"/>
              <a:gd name="connsiteX9596" fmla="*/ 1571074 w 6884782"/>
              <a:gd name="connsiteY9596" fmla="*/ 4801772 h 5973007"/>
              <a:gd name="connsiteX9597" fmla="*/ 1564879 w 6884782"/>
              <a:gd name="connsiteY9597" fmla="*/ 4803837 h 5973007"/>
              <a:gd name="connsiteX9598" fmla="*/ 1562245 w 6884782"/>
              <a:gd name="connsiteY9598" fmla="*/ 4804250 h 5973007"/>
              <a:gd name="connsiteX9599" fmla="*/ 1562245 w 6884782"/>
              <a:gd name="connsiteY9599" fmla="*/ 4804559 h 5973007"/>
              <a:gd name="connsiteX9600" fmla="*/ 1559767 w 6884782"/>
              <a:gd name="connsiteY9600" fmla="*/ 4809206 h 5973007"/>
              <a:gd name="connsiteX9601" fmla="*/ 1558373 w 6884782"/>
              <a:gd name="connsiteY9601" fmla="*/ 4810135 h 5973007"/>
              <a:gd name="connsiteX9602" fmla="*/ 1556669 w 6884782"/>
              <a:gd name="connsiteY9602" fmla="*/ 4820254 h 5973007"/>
              <a:gd name="connsiteX9603" fmla="*/ 1549234 w 6884782"/>
              <a:gd name="connsiteY9603" fmla="*/ 4818086 h 5973007"/>
              <a:gd name="connsiteX9604" fmla="*/ 1549389 w 6884782"/>
              <a:gd name="connsiteY9604" fmla="*/ 4812097 h 5973007"/>
              <a:gd name="connsiteX9605" fmla="*/ 1544742 w 6884782"/>
              <a:gd name="connsiteY9605" fmla="*/ 4808896 h 5973007"/>
              <a:gd name="connsiteX9606" fmla="*/ 1559147 w 6884782"/>
              <a:gd name="connsiteY9606" fmla="*/ 4796918 h 5973007"/>
              <a:gd name="connsiteX9607" fmla="*/ 1560696 w 6884782"/>
              <a:gd name="connsiteY9607" fmla="*/ 4799293 h 5973007"/>
              <a:gd name="connsiteX9608" fmla="*/ 1561626 w 6884782"/>
              <a:gd name="connsiteY9608" fmla="*/ 4798777 h 5973007"/>
              <a:gd name="connsiteX9609" fmla="*/ 1565343 w 6884782"/>
              <a:gd name="connsiteY9609" fmla="*/ 4797641 h 5973007"/>
              <a:gd name="connsiteX9610" fmla="*/ 1565034 w 6884782"/>
              <a:gd name="connsiteY9610" fmla="*/ 4797228 h 5973007"/>
              <a:gd name="connsiteX9611" fmla="*/ 1565963 w 6884782"/>
              <a:gd name="connsiteY9611" fmla="*/ 4794853 h 5973007"/>
              <a:gd name="connsiteX9612" fmla="*/ 1572623 w 6884782"/>
              <a:gd name="connsiteY9612" fmla="*/ 4793408 h 5973007"/>
              <a:gd name="connsiteX9613" fmla="*/ 1576806 w 6884782"/>
              <a:gd name="connsiteY9613" fmla="*/ 4791859 h 5973007"/>
              <a:gd name="connsiteX9614" fmla="*/ 1657042 w 6884782"/>
              <a:gd name="connsiteY9614" fmla="*/ 4791756 h 5973007"/>
              <a:gd name="connsiteX9615" fmla="*/ 1660295 w 6884782"/>
              <a:gd name="connsiteY9615" fmla="*/ 4792582 h 5973007"/>
              <a:gd name="connsiteX9616" fmla="*/ 1660295 w 6884782"/>
              <a:gd name="connsiteY9616" fmla="*/ 4794131 h 5973007"/>
              <a:gd name="connsiteX9617" fmla="*/ 1658281 w 6884782"/>
              <a:gd name="connsiteY9617" fmla="*/ 4795267 h 5973007"/>
              <a:gd name="connsiteX9618" fmla="*/ 1517170 w 6884782"/>
              <a:gd name="connsiteY9618" fmla="*/ 4791239 h 5973007"/>
              <a:gd name="connsiteX9619" fmla="*/ 1515931 w 6884782"/>
              <a:gd name="connsiteY9619" fmla="*/ 4795473 h 5973007"/>
              <a:gd name="connsiteX9620" fmla="*/ 1514537 w 6884782"/>
              <a:gd name="connsiteY9620" fmla="*/ 4791756 h 5973007"/>
              <a:gd name="connsiteX9621" fmla="*/ 1517170 w 6884782"/>
              <a:gd name="connsiteY9621" fmla="*/ 4791239 h 5973007"/>
              <a:gd name="connsiteX9622" fmla="*/ 6204323 w 6884782"/>
              <a:gd name="connsiteY9622" fmla="*/ 4791154 h 5973007"/>
              <a:gd name="connsiteX9623" fmla="*/ 6206337 w 6884782"/>
              <a:gd name="connsiteY9623" fmla="*/ 4799724 h 5973007"/>
              <a:gd name="connsiteX9624" fmla="*/ 6200450 w 6884782"/>
              <a:gd name="connsiteY9624" fmla="*/ 4794355 h 5973007"/>
              <a:gd name="connsiteX9625" fmla="*/ 6204323 w 6884782"/>
              <a:gd name="connsiteY9625" fmla="*/ 4791154 h 5973007"/>
              <a:gd name="connsiteX9626" fmla="*/ 6094191 w 6884782"/>
              <a:gd name="connsiteY9626" fmla="*/ 4790947 h 5973007"/>
              <a:gd name="connsiteX9627" fmla="*/ 6097444 w 6884782"/>
              <a:gd name="connsiteY9627" fmla="*/ 4792186 h 5973007"/>
              <a:gd name="connsiteX9628" fmla="*/ 6093417 w 6884782"/>
              <a:gd name="connsiteY9628" fmla="*/ 4795904 h 5973007"/>
              <a:gd name="connsiteX9629" fmla="*/ 6094191 w 6884782"/>
              <a:gd name="connsiteY9629" fmla="*/ 4790947 h 5973007"/>
              <a:gd name="connsiteX9630" fmla="*/ 5930621 w 6884782"/>
              <a:gd name="connsiteY9630" fmla="*/ 4790638 h 5973007"/>
              <a:gd name="connsiteX9631" fmla="*/ 5925974 w 6884782"/>
              <a:gd name="connsiteY9631" fmla="*/ 4800550 h 5973007"/>
              <a:gd name="connsiteX9632" fmla="*/ 5930621 w 6884782"/>
              <a:gd name="connsiteY9632" fmla="*/ 4790638 h 5973007"/>
              <a:gd name="connsiteX9633" fmla="*/ 1869405 w 6884782"/>
              <a:gd name="connsiteY9633" fmla="*/ 4790620 h 5973007"/>
              <a:gd name="connsiteX9634" fmla="*/ 1871728 w 6884782"/>
              <a:gd name="connsiteY9634" fmla="*/ 4792375 h 5973007"/>
              <a:gd name="connsiteX9635" fmla="*/ 1870799 w 6884782"/>
              <a:gd name="connsiteY9635" fmla="*/ 4793305 h 5973007"/>
              <a:gd name="connsiteX9636" fmla="*/ 1871573 w 6884782"/>
              <a:gd name="connsiteY9636" fmla="*/ 4793305 h 5973007"/>
              <a:gd name="connsiteX9637" fmla="*/ 1870489 w 6884782"/>
              <a:gd name="connsiteY9637" fmla="*/ 4793614 h 5973007"/>
              <a:gd name="connsiteX9638" fmla="*/ 1870024 w 6884782"/>
              <a:gd name="connsiteY9638" fmla="*/ 4793305 h 5973007"/>
              <a:gd name="connsiteX9639" fmla="*/ 1869095 w 6884782"/>
              <a:gd name="connsiteY9639" fmla="*/ 4791962 h 5973007"/>
              <a:gd name="connsiteX9640" fmla="*/ 1869405 w 6884782"/>
              <a:gd name="connsiteY9640" fmla="*/ 4790620 h 5973007"/>
              <a:gd name="connsiteX9641" fmla="*/ 1681670 w 6884782"/>
              <a:gd name="connsiteY9641" fmla="*/ 4790516 h 5973007"/>
              <a:gd name="connsiteX9642" fmla="*/ 1682755 w 6884782"/>
              <a:gd name="connsiteY9642" fmla="*/ 4790723 h 5973007"/>
              <a:gd name="connsiteX9643" fmla="*/ 1690809 w 6884782"/>
              <a:gd name="connsiteY9643" fmla="*/ 4796506 h 5973007"/>
              <a:gd name="connsiteX9644" fmla="*/ 1686472 w 6884782"/>
              <a:gd name="connsiteY9644" fmla="*/ 4800739 h 5973007"/>
              <a:gd name="connsiteX9645" fmla="*/ 1683994 w 6884782"/>
              <a:gd name="connsiteY9645" fmla="*/ 4800739 h 5973007"/>
              <a:gd name="connsiteX9646" fmla="*/ 1676249 w 6884782"/>
              <a:gd name="connsiteY9646" fmla="*/ 4796918 h 5973007"/>
              <a:gd name="connsiteX9647" fmla="*/ 1681670 w 6884782"/>
              <a:gd name="connsiteY9647" fmla="*/ 4790516 h 5973007"/>
              <a:gd name="connsiteX9648" fmla="*/ 6317242 w 6884782"/>
              <a:gd name="connsiteY9648" fmla="*/ 4790431 h 5973007"/>
              <a:gd name="connsiteX9649" fmla="*/ 6317087 w 6884782"/>
              <a:gd name="connsiteY9649" fmla="*/ 4799414 h 5973007"/>
              <a:gd name="connsiteX9650" fmla="*/ 6313989 w 6884782"/>
              <a:gd name="connsiteY9650" fmla="*/ 4797763 h 5973007"/>
              <a:gd name="connsiteX9651" fmla="*/ 6317242 w 6884782"/>
              <a:gd name="connsiteY9651" fmla="*/ 4790431 h 5973007"/>
              <a:gd name="connsiteX9652" fmla="*/ 1740531 w 6884782"/>
              <a:gd name="connsiteY9652" fmla="*/ 4790310 h 5973007"/>
              <a:gd name="connsiteX9653" fmla="*/ 1743938 w 6884782"/>
              <a:gd name="connsiteY9653" fmla="*/ 4792582 h 5973007"/>
              <a:gd name="connsiteX9654" fmla="*/ 1744868 w 6884782"/>
              <a:gd name="connsiteY9654" fmla="*/ 4797435 h 5973007"/>
              <a:gd name="connsiteX9655" fmla="*/ 1746417 w 6884782"/>
              <a:gd name="connsiteY9655" fmla="*/ 4799500 h 5973007"/>
              <a:gd name="connsiteX9656" fmla="*/ 1745952 w 6884782"/>
              <a:gd name="connsiteY9656" fmla="*/ 4800223 h 5973007"/>
              <a:gd name="connsiteX9657" fmla="*/ 1738672 w 6884782"/>
              <a:gd name="connsiteY9657" fmla="*/ 4793408 h 5973007"/>
              <a:gd name="connsiteX9658" fmla="*/ 1738672 w 6884782"/>
              <a:gd name="connsiteY9658" fmla="*/ 4791652 h 5973007"/>
              <a:gd name="connsiteX9659" fmla="*/ 1740531 w 6884782"/>
              <a:gd name="connsiteY9659" fmla="*/ 4790310 h 5973007"/>
              <a:gd name="connsiteX9660" fmla="*/ 1011434 w 6884782"/>
              <a:gd name="connsiteY9660" fmla="*/ 4790310 h 5973007"/>
              <a:gd name="connsiteX9661" fmla="*/ 1012828 w 6884782"/>
              <a:gd name="connsiteY9661" fmla="*/ 4792375 h 5973007"/>
              <a:gd name="connsiteX9662" fmla="*/ 1008336 w 6884782"/>
              <a:gd name="connsiteY9662" fmla="*/ 4793614 h 5973007"/>
              <a:gd name="connsiteX9663" fmla="*/ 1006632 w 6884782"/>
              <a:gd name="connsiteY9663" fmla="*/ 4794647 h 5973007"/>
              <a:gd name="connsiteX9664" fmla="*/ 1006942 w 6884782"/>
              <a:gd name="connsiteY9664" fmla="*/ 4792788 h 5973007"/>
              <a:gd name="connsiteX9665" fmla="*/ 1009885 w 6884782"/>
              <a:gd name="connsiteY9665" fmla="*/ 4792582 h 5973007"/>
              <a:gd name="connsiteX9666" fmla="*/ 1010195 w 6884782"/>
              <a:gd name="connsiteY9666" fmla="*/ 4790620 h 5973007"/>
              <a:gd name="connsiteX9667" fmla="*/ 1011434 w 6884782"/>
              <a:gd name="connsiteY9667" fmla="*/ 4790310 h 5973007"/>
              <a:gd name="connsiteX9668" fmla="*/ 1124353 w 6884782"/>
              <a:gd name="connsiteY9668" fmla="*/ 4789690 h 5973007"/>
              <a:gd name="connsiteX9669" fmla="*/ 1126058 w 6884782"/>
              <a:gd name="connsiteY9669" fmla="*/ 4790826 h 5973007"/>
              <a:gd name="connsiteX9670" fmla="*/ 1126367 w 6884782"/>
              <a:gd name="connsiteY9670" fmla="*/ 4790826 h 5973007"/>
              <a:gd name="connsiteX9671" fmla="*/ 1125748 w 6884782"/>
              <a:gd name="connsiteY9671" fmla="*/ 4798777 h 5973007"/>
              <a:gd name="connsiteX9672" fmla="*/ 1123114 w 6884782"/>
              <a:gd name="connsiteY9672" fmla="*/ 4800739 h 5973007"/>
              <a:gd name="connsiteX9673" fmla="*/ 1119397 w 6884782"/>
              <a:gd name="connsiteY9673" fmla="*/ 4800842 h 5973007"/>
              <a:gd name="connsiteX9674" fmla="*/ 1116608 w 6884782"/>
              <a:gd name="connsiteY9674" fmla="*/ 4801668 h 5973007"/>
              <a:gd name="connsiteX9675" fmla="*/ 1113665 w 6884782"/>
              <a:gd name="connsiteY9675" fmla="*/ 4801152 h 5973007"/>
              <a:gd name="connsiteX9676" fmla="*/ 1112271 w 6884782"/>
              <a:gd name="connsiteY9676" fmla="*/ 4796918 h 5973007"/>
              <a:gd name="connsiteX9677" fmla="*/ 1116144 w 6884782"/>
              <a:gd name="connsiteY9677" fmla="*/ 4792788 h 5973007"/>
              <a:gd name="connsiteX9678" fmla="*/ 1115989 w 6884782"/>
              <a:gd name="connsiteY9678" fmla="*/ 4792066 h 5973007"/>
              <a:gd name="connsiteX9679" fmla="*/ 1124353 w 6884782"/>
              <a:gd name="connsiteY9679" fmla="*/ 4789690 h 5973007"/>
              <a:gd name="connsiteX9680" fmla="*/ 1542419 w 6884782"/>
              <a:gd name="connsiteY9680" fmla="*/ 4789174 h 5973007"/>
              <a:gd name="connsiteX9681" fmla="*/ 1546911 w 6884782"/>
              <a:gd name="connsiteY9681" fmla="*/ 4792891 h 5973007"/>
              <a:gd name="connsiteX9682" fmla="*/ 1540405 w 6884782"/>
              <a:gd name="connsiteY9682" fmla="*/ 4802391 h 5973007"/>
              <a:gd name="connsiteX9683" fmla="*/ 1534518 w 6884782"/>
              <a:gd name="connsiteY9683" fmla="*/ 4798261 h 5973007"/>
              <a:gd name="connsiteX9684" fmla="*/ 1535603 w 6884782"/>
              <a:gd name="connsiteY9684" fmla="*/ 4790104 h 5973007"/>
              <a:gd name="connsiteX9685" fmla="*/ 1542419 w 6884782"/>
              <a:gd name="connsiteY9685" fmla="*/ 4789174 h 5973007"/>
              <a:gd name="connsiteX9686" fmla="*/ 1051126 w 6884782"/>
              <a:gd name="connsiteY9686" fmla="*/ 4788477 h 5973007"/>
              <a:gd name="connsiteX9687" fmla="*/ 1054650 w 6884782"/>
              <a:gd name="connsiteY9687" fmla="*/ 4792891 h 5973007"/>
              <a:gd name="connsiteX9688" fmla="*/ 1053876 w 6884782"/>
              <a:gd name="connsiteY9688" fmla="*/ 4797228 h 5973007"/>
              <a:gd name="connsiteX9689" fmla="*/ 1047215 w 6884782"/>
              <a:gd name="connsiteY9689" fmla="*/ 4800945 h 5973007"/>
              <a:gd name="connsiteX9690" fmla="*/ 1044891 w 6884782"/>
              <a:gd name="connsiteY9690" fmla="*/ 4796712 h 5973007"/>
              <a:gd name="connsiteX9691" fmla="*/ 1043652 w 6884782"/>
              <a:gd name="connsiteY9691" fmla="*/ 4792582 h 5973007"/>
              <a:gd name="connsiteX9692" fmla="*/ 1051126 w 6884782"/>
              <a:gd name="connsiteY9692" fmla="*/ 4788477 h 5973007"/>
              <a:gd name="connsiteX9693" fmla="*/ 6470745 w 6884782"/>
              <a:gd name="connsiteY9693" fmla="*/ 4788469 h 5973007"/>
              <a:gd name="connsiteX9694" fmla="*/ 6471984 w 6884782"/>
              <a:gd name="connsiteY9694" fmla="*/ 4790018 h 5973007"/>
              <a:gd name="connsiteX9695" fmla="*/ 6471519 w 6884782"/>
              <a:gd name="connsiteY9695" fmla="*/ 4792393 h 5973007"/>
              <a:gd name="connsiteX9696" fmla="*/ 6466252 w 6884782"/>
              <a:gd name="connsiteY9696" fmla="*/ 4798382 h 5973007"/>
              <a:gd name="connsiteX9697" fmla="*/ 6464703 w 6884782"/>
              <a:gd name="connsiteY9697" fmla="*/ 4799414 h 5973007"/>
              <a:gd name="connsiteX9698" fmla="*/ 6463155 w 6884782"/>
              <a:gd name="connsiteY9698" fmla="*/ 4800550 h 5973007"/>
              <a:gd name="connsiteX9699" fmla="*/ 6461606 w 6884782"/>
              <a:gd name="connsiteY9699" fmla="*/ 4800757 h 5973007"/>
              <a:gd name="connsiteX9700" fmla="*/ 6459747 w 6884782"/>
              <a:gd name="connsiteY9700" fmla="*/ 4799518 h 5973007"/>
              <a:gd name="connsiteX9701" fmla="*/ 6470745 w 6884782"/>
              <a:gd name="connsiteY9701" fmla="*/ 4788469 h 5973007"/>
              <a:gd name="connsiteX9702" fmla="*/ 1421135 w 6884782"/>
              <a:gd name="connsiteY9702" fmla="*/ 4786903 h 5973007"/>
              <a:gd name="connsiteX9703" fmla="*/ 1423458 w 6884782"/>
              <a:gd name="connsiteY9703" fmla="*/ 4787419 h 5973007"/>
              <a:gd name="connsiteX9704" fmla="*/ 1427176 w 6884782"/>
              <a:gd name="connsiteY9704" fmla="*/ 4787109 h 5973007"/>
              <a:gd name="connsiteX9705" fmla="*/ 1428105 w 6884782"/>
              <a:gd name="connsiteY9705" fmla="*/ 4798261 h 5973007"/>
              <a:gd name="connsiteX9706" fmla="*/ 1419896 w 6884782"/>
              <a:gd name="connsiteY9706" fmla="*/ 4808173 h 5973007"/>
              <a:gd name="connsiteX9707" fmla="*/ 1417108 w 6884782"/>
              <a:gd name="connsiteY9707" fmla="*/ 4808277 h 5973007"/>
              <a:gd name="connsiteX9708" fmla="*/ 1416333 w 6884782"/>
              <a:gd name="connsiteY9708" fmla="*/ 4810858 h 5973007"/>
              <a:gd name="connsiteX9709" fmla="*/ 1407194 w 6884782"/>
              <a:gd name="connsiteY9709" fmla="*/ 4814369 h 5973007"/>
              <a:gd name="connsiteX9710" fmla="*/ 1403786 w 6884782"/>
              <a:gd name="connsiteY9710" fmla="*/ 4814369 h 5973007"/>
              <a:gd name="connsiteX9711" fmla="*/ 1399139 w 6884782"/>
              <a:gd name="connsiteY9711" fmla="*/ 4807864 h 5973007"/>
              <a:gd name="connsiteX9712" fmla="*/ 1399139 w 6884782"/>
              <a:gd name="connsiteY9712" fmla="*/ 4804663 h 5973007"/>
              <a:gd name="connsiteX9713" fmla="*/ 1408279 w 6884782"/>
              <a:gd name="connsiteY9713" fmla="*/ 4804869 h 5973007"/>
              <a:gd name="connsiteX9714" fmla="*/ 1410757 w 6884782"/>
              <a:gd name="connsiteY9714" fmla="*/ 4804663 h 5973007"/>
              <a:gd name="connsiteX9715" fmla="*/ 1409053 w 6884782"/>
              <a:gd name="connsiteY9715" fmla="*/ 4802494 h 5973007"/>
              <a:gd name="connsiteX9716" fmla="*/ 1408588 w 6884782"/>
              <a:gd name="connsiteY9716" fmla="*/ 4796609 h 5973007"/>
              <a:gd name="connsiteX9717" fmla="*/ 1421135 w 6884782"/>
              <a:gd name="connsiteY9717" fmla="*/ 4786903 h 5973007"/>
              <a:gd name="connsiteX9718" fmla="*/ 1456451 w 6884782"/>
              <a:gd name="connsiteY9718" fmla="*/ 4786180 h 5973007"/>
              <a:gd name="connsiteX9719" fmla="*/ 1459084 w 6884782"/>
              <a:gd name="connsiteY9719" fmla="*/ 4789277 h 5973007"/>
              <a:gd name="connsiteX9720" fmla="*/ 1450100 w 6884782"/>
              <a:gd name="connsiteY9720" fmla="*/ 4793717 h 5973007"/>
              <a:gd name="connsiteX9721" fmla="*/ 1446848 w 6884782"/>
              <a:gd name="connsiteY9721" fmla="*/ 4793408 h 5973007"/>
              <a:gd name="connsiteX9722" fmla="*/ 1444679 w 6884782"/>
              <a:gd name="connsiteY9722" fmla="*/ 4789690 h 5973007"/>
              <a:gd name="connsiteX9723" fmla="*/ 1456451 w 6884782"/>
              <a:gd name="connsiteY9723" fmla="*/ 4786180 h 5973007"/>
              <a:gd name="connsiteX9724" fmla="*/ 1702117 w 6884782"/>
              <a:gd name="connsiteY9724" fmla="*/ 4785870 h 5973007"/>
              <a:gd name="connsiteX9725" fmla="*/ 1706298 w 6884782"/>
              <a:gd name="connsiteY9725" fmla="*/ 4788555 h 5973007"/>
              <a:gd name="connsiteX9726" fmla="*/ 1700877 w 6884782"/>
              <a:gd name="connsiteY9726" fmla="*/ 4792478 h 5973007"/>
              <a:gd name="connsiteX9727" fmla="*/ 1699948 w 6884782"/>
              <a:gd name="connsiteY9727" fmla="*/ 4790826 h 5973007"/>
              <a:gd name="connsiteX9728" fmla="*/ 1700258 w 6884782"/>
              <a:gd name="connsiteY9728" fmla="*/ 4787935 h 5973007"/>
              <a:gd name="connsiteX9729" fmla="*/ 1702117 w 6884782"/>
              <a:gd name="connsiteY9729" fmla="*/ 4785870 h 5973007"/>
              <a:gd name="connsiteX9730" fmla="*/ 1615530 w 6884782"/>
              <a:gd name="connsiteY9730" fmla="*/ 4785457 h 5973007"/>
              <a:gd name="connsiteX9731" fmla="*/ 1618008 w 6884782"/>
              <a:gd name="connsiteY9731" fmla="*/ 4786800 h 5973007"/>
              <a:gd name="connsiteX9732" fmla="*/ 1618163 w 6884782"/>
              <a:gd name="connsiteY9732" fmla="*/ 4788761 h 5973007"/>
              <a:gd name="connsiteX9733" fmla="*/ 1619092 w 6884782"/>
              <a:gd name="connsiteY9733" fmla="*/ 4789794 h 5973007"/>
              <a:gd name="connsiteX9734" fmla="*/ 1620021 w 6884782"/>
              <a:gd name="connsiteY9734" fmla="*/ 4788658 h 5973007"/>
              <a:gd name="connsiteX9735" fmla="*/ 1624049 w 6884782"/>
              <a:gd name="connsiteY9735" fmla="*/ 4789277 h 5973007"/>
              <a:gd name="connsiteX9736" fmla="*/ 1621571 w 6884782"/>
              <a:gd name="connsiteY9736" fmla="*/ 4793305 h 5973007"/>
              <a:gd name="connsiteX9737" fmla="*/ 1617388 w 6884782"/>
              <a:gd name="connsiteY9737" fmla="*/ 4791549 h 5973007"/>
              <a:gd name="connsiteX9738" fmla="*/ 1618163 w 6884782"/>
              <a:gd name="connsiteY9738" fmla="*/ 4790826 h 5973007"/>
              <a:gd name="connsiteX9739" fmla="*/ 1617699 w 6884782"/>
              <a:gd name="connsiteY9739" fmla="*/ 4790310 h 5973007"/>
              <a:gd name="connsiteX9740" fmla="*/ 1615375 w 6884782"/>
              <a:gd name="connsiteY9740" fmla="*/ 4788142 h 5973007"/>
              <a:gd name="connsiteX9741" fmla="*/ 1615530 w 6884782"/>
              <a:gd name="connsiteY9741" fmla="*/ 4785457 h 5973007"/>
              <a:gd name="connsiteX9742" fmla="*/ 945293 w 6884782"/>
              <a:gd name="connsiteY9742" fmla="*/ 4785457 h 5973007"/>
              <a:gd name="connsiteX9743" fmla="*/ 944829 w 6884782"/>
              <a:gd name="connsiteY9743" fmla="*/ 4793614 h 5973007"/>
              <a:gd name="connsiteX9744" fmla="*/ 944209 w 6884782"/>
              <a:gd name="connsiteY9744" fmla="*/ 4786696 h 5973007"/>
              <a:gd name="connsiteX9745" fmla="*/ 945293 w 6884782"/>
              <a:gd name="connsiteY9745" fmla="*/ 4785457 h 5973007"/>
              <a:gd name="connsiteX9746" fmla="*/ 1490993 w 6884782"/>
              <a:gd name="connsiteY9746" fmla="*/ 4785354 h 5973007"/>
              <a:gd name="connsiteX9747" fmla="*/ 1502765 w 6884782"/>
              <a:gd name="connsiteY9747" fmla="*/ 4791033 h 5973007"/>
              <a:gd name="connsiteX9748" fmla="*/ 1500286 w 6884782"/>
              <a:gd name="connsiteY9748" fmla="*/ 4791239 h 5973007"/>
              <a:gd name="connsiteX9749" fmla="*/ 1490993 w 6884782"/>
              <a:gd name="connsiteY9749" fmla="*/ 4785354 h 5973007"/>
              <a:gd name="connsiteX9750" fmla="*/ 1815656 w 6884782"/>
              <a:gd name="connsiteY9750" fmla="*/ 4785250 h 5973007"/>
              <a:gd name="connsiteX9751" fmla="*/ 1821696 w 6884782"/>
              <a:gd name="connsiteY9751" fmla="*/ 4792375 h 5973007"/>
              <a:gd name="connsiteX9752" fmla="*/ 1815656 w 6884782"/>
              <a:gd name="connsiteY9752" fmla="*/ 4785250 h 5973007"/>
              <a:gd name="connsiteX9753" fmla="*/ 1608404 w 6884782"/>
              <a:gd name="connsiteY9753" fmla="*/ 4785044 h 5973007"/>
              <a:gd name="connsiteX9754" fmla="*/ 1609643 w 6884782"/>
              <a:gd name="connsiteY9754" fmla="*/ 4786593 h 5973007"/>
              <a:gd name="connsiteX9755" fmla="*/ 1611967 w 6884782"/>
              <a:gd name="connsiteY9755" fmla="*/ 4791859 h 5973007"/>
              <a:gd name="connsiteX9756" fmla="*/ 1610263 w 6884782"/>
              <a:gd name="connsiteY9756" fmla="*/ 4792582 h 5973007"/>
              <a:gd name="connsiteX9757" fmla="*/ 1609333 w 6884782"/>
              <a:gd name="connsiteY9757" fmla="*/ 4791343 h 5973007"/>
              <a:gd name="connsiteX9758" fmla="*/ 1608559 w 6884782"/>
              <a:gd name="connsiteY9758" fmla="*/ 4788968 h 5973007"/>
              <a:gd name="connsiteX9759" fmla="*/ 1607320 w 6884782"/>
              <a:gd name="connsiteY9759" fmla="*/ 4787316 h 5973007"/>
              <a:gd name="connsiteX9760" fmla="*/ 1608404 w 6884782"/>
              <a:gd name="connsiteY9760" fmla="*/ 4785044 h 5973007"/>
              <a:gd name="connsiteX9761" fmla="*/ 1589197 w 6884782"/>
              <a:gd name="connsiteY9761" fmla="*/ 4784838 h 5973007"/>
              <a:gd name="connsiteX9762" fmla="*/ 1592295 w 6884782"/>
              <a:gd name="connsiteY9762" fmla="*/ 4792788 h 5973007"/>
              <a:gd name="connsiteX9763" fmla="*/ 1591366 w 6884782"/>
              <a:gd name="connsiteY9763" fmla="*/ 4794440 h 5973007"/>
              <a:gd name="connsiteX9764" fmla="*/ 1589197 w 6884782"/>
              <a:gd name="connsiteY9764" fmla="*/ 4793201 h 5973007"/>
              <a:gd name="connsiteX9765" fmla="*/ 1589197 w 6884782"/>
              <a:gd name="connsiteY9765" fmla="*/ 4784838 h 5973007"/>
              <a:gd name="connsiteX9766" fmla="*/ 5991031 w 6884782"/>
              <a:gd name="connsiteY9766" fmla="*/ 4784442 h 5973007"/>
              <a:gd name="connsiteX9767" fmla="*/ 5995213 w 6884782"/>
              <a:gd name="connsiteY9767" fmla="*/ 4784545 h 5973007"/>
              <a:gd name="connsiteX9768" fmla="*/ 5996607 w 6884782"/>
              <a:gd name="connsiteY9768" fmla="*/ 4786301 h 5973007"/>
              <a:gd name="connsiteX9769" fmla="*/ 5996607 w 6884782"/>
              <a:gd name="connsiteY9769" fmla="*/ 4787127 h 5973007"/>
              <a:gd name="connsiteX9770" fmla="*/ 5994748 w 6884782"/>
              <a:gd name="connsiteY9770" fmla="*/ 4787850 h 5973007"/>
              <a:gd name="connsiteX9771" fmla="*/ 5986539 w 6884782"/>
              <a:gd name="connsiteY9771" fmla="*/ 4787024 h 5973007"/>
              <a:gd name="connsiteX9772" fmla="*/ 5984989 w 6884782"/>
              <a:gd name="connsiteY9772" fmla="*/ 4786920 h 5973007"/>
              <a:gd name="connsiteX9773" fmla="*/ 5983441 w 6884782"/>
              <a:gd name="connsiteY9773" fmla="*/ 4785165 h 5973007"/>
              <a:gd name="connsiteX9774" fmla="*/ 5991031 w 6884782"/>
              <a:gd name="connsiteY9774" fmla="*/ 4784442 h 5973007"/>
              <a:gd name="connsiteX9775" fmla="*/ 6236812 w 6884782"/>
              <a:gd name="connsiteY9775" fmla="*/ 4784365 h 5973007"/>
              <a:gd name="connsiteX9776" fmla="*/ 6242737 w 6884782"/>
              <a:gd name="connsiteY9776" fmla="*/ 4786198 h 5973007"/>
              <a:gd name="connsiteX9777" fmla="*/ 6243976 w 6884782"/>
              <a:gd name="connsiteY9777" fmla="*/ 4791464 h 5973007"/>
              <a:gd name="connsiteX9778" fmla="*/ 6238865 w 6884782"/>
              <a:gd name="connsiteY9778" fmla="*/ 4792909 h 5973007"/>
              <a:gd name="connsiteX9779" fmla="*/ 6233908 w 6884782"/>
              <a:gd name="connsiteY9779" fmla="*/ 4791670 h 5973007"/>
              <a:gd name="connsiteX9780" fmla="*/ 6236812 w 6884782"/>
              <a:gd name="connsiteY9780" fmla="*/ 4784365 h 5973007"/>
              <a:gd name="connsiteX9781" fmla="*/ 1841523 w 6884782"/>
              <a:gd name="connsiteY9781" fmla="*/ 4783185 h 5973007"/>
              <a:gd name="connsiteX9782" fmla="*/ 1840903 w 6884782"/>
              <a:gd name="connsiteY9782" fmla="*/ 4787316 h 5973007"/>
              <a:gd name="connsiteX9783" fmla="*/ 1839974 w 6884782"/>
              <a:gd name="connsiteY9783" fmla="*/ 4790516 h 5973007"/>
              <a:gd name="connsiteX9784" fmla="*/ 1840284 w 6884782"/>
              <a:gd name="connsiteY9784" fmla="*/ 4790620 h 5973007"/>
              <a:gd name="connsiteX9785" fmla="*/ 1849578 w 6884782"/>
              <a:gd name="connsiteY9785" fmla="*/ 4798054 h 5973007"/>
              <a:gd name="connsiteX9786" fmla="*/ 1843227 w 6884782"/>
              <a:gd name="connsiteY9786" fmla="*/ 4798777 h 5973007"/>
              <a:gd name="connsiteX9787" fmla="*/ 1828047 w 6884782"/>
              <a:gd name="connsiteY9787" fmla="*/ 4789174 h 5973007"/>
              <a:gd name="connsiteX9788" fmla="*/ 1834244 w 6884782"/>
              <a:gd name="connsiteY9788" fmla="*/ 4788555 h 5973007"/>
              <a:gd name="connsiteX9789" fmla="*/ 1839819 w 6884782"/>
              <a:gd name="connsiteY9789" fmla="*/ 4790413 h 5973007"/>
              <a:gd name="connsiteX9790" fmla="*/ 1839355 w 6884782"/>
              <a:gd name="connsiteY9790" fmla="*/ 4787419 h 5973007"/>
              <a:gd name="connsiteX9791" fmla="*/ 1840594 w 6884782"/>
              <a:gd name="connsiteY9791" fmla="*/ 4784011 h 5973007"/>
              <a:gd name="connsiteX9792" fmla="*/ 1841523 w 6884782"/>
              <a:gd name="connsiteY9792" fmla="*/ 4783185 h 5973007"/>
              <a:gd name="connsiteX9793" fmla="*/ 1343532 w 6884782"/>
              <a:gd name="connsiteY9793" fmla="*/ 4782669 h 5973007"/>
              <a:gd name="connsiteX9794" fmla="*/ 1348798 w 6884782"/>
              <a:gd name="connsiteY9794" fmla="*/ 4784631 h 5973007"/>
              <a:gd name="connsiteX9795" fmla="*/ 1349573 w 6884782"/>
              <a:gd name="connsiteY9795" fmla="*/ 4790826 h 5973007"/>
              <a:gd name="connsiteX9796" fmla="*/ 1352980 w 6884782"/>
              <a:gd name="connsiteY9796" fmla="*/ 4790310 h 5973007"/>
              <a:gd name="connsiteX9797" fmla="*/ 1356233 w 6884782"/>
              <a:gd name="connsiteY9797" fmla="*/ 4798054 h 5973007"/>
              <a:gd name="connsiteX9798" fmla="*/ 1351431 w 6884782"/>
              <a:gd name="connsiteY9798" fmla="*/ 4802184 h 5973007"/>
              <a:gd name="connsiteX9799" fmla="*/ 1344925 w 6884782"/>
              <a:gd name="connsiteY9799" fmla="*/ 4795163 h 5973007"/>
              <a:gd name="connsiteX9800" fmla="*/ 1347249 w 6884782"/>
              <a:gd name="connsiteY9800" fmla="*/ 4791343 h 5973007"/>
              <a:gd name="connsiteX9801" fmla="*/ 1346320 w 6884782"/>
              <a:gd name="connsiteY9801" fmla="*/ 4791239 h 5973007"/>
              <a:gd name="connsiteX9802" fmla="*/ 1344771 w 6884782"/>
              <a:gd name="connsiteY9802" fmla="*/ 4789174 h 5973007"/>
              <a:gd name="connsiteX9803" fmla="*/ 1343532 w 6884782"/>
              <a:gd name="connsiteY9803" fmla="*/ 4782669 h 5973007"/>
              <a:gd name="connsiteX9804" fmla="*/ 888136 w 6884782"/>
              <a:gd name="connsiteY9804" fmla="*/ 4782049 h 5973007"/>
              <a:gd name="connsiteX9805" fmla="*/ 893868 w 6884782"/>
              <a:gd name="connsiteY9805" fmla="*/ 4783908 h 5973007"/>
              <a:gd name="connsiteX9806" fmla="*/ 894332 w 6884782"/>
              <a:gd name="connsiteY9806" fmla="*/ 4795163 h 5973007"/>
              <a:gd name="connsiteX9807" fmla="*/ 886433 w 6884782"/>
              <a:gd name="connsiteY9807" fmla="*/ 4799397 h 5973007"/>
              <a:gd name="connsiteX9808" fmla="*/ 887207 w 6884782"/>
              <a:gd name="connsiteY9808" fmla="*/ 4799500 h 5973007"/>
              <a:gd name="connsiteX9809" fmla="*/ 888756 w 6884782"/>
              <a:gd name="connsiteY9809" fmla="*/ 4801358 h 5973007"/>
              <a:gd name="connsiteX9810" fmla="*/ 890150 w 6884782"/>
              <a:gd name="connsiteY9810" fmla="*/ 4801255 h 5973007"/>
              <a:gd name="connsiteX9811" fmla="*/ 891854 w 6884782"/>
              <a:gd name="connsiteY9811" fmla="*/ 4801255 h 5973007"/>
              <a:gd name="connsiteX9812" fmla="*/ 892009 w 6884782"/>
              <a:gd name="connsiteY9812" fmla="*/ 4802081 h 5973007"/>
              <a:gd name="connsiteX9813" fmla="*/ 889685 w 6884782"/>
              <a:gd name="connsiteY9813" fmla="*/ 4802598 h 5973007"/>
              <a:gd name="connsiteX9814" fmla="*/ 892164 w 6884782"/>
              <a:gd name="connsiteY9814" fmla="*/ 4805695 h 5973007"/>
              <a:gd name="connsiteX9815" fmla="*/ 894177 w 6884782"/>
              <a:gd name="connsiteY9815" fmla="*/ 4805282 h 5973007"/>
              <a:gd name="connsiteX9816" fmla="*/ 892938 w 6884782"/>
              <a:gd name="connsiteY9816" fmla="*/ 4806831 h 5973007"/>
              <a:gd name="connsiteX9817" fmla="*/ 894177 w 6884782"/>
              <a:gd name="connsiteY9817" fmla="*/ 4809206 h 5973007"/>
              <a:gd name="connsiteX9818" fmla="*/ 894332 w 6884782"/>
              <a:gd name="connsiteY9818" fmla="*/ 4811684 h 5973007"/>
              <a:gd name="connsiteX9819" fmla="*/ 892009 w 6884782"/>
              <a:gd name="connsiteY9819" fmla="*/ 4810755 h 5973007"/>
              <a:gd name="connsiteX9820" fmla="*/ 891235 w 6884782"/>
              <a:gd name="connsiteY9820" fmla="*/ 4809929 h 5973007"/>
              <a:gd name="connsiteX9821" fmla="*/ 890460 w 6884782"/>
              <a:gd name="connsiteY9821" fmla="*/ 4809929 h 5973007"/>
              <a:gd name="connsiteX9822" fmla="*/ 890460 w 6884782"/>
              <a:gd name="connsiteY9822" fmla="*/ 4809619 h 5973007"/>
              <a:gd name="connsiteX9823" fmla="*/ 886897 w 6884782"/>
              <a:gd name="connsiteY9823" fmla="*/ 4811065 h 5973007"/>
              <a:gd name="connsiteX9824" fmla="*/ 881166 w 6884782"/>
              <a:gd name="connsiteY9824" fmla="*/ 4814059 h 5973007"/>
              <a:gd name="connsiteX9825" fmla="*/ 880701 w 6884782"/>
              <a:gd name="connsiteY9825" fmla="*/ 4810548 h 5973007"/>
              <a:gd name="connsiteX9826" fmla="*/ 882251 w 6884782"/>
              <a:gd name="connsiteY9826" fmla="*/ 4810445 h 5973007"/>
              <a:gd name="connsiteX9827" fmla="*/ 887362 w 6884782"/>
              <a:gd name="connsiteY9827" fmla="*/ 4806624 h 5973007"/>
              <a:gd name="connsiteX9828" fmla="*/ 887826 w 6884782"/>
              <a:gd name="connsiteY9828" fmla="*/ 4806521 h 5973007"/>
              <a:gd name="connsiteX9829" fmla="*/ 886278 w 6884782"/>
              <a:gd name="connsiteY9829" fmla="*/ 4805592 h 5973007"/>
              <a:gd name="connsiteX9830" fmla="*/ 884264 w 6884782"/>
              <a:gd name="connsiteY9830" fmla="*/ 4804559 h 5973007"/>
              <a:gd name="connsiteX9831" fmla="*/ 884109 w 6884782"/>
              <a:gd name="connsiteY9831" fmla="*/ 4804456 h 5973007"/>
              <a:gd name="connsiteX9832" fmla="*/ 883645 w 6884782"/>
              <a:gd name="connsiteY9832" fmla="*/ 4804663 h 5973007"/>
              <a:gd name="connsiteX9833" fmla="*/ 880392 w 6884782"/>
              <a:gd name="connsiteY9833" fmla="*/ 4804456 h 5973007"/>
              <a:gd name="connsiteX9834" fmla="*/ 881321 w 6884782"/>
              <a:gd name="connsiteY9834" fmla="*/ 4804456 h 5973007"/>
              <a:gd name="connsiteX9835" fmla="*/ 880392 w 6884782"/>
              <a:gd name="connsiteY9835" fmla="*/ 4803630 h 5973007"/>
              <a:gd name="connsiteX9836" fmla="*/ 883025 w 6884782"/>
              <a:gd name="connsiteY9836" fmla="*/ 4802804 h 5973007"/>
              <a:gd name="connsiteX9837" fmla="*/ 882715 w 6884782"/>
              <a:gd name="connsiteY9837" fmla="*/ 4802288 h 5973007"/>
              <a:gd name="connsiteX9838" fmla="*/ 881321 w 6884782"/>
              <a:gd name="connsiteY9838" fmla="*/ 4799293 h 5973007"/>
              <a:gd name="connsiteX9839" fmla="*/ 883180 w 6884782"/>
              <a:gd name="connsiteY9839" fmla="*/ 4797641 h 5973007"/>
              <a:gd name="connsiteX9840" fmla="*/ 881631 w 6884782"/>
              <a:gd name="connsiteY9840" fmla="*/ 4795886 h 5973007"/>
              <a:gd name="connsiteX9841" fmla="*/ 883645 w 6884782"/>
              <a:gd name="connsiteY9841" fmla="*/ 4784631 h 5973007"/>
              <a:gd name="connsiteX9842" fmla="*/ 888136 w 6884782"/>
              <a:gd name="connsiteY9842" fmla="*/ 4782049 h 5973007"/>
              <a:gd name="connsiteX9843" fmla="*/ 5890658 w 6884782"/>
              <a:gd name="connsiteY9843" fmla="*/ 4781861 h 5973007"/>
              <a:gd name="connsiteX9844" fmla="*/ 5894840 w 6884782"/>
              <a:gd name="connsiteY9844" fmla="*/ 4781964 h 5973007"/>
              <a:gd name="connsiteX9845" fmla="*/ 5907696 w 6884782"/>
              <a:gd name="connsiteY9845" fmla="*/ 4785681 h 5973007"/>
              <a:gd name="connsiteX9846" fmla="*/ 5901810 w 6884782"/>
              <a:gd name="connsiteY9846" fmla="*/ 4786611 h 5973007"/>
              <a:gd name="connsiteX9847" fmla="*/ 5888644 w 6884782"/>
              <a:gd name="connsiteY9847" fmla="*/ 4786198 h 5973007"/>
              <a:gd name="connsiteX9848" fmla="*/ 5887095 w 6884782"/>
              <a:gd name="connsiteY9848" fmla="*/ 4784442 h 5973007"/>
              <a:gd name="connsiteX9849" fmla="*/ 5886321 w 6884782"/>
              <a:gd name="connsiteY9849" fmla="*/ 4784442 h 5973007"/>
              <a:gd name="connsiteX9850" fmla="*/ 5885701 w 6884782"/>
              <a:gd name="connsiteY9850" fmla="*/ 4783616 h 5973007"/>
              <a:gd name="connsiteX9851" fmla="*/ 5885701 w 6884782"/>
              <a:gd name="connsiteY9851" fmla="*/ 4782687 h 5973007"/>
              <a:gd name="connsiteX9852" fmla="*/ 5890658 w 6884782"/>
              <a:gd name="connsiteY9852" fmla="*/ 4781861 h 5973007"/>
              <a:gd name="connsiteX9853" fmla="*/ 1659985 w 6884782"/>
              <a:gd name="connsiteY9853" fmla="*/ 4780914 h 5973007"/>
              <a:gd name="connsiteX9854" fmla="*/ 1664476 w 6884782"/>
              <a:gd name="connsiteY9854" fmla="*/ 4783495 h 5973007"/>
              <a:gd name="connsiteX9855" fmla="*/ 1664476 w 6884782"/>
              <a:gd name="connsiteY9855" fmla="*/ 4785457 h 5973007"/>
              <a:gd name="connsiteX9856" fmla="*/ 1660759 w 6884782"/>
              <a:gd name="connsiteY9856" fmla="*/ 4786386 h 5973007"/>
              <a:gd name="connsiteX9857" fmla="*/ 1657816 w 6884782"/>
              <a:gd name="connsiteY9857" fmla="*/ 4783599 h 5973007"/>
              <a:gd name="connsiteX9858" fmla="*/ 1657816 w 6884782"/>
              <a:gd name="connsiteY9858" fmla="*/ 4781637 h 5973007"/>
              <a:gd name="connsiteX9859" fmla="*/ 1659985 w 6884782"/>
              <a:gd name="connsiteY9859" fmla="*/ 4780914 h 5973007"/>
              <a:gd name="connsiteX9860" fmla="*/ 6633230 w 6884782"/>
              <a:gd name="connsiteY9860" fmla="*/ 4780828 h 5973007"/>
              <a:gd name="connsiteX9861" fmla="*/ 6634469 w 6884782"/>
              <a:gd name="connsiteY9861" fmla="*/ 4789811 h 5973007"/>
              <a:gd name="connsiteX9862" fmla="*/ 6633230 w 6884782"/>
              <a:gd name="connsiteY9862" fmla="*/ 4780828 h 5973007"/>
              <a:gd name="connsiteX9863" fmla="*/ 6072041 w 6884782"/>
              <a:gd name="connsiteY9863" fmla="*/ 4780828 h 5973007"/>
              <a:gd name="connsiteX9864" fmla="*/ 6069098 w 6884782"/>
              <a:gd name="connsiteY9864" fmla="*/ 4787437 h 5973007"/>
              <a:gd name="connsiteX9865" fmla="*/ 6066465 w 6884782"/>
              <a:gd name="connsiteY9865" fmla="*/ 4787230 h 5973007"/>
              <a:gd name="connsiteX9866" fmla="*/ 6072041 w 6884782"/>
              <a:gd name="connsiteY9866" fmla="*/ 4780828 h 5973007"/>
              <a:gd name="connsiteX9867" fmla="*/ 1706454 w 6884782"/>
              <a:gd name="connsiteY9867" fmla="*/ 4780707 h 5973007"/>
              <a:gd name="connsiteX9868" fmla="*/ 1705989 w 6884782"/>
              <a:gd name="connsiteY9868" fmla="*/ 4780914 h 5973007"/>
              <a:gd name="connsiteX9869" fmla="*/ 1707073 w 6884782"/>
              <a:gd name="connsiteY9869" fmla="*/ 4782153 h 5973007"/>
              <a:gd name="connsiteX9870" fmla="*/ 1707693 w 6884782"/>
              <a:gd name="connsiteY9870" fmla="*/ 4782256 h 5973007"/>
              <a:gd name="connsiteX9871" fmla="*/ 692502 w 6884782"/>
              <a:gd name="connsiteY9871" fmla="*/ 4780398 h 5973007"/>
              <a:gd name="connsiteX9872" fmla="*/ 695910 w 6884782"/>
              <a:gd name="connsiteY9872" fmla="*/ 4790104 h 5973007"/>
              <a:gd name="connsiteX9873" fmla="*/ 693742 w 6884782"/>
              <a:gd name="connsiteY9873" fmla="*/ 4790000 h 5973007"/>
              <a:gd name="connsiteX9874" fmla="*/ 691108 w 6884782"/>
              <a:gd name="connsiteY9874" fmla="*/ 4789484 h 5973007"/>
              <a:gd name="connsiteX9875" fmla="*/ 692502 w 6884782"/>
              <a:gd name="connsiteY9875" fmla="*/ 4780398 h 5973007"/>
              <a:gd name="connsiteX9876" fmla="*/ 6254044 w 6884782"/>
              <a:gd name="connsiteY9876" fmla="*/ 4779279 h 5973007"/>
              <a:gd name="connsiteX9877" fmla="*/ 6260860 w 6884782"/>
              <a:gd name="connsiteY9877" fmla="*/ 4781551 h 5973007"/>
              <a:gd name="connsiteX9878" fmla="*/ 6256368 w 6884782"/>
              <a:gd name="connsiteY9878" fmla="*/ 4793735 h 5973007"/>
              <a:gd name="connsiteX9879" fmla="*/ 6254044 w 6884782"/>
              <a:gd name="connsiteY9879" fmla="*/ 4779279 h 5973007"/>
              <a:gd name="connsiteX9880" fmla="*/ 1472095 w 6884782"/>
              <a:gd name="connsiteY9880" fmla="*/ 4778539 h 5973007"/>
              <a:gd name="connsiteX9881" fmla="*/ 1473954 w 6884782"/>
              <a:gd name="connsiteY9881" fmla="*/ 4782049 h 5973007"/>
              <a:gd name="connsiteX9882" fmla="*/ 1468997 w 6884782"/>
              <a:gd name="connsiteY9882" fmla="*/ 4783599 h 5973007"/>
              <a:gd name="connsiteX9883" fmla="*/ 1467139 w 6884782"/>
              <a:gd name="connsiteY9883" fmla="*/ 4779984 h 5973007"/>
              <a:gd name="connsiteX9884" fmla="*/ 1472095 w 6884782"/>
              <a:gd name="connsiteY9884" fmla="*/ 4778539 h 5973007"/>
              <a:gd name="connsiteX9885" fmla="*/ 6445187 w 6884782"/>
              <a:gd name="connsiteY9885" fmla="*/ 4777524 h 5973007"/>
              <a:gd name="connsiteX9886" fmla="*/ 6451073 w 6884782"/>
              <a:gd name="connsiteY9886" fmla="*/ 4778350 h 5973007"/>
              <a:gd name="connsiteX9887" fmla="*/ 6444876 w 6884782"/>
              <a:gd name="connsiteY9887" fmla="*/ 4789915 h 5973007"/>
              <a:gd name="connsiteX9888" fmla="*/ 6443792 w 6884782"/>
              <a:gd name="connsiteY9888" fmla="*/ 4787230 h 5973007"/>
              <a:gd name="connsiteX9889" fmla="*/ 6445187 w 6884782"/>
              <a:gd name="connsiteY9889" fmla="*/ 4777524 h 5973007"/>
              <a:gd name="connsiteX9890" fmla="*/ 6040133 w 6884782"/>
              <a:gd name="connsiteY9890" fmla="*/ 4777421 h 5973007"/>
              <a:gd name="connsiteX9891" fmla="*/ 6045709 w 6884782"/>
              <a:gd name="connsiteY9891" fmla="*/ 4780209 h 5973007"/>
              <a:gd name="connsiteX9892" fmla="*/ 6044624 w 6884782"/>
              <a:gd name="connsiteY9892" fmla="*/ 4781861 h 5973007"/>
              <a:gd name="connsiteX9893" fmla="*/ 6042146 w 6884782"/>
              <a:gd name="connsiteY9893" fmla="*/ 4783306 h 5973007"/>
              <a:gd name="connsiteX9894" fmla="*/ 6039668 w 6884782"/>
              <a:gd name="connsiteY9894" fmla="*/ 4782687 h 5973007"/>
              <a:gd name="connsiteX9895" fmla="*/ 6040133 w 6884782"/>
              <a:gd name="connsiteY9895" fmla="*/ 4777421 h 5973007"/>
              <a:gd name="connsiteX9896" fmla="*/ 1603758 w 6884782"/>
              <a:gd name="connsiteY9896" fmla="*/ 4775957 h 5973007"/>
              <a:gd name="connsiteX9897" fmla="*/ 1606236 w 6884782"/>
              <a:gd name="connsiteY9897" fmla="*/ 4778333 h 5973007"/>
              <a:gd name="connsiteX9898" fmla="*/ 1599111 w 6884782"/>
              <a:gd name="connsiteY9898" fmla="*/ 4786800 h 5973007"/>
              <a:gd name="connsiteX9899" fmla="*/ 1595703 w 6884782"/>
              <a:gd name="connsiteY9899" fmla="*/ 4783082 h 5973007"/>
              <a:gd name="connsiteX9900" fmla="*/ 1595703 w 6884782"/>
              <a:gd name="connsiteY9900" fmla="*/ 4782979 h 5973007"/>
              <a:gd name="connsiteX9901" fmla="*/ 1593069 w 6884782"/>
              <a:gd name="connsiteY9901" fmla="*/ 4782772 h 5973007"/>
              <a:gd name="connsiteX9902" fmla="*/ 1600505 w 6884782"/>
              <a:gd name="connsiteY9902" fmla="*/ 4776680 h 5973007"/>
              <a:gd name="connsiteX9903" fmla="*/ 1601589 w 6884782"/>
              <a:gd name="connsiteY9903" fmla="*/ 4776887 h 5973007"/>
              <a:gd name="connsiteX9904" fmla="*/ 1361965 w 6884782"/>
              <a:gd name="connsiteY9904" fmla="*/ 4775854 h 5973007"/>
              <a:gd name="connsiteX9905" fmla="*/ 1370483 w 6884782"/>
              <a:gd name="connsiteY9905" fmla="*/ 4778849 h 5973007"/>
              <a:gd name="connsiteX9906" fmla="*/ 1376680 w 6884782"/>
              <a:gd name="connsiteY9906" fmla="*/ 4781533 h 5973007"/>
              <a:gd name="connsiteX9907" fmla="*/ 1376989 w 6884782"/>
              <a:gd name="connsiteY9907" fmla="*/ 4779881 h 5973007"/>
              <a:gd name="connsiteX9908" fmla="*/ 1385044 w 6884782"/>
              <a:gd name="connsiteY9908" fmla="*/ 4781740 h 5973007"/>
              <a:gd name="connsiteX9909" fmla="*/ 1386283 w 6884782"/>
              <a:gd name="connsiteY9909" fmla="*/ 4782463 h 5973007"/>
              <a:gd name="connsiteX9910" fmla="*/ 1388761 w 6884782"/>
              <a:gd name="connsiteY9910" fmla="*/ 4782566 h 5973007"/>
              <a:gd name="connsiteX9911" fmla="*/ 1393253 w 6884782"/>
              <a:gd name="connsiteY9911" fmla="*/ 4786283 h 5973007"/>
              <a:gd name="connsiteX9912" fmla="*/ 1393718 w 6884782"/>
              <a:gd name="connsiteY9912" fmla="*/ 4795370 h 5973007"/>
              <a:gd name="connsiteX9913" fmla="*/ 1394183 w 6884782"/>
              <a:gd name="connsiteY9913" fmla="*/ 4794544 h 5973007"/>
              <a:gd name="connsiteX9914" fmla="*/ 1398675 w 6884782"/>
              <a:gd name="connsiteY9914" fmla="*/ 4793408 h 5973007"/>
              <a:gd name="connsiteX9915" fmla="*/ 1397436 w 6884782"/>
              <a:gd name="connsiteY9915" fmla="*/ 4791859 h 5973007"/>
              <a:gd name="connsiteX9916" fmla="*/ 1405645 w 6884782"/>
              <a:gd name="connsiteY9916" fmla="*/ 4784838 h 5973007"/>
              <a:gd name="connsiteX9917" fmla="*/ 1406729 w 6884782"/>
              <a:gd name="connsiteY9917" fmla="*/ 4790930 h 5973007"/>
              <a:gd name="connsiteX9918" fmla="*/ 1406419 w 6884782"/>
              <a:gd name="connsiteY9918" fmla="*/ 4791652 h 5973007"/>
              <a:gd name="connsiteX9919" fmla="*/ 1405955 w 6884782"/>
              <a:gd name="connsiteY9919" fmla="*/ 4792169 h 5973007"/>
              <a:gd name="connsiteX9920" fmla="*/ 1408279 w 6884782"/>
              <a:gd name="connsiteY9920" fmla="*/ 4792891 h 5973007"/>
              <a:gd name="connsiteX9921" fmla="*/ 1406419 w 6884782"/>
              <a:gd name="connsiteY9921" fmla="*/ 4794853 h 5973007"/>
              <a:gd name="connsiteX9922" fmla="*/ 1405335 w 6884782"/>
              <a:gd name="connsiteY9922" fmla="*/ 4795163 h 5973007"/>
              <a:gd name="connsiteX9923" fmla="*/ 1405025 w 6884782"/>
              <a:gd name="connsiteY9923" fmla="*/ 4795886 h 5973007"/>
              <a:gd name="connsiteX9924" fmla="*/ 1404251 w 6884782"/>
              <a:gd name="connsiteY9924" fmla="*/ 4795473 h 5973007"/>
              <a:gd name="connsiteX9925" fmla="*/ 1401928 w 6884782"/>
              <a:gd name="connsiteY9925" fmla="*/ 4796196 h 5973007"/>
              <a:gd name="connsiteX9926" fmla="*/ 1400379 w 6884782"/>
              <a:gd name="connsiteY9926" fmla="*/ 4797228 h 5973007"/>
              <a:gd name="connsiteX9927" fmla="*/ 1400844 w 6884782"/>
              <a:gd name="connsiteY9927" fmla="*/ 4797538 h 5973007"/>
              <a:gd name="connsiteX9928" fmla="*/ 1401463 w 6884782"/>
              <a:gd name="connsiteY9928" fmla="*/ 4800223 h 5973007"/>
              <a:gd name="connsiteX9929" fmla="*/ 1400533 w 6884782"/>
              <a:gd name="connsiteY9929" fmla="*/ 4801152 h 5973007"/>
              <a:gd name="connsiteX9930" fmla="*/ 1398985 w 6884782"/>
              <a:gd name="connsiteY9930" fmla="*/ 4800636 h 5973007"/>
              <a:gd name="connsiteX9931" fmla="*/ 1396816 w 6884782"/>
              <a:gd name="connsiteY9931" fmla="*/ 4799603 h 5973007"/>
              <a:gd name="connsiteX9932" fmla="*/ 1394957 w 6884782"/>
              <a:gd name="connsiteY9932" fmla="*/ 4799810 h 5973007"/>
              <a:gd name="connsiteX9933" fmla="*/ 1391704 w 6884782"/>
              <a:gd name="connsiteY9933" fmla="*/ 4799913 h 5973007"/>
              <a:gd name="connsiteX9934" fmla="*/ 1390930 w 6884782"/>
              <a:gd name="connsiteY9934" fmla="*/ 4797538 h 5973007"/>
              <a:gd name="connsiteX9935" fmla="*/ 1388607 w 6884782"/>
              <a:gd name="connsiteY9935" fmla="*/ 4798157 h 5973007"/>
              <a:gd name="connsiteX9936" fmla="*/ 1379158 w 6884782"/>
              <a:gd name="connsiteY9936" fmla="*/ 4791859 h 5973007"/>
              <a:gd name="connsiteX9937" fmla="*/ 1378693 w 6884782"/>
              <a:gd name="connsiteY9937" fmla="*/ 4786696 h 5973007"/>
              <a:gd name="connsiteX9938" fmla="*/ 1379003 w 6884782"/>
              <a:gd name="connsiteY9938" fmla="*/ 4786180 h 5973007"/>
              <a:gd name="connsiteX9939" fmla="*/ 1375595 w 6884782"/>
              <a:gd name="connsiteY9939" fmla="*/ 4785354 h 5973007"/>
              <a:gd name="connsiteX9940" fmla="*/ 1376214 w 6884782"/>
              <a:gd name="connsiteY9940" fmla="*/ 4783702 h 5973007"/>
              <a:gd name="connsiteX9941" fmla="*/ 1374511 w 6884782"/>
              <a:gd name="connsiteY9941" fmla="*/ 4784115 h 5973007"/>
              <a:gd name="connsiteX9942" fmla="*/ 1366456 w 6884782"/>
              <a:gd name="connsiteY9942" fmla="*/ 4781430 h 5973007"/>
              <a:gd name="connsiteX9943" fmla="*/ 1364753 w 6884782"/>
              <a:gd name="connsiteY9943" fmla="*/ 4780398 h 5973007"/>
              <a:gd name="connsiteX9944" fmla="*/ 1363049 w 6884782"/>
              <a:gd name="connsiteY9944" fmla="*/ 4779468 h 5973007"/>
              <a:gd name="connsiteX9945" fmla="*/ 1361965 w 6884782"/>
              <a:gd name="connsiteY9945" fmla="*/ 4775854 h 5973007"/>
              <a:gd name="connsiteX9946" fmla="*/ 1000591 w 6884782"/>
              <a:gd name="connsiteY9946" fmla="*/ 4775854 h 5973007"/>
              <a:gd name="connsiteX9947" fmla="*/ 1011898 w 6884782"/>
              <a:gd name="connsiteY9947" fmla="*/ 4786386 h 5973007"/>
              <a:gd name="connsiteX9948" fmla="*/ 1012828 w 6884782"/>
              <a:gd name="connsiteY9948" fmla="*/ 4788039 h 5973007"/>
              <a:gd name="connsiteX9949" fmla="*/ 1011434 w 6884782"/>
              <a:gd name="connsiteY9949" fmla="*/ 4790310 h 5973007"/>
              <a:gd name="connsiteX9950" fmla="*/ 1001211 w 6884782"/>
              <a:gd name="connsiteY9950" fmla="*/ 4783805 h 5973007"/>
              <a:gd name="connsiteX9951" fmla="*/ 1000282 w 6884782"/>
              <a:gd name="connsiteY9951" fmla="*/ 4782153 h 5973007"/>
              <a:gd name="connsiteX9952" fmla="*/ 1000591 w 6884782"/>
              <a:gd name="connsiteY9952" fmla="*/ 4775854 h 5973007"/>
              <a:gd name="connsiteX9953" fmla="*/ 1719930 w 6884782"/>
              <a:gd name="connsiteY9953" fmla="*/ 4775544 h 5973007"/>
              <a:gd name="connsiteX9954" fmla="*/ 1724112 w 6884782"/>
              <a:gd name="connsiteY9954" fmla="*/ 4778849 h 5973007"/>
              <a:gd name="connsiteX9955" fmla="*/ 1724421 w 6884782"/>
              <a:gd name="connsiteY9955" fmla="*/ 4782049 h 5973007"/>
              <a:gd name="connsiteX9956" fmla="*/ 1721943 w 6884782"/>
              <a:gd name="connsiteY9956" fmla="*/ 4783495 h 5973007"/>
              <a:gd name="connsiteX9957" fmla="*/ 1718536 w 6884782"/>
              <a:gd name="connsiteY9957" fmla="*/ 4782566 h 5973007"/>
              <a:gd name="connsiteX9958" fmla="*/ 1719930 w 6884782"/>
              <a:gd name="connsiteY9958" fmla="*/ 4775544 h 5973007"/>
              <a:gd name="connsiteX9959" fmla="*/ 1520888 w 6884782"/>
              <a:gd name="connsiteY9959" fmla="*/ 4775544 h 5973007"/>
              <a:gd name="connsiteX9960" fmla="*/ 1530182 w 6884782"/>
              <a:gd name="connsiteY9960" fmla="*/ 4780398 h 5973007"/>
              <a:gd name="connsiteX9961" fmla="*/ 1532040 w 6884782"/>
              <a:gd name="connsiteY9961" fmla="*/ 4785664 h 5973007"/>
              <a:gd name="connsiteX9962" fmla="*/ 1529717 w 6884782"/>
              <a:gd name="connsiteY9962" fmla="*/ 4786386 h 5973007"/>
              <a:gd name="connsiteX9963" fmla="*/ 1524450 w 6884782"/>
              <a:gd name="connsiteY9963" fmla="*/ 4783599 h 5973007"/>
              <a:gd name="connsiteX9964" fmla="*/ 1520888 w 6884782"/>
              <a:gd name="connsiteY9964" fmla="*/ 4775544 h 5973007"/>
              <a:gd name="connsiteX9965" fmla="*/ 1047370 w 6884782"/>
              <a:gd name="connsiteY9965" fmla="*/ 4774821 h 5973007"/>
              <a:gd name="connsiteX9966" fmla="*/ 1041639 w 6884782"/>
              <a:gd name="connsiteY9966" fmla="*/ 4785664 h 5973007"/>
              <a:gd name="connsiteX9967" fmla="*/ 1039935 w 6884782"/>
              <a:gd name="connsiteY9967" fmla="*/ 4780604 h 5973007"/>
              <a:gd name="connsiteX9968" fmla="*/ 1047370 w 6884782"/>
              <a:gd name="connsiteY9968" fmla="*/ 4774821 h 5973007"/>
              <a:gd name="connsiteX9969" fmla="*/ 738817 w 6884782"/>
              <a:gd name="connsiteY9969" fmla="*/ 4774615 h 5973007"/>
              <a:gd name="connsiteX9970" fmla="*/ 737267 w 6884782"/>
              <a:gd name="connsiteY9970" fmla="*/ 4784734 h 5973007"/>
              <a:gd name="connsiteX9971" fmla="*/ 733240 w 6884782"/>
              <a:gd name="connsiteY9971" fmla="*/ 4782463 h 5973007"/>
              <a:gd name="connsiteX9972" fmla="*/ 738817 w 6884782"/>
              <a:gd name="connsiteY9972" fmla="*/ 4774615 h 5973007"/>
              <a:gd name="connsiteX9973" fmla="*/ 6159093 w 6884782"/>
              <a:gd name="connsiteY9973" fmla="*/ 4774323 h 5973007"/>
              <a:gd name="connsiteX9974" fmla="*/ 6159248 w 6884782"/>
              <a:gd name="connsiteY9974" fmla="*/ 4775975 h 5973007"/>
              <a:gd name="connsiteX9975" fmla="*/ 6160177 w 6884782"/>
              <a:gd name="connsiteY9975" fmla="*/ 4775872 h 5973007"/>
              <a:gd name="connsiteX9976" fmla="*/ 6159558 w 6884782"/>
              <a:gd name="connsiteY9976" fmla="*/ 4777628 h 5973007"/>
              <a:gd name="connsiteX9977" fmla="*/ 6158783 w 6884782"/>
              <a:gd name="connsiteY9977" fmla="*/ 4777628 h 5973007"/>
              <a:gd name="connsiteX9978" fmla="*/ 6158628 w 6884782"/>
              <a:gd name="connsiteY9978" fmla="*/ 4777834 h 5973007"/>
              <a:gd name="connsiteX9979" fmla="*/ 6157079 w 6884782"/>
              <a:gd name="connsiteY9979" fmla="*/ 4776905 h 5973007"/>
              <a:gd name="connsiteX9980" fmla="*/ 6155995 w 6884782"/>
              <a:gd name="connsiteY9980" fmla="*/ 4775356 h 5973007"/>
              <a:gd name="connsiteX9981" fmla="*/ 6159093 w 6884782"/>
              <a:gd name="connsiteY9981" fmla="*/ 4774323 h 5973007"/>
              <a:gd name="connsiteX9982" fmla="*/ 6378116 w 6884782"/>
              <a:gd name="connsiteY9982" fmla="*/ 4774116 h 5973007"/>
              <a:gd name="connsiteX9983" fmla="*/ 6386636 w 6884782"/>
              <a:gd name="connsiteY9983" fmla="*/ 4779693 h 5973007"/>
              <a:gd name="connsiteX9984" fmla="*/ 6382918 w 6884782"/>
              <a:gd name="connsiteY9984" fmla="*/ 4782480 h 5973007"/>
              <a:gd name="connsiteX9985" fmla="*/ 6378116 w 6884782"/>
              <a:gd name="connsiteY9985" fmla="*/ 4774116 h 5973007"/>
              <a:gd name="connsiteX9986" fmla="*/ 6335559 w 6884782"/>
              <a:gd name="connsiteY9986" fmla="*/ 4773626 h 5973007"/>
              <a:gd name="connsiteX9987" fmla="*/ 6340631 w 6884782"/>
              <a:gd name="connsiteY9987" fmla="*/ 4777214 h 5973007"/>
              <a:gd name="connsiteX9988" fmla="*/ 6339083 w 6884782"/>
              <a:gd name="connsiteY9988" fmla="*/ 4799208 h 5973007"/>
              <a:gd name="connsiteX9989" fmla="*/ 6332267 w 6884782"/>
              <a:gd name="connsiteY9989" fmla="*/ 4789915 h 5973007"/>
              <a:gd name="connsiteX9990" fmla="*/ 6329324 w 6884782"/>
              <a:gd name="connsiteY9990" fmla="*/ 4776078 h 5973007"/>
              <a:gd name="connsiteX9991" fmla="*/ 6335559 w 6884782"/>
              <a:gd name="connsiteY9991" fmla="*/ 4773626 h 5973007"/>
              <a:gd name="connsiteX9992" fmla="*/ 1569370 w 6884782"/>
              <a:gd name="connsiteY9992" fmla="*/ 4773376 h 5973007"/>
              <a:gd name="connsiteX9993" fmla="*/ 1570919 w 6884782"/>
              <a:gd name="connsiteY9993" fmla="*/ 4773479 h 5973007"/>
              <a:gd name="connsiteX9994" fmla="*/ 1570145 w 6884782"/>
              <a:gd name="connsiteY9994" fmla="*/ 4774202 h 5973007"/>
              <a:gd name="connsiteX9995" fmla="*/ 1569370 w 6884782"/>
              <a:gd name="connsiteY9995" fmla="*/ 4773376 h 5973007"/>
              <a:gd name="connsiteX9996" fmla="*/ 1424542 w 6884782"/>
              <a:gd name="connsiteY9996" fmla="*/ 4773273 h 5973007"/>
              <a:gd name="connsiteX9997" fmla="*/ 1420360 w 6884782"/>
              <a:gd name="connsiteY9997" fmla="*/ 4779365 h 5973007"/>
              <a:gd name="connsiteX9998" fmla="*/ 1419276 w 6884782"/>
              <a:gd name="connsiteY9998" fmla="*/ 4773686 h 5973007"/>
              <a:gd name="connsiteX9999" fmla="*/ 1424542 w 6884782"/>
              <a:gd name="connsiteY9999" fmla="*/ 4773273 h 5973007"/>
              <a:gd name="connsiteX10000" fmla="*/ 1682755 w 6884782"/>
              <a:gd name="connsiteY10000" fmla="*/ 4773066 h 5973007"/>
              <a:gd name="connsiteX10001" fmla="*/ 1692358 w 6884782"/>
              <a:gd name="connsiteY10001" fmla="*/ 4781327 h 5973007"/>
              <a:gd name="connsiteX10002" fmla="*/ 1687866 w 6884782"/>
              <a:gd name="connsiteY10002" fmla="*/ 4785147 h 5973007"/>
              <a:gd name="connsiteX10003" fmla="*/ 1682755 w 6884782"/>
              <a:gd name="connsiteY10003" fmla="*/ 4773066 h 5973007"/>
              <a:gd name="connsiteX10004" fmla="*/ 1698244 w 6884782"/>
              <a:gd name="connsiteY10004" fmla="*/ 4772963 h 5973007"/>
              <a:gd name="connsiteX10005" fmla="*/ 1699793 w 6884782"/>
              <a:gd name="connsiteY10005" fmla="*/ 4775854 h 5973007"/>
              <a:gd name="connsiteX10006" fmla="*/ 1703046 w 6884782"/>
              <a:gd name="connsiteY10006" fmla="*/ 4777300 h 5973007"/>
              <a:gd name="connsiteX10007" fmla="*/ 1703201 w 6884782"/>
              <a:gd name="connsiteY10007" fmla="*/ 4777403 h 5973007"/>
              <a:gd name="connsiteX10008" fmla="*/ 1705059 w 6884782"/>
              <a:gd name="connsiteY10008" fmla="*/ 4777919 h 5973007"/>
              <a:gd name="connsiteX10009" fmla="*/ 1704750 w 6884782"/>
              <a:gd name="connsiteY10009" fmla="*/ 4777197 h 5973007"/>
              <a:gd name="connsiteX10010" fmla="*/ 1712185 w 6884782"/>
              <a:gd name="connsiteY10010" fmla="*/ 4774409 h 5973007"/>
              <a:gd name="connsiteX10011" fmla="*/ 1716057 w 6884782"/>
              <a:gd name="connsiteY10011" fmla="*/ 4777197 h 5973007"/>
              <a:gd name="connsiteX10012" fmla="*/ 1717297 w 6884782"/>
              <a:gd name="connsiteY10012" fmla="*/ 4785044 h 5973007"/>
              <a:gd name="connsiteX10013" fmla="*/ 1712960 w 6884782"/>
              <a:gd name="connsiteY10013" fmla="*/ 4786180 h 5973007"/>
              <a:gd name="connsiteX10014" fmla="*/ 1709397 w 6884782"/>
              <a:gd name="connsiteY10014" fmla="*/ 4784011 h 5973007"/>
              <a:gd name="connsiteX10015" fmla="*/ 1709397 w 6884782"/>
              <a:gd name="connsiteY10015" fmla="*/ 4785147 h 5973007"/>
              <a:gd name="connsiteX10016" fmla="*/ 1706764 w 6884782"/>
              <a:gd name="connsiteY10016" fmla="*/ 4782566 h 5973007"/>
              <a:gd name="connsiteX10017" fmla="*/ 1705524 w 6884782"/>
              <a:gd name="connsiteY10017" fmla="*/ 4781223 h 5973007"/>
              <a:gd name="connsiteX10018" fmla="*/ 1704905 w 6884782"/>
              <a:gd name="connsiteY10018" fmla="*/ 4781430 h 5973007"/>
              <a:gd name="connsiteX10019" fmla="*/ 1702117 w 6884782"/>
              <a:gd name="connsiteY10019" fmla="*/ 4779984 h 5973007"/>
              <a:gd name="connsiteX10020" fmla="*/ 1702426 w 6884782"/>
              <a:gd name="connsiteY10020" fmla="*/ 4778436 h 5973007"/>
              <a:gd name="connsiteX10021" fmla="*/ 1702117 w 6884782"/>
              <a:gd name="connsiteY10021" fmla="*/ 4777919 h 5973007"/>
              <a:gd name="connsiteX10022" fmla="*/ 1696540 w 6884782"/>
              <a:gd name="connsiteY10022" fmla="*/ 4775235 h 5973007"/>
              <a:gd name="connsiteX10023" fmla="*/ 1695766 w 6884782"/>
              <a:gd name="connsiteY10023" fmla="*/ 4773479 h 5973007"/>
              <a:gd name="connsiteX10024" fmla="*/ 1698244 w 6884782"/>
              <a:gd name="connsiteY10024" fmla="*/ 4772963 h 5973007"/>
              <a:gd name="connsiteX10025" fmla="*/ 1573862 w 6884782"/>
              <a:gd name="connsiteY10025" fmla="*/ 4772550 h 5973007"/>
              <a:gd name="connsiteX10026" fmla="*/ 1579748 w 6884782"/>
              <a:gd name="connsiteY10026" fmla="*/ 4777197 h 5973007"/>
              <a:gd name="connsiteX10027" fmla="*/ 1576031 w 6884782"/>
              <a:gd name="connsiteY10027" fmla="*/ 4784011 h 5973007"/>
              <a:gd name="connsiteX10028" fmla="*/ 1573862 w 6884782"/>
              <a:gd name="connsiteY10028" fmla="*/ 4772550 h 5973007"/>
              <a:gd name="connsiteX10029" fmla="*/ 1106385 w 6884782"/>
              <a:gd name="connsiteY10029" fmla="*/ 4771518 h 5973007"/>
              <a:gd name="connsiteX10030" fmla="*/ 1117848 w 6884782"/>
              <a:gd name="connsiteY10030" fmla="*/ 4779572 h 5973007"/>
              <a:gd name="connsiteX10031" fmla="*/ 1117538 w 6884782"/>
              <a:gd name="connsiteY10031" fmla="*/ 4782256 h 5973007"/>
              <a:gd name="connsiteX10032" fmla="*/ 1097866 w 6884782"/>
              <a:gd name="connsiteY10032" fmla="*/ 4794234 h 5973007"/>
              <a:gd name="connsiteX10033" fmla="*/ 1079433 w 6884782"/>
              <a:gd name="connsiteY10033" fmla="*/ 4784734 h 5973007"/>
              <a:gd name="connsiteX10034" fmla="*/ 1092599 w 6884782"/>
              <a:gd name="connsiteY10034" fmla="*/ 4772137 h 5973007"/>
              <a:gd name="connsiteX10035" fmla="*/ 1106385 w 6884782"/>
              <a:gd name="connsiteY10035" fmla="*/ 4771518 h 5973007"/>
              <a:gd name="connsiteX10036" fmla="*/ 784821 w 6884782"/>
              <a:gd name="connsiteY10036" fmla="*/ 4771208 h 5973007"/>
              <a:gd name="connsiteX10037" fmla="*/ 779399 w 6884782"/>
              <a:gd name="connsiteY10037" fmla="*/ 4785973 h 5973007"/>
              <a:gd name="connsiteX10038" fmla="*/ 773823 w 6884782"/>
              <a:gd name="connsiteY10038" fmla="*/ 4785870 h 5973007"/>
              <a:gd name="connsiteX10039" fmla="*/ 784821 w 6884782"/>
              <a:gd name="connsiteY10039" fmla="*/ 4771208 h 5973007"/>
              <a:gd name="connsiteX10040" fmla="*/ 6368668 w 6884782"/>
              <a:gd name="connsiteY10040" fmla="*/ 4770709 h 5973007"/>
              <a:gd name="connsiteX10041" fmla="*/ 6370681 w 6884782"/>
              <a:gd name="connsiteY10041" fmla="*/ 4772465 h 5973007"/>
              <a:gd name="connsiteX10042" fmla="*/ 6369132 w 6884782"/>
              <a:gd name="connsiteY10042" fmla="*/ 4774530 h 5973007"/>
              <a:gd name="connsiteX10043" fmla="*/ 6366654 w 6884782"/>
              <a:gd name="connsiteY10043" fmla="*/ 4775149 h 5973007"/>
              <a:gd name="connsiteX10044" fmla="*/ 6365725 w 6884782"/>
              <a:gd name="connsiteY10044" fmla="*/ 4774116 h 5973007"/>
              <a:gd name="connsiteX10045" fmla="*/ 6364795 w 6884782"/>
              <a:gd name="connsiteY10045" fmla="*/ 4772155 h 5973007"/>
              <a:gd name="connsiteX10046" fmla="*/ 6368668 w 6884782"/>
              <a:gd name="connsiteY10046" fmla="*/ 4770709 h 5973007"/>
              <a:gd name="connsiteX10047" fmla="*/ 6308103 w 6884782"/>
              <a:gd name="connsiteY10047" fmla="*/ 4769780 h 5973007"/>
              <a:gd name="connsiteX10048" fmla="*/ 6316003 w 6884782"/>
              <a:gd name="connsiteY10048" fmla="*/ 4777937 h 5973007"/>
              <a:gd name="connsiteX10049" fmla="*/ 6320805 w 6884782"/>
              <a:gd name="connsiteY10049" fmla="*/ 4789605 h 5973007"/>
              <a:gd name="connsiteX10050" fmla="*/ 6310737 w 6884782"/>
              <a:gd name="connsiteY10050" fmla="*/ 4782274 h 5973007"/>
              <a:gd name="connsiteX10051" fmla="*/ 6308103 w 6884782"/>
              <a:gd name="connsiteY10051" fmla="*/ 4769780 h 5973007"/>
              <a:gd name="connsiteX10052" fmla="*/ 1530337 w 6884782"/>
              <a:gd name="connsiteY10052" fmla="*/ 4769762 h 5973007"/>
              <a:gd name="connsiteX10053" fmla="*/ 1533589 w 6884782"/>
              <a:gd name="connsiteY10053" fmla="*/ 4770691 h 5973007"/>
              <a:gd name="connsiteX10054" fmla="*/ 1530956 w 6884782"/>
              <a:gd name="connsiteY10054" fmla="*/ 4777713 h 5973007"/>
              <a:gd name="connsiteX10055" fmla="*/ 1527394 w 6884782"/>
              <a:gd name="connsiteY10055" fmla="*/ 4774305 h 5973007"/>
              <a:gd name="connsiteX10056" fmla="*/ 1527549 w 6884782"/>
              <a:gd name="connsiteY10056" fmla="*/ 4771208 h 5973007"/>
              <a:gd name="connsiteX10057" fmla="*/ 1530337 w 6884782"/>
              <a:gd name="connsiteY10057" fmla="*/ 4769762 h 5973007"/>
              <a:gd name="connsiteX10058" fmla="*/ 1587958 w 6884782"/>
              <a:gd name="connsiteY10058" fmla="*/ 4768213 h 5973007"/>
              <a:gd name="connsiteX10059" fmla="*/ 1594309 w 6884782"/>
              <a:gd name="connsiteY10059" fmla="*/ 4770175 h 5973007"/>
              <a:gd name="connsiteX10060" fmla="*/ 1593999 w 6884782"/>
              <a:gd name="connsiteY10060" fmla="*/ 4772137 h 5973007"/>
              <a:gd name="connsiteX10061" fmla="*/ 1591675 w 6884782"/>
              <a:gd name="connsiteY10061" fmla="*/ 4772756 h 5973007"/>
              <a:gd name="connsiteX10062" fmla="*/ 1587649 w 6884782"/>
              <a:gd name="connsiteY10062" fmla="*/ 4770175 h 5973007"/>
              <a:gd name="connsiteX10063" fmla="*/ 1587958 w 6884782"/>
              <a:gd name="connsiteY10063" fmla="*/ 4768213 h 5973007"/>
              <a:gd name="connsiteX10064" fmla="*/ 1136900 w 6884782"/>
              <a:gd name="connsiteY10064" fmla="*/ 4766354 h 5973007"/>
              <a:gd name="connsiteX10065" fmla="*/ 1139533 w 6884782"/>
              <a:gd name="connsiteY10065" fmla="*/ 4788865 h 5973007"/>
              <a:gd name="connsiteX10066" fmla="*/ 1135351 w 6884782"/>
              <a:gd name="connsiteY10066" fmla="*/ 4784631 h 5973007"/>
              <a:gd name="connsiteX10067" fmla="*/ 1135197 w 6884782"/>
              <a:gd name="connsiteY10067" fmla="*/ 4783805 h 5973007"/>
              <a:gd name="connsiteX10068" fmla="*/ 1135041 w 6884782"/>
              <a:gd name="connsiteY10068" fmla="*/ 4785147 h 5973007"/>
              <a:gd name="connsiteX10069" fmla="*/ 1133028 w 6884782"/>
              <a:gd name="connsiteY10069" fmla="*/ 4804663 h 5973007"/>
              <a:gd name="connsiteX10070" fmla="*/ 1129000 w 6884782"/>
              <a:gd name="connsiteY10070" fmla="*/ 4794440 h 5973007"/>
              <a:gd name="connsiteX10071" fmla="*/ 1126367 w 6884782"/>
              <a:gd name="connsiteY10071" fmla="*/ 4784631 h 5973007"/>
              <a:gd name="connsiteX10072" fmla="*/ 1127452 w 6884782"/>
              <a:gd name="connsiteY10072" fmla="*/ 4781637 h 5973007"/>
              <a:gd name="connsiteX10073" fmla="*/ 1126986 w 6884782"/>
              <a:gd name="connsiteY10073" fmla="*/ 4781327 h 5973007"/>
              <a:gd name="connsiteX10074" fmla="*/ 1130240 w 6884782"/>
              <a:gd name="connsiteY10074" fmla="*/ 4776267 h 5973007"/>
              <a:gd name="connsiteX10075" fmla="*/ 1132408 w 6884782"/>
              <a:gd name="connsiteY10075" fmla="*/ 4778642 h 5973007"/>
              <a:gd name="connsiteX10076" fmla="*/ 1134112 w 6884782"/>
              <a:gd name="connsiteY10076" fmla="*/ 4778229 h 5973007"/>
              <a:gd name="connsiteX10077" fmla="*/ 1134886 w 6884782"/>
              <a:gd name="connsiteY10077" fmla="*/ 4772137 h 5973007"/>
              <a:gd name="connsiteX10078" fmla="*/ 1136900 w 6884782"/>
              <a:gd name="connsiteY10078" fmla="*/ 4766354 h 5973007"/>
              <a:gd name="connsiteX10079" fmla="*/ 6455255 w 6884782"/>
              <a:gd name="connsiteY10079" fmla="*/ 4766269 h 5973007"/>
              <a:gd name="connsiteX10080" fmla="*/ 6455874 w 6884782"/>
              <a:gd name="connsiteY10080" fmla="*/ 4766785 h 5973007"/>
              <a:gd name="connsiteX10081" fmla="*/ 6457113 w 6884782"/>
              <a:gd name="connsiteY10081" fmla="*/ 4766372 h 5973007"/>
              <a:gd name="connsiteX10082" fmla="*/ 6459437 w 6884782"/>
              <a:gd name="connsiteY10082" fmla="*/ 4769677 h 5973007"/>
              <a:gd name="connsiteX10083" fmla="*/ 6459747 w 6884782"/>
              <a:gd name="connsiteY10083" fmla="*/ 4771742 h 5973007"/>
              <a:gd name="connsiteX10084" fmla="*/ 6458817 w 6884782"/>
              <a:gd name="connsiteY10084" fmla="*/ 4773084 h 5973007"/>
              <a:gd name="connsiteX10085" fmla="*/ 6456959 w 6884782"/>
              <a:gd name="connsiteY10085" fmla="*/ 4772981 h 5973007"/>
              <a:gd name="connsiteX10086" fmla="*/ 6453861 w 6884782"/>
              <a:gd name="connsiteY10086" fmla="*/ 4771226 h 5973007"/>
              <a:gd name="connsiteX10087" fmla="*/ 6453086 w 6884782"/>
              <a:gd name="connsiteY10087" fmla="*/ 4768850 h 5973007"/>
              <a:gd name="connsiteX10088" fmla="*/ 6454480 w 6884782"/>
              <a:gd name="connsiteY10088" fmla="*/ 4767818 h 5973007"/>
              <a:gd name="connsiteX10089" fmla="*/ 6455255 w 6884782"/>
              <a:gd name="connsiteY10089" fmla="*/ 4766269 h 5973007"/>
              <a:gd name="connsiteX10090" fmla="*/ 1417766 w 6884782"/>
              <a:gd name="connsiteY10090" fmla="*/ 4766213 h 5973007"/>
              <a:gd name="connsiteX10091" fmla="*/ 1418811 w 6884782"/>
              <a:gd name="connsiteY10091" fmla="*/ 4772447 h 5973007"/>
              <a:gd name="connsiteX10092" fmla="*/ 1411841 w 6884782"/>
              <a:gd name="connsiteY10092" fmla="*/ 4769349 h 5973007"/>
              <a:gd name="connsiteX10093" fmla="*/ 1417766 w 6884782"/>
              <a:gd name="connsiteY10093" fmla="*/ 4766213 h 5973007"/>
              <a:gd name="connsiteX10094" fmla="*/ 6422262 w 6884782"/>
              <a:gd name="connsiteY10094" fmla="*/ 4766166 h 5973007"/>
              <a:gd name="connsiteX10095" fmla="*/ 6414517 w 6884782"/>
              <a:gd name="connsiteY10095" fmla="*/ 4783100 h 5973007"/>
              <a:gd name="connsiteX10096" fmla="*/ 6422262 w 6884782"/>
              <a:gd name="connsiteY10096" fmla="*/ 4766166 h 5973007"/>
              <a:gd name="connsiteX10097" fmla="*/ 1833779 w 6884782"/>
              <a:gd name="connsiteY10097" fmla="*/ 4765942 h 5973007"/>
              <a:gd name="connsiteX10098" fmla="*/ 1833933 w 6884782"/>
              <a:gd name="connsiteY10098" fmla="*/ 4766768 h 5973007"/>
              <a:gd name="connsiteX10099" fmla="*/ 1832384 w 6884782"/>
              <a:gd name="connsiteY10099" fmla="*/ 4768626 h 5973007"/>
              <a:gd name="connsiteX10100" fmla="*/ 1831610 w 6884782"/>
              <a:gd name="connsiteY10100" fmla="*/ 4774718 h 5973007"/>
              <a:gd name="connsiteX10101" fmla="*/ 1830061 w 6884782"/>
              <a:gd name="connsiteY10101" fmla="*/ 4775751 h 5973007"/>
              <a:gd name="connsiteX10102" fmla="*/ 1828822 w 6884782"/>
              <a:gd name="connsiteY10102" fmla="*/ 4773170 h 5973007"/>
              <a:gd name="connsiteX10103" fmla="*/ 1831145 w 6884782"/>
              <a:gd name="connsiteY10103" fmla="*/ 4771311 h 5973007"/>
              <a:gd name="connsiteX10104" fmla="*/ 1831455 w 6884782"/>
              <a:gd name="connsiteY10104" fmla="*/ 4767800 h 5973007"/>
              <a:gd name="connsiteX10105" fmla="*/ 1833779 w 6884782"/>
              <a:gd name="connsiteY10105" fmla="*/ 4765942 h 5973007"/>
              <a:gd name="connsiteX10106" fmla="*/ 6294627 w 6884782"/>
              <a:gd name="connsiteY10106" fmla="*/ 4764824 h 5973007"/>
              <a:gd name="connsiteX10107" fmla="*/ 6297725 w 6884782"/>
              <a:gd name="connsiteY10107" fmla="*/ 4768128 h 5973007"/>
              <a:gd name="connsiteX10108" fmla="*/ 6287502 w 6884782"/>
              <a:gd name="connsiteY10108" fmla="*/ 4782068 h 5973007"/>
              <a:gd name="connsiteX10109" fmla="*/ 6284094 w 6884782"/>
              <a:gd name="connsiteY10109" fmla="*/ 4781758 h 5973007"/>
              <a:gd name="connsiteX10110" fmla="*/ 6294627 w 6884782"/>
              <a:gd name="connsiteY10110" fmla="*/ 4764824 h 5973007"/>
              <a:gd name="connsiteX10111" fmla="*/ 1729998 w 6884782"/>
              <a:gd name="connsiteY10111" fmla="*/ 4764703 h 5973007"/>
              <a:gd name="connsiteX10112" fmla="*/ 1731392 w 6884782"/>
              <a:gd name="connsiteY10112" fmla="*/ 4769969 h 5973007"/>
              <a:gd name="connsiteX10113" fmla="*/ 1732941 w 6884782"/>
              <a:gd name="connsiteY10113" fmla="*/ 4770381 h 5973007"/>
              <a:gd name="connsiteX10114" fmla="*/ 1736503 w 6884782"/>
              <a:gd name="connsiteY10114" fmla="*/ 4776887 h 5973007"/>
              <a:gd name="connsiteX10115" fmla="*/ 1733251 w 6884782"/>
              <a:gd name="connsiteY10115" fmla="*/ 4778126 h 5973007"/>
              <a:gd name="connsiteX10116" fmla="*/ 1733406 w 6884782"/>
              <a:gd name="connsiteY10116" fmla="*/ 4783805 h 5973007"/>
              <a:gd name="connsiteX10117" fmla="*/ 1731237 w 6884782"/>
              <a:gd name="connsiteY10117" fmla="*/ 4791859 h 5973007"/>
              <a:gd name="connsiteX10118" fmla="*/ 1724886 w 6884782"/>
              <a:gd name="connsiteY10118" fmla="*/ 4793717 h 5973007"/>
              <a:gd name="connsiteX10119" fmla="*/ 1723028 w 6884782"/>
              <a:gd name="connsiteY10119" fmla="*/ 4792272 h 5973007"/>
              <a:gd name="connsiteX10120" fmla="*/ 1726125 w 6884782"/>
              <a:gd name="connsiteY10120" fmla="*/ 4777300 h 5973007"/>
              <a:gd name="connsiteX10121" fmla="*/ 1726280 w 6884782"/>
              <a:gd name="connsiteY10121" fmla="*/ 4772240 h 5973007"/>
              <a:gd name="connsiteX10122" fmla="*/ 1726125 w 6884782"/>
              <a:gd name="connsiteY10122" fmla="*/ 4770691 h 5973007"/>
              <a:gd name="connsiteX10123" fmla="*/ 1726280 w 6884782"/>
              <a:gd name="connsiteY10123" fmla="*/ 4770588 h 5973007"/>
              <a:gd name="connsiteX10124" fmla="*/ 1726280 w 6884782"/>
              <a:gd name="connsiteY10124" fmla="*/ 4770278 h 5973007"/>
              <a:gd name="connsiteX10125" fmla="*/ 1729998 w 6884782"/>
              <a:gd name="connsiteY10125" fmla="*/ 4764703 h 5973007"/>
              <a:gd name="connsiteX10126" fmla="*/ 1179806 w 6884782"/>
              <a:gd name="connsiteY10126" fmla="*/ 4764599 h 5973007"/>
              <a:gd name="connsiteX10127" fmla="*/ 1182285 w 6884782"/>
              <a:gd name="connsiteY10127" fmla="*/ 4764599 h 5973007"/>
              <a:gd name="connsiteX10128" fmla="*/ 1180890 w 6884782"/>
              <a:gd name="connsiteY10128" fmla="*/ 4777506 h 5973007"/>
              <a:gd name="connsiteX10129" fmla="*/ 1179961 w 6884782"/>
              <a:gd name="connsiteY10129" fmla="*/ 4779158 h 5973007"/>
              <a:gd name="connsiteX10130" fmla="*/ 1174540 w 6884782"/>
              <a:gd name="connsiteY10130" fmla="*/ 4782566 h 5973007"/>
              <a:gd name="connsiteX10131" fmla="*/ 1178722 w 6884782"/>
              <a:gd name="connsiteY10131" fmla="*/ 4766251 h 5973007"/>
              <a:gd name="connsiteX10132" fmla="*/ 1179806 w 6884782"/>
              <a:gd name="connsiteY10132" fmla="*/ 4764599 h 5973007"/>
              <a:gd name="connsiteX10133" fmla="*/ 1698244 w 6884782"/>
              <a:gd name="connsiteY10133" fmla="*/ 4764083 h 5973007"/>
              <a:gd name="connsiteX10134" fmla="*/ 1700258 w 6884782"/>
              <a:gd name="connsiteY10134" fmla="*/ 4768523 h 5973007"/>
              <a:gd name="connsiteX10135" fmla="*/ 1699793 w 6884782"/>
              <a:gd name="connsiteY10135" fmla="*/ 4769659 h 5973007"/>
              <a:gd name="connsiteX10136" fmla="*/ 1699484 w 6884782"/>
              <a:gd name="connsiteY10136" fmla="*/ 4770588 h 5973007"/>
              <a:gd name="connsiteX10137" fmla="*/ 1698554 w 6884782"/>
              <a:gd name="connsiteY10137" fmla="*/ 4772756 h 5973007"/>
              <a:gd name="connsiteX10138" fmla="*/ 1694836 w 6884782"/>
              <a:gd name="connsiteY10138" fmla="*/ 4769349 h 5973007"/>
              <a:gd name="connsiteX10139" fmla="*/ 1698244 w 6884782"/>
              <a:gd name="connsiteY10139" fmla="*/ 4764083 h 5973007"/>
              <a:gd name="connsiteX10140" fmla="*/ 929494 w 6884782"/>
              <a:gd name="connsiteY10140" fmla="*/ 4763876 h 5973007"/>
              <a:gd name="connsiteX10141" fmla="*/ 935535 w 6884782"/>
              <a:gd name="connsiteY10141" fmla="*/ 4773479 h 5973007"/>
              <a:gd name="connsiteX10142" fmla="*/ 924072 w 6884782"/>
              <a:gd name="connsiteY10142" fmla="*/ 4788968 h 5973007"/>
              <a:gd name="connsiteX10143" fmla="*/ 923608 w 6884782"/>
              <a:gd name="connsiteY10143" fmla="*/ 4788968 h 5973007"/>
              <a:gd name="connsiteX10144" fmla="*/ 923298 w 6884782"/>
              <a:gd name="connsiteY10144" fmla="*/ 4795783 h 5973007"/>
              <a:gd name="connsiteX10145" fmla="*/ 920975 w 6884782"/>
              <a:gd name="connsiteY10145" fmla="*/ 4803320 h 5973007"/>
              <a:gd name="connsiteX10146" fmla="*/ 918496 w 6884782"/>
              <a:gd name="connsiteY10146" fmla="*/ 4804456 h 5973007"/>
              <a:gd name="connsiteX10147" fmla="*/ 900838 w 6884782"/>
              <a:gd name="connsiteY10147" fmla="*/ 4792582 h 5973007"/>
              <a:gd name="connsiteX10148" fmla="*/ 899444 w 6884782"/>
              <a:gd name="connsiteY10148" fmla="*/ 4775648 h 5973007"/>
              <a:gd name="connsiteX10149" fmla="*/ 899754 w 6884782"/>
              <a:gd name="connsiteY10149" fmla="*/ 4774821 h 5973007"/>
              <a:gd name="connsiteX10150" fmla="*/ 898670 w 6884782"/>
              <a:gd name="connsiteY10150" fmla="*/ 4775854 h 5973007"/>
              <a:gd name="connsiteX10151" fmla="*/ 896811 w 6884782"/>
              <a:gd name="connsiteY10151" fmla="*/ 4775751 h 5973007"/>
              <a:gd name="connsiteX10152" fmla="*/ 892938 w 6884782"/>
              <a:gd name="connsiteY10152" fmla="*/ 4774305 h 5973007"/>
              <a:gd name="connsiteX10153" fmla="*/ 893248 w 6884782"/>
              <a:gd name="connsiteY10153" fmla="*/ 4771105 h 5973007"/>
              <a:gd name="connsiteX10154" fmla="*/ 896347 w 6884782"/>
              <a:gd name="connsiteY10154" fmla="*/ 4768833 h 5973007"/>
              <a:gd name="connsiteX10155" fmla="*/ 903161 w 6884782"/>
              <a:gd name="connsiteY10155" fmla="*/ 4768833 h 5973007"/>
              <a:gd name="connsiteX10156" fmla="*/ 902851 w 6884782"/>
              <a:gd name="connsiteY10156" fmla="*/ 4770381 h 5973007"/>
              <a:gd name="connsiteX10157" fmla="*/ 911216 w 6884782"/>
              <a:gd name="connsiteY10157" fmla="*/ 4771414 h 5973007"/>
              <a:gd name="connsiteX10158" fmla="*/ 917876 w 6884782"/>
              <a:gd name="connsiteY10158" fmla="*/ 4775854 h 5973007"/>
              <a:gd name="connsiteX10159" fmla="*/ 920665 w 6884782"/>
              <a:gd name="connsiteY10159" fmla="*/ 4779881 h 5973007"/>
              <a:gd name="connsiteX10160" fmla="*/ 921439 w 6884782"/>
              <a:gd name="connsiteY10160" fmla="*/ 4776267 h 5973007"/>
              <a:gd name="connsiteX10161" fmla="*/ 929494 w 6884782"/>
              <a:gd name="connsiteY10161" fmla="*/ 4763876 h 5973007"/>
              <a:gd name="connsiteX10162" fmla="*/ 1846790 w 6884782"/>
              <a:gd name="connsiteY10162" fmla="*/ 4763360 h 5973007"/>
              <a:gd name="connsiteX10163" fmla="*/ 1842917 w 6884782"/>
              <a:gd name="connsiteY10163" fmla="*/ 4777197 h 5973007"/>
              <a:gd name="connsiteX10164" fmla="*/ 1846790 w 6884782"/>
              <a:gd name="connsiteY10164" fmla="*/ 4763360 h 5973007"/>
              <a:gd name="connsiteX10165" fmla="*/ 5953081 w 6884782"/>
              <a:gd name="connsiteY10165" fmla="*/ 4762759 h 5973007"/>
              <a:gd name="connsiteX10166" fmla="*/ 5956643 w 6884782"/>
              <a:gd name="connsiteY10166" fmla="*/ 4767405 h 5973007"/>
              <a:gd name="connsiteX10167" fmla="*/ 5958812 w 6884782"/>
              <a:gd name="connsiteY10167" fmla="*/ 4765753 h 5973007"/>
              <a:gd name="connsiteX10168" fmla="*/ 5964233 w 6884782"/>
              <a:gd name="connsiteY10168" fmla="*/ 4765546 h 5973007"/>
              <a:gd name="connsiteX10169" fmla="*/ 5965628 w 6884782"/>
              <a:gd name="connsiteY10169" fmla="*/ 4768850 h 5973007"/>
              <a:gd name="connsiteX10170" fmla="*/ 5962530 w 6884782"/>
              <a:gd name="connsiteY10170" fmla="*/ 4773394 h 5973007"/>
              <a:gd name="connsiteX10171" fmla="*/ 5961445 w 6884782"/>
              <a:gd name="connsiteY10171" fmla="*/ 4773497 h 5973007"/>
              <a:gd name="connsiteX10172" fmla="*/ 5961445 w 6884782"/>
              <a:gd name="connsiteY10172" fmla="*/ 4773704 h 5973007"/>
              <a:gd name="connsiteX10173" fmla="*/ 5954165 w 6884782"/>
              <a:gd name="connsiteY10173" fmla="*/ 4779899 h 5973007"/>
              <a:gd name="connsiteX10174" fmla="*/ 5943787 w 6884782"/>
              <a:gd name="connsiteY10174" fmla="*/ 4772258 h 5973007"/>
              <a:gd name="connsiteX10175" fmla="*/ 5953081 w 6884782"/>
              <a:gd name="connsiteY10175" fmla="*/ 4762759 h 5973007"/>
              <a:gd name="connsiteX10176" fmla="*/ 6327465 w 6884782"/>
              <a:gd name="connsiteY10176" fmla="*/ 4762242 h 5973007"/>
              <a:gd name="connsiteX10177" fmla="*/ 6331493 w 6884782"/>
              <a:gd name="connsiteY10177" fmla="*/ 4763275 h 5973007"/>
              <a:gd name="connsiteX10178" fmla="*/ 6327930 w 6884782"/>
              <a:gd name="connsiteY10178" fmla="*/ 4764927 h 5973007"/>
              <a:gd name="connsiteX10179" fmla="*/ 6327465 w 6884782"/>
              <a:gd name="connsiteY10179" fmla="*/ 4762242 h 5973007"/>
              <a:gd name="connsiteX10180" fmla="*/ 1641552 w 6884782"/>
              <a:gd name="connsiteY10180" fmla="*/ 4762121 h 5973007"/>
              <a:gd name="connsiteX10181" fmla="*/ 1644185 w 6884782"/>
              <a:gd name="connsiteY10181" fmla="*/ 4762638 h 5973007"/>
              <a:gd name="connsiteX10182" fmla="*/ 1644495 w 6884782"/>
              <a:gd name="connsiteY10182" fmla="*/ 4765115 h 5973007"/>
              <a:gd name="connsiteX10183" fmla="*/ 1645425 w 6884782"/>
              <a:gd name="connsiteY10183" fmla="*/ 4766768 h 5973007"/>
              <a:gd name="connsiteX10184" fmla="*/ 1643876 w 6884782"/>
              <a:gd name="connsiteY10184" fmla="*/ 4769039 h 5973007"/>
              <a:gd name="connsiteX10185" fmla="*/ 1642946 w 6884782"/>
              <a:gd name="connsiteY10185" fmla="*/ 4767387 h 5973007"/>
              <a:gd name="connsiteX10186" fmla="*/ 1641552 w 6884782"/>
              <a:gd name="connsiteY10186" fmla="*/ 4762121 h 5973007"/>
              <a:gd name="connsiteX10187" fmla="*/ 735254 w 6884782"/>
              <a:gd name="connsiteY10187" fmla="*/ 4761605 h 5973007"/>
              <a:gd name="connsiteX10188" fmla="*/ 738197 w 6884782"/>
              <a:gd name="connsiteY10188" fmla="*/ 4764599 h 5973007"/>
              <a:gd name="connsiteX10189" fmla="*/ 737422 w 6884782"/>
              <a:gd name="connsiteY10189" fmla="*/ 4767284 h 5973007"/>
              <a:gd name="connsiteX10190" fmla="*/ 736028 w 6884782"/>
              <a:gd name="connsiteY10190" fmla="*/ 4767800 h 5973007"/>
              <a:gd name="connsiteX10191" fmla="*/ 734944 w 6884782"/>
              <a:gd name="connsiteY10191" fmla="*/ 4766768 h 5973007"/>
              <a:gd name="connsiteX10192" fmla="*/ 733395 w 6884782"/>
              <a:gd name="connsiteY10192" fmla="*/ 4764703 h 5973007"/>
              <a:gd name="connsiteX10193" fmla="*/ 733860 w 6884782"/>
              <a:gd name="connsiteY10193" fmla="*/ 4763257 h 5973007"/>
              <a:gd name="connsiteX10194" fmla="*/ 735254 w 6884782"/>
              <a:gd name="connsiteY10194" fmla="*/ 4761605 h 5973007"/>
              <a:gd name="connsiteX10195" fmla="*/ 6274955 w 6884782"/>
              <a:gd name="connsiteY10195" fmla="*/ 4761519 h 5973007"/>
              <a:gd name="connsiteX10196" fmla="*/ 6280222 w 6884782"/>
              <a:gd name="connsiteY10196" fmla="*/ 4766889 h 5973007"/>
              <a:gd name="connsiteX10197" fmla="*/ 6275575 w 6884782"/>
              <a:gd name="connsiteY10197" fmla="*/ 4775872 h 5973007"/>
              <a:gd name="connsiteX10198" fmla="*/ 6271703 w 6884782"/>
              <a:gd name="connsiteY10198" fmla="*/ 4775666 h 5973007"/>
              <a:gd name="connsiteX10199" fmla="*/ 6266281 w 6884782"/>
              <a:gd name="connsiteY10199" fmla="*/ 4771535 h 5973007"/>
              <a:gd name="connsiteX10200" fmla="*/ 6274955 w 6884782"/>
              <a:gd name="connsiteY10200" fmla="*/ 4761519 h 5973007"/>
              <a:gd name="connsiteX10201" fmla="*/ 1335167 w 6884782"/>
              <a:gd name="connsiteY10201" fmla="*/ 4761295 h 5973007"/>
              <a:gd name="connsiteX10202" fmla="*/ 1334703 w 6884782"/>
              <a:gd name="connsiteY10202" fmla="*/ 4764909 h 5973007"/>
              <a:gd name="connsiteX10203" fmla="*/ 1330366 w 6884782"/>
              <a:gd name="connsiteY10203" fmla="*/ 4766458 h 5973007"/>
              <a:gd name="connsiteX10204" fmla="*/ 1327113 w 6884782"/>
              <a:gd name="connsiteY10204" fmla="*/ 4764909 h 5973007"/>
              <a:gd name="connsiteX10205" fmla="*/ 1326338 w 6884782"/>
              <a:gd name="connsiteY10205" fmla="*/ 4761708 h 5973007"/>
              <a:gd name="connsiteX10206" fmla="*/ 1335167 w 6884782"/>
              <a:gd name="connsiteY10206" fmla="*/ 4761295 h 5973007"/>
              <a:gd name="connsiteX10207" fmla="*/ 973794 w 6884782"/>
              <a:gd name="connsiteY10207" fmla="*/ 4760469 h 5973007"/>
              <a:gd name="connsiteX10208" fmla="*/ 973175 w 6884782"/>
              <a:gd name="connsiteY10208" fmla="*/ 4765529 h 5973007"/>
              <a:gd name="connsiteX10209" fmla="*/ 970696 w 6884782"/>
              <a:gd name="connsiteY10209" fmla="*/ 4767077 h 5973007"/>
              <a:gd name="connsiteX10210" fmla="*/ 968063 w 6884782"/>
              <a:gd name="connsiteY10210" fmla="*/ 4765425 h 5973007"/>
              <a:gd name="connsiteX10211" fmla="*/ 967134 w 6884782"/>
              <a:gd name="connsiteY10211" fmla="*/ 4761914 h 5973007"/>
              <a:gd name="connsiteX10212" fmla="*/ 973794 w 6884782"/>
              <a:gd name="connsiteY10212" fmla="*/ 4760469 h 5973007"/>
              <a:gd name="connsiteX10213" fmla="*/ 1837031 w 6884782"/>
              <a:gd name="connsiteY10213" fmla="*/ 4760366 h 5973007"/>
              <a:gd name="connsiteX10214" fmla="*/ 1833468 w 6884782"/>
              <a:gd name="connsiteY10214" fmla="*/ 4765115 h 5973007"/>
              <a:gd name="connsiteX10215" fmla="*/ 1835017 w 6884782"/>
              <a:gd name="connsiteY10215" fmla="*/ 4763153 h 5973007"/>
              <a:gd name="connsiteX10216" fmla="*/ 1834708 w 6884782"/>
              <a:gd name="connsiteY10216" fmla="*/ 4761398 h 5973007"/>
              <a:gd name="connsiteX10217" fmla="*/ 1837031 w 6884782"/>
              <a:gd name="connsiteY10217" fmla="*/ 4760366 h 5973007"/>
              <a:gd name="connsiteX10218" fmla="*/ 6125325 w 6884782"/>
              <a:gd name="connsiteY10218" fmla="*/ 4760177 h 5973007"/>
              <a:gd name="connsiteX10219" fmla="*/ 6133845 w 6884782"/>
              <a:gd name="connsiteY10219" fmla="*/ 4766682 h 5973007"/>
              <a:gd name="connsiteX10220" fmla="*/ 6134155 w 6884782"/>
              <a:gd name="connsiteY10220" fmla="*/ 4769057 h 5973007"/>
              <a:gd name="connsiteX10221" fmla="*/ 6135084 w 6884782"/>
              <a:gd name="connsiteY10221" fmla="*/ 4770709 h 5973007"/>
              <a:gd name="connsiteX10222" fmla="*/ 6134310 w 6884782"/>
              <a:gd name="connsiteY10222" fmla="*/ 4776595 h 5973007"/>
              <a:gd name="connsiteX10223" fmla="*/ 6124086 w 6884782"/>
              <a:gd name="connsiteY10223" fmla="*/ 4763688 h 5973007"/>
              <a:gd name="connsiteX10224" fmla="*/ 6123777 w 6884782"/>
              <a:gd name="connsiteY10224" fmla="*/ 4761726 h 5973007"/>
              <a:gd name="connsiteX10225" fmla="*/ 6125325 w 6884782"/>
              <a:gd name="connsiteY10225" fmla="*/ 4760177 h 5973007"/>
              <a:gd name="connsiteX10226" fmla="*/ 1662618 w 6884782"/>
              <a:gd name="connsiteY10226" fmla="*/ 4759746 h 5973007"/>
              <a:gd name="connsiteX10227" fmla="*/ 1664632 w 6884782"/>
              <a:gd name="connsiteY10227" fmla="*/ 4760985 h 5973007"/>
              <a:gd name="connsiteX10228" fmla="*/ 1662928 w 6884782"/>
              <a:gd name="connsiteY10228" fmla="*/ 4769349 h 5973007"/>
              <a:gd name="connsiteX10229" fmla="*/ 1661224 w 6884782"/>
              <a:gd name="connsiteY10229" fmla="*/ 4761398 h 5973007"/>
              <a:gd name="connsiteX10230" fmla="*/ 1662618 w 6884782"/>
              <a:gd name="connsiteY10230" fmla="*/ 4759746 h 5973007"/>
              <a:gd name="connsiteX10231" fmla="*/ 1045821 w 6884782"/>
              <a:gd name="connsiteY10231" fmla="*/ 4759230 h 5973007"/>
              <a:gd name="connsiteX10232" fmla="*/ 1048454 w 6884782"/>
              <a:gd name="connsiteY10232" fmla="*/ 4762947 h 5973007"/>
              <a:gd name="connsiteX10233" fmla="*/ 1045976 w 6884782"/>
              <a:gd name="connsiteY10233" fmla="*/ 4765012 h 5973007"/>
              <a:gd name="connsiteX10234" fmla="*/ 1044272 w 6884782"/>
              <a:gd name="connsiteY10234" fmla="*/ 4763773 h 5973007"/>
              <a:gd name="connsiteX10235" fmla="*/ 1045821 w 6884782"/>
              <a:gd name="connsiteY10235" fmla="*/ 4759230 h 5973007"/>
              <a:gd name="connsiteX10236" fmla="*/ 1295978 w 6884782"/>
              <a:gd name="connsiteY10236" fmla="*/ 4757475 h 5973007"/>
              <a:gd name="connsiteX10237" fmla="*/ 1297218 w 6884782"/>
              <a:gd name="connsiteY10237" fmla="*/ 4766458 h 5973007"/>
              <a:gd name="connsiteX10238" fmla="*/ 1296288 w 6884782"/>
              <a:gd name="connsiteY10238" fmla="*/ 4770588 h 5973007"/>
              <a:gd name="connsiteX10239" fmla="*/ 1296598 w 6884782"/>
              <a:gd name="connsiteY10239" fmla="*/ 4770485 h 5973007"/>
              <a:gd name="connsiteX10240" fmla="*/ 1299851 w 6884782"/>
              <a:gd name="connsiteY10240" fmla="*/ 4771724 h 5973007"/>
              <a:gd name="connsiteX10241" fmla="*/ 1302794 w 6884782"/>
              <a:gd name="connsiteY10241" fmla="*/ 4775751 h 5973007"/>
              <a:gd name="connsiteX10242" fmla="*/ 1317045 w 6884782"/>
              <a:gd name="connsiteY10242" fmla="*/ 4775235 h 5973007"/>
              <a:gd name="connsiteX10243" fmla="*/ 1336871 w 6884782"/>
              <a:gd name="connsiteY10243" fmla="*/ 4774718 h 5973007"/>
              <a:gd name="connsiteX10244" fmla="*/ 1331140 w 6884782"/>
              <a:gd name="connsiteY10244" fmla="*/ 4778539 h 5973007"/>
              <a:gd name="connsiteX10245" fmla="*/ 1331759 w 6884782"/>
              <a:gd name="connsiteY10245" fmla="*/ 4779158 h 5973007"/>
              <a:gd name="connsiteX10246" fmla="*/ 1340589 w 6884782"/>
              <a:gd name="connsiteY10246" fmla="*/ 4779984 h 5973007"/>
              <a:gd name="connsiteX10247" fmla="*/ 1341053 w 6884782"/>
              <a:gd name="connsiteY10247" fmla="*/ 4788245 h 5973007"/>
              <a:gd name="connsiteX10248" fmla="*/ 1339504 w 6884782"/>
              <a:gd name="connsiteY10248" fmla="*/ 4791239 h 5973007"/>
              <a:gd name="connsiteX10249" fmla="*/ 1324479 w 6884782"/>
              <a:gd name="connsiteY10249" fmla="*/ 4782049 h 5973007"/>
              <a:gd name="connsiteX10250" fmla="*/ 1324635 w 6884782"/>
              <a:gd name="connsiteY10250" fmla="*/ 4781533 h 5973007"/>
              <a:gd name="connsiteX10251" fmla="*/ 1317199 w 6884782"/>
              <a:gd name="connsiteY10251" fmla="*/ 4783495 h 5973007"/>
              <a:gd name="connsiteX10252" fmla="*/ 1312088 w 6884782"/>
              <a:gd name="connsiteY10252" fmla="*/ 4784115 h 5973007"/>
              <a:gd name="connsiteX10253" fmla="*/ 1312553 w 6884782"/>
              <a:gd name="connsiteY10253" fmla="*/ 4784528 h 5973007"/>
              <a:gd name="connsiteX10254" fmla="*/ 1308060 w 6884782"/>
              <a:gd name="connsiteY10254" fmla="*/ 4800016 h 5973007"/>
              <a:gd name="connsiteX10255" fmla="*/ 1305427 w 6884782"/>
              <a:gd name="connsiteY10255" fmla="*/ 4799190 h 5973007"/>
              <a:gd name="connsiteX10256" fmla="*/ 1302639 w 6884782"/>
              <a:gd name="connsiteY10256" fmla="*/ 4794234 h 5973007"/>
              <a:gd name="connsiteX10257" fmla="*/ 1302949 w 6884782"/>
              <a:gd name="connsiteY10257" fmla="*/ 4790516 h 5973007"/>
              <a:gd name="connsiteX10258" fmla="*/ 1298457 w 6884782"/>
              <a:gd name="connsiteY10258" fmla="*/ 4790104 h 5973007"/>
              <a:gd name="connsiteX10259" fmla="*/ 1299076 w 6884782"/>
              <a:gd name="connsiteY10259" fmla="*/ 4785457 h 5973007"/>
              <a:gd name="connsiteX10260" fmla="*/ 1299231 w 6884782"/>
              <a:gd name="connsiteY10260" fmla="*/ 4785250 h 5973007"/>
              <a:gd name="connsiteX10261" fmla="*/ 1294275 w 6884782"/>
              <a:gd name="connsiteY10261" fmla="*/ 4785664 h 5973007"/>
              <a:gd name="connsiteX10262" fmla="*/ 1294275 w 6884782"/>
              <a:gd name="connsiteY10262" fmla="*/ 4781430 h 5973007"/>
              <a:gd name="connsiteX10263" fmla="*/ 1294585 w 6884782"/>
              <a:gd name="connsiteY10263" fmla="*/ 4778952 h 5973007"/>
              <a:gd name="connsiteX10264" fmla="*/ 1293655 w 6884782"/>
              <a:gd name="connsiteY10264" fmla="*/ 4778952 h 5973007"/>
              <a:gd name="connsiteX10265" fmla="*/ 1292261 w 6884782"/>
              <a:gd name="connsiteY10265" fmla="*/ 4774099 h 5973007"/>
              <a:gd name="connsiteX10266" fmla="*/ 1292880 w 6884782"/>
              <a:gd name="connsiteY10266" fmla="*/ 4772756 h 5973007"/>
              <a:gd name="connsiteX10267" fmla="*/ 1288699 w 6884782"/>
              <a:gd name="connsiteY10267" fmla="*/ 4773066 h 5973007"/>
              <a:gd name="connsiteX10268" fmla="*/ 1284826 w 6884782"/>
              <a:gd name="connsiteY10268" fmla="*/ 4771517 h 5973007"/>
              <a:gd name="connsiteX10269" fmla="*/ 1283896 w 6884782"/>
              <a:gd name="connsiteY10269" fmla="*/ 4769659 h 5973007"/>
              <a:gd name="connsiteX10270" fmla="*/ 1282812 w 6884782"/>
              <a:gd name="connsiteY10270" fmla="*/ 4771414 h 5973007"/>
              <a:gd name="connsiteX10271" fmla="*/ 1277856 w 6884782"/>
              <a:gd name="connsiteY10271" fmla="*/ 4773376 h 5973007"/>
              <a:gd name="connsiteX10272" fmla="*/ 1272589 w 6884782"/>
              <a:gd name="connsiteY10272" fmla="*/ 4772963 h 5973007"/>
              <a:gd name="connsiteX10273" fmla="*/ 1275533 w 6884782"/>
              <a:gd name="connsiteY10273" fmla="*/ 4767904 h 5973007"/>
              <a:gd name="connsiteX10274" fmla="*/ 1283277 w 6884782"/>
              <a:gd name="connsiteY10274" fmla="*/ 4767181 h 5973007"/>
              <a:gd name="connsiteX10275" fmla="*/ 1284052 w 6884782"/>
              <a:gd name="connsiteY10275" fmla="*/ 4768523 h 5973007"/>
              <a:gd name="connsiteX10276" fmla="*/ 1284826 w 6884782"/>
              <a:gd name="connsiteY10276" fmla="*/ 4764909 h 5973007"/>
              <a:gd name="connsiteX10277" fmla="*/ 1295978 w 6884782"/>
              <a:gd name="connsiteY10277" fmla="*/ 4757475 h 5973007"/>
              <a:gd name="connsiteX10278" fmla="*/ 1847564 w 6884782"/>
              <a:gd name="connsiteY10278" fmla="*/ 4756958 h 5973007"/>
              <a:gd name="connsiteX10279" fmla="*/ 1848339 w 6884782"/>
              <a:gd name="connsiteY10279" fmla="*/ 4756958 h 5973007"/>
              <a:gd name="connsiteX10280" fmla="*/ 1847409 w 6884782"/>
              <a:gd name="connsiteY10280" fmla="*/ 4758920 h 5973007"/>
              <a:gd name="connsiteX10281" fmla="*/ 1846945 w 6884782"/>
              <a:gd name="connsiteY10281" fmla="*/ 4758301 h 5973007"/>
              <a:gd name="connsiteX10282" fmla="*/ 1847564 w 6884782"/>
              <a:gd name="connsiteY10282" fmla="*/ 4756958 h 5973007"/>
              <a:gd name="connsiteX10283" fmla="*/ 1546755 w 6884782"/>
              <a:gd name="connsiteY10283" fmla="*/ 4756648 h 5973007"/>
              <a:gd name="connsiteX10284" fmla="*/ 1561935 w 6884782"/>
              <a:gd name="connsiteY10284" fmla="*/ 4778952 h 5973007"/>
              <a:gd name="connsiteX10285" fmla="*/ 1553261 w 6884782"/>
              <a:gd name="connsiteY10285" fmla="*/ 4785457 h 5973007"/>
              <a:gd name="connsiteX10286" fmla="*/ 1550008 w 6884782"/>
              <a:gd name="connsiteY10286" fmla="*/ 4785250 h 5973007"/>
              <a:gd name="connsiteX10287" fmla="*/ 1546601 w 6884782"/>
              <a:gd name="connsiteY10287" fmla="*/ 4783392 h 5973007"/>
              <a:gd name="connsiteX10288" fmla="*/ 1546291 w 6884782"/>
              <a:gd name="connsiteY10288" fmla="*/ 4783495 h 5973007"/>
              <a:gd name="connsiteX10289" fmla="*/ 1539320 w 6884782"/>
              <a:gd name="connsiteY10289" fmla="*/ 4779984 h 5973007"/>
              <a:gd name="connsiteX10290" fmla="*/ 1540095 w 6884782"/>
              <a:gd name="connsiteY10290" fmla="*/ 4775648 h 5973007"/>
              <a:gd name="connsiteX10291" fmla="*/ 1539785 w 6884782"/>
              <a:gd name="connsiteY10291" fmla="*/ 4766768 h 5973007"/>
              <a:gd name="connsiteX10292" fmla="*/ 1546755 w 6884782"/>
              <a:gd name="connsiteY10292" fmla="*/ 4756648 h 5973007"/>
              <a:gd name="connsiteX10293" fmla="*/ 6053144 w 6884782"/>
              <a:gd name="connsiteY10293" fmla="*/ 4756253 h 5973007"/>
              <a:gd name="connsiteX10294" fmla="*/ 6061508 w 6884782"/>
              <a:gd name="connsiteY10294" fmla="*/ 4787540 h 5973007"/>
              <a:gd name="connsiteX10295" fmla="*/ 6050201 w 6884782"/>
              <a:gd name="connsiteY10295" fmla="*/ 4774013 h 5973007"/>
              <a:gd name="connsiteX10296" fmla="*/ 6053144 w 6884782"/>
              <a:gd name="connsiteY10296" fmla="*/ 4756253 h 5973007"/>
              <a:gd name="connsiteX10297" fmla="*/ 994860 w 6884782"/>
              <a:gd name="connsiteY10297" fmla="*/ 4756132 h 5973007"/>
              <a:gd name="connsiteX10298" fmla="*/ 1001211 w 6884782"/>
              <a:gd name="connsiteY10298" fmla="*/ 4761192 h 5973007"/>
              <a:gd name="connsiteX10299" fmla="*/ 995790 w 6884782"/>
              <a:gd name="connsiteY10299" fmla="*/ 4777093 h 5973007"/>
              <a:gd name="connsiteX10300" fmla="*/ 995170 w 6884782"/>
              <a:gd name="connsiteY10300" fmla="*/ 4776680 h 5973007"/>
              <a:gd name="connsiteX10301" fmla="*/ 993466 w 6884782"/>
              <a:gd name="connsiteY10301" fmla="*/ 4782153 h 5973007"/>
              <a:gd name="connsiteX10302" fmla="*/ 990058 w 6884782"/>
              <a:gd name="connsiteY10302" fmla="*/ 4782463 h 5973007"/>
              <a:gd name="connsiteX10303" fmla="*/ 982778 w 6884782"/>
              <a:gd name="connsiteY10303" fmla="*/ 4776990 h 5973007"/>
              <a:gd name="connsiteX10304" fmla="*/ 982313 w 6884782"/>
              <a:gd name="connsiteY10304" fmla="*/ 4776577 h 5973007"/>
              <a:gd name="connsiteX10305" fmla="*/ 981229 w 6884782"/>
              <a:gd name="connsiteY10305" fmla="*/ 4776061 h 5973007"/>
              <a:gd name="connsiteX10306" fmla="*/ 981074 w 6884782"/>
              <a:gd name="connsiteY10306" fmla="*/ 4776371 h 5973007"/>
              <a:gd name="connsiteX10307" fmla="*/ 981074 w 6884782"/>
              <a:gd name="connsiteY10307" fmla="*/ 4776061 h 5973007"/>
              <a:gd name="connsiteX10308" fmla="*/ 979061 w 6884782"/>
              <a:gd name="connsiteY10308" fmla="*/ 4775235 h 5973007"/>
              <a:gd name="connsiteX10309" fmla="*/ 979835 w 6884782"/>
              <a:gd name="connsiteY10309" fmla="*/ 4773789 h 5973007"/>
              <a:gd name="connsiteX10310" fmla="*/ 978906 w 6884782"/>
              <a:gd name="connsiteY10310" fmla="*/ 4771208 h 5973007"/>
              <a:gd name="connsiteX10311" fmla="*/ 980455 w 6884782"/>
              <a:gd name="connsiteY10311" fmla="*/ 4769452 h 5973007"/>
              <a:gd name="connsiteX10312" fmla="*/ 985411 w 6884782"/>
              <a:gd name="connsiteY10312" fmla="*/ 4769349 h 5973007"/>
              <a:gd name="connsiteX10313" fmla="*/ 988509 w 6884782"/>
              <a:gd name="connsiteY10313" fmla="*/ 4763360 h 5973007"/>
              <a:gd name="connsiteX10314" fmla="*/ 990058 w 6884782"/>
              <a:gd name="connsiteY10314" fmla="*/ 4760366 h 5973007"/>
              <a:gd name="connsiteX10315" fmla="*/ 989129 w 6884782"/>
              <a:gd name="connsiteY10315" fmla="*/ 4761192 h 5973007"/>
              <a:gd name="connsiteX10316" fmla="*/ 976737 w 6884782"/>
              <a:gd name="connsiteY10316" fmla="*/ 4760056 h 5973007"/>
              <a:gd name="connsiteX10317" fmla="*/ 984792 w 6884782"/>
              <a:gd name="connsiteY10317" fmla="*/ 4756236 h 5973007"/>
              <a:gd name="connsiteX10318" fmla="*/ 991452 w 6884782"/>
              <a:gd name="connsiteY10318" fmla="*/ 4758714 h 5973007"/>
              <a:gd name="connsiteX10319" fmla="*/ 1862899 w 6884782"/>
              <a:gd name="connsiteY10319" fmla="*/ 4755616 h 5973007"/>
              <a:gd name="connsiteX10320" fmla="*/ 1863364 w 6884782"/>
              <a:gd name="connsiteY10320" fmla="*/ 4757991 h 5973007"/>
              <a:gd name="connsiteX10321" fmla="*/ 1865687 w 6884782"/>
              <a:gd name="connsiteY10321" fmla="*/ 4757371 h 5973007"/>
              <a:gd name="connsiteX10322" fmla="*/ 1874051 w 6884782"/>
              <a:gd name="connsiteY10322" fmla="*/ 4763670 h 5973007"/>
              <a:gd name="connsiteX10323" fmla="*/ 1873587 w 6884782"/>
              <a:gd name="connsiteY10323" fmla="*/ 4768833 h 5973007"/>
              <a:gd name="connsiteX10324" fmla="*/ 1871418 w 6884782"/>
              <a:gd name="connsiteY10324" fmla="*/ 4771621 h 5973007"/>
              <a:gd name="connsiteX10325" fmla="*/ 1871418 w 6884782"/>
              <a:gd name="connsiteY10325" fmla="*/ 4771724 h 5973007"/>
              <a:gd name="connsiteX10326" fmla="*/ 1871728 w 6884782"/>
              <a:gd name="connsiteY10326" fmla="*/ 4777403 h 5973007"/>
              <a:gd name="connsiteX10327" fmla="*/ 1869249 w 6884782"/>
              <a:gd name="connsiteY10327" fmla="*/ 4783805 h 5973007"/>
              <a:gd name="connsiteX10328" fmla="*/ 1867081 w 6884782"/>
              <a:gd name="connsiteY10328" fmla="*/ 4784734 h 5973007"/>
              <a:gd name="connsiteX10329" fmla="*/ 1868940 w 6884782"/>
              <a:gd name="connsiteY10329" fmla="*/ 4787109 h 5973007"/>
              <a:gd name="connsiteX10330" fmla="*/ 1869249 w 6884782"/>
              <a:gd name="connsiteY10330" fmla="*/ 4790620 h 5973007"/>
              <a:gd name="connsiteX10331" fmla="*/ 1866307 w 6884782"/>
              <a:gd name="connsiteY10331" fmla="*/ 4787935 h 5973007"/>
              <a:gd name="connsiteX10332" fmla="*/ 1865222 w 6884782"/>
              <a:gd name="connsiteY10332" fmla="*/ 4786386 h 5973007"/>
              <a:gd name="connsiteX10333" fmla="*/ 1865997 w 6884782"/>
              <a:gd name="connsiteY10333" fmla="*/ 4785147 h 5973007"/>
              <a:gd name="connsiteX10334" fmla="*/ 1865687 w 6884782"/>
              <a:gd name="connsiteY10334" fmla="*/ 4785250 h 5973007"/>
              <a:gd name="connsiteX10335" fmla="*/ 1861350 w 6884782"/>
              <a:gd name="connsiteY10335" fmla="*/ 4785044 h 5973007"/>
              <a:gd name="connsiteX10336" fmla="*/ 1861350 w 6884782"/>
              <a:gd name="connsiteY10336" fmla="*/ 4785147 h 5973007"/>
              <a:gd name="connsiteX10337" fmla="*/ 1860111 w 6884782"/>
              <a:gd name="connsiteY10337" fmla="*/ 4785354 h 5973007"/>
              <a:gd name="connsiteX10338" fmla="*/ 1860111 w 6884782"/>
              <a:gd name="connsiteY10338" fmla="*/ 4785044 h 5973007"/>
              <a:gd name="connsiteX10339" fmla="*/ 1860266 w 6884782"/>
              <a:gd name="connsiteY10339" fmla="*/ 4784941 h 5973007"/>
              <a:gd name="connsiteX10340" fmla="*/ 1860576 w 6884782"/>
              <a:gd name="connsiteY10340" fmla="*/ 4783599 h 5973007"/>
              <a:gd name="connsiteX10341" fmla="*/ 1861040 w 6884782"/>
              <a:gd name="connsiteY10341" fmla="*/ 4783185 h 5973007"/>
              <a:gd name="connsiteX10342" fmla="*/ 1861814 w 6884782"/>
              <a:gd name="connsiteY10342" fmla="*/ 4781120 h 5973007"/>
              <a:gd name="connsiteX10343" fmla="*/ 1861814 w 6884782"/>
              <a:gd name="connsiteY10343" fmla="*/ 4780088 h 5973007"/>
              <a:gd name="connsiteX10344" fmla="*/ 1863364 w 6884782"/>
              <a:gd name="connsiteY10344" fmla="*/ 4777300 h 5973007"/>
              <a:gd name="connsiteX10345" fmla="*/ 1864293 w 6884782"/>
              <a:gd name="connsiteY10345" fmla="*/ 4772963 h 5973007"/>
              <a:gd name="connsiteX10346" fmla="*/ 1862744 w 6884782"/>
              <a:gd name="connsiteY10346" fmla="*/ 4772963 h 5973007"/>
              <a:gd name="connsiteX10347" fmla="*/ 1860266 w 6884782"/>
              <a:gd name="connsiteY10347" fmla="*/ 4771414 h 5973007"/>
              <a:gd name="connsiteX10348" fmla="*/ 1859181 w 6884782"/>
              <a:gd name="connsiteY10348" fmla="*/ 4769555 h 5973007"/>
              <a:gd name="connsiteX10349" fmla="*/ 1859181 w 6884782"/>
              <a:gd name="connsiteY10349" fmla="*/ 4771208 h 5973007"/>
              <a:gd name="connsiteX10350" fmla="*/ 1855774 w 6884782"/>
              <a:gd name="connsiteY10350" fmla="*/ 4769865 h 5973007"/>
              <a:gd name="connsiteX10351" fmla="*/ 1855154 w 6884782"/>
              <a:gd name="connsiteY10351" fmla="*/ 4767077 h 5973007"/>
              <a:gd name="connsiteX10352" fmla="*/ 1855928 w 6884782"/>
              <a:gd name="connsiteY10352" fmla="*/ 4767181 h 5973007"/>
              <a:gd name="connsiteX10353" fmla="*/ 1858717 w 6884782"/>
              <a:gd name="connsiteY10353" fmla="*/ 4766974 h 5973007"/>
              <a:gd name="connsiteX10354" fmla="*/ 1858562 w 6884782"/>
              <a:gd name="connsiteY10354" fmla="*/ 4763980 h 5973007"/>
              <a:gd name="connsiteX10355" fmla="*/ 1859026 w 6884782"/>
              <a:gd name="connsiteY10355" fmla="*/ 4762534 h 5973007"/>
              <a:gd name="connsiteX10356" fmla="*/ 1858717 w 6884782"/>
              <a:gd name="connsiteY10356" fmla="*/ 4761088 h 5973007"/>
              <a:gd name="connsiteX10357" fmla="*/ 1853296 w 6884782"/>
              <a:gd name="connsiteY10357" fmla="*/ 4762534 h 5973007"/>
              <a:gd name="connsiteX10358" fmla="*/ 1847409 w 6884782"/>
              <a:gd name="connsiteY10358" fmla="*/ 4763153 h 5973007"/>
              <a:gd name="connsiteX10359" fmla="*/ 1847100 w 6884782"/>
              <a:gd name="connsiteY10359" fmla="*/ 4763050 h 5973007"/>
              <a:gd name="connsiteX10360" fmla="*/ 1846945 w 6884782"/>
              <a:gd name="connsiteY10360" fmla="*/ 4763360 h 5973007"/>
              <a:gd name="connsiteX10361" fmla="*/ 1846635 w 6884782"/>
              <a:gd name="connsiteY10361" fmla="*/ 4763050 h 5973007"/>
              <a:gd name="connsiteX10362" fmla="*/ 1845086 w 6884782"/>
              <a:gd name="connsiteY10362" fmla="*/ 4762431 h 5973007"/>
              <a:gd name="connsiteX10363" fmla="*/ 1847254 w 6884782"/>
              <a:gd name="connsiteY10363" fmla="*/ 4760572 h 5973007"/>
              <a:gd name="connsiteX10364" fmla="*/ 1848493 w 6884782"/>
              <a:gd name="connsiteY10364" fmla="*/ 4760263 h 5973007"/>
              <a:gd name="connsiteX10365" fmla="*/ 1848958 w 6884782"/>
              <a:gd name="connsiteY10365" fmla="*/ 4759437 h 5973007"/>
              <a:gd name="connsiteX10366" fmla="*/ 1849578 w 6884782"/>
              <a:gd name="connsiteY10366" fmla="*/ 4759953 h 5973007"/>
              <a:gd name="connsiteX10367" fmla="*/ 1851901 w 6884782"/>
              <a:gd name="connsiteY10367" fmla="*/ 4759230 h 5973007"/>
              <a:gd name="connsiteX10368" fmla="*/ 1856858 w 6884782"/>
              <a:gd name="connsiteY10368" fmla="*/ 4755926 h 5973007"/>
              <a:gd name="connsiteX10369" fmla="*/ 1862899 w 6884782"/>
              <a:gd name="connsiteY10369" fmla="*/ 4755616 h 5973007"/>
              <a:gd name="connsiteX10370" fmla="*/ 1720240 w 6884782"/>
              <a:gd name="connsiteY10370" fmla="*/ 4755409 h 5973007"/>
              <a:gd name="connsiteX10371" fmla="*/ 1724576 w 6884782"/>
              <a:gd name="connsiteY10371" fmla="*/ 4761708 h 5973007"/>
              <a:gd name="connsiteX10372" fmla="*/ 1720859 w 6884782"/>
              <a:gd name="connsiteY10372" fmla="*/ 4763980 h 5973007"/>
              <a:gd name="connsiteX10373" fmla="*/ 1716987 w 6884782"/>
              <a:gd name="connsiteY10373" fmla="*/ 4760882 h 5973007"/>
              <a:gd name="connsiteX10374" fmla="*/ 1714818 w 6884782"/>
              <a:gd name="connsiteY10374" fmla="*/ 4755926 h 5973007"/>
              <a:gd name="connsiteX10375" fmla="*/ 1720240 w 6884782"/>
              <a:gd name="connsiteY10375" fmla="*/ 4755409 h 5973007"/>
              <a:gd name="connsiteX10376" fmla="*/ 1488204 w 6884782"/>
              <a:gd name="connsiteY10376" fmla="*/ 4755100 h 5973007"/>
              <a:gd name="connsiteX10377" fmla="*/ 1489134 w 6884782"/>
              <a:gd name="connsiteY10377" fmla="*/ 4761295 h 5973007"/>
              <a:gd name="connsiteX10378" fmla="*/ 1489909 w 6884782"/>
              <a:gd name="connsiteY10378" fmla="*/ 4762224 h 5973007"/>
              <a:gd name="connsiteX10379" fmla="*/ 1490064 w 6884782"/>
              <a:gd name="connsiteY10379" fmla="*/ 4762224 h 5973007"/>
              <a:gd name="connsiteX10380" fmla="*/ 1490218 w 6884782"/>
              <a:gd name="connsiteY10380" fmla="*/ 4762638 h 5973007"/>
              <a:gd name="connsiteX10381" fmla="*/ 1490993 w 6884782"/>
              <a:gd name="connsiteY10381" fmla="*/ 4763360 h 5973007"/>
              <a:gd name="connsiteX10382" fmla="*/ 1490993 w 6884782"/>
              <a:gd name="connsiteY10382" fmla="*/ 4763773 h 5973007"/>
              <a:gd name="connsiteX10383" fmla="*/ 1492387 w 6884782"/>
              <a:gd name="connsiteY10383" fmla="*/ 4765529 h 5973007"/>
              <a:gd name="connsiteX10384" fmla="*/ 1495330 w 6884782"/>
              <a:gd name="connsiteY10384" fmla="*/ 4768626 h 5973007"/>
              <a:gd name="connsiteX10385" fmla="*/ 1491922 w 6884782"/>
              <a:gd name="connsiteY10385" fmla="*/ 4770691 h 5973007"/>
              <a:gd name="connsiteX10386" fmla="*/ 1489289 w 6884782"/>
              <a:gd name="connsiteY10386" fmla="*/ 4768833 h 5973007"/>
              <a:gd name="connsiteX10387" fmla="*/ 1488360 w 6884782"/>
              <a:gd name="connsiteY10387" fmla="*/ 4768833 h 5973007"/>
              <a:gd name="connsiteX10388" fmla="*/ 1486501 w 6884782"/>
              <a:gd name="connsiteY10388" fmla="*/ 4766768 h 5973007"/>
              <a:gd name="connsiteX10389" fmla="*/ 1486501 w 6884782"/>
              <a:gd name="connsiteY10389" fmla="*/ 4765632 h 5973007"/>
              <a:gd name="connsiteX10390" fmla="*/ 1484642 w 6884782"/>
              <a:gd name="connsiteY10390" fmla="*/ 4762534 h 5973007"/>
              <a:gd name="connsiteX10391" fmla="*/ 1486191 w 6884782"/>
              <a:gd name="connsiteY10391" fmla="*/ 4762534 h 5973007"/>
              <a:gd name="connsiteX10392" fmla="*/ 1487895 w 6884782"/>
              <a:gd name="connsiteY10392" fmla="*/ 4759746 h 5973007"/>
              <a:gd name="connsiteX10393" fmla="*/ 1488204 w 6884782"/>
              <a:gd name="connsiteY10393" fmla="*/ 4755100 h 5973007"/>
              <a:gd name="connsiteX10394" fmla="*/ 6227402 w 6884782"/>
              <a:gd name="connsiteY10394" fmla="*/ 4755014 h 5973007"/>
              <a:gd name="connsiteX10395" fmla="*/ 6230190 w 6884782"/>
              <a:gd name="connsiteY10395" fmla="*/ 4758835 h 5973007"/>
              <a:gd name="connsiteX10396" fmla="*/ 6229106 w 6884782"/>
              <a:gd name="connsiteY10396" fmla="*/ 4762242 h 5973007"/>
              <a:gd name="connsiteX10397" fmla="*/ 6229726 w 6884782"/>
              <a:gd name="connsiteY10397" fmla="*/ 4762139 h 5973007"/>
              <a:gd name="connsiteX10398" fmla="*/ 6229571 w 6884782"/>
              <a:gd name="connsiteY10398" fmla="*/ 4762759 h 5973007"/>
              <a:gd name="connsiteX10399" fmla="*/ 6232824 w 6884782"/>
              <a:gd name="connsiteY10399" fmla="*/ 4763791 h 5973007"/>
              <a:gd name="connsiteX10400" fmla="*/ 6230345 w 6884782"/>
              <a:gd name="connsiteY10400" fmla="*/ 4767611 h 5973007"/>
              <a:gd name="connsiteX10401" fmla="*/ 6228022 w 6884782"/>
              <a:gd name="connsiteY10401" fmla="*/ 4765030 h 5973007"/>
              <a:gd name="connsiteX10402" fmla="*/ 6228486 w 6884782"/>
              <a:gd name="connsiteY10402" fmla="*/ 4763688 h 5973007"/>
              <a:gd name="connsiteX10403" fmla="*/ 6228796 w 6884782"/>
              <a:gd name="connsiteY10403" fmla="*/ 4762345 h 5973007"/>
              <a:gd name="connsiteX10404" fmla="*/ 6227402 w 6884782"/>
              <a:gd name="connsiteY10404" fmla="*/ 4761623 h 5973007"/>
              <a:gd name="connsiteX10405" fmla="*/ 6223375 w 6884782"/>
              <a:gd name="connsiteY10405" fmla="*/ 4759351 h 5973007"/>
              <a:gd name="connsiteX10406" fmla="*/ 6227402 w 6884782"/>
              <a:gd name="connsiteY10406" fmla="*/ 4755014 h 5973007"/>
              <a:gd name="connsiteX10407" fmla="*/ 1422683 w 6884782"/>
              <a:gd name="connsiteY10407" fmla="*/ 4754893 h 5973007"/>
              <a:gd name="connsiteX10408" fmla="*/ 1422219 w 6884782"/>
              <a:gd name="connsiteY10408" fmla="*/ 4762534 h 5973007"/>
              <a:gd name="connsiteX10409" fmla="*/ 1419586 w 6884782"/>
              <a:gd name="connsiteY10409" fmla="*/ 4763050 h 5973007"/>
              <a:gd name="connsiteX10410" fmla="*/ 1416953 w 6884782"/>
              <a:gd name="connsiteY10410" fmla="*/ 4757165 h 5973007"/>
              <a:gd name="connsiteX10411" fmla="*/ 1418502 w 6884782"/>
              <a:gd name="connsiteY10411" fmla="*/ 4755100 h 5973007"/>
              <a:gd name="connsiteX10412" fmla="*/ 1422683 w 6884782"/>
              <a:gd name="connsiteY10412" fmla="*/ 4754893 h 5973007"/>
              <a:gd name="connsiteX10413" fmla="*/ 866761 w 6884782"/>
              <a:gd name="connsiteY10413" fmla="*/ 4754686 h 5973007"/>
              <a:gd name="connsiteX10414" fmla="*/ 874506 w 6884782"/>
              <a:gd name="connsiteY10414" fmla="*/ 4760056 h 5973007"/>
              <a:gd name="connsiteX10415" fmla="*/ 868620 w 6884782"/>
              <a:gd name="connsiteY10415" fmla="*/ 4766251 h 5973007"/>
              <a:gd name="connsiteX10416" fmla="*/ 862888 w 6884782"/>
              <a:gd name="connsiteY10416" fmla="*/ 4763464 h 5973007"/>
              <a:gd name="connsiteX10417" fmla="*/ 866761 w 6884782"/>
              <a:gd name="connsiteY10417" fmla="*/ 4754686 h 5973007"/>
              <a:gd name="connsiteX10418" fmla="*/ 1500751 w 6884782"/>
              <a:gd name="connsiteY10418" fmla="*/ 4754583 h 5973007"/>
              <a:gd name="connsiteX10419" fmla="*/ 1509271 w 6884782"/>
              <a:gd name="connsiteY10419" fmla="*/ 4761295 h 5973007"/>
              <a:gd name="connsiteX10420" fmla="*/ 1509581 w 6884782"/>
              <a:gd name="connsiteY10420" fmla="*/ 4763050 h 5973007"/>
              <a:gd name="connsiteX10421" fmla="*/ 1507876 w 6884782"/>
              <a:gd name="connsiteY10421" fmla="*/ 4764393 h 5973007"/>
              <a:gd name="connsiteX10422" fmla="*/ 1506018 w 6884782"/>
              <a:gd name="connsiteY10422" fmla="*/ 4764703 h 5973007"/>
              <a:gd name="connsiteX10423" fmla="*/ 1504004 w 6884782"/>
              <a:gd name="connsiteY10423" fmla="*/ 4762121 h 5973007"/>
              <a:gd name="connsiteX10424" fmla="*/ 1502300 w 6884782"/>
              <a:gd name="connsiteY10424" fmla="*/ 4757371 h 5973007"/>
              <a:gd name="connsiteX10425" fmla="*/ 1500441 w 6884782"/>
              <a:gd name="connsiteY10425" fmla="*/ 4755306 h 5973007"/>
              <a:gd name="connsiteX10426" fmla="*/ 1500751 w 6884782"/>
              <a:gd name="connsiteY10426" fmla="*/ 4754583 h 5973007"/>
              <a:gd name="connsiteX10427" fmla="*/ 1142011 w 6884782"/>
              <a:gd name="connsiteY10427" fmla="*/ 4753757 h 5973007"/>
              <a:gd name="connsiteX10428" fmla="*/ 1143560 w 6884782"/>
              <a:gd name="connsiteY10428" fmla="*/ 4757371 h 5973007"/>
              <a:gd name="connsiteX10429" fmla="*/ 1143716 w 6884782"/>
              <a:gd name="connsiteY10429" fmla="*/ 4756855 h 5973007"/>
              <a:gd name="connsiteX10430" fmla="*/ 1144799 w 6884782"/>
              <a:gd name="connsiteY10430" fmla="*/ 4780191 h 5973007"/>
              <a:gd name="connsiteX10431" fmla="*/ 1140463 w 6884782"/>
              <a:gd name="connsiteY10431" fmla="*/ 4767387 h 5973007"/>
              <a:gd name="connsiteX10432" fmla="*/ 1140927 w 6884782"/>
              <a:gd name="connsiteY10432" fmla="*/ 4763257 h 5973007"/>
              <a:gd name="connsiteX10433" fmla="*/ 1137984 w 6884782"/>
              <a:gd name="connsiteY10433" fmla="*/ 4762328 h 5973007"/>
              <a:gd name="connsiteX10434" fmla="*/ 1132408 w 6884782"/>
              <a:gd name="connsiteY10434" fmla="*/ 4759333 h 5973007"/>
              <a:gd name="connsiteX10435" fmla="*/ 1142011 w 6884782"/>
              <a:gd name="connsiteY10435" fmla="*/ 4753757 h 5973007"/>
              <a:gd name="connsiteX10436" fmla="*/ 758023 w 6884782"/>
              <a:gd name="connsiteY10436" fmla="*/ 4753551 h 5973007"/>
              <a:gd name="connsiteX10437" fmla="*/ 758643 w 6884782"/>
              <a:gd name="connsiteY10437" fmla="*/ 4754067 h 5973007"/>
              <a:gd name="connsiteX10438" fmla="*/ 758953 w 6884782"/>
              <a:gd name="connsiteY10438" fmla="*/ 4753757 h 5973007"/>
              <a:gd name="connsiteX10439" fmla="*/ 761896 w 6884782"/>
              <a:gd name="connsiteY10439" fmla="*/ 4753861 h 5973007"/>
              <a:gd name="connsiteX10440" fmla="*/ 765923 w 6884782"/>
              <a:gd name="connsiteY10440" fmla="*/ 4753551 h 5973007"/>
              <a:gd name="connsiteX10441" fmla="*/ 779709 w 6884782"/>
              <a:gd name="connsiteY10441" fmla="*/ 4756339 h 5973007"/>
              <a:gd name="connsiteX10442" fmla="*/ 774133 w 6884782"/>
              <a:gd name="connsiteY10442" fmla="*/ 4757681 h 5973007"/>
              <a:gd name="connsiteX10443" fmla="*/ 766698 w 6884782"/>
              <a:gd name="connsiteY10443" fmla="*/ 4757578 h 5973007"/>
              <a:gd name="connsiteX10444" fmla="*/ 761276 w 6884782"/>
              <a:gd name="connsiteY10444" fmla="*/ 4758301 h 5973007"/>
              <a:gd name="connsiteX10445" fmla="*/ 760347 w 6884782"/>
              <a:gd name="connsiteY10445" fmla="*/ 4759953 h 5973007"/>
              <a:gd name="connsiteX10446" fmla="*/ 758643 w 6884782"/>
              <a:gd name="connsiteY10446" fmla="*/ 4761502 h 5973007"/>
              <a:gd name="connsiteX10447" fmla="*/ 757094 w 6884782"/>
              <a:gd name="connsiteY10447" fmla="*/ 4761708 h 5973007"/>
              <a:gd name="connsiteX10448" fmla="*/ 756010 w 6884782"/>
              <a:gd name="connsiteY10448" fmla="*/ 4760779 h 5973007"/>
              <a:gd name="connsiteX10449" fmla="*/ 758023 w 6884782"/>
              <a:gd name="connsiteY10449" fmla="*/ 4753551 h 5973007"/>
              <a:gd name="connsiteX10450" fmla="*/ 1822006 w 6884782"/>
              <a:gd name="connsiteY10450" fmla="*/ 4753035 h 5973007"/>
              <a:gd name="connsiteX10451" fmla="*/ 1816895 w 6884782"/>
              <a:gd name="connsiteY10451" fmla="*/ 4757475 h 5973007"/>
              <a:gd name="connsiteX10452" fmla="*/ 1815501 w 6884782"/>
              <a:gd name="connsiteY10452" fmla="*/ 4757165 h 5973007"/>
              <a:gd name="connsiteX10453" fmla="*/ 1822006 w 6884782"/>
              <a:gd name="connsiteY10453" fmla="*/ 4753035 h 5973007"/>
              <a:gd name="connsiteX10454" fmla="*/ 1850662 w 6884782"/>
              <a:gd name="connsiteY10454" fmla="*/ 4752002 h 5973007"/>
              <a:gd name="connsiteX10455" fmla="*/ 1847719 w 6884782"/>
              <a:gd name="connsiteY10455" fmla="*/ 4756339 h 5973007"/>
              <a:gd name="connsiteX10456" fmla="*/ 1848029 w 6884782"/>
              <a:gd name="connsiteY10456" fmla="*/ 4752828 h 5973007"/>
              <a:gd name="connsiteX10457" fmla="*/ 1850662 w 6884782"/>
              <a:gd name="connsiteY10457" fmla="*/ 4752002 h 5973007"/>
              <a:gd name="connsiteX10458" fmla="*/ 1432345 w 6884782"/>
              <a:gd name="connsiteY10458" fmla="*/ 4751950 h 5973007"/>
              <a:gd name="connsiteX10459" fmla="*/ 1437399 w 6884782"/>
              <a:gd name="connsiteY10459" fmla="*/ 4758507 h 5973007"/>
              <a:gd name="connsiteX10460" fmla="*/ 1431048 w 6884782"/>
              <a:gd name="connsiteY10460" fmla="*/ 4761295 h 5973007"/>
              <a:gd name="connsiteX10461" fmla="*/ 1425317 w 6884782"/>
              <a:gd name="connsiteY10461" fmla="*/ 4757991 h 5973007"/>
              <a:gd name="connsiteX10462" fmla="*/ 1424388 w 6884782"/>
              <a:gd name="connsiteY10462" fmla="*/ 4753757 h 5973007"/>
              <a:gd name="connsiteX10463" fmla="*/ 1432345 w 6884782"/>
              <a:gd name="connsiteY10463" fmla="*/ 4751950 h 5973007"/>
              <a:gd name="connsiteX10464" fmla="*/ 6077927 w 6884782"/>
              <a:gd name="connsiteY10464" fmla="*/ 4751916 h 5973007"/>
              <a:gd name="connsiteX10465" fmla="*/ 6077772 w 6884782"/>
              <a:gd name="connsiteY10465" fmla="*/ 4757079 h 5973007"/>
              <a:gd name="connsiteX10466" fmla="*/ 6075604 w 6884782"/>
              <a:gd name="connsiteY10466" fmla="*/ 4758835 h 5973007"/>
              <a:gd name="connsiteX10467" fmla="*/ 6072816 w 6884782"/>
              <a:gd name="connsiteY10467" fmla="*/ 4757389 h 5973007"/>
              <a:gd name="connsiteX10468" fmla="*/ 6071422 w 6884782"/>
              <a:gd name="connsiteY10468" fmla="*/ 4753982 h 5973007"/>
              <a:gd name="connsiteX10469" fmla="*/ 6077927 w 6884782"/>
              <a:gd name="connsiteY10469" fmla="*/ 4751916 h 5973007"/>
              <a:gd name="connsiteX10470" fmla="*/ 1344984 w 6884782"/>
              <a:gd name="connsiteY10470" fmla="*/ 4751408 h 5973007"/>
              <a:gd name="connsiteX10471" fmla="*/ 1345391 w 6884782"/>
              <a:gd name="connsiteY10471" fmla="*/ 4756855 h 5973007"/>
              <a:gd name="connsiteX10472" fmla="*/ 1341208 w 6884782"/>
              <a:gd name="connsiteY10472" fmla="*/ 4753241 h 5973007"/>
              <a:gd name="connsiteX10473" fmla="*/ 1344984 w 6884782"/>
              <a:gd name="connsiteY10473" fmla="*/ 4751408 h 5973007"/>
              <a:gd name="connsiteX10474" fmla="*/ 6299429 w 6884782"/>
              <a:gd name="connsiteY10474" fmla="*/ 4750781 h 5973007"/>
              <a:gd name="connsiteX10475" fmla="*/ 6297261 w 6884782"/>
              <a:gd name="connsiteY10475" fmla="*/ 4760694 h 5973007"/>
              <a:gd name="connsiteX10476" fmla="*/ 6291684 w 6884782"/>
              <a:gd name="connsiteY10476" fmla="*/ 4757596 h 5973007"/>
              <a:gd name="connsiteX10477" fmla="*/ 6299429 w 6884782"/>
              <a:gd name="connsiteY10477" fmla="*/ 4750781 h 5973007"/>
              <a:gd name="connsiteX10478" fmla="*/ 1153474 w 6884782"/>
              <a:gd name="connsiteY10478" fmla="*/ 4750763 h 5973007"/>
              <a:gd name="connsiteX10479" fmla="*/ 1155487 w 6884782"/>
              <a:gd name="connsiteY10479" fmla="*/ 4753654 h 5973007"/>
              <a:gd name="connsiteX10480" fmla="*/ 1147743 w 6884782"/>
              <a:gd name="connsiteY10480" fmla="*/ 4765322 h 5973007"/>
              <a:gd name="connsiteX10481" fmla="*/ 1153474 w 6884782"/>
              <a:gd name="connsiteY10481" fmla="*/ 4750763 h 5973007"/>
              <a:gd name="connsiteX10482" fmla="*/ 6346208 w 6884782"/>
              <a:gd name="connsiteY10482" fmla="*/ 4750265 h 5973007"/>
              <a:gd name="connsiteX10483" fmla="*/ 6353488 w 6884782"/>
              <a:gd name="connsiteY10483" fmla="*/ 4752227 h 5973007"/>
              <a:gd name="connsiteX10484" fmla="*/ 6352249 w 6884782"/>
              <a:gd name="connsiteY10484" fmla="*/ 4756563 h 5973007"/>
              <a:gd name="connsiteX10485" fmla="*/ 6340012 w 6884782"/>
              <a:gd name="connsiteY10485" fmla="*/ 4760900 h 5973007"/>
              <a:gd name="connsiteX10486" fmla="*/ 6341716 w 6884782"/>
              <a:gd name="connsiteY10486" fmla="*/ 4752846 h 5973007"/>
              <a:gd name="connsiteX10487" fmla="*/ 6346208 w 6884782"/>
              <a:gd name="connsiteY10487" fmla="*/ 4750265 h 5973007"/>
              <a:gd name="connsiteX10488" fmla="*/ 1672687 w 6884782"/>
              <a:gd name="connsiteY10488" fmla="*/ 4750247 h 5973007"/>
              <a:gd name="connsiteX10489" fmla="*/ 1679501 w 6884782"/>
              <a:gd name="connsiteY10489" fmla="*/ 4760676 h 5973007"/>
              <a:gd name="connsiteX10490" fmla="*/ 1674855 w 6884782"/>
              <a:gd name="connsiteY10490" fmla="*/ 4761088 h 5973007"/>
              <a:gd name="connsiteX10491" fmla="*/ 1671602 w 6884782"/>
              <a:gd name="connsiteY10491" fmla="*/ 4759023 h 5973007"/>
              <a:gd name="connsiteX10492" fmla="*/ 1672687 w 6884782"/>
              <a:gd name="connsiteY10492" fmla="*/ 4750247 h 5973007"/>
              <a:gd name="connsiteX10493" fmla="*/ 975034 w 6884782"/>
              <a:gd name="connsiteY10493" fmla="*/ 4749730 h 5973007"/>
              <a:gd name="connsiteX10494" fmla="*/ 974569 w 6884782"/>
              <a:gd name="connsiteY10494" fmla="*/ 4750453 h 5973007"/>
              <a:gd name="connsiteX10495" fmla="*/ 975962 w 6884782"/>
              <a:gd name="connsiteY10495" fmla="*/ 4751382 h 5973007"/>
              <a:gd name="connsiteX10496" fmla="*/ 976427 w 6884782"/>
              <a:gd name="connsiteY10496" fmla="*/ 4750660 h 5973007"/>
              <a:gd name="connsiteX10497" fmla="*/ 977357 w 6884782"/>
              <a:gd name="connsiteY10497" fmla="*/ 4752209 h 5973007"/>
              <a:gd name="connsiteX10498" fmla="*/ 975962 w 6884782"/>
              <a:gd name="connsiteY10498" fmla="*/ 4758920 h 5973007"/>
              <a:gd name="connsiteX10499" fmla="*/ 972400 w 6884782"/>
              <a:gd name="connsiteY10499" fmla="*/ 4756752 h 5973007"/>
              <a:gd name="connsiteX10500" fmla="*/ 972400 w 6884782"/>
              <a:gd name="connsiteY10500" fmla="*/ 4753138 h 5973007"/>
              <a:gd name="connsiteX10501" fmla="*/ 975034 w 6884782"/>
              <a:gd name="connsiteY10501" fmla="*/ 4749730 h 5973007"/>
              <a:gd name="connsiteX10502" fmla="*/ 1593689 w 6884782"/>
              <a:gd name="connsiteY10502" fmla="*/ 4748595 h 5973007"/>
              <a:gd name="connsiteX10503" fmla="*/ 1597407 w 6884782"/>
              <a:gd name="connsiteY10503" fmla="*/ 4748801 h 5973007"/>
              <a:gd name="connsiteX10504" fmla="*/ 1598801 w 6884782"/>
              <a:gd name="connsiteY10504" fmla="*/ 4749627 h 5973007"/>
              <a:gd name="connsiteX10505" fmla="*/ 1598646 w 6884782"/>
              <a:gd name="connsiteY10505" fmla="*/ 4754274 h 5973007"/>
              <a:gd name="connsiteX10506" fmla="*/ 1596942 w 6884782"/>
              <a:gd name="connsiteY10506" fmla="*/ 4756132 h 5973007"/>
              <a:gd name="connsiteX10507" fmla="*/ 1599265 w 6884782"/>
              <a:gd name="connsiteY10507" fmla="*/ 4757578 h 5973007"/>
              <a:gd name="connsiteX10508" fmla="*/ 1610263 w 6884782"/>
              <a:gd name="connsiteY10508" fmla="*/ 4767284 h 5973007"/>
              <a:gd name="connsiteX10509" fmla="*/ 1604996 w 6884782"/>
              <a:gd name="connsiteY10509" fmla="*/ 4767284 h 5973007"/>
              <a:gd name="connsiteX10510" fmla="*/ 1605462 w 6884782"/>
              <a:gd name="connsiteY10510" fmla="*/ 4770175 h 5973007"/>
              <a:gd name="connsiteX10511" fmla="*/ 1604377 w 6884782"/>
              <a:gd name="connsiteY10511" fmla="*/ 4771931 h 5973007"/>
              <a:gd name="connsiteX10512" fmla="*/ 1601124 w 6884782"/>
              <a:gd name="connsiteY10512" fmla="*/ 4775028 h 5973007"/>
              <a:gd name="connsiteX10513" fmla="*/ 1598491 w 6884782"/>
              <a:gd name="connsiteY10513" fmla="*/ 4773479 h 5973007"/>
              <a:gd name="connsiteX10514" fmla="*/ 1598336 w 6884782"/>
              <a:gd name="connsiteY10514" fmla="*/ 4769659 h 5973007"/>
              <a:gd name="connsiteX10515" fmla="*/ 1600040 w 6884782"/>
              <a:gd name="connsiteY10515" fmla="*/ 4766251 h 5973007"/>
              <a:gd name="connsiteX10516" fmla="*/ 1600350 w 6884782"/>
              <a:gd name="connsiteY10516" fmla="*/ 4765942 h 5973007"/>
              <a:gd name="connsiteX10517" fmla="*/ 1597252 w 6884782"/>
              <a:gd name="connsiteY10517" fmla="*/ 4764599 h 5973007"/>
              <a:gd name="connsiteX10518" fmla="*/ 1592915 w 6884782"/>
              <a:gd name="connsiteY10518" fmla="*/ 4761088 h 5973007"/>
              <a:gd name="connsiteX10519" fmla="*/ 1593069 w 6884782"/>
              <a:gd name="connsiteY10519" fmla="*/ 4761295 h 5973007"/>
              <a:gd name="connsiteX10520" fmla="*/ 1590746 w 6884782"/>
              <a:gd name="connsiteY10520" fmla="*/ 4765425 h 5973007"/>
              <a:gd name="connsiteX10521" fmla="*/ 1587649 w 6884782"/>
              <a:gd name="connsiteY10521" fmla="*/ 4762534 h 5973007"/>
              <a:gd name="connsiteX10522" fmla="*/ 1590282 w 6884782"/>
              <a:gd name="connsiteY10522" fmla="*/ 4760263 h 5973007"/>
              <a:gd name="connsiteX10523" fmla="*/ 1591675 w 6884782"/>
              <a:gd name="connsiteY10523" fmla="*/ 4760056 h 5973007"/>
              <a:gd name="connsiteX10524" fmla="*/ 1588268 w 6884782"/>
              <a:gd name="connsiteY10524" fmla="*/ 4755100 h 5973007"/>
              <a:gd name="connsiteX10525" fmla="*/ 1587958 w 6884782"/>
              <a:gd name="connsiteY10525" fmla="*/ 4749834 h 5973007"/>
              <a:gd name="connsiteX10526" fmla="*/ 1590282 w 6884782"/>
              <a:gd name="connsiteY10526" fmla="*/ 4751692 h 5973007"/>
              <a:gd name="connsiteX10527" fmla="*/ 865987 w 6884782"/>
              <a:gd name="connsiteY10527" fmla="*/ 4748595 h 5973007"/>
              <a:gd name="connsiteX10528" fmla="*/ 868000 w 6884782"/>
              <a:gd name="connsiteY10528" fmla="*/ 4750247 h 5973007"/>
              <a:gd name="connsiteX10529" fmla="*/ 868155 w 6884782"/>
              <a:gd name="connsiteY10529" fmla="*/ 4751176 h 5973007"/>
              <a:gd name="connsiteX10530" fmla="*/ 866451 w 6884782"/>
              <a:gd name="connsiteY10530" fmla="*/ 4751899 h 5973007"/>
              <a:gd name="connsiteX10531" fmla="*/ 861494 w 6884782"/>
              <a:gd name="connsiteY10531" fmla="*/ 4752002 h 5973007"/>
              <a:gd name="connsiteX10532" fmla="*/ 858241 w 6884782"/>
              <a:gd name="connsiteY10532" fmla="*/ 4751692 h 5973007"/>
              <a:gd name="connsiteX10533" fmla="*/ 856538 w 6884782"/>
              <a:gd name="connsiteY10533" fmla="*/ 4751796 h 5973007"/>
              <a:gd name="connsiteX10534" fmla="*/ 854679 w 6884782"/>
              <a:gd name="connsiteY10534" fmla="*/ 4750143 h 5973007"/>
              <a:gd name="connsiteX10535" fmla="*/ 861959 w 6884782"/>
              <a:gd name="connsiteY10535" fmla="*/ 4748904 h 5973007"/>
              <a:gd name="connsiteX10536" fmla="*/ 865987 w 6884782"/>
              <a:gd name="connsiteY10536" fmla="*/ 4748595 h 5973007"/>
              <a:gd name="connsiteX10537" fmla="*/ 1778016 w 6884782"/>
              <a:gd name="connsiteY10537" fmla="*/ 4748181 h 5973007"/>
              <a:gd name="connsiteX10538" fmla="*/ 1776777 w 6884782"/>
              <a:gd name="connsiteY10538" fmla="*/ 4749214 h 5973007"/>
              <a:gd name="connsiteX10539" fmla="*/ 1777706 w 6884782"/>
              <a:gd name="connsiteY10539" fmla="*/ 4749008 h 5973007"/>
              <a:gd name="connsiteX10540" fmla="*/ 6058411 w 6884782"/>
              <a:gd name="connsiteY10540" fmla="*/ 4748096 h 5973007"/>
              <a:gd name="connsiteX10541" fmla="*/ 6059030 w 6884782"/>
              <a:gd name="connsiteY10541" fmla="*/ 4749851 h 5973007"/>
              <a:gd name="connsiteX10542" fmla="*/ 6057946 w 6884782"/>
              <a:gd name="connsiteY10542" fmla="*/ 4752536 h 5973007"/>
              <a:gd name="connsiteX10543" fmla="*/ 6054383 w 6884782"/>
              <a:gd name="connsiteY10543" fmla="*/ 4753362 h 5973007"/>
              <a:gd name="connsiteX10544" fmla="*/ 6053764 w 6884782"/>
              <a:gd name="connsiteY10544" fmla="*/ 4751607 h 5973007"/>
              <a:gd name="connsiteX10545" fmla="*/ 6053918 w 6884782"/>
              <a:gd name="connsiteY10545" fmla="*/ 4748922 h 5973007"/>
              <a:gd name="connsiteX10546" fmla="*/ 6058411 w 6884782"/>
              <a:gd name="connsiteY10546" fmla="*/ 4748096 h 5973007"/>
              <a:gd name="connsiteX10547" fmla="*/ 817504 w 6884782"/>
              <a:gd name="connsiteY10547" fmla="*/ 4747872 h 5973007"/>
              <a:gd name="connsiteX10548" fmla="*/ 795664 w 6884782"/>
              <a:gd name="connsiteY10548" fmla="*/ 4762018 h 5973007"/>
              <a:gd name="connsiteX10549" fmla="*/ 817504 w 6884782"/>
              <a:gd name="connsiteY10549" fmla="*/ 4747872 h 5973007"/>
              <a:gd name="connsiteX10550" fmla="*/ 1638609 w 6884782"/>
              <a:gd name="connsiteY10550" fmla="*/ 4747355 h 5973007"/>
              <a:gd name="connsiteX10551" fmla="*/ 1641552 w 6884782"/>
              <a:gd name="connsiteY10551" fmla="*/ 4750247 h 5973007"/>
              <a:gd name="connsiteX10552" fmla="*/ 1639384 w 6884782"/>
              <a:gd name="connsiteY10552" fmla="*/ 4758404 h 5973007"/>
              <a:gd name="connsiteX10553" fmla="*/ 1638299 w 6884782"/>
              <a:gd name="connsiteY10553" fmla="*/ 4757578 h 5973007"/>
              <a:gd name="connsiteX10554" fmla="*/ 1640932 w 6884782"/>
              <a:gd name="connsiteY10554" fmla="*/ 4762328 h 5973007"/>
              <a:gd name="connsiteX10555" fmla="*/ 1636905 w 6884782"/>
              <a:gd name="connsiteY10555" fmla="*/ 4765115 h 5973007"/>
              <a:gd name="connsiteX10556" fmla="*/ 1637525 w 6884782"/>
              <a:gd name="connsiteY10556" fmla="*/ 4765838 h 5973007"/>
              <a:gd name="connsiteX10557" fmla="*/ 1636751 w 6884782"/>
              <a:gd name="connsiteY10557" fmla="*/ 4768523 h 5973007"/>
              <a:gd name="connsiteX10558" fmla="*/ 1634737 w 6884782"/>
              <a:gd name="connsiteY10558" fmla="*/ 4767077 h 5973007"/>
              <a:gd name="connsiteX10559" fmla="*/ 1634582 w 6884782"/>
              <a:gd name="connsiteY10559" fmla="*/ 4766665 h 5973007"/>
              <a:gd name="connsiteX10560" fmla="*/ 1624514 w 6884782"/>
              <a:gd name="connsiteY10560" fmla="*/ 4773582 h 5973007"/>
              <a:gd name="connsiteX10561" fmla="*/ 1624823 w 6884782"/>
              <a:gd name="connsiteY10561" fmla="*/ 4773996 h 5973007"/>
              <a:gd name="connsiteX10562" fmla="*/ 1618627 w 6884782"/>
              <a:gd name="connsiteY10562" fmla="*/ 4780501 h 5973007"/>
              <a:gd name="connsiteX10563" fmla="*/ 1617388 w 6884782"/>
              <a:gd name="connsiteY10563" fmla="*/ 4778436 h 5973007"/>
              <a:gd name="connsiteX10564" fmla="*/ 1607320 w 6884782"/>
              <a:gd name="connsiteY10564" fmla="*/ 4785147 h 5973007"/>
              <a:gd name="connsiteX10565" fmla="*/ 1635666 w 6884782"/>
              <a:gd name="connsiteY10565" fmla="*/ 4753861 h 5973007"/>
              <a:gd name="connsiteX10566" fmla="*/ 1636441 w 6884782"/>
              <a:gd name="connsiteY10566" fmla="*/ 4754893 h 5973007"/>
              <a:gd name="connsiteX10567" fmla="*/ 1636130 w 6884782"/>
              <a:gd name="connsiteY10567" fmla="*/ 4752518 h 5973007"/>
              <a:gd name="connsiteX10568" fmla="*/ 1637060 w 6884782"/>
              <a:gd name="connsiteY10568" fmla="*/ 4748904 h 5973007"/>
              <a:gd name="connsiteX10569" fmla="*/ 1638609 w 6884782"/>
              <a:gd name="connsiteY10569" fmla="*/ 4747355 h 5973007"/>
              <a:gd name="connsiteX10570" fmla="*/ 1030331 w 6884782"/>
              <a:gd name="connsiteY10570" fmla="*/ 4747355 h 5973007"/>
              <a:gd name="connsiteX10571" fmla="*/ 1030022 w 6884782"/>
              <a:gd name="connsiteY10571" fmla="*/ 4757475 h 5973007"/>
              <a:gd name="connsiteX10572" fmla="*/ 1025684 w 6884782"/>
              <a:gd name="connsiteY10572" fmla="*/ 4754997 h 5973007"/>
              <a:gd name="connsiteX10573" fmla="*/ 1030331 w 6884782"/>
              <a:gd name="connsiteY10573" fmla="*/ 4747355 h 5973007"/>
              <a:gd name="connsiteX10574" fmla="*/ 1316483 w 6884782"/>
              <a:gd name="connsiteY10574" fmla="*/ 4746930 h 5973007"/>
              <a:gd name="connsiteX10575" fmla="*/ 1319058 w 6884782"/>
              <a:gd name="connsiteY10575" fmla="*/ 4751692 h 5973007"/>
              <a:gd name="connsiteX10576" fmla="*/ 1316424 w 6884782"/>
              <a:gd name="connsiteY10576" fmla="*/ 4753241 h 5973007"/>
              <a:gd name="connsiteX10577" fmla="*/ 1311003 w 6884782"/>
              <a:gd name="connsiteY10577" fmla="*/ 4749214 h 5973007"/>
              <a:gd name="connsiteX10578" fmla="*/ 1316483 w 6884782"/>
              <a:gd name="connsiteY10578" fmla="*/ 4746930 h 5973007"/>
              <a:gd name="connsiteX10579" fmla="*/ 1898835 w 6884782"/>
              <a:gd name="connsiteY10579" fmla="*/ 4745290 h 5973007"/>
              <a:gd name="connsiteX10580" fmla="*/ 1899145 w 6884782"/>
              <a:gd name="connsiteY10580" fmla="*/ 4753035 h 5973007"/>
              <a:gd name="connsiteX10581" fmla="*/ 1891865 w 6884782"/>
              <a:gd name="connsiteY10581" fmla="*/ 4757991 h 5973007"/>
              <a:gd name="connsiteX10582" fmla="*/ 1888921 w 6884782"/>
              <a:gd name="connsiteY10582" fmla="*/ 4750040 h 5973007"/>
              <a:gd name="connsiteX10583" fmla="*/ 1889851 w 6884782"/>
              <a:gd name="connsiteY10583" fmla="*/ 4749214 h 5973007"/>
              <a:gd name="connsiteX10584" fmla="*/ 1898835 w 6884782"/>
              <a:gd name="connsiteY10584" fmla="*/ 4745290 h 5973007"/>
              <a:gd name="connsiteX10585" fmla="*/ 6370681 w 6884782"/>
              <a:gd name="connsiteY10585" fmla="*/ 4745205 h 5973007"/>
              <a:gd name="connsiteX10586" fmla="*/ 6372230 w 6884782"/>
              <a:gd name="connsiteY10586" fmla="*/ 4752846 h 5973007"/>
              <a:gd name="connsiteX10587" fmla="*/ 6370681 w 6884782"/>
              <a:gd name="connsiteY10587" fmla="*/ 4745205 h 5973007"/>
              <a:gd name="connsiteX10588" fmla="*/ 1328816 w 6884782"/>
              <a:gd name="connsiteY10588" fmla="*/ 4744980 h 5973007"/>
              <a:gd name="connsiteX10589" fmla="*/ 1330211 w 6884782"/>
              <a:gd name="connsiteY10589" fmla="*/ 4753551 h 5973007"/>
              <a:gd name="connsiteX10590" fmla="*/ 1326493 w 6884782"/>
              <a:gd name="connsiteY10590" fmla="*/ 4755203 h 5973007"/>
              <a:gd name="connsiteX10591" fmla="*/ 1319213 w 6884782"/>
              <a:gd name="connsiteY10591" fmla="*/ 4750763 h 5973007"/>
              <a:gd name="connsiteX10592" fmla="*/ 1320452 w 6884782"/>
              <a:gd name="connsiteY10592" fmla="*/ 4745807 h 5973007"/>
              <a:gd name="connsiteX10593" fmla="*/ 1328816 w 6884782"/>
              <a:gd name="connsiteY10593" fmla="*/ 4744980 h 5973007"/>
              <a:gd name="connsiteX10594" fmla="*/ 1573708 w 6884782"/>
              <a:gd name="connsiteY10594" fmla="*/ 4744671 h 5973007"/>
              <a:gd name="connsiteX10595" fmla="*/ 1572469 w 6884782"/>
              <a:gd name="connsiteY10595" fmla="*/ 4746426 h 5973007"/>
              <a:gd name="connsiteX10596" fmla="*/ 1569526 w 6884782"/>
              <a:gd name="connsiteY10596" fmla="*/ 4745704 h 5973007"/>
              <a:gd name="connsiteX10597" fmla="*/ 1569526 w 6884782"/>
              <a:gd name="connsiteY10597" fmla="*/ 4744877 h 5973007"/>
              <a:gd name="connsiteX10598" fmla="*/ 1573708 w 6884782"/>
              <a:gd name="connsiteY10598" fmla="*/ 4744671 h 5973007"/>
              <a:gd name="connsiteX10599" fmla="*/ 6563062 w 6884782"/>
              <a:gd name="connsiteY10599" fmla="*/ 4744276 h 5973007"/>
              <a:gd name="connsiteX10600" fmla="*/ 6561513 w 6884782"/>
              <a:gd name="connsiteY10600" fmla="*/ 4750058 h 5973007"/>
              <a:gd name="connsiteX10601" fmla="*/ 6555782 w 6884782"/>
              <a:gd name="connsiteY10601" fmla="*/ 4761933 h 5973007"/>
              <a:gd name="connsiteX10602" fmla="*/ 6553613 w 6884782"/>
              <a:gd name="connsiteY10602" fmla="*/ 4762655 h 5973007"/>
              <a:gd name="connsiteX10603" fmla="*/ 6553304 w 6884782"/>
              <a:gd name="connsiteY10603" fmla="*/ 4763378 h 5973007"/>
              <a:gd name="connsiteX10604" fmla="*/ 6552220 w 6884782"/>
              <a:gd name="connsiteY10604" fmla="*/ 4763584 h 5973007"/>
              <a:gd name="connsiteX10605" fmla="*/ 6551445 w 6884782"/>
              <a:gd name="connsiteY10605" fmla="*/ 4763275 h 5973007"/>
              <a:gd name="connsiteX10606" fmla="*/ 6552684 w 6884782"/>
              <a:gd name="connsiteY10606" fmla="*/ 4758318 h 5973007"/>
              <a:gd name="connsiteX10607" fmla="*/ 6554388 w 6884782"/>
              <a:gd name="connsiteY10607" fmla="*/ 4754498 h 5973007"/>
              <a:gd name="connsiteX10608" fmla="*/ 6563062 w 6884782"/>
              <a:gd name="connsiteY10608" fmla="*/ 4744276 h 5973007"/>
              <a:gd name="connsiteX10609" fmla="*/ 5970894 w 6884782"/>
              <a:gd name="connsiteY10609" fmla="*/ 4743449 h 5973007"/>
              <a:gd name="connsiteX10610" fmla="*/ 5971049 w 6884782"/>
              <a:gd name="connsiteY10610" fmla="*/ 4756976 h 5973007"/>
              <a:gd name="connsiteX10611" fmla="*/ 5963924 w 6884782"/>
              <a:gd name="connsiteY10611" fmla="*/ 4743863 h 5973007"/>
              <a:gd name="connsiteX10612" fmla="*/ 5970894 w 6884782"/>
              <a:gd name="connsiteY10612" fmla="*/ 4743449 h 5973007"/>
              <a:gd name="connsiteX10613" fmla="*/ 1683529 w 6884782"/>
              <a:gd name="connsiteY10613" fmla="*/ 4743432 h 5973007"/>
              <a:gd name="connsiteX10614" fmla="*/ 1684303 w 6884782"/>
              <a:gd name="connsiteY10614" fmla="*/ 4743535 h 5973007"/>
              <a:gd name="connsiteX10615" fmla="*/ 1683374 w 6884782"/>
              <a:gd name="connsiteY10615" fmla="*/ 4744980 h 5973007"/>
              <a:gd name="connsiteX10616" fmla="*/ 1683219 w 6884782"/>
              <a:gd name="connsiteY10616" fmla="*/ 4744464 h 5973007"/>
              <a:gd name="connsiteX10617" fmla="*/ 1683529 w 6884782"/>
              <a:gd name="connsiteY10617" fmla="*/ 4743432 h 5973007"/>
              <a:gd name="connsiteX10618" fmla="*/ 1778635 w 6884782"/>
              <a:gd name="connsiteY10618" fmla="*/ 4743225 h 5973007"/>
              <a:gd name="connsiteX10619" fmla="*/ 1779720 w 6884782"/>
              <a:gd name="connsiteY10619" fmla="*/ 4745807 h 5973007"/>
              <a:gd name="connsiteX10620" fmla="*/ 1779100 w 6884782"/>
              <a:gd name="connsiteY10620" fmla="*/ 4746942 h 5973007"/>
              <a:gd name="connsiteX10621" fmla="*/ 1780339 w 6884782"/>
              <a:gd name="connsiteY10621" fmla="*/ 4748388 h 5973007"/>
              <a:gd name="connsiteX10622" fmla="*/ 1790253 w 6884782"/>
              <a:gd name="connsiteY10622" fmla="*/ 4745910 h 5973007"/>
              <a:gd name="connsiteX10623" fmla="*/ 1815345 w 6884782"/>
              <a:gd name="connsiteY10623" fmla="*/ 4769865 h 5973007"/>
              <a:gd name="connsiteX10624" fmla="*/ 1815036 w 6884782"/>
              <a:gd name="connsiteY10624" fmla="*/ 4771001 h 5973007"/>
              <a:gd name="connsiteX10625" fmla="*/ 1816120 w 6884782"/>
              <a:gd name="connsiteY10625" fmla="*/ 4772137 h 5973007"/>
              <a:gd name="connsiteX10626" fmla="*/ 1817514 w 6884782"/>
              <a:gd name="connsiteY10626" fmla="*/ 4778229 h 5973007"/>
              <a:gd name="connsiteX10627" fmla="*/ 1813642 w 6884782"/>
              <a:gd name="connsiteY10627" fmla="*/ 4780191 h 5973007"/>
              <a:gd name="connsiteX10628" fmla="*/ 1812712 w 6884782"/>
              <a:gd name="connsiteY10628" fmla="*/ 4780191 h 5973007"/>
              <a:gd name="connsiteX10629" fmla="*/ 1812557 w 6884782"/>
              <a:gd name="connsiteY10629" fmla="*/ 4781946 h 5973007"/>
              <a:gd name="connsiteX10630" fmla="*/ 1812868 w 6884782"/>
              <a:gd name="connsiteY10630" fmla="*/ 4791756 h 5973007"/>
              <a:gd name="connsiteX10631" fmla="*/ 1804967 w 6884782"/>
              <a:gd name="connsiteY10631" fmla="*/ 4801358 h 5973007"/>
              <a:gd name="connsiteX10632" fmla="*/ 1797533 w 6884782"/>
              <a:gd name="connsiteY10632" fmla="*/ 4807760 h 5973007"/>
              <a:gd name="connsiteX10633" fmla="*/ 1797533 w 6884782"/>
              <a:gd name="connsiteY10633" fmla="*/ 4813852 h 5973007"/>
              <a:gd name="connsiteX10634" fmla="*/ 1796758 w 6884782"/>
              <a:gd name="connsiteY10634" fmla="*/ 4820254 h 5973007"/>
              <a:gd name="connsiteX10635" fmla="*/ 1795209 w 6884782"/>
              <a:gd name="connsiteY10635" fmla="*/ 4814472 h 5973007"/>
              <a:gd name="connsiteX10636" fmla="*/ 1795829 w 6884782"/>
              <a:gd name="connsiteY10636" fmla="*/ 4810548 h 5973007"/>
              <a:gd name="connsiteX10637" fmla="*/ 1796138 w 6884782"/>
              <a:gd name="connsiteY10637" fmla="*/ 4809000 h 5973007"/>
              <a:gd name="connsiteX10638" fmla="*/ 1795055 w 6884782"/>
              <a:gd name="connsiteY10638" fmla="*/ 4809929 h 5973007"/>
              <a:gd name="connsiteX10639" fmla="*/ 1771665 w 6884782"/>
              <a:gd name="connsiteY10639" fmla="*/ 4816950 h 5973007"/>
              <a:gd name="connsiteX10640" fmla="*/ 1745797 w 6884782"/>
              <a:gd name="connsiteY10640" fmla="*/ 4795989 h 5973007"/>
              <a:gd name="connsiteX10641" fmla="*/ 1748121 w 6884782"/>
              <a:gd name="connsiteY10641" fmla="*/ 4784321 h 5973007"/>
              <a:gd name="connsiteX10642" fmla="*/ 1747501 w 6884782"/>
              <a:gd name="connsiteY10642" fmla="*/ 4782153 h 5973007"/>
              <a:gd name="connsiteX10643" fmla="*/ 1742699 w 6884782"/>
              <a:gd name="connsiteY10643" fmla="*/ 4780501 h 5973007"/>
              <a:gd name="connsiteX10644" fmla="*/ 1743784 w 6884782"/>
              <a:gd name="connsiteY10644" fmla="*/ 4774099 h 5973007"/>
              <a:gd name="connsiteX10645" fmla="*/ 1746107 w 6884782"/>
              <a:gd name="connsiteY10645" fmla="*/ 4771931 h 5973007"/>
              <a:gd name="connsiteX10646" fmla="*/ 1745332 w 6884782"/>
              <a:gd name="connsiteY10646" fmla="*/ 4770485 h 5973007"/>
              <a:gd name="connsiteX10647" fmla="*/ 1753542 w 6884782"/>
              <a:gd name="connsiteY10647" fmla="*/ 4754790 h 5973007"/>
              <a:gd name="connsiteX10648" fmla="*/ 1762061 w 6884782"/>
              <a:gd name="connsiteY10648" fmla="*/ 4749008 h 5973007"/>
              <a:gd name="connsiteX10649" fmla="*/ 1764695 w 6884782"/>
              <a:gd name="connsiteY10649" fmla="*/ 4750143 h 5973007"/>
              <a:gd name="connsiteX10650" fmla="*/ 1765470 w 6884782"/>
              <a:gd name="connsiteY10650" fmla="*/ 4751176 h 5973007"/>
              <a:gd name="connsiteX10651" fmla="*/ 1766708 w 6884782"/>
              <a:gd name="connsiteY10651" fmla="*/ 4751692 h 5973007"/>
              <a:gd name="connsiteX10652" fmla="*/ 1775383 w 6884782"/>
              <a:gd name="connsiteY10652" fmla="*/ 4749627 h 5973007"/>
              <a:gd name="connsiteX10653" fmla="*/ 1772130 w 6884782"/>
              <a:gd name="connsiteY10653" fmla="*/ 4749111 h 5973007"/>
              <a:gd name="connsiteX10654" fmla="*/ 1772904 w 6884782"/>
              <a:gd name="connsiteY10654" fmla="*/ 4749111 h 5973007"/>
              <a:gd name="connsiteX10655" fmla="*/ 1772904 w 6884782"/>
              <a:gd name="connsiteY10655" fmla="*/ 4747355 h 5973007"/>
              <a:gd name="connsiteX10656" fmla="*/ 1771975 w 6884782"/>
              <a:gd name="connsiteY10656" fmla="*/ 4747355 h 5973007"/>
              <a:gd name="connsiteX10657" fmla="*/ 1772749 w 6884782"/>
              <a:gd name="connsiteY10657" fmla="*/ 4745600 h 5973007"/>
              <a:gd name="connsiteX10658" fmla="*/ 1778635 w 6884782"/>
              <a:gd name="connsiteY10658" fmla="*/ 4743225 h 5973007"/>
              <a:gd name="connsiteX10659" fmla="*/ 1560077 w 6884782"/>
              <a:gd name="connsiteY10659" fmla="*/ 4742915 h 5973007"/>
              <a:gd name="connsiteX10660" fmla="*/ 1564414 w 6884782"/>
              <a:gd name="connsiteY10660" fmla="*/ 4743432 h 5973007"/>
              <a:gd name="connsiteX10661" fmla="*/ 1563949 w 6884782"/>
              <a:gd name="connsiteY10661" fmla="*/ 4746116 h 5973007"/>
              <a:gd name="connsiteX10662" fmla="*/ 1560387 w 6884782"/>
              <a:gd name="connsiteY10662" fmla="*/ 4745497 h 5973007"/>
              <a:gd name="connsiteX10663" fmla="*/ 1560077 w 6884782"/>
              <a:gd name="connsiteY10663" fmla="*/ 4742915 h 5973007"/>
              <a:gd name="connsiteX10664" fmla="*/ 921284 w 6884782"/>
              <a:gd name="connsiteY10664" fmla="*/ 4742812 h 5973007"/>
              <a:gd name="connsiteX10665" fmla="*/ 920200 w 6884782"/>
              <a:gd name="connsiteY10665" fmla="*/ 4754790 h 5973007"/>
              <a:gd name="connsiteX10666" fmla="*/ 914779 w 6884782"/>
              <a:gd name="connsiteY10666" fmla="*/ 4767181 h 5973007"/>
              <a:gd name="connsiteX10667" fmla="*/ 921284 w 6884782"/>
              <a:gd name="connsiteY10667" fmla="*/ 4742812 h 5973007"/>
              <a:gd name="connsiteX10668" fmla="*/ 1689105 w 6884782"/>
              <a:gd name="connsiteY10668" fmla="*/ 4742606 h 5973007"/>
              <a:gd name="connsiteX10669" fmla="*/ 1693287 w 6884782"/>
              <a:gd name="connsiteY10669" fmla="*/ 4742606 h 5973007"/>
              <a:gd name="connsiteX10670" fmla="*/ 1694991 w 6884782"/>
              <a:gd name="connsiteY10670" fmla="*/ 4763153 h 5973007"/>
              <a:gd name="connsiteX10671" fmla="*/ 1689105 w 6884782"/>
              <a:gd name="connsiteY10671" fmla="*/ 4742606 h 5973007"/>
              <a:gd name="connsiteX10672" fmla="*/ 1509426 w 6884782"/>
              <a:gd name="connsiteY10672" fmla="*/ 4742193 h 5973007"/>
              <a:gd name="connsiteX10673" fmla="*/ 1515002 w 6884782"/>
              <a:gd name="connsiteY10673" fmla="*/ 4744258 h 5973007"/>
              <a:gd name="connsiteX10674" fmla="*/ 1517325 w 6884782"/>
              <a:gd name="connsiteY10674" fmla="*/ 4750350 h 5973007"/>
              <a:gd name="connsiteX10675" fmla="*/ 1511904 w 6884782"/>
              <a:gd name="connsiteY10675" fmla="*/ 4752415 h 5973007"/>
              <a:gd name="connsiteX10676" fmla="*/ 1506638 w 6884782"/>
              <a:gd name="connsiteY10676" fmla="*/ 4751176 h 5973007"/>
              <a:gd name="connsiteX10677" fmla="*/ 1509426 w 6884782"/>
              <a:gd name="connsiteY10677" fmla="*/ 4742193 h 5973007"/>
              <a:gd name="connsiteX10678" fmla="*/ 1710016 w 6884782"/>
              <a:gd name="connsiteY10678" fmla="*/ 4741780 h 5973007"/>
              <a:gd name="connsiteX10679" fmla="*/ 1711410 w 6884782"/>
              <a:gd name="connsiteY10679" fmla="*/ 4757165 h 5973007"/>
              <a:gd name="connsiteX10680" fmla="*/ 1709242 w 6884782"/>
              <a:gd name="connsiteY10680" fmla="*/ 4757475 h 5973007"/>
              <a:gd name="connsiteX10681" fmla="*/ 1712649 w 6884782"/>
              <a:gd name="connsiteY10681" fmla="*/ 4763360 h 5973007"/>
              <a:gd name="connsiteX10682" fmla="*/ 1716212 w 6884782"/>
              <a:gd name="connsiteY10682" fmla="*/ 4772137 h 5973007"/>
              <a:gd name="connsiteX10683" fmla="*/ 1711565 w 6884782"/>
              <a:gd name="connsiteY10683" fmla="*/ 4769452 h 5973007"/>
              <a:gd name="connsiteX10684" fmla="*/ 1708312 w 6884782"/>
              <a:gd name="connsiteY10684" fmla="*/ 4765735 h 5973007"/>
              <a:gd name="connsiteX10685" fmla="*/ 1707073 w 6884782"/>
              <a:gd name="connsiteY10685" fmla="*/ 4769349 h 5973007"/>
              <a:gd name="connsiteX10686" fmla="*/ 1703665 w 6884782"/>
              <a:gd name="connsiteY10686" fmla="*/ 4770691 h 5973007"/>
              <a:gd name="connsiteX10687" fmla="*/ 1705524 w 6884782"/>
              <a:gd name="connsiteY10687" fmla="*/ 4767181 h 5973007"/>
              <a:gd name="connsiteX10688" fmla="*/ 1708003 w 6884782"/>
              <a:gd name="connsiteY10688" fmla="*/ 4765425 h 5973007"/>
              <a:gd name="connsiteX10689" fmla="*/ 1707693 w 6884782"/>
              <a:gd name="connsiteY10689" fmla="*/ 4765115 h 5973007"/>
              <a:gd name="connsiteX10690" fmla="*/ 1705989 w 6884782"/>
              <a:gd name="connsiteY10690" fmla="*/ 4760056 h 5973007"/>
              <a:gd name="connsiteX10691" fmla="*/ 1707073 w 6884782"/>
              <a:gd name="connsiteY10691" fmla="*/ 4757371 h 5973007"/>
              <a:gd name="connsiteX10692" fmla="*/ 1705524 w 6884782"/>
              <a:gd name="connsiteY10692" fmla="*/ 4756648 h 5973007"/>
              <a:gd name="connsiteX10693" fmla="*/ 1710016 w 6884782"/>
              <a:gd name="connsiteY10693" fmla="*/ 4741780 h 5973007"/>
              <a:gd name="connsiteX10694" fmla="*/ 1812694 w 6884782"/>
              <a:gd name="connsiteY10694" fmla="*/ 4740334 h 5973007"/>
              <a:gd name="connsiteX10695" fmla="*/ 1816740 w 6884782"/>
              <a:gd name="connsiteY10695" fmla="*/ 4742915 h 5973007"/>
              <a:gd name="connsiteX10696" fmla="*/ 1813023 w 6884782"/>
              <a:gd name="connsiteY10696" fmla="*/ 4746219 h 5973007"/>
              <a:gd name="connsiteX10697" fmla="*/ 1808995 w 6884782"/>
              <a:gd name="connsiteY10697" fmla="*/ 4743948 h 5973007"/>
              <a:gd name="connsiteX10698" fmla="*/ 1812694 w 6884782"/>
              <a:gd name="connsiteY10698" fmla="*/ 4740334 h 5973007"/>
              <a:gd name="connsiteX10699" fmla="*/ 1418036 w 6884782"/>
              <a:gd name="connsiteY10699" fmla="*/ 4740334 h 5973007"/>
              <a:gd name="connsiteX10700" fmla="*/ 1421600 w 6884782"/>
              <a:gd name="connsiteY10700" fmla="*/ 4740437 h 5973007"/>
              <a:gd name="connsiteX10701" fmla="*/ 1424233 w 6884782"/>
              <a:gd name="connsiteY10701" fmla="*/ 4753551 h 5973007"/>
              <a:gd name="connsiteX10702" fmla="*/ 1418036 w 6884782"/>
              <a:gd name="connsiteY10702" fmla="*/ 4748904 h 5973007"/>
              <a:gd name="connsiteX10703" fmla="*/ 1418036 w 6884782"/>
              <a:gd name="connsiteY10703" fmla="*/ 4740334 h 5973007"/>
              <a:gd name="connsiteX10704" fmla="*/ 1343377 w 6884782"/>
              <a:gd name="connsiteY10704" fmla="*/ 4740128 h 5973007"/>
              <a:gd name="connsiteX10705" fmla="*/ 1347869 w 6884782"/>
              <a:gd name="connsiteY10705" fmla="*/ 4745290 h 5973007"/>
              <a:gd name="connsiteX10706" fmla="*/ 1343067 w 6884782"/>
              <a:gd name="connsiteY10706" fmla="*/ 4747252 h 5973007"/>
              <a:gd name="connsiteX10707" fmla="*/ 1340589 w 6884782"/>
              <a:gd name="connsiteY10707" fmla="*/ 4745910 h 5973007"/>
              <a:gd name="connsiteX10708" fmla="*/ 1340744 w 6884782"/>
              <a:gd name="connsiteY10708" fmla="*/ 4742709 h 5973007"/>
              <a:gd name="connsiteX10709" fmla="*/ 1343377 w 6884782"/>
              <a:gd name="connsiteY10709" fmla="*/ 4740128 h 5973007"/>
              <a:gd name="connsiteX10710" fmla="*/ 1611328 w 6884782"/>
              <a:gd name="connsiteY10710" fmla="*/ 4739856 h 5973007"/>
              <a:gd name="connsiteX10711" fmla="*/ 1615375 w 6884782"/>
              <a:gd name="connsiteY10711" fmla="*/ 4742399 h 5973007"/>
              <a:gd name="connsiteX10712" fmla="*/ 1609798 w 6884782"/>
              <a:gd name="connsiteY10712" fmla="*/ 4748078 h 5973007"/>
              <a:gd name="connsiteX10713" fmla="*/ 1607165 w 6884782"/>
              <a:gd name="connsiteY10713" fmla="*/ 4748078 h 5973007"/>
              <a:gd name="connsiteX10714" fmla="*/ 1604222 w 6884782"/>
              <a:gd name="connsiteY10714" fmla="*/ 4745807 h 5973007"/>
              <a:gd name="connsiteX10715" fmla="*/ 1606700 w 6884782"/>
              <a:gd name="connsiteY10715" fmla="*/ 4740644 h 5973007"/>
              <a:gd name="connsiteX10716" fmla="*/ 1611328 w 6884782"/>
              <a:gd name="connsiteY10716" fmla="*/ 4739856 h 5973007"/>
              <a:gd name="connsiteX10717" fmla="*/ 6467646 w 6884782"/>
              <a:gd name="connsiteY10717" fmla="*/ 4739526 h 5973007"/>
              <a:gd name="connsiteX10718" fmla="*/ 6475391 w 6884782"/>
              <a:gd name="connsiteY10718" fmla="*/ 4741075 h 5973007"/>
              <a:gd name="connsiteX10719" fmla="*/ 6477095 w 6884782"/>
              <a:gd name="connsiteY10719" fmla="*/ 4749748 h 5973007"/>
              <a:gd name="connsiteX10720" fmla="*/ 6467801 w 6884782"/>
              <a:gd name="connsiteY10720" fmla="*/ 4744069 h 5973007"/>
              <a:gd name="connsiteX10721" fmla="*/ 6467646 w 6884782"/>
              <a:gd name="connsiteY10721" fmla="*/ 4739526 h 5973007"/>
              <a:gd name="connsiteX10722" fmla="*/ 1551712 w 6884782"/>
              <a:gd name="connsiteY10722" fmla="*/ 4739198 h 5973007"/>
              <a:gd name="connsiteX10723" fmla="*/ 1552642 w 6884782"/>
              <a:gd name="connsiteY10723" fmla="*/ 4742709 h 5973007"/>
              <a:gd name="connsiteX10724" fmla="*/ 1551867 w 6884782"/>
              <a:gd name="connsiteY10724" fmla="*/ 4744774 h 5973007"/>
              <a:gd name="connsiteX10725" fmla="*/ 1553106 w 6884782"/>
              <a:gd name="connsiteY10725" fmla="*/ 4745084 h 5973007"/>
              <a:gd name="connsiteX10726" fmla="*/ 1555429 w 6884782"/>
              <a:gd name="connsiteY10726" fmla="*/ 4748285 h 5973007"/>
              <a:gd name="connsiteX10727" fmla="*/ 1560387 w 6884782"/>
              <a:gd name="connsiteY10727" fmla="*/ 4750453 h 5973007"/>
              <a:gd name="connsiteX10728" fmla="*/ 1555585 w 6884782"/>
              <a:gd name="connsiteY10728" fmla="*/ 4753344 h 5973007"/>
              <a:gd name="connsiteX10729" fmla="*/ 1555429 w 6884782"/>
              <a:gd name="connsiteY10729" fmla="*/ 4755100 h 5973007"/>
              <a:gd name="connsiteX10730" fmla="*/ 1550938 w 6884782"/>
              <a:gd name="connsiteY10730" fmla="*/ 4755306 h 5973007"/>
              <a:gd name="connsiteX10731" fmla="*/ 1548305 w 6884782"/>
              <a:gd name="connsiteY10731" fmla="*/ 4754893 h 5973007"/>
              <a:gd name="connsiteX10732" fmla="*/ 1543503 w 6884782"/>
              <a:gd name="connsiteY10732" fmla="*/ 4755306 h 5973007"/>
              <a:gd name="connsiteX10733" fmla="*/ 1528323 w 6884782"/>
              <a:gd name="connsiteY10733" fmla="*/ 4745497 h 5973007"/>
              <a:gd name="connsiteX10734" fmla="*/ 1544432 w 6884782"/>
              <a:gd name="connsiteY10734" fmla="*/ 4746942 h 5973007"/>
              <a:gd name="connsiteX10735" fmla="*/ 1544742 w 6884782"/>
              <a:gd name="connsiteY10735" fmla="*/ 4746942 h 5973007"/>
              <a:gd name="connsiteX10736" fmla="*/ 1543658 w 6884782"/>
              <a:gd name="connsiteY10736" fmla="*/ 4744980 h 5973007"/>
              <a:gd name="connsiteX10737" fmla="*/ 1545516 w 6884782"/>
              <a:gd name="connsiteY10737" fmla="*/ 4741780 h 5973007"/>
              <a:gd name="connsiteX10738" fmla="*/ 1551712 w 6884782"/>
              <a:gd name="connsiteY10738" fmla="*/ 4739198 h 5973007"/>
              <a:gd name="connsiteX10739" fmla="*/ 1109793 w 6884782"/>
              <a:gd name="connsiteY10739" fmla="*/ 4738579 h 5973007"/>
              <a:gd name="connsiteX10740" fmla="*/ 1115060 w 6884782"/>
              <a:gd name="connsiteY10740" fmla="*/ 4743742 h 5973007"/>
              <a:gd name="connsiteX10741" fmla="*/ 1110568 w 6884782"/>
              <a:gd name="connsiteY10741" fmla="*/ 4745600 h 5973007"/>
              <a:gd name="connsiteX10742" fmla="*/ 1107780 w 6884782"/>
              <a:gd name="connsiteY10742" fmla="*/ 4744154 h 5973007"/>
              <a:gd name="connsiteX10743" fmla="*/ 1107625 w 6884782"/>
              <a:gd name="connsiteY10743" fmla="*/ 4741057 h 5973007"/>
              <a:gd name="connsiteX10744" fmla="*/ 1109793 w 6884782"/>
              <a:gd name="connsiteY10744" fmla="*/ 4738579 h 5973007"/>
              <a:gd name="connsiteX10745" fmla="*/ 1598026 w 6884782"/>
              <a:gd name="connsiteY10745" fmla="*/ 4738269 h 5973007"/>
              <a:gd name="connsiteX10746" fmla="*/ 1601589 w 6884782"/>
              <a:gd name="connsiteY10746" fmla="*/ 4745807 h 5973007"/>
              <a:gd name="connsiteX10747" fmla="*/ 1597562 w 6884782"/>
              <a:gd name="connsiteY10747" fmla="*/ 4739818 h 5973007"/>
              <a:gd name="connsiteX10748" fmla="*/ 1598026 w 6884782"/>
              <a:gd name="connsiteY10748" fmla="*/ 4738269 h 5973007"/>
              <a:gd name="connsiteX10749" fmla="*/ 909048 w 6884782"/>
              <a:gd name="connsiteY10749" fmla="*/ 4738269 h 5973007"/>
              <a:gd name="connsiteX10750" fmla="*/ 915089 w 6884782"/>
              <a:gd name="connsiteY10750" fmla="*/ 4740541 h 5973007"/>
              <a:gd name="connsiteX10751" fmla="*/ 914624 w 6884782"/>
              <a:gd name="connsiteY10751" fmla="*/ 4742296 h 5973007"/>
              <a:gd name="connsiteX10752" fmla="*/ 912301 w 6884782"/>
              <a:gd name="connsiteY10752" fmla="*/ 4743845 h 5973007"/>
              <a:gd name="connsiteX10753" fmla="*/ 909668 w 6884782"/>
              <a:gd name="connsiteY10753" fmla="*/ 4743432 h 5973007"/>
              <a:gd name="connsiteX10754" fmla="*/ 909048 w 6884782"/>
              <a:gd name="connsiteY10754" fmla="*/ 4738269 h 5973007"/>
              <a:gd name="connsiteX10755" fmla="*/ 1383804 w 6884782"/>
              <a:gd name="connsiteY10755" fmla="*/ 4737649 h 5973007"/>
              <a:gd name="connsiteX10756" fmla="*/ 1388452 w 6884782"/>
              <a:gd name="connsiteY10756" fmla="*/ 4739302 h 5973007"/>
              <a:gd name="connsiteX10757" fmla="*/ 1390001 w 6884782"/>
              <a:gd name="connsiteY10757" fmla="*/ 4738475 h 5973007"/>
              <a:gd name="connsiteX10758" fmla="*/ 1396506 w 6884782"/>
              <a:gd name="connsiteY10758" fmla="*/ 4739302 h 5973007"/>
              <a:gd name="connsiteX10759" fmla="*/ 1392634 w 6884782"/>
              <a:gd name="connsiteY10759" fmla="*/ 4742812 h 5973007"/>
              <a:gd name="connsiteX10760" fmla="*/ 1396971 w 6884782"/>
              <a:gd name="connsiteY10760" fmla="*/ 4747665 h 5973007"/>
              <a:gd name="connsiteX10761" fmla="*/ 1397436 w 6884782"/>
              <a:gd name="connsiteY10761" fmla="*/ 4748801 h 5973007"/>
              <a:gd name="connsiteX10762" fmla="*/ 1399139 w 6884782"/>
              <a:gd name="connsiteY10762" fmla="*/ 4747355 h 5973007"/>
              <a:gd name="connsiteX10763" fmla="*/ 1403322 w 6884782"/>
              <a:gd name="connsiteY10763" fmla="*/ 4747252 h 5973007"/>
              <a:gd name="connsiteX10764" fmla="*/ 1406574 w 6884782"/>
              <a:gd name="connsiteY10764" fmla="*/ 4757371 h 5973007"/>
              <a:gd name="connsiteX10765" fmla="*/ 1406419 w 6884782"/>
              <a:gd name="connsiteY10765" fmla="*/ 4760779 h 5973007"/>
              <a:gd name="connsiteX10766" fmla="*/ 1411376 w 6884782"/>
              <a:gd name="connsiteY10766" fmla="*/ 4765219 h 5973007"/>
              <a:gd name="connsiteX10767" fmla="*/ 1411376 w 6884782"/>
              <a:gd name="connsiteY10767" fmla="*/ 4768007 h 5973007"/>
              <a:gd name="connsiteX10768" fmla="*/ 1393408 w 6884782"/>
              <a:gd name="connsiteY10768" fmla="*/ 4779262 h 5973007"/>
              <a:gd name="connsiteX10769" fmla="*/ 1377299 w 6884782"/>
              <a:gd name="connsiteY10769" fmla="*/ 4773789 h 5973007"/>
              <a:gd name="connsiteX10770" fmla="*/ 1376680 w 6884782"/>
              <a:gd name="connsiteY10770" fmla="*/ 4773066 h 5973007"/>
              <a:gd name="connsiteX10771" fmla="*/ 1377299 w 6884782"/>
              <a:gd name="connsiteY10771" fmla="*/ 4774512 h 5973007"/>
              <a:gd name="connsiteX10772" fmla="*/ 1376370 w 6884782"/>
              <a:gd name="connsiteY10772" fmla="*/ 4776164 h 5973007"/>
              <a:gd name="connsiteX10773" fmla="*/ 1373427 w 6884782"/>
              <a:gd name="connsiteY10773" fmla="*/ 4779158 h 5973007"/>
              <a:gd name="connsiteX10774" fmla="*/ 1370638 w 6884782"/>
              <a:gd name="connsiteY10774" fmla="*/ 4777610 h 5973007"/>
              <a:gd name="connsiteX10775" fmla="*/ 1369864 w 6884782"/>
              <a:gd name="connsiteY10775" fmla="*/ 4773789 h 5973007"/>
              <a:gd name="connsiteX10776" fmla="*/ 1372652 w 6884782"/>
              <a:gd name="connsiteY10776" fmla="*/ 4767594 h 5973007"/>
              <a:gd name="connsiteX10777" fmla="*/ 1373891 w 6884782"/>
              <a:gd name="connsiteY10777" fmla="*/ 4768523 h 5973007"/>
              <a:gd name="connsiteX10778" fmla="*/ 1378228 w 6884782"/>
              <a:gd name="connsiteY10778" fmla="*/ 4761295 h 5973007"/>
              <a:gd name="connsiteX10779" fmla="*/ 1385044 w 6884782"/>
              <a:gd name="connsiteY10779" fmla="*/ 4756958 h 5973007"/>
              <a:gd name="connsiteX10780" fmla="*/ 1389846 w 6884782"/>
              <a:gd name="connsiteY10780" fmla="*/ 4756132 h 5973007"/>
              <a:gd name="connsiteX10781" fmla="*/ 1386748 w 6884782"/>
              <a:gd name="connsiteY10781" fmla="*/ 4753861 h 5973007"/>
              <a:gd name="connsiteX10782" fmla="*/ 1383959 w 6884782"/>
              <a:gd name="connsiteY10782" fmla="*/ 4750453 h 5973007"/>
              <a:gd name="connsiteX10783" fmla="*/ 1381171 w 6884782"/>
              <a:gd name="connsiteY10783" fmla="*/ 4753035 h 5973007"/>
              <a:gd name="connsiteX10784" fmla="*/ 1375750 w 6884782"/>
              <a:gd name="connsiteY10784" fmla="*/ 4756236 h 5973007"/>
              <a:gd name="connsiteX10785" fmla="*/ 1375750 w 6884782"/>
              <a:gd name="connsiteY10785" fmla="*/ 4756339 h 5973007"/>
              <a:gd name="connsiteX10786" fmla="*/ 1375595 w 6884782"/>
              <a:gd name="connsiteY10786" fmla="*/ 4756339 h 5973007"/>
              <a:gd name="connsiteX10787" fmla="*/ 1374356 w 6884782"/>
              <a:gd name="connsiteY10787" fmla="*/ 4756958 h 5973007"/>
              <a:gd name="connsiteX10788" fmla="*/ 1374666 w 6884782"/>
              <a:gd name="connsiteY10788" fmla="*/ 4756236 h 5973007"/>
              <a:gd name="connsiteX10789" fmla="*/ 1369090 w 6884782"/>
              <a:gd name="connsiteY10789" fmla="*/ 4755822 h 5973007"/>
              <a:gd name="connsiteX10790" fmla="*/ 1356233 w 6884782"/>
              <a:gd name="connsiteY10790" fmla="*/ 4740437 h 5973007"/>
              <a:gd name="connsiteX10791" fmla="*/ 1366766 w 6884782"/>
              <a:gd name="connsiteY10791" fmla="*/ 4746323 h 5973007"/>
              <a:gd name="connsiteX10792" fmla="*/ 1371568 w 6884782"/>
              <a:gd name="connsiteY10792" fmla="*/ 4750453 h 5973007"/>
              <a:gd name="connsiteX10793" fmla="*/ 1374975 w 6884782"/>
              <a:gd name="connsiteY10793" fmla="*/ 4755100 h 5973007"/>
              <a:gd name="connsiteX10794" fmla="*/ 1376370 w 6884782"/>
              <a:gd name="connsiteY10794" fmla="*/ 4749834 h 5973007"/>
              <a:gd name="connsiteX10795" fmla="*/ 1380552 w 6884782"/>
              <a:gd name="connsiteY10795" fmla="*/ 4744980 h 5973007"/>
              <a:gd name="connsiteX10796" fmla="*/ 1378848 w 6884782"/>
              <a:gd name="connsiteY10796" fmla="*/ 4741470 h 5973007"/>
              <a:gd name="connsiteX10797" fmla="*/ 1383804 w 6884782"/>
              <a:gd name="connsiteY10797" fmla="*/ 4737649 h 5973007"/>
              <a:gd name="connsiteX10798" fmla="*/ 1460633 w 6884782"/>
              <a:gd name="connsiteY10798" fmla="*/ 4737546 h 5973007"/>
              <a:gd name="connsiteX10799" fmla="*/ 1462492 w 6884782"/>
              <a:gd name="connsiteY10799" fmla="*/ 4740334 h 5973007"/>
              <a:gd name="connsiteX10800" fmla="*/ 1461098 w 6884782"/>
              <a:gd name="connsiteY10800" fmla="*/ 4740953 h 5973007"/>
              <a:gd name="connsiteX10801" fmla="*/ 1461408 w 6884782"/>
              <a:gd name="connsiteY10801" fmla="*/ 4741780 h 5973007"/>
              <a:gd name="connsiteX10802" fmla="*/ 1459549 w 6884782"/>
              <a:gd name="connsiteY10802" fmla="*/ 4741676 h 5973007"/>
              <a:gd name="connsiteX10803" fmla="*/ 1459394 w 6884782"/>
              <a:gd name="connsiteY10803" fmla="*/ 4740953 h 5973007"/>
              <a:gd name="connsiteX10804" fmla="*/ 1459084 w 6884782"/>
              <a:gd name="connsiteY10804" fmla="*/ 4740850 h 5973007"/>
              <a:gd name="connsiteX10805" fmla="*/ 1459394 w 6884782"/>
              <a:gd name="connsiteY10805" fmla="*/ 4739095 h 5973007"/>
              <a:gd name="connsiteX10806" fmla="*/ 1460633 w 6884782"/>
              <a:gd name="connsiteY10806" fmla="*/ 4737546 h 5973007"/>
              <a:gd name="connsiteX10807" fmla="*/ 1523056 w 6884782"/>
              <a:gd name="connsiteY10807" fmla="*/ 4737340 h 5973007"/>
              <a:gd name="connsiteX10808" fmla="*/ 1524915 w 6884782"/>
              <a:gd name="connsiteY10808" fmla="*/ 4737546 h 5973007"/>
              <a:gd name="connsiteX10809" fmla="*/ 1526929 w 6884782"/>
              <a:gd name="connsiteY10809" fmla="*/ 4739611 h 5973007"/>
              <a:gd name="connsiteX10810" fmla="*/ 1526309 w 6884782"/>
              <a:gd name="connsiteY10810" fmla="*/ 4743225 h 5973007"/>
              <a:gd name="connsiteX10811" fmla="*/ 1524295 w 6884782"/>
              <a:gd name="connsiteY10811" fmla="*/ 4743019 h 5973007"/>
              <a:gd name="connsiteX10812" fmla="*/ 1521972 w 6884782"/>
              <a:gd name="connsiteY10812" fmla="*/ 4741780 h 5973007"/>
              <a:gd name="connsiteX10813" fmla="*/ 1523056 w 6884782"/>
              <a:gd name="connsiteY10813" fmla="*/ 4737340 h 5973007"/>
              <a:gd name="connsiteX10814" fmla="*/ 6374631 w 6884782"/>
              <a:gd name="connsiteY10814" fmla="*/ 4737048 h 5973007"/>
              <a:gd name="connsiteX10815" fmla="*/ 6379355 w 6884782"/>
              <a:gd name="connsiteY10815" fmla="*/ 4737358 h 5973007"/>
              <a:gd name="connsiteX10816" fmla="*/ 6373934 w 6884782"/>
              <a:gd name="connsiteY10816" fmla="*/ 4744482 h 5973007"/>
              <a:gd name="connsiteX10817" fmla="*/ 6372695 w 6884782"/>
              <a:gd name="connsiteY10817" fmla="*/ 4741075 h 5973007"/>
              <a:gd name="connsiteX10818" fmla="*/ 6374631 w 6884782"/>
              <a:gd name="connsiteY10818" fmla="*/ 4737048 h 5973007"/>
              <a:gd name="connsiteX10819" fmla="*/ 1412306 w 6884782"/>
              <a:gd name="connsiteY10819" fmla="*/ 4735894 h 5973007"/>
              <a:gd name="connsiteX10820" fmla="*/ 1414164 w 6884782"/>
              <a:gd name="connsiteY10820" fmla="*/ 4736101 h 5973007"/>
              <a:gd name="connsiteX10821" fmla="*/ 1415403 w 6884782"/>
              <a:gd name="connsiteY10821" fmla="*/ 4738062 h 5973007"/>
              <a:gd name="connsiteX10822" fmla="*/ 1415558 w 6884782"/>
              <a:gd name="connsiteY10822" fmla="*/ 4746530 h 5973007"/>
              <a:gd name="connsiteX10823" fmla="*/ 1415248 w 6884782"/>
              <a:gd name="connsiteY10823" fmla="*/ 4748491 h 5973007"/>
              <a:gd name="connsiteX10824" fmla="*/ 1414939 w 6884782"/>
              <a:gd name="connsiteY10824" fmla="*/ 4750453 h 5973007"/>
              <a:gd name="connsiteX10825" fmla="*/ 1411841 w 6884782"/>
              <a:gd name="connsiteY10825" fmla="*/ 4752621 h 5973007"/>
              <a:gd name="connsiteX10826" fmla="*/ 1411841 w 6884782"/>
              <a:gd name="connsiteY10826" fmla="*/ 4746323 h 5973007"/>
              <a:gd name="connsiteX10827" fmla="*/ 1410757 w 6884782"/>
              <a:gd name="connsiteY10827" fmla="*/ 4748491 h 5973007"/>
              <a:gd name="connsiteX10828" fmla="*/ 1407039 w 6884782"/>
              <a:gd name="connsiteY10828" fmla="*/ 4750143 h 5973007"/>
              <a:gd name="connsiteX10829" fmla="*/ 1404560 w 6884782"/>
              <a:gd name="connsiteY10829" fmla="*/ 4745704 h 5973007"/>
              <a:gd name="connsiteX10830" fmla="*/ 1408743 w 6884782"/>
              <a:gd name="connsiteY10830" fmla="*/ 4743225 h 5973007"/>
              <a:gd name="connsiteX10831" fmla="*/ 1411996 w 6884782"/>
              <a:gd name="connsiteY10831" fmla="*/ 4744464 h 5973007"/>
              <a:gd name="connsiteX10832" fmla="*/ 1411996 w 6884782"/>
              <a:gd name="connsiteY10832" fmla="*/ 4743638 h 5973007"/>
              <a:gd name="connsiteX10833" fmla="*/ 1412150 w 6884782"/>
              <a:gd name="connsiteY10833" fmla="*/ 4739405 h 5973007"/>
              <a:gd name="connsiteX10834" fmla="*/ 1404871 w 6884782"/>
              <a:gd name="connsiteY10834" fmla="*/ 4735791 h 5973007"/>
              <a:gd name="connsiteX10835" fmla="*/ 1409053 w 6884782"/>
              <a:gd name="connsiteY10835" fmla="*/ 4736513 h 5973007"/>
              <a:gd name="connsiteX10836" fmla="*/ 1412150 w 6884782"/>
              <a:gd name="connsiteY10836" fmla="*/ 4739405 h 5973007"/>
              <a:gd name="connsiteX10837" fmla="*/ 1408743 w 6884782"/>
              <a:gd name="connsiteY10837" fmla="*/ 4738682 h 5973007"/>
              <a:gd name="connsiteX10838" fmla="*/ 1405645 w 6884782"/>
              <a:gd name="connsiteY10838" fmla="*/ 4737236 h 5973007"/>
              <a:gd name="connsiteX10839" fmla="*/ 1404871 w 6884782"/>
              <a:gd name="connsiteY10839" fmla="*/ 4735791 h 5973007"/>
              <a:gd name="connsiteX10840" fmla="*/ 1783282 w 6884782"/>
              <a:gd name="connsiteY10840" fmla="*/ 4735584 h 5973007"/>
              <a:gd name="connsiteX10841" fmla="*/ 1784211 w 6884782"/>
              <a:gd name="connsiteY10841" fmla="*/ 4735997 h 5973007"/>
              <a:gd name="connsiteX10842" fmla="*/ 1791492 w 6884782"/>
              <a:gd name="connsiteY10842" fmla="*/ 4742709 h 5973007"/>
              <a:gd name="connsiteX10843" fmla="*/ 1786845 w 6884782"/>
              <a:gd name="connsiteY10843" fmla="*/ 4746426 h 5973007"/>
              <a:gd name="connsiteX10844" fmla="*/ 1784521 w 6884782"/>
              <a:gd name="connsiteY10844" fmla="*/ 4746116 h 5973007"/>
              <a:gd name="connsiteX10845" fmla="*/ 1777086 w 6884782"/>
              <a:gd name="connsiteY10845" fmla="*/ 4741470 h 5973007"/>
              <a:gd name="connsiteX10846" fmla="*/ 1783282 w 6884782"/>
              <a:gd name="connsiteY10846" fmla="*/ 4735584 h 5973007"/>
              <a:gd name="connsiteX10847" fmla="*/ 6655071 w 6884782"/>
              <a:gd name="connsiteY10847" fmla="*/ 4735499 h 5973007"/>
              <a:gd name="connsiteX10848" fmla="*/ 6654141 w 6884782"/>
              <a:gd name="connsiteY10848" fmla="*/ 4742520 h 5973007"/>
              <a:gd name="connsiteX10849" fmla="*/ 6635399 w 6884782"/>
              <a:gd name="connsiteY10849" fmla="*/ 4758112 h 5973007"/>
              <a:gd name="connsiteX10850" fmla="*/ 6632301 w 6884782"/>
              <a:gd name="connsiteY10850" fmla="*/ 4753569 h 5973007"/>
              <a:gd name="connsiteX10851" fmla="*/ 6633540 w 6884782"/>
              <a:gd name="connsiteY10851" fmla="*/ 4746547 h 5973007"/>
              <a:gd name="connsiteX10852" fmla="*/ 6655071 w 6884782"/>
              <a:gd name="connsiteY10852" fmla="*/ 4735499 h 5973007"/>
              <a:gd name="connsiteX10853" fmla="*/ 1135506 w 6884782"/>
              <a:gd name="connsiteY10853" fmla="*/ 4735275 h 5973007"/>
              <a:gd name="connsiteX10854" fmla="*/ 1135351 w 6884782"/>
              <a:gd name="connsiteY10854" fmla="*/ 4748698 h 5973007"/>
              <a:gd name="connsiteX10855" fmla="*/ 1128381 w 6884782"/>
              <a:gd name="connsiteY10855" fmla="*/ 4744464 h 5973007"/>
              <a:gd name="connsiteX10856" fmla="*/ 1135506 w 6884782"/>
              <a:gd name="connsiteY10856" fmla="*/ 4735275 h 5973007"/>
              <a:gd name="connsiteX10857" fmla="*/ 6099613 w 6884782"/>
              <a:gd name="connsiteY10857" fmla="*/ 4735086 h 5973007"/>
              <a:gd name="connsiteX10858" fmla="*/ 6091713 w 6884782"/>
              <a:gd name="connsiteY10858" fmla="*/ 4757596 h 5973007"/>
              <a:gd name="connsiteX10859" fmla="*/ 6099613 w 6884782"/>
              <a:gd name="connsiteY10859" fmla="*/ 4735086 h 5973007"/>
              <a:gd name="connsiteX10860" fmla="*/ 6032853 w 6884782"/>
              <a:gd name="connsiteY10860" fmla="*/ 4734673 h 5973007"/>
              <a:gd name="connsiteX10861" fmla="*/ 6033627 w 6884782"/>
              <a:gd name="connsiteY10861" fmla="*/ 4734673 h 5973007"/>
              <a:gd name="connsiteX10862" fmla="*/ 6030994 w 6884782"/>
              <a:gd name="connsiteY10862" fmla="*/ 4745205 h 5973007"/>
              <a:gd name="connsiteX10863" fmla="*/ 6029445 w 6884782"/>
              <a:gd name="connsiteY10863" fmla="*/ 4746134 h 5973007"/>
              <a:gd name="connsiteX10864" fmla="*/ 6027586 w 6884782"/>
              <a:gd name="connsiteY10864" fmla="*/ 4745205 h 5973007"/>
              <a:gd name="connsiteX10865" fmla="*/ 6026502 w 6884782"/>
              <a:gd name="connsiteY10865" fmla="*/ 4743553 h 5973007"/>
              <a:gd name="connsiteX10866" fmla="*/ 6028051 w 6884782"/>
              <a:gd name="connsiteY10866" fmla="*/ 4740765 h 5973007"/>
              <a:gd name="connsiteX10867" fmla="*/ 6031768 w 6884782"/>
              <a:gd name="connsiteY10867" fmla="*/ 4737358 h 5973007"/>
              <a:gd name="connsiteX10868" fmla="*/ 6032853 w 6884782"/>
              <a:gd name="connsiteY10868" fmla="*/ 4734673 h 5973007"/>
              <a:gd name="connsiteX10869" fmla="*/ 1292880 w 6884782"/>
              <a:gd name="connsiteY10869" fmla="*/ 4734655 h 5973007"/>
              <a:gd name="connsiteX10870" fmla="*/ 1293190 w 6884782"/>
              <a:gd name="connsiteY10870" fmla="*/ 4737340 h 5973007"/>
              <a:gd name="connsiteX10871" fmla="*/ 1290712 w 6884782"/>
              <a:gd name="connsiteY10871" fmla="*/ 4737752 h 5973007"/>
              <a:gd name="connsiteX10872" fmla="*/ 1287769 w 6884782"/>
              <a:gd name="connsiteY10872" fmla="*/ 4737752 h 5973007"/>
              <a:gd name="connsiteX10873" fmla="*/ 1292880 w 6884782"/>
              <a:gd name="connsiteY10873" fmla="*/ 4734655 h 5973007"/>
              <a:gd name="connsiteX10874" fmla="*/ 642781 w 6884782"/>
              <a:gd name="connsiteY10874" fmla="*/ 4734448 h 5973007"/>
              <a:gd name="connsiteX10875" fmla="*/ 649131 w 6884782"/>
              <a:gd name="connsiteY10875" fmla="*/ 4735997 h 5973007"/>
              <a:gd name="connsiteX10876" fmla="*/ 646188 w 6884782"/>
              <a:gd name="connsiteY10876" fmla="*/ 4742915 h 5973007"/>
              <a:gd name="connsiteX10877" fmla="*/ 641697 w 6884782"/>
              <a:gd name="connsiteY10877" fmla="*/ 4741470 h 5973007"/>
              <a:gd name="connsiteX10878" fmla="*/ 642781 w 6884782"/>
              <a:gd name="connsiteY10878" fmla="*/ 4734448 h 5973007"/>
              <a:gd name="connsiteX10879" fmla="*/ 6264577 w 6884782"/>
              <a:gd name="connsiteY10879" fmla="*/ 4734363 h 5973007"/>
              <a:gd name="connsiteX10880" fmla="*/ 6249552 w 6884782"/>
              <a:gd name="connsiteY10880" fmla="*/ 4755427 h 5973007"/>
              <a:gd name="connsiteX10881" fmla="*/ 6264577 w 6884782"/>
              <a:gd name="connsiteY10881" fmla="*/ 4734363 h 5973007"/>
              <a:gd name="connsiteX10882" fmla="*/ 903471 w 6884782"/>
              <a:gd name="connsiteY10882" fmla="*/ 4734345 h 5973007"/>
              <a:gd name="connsiteX10883" fmla="*/ 901922 w 6884782"/>
              <a:gd name="connsiteY10883" fmla="*/ 4739611 h 5973007"/>
              <a:gd name="connsiteX10884" fmla="*/ 903471 w 6884782"/>
              <a:gd name="connsiteY10884" fmla="*/ 4734345 h 5973007"/>
              <a:gd name="connsiteX10885" fmla="*/ 1731857 w 6884782"/>
              <a:gd name="connsiteY10885" fmla="*/ 4733622 h 5973007"/>
              <a:gd name="connsiteX10886" fmla="*/ 1731082 w 6884782"/>
              <a:gd name="connsiteY10886" fmla="*/ 4737856 h 5973007"/>
              <a:gd name="connsiteX10887" fmla="*/ 1728294 w 6884782"/>
              <a:gd name="connsiteY10887" fmla="*/ 4740850 h 5973007"/>
              <a:gd name="connsiteX10888" fmla="*/ 1729223 w 6884782"/>
              <a:gd name="connsiteY10888" fmla="*/ 4742296 h 5973007"/>
              <a:gd name="connsiteX10889" fmla="*/ 1729223 w 6884782"/>
              <a:gd name="connsiteY10889" fmla="*/ 4745497 h 5973007"/>
              <a:gd name="connsiteX10890" fmla="*/ 1727210 w 6884782"/>
              <a:gd name="connsiteY10890" fmla="*/ 4742503 h 5973007"/>
              <a:gd name="connsiteX10891" fmla="*/ 1727210 w 6884782"/>
              <a:gd name="connsiteY10891" fmla="*/ 4741676 h 5973007"/>
              <a:gd name="connsiteX10892" fmla="*/ 1726435 w 6884782"/>
              <a:gd name="connsiteY10892" fmla="*/ 4742399 h 5973007"/>
              <a:gd name="connsiteX10893" fmla="*/ 1725816 w 6884782"/>
              <a:gd name="connsiteY10893" fmla="*/ 4744568 h 5973007"/>
              <a:gd name="connsiteX10894" fmla="*/ 1723492 w 6884782"/>
              <a:gd name="connsiteY10894" fmla="*/ 4745290 h 5973007"/>
              <a:gd name="connsiteX10895" fmla="*/ 1722873 w 6884782"/>
              <a:gd name="connsiteY10895" fmla="*/ 4744774 h 5973007"/>
              <a:gd name="connsiteX10896" fmla="*/ 1723337 w 6884782"/>
              <a:gd name="connsiteY10896" fmla="*/ 4742915 h 5973007"/>
              <a:gd name="connsiteX10897" fmla="*/ 1728604 w 6884782"/>
              <a:gd name="connsiteY10897" fmla="*/ 4735791 h 5973007"/>
              <a:gd name="connsiteX10898" fmla="*/ 1729533 w 6884782"/>
              <a:gd name="connsiteY10898" fmla="*/ 4734242 h 5973007"/>
              <a:gd name="connsiteX10899" fmla="*/ 1731857 w 6884782"/>
              <a:gd name="connsiteY10899" fmla="*/ 4733622 h 5973007"/>
              <a:gd name="connsiteX10900" fmla="*/ 1722563 w 6884782"/>
              <a:gd name="connsiteY10900" fmla="*/ 4733416 h 5973007"/>
              <a:gd name="connsiteX10901" fmla="*/ 1724421 w 6884782"/>
              <a:gd name="connsiteY10901" fmla="*/ 4734758 h 5973007"/>
              <a:gd name="connsiteX10902" fmla="*/ 1724267 w 6884782"/>
              <a:gd name="connsiteY10902" fmla="*/ 4735687 h 5973007"/>
              <a:gd name="connsiteX10903" fmla="*/ 1724267 w 6884782"/>
              <a:gd name="connsiteY10903" fmla="*/ 4739095 h 5973007"/>
              <a:gd name="connsiteX10904" fmla="*/ 1722098 w 6884782"/>
              <a:gd name="connsiteY10904" fmla="*/ 4740334 h 5973007"/>
              <a:gd name="connsiteX10905" fmla="*/ 1719930 w 6884782"/>
              <a:gd name="connsiteY10905" fmla="*/ 4740334 h 5973007"/>
              <a:gd name="connsiteX10906" fmla="*/ 1718381 w 6884782"/>
              <a:gd name="connsiteY10906" fmla="*/ 4734965 h 5973007"/>
              <a:gd name="connsiteX10907" fmla="*/ 1722563 w 6884782"/>
              <a:gd name="connsiteY10907" fmla="*/ 4733416 h 5973007"/>
              <a:gd name="connsiteX10908" fmla="*/ 1852831 w 6884782"/>
              <a:gd name="connsiteY10908" fmla="*/ 4733209 h 5973007"/>
              <a:gd name="connsiteX10909" fmla="*/ 1853760 w 6884782"/>
              <a:gd name="connsiteY10909" fmla="*/ 4736617 h 5973007"/>
              <a:gd name="connsiteX10910" fmla="*/ 1851591 w 6884782"/>
              <a:gd name="connsiteY10910" fmla="*/ 4738372 h 5973007"/>
              <a:gd name="connsiteX10911" fmla="*/ 1852831 w 6884782"/>
              <a:gd name="connsiteY10911" fmla="*/ 4733209 h 5973007"/>
              <a:gd name="connsiteX10912" fmla="*/ 1531885 w 6884782"/>
              <a:gd name="connsiteY10912" fmla="*/ 4733106 h 5973007"/>
              <a:gd name="connsiteX10913" fmla="*/ 1530956 w 6884782"/>
              <a:gd name="connsiteY10913" fmla="*/ 4739921 h 5973007"/>
              <a:gd name="connsiteX10914" fmla="*/ 1526464 w 6884782"/>
              <a:gd name="connsiteY10914" fmla="*/ 4736204 h 5973007"/>
              <a:gd name="connsiteX10915" fmla="*/ 1531885 w 6884782"/>
              <a:gd name="connsiteY10915" fmla="*/ 4733106 h 5973007"/>
              <a:gd name="connsiteX10916" fmla="*/ 775527 w 6884782"/>
              <a:gd name="connsiteY10916" fmla="*/ 4733003 h 5973007"/>
              <a:gd name="connsiteX10917" fmla="*/ 779399 w 6884782"/>
              <a:gd name="connsiteY10917" fmla="*/ 4734448 h 5973007"/>
              <a:gd name="connsiteX10918" fmla="*/ 775062 w 6884782"/>
              <a:gd name="connsiteY10918" fmla="*/ 4741160 h 5973007"/>
              <a:gd name="connsiteX10919" fmla="*/ 772584 w 6884782"/>
              <a:gd name="connsiteY10919" fmla="*/ 4740644 h 5973007"/>
              <a:gd name="connsiteX10920" fmla="*/ 772893 w 6884782"/>
              <a:gd name="connsiteY10920" fmla="*/ 4734345 h 5973007"/>
              <a:gd name="connsiteX10921" fmla="*/ 775527 w 6884782"/>
              <a:gd name="connsiteY10921" fmla="*/ 4733003 h 5973007"/>
              <a:gd name="connsiteX10922" fmla="*/ 1836567 w 6884782"/>
              <a:gd name="connsiteY10922" fmla="*/ 4732280 h 5973007"/>
              <a:gd name="connsiteX10923" fmla="*/ 1825879 w 6884782"/>
              <a:gd name="connsiteY10923" fmla="*/ 4754377 h 5973007"/>
              <a:gd name="connsiteX10924" fmla="*/ 1836567 w 6884782"/>
              <a:gd name="connsiteY10924" fmla="*/ 4732280 h 5973007"/>
              <a:gd name="connsiteX10925" fmla="*/ 1388761 w 6884782"/>
              <a:gd name="connsiteY10925" fmla="*/ 4732074 h 5973007"/>
              <a:gd name="connsiteX10926" fmla="*/ 1392479 w 6884782"/>
              <a:gd name="connsiteY10926" fmla="*/ 4732383 h 5973007"/>
              <a:gd name="connsiteX10927" fmla="*/ 1394028 w 6884782"/>
              <a:gd name="connsiteY10927" fmla="*/ 4733622 h 5973007"/>
              <a:gd name="connsiteX10928" fmla="*/ 1394338 w 6884782"/>
              <a:gd name="connsiteY10928" fmla="*/ 4735275 h 5973007"/>
              <a:gd name="connsiteX10929" fmla="*/ 1392944 w 6884782"/>
              <a:gd name="connsiteY10929" fmla="*/ 4736720 h 5973007"/>
              <a:gd name="connsiteX10930" fmla="*/ 1391239 w 6884782"/>
              <a:gd name="connsiteY10930" fmla="*/ 4738062 h 5973007"/>
              <a:gd name="connsiteX10931" fmla="*/ 1389691 w 6884782"/>
              <a:gd name="connsiteY10931" fmla="*/ 4738062 h 5973007"/>
              <a:gd name="connsiteX10932" fmla="*/ 1387522 w 6884782"/>
              <a:gd name="connsiteY10932" fmla="*/ 4737133 h 5973007"/>
              <a:gd name="connsiteX10933" fmla="*/ 1387832 w 6884782"/>
              <a:gd name="connsiteY10933" fmla="*/ 4735171 h 5973007"/>
              <a:gd name="connsiteX10934" fmla="*/ 1387522 w 6884782"/>
              <a:gd name="connsiteY10934" fmla="*/ 4733622 h 5973007"/>
              <a:gd name="connsiteX10935" fmla="*/ 1388296 w 6884782"/>
              <a:gd name="connsiteY10935" fmla="*/ 4733209 h 5973007"/>
              <a:gd name="connsiteX10936" fmla="*/ 1388761 w 6884782"/>
              <a:gd name="connsiteY10936" fmla="*/ 4732074 h 5973007"/>
              <a:gd name="connsiteX10937" fmla="*/ 1858562 w 6884782"/>
              <a:gd name="connsiteY10937" fmla="*/ 4731247 h 5973007"/>
              <a:gd name="connsiteX10938" fmla="*/ 1871728 w 6884782"/>
              <a:gd name="connsiteY10938" fmla="*/ 4747355 h 5973007"/>
              <a:gd name="connsiteX10939" fmla="*/ 1864448 w 6884782"/>
              <a:gd name="connsiteY10939" fmla="*/ 4751279 h 5973007"/>
              <a:gd name="connsiteX10940" fmla="*/ 1858562 w 6884782"/>
              <a:gd name="connsiteY10940" fmla="*/ 4731247 h 5973007"/>
              <a:gd name="connsiteX10941" fmla="*/ 950250 w 6884782"/>
              <a:gd name="connsiteY10941" fmla="*/ 4731144 h 5973007"/>
              <a:gd name="connsiteX10942" fmla="*/ 949940 w 6884782"/>
              <a:gd name="connsiteY10942" fmla="*/ 4734448 h 5973007"/>
              <a:gd name="connsiteX10943" fmla="*/ 949475 w 6884782"/>
              <a:gd name="connsiteY10943" fmla="*/ 4735068 h 5973007"/>
              <a:gd name="connsiteX10944" fmla="*/ 949166 w 6884782"/>
              <a:gd name="connsiteY10944" fmla="*/ 4734448 h 5973007"/>
              <a:gd name="connsiteX10945" fmla="*/ 950250 w 6884782"/>
              <a:gd name="connsiteY10945" fmla="*/ 4731144 h 5973007"/>
              <a:gd name="connsiteX10946" fmla="*/ 1852366 w 6884782"/>
              <a:gd name="connsiteY10946" fmla="*/ 4730835 h 5973007"/>
              <a:gd name="connsiteX10947" fmla="*/ 1852831 w 6884782"/>
              <a:gd name="connsiteY10947" fmla="*/ 4732693 h 5973007"/>
              <a:gd name="connsiteX10948" fmla="*/ 1852057 w 6884782"/>
              <a:gd name="connsiteY10948" fmla="*/ 4732900 h 5973007"/>
              <a:gd name="connsiteX10949" fmla="*/ 1852366 w 6884782"/>
              <a:gd name="connsiteY10949" fmla="*/ 4730835 h 5973007"/>
              <a:gd name="connsiteX10950" fmla="*/ 6393451 w 6884782"/>
              <a:gd name="connsiteY10950" fmla="*/ 4730749 h 5973007"/>
              <a:gd name="connsiteX10951" fmla="*/ 6404759 w 6884782"/>
              <a:gd name="connsiteY10951" fmla="*/ 4741591 h 5973007"/>
              <a:gd name="connsiteX10952" fmla="*/ 6402590 w 6884782"/>
              <a:gd name="connsiteY10952" fmla="*/ 4746650 h 5973007"/>
              <a:gd name="connsiteX10953" fmla="*/ 6393451 w 6884782"/>
              <a:gd name="connsiteY10953" fmla="*/ 4730749 h 5973007"/>
              <a:gd name="connsiteX10954" fmla="*/ 1037147 w 6884782"/>
              <a:gd name="connsiteY10954" fmla="*/ 4730525 h 5973007"/>
              <a:gd name="connsiteX10955" fmla="*/ 1043033 w 6884782"/>
              <a:gd name="connsiteY10955" fmla="*/ 4732486 h 5973007"/>
              <a:gd name="connsiteX10956" fmla="*/ 1044117 w 6884782"/>
              <a:gd name="connsiteY10956" fmla="*/ 4735171 h 5973007"/>
              <a:gd name="connsiteX10957" fmla="*/ 1043497 w 6884782"/>
              <a:gd name="connsiteY10957" fmla="*/ 4740334 h 5973007"/>
              <a:gd name="connsiteX10958" fmla="*/ 1044272 w 6884782"/>
              <a:gd name="connsiteY10958" fmla="*/ 4740334 h 5973007"/>
              <a:gd name="connsiteX10959" fmla="*/ 1039316 w 6884782"/>
              <a:gd name="connsiteY10959" fmla="*/ 4740953 h 5973007"/>
              <a:gd name="connsiteX10960" fmla="*/ 1038851 w 6884782"/>
              <a:gd name="connsiteY10960" fmla="*/ 4740437 h 5973007"/>
              <a:gd name="connsiteX10961" fmla="*/ 1039160 w 6884782"/>
              <a:gd name="connsiteY10961" fmla="*/ 4741160 h 5973007"/>
              <a:gd name="connsiteX10962" fmla="*/ 1033739 w 6884782"/>
              <a:gd name="connsiteY10962" fmla="*/ 4743948 h 5973007"/>
              <a:gd name="connsiteX10963" fmla="*/ 1027543 w 6884782"/>
              <a:gd name="connsiteY10963" fmla="*/ 4741470 h 5973007"/>
              <a:gd name="connsiteX10964" fmla="*/ 1033739 w 6884782"/>
              <a:gd name="connsiteY10964" fmla="*/ 4733209 h 5973007"/>
              <a:gd name="connsiteX10965" fmla="*/ 1034979 w 6884782"/>
              <a:gd name="connsiteY10965" fmla="*/ 4734448 h 5973007"/>
              <a:gd name="connsiteX10966" fmla="*/ 1035598 w 6884782"/>
              <a:gd name="connsiteY10966" fmla="*/ 4732693 h 5973007"/>
              <a:gd name="connsiteX10967" fmla="*/ 1037147 w 6884782"/>
              <a:gd name="connsiteY10967" fmla="*/ 4730525 h 5973007"/>
              <a:gd name="connsiteX10968" fmla="*/ 1509581 w 6884782"/>
              <a:gd name="connsiteY10968" fmla="*/ 4730215 h 5973007"/>
              <a:gd name="connsiteX10969" fmla="*/ 1515621 w 6884782"/>
              <a:gd name="connsiteY10969" fmla="*/ 4733622 h 5973007"/>
              <a:gd name="connsiteX10970" fmla="*/ 1513763 w 6884782"/>
              <a:gd name="connsiteY10970" fmla="*/ 4733622 h 5973007"/>
              <a:gd name="connsiteX10971" fmla="*/ 1511594 w 6884782"/>
              <a:gd name="connsiteY10971" fmla="*/ 4733106 h 5973007"/>
              <a:gd name="connsiteX10972" fmla="*/ 1509271 w 6884782"/>
              <a:gd name="connsiteY10972" fmla="*/ 4732590 h 5973007"/>
              <a:gd name="connsiteX10973" fmla="*/ 1507412 w 6884782"/>
              <a:gd name="connsiteY10973" fmla="*/ 4732693 h 5973007"/>
              <a:gd name="connsiteX10974" fmla="*/ 1504159 w 6884782"/>
              <a:gd name="connsiteY10974" fmla="*/ 4730628 h 5973007"/>
              <a:gd name="connsiteX10975" fmla="*/ 1505863 w 6884782"/>
              <a:gd name="connsiteY10975" fmla="*/ 4730525 h 5973007"/>
              <a:gd name="connsiteX10976" fmla="*/ 1508186 w 6884782"/>
              <a:gd name="connsiteY10976" fmla="*/ 4731041 h 5973007"/>
              <a:gd name="connsiteX10977" fmla="*/ 1509581 w 6884782"/>
              <a:gd name="connsiteY10977" fmla="*/ 4730215 h 5973007"/>
              <a:gd name="connsiteX10978" fmla="*/ 6275265 w 6884782"/>
              <a:gd name="connsiteY10978" fmla="*/ 4729304 h 5973007"/>
              <a:gd name="connsiteX10979" fmla="*/ 6283010 w 6884782"/>
              <a:gd name="connsiteY10979" fmla="*/ 4729407 h 5973007"/>
              <a:gd name="connsiteX10980" fmla="*/ 6283784 w 6884782"/>
              <a:gd name="connsiteY10980" fmla="*/ 4731162 h 5973007"/>
              <a:gd name="connsiteX10981" fmla="*/ 6284094 w 6884782"/>
              <a:gd name="connsiteY10981" fmla="*/ 4735602 h 5973007"/>
              <a:gd name="connsiteX10982" fmla="*/ 6281306 w 6884782"/>
              <a:gd name="connsiteY10982" fmla="*/ 4737151 h 5973007"/>
              <a:gd name="connsiteX10983" fmla="*/ 6278208 w 6884782"/>
              <a:gd name="connsiteY10983" fmla="*/ 4735499 h 5973007"/>
              <a:gd name="connsiteX10984" fmla="*/ 6276350 w 6884782"/>
              <a:gd name="connsiteY10984" fmla="*/ 4732401 h 5973007"/>
              <a:gd name="connsiteX10985" fmla="*/ 6275265 w 6884782"/>
              <a:gd name="connsiteY10985" fmla="*/ 4729304 h 5973007"/>
              <a:gd name="connsiteX10986" fmla="*/ 962951 w 6884782"/>
              <a:gd name="connsiteY10986" fmla="*/ 4728356 h 5973007"/>
              <a:gd name="connsiteX10987" fmla="*/ 966979 w 6884782"/>
              <a:gd name="connsiteY10987" fmla="*/ 4730938 h 5973007"/>
              <a:gd name="connsiteX10988" fmla="*/ 962642 w 6884782"/>
              <a:gd name="connsiteY10988" fmla="*/ 4737752 h 5973007"/>
              <a:gd name="connsiteX10989" fmla="*/ 958459 w 6884782"/>
              <a:gd name="connsiteY10989" fmla="*/ 4733932 h 5973007"/>
              <a:gd name="connsiteX10990" fmla="*/ 958615 w 6884782"/>
              <a:gd name="connsiteY10990" fmla="*/ 4731247 h 5973007"/>
              <a:gd name="connsiteX10991" fmla="*/ 960628 w 6884782"/>
              <a:gd name="connsiteY10991" fmla="*/ 4728976 h 5973007"/>
              <a:gd name="connsiteX10992" fmla="*/ 962951 w 6884782"/>
              <a:gd name="connsiteY10992" fmla="*/ 4728356 h 5973007"/>
              <a:gd name="connsiteX10993" fmla="*/ 6056861 w 6884782"/>
              <a:gd name="connsiteY10993" fmla="*/ 4728065 h 5973007"/>
              <a:gd name="connsiteX10994" fmla="*/ 6057636 w 6884782"/>
              <a:gd name="connsiteY10994" fmla="*/ 4729613 h 5973007"/>
              <a:gd name="connsiteX10995" fmla="*/ 6058100 w 6884782"/>
              <a:gd name="connsiteY10995" fmla="*/ 4731988 h 5973007"/>
              <a:gd name="connsiteX10996" fmla="*/ 6059495 w 6884782"/>
              <a:gd name="connsiteY10996" fmla="*/ 4732917 h 5973007"/>
              <a:gd name="connsiteX10997" fmla="*/ 6058875 w 6884782"/>
              <a:gd name="connsiteY10997" fmla="*/ 4739732 h 5973007"/>
              <a:gd name="connsiteX10998" fmla="*/ 6057946 w 6884782"/>
              <a:gd name="connsiteY10998" fmla="*/ 4738080 h 5973007"/>
              <a:gd name="connsiteX10999" fmla="*/ 6057636 w 6884782"/>
              <a:gd name="connsiteY10999" fmla="*/ 4735809 h 5973007"/>
              <a:gd name="connsiteX11000" fmla="*/ 6057171 w 6884782"/>
              <a:gd name="connsiteY11000" fmla="*/ 4733434 h 5973007"/>
              <a:gd name="connsiteX11001" fmla="*/ 6056242 w 6884782"/>
              <a:gd name="connsiteY11001" fmla="*/ 4731885 h 5973007"/>
              <a:gd name="connsiteX11002" fmla="*/ 6056861 w 6884782"/>
              <a:gd name="connsiteY11002" fmla="*/ 4728065 h 5973007"/>
              <a:gd name="connsiteX11003" fmla="*/ 1270421 w 6884782"/>
              <a:gd name="connsiteY11003" fmla="*/ 4727943 h 5973007"/>
              <a:gd name="connsiteX11004" fmla="*/ 1269336 w 6884782"/>
              <a:gd name="connsiteY11004" fmla="*/ 4729595 h 5973007"/>
              <a:gd name="connsiteX11005" fmla="*/ 1268717 w 6884782"/>
              <a:gd name="connsiteY11005" fmla="*/ 4730318 h 5973007"/>
              <a:gd name="connsiteX11006" fmla="*/ 1267787 w 6884782"/>
              <a:gd name="connsiteY11006" fmla="*/ 4733622 h 5973007"/>
              <a:gd name="connsiteX11007" fmla="*/ 1269801 w 6884782"/>
              <a:gd name="connsiteY11007" fmla="*/ 4757371 h 5973007"/>
              <a:gd name="connsiteX11008" fmla="*/ 1263141 w 6884782"/>
              <a:gd name="connsiteY11008" fmla="*/ 4746942 h 5973007"/>
              <a:gd name="connsiteX11009" fmla="*/ 1260817 w 6884782"/>
              <a:gd name="connsiteY11009" fmla="*/ 4732486 h 5973007"/>
              <a:gd name="connsiteX11010" fmla="*/ 1264534 w 6884782"/>
              <a:gd name="connsiteY11010" fmla="*/ 4729595 h 5973007"/>
              <a:gd name="connsiteX11011" fmla="*/ 1266393 w 6884782"/>
              <a:gd name="connsiteY11011" fmla="*/ 4728976 h 5973007"/>
              <a:gd name="connsiteX11012" fmla="*/ 1266858 w 6884782"/>
              <a:gd name="connsiteY11012" fmla="*/ 4728253 h 5973007"/>
              <a:gd name="connsiteX11013" fmla="*/ 1270421 w 6884782"/>
              <a:gd name="connsiteY11013" fmla="*/ 4727943 h 5973007"/>
              <a:gd name="connsiteX11014" fmla="*/ 1851281 w 6884782"/>
              <a:gd name="connsiteY11014" fmla="*/ 4726704 h 5973007"/>
              <a:gd name="connsiteX11015" fmla="*/ 1852211 w 6884782"/>
              <a:gd name="connsiteY11015" fmla="*/ 4727324 h 5973007"/>
              <a:gd name="connsiteX11016" fmla="*/ 1850972 w 6884782"/>
              <a:gd name="connsiteY11016" fmla="*/ 4728769 h 5973007"/>
              <a:gd name="connsiteX11017" fmla="*/ 1851281 w 6884782"/>
              <a:gd name="connsiteY11017" fmla="*/ 4726704 h 5973007"/>
              <a:gd name="connsiteX11018" fmla="*/ 6565076 w 6884782"/>
              <a:gd name="connsiteY11018" fmla="*/ 4726619 h 5973007"/>
              <a:gd name="connsiteX11019" fmla="*/ 6568948 w 6884782"/>
              <a:gd name="connsiteY11019" fmla="*/ 4741384 h 5973007"/>
              <a:gd name="connsiteX11020" fmla="*/ 6566005 w 6884782"/>
              <a:gd name="connsiteY11020" fmla="*/ 4742520 h 5973007"/>
              <a:gd name="connsiteX11021" fmla="*/ 6563372 w 6884782"/>
              <a:gd name="connsiteY11021" fmla="*/ 4742520 h 5973007"/>
              <a:gd name="connsiteX11022" fmla="*/ 6557951 w 6884782"/>
              <a:gd name="connsiteY11022" fmla="*/ 4730130 h 5973007"/>
              <a:gd name="connsiteX11023" fmla="*/ 6565076 w 6884782"/>
              <a:gd name="connsiteY11023" fmla="*/ 4726619 h 5973007"/>
              <a:gd name="connsiteX11024" fmla="*/ 1144025 w 6884782"/>
              <a:gd name="connsiteY11024" fmla="*/ 4725672 h 5973007"/>
              <a:gd name="connsiteX11025" fmla="*/ 1152390 w 6884782"/>
              <a:gd name="connsiteY11025" fmla="*/ 4725981 h 5973007"/>
              <a:gd name="connsiteX11026" fmla="*/ 1155487 w 6884782"/>
              <a:gd name="connsiteY11026" fmla="*/ 4730112 h 5973007"/>
              <a:gd name="connsiteX11027" fmla="*/ 1155798 w 6884782"/>
              <a:gd name="connsiteY11027" fmla="*/ 4731867 h 5973007"/>
              <a:gd name="connsiteX11028" fmla="*/ 1155798 w 6884782"/>
              <a:gd name="connsiteY11028" fmla="*/ 4731764 h 5973007"/>
              <a:gd name="connsiteX11029" fmla="*/ 1164317 w 6884782"/>
              <a:gd name="connsiteY11029" fmla="*/ 4737443 h 5973007"/>
              <a:gd name="connsiteX11030" fmla="*/ 1159360 w 6884782"/>
              <a:gd name="connsiteY11030" fmla="*/ 4743432 h 5973007"/>
              <a:gd name="connsiteX11031" fmla="*/ 1153938 w 6884782"/>
              <a:gd name="connsiteY11031" fmla="*/ 4740747 h 5973007"/>
              <a:gd name="connsiteX11032" fmla="*/ 1149137 w 6884782"/>
              <a:gd name="connsiteY11032" fmla="*/ 4743638 h 5973007"/>
              <a:gd name="connsiteX11033" fmla="*/ 1144025 w 6884782"/>
              <a:gd name="connsiteY11033" fmla="*/ 4725672 h 5973007"/>
              <a:gd name="connsiteX11034" fmla="*/ 6576848 w 6884782"/>
              <a:gd name="connsiteY11034" fmla="*/ 4725380 h 5973007"/>
              <a:gd name="connsiteX11035" fmla="*/ 6584128 w 6884782"/>
              <a:gd name="connsiteY11035" fmla="*/ 4733640 h 5973007"/>
              <a:gd name="connsiteX11036" fmla="*/ 6576848 w 6884782"/>
              <a:gd name="connsiteY11036" fmla="*/ 4725380 h 5973007"/>
              <a:gd name="connsiteX11037" fmla="*/ 6371611 w 6884782"/>
              <a:gd name="connsiteY11037" fmla="*/ 4724657 h 5973007"/>
              <a:gd name="connsiteX11038" fmla="*/ 6361387 w 6884782"/>
              <a:gd name="connsiteY11038" fmla="*/ 4737151 h 5973007"/>
              <a:gd name="connsiteX11039" fmla="*/ 6371611 w 6884782"/>
              <a:gd name="connsiteY11039" fmla="*/ 4724657 h 5973007"/>
              <a:gd name="connsiteX11040" fmla="*/ 6342026 w 6884782"/>
              <a:gd name="connsiteY11040" fmla="*/ 4724450 h 5973007"/>
              <a:gd name="connsiteX11041" fmla="*/ 6348686 w 6884782"/>
              <a:gd name="connsiteY11041" fmla="*/ 4737564 h 5973007"/>
              <a:gd name="connsiteX11042" fmla="*/ 6344504 w 6884782"/>
              <a:gd name="connsiteY11042" fmla="*/ 4740765 h 5973007"/>
              <a:gd name="connsiteX11043" fmla="*/ 6335520 w 6884782"/>
              <a:gd name="connsiteY11043" fmla="*/ 4729097 h 5973007"/>
              <a:gd name="connsiteX11044" fmla="*/ 6342026 w 6884782"/>
              <a:gd name="connsiteY11044" fmla="*/ 4724450 h 5973007"/>
              <a:gd name="connsiteX11045" fmla="*/ 1810079 w 6884782"/>
              <a:gd name="connsiteY11045" fmla="*/ 4724019 h 5973007"/>
              <a:gd name="connsiteX11046" fmla="*/ 1799392 w 6884782"/>
              <a:gd name="connsiteY11046" fmla="*/ 4731867 h 5973007"/>
              <a:gd name="connsiteX11047" fmla="*/ 1800631 w 6884782"/>
              <a:gd name="connsiteY11047" fmla="*/ 4729492 h 5973007"/>
              <a:gd name="connsiteX11048" fmla="*/ 1810079 w 6884782"/>
              <a:gd name="connsiteY11048" fmla="*/ 4724019 h 5973007"/>
              <a:gd name="connsiteX11049" fmla="*/ 1078195 w 6884782"/>
              <a:gd name="connsiteY11049" fmla="*/ 4724019 h 5973007"/>
              <a:gd name="connsiteX11050" fmla="*/ 1079898 w 6884782"/>
              <a:gd name="connsiteY11050" fmla="*/ 4729595 h 5973007"/>
              <a:gd name="connsiteX11051" fmla="*/ 1075406 w 6884782"/>
              <a:gd name="connsiteY11051" fmla="*/ 4735275 h 5973007"/>
              <a:gd name="connsiteX11052" fmla="*/ 1073702 w 6884782"/>
              <a:gd name="connsiteY11052" fmla="*/ 4732486 h 5973007"/>
              <a:gd name="connsiteX11053" fmla="*/ 1078195 w 6884782"/>
              <a:gd name="connsiteY11053" fmla="*/ 4724019 h 5973007"/>
              <a:gd name="connsiteX11054" fmla="*/ 6019841 w 6884782"/>
              <a:gd name="connsiteY11054" fmla="*/ 4723211 h 5973007"/>
              <a:gd name="connsiteX11055" fmla="*/ 6020461 w 6884782"/>
              <a:gd name="connsiteY11055" fmla="*/ 4724657 h 5973007"/>
              <a:gd name="connsiteX11056" fmla="*/ 6023713 w 6884782"/>
              <a:gd name="connsiteY11056" fmla="*/ 4725070 h 5973007"/>
              <a:gd name="connsiteX11057" fmla="*/ 6028051 w 6884782"/>
              <a:gd name="connsiteY11057" fmla="*/ 4723418 h 5973007"/>
              <a:gd name="connsiteX11058" fmla="*/ 6022629 w 6884782"/>
              <a:gd name="connsiteY11058" fmla="*/ 4726722 h 5973007"/>
              <a:gd name="connsiteX11059" fmla="*/ 6022165 w 6884782"/>
              <a:gd name="connsiteY11059" fmla="*/ 4727858 h 5973007"/>
              <a:gd name="connsiteX11060" fmla="*/ 6022320 w 6884782"/>
              <a:gd name="connsiteY11060" fmla="*/ 4728065 h 5973007"/>
              <a:gd name="connsiteX11061" fmla="*/ 6022010 w 6884782"/>
              <a:gd name="connsiteY11061" fmla="*/ 4728374 h 5973007"/>
              <a:gd name="connsiteX11062" fmla="*/ 6021545 w 6884782"/>
              <a:gd name="connsiteY11062" fmla="*/ 4729304 h 5973007"/>
              <a:gd name="connsiteX11063" fmla="*/ 6021235 w 6884782"/>
              <a:gd name="connsiteY11063" fmla="*/ 4729407 h 5973007"/>
              <a:gd name="connsiteX11064" fmla="*/ 6020151 w 6884782"/>
              <a:gd name="connsiteY11064" fmla="*/ 4731472 h 5973007"/>
              <a:gd name="connsiteX11065" fmla="*/ 6018602 w 6884782"/>
              <a:gd name="connsiteY11065" fmla="*/ 4735292 h 5973007"/>
              <a:gd name="connsiteX11066" fmla="*/ 6016434 w 6884782"/>
              <a:gd name="connsiteY11066" fmla="*/ 4735602 h 5973007"/>
              <a:gd name="connsiteX11067" fmla="*/ 6015194 w 6884782"/>
              <a:gd name="connsiteY11067" fmla="*/ 4733227 h 5973007"/>
              <a:gd name="connsiteX11068" fmla="*/ 6015969 w 6884782"/>
              <a:gd name="connsiteY11068" fmla="*/ 4729923 h 5973007"/>
              <a:gd name="connsiteX11069" fmla="*/ 6015504 w 6884782"/>
              <a:gd name="connsiteY11069" fmla="*/ 4729097 h 5973007"/>
              <a:gd name="connsiteX11070" fmla="*/ 6016743 w 6884782"/>
              <a:gd name="connsiteY11070" fmla="*/ 4726619 h 5973007"/>
              <a:gd name="connsiteX11071" fmla="*/ 6017673 w 6884782"/>
              <a:gd name="connsiteY11071" fmla="*/ 4725999 h 5973007"/>
              <a:gd name="connsiteX11072" fmla="*/ 1744558 w 6884782"/>
              <a:gd name="connsiteY11072" fmla="*/ 4722884 h 5973007"/>
              <a:gd name="connsiteX11073" fmla="*/ 1750289 w 6884782"/>
              <a:gd name="connsiteY11073" fmla="*/ 4726085 h 5973007"/>
              <a:gd name="connsiteX11074" fmla="*/ 1748276 w 6884782"/>
              <a:gd name="connsiteY11074" fmla="*/ 4726188 h 5973007"/>
              <a:gd name="connsiteX11075" fmla="*/ 1746107 w 6884782"/>
              <a:gd name="connsiteY11075" fmla="*/ 4725775 h 5973007"/>
              <a:gd name="connsiteX11076" fmla="*/ 1743938 w 6884782"/>
              <a:gd name="connsiteY11076" fmla="*/ 4725259 h 5973007"/>
              <a:gd name="connsiteX11077" fmla="*/ 1742080 w 6884782"/>
              <a:gd name="connsiteY11077" fmla="*/ 4725465 h 5973007"/>
              <a:gd name="connsiteX11078" fmla="*/ 1739137 w 6884782"/>
              <a:gd name="connsiteY11078" fmla="*/ 4723400 h 5973007"/>
              <a:gd name="connsiteX11079" fmla="*/ 1740996 w 6884782"/>
              <a:gd name="connsiteY11079" fmla="*/ 4723297 h 5973007"/>
              <a:gd name="connsiteX11080" fmla="*/ 1743164 w 6884782"/>
              <a:gd name="connsiteY11080" fmla="*/ 4723813 h 5973007"/>
              <a:gd name="connsiteX11081" fmla="*/ 1744558 w 6884782"/>
              <a:gd name="connsiteY11081" fmla="*/ 4722884 h 5973007"/>
              <a:gd name="connsiteX11082" fmla="*/ 1418502 w 6884782"/>
              <a:gd name="connsiteY11082" fmla="*/ 4721541 h 5973007"/>
              <a:gd name="connsiteX11083" fmla="*/ 1427021 w 6884782"/>
              <a:gd name="connsiteY11083" fmla="*/ 4726498 h 5973007"/>
              <a:gd name="connsiteX11084" fmla="*/ 1425627 w 6884782"/>
              <a:gd name="connsiteY11084" fmla="*/ 4730112 h 5973007"/>
              <a:gd name="connsiteX11085" fmla="*/ 1422838 w 6884782"/>
              <a:gd name="connsiteY11085" fmla="*/ 4731351 h 5973007"/>
              <a:gd name="connsiteX11086" fmla="*/ 1416023 w 6884782"/>
              <a:gd name="connsiteY11086" fmla="*/ 4726601 h 5973007"/>
              <a:gd name="connsiteX11087" fmla="*/ 1418502 w 6884782"/>
              <a:gd name="connsiteY11087" fmla="*/ 4721541 h 5973007"/>
              <a:gd name="connsiteX11088" fmla="*/ 1025529 w 6884782"/>
              <a:gd name="connsiteY11088" fmla="*/ 4721232 h 5973007"/>
              <a:gd name="connsiteX11089" fmla="*/ 1019953 w 6884782"/>
              <a:gd name="connsiteY11089" fmla="*/ 4727634 h 5973007"/>
              <a:gd name="connsiteX11090" fmla="*/ 1017939 w 6884782"/>
              <a:gd name="connsiteY11090" fmla="*/ 4726704 h 5973007"/>
              <a:gd name="connsiteX11091" fmla="*/ 1025529 w 6884782"/>
              <a:gd name="connsiteY11091" fmla="*/ 4721232 h 5973007"/>
              <a:gd name="connsiteX11092" fmla="*/ 6357670 w 6884782"/>
              <a:gd name="connsiteY11092" fmla="*/ 4720837 h 5973007"/>
              <a:gd name="connsiteX11093" fmla="*/ 6362162 w 6884782"/>
              <a:gd name="connsiteY11093" fmla="*/ 4727548 h 5973007"/>
              <a:gd name="connsiteX11094" fmla="*/ 6360613 w 6884782"/>
              <a:gd name="connsiteY11094" fmla="*/ 4729613 h 5973007"/>
              <a:gd name="connsiteX11095" fmla="*/ 6355037 w 6884782"/>
              <a:gd name="connsiteY11095" fmla="*/ 4726619 h 5973007"/>
              <a:gd name="connsiteX11096" fmla="*/ 6354882 w 6884782"/>
              <a:gd name="connsiteY11096" fmla="*/ 4723728 h 5973007"/>
              <a:gd name="connsiteX11097" fmla="*/ 6357670 w 6884782"/>
              <a:gd name="connsiteY11097" fmla="*/ 4720837 h 5973007"/>
              <a:gd name="connsiteX11098" fmla="*/ 1584860 w 6884782"/>
              <a:gd name="connsiteY11098" fmla="*/ 4720818 h 5973007"/>
              <a:gd name="connsiteX11099" fmla="*/ 1594929 w 6884782"/>
              <a:gd name="connsiteY11099" fmla="*/ 4732486 h 5973007"/>
              <a:gd name="connsiteX11100" fmla="*/ 1590901 w 6884782"/>
              <a:gd name="connsiteY11100" fmla="*/ 4735275 h 5973007"/>
              <a:gd name="connsiteX11101" fmla="*/ 1588268 w 6884782"/>
              <a:gd name="connsiteY11101" fmla="*/ 4734655 h 5973007"/>
              <a:gd name="connsiteX11102" fmla="*/ 1587029 w 6884782"/>
              <a:gd name="connsiteY11102" fmla="*/ 4736617 h 5973007"/>
              <a:gd name="connsiteX11103" fmla="*/ 1583776 w 6884782"/>
              <a:gd name="connsiteY11103" fmla="*/ 4735378 h 5973007"/>
              <a:gd name="connsiteX11104" fmla="*/ 1584240 w 6884782"/>
              <a:gd name="connsiteY11104" fmla="*/ 4731351 h 5973007"/>
              <a:gd name="connsiteX11105" fmla="*/ 1583466 w 6884782"/>
              <a:gd name="connsiteY11105" fmla="*/ 4728976 h 5973007"/>
              <a:gd name="connsiteX11106" fmla="*/ 1581297 w 6884782"/>
              <a:gd name="connsiteY11106" fmla="*/ 4723607 h 5973007"/>
              <a:gd name="connsiteX11107" fmla="*/ 1584860 w 6884782"/>
              <a:gd name="connsiteY11107" fmla="*/ 4720818 h 5973007"/>
              <a:gd name="connsiteX11108" fmla="*/ 1254582 w 6884782"/>
              <a:gd name="connsiteY11108" fmla="*/ 4720741 h 5973007"/>
              <a:gd name="connsiteX11109" fmla="*/ 1265000 w 6884782"/>
              <a:gd name="connsiteY11109" fmla="*/ 4724433 h 5973007"/>
              <a:gd name="connsiteX11110" fmla="*/ 1254776 w 6884782"/>
              <a:gd name="connsiteY11110" fmla="*/ 4728769 h 5973007"/>
              <a:gd name="connsiteX11111" fmla="*/ 1243469 w 6884782"/>
              <a:gd name="connsiteY11111" fmla="*/ 4724329 h 5973007"/>
              <a:gd name="connsiteX11112" fmla="*/ 1254582 w 6884782"/>
              <a:gd name="connsiteY11112" fmla="*/ 4720741 h 5973007"/>
              <a:gd name="connsiteX11113" fmla="*/ 686307 w 6884782"/>
              <a:gd name="connsiteY11113" fmla="*/ 4719889 h 5973007"/>
              <a:gd name="connsiteX11114" fmla="*/ 694671 w 6884782"/>
              <a:gd name="connsiteY11114" fmla="*/ 4721025 h 5973007"/>
              <a:gd name="connsiteX11115" fmla="*/ 691728 w 6884782"/>
              <a:gd name="connsiteY11115" fmla="*/ 4734758 h 5973007"/>
              <a:gd name="connsiteX11116" fmla="*/ 688321 w 6884782"/>
              <a:gd name="connsiteY11116" fmla="*/ 4734965 h 5973007"/>
              <a:gd name="connsiteX11117" fmla="*/ 686307 w 6884782"/>
              <a:gd name="connsiteY11117" fmla="*/ 4719889 h 5973007"/>
              <a:gd name="connsiteX11118" fmla="*/ 6551600 w 6884782"/>
              <a:gd name="connsiteY11118" fmla="*/ 4719494 h 5973007"/>
              <a:gd name="connsiteX11119" fmla="*/ 6548967 w 6884782"/>
              <a:gd name="connsiteY11119" fmla="*/ 4739836 h 5973007"/>
              <a:gd name="connsiteX11120" fmla="*/ 6532703 w 6884782"/>
              <a:gd name="connsiteY11120" fmla="*/ 4754601 h 5973007"/>
              <a:gd name="connsiteX11121" fmla="*/ 6533322 w 6884782"/>
              <a:gd name="connsiteY11121" fmla="*/ 4744689 h 5973007"/>
              <a:gd name="connsiteX11122" fmla="*/ 6535955 w 6884782"/>
              <a:gd name="connsiteY11122" fmla="*/ 4738080 h 5973007"/>
              <a:gd name="connsiteX11123" fmla="*/ 6537040 w 6884782"/>
              <a:gd name="connsiteY11123" fmla="*/ 4736428 h 5973007"/>
              <a:gd name="connsiteX11124" fmla="*/ 6537040 w 6884782"/>
              <a:gd name="connsiteY11124" fmla="*/ 4735705 h 5973007"/>
              <a:gd name="connsiteX11125" fmla="*/ 6541377 w 6884782"/>
              <a:gd name="connsiteY11125" fmla="*/ 4728891 h 5973007"/>
              <a:gd name="connsiteX11126" fmla="*/ 6551600 w 6884782"/>
              <a:gd name="connsiteY11126" fmla="*/ 4719494 h 5973007"/>
              <a:gd name="connsiteX11127" fmla="*/ 1579129 w 6884782"/>
              <a:gd name="connsiteY11127" fmla="*/ 4719476 h 5973007"/>
              <a:gd name="connsiteX11128" fmla="*/ 1580987 w 6884782"/>
              <a:gd name="connsiteY11128" fmla="*/ 4724639 h 5973007"/>
              <a:gd name="connsiteX11129" fmla="*/ 1576806 w 6884782"/>
              <a:gd name="connsiteY11129" fmla="*/ 4721954 h 5973007"/>
              <a:gd name="connsiteX11130" fmla="*/ 1579129 w 6884782"/>
              <a:gd name="connsiteY11130" fmla="*/ 4719476 h 5973007"/>
              <a:gd name="connsiteX11131" fmla="*/ 5943167 w 6884782"/>
              <a:gd name="connsiteY11131" fmla="*/ 4719288 h 5973007"/>
              <a:gd name="connsiteX11132" fmla="*/ 5954165 w 6884782"/>
              <a:gd name="connsiteY11132" fmla="*/ 4724657 h 5973007"/>
              <a:gd name="connsiteX11133" fmla="*/ 5951687 w 6884782"/>
              <a:gd name="connsiteY11133" fmla="*/ 4724864 h 5973007"/>
              <a:gd name="connsiteX11134" fmla="*/ 5943167 w 6884782"/>
              <a:gd name="connsiteY11134" fmla="*/ 4719288 h 5973007"/>
              <a:gd name="connsiteX11135" fmla="*/ 6594506 w 6884782"/>
              <a:gd name="connsiteY11135" fmla="*/ 4718152 h 5973007"/>
              <a:gd name="connsiteX11136" fmla="*/ 6603180 w 6884782"/>
              <a:gd name="connsiteY11136" fmla="*/ 4728994 h 5973007"/>
              <a:gd name="connsiteX11137" fmla="*/ 6598689 w 6884782"/>
              <a:gd name="connsiteY11137" fmla="*/ 4731781 h 5973007"/>
              <a:gd name="connsiteX11138" fmla="*/ 6589859 w 6884782"/>
              <a:gd name="connsiteY11138" fmla="*/ 4723314 h 5973007"/>
              <a:gd name="connsiteX11139" fmla="*/ 6594506 w 6884782"/>
              <a:gd name="connsiteY11139" fmla="*/ 4718152 h 5973007"/>
              <a:gd name="connsiteX11140" fmla="*/ 6087531 w 6884782"/>
              <a:gd name="connsiteY11140" fmla="*/ 4717636 h 5973007"/>
              <a:gd name="connsiteX11141" fmla="*/ 6087996 w 6884782"/>
              <a:gd name="connsiteY11141" fmla="*/ 4720114 h 5973007"/>
              <a:gd name="connsiteX11142" fmla="*/ 6089390 w 6884782"/>
              <a:gd name="connsiteY11142" fmla="*/ 4721043 h 5973007"/>
              <a:gd name="connsiteX11143" fmla="*/ 6088615 w 6884782"/>
              <a:gd name="connsiteY11143" fmla="*/ 4723728 h 5973007"/>
              <a:gd name="connsiteX11144" fmla="*/ 6087531 w 6884782"/>
              <a:gd name="connsiteY11144" fmla="*/ 4717636 h 5973007"/>
              <a:gd name="connsiteX11145" fmla="*/ 6523409 w 6884782"/>
              <a:gd name="connsiteY11145" fmla="*/ 4717429 h 5973007"/>
              <a:gd name="connsiteX11146" fmla="*/ 6537195 w 6884782"/>
              <a:gd name="connsiteY11146" fmla="*/ 4729613 h 5973007"/>
              <a:gd name="connsiteX11147" fmla="*/ 6537040 w 6884782"/>
              <a:gd name="connsiteY11147" fmla="*/ 4735705 h 5973007"/>
              <a:gd name="connsiteX11148" fmla="*/ 6536575 w 6884782"/>
              <a:gd name="connsiteY11148" fmla="*/ 4736532 h 5973007"/>
              <a:gd name="connsiteX11149" fmla="*/ 6535955 w 6884782"/>
              <a:gd name="connsiteY11149" fmla="*/ 4738080 h 5973007"/>
              <a:gd name="connsiteX11150" fmla="*/ 6532238 w 6884782"/>
              <a:gd name="connsiteY11150" fmla="*/ 4743553 h 5973007"/>
              <a:gd name="connsiteX11151" fmla="*/ 6519846 w 6884782"/>
              <a:gd name="connsiteY11151" fmla="*/ 4724967 h 5973007"/>
              <a:gd name="connsiteX11152" fmla="*/ 6523409 w 6884782"/>
              <a:gd name="connsiteY11152" fmla="*/ 4717429 h 5973007"/>
              <a:gd name="connsiteX11153" fmla="*/ 762825 w 6884782"/>
              <a:gd name="connsiteY11153" fmla="*/ 4717411 h 5973007"/>
              <a:gd name="connsiteX11154" fmla="*/ 769796 w 6884782"/>
              <a:gd name="connsiteY11154" fmla="*/ 4721541 h 5973007"/>
              <a:gd name="connsiteX11155" fmla="*/ 760502 w 6884782"/>
              <a:gd name="connsiteY11155" fmla="*/ 4732900 h 5973007"/>
              <a:gd name="connsiteX11156" fmla="*/ 755701 w 6884782"/>
              <a:gd name="connsiteY11156" fmla="*/ 4730421 h 5973007"/>
              <a:gd name="connsiteX11157" fmla="*/ 762825 w 6884782"/>
              <a:gd name="connsiteY11157" fmla="*/ 4717411 h 5973007"/>
              <a:gd name="connsiteX11158" fmla="*/ 6280222 w 6884782"/>
              <a:gd name="connsiteY11158" fmla="*/ 4716397 h 5973007"/>
              <a:gd name="connsiteX11159" fmla="*/ 6282700 w 6884782"/>
              <a:gd name="connsiteY11159" fmla="*/ 4716913 h 5973007"/>
              <a:gd name="connsiteX11160" fmla="*/ 6279912 w 6884782"/>
              <a:gd name="connsiteY11160" fmla="*/ 4718358 h 5973007"/>
              <a:gd name="connsiteX11161" fmla="*/ 6279757 w 6884782"/>
              <a:gd name="connsiteY11161" fmla="*/ 4717119 h 5973007"/>
              <a:gd name="connsiteX11162" fmla="*/ 6279293 w 6884782"/>
              <a:gd name="connsiteY11162" fmla="*/ 4717945 h 5973007"/>
              <a:gd name="connsiteX11163" fmla="*/ 6279602 w 6884782"/>
              <a:gd name="connsiteY11163" fmla="*/ 4716706 h 5973007"/>
              <a:gd name="connsiteX11164" fmla="*/ 6280222 w 6884782"/>
              <a:gd name="connsiteY11164" fmla="*/ 4716397 h 5973007"/>
              <a:gd name="connsiteX11165" fmla="*/ 798916 w 6884782"/>
              <a:gd name="connsiteY11165" fmla="*/ 4716379 h 5973007"/>
              <a:gd name="connsiteX11166" fmla="*/ 808675 w 6884782"/>
              <a:gd name="connsiteY11166" fmla="*/ 4718444 h 5973007"/>
              <a:gd name="connsiteX11167" fmla="*/ 806351 w 6884782"/>
              <a:gd name="connsiteY11167" fmla="*/ 4725981 h 5973007"/>
              <a:gd name="connsiteX11168" fmla="*/ 799846 w 6884782"/>
              <a:gd name="connsiteY11168" fmla="*/ 4725672 h 5973007"/>
              <a:gd name="connsiteX11169" fmla="*/ 798916 w 6884782"/>
              <a:gd name="connsiteY11169" fmla="*/ 4716379 h 5973007"/>
              <a:gd name="connsiteX11170" fmla="*/ 6659098 w 6884782"/>
              <a:gd name="connsiteY11170" fmla="*/ 4715157 h 5973007"/>
              <a:gd name="connsiteX11171" fmla="*/ 6667772 w 6884782"/>
              <a:gd name="connsiteY11171" fmla="*/ 4721043 h 5973007"/>
              <a:gd name="connsiteX11172" fmla="*/ 6665294 w 6884782"/>
              <a:gd name="connsiteY11172" fmla="*/ 4730336 h 5973007"/>
              <a:gd name="connsiteX11173" fmla="*/ 6666533 w 6884782"/>
              <a:gd name="connsiteY11173" fmla="*/ 4731885 h 5973007"/>
              <a:gd name="connsiteX11174" fmla="*/ 6666688 w 6884782"/>
              <a:gd name="connsiteY11174" fmla="*/ 4735809 h 5973007"/>
              <a:gd name="connsiteX11175" fmla="*/ 6664829 w 6884782"/>
              <a:gd name="connsiteY11175" fmla="*/ 4735809 h 5973007"/>
              <a:gd name="connsiteX11176" fmla="*/ 6663900 w 6884782"/>
              <a:gd name="connsiteY11176" fmla="*/ 4731369 h 5973007"/>
              <a:gd name="connsiteX11177" fmla="*/ 6663126 w 6884782"/>
              <a:gd name="connsiteY11177" fmla="*/ 4730956 h 5973007"/>
              <a:gd name="connsiteX11178" fmla="*/ 6660957 w 6884782"/>
              <a:gd name="connsiteY11178" fmla="*/ 4731678 h 5973007"/>
              <a:gd name="connsiteX11179" fmla="*/ 6653367 w 6884782"/>
              <a:gd name="connsiteY11179" fmla="*/ 4727342 h 5973007"/>
              <a:gd name="connsiteX11180" fmla="*/ 6654916 w 6884782"/>
              <a:gd name="connsiteY11180" fmla="*/ 4717636 h 5973007"/>
              <a:gd name="connsiteX11181" fmla="*/ 6659098 w 6884782"/>
              <a:gd name="connsiteY11181" fmla="*/ 4715157 h 5973007"/>
              <a:gd name="connsiteX11182" fmla="*/ 6286883 w 6884782"/>
              <a:gd name="connsiteY11182" fmla="*/ 4715157 h 5973007"/>
              <a:gd name="connsiteX11183" fmla="*/ 6289671 w 6884782"/>
              <a:gd name="connsiteY11183" fmla="*/ 4717016 h 5973007"/>
              <a:gd name="connsiteX11184" fmla="*/ 6285953 w 6884782"/>
              <a:gd name="connsiteY11184" fmla="*/ 4717945 h 5973007"/>
              <a:gd name="connsiteX11185" fmla="*/ 6282855 w 6884782"/>
              <a:gd name="connsiteY11185" fmla="*/ 4716809 h 5973007"/>
              <a:gd name="connsiteX11186" fmla="*/ 6286883 w 6884782"/>
              <a:gd name="connsiteY11186" fmla="*/ 4715157 h 5973007"/>
              <a:gd name="connsiteX11187" fmla="*/ 6137562 w 6884782"/>
              <a:gd name="connsiteY11187" fmla="*/ 4715157 h 5973007"/>
              <a:gd name="connsiteX11188" fmla="*/ 6143603 w 6884782"/>
              <a:gd name="connsiteY11188" fmla="*/ 4716500 h 5973007"/>
              <a:gd name="connsiteX11189" fmla="*/ 6144688 w 6884782"/>
              <a:gd name="connsiteY11189" fmla="*/ 4719081 h 5973007"/>
              <a:gd name="connsiteX11190" fmla="*/ 6144688 w 6884782"/>
              <a:gd name="connsiteY11190" fmla="*/ 4724347 h 5973007"/>
              <a:gd name="connsiteX11191" fmla="*/ 6145462 w 6884782"/>
              <a:gd name="connsiteY11191" fmla="*/ 4724244 h 5973007"/>
              <a:gd name="connsiteX11192" fmla="*/ 6140660 w 6884782"/>
              <a:gd name="connsiteY11192" fmla="*/ 4725483 h 5973007"/>
              <a:gd name="connsiteX11193" fmla="*/ 6137562 w 6884782"/>
              <a:gd name="connsiteY11193" fmla="*/ 4715157 h 5973007"/>
              <a:gd name="connsiteX11194" fmla="*/ 5815378 w 6884782"/>
              <a:gd name="connsiteY11194" fmla="*/ 4713608 h 5973007"/>
              <a:gd name="connsiteX11195" fmla="*/ 5829938 w 6884782"/>
              <a:gd name="connsiteY11195" fmla="*/ 4719184 h 5973007"/>
              <a:gd name="connsiteX11196" fmla="*/ 5829009 w 6884782"/>
              <a:gd name="connsiteY11196" fmla="*/ 4720940 h 5973007"/>
              <a:gd name="connsiteX11197" fmla="*/ 5826686 w 6884782"/>
              <a:gd name="connsiteY11197" fmla="*/ 4721456 h 5973007"/>
              <a:gd name="connsiteX11198" fmla="*/ 5819095 w 6884782"/>
              <a:gd name="connsiteY11198" fmla="*/ 4718978 h 5973007"/>
              <a:gd name="connsiteX11199" fmla="*/ 5817547 w 6884782"/>
              <a:gd name="connsiteY11199" fmla="*/ 4718048 h 5973007"/>
              <a:gd name="connsiteX11200" fmla="*/ 5815843 w 6884782"/>
              <a:gd name="connsiteY11200" fmla="*/ 4717119 h 5973007"/>
              <a:gd name="connsiteX11201" fmla="*/ 5814913 w 6884782"/>
              <a:gd name="connsiteY11201" fmla="*/ 4715674 h 5973007"/>
              <a:gd name="connsiteX11202" fmla="*/ 5815378 w 6884782"/>
              <a:gd name="connsiteY11202" fmla="*/ 4713608 h 5973007"/>
              <a:gd name="connsiteX11203" fmla="*/ 856189 w 6884782"/>
              <a:gd name="connsiteY11203" fmla="*/ 4713539 h 5973007"/>
              <a:gd name="connsiteX11204" fmla="*/ 864127 w 6884782"/>
              <a:gd name="connsiteY11204" fmla="*/ 4717411 h 5973007"/>
              <a:gd name="connsiteX11205" fmla="*/ 863353 w 6884782"/>
              <a:gd name="connsiteY11205" fmla="*/ 4720715 h 5973007"/>
              <a:gd name="connsiteX11206" fmla="*/ 859171 w 6884782"/>
              <a:gd name="connsiteY11206" fmla="*/ 4723813 h 5973007"/>
              <a:gd name="connsiteX11207" fmla="*/ 855144 w 6884782"/>
              <a:gd name="connsiteY11207" fmla="*/ 4725465 h 5973007"/>
              <a:gd name="connsiteX11208" fmla="*/ 855453 w 6884782"/>
              <a:gd name="connsiteY11208" fmla="*/ 4731661 h 5973007"/>
              <a:gd name="connsiteX11209" fmla="*/ 852201 w 6884782"/>
              <a:gd name="connsiteY11209" fmla="*/ 4736617 h 5973007"/>
              <a:gd name="connsiteX11210" fmla="*/ 849877 w 6884782"/>
              <a:gd name="connsiteY11210" fmla="*/ 4731041 h 5973007"/>
              <a:gd name="connsiteX11211" fmla="*/ 849723 w 6884782"/>
              <a:gd name="connsiteY11211" fmla="*/ 4724329 h 5973007"/>
              <a:gd name="connsiteX11212" fmla="*/ 847399 w 6884782"/>
              <a:gd name="connsiteY11212" fmla="*/ 4722884 h 5973007"/>
              <a:gd name="connsiteX11213" fmla="*/ 847089 w 6884782"/>
              <a:gd name="connsiteY11213" fmla="*/ 4720199 h 5973007"/>
              <a:gd name="connsiteX11214" fmla="*/ 856189 w 6884782"/>
              <a:gd name="connsiteY11214" fmla="*/ 4713539 h 5973007"/>
              <a:gd name="connsiteX11215" fmla="*/ 5925199 w 6884782"/>
              <a:gd name="connsiteY11215" fmla="*/ 4713092 h 5973007"/>
              <a:gd name="connsiteX11216" fmla="*/ 5926594 w 6884782"/>
              <a:gd name="connsiteY11216" fmla="*/ 4716500 h 5973007"/>
              <a:gd name="connsiteX11217" fmla="*/ 5921327 w 6884782"/>
              <a:gd name="connsiteY11217" fmla="*/ 4718255 h 5973007"/>
              <a:gd name="connsiteX11218" fmla="*/ 5920088 w 6884782"/>
              <a:gd name="connsiteY11218" fmla="*/ 4714744 h 5973007"/>
              <a:gd name="connsiteX11219" fmla="*/ 5925199 w 6884782"/>
              <a:gd name="connsiteY11219" fmla="*/ 4713092 h 5973007"/>
              <a:gd name="connsiteX11220" fmla="*/ 1772130 w 6884782"/>
              <a:gd name="connsiteY11220" fmla="*/ 4713074 h 5973007"/>
              <a:gd name="connsiteX11221" fmla="*/ 1771355 w 6884782"/>
              <a:gd name="connsiteY11221" fmla="*/ 4713797 h 5973007"/>
              <a:gd name="connsiteX11222" fmla="*/ 1772130 w 6884782"/>
              <a:gd name="connsiteY11222" fmla="*/ 4713487 h 5973007"/>
              <a:gd name="connsiteX11223" fmla="*/ 1049693 w 6884782"/>
              <a:gd name="connsiteY11223" fmla="*/ 4713074 h 5973007"/>
              <a:gd name="connsiteX11224" fmla="*/ 1060071 w 6884782"/>
              <a:gd name="connsiteY11224" fmla="*/ 4717927 h 5973007"/>
              <a:gd name="connsiteX11225" fmla="*/ 1063169 w 6884782"/>
              <a:gd name="connsiteY11225" fmla="*/ 4732693 h 5973007"/>
              <a:gd name="connsiteX11226" fmla="*/ 1054340 w 6884782"/>
              <a:gd name="connsiteY11226" fmla="*/ 4736204 h 5973007"/>
              <a:gd name="connsiteX11227" fmla="*/ 1048919 w 6884782"/>
              <a:gd name="connsiteY11227" fmla="*/ 4733726 h 5973007"/>
              <a:gd name="connsiteX11228" fmla="*/ 1046595 w 6884782"/>
              <a:gd name="connsiteY11228" fmla="*/ 4718134 h 5973007"/>
              <a:gd name="connsiteX11229" fmla="*/ 1048144 w 6884782"/>
              <a:gd name="connsiteY11229" fmla="*/ 4716482 h 5973007"/>
              <a:gd name="connsiteX11230" fmla="*/ 1049693 w 6884782"/>
              <a:gd name="connsiteY11230" fmla="*/ 4713074 h 5973007"/>
              <a:gd name="connsiteX11231" fmla="*/ 6486699 w 6884782"/>
              <a:gd name="connsiteY11231" fmla="*/ 4712782 h 5973007"/>
              <a:gd name="connsiteX11232" fmla="*/ 6485305 w 6884782"/>
              <a:gd name="connsiteY11232" fmla="*/ 4725173 h 5973007"/>
              <a:gd name="connsiteX11233" fmla="*/ 6480503 w 6884782"/>
              <a:gd name="connsiteY11233" fmla="*/ 4723624 h 5973007"/>
              <a:gd name="connsiteX11234" fmla="*/ 6486699 w 6884782"/>
              <a:gd name="connsiteY11234" fmla="*/ 4712782 h 5973007"/>
              <a:gd name="connsiteX11235" fmla="*/ 1850352 w 6884782"/>
              <a:gd name="connsiteY11235" fmla="*/ 4712661 h 5973007"/>
              <a:gd name="connsiteX11236" fmla="*/ 1851436 w 6884782"/>
              <a:gd name="connsiteY11236" fmla="*/ 4726704 h 5973007"/>
              <a:gd name="connsiteX11237" fmla="*/ 1850352 w 6884782"/>
              <a:gd name="connsiteY11237" fmla="*/ 4712661 h 5973007"/>
              <a:gd name="connsiteX11238" fmla="*/ 1447312 w 6884782"/>
              <a:gd name="connsiteY11238" fmla="*/ 4712661 h 5973007"/>
              <a:gd name="connsiteX11239" fmla="*/ 1449636 w 6884782"/>
              <a:gd name="connsiteY11239" fmla="*/ 4717205 h 5973007"/>
              <a:gd name="connsiteX11240" fmla="*/ 1450410 w 6884782"/>
              <a:gd name="connsiteY11240" fmla="*/ 4718960 h 5973007"/>
              <a:gd name="connsiteX11241" fmla="*/ 1450255 w 6884782"/>
              <a:gd name="connsiteY11241" fmla="*/ 4716792 h 5973007"/>
              <a:gd name="connsiteX11242" fmla="*/ 1455522 w 6884782"/>
              <a:gd name="connsiteY11242" fmla="*/ 4716379 h 5973007"/>
              <a:gd name="connsiteX11243" fmla="*/ 1454902 w 6884782"/>
              <a:gd name="connsiteY11243" fmla="*/ 4722574 h 5973007"/>
              <a:gd name="connsiteX11244" fmla="*/ 1452269 w 6884782"/>
              <a:gd name="connsiteY11244" fmla="*/ 4722884 h 5973007"/>
              <a:gd name="connsiteX11245" fmla="*/ 1451959 w 6884782"/>
              <a:gd name="connsiteY11245" fmla="*/ 4722780 h 5973007"/>
              <a:gd name="connsiteX11246" fmla="*/ 1451649 w 6884782"/>
              <a:gd name="connsiteY11246" fmla="*/ 4727220 h 5973007"/>
              <a:gd name="connsiteX11247" fmla="*/ 1450720 w 6884782"/>
              <a:gd name="connsiteY11247" fmla="*/ 4732693 h 5973007"/>
              <a:gd name="connsiteX11248" fmla="*/ 1447312 w 6884782"/>
              <a:gd name="connsiteY11248" fmla="*/ 4712661 h 5973007"/>
              <a:gd name="connsiteX11249" fmla="*/ 1190029 w 6884782"/>
              <a:gd name="connsiteY11249" fmla="*/ 4712661 h 5973007"/>
              <a:gd name="connsiteX11250" fmla="*/ 1189100 w 6884782"/>
              <a:gd name="connsiteY11250" fmla="*/ 4717824 h 5973007"/>
              <a:gd name="connsiteX11251" fmla="*/ 1190029 w 6884782"/>
              <a:gd name="connsiteY11251" fmla="*/ 4712661 h 5973007"/>
              <a:gd name="connsiteX11252" fmla="*/ 1765624 w 6884782"/>
              <a:gd name="connsiteY11252" fmla="*/ 4712351 h 5973007"/>
              <a:gd name="connsiteX11253" fmla="*/ 1762681 w 6884782"/>
              <a:gd name="connsiteY11253" fmla="*/ 4714417 h 5973007"/>
              <a:gd name="connsiteX11254" fmla="*/ 1758344 w 6884782"/>
              <a:gd name="connsiteY11254" fmla="*/ 4714417 h 5973007"/>
              <a:gd name="connsiteX11255" fmla="*/ 1765624 w 6884782"/>
              <a:gd name="connsiteY11255" fmla="*/ 4712351 h 5973007"/>
              <a:gd name="connsiteX11256" fmla="*/ 1115524 w 6884782"/>
              <a:gd name="connsiteY11256" fmla="*/ 4712132 h 5973007"/>
              <a:gd name="connsiteX11257" fmla="*/ 1128845 w 6884782"/>
              <a:gd name="connsiteY11257" fmla="*/ 4715862 h 5973007"/>
              <a:gd name="connsiteX11258" fmla="*/ 1131634 w 6884782"/>
              <a:gd name="connsiteY11258" fmla="*/ 4723194 h 5973007"/>
              <a:gd name="connsiteX11259" fmla="*/ 1130085 w 6884782"/>
              <a:gd name="connsiteY11259" fmla="*/ 4727943 h 5973007"/>
              <a:gd name="connsiteX11260" fmla="*/ 1130395 w 6884782"/>
              <a:gd name="connsiteY11260" fmla="*/ 4728563 h 5973007"/>
              <a:gd name="connsiteX11261" fmla="*/ 1129930 w 6884782"/>
              <a:gd name="connsiteY11261" fmla="*/ 4728769 h 5973007"/>
              <a:gd name="connsiteX11262" fmla="*/ 1129619 w 6884782"/>
              <a:gd name="connsiteY11262" fmla="*/ 4729285 h 5973007"/>
              <a:gd name="connsiteX11263" fmla="*/ 1117228 w 6884782"/>
              <a:gd name="connsiteY11263" fmla="*/ 4734655 h 5973007"/>
              <a:gd name="connsiteX11264" fmla="*/ 1102203 w 6884782"/>
              <a:gd name="connsiteY11264" fmla="*/ 4720715 h 5973007"/>
              <a:gd name="connsiteX11265" fmla="*/ 1115524 w 6884782"/>
              <a:gd name="connsiteY11265" fmla="*/ 4712132 h 5973007"/>
              <a:gd name="connsiteX11266" fmla="*/ 1001056 w 6884782"/>
              <a:gd name="connsiteY11266" fmla="*/ 4712042 h 5973007"/>
              <a:gd name="connsiteX11267" fmla="*/ 1006942 w 6884782"/>
              <a:gd name="connsiteY11267" fmla="*/ 4713694 h 5973007"/>
              <a:gd name="connsiteX11268" fmla="*/ 1003379 w 6884782"/>
              <a:gd name="connsiteY11268" fmla="*/ 4713694 h 5973007"/>
              <a:gd name="connsiteX11269" fmla="*/ 1001056 w 6884782"/>
              <a:gd name="connsiteY11269" fmla="*/ 4712042 h 5973007"/>
              <a:gd name="connsiteX11270" fmla="*/ 1753852 w 6884782"/>
              <a:gd name="connsiteY11270" fmla="*/ 4711526 h 5973007"/>
              <a:gd name="connsiteX11271" fmla="*/ 1754162 w 6884782"/>
              <a:gd name="connsiteY11271" fmla="*/ 4712351 h 5973007"/>
              <a:gd name="connsiteX11272" fmla="*/ 1755866 w 6884782"/>
              <a:gd name="connsiteY11272" fmla="*/ 4715346 h 5973007"/>
              <a:gd name="connsiteX11273" fmla="*/ 1751683 w 6884782"/>
              <a:gd name="connsiteY11273" fmla="*/ 4716895 h 5973007"/>
              <a:gd name="connsiteX11274" fmla="*/ 1751683 w 6884782"/>
              <a:gd name="connsiteY11274" fmla="*/ 4713281 h 5973007"/>
              <a:gd name="connsiteX11275" fmla="*/ 1753852 w 6884782"/>
              <a:gd name="connsiteY11275" fmla="*/ 4711526 h 5973007"/>
              <a:gd name="connsiteX11276" fmla="*/ 6323903 w 6884782"/>
              <a:gd name="connsiteY11276" fmla="*/ 4711234 h 5973007"/>
              <a:gd name="connsiteX11277" fmla="*/ 6326691 w 6884782"/>
              <a:gd name="connsiteY11277" fmla="*/ 4713092 h 5973007"/>
              <a:gd name="connsiteX11278" fmla="*/ 6325916 w 6884782"/>
              <a:gd name="connsiteY11278" fmla="*/ 4715777 h 5973007"/>
              <a:gd name="connsiteX11279" fmla="*/ 6324367 w 6884782"/>
              <a:gd name="connsiteY11279" fmla="*/ 4713608 h 5973007"/>
              <a:gd name="connsiteX11280" fmla="*/ 6323903 w 6884782"/>
              <a:gd name="connsiteY11280" fmla="*/ 4711234 h 5973007"/>
              <a:gd name="connsiteX11281" fmla="*/ 6321889 w 6884782"/>
              <a:gd name="connsiteY11281" fmla="*/ 4709995 h 5973007"/>
              <a:gd name="connsiteX11282" fmla="*/ 6323438 w 6884782"/>
              <a:gd name="connsiteY11282" fmla="*/ 4710821 h 5973007"/>
              <a:gd name="connsiteX11283" fmla="*/ 6322973 w 6884782"/>
              <a:gd name="connsiteY11283" fmla="*/ 4711543 h 5973007"/>
              <a:gd name="connsiteX11284" fmla="*/ 6322044 w 6884782"/>
              <a:gd name="connsiteY11284" fmla="*/ 4710821 h 5973007"/>
              <a:gd name="connsiteX11285" fmla="*/ 6321889 w 6884782"/>
              <a:gd name="connsiteY11285" fmla="*/ 4709995 h 5973007"/>
              <a:gd name="connsiteX11286" fmla="*/ 1463576 w 6884782"/>
              <a:gd name="connsiteY11286" fmla="*/ 4709977 h 5973007"/>
              <a:gd name="connsiteX11287" fmla="*/ 1462802 w 6884782"/>
              <a:gd name="connsiteY11287" fmla="*/ 4727943 h 5973007"/>
              <a:gd name="connsiteX11288" fmla="*/ 1463576 w 6884782"/>
              <a:gd name="connsiteY11288" fmla="*/ 4709977 h 5973007"/>
              <a:gd name="connsiteX11289" fmla="*/ 1244708 w 6884782"/>
              <a:gd name="connsiteY11289" fmla="*/ 4709770 h 5973007"/>
              <a:gd name="connsiteX11290" fmla="*/ 1240061 w 6884782"/>
              <a:gd name="connsiteY11290" fmla="*/ 4714210 h 5973007"/>
              <a:gd name="connsiteX11291" fmla="*/ 1241920 w 6884782"/>
              <a:gd name="connsiteY11291" fmla="*/ 4712455 h 5973007"/>
              <a:gd name="connsiteX11292" fmla="*/ 1242075 w 6884782"/>
              <a:gd name="connsiteY11292" fmla="*/ 4710700 h 5973007"/>
              <a:gd name="connsiteX11293" fmla="*/ 1244708 w 6884782"/>
              <a:gd name="connsiteY11293" fmla="*/ 4709770 h 5973007"/>
              <a:gd name="connsiteX11294" fmla="*/ 632558 w 6884782"/>
              <a:gd name="connsiteY11294" fmla="*/ 4709770 h 5973007"/>
              <a:gd name="connsiteX11295" fmla="*/ 643400 w 6884782"/>
              <a:gd name="connsiteY11295" fmla="*/ 4710286 h 5973007"/>
              <a:gd name="connsiteX11296" fmla="*/ 638753 w 6884782"/>
              <a:gd name="connsiteY11296" fmla="*/ 4716275 h 5973007"/>
              <a:gd name="connsiteX11297" fmla="*/ 635346 w 6884782"/>
              <a:gd name="connsiteY11297" fmla="*/ 4715759 h 5973007"/>
              <a:gd name="connsiteX11298" fmla="*/ 632558 w 6884782"/>
              <a:gd name="connsiteY11298" fmla="*/ 4709770 h 5973007"/>
              <a:gd name="connsiteX11299" fmla="*/ 1607940 w 6884782"/>
              <a:gd name="connsiteY11299" fmla="*/ 4709460 h 5973007"/>
              <a:gd name="connsiteX11300" fmla="*/ 1617853 w 6884782"/>
              <a:gd name="connsiteY11300" fmla="*/ 4718753 h 5973007"/>
              <a:gd name="connsiteX11301" fmla="*/ 1613826 w 6884782"/>
              <a:gd name="connsiteY11301" fmla="*/ 4721025 h 5973007"/>
              <a:gd name="connsiteX11302" fmla="*/ 1606236 w 6884782"/>
              <a:gd name="connsiteY11302" fmla="*/ 4714004 h 5973007"/>
              <a:gd name="connsiteX11303" fmla="*/ 1607940 w 6884782"/>
              <a:gd name="connsiteY11303" fmla="*/ 4709460 h 5973007"/>
              <a:gd name="connsiteX11304" fmla="*/ 1357317 w 6884782"/>
              <a:gd name="connsiteY11304" fmla="*/ 4709254 h 5973007"/>
              <a:gd name="connsiteX11305" fmla="*/ 1360106 w 6884782"/>
              <a:gd name="connsiteY11305" fmla="*/ 4710906 h 5973007"/>
              <a:gd name="connsiteX11306" fmla="*/ 1359796 w 6884782"/>
              <a:gd name="connsiteY11306" fmla="*/ 4711629 h 5973007"/>
              <a:gd name="connsiteX11307" fmla="*/ 1357317 w 6884782"/>
              <a:gd name="connsiteY11307" fmla="*/ 4709254 h 5973007"/>
              <a:gd name="connsiteX11308" fmla="*/ 1374666 w 6884782"/>
              <a:gd name="connsiteY11308" fmla="*/ 4709047 h 5973007"/>
              <a:gd name="connsiteX11309" fmla="*/ 1376524 w 6884782"/>
              <a:gd name="connsiteY11309" fmla="*/ 4710596 h 5973007"/>
              <a:gd name="connsiteX11310" fmla="*/ 1372342 w 6884782"/>
              <a:gd name="connsiteY11310" fmla="*/ 4718857 h 5973007"/>
              <a:gd name="connsiteX11311" fmla="*/ 1370638 w 6884782"/>
              <a:gd name="connsiteY11311" fmla="*/ 4716895 h 5973007"/>
              <a:gd name="connsiteX11312" fmla="*/ 1374666 w 6884782"/>
              <a:gd name="connsiteY11312" fmla="*/ 4709047 h 5973007"/>
              <a:gd name="connsiteX11313" fmla="*/ 6065071 w 6884782"/>
              <a:gd name="connsiteY11313" fmla="*/ 4708755 h 5973007"/>
              <a:gd name="connsiteX11314" fmla="*/ 6068014 w 6884782"/>
              <a:gd name="connsiteY11314" fmla="*/ 4714125 h 5973007"/>
              <a:gd name="connsiteX11315" fmla="*/ 6062283 w 6884782"/>
              <a:gd name="connsiteY11315" fmla="*/ 4720837 h 5973007"/>
              <a:gd name="connsiteX11316" fmla="*/ 6059185 w 6884782"/>
              <a:gd name="connsiteY11316" fmla="*/ 4720837 h 5973007"/>
              <a:gd name="connsiteX11317" fmla="*/ 6056087 w 6884782"/>
              <a:gd name="connsiteY11317" fmla="*/ 4717739 h 5973007"/>
              <a:gd name="connsiteX11318" fmla="*/ 6065071 w 6884782"/>
              <a:gd name="connsiteY11318" fmla="*/ 4708755 h 5973007"/>
              <a:gd name="connsiteX11319" fmla="*/ 1587803 w 6884782"/>
              <a:gd name="connsiteY11319" fmla="*/ 4708635 h 5973007"/>
              <a:gd name="connsiteX11320" fmla="*/ 1601280 w 6884782"/>
              <a:gd name="connsiteY11320" fmla="*/ 4724846 h 5973007"/>
              <a:gd name="connsiteX11321" fmla="*/ 1599730 w 6884782"/>
              <a:gd name="connsiteY11321" fmla="*/ 4730008 h 5973007"/>
              <a:gd name="connsiteX11322" fmla="*/ 1587803 w 6884782"/>
              <a:gd name="connsiteY11322" fmla="*/ 4708635 h 5973007"/>
              <a:gd name="connsiteX11323" fmla="*/ 5974302 w 6884782"/>
              <a:gd name="connsiteY11323" fmla="*/ 4708446 h 5973007"/>
              <a:gd name="connsiteX11324" fmla="*/ 5974611 w 6884782"/>
              <a:gd name="connsiteY11324" fmla="*/ 4708755 h 5973007"/>
              <a:gd name="connsiteX11325" fmla="*/ 5982976 w 6884782"/>
              <a:gd name="connsiteY11325" fmla="*/ 4713092 h 5973007"/>
              <a:gd name="connsiteX11326" fmla="*/ 5984215 w 6884782"/>
              <a:gd name="connsiteY11326" fmla="*/ 4718462 h 5973007"/>
              <a:gd name="connsiteX11327" fmla="*/ 5981582 w 6884782"/>
              <a:gd name="connsiteY11327" fmla="*/ 4719288 h 5973007"/>
              <a:gd name="connsiteX11328" fmla="*/ 5977864 w 6884782"/>
              <a:gd name="connsiteY11328" fmla="*/ 4717016 h 5973007"/>
              <a:gd name="connsiteX11329" fmla="*/ 5977864 w 6884782"/>
              <a:gd name="connsiteY11329" fmla="*/ 4718875 h 5973007"/>
              <a:gd name="connsiteX11330" fmla="*/ 5975696 w 6884782"/>
              <a:gd name="connsiteY11330" fmla="*/ 4723005 h 5973007"/>
              <a:gd name="connsiteX11331" fmla="*/ 5969655 w 6884782"/>
              <a:gd name="connsiteY11331" fmla="*/ 4719081 h 5973007"/>
              <a:gd name="connsiteX11332" fmla="*/ 5969809 w 6884782"/>
              <a:gd name="connsiteY11332" fmla="*/ 4709685 h 5973007"/>
              <a:gd name="connsiteX11333" fmla="*/ 5974302 w 6884782"/>
              <a:gd name="connsiteY11333" fmla="*/ 4708446 h 5973007"/>
              <a:gd name="connsiteX11334" fmla="*/ 926086 w 6884782"/>
              <a:gd name="connsiteY11334" fmla="*/ 4708325 h 5973007"/>
              <a:gd name="connsiteX11335" fmla="*/ 927170 w 6884782"/>
              <a:gd name="connsiteY11335" fmla="*/ 4711732 h 5973007"/>
              <a:gd name="connsiteX11336" fmla="*/ 925776 w 6884782"/>
              <a:gd name="connsiteY11336" fmla="*/ 4712248 h 5973007"/>
              <a:gd name="connsiteX11337" fmla="*/ 923608 w 6884782"/>
              <a:gd name="connsiteY11337" fmla="*/ 4710803 h 5973007"/>
              <a:gd name="connsiteX11338" fmla="*/ 1818134 w 6884782"/>
              <a:gd name="connsiteY11338" fmla="*/ 4708118 h 5973007"/>
              <a:gd name="connsiteX11339" fmla="*/ 1818753 w 6884782"/>
              <a:gd name="connsiteY11339" fmla="*/ 4708221 h 5973007"/>
              <a:gd name="connsiteX11340" fmla="*/ 1820147 w 6884782"/>
              <a:gd name="connsiteY11340" fmla="*/ 4710390 h 5973007"/>
              <a:gd name="connsiteX11341" fmla="*/ 1819528 w 6884782"/>
              <a:gd name="connsiteY11341" fmla="*/ 4710390 h 5973007"/>
              <a:gd name="connsiteX11342" fmla="*/ 1817359 w 6884782"/>
              <a:gd name="connsiteY11342" fmla="*/ 4709667 h 5973007"/>
              <a:gd name="connsiteX11343" fmla="*/ 1817979 w 6884782"/>
              <a:gd name="connsiteY11343" fmla="*/ 4708531 h 5973007"/>
              <a:gd name="connsiteX11344" fmla="*/ 1817204 w 6884782"/>
              <a:gd name="connsiteY11344" fmla="*/ 4708841 h 5973007"/>
              <a:gd name="connsiteX11345" fmla="*/ 1818134 w 6884782"/>
              <a:gd name="connsiteY11345" fmla="*/ 4708118 h 5973007"/>
              <a:gd name="connsiteX11346" fmla="*/ 6082264 w 6884782"/>
              <a:gd name="connsiteY11346" fmla="*/ 4708033 h 5973007"/>
              <a:gd name="connsiteX11347" fmla="*/ 6084743 w 6884782"/>
              <a:gd name="connsiteY11347" fmla="*/ 4708549 h 5973007"/>
              <a:gd name="connsiteX11348" fmla="*/ 6084743 w 6884782"/>
              <a:gd name="connsiteY11348" fmla="*/ 4711750 h 5973007"/>
              <a:gd name="connsiteX11349" fmla="*/ 6086911 w 6884782"/>
              <a:gd name="connsiteY11349" fmla="*/ 4714125 h 5973007"/>
              <a:gd name="connsiteX11350" fmla="*/ 6086911 w 6884782"/>
              <a:gd name="connsiteY11350" fmla="*/ 4717326 h 5973007"/>
              <a:gd name="connsiteX11351" fmla="*/ 6085827 w 6884782"/>
              <a:gd name="connsiteY11351" fmla="*/ 4717429 h 5973007"/>
              <a:gd name="connsiteX11352" fmla="*/ 6086137 w 6884782"/>
              <a:gd name="connsiteY11352" fmla="*/ 4716913 h 5973007"/>
              <a:gd name="connsiteX11353" fmla="*/ 6085827 w 6884782"/>
              <a:gd name="connsiteY11353" fmla="*/ 4714435 h 5973007"/>
              <a:gd name="connsiteX11354" fmla="*/ 6081955 w 6884782"/>
              <a:gd name="connsiteY11354" fmla="*/ 4709995 h 5973007"/>
              <a:gd name="connsiteX11355" fmla="*/ 6082264 w 6884782"/>
              <a:gd name="connsiteY11355" fmla="*/ 4708033 h 5973007"/>
              <a:gd name="connsiteX11356" fmla="*/ 6022939 w 6884782"/>
              <a:gd name="connsiteY11356" fmla="*/ 4708033 h 5973007"/>
              <a:gd name="connsiteX11357" fmla="*/ 6026502 w 6884782"/>
              <a:gd name="connsiteY11357" fmla="*/ 4714847 h 5973007"/>
              <a:gd name="connsiteX11358" fmla="*/ 6024953 w 6884782"/>
              <a:gd name="connsiteY11358" fmla="*/ 4715880 h 5973007"/>
              <a:gd name="connsiteX11359" fmla="*/ 6022939 w 6884782"/>
              <a:gd name="connsiteY11359" fmla="*/ 4716500 h 5973007"/>
              <a:gd name="connsiteX11360" fmla="*/ 6020925 w 6884782"/>
              <a:gd name="connsiteY11360" fmla="*/ 4716500 h 5973007"/>
              <a:gd name="connsiteX11361" fmla="*/ 6018137 w 6884782"/>
              <a:gd name="connsiteY11361" fmla="*/ 4715364 h 5973007"/>
              <a:gd name="connsiteX11362" fmla="*/ 6016124 w 6884782"/>
              <a:gd name="connsiteY11362" fmla="*/ 4711957 h 5973007"/>
              <a:gd name="connsiteX11363" fmla="*/ 6015814 w 6884782"/>
              <a:gd name="connsiteY11363" fmla="*/ 4710201 h 5973007"/>
              <a:gd name="connsiteX11364" fmla="*/ 6022939 w 6884782"/>
              <a:gd name="connsiteY11364" fmla="*/ 4708033 h 5973007"/>
              <a:gd name="connsiteX11365" fmla="*/ 1809150 w 6884782"/>
              <a:gd name="connsiteY11365" fmla="*/ 4707808 h 5973007"/>
              <a:gd name="connsiteX11366" fmla="*/ 1812712 w 6884782"/>
              <a:gd name="connsiteY11366" fmla="*/ 4711835 h 5973007"/>
              <a:gd name="connsiteX11367" fmla="*/ 1815191 w 6884782"/>
              <a:gd name="connsiteY11367" fmla="*/ 4715552 h 5973007"/>
              <a:gd name="connsiteX11368" fmla="*/ 1820302 w 6884782"/>
              <a:gd name="connsiteY11368" fmla="*/ 4729285 h 5973007"/>
              <a:gd name="connsiteX11369" fmla="*/ 1816430 w 6884782"/>
              <a:gd name="connsiteY11369" fmla="*/ 4724846 h 5973007"/>
              <a:gd name="connsiteX11370" fmla="*/ 1814261 w 6884782"/>
              <a:gd name="connsiteY11370" fmla="*/ 4725362 h 5973007"/>
              <a:gd name="connsiteX11371" fmla="*/ 1811164 w 6884782"/>
              <a:gd name="connsiteY11371" fmla="*/ 4722471 h 5973007"/>
              <a:gd name="connsiteX11372" fmla="*/ 1814571 w 6884782"/>
              <a:gd name="connsiteY11372" fmla="*/ 4722264 h 5973007"/>
              <a:gd name="connsiteX11373" fmla="*/ 1814881 w 6884782"/>
              <a:gd name="connsiteY11373" fmla="*/ 4722368 h 5973007"/>
              <a:gd name="connsiteX11374" fmla="*/ 1812248 w 6884782"/>
              <a:gd name="connsiteY11374" fmla="*/ 4717824 h 5973007"/>
              <a:gd name="connsiteX11375" fmla="*/ 1808375 w 6884782"/>
              <a:gd name="connsiteY11375" fmla="*/ 4712558 h 5973007"/>
              <a:gd name="connsiteX11376" fmla="*/ 1808840 w 6884782"/>
              <a:gd name="connsiteY11376" fmla="*/ 4710183 h 5973007"/>
              <a:gd name="connsiteX11377" fmla="*/ 1808221 w 6884782"/>
              <a:gd name="connsiteY11377" fmla="*/ 4709460 h 5973007"/>
              <a:gd name="connsiteX11378" fmla="*/ 1809150 w 6884782"/>
              <a:gd name="connsiteY11378" fmla="*/ 4707808 h 5973007"/>
              <a:gd name="connsiteX11379" fmla="*/ 1040438 w 6884782"/>
              <a:gd name="connsiteY11379" fmla="*/ 4707808 h 5973007"/>
              <a:gd name="connsiteX11380" fmla="*/ 1042413 w 6884782"/>
              <a:gd name="connsiteY11380" fmla="*/ 4713178 h 5973007"/>
              <a:gd name="connsiteX11381" fmla="*/ 1035443 w 6884782"/>
              <a:gd name="connsiteY11381" fmla="*/ 4708325 h 5973007"/>
              <a:gd name="connsiteX11382" fmla="*/ 1040438 w 6884782"/>
              <a:gd name="connsiteY11382" fmla="*/ 4707808 h 5973007"/>
              <a:gd name="connsiteX11383" fmla="*/ 920045 w 6884782"/>
              <a:gd name="connsiteY11383" fmla="*/ 4707808 h 5973007"/>
              <a:gd name="connsiteX11384" fmla="*/ 921129 w 6884782"/>
              <a:gd name="connsiteY11384" fmla="*/ 4709564 h 5973007"/>
              <a:gd name="connsiteX11385" fmla="*/ 920819 w 6884782"/>
              <a:gd name="connsiteY11385" fmla="*/ 4711009 h 5973007"/>
              <a:gd name="connsiteX11386" fmla="*/ 922833 w 6884782"/>
              <a:gd name="connsiteY11386" fmla="*/ 4711526 h 5973007"/>
              <a:gd name="connsiteX11387" fmla="*/ 925622 w 6884782"/>
              <a:gd name="connsiteY11387" fmla="*/ 4718650 h 5973007"/>
              <a:gd name="connsiteX11388" fmla="*/ 924072 w 6884782"/>
              <a:gd name="connsiteY11388" fmla="*/ 4719476 h 5973007"/>
              <a:gd name="connsiteX11389" fmla="*/ 922059 w 6884782"/>
              <a:gd name="connsiteY11389" fmla="*/ 4719889 h 5973007"/>
              <a:gd name="connsiteX11390" fmla="*/ 917412 w 6884782"/>
              <a:gd name="connsiteY11390" fmla="*/ 4718237 h 5973007"/>
              <a:gd name="connsiteX11391" fmla="*/ 915553 w 6884782"/>
              <a:gd name="connsiteY11391" fmla="*/ 4714623 h 5973007"/>
              <a:gd name="connsiteX11392" fmla="*/ 915553 w 6884782"/>
              <a:gd name="connsiteY11392" fmla="*/ 4712971 h 5973007"/>
              <a:gd name="connsiteX11393" fmla="*/ 916637 w 6884782"/>
              <a:gd name="connsiteY11393" fmla="*/ 4712248 h 5973007"/>
              <a:gd name="connsiteX11394" fmla="*/ 916173 w 6884782"/>
              <a:gd name="connsiteY11394" fmla="*/ 4711629 h 5973007"/>
              <a:gd name="connsiteX11395" fmla="*/ 915863 w 6884782"/>
              <a:gd name="connsiteY11395" fmla="*/ 4708944 h 5973007"/>
              <a:gd name="connsiteX11396" fmla="*/ 920045 w 6884782"/>
              <a:gd name="connsiteY11396" fmla="*/ 4707808 h 5973007"/>
              <a:gd name="connsiteX11397" fmla="*/ 6319565 w 6884782"/>
              <a:gd name="connsiteY11397" fmla="*/ 4707516 h 5973007"/>
              <a:gd name="connsiteX11398" fmla="*/ 6319411 w 6884782"/>
              <a:gd name="connsiteY11398" fmla="*/ 4709375 h 5973007"/>
              <a:gd name="connsiteX11399" fmla="*/ 6318481 w 6884782"/>
              <a:gd name="connsiteY11399" fmla="*/ 4707723 h 5973007"/>
              <a:gd name="connsiteX11400" fmla="*/ 6319565 w 6884782"/>
              <a:gd name="connsiteY11400" fmla="*/ 4707516 h 5973007"/>
              <a:gd name="connsiteX11401" fmla="*/ 6178145 w 6884782"/>
              <a:gd name="connsiteY11401" fmla="*/ 4706174 h 5973007"/>
              <a:gd name="connsiteX11402" fmla="*/ 6200760 w 6884782"/>
              <a:gd name="connsiteY11402" fmla="*/ 4715364 h 5973007"/>
              <a:gd name="connsiteX11403" fmla="*/ 6205252 w 6884782"/>
              <a:gd name="connsiteY11403" fmla="*/ 4721353 h 5973007"/>
              <a:gd name="connsiteX11404" fmla="*/ 6188988 w 6884782"/>
              <a:gd name="connsiteY11404" fmla="*/ 4719494 h 5973007"/>
              <a:gd name="connsiteX11405" fmla="*/ 6182482 w 6884782"/>
              <a:gd name="connsiteY11405" fmla="*/ 4735189 h 5973007"/>
              <a:gd name="connsiteX11406" fmla="*/ 6180469 w 6884782"/>
              <a:gd name="connsiteY11406" fmla="*/ 4731265 h 5973007"/>
              <a:gd name="connsiteX11407" fmla="*/ 6182482 w 6884782"/>
              <a:gd name="connsiteY11407" fmla="*/ 4715467 h 5973007"/>
              <a:gd name="connsiteX11408" fmla="*/ 6178145 w 6884782"/>
              <a:gd name="connsiteY11408" fmla="*/ 4706174 h 5973007"/>
              <a:gd name="connsiteX11409" fmla="*/ 1880867 w 6884782"/>
              <a:gd name="connsiteY11409" fmla="*/ 4705950 h 5973007"/>
              <a:gd name="connsiteX11410" fmla="*/ 1879008 w 6884782"/>
              <a:gd name="connsiteY11410" fmla="*/ 4708325 h 5973007"/>
              <a:gd name="connsiteX11411" fmla="*/ 1878234 w 6884782"/>
              <a:gd name="connsiteY11411" fmla="*/ 4707292 h 5973007"/>
              <a:gd name="connsiteX11412" fmla="*/ 1878234 w 6884782"/>
              <a:gd name="connsiteY11412" fmla="*/ 4708118 h 5973007"/>
              <a:gd name="connsiteX11413" fmla="*/ 1877924 w 6884782"/>
              <a:gd name="connsiteY11413" fmla="*/ 4706982 h 5973007"/>
              <a:gd name="connsiteX11414" fmla="*/ 1878389 w 6884782"/>
              <a:gd name="connsiteY11414" fmla="*/ 4706466 h 5973007"/>
              <a:gd name="connsiteX11415" fmla="*/ 1880867 w 6884782"/>
              <a:gd name="connsiteY11415" fmla="*/ 4705950 h 5973007"/>
              <a:gd name="connsiteX11416" fmla="*/ 6211603 w 6884782"/>
              <a:gd name="connsiteY11416" fmla="*/ 4705555 h 5973007"/>
              <a:gd name="connsiteX11417" fmla="*/ 6217179 w 6884782"/>
              <a:gd name="connsiteY11417" fmla="*/ 4710098 h 5973007"/>
              <a:gd name="connsiteX11418" fmla="*/ 6212997 w 6884782"/>
              <a:gd name="connsiteY11418" fmla="*/ 4709272 h 5973007"/>
              <a:gd name="connsiteX11419" fmla="*/ 6211603 w 6884782"/>
              <a:gd name="connsiteY11419" fmla="*/ 4705555 h 5973007"/>
              <a:gd name="connsiteX11420" fmla="*/ 6111695 w 6884782"/>
              <a:gd name="connsiteY11420" fmla="*/ 4705451 h 5973007"/>
              <a:gd name="connsiteX11421" fmla="*/ 6119594 w 6884782"/>
              <a:gd name="connsiteY11421" fmla="*/ 4707620 h 5973007"/>
              <a:gd name="connsiteX11422" fmla="*/ 6109836 w 6884782"/>
              <a:gd name="connsiteY11422" fmla="*/ 4723728 h 5973007"/>
              <a:gd name="connsiteX11423" fmla="*/ 6107822 w 6884782"/>
              <a:gd name="connsiteY11423" fmla="*/ 4719804 h 5973007"/>
              <a:gd name="connsiteX11424" fmla="*/ 6111695 w 6884782"/>
              <a:gd name="connsiteY11424" fmla="*/ 4705451 h 5973007"/>
              <a:gd name="connsiteX11425" fmla="*/ 1204590 w 6884782"/>
              <a:gd name="connsiteY11425" fmla="*/ 4705330 h 5973007"/>
              <a:gd name="connsiteX11426" fmla="*/ 1205519 w 6884782"/>
              <a:gd name="connsiteY11426" fmla="*/ 4708015 h 5973007"/>
              <a:gd name="connsiteX11427" fmla="*/ 1204900 w 6884782"/>
              <a:gd name="connsiteY11427" fmla="*/ 4710493 h 5973007"/>
              <a:gd name="connsiteX11428" fmla="*/ 1203506 w 6884782"/>
              <a:gd name="connsiteY11428" fmla="*/ 4710803 h 5973007"/>
              <a:gd name="connsiteX11429" fmla="*/ 1201492 w 6884782"/>
              <a:gd name="connsiteY11429" fmla="*/ 4710390 h 5973007"/>
              <a:gd name="connsiteX11430" fmla="*/ 1202111 w 6884782"/>
              <a:gd name="connsiteY11430" fmla="*/ 4706053 h 5973007"/>
              <a:gd name="connsiteX11431" fmla="*/ 1204590 w 6884782"/>
              <a:gd name="connsiteY11431" fmla="*/ 4705330 h 5973007"/>
              <a:gd name="connsiteX11432" fmla="*/ 6023249 w 6884782"/>
              <a:gd name="connsiteY11432" fmla="*/ 4705038 h 5973007"/>
              <a:gd name="connsiteX11433" fmla="*/ 6024798 w 6884782"/>
              <a:gd name="connsiteY11433" fmla="*/ 4705038 h 5973007"/>
              <a:gd name="connsiteX11434" fmla="*/ 6024023 w 6884782"/>
              <a:gd name="connsiteY11434" fmla="*/ 4705761 h 5973007"/>
              <a:gd name="connsiteX11435" fmla="*/ 6023249 w 6884782"/>
              <a:gd name="connsiteY11435" fmla="*/ 4705038 h 5973007"/>
              <a:gd name="connsiteX11436" fmla="*/ 6092178 w 6884782"/>
              <a:gd name="connsiteY11436" fmla="*/ 4704935 h 5973007"/>
              <a:gd name="connsiteX11437" fmla="*/ 6099303 w 6884782"/>
              <a:gd name="connsiteY11437" fmla="*/ 4732401 h 5973007"/>
              <a:gd name="connsiteX11438" fmla="*/ 6092178 w 6884782"/>
              <a:gd name="connsiteY11438" fmla="*/ 4704935 h 5973007"/>
              <a:gd name="connsiteX11439" fmla="*/ 1824639 w 6884782"/>
              <a:gd name="connsiteY11439" fmla="*/ 4704917 h 5973007"/>
              <a:gd name="connsiteX11440" fmla="*/ 1824794 w 6884782"/>
              <a:gd name="connsiteY11440" fmla="*/ 4705227 h 5973007"/>
              <a:gd name="connsiteX11441" fmla="*/ 1824949 w 6884782"/>
              <a:gd name="connsiteY11441" fmla="*/ 4705227 h 5973007"/>
              <a:gd name="connsiteX11442" fmla="*/ 1826344 w 6884782"/>
              <a:gd name="connsiteY11442" fmla="*/ 4705020 h 5973007"/>
              <a:gd name="connsiteX11443" fmla="*/ 1321691 w 6884782"/>
              <a:gd name="connsiteY11443" fmla="*/ 4704917 h 5973007"/>
              <a:gd name="connsiteX11444" fmla="*/ 1357163 w 6884782"/>
              <a:gd name="connsiteY11444" fmla="*/ 4731454 h 5973007"/>
              <a:gd name="connsiteX11445" fmla="*/ 1352051 w 6884782"/>
              <a:gd name="connsiteY11445" fmla="*/ 4731557 h 5973007"/>
              <a:gd name="connsiteX11446" fmla="*/ 1316580 w 6884782"/>
              <a:gd name="connsiteY11446" fmla="*/ 4712455 h 5973007"/>
              <a:gd name="connsiteX11447" fmla="*/ 1321691 w 6884782"/>
              <a:gd name="connsiteY11447" fmla="*/ 4704917 h 5973007"/>
              <a:gd name="connsiteX11448" fmla="*/ 1526619 w 6884782"/>
              <a:gd name="connsiteY11448" fmla="*/ 4704711 h 5973007"/>
              <a:gd name="connsiteX11449" fmla="*/ 1528788 w 6884782"/>
              <a:gd name="connsiteY11449" fmla="*/ 4705537 h 5973007"/>
              <a:gd name="connsiteX11450" fmla="*/ 1532505 w 6884782"/>
              <a:gd name="connsiteY11450" fmla="*/ 4705537 h 5973007"/>
              <a:gd name="connsiteX11451" fmla="*/ 1532195 w 6884782"/>
              <a:gd name="connsiteY11451" fmla="*/ 4716895 h 5973007"/>
              <a:gd name="connsiteX11452" fmla="*/ 1523211 w 6884782"/>
              <a:gd name="connsiteY11452" fmla="*/ 4725981 h 5973007"/>
              <a:gd name="connsiteX11453" fmla="*/ 1519959 w 6884782"/>
              <a:gd name="connsiteY11453" fmla="*/ 4725878 h 5973007"/>
              <a:gd name="connsiteX11454" fmla="*/ 1513143 w 6884782"/>
              <a:gd name="connsiteY11454" fmla="*/ 4719167 h 5973007"/>
              <a:gd name="connsiteX11455" fmla="*/ 1513298 w 6884782"/>
              <a:gd name="connsiteY11455" fmla="*/ 4713281 h 5973007"/>
              <a:gd name="connsiteX11456" fmla="*/ 1526619 w 6884782"/>
              <a:gd name="connsiteY11456" fmla="*/ 4704711 h 5973007"/>
              <a:gd name="connsiteX11457" fmla="*/ 6025882 w 6884782"/>
              <a:gd name="connsiteY11457" fmla="*/ 4704522 h 5973007"/>
              <a:gd name="connsiteX11458" fmla="*/ 6027121 w 6884782"/>
              <a:gd name="connsiteY11458" fmla="*/ 4707826 h 5973007"/>
              <a:gd name="connsiteX11459" fmla="*/ 6025882 w 6884782"/>
              <a:gd name="connsiteY11459" fmla="*/ 4708446 h 5973007"/>
              <a:gd name="connsiteX11460" fmla="*/ 6023713 w 6884782"/>
              <a:gd name="connsiteY11460" fmla="*/ 4707207 h 5973007"/>
              <a:gd name="connsiteX11461" fmla="*/ 1244398 w 6884782"/>
              <a:gd name="connsiteY11461" fmla="*/ 4704504 h 5973007"/>
              <a:gd name="connsiteX11462" fmla="*/ 1259578 w 6884782"/>
              <a:gd name="connsiteY11462" fmla="*/ 4720302 h 5973007"/>
              <a:gd name="connsiteX11463" fmla="*/ 1245327 w 6884782"/>
              <a:gd name="connsiteY11463" fmla="*/ 4709667 h 5973007"/>
              <a:gd name="connsiteX11464" fmla="*/ 1244398 w 6884782"/>
              <a:gd name="connsiteY11464" fmla="*/ 4704504 h 5973007"/>
              <a:gd name="connsiteX11465" fmla="*/ 1583776 w 6884782"/>
              <a:gd name="connsiteY11465" fmla="*/ 4703059 h 5973007"/>
              <a:gd name="connsiteX11466" fmla="*/ 1586718 w 6884782"/>
              <a:gd name="connsiteY11466" fmla="*/ 4705950 h 5973007"/>
              <a:gd name="connsiteX11467" fmla="*/ 1575876 w 6884782"/>
              <a:gd name="connsiteY11467" fmla="*/ 4710700 h 5973007"/>
              <a:gd name="connsiteX11468" fmla="*/ 1583776 w 6884782"/>
              <a:gd name="connsiteY11468" fmla="*/ 4703059 h 5973007"/>
              <a:gd name="connsiteX11469" fmla="*/ 1615684 w 6884782"/>
              <a:gd name="connsiteY11469" fmla="*/ 4702129 h 5973007"/>
              <a:gd name="connsiteX11470" fmla="*/ 1613516 w 6884782"/>
              <a:gd name="connsiteY11470" fmla="*/ 4704711 h 5973007"/>
              <a:gd name="connsiteX11471" fmla="*/ 1612432 w 6884782"/>
              <a:gd name="connsiteY11471" fmla="*/ 4704504 h 5973007"/>
              <a:gd name="connsiteX11472" fmla="*/ 1615684 w 6884782"/>
              <a:gd name="connsiteY11472" fmla="*/ 4702129 h 5973007"/>
              <a:gd name="connsiteX11473" fmla="*/ 1190340 w 6884782"/>
              <a:gd name="connsiteY11473" fmla="*/ 4701613 h 5973007"/>
              <a:gd name="connsiteX11474" fmla="*/ 1194676 w 6884782"/>
              <a:gd name="connsiteY11474" fmla="*/ 4702336 h 5973007"/>
              <a:gd name="connsiteX11475" fmla="*/ 1191578 w 6884782"/>
              <a:gd name="connsiteY11475" fmla="*/ 4704194 h 5973007"/>
              <a:gd name="connsiteX11476" fmla="*/ 1190340 w 6884782"/>
              <a:gd name="connsiteY11476" fmla="*/ 4701613 h 5973007"/>
              <a:gd name="connsiteX11477" fmla="*/ 1484487 w 6884782"/>
              <a:gd name="connsiteY11477" fmla="*/ 4700580 h 5973007"/>
              <a:gd name="connsiteX11478" fmla="*/ 1493316 w 6884782"/>
              <a:gd name="connsiteY11478" fmla="*/ 4701716 h 5973007"/>
              <a:gd name="connsiteX11479" fmla="*/ 1492851 w 6884782"/>
              <a:gd name="connsiteY11479" fmla="*/ 4702645 h 5973007"/>
              <a:gd name="connsiteX11480" fmla="*/ 1493936 w 6884782"/>
              <a:gd name="connsiteY11480" fmla="*/ 4702749 h 5973007"/>
              <a:gd name="connsiteX11481" fmla="*/ 1496569 w 6884782"/>
              <a:gd name="connsiteY11481" fmla="*/ 4704401 h 5973007"/>
              <a:gd name="connsiteX11482" fmla="*/ 1498738 w 6884782"/>
              <a:gd name="connsiteY11482" fmla="*/ 4715656 h 5973007"/>
              <a:gd name="connsiteX11483" fmla="*/ 1497653 w 6884782"/>
              <a:gd name="connsiteY11483" fmla="*/ 4716585 h 5973007"/>
              <a:gd name="connsiteX11484" fmla="*/ 1498738 w 6884782"/>
              <a:gd name="connsiteY11484" fmla="*/ 4717721 h 5973007"/>
              <a:gd name="connsiteX11485" fmla="*/ 1498428 w 6884782"/>
              <a:gd name="connsiteY11485" fmla="*/ 4725465 h 5973007"/>
              <a:gd name="connsiteX11486" fmla="*/ 1497808 w 6884782"/>
              <a:gd name="connsiteY11486" fmla="*/ 4725775 h 5973007"/>
              <a:gd name="connsiteX11487" fmla="*/ 1498273 w 6884782"/>
              <a:gd name="connsiteY11487" fmla="*/ 4726291 h 5973007"/>
              <a:gd name="connsiteX11488" fmla="*/ 1501216 w 6884782"/>
              <a:gd name="connsiteY11488" fmla="*/ 4732177 h 5973007"/>
              <a:gd name="connsiteX11489" fmla="*/ 1498582 w 6884782"/>
              <a:gd name="connsiteY11489" fmla="*/ 4731144 h 5973007"/>
              <a:gd name="connsiteX11490" fmla="*/ 1497808 w 6884782"/>
              <a:gd name="connsiteY11490" fmla="*/ 4730318 h 5973007"/>
              <a:gd name="connsiteX11491" fmla="*/ 1496879 w 6884782"/>
              <a:gd name="connsiteY11491" fmla="*/ 4730215 h 5973007"/>
              <a:gd name="connsiteX11492" fmla="*/ 1496879 w 6884782"/>
              <a:gd name="connsiteY11492" fmla="*/ 4729389 h 5973007"/>
              <a:gd name="connsiteX11493" fmla="*/ 1495175 w 6884782"/>
              <a:gd name="connsiteY11493" fmla="*/ 4727530 h 5973007"/>
              <a:gd name="connsiteX11494" fmla="*/ 1494401 w 6884782"/>
              <a:gd name="connsiteY11494" fmla="*/ 4727220 h 5973007"/>
              <a:gd name="connsiteX11495" fmla="*/ 1494091 w 6884782"/>
              <a:gd name="connsiteY11495" fmla="*/ 4727014 h 5973007"/>
              <a:gd name="connsiteX11496" fmla="*/ 1492232 w 6884782"/>
              <a:gd name="connsiteY11496" fmla="*/ 4725878 h 5973007"/>
              <a:gd name="connsiteX11497" fmla="*/ 1489909 w 6884782"/>
              <a:gd name="connsiteY11497" fmla="*/ 4724742 h 5973007"/>
              <a:gd name="connsiteX11498" fmla="*/ 1486346 w 6884782"/>
              <a:gd name="connsiteY11498" fmla="*/ 4719373 h 5973007"/>
              <a:gd name="connsiteX11499" fmla="*/ 1487895 w 6884782"/>
              <a:gd name="connsiteY11499" fmla="*/ 4717721 h 5973007"/>
              <a:gd name="connsiteX11500" fmla="*/ 1486191 w 6884782"/>
              <a:gd name="connsiteY11500" fmla="*/ 4715966 h 5973007"/>
              <a:gd name="connsiteX11501" fmla="*/ 1483558 w 6884782"/>
              <a:gd name="connsiteY11501" fmla="*/ 4710906 h 5973007"/>
              <a:gd name="connsiteX11502" fmla="*/ 1485727 w 6884782"/>
              <a:gd name="connsiteY11502" fmla="*/ 4706569 h 5973007"/>
              <a:gd name="connsiteX11503" fmla="*/ 1484023 w 6884782"/>
              <a:gd name="connsiteY11503" fmla="*/ 4705537 h 5973007"/>
              <a:gd name="connsiteX11504" fmla="*/ 1484487 w 6884782"/>
              <a:gd name="connsiteY11504" fmla="*/ 4700580 h 5973007"/>
              <a:gd name="connsiteX11505" fmla="*/ 6034556 w 6884782"/>
              <a:gd name="connsiteY11505" fmla="*/ 4700392 h 5973007"/>
              <a:gd name="connsiteX11506" fmla="*/ 6036415 w 6884782"/>
              <a:gd name="connsiteY11506" fmla="*/ 4702044 h 5973007"/>
              <a:gd name="connsiteX11507" fmla="*/ 6037190 w 6884782"/>
              <a:gd name="connsiteY11507" fmla="*/ 4707103 h 5973007"/>
              <a:gd name="connsiteX11508" fmla="*/ 6035641 w 6884782"/>
              <a:gd name="connsiteY11508" fmla="*/ 4708136 h 5973007"/>
              <a:gd name="connsiteX11509" fmla="*/ 6033007 w 6884782"/>
              <a:gd name="connsiteY11509" fmla="*/ 4701424 h 5973007"/>
              <a:gd name="connsiteX11510" fmla="*/ 6034556 w 6884782"/>
              <a:gd name="connsiteY11510" fmla="*/ 4700392 h 5973007"/>
              <a:gd name="connsiteX11511" fmla="*/ 5900455 w 6884782"/>
              <a:gd name="connsiteY11511" fmla="*/ 4699772 h 5973007"/>
              <a:gd name="connsiteX11512" fmla="*/ 5905683 w 6884782"/>
              <a:gd name="connsiteY11512" fmla="*/ 4703076 h 5973007"/>
              <a:gd name="connsiteX11513" fmla="*/ 5899951 w 6884782"/>
              <a:gd name="connsiteY11513" fmla="*/ 4709375 h 5973007"/>
              <a:gd name="connsiteX11514" fmla="*/ 5893756 w 6884782"/>
              <a:gd name="connsiteY11514" fmla="*/ 4706794 h 5973007"/>
              <a:gd name="connsiteX11515" fmla="*/ 5893136 w 6884782"/>
              <a:gd name="connsiteY11515" fmla="*/ 4701734 h 5973007"/>
              <a:gd name="connsiteX11516" fmla="*/ 5900455 w 6884782"/>
              <a:gd name="connsiteY11516" fmla="*/ 4699772 h 5973007"/>
              <a:gd name="connsiteX11517" fmla="*/ 1848648 w 6884782"/>
              <a:gd name="connsiteY11517" fmla="*/ 4699341 h 5973007"/>
              <a:gd name="connsiteX11518" fmla="*/ 1850352 w 6884782"/>
              <a:gd name="connsiteY11518" fmla="*/ 4705640 h 5973007"/>
              <a:gd name="connsiteX11519" fmla="*/ 1849733 w 6884782"/>
              <a:gd name="connsiteY11519" fmla="*/ 4706776 h 5973007"/>
              <a:gd name="connsiteX11520" fmla="*/ 1848648 w 6884782"/>
              <a:gd name="connsiteY11520" fmla="*/ 4699341 h 5973007"/>
              <a:gd name="connsiteX11521" fmla="*/ 6503737 w 6884782"/>
              <a:gd name="connsiteY11521" fmla="*/ 4698946 h 5973007"/>
              <a:gd name="connsiteX11522" fmla="*/ 6507455 w 6884782"/>
              <a:gd name="connsiteY11522" fmla="*/ 4699153 h 5973007"/>
              <a:gd name="connsiteX11523" fmla="*/ 6506835 w 6884782"/>
              <a:gd name="connsiteY11523" fmla="*/ 4704522 h 5973007"/>
              <a:gd name="connsiteX11524" fmla="*/ 6503117 w 6884782"/>
              <a:gd name="connsiteY11524" fmla="*/ 4704315 h 5973007"/>
              <a:gd name="connsiteX11525" fmla="*/ 6503737 w 6884782"/>
              <a:gd name="connsiteY11525" fmla="*/ 4698946 h 5973007"/>
              <a:gd name="connsiteX11526" fmla="*/ 6105809 w 6884782"/>
              <a:gd name="connsiteY11526" fmla="*/ 4698327 h 5973007"/>
              <a:gd name="connsiteX11527" fmla="*/ 6109371 w 6884782"/>
              <a:gd name="connsiteY11527" fmla="*/ 4705555 h 5973007"/>
              <a:gd name="connsiteX11528" fmla="*/ 6104105 w 6884782"/>
              <a:gd name="connsiteY11528" fmla="*/ 4713196 h 5973007"/>
              <a:gd name="connsiteX11529" fmla="*/ 6102246 w 6884782"/>
              <a:gd name="connsiteY11529" fmla="*/ 4709169 h 5973007"/>
              <a:gd name="connsiteX11530" fmla="*/ 6105809 w 6884782"/>
              <a:gd name="connsiteY11530" fmla="*/ 4698327 h 5973007"/>
              <a:gd name="connsiteX11531" fmla="*/ 1507102 w 6884782"/>
              <a:gd name="connsiteY11531" fmla="*/ 4698309 h 5973007"/>
              <a:gd name="connsiteX11532" fmla="*/ 1509452 w 6884782"/>
              <a:gd name="connsiteY11532" fmla="*/ 4698911 h 5973007"/>
              <a:gd name="connsiteX11533" fmla="*/ 1509426 w 6884782"/>
              <a:gd name="connsiteY11533" fmla="*/ 4698928 h 5973007"/>
              <a:gd name="connsiteX11534" fmla="*/ 1507102 w 6884782"/>
              <a:gd name="connsiteY11534" fmla="*/ 4698309 h 5973007"/>
              <a:gd name="connsiteX11535" fmla="*/ 867826 w 6884782"/>
              <a:gd name="connsiteY11535" fmla="*/ 4698102 h 5973007"/>
              <a:gd name="connsiteX11536" fmla="*/ 870014 w 6884782"/>
              <a:gd name="connsiteY11536" fmla="*/ 4703988 h 5973007"/>
              <a:gd name="connsiteX11537" fmla="*/ 867070 w 6884782"/>
              <a:gd name="connsiteY11537" fmla="*/ 4708841 h 5973007"/>
              <a:gd name="connsiteX11538" fmla="*/ 864902 w 6884782"/>
              <a:gd name="connsiteY11538" fmla="*/ 4708015 h 5973007"/>
              <a:gd name="connsiteX11539" fmla="*/ 864747 w 6884782"/>
              <a:gd name="connsiteY11539" fmla="*/ 4707808 h 5973007"/>
              <a:gd name="connsiteX11540" fmla="*/ 861804 w 6884782"/>
              <a:gd name="connsiteY11540" fmla="*/ 4712042 h 5973007"/>
              <a:gd name="connsiteX11541" fmla="*/ 859946 w 6884782"/>
              <a:gd name="connsiteY11541" fmla="*/ 4709564 h 5973007"/>
              <a:gd name="connsiteX11542" fmla="*/ 859946 w 6884782"/>
              <a:gd name="connsiteY11542" fmla="*/ 4704401 h 5973007"/>
              <a:gd name="connsiteX11543" fmla="*/ 861339 w 6884782"/>
              <a:gd name="connsiteY11543" fmla="*/ 4702336 h 5973007"/>
              <a:gd name="connsiteX11544" fmla="*/ 860875 w 6884782"/>
              <a:gd name="connsiteY11544" fmla="*/ 4701200 h 5973007"/>
              <a:gd name="connsiteX11545" fmla="*/ 867826 w 6884782"/>
              <a:gd name="connsiteY11545" fmla="*/ 4698102 h 5973007"/>
              <a:gd name="connsiteX11546" fmla="*/ 1510819 w 6884782"/>
              <a:gd name="connsiteY11546" fmla="*/ 4697999 h 5973007"/>
              <a:gd name="connsiteX11547" fmla="*/ 1513143 w 6884782"/>
              <a:gd name="connsiteY11547" fmla="*/ 4699858 h 5973007"/>
              <a:gd name="connsiteX11548" fmla="*/ 1509452 w 6884782"/>
              <a:gd name="connsiteY11548" fmla="*/ 4698911 h 5973007"/>
              <a:gd name="connsiteX11549" fmla="*/ 5978794 w 6884782"/>
              <a:gd name="connsiteY11549" fmla="*/ 4697707 h 5973007"/>
              <a:gd name="connsiteX11550" fmla="*/ 5986848 w 6884782"/>
              <a:gd name="connsiteY11550" fmla="*/ 4707000 h 5973007"/>
              <a:gd name="connsiteX11551" fmla="*/ 5984989 w 6884782"/>
              <a:gd name="connsiteY11551" fmla="*/ 4710717 h 5973007"/>
              <a:gd name="connsiteX11552" fmla="*/ 5977245 w 6884782"/>
              <a:gd name="connsiteY11552" fmla="*/ 4704109 h 5973007"/>
              <a:gd name="connsiteX11553" fmla="*/ 5976315 w 6884782"/>
              <a:gd name="connsiteY11553" fmla="*/ 4701114 h 5973007"/>
              <a:gd name="connsiteX11554" fmla="*/ 5978794 w 6884782"/>
              <a:gd name="connsiteY11554" fmla="*/ 4697707 h 5973007"/>
              <a:gd name="connsiteX11555" fmla="*/ 6397769 w 6884782"/>
              <a:gd name="connsiteY11555" fmla="*/ 4697591 h 5973007"/>
              <a:gd name="connsiteX11556" fmla="*/ 6404449 w 6884782"/>
              <a:gd name="connsiteY11556" fmla="*/ 4701837 h 5973007"/>
              <a:gd name="connsiteX11557" fmla="*/ 6398408 w 6884782"/>
              <a:gd name="connsiteY11557" fmla="*/ 4711234 h 5973007"/>
              <a:gd name="connsiteX11558" fmla="*/ 6391437 w 6884782"/>
              <a:gd name="connsiteY11558" fmla="*/ 4700702 h 5973007"/>
              <a:gd name="connsiteX11559" fmla="*/ 6397769 w 6884782"/>
              <a:gd name="connsiteY11559" fmla="*/ 4697591 h 5973007"/>
              <a:gd name="connsiteX11560" fmla="*/ 1595858 w 6884782"/>
              <a:gd name="connsiteY11560" fmla="*/ 4697586 h 5973007"/>
              <a:gd name="connsiteX11561" fmla="*/ 1595238 w 6884782"/>
              <a:gd name="connsiteY11561" fmla="*/ 4703472 h 5973007"/>
              <a:gd name="connsiteX11562" fmla="*/ 1590127 w 6884782"/>
              <a:gd name="connsiteY11562" fmla="*/ 4702233 h 5973007"/>
              <a:gd name="connsiteX11563" fmla="*/ 1595858 w 6884782"/>
              <a:gd name="connsiteY11563" fmla="*/ 4697586 h 5973007"/>
              <a:gd name="connsiteX11564" fmla="*/ 6804507 w 6884782"/>
              <a:gd name="connsiteY11564" fmla="*/ 4697126 h 5973007"/>
              <a:gd name="connsiteX11565" fmla="*/ 6814614 w 6884782"/>
              <a:gd name="connsiteY11565" fmla="*/ 4697604 h 5973007"/>
              <a:gd name="connsiteX11566" fmla="*/ 6817712 w 6884782"/>
              <a:gd name="connsiteY11566" fmla="*/ 4704315 h 5973007"/>
              <a:gd name="connsiteX11567" fmla="*/ 6800054 w 6884782"/>
              <a:gd name="connsiteY11567" fmla="*/ 4708652 h 5973007"/>
              <a:gd name="connsiteX11568" fmla="*/ 6789985 w 6884782"/>
              <a:gd name="connsiteY11568" fmla="*/ 4699049 h 5973007"/>
              <a:gd name="connsiteX11569" fmla="*/ 6804507 w 6884782"/>
              <a:gd name="connsiteY11569" fmla="*/ 4697126 h 5973007"/>
              <a:gd name="connsiteX11570" fmla="*/ 1789168 w 6884782"/>
              <a:gd name="connsiteY11570" fmla="*/ 4696967 h 5973007"/>
              <a:gd name="connsiteX11571" fmla="*/ 1802179 w 6884782"/>
              <a:gd name="connsiteY11571" fmla="*/ 4704607 h 5973007"/>
              <a:gd name="connsiteX11572" fmla="*/ 1802179 w 6884782"/>
              <a:gd name="connsiteY11572" fmla="*/ 4705434 h 5973007"/>
              <a:gd name="connsiteX11573" fmla="*/ 1800321 w 6884782"/>
              <a:gd name="connsiteY11573" fmla="*/ 4706259 h 5973007"/>
              <a:gd name="connsiteX11574" fmla="*/ 1797068 w 6884782"/>
              <a:gd name="connsiteY11574" fmla="*/ 4704401 h 5973007"/>
              <a:gd name="connsiteX11575" fmla="*/ 1790873 w 6884782"/>
              <a:gd name="connsiteY11575" fmla="*/ 4697999 h 5973007"/>
              <a:gd name="connsiteX11576" fmla="*/ 1789168 w 6884782"/>
              <a:gd name="connsiteY11576" fmla="*/ 4696967 h 5973007"/>
              <a:gd name="connsiteX11577" fmla="*/ 6125422 w 6884782"/>
              <a:gd name="connsiteY11577" fmla="*/ 4696494 h 5973007"/>
              <a:gd name="connsiteX11578" fmla="*/ 6131522 w 6884782"/>
              <a:gd name="connsiteY11578" fmla="*/ 4698120 h 5973007"/>
              <a:gd name="connsiteX11579" fmla="*/ 6125945 w 6884782"/>
              <a:gd name="connsiteY11579" fmla="*/ 4703076 h 5973007"/>
              <a:gd name="connsiteX11580" fmla="*/ 6125422 w 6884782"/>
              <a:gd name="connsiteY11580" fmla="*/ 4696494 h 5973007"/>
              <a:gd name="connsiteX11581" fmla="*/ 1576960 w 6884782"/>
              <a:gd name="connsiteY11581" fmla="*/ 4696450 h 5973007"/>
              <a:gd name="connsiteX11582" fmla="*/ 1582537 w 6884782"/>
              <a:gd name="connsiteY11582" fmla="*/ 4699651 h 5973007"/>
              <a:gd name="connsiteX11583" fmla="*/ 1581297 w 6884782"/>
              <a:gd name="connsiteY11583" fmla="*/ 4699961 h 5973007"/>
              <a:gd name="connsiteX11584" fmla="*/ 1579903 w 6884782"/>
              <a:gd name="connsiteY11584" fmla="*/ 4698928 h 5973007"/>
              <a:gd name="connsiteX11585" fmla="*/ 1576960 w 6884782"/>
              <a:gd name="connsiteY11585" fmla="*/ 4696450 h 5973007"/>
              <a:gd name="connsiteX11586" fmla="*/ 1502939 w 6884782"/>
              <a:gd name="connsiteY11586" fmla="*/ 4696373 h 5973007"/>
              <a:gd name="connsiteX11587" fmla="*/ 1507567 w 6884782"/>
              <a:gd name="connsiteY11587" fmla="*/ 4699238 h 5973007"/>
              <a:gd name="connsiteX11588" fmla="*/ 1506947 w 6884782"/>
              <a:gd name="connsiteY11588" fmla="*/ 4700683 h 5973007"/>
              <a:gd name="connsiteX11589" fmla="*/ 1508806 w 6884782"/>
              <a:gd name="connsiteY11589" fmla="*/ 4700580 h 5973007"/>
              <a:gd name="connsiteX11590" fmla="*/ 1511439 w 6884782"/>
              <a:gd name="connsiteY11590" fmla="*/ 4701097 h 5973007"/>
              <a:gd name="connsiteX11591" fmla="*/ 1512059 w 6884782"/>
              <a:gd name="connsiteY11591" fmla="*/ 4707292 h 5973007"/>
              <a:gd name="connsiteX11592" fmla="*/ 1510045 w 6884782"/>
              <a:gd name="connsiteY11592" fmla="*/ 4709357 h 5973007"/>
              <a:gd name="connsiteX11593" fmla="*/ 1505089 w 6884782"/>
              <a:gd name="connsiteY11593" fmla="*/ 4710803 h 5973007"/>
              <a:gd name="connsiteX11594" fmla="*/ 1505398 w 6884782"/>
              <a:gd name="connsiteY11594" fmla="*/ 4711526 h 5973007"/>
              <a:gd name="connsiteX11595" fmla="*/ 1502765 w 6884782"/>
              <a:gd name="connsiteY11595" fmla="*/ 4707292 h 5973007"/>
              <a:gd name="connsiteX11596" fmla="*/ 1503075 w 6884782"/>
              <a:gd name="connsiteY11596" fmla="*/ 4706673 h 5973007"/>
              <a:gd name="connsiteX11597" fmla="*/ 1502455 w 6884782"/>
              <a:gd name="connsiteY11597" fmla="*/ 4707292 h 5973007"/>
              <a:gd name="connsiteX11598" fmla="*/ 1497808 w 6884782"/>
              <a:gd name="connsiteY11598" fmla="*/ 4703472 h 5973007"/>
              <a:gd name="connsiteX11599" fmla="*/ 1497653 w 6884782"/>
              <a:gd name="connsiteY11599" fmla="*/ 4700271 h 5973007"/>
              <a:gd name="connsiteX11600" fmla="*/ 1496105 w 6884782"/>
              <a:gd name="connsiteY11600" fmla="*/ 4699238 h 5973007"/>
              <a:gd name="connsiteX11601" fmla="*/ 1497499 w 6884782"/>
              <a:gd name="connsiteY11601" fmla="*/ 4697276 h 5973007"/>
              <a:gd name="connsiteX11602" fmla="*/ 1497499 w 6884782"/>
              <a:gd name="connsiteY11602" fmla="*/ 4696760 h 5973007"/>
              <a:gd name="connsiteX11603" fmla="*/ 1502939 w 6884782"/>
              <a:gd name="connsiteY11603" fmla="*/ 4696373 h 5973007"/>
              <a:gd name="connsiteX11604" fmla="*/ 6442243 w 6884782"/>
              <a:gd name="connsiteY11604" fmla="*/ 4696365 h 5973007"/>
              <a:gd name="connsiteX11605" fmla="*/ 6444722 w 6884782"/>
              <a:gd name="connsiteY11605" fmla="*/ 4699669 h 5973007"/>
              <a:gd name="connsiteX11606" fmla="*/ 6442553 w 6884782"/>
              <a:gd name="connsiteY11606" fmla="*/ 4707103 h 5973007"/>
              <a:gd name="connsiteX11607" fmla="*/ 6433879 w 6884782"/>
              <a:gd name="connsiteY11607" fmla="*/ 4704832 h 5973007"/>
              <a:gd name="connsiteX11608" fmla="*/ 6442243 w 6884782"/>
              <a:gd name="connsiteY11608" fmla="*/ 4696365 h 5973007"/>
              <a:gd name="connsiteX11609" fmla="*/ 6148250 w 6884782"/>
              <a:gd name="connsiteY11609" fmla="*/ 4696365 h 5973007"/>
              <a:gd name="connsiteX11610" fmla="*/ 6158938 w 6884782"/>
              <a:gd name="connsiteY11610" fmla="*/ 4700082 h 5973007"/>
              <a:gd name="connsiteX11611" fmla="*/ 6164669 w 6884782"/>
              <a:gd name="connsiteY11611" fmla="*/ 4711543 h 5973007"/>
              <a:gd name="connsiteX11612" fmla="*/ 6163585 w 6884782"/>
              <a:gd name="connsiteY11612" fmla="*/ 4714228 h 5973007"/>
              <a:gd name="connsiteX11613" fmla="*/ 6165599 w 6884782"/>
              <a:gd name="connsiteY11613" fmla="*/ 4715983 h 5973007"/>
              <a:gd name="connsiteX11614" fmla="*/ 6163740 w 6884782"/>
              <a:gd name="connsiteY11614" fmla="*/ 4728787 h 5973007"/>
              <a:gd name="connsiteX11615" fmla="*/ 6155995 w 6884782"/>
              <a:gd name="connsiteY11615" fmla="*/ 4730336 h 5973007"/>
              <a:gd name="connsiteX11616" fmla="*/ 6152897 w 6884782"/>
              <a:gd name="connsiteY11616" fmla="*/ 4729200 h 5973007"/>
              <a:gd name="connsiteX11617" fmla="*/ 6156925 w 6884782"/>
              <a:gd name="connsiteY11617" fmla="*/ 4720733 h 5973007"/>
              <a:gd name="connsiteX11618" fmla="*/ 6157699 w 6884782"/>
              <a:gd name="connsiteY11618" fmla="*/ 4718462 h 5973007"/>
              <a:gd name="connsiteX11619" fmla="*/ 6155066 w 6884782"/>
              <a:gd name="connsiteY11619" fmla="*/ 4719081 h 5973007"/>
              <a:gd name="connsiteX11620" fmla="*/ 6149490 w 6884782"/>
              <a:gd name="connsiteY11620" fmla="*/ 4717223 h 5973007"/>
              <a:gd name="connsiteX11621" fmla="*/ 6145617 w 6884782"/>
              <a:gd name="connsiteY11621" fmla="*/ 4701734 h 5973007"/>
              <a:gd name="connsiteX11622" fmla="*/ 6147011 w 6884782"/>
              <a:gd name="connsiteY11622" fmla="*/ 4699979 h 5973007"/>
              <a:gd name="connsiteX11623" fmla="*/ 6148250 w 6884782"/>
              <a:gd name="connsiteY11623" fmla="*/ 4696365 h 5973007"/>
              <a:gd name="connsiteX11624" fmla="*/ 892319 w 6884782"/>
              <a:gd name="connsiteY11624" fmla="*/ 4696347 h 5973007"/>
              <a:gd name="connsiteX11625" fmla="*/ 892164 w 6884782"/>
              <a:gd name="connsiteY11625" fmla="*/ 4706982 h 5973007"/>
              <a:gd name="connsiteX11626" fmla="*/ 890925 w 6884782"/>
              <a:gd name="connsiteY11626" fmla="*/ 4708118 h 5973007"/>
              <a:gd name="connsiteX11627" fmla="*/ 888756 w 6884782"/>
              <a:gd name="connsiteY11627" fmla="*/ 4707189 h 5973007"/>
              <a:gd name="connsiteX11628" fmla="*/ 888136 w 6884782"/>
              <a:gd name="connsiteY11628" fmla="*/ 4702852 h 5973007"/>
              <a:gd name="connsiteX11629" fmla="*/ 891080 w 6884782"/>
              <a:gd name="connsiteY11629" fmla="*/ 4699135 h 5973007"/>
              <a:gd name="connsiteX11630" fmla="*/ 891544 w 6884782"/>
              <a:gd name="connsiteY11630" fmla="*/ 4696450 h 5973007"/>
              <a:gd name="connsiteX11631" fmla="*/ 892319 w 6884782"/>
              <a:gd name="connsiteY11631" fmla="*/ 4696347 h 5973007"/>
              <a:gd name="connsiteX11632" fmla="*/ 6268605 w 6884782"/>
              <a:gd name="connsiteY11632" fmla="*/ 4695848 h 5973007"/>
              <a:gd name="connsiteX11633" fmla="*/ 6268140 w 6884782"/>
              <a:gd name="connsiteY11633" fmla="*/ 4706690 h 5973007"/>
              <a:gd name="connsiteX11634" fmla="*/ 6262873 w 6884782"/>
              <a:gd name="connsiteY11634" fmla="*/ 4706380 h 5973007"/>
              <a:gd name="connsiteX11635" fmla="*/ 6265042 w 6884782"/>
              <a:gd name="connsiteY11635" fmla="*/ 4695952 h 5973007"/>
              <a:gd name="connsiteX11636" fmla="*/ 6268605 w 6884782"/>
              <a:gd name="connsiteY11636" fmla="*/ 4695848 h 5973007"/>
              <a:gd name="connsiteX11637" fmla="*/ 1722718 w 6884782"/>
              <a:gd name="connsiteY11637" fmla="*/ 4695727 h 5973007"/>
              <a:gd name="connsiteX11638" fmla="*/ 1723028 w 6884782"/>
              <a:gd name="connsiteY11638" fmla="*/ 4696244 h 5973007"/>
              <a:gd name="connsiteX11639" fmla="*/ 1724732 w 6884782"/>
              <a:gd name="connsiteY11639" fmla="*/ 4696760 h 5973007"/>
              <a:gd name="connsiteX11640" fmla="*/ 1728913 w 6884782"/>
              <a:gd name="connsiteY11640" fmla="*/ 4700168 h 5973007"/>
              <a:gd name="connsiteX11641" fmla="*/ 1729223 w 6884782"/>
              <a:gd name="connsiteY11641" fmla="*/ 4699341 h 5973007"/>
              <a:gd name="connsiteX11642" fmla="*/ 1727985 w 6884782"/>
              <a:gd name="connsiteY11642" fmla="*/ 4704401 h 5973007"/>
              <a:gd name="connsiteX11643" fmla="*/ 1726125 w 6884782"/>
              <a:gd name="connsiteY11643" fmla="*/ 4704917 h 5973007"/>
              <a:gd name="connsiteX11644" fmla="*/ 1726435 w 6884782"/>
              <a:gd name="connsiteY11644" fmla="*/ 4707602 h 5973007"/>
              <a:gd name="connsiteX11645" fmla="*/ 1723337 w 6884782"/>
              <a:gd name="connsiteY11645" fmla="*/ 4718960 h 5973007"/>
              <a:gd name="connsiteX11646" fmla="*/ 1720085 w 6884782"/>
              <a:gd name="connsiteY11646" fmla="*/ 4713487 h 5973007"/>
              <a:gd name="connsiteX11647" fmla="*/ 1719465 w 6884782"/>
              <a:gd name="connsiteY11647" fmla="*/ 4703678 h 5973007"/>
              <a:gd name="connsiteX11648" fmla="*/ 1719465 w 6884782"/>
              <a:gd name="connsiteY11648" fmla="*/ 4703368 h 5973007"/>
              <a:gd name="connsiteX11649" fmla="*/ 1718071 w 6884782"/>
              <a:gd name="connsiteY11649" fmla="*/ 4700683 h 5973007"/>
              <a:gd name="connsiteX11650" fmla="*/ 1722098 w 6884782"/>
              <a:gd name="connsiteY11650" fmla="*/ 4696244 h 5973007"/>
              <a:gd name="connsiteX11651" fmla="*/ 1722563 w 6884782"/>
              <a:gd name="connsiteY11651" fmla="*/ 4696244 h 5973007"/>
              <a:gd name="connsiteX11652" fmla="*/ 930888 w 6884782"/>
              <a:gd name="connsiteY11652" fmla="*/ 4695211 h 5973007"/>
              <a:gd name="connsiteX11653" fmla="*/ 939872 w 6884782"/>
              <a:gd name="connsiteY11653" fmla="*/ 4696967 h 5973007"/>
              <a:gd name="connsiteX11654" fmla="*/ 937238 w 6884782"/>
              <a:gd name="connsiteY11654" fmla="*/ 4708325 h 5973007"/>
              <a:gd name="connsiteX11655" fmla="*/ 937703 w 6884782"/>
              <a:gd name="connsiteY11655" fmla="*/ 4709874 h 5973007"/>
              <a:gd name="connsiteX11656" fmla="*/ 937238 w 6884782"/>
              <a:gd name="connsiteY11656" fmla="*/ 4712042 h 5973007"/>
              <a:gd name="connsiteX11657" fmla="*/ 936309 w 6884782"/>
              <a:gd name="connsiteY11657" fmla="*/ 4712455 h 5973007"/>
              <a:gd name="connsiteX11658" fmla="*/ 934760 w 6884782"/>
              <a:gd name="connsiteY11658" fmla="*/ 4719476 h 5973007"/>
              <a:gd name="connsiteX11659" fmla="*/ 929959 w 6884782"/>
              <a:gd name="connsiteY11659" fmla="*/ 4740128 h 5973007"/>
              <a:gd name="connsiteX11660" fmla="*/ 930888 w 6884782"/>
              <a:gd name="connsiteY11660" fmla="*/ 4695211 h 5973007"/>
              <a:gd name="connsiteX11661" fmla="*/ 5840781 w 6884782"/>
              <a:gd name="connsiteY11661" fmla="*/ 4695022 h 5973007"/>
              <a:gd name="connsiteX11662" fmla="*/ 5842330 w 6884782"/>
              <a:gd name="connsiteY11662" fmla="*/ 4695848 h 5973007"/>
              <a:gd name="connsiteX11663" fmla="*/ 5843879 w 6884782"/>
              <a:gd name="connsiteY11663" fmla="*/ 4695952 h 5973007"/>
              <a:gd name="connsiteX11664" fmla="*/ 5843879 w 6884782"/>
              <a:gd name="connsiteY11664" fmla="*/ 4696778 h 5973007"/>
              <a:gd name="connsiteX11665" fmla="*/ 5844653 w 6884782"/>
              <a:gd name="connsiteY11665" fmla="*/ 4697707 h 5973007"/>
              <a:gd name="connsiteX11666" fmla="*/ 5842640 w 6884782"/>
              <a:gd name="connsiteY11666" fmla="*/ 4701218 h 5973007"/>
              <a:gd name="connsiteX11667" fmla="*/ 5840781 w 6884782"/>
              <a:gd name="connsiteY11667" fmla="*/ 4702250 h 5973007"/>
              <a:gd name="connsiteX11668" fmla="*/ 5839232 w 6884782"/>
              <a:gd name="connsiteY11668" fmla="*/ 4702044 h 5973007"/>
              <a:gd name="connsiteX11669" fmla="*/ 5838458 w 6884782"/>
              <a:gd name="connsiteY11669" fmla="*/ 4700185 h 5973007"/>
              <a:gd name="connsiteX11670" fmla="*/ 5838922 w 6884782"/>
              <a:gd name="connsiteY11670" fmla="*/ 4696778 h 5973007"/>
              <a:gd name="connsiteX11671" fmla="*/ 5840781 w 6884782"/>
              <a:gd name="connsiteY11671" fmla="*/ 4695022 h 5973007"/>
              <a:gd name="connsiteX11672" fmla="*/ 6283010 w 6884782"/>
              <a:gd name="connsiteY11672" fmla="*/ 4694712 h 5973007"/>
              <a:gd name="connsiteX11673" fmla="*/ 6291374 w 6884782"/>
              <a:gd name="connsiteY11673" fmla="*/ 4695848 h 5973007"/>
              <a:gd name="connsiteX11674" fmla="*/ 6288431 w 6884782"/>
              <a:gd name="connsiteY11674" fmla="*/ 4705141 h 5973007"/>
              <a:gd name="connsiteX11675" fmla="*/ 6283010 w 6884782"/>
              <a:gd name="connsiteY11675" fmla="*/ 4694712 h 5973007"/>
              <a:gd name="connsiteX11676" fmla="*/ 6462535 w 6884782"/>
              <a:gd name="connsiteY11676" fmla="*/ 4694609 h 5973007"/>
              <a:gd name="connsiteX11677" fmla="*/ 6467027 w 6884782"/>
              <a:gd name="connsiteY11677" fmla="*/ 4696984 h 5973007"/>
              <a:gd name="connsiteX11678" fmla="*/ 6470125 w 6884782"/>
              <a:gd name="connsiteY11678" fmla="*/ 4704729 h 5973007"/>
              <a:gd name="connsiteX11679" fmla="*/ 6466252 w 6884782"/>
              <a:gd name="connsiteY11679" fmla="*/ 4706174 h 5973007"/>
              <a:gd name="connsiteX11680" fmla="*/ 6455874 w 6884782"/>
              <a:gd name="connsiteY11680" fmla="*/ 4697913 h 5973007"/>
              <a:gd name="connsiteX11681" fmla="*/ 6462535 w 6884782"/>
              <a:gd name="connsiteY11681" fmla="*/ 4694609 h 5973007"/>
              <a:gd name="connsiteX11682" fmla="*/ 1363823 w 6884782"/>
              <a:gd name="connsiteY11682" fmla="*/ 4693869 h 5973007"/>
              <a:gd name="connsiteX11683" fmla="*/ 1366921 w 6884782"/>
              <a:gd name="connsiteY11683" fmla="*/ 4696760 h 5973007"/>
              <a:gd name="connsiteX11684" fmla="*/ 1367695 w 6884782"/>
              <a:gd name="connsiteY11684" fmla="*/ 4698928 h 5973007"/>
              <a:gd name="connsiteX11685" fmla="*/ 1368470 w 6884782"/>
              <a:gd name="connsiteY11685" fmla="*/ 4697999 h 5973007"/>
              <a:gd name="connsiteX11686" fmla="*/ 1372807 w 6884782"/>
              <a:gd name="connsiteY11686" fmla="*/ 4698309 h 5973007"/>
              <a:gd name="connsiteX11687" fmla="*/ 1367076 w 6884782"/>
              <a:gd name="connsiteY11687" fmla="*/ 4702439 h 5973007"/>
              <a:gd name="connsiteX11688" fmla="*/ 1367076 w 6884782"/>
              <a:gd name="connsiteY11688" fmla="*/ 4702026 h 5973007"/>
              <a:gd name="connsiteX11689" fmla="*/ 1366456 w 6884782"/>
              <a:gd name="connsiteY11689" fmla="*/ 4702852 h 5973007"/>
              <a:gd name="connsiteX11690" fmla="*/ 1363049 w 6884782"/>
              <a:gd name="connsiteY11690" fmla="*/ 4702955 h 5973007"/>
              <a:gd name="connsiteX11691" fmla="*/ 1360725 w 6884782"/>
              <a:gd name="connsiteY11691" fmla="*/ 4701716 h 5973007"/>
              <a:gd name="connsiteX11692" fmla="*/ 1359486 w 6884782"/>
              <a:gd name="connsiteY11692" fmla="*/ 4698825 h 5973007"/>
              <a:gd name="connsiteX11693" fmla="*/ 1359796 w 6884782"/>
              <a:gd name="connsiteY11693" fmla="*/ 4696450 h 5973007"/>
              <a:gd name="connsiteX11694" fmla="*/ 1363823 w 6884782"/>
              <a:gd name="connsiteY11694" fmla="*/ 4693869 h 5973007"/>
              <a:gd name="connsiteX11695" fmla="*/ 1709087 w 6884782"/>
              <a:gd name="connsiteY11695" fmla="*/ 4693766 h 5973007"/>
              <a:gd name="connsiteX11696" fmla="*/ 1710636 w 6884782"/>
              <a:gd name="connsiteY11696" fmla="*/ 4695934 h 5973007"/>
              <a:gd name="connsiteX11697" fmla="*/ 1709861 w 6884782"/>
              <a:gd name="connsiteY11697" fmla="*/ 4696244 h 5973007"/>
              <a:gd name="connsiteX11698" fmla="*/ 1706764 w 6884782"/>
              <a:gd name="connsiteY11698" fmla="*/ 4698412 h 5973007"/>
              <a:gd name="connsiteX11699" fmla="*/ 1705524 w 6884782"/>
              <a:gd name="connsiteY11699" fmla="*/ 4694385 h 5973007"/>
              <a:gd name="connsiteX11700" fmla="*/ 1709087 w 6884782"/>
              <a:gd name="connsiteY11700" fmla="*/ 4693766 h 5973007"/>
              <a:gd name="connsiteX11701" fmla="*/ 1143754 w 6884782"/>
              <a:gd name="connsiteY11701" fmla="*/ 4693636 h 5973007"/>
              <a:gd name="connsiteX11702" fmla="*/ 1149756 w 6884782"/>
              <a:gd name="connsiteY11702" fmla="*/ 4694075 h 5973007"/>
              <a:gd name="connsiteX11703" fmla="*/ 1149601 w 6884782"/>
              <a:gd name="connsiteY11703" fmla="*/ 4696657 h 5973007"/>
              <a:gd name="connsiteX11704" fmla="*/ 1143251 w 6884782"/>
              <a:gd name="connsiteY11704" fmla="*/ 4700580 h 5973007"/>
              <a:gd name="connsiteX11705" fmla="*/ 1141237 w 6884782"/>
              <a:gd name="connsiteY11705" fmla="*/ 4699548 h 5973007"/>
              <a:gd name="connsiteX11706" fmla="*/ 1143754 w 6884782"/>
              <a:gd name="connsiteY11706" fmla="*/ 4693636 h 5973007"/>
              <a:gd name="connsiteX11707" fmla="*/ 1780649 w 6884782"/>
              <a:gd name="connsiteY11707" fmla="*/ 4693352 h 5973007"/>
              <a:gd name="connsiteX11708" fmla="*/ 1783128 w 6884782"/>
              <a:gd name="connsiteY11708" fmla="*/ 4693456 h 5973007"/>
              <a:gd name="connsiteX11709" fmla="*/ 1782972 w 6884782"/>
              <a:gd name="connsiteY11709" fmla="*/ 4699858 h 5973007"/>
              <a:gd name="connsiteX11710" fmla="*/ 1788084 w 6884782"/>
              <a:gd name="connsiteY11710" fmla="*/ 4700168 h 5973007"/>
              <a:gd name="connsiteX11711" fmla="*/ 1782817 w 6884782"/>
              <a:gd name="connsiteY11711" fmla="*/ 4715656 h 5973007"/>
              <a:gd name="connsiteX11712" fmla="*/ 1782508 w 6884782"/>
              <a:gd name="connsiteY11712" fmla="*/ 4716069 h 5973007"/>
              <a:gd name="connsiteX11713" fmla="*/ 1782817 w 6884782"/>
              <a:gd name="connsiteY11713" fmla="*/ 4716172 h 5973007"/>
              <a:gd name="connsiteX11714" fmla="*/ 1786690 w 6884782"/>
              <a:gd name="connsiteY11714" fmla="*/ 4714313 h 5973007"/>
              <a:gd name="connsiteX11715" fmla="*/ 1788703 w 6884782"/>
              <a:gd name="connsiteY11715" fmla="*/ 4727117 h 5973007"/>
              <a:gd name="connsiteX11716" fmla="*/ 1788239 w 6884782"/>
              <a:gd name="connsiteY11716" fmla="*/ 4728976 h 5973007"/>
              <a:gd name="connsiteX11717" fmla="*/ 1789013 w 6884782"/>
              <a:gd name="connsiteY11717" fmla="*/ 4728976 h 5973007"/>
              <a:gd name="connsiteX11718" fmla="*/ 1788239 w 6884782"/>
              <a:gd name="connsiteY11718" fmla="*/ 4729802 h 5973007"/>
              <a:gd name="connsiteX11719" fmla="*/ 1788239 w 6884782"/>
              <a:gd name="connsiteY11719" fmla="*/ 4730008 h 5973007"/>
              <a:gd name="connsiteX11720" fmla="*/ 1788239 w 6884782"/>
              <a:gd name="connsiteY11720" fmla="*/ 4730938 h 5973007"/>
              <a:gd name="connsiteX11721" fmla="*/ 1786225 w 6884782"/>
              <a:gd name="connsiteY11721" fmla="*/ 4733726 h 5973007"/>
              <a:gd name="connsiteX11722" fmla="*/ 1785296 w 6884782"/>
              <a:gd name="connsiteY11722" fmla="*/ 4734139 h 5973007"/>
              <a:gd name="connsiteX11723" fmla="*/ 1784056 w 6884782"/>
              <a:gd name="connsiteY11723" fmla="*/ 4733313 h 5973007"/>
              <a:gd name="connsiteX11724" fmla="*/ 1781423 w 6884782"/>
              <a:gd name="connsiteY11724" fmla="*/ 4728873 h 5973007"/>
              <a:gd name="connsiteX11725" fmla="*/ 1766088 w 6884782"/>
              <a:gd name="connsiteY11725" fmla="*/ 4727324 h 5973007"/>
              <a:gd name="connsiteX11726" fmla="*/ 1766553 w 6884782"/>
              <a:gd name="connsiteY11726" fmla="*/ 4718650 h 5973007"/>
              <a:gd name="connsiteX11727" fmla="*/ 1768257 w 6884782"/>
              <a:gd name="connsiteY11727" fmla="*/ 4716895 h 5973007"/>
              <a:gd name="connsiteX11728" fmla="*/ 1766244 w 6884782"/>
              <a:gd name="connsiteY11728" fmla="*/ 4716585 h 5973007"/>
              <a:gd name="connsiteX11729" fmla="*/ 1771820 w 6884782"/>
              <a:gd name="connsiteY11729" fmla="*/ 4700683 h 5973007"/>
              <a:gd name="connsiteX11730" fmla="*/ 1773214 w 6884782"/>
              <a:gd name="connsiteY11730" fmla="*/ 4699445 h 5973007"/>
              <a:gd name="connsiteX11731" fmla="*/ 1775228 w 6884782"/>
              <a:gd name="connsiteY11731" fmla="*/ 4700271 h 5973007"/>
              <a:gd name="connsiteX11732" fmla="*/ 1776157 w 6884782"/>
              <a:gd name="connsiteY11732" fmla="*/ 4702955 h 5973007"/>
              <a:gd name="connsiteX11733" fmla="*/ 1776777 w 6884782"/>
              <a:gd name="connsiteY11733" fmla="*/ 4702645 h 5973007"/>
              <a:gd name="connsiteX11734" fmla="*/ 1776777 w 6884782"/>
              <a:gd name="connsiteY11734" fmla="*/ 4702439 h 5973007"/>
              <a:gd name="connsiteX11735" fmla="*/ 1779875 w 6884782"/>
              <a:gd name="connsiteY11735" fmla="*/ 4695108 h 5973007"/>
              <a:gd name="connsiteX11736" fmla="*/ 1780649 w 6884782"/>
              <a:gd name="connsiteY11736" fmla="*/ 4693352 h 5973007"/>
              <a:gd name="connsiteX11737" fmla="*/ 1387522 w 6884782"/>
              <a:gd name="connsiteY11737" fmla="*/ 4693043 h 5973007"/>
              <a:gd name="connsiteX11738" fmla="*/ 1393099 w 6884782"/>
              <a:gd name="connsiteY11738" fmla="*/ 4697070 h 5973007"/>
              <a:gd name="connsiteX11739" fmla="*/ 1389691 w 6884782"/>
              <a:gd name="connsiteY11739" fmla="*/ 4699341 h 5973007"/>
              <a:gd name="connsiteX11740" fmla="*/ 1386283 w 6884782"/>
              <a:gd name="connsiteY11740" fmla="*/ 4697999 h 5973007"/>
              <a:gd name="connsiteX11741" fmla="*/ 1384269 w 6884782"/>
              <a:gd name="connsiteY11741" fmla="*/ 4694075 h 5973007"/>
              <a:gd name="connsiteX11742" fmla="*/ 1384734 w 6884782"/>
              <a:gd name="connsiteY11742" fmla="*/ 4694901 h 5973007"/>
              <a:gd name="connsiteX11743" fmla="*/ 1386128 w 6884782"/>
              <a:gd name="connsiteY11743" fmla="*/ 4693972 h 5973007"/>
              <a:gd name="connsiteX11744" fmla="*/ 1385664 w 6884782"/>
              <a:gd name="connsiteY11744" fmla="*/ 4693249 h 5973007"/>
              <a:gd name="connsiteX11745" fmla="*/ 1387522 w 6884782"/>
              <a:gd name="connsiteY11745" fmla="*/ 4693043 h 5973007"/>
              <a:gd name="connsiteX11746" fmla="*/ 6217179 w 6884782"/>
              <a:gd name="connsiteY11746" fmla="*/ 4692544 h 5973007"/>
              <a:gd name="connsiteX11747" fmla="*/ 6224614 w 6884782"/>
              <a:gd name="connsiteY11747" fmla="*/ 4692647 h 5973007"/>
              <a:gd name="connsiteX11748" fmla="*/ 6223220 w 6884782"/>
              <a:gd name="connsiteY11748" fmla="*/ 4698740 h 5973007"/>
              <a:gd name="connsiteX11749" fmla="*/ 6220897 w 6884782"/>
              <a:gd name="connsiteY11749" fmla="*/ 4700082 h 5973007"/>
              <a:gd name="connsiteX11750" fmla="*/ 6218263 w 6884782"/>
              <a:gd name="connsiteY11750" fmla="*/ 4699463 h 5973007"/>
              <a:gd name="connsiteX11751" fmla="*/ 6216715 w 6884782"/>
              <a:gd name="connsiteY11751" fmla="*/ 4697810 h 5973007"/>
              <a:gd name="connsiteX11752" fmla="*/ 6217179 w 6884782"/>
              <a:gd name="connsiteY11752" fmla="*/ 4692544 h 5973007"/>
              <a:gd name="connsiteX11753" fmla="*/ 1865068 w 6884782"/>
              <a:gd name="connsiteY11753" fmla="*/ 4692113 h 5973007"/>
              <a:gd name="connsiteX11754" fmla="*/ 1868476 w 6884782"/>
              <a:gd name="connsiteY11754" fmla="*/ 4694901 h 5973007"/>
              <a:gd name="connsiteX11755" fmla="*/ 1864758 w 6884782"/>
              <a:gd name="connsiteY11755" fmla="*/ 4699238 h 5973007"/>
              <a:gd name="connsiteX11756" fmla="*/ 1861195 w 6884782"/>
              <a:gd name="connsiteY11756" fmla="*/ 4696657 h 5973007"/>
              <a:gd name="connsiteX11757" fmla="*/ 1861350 w 6884782"/>
              <a:gd name="connsiteY11757" fmla="*/ 4694488 h 5973007"/>
              <a:gd name="connsiteX11758" fmla="*/ 1862124 w 6884782"/>
              <a:gd name="connsiteY11758" fmla="*/ 4694075 h 5973007"/>
              <a:gd name="connsiteX11759" fmla="*/ 1865068 w 6884782"/>
              <a:gd name="connsiteY11759" fmla="*/ 4692113 h 5973007"/>
              <a:gd name="connsiteX11760" fmla="*/ 670817 w 6884782"/>
              <a:gd name="connsiteY11760" fmla="*/ 4691907 h 5973007"/>
              <a:gd name="connsiteX11761" fmla="*/ 686617 w 6884782"/>
              <a:gd name="connsiteY11761" fmla="*/ 4696244 h 5973007"/>
              <a:gd name="connsiteX11762" fmla="*/ 685997 w 6884782"/>
              <a:gd name="connsiteY11762" fmla="*/ 4698102 h 5973007"/>
              <a:gd name="connsiteX11763" fmla="*/ 683828 w 6884782"/>
              <a:gd name="connsiteY11763" fmla="*/ 4698825 h 5973007"/>
              <a:gd name="connsiteX11764" fmla="*/ 675619 w 6884782"/>
              <a:gd name="connsiteY11764" fmla="*/ 4696967 h 5973007"/>
              <a:gd name="connsiteX11765" fmla="*/ 673915 w 6884782"/>
              <a:gd name="connsiteY11765" fmla="*/ 4696140 h 5973007"/>
              <a:gd name="connsiteX11766" fmla="*/ 672056 w 6884782"/>
              <a:gd name="connsiteY11766" fmla="*/ 4695417 h 5973007"/>
              <a:gd name="connsiteX11767" fmla="*/ 670817 w 6884782"/>
              <a:gd name="connsiteY11767" fmla="*/ 4691907 h 5973007"/>
              <a:gd name="connsiteX11768" fmla="*/ 1783902 w 6884782"/>
              <a:gd name="connsiteY11768" fmla="*/ 4690978 h 5973007"/>
              <a:gd name="connsiteX11769" fmla="*/ 1787310 w 6884782"/>
              <a:gd name="connsiteY11769" fmla="*/ 4694592 h 5973007"/>
              <a:gd name="connsiteX11770" fmla="*/ 1789013 w 6884782"/>
              <a:gd name="connsiteY11770" fmla="*/ 4695417 h 5973007"/>
              <a:gd name="connsiteX11771" fmla="*/ 1787464 w 6884782"/>
              <a:gd name="connsiteY11771" fmla="*/ 4696244 h 5973007"/>
              <a:gd name="connsiteX11772" fmla="*/ 1785606 w 6884782"/>
              <a:gd name="connsiteY11772" fmla="*/ 4693559 h 5973007"/>
              <a:gd name="connsiteX11773" fmla="*/ 1784056 w 6884782"/>
              <a:gd name="connsiteY11773" fmla="*/ 4694385 h 5973007"/>
              <a:gd name="connsiteX11774" fmla="*/ 1783128 w 6884782"/>
              <a:gd name="connsiteY11774" fmla="*/ 4693456 h 5973007"/>
              <a:gd name="connsiteX11775" fmla="*/ 1783902 w 6884782"/>
              <a:gd name="connsiteY11775" fmla="*/ 4690978 h 5973007"/>
              <a:gd name="connsiteX11776" fmla="*/ 1046285 w 6884782"/>
              <a:gd name="connsiteY11776" fmla="*/ 4690978 h 5973007"/>
              <a:gd name="connsiteX11777" fmla="*/ 1048919 w 6884782"/>
              <a:gd name="connsiteY11777" fmla="*/ 4691804 h 5973007"/>
              <a:gd name="connsiteX11778" fmla="*/ 1049384 w 6884782"/>
              <a:gd name="connsiteY11778" fmla="*/ 4691597 h 5973007"/>
              <a:gd name="connsiteX11779" fmla="*/ 1055734 w 6884782"/>
              <a:gd name="connsiteY11779" fmla="*/ 4696760 h 5973007"/>
              <a:gd name="connsiteX11780" fmla="*/ 1052017 w 6884782"/>
              <a:gd name="connsiteY11780" fmla="*/ 4701303 h 5973007"/>
              <a:gd name="connsiteX11781" fmla="*/ 1051397 w 6884782"/>
              <a:gd name="connsiteY11781" fmla="*/ 4700890 h 5973007"/>
              <a:gd name="connsiteX11782" fmla="*/ 1050932 w 6884782"/>
              <a:gd name="connsiteY11782" fmla="*/ 4701923 h 5973007"/>
              <a:gd name="connsiteX11783" fmla="*/ 1046130 w 6884782"/>
              <a:gd name="connsiteY11783" fmla="*/ 4706363 h 5973007"/>
              <a:gd name="connsiteX11784" fmla="*/ 1046285 w 6884782"/>
              <a:gd name="connsiteY11784" fmla="*/ 4690978 h 5973007"/>
              <a:gd name="connsiteX11785" fmla="*/ 1530956 w 6884782"/>
              <a:gd name="connsiteY11785" fmla="*/ 4690565 h 5973007"/>
              <a:gd name="connsiteX11786" fmla="*/ 1533589 w 6884782"/>
              <a:gd name="connsiteY11786" fmla="*/ 4694901 h 5973007"/>
              <a:gd name="connsiteX11787" fmla="*/ 1532505 w 6884782"/>
              <a:gd name="connsiteY11787" fmla="*/ 4695831 h 5973007"/>
              <a:gd name="connsiteX11788" fmla="*/ 1533899 w 6884782"/>
              <a:gd name="connsiteY11788" fmla="*/ 4696244 h 5973007"/>
              <a:gd name="connsiteX11789" fmla="*/ 1537152 w 6884782"/>
              <a:gd name="connsiteY11789" fmla="*/ 4698928 h 5973007"/>
              <a:gd name="connsiteX11790" fmla="*/ 1537462 w 6884782"/>
              <a:gd name="connsiteY11790" fmla="*/ 4693869 h 5973007"/>
              <a:gd name="connsiteX11791" fmla="*/ 1551248 w 6884782"/>
              <a:gd name="connsiteY11791" fmla="*/ 4693456 h 5973007"/>
              <a:gd name="connsiteX11792" fmla="*/ 1550473 w 6884782"/>
              <a:gd name="connsiteY11792" fmla="*/ 4702129 h 5973007"/>
              <a:gd name="connsiteX11793" fmla="*/ 1543193 w 6884782"/>
              <a:gd name="connsiteY11793" fmla="*/ 4702129 h 5973007"/>
              <a:gd name="connsiteX11794" fmla="*/ 1538856 w 6884782"/>
              <a:gd name="connsiteY11794" fmla="*/ 4700271 h 5973007"/>
              <a:gd name="connsiteX11795" fmla="*/ 1539011 w 6884782"/>
              <a:gd name="connsiteY11795" fmla="*/ 4700477 h 5973007"/>
              <a:gd name="connsiteX11796" fmla="*/ 1545207 w 6884782"/>
              <a:gd name="connsiteY11796" fmla="*/ 4710700 h 5973007"/>
              <a:gd name="connsiteX11797" fmla="*/ 1527858 w 6884782"/>
              <a:gd name="connsiteY11797" fmla="*/ 4694385 h 5973007"/>
              <a:gd name="connsiteX11798" fmla="*/ 1528633 w 6884782"/>
              <a:gd name="connsiteY11798" fmla="*/ 4694695 h 5973007"/>
              <a:gd name="connsiteX11799" fmla="*/ 1528633 w 6884782"/>
              <a:gd name="connsiteY11799" fmla="*/ 4693869 h 5973007"/>
              <a:gd name="connsiteX11800" fmla="*/ 1530956 w 6884782"/>
              <a:gd name="connsiteY11800" fmla="*/ 4690565 h 5973007"/>
              <a:gd name="connsiteX11801" fmla="*/ 6299274 w 6884782"/>
              <a:gd name="connsiteY11801" fmla="*/ 4690066 h 5973007"/>
              <a:gd name="connsiteX11802" fmla="*/ 6304540 w 6884782"/>
              <a:gd name="connsiteY11802" fmla="*/ 4693370 h 5973007"/>
              <a:gd name="connsiteX11803" fmla="*/ 6304851 w 6884782"/>
              <a:gd name="connsiteY11803" fmla="*/ 4694506 h 5973007"/>
              <a:gd name="connsiteX11804" fmla="*/ 6299274 w 6884782"/>
              <a:gd name="connsiteY11804" fmla="*/ 4690066 h 5973007"/>
              <a:gd name="connsiteX11805" fmla="*/ 1691584 w 6884782"/>
              <a:gd name="connsiteY11805" fmla="*/ 4689945 h 5973007"/>
              <a:gd name="connsiteX11806" fmla="*/ 1688486 w 6884782"/>
              <a:gd name="connsiteY11806" fmla="*/ 4694488 h 5973007"/>
              <a:gd name="connsiteX11807" fmla="*/ 1690344 w 6884782"/>
              <a:gd name="connsiteY11807" fmla="*/ 4695934 h 5973007"/>
              <a:gd name="connsiteX11808" fmla="*/ 1691429 w 6884782"/>
              <a:gd name="connsiteY11808" fmla="*/ 4703368 h 5973007"/>
              <a:gd name="connsiteX11809" fmla="*/ 1691274 w 6884782"/>
              <a:gd name="connsiteY11809" fmla="*/ 4704298 h 5973007"/>
              <a:gd name="connsiteX11810" fmla="*/ 1701497 w 6884782"/>
              <a:gd name="connsiteY11810" fmla="*/ 4703988 h 5973007"/>
              <a:gd name="connsiteX11811" fmla="*/ 1704440 w 6884782"/>
              <a:gd name="connsiteY11811" fmla="*/ 4703678 h 5973007"/>
              <a:gd name="connsiteX11812" fmla="*/ 1704905 w 6884782"/>
              <a:gd name="connsiteY11812" fmla="*/ 4702749 h 5973007"/>
              <a:gd name="connsiteX11813" fmla="*/ 1707228 w 6884782"/>
              <a:gd name="connsiteY11813" fmla="*/ 4700064 h 5973007"/>
              <a:gd name="connsiteX11814" fmla="*/ 1709552 w 6884782"/>
              <a:gd name="connsiteY11814" fmla="*/ 4702542 h 5973007"/>
              <a:gd name="connsiteX11815" fmla="*/ 1709706 w 6884782"/>
              <a:gd name="connsiteY11815" fmla="*/ 4703059 h 5973007"/>
              <a:gd name="connsiteX11816" fmla="*/ 1710171 w 6884782"/>
              <a:gd name="connsiteY11816" fmla="*/ 4703059 h 5973007"/>
              <a:gd name="connsiteX11817" fmla="*/ 1709861 w 6884782"/>
              <a:gd name="connsiteY11817" fmla="*/ 4703472 h 5973007"/>
              <a:gd name="connsiteX11818" fmla="*/ 1710171 w 6884782"/>
              <a:gd name="connsiteY11818" fmla="*/ 4704504 h 5973007"/>
              <a:gd name="connsiteX11819" fmla="*/ 1710016 w 6884782"/>
              <a:gd name="connsiteY11819" fmla="*/ 4707292 h 5973007"/>
              <a:gd name="connsiteX11820" fmla="*/ 1708777 w 6884782"/>
              <a:gd name="connsiteY11820" fmla="*/ 4708944 h 5973007"/>
              <a:gd name="connsiteX11821" fmla="*/ 1707228 w 6884782"/>
              <a:gd name="connsiteY11821" fmla="*/ 4710906 h 5973007"/>
              <a:gd name="connsiteX11822" fmla="*/ 1706764 w 6884782"/>
              <a:gd name="connsiteY11822" fmla="*/ 4711009 h 5973007"/>
              <a:gd name="connsiteX11823" fmla="*/ 1706454 w 6884782"/>
              <a:gd name="connsiteY11823" fmla="*/ 4712455 h 5973007"/>
              <a:gd name="connsiteX11824" fmla="*/ 1706454 w 6884782"/>
              <a:gd name="connsiteY11824" fmla="*/ 4721851 h 5973007"/>
              <a:gd name="connsiteX11825" fmla="*/ 1708158 w 6884782"/>
              <a:gd name="connsiteY11825" fmla="*/ 4721954 h 5973007"/>
              <a:gd name="connsiteX11826" fmla="*/ 1712340 w 6884782"/>
              <a:gd name="connsiteY11826" fmla="*/ 4723813 h 5973007"/>
              <a:gd name="connsiteX11827" fmla="*/ 1707383 w 6884782"/>
              <a:gd name="connsiteY11827" fmla="*/ 4730112 h 5973007"/>
              <a:gd name="connsiteX11828" fmla="*/ 1705370 w 6884782"/>
              <a:gd name="connsiteY11828" fmla="*/ 4729905 h 5973007"/>
              <a:gd name="connsiteX11829" fmla="*/ 1704750 w 6884782"/>
              <a:gd name="connsiteY11829" fmla="*/ 4731557 h 5973007"/>
              <a:gd name="connsiteX11830" fmla="*/ 1702272 w 6884782"/>
              <a:gd name="connsiteY11830" fmla="*/ 4735171 h 5973007"/>
              <a:gd name="connsiteX11831" fmla="*/ 1677178 w 6884782"/>
              <a:gd name="connsiteY11831" fmla="*/ 4736204 h 5973007"/>
              <a:gd name="connsiteX11832" fmla="*/ 1676714 w 6884782"/>
              <a:gd name="connsiteY11832" fmla="*/ 4735687 h 5973007"/>
              <a:gd name="connsiteX11833" fmla="*/ 1675474 w 6884782"/>
              <a:gd name="connsiteY11833" fmla="*/ 4737856 h 5973007"/>
              <a:gd name="connsiteX11834" fmla="*/ 1677178 w 6884782"/>
              <a:gd name="connsiteY11834" fmla="*/ 4737959 h 5973007"/>
              <a:gd name="connsiteX11835" fmla="*/ 1678417 w 6884782"/>
              <a:gd name="connsiteY11835" fmla="*/ 4743329 h 5973007"/>
              <a:gd name="connsiteX11836" fmla="*/ 1673770 w 6884782"/>
              <a:gd name="connsiteY11836" fmla="*/ 4743432 h 5973007"/>
              <a:gd name="connsiteX11837" fmla="*/ 1671912 w 6884782"/>
              <a:gd name="connsiteY11837" fmla="*/ 4742193 h 5973007"/>
              <a:gd name="connsiteX11838" fmla="*/ 1667110 w 6884782"/>
              <a:gd name="connsiteY11838" fmla="*/ 4744980 h 5973007"/>
              <a:gd name="connsiteX11839" fmla="*/ 1662928 w 6884782"/>
              <a:gd name="connsiteY11839" fmla="*/ 4745394 h 5973007"/>
              <a:gd name="connsiteX11840" fmla="*/ 1658126 w 6884782"/>
              <a:gd name="connsiteY11840" fmla="*/ 4744774 h 5973007"/>
              <a:gd name="connsiteX11841" fmla="*/ 1646199 w 6884782"/>
              <a:gd name="connsiteY11841" fmla="*/ 4736513 h 5973007"/>
              <a:gd name="connsiteX11842" fmla="*/ 1643720 w 6884782"/>
              <a:gd name="connsiteY11842" fmla="*/ 4733932 h 5973007"/>
              <a:gd name="connsiteX11843" fmla="*/ 1642636 w 6884782"/>
              <a:gd name="connsiteY11843" fmla="*/ 4733622 h 5973007"/>
              <a:gd name="connsiteX11844" fmla="*/ 1639539 w 6884782"/>
              <a:gd name="connsiteY11844" fmla="*/ 4732280 h 5973007"/>
              <a:gd name="connsiteX11845" fmla="*/ 1639074 w 6884782"/>
              <a:gd name="connsiteY11845" fmla="*/ 4730835 h 5973007"/>
              <a:gd name="connsiteX11846" fmla="*/ 1641242 w 6884782"/>
              <a:gd name="connsiteY11846" fmla="*/ 4731144 h 5973007"/>
              <a:gd name="connsiteX11847" fmla="*/ 1640622 w 6884782"/>
              <a:gd name="connsiteY11847" fmla="*/ 4730525 h 5973007"/>
              <a:gd name="connsiteX11848" fmla="*/ 1633652 w 6884782"/>
              <a:gd name="connsiteY11848" fmla="*/ 4724433 h 5973007"/>
              <a:gd name="connsiteX11849" fmla="*/ 1644030 w 6884782"/>
              <a:gd name="connsiteY11849" fmla="*/ 4718444 h 5973007"/>
              <a:gd name="connsiteX11850" fmla="*/ 1646819 w 6884782"/>
              <a:gd name="connsiteY11850" fmla="*/ 4715036 h 5973007"/>
              <a:gd name="connsiteX11851" fmla="*/ 1646044 w 6884782"/>
              <a:gd name="connsiteY11851" fmla="*/ 4714313 h 5973007"/>
              <a:gd name="connsiteX11852" fmla="*/ 1645889 w 6884782"/>
              <a:gd name="connsiteY11852" fmla="*/ 4714520 h 5973007"/>
              <a:gd name="connsiteX11853" fmla="*/ 1642946 w 6884782"/>
              <a:gd name="connsiteY11853" fmla="*/ 4708841 h 5973007"/>
              <a:gd name="connsiteX11854" fmla="*/ 1651466 w 6884782"/>
              <a:gd name="connsiteY11854" fmla="*/ 4709254 h 5973007"/>
              <a:gd name="connsiteX11855" fmla="*/ 1651931 w 6884782"/>
              <a:gd name="connsiteY11855" fmla="*/ 4709564 h 5973007"/>
              <a:gd name="connsiteX11856" fmla="*/ 1654719 w 6884782"/>
              <a:gd name="connsiteY11856" fmla="*/ 4707912 h 5973007"/>
              <a:gd name="connsiteX11857" fmla="*/ 1658745 w 6884782"/>
              <a:gd name="connsiteY11857" fmla="*/ 4707395 h 5973007"/>
              <a:gd name="connsiteX11858" fmla="*/ 1664786 w 6884782"/>
              <a:gd name="connsiteY11858" fmla="*/ 4708841 h 5973007"/>
              <a:gd name="connsiteX11859" fmla="*/ 1665097 w 6884782"/>
              <a:gd name="connsiteY11859" fmla="*/ 4706982 h 5973007"/>
              <a:gd name="connsiteX11860" fmla="*/ 1668969 w 6884782"/>
              <a:gd name="connsiteY11860" fmla="*/ 4710803 h 5973007"/>
              <a:gd name="connsiteX11861" fmla="*/ 1668814 w 6884782"/>
              <a:gd name="connsiteY11861" fmla="*/ 4711009 h 5973007"/>
              <a:gd name="connsiteX11862" fmla="*/ 1672222 w 6884782"/>
              <a:gd name="connsiteY11862" fmla="*/ 4713797 h 5973007"/>
              <a:gd name="connsiteX11863" fmla="*/ 1673770 w 6884782"/>
              <a:gd name="connsiteY11863" fmla="*/ 4707602 h 5973007"/>
              <a:gd name="connsiteX11864" fmla="*/ 1676404 w 6884782"/>
              <a:gd name="connsiteY11864" fmla="*/ 4701407 h 5973007"/>
              <a:gd name="connsiteX11865" fmla="*/ 1682755 w 6884782"/>
              <a:gd name="connsiteY11865" fmla="*/ 4692113 h 5973007"/>
              <a:gd name="connsiteX11866" fmla="*/ 1683064 w 6884782"/>
              <a:gd name="connsiteY11866" fmla="*/ 4692113 h 5973007"/>
              <a:gd name="connsiteX11867" fmla="*/ 1684458 w 6884782"/>
              <a:gd name="connsiteY11867" fmla="*/ 4690048 h 5973007"/>
              <a:gd name="connsiteX11868" fmla="*/ 1691584 w 6884782"/>
              <a:gd name="connsiteY11868" fmla="*/ 4689945 h 5973007"/>
              <a:gd name="connsiteX11869" fmla="*/ 1744558 w 6884782"/>
              <a:gd name="connsiteY11869" fmla="*/ 4689739 h 5973007"/>
              <a:gd name="connsiteX11870" fmla="*/ 1769032 w 6884782"/>
              <a:gd name="connsiteY11870" fmla="*/ 4697792 h 5973007"/>
              <a:gd name="connsiteX11871" fmla="*/ 1760822 w 6884782"/>
              <a:gd name="connsiteY11871" fmla="*/ 4705227 h 5973007"/>
              <a:gd name="connsiteX11872" fmla="*/ 1744713 w 6884782"/>
              <a:gd name="connsiteY11872" fmla="*/ 4695211 h 5973007"/>
              <a:gd name="connsiteX11873" fmla="*/ 1744558 w 6884782"/>
              <a:gd name="connsiteY11873" fmla="*/ 4691907 h 5973007"/>
              <a:gd name="connsiteX11874" fmla="*/ 1744093 w 6884782"/>
              <a:gd name="connsiteY11874" fmla="*/ 4691907 h 5973007"/>
              <a:gd name="connsiteX11875" fmla="*/ 1743319 w 6884782"/>
              <a:gd name="connsiteY11875" fmla="*/ 4691494 h 5973007"/>
              <a:gd name="connsiteX11876" fmla="*/ 1737278 w 6884782"/>
              <a:gd name="connsiteY11876" fmla="*/ 4693146 h 5973007"/>
              <a:gd name="connsiteX11877" fmla="*/ 1735884 w 6884782"/>
              <a:gd name="connsiteY11877" fmla="*/ 4692113 h 5973007"/>
              <a:gd name="connsiteX11878" fmla="*/ 1737743 w 6884782"/>
              <a:gd name="connsiteY11878" fmla="*/ 4690048 h 5973007"/>
              <a:gd name="connsiteX11879" fmla="*/ 1740376 w 6884782"/>
              <a:gd name="connsiteY11879" fmla="*/ 4691287 h 5973007"/>
              <a:gd name="connsiteX11880" fmla="*/ 1743629 w 6884782"/>
              <a:gd name="connsiteY11880" fmla="*/ 4690255 h 5973007"/>
              <a:gd name="connsiteX11881" fmla="*/ 1744558 w 6884782"/>
              <a:gd name="connsiteY11881" fmla="*/ 4690565 h 5973007"/>
              <a:gd name="connsiteX11882" fmla="*/ 1604377 w 6884782"/>
              <a:gd name="connsiteY11882" fmla="*/ 4689739 h 5973007"/>
              <a:gd name="connsiteX11883" fmla="*/ 1606855 w 6884782"/>
              <a:gd name="connsiteY11883" fmla="*/ 4692526 h 5973007"/>
              <a:gd name="connsiteX11884" fmla="*/ 1607785 w 6884782"/>
              <a:gd name="connsiteY11884" fmla="*/ 4696140 h 5973007"/>
              <a:gd name="connsiteX11885" fmla="*/ 1608404 w 6884782"/>
              <a:gd name="connsiteY11885" fmla="*/ 4696037 h 5973007"/>
              <a:gd name="connsiteX11886" fmla="*/ 1608404 w 6884782"/>
              <a:gd name="connsiteY11886" fmla="*/ 4695211 h 5973007"/>
              <a:gd name="connsiteX11887" fmla="*/ 1610108 w 6884782"/>
              <a:gd name="connsiteY11887" fmla="*/ 4696244 h 5973007"/>
              <a:gd name="connsiteX11888" fmla="*/ 1612122 w 6884782"/>
              <a:gd name="connsiteY11888" fmla="*/ 4702852 h 5973007"/>
              <a:gd name="connsiteX11889" fmla="*/ 1609798 w 6884782"/>
              <a:gd name="connsiteY11889" fmla="*/ 4703472 h 5973007"/>
              <a:gd name="connsiteX11890" fmla="*/ 1607940 w 6884782"/>
              <a:gd name="connsiteY11890" fmla="*/ 4702129 h 5973007"/>
              <a:gd name="connsiteX11891" fmla="*/ 1606081 w 6884782"/>
              <a:gd name="connsiteY11891" fmla="*/ 4699032 h 5973007"/>
              <a:gd name="connsiteX11892" fmla="*/ 1606236 w 6884782"/>
              <a:gd name="connsiteY11892" fmla="*/ 4697999 h 5973007"/>
              <a:gd name="connsiteX11893" fmla="*/ 1605617 w 6884782"/>
              <a:gd name="connsiteY11893" fmla="*/ 4698722 h 5973007"/>
              <a:gd name="connsiteX11894" fmla="*/ 1602208 w 6884782"/>
              <a:gd name="connsiteY11894" fmla="*/ 4698825 h 5973007"/>
              <a:gd name="connsiteX11895" fmla="*/ 1600040 w 6884782"/>
              <a:gd name="connsiteY11895" fmla="*/ 4697586 h 5973007"/>
              <a:gd name="connsiteX11896" fmla="*/ 1599265 w 6884782"/>
              <a:gd name="connsiteY11896" fmla="*/ 4694798 h 5973007"/>
              <a:gd name="connsiteX11897" fmla="*/ 1599885 w 6884782"/>
              <a:gd name="connsiteY11897" fmla="*/ 4692423 h 5973007"/>
              <a:gd name="connsiteX11898" fmla="*/ 1604377 w 6884782"/>
              <a:gd name="connsiteY11898" fmla="*/ 4689739 h 5973007"/>
              <a:gd name="connsiteX11899" fmla="*/ 718989 w 6884782"/>
              <a:gd name="connsiteY11899" fmla="*/ 4689016 h 5973007"/>
              <a:gd name="connsiteX11900" fmla="*/ 728439 w 6884782"/>
              <a:gd name="connsiteY11900" fmla="*/ 4693352 h 5973007"/>
              <a:gd name="connsiteX11901" fmla="*/ 724101 w 6884782"/>
              <a:gd name="connsiteY11901" fmla="*/ 4697483 h 5973007"/>
              <a:gd name="connsiteX11902" fmla="*/ 718370 w 6884782"/>
              <a:gd name="connsiteY11902" fmla="*/ 4695417 h 5973007"/>
              <a:gd name="connsiteX11903" fmla="*/ 718989 w 6884782"/>
              <a:gd name="connsiteY11903" fmla="*/ 4689016 h 5973007"/>
              <a:gd name="connsiteX11904" fmla="*/ 1679501 w 6884782"/>
              <a:gd name="connsiteY11904" fmla="*/ 4688396 h 5973007"/>
              <a:gd name="connsiteX11905" fmla="*/ 1679347 w 6884782"/>
              <a:gd name="connsiteY11905" fmla="*/ 4688706 h 5973007"/>
              <a:gd name="connsiteX11906" fmla="*/ 1679192 w 6884782"/>
              <a:gd name="connsiteY11906" fmla="*/ 4689429 h 5973007"/>
              <a:gd name="connsiteX11907" fmla="*/ 1628076 w 6884782"/>
              <a:gd name="connsiteY11907" fmla="*/ 4688396 h 5973007"/>
              <a:gd name="connsiteX11908" fmla="*/ 1633033 w 6884782"/>
              <a:gd name="connsiteY11908" fmla="*/ 4692216 h 5973007"/>
              <a:gd name="connsiteX11909" fmla="*/ 1631794 w 6884782"/>
              <a:gd name="connsiteY11909" fmla="*/ 4693869 h 5973007"/>
              <a:gd name="connsiteX11910" fmla="*/ 1633962 w 6884782"/>
              <a:gd name="connsiteY11910" fmla="*/ 4694075 h 5973007"/>
              <a:gd name="connsiteX11911" fmla="*/ 1635976 w 6884782"/>
              <a:gd name="connsiteY11911" fmla="*/ 4695417 h 5973007"/>
              <a:gd name="connsiteX11912" fmla="*/ 1638764 w 6884782"/>
              <a:gd name="connsiteY11912" fmla="*/ 4698722 h 5973007"/>
              <a:gd name="connsiteX11913" fmla="*/ 1639694 w 6884782"/>
              <a:gd name="connsiteY11913" fmla="*/ 4697070 h 5973007"/>
              <a:gd name="connsiteX11914" fmla="*/ 1641862 w 6884782"/>
              <a:gd name="connsiteY11914" fmla="*/ 4695934 h 5973007"/>
              <a:gd name="connsiteX11915" fmla="*/ 1643720 w 6884782"/>
              <a:gd name="connsiteY11915" fmla="*/ 4696450 h 5973007"/>
              <a:gd name="connsiteX11916" fmla="*/ 1644030 w 6884782"/>
              <a:gd name="connsiteY11916" fmla="*/ 4697276 h 5973007"/>
              <a:gd name="connsiteX11917" fmla="*/ 1644805 w 6884782"/>
              <a:gd name="connsiteY11917" fmla="*/ 4700580 h 5973007"/>
              <a:gd name="connsiteX11918" fmla="*/ 1643101 w 6884782"/>
              <a:gd name="connsiteY11918" fmla="*/ 4702645 h 5973007"/>
              <a:gd name="connsiteX11919" fmla="*/ 1641397 w 6884782"/>
              <a:gd name="connsiteY11919" fmla="*/ 4703575 h 5973007"/>
              <a:gd name="connsiteX11920" fmla="*/ 1641707 w 6884782"/>
              <a:gd name="connsiteY11920" fmla="*/ 4704504 h 5973007"/>
              <a:gd name="connsiteX11921" fmla="*/ 1639229 w 6884782"/>
              <a:gd name="connsiteY11921" fmla="*/ 4711732 h 5973007"/>
              <a:gd name="connsiteX11922" fmla="*/ 1638299 w 6884782"/>
              <a:gd name="connsiteY11922" fmla="*/ 4711526 h 5973007"/>
              <a:gd name="connsiteX11923" fmla="*/ 1639694 w 6884782"/>
              <a:gd name="connsiteY11923" fmla="*/ 4717102 h 5973007"/>
              <a:gd name="connsiteX11924" fmla="*/ 1636751 w 6884782"/>
              <a:gd name="connsiteY11924" fmla="*/ 4718650 h 5973007"/>
              <a:gd name="connsiteX11925" fmla="*/ 1633343 w 6884782"/>
              <a:gd name="connsiteY11925" fmla="*/ 4718650 h 5973007"/>
              <a:gd name="connsiteX11926" fmla="*/ 1627456 w 6884782"/>
              <a:gd name="connsiteY11926" fmla="*/ 4716585 h 5973007"/>
              <a:gd name="connsiteX11927" fmla="*/ 1625598 w 6884782"/>
              <a:gd name="connsiteY11927" fmla="*/ 4715759 h 5973007"/>
              <a:gd name="connsiteX11928" fmla="*/ 1625598 w 6884782"/>
              <a:gd name="connsiteY11928" fmla="*/ 4716585 h 5973007"/>
              <a:gd name="connsiteX11929" fmla="*/ 1624823 w 6884782"/>
              <a:gd name="connsiteY11929" fmla="*/ 4715552 h 5973007"/>
              <a:gd name="connsiteX11930" fmla="*/ 1624668 w 6884782"/>
              <a:gd name="connsiteY11930" fmla="*/ 4715552 h 5973007"/>
              <a:gd name="connsiteX11931" fmla="*/ 1623739 w 6884782"/>
              <a:gd name="connsiteY11931" fmla="*/ 4715346 h 5973007"/>
              <a:gd name="connsiteX11932" fmla="*/ 1621106 w 6884782"/>
              <a:gd name="connsiteY11932" fmla="*/ 4712765 h 5973007"/>
              <a:gd name="connsiteX11933" fmla="*/ 1621571 w 6884782"/>
              <a:gd name="connsiteY11933" fmla="*/ 4710596 h 5973007"/>
              <a:gd name="connsiteX11934" fmla="*/ 1623430 w 6884782"/>
              <a:gd name="connsiteY11934" fmla="*/ 4709564 h 5973007"/>
              <a:gd name="connsiteX11935" fmla="*/ 1625443 w 6884782"/>
              <a:gd name="connsiteY11935" fmla="*/ 4708841 h 5973007"/>
              <a:gd name="connsiteX11936" fmla="*/ 1624049 w 6884782"/>
              <a:gd name="connsiteY11936" fmla="*/ 4708325 h 5973007"/>
              <a:gd name="connsiteX11937" fmla="*/ 1622500 w 6884782"/>
              <a:gd name="connsiteY11937" fmla="*/ 4706569 h 5973007"/>
              <a:gd name="connsiteX11938" fmla="*/ 1622345 w 6884782"/>
              <a:gd name="connsiteY11938" fmla="*/ 4704401 h 5973007"/>
              <a:gd name="connsiteX11939" fmla="*/ 1622964 w 6884782"/>
              <a:gd name="connsiteY11939" fmla="*/ 4703988 h 5973007"/>
              <a:gd name="connsiteX11940" fmla="*/ 1625753 w 6884782"/>
              <a:gd name="connsiteY11940" fmla="*/ 4702129 h 5973007"/>
              <a:gd name="connsiteX11941" fmla="*/ 1626063 w 6884782"/>
              <a:gd name="connsiteY11941" fmla="*/ 4702336 h 5973007"/>
              <a:gd name="connsiteX11942" fmla="*/ 1625598 w 6884782"/>
              <a:gd name="connsiteY11942" fmla="*/ 4697689 h 5973007"/>
              <a:gd name="connsiteX11943" fmla="*/ 1627456 w 6884782"/>
              <a:gd name="connsiteY11943" fmla="*/ 4693869 h 5973007"/>
              <a:gd name="connsiteX11944" fmla="*/ 1626217 w 6884782"/>
              <a:gd name="connsiteY11944" fmla="*/ 4693352 h 5973007"/>
              <a:gd name="connsiteX11945" fmla="*/ 1624823 w 6884782"/>
              <a:gd name="connsiteY11945" fmla="*/ 4689532 h 5973007"/>
              <a:gd name="connsiteX11946" fmla="*/ 1625133 w 6884782"/>
              <a:gd name="connsiteY11946" fmla="*/ 4690255 h 5973007"/>
              <a:gd name="connsiteX11947" fmla="*/ 1626682 w 6884782"/>
              <a:gd name="connsiteY11947" fmla="*/ 4689325 h 5973007"/>
              <a:gd name="connsiteX11948" fmla="*/ 1626217 w 6884782"/>
              <a:gd name="connsiteY11948" fmla="*/ 4688500 h 5973007"/>
              <a:gd name="connsiteX11949" fmla="*/ 1628076 w 6884782"/>
              <a:gd name="connsiteY11949" fmla="*/ 4688396 h 5973007"/>
              <a:gd name="connsiteX11950" fmla="*/ 798916 w 6884782"/>
              <a:gd name="connsiteY11950" fmla="*/ 4687983 h 5973007"/>
              <a:gd name="connsiteX11951" fmla="*/ 810998 w 6884782"/>
              <a:gd name="connsiteY11951" fmla="*/ 4692423 h 5973007"/>
              <a:gd name="connsiteX11952" fmla="*/ 808520 w 6884782"/>
              <a:gd name="connsiteY11952" fmla="*/ 4692836 h 5973007"/>
              <a:gd name="connsiteX11953" fmla="*/ 798916 w 6884782"/>
              <a:gd name="connsiteY11953" fmla="*/ 4687983 h 5973007"/>
              <a:gd name="connsiteX11954" fmla="*/ 6373934 w 6884782"/>
              <a:gd name="connsiteY11954" fmla="*/ 4687795 h 5973007"/>
              <a:gd name="connsiteX11955" fmla="*/ 6374244 w 6884782"/>
              <a:gd name="connsiteY11955" fmla="*/ 4700185 h 5973007"/>
              <a:gd name="connsiteX11956" fmla="*/ 6371765 w 6884782"/>
              <a:gd name="connsiteY11956" fmla="*/ 4704315 h 5973007"/>
              <a:gd name="connsiteX11957" fmla="*/ 6374089 w 6884782"/>
              <a:gd name="connsiteY11957" fmla="*/ 4702973 h 5973007"/>
              <a:gd name="connsiteX11958" fmla="*/ 6383073 w 6884782"/>
              <a:gd name="connsiteY11958" fmla="*/ 4706277 h 5973007"/>
              <a:gd name="connsiteX11959" fmla="*/ 6377807 w 6884782"/>
              <a:gd name="connsiteY11959" fmla="*/ 4710098 h 5973007"/>
              <a:gd name="connsiteX11960" fmla="*/ 6371920 w 6884782"/>
              <a:gd name="connsiteY11960" fmla="*/ 4708446 h 5973007"/>
              <a:gd name="connsiteX11961" fmla="*/ 6371301 w 6884782"/>
              <a:gd name="connsiteY11961" fmla="*/ 4705038 h 5973007"/>
              <a:gd name="connsiteX11962" fmla="*/ 6371146 w 6884782"/>
              <a:gd name="connsiteY11962" fmla="*/ 4705348 h 5973007"/>
              <a:gd name="connsiteX11963" fmla="*/ 6365415 w 6884782"/>
              <a:gd name="connsiteY11963" fmla="*/ 4709685 h 5973007"/>
              <a:gd name="connsiteX11964" fmla="*/ 6356586 w 6884782"/>
              <a:gd name="connsiteY11964" fmla="*/ 4691099 h 5973007"/>
              <a:gd name="connsiteX11965" fmla="*/ 6373934 w 6884782"/>
              <a:gd name="connsiteY11965" fmla="*/ 4687795 h 5973007"/>
              <a:gd name="connsiteX11966" fmla="*/ 1845396 w 6884782"/>
              <a:gd name="connsiteY11966" fmla="*/ 4687570 h 5973007"/>
              <a:gd name="connsiteX11967" fmla="*/ 1842762 w 6884782"/>
              <a:gd name="connsiteY11967" fmla="*/ 4704504 h 5973007"/>
              <a:gd name="connsiteX11968" fmla="*/ 1841678 w 6884782"/>
              <a:gd name="connsiteY11968" fmla="*/ 4706053 h 5973007"/>
              <a:gd name="connsiteX11969" fmla="*/ 1839510 w 6884782"/>
              <a:gd name="connsiteY11969" fmla="*/ 4705537 h 5973007"/>
              <a:gd name="connsiteX11970" fmla="*/ 1838735 w 6884782"/>
              <a:gd name="connsiteY11970" fmla="*/ 4694178 h 5973007"/>
              <a:gd name="connsiteX11971" fmla="*/ 1840129 w 6884782"/>
              <a:gd name="connsiteY11971" fmla="*/ 4692320 h 5973007"/>
              <a:gd name="connsiteX11972" fmla="*/ 1840749 w 6884782"/>
              <a:gd name="connsiteY11972" fmla="*/ 4690461 h 5973007"/>
              <a:gd name="connsiteX11973" fmla="*/ 1845396 w 6884782"/>
              <a:gd name="connsiteY11973" fmla="*/ 4687570 h 5973007"/>
              <a:gd name="connsiteX11974" fmla="*/ 706695 w 6884782"/>
              <a:gd name="connsiteY11974" fmla="*/ 4687209 h 5973007"/>
              <a:gd name="connsiteX11975" fmla="*/ 713568 w 6884782"/>
              <a:gd name="connsiteY11975" fmla="*/ 4694592 h 5973007"/>
              <a:gd name="connsiteX11976" fmla="*/ 711865 w 6884782"/>
              <a:gd name="connsiteY11976" fmla="*/ 4698722 h 5973007"/>
              <a:gd name="connsiteX11977" fmla="*/ 706753 w 6884782"/>
              <a:gd name="connsiteY11977" fmla="*/ 4699238 h 5973007"/>
              <a:gd name="connsiteX11978" fmla="*/ 702571 w 6884782"/>
              <a:gd name="connsiteY11978" fmla="*/ 4699341 h 5973007"/>
              <a:gd name="connsiteX11979" fmla="*/ 693897 w 6884782"/>
              <a:gd name="connsiteY11979" fmla="*/ 4691907 h 5973007"/>
              <a:gd name="connsiteX11980" fmla="*/ 706695 w 6884782"/>
              <a:gd name="connsiteY11980" fmla="*/ 4687209 h 5973007"/>
              <a:gd name="connsiteX11981" fmla="*/ 6437752 w 6884782"/>
              <a:gd name="connsiteY11981" fmla="*/ 4686349 h 5973007"/>
              <a:gd name="connsiteX11982" fmla="*/ 6447820 w 6884782"/>
              <a:gd name="connsiteY11982" fmla="*/ 4687278 h 5973007"/>
              <a:gd name="connsiteX11983" fmla="*/ 6456184 w 6884782"/>
              <a:gd name="connsiteY11983" fmla="*/ 4693990 h 5973007"/>
              <a:gd name="connsiteX11984" fmla="*/ 6451382 w 6884782"/>
              <a:gd name="connsiteY11984" fmla="*/ 4694506 h 5973007"/>
              <a:gd name="connsiteX11985" fmla="*/ 6437752 w 6884782"/>
              <a:gd name="connsiteY11985" fmla="*/ 4686349 h 5973007"/>
              <a:gd name="connsiteX11986" fmla="*/ 6151813 w 6884782"/>
              <a:gd name="connsiteY11986" fmla="*/ 4686349 h 5973007"/>
              <a:gd name="connsiteX11987" fmla="*/ 6155685 w 6884782"/>
              <a:gd name="connsiteY11987" fmla="*/ 4693267 h 5973007"/>
              <a:gd name="connsiteX11988" fmla="*/ 6151193 w 6884782"/>
              <a:gd name="connsiteY11988" fmla="*/ 4688517 h 5973007"/>
              <a:gd name="connsiteX11989" fmla="*/ 6151813 w 6884782"/>
              <a:gd name="connsiteY11989" fmla="*/ 4686349 h 5973007"/>
              <a:gd name="connsiteX11990" fmla="*/ 1291177 w 6884782"/>
              <a:gd name="connsiteY11990" fmla="*/ 4686228 h 5973007"/>
              <a:gd name="connsiteX11991" fmla="*/ 1295513 w 6884782"/>
              <a:gd name="connsiteY11991" fmla="*/ 4690978 h 5973007"/>
              <a:gd name="connsiteX11992" fmla="*/ 1292571 w 6884782"/>
              <a:gd name="connsiteY11992" fmla="*/ 4692836 h 5973007"/>
              <a:gd name="connsiteX11993" fmla="*/ 1290092 w 6884782"/>
              <a:gd name="connsiteY11993" fmla="*/ 4691287 h 5973007"/>
              <a:gd name="connsiteX11994" fmla="*/ 1291177 w 6884782"/>
              <a:gd name="connsiteY11994" fmla="*/ 4686228 h 5973007"/>
              <a:gd name="connsiteX11995" fmla="*/ 884109 w 6884782"/>
              <a:gd name="connsiteY11995" fmla="*/ 4685608 h 5973007"/>
              <a:gd name="connsiteX11996" fmla="*/ 879617 w 6884782"/>
              <a:gd name="connsiteY11996" fmla="*/ 4689325 h 5973007"/>
              <a:gd name="connsiteX11997" fmla="*/ 878997 w 6884782"/>
              <a:gd name="connsiteY11997" fmla="*/ 4691907 h 5973007"/>
              <a:gd name="connsiteX11998" fmla="*/ 874196 w 6884782"/>
              <a:gd name="connsiteY11998" fmla="*/ 4693869 h 5973007"/>
              <a:gd name="connsiteX11999" fmla="*/ 873577 w 6884782"/>
              <a:gd name="connsiteY11999" fmla="*/ 4689635 h 5973007"/>
              <a:gd name="connsiteX12000" fmla="*/ 880082 w 6884782"/>
              <a:gd name="connsiteY12000" fmla="*/ 4687570 h 5973007"/>
              <a:gd name="connsiteX12001" fmla="*/ 884109 w 6884782"/>
              <a:gd name="connsiteY12001" fmla="*/ 4685608 h 5973007"/>
              <a:gd name="connsiteX12002" fmla="*/ 6567554 w 6884782"/>
              <a:gd name="connsiteY12002" fmla="*/ 4684490 h 5973007"/>
              <a:gd name="connsiteX12003" fmla="*/ 6571117 w 6884782"/>
              <a:gd name="connsiteY12003" fmla="*/ 4684490 h 5973007"/>
              <a:gd name="connsiteX12004" fmla="*/ 6572201 w 6884782"/>
              <a:gd name="connsiteY12004" fmla="*/ 4695332 h 5973007"/>
              <a:gd name="connsiteX12005" fmla="*/ 6566935 w 6884782"/>
              <a:gd name="connsiteY12005" fmla="*/ 4694816 h 5973007"/>
              <a:gd name="connsiteX12006" fmla="*/ 6567554 w 6884782"/>
              <a:gd name="connsiteY12006" fmla="*/ 4684490 h 5973007"/>
              <a:gd name="connsiteX12007" fmla="*/ 1156727 w 6884782"/>
              <a:gd name="connsiteY12007" fmla="*/ 4684369 h 5973007"/>
              <a:gd name="connsiteX12008" fmla="*/ 1164317 w 6884782"/>
              <a:gd name="connsiteY12008" fmla="*/ 4684782 h 5973007"/>
              <a:gd name="connsiteX12009" fmla="*/ 1165246 w 6884782"/>
              <a:gd name="connsiteY12009" fmla="*/ 4687364 h 5973007"/>
              <a:gd name="connsiteX12010" fmla="*/ 1160134 w 6884782"/>
              <a:gd name="connsiteY12010" fmla="*/ 4690255 h 5973007"/>
              <a:gd name="connsiteX12011" fmla="*/ 1157811 w 6884782"/>
              <a:gd name="connsiteY12011" fmla="*/ 4688706 h 5973007"/>
              <a:gd name="connsiteX12012" fmla="*/ 1156727 w 6884782"/>
              <a:gd name="connsiteY12012" fmla="*/ 4684369 h 5973007"/>
              <a:gd name="connsiteX12013" fmla="*/ 779555 w 6884782"/>
              <a:gd name="connsiteY12013" fmla="*/ 4683130 h 5973007"/>
              <a:gd name="connsiteX12014" fmla="*/ 781723 w 6884782"/>
              <a:gd name="connsiteY12014" fmla="*/ 4686434 h 5973007"/>
              <a:gd name="connsiteX12015" fmla="*/ 776921 w 6884782"/>
              <a:gd name="connsiteY12015" fmla="*/ 4688500 h 5973007"/>
              <a:gd name="connsiteX12016" fmla="*/ 774907 w 6884782"/>
              <a:gd name="connsiteY12016" fmla="*/ 4685092 h 5973007"/>
              <a:gd name="connsiteX12017" fmla="*/ 779555 w 6884782"/>
              <a:gd name="connsiteY12017" fmla="*/ 4683130 h 5973007"/>
              <a:gd name="connsiteX12018" fmla="*/ 6411574 w 6884782"/>
              <a:gd name="connsiteY12018" fmla="*/ 4683045 h 5973007"/>
              <a:gd name="connsiteX12019" fmla="*/ 6416376 w 6884782"/>
              <a:gd name="connsiteY12019" fmla="*/ 4683148 h 5973007"/>
              <a:gd name="connsiteX12020" fmla="*/ 6414827 w 6884782"/>
              <a:gd name="connsiteY12020" fmla="*/ 4686969 h 5973007"/>
              <a:gd name="connsiteX12021" fmla="*/ 6411574 w 6884782"/>
              <a:gd name="connsiteY12021" fmla="*/ 4685730 h 5973007"/>
              <a:gd name="connsiteX12022" fmla="*/ 6411574 w 6884782"/>
              <a:gd name="connsiteY12022" fmla="*/ 4683045 h 5973007"/>
              <a:gd name="connsiteX12023" fmla="*/ 1341673 w 6884782"/>
              <a:gd name="connsiteY12023" fmla="*/ 4683027 h 5973007"/>
              <a:gd name="connsiteX12024" fmla="*/ 1324169 w 6884782"/>
              <a:gd name="connsiteY12024" fmla="*/ 4692940 h 5973007"/>
              <a:gd name="connsiteX12025" fmla="*/ 1331605 w 6884782"/>
              <a:gd name="connsiteY12025" fmla="*/ 4685299 h 5973007"/>
              <a:gd name="connsiteX12026" fmla="*/ 1341673 w 6884782"/>
              <a:gd name="connsiteY12026" fmla="*/ 4683027 h 5973007"/>
              <a:gd name="connsiteX12027" fmla="*/ 6059340 w 6884782"/>
              <a:gd name="connsiteY12027" fmla="*/ 4682735 h 5973007"/>
              <a:gd name="connsiteX12028" fmla="*/ 6046793 w 6884782"/>
              <a:gd name="connsiteY12028" fmla="*/ 4691718 h 5973007"/>
              <a:gd name="connsiteX12029" fmla="*/ 6042611 w 6884782"/>
              <a:gd name="connsiteY12029" fmla="*/ 4689137 h 5973007"/>
              <a:gd name="connsiteX12030" fmla="*/ 6059340 w 6884782"/>
              <a:gd name="connsiteY12030" fmla="*/ 4682735 h 5973007"/>
              <a:gd name="connsiteX12031" fmla="*/ 1133802 w 6884782"/>
              <a:gd name="connsiteY12031" fmla="*/ 4682717 h 5973007"/>
              <a:gd name="connsiteX12032" fmla="*/ 1135506 w 6884782"/>
              <a:gd name="connsiteY12032" fmla="*/ 4683749 h 5973007"/>
              <a:gd name="connsiteX12033" fmla="*/ 1135041 w 6884782"/>
              <a:gd name="connsiteY12033" fmla="*/ 4686124 h 5973007"/>
              <a:gd name="connsiteX12034" fmla="*/ 1131169 w 6884782"/>
              <a:gd name="connsiteY12034" fmla="*/ 4688809 h 5973007"/>
              <a:gd name="connsiteX12035" fmla="*/ 1129465 w 6884782"/>
              <a:gd name="connsiteY12035" fmla="*/ 4687673 h 5973007"/>
              <a:gd name="connsiteX12036" fmla="*/ 1133802 w 6884782"/>
              <a:gd name="connsiteY12036" fmla="*/ 4682717 h 5973007"/>
              <a:gd name="connsiteX12037" fmla="*/ 1469462 w 6884782"/>
              <a:gd name="connsiteY12037" fmla="*/ 4682304 h 5973007"/>
              <a:gd name="connsiteX12038" fmla="*/ 1469617 w 6884782"/>
              <a:gd name="connsiteY12038" fmla="*/ 4684059 h 5973007"/>
              <a:gd name="connsiteX12039" fmla="*/ 1469153 w 6884782"/>
              <a:gd name="connsiteY12039" fmla="*/ 4683853 h 5973007"/>
              <a:gd name="connsiteX12040" fmla="*/ 1468688 w 6884782"/>
              <a:gd name="connsiteY12040" fmla="*/ 4682717 h 5973007"/>
              <a:gd name="connsiteX12041" fmla="*/ 1469462 w 6884782"/>
              <a:gd name="connsiteY12041" fmla="*/ 4682304 h 5973007"/>
              <a:gd name="connsiteX12042" fmla="*/ 976582 w 6884782"/>
              <a:gd name="connsiteY12042" fmla="*/ 4682304 h 5973007"/>
              <a:gd name="connsiteX12043" fmla="*/ 993621 w 6884782"/>
              <a:gd name="connsiteY12043" fmla="*/ 4683853 h 5973007"/>
              <a:gd name="connsiteX12044" fmla="*/ 1007097 w 6884782"/>
              <a:gd name="connsiteY12044" fmla="*/ 4709254 h 5973007"/>
              <a:gd name="connsiteX12045" fmla="*/ 1005238 w 6884782"/>
              <a:gd name="connsiteY12045" fmla="*/ 4710906 h 5973007"/>
              <a:gd name="connsiteX12046" fmla="*/ 999662 w 6884782"/>
              <a:gd name="connsiteY12046" fmla="*/ 4711526 h 5973007"/>
              <a:gd name="connsiteX12047" fmla="*/ 976582 w 6884782"/>
              <a:gd name="connsiteY12047" fmla="*/ 4682304 h 5973007"/>
              <a:gd name="connsiteX12048" fmla="*/ 1792731 w 6884782"/>
              <a:gd name="connsiteY12048" fmla="*/ 4681891 h 5973007"/>
              <a:gd name="connsiteX12049" fmla="*/ 1793660 w 6884782"/>
              <a:gd name="connsiteY12049" fmla="*/ 4682820 h 5973007"/>
              <a:gd name="connsiteX12050" fmla="*/ 1791646 w 6884782"/>
              <a:gd name="connsiteY12050" fmla="*/ 4695417 h 5973007"/>
              <a:gd name="connsiteX12051" fmla="*/ 1790562 w 6884782"/>
              <a:gd name="connsiteY12051" fmla="*/ 4689429 h 5973007"/>
              <a:gd name="connsiteX12052" fmla="*/ 1792731 w 6884782"/>
              <a:gd name="connsiteY12052" fmla="*/ 4681891 h 5973007"/>
              <a:gd name="connsiteX12053" fmla="*/ 6427528 w 6884782"/>
              <a:gd name="connsiteY12053" fmla="*/ 4680463 h 5973007"/>
              <a:gd name="connsiteX12054" fmla="*/ 6433879 w 6884782"/>
              <a:gd name="connsiteY12054" fmla="*/ 4684800 h 5973007"/>
              <a:gd name="connsiteX12055" fmla="*/ 6431710 w 6884782"/>
              <a:gd name="connsiteY12055" fmla="*/ 4691408 h 5973007"/>
              <a:gd name="connsiteX12056" fmla="*/ 6426289 w 6884782"/>
              <a:gd name="connsiteY12056" fmla="*/ 4692957 h 5973007"/>
              <a:gd name="connsiteX12057" fmla="*/ 6423191 w 6884782"/>
              <a:gd name="connsiteY12057" fmla="*/ 4689860 h 5973007"/>
              <a:gd name="connsiteX12058" fmla="*/ 6427528 w 6884782"/>
              <a:gd name="connsiteY12058" fmla="*/ 4680463 h 5973007"/>
              <a:gd name="connsiteX12059" fmla="*/ 1585170 w 6884782"/>
              <a:gd name="connsiteY12059" fmla="*/ 4680239 h 5973007"/>
              <a:gd name="connsiteX12060" fmla="*/ 1590127 w 6884782"/>
              <a:gd name="connsiteY12060" fmla="*/ 4681065 h 5973007"/>
              <a:gd name="connsiteX12061" fmla="*/ 1589662 w 6884782"/>
              <a:gd name="connsiteY12061" fmla="*/ 4688706 h 5973007"/>
              <a:gd name="connsiteX12062" fmla="*/ 1586564 w 6884782"/>
              <a:gd name="connsiteY12062" fmla="*/ 4689119 h 5973007"/>
              <a:gd name="connsiteX12063" fmla="*/ 1583776 w 6884782"/>
              <a:gd name="connsiteY12063" fmla="*/ 4686950 h 5973007"/>
              <a:gd name="connsiteX12064" fmla="*/ 1582692 w 6884782"/>
              <a:gd name="connsiteY12064" fmla="*/ 4684473 h 5973007"/>
              <a:gd name="connsiteX12065" fmla="*/ 1583466 w 6884782"/>
              <a:gd name="connsiteY12065" fmla="*/ 4681684 h 5973007"/>
              <a:gd name="connsiteX12066" fmla="*/ 1585170 w 6884782"/>
              <a:gd name="connsiteY12066" fmla="*/ 4680239 h 5973007"/>
              <a:gd name="connsiteX12067" fmla="*/ 1451339 w 6884782"/>
              <a:gd name="connsiteY12067" fmla="*/ 4680239 h 5973007"/>
              <a:gd name="connsiteX12068" fmla="*/ 1451185 w 6884782"/>
              <a:gd name="connsiteY12068" fmla="*/ 4681478 h 5973007"/>
              <a:gd name="connsiteX12069" fmla="*/ 1445763 w 6884782"/>
              <a:gd name="connsiteY12069" fmla="*/ 4683853 h 5973007"/>
              <a:gd name="connsiteX12070" fmla="*/ 1443904 w 6884782"/>
              <a:gd name="connsiteY12070" fmla="*/ 4684369 h 5973007"/>
              <a:gd name="connsiteX12071" fmla="*/ 1447622 w 6884782"/>
              <a:gd name="connsiteY12071" fmla="*/ 4684989 h 5973007"/>
              <a:gd name="connsiteX12072" fmla="*/ 1453198 w 6884782"/>
              <a:gd name="connsiteY12072" fmla="*/ 4689429 h 5973007"/>
              <a:gd name="connsiteX12073" fmla="*/ 1452114 w 6884782"/>
              <a:gd name="connsiteY12073" fmla="*/ 4709564 h 5973007"/>
              <a:gd name="connsiteX12074" fmla="*/ 1432132 w 6884782"/>
              <a:gd name="connsiteY12074" fmla="*/ 4700064 h 5973007"/>
              <a:gd name="connsiteX12075" fmla="*/ 1431048 w 6884782"/>
              <a:gd name="connsiteY12075" fmla="*/ 4693352 h 5973007"/>
              <a:gd name="connsiteX12076" fmla="*/ 1432132 w 6884782"/>
              <a:gd name="connsiteY12076" fmla="*/ 4691391 h 5973007"/>
              <a:gd name="connsiteX12077" fmla="*/ 1432287 w 6884782"/>
              <a:gd name="connsiteY12077" fmla="*/ 4689222 h 5973007"/>
              <a:gd name="connsiteX12078" fmla="*/ 1432752 w 6884782"/>
              <a:gd name="connsiteY12078" fmla="*/ 4683234 h 5973007"/>
              <a:gd name="connsiteX12079" fmla="*/ 1436934 w 6884782"/>
              <a:gd name="connsiteY12079" fmla="*/ 4683027 h 5973007"/>
              <a:gd name="connsiteX12080" fmla="*/ 1438173 w 6884782"/>
              <a:gd name="connsiteY12080" fmla="*/ 4684989 h 5973007"/>
              <a:gd name="connsiteX12081" fmla="*/ 1440497 w 6884782"/>
              <a:gd name="connsiteY12081" fmla="*/ 4684059 h 5973007"/>
              <a:gd name="connsiteX12082" fmla="*/ 1440806 w 6884782"/>
              <a:gd name="connsiteY12082" fmla="*/ 4683234 h 5973007"/>
              <a:gd name="connsiteX12083" fmla="*/ 1443904 w 6884782"/>
              <a:gd name="connsiteY12083" fmla="*/ 4681788 h 5973007"/>
              <a:gd name="connsiteX12084" fmla="*/ 1451339 w 6884782"/>
              <a:gd name="connsiteY12084" fmla="*/ 4680239 h 5973007"/>
              <a:gd name="connsiteX12085" fmla="*/ 1776409 w 6884782"/>
              <a:gd name="connsiteY12085" fmla="*/ 4680084 h 5973007"/>
              <a:gd name="connsiteX12086" fmla="*/ 1787929 w 6884782"/>
              <a:gd name="connsiteY12086" fmla="*/ 4686434 h 5973007"/>
              <a:gd name="connsiteX12087" fmla="*/ 1776312 w 6884782"/>
              <a:gd name="connsiteY12087" fmla="*/ 4686847 h 5973007"/>
              <a:gd name="connsiteX12088" fmla="*/ 1764075 w 6884782"/>
              <a:gd name="connsiteY12088" fmla="*/ 4682717 h 5973007"/>
              <a:gd name="connsiteX12089" fmla="*/ 1776409 w 6884782"/>
              <a:gd name="connsiteY12089" fmla="*/ 4680084 h 5973007"/>
              <a:gd name="connsiteX12090" fmla="*/ 1818134 w 6884782"/>
              <a:gd name="connsiteY12090" fmla="*/ 4679206 h 5973007"/>
              <a:gd name="connsiteX12091" fmla="*/ 1815811 w 6884782"/>
              <a:gd name="connsiteY12091" fmla="*/ 4695934 h 5973007"/>
              <a:gd name="connsiteX12092" fmla="*/ 1830835 w 6884782"/>
              <a:gd name="connsiteY12092" fmla="*/ 4703162 h 5973007"/>
              <a:gd name="connsiteX12093" fmla="*/ 1827118 w 6884782"/>
              <a:gd name="connsiteY12093" fmla="*/ 4704917 h 5973007"/>
              <a:gd name="connsiteX12094" fmla="*/ 1827428 w 6884782"/>
              <a:gd name="connsiteY12094" fmla="*/ 4708118 h 5973007"/>
              <a:gd name="connsiteX12095" fmla="*/ 1826654 w 6884782"/>
              <a:gd name="connsiteY12095" fmla="*/ 4708944 h 5973007"/>
              <a:gd name="connsiteX12096" fmla="*/ 1827428 w 6884782"/>
              <a:gd name="connsiteY12096" fmla="*/ 4710183 h 5973007"/>
              <a:gd name="connsiteX12097" fmla="*/ 1828202 w 6884782"/>
              <a:gd name="connsiteY12097" fmla="*/ 4711216 h 5973007"/>
              <a:gd name="connsiteX12098" fmla="*/ 1826963 w 6884782"/>
              <a:gd name="connsiteY12098" fmla="*/ 4713178 h 5973007"/>
              <a:gd name="connsiteX12099" fmla="*/ 1825569 w 6884782"/>
              <a:gd name="connsiteY12099" fmla="*/ 4713074 h 5973007"/>
              <a:gd name="connsiteX12100" fmla="*/ 1825104 w 6884782"/>
              <a:gd name="connsiteY12100" fmla="*/ 4715140 h 5973007"/>
              <a:gd name="connsiteX12101" fmla="*/ 1820302 w 6884782"/>
              <a:gd name="connsiteY12101" fmla="*/ 4710286 h 5973007"/>
              <a:gd name="connsiteX12102" fmla="*/ 1822316 w 6884782"/>
              <a:gd name="connsiteY12102" fmla="*/ 4711009 h 5973007"/>
              <a:gd name="connsiteX12103" fmla="*/ 1820768 w 6884782"/>
              <a:gd name="connsiteY12103" fmla="*/ 4709564 h 5973007"/>
              <a:gd name="connsiteX12104" fmla="*/ 1819218 w 6884782"/>
              <a:gd name="connsiteY12104" fmla="*/ 4704401 h 5973007"/>
              <a:gd name="connsiteX12105" fmla="*/ 1821387 w 6884782"/>
              <a:gd name="connsiteY12105" fmla="*/ 4704401 h 5973007"/>
              <a:gd name="connsiteX12106" fmla="*/ 1817204 w 6884782"/>
              <a:gd name="connsiteY12106" fmla="*/ 4703368 h 5973007"/>
              <a:gd name="connsiteX12107" fmla="*/ 1811938 w 6884782"/>
              <a:gd name="connsiteY12107" fmla="*/ 4702645 h 5973007"/>
              <a:gd name="connsiteX12108" fmla="*/ 1806362 w 6884782"/>
              <a:gd name="connsiteY12108" fmla="*/ 4706982 h 5973007"/>
              <a:gd name="connsiteX12109" fmla="*/ 1802644 w 6884782"/>
              <a:gd name="connsiteY12109" fmla="*/ 4706776 h 5973007"/>
              <a:gd name="connsiteX12110" fmla="*/ 1812248 w 6884782"/>
              <a:gd name="connsiteY12110" fmla="*/ 4683543 h 5973007"/>
              <a:gd name="connsiteX12111" fmla="*/ 1818134 w 6884782"/>
              <a:gd name="connsiteY12111" fmla="*/ 4679206 h 5973007"/>
              <a:gd name="connsiteX12112" fmla="*/ 6204168 w 6884782"/>
              <a:gd name="connsiteY12112" fmla="*/ 4678811 h 5973007"/>
              <a:gd name="connsiteX12113" fmla="*/ 6206801 w 6884782"/>
              <a:gd name="connsiteY12113" fmla="*/ 4681289 h 5973007"/>
              <a:gd name="connsiteX12114" fmla="*/ 6205407 w 6884782"/>
              <a:gd name="connsiteY12114" fmla="*/ 4682115 h 5973007"/>
              <a:gd name="connsiteX12115" fmla="*/ 6206027 w 6884782"/>
              <a:gd name="connsiteY12115" fmla="*/ 4682838 h 5973007"/>
              <a:gd name="connsiteX12116" fmla="*/ 6204168 w 6884782"/>
              <a:gd name="connsiteY12116" fmla="*/ 4683045 h 5973007"/>
              <a:gd name="connsiteX12117" fmla="*/ 6203703 w 6884782"/>
              <a:gd name="connsiteY12117" fmla="*/ 4682322 h 5973007"/>
              <a:gd name="connsiteX12118" fmla="*/ 6203394 w 6884782"/>
              <a:gd name="connsiteY12118" fmla="*/ 4682219 h 5973007"/>
              <a:gd name="connsiteX12119" fmla="*/ 6203394 w 6884782"/>
              <a:gd name="connsiteY12119" fmla="*/ 4680463 h 5973007"/>
              <a:gd name="connsiteX12120" fmla="*/ 6204168 w 6884782"/>
              <a:gd name="connsiteY12120" fmla="*/ 4678811 h 5973007"/>
              <a:gd name="connsiteX12121" fmla="*/ 6621458 w 6884782"/>
              <a:gd name="connsiteY12121" fmla="*/ 4678295 h 5973007"/>
              <a:gd name="connsiteX12122" fmla="*/ 6641285 w 6884782"/>
              <a:gd name="connsiteY12122" fmla="*/ 4692647 h 5973007"/>
              <a:gd name="connsiteX12123" fmla="*/ 6637722 w 6884782"/>
              <a:gd name="connsiteY12123" fmla="*/ 4708446 h 5973007"/>
              <a:gd name="connsiteX12124" fmla="*/ 6633385 w 6884782"/>
              <a:gd name="connsiteY12124" fmla="*/ 4712989 h 5973007"/>
              <a:gd name="connsiteX12125" fmla="*/ 6622543 w 6884782"/>
              <a:gd name="connsiteY12125" fmla="*/ 4698430 h 5973007"/>
              <a:gd name="connsiteX12126" fmla="*/ 6621303 w 6884782"/>
              <a:gd name="connsiteY12126" fmla="*/ 4697294 h 5973007"/>
              <a:gd name="connsiteX12127" fmla="*/ 6621303 w 6884782"/>
              <a:gd name="connsiteY12127" fmla="*/ 4698327 h 5973007"/>
              <a:gd name="connsiteX12128" fmla="*/ 6613094 w 6884782"/>
              <a:gd name="connsiteY12128" fmla="*/ 4702973 h 5973007"/>
              <a:gd name="connsiteX12129" fmla="*/ 6606743 w 6884782"/>
              <a:gd name="connsiteY12129" fmla="*/ 4686555 h 5973007"/>
              <a:gd name="connsiteX12130" fmla="*/ 6611080 w 6884782"/>
              <a:gd name="connsiteY12130" fmla="*/ 4685730 h 5973007"/>
              <a:gd name="connsiteX12131" fmla="*/ 6614023 w 6884782"/>
              <a:gd name="connsiteY12131" fmla="*/ 4682115 h 5973007"/>
              <a:gd name="connsiteX12132" fmla="*/ 6621458 w 6884782"/>
              <a:gd name="connsiteY12132" fmla="*/ 4678295 h 5973007"/>
              <a:gd name="connsiteX12133" fmla="*/ 5924890 w 6884782"/>
              <a:gd name="connsiteY12133" fmla="*/ 4678192 h 5973007"/>
              <a:gd name="connsiteX12134" fmla="*/ 5929382 w 6884782"/>
              <a:gd name="connsiteY12134" fmla="*/ 4680463 h 5973007"/>
              <a:gd name="connsiteX12135" fmla="*/ 5930001 w 6884782"/>
              <a:gd name="connsiteY12135" fmla="*/ 4690892 h 5973007"/>
              <a:gd name="connsiteX12136" fmla="*/ 5921172 w 6884782"/>
              <a:gd name="connsiteY12136" fmla="*/ 4693164 h 5973007"/>
              <a:gd name="connsiteX12137" fmla="*/ 5920552 w 6884782"/>
              <a:gd name="connsiteY12137" fmla="*/ 4695022 h 5973007"/>
              <a:gd name="connsiteX12138" fmla="*/ 5917455 w 6884782"/>
              <a:gd name="connsiteY12138" fmla="*/ 4696881 h 5973007"/>
              <a:gd name="connsiteX12139" fmla="*/ 5916370 w 6884782"/>
              <a:gd name="connsiteY12139" fmla="*/ 4695229 h 5973007"/>
              <a:gd name="connsiteX12140" fmla="*/ 5919313 w 6884782"/>
              <a:gd name="connsiteY12140" fmla="*/ 4692441 h 5973007"/>
              <a:gd name="connsiteX12141" fmla="*/ 5919159 w 6884782"/>
              <a:gd name="connsiteY12141" fmla="*/ 4691615 h 5973007"/>
              <a:gd name="connsiteX12142" fmla="*/ 5917300 w 6884782"/>
              <a:gd name="connsiteY12142" fmla="*/ 4689860 h 5973007"/>
              <a:gd name="connsiteX12143" fmla="*/ 5916061 w 6884782"/>
              <a:gd name="connsiteY12143" fmla="*/ 4681289 h 5973007"/>
              <a:gd name="connsiteX12144" fmla="*/ 5924890 w 6884782"/>
              <a:gd name="connsiteY12144" fmla="*/ 4678192 h 5973007"/>
              <a:gd name="connsiteX12145" fmla="*/ 1089037 w 6884782"/>
              <a:gd name="connsiteY12145" fmla="*/ 4677554 h 5973007"/>
              <a:gd name="connsiteX12146" fmla="*/ 1089811 w 6884782"/>
              <a:gd name="connsiteY12146" fmla="*/ 4679619 h 5973007"/>
              <a:gd name="connsiteX12147" fmla="*/ 1090586 w 6884782"/>
              <a:gd name="connsiteY12147" fmla="*/ 4679103 h 5973007"/>
              <a:gd name="connsiteX12148" fmla="*/ 1096317 w 6884782"/>
              <a:gd name="connsiteY12148" fmla="*/ 4684782 h 5973007"/>
              <a:gd name="connsiteX12149" fmla="*/ 1095388 w 6884782"/>
              <a:gd name="connsiteY12149" fmla="*/ 4688293 h 5973007"/>
              <a:gd name="connsiteX12150" fmla="*/ 1099880 w 6884782"/>
              <a:gd name="connsiteY12150" fmla="*/ 4691701 h 5973007"/>
              <a:gd name="connsiteX12151" fmla="*/ 1103752 w 6884782"/>
              <a:gd name="connsiteY12151" fmla="*/ 4695624 h 5973007"/>
              <a:gd name="connsiteX12152" fmla="*/ 1106230 w 6884782"/>
              <a:gd name="connsiteY12152" fmla="*/ 4702955 h 5973007"/>
              <a:gd name="connsiteX12153" fmla="*/ 1083926 w 6884782"/>
              <a:gd name="connsiteY12153" fmla="*/ 4723297 h 5973007"/>
              <a:gd name="connsiteX12154" fmla="*/ 1070295 w 6884782"/>
              <a:gd name="connsiteY12154" fmla="*/ 4712765 h 5973007"/>
              <a:gd name="connsiteX12155" fmla="*/ 1070140 w 6884782"/>
              <a:gd name="connsiteY12155" fmla="*/ 4703472 h 5973007"/>
              <a:gd name="connsiteX12156" fmla="*/ 1089037 w 6884782"/>
              <a:gd name="connsiteY12156" fmla="*/ 4677554 h 5973007"/>
              <a:gd name="connsiteX12157" fmla="*/ 6273871 w 6884782"/>
              <a:gd name="connsiteY12157" fmla="*/ 4676953 h 5973007"/>
              <a:gd name="connsiteX12158" fmla="*/ 6274491 w 6884782"/>
              <a:gd name="connsiteY12158" fmla="*/ 4678914 h 5973007"/>
              <a:gd name="connsiteX12159" fmla="*/ 6274955 w 6884782"/>
              <a:gd name="connsiteY12159" fmla="*/ 4678398 h 5973007"/>
              <a:gd name="connsiteX12160" fmla="*/ 6279138 w 6884782"/>
              <a:gd name="connsiteY12160" fmla="*/ 4677263 h 5973007"/>
              <a:gd name="connsiteX12161" fmla="*/ 6276350 w 6884782"/>
              <a:gd name="connsiteY12161" fmla="*/ 4679740 h 5973007"/>
              <a:gd name="connsiteX12162" fmla="*/ 6275110 w 6884782"/>
              <a:gd name="connsiteY12162" fmla="*/ 4680670 h 5973007"/>
              <a:gd name="connsiteX12163" fmla="*/ 6275885 w 6884782"/>
              <a:gd name="connsiteY12163" fmla="*/ 4683045 h 5973007"/>
              <a:gd name="connsiteX12164" fmla="*/ 6272787 w 6884782"/>
              <a:gd name="connsiteY12164" fmla="*/ 4689137 h 5973007"/>
              <a:gd name="connsiteX12165" fmla="*/ 6265817 w 6884782"/>
              <a:gd name="connsiteY12165" fmla="*/ 4681599 h 5973007"/>
              <a:gd name="connsiteX12166" fmla="*/ 6273871 w 6884782"/>
              <a:gd name="connsiteY12166" fmla="*/ 4676953 h 5973007"/>
              <a:gd name="connsiteX12167" fmla="*/ 1438483 w 6884782"/>
              <a:gd name="connsiteY12167" fmla="*/ 4676832 h 5973007"/>
              <a:gd name="connsiteX12168" fmla="*/ 1437864 w 6884782"/>
              <a:gd name="connsiteY12168" fmla="*/ 4681478 h 5973007"/>
              <a:gd name="connsiteX12169" fmla="*/ 1438173 w 6884782"/>
              <a:gd name="connsiteY12169" fmla="*/ 4683440 h 5973007"/>
              <a:gd name="connsiteX12170" fmla="*/ 1436469 w 6884782"/>
              <a:gd name="connsiteY12170" fmla="*/ 4682407 h 5973007"/>
              <a:gd name="connsiteX12171" fmla="*/ 1437554 w 6884782"/>
              <a:gd name="connsiteY12171" fmla="*/ 4679619 h 5973007"/>
              <a:gd name="connsiteX12172" fmla="*/ 1435850 w 6884782"/>
              <a:gd name="connsiteY12172" fmla="*/ 4678587 h 5973007"/>
              <a:gd name="connsiteX12173" fmla="*/ 1436005 w 6884782"/>
              <a:gd name="connsiteY12173" fmla="*/ 4677348 h 5973007"/>
              <a:gd name="connsiteX12174" fmla="*/ 1438483 w 6884782"/>
              <a:gd name="connsiteY12174" fmla="*/ 4676832 h 5973007"/>
              <a:gd name="connsiteX12175" fmla="*/ 1123888 w 6884782"/>
              <a:gd name="connsiteY12175" fmla="*/ 4676418 h 5973007"/>
              <a:gd name="connsiteX12176" fmla="*/ 1127296 w 6884782"/>
              <a:gd name="connsiteY12176" fmla="*/ 4677348 h 5973007"/>
              <a:gd name="connsiteX12177" fmla="*/ 1125128 w 6884782"/>
              <a:gd name="connsiteY12177" fmla="*/ 4679929 h 5973007"/>
              <a:gd name="connsiteX12178" fmla="*/ 1123888 w 6884782"/>
              <a:gd name="connsiteY12178" fmla="*/ 4678897 h 5973007"/>
              <a:gd name="connsiteX12179" fmla="*/ 1123888 w 6884782"/>
              <a:gd name="connsiteY12179" fmla="*/ 4676418 h 5973007"/>
              <a:gd name="connsiteX12180" fmla="*/ 6369442 w 6884782"/>
              <a:gd name="connsiteY12180" fmla="*/ 4675817 h 5973007"/>
              <a:gd name="connsiteX12181" fmla="*/ 6367738 w 6884782"/>
              <a:gd name="connsiteY12181" fmla="*/ 4685007 h 5973007"/>
              <a:gd name="connsiteX12182" fmla="*/ 6366344 w 6884782"/>
              <a:gd name="connsiteY12182" fmla="*/ 4683045 h 5973007"/>
              <a:gd name="connsiteX12183" fmla="*/ 6369442 w 6884782"/>
              <a:gd name="connsiteY12183" fmla="*/ 4675817 h 5973007"/>
              <a:gd name="connsiteX12184" fmla="*/ 1231542 w 6884782"/>
              <a:gd name="connsiteY12184" fmla="*/ 4675592 h 5973007"/>
              <a:gd name="connsiteX12185" fmla="*/ 1240216 w 6884782"/>
              <a:gd name="connsiteY12185" fmla="*/ 4690771 h 5973007"/>
              <a:gd name="connsiteX12186" fmla="*/ 1236808 w 6884782"/>
              <a:gd name="connsiteY12186" fmla="*/ 4691287 h 5973007"/>
              <a:gd name="connsiteX12187" fmla="*/ 1227359 w 6884782"/>
              <a:gd name="connsiteY12187" fmla="*/ 4685815 h 5973007"/>
              <a:gd name="connsiteX12188" fmla="*/ 1226585 w 6884782"/>
              <a:gd name="connsiteY12188" fmla="*/ 4684266 h 5973007"/>
              <a:gd name="connsiteX12189" fmla="*/ 1223177 w 6884782"/>
              <a:gd name="connsiteY12189" fmla="*/ 4685815 h 5973007"/>
              <a:gd name="connsiteX12190" fmla="*/ 1223797 w 6884782"/>
              <a:gd name="connsiteY12190" fmla="*/ 4684576 h 5973007"/>
              <a:gd name="connsiteX12191" fmla="*/ 1225501 w 6884782"/>
              <a:gd name="connsiteY12191" fmla="*/ 4683956 h 5973007"/>
              <a:gd name="connsiteX12192" fmla="*/ 1226275 w 6884782"/>
              <a:gd name="connsiteY12192" fmla="*/ 4683749 h 5973007"/>
              <a:gd name="connsiteX12193" fmla="*/ 1225501 w 6884782"/>
              <a:gd name="connsiteY12193" fmla="*/ 4681994 h 5973007"/>
              <a:gd name="connsiteX12194" fmla="*/ 1231542 w 6884782"/>
              <a:gd name="connsiteY12194" fmla="*/ 4675592 h 5973007"/>
              <a:gd name="connsiteX12195" fmla="*/ 6126410 w 6884782"/>
              <a:gd name="connsiteY12195" fmla="*/ 4675507 h 5973007"/>
              <a:gd name="connsiteX12196" fmla="*/ 6120989 w 6884782"/>
              <a:gd name="connsiteY12196" fmla="*/ 4686245 h 5973007"/>
              <a:gd name="connsiteX12197" fmla="*/ 6116806 w 6884782"/>
              <a:gd name="connsiteY12197" fmla="*/ 4685420 h 5973007"/>
              <a:gd name="connsiteX12198" fmla="*/ 6126410 w 6884782"/>
              <a:gd name="connsiteY12198" fmla="*/ 4675507 h 5973007"/>
              <a:gd name="connsiteX12199" fmla="*/ 1434611 w 6884782"/>
              <a:gd name="connsiteY12199" fmla="*/ 4675076 h 5973007"/>
              <a:gd name="connsiteX12200" fmla="*/ 1436005 w 6884782"/>
              <a:gd name="connsiteY12200" fmla="*/ 4677348 h 5973007"/>
              <a:gd name="connsiteX12201" fmla="*/ 1426092 w 6884782"/>
              <a:gd name="connsiteY12201" fmla="*/ 4683956 h 5973007"/>
              <a:gd name="connsiteX12202" fmla="*/ 1424233 w 6884782"/>
              <a:gd name="connsiteY12202" fmla="*/ 4684163 h 5973007"/>
              <a:gd name="connsiteX12203" fmla="*/ 1418502 w 6884782"/>
              <a:gd name="connsiteY12203" fmla="*/ 4681478 h 5973007"/>
              <a:gd name="connsiteX12204" fmla="*/ 1432752 w 6884782"/>
              <a:gd name="connsiteY12204" fmla="*/ 4675282 h 5973007"/>
              <a:gd name="connsiteX12205" fmla="*/ 1434611 w 6884782"/>
              <a:gd name="connsiteY12205" fmla="*/ 4675076 h 5973007"/>
              <a:gd name="connsiteX12206" fmla="*/ 1146194 w 6884782"/>
              <a:gd name="connsiteY12206" fmla="*/ 4675076 h 5973007"/>
              <a:gd name="connsiteX12207" fmla="*/ 1150531 w 6884782"/>
              <a:gd name="connsiteY12207" fmla="*/ 4678483 h 5973007"/>
              <a:gd name="connsiteX12208" fmla="*/ 1150841 w 6884782"/>
              <a:gd name="connsiteY12208" fmla="*/ 4682407 h 5973007"/>
              <a:gd name="connsiteX12209" fmla="*/ 1152234 w 6884782"/>
              <a:gd name="connsiteY12209" fmla="*/ 4681272 h 5973007"/>
              <a:gd name="connsiteX12210" fmla="*/ 1156262 w 6884782"/>
              <a:gd name="connsiteY12210" fmla="*/ 4684782 h 5973007"/>
              <a:gd name="connsiteX12211" fmla="*/ 1152699 w 6884782"/>
              <a:gd name="connsiteY12211" fmla="*/ 4685918 h 5973007"/>
              <a:gd name="connsiteX12212" fmla="*/ 1150996 w 6884782"/>
              <a:gd name="connsiteY12212" fmla="*/ 4684369 h 5973007"/>
              <a:gd name="connsiteX12213" fmla="*/ 1150996 w 6884782"/>
              <a:gd name="connsiteY12213" fmla="*/ 4685092 h 5973007"/>
              <a:gd name="connsiteX12214" fmla="*/ 1146194 w 6884782"/>
              <a:gd name="connsiteY12214" fmla="*/ 4686641 h 5973007"/>
              <a:gd name="connsiteX12215" fmla="*/ 1144799 w 6884782"/>
              <a:gd name="connsiteY12215" fmla="*/ 4688912 h 5973007"/>
              <a:gd name="connsiteX12216" fmla="*/ 1142476 w 6884782"/>
              <a:gd name="connsiteY12216" fmla="*/ 4679619 h 5973007"/>
              <a:gd name="connsiteX12217" fmla="*/ 1142941 w 6884782"/>
              <a:gd name="connsiteY12217" fmla="*/ 4678793 h 5973007"/>
              <a:gd name="connsiteX12218" fmla="*/ 1142941 w 6884782"/>
              <a:gd name="connsiteY12218" fmla="*/ 4676418 h 5973007"/>
              <a:gd name="connsiteX12219" fmla="*/ 1146194 w 6884782"/>
              <a:gd name="connsiteY12219" fmla="*/ 4675076 h 5973007"/>
              <a:gd name="connsiteX12220" fmla="*/ 1022896 w 6884782"/>
              <a:gd name="connsiteY12220" fmla="*/ 4674973 h 5973007"/>
              <a:gd name="connsiteX12221" fmla="*/ 1035443 w 6884782"/>
              <a:gd name="connsiteY12221" fmla="*/ 4677141 h 5973007"/>
              <a:gd name="connsiteX12222" fmla="*/ 1018714 w 6884782"/>
              <a:gd name="connsiteY12222" fmla="*/ 4686538 h 5973007"/>
              <a:gd name="connsiteX12223" fmla="*/ 1014067 w 6884782"/>
              <a:gd name="connsiteY12223" fmla="*/ 4683646 h 5973007"/>
              <a:gd name="connsiteX12224" fmla="*/ 1022896 w 6884782"/>
              <a:gd name="connsiteY12224" fmla="*/ 4674973 h 5973007"/>
              <a:gd name="connsiteX12225" fmla="*/ 1405335 w 6884782"/>
              <a:gd name="connsiteY12225" fmla="*/ 4674870 h 5973007"/>
              <a:gd name="connsiteX12226" fmla="*/ 1417727 w 6884782"/>
              <a:gd name="connsiteY12226" fmla="*/ 4686331 h 5973007"/>
              <a:gd name="connsiteX12227" fmla="*/ 1416953 w 6884782"/>
              <a:gd name="connsiteY12227" fmla="*/ 4686744 h 5973007"/>
              <a:gd name="connsiteX12228" fmla="*/ 1421444 w 6884782"/>
              <a:gd name="connsiteY12228" fmla="*/ 4690358 h 5973007"/>
              <a:gd name="connsiteX12229" fmla="*/ 1412306 w 6884782"/>
              <a:gd name="connsiteY12229" fmla="*/ 4698206 h 5973007"/>
              <a:gd name="connsiteX12230" fmla="*/ 1411686 w 6884782"/>
              <a:gd name="connsiteY12230" fmla="*/ 4698309 h 5973007"/>
              <a:gd name="connsiteX12231" fmla="*/ 1410912 w 6884782"/>
              <a:gd name="connsiteY12231" fmla="*/ 4699135 h 5973007"/>
              <a:gd name="connsiteX12232" fmla="*/ 1411067 w 6884782"/>
              <a:gd name="connsiteY12232" fmla="*/ 4699341 h 5973007"/>
              <a:gd name="connsiteX12233" fmla="*/ 1410757 w 6884782"/>
              <a:gd name="connsiteY12233" fmla="*/ 4699341 h 5973007"/>
              <a:gd name="connsiteX12234" fmla="*/ 1409208 w 6884782"/>
              <a:gd name="connsiteY12234" fmla="*/ 4700787 h 5973007"/>
              <a:gd name="connsiteX12235" fmla="*/ 1408124 w 6884782"/>
              <a:gd name="connsiteY12235" fmla="*/ 4699548 h 5973007"/>
              <a:gd name="connsiteX12236" fmla="*/ 1405490 w 6884782"/>
              <a:gd name="connsiteY12236" fmla="*/ 4699238 h 5973007"/>
              <a:gd name="connsiteX12237" fmla="*/ 1404406 w 6884782"/>
              <a:gd name="connsiteY12237" fmla="*/ 4697173 h 5973007"/>
              <a:gd name="connsiteX12238" fmla="*/ 1406419 w 6884782"/>
              <a:gd name="connsiteY12238" fmla="*/ 4692630 h 5973007"/>
              <a:gd name="connsiteX12239" fmla="*/ 1402237 w 6884782"/>
              <a:gd name="connsiteY12239" fmla="*/ 4687260 h 5973007"/>
              <a:gd name="connsiteX12240" fmla="*/ 1400069 w 6884782"/>
              <a:gd name="connsiteY12240" fmla="*/ 4684782 h 5973007"/>
              <a:gd name="connsiteX12241" fmla="*/ 1400379 w 6884782"/>
              <a:gd name="connsiteY12241" fmla="*/ 4685918 h 5973007"/>
              <a:gd name="connsiteX12242" fmla="*/ 1394492 w 6884782"/>
              <a:gd name="connsiteY12242" fmla="*/ 4696760 h 5973007"/>
              <a:gd name="connsiteX12243" fmla="*/ 1394183 w 6884782"/>
              <a:gd name="connsiteY12243" fmla="*/ 4687777 h 5973007"/>
              <a:gd name="connsiteX12244" fmla="*/ 1399139 w 6884782"/>
              <a:gd name="connsiteY12244" fmla="*/ 4682717 h 5973007"/>
              <a:gd name="connsiteX12245" fmla="*/ 1398055 w 6884782"/>
              <a:gd name="connsiteY12245" fmla="*/ 4678587 h 5973007"/>
              <a:gd name="connsiteX12246" fmla="*/ 1405335 w 6884782"/>
              <a:gd name="connsiteY12246" fmla="*/ 4674870 h 5973007"/>
              <a:gd name="connsiteX12247" fmla="*/ 6656620 w 6884782"/>
              <a:gd name="connsiteY12247" fmla="*/ 4674474 h 5973007"/>
              <a:gd name="connsiteX12248" fmla="*/ 6657549 w 6884782"/>
              <a:gd name="connsiteY12248" fmla="*/ 4691408 h 5973007"/>
              <a:gd name="connsiteX12249" fmla="*/ 6654451 w 6884782"/>
              <a:gd name="connsiteY12249" fmla="*/ 4689653 h 5973007"/>
              <a:gd name="connsiteX12250" fmla="*/ 6655225 w 6884782"/>
              <a:gd name="connsiteY12250" fmla="*/ 4688104 h 5973007"/>
              <a:gd name="connsiteX12251" fmla="*/ 6656620 w 6884782"/>
              <a:gd name="connsiteY12251" fmla="*/ 4674474 h 5973007"/>
              <a:gd name="connsiteX12252" fmla="*/ 1211870 w 6884782"/>
              <a:gd name="connsiteY12252" fmla="*/ 4674457 h 5973007"/>
              <a:gd name="connsiteX12253" fmla="*/ 1221164 w 6884782"/>
              <a:gd name="connsiteY12253" fmla="*/ 4676522 h 5973007"/>
              <a:gd name="connsiteX12254" fmla="*/ 1219150 w 6884782"/>
              <a:gd name="connsiteY12254" fmla="*/ 4698928 h 5973007"/>
              <a:gd name="connsiteX12255" fmla="*/ 1218066 w 6884782"/>
              <a:gd name="connsiteY12255" fmla="*/ 4710390 h 5973007"/>
              <a:gd name="connsiteX12256" fmla="*/ 1221318 w 6884782"/>
              <a:gd name="connsiteY12256" fmla="*/ 4710390 h 5973007"/>
              <a:gd name="connsiteX12257" fmla="*/ 1232935 w 6884782"/>
              <a:gd name="connsiteY12257" fmla="*/ 4714107 h 5973007"/>
              <a:gd name="connsiteX12258" fmla="*/ 1235879 w 6884782"/>
              <a:gd name="connsiteY12258" fmla="*/ 4716172 h 5973007"/>
              <a:gd name="connsiteX12259" fmla="*/ 1237428 w 6884782"/>
              <a:gd name="connsiteY12259" fmla="*/ 4715862 h 5973007"/>
              <a:gd name="connsiteX12260" fmla="*/ 1238666 w 6884782"/>
              <a:gd name="connsiteY12260" fmla="*/ 4715862 h 5973007"/>
              <a:gd name="connsiteX12261" fmla="*/ 1238977 w 6884782"/>
              <a:gd name="connsiteY12261" fmla="*/ 4715656 h 5973007"/>
              <a:gd name="connsiteX12262" fmla="*/ 1240061 w 6884782"/>
              <a:gd name="connsiteY12262" fmla="*/ 4715140 h 5973007"/>
              <a:gd name="connsiteX12263" fmla="*/ 1239906 w 6884782"/>
              <a:gd name="connsiteY12263" fmla="*/ 4715966 h 5973007"/>
              <a:gd name="connsiteX12264" fmla="*/ 1239751 w 6884782"/>
              <a:gd name="connsiteY12264" fmla="*/ 4716069 h 5973007"/>
              <a:gd name="connsiteX12265" fmla="*/ 1242384 w 6884782"/>
              <a:gd name="connsiteY12265" fmla="*/ 4716379 h 5973007"/>
              <a:gd name="connsiteX12266" fmla="*/ 1239906 w 6884782"/>
              <a:gd name="connsiteY12266" fmla="*/ 4722574 h 5973007"/>
              <a:gd name="connsiteX12267" fmla="*/ 1236343 w 6884782"/>
              <a:gd name="connsiteY12267" fmla="*/ 4728046 h 5973007"/>
              <a:gd name="connsiteX12268" fmla="*/ 1235879 w 6884782"/>
              <a:gd name="connsiteY12268" fmla="*/ 4723710 h 5973007"/>
              <a:gd name="connsiteX12269" fmla="*/ 1234020 w 6884782"/>
              <a:gd name="connsiteY12269" fmla="*/ 4724536 h 5973007"/>
              <a:gd name="connsiteX12270" fmla="*/ 1233555 w 6884782"/>
              <a:gd name="connsiteY12270" fmla="*/ 4721954 h 5973007"/>
              <a:gd name="connsiteX12271" fmla="*/ 1232161 w 6884782"/>
              <a:gd name="connsiteY12271" fmla="*/ 4722161 h 5973007"/>
              <a:gd name="connsiteX12272" fmla="*/ 1226740 w 6884782"/>
              <a:gd name="connsiteY12272" fmla="*/ 4721335 h 5973007"/>
              <a:gd name="connsiteX12273" fmla="*/ 1226740 w 6884782"/>
              <a:gd name="connsiteY12273" fmla="*/ 4722780 h 5973007"/>
              <a:gd name="connsiteX12274" fmla="*/ 1230612 w 6884782"/>
              <a:gd name="connsiteY12274" fmla="*/ 4724329 h 5973007"/>
              <a:gd name="connsiteX12275" fmla="*/ 1236343 w 6884782"/>
              <a:gd name="connsiteY12275" fmla="*/ 4728046 h 5973007"/>
              <a:gd name="connsiteX12276" fmla="*/ 1237428 w 6884782"/>
              <a:gd name="connsiteY12276" fmla="*/ 4728769 h 5973007"/>
              <a:gd name="connsiteX12277" fmla="*/ 1245327 w 6884782"/>
              <a:gd name="connsiteY12277" fmla="*/ 4732900 h 5973007"/>
              <a:gd name="connsiteX12278" fmla="*/ 1251523 w 6884782"/>
              <a:gd name="connsiteY12278" fmla="*/ 4751796 h 5973007"/>
              <a:gd name="connsiteX12279" fmla="*/ 1242694 w 6884782"/>
              <a:gd name="connsiteY12279" fmla="*/ 4777403 h 5973007"/>
              <a:gd name="connsiteX12280" fmla="*/ 1215588 w 6884782"/>
              <a:gd name="connsiteY12280" fmla="*/ 4793098 h 5973007"/>
              <a:gd name="connsiteX12281" fmla="*/ 1207687 w 6884782"/>
              <a:gd name="connsiteY12281" fmla="*/ 4789690 h 5973007"/>
              <a:gd name="connsiteX12282" fmla="*/ 1201182 w 6884782"/>
              <a:gd name="connsiteY12282" fmla="*/ 4788245 h 5973007"/>
              <a:gd name="connsiteX12283" fmla="*/ 1202266 w 6884782"/>
              <a:gd name="connsiteY12283" fmla="*/ 4792066 h 5973007"/>
              <a:gd name="connsiteX12284" fmla="*/ 1203506 w 6884782"/>
              <a:gd name="connsiteY12284" fmla="*/ 4798571 h 5973007"/>
              <a:gd name="connsiteX12285" fmla="*/ 1193437 w 6884782"/>
              <a:gd name="connsiteY12285" fmla="*/ 4808380 h 5973007"/>
              <a:gd name="connsiteX12286" fmla="*/ 1192663 w 6884782"/>
              <a:gd name="connsiteY12286" fmla="*/ 4807760 h 5973007"/>
              <a:gd name="connsiteX12287" fmla="*/ 1190959 w 6884782"/>
              <a:gd name="connsiteY12287" fmla="*/ 4806935 h 5973007"/>
              <a:gd name="connsiteX12288" fmla="*/ 1188325 w 6884782"/>
              <a:gd name="connsiteY12288" fmla="*/ 4808070 h 5973007"/>
              <a:gd name="connsiteX12289" fmla="*/ 1185692 w 6884782"/>
              <a:gd name="connsiteY12289" fmla="*/ 4806728 h 5973007"/>
              <a:gd name="connsiteX12290" fmla="*/ 1184298 w 6884782"/>
              <a:gd name="connsiteY12290" fmla="*/ 4802391 h 5973007"/>
              <a:gd name="connsiteX12291" fmla="*/ 1184918 w 6884782"/>
              <a:gd name="connsiteY12291" fmla="*/ 4801668 h 5973007"/>
              <a:gd name="connsiteX12292" fmla="*/ 1183678 w 6884782"/>
              <a:gd name="connsiteY12292" fmla="*/ 4796506 h 5973007"/>
              <a:gd name="connsiteX12293" fmla="*/ 1184143 w 6884782"/>
              <a:gd name="connsiteY12293" fmla="*/ 4793305 h 5973007"/>
              <a:gd name="connsiteX12294" fmla="*/ 1182904 w 6884782"/>
              <a:gd name="connsiteY12294" fmla="*/ 4798261 h 5973007"/>
              <a:gd name="connsiteX12295" fmla="*/ 1182130 w 6884782"/>
              <a:gd name="connsiteY12295" fmla="*/ 4800016 h 5973007"/>
              <a:gd name="connsiteX12296" fmla="*/ 1183059 w 6884782"/>
              <a:gd name="connsiteY12296" fmla="*/ 4800016 h 5973007"/>
              <a:gd name="connsiteX12297" fmla="*/ 1181975 w 6884782"/>
              <a:gd name="connsiteY12297" fmla="*/ 4800945 h 5973007"/>
              <a:gd name="connsiteX12298" fmla="*/ 1181975 w 6884782"/>
              <a:gd name="connsiteY12298" fmla="*/ 4801152 h 5973007"/>
              <a:gd name="connsiteX12299" fmla="*/ 1181820 w 6884782"/>
              <a:gd name="connsiteY12299" fmla="*/ 4801978 h 5973007"/>
              <a:gd name="connsiteX12300" fmla="*/ 1179496 w 6884782"/>
              <a:gd name="connsiteY12300" fmla="*/ 4804869 h 5973007"/>
              <a:gd name="connsiteX12301" fmla="*/ 1178722 w 6884782"/>
              <a:gd name="connsiteY12301" fmla="*/ 4804766 h 5973007"/>
              <a:gd name="connsiteX12302" fmla="*/ 1178722 w 6884782"/>
              <a:gd name="connsiteY12302" fmla="*/ 4809619 h 5973007"/>
              <a:gd name="connsiteX12303" fmla="*/ 1178567 w 6884782"/>
              <a:gd name="connsiteY12303" fmla="*/ 4810961 h 5973007"/>
              <a:gd name="connsiteX12304" fmla="*/ 1179031 w 6884782"/>
              <a:gd name="connsiteY12304" fmla="*/ 4811374 h 5973007"/>
              <a:gd name="connsiteX12305" fmla="*/ 1178412 w 6884782"/>
              <a:gd name="connsiteY12305" fmla="*/ 4812097 h 5973007"/>
              <a:gd name="connsiteX12306" fmla="*/ 1177638 w 6884782"/>
              <a:gd name="connsiteY12306" fmla="*/ 4816434 h 5973007"/>
              <a:gd name="connsiteX12307" fmla="*/ 1173920 w 6884782"/>
              <a:gd name="connsiteY12307" fmla="*/ 4819738 h 5973007"/>
              <a:gd name="connsiteX12308" fmla="*/ 1173146 w 6884782"/>
              <a:gd name="connsiteY12308" fmla="*/ 4813956 h 5973007"/>
              <a:gd name="connsiteX12309" fmla="*/ 1172836 w 6884782"/>
              <a:gd name="connsiteY12309" fmla="*/ 4813543 h 5973007"/>
              <a:gd name="connsiteX12310" fmla="*/ 1172991 w 6884782"/>
              <a:gd name="connsiteY12310" fmla="*/ 4813233 h 5973007"/>
              <a:gd name="connsiteX12311" fmla="*/ 1172371 w 6884782"/>
              <a:gd name="connsiteY12311" fmla="*/ 4806315 h 5973007"/>
              <a:gd name="connsiteX12312" fmla="*/ 1173455 w 6884782"/>
              <a:gd name="connsiteY12312" fmla="*/ 4799810 h 5973007"/>
              <a:gd name="connsiteX12313" fmla="*/ 1172526 w 6884782"/>
              <a:gd name="connsiteY12313" fmla="*/ 4799603 h 5973007"/>
              <a:gd name="connsiteX12314" fmla="*/ 1160289 w 6884782"/>
              <a:gd name="connsiteY12314" fmla="*/ 4798983 h 5973007"/>
              <a:gd name="connsiteX12315" fmla="*/ 1161993 w 6884782"/>
              <a:gd name="connsiteY12315" fmla="*/ 4790310 h 5973007"/>
              <a:gd name="connsiteX12316" fmla="*/ 1173765 w 6884782"/>
              <a:gd name="connsiteY12316" fmla="*/ 4784528 h 5973007"/>
              <a:gd name="connsiteX12317" fmla="*/ 1174076 w 6884782"/>
              <a:gd name="connsiteY12317" fmla="*/ 4784631 h 5973007"/>
              <a:gd name="connsiteX12318" fmla="*/ 1179031 w 6884782"/>
              <a:gd name="connsiteY12318" fmla="*/ 4784631 h 5973007"/>
              <a:gd name="connsiteX12319" fmla="*/ 1179806 w 6884782"/>
              <a:gd name="connsiteY12319" fmla="*/ 4786283 h 5973007"/>
              <a:gd name="connsiteX12320" fmla="*/ 1182749 w 6884782"/>
              <a:gd name="connsiteY12320" fmla="*/ 4785457 h 5973007"/>
              <a:gd name="connsiteX12321" fmla="*/ 1184608 w 6884782"/>
              <a:gd name="connsiteY12321" fmla="*/ 4791859 h 5973007"/>
              <a:gd name="connsiteX12322" fmla="*/ 1194831 w 6884782"/>
              <a:gd name="connsiteY12322" fmla="*/ 4786903 h 5973007"/>
              <a:gd name="connsiteX12323" fmla="*/ 1197154 w 6884782"/>
              <a:gd name="connsiteY12323" fmla="*/ 4787625 h 5973007"/>
              <a:gd name="connsiteX12324" fmla="*/ 1198394 w 6884782"/>
              <a:gd name="connsiteY12324" fmla="*/ 4787625 h 5973007"/>
              <a:gd name="connsiteX12325" fmla="*/ 1190184 w 6884782"/>
              <a:gd name="connsiteY12325" fmla="*/ 4784734 h 5973007"/>
              <a:gd name="connsiteX12326" fmla="*/ 1184298 w 6884782"/>
              <a:gd name="connsiteY12326" fmla="*/ 4778333 h 5973007"/>
              <a:gd name="connsiteX12327" fmla="*/ 1183833 w 6884782"/>
              <a:gd name="connsiteY12327" fmla="*/ 4766148 h 5973007"/>
              <a:gd name="connsiteX12328" fmla="*/ 1183678 w 6884782"/>
              <a:gd name="connsiteY12328" fmla="*/ 4765735 h 5973007"/>
              <a:gd name="connsiteX12329" fmla="*/ 1183369 w 6884782"/>
              <a:gd name="connsiteY12329" fmla="*/ 4765942 h 5973007"/>
              <a:gd name="connsiteX12330" fmla="*/ 1183059 w 6884782"/>
              <a:gd name="connsiteY12330" fmla="*/ 4765425 h 5973007"/>
              <a:gd name="connsiteX12331" fmla="*/ 1182285 w 6884782"/>
              <a:gd name="connsiteY12331" fmla="*/ 4764599 h 5973007"/>
              <a:gd name="connsiteX12332" fmla="*/ 1182130 w 6884782"/>
              <a:gd name="connsiteY12332" fmla="*/ 4764186 h 5973007"/>
              <a:gd name="connsiteX12333" fmla="*/ 1182595 w 6884782"/>
              <a:gd name="connsiteY12333" fmla="*/ 4763153 h 5973007"/>
              <a:gd name="connsiteX12334" fmla="*/ 1182130 w 6884782"/>
              <a:gd name="connsiteY12334" fmla="*/ 4761811 h 5973007"/>
              <a:gd name="connsiteX12335" fmla="*/ 1180736 w 6884782"/>
              <a:gd name="connsiteY12335" fmla="*/ 4757165 h 5973007"/>
              <a:gd name="connsiteX12336" fmla="*/ 1185847 w 6884782"/>
              <a:gd name="connsiteY12336" fmla="*/ 4745807 h 5973007"/>
              <a:gd name="connsiteX12337" fmla="*/ 1188016 w 6884782"/>
              <a:gd name="connsiteY12337" fmla="*/ 4742503 h 5973007"/>
              <a:gd name="connsiteX12338" fmla="*/ 1189565 w 6884782"/>
              <a:gd name="connsiteY12338" fmla="*/ 4739508 h 5973007"/>
              <a:gd name="connsiteX12339" fmla="*/ 1189720 w 6884782"/>
              <a:gd name="connsiteY12339" fmla="*/ 4739198 h 5973007"/>
              <a:gd name="connsiteX12340" fmla="*/ 1190804 w 6884782"/>
              <a:gd name="connsiteY12340" fmla="*/ 4732074 h 5973007"/>
              <a:gd name="connsiteX12341" fmla="*/ 1194986 w 6884782"/>
              <a:gd name="connsiteY12341" fmla="*/ 4726188 h 5973007"/>
              <a:gd name="connsiteX12342" fmla="*/ 1202111 w 6884782"/>
              <a:gd name="connsiteY12342" fmla="*/ 4724123 h 5973007"/>
              <a:gd name="connsiteX12343" fmla="*/ 1204590 w 6884782"/>
              <a:gd name="connsiteY12343" fmla="*/ 4725362 h 5973007"/>
              <a:gd name="connsiteX12344" fmla="*/ 1214348 w 6884782"/>
              <a:gd name="connsiteY12344" fmla="*/ 4721335 h 5973007"/>
              <a:gd name="connsiteX12345" fmla="*/ 1214658 w 6884782"/>
              <a:gd name="connsiteY12345" fmla="*/ 4721335 h 5973007"/>
              <a:gd name="connsiteX12346" fmla="*/ 1215897 w 6884782"/>
              <a:gd name="connsiteY12346" fmla="*/ 4720302 h 5973007"/>
              <a:gd name="connsiteX12347" fmla="*/ 1215277 w 6884782"/>
              <a:gd name="connsiteY12347" fmla="*/ 4718650 h 5973007"/>
              <a:gd name="connsiteX12348" fmla="*/ 1207687 w 6884782"/>
              <a:gd name="connsiteY12348" fmla="*/ 4710700 h 5973007"/>
              <a:gd name="connsiteX12349" fmla="*/ 1213109 w 6884782"/>
              <a:gd name="connsiteY12349" fmla="*/ 4710493 h 5973007"/>
              <a:gd name="connsiteX12350" fmla="*/ 1212489 w 6884782"/>
              <a:gd name="connsiteY12350" fmla="*/ 4709357 h 5973007"/>
              <a:gd name="connsiteX12351" fmla="*/ 1211250 w 6884782"/>
              <a:gd name="connsiteY12351" fmla="*/ 4701097 h 5973007"/>
              <a:gd name="connsiteX12352" fmla="*/ 1211250 w 6884782"/>
              <a:gd name="connsiteY12352" fmla="*/ 4696244 h 5973007"/>
              <a:gd name="connsiteX12353" fmla="*/ 1209546 w 6884782"/>
              <a:gd name="connsiteY12353" fmla="*/ 4697586 h 5973007"/>
              <a:gd name="connsiteX12354" fmla="*/ 1202576 w 6884782"/>
              <a:gd name="connsiteY12354" fmla="*/ 4699238 h 5973007"/>
              <a:gd name="connsiteX12355" fmla="*/ 1202266 w 6884782"/>
              <a:gd name="connsiteY12355" fmla="*/ 4691287 h 5973007"/>
              <a:gd name="connsiteX12356" fmla="*/ 1206138 w 6884782"/>
              <a:gd name="connsiteY12356" fmla="*/ 4688396 h 5973007"/>
              <a:gd name="connsiteX12357" fmla="*/ 1209546 w 6884782"/>
              <a:gd name="connsiteY12357" fmla="*/ 4688706 h 5973007"/>
              <a:gd name="connsiteX12358" fmla="*/ 1211250 w 6884782"/>
              <a:gd name="connsiteY12358" fmla="*/ 4688706 h 5973007"/>
              <a:gd name="connsiteX12359" fmla="*/ 1846325 w 6884782"/>
              <a:gd name="connsiteY12359" fmla="*/ 4674353 h 5973007"/>
              <a:gd name="connsiteX12360" fmla="*/ 1848029 w 6884782"/>
              <a:gd name="connsiteY12360" fmla="*/ 4674353 h 5973007"/>
              <a:gd name="connsiteX12361" fmla="*/ 1850197 w 6884782"/>
              <a:gd name="connsiteY12361" fmla="*/ 4675076 h 5973007"/>
              <a:gd name="connsiteX12362" fmla="*/ 1851746 w 6884782"/>
              <a:gd name="connsiteY12362" fmla="*/ 4674353 h 5973007"/>
              <a:gd name="connsiteX12363" fmla="*/ 1857013 w 6884782"/>
              <a:gd name="connsiteY12363" fmla="*/ 4678174 h 5973007"/>
              <a:gd name="connsiteX12364" fmla="*/ 1852985 w 6884782"/>
              <a:gd name="connsiteY12364" fmla="*/ 4677348 h 5973007"/>
              <a:gd name="connsiteX12365" fmla="*/ 1850817 w 6884782"/>
              <a:gd name="connsiteY12365" fmla="*/ 4676625 h 5973007"/>
              <a:gd name="connsiteX12366" fmla="*/ 1848958 w 6884782"/>
              <a:gd name="connsiteY12366" fmla="*/ 4676625 h 5973007"/>
              <a:gd name="connsiteX12367" fmla="*/ 1846325 w 6884782"/>
              <a:gd name="connsiteY12367" fmla="*/ 4674353 h 5973007"/>
              <a:gd name="connsiteX12368" fmla="*/ 6652128 w 6884782"/>
              <a:gd name="connsiteY12368" fmla="*/ 4674062 h 5973007"/>
              <a:gd name="connsiteX12369" fmla="*/ 6652902 w 6884782"/>
              <a:gd name="connsiteY12369" fmla="*/ 4674474 h 5973007"/>
              <a:gd name="connsiteX12370" fmla="*/ 6651043 w 6884782"/>
              <a:gd name="connsiteY12370" fmla="*/ 4683354 h 5973007"/>
              <a:gd name="connsiteX12371" fmla="*/ 6649339 w 6884782"/>
              <a:gd name="connsiteY12371" fmla="*/ 4686039 h 5973007"/>
              <a:gd name="connsiteX12372" fmla="*/ 6649804 w 6884782"/>
              <a:gd name="connsiteY12372" fmla="*/ 4685213 h 5973007"/>
              <a:gd name="connsiteX12373" fmla="*/ 6648720 w 6884782"/>
              <a:gd name="connsiteY12373" fmla="*/ 4685626 h 5973007"/>
              <a:gd name="connsiteX12374" fmla="*/ 6652128 w 6884782"/>
              <a:gd name="connsiteY12374" fmla="*/ 4674062 h 5973007"/>
              <a:gd name="connsiteX12375" fmla="*/ 1694063 w 6884782"/>
              <a:gd name="connsiteY12375" fmla="*/ 4674044 h 5973007"/>
              <a:gd name="connsiteX12376" fmla="*/ 1693597 w 6884782"/>
              <a:gd name="connsiteY12376" fmla="*/ 4675282 h 5973007"/>
              <a:gd name="connsiteX12377" fmla="*/ 1681670 w 6884782"/>
              <a:gd name="connsiteY12377" fmla="*/ 4679723 h 5973007"/>
              <a:gd name="connsiteX12378" fmla="*/ 1686317 w 6884782"/>
              <a:gd name="connsiteY12378" fmla="*/ 4675799 h 5973007"/>
              <a:gd name="connsiteX12379" fmla="*/ 1694063 w 6884782"/>
              <a:gd name="connsiteY12379" fmla="*/ 4674044 h 5973007"/>
              <a:gd name="connsiteX12380" fmla="*/ 1504779 w 6884782"/>
              <a:gd name="connsiteY12380" fmla="*/ 4673527 h 5973007"/>
              <a:gd name="connsiteX12381" fmla="*/ 1509735 w 6884782"/>
              <a:gd name="connsiteY12381" fmla="*/ 4681375 h 5973007"/>
              <a:gd name="connsiteX12382" fmla="*/ 1505243 w 6884782"/>
              <a:gd name="connsiteY12382" fmla="*/ 4681478 h 5973007"/>
              <a:gd name="connsiteX12383" fmla="*/ 1496724 w 6884782"/>
              <a:gd name="connsiteY12383" fmla="*/ 4673837 h 5973007"/>
              <a:gd name="connsiteX12384" fmla="*/ 1504779 w 6884782"/>
              <a:gd name="connsiteY12384" fmla="*/ 4673527 h 5973007"/>
              <a:gd name="connsiteX12385" fmla="*/ 1138449 w 6884782"/>
              <a:gd name="connsiteY12385" fmla="*/ 4672495 h 5973007"/>
              <a:gd name="connsiteX12386" fmla="*/ 1139533 w 6884782"/>
              <a:gd name="connsiteY12386" fmla="*/ 4674147 h 5973007"/>
              <a:gd name="connsiteX12387" fmla="*/ 1141082 w 6884782"/>
              <a:gd name="connsiteY12387" fmla="*/ 4678483 h 5973007"/>
              <a:gd name="connsiteX12388" fmla="*/ 1138604 w 6884782"/>
              <a:gd name="connsiteY12388" fmla="*/ 4680239 h 5973007"/>
              <a:gd name="connsiteX12389" fmla="*/ 1135041 w 6884782"/>
              <a:gd name="connsiteY12389" fmla="*/ 4678793 h 5973007"/>
              <a:gd name="connsiteX12390" fmla="*/ 1130859 w 6884782"/>
              <a:gd name="connsiteY12390" fmla="*/ 4672908 h 5973007"/>
              <a:gd name="connsiteX12391" fmla="*/ 1138449 w 6884782"/>
              <a:gd name="connsiteY12391" fmla="*/ 4672495 h 5973007"/>
              <a:gd name="connsiteX12392" fmla="*/ 6092952 w 6884782"/>
              <a:gd name="connsiteY12392" fmla="*/ 4671893 h 5973007"/>
              <a:gd name="connsiteX12393" fmla="*/ 6095431 w 6884782"/>
              <a:gd name="connsiteY12393" fmla="*/ 4674784 h 5973007"/>
              <a:gd name="connsiteX12394" fmla="*/ 6088615 w 6884782"/>
              <a:gd name="connsiteY12394" fmla="*/ 4682012 h 5973007"/>
              <a:gd name="connsiteX12395" fmla="*/ 6084898 w 6884782"/>
              <a:gd name="connsiteY12395" fmla="*/ 4677675 h 5973007"/>
              <a:gd name="connsiteX12396" fmla="*/ 6092952 w 6884782"/>
              <a:gd name="connsiteY12396" fmla="*/ 4671893 h 5973007"/>
              <a:gd name="connsiteX12397" fmla="*/ 827262 w 6884782"/>
              <a:gd name="connsiteY12397" fmla="*/ 4671875 h 5973007"/>
              <a:gd name="connsiteX12398" fmla="*/ 831599 w 6884782"/>
              <a:gd name="connsiteY12398" fmla="*/ 4674560 h 5973007"/>
              <a:gd name="connsiteX12399" fmla="*/ 832219 w 6884782"/>
              <a:gd name="connsiteY12399" fmla="*/ 4677038 h 5973007"/>
              <a:gd name="connsiteX12400" fmla="*/ 837021 w 6884782"/>
              <a:gd name="connsiteY12400" fmla="*/ 4678897 h 5973007"/>
              <a:gd name="connsiteX12401" fmla="*/ 839344 w 6884782"/>
              <a:gd name="connsiteY12401" fmla="*/ 4683956 h 5973007"/>
              <a:gd name="connsiteX12402" fmla="*/ 837021 w 6884782"/>
              <a:gd name="connsiteY12402" fmla="*/ 4684989 h 5973007"/>
              <a:gd name="connsiteX12403" fmla="*/ 832065 w 6884782"/>
              <a:gd name="connsiteY12403" fmla="*/ 4682820 h 5973007"/>
              <a:gd name="connsiteX12404" fmla="*/ 831290 w 6884782"/>
              <a:gd name="connsiteY12404" fmla="*/ 4684989 h 5973007"/>
              <a:gd name="connsiteX12405" fmla="*/ 828191 w 6884782"/>
              <a:gd name="connsiteY12405" fmla="*/ 4687157 h 5973007"/>
              <a:gd name="connsiteX12406" fmla="*/ 826953 w 6884782"/>
              <a:gd name="connsiteY12406" fmla="*/ 4687157 h 5973007"/>
              <a:gd name="connsiteX12407" fmla="*/ 827108 w 6884782"/>
              <a:gd name="connsiteY12407" fmla="*/ 4688190 h 5973007"/>
              <a:gd name="connsiteX12408" fmla="*/ 824629 w 6884782"/>
              <a:gd name="connsiteY12408" fmla="*/ 4689429 h 5973007"/>
              <a:gd name="connsiteX12409" fmla="*/ 823545 w 6884782"/>
              <a:gd name="connsiteY12409" fmla="*/ 4691081 h 5973007"/>
              <a:gd name="connsiteX12410" fmla="*/ 820912 w 6884782"/>
              <a:gd name="connsiteY12410" fmla="*/ 4691494 h 5973007"/>
              <a:gd name="connsiteX12411" fmla="*/ 819517 w 6884782"/>
              <a:gd name="connsiteY12411" fmla="*/ 4689325 h 5973007"/>
              <a:gd name="connsiteX12412" fmla="*/ 819363 w 6884782"/>
              <a:gd name="connsiteY12412" fmla="*/ 4688912 h 5973007"/>
              <a:gd name="connsiteX12413" fmla="*/ 817969 w 6884782"/>
              <a:gd name="connsiteY12413" fmla="*/ 4689532 h 5973007"/>
              <a:gd name="connsiteX12414" fmla="*/ 817039 w 6884782"/>
              <a:gd name="connsiteY12414" fmla="*/ 4687777 h 5973007"/>
              <a:gd name="connsiteX12415" fmla="*/ 818743 w 6884782"/>
              <a:gd name="connsiteY12415" fmla="*/ 4686434 h 5973007"/>
              <a:gd name="connsiteX12416" fmla="*/ 818434 w 6884782"/>
              <a:gd name="connsiteY12416" fmla="*/ 4685711 h 5973007"/>
              <a:gd name="connsiteX12417" fmla="*/ 818743 w 6884782"/>
              <a:gd name="connsiteY12417" fmla="*/ 4682924 h 5973007"/>
              <a:gd name="connsiteX12418" fmla="*/ 818434 w 6884782"/>
              <a:gd name="connsiteY12418" fmla="*/ 4682717 h 5973007"/>
              <a:gd name="connsiteX12419" fmla="*/ 818123 w 6884782"/>
              <a:gd name="connsiteY12419" fmla="*/ 4674044 h 5973007"/>
              <a:gd name="connsiteX12420" fmla="*/ 827262 w 6884782"/>
              <a:gd name="connsiteY12420" fmla="*/ 4671875 h 5973007"/>
              <a:gd name="connsiteX12421" fmla="*/ 1360880 w 6884782"/>
              <a:gd name="connsiteY12421" fmla="*/ 4671669 h 5973007"/>
              <a:gd name="connsiteX12422" fmla="*/ 1364598 w 6884782"/>
              <a:gd name="connsiteY12422" fmla="*/ 4673527 h 5973007"/>
              <a:gd name="connsiteX12423" fmla="*/ 1365062 w 6884782"/>
              <a:gd name="connsiteY12423" fmla="*/ 4675076 h 5973007"/>
              <a:gd name="connsiteX12424" fmla="*/ 1368315 w 6884782"/>
              <a:gd name="connsiteY12424" fmla="*/ 4677967 h 5973007"/>
              <a:gd name="connsiteX12425" fmla="*/ 1370019 w 6884782"/>
              <a:gd name="connsiteY12425" fmla="*/ 4678483 h 5973007"/>
              <a:gd name="connsiteX12426" fmla="*/ 1369709 w 6884782"/>
              <a:gd name="connsiteY12426" fmla="*/ 4679206 h 5973007"/>
              <a:gd name="connsiteX12427" fmla="*/ 1370638 w 6884782"/>
              <a:gd name="connsiteY12427" fmla="*/ 4680136 h 5973007"/>
              <a:gd name="connsiteX12428" fmla="*/ 1373117 w 6884782"/>
              <a:gd name="connsiteY12428" fmla="*/ 4684473 h 5973007"/>
              <a:gd name="connsiteX12429" fmla="*/ 1375905 w 6884782"/>
              <a:gd name="connsiteY12429" fmla="*/ 4683749 h 5973007"/>
              <a:gd name="connsiteX12430" fmla="*/ 1377454 w 6884782"/>
              <a:gd name="connsiteY12430" fmla="*/ 4684679 h 5973007"/>
              <a:gd name="connsiteX12431" fmla="*/ 1376680 w 6884782"/>
              <a:gd name="connsiteY12431" fmla="*/ 4687054 h 5973007"/>
              <a:gd name="connsiteX12432" fmla="*/ 1375130 w 6884782"/>
              <a:gd name="connsiteY12432" fmla="*/ 4688500 h 5973007"/>
              <a:gd name="connsiteX12433" fmla="*/ 1376680 w 6884782"/>
              <a:gd name="connsiteY12433" fmla="*/ 4693766 h 5973007"/>
              <a:gd name="connsiteX12434" fmla="*/ 1366301 w 6884782"/>
              <a:gd name="connsiteY12434" fmla="*/ 4685815 h 5973007"/>
              <a:gd name="connsiteX12435" fmla="*/ 1362739 w 6884782"/>
              <a:gd name="connsiteY12435" fmla="*/ 4681994 h 5973007"/>
              <a:gd name="connsiteX12436" fmla="*/ 1360880 w 6884782"/>
              <a:gd name="connsiteY12436" fmla="*/ 4683234 h 5973007"/>
              <a:gd name="connsiteX12437" fmla="*/ 1359331 w 6884782"/>
              <a:gd name="connsiteY12437" fmla="*/ 4682201 h 5973007"/>
              <a:gd name="connsiteX12438" fmla="*/ 1357937 w 6884782"/>
              <a:gd name="connsiteY12438" fmla="*/ 4680652 h 5973007"/>
              <a:gd name="connsiteX12439" fmla="*/ 1357163 w 6884782"/>
              <a:gd name="connsiteY12439" fmla="*/ 4678690 h 5973007"/>
              <a:gd name="connsiteX12440" fmla="*/ 1357163 w 6884782"/>
              <a:gd name="connsiteY12440" fmla="*/ 4675902 h 5973007"/>
              <a:gd name="connsiteX12441" fmla="*/ 1359331 w 6884782"/>
              <a:gd name="connsiteY12441" fmla="*/ 4672495 h 5973007"/>
              <a:gd name="connsiteX12442" fmla="*/ 1360880 w 6884782"/>
              <a:gd name="connsiteY12442" fmla="*/ 4671669 h 5973007"/>
              <a:gd name="connsiteX12443" fmla="*/ 1746882 w 6884782"/>
              <a:gd name="connsiteY12443" fmla="*/ 4671256 h 5973007"/>
              <a:gd name="connsiteX12444" fmla="*/ 1753232 w 6884782"/>
              <a:gd name="connsiteY12444" fmla="*/ 4675592 h 5973007"/>
              <a:gd name="connsiteX12445" fmla="*/ 1747191 w 6884782"/>
              <a:gd name="connsiteY12445" fmla="*/ 4672805 h 5973007"/>
              <a:gd name="connsiteX12446" fmla="*/ 1746882 w 6884782"/>
              <a:gd name="connsiteY12446" fmla="*/ 4671256 h 5973007"/>
              <a:gd name="connsiteX12447" fmla="*/ 900064 w 6884782"/>
              <a:gd name="connsiteY12447" fmla="*/ 4670739 h 5973007"/>
              <a:gd name="connsiteX12448" fmla="*/ 900218 w 6884782"/>
              <a:gd name="connsiteY12448" fmla="*/ 4674250 h 5973007"/>
              <a:gd name="connsiteX12449" fmla="*/ 894023 w 6884782"/>
              <a:gd name="connsiteY12449" fmla="*/ 4677967 h 5973007"/>
              <a:gd name="connsiteX12450" fmla="*/ 892009 w 6884782"/>
              <a:gd name="connsiteY12450" fmla="*/ 4677348 h 5973007"/>
              <a:gd name="connsiteX12451" fmla="*/ 892628 w 6884782"/>
              <a:gd name="connsiteY12451" fmla="*/ 4673011 h 5973007"/>
              <a:gd name="connsiteX12452" fmla="*/ 900064 w 6884782"/>
              <a:gd name="connsiteY12452" fmla="*/ 4670739 h 5973007"/>
              <a:gd name="connsiteX12453" fmla="*/ 703249 w 6884782"/>
              <a:gd name="connsiteY12453" fmla="*/ 4670417 h 5973007"/>
              <a:gd name="connsiteX12454" fmla="*/ 708612 w 6884782"/>
              <a:gd name="connsiteY12454" fmla="*/ 4675282 h 5973007"/>
              <a:gd name="connsiteX12455" fmla="*/ 705824 w 6884782"/>
              <a:gd name="connsiteY12455" fmla="*/ 4682304 h 5973007"/>
              <a:gd name="connsiteX12456" fmla="*/ 700247 w 6884782"/>
              <a:gd name="connsiteY12456" fmla="*/ 4684163 h 5973007"/>
              <a:gd name="connsiteX12457" fmla="*/ 695755 w 6884782"/>
              <a:gd name="connsiteY12457" fmla="*/ 4681684 h 5973007"/>
              <a:gd name="connsiteX12458" fmla="*/ 694361 w 6884782"/>
              <a:gd name="connsiteY12458" fmla="*/ 4678071 h 5973007"/>
              <a:gd name="connsiteX12459" fmla="*/ 694361 w 6884782"/>
              <a:gd name="connsiteY12459" fmla="*/ 4677864 h 5973007"/>
              <a:gd name="connsiteX12460" fmla="*/ 693277 w 6884782"/>
              <a:gd name="connsiteY12460" fmla="*/ 4678690 h 5973007"/>
              <a:gd name="connsiteX12461" fmla="*/ 691573 w 6884782"/>
              <a:gd name="connsiteY12461" fmla="*/ 4678587 h 5973007"/>
              <a:gd name="connsiteX12462" fmla="*/ 690489 w 6884782"/>
              <a:gd name="connsiteY12462" fmla="*/ 4676935 h 5973007"/>
              <a:gd name="connsiteX12463" fmla="*/ 690024 w 6884782"/>
              <a:gd name="connsiteY12463" fmla="*/ 4673424 h 5973007"/>
              <a:gd name="connsiteX12464" fmla="*/ 691418 w 6884782"/>
              <a:gd name="connsiteY12464" fmla="*/ 4671566 h 5973007"/>
              <a:gd name="connsiteX12465" fmla="*/ 693122 w 6884782"/>
              <a:gd name="connsiteY12465" fmla="*/ 4672391 h 5973007"/>
              <a:gd name="connsiteX12466" fmla="*/ 694826 w 6884782"/>
              <a:gd name="connsiteY12466" fmla="*/ 4672288 h 5973007"/>
              <a:gd name="connsiteX12467" fmla="*/ 694981 w 6884782"/>
              <a:gd name="connsiteY12467" fmla="*/ 4673114 h 5973007"/>
              <a:gd name="connsiteX12468" fmla="*/ 694826 w 6884782"/>
              <a:gd name="connsiteY12468" fmla="*/ 4673217 h 5973007"/>
              <a:gd name="connsiteX12469" fmla="*/ 695445 w 6884782"/>
              <a:gd name="connsiteY12469" fmla="*/ 4673734 h 5973007"/>
              <a:gd name="connsiteX12470" fmla="*/ 695910 w 6884782"/>
              <a:gd name="connsiteY12470" fmla="*/ 4671359 h 5973007"/>
              <a:gd name="connsiteX12471" fmla="*/ 703249 w 6884782"/>
              <a:gd name="connsiteY12471" fmla="*/ 4670417 h 5973007"/>
              <a:gd name="connsiteX12472" fmla="*/ 1116918 w 6884782"/>
              <a:gd name="connsiteY12472" fmla="*/ 4670326 h 5973007"/>
              <a:gd name="connsiteX12473" fmla="*/ 1122649 w 6884782"/>
              <a:gd name="connsiteY12473" fmla="*/ 4676109 h 5973007"/>
              <a:gd name="connsiteX12474" fmla="*/ 1118777 w 6884782"/>
              <a:gd name="connsiteY12474" fmla="*/ 4681891 h 5973007"/>
              <a:gd name="connsiteX12475" fmla="*/ 1117074 w 6884782"/>
              <a:gd name="connsiteY12475" fmla="*/ 4680858 h 5973007"/>
              <a:gd name="connsiteX12476" fmla="*/ 1115369 w 6884782"/>
              <a:gd name="connsiteY12476" fmla="*/ 4679310 h 5973007"/>
              <a:gd name="connsiteX12477" fmla="*/ 1113820 w 6884782"/>
              <a:gd name="connsiteY12477" fmla="*/ 4674457 h 5973007"/>
              <a:gd name="connsiteX12478" fmla="*/ 1115524 w 6884782"/>
              <a:gd name="connsiteY12478" fmla="*/ 4671152 h 5973007"/>
              <a:gd name="connsiteX12479" fmla="*/ 1116918 w 6884782"/>
              <a:gd name="connsiteY12479" fmla="*/ 4670326 h 5973007"/>
              <a:gd name="connsiteX12480" fmla="*/ 1648833 w 6884782"/>
              <a:gd name="connsiteY12480" fmla="*/ 4669810 h 5973007"/>
              <a:gd name="connsiteX12481" fmla="*/ 1659365 w 6884782"/>
              <a:gd name="connsiteY12481" fmla="*/ 4680858 h 5973007"/>
              <a:gd name="connsiteX12482" fmla="*/ 1658590 w 6884782"/>
              <a:gd name="connsiteY12482" fmla="*/ 4681272 h 5973007"/>
              <a:gd name="connsiteX12483" fmla="*/ 1662463 w 6884782"/>
              <a:gd name="connsiteY12483" fmla="*/ 4684885 h 5973007"/>
              <a:gd name="connsiteX12484" fmla="*/ 1652240 w 6884782"/>
              <a:gd name="connsiteY12484" fmla="*/ 4692940 h 5973007"/>
              <a:gd name="connsiteX12485" fmla="*/ 1650381 w 6884782"/>
              <a:gd name="connsiteY12485" fmla="*/ 4693456 h 5973007"/>
              <a:gd name="connsiteX12486" fmla="*/ 1650846 w 6884782"/>
              <a:gd name="connsiteY12486" fmla="*/ 4694178 h 5973007"/>
              <a:gd name="connsiteX12487" fmla="*/ 1649607 w 6884782"/>
              <a:gd name="connsiteY12487" fmla="*/ 4693869 h 5973007"/>
              <a:gd name="connsiteX12488" fmla="*/ 1649452 w 6884782"/>
              <a:gd name="connsiteY12488" fmla="*/ 4693972 h 5973007"/>
              <a:gd name="connsiteX12489" fmla="*/ 1648677 w 6884782"/>
              <a:gd name="connsiteY12489" fmla="*/ 4694385 h 5973007"/>
              <a:gd name="connsiteX12490" fmla="*/ 1645270 w 6884782"/>
              <a:gd name="connsiteY12490" fmla="*/ 4694178 h 5973007"/>
              <a:gd name="connsiteX12491" fmla="*/ 1644495 w 6884782"/>
              <a:gd name="connsiteY12491" fmla="*/ 4692113 h 5973007"/>
              <a:gd name="connsiteX12492" fmla="*/ 1647128 w 6884782"/>
              <a:gd name="connsiteY12492" fmla="*/ 4687467 h 5973007"/>
              <a:gd name="connsiteX12493" fmla="*/ 1640932 w 6884782"/>
              <a:gd name="connsiteY12493" fmla="*/ 4673631 h 5973007"/>
              <a:gd name="connsiteX12494" fmla="*/ 1648833 w 6884782"/>
              <a:gd name="connsiteY12494" fmla="*/ 4669810 h 5973007"/>
              <a:gd name="connsiteX12495" fmla="*/ 5996607 w 6884782"/>
              <a:gd name="connsiteY12495" fmla="*/ 4669415 h 5973007"/>
              <a:gd name="connsiteX12496" fmla="*/ 5997071 w 6884782"/>
              <a:gd name="connsiteY12496" fmla="*/ 4672926 h 5973007"/>
              <a:gd name="connsiteX12497" fmla="*/ 5991340 w 6884782"/>
              <a:gd name="connsiteY12497" fmla="*/ 4677366 h 5973007"/>
              <a:gd name="connsiteX12498" fmla="*/ 5989327 w 6884782"/>
              <a:gd name="connsiteY12498" fmla="*/ 4676953 h 5973007"/>
              <a:gd name="connsiteX12499" fmla="*/ 5989481 w 6884782"/>
              <a:gd name="connsiteY12499" fmla="*/ 4672512 h 5973007"/>
              <a:gd name="connsiteX12500" fmla="*/ 5996607 w 6884782"/>
              <a:gd name="connsiteY12500" fmla="*/ 4669415 h 5973007"/>
              <a:gd name="connsiteX12501" fmla="*/ 5906612 w 6884782"/>
              <a:gd name="connsiteY12501" fmla="*/ 4668899 h 5973007"/>
              <a:gd name="connsiteX12502" fmla="*/ 5912498 w 6884782"/>
              <a:gd name="connsiteY12502" fmla="*/ 4673648 h 5973007"/>
              <a:gd name="connsiteX12503" fmla="*/ 5912033 w 6884782"/>
              <a:gd name="connsiteY12503" fmla="*/ 4678811 h 5973007"/>
              <a:gd name="connsiteX12504" fmla="*/ 5906302 w 6884782"/>
              <a:gd name="connsiteY12504" fmla="*/ 4684697 h 5973007"/>
              <a:gd name="connsiteX12505" fmla="*/ 5903359 w 6884782"/>
              <a:gd name="connsiteY12505" fmla="*/ 4681806 h 5973007"/>
              <a:gd name="connsiteX12506" fmla="*/ 5906612 w 6884782"/>
              <a:gd name="connsiteY12506" fmla="*/ 4668899 h 5973007"/>
              <a:gd name="connsiteX12507" fmla="*/ 1462182 w 6884782"/>
              <a:gd name="connsiteY12507" fmla="*/ 4668777 h 5973007"/>
              <a:gd name="connsiteX12508" fmla="*/ 1466984 w 6884782"/>
              <a:gd name="connsiteY12508" fmla="*/ 4673011 h 5973007"/>
              <a:gd name="connsiteX12509" fmla="*/ 1463576 w 6884782"/>
              <a:gd name="connsiteY12509" fmla="*/ 4675282 h 5973007"/>
              <a:gd name="connsiteX12510" fmla="*/ 1459239 w 6884782"/>
              <a:gd name="connsiteY12510" fmla="*/ 4672908 h 5973007"/>
              <a:gd name="connsiteX12511" fmla="*/ 1455986 w 6884782"/>
              <a:gd name="connsiteY12511" fmla="*/ 4671772 h 5973007"/>
              <a:gd name="connsiteX12512" fmla="*/ 1454902 w 6884782"/>
              <a:gd name="connsiteY12512" fmla="*/ 4669294 h 5973007"/>
              <a:gd name="connsiteX12513" fmla="*/ 1462182 w 6884782"/>
              <a:gd name="connsiteY12513" fmla="*/ 4668777 h 5973007"/>
              <a:gd name="connsiteX12514" fmla="*/ 6301288 w 6884782"/>
              <a:gd name="connsiteY12514" fmla="*/ 4668692 h 5973007"/>
              <a:gd name="connsiteX12515" fmla="*/ 6309187 w 6884782"/>
              <a:gd name="connsiteY12515" fmla="*/ 4671583 h 5973007"/>
              <a:gd name="connsiteX12516" fmla="*/ 6297261 w 6884782"/>
              <a:gd name="connsiteY12516" fmla="*/ 4689034 h 5973007"/>
              <a:gd name="connsiteX12517" fmla="*/ 6294937 w 6884782"/>
              <a:gd name="connsiteY12517" fmla="*/ 4684180 h 5973007"/>
              <a:gd name="connsiteX12518" fmla="*/ 6296641 w 6884782"/>
              <a:gd name="connsiteY12518" fmla="*/ 4675610 h 5973007"/>
              <a:gd name="connsiteX12519" fmla="*/ 6297725 w 6884782"/>
              <a:gd name="connsiteY12519" fmla="*/ 4674062 h 5973007"/>
              <a:gd name="connsiteX12520" fmla="*/ 6297880 w 6884782"/>
              <a:gd name="connsiteY12520" fmla="*/ 4673442 h 5973007"/>
              <a:gd name="connsiteX12521" fmla="*/ 6298809 w 6884782"/>
              <a:gd name="connsiteY12521" fmla="*/ 4672512 h 5973007"/>
              <a:gd name="connsiteX12522" fmla="*/ 6237006 w 6884782"/>
              <a:gd name="connsiteY12522" fmla="*/ 4668589 h 5973007"/>
              <a:gd name="connsiteX12523" fmla="*/ 6236696 w 6884782"/>
              <a:gd name="connsiteY12523" fmla="*/ 4673029 h 5973007"/>
              <a:gd name="connsiteX12524" fmla="*/ 6233598 w 6884782"/>
              <a:gd name="connsiteY12524" fmla="*/ 4675094 h 5973007"/>
              <a:gd name="connsiteX12525" fmla="*/ 6229726 w 6884782"/>
              <a:gd name="connsiteY12525" fmla="*/ 4674681 h 5973007"/>
              <a:gd name="connsiteX12526" fmla="*/ 6230500 w 6884782"/>
              <a:gd name="connsiteY12526" fmla="*/ 4674681 h 5973007"/>
              <a:gd name="connsiteX12527" fmla="*/ 6230810 w 6884782"/>
              <a:gd name="connsiteY12527" fmla="*/ 4672926 h 5973007"/>
              <a:gd name="connsiteX12528" fmla="*/ 6229881 w 6884782"/>
              <a:gd name="connsiteY12528" fmla="*/ 4672822 h 5973007"/>
              <a:gd name="connsiteX12529" fmla="*/ 6230810 w 6884782"/>
              <a:gd name="connsiteY12529" fmla="*/ 4671170 h 5973007"/>
              <a:gd name="connsiteX12530" fmla="*/ 6237006 w 6884782"/>
              <a:gd name="connsiteY12530" fmla="*/ 4668589 h 5973007"/>
              <a:gd name="connsiteX12531" fmla="*/ 6785610 w 6884782"/>
              <a:gd name="connsiteY12531" fmla="*/ 4667879 h 5973007"/>
              <a:gd name="connsiteX12532" fmla="*/ 6792464 w 6884782"/>
              <a:gd name="connsiteY12532" fmla="*/ 4673235 h 5973007"/>
              <a:gd name="connsiteX12533" fmla="*/ 6782550 w 6884782"/>
              <a:gd name="connsiteY12533" fmla="*/ 4680050 h 5973007"/>
              <a:gd name="connsiteX12534" fmla="*/ 6778833 w 6884782"/>
              <a:gd name="connsiteY12534" fmla="*/ 4679740 h 5973007"/>
              <a:gd name="connsiteX12535" fmla="*/ 6776664 w 6884782"/>
              <a:gd name="connsiteY12535" fmla="*/ 4669725 h 5973007"/>
              <a:gd name="connsiteX12536" fmla="*/ 6785610 w 6884782"/>
              <a:gd name="connsiteY12536" fmla="*/ 4667879 h 5973007"/>
              <a:gd name="connsiteX12537" fmla="*/ 874970 w 6884782"/>
              <a:gd name="connsiteY12537" fmla="*/ 4667745 h 5973007"/>
              <a:gd name="connsiteX12538" fmla="*/ 876519 w 6884782"/>
              <a:gd name="connsiteY12538" fmla="*/ 4667745 h 5973007"/>
              <a:gd name="connsiteX12539" fmla="*/ 875745 w 6884782"/>
              <a:gd name="connsiteY12539" fmla="*/ 4668468 h 5973007"/>
              <a:gd name="connsiteX12540" fmla="*/ 874970 w 6884782"/>
              <a:gd name="connsiteY12540" fmla="*/ 4667745 h 5973007"/>
              <a:gd name="connsiteX12541" fmla="*/ 1802954 w 6884782"/>
              <a:gd name="connsiteY12541" fmla="*/ 4667538 h 5973007"/>
              <a:gd name="connsiteX12542" fmla="*/ 1804503 w 6884782"/>
              <a:gd name="connsiteY12542" fmla="*/ 4668365 h 5973007"/>
              <a:gd name="connsiteX12543" fmla="*/ 1804194 w 6884782"/>
              <a:gd name="connsiteY12543" fmla="*/ 4668674 h 5973007"/>
              <a:gd name="connsiteX12544" fmla="*/ 1802954 w 6884782"/>
              <a:gd name="connsiteY12544" fmla="*/ 4668365 h 5973007"/>
              <a:gd name="connsiteX12545" fmla="*/ 1802954 w 6884782"/>
              <a:gd name="connsiteY12545" fmla="*/ 4667538 h 5973007"/>
              <a:gd name="connsiteX12546" fmla="*/ 909202 w 6884782"/>
              <a:gd name="connsiteY12546" fmla="*/ 4667538 h 5973007"/>
              <a:gd name="connsiteX12547" fmla="*/ 909202 w 6884782"/>
              <a:gd name="connsiteY12547" fmla="*/ 4670326 h 5973007"/>
              <a:gd name="connsiteX12548" fmla="*/ 907653 w 6884782"/>
              <a:gd name="connsiteY12548" fmla="*/ 4671152 h 5973007"/>
              <a:gd name="connsiteX12549" fmla="*/ 907034 w 6884782"/>
              <a:gd name="connsiteY12549" fmla="*/ 4673734 h 5973007"/>
              <a:gd name="connsiteX12550" fmla="*/ 905330 w 6884782"/>
              <a:gd name="connsiteY12550" fmla="*/ 4673734 h 5973007"/>
              <a:gd name="connsiteX12551" fmla="*/ 906724 w 6884782"/>
              <a:gd name="connsiteY12551" fmla="*/ 4668365 h 5973007"/>
              <a:gd name="connsiteX12552" fmla="*/ 909202 w 6884782"/>
              <a:gd name="connsiteY12552" fmla="*/ 4667538 h 5973007"/>
              <a:gd name="connsiteX12553" fmla="*/ 1813952 w 6884782"/>
              <a:gd name="connsiteY12553" fmla="*/ 4667022 h 5973007"/>
              <a:gd name="connsiteX12554" fmla="*/ 1816120 w 6884782"/>
              <a:gd name="connsiteY12554" fmla="*/ 4667642 h 5973007"/>
              <a:gd name="connsiteX12555" fmla="*/ 1818134 w 6884782"/>
              <a:gd name="connsiteY12555" fmla="*/ 4667435 h 5973007"/>
              <a:gd name="connsiteX12556" fmla="*/ 1822626 w 6884782"/>
              <a:gd name="connsiteY12556" fmla="*/ 4670430 h 5973007"/>
              <a:gd name="connsiteX12557" fmla="*/ 1806052 w 6884782"/>
              <a:gd name="connsiteY12557" fmla="*/ 4674870 h 5973007"/>
              <a:gd name="connsiteX12558" fmla="*/ 1804194 w 6884782"/>
              <a:gd name="connsiteY12558" fmla="*/ 4674457 h 5973007"/>
              <a:gd name="connsiteX12559" fmla="*/ 1803729 w 6884782"/>
              <a:gd name="connsiteY12559" fmla="*/ 4672391 h 5973007"/>
              <a:gd name="connsiteX12560" fmla="*/ 1813952 w 6884782"/>
              <a:gd name="connsiteY12560" fmla="*/ 4667022 h 5973007"/>
              <a:gd name="connsiteX12561" fmla="*/ 1676869 w 6884782"/>
              <a:gd name="connsiteY12561" fmla="*/ 4667022 h 5973007"/>
              <a:gd name="connsiteX12562" fmla="*/ 1680741 w 6884782"/>
              <a:gd name="connsiteY12562" fmla="*/ 4668881 h 5973007"/>
              <a:gd name="connsiteX12563" fmla="*/ 1680121 w 6884782"/>
              <a:gd name="connsiteY12563" fmla="*/ 4671152 h 5973007"/>
              <a:gd name="connsiteX12564" fmla="*/ 1681670 w 6884782"/>
              <a:gd name="connsiteY12564" fmla="*/ 4670946 h 5973007"/>
              <a:gd name="connsiteX12565" fmla="*/ 1680276 w 6884782"/>
              <a:gd name="connsiteY12565" fmla="*/ 4675696 h 5973007"/>
              <a:gd name="connsiteX12566" fmla="*/ 1680276 w 6884782"/>
              <a:gd name="connsiteY12566" fmla="*/ 4677657 h 5973007"/>
              <a:gd name="connsiteX12567" fmla="*/ 1678727 w 6884782"/>
              <a:gd name="connsiteY12567" fmla="*/ 4676625 h 5973007"/>
              <a:gd name="connsiteX12568" fmla="*/ 1680276 w 6884782"/>
              <a:gd name="connsiteY12568" fmla="*/ 4673734 h 5973007"/>
              <a:gd name="connsiteX12569" fmla="*/ 1678727 w 6884782"/>
              <a:gd name="connsiteY12569" fmla="*/ 4672701 h 5973007"/>
              <a:gd name="connsiteX12570" fmla="*/ 1679038 w 6884782"/>
              <a:gd name="connsiteY12570" fmla="*/ 4671462 h 5973007"/>
              <a:gd name="connsiteX12571" fmla="*/ 1679192 w 6884782"/>
              <a:gd name="connsiteY12571" fmla="*/ 4671359 h 5973007"/>
              <a:gd name="connsiteX12572" fmla="*/ 1679038 w 6884782"/>
              <a:gd name="connsiteY12572" fmla="*/ 4671152 h 5973007"/>
              <a:gd name="connsiteX12573" fmla="*/ 1679038 w 6884782"/>
              <a:gd name="connsiteY12573" fmla="*/ 4671462 h 5973007"/>
              <a:gd name="connsiteX12574" fmla="*/ 1671602 w 6884782"/>
              <a:gd name="connsiteY12574" fmla="*/ 4675592 h 5973007"/>
              <a:gd name="connsiteX12575" fmla="*/ 1671447 w 6884782"/>
              <a:gd name="connsiteY12575" fmla="*/ 4676625 h 5973007"/>
              <a:gd name="connsiteX12576" fmla="*/ 1672222 w 6884782"/>
              <a:gd name="connsiteY12576" fmla="*/ 4677038 h 5973007"/>
              <a:gd name="connsiteX12577" fmla="*/ 1674545 w 6884782"/>
              <a:gd name="connsiteY12577" fmla="*/ 4676418 h 5973007"/>
              <a:gd name="connsiteX12578" fmla="*/ 1681206 w 6884782"/>
              <a:gd name="connsiteY12578" fmla="*/ 4680755 h 5973007"/>
              <a:gd name="connsiteX12579" fmla="*/ 1680586 w 6884782"/>
              <a:gd name="connsiteY12579" fmla="*/ 4683337 h 5973007"/>
              <a:gd name="connsiteX12580" fmla="*/ 1680121 w 6884782"/>
              <a:gd name="connsiteY12580" fmla="*/ 4685918 h 5973007"/>
              <a:gd name="connsiteX12581" fmla="*/ 1680431 w 6884782"/>
              <a:gd name="connsiteY12581" fmla="*/ 4684782 h 5973007"/>
              <a:gd name="connsiteX12582" fmla="*/ 1684149 w 6884782"/>
              <a:gd name="connsiteY12582" fmla="*/ 4683234 h 5973007"/>
              <a:gd name="connsiteX12583" fmla="*/ 1682599 w 6884782"/>
              <a:gd name="connsiteY12583" fmla="*/ 4689842 h 5973007"/>
              <a:gd name="connsiteX12584" fmla="*/ 1679192 w 6884782"/>
              <a:gd name="connsiteY12584" fmla="*/ 4689635 h 5973007"/>
              <a:gd name="connsiteX12585" fmla="*/ 1679192 w 6884782"/>
              <a:gd name="connsiteY12585" fmla="*/ 4689739 h 5973007"/>
              <a:gd name="connsiteX12586" fmla="*/ 1678727 w 6884782"/>
              <a:gd name="connsiteY12586" fmla="*/ 4693456 h 5973007"/>
              <a:gd name="connsiteX12587" fmla="*/ 1677953 w 6884782"/>
              <a:gd name="connsiteY12587" fmla="*/ 4693869 h 5973007"/>
              <a:gd name="connsiteX12588" fmla="*/ 1676404 w 6884782"/>
              <a:gd name="connsiteY12588" fmla="*/ 4692630 h 5973007"/>
              <a:gd name="connsiteX12589" fmla="*/ 1676404 w 6884782"/>
              <a:gd name="connsiteY12589" fmla="*/ 4691287 h 5973007"/>
              <a:gd name="connsiteX12590" fmla="*/ 1673461 w 6884782"/>
              <a:gd name="connsiteY12590" fmla="*/ 4692940 h 5973007"/>
              <a:gd name="connsiteX12591" fmla="*/ 1665716 w 6884782"/>
              <a:gd name="connsiteY12591" fmla="*/ 4686950 h 5973007"/>
              <a:gd name="connsiteX12592" fmla="*/ 1669898 w 6884782"/>
              <a:gd name="connsiteY12592" fmla="*/ 4677657 h 5973007"/>
              <a:gd name="connsiteX12593" fmla="*/ 1669588 w 6884782"/>
              <a:gd name="connsiteY12593" fmla="*/ 4676935 h 5973007"/>
              <a:gd name="connsiteX12594" fmla="*/ 1668814 w 6884782"/>
              <a:gd name="connsiteY12594" fmla="*/ 4677657 h 5973007"/>
              <a:gd name="connsiteX12595" fmla="*/ 1668039 w 6884782"/>
              <a:gd name="connsiteY12595" fmla="*/ 4678380 h 5973007"/>
              <a:gd name="connsiteX12596" fmla="*/ 1666180 w 6884782"/>
              <a:gd name="connsiteY12596" fmla="*/ 4678587 h 5973007"/>
              <a:gd name="connsiteX12597" fmla="*/ 1660914 w 6884782"/>
              <a:gd name="connsiteY12597" fmla="*/ 4676006 h 5973007"/>
              <a:gd name="connsiteX12598" fmla="*/ 1672841 w 6884782"/>
              <a:gd name="connsiteY12598" fmla="*/ 4669810 h 5973007"/>
              <a:gd name="connsiteX12599" fmla="*/ 1675784 w 6884782"/>
              <a:gd name="connsiteY12599" fmla="*/ 4669604 h 5973007"/>
              <a:gd name="connsiteX12600" fmla="*/ 772119 w 6884782"/>
              <a:gd name="connsiteY12600" fmla="*/ 4666712 h 5973007"/>
              <a:gd name="connsiteX12601" fmla="*/ 773668 w 6884782"/>
              <a:gd name="connsiteY12601" fmla="*/ 4679413 h 5973007"/>
              <a:gd name="connsiteX12602" fmla="*/ 768712 w 6884782"/>
              <a:gd name="connsiteY12602" fmla="*/ 4668468 h 5973007"/>
              <a:gd name="connsiteX12603" fmla="*/ 772119 w 6884782"/>
              <a:gd name="connsiteY12603" fmla="*/ 4666712 h 5973007"/>
              <a:gd name="connsiteX12604" fmla="*/ 1093742 w 6884782"/>
              <a:gd name="connsiteY12604" fmla="*/ 4666674 h 5973007"/>
              <a:gd name="connsiteX12605" fmla="*/ 1099570 w 6884782"/>
              <a:gd name="connsiteY12605" fmla="*/ 4666919 h 5973007"/>
              <a:gd name="connsiteX12606" fmla="*/ 1100654 w 6884782"/>
              <a:gd name="connsiteY12606" fmla="*/ 4671669 h 5973007"/>
              <a:gd name="connsiteX12607" fmla="*/ 1098951 w 6884782"/>
              <a:gd name="connsiteY12607" fmla="*/ 4673837 h 5973007"/>
              <a:gd name="connsiteX12608" fmla="*/ 1100190 w 6884782"/>
              <a:gd name="connsiteY12608" fmla="*/ 4675799 h 5973007"/>
              <a:gd name="connsiteX12609" fmla="*/ 1097866 w 6884782"/>
              <a:gd name="connsiteY12609" fmla="*/ 4678174 h 5973007"/>
              <a:gd name="connsiteX12610" fmla="*/ 1094303 w 6884782"/>
              <a:gd name="connsiteY12610" fmla="*/ 4676212 h 5973007"/>
              <a:gd name="connsiteX12611" fmla="*/ 1091825 w 6884782"/>
              <a:gd name="connsiteY12611" fmla="*/ 4676006 h 5973007"/>
              <a:gd name="connsiteX12612" fmla="*/ 1085939 w 6884782"/>
              <a:gd name="connsiteY12612" fmla="*/ 4675799 h 5973007"/>
              <a:gd name="connsiteX12613" fmla="*/ 1085010 w 6884782"/>
              <a:gd name="connsiteY12613" fmla="*/ 4671462 h 5973007"/>
              <a:gd name="connsiteX12614" fmla="*/ 1093742 w 6884782"/>
              <a:gd name="connsiteY12614" fmla="*/ 4666674 h 5973007"/>
              <a:gd name="connsiteX12615" fmla="*/ 6655690 w 6884782"/>
              <a:gd name="connsiteY12615" fmla="*/ 4666317 h 5973007"/>
              <a:gd name="connsiteX12616" fmla="*/ 6656620 w 6884782"/>
              <a:gd name="connsiteY12616" fmla="*/ 4670757 h 5973007"/>
              <a:gd name="connsiteX12617" fmla="*/ 6655536 w 6884782"/>
              <a:gd name="connsiteY12617" fmla="*/ 4671067 h 5973007"/>
              <a:gd name="connsiteX12618" fmla="*/ 6655690 w 6884782"/>
              <a:gd name="connsiteY12618" fmla="*/ 4666317 h 5973007"/>
              <a:gd name="connsiteX12619" fmla="*/ 6352249 w 6884782"/>
              <a:gd name="connsiteY12619" fmla="*/ 4666007 h 5973007"/>
              <a:gd name="connsiteX12620" fmla="*/ 6361697 w 6884782"/>
              <a:gd name="connsiteY12620" fmla="*/ 4673029 h 5973007"/>
              <a:gd name="connsiteX12621" fmla="*/ 6360303 w 6884782"/>
              <a:gd name="connsiteY12621" fmla="*/ 4677366 h 5973007"/>
              <a:gd name="connsiteX12622" fmla="*/ 6355966 w 6884782"/>
              <a:gd name="connsiteY12622" fmla="*/ 4677469 h 5973007"/>
              <a:gd name="connsiteX12623" fmla="*/ 6354572 w 6884782"/>
              <a:gd name="connsiteY12623" fmla="*/ 4676127 h 5973007"/>
              <a:gd name="connsiteX12624" fmla="*/ 6352713 w 6884782"/>
              <a:gd name="connsiteY12624" fmla="*/ 4677469 h 5973007"/>
              <a:gd name="connsiteX12625" fmla="*/ 6348376 w 6884782"/>
              <a:gd name="connsiteY12625" fmla="*/ 4680050 h 5973007"/>
              <a:gd name="connsiteX12626" fmla="*/ 6345588 w 6884782"/>
              <a:gd name="connsiteY12626" fmla="*/ 4676746 h 5973007"/>
              <a:gd name="connsiteX12627" fmla="*/ 6346673 w 6884782"/>
              <a:gd name="connsiteY12627" fmla="*/ 4672203 h 5973007"/>
              <a:gd name="connsiteX12628" fmla="*/ 6347447 w 6884782"/>
              <a:gd name="connsiteY12628" fmla="*/ 4671273 h 5973007"/>
              <a:gd name="connsiteX12629" fmla="*/ 6351939 w 6884782"/>
              <a:gd name="connsiteY12629" fmla="*/ 4668176 h 5973007"/>
              <a:gd name="connsiteX12630" fmla="*/ 6186355 w 6884782"/>
              <a:gd name="connsiteY12630" fmla="*/ 4666007 h 5973007"/>
              <a:gd name="connsiteX12631" fmla="*/ 6187284 w 6884782"/>
              <a:gd name="connsiteY12631" fmla="*/ 4672306 h 5973007"/>
              <a:gd name="connsiteX12632" fmla="*/ 6185890 w 6884782"/>
              <a:gd name="connsiteY12632" fmla="*/ 4669415 h 5973007"/>
              <a:gd name="connsiteX12633" fmla="*/ 6186355 w 6884782"/>
              <a:gd name="connsiteY12633" fmla="*/ 4666007 h 5973007"/>
              <a:gd name="connsiteX12634" fmla="*/ 6005126 w 6884782"/>
              <a:gd name="connsiteY12634" fmla="*/ 4665284 h 5973007"/>
              <a:gd name="connsiteX12635" fmla="*/ 6005591 w 6884782"/>
              <a:gd name="connsiteY12635" fmla="*/ 4668073 h 5973007"/>
              <a:gd name="connsiteX12636" fmla="*/ 6004042 w 6884782"/>
              <a:gd name="connsiteY12636" fmla="*/ 4669105 h 5973007"/>
              <a:gd name="connsiteX12637" fmla="*/ 6003732 w 6884782"/>
              <a:gd name="connsiteY12637" fmla="*/ 4671790 h 5973007"/>
              <a:gd name="connsiteX12638" fmla="*/ 6002028 w 6884782"/>
              <a:gd name="connsiteY12638" fmla="*/ 4671893 h 5973007"/>
              <a:gd name="connsiteX12639" fmla="*/ 6002957 w 6884782"/>
              <a:gd name="connsiteY12639" fmla="*/ 4666317 h 5973007"/>
              <a:gd name="connsiteX12640" fmla="*/ 6005126 w 6884782"/>
              <a:gd name="connsiteY12640" fmla="*/ 4665284 h 5973007"/>
              <a:gd name="connsiteX12641" fmla="*/ 1445608 w 6884782"/>
              <a:gd name="connsiteY12641" fmla="*/ 4665008 h 5973007"/>
              <a:gd name="connsiteX12642" fmla="*/ 1452579 w 6884782"/>
              <a:gd name="connsiteY12642" fmla="*/ 4667022 h 5973007"/>
              <a:gd name="connsiteX12643" fmla="*/ 1453663 w 6884782"/>
              <a:gd name="connsiteY12643" fmla="*/ 4674973 h 5973007"/>
              <a:gd name="connsiteX12644" fmla="*/ 1447312 w 6884782"/>
              <a:gd name="connsiteY12644" fmla="*/ 4677864 h 5973007"/>
              <a:gd name="connsiteX12645" fmla="*/ 1441891 w 6884782"/>
              <a:gd name="connsiteY12645" fmla="*/ 4675696 h 5973007"/>
              <a:gd name="connsiteX12646" fmla="*/ 1445608 w 6884782"/>
              <a:gd name="connsiteY12646" fmla="*/ 4665008 h 5973007"/>
              <a:gd name="connsiteX12647" fmla="*/ 1510819 w 6884782"/>
              <a:gd name="connsiteY12647" fmla="*/ 4664957 h 5973007"/>
              <a:gd name="connsiteX12648" fmla="*/ 1522437 w 6884782"/>
              <a:gd name="connsiteY12648" fmla="*/ 4674457 h 5973007"/>
              <a:gd name="connsiteX12649" fmla="*/ 1521972 w 6884782"/>
              <a:gd name="connsiteY12649" fmla="*/ 4678380 h 5973007"/>
              <a:gd name="connsiteX12650" fmla="*/ 1522282 w 6884782"/>
              <a:gd name="connsiteY12650" fmla="*/ 4678793 h 5973007"/>
              <a:gd name="connsiteX12651" fmla="*/ 1521817 w 6884782"/>
              <a:gd name="connsiteY12651" fmla="*/ 4679723 h 5973007"/>
              <a:gd name="connsiteX12652" fmla="*/ 1521662 w 6884782"/>
              <a:gd name="connsiteY12652" fmla="*/ 4680445 h 5973007"/>
              <a:gd name="connsiteX12653" fmla="*/ 1517170 w 6884782"/>
              <a:gd name="connsiteY12653" fmla="*/ 4680755 h 5973007"/>
              <a:gd name="connsiteX12654" fmla="*/ 1505708 w 6884782"/>
              <a:gd name="connsiteY12654" fmla="*/ 4671256 h 5973007"/>
              <a:gd name="connsiteX12655" fmla="*/ 1510819 w 6884782"/>
              <a:gd name="connsiteY12655" fmla="*/ 4664957 h 5973007"/>
              <a:gd name="connsiteX12656" fmla="*/ 1057206 w 6884782"/>
              <a:gd name="connsiteY12656" fmla="*/ 4664957 h 5973007"/>
              <a:gd name="connsiteX12657" fmla="*/ 1067507 w 6884782"/>
              <a:gd name="connsiteY12657" fmla="*/ 4668571 h 5973007"/>
              <a:gd name="connsiteX12658" fmla="*/ 1056509 w 6884782"/>
              <a:gd name="connsiteY12658" fmla="*/ 4679619 h 5973007"/>
              <a:gd name="connsiteX12659" fmla="*/ 1052017 w 6884782"/>
              <a:gd name="connsiteY12659" fmla="*/ 4674353 h 5973007"/>
              <a:gd name="connsiteX12660" fmla="*/ 1057206 w 6884782"/>
              <a:gd name="connsiteY12660" fmla="*/ 4664957 h 5973007"/>
              <a:gd name="connsiteX12661" fmla="*/ 581907 w 6884782"/>
              <a:gd name="connsiteY12661" fmla="*/ 4663924 h 5973007"/>
              <a:gd name="connsiteX12662" fmla="*/ 578499 w 6884782"/>
              <a:gd name="connsiteY12662" fmla="*/ 4670326 h 5973007"/>
              <a:gd name="connsiteX12663" fmla="*/ 575865 w 6884782"/>
              <a:gd name="connsiteY12663" fmla="*/ 4664234 h 5973007"/>
              <a:gd name="connsiteX12664" fmla="*/ 581907 w 6884782"/>
              <a:gd name="connsiteY12664" fmla="*/ 4663924 h 5973007"/>
              <a:gd name="connsiteX12665" fmla="*/ 1794435 w 6884782"/>
              <a:gd name="connsiteY12665" fmla="*/ 4663821 h 5973007"/>
              <a:gd name="connsiteX12666" fmla="*/ 1794589 w 6884782"/>
              <a:gd name="connsiteY12666" fmla="*/ 4668055 h 5973007"/>
              <a:gd name="connsiteX12667" fmla="*/ 1790562 w 6884782"/>
              <a:gd name="connsiteY12667" fmla="*/ 4670430 h 5973007"/>
              <a:gd name="connsiteX12668" fmla="*/ 1788084 w 6884782"/>
              <a:gd name="connsiteY12668" fmla="*/ 4672495 h 5973007"/>
              <a:gd name="connsiteX12669" fmla="*/ 1786845 w 6884782"/>
              <a:gd name="connsiteY12669" fmla="*/ 4672701 h 5973007"/>
              <a:gd name="connsiteX12670" fmla="*/ 1785606 w 6884782"/>
              <a:gd name="connsiteY12670" fmla="*/ 4671978 h 5973007"/>
              <a:gd name="connsiteX12671" fmla="*/ 1788703 w 6884782"/>
              <a:gd name="connsiteY12671" fmla="*/ 4665267 h 5973007"/>
              <a:gd name="connsiteX12672" fmla="*/ 1794435 w 6884782"/>
              <a:gd name="connsiteY12672" fmla="*/ 4663821 h 5973007"/>
              <a:gd name="connsiteX12673" fmla="*/ 6374244 w 6884782"/>
              <a:gd name="connsiteY12673" fmla="*/ 4663529 h 5973007"/>
              <a:gd name="connsiteX12674" fmla="*/ 6378116 w 6884782"/>
              <a:gd name="connsiteY12674" fmla="*/ 4670034 h 5973007"/>
              <a:gd name="connsiteX12675" fmla="*/ 6374708 w 6884782"/>
              <a:gd name="connsiteY12675" fmla="*/ 4671480 h 5973007"/>
              <a:gd name="connsiteX12676" fmla="*/ 6371920 w 6884782"/>
              <a:gd name="connsiteY12676" fmla="*/ 4669725 h 5973007"/>
              <a:gd name="connsiteX12677" fmla="*/ 6374244 w 6884782"/>
              <a:gd name="connsiteY12677" fmla="*/ 4663529 h 5973007"/>
              <a:gd name="connsiteX12678" fmla="*/ 1732011 w 6884782"/>
              <a:gd name="connsiteY12678" fmla="*/ 4663408 h 5973007"/>
              <a:gd name="connsiteX12679" fmla="*/ 1733561 w 6884782"/>
              <a:gd name="connsiteY12679" fmla="*/ 4677864 h 5973007"/>
              <a:gd name="connsiteX12680" fmla="*/ 1732166 w 6884782"/>
              <a:gd name="connsiteY12680" fmla="*/ 4678897 h 5973007"/>
              <a:gd name="connsiteX12681" fmla="*/ 1738827 w 6884782"/>
              <a:gd name="connsiteY12681" fmla="*/ 4680239 h 5973007"/>
              <a:gd name="connsiteX12682" fmla="*/ 1757569 w 6884782"/>
              <a:gd name="connsiteY12682" fmla="*/ 4682820 h 5973007"/>
              <a:gd name="connsiteX12683" fmla="*/ 1738053 w 6884782"/>
              <a:gd name="connsiteY12683" fmla="*/ 4689119 h 5973007"/>
              <a:gd name="connsiteX12684" fmla="*/ 1733870 w 6884782"/>
              <a:gd name="connsiteY12684" fmla="*/ 4686538 h 5973007"/>
              <a:gd name="connsiteX12685" fmla="*/ 1731857 w 6884782"/>
              <a:gd name="connsiteY12685" fmla="*/ 4679206 h 5973007"/>
              <a:gd name="connsiteX12686" fmla="*/ 1730153 w 6884782"/>
              <a:gd name="connsiteY12686" fmla="*/ 4680445 h 5973007"/>
              <a:gd name="connsiteX12687" fmla="*/ 1730308 w 6884782"/>
              <a:gd name="connsiteY12687" fmla="*/ 4681168 h 5973007"/>
              <a:gd name="connsiteX12688" fmla="*/ 1729533 w 6884782"/>
              <a:gd name="connsiteY12688" fmla="*/ 4687777 h 5973007"/>
              <a:gd name="connsiteX12689" fmla="*/ 1725351 w 6884782"/>
              <a:gd name="connsiteY12689" fmla="*/ 4691494 h 5973007"/>
              <a:gd name="connsiteX12690" fmla="*/ 1721634 w 6884782"/>
              <a:gd name="connsiteY12690" fmla="*/ 4692630 h 5973007"/>
              <a:gd name="connsiteX12691" fmla="*/ 1718690 w 6884782"/>
              <a:gd name="connsiteY12691" fmla="*/ 4692630 h 5973007"/>
              <a:gd name="connsiteX12692" fmla="*/ 1711100 w 6884782"/>
              <a:gd name="connsiteY12692" fmla="*/ 4685299 h 5973007"/>
              <a:gd name="connsiteX12693" fmla="*/ 1710171 w 6884782"/>
              <a:gd name="connsiteY12693" fmla="*/ 4682820 h 5973007"/>
              <a:gd name="connsiteX12694" fmla="*/ 1707848 w 6884782"/>
              <a:gd name="connsiteY12694" fmla="*/ 4679619 h 5973007"/>
              <a:gd name="connsiteX12695" fmla="*/ 1711100 w 6884782"/>
              <a:gd name="connsiteY12695" fmla="*/ 4676418 h 5973007"/>
              <a:gd name="connsiteX12696" fmla="*/ 1710945 w 6884782"/>
              <a:gd name="connsiteY12696" fmla="*/ 4676212 h 5973007"/>
              <a:gd name="connsiteX12697" fmla="*/ 1711565 w 6884782"/>
              <a:gd name="connsiteY12697" fmla="*/ 4675799 h 5973007"/>
              <a:gd name="connsiteX12698" fmla="*/ 1712649 w 6884782"/>
              <a:gd name="connsiteY12698" fmla="*/ 4674560 h 5973007"/>
              <a:gd name="connsiteX12699" fmla="*/ 1715902 w 6884782"/>
              <a:gd name="connsiteY12699" fmla="*/ 4672701 h 5973007"/>
              <a:gd name="connsiteX12700" fmla="*/ 1721014 w 6884782"/>
              <a:gd name="connsiteY12700" fmla="*/ 4671359 h 5973007"/>
              <a:gd name="connsiteX12701" fmla="*/ 1723028 w 6884782"/>
              <a:gd name="connsiteY12701" fmla="*/ 4671875 h 5973007"/>
              <a:gd name="connsiteX12702" fmla="*/ 1722718 w 6884782"/>
              <a:gd name="connsiteY12702" fmla="*/ 4668881 h 5973007"/>
              <a:gd name="connsiteX12703" fmla="*/ 1723802 w 6884782"/>
              <a:gd name="connsiteY12703" fmla="*/ 4664441 h 5973007"/>
              <a:gd name="connsiteX12704" fmla="*/ 1732011 w 6884782"/>
              <a:gd name="connsiteY12704" fmla="*/ 4663408 h 5973007"/>
              <a:gd name="connsiteX12705" fmla="*/ 6599618 w 6884782"/>
              <a:gd name="connsiteY12705" fmla="*/ 4663219 h 5973007"/>
              <a:gd name="connsiteX12706" fmla="*/ 6600392 w 6884782"/>
              <a:gd name="connsiteY12706" fmla="*/ 4663633 h 5973007"/>
              <a:gd name="connsiteX12707" fmla="*/ 6600237 w 6884782"/>
              <a:gd name="connsiteY12707" fmla="*/ 4665595 h 5973007"/>
              <a:gd name="connsiteX12708" fmla="*/ 6596210 w 6884782"/>
              <a:gd name="connsiteY12708" fmla="*/ 4672719 h 5973007"/>
              <a:gd name="connsiteX12709" fmla="*/ 6595435 w 6884782"/>
              <a:gd name="connsiteY12709" fmla="*/ 4674268 h 5973007"/>
              <a:gd name="connsiteX12710" fmla="*/ 6593267 w 6884782"/>
              <a:gd name="connsiteY12710" fmla="*/ 4674887 h 5973007"/>
              <a:gd name="connsiteX12711" fmla="*/ 6595590 w 6884782"/>
              <a:gd name="connsiteY12711" fmla="*/ 4667660 h 5973007"/>
              <a:gd name="connsiteX12712" fmla="*/ 6597449 w 6884782"/>
              <a:gd name="connsiteY12712" fmla="*/ 4663942 h 5973007"/>
              <a:gd name="connsiteX12713" fmla="*/ 6599618 w 6884782"/>
              <a:gd name="connsiteY12713" fmla="*/ 4663219 h 5973007"/>
              <a:gd name="connsiteX12714" fmla="*/ 1391549 w 6884782"/>
              <a:gd name="connsiteY12714" fmla="*/ 4663202 h 5973007"/>
              <a:gd name="connsiteX12715" fmla="*/ 1399294 w 6884782"/>
              <a:gd name="connsiteY12715" fmla="*/ 4669294 h 5973007"/>
              <a:gd name="connsiteX12716" fmla="*/ 1398675 w 6884782"/>
              <a:gd name="connsiteY12716" fmla="*/ 4673321 h 5973007"/>
              <a:gd name="connsiteX12717" fmla="*/ 1394028 w 6884782"/>
              <a:gd name="connsiteY12717" fmla="*/ 4678483 h 5973007"/>
              <a:gd name="connsiteX12718" fmla="*/ 1385819 w 6884782"/>
              <a:gd name="connsiteY12718" fmla="*/ 4671669 h 5973007"/>
              <a:gd name="connsiteX12719" fmla="*/ 1385664 w 6884782"/>
              <a:gd name="connsiteY12719" fmla="*/ 4668055 h 5973007"/>
              <a:gd name="connsiteX12720" fmla="*/ 1391549 w 6884782"/>
              <a:gd name="connsiteY12720" fmla="*/ 4663202 h 5973007"/>
              <a:gd name="connsiteX12721" fmla="*/ 989438 w 6884782"/>
              <a:gd name="connsiteY12721" fmla="*/ 4663099 h 5973007"/>
              <a:gd name="connsiteX12722" fmla="*/ 992227 w 6884782"/>
              <a:gd name="connsiteY12722" fmla="*/ 4671256 h 5973007"/>
              <a:gd name="connsiteX12723" fmla="*/ 983552 w 6884782"/>
              <a:gd name="connsiteY12723" fmla="*/ 4678690 h 5973007"/>
              <a:gd name="connsiteX12724" fmla="*/ 972555 w 6884782"/>
              <a:gd name="connsiteY12724" fmla="*/ 4674870 h 5973007"/>
              <a:gd name="connsiteX12725" fmla="*/ 989438 w 6884782"/>
              <a:gd name="connsiteY12725" fmla="*/ 4663099 h 5973007"/>
              <a:gd name="connsiteX12726" fmla="*/ 675987 w 6884782"/>
              <a:gd name="connsiteY12726" fmla="*/ 4662337 h 5973007"/>
              <a:gd name="connsiteX12727" fmla="*/ 683983 w 6884782"/>
              <a:gd name="connsiteY12727" fmla="*/ 4663408 h 5973007"/>
              <a:gd name="connsiteX12728" fmla="*/ 684603 w 6884782"/>
              <a:gd name="connsiteY12728" fmla="*/ 4670636 h 5973007"/>
              <a:gd name="connsiteX12729" fmla="*/ 674689 w 6884782"/>
              <a:gd name="connsiteY12729" fmla="*/ 4672185 h 5973007"/>
              <a:gd name="connsiteX12730" fmla="*/ 671591 w 6884782"/>
              <a:gd name="connsiteY12730" fmla="*/ 4671256 h 5973007"/>
              <a:gd name="connsiteX12731" fmla="*/ 675987 w 6884782"/>
              <a:gd name="connsiteY12731" fmla="*/ 4662337 h 5973007"/>
              <a:gd name="connsiteX12732" fmla="*/ 1706609 w 6884782"/>
              <a:gd name="connsiteY12732" fmla="*/ 4662272 h 5973007"/>
              <a:gd name="connsiteX12733" fmla="*/ 1710636 w 6884782"/>
              <a:gd name="connsiteY12733" fmla="*/ 4666506 h 5973007"/>
              <a:gd name="connsiteX12734" fmla="*/ 1707073 w 6884782"/>
              <a:gd name="connsiteY12734" fmla="*/ 4668881 h 5973007"/>
              <a:gd name="connsiteX12735" fmla="*/ 1702891 w 6884782"/>
              <a:gd name="connsiteY12735" fmla="*/ 4666506 h 5973007"/>
              <a:gd name="connsiteX12736" fmla="*/ 1699948 w 6884782"/>
              <a:gd name="connsiteY12736" fmla="*/ 4665473 h 5973007"/>
              <a:gd name="connsiteX12737" fmla="*/ 1699174 w 6884782"/>
              <a:gd name="connsiteY12737" fmla="*/ 4662995 h 5973007"/>
              <a:gd name="connsiteX12738" fmla="*/ 1706609 w 6884782"/>
              <a:gd name="connsiteY12738" fmla="*/ 4662272 h 5973007"/>
              <a:gd name="connsiteX12739" fmla="*/ 5769219 w 6884782"/>
              <a:gd name="connsiteY12739" fmla="*/ 4661361 h 5973007"/>
              <a:gd name="connsiteX12740" fmla="*/ 5770303 w 6884782"/>
              <a:gd name="connsiteY12740" fmla="*/ 4677882 h 5973007"/>
              <a:gd name="connsiteX12741" fmla="*/ 5760545 w 6884782"/>
              <a:gd name="connsiteY12741" fmla="*/ 4667246 h 5973007"/>
              <a:gd name="connsiteX12742" fmla="*/ 5769219 w 6884782"/>
              <a:gd name="connsiteY12742" fmla="*/ 4661361 h 5973007"/>
              <a:gd name="connsiteX12743" fmla="*/ 903161 w 6884782"/>
              <a:gd name="connsiteY12743" fmla="*/ 4660620 h 5973007"/>
              <a:gd name="connsiteX12744" fmla="*/ 905640 w 6884782"/>
              <a:gd name="connsiteY12744" fmla="*/ 4660723 h 5973007"/>
              <a:gd name="connsiteX12745" fmla="*/ 904866 w 6884782"/>
              <a:gd name="connsiteY12745" fmla="*/ 4662376 h 5973007"/>
              <a:gd name="connsiteX12746" fmla="*/ 901612 w 6884782"/>
              <a:gd name="connsiteY12746" fmla="*/ 4666609 h 5973007"/>
              <a:gd name="connsiteX12747" fmla="*/ 900683 w 6884782"/>
              <a:gd name="connsiteY12747" fmla="*/ 4663924 h 5973007"/>
              <a:gd name="connsiteX12748" fmla="*/ 902387 w 6884782"/>
              <a:gd name="connsiteY12748" fmla="*/ 4662272 h 5973007"/>
              <a:gd name="connsiteX12749" fmla="*/ 903161 w 6884782"/>
              <a:gd name="connsiteY12749" fmla="*/ 4660620 h 5973007"/>
              <a:gd name="connsiteX12750" fmla="*/ 798452 w 6884782"/>
              <a:gd name="connsiteY12750" fmla="*/ 4660517 h 5973007"/>
              <a:gd name="connsiteX12751" fmla="*/ 800311 w 6884782"/>
              <a:gd name="connsiteY12751" fmla="*/ 4662272 h 5973007"/>
              <a:gd name="connsiteX12752" fmla="*/ 798452 w 6884782"/>
              <a:gd name="connsiteY12752" fmla="*/ 4664441 h 5973007"/>
              <a:gd name="connsiteX12753" fmla="*/ 795818 w 6884782"/>
              <a:gd name="connsiteY12753" fmla="*/ 4665060 h 5973007"/>
              <a:gd name="connsiteX12754" fmla="*/ 794889 w 6884782"/>
              <a:gd name="connsiteY12754" fmla="*/ 4664028 h 5973007"/>
              <a:gd name="connsiteX12755" fmla="*/ 794269 w 6884782"/>
              <a:gd name="connsiteY12755" fmla="*/ 4662066 h 5973007"/>
              <a:gd name="connsiteX12756" fmla="*/ 798452 w 6884782"/>
              <a:gd name="connsiteY12756" fmla="*/ 4660517 h 5973007"/>
              <a:gd name="connsiteX12757" fmla="*/ 6001254 w 6884782"/>
              <a:gd name="connsiteY12757" fmla="*/ 4658779 h 5973007"/>
              <a:gd name="connsiteX12758" fmla="*/ 6000479 w 6884782"/>
              <a:gd name="connsiteY12758" fmla="*/ 4660638 h 5973007"/>
              <a:gd name="connsiteX12759" fmla="*/ 5997691 w 6884782"/>
              <a:gd name="connsiteY12759" fmla="*/ 4665078 h 5973007"/>
              <a:gd name="connsiteX12760" fmla="*/ 5996452 w 6884782"/>
              <a:gd name="connsiteY12760" fmla="*/ 4662600 h 5973007"/>
              <a:gd name="connsiteX12761" fmla="*/ 5998001 w 6884782"/>
              <a:gd name="connsiteY12761" fmla="*/ 4660741 h 5973007"/>
              <a:gd name="connsiteX12762" fmla="*/ 5998620 w 6884782"/>
              <a:gd name="connsiteY12762" fmla="*/ 4658883 h 5973007"/>
              <a:gd name="connsiteX12763" fmla="*/ 6001254 w 6884782"/>
              <a:gd name="connsiteY12763" fmla="*/ 4658779 h 5973007"/>
              <a:gd name="connsiteX12764" fmla="*/ 6093107 w 6884782"/>
              <a:gd name="connsiteY12764" fmla="*/ 4658263 h 5973007"/>
              <a:gd name="connsiteX12765" fmla="*/ 6096515 w 6884782"/>
              <a:gd name="connsiteY12765" fmla="*/ 4664665 h 5973007"/>
              <a:gd name="connsiteX12766" fmla="*/ 6094501 w 6884782"/>
              <a:gd name="connsiteY12766" fmla="*/ 4670757 h 5973007"/>
              <a:gd name="connsiteX12767" fmla="*/ 6091093 w 6884782"/>
              <a:gd name="connsiteY12767" fmla="*/ 4668692 h 5973007"/>
              <a:gd name="connsiteX12768" fmla="*/ 6091558 w 6884782"/>
              <a:gd name="connsiteY12768" fmla="*/ 4663633 h 5973007"/>
              <a:gd name="connsiteX12769" fmla="*/ 6091248 w 6884782"/>
              <a:gd name="connsiteY12769" fmla="*/ 4660329 h 5973007"/>
              <a:gd name="connsiteX12770" fmla="*/ 6093107 w 6884782"/>
              <a:gd name="connsiteY12770" fmla="*/ 4658263 h 5973007"/>
              <a:gd name="connsiteX12771" fmla="*/ 1331915 w 6884782"/>
              <a:gd name="connsiteY12771" fmla="*/ 4658039 h 5973007"/>
              <a:gd name="connsiteX12772" fmla="*/ 1331759 w 6884782"/>
              <a:gd name="connsiteY12772" fmla="*/ 4661549 h 5973007"/>
              <a:gd name="connsiteX12773" fmla="*/ 1327268 w 6884782"/>
              <a:gd name="connsiteY12773" fmla="*/ 4658452 h 5973007"/>
              <a:gd name="connsiteX12774" fmla="*/ 1331915 w 6884782"/>
              <a:gd name="connsiteY12774" fmla="*/ 4658039 h 5973007"/>
              <a:gd name="connsiteX12775" fmla="*/ 1449481 w 6884782"/>
              <a:gd name="connsiteY12775" fmla="*/ 4657213 h 5973007"/>
              <a:gd name="connsiteX12776" fmla="*/ 1445143 w 6884782"/>
              <a:gd name="connsiteY12776" fmla="*/ 4663924 h 5973007"/>
              <a:gd name="connsiteX12777" fmla="*/ 1442201 w 6884782"/>
              <a:gd name="connsiteY12777" fmla="*/ 4663099 h 5973007"/>
              <a:gd name="connsiteX12778" fmla="*/ 1440651 w 6884782"/>
              <a:gd name="connsiteY12778" fmla="*/ 4658245 h 5973007"/>
              <a:gd name="connsiteX12779" fmla="*/ 1449481 w 6884782"/>
              <a:gd name="connsiteY12779" fmla="*/ 4657213 h 5973007"/>
              <a:gd name="connsiteX12780" fmla="*/ 865212 w 6884782"/>
              <a:gd name="connsiteY12780" fmla="*/ 4657006 h 5973007"/>
              <a:gd name="connsiteX12781" fmla="*/ 851271 w 6884782"/>
              <a:gd name="connsiteY12781" fmla="*/ 4664234 h 5973007"/>
              <a:gd name="connsiteX12782" fmla="*/ 850962 w 6884782"/>
              <a:gd name="connsiteY12782" fmla="*/ 4660723 h 5973007"/>
              <a:gd name="connsiteX12783" fmla="*/ 852820 w 6884782"/>
              <a:gd name="connsiteY12783" fmla="*/ 4660827 h 5973007"/>
              <a:gd name="connsiteX12784" fmla="*/ 865212 w 6884782"/>
              <a:gd name="connsiteY12784" fmla="*/ 4657006 h 5973007"/>
              <a:gd name="connsiteX12785" fmla="*/ 1146968 w 6884782"/>
              <a:gd name="connsiteY12785" fmla="*/ 4656387 h 5973007"/>
              <a:gd name="connsiteX12786" fmla="*/ 1153164 w 6884782"/>
              <a:gd name="connsiteY12786" fmla="*/ 4664647 h 5973007"/>
              <a:gd name="connsiteX12787" fmla="*/ 1150841 w 6884782"/>
              <a:gd name="connsiteY12787" fmla="*/ 4664854 h 5973007"/>
              <a:gd name="connsiteX12788" fmla="*/ 1146968 w 6884782"/>
              <a:gd name="connsiteY12788" fmla="*/ 4656387 h 5973007"/>
              <a:gd name="connsiteX12789" fmla="*/ 772893 w 6884782"/>
              <a:gd name="connsiteY12789" fmla="*/ 4655457 h 5973007"/>
              <a:gd name="connsiteX12790" fmla="*/ 775217 w 6884782"/>
              <a:gd name="connsiteY12790" fmla="*/ 4663615 h 5973007"/>
              <a:gd name="connsiteX12791" fmla="*/ 771035 w 6884782"/>
              <a:gd name="connsiteY12791" fmla="*/ 4665680 h 5973007"/>
              <a:gd name="connsiteX12792" fmla="*/ 765614 w 6884782"/>
              <a:gd name="connsiteY12792" fmla="*/ 4664750 h 5973007"/>
              <a:gd name="connsiteX12793" fmla="*/ 772893 w 6884782"/>
              <a:gd name="connsiteY12793" fmla="*/ 4655457 h 5973007"/>
              <a:gd name="connsiteX12794" fmla="*/ 5930001 w 6884782"/>
              <a:gd name="connsiteY12794" fmla="*/ 4655062 h 5973007"/>
              <a:gd name="connsiteX12795" fmla="*/ 5925509 w 6884782"/>
              <a:gd name="connsiteY12795" fmla="*/ 4662394 h 5973007"/>
              <a:gd name="connsiteX12796" fmla="*/ 5930001 w 6884782"/>
              <a:gd name="connsiteY12796" fmla="*/ 4655062 h 5973007"/>
              <a:gd name="connsiteX12797" fmla="*/ 5966867 w 6884782"/>
              <a:gd name="connsiteY12797" fmla="*/ 4654752 h 5973007"/>
              <a:gd name="connsiteX12798" fmla="*/ 5963924 w 6884782"/>
              <a:gd name="connsiteY12798" fmla="*/ 4657540 h 5973007"/>
              <a:gd name="connsiteX12799" fmla="*/ 5962994 w 6884782"/>
              <a:gd name="connsiteY12799" fmla="*/ 4656714 h 5973007"/>
              <a:gd name="connsiteX12800" fmla="*/ 5966867 w 6884782"/>
              <a:gd name="connsiteY12800" fmla="*/ 4654752 h 5973007"/>
              <a:gd name="connsiteX12801" fmla="*/ 6402764 w 6884782"/>
              <a:gd name="connsiteY12801" fmla="*/ 4653333 h 5973007"/>
              <a:gd name="connsiteX12802" fmla="*/ 6405688 w 6884782"/>
              <a:gd name="connsiteY12802" fmla="*/ 4657540 h 5973007"/>
              <a:gd name="connsiteX12803" fmla="*/ 6402125 w 6884782"/>
              <a:gd name="connsiteY12803" fmla="*/ 4658057 h 5973007"/>
              <a:gd name="connsiteX12804" fmla="*/ 6400421 w 6884782"/>
              <a:gd name="connsiteY12804" fmla="*/ 4657334 h 5973007"/>
              <a:gd name="connsiteX12805" fmla="*/ 6402764 w 6884782"/>
              <a:gd name="connsiteY12805" fmla="*/ 4653333 h 5973007"/>
              <a:gd name="connsiteX12806" fmla="*/ 1545671 w 6884782"/>
              <a:gd name="connsiteY12806" fmla="*/ 4653186 h 5973007"/>
              <a:gd name="connsiteX12807" fmla="*/ 1545826 w 6884782"/>
              <a:gd name="connsiteY12807" fmla="*/ 4656490 h 5973007"/>
              <a:gd name="connsiteX12808" fmla="*/ 1545361 w 6884782"/>
              <a:gd name="connsiteY12808" fmla="*/ 4657110 h 5973007"/>
              <a:gd name="connsiteX12809" fmla="*/ 1544897 w 6884782"/>
              <a:gd name="connsiteY12809" fmla="*/ 4656490 h 5973007"/>
              <a:gd name="connsiteX12810" fmla="*/ 1545671 w 6884782"/>
              <a:gd name="connsiteY12810" fmla="*/ 4653186 h 5973007"/>
              <a:gd name="connsiteX12811" fmla="*/ 871717 w 6884782"/>
              <a:gd name="connsiteY12811" fmla="*/ 4653082 h 5973007"/>
              <a:gd name="connsiteX12812" fmla="*/ 868465 w 6884782"/>
              <a:gd name="connsiteY12812" fmla="*/ 4655664 h 5973007"/>
              <a:gd name="connsiteX12813" fmla="*/ 867536 w 6884782"/>
              <a:gd name="connsiteY12813" fmla="*/ 4654632 h 5973007"/>
              <a:gd name="connsiteX12814" fmla="*/ 871717 w 6884782"/>
              <a:gd name="connsiteY12814" fmla="*/ 4653082 h 5973007"/>
              <a:gd name="connsiteX12815" fmla="*/ 858590 w 6884782"/>
              <a:gd name="connsiteY12815" fmla="*/ 4652412 h 5973007"/>
              <a:gd name="connsiteX12816" fmla="*/ 863198 w 6884782"/>
              <a:gd name="connsiteY12816" fmla="*/ 4652773 h 5973007"/>
              <a:gd name="connsiteX12817" fmla="*/ 863198 w 6884782"/>
              <a:gd name="connsiteY12817" fmla="*/ 4653599 h 5973007"/>
              <a:gd name="connsiteX12818" fmla="*/ 854679 w 6884782"/>
              <a:gd name="connsiteY12818" fmla="*/ 4655148 h 5973007"/>
              <a:gd name="connsiteX12819" fmla="*/ 851426 w 6884782"/>
              <a:gd name="connsiteY12819" fmla="*/ 4654735 h 5973007"/>
              <a:gd name="connsiteX12820" fmla="*/ 852356 w 6884782"/>
              <a:gd name="connsiteY12820" fmla="*/ 4654838 h 5973007"/>
              <a:gd name="connsiteX12821" fmla="*/ 851426 w 6884782"/>
              <a:gd name="connsiteY12821" fmla="*/ 4653909 h 5973007"/>
              <a:gd name="connsiteX12822" fmla="*/ 858590 w 6884782"/>
              <a:gd name="connsiteY12822" fmla="*/ 4652412 h 5973007"/>
              <a:gd name="connsiteX12823" fmla="*/ 6323128 w 6884782"/>
              <a:gd name="connsiteY12823" fmla="*/ 4652171 h 5973007"/>
              <a:gd name="connsiteX12824" fmla="*/ 6335985 w 6884782"/>
              <a:gd name="connsiteY12824" fmla="*/ 4662806 h 5973007"/>
              <a:gd name="connsiteX12825" fmla="*/ 6332732 w 6884782"/>
              <a:gd name="connsiteY12825" fmla="*/ 4665801 h 5973007"/>
              <a:gd name="connsiteX12826" fmla="*/ 6329014 w 6884782"/>
              <a:gd name="connsiteY12826" fmla="*/ 4665284 h 5973007"/>
              <a:gd name="connsiteX12827" fmla="*/ 6325762 w 6884782"/>
              <a:gd name="connsiteY12827" fmla="*/ 4663529 h 5973007"/>
              <a:gd name="connsiteX12828" fmla="*/ 6323748 w 6884782"/>
              <a:gd name="connsiteY12828" fmla="*/ 4660329 h 5973007"/>
              <a:gd name="connsiteX12829" fmla="*/ 6320340 w 6884782"/>
              <a:gd name="connsiteY12829" fmla="*/ 4655062 h 5973007"/>
              <a:gd name="connsiteX12830" fmla="*/ 6323128 w 6884782"/>
              <a:gd name="connsiteY12830" fmla="*/ 4652171 h 5973007"/>
              <a:gd name="connsiteX12831" fmla="*/ 1116918 w 6884782"/>
              <a:gd name="connsiteY12831" fmla="*/ 4652153 h 5973007"/>
              <a:gd name="connsiteX12832" fmla="*/ 1115679 w 6884782"/>
              <a:gd name="connsiteY12832" fmla="*/ 4663821 h 5973007"/>
              <a:gd name="connsiteX12833" fmla="*/ 1111807 w 6884782"/>
              <a:gd name="connsiteY12833" fmla="*/ 4659484 h 5973007"/>
              <a:gd name="connsiteX12834" fmla="*/ 1116918 w 6884782"/>
              <a:gd name="connsiteY12834" fmla="*/ 4652153 h 5973007"/>
              <a:gd name="connsiteX12835" fmla="*/ 1067971 w 6884782"/>
              <a:gd name="connsiteY12835" fmla="*/ 4651947 h 5973007"/>
              <a:gd name="connsiteX12836" fmla="*/ 1073238 w 6884782"/>
              <a:gd name="connsiteY12836" fmla="*/ 4654838 h 5973007"/>
              <a:gd name="connsiteX12837" fmla="*/ 1069985 w 6884782"/>
              <a:gd name="connsiteY12837" fmla="*/ 4658968 h 5973007"/>
              <a:gd name="connsiteX12838" fmla="*/ 1067971 w 6884782"/>
              <a:gd name="connsiteY12838" fmla="*/ 4651947 h 5973007"/>
              <a:gd name="connsiteX12839" fmla="*/ 1160909 w 6884782"/>
              <a:gd name="connsiteY12839" fmla="*/ 4651121 h 5973007"/>
              <a:gd name="connsiteX12840" fmla="*/ 1167105 w 6884782"/>
              <a:gd name="connsiteY12840" fmla="*/ 4660517 h 5973007"/>
              <a:gd name="connsiteX12841" fmla="*/ 1161839 w 6884782"/>
              <a:gd name="connsiteY12841" fmla="*/ 4660310 h 5973007"/>
              <a:gd name="connsiteX12842" fmla="*/ 1159824 w 6884782"/>
              <a:gd name="connsiteY12842" fmla="*/ 4656180 h 5973007"/>
              <a:gd name="connsiteX12843" fmla="*/ 1160909 w 6884782"/>
              <a:gd name="connsiteY12843" fmla="*/ 4651121 h 5973007"/>
              <a:gd name="connsiteX12844" fmla="*/ 6071886 w 6884782"/>
              <a:gd name="connsiteY12844" fmla="*/ 4651035 h 5973007"/>
              <a:gd name="connsiteX12845" fmla="*/ 6076998 w 6884782"/>
              <a:gd name="connsiteY12845" fmla="*/ 4653307 h 5973007"/>
              <a:gd name="connsiteX12846" fmla="*/ 6081645 w 6884782"/>
              <a:gd name="connsiteY12846" fmla="*/ 4659399 h 5973007"/>
              <a:gd name="connsiteX12847" fmla="*/ 6080406 w 6884782"/>
              <a:gd name="connsiteY12847" fmla="*/ 4659812 h 5973007"/>
              <a:gd name="connsiteX12848" fmla="*/ 6071886 w 6884782"/>
              <a:gd name="connsiteY12848" fmla="*/ 4651035 h 5973007"/>
              <a:gd name="connsiteX12849" fmla="*/ 1617388 w 6884782"/>
              <a:gd name="connsiteY12849" fmla="*/ 4650501 h 5973007"/>
              <a:gd name="connsiteX12850" fmla="*/ 1614290 w 6884782"/>
              <a:gd name="connsiteY12850" fmla="*/ 4651843 h 5973007"/>
              <a:gd name="connsiteX12851" fmla="*/ 1611193 w 6884782"/>
              <a:gd name="connsiteY12851" fmla="*/ 4651224 h 5973007"/>
              <a:gd name="connsiteX12852" fmla="*/ 1617388 w 6884782"/>
              <a:gd name="connsiteY12852" fmla="*/ 4650501 h 5973007"/>
              <a:gd name="connsiteX12853" fmla="*/ 6725239 w 6884782"/>
              <a:gd name="connsiteY12853" fmla="*/ 4650416 h 5973007"/>
              <a:gd name="connsiteX12854" fmla="*/ 6732364 w 6884782"/>
              <a:gd name="connsiteY12854" fmla="*/ 4651655 h 5973007"/>
              <a:gd name="connsiteX12855" fmla="*/ 6732519 w 6884782"/>
              <a:gd name="connsiteY12855" fmla="*/ 4653617 h 5973007"/>
              <a:gd name="connsiteX12856" fmla="*/ 6732054 w 6884782"/>
              <a:gd name="connsiteY12856" fmla="*/ 4655682 h 5973007"/>
              <a:gd name="connsiteX12857" fmla="*/ 6728956 w 6884782"/>
              <a:gd name="connsiteY12857" fmla="*/ 4659089 h 5973007"/>
              <a:gd name="connsiteX12858" fmla="*/ 6726478 w 6884782"/>
              <a:gd name="connsiteY12858" fmla="*/ 4659399 h 5973007"/>
              <a:gd name="connsiteX12859" fmla="*/ 6725084 w 6884782"/>
              <a:gd name="connsiteY12859" fmla="*/ 4658883 h 5973007"/>
              <a:gd name="connsiteX12860" fmla="*/ 6723690 w 6884782"/>
              <a:gd name="connsiteY12860" fmla="*/ 4658057 h 5973007"/>
              <a:gd name="connsiteX12861" fmla="*/ 6725239 w 6884782"/>
              <a:gd name="connsiteY12861" fmla="*/ 4650416 h 5973007"/>
              <a:gd name="connsiteX12862" fmla="*/ 703965 w 6884782"/>
              <a:gd name="connsiteY12862" fmla="*/ 4649675 h 5973007"/>
              <a:gd name="connsiteX12863" fmla="*/ 729213 w 6884782"/>
              <a:gd name="connsiteY12863" fmla="*/ 4654838 h 5973007"/>
              <a:gd name="connsiteX12864" fmla="*/ 723791 w 6884782"/>
              <a:gd name="connsiteY12864" fmla="*/ 4658452 h 5973007"/>
              <a:gd name="connsiteX12865" fmla="*/ 703965 w 6884782"/>
              <a:gd name="connsiteY12865" fmla="*/ 4649675 h 5973007"/>
              <a:gd name="connsiteX12866" fmla="*/ 6681558 w 6884782"/>
              <a:gd name="connsiteY12866" fmla="*/ 4649590 h 5973007"/>
              <a:gd name="connsiteX12867" fmla="*/ 6684656 w 6884782"/>
              <a:gd name="connsiteY12867" fmla="*/ 4651345 h 5973007"/>
              <a:gd name="connsiteX12868" fmla="*/ 6685585 w 6884782"/>
              <a:gd name="connsiteY12868" fmla="*/ 4659089 h 5973007"/>
              <a:gd name="connsiteX12869" fmla="*/ 6684191 w 6884782"/>
              <a:gd name="connsiteY12869" fmla="*/ 4660535 h 5973007"/>
              <a:gd name="connsiteX12870" fmla="*/ 6680629 w 6884782"/>
              <a:gd name="connsiteY12870" fmla="*/ 4657644 h 5973007"/>
              <a:gd name="connsiteX12871" fmla="*/ 6681558 w 6884782"/>
              <a:gd name="connsiteY12871" fmla="*/ 4649590 h 5973007"/>
              <a:gd name="connsiteX12872" fmla="*/ 6072041 w 6884782"/>
              <a:gd name="connsiteY12872" fmla="*/ 4647834 h 5973007"/>
              <a:gd name="connsiteX12873" fmla="*/ 6059185 w 6884782"/>
              <a:gd name="connsiteY12873" fmla="*/ 4655785 h 5973007"/>
              <a:gd name="connsiteX12874" fmla="*/ 6058411 w 6884782"/>
              <a:gd name="connsiteY12874" fmla="*/ 4655372 h 5973007"/>
              <a:gd name="connsiteX12875" fmla="*/ 6058875 w 6884782"/>
              <a:gd name="connsiteY12875" fmla="*/ 4653204 h 5973007"/>
              <a:gd name="connsiteX12876" fmla="*/ 6062128 w 6884782"/>
              <a:gd name="connsiteY12876" fmla="*/ 4651242 h 5973007"/>
              <a:gd name="connsiteX12877" fmla="*/ 6070337 w 6884782"/>
              <a:gd name="connsiteY12877" fmla="*/ 4648970 h 5973007"/>
              <a:gd name="connsiteX12878" fmla="*/ 6072041 w 6884782"/>
              <a:gd name="connsiteY12878" fmla="*/ 4647834 h 5973007"/>
              <a:gd name="connsiteX12879" fmla="*/ 5910020 w 6884782"/>
              <a:gd name="connsiteY12879" fmla="*/ 4647731 h 5973007"/>
              <a:gd name="connsiteX12880" fmla="*/ 5913118 w 6884782"/>
              <a:gd name="connsiteY12880" fmla="*/ 4657231 h 5973007"/>
              <a:gd name="connsiteX12881" fmla="*/ 5910485 w 6884782"/>
              <a:gd name="connsiteY12881" fmla="*/ 4667660 h 5973007"/>
              <a:gd name="connsiteX12882" fmla="*/ 5908006 w 6884782"/>
              <a:gd name="connsiteY12882" fmla="*/ 4663426 h 5973007"/>
              <a:gd name="connsiteX12883" fmla="*/ 5910020 w 6884782"/>
              <a:gd name="connsiteY12883" fmla="*/ 4647731 h 5973007"/>
              <a:gd name="connsiteX12884" fmla="*/ 5778397 w 6884782"/>
              <a:gd name="connsiteY12884" fmla="*/ 4647086 h 5973007"/>
              <a:gd name="connsiteX12885" fmla="*/ 5792298 w 6884782"/>
              <a:gd name="connsiteY12885" fmla="*/ 4649177 h 5973007"/>
              <a:gd name="connsiteX12886" fmla="*/ 5766121 w 6884782"/>
              <a:gd name="connsiteY12886" fmla="*/ 4657540 h 5973007"/>
              <a:gd name="connsiteX12887" fmla="*/ 5778397 w 6884782"/>
              <a:gd name="connsiteY12887" fmla="*/ 4647086 h 5973007"/>
              <a:gd name="connsiteX12888" fmla="*/ 1080382 w 6884782"/>
              <a:gd name="connsiteY12888" fmla="*/ 4646539 h 5973007"/>
              <a:gd name="connsiteX12889" fmla="*/ 1081912 w 6884782"/>
              <a:gd name="connsiteY12889" fmla="*/ 4649469 h 5973007"/>
              <a:gd name="connsiteX12890" fmla="*/ 1080208 w 6884782"/>
              <a:gd name="connsiteY12890" fmla="*/ 4651534 h 5973007"/>
              <a:gd name="connsiteX12891" fmla="*/ 1076645 w 6884782"/>
              <a:gd name="connsiteY12891" fmla="*/ 4647713 h 5973007"/>
              <a:gd name="connsiteX12892" fmla="*/ 1080382 w 6884782"/>
              <a:gd name="connsiteY12892" fmla="*/ 4646539 h 5973007"/>
              <a:gd name="connsiteX12893" fmla="*/ 6723690 w 6884782"/>
              <a:gd name="connsiteY12893" fmla="*/ 4645666 h 5973007"/>
              <a:gd name="connsiteX12894" fmla="*/ 6727097 w 6884782"/>
              <a:gd name="connsiteY12894" fmla="*/ 4646595 h 5973007"/>
              <a:gd name="connsiteX12895" fmla="*/ 6726943 w 6884782"/>
              <a:gd name="connsiteY12895" fmla="*/ 4648041 h 5973007"/>
              <a:gd name="connsiteX12896" fmla="*/ 6724929 w 6884782"/>
              <a:gd name="connsiteY12896" fmla="*/ 4649280 h 5973007"/>
              <a:gd name="connsiteX12897" fmla="*/ 1833933 w 6884782"/>
              <a:gd name="connsiteY12897" fmla="*/ 4645648 h 5973007"/>
              <a:gd name="connsiteX12898" fmla="*/ 1833933 w 6884782"/>
              <a:gd name="connsiteY12898" fmla="*/ 4646577 h 5973007"/>
              <a:gd name="connsiteX12899" fmla="*/ 1832384 w 6884782"/>
              <a:gd name="connsiteY12899" fmla="*/ 4648126 h 5973007"/>
              <a:gd name="connsiteX12900" fmla="*/ 1830990 w 6884782"/>
              <a:gd name="connsiteY12900" fmla="*/ 4654115 h 5973007"/>
              <a:gd name="connsiteX12901" fmla="*/ 1829287 w 6884782"/>
              <a:gd name="connsiteY12901" fmla="*/ 4654838 h 5973007"/>
              <a:gd name="connsiteX12902" fmla="*/ 1828357 w 6884782"/>
              <a:gd name="connsiteY12902" fmla="*/ 4652256 h 5973007"/>
              <a:gd name="connsiteX12903" fmla="*/ 1830835 w 6884782"/>
              <a:gd name="connsiteY12903" fmla="*/ 4650708 h 5973007"/>
              <a:gd name="connsiteX12904" fmla="*/ 1831610 w 6884782"/>
              <a:gd name="connsiteY12904" fmla="*/ 4647300 h 5973007"/>
              <a:gd name="connsiteX12905" fmla="*/ 1833933 w 6884782"/>
              <a:gd name="connsiteY12905" fmla="*/ 4645648 h 5973007"/>
              <a:gd name="connsiteX12906" fmla="*/ 1025046 w 6884782"/>
              <a:gd name="connsiteY12906" fmla="*/ 4645545 h 5973007"/>
              <a:gd name="connsiteX12907" fmla="*/ 1039470 w 6884782"/>
              <a:gd name="connsiteY12907" fmla="*/ 4648746 h 5973007"/>
              <a:gd name="connsiteX12908" fmla="*/ 1040400 w 6884782"/>
              <a:gd name="connsiteY12908" fmla="*/ 4651327 h 5973007"/>
              <a:gd name="connsiteX12909" fmla="*/ 1017475 w 6884782"/>
              <a:gd name="connsiteY12909" fmla="*/ 4671359 h 5973007"/>
              <a:gd name="connsiteX12910" fmla="*/ 1012054 w 6884782"/>
              <a:gd name="connsiteY12910" fmla="*/ 4670120 h 5973007"/>
              <a:gd name="connsiteX12911" fmla="*/ 1007407 w 6884782"/>
              <a:gd name="connsiteY12911" fmla="*/ 4667332 h 5973007"/>
              <a:gd name="connsiteX12912" fmla="*/ 1006787 w 6884782"/>
              <a:gd name="connsiteY12912" fmla="*/ 4668468 h 5973007"/>
              <a:gd name="connsiteX12913" fmla="*/ 998577 w 6884782"/>
              <a:gd name="connsiteY12913" fmla="*/ 4667332 h 5973007"/>
              <a:gd name="connsiteX12914" fmla="*/ 998268 w 6884782"/>
              <a:gd name="connsiteY12914" fmla="*/ 4661033 h 5973007"/>
              <a:gd name="connsiteX12915" fmla="*/ 1003379 w 6884782"/>
              <a:gd name="connsiteY12915" fmla="*/ 4661549 h 5973007"/>
              <a:gd name="connsiteX12916" fmla="*/ 1007407 w 6884782"/>
              <a:gd name="connsiteY12916" fmla="*/ 4664750 h 5973007"/>
              <a:gd name="connsiteX12917" fmla="*/ 1008336 w 6884782"/>
              <a:gd name="connsiteY12917" fmla="*/ 4657936 h 5973007"/>
              <a:gd name="connsiteX12918" fmla="*/ 1012828 w 6884782"/>
              <a:gd name="connsiteY12918" fmla="*/ 4651017 h 5973007"/>
              <a:gd name="connsiteX12919" fmla="*/ 1025046 w 6884782"/>
              <a:gd name="connsiteY12919" fmla="*/ 4645545 h 5973007"/>
              <a:gd name="connsiteX12920" fmla="*/ 964810 w 6884782"/>
              <a:gd name="connsiteY12920" fmla="*/ 4644925 h 5973007"/>
              <a:gd name="connsiteX12921" fmla="*/ 975808 w 6884782"/>
              <a:gd name="connsiteY12921" fmla="*/ 4645751 h 5973007"/>
              <a:gd name="connsiteX12922" fmla="*/ 970851 w 6884782"/>
              <a:gd name="connsiteY12922" fmla="*/ 4650501 h 5973007"/>
              <a:gd name="connsiteX12923" fmla="*/ 964810 w 6884782"/>
              <a:gd name="connsiteY12923" fmla="*/ 4644925 h 5973007"/>
              <a:gd name="connsiteX12924" fmla="*/ 6078082 w 6884782"/>
              <a:gd name="connsiteY12924" fmla="*/ 4644220 h 5973007"/>
              <a:gd name="connsiteX12925" fmla="*/ 6079476 w 6884782"/>
              <a:gd name="connsiteY12925" fmla="*/ 4646285 h 5973007"/>
              <a:gd name="connsiteX12926" fmla="*/ 6074984 w 6884782"/>
              <a:gd name="connsiteY12926" fmla="*/ 4647525 h 5973007"/>
              <a:gd name="connsiteX12927" fmla="*/ 6073280 w 6884782"/>
              <a:gd name="connsiteY12927" fmla="*/ 4648661 h 5973007"/>
              <a:gd name="connsiteX12928" fmla="*/ 6073590 w 6884782"/>
              <a:gd name="connsiteY12928" fmla="*/ 4646699 h 5973007"/>
              <a:gd name="connsiteX12929" fmla="*/ 6076533 w 6884782"/>
              <a:gd name="connsiteY12929" fmla="*/ 4646492 h 5973007"/>
              <a:gd name="connsiteX12930" fmla="*/ 6076843 w 6884782"/>
              <a:gd name="connsiteY12930" fmla="*/ 4644530 h 5973007"/>
              <a:gd name="connsiteX12931" fmla="*/ 6078082 w 6884782"/>
              <a:gd name="connsiteY12931" fmla="*/ 4644220 h 5973007"/>
              <a:gd name="connsiteX12932" fmla="*/ 6191002 w 6884782"/>
              <a:gd name="connsiteY12932" fmla="*/ 4643601 h 5973007"/>
              <a:gd name="connsiteX12933" fmla="*/ 6192705 w 6884782"/>
              <a:gd name="connsiteY12933" fmla="*/ 4644840 h 5973007"/>
              <a:gd name="connsiteX12934" fmla="*/ 6193015 w 6884782"/>
              <a:gd name="connsiteY12934" fmla="*/ 4644840 h 5973007"/>
              <a:gd name="connsiteX12935" fmla="*/ 6192396 w 6884782"/>
              <a:gd name="connsiteY12935" fmla="*/ 4652687 h 5973007"/>
              <a:gd name="connsiteX12936" fmla="*/ 6189762 w 6884782"/>
              <a:gd name="connsiteY12936" fmla="*/ 4654649 h 5973007"/>
              <a:gd name="connsiteX12937" fmla="*/ 6186045 w 6884782"/>
              <a:gd name="connsiteY12937" fmla="*/ 4654752 h 5973007"/>
              <a:gd name="connsiteX12938" fmla="*/ 6183257 w 6884782"/>
              <a:gd name="connsiteY12938" fmla="*/ 4655578 h 5973007"/>
              <a:gd name="connsiteX12939" fmla="*/ 6180314 w 6884782"/>
              <a:gd name="connsiteY12939" fmla="*/ 4655166 h 5973007"/>
              <a:gd name="connsiteX12940" fmla="*/ 6178920 w 6884782"/>
              <a:gd name="connsiteY12940" fmla="*/ 4650829 h 5973007"/>
              <a:gd name="connsiteX12941" fmla="*/ 6182792 w 6884782"/>
              <a:gd name="connsiteY12941" fmla="*/ 4646699 h 5973007"/>
              <a:gd name="connsiteX12942" fmla="*/ 6182637 w 6884782"/>
              <a:gd name="connsiteY12942" fmla="*/ 4646079 h 5973007"/>
              <a:gd name="connsiteX12943" fmla="*/ 6191002 w 6884782"/>
              <a:gd name="connsiteY12943" fmla="*/ 4643601 h 5973007"/>
              <a:gd name="connsiteX12944" fmla="*/ 895417 w 6884782"/>
              <a:gd name="connsiteY12944" fmla="*/ 4642964 h 5973007"/>
              <a:gd name="connsiteX12945" fmla="*/ 890460 w 6884782"/>
              <a:gd name="connsiteY12945" fmla="*/ 4648849 h 5973007"/>
              <a:gd name="connsiteX12946" fmla="*/ 888447 w 6884782"/>
              <a:gd name="connsiteY12946" fmla="*/ 4648539 h 5973007"/>
              <a:gd name="connsiteX12947" fmla="*/ 888291 w 6884782"/>
              <a:gd name="connsiteY12947" fmla="*/ 4645958 h 5973007"/>
              <a:gd name="connsiteX12948" fmla="*/ 895417 w 6884782"/>
              <a:gd name="connsiteY12948" fmla="*/ 4642964 h 5973007"/>
              <a:gd name="connsiteX12949" fmla="*/ 1326028 w 6884782"/>
              <a:gd name="connsiteY12949" fmla="*/ 4642447 h 5973007"/>
              <a:gd name="connsiteX12950" fmla="*/ 1334392 w 6884782"/>
              <a:gd name="connsiteY12950" fmla="*/ 4646784 h 5973007"/>
              <a:gd name="connsiteX12951" fmla="*/ 1326803 w 6884782"/>
              <a:gd name="connsiteY12951" fmla="*/ 4652979 h 5973007"/>
              <a:gd name="connsiteX12952" fmla="*/ 1323705 w 6884782"/>
              <a:gd name="connsiteY12952" fmla="*/ 4651017 h 5973007"/>
              <a:gd name="connsiteX12953" fmla="*/ 1326028 w 6884782"/>
              <a:gd name="connsiteY12953" fmla="*/ 4642447 h 5973007"/>
              <a:gd name="connsiteX12954" fmla="*/ 6117794 w 6884782"/>
              <a:gd name="connsiteY12954" fmla="*/ 4642439 h 5973007"/>
              <a:gd name="connsiteX12955" fmla="*/ 6121453 w 6884782"/>
              <a:gd name="connsiteY12955" fmla="*/ 4646905 h 5973007"/>
              <a:gd name="connsiteX12956" fmla="*/ 6120524 w 6884782"/>
              <a:gd name="connsiteY12956" fmla="*/ 4651139 h 5973007"/>
              <a:gd name="connsiteX12957" fmla="*/ 6113863 w 6884782"/>
              <a:gd name="connsiteY12957" fmla="*/ 4654959 h 5973007"/>
              <a:gd name="connsiteX12958" fmla="*/ 6111540 w 6884782"/>
              <a:gd name="connsiteY12958" fmla="*/ 4650622 h 5973007"/>
              <a:gd name="connsiteX12959" fmla="*/ 6110301 w 6884782"/>
              <a:gd name="connsiteY12959" fmla="*/ 4646492 h 5973007"/>
              <a:gd name="connsiteX12960" fmla="*/ 6117794 w 6884782"/>
              <a:gd name="connsiteY12960" fmla="*/ 4642439 h 5973007"/>
              <a:gd name="connsiteX12961" fmla="*/ 1147433 w 6884782"/>
              <a:gd name="connsiteY12961" fmla="*/ 4641518 h 5973007"/>
              <a:gd name="connsiteX12962" fmla="*/ 1149446 w 6884782"/>
              <a:gd name="connsiteY12962" fmla="*/ 4643170 h 5973007"/>
              <a:gd name="connsiteX12963" fmla="*/ 1147433 w 6884782"/>
              <a:gd name="connsiteY12963" fmla="*/ 4644615 h 5973007"/>
              <a:gd name="connsiteX12964" fmla="*/ 1145729 w 6884782"/>
              <a:gd name="connsiteY12964" fmla="*/ 4643583 h 5973007"/>
              <a:gd name="connsiteX12965" fmla="*/ 1143251 w 6884782"/>
              <a:gd name="connsiteY12965" fmla="*/ 4644306 h 5973007"/>
              <a:gd name="connsiteX12966" fmla="*/ 1142166 w 6884782"/>
              <a:gd name="connsiteY12966" fmla="*/ 4642757 h 5973007"/>
              <a:gd name="connsiteX12967" fmla="*/ 1147433 w 6884782"/>
              <a:gd name="connsiteY12967" fmla="*/ 4641518 h 5973007"/>
              <a:gd name="connsiteX12968" fmla="*/ 1249819 w 6884782"/>
              <a:gd name="connsiteY12968" fmla="*/ 4641208 h 5973007"/>
              <a:gd name="connsiteX12969" fmla="*/ 1254931 w 6884782"/>
              <a:gd name="connsiteY12969" fmla="*/ 4664957 h 5973007"/>
              <a:gd name="connsiteX12970" fmla="*/ 1249819 w 6884782"/>
              <a:gd name="connsiteY12970" fmla="*/ 4641208 h 5973007"/>
              <a:gd name="connsiteX12971" fmla="*/ 1071843 w 6884782"/>
              <a:gd name="connsiteY12971" fmla="*/ 4640485 h 5973007"/>
              <a:gd name="connsiteX12972" fmla="*/ 1071843 w 6884782"/>
              <a:gd name="connsiteY12972" fmla="*/ 4646577 h 5973007"/>
              <a:gd name="connsiteX12973" fmla="*/ 1069830 w 6884782"/>
              <a:gd name="connsiteY12973" fmla="*/ 4648126 h 5973007"/>
              <a:gd name="connsiteX12974" fmla="*/ 1067041 w 6884782"/>
              <a:gd name="connsiteY12974" fmla="*/ 4647713 h 5973007"/>
              <a:gd name="connsiteX12975" fmla="*/ 1065028 w 6884782"/>
              <a:gd name="connsiteY12975" fmla="*/ 4646061 h 5973007"/>
              <a:gd name="connsiteX12976" fmla="*/ 1064408 w 6884782"/>
              <a:gd name="connsiteY12976" fmla="*/ 4640898 h 5973007"/>
              <a:gd name="connsiteX12977" fmla="*/ 1071843 w 6884782"/>
              <a:gd name="connsiteY12977" fmla="*/ 4640485 h 5973007"/>
              <a:gd name="connsiteX12978" fmla="*/ 1681825 w 6884782"/>
              <a:gd name="connsiteY12978" fmla="*/ 4640382 h 5973007"/>
              <a:gd name="connsiteX12979" fmla="*/ 1683839 w 6884782"/>
              <a:gd name="connsiteY12979" fmla="*/ 4651431 h 5973007"/>
              <a:gd name="connsiteX12980" fmla="*/ 1682599 w 6884782"/>
              <a:gd name="connsiteY12980" fmla="*/ 4653599 h 5973007"/>
              <a:gd name="connsiteX12981" fmla="*/ 1682290 w 6884782"/>
              <a:gd name="connsiteY12981" fmla="*/ 4655561 h 5973007"/>
              <a:gd name="connsiteX12982" fmla="*/ 1677953 w 6884782"/>
              <a:gd name="connsiteY12982" fmla="*/ 4659794 h 5973007"/>
              <a:gd name="connsiteX12983" fmla="*/ 1678727 w 6884782"/>
              <a:gd name="connsiteY12983" fmla="*/ 4642344 h 5973007"/>
              <a:gd name="connsiteX12984" fmla="*/ 1679656 w 6884782"/>
              <a:gd name="connsiteY12984" fmla="*/ 4640588 h 5973007"/>
              <a:gd name="connsiteX12985" fmla="*/ 1681825 w 6884782"/>
              <a:gd name="connsiteY12985" fmla="*/ 4640382 h 5973007"/>
              <a:gd name="connsiteX12986" fmla="*/ 6682178 w 6884782"/>
              <a:gd name="connsiteY12986" fmla="*/ 4639471 h 5973007"/>
              <a:gd name="connsiteX12987" fmla="*/ 6684656 w 6884782"/>
              <a:gd name="connsiteY12987" fmla="*/ 4640813 h 5973007"/>
              <a:gd name="connsiteX12988" fmla="*/ 6684811 w 6884782"/>
              <a:gd name="connsiteY12988" fmla="*/ 4642775 h 5973007"/>
              <a:gd name="connsiteX12989" fmla="*/ 6686825 w 6884782"/>
              <a:gd name="connsiteY12989" fmla="*/ 4644840 h 5973007"/>
              <a:gd name="connsiteX12990" fmla="*/ 6686050 w 6884782"/>
              <a:gd name="connsiteY12990" fmla="*/ 4646285 h 5973007"/>
              <a:gd name="connsiteX12991" fmla="*/ 6682023 w 6884782"/>
              <a:gd name="connsiteY12991" fmla="*/ 4642052 h 5973007"/>
              <a:gd name="connsiteX12992" fmla="*/ 6682178 w 6884782"/>
              <a:gd name="connsiteY12992" fmla="*/ 4639471 h 5973007"/>
              <a:gd name="connsiteX12993" fmla="*/ 6011942 w 6884782"/>
              <a:gd name="connsiteY12993" fmla="*/ 4639471 h 5973007"/>
              <a:gd name="connsiteX12994" fmla="*/ 6011631 w 6884782"/>
              <a:gd name="connsiteY12994" fmla="*/ 4647628 h 5973007"/>
              <a:gd name="connsiteX12995" fmla="*/ 6010857 w 6884782"/>
              <a:gd name="connsiteY12995" fmla="*/ 4640710 h 5973007"/>
              <a:gd name="connsiteX12996" fmla="*/ 6011942 w 6884782"/>
              <a:gd name="connsiteY12996" fmla="*/ 4639471 h 5973007"/>
              <a:gd name="connsiteX12997" fmla="*/ 6675052 w 6884782"/>
              <a:gd name="connsiteY12997" fmla="*/ 4638954 h 5973007"/>
              <a:gd name="connsiteX12998" fmla="*/ 6676292 w 6884782"/>
              <a:gd name="connsiteY12998" fmla="*/ 4640606 h 5973007"/>
              <a:gd name="connsiteX12999" fmla="*/ 6678615 w 6884782"/>
              <a:gd name="connsiteY12999" fmla="*/ 4645872 h 5973007"/>
              <a:gd name="connsiteX13000" fmla="*/ 6676911 w 6884782"/>
              <a:gd name="connsiteY13000" fmla="*/ 4646492 h 5973007"/>
              <a:gd name="connsiteX13001" fmla="*/ 6675982 w 6884782"/>
              <a:gd name="connsiteY13001" fmla="*/ 4645356 h 5973007"/>
              <a:gd name="connsiteX13002" fmla="*/ 6675207 w 6884782"/>
              <a:gd name="connsiteY13002" fmla="*/ 4642878 h 5973007"/>
              <a:gd name="connsiteX13003" fmla="*/ 6673968 w 6884782"/>
              <a:gd name="connsiteY13003" fmla="*/ 4641329 h 5973007"/>
              <a:gd name="connsiteX13004" fmla="*/ 6675052 w 6884782"/>
              <a:gd name="connsiteY13004" fmla="*/ 4638954 h 5973007"/>
              <a:gd name="connsiteX13005" fmla="*/ 6656000 w 6884782"/>
              <a:gd name="connsiteY13005" fmla="*/ 4638748 h 5973007"/>
              <a:gd name="connsiteX13006" fmla="*/ 6659098 w 6884782"/>
              <a:gd name="connsiteY13006" fmla="*/ 4646699 h 5973007"/>
              <a:gd name="connsiteX13007" fmla="*/ 6658014 w 6884782"/>
              <a:gd name="connsiteY13007" fmla="*/ 4648454 h 5973007"/>
              <a:gd name="connsiteX13008" fmla="*/ 6655845 w 6884782"/>
              <a:gd name="connsiteY13008" fmla="*/ 4647111 h 5973007"/>
              <a:gd name="connsiteX13009" fmla="*/ 6656000 w 6884782"/>
              <a:gd name="connsiteY13009" fmla="*/ 4638748 h 5973007"/>
              <a:gd name="connsiteX13010" fmla="*/ 1270421 w 6884782"/>
              <a:gd name="connsiteY13010" fmla="*/ 4638214 h 5973007"/>
              <a:gd name="connsiteX13011" fmla="*/ 1269336 w 6884782"/>
              <a:gd name="connsiteY13011" fmla="*/ 4641105 h 5973007"/>
              <a:gd name="connsiteX13012" fmla="*/ 1270266 w 6884782"/>
              <a:gd name="connsiteY13012" fmla="*/ 4641105 h 5973007"/>
              <a:gd name="connsiteX13013" fmla="*/ 1270576 w 6884782"/>
              <a:gd name="connsiteY13013" fmla="*/ 4645235 h 5973007"/>
              <a:gd name="connsiteX13014" fmla="*/ 1267632 w 6884782"/>
              <a:gd name="connsiteY13014" fmla="*/ 4646268 h 5973007"/>
              <a:gd name="connsiteX13015" fmla="*/ 1266858 w 6884782"/>
              <a:gd name="connsiteY13015" fmla="*/ 4648436 h 5973007"/>
              <a:gd name="connsiteX13016" fmla="*/ 1263605 w 6884782"/>
              <a:gd name="connsiteY13016" fmla="*/ 4654838 h 5973007"/>
              <a:gd name="connsiteX13017" fmla="*/ 1262211 w 6884782"/>
              <a:gd name="connsiteY13017" fmla="*/ 4656180 h 5973007"/>
              <a:gd name="connsiteX13018" fmla="*/ 1260197 w 6884782"/>
              <a:gd name="connsiteY13018" fmla="*/ 4655664 h 5973007"/>
              <a:gd name="connsiteX13019" fmla="*/ 1262211 w 6884782"/>
              <a:gd name="connsiteY13019" fmla="*/ 4644203 h 5973007"/>
              <a:gd name="connsiteX13020" fmla="*/ 1264070 w 6884782"/>
              <a:gd name="connsiteY13020" fmla="*/ 4642550 h 5973007"/>
              <a:gd name="connsiteX13021" fmla="*/ 1265000 w 6884782"/>
              <a:gd name="connsiteY13021" fmla="*/ 4640795 h 5973007"/>
              <a:gd name="connsiteX13022" fmla="*/ 1270421 w 6884782"/>
              <a:gd name="connsiteY13022" fmla="*/ 4638214 h 5973007"/>
              <a:gd name="connsiteX13023" fmla="*/ 1436624 w 6884782"/>
              <a:gd name="connsiteY13023" fmla="*/ 4638110 h 5973007"/>
              <a:gd name="connsiteX13024" fmla="*/ 1444059 w 6884782"/>
              <a:gd name="connsiteY13024" fmla="*/ 4647713 h 5973007"/>
              <a:gd name="connsiteX13025" fmla="*/ 1438793 w 6884782"/>
              <a:gd name="connsiteY13025" fmla="*/ 4647404 h 5973007"/>
              <a:gd name="connsiteX13026" fmla="*/ 1436624 w 6884782"/>
              <a:gd name="connsiteY13026" fmla="*/ 4638110 h 5973007"/>
              <a:gd name="connsiteX13027" fmla="*/ 1481389 w 6884782"/>
              <a:gd name="connsiteY13027" fmla="*/ 4637801 h 5973007"/>
              <a:gd name="connsiteX13028" fmla="*/ 1465435 w 6884782"/>
              <a:gd name="connsiteY13028" fmla="*/ 4654425 h 5973007"/>
              <a:gd name="connsiteX13029" fmla="*/ 1466984 w 6884782"/>
              <a:gd name="connsiteY13029" fmla="*/ 4649262 h 5973007"/>
              <a:gd name="connsiteX13030" fmla="*/ 1465900 w 6884782"/>
              <a:gd name="connsiteY13030" fmla="*/ 4648643 h 5973007"/>
              <a:gd name="connsiteX13031" fmla="*/ 1464196 w 6884782"/>
              <a:gd name="connsiteY13031" fmla="*/ 4645648 h 5973007"/>
              <a:gd name="connsiteX13032" fmla="*/ 1470082 w 6884782"/>
              <a:gd name="connsiteY13032" fmla="*/ 4640898 h 5973007"/>
              <a:gd name="connsiteX13033" fmla="*/ 1471321 w 6884782"/>
              <a:gd name="connsiteY13033" fmla="*/ 4643067 h 5973007"/>
              <a:gd name="connsiteX13034" fmla="*/ 1471631 w 6884782"/>
              <a:gd name="connsiteY13034" fmla="*/ 4643273 h 5973007"/>
              <a:gd name="connsiteX13035" fmla="*/ 6464703 w 6884782"/>
              <a:gd name="connsiteY13035" fmla="*/ 4637715 h 5973007"/>
              <a:gd name="connsiteX13036" fmla="*/ 6464084 w 6884782"/>
              <a:gd name="connsiteY13036" fmla="*/ 4642672 h 5973007"/>
              <a:gd name="connsiteX13037" fmla="*/ 6461141 w 6884782"/>
              <a:gd name="connsiteY13037" fmla="*/ 4645976 h 5973007"/>
              <a:gd name="connsiteX13038" fmla="*/ 6460366 w 6884782"/>
              <a:gd name="connsiteY13038" fmla="*/ 4649280 h 5973007"/>
              <a:gd name="connsiteX13039" fmla="*/ 6460831 w 6884782"/>
              <a:gd name="connsiteY13039" fmla="*/ 4648557 h 5973007"/>
              <a:gd name="connsiteX13040" fmla="*/ 6468886 w 6884782"/>
              <a:gd name="connsiteY13040" fmla="*/ 4646492 h 5973007"/>
              <a:gd name="connsiteX13041" fmla="*/ 6470125 w 6884782"/>
              <a:gd name="connsiteY13041" fmla="*/ 4646389 h 5973007"/>
              <a:gd name="connsiteX13042" fmla="*/ 837331 w 6884782"/>
              <a:gd name="connsiteY13042" fmla="*/ 4637594 h 5973007"/>
              <a:gd name="connsiteX13043" fmla="*/ 849412 w 6884782"/>
              <a:gd name="connsiteY13043" fmla="*/ 4680342 h 5973007"/>
              <a:gd name="connsiteX13044" fmla="*/ 828191 w 6884782"/>
              <a:gd name="connsiteY13044" fmla="*/ 4639349 h 5973007"/>
              <a:gd name="connsiteX13045" fmla="*/ 837331 w 6884782"/>
              <a:gd name="connsiteY13045" fmla="*/ 4637594 h 5973007"/>
              <a:gd name="connsiteX13046" fmla="*/ 1550202 w 6884782"/>
              <a:gd name="connsiteY13046" fmla="*/ 4636807 h 5973007"/>
              <a:gd name="connsiteX13047" fmla="*/ 1563949 w 6884782"/>
              <a:gd name="connsiteY13047" fmla="*/ 4637594 h 5973007"/>
              <a:gd name="connsiteX13048" fmla="*/ 1560232 w 6884782"/>
              <a:gd name="connsiteY13048" fmla="*/ 4640485 h 5973007"/>
              <a:gd name="connsiteX13049" fmla="*/ 1560851 w 6884782"/>
              <a:gd name="connsiteY13049" fmla="*/ 4642344 h 5973007"/>
              <a:gd name="connsiteX13050" fmla="*/ 1559457 w 6884782"/>
              <a:gd name="connsiteY13050" fmla="*/ 4647300 h 5973007"/>
              <a:gd name="connsiteX13051" fmla="*/ 1566117 w 6884782"/>
              <a:gd name="connsiteY13051" fmla="*/ 4645338 h 5973007"/>
              <a:gd name="connsiteX13052" fmla="*/ 1574328 w 6884782"/>
              <a:gd name="connsiteY13052" fmla="*/ 4646681 h 5973007"/>
              <a:gd name="connsiteX13053" fmla="*/ 1587184 w 6884782"/>
              <a:gd name="connsiteY13053" fmla="*/ 4670016 h 5973007"/>
              <a:gd name="connsiteX13054" fmla="*/ 1585170 w 6884782"/>
              <a:gd name="connsiteY13054" fmla="*/ 4671978 h 5973007"/>
              <a:gd name="connsiteX13055" fmla="*/ 1576806 w 6884782"/>
              <a:gd name="connsiteY13055" fmla="*/ 4673527 h 5973007"/>
              <a:gd name="connsiteX13056" fmla="*/ 1571694 w 6884782"/>
              <a:gd name="connsiteY13056" fmla="*/ 4672495 h 5973007"/>
              <a:gd name="connsiteX13057" fmla="*/ 1573243 w 6884782"/>
              <a:gd name="connsiteY13057" fmla="*/ 4675179 h 5973007"/>
              <a:gd name="connsiteX13058" fmla="*/ 1572158 w 6884782"/>
              <a:gd name="connsiteY13058" fmla="*/ 4676315 h 5973007"/>
              <a:gd name="connsiteX13059" fmla="*/ 1572933 w 6884782"/>
              <a:gd name="connsiteY13059" fmla="*/ 4676522 h 5973007"/>
              <a:gd name="connsiteX13060" fmla="*/ 1574792 w 6884782"/>
              <a:gd name="connsiteY13060" fmla="*/ 4676315 h 5973007"/>
              <a:gd name="connsiteX13061" fmla="*/ 1579903 w 6884782"/>
              <a:gd name="connsiteY13061" fmla="*/ 4679516 h 5973007"/>
              <a:gd name="connsiteX13062" fmla="*/ 1563949 w 6884782"/>
              <a:gd name="connsiteY13062" fmla="*/ 4683543 h 5973007"/>
              <a:gd name="connsiteX13063" fmla="*/ 1561935 w 6884782"/>
              <a:gd name="connsiteY13063" fmla="*/ 4683027 h 5973007"/>
              <a:gd name="connsiteX13064" fmla="*/ 1561316 w 6884782"/>
              <a:gd name="connsiteY13064" fmla="*/ 4680962 h 5973007"/>
              <a:gd name="connsiteX13065" fmla="*/ 1563795 w 6884782"/>
              <a:gd name="connsiteY13065" fmla="*/ 4678587 h 5973007"/>
              <a:gd name="connsiteX13066" fmla="*/ 1561780 w 6884782"/>
              <a:gd name="connsiteY13066" fmla="*/ 4677761 h 5973007"/>
              <a:gd name="connsiteX13067" fmla="*/ 1559767 w 6884782"/>
              <a:gd name="connsiteY13067" fmla="*/ 4675386 h 5973007"/>
              <a:gd name="connsiteX13068" fmla="*/ 1559612 w 6884782"/>
              <a:gd name="connsiteY13068" fmla="*/ 4677864 h 5973007"/>
              <a:gd name="connsiteX13069" fmla="*/ 1544277 w 6884782"/>
              <a:gd name="connsiteY13069" fmla="*/ 4666506 h 5973007"/>
              <a:gd name="connsiteX13070" fmla="*/ 1544897 w 6884782"/>
              <a:gd name="connsiteY13070" fmla="*/ 4661033 h 5973007"/>
              <a:gd name="connsiteX13071" fmla="*/ 1560077 w 6884782"/>
              <a:gd name="connsiteY13071" fmla="*/ 4671462 h 5973007"/>
              <a:gd name="connsiteX13072" fmla="*/ 1559922 w 6884782"/>
              <a:gd name="connsiteY13072" fmla="*/ 4674044 h 5973007"/>
              <a:gd name="connsiteX13073" fmla="*/ 1564569 w 6884782"/>
              <a:gd name="connsiteY13073" fmla="*/ 4670326 h 5973007"/>
              <a:gd name="connsiteX13074" fmla="*/ 1568441 w 6884782"/>
              <a:gd name="connsiteY13074" fmla="*/ 4671049 h 5973007"/>
              <a:gd name="connsiteX13075" fmla="*/ 1565034 w 6884782"/>
              <a:gd name="connsiteY13075" fmla="*/ 4669190 h 5973007"/>
              <a:gd name="connsiteX13076" fmla="*/ 1557598 w 6884782"/>
              <a:gd name="connsiteY13076" fmla="*/ 4659175 h 5973007"/>
              <a:gd name="connsiteX13077" fmla="*/ 1556360 w 6884782"/>
              <a:gd name="connsiteY13077" fmla="*/ 4653702 h 5973007"/>
              <a:gd name="connsiteX13078" fmla="*/ 1557133 w 6884782"/>
              <a:gd name="connsiteY13078" fmla="*/ 4648333 h 5973007"/>
              <a:gd name="connsiteX13079" fmla="*/ 1555895 w 6884782"/>
              <a:gd name="connsiteY13079" fmla="*/ 4648230 h 5973007"/>
              <a:gd name="connsiteX13080" fmla="*/ 1553416 w 6884782"/>
              <a:gd name="connsiteY13080" fmla="*/ 4645545 h 5973007"/>
              <a:gd name="connsiteX13081" fmla="*/ 1553571 w 6884782"/>
              <a:gd name="connsiteY13081" fmla="*/ 4643273 h 5973007"/>
              <a:gd name="connsiteX13082" fmla="*/ 1549543 w 6884782"/>
              <a:gd name="connsiteY13082" fmla="*/ 4644099 h 5973007"/>
              <a:gd name="connsiteX13083" fmla="*/ 1537152 w 6884782"/>
              <a:gd name="connsiteY13083" fmla="*/ 4637801 h 5973007"/>
              <a:gd name="connsiteX13084" fmla="*/ 1550202 w 6884782"/>
              <a:gd name="connsiteY13084" fmla="*/ 4636807 h 5973007"/>
              <a:gd name="connsiteX13085" fmla="*/ 6410180 w 6884782"/>
              <a:gd name="connsiteY13085" fmla="*/ 4636579 h 5973007"/>
              <a:gd name="connsiteX13086" fmla="*/ 6415446 w 6884782"/>
              <a:gd name="connsiteY13086" fmla="*/ 4638644 h 5973007"/>
              <a:gd name="connsiteX13087" fmla="*/ 6416221 w 6884782"/>
              <a:gd name="connsiteY13087" fmla="*/ 4644840 h 5973007"/>
              <a:gd name="connsiteX13088" fmla="*/ 6419629 w 6884782"/>
              <a:gd name="connsiteY13088" fmla="*/ 4644324 h 5973007"/>
              <a:gd name="connsiteX13089" fmla="*/ 6422881 w 6884782"/>
              <a:gd name="connsiteY13089" fmla="*/ 4652068 h 5973007"/>
              <a:gd name="connsiteX13090" fmla="*/ 6418080 w 6884782"/>
              <a:gd name="connsiteY13090" fmla="*/ 4656198 h 5973007"/>
              <a:gd name="connsiteX13091" fmla="*/ 6411574 w 6884782"/>
              <a:gd name="connsiteY13091" fmla="*/ 4649177 h 5973007"/>
              <a:gd name="connsiteX13092" fmla="*/ 6414052 w 6884782"/>
              <a:gd name="connsiteY13092" fmla="*/ 4645356 h 5973007"/>
              <a:gd name="connsiteX13093" fmla="*/ 6412968 w 6884782"/>
              <a:gd name="connsiteY13093" fmla="*/ 4645150 h 5973007"/>
              <a:gd name="connsiteX13094" fmla="*/ 6411419 w 6884782"/>
              <a:gd name="connsiteY13094" fmla="*/ 4643084 h 5973007"/>
              <a:gd name="connsiteX13095" fmla="*/ 6410180 w 6884782"/>
              <a:gd name="connsiteY13095" fmla="*/ 4636579 h 5973007"/>
              <a:gd name="connsiteX13096" fmla="*/ 5954785 w 6884782"/>
              <a:gd name="connsiteY13096" fmla="*/ 4636063 h 5973007"/>
              <a:gd name="connsiteX13097" fmla="*/ 5960516 w 6884782"/>
              <a:gd name="connsiteY13097" fmla="*/ 4637922 h 5973007"/>
              <a:gd name="connsiteX13098" fmla="*/ 5960981 w 6884782"/>
              <a:gd name="connsiteY13098" fmla="*/ 4649177 h 5973007"/>
              <a:gd name="connsiteX13099" fmla="*/ 5953081 w 6884782"/>
              <a:gd name="connsiteY13099" fmla="*/ 4653410 h 5973007"/>
              <a:gd name="connsiteX13100" fmla="*/ 5953855 w 6884782"/>
              <a:gd name="connsiteY13100" fmla="*/ 4653410 h 5973007"/>
              <a:gd name="connsiteX13101" fmla="*/ 5955404 w 6884782"/>
              <a:gd name="connsiteY13101" fmla="*/ 4655269 h 5973007"/>
              <a:gd name="connsiteX13102" fmla="*/ 5956798 w 6884782"/>
              <a:gd name="connsiteY13102" fmla="*/ 4655269 h 5973007"/>
              <a:gd name="connsiteX13103" fmla="*/ 5958502 w 6884782"/>
              <a:gd name="connsiteY13103" fmla="*/ 4655269 h 5973007"/>
              <a:gd name="connsiteX13104" fmla="*/ 5958657 w 6884782"/>
              <a:gd name="connsiteY13104" fmla="*/ 4656095 h 5973007"/>
              <a:gd name="connsiteX13105" fmla="*/ 5956334 w 6884782"/>
              <a:gd name="connsiteY13105" fmla="*/ 4656508 h 5973007"/>
              <a:gd name="connsiteX13106" fmla="*/ 5958812 w 6884782"/>
              <a:gd name="connsiteY13106" fmla="*/ 4659606 h 5973007"/>
              <a:gd name="connsiteX13107" fmla="*/ 5960826 w 6884782"/>
              <a:gd name="connsiteY13107" fmla="*/ 4659296 h 5973007"/>
              <a:gd name="connsiteX13108" fmla="*/ 5959586 w 6884782"/>
              <a:gd name="connsiteY13108" fmla="*/ 4660844 h 5973007"/>
              <a:gd name="connsiteX13109" fmla="*/ 5960826 w 6884782"/>
              <a:gd name="connsiteY13109" fmla="*/ 4663116 h 5973007"/>
              <a:gd name="connsiteX13110" fmla="*/ 5960981 w 6884782"/>
              <a:gd name="connsiteY13110" fmla="*/ 4665595 h 5973007"/>
              <a:gd name="connsiteX13111" fmla="*/ 5958657 w 6884782"/>
              <a:gd name="connsiteY13111" fmla="*/ 4664768 h 5973007"/>
              <a:gd name="connsiteX13112" fmla="*/ 5957883 w 6884782"/>
              <a:gd name="connsiteY13112" fmla="*/ 4663839 h 5973007"/>
              <a:gd name="connsiteX13113" fmla="*/ 5957108 w 6884782"/>
              <a:gd name="connsiteY13113" fmla="*/ 4663839 h 5973007"/>
              <a:gd name="connsiteX13114" fmla="*/ 5957108 w 6884782"/>
              <a:gd name="connsiteY13114" fmla="*/ 4663529 h 5973007"/>
              <a:gd name="connsiteX13115" fmla="*/ 5953545 w 6884782"/>
              <a:gd name="connsiteY13115" fmla="*/ 4665078 h 5973007"/>
              <a:gd name="connsiteX13116" fmla="*/ 5947814 w 6884782"/>
              <a:gd name="connsiteY13116" fmla="*/ 4668073 h 5973007"/>
              <a:gd name="connsiteX13117" fmla="*/ 5947350 w 6884782"/>
              <a:gd name="connsiteY13117" fmla="*/ 4664562 h 5973007"/>
              <a:gd name="connsiteX13118" fmla="*/ 5949053 w 6884782"/>
              <a:gd name="connsiteY13118" fmla="*/ 4664459 h 5973007"/>
              <a:gd name="connsiteX13119" fmla="*/ 5954010 w 6884782"/>
              <a:gd name="connsiteY13119" fmla="*/ 4660535 h 5973007"/>
              <a:gd name="connsiteX13120" fmla="*/ 5954475 w 6884782"/>
              <a:gd name="connsiteY13120" fmla="*/ 4660432 h 5973007"/>
              <a:gd name="connsiteX13121" fmla="*/ 5952926 w 6884782"/>
              <a:gd name="connsiteY13121" fmla="*/ 4659606 h 5973007"/>
              <a:gd name="connsiteX13122" fmla="*/ 5950912 w 6884782"/>
              <a:gd name="connsiteY13122" fmla="*/ 4658573 h 5973007"/>
              <a:gd name="connsiteX13123" fmla="*/ 5950757 w 6884782"/>
              <a:gd name="connsiteY13123" fmla="*/ 4658367 h 5973007"/>
              <a:gd name="connsiteX13124" fmla="*/ 5950293 w 6884782"/>
              <a:gd name="connsiteY13124" fmla="*/ 4658573 h 5973007"/>
              <a:gd name="connsiteX13125" fmla="*/ 5947040 w 6884782"/>
              <a:gd name="connsiteY13125" fmla="*/ 4658470 h 5973007"/>
              <a:gd name="connsiteX13126" fmla="*/ 5947969 w 6884782"/>
              <a:gd name="connsiteY13126" fmla="*/ 4658367 h 5973007"/>
              <a:gd name="connsiteX13127" fmla="*/ 5947040 w 6884782"/>
              <a:gd name="connsiteY13127" fmla="*/ 4657644 h 5973007"/>
              <a:gd name="connsiteX13128" fmla="*/ 5949673 w 6884782"/>
              <a:gd name="connsiteY13128" fmla="*/ 4656714 h 5973007"/>
              <a:gd name="connsiteX13129" fmla="*/ 5949364 w 6884782"/>
              <a:gd name="connsiteY13129" fmla="*/ 4656198 h 5973007"/>
              <a:gd name="connsiteX13130" fmla="*/ 5947969 w 6884782"/>
              <a:gd name="connsiteY13130" fmla="*/ 4653307 h 5973007"/>
              <a:gd name="connsiteX13131" fmla="*/ 5949828 w 6884782"/>
              <a:gd name="connsiteY13131" fmla="*/ 4651551 h 5973007"/>
              <a:gd name="connsiteX13132" fmla="*/ 5948279 w 6884782"/>
              <a:gd name="connsiteY13132" fmla="*/ 4649796 h 5973007"/>
              <a:gd name="connsiteX13133" fmla="*/ 5950293 w 6884782"/>
              <a:gd name="connsiteY13133" fmla="*/ 4638644 h 5973007"/>
              <a:gd name="connsiteX13134" fmla="*/ 5954785 w 6884782"/>
              <a:gd name="connsiteY13134" fmla="*/ 4636063 h 5973007"/>
              <a:gd name="connsiteX13135" fmla="*/ 1501836 w 6884782"/>
              <a:gd name="connsiteY13135" fmla="*/ 4635632 h 5973007"/>
              <a:gd name="connsiteX13136" fmla="*/ 1504314 w 6884782"/>
              <a:gd name="connsiteY13136" fmla="*/ 4643996 h 5973007"/>
              <a:gd name="connsiteX13137" fmla="*/ 1497344 w 6884782"/>
              <a:gd name="connsiteY13137" fmla="*/ 4645854 h 5973007"/>
              <a:gd name="connsiteX13138" fmla="*/ 1490683 w 6884782"/>
              <a:gd name="connsiteY13138" fmla="*/ 4644719 h 5973007"/>
              <a:gd name="connsiteX13139" fmla="*/ 1501836 w 6884782"/>
              <a:gd name="connsiteY13139" fmla="*/ 4635632 h 5973007"/>
              <a:gd name="connsiteX13140" fmla="*/ 1324169 w 6884782"/>
              <a:gd name="connsiteY13140" fmla="*/ 4635219 h 5973007"/>
              <a:gd name="connsiteX13141" fmla="*/ 1324169 w 6884782"/>
              <a:gd name="connsiteY13141" fmla="*/ 4638007 h 5973007"/>
              <a:gd name="connsiteX13142" fmla="*/ 1323705 w 6884782"/>
              <a:gd name="connsiteY13142" fmla="*/ 4639143 h 5973007"/>
              <a:gd name="connsiteX13143" fmla="*/ 1323860 w 6884782"/>
              <a:gd name="connsiteY13143" fmla="*/ 4640072 h 5973007"/>
              <a:gd name="connsiteX13144" fmla="*/ 1323085 w 6884782"/>
              <a:gd name="connsiteY13144" fmla="*/ 4640382 h 5973007"/>
              <a:gd name="connsiteX13145" fmla="*/ 1322002 w 6884782"/>
              <a:gd name="connsiteY13145" fmla="*/ 4642654 h 5973007"/>
              <a:gd name="connsiteX13146" fmla="*/ 1321071 w 6884782"/>
              <a:gd name="connsiteY13146" fmla="*/ 4648436 h 5973007"/>
              <a:gd name="connsiteX13147" fmla="*/ 1320917 w 6884782"/>
              <a:gd name="connsiteY13147" fmla="*/ 4648849 h 5973007"/>
              <a:gd name="connsiteX13148" fmla="*/ 1322466 w 6884782"/>
              <a:gd name="connsiteY13148" fmla="*/ 4651431 h 5973007"/>
              <a:gd name="connsiteX13149" fmla="*/ 1319058 w 6884782"/>
              <a:gd name="connsiteY13149" fmla="*/ 4664131 h 5973007"/>
              <a:gd name="connsiteX13150" fmla="*/ 1317045 w 6884782"/>
              <a:gd name="connsiteY13150" fmla="*/ 4665060 h 5973007"/>
              <a:gd name="connsiteX13151" fmla="*/ 1323240 w 6884782"/>
              <a:gd name="connsiteY13151" fmla="*/ 4666300 h 5973007"/>
              <a:gd name="connsiteX13152" fmla="*/ 1332069 w 6884782"/>
              <a:gd name="connsiteY13152" fmla="*/ 4676418 h 5973007"/>
              <a:gd name="connsiteX13153" fmla="*/ 1312553 w 6884782"/>
              <a:gd name="connsiteY13153" fmla="*/ 4671566 h 5973007"/>
              <a:gd name="connsiteX13154" fmla="*/ 1310539 w 6884782"/>
              <a:gd name="connsiteY13154" fmla="*/ 4666300 h 5973007"/>
              <a:gd name="connsiteX13155" fmla="*/ 1314101 w 6884782"/>
              <a:gd name="connsiteY13155" fmla="*/ 4665370 h 5973007"/>
              <a:gd name="connsiteX13156" fmla="*/ 1310849 w 6884782"/>
              <a:gd name="connsiteY13156" fmla="*/ 4662066 h 5973007"/>
              <a:gd name="connsiteX13157" fmla="*/ 1309919 w 6884782"/>
              <a:gd name="connsiteY13157" fmla="*/ 4659175 h 5973007"/>
              <a:gd name="connsiteX13158" fmla="*/ 1303569 w 6884782"/>
              <a:gd name="connsiteY13158" fmla="*/ 4658452 h 5973007"/>
              <a:gd name="connsiteX13159" fmla="*/ 1300006 w 6884782"/>
              <a:gd name="connsiteY13159" fmla="*/ 4655354 h 5973007"/>
              <a:gd name="connsiteX13160" fmla="*/ 1299851 w 6884782"/>
              <a:gd name="connsiteY13160" fmla="*/ 4648952 h 5973007"/>
              <a:gd name="connsiteX13161" fmla="*/ 1298767 w 6884782"/>
              <a:gd name="connsiteY13161" fmla="*/ 4644203 h 5973007"/>
              <a:gd name="connsiteX13162" fmla="*/ 1308989 w 6884782"/>
              <a:gd name="connsiteY13162" fmla="*/ 4637698 h 5973007"/>
              <a:gd name="connsiteX13163" fmla="*/ 1312243 w 6884782"/>
              <a:gd name="connsiteY13163" fmla="*/ 4643893 h 5973007"/>
              <a:gd name="connsiteX13164" fmla="*/ 1311778 w 6884782"/>
              <a:gd name="connsiteY13164" fmla="*/ 4644203 h 5973007"/>
              <a:gd name="connsiteX13165" fmla="*/ 1313946 w 6884782"/>
              <a:gd name="connsiteY13165" fmla="*/ 4645442 h 5973007"/>
              <a:gd name="connsiteX13166" fmla="*/ 1315805 w 6884782"/>
              <a:gd name="connsiteY13166" fmla="*/ 4645235 h 5973007"/>
              <a:gd name="connsiteX13167" fmla="*/ 1316734 w 6884782"/>
              <a:gd name="connsiteY13167" fmla="*/ 4645648 h 5973007"/>
              <a:gd name="connsiteX13168" fmla="*/ 1319833 w 6884782"/>
              <a:gd name="connsiteY13168" fmla="*/ 4639969 h 5973007"/>
              <a:gd name="connsiteX13169" fmla="*/ 1324169 w 6884782"/>
              <a:gd name="connsiteY13169" fmla="*/ 4635219 h 5973007"/>
              <a:gd name="connsiteX13170" fmla="*/ 6726633 w 6884782"/>
              <a:gd name="connsiteY13170" fmla="*/ 4634928 h 5973007"/>
              <a:gd name="connsiteX13171" fmla="*/ 6731125 w 6884782"/>
              <a:gd name="connsiteY13171" fmla="*/ 4637509 h 5973007"/>
              <a:gd name="connsiteX13172" fmla="*/ 6731125 w 6884782"/>
              <a:gd name="connsiteY13172" fmla="*/ 4639471 h 5973007"/>
              <a:gd name="connsiteX13173" fmla="*/ 6727407 w 6884782"/>
              <a:gd name="connsiteY13173" fmla="*/ 4640297 h 5973007"/>
              <a:gd name="connsiteX13174" fmla="*/ 6724464 w 6884782"/>
              <a:gd name="connsiteY13174" fmla="*/ 4637509 h 5973007"/>
              <a:gd name="connsiteX13175" fmla="*/ 6724464 w 6884782"/>
              <a:gd name="connsiteY13175" fmla="*/ 4635547 h 5973007"/>
              <a:gd name="connsiteX13176" fmla="*/ 6726633 w 6884782"/>
              <a:gd name="connsiteY13176" fmla="*/ 4634928 h 5973007"/>
              <a:gd name="connsiteX13177" fmla="*/ 1760048 w 6884782"/>
              <a:gd name="connsiteY13177" fmla="*/ 4634909 h 5973007"/>
              <a:gd name="connsiteX13178" fmla="*/ 1759893 w 6884782"/>
              <a:gd name="connsiteY13178" fmla="*/ 4635529 h 5973007"/>
              <a:gd name="connsiteX13179" fmla="*/ 1761597 w 6884782"/>
              <a:gd name="connsiteY13179" fmla="*/ 4635529 h 5973007"/>
              <a:gd name="connsiteX13180" fmla="*/ 1760822 w 6884782"/>
              <a:gd name="connsiteY13180" fmla="*/ 4635219 h 5973007"/>
              <a:gd name="connsiteX13181" fmla="*/ 1760668 w 6884782"/>
              <a:gd name="connsiteY13181" fmla="*/ 4635426 h 5973007"/>
              <a:gd name="connsiteX13182" fmla="*/ 1760048 w 6884782"/>
              <a:gd name="connsiteY13182" fmla="*/ 4634909 h 5973007"/>
              <a:gd name="connsiteX13183" fmla="*/ 870169 w 6884782"/>
              <a:gd name="connsiteY13183" fmla="*/ 4634600 h 5973007"/>
              <a:gd name="connsiteX13184" fmla="*/ 864438 w 6884782"/>
              <a:gd name="connsiteY13184" fmla="*/ 4641931 h 5973007"/>
              <a:gd name="connsiteX13185" fmla="*/ 870169 w 6884782"/>
              <a:gd name="connsiteY13185" fmla="*/ 4634600 h 5973007"/>
              <a:gd name="connsiteX13186" fmla="*/ 5759151 w 6884782"/>
              <a:gd name="connsiteY13186" fmla="*/ 4634308 h 5973007"/>
              <a:gd name="connsiteX13187" fmla="*/ 5762559 w 6884782"/>
              <a:gd name="connsiteY13187" fmla="*/ 4644117 h 5973007"/>
              <a:gd name="connsiteX13188" fmla="*/ 5760390 w 6884782"/>
              <a:gd name="connsiteY13188" fmla="*/ 4644014 h 5973007"/>
              <a:gd name="connsiteX13189" fmla="*/ 5757757 w 6884782"/>
              <a:gd name="connsiteY13189" fmla="*/ 4643395 h 5973007"/>
              <a:gd name="connsiteX13190" fmla="*/ 5759151 w 6884782"/>
              <a:gd name="connsiteY13190" fmla="*/ 4634308 h 5973007"/>
              <a:gd name="connsiteX13191" fmla="*/ 1147123 w 6884782"/>
              <a:gd name="connsiteY13191" fmla="*/ 4634083 h 5973007"/>
              <a:gd name="connsiteX13192" fmla="*/ 1149446 w 6884782"/>
              <a:gd name="connsiteY13192" fmla="*/ 4634703 h 5973007"/>
              <a:gd name="connsiteX13193" fmla="*/ 1151305 w 6884782"/>
              <a:gd name="connsiteY13193" fmla="*/ 4634600 h 5973007"/>
              <a:gd name="connsiteX13194" fmla="*/ 1152854 w 6884782"/>
              <a:gd name="connsiteY13194" fmla="*/ 4636975 h 5973007"/>
              <a:gd name="connsiteX13195" fmla="*/ 1150996 w 6884782"/>
              <a:gd name="connsiteY13195" fmla="*/ 4637078 h 5973007"/>
              <a:gd name="connsiteX13196" fmla="*/ 1145574 w 6884782"/>
              <a:gd name="connsiteY13196" fmla="*/ 4636252 h 5973007"/>
              <a:gd name="connsiteX13197" fmla="*/ 1147123 w 6884782"/>
              <a:gd name="connsiteY13197" fmla="*/ 4634083 h 5973007"/>
              <a:gd name="connsiteX13198" fmla="*/ 1202731 w 6884782"/>
              <a:gd name="connsiteY13198" fmla="*/ 4633877 h 5973007"/>
              <a:gd name="connsiteX13199" fmla="*/ 1203816 w 6884782"/>
              <a:gd name="connsiteY13199" fmla="*/ 4638730 h 5973007"/>
              <a:gd name="connsiteX13200" fmla="*/ 1205054 w 6884782"/>
              <a:gd name="connsiteY13200" fmla="*/ 4637801 h 5973007"/>
              <a:gd name="connsiteX13201" fmla="*/ 1207223 w 6884782"/>
              <a:gd name="connsiteY13201" fmla="*/ 4639143 h 5973007"/>
              <a:gd name="connsiteX13202" fmla="*/ 1205829 w 6884782"/>
              <a:gd name="connsiteY13202" fmla="*/ 4641105 h 5973007"/>
              <a:gd name="connsiteX13203" fmla="*/ 1204744 w 6884782"/>
              <a:gd name="connsiteY13203" fmla="*/ 4641931 h 5973007"/>
              <a:gd name="connsiteX13204" fmla="*/ 1207687 w 6884782"/>
              <a:gd name="connsiteY13204" fmla="*/ 4648023 h 5973007"/>
              <a:gd name="connsiteX13205" fmla="*/ 1210011 w 6884782"/>
              <a:gd name="connsiteY13205" fmla="*/ 4660310 h 5973007"/>
              <a:gd name="connsiteX13206" fmla="*/ 1203970 w 6884782"/>
              <a:gd name="connsiteY13206" fmla="*/ 4653289 h 5973007"/>
              <a:gd name="connsiteX13207" fmla="*/ 1199788 w 6884782"/>
              <a:gd name="connsiteY13207" fmla="*/ 4648539 h 5973007"/>
              <a:gd name="connsiteX13208" fmla="*/ 1199788 w 6884782"/>
              <a:gd name="connsiteY13208" fmla="*/ 4648849 h 5973007"/>
              <a:gd name="connsiteX13209" fmla="*/ 1197310 w 6884782"/>
              <a:gd name="connsiteY13209" fmla="*/ 4649985 h 5973007"/>
              <a:gd name="connsiteX13210" fmla="*/ 1196845 w 6884782"/>
              <a:gd name="connsiteY13210" fmla="*/ 4647816 h 5973007"/>
              <a:gd name="connsiteX13211" fmla="*/ 1198084 w 6884782"/>
              <a:gd name="connsiteY13211" fmla="*/ 4646577 h 5973007"/>
              <a:gd name="connsiteX13212" fmla="*/ 1197774 w 6884782"/>
              <a:gd name="connsiteY13212" fmla="*/ 4646268 h 5973007"/>
              <a:gd name="connsiteX13213" fmla="*/ 1202731 w 6884782"/>
              <a:gd name="connsiteY13213" fmla="*/ 4633877 h 5973007"/>
              <a:gd name="connsiteX13214" fmla="*/ 1426092 w 6884782"/>
              <a:gd name="connsiteY13214" fmla="*/ 4632328 h 5973007"/>
              <a:gd name="connsiteX13215" fmla="*/ 1425162 w 6884782"/>
              <a:gd name="connsiteY13215" fmla="*/ 4636562 h 5973007"/>
              <a:gd name="connsiteX13216" fmla="*/ 1421600 w 6884782"/>
              <a:gd name="connsiteY13216" fmla="*/ 4633257 h 5973007"/>
              <a:gd name="connsiteX13217" fmla="*/ 1426092 w 6884782"/>
              <a:gd name="connsiteY13217" fmla="*/ 4632328 h 5973007"/>
              <a:gd name="connsiteX13218" fmla="*/ 727354 w 6884782"/>
              <a:gd name="connsiteY13218" fmla="*/ 4632121 h 5973007"/>
              <a:gd name="connsiteX13219" fmla="*/ 730762 w 6884782"/>
              <a:gd name="connsiteY13219" fmla="*/ 4638833 h 5973007"/>
              <a:gd name="connsiteX13220" fmla="*/ 721933 w 6884782"/>
              <a:gd name="connsiteY13220" fmla="*/ 4642757 h 5973007"/>
              <a:gd name="connsiteX13221" fmla="*/ 718525 w 6884782"/>
              <a:gd name="connsiteY13221" fmla="*/ 4642550 h 5973007"/>
              <a:gd name="connsiteX13222" fmla="*/ 727354 w 6884782"/>
              <a:gd name="connsiteY13222" fmla="*/ 4632121 h 5973007"/>
              <a:gd name="connsiteX13223" fmla="*/ 1644805 w 6884782"/>
              <a:gd name="connsiteY13223" fmla="*/ 4631605 h 5973007"/>
              <a:gd name="connsiteX13224" fmla="*/ 1652240 w 6884782"/>
              <a:gd name="connsiteY13224" fmla="*/ 4634497 h 5973007"/>
              <a:gd name="connsiteX13225" fmla="*/ 1656887 w 6884782"/>
              <a:gd name="connsiteY13225" fmla="*/ 4639556 h 5973007"/>
              <a:gd name="connsiteX13226" fmla="*/ 1657816 w 6884782"/>
              <a:gd name="connsiteY13226" fmla="*/ 4638523 h 5973007"/>
              <a:gd name="connsiteX13227" fmla="*/ 1665251 w 6884782"/>
              <a:gd name="connsiteY13227" fmla="*/ 4643376 h 5973007"/>
              <a:gd name="connsiteX13228" fmla="*/ 1657506 w 6884782"/>
              <a:gd name="connsiteY13228" fmla="*/ 4650811 h 5973007"/>
              <a:gd name="connsiteX13229" fmla="*/ 1655028 w 6884782"/>
              <a:gd name="connsiteY13229" fmla="*/ 4649159 h 5973007"/>
              <a:gd name="connsiteX13230" fmla="*/ 1654253 w 6884782"/>
              <a:gd name="connsiteY13230" fmla="*/ 4646474 h 5973007"/>
              <a:gd name="connsiteX13231" fmla="*/ 1651931 w 6884782"/>
              <a:gd name="connsiteY13231" fmla="*/ 4648436 h 5973007"/>
              <a:gd name="connsiteX13232" fmla="*/ 1650381 w 6884782"/>
              <a:gd name="connsiteY13232" fmla="*/ 4650604 h 5973007"/>
              <a:gd name="connsiteX13233" fmla="*/ 1652240 w 6884782"/>
              <a:gd name="connsiteY13233" fmla="*/ 4651017 h 5973007"/>
              <a:gd name="connsiteX13234" fmla="*/ 1651466 w 6884782"/>
              <a:gd name="connsiteY13234" fmla="*/ 4651947 h 5973007"/>
              <a:gd name="connsiteX13235" fmla="*/ 1651775 w 6884782"/>
              <a:gd name="connsiteY13235" fmla="*/ 4652050 h 5973007"/>
              <a:gd name="connsiteX13236" fmla="*/ 1649916 w 6884782"/>
              <a:gd name="connsiteY13236" fmla="*/ 4652979 h 5973007"/>
              <a:gd name="connsiteX13237" fmla="*/ 1648833 w 6884782"/>
              <a:gd name="connsiteY13237" fmla="*/ 4652566 h 5973007"/>
              <a:gd name="connsiteX13238" fmla="*/ 1647128 w 6884782"/>
              <a:gd name="connsiteY13238" fmla="*/ 4654632 h 5973007"/>
              <a:gd name="connsiteX13239" fmla="*/ 1642017 w 6884782"/>
              <a:gd name="connsiteY13239" fmla="*/ 4659588 h 5973007"/>
              <a:gd name="connsiteX13240" fmla="*/ 1637370 w 6884782"/>
              <a:gd name="connsiteY13240" fmla="*/ 4661549 h 5973007"/>
              <a:gd name="connsiteX13241" fmla="*/ 1637525 w 6884782"/>
              <a:gd name="connsiteY13241" fmla="*/ 4661756 h 5973007"/>
              <a:gd name="connsiteX13242" fmla="*/ 1628851 w 6884782"/>
              <a:gd name="connsiteY13242" fmla="*/ 4670533 h 5973007"/>
              <a:gd name="connsiteX13243" fmla="*/ 1624049 w 6884782"/>
              <a:gd name="connsiteY13243" fmla="*/ 4670430 h 5973007"/>
              <a:gd name="connsiteX13244" fmla="*/ 1617699 w 6884782"/>
              <a:gd name="connsiteY13244" fmla="*/ 4669500 h 5973007"/>
              <a:gd name="connsiteX13245" fmla="*/ 1607630 w 6884782"/>
              <a:gd name="connsiteY13245" fmla="*/ 4665680 h 5973007"/>
              <a:gd name="connsiteX13246" fmla="*/ 1606700 w 6884782"/>
              <a:gd name="connsiteY13246" fmla="*/ 4662892 h 5973007"/>
              <a:gd name="connsiteX13247" fmla="*/ 1620641 w 6884782"/>
              <a:gd name="connsiteY13247" fmla="*/ 4653599 h 5973007"/>
              <a:gd name="connsiteX13248" fmla="*/ 1627456 w 6884782"/>
              <a:gd name="connsiteY13248" fmla="*/ 4655457 h 5973007"/>
              <a:gd name="connsiteX13249" fmla="*/ 1625907 w 6884782"/>
              <a:gd name="connsiteY13249" fmla="*/ 4652463 h 5973007"/>
              <a:gd name="connsiteX13250" fmla="*/ 1644805 w 6884782"/>
              <a:gd name="connsiteY13250" fmla="*/ 4631605 h 5973007"/>
              <a:gd name="connsiteX13251" fmla="*/ 1134886 w 6884782"/>
              <a:gd name="connsiteY13251" fmla="*/ 4631399 h 5973007"/>
              <a:gd name="connsiteX13252" fmla="*/ 1141237 w 6884782"/>
              <a:gd name="connsiteY13252" fmla="*/ 4636768 h 5973007"/>
              <a:gd name="connsiteX13253" fmla="*/ 1138604 w 6884782"/>
              <a:gd name="connsiteY13253" fmla="*/ 4638627 h 5973007"/>
              <a:gd name="connsiteX13254" fmla="*/ 1131634 w 6884782"/>
              <a:gd name="connsiteY13254" fmla="*/ 4635013 h 5973007"/>
              <a:gd name="connsiteX13255" fmla="*/ 1131014 w 6884782"/>
              <a:gd name="connsiteY13255" fmla="*/ 4632947 h 5973007"/>
              <a:gd name="connsiteX13256" fmla="*/ 1134886 w 6884782"/>
              <a:gd name="connsiteY13256" fmla="*/ 4631399 h 5973007"/>
              <a:gd name="connsiteX13257" fmla="*/ 6320030 w 6884782"/>
              <a:gd name="connsiteY13257" fmla="*/ 4629868 h 5973007"/>
              <a:gd name="connsiteX13258" fmla="*/ 6320185 w 6884782"/>
              <a:gd name="connsiteY13258" fmla="*/ 4644220 h 5973007"/>
              <a:gd name="connsiteX13259" fmla="*/ 6310427 w 6884782"/>
              <a:gd name="connsiteY13259" fmla="*/ 4637612 h 5973007"/>
              <a:gd name="connsiteX13260" fmla="*/ 6320030 w 6884782"/>
              <a:gd name="connsiteY13260" fmla="*/ 4629868 h 5973007"/>
              <a:gd name="connsiteX13261" fmla="*/ 6067239 w 6884782"/>
              <a:gd name="connsiteY13261" fmla="*/ 4629868 h 5973007"/>
              <a:gd name="connsiteX13262" fmla="*/ 6078547 w 6884782"/>
              <a:gd name="connsiteY13262" fmla="*/ 4640297 h 5973007"/>
              <a:gd name="connsiteX13263" fmla="*/ 6079476 w 6884782"/>
              <a:gd name="connsiteY13263" fmla="*/ 4641949 h 5973007"/>
              <a:gd name="connsiteX13264" fmla="*/ 6078082 w 6884782"/>
              <a:gd name="connsiteY13264" fmla="*/ 4644220 h 5973007"/>
              <a:gd name="connsiteX13265" fmla="*/ 6067859 w 6884782"/>
              <a:gd name="connsiteY13265" fmla="*/ 4637715 h 5973007"/>
              <a:gd name="connsiteX13266" fmla="*/ 6066930 w 6884782"/>
              <a:gd name="connsiteY13266" fmla="*/ 4636166 h 5973007"/>
              <a:gd name="connsiteX13267" fmla="*/ 6067239 w 6884782"/>
              <a:gd name="connsiteY13267" fmla="*/ 4629868 h 5973007"/>
              <a:gd name="connsiteX13268" fmla="*/ 1447157 w 6884782"/>
              <a:gd name="connsiteY13268" fmla="*/ 4629540 h 5973007"/>
              <a:gd name="connsiteX13269" fmla="*/ 1449791 w 6884782"/>
              <a:gd name="connsiteY13269" fmla="*/ 4634806 h 5973007"/>
              <a:gd name="connsiteX13270" fmla="*/ 1451030 w 6884782"/>
              <a:gd name="connsiteY13270" fmla="*/ 4640072 h 5973007"/>
              <a:gd name="connsiteX13271" fmla="*/ 1455986 w 6884782"/>
              <a:gd name="connsiteY13271" fmla="*/ 4638730 h 5973007"/>
              <a:gd name="connsiteX13272" fmla="*/ 1459704 w 6884782"/>
              <a:gd name="connsiteY13272" fmla="*/ 4641311 h 5973007"/>
              <a:gd name="connsiteX13273" fmla="*/ 1460323 w 6884782"/>
              <a:gd name="connsiteY13273" fmla="*/ 4648849 h 5973007"/>
              <a:gd name="connsiteX13274" fmla="*/ 1455522 w 6884782"/>
              <a:gd name="connsiteY13274" fmla="*/ 4649366 h 5973007"/>
              <a:gd name="connsiteX13275" fmla="*/ 1453043 w 6884782"/>
              <a:gd name="connsiteY13275" fmla="*/ 4648952 h 5973007"/>
              <a:gd name="connsiteX13276" fmla="*/ 1452579 w 6884782"/>
              <a:gd name="connsiteY13276" fmla="*/ 4649985 h 5973007"/>
              <a:gd name="connsiteX13277" fmla="*/ 1452734 w 6884782"/>
              <a:gd name="connsiteY13277" fmla="*/ 4650708 h 5973007"/>
              <a:gd name="connsiteX13278" fmla="*/ 1453353 w 6884782"/>
              <a:gd name="connsiteY13278" fmla="*/ 4649985 h 5973007"/>
              <a:gd name="connsiteX13279" fmla="*/ 1454282 w 6884782"/>
              <a:gd name="connsiteY13279" fmla="*/ 4649778 h 5973007"/>
              <a:gd name="connsiteX13280" fmla="*/ 1457690 w 6884782"/>
              <a:gd name="connsiteY13280" fmla="*/ 4651534 h 5973007"/>
              <a:gd name="connsiteX13281" fmla="*/ 1458929 w 6884782"/>
              <a:gd name="connsiteY13281" fmla="*/ 4650501 h 5973007"/>
              <a:gd name="connsiteX13282" fmla="*/ 1462802 w 6884782"/>
              <a:gd name="connsiteY13282" fmla="*/ 4662272 h 5973007"/>
              <a:gd name="connsiteX13283" fmla="*/ 1451959 w 6884782"/>
              <a:gd name="connsiteY13283" fmla="*/ 4658865 h 5973007"/>
              <a:gd name="connsiteX13284" fmla="*/ 1453198 w 6884782"/>
              <a:gd name="connsiteY13284" fmla="*/ 4656697 h 5973007"/>
              <a:gd name="connsiteX13285" fmla="*/ 1451030 w 6884782"/>
              <a:gd name="connsiteY13285" fmla="*/ 4655148 h 5973007"/>
              <a:gd name="connsiteX13286" fmla="*/ 1451649 w 6884782"/>
              <a:gd name="connsiteY13286" fmla="*/ 4652153 h 5973007"/>
              <a:gd name="connsiteX13287" fmla="*/ 1451339 w 6884782"/>
              <a:gd name="connsiteY13287" fmla="*/ 4652256 h 5973007"/>
              <a:gd name="connsiteX13288" fmla="*/ 1449791 w 6884782"/>
              <a:gd name="connsiteY13288" fmla="*/ 4650604 h 5973007"/>
              <a:gd name="connsiteX13289" fmla="*/ 1449171 w 6884782"/>
              <a:gd name="connsiteY13289" fmla="*/ 4647816 h 5973007"/>
              <a:gd name="connsiteX13290" fmla="*/ 1447932 w 6884782"/>
              <a:gd name="connsiteY13290" fmla="*/ 4643789 h 5973007"/>
              <a:gd name="connsiteX13291" fmla="*/ 1447157 w 6884782"/>
              <a:gd name="connsiteY13291" fmla="*/ 4629540 h 5973007"/>
              <a:gd name="connsiteX13292" fmla="*/ 1384424 w 6884782"/>
              <a:gd name="connsiteY13292" fmla="*/ 4629321 h 5973007"/>
              <a:gd name="connsiteX13293" fmla="*/ 1392944 w 6884782"/>
              <a:gd name="connsiteY13293" fmla="*/ 4633877 h 5973007"/>
              <a:gd name="connsiteX13294" fmla="*/ 1394492 w 6884782"/>
              <a:gd name="connsiteY13294" fmla="*/ 4635839 h 5973007"/>
              <a:gd name="connsiteX13295" fmla="*/ 1394803 w 6884782"/>
              <a:gd name="connsiteY13295" fmla="*/ 4636045 h 5973007"/>
              <a:gd name="connsiteX13296" fmla="*/ 1395267 w 6884782"/>
              <a:gd name="connsiteY13296" fmla="*/ 4634806 h 5973007"/>
              <a:gd name="connsiteX13297" fmla="*/ 1396506 w 6884782"/>
              <a:gd name="connsiteY13297" fmla="*/ 4634600 h 5973007"/>
              <a:gd name="connsiteX13298" fmla="*/ 1398829 w 6884782"/>
              <a:gd name="connsiteY13298" fmla="*/ 4635219 h 5973007"/>
              <a:gd name="connsiteX13299" fmla="*/ 1400688 w 6884782"/>
              <a:gd name="connsiteY13299" fmla="*/ 4635013 h 5973007"/>
              <a:gd name="connsiteX13300" fmla="*/ 1401928 w 6884782"/>
              <a:gd name="connsiteY13300" fmla="*/ 4637284 h 5973007"/>
              <a:gd name="connsiteX13301" fmla="*/ 1400069 w 6884782"/>
              <a:gd name="connsiteY13301" fmla="*/ 4637491 h 5973007"/>
              <a:gd name="connsiteX13302" fmla="*/ 1397281 w 6884782"/>
              <a:gd name="connsiteY13302" fmla="*/ 4636871 h 5973007"/>
              <a:gd name="connsiteX13303" fmla="*/ 1395887 w 6884782"/>
              <a:gd name="connsiteY13303" fmla="*/ 4636768 h 5973007"/>
              <a:gd name="connsiteX13304" fmla="*/ 1397745 w 6884782"/>
              <a:gd name="connsiteY13304" fmla="*/ 4638110 h 5973007"/>
              <a:gd name="connsiteX13305" fmla="*/ 1396351 w 6884782"/>
              <a:gd name="connsiteY13305" fmla="*/ 4640279 h 5973007"/>
              <a:gd name="connsiteX13306" fmla="*/ 1396042 w 6884782"/>
              <a:gd name="connsiteY13306" fmla="*/ 4642241 h 5973007"/>
              <a:gd name="connsiteX13307" fmla="*/ 1397590 w 6884782"/>
              <a:gd name="connsiteY13307" fmla="*/ 4643686 h 5973007"/>
              <a:gd name="connsiteX13308" fmla="*/ 1395267 w 6884782"/>
              <a:gd name="connsiteY13308" fmla="*/ 4645132 h 5973007"/>
              <a:gd name="connsiteX13309" fmla="*/ 1394957 w 6884782"/>
              <a:gd name="connsiteY13309" fmla="*/ 4645029 h 5973007"/>
              <a:gd name="connsiteX13310" fmla="*/ 1392944 w 6884782"/>
              <a:gd name="connsiteY13310" fmla="*/ 4647816 h 5973007"/>
              <a:gd name="connsiteX13311" fmla="*/ 1384889 w 6884782"/>
              <a:gd name="connsiteY13311" fmla="*/ 4651431 h 5973007"/>
              <a:gd name="connsiteX13312" fmla="*/ 1381326 w 6884782"/>
              <a:gd name="connsiteY13312" fmla="*/ 4650191 h 5973007"/>
              <a:gd name="connsiteX13313" fmla="*/ 1381171 w 6884782"/>
              <a:gd name="connsiteY13313" fmla="*/ 4650088 h 5973007"/>
              <a:gd name="connsiteX13314" fmla="*/ 1380552 w 6884782"/>
              <a:gd name="connsiteY13314" fmla="*/ 4651431 h 5973007"/>
              <a:gd name="connsiteX13315" fmla="*/ 1377764 w 6884782"/>
              <a:gd name="connsiteY13315" fmla="*/ 4649881 h 5973007"/>
              <a:gd name="connsiteX13316" fmla="*/ 1377454 w 6884782"/>
              <a:gd name="connsiteY13316" fmla="*/ 4647300 h 5973007"/>
              <a:gd name="connsiteX13317" fmla="*/ 1377919 w 6884782"/>
              <a:gd name="connsiteY13317" fmla="*/ 4646681 h 5973007"/>
              <a:gd name="connsiteX13318" fmla="*/ 1376989 w 6884782"/>
              <a:gd name="connsiteY13318" fmla="*/ 4644822 h 5973007"/>
              <a:gd name="connsiteX13319" fmla="*/ 1375440 w 6884782"/>
              <a:gd name="connsiteY13319" fmla="*/ 4638214 h 5973007"/>
              <a:gd name="connsiteX13320" fmla="*/ 1377764 w 6884782"/>
              <a:gd name="connsiteY13320" fmla="*/ 4633051 h 5973007"/>
              <a:gd name="connsiteX13321" fmla="*/ 1384424 w 6884782"/>
              <a:gd name="connsiteY13321" fmla="*/ 4629321 h 5973007"/>
              <a:gd name="connsiteX13322" fmla="*/ 6114018 w 6884782"/>
              <a:gd name="connsiteY13322" fmla="*/ 4628835 h 5973007"/>
              <a:gd name="connsiteX13323" fmla="*/ 6108287 w 6884782"/>
              <a:gd name="connsiteY13323" fmla="*/ 4639677 h 5973007"/>
              <a:gd name="connsiteX13324" fmla="*/ 6106583 w 6884782"/>
              <a:gd name="connsiteY13324" fmla="*/ 4634617 h 5973007"/>
              <a:gd name="connsiteX13325" fmla="*/ 6114018 w 6884782"/>
              <a:gd name="connsiteY13325" fmla="*/ 4628835 h 5973007"/>
              <a:gd name="connsiteX13326" fmla="*/ 5805465 w 6884782"/>
              <a:gd name="connsiteY13326" fmla="*/ 4628629 h 5973007"/>
              <a:gd name="connsiteX13327" fmla="*/ 5803916 w 6884782"/>
              <a:gd name="connsiteY13327" fmla="*/ 4638748 h 5973007"/>
              <a:gd name="connsiteX13328" fmla="*/ 5799888 w 6884782"/>
              <a:gd name="connsiteY13328" fmla="*/ 4636373 h 5973007"/>
              <a:gd name="connsiteX13329" fmla="*/ 5805465 w 6884782"/>
              <a:gd name="connsiteY13329" fmla="*/ 4628629 h 5973007"/>
              <a:gd name="connsiteX13330" fmla="*/ 1738362 w 6884782"/>
              <a:gd name="connsiteY13330" fmla="*/ 4627475 h 5973007"/>
              <a:gd name="connsiteX13331" fmla="*/ 1740222 w 6884782"/>
              <a:gd name="connsiteY13331" fmla="*/ 4627475 h 5973007"/>
              <a:gd name="connsiteX13332" fmla="*/ 1744713 w 6884782"/>
              <a:gd name="connsiteY13332" fmla="*/ 4631915 h 5973007"/>
              <a:gd name="connsiteX13333" fmla="*/ 1742699 w 6884782"/>
              <a:gd name="connsiteY13333" fmla="*/ 4633877 h 5973007"/>
              <a:gd name="connsiteX13334" fmla="*/ 1741460 w 6884782"/>
              <a:gd name="connsiteY13334" fmla="*/ 4633877 h 5973007"/>
              <a:gd name="connsiteX13335" fmla="*/ 1739446 w 6884782"/>
              <a:gd name="connsiteY13335" fmla="*/ 4638317 h 5973007"/>
              <a:gd name="connsiteX13336" fmla="*/ 1728759 w 6884782"/>
              <a:gd name="connsiteY13336" fmla="*/ 4642654 h 5973007"/>
              <a:gd name="connsiteX13337" fmla="*/ 1736968 w 6884782"/>
              <a:gd name="connsiteY13337" fmla="*/ 4633361 h 5973007"/>
              <a:gd name="connsiteX13338" fmla="*/ 1739911 w 6884782"/>
              <a:gd name="connsiteY13338" fmla="*/ 4633464 h 5973007"/>
              <a:gd name="connsiteX13339" fmla="*/ 1737743 w 6884782"/>
              <a:gd name="connsiteY13339" fmla="*/ 4632328 h 5973007"/>
              <a:gd name="connsiteX13340" fmla="*/ 1736658 w 6884782"/>
              <a:gd name="connsiteY13340" fmla="*/ 4628301 h 5973007"/>
              <a:gd name="connsiteX13341" fmla="*/ 1736968 w 6884782"/>
              <a:gd name="connsiteY13341" fmla="*/ 4629024 h 5973007"/>
              <a:gd name="connsiteX13342" fmla="*/ 1738517 w 6884782"/>
              <a:gd name="connsiteY13342" fmla="*/ 4628301 h 5973007"/>
              <a:gd name="connsiteX13343" fmla="*/ 1738362 w 6884782"/>
              <a:gd name="connsiteY13343" fmla="*/ 4627475 h 5973007"/>
              <a:gd name="connsiteX13344" fmla="*/ 689714 w 6884782"/>
              <a:gd name="connsiteY13344" fmla="*/ 4627269 h 5973007"/>
              <a:gd name="connsiteX13345" fmla="*/ 695291 w 6884782"/>
              <a:gd name="connsiteY13345" fmla="*/ 4629231 h 5973007"/>
              <a:gd name="connsiteX13346" fmla="*/ 689095 w 6884782"/>
              <a:gd name="connsiteY13346" fmla="*/ 4633670 h 5973007"/>
              <a:gd name="connsiteX13347" fmla="*/ 689714 w 6884782"/>
              <a:gd name="connsiteY13347" fmla="*/ 4627269 h 5973007"/>
              <a:gd name="connsiteX13348" fmla="*/ 6607208 w 6884782"/>
              <a:gd name="connsiteY13348" fmla="*/ 4626770 h 5973007"/>
              <a:gd name="connsiteX13349" fmla="*/ 6619600 w 6884782"/>
              <a:gd name="connsiteY13349" fmla="*/ 4629971 h 5973007"/>
              <a:gd name="connsiteX13350" fmla="*/ 6613094 w 6884782"/>
              <a:gd name="connsiteY13350" fmla="*/ 4637405 h 5973007"/>
              <a:gd name="connsiteX13351" fmla="*/ 6605969 w 6884782"/>
              <a:gd name="connsiteY13351" fmla="*/ 4633998 h 5973007"/>
              <a:gd name="connsiteX13352" fmla="*/ 6607208 w 6884782"/>
              <a:gd name="connsiteY13352" fmla="*/ 4626770 h 5973007"/>
              <a:gd name="connsiteX13353" fmla="*/ 6640511 w 6884782"/>
              <a:gd name="connsiteY13353" fmla="*/ 4626564 h 5973007"/>
              <a:gd name="connsiteX13354" fmla="*/ 6646397 w 6884782"/>
              <a:gd name="connsiteY13354" fmla="*/ 4631107 h 5973007"/>
              <a:gd name="connsiteX13355" fmla="*/ 6642679 w 6884782"/>
              <a:gd name="connsiteY13355" fmla="*/ 4637922 h 5973007"/>
              <a:gd name="connsiteX13356" fmla="*/ 6640511 w 6884782"/>
              <a:gd name="connsiteY13356" fmla="*/ 4626564 h 5973007"/>
              <a:gd name="connsiteX13357" fmla="*/ 1530956 w 6884782"/>
              <a:gd name="connsiteY13357" fmla="*/ 4626133 h 5973007"/>
              <a:gd name="connsiteX13358" fmla="*/ 1536532 w 6884782"/>
              <a:gd name="connsiteY13358" fmla="*/ 4642447 h 5973007"/>
              <a:gd name="connsiteX13359" fmla="*/ 1518720 w 6884782"/>
              <a:gd name="connsiteY13359" fmla="*/ 4665060 h 5973007"/>
              <a:gd name="connsiteX13360" fmla="*/ 1516396 w 6884782"/>
              <a:gd name="connsiteY13360" fmla="*/ 4663924 h 5973007"/>
              <a:gd name="connsiteX13361" fmla="*/ 1513607 w 6884782"/>
              <a:gd name="connsiteY13361" fmla="*/ 4659071 h 5973007"/>
              <a:gd name="connsiteX13362" fmla="*/ 1530956 w 6884782"/>
              <a:gd name="connsiteY13362" fmla="*/ 4626133 h 5973007"/>
              <a:gd name="connsiteX13363" fmla="*/ 6173034 w 6884782"/>
              <a:gd name="connsiteY13363" fmla="*/ 4625518 h 5973007"/>
              <a:gd name="connsiteX13364" fmla="*/ 6184496 w 6884782"/>
              <a:gd name="connsiteY13364" fmla="*/ 4633585 h 5973007"/>
              <a:gd name="connsiteX13365" fmla="*/ 6184186 w 6884782"/>
              <a:gd name="connsiteY13365" fmla="*/ 4636270 h 5973007"/>
              <a:gd name="connsiteX13366" fmla="*/ 6164515 w 6884782"/>
              <a:gd name="connsiteY13366" fmla="*/ 4648247 h 5973007"/>
              <a:gd name="connsiteX13367" fmla="*/ 6146082 w 6884782"/>
              <a:gd name="connsiteY13367" fmla="*/ 4638748 h 5973007"/>
              <a:gd name="connsiteX13368" fmla="*/ 6159248 w 6884782"/>
              <a:gd name="connsiteY13368" fmla="*/ 4626047 h 5973007"/>
              <a:gd name="connsiteX13369" fmla="*/ 6173034 w 6884782"/>
              <a:gd name="connsiteY13369" fmla="*/ 4625518 h 5973007"/>
              <a:gd name="connsiteX13370" fmla="*/ 5851469 w 6884782"/>
              <a:gd name="connsiteY13370" fmla="*/ 4625221 h 5973007"/>
              <a:gd name="connsiteX13371" fmla="*/ 5846048 w 6884782"/>
              <a:gd name="connsiteY13371" fmla="*/ 4639883 h 5973007"/>
              <a:gd name="connsiteX13372" fmla="*/ 5840471 w 6884782"/>
              <a:gd name="connsiteY13372" fmla="*/ 4639883 h 5973007"/>
              <a:gd name="connsiteX13373" fmla="*/ 5851469 w 6884782"/>
              <a:gd name="connsiteY13373" fmla="*/ 4625221 h 5973007"/>
              <a:gd name="connsiteX13374" fmla="*/ 1507489 w 6884782"/>
              <a:gd name="connsiteY13374" fmla="*/ 4623100 h 5973007"/>
              <a:gd name="connsiteX13375" fmla="*/ 1512369 w 6884782"/>
              <a:gd name="connsiteY13375" fmla="*/ 4626133 h 5973007"/>
              <a:gd name="connsiteX13376" fmla="*/ 1506173 w 6884782"/>
              <a:gd name="connsiteY13376" fmla="*/ 4628301 h 5973007"/>
              <a:gd name="connsiteX13377" fmla="*/ 1504469 w 6884782"/>
              <a:gd name="connsiteY13377" fmla="*/ 4626959 h 5973007"/>
              <a:gd name="connsiteX13378" fmla="*/ 1507489 w 6884782"/>
              <a:gd name="connsiteY13378" fmla="*/ 4623100 h 5973007"/>
              <a:gd name="connsiteX13379" fmla="*/ 1791182 w 6884782"/>
              <a:gd name="connsiteY13379" fmla="*/ 4622829 h 5973007"/>
              <a:gd name="connsiteX13380" fmla="*/ 1790408 w 6884782"/>
              <a:gd name="connsiteY13380" fmla="*/ 4634186 h 5973007"/>
              <a:gd name="connsiteX13381" fmla="*/ 1789788 w 6884782"/>
              <a:gd name="connsiteY13381" fmla="*/ 4637284 h 5973007"/>
              <a:gd name="connsiteX13382" fmla="*/ 1790873 w 6884782"/>
              <a:gd name="connsiteY13382" fmla="*/ 4637387 h 5973007"/>
              <a:gd name="connsiteX13383" fmla="*/ 1792266 w 6884782"/>
              <a:gd name="connsiteY13383" fmla="*/ 4638317 h 5973007"/>
              <a:gd name="connsiteX13384" fmla="*/ 1794125 w 6884782"/>
              <a:gd name="connsiteY13384" fmla="*/ 4638007 h 5973007"/>
              <a:gd name="connsiteX13385" fmla="*/ 1794435 w 6884782"/>
              <a:gd name="connsiteY13385" fmla="*/ 4637594 h 5973007"/>
              <a:gd name="connsiteX13386" fmla="*/ 1794589 w 6884782"/>
              <a:gd name="connsiteY13386" fmla="*/ 4634600 h 5973007"/>
              <a:gd name="connsiteX13387" fmla="*/ 1796448 w 6884782"/>
              <a:gd name="connsiteY13387" fmla="*/ 4633877 h 5973007"/>
              <a:gd name="connsiteX13388" fmla="*/ 1797223 w 6884782"/>
              <a:gd name="connsiteY13388" fmla="*/ 4636562 h 5973007"/>
              <a:gd name="connsiteX13389" fmla="*/ 1794900 w 6884782"/>
              <a:gd name="connsiteY13389" fmla="*/ 4637904 h 5973007"/>
              <a:gd name="connsiteX13390" fmla="*/ 1801560 w 6884782"/>
              <a:gd name="connsiteY13390" fmla="*/ 4636665 h 5973007"/>
              <a:gd name="connsiteX13391" fmla="*/ 1804194 w 6884782"/>
              <a:gd name="connsiteY13391" fmla="*/ 4637078 h 5973007"/>
              <a:gd name="connsiteX13392" fmla="*/ 1804038 w 6884782"/>
              <a:gd name="connsiteY13392" fmla="*/ 4636045 h 5973007"/>
              <a:gd name="connsiteX13393" fmla="*/ 1808685 w 6884782"/>
              <a:gd name="connsiteY13393" fmla="*/ 4637491 h 5973007"/>
              <a:gd name="connsiteX13394" fmla="*/ 1808530 w 6884782"/>
              <a:gd name="connsiteY13394" fmla="*/ 4637801 h 5973007"/>
              <a:gd name="connsiteX13395" fmla="*/ 1812868 w 6884782"/>
              <a:gd name="connsiteY13395" fmla="*/ 4638523 h 5973007"/>
              <a:gd name="connsiteX13396" fmla="*/ 1819218 w 6884782"/>
              <a:gd name="connsiteY13396" fmla="*/ 4642137 h 5973007"/>
              <a:gd name="connsiteX13397" fmla="*/ 1802954 w 6884782"/>
              <a:gd name="connsiteY13397" fmla="*/ 4646784 h 5973007"/>
              <a:gd name="connsiteX13398" fmla="*/ 1802489 w 6884782"/>
              <a:gd name="connsiteY13398" fmla="*/ 4663408 h 5973007"/>
              <a:gd name="connsiteX13399" fmla="*/ 1796758 w 6884782"/>
              <a:gd name="connsiteY13399" fmla="*/ 4651017 h 5973007"/>
              <a:gd name="connsiteX13400" fmla="*/ 1796138 w 6884782"/>
              <a:gd name="connsiteY13400" fmla="*/ 4648849 h 5973007"/>
              <a:gd name="connsiteX13401" fmla="*/ 1794744 w 6884782"/>
              <a:gd name="connsiteY13401" fmla="*/ 4647713 h 5973007"/>
              <a:gd name="connsiteX13402" fmla="*/ 1789788 w 6884782"/>
              <a:gd name="connsiteY13402" fmla="*/ 4644822 h 5973007"/>
              <a:gd name="connsiteX13403" fmla="*/ 1789478 w 6884782"/>
              <a:gd name="connsiteY13403" fmla="*/ 4645235 h 5973007"/>
              <a:gd name="connsiteX13404" fmla="*/ 1789478 w 6884782"/>
              <a:gd name="connsiteY13404" fmla="*/ 4645442 h 5973007"/>
              <a:gd name="connsiteX13405" fmla="*/ 1789478 w 6884782"/>
              <a:gd name="connsiteY13405" fmla="*/ 4645545 h 5973007"/>
              <a:gd name="connsiteX13406" fmla="*/ 1789323 w 6884782"/>
              <a:gd name="connsiteY13406" fmla="*/ 4646165 h 5973007"/>
              <a:gd name="connsiteX13407" fmla="*/ 1789323 w 6884782"/>
              <a:gd name="connsiteY13407" fmla="*/ 4646990 h 5973007"/>
              <a:gd name="connsiteX13408" fmla="*/ 1789168 w 6884782"/>
              <a:gd name="connsiteY13408" fmla="*/ 4647094 h 5973007"/>
              <a:gd name="connsiteX13409" fmla="*/ 1789013 w 6884782"/>
              <a:gd name="connsiteY13409" fmla="*/ 4648023 h 5973007"/>
              <a:gd name="connsiteX13410" fmla="*/ 1787310 w 6884782"/>
              <a:gd name="connsiteY13410" fmla="*/ 4650501 h 5973007"/>
              <a:gd name="connsiteX13411" fmla="*/ 1784831 w 6884782"/>
              <a:gd name="connsiteY13411" fmla="*/ 4654218 h 5973007"/>
              <a:gd name="connsiteX13412" fmla="*/ 1774453 w 6884782"/>
              <a:gd name="connsiteY13412" fmla="*/ 4664441 h 5973007"/>
              <a:gd name="connsiteX13413" fmla="*/ 1776777 w 6884782"/>
              <a:gd name="connsiteY13413" fmla="*/ 4659071 h 5973007"/>
              <a:gd name="connsiteX13414" fmla="*/ 1775537 w 6884782"/>
              <a:gd name="connsiteY13414" fmla="*/ 4657316 h 5973007"/>
              <a:gd name="connsiteX13415" fmla="*/ 1776777 w 6884782"/>
              <a:gd name="connsiteY13415" fmla="*/ 4653289 h 5973007"/>
              <a:gd name="connsiteX13416" fmla="*/ 1778480 w 6884782"/>
              <a:gd name="connsiteY13416" fmla="*/ 4656180 h 5973007"/>
              <a:gd name="connsiteX13417" fmla="*/ 1778480 w 6884782"/>
              <a:gd name="connsiteY13417" fmla="*/ 4656697 h 5973007"/>
              <a:gd name="connsiteX13418" fmla="*/ 1781579 w 6884782"/>
              <a:gd name="connsiteY13418" fmla="*/ 4652360 h 5973007"/>
              <a:gd name="connsiteX13419" fmla="*/ 1784831 w 6884782"/>
              <a:gd name="connsiteY13419" fmla="*/ 4646784 h 5973007"/>
              <a:gd name="connsiteX13420" fmla="*/ 1787155 w 6884782"/>
              <a:gd name="connsiteY13420" fmla="*/ 4646165 h 5973007"/>
              <a:gd name="connsiteX13421" fmla="*/ 1787619 w 6884782"/>
              <a:gd name="connsiteY13421" fmla="*/ 4645338 h 5973007"/>
              <a:gd name="connsiteX13422" fmla="*/ 1788703 w 6884782"/>
              <a:gd name="connsiteY13422" fmla="*/ 4645235 h 5973007"/>
              <a:gd name="connsiteX13423" fmla="*/ 1789013 w 6884782"/>
              <a:gd name="connsiteY13423" fmla="*/ 4644925 h 5973007"/>
              <a:gd name="connsiteX13424" fmla="*/ 1789323 w 6884782"/>
              <a:gd name="connsiteY13424" fmla="*/ 4644512 h 5973007"/>
              <a:gd name="connsiteX13425" fmla="*/ 1785141 w 6884782"/>
              <a:gd name="connsiteY13425" fmla="*/ 4642034 h 5973007"/>
              <a:gd name="connsiteX13426" fmla="*/ 1784986 w 6884782"/>
              <a:gd name="connsiteY13426" fmla="*/ 4636562 h 5973007"/>
              <a:gd name="connsiteX13427" fmla="*/ 1787310 w 6884782"/>
              <a:gd name="connsiteY13427" fmla="*/ 4636871 h 5973007"/>
              <a:gd name="connsiteX13428" fmla="*/ 1787774 w 6884782"/>
              <a:gd name="connsiteY13428" fmla="*/ 4633154 h 5973007"/>
              <a:gd name="connsiteX13429" fmla="*/ 1791027 w 6884782"/>
              <a:gd name="connsiteY13429" fmla="*/ 4624790 h 5973007"/>
              <a:gd name="connsiteX13430" fmla="*/ 1791182 w 6884782"/>
              <a:gd name="connsiteY13430" fmla="*/ 4622829 h 5973007"/>
              <a:gd name="connsiteX13431" fmla="*/ 1064254 w 6884782"/>
              <a:gd name="connsiteY13431" fmla="*/ 4622829 h 5973007"/>
              <a:gd name="connsiteX13432" fmla="*/ 1071069 w 6884782"/>
              <a:gd name="connsiteY13432" fmla="*/ 4626959 h 5973007"/>
              <a:gd name="connsiteX13433" fmla="*/ 1051707 w 6884782"/>
              <a:gd name="connsiteY13433" fmla="*/ 4648126 h 5973007"/>
              <a:gd name="connsiteX13434" fmla="*/ 1064254 w 6884782"/>
              <a:gd name="connsiteY13434" fmla="*/ 4622829 h 5973007"/>
              <a:gd name="connsiteX13435" fmla="*/ 1322156 w 6884782"/>
              <a:gd name="connsiteY13435" fmla="*/ 4622312 h 5973007"/>
              <a:gd name="connsiteX13436" fmla="*/ 1322776 w 6884782"/>
              <a:gd name="connsiteY13436" fmla="*/ 4625719 h 5973007"/>
              <a:gd name="connsiteX13437" fmla="*/ 1321227 w 6884782"/>
              <a:gd name="connsiteY13437" fmla="*/ 4625513 h 5973007"/>
              <a:gd name="connsiteX13438" fmla="*/ 1321071 w 6884782"/>
              <a:gd name="connsiteY13438" fmla="*/ 4626339 h 5973007"/>
              <a:gd name="connsiteX13439" fmla="*/ 1319678 w 6884782"/>
              <a:gd name="connsiteY13439" fmla="*/ 4625203 h 5973007"/>
              <a:gd name="connsiteX13440" fmla="*/ 1319678 w 6884782"/>
              <a:gd name="connsiteY13440" fmla="*/ 4624377 h 5973007"/>
              <a:gd name="connsiteX13441" fmla="*/ 1319523 w 6884782"/>
              <a:gd name="connsiteY13441" fmla="*/ 4624171 h 5973007"/>
              <a:gd name="connsiteX13442" fmla="*/ 1320607 w 6884782"/>
              <a:gd name="connsiteY13442" fmla="*/ 4622829 h 5973007"/>
              <a:gd name="connsiteX13443" fmla="*/ 1322156 w 6884782"/>
              <a:gd name="connsiteY13443" fmla="*/ 4622312 h 5973007"/>
              <a:gd name="connsiteX13444" fmla="*/ 793495 w 6884782"/>
              <a:gd name="connsiteY13444" fmla="*/ 4621796 h 5973007"/>
              <a:gd name="connsiteX13445" fmla="*/ 792875 w 6884782"/>
              <a:gd name="connsiteY13445" fmla="*/ 4622003 h 5973007"/>
              <a:gd name="connsiteX13446" fmla="*/ 793495 w 6884782"/>
              <a:gd name="connsiteY13446" fmla="*/ 4621899 h 5973007"/>
              <a:gd name="connsiteX13447" fmla="*/ 1122030 w 6884782"/>
              <a:gd name="connsiteY13447" fmla="*/ 4621073 h 5973007"/>
              <a:gd name="connsiteX13448" fmla="*/ 1117538 w 6884782"/>
              <a:gd name="connsiteY13448" fmla="*/ 4626030 h 5973007"/>
              <a:gd name="connsiteX13449" fmla="*/ 1115989 w 6884782"/>
              <a:gd name="connsiteY13449" fmla="*/ 4625823 h 5973007"/>
              <a:gd name="connsiteX13450" fmla="*/ 1122030 w 6884782"/>
              <a:gd name="connsiteY13450" fmla="*/ 4621073 h 5973007"/>
              <a:gd name="connsiteX13451" fmla="*/ 648512 w 6884782"/>
              <a:gd name="connsiteY13451" fmla="*/ 4620453 h 5973007"/>
              <a:gd name="connsiteX13452" fmla="*/ 653004 w 6884782"/>
              <a:gd name="connsiteY13452" fmla="*/ 4622622 h 5973007"/>
              <a:gd name="connsiteX13453" fmla="*/ 645879 w 6884782"/>
              <a:gd name="connsiteY13453" fmla="*/ 4627991 h 5973007"/>
              <a:gd name="connsiteX13454" fmla="*/ 648512 w 6884782"/>
              <a:gd name="connsiteY13454" fmla="*/ 4620453 h 5973007"/>
              <a:gd name="connsiteX13455" fmla="*/ 6203548 w 6884782"/>
              <a:gd name="connsiteY13455" fmla="*/ 4620368 h 5973007"/>
              <a:gd name="connsiteX13456" fmla="*/ 6206182 w 6884782"/>
              <a:gd name="connsiteY13456" fmla="*/ 4642775 h 5973007"/>
              <a:gd name="connsiteX13457" fmla="*/ 6201999 w 6884782"/>
              <a:gd name="connsiteY13457" fmla="*/ 4638644 h 5973007"/>
              <a:gd name="connsiteX13458" fmla="*/ 6201844 w 6884782"/>
              <a:gd name="connsiteY13458" fmla="*/ 4637818 h 5973007"/>
              <a:gd name="connsiteX13459" fmla="*/ 6201690 w 6884782"/>
              <a:gd name="connsiteY13459" fmla="*/ 4639058 h 5973007"/>
              <a:gd name="connsiteX13460" fmla="*/ 6199676 w 6884782"/>
              <a:gd name="connsiteY13460" fmla="*/ 4658573 h 5973007"/>
              <a:gd name="connsiteX13461" fmla="*/ 6195648 w 6884782"/>
              <a:gd name="connsiteY13461" fmla="*/ 4648454 h 5973007"/>
              <a:gd name="connsiteX13462" fmla="*/ 6193015 w 6884782"/>
              <a:gd name="connsiteY13462" fmla="*/ 4638644 h 5973007"/>
              <a:gd name="connsiteX13463" fmla="*/ 6194100 w 6884782"/>
              <a:gd name="connsiteY13463" fmla="*/ 4635547 h 5973007"/>
              <a:gd name="connsiteX13464" fmla="*/ 6193635 w 6884782"/>
              <a:gd name="connsiteY13464" fmla="*/ 4635237 h 5973007"/>
              <a:gd name="connsiteX13465" fmla="*/ 6196888 w 6884782"/>
              <a:gd name="connsiteY13465" fmla="*/ 4630177 h 5973007"/>
              <a:gd name="connsiteX13466" fmla="*/ 6199056 w 6884782"/>
              <a:gd name="connsiteY13466" fmla="*/ 4632656 h 5973007"/>
              <a:gd name="connsiteX13467" fmla="*/ 6200760 w 6884782"/>
              <a:gd name="connsiteY13467" fmla="*/ 4632243 h 5973007"/>
              <a:gd name="connsiteX13468" fmla="*/ 6201535 w 6884782"/>
              <a:gd name="connsiteY13468" fmla="*/ 4626150 h 5973007"/>
              <a:gd name="connsiteX13469" fmla="*/ 6203548 w 6884782"/>
              <a:gd name="connsiteY13469" fmla="*/ 4620368 h 5973007"/>
              <a:gd name="connsiteX13470" fmla="*/ 975363 w 6884782"/>
              <a:gd name="connsiteY13470" fmla="*/ 4619860 h 5973007"/>
              <a:gd name="connsiteX13471" fmla="*/ 977357 w 6884782"/>
              <a:gd name="connsiteY13471" fmla="*/ 4624068 h 5973007"/>
              <a:gd name="connsiteX13472" fmla="*/ 973794 w 6884782"/>
              <a:gd name="connsiteY13472" fmla="*/ 4625926 h 5973007"/>
              <a:gd name="connsiteX13473" fmla="*/ 971161 w 6884782"/>
              <a:gd name="connsiteY13473" fmla="*/ 4623138 h 5973007"/>
              <a:gd name="connsiteX13474" fmla="*/ 970696 w 6884782"/>
              <a:gd name="connsiteY13474" fmla="*/ 4620763 h 5973007"/>
              <a:gd name="connsiteX13475" fmla="*/ 975363 w 6884782"/>
              <a:gd name="connsiteY13475" fmla="*/ 4619860 h 5973007"/>
              <a:gd name="connsiteX13476" fmla="*/ 748730 w 6884782"/>
              <a:gd name="connsiteY13476" fmla="*/ 4619524 h 5973007"/>
              <a:gd name="connsiteX13477" fmla="*/ 754306 w 6884782"/>
              <a:gd name="connsiteY13477" fmla="*/ 4628817 h 5973007"/>
              <a:gd name="connsiteX13478" fmla="*/ 753996 w 6884782"/>
              <a:gd name="connsiteY13478" fmla="*/ 4639246 h 5973007"/>
              <a:gd name="connsiteX13479" fmla="*/ 748730 w 6884782"/>
              <a:gd name="connsiteY13479" fmla="*/ 4619524 h 5973007"/>
              <a:gd name="connsiteX13480" fmla="*/ 6246454 w 6884782"/>
              <a:gd name="connsiteY13480" fmla="*/ 4618509 h 5973007"/>
              <a:gd name="connsiteX13481" fmla="*/ 6248933 w 6884782"/>
              <a:gd name="connsiteY13481" fmla="*/ 4618509 h 5973007"/>
              <a:gd name="connsiteX13482" fmla="*/ 6247539 w 6884782"/>
              <a:gd name="connsiteY13482" fmla="*/ 4631416 h 5973007"/>
              <a:gd name="connsiteX13483" fmla="*/ 6246609 w 6884782"/>
              <a:gd name="connsiteY13483" fmla="*/ 4633172 h 5973007"/>
              <a:gd name="connsiteX13484" fmla="*/ 6241188 w 6884782"/>
              <a:gd name="connsiteY13484" fmla="*/ 4636579 h 5973007"/>
              <a:gd name="connsiteX13485" fmla="*/ 6245370 w 6884782"/>
              <a:gd name="connsiteY13485" fmla="*/ 4620265 h 5973007"/>
              <a:gd name="connsiteX13486" fmla="*/ 6246454 w 6884782"/>
              <a:gd name="connsiteY13486" fmla="*/ 4618509 h 5973007"/>
              <a:gd name="connsiteX13487" fmla="*/ 1238512 w 6884782"/>
              <a:gd name="connsiteY13487" fmla="*/ 4618388 h 5973007"/>
              <a:gd name="connsiteX13488" fmla="*/ 1238822 w 6884782"/>
              <a:gd name="connsiteY13488" fmla="*/ 4619214 h 5973007"/>
              <a:gd name="connsiteX13489" fmla="*/ 1237428 w 6884782"/>
              <a:gd name="connsiteY13489" fmla="*/ 4620350 h 5973007"/>
              <a:gd name="connsiteX13490" fmla="*/ 1235569 w 6884782"/>
              <a:gd name="connsiteY13490" fmla="*/ 4619628 h 5973007"/>
              <a:gd name="connsiteX13491" fmla="*/ 1238512 w 6884782"/>
              <a:gd name="connsiteY13491" fmla="*/ 4618388 h 5973007"/>
              <a:gd name="connsiteX13492" fmla="*/ 1481912 w 6884782"/>
              <a:gd name="connsiteY13492" fmla="*/ 4617730 h 5973007"/>
              <a:gd name="connsiteX13493" fmla="*/ 1485571 w 6884782"/>
              <a:gd name="connsiteY13493" fmla="*/ 4618698 h 5973007"/>
              <a:gd name="connsiteX13494" fmla="*/ 1482319 w 6884782"/>
              <a:gd name="connsiteY13494" fmla="*/ 4623035 h 5973007"/>
              <a:gd name="connsiteX13495" fmla="*/ 1477672 w 6884782"/>
              <a:gd name="connsiteY13495" fmla="*/ 4620557 h 5973007"/>
              <a:gd name="connsiteX13496" fmla="*/ 1481912 w 6884782"/>
              <a:gd name="connsiteY13496" fmla="*/ 4617730 h 5973007"/>
              <a:gd name="connsiteX13497" fmla="*/ 1606197 w 6884782"/>
              <a:gd name="connsiteY13497" fmla="*/ 4616930 h 5973007"/>
              <a:gd name="connsiteX13498" fmla="*/ 1612276 w 6884782"/>
              <a:gd name="connsiteY13498" fmla="*/ 4622003 h 5973007"/>
              <a:gd name="connsiteX13499" fmla="*/ 1607165 w 6884782"/>
              <a:gd name="connsiteY13499" fmla="*/ 4622415 h 5973007"/>
              <a:gd name="connsiteX13500" fmla="*/ 1604996 w 6884782"/>
              <a:gd name="connsiteY13500" fmla="*/ 4624377 h 5973007"/>
              <a:gd name="connsiteX13501" fmla="*/ 1597717 w 6884782"/>
              <a:gd name="connsiteY13501" fmla="*/ 4627062 h 5973007"/>
              <a:gd name="connsiteX13502" fmla="*/ 1596323 w 6884782"/>
              <a:gd name="connsiteY13502" fmla="*/ 4625926 h 5973007"/>
              <a:gd name="connsiteX13503" fmla="*/ 1588887 w 6884782"/>
              <a:gd name="connsiteY13503" fmla="*/ 4628508 h 5973007"/>
              <a:gd name="connsiteX13504" fmla="*/ 1584705 w 6884782"/>
              <a:gd name="connsiteY13504" fmla="*/ 4628817 h 5973007"/>
              <a:gd name="connsiteX13505" fmla="*/ 1580368 w 6884782"/>
              <a:gd name="connsiteY13505" fmla="*/ 4627888 h 5973007"/>
              <a:gd name="connsiteX13506" fmla="*/ 1596167 w 6884782"/>
              <a:gd name="connsiteY13506" fmla="*/ 4617356 h 5973007"/>
              <a:gd name="connsiteX13507" fmla="*/ 1606197 w 6884782"/>
              <a:gd name="connsiteY13507" fmla="*/ 4616930 h 5973007"/>
              <a:gd name="connsiteX13508" fmla="*/ 6613868 w 6884782"/>
              <a:gd name="connsiteY13508" fmla="*/ 4615928 h 5973007"/>
              <a:gd name="connsiteX13509" fmla="*/ 6615107 w 6884782"/>
              <a:gd name="connsiteY13509" fmla="*/ 4617477 h 5973007"/>
              <a:gd name="connsiteX13510" fmla="*/ 6615262 w 6884782"/>
              <a:gd name="connsiteY13510" fmla="*/ 4620471 h 5973007"/>
              <a:gd name="connsiteX13511" fmla="*/ 6613713 w 6884782"/>
              <a:gd name="connsiteY13511" fmla="*/ 4622433 h 5973007"/>
              <a:gd name="connsiteX13512" fmla="*/ 6609222 w 6884782"/>
              <a:gd name="connsiteY13512" fmla="*/ 4619852 h 5973007"/>
              <a:gd name="connsiteX13513" fmla="*/ 6613868 w 6884782"/>
              <a:gd name="connsiteY13513" fmla="*/ 4615928 h 5973007"/>
              <a:gd name="connsiteX13514" fmla="*/ 1078195 w 6884782"/>
              <a:gd name="connsiteY13514" fmla="*/ 4615704 h 5973007"/>
              <a:gd name="connsiteX13515" fmla="*/ 1078969 w 6884782"/>
              <a:gd name="connsiteY13515" fmla="*/ 4620041 h 5973007"/>
              <a:gd name="connsiteX13516" fmla="*/ 1076491 w 6884782"/>
              <a:gd name="connsiteY13516" fmla="*/ 4622415 h 5973007"/>
              <a:gd name="connsiteX13517" fmla="*/ 1072463 w 6884782"/>
              <a:gd name="connsiteY13517" fmla="*/ 4622209 h 5973007"/>
              <a:gd name="connsiteX13518" fmla="*/ 1073238 w 6884782"/>
              <a:gd name="connsiteY13518" fmla="*/ 4622106 h 5973007"/>
              <a:gd name="connsiteX13519" fmla="*/ 1073083 w 6884782"/>
              <a:gd name="connsiteY13519" fmla="*/ 4620453 h 5973007"/>
              <a:gd name="connsiteX13520" fmla="*/ 1072153 w 6884782"/>
              <a:gd name="connsiteY13520" fmla="*/ 4620453 h 5973007"/>
              <a:gd name="connsiteX13521" fmla="*/ 1072773 w 6884782"/>
              <a:gd name="connsiteY13521" fmla="*/ 4618698 h 5973007"/>
              <a:gd name="connsiteX13522" fmla="*/ 1078195 w 6884782"/>
              <a:gd name="connsiteY13522" fmla="*/ 4615704 h 5973007"/>
              <a:gd name="connsiteX13523" fmla="*/ 5801902 w 6884782"/>
              <a:gd name="connsiteY13523" fmla="*/ 4615618 h 5973007"/>
              <a:gd name="connsiteX13524" fmla="*/ 5804845 w 6884782"/>
              <a:gd name="connsiteY13524" fmla="*/ 4618509 h 5973007"/>
              <a:gd name="connsiteX13525" fmla="*/ 5804071 w 6884782"/>
              <a:gd name="connsiteY13525" fmla="*/ 4621298 h 5973007"/>
              <a:gd name="connsiteX13526" fmla="*/ 5802676 w 6884782"/>
              <a:gd name="connsiteY13526" fmla="*/ 4621710 h 5973007"/>
              <a:gd name="connsiteX13527" fmla="*/ 5801592 w 6884782"/>
              <a:gd name="connsiteY13527" fmla="*/ 4620678 h 5973007"/>
              <a:gd name="connsiteX13528" fmla="*/ 5800043 w 6884782"/>
              <a:gd name="connsiteY13528" fmla="*/ 4618613 h 5973007"/>
              <a:gd name="connsiteX13529" fmla="*/ 5800508 w 6884782"/>
              <a:gd name="connsiteY13529" fmla="*/ 4617270 h 5973007"/>
              <a:gd name="connsiteX13530" fmla="*/ 5801902 w 6884782"/>
              <a:gd name="connsiteY13530" fmla="*/ 4615618 h 5973007"/>
              <a:gd name="connsiteX13531" fmla="*/ 1794589 w 6884782"/>
              <a:gd name="connsiteY13531" fmla="*/ 4615601 h 5973007"/>
              <a:gd name="connsiteX13532" fmla="*/ 1792886 w 6884782"/>
              <a:gd name="connsiteY13532" fmla="*/ 4620247 h 5973007"/>
              <a:gd name="connsiteX13533" fmla="*/ 1792576 w 6884782"/>
              <a:gd name="connsiteY13533" fmla="*/ 4622106 h 5973007"/>
              <a:gd name="connsiteX13534" fmla="*/ 1791337 w 6884782"/>
              <a:gd name="connsiteY13534" fmla="*/ 4620970 h 5973007"/>
              <a:gd name="connsiteX13535" fmla="*/ 1792886 w 6884782"/>
              <a:gd name="connsiteY13535" fmla="*/ 4618285 h 5973007"/>
              <a:gd name="connsiteX13536" fmla="*/ 1791646 w 6884782"/>
              <a:gd name="connsiteY13536" fmla="*/ 4617149 h 5973007"/>
              <a:gd name="connsiteX13537" fmla="*/ 1792111 w 6884782"/>
              <a:gd name="connsiteY13537" fmla="*/ 4615910 h 5973007"/>
              <a:gd name="connsiteX13538" fmla="*/ 1794589 w 6884782"/>
              <a:gd name="connsiteY13538" fmla="*/ 4615601 h 5973007"/>
              <a:gd name="connsiteX13539" fmla="*/ 6401816 w 6884782"/>
              <a:gd name="connsiteY13539" fmla="*/ 4615205 h 5973007"/>
              <a:gd name="connsiteX13540" fmla="*/ 6401351 w 6884782"/>
              <a:gd name="connsiteY13540" fmla="*/ 4618923 h 5973007"/>
              <a:gd name="connsiteX13541" fmla="*/ 6397014 w 6884782"/>
              <a:gd name="connsiteY13541" fmla="*/ 4620368 h 5973007"/>
              <a:gd name="connsiteX13542" fmla="*/ 6393761 w 6884782"/>
              <a:gd name="connsiteY13542" fmla="*/ 4618819 h 5973007"/>
              <a:gd name="connsiteX13543" fmla="*/ 6393141 w 6884782"/>
              <a:gd name="connsiteY13543" fmla="*/ 4615722 h 5973007"/>
              <a:gd name="connsiteX13544" fmla="*/ 6401816 w 6884782"/>
              <a:gd name="connsiteY13544" fmla="*/ 4615205 h 5973007"/>
              <a:gd name="connsiteX13545" fmla="*/ 1406264 w 6884782"/>
              <a:gd name="connsiteY13545" fmla="*/ 4615084 h 5973007"/>
              <a:gd name="connsiteX13546" fmla="*/ 1412615 w 6884782"/>
              <a:gd name="connsiteY13546" fmla="*/ 4619731 h 5973007"/>
              <a:gd name="connsiteX13547" fmla="*/ 1404871 w 6884782"/>
              <a:gd name="connsiteY13547" fmla="*/ 4618285 h 5973007"/>
              <a:gd name="connsiteX13548" fmla="*/ 1404096 w 6884782"/>
              <a:gd name="connsiteY13548" fmla="*/ 4616427 h 5973007"/>
              <a:gd name="connsiteX13549" fmla="*/ 1406264 w 6884782"/>
              <a:gd name="connsiteY13549" fmla="*/ 4615084 h 5973007"/>
              <a:gd name="connsiteX13550" fmla="*/ 6040443 w 6884782"/>
              <a:gd name="connsiteY13550" fmla="*/ 4614482 h 5973007"/>
              <a:gd name="connsiteX13551" fmla="*/ 6039823 w 6884782"/>
              <a:gd name="connsiteY13551" fmla="*/ 4619542 h 5973007"/>
              <a:gd name="connsiteX13552" fmla="*/ 6037345 w 6884782"/>
              <a:gd name="connsiteY13552" fmla="*/ 4621091 h 5973007"/>
              <a:gd name="connsiteX13553" fmla="*/ 6034866 w 6884782"/>
              <a:gd name="connsiteY13553" fmla="*/ 4619336 h 5973007"/>
              <a:gd name="connsiteX13554" fmla="*/ 6033782 w 6884782"/>
              <a:gd name="connsiteY13554" fmla="*/ 4615825 h 5973007"/>
              <a:gd name="connsiteX13555" fmla="*/ 6040443 w 6884782"/>
              <a:gd name="connsiteY13555" fmla="*/ 4614482 h 5973007"/>
              <a:gd name="connsiteX13556" fmla="*/ 1378693 w 6884782"/>
              <a:gd name="connsiteY13556" fmla="*/ 4613845 h 5973007"/>
              <a:gd name="connsiteX13557" fmla="*/ 1379778 w 6884782"/>
              <a:gd name="connsiteY13557" fmla="*/ 4616220 h 5973007"/>
              <a:gd name="connsiteX13558" fmla="*/ 1379313 w 6884782"/>
              <a:gd name="connsiteY13558" fmla="*/ 4619524 h 5973007"/>
              <a:gd name="connsiteX13559" fmla="*/ 1381326 w 6884782"/>
              <a:gd name="connsiteY13559" fmla="*/ 4621486 h 5973007"/>
              <a:gd name="connsiteX13560" fmla="*/ 1379313 w 6884782"/>
              <a:gd name="connsiteY13560" fmla="*/ 4627269 h 5973007"/>
              <a:gd name="connsiteX13561" fmla="*/ 1376680 w 6884782"/>
              <a:gd name="connsiteY13561" fmla="*/ 4627681 h 5973007"/>
              <a:gd name="connsiteX13562" fmla="*/ 1374821 w 6884782"/>
              <a:gd name="connsiteY13562" fmla="*/ 4627991 h 5973007"/>
              <a:gd name="connsiteX13563" fmla="*/ 1371723 w 6884782"/>
              <a:gd name="connsiteY13563" fmla="*/ 4626030 h 5973007"/>
              <a:gd name="connsiteX13564" fmla="*/ 1371723 w 6884782"/>
              <a:gd name="connsiteY13564" fmla="*/ 4626855 h 5973007"/>
              <a:gd name="connsiteX13565" fmla="*/ 1371258 w 6884782"/>
              <a:gd name="connsiteY13565" fmla="*/ 4621589 h 5973007"/>
              <a:gd name="connsiteX13566" fmla="*/ 1377145 w 6884782"/>
              <a:gd name="connsiteY13566" fmla="*/ 4618079 h 5973007"/>
              <a:gd name="connsiteX13567" fmla="*/ 1377299 w 6884782"/>
              <a:gd name="connsiteY13567" fmla="*/ 4618182 h 5973007"/>
              <a:gd name="connsiteX13568" fmla="*/ 5974147 w 6884782"/>
              <a:gd name="connsiteY13568" fmla="*/ 4613657 h 5973007"/>
              <a:gd name="connsiteX13569" fmla="*/ 5977245 w 6884782"/>
              <a:gd name="connsiteY13569" fmla="*/ 4619852 h 5973007"/>
              <a:gd name="connsiteX13570" fmla="*/ 5976935 w 6884782"/>
              <a:gd name="connsiteY13570" fmla="*/ 4625221 h 5973007"/>
              <a:gd name="connsiteX13571" fmla="*/ 5977864 w 6884782"/>
              <a:gd name="connsiteY13571" fmla="*/ 4625428 h 5973007"/>
              <a:gd name="connsiteX13572" fmla="*/ 5984525 w 6884782"/>
              <a:gd name="connsiteY13572" fmla="*/ 4629868 h 5973007"/>
              <a:gd name="connsiteX13573" fmla="*/ 5987313 w 6884782"/>
              <a:gd name="connsiteY13573" fmla="*/ 4633895 h 5973007"/>
              <a:gd name="connsiteX13574" fmla="*/ 5988087 w 6884782"/>
              <a:gd name="connsiteY13574" fmla="*/ 4630177 h 5973007"/>
              <a:gd name="connsiteX13575" fmla="*/ 5996142 w 6884782"/>
              <a:gd name="connsiteY13575" fmla="*/ 4617890 h 5973007"/>
              <a:gd name="connsiteX13576" fmla="*/ 6002183 w 6884782"/>
              <a:gd name="connsiteY13576" fmla="*/ 4627493 h 5973007"/>
              <a:gd name="connsiteX13577" fmla="*/ 5990721 w 6884782"/>
              <a:gd name="connsiteY13577" fmla="*/ 4642878 h 5973007"/>
              <a:gd name="connsiteX13578" fmla="*/ 5990256 w 6884782"/>
              <a:gd name="connsiteY13578" fmla="*/ 4642878 h 5973007"/>
              <a:gd name="connsiteX13579" fmla="*/ 5989946 w 6884782"/>
              <a:gd name="connsiteY13579" fmla="*/ 4649796 h 5973007"/>
              <a:gd name="connsiteX13580" fmla="*/ 5987623 w 6884782"/>
              <a:gd name="connsiteY13580" fmla="*/ 4657334 h 5973007"/>
              <a:gd name="connsiteX13581" fmla="*/ 5985144 w 6884782"/>
              <a:gd name="connsiteY13581" fmla="*/ 4658367 h 5973007"/>
              <a:gd name="connsiteX13582" fmla="*/ 5967486 w 6884782"/>
              <a:gd name="connsiteY13582" fmla="*/ 4646492 h 5973007"/>
              <a:gd name="connsiteX13583" fmla="*/ 5965163 w 6884782"/>
              <a:gd name="connsiteY13583" fmla="*/ 4638232 h 5973007"/>
              <a:gd name="connsiteX13584" fmla="*/ 5965628 w 6884782"/>
              <a:gd name="connsiteY13584" fmla="*/ 4633998 h 5973007"/>
              <a:gd name="connsiteX13585" fmla="*/ 5964543 w 6884782"/>
              <a:gd name="connsiteY13585" fmla="*/ 4634411 h 5973007"/>
              <a:gd name="connsiteX13586" fmla="*/ 5952926 w 6884782"/>
              <a:gd name="connsiteY13586" fmla="*/ 4624499 h 5973007"/>
              <a:gd name="connsiteX13587" fmla="*/ 5974147 w 6884782"/>
              <a:gd name="connsiteY13587" fmla="*/ 4613657 h 5973007"/>
              <a:gd name="connsiteX13588" fmla="*/ 1789323 w 6884782"/>
              <a:gd name="connsiteY13588" fmla="*/ 4613536 h 5973007"/>
              <a:gd name="connsiteX13589" fmla="*/ 1791182 w 6884782"/>
              <a:gd name="connsiteY13589" fmla="*/ 4613536 h 5973007"/>
              <a:gd name="connsiteX13590" fmla="*/ 1792111 w 6884782"/>
              <a:gd name="connsiteY13590" fmla="*/ 4615910 h 5973007"/>
              <a:gd name="connsiteX13591" fmla="*/ 1780494 w 6884782"/>
              <a:gd name="connsiteY13591" fmla="*/ 4621693 h 5973007"/>
              <a:gd name="connsiteX13592" fmla="*/ 1778635 w 6884782"/>
              <a:gd name="connsiteY13592" fmla="*/ 4621589 h 5973007"/>
              <a:gd name="connsiteX13593" fmla="*/ 1773679 w 6884782"/>
              <a:gd name="connsiteY13593" fmla="*/ 4618492 h 5973007"/>
              <a:gd name="connsiteX13594" fmla="*/ 1789323 w 6884782"/>
              <a:gd name="connsiteY13594" fmla="*/ 4613536 h 5973007"/>
              <a:gd name="connsiteX13595" fmla="*/ 6112469 w 6884782"/>
              <a:gd name="connsiteY13595" fmla="*/ 4613140 h 5973007"/>
              <a:gd name="connsiteX13596" fmla="*/ 6115258 w 6884782"/>
              <a:gd name="connsiteY13596" fmla="*/ 4616961 h 5973007"/>
              <a:gd name="connsiteX13597" fmla="*/ 6112624 w 6884782"/>
              <a:gd name="connsiteY13597" fmla="*/ 4619026 h 5973007"/>
              <a:gd name="connsiteX13598" fmla="*/ 6110920 w 6884782"/>
              <a:gd name="connsiteY13598" fmla="*/ 4617787 h 5973007"/>
              <a:gd name="connsiteX13599" fmla="*/ 6112469 w 6884782"/>
              <a:gd name="connsiteY13599" fmla="*/ 4613140 h 5973007"/>
              <a:gd name="connsiteX13600" fmla="*/ 1199788 w 6884782"/>
              <a:gd name="connsiteY13600" fmla="*/ 4612916 h 5973007"/>
              <a:gd name="connsiteX13601" fmla="*/ 1199633 w 6884782"/>
              <a:gd name="connsiteY13601" fmla="*/ 4616427 h 5973007"/>
              <a:gd name="connsiteX13602" fmla="*/ 1198703 w 6884782"/>
              <a:gd name="connsiteY13602" fmla="*/ 4617149 h 5973007"/>
              <a:gd name="connsiteX13603" fmla="*/ 1197154 w 6884782"/>
              <a:gd name="connsiteY13603" fmla="*/ 4616943 h 5973007"/>
              <a:gd name="connsiteX13604" fmla="*/ 1199788 w 6884782"/>
              <a:gd name="connsiteY13604" fmla="*/ 4612916 h 5973007"/>
              <a:gd name="connsiteX13605" fmla="*/ 1842453 w 6884782"/>
              <a:gd name="connsiteY13605" fmla="*/ 4612813 h 5973007"/>
              <a:gd name="connsiteX13606" fmla="*/ 1841678 w 6884782"/>
              <a:gd name="connsiteY13606" fmla="*/ 4614258 h 5973007"/>
              <a:gd name="connsiteX13607" fmla="*/ 1841213 w 6884782"/>
              <a:gd name="connsiteY13607" fmla="*/ 4614671 h 5973007"/>
              <a:gd name="connsiteX13608" fmla="*/ 1842453 w 6884782"/>
              <a:gd name="connsiteY13608" fmla="*/ 4614465 h 5973007"/>
              <a:gd name="connsiteX13609" fmla="*/ 1844776 w 6884782"/>
              <a:gd name="connsiteY13609" fmla="*/ 4615084 h 5973007"/>
              <a:gd name="connsiteX13610" fmla="*/ 1845086 w 6884782"/>
              <a:gd name="connsiteY13610" fmla="*/ 4616013 h 5973007"/>
              <a:gd name="connsiteX13611" fmla="*/ 1846015 w 6884782"/>
              <a:gd name="connsiteY13611" fmla="*/ 4615807 h 5973007"/>
              <a:gd name="connsiteX13612" fmla="*/ 1846170 w 6884782"/>
              <a:gd name="connsiteY13612" fmla="*/ 4615807 h 5973007"/>
              <a:gd name="connsiteX13613" fmla="*/ 1844312 w 6884782"/>
              <a:gd name="connsiteY13613" fmla="*/ 4613845 h 5973007"/>
              <a:gd name="connsiteX13614" fmla="*/ 1128535 w 6884782"/>
              <a:gd name="connsiteY13614" fmla="*/ 4612606 h 5973007"/>
              <a:gd name="connsiteX13615" fmla="*/ 1129155 w 6884782"/>
              <a:gd name="connsiteY13615" fmla="*/ 4613742 h 5973007"/>
              <a:gd name="connsiteX13616" fmla="*/ 1128535 w 6884782"/>
              <a:gd name="connsiteY13616" fmla="*/ 4615394 h 5973007"/>
              <a:gd name="connsiteX13617" fmla="*/ 1126832 w 6884782"/>
              <a:gd name="connsiteY13617" fmla="*/ 4618905 h 5973007"/>
              <a:gd name="connsiteX13618" fmla="*/ 1128535 w 6884782"/>
              <a:gd name="connsiteY13618" fmla="*/ 4612606 h 5973007"/>
              <a:gd name="connsiteX13619" fmla="*/ 1576651 w 6884782"/>
              <a:gd name="connsiteY13619" fmla="*/ 4612503 h 5973007"/>
              <a:gd name="connsiteX13620" fmla="*/ 1583001 w 6884782"/>
              <a:gd name="connsiteY13620" fmla="*/ 4617149 h 5973007"/>
              <a:gd name="connsiteX13621" fmla="*/ 1583931 w 6884782"/>
              <a:gd name="connsiteY13621" fmla="*/ 4620144 h 5973007"/>
              <a:gd name="connsiteX13622" fmla="*/ 1566273 w 6884782"/>
              <a:gd name="connsiteY13622" fmla="*/ 4626339 h 5973007"/>
              <a:gd name="connsiteX13623" fmla="*/ 1565188 w 6884782"/>
              <a:gd name="connsiteY13623" fmla="*/ 4623861 h 5973007"/>
              <a:gd name="connsiteX13624" fmla="*/ 1565343 w 6884782"/>
              <a:gd name="connsiteY13624" fmla="*/ 4619524 h 5973007"/>
              <a:gd name="connsiteX13625" fmla="*/ 1576651 w 6884782"/>
              <a:gd name="connsiteY13625" fmla="*/ 4612503 h 5973007"/>
              <a:gd name="connsiteX13626" fmla="*/ 6362627 w 6884782"/>
              <a:gd name="connsiteY13626" fmla="*/ 4611488 h 5973007"/>
              <a:gd name="connsiteX13627" fmla="*/ 6363866 w 6884782"/>
              <a:gd name="connsiteY13627" fmla="*/ 4620471 h 5973007"/>
              <a:gd name="connsiteX13628" fmla="*/ 6362937 w 6884782"/>
              <a:gd name="connsiteY13628" fmla="*/ 4624499 h 5973007"/>
              <a:gd name="connsiteX13629" fmla="*/ 6363246 w 6884782"/>
              <a:gd name="connsiteY13629" fmla="*/ 4624499 h 5973007"/>
              <a:gd name="connsiteX13630" fmla="*/ 6366499 w 6884782"/>
              <a:gd name="connsiteY13630" fmla="*/ 4625634 h 5973007"/>
              <a:gd name="connsiteX13631" fmla="*/ 6369442 w 6884782"/>
              <a:gd name="connsiteY13631" fmla="*/ 4629661 h 5973007"/>
              <a:gd name="connsiteX13632" fmla="*/ 6383693 w 6884782"/>
              <a:gd name="connsiteY13632" fmla="*/ 4629145 h 5973007"/>
              <a:gd name="connsiteX13633" fmla="*/ 6403520 w 6884782"/>
              <a:gd name="connsiteY13633" fmla="*/ 4628629 h 5973007"/>
              <a:gd name="connsiteX13634" fmla="*/ 6397788 w 6884782"/>
              <a:gd name="connsiteY13634" fmla="*/ 4632552 h 5973007"/>
              <a:gd name="connsiteX13635" fmla="*/ 6398408 w 6884782"/>
              <a:gd name="connsiteY13635" fmla="*/ 4633069 h 5973007"/>
              <a:gd name="connsiteX13636" fmla="*/ 6407237 w 6884782"/>
              <a:gd name="connsiteY13636" fmla="*/ 4633895 h 5973007"/>
              <a:gd name="connsiteX13637" fmla="*/ 6407702 w 6884782"/>
              <a:gd name="connsiteY13637" fmla="*/ 4642259 h 5973007"/>
              <a:gd name="connsiteX13638" fmla="*/ 6406153 w 6884782"/>
              <a:gd name="connsiteY13638" fmla="*/ 4645150 h 5973007"/>
              <a:gd name="connsiteX13639" fmla="*/ 6391128 w 6884782"/>
              <a:gd name="connsiteY13639" fmla="*/ 4635960 h 5973007"/>
              <a:gd name="connsiteX13640" fmla="*/ 6391283 w 6884782"/>
              <a:gd name="connsiteY13640" fmla="*/ 4635547 h 5973007"/>
              <a:gd name="connsiteX13641" fmla="*/ 6383848 w 6884782"/>
              <a:gd name="connsiteY13641" fmla="*/ 4637509 h 5973007"/>
              <a:gd name="connsiteX13642" fmla="*/ 6378736 w 6884782"/>
              <a:gd name="connsiteY13642" fmla="*/ 4638025 h 5973007"/>
              <a:gd name="connsiteX13643" fmla="*/ 6379201 w 6884782"/>
              <a:gd name="connsiteY13643" fmla="*/ 4638438 h 5973007"/>
              <a:gd name="connsiteX13644" fmla="*/ 6374708 w 6884782"/>
              <a:gd name="connsiteY13644" fmla="*/ 4653927 h 5973007"/>
              <a:gd name="connsiteX13645" fmla="*/ 6372075 w 6884782"/>
              <a:gd name="connsiteY13645" fmla="*/ 4653204 h 5973007"/>
              <a:gd name="connsiteX13646" fmla="*/ 6369287 w 6884782"/>
              <a:gd name="connsiteY13646" fmla="*/ 4648144 h 5973007"/>
              <a:gd name="connsiteX13647" fmla="*/ 6369597 w 6884782"/>
              <a:gd name="connsiteY13647" fmla="*/ 4644530 h 5973007"/>
              <a:gd name="connsiteX13648" fmla="*/ 6365105 w 6884782"/>
              <a:gd name="connsiteY13648" fmla="*/ 4644117 h 5973007"/>
              <a:gd name="connsiteX13649" fmla="*/ 6365725 w 6884782"/>
              <a:gd name="connsiteY13649" fmla="*/ 4639471 h 5973007"/>
              <a:gd name="connsiteX13650" fmla="*/ 6365880 w 6884782"/>
              <a:gd name="connsiteY13650" fmla="*/ 4639264 h 5973007"/>
              <a:gd name="connsiteX13651" fmla="*/ 6360923 w 6884782"/>
              <a:gd name="connsiteY13651" fmla="*/ 4639677 h 5973007"/>
              <a:gd name="connsiteX13652" fmla="*/ 6360923 w 6884782"/>
              <a:gd name="connsiteY13652" fmla="*/ 4635340 h 5973007"/>
              <a:gd name="connsiteX13653" fmla="*/ 6361233 w 6884782"/>
              <a:gd name="connsiteY13653" fmla="*/ 4632966 h 5973007"/>
              <a:gd name="connsiteX13654" fmla="*/ 6360303 w 6884782"/>
              <a:gd name="connsiteY13654" fmla="*/ 4632862 h 5973007"/>
              <a:gd name="connsiteX13655" fmla="*/ 6358909 w 6884782"/>
              <a:gd name="connsiteY13655" fmla="*/ 4628009 h 5973007"/>
              <a:gd name="connsiteX13656" fmla="*/ 6359529 w 6884782"/>
              <a:gd name="connsiteY13656" fmla="*/ 4626770 h 5973007"/>
              <a:gd name="connsiteX13657" fmla="*/ 6355347 w 6884782"/>
              <a:gd name="connsiteY13657" fmla="*/ 4626976 h 5973007"/>
              <a:gd name="connsiteX13658" fmla="*/ 6351474 w 6884782"/>
              <a:gd name="connsiteY13658" fmla="*/ 4625428 h 5973007"/>
              <a:gd name="connsiteX13659" fmla="*/ 6350545 w 6884782"/>
              <a:gd name="connsiteY13659" fmla="*/ 4623569 h 5973007"/>
              <a:gd name="connsiteX13660" fmla="*/ 6349461 w 6884782"/>
              <a:gd name="connsiteY13660" fmla="*/ 4625428 h 5973007"/>
              <a:gd name="connsiteX13661" fmla="*/ 6344504 w 6884782"/>
              <a:gd name="connsiteY13661" fmla="*/ 4627390 h 5973007"/>
              <a:gd name="connsiteX13662" fmla="*/ 6339237 w 6884782"/>
              <a:gd name="connsiteY13662" fmla="*/ 4626873 h 5973007"/>
              <a:gd name="connsiteX13663" fmla="*/ 6342180 w 6884782"/>
              <a:gd name="connsiteY13663" fmla="*/ 4621814 h 5973007"/>
              <a:gd name="connsiteX13664" fmla="*/ 6349925 w 6884782"/>
              <a:gd name="connsiteY13664" fmla="*/ 4621091 h 5973007"/>
              <a:gd name="connsiteX13665" fmla="*/ 6350700 w 6884782"/>
              <a:gd name="connsiteY13665" fmla="*/ 4622433 h 5973007"/>
              <a:gd name="connsiteX13666" fmla="*/ 6351474 w 6884782"/>
              <a:gd name="connsiteY13666" fmla="*/ 4618819 h 5973007"/>
              <a:gd name="connsiteX13667" fmla="*/ 6362627 w 6884782"/>
              <a:gd name="connsiteY13667" fmla="*/ 4611488 h 5973007"/>
              <a:gd name="connsiteX13668" fmla="*/ 1199943 w 6884782"/>
              <a:gd name="connsiteY13668" fmla="*/ 4610438 h 5973007"/>
              <a:gd name="connsiteX13669" fmla="*/ 1199788 w 6884782"/>
              <a:gd name="connsiteY13669" fmla="*/ 4612296 h 5973007"/>
              <a:gd name="connsiteX13670" fmla="*/ 1199013 w 6884782"/>
              <a:gd name="connsiteY13670" fmla="*/ 4612193 h 5973007"/>
              <a:gd name="connsiteX13671" fmla="*/ 1199943 w 6884782"/>
              <a:gd name="connsiteY13671" fmla="*/ 4610438 h 5973007"/>
              <a:gd name="connsiteX13672" fmla="*/ 5917455 w 6884782"/>
              <a:gd name="connsiteY13672" fmla="*/ 4610249 h 5973007"/>
              <a:gd name="connsiteX13673" fmla="*/ 5925974 w 6884782"/>
              <a:gd name="connsiteY13673" fmla="*/ 4620884 h 5973007"/>
              <a:gd name="connsiteX13674" fmla="*/ 5913892 w 6884782"/>
              <a:gd name="connsiteY13674" fmla="*/ 4637612 h 5973007"/>
              <a:gd name="connsiteX13675" fmla="*/ 5910174 w 6884782"/>
              <a:gd name="connsiteY13675" fmla="*/ 4637715 h 5973007"/>
              <a:gd name="connsiteX13676" fmla="*/ 5906457 w 6884782"/>
              <a:gd name="connsiteY13676" fmla="*/ 4636889 h 5973007"/>
              <a:gd name="connsiteX13677" fmla="*/ 5897008 w 6884782"/>
              <a:gd name="connsiteY13677" fmla="*/ 4628526 h 5973007"/>
              <a:gd name="connsiteX13678" fmla="*/ 5898093 w 6884782"/>
              <a:gd name="connsiteY13678" fmla="*/ 4621710 h 5973007"/>
              <a:gd name="connsiteX13679" fmla="*/ 5917455 w 6884782"/>
              <a:gd name="connsiteY13679" fmla="*/ 4610249 h 5973007"/>
              <a:gd name="connsiteX13680" fmla="*/ 6061508 w 6884782"/>
              <a:gd name="connsiteY13680" fmla="*/ 4610042 h 5973007"/>
              <a:gd name="connsiteX13681" fmla="*/ 6067859 w 6884782"/>
              <a:gd name="connsiteY13681" fmla="*/ 4615205 h 5973007"/>
              <a:gd name="connsiteX13682" fmla="*/ 6062438 w 6884782"/>
              <a:gd name="connsiteY13682" fmla="*/ 4631107 h 5973007"/>
              <a:gd name="connsiteX13683" fmla="*/ 6061818 w 6884782"/>
              <a:gd name="connsiteY13683" fmla="*/ 4630694 h 5973007"/>
              <a:gd name="connsiteX13684" fmla="*/ 6060114 w 6884782"/>
              <a:gd name="connsiteY13684" fmla="*/ 4636063 h 5973007"/>
              <a:gd name="connsiteX13685" fmla="*/ 6056707 w 6884782"/>
              <a:gd name="connsiteY13685" fmla="*/ 4636373 h 5973007"/>
              <a:gd name="connsiteX13686" fmla="*/ 6051440 w 6884782"/>
              <a:gd name="connsiteY13686" fmla="*/ 4643395 h 5973007"/>
              <a:gd name="connsiteX13687" fmla="*/ 6043540 w 6884782"/>
              <a:gd name="connsiteY13687" fmla="*/ 4646905 h 5973007"/>
              <a:gd name="connsiteX13688" fmla="*/ 6042921 w 6884782"/>
              <a:gd name="connsiteY13688" fmla="*/ 4630900 h 5973007"/>
              <a:gd name="connsiteX13689" fmla="*/ 6046019 w 6884782"/>
              <a:gd name="connsiteY13689" fmla="*/ 4626150 h 5973007"/>
              <a:gd name="connsiteX13690" fmla="*/ 6045709 w 6884782"/>
              <a:gd name="connsiteY13690" fmla="*/ 4625221 h 5973007"/>
              <a:gd name="connsiteX13691" fmla="*/ 6047103 w 6884782"/>
              <a:gd name="connsiteY13691" fmla="*/ 4623466 h 5973007"/>
              <a:gd name="connsiteX13692" fmla="*/ 6049271 w 6884782"/>
              <a:gd name="connsiteY13692" fmla="*/ 4623156 h 5973007"/>
              <a:gd name="connsiteX13693" fmla="*/ 6049426 w 6884782"/>
              <a:gd name="connsiteY13693" fmla="*/ 4623156 h 5973007"/>
              <a:gd name="connsiteX13694" fmla="*/ 6054228 w 6884782"/>
              <a:gd name="connsiteY13694" fmla="*/ 4620265 h 5973007"/>
              <a:gd name="connsiteX13695" fmla="*/ 6055312 w 6884782"/>
              <a:gd name="connsiteY13695" fmla="*/ 4617270 h 5973007"/>
              <a:gd name="connsiteX13696" fmla="*/ 6056707 w 6884782"/>
              <a:gd name="connsiteY13696" fmla="*/ 4614379 h 5973007"/>
              <a:gd name="connsiteX13697" fmla="*/ 6055777 w 6884782"/>
              <a:gd name="connsiteY13697" fmla="*/ 4615102 h 5973007"/>
              <a:gd name="connsiteX13698" fmla="*/ 6043385 w 6884782"/>
              <a:gd name="connsiteY13698" fmla="*/ 4614070 h 5973007"/>
              <a:gd name="connsiteX13699" fmla="*/ 6051440 w 6884782"/>
              <a:gd name="connsiteY13699" fmla="*/ 4610249 h 5973007"/>
              <a:gd name="connsiteX13700" fmla="*/ 6058100 w 6884782"/>
              <a:gd name="connsiteY13700" fmla="*/ 4612624 h 5973007"/>
              <a:gd name="connsiteX13701" fmla="*/ 1318593 w 6884782"/>
              <a:gd name="connsiteY13701" fmla="*/ 4609612 h 5973007"/>
              <a:gd name="connsiteX13702" fmla="*/ 1319678 w 6884782"/>
              <a:gd name="connsiteY13702" fmla="*/ 4614775 h 5973007"/>
              <a:gd name="connsiteX13703" fmla="*/ 1315341 w 6884782"/>
              <a:gd name="connsiteY13703" fmla="*/ 4616736 h 5973007"/>
              <a:gd name="connsiteX13704" fmla="*/ 1313791 w 6884782"/>
              <a:gd name="connsiteY13704" fmla="*/ 4615497 h 5973007"/>
              <a:gd name="connsiteX13705" fmla="*/ 1313946 w 6884782"/>
              <a:gd name="connsiteY13705" fmla="*/ 4614671 h 5973007"/>
              <a:gd name="connsiteX13706" fmla="*/ 1314257 w 6884782"/>
              <a:gd name="connsiteY13706" fmla="*/ 4611161 h 5973007"/>
              <a:gd name="connsiteX13707" fmla="*/ 1318593 w 6884782"/>
              <a:gd name="connsiteY13707" fmla="*/ 4609612 h 5973007"/>
              <a:gd name="connsiteX13708" fmla="*/ 843371 w 6884782"/>
              <a:gd name="connsiteY13708" fmla="*/ 4608889 h 5973007"/>
              <a:gd name="connsiteX13709" fmla="*/ 843526 w 6884782"/>
              <a:gd name="connsiteY13709" fmla="*/ 4614465 h 5973007"/>
              <a:gd name="connsiteX13710" fmla="*/ 835162 w 6884782"/>
              <a:gd name="connsiteY13710" fmla="*/ 4615187 h 5973007"/>
              <a:gd name="connsiteX13711" fmla="*/ 830205 w 6884782"/>
              <a:gd name="connsiteY13711" fmla="*/ 4611986 h 5973007"/>
              <a:gd name="connsiteX13712" fmla="*/ 843371 w 6884782"/>
              <a:gd name="connsiteY13712" fmla="*/ 4608889 h 5973007"/>
              <a:gd name="connsiteX13713" fmla="*/ 5933409 w 6884782"/>
              <a:gd name="connsiteY13713" fmla="*/ 4608700 h 5973007"/>
              <a:gd name="connsiteX13714" fmla="*/ 5941154 w 6884782"/>
              <a:gd name="connsiteY13714" fmla="*/ 4614070 h 5973007"/>
              <a:gd name="connsiteX13715" fmla="*/ 5935268 w 6884782"/>
              <a:gd name="connsiteY13715" fmla="*/ 4620162 h 5973007"/>
              <a:gd name="connsiteX13716" fmla="*/ 5929692 w 6884782"/>
              <a:gd name="connsiteY13716" fmla="*/ 4617477 h 5973007"/>
              <a:gd name="connsiteX13717" fmla="*/ 5933409 w 6884782"/>
              <a:gd name="connsiteY13717" fmla="*/ 4608700 h 5973007"/>
              <a:gd name="connsiteX13718" fmla="*/ 1774240 w 6884782"/>
              <a:gd name="connsiteY13718" fmla="*/ 4608463 h 5973007"/>
              <a:gd name="connsiteX13719" fmla="*/ 1780804 w 6884782"/>
              <a:gd name="connsiteY13719" fmla="*/ 4608476 h 5973007"/>
              <a:gd name="connsiteX13720" fmla="*/ 1782508 w 6884782"/>
              <a:gd name="connsiteY13720" fmla="*/ 4609199 h 5973007"/>
              <a:gd name="connsiteX13721" fmla="*/ 1782663 w 6884782"/>
              <a:gd name="connsiteY13721" fmla="*/ 4611367 h 5973007"/>
              <a:gd name="connsiteX13722" fmla="*/ 1771975 w 6884782"/>
              <a:gd name="connsiteY13722" fmla="*/ 4614878 h 5973007"/>
              <a:gd name="connsiteX13723" fmla="*/ 1769806 w 6884782"/>
              <a:gd name="connsiteY13723" fmla="*/ 4613948 h 5973007"/>
              <a:gd name="connsiteX13724" fmla="*/ 1768722 w 6884782"/>
              <a:gd name="connsiteY13724" fmla="*/ 4613432 h 5973007"/>
              <a:gd name="connsiteX13725" fmla="*/ 1770890 w 6884782"/>
              <a:gd name="connsiteY13725" fmla="*/ 4615497 h 5973007"/>
              <a:gd name="connsiteX13726" fmla="*/ 1771665 w 6884782"/>
              <a:gd name="connsiteY13726" fmla="*/ 4623242 h 5973007"/>
              <a:gd name="connsiteX13727" fmla="*/ 1770890 w 6884782"/>
              <a:gd name="connsiteY13727" fmla="*/ 4623654 h 5973007"/>
              <a:gd name="connsiteX13728" fmla="*/ 1774453 w 6884782"/>
              <a:gd name="connsiteY13728" fmla="*/ 4627681 h 5973007"/>
              <a:gd name="connsiteX13729" fmla="*/ 1763455 w 6884782"/>
              <a:gd name="connsiteY13729" fmla="*/ 4634600 h 5973007"/>
              <a:gd name="connsiteX13730" fmla="*/ 1761597 w 6884782"/>
              <a:gd name="connsiteY13730" fmla="*/ 4634909 h 5973007"/>
              <a:gd name="connsiteX13731" fmla="*/ 1761907 w 6884782"/>
              <a:gd name="connsiteY13731" fmla="*/ 4635529 h 5973007"/>
              <a:gd name="connsiteX13732" fmla="*/ 1763765 w 6884782"/>
              <a:gd name="connsiteY13732" fmla="*/ 4635529 h 5973007"/>
              <a:gd name="connsiteX13733" fmla="*/ 1773369 w 6884782"/>
              <a:gd name="connsiteY13733" fmla="*/ 4640898 h 5973007"/>
              <a:gd name="connsiteX13734" fmla="*/ 1760357 w 6884782"/>
              <a:gd name="connsiteY13734" fmla="*/ 4642241 h 5973007"/>
              <a:gd name="connsiteX13735" fmla="*/ 1750599 w 6884782"/>
              <a:gd name="connsiteY13735" fmla="*/ 4635736 h 5973007"/>
              <a:gd name="connsiteX13736" fmla="*/ 1756331 w 6884782"/>
              <a:gd name="connsiteY13736" fmla="*/ 4635529 h 5973007"/>
              <a:gd name="connsiteX13737" fmla="*/ 1758964 w 6884782"/>
              <a:gd name="connsiteY13737" fmla="*/ 4635529 h 5973007"/>
              <a:gd name="connsiteX13738" fmla="*/ 1756486 w 6884782"/>
              <a:gd name="connsiteY13738" fmla="*/ 4635013 h 5973007"/>
              <a:gd name="connsiteX13739" fmla="*/ 1756021 w 6884782"/>
              <a:gd name="connsiteY13739" fmla="*/ 4632947 h 5973007"/>
              <a:gd name="connsiteX13740" fmla="*/ 1758964 w 6884782"/>
              <a:gd name="connsiteY13740" fmla="*/ 4628714 h 5973007"/>
              <a:gd name="connsiteX13741" fmla="*/ 1756175 w 6884782"/>
              <a:gd name="connsiteY13741" fmla="*/ 4623035 h 5973007"/>
              <a:gd name="connsiteX13742" fmla="*/ 1755866 w 6884782"/>
              <a:gd name="connsiteY13742" fmla="*/ 4622519 h 5973007"/>
              <a:gd name="connsiteX13743" fmla="*/ 1754626 w 6884782"/>
              <a:gd name="connsiteY13743" fmla="*/ 4620247 h 5973007"/>
              <a:gd name="connsiteX13744" fmla="*/ 1754626 w 6884782"/>
              <a:gd name="connsiteY13744" fmla="*/ 4620144 h 5973007"/>
              <a:gd name="connsiteX13745" fmla="*/ 1754162 w 6884782"/>
              <a:gd name="connsiteY13745" fmla="*/ 4619421 h 5973007"/>
              <a:gd name="connsiteX13746" fmla="*/ 1754317 w 6884782"/>
              <a:gd name="connsiteY13746" fmla="*/ 4614051 h 5973007"/>
              <a:gd name="connsiteX13747" fmla="*/ 1762371 w 6884782"/>
              <a:gd name="connsiteY13747" fmla="*/ 4610954 h 5973007"/>
              <a:gd name="connsiteX13748" fmla="*/ 1764695 w 6884782"/>
              <a:gd name="connsiteY13748" fmla="*/ 4611780 h 5973007"/>
              <a:gd name="connsiteX13749" fmla="*/ 1764075 w 6884782"/>
              <a:gd name="connsiteY13749" fmla="*/ 4609921 h 5973007"/>
              <a:gd name="connsiteX13750" fmla="*/ 1774240 w 6884782"/>
              <a:gd name="connsiteY13750" fmla="*/ 4608463 h 5973007"/>
              <a:gd name="connsiteX13751" fmla="*/ 6208815 w 6884782"/>
              <a:gd name="connsiteY13751" fmla="*/ 4607668 h 5973007"/>
              <a:gd name="connsiteX13752" fmla="*/ 6210209 w 6884782"/>
              <a:gd name="connsiteY13752" fmla="*/ 4611281 h 5973007"/>
              <a:gd name="connsiteX13753" fmla="*/ 6210364 w 6884782"/>
              <a:gd name="connsiteY13753" fmla="*/ 4610765 h 5973007"/>
              <a:gd name="connsiteX13754" fmla="*/ 6211448 w 6884782"/>
              <a:gd name="connsiteY13754" fmla="*/ 4634101 h 5973007"/>
              <a:gd name="connsiteX13755" fmla="*/ 6207111 w 6884782"/>
              <a:gd name="connsiteY13755" fmla="*/ 4621401 h 5973007"/>
              <a:gd name="connsiteX13756" fmla="*/ 6207575 w 6884782"/>
              <a:gd name="connsiteY13756" fmla="*/ 4617167 h 5973007"/>
              <a:gd name="connsiteX13757" fmla="*/ 6204633 w 6884782"/>
              <a:gd name="connsiteY13757" fmla="*/ 4616341 h 5973007"/>
              <a:gd name="connsiteX13758" fmla="*/ 6199056 w 6884782"/>
              <a:gd name="connsiteY13758" fmla="*/ 4613243 h 5973007"/>
              <a:gd name="connsiteX13759" fmla="*/ 6208815 w 6884782"/>
              <a:gd name="connsiteY13759" fmla="*/ 4607668 h 5973007"/>
              <a:gd name="connsiteX13760" fmla="*/ 1086404 w 6884782"/>
              <a:gd name="connsiteY13760" fmla="*/ 4607650 h 5973007"/>
              <a:gd name="connsiteX13761" fmla="*/ 1087333 w 6884782"/>
              <a:gd name="connsiteY13761" fmla="*/ 4607753 h 5973007"/>
              <a:gd name="connsiteX13762" fmla="*/ 1090586 w 6884782"/>
              <a:gd name="connsiteY13762" fmla="*/ 4608373 h 5973007"/>
              <a:gd name="connsiteX13763" fmla="*/ 1091980 w 6884782"/>
              <a:gd name="connsiteY13763" fmla="*/ 4612813 h 5973007"/>
              <a:gd name="connsiteX13764" fmla="*/ 1089037 w 6884782"/>
              <a:gd name="connsiteY13764" fmla="*/ 4614258 h 5973007"/>
              <a:gd name="connsiteX13765" fmla="*/ 1086869 w 6884782"/>
              <a:gd name="connsiteY13765" fmla="*/ 4613742 h 5973007"/>
              <a:gd name="connsiteX13766" fmla="*/ 1085165 w 6884782"/>
              <a:gd name="connsiteY13766" fmla="*/ 4609199 h 5973007"/>
              <a:gd name="connsiteX13767" fmla="*/ 1086404 w 6884782"/>
              <a:gd name="connsiteY13767" fmla="*/ 4607650 h 5973007"/>
              <a:gd name="connsiteX13768" fmla="*/ 5824672 w 6884782"/>
              <a:gd name="connsiteY13768" fmla="*/ 4607565 h 5973007"/>
              <a:gd name="connsiteX13769" fmla="*/ 5825291 w 6884782"/>
              <a:gd name="connsiteY13769" fmla="*/ 4607977 h 5973007"/>
              <a:gd name="connsiteX13770" fmla="*/ 5825756 w 6884782"/>
              <a:gd name="connsiteY13770" fmla="*/ 4607771 h 5973007"/>
              <a:gd name="connsiteX13771" fmla="*/ 5828544 w 6884782"/>
              <a:gd name="connsiteY13771" fmla="*/ 4607874 h 5973007"/>
              <a:gd name="connsiteX13772" fmla="*/ 5832727 w 6884782"/>
              <a:gd name="connsiteY13772" fmla="*/ 4607565 h 5973007"/>
              <a:gd name="connsiteX13773" fmla="*/ 5846357 w 6884782"/>
              <a:gd name="connsiteY13773" fmla="*/ 4610249 h 5973007"/>
              <a:gd name="connsiteX13774" fmla="*/ 5840781 w 6884782"/>
              <a:gd name="connsiteY13774" fmla="*/ 4611592 h 5973007"/>
              <a:gd name="connsiteX13775" fmla="*/ 5833501 w 6884782"/>
              <a:gd name="connsiteY13775" fmla="*/ 4611592 h 5973007"/>
              <a:gd name="connsiteX13776" fmla="*/ 5827925 w 6884782"/>
              <a:gd name="connsiteY13776" fmla="*/ 4612211 h 5973007"/>
              <a:gd name="connsiteX13777" fmla="*/ 5826995 w 6884782"/>
              <a:gd name="connsiteY13777" fmla="*/ 4613863 h 5973007"/>
              <a:gd name="connsiteX13778" fmla="*/ 5825291 w 6884782"/>
              <a:gd name="connsiteY13778" fmla="*/ 4615515 h 5973007"/>
              <a:gd name="connsiteX13779" fmla="*/ 5823742 w 6884782"/>
              <a:gd name="connsiteY13779" fmla="*/ 4615618 h 5973007"/>
              <a:gd name="connsiteX13780" fmla="*/ 5822658 w 6884782"/>
              <a:gd name="connsiteY13780" fmla="*/ 4614689 h 5973007"/>
              <a:gd name="connsiteX13781" fmla="*/ 5824672 w 6884782"/>
              <a:gd name="connsiteY13781" fmla="*/ 4607565 h 5973007"/>
              <a:gd name="connsiteX13782" fmla="*/ 1199943 w 6884782"/>
              <a:gd name="connsiteY13782" fmla="*/ 4605998 h 5973007"/>
              <a:gd name="connsiteX13783" fmla="*/ 1200717 w 6884782"/>
              <a:gd name="connsiteY13783" fmla="*/ 4607030 h 5973007"/>
              <a:gd name="connsiteX13784" fmla="*/ 1200253 w 6884782"/>
              <a:gd name="connsiteY13784" fmla="*/ 4607856 h 5973007"/>
              <a:gd name="connsiteX13785" fmla="*/ 1199169 w 6884782"/>
              <a:gd name="connsiteY13785" fmla="*/ 4607856 h 5973007"/>
              <a:gd name="connsiteX13786" fmla="*/ 1199943 w 6884782"/>
              <a:gd name="connsiteY13786" fmla="*/ 4605998 h 5973007"/>
              <a:gd name="connsiteX13787" fmla="*/ 6411632 w 6884782"/>
              <a:gd name="connsiteY13787" fmla="*/ 4605370 h 5973007"/>
              <a:gd name="connsiteX13788" fmla="*/ 6412039 w 6884782"/>
              <a:gd name="connsiteY13788" fmla="*/ 4610765 h 5973007"/>
              <a:gd name="connsiteX13789" fmla="*/ 6407856 w 6884782"/>
              <a:gd name="connsiteY13789" fmla="*/ 4607255 h 5973007"/>
              <a:gd name="connsiteX13790" fmla="*/ 6411632 w 6884782"/>
              <a:gd name="connsiteY13790" fmla="*/ 4605370 h 5973007"/>
              <a:gd name="connsiteX13791" fmla="*/ 6220122 w 6884782"/>
              <a:gd name="connsiteY13791" fmla="*/ 4604776 h 5973007"/>
              <a:gd name="connsiteX13792" fmla="*/ 6222136 w 6884782"/>
              <a:gd name="connsiteY13792" fmla="*/ 4607668 h 5973007"/>
              <a:gd name="connsiteX13793" fmla="*/ 6214391 w 6884782"/>
              <a:gd name="connsiteY13793" fmla="*/ 4619336 h 5973007"/>
              <a:gd name="connsiteX13794" fmla="*/ 6220122 w 6884782"/>
              <a:gd name="connsiteY13794" fmla="*/ 4604776 h 5973007"/>
              <a:gd name="connsiteX13795" fmla="*/ 783291 w 6884782"/>
              <a:gd name="connsiteY13795" fmla="*/ 4604720 h 5973007"/>
              <a:gd name="connsiteX13796" fmla="*/ 784821 w 6884782"/>
              <a:gd name="connsiteY13796" fmla="*/ 4609405 h 5973007"/>
              <a:gd name="connsiteX13797" fmla="*/ 778625 w 6884782"/>
              <a:gd name="connsiteY13797" fmla="*/ 4607856 h 5973007"/>
              <a:gd name="connsiteX13798" fmla="*/ 783291 w 6884782"/>
              <a:gd name="connsiteY13798" fmla="*/ 4604720 h 5973007"/>
              <a:gd name="connsiteX13799" fmla="*/ 790397 w 6884782"/>
              <a:gd name="connsiteY13799" fmla="*/ 4604655 h 5973007"/>
              <a:gd name="connsiteX13800" fmla="*/ 796438 w 6884782"/>
              <a:gd name="connsiteY13800" fmla="*/ 4606101 h 5973007"/>
              <a:gd name="connsiteX13801" fmla="*/ 798452 w 6884782"/>
              <a:gd name="connsiteY13801" fmla="*/ 4609095 h 5973007"/>
              <a:gd name="connsiteX13802" fmla="*/ 800311 w 6884782"/>
              <a:gd name="connsiteY13802" fmla="*/ 4607753 h 5973007"/>
              <a:gd name="connsiteX13803" fmla="*/ 813477 w 6884782"/>
              <a:gd name="connsiteY13803" fmla="*/ 4614051 h 5973007"/>
              <a:gd name="connsiteX13804" fmla="*/ 813786 w 6884782"/>
              <a:gd name="connsiteY13804" fmla="*/ 4616427 h 5973007"/>
              <a:gd name="connsiteX13805" fmla="*/ 815490 w 6884782"/>
              <a:gd name="connsiteY13805" fmla="*/ 4619731 h 5973007"/>
              <a:gd name="connsiteX13806" fmla="*/ 806351 w 6884782"/>
              <a:gd name="connsiteY13806" fmla="*/ 4626649 h 5973007"/>
              <a:gd name="connsiteX13807" fmla="*/ 801085 w 6884782"/>
              <a:gd name="connsiteY13807" fmla="*/ 4627888 h 5973007"/>
              <a:gd name="connsiteX13808" fmla="*/ 800001 w 6884782"/>
              <a:gd name="connsiteY13808" fmla="*/ 4627681 h 5973007"/>
              <a:gd name="connsiteX13809" fmla="*/ 800311 w 6884782"/>
              <a:gd name="connsiteY13809" fmla="*/ 4627888 h 5973007"/>
              <a:gd name="connsiteX13810" fmla="*/ 803718 w 6884782"/>
              <a:gd name="connsiteY13810" fmla="*/ 4633464 h 5973007"/>
              <a:gd name="connsiteX13811" fmla="*/ 801085 w 6884782"/>
              <a:gd name="connsiteY13811" fmla="*/ 4632844 h 5973007"/>
              <a:gd name="connsiteX13812" fmla="*/ 800155 w 6884782"/>
              <a:gd name="connsiteY13812" fmla="*/ 4631915 h 5973007"/>
              <a:gd name="connsiteX13813" fmla="*/ 799381 w 6884782"/>
              <a:gd name="connsiteY13813" fmla="*/ 4632018 h 5973007"/>
              <a:gd name="connsiteX13814" fmla="*/ 799226 w 6884782"/>
              <a:gd name="connsiteY13814" fmla="*/ 4631089 h 5973007"/>
              <a:gd name="connsiteX13815" fmla="*/ 797213 w 6884782"/>
              <a:gd name="connsiteY13815" fmla="*/ 4629540 h 5973007"/>
              <a:gd name="connsiteX13816" fmla="*/ 791946 w 6884782"/>
              <a:gd name="connsiteY13816" fmla="*/ 4627269 h 5973007"/>
              <a:gd name="connsiteX13817" fmla="*/ 787764 w 6884782"/>
              <a:gd name="connsiteY13817" fmla="*/ 4622209 h 5973007"/>
              <a:gd name="connsiteX13818" fmla="*/ 789312 w 6884782"/>
              <a:gd name="connsiteY13818" fmla="*/ 4620453 h 5973007"/>
              <a:gd name="connsiteX13819" fmla="*/ 787299 w 6884782"/>
              <a:gd name="connsiteY13819" fmla="*/ 4618802 h 5973007"/>
              <a:gd name="connsiteX13820" fmla="*/ 786680 w 6884782"/>
              <a:gd name="connsiteY13820" fmla="*/ 4607546 h 5973007"/>
              <a:gd name="connsiteX13821" fmla="*/ 790397 w 6884782"/>
              <a:gd name="connsiteY13821" fmla="*/ 4604655 h 5973007"/>
              <a:gd name="connsiteX13822" fmla="*/ 963414 w 6884782"/>
              <a:gd name="connsiteY13822" fmla="*/ 4604468 h 5973007"/>
              <a:gd name="connsiteX13823" fmla="*/ 968992 w 6884782"/>
              <a:gd name="connsiteY13823" fmla="*/ 4605481 h 5973007"/>
              <a:gd name="connsiteX13824" fmla="*/ 951489 w 6884782"/>
              <a:gd name="connsiteY13824" fmla="*/ 4620557 h 5973007"/>
              <a:gd name="connsiteX13825" fmla="*/ 949321 w 6884782"/>
              <a:gd name="connsiteY13825" fmla="*/ 4619628 h 5973007"/>
              <a:gd name="connsiteX13826" fmla="*/ 963414 w 6884782"/>
              <a:gd name="connsiteY13826" fmla="*/ 4604468 h 5973007"/>
              <a:gd name="connsiteX13827" fmla="*/ 1673734 w 6884782"/>
              <a:gd name="connsiteY13827" fmla="*/ 4604391 h 5973007"/>
              <a:gd name="connsiteX13828" fmla="*/ 1681515 w 6884782"/>
              <a:gd name="connsiteY13828" fmla="*/ 4608579 h 5973007"/>
              <a:gd name="connsiteX13829" fmla="*/ 1675629 w 6884782"/>
              <a:gd name="connsiteY13829" fmla="*/ 4615601 h 5973007"/>
              <a:gd name="connsiteX13830" fmla="*/ 1673734 w 6884782"/>
              <a:gd name="connsiteY13830" fmla="*/ 4604391 h 5973007"/>
              <a:gd name="connsiteX13831" fmla="*/ 1344636 w 6884782"/>
              <a:gd name="connsiteY13831" fmla="*/ 4604371 h 5973007"/>
              <a:gd name="connsiteX13832" fmla="*/ 1352670 w 6884782"/>
              <a:gd name="connsiteY13832" fmla="*/ 4606720 h 5973007"/>
              <a:gd name="connsiteX13833" fmla="*/ 1326493 w 6884782"/>
              <a:gd name="connsiteY13833" fmla="*/ 4623551 h 5973007"/>
              <a:gd name="connsiteX13834" fmla="*/ 1335787 w 6884782"/>
              <a:gd name="connsiteY13834" fmla="*/ 4608373 h 5973007"/>
              <a:gd name="connsiteX13835" fmla="*/ 1344636 w 6884782"/>
              <a:gd name="connsiteY13835" fmla="*/ 4604371 h 5973007"/>
              <a:gd name="connsiteX13836" fmla="*/ 6654606 w 6884782"/>
              <a:gd name="connsiteY13836" fmla="*/ 4603847 h 5973007"/>
              <a:gd name="connsiteX13837" fmla="*/ 6676911 w 6884782"/>
              <a:gd name="connsiteY13837" fmla="*/ 4621298 h 5973007"/>
              <a:gd name="connsiteX13838" fmla="*/ 6673813 w 6884782"/>
              <a:gd name="connsiteY13838" fmla="*/ 4621917 h 5973007"/>
              <a:gd name="connsiteX13839" fmla="*/ 6669941 w 6884782"/>
              <a:gd name="connsiteY13839" fmla="*/ 4621298 h 5973007"/>
              <a:gd name="connsiteX13840" fmla="*/ 6654606 w 6884782"/>
              <a:gd name="connsiteY13840" fmla="*/ 4603847 h 5973007"/>
              <a:gd name="connsiteX13841" fmla="*/ 6041681 w 6884782"/>
              <a:gd name="connsiteY13841" fmla="*/ 4603744 h 5973007"/>
              <a:gd name="connsiteX13842" fmla="*/ 6041217 w 6884782"/>
              <a:gd name="connsiteY13842" fmla="*/ 4604467 h 5973007"/>
              <a:gd name="connsiteX13843" fmla="*/ 6042611 w 6884782"/>
              <a:gd name="connsiteY13843" fmla="*/ 4605293 h 5973007"/>
              <a:gd name="connsiteX13844" fmla="*/ 6043076 w 6884782"/>
              <a:gd name="connsiteY13844" fmla="*/ 4604570 h 5973007"/>
              <a:gd name="connsiteX13845" fmla="*/ 6044005 w 6884782"/>
              <a:gd name="connsiteY13845" fmla="*/ 4606222 h 5973007"/>
              <a:gd name="connsiteX13846" fmla="*/ 6042611 w 6884782"/>
              <a:gd name="connsiteY13846" fmla="*/ 4612934 h 5973007"/>
              <a:gd name="connsiteX13847" fmla="*/ 6039048 w 6884782"/>
              <a:gd name="connsiteY13847" fmla="*/ 4610662 h 5973007"/>
              <a:gd name="connsiteX13848" fmla="*/ 6039048 w 6884782"/>
              <a:gd name="connsiteY13848" fmla="*/ 4607151 h 5973007"/>
              <a:gd name="connsiteX13849" fmla="*/ 6041681 w 6884782"/>
              <a:gd name="connsiteY13849" fmla="*/ 4603744 h 5973007"/>
              <a:gd name="connsiteX13850" fmla="*/ 5932789 w 6884782"/>
              <a:gd name="connsiteY13850" fmla="*/ 4602608 h 5973007"/>
              <a:gd name="connsiteX13851" fmla="*/ 5934648 w 6884782"/>
              <a:gd name="connsiteY13851" fmla="*/ 4604260 h 5973007"/>
              <a:gd name="connsiteX13852" fmla="*/ 5934803 w 6884782"/>
              <a:gd name="connsiteY13852" fmla="*/ 4605086 h 5973007"/>
              <a:gd name="connsiteX13853" fmla="*/ 5933099 w 6884782"/>
              <a:gd name="connsiteY13853" fmla="*/ 4605912 h 5973007"/>
              <a:gd name="connsiteX13854" fmla="*/ 5928143 w 6884782"/>
              <a:gd name="connsiteY13854" fmla="*/ 4605912 h 5973007"/>
              <a:gd name="connsiteX13855" fmla="*/ 5924890 w 6884782"/>
              <a:gd name="connsiteY13855" fmla="*/ 4605603 h 5973007"/>
              <a:gd name="connsiteX13856" fmla="*/ 5923186 w 6884782"/>
              <a:gd name="connsiteY13856" fmla="*/ 4605809 h 5973007"/>
              <a:gd name="connsiteX13857" fmla="*/ 5921327 w 6884782"/>
              <a:gd name="connsiteY13857" fmla="*/ 4604157 h 5973007"/>
              <a:gd name="connsiteX13858" fmla="*/ 5928607 w 6884782"/>
              <a:gd name="connsiteY13858" fmla="*/ 4602814 h 5973007"/>
              <a:gd name="connsiteX13859" fmla="*/ 5932789 w 6884782"/>
              <a:gd name="connsiteY13859" fmla="*/ 4602608 h 5973007"/>
              <a:gd name="connsiteX13860" fmla="*/ 5884152 w 6884782"/>
              <a:gd name="connsiteY13860" fmla="*/ 4601782 h 5973007"/>
              <a:gd name="connsiteX13861" fmla="*/ 5862466 w 6884782"/>
              <a:gd name="connsiteY13861" fmla="*/ 4615928 h 5973007"/>
              <a:gd name="connsiteX13862" fmla="*/ 5884152 w 6884782"/>
              <a:gd name="connsiteY13862" fmla="*/ 4601782 h 5973007"/>
              <a:gd name="connsiteX13863" fmla="*/ 6096980 w 6884782"/>
              <a:gd name="connsiteY13863" fmla="*/ 4601369 h 5973007"/>
              <a:gd name="connsiteX13864" fmla="*/ 6096670 w 6884782"/>
              <a:gd name="connsiteY13864" fmla="*/ 4611488 h 5973007"/>
              <a:gd name="connsiteX13865" fmla="*/ 6092333 w 6884782"/>
              <a:gd name="connsiteY13865" fmla="*/ 4609010 h 5973007"/>
              <a:gd name="connsiteX13866" fmla="*/ 6096980 w 6884782"/>
              <a:gd name="connsiteY13866" fmla="*/ 4601369 h 5973007"/>
              <a:gd name="connsiteX13867" fmla="*/ 1133957 w 6884782"/>
              <a:gd name="connsiteY13867" fmla="*/ 4600835 h 5973007"/>
              <a:gd name="connsiteX13868" fmla="*/ 1137830 w 6884782"/>
              <a:gd name="connsiteY13868" fmla="*/ 4603726 h 5973007"/>
              <a:gd name="connsiteX13869" fmla="*/ 1133647 w 6884782"/>
              <a:gd name="connsiteY13869" fmla="*/ 4602074 h 5973007"/>
              <a:gd name="connsiteX13870" fmla="*/ 1133957 w 6884782"/>
              <a:gd name="connsiteY13870" fmla="*/ 4600835 h 5973007"/>
              <a:gd name="connsiteX13871" fmla="*/ 1560387 w 6884782"/>
              <a:gd name="connsiteY13871" fmla="*/ 4600318 h 5973007"/>
              <a:gd name="connsiteX13872" fmla="*/ 1564104 w 6884782"/>
              <a:gd name="connsiteY13872" fmla="*/ 4610747 h 5973007"/>
              <a:gd name="connsiteX13873" fmla="*/ 1557753 w 6884782"/>
              <a:gd name="connsiteY13873" fmla="*/ 4608166 h 5973007"/>
              <a:gd name="connsiteX13874" fmla="*/ 1560387 w 6884782"/>
              <a:gd name="connsiteY13874" fmla="*/ 4600318 h 5973007"/>
              <a:gd name="connsiteX13875" fmla="*/ 1170028 w 6884782"/>
              <a:gd name="connsiteY13875" fmla="*/ 4599635 h 5973007"/>
              <a:gd name="connsiteX13876" fmla="*/ 1187242 w 6884782"/>
              <a:gd name="connsiteY13876" fmla="*/ 4602384 h 5973007"/>
              <a:gd name="connsiteX13877" fmla="*/ 1191423 w 6884782"/>
              <a:gd name="connsiteY13877" fmla="*/ 4607340 h 5973007"/>
              <a:gd name="connsiteX13878" fmla="*/ 1192818 w 6884782"/>
              <a:gd name="connsiteY13878" fmla="*/ 4605998 h 5973007"/>
              <a:gd name="connsiteX13879" fmla="*/ 1197000 w 6884782"/>
              <a:gd name="connsiteY13879" fmla="*/ 4605275 h 5973007"/>
              <a:gd name="connsiteX13880" fmla="*/ 1198084 w 6884782"/>
              <a:gd name="connsiteY13880" fmla="*/ 4613019 h 5973007"/>
              <a:gd name="connsiteX13881" fmla="*/ 1195141 w 6884782"/>
              <a:gd name="connsiteY13881" fmla="*/ 4615807 h 5973007"/>
              <a:gd name="connsiteX13882" fmla="*/ 1192198 w 6884782"/>
              <a:gd name="connsiteY13882" fmla="*/ 4618079 h 5973007"/>
              <a:gd name="connsiteX13883" fmla="*/ 1190649 w 6884782"/>
              <a:gd name="connsiteY13883" fmla="*/ 4623964 h 5973007"/>
              <a:gd name="connsiteX13884" fmla="*/ 1165865 w 6884782"/>
              <a:gd name="connsiteY13884" fmla="*/ 4643686 h 5973007"/>
              <a:gd name="connsiteX13885" fmla="*/ 1157037 w 6884782"/>
              <a:gd name="connsiteY13885" fmla="*/ 4621486 h 5973007"/>
              <a:gd name="connsiteX13886" fmla="*/ 1156727 w 6884782"/>
              <a:gd name="connsiteY13886" fmla="*/ 4619214 h 5973007"/>
              <a:gd name="connsiteX13887" fmla="*/ 1152854 w 6884782"/>
              <a:gd name="connsiteY13887" fmla="*/ 4617872 h 5973007"/>
              <a:gd name="connsiteX13888" fmla="*/ 1151925 w 6884782"/>
              <a:gd name="connsiteY13888" fmla="*/ 4616117 h 5973007"/>
              <a:gd name="connsiteX13889" fmla="*/ 1153938 w 6884782"/>
              <a:gd name="connsiteY13889" fmla="*/ 4614775 h 5973007"/>
              <a:gd name="connsiteX13890" fmla="*/ 1156572 w 6884782"/>
              <a:gd name="connsiteY13890" fmla="*/ 4615910 h 5973007"/>
              <a:gd name="connsiteX13891" fmla="*/ 1156882 w 6884782"/>
              <a:gd name="connsiteY13891" fmla="*/ 4613536 h 5973007"/>
              <a:gd name="connsiteX13892" fmla="*/ 1170028 w 6884782"/>
              <a:gd name="connsiteY13892" fmla="*/ 4599635 h 5973007"/>
              <a:gd name="connsiteX13893" fmla="*/ 960318 w 6884782"/>
              <a:gd name="connsiteY13893" fmla="*/ 4598253 h 5973007"/>
              <a:gd name="connsiteX13894" fmla="*/ 966205 w 6884782"/>
              <a:gd name="connsiteY13894" fmla="*/ 4600318 h 5973007"/>
              <a:gd name="connsiteX13895" fmla="*/ 960628 w 6884782"/>
              <a:gd name="connsiteY13895" fmla="*/ 4604552 h 5973007"/>
              <a:gd name="connsiteX13896" fmla="*/ 960318 w 6884782"/>
              <a:gd name="connsiteY13896" fmla="*/ 4598253 h 5973007"/>
              <a:gd name="connsiteX13897" fmla="*/ 838260 w 6884782"/>
              <a:gd name="connsiteY13897" fmla="*/ 4597944 h 5973007"/>
              <a:gd name="connsiteX13898" fmla="*/ 842442 w 6884782"/>
              <a:gd name="connsiteY13898" fmla="*/ 4598150 h 5973007"/>
              <a:gd name="connsiteX13899" fmla="*/ 844146 w 6884782"/>
              <a:gd name="connsiteY13899" fmla="*/ 4600009 h 5973007"/>
              <a:gd name="connsiteX13900" fmla="*/ 844301 w 6884782"/>
              <a:gd name="connsiteY13900" fmla="*/ 4600835 h 5973007"/>
              <a:gd name="connsiteX13901" fmla="*/ 842442 w 6884782"/>
              <a:gd name="connsiteY13901" fmla="*/ 4601454 h 5973007"/>
              <a:gd name="connsiteX13902" fmla="*/ 834233 w 6884782"/>
              <a:gd name="connsiteY13902" fmla="*/ 4600318 h 5973007"/>
              <a:gd name="connsiteX13903" fmla="*/ 832529 w 6884782"/>
              <a:gd name="connsiteY13903" fmla="*/ 4600318 h 5973007"/>
              <a:gd name="connsiteX13904" fmla="*/ 830825 w 6884782"/>
              <a:gd name="connsiteY13904" fmla="*/ 4598460 h 5973007"/>
              <a:gd name="connsiteX13905" fmla="*/ 838260 w 6884782"/>
              <a:gd name="connsiteY13905" fmla="*/ 4597944 h 5973007"/>
              <a:gd name="connsiteX13906" fmla="*/ 1570764 w 6884782"/>
              <a:gd name="connsiteY13906" fmla="*/ 4597324 h 5973007"/>
              <a:gd name="connsiteX13907" fmla="*/ 1574947 w 6884782"/>
              <a:gd name="connsiteY13907" fmla="*/ 4597531 h 5973007"/>
              <a:gd name="connsiteX13908" fmla="*/ 1573553 w 6884782"/>
              <a:gd name="connsiteY13908" fmla="*/ 4599079 h 5973007"/>
              <a:gd name="connsiteX13909" fmla="*/ 1570764 w 6884782"/>
              <a:gd name="connsiteY13909" fmla="*/ 4598150 h 5973007"/>
              <a:gd name="connsiteX13910" fmla="*/ 1570764 w 6884782"/>
              <a:gd name="connsiteY13910" fmla="*/ 4597324 h 5973007"/>
              <a:gd name="connsiteX13911" fmla="*/ 5987932 w 6884782"/>
              <a:gd name="connsiteY13911" fmla="*/ 4596723 h 5973007"/>
              <a:gd name="connsiteX13912" fmla="*/ 5986848 w 6884782"/>
              <a:gd name="connsiteY13912" fmla="*/ 4608803 h 5973007"/>
              <a:gd name="connsiteX13913" fmla="*/ 5981427 w 6884782"/>
              <a:gd name="connsiteY13913" fmla="*/ 4621091 h 5973007"/>
              <a:gd name="connsiteX13914" fmla="*/ 5987932 w 6884782"/>
              <a:gd name="connsiteY13914" fmla="*/ 4596723 h 5973007"/>
              <a:gd name="connsiteX13915" fmla="*/ 6755753 w 6884782"/>
              <a:gd name="connsiteY13915" fmla="*/ 4596619 h 5973007"/>
              <a:gd name="connsiteX13916" fmla="*/ 6759936 w 6884782"/>
              <a:gd name="connsiteY13916" fmla="*/ 4596619 h 5973007"/>
              <a:gd name="connsiteX13917" fmla="*/ 6761639 w 6884782"/>
              <a:gd name="connsiteY13917" fmla="*/ 4617167 h 5973007"/>
              <a:gd name="connsiteX13918" fmla="*/ 6755753 w 6884782"/>
              <a:gd name="connsiteY13918" fmla="*/ 4596619 h 5973007"/>
              <a:gd name="connsiteX13919" fmla="*/ 1491922 w 6884782"/>
              <a:gd name="connsiteY13919" fmla="*/ 4596498 h 5973007"/>
              <a:gd name="connsiteX13920" fmla="*/ 1493316 w 6884782"/>
              <a:gd name="connsiteY13920" fmla="*/ 4597634 h 5973007"/>
              <a:gd name="connsiteX13921" fmla="*/ 1492387 w 6884782"/>
              <a:gd name="connsiteY13921" fmla="*/ 4600009 h 5973007"/>
              <a:gd name="connsiteX13922" fmla="*/ 1487740 w 6884782"/>
              <a:gd name="connsiteY13922" fmla="*/ 4602177 h 5973007"/>
              <a:gd name="connsiteX13923" fmla="*/ 1486346 w 6884782"/>
              <a:gd name="connsiteY13923" fmla="*/ 4601041 h 5973007"/>
              <a:gd name="connsiteX13924" fmla="*/ 1491922 w 6884782"/>
              <a:gd name="connsiteY13924" fmla="*/ 4596498 h 5973007"/>
              <a:gd name="connsiteX13925" fmla="*/ 1152602 w 6884782"/>
              <a:gd name="connsiteY13925" fmla="*/ 4596085 h 5973007"/>
              <a:gd name="connsiteX13926" fmla="*/ 1159670 w 6884782"/>
              <a:gd name="connsiteY13926" fmla="*/ 4600938 h 5973007"/>
              <a:gd name="connsiteX13927" fmla="*/ 1155023 w 6884782"/>
              <a:gd name="connsiteY13927" fmla="*/ 4607650 h 5973007"/>
              <a:gd name="connsiteX13928" fmla="*/ 1147278 w 6884782"/>
              <a:gd name="connsiteY13928" fmla="*/ 4603003 h 5973007"/>
              <a:gd name="connsiteX13929" fmla="*/ 1152602 w 6884782"/>
              <a:gd name="connsiteY13929" fmla="*/ 4596085 h 5973007"/>
              <a:gd name="connsiteX13930" fmla="*/ 1561471 w 6884782"/>
              <a:gd name="connsiteY13930" fmla="*/ 4594330 h 5973007"/>
              <a:gd name="connsiteX13931" fmla="*/ 1565808 w 6884782"/>
              <a:gd name="connsiteY13931" fmla="*/ 4595362 h 5973007"/>
              <a:gd name="connsiteX13932" fmla="*/ 1565034 w 6884782"/>
              <a:gd name="connsiteY13932" fmla="*/ 4598047 h 5973007"/>
              <a:gd name="connsiteX13933" fmla="*/ 1561471 w 6884782"/>
              <a:gd name="connsiteY13933" fmla="*/ 4597014 h 5973007"/>
              <a:gd name="connsiteX13934" fmla="*/ 1561471 w 6884782"/>
              <a:gd name="connsiteY13934" fmla="*/ 4594330 h 5973007"/>
              <a:gd name="connsiteX13935" fmla="*/ 1794125 w 6884782"/>
              <a:gd name="connsiteY13935" fmla="*/ 4594123 h 5973007"/>
              <a:gd name="connsiteX13936" fmla="*/ 1801560 w 6884782"/>
              <a:gd name="connsiteY13936" fmla="*/ 4604346 h 5973007"/>
              <a:gd name="connsiteX13937" fmla="*/ 1801560 w 6884782"/>
              <a:gd name="connsiteY13937" fmla="*/ 4607340 h 5973007"/>
              <a:gd name="connsiteX13938" fmla="*/ 1804194 w 6884782"/>
              <a:gd name="connsiteY13938" fmla="*/ 4609095 h 5973007"/>
              <a:gd name="connsiteX13939" fmla="*/ 1804348 w 6884782"/>
              <a:gd name="connsiteY13939" fmla="*/ 4623654 h 5973007"/>
              <a:gd name="connsiteX13940" fmla="*/ 1801095 w 6884782"/>
              <a:gd name="connsiteY13940" fmla="*/ 4623138 h 5973007"/>
              <a:gd name="connsiteX13941" fmla="*/ 1800786 w 6884782"/>
              <a:gd name="connsiteY13941" fmla="*/ 4622829 h 5973007"/>
              <a:gd name="connsiteX13942" fmla="*/ 1800011 w 6884782"/>
              <a:gd name="connsiteY13942" fmla="*/ 4623138 h 5973007"/>
              <a:gd name="connsiteX13943" fmla="*/ 1793660 w 6884782"/>
              <a:gd name="connsiteY13943" fmla="*/ 4624480 h 5973007"/>
              <a:gd name="connsiteX13944" fmla="*/ 1798772 w 6884782"/>
              <a:gd name="connsiteY13944" fmla="*/ 4621073 h 5973007"/>
              <a:gd name="connsiteX13945" fmla="*/ 1799236 w 6884782"/>
              <a:gd name="connsiteY13945" fmla="*/ 4620970 h 5973007"/>
              <a:gd name="connsiteX13946" fmla="*/ 1797688 w 6884782"/>
              <a:gd name="connsiteY13946" fmla="*/ 4619214 h 5973007"/>
              <a:gd name="connsiteX13947" fmla="*/ 1795209 w 6884782"/>
              <a:gd name="connsiteY13947" fmla="*/ 4611057 h 5973007"/>
              <a:gd name="connsiteX13948" fmla="*/ 1796138 w 6884782"/>
              <a:gd name="connsiteY13948" fmla="*/ 4608889 h 5973007"/>
              <a:gd name="connsiteX13949" fmla="*/ 1795365 w 6884782"/>
              <a:gd name="connsiteY13949" fmla="*/ 4607134 h 5973007"/>
              <a:gd name="connsiteX13950" fmla="*/ 1794125 w 6884782"/>
              <a:gd name="connsiteY13950" fmla="*/ 4594123 h 5973007"/>
              <a:gd name="connsiteX13951" fmla="*/ 807068 w 6884782"/>
              <a:gd name="connsiteY13951" fmla="*/ 4594020 h 5973007"/>
              <a:gd name="connsiteX13952" fmla="*/ 809139 w 6884782"/>
              <a:gd name="connsiteY13952" fmla="*/ 4598667 h 5973007"/>
              <a:gd name="connsiteX13953" fmla="*/ 804492 w 6884782"/>
              <a:gd name="connsiteY13953" fmla="*/ 4603003 h 5973007"/>
              <a:gd name="connsiteX13954" fmla="*/ 803718 w 6884782"/>
              <a:gd name="connsiteY13954" fmla="*/ 4603107 h 5973007"/>
              <a:gd name="connsiteX13955" fmla="*/ 801859 w 6884782"/>
              <a:gd name="connsiteY13955" fmla="*/ 4602487 h 5973007"/>
              <a:gd name="connsiteX13956" fmla="*/ 798297 w 6884782"/>
              <a:gd name="connsiteY13956" fmla="*/ 4599079 h 5973007"/>
              <a:gd name="connsiteX13957" fmla="*/ 797832 w 6884782"/>
              <a:gd name="connsiteY13957" fmla="*/ 4599906 h 5973007"/>
              <a:gd name="connsiteX13958" fmla="*/ 800001 w 6884782"/>
              <a:gd name="connsiteY13958" fmla="*/ 4594949 h 5973007"/>
              <a:gd name="connsiteX13959" fmla="*/ 807068 w 6884782"/>
              <a:gd name="connsiteY13959" fmla="*/ 4594020 h 5973007"/>
              <a:gd name="connsiteX13960" fmla="*/ 1475658 w 6884782"/>
              <a:gd name="connsiteY13960" fmla="*/ 4592884 h 5973007"/>
              <a:gd name="connsiteX13961" fmla="*/ 1475349 w 6884782"/>
              <a:gd name="connsiteY13961" fmla="*/ 4594227 h 5973007"/>
              <a:gd name="connsiteX13962" fmla="*/ 1476742 w 6884782"/>
              <a:gd name="connsiteY13962" fmla="*/ 4594123 h 5973007"/>
              <a:gd name="connsiteX13963" fmla="*/ 1476433 w 6884782"/>
              <a:gd name="connsiteY13963" fmla="*/ 4593813 h 5973007"/>
              <a:gd name="connsiteX13964" fmla="*/ 1475813 w 6884782"/>
              <a:gd name="connsiteY13964" fmla="*/ 4593297 h 5973007"/>
              <a:gd name="connsiteX13965" fmla="*/ 1203041 w 6884782"/>
              <a:gd name="connsiteY13965" fmla="*/ 4592574 h 5973007"/>
              <a:gd name="connsiteX13966" fmla="*/ 1200098 w 6884782"/>
              <a:gd name="connsiteY13966" fmla="*/ 4605998 h 5973007"/>
              <a:gd name="connsiteX13967" fmla="*/ 1203041 w 6884782"/>
              <a:gd name="connsiteY13967" fmla="*/ 4592574 h 5973007"/>
              <a:gd name="connsiteX13968" fmla="*/ 6176441 w 6884782"/>
              <a:gd name="connsiteY13968" fmla="*/ 4592489 h 5973007"/>
              <a:gd name="connsiteX13969" fmla="*/ 6181708 w 6884782"/>
              <a:gd name="connsiteY13969" fmla="*/ 4597652 h 5973007"/>
              <a:gd name="connsiteX13970" fmla="*/ 6177216 w 6884782"/>
              <a:gd name="connsiteY13970" fmla="*/ 4599613 h 5973007"/>
              <a:gd name="connsiteX13971" fmla="*/ 6174428 w 6884782"/>
              <a:gd name="connsiteY13971" fmla="*/ 4598168 h 5973007"/>
              <a:gd name="connsiteX13972" fmla="*/ 6174273 w 6884782"/>
              <a:gd name="connsiteY13972" fmla="*/ 4595070 h 5973007"/>
              <a:gd name="connsiteX13973" fmla="*/ 6176441 w 6884782"/>
              <a:gd name="connsiteY13973" fmla="*/ 4592489 h 5973007"/>
              <a:gd name="connsiteX13974" fmla="*/ 737267 w 6884782"/>
              <a:gd name="connsiteY13974" fmla="*/ 4592368 h 5973007"/>
              <a:gd name="connsiteX13975" fmla="*/ 741450 w 6884782"/>
              <a:gd name="connsiteY13975" fmla="*/ 4592574 h 5973007"/>
              <a:gd name="connsiteX13976" fmla="*/ 754925 w 6884782"/>
              <a:gd name="connsiteY13976" fmla="*/ 4596705 h 5973007"/>
              <a:gd name="connsiteX13977" fmla="*/ 749194 w 6884782"/>
              <a:gd name="connsiteY13977" fmla="*/ 4597531 h 5973007"/>
              <a:gd name="connsiteX13978" fmla="*/ 735719 w 6884782"/>
              <a:gd name="connsiteY13978" fmla="*/ 4596705 h 5973007"/>
              <a:gd name="connsiteX13979" fmla="*/ 734014 w 6884782"/>
              <a:gd name="connsiteY13979" fmla="*/ 4594949 h 5973007"/>
              <a:gd name="connsiteX13980" fmla="*/ 733240 w 6884782"/>
              <a:gd name="connsiteY13980" fmla="*/ 4594846 h 5973007"/>
              <a:gd name="connsiteX13981" fmla="*/ 732311 w 6884782"/>
              <a:gd name="connsiteY13981" fmla="*/ 4593091 h 5973007"/>
              <a:gd name="connsiteX13982" fmla="*/ 737267 w 6884782"/>
              <a:gd name="connsiteY13982" fmla="*/ 4592368 h 5973007"/>
              <a:gd name="connsiteX13983" fmla="*/ 1558063 w 6884782"/>
              <a:gd name="connsiteY13983" fmla="*/ 4592265 h 5973007"/>
              <a:gd name="connsiteX13984" fmla="*/ 1549853 w 6884782"/>
              <a:gd name="connsiteY13984" fmla="*/ 4606307 h 5973007"/>
              <a:gd name="connsiteX13985" fmla="*/ 1561626 w 6884782"/>
              <a:gd name="connsiteY13985" fmla="*/ 4618595 h 5973007"/>
              <a:gd name="connsiteX13986" fmla="*/ 1557133 w 6884782"/>
              <a:gd name="connsiteY13986" fmla="*/ 4618802 h 5973007"/>
              <a:gd name="connsiteX13987" fmla="*/ 1543503 w 6884782"/>
              <a:gd name="connsiteY13987" fmla="*/ 4610747 h 5973007"/>
              <a:gd name="connsiteX13988" fmla="*/ 1533125 w 6884782"/>
              <a:gd name="connsiteY13988" fmla="*/ 4610747 h 5973007"/>
              <a:gd name="connsiteX13989" fmla="*/ 1550783 w 6884782"/>
              <a:gd name="connsiteY13989" fmla="*/ 4593917 h 5973007"/>
              <a:gd name="connsiteX13990" fmla="*/ 1558063 w 6884782"/>
              <a:gd name="connsiteY13990" fmla="*/ 4592265 h 5973007"/>
              <a:gd name="connsiteX13991" fmla="*/ 5975696 w 6884782"/>
              <a:gd name="connsiteY13991" fmla="*/ 4592179 h 5973007"/>
              <a:gd name="connsiteX13992" fmla="*/ 5981892 w 6884782"/>
              <a:gd name="connsiteY13992" fmla="*/ 4594451 h 5973007"/>
              <a:gd name="connsiteX13993" fmla="*/ 5981272 w 6884782"/>
              <a:gd name="connsiteY13993" fmla="*/ 4596309 h 5973007"/>
              <a:gd name="connsiteX13994" fmla="*/ 5978949 w 6884782"/>
              <a:gd name="connsiteY13994" fmla="*/ 4597858 h 5973007"/>
              <a:gd name="connsiteX13995" fmla="*/ 5976470 w 6884782"/>
              <a:gd name="connsiteY13995" fmla="*/ 4597445 h 5973007"/>
              <a:gd name="connsiteX13996" fmla="*/ 5975696 w 6884782"/>
              <a:gd name="connsiteY13996" fmla="*/ 4592179 h 5973007"/>
              <a:gd name="connsiteX13997" fmla="*/ 6463464 w 6884782"/>
              <a:gd name="connsiteY13997" fmla="*/ 4591663 h 5973007"/>
              <a:gd name="connsiteX13998" fmla="*/ 6453861 w 6884782"/>
              <a:gd name="connsiteY13998" fmla="*/ 4592799 h 5973007"/>
              <a:gd name="connsiteX13999" fmla="*/ 6456649 w 6884782"/>
              <a:gd name="connsiteY13999" fmla="*/ 4593831 h 5973007"/>
              <a:gd name="connsiteX14000" fmla="*/ 6460676 w 6884782"/>
              <a:gd name="connsiteY14000" fmla="*/ 4598271 h 5973007"/>
              <a:gd name="connsiteX14001" fmla="*/ 6460676 w 6884782"/>
              <a:gd name="connsiteY14001" fmla="*/ 4597962 h 5973007"/>
              <a:gd name="connsiteX14002" fmla="*/ 1846325 w 6884782"/>
              <a:gd name="connsiteY14002" fmla="*/ 4590200 h 5973007"/>
              <a:gd name="connsiteX14003" fmla="*/ 1837960 w 6884782"/>
              <a:gd name="connsiteY14003" fmla="*/ 4592368 h 5973007"/>
              <a:gd name="connsiteX14004" fmla="*/ 1840903 w 6884782"/>
              <a:gd name="connsiteY14004" fmla="*/ 4593091 h 5973007"/>
              <a:gd name="connsiteX14005" fmla="*/ 1846015 w 6884782"/>
              <a:gd name="connsiteY14005" fmla="*/ 4593091 h 5973007"/>
              <a:gd name="connsiteX14006" fmla="*/ 1846325 w 6884782"/>
              <a:gd name="connsiteY14006" fmla="*/ 4590303 h 5973007"/>
              <a:gd name="connsiteX14007" fmla="*/ 1168809 w 6884782"/>
              <a:gd name="connsiteY14007" fmla="*/ 4590096 h 5973007"/>
              <a:gd name="connsiteX14008" fmla="*/ 1170822 w 6884782"/>
              <a:gd name="connsiteY14008" fmla="*/ 4592471 h 5973007"/>
              <a:gd name="connsiteX14009" fmla="*/ 1168344 w 6884782"/>
              <a:gd name="connsiteY14009" fmla="*/ 4590819 h 5973007"/>
              <a:gd name="connsiteX14010" fmla="*/ 1168809 w 6884782"/>
              <a:gd name="connsiteY14010" fmla="*/ 4590096 h 5973007"/>
              <a:gd name="connsiteX14011" fmla="*/ 1402547 w 6884782"/>
              <a:gd name="connsiteY14011" fmla="*/ 4589477 h 5973007"/>
              <a:gd name="connsiteX14012" fmla="*/ 1408279 w 6884782"/>
              <a:gd name="connsiteY14012" fmla="*/ 4590096 h 5973007"/>
              <a:gd name="connsiteX14013" fmla="*/ 1411686 w 6884782"/>
              <a:gd name="connsiteY14013" fmla="*/ 4596498 h 5973007"/>
              <a:gd name="connsiteX14014" fmla="*/ 1408434 w 6884782"/>
              <a:gd name="connsiteY14014" fmla="*/ 4596911 h 5973007"/>
              <a:gd name="connsiteX14015" fmla="*/ 1402547 w 6884782"/>
              <a:gd name="connsiteY14015" fmla="*/ 4589477 h 5973007"/>
              <a:gd name="connsiteX14016" fmla="*/ 1483558 w 6884782"/>
              <a:gd name="connsiteY14016" fmla="*/ 4589373 h 5973007"/>
              <a:gd name="connsiteX14017" fmla="*/ 1486811 w 6884782"/>
              <a:gd name="connsiteY14017" fmla="*/ 4590612 h 5973007"/>
              <a:gd name="connsiteX14018" fmla="*/ 1484023 w 6884782"/>
              <a:gd name="connsiteY14018" fmla="*/ 4592884 h 5973007"/>
              <a:gd name="connsiteX14019" fmla="*/ 1483093 w 6884782"/>
              <a:gd name="connsiteY14019" fmla="*/ 4591851 h 5973007"/>
              <a:gd name="connsiteX14020" fmla="*/ 1483558 w 6884782"/>
              <a:gd name="connsiteY14020" fmla="*/ 4589373 h 5973007"/>
              <a:gd name="connsiteX14021" fmla="*/ 6202154 w 6884782"/>
              <a:gd name="connsiteY14021" fmla="*/ 4589288 h 5973007"/>
              <a:gd name="connsiteX14022" fmla="*/ 6201999 w 6884782"/>
              <a:gd name="connsiteY14022" fmla="*/ 4602711 h 5973007"/>
              <a:gd name="connsiteX14023" fmla="*/ 6195029 w 6884782"/>
              <a:gd name="connsiteY14023" fmla="*/ 4598375 h 5973007"/>
              <a:gd name="connsiteX14024" fmla="*/ 6202154 w 6884782"/>
              <a:gd name="connsiteY14024" fmla="*/ 4589288 h 5973007"/>
              <a:gd name="connsiteX14025" fmla="*/ 5709429 w 6884782"/>
              <a:gd name="connsiteY14025" fmla="*/ 4588359 h 5973007"/>
              <a:gd name="connsiteX14026" fmla="*/ 5715780 w 6884782"/>
              <a:gd name="connsiteY14026" fmla="*/ 4589908 h 5973007"/>
              <a:gd name="connsiteX14027" fmla="*/ 5712836 w 6884782"/>
              <a:gd name="connsiteY14027" fmla="*/ 4596929 h 5973007"/>
              <a:gd name="connsiteX14028" fmla="*/ 5708345 w 6884782"/>
              <a:gd name="connsiteY14028" fmla="*/ 4595380 h 5973007"/>
              <a:gd name="connsiteX14029" fmla="*/ 5709429 w 6884782"/>
              <a:gd name="connsiteY14029" fmla="*/ 4588359 h 5973007"/>
              <a:gd name="connsiteX14030" fmla="*/ 890460 w 6884782"/>
              <a:gd name="connsiteY14030" fmla="*/ 4588135 h 5973007"/>
              <a:gd name="connsiteX14031" fmla="*/ 892009 w 6884782"/>
              <a:gd name="connsiteY14031" fmla="*/ 4589993 h 5973007"/>
              <a:gd name="connsiteX14032" fmla="*/ 889995 w 6884782"/>
              <a:gd name="connsiteY14032" fmla="*/ 4591955 h 5973007"/>
              <a:gd name="connsiteX14033" fmla="*/ 887362 w 6884782"/>
              <a:gd name="connsiteY14033" fmla="*/ 4592368 h 5973007"/>
              <a:gd name="connsiteX14034" fmla="*/ 886587 w 6884782"/>
              <a:gd name="connsiteY14034" fmla="*/ 4591232 h 5973007"/>
              <a:gd name="connsiteX14035" fmla="*/ 886123 w 6884782"/>
              <a:gd name="connsiteY14035" fmla="*/ 4589270 h 5973007"/>
              <a:gd name="connsiteX14036" fmla="*/ 890460 w 6884782"/>
              <a:gd name="connsiteY14036" fmla="*/ 4588135 h 5973007"/>
              <a:gd name="connsiteX14037" fmla="*/ 1196070 w 6884782"/>
              <a:gd name="connsiteY14037" fmla="*/ 4587721 h 5973007"/>
              <a:gd name="connsiteX14038" fmla="*/ 1197464 w 6884782"/>
              <a:gd name="connsiteY14038" fmla="*/ 4594330 h 5973007"/>
              <a:gd name="connsiteX14039" fmla="*/ 1195606 w 6884782"/>
              <a:gd name="connsiteY14039" fmla="*/ 4594433 h 5973007"/>
              <a:gd name="connsiteX14040" fmla="*/ 1192973 w 6884782"/>
              <a:gd name="connsiteY14040" fmla="*/ 4592987 h 5973007"/>
              <a:gd name="connsiteX14041" fmla="*/ 1191888 w 6884782"/>
              <a:gd name="connsiteY14041" fmla="*/ 4590509 h 5973007"/>
              <a:gd name="connsiteX14042" fmla="*/ 1196070 w 6884782"/>
              <a:gd name="connsiteY14042" fmla="*/ 4587721 h 5973007"/>
              <a:gd name="connsiteX14043" fmla="*/ 1853605 w 6884782"/>
              <a:gd name="connsiteY14043" fmla="*/ 4587618 h 5973007"/>
              <a:gd name="connsiteX14044" fmla="*/ 1853296 w 6884782"/>
              <a:gd name="connsiteY14044" fmla="*/ 4587721 h 5973007"/>
              <a:gd name="connsiteX14045" fmla="*/ 1853140 w 6884782"/>
              <a:gd name="connsiteY14045" fmla="*/ 4588031 h 5973007"/>
              <a:gd name="connsiteX14046" fmla="*/ 1499667 w 6884782"/>
              <a:gd name="connsiteY14046" fmla="*/ 4587102 h 5973007"/>
              <a:gd name="connsiteX14047" fmla="*/ 1506018 w 6884782"/>
              <a:gd name="connsiteY14047" fmla="*/ 4588754 h 5973007"/>
              <a:gd name="connsiteX14048" fmla="*/ 1502765 w 6884782"/>
              <a:gd name="connsiteY14048" fmla="*/ 4588960 h 5973007"/>
              <a:gd name="connsiteX14049" fmla="*/ 1499667 w 6884782"/>
              <a:gd name="connsiteY14049" fmla="*/ 4587102 h 5973007"/>
              <a:gd name="connsiteX14050" fmla="*/ 5842175 w 6884782"/>
              <a:gd name="connsiteY14050" fmla="*/ 4587016 h 5973007"/>
              <a:gd name="connsiteX14051" fmla="*/ 5846048 w 6884782"/>
              <a:gd name="connsiteY14051" fmla="*/ 4588359 h 5973007"/>
              <a:gd name="connsiteX14052" fmla="*/ 5841710 w 6884782"/>
              <a:gd name="connsiteY14052" fmla="*/ 4595070 h 5973007"/>
              <a:gd name="connsiteX14053" fmla="*/ 5839232 w 6884782"/>
              <a:gd name="connsiteY14053" fmla="*/ 4594554 h 5973007"/>
              <a:gd name="connsiteX14054" fmla="*/ 5839542 w 6884782"/>
              <a:gd name="connsiteY14054" fmla="*/ 4588359 h 5973007"/>
              <a:gd name="connsiteX14055" fmla="*/ 5842175 w 6884782"/>
              <a:gd name="connsiteY14055" fmla="*/ 4587016 h 5973007"/>
              <a:gd name="connsiteX14056" fmla="*/ 1592450 w 6884782"/>
              <a:gd name="connsiteY14056" fmla="*/ 4585411 h 5973007"/>
              <a:gd name="connsiteX14057" fmla="*/ 1597252 w 6884782"/>
              <a:gd name="connsiteY14057" fmla="*/ 4591129 h 5973007"/>
              <a:gd name="connsiteX14058" fmla="*/ 1591675 w 6884782"/>
              <a:gd name="connsiteY14058" fmla="*/ 4593091 h 5973007"/>
              <a:gd name="connsiteX14059" fmla="*/ 1589972 w 6884782"/>
              <a:gd name="connsiteY14059" fmla="*/ 4590612 h 5973007"/>
              <a:gd name="connsiteX14060" fmla="*/ 1592450 w 6884782"/>
              <a:gd name="connsiteY14060" fmla="*/ 4585411 h 5973007"/>
              <a:gd name="connsiteX14061" fmla="*/ 6017053 w 6884782"/>
              <a:gd name="connsiteY14061" fmla="*/ 4585158 h 5973007"/>
              <a:gd name="connsiteX14062" fmla="*/ 6016589 w 6884782"/>
              <a:gd name="connsiteY14062" fmla="*/ 4588359 h 5973007"/>
              <a:gd name="connsiteX14063" fmla="*/ 6016124 w 6884782"/>
              <a:gd name="connsiteY14063" fmla="*/ 4589081 h 5973007"/>
              <a:gd name="connsiteX14064" fmla="*/ 6015814 w 6884782"/>
              <a:gd name="connsiteY14064" fmla="*/ 4588359 h 5973007"/>
              <a:gd name="connsiteX14065" fmla="*/ 6017053 w 6884782"/>
              <a:gd name="connsiteY14065" fmla="*/ 4585158 h 5973007"/>
              <a:gd name="connsiteX14066" fmla="*/ 1170357 w 6884782"/>
              <a:gd name="connsiteY14066" fmla="*/ 4585140 h 5973007"/>
              <a:gd name="connsiteX14067" fmla="*/ 1175314 w 6884782"/>
              <a:gd name="connsiteY14067" fmla="*/ 4585140 h 5973007"/>
              <a:gd name="connsiteX14068" fmla="*/ 1176088 w 6884782"/>
              <a:gd name="connsiteY14068" fmla="*/ 4586069 h 5973007"/>
              <a:gd name="connsiteX14069" fmla="*/ 1176863 w 6884782"/>
              <a:gd name="connsiteY14069" fmla="*/ 4586689 h 5973007"/>
              <a:gd name="connsiteX14070" fmla="*/ 1178412 w 6884782"/>
              <a:gd name="connsiteY14070" fmla="*/ 4588444 h 5973007"/>
              <a:gd name="connsiteX14071" fmla="*/ 1176243 w 6884782"/>
              <a:gd name="connsiteY14071" fmla="*/ 4590509 h 5973007"/>
              <a:gd name="connsiteX14072" fmla="*/ 1173765 w 6884782"/>
              <a:gd name="connsiteY14072" fmla="*/ 4590509 h 5973007"/>
              <a:gd name="connsiteX14073" fmla="*/ 1170357 w 6884782"/>
              <a:gd name="connsiteY14073" fmla="*/ 4585140 h 5973007"/>
              <a:gd name="connsiteX14074" fmla="*/ 1416643 w 6884782"/>
              <a:gd name="connsiteY14074" fmla="*/ 4584624 h 5973007"/>
              <a:gd name="connsiteX14075" fmla="*/ 1412615 w 6884782"/>
              <a:gd name="connsiteY14075" fmla="*/ 4590509 h 5973007"/>
              <a:gd name="connsiteX14076" fmla="*/ 1410447 w 6884782"/>
              <a:gd name="connsiteY14076" fmla="*/ 4590509 h 5973007"/>
              <a:gd name="connsiteX14077" fmla="*/ 1416643 w 6884782"/>
              <a:gd name="connsiteY14077" fmla="*/ 4584624 h 5973007"/>
              <a:gd name="connsiteX14078" fmla="*/ 6103795 w 6884782"/>
              <a:gd name="connsiteY14078" fmla="*/ 4584435 h 5973007"/>
              <a:gd name="connsiteX14079" fmla="*/ 6106738 w 6884782"/>
              <a:gd name="connsiteY14079" fmla="*/ 4585158 h 5973007"/>
              <a:gd name="connsiteX14080" fmla="*/ 6109681 w 6884782"/>
              <a:gd name="connsiteY14080" fmla="*/ 4586397 h 5973007"/>
              <a:gd name="connsiteX14081" fmla="*/ 6110456 w 6884782"/>
              <a:gd name="connsiteY14081" fmla="*/ 4586087 h 5973007"/>
              <a:gd name="connsiteX14082" fmla="*/ 6110920 w 6884782"/>
              <a:gd name="connsiteY14082" fmla="*/ 4600543 h 5973007"/>
              <a:gd name="connsiteX14083" fmla="*/ 6102401 w 6884782"/>
              <a:gd name="connsiteY14083" fmla="*/ 4598168 h 5973007"/>
              <a:gd name="connsiteX14084" fmla="*/ 6101626 w 6884782"/>
              <a:gd name="connsiteY14084" fmla="*/ 4597239 h 5973007"/>
              <a:gd name="connsiteX14085" fmla="*/ 6100387 w 6884782"/>
              <a:gd name="connsiteY14085" fmla="*/ 4597962 h 5973007"/>
              <a:gd name="connsiteX14086" fmla="*/ 6094191 w 6884782"/>
              <a:gd name="connsiteY14086" fmla="*/ 4595483 h 5973007"/>
              <a:gd name="connsiteX14087" fmla="*/ 6100542 w 6884782"/>
              <a:gd name="connsiteY14087" fmla="*/ 4587223 h 5973007"/>
              <a:gd name="connsiteX14088" fmla="*/ 6101626 w 6884782"/>
              <a:gd name="connsiteY14088" fmla="*/ 4588462 h 5973007"/>
              <a:gd name="connsiteX14089" fmla="*/ 6102246 w 6884782"/>
              <a:gd name="connsiteY14089" fmla="*/ 4586707 h 5973007"/>
              <a:gd name="connsiteX14090" fmla="*/ 6103795 w 6884782"/>
              <a:gd name="connsiteY14090" fmla="*/ 4584435 h 5973007"/>
              <a:gd name="connsiteX14091" fmla="*/ 1632568 w 6884782"/>
              <a:gd name="connsiteY14091" fmla="*/ 4584314 h 5973007"/>
              <a:gd name="connsiteX14092" fmla="*/ 1637835 w 6884782"/>
              <a:gd name="connsiteY14092" fmla="*/ 4585140 h 5973007"/>
              <a:gd name="connsiteX14093" fmla="*/ 1637680 w 6884782"/>
              <a:gd name="connsiteY14093" fmla="*/ 4586276 h 5973007"/>
              <a:gd name="connsiteX14094" fmla="*/ 1643720 w 6884782"/>
              <a:gd name="connsiteY14094" fmla="*/ 4590922 h 5973007"/>
              <a:gd name="connsiteX14095" fmla="*/ 1643411 w 6884782"/>
              <a:gd name="connsiteY14095" fmla="*/ 4598976 h 5973007"/>
              <a:gd name="connsiteX14096" fmla="*/ 1641242 w 6884782"/>
              <a:gd name="connsiteY14096" fmla="*/ 4599286 h 5973007"/>
              <a:gd name="connsiteX14097" fmla="*/ 1636751 w 6884782"/>
              <a:gd name="connsiteY14097" fmla="*/ 4595156 h 5973007"/>
              <a:gd name="connsiteX14098" fmla="*/ 1636285 w 6884782"/>
              <a:gd name="connsiteY14098" fmla="*/ 4592265 h 5973007"/>
              <a:gd name="connsiteX14099" fmla="*/ 1635666 w 6884782"/>
              <a:gd name="connsiteY14099" fmla="*/ 4593091 h 5973007"/>
              <a:gd name="connsiteX14100" fmla="*/ 1633962 w 6884782"/>
              <a:gd name="connsiteY14100" fmla="*/ 4594536 h 5973007"/>
              <a:gd name="connsiteX14101" fmla="*/ 1632568 w 6884782"/>
              <a:gd name="connsiteY14101" fmla="*/ 4584314 h 5973007"/>
              <a:gd name="connsiteX14102" fmla="*/ 1607940 w 6884782"/>
              <a:gd name="connsiteY14102" fmla="*/ 4584211 h 5973007"/>
              <a:gd name="connsiteX14103" fmla="*/ 1610573 w 6884782"/>
              <a:gd name="connsiteY14103" fmla="*/ 4588031 h 5973007"/>
              <a:gd name="connsiteX14104" fmla="*/ 1607165 w 6884782"/>
              <a:gd name="connsiteY14104" fmla="*/ 4589167 h 5973007"/>
              <a:gd name="connsiteX14105" fmla="*/ 1604996 w 6884782"/>
              <a:gd name="connsiteY14105" fmla="*/ 4587308 h 5973007"/>
              <a:gd name="connsiteX14106" fmla="*/ 1605771 w 6884782"/>
              <a:gd name="connsiteY14106" fmla="*/ 4586895 h 5973007"/>
              <a:gd name="connsiteX14107" fmla="*/ 1607940 w 6884782"/>
              <a:gd name="connsiteY14107" fmla="*/ 4584211 h 5973007"/>
              <a:gd name="connsiteX14108" fmla="*/ 1649452 w 6884782"/>
              <a:gd name="connsiteY14108" fmla="*/ 4584004 h 5973007"/>
              <a:gd name="connsiteX14109" fmla="*/ 1657816 w 6884782"/>
              <a:gd name="connsiteY14109" fmla="*/ 4598873 h 5973007"/>
              <a:gd name="connsiteX14110" fmla="*/ 1655648 w 6884782"/>
              <a:gd name="connsiteY14110" fmla="*/ 4600318 h 5973007"/>
              <a:gd name="connsiteX14111" fmla="*/ 1646354 w 6884782"/>
              <a:gd name="connsiteY14111" fmla="*/ 4584520 h 5973007"/>
              <a:gd name="connsiteX14112" fmla="*/ 1649452 w 6884782"/>
              <a:gd name="connsiteY14112" fmla="*/ 4584004 h 5973007"/>
              <a:gd name="connsiteX14113" fmla="*/ 1224726 w 6884782"/>
              <a:gd name="connsiteY14113" fmla="*/ 4582765 h 5973007"/>
              <a:gd name="connsiteX14114" fmla="*/ 1228134 w 6884782"/>
              <a:gd name="connsiteY14114" fmla="*/ 4586173 h 5973007"/>
              <a:gd name="connsiteX14115" fmla="*/ 1227204 w 6884782"/>
              <a:gd name="connsiteY14115" fmla="*/ 4587928 h 5973007"/>
              <a:gd name="connsiteX14116" fmla="*/ 1224571 w 6884782"/>
              <a:gd name="connsiteY14116" fmla="*/ 4588547 h 5973007"/>
              <a:gd name="connsiteX14117" fmla="*/ 1221784 w 6884782"/>
              <a:gd name="connsiteY14117" fmla="*/ 4585863 h 5973007"/>
              <a:gd name="connsiteX14118" fmla="*/ 1222712 w 6884782"/>
              <a:gd name="connsiteY14118" fmla="*/ 4584211 h 5973007"/>
              <a:gd name="connsiteX14119" fmla="*/ 1224726 w 6884782"/>
              <a:gd name="connsiteY14119" fmla="*/ 4582765 h 5973007"/>
              <a:gd name="connsiteX14120" fmla="*/ 6029600 w 6884782"/>
              <a:gd name="connsiteY14120" fmla="*/ 4582370 h 5973007"/>
              <a:gd name="connsiteX14121" fmla="*/ 6033627 w 6884782"/>
              <a:gd name="connsiteY14121" fmla="*/ 4584951 h 5973007"/>
              <a:gd name="connsiteX14122" fmla="*/ 6029445 w 6884782"/>
              <a:gd name="connsiteY14122" fmla="*/ 4591663 h 5973007"/>
              <a:gd name="connsiteX14123" fmla="*/ 6025108 w 6884782"/>
              <a:gd name="connsiteY14123" fmla="*/ 4587842 h 5973007"/>
              <a:gd name="connsiteX14124" fmla="*/ 6025263 w 6884782"/>
              <a:gd name="connsiteY14124" fmla="*/ 4585261 h 5973007"/>
              <a:gd name="connsiteX14125" fmla="*/ 6027276 w 6884782"/>
              <a:gd name="connsiteY14125" fmla="*/ 4582989 h 5973007"/>
              <a:gd name="connsiteX14126" fmla="*/ 6029600 w 6884782"/>
              <a:gd name="connsiteY14126" fmla="*/ 4582370 h 5973007"/>
              <a:gd name="connsiteX14127" fmla="*/ 903936 w 6884782"/>
              <a:gd name="connsiteY14127" fmla="*/ 4582145 h 5973007"/>
              <a:gd name="connsiteX14128" fmla="*/ 908118 w 6884782"/>
              <a:gd name="connsiteY14128" fmla="*/ 4584520 h 5973007"/>
              <a:gd name="connsiteX14129" fmla="*/ 909202 w 6884782"/>
              <a:gd name="connsiteY14129" fmla="*/ 4587825 h 5973007"/>
              <a:gd name="connsiteX14130" fmla="*/ 909977 w 6884782"/>
              <a:gd name="connsiteY14130" fmla="*/ 4589373 h 5973007"/>
              <a:gd name="connsiteX14131" fmla="*/ 923298 w 6884782"/>
              <a:gd name="connsiteY14131" fmla="*/ 4584107 h 5973007"/>
              <a:gd name="connsiteX14132" fmla="*/ 925157 w 6884782"/>
              <a:gd name="connsiteY14132" fmla="*/ 4593401 h 5973007"/>
              <a:gd name="connsiteX14133" fmla="*/ 903781 w 6884782"/>
              <a:gd name="connsiteY14133" fmla="*/ 4600732 h 5973007"/>
              <a:gd name="connsiteX14134" fmla="*/ 892783 w 6884782"/>
              <a:gd name="connsiteY14134" fmla="*/ 4604449 h 5973007"/>
              <a:gd name="connsiteX14135" fmla="*/ 894177 w 6884782"/>
              <a:gd name="connsiteY14135" fmla="*/ 4607340 h 5973007"/>
              <a:gd name="connsiteX14136" fmla="*/ 895417 w 6884782"/>
              <a:gd name="connsiteY14136" fmla="*/ 4619421 h 5973007"/>
              <a:gd name="connsiteX14137" fmla="*/ 893868 w 6884782"/>
              <a:gd name="connsiteY14137" fmla="*/ 4627165 h 5973007"/>
              <a:gd name="connsiteX14138" fmla="*/ 885348 w 6884782"/>
              <a:gd name="connsiteY14138" fmla="*/ 4613226 h 5973007"/>
              <a:gd name="connsiteX14139" fmla="*/ 870324 w 6884782"/>
              <a:gd name="connsiteY14139" fmla="*/ 4619731 h 5973007"/>
              <a:gd name="connsiteX14140" fmla="*/ 884264 w 6884782"/>
              <a:gd name="connsiteY14140" fmla="*/ 4605172 h 5973007"/>
              <a:gd name="connsiteX14141" fmla="*/ 885658 w 6884782"/>
              <a:gd name="connsiteY14141" fmla="*/ 4597737 h 5973007"/>
              <a:gd name="connsiteX14142" fmla="*/ 886743 w 6884782"/>
              <a:gd name="connsiteY14142" fmla="*/ 4596705 h 5973007"/>
              <a:gd name="connsiteX14143" fmla="*/ 886587 w 6884782"/>
              <a:gd name="connsiteY14143" fmla="*/ 4592368 h 5973007"/>
              <a:gd name="connsiteX14144" fmla="*/ 892474 w 6884782"/>
              <a:gd name="connsiteY14144" fmla="*/ 4595362 h 5973007"/>
              <a:gd name="connsiteX14145" fmla="*/ 891699 w 6884782"/>
              <a:gd name="connsiteY14145" fmla="*/ 4597014 h 5973007"/>
              <a:gd name="connsiteX14146" fmla="*/ 889840 w 6884782"/>
              <a:gd name="connsiteY14146" fmla="*/ 4597944 h 5973007"/>
              <a:gd name="connsiteX14147" fmla="*/ 890770 w 6884782"/>
              <a:gd name="connsiteY14147" fmla="*/ 4599906 h 5973007"/>
              <a:gd name="connsiteX14148" fmla="*/ 891544 w 6884782"/>
              <a:gd name="connsiteY14148" fmla="*/ 4598976 h 5973007"/>
              <a:gd name="connsiteX14149" fmla="*/ 898670 w 6884782"/>
              <a:gd name="connsiteY14149" fmla="*/ 4594330 h 5973007"/>
              <a:gd name="connsiteX14150" fmla="*/ 903006 w 6884782"/>
              <a:gd name="connsiteY14150" fmla="*/ 4592368 h 5973007"/>
              <a:gd name="connsiteX14151" fmla="*/ 901148 w 6884782"/>
              <a:gd name="connsiteY14151" fmla="*/ 4591335 h 5973007"/>
              <a:gd name="connsiteX14152" fmla="*/ 896811 w 6884782"/>
              <a:gd name="connsiteY14152" fmla="*/ 4585656 h 5973007"/>
              <a:gd name="connsiteX14153" fmla="*/ 903936 w 6884782"/>
              <a:gd name="connsiteY14153" fmla="*/ 4582145 h 5973007"/>
              <a:gd name="connsiteX14154" fmla="*/ 1351896 w 6884782"/>
              <a:gd name="connsiteY14154" fmla="*/ 4581733 h 5973007"/>
              <a:gd name="connsiteX14155" fmla="*/ 1351276 w 6884782"/>
              <a:gd name="connsiteY14155" fmla="*/ 4582145 h 5973007"/>
              <a:gd name="connsiteX14156" fmla="*/ 1351586 w 6884782"/>
              <a:gd name="connsiteY14156" fmla="*/ 4582765 h 5973007"/>
              <a:gd name="connsiteX14157" fmla="*/ 6210673 w 6884782"/>
              <a:gd name="connsiteY14157" fmla="*/ 4579685 h 5973007"/>
              <a:gd name="connsiteX14158" fmla="*/ 6219038 w 6884782"/>
              <a:gd name="connsiteY14158" fmla="*/ 4579892 h 5973007"/>
              <a:gd name="connsiteX14159" fmla="*/ 6222291 w 6884782"/>
              <a:gd name="connsiteY14159" fmla="*/ 4584022 h 5973007"/>
              <a:gd name="connsiteX14160" fmla="*/ 6222446 w 6884782"/>
              <a:gd name="connsiteY14160" fmla="*/ 4585777 h 5973007"/>
              <a:gd name="connsiteX14161" fmla="*/ 6230965 w 6884782"/>
              <a:gd name="connsiteY14161" fmla="*/ 4591353 h 5973007"/>
              <a:gd name="connsiteX14162" fmla="*/ 6226163 w 6884782"/>
              <a:gd name="connsiteY14162" fmla="*/ 4597342 h 5973007"/>
              <a:gd name="connsiteX14163" fmla="*/ 6220742 w 6884782"/>
              <a:gd name="connsiteY14163" fmla="*/ 4594761 h 5973007"/>
              <a:gd name="connsiteX14164" fmla="*/ 6215785 w 6884782"/>
              <a:gd name="connsiteY14164" fmla="*/ 4597652 h 5973007"/>
              <a:gd name="connsiteX14165" fmla="*/ 6210673 w 6884782"/>
              <a:gd name="connsiteY14165" fmla="*/ 4579685 h 5973007"/>
              <a:gd name="connsiteX14166" fmla="*/ 6854112 w 6884782"/>
              <a:gd name="connsiteY14166" fmla="*/ 4579582 h 5973007"/>
              <a:gd name="connsiteX14167" fmla="*/ 6854577 w 6884782"/>
              <a:gd name="connsiteY14167" fmla="*/ 4641123 h 5973007"/>
              <a:gd name="connsiteX14168" fmla="*/ 6839552 w 6884782"/>
              <a:gd name="connsiteY14168" fmla="*/ 4656714 h 5973007"/>
              <a:gd name="connsiteX14169" fmla="*/ 6824992 w 6884782"/>
              <a:gd name="connsiteY14169" fmla="*/ 4661671 h 5973007"/>
              <a:gd name="connsiteX14170" fmla="*/ 6791689 w 6884782"/>
              <a:gd name="connsiteY14170" fmla="*/ 4641536 h 5973007"/>
              <a:gd name="connsiteX14171" fmla="*/ 6790140 w 6884782"/>
              <a:gd name="connsiteY14171" fmla="*/ 4636476 h 5973007"/>
              <a:gd name="connsiteX14172" fmla="*/ 6788591 w 6884782"/>
              <a:gd name="connsiteY14172" fmla="*/ 4637405 h 5973007"/>
              <a:gd name="connsiteX14173" fmla="*/ 6785184 w 6884782"/>
              <a:gd name="connsiteY14173" fmla="*/ 4636579 h 5973007"/>
              <a:gd name="connsiteX14174" fmla="*/ 6786578 w 6884782"/>
              <a:gd name="connsiteY14174" fmla="*/ 4629558 h 5973007"/>
              <a:gd name="connsiteX14175" fmla="*/ 6788437 w 6884782"/>
              <a:gd name="connsiteY14175" fmla="*/ 4630384 h 5973007"/>
              <a:gd name="connsiteX14176" fmla="*/ 6786733 w 6884782"/>
              <a:gd name="connsiteY14176" fmla="*/ 4624499 h 5973007"/>
              <a:gd name="connsiteX14177" fmla="*/ 6789056 w 6884782"/>
              <a:gd name="connsiteY14177" fmla="*/ 4605706 h 5973007"/>
              <a:gd name="connsiteX14178" fmla="*/ 6854112 w 6884782"/>
              <a:gd name="connsiteY14178" fmla="*/ 4579582 h 5973007"/>
              <a:gd name="connsiteX14179" fmla="*/ 879462 w 6884782"/>
              <a:gd name="connsiteY14179" fmla="*/ 4579564 h 5973007"/>
              <a:gd name="connsiteX14180" fmla="*/ 876055 w 6884782"/>
              <a:gd name="connsiteY14180" fmla="*/ 4584520 h 5973007"/>
              <a:gd name="connsiteX14181" fmla="*/ 874351 w 6884782"/>
              <a:gd name="connsiteY14181" fmla="*/ 4580906 h 5973007"/>
              <a:gd name="connsiteX14182" fmla="*/ 879462 w 6884782"/>
              <a:gd name="connsiteY14182" fmla="*/ 4579564 h 5973007"/>
              <a:gd name="connsiteX14183" fmla="*/ 1205054 w 6884782"/>
              <a:gd name="connsiteY14183" fmla="*/ 4579254 h 5973007"/>
              <a:gd name="connsiteX14184" fmla="*/ 1204900 w 6884782"/>
              <a:gd name="connsiteY14184" fmla="*/ 4585966 h 5973007"/>
              <a:gd name="connsiteX14185" fmla="*/ 1203970 w 6884782"/>
              <a:gd name="connsiteY14185" fmla="*/ 4586689 h 5973007"/>
              <a:gd name="connsiteX14186" fmla="*/ 1205054 w 6884782"/>
              <a:gd name="connsiteY14186" fmla="*/ 4579254 h 5973007"/>
              <a:gd name="connsiteX14187" fmla="*/ 6707348 w 6884782"/>
              <a:gd name="connsiteY14187" fmla="*/ 4578511 h 5973007"/>
              <a:gd name="connsiteX14188" fmla="*/ 6717804 w 6884782"/>
              <a:gd name="connsiteY14188" fmla="*/ 4585158 h 5973007"/>
              <a:gd name="connsiteX14189" fmla="*/ 6717339 w 6884782"/>
              <a:gd name="connsiteY14189" fmla="*/ 4627080 h 5973007"/>
              <a:gd name="connsiteX14190" fmla="*/ 6695499 w 6884782"/>
              <a:gd name="connsiteY14190" fmla="*/ 4583402 h 5973007"/>
              <a:gd name="connsiteX14191" fmla="*/ 6707348 w 6884782"/>
              <a:gd name="connsiteY14191" fmla="*/ 4578511 h 5973007"/>
              <a:gd name="connsiteX14192" fmla="*/ 6144843 w 6884782"/>
              <a:gd name="connsiteY14192" fmla="*/ 4577930 h 5973007"/>
              <a:gd name="connsiteX14193" fmla="*/ 6146547 w 6884782"/>
              <a:gd name="connsiteY14193" fmla="*/ 4583609 h 5973007"/>
              <a:gd name="connsiteX14194" fmla="*/ 6142054 w 6884782"/>
              <a:gd name="connsiteY14194" fmla="*/ 4589288 h 5973007"/>
              <a:gd name="connsiteX14195" fmla="*/ 6140350 w 6884782"/>
              <a:gd name="connsiteY14195" fmla="*/ 4586397 h 5973007"/>
              <a:gd name="connsiteX14196" fmla="*/ 6144843 w 6884782"/>
              <a:gd name="connsiteY14196" fmla="*/ 4577930 h 5973007"/>
              <a:gd name="connsiteX14197" fmla="*/ 5975696 w 6884782"/>
              <a:gd name="connsiteY14197" fmla="*/ 4577517 h 5973007"/>
              <a:gd name="connsiteX14198" fmla="*/ 5978794 w 6884782"/>
              <a:gd name="connsiteY14198" fmla="*/ 4583815 h 5973007"/>
              <a:gd name="connsiteX14199" fmla="*/ 5973063 w 6884782"/>
              <a:gd name="connsiteY14199" fmla="*/ 4592592 h 5973007"/>
              <a:gd name="connsiteX14200" fmla="*/ 5972908 w 6884782"/>
              <a:gd name="connsiteY14200" fmla="*/ 4592696 h 5973007"/>
              <a:gd name="connsiteX14201" fmla="*/ 5972598 w 6884782"/>
              <a:gd name="connsiteY14201" fmla="*/ 4593212 h 5973007"/>
              <a:gd name="connsiteX14202" fmla="*/ 5969809 w 6884782"/>
              <a:gd name="connsiteY14202" fmla="*/ 4593418 h 5973007"/>
              <a:gd name="connsiteX14203" fmla="*/ 5967486 w 6884782"/>
              <a:gd name="connsiteY14203" fmla="*/ 4594038 h 5973007"/>
              <a:gd name="connsiteX14204" fmla="*/ 5960826 w 6884782"/>
              <a:gd name="connsiteY14204" fmla="*/ 4594244 h 5973007"/>
              <a:gd name="connsiteX14205" fmla="*/ 5956798 w 6884782"/>
              <a:gd name="connsiteY14205" fmla="*/ 4584848 h 5973007"/>
              <a:gd name="connsiteX14206" fmla="*/ 5975696 w 6884782"/>
              <a:gd name="connsiteY14206" fmla="*/ 4577517 h 5973007"/>
              <a:gd name="connsiteX14207" fmla="*/ 1601280 w 6884782"/>
              <a:gd name="connsiteY14207" fmla="*/ 4577293 h 5973007"/>
              <a:gd name="connsiteX14208" fmla="*/ 1601744 w 6884782"/>
              <a:gd name="connsiteY14208" fmla="*/ 4583488 h 5973007"/>
              <a:gd name="connsiteX14209" fmla="*/ 1599111 w 6884782"/>
              <a:gd name="connsiteY14209" fmla="*/ 4584107 h 5973007"/>
              <a:gd name="connsiteX14210" fmla="*/ 1595548 w 6884782"/>
              <a:gd name="connsiteY14210" fmla="*/ 4580183 h 5973007"/>
              <a:gd name="connsiteX14211" fmla="*/ 1601280 w 6884782"/>
              <a:gd name="connsiteY14211" fmla="*/ 4577293 h 5973007"/>
              <a:gd name="connsiteX14212" fmla="*/ 753841 w 6884782"/>
              <a:gd name="connsiteY14212" fmla="*/ 4576983 h 5973007"/>
              <a:gd name="connsiteX14213" fmla="*/ 755545 w 6884782"/>
              <a:gd name="connsiteY14213" fmla="*/ 4577086 h 5973007"/>
              <a:gd name="connsiteX14214" fmla="*/ 754306 w 6884782"/>
              <a:gd name="connsiteY14214" fmla="*/ 4580390 h 5973007"/>
              <a:gd name="connsiteX14215" fmla="*/ 753067 w 6884782"/>
              <a:gd name="connsiteY14215" fmla="*/ 4579564 h 5973007"/>
              <a:gd name="connsiteX14216" fmla="*/ 752602 w 6884782"/>
              <a:gd name="connsiteY14216" fmla="*/ 4580390 h 5973007"/>
              <a:gd name="connsiteX14217" fmla="*/ 751828 w 6884782"/>
              <a:gd name="connsiteY14217" fmla="*/ 4578738 h 5973007"/>
              <a:gd name="connsiteX14218" fmla="*/ 752293 w 6884782"/>
              <a:gd name="connsiteY14218" fmla="*/ 4578015 h 5973007"/>
              <a:gd name="connsiteX14219" fmla="*/ 752138 w 6884782"/>
              <a:gd name="connsiteY14219" fmla="*/ 4577809 h 5973007"/>
              <a:gd name="connsiteX14220" fmla="*/ 753841 w 6884782"/>
              <a:gd name="connsiteY14220" fmla="*/ 4576983 h 5973007"/>
              <a:gd name="connsiteX14221" fmla="*/ 1552487 w 6884782"/>
              <a:gd name="connsiteY14221" fmla="*/ 4576776 h 5973007"/>
              <a:gd name="connsiteX14222" fmla="*/ 1550163 w 6884782"/>
              <a:gd name="connsiteY14222" fmla="*/ 4580183 h 5973007"/>
              <a:gd name="connsiteX14223" fmla="*/ 1546291 w 6884782"/>
              <a:gd name="connsiteY14223" fmla="*/ 4579977 h 5973007"/>
              <a:gd name="connsiteX14224" fmla="*/ 1552487 w 6884782"/>
              <a:gd name="connsiteY14224" fmla="*/ 4576776 h 5973007"/>
              <a:gd name="connsiteX14225" fmla="*/ 1175624 w 6884782"/>
              <a:gd name="connsiteY14225" fmla="*/ 4576260 h 5973007"/>
              <a:gd name="connsiteX14226" fmla="*/ 1178722 w 6884782"/>
              <a:gd name="connsiteY14226" fmla="*/ 4579358 h 5973007"/>
              <a:gd name="connsiteX14227" fmla="*/ 1178722 w 6884782"/>
              <a:gd name="connsiteY14227" fmla="*/ 4582972 h 5973007"/>
              <a:gd name="connsiteX14228" fmla="*/ 1175624 w 6884782"/>
              <a:gd name="connsiteY14228" fmla="*/ 4576260 h 5973007"/>
              <a:gd name="connsiteX14229" fmla="*/ 1469462 w 6884782"/>
              <a:gd name="connsiteY14229" fmla="*/ 4575640 h 5973007"/>
              <a:gd name="connsiteX14230" fmla="*/ 1471786 w 6884782"/>
              <a:gd name="connsiteY14230" fmla="*/ 4577086 h 5973007"/>
              <a:gd name="connsiteX14231" fmla="*/ 1475038 w 6884782"/>
              <a:gd name="connsiteY14231" fmla="*/ 4585140 h 5973007"/>
              <a:gd name="connsiteX14232" fmla="*/ 1475504 w 6884782"/>
              <a:gd name="connsiteY14232" fmla="*/ 4584314 h 5973007"/>
              <a:gd name="connsiteX14233" fmla="*/ 1476742 w 6884782"/>
              <a:gd name="connsiteY14233" fmla="*/ 4583591 h 5973007"/>
              <a:gd name="connsiteX14234" fmla="*/ 1478292 w 6884782"/>
              <a:gd name="connsiteY14234" fmla="*/ 4582765 h 5973007"/>
              <a:gd name="connsiteX14235" fmla="*/ 1479375 w 6884782"/>
              <a:gd name="connsiteY14235" fmla="*/ 4583488 h 5973007"/>
              <a:gd name="connsiteX14236" fmla="*/ 1479840 w 6884782"/>
              <a:gd name="connsiteY14236" fmla="*/ 4582868 h 5973007"/>
              <a:gd name="connsiteX14237" fmla="*/ 1482009 w 6884782"/>
              <a:gd name="connsiteY14237" fmla="*/ 4581423 h 5973007"/>
              <a:gd name="connsiteX14238" fmla="*/ 1483403 w 6884782"/>
              <a:gd name="connsiteY14238" fmla="*/ 4583075 h 5973007"/>
              <a:gd name="connsiteX14239" fmla="*/ 1484177 w 6884782"/>
              <a:gd name="connsiteY14239" fmla="*/ 4584004 h 5973007"/>
              <a:gd name="connsiteX14240" fmla="*/ 1485727 w 6884782"/>
              <a:gd name="connsiteY14240" fmla="*/ 4582662 h 5973007"/>
              <a:gd name="connsiteX14241" fmla="*/ 1487895 w 6884782"/>
              <a:gd name="connsiteY14241" fmla="*/ 4580390 h 5973007"/>
              <a:gd name="connsiteX14242" fmla="*/ 1492077 w 6884782"/>
              <a:gd name="connsiteY14242" fmla="*/ 4591026 h 5973007"/>
              <a:gd name="connsiteX14243" fmla="*/ 1488824 w 6884782"/>
              <a:gd name="connsiteY14243" fmla="*/ 4591439 h 5973007"/>
              <a:gd name="connsiteX14244" fmla="*/ 1485417 w 6884782"/>
              <a:gd name="connsiteY14244" fmla="*/ 4589373 h 5973007"/>
              <a:gd name="connsiteX14245" fmla="*/ 1484177 w 6884782"/>
              <a:gd name="connsiteY14245" fmla="*/ 4585760 h 5973007"/>
              <a:gd name="connsiteX14246" fmla="*/ 1483713 w 6884782"/>
              <a:gd name="connsiteY14246" fmla="*/ 4586585 h 5973007"/>
              <a:gd name="connsiteX14247" fmla="*/ 1482164 w 6884782"/>
              <a:gd name="connsiteY14247" fmla="*/ 4586895 h 5973007"/>
              <a:gd name="connsiteX14248" fmla="*/ 1482474 w 6884782"/>
              <a:gd name="connsiteY14248" fmla="*/ 4588960 h 5973007"/>
              <a:gd name="connsiteX14249" fmla="*/ 1480615 w 6884782"/>
              <a:gd name="connsiteY14249" fmla="*/ 4592678 h 5973007"/>
              <a:gd name="connsiteX14250" fmla="*/ 1477827 w 6884782"/>
              <a:gd name="connsiteY14250" fmla="*/ 4594020 h 5973007"/>
              <a:gd name="connsiteX14251" fmla="*/ 1479840 w 6884782"/>
              <a:gd name="connsiteY14251" fmla="*/ 4593917 h 5973007"/>
              <a:gd name="connsiteX14252" fmla="*/ 1477672 w 6884782"/>
              <a:gd name="connsiteY14252" fmla="*/ 4598047 h 5973007"/>
              <a:gd name="connsiteX14253" fmla="*/ 1475038 w 6884782"/>
              <a:gd name="connsiteY14253" fmla="*/ 4597531 h 5973007"/>
              <a:gd name="connsiteX14254" fmla="*/ 1474729 w 6884782"/>
              <a:gd name="connsiteY14254" fmla="*/ 4599802 h 5973007"/>
              <a:gd name="connsiteX14255" fmla="*/ 1458620 w 6884782"/>
              <a:gd name="connsiteY14255" fmla="*/ 4612813 h 5973007"/>
              <a:gd name="connsiteX14256" fmla="*/ 1452424 w 6884782"/>
              <a:gd name="connsiteY14256" fmla="*/ 4595672 h 5973007"/>
              <a:gd name="connsiteX14257" fmla="*/ 1452734 w 6884782"/>
              <a:gd name="connsiteY14257" fmla="*/ 4593607 h 5973007"/>
              <a:gd name="connsiteX14258" fmla="*/ 1451030 w 6884782"/>
              <a:gd name="connsiteY14258" fmla="*/ 4593813 h 5973007"/>
              <a:gd name="connsiteX14259" fmla="*/ 1448706 w 6884782"/>
              <a:gd name="connsiteY14259" fmla="*/ 4592368 h 5973007"/>
              <a:gd name="connsiteX14260" fmla="*/ 1447932 w 6884782"/>
              <a:gd name="connsiteY14260" fmla="*/ 4589786 h 5973007"/>
              <a:gd name="connsiteX14261" fmla="*/ 1452424 w 6884782"/>
              <a:gd name="connsiteY14261" fmla="*/ 4587102 h 5973007"/>
              <a:gd name="connsiteX14262" fmla="*/ 1452889 w 6884782"/>
              <a:gd name="connsiteY14262" fmla="*/ 4592884 h 5973007"/>
              <a:gd name="connsiteX14263" fmla="*/ 1469462 w 6884782"/>
              <a:gd name="connsiteY14263" fmla="*/ 4575640 h 5973007"/>
              <a:gd name="connsiteX14264" fmla="*/ 889685 w 6884782"/>
              <a:gd name="connsiteY14264" fmla="*/ 4575434 h 5973007"/>
              <a:gd name="connsiteX14265" fmla="*/ 890770 w 6884782"/>
              <a:gd name="connsiteY14265" fmla="*/ 4579668 h 5973007"/>
              <a:gd name="connsiteX14266" fmla="*/ 887672 w 6884782"/>
              <a:gd name="connsiteY14266" fmla="*/ 4577602 h 5973007"/>
              <a:gd name="connsiteX14267" fmla="*/ 889685 w 6884782"/>
              <a:gd name="connsiteY14267" fmla="*/ 4575434 h 5973007"/>
              <a:gd name="connsiteX14268" fmla="*/ 6092178 w 6884782"/>
              <a:gd name="connsiteY14268" fmla="*/ 4575142 h 5973007"/>
              <a:gd name="connsiteX14269" fmla="*/ 6086602 w 6884782"/>
              <a:gd name="connsiteY14269" fmla="*/ 4581647 h 5973007"/>
              <a:gd name="connsiteX14270" fmla="*/ 6084588 w 6884782"/>
              <a:gd name="connsiteY14270" fmla="*/ 4580614 h 5973007"/>
              <a:gd name="connsiteX14271" fmla="*/ 6092178 w 6884782"/>
              <a:gd name="connsiteY14271" fmla="*/ 4575142 h 5973007"/>
              <a:gd name="connsiteX14272" fmla="*/ 1189565 w 6884782"/>
              <a:gd name="connsiteY14272" fmla="*/ 4574195 h 5973007"/>
              <a:gd name="connsiteX14273" fmla="*/ 1197310 w 6884782"/>
              <a:gd name="connsiteY14273" fmla="*/ 4576260 h 5973007"/>
              <a:gd name="connsiteX14274" fmla="*/ 1196535 w 6884782"/>
              <a:gd name="connsiteY14274" fmla="*/ 4580700 h 5973007"/>
              <a:gd name="connsiteX14275" fmla="*/ 1192198 w 6884782"/>
              <a:gd name="connsiteY14275" fmla="*/ 4583591 h 5973007"/>
              <a:gd name="connsiteX14276" fmla="*/ 1188945 w 6884782"/>
              <a:gd name="connsiteY14276" fmla="*/ 4584520 h 5973007"/>
              <a:gd name="connsiteX14277" fmla="*/ 1188945 w 6884782"/>
              <a:gd name="connsiteY14277" fmla="*/ 4586173 h 5973007"/>
              <a:gd name="connsiteX14278" fmla="*/ 1186466 w 6884782"/>
              <a:gd name="connsiteY14278" fmla="*/ 4588135 h 5973007"/>
              <a:gd name="connsiteX14279" fmla="*/ 1184143 w 6884782"/>
              <a:gd name="connsiteY14279" fmla="*/ 4586585 h 5973007"/>
              <a:gd name="connsiteX14280" fmla="*/ 1185692 w 6884782"/>
              <a:gd name="connsiteY14280" fmla="*/ 4584520 h 5973007"/>
              <a:gd name="connsiteX14281" fmla="*/ 1184918 w 6884782"/>
              <a:gd name="connsiteY14281" fmla="*/ 4584520 h 5973007"/>
              <a:gd name="connsiteX14282" fmla="*/ 1185538 w 6884782"/>
              <a:gd name="connsiteY14282" fmla="*/ 4576673 h 5973007"/>
              <a:gd name="connsiteX14283" fmla="*/ 1189565 w 6884782"/>
              <a:gd name="connsiteY14283" fmla="*/ 4574195 h 5973007"/>
              <a:gd name="connsiteX14284" fmla="*/ 5753110 w 6884782"/>
              <a:gd name="connsiteY14284" fmla="*/ 4573800 h 5973007"/>
              <a:gd name="connsiteX14285" fmla="*/ 5761319 w 6884782"/>
              <a:gd name="connsiteY14285" fmla="*/ 4575039 h 5973007"/>
              <a:gd name="connsiteX14286" fmla="*/ 5758376 w 6884782"/>
              <a:gd name="connsiteY14286" fmla="*/ 4588772 h 5973007"/>
              <a:gd name="connsiteX14287" fmla="*/ 5754969 w 6884782"/>
              <a:gd name="connsiteY14287" fmla="*/ 4588875 h 5973007"/>
              <a:gd name="connsiteX14288" fmla="*/ 5753110 w 6884782"/>
              <a:gd name="connsiteY14288" fmla="*/ 4573800 h 5973007"/>
              <a:gd name="connsiteX14289" fmla="*/ 6645777 w 6884782"/>
              <a:gd name="connsiteY14289" fmla="*/ 4573490 h 5973007"/>
              <a:gd name="connsiteX14290" fmla="*/ 6647636 w 6884782"/>
              <a:gd name="connsiteY14290" fmla="*/ 4578549 h 5973007"/>
              <a:gd name="connsiteX14291" fmla="*/ 6643454 w 6884782"/>
              <a:gd name="connsiteY14291" fmla="*/ 4575865 h 5973007"/>
              <a:gd name="connsiteX14292" fmla="*/ 6645777 w 6884782"/>
              <a:gd name="connsiteY14292" fmla="*/ 4573490 h 5973007"/>
              <a:gd name="connsiteX14293" fmla="*/ 1174076 w 6884782"/>
              <a:gd name="connsiteY14293" fmla="*/ 4573162 h 5973007"/>
              <a:gd name="connsiteX14294" fmla="*/ 1174695 w 6884782"/>
              <a:gd name="connsiteY14294" fmla="*/ 4573575 h 5973007"/>
              <a:gd name="connsiteX14295" fmla="*/ 1175469 w 6884782"/>
              <a:gd name="connsiteY14295" fmla="*/ 4576260 h 5973007"/>
              <a:gd name="connsiteX14296" fmla="*/ 1172991 w 6884782"/>
              <a:gd name="connsiteY14296" fmla="*/ 4574195 h 5973007"/>
              <a:gd name="connsiteX14297" fmla="*/ 1173765 w 6884782"/>
              <a:gd name="connsiteY14297" fmla="*/ 4573472 h 5973007"/>
              <a:gd name="connsiteX14298" fmla="*/ 1172991 w 6884782"/>
              <a:gd name="connsiteY14298" fmla="*/ 4573369 h 5973007"/>
              <a:gd name="connsiteX14299" fmla="*/ 1174076 w 6884782"/>
              <a:gd name="connsiteY14299" fmla="*/ 4573162 h 5973007"/>
              <a:gd name="connsiteX14300" fmla="*/ 6842805 w 6884782"/>
              <a:gd name="connsiteY14300" fmla="*/ 4572457 h 5973007"/>
              <a:gd name="connsiteX14301" fmla="*/ 6844199 w 6884782"/>
              <a:gd name="connsiteY14301" fmla="*/ 4573283 h 5973007"/>
              <a:gd name="connsiteX14302" fmla="*/ 6844509 w 6884782"/>
              <a:gd name="connsiteY14302" fmla="*/ 4572561 h 5973007"/>
              <a:gd name="connsiteX14303" fmla="*/ 6845748 w 6884782"/>
              <a:gd name="connsiteY14303" fmla="*/ 4574109 h 5973007"/>
              <a:gd name="connsiteX14304" fmla="*/ 6845284 w 6884782"/>
              <a:gd name="connsiteY14304" fmla="*/ 4574832 h 5973007"/>
              <a:gd name="connsiteX14305" fmla="*/ 6845438 w 6884782"/>
              <a:gd name="connsiteY14305" fmla="*/ 4575142 h 5973007"/>
              <a:gd name="connsiteX14306" fmla="*/ 6843889 w 6884782"/>
              <a:gd name="connsiteY14306" fmla="*/ 4575865 h 5973007"/>
              <a:gd name="connsiteX14307" fmla="*/ 6842805 w 6884782"/>
              <a:gd name="connsiteY14307" fmla="*/ 4576381 h 5973007"/>
              <a:gd name="connsiteX14308" fmla="*/ 6842185 w 6884782"/>
              <a:gd name="connsiteY14308" fmla="*/ 4575865 h 5973007"/>
              <a:gd name="connsiteX14309" fmla="*/ 6842805 w 6884782"/>
              <a:gd name="connsiteY14309" fmla="*/ 4572457 h 5973007"/>
              <a:gd name="connsiteX14310" fmla="*/ 647892 w 6884782"/>
              <a:gd name="connsiteY14310" fmla="*/ 4572130 h 5973007"/>
              <a:gd name="connsiteX14311" fmla="*/ 650061 w 6884782"/>
              <a:gd name="connsiteY14311" fmla="*/ 4574505 h 5973007"/>
              <a:gd name="connsiteX14312" fmla="*/ 648667 w 6884782"/>
              <a:gd name="connsiteY14312" fmla="*/ 4575434 h 5973007"/>
              <a:gd name="connsiteX14313" fmla="*/ 648976 w 6884782"/>
              <a:gd name="connsiteY14313" fmla="*/ 4576157 h 5973007"/>
              <a:gd name="connsiteX14314" fmla="*/ 647273 w 6884782"/>
              <a:gd name="connsiteY14314" fmla="*/ 4576260 h 5973007"/>
              <a:gd name="connsiteX14315" fmla="*/ 646809 w 6884782"/>
              <a:gd name="connsiteY14315" fmla="*/ 4575537 h 5973007"/>
              <a:gd name="connsiteX14316" fmla="*/ 646498 w 6884782"/>
              <a:gd name="connsiteY14316" fmla="*/ 4575537 h 5973007"/>
              <a:gd name="connsiteX14317" fmla="*/ 646809 w 6884782"/>
              <a:gd name="connsiteY14317" fmla="*/ 4573678 h 5973007"/>
              <a:gd name="connsiteX14318" fmla="*/ 647892 w 6884782"/>
              <a:gd name="connsiteY14318" fmla="*/ 4572130 h 5973007"/>
              <a:gd name="connsiteX14319" fmla="*/ 1021599 w 6884782"/>
              <a:gd name="connsiteY14319" fmla="*/ 4572091 h 5973007"/>
              <a:gd name="connsiteX14320" fmla="*/ 1044117 w 6884782"/>
              <a:gd name="connsiteY14320" fmla="*/ 4578428 h 5973007"/>
              <a:gd name="connsiteX14321" fmla="*/ 1054495 w 6884782"/>
              <a:gd name="connsiteY14321" fmla="*/ 4611264 h 5973007"/>
              <a:gd name="connsiteX14322" fmla="*/ 1044737 w 6884782"/>
              <a:gd name="connsiteY14322" fmla="*/ 4629850 h 5973007"/>
              <a:gd name="connsiteX14323" fmla="*/ 1021038 w 6884782"/>
              <a:gd name="connsiteY14323" fmla="*/ 4641931 h 5973007"/>
              <a:gd name="connsiteX14324" fmla="*/ 1007407 w 6884782"/>
              <a:gd name="connsiteY14324" fmla="*/ 4637078 h 5973007"/>
              <a:gd name="connsiteX14325" fmla="*/ 999817 w 6884782"/>
              <a:gd name="connsiteY14325" fmla="*/ 4634497 h 5973007"/>
              <a:gd name="connsiteX14326" fmla="*/ 998113 w 6884782"/>
              <a:gd name="connsiteY14326" fmla="*/ 4637801 h 5973007"/>
              <a:gd name="connsiteX14327" fmla="*/ 996255 w 6884782"/>
              <a:gd name="connsiteY14327" fmla="*/ 4633361 h 5973007"/>
              <a:gd name="connsiteX14328" fmla="*/ 993621 w 6884782"/>
              <a:gd name="connsiteY14328" fmla="*/ 4632328 h 5973007"/>
              <a:gd name="connsiteX14329" fmla="*/ 985102 w 6884782"/>
              <a:gd name="connsiteY14329" fmla="*/ 4597117 h 5973007"/>
              <a:gd name="connsiteX14330" fmla="*/ 998268 w 6884782"/>
              <a:gd name="connsiteY14330" fmla="*/ 4578841 h 5973007"/>
              <a:gd name="connsiteX14331" fmla="*/ 1021599 w 6884782"/>
              <a:gd name="connsiteY14331" fmla="*/ 4572091 h 5973007"/>
              <a:gd name="connsiteX14332" fmla="*/ 5829474 w 6884782"/>
              <a:gd name="connsiteY14332" fmla="*/ 4571425 h 5973007"/>
              <a:gd name="connsiteX14333" fmla="*/ 5836444 w 6884782"/>
              <a:gd name="connsiteY14333" fmla="*/ 4575555 h 5973007"/>
              <a:gd name="connsiteX14334" fmla="*/ 5827150 w 6884782"/>
              <a:gd name="connsiteY14334" fmla="*/ 4586913 h 5973007"/>
              <a:gd name="connsiteX14335" fmla="*/ 5822348 w 6884782"/>
              <a:gd name="connsiteY14335" fmla="*/ 4584435 h 5973007"/>
              <a:gd name="connsiteX14336" fmla="*/ 5829474 w 6884782"/>
              <a:gd name="connsiteY14336" fmla="*/ 4571425 h 5973007"/>
              <a:gd name="connsiteX14337" fmla="*/ 5865565 w 6884782"/>
              <a:gd name="connsiteY14337" fmla="*/ 4570289 h 5973007"/>
              <a:gd name="connsiteX14338" fmla="*/ 5875323 w 6884782"/>
              <a:gd name="connsiteY14338" fmla="*/ 4572457 h 5973007"/>
              <a:gd name="connsiteX14339" fmla="*/ 5872999 w 6884782"/>
              <a:gd name="connsiteY14339" fmla="*/ 4579995 h 5973007"/>
              <a:gd name="connsiteX14340" fmla="*/ 5866494 w 6884782"/>
              <a:gd name="connsiteY14340" fmla="*/ 4579582 h 5973007"/>
              <a:gd name="connsiteX14341" fmla="*/ 5865565 w 6884782"/>
              <a:gd name="connsiteY14341" fmla="*/ 4570289 h 5973007"/>
              <a:gd name="connsiteX14342" fmla="*/ 1210785 w 6884782"/>
              <a:gd name="connsiteY14342" fmla="*/ 4569651 h 5973007"/>
              <a:gd name="connsiteX14343" fmla="*/ 1232316 w 6884782"/>
              <a:gd name="connsiteY14343" fmla="*/ 4582559 h 5973007"/>
              <a:gd name="connsiteX14344" fmla="*/ 1219150 w 6884782"/>
              <a:gd name="connsiteY14344" fmla="*/ 4582559 h 5973007"/>
              <a:gd name="connsiteX14345" fmla="*/ 1209546 w 6884782"/>
              <a:gd name="connsiteY14345" fmla="*/ 4579048 h 5973007"/>
              <a:gd name="connsiteX14346" fmla="*/ 1210785 w 6884782"/>
              <a:gd name="connsiteY14346" fmla="*/ 4569651 h 5973007"/>
              <a:gd name="connsiteX14347" fmla="*/ 1810854 w 6884782"/>
              <a:gd name="connsiteY14347" fmla="*/ 4568103 h 5973007"/>
              <a:gd name="connsiteX14348" fmla="*/ 1808066 w 6884782"/>
              <a:gd name="connsiteY14348" fmla="*/ 4571510 h 5973007"/>
              <a:gd name="connsiteX14349" fmla="*/ 1804038 w 6884782"/>
              <a:gd name="connsiteY14349" fmla="*/ 4571407 h 5973007"/>
              <a:gd name="connsiteX14350" fmla="*/ 1810854 w 6884782"/>
              <a:gd name="connsiteY14350" fmla="*/ 4568103 h 5973007"/>
              <a:gd name="connsiteX14351" fmla="*/ 1682444 w 6884782"/>
              <a:gd name="connsiteY14351" fmla="*/ 4568103 h 5973007"/>
              <a:gd name="connsiteX14352" fmla="*/ 1681980 w 6884782"/>
              <a:gd name="connsiteY14352" fmla="*/ 4570065 h 5973007"/>
              <a:gd name="connsiteX14353" fmla="*/ 1681051 w 6884782"/>
              <a:gd name="connsiteY14353" fmla="*/ 4569135 h 5973007"/>
              <a:gd name="connsiteX14354" fmla="*/ 1682444 w 6884782"/>
              <a:gd name="connsiteY14354" fmla="*/ 4568103 h 5973007"/>
              <a:gd name="connsiteX14355" fmla="*/ 1653014 w 6884782"/>
              <a:gd name="connsiteY14355" fmla="*/ 4567793 h 5973007"/>
              <a:gd name="connsiteX14356" fmla="*/ 1652705 w 6884782"/>
              <a:gd name="connsiteY14356" fmla="*/ 4569755 h 5973007"/>
              <a:gd name="connsiteX14357" fmla="*/ 1651466 w 6884782"/>
              <a:gd name="connsiteY14357" fmla="*/ 4571923 h 5973007"/>
              <a:gd name="connsiteX14358" fmla="*/ 1651931 w 6884782"/>
              <a:gd name="connsiteY14358" fmla="*/ 4573575 h 5973007"/>
              <a:gd name="connsiteX14359" fmla="*/ 1647283 w 6884782"/>
              <a:gd name="connsiteY14359" fmla="*/ 4578841 h 5973007"/>
              <a:gd name="connsiteX14360" fmla="*/ 1648833 w 6884782"/>
              <a:gd name="connsiteY14360" fmla="*/ 4574711 h 5973007"/>
              <a:gd name="connsiteX14361" fmla="*/ 1649916 w 6884782"/>
              <a:gd name="connsiteY14361" fmla="*/ 4572543 h 5973007"/>
              <a:gd name="connsiteX14362" fmla="*/ 1650381 w 6884782"/>
              <a:gd name="connsiteY14362" fmla="*/ 4570581 h 5973007"/>
              <a:gd name="connsiteX14363" fmla="*/ 1653014 w 6884782"/>
              <a:gd name="connsiteY14363" fmla="*/ 4567793 h 5973007"/>
              <a:gd name="connsiteX14364" fmla="*/ 5922837 w 6884782"/>
              <a:gd name="connsiteY14364" fmla="*/ 4567501 h 5973007"/>
              <a:gd name="connsiteX14365" fmla="*/ 5930776 w 6884782"/>
              <a:gd name="connsiteY14365" fmla="*/ 4571425 h 5973007"/>
              <a:gd name="connsiteX14366" fmla="*/ 5930001 w 6884782"/>
              <a:gd name="connsiteY14366" fmla="*/ 4574729 h 5973007"/>
              <a:gd name="connsiteX14367" fmla="*/ 5925819 w 6884782"/>
              <a:gd name="connsiteY14367" fmla="*/ 4577723 h 5973007"/>
              <a:gd name="connsiteX14368" fmla="*/ 5921792 w 6884782"/>
              <a:gd name="connsiteY14368" fmla="*/ 4579375 h 5973007"/>
              <a:gd name="connsiteX14369" fmla="*/ 5922102 w 6884782"/>
              <a:gd name="connsiteY14369" fmla="*/ 4585674 h 5973007"/>
              <a:gd name="connsiteX14370" fmla="*/ 5918849 w 6884782"/>
              <a:gd name="connsiteY14370" fmla="*/ 4590631 h 5973007"/>
              <a:gd name="connsiteX14371" fmla="*/ 5916525 w 6884782"/>
              <a:gd name="connsiteY14371" fmla="*/ 4584951 h 5973007"/>
              <a:gd name="connsiteX14372" fmla="*/ 5916370 w 6884782"/>
              <a:gd name="connsiteY14372" fmla="*/ 4578343 h 5973007"/>
              <a:gd name="connsiteX14373" fmla="*/ 5914047 w 6884782"/>
              <a:gd name="connsiteY14373" fmla="*/ 4576897 h 5973007"/>
              <a:gd name="connsiteX14374" fmla="*/ 5913737 w 6884782"/>
              <a:gd name="connsiteY14374" fmla="*/ 4574109 h 5973007"/>
              <a:gd name="connsiteX14375" fmla="*/ 5922837 w 6884782"/>
              <a:gd name="connsiteY14375" fmla="*/ 4567501 h 5973007"/>
              <a:gd name="connsiteX14376" fmla="*/ 6116342 w 6884782"/>
              <a:gd name="connsiteY14376" fmla="*/ 4567088 h 5973007"/>
              <a:gd name="connsiteX14377" fmla="*/ 6126720 w 6884782"/>
              <a:gd name="connsiteY14377" fmla="*/ 4571838 h 5973007"/>
              <a:gd name="connsiteX14378" fmla="*/ 6129972 w 6884782"/>
              <a:gd name="connsiteY14378" fmla="*/ 4586707 h 5973007"/>
              <a:gd name="connsiteX14379" fmla="*/ 6120989 w 6884782"/>
              <a:gd name="connsiteY14379" fmla="*/ 4590114 h 5973007"/>
              <a:gd name="connsiteX14380" fmla="*/ 6115567 w 6884782"/>
              <a:gd name="connsiteY14380" fmla="*/ 4587739 h 5973007"/>
              <a:gd name="connsiteX14381" fmla="*/ 6113244 w 6884782"/>
              <a:gd name="connsiteY14381" fmla="*/ 4572044 h 5973007"/>
              <a:gd name="connsiteX14382" fmla="*/ 6114792 w 6884782"/>
              <a:gd name="connsiteY14382" fmla="*/ 4570496 h 5973007"/>
              <a:gd name="connsiteX14383" fmla="*/ 6116342 w 6884782"/>
              <a:gd name="connsiteY14383" fmla="*/ 4567088 h 5973007"/>
              <a:gd name="connsiteX14384" fmla="*/ 1046595 w 6884782"/>
              <a:gd name="connsiteY14384" fmla="*/ 4566554 h 5973007"/>
              <a:gd name="connsiteX14385" fmla="*/ 1047680 w 6884782"/>
              <a:gd name="connsiteY14385" fmla="*/ 4578118 h 5973007"/>
              <a:gd name="connsiteX14386" fmla="*/ 1043497 w 6884782"/>
              <a:gd name="connsiteY14386" fmla="*/ 4577809 h 5973007"/>
              <a:gd name="connsiteX14387" fmla="*/ 1039160 w 6884782"/>
              <a:gd name="connsiteY14387" fmla="*/ 4571407 h 5973007"/>
              <a:gd name="connsiteX14388" fmla="*/ 1046595 w 6884782"/>
              <a:gd name="connsiteY14388" fmla="*/ 4566554 h 5973007"/>
              <a:gd name="connsiteX14389" fmla="*/ 6067704 w 6884782"/>
              <a:gd name="connsiteY14389" fmla="*/ 4566055 h 5973007"/>
              <a:gd name="connsiteX14390" fmla="*/ 6073590 w 6884782"/>
              <a:gd name="connsiteY14390" fmla="*/ 4567707 h 5973007"/>
              <a:gd name="connsiteX14391" fmla="*/ 6070028 w 6884782"/>
              <a:gd name="connsiteY14391" fmla="*/ 4567707 h 5973007"/>
              <a:gd name="connsiteX14392" fmla="*/ 6067704 w 6884782"/>
              <a:gd name="connsiteY14392" fmla="*/ 4566055 h 5973007"/>
              <a:gd name="connsiteX14393" fmla="*/ 989962 w 6884782"/>
              <a:gd name="connsiteY14393" fmla="*/ 4565044 h 5973007"/>
              <a:gd name="connsiteX14394" fmla="*/ 997183 w 6884782"/>
              <a:gd name="connsiteY14394" fmla="*/ 4568516 h 5973007"/>
              <a:gd name="connsiteX14395" fmla="*/ 990987 w 6884782"/>
              <a:gd name="connsiteY14395" fmla="*/ 4573162 h 5973007"/>
              <a:gd name="connsiteX14396" fmla="*/ 983088 w 6884782"/>
              <a:gd name="connsiteY14396" fmla="*/ 4568619 h 5973007"/>
              <a:gd name="connsiteX14397" fmla="*/ 989962 w 6884782"/>
              <a:gd name="connsiteY14397" fmla="*/ 4565044 h 5973007"/>
              <a:gd name="connsiteX14398" fmla="*/ 5699361 w 6884782"/>
              <a:gd name="connsiteY14398" fmla="*/ 4563784 h 5973007"/>
              <a:gd name="connsiteX14399" fmla="*/ 5710048 w 6884782"/>
              <a:gd name="connsiteY14399" fmla="*/ 4564300 h 5973007"/>
              <a:gd name="connsiteX14400" fmla="*/ 5705402 w 6884782"/>
              <a:gd name="connsiteY14400" fmla="*/ 4570289 h 5973007"/>
              <a:gd name="connsiteX14401" fmla="*/ 5701994 w 6884782"/>
              <a:gd name="connsiteY14401" fmla="*/ 4569669 h 5973007"/>
              <a:gd name="connsiteX14402" fmla="*/ 5699361 w 6884782"/>
              <a:gd name="connsiteY14402" fmla="*/ 4563784 h 5973007"/>
              <a:gd name="connsiteX14403" fmla="*/ 1681051 w 6884782"/>
              <a:gd name="connsiteY14403" fmla="*/ 4563663 h 5973007"/>
              <a:gd name="connsiteX14404" fmla="*/ 1681825 w 6884782"/>
              <a:gd name="connsiteY14404" fmla="*/ 4563663 h 5973007"/>
              <a:gd name="connsiteX14405" fmla="*/ 1681360 w 6884782"/>
              <a:gd name="connsiteY14405" fmla="*/ 4565521 h 5973007"/>
              <a:gd name="connsiteX14406" fmla="*/ 1681051 w 6884782"/>
              <a:gd name="connsiteY14406" fmla="*/ 4563663 h 5973007"/>
              <a:gd name="connsiteX14407" fmla="*/ 900528 w 6884782"/>
              <a:gd name="connsiteY14407" fmla="*/ 4563456 h 5973007"/>
              <a:gd name="connsiteX14408" fmla="*/ 901458 w 6884782"/>
              <a:gd name="connsiteY14408" fmla="*/ 4565315 h 5973007"/>
              <a:gd name="connsiteX14409" fmla="*/ 900683 w 6884782"/>
              <a:gd name="connsiteY14409" fmla="*/ 4568000 h 5973007"/>
              <a:gd name="connsiteX14410" fmla="*/ 897276 w 6884782"/>
              <a:gd name="connsiteY14410" fmla="*/ 4568722 h 5973007"/>
              <a:gd name="connsiteX14411" fmla="*/ 896347 w 6884782"/>
              <a:gd name="connsiteY14411" fmla="*/ 4566864 h 5973007"/>
              <a:gd name="connsiteX14412" fmla="*/ 896192 w 6884782"/>
              <a:gd name="connsiteY14412" fmla="*/ 4564179 h 5973007"/>
              <a:gd name="connsiteX14413" fmla="*/ 900528 w 6884782"/>
              <a:gd name="connsiteY14413" fmla="*/ 4563456 h 5973007"/>
              <a:gd name="connsiteX14414" fmla="*/ 5628883 w 6884782"/>
              <a:gd name="connsiteY14414" fmla="*/ 4563164 h 5973007"/>
              <a:gd name="connsiteX14415" fmla="*/ 5628728 w 6884782"/>
              <a:gd name="connsiteY14415" fmla="*/ 4564816 h 5973007"/>
              <a:gd name="connsiteX14416" fmla="*/ 5629503 w 6884782"/>
              <a:gd name="connsiteY14416" fmla="*/ 4564816 h 5973007"/>
              <a:gd name="connsiteX14417" fmla="*/ 5628573 w 6884782"/>
              <a:gd name="connsiteY14417" fmla="*/ 4566365 h 5973007"/>
              <a:gd name="connsiteX14418" fmla="*/ 5627799 w 6884782"/>
              <a:gd name="connsiteY14418" fmla="*/ 4566365 h 5973007"/>
              <a:gd name="connsiteX14419" fmla="*/ 5627489 w 6884782"/>
              <a:gd name="connsiteY14419" fmla="*/ 4566572 h 5973007"/>
              <a:gd name="connsiteX14420" fmla="*/ 5626250 w 6884782"/>
              <a:gd name="connsiteY14420" fmla="*/ 4565539 h 5973007"/>
              <a:gd name="connsiteX14421" fmla="*/ 5625320 w 6884782"/>
              <a:gd name="connsiteY14421" fmla="*/ 4564713 h 5973007"/>
              <a:gd name="connsiteX14422" fmla="*/ 5625630 w 6884782"/>
              <a:gd name="connsiteY14422" fmla="*/ 4563887 h 5973007"/>
              <a:gd name="connsiteX14423" fmla="*/ 5628883 w 6884782"/>
              <a:gd name="connsiteY14423" fmla="*/ 4563164 h 5973007"/>
              <a:gd name="connsiteX14424" fmla="*/ 1784521 w 6884782"/>
              <a:gd name="connsiteY14424" fmla="*/ 4562940 h 5973007"/>
              <a:gd name="connsiteX14425" fmla="*/ 1789323 w 6884782"/>
              <a:gd name="connsiteY14425" fmla="*/ 4576260 h 5973007"/>
              <a:gd name="connsiteX14426" fmla="*/ 1790562 w 6884782"/>
              <a:gd name="connsiteY14426" fmla="*/ 4579358 h 5973007"/>
              <a:gd name="connsiteX14427" fmla="*/ 1791957 w 6884782"/>
              <a:gd name="connsiteY14427" fmla="*/ 4576260 h 5973007"/>
              <a:gd name="connsiteX14428" fmla="*/ 1797223 w 6884782"/>
              <a:gd name="connsiteY14428" fmla="*/ 4586895 h 5973007"/>
              <a:gd name="connsiteX14429" fmla="*/ 1793970 w 6884782"/>
              <a:gd name="connsiteY14429" fmla="*/ 4586069 h 5973007"/>
              <a:gd name="connsiteX14430" fmla="*/ 1791646 w 6884782"/>
              <a:gd name="connsiteY14430" fmla="*/ 4584830 h 5973007"/>
              <a:gd name="connsiteX14431" fmla="*/ 1791337 w 6884782"/>
              <a:gd name="connsiteY14431" fmla="*/ 4588238 h 5973007"/>
              <a:gd name="connsiteX14432" fmla="*/ 1787929 w 6884782"/>
              <a:gd name="connsiteY14432" fmla="*/ 4584520 h 5973007"/>
              <a:gd name="connsiteX14433" fmla="*/ 1787310 w 6884782"/>
              <a:gd name="connsiteY14433" fmla="*/ 4583901 h 5973007"/>
              <a:gd name="connsiteX14434" fmla="*/ 1785141 w 6884782"/>
              <a:gd name="connsiteY14434" fmla="*/ 4584830 h 5973007"/>
              <a:gd name="connsiteX14435" fmla="*/ 1781423 w 6884782"/>
              <a:gd name="connsiteY14435" fmla="*/ 4584004 h 5973007"/>
              <a:gd name="connsiteX14436" fmla="*/ 1783592 w 6884782"/>
              <a:gd name="connsiteY14436" fmla="*/ 4590406 h 5973007"/>
              <a:gd name="connsiteX14437" fmla="*/ 1782353 w 6884782"/>
              <a:gd name="connsiteY14437" fmla="*/ 4604759 h 5973007"/>
              <a:gd name="connsiteX14438" fmla="*/ 1778790 w 6884782"/>
              <a:gd name="connsiteY14438" fmla="*/ 4605998 h 5973007"/>
              <a:gd name="connsiteX14439" fmla="*/ 1772130 w 6884782"/>
              <a:gd name="connsiteY14439" fmla="*/ 4600318 h 5973007"/>
              <a:gd name="connsiteX14440" fmla="*/ 1774918 w 6884782"/>
              <a:gd name="connsiteY14440" fmla="*/ 4581526 h 5973007"/>
              <a:gd name="connsiteX14441" fmla="*/ 1775073 w 6884782"/>
              <a:gd name="connsiteY14441" fmla="*/ 4581423 h 5973007"/>
              <a:gd name="connsiteX14442" fmla="*/ 1770426 w 6884782"/>
              <a:gd name="connsiteY14442" fmla="*/ 4577912 h 5973007"/>
              <a:gd name="connsiteX14443" fmla="*/ 1773369 w 6884782"/>
              <a:gd name="connsiteY14443" fmla="*/ 4569858 h 5973007"/>
              <a:gd name="connsiteX14444" fmla="*/ 1778325 w 6884782"/>
              <a:gd name="connsiteY14444" fmla="*/ 4568825 h 5973007"/>
              <a:gd name="connsiteX14445" fmla="*/ 1778480 w 6884782"/>
              <a:gd name="connsiteY14445" fmla="*/ 4568103 h 5973007"/>
              <a:gd name="connsiteX14446" fmla="*/ 1784521 w 6884782"/>
              <a:gd name="connsiteY14446" fmla="*/ 4562940 h 5973007"/>
              <a:gd name="connsiteX14447" fmla="*/ 1539785 w 6884782"/>
              <a:gd name="connsiteY14447" fmla="*/ 4562837 h 5973007"/>
              <a:gd name="connsiteX14448" fmla="*/ 1544742 w 6884782"/>
              <a:gd name="connsiteY14448" fmla="*/ 4566554 h 5973007"/>
              <a:gd name="connsiteX14449" fmla="*/ 1545052 w 6884782"/>
              <a:gd name="connsiteY14449" fmla="*/ 4569239 h 5973007"/>
              <a:gd name="connsiteX14450" fmla="*/ 1543348 w 6884782"/>
              <a:gd name="connsiteY14450" fmla="*/ 4571613 h 5973007"/>
              <a:gd name="connsiteX14451" fmla="*/ 1541180 w 6884782"/>
              <a:gd name="connsiteY14451" fmla="*/ 4572233 h 5973007"/>
              <a:gd name="connsiteX14452" fmla="*/ 1536687 w 6884782"/>
              <a:gd name="connsiteY14452" fmla="*/ 4569651 h 5973007"/>
              <a:gd name="connsiteX14453" fmla="*/ 1539785 w 6884782"/>
              <a:gd name="connsiteY14453" fmla="*/ 4562837 h 5973007"/>
              <a:gd name="connsiteX14454" fmla="*/ 1078504 w 6884782"/>
              <a:gd name="connsiteY14454" fmla="*/ 4562630 h 5973007"/>
              <a:gd name="connsiteX14455" fmla="*/ 1082222 w 6884782"/>
              <a:gd name="connsiteY14455" fmla="*/ 4565934 h 5973007"/>
              <a:gd name="connsiteX14456" fmla="*/ 1084081 w 6884782"/>
              <a:gd name="connsiteY14456" fmla="*/ 4566554 h 5973007"/>
              <a:gd name="connsiteX14457" fmla="*/ 1082531 w 6884782"/>
              <a:gd name="connsiteY14457" fmla="*/ 4567586 h 5973007"/>
              <a:gd name="connsiteX14458" fmla="*/ 1080518 w 6884782"/>
              <a:gd name="connsiteY14458" fmla="*/ 4565108 h 5973007"/>
              <a:gd name="connsiteX14459" fmla="*/ 1078969 w 6884782"/>
              <a:gd name="connsiteY14459" fmla="*/ 4566038 h 5973007"/>
              <a:gd name="connsiteX14460" fmla="*/ 1078039 w 6884782"/>
              <a:gd name="connsiteY14460" fmla="*/ 4565211 h 5973007"/>
              <a:gd name="connsiteX14461" fmla="*/ 1077885 w 6884782"/>
              <a:gd name="connsiteY14461" fmla="*/ 4565005 h 5973007"/>
              <a:gd name="connsiteX14462" fmla="*/ 1077729 w 6884782"/>
              <a:gd name="connsiteY14462" fmla="*/ 4565211 h 5973007"/>
              <a:gd name="connsiteX14463" fmla="*/ 1078039 w 6884782"/>
              <a:gd name="connsiteY14463" fmla="*/ 4565211 h 5973007"/>
              <a:gd name="connsiteX14464" fmla="*/ 1078659 w 6884782"/>
              <a:gd name="connsiteY14464" fmla="*/ 4573782 h 5973007"/>
              <a:gd name="connsiteX14465" fmla="*/ 1079588 w 6884782"/>
              <a:gd name="connsiteY14465" fmla="*/ 4574298 h 5973007"/>
              <a:gd name="connsiteX14466" fmla="*/ 1080208 w 6884782"/>
              <a:gd name="connsiteY14466" fmla="*/ 4573782 h 5973007"/>
              <a:gd name="connsiteX14467" fmla="*/ 1080518 w 6884782"/>
              <a:gd name="connsiteY14467" fmla="*/ 4571407 h 5973007"/>
              <a:gd name="connsiteX14468" fmla="*/ 1087333 w 6884782"/>
              <a:gd name="connsiteY14468" fmla="*/ 4566967 h 5973007"/>
              <a:gd name="connsiteX14469" fmla="*/ 1093374 w 6884782"/>
              <a:gd name="connsiteY14469" fmla="*/ 4571407 h 5973007"/>
              <a:gd name="connsiteX14470" fmla="*/ 1093684 w 6884782"/>
              <a:gd name="connsiteY14470" fmla="*/ 4572026 h 5973007"/>
              <a:gd name="connsiteX14471" fmla="*/ 1094613 w 6884782"/>
              <a:gd name="connsiteY14471" fmla="*/ 4572543 h 5973007"/>
              <a:gd name="connsiteX14472" fmla="*/ 1097866 w 6884782"/>
              <a:gd name="connsiteY14472" fmla="*/ 4574401 h 5973007"/>
              <a:gd name="connsiteX14473" fmla="*/ 1098021 w 6884782"/>
              <a:gd name="connsiteY14473" fmla="*/ 4575331 h 5973007"/>
              <a:gd name="connsiteX14474" fmla="*/ 1096163 w 6884782"/>
              <a:gd name="connsiteY14474" fmla="*/ 4576260 h 5973007"/>
              <a:gd name="connsiteX14475" fmla="*/ 1094923 w 6884782"/>
              <a:gd name="connsiteY14475" fmla="*/ 4575744 h 5973007"/>
              <a:gd name="connsiteX14476" fmla="*/ 1095233 w 6884782"/>
              <a:gd name="connsiteY14476" fmla="*/ 4579048 h 5973007"/>
              <a:gd name="connsiteX14477" fmla="*/ 1092599 w 6884782"/>
              <a:gd name="connsiteY14477" fmla="*/ 4581939 h 5973007"/>
              <a:gd name="connsiteX14478" fmla="*/ 1091206 w 6884782"/>
              <a:gd name="connsiteY14478" fmla="*/ 4582765 h 5973007"/>
              <a:gd name="connsiteX14479" fmla="*/ 1093219 w 6884782"/>
              <a:gd name="connsiteY14479" fmla="*/ 4582662 h 5973007"/>
              <a:gd name="connsiteX14480" fmla="*/ 1096163 w 6884782"/>
              <a:gd name="connsiteY14480" fmla="*/ 4585553 h 5973007"/>
              <a:gd name="connsiteX14481" fmla="*/ 1088263 w 6884782"/>
              <a:gd name="connsiteY14481" fmla="*/ 4600112 h 5973007"/>
              <a:gd name="connsiteX14482" fmla="*/ 1087178 w 6884782"/>
              <a:gd name="connsiteY14482" fmla="*/ 4600318 h 5973007"/>
              <a:gd name="connsiteX14483" fmla="*/ 1086404 w 6884782"/>
              <a:gd name="connsiteY14483" fmla="*/ 4601248 h 5973007"/>
              <a:gd name="connsiteX14484" fmla="*/ 1086559 w 6884782"/>
              <a:gd name="connsiteY14484" fmla="*/ 4601454 h 5973007"/>
              <a:gd name="connsiteX14485" fmla="*/ 1086714 w 6884782"/>
              <a:gd name="connsiteY14485" fmla="*/ 4602384 h 5973007"/>
              <a:gd name="connsiteX14486" fmla="*/ 1085010 w 6884782"/>
              <a:gd name="connsiteY14486" fmla="*/ 4605378 h 5973007"/>
              <a:gd name="connsiteX14487" fmla="*/ 1084081 w 6884782"/>
              <a:gd name="connsiteY14487" fmla="*/ 4605791 h 5973007"/>
              <a:gd name="connsiteX14488" fmla="*/ 1082841 w 6884782"/>
              <a:gd name="connsiteY14488" fmla="*/ 4605172 h 5973007"/>
              <a:gd name="connsiteX14489" fmla="*/ 1079743 w 6884782"/>
              <a:gd name="connsiteY14489" fmla="*/ 4600938 h 5973007"/>
              <a:gd name="connsiteX14490" fmla="*/ 1064408 w 6884782"/>
              <a:gd name="connsiteY14490" fmla="*/ 4600938 h 5973007"/>
              <a:gd name="connsiteX14491" fmla="*/ 1064099 w 6884782"/>
              <a:gd name="connsiteY14491" fmla="*/ 4592265 h 5973007"/>
              <a:gd name="connsiteX14492" fmla="*/ 1078659 w 6884782"/>
              <a:gd name="connsiteY14492" fmla="*/ 4587102 h 5973007"/>
              <a:gd name="connsiteX14493" fmla="*/ 1078659 w 6884782"/>
              <a:gd name="connsiteY14493" fmla="*/ 4587928 h 5973007"/>
              <a:gd name="connsiteX14494" fmla="*/ 1083461 w 6884782"/>
              <a:gd name="connsiteY14494" fmla="*/ 4585863 h 5973007"/>
              <a:gd name="connsiteX14495" fmla="*/ 1084081 w 6884782"/>
              <a:gd name="connsiteY14495" fmla="*/ 4586585 h 5973007"/>
              <a:gd name="connsiteX14496" fmla="*/ 1084390 w 6884782"/>
              <a:gd name="connsiteY14496" fmla="*/ 4586585 h 5973007"/>
              <a:gd name="connsiteX14497" fmla="*/ 1087178 w 6884782"/>
              <a:gd name="connsiteY14497" fmla="*/ 4583591 h 5973007"/>
              <a:gd name="connsiteX14498" fmla="*/ 1086714 w 6884782"/>
              <a:gd name="connsiteY14498" fmla="*/ 4583591 h 5973007"/>
              <a:gd name="connsiteX14499" fmla="*/ 1079898 w 6884782"/>
              <a:gd name="connsiteY14499" fmla="*/ 4576260 h 5973007"/>
              <a:gd name="connsiteX14500" fmla="*/ 1079124 w 6884782"/>
              <a:gd name="connsiteY14500" fmla="*/ 4576053 h 5973007"/>
              <a:gd name="connsiteX14501" fmla="*/ 1079433 w 6884782"/>
              <a:gd name="connsiteY14501" fmla="*/ 4577086 h 5973007"/>
              <a:gd name="connsiteX14502" fmla="*/ 1079743 w 6884782"/>
              <a:gd name="connsiteY14502" fmla="*/ 4578118 h 5973007"/>
              <a:gd name="connsiteX14503" fmla="*/ 1079278 w 6884782"/>
              <a:gd name="connsiteY14503" fmla="*/ 4579874 h 5973007"/>
              <a:gd name="connsiteX14504" fmla="*/ 1074786 w 6884782"/>
              <a:gd name="connsiteY14504" fmla="*/ 4583591 h 5973007"/>
              <a:gd name="connsiteX14505" fmla="*/ 1074012 w 6884782"/>
              <a:gd name="connsiteY14505" fmla="*/ 4570271 h 5973007"/>
              <a:gd name="connsiteX14506" fmla="*/ 1074786 w 6884782"/>
              <a:gd name="connsiteY14506" fmla="*/ 4567483 h 5973007"/>
              <a:gd name="connsiteX14507" fmla="*/ 1072928 w 6884782"/>
              <a:gd name="connsiteY14507" fmla="*/ 4565521 h 5973007"/>
              <a:gd name="connsiteX14508" fmla="*/ 1076181 w 6884782"/>
              <a:gd name="connsiteY14508" fmla="*/ 4562734 h 5973007"/>
              <a:gd name="connsiteX14509" fmla="*/ 1078039 w 6884782"/>
              <a:gd name="connsiteY14509" fmla="*/ 4564179 h 5973007"/>
              <a:gd name="connsiteX14510" fmla="*/ 6654451 w 6884782"/>
              <a:gd name="connsiteY14510" fmla="*/ 4562545 h 5973007"/>
              <a:gd name="connsiteX14511" fmla="*/ 6667927 w 6884782"/>
              <a:gd name="connsiteY14511" fmla="*/ 4578756 h 5973007"/>
              <a:gd name="connsiteX14512" fmla="*/ 6666378 w 6884782"/>
              <a:gd name="connsiteY14512" fmla="*/ 4583919 h 5973007"/>
              <a:gd name="connsiteX14513" fmla="*/ 6665449 w 6884782"/>
              <a:gd name="connsiteY14513" fmla="*/ 4583506 h 5973007"/>
              <a:gd name="connsiteX14514" fmla="*/ 6669476 w 6884782"/>
              <a:gd name="connsiteY14514" fmla="*/ 4587326 h 5973007"/>
              <a:gd name="connsiteX14515" fmla="*/ 6680319 w 6884782"/>
              <a:gd name="connsiteY14515" fmla="*/ 4609423 h 5973007"/>
              <a:gd name="connsiteX14516" fmla="*/ 6653057 w 6884782"/>
              <a:gd name="connsiteY14516" fmla="*/ 4572251 h 5973007"/>
              <a:gd name="connsiteX14517" fmla="*/ 6655225 w 6884782"/>
              <a:gd name="connsiteY14517" fmla="*/ 4574109 h 5973007"/>
              <a:gd name="connsiteX14518" fmla="*/ 6653057 w 6884782"/>
              <a:gd name="connsiteY14518" fmla="*/ 4568637 h 5973007"/>
              <a:gd name="connsiteX14519" fmla="*/ 6654451 w 6884782"/>
              <a:gd name="connsiteY14519" fmla="*/ 4562545 h 5973007"/>
              <a:gd name="connsiteX14520" fmla="*/ 5992734 w 6884782"/>
              <a:gd name="connsiteY14520" fmla="*/ 4562338 h 5973007"/>
              <a:gd name="connsiteX14521" fmla="*/ 5993819 w 6884782"/>
              <a:gd name="connsiteY14521" fmla="*/ 4565745 h 5973007"/>
              <a:gd name="connsiteX14522" fmla="*/ 5992424 w 6884782"/>
              <a:gd name="connsiteY14522" fmla="*/ 4566262 h 5973007"/>
              <a:gd name="connsiteX14523" fmla="*/ 5990411 w 6884782"/>
              <a:gd name="connsiteY14523" fmla="*/ 4564713 h 5973007"/>
              <a:gd name="connsiteX14524" fmla="*/ 892783 w 6884782"/>
              <a:gd name="connsiteY14524" fmla="*/ 4561907 h 5973007"/>
              <a:gd name="connsiteX14525" fmla="*/ 893558 w 6884782"/>
              <a:gd name="connsiteY14525" fmla="*/ 4562837 h 5973007"/>
              <a:gd name="connsiteX14526" fmla="*/ 897120 w 6884782"/>
              <a:gd name="connsiteY14526" fmla="*/ 4573059 h 5973007"/>
              <a:gd name="connsiteX14527" fmla="*/ 893558 w 6884782"/>
              <a:gd name="connsiteY14527" fmla="*/ 4574092 h 5973007"/>
              <a:gd name="connsiteX14528" fmla="*/ 889685 w 6884782"/>
              <a:gd name="connsiteY14528" fmla="*/ 4571820 h 5973007"/>
              <a:gd name="connsiteX14529" fmla="*/ 885039 w 6884782"/>
              <a:gd name="connsiteY14529" fmla="*/ 4563249 h 5973007"/>
              <a:gd name="connsiteX14530" fmla="*/ 892783 w 6884782"/>
              <a:gd name="connsiteY14530" fmla="*/ 4561907 h 5973007"/>
              <a:gd name="connsiteX14531" fmla="*/ 6107087 w 6884782"/>
              <a:gd name="connsiteY14531" fmla="*/ 4561783 h 5973007"/>
              <a:gd name="connsiteX14532" fmla="*/ 6109061 w 6884782"/>
              <a:gd name="connsiteY14532" fmla="*/ 4567191 h 5973007"/>
              <a:gd name="connsiteX14533" fmla="*/ 6102091 w 6884782"/>
              <a:gd name="connsiteY14533" fmla="*/ 4562338 h 5973007"/>
              <a:gd name="connsiteX14534" fmla="*/ 6107087 w 6884782"/>
              <a:gd name="connsiteY14534" fmla="*/ 4561783 h 5973007"/>
              <a:gd name="connsiteX14535" fmla="*/ 5986693 w 6884782"/>
              <a:gd name="connsiteY14535" fmla="*/ 4561719 h 5973007"/>
              <a:gd name="connsiteX14536" fmla="*/ 5987778 w 6884782"/>
              <a:gd name="connsiteY14536" fmla="*/ 4563474 h 5973007"/>
              <a:gd name="connsiteX14537" fmla="*/ 5987468 w 6884782"/>
              <a:gd name="connsiteY14537" fmla="*/ 4565023 h 5973007"/>
              <a:gd name="connsiteX14538" fmla="*/ 5989636 w 6884782"/>
              <a:gd name="connsiteY14538" fmla="*/ 4565539 h 5973007"/>
              <a:gd name="connsiteX14539" fmla="*/ 5992270 w 6884782"/>
              <a:gd name="connsiteY14539" fmla="*/ 4572561 h 5973007"/>
              <a:gd name="connsiteX14540" fmla="*/ 5990721 w 6884782"/>
              <a:gd name="connsiteY14540" fmla="*/ 4573490 h 5973007"/>
              <a:gd name="connsiteX14541" fmla="*/ 5988707 w 6884782"/>
              <a:gd name="connsiteY14541" fmla="*/ 4573903 h 5973007"/>
              <a:gd name="connsiteX14542" fmla="*/ 5984060 w 6884782"/>
              <a:gd name="connsiteY14542" fmla="*/ 4572251 h 5973007"/>
              <a:gd name="connsiteX14543" fmla="*/ 5982201 w 6884782"/>
              <a:gd name="connsiteY14543" fmla="*/ 4568637 h 5973007"/>
              <a:gd name="connsiteX14544" fmla="*/ 5982201 w 6884782"/>
              <a:gd name="connsiteY14544" fmla="*/ 4566881 h 5973007"/>
              <a:gd name="connsiteX14545" fmla="*/ 5983286 w 6884782"/>
              <a:gd name="connsiteY14545" fmla="*/ 4566262 h 5973007"/>
              <a:gd name="connsiteX14546" fmla="*/ 5982821 w 6884782"/>
              <a:gd name="connsiteY14546" fmla="*/ 4565539 h 5973007"/>
              <a:gd name="connsiteX14547" fmla="*/ 5982511 w 6884782"/>
              <a:gd name="connsiteY14547" fmla="*/ 4562958 h 5973007"/>
              <a:gd name="connsiteX14548" fmla="*/ 5986693 w 6884782"/>
              <a:gd name="connsiteY14548" fmla="*/ 4561719 h 5973007"/>
              <a:gd name="connsiteX14549" fmla="*/ 6877192 w 6884782"/>
              <a:gd name="connsiteY14549" fmla="*/ 4560893 h 5973007"/>
              <a:gd name="connsiteX14550" fmla="*/ 6863871 w 6884782"/>
              <a:gd name="connsiteY14550" fmla="*/ 4593522 h 5973007"/>
              <a:gd name="connsiteX14551" fmla="*/ 6869292 w 6884782"/>
              <a:gd name="connsiteY14551" fmla="*/ 4576691 h 5973007"/>
              <a:gd name="connsiteX14552" fmla="*/ 6877192 w 6884782"/>
              <a:gd name="connsiteY14552" fmla="*/ 4560893 h 5973007"/>
              <a:gd name="connsiteX14553" fmla="*/ 1272454 w 6884782"/>
              <a:gd name="connsiteY14553" fmla="*/ 4560720 h 5973007"/>
              <a:gd name="connsiteX14554" fmla="*/ 1289782 w 6884782"/>
              <a:gd name="connsiteY14554" fmla="*/ 4565418 h 5973007"/>
              <a:gd name="connsiteX14555" fmla="*/ 1302794 w 6884782"/>
              <a:gd name="connsiteY14555" fmla="*/ 4581836 h 5973007"/>
              <a:gd name="connsiteX14556" fmla="*/ 1304343 w 6884782"/>
              <a:gd name="connsiteY14556" fmla="*/ 4608373 h 5973007"/>
              <a:gd name="connsiteX14557" fmla="*/ 1301710 w 6884782"/>
              <a:gd name="connsiteY14557" fmla="*/ 4611057 h 5973007"/>
              <a:gd name="connsiteX14558" fmla="*/ 1303413 w 6884782"/>
              <a:gd name="connsiteY14558" fmla="*/ 4613845 h 5973007"/>
              <a:gd name="connsiteX14559" fmla="*/ 1300316 w 6884782"/>
              <a:gd name="connsiteY14559" fmla="*/ 4614362 h 5973007"/>
              <a:gd name="connsiteX14560" fmla="*/ 1298922 w 6884782"/>
              <a:gd name="connsiteY14560" fmla="*/ 4614155 h 5973007"/>
              <a:gd name="connsiteX14561" fmla="*/ 1294430 w 6884782"/>
              <a:gd name="connsiteY14561" fmla="*/ 4619008 h 5973007"/>
              <a:gd name="connsiteX14562" fmla="*/ 1289163 w 6884782"/>
              <a:gd name="connsiteY14562" fmla="*/ 4624584 h 5973007"/>
              <a:gd name="connsiteX14563" fmla="*/ 1288853 w 6884782"/>
              <a:gd name="connsiteY14563" fmla="*/ 4627269 h 5973007"/>
              <a:gd name="connsiteX14564" fmla="*/ 1286530 w 6884782"/>
              <a:gd name="connsiteY14564" fmla="*/ 4627475 h 5973007"/>
              <a:gd name="connsiteX14565" fmla="*/ 1284516 w 6884782"/>
              <a:gd name="connsiteY14565" fmla="*/ 4629747 h 5973007"/>
              <a:gd name="connsiteX14566" fmla="*/ 1248890 w 6884782"/>
              <a:gd name="connsiteY14566" fmla="*/ 4623035 h 5973007"/>
              <a:gd name="connsiteX14567" fmla="*/ 1237428 w 6884782"/>
              <a:gd name="connsiteY14567" fmla="*/ 4603726 h 5973007"/>
              <a:gd name="connsiteX14568" fmla="*/ 1255706 w 6884782"/>
              <a:gd name="connsiteY14568" fmla="*/ 4561598 h 5973007"/>
              <a:gd name="connsiteX14569" fmla="*/ 1272454 w 6884782"/>
              <a:gd name="connsiteY14569" fmla="*/ 4560720 h 5973007"/>
              <a:gd name="connsiteX14570" fmla="*/ 1178877 w 6884782"/>
              <a:gd name="connsiteY14570" fmla="*/ 4560255 h 5973007"/>
              <a:gd name="connsiteX14571" fmla="*/ 1179496 w 6884782"/>
              <a:gd name="connsiteY14571" fmla="*/ 4564489 h 5973007"/>
              <a:gd name="connsiteX14572" fmla="*/ 1175004 w 6884782"/>
              <a:gd name="connsiteY14572" fmla="*/ 4566760 h 5973007"/>
              <a:gd name="connsiteX14573" fmla="*/ 1172061 w 6884782"/>
              <a:gd name="connsiteY14573" fmla="*/ 4567277 h 5973007"/>
              <a:gd name="connsiteX14574" fmla="*/ 1169583 w 6884782"/>
              <a:gd name="connsiteY14574" fmla="*/ 4566760 h 5973007"/>
              <a:gd name="connsiteX14575" fmla="*/ 1171443 w 6884782"/>
              <a:gd name="connsiteY14575" fmla="*/ 4561494 h 5973007"/>
              <a:gd name="connsiteX14576" fmla="*/ 1178877 w 6884782"/>
              <a:gd name="connsiteY14576" fmla="*/ 4560255 h 5973007"/>
              <a:gd name="connsiteX14577" fmla="*/ 1682909 w 6884782"/>
              <a:gd name="connsiteY14577" fmla="*/ 4558500 h 5973007"/>
              <a:gd name="connsiteX14578" fmla="*/ 1681051 w 6884782"/>
              <a:gd name="connsiteY14578" fmla="*/ 4563043 h 5973007"/>
              <a:gd name="connsiteX14579" fmla="*/ 1680586 w 6884782"/>
              <a:gd name="connsiteY14579" fmla="*/ 4559533 h 5973007"/>
              <a:gd name="connsiteX14580" fmla="*/ 1682909 w 6884782"/>
              <a:gd name="connsiteY14580" fmla="*/ 4558500 h 5973007"/>
              <a:gd name="connsiteX14581" fmla="*/ 1726900 w 6884782"/>
              <a:gd name="connsiteY14581" fmla="*/ 4558190 h 5973007"/>
              <a:gd name="connsiteX14582" fmla="*/ 1729533 w 6884782"/>
              <a:gd name="connsiteY14582" fmla="*/ 4558706 h 5973007"/>
              <a:gd name="connsiteX14583" fmla="*/ 1730153 w 6884782"/>
              <a:gd name="connsiteY14583" fmla="*/ 4564902 h 5973007"/>
              <a:gd name="connsiteX14584" fmla="*/ 1728294 w 6884782"/>
              <a:gd name="connsiteY14584" fmla="*/ 4566038 h 5973007"/>
              <a:gd name="connsiteX14585" fmla="*/ 1734645 w 6884782"/>
              <a:gd name="connsiteY14585" fmla="*/ 4568309 h 5973007"/>
              <a:gd name="connsiteX14586" fmla="*/ 1741925 w 6884782"/>
              <a:gd name="connsiteY14586" fmla="*/ 4582559 h 5973007"/>
              <a:gd name="connsiteX14587" fmla="*/ 1742544 w 6884782"/>
              <a:gd name="connsiteY14587" fmla="*/ 4584004 h 5973007"/>
              <a:gd name="connsiteX14588" fmla="*/ 1743784 w 6884782"/>
              <a:gd name="connsiteY14588" fmla="*/ 4581733 h 5973007"/>
              <a:gd name="connsiteX14589" fmla="*/ 1748740 w 6884782"/>
              <a:gd name="connsiteY14589" fmla="*/ 4580287 h 5973007"/>
              <a:gd name="connsiteX14590" fmla="*/ 1754007 w 6884782"/>
              <a:gd name="connsiteY14590" fmla="*/ 4581319 h 5973007"/>
              <a:gd name="connsiteX14591" fmla="*/ 1751374 w 6884782"/>
              <a:gd name="connsiteY14591" fmla="*/ 4586069 h 5973007"/>
              <a:gd name="connsiteX14592" fmla="*/ 1743784 w 6884782"/>
              <a:gd name="connsiteY14592" fmla="*/ 4585966 h 5973007"/>
              <a:gd name="connsiteX14593" fmla="*/ 1742699 w 6884782"/>
              <a:gd name="connsiteY14593" fmla="*/ 4584417 h 5973007"/>
              <a:gd name="connsiteX14594" fmla="*/ 1749050 w 6884782"/>
              <a:gd name="connsiteY14594" fmla="*/ 4596911 h 5973007"/>
              <a:gd name="connsiteX14595" fmla="*/ 1733870 w 6884782"/>
              <a:gd name="connsiteY14595" fmla="*/ 4628920 h 5973007"/>
              <a:gd name="connsiteX14596" fmla="*/ 1730927 w 6884782"/>
              <a:gd name="connsiteY14596" fmla="*/ 4628508 h 5973007"/>
              <a:gd name="connsiteX14597" fmla="*/ 1730772 w 6884782"/>
              <a:gd name="connsiteY14597" fmla="*/ 4628817 h 5973007"/>
              <a:gd name="connsiteX14598" fmla="*/ 1727985 w 6884782"/>
              <a:gd name="connsiteY14598" fmla="*/ 4629747 h 5973007"/>
              <a:gd name="connsiteX14599" fmla="*/ 1726280 w 6884782"/>
              <a:gd name="connsiteY14599" fmla="*/ 4628714 h 5973007"/>
              <a:gd name="connsiteX14600" fmla="*/ 1721478 w 6884782"/>
              <a:gd name="connsiteY14600" fmla="*/ 4629643 h 5973007"/>
              <a:gd name="connsiteX14601" fmla="*/ 1720549 w 6884782"/>
              <a:gd name="connsiteY14601" fmla="*/ 4629540 h 5973007"/>
              <a:gd name="connsiteX14602" fmla="*/ 1719000 w 6884782"/>
              <a:gd name="connsiteY14602" fmla="*/ 4630056 h 5973007"/>
              <a:gd name="connsiteX14603" fmla="*/ 1719310 w 6884782"/>
              <a:gd name="connsiteY14603" fmla="*/ 4633361 h 5973007"/>
              <a:gd name="connsiteX14604" fmla="*/ 1716987 w 6884782"/>
              <a:gd name="connsiteY14604" fmla="*/ 4635529 h 5973007"/>
              <a:gd name="connsiteX14605" fmla="*/ 1713734 w 6884782"/>
              <a:gd name="connsiteY14605" fmla="*/ 4635219 h 5973007"/>
              <a:gd name="connsiteX14606" fmla="*/ 1711565 w 6884782"/>
              <a:gd name="connsiteY14606" fmla="*/ 4633877 h 5973007"/>
              <a:gd name="connsiteX14607" fmla="*/ 1711100 w 6884782"/>
              <a:gd name="connsiteY14607" fmla="*/ 4630986 h 5973007"/>
              <a:gd name="connsiteX14608" fmla="*/ 1711100 w 6884782"/>
              <a:gd name="connsiteY14608" fmla="*/ 4630779 h 5973007"/>
              <a:gd name="connsiteX14609" fmla="*/ 1702426 w 6884782"/>
              <a:gd name="connsiteY14609" fmla="*/ 4626236 h 5973007"/>
              <a:gd name="connsiteX14610" fmla="*/ 1693287 w 6884782"/>
              <a:gd name="connsiteY14610" fmla="*/ 4618285 h 5973007"/>
              <a:gd name="connsiteX14611" fmla="*/ 1692048 w 6884782"/>
              <a:gd name="connsiteY14611" fmla="*/ 4620660 h 5973007"/>
              <a:gd name="connsiteX14612" fmla="*/ 1689570 w 6884782"/>
              <a:gd name="connsiteY14612" fmla="*/ 4625926 h 5973007"/>
              <a:gd name="connsiteX14613" fmla="*/ 1686937 w 6884782"/>
              <a:gd name="connsiteY14613" fmla="*/ 4625926 h 5973007"/>
              <a:gd name="connsiteX14614" fmla="*/ 1685543 w 6884782"/>
              <a:gd name="connsiteY14614" fmla="*/ 4624584 h 5973007"/>
              <a:gd name="connsiteX14615" fmla="*/ 1684768 w 6884782"/>
              <a:gd name="connsiteY14615" fmla="*/ 4613845 h 5973007"/>
              <a:gd name="connsiteX14616" fmla="*/ 1686008 w 6884782"/>
              <a:gd name="connsiteY14616" fmla="*/ 4610851 h 5973007"/>
              <a:gd name="connsiteX14617" fmla="*/ 1682599 w 6884782"/>
              <a:gd name="connsiteY14617" fmla="*/ 4605275 h 5973007"/>
              <a:gd name="connsiteX14618" fmla="*/ 1679811 w 6884782"/>
              <a:gd name="connsiteY14618" fmla="*/ 4595982 h 5973007"/>
              <a:gd name="connsiteX14619" fmla="*/ 1680121 w 6884782"/>
              <a:gd name="connsiteY14619" fmla="*/ 4586585 h 5973007"/>
              <a:gd name="connsiteX14620" fmla="*/ 1681360 w 6884782"/>
              <a:gd name="connsiteY14620" fmla="*/ 4583798 h 5973007"/>
              <a:gd name="connsiteX14621" fmla="*/ 1681206 w 6884782"/>
              <a:gd name="connsiteY14621" fmla="*/ 4581526 h 5973007"/>
              <a:gd name="connsiteX14622" fmla="*/ 1681051 w 6884782"/>
              <a:gd name="connsiteY14622" fmla="*/ 4580390 h 5973007"/>
              <a:gd name="connsiteX14623" fmla="*/ 1680121 w 6884782"/>
              <a:gd name="connsiteY14623" fmla="*/ 4582249 h 5973007"/>
              <a:gd name="connsiteX14624" fmla="*/ 1680586 w 6884782"/>
              <a:gd name="connsiteY14624" fmla="*/ 4583901 h 5973007"/>
              <a:gd name="connsiteX14625" fmla="*/ 1678263 w 6884782"/>
              <a:gd name="connsiteY14625" fmla="*/ 4585656 h 5973007"/>
              <a:gd name="connsiteX14626" fmla="*/ 1680431 w 6884782"/>
              <a:gd name="connsiteY14626" fmla="*/ 4580493 h 5973007"/>
              <a:gd name="connsiteX14627" fmla="*/ 1681051 w 6884782"/>
              <a:gd name="connsiteY14627" fmla="*/ 4580080 h 5973007"/>
              <a:gd name="connsiteX14628" fmla="*/ 1681051 w 6884782"/>
              <a:gd name="connsiteY14628" fmla="*/ 4579151 h 5973007"/>
              <a:gd name="connsiteX14629" fmla="*/ 1680896 w 6884782"/>
              <a:gd name="connsiteY14629" fmla="*/ 4578325 h 5973007"/>
              <a:gd name="connsiteX14630" fmla="*/ 1681051 w 6884782"/>
              <a:gd name="connsiteY14630" fmla="*/ 4577602 h 5973007"/>
              <a:gd name="connsiteX14631" fmla="*/ 1681051 w 6884782"/>
              <a:gd name="connsiteY14631" fmla="*/ 4575227 h 5973007"/>
              <a:gd name="connsiteX14632" fmla="*/ 1681825 w 6884782"/>
              <a:gd name="connsiteY14632" fmla="*/ 4570065 h 5973007"/>
              <a:gd name="connsiteX14633" fmla="*/ 1682135 w 6884782"/>
              <a:gd name="connsiteY14633" fmla="*/ 4575537 h 5973007"/>
              <a:gd name="connsiteX14634" fmla="*/ 1682755 w 6884782"/>
              <a:gd name="connsiteY14634" fmla="*/ 4572749 h 5973007"/>
              <a:gd name="connsiteX14635" fmla="*/ 1682135 w 6884782"/>
              <a:gd name="connsiteY14635" fmla="*/ 4569858 h 5973007"/>
              <a:gd name="connsiteX14636" fmla="*/ 1683529 w 6884782"/>
              <a:gd name="connsiteY14636" fmla="*/ 4568412 h 5973007"/>
              <a:gd name="connsiteX14637" fmla="*/ 1685078 w 6884782"/>
              <a:gd name="connsiteY14637" fmla="*/ 4570581 h 5973007"/>
              <a:gd name="connsiteX14638" fmla="*/ 1683064 w 6884782"/>
              <a:gd name="connsiteY14638" fmla="*/ 4573059 h 5973007"/>
              <a:gd name="connsiteX14639" fmla="*/ 1683064 w 6884782"/>
              <a:gd name="connsiteY14639" fmla="*/ 4576570 h 5973007"/>
              <a:gd name="connsiteX14640" fmla="*/ 1682135 w 6884782"/>
              <a:gd name="connsiteY14640" fmla="*/ 4577809 h 5973007"/>
              <a:gd name="connsiteX14641" fmla="*/ 1681360 w 6884782"/>
              <a:gd name="connsiteY14641" fmla="*/ 4583591 h 5973007"/>
              <a:gd name="connsiteX14642" fmla="*/ 1683219 w 6884782"/>
              <a:gd name="connsiteY14642" fmla="*/ 4579151 h 5973007"/>
              <a:gd name="connsiteX14643" fmla="*/ 1692048 w 6884782"/>
              <a:gd name="connsiteY14643" fmla="*/ 4564076 h 5973007"/>
              <a:gd name="connsiteX14644" fmla="*/ 1710171 w 6884782"/>
              <a:gd name="connsiteY14644" fmla="*/ 4558293 h 5973007"/>
              <a:gd name="connsiteX14645" fmla="*/ 1721788 w 6884782"/>
              <a:gd name="connsiteY14645" fmla="*/ 4563869 h 5973007"/>
              <a:gd name="connsiteX14646" fmla="*/ 1723802 w 6884782"/>
              <a:gd name="connsiteY14646" fmla="*/ 4564489 h 5973007"/>
              <a:gd name="connsiteX14647" fmla="*/ 1723957 w 6884782"/>
              <a:gd name="connsiteY14647" fmla="*/ 4561391 h 5973007"/>
              <a:gd name="connsiteX14648" fmla="*/ 1726900 w 6884782"/>
              <a:gd name="connsiteY14648" fmla="*/ 4558190 h 5973007"/>
              <a:gd name="connsiteX14649" fmla="*/ 5905992 w 6884782"/>
              <a:gd name="connsiteY14649" fmla="*/ 4557795 h 5973007"/>
              <a:gd name="connsiteX14650" fmla="*/ 5869592 w 6884782"/>
              <a:gd name="connsiteY14650" fmla="*/ 4596723 h 5973007"/>
              <a:gd name="connsiteX14651" fmla="*/ 5905992 w 6884782"/>
              <a:gd name="connsiteY14651" fmla="*/ 4557795 h 5973007"/>
              <a:gd name="connsiteX14652" fmla="*/ 614435 w 6884782"/>
              <a:gd name="connsiteY14652" fmla="*/ 4557467 h 5973007"/>
              <a:gd name="connsiteX14653" fmla="*/ 614589 w 6884782"/>
              <a:gd name="connsiteY14653" fmla="*/ 4567173 h 5973007"/>
              <a:gd name="connsiteX14654" fmla="*/ 614435 w 6884782"/>
              <a:gd name="connsiteY14654" fmla="*/ 4557467 h 5973007"/>
              <a:gd name="connsiteX14655" fmla="*/ 1008181 w 6884782"/>
              <a:gd name="connsiteY14655" fmla="*/ 4557364 h 5973007"/>
              <a:gd name="connsiteX14656" fmla="*/ 1010195 w 6884782"/>
              <a:gd name="connsiteY14656" fmla="*/ 4557467 h 5973007"/>
              <a:gd name="connsiteX14657" fmla="*/ 1012208 w 6884782"/>
              <a:gd name="connsiteY14657" fmla="*/ 4558810 h 5973007"/>
              <a:gd name="connsiteX14658" fmla="*/ 1010505 w 6884782"/>
              <a:gd name="connsiteY14658" fmla="*/ 4563249 h 5973007"/>
              <a:gd name="connsiteX14659" fmla="*/ 1008491 w 6884782"/>
              <a:gd name="connsiteY14659" fmla="*/ 4563146 h 5973007"/>
              <a:gd name="connsiteX14660" fmla="*/ 1006942 w 6884782"/>
              <a:gd name="connsiteY14660" fmla="*/ 4560978 h 5973007"/>
              <a:gd name="connsiteX14661" fmla="*/ 1008181 w 6884782"/>
              <a:gd name="connsiteY14661" fmla="*/ 4557364 h 5973007"/>
              <a:gd name="connsiteX14662" fmla="*/ 1515466 w 6884782"/>
              <a:gd name="connsiteY14662" fmla="*/ 4556744 h 5973007"/>
              <a:gd name="connsiteX14663" fmla="*/ 1517170 w 6884782"/>
              <a:gd name="connsiteY14663" fmla="*/ 4558603 h 5973007"/>
              <a:gd name="connsiteX14664" fmla="*/ 1514692 w 6884782"/>
              <a:gd name="connsiteY14664" fmla="*/ 4559739 h 5973007"/>
              <a:gd name="connsiteX14665" fmla="*/ 1513298 w 6884782"/>
              <a:gd name="connsiteY14665" fmla="*/ 4558706 h 5973007"/>
              <a:gd name="connsiteX14666" fmla="*/ 1510665 w 6884782"/>
              <a:gd name="connsiteY14666" fmla="*/ 4559119 h 5973007"/>
              <a:gd name="connsiteX14667" fmla="*/ 1510045 w 6884782"/>
              <a:gd name="connsiteY14667" fmla="*/ 4557674 h 5973007"/>
              <a:gd name="connsiteX14668" fmla="*/ 1515466 w 6884782"/>
              <a:gd name="connsiteY14668" fmla="*/ 4556744 h 5973007"/>
              <a:gd name="connsiteX14669" fmla="*/ 1770193 w 6884782"/>
              <a:gd name="connsiteY14669" fmla="*/ 4556732 h 5973007"/>
              <a:gd name="connsiteX14670" fmla="*/ 1773989 w 6884782"/>
              <a:gd name="connsiteY14670" fmla="*/ 4557571 h 5973007"/>
              <a:gd name="connsiteX14671" fmla="*/ 1772440 w 6884782"/>
              <a:gd name="connsiteY14671" fmla="*/ 4563663 h 5973007"/>
              <a:gd name="connsiteX14672" fmla="*/ 1767328 w 6884782"/>
              <a:gd name="connsiteY14672" fmla="*/ 4559842 h 5973007"/>
              <a:gd name="connsiteX14673" fmla="*/ 1770193 w 6884782"/>
              <a:gd name="connsiteY14673" fmla="*/ 4556732 h 5973007"/>
              <a:gd name="connsiteX14674" fmla="*/ 1311003 w 6884782"/>
              <a:gd name="connsiteY14674" fmla="*/ 4556641 h 5973007"/>
              <a:gd name="connsiteX14675" fmla="*/ 1322466 w 6884782"/>
              <a:gd name="connsiteY14675" fmla="*/ 4582765 h 5973007"/>
              <a:gd name="connsiteX14676" fmla="*/ 1304343 w 6884782"/>
              <a:gd name="connsiteY14676" fmla="*/ 4561184 h 5973007"/>
              <a:gd name="connsiteX14677" fmla="*/ 1311003 w 6884782"/>
              <a:gd name="connsiteY14677" fmla="*/ 4556641 h 5973007"/>
              <a:gd name="connsiteX14678" fmla="*/ 1183833 w 6884782"/>
              <a:gd name="connsiteY14678" fmla="*/ 4556435 h 5973007"/>
              <a:gd name="connsiteX14679" fmla="*/ 1209237 w 6884782"/>
              <a:gd name="connsiteY14679" fmla="*/ 4566244 h 5973007"/>
              <a:gd name="connsiteX14680" fmla="*/ 1206138 w 6884782"/>
              <a:gd name="connsiteY14680" fmla="*/ 4573885 h 5973007"/>
              <a:gd name="connsiteX14681" fmla="*/ 1183833 w 6884782"/>
              <a:gd name="connsiteY14681" fmla="*/ 4556435 h 5973007"/>
              <a:gd name="connsiteX14682" fmla="*/ 1165556 w 6884782"/>
              <a:gd name="connsiteY14682" fmla="*/ 4556435 h 5973007"/>
              <a:gd name="connsiteX14683" fmla="*/ 1165401 w 6884782"/>
              <a:gd name="connsiteY14683" fmla="*/ 4559223 h 5973007"/>
              <a:gd name="connsiteX14684" fmla="*/ 1165711 w 6884782"/>
              <a:gd name="connsiteY14684" fmla="*/ 4559326 h 5973007"/>
              <a:gd name="connsiteX14685" fmla="*/ 1166486 w 6884782"/>
              <a:gd name="connsiteY14685" fmla="*/ 4575537 h 5973007"/>
              <a:gd name="connsiteX14686" fmla="*/ 1154713 w 6884782"/>
              <a:gd name="connsiteY14686" fmla="*/ 4565418 h 5973007"/>
              <a:gd name="connsiteX14687" fmla="*/ 1158431 w 6884782"/>
              <a:gd name="connsiteY14687" fmla="*/ 4560875 h 5973007"/>
              <a:gd name="connsiteX14688" fmla="*/ 1157811 w 6884782"/>
              <a:gd name="connsiteY14688" fmla="*/ 4560565 h 5973007"/>
              <a:gd name="connsiteX14689" fmla="*/ 1161374 w 6884782"/>
              <a:gd name="connsiteY14689" fmla="*/ 4556641 h 5973007"/>
              <a:gd name="connsiteX14690" fmla="*/ 1165556 w 6884782"/>
              <a:gd name="connsiteY14690" fmla="*/ 4556435 h 5973007"/>
              <a:gd name="connsiteX14691" fmla="*/ 1678572 w 6884782"/>
              <a:gd name="connsiteY14691" fmla="*/ 4556332 h 5973007"/>
              <a:gd name="connsiteX14692" fmla="*/ 1675009 w 6884782"/>
              <a:gd name="connsiteY14692" fmla="*/ 4568516 h 5973007"/>
              <a:gd name="connsiteX14693" fmla="*/ 1669588 w 6884782"/>
              <a:gd name="connsiteY14693" fmla="*/ 4565831 h 5973007"/>
              <a:gd name="connsiteX14694" fmla="*/ 1678572 w 6884782"/>
              <a:gd name="connsiteY14694" fmla="*/ 4556332 h 5973007"/>
              <a:gd name="connsiteX14695" fmla="*/ 6692401 w 6884782"/>
              <a:gd name="connsiteY14695" fmla="*/ 4556143 h 5973007"/>
              <a:gd name="connsiteX14696" fmla="*/ 6696118 w 6884782"/>
              <a:gd name="connsiteY14696" fmla="*/ 4559034 h 5973007"/>
              <a:gd name="connsiteX14697" fmla="*/ 6693175 w 6884782"/>
              <a:gd name="connsiteY14697" fmla="*/ 4563164 h 5973007"/>
              <a:gd name="connsiteX14698" fmla="*/ 6689148 w 6884782"/>
              <a:gd name="connsiteY14698" fmla="*/ 4560583 h 5973007"/>
              <a:gd name="connsiteX14699" fmla="*/ 6688993 w 6884782"/>
              <a:gd name="connsiteY14699" fmla="*/ 4558311 h 5973007"/>
              <a:gd name="connsiteX14700" fmla="*/ 6689613 w 6884782"/>
              <a:gd name="connsiteY14700" fmla="*/ 4557898 h 5973007"/>
              <a:gd name="connsiteX14701" fmla="*/ 6692401 w 6884782"/>
              <a:gd name="connsiteY14701" fmla="*/ 4556143 h 5973007"/>
              <a:gd name="connsiteX14702" fmla="*/ 1335942 w 6884782"/>
              <a:gd name="connsiteY14702" fmla="*/ 4555712 h 5973007"/>
              <a:gd name="connsiteX14703" fmla="*/ 1337181 w 6884782"/>
              <a:gd name="connsiteY14703" fmla="*/ 4558190 h 5973007"/>
              <a:gd name="connsiteX14704" fmla="*/ 1332224 w 6884782"/>
              <a:gd name="connsiteY14704" fmla="*/ 4559842 h 5973007"/>
              <a:gd name="connsiteX14705" fmla="*/ 1335942 w 6884782"/>
              <a:gd name="connsiteY14705" fmla="*/ 4555712 h 5973007"/>
              <a:gd name="connsiteX14706" fmla="*/ 948585 w 6884782"/>
              <a:gd name="connsiteY14706" fmla="*/ 4555441 h 5973007"/>
              <a:gd name="connsiteX14707" fmla="*/ 956446 w 6884782"/>
              <a:gd name="connsiteY14707" fmla="*/ 4559326 h 5973007"/>
              <a:gd name="connsiteX14708" fmla="*/ 935380 w 6884782"/>
              <a:gd name="connsiteY14708" fmla="*/ 4576776 h 5973007"/>
              <a:gd name="connsiteX14709" fmla="*/ 939252 w 6884782"/>
              <a:gd name="connsiteY14709" fmla="*/ 4568516 h 5973007"/>
              <a:gd name="connsiteX14710" fmla="*/ 937858 w 6884782"/>
              <a:gd name="connsiteY14710" fmla="*/ 4567277 h 5973007"/>
              <a:gd name="connsiteX14711" fmla="*/ 935999 w 6884782"/>
              <a:gd name="connsiteY14711" fmla="*/ 4562114 h 5973007"/>
              <a:gd name="connsiteX14712" fmla="*/ 936774 w 6884782"/>
              <a:gd name="connsiteY14712" fmla="*/ 4556641 h 5973007"/>
              <a:gd name="connsiteX14713" fmla="*/ 941576 w 6884782"/>
              <a:gd name="connsiteY14713" fmla="*/ 4560049 h 5973007"/>
              <a:gd name="connsiteX14714" fmla="*/ 941421 w 6884782"/>
              <a:gd name="connsiteY14714" fmla="*/ 4563972 h 5973007"/>
              <a:gd name="connsiteX14715" fmla="*/ 943280 w 6884782"/>
              <a:gd name="connsiteY14715" fmla="*/ 4559842 h 5973007"/>
              <a:gd name="connsiteX14716" fmla="*/ 948585 w 6884782"/>
              <a:gd name="connsiteY14716" fmla="*/ 4555441 h 5973007"/>
              <a:gd name="connsiteX14717" fmla="*/ 1339349 w 6884782"/>
              <a:gd name="connsiteY14717" fmla="*/ 4555196 h 5973007"/>
              <a:gd name="connsiteX14718" fmla="*/ 1339814 w 6884782"/>
              <a:gd name="connsiteY14718" fmla="*/ 4556744 h 5973007"/>
              <a:gd name="connsiteX14719" fmla="*/ 1339349 w 6884782"/>
              <a:gd name="connsiteY14719" fmla="*/ 4556125 h 5973007"/>
              <a:gd name="connsiteX14720" fmla="*/ 1339349 w 6884782"/>
              <a:gd name="connsiteY14720" fmla="*/ 4555196 h 5973007"/>
              <a:gd name="connsiteX14721" fmla="*/ 1214967 w 6884782"/>
              <a:gd name="connsiteY14721" fmla="*/ 4554886 h 5973007"/>
              <a:gd name="connsiteX14722" fmla="*/ 1218066 w 6884782"/>
              <a:gd name="connsiteY14722" fmla="*/ 4555402 h 5973007"/>
              <a:gd name="connsiteX14723" fmla="*/ 1218995 w 6884782"/>
              <a:gd name="connsiteY14723" fmla="*/ 4555815 h 5973007"/>
              <a:gd name="connsiteX14724" fmla="*/ 1218995 w 6884782"/>
              <a:gd name="connsiteY14724" fmla="*/ 4555609 h 5973007"/>
              <a:gd name="connsiteX14725" fmla="*/ 1221474 w 6884782"/>
              <a:gd name="connsiteY14725" fmla="*/ 4555712 h 5973007"/>
              <a:gd name="connsiteX14726" fmla="*/ 1222248 w 6884782"/>
              <a:gd name="connsiteY14726" fmla="*/ 4555505 h 5973007"/>
              <a:gd name="connsiteX14727" fmla="*/ 1222402 w 6884782"/>
              <a:gd name="connsiteY14727" fmla="*/ 4555712 h 5973007"/>
              <a:gd name="connsiteX14728" fmla="*/ 1223332 w 6884782"/>
              <a:gd name="connsiteY14728" fmla="*/ 4555712 h 5973007"/>
              <a:gd name="connsiteX14729" fmla="*/ 1222093 w 6884782"/>
              <a:gd name="connsiteY14729" fmla="*/ 4559223 h 5973007"/>
              <a:gd name="connsiteX14730" fmla="*/ 1219460 w 6884782"/>
              <a:gd name="connsiteY14730" fmla="*/ 4560152 h 5973007"/>
              <a:gd name="connsiteX14731" fmla="*/ 1218995 w 6884782"/>
              <a:gd name="connsiteY14731" fmla="*/ 4559326 h 5973007"/>
              <a:gd name="connsiteX14732" fmla="*/ 1219614 w 6884782"/>
              <a:gd name="connsiteY14732" fmla="*/ 4559223 h 5973007"/>
              <a:gd name="connsiteX14733" fmla="*/ 1219305 w 6884782"/>
              <a:gd name="connsiteY14733" fmla="*/ 4557983 h 5973007"/>
              <a:gd name="connsiteX14734" fmla="*/ 1218066 w 6884782"/>
              <a:gd name="connsiteY14734" fmla="*/ 4558706 h 5973007"/>
              <a:gd name="connsiteX14735" fmla="*/ 1213574 w 6884782"/>
              <a:gd name="connsiteY14735" fmla="*/ 4560152 h 5973007"/>
              <a:gd name="connsiteX14736" fmla="*/ 1212025 w 6884782"/>
              <a:gd name="connsiteY14736" fmla="*/ 4559429 h 5973007"/>
              <a:gd name="connsiteX14737" fmla="*/ 1211560 w 6884782"/>
              <a:gd name="connsiteY14737" fmla="*/ 4557157 h 5973007"/>
              <a:gd name="connsiteX14738" fmla="*/ 1214967 w 6884782"/>
              <a:gd name="connsiteY14738" fmla="*/ 4554886 h 5973007"/>
              <a:gd name="connsiteX14739" fmla="*/ 1386902 w 6884782"/>
              <a:gd name="connsiteY14739" fmla="*/ 4554473 h 5973007"/>
              <a:gd name="connsiteX14740" fmla="*/ 1394647 w 6884782"/>
              <a:gd name="connsiteY14740" fmla="*/ 4555196 h 5973007"/>
              <a:gd name="connsiteX14741" fmla="*/ 1389071 w 6884782"/>
              <a:gd name="connsiteY14741" fmla="*/ 4592058 h 5973007"/>
              <a:gd name="connsiteX14742" fmla="*/ 1382875 w 6884782"/>
              <a:gd name="connsiteY14742" fmla="*/ 4589373 h 5973007"/>
              <a:gd name="connsiteX14743" fmla="*/ 1385819 w 6884782"/>
              <a:gd name="connsiteY14743" fmla="*/ 4592781 h 5973007"/>
              <a:gd name="connsiteX14744" fmla="*/ 1386438 w 6884782"/>
              <a:gd name="connsiteY14744" fmla="*/ 4593917 h 5973007"/>
              <a:gd name="connsiteX14745" fmla="*/ 1388142 w 6884782"/>
              <a:gd name="connsiteY14745" fmla="*/ 4595466 h 5973007"/>
              <a:gd name="connsiteX14746" fmla="*/ 1387987 w 6884782"/>
              <a:gd name="connsiteY14746" fmla="*/ 4602487 h 5973007"/>
              <a:gd name="connsiteX14747" fmla="*/ 1388296 w 6884782"/>
              <a:gd name="connsiteY14747" fmla="*/ 4601558 h 5973007"/>
              <a:gd name="connsiteX14748" fmla="*/ 1391704 w 6884782"/>
              <a:gd name="connsiteY14748" fmla="*/ 4604449 h 5973007"/>
              <a:gd name="connsiteX14749" fmla="*/ 1387987 w 6884782"/>
              <a:gd name="connsiteY14749" fmla="*/ 4602797 h 5973007"/>
              <a:gd name="connsiteX14750" fmla="*/ 1387987 w 6884782"/>
              <a:gd name="connsiteY14750" fmla="*/ 4604139 h 5973007"/>
              <a:gd name="connsiteX14751" fmla="*/ 1385664 w 6884782"/>
              <a:gd name="connsiteY14751" fmla="*/ 4605688 h 5973007"/>
              <a:gd name="connsiteX14752" fmla="*/ 1377145 w 6884782"/>
              <a:gd name="connsiteY14752" fmla="*/ 4599596 h 5973007"/>
              <a:gd name="connsiteX14753" fmla="*/ 1376524 w 6884782"/>
              <a:gd name="connsiteY14753" fmla="*/ 4595879 h 5973007"/>
              <a:gd name="connsiteX14754" fmla="*/ 1374821 w 6884782"/>
              <a:gd name="connsiteY14754" fmla="*/ 4593813 h 5973007"/>
              <a:gd name="connsiteX14755" fmla="*/ 1373117 w 6884782"/>
              <a:gd name="connsiteY14755" fmla="*/ 4592884 h 5973007"/>
              <a:gd name="connsiteX14756" fmla="*/ 1372342 w 6884782"/>
              <a:gd name="connsiteY14756" fmla="*/ 4599286 h 5973007"/>
              <a:gd name="connsiteX14757" fmla="*/ 1370174 w 6884782"/>
              <a:gd name="connsiteY14757" fmla="*/ 4602384 h 5973007"/>
              <a:gd name="connsiteX14758" fmla="*/ 1371103 w 6884782"/>
              <a:gd name="connsiteY14758" fmla="*/ 4604139 h 5973007"/>
              <a:gd name="connsiteX14759" fmla="*/ 1369244 w 6884782"/>
              <a:gd name="connsiteY14759" fmla="*/ 4605998 h 5973007"/>
              <a:gd name="connsiteX14760" fmla="*/ 1367540 w 6884782"/>
              <a:gd name="connsiteY14760" fmla="*/ 4606411 h 5973007"/>
              <a:gd name="connsiteX14761" fmla="*/ 1365837 w 6884782"/>
              <a:gd name="connsiteY14761" fmla="*/ 4608992 h 5973007"/>
              <a:gd name="connsiteX14762" fmla="*/ 1352670 w 6884782"/>
              <a:gd name="connsiteY14762" fmla="*/ 4598770 h 5973007"/>
              <a:gd name="connsiteX14763" fmla="*/ 1350657 w 6884782"/>
              <a:gd name="connsiteY14763" fmla="*/ 4592058 h 5973007"/>
              <a:gd name="connsiteX14764" fmla="*/ 1350657 w 6884782"/>
              <a:gd name="connsiteY14764" fmla="*/ 4591955 h 5973007"/>
              <a:gd name="connsiteX14765" fmla="*/ 1346475 w 6884782"/>
              <a:gd name="connsiteY14765" fmla="*/ 4593297 h 5973007"/>
              <a:gd name="connsiteX14766" fmla="*/ 1339969 w 6884782"/>
              <a:gd name="connsiteY14766" fmla="*/ 4584727 h 5973007"/>
              <a:gd name="connsiteX14767" fmla="*/ 1340434 w 6884782"/>
              <a:gd name="connsiteY14767" fmla="*/ 4583798 h 5973007"/>
              <a:gd name="connsiteX14768" fmla="*/ 1340279 w 6884782"/>
              <a:gd name="connsiteY14768" fmla="*/ 4583798 h 5973007"/>
              <a:gd name="connsiteX14769" fmla="*/ 1337955 w 6884782"/>
              <a:gd name="connsiteY14769" fmla="*/ 4578118 h 5973007"/>
              <a:gd name="connsiteX14770" fmla="*/ 1336096 w 6884782"/>
              <a:gd name="connsiteY14770" fmla="*/ 4578325 h 5973007"/>
              <a:gd name="connsiteX14771" fmla="*/ 1333153 w 6884782"/>
              <a:gd name="connsiteY14771" fmla="*/ 4576260 h 5973007"/>
              <a:gd name="connsiteX14772" fmla="*/ 1334238 w 6884782"/>
              <a:gd name="connsiteY14772" fmla="*/ 4574505 h 5973007"/>
              <a:gd name="connsiteX14773" fmla="*/ 1337955 w 6884782"/>
              <a:gd name="connsiteY14773" fmla="*/ 4576157 h 5973007"/>
              <a:gd name="connsiteX14774" fmla="*/ 1338730 w 6884782"/>
              <a:gd name="connsiteY14774" fmla="*/ 4575744 h 5973007"/>
              <a:gd name="connsiteX14775" fmla="*/ 1339504 w 6884782"/>
              <a:gd name="connsiteY14775" fmla="*/ 4573266 h 5973007"/>
              <a:gd name="connsiteX14776" fmla="*/ 1346939 w 6884782"/>
              <a:gd name="connsiteY14776" fmla="*/ 4568619 h 5973007"/>
              <a:gd name="connsiteX14777" fmla="*/ 1353291 w 6884782"/>
              <a:gd name="connsiteY14777" fmla="*/ 4575434 h 5973007"/>
              <a:gd name="connsiteX14778" fmla="*/ 1353291 w 6884782"/>
              <a:gd name="connsiteY14778" fmla="*/ 4577396 h 5973007"/>
              <a:gd name="connsiteX14779" fmla="*/ 1357472 w 6884782"/>
              <a:gd name="connsiteY14779" fmla="*/ 4570891 h 5973007"/>
              <a:gd name="connsiteX14780" fmla="*/ 1360106 w 6884782"/>
              <a:gd name="connsiteY14780" fmla="*/ 4570478 h 5973007"/>
              <a:gd name="connsiteX14781" fmla="*/ 1373427 w 6884782"/>
              <a:gd name="connsiteY14781" fmla="*/ 4590509 h 5973007"/>
              <a:gd name="connsiteX14782" fmla="*/ 1373427 w 6884782"/>
              <a:gd name="connsiteY14782" fmla="*/ 4590716 h 5973007"/>
              <a:gd name="connsiteX14783" fmla="*/ 1374821 w 6884782"/>
              <a:gd name="connsiteY14783" fmla="*/ 4590406 h 5973007"/>
              <a:gd name="connsiteX14784" fmla="*/ 1375595 w 6884782"/>
              <a:gd name="connsiteY14784" fmla="*/ 4591851 h 5973007"/>
              <a:gd name="connsiteX14785" fmla="*/ 1377145 w 6884782"/>
              <a:gd name="connsiteY14785" fmla="*/ 4592368 h 5973007"/>
              <a:gd name="connsiteX14786" fmla="*/ 1378538 w 6884782"/>
              <a:gd name="connsiteY14786" fmla="*/ 4590200 h 5973007"/>
              <a:gd name="connsiteX14787" fmla="*/ 1381017 w 6884782"/>
              <a:gd name="connsiteY14787" fmla="*/ 4589683 h 5973007"/>
              <a:gd name="connsiteX14788" fmla="*/ 1380552 w 6884782"/>
              <a:gd name="connsiteY14788" fmla="*/ 4588444 h 5973007"/>
              <a:gd name="connsiteX14789" fmla="*/ 1364443 w 6884782"/>
              <a:gd name="connsiteY14789" fmla="*/ 4560772 h 5973007"/>
              <a:gd name="connsiteX14790" fmla="*/ 1366611 w 6884782"/>
              <a:gd name="connsiteY14790" fmla="*/ 4560875 h 5973007"/>
              <a:gd name="connsiteX14791" fmla="*/ 1366456 w 6884782"/>
              <a:gd name="connsiteY14791" fmla="*/ 4559842 h 5973007"/>
              <a:gd name="connsiteX14792" fmla="*/ 1373891 w 6884782"/>
              <a:gd name="connsiteY14792" fmla="*/ 4556951 h 5973007"/>
              <a:gd name="connsiteX14793" fmla="*/ 1376835 w 6884782"/>
              <a:gd name="connsiteY14793" fmla="*/ 4559223 h 5973007"/>
              <a:gd name="connsiteX14794" fmla="*/ 1381791 w 6884782"/>
              <a:gd name="connsiteY14794" fmla="*/ 4556641 h 5973007"/>
              <a:gd name="connsiteX14795" fmla="*/ 1386902 w 6884782"/>
              <a:gd name="connsiteY14795" fmla="*/ 4554473 h 5973007"/>
              <a:gd name="connsiteX14796" fmla="*/ 887517 w 6884782"/>
              <a:gd name="connsiteY14796" fmla="*/ 4554060 h 5973007"/>
              <a:gd name="connsiteX14797" fmla="*/ 881476 w 6884782"/>
              <a:gd name="connsiteY14797" fmla="*/ 4559429 h 5973007"/>
              <a:gd name="connsiteX14798" fmla="*/ 878997 w 6884782"/>
              <a:gd name="connsiteY14798" fmla="*/ 4559119 h 5973007"/>
              <a:gd name="connsiteX14799" fmla="*/ 887517 w 6884782"/>
              <a:gd name="connsiteY14799" fmla="*/ 4554060 h 5973007"/>
              <a:gd name="connsiteX14800" fmla="*/ 1476433 w 6884782"/>
              <a:gd name="connsiteY14800" fmla="*/ 4553647 h 5973007"/>
              <a:gd name="connsiteX14801" fmla="*/ 1481080 w 6884782"/>
              <a:gd name="connsiteY14801" fmla="*/ 4554782 h 5973007"/>
              <a:gd name="connsiteX14802" fmla="*/ 1483558 w 6884782"/>
              <a:gd name="connsiteY14802" fmla="*/ 4554060 h 5973007"/>
              <a:gd name="connsiteX14803" fmla="*/ 1484023 w 6884782"/>
              <a:gd name="connsiteY14803" fmla="*/ 4554886 h 5973007"/>
              <a:gd name="connsiteX14804" fmla="*/ 1478911 w 6884782"/>
              <a:gd name="connsiteY14804" fmla="*/ 4557364 h 5973007"/>
              <a:gd name="connsiteX14805" fmla="*/ 1475658 w 6884782"/>
              <a:gd name="connsiteY14805" fmla="*/ 4558500 h 5973007"/>
              <a:gd name="connsiteX14806" fmla="*/ 1481389 w 6884782"/>
              <a:gd name="connsiteY14806" fmla="*/ 4562217 h 5973007"/>
              <a:gd name="connsiteX14807" fmla="*/ 1498428 w 6884782"/>
              <a:gd name="connsiteY14807" fmla="*/ 4571923 h 5973007"/>
              <a:gd name="connsiteX14808" fmla="*/ 1487585 w 6884782"/>
              <a:gd name="connsiteY14808" fmla="*/ 4571510 h 5973007"/>
              <a:gd name="connsiteX14809" fmla="*/ 1477517 w 6884782"/>
              <a:gd name="connsiteY14809" fmla="*/ 4569858 h 5973007"/>
              <a:gd name="connsiteX14810" fmla="*/ 1475193 w 6884782"/>
              <a:gd name="connsiteY14810" fmla="*/ 4567586 h 5973007"/>
              <a:gd name="connsiteX14811" fmla="*/ 1474574 w 6884782"/>
              <a:gd name="connsiteY14811" fmla="*/ 4568103 h 5973007"/>
              <a:gd name="connsiteX14812" fmla="*/ 1471321 w 6884782"/>
              <a:gd name="connsiteY14812" fmla="*/ 4562940 h 5973007"/>
              <a:gd name="connsiteX14813" fmla="*/ 1474419 w 6884782"/>
              <a:gd name="connsiteY14813" fmla="*/ 4561907 h 5973007"/>
              <a:gd name="connsiteX14814" fmla="*/ 1475038 w 6884782"/>
              <a:gd name="connsiteY14814" fmla="*/ 4558706 h 5973007"/>
              <a:gd name="connsiteX14815" fmla="*/ 1474109 w 6884782"/>
              <a:gd name="connsiteY14815" fmla="*/ 4559016 h 5973007"/>
              <a:gd name="connsiteX14816" fmla="*/ 1472715 w 6884782"/>
              <a:gd name="connsiteY14816" fmla="*/ 4558293 h 5973007"/>
              <a:gd name="connsiteX14817" fmla="*/ 1472715 w 6884782"/>
              <a:gd name="connsiteY14817" fmla="*/ 4556022 h 5973007"/>
              <a:gd name="connsiteX14818" fmla="*/ 1476433 w 6884782"/>
              <a:gd name="connsiteY14818" fmla="*/ 4553647 h 5973007"/>
              <a:gd name="connsiteX14819" fmla="*/ 5934474 w 6884782"/>
              <a:gd name="connsiteY14819" fmla="*/ 4552077 h 5973007"/>
              <a:gd name="connsiteX14820" fmla="*/ 5936662 w 6884782"/>
              <a:gd name="connsiteY14820" fmla="*/ 4558001 h 5973007"/>
              <a:gd name="connsiteX14821" fmla="*/ 5933719 w 6884782"/>
              <a:gd name="connsiteY14821" fmla="*/ 4562855 h 5973007"/>
              <a:gd name="connsiteX14822" fmla="*/ 5931550 w 6884782"/>
              <a:gd name="connsiteY14822" fmla="*/ 4561925 h 5973007"/>
              <a:gd name="connsiteX14823" fmla="*/ 5931396 w 6884782"/>
              <a:gd name="connsiteY14823" fmla="*/ 4561719 h 5973007"/>
              <a:gd name="connsiteX14824" fmla="*/ 5928452 w 6884782"/>
              <a:gd name="connsiteY14824" fmla="*/ 4566055 h 5973007"/>
              <a:gd name="connsiteX14825" fmla="*/ 5926594 w 6884782"/>
              <a:gd name="connsiteY14825" fmla="*/ 4563577 h 5973007"/>
              <a:gd name="connsiteX14826" fmla="*/ 5926594 w 6884782"/>
              <a:gd name="connsiteY14826" fmla="*/ 4558414 h 5973007"/>
              <a:gd name="connsiteX14827" fmla="*/ 5927988 w 6884782"/>
              <a:gd name="connsiteY14827" fmla="*/ 4556246 h 5973007"/>
              <a:gd name="connsiteX14828" fmla="*/ 5927523 w 6884782"/>
              <a:gd name="connsiteY14828" fmla="*/ 4555213 h 5973007"/>
              <a:gd name="connsiteX14829" fmla="*/ 5934474 w 6884782"/>
              <a:gd name="connsiteY14829" fmla="*/ 4552077 h 5973007"/>
              <a:gd name="connsiteX14830" fmla="*/ 1240061 w 6884782"/>
              <a:gd name="connsiteY14830" fmla="*/ 4551685 h 5973007"/>
              <a:gd name="connsiteX14831" fmla="*/ 1240370 w 6884782"/>
              <a:gd name="connsiteY14831" fmla="*/ 4557261 h 5973007"/>
              <a:gd name="connsiteX14832" fmla="*/ 1234485 w 6884782"/>
              <a:gd name="connsiteY14832" fmla="*/ 4561288 h 5973007"/>
              <a:gd name="connsiteX14833" fmla="*/ 1231696 w 6884782"/>
              <a:gd name="connsiteY14833" fmla="*/ 4560565 h 5973007"/>
              <a:gd name="connsiteX14834" fmla="*/ 1240061 w 6884782"/>
              <a:gd name="connsiteY14834" fmla="*/ 4551685 h 5973007"/>
              <a:gd name="connsiteX14835" fmla="*/ 5958192 w 6884782"/>
              <a:gd name="connsiteY14835" fmla="*/ 4550361 h 5973007"/>
              <a:gd name="connsiteX14836" fmla="*/ 5958967 w 6884782"/>
              <a:gd name="connsiteY14836" fmla="*/ 4550361 h 5973007"/>
              <a:gd name="connsiteX14837" fmla="*/ 5959277 w 6884782"/>
              <a:gd name="connsiteY14837" fmla="*/ 4555936 h 5973007"/>
              <a:gd name="connsiteX14838" fmla="*/ 5958812 w 6884782"/>
              <a:gd name="connsiteY14838" fmla="*/ 4560893 h 5973007"/>
              <a:gd name="connsiteX14839" fmla="*/ 5960361 w 6884782"/>
              <a:gd name="connsiteY14839" fmla="*/ 4560686 h 5973007"/>
              <a:gd name="connsiteX14840" fmla="*/ 5977554 w 6884782"/>
              <a:gd name="connsiteY14840" fmla="*/ 4561512 h 5973007"/>
              <a:gd name="connsiteX14841" fmla="*/ 5959432 w 6884782"/>
              <a:gd name="connsiteY14841" fmla="*/ 4571425 h 5973007"/>
              <a:gd name="connsiteX14842" fmla="*/ 5954320 w 6884782"/>
              <a:gd name="connsiteY14842" fmla="*/ 4571528 h 5973007"/>
              <a:gd name="connsiteX14843" fmla="*/ 5943322 w 6884782"/>
              <a:gd name="connsiteY14843" fmla="*/ 4562751 h 5973007"/>
              <a:gd name="connsiteX14844" fmla="*/ 5955714 w 6884782"/>
              <a:gd name="connsiteY14844" fmla="*/ 4561202 h 5973007"/>
              <a:gd name="connsiteX14845" fmla="*/ 5955404 w 6884782"/>
              <a:gd name="connsiteY14845" fmla="*/ 4561202 h 5973007"/>
              <a:gd name="connsiteX14846" fmla="*/ 5954785 w 6884782"/>
              <a:gd name="connsiteY14846" fmla="*/ 4556763 h 5973007"/>
              <a:gd name="connsiteX14847" fmla="*/ 5957728 w 6884782"/>
              <a:gd name="connsiteY14847" fmla="*/ 4553045 h 5973007"/>
              <a:gd name="connsiteX14848" fmla="*/ 5958192 w 6884782"/>
              <a:gd name="connsiteY14848" fmla="*/ 4550361 h 5973007"/>
              <a:gd name="connsiteX14849" fmla="*/ 1582847 w 6884782"/>
              <a:gd name="connsiteY14849" fmla="*/ 4550343 h 5973007"/>
              <a:gd name="connsiteX14850" fmla="*/ 1588113 w 6884782"/>
              <a:gd name="connsiteY14850" fmla="*/ 4554060 h 5973007"/>
              <a:gd name="connsiteX14851" fmla="*/ 1586874 w 6884782"/>
              <a:gd name="connsiteY14851" fmla="*/ 4554267 h 5973007"/>
              <a:gd name="connsiteX14852" fmla="*/ 1585635 w 6884782"/>
              <a:gd name="connsiteY14852" fmla="*/ 4553027 h 5973007"/>
              <a:gd name="connsiteX14853" fmla="*/ 1582847 w 6884782"/>
              <a:gd name="connsiteY14853" fmla="*/ 4550343 h 5973007"/>
              <a:gd name="connsiteX14854" fmla="*/ 6788746 w 6884782"/>
              <a:gd name="connsiteY14854" fmla="*/ 4550257 h 5973007"/>
              <a:gd name="connsiteX14855" fmla="*/ 6791380 w 6884782"/>
              <a:gd name="connsiteY14855" fmla="*/ 4550773 h 5973007"/>
              <a:gd name="connsiteX14856" fmla="*/ 6795561 w 6884782"/>
              <a:gd name="connsiteY14856" fmla="*/ 4554078 h 5973007"/>
              <a:gd name="connsiteX14857" fmla="*/ 6795872 w 6884782"/>
              <a:gd name="connsiteY14857" fmla="*/ 4553355 h 5973007"/>
              <a:gd name="connsiteX14858" fmla="*/ 6794632 w 6884782"/>
              <a:gd name="connsiteY14858" fmla="*/ 4558311 h 5973007"/>
              <a:gd name="connsiteX14859" fmla="*/ 6790140 w 6884782"/>
              <a:gd name="connsiteY14859" fmla="*/ 4559757 h 5973007"/>
              <a:gd name="connsiteX14860" fmla="*/ 6784719 w 6884782"/>
              <a:gd name="connsiteY14860" fmla="*/ 4554594 h 5973007"/>
              <a:gd name="connsiteX14861" fmla="*/ 6788746 w 6884782"/>
              <a:gd name="connsiteY14861" fmla="*/ 4550257 h 5973007"/>
              <a:gd name="connsiteX14862" fmla="*/ 1525686 w 6884782"/>
              <a:gd name="connsiteY14862" fmla="*/ 4550237 h 5973007"/>
              <a:gd name="connsiteX14863" fmla="*/ 1525690 w 6884782"/>
              <a:gd name="connsiteY14863" fmla="*/ 4550239 h 5973007"/>
              <a:gd name="connsiteX14864" fmla="*/ 1525225 w 6884782"/>
              <a:gd name="connsiteY14864" fmla="*/ 4550962 h 5973007"/>
              <a:gd name="connsiteX14865" fmla="*/ 1119397 w 6884782"/>
              <a:gd name="connsiteY14865" fmla="*/ 4549723 h 5973007"/>
              <a:gd name="connsiteX14866" fmla="*/ 1119552 w 6884782"/>
              <a:gd name="connsiteY14866" fmla="*/ 4550033 h 5973007"/>
              <a:gd name="connsiteX14867" fmla="*/ 1120791 w 6884782"/>
              <a:gd name="connsiteY14867" fmla="*/ 4550033 h 5973007"/>
              <a:gd name="connsiteX14868" fmla="*/ 1123269 w 6884782"/>
              <a:gd name="connsiteY14868" fmla="*/ 4551478 h 5973007"/>
              <a:gd name="connsiteX14869" fmla="*/ 1124198 w 6884782"/>
              <a:gd name="connsiteY14869" fmla="*/ 4553234 h 5973007"/>
              <a:gd name="connsiteX14870" fmla="*/ 1125438 w 6884782"/>
              <a:gd name="connsiteY14870" fmla="*/ 4555505 h 5973007"/>
              <a:gd name="connsiteX14871" fmla="*/ 1125438 w 6884782"/>
              <a:gd name="connsiteY14871" fmla="*/ 4555918 h 5973007"/>
              <a:gd name="connsiteX14872" fmla="*/ 1126522 w 6884782"/>
              <a:gd name="connsiteY14872" fmla="*/ 4556744 h 5973007"/>
              <a:gd name="connsiteX14873" fmla="*/ 1135041 w 6884782"/>
              <a:gd name="connsiteY14873" fmla="*/ 4560565 h 5973007"/>
              <a:gd name="connsiteX14874" fmla="*/ 1135816 w 6884782"/>
              <a:gd name="connsiteY14874" fmla="*/ 4559016 h 5973007"/>
              <a:gd name="connsiteX14875" fmla="*/ 1139378 w 6884782"/>
              <a:gd name="connsiteY14875" fmla="*/ 4556022 h 5973007"/>
              <a:gd name="connsiteX14876" fmla="*/ 1142941 w 6884782"/>
              <a:gd name="connsiteY14876" fmla="*/ 4563146 h 5973007"/>
              <a:gd name="connsiteX14877" fmla="*/ 1142011 w 6884782"/>
              <a:gd name="connsiteY14877" fmla="*/ 4564799 h 5973007"/>
              <a:gd name="connsiteX14878" fmla="*/ 1143406 w 6884782"/>
              <a:gd name="connsiteY14878" fmla="*/ 4566038 h 5973007"/>
              <a:gd name="connsiteX14879" fmla="*/ 1145574 w 6884782"/>
              <a:gd name="connsiteY14879" fmla="*/ 4569755 h 5973007"/>
              <a:gd name="connsiteX14880" fmla="*/ 1147278 w 6884782"/>
              <a:gd name="connsiteY14880" fmla="*/ 4577602 h 5973007"/>
              <a:gd name="connsiteX14881" fmla="*/ 1146349 w 6884782"/>
              <a:gd name="connsiteY14881" fmla="*/ 4581526 h 5973007"/>
              <a:gd name="connsiteX14882" fmla="*/ 1146659 w 6884782"/>
              <a:gd name="connsiteY14882" fmla="*/ 4581733 h 5973007"/>
              <a:gd name="connsiteX14883" fmla="*/ 1146039 w 6884782"/>
              <a:gd name="connsiteY14883" fmla="*/ 4587928 h 5973007"/>
              <a:gd name="connsiteX14884" fmla="*/ 1144025 w 6884782"/>
              <a:gd name="connsiteY14884" fmla="*/ 4586689 h 5973007"/>
              <a:gd name="connsiteX14885" fmla="*/ 1141857 w 6884782"/>
              <a:gd name="connsiteY14885" fmla="*/ 4589683 h 5973007"/>
              <a:gd name="connsiteX14886" fmla="*/ 1138914 w 6884782"/>
              <a:gd name="connsiteY14886" fmla="*/ 4591542 h 5973007"/>
              <a:gd name="connsiteX14887" fmla="*/ 1138139 w 6884782"/>
              <a:gd name="connsiteY14887" fmla="*/ 4593917 h 5973007"/>
              <a:gd name="connsiteX14888" fmla="*/ 1140463 w 6884782"/>
              <a:gd name="connsiteY14888" fmla="*/ 4593401 h 5973007"/>
              <a:gd name="connsiteX14889" fmla="*/ 1143406 w 6884782"/>
              <a:gd name="connsiteY14889" fmla="*/ 4594949 h 5973007"/>
              <a:gd name="connsiteX14890" fmla="*/ 1137830 w 6884782"/>
              <a:gd name="connsiteY14890" fmla="*/ 4601661 h 5973007"/>
              <a:gd name="connsiteX14891" fmla="*/ 1135351 w 6884782"/>
              <a:gd name="connsiteY14891" fmla="*/ 4598976 h 5973007"/>
              <a:gd name="connsiteX14892" fmla="*/ 1135971 w 6884782"/>
              <a:gd name="connsiteY14892" fmla="*/ 4597737 h 5973007"/>
              <a:gd name="connsiteX14893" fmla="*/ 1133183 w 6884782"/>
              <a:gd name="connsiteY14893" fmla="*/ 4601454 h 5973007"/>
              <a:gd name="connsiteX14894" fmla="*/ 1119861 w 6884782"/>
              <a:gd name="connsiteY14894" fmla="*/ 4606514 h 5973007"/>
              <a:gd name="connsiteX14895" fmla="*/ 1111807 w 6884782"/>
              <a:gd name="connsiteY14895" fmla="*/ 4603107 h 5973007"/>
              <a:gd name="connsiteX14896" fmla="*/ 1107625 w 6884782"/>
              <a:gd name="connsiteY14896" fmla="*/ 4597944 h 5973007"/>
              <a:gd name="connsiteX14897" fmla="*/ 1106075 w 6884782"/>
              <a:gd name="connsiteY14897" fmla="*/ 4593297 h 5973007"/>
              <a:gd name="connsiteX14898" fmla="*/ 1104681 w 6884782"/>
              <a:gd name="connsiteY14898" fmla="*/ 4592368 h 5973007"/>
              <a:gd name="connsiteX14899" fmla="*/ 1105456 w 6884782"/>
              <a:gd name="connsiteY14899" fmla="*/ 4591748 h 5973007"/>
              <a:gd name="connsiteX14900" fmla="*/ 1104062 w 6884782"/>
              <a:gd name="connsiteY14900" fmla="*/ 4587721 h 5973007"/>
              <a:gd name="connsiteX14901" fmla="*/ 1099725 w 6884782"/>
              <a:gd name="connsiteY14901" fmla="*/ 4575847 h 5973007"/>
              <a:gd name="connsiteX14902" fmla="*/ 1101119 w 6884782"/>
              <a:gd name="connsiteY14902" fmla="*/ 4575950 h 5973007"/>
              <a:gd name="connsiteX14903" fmla="*/ 1100345 w 6884782"/>
              <a:gd name="connsiteY14903" fmla="*/ 4575021 h 5973007"/>
              <a:gd name="connsiteX14904" fmla="*/ 1098330 w 6884782"/>
              <a:gd name="connsiteY14904" fmla="*/ 4570271 h 5973007"/>
              <a:gd name="connsiteX14905" fmla="*/ 1099260 w 6884782"/>
              <a:gd name="connsiteY14905" fmla="*/ 4567586 h 5973007"/>
              <a:gd name="connsiteX14906" fmla="*/ 1112117 w 6884782"/>
              <a:gd name="connsiteY14906" fmla="*/ 4566760 h 5973007"/>
              <a:gd name="connsiteX14907" fmla="*/ 1112891 w 6884782"/>
              <a:gd name="connsiteY14907" fmla="*/ 4567483 h 5973007"/>
              <a:gd name="connsiteX14908" fmla="*/ 1116763 w 6884782"/>
              <a:gd name="connsiteY14908" fmla="*/ 4557880 h 5973007"/>
              <a:gd name="connsiteX14909" fmla="*/ 1117693 w 6884782"/>
              <a:gd name="connsiteY14909" fmla="*/ 4555092 h 5973007"/>
              <a:gd name="connsiteX14910" fmla="*/ 1117074 w 6884782"/>
              <a:gd name="connsiteY14910" fmla="*/ 4554163 h 5973007"/>
              <a:gd name="connsiteX14911" fmla="*/ 1115524 w 6884782"/>
              <a:gd name="connsiteY14911" fmla="*/ 4551066 h 5973007"/>
              <a:gd name="connsiteX14912" fmla="*/ 1118622 w 6884782"/>
              <a:gd name="connsiteY14912" fmla="*/ 4549930 h 5973007"/>
              <a:gd name="connsiteX14913" fmla="*/ 1119242 w 6884782"/>
              <a:gd name="connsiteY14913" fmla="*/ 4550033 h 5973007"/>
              <a:gd name="connsiteX14914" fmla="*/ 1517016 w 6884782"/>
              <a:gd name="connsiteY14914" fmla="*/ 4549310 h 5973007"/>
              <a:gd name="connsiteX14915" fmla="*/ 1519184 w 6884782"/>
              <a:gd name="connsiteY14915" fmla="*/ 4550239 h 5973007"/>
              <a:gd name="connsiteX14916" fmla="*/ 1521043 w 6884782"/>
              <a:gd name="connsiteY14916" fmla="*/ 4550239 h 5973007"/>
              <a:gd name="connsiteX14917" fmla="*/ 1521972 w 6884782"/>
              <a:gd name="connsiteY14917" fmla="*/ 4552614 h 5973007"/>
              <a:gd name="connsiteX14918" fmla="*/ 1520114 w 6884782"/>
              <a:gd name="connsiteY14918" fmla="*/ 4552614 h 5973007"/>
              <a:gd name="connsiteX14919" fmla="*/ 1515002 w 6884782"/>
              <a:gd name="connsiteY14919" fmla="*/ 4551272 h 5973007"/>
              <a:gd name="connsiteX14920" fmla="*/ 1517016 w 6884782"/>
              <a:gd name="connsiteY14920" fmla="*/ 4549310 h 5973007"/>
              <a:gd name="connsiteX14921" fmla="*/ 872957 w 6884782"/>
              <a:gd name="connsiteY14921" fmla="*/ 4549310 h 5973007"/>
              <a:gd name="connsiteX14922" fmla="*/ 873732 w 6884782"/>
              <a:gd name="connsiteY14922" fmla="*/ 4549413 h 5973007"/>
              <a:gd name="connsiteX14923" fmla="*/ 872647 w 6884782"/>
              <a:gd name="connsiteY14923" fmla="*/ 4559842 h 5973007"/>
              <a:gd name="connsiteX14924" fmla="*/ 871253 w 6884782"/>
              <a:gd name="connsiteY14924" fmla="*/ 4560772 h 5973007"/>
              <a:gd name="connsiteX14925" fmla="*/ 869239 w 6884782"/>
              <a:gd name="connsiteY14925" fmla="*/ 4559739 h 5973007"/>
              <a:gd name="connsiteX14926" fmla="*/ 869084 w 6884782"/>
              <a:gd name="connsiteY14926" fmla="*/ 4555299 h 5973007"/>
              <a:gd name="connsiteX14927" fmla="*/ 872182 w 6884782"/>
              <a:gd name="connsiteY14927" fmla="*/ 4551995 h 5973007"/>
              <a:gd name="connsiteX14928" fmla="*/ 872957 w 6884782"/>
              <a:gd name="connsiteY14928" fmla="*/ 4549310 h 5973007"/>
              <a:gd name="connsiteX14929" fmla="*/ 5997536 w 6884782"/>
              <a:gd name="connsiteY14929" fmla="*/ 4549225 h 5973007"/>
              <a:gd name="connsiteX14930" fmla="*/ 6006520 w 6884782"/>
              <a:gd name="connsiteY14930" fmla="*/ 4550877 h 5973007"/>
              <a:gd name="connsiteX14931" fmla="*/ 6003887 w 6884782"/>
              <a:gd name="connsiteY14931" fmla="*/ 4562338 h 5973007"/>
              <a:gd name="connsiteX14932" fmla="*/ 6004352 w 6884782"/>
              <a:gd name="connsiteY14932" fmla="*/ 4563887 h 5973007"/>
              <a:gd name="connsiteX14933" fmla="*/ 6003887 w 6884782"/>
              <a:gd name="connsiteY14933" fmla="*/ 4566055 h 5973007"/>
              <a:gd name="connsiteX14934" fmla="*/ 6002957 w 6884782"/>
              <a:gd name="connsiteY14934" fmla="*/ 4566468 h 5973007"/>
              <a:gd name="connsiteX14935" fmla="*/ 6001409 w 6884782"/>
              <a:gd name="connsiteY14935" fmla="*/ 4573490 h 5973007"/>
              <a:gd name="connsiteX14936" fmla="*/ 5996607 w 6884782"/>
              <a:gd name="connsiteY14936" fmla="*/ 4594038 h 5973007"/>
              <a:gd name="connsiteX14937" fmla="*/ 5997536 w 6884782"/>
              <a:gd name="connsiteY14937" fmla="*/ 4549225 h 5973007"/>
              <a:gd name="connsiteX14938" fmla="*/ 6210402 w 6884782"/>
              <a:gd name="connsiteY14938" fmla="*/ 4547585 h 5973007"/>
              <a:gd name="connsiteX14939" fmla="*/ 6216405 w 6884782"/>
              <a:gd name="connsiteY14939" fmla="*/ 4547985 h 5973007"/>
              <a:gd name="connsiteX14940" fmla="*/ 6216250 w 6884782"/>
              <a:gd name="connsiteY14940" fmla="*/ 4550567 h 5973007"/>
              <a:gd name="connsiteX14941" fmla="*/ 6209899 w 6884782"/>
              <a:gd name="connsiteY14941" fmla="*/ 4554594 h 5973007"/>
              <a:gd name="connsiteX14942" fmla="*/ 6207885 w 6884782"/>
              <a:gd name="connsiteY14942" fmla="*/ 4553458 h 5973007"/>
              <a:gd name="connsiteX14943" fmla="*/ 6210402 w 6884782"/>
              <a:gd name="connsiteY14943" fmla="*/ 4547585 h 5973007"/>
              <a:gd name="connsiteX14944" fmla="*/ 975034 w 6884782"/>
              <a:gd name="connsiteY14944" fmla="*/ 4547245 h 5973007"/>
              <a:gd name="connsiteX14945" fmla="*/ 976892 w 6884782"/>
              <a:gd name="connsiteY14945" fmla="*/ 4547245 h 5973007"/>
              <a:gd name="connsiteX14946" fmla="*/ 976582 w 6884782"/>
              <a:gd name="connsiteY14946" fmla="*/ 4547968 h 5973007"/>
              <a:gd name="connsiteX14947" fmla="*/ 975188 w 6884782"/>
              <a:gd name="connsiteY14947" fmla="*/ 4547968 h 5973007"/>
              <a:gd name="connsiteX14948" fmla="*/ 975034 w 6884782"/>
              <a:gd name="connsiteY14948" fmla="*/ 4547245 h 5973007"/>
              <a:gd name="connsiteX14949" fmla="*/ 972710 w 6884782"/>
              <a:gd name="connsiteY14949" fmla="*/ 4547038 h 5973007"/>
              <a:gd name="connsiteX14950" fmla="*/ 973949 w 6884782"/>
              <a:gd name="connsiteY14950" fmla="*/ 4547865 h 5973007"/>
              <a:gd name="connsiteX14951" fmla="*/ 974569 w 6884782"/>
              <a:gd name="connsiteY14951" fmla="*/ 4548174 h 5973007"/>
              <a:gd name="connsiteX14952" fmla="*/ 974259 w 6884782"/>
              <a:gd name="connsiteY14952" fmla="*/ 4548277 h 5973007"/>
              <a:gd name="connsiteX14953" fmla="*/ 975808 w 6884782"/>
              <a:gd name="connsiteY14953" fmla="*/ 4550033 h 5973007"/>
              <a:gd name="connsiteX14954" fmla="*/ 977512 w 6884782"/>
              <a:gd name="connsiteY14954" fmla="*/ 4550446 h 5973007"/>
              <a:gd name="connsiteX14955" fmla="*/ 980455 w 6884782"/>
              <a:gd name="connsiteY14955" fmla="*/ 4556744 h 5973007"/>
              <a:gd name="connsiteX14956" fmla="*/ 977202 w 6884782"/>
              <a:gd name="connsiteY14956" fmla="*/ 4553750 h 5973007"/>
              <a:gd name="connsiteX14957" fmla="*/ 975653 w 6884782"/>
              <a:gd name="connsiteY14957" fmla="*/ 4551788 h 5973007"/>
              <a:gd name="connsiteX14958" fmla="*/ 974104 w 6884782"/>
              <a:gd name="connsiteY14958" fmla="*/ 4550652 h 5973007"/>
              <a:gd name="connsiteX14959" fmla="*/ 973175 w 6884782"/>
              <a:gd name="connsiteY14959" fmla="*/ 4549000 h 5973007"/>
              <a:gd name="connsiteX14960" fmla="*/ 973019 w 6884782"/>
              <a:gd name="connsiteY14960" fmla="*/ 4549104 h 5973007"/>
              <a:gd name="connsiteX14961" fmla="*/ 971316 w 6884782"/>
              <a:gd name="connsiteY14961" fmla="*/ 4549413 h 5973007"/>
              <a:gd name="connsiteX14962" fmla="*/ 970386 w 6884782"/>
              <a:gd name="connsiteY14962" fmla="*/ 4548897 h 5973007"/>
              <a:gd name="connsiteX14963" fmla="*/ 969767 w 6884782"/>
              <a:gd name="connsiteY14963" fmla="*/ 4547348 h 5973007"/>
              <a:gd name="connsiteX14964" fmla="*/ 972400 w 6884782"/>
              <a:gd name="connsiteY14964" fmla="*/ 4547348 h 5973007"/>
              <a:gd name="connsiteX14965" fmla="*/ 972710 w 6884782"/>
              <a:gd name="connsiteY14965" fmla="*/ 4547451 h 5973007"/>
              <a:gd name="connsiteX14966" fmla="*/ 1113046 w 6884782"/>
              <a:gd name="connsiteY14966" fmla="*/ 4546315 h 5973007"/>
              <a:gd name="connsiteX14967" fmla="*/ 1113046 w 6884782"/>
              <a:gd name="connsiteY14967" fmla="*/ 4547142 h 5973007"/>
              <a:gd name="connsiteX14968" fmla="*/ 1113820 w 6884782"/>
              <a:gd name="connsiteY14968" fmla="*/ 4550859 h 5973007"/>
              <a:gd name="connsiteX14969" fmla="*/ 1111962 w 6884782"/>
              <a:gd name="connsiteY14969" fmla="*/ 4551272 h 5973007"/>
              <a:gd name="connsiteX14970" fmla="*/ 1109638 w 6884782"/>
              <a:gd name="connsiteY14970" fmla="*/ 4550343 h 5973007"/>
              <a:gd name="connsiteX14971" fmla="*/ 1110413 w 6884782"/>
              <a:gd name="connsiteY14971" fmla="*/ 4546832 h 5973007"/>
              <a:gd name="connsiteX14972" fmla="*/ 1113046 w 6884782"/>
              <a:gd name="connsiteY14972" fmla="*/ 4546315 h 5973007"/>
              <a:gd name="connsiteX14973" fmla="*/ 5737465 w 6884782"/>
              <a:gd name="connsiteY14973" fmla="*/ 4545817 h 5973007"/>
              <a:gd name="connsiteX14974" fmla="*/ 5753265 w 6884782"/>
              <a:gd name="connsiteY14974" fmla="*/ 4550257 h 5973007"/>
              <a:gd name="connsiteX14975" fmla="*/ 5752645 w 6884782"/>
              <a:gd name="connsiteY14975" fmla="*/ 4552116 h 5973007"/>
              <a:gd name="connsiteX14976" fmla="*/ 5750476 w 6884782"/>
              <a:gd name="connsiteY14976" fmla="*/ 4552839 h 5973007"/>
              <a:gd name="connsiteX14977" fmla="*/ 5742267 w 6884782"/>
              <a:gd name="connsiteY14977" fmla="*/ 4550877 h 5973007"/>
              <a:gd name="connsiteX14978" fmla="*/ 5740563 w 6884782"/>
              <a:gd name="connsiteY14978" fmla="*/ 4550154 h 5973007"/>
              <a:gd name="connsiteX14979" fmla="*/ 5738705 w 6884782"/>
              <a:gd name="connsiteY14979" fmla="*/ 4549328 h 5973007"/>
              <a:gd name="connsiteX14980" fmla="*/ 5737465 w 6884782"/>
              <a:gd name="connsiteY14980" fmla="*/ 4545817 h 5973007"/>
              <a:gd name="connsiteX14981" fmla="*/ 813477 w 6884782"/>
              <a:gd name="connsiteY14981" fmla="*/ 4545800 h 5973007"/>
              <a:gd name="connsiteX14982" fmla="*/ 822460 w 6884782"/>
              <a:gd name="connsiteY14982" fmla="*/ 4552408 h 5973007"/>
              <a:gd name="connsiteX14983" fmla="*/ 819672 w 6884782"/>
              <a:gd name="connsiteY14983" fmla="*/ 4555196 h 5973007"/>
              <a:gd name="connsiteX14984" fmla="*/ 820292 w 6884782"/>
              <a:gd name="connsiteY14984" fmla="*/ 4555196 h 5973007"/>
              <a:gd name="connsiteX14985" fmla="*/ 817039 w 6884782"/>
              <a:gd name="connsiteY14985" fmla="*/ 4559533 h 5973007"/>
              <a:gd name="connsiteX14986" fmla="*/ 816729 w 6884782"/>
              <a:gd name="connsiteY14986" fmla="*/ 4560772 h 5973007"/>
              <a:gd name="connsiteX14987" fmla="*/ 815180 w 6884782"/>
              <a:gd name="connsiteY14987" fmla="*/ 4564799 h 5973007"/>
              <a:gd name="connsiteX14988" fmla="*/ 811308 w 6884782"/>
              <a:gd name="connsiteY14988" fmla="*/ 4563353 h 5973007"/>
              <a:gd name="connsiteX14989" fmla="*/ 810533 w 6884782"/>
              <a:gd name="connsiteY14989" fmla="*/ 4563869 h 5973007"/>
              <a:gd name="connsiteX14990" fmla="*/ 799381 w 6884782"/>
              <a:gd name="connsiteY14990" fmla="*/ 4565728 h 5973007"/>
              <a:gd name="connsiteX14991" fmla="*/ 803563 w 6884782"/>
              <a:gd name="connsiteY14991" fmla="*/ 4560152 h 5973007"/>
              <a:gd name="connsiteX14992" fmla="*/ 808055 w 6884782"/>
              <a:gd name="connsiteY14992" fmla="*/ 4557157 h 5973007"/>
              <a:gd name="connsiteX14993" fmla="*/ 807745 w 6884782"/>
              <a:gd name="connsiteY14993" fmla="*/ 4554576 h 5973007"/>
              <a:gd name="connsiteX14994" fmla="*/ 805267 w 6884782"/>
              <a:gd name="connsiteY14994" fmla="*/ 4558397 h 5973007"/>
              <a:gd name="connsiteX14995" fmla="*/ 789312 w 6884782"/>
              <a:gd name="connsiteY14995" fmla="*/ 4564385 h 5973007"/>
              <a:gd name="connsiteX14996" fmla="*/ 796438 w 6884782"/>
              <a:gd name="connsiteY14996" fmla="*/ 4555196 h 5973007"/>
              <a:gd name="connsiteX14997" fmla="*/ 807590 w 6884782"/>
              <a:gd name="connsiteY14997" fmla="*/ 4553027 h 5973007"/>
              <a:gd name="connsiteX14998" fmla="*/ 807590 w 6884782"/>
              <a:gd name="connsiteY14998" fmla="*/ 4550446 h 5973007"/>
              <a:gd name="connsiteX14999" fmla="*/ 811153 w 6884782"/>
              <a:gd name="connsiteY14999" fmla="*/ 4549723 h 5973007"/>
              <a:gd name="connsiteX15000" fmla="*/ 813012 w 6884782"/>
              <a:gd name="connsiteY15000" fmla="*/ 4551066 h 5973007"/>
              <a:gd name="connsiteX15001" fmla="*/ 1505553 w 6884782"/>
              <a:gd name="connsiteY15001" fmla="*/ 4545696 h 5973007"/>
              <a:gd name="connsiteX15002" fmla="*/ 1510665 w 6884782"/>
              <a:gd name="connsiteY15002" fmla="*/ 4551582 h 5973007"/>
              <a:gd name="connsiteX15003" fmla="*/ 1507412 w 6884782"/>
              <a:gd name="connsiteY15003" fmla="*/ 4553131 h 5973007"/>
              <a:gd name="connsiteX15004" fmla="*/ 1501526 w 6884782"/>
              <a:gd name="connsiteY15004" fmla="*/ 4549000 h 5973007"/>
              <a:gd name="connsiteX15005" fmla="*/ 1501371 w 6884782"/>
              <a:gd name="connsiteY15005" fmla="*/ 4546832 h 5973007"/>
              <a:gd name="connsiteX15006" fmla="*/ 1505553 w 6884782"/>
              <a:gd name="connsiteY15006" fmla="*/ 4545696 h 5973007"/>
              <a:gd name="connsiteX15007" fmla="*/ 979061 w 6884782"/>
              <a:gd name="connsiteY15007" fmla="*/ 4545593 h 5973007"/>
              <a:gd name="connsiteX15008" fmla="*/ 980919 w 6884782"/>
              <a:gd name="connsiteY15008" fmla="*/ 4545593 h 5973007"/>
              <a:gd name="connsiteX15009" fmla="*/ 980300 w 6884782"/>
              <a:gd name="connsiteY15009" fmla="*/ 4546625 h 5973007"/>
              <a:gd name="connsiteX15010" fmla="*/ 979061 w 6884782"/>
              <a:gd name="connsiteY15010" fmla="*/ 4545593 h 5973007"/>
              <a:gd name="connsiteX15011" fmla="*/ 6498625 w 6884782"/>
              <a:gd name="connsiteY15011" fmla="*/ 4545507 h 5973007"/>
              <a:gd name="connsiteX15012" fmla="*/ 6494753 w 6884782"/>
              <a:gd name="connsiteY15012" fmla="*/ 4546850 h 5973007"/>
              <a:gd name="connsiteX15013" fmla="*/ 6497386 w 6884782"/>
              <a:gd name="connsiteY15013" fmla="*/ 4547572 h 5973007"/>
              <a:gd name="connsiteX15014" fmla="*/ 6497696 w 6884782"/>
              <a:gd name="connsiteY15014" fmla="*/ 4547366 h 5973007"/>
              <a:gd name="connsiteX15015" fmla="*/ 6497696 w 6884782"/>
              <a:gd name="connsiteY15015" fmla="*/ 4547263 h 5973007"/>
              <a:gd name="connsiteX15016" fmla="*/ 6112934 w 6884782"/>
              <a:gd name="connsiteY15016" fmla="*/ 4544888 h 5973007"/>
              <a:gd name="connsiteX15017" fmla="*/ 6115567 w 6884782"/>
              <a:gd name="connsiteY15017" fmla="*/ 4545817 h 5973007"/>
              <a:gd name="connsiteX15018" fmla="*/ 6116032 w 6884782"/>
              <a:gd name="connsiteY15018" fmla="*/ 4545507 h 5973007"/>
              <a:gd name="connsiteX15019" fmla="*/ 6122382 w 6884782"/>
              <a:gd name="connsiteY15019" fmla="*/ 4550773 h 5973007"/>
              <a:gd name="connsiteX15020" fmla="*/ 6118665 w 6884782"/>
              <a:gd name="connsiteY15020" fmla="*/ 4555213 h 5973007"/>
              <a:gd name="connsiteX15021" fmla="*/ 6118046 w 6884782"/>
              <a:gd name="connsiteY15021" fmla="*/ 4554801 h 5973007"/>
              <a:gd name="connsiteX15022" fmla="*/ 6117581 w 6884782"/>
              <a:gd name="connsiteY15022" fmla="*/ 4555936 h 5973007"/>
              <a:gd name="connsiteX15023" fmla="*/ 6112779 w 6884782"/>
              <a:gd name="connsiteY15023" fmla="*/ 4560376 h 5973007"/>
              <a:gd name="connsiteX15024" fmla="*/ 6112934 w 6884782"/>
              <a:gd name="connsiteY15024" fmla="*/ 4544888 h 5973007"/>
              <a:gd name="connsiteX15025" fmla="*/ 1354685 w 6884782"/>
              <a:gd name="connsiteY15025" fmla="*/ 4543424 h 5973007"/>
              <a:gd name="connsiteX15026" fmla="*/ 1359331 w 6884782"/>
              <a:gd name="connsiteY15026" fmla="*/ 4546935 h 5973007"/>
              <a:gd name="connsiteX15027" fmla="*/ 1361965 w 6884782"/>
              <a:gd name="connsiteY15027" fmla="*/ 4546832 h 5973007"/>
              <a:gd name="connsiteX15028" fmla="*/ 1364907 w 6884782"/>
              <a:gd name="connsiteY15028" fmla="*/ 4551066 h 5973007"/>
              <a:gd name="connsiteX15029" fmla="*/ 1363513 w 6884782"/>
              <a:gd name="connsiteY15029" fmla="*/ 4552717 h 5973007"/>
              <a:gd name="connsiteX15030" fmla="*/ 1361035 w 6884782"/>
              <a:gd name="connsiteY15030" fmla="*/ 4552717 h 5973007"/>
              <a:gd name="connsiteX15031" fmla="*/ 1357472 w 6884782"/>
              <a:gd name="connsiteY15031" fmla="*/ 4546832 h 5973007"/>
              <a:gd name="connsiteX15032" fmla="*/ 1354685 w 6884782"/>
              <a:gd name="connsiteY15032" fmla="*/ 4543424 h 5973007"/>
              <a:gd name="connsiteX15033" fmla="*/ 5785638 w 6884782"/>
              <a:gd name="connsiteY15033" fmla="*/ 4542926 h 5973007"/>
              <a:gd name="connsiteX15034" fmla="*/ 5795087 w 6884782"/>
              <a:gd name="connsiteY15034" fmla="*/ 4547263 h 5973007"/>
              <a:gd name="connsiteX15035" fmla="*/ 5790749 w 6884782"/>
              <a:gd name="connsiteY15035" fmla="*/ 4551393 h 5973007"/>
              <a:gd name="connsiteX15036" fmla="*/ 5785173 w 6884782"/>
              <a:gd name="connsiteY15036" fmla="*/ 4549328 h 5973007"/>
              <a:gd name="connsiteX15037" fmla="*/ 5785638 w 6884782"/>
              <a:gd name="connsiteY15037" fmla="*/ 4542926 h 5973007"/>
              <a:gd name="connsiteX15038" fmla="*/ 994550 w 6884782"/>
              <a:gd name="connsiteY15038" fmla="*/ 4542805 h 5973007"/>
              <a:gd name="connsiteX15039" fmla="*/ 981074 w 6884782"/>
              <a:gd name="connsiteY15039" fmla="*/ 4545696 h 5973007"/>
              <a:gd name="connsiteX15040" fmla="*/ 994550 w 6884782"/>
              <a:gd name="connsiteY15040" fmla="*/ 4542805 h 5973007"/>
              <a:gd name="connsiteX15041" fmla="*/ 771035 w 6884782"/>
              <a:gd name="connsiteY15041" fmla="*/ 4542702 h 5973007"/>
              <a:gd name="connsiteX15042" fmla="*/ 776301 w 6884782"/>
              <a:gd name="connsiteY15042" fmla="*/ 4544560 h 5973007"/>
              <a:gd name="connsiteX15043" fmla="*/ 776766 w 6884782"/>
              <a:gd name="connsiteY15043" fmla="*/ 4544044 h 5973007"/>
              <a:gd name="connsiteX15044" fmla="*/ 782497 w 6884782"/>
              <a:gd name="connsiteY15044" fmla="*/ 4550756 h 5973007"/>
              <a:gd name="connsiteX15045" fmla="*/ 782033 w 6884782"/>
              <a:gd name="connsiteY15045" fmla="*/ 4552821 h 5973007"/>
              <a:gd name="connsiteX15046" fmla="*/ 782188 w 6884782"/>
              <a:gd name="connsiteY15046" fmla="*/ 4553027 h 5973007"/>
              <a:gd name="connsiteX15047" fmla="*/ 778315 w 6884782"/>
              <a:gd name="connsiteY15047" fmla="*/ 4556228 h 5973007"/>
              <a:gd name="connsiteX15048" fmla="*/ 774753 w 6884782"/>
              <a:gd name="connsiteY15048" fmla="*/ 4555712 h 5973007"/>
              <a:gd name="connsiteX15049" fmla="*/ 771809 w 6884782"/>
              <a:gd name="connsiteY15049" fmla="*/ 4554060 h 5973007"/>
              <a:gd name="connsiteX15050" fmla="*/ 770260 w 6884782"/>
              <a:gd name="connsiteY15050" fmla="*/ 4550756 h 5973007"/>
              <a:gd name="connsiteX15051" fmla="*/ 767627 w 6884782"/>
              <a:gd name="connsiteY15051" fmla="*/ 4545696 h 5973007"/>
              <a:gd name="connsiteX15052" fmla="*/ 771035 w 6884782"/>
              <a:gd name="connsiteY15052" fmla="*/ 4542702 h 5973007"/>
              <a:gd name="connsiteX15053" fmla="*/ 1352825 w 6884782"/>
              <a:gd name="connsiteY15053" fmla="*/ 4542495 h 5973007"/>
              <a:gd name="connsiteX15054" fmla="*/ 1354064 w 6884782"/>
              <a:gd name="connsiteY15054" fmla="*/ 4549723 h 5973007"/>
              <a:gd name="connsiteX15055" fmla="*/ 1349108 w 6884782"/>
              <a:gd name="connsiteY15055" fmla="*/ 4548071 h 5973007"/>
              <a:gd name="connsiteX15056" fmla="*/ 1347714 w 6884782"/>
              <a:gd name="connsiteY15056" fmla="*/ 4545180 h 5973007"/>
              <a:gd name="connsiteX15057" fmla="*/ 1349418 w 6884782"/>
              <a:gd name="connsiteY15057" fmla="*/ 4542805 h 5973007"/>
              <a:gd name="connsiteX15058" fmla="*/ 1352825 w 6884782"/>
              <a:gd name="connsiteY15058" fmla="*/ 4542495 h 5973007"/>
              <a:gd name="connsiteX15059" fmla="*/ 1419586 w 6884782"/>
              <a:gd name="connsiteY15059" fmla="*/ 4542185 h 5973007"/>
              <a:gd name="connsiteX15060" fmla="*/ 1422683 w 6884782"/>
              <a:gd name="connsiteY15060" fmla="*/ 4544560 h 5973007"/>
              <a:gd name="connsiteX15061" fmla="*/ 1423613 w 6884782"/>
              <a:gd name="connsiteY15061" fmla="*/ 4543528 h 5973007"/>
              <a:gd name="connsiteX15062" fmla="*/ 1427795 w 6884782"/>
              <a:gd name="connsiteY15062" fmla="*/ 4543528 h 5973007"/>
              <a:gd name="connsiteX15063" fmla="*/ 1423923 w 6884782"/>
              <a:gd name="connsiteY15063" fmla="*/ 4548897 h 5973007"/>
              <a:gd name="connsiteX15064" fmla="*/ 1423768 w 6884782"/>
              <a:gd name="connsiteY15064" fmla="*/ 4548794 h 5973007"/>
              <a:gd name="connsiteX15065" fmla="*/ 1424078 w 6884782"/>
              <a:gd name="connsiteY15065" fmla="*/ 4550549 h 5973007"/>
              <a:gd name="connsiteX15066" fmla="*/ 1425627 w 6884782"/>
              <a:gd name="connsiteY15066" fmla="*/ 4551995 h 5973007"/>
              <a:gd name="connsiteX15067" fmla="*/ 1424852 w 6884782"/>
              <a:gd name="connsiteY15067" fmla="*/ 4554370 h 5973007"/>
              <a:gd name="connsiteX15068" fmla="*/ 1424388 w 6884782"/>
              <a:gd name="connsiteY15068" fmla="*/ 4554679 h 5973007"/>
              <a:gd name="connsiteX15069" fmla="*/ 1423304 w 6884782"/>
              <a:gd name="connsiteY15069" fmla="*/ 4556951 h 5973007"/>
              <a:gd name="connsiteX15070" fmla="*/ 1420670 w 6884782"/>
              <a:gd name="connsiteY15070" fmla="*/ 4554060 h 5973007"/>
              <a:gd name="connsiteX15071" fmla="*/ 1420360 w 6884782"/>
              <a:gd name="connsiteY15071" fmla="*/ 4550033 h 5973007"/>
              <a:gd name="connsiteX15072" fmla="*/ 1420360 w 6884782"/>
              <a:gd name="connsiteY15072" fmla="*/ 4547968 h 5973007"/>
              <a:gd name="connsiteX15073" fmla="*/ 1420205 w 6884782"/>
              <a:gd name="connsiteY15073" fmla="*/ 4547658 h 5973007"/>
              <a:gd name="connsiteX15074" fmla="*/ 1419121 w 6884782"/>
              <a:gd name="connsiteY15074" fmla="*/ 4546006 h 5973007"/>
              <a:gd name="connsiteX15075" fmla="*/ 1419121 w 6884782"/>
              <a:gd name="connsiteY15075" fmla="*/ 4545800 h 5973007"/>
              <a:gd name="connsiteX15076" fmla="*/ 1419276 w 6884782"/>
              <a:gd name="connsiteY15076" fmla="*/ 4545490 h 5973007"/>
              <a:gd name="connsiteX15077" fmla="*/ 1418811 w 6884782"/>
              <a:gd name="connsiteY15077" fmla="*/ 4544560 h 5973007"/>
              <a:gd name="connsiteX15078" fmla="*/ 1419586 w 6884782"/>
              <a:gd name="connsiteY15078" fmla="*/ 4542185 h 5973007"/>
              <a:gd name="connsiteX15079" fmla="*/ 5865565 w 6884782"/>
              <a:gd name="connsiteY15079" fmla="*/ 4541997 h 5973007"/>
              <a:gd name="connsiteX15080" fmla="*/ 5877646 w 6884782"/>
              <a:gd name="connsiteY15080" fmla="*/ 4546437 h 5973007"/>
              <a:gd name="connsiteX15081" fmla="*/ 5875168 w 6884782"/>
              <a:gd name="connsiteY15081" fmla="*/ 4546746 h 5973007"/>
              <a:gd name="connsiteX15082" fmla="*/ 5865565 w 6884782"/>
              <a:gd name="connsiteY15082" fmla="*/ 4541997 h 5973007"/>
              <a:gd name="connsiteX15083" fmla="*/ 686462 w 6884782"/>
              <a:gd name="connsiteY15083" fmla="*/ 4541979 h 5973007"/>
              <a:gd name="connsiteX15084" fmla="*/ 690644 w 6884782"/>
              <a:gd name="connsiteY15084" fmla="*/ 4543528 h 5973007"/>
              <a:gd name="connsiteX15085" fmla="*/ 691264 w 6884782"/>
              <a:gd name="connsiteY15085" fmla="*/ 4546212 h 5973007"/>
              <a:gd name="connsiteX15086" fmla="*/ 690179 w 6884782"/>
              <a:gd name="connsiteY15086" fmla="*/ 4547142 h 5973007"/>
              <a:gd name="connsiteX15087" fmla="*/ 688630 w 6884782"/>
              <a:gd name="connsiteY15087" fmla="*/ 4546625 h 5973007"/>
              <a:gd name="connsiteX15088" fmla="*/ 686307 w 6884782"/>
              <a:gd name="connsiteY15088" fmla="*/ 4545386 h 5973007"/>
              <a:gd name="connsiteX15089" fmla="*/ 685997 w 6884782"/>
              <a:gd name="connsiteY15089" fmla="*/ 4543941 h 5973007"/>
              <a:gd name="connsiteX15090" fmla="*/ 686462 w 6884782"/>
              <a:gd name="connsiteY15090" fmla="*/ 4541979 h 5973007"/>
              <a:gd name="connsiteX15091" fmla="*/ 1522747 w 6884782"/>
              <a:gd name="connsiteY15091" fmla="*/ 4541772 h 5973007"/>
              <a:gd name="connsiteX15092" fmla="*/ 1526619 w 6884782"/>
              <a:gd name="connsiteY15092" fmla="*/ 4543941 h 5973007"/>
              <a:gd name="connsiteX15093" fmla="*/ 1527394 w 6884782"/>
              <a:gd name="connsiteY15093" fmla="*/ 4547555 h 5973007"/>
              <a:gd name="connsiteX15094" fmla="*/ 1525686 w 6884782"/>
              <a:gd name="connsiteY15094" fmla="*/ 4550237 h 5973007"/>
              <a:gd name="connsiteX15095" fmla="*/ 1524140 w 6884782"/>
              <a:gd name="connsiteY15095" fmla="*/ 4549310 h 5973007"/>
              <a:gd name="connsiteX15096" fmla="*/ 1523676 w 6884782"/>
              <a:gd name="connsiteY15096" fmla="*/ 4550033 h 5973007"/>
              <a:gd name="connsiteX15097" fmla="*/ 1522592 w 6884782"/>
              <a:gd name="connsiteY15097" fmla="*/ 4548484 h 5973007"/>
              <a:gd name="connsiteX15098" fmla="*/ 1522747 w 6884782"/>
              <a:gd name="connsiteY15098" fmla="*/ 4541772 h 5973007"/>
              <a:gd name="connsiteX15099" fmla="*/ 5773343 w 6884782"/>
              <a:gd name="connsiteY15099" fmla="*/ 4541196 h 5973007"/>
              <a:gd name="connsiteX15100" fmla="*/ 5780216 w 6884782"/>
              <a:gd name="connsiteY15100" fmla="*/ 4548502 h 5973007"/>
              <a:gd name="connsiteX15101" fmla="*/ 5778513 w 6884782"/>
              <a:gd name="connsiteY15101" fmla="*/ 4552735 h 5973007"/>
              <a:gd name="connsiteX15102" fmla="*/ 5773401 w 6884782"/>
              <a:gd name="connsiteY15102" fmla="*/ 4553148 h 5973007"/>
              <a:gd name="connsiteX15103" fmla="*/ 5769219 w 6884782"/>
              <a:gd name="connsiteY15103" fmla="*/ 4553252 h 5973007"/>
              <a:gd name="connsiteX15104" fmla="*/ 5760545 w 6884782"/>
              <a:gd name="connsiteY15104" fmla="*/ 4545817 h 5973007"/>
              <a:gd name="connsiteX15105" fmla="*/ 5773343 w 6884782"/>
              <a:gd name="connsiteY15105" fmla="*/ 4541196 h 5973007"/>
              <a:gd name="connsiteX15106" fmla="*/ 6468731 w 6884782"/>
              <a:gd name="connsiteY15106" fmla="*/ 4541067 h 5973007"/>
              <a:gd name="connsiteX15107" fmla="*/ 6466872 w 6884782"/>
              <a:gd name="connsiteY15107" fmla="*/ 4541790 h 5973007"/>
              <a:gd name="connsiteX15108" fmla="*/ 6466252 w 6884782"/>
              <a:gd name="connsiteY15108" fmla="*/ 4546437 h 5973007"/>
              <a:gd name="connsiteX15109" fmla="*/ 6461141 w 6884782"/>
              <a:gd name="connsiteY15109" fmla="*/ 4550773 h 5973007"/>
              <a:gd name="connsiteX15110" fmla="*/ 6459902 w 6884782"/>
              <a:gd name="connsiteY15110" fmla="*/ 4545507 h 5973007"/>
              <a:gd name="connsiteX15111" fmla="*/ 6460676 w 6884782"/>
              <a:gd name="connsiteY15111" fmla="*/ 4542203 h 5973007"/>
              <a:gd name="connsiteX15112" fmla="*/ 6460366 w 6884782"/>
              <a:gd name="connsiteY15112" fmla="*/ 4542203 h 5973007"/>
              <a:gd name="connsiteX15113" fmla="*/ 6458043 w 6884782"/>
              <a:gd name="connsiteY15113" fmla="*/ 4542513 h 5973007"/>
              <a:gd name="connsiteX15114" fmla="*/ 6458972 w 6884782"/>
              <a:gd name="connsiteY15114" fmla="*/ 4542823 h 5973007"/>
              <a:gd name="connsiteX15115" fmla="*/ 6454170 w 6884782"/>
              <a:gd name="connsiteY15115" fmla="*/ 4547056 h 5973007"/>
              <a:gd name="connsiteX15116" fmla="*/ 6457733 w 6884782"/>
              <a:gd name="connsiteY15116" fmla="*/ 4548502 h 5973007"/>
              <a:gd name="connsiteX15117" fmla="*/ 6459747 w 6884782"/>
              <a:gd name="connsiteY15117" fmla="*/ 4550980 h 5973007"/>
              <a:gd name="connsiteX15118" fmla="*/ 6456339 w 6884782"/>
              <a:gd name="connsiteY15118" fmla="*/ 4553252 h 5973007"/>
              <a:gd name="connsiteX15119" fmla="*/ 6452931 w 6884782"/>
              <a:gd name="connsiteY15119" fmla="*/ 4551909 h 5973007"/>
              <a:gd name="connsiteX15120" fmla="*/ 6451537 w 6884782"/>
              <a:gd name="connsiteY15120" fmla="*/ 4549328 h 5973007"/>
              <a:gd name="connsiteX15121" fmla="*/ 6449678 w 6884782"/>
              <a:gd name="connsiteY15121" fmla="*/ 4551083 h 5973007"/>
              <a:gd name="connsiteX15122" fmla="*/ 6440695 w 6884782"/>
              <a:gd name="connsiteY15122" fmla="*/ 4558001 h 5973007"/>
              <a:gd name="connsiteX15123" fmla="*/ 6434963 w 6884782"/>
              <a:gd name="connsiteY15123" fmla="*/ 4561719 h 5973007"/>
              <a:gd name="connsiteX15124" fmla="*/ 6436048 w 6884782"/>
              <a:gd name="connsiteY15124" fmla="*/ 4561822 h 5973007"/>
              <a:gd name="connsiteX15125" fmla="*/ 6447510 w 6884782"/>
              <a:gd name="connsiteY15125" fmla="*/ 4560067 h 5973007"/>
              <a:gd name="connsiteX15126" fmla="*/ 6477715 w 6884782"/>
              <a:gd name="connsiteY15126" fmla="*/ 4560376 h 5973007"/>
              <a:gd name="connsiteX15127" fmla="*/ 6484530 w 6884782"/>
              <a:gd name="connsiteY15127" fmla="*/ 4558828 h 5973007"/>
              <a:gd name="connsiteX15128" fmla="*/ 6484840 w 6884782"/>
              <a:gd name="connsiteY15128" fmla="*/ 4558621 h 5973007"/>
              <a:gd name="connsiteX15129" fmla="*/ 6492895 w 6884782"/>
              <a:gd name="connsiteY15129" fmla="*/ 4551600 h 5973007"/>
              <a:gd name="connsiteX15130" fmla="*/ 6490881 w 6884782"/>
              <a:gd name="connsiteY15130" fmla="*/ 4551703 h 5973007"/>
              <a:gd name="connsiteX15131" fmla="*/ 6487783 w 6884782"/>
              <a:gd name="connsiteY15131" fmla="*/ 4544991 h 5973007"/>
              <a:gd name="connsiteX15132" fmla="*/ 6487628 w 6884782"/>
              <a:gd name="connsiteY15132" fmla="*/ 4544991 h 5973007"/>
              <a:gd name="connsiteX15133" fmla="*/ 6484530 w 6884782"/>
              <a:gd name="connsiteY15133" fmla="*/ 4549844 h 5973007"/>
              <a:gd name="connsiteX15134" fmla="*/ 6478954 w 6884782"/>
              <a:gd name="connsiteY15134" fmla="*/ 4552116 h 5973007"/>
              <a:gd name="connsiteX15135" fmla="*/ 6478334 w 6884782"/>
              <a:gd name="connsiteY15135" fmla="*/ 4552322 h 5973007"/>
              <a:gd name="connsiteX15136" fmla="*/ 6477560 w 6884782"/>
              <a:gd name="connsiteY15136" fmla="*/ 4553045 h 5973007"/>
              <a:gd name="connsiteX15137" fmla="*/ 6477715 w 6884782"/>
              <a:gd name="connsiteY15137" fmla="*/ 4553355 h 5973007"/>
              <a:gd name="connsiteX15138" fmla="*/ 6477405 w 6884782"/>
              <a:gd name="connsiteY15138" fmla="*/ 4553252 h 5973007"/>
              <a:gd name="connsiteX15139" fmla="*/ 6475856 w 6884782"/>
              <a:gd name="connsiteY15139" fmla="*/ 4554697 h 5973007"/>
              <a:gd name="connsiteX15140" fmla="*/ 6474772 w 6884782"/>
              <a:gd name="connsiteY15140" fmla="*/ 4553458 h 5973007"/>
              <a:gd name="connsiteX15141" fmla="*/ 6472138 w 6884782"/>
              <a:gd name="connsiteY15141" fmla="*/ 4553148 h 5973007"/>
              <a:gd name="connsiteX15142" fmla="*/ 6471209 w 6884782"/>
              <a:gd name="connsiteY15142" fmla="*/ 4551083 h 5973007"/>
              <a:gd name="connsiteX15143" fmla="*/ 6473068 w 6884782"/>
              <a:gd name="connsiteY15143" fmla="*/ 4546643 h 5973007"/>
              <a:gd name="connsiteX15144" fmla="*/ 6468886 w 6884782"/>
              <a:gd name="connsiteY15144" fmla="*/ 4541274 h 5973007"/>
              <a:gd name="connsiteX15145" fmla="*/ 5950757 w 6884782"/>
              <a:gd name="connsiteY15145" fmla="*/ 4539518 h 5973007"/>
              <a:gd name="connsiteX15146" fmla="*/ 5946265 w 6884782"/>
              <a:gd name="connsiteY15146" fmla="*/ 4543339 h 5973007"/>
              <a:gd name="connsiteX15147" fmla="*/ 5945646 w 6884782"/>
              <a:gd name="connsiteY15147" fmla="*/ 4545920 h 5973007"/>
              <a:gd name="connsiteX15148" fmla="*/ 5940844 w 6884782"/>
              <a:gd name="connsiteY15148" fmla="*/ 4547882 h 5973007"/>
              <a:gd name="connsiteX15149" fmla="*/ 5940224 w 6884782"/>
              <a:gd name="connsiteY15149" fmla="*/ 4543649 h 5973007"/>
              <a:gd name="connsiteX15150" fmla="*/ 5946730 w 6884782"/>
              <a:gd name="connsiteY15150" fmla="*/ 4541480 h 5973007"/>
              <a:gd name="connsiteX15151" fmla="*/ 5950757 w 6884782"/>
              <a:gd name="connsiteY15151" fmla="*/ 4539518 h 5973007"/>
              <a:gd name="connsiteX15152" fmla="*/ 1007561 w 6884782"/>
              <a:gd name="connsiteY15152" fmla="*/ 4539294 h 5973007"/>
              <a:gd name="connsiteX15153" fmla="*/ 1001366 w 6884782"/>
              <a:gd name="connsiteY15153" fmla="*/ 4541876 h 5973007"/>
              <a:gd name="connsiteX15154" fmla="*/ 1000282 w 6884782"/>
              <a:gd name="connsiteY15154" fmla="*/ 4541463 h 5973007"/>
              <a:gd name="connsiteX15155" fmla="*/ 1007561 w 6884782"/>
              <a:gd name="connsiteY15155" fmla="*/ 4539294 h 5973007"/>
              <a:gd name="connsiteX15156" fmla="*/ 1802025 w 6884782"/>
              <a:gd name="connsiteY15156" fmla="*/ 4539191 h 5973007"/>
              <a:gd name="connsiteX15157" fmla="*/ 1798307 w 6884782"/>
              <a:gd name="connsiteY15157" fmla="*/ 4543941 h 5973007"/>
              <a:gd name="connsiteX15158" fmla="*/ 1798152 w 6884782"/>
              <a:gd name="connsiteY15158" fmla="*/ 4542495 h 5973007"/>
              <a:gd name="connsiteX15159" fmla="*/ 1799392 w 6884782"/>
              <a:gd name="connsiteY15159" fmla="*/ 4541463 h 5973007"/>
              <a:gd name="connsiteX15160" fmla="*/ 1802025 w 6884782"/>
              <a:gd name="connsiteY15160" fmla="*/ 4539191 h 5973007"/>
              <a:gd name="connsiteX15161" fmla="*/ 6467027 w 6884782"/>
              <a:gd name="connsiteY15161" fmla="*/ 4539105 h 5973007"/>
              <a:gd name="connsiteX15162" fmla="*/ 6466872 w 6884782"/>
              <a:gd name="connsiteY15162" fmla="*/ 4539209 h 5973007"/>
              <a:gd name="connsiteX15163" fmla="*/ 6467027 w 6884782"/>
              <a:gd name="connsiteY15163" fmla="*/ 4539828 h 5973007"/>
              <a:gd name="connsiteX15164" fmla="*/ 6467027 w 6884782"/>
              <a:gd name="connsiteY15164" fmla="*/ 4540035 h 5973007"/>
              <a:gd name="connsiteX15165" fmla="*/ 6467956 w 6884782"/>
              <a:gd name="connsiteY15165" fmla="*/ 4540035 h 5973007"/>
              <a:gd name="connsiteX15166" fmla="*/ 1629780 w 6884782"/>
              <a:gd name="connsiteY15166" fmla="*/ 4538984 h 5973007"/>
              <a:gd name="connsiteX15167" fmla="*/ 1628541 w 6884782"/>
              <a:gd name="connsiteY15167" fmla="*/ 4544664 h 5973007"/>
              <a:gd name="connsiteX15168" fmla="*/ 1621416 w 6884782"/>
              <a:gd name="connsiteY15168" fmla="*/ 4548174 h 5973007"/>
              <a:gd name="connsiteX15169" fmla="*/ 1619712 w 6884782"/>
              <a:gd name="connsiteY15169" fmla="*/ 4546935 h 5973007"/>
              <a:gd name="connsiteX15170" fmla="*/ 1620332 w 6884782"/>
              <a:gd name="connsiteY15170" fmla="*/ 4544147 h 5973007"/>
              <a:gd name="connsiteX15171" fmla="*/ 1624514 w 6884782"/>
              <a:gd name="connsiteY15171" fmla="*/ 4540533 h 5973007"/>
              <a:gd name="connsiteX15172" fmla="*/ 1629780 w 6884782"/>
              <a:gd name="connsiteY15172" fmla="*/ 4538984 h 5973007"/>
              <a:gd name="connsiteX15173" fmla="*/ 5822039 w 6884782"/>
              <a:gd name="connsiteY15173" fmla="*/ 4537970 h 5973007"/>
              <a:gd name="connsiteX15174" fmla="*/ 5831487 w 6884782"/>
              <a:gd name="connsiteY15174" fmla="*/ 4560376 h 5973007"/>
              <a:gd name="connsiteX15175" fmla="*/ 5826376 w 6884782"/>
              <a:gd name="connsiteY15175" fmla="*/ 4566159 h 5973007"/>
              <a:gd name="connsiteX15176" fmla="*/ 5815533 w 6884782"/>
              <a:gd name="connsiteY15176" fmla="*/ 4542823 h 5973007"/>
              <a:gd name="connsiteX15177" fmla="*/ 5822039 w 6884782"/>
              <a:gd name="connsiteY15177" fmla="*/ 4537970 h 5973007"/>
              <a:gd name="connsiteX15178" fmla="*/ 866606 w 6884782"/>
              <a:gd name="connsiteY15178" fmla="*/ 4537848 h 5973007"/>
              <a:gd name="connsiteX15179" fmla="*/ 861649 w 6884782"/>
              <a:gd name="connsiteY15179" fmla="*/ 4541153 h 5973007"/>
              <a:gd name="connsiteX15180" fmla="*/ 860875 w 6884782"/>
              <a:gd name="connsiteY15180" fmla="*/ 4543631 h 5973007"/>
              <a:gd name="connsiteX15181" fmla="*/ 859325 w 6884782"/>
              <a:gd name="connsiteY15181" fmla="*/ 4544250 h 5973007"/>
              <a:gd name="connsiteX15182" fmla="*/ 859636 w 6884782"/>
              <a:gd name="connsiteY15182" fmla="*/ 4545386 h 5973007"/>
              <a:gd name="connsiteX15183" fmla="*/ 860875 w 6884782"/>
              <a:gd name="connsiteY15183" fmla="*/ 4547761 h 5973007"/>
              <a:gd name="connsiteX15184" fmla="*/ 854679 w 6884782"/>
              <a:gd name="connsiteY15184" fmla="*/ 4549826 h 5973007"/>
              <a:gd name="connsiteX15185" fmla="*/ 852046 w 6884782"/>
              <a:gd name="connsiteY15185" fmla="*/ 4550239 h 5973007"/>
              <a:gd name="connsiteX15186" fmla="*/ 852046 w 6884782"/>
              <a:gd name="connsiteY15186" fmla="*/ 4550549 h 5973007"/>
              <a:gd name="connsiteX15187" fmla="*/ 849567 w 6884782"/>
              <a:gd name="connsiteY15187" fmla="*/ 4555196 h 5973007"/>
              <a:gd name="connsiteX15188" fmla="*/ 848174 w 6884782"/>
              <a:gd name="connsiteY15188" fmla="*/ 4556125 h 5973007"/>
              <a:gd name="connsiteX15189" fmla="*/ 846314 w 6884782"/>
              <a:gd name="connsiteY15189" fmla="*/ 4566141 h 5973007"/>
              <a:gd name="connsiteX15190" fmla="*/ 839035 w 6884782"/>
              <a:gd name="connsiteY15190" fmla="*/ 4564076 h 5973007"/>
              <a:gd name="connsiteX15191" fmla="*/ 839190 w 6884782"/>
              <a:gd name="connsiteY15191" fmla="*/ 4558087 h 5973007"/>
              <a:gd name="connsiteX15192" fmla="*/ 834543 w 6884782"/>
              <a:gd name="connsiteY15192" fmla="*/ 4554886 h 5973007"/>
              <a:gd name="connsiteX15193" fmla="*/ 848793 w 6884782"/>
              <a:gd name="connsiteY15193" fmla="*/ 4542908 h 5973007"/>
              <a:gd name="connsiteX15194" fmla="*/ 850497 w 6884782"/>
              <a:gd name="connsiteY15194" fmla="*/ 4545283 h 5973007"/>
              <a:gd name="connsiteX15195" fmla="*/ 851426 w 6884782"/>
              <a:gd name="connsiteY15195" fmla="*/ 4544767 h 5973007"/>
              <a:gd name="connsiteX15196" fmla="*/ 855144 w 6884782"/>
              <a:gd name="connsiteY15196" fmla="*/ 4543631 h 5973007"/>
              <a:gd name="connsiteX15197" fmla="*/ 854834 w 6884782"/>
              <a:gd name="connsiteY15197" fmla="*/ 4543218 h 5973007"/>
              <a:gd name="connsiteX15198" fmla="*/ 855763 w 6884782"/>
              <a:gd name="connsiteY15198" fmla="*/ 4540843 h 5973007"/>
              <a:gd name="connsiteX15199" fmla="*/ 862424 w 6884782"/>
              <a:gd name="connsiteY15199" fmla="*/ 4539398 h 5973007"/>
              <a:gd name="connsiteX15200" fmla="*/ 866606 w 6884782"/>
              <a:gd name="connsiteY15200" fmla="*/ 4537848 h 5973007"/>
              <a:gd name="connsiteX15201" fmla="*/ 891854 w 6884782"/>
              <a:gd name="connsiteY15201" fmla="*/ 4537745 h 5973007"/>
              <a:gd name="connsiteX15202" fmla="*/ 894642 w 6884782"/>
              <a:gd name="connsiteY15202" fmla="*/ 4544767 h 5973007"/>
              <a:gd name="connsiteX15203" fmla="*/ 892474 w 6884782"/>
              <a:gd name="connsiteY15203" fmla="*/ 4546625 h 5973007"/>
              <a:gd name="connsiteX15204" fmla="*/ 887826 w 6884782"/>
              <a:gd name="connsiteY15204" fmla="*/ 4543321 h 5973007"/>
              <a:gd name="connsiteX15205" fmla="*/ 888291 w 6884782"/>
              <a:gd name="connsiteY15205" fmla="*/ 4540430 h 5973007"/>
              <a:gd name="connsiteX15206" fmla="*/ 891854 w 6884782"/>
              <a:gd name="connsiteY15206" fmla="*/ 4537745 h 5973007"/>
              <a:gd name="connsiteX15207" fmla="*/ 806971 w 6884782"/>
              <a:gd name="connsiteY15207" fmla="*/ 4537229 h 5973007"/>
              <a:gd name="connsiteX15208" fmla="*/ 805732 w 6884782"/>
              <a:gd name="connsiteY15208" fmla="*/ 4541463 h 5973007"/>
              <a:gd name="connsiteX15209" fmla="*/ 804182 w 6884782"/>
              <a:gd name="connsiteY15209" fmla="*/ 4537745 h 5973007"/>
              <a:gd name="connsiteX15210" fmla="*/ 806971 w 6884782"/>
              <a:gd name="connsiteY15210" fmla="*/ 4537229 h 5973007"/>
              <a:gd name="connsiteX15211" fmla="*/ 5846202 w 6884782"/>
              <a:gd name="connsiteY15211" fmla="*/ 4537040 h 5973007"/>
              <a:gd name="connsiteX15212" fmla="*/ 5848371 w 6884782"/>
              <a:gd name="connsiteY15212" fmla="*/ 4540448 h 5973007"/>
              <a:gd name="connsiteX15213" fmla="*/ 5843569 w 6884782"/>
              <a:gd name="connsiteY15213" fmla="*/ 4542513 h 5973007"/>
              <a:gd name="connsiteX15214" fmla="*/ 5841555 w 6884782"/>
              <a:gd name="connsiteY15214" fmla="*/ 4539105 h 5973007"/>
              <a:gd name="connsiteX15215" fmla="*/ 5846202 w 6884782"/>
              <a:gd name="connsiteY15215" fmla="*/ 4537040 h 5973007"/>
              <a:gd name="connsiteX15216" fmla="*/ 1159205 w 6884782"/>
              <a:gd name="connsiteY15216" fmla="*/ 4536609 h 5973007"/>
              <a:gd name="connsiteX15217" fmla="*/ 1159824 w 6884782"/>
              <a:gd name="connsiteY15217" fmla="*/ 4536816 h 5973007"/>
              <a:gd name="connsiteX15218" fmla="*/ 1160599 w 6884782"/>
              <a:gd name="connsiteY15218" fmla="*/ 4537745 h 5973007"/>
              <a:gd name="connsiteX15219" fmla="*/ 1163232 w 6884782"/>
              <a:gd name="connsiteY15219" fmla="*/ 4537022 h 5973007"/>
              <a:gd name="connsiteX15220" fmla="*/ 1162613 w 6884782"/>
              <a:gd name="connsiteY15220" fmla="*/ 4547968 h 5973007"/>
              <a:gd name="connsiteX15221" fmla="*/ 1161374 w 6884782"/>
              <a:gd name="connsiteY15221" fmla="*/ 4548587 h 5973007"/>
              <a:gd name="connsiteX15222" fmla="*/ 1161993 w 6884782"/>
              <a:gd name="connsiteY15222" fmla="*/ 4550549 h 5973007"/>
              <a:gd name="connsiteX15223" fmla="*/ 1163697 w 6884782"/>
              <a:gd name="connsiteY15223" fmla="*/ 4552098 h 5973007"/>
              <a:gd name="connsiteX15224" fmla="*/ 1163387 w 6884782"/>
              <a:gd name="connsiteY15224" fmla="*/ 4554473 h 5973007"/>
              <a:gd name="connsiteX15225" fmla="*/ 1162767 w 6884782"/>
              <a:gd name="connsiteY15225" fmla="*/ 4554886 h 5973007"/>
              <a:gd name="connsiteX15226" fmla="*/ 1161064 w 6884782"/>
              <a:gd name="connsiteY15226" fmla="*/ 4553647 h 5973007"/>
              <a:gd name="connsiteX15227" fmla="*/ 1158431 w 6884782"/>
              <a:gd name="connsiteY15227" fmla="*/ 4549207 h 5973007"/>
              <a:gd name="connsiteX15228" fmla="*/ 1158275 w 6884782"/>
              <a:gd name="connsiteY15228" fmla="*/ 4549000 h 5973007"/>
              <a:gd name="connsiteX15229" fmla="*/ 1155177 w 6884782"/>
              <a:gd name="connsiteY15229" fmla="*/ 4545490 h 5973007"/>
              <a:gd name="connsiteX15230" fmla="*/ 1155798 w 6884782"/>
              <a:gd name="connsiteY15230" fmla="*/ 4541359 h 5973007"/>
              <a:gd name="connsiteX15231" fmla="*/ 1159050 w 6884782"/>
              <a:gd name="connsiteY15231" fmla="*/ 4538158 h 5973007"/>
              <a:gd name="connsiteX15232" fmla="*/ 1158741 w 6884782"/>
              <a:gd name="connsiteY15232" fmla="*/ 4537952 h 5973007"/>
              <a:gd name="connsiteX15233" fmla="*/ 1159205 w 6884782"/>
              <a:gd name="connsiteY15233" fmla="*/ 4536609 h 5973007"/>
              <a:gd name="connsiteX15234" fmla="*/ 971471 w 6884782"/>
              <a:gd name="connsiteY15234" fmla="*/ 4536403 h 5973007"/>
              <a:gd name="connsiteX15235" fmla="*/ 972555 w 6884782"/>
              <a:gd name="connsiteY15235" fmla="*/ 4536713 h 5973007"/>
              <a:gd name="connsiteX15236" fmla="*/ 980455 w 6884782"/>
              <a:gd name="connsiteY15236" fmla="*/ 4542495 h 5973007"/>
              <a:gd name="connsiteX15237" fmla="*/ 976272 w 6884782"/>
              <a:gd name="connsiteY15237" fmla="*/ 4546729 h 5973007"/>
              <a:gd name="connsiteX15238" fmla="*/ 973794 w 6884782"/>
              <a:gd name="connsiteY15238" fmla="*/ 4546729 h 5973007"/>
              <a:gd name="connsiteX15239" fmla="*/ 965894 w 6884782"/>
              <a:gd name="connsiteY15239" fmla="*/ 4542805 h 5973007"/>
              <a:gd name="connsiteX15240" fmla="*/ 971471 w 6884782"/>
              <a:gd name="connsiteY15240" fmla="*/ 4536403 h 5973007"/>
              <a:gd name="connsiteX15241" fmla="*/ 6043231 w 6884782"/>
              <a:gd name="connsiteY15241" fmla="*/ 4536317 h 5973007"/>
              <a:gd name="connsiteX15242" fmla="*/ 6060269 w 6884782"/>
              <a:gd name="connsiteY15242" fmla="*/ 4537867 h 5973007"/>
              <a:gd name="connsiteX15243" fmla="*/ 6073745 w 6884782"/>
              <a:gd name="connsiteY15243" fmla="*/ 4563268 h 5973007"/>
              <a:gd name="connsiteX15244" fmla="*/ 6071886 w 6884782"/>
              <a:gd name="connsiteY15244" fmla="*/ 4564919 h 5973007"/>
              <a:gd name="connsiteX15245" fmla="*/ 6066310 w 6884782"/>
              <a:gd name="connsiteY15245" fmla="*/ 4565539 h 5973007"/>
              <a:gd name="connsiteX15246" fmla="*/ 6043231 w 6884782"/>
              <a:gd name="connsiteY15246" fmla="*/ 4536317 h 5973007"/>
              <a:gd name="connsiteX15247" fmla="*/ 1030331 w 6884782"/>
              <a:gd name="connsiteY15247" fmla="*/ 4536300 h 5973007"/>
              <a:gd name="connsiteX15248" fmla="*/ 1033739 w 6884782"/>
              <a:gd name="connsiteY15248" fmla="*/ 4538571 h 5973007"/>
              <a:gd name="connsiteX15249" fmla="*/ 1034513 w 6884782"/>
              <a:gd name="connsiteY15249" fmla="*/ 4543424 h 5973007"/>
              <a:gd name="connsiteX15250" fmla="*/ 1036217 w 6884782"/>
              <a:gd name="connsiteY15250" fmla="*/ 4545490 h 5973007"/>
              <a:gd name="connsiteX15251" fmla="*/ 1035752 w 6884782"/>
              <a:gd name="connsiteY15251" fmla="*/ 4546212 h 5973007"/>
              <a:gd name="connsiteX15252" fmla="*/ 1028317 w 6884782"/>
              <a:gd name="connsiteY15252" fmla="*/ 4539398 h 5973007"/>
              <a:gd name="connsiteX15253" fmla="*/ 1028317 w 6884782"/>
              <a:gd name="connsiteY15253" fmla="*/ 4537642 h 5973007"/>
              <a:gd name="connsiteX15254" fmla="*/ 1030331 w 6884782"/>
              <a:gd name="connsiteY15254" fmla="*/ 4536300 h 5973007"/>
              <a:gd name="connsiteX15255" fmla="*/ 6486079 w 6884782"/>
              <a:gd name="connsiteY15255" fmla="*/ 4536111 h 5973007"/>
              <a:gd name="connsiteX15256" fmla="*/ 6482981 w 6884782"/>
              <a:gd name="connsiteY15256" fmla="*/ 4536214 h 5973007"/>
              <a:gd name="connsiteX15257" fmla="*/ 6484375 w 6884782"/>
              <a:gd name="connsiteY15257" fmla="*/ 4540241 h 5973007"/>
              <a:gd name="connsiteX15258" fmla="*/ 6483601 w 6884782"/>
              <a:gd name="connsiteY15258" fmla="*/ 4540654 h 5973007"/>
              <a:gd name="connsiteX15259" fmla="*/ 6485614 w 6884782"/>
              <a:gd name="connsiteY15259" fmla="*/ 4542203 h 5973007"/>
              <a:gd name="connsiteX15260" fmla="*/ 6486699 w 6884782"/>
              <a:gd name="connsiteY15260" fmla="*/ 4542616 h 5973007"/>
              <a:gd name="connsiteX15261" fmla="*/ 6487163 w 6884782"/>
              <a:gd name="connsiteY15261" fmla="*/ 4542306 h 5973007"/>
              <a:gd name="connsiteX15262" fmla="*/ 6493669 w 6884782"/>
              <a:gd name="connsiteY15262" fmla="*/ 4539725 h 5973007"/>
              <a:gd name="connsiteX15263" fmla="*/ 6492120 w 6884782"/>
              <a:gd name="connsiteY15263" fmla="*/ 4537867 h 5973007"/>
              <a:gd name="connsiteX15264" fmla="*/ 6490881 w 6884782"/>
              <a:gd name="connsiteY15264" fmla="*/ 4537867 h 5973007"/>
              <a:gd name="connsiteX15265" fmla="*/ 6490881 w 6884782"/>
              <a:gd name="connsiteY15265" fmla="*/ 4538073 h 5973007"/>
              <a:gd name="connsiteX15266" fmla="*/ 6487318 w 6884782"/>
              <a:gd name="connsiteY15266" fmla="*/ 4537247 h 5973007"/>
              <a:gd name="connsiteX15267" fmla="*/ 913849 w 6884782"/>
              <a:gd name="connsiteY15267" fmla="*/ 4535267 h 5973007"/>
              <a:gd name="connsiteX15268" fmla="*/ 911216 w 6884782"/>
              <a:gd name="connsiteY15268" fmla="*/ 4539294 h 5973007"/>
              <a:gd name="connsiteX15269" fmla="*/ 907189 w 6884782"/>
              <a:gd name="connsiteY15269" fmla="*/ 4537539 h 5973007"/>
              <a:gd name="connsiteX15270" fmla="*/ 913849 w 6884782"/>
              <a:gd name="connsiteY15270" fmla="*/ 4535267 h 5973007"/>
              <a:gd name="connsiteX15271" fmla="*/ 1604686 w 6884782"/>
              <a:gd name="connsiteY15271" fmla="*/ 4535164 h 5973007"/>
              <a:gd name="connsiteX15272" fmla="*/ 1604222 w 6884782"/>
              <a:gd name="connsiteY15272" fmla="*/ 4543011 h 5973007"/>
              <a:gd name="connsiteX15273" fmla="*/ 1599111 w 6884782"/>
              <a:gd name="connsiteY15273" fmla="*/ 4542185 h 5973007"/>
              <a:gd name="connsiteX15274" fmla="*/ 1604686 w 6884782"/>
              <a:gd name="connsiteY15274" fmla="*/ 4535164 h 5973007"/>
              <a:gd name="connsiteX15275" fmla="*/ 832219 w 6884782"/>
              <a:gd name="connsiteY15275" fmla="*/ 4535164 h 5973007"/>
              <a:gd name="connsiteX15276" fmla="*/ 836711 w 6884782"/>
              <a:gd name="connsiteY15276" fmla="*/ 4538881 h 5973007"/>
              <a:gd name="connsiteX15277" fmla="*/ 830205 w 6884782"/>
              <a:gd name="connsiteY15277" fmla="*/ 4548381 h 5973007"/>
              <a:gd name="connsiteX15278" fmla="*/ 824319 w 6884782"/>
              <a:gd name="connsiteY15278" fmla="*/ 4544250 h 5973007"/>
              <a:gd name="connsiteX15279" fmla="*/ 825403 w 6884782"/>
              <a:gd name="connsiteY15279" fmla="*/ 4536093 h 5973007"/>
              <a:gd name="connsiteX15280" fmla="*/ 832219 w 6884782"/>
              <a:gd name="connsiteY15280" fmla="*/ 4535164 h 5973007"/>
              <a:gd name="connsiteX15281" fmla="*/ 1482628 w 6884782"/>
              <a:gd name="connsiteY15281" fmla="*/ 4535061 h 5973007"/>
              <a:gd name="connsiteX15282" fmla="*/ 1487121 w 6884782"/>
              <a:gd name="connsiteY15282" fmla="*/ 4540120 h 5973007"/>
              <a:gd name="connsiteX15283" fmla="*/ 1490528 w 6884782"/>
              <a:gd name="connsiteY15283" fmla="*/ 4543011 h 5973007"/>
              <a:gd name="connsiteX15284" fmla="*/ 1485261 w 6884782"/>
              <a:gd name="connsiteY15284" fmla="*/ 4540327 h 5973007"/>
              <a:gd name="connsiteX15285" fmla="*/ 1482628 w 6884782"/>
              <a:gd name="connsiteY15285" fmla="*/ 4540946 h 5973007"/>
              <a:gd name="connsiteX15286" fmla="*/ 1478911 w 6884782"/>
              <a:gd name="connsiteY15286" fmla="*/ 4537333 h 5973007"/>
              <a:gd name="connsiteX15287" fmla="*/ 1482628 w 6884782"/>
              <a:gd name="connsiteY15287" fmla="*/ 4535061 h 5973007"/>
              <a:gd name="connsiteX15288" fmla="*/ 5553913 w 6884782"/>
              <a:gd name="connsiteY15288" fmla="*/ 4534769 h 5973007"/>
              <a:gd name="connsiteX15289" fmla="*/ 5552519 w 6884782"/>
              <a:gd name="connsiteY15289" fmla="*/ 4539932 h 5973007"/>
              <a:gd name="connsiteX15290" fmla="*/ 5549886 w 6884782"/>
              <a:gd name="connsiteY15290" fmla="*/ 4541480 h 5973007"/>
              <a:gd name="connsiteX15291" fmla="*/ 5547562 w 6884782"/>
              <a:gd name="connsiteY15291" fmla="*/ 4539828 h 5973007"/>
              <a:gd name="connsiteX15292" fmla="*/ 5546943 w 6884782"/>
              <a:gd name="connsiteY15292" fmla="*/ 4536421 h 5973007"/>
              <a:gd name="connsiteX15293" fmla="*/ 5553913 w 6884782"/>
              <a:gd name="connsiteY15293" fmla="*/ 4534769 h 5973007"/>
              <a:gd name="connsiteX15294" fmla="*/ 1721943 w 6884782"/>
              <a:gd name="connsiteY15294" fmla="*/ 4534648 h 5973007"/>
              <a:gd name="connsiteX15295" fmla="*/ 1720394 w 6884782"/>
              <a:gd name="connsiteY15295" fmla="*/ 4542289 h 5973007"/>
              <a:gd name="connsiteX15296" fmla="*/ 1715128 w 6884782"/>
              <a:gd name="connsiteY15296" fmla="*/ 4545903 h 5973007"/>
              <a:gd name="connsiteX15297" fmla="*/ 1714043 w 6884782"/>
              <a:gd name="connsiteY15297" fmla="*/ 4544457 h 5973007"/>
              <a:gd name="connsiteX15298" fmla="*/ 1714043 w 6884782"/>
              <a:gd name="connsiteY15298" fmla="*/ 4541876 h 5973007"/>
              <a:gd name="connsiteX15299" fmla="*/ 1716057 w 6884782"/>
              <a:gd name="connsiteY15299" fmla="*/ 4539810 h 5973007"/>
              <a:gd name="connsiteX15300" fmla="*/ 1705989 w 6884782"/>
              <a:gd name="connsiteY15300" fmla="*/ 4546109 h 5973007"/>
              <a:gd name="connsiteX15301" fmla="*/ 1699793 w 6884782"/>
              <a:gd name="connsiteY15301" fmla="*/ 4548071 h 5973007"/>
              <a:gd name="connsiteX15302" fmla="*/ 1692048 w 6884782"/>
              <a:gd name="connsiteY15302" fmla="*/ 4547968 h 5973007"/>
              <a:gd name="connsiteX15303" fmla="*/ 1689570 w 6884782"/>
              <a:gd name="connsiteY15303" fmla="*/ 4539707 h 5973007"/>
              <a:gd name="connsiteX15304" fmla="*/ 1713269 w 6884782"/>
              <a:gd name="connsiteY15304" fmla="*/ 4537745 h 5973007"/>
              <a:gd name="connsiteX15305" fmla="*/ 1716212 w 6884782"/>
              <a:gd name="connsiteY15305" fmla="*/ 4539604 h 5973007"/>
              <a:gd name="connsiteX15306" fmla="*/ 1717606 w 6884782"/>
              <a:gd name="connsiteY15306" fmla="*/ 4538055 h 5973007"/>
              <a:gd name="connsiteX15307" fmla="*/ 1719465 w 6884782"/>
              <a:gd name="connsiteY15307" fmla="*/ 4535164 h 5973007"/>
              <a:gd name="connsiteX15308" fmla="*/ 1721943 w 6884782"/>
              <a:gd name="connsiteY15308" fmla="*/ 4534648 h 5973007"/>
              <a:gd name="connsiteX15309" fmla="*/ 1816120 w 6884782"/>
              <a:gd name="connsiteY15309" fmla="*/ 4533202 h 5973007"/>
              <a:gd name="connsiteX15310" fmla="*/ 1817514 w 6884782"/>
              <a:gd name="connsiteY15310" fmla="*/ 4533718 h 5973007"/>
              <a:gd name="connsiteX15311" fmla="*/ 1813023 w 6884782"/>
              <a:gd name="connsiteY15311" fmla="*/ 4537436 h 5973007"/>
              <a:gd name="connsiteX15312" fmla="*/ 1810699 w 6884782"/>
              <a:gd name="connsiteY15312" fmla="*/ 4537229 h 5973007"/>
              <a:gd name="connsiteX15313" fmla="*/ 1816120 w 6884782"/>
              <a:gd name="connsiteY15313" fmla="*/ 4533202 h 5973007"/>
              <a:gd name="connsiteX15314" fmla="*/ 710935 w 6884782"/>
              <a:gd name="connsiteY15314" fmla="*/ 4532892 h 5973007"/>
              <a:gd name="connsiteX15315" fmla="*/ 713103 w 6884782"/>
              <a:gd name="connsiteY15315" fmla="*/ 4533409 h 5973007"/>
              <a:gd name="connsiteX15316" fmla="*/ 716821 w 6884782"/>
              <a:gd name="connsiteY15316" fmla="*/ 4533099 h 5973007"/>
              <a:gd name="connsiteX15317" fmla="*/ 717750 w 6884782"/>
              <a:gd name="connsiteY15317" fmla="*/ 4544250 h 5973007"/>
              <a:gd name="connsiteX15318" fmla="*/ 709696 w 6884782"/>
              <a:gd name="connsiteY15318" fmla="*/ 4554163 h 5973007"/>
              <a:gd name="connsiteX15319" fmla="*/ 706753 w 6884782"/>
              <a:gd name="connsiteY15319" fmla="*/ 4554267 h 5973007"/>
              <a:gd name="connsiteX15320" fmla="*/ 705978 w 6884782"/>
              <a:gd name="connsiteY15320" fmla="*/ 4556848 h 5973007"/>
              <a:gd name="connsiteX15321" fmla="*/ 696839 w 6884782"/>
              <a:gd name="connsiteY15321" fmla="*/ 4560358 h 5973007"/>
              <a:gd name="connsiteX15322" fmla="*/ 693587 w 6884782"/>
              <a:gd name="connsiteY15322" fmla="*/ 4560255 h 5973007"/>
              <a:gd name="connsiteX15323" fmla="*/ 688940 w 6884782"/>
              <a:gd name="connsiteY15323" fmla="*/ 4553853 h 5973007"/>
              <a:gd name="connsiteX15324" fmla="*/ 688785 w 6884782"/>
              <a:gd name="connsiteY15324" fmla="*/ 4550549 h 5973007"/>
              <a:gd name="connsiteX15325" fmla="*/ 698079 w 6884782"/>
              <a:gd name="connsiteY15325" fmla="*/ 4550859 h 5973007"/>
              <a:gd name="connsiteX15326" fmla="*/ 700557 w 6884782"/>
              <a:gd name="connsiteY15326" fmla="*/ 4550549 h 5973007"/>
              <a:gd name="connsiteX15327" fmla="*/ 698853 w 6884782"/>
              <a:gd name="connsiteY15327" fmla="*/ 4548484 h 5973007"/>
              <a:gd name="connsiteX15328" fmla="*/ 698234 w 6884782"/>
              <a:gd name="connsiteY15328" fmla="*/ 4542599 h 5973007"/>
              <a:gd name="connsiteX15329" fmla="*/ 710935 w 6884782"/>
              <a:gd name="connsiteY15329" fmla="*/ 4532892 h 5973007"/>
              <a:gd name="connsiteX15330" fmla="*/ 1759893 w 6884782"/>
              <a:gd name="connsiteY15330" fmla="*/ 4531860 h 5973007"/>
              <a:gd name="connsiteX15331" fmla="*/ 1762526 w 6884782"/>
              <a:gd name="connsiteY15331" fmla="*/ 4532376 h 5973007"/>
              <a:gd name="connsiteX15332" fmla="*/ 1764385 w 6884782"/>
              <a:gd name="connsiteY15332" fmla="*/ 4534441 h 5973007"/>
              <a:gd name="connsiteX15333" fmla="*/ 1764230 w 6884782"/>
              <a:gd name="connsiteY15333" fmla="*/ 4535783 h 5973007"/>
              <a:gd name="connsiteX15334" fmla="*/ 1762991 w 6884782"/>
              <a:gd name="connsiteY15334" fmla="*/ 4537436 h 5973007"/>
              <a:gd name="connsiteX15335" fmla="*/ 1762061 w 6884782"/>
              <a:gd name="connsiteY15335" fmla="*/ 4537539 h 5973007"/>
              <a:gd name="connsiteX15336" fmla="*/ 1759583 w 6884782"/>
              <a:gd name="connsiteY15336" fmla="*/ 4534544 h 5973007"/>
              <a:gd name="connsiteX15337" fmla="*/ 1759893 w 6884782"/>
              <a:gd name="connsiteY15337" fmla="*/ 4531860 h 5973007"/>
              <a:gd name="connsiteX15338" fmla="*/ 991917 w 6884782"/>
              <a:gd name="connsiteY15338" fmla="*/ 4531860 h 5973007"/>
              <a:gd name="connsiteX15339" fmla="*/ 995944 w 6884782"/>
              <a:gd name="connsiteY15339" fmla="*/ 4534544 h 5973007"/>
              <a:gd name="connsiteX15340" fmla="*/ 990523 w 6884782"/>
              <a:gd name="connsiteY15340" fmla="*/ 4538468 h 5973007"/>
              <a:gd name="connsiteX15341" fmla="*/ 989748 w 6884782"/>
              <a:gd name="connsiteY15341" fmla="*/ 4536816 h 5973007"/>
              <a:gd name="connsiteX15342" fmla="*/ 990058 w 6884782"/>
              <a:gd name="connsiteY15342" fmla="*/ 4533925 h 5973007"/>
              <a:gd name="connsiteX15343" fmla="*/ 991917 w 6884782"/>
              <a:gd name="connsiteY15343" fmla="*/ 4531860 h 5973007"/>
              <a:gd name="connsiteX15344" fmla="*/ 6155685 w 6884782"/>
              <a:gd name="connsiteY15344" fmla="*/ 4531568 h 5973007"/>
              <a:gd name="connsiteX15345" fmla="*/ 6156460 w 6884782"/>
              <a:gd name="connsiteY15345" fmla="*/ 4533530 h 5973007"/>
              <a:gd name="connsiteX15346" fmla="*/ 6157389 w 6884782"/>
              <a:gd name="connsiteY15346" fmla="*/ 4533013 h 5973007"/>
              <a:gd name="connsiteX15347" fmla="*/ 6162965 w 6884782"/>
              <a:gd name="connsiteY15347" fmla="*/ 4538693 h 5973007"/>
              <a:gd name="connsiteX15348" fmla="*/ 6162036 w 6884782"/>
              <a:gd name="connsiteY15348" fmla="*/ 4542203 h 5973007"/>
              <a:gd name="connsiteX15349" fmla="*/ 6166528 w 6884782"/>
              <a:gd name="connsiteY15349" fmla="*/ 4545714 h 5973007"/>
              <a:gd name="connsiteX15350" fmla="*/ 6170555 w 6884782"/>
              <a:gd name="connsiteY15350" fmla="*/ 4549534 h 5973007"/>
              <a:gd name="connsiteX15351" fmla="*/ 6172879 w 6884782"/>
              <a:gd name="connsiteY15351" fmla="*/ 4556969 h 5973007"/>
              <a:gd name="connsiteX15352" fmla="*/ 6171020 w 6884782"/>
              <a:gd name="connsiteY15352" fmla="*/ 4565952 h 5973007"/>
              <a:gd name="connsiteX15353" fmla="*/ 6170865 w 6884782"/>
              <a:gd name="connsiteY15353" fmla="*/ 4566262 h 5973007"/>
              <a:gd name="connsiteX15354" fmla="*/ 6171949 w 6884782"/>
              <a:gd name="connsiteY15354" fmla="*/ 4567398 h 5973007"/>
              <a:gd name="connsiteX15355" fmla="*/ 6173653 w 6884782"/>
              <a:gd name="connsiteY15355" fmla="*/ 4570392 h 5973007"/>
              <a:gd name="connsiteX15356" fmla="*/ 6175047 w 6884782"/>
              <a:gd name="connsiteY15356" fmla="*/ 4569050 h 5973007"/>
              <a:gd name="connsiteX15357" fmla="*/ 6195493 w 6884782"/>
              <a:gd name="connsiteY15357" fmla="*/ 4569876 h 5973007"/>
              <a:gd name="connsiteX15358" fmla="*/ 6198282 w 6884782"/>
              <a:gd name="connsiteY15358" fmla="*/ 4577104 h 5973007"/>
              <a:gd name="connsiteX15359" fmla="*/ 6196733 w 6884782"/>
              <a:gd name="connsiteY15359" fmla="*/ 4581957 h 5973007"/>
              <a:gd name="connsiteX15360" fmla="*/ 6197043 w 6884782"/>
              <a:gd name="connsiteY15360" fmla="*/ 4582576 h 5973007"/>
              <a:gd name="connsiteX15361" fmla="*/ 6196578 w 6884782"/>
              <a:gd name="connsiteY15361" fmla="*/ 4582679 h 5973007"/>
              <a:gd name="connsiteX15362" fmla="*/ 6196423 w 6884782"/>
              <a:gd name="connsiteY15362" fmla="*/ 4583196 h 5973007"/>
              <a:gd name="connsiteX15363" fmla="*/ 6184031 w 6884782"/>
              <a:gd name="connsiteY15363" fmla="*/ 4588565 h 5973007"/>
              <a:gd name="connsiteX15364" fmla="*/ 6179539 w 6884782"/>
              <a:gd name="connsiteY15364" fmla="*/ 4587636 h 5973007"/>
              <a:gd name="connsiteX15365" fmla="*/ 6175822 w 6884782"/>
              <a:gd name="connsiteY15365" fmla="*/ 4585468 h 5973007"/>
              <a:gd name="connsiteX15366" fmla="*/ 6175357 w 6884782"/>
              <a:gd name="connsiteY15366" fmla="*/ 4586397 h 5973007"/>
              <a:gd name="connsiteX15367" fmla="*/ 6172259 w 6884782"/>
              <a:gd name="connsiteY15367" fmla="*/ 4591146 h 5973007"/>
              <a:gd name="connsiteX15368" fmla="*/ 6165908 w 6884782"/>
              <a:gd name="connsiteY15368" fmla="*/ 4583093 h 5973007"/>
              <a:gd name="connsiteX15369" fmla="*/ 6160487 w 6884782"/>
              <a:gd name="connsiteY15369" fmla="*/ 4575245 h 5973007"/>
              <a:gd name="connsiteX15370" fmla="*/ 6158473 w 6884782"/>
              <a:gd name="connsiteY15370" fmla="*/ 4576381 h 5973007"/>
              <a:gd name="connsiteX15371" fmla="*/ 6150574 w 6884782"/>
              <a:gd name="connsiteY15371" fmla="*/ 4577310 h 5973007"/>
              <a:gd name="connsiteX15372" fmla="*/ 6136943 w 6884782"/>
              <a:gd name="connsiteY15372" fmla="*/ 4566778 h 5973007"/>
              <a:gd name="connsiteX15373" fmla="*/ 6136788 w 6884782"/>
              <a:gd name="connsiteY15373" fmla="*/ 4557485 h 5973007"/>
              <a:gd name="connsiteX15374" fmla="*/ 6155685 w 6884782"/>
              <a:gd name="connsiteY15374" fmla="*/ 4531568 h 5973007"/>
              <a:gd name="connsiteX15375" fmla="*/ 780793 w 6884782"/>
              <a:gd name="connsiteY15375" fmla="*/ 4531343 h 5973007"/>
              <a:gd name="connsiteX15376" fmla="*/ 792565 w 6884782"/>
              <a:gd name="connsiteY15376" fmla="*/ 4537022 h 5973007"/>
              <a:gd name="connsiteX15377" fmla="*/ 790087 w 6884782"/>
              <a:gd name="connsiteY15377" fmla="*/ 4537229 h 5973007"/>
              <a:gd name="connsiteX15378" fmla="*/ 780793 w 6884782"/>
              <a:gd name="connsiteY15378" fmla="*/ 4531343 h 5973007"/>
              <a:gd name="connsiteX15379" fmla="*/ 1105301 w 6884782"/>
              <a:gd name="connsiteY15379" fmla="*/ 4531240 h 5973007"/>
              <a:gd name="connsiteX15380" fmla="*/ 1111497 w 6884782"/>
              <a:gd name="connsiteY15380" fmla="*/ 4538365 h 5973007"/>
              <a:gd name="connsiteX15381" fmla="*/ 1105301 w 6884782"/>
              <a:gd name="connsiteY15381" fmla="*/ 4531240 h 5973007"/>
              <a:gd name="connsiteX15382" fmla="*/ 695445 w 6884782"/>
              <a:gd name="connsiteY15382" fmla="*/ 4530827 h 5973007"/>
              <a:gd name="connsiteX15383" fmla="*/ 696530 w 6884782"/>
              <a:gd name="connsiteY15383" fmla="*/ 4536919 h 5973007"/>
              <a:gd name="connsiteX15384" fmla="*/ 694671 w 6884782"/>
              <a:gd name="connsiteY15384" fmla="*/ 4539088 h 5973007"/>
              <a:gd name="connsiteX15385" fmla="*/ 689869 w 6884782"/>
              <a:gd name="connsiteY15385" fmla="*/ 4541049 h 5973007"/>
              <a:gd name="connsiteX15386" fmla="*/ 690179 w 6884782"/>
              <a:gd name="connsiteY15386" fmla="*/ 4541876 h 5973007"/>
              <a:gd name="connsiteX15387" fmla="*/ 687236 w 6884782"/>
              <a:gd name="connsiteY15387" fmla="*/ 4537848 h 5973007"/>
              <a:gd name="connsiteX15388" fmla="*/ 695445 w 6884782"/>
              <a:gd name="connsiteY15388" fmla="*/ 4530827 h 5973007"/>
              <a:gd name="connsiteX15389" fmla="*/ 1460943 w 6884782"/>
              <a:gd name="connsiteY15389" fmla="*/ 4530724 h 5973007"/>
              <a:gd name="connsiteX15390" fmla="*/ 1464816 w 6884782"/>
              <a:gd name="connsiteY15390" fmla="*/ 4537126 h 5973007"/>
              <a:gd name="connsiteX15391" fmla="*/ 1467604 w 6884782"/>
              <a:gd name="connsiteY15391" fmla="*/ 4541463 h 5973007"/>
              <a:gd name="connsiteX15392" fmla="*/ 1467449 w 6884782"/>
              <a:gd name="connsiteY15392" fmla="*/ 4540946 h 5973007"/>
              <a:gd name="connsiteX15393" fmla="*/ 1476742 w 6884782"/>
              <a:gd name="connsiteY15393" fmla="*/ 4537022 h 5973007"/>
              <a:gd name="connsiteX15394" fmla="*/ 1472095 w 6884782"/>
              <a:gd name="connsiteY15394" fmla="*/ 4547865 h 5973007"/>
              <a:gd name="connsiteX15395" fmla="*/ 1468997 w 6884782"/>
              <a:gd name="connsiteY15395" fmla="*/ 4545593 h 5973007"/>
              <a:gd name="connsiteX15396" fmla="*/ 1467913 w 6884782"/>
              <a:gd name="connsiteY15396" fmla="*/ 4542392 h 5973007"/>
              <a:gd name="connsiteX15397" fmla="*/ 1460788 w 6884782"/>
              <a:gd name="connsiteY15397" fmla="*/ 4539604 h 5973007"/>
              <a:gd name="connsiteX15398" fmla="*/ 1457535 w 6884782"/>
              <a:gd name="connsiteY15398" fmla="*/ 4531550 h 5973007"/>
              <a:gd name="connsiteX15399" fmla="*/ 1460943 w 6884782"/>
              <a:gd name="connsiteY15399" fmla="*/ 4530724 h 5973007"/>
              <a:gd name="connsiteX15400" fmla="*/ 1373117 w 6884782"/>
              <a:gd name="connsiteY15400" fmla="*/ 4530311 h 5973007"/>
              <a:gd name="connsiteX15401" fmla="*/ 1374356 w 6884782"/>
              <a:gd name="connsiteY15401" fmla="*/ 4531240 h 5973007"/>
              <a:gd name="connsiteX15402" fmla="*/ 1374047 w 6884782"/>
              <a:gd name="connsiteY15402" fmla="*/ 4533615 h 5973007"/>
              <a:gd name="connsiteX15403" fmla="*/ 1373117 w 6884782"/>
              <a:gd name="connsiteY15403" fmla="*/ 4535371 h 5973007"/>
              <a:gd name="connsiteX15404" fmla="*/ 1370019 w 6884782"/>
              <a:gd name="connsiteY15404" fmla="*/ 4535267 h 5973007"/>
              <a:gd name="connsiteX15405" fmla="*/ 1365837 w 6884782"/>
              <a:gd name="connsiteY15405" fmla="*/ 4533305 h 5973007"/>
              <a:gd name="connsiteX15406" fmla="*/ 1363203 w 6884782"/>
              <a:gd name="connsiteY15406" fmla="*/ 4533512 h 5973007"/>
              <a:gd name="connsiteX15407" fmla="*/ 1362894 w 6884782"/>
              <a:gd name="connsiteY15407" fmla="*/ 4532686 h 5973007"/>
              <a:gd name="connsiteX15408" fmla="*/ 1373117 w 6884782"/>
              <a:gd name="connsiteY15408" fmla="*/ 4530311 h 5973007"/>
              <a:gd name="connsiteX15409" fmla="*/ 1383650 w 6884782"/>
              <a:gd name="connsiteY15409" fmla="*/ 4530001 h 5973007"/>
              <a:gd name="connsiteX15410" fmla="*/ 1388142 w 6884782"/>
              <a:gd name="connsiteY15410" fmla="*/ 4532996 h 5973007"/>
              <a:gd name="connsiteX15411" fmla="*/ 1375440 w 6884782"/>
              <a:gd name="connsiteY15411" fmla="*/ 4541153 h 5973007"/>
              <a:gd name="connsiteX15412" fmla="*/ 1371878 w 6884782"/>
              <a:gd name="connsiteY15412" fmla="*/ 4540327 h 5973007"/>
              <a:gd name="connsiteX15413" fmla="*/ 1383650 w 6884782"/>
              <a:gd name="connsiteY15413" fmla="*/ 4530001 h 5973007"/>
              <a:gd name="connsiteX15414" fmla="*/ 1131169 w 6884782"/>
              <a:gd name="connsiteY15414" fmla="*/ 4529175 h 5973007"/>
              <a:gd name="connsiteX15415" fmla="*/ 1130704 w 6884782"/>
              <a:gd name="connsiteY15415" fmla="*/ 4533305 h 5973007"/>
              <a:gd name="connsiteX15416" fmla="*/ 1129775 w 6884782"/>
              <a:gd name="connsiteY15416" fmla="*/ 4536506 h 5973007"/>
              <a:gd name="connsiteX15417" fmla="*/ 1130085 w 6884782"/>
              <a:gd name="connsiteY15417" fmla="*/ 4536609 h 5973007"/>
              <a:gd name="connsiteX15418" fmla="*/ 1139378 w 6884782"/>
              <a:gd name="connsiteY15418" fmla="*/ 4544044 h 5973007"/>
              <a:gd name="connsiteX15419" fmla="*/ 1133028 w 6884782"/>
              <a:gd name="connsiteY15419" fmla="*/ 4544767 h 5973007"/>
              <a:gd name="connsiteX15420" fmla="*/ 1117848 w 6884782"/>
              <a:gd name="connsiteY15420" fmla="*/ 4535164 h 5973007"/>
              <a:gd name="connsiteX15421" fmla="*/ 1124044 w 6884782"/>
              <a:gd name="connsiteY15421" fmla="*/ 4534544 h 5973007"/>
              <a:gd name="connsiteX15422" fmla="*/ 1129619 w 6884782"/>
              <a:gd name="connsiteY15422" fmla="*/ 4536403 h 5973007"/>
              <a:gd name="connsiteX15423" fmla="*/ 1129155 w 6884782"/>
              <a:gd name="connsiteY15423" fmla="*/ 4533409 h 5973007"/>
              <a:gd name="connsiteX15424" fmla="*/ 1130395 w 6884782"/>
              <a:gd name="connsiteY15424" fmla="*/ 4530001 h 5973007"/>
              <a:gd name="connsiteX15425" fmla="*/ 1131169 w 6884782"/>
              <a:gd name="connsiteY15425" fmla="*/ 4529175 h 5973007"/>
              <a:gd name="connsiteX15426" fmla="*/ 1740996 w 6884782"/>
              <a:gd name="connsiteY15426" fmla="*/ 4527007 h 5973007"/>
              <a:gd name="connsiteX15427" fmla="*/ 1743319 w 6884782"/>
              <a:gd name="connsiteY15427" fmla="*/ 4535164 h 5973007"/>
              <a:gd name="connsiteX15428" fmla="*/ 1742389 w 6884782"/>
              <a:gd name="connsiteY15428" fmla="*/ 4535887 h 5973007"/>
              <a:gd name="connsiteX15429" fmla="*/ 1737278 w 6884782"/>
              <a:gd name="connsiteY15429" fmla="*/ 4539088 h 5973007"/>
              <a:gd name="connsiteX15430" fmla="*/ 1733096 w 6884782"/>
              <a:gd name="connsiteY15430" fmla="*/ 4539088 h 5973007"/>
              <a:gd name="connsiteX15431" fmla="*/ 1733251 w 6884782"/>
              <a:gd name="connsiteY15431" fmla="*/ 4531343 h 5973007"/>
              <a:gd name="connsiteX15432" fmla="*/ 1740996 w 6884782"/>
              <a:gd name="connsiteY15432" fmla="*/ 4527007 h 5973007"/>
              <a:gd name="connsiteX15433" fmla="*/ 1442510 w 6884782"/>
              <a:gd name="connsiteY15433" fmla="*/ 4526697 h 5973007"/>
              <a:gd name="connsiteX15434" fmla="*/ 1444524 w 6884782"/>
              <a:gd name="connsiteY15434" fmla="*/ 4531550 h 5973007"/>
              <a:gd name="connsiteX15435" fmla="*/ 1433837 w 6884782"/>
              <a:gd name="connsiteY15435" fmla="*/ 4536093 h 5973007"/>
              <a:gd name="connsiteX15436" fmla="*/ 1430893 w 6884782"/>
              <a:gd name="connsiteY15436" fmla="*/ 4534441 h 5973007"/>
              <a:gd name="connsiteX15437" fmla="*/ 1442510 w 6884782"/>
              <a:gd name="connsiteY15437" fmla="*/ 4526697 h 5973007"/>
              <a:gd name="connsiteX15438" fmla="*/ 996255 w 6884782"/>
              <a:gd name="connsiteY15438" fmla="*/ 4526697 h 5973007"/>
              <a:gd name="connsiteX15439" fmla="*/ 995790 w 6884782"/>
              <a:gd name="connsiteY15439" fmla="*/ 4526904 h 5973007"/>
              <a:gd name="connsiteX15440" fmla="*/ 996719 w 6884782"/>
              <a:gd name="connsiteY15440" fmla="*/ 4528142 h 5973007"/>
              <a:gd name="connsiteX15441" fmla="*/ 997494 w 6884782"/>
              <a:gd name="connsiteY15441" fmla="*/ 4528246 h 5973007"/>
              <a:gd name="connsiteX15442" fmla="*/ 5893910 w 6884782"/>
              <a:gd name="connsiteY15442" fmla="*/ 4525785 h 5973007"/>
              <a:gd name="connsiteX15443" fmla="*/ 5898248 w 6884782"/>
              <a:gd name="connsiteY15443" fmla="*/ 4528573 h 5973007"/>
              <a:gd name="connsiteX15444" fmla="*/ 5898867 w 6884782"/>
              <a:gd name="connsiteY15444" fmla="*/ 4530948 h 5973007"/>
              <a:gd name="connsiteX15445" fmla="*/ 5903669 w 6884782"/>
              <a:gd name="connsiteY15445" fmla="*/ 4532807 h 5973007"/>
              <a:gd name="connsiteX15446" fmla="*/ 5905992 w 6884782"/>
              <a:gd name="connsiteY15446" fmla="*/ 4537970 h 5973007"/>
              <a:gd name="connsiteX15447" fmla="*/ 5903669 w 6884782"/>
              <a:gd name="connsiteY15447" fmla="*/ 4538899 h 5973007"/>
              <a:gd name="connsiteX15448" fmla="*/ 5898712 w 6884782"/>
              <a:gd name="connsiteY15448" fmla="*/ 4536834 h 5973007"/>
              <a:gd name="connsiteX15449" fmla="*/ 5897938 w 6884782"/>
              <a:gd name="connsiteY15449" fmla="*/ 4538899 h 5973007"/>
              <a:gd name="connsiteX15450" fmla="*/ 5894840 w 6884782"/>
              <a:gd name="connsiteY15450" fmla="*/ 4541067 h 5973007"/>
              <a:gd name="connsiteX15451" fmla="*/ 5893601 w 6884782"/>
              <a:gd name="connsiteY15451" fmla="*/ 4541067 h 5973007"/>
              <a:gd name="connsiteX15452" fmla="*/ 5893756 w 6884782"/>
              <a:gd name="connsiteY15452" fmla="*/ 4542100 h 5973007"/>
              <a:gd name="connsiteX15453" fmla="*/ 5891277 w 6884782"/>
              <a:gd name="connsiteY15453" fmla="*/ 4543442 h 5973007"/>
              <a:gd name="connsiteX15454" fmla="*/ 5890193 w 6884782"/>
              <a:gd name="connsiteY15454" fmla="*/ 4545095 h 5973007"/>
              <a:gd name="connsiteX15455" fmla="*/ 5887560 w 6884782"/>
              <a:gd name="connsiteY15455" fmla="*/ 4545404 h 5973007"/>
              <a:gd name="connsiteX15456" fmla="*/ 5886166 w 6884782"/>
              <a:gd name="connsiteY15456" fmla="*/ 4543339 h 5973007"/>
              <a:gd name="connsiteX15457" fmla="*/ 5886011 w 6884782"/>
              <a:gd name="connsiteY15457" fmla="*/ 4542823 h 5973007"/>
              <a:gd name="connsiteX15458" fmla="*/ 5884617 w 6884782"/>
              <a:gd name="connsiteY15458" fmla="*/ 4543545 h 5973007"/>
              <a:gd name="connsiteX15459" fmla="*/ 5883687 w 6884782"/>
              <a:gd name="connsiteY15459" fmla="*/ 4541790 h 5973007"/>
              <a:gd name="connsiteX15460" fmla="*/ 5885391 w 6884782"/>
              <a:gd name="connsiteY15460" fmla="*/ 4540448 h 5973007"/>
              <a:gd name="connsiteX15461" fmla="*/ 5885236 w 6884782"/>
              <a:gd name="connsiteY15461" fmla="*/ 4539622 h 5973007"/>
              <a:gd name="connsiteX15462" fmla="*/ 5885391 w 6884782"/>
              <a:gd name="connsiteY15462" fmla="*/ 4536834 h 5973007"/>
              <a:gd name="connsiteX15463" fmla="*/ 5885081 w 6884782"/>
              <a:gd name="connsiteY15463" fmla="*/ 4536628 h 5973007"/>
              <a:gd name="connsiteX15464" fmla="*/ 5884772 w 6884782"/>
              <a:gd name="connsiteY15464" fmla="*/ 4527954 h 5973007"/>
              <a:gd name="connsiteX15465" fmla="*/ 5893910 w 6884782"/>
              <a:gd name="connsiteY15465" fmla="*/ 4525785 h 5973007"/>
              <a:gd name="connsiteX15466" fmla="*/ 5966712 w 6884782"/>
              <a:gd name="connsiteY15466" fmla="*/ 4524649 h 5973007"/>
              <a:gd name="connsiteX15467" fmla="*/ 5966867 w 6884782"/>
              <a:gd name="connsiteY15467" fmla="*/ 4528161 h 5973007"/>
              <a:gd name="connsiteX15468" fmla="*/ 5960671 w 6884782"/>
              <a:gd name="connsiteY15468" fmla="*/ 4531981 h 5973007"/>
              <a:gd name="connsiteX15469" fmla="*/ 5958657 w 6884782"/>
              <a:gd name="connsiteY15469" fmla="*/ 4531258 h 5973007"/>
              <a:gd name="connsiteX15470" fmla="*/ 5959277 w 6884782"/>
              <a:gd name="connsiteY15470" fmla="*/ 4527025 h 5973007"/>
              <a:gd name="connsiteX15471" fmla="*/ 5966712 w 6884782"/>
              <a:gd name="connsiteY15471" fmla="*/ 4524649 h 5973007"/>
              <a:gd name="connsiteX15472" fmla="*/ 761896 w 6884782"/>
              <a:gd name="connsiteY15472" fmla="*/ 4524529 h 5973007"/>
              <a:gd name="connsiteX15473" fmla="*/ 763755 w 6884782"/>
              <a:gd name="connsiteY15473" fmla="*/ 4528039 h 5973007"/>
              <a:gd name="connsiteX15474" fmla="*/ 758798 w 6884782"/>
              <a:gd name="connsiteY15474" fmla="*/ 4529588 h 5973007"/>
              <a:gd name="connsiteX15475" fmla="*/ 756940 w 6884782"/>
              <a:gd name="connsiteY15475" fmla="*/ 4525974 h 5973007"/>
              <a:gd name="connsiteX15476" fmla="*/ 761896 w 6884782"/>
              <a:gd name="connsiteY15476" fmla="*/ 4524529 h 5973007"/>
              <a:gd name="connsiteX15477" fmla="*/ 1596942 w 6884782"/>
              <a:gd name="connsiteY15477" fmla="*/ 4524425 h 5973007"/>
              <a:gd name="connsiteX15478" fmla="*/ 1598956 w 6884782"/>
              <a:gd name="connsiteY15478" fmla="*/ 4524425 h 5973007"/>
              <a:gd name="connsiteX15479" fmla="*/ 1603138 w 6884782"/>
              <a:gd name="connsiteY15479" fmla="*/ 4525871 h 5973007"/>
              <a:gd name="connsiteX15480" fmla="*/ 1603293 w 6884782"/>
              <a:gd name="connsiteY15480" fmla="*/ 4529072 h 5973007"/>
              <a:gd name="connsiteX15481" fmla="*/ 1600505 w 6884782"/>
              <a:gd name="connsiteY15481" fmla="*/ 4531343 h 5973007"/>
              <a:gd name="connsiteX15482" fmla="*/ 1596942 w 6884782"/>
              <a:gd name="connsiteY15482" fmla="*/ 4531653 h 5973007"/>
              <a:gd name="connsiteX15483" fmla="*/ 1593689 w 6884782"/>
              <a:gd name="connsiteY15483" fmla="*/ 4531343 h 5973007"/>
              <a:gd name="connsiteX15484" fmla="*/ 1596942 w 6884782"/>
              <a:gd name="connsiteY15484" fmla="*/ 4524425 h 5973007"/>
              <a:gd name="connsiteX15485" fmla="*/ 5769916 w 6884782"/>
              <a:gd name="connsiteY15485" fmla="*/ 4524379 h 5973007"/>
              <a:gd name="connsiteX15486" fmla="*/ 5775260 w 6884782"/>
              <a:gd name="connsiteY15486" fmla="*/ 4529296 h 5973007"/>
              <a:gd name="connsiteX15487" fmla="*/ 5772472 w 6884782"/>
              <a:gd name="connsiteY15487" fmla="*/ 4536317 h 5973007"/>
              <a:gd name="connsiteX15488" fmla="*/ 5766895 w 6884782"/>
              <a:gd name="connsiteY15488" fmla="*/ 4538073 h 5973007"/>
              <a:gd name="connsiteX15489" fmla="*/ 5762404 w 6884782"/>
              <a:gd name="connsiteY15489" fmla="*/ 4535595 h 5973007"/>
              <a:gd name="connsiteX15490" fmla="*/ 5761009 w 6884782"/>
              <a:gd name="connsiteY15490" fmla="*/ 4531981 h 5973007"/>
              <a:gd name="connsiteX15491" fmla="*/ 5761164 w 6884782"/>
              <a:gd name="connsiteY15491" fmla="*/ 4531774 h 5973007"/>
              <a:gd name="connsiteX15492" fmla="*/ 5759925 w 6884782"/>
              <a:gd name="connsiteY15492" fmla="*/ 4532704 h 5973007"/>
              <a:gd name="connsiteX15493" fmla="*/ 5758221 w 6884782"/>
              <a:gd name="connsiteY15493" fmla="*/ 4532600 h 5973007"/>
              <a:gd name="connsiteX15494" fmla="*/ 5757137 w 6884782"/>
              <a:gd name="connsiteY15494" fmla="*/ 4530948 h 5973007"/>
              <a:gd name="connsiteX15495" fmla="*/ 5756672 w 6884782"/>
              <a:gd name="connsiteY15495" fmla="*/ 4527334 h 5973007"/>
              <a:gd name="connsiteX15496" fmla="*/ 5758066 w 6884782"/>
              <a:gd name="connsiteY15496" fmla="*/ 4525579 h 5973007"/>
              <a:gd name="connsiteX15497" fmla="*/ 5759770 w 6884782"/>
              <a:gd name="connsiteY15497" fmla="*/ 4526302 h 5973007"/>
              <a:gd name="connsiteX15498" fmla="*/ 5761474 w 6884782"/>
              <a:gd name="connsiteY15498" fmla="*/ 4526199 h 5973007"/>
              <a:gd name="connsiteX15499" fmla="*/ 5761629 w 6884782"/>
              <a:gd name="connsiteY15499" fmla="*/ 4527128 h 5973007"/>
              <a:gd name="connsiteX15500" fmla="*/ 5761474 w 6884782"/>
              <a:gd name="connsiteY15500" fmla="*/ 4527231 h 5973007"/>
              <a:gd name="connsiteX15501" fmla="*/ 5762093 w 6884782"/>
              <a:gd name="connsiteY15501" fmla="*/ 4527644 h 5973007"/>
              <a:gd name="connsiteX15502" fmla="*/ 5762713 w 6884782"/>
              <a:gd name="connsiteY15502" fmla="*/ 4525269 h 5973007"/>
              <a:gd name="connsiteX15503" fmla="*/ 5769916 w 6884782"/>
              <a:gd name="connsiteY15503" fmla="*/ 4524379 h 5973007"/>
              <a:gd name="connsiteX15504" fmla="*/ 1565614 w 6884782"/>
              <a:gd name="connsiteY15504" fmla="*/ 4523922 h 5973007"/>
              <a:gd name="connsiteX15505" fmla="*/ 1570145 w 6884782"/>
              <a:gd name="connsiteY15505" fmla="*/ 4528866 h 5973007"/>
              <a:gd name="connsiteX15506" fmla="*/ 1567821 w 6884782"/>
              <a:gd name="connsiteY15506" fmla="*/ 4533512 h 5973007"/>
              <a:gd name="connsiteX15507" fmla="*/ 1558992 w 6884782"/>
              <a:gd name="connsiteY15507" fmla="*/ 4527420 h 5973007"/>
              <a:gd name="connsiteX15508" fmla="*/ 1560387 w 6884782"/>
              <a:gd name="connsiteY15508" fmla="*/ 4524012 h 5973007"/>
              <a:gd name="connsiteX15509" fmla="*/ 1565614 w 6884782"/>
              <a:gd name="connsiteY15509" fmla="*/ 4523922 h 5973007"/>
              <a:gd name="connsiteX15510" fmla="*/ 6105963 w 6884782"/>
              <a:gd name="connsiteY15510" fmla="*/ 4523862 h 5973007"/>
              <a:gd name="connsiteX15511" fmla="*/ 6110146 w 6884782"/>
              <a:gd name="connsiteY15511" fmla="*/ 4534356 h 5973007"/>
              <a:gd name="connsiteX15512" fmla="*/ 6106273 w 6884782"/>
              <a:gd name="connsiteY15512" fmla="*/ 4541790 h 5973007"/>
              <a:gd name="connsiteX15513" fmla="*/ 6100542 w 6884782"/>
              <a:gd name="connsiteY15513" fmla="*/ 4544681 h 5973007"/>
              <a:gd name="connsiteX15514" fmla="*/ 6092178 w 6884782"/>
              <a:gd name="connsiteY15514" fmla="*/ 4544578 h 5973007"/>
              <a:gd name="connsiteX15515" fmla="*/ 6090474 w 6884782"/>
              <a:gd name="connsiteY15515" fmla="*/ 4536937 h 5973007"/>
              <a:gd name="connsiteX15516" fmla="*/ 6085517 w 6884782"/>
              <a:gd name="connsiteY15516" fmla="*/ 4540448 h 5973007"/>
              <a:gd name="connsiteX15517" fmla="*/ 6080715 w 6884782"/>
              <a:gd name="connsiteY15517" fmla="*/ 4537660 h 5973007"/>
              <a:gd name="connsiteX15518" fmla="*/ 6089545 w 6884782"/>
              <a:gd name="connsiteY15518" fmla="*/ 4528883 h 5973007"/>
              <a:gd name="connsiteX15519" fmla="*/ 6090164 w 6884782"/>
              <a:gd name="connsiteY15519" fmla="*/ 4528883 h 5973007"/>
              <a:gd name="connsiteX15520" fmla="*/ 6090164 w 6884782"/>
              <a:gd name="connsiteY15520" fmla="*/ 4526611 h 5973007"/>
              <a:gd name="connsiteX15521" fmla="*/ 6105963 w 6884782"/>
              <a:gd name="connsiteY15521" fmla="*/ 4523862 h 5973007"/>
              <a:gd name="connsiteX15522" fmla="*/ 1746107 w 6884782"/>
              <a:gd name="connsiteY15522" fmla="*/ 4523599 h 5973007"/>
              <a:gd name="connsiteX15523" fmla="*/ 1758189 w 6884782"/>
              <a:gd name="connsiteY15523" fmla="*/ 4530827 h 5973007"/>
              <a:gd name="connsiteX15524" fmla="*/ 1759119 w 6884782"/>
              <a:gd name="connsiteY15524" fmla="*/ 4533202 h 5973007"/>
              <a:gd name="connsiteX15525" fmla="*/ 1756950 w 6884782"/>
              <a:gd name="connsiteY15525" fmla="*/ 4536506 h 5973007"/>
              <a:gd name="connsiteX15526" fmla="*/ 1756021 w 6884782"/>
              <a:gd name="connsiteY15526" fmla="*/ 4533099 h 5973007"/>
              <a:gd name="connsiteX15527" fmla="*/ 1756950 w 6884782"/>
              <a:gd name="connsiteY15527" fmla="*/ 4530621 h 5973007"/>
              <a:gd name="connsiteX15528" fmla="*/ 1751064 w 6884782"/>
              <a:gd name="connsiteY15528" fmla="*/ 4529485 h 5973007"/>
              <a:gd name="connsiteX15529" fmla="*/ 1746417 w 6884782"/>
              <a:gd name="connsiteY15529" fmla="*/ 4527523 h 5973007"/>
              <a:gd name="connsiteX15530" fmla="*/ 1746107 w 6884782"/>
              <a:gd name="connsiteY15530" fmla="*/ 4523599 h 5973007"/>
              <a:gd name="connsiteX15531" fmla="*/ 1618473 w 6884782"/>
              <a:gd name="connsiteY15531" fmla="*/ 4523289 h 5973007"/>
              <a:gd name="connsiteX15532" fmla="*/ 1616614 w 6884782"/>
              <a:gd name="connsiteY15532" fmla="*/ 4533718 h 5973007"/>
              <a:gd name="connsiteX15533" fmla="*/ 1609643 w 6884782"/>
              <a:gd name="connsiteY15533" fmla="*/ 4525871 h 5973007"/>
              <a:gd name="connsiteX15534" fmla="*/ 1618473 w 6884782"/>
              <a:gd name="connsiteY15534" fmla="*/ 4523289 h 5973007"/>
              <a:gd name="connsiteX15535" fmla="*/ 893558 w 6884782"/>
              <a:gd name="connsiteY15535" fmla="*/ 4521947 h 5973007"/>
              <a:gd name="connsiteX15536" fmla="*/ 896037 w 6884782"/>
              <a:gd name="connsiteY15536" fmla="*/ 4524322 h 5973007"/>
              <a:gd name="connsiteX15537" fmla="*/ 888911 w 6884782"/>
              <a:gd name="connsiteY15537" fmla="*/ 4532789 h 5973007"/>
              <a:gd name="connsiteX15538" fmla="*/ 885348 w 6884782"/>
              <a:gd name="connsiteY15538" fmla="*/ 4529072 h 5973007"/>
              <a:gd name="connsiteX15539" fmla="*/ 885348 w 6884782"/>
              <a:gd name="connsiteY15539" fmla="*/ 4528969 h 5973007"/>
              <a:gd name="connsiteX15540" fmla="*/ 882870 w 6884782"/>
              <a:gd name="connsiteY15540" fmla="*/ 4528762 h 5973007"/>
              <a:gd name="connsiteX15541" fmla="*/ 890305 w 6884782"/>
              <a:gd name="connsiteY15541" fmla="*/ 4522670 h 5973007"/>
              <a:gd name="connsiteX15542" fmla="*/ 891390 w 6884782"/>
              <a:gd name="connsiteY15542" fmla="*/ 4522876 h 5973007"/>
              <a:gd name="connsiteX15543" fmla="*/ 651765 w 6884782"/>
              <a:gd name="connsiteY15543" fmla="*/ 4521844 h 5973007"/>
              <a:gd name="connsiteX15544" fmla="*/ 667254 w 6884782"/>
              <a:gd name="connsiteY15544" fmla="*/ 4527833 h 5973007"/>
              <a:gd name="connsiteX15545" fmla="*/ 666480 w 6884782"/>
              <a:gd name="connsiteY15545" fmla="*/ 4529588 h 5973007"/>
              <a:gd name="connsiteX15546" fmla="*/ 664312 w 6884782"/>
              <a:gd name="connsiteY15546" fmla="*/ 4530104 h 5973007"/>
              <a:gd name="connsiteX15547" fmla="*/ 656257 w 6884782"/>
              <a:gd name="connsiteY15547" fmla="*/ 4527420 h 5973007"/>
              <a:gd name="connsiteX15548" fmla="*/ 654553 w 6884782"/>
              <a:gd name="connsiteY15548" fmla="*/ 4526387 h 5973007"/>
              <a:gd name="connsiteX15549" fmla="*/ 652849 w 6884782"/>
              <a:gd name="connsiteY15549" fmla="*/ 4525458 h 5973007"/>
              <a:gd name="connsiteX15550" fmla="*/ 651765 w 6884782"/>
              <a:gd name="connsiteY15550" fmla="*/ 4521844 h 5973007"/>
              <a:gd name="connsiteX15551" fmla="*/ 5943167 w 6884782"/>
              <a:gd name="connsiteY15551" fmla="*/ 4521655 h 5973007"/>
              <a:gd name="connsiteX15552" fmla="*/ 5942393 w 6884782"/>
              <a:gd name="connsiteY15552" fmla="*/ 4522378 h 5973007"/>
              <a:gd name="connsiteX15553" fmla="*/ 5941619 w 6884782"/>
              <a:gd name="connsiteY15553" fmla="*/ 4521759 h 5973007"/>
              <a:gd name="connsiteX15554" fmla="*/ 5943167 w 6884782"/>
              <a:gd name="connsiteY15554" fmla="*/ 4521655 h 5973007"/>
              <a:gd name="connsiteX15555" fmla="*/ 5975851 w 6884782"/>
              <a:gd name="connsiteY15555" fmla="*/ 4521552 h 5973007"/>
              <a:gd name="connsiteX15556" fmla="*/ 5975851 w 6884782"/>
              <a:gd name="connsiteY15556" fmla="*/ 4524237 h 5973007"/>
              <a:gd name="connsiteX15557" fmla="*/ 5974302 w 6884782"/>
              <a:gd name="connsiteY15557" fmla="*/ 4525063 h 5973007"/>
              <a:gd name="connsiteX15558" fmla="*/ 5973682 w 6884782"/>
              <a:gd name="connsiteY15558" fmla="*/ 4527747 h 5973007"/>
              <a:gd name="connsiteX15559" fmla="*/ 5971978 w 6884782"/>
              <a:gd name="connsiteY15559" fmla="*/ 4527644 h 5973007"/>
              <a:gd name="connsiteX15560" fmla="*/ 5973372 w 6884782"/>
              <a:gd name="connsiteY15560" fmla="*/ 4522378 h 5973007"/>
              <a:gd name="connsiteX15561" fmla="*/ 5975851 w 6884782"/>
              <a:gd name="connsiteY15561" fmla="*/ 4521552 h 5973007"/>
              <a:gd name="connsiteX15562" fmla="*/ 810533 w 6884782"/>
              <a:gd name="connsiteY15562" fmla="*/ 4521534 h 5973007"/>
              <a:gd name="connsiteX15563" fmla="*/ 819982 w 6884782"/>
              <a:gd name="connsiteY15563" fmla="*/ 4526387 h 5973007"/>
              <a:gd name="connsiteX15564" fmla="*/ 821841 w 6884782"/>
              <a:gd name="connsiteY15564" fmla="*/ 4531653 h 5973007"/>
              <a:gd name="connsiteX15565" fmla="*/ 819363 w 6884782"/>
              <a:gd name="connsiteY15565" fmla="*/ 4532376 h 5973007"/>
              <a:gd name="connsiteX15566" fmla="*/ 814251 w 6884782"/>
              <a:gd name="connsiteY15566" fmla="*/ 4529588 h 5973007"/>
              <a:gd name="connsiteX15567" fmla="*/ 810533 w 6884782"/>
              <a:gd name="connsiteY15567" fmla="*/ 4521534 h 5973007"/>
              <a:gd name="connsiteX15568" fmla="*/ 5838767 w 6884782"/>
              <a:gd name="connsiteY15568" fmla="*/ 4520726 h 5973007"/>
              <a:gd name="connsiteX15569" fmla="*/ 5840317 w 6884782"/>
              <a:gd name="connsiteY15569" fmla="*/ 4533323 h 5973007"/>
              <a:gd name="connsiteX15570" fmla="*/ 5835360 w 6884782"/>
              <a:gd name="connsiteY15570" fmla="*/ 4522378 h 5973007"/>
              <a:gd name="connsiteX15571" fmla="*/ 5838767 w 6884782"/>
              <a:gd name="connsiteY15571" fmla="*/ 4520726 h 5973007"/>
              <a:gd name="connsiteX15572" fmla="*/ 1263450 w 6884782"/>
              <a:gd name="connsiteY15572" fmla="*/ 4520708 h 5973007"/>
              <a:gd name="connsiteX15573" fmla="*/ 1262211 w 6884782"/>
              <a:gd name="connsiteY15573" fmla="*/ 4528762 h 5973007"/>
              <a:gd name="connsiteX15574" fmla="*/ 1260197 w 6884782"/>
              <a:gd name="connsiteY15574" fmla="*/ 4527110 h 5973007"/>
              <a:gd name="connsiteX15575" fmla="*/ 1263450 w 6884782"/>
              <a:gd name="connsiteY15575" fmla="*/ 4520708 h 5973007"/>
              <a:gd name="connsiteX15576" fmla="*/ 6160390 w 6884782"/>
              <a:gd name="connsiteY15576" fmla="*/ 4520597 h 5973007"/>
              <a:gd name="connsiteX15577" fmla="*/ 6166218 w 6884782"/>
              <a:gd name="connsiteY15577" fmla="*/ 4520933 h 5973007"/>
              <a:gd name="connsiteX15578" fmla="*/ 6167303 w 6884782"/>
              <a:gd name="connsiteY15578" fmla="*/ 4525579 h 5973007"/>
              <a:gd name="connsiteX15579" fmla="*/ 6165599 w 6884782"/>
              <a:gd name="connsiteY15579" fmla="*/ 4527850 h 5973007"/>
              <a:gd name="connsiteX15580" fmla="*/ 6166838 w 6884782"/>
              <a:gd name="connsiteY15580" fmla="*/ 4529709 h 5973007"/>
              <a:gd name="connsiteX15581" fmla="*/ 6164515 w 6884782"/>
              <a:gd name="connsiteY15581" fmla="*/ 4532187 h 5973007"/>
              <a:gd name="connsiteX15582" fmla="*/ 6160952 w 6884782"/>
              <a:gd name="connsiteY15582" fmla="*/ 4530226 h 5973007"/>
              <a:gd name="connsiteX15583" fmla="*/ 6158473 w 6884782"/>
              <a:gd name="connsiteY15583" fmla="*/ 4530019 h 5973007"/>
              <a:gd name="connsiteX15584" fmla="*/ 6152742 w 6884782"/>
              <a:gd name="connsiteY15584" fmla="*/ 4529709 h 5973007"/>
              <a:gd name="connsiteX15585" fmla="*/ 6151658 w 6884782"/>
              <a:gd name="connsiteY15585" fmla="*/ 4525372 h 5973007"/>
              <a:gd name="connsiteX15586" fmla="*/ 6160390 w 6884782"/>
              <a:gd name="connsiteY15586" fmla="*/ 4520597 h 5973007"/>
              <a:gd name="connsiteX15587" fmla="*/ 1585480 w 6884782"/>
              <a:gd name="connsiteY15587" fmla="*/ 4519675 h 5973007"/>
              <a:gd name="connsiteX15588" fmla="*/ 1585480 w 6884782"/>
              <a:gd name="connsiteY15588" fmla="*/ 4522773 h 5973007"/>
              <a:gd name="connsiteX15589" fmla="*/ 1584395 w 6884782"/>
              <a:gd name="connsiteY15589" fmla="*/ 4522464 h 5973007"/>
              <a:gd name="connsiteX15590" fmla="*/ 1584860 w 6884782"/>
              <a:gd name="connsiteY15590" fmla="*/ 4523186 h 5973007"/>
              <a:gd name="connsiteX15591" fmla="*/ 1583931 w 6884782"/>
              <a:gd name="connsiteY15591" fmla="*/ 4522360 h 5973007"/>
              <a:gd name="connsiteX15592" fmla="*/ 1583931 w 6884782"/>
              <a:gd name="connsiteY15592" fmla="*/ 4521741 h 5973007"/>
              <a:gd name="connsiteX15593" fmla="*/ 1585480 w 6884782"/>
              <a:gd name="connsiteY15593" fmla="*/ 4519675 h 5973007"/>
              <a:gd name="connsiteX15594" fmla="*/ 859171 w 6884782"/>
              <a:gd name="connsiteY15594" fmla="*/ 4519366 h 5973007"/>
              <a:gd name="connsiteX15595" fmla="*/ 860565 w 6884782"/>
              <a:gd name="connsiteY15595" fmla="*/ 4519469 h 5973007"/>
              <a:gd name="connsiteX15596" fmla="*/ 859946 w 6884782"/>
              <a:gd name="connsiteY15596" fmla="*/ 4520192 h 5973007"/>
              <a:gd name="connsiteX15597" fmla="*/ 859171 w 6884782"/>
              <a:gd name="connsiteY15597" fmla="*/ 4519366 h 5973007"/>
              <a:gd name="connsiteX15598" fmla="*/ 972555 w 6884782"/>
              <a:gd name="connsiteY15598" fmla="*/ 4519056 h 5973007"/>
              <a:gd name="connsiteX15599" fmla="*/ 982004 w 6884782"/>
              <a:gd name="connsiteY15599" fmla="*/ 4527316 h 5973007"/>
              <a:gd name="connsiteX15600" fmla="*/ 977512 w 6884782"/>
              <a:gd name="connsiteY15600" fmla="*/ 4531137 h 5973007"/>
              <a:gd name="connsiteX15601" fmla="*/ 972555 w 6884782"/>
              <a:gd name="connsiteY15601" fmla="*/ 4519056 h 5973007"/>
              <a:gd name="connsiteX15602" fmla="*/ 988044 w 6884782"/>
              <a:gd name="connsiteY15602" fmla="*/ 4518953 h 5973007"/>
              <a:gd name="connsiteX15603" fmla="*/ 989594 w 6884782"/>
              <a:gd name="connsiteY15603" fmla="*/ 4521844 h 5973007"/>
              <a:gd name="connsiteX15604" fmla="*/ 992846 w 6884782"/>
              <a:gd name="connsiteY15604" fmla="*/ 4523289 h 5973007"/>
              <a:gd name="connsiteX15605" fmla="*/ 992846 w 6884782"/>
              <a:gd name="connsiteY15605" fmla="*/ 4523393 h 5973007"/>
              <a:gd name="connsiteX15606" fmla="*/ 994860 w 6884782"/>
              <a:gd name="connsiteY15606" fmla="*/ 4523909 h 5973007"/>
              <a:gd name="connsiteX15607" fmla="*/ 994550 w 6884782"/>
              <a:gd name="connsiteY15607" fmla="*/ 4523186 h 5973007"/>
              <a:gd name="connsiteX15608" fmla="*/ 1001985 w 6884782"/>
              <a:gd name="connsiteY15608" fmla="*/ 4520399 h 5973007"/>
              <a:gd name="connsiteX15609" fmla="*/ 1005858 w 6884782"/>
              <a:gd name="connsiteY15609" fmla="*/ 4523186 h 5973007"/>
              <a:gd name="connsiteX15610" fmla="*/ 1007097 w 6884782"/>
              <a:gd name="connsiteY15610" fmla="*/ 4531034 h 5973007"/>
              <a:gd name="connsiteX15611" fmla="*/ 1002760 w 6884782"/>
              <a:gd name="connsiteY15611" fmla="*/ 4532170 h 5973007"/>
              <a:gd name="connsiteX15612" fmla="*/ 999197 w 6884782"/>
              <a:gd name="connsiteY15612" fmla="*/ 4530001 h 5973007"/>
              <a:gd name="connsiteX15613" fmla="*/ 999197 w 6884782"/>
              <a:gd name="connsiteY15613" fmla="*/ 4531137 h 5973007"/>
              <a:gd name="connsiteX15614" fmla="*/ 996564 w 6884782"/>
              <a:gd name="connsiteY15614" fmla="*/ 4528555 h 5973007"/>
              <a:gd name="connsiteX15615" fmla="*/ 995325 w 6884782"/>
              <a:gd name="connsiteY15615" fmla="*/ 4527213 h 5973007"/>
              <a:gd name="connsiteX15616" fmla="*/ 994705 w 6884782"/>
              <a:gd name="connsiteY15616" fmla="*/ 4527420 h 5973007"/>
              <a:gd name="connsiteX15617" fmla="*/ 991762 w 6884782"/>
              <a:gd name="connsiteY15617" fmla="*/ 4525974 h 5973007"/>
              <a:gd name="connsiteX15618" fmla="*/ 992072 w 6884782"/>
              <a:gd name="connsiteY15618" fmla="*/ 4524425 h 5973007"/>
              <a:gd name="connsiteX15619" fmla="*/ 991917 w 6884782"/>
              <a:gd name="connsiteY15619" fmla="*/ 4523909 h 5973007"/>
              <a:gd name="connsiteX15620" fmla="*/ 986186 w 6884782"/>
              <a:gd name="connsiteY15620" fmla="*/ 4521224 h 5973007"/>
              <a:gd name="connsiteX15621" fmla="*/ 985566 w 6884782"/>
              <a:gd name="connsiteY15621" fmla="*/ 4519469 h 5973007"/>
              <a:gd name="connsiteX15622" fmla="*/ 988044 w 6884782"/>
              <a:gd name="connsiteY15622" fmla="*/ 4518953 h 5973007"/>
              <a:gd name="connsiteX15623" fmla="*/ 1276926 w 6884782"/>
              <a:gd name="connsiteY15623" fmla="*/ 4518746 h 5973007"/>
              <a:gd name="connsiteX15624" fmla="*/ 1275842 w 6884782"/>
              <a:gd name="connsiteY15624" fmla="*/ 4521018 h 5973007"/>
              <a:gd name="connsiteX15625" fmla="*/ 1274912 w 6884782"/>
              <a:gd name="connsiteY15625" fmla="*/ 4521224 h 5973007"/>
              <a:gd name="connsiteX15626" fmla="*/ 1274448 w 6884782"/>
              <a:gd name="connsiteY15626" fmla="*/ 4520192 h 5973007"/>
              <a:gd name="connsiteX15627" fmla="*/ 1275842 w 6884782"/>
              <a:gd name="connsiteY15627" fmla="*/ 4519159 h 5973007"/>
              <a:gd name="connsiteX15628" fmla="*/ 1276926 w 6884782"/>
              <a:gd name="connsiteY15628" fmla="*/ 4518746 h 5973007"/>
              <a:gd name="connsiteX15629" fmla="*/ 5648710 w 6884782"/>
              <a:gd name="connsiteY15629" fmla="*/ 4517938 h 5973007"/>
              <a:gd name="connsiteX15630" fmla="*/ 5645147 w 6884782"/>
              <a:gd name="connsiteY15630" fmla="*/ 4524237 h 5973007"/>
              <a:gd name="connsiteX15631" fmla="*/ 5642514 w 6884782"/>
              <a:gd name="connsiteY15631" fmla="*/ 4518248 h 5973007"/>
              <a:gd name="connsiteX15632" fmla="*/ 5648710 w 6884782"/>
              <a:gd name="connsiteY15632" fmla="*/ 4517938 h 5973007"/>
              <a:gd name="connsiteX15633" fmla="*/ 1671641 w 6884782"/>
              <a:gd name="connsiteY15633" fmla="*/ 4517288 h 5973007"/>
              <a:gd name="connsiteX15634" fmla="*/ 1674700 w 6884782"/>
              <a:gd name="connsiteY15634" fmla="*/ 4521534 h 5973007"/>
              <a:gd name="connsiteX15635" fmla="*/ 1672067 w 6884782"/>
              <a:gd name="connsiteY15635" fmla="*/ 4523703 h 5973007"/>
              <a:gd name="connsiteX15636" fmla="*/ 1666490 w 6884782"/>
              <a:gd name="connsiteY15636" fmla="*/ 4517920 h 5973007"/>
              <a:gd name="connsiteX15637" fmla="*/ 1671641 w 6884782"/>
              <a:gd name="connsiteY15637" fmla="*/ 4517288 h 5973007"/>
              <a:gd name="connsiteX15638" fmla="*/ 6056087 w 6884782"/>
              <a:gd name="connsiteY15638" fmla="*/ 4517009 h 5973007"/>
              <a:gd name="connsiteX15639" fmla="*/ 6058875 w 6884782"/>
              <a:gd name="connsiteY15639" fmla="*/ 4525269 h 5973007"/>
              <a:gd name="connsiteX15640" fmla="*/ 6050201 w 6884782"/>
              <a:gd name="connsiteY15640" fmla="*/ 4532704 h 5973007"/>
              <a:gd name="connsiteX15641" fmla="*/ 6039203 w 6884782"/>
              <a:gd name="connsiteY15641" fmla="*/ 4528883 h 5973007"/>
              <a:gd name="connsiteX15642" fmla="*/ 6056087 w 6884782"/>
              <a:gd name="connsiteY15642" fmla="*/ 4517009 h 5973007"/>
              <a:gd name="connsiteX15643" fmla="*/ 1756486 w 6884782"/>
              <a:gd name="connsiteY15643" fmla="*/ 4516887 h 5973007"/>
              <a:gd name="connsiteX15644" fmla="*/ 1757260 w 6884782"/>
              <a:gd name="connsiteY15644" fmla="*/ 4516991 h 5973007"/>
              <a:gd name="connsiteX15645" fmla="*/ 1758189 w 6884782"/>
              <a:gd name="connsiteY15645" fmla="*/ 4518540 h 5973007"/>
              <a:gd name="connsiteX15646" fmla="*/ 1758344 w 6884782"/>
              <a:gd name="connsiteY15646" fmla="*/ 4518437 h 5973007"/>
              <a:gd name="connsiteX15647" fmla="*/ 1761442 w 6884782"/>
              <a:gd name="connsiteY15647" fmla="*/ 4521328 h 5973007"/>
              <a:gd name="connsiteX15648" fmla="*/ 1757879 w 6884782"/>
              <a:gd name="connsiteY15648" fmla="*/ 4524219 h 5973007"/>
              <a:gd name="connsiteX15649" fmla="*/ 1754626 w 6884782"/>
              <a:gd name="connsiteY15649" fmla="*/ 4522567 h 5973007"/>
              <a:gd name="connsiteX15650" fmla="*/ 1753387 w 6884782"/>
              <a:gd name="connsiteY15650" fmla="*/ 4519263 h 5973007"/>
              <a:gd name="connsiteX15651" fmla="*/ 1755711 w 6884782"/>
              <a:gd name="connsiteY15651" fmla="*/ 4518953 h 5973007"/>
              <a:gd name="connsiteX15652" fmla="*/ 1283123 w 6884782"/>
              <a:gd name="connsiteY15652" fmla="*/ 4516784 h 5973007"/>
              <a:gd name="connsiteX15653" fmla="*/ 1292106 w 6884782"/>
              <a:gd name="connsiteY15653" fmla="*/ 4535990 h 5973007"/>
              <a:gd name="connsiteX15654" fmla="*/ 1285445 w 6884782"/>
              <a:gd name="connsiteY15654" fmla="*/ 4534028 h 5973007"/>
              <a:gd name="connsiteX15655" fmla="*/ 1280644 w 6884782"/>
              <a:gd name="connsiteY15655" fmla="*/ 4529795 h 5973007"/>
              <a:gd name="connsiteX15656" fmla="*/ 1280179 w 6884782"/>
              <a:gd name="connsiteY15656" fmla="*/ 4530311 h 5973007"/>
              <a:gd name="connsiteX15657" fmla="*/ 1279095 w 6884782"/>
              <a:gd name="connsiteY15657" fmla="*/ 4528762 h 5973007"/>
              <a:gd name="connsiteX15658" fmla="*/ 1279405 w 6884782"/>
              <a:gd name="connsiteY15658" fmla="*/ 4528039 h 5973007"/>
              <a:gd name="connsiteX15659" fmla="*/ 1277391 w 6884782"/>
              <a:gd name="connsiteY15659" fmla="*/ 4523393 h 5973007"/>
              <a:gd name="connsiteX15660" fmla="*/ 1279249 w 6884782"/>
              <a:gd name="connsiteY15660" fmla="*/ 4518437 h 5973007"/>
              <a:gd name="connsiteX15661" fmla="*/ 1283123 w 6884782"/>
              <a:gd name="connsiteY15661" fmla="*/ 4516784 h 5973007"/>
              <a:gd name="connsiteX15662" fmla="*/ 5742654 w 6884782"/>
              <a:gd name="connsiteY15662" fmla="*/ 4516312 h 5973007"/>
              <a:gd name="connsiteX15663" fmla="*/ 5750631 w 6884782"/>
              <a:gd name="connsiteY15663" fmla="*/ 4517422 h 5973007"/>
              <a:gd name="connsiteX15664" fmla="*/ 5751251 w 6884782"/>
              <a:gd name="connsiteY15664" fmla="*/ 4524546 h 5973007"/>
              <a:gd name="connsiteX15665" fmla="*/ 5741337 w 6884782"/>
              <a:gd name="connsiteY15665" fmla="*/ 4526199 h 5973007"/>
              <a:gd name="connsiteX15666" fmla="*/ 5738394 w 6884782"/>
              <a:gd name="connsiteY15666" fmla="*/ 4525269 h 5973007"/>
              <a:gd name="connsiteX15667" fmla="*/ 5742654 w 6884782"/>
              <a:gd name="connsiteY15667" fmla="*/ 4516312 h 5973007"/>
              <a:gd name="connsiteX15668" fmla="*/ 819982 w 6884782"/>
              <a:gd name="connsiteY15668" fmla="*/ 4515752 h 5973007"/>
              <a:gd name="connsiteX15669" fmla="*/ 823235 w 6884782"/>
              <a:gd name="connsiteY15669" fmla="*/ 4516681 h 5973007"/>
              <a:gd name="connsiteX15670" fmla="*/ 820757 w 6884782"/>
              <a:gd name="connsiteY15670" fmla="*/ 4523703 h 5973007"/>
              <a:gd name="connsiteX15671" fmla="*/ 817194 w 6884782"/>
              <a:gd name="connsiteY15671" fmla="*/ 4520295 h 5973007"/>
              <a:gd name="connsiteX15672" fmla="*/ 817349 w 6884782"/>
              <a:gd name="connsiteY15672" fmla="*/ 4517198 h 5973007"/>
              <a:gd name="connsiteX15673" fmla="*/ 819982 w 6884782"/>
              <a:gd name="connsiteY15673" fmla="*/ 4515752 h 5973007"/>
              <a:gd name="connsiteX15674" fmla="*/ 1512059 w 6884782"/>
              <a:gd name="connsiteY15674" fmla="*/ 4515339 h 5973007"/>
              <a:gd name="connsiteX15675" fmla="*/ 1515157 w 6884782"/>
              <a:gd name="connsiteY15675" fmla="*/ 4518437 h 5973007"/>
              <a:gd name="connsiteX15676" fmla="*/ 1511594 w 6884782"/>
              <a:gd name="connsiteY15676" fmla="*/ 4516578 h 5973007"/>
              <a:gd name="connsiteX15677" fmla="*/ 1512059 w 6884782"/>
              <a:gd name="connsiteY15677" fmla="*/ 4515339 h 5973007"/>
              <a:gd name="connsiteX15678" fmla="*/ 5969809 w 6884782"/>
              <a:gd name="connsiteY15678" fmla="*/ 4514531 h 5973007"/>
              <a:gd name="connsiteX15679" fmla="*/ 5972288 w 6884782"/>
              <a:gd name="connsiteY15679" fmla="*/ 4514634 h 5973007"/>
              <a:gd name="connsiteX15680" fmla="*/ 5971513 w 6884782"/>
              <a:gd name="connsiteY15680" fmla="*/ 4516389 h 5973007"/>
              <a:gd name="connsiteX15681" fmla="*/ 5968261 w 6884782"/>
              <a:gd name="connsiteY15681" fmla="*/ 4520519 h 5973007"/>
              <a:gd name="connsiteX15682" fmla="*/ 5967331 w 6884782"/>
              <a:gd name="connsiteY15682" fmla="*/ 4517938 h 5973007"/>
              <a:gd name="connsiteX15683" fmla="*/ 5969035 w 6884782"/>
              <a:gd name="connsiteY15683" fmla="*/ 4516286 h 5973007"/>
              <a:gd name="connsiteX15684" fmla="*/ 5969809 w 6884782"/>
              <a:gd name="connsiteY15684" fmla="*/ 4514531 h 5973007"/>
              <a:gd name="connsiteX15685" fmla="*/ 5865100 w 6884782"/>
              <a:gd name="connsiteY15685" fmla="*/ 4514427 h 5973007"/>
              <a:gd name="connsiteX15686" fmla="*/ 5866959 w 6884782"/>
              <a:gd name="connsiteY15686" fmla="*/ 4516182 h 5973007"/>
              <a:gd name="connsiteX15687" fmla="*/ 5865100 w 6884782"/>
              <a:gd name="connsiteY15687" fmla="*/ 4518351 h 5973007"/>
              <a:gd name="connsiteX15688" fmla="*/ 5862466 w 6884782"/>
              <a:gd name="connsiteY15688" fmla="*/ 4519074 h 5973007"/>
              <a:gd name="connsiteX15689" fmla="*/ 5861692 w 6884782"/>
              <a:gd name="connsiteY15689" fmla="*/ 4518041 h 5973007"/>
              <a:gd name="connsiteX15690" fmla="*/ 5860917 w 6884782"/>
              <a:gd name="connsiteY15690" fmla="*/ 4516079 h 5973007"/>
              <a:gd name="connsiteX15691" fmla="*/ 5865100 w 6884782"/>
              <a:gd name="connsiteY15691" fmla="*/ 4514427 h 5973007"/>
              <a:gd name="connsiteX15692" fmla="*/ 877758 w 6884782"/>
              <a:gd name="connsiteY15692" fmla="*/ 4514203 h 5973007"/>
              <a:gd name="connsiteX15693" fmla="*/ 884109 w 6884782"/>
              <a:gd name="connsiteY15693" fmla="*/ 4516165 h 5973007"/>
              <a:gd name="connsiteX15694" fmla="*/ 883800 w 6884782"/>
              <a:gd name="connsiteY15694" fmla="*/ 4518127 h 5973007"/>
              <a:gd name="connsiteX15695" fmla="*/ 881476 w 6884782"/>
              <a:gd name="connsiteY15695" fmla="*/ 4518746 h 5973007"/>
              <a:gd name="connsiteX15696" fmla="*/ 877449 w 6884782"/>
              <a:gd name="connsiteY15696" fmla="*/ 4516165 h 5973007"/>
              <a:gd name="connsiteX15697" fmla="*/ 877758 w 6884782"/>
              <a:gd name="connsiteY15697" fmla="*/ 4514203 h 5973007"/>
              <a:gd name="connsiteX15698" fmla="*/ 1588268 w 6884782"/>
              <a:gd name="connsiteY15698" fmla="*/ 4513274 h 5973007"/>
              <a:gd name="connsiteX15699" fmla="*/ 1585325 w 6884782"/>
              <a:gd name="connsiteY15699" fmla="*/ 4519469 h 5973007"/>
              <a:gd name="connsiteX15700" fmla="*/ 1585480 w 6884782"/>
              <a:gd name="connsiteY15700" fmla="*/ 4515132 h 5973007"/>
              <a:gd name="connsiteX15701" fmla="*/ 1588268 w 6884782"/>
              <a:gd name="connsiteY15701" fmla="*/ 4513274 h 5973007"/>
              <a:gd name="connsiteX15702" fmla="*/ 1504934 w 6884782"/>
              <a:gd name="connsiteY15702" fmla="*/ 4513067 h 5973007"/>
              <a:gd name="connsiteX15703" fmla="*/ 1507876 w 6884782"/>
              <a:gd name="connsiteY15703" fmla="*/ 4518953 h 5973007"/>
              <a:gd name="connsiteX15704" fmla="*/ 1506947 w 6884782"/>
              <a:gd name="connsiteY15704" fmla="*/ 4519366 h 5973007"/>
              <a:gd name="connsiteX15705" fmla="*/ 1507722 w 6884782"/>
              <a:gd name="connsiteY15705" fmla="*/ 4519675 h 5973007"/>
              <a:gd name="connsiteX15706" fmla="*/ 1512679 w 6884782"/>
              <a:gd name="connsiteY15706" fmla="*/ 4523806 h 5973007"/>
              <a:gd name="connsiteX15707" fmla="*/ 1514072 w 6884782"/>
              <a:gd name="connsiteY15707" fmla="*/ 4525148 h 5973007"/>
              <a:gd name="connsiteX15708" fmla="*/ 1514537 w 6884782"/>
              <a:gd name="connsiteY15708" fmla="*/ 4524425 h 5973007"/>
              <a:gd name="connsiteX15709" fmla="*/ 1514847 w 6884782"/>
              <a:gd name="connsiteY15709" fmla="*/ 4525665 h 5973007"/>
              <a:gd name="connsiteX15710" fmla="*/ 1515002 w 6884782"/>
              <a:gd name="connsiteY15710" fmla="*/ 4525768 h 5973007"/>
              <a:gd name="connsiteX15711" fmla="*/ 1515776 w 6884782"/>
              <a:gd name="connsiteY15711" fmla="*/ 4526181 h 5973007"/>
              <a:gd name="connsiteX15712" fmla="*/ 1517481 w 6884782"/>
              <a:gd name="connsiteY15712" fmla="*/ 4529588 h 5973007"/>
              <a:gd name="connsiteX15713" fmla="*/ 1517016 w 6884782"/>
              <a:gd name="connsiteY15713" fmla="*/ 4530208 h 5973007"/>
              <a:gd name="connsiteX15714" fmla="*/ 1518874 w 6884782"/>
              <a:gd name="connsiteY15714" fmla="*/ 4531034 h 5973007"/>
              <a:gd name="connsiteX15715" fmla="*/ 1519494 w 6884782"/>
              <a:gd name="connsiteY15715" fmla="*/ 4530311 h 5973007"/>
              <a:gd name="connsiteX15716" fmla="*/ 1541489 w 6884782"/>
              <a:gd name="connsiteY15716" fmla="*/ 4532582 h 5973007"/>
              <a:gd name="connsiteX15717" fmla="*/ 1533125 w 6884782"/>
              <a:gd name="connsiteY15717" fmla="*/ 4534544 h 5973007"/>
              <a:gd name="connsiteX15718" fmla="*/ 1534209 w 6884782"/>
              <a:gd name="connsiteY15718" fmla="*/ 4536197 h 5973007"/>
              <a:gd name="connsiteX15719" fmla="*/ 1530182 w 6884782"/>
              <a:gd name="connsiteY15719" fmla="*/ 4535474 h 5973007"/>
              <a:gd name="connsiteX15720" fmla="*/ 1530027 w 6884782"/>
              <a:gd name="connsiteY15720" fmla="*/ 4535267 h 5973007"/>
              <a:gd name="connsiteX15721" fmla="*/ 1528168 w 6884782"/>
              <a:gd name="connsiteY15721" fmla="*/ 4535783 h 5973007"/>
              <a:gd name="connsiteX15722" fmla="*/ 1527239 w 6884782"/>
              <a:gd name="connsiteY15722" fmla="*/ 4535783 h 5973007"/>
              <a:gd name="connsiteX15723" fmla="*/ 1527239 w 6884782"/>
              <a:gd name="connsiteY15723" fmla="*/ 4535887 h 5973007"/>
              <a:gd name="connsiteX15724" fmla="*/ 1528943 w 6884782"/>
              <a:gd name="connsiteY15724" fmla="*/ 4540637 h 5973007"/>
              <a:gd name="connsiteX15725" fmla="*/ 1515931 w 6884782"/>
              <a:gd name="connsiteY15725" fmla="*/ 4536713 h 5973007"/>
              <a:gd name="connsiteX15726" fmla="*/ 1510355 w 6884782"/>
              <a:gd name="connsiteY15726" fmla="*/ 4532996 h 5973007"/>
              <a:gd name="connsiteX15727" fmla="*/ 1509891 w 6884782"/>
              <a:gd name="connsiteY15727" fmla="*/ 4533718 h 5973007"/>
              <a:gd name="connsiteX15728" fmla="*/ 1509426 w 6884782"/>
              <a:gd name="connsiteY15728" fmla="*/ 4535887 h 5973007"/>
              <a:gd name="connsiteX15729" fmla="*/ 1510200 w 6884782"/>
              <a:gd name="connsiteY15729" fmla="*/ 4535990 h 5973007"/>
              <a:gd name="connsiteX15730" fmla="*/ 1512679 w 6884782"/>
              <a:gd name="connsiteY15730" fmla="*/ 4538571 h 5973007"/>
              <a:gd name="connsiteX15731" fmla="*/ 1511439 w 6884782"/>
              <a:gd name="connsiteY15731" fmla="*/ 4540017 h 5973007"/>
              <a:gd name="connsiteX15732" fmla="*/ 1509271 w 6884782"/>
              <a:gd name="connsiteY15732" fmla="*/ 4538778 h 5973007"/>
              <a:gd name="connsiteX15733" fmla="*/ 1508961 w 6884782"/>
              <a:gd name="connsiteY15733" fmla="*/ 4538571 h 5973007"/>
              <a:gd name="connsiteX15734" fmla="*/ 1508806 w 6884782"/>
              <a:gd name="connsiteY15734" fmla="*/ 4539398 h 5973007"/>
              <a:gd name="connsiteX15735" fmla="*/ 1504314 w 6884782"/>
              <a:gd name="connsiteY15735" fmla="*/ 4544767 h 5973007"/>
              <a:gd name="connsiteX15736" fmla="*/ 1503075 w 6884782"/>
              <a:gd name="connsiteY15736" fmla="*/ 4543424 h 5973007"/>
              <a:gd name="connsiteX15737" fmla="*/ 1502610 w 6884782"/>
              <a:gd name="connsiteY15737" fmla="*/ 4543321 h 5973007"/>
              <a:gd name="connsiteX15738" fmla="*/ 1501526 w 6884782"/>
              <a:gd name="connsiteY15738" fmla="*/ 4543838 h 5973007"/>
              <a:gd name="connsiteX15739" fmla="*/ 1498118 w 6884782"/>
              <a:gd name="connsiteY15739" fmla="*/ 4543631 h 5973007"/>
              <a:gd name="connsiteX15740" fmla="*/ 1493626 w 6884782"/>
              <a:gd name="connsiteY15740" fmla="*/ 4538365 h 5973007"/>
              <a:gd name="connsiteX15741" fmla="*/ 1493006 w 6884782"/>
              <a:gd name="connsiteY15741" fmla="*/ 4535680 h 5973007"/>
              <a:gd name="connsiteX15742" fmla="*/ 1494091 w 6884782"/>
              <a:gd name="connsiteY15742" fmla="*/ 4530621 h 5973007"/>
              <a:gd name="connsiteX15743" fmla="*/ 1494865 w 6884782"/>
              <a:gd name="connsiteY15743" fmla="*/ 4530208 h 5973007"/>
              <a:gd name="connsiteX15744" fmla="*/ 1494865 w 6884782"/>
              <a:gd name="connsiteY15744" fmla="*/ 4529278 h 5973007"/>
              <a:gd name="connsiteX15745" fmla="*/ 1499667 w 6884782"/>
              <a:gd name="connsiteY15745" fmla="*/ 4523806 h 5973007"/>
              <a:gd name="connsiteX15746" fmla="*/ 1500441 w 6884782"/>
              <a:gd name="connsiteY15746" fmla="*/ 4524115 h 5973007"/>
              <a:gd name="connsiteX15747" fmla="*/ 1501061 w 6884782"/>
              <a:gd name="connsiteY15747" fmla="*/ 4518746 h 5973007"/>
              <a:gd name="connsiteX15748" fmla="*/ 1502145 w 6884782"/>
              <a:gd name="connsiteY15748" fmla="*/ 4518643 h 5973007"/>
              <a:gd name="connsiteX15749" fmla="*/ 1500751 w 6884782"/>
              <a:gd name="connsiteY15749" fmla="*/ 4517198 h 5973007"/>
              <a:gd name="connsiteX15750" fmla="*/ 1504934 w 6884782"/>
              <a:gd name="connsiteY15750" fmla="*/ 4513067 h 5973007"/>
              <a:gd name="connsiteX15751" fmla="*/ 1646799 w 6884782"/>
              <a:gd name="connsiteY15751" fmla="*/ 4512280 h 5973007"/>
              <a:gd name="connsiteX15752" fmla="*/ 1653169 w 6884782"/>
              <a:gd name="connsiteY15752" fmla="*/ 4514409 h 5973007"/>
              <a:gd name="connsiteX15753" fmla="*/ 1654563 w 6884782"/>
              <a:gd name="connsiteY15753" fmla="*/ 4513790 h 5973007"/>
              <a:gd name="connsiteX15754" fmla="*/ 1657971 w 6884782"/>
              <a:gd name="connsiteY15754" fmla="*/ 4513480 h 5973007"/>
              <a:gd name="connsiteX15755" fmla="*/ 1658436 w 6884782"/>
              <a:gd name="connsiteY15755" fmla="*/ 4512447 h 5973007"/>
              <a:gd name="connsiteX15756" fmla="*/ 1662774 w 6884782"/>
              <a:gd name="connsiteY15756" fmla="*/ 4513377 h 5973007"/>
              <a:gd name="connsiteX15757" fmla="*/ 1662618 w 6884782"/>
              <a:gd name="connsiteY15757" fmla="*/ 4513480 h 5973007"/>
              <a:gd name="connsiteX15758" fmla="*/ 1667265 w 6884782"/>
              <a:gd name="connsiteY15758" fmla="*/ 4514203 h 5973007"/>
              <a:gd name="connsiteX15759" fmla="*/ 1656422 w 6884782"/>
              <a:gd name="connsiteY15759" fmla="*/ 4520502 h 5973007"/>
              <a:gd name="connsiteX15760" fmla="*/ 1652705 w 6884782"/>
              <a:gd name="connsiteY15760" fmla="*/ 4520088 h 5973007"/>
              <a:gd name="connsiteX15761" fmla="*/ 1651155 w 6884782"/>
              <a:gd name="connsiteY15761" fmla="*/ 4522670 h 5973007"/>
              <a:gd name="connsiteX15762" fmla="*/ 1642636 w 6884782"/>
              <a:gd name="connsiteY15762" fmla="*/ 4517198 h 5973007"/>
              <a:gd name="connsiteX15763" fmla="*/ 1646799 w 6884782"/>
              <a:gd name="connsiteY15763" fmla="*/ 4512280 h 5973007"/>
              <a:gd name="connsiteX15764" fmla="*/ 707566 w 6884782"/>
              <a:gd name="connsiteY15764" fmla="*/ 4512203 h 5973007"/>
              <a:gd name="connsiteX15765" fmla="*/ 708612 w 6884782"/>
              <a:gd name="connsiteY15765" fmla="*/ 4518437 h 5973007"/>
              <a:gd name="connsiteX15766" fmla="*/ 701641 w 6884782"/>
              <a:gd name="connsiteY15766" fmla="*/ 4515339 h 5973007"/>
              <a:gd name="connsiteX15767" fmla="*/ 707566 w 6884782"/>
              <a:gd name="connsiteY15767" fmla="*/ 4512203 h 5973007"/>
              <a:gd name="connsiteX15768" fmla="*/ 1404096 w 6884782"/>
              <a:gd name="connsiteY15768" fmla="*/ 4511931 h 5973007"/>
              <a:gd name="connsiteX15769" fmla="*/ 1406419 w 6884782"/>
              <a:gd name="connsiteY15769" fmla="*/ 4512964 h 5973007"/>
              <a:gd name="connsiteX15770" fmla="*/ 1407969 w 6884782"/>
              <a:gd name="connsiteY15770" fmla="*/ 4518127 h 5973007"/>
              <a:gd name="connsiteX15771" fmla="*/ 1407969 w 6884782"/>
              <a:gd name="connsiteY15771" fmla="*/ 4518746 h 5973007"/>
              <a:gd name="connsiteX15772" fmla="*/ 1409363 w 6884782"/>
              <a:gd name="connsiteY15772" fmla="*/ 4518953 h 5973007"/>
              <a:gd name="connsiteX15773" fmla="*/ 1408124 w 6884782"/>
              <a:gd name="connsiteY15773" fmla="*/ 4520192 h 5973007"/>
              <a:gd name="connsiteX15774" fmla="*/ 1408279 w 6884782"/>
              <a:gd name="connsiteY15774" fmla="*/ 4520399 h 5973007"/>
              <a:gd name="connsiteX15775" fmla="*/ 1407969 w 6884782"/>
              <a:gd name="connsiteY15775" fmla="*/ 4520914 h 5973007"/>
              <a:gd name="connsiteX15776" fmla="*/ 1406264 w 6884782"/>
              <a:gd name="connsiteY15776" fmla="*/ 4522360 h 5973007"/>
              <a:gd name="connsiteX15777" fmla="*/ 1405955 w 6884782"/>
              <a:gd name="connsiteY15777" fmla="*/ 4522360 h 5973007"/>
              <a:gd name="connsiteX15778" fmla="*/ 1404251 w 6884782"/>
              <a:gd name="connsiteY15778" fmla="*/ 4523909 h 5973007"/>
              <a:gd name="connsiteX15779" fmla="*/ 1397745 w 6884782"/>
              <a:gd name="connsiteY15779" fmla="*/ 4525665 h 5973007"/>
              <a:gd name="connsiteX15780" fmla="*/ 1385664 w 6884782"/>
              <a:gd name="connsiteY15780" fmla="*/ 4523289 h 5973007"/>
              <a:gd name="connsiteX15781" fmla="*/ 1396816 w 6884782"/>
              <a:gd name="connsiteY15781" fmla="*/ 4518953 h 5973007"/>
              <a:gd name="connsiteX15782" fmla="*/ 1401928 w 6884782"/>
              <a:gd name="connsiteY15782" fmla="*/ 4518230 h 5973007"/>
              <a:gd name="connsiteX15783" fmla="*/ 1401308 w 6884782"/>
              <a:gd name="connsiteY15783" fmla="*/ 4517198 h 5973007"/>
              <a:gd name="connsiteX15784" fmla="*/ 1404096 w 6884782"/>
              <a:gd name="connsiteY15784" fmla="*/ 4511931 h 5973007"/>
              <a:gd name="connsiteX15785" fmla="*/ 1123424 w 6884782"/>
              <a:gd name="connsiteY15785" fmla="*/ 4511931 h 5973007"/>
              <a:gd name="connsiteX15786" fmla="*/ 1123579 w 6884782"/>
              <a:gd name="connsiteY15786" fmla="*/ 4512757 h 5973007"/>
              <a:gd name="connsiteX15787" fmla="*/ 1122185 w 6884782"/>
              <a:gd name="connsiteY15787" fmla="*/ 4514616 h 5973007"/>
              <a:gd name="connsiteX15788" fmla="*/ 1121410 w 6884782"/>
              <a:gd name="connsiteY15788" fmla="*/ 4520708 h 5973007"/>
              <a:gd name="connsiteX15789" fmla="*/ 1119861 w 6884782"/>
              <a:gd name="connsiteY15789" fmla="*/ 4521741 h 5973007"/>
              <a:gd name="connsiteX15790" fmla="*/ 1118622 w 6884782"/>
              <a:gd name="connsiteY15790" fmla="*/ 4519159 h 5973007"/>
              <a:gd name="connsiteX15791" fmla="*/ 1120945 w 6884782"/>
              <a:gd name="connsiteY15791" fmla="*/ 4517301 h 5973007"/>
              <a:gd name="connsiteX15792" fmla="*/ 1121255 w 6884782"/>
              <a:gd name="connsiteY15792" fmla="*/ 4513790 h 5973007"/>
              <a:gd name="connsiteX15793" fmla="*/ 1123424 w 6884782"/>
              <a:gd name="connsiteY15793" fmla="*/ 4511931 h 5973007"/>
              <a:gd name="connsiteX15794" fmla="*/ 1521043 w 6884782"/>
              <a:gd name="connsiteY15794" fmla="*/ 4511002 h 5973007"/>
              <a:gd name="connsiteX15795" fmla="*/ 1521043 w 6884782"/>
              <a:gd name="connsiteY15795" fmla="*/ 4519056 h 5973007"/>
              <a:gd name="connsiteX15796" fmla="*/ 1521043 w 6884782"/>
              <a:gd name="connsiteY15796" fmla="*/ 4511002 h 5973007"/>
              <a:gd name="connsiteX15797" fmla="*/ 5931860 w 6884782"/>
              <a:gd name="connsiteY15797" fmla="*/ 4510916 h 5973007"/>
              <a:gd name="connsiteX15798" fmla="*/ 5917919 w 6884782"/>
              <a:gd name="connsiteY15798" fmla="*/ 4518248 h 5973007"/>
              <a:gd name="connsiteX15799" fmla="*/ 5917764 w 6884782"/>
              <a:gd name="connsiteY15799" fmla="*/ 4514737 h 5973007"/>
              <a:gd name="connsiteX15800" fmla="*/ 5919468 w 6884782"/>
              <a:gd name="connsiteY15800" fmla="*/ 4514840 h 5973007"/>
              <a:gd name="connsiteX15801" fmla="*/ 5931860 w 6884782"/>
              <a:gd name="connsiteY15801" fmla="*/ 4510916 h 5973007"/>
              <a:gd name="connsiteX15802" fmla="*/ 1481854 w 6884782"/>
              <a:gd name="connsiteY15802" fmla="*/ 4510692 h 5973007"/>
              <a:gd name="connsiteX15803" fmla="*/ 1493006 w 6884782"/>
              <a:gd name="connsiteY15803" fmla="*/ 4517094 h 5973007"/>
              <a:gd name="connsiteX15804" fmla="*/ 1494091 w 6884782"/>
              <a:gd name="connsiteY15804" fmla="*/ 4518746 h 5973007"/>
              <a:gd name="connsiteX15805" fmla="*/ 1495020 w 6884782"/>
              <a:gd name="connsiteY15805" fmla="*/ 4524942 h 5973007"/>
              <a:gd name="connsiteX15806" fmla="*/ 1493006 w 6884782"/>
              <a:gd name="connsiteY15806" fmla="*/ 4525355 h 5973007"/>
              <a:gd name="connsiteX15807" fmla="*/ 1481854 w 6884782"/>
              <a:gd name="connsiteY15807" fmla="*/ 4514616 h 5973007"/>
              <a:gd name="connsiteX15808" fmla="*/ 1480615 w 6884782"/>
              <a:gd name="connsiteY15808" fmla="*/ 4512964 h 5973007"/>
              <a:gd name="connsiteX15809" fmla="*/ 1481854 w 6884782"/>
              <a:gd name="connsiteY15809" fmla="*/ 4510692 h 5973007"/>
              <a:gd name="connsiteX15810" fmla="*/ 1019798 w 6884782"/>
              <a:gd name="connsiteY15810" fmla="*/ 4510692 h 5973007"/>
              <a:gd name="connsiteX15811" fmla="*/ 1021038 w 6884782"/>
              <a:gd name="connsiteY15811" fmla="*/ 4515958 h 5973007"/>
              <a:gd name="connsiteX15812" fmla="*/ 1022587 w 6884782"/>
              <a:gd name="connsiteY15812" fmla="*/ 4516371 h 5973007"/>
              <a:gd name="connsiteX15813" fmla="*/ 1026149 w 6884782"/>
              <a:gd name="connsiteY15813" fmla="*/ 4522876 h 5973007"/>
              <a:gd name="connsiteX15814" fmla="*/ 1023051 w 6884782"/>
              <a:gd name="connsiteY15814" fmla="*/ 4524115 h 5973007"/>
              <a:gd name="connsiteX15815" fmla="*/ 1023206 w 6884782"/>
              <a:gd name="connsiteY15815" fmla="*/ 4529795 h 5973007"/>
              <a:gd name="connsiteX15816" fmla="*/ 1021038 w 6884782"/>
              <a:gd name="connsiteY15816" fmla="*/ 4537848 h 5973007"/>
              <a:gd name="connsiteX15817" fmla="*/ 1014687 w 6884782"/>
              <a:gd name="connsiteY15817" fmla="*/ 4539604 h 5973007"/>
              <a:gd name="connsiteX15818" fmla="*/ 1012828 w 6884782"/>
              <a:gd name="connsiteY15818" fmla="*/ 4538262 h 5973007"/>
              <a:gd name="connsiteX15819" fmla="*/ 1015926 w 6884782"/>
              <a:gd name="connsiteY15819" fmla="*/ 4523289 h 5973007"/>
              <a:gd name="connsiteX15820" fmla="*/ 1016081 w 6884782"/>
              <a:gd name="connsiteY15820" fmla="*/ 4518230 h 5973007"/>
              <a:gd name="connsiteX15821" fmla="*/ 1015926 w 6884782"/>
              <a:gd name="connsiteY15821" fmla="*/ 4516681 h 5973007"/>
              <a:gd name="connsiteX15822" fmla="*/ 1016081 w 6884782"/>
              <a:gd name="connsiteY15822" fmla="*/ 4516578 h 5973007"/>
              <a:gd name="connsiteX15823" fmla="*/ 1016081 w 6884782"/>
              <a:gd name="connsiteY15823" fmla="*/ 4516268 h 5973007"/>
              <a:gd name="connsiteX15824" fmla="*/ 1019798 w 6884782"/>
              <a:gd name="connsiteY15824" fmla="*/ 4510692 h 5973007"/>
              <a:gd name="connsiteX15825" fmla="*/ 6213616 w 6884782"/>
              <a:gd name="connsiteY15825" fmla="*/ 4510400 h 5973007"/>
              <a:gd name="connsiteX15826" fmla="*/ 6219967 w 6884782"/>
              <a:gd name="connsiteY15826" fmla="*/ 4518558 h 5973007"/>
              <a:gd name="connsiteX15827" fmla="*/ 6217489 w 6884782"/>
              <a:gd name="connsiteY15827" fmla="*/ 4518764 h 5973007"/>
              <a:gd name="connsiteX15828" fmla="*/ 6213616 w 6884782"/>
              <a:gd name="connsiteY15828" fmla="*/ 4510400 h 5973007"/>
              <a:gd name="connsiteX15829" fmla="*/ 988044 w 6884782"/>
              <a:gd name="connsiteY15829" fmla="*/ 4509970 h 5973007"/>
              <a:gd name="connsiteX15830" fmla="*/ 990058 w 6884782"/>
              <a:gd name="connsiteY15830" fmla="*/ 4514513 h 5973007"/>
              <a:gd name="connsiteX15831" fmla="*/ 989594 w 6884782"/>
              <a:gd name="connsiteY15831" fmla="*/ 4515648 h 5973007"/>
              <a:gd name="connsiteX15832" fmla="*/ 989283 w 6884782"/>
              <a:gd name="connsiteY15832" fmla="*/ 4516578 h 5973007"/>
              <a:gd name="connsiteX15833" fmla="*/ 988354 w 6884782"/>
              <a:gd name="connsiteY15833" fmla="*/ 4518746 h 5973007"/>
              <a:gd name="connsiteX15834" fmla="*/ 984482 w 6884782"/>
              <a:gd name="connsiteY15834" fmla="*/ 4515339 h 5973007"/>
              <a:gd name="connsiteX15835" fmla="*/ 988044 w 6884782"/>
              <a:gd name="connsiteY15835" fmla="*/ 4509970 h 5973007"/>
              <a:gd name="connsiteX15836" fmla="*/ 6729886 w 6884782"/>
              <a:gd name="connsiteY15836" fmla="*/ 4509574 h 5973007"/>
              <a:gd name="connsiteX15837" fmla="*/ 6752965 w 6884782"/>
              <a:gd name="connsiteY15837" fmla="*/ 4555213 h 5973007"/>
              <a:gd name="connsiteX15838" fmla="*/ 6729886 w 6884782"/>
              <a:gd name="connsiteY15838" fmla="*/ 4509574 h 5973007"/>
              <a:gd name="connsiteX15839" fmla="*/ 5839542 w 6884782"/>
              <a:gd name="connsiteY15839" fmla="*/ 4509471 h 5973007"/>
              <a:gd name="connsiteX15840" fmla="*/ 5841865 w 6884782"/>
              <a:gd name="connsiteY15840" fmla="*/ 4517628 h 5973007"/>
              <a:gd name="connsiteX15841" fmla="*/ 5837683 w 6884782"/>
              <a:gd name="connsiteY15841" fmla="*/ 4519590 h 5973007"/>
              <a:gd name="connsiteX15842" fmla="*/ 5832262 w 6884782"/>
              <a:gd name="connsiteY15842" fmla="*/ 4518764 h 5973007"/>
              <a:gd name="connsiteX15843" fmla="*/ 5839542 w 6884782"/>
              <a:gd name="connsiteY15843" fmla="*/ 4509471 h 5973007"/>
              <a:gd name="connsiteX15844" fmla="*/ 1136590 w 6884782"/>
              <a:gd name="connsiteY15844" fmla="*/ 4509350 h 5973007"/>
              <a:gd name="connsiteX15845" fmla="*/ 1132718 w 6884782"/>
              <a:gd name="connsiteY15845" fmla="*/ 4523186 h 5973007"/>
              <a:gd name="connsiteX15846" fmla="*/ 1136590 w 6884782"/>
              <a:gd name="connsiteY15846" fmla="*/ 4509350 h 5973007"/>
              <a:gd name="connsiteX15847" fmla="*/ 891854 w 6884782"/>
              <a:gd name="connsiteY15847" fmla="*/ 4509350 h 5973007"/>
              <a:gd name="connsiteX15848" fmla="*/ 895261 w 6884782"/>
              <a:gd name="connsiteY15848" fmla="*/ 4516165 h 5973007"/>
              <a:gd name="connsiteX15849" fmla="*/ 894177 w 6884782"/>
              <a:gd name="connsiteY15849" fmla="*/ 4517920 h 5973007"/>
              <a:gd name="connsiteX15850" fmla="*/ 890770 w 6884782"/>
              <a:gd name="connsiteY15850" fmla="*/ 4521018 h 5973007"/>
              <a:gd name="connsiteX15851" fmla="*/ 888136 w 6884782"/>
              <a:gd name="connsiteY15851" fmla="*/ 4519469 h 5973007"/>
              <a:gd name="connsiteX15852" fmla="*/ 888136 w 6884782"/>
              <a:gd name="connsiteY15852" fmla="*/ 4515648 h 5973007"/>
              <a:gd name="connsiteX15853" fmla="*/ 891854 w 6884782"/>
              <a:gd name="connsiteY15853" fmla="*/ 4509350 h 5973007"/>
              <a:gd name="connsiteX15854" fmla="*/ 5707416 w 6884782"/>
              <a:gd name="connsiteY15854" fmla="*/ 4508129 h 5973007"/>
              <a:gd name="connsiteX15855" fmla="*/ 5717948 w 6884782"/>
              <a:gd name="connsiteY15855" fmla="*/ 4515563 h 5973007"/>
              <a:gd name="connsiteX15856" fmla="*/ 5710048 w 6884782"/>
              <a:gd name="connsiteY15856" fmla="*/ 4539932 h 5973007"/>
              <a:gd name="connsiteX15857" fmla="*/ 5698276 w 6884782"/>
              <a:gd name="connsiteY15857" fmla="*/ 4542513 h 5973007"/>
              <a:gd name="connsiteX15858" fmla="*/ 5694249 w 6884782"/>
              <a:gd name="connsiteY15858" fmla="*/ 4542306 h 5973007"/>
              <a:gd name="connsiteX15859" fmla="*/ 5688828 w 6884782"/>
              <a:gd name="connsiteY15859" fmla="*/ 4539828 h 5973007"/>
              <a:gd name="connsiteX15860" fmla="*/ 5707416 w 6884782"/>
              <a:gd name="connsiteY15860" fmla="*/ 4508129 h 5973007"/>
              <a:gd name="connsiteX15861" fmla="*/ 931353 w 6884782"/>
              <a:gd name="connsiteY15861" fmla="*/ 4508111 h 5973007"/>
              <a:gd name="connsiteX15862" fmla="*/ 933986 w 6884782"/>
              <a:gd name="connsiteY15862" fmla="*/ 4508627 h 5973007"/>
              <a:gd name="connsiteX15863" fmla="*/ 934296 w 6884782"/>
              <a:gd name="connsiteY15863" fmla="*/ 4511002 h 5973007"/>
              <a:gd name="connsiteX15864" fmla="*/ 935225 w 6884782"/>
              <a:gd name="connsiteY15864" fmla="*/ 4512654 h 5973007"/>
              <a:gd name="connsiteX15865" fmla="*/ 933676 w 6884782"/>
              <a:gd name="connsiteY15865" fmla="*/ 4515029 h 5973007"/>
              <a:gd name="connsiteX15866" fmla="*/ 932747 w 6884782"/>
              <a:gd name="connsiteY15866" fmla="*/ 4513377 h 5973007"/>
              <a:gd name="connsiteX15867" fmla="*/ 931353 w 6884782"/>
              <a:gd name="connsiteY15867" fmla="*/ 4508111 h 5973007"/>
              <a:gd name="connsiteX15868" fmla="*/ 1403012 w 6884782"/>
              <a:gd name="connsiteY15868" fmla="*/ 4507801 h 5973007"/>
              <a:gd name="connsiteX15869" fmla="*/ 1405180 w 6884782"/>
              <a:gd name="connsiteY15869" fmla="*/ 4510899 h 5973007"/>
              <a:gd name="connsiteX15870" fmla="*/ 1403477 w 6884782"/>
              <a:gd name="connsiteY15870" fmla="*/ 4511725 h 5973007"/>
              <a:gd name="connsiteX15871" fmla="*/ 1401928 w 6884782"/>
              <a:gd name="connsiteY15871" fmla="*/ 4511208 h 5973007"/>
              <a:gd name="connsiteX15872" fmla="*/ 1401463 w 6884782"/>
              <a:gd name="connsiteY15872" fmla="*/ 4509660 h 5973007"/>
              <a:gd name="connsiteX15873" fmla="*/ 1403012 w 6884782"/>
              <a:gd name="connsiteY15873" fmla="*/ 4507801 h 5973007"/>
              <a:gd name="connsiteX15874" fmla="*/ 6789366 w 6884782"/>
              <a:gd name="connsiteY15874" fmla="*/ 4507715 h 5973007"/>
              <a:gd name="connsiteX15875" fmla="*/ 6788437 w 6884782"/>
              <a:gd name="connsiteY15875" fmla="*/ 4511020 h 5973007"/>
              <a:gd name="connsiteX15876" fmla="*/ 6796336 w 6884782"/>
              <a:gd name="connsiteY15876" fmla="*/ 4507922 h 5973007"/>
              <a:gd name="connsiteX15877" fmla="*/ 6807489 w 6884782"/>
              <a:gd name="connsiteY15877" fmla="*/ 4524237 h 5973007"/>
              <a:gd name="connsiteX15878" fmla="*/ 6804081 w 6884782"/>
              <a:gd name="connsiteY15878" fmla="*/ 4531155 h 5973007"/>
              <a:gd name="connsiteX15879" fmla="*/ 6796801 w 6884782"/>
              <a:gd name="connsiteY15879" fmla="*/ 4535388 h 5973007"/>
              <a:gd name="connsiteX15880" fmla="*/ 6796181 w 6884782"/>
              <a:gd name="connsiteY15880" fmla="*/ 4541790 h 5973007"/>
              <a:gd name="connsiteX15881" fmla="*/ 6791999 w 6884782"/>
              <a:gd name="connsiteY15881" fmla="*/ 4545404 h 5973007"/>
              <a:gd name="connsiteX15882" fmla="*/ 6788282 w 6884782"/>
              <a:gd name="connsiteY15882" fmla="*/ 4546643 h 5973007"/>
              <a:gd name="connsiteX15883" fmla="*/ 6777749 w 6884782"/>
              <a:gd name="connsiteY15883" fmla="*/ 4539209 h 5973007"/>
              <a:gd name="connsiteX15884" fmla="*/ 6776974 w 6884782"/>
              <a:gd name="connsiteY15884" fmla="*/ 4536834 h 5973007"/>
              <a:gd name="connsiteX15885" fmla="*/ 6774650 w 6884782"/>
              <a:gd name="connsiteY15885" fmla="*/ 4533633 h 5973007"/>
              <a:gd name="connsiteX15886" fmla="*/ 6779297 w 6884782"/>
              <a:gd name="connsiteY15886" fmla="*/ 4528470 h 5973007"/>
              <a:gd name="connsiteX15887" fmla="*/ 6782550 w 6884782"/>
              <a:gd name="connsiteY15887" fmla="*/ 4526611 h 5973007"/>
              <a:gd name="connsiteX15888" fmla="*/ 6781466 w 6884782"/>
              <a:gd name="connsiteY15888" fmla="*/ 4520519 h 5973007"/>
              <a:gd name="connsiteX15889" fmla="*/ 6779607 w 6884782"/>
              <a:gd name="connsiteY15889" fmla="*/ 4521449 h 5973007"/>
              <a:gd name="connsiteX15890" fmla="*/ 6777904 w 6884782"/>
              <a:gd name="connsiteY15890" fmla="*/ 4509265 h 5973007"/>
              <a:gd name="connsiteX15891" fmla="*/ 6789366 w 6884782"/>
              <a:gd name="connsiteY15891" fmla="*/ 4507715 h 5973007"/>
              <a:gd name="connsiteX15892" fmla="*/ 1463886 w 6884782"/>
              <a:gd name="connsiteY15892" fmla="*/ 4507698 h 5973007"/>
              <a:gd name="connsiteX15893" fmla="*/ 1468223 w 6884782"/>
              <a:gd name="connsiteY15893" fmla="*/ 4515339 h 5973007"/>
              <a:gd name="connsiteX15894" fmla="*/ 1468997 w 6884782"/>
              <a:gd name="connsiteY15894" fmla="*/ 4518437 h 5973007"/>
              <a:gd name="connsiteX15895" fmla="*/ 1468688 w 6884782"/>
              <a:gd name="connsiteY15895" fmla="*/ 4517610 h 5973007"/>
              <a:gd name="connsiteX15896" fmla="*/ 1468223 w 6884782"/>
              <a:gd name="connsiteY15896" fmla="*/ 4518746 h 5973007"/>
              <a:gd name="connsiteX15897" fmla="*/ 1464351 w 6884782"/>
              <a:gd name="connsiteY15897" fmla="*/ 4512551 h 5973007"/>
              <a:gd name="connsiteX15898" fmla="*/ 1463111 w 6884782"/>
              <a:gd name="connsiteY15898" fmla="*/ 4508008 h 5973007"/>
              <a:gd name="connsiteX15899" fmla="*/ 1463886 w 6884782"/>
              <a:gd name="connsiteY15899" fmla="*/ 4507698 h 5973007"/>
              <a:gd name="connsiteX15900" fmla="*/ 1757724 w 6884782"/>
              <a:gd name="connsiteY15900" fmla="*/ 4507595 h 5973007"/>
              <a:gd name="connsiteX15901" fmla="*/ 1760357 w 6884782"/>
              <a:gd name="connsiteY15901" fmla="*/ 4508008 h 5973007"/>
              <a:gd name="connsiteX15902" fmla="*/ 1759273 w 6884782"/>
              <a:gd name="connsiteY15902" fmla="*/ 4512241 h 5973007"/>
              <a:gd name="connsiteX15903" fmla="*/ 1756640 w 6884782"/>
              <a:gd name="connsiteY15903" fmla="*/ 4511002 h 5973007"/>
              <a:gd name="connsiteX15904" fmla="*/ 1757724 w 6884782"/>
              <a:gd name="connsiteY15904" fmla="*/ 4507595 h 5973007"/>
              <a:gd name="connsiteX15905" fmla="*/ 1576651 w 6884782"/>
              <a:gd name="connsiteY15905" fmla="*/ 4507491 h 5973007"/>
              <a:gd name="connsiteX15906" fmla="*/ 1576496 w 6884782"/>
              <a:gd name="connsiteY15906" fmla="*/ 4514100 h 5973007"/>
              <a:gd name="connsiteX15907" fmla="*/ 1574637 w 6884782"/>
              <a:gd name="connsiteY15907" fmla="*/ 4514100 h 5973007"/>
              <a:gd name="connsiteX15908" fmla="*/ 1572469 w 6884782"/>
              <a:gd name="connsiteY15908" fmla="*/ 4512344 h 5973007"/>
              <a:gd name="connsiteX15909" fmla="*/ 1572004 w 6884782"/>
              <a:gd name="connsiteY15909" fmla="*/ 4509763 h 5973007"/>
              <a:gd name="connsiteX15910" fmla="*/ 1576651 w 6884782"/>
              <a:gd name="connsiteY15910" fmla="*/ 4507491 h 5973007"/>
              <a:gd name="connsiteX15911" fmla="*/ 5938366 w 6884782"/>
              <a:gd name="connsiteY15911" fmla="*/ 4507096 h 5973007"/>
              <a:gd name="connsiteX15912" fmla="*/ 5935113 w 6884782"/>
              <a:gd name="connsiteY15912" fmla="*/ 4509574 h 5973007"/>
              <a:gd name="connsiteX15913" fmla="*/ 5934184 w 6884782"/>
              <a:gd name="connsiteY15913" fmla="*/ 4508645 h 5973007"/>
              <a:gd name="connsiteX15914" fmla="*/ 5938366 w 6884782"/>
              <a:gd name="connsiteY15914" fmla="*/ 4507096 h 5973007"/>
              <a:gd name="connsiteX15915" fmla="*/ 1547685 w 6884782"/>
              <a:gd name="connsiteY15915" fmla="*/ 4506872 h 5973007"/>
              <a:gd name="connsiteX15916" fmla="*/ 1548924 w 6884782"/>
              <a:gd name="connsiteY15916" fmla="*/ 4510382 h 5973007"/>
              <a:gd name="connsiteX15917" fmla="*/ 1549234 w 6884782"/>
              <a:gd name="connsiteY15917" fmla="*/ 4511931 h 5973007"/>
              <a:gd name="connsiteX15918" fmla="*/ 1551557 w 6884782"/>
              <a:gd name="connsiteY15918" fmla="*/ 4512241 h 5973007"/>
              <a:gd name="connsiteX15919" fmla="*/ 1556049 w 6884782"/>
              <a:gd name="connsiteY15919" fmla="*/ 4517507 h 5973007"/>
              <a:gd name="connsiteX15920" fmla="*/ 1546136 w 6884782"/>
              <a:gd name="connsiteY15920" fmla="*/ 4520811 h 5973007"/>
              <a:gd name="connsiteX15921" fmla="*/ 1545361 w 6884782"/>
              <a:gd name="connsiteY15921" fmla="*/ 4511518 h 5973007"/>
              <a:gd name="connsiteX15922" fmla="*/ 1547220 w 6884782"/>
              <a:gd name="connsiteY15922" fmla="*/ 4511725 h 5973007"/>
              <a:gd name="connsiteX15923" fmla="*/ 1547065 w 6884782"/>
              <a:gd name="connsiteY15923" fmla="*/ 4511002 h 5973007"/>
              <a:gd name="connsiteX15924" fmla="*/ 1547685 w 6884782"/>
              <a:gd name="connsiteY15924" fmla="*/ 4506872 h 5973007"/>
              <a:gd name="connsiteX15925" fmla="*/ 5925238 w 6884782"/>
              <a:gd name="connsiteY15925" fmla="*/ 4506412 h 5973007"/>
              <a:gd name="connsiteX15926" fmla="*/ 5929846 w 6884782"/>
              <a:gd name="connsiteY15926" fmla="*/ 4506683 h 5973007"/>
              <a:gd name="connsiteX15927" fmla="*/ 5929846 w 6884782"/>
              <a:gd name="connsiteY15927" fmla="*/ 4507612 h 5973007"/>
              <a:gd name="connsiteX15928" fmla="*/ 5921327 w 6884782"/>
              <a:gd name="connsiteY15928" fmla="*/ 4509161 h 5973007"/>
              <a:gd name="connsiteX15929" fmla="*/ 5918074 w 6884782"/>
              <a:gd name="connsiteY15929" fmla="*/ 4508748 h 5973007"/>
              <a:gd name="connsiteX15930" fmla="*/ 5919004 w 6884782"/>
              <a:gd name="connsiteY15930" fmla="*/ 4508748 h 5973007"/>
              <a:gd name="connsiteX15931" fmla="*/ 5918074 w 6884782"/>
              <a:gd name="connsiteY15931" fmla="*/ 4507922 h 5973007"/>
              <a:gd name="connsiteX15932" fmla="*/ 5925238 w 6884782"/>
              <a:gd name="connsiteY15932" fmla="*/ 4506412 h 5973007"/>
              <a:gd name="connsiteX15933" fmla="*/ 1126832 w 6884782"/>
              <a:gd name="connsiteY15933" fmla="*/ 4506355 h 5973007"/>
              <a:gd name="connsiteX15934" fmla="*/ 1123269 w 6884782"/>
              <a:gd name="connsiteY15934" fmla="*/ 4511002 h 5973007"/>
              <a:gd name="connsiteX15935" fmla="*/ 1124663 w 6884782"/>
              <a:gd name="connsiteY15935" fmla="*/ 4509143 h 5973007"/>
              <a:gd name="connsiteX15936" fmla="*/ 1124508 w 6884782"/>
              <a:gd name="connsiteY15936" fmla="*/ 4507388 h 5973007"/>
              <a:gd name="connsiteX15937" fmla="*/ 1126832 w 6884782"/>
              <a:gd name="connsiteY15937" fmla="*/ 4506355 h 5973007"/>
              <a:gd name="connsiteX15938" fmla="*/ 1784406 w 6884782"/>
              <a:gd name="connsiteY15938" fmla="*/ 4506252 h 5973007"/>
              <a:gd name="connsiteX15939" fmla="*/ 1788239 w 6884782"/>
              <a:gd name="connsiteY15939" fmla="*/ 4509453 h 5973007"/>
              <a:gd name="connsiteX15940" fmla="*/ 1786380 w 6884782"/>
              <a:gd name="connsiteY15940" fmla="*/ 4510899 h 5973007"/>
              <a:gd name="connsiteX15941" fmla="*/ 1779410 w 6884782"/>
              <a:gd name="connsiteY15941" fmla="*/ 4507388 h 5973007"/>
              <a:gd name="connsiteX15942" fmla="*/ 1784406 w 6884782"/>
              <a:gd name="connsiteY15942" fmla="*/ 4506252 h 5973007"/>
              <a:gd name="connsiteX15943" fmla="*/ 6134619 w 6884782"/>
              <a:gd name="connsiteY15943" fmla="*/ 4505960 h 5973007"/>
              <a:gd name="connsiteX15944" fmla="*/ 6139886 w 6884782"/>
              <a:gd name="connsiteY15944" fmla="*/ 4508748 h 5973007"/>
              <a:gd name="connsiteX15945" fmla="*/ 6136633 w 6884782"/>
              <a:gd name="connsiteY15945" fmla="*/ 4512981 h 5973007"/>
              <a:gd name="connsiteX15946" fmla="*/ 6134619 w 6884782"/>
              <a:gd name="connsiteY15946" fmla="*/ 4505960 h 5973007"/>
              <a:gd name="connsiteX15947" fmla="*/ 881786 w 6884782"/>
              <a:gd name="connsiteY15947" fmla="*/ 4505942 h 5973007"/>
              <a:gd name="connsiteX15948" fmla="*/ 880547 w 6884782"/>
              <a:gd name="connsiteY15948" fmla="*/ 4511415 h 5973007"/>
              <a:gd name="connsiteX15949" fmla="*/ 877449 w 6884782"/>
              <a:gd name="connsiteY15949" fmla="*/ 4508420 h 5973007"/>
              <a:gd name="connsiteX15950" fmla="*/ 881786 w 6884782"/>
              <a:gd name="connsiteY15950" fmla="*/ 4505942 h 5973007"/>
              <a:gd name="connsiteX15951" fmla="*/ 952264 w 6884782"/>
              <a:gd name="connsiteY15951" fmla="*/ 4505736 h 5973007"/>
              <a:gd name="connsiteX15952" fmla="*/ 954277 w 6884782"/>
              <a:gd name="connsiteY15952" fmla="*/ 4506872 h 5973007"/>
              <a:gd name="connsiteX15953" fmla="*/ 952728 w 6884782"/>
              <a:gd name="connsiteY15953" fmla="*/ 4515339 h 5973007"/>
              <a:gd name="connsiteX15954" fmla="*/ 951024 w 6884782"/>
              <a:gd name="connsiteY15954" fmla="*/ 4507388 h 5973007"/>
              <a:gd name="connsiteX15955" fmla="*/ 952264 w 6884782"/>
              <a:gd name="connsiteY15955" fmla="*/ 4505736 h 5973007"/>
              <a:gd name="connsiteX15956" fmla="*/ 1606391 w 6884782"/>
              <a:gd name="connsiteY15956" fmla="*/ 4504910 h 5973007"/>
              <a:gd name="connsiteX15957" fmla="*/ 1608869 w 6884782"/>
              <a:gd name="connsiteY15957" fmla="*/ 4508627 h 5973007"/>
              <a:gd name="connsiteX15958" fmla="*/ 1607475 w 6884782"/>
              <a:gd name="connsiteY15958" fmla="*/ 4510176 h 5973007"/>
              <a:gd name="connsiteX15959" fmla="*/ 1604841 w 6884782"/>
              <a:gd name="connsiteY15959" fmla="*/ 4510486 h 5973007"/>
              <a:gd name="connsiteX15960" fmla="*/ 1602828 w 6884782"/>
              <a:gd name="connsiteY15960" fmla="*/ 4507698 h 5973007"/>
              <a:gd name="connsiteX15961" fmla="*/ 1604067 w 6884782"/>
              <a:gd name="connsiteY15961" fmla="*/ 4506149 h 5973007"/>
              <a:gd name="connsiteX15962" fmla="*/ 1606391 w 6884782"/>
              <a:gd name="connsiteY15962" fmla="*/ 4504910 h 5973007"/>
              <a:gd name="connsiteX15963" fmla="*/ 1466364 w 6884782"/>
              <a:gd name="connsiteY15963" fmla="*/ 4504703 h 5973007"/>
              <a:gd name="connsiteX15964" fmla="*/ 1477982 w 6884782"/>
              <a:gd name="connsiteY15964" fmla="*/ 4515545 h 5973007"/>
              <a:gd name="connsiteX15965" fmla="*/ 1474729 w 6884782"/>
              <a:gd name="connsiteY15965" fmla="*/ 4516887 h 5973007"/>
              <a:gd name="connsiteX15966" fmla="*/ 1474109 w 6884782"/>
              <a:gd name="connsiteY15966" fmla="*/ 4515132 h 5973007"/>
              <a:gd name="connsiteX15967" fmla="*/ 1466364 w 6884782"/>
              <a:gd name="connsiteY15967" fmla="*/ 4504703 h 5973007"/>
              <a:gd name="connsiteX15968" fmla="*/ 885813 w 6884782"/>
              <a:gd name="connsiteY15968" fmla="*/ 4504394 h 5973007"/>
              <a:gd name="connsiteX15969" fmla="*/ 886278 w 6884782"/>
              <a:gd name="connsiteY15969" fmla="*/ 4507904 h 5973007"/>
              <a:gd name="connsiteX15970" fmla="*/ 884264 w 6884782"/>
              <a:gd name="connsiteY15970" fmla="*/ 4508111 h 5973007"/>
              <a:gd name="connsiteX15971" fmla="*/ 883180 w 6884782"/>
              <a:gd name="connsiteY15971" fmla="*/ 4507078 h 5973007"/>
              <a:gd name="connsiteX15972" fmla="*/ 883490 w 6884782"/>
              <a:gd name="connsiteY15972" fmla="*/ 4505530 h 5973007"/>
              <a:gd name="connsiteX15973" fmla="*/ 885813 w 6884782"/>
              <a:gd name="connsiteY15973" fmla="*/ 4504394 h 5973007"/>
              <a:gd name="connsiteX15974" fmla="*/ 674535 w 6884782"/>
              <a:gd name="connsiteY15974" fmla="*/ 4503980 h 5973007"/>
              <a:gd name="connsiteX15975" fmla="*/ 676238 w 6884782"/>
              <a:gd name="connsiteY15975" fmla="*/ 4504910 h 5973007"/>
              <a:gd name="connsiteX15976" fmla="*/ 677788 w 6884782"/>
              <a:gd name="connsiteY15976" fmla="*/ 4505013 h 5973007"/>
              <a:gd name="connsiteX15977" fmla="*/ 677943 w 6884782"/>
              <a:gd name="connsiteY15977" fmla="*/ 4505839 h 5973007"/>
              <a:gd name="connsiteX15978" fmla="*/ 678717 w 6884782"/>
              <a:gd name="connsiteY15978" fmla="*/ 4506769 h 5973007"/>
              <a:gd name="connsiteX15979" fmla="*/ 677322 w 6884782"/>
              <a:gd name="connsiteY15979" fmla="*/ 4510176 h 5973007"/>
              <a:gd name="connsiteX15980" fmla="*/ 675619 w 6884782"/>
              <a:gd name="connsiteY15980" fmla="*/ 4511208 h 5973007"/>
              <a:gd name="connsiteX15981" fmla="*/ 673915 w 6884782"/>
              <a:gd name="connsiteY15981" fmla="*/ 4511002 h 5973007"/>
              <a:gd name="connsiteX15982" fmla="*/ 673141 w 6884782"/>
              <a:gd name="connsiteY15982" fmla="*/ 4509143 h 5973007"/>
              <a:gd name="connsiteX15983" fmla="*/ 672831 w 6884782"/>
              <a:gd name="connsiteY15983" fmla="*/ 4505633 h 5973007"/>
              <a:gd name="connsiteX15984" fmla="*/ 674535 w 6884782"/>
              <a:gd name="connsiteY15984" fmla="*/ 4503980 h 5973007"/>
              <a:gd name="connsiteX15985" fmla="*/ 5770613 w 6884782"/>
              <a:gd name="connsiteY15985" fmla="*/ 4503585 h 5973007"/>
              <a:gd name="connsiteX15986" fmla="*/ 5796016 w 6884782"/>
              <a:gd name="connsiteY15986" fmla="*/ 4508748 h 5973007"/>
              <a:gd name="connsiteX15987" fmla="*/ 5790440 w 6884782"/>
              <a:gd name="connsiteY15987" fmla="*/ 4512362 h 5973007"/>
              <a:gd name="connsiteX15988" fmla="*/ 5770613 w 6884782"/>
              <a:gd name="connsiteY15988" fmla="*/ 4503585 h 5973007"/>
              <a:gd name="connsiteX15989" fmla="*/ 1137364 w 6884782"/>
              <a:gd name="connsiteY15989" fmla="*/ 4502948 h 5973007"/>
              <a:gd name="connsiteX15990" fmla="*/ 1138139 w 6884782"/>
              <a:gd name="connsiteY15990" fmla="*/ 4502948 h 5973007"/>
              <a:gd name="connsiteX15991" fmla="*/ 1137209 w 6884782"/>
              <a:gd name="connsiteY15991" fmla="*/ 4504807 h 5973007"/>
              <a:gd name="connsiteX15992" fmla="*/ 1136590 w 6884782"/>
              <a:gd name="connsiteY15992" fmla="*/ 4504290 h 5973007"/>
              <a:gd name="connsiteX15993" fmla="*/ 1137364 w 6884782"/>
              <a:gd name="connsiteY15993" fmla="*/ 4502948 h 5973007"/>
              <a:gd name="connsiteX15994" fmla="*/ 5621758 w 6884782"/>
              <a:gd name="connsiteY15994" fmla="*/ 4502759 h 5973007"/>
              <a:gd name="connsiteX15995" fmla="*/ 5627334 w 6884782"/>
              <a:gd name="connsiteY15995" fmla="*/ 4504618 h 5973007"/>
              <a:gd name="connsiteX15996" fmla="*/ 5627954 w 6884782"/>
              <a:gd name="connsiteY15996" fmla="*/ 4507199 h 5973007"/>
              <a:gd name="connsiteX15997" fmla="*/ 5626560 w 6884782"/>
              <a:gd name="connsiteY15997" fmla="*/ 4512466 h 5973007"/>
              <a:gd name="connsiteX15998" fmla="*/ 5627489 w 6884782"/>
              <a:gd name="connsiteY15998" fmla="*/ 4512466 h 5973007"/>
              <a:gd name="connsiteX15999" fmla="*/ 5622377 w 6884782"/>
              <a:gd name="connsiteY15999" fmla="*/ 4513292 h 5973007"/>
              <a:gd name="connsiteX16000" fmla="*/ 5619279 w 6884782"/>
              <a:gd name="connsiteY16000" fmla="*/ 4509884 h 5973007"/>
              <a:gd name="connsiteX16001" fmla="*/ 5621758 w 6884782"/>
              <a:gd name="connsiteY16001" fmla="*/ 4502759 h 5973007"/>
              <a:gd name="connsiteX16002" fmla="*/ 836556 w 6884782"/>
              <a:gd name="connsiteY16002" fmla="*/ 4502638 h 5973007"/>
              <a:gd name="connsiteX16003" fmla="*/ 851736 w 6884782"/>
              <a:gd name="connsiteY16003" fmla="*/ 4524942 h 5973007"/>
              <a:gd name="connsiteX16004" fmla="*/ 843061 w 6884782"/>
              <a:gd name="connsiteY16004" fmla="*/ 4531447 h 5973007"/>
              <a:gd name="connsiteX16005" fmla="*/ 839809 w 6884782"/>
              <a:gd name="connsiteY16005" fmla="*/ 4531240 h 5973007"/>
              <a:gd name="connsiteX16006" fmla="*/ 829896 w 6884782"/>
              <a:gd name="connsiteY16006" fmla="*/ 4522050 h 5973007"/>
              <a:gd name="connsiteX16007" fmla="*/ 836556 w 6884782"/>
              <a:gd name="connsiteY16007" fmla="*/ 4502638 h 5973007"/>
              <a:gd name="connsiteX16008" fmla="*/ 1152699 w 6884782"/>
              <a:gd name="connsiteY16008" fmla="*/ 4501606 h 5973007"/>
              <a:gd name="connsiteX16009" fmla="*/ 1153009 w 6884782"/>
              <a:gd name="connsiteY16009" fmla="*/ 4503980 h 5973007"/>
              <a:gd name="connsiteX16010" fmla="*/ 1155487 w 6884782"/>
              <a:gd name="connsiteY16010" fmla="*/ 4503258 h 5973007"/>
              <a:gd name="connsiteX16011" fmla="*/ 1163697 w 6884782"/>
              <a:gd name="connsiteY16011" fmla="*/ 4509660 h 5973007"/>
              <a:gd name="connsiteX16012" fmla="*/ 1163232 w 6884782"/>
              <a:gd name="connsiteY16012" fmla="*/ 4514822 h 5973007"/>
              <a:gd name="connsiteX16013" fmla="*/ 1161219 w 6884782"/>
              <a:gd name="connsiteY16013" fmla="*/ 4517610 h 5973007"/>
              <a:gd name="connsiteX16014" fmla="*/ 1161219 w 6884782"/>
              <a:gd name="connsiteY16014" fmla="*/ 4517714 h 5973007"/>
              <a:gd name="connsiteX16015" fmla="*/ 1161529 w 6884782"/>
              <a:gd name="connsiteY16015" fmla="*/ 4523393 h 5973007"/>
              <a:gd name="connsiteX16016" fmla="*/ 1159050 w 6884782"/>
              <a:gd name="connsiteY16016" fmla="*/ 4529795 h 5973007"/>
              <a:gd name="connsiteX16017" fmla="*/ 1156727 w 6884782"/>
              <a:gd name="connsiteY16017" fmla="*/ 4530724 h 5973007"/>
              <a:gd name="connsiteX16018" fmla="*/ 1158586 w 6884782"/>
              <a:gd name="connsiteY16018" fmla="*/ 4533099 h 5973007"/>
              <a:gd name="connsiteX16019" fmla="*/ 1159050 w 6884782"/>
              <a:gd name="connsiteY16019" fmla="*/ 4536609 h 5973007"/>
              <a:gd name="connsiteX16020" fmla="*/ 1155952 w 6884782"/>
              <a:gd name="connsiteY16020" fmla="*/ 4533822 h 5973007"/>
              <a:gd name="connsiteX16021" fmla="*/ 1154868 w 6884782"/>
              <a:gd name="connsiteY16021" fmla="*/ 4532376 h 5973007"/>
              <a:gd name="connsiteX16022" fmla="*/ 1155798 w 6884782"/>
              <a:gd name="connsiteY16022" fmla="*/ 4531137 h 5973007"/>
              <a:gd name="connsiteX16023" fmla="*/ 1155487 w 6884782"/>
              <a:gd name="connsiteY16023" fmla="*/ 4531240 h 5973007"/>
              <a:gd name="connsiteX16024" fmla="*/ 1151150 w 6884782"/>
              <a:gd name="connsiteY16024" fmla="*/ 4531034 h 5973007"/>
              <a:gd name="connsiteX16025" fmla="*/ 1150996 w 6884782"/>
              <a:gd name="connsiteY16025" fmla="*/ 4531137 h 5973007"/>
              <a:gd name="connsiteX16026" fmla="*/ 1149756 w 6884782"/>
              <a:gd name="connsiteY16026" fmla="*/ 4531343 h 5973007"/>
              <a:gd name="connsiteX16027" fmla="*/ 1149911 w 6884782"/>
              <a:gd name="connsiteY16027" fmla="*/ 4531034 h 5973007"/>
              <a:gd name="connsiteX16028" fmla="*/ 1149911 w 6884782"/>
              <a:gd name="connsiteY16028" fmla="*/ 4530931 h 5973007"/>
              <a:gd name="connsiteX16029" fmla="*/ 1150376 w 6884782"/>
              <a:gd name="connsiteY16029" fmla="*/ 4529588 h 5973007"/>
              <a:gd name="connsiteX16030" fmla="*/ 1150686 w 6884782"/>
              <a:gd name="connsiteY16030" fmla="*/ 4529072 h 5973007"/>
              <a:gd name="connsiteX16031" fmla="*/ 1151615 w 6884782"/>
              <a:gd name="connsiteY16031" fmla="*/ 4527110 h 5973007"/>
              <a:gd name="connsiteX16032" fmla="*/ 1151460 w 6884782"/>
              <a:gd name="connsiteY16032" fmla="*/ 4526077 h 5973007"/>
              <a:gd name="connsiteX16033" fmla="*/ 1153164 w 6884782"/>
              <a:gd name="connsiteY16033" fmla="*/ 4523289 h 5973007"/>
              <a:gd name="connsiteX16034" fmla="*/ 1153938 w 6884782"/>
              <a:gd name="connsiteY16034" fmla="*/ 4518953 h 5973007"/>
              <a:gd name="connsiteX16035" fmla="*/ 1152544 w 6884782"/>
              <a:gd name="connsiteY16035" fmla="*/ 4518953 h 5973007"/>
              <a:gd name="connsiteX16036" fmla="*/ 1150066 w 6884782"/>
              <a:gd name="connsiteY16036" fmla="*/ 4517404 h 5973007"/>
              <a:gd name="connsiteX16037" fmla="*/ 1148982 w 6884782"/>
              <a:gd name="connsiteY16037" fmla="*/ 4515545 h 5973007"/>
              <a:gd name="connsiteX16038" fmla="*/ 1148982 w 6884782"/>
              <a:gd name="connsiteY16038" fmla="*/ 4517198 h 5973007"/>
              <a:gd name="connsiteX16039" fmla="*/ 1145574 w 6884782"/>
              <a:gd name="connsiteY16039" fmla="*/ 4515855 h 5973007"/>
              <a:gd name="connsiteX16040" fmla="*/ 1144799 w 6884782"/>
              <a:gd name="connsiteY16040" fmla="*/ 4513067 h 5973007"/>
              <a:gd name="connsiteX16041" fmla="*/ 1145729 w 6884782"/>
              <a:gd name="connsiteY16041" fmla="*/ 4513170 h 5973007"/>
              <a:gd name="connsiteX16042" fmla="*/ 1148517 w 6884782"/>
              <a:gd name="connsiteY16042" fmla="*/ 4512964 h 5973007"/>
              <a:gd name="connsiteX16043" fmla="*/ 1148207 w 6884782"/>
              <a:gd name="connsiteY16043" fmla="*/ 4509970 h 5973007"/>
              <a:gd name="connsiteX16044" fmla="*/ 1148827 w 6884782"/>
              <a:gd name="connsiteY16044" fmla="*/ 4508420 h 5973007"/>
              <a:gd name="connsiteX16045" fmla="*/ 1148363 w 6884782"/>
              <a:gd name="connsiteY16045" fmla="*/ 4507078 h 5973007"/>
              <a:gd name="connsiteX16046" fmla="*/ 1143096 w 6884782"/>
              <a:gd name="connsiteY16046" fmla="*/ 4508420 h 5973007"/>
              <a:gd name="connsiteX16047" fmla="*/ 1137055 w 6884782"/>
              <a:gd name="connsiteY16047" fmla="*/ 4509143 h 5973007"/>
              <a:gd name="connsiteX16048" fmla="*/ 1136745 w 6884782"/>
              <a:gd name="connsiteY16048" fmla="*/ 4509040 h 5973007"/>
              <a:gd name="connsiteX16049" fmla="*/ 1136745 w 6884782"/>
              <a:gd name="connsiteY16049" fmla="*/ 4509350 h 5973007"/>
              <a:gd name="connsiteX16050" fmla="*/ 1136435 w 6884782"/>
              <a:gd name="connsiteY16050" fmla="*/ 4508937 h 5973007"/>
              <a:gd name="connsiteX16051" fmla="*/ 1134886 w 6884782"/>
              <a:gd name="connsiteY16051" fmla="*/ 4508420 h 5973007"/>
              <a:gd name="connsiteX16052" fmla="*/ 1137055 w 6884782"/>
              <a:gd name="connsiteY16052" fmla="*/ 4506562 h 5973007"/>
              <a:gd name="connsiteX16053" fmla="*/ 1138139 w 6884782"/>
              <a:gd name="connsiteY16053" fmla="*/ 4506252 h 5973007"/>
              <a:gd name="connsiteX16054" fmla="*/ 1138759 w 6884782"/>
              <a:gd name="connsiteY16054" fmla="*/ 4505426 h 5973007"/>
              <a:gd name="connsiteX16055" fmla="*/ 1139378 w 6884782"/>
              <a:gd name="connsiteY16055" fmla="*/ 4505839 h 5973007"/>
              <a:gd name="connsiteX16056" fmla="*/ 1141702 w 6884782"/>
              <a:gd name="connsiteY16056" fmla="*/ 4505219 h 5973007"/>
              <a:gd name="connsiteX16057" fmla="*/ 1146659 w 6884782"/>
              <a:gd name="connsiteY16057" fmla="*/ 4501915 h 5973007"/>
              <a:gd name="connsiteX16058" fmla="*/ 1152699 w 6884782"/>
              <a:gd name="connsiteY16058" fmla="*/ 4501606 h 5973007"/>
              <a:gd name="connsiteX16059" fmla="*/ 1010040 w 6884782"/>
              <a:gd name="connsiteY16059" fmla="*/ 4501399 h 5973007"/>
              <a:gd name="connsiteX16060" fmla="*/ 1014222 w 6884782"/>
              <a:gd name="connsiteY16060" fmla="*/ 4507698 h 5973007"/>
              <a:gd name="connsiteX16061" fmla="*/ 1010659 w 6884782"/>
              <a:gd name="connsiteY16061" fmla="*/ 4509866 h 5973007"/>
              <a:gd name="connsiteX16062" fmla="*/ 1006787 w 6884782"/>
              <a:gd name="connsiteY16062" fmla="*/ 4506872 h 5973007"/>
              <a:gd name="connsiteX16063" fmla="*/ 1004618 w 6884782"/>
              <a:gd name="connsiteY16063" fmla="*/ 4501915 h 5973007"/>
              <a:gd name="connsiteX16064" fmla="*/ 1010040 w 6884782"/>
              <a:gd name="connsiteY16064" fmla="*/ 4501399 h 5973007"/>
              <a:gd name="connsiteX16065" fmla="*/ 1748121 w 6884782"/>
              <a:gd name="connsiteY16065" fmla="*/ 4501089 h 5973007"/>
              <a:gd name="connsiteX16066" fmla="*/ 1748740 w 6884782"/>
              <a:gd name="connsiteY16066" fmla="*/ 4510899 h 5973007"/>
              <a:gd name="connsiteX16067" fmla="*/ 1742699 w 6884782"/>
              <a:gd name="connsiteY16067" fmla="*/ 4501296 h 5973007"/>
              <a:gd name="connsiteX16068" fmla="*/ 1748121 w 6884782"/>
              <a:gd name="connsiteY16068" fmla="*/ 4501089 h 5973007"/>
              <a:gd name="connsiteX16069" fmla="*/ 1371258 w 6884782"/>
              <a:gd name="connsiteY16069" fmla="*/ 4500883 h 5973007"/>
              <a:gd name="connsiteX16070" fmla="*/ 1373117 w 6884782"/>
              <a:gd name="connsiteY16070" fmla="*/ 4503877 h 5973007"/>
              <a:gd name="connsiteX16071" fmla="*/ 1371723 w 6884782"/>
              <a:gd name="connsiteY16071" fmla="*/ 4505426 h 5973007"/>
              <a:gd name="connsiteX16072" fmla="*/ 1370328 w 6884782"/>
              <a:gd name="connsiteY16072" fmla="*/ 4506665 h 5973007"/>
              <a:gd name="connsiteX16073" fmla="*/ 1369244 w 6884782"/>
              <a:gd name="connsiteY16073" fmla="*/ 4506355 h 5973007"/>
              <a:gd name="connsiteX16074" fmla="*/ 1367076 w 6884782"/>
              <a:gd name="connsiteY16074" fmla="*/ 4502638 h 5973007"/>
              <a:gd name="connsiteX16075" fmla="*/ 1368470 w 6884782"/>
              <a:gd name="connsiteY16075" fmla="*/ 4501089 h 5973007"/>
              <a:gd name="connsiteX16076" fmla="*/ 1371258 w 6884782"/>
              <a:gd name="connsiteY16076" fmla="*/ 4500883 h 5973007"/>
              <a:gd name="connsiteX16077" fmla="*/ 712484 w 6884782"/>
              <a:gd name="connsiteY16077" fmla="*/ 4500883 h 5973007"/>
              <a:gd name="connsiteX16078" fmla="*/ 712020 w 6884782"/>
              <a:gd name="connsiteY16078" fmla="*/ 4508524 h 5973007"/>
              <a:gd name="connsiteX16079" fmla="*/ 709387 w 6884782"/>
              <a:gd name="connsiteY16079" fmla="*/ 4508937 h 5973007"/>
              <a:gd name="connsiteX16080" fmla="*/ 706753 w 6884782"/>
              <a:gd name="connsiteY16080" fmla="*/ 4503154 h 5973007"/>
              <a:gd name="connsiteX16081" fmla="*/ 708302 w 6884782"/>
              <a:gd name="connsiteY16081" fmla="*/ 4501089 h 5973007"/>
              <a:gd name="connsiteX16082" fmla="*/ 712484 w 6884782"/>
              <a:gd name="connsiteY16082" fmla="*/ 4500883 h 5973007"/>
              <a:gd name="connsiteX16083" fmla="*/ 1540715 w 6884782"/>
              <a:gd name="connsiteY16083" fmla="*/ 4500160 h 5973007"/>
              <a:gd name="connsiteX16084" fmla="*/ 1543038 w 6884782"/>
              <a:gd name="connsiteY16084" fmla="*/ 4503154 h 5973007"/>
              <a:gd name="connsiteX16085" fmla="*/ 1543193 w 6884782"/>
              <a:gd name="connsiteY16085" fmla="*/ 4508420 h 5973007"/>
              <a:gd name="connsiteX16086" fmla="*/ 1543348 w 6884782"/>
              <a:gd name="connsiteY16086" fmla="*/ 4508317 h 5973007"/>
              <a:gd name="connsiteX16087" fmla="*/ 1544277 w 6884782"/>
              <a:gd name="connsiteY16087" fmla="*/ 4509143 h 5973007"/>
              <a:gd name="connsiteX16088" fmla="*/ 1544897 w 6884782"/>
              <a:gd name="connsiteY16088" fmla="*/ 4513790 h 5973007"/>
              <a:gd name="connsiteX16089" fmla="*/ 1543038 w 6884782"/>
              <a:gd name="connsiteY16089" fmla="*/ 4514409 h 5973007"/>
              <a:gd name="connsiteX16090" fmla="*/ 1540560 w 6884782"/>
              <a:gd name="connsiteY16090" fmla="*/ 4513067 h 5973007"/>
              <a:gd name="connsiteX16091" fmla="*/ 1540405 w 6884782"/>
              <a:gd name="connsiteY16091" fmla="*/ 4512241 h 5973007"/>
              <a:gd name="connsiteX16092" fmla="*/ 1536378 w 6884782"/>
              <a:gd name="connsiteY16092" fmla="*/ 4512964 h 5973007"/>
              <a:gd name="connsiteX16093" fmla="*/ 1529717 w 6884782"/>
              <a:gd name="connsiteY16093" fmla="*/ 4509970 h 5973007"/>
              <a:gd name="connsiteX16094" fmla="*/ 1530491 w 6884782"/>
              <a:gd name="connsiteY16094" fmla="*/ 4502638 h 5973007"/>
              <a:gd name="connsiteX16095" fmla="*/ 1540715 w 6884782"/>
              <a:gd name="connsiteY16095" fmla="*/ 4500160 h 5973007"/>
              <a:gd name="connsiteX16096" fmla="*/ 1460633 w 6884782"/>
              <a:gd name="connsiteY16096" fmla="*/ 4499850 h 5973007"/>
              <a:gd name="connsiteX16097" fmla="*/ 1464041 w 6884782"/>
              <a:gd name="connsiteY16097" fmla="*/ 4502122 h 5973007"/>
              <a:gd name="connsiteX16098" fmla="*/ 1463421 w 6884782"/>
              <a:gd name="connsiteY16098" fmla="*/ 4503258 h 5973007"/>
              <a:gd name="connsiteX16099" fmla="*/ 1460478 w 6884782"/>
              <a:gd name="connsiteY16099" fmla="*/ 4501089 h 5973007"/>
              <a:gd name="connsiteX16100" fmla="*/ 1460633 w 6884782"/>
              <a:gd name="connsiteY16100" fmla="*/ 4499850 h 5973007"/>
              <a:gd name="connsiteX16101" fmla="*/ 1111652 w 6884782"/>
              <a:gd name="connsiteY16101" fmla="*/ 4499024 h 5973007"/>
              <a:gd name="connsiteX16102" fmla="*/ 1106695 w 6884782"/>
              <a:gd name="connsiteY16102" fmla="*/ 4503464 h 5973007"/>
              <a:gd name="connsiteX16103" fmla="*/ 1105301 w 6884782"/>
              <a:gd name="connsiteY16103" fmla="*/ 4503154 h 5973007"/>
              <a:gd name="connsiteX16104" fmla="*/ 1111652 w 6884782"/>
              <a:gd name="connsiteY16104" fmla="*/ 4499024 h 5973007"/>
              <a:gd name="connsiteX16105" fmla="*/ 6031458 w 6884782"/>
              <a:gd name="connsiteY16105" fmla="*/ 4498836 h 5973007"/>
              <a:gd name="connsiteX16106" fmla="*/ 6042456 w 6884782"/>
              <a:gd name="connsiteY16106" fmla="*/ 4499765 h 5973007"/>
              <a:gd name="connsiteX16107" fmla="*/ 6037500 w 6884782"/>
              <a:gd name="connsiteY16107" fmla="*/ 4504515 h 5973007"/>
              <a:gd name="connsiteX16108" fmla="*/ 6031458 w 6884782"/>
              <a:gd name="connsiteY16108" fmla="*/ 4498836 h 5973007"/>
              <a:gd name="connsiteX16109" fmla="*/ 1322311 w 6884782"/>
              <a:gd name="connsiteY16109" fmla="*/ 4498198 h 5973007"/>
              <a:gd name="connsiteX16110" fmla="*/ 1323705 w 6884782"/>
              <a:gd name="connsiteY16110" fmla="*/ 4499437 h 5973007"/>
              <a:gd name="connsiteX16111" fmla="*/ 1326184 w 6884782"/>
              <a:gd name="connsiteY16111" fmla="*/ 4502432 h 5973007"/>
              <a:gd name="connsiteX16112" fmla="*/ 1321071 w 6884782"/>
              <a:gd name="connsiteY16112" fmla="*/ 4498302 h 5973007"/>
              <a:gd name="connsiteX16113" fmla="*/ 1322311 w 6884782"/>
              <a:gd name="connsiteY16113" fmla="*/ 4498198 h 5973007"/>
              <a:gd name="connsiteX16114" fmla="*/ 1140463 w 6884782"/>
              <a:gd name="connsiteY16114" fmla="*/ 4497992 h 5973007"/>
              <a:gd name="connsiteX16115" fmla="*/ 1137519 w 6884782"/>
              <a:gd name="connsiteY16115" fmla="*/ 4502329 h 5973007"/>
              <a:gd name="connsiteX16116" fmla="*/ 1137830 w 6884782"/>
              <a:gd name="connsiteY16116" fmla="*/ 4498818 h 5973007"/>
              <a:gd name="connsiteX16117" fmla="*/ 1140463 w 6884782"/>
              <a:gd name="connsiteY16117" fmla="*/ 4497992 h 5973007"/>
              <a:gd name="connsiteX16118" fmla="*/ 722068 w 6884782"/>
              <a:gd name="connsiteY16118" fmla="*/ 4497940 h 5973007"/>
              <a:gd name="connsiteX16119" fmla="*/ 727045 w 6884782"/>
              <a:gd name="connsiteY16119" fmla="*/ 4504497 h 5973007"/>
              <a:gd name="connsiteX16120" fmla="*/ 720849 w 6884782"/>
              <a:gd name="connsiteY16120" fmla="*/ 4507285 h 5973007"/>
              <a:gd name="connsiteX16121" fmla="*/ 715117 w 6884782"/>
              <a:gd name="connsiteY16121" fmla="*/ 4503980 h 5973007"/>
              <a:gd name="connsiteX16122" fmla="*/ 714188 w 6884782"/>
              <a:gd name="connsiteY16122" fmla="*/ 4499747 h 5973007"/>
              <a:gd name="connsiteX16123" fmla="*/ 722068 w 6884782"/>
              <a:gd name="connsiteY16123" fmla="*/ 4497940 h 5973007"/>
              <a:gd name="connsiteX16124" fmla="*/ 1438948 w 6884782"/>
              <a:gd name="connsiteY16124" fmla="*/ 4496443 h 5973007"/>
              <a:gd name="connsiteX16125" fmla="*/ 1444059 w 6884782"/>
              <a:gd name="connsiteY16125" fmla="*/ 4498921 h 5973007"/>
              <a:gd name="connsiteX16126" fmla="*/ 1444834 w 6884782"/>
              <a:gd name="connsiteY16126" fmla="*/ 4501606 h 5973007"/>
              <a:gd name="connsiteX16127" fmla="*/ 1443130 w 6884782"/>
              <a:gd name="connsiteY16127" fmla="*/ 4501606 h 5973007"/>
              <a:gd name="connsiteX16128" fmla="*/ 1442201 w 6884782"/>
              <a:gd name="connsiteY16128" fmla="*/ 4501089 h 5973007"/>
              <a:gd name="connsiteX16129" fmla="*/ 1441426 w 6884782"/>
              <a:gd name="connsiteY16129" fmla="*/ 4499334 h 5973007"/>
              <a:gd name="connsiteX16130" fmla="*/ 1438948 w 6884782"/>
              <a:gd name="connsiteY16130" fmla="*/ 4498095 h 5973007"/>
              <a:gd name="connsiteX16131" fmla="*/ 1438948 w 6884782"/>
              <a:gd name="connsiteY16131" fmla="*/ 4496443 h 5973007"/>
              <a:gd name="connsiteX16132" fmla="*/ 962332 w 6884782"/>
              <a:gd name="connsiteY16132" fmla="*/ 4496236 h 5973007"/>
              <a:gd name="connsiteX16133" fmla="*/ 969302 w 6884782"/>
              <a:gd name="connsiteY16133" fmla="*/ 4506665 h 5973007"/>
              <a:gd name="connsiteX16134" fmla="*/ 964655 w 6884782"/>
              <a:gd name="connsiteY16134" fmla="*/ 4507078 h 5973007"/>
              <a:gd name="connsiteX16135" fmla="*/ 961248 w 6884782"/>
              <a:gd name="connsiteY16135" fmla="*/ 4505013 h 5973007"/>
              <a:gd name="connsiteX16136" fmla="*/ 962332 w 6884782"/>
              <a:gd name="connsiteY16136" fmla="*/ 4496236 h 5973007"/>
              <a:gd name="connsiteX16137" fmla="*/ 6253270 w 6884782"/>
              <a:gd name="connsiteY16137" fmla="*/ 4495944 h 5973007"/>
              <a:gd name="connsiteX16138" fmla="*/ 6253270 w 6884782"/>
              <a:gd name="connsiteY16138" fmla="*/ 4497080 h 5973007"/>
              <a:gd name="connsiteX16139" fmla="*/ 6254044 w 6884782"/>
              <a:gd name="connsiteY16139" fmla="*/ 4499662 h 5973007"/>
              <a:gd name="connsiteX16140" fmla="*/ 6257762 w 6884782"/>
              <a:gd name="connsiteY16140" fmla="*/ 4497597 h 5973007"/>
              <a:gd name="connsiteX16141" fmla="*/ 6256833 w 6884782"/>
              <a:gd name="connsiteY16141" fmla="*/ 4497493 h 5973007"/>
              <a:gd name="connsiteX16142" fmla="*/ 6263184 w 6884782"/>
              <a:gd name="connsiteY16142" fmla="*/ 4495738 h 5973007"/>
              <a:gd name="connsiteX16143" fmla="*/ 6262099 w 6884782"/>
              <a:gd name="connsiteY16143" fmla="*/ 4496048 h 5973007"/>
              <a:gd name="connsiteX16144" fmla="*/ 6262254 w 6884782"/>
              <a:gd name="connsiteY16144" fmla="*/ 4497597 h 5973007"/>
              <a:gd name="connsiteX16145" fmla="*/ 6259311 w 6884782"/>
              <a:gd name="connsiteY16145" fmla="*/ 4497597 h 5973007"/>
              <a:gd name="connsiteX16146" fmla="*/ 6259930 w 6884782"/>
              <a:gd name="connsiteY16146" fmla="*/ 4497803 h 5973007"/>
              <a:gd name="connsiteX16147" fmla="*/ 6261944 w 6884782"/>
              <a:gd name="connsiteY16147" fmla="*/ 4499868 h 5973007"/>
              <a:gd name="connsiteX16148" fmla="*/ 6263958 w 6884782"/>
              <a:gd name="connsiteY16148" fmla="*/ 4498629 h 5973007"/>
              <a:gd name="connsiteX16149" fmla="*/ 6214081 w 6884782"/>
              <a:gd name="connsiteY16149" fmla="*/ 4495428 h 5973007"/>
              <a:gd name="connsiteX16150" fmla="*/ 6216095 w 6884782"/>
              <a:gd name="connsiteY16150" fmla="*/ 4497183 h 5973007"/>
              <a:gd name="connsiteX16151" fmla="*/ 6214081 w 6884782"/>
              <a:gd name="connsiteY16151" fmla="*/ 4498526 h 5973007"/>
              <a:gd name="connsiteX16152" fmla="*/ 6212377 w 6884782"/>
              <a:gd name="connsiteY16152" fmla="*/ 4497597 h 5973007"/>
              <a:gd name="connsiteX16153" fmla="*/ 6209899 w 6884782"/>
              <a:gd name="connsiteY16153" fmla="*/ 4498216 h 5973007"/>
              <a:gd name="connsiteX16154" fmla="*/ 6208815 w 6884782"/>
              <a:gd name="connsiteY16154" fmla="*/ 4496770 h 5973007"/>
              <a:gd name="connsiteX16155" fmla="*/ 6214081 w 6884782"/>
              <a:gd name="connsiteY16155" fmla="*/ 4495428 h 5973007"/>
              <a:gd name="connsiteX16156" fmla="*/ 883490 w 6884782"/>
              <a:gd name="connsiteY16156" fmla="*/ 4494481 h 5973007"/>
              <a:gd name="connsiteX16157" fmla="*/ 887207 w 6884782"/>
              <a:gd name="connsiteY16157" fmla="*/ 4494791 h 5973007"/>
              <a:gd name="connsiteX16158" fmla="*/ 888447 w 6884782"/>
              <a:gd name="connsiteY16158" fmla="*/ 4495617 h 5973007"/>
              <a:gd name="connsiteX16159" fmla="*/ 885658 w 6884782"/>
              <a:gd name="connsiteY16159" fmla="*/ 4503258 h 5973007"/>
              <a:gd name="connsiteX16160" fmla="*/ 881631 w 6884782"/>
              <a:gd name="connsiteY16160" fmla="*/ 4503877 h 5973007"/>
              <a:gd name="connsiteX16161" fmla="*/ 878688 w 6884782"/>
              <a:gd name="connsiteY16161" fmla="*/ 4501915 h 5973007"/>
              <a:gd name="connsiteX16162" fmla="*/ 878997 w 6884782"/>
              <a:gd name="connsiteY16162" fmla="*/ 4500057 h 5973007"/>
              <a:gd name="connsiteX16163" fmla="*/ 879772 w 6884782"/>
              <a:gd name="connsiteY16163" fmla="*/ 4497888 h 5973007"/>
              <a:gd name="connsiteX16164" fmla="*/ 883490 w 6884782"/>
              <a:gd name="connsiteY16164" fmla="*/ 4494481 h 5973007"/>
              <a:gd name="connsiteX16165" fmla="*/ 1602828 w 6884782"/>
              <a:gd name="connsiteY16165" fmla="*/ 4494378 h 5973007"/>
              <a:gd name="connsiteX16166" fmla="*/ 1607165 w 6884782"/>
              <a:gd name="connsiteY16166" fmla="*/ 4500780 h 5973007"/>
              <a:gd name="connsiteX16167" fmla="*/ 1606546 w 6884782"/>
              <a:gd name="connsiteY16167" fmla="*/ 4501915 h 5973007"/>
              <a:gd name="connsiteX16168" fmla="*/ 1598646 w 6884782"/>
              <a:gd name="connsiteY16168" fmla="*/ 4509350 h 5973007"/>
              <a:gd name="connsiteX16169" fmla="*/ 1596323 w 6884782"/>
              <a:gd name="connsiteY16169" fmla="*/ 4506459 h 5973007"/>
              <a:gd name="connsiteX16170" fmla="*/ 1596787 w 6884782"/>
              <a:gd name="connsiteY16170" fmla="*/ 4501915 h 5973007"/>
              <a:gd name="connsiteX16171" fmla="*/ 1602828 w 6884782"/>
              <a:gd name="connsiteY16171" fmla="*/ 4494378 h 5973007"/>
              <a:gd name="connsiteX16172" fmla="*/ 1067816 w 6884782"/>
              <a:gd name="connsiteY16172" fmla="*/ 4494171 h 5973007"/>
              <a:gd name="connsiteX16173" fmla="*/ 1066422 w 6884782"/>
              <a:gd name="connsiteY16173" fmla="*/ 4495204 h 5973007"/>
              <a:gd name="connsiteX16174" fmla="*/ 1067507 w 6884782"/>
              <a:gd name="connsiteY16174" fmla="*/ 4494997 h 5973007"/>
              <a:gd name="connsiteX16175" fmla="*/ 1448551 w 6884782"/>
              <a:gd name="connsiteY16175" fmla="*/ 4493448 h 5973007"/>
              <a:gd name="connsiteX16176" fmla="*/ 1450100 w 6884782"/>
              <a:gd name="connsiteY16176" fmla="*/ 4495513 h 5973007"/>
              <a:gd name="connsiteX16177" fmla="*/ 1451649 w 6884782"/>
              <a:gd name="connsiteY16177" fmla="*/ 4496752 h 5973007"/>
              <a:gd name="connsiteX16178" fmla="*/ 1451495 w 6884782"/>
              <a:gd name="connsiteY16178" fmla="*/ 4499334 h 5973007"/>
              <a:gd name="connsiteX16179" fmla="*/ 1449791 w 6884782"/>
              <a:gd name="connsiteY16179" fmla="*/ 4498198 h 5973007"/>
              <a:gd name="connsiteX16180" fmla="*/ 1445918 w 6884782"/>
              <a:gd name="connsiteY16180" fmla="*/ 4493965 h 5973007"/>
              <a:gd name="connsiteX16181" fmla="*/ 1448551 w 6884782"/>
              <a:gd name="connsiteY16181" fmla="*/ 4493448 h 5973007"/>
              <a:gd name="connsiteX16182" fmla="*/ 928409 w 6884782"/>
              <a:gd name="connsiteY16182" fmla="*/ 4493345 h 5973007"/>
              <a:gd name="connsiteX16183" fmla="*/ 931353 w 6884782"/>
              <a:gd name="connsiteY16183" fmla="*/ 4496236 h 5973007"/>
              <a:gd name="connsiteX16184" fmla="*/ 929029 w 6884782"/>
              <a:gd name="connsiteY16184" fmla="*/ 4504394 h 5973007"/>
              <a:gd name="connsiteX16185" fmla="*/ 928100 w 6884782"/>
              <a:gd name="connsiteY16185" fmla="*/ 4503568 h 5973007"/>
              <a:gd name="connsiteX16186" fmla="*/ 930733 w 6884782"/>
              <a:gd name="connsiteY16186" fmla="*/ 4508317 h 5973007"/>
              <a:gd name="connsiteX16187" fmla="*/ 926706 w 6884782"/>
              <a:gd name="connsiteY16187" fmla="*/ 4511105 h 5973007"/>
              <a:gd name="connsiteX16188" fmla="*/ 927170 w 6884782"/>
              <a:gd name="connsiteY16188" fmla="*/ 4511828 h 5973007"/>
              <a:gd name="connsiteX16189" fmla="*/ 926551 w 6884782"/>
              <a:gd name="connsiteY16189" fmla="*/ 4514513 h 5973007"/>
              <a:gd name="connsiteX16190" fmla="*/ 924382 w 6884782"/>
              <a:gd name="connsiteY16190" fmla="*/ 4513067 h 5973007"/>
              <a:gd name="connsiteX16191" fmla="*/ 924382 w 6884782"/>
              <a:gd name="connsiteY16191" fmla="*/ 4512654 h 5973007"/>
              <a:gd name="connsiteX16192" fmla="*/ 914314 w 6884782"/>
              <a:gd name="connsiteY16192" fmla="*/ 4519572 h 5973007"/>
              <a:gd name="connsiteX16193" fmla="*/ 914469 w 6884782"/>
              <a:gd name="connsiteY16193" fmla="*/ 4519985 h 5973007"/>
              <a:gd name="connsiteX16194" fmla="*/ 908428 w 6884782"/>
              <a:gd name="connsiteY16194" fmla="*/ 4526490 h 5973007"/>
              <a:gd name="connsiteX16195" fmla="*/ 907189 w 6884782"/>
              <a:gd name="connsiteY16195" fmla="*/ 4524425 h 5973007"/>
              <a:gd name="connsiteX16196" fmla="*/ 897120 w 6884782"/>
              <a:gd name="connsiteY16196" fmla="*/ 4531137 h 5973007"/>
              <a:gd name="connsiteX16197" fmla="*/ 925312 w 6884782"/>
              <a:gd name="connsiteY16197" fmla="*/ 4499850 h 5973007"/>
              <a:gd name="connsiteX16198" fmla="*/ 926241 w 6884782"/>
              <a:gd name="connsiteY16198" fmla="*/ 4500883 h 5973007"/>
              <a:gd name="connsiteX16199" fmla="*/ 925931 w 6884782"/>
              <a:gd name="connsiteY16199" fmla="*/ 4498508 h 5973007"/>
              <a:gd name="connsiteX16200" fmla="*/ 926706 w 6884782"/>
              <a:gd name="connsiteY16200" fmla="*/ 4494894 h 5973007"/>
              <a:gd name="connsiteX16201" fmla="*/ 928409 w 6884782"/>
              <a:gd name="connsiteY16201" fmla="*/ 4493345 h 5973007"/>
              <a:gd name="connsiteX16202" fmla="*/ 5571571 w 6884782"/>
              <a:gd name="connsiteY16202" fmla="*/ 4493260 h 5973007"/>
              <a:gd name="connsiteX16203" fmla="*/ 5573275 w 6884782"/>
              <a:gd name="connsiteY16203" fmla="*/ 4497183 h 5973007"/>
              <a:gd name="connsiteX16204" fmla="*/ 5560883 w 6884782"/>
              <a:gd name="connsiteY16204" fmla="*/ 4508129 h 5973007"/>
              <a:gd name="connsiteX16205" fmla="*/ 5555152 w 6884782"/>
              <a:gd name="connsiteY16205" fmla="*/ 4506993 h 5973007"/>
              <a:gd name="connsiteX16206" fmla="*/ 5571571 w 6884782"/>
              <a:gd name="connsiteY16206" fmla="*/ 4493260 h 5973007"/>
              <a:gd name="connsiteX16207" fmla="*/ 1384889 w 6884782"/>
              <a:gd name="connsiteY16207" fmla="*/ 4493139 h 5973007"/>
              <a:gd name="connsiteX16208" fmla="*/ 1399759 w 6884782"/>
              <a:gd name="connsiteY16208" fmla="*/ 4494997 h 5973007"/>
              <a:gd name="connsiteX16209" fmla="*/ 1403942 w 6884782"/>
              <a:gd name="connsiteY16209" fmla="*/ 4499024 h 5973007"/>
              <a:gd name="connsiteX16210" fmla="*/ 1409517 w 6884782"/>
              <a:gd name="connsiteY16210" fmla="*/ 4495823 h 5973007"/>
              <a:gd name="connsiteX16211" fmla="*/ 1427485 w 6884782"/>
              <a:gd name="connsiteY16211" fmla="*/ 4505530 h 5973007"/>
              <a:gd name="connsiteX16212" fmla="*/ 1415713 w 6884782"/>
              <a:gd name="connsiteY16212" fmla="*/ 4508420 h 5973007"/>
              <a:gd name="connsiteX16213" fmla="*/ 1409363 w 6884782"/>
              <a:gd name="connsiteY16213" fmla="*/ 4508008 h 5973007"/>
              <a:gd name="connsiteX16214" fmla="*/ 1406574 w 6884782"/>
              <a:gd name="connsiteY16214" fmla="*/ 4507181 h 5973007"/>
              <a:gd name="connsiteX16215" fmla="*/ 1406729 w 6884782"/>
              <a:gd name="connsiteY16215" fmla="*/ 4507388 h 5973007"/>
              <a:gd name="connsiteX16216" fmla="*/ 1405955 w 6884782"/>
              <a:gd name="connsiteY16216" fmla="*/ 4506975 h 5973007"/>
              <a:gd name="connsiteX16217" fmla="*/ 1402547 w 6884782"/>
              <a:gd name="connsiteY16217" fmla="*/ 4505839 h 5973007"/>
              <a:gd name="connsiteX16218" fmla="*/ 1402237 w 6884782"/>
              <a:gd name="connsiteY16218" fmla="*/ 4506872 h 5973007"/>
              <a:gd name="connsiteX16219" fmla="*/ 1397125 w 6884782"/>
              <a:gd name="connsiteY16219" fmla="*/ 4509247 h 5973007"/>
              <a:gd name="connsiteX16220" fmla="*/ 1395267 w 6884782"/>
              <a:gd name="connsiteY16220" fmla="*/ 4508317 h 5973007"/>
              <a:gd name="connsiteX16221" fmla="*/ 1394803 w 6884782"/>
              <a:gd name="connsiteY16221" fmla="*/ 4507181 h 5973007"/>
              <a:gd name="connsiteX16222" fmla="*/ 1394338 w 6884782"/>
              <a:gd name="connsiteY16222" fmla="*/ 4507388 h 5973007"/>
              <a:gd name="connsiteX16223" fmla="*/ 1393873 w 6884782"/>
              <a:gd name="connsiteY16223" fmla="*/ 4502845 h 5973007"/>
              <a:gd name="connsiteX16224" fmla="*/ 1394803 w 6884782"/>
              <a:gd name="connsiteY16224" fmla="*/ 4502741 h 5973007"/>
              <a:gd name="connsiteX16225" fmla="*/ 1395422 w 6884782"/>
              <a:gd name="connsiteY16225" fmla="*/ 4501089 h 5973007"/>
              <a:gd name="connsiteX16226" fmla="*/ 1390155 w 6884782"/>
              <a:gd name="connsiteY16226" fmla="*/ 4498095 h 5973007"/>
              <a:gd name="connsiteX16227" fmla="*/ 1384889 w 6884782"/>
              <a:gd name="connsiteY16227" fmla="*/ 4493139 h 5973007"/>
              <a:gd name="connsiteX16228" fmla="*/ 606245 w 6884782"/>
              <a:gd name="connsiteY16228" fmla="*/ 4492906 h 5973007"/>
              <a:gd name="connsiteX16229" fmla="*/ 608703 w 6884782"/>
              <a:gd name="connsiteY16229" fmla="*/ 4497579 h 5973007"/>
              <a:gd name="connsiteX16230" fmla="*/ 606225 w 6884782"/>
              <a:gd name="connsiteY16230" fmla="*/ 4499128 h 5973007"/>
              <a:gd name="connsiteX16231" fmla="*/ 600649 w 6884782"/>
              <a:gd name="connsiteY16231" fmla="*/ 4495204 h 5973007"/>
              <a:gd name="connsiteX16232" fmla="*/ 606245 w 6884782"/>
              <a:gd name="connsiteY16232" fmla="*/ 4492906 h 5973007"/>
              <a:gd name="connsiteX16233" fmla="*/ 6239484 w 6884782"/>
              <a:gd name="connsiteY16233" fmla="*/ 4492434 h 5973007"/>
              <a:gd name="connsiteX16234" fmla="*/ 6238555 w 6884782"/>
              <a:gd name="connsiteY16234" fmla="*/ 4493157 h 5973007"/>
              <a:gd name="connsiteX16235" fmla="*/ 6238865 w 6884782"/>
              <a:gd name="connsiteY16235" fmla="*/ 4493673 h 5973007"/>
              <a:gd name="connsiteX16236" fmla="*/ 6239329 w 6884782"/>
              <a:gd name="connsiteY16236" fmla="*/ 4495841 h 5973007"/>
              <a:gd name="connsiteX16237" fmla="*/ 6245370 w 6884782"/>
              <a:gd name="connsiteY16237" fmla="*/ 4496358 h 5973007"/>
              <a:gd name="connsiteX16238" fmla="*/ 6250482 w 6884782"/>
              <a:gd name="connsiteY16238" fmla="*/ 4495325 h 5973007"/>
              <a:gd name="connsiteX16239" fmla="*/ 6250637 w 6884782"/>
              <a:gd name="connsiteY16239" fmla="*/ 4494809 h 5973007"/>
              <a:gd name="connsiteX16240" fmla="*/ 6244131 w 6884782"/>
              <a:gd name="connsiteY16240" fmla="*/ 4492743 h 5973007"/>
              <a:gd name="connsiteX16241" fmla="*/ 1703201 w 6884782"/>
              <a:gd name="connsiteY16241" fmla="*/ 4491900 h 5973007"/>
              <a:gd name="connsiteX16242" fmla="*/ 1712960 w 6884782"/>
              <a:gd name="connsiteY16242" fmla="*/ 4498818 h 5973007"/>
              <a:gd name="connsiteX16243" fmla="*/ 1717142 w 6884782"/>
              <a:gd name="connsiteY16243" fmla="*/ 4499850 h 5973007"/>
              <a:gd name="connsiteX16244" fmla="*/ 1717451 w 6884782"/>
              <a:gd name="connsiteY16244" fmla="*/ 4499024 h 5973007"/>
              <a:gd name="connsiteX16245" fmla="*/ 1717142 w 6884782"/>
              <a:gd name="connsiteY16245" fmla="*/ 4498921 h 5973007"/>
              <a:gd name="connsiteX16246" fmla="*/ 1721169 w 6884782"/>
              <a:gd name="connsiteY16246" fmla="*/ 4493965 h 5973007"/>
              <a:gd name="connsiteX16247" fmla="*/ 1724267 w 6884782"/>
              <a:gd name="connsiteY16247" fmla="*/ 4501915 h 5973007"/>
              <a:gd name="connsiteX16248" fmla="*/ 1724112 w 6884782"/>
              <a:gd name="connsiteY16248" fmla="*/ 4502329 h 5973007"/>
              <a:gd name="connsiteX16249" fmla="*/ 1726900 w 6884782"/>
              <a:gd name="connsiteY16249" fmla="*/ 4504394 h 5973007"/>
              <a:gd name="connsiteX16250" fmla="*/ 1728913 w 6884782"/>
              <a:gd name="connsiteY16250" fmla="*/ 4507801 h 5973007"/>
              <a:gd name="connsiteX16251" fmla="*/ 1729843 w 6884782"/>
              <a:gd name="connsiteY16251" fmla="*/ 4512551 h 5973007"/>
              <a:gd name="connsiteX16252" fmla="*/ 1731857 w 6884782"/>
              <a:gd name="connsiteY16252" fmla="*/ 4513170 h 5973007"/>
              <a:gd name="connsiteX16253" fmla="*/ 1727520 w 6884782"/>
              <a:gd name="connsiteY16253" fmla="*/ 4525458 h 5973007"/>
              <a:gd name="connsiteX16254" fmla="*/ 1726900 w 6884782"/>
              <a:gd name="connsiteY16254" fmla="*/ 4525148 h 5973007"/>
              <a:gd name="connsiteX16255" fmla="*/ 1723802 w 6884782"/>
              <a:gd name="connsiteY16255" fmla="*/ 4529381 h 5973007"/>
              <a:gd name="connsiteX16256" fmla="*/ 1710481 w 6884782"/>
              <a:gd name="connsiteY16256" fmla="*/ 4535783 h 5973007"/>
              <a:gd name="connsiteX16257" fmla="*/ 1696850 w 6884782"/>
              <a:gd name="connsiteY16257" fmla="*/ 4528969 h 5973007"/>
              <a:gd name="connsiteX16258" fmla="*/ 1696076 w 6884782"/>
              <a:gd name="connsiteY16258" fmla="*/ 4526697 h 5973007"/>
              <a:gd name="connsiteX16259" fmla="*/ 1693908 w 6884782"/>
              <a:gd name="connsiteY16259" fmla="*/ 4525458 h 5973007"/>
              <a:gd name="connsiteX16260" fmla="*/ 1688795 w 6884782"/>
              <a:gd name="connsiteY16260" fmla="*/ 4517610 h 5973007"/>
              <a:gd name="connsiteX16261" fmla="*/ 1694836 w 6884782"/>
              <a:gd name="connsiteY16261" fmla="*/ 4512964 h 5973007"/>
              <a:gd name="connsiteX16262" fmla="*/ 1695920 w 6884782"/>
              <a:gd name="connsiteY16262" fmla="*/ 4512551 h 5973007"/>
              <a:gd name="connsiteX16263" fmla="*/ 1698864 w 6884782"/>
              <a:gd name="connsiteY16263" fmla="*/ 4504497 h 5973007"/>
              <a:gd name="connsiteX16264" fmla="*/ 1703201 w 6884782"/>
              <a:gd name="connsiteY16264" fmla="*/ 4491900 h 5973007"/>
              <a:gd name="connsiteX16265" fmla="*/ 5903979 w 6884782"/>
              <a:gd name="connsiteY16265" fmla="*/ 4491608 h 5973007"/>
              <a:gd name="connsiteX16266" fmla="*/ 5916061 w 6884782"/>
              <a:gd name="connsiteY16266" fmla="*/ 4534356 h 5973007"/>
              <a:gd name="connsiteX16267" fmla="*/ 5894840 w 6884782"/>
              <a:gd name="connsiteY16267" fmla="*/ 4493260 h 5973007"/>
              <a:gd name="connsiteX16268" fmla="*/ 5903979 w 6884782"/>
              <a:gd name="connsiteY16268" fmla="*/ 4491608 h 5973007"/>
              <a:gd name="connsiteX16269" fmla="*/ 1188635 w 6884782"/>
              <a:gd name="connsiteY16269" fmla="*/ 4491280 h 5973007"/>
              <a:gd name="connsiteX16270" fmla="*/ 1188945 w 6884782"/>
              <a:gd name="connsiteY16270" fmla="*/ 4499024 h 5973007"/>
              <a:gd name="connsiteX16271" fmla="*/ 1181665 w 6884782"/>
              <a:gd name="connsiteY16271" fmla="*/ 4503980 h 5973007"/>
              <a:gd name="connsiteX16272" fmla="*/ 1178722 w 6884782"/>
              <a:gd name="connsiteY16272" fmla="*/ 4496030 h 5973007"/>
              <a:gd name="connsiteX16273" fmla="*/ 1179496 w 6884782"/>
              <a:gd name="connsiteY16273" fmla="*/ 4495204 h 5973007"/>
              <a:gd name="connsiteX16274" fmla="*/ 1188635 w 6884782"/>
              <a:gd name="connsiteY16274" fmla="*/ 4491280 h 5973007"/>
              <a:gd name="connsiteX16275" fmla="*/ 1664012 w 6884782"/>
              <a:gd name="connsiteY16275" fmla="*/ 4491074 h 5973007"/>
              <a:gd name="connsiteX16276" fmla="*/ 1683529 w 6884782"/>
              <a:gd name="connsiteY16276" fmla="*/ 4501399 h 5973007"/>
              <a:gd name="connsiteX16277" fmla="*/ 1673461 w 6884782"/>
              <a:gd name="connsiteY16277" fmla="*/ 4503568 h 5973007"/>
              <a:gd name="connsiteX16278" fmla="*/ 1677023 w 6884782"/>
              <a:gd name="connsiteY16278" fmla="*/ 4505530 h 5973007"/>
              <a:gd name="connsiteX16279" fmla="*/ 1671602 w 6884782"/>
              <a:gd name="connsiteY16279" fmla="*/ 4513790 h 5973007"/>
              <a:gd name="connsiteX16280" fmla="*/ 1647128 w 6884782"/>
              <a:gd name="connsiteY16280" fmla="*/ 4499128 h 5973007"/>
              <a:gd name="connsiteX16281" fmla="*/ 1649916 w 6884782"/>
              <a:gd name="connsiteY16281" fmla="*/ 4508317 h 5973007"/>
              <a:gd name="connsiteX16282" fmla="*/ 1646974 w 6884782"/>
              <a:gd name="connsiteY16282" fmla="*/ 4499024 h 5973007"/>
              <a:gd name="connsiteX16283" fmla="*/ 1637060 w 6884782"/>
              <a:gd name="connsiteY16283" fmla="*/ 4492313 h 5973007"/>
              <a:gd name="connsiteX16284" fmla="*/ 1657352 w 6884782"/>
              <a:gd name="connsiteY16284" fmla="*/ 4494997 h 5973007"/>
              <a:gd name="connsiteX16285" fmla="*/ 1658590 w 6884782"/>
              <a:gd name="connsiteY16285" fmla="*/ 4495720 h 5973007"/>
              <a:gd name="connsiteX16286" fmla="*/ 1658590 w 6884782"/>
              <a:gd name="connsiteY16286" fmla="*/ 4494274 h 5973007"/>
              <a:gd name="connsiteX16287" fmla="*/ 1664012 w 6884782"/>
              <a:gd name="connsiteY16287" fmla="*/ 4491074 h 5973007"/>
              <a:gd name="connsiteX16288" fmla="*/ 5770458 w 6884782"/>
              <a:gd name="connsiteY16288" fmla="*/ 4490678 h 5973007"/>
              <a:gd name="connsiteX16289" fmla="*/ 5775105 w 6884782"/>
              <a:gd name="connsiteY16289" fmla="*/ 4495944 h 5973007"/>
              <a:gd name="connsiteX16290" fmla="*/ 5770768 w 6884782"/>
              <a:gd name="connsiteY16290" fmla="*/ 4497803 h 5973007"/>
              <a:gd name="connsiteX16291" fmla="*/ 5769064 w 6884782"/>
              <a:gd name="connsiteY16291" fmla="*/ 4497080 h 5973007"/>
              <a:gd name="connsiteX16292" fmla="*/ 5770458 w 6884782"/>
              <a:gd name="connsiteY16292" fmla="*/ 4490678 h 5973007"/>
              <a:gd name="connsiteX16293" fmla="*/ 863508 w 6884782"/>
              <a:gd name="connsiteY16293" fmla="*/ 4490661 h 5973007"/>
              <a:gd name="connsiteX16294" fmla="*/ 862114 w 6884782"/>
              <a:gd name="connsiteY16294" fmla="*/ 4492416 h 5973007"/>
              <a:gd name="connsiteX16295" fmla="*/ 859325 w 6884782"/>
              <a:gd name="connsiteY16295" fmla="*/ 4491693 h 5973007"/>
              <a:gd name="connsiteX16296" fmla="*/ 859171 w 6884782"/>
              <a:gd name="connsiteY16296" fmla="*/ 4490867 h 5973007"/>
              <a:gd name="connsiteX16297" fmla="*/ 863508 w 6884782"/>
              <a:gd name="connsiteY16297" fmla="*/ 4490661 h 5973007"/>
              <a:gd name="connsiteX16298" fmla="*/ 1572778 w 6884782"/>
              <a:gd name="connsiteY16298" fmla="*/ 4490041 h 5973007"/>
              <a:gd name="connsiteX16299" fmla="*/ 1573862 w 6884782"/>
              <a:gd name="connsiteY16299" fmla="*/ 4490351 h 5973007"/>
              <a:gd name="connsiteX16300" fmla="*/ 1567512 w 6884782"/>
              <a:gd name="connsiteY16300" fmla="*/ 4493448 h 5973007"/>
              <a:gd name="connsiteX16301" fmla="*/ 1572778 w 6884782"/>
              <a:gd name="connsiteY16301" fmla="*/ 4490041 h 5973007"/>
              <a:gd name="connsiteX16302" fmla="*/ 973175 w 6884782"/>
              <a:gd name="connsiteY16302" fmla="*/ 4489421 h 5973007"/>
              <a:gd name="connsiteX16303" fmla="*/ 973949 w 6884782"/>
              <a:gd name="connsiteY16303" fmla="*/ 4489525 h 5973007"/>
              <a:gd name="connsiteX16304" fmla="*/ 973175 w 6884782"/>
              <a:gd name="connsiteY16304" fmla="*/ 4490970 h 5973007"/>
              <a:gd name="connsiteX16305" fmla="*/ 972865 w 6884782"/>
              <a:gd name="connsiteY16305" fmla="*/ 4490454 h 5973007"/>
              <a:gd name="connsiteX16306" fmla="*/ 973175 w 6884782"/>
              <a:gd name="connsiteY16306" fmla="*/ 4489421 h 5973007"/>
              <a:gd name="connsiteX16307" fmla="*/ 1068281 w 6884782"/>
              <a:gd name="connsiteY16307" fmla="*/ 4489215 h 5973007"/>
              <a:gd name="connsiteX16308" fmla="*/ 1069365 w 6884782"/>
              <a:gd name="connsiteY16308" fmla="*/ 4491796 h 5973007"/>
              <a:gd name="connsiteX16309" fmla="*/ 1068901 w 6884782"/>
              <a:gd name="connsiteY16309" fmla="*/ 4492932 h 5973007"/>
              <a:gd name="connsiteX16310" fmla="*/ 1070140 w 6884782"/>
              <a:gd name="connsiteY16310" fmla="*/ 4494378 h 5973007"/>
              <a:gd name="connsiteX16311" fmla="*/ 1080053 w 6884782"/>
              <a:gd name="connsiteY16311" fmla="*/ 4491900 h 5973007"/>
              <a:gd name="connsiteX16312" fmla="*/ 1105146 w 6884782"/>
              <a:gd name="connsiteY16312" fmla="*/ 4515855 h 5973007"/>
              <a:gd name="connsiteX16313" fmla="*/ 1104837 w 6884782"/>
              <a:gd name="connsiteY16313" fmla="*/ 4516887 h 5973007"/>
              <a:gd name="connsiteX16314" fmla="*/ 1105920 w 6884782"/>
              <a:gd name="connsiteY16314" fmla="*/ 4518127 h 5973007"/>
              <a:gd name="connsiteX16315" fmla="*/ 1107315 w 6884782"/>
              <a:gd name="connsiteY16315" fmla="*/ 4524115 h 5973007"/>
              <a:gd name="connsiteX16316" fmla="*/ 1103442 w 6884782"/>
              <a:gd name="connsiteY16316" fmla="*/ 4526181 h 5973007"/>
              <a:gd name="connsiteX16317" fmla="*/ 1102358 w 6884782"/>
              <a:gd name="connsiteY16317" fmla="*/ 4526181 h 5973007"/>
              <a:gd name="connsiteX16318" fmla="*/ 1102203 w 6884782"/>
              <a:gd name="connsiteY16318" fmla="*/ 4527936 h 5973007"/>
              <a:gd name="connsiteX16319" fmla="*/ 1102668 w 6884782"/>
              <a:gd name="connsiteY16319" fmla="*/ 4537745 h 5973007"/>
              <a:gd name="connsiteX16320" fmla="*/ 1094768 w 6884782"/>
              <a:gd name="connsiteY16320" fmla="*/ 4547348 h 5973007"/>
              <a:gd name="connsiteX16321" fmla="*/ 1087333 w 6884782"/>
              <a:gd name="connsiteY16321" fmla="*/ 4553750 h 5973007"/>
              <a:gd name="connsiteX16322" fmla="*/ 1087333 w 6884782"/>
              <a:gd name="connsiteY16322" fmla="*/ 4559842 h 5973007"/>
              <a:gd name="connsiteX16323" fmla="*/ 1086559 w 6884782"/>
              <a:gd name="connsiteY16323" fmla="*/ 4566244 h 5973007"/>
              <a:gd name="connsiteX16324" fmla="*/ 1084855 w 6884782"/>
              <a:gd name="connsiteY16324" fmla="*/ 4560358 h 5973007"/>
              <a:gd name="connsiteX16325" fmla="*/ 1085629 w 6884782"/>
              <a:gd name="connsiteY16325" fmla="*/ 4556538 h 5973007"/>
              <a:gd name="connsiteX16326" fmla="*/ 1085939 w 6884782"/>
              <a:gd name="connsiteY16326" fmla="*/ 4554989 h 5973007"/>
              <a:gd name="connsiteX16327" fmla="*/ 1084855 w 6884782"/>
              <a:gd name="connsiteY16327" fmla="*/ 4555918 h 5973007"/>
              <a:gd name="connsiteX16328" fmla="*/ 1061311 w 6884782"/>
              <a:gd name="connsiteY16328" fmla="*/ 4562940 h 5973007"/>
              <a:gd name="connsiteX16329" fmla="*/ 1035598 w 6884782"/>
              <a:gd name="connsiteY16329" fmla="*/ 4541979 h 5973007"/>
              <a:gd name="connsiteX16330" fmla="*/ 1037921 w 6884782"/>
              <a:gd name="connsiteY16330" fmla="*/ 4530311 h 5973007"/>
              <a:gd name="connsiteX16331" fmla="*/ 1037302 w 6884782"/>
              <a:gd name="connsiteY16331" fmla="*/ 4528142 h 5973007"/>
              <a:gd name="connsiteX16332" fmla="*/ 1032500 w 6884782"/>
              <a:gd name="connsiteY16332" fmla="*/ 4526490 h 5973007"/>
              <a:gd name="connsiteX16333" fmla="*/ 1033584 w 6884782"/>
              <a:gd name="connsiteY16333" fmla="*/ 4520088 h 5973007"/>
              <a:gd name="connsiteX16334" fmla="*/ 1035907 w 6884782"/>
              <a:gd name="connsiteY16334" fmla="*/ 4517920 h 5973007"/>
              <a:gd name="connsiteX16335" fmla="*/ 1034979 w 6884782"/>
              <a:gd name="connsiteY16335" fmla="*/ 4516475 h 5973007"/>
              <a:gd name="connsiteX16336" fmla="*/ 1043343 w 6884782"/>
              <a:gd name="connsiteY16336" fmla="*/ 4500676 h 5973007"/>
              <a:gd name="connsiteX16337" fmla="*/ 1051707 w 6884782"/>
              <a:gd name="connsiteY16337" fmla="*/ 4494997 h 5973007"/>
              <a:gd name="connsiteX16338" fmla="*/ 1054340 w 6884782"/>
              <a:gd name="connsiteY16338" fmla="*/ 4496030 h 5973007"/>
              <a:gd name="connsiteX16339" fmla="*/ 1055270 w 6884782"/>
              <a:gd name="connsiteY16339" fmla="*/ 4497166 h 5973007"/>
              <a:gd name="connsiteX16340" fmla="*/ 1056509 w 6884782"/>
              <a:gd name="connsiteY16340" fmla="*/ 4497579 h 5973007"/>
              <a:gd name="connsiteX16341" fmla="*/ 1065183 w 6884782"/>
              <a:gd name="connsiteY16341" fmla="*/ 4495513 h 5973007"/>
              <a:gd name="connsiteX16342" fmla="*/ 1061775 w 6884782"/>
              <a:gd name="connsiteY16342" fmla="*/ 4494997 h 5973007"/>
              <a:gd name="connsiteX16343" fmla="*/ 1062705 w 6884782"/>
              <a:gd name="connsiteY16343" fmla="*/ 4495101 h 5973007"/>
              <a:gd name="connsiteX16344" fmla="*/ 1062550 w 6884782"/>
              <a:gd name="connsiteY16344" fmla="*/ 4493345 h 5973007"/>
              <a:gd name="connsiteX16345" fmla="*/ 1061775 w 6884782"/>
              <a:gd name="connsiteY16345" fmla="*/ 4493345 h 5973007"/>
              <a:gd name="connsiteX16346" fmla="*/ 1062550 w 6884782"/>
              <a:gd name="connsiteY16346" fmla="*/ 4491590 h 5973007"/>
              <a:gd name="connsiteX16347" fmla="*/ 1068281 w 6884782"/>
              <a:gd name="connsiteY16347" fmla="*/ 4489215 h 5973007"/>
              <a:gd name="connsiteX16348" fmla="*/ 849877 w 6884782"/>
              <a:gd name="connsiteY16348" fmla="*/ 4488905 h 5973007"/>
              <a:gd name="connsiteX16349" fmla="*/ 854214 w 6884782"/>
              <a:gd name="connsiteY16349" fmla="*/ 4489421 h 5973007"/>
              <a:gd name="connsiteX16350" fmla="*/ 853750 w 6884782"/>
              <a:gd name="connsiteY16350" fmla="*/ 4492106 h 5973007"/>
              <a:gd name="connsiteX16351" fmla="*/ 850187 w 6884782"/>
              <a:gd name="connsiteY16351" fmla="*/ 4491486 h 5973007"/>
              <a:gd name="connsiteX16352" fmla="*/ 849877 w 6884782"/>
              <a:gd name="connsiteY16352" fmla="*/ 4488905 h 5973007"/>
              <a:gd name="connsiteX16353" fmla="*/ 5936817 w 6884782"/>
              <a:gd name="connsiteY16353" fmla="*/ 4488613 h 5973007"/>
              <a:gd name="connsiteX16354" fmla="*/ 5931086 w 6884782"/>
              <a:gd name="connsiteY16354" fmla="*/ 4495841 h 5973007"/>
              <a:gd name="connsiteX16355" fmla="*/ 5936817 w 6884782"/>
              <a:gd name="connsiteY16355" fmla="*/ 4488613 h 5973007"/>
              <a:gd name="connsiteX16356" fmla="*/ 6213771 w 6884782"/>
              <a:gd name="connsiteY16356" fmla="*/ 4487994 h 5973007"/>
              <a:gd name="connsiteX16357" fmla="*/ 6216095 w 6884782"/>
              <a:gd name="connsiteY16357" fmla="*/ 4488716 h 5973007"/>
              <a:gd name="connsiteX16358" fmla="*/ 6217954 w 6884782"/>
              <a:gd name="connsiteY16358" fmla="*/ 4488613 h 5973007"/>
              <a:gd name="connsiteX16359" fmla="*/ 6219503 w 6884782"/>
              <a:gd name="connsiteY16359" fmla="*/ 4490885 h 5973007"/>
              <a:gd name="connsiteX16360" fmla="*/ 6217644 w 6884782"/>
              <a:gd name="connsiteY16360" fmla="*/ 4491091 h 5973007"/>
              <a:gd name="connsiteX16361" fmla="*/ 6212222 w 6884782"/>
              <a:gd name="connsiteY16361" fmla="*/ 4490162 h 5973007"/>
              <a:gd name="connsiteX16362" fmla="*/ 6213771 w 6884782"/>
              <a:gd name="connsiteY16362" fmla="*/ 4487994 h 5973007"/>
              <a:gd name="connsiteX16363" fmla="*/ 999817 w 6884782"/>
              <a:gd name="connsiteY16363" fmla="*/ 4487769 h 5973007"/>
              <a:gd name="connsiteX16364" fmla="*/ 1001056 w 6884782"/>
              <a:gd name="connsiteY16364" fmla="*/ 4503154 h 5973007"/>
              <a:gd name="connsiteX16365" fmla="*/ 999042 w 6884782"/>
              <a:gd name="connsiteY16365" fmla="*/ 4503464 h 5973007"/>
              <a:gd name="connsiteX16366" fmla="*/ 1002450 w 6884782"/>
              <a:gd name="connsiteY16366" fmla="*/ 4509350 h 5973007"/>
              <a:gd name="connsiteX16367" fmla="*/ 1006013 w 6884782"/>
              <a:gd name="connsiteY16367" fmla="*/ 4518023 h 5973007"/>
              <a:gd name="connsiteX16368" fmla="*/ 1001366 w 6884782"/>
              <a:gd name="connsiteY16368" fmla="*/ 4515339 h 5973007"/>
              <a:gd name="connsiteX16369" fmla="*/ 998113 w 6884782"/>
              <a:gd name="connsiteY16369" fmla="*/ 4511725 h 5973007"/>
              <a:gd name="connsiteX16370" fmla="*/ 996719 w 6884782"/>
              <a:gd name="connsiteY16370" fmla="*/ 4515339 h 5973007"/>
              <a:gd name="connsiteX16371" fmla="*/ 993466 w 6884782"/>
              <a:gd name="connsiteY16371" fmla="*/ 4516681 h 5973007"/>
              <a:gd name="connsiteX16372" fmla="*/ 995325 w 6884782"/>
              <a:gd name="connsiteY16372" fmla="*/ 4513170 h 5973007"/>
              <a:gd name="connsiteX16373" fmla="*/ 997803 w 6884782"/>
              <a:gd name="connsiteY16373" fmla="*/ 4511415 h 5973007"/>
              <a:gd name="connsiteX16374" fmla="*/ 997494 w 6884782"/>
              <a:gd name="connsiteY16374" fmla="*/ 4511105 h 5973007"/>
              <a:gd name="connsiteX16375" fmla="*/ 995790 w 6884782"/>
              <a:gd name="connsiteY16375" fmla="*/ 4506046 h 5973007"/>
              <a:gd name="connsiteX16376" fmla="*/ 996873 w 6884782"/>
              <a:gd name="connsiteY16376" fmla="*/ 4503361 h 5973007"/>
              <a:gd name="connsiteX16377" fmla="*/ 995325 w 6884782"/>
              <a:gd name="connsiteY16377" fmla="*/ 4502638 h 5973007"/>
              <a:gd name="connsiteX16378" fmla="*/ 999817 w 6884782"/>
              <a:gd name="connsiteY16378" fmla="*/ 4487769 h 5973007"/>
              <a:gd name="connsiteX16379" fmla="*/ 5510077 w 6884782"/>
              <a:gd name="connsiteY16379" fmla="*/ 4487168 h 5973007"/>
              <a:gd name="connsiteX16380" fmla="*/ 5511781 w 6884782"/>
              <a:gd name="connsiteY16380" fmla="*/ 4494189 h 5973007"/>
              <a:gd name="connsiteX16381" fmla="*/ 5510077 w 6884782"/>
              <a:gd name="connsiteY16381" fmla="*/ 4495015 h 5973007"/>
              <a:gd name="connsiteX16382" fmla="*/ 5507909 w 6884782"/>
              <a:gd name="connsiteY16382" fmla="*/ 4495532 h 5973007"/>
              <a:gd name="connsiteX16383" fmla="*/ 5503572 w 6884782"/>
              <a:gd name="connsiteY16383" fmla="*/ 4494086 h 5973007"/>
              <a:gd name="connsiteX16384" fmla="*/ 5502332 w 6884782"/>
              <a:gd name="connsiteY16384" fmla="*/ 4491917 h 5973007"/>
              <a:gd name="connsiteX16385" fmla="*/ 5502332 w 6884782"/>
              <a:gd name="connsiteY16385" fmla="*/ 4490575 h 5973007"/>
              <a:gd name="connsiteX16386" fmla="*/ 5502488 w 6884782"/>
              <a:gd name="connsiteY16386" fmla="*/ 4488820 h 5973007"/>
              <a:gd name="connsiteX16387" fmla="*/ 5510077 w 6884782"/>
              <a:gd name="connsiteY16387" fmla="*/ 4487168 h 5973007"/>
              <a:gd name="connsiteX16388" fmla="*/ 1604067 w 6884782"/>
              <a:gd name="connsiteY16388" fmla="*/ 4487150 h 5973007"/>
              <a:gd name="connsiteX16389" fmla="*/ 1612276 w 6884782"/>
              <a:gd name="connsiteY16389" fmla="*/ 4492829 h 5973007"/>
              <a:gd name="connsiteX16390" fmla="*/ 1604686 w 6884782"/>
              <a:gd name="connsiteY16390" fmla="*/ 4489421 h 5973007"/>
              <a:gd name="connsiteX16391" fmla="*/ 1604067 w 6884782"/>
              <a:gd name="connsiteY16391" fmla="*/ 4487150 h 5973007"/>
              <a:gd name="connsiteX16392" fmla="*/ 1102494 w 6884782"/>
              <a:gd name="connsiteY16392" fmla="*/ 4486324 h 5973007"/>
              <a:gd name="connsiteX16393" fmla="*/ 1106541 w 6884782"/>
              <a:gd name="connsiteY16393" fmla="*/ 4488905 h 5973007"/>
              <a:gd name="connsiteX16394" fmla="*/ 1102668 w 6884782"/>
              <a:gd name="connsiteY16394" fmla="*/ 4492209 h 5973007"/>
              <a:gd name="connsiteX16395" fmla="*/ 1098796 w 6884782"/>
              <a:gd name="connsiteY16395" fmla="*/ 4489938 h 5973007"/>
              <a:gd name="connsiteX16396" fmla="*/ 1102494 w 6884782"/>
              <a:gd name="connsiteY16396" fmla="*/ 4486324 h 5973007"/>
              <a:gd name="connsiteX16397" fmla="*/ 6492740 w 6884782"/>
              <a:gd name="connsiteY16397" fmla="*/ 4486238 h 5973007"/>
              <a:gd name="connsiteX16398" fmla="*/ 6491810 w 6884782"/>
              <a:gd name="connsiteY16398" fmla="*/ 4490575 h 5973007"/>
              <a:gd name="connsiteX16399" fmla="*/ 6488248 w 6884782"/>
              <a:gd name="connsiteY16399" fmla="*/ 4487271 h 5973007"/>
              <a:gd name="connsiteX16400" fmla="*/ 6492740 w 6884782"/>
              <a:gd name="connsiteY16400" fmla="*/ 4486238 h 5973007"/>
              <a:gd name="connsiteX16401" fmla="*/ 1758499 w 6884782"/>
              <a:gd name="connsiteY16401" fmla="*/ 4486220 h 5973007"/>
              <a:gd name="connsiteX16402" fmla="*/ 1760822 w 6884782"/>
              <a:gd name="connsiteY16402" fmla="*/ 4490764 h 5973007"/>
              <a:gd name="connsiteX16403" fmla="*/ 1757569 w 6884782"/>
              <a:gd name="connsiteY16403" fmla="*/ 4491383 h 5973007"/>
              <a:gd name="connsiteX16404" fmla="*/ 1758499 w 6884782"/>
              <a:gd name="connsiteY16404" fmla="*/ 4486220 h 5973007"/>
              <a:gd name="connsiteX16405" fmla="*/ 633177 w 6884782"/>
              <a:gd name="connsiteY16405" fmla="*/ 4486117 h 5973007"/>
              <a:gd name="connsiteX16406" fmla="*/ 637669 w 6884782"/>
              <a:gd name="connsiteY16406" fmla="*/ 4491280 h 5973007"/>
              <a:gd name="connsiteX16407" fmla="*/ 632867 w 6884782"/>
              <a:gd name="connsiteY16407" fmla="*/ 4493242 h 5973007"/>
              <a:gd name="connsiteX16408" fmla="*/ 630234 w 6884782"/>
              <a:gd name="connsiteY16408" fmla="*/ 4491900 h 5973007"/>
              <a:gd name="connsiteX16409" fmla="*/ 630544 w 6884782"/>
              <a:gd name="connsiteY16409" fmla="*/ 4488699 h 5973007"/>
              <a:gd name="connsiteX16410" fmla="*/ 633177 w 6884782"/>
              <a:gd name="connsiteY16410" fmla="*/ 4486117 h 5973007"/>
              <a:gd name="connsiteX16411" fmla="*/ 5794002 w 6884782"/>
              <a:gd name="connsiteY16411" fmla="*/ 4486032 h 5973007"/>
              <a:gd name="connsiteX16412" fmla="*/ 5797410 w 6884782"/>
              <a:gd name="connsiteY16412" fmla="*/ 4492743 h 5973007"/>
              <a:gd name="connsiteX16413" fmla="*/ 5788581 w 6884782"/>
              <a:gd name="connsiteY16413" fmla="*/ 4496770 h 5973007"/>
              <a:gd name="connsiteX16414" fmla="*/ 5785173 w 6884782"/>
              <a:gd name="connsiteY16414" fmla="*/ 4496564 h 5973007"/>
              <a:gd name="connsiteX16415" fmla="*/ 5794002 w 6884782"/>
              <a:gd name="connsiteY16415" fmla="*/ 4486032 h 5973007"/>
              <a:gd name="connsiteX16416" fmla="*/ 901070 w 6884782"/>
              <a:gd name="connsiteY16416" fmla="*/ 4485846 h 5973007"/>
              <a:gd name="connsiteX16417" fmla="*/ 905175 w 6884782"/>
              <a:gd name="connsiteY16417" fmla="*/ 4488389 h 5973007"/>
              <a:gd name="connsiteX16418" fmla="*/ 899599 w 6884782"/>
              <a:gd name="connsiteY16418" fmla="*/ 4494068 h 5973007"/>
              <a:gd name="connsiteX16419" fmla="*/ 896965 w 6884782"/>
              <a:gd name="connsiteY16419" fmla="*/ 4493965 h 5973007"/>
              <a:gd name="connsiteX16420" fmla="*/ 893868 w 6884782"/>
              <a:gd name="connsiteY16420" fmla="*/ 4491796 h 5973007"/>
              <a:gd name="connsiteX16421" fmla="*/ 896501 w 6884782"/>
              <a:gd name="connsiteY16421" fmla="*/ 4486634 h 5973007"/>
              <a:gd name="connsiteX16422" fmla="*/ 901070 w 6884782"/>
              <a:gd name="connsiteY16422" fmla="*/ 4485846 h 5973007"/>
              <a:gd name="connsiteX16423" fmla="*/ 6201535 w 6884782"/>
              <a:gd name="connsiteY16423" fmla="*/ 4485412 h 5973007"/>
              <a:gd name="connsiteX16424" fmla="*/ 6208040 w 6884782"/>
              <a:gd name="connsiteY16424" fmla="*/ 4490781 h 5973007"/>
              <a:gd name="connsiteX16425" fmla="*/ 6205252 w 6884782"/>
              <a:gd name="connsiteY16425" fmla="*/ 4492640 h 5973007"/>
              <a:gd name="connsiteX16426" fmla="*/ 6198282 w 6884782"/>
              <a:gd name="connsiteY16426" fmla="*/ 4489027 h 5973007"/>
              <a:gd name="connsiteX16427" fmla="*/ 6197662 w 6884782"/>
              <a:gd name="connsiteY16427" fmla="*/ 4486961 h 5973007"/>
              <a:gd name="connsiteX16428" fmla="*/ 6201535 w 6884782"/>
              <a:gd name="connsiteY16428" fmla="*/ 4485412 h 5973007"/>
              <a:gd name="connsiteX16429" fmla="*/ 1789788 w 6884782"/>
              <a:gd name="connsiteY16429" fmla="*/ 4485395 h 5973007"/>
              <a:gd name="connsiteX16430" fmla="*/ 1794125 w 6884782"/>
              <a:gd name="connsiteY16430" fmla="*/ 4485601 h 5973007"/>
              <a:gd name="connsiteX16431" fmla="*/ 1793350 w 6884782"/>
              <a:gd name="connsiteY16431" fmla="*/ 4489112 h 5973007"/>
              <a:gd name="connsiteX16432" fmla="*/ 1790873 w 6884782"/>
              <a:gd name="connsiteY16432" fmla="*/ 4489938 h 5973007"/>
              <a:gd name="connsiteX16433" fmla="*/ 1790873 w 6884782"/>
              <a:gd name="connsiteY16433" fmla="*/ 4489008 h 5973007"/>
              <a:gd name="connsiteX16434" fmla="*/ 1789788 w 6884782"/>
              <a:gd name="connsiteY16434" fmla="*/ 4485395 h 5973007"/>
              <a:gd name="connsiteX16435" fmla="*/ 841357 w 6884782"/>
              <a:gd name="connsiteY16435" fmla="*/ 4485188 h 5973007"/>
              <a:gd name="connsiteX16436" fmla="*/ 842442 w 6884782"/>
              <a:gd name="connsiteY16436" fmla="*/ 4488699 h 5973007"/>
              <a:gd name="connsiteX16437" fmla="*/ 841668 w 6884782"/>
              <a:gd name="connsiteY16437" fmla="*/ 4490764 h 5973007"/>
              <a:gd name="connsiteX16438" fmla="*/ 842907 w 6884782"/>
              <a:gd name="connsiteY16438" fmla="*/ 4491074 h 5973007"/>
              <a:gd name="connsiteX16439" fmla="*/ 845230 w 6884782"/>
              <a:gd name="connsiteY16439" fmla="*/ 4501089 h 5973007"/>
              <a:gd name="connsiteX16440" fmla="*/ 840583 w 6884782"/>
              <a:gd name="connsiteY16440" fmla="*/ 4501296 h 5973007"/>
              <a:gd name="connsiteX16441" fmla="*/ 837331 w 6884782"/>
              <a:gd name="connsiteY16441" fmla="*/ 4500780 h 5973007"/>
              <a:gd name="connsiteX16442" fmla="*/ 834852 w 6884782"/>
              <a:gd name="connsiteY16442" fmla="*/ 4494274 h 5973007"/>
              <a:gd name="connsiteX16443" fmla="*/ 835007 w 6884782"/>
              <a:gd name="connsiteY16443" fmla="*/ 4493965 h 5973007"/>
              <a:gd name="connsiteX16444" fmla="*/ 834852 w 6884782"/>
              <a:gd name="connsiteY16444" fmla="*/ 4493862 h 5973007"/>
              <a:gd name="connsiteX16445" fmla="*/ 833458 w 6884782"/>
              <a:gd name="connsiteY16445" fmla="*/ 4490867 h 5973007"/>
              <a:gd name="connsiteX16446" fmla="*/ 835317 w 6884782"/>
              <a:gd name="connsiteY16446" fmla="*/ 4487769 h 5973007"/>
              <a:gd name="connsiteX16447" fmla="*/ 841357 w 6884782"/>
              <a:gd name="connsiteY16447" fmla="*/ 4485188 h 5973007"/>
              <a:gd name="connsiteX16448" fmla="*/ 679687 w 6884782"/>
              <a:gd name="connsiteY16448" fmla="*/ 4484463 h 5973007"/>
              <a:gd name="connsiteX16449" fmla="*/ 686307 w 6884782"/>
              <a:gd name="connsiteY16449" fmla="*/ 4485291 h 5973007"/>
              <a:gd name="connsiteX16450" fmla="*/ 664156 w 6884782"/>
              <a:gd name="connsiteY16450" fmla="*/ 4502948 h 5973007"/>
              <a:gd name="connsiteX16451" fmla="*/ 679687 w 6884782"/>
              <a:gd name="connsiteY16451" fmla="*/ 4484463 h 5973007"/>
              <a:gd name="connsiteX16452" fmla="*/ 887672 w 6884782"/>
              <a:gd name="connsiteY16452" fmla="*/ 4484259 h 5973007"/>
              <a:gd name="connsiteX16453" fmla="*/ 891390 w 6884782"/>
              <a:gd name="connsiteY16453" fmla="*/ 4491796 h 5973007"/>
              <a:gd name="connsiteX16454" fmla="*/ 887362 w 6884782"/>
              <a:gd name="connsiteY16454" fmla="*/ 4485807 h 5973007"/>
              <a:gd name="connsiteX16455" fmla="*/ 887672 w 6884782"/>
              <a:gd name="connsiteY16455" fmla="*/ 4484259 h 5973007"/>
              <a:gd name="connsiteX16456" fmla="*/ 5513795 w 6884782"/>
              <a:gd name="connsiteY16456" fmla="*/ 4483864 h 5973007"/>
              <a:gd name="connsiteX16457" fmla="*/ 5514260 w 6884782"/>
              <a:gd name="connsiteY16457" fmla="*/ 4487271 h 5973007"/>
              <a:gd name="connsiteX16458" fmla="*/ 5512865 w 6884782"/>
              <a:gd name="connsiteY16458" fmla="*/ 4487787 h 5973007"/>
              <a:gd name="connsiteX16459" fmla="*/ 5511007 w 6884782"/>
              <a:gd name="connsiteY16459" fmla="*/ 4486445 h 5973007"/>
              <a:gd name="connsiteX16460" fmla="*/ 750433 w 6884782"/>
              <a:gd name="connsiteY16460" fmla="*/ 4483536 h 5973007"/>
              <a:gd name="connsiteX16461" fmla="*/ 752293 w 6884782"/>
              <a:gd name="connsiteY16461" fmla="*/ 4486220 h 5973007"/>
              <a:gd name="connsiteX16462" fmla="*/ 750899 w 6884782"/>
              <a:gd name="connsiteY16462" fmla="*/ 4486943 h 5973007"/>
              <a:gd name="connsiteX16463" fmla="*/ 751208 w 6884782"/>
              <a:gd name="connsiteY16463" fmla="*/ 4487666 h 5973007"/>
              <a:gd name="connsiteX16464" fmla="*/ 749349 w 6884782"/>
              <a:gd name="connsiteY16464" fmla="*/ 4487666 h 5973007"/>
              <a:gd name="connsiteX16465" fmla="*/ 749040 w 6884782"/>
              <a:gd name="connsiteY16465" fmla="*/ 4486943 h 5973007"/>
              <a:gd name="connsiteX16466" fmla="*/ 748885 w 6884782"/>
              <a:gd name="connsiteY16466" fmla="*/ 4486840 h 5973007"/>
              <a:gd name="connsiteX16467" fmla="*/ 749194 w 6884782"/>
              <a:gd name="connsiteY16467" fmla="*/ 4485084 h 5973007"/>
              <a:gd name="connsiteX16468" fmla="*/ 750433 w 6884782"/>
              <a:gd name="connsiteY16468" fmla="*/ 4483536 h 5973007"/>
              <a:gd name="connsiteX16469" fmla="*/ 5962413 w 6884782"/>
              <a:gd name="connsiteY16469" fmla="*/ 4482624 h 5973007"/>
              <a:gd name="connsiteX16470" fmla="*/ 5970739 w 6884782"/>
              <a:gd name="connsiteY16470" fmla="*/ 4486548 h 5973007"/>
              <a:gd name="connsiteX16471" fmla="*/ 5962065 w 6884782"/>
              <a:gd name="connsiteY16471" fmla="*/ 4503999 h 5973007"/>
              <a:gd name="connsiteX16472" fmla="*/ 5957573 w 6884782"/>
              <a:gd name="connsiteY16472" fmla="*/ 4502553 h 5973007"/>
              <a:gd name="connsiteX16473" fmla="*/ 5957418 w 6884782"/>
              <a:gd name="connsiteY16473" fmla="*/ 4502449 h 5973007"/>
              <a:gd name="connsiteX16474" fmla="*/ 5957108 w 6884782"/>
              <a:gd name="connsiteY16474" fmla="*/ 4502759 h 5973007"/>
              <a:gd name="connsiteX16475" fmla="*/ 5955095 w 6884782"/>
              <a:gd name="connsiteY16475" fmla="*/ 4502449 h 5973007"/>
              <a:gd name="connsiteX16476" fmla="*/ 5954630 w 6884782"/>
              <a:gd name="connsiteY16476" fmla="*/ 4501210 h 5973007"/>
              <a:gd name="connsiteX16477" fmla="*/ 5954785 w 6884782"/>
              <a:gd name="connsiteY16477" fmla="*/ 4500178 h 5973007"/>
              <a:gd name="connsiteX16478" fmla="*/ 5953700 w 6884782"/>
              <a:gd name="connsiteY16478" fmla="*/ 4499248 h 5973007"/>
              <a:gd name="connsiteX16479" fmla="*/ 5950912 w 6884782"/>
              <a:gd name="connsiteY16479" fmla="*/ 4489852 h 5973007"/>
              <a:gd name="connsiteX16480" fmla="*/ 5954785 w 6884782"/>
              <a:gd name="connsiteY16480" fmla="*/ 4483657 h 5973007"/>
              <a:gd name="connsiteX16481" fmla="*/ 5962413 w 6884782"/>
              <a:gd name="connsiteY16481" fmla="*/ 4482624 h 5973007"/>
              <a:gd name="connsiteX16482" fmla="*/ 1591675 w 6884782"/>
              <a:gd name="connsiteY16482" fmla="*/ 4482090 h 5973007"/>
              <a:gd name="connsiteX16483" fmla="*/ 1593379 w 6884782"/>
              <a:gd name="connsiteY16483" fmla="*/ 4482916 h 5973007"/>
              <a:gd name="connsiteX16484" fmla="*/ 1591521 w 6884782"/>
              <a:gd name="connsiteY16484" fmla="*/ 4483226 h 5973007"/>
              <a:gd name="connsiteX16485" fmla="*/ 1591675 w 6884782"/>
              <a:gd name="connsiteY16485" fmla="*/ 4482090 h 5973007"/>
              <a:gd name="connsiteX16486" fmla="*/ 1435850 w 6884782"/>
              <a:gd name="connsiteY16486" fmla="*/ 4481780 h 5973007"/>
              <a:gd name="connsiteX16487" fmla="*/ 1440032 w 6884782"/>
              <a:gd name="connsiteY16487" fmla="*/ 4483329 h 5973007"/>
              <a:gd name="connsiteX16488" fmla="*/ 1442046 w 6884782"/>
              <a:gd name="connsiteY16488" fmla="*/ 4491486 h 5973007"/>
              <a:gd name="connsiteX16489" fmla="*/ 1438638 w 6884782"/>
              <a:gd name="connsiteY16489" fmla="*/ 4490970 h 5973007"/>
              <a:gd name="connsiteX16490" fmla="*/ 1435075 w 6884782"/>
              <a:gd name="connsiteY16490" fmla="*/ 4483846 h 5973007"/>
              <a:gd name="connsiteX16491" fmla="*/ 1435850 w 6884782"/>
              <a:gd name="connsiteY16491" fmla="*/ 4481780 h 5973007"/>
              <a:gd name="connsiteX16492" fmla="*/ 1072928 w 6884782"/>
              <a:gd name="connsiteY16492" fmla="*/ 4481574 h 5973007"/>
              <a:gd name="connsiteX16493" fmla="*/ 1074012 w 6884782"/>
              <a:gd name="connsiteY16493" fmla="*/ 4481987 h 5973007"/>
              <a:gd name="connsiteX16494" fmla="*/ 1081292 w 6884782"/>
              <a:gd name="connsiteY16494" fmla="*/ 4488699 h 5973007"/>
              <a:gd name="connsiteX16495" fmla="*/ 1076645 w 6884782"/>
              <a:gd name="connsiteY16495" fmla="*/ 4492416 h 5973007"/>
              <a:gd name="connsiteX16496" fmla="*/ 1074322 w 6884782"/>
              <a:gd name="connsiteY16496" fmla="*/ 4492106 h 5973007"/>
              <a:gd name="connsiteX16497" fmla="*/ 1066887 w 6884782"/>
              <a:gd name="connsiteY16497" fmla="*/ 4487356 h 5973007"/>
              <a:gd name="connsiteX16498" fmla="*/ 1072928 w 6884782"/>
              <a:gd name="connsiteY16498" fmla="*/ 4481574 h 5973007"/>
              <a:gd name="connsiteX16499" fmla="*/ 5756362 w 6884782"/>
              <a:gd name="connsiteY16499" fmla="*/ 4481282 h 5973007"/>
              <a:gd name="connsiteX16500" fmla="*/ 5761939 w 6884782"/>
              <a:gd name="connsiteY16500" fmla="*/ 4483141 h 5973007"/>
              <a:gd name="connsiteX16501" fmla="*/ 5755743 w 6884782"/>
              <a:gd name="connsiteY16501" fmla="*/ 4487581 h 5973007"/>
              <a:gd name="connsiteX16502" fmla="*/ 5756362 w 6884782"/>
              <a:gd name="connsiteY16502" fmla="*/ 4481282 h 5973007"/>
              <a:gd name="connsiteX16503" fmla="*/ 1443130 w 6884782"/>
              <a:gd name="connsiteY16503" fmla="*/ 4480645 h 5973007"/>
              <a:gd name="connsiteX16504" fmla="*/ 1450255 w 6884782"/>
              <a:gd name="connsiteY16504" fmla="*/ 4483536 h 5973007"/>
              <a:gd name="connsiteX16505" fmla="*/ 1450720 w 6884782"/>
              <a:gd name="connsiteY16505" fmla="*/ 4485498 h 5973007"/>
              <a:gd name="connsiteX16506" fmla="*/ 1448396 w 6884782"/>
              <a:gd name="connsiteY16506" fmla="*/ 4486427 h 5973007"/>
              <a:gd name="connsiteX16507" fmla="*/ 1443439 w 6884782"/>
              <a:gd name="connsiteY16507" fmla="*/ 4481987 h 5973007"/>
              <a:gd name="connsiteX16508" fmla="*/ 1443130 w 6884782"/>
              <a:gd name="connsiteY16508" fmla="*/ 4480645 h 5973007"/>
              <a:gd name="connsiteX16509" fmla="*/ 5523244 w 6884782"/>
              <a:gd name="connsiteY16509" fmla="*/ 4480456 h 5973007"/>
              <a:gd name="connsiteX16510" fmla="*/ 5524793 w 6884782"/>
              <a:gd name="connsiteY16510" fmla="*/ 4482211 h 5973007"/>
              <a:gd name="connsiteX16511" fmla="*/ 5524173 w 6884782"/>
              <a:gd name="connsiteY16511" fmla="*/ 4487271 h 5973007"/>
              <a:gd name="connsiteX16512" fmla="*/ 5522469 w 6884782"/>
              <a:gd name="connsiteY16512" fmla="*/ 4488097 h 5973007"/>
              <a:gd name="connsiteX16513" fmla="*/ 5520146 w 6884782"/>
              <a:gd name="connsiteY16513" fmla="*/ 4484999 h 5973007"/>
              <a:gd name="connsiteX16514" fmla="*/ 5521540 w 6884782"/>
              <a:gd name="connsiteY16514" fmla="*/ 4481282 h 5973007"/>
              <a:gd name="connsiteX16515" fmla="*/ 5523244 w 6884782"/>
              <a:gd name="connsiteY16515" fmla="*/ 4480456 h 5973007"/>
              <a:gd name="connsiteX16516" fmla="*/ 1596323 w 6884782"/>
              <a:gd name="connsiteY16516" fmla="*/ 4480025 h 5973007"/>
              <a:gd name="connsiteX16517" fmla="*/ 1596787 w 6884782"/>
              <a:gd name="connsiteY16517" fmla="*/ 4480645 h 5973007"/>
              <a:gd name="connsiteX16518" fmla="*/ 1595703 w 6884782"/>
              <a:gd name="connsiteY16518" fmla="*/ 4481264 h 5973007"/>
              <a:gd name="connsiteX16519" fmla="*/ 1594929 w 6884782"/>
              <a:gd name="connsiteY16519" fmla="*/ 4480954 h 5973007"/>
              <a:gd name="connsiteX16520" fmla="*/ 1596323 w 6884782"/>
              <a:gd name="connsiteY16520" fmla="*/ 4480025 h 5973007"/>
              <a:gd name="connsiteX16521" fmla="*/ 1021657 w 6884782"/>
              <a:gd name="connsiteY16521" fmla="*/ 4479612 h 5973007"/>
              <a:gd name="connsiteX16522" fmla="*/ 1020883 w 6884782"/>
              <a:gd name="connsiteY16522" fmla="*/ 4483846 h 5973007"/>
              <a:gd name="connsiteX16523" fmla="*/ 1018095 w 6884782"/>
              <a:gd name="connsiteY16523" fmla="*/ 4486840 h 5973007"/>
              <a:gd name="connsiteX16524" fmla="*/ 1018870 w 6884782"/>
              <a:gd name="connsiteY16524" fmla="*/ 4488285 h 5973007"/>
              <a:gd name="connsiteX16525" fmla="*/ 1019024 w 6884782"/>
              <a:gd name="connsiteY16525" fmla="*/ 4491383 h 5973007"/>
              <a:gd name="connsiteX16526" fmla="*/ 1017010 w 6884782"/>
              <a:gd name="connsiteY16526" fmla="*/ 4488492 h 5973007"/>
              <a:gd name="connsiteX16527" fmla="*/ 1017010 w 6884782"/>
              <a:gd name="connsiteY16527" fmla="*/ 4487666 h 5973007"/>
              <a:gd name="connsiteX16528" fmla="*/ 1016236 w 6884782"/>
              <a:gd name="connsiteY16528" fmla="*/ 4488389 h 5973007"/>
              <a:gd name="connsiteX16529" fmla="*/ 1015616 w 6884782"/>
              <a:gd name="connsiteY16529" fmla="*/ 4490557 h 5973007"/>
              <a:gd name="connsiteX16530" fmla="*/ 1013293 w 6884782"/>
              <a:gd name="connsiteY16530" fmla="*/ 4491280 h 5973007"/>
              <a:gd name="connsiteX16531" fmla="*/ 1012518 w 6884782"/>
              <a:gd name="connsiteY16531" fmla="*/ 4490764 h 5973007"/>
              <a:gd name="connsiteX16532" fmla="*/ 1012983 w 6884782"/>
              <a:gd name="connsiteY16532" fmla="*/ 4488905 h 5973007"/>
              <a:gd name="connsiteX16533" fmla="*/ 1018404 w 6884782"/>
              <a:gd name="connsiteY16533" fmla="*/ 4481780 h 5973007"/>
              <a:gd name="connsiteX16534" fmla="*/ 1019334 w 6884782"/>
              <a:gd name="connsiteY16534" fmla="*/ 4480232 h 5973007"/>
              <a:gd name="connsiteX16535" fmla="*/ 1021657 w 6884782"/>
              <a:gd name="connsiteY16535" fmla="*/ 4479612 h 5973007"/>
              <a:gd name="connsiteX16536" fmla="*/ 1012364 w 6884782"/>
              <a:gd name="connsiteY16536" fmla="*/ 4479406 h 5973007"/>
              <a:gd name="connsiteX16537" fmla="*/ 1014067 w 6884782"/>
              <a:gd name="connsiteY16537" fmla="*/ 4480748 h 5973007"/>
              <a:gd name="connsiteX16538" fmla="*/ 1014067 w 6884782"/>
              <a:gd name="connsiteY16538" fmla="*/ 4481677 h 5973007"/>
              <a:gd name="connsiteX16539" fmla="*/ 1014067 w 6884782"/>
              <a:gd name="connsiteY16539" fmla="*/ 4485084 h 5973007"/>
              <a:gd name="connsiteX16540" fmla="*/ 1011898 w 6884782"/>
              <a:gd name="connsiteY16540" fmla="*/ 4486324 h 5973007"/>
              <a:gd name="connsiteX16541" fmla="*/ 1009730 w 6884782"/>
              <a:gd name="connsiteY16541" fmla="*/ 4486220 h 5973007"/>
              <a:gd name="connsiteX16542" fmla="*/ 1008181 w 6884782"/>
              <a:gd name="connsiteY16542" fmla="*/ 4480954 h 5973007"/>
              <a:gd name="connsiteX16543" fmla="*/ 1012364 w 6884782"/>
              <a:gd name="connsiteY16543" fmla="*/ 4479406 h 5973007"/>
              <a:gd name="connsiteX16544" fmla="*/ 1373872 w 6884782"/>
              <a:gd name="connsiteY16544" fmla="*/ 4479315 h 5973007"/>
              <a:gd name="connsiteX16545" fmla="*/ 1380552 w 6884782"/>
              <a:gd name="connsiteY16545" fmla="*/ 4482297 h 5973007"/>
              <a:gd name="connsiteX16546" fmla="*/ 1378228 w 6884782"/>
              <a:gd name="connsiteY16546" fmla="*/ 4487150 h 5973007"/>
              <a:gd name="connsiteX16547" fmla="*/ 1373582 w 6884782"/>
              <a:gd name="connsiteY16547" fmla="*/ 4487253 h 5973007"/>
              <a:gd name="connsiteX16548" fmla="*/ 1369399 w 6884782"/>
              <a:gd name="connsiteY16548" fmla="*/ 4484155 h 5973007"/>
              <a:gd name="connsiteX16549" fmla="*/ 1373872 w 6884782"/>
              <a:gd name="connsiteY16549" fmla="*/ 4479315 h 5973007"/>
              <a:gd name="connsiteX16550" fmla="*/ 1142631 w 6884782"/>
              <a:gd name="connsiteY16550" fmla="*/ 4479199 h 5973007"/>
              <a:gd name="connsiteX16551" fmla="*/ 1143560 w 6884782"/>
              <a:gd name="connsiteY16551" fmla="*/ 4482607 h 5973007"/>
              <a:gd name="connsiteX16552" fmla="*/ 1141237 w 6884782"/>
              <a:gd name="connsiteY16552" fmla="*/ 4484362 h 5973007"/>
              <a:gd name="connsiteX16553" fmla="*/ 1142631 w 6884782"/>
              <a:gd name="connsiteY16553" fmla="*/ 4479199 h 5973007"/>
              <a:gd name="connsiteX16554" fmla="*/ 1776622 w 6884782"/>
              <a:gd name="connsiteY16554" fmla="*/ 4479096 h 5973007"/>
              <a:gd name="connsiteX16555" fmla="*/ 1777086 w 6884782"/>
              <a:gd name="connsiteY16555" fmla="*/ 4479406 h 5973007"/>
              <a:gd name="connsiteX16556" fmla="*/ 1776622 w 6884782"/>
              <a:gd name="connsiteY16556" fmla="*/ 4479715 h 5973007"/>
              <a:gd name="connsiteX16557" fmla="*/ 821531 w 6884782"/>
              <a:gd name="connsiteY16557" fmla="*/ 4479096 h 5973007"/>
              <a:gd name="connsiteX16558" fmla="*/ 820757 w 6884782"/>
              <a:gd name="connsiteY16558" fmla="*/ 4485807 h 5973007"/>
              <a:gd name="connsiteX16559" fmla="*/ 816265 w 6884782"/>
              <a:gd name="connsiteY16559" fmla="*/ 4482194 h 5973007"/>
              <a:gd name="connsiteX16560" fmla="*/ 821531 w 6884782"/>
              <a:gd name="connsiteY16560" fmla="*/ 4479096 h 5973007"/>
              <a:gd name="connsiteX16561" fmla="*/ 1680121 w 6884782"/>
              <a:gd name="connsiteY16561" fmla="*/ 4478579 h 5973007"/>
              <a:gd name="connsiteX16562" fmla="*/ 1684458 w 6884782"/>
              <a:gd name="connsiteY16562" fmla="*/ 4483949 h 5973007"/>
              <a:gd name="connsiteX16563" fmla="*/ 1680121 w 6884782"/>
              <a:gd name="connsiteY16563" fmla="*/ 4478579 h 5973007"/>
              <a:gd name="connsiteX16564" fmla="*/ 1701032 w 6884782"/>
              <a:gd name="connsiteY16564" fmla="*/ 4478270 h 5973007"/>
              <a:gd name="connsiteX16565" fmla="*/ 1704130 w 6884782"/>
              <a:gd name="connsiteY16565" fmla="*/ 4479715 h 5973007"/>
              <a:gd name="connsiteX16566" fmla="*/ 1701652 w 6884782"/>
              <a:gd name="connsiteY16566" fmla="*/ 4479612 h 5973007"/>
              <a:gd name="connsiteX16567" fmla="*/ 1701032 w 6884782"/>
              <a:gd name="connsiteY16567" fmla="*/ 4479199 h 5973007"/>
              <a:gd name="connsiteX16568" fmla="*/ 1701032 w 6884782"/>
              <a:gd name="connsiteY16568" fmla="*/ 4478270 h 5973007"/>
              <a:gd name="connsiteX16569" fmla="*/ 1126367 w 6884782"/>
              <a:gd name="connsiteY16569" fmla="*/ 4478270 h 5973007"/>
              <a:gd name="connsiteX16570" fmla="*/ 1115679 w 6884782"/>
              <a:gd name="connsiteY16570" fmla="*/ 4500367 h 5973007"/>
              <a:gd name="connsiteX16571" fmla="*/ 1126367 w 6884782"/>
              <a:gd name="connsiteY16571" fmla="*/ 4478270 h 5973007"/>
              <a:gd name="connsiteX16572" fmla="*/ 1427950 w 6884782"/>
              <a:gd name="connsiteY16572" fmla="*/ 4477547 h 5973007"/>
              <a:gd name="connsiteX16573" fmla="*/ 1429964 w 6884782"/>
              <a:gd name="connsiteY16573" fmla="*/ 4487253 h 5973007"/>
              <a:gd name="connsiteX16574" fmla="*/ 1422064 w 6884782"/>
              <a:gd name="connsiteY16574" fmla="*/ 4488285 h 5973007"/>
              <a:gd name="connsiteX16575" fmla="*/ 1419741 w 6884782"/>
              <a:gd name="connsiteY16575" fmla="*/ 4482194 h 5973007"/>
              <a:gd name="connsiteX16576" fmla="*/ 1427950 w 6884782"/>
              <a:gd name="connsiteY16576" fmla="*/ 4477547 h 5973007"/>
              <a:gd name="connsiteX16577" fmla="*/ 1148207 w 6884782"/>
              <a:gd name="connsiteY16577" fmla="*/ 4477237 h 5973007"/>
              <a:gd name="connsiteX16578" fmla="*/ 1161529 w 6884782"/>
              <a:gd name="connsiteY16578" fmla="*/ 4493345 h 5973007"/>
              <a:gd name="connsiteX16579" fmla="*/ 1154248 w 6884782"/>
              <a:gd name="connsiteY16579" fmla="*/ 4497269 h 5973007"/>
              <a:gd name="connsiteX16580" fmla="*/ 1148207 w 6884782"/>
              <a:gd name="connsiteY16580" fmla="*/ 4477237 h 5973007"/>
              <a:gd name="connsiteX16581" fmla="*/ 1554655 w 6884782"/>
              <a:gd name="connsiteY16581" fmla="*/ 4477031 h 5973007"/>
              <a:gd name="connsiteX16582" fmla="*/ 1565808 w 6884782"/>
              <a:gd name="connsiteY16582" fmla="*/ 4494997 h 5973007"/>
              <a:gd name="connsiteX16583" fmla="*/ 1560541 w 6884782"/>
              <a:gd name="connsiteY16583" fmla="*/ 4495101 h 5973007"/>
              <a:gd name="connsiteX16584" fmla="*/ 1553261 w 6884782"/>
              <a:gd name="connsiteY16584" fmla="*/ 4490247 h 5973007"/>
              <a:gd name="connsiteX16585" fmla="*/ 1550938 w 6884782"/>
              <a:gd name="connsiteY16585" fmla="*/ 4486324 h 5973007"/>
              <a:gd name="connsiteX16586" fmla="*/ 1549079 w 6884782"/>
              <a:gd name="connsiteY16586" fmla="*/ 4485601 h 5973007"/>
              <a:gd name="connsiteX16587" fmla="*/ 1548305 w 6884782"/>
              <a:gd name="connsiteY16587" fmla="*/ 4484052 h 5973007"/>
              <a:gd name="connsiteX16588" fmla="*/ 1549234 w 6884782"/>
              <a:gd name="connsiteY16588" fmla="*/ 4482194 h 5973007"/>
              <a:gd name="connsiteX16589" fmla="*/ 1549543 w 6884782"/>
              <a:gd name="connsiteY16589" fmla="*/ 4481987 h 5973007"/>
              <a:gd name="connsiteX16590" fmla="*/ 1551403 w 6884782"/>
              <a:gd name="connsiteY16590" fmla="*/ 4478889 h 5973007"/>
              <a:gd name="connsiteX16591" fmla="*/ 1554655 w 6884782"/>
              <a:gd name="connsiteY16591" fmla="*/ 4477031 h 5973007"/>
              <a:gd name="connsiteX16592" fmla="*/ 1581607 w 6884782"/>
              <a:gd name="connsiteY16592" fmla="*/ 4476824 h 5973007"/>
              <a:gd name="connsiteX16593" fmla="*/ 1588113 w 6884782"/>
              <a:gd name="connsiteY16593" fmla="*/ 4480748 h 5973007"/>
              <a:gd name="connsiteX16594" fmla="*/ 1588113 w 6884782"/>
              <a:gd name="connsiteY16594" fmla="*/ 4480851 h 5973007"/>
              <a:gd name="connsiteX16595" fmla="*/ 1588268 w 6884782"/>
              <a:gd name="connsiteY16595" fmla="*/ 4479818 h 5973007"/>
              <a:gd name="connsiteX16596" fmla="*/ 1588422 w 6884782"/>
              <a:gd name="connsiteY16596" fmla="*/ 4480645 h 5973007"/>
              <a:gd name="connsiteX16597" fmla="*/ 1588268 w 6884782"/>
              <a:gd name="connsiteY16597" fmla="*/ 4481161 h 5973007"/>
              <a:gd name="connsiteX16598" fmla="*/ 1589662 w 6884782"/>
              <a:gd name="connsiteY16598" fmla="*/ 4483742 h 5973007"/>
              <a:gd name="connsiteX16599" fmla="*/ 1591366 w 6884782"/>
              <a:gd name="connsiteY16599" fmla="*/ 4483123 h 5973007"/>
              <a:gd name="connsiteX16600" fmla="*/ 1589662 w 6884782"/>
              <a:gd name="connsiteY16600" fmla="*/ 4483949 h 5973007"/>
              <a:gd name="connsiteX16601" fmla="*/ 1590127 w 6884782"/>
              <a:gd name="connsiteY16601" fmla="*/ 4484775 h 5973007"/>
              <a:gd name="connsiteX16602" fmla="*/ 1590282 w 6884782"/>
              <a:gd name="connsiteY16602" fmla="*/ 4488389 h 5973007"/>
              <a:gd name="connsiteX16603" fmla="*/ 1584705 w 6884782"/>
              <a:gd name="connsiteY16603" fmla="*/ 4492416 h 5973007"/>
              <a:gd name="connsiteX16604" fmla="*/ 1576651 w 6884782"/>
              <a:gd name="connsiteY16604" fmla="*/ 4485188 h 5973007"/>
              <a:gd name="connsiteX16605" fmla="*/ 1577115 w 6884782"/>
              <a:gd name="connsiteY16605" fmla="*/ 4481264 h 5973007"/>
              <a:gd name="connsiteX16606" fmla="*/ 1581607 w 6884782"/>
              <a:gd name="connsiteY16606" fmla="*/ 4476824 h 5973007"/>
              <a:gd name="connsiteX16607" fmla="*/ 1142011 w 6884782"/>
              <a:gd name="connsiteY16607" fmla="*/ 4476824 h 5973007"/>
              <a:gd name="connsiteX16608" fmla="*/ 1142476 w 6884782"/>
              <a:gd name="connsiteY16608" fmla="*/ 4478683 h 5973007"/>
              <a:gd name="connsiteX16609" fmla="*/ 1141857 w 6884782"/>
              <a:gd name="connsiteY16609" fmla="*/ 4478889 h 5973007"/>
              <a:gd name="connsiteX16610" fmla="*/ 1142011 w 6884782"/>
              <a:gd name="connsiteY16610" fmla="*/ 4476824 h 5973007"/>
              <a:gd name="connsiteX16611" fmla="*/ 1789788 w 6884782"/>
              <a:gd name="connsiteY16611" fmla="*/ 4476514 h 5973007"/>
              <a:gd name="connsiteX16612" fmla="*/ 1797997 w 6884782"/>
              <a:gd name="connsiteY16612" fmla="*/ 4476824 h 5973007"/>
              <a:gd name="connsiteX16613" fmla="*/ 1801250 w 6884782"/>
              <a:gd name="connsiteY16613" fmla="*/ 4478476 h 5973007"/>
              <a:gd name="connsiteX16614" fmla="*/ 1801250 w 6884782"/>
              <a:gd name="connsiteY16614" fmla="*/ 4478167 h 5973007"/>
              <a:gd name="connsiteX16615" fmla="*/ 1804038 w 6884782"/>
              <a:gd name="connsiteY16615" fmla="*/ 4476824 h 5973007"/>
              <a:gd name="connsiteX16616" fmla="*/ 1807291 w 6884782"/>
              <a:gd name="connsiteY16616" fmla="*/ 4478889 h 5973007"/>
              <a:gd name="connsiteX16617" fmla="*/ 1809305 w 6884782"/>
              <a:gd name="connsiteY16617" fmla="*/ 4482194 h 5973007"/>
              <a:gd name="connsiteX16618" fmla="*/ 1810234 w 6884782"/>
              <a:gd name="connsiteY16618" fmla="*/ 4484362 h 5973007"/>
              <a:gd name="connsiteX16619" fmla="*/ 1815036 w 6884782"/>
              <a:gd name="connsiteY16619" fmla="*/ 4489421 h 5973007"/>
              <a:gd name="connsiteX16620" fmla="*/ 1816275 w 6884782"/>
              <a:gd name="connsiteY16620" fmla="*/ 4497785 h 5973007"/>
              <a:gd name="connsiteX16621" fmla="*/ 1789788 w 6884782"/>
              <a:gd name="connsiteY16621" fmla="*/ 4476514 h 5973007"/>
              <a:gd name="connsiteX16622" fmla="*/ 5860143 w 6884782"/>
              <a:gd name="connsiteY16622" fmla="*/ 4475706 h 5973007"/>
              <a:gd name="connsiteX16623" fmla="*/ 5859524 w 6884782"/>
              <a:gd name="connsiteY16623" fmla="*/ 4475913 h 5973007"/>
              <a:gd name="connsiteX16624" fmla="*/ 5860143 w 6884782"/>
              <a:gd name="connsiteY16624" fmla="*/ 4475913 h 5973007"/>
              <a:gd name="connsiteX16625" fmla="*/ 1785606 w 6884782"/>
              <a:gd name="connsiteY16625" fmla="*/ 4475172 h 5973007"/>
              <a:gd name="connsiteX16626" fmla="*/ 1785606 w 6884782"/>
              <a:gd name="connsiteY16626" fmla="*/ 4477031 h 5973007"/>
              <a:gd name="connsiteX16627" fmla="*/ 1785296 w 6884782"/>
              <a:gd name="connsiteY16627" fmla="*/ 4478167 h 5973007"/>
              <a:gd name="connsiteX16628" fmla="*/ 1784211 w 6884782"/>
              <a:gd name="connsiteY16628" fmla="*/ 4475998 h 5973007"/>
              <a:gd name="connsiteX16629" fmla="*/ 1785606 w 6884782"/>
              <a:gd name="connsiteY16629" fmla="*/ 4475172 h 5973007"/>
              <a:gd name="connsiteX16630" fmla="*/ 6188678 w 6884782"/>
              <a:gd name="connsiteY16630" fmla="*/ 4475087 h 5973007"/>
              <a:gd name="connsiteX16631" fmla="*/ 6184186 w 6884782"/>
              <a:gd name="connsiteY16631" fmla="*/ 4479940 h 5973007"/>
              <a:gd name="connsiteX16632" fmla="*/ 6182637 w 6884782"/>
              <a:gd name="connsiteY16632" fmla="*/ 4479733 h 5973007"/>
              <a:gd name="connsiteX16633" fmla="*/ 6188678 w 6884782"/>
              <a:gd name="connsiteY16633" fmla="*/ 4475087 h 5973007"/>
              <a:gd name="connsiteX16634" fmla="*/ 1296303 w 6884782"/>
              <a:gd name="connsiteY16634" fmla="*/ 4474767 h 5973007"/>
              <a:gd name="connsiteX16635" fmla="*/ 1305582 w 6884782"/>
              <a:gd name="connsiteY16635" fmla="*/ 4509660 h 5973007"/>
              <a:gd name="connsiteX16636" fmla="*/ 1299231 w 6884782"/>
              <a:gd name="connsiteY16636" fmla="*/ 4511415 h 5973007"/>
              <a:gd name="connsiteX16637" fmla="*/ 1275842 w 6884782"/>
              <a:gd name="connsiteY16637" fmla="*/ 4509763 h 5973007"/>
              <a:gd name="connsiteX16638" fmla="*/ 1278785 w 6884782"/>
              <a:gd name="connsiteY16638" fmla="*/ 4485498 h 5973007"/>
              <a:gd name="connsiteX16639" fmla="*/ 1282348 w 6884782"/>
              <a:gd name="connsiteY16639" fmla="*/ 4478786 h 5973007"/>
              <a:gd name="connsiteX16640" fmla="*/ 1296303 w 6884782"/>
              <a:gd name="connsiteY16640" fmla="*/ 4474767 h 5973007"/>
              <a:gd name="connsiteX16641" fmla="*/ 1776622 w 6884782"/>
              <a:gd name="connsiteY16641" fmla="*/ 4474759 h 5973007"/>
              <a:gd name="connsiteX16642" fmla="*/ 1777861 w 6884782"/>
              <a:gd name="connsiteY16642" fmla="*/ 4478993 h 5973007"/>
              <a:gd name="connsiteX16643" fmla="*/ 1776777 w 6884782"/>
              <a:gd name="connsiteY16643" fmla="*/ 4478683 h 5973007"/>
              <a:gd name="connsiteX16644" fmla="*/ 1776622 w 6884782"/>
              <a:gd name="connsiteY16644" fmla="*/ 4479096 h 5973007"/>
              <a:gd name="connsiteX16645" fmla="*/ 1775228 w 6884782"/>
              <a:gd name="connsiteY16645" fmla="*/ 4477650 h 5973007"/>
              <a:gd name="connsiteX16646" fmla="*/ 1774763 w 6884782"/>
              <a:gd name="connsiteY16646" fmla="*/ 4474966 h 5973007"/>
              <a:gd name="connsiteX16647" fmla="*/ 1776622 w 6884782"/>
              <a:gd name="connsiteY16647" fmla="*/ 4474759 h 5973007"/>
              <a:gd name="connsiteX16648" fmla="*/ 5715160 w 6884782"/>
              <a:gd name="connsiteY16648" fmla="*/ 4474364 h 5973007"/>
              <a:gd name="connsiteX16649" fmla="*/ 5719652 w 6884782"/>
              <a:gd name="connsiteY16649" fmla="*/ 4476636 h 5973007"/>
              <a:gd name="connsiteX16650" fmla="*/ 5712527 w 6884782"/>
              <a:gd name="connsiteY16650" fmla="*/ 4481902 h 5973007"/>
              <a:gd name="connsiteX16651" fmla="*/ 5715160 w 6884782"/>
              <a:gd name="connsiteY16651" fmla="*/ 4474364 h 5973007"/>
              <a:gd name="connsiteX16652" fmla="*/ 5648458 w 6884782"/>
              <a:gd name="connsiteY16652" fmla="*/ 4473964 h 5973007"/>
              <a:gd name="connsiteX16653" fmla="*/ 5656919 w 6884782"/>
              <a:gd name="connsiteY16653" fmla="*/ 4479217 h 5973007"/>
              <a:gd name="connsiteX16654" fmla="*/ 5649794 w 6884782"/>
              <a:gd name="connsiteY16654" fmla="*/ 4484896 h 5973007"/>
              <a:gd name="connsiteX16655" fmla="*/ 5644527 w 6884782"/>
              <a:gd name="connsiteY16655" fmla="*/ 4488097 h 5973007"/>
              <a:gd name="connsiteX16656" fmla="*/ 5646386 w 6884782"/>
              <a:gd name="connsiteY16656" fmla="*/ 4489542 h 5973007"/>
              <a:gd name="connsiteX16657" fmla="*/ 5647470 w 6884782"/>
              <a:gd name="connsiteY16657" fmla="*/ 4504308 h 5973007"/>
              <a:gd name="connsiteX16658" fmla="*/ 5638177 w 6884782"/>
              <a:gd name="connsiteY16658" fmla="*/ 4508026 h 5973007"/>
              <a:gd name="connsiteX16659" fmla="*/ 5633065 w 6884782"/>
              <a:gd name="connsiteY16659" fmla="*/ 4505754 h 5973007"/>
              <a:gd name="connsiteX16660" fmla="*/ 5630432 w 6884782"/>
              <a:gd name="connsiteY16660" fmla="*/ 4502759 h 5973007"/>
              <a:gd name="connsiteX16661" fmla="*/ 5632910 w 6884782"/>
              <a:gd name="connsiteY16661" fmla="*/ 4490162 h 5973007"/>
              <a:gd name="connsiteX16662" fmla="*/ 5634769 w 6884782"/>
              <a:gd name="connsiteY16662" fmla="*/ 4488407 h 5973007"/>
              <a:gd name="connsiteX16663" fmla="*/ 5636782 w 6884782"/>
              <a:gd name="connsiteY16663" fmla="*/ 4484999 h 5973007"/>
              <a:gd name="connsiteX16664" fmla="*/ 5643443 w 6884782"/>
              <a:gd name="connsiteY16664" fmla="*/ 4487271 h 5973007"/>
              <a:gd name="connsiteX16665" fmla="*/ 5644063 w 6884782"/>
              <a:gd name="connsiteY16665" fmla="*/ 4487684 h 5973007"/>
              <a:gd name="connsiteX16666" fmla="*/ 5641739 w 6884782"/>
              <a:gd name="connsiteY16666" fmla="*/ 4481798 h 5973007"/>
              <a:gd name="connsiteX16667" fmla="*/ 5648458 w 6884782"/>
              <a:gd name="connsiteY16667" fmla="*/ 4473964 h 5973007"/>
              <a:gd name="connsiteX16668" fmla="*/ 6042030 w 6884782"/>
              <a:gd name="connsiteY16668" fmla="*/ 4473809 h 5973007"/>
              <a:gd name="connsiteX16669" fmla="*/ 6044160 w 6884782"/>
              <a:gd name="connsiteY16669" fmla="*/ 4477978 h 5973007"/>
              <a:gd name="connsiteX16670" fmla="*/ 6040443 w 6884782"/>
              <a:gd name="connsiteY16670" fmla="*/ 4479836 h 5973007"/>
              <a:gd name="connsiteX16671" fmla="*/ 6037809 w 6884782"/>
              <a:gd name="connsiteY16671" fmla="*/ 4477048 h 5973007"/>
              <a:gd name="connsiteX16672" fmla="*/ 6037345 w 6884782"/>
              <a:gd name="connsiteY16672" fmla="*/ 4474674 h 5973007"/>
              <a:gd name="connsiteX16673" fmla="*/ 6042030 w 6884782"/>
              <a:gd name="connsiteY16673" fmla="*/ 4473809 h 5973007"/>
              <a:gd name="connsiteX16674" fmla="*/ 5815378 w 6884782"/>
              <a:gd name="connsiteY16674" fmla="*/ 4473538 h 5973007"/>
              <a:gd name="connsiteX16675" fmla="*/ 5820954 w 6884782"/>
              <a:gd name="connsiteY16675" fmla="*/ 4482831 h 5973007"/>
              <a:gd name="connsiteX16676" fmla="*/ 5820644 w 6884782"/>
              <a:gd name="connsiteY16676" fmla="*/ 4493260 h 5973007"/>
              <a:gd name="connsiteX16677" fmla="*/ 5815378 w 6884782"/>
              <a:gd name="connsiteY16677" fmla="*/ 4473538 h 5973007"/>
              <a:gd name="connsiteX16678" fmla="*/ 1140927 w 6884782"/>
              <a:gd name="connsiteY16678" fmla="*/ 4472694 h 5973007"/>
              <a:gd name="connsiteX16679" fmla="*/ 1142011 w 6884782"/>
              <a:gd name="connsiteY16679" fmla="*/ 4473313 h 5973007"/>
              <a:gd name="connsiteX16680" fmla="*/ 1140772 w 6884782"/>
              <a:gd name="connsiteY16680" fmla="*/ 4474759 h 5973007"/>
              <a:gd name="connsiteX16681" fmla="*/ 1140927 w 6884782"/>
              <a:gd name="connsiteY16681" fmla="*/ 4472694 h 5973007"/>
              <a:gd name="connsiteX16682" fmla="*/ 5793073 w 6884782"/>
              <a:gd name="connsiteY16682" fmla="*/ 4472608 h 5973007"/>
              <a:gd name="connsiteX16683" fmla="*/ 5793538 w 6884782"/>
              <a:gd name="connsiteY16683" fmla="*/ 4475190 h 5973007"/>
              <a:gd name="connsiteX16684" fmla="*/ 5792453 w 6884782"/>
              <a:gd name="connsiteY16684" fmla="*/ 4477771 h 5973007"/>
              <a:gd name="connsiteX16685" fmla="*/ 5791059 w 6884782"/>
              <a:gd name="connsiteY16685" fmla="*/ 4478184 h 5973007"/>
              <a:gd name="connsiteX16686" fmla="*/ 5789201 w 6884782"/>
              <a:gd name="connsiteY16686" fmla="*/ 4477771 h 5973007"/>
              <a:gd name="connsiteX16687" fmla="*/ 5788581 w 6884782"/>
              <a:gd name="connsiteY16687" fmla="*/ 4476842 h 5973007"/>
              <a:gd name="connsiteX16688" fmla="*/ 5790440 w 6884782"/>
              <a:gd name="connsiteY16688" fmla="*/ 4473435 h 5973007"/>
              <a:gd name="connsiteX16689" fmla="*/ 5793073 w 6884782"/>
              <a:gd name="connsiteY16689" fmla="*/ 4472608 h 5973007"/>
              <a:gd name="connsiteX16690" fmla="*/ 6305160 w 6884782"/>
              <a:gd name="connsiteY16690" fmla="*/ 4472402 h 5973007"/>
              <a:gd name="connsiteX16691" fmla="*/ 6305470 w 6884782"/>
              <a:gd name="connsiteY16691" fmla="*/ 4473125 h 5973007"/>
              <a:gd name="connsiteX16692" fmla="*/ 6304076 w 6884782"/>
              <a:gd name="connsiteY16692" fmla="*/ 4474364 h 5973007"/>
              <a:gd name="connsiteX16693" fmla="*/ 6302217 w 6884782"/>
              <a:gd name="connsiteY16693" fmla="*/ 4473641 h 5973007"/>
              <a:gd name="connsiteX16694" fmla="*/ 6305160 w 6884782"/>
              <a:gd name="connsiteY16694" fmla="*/ 4472402 h 5973007"/>
              <a:gd name="connsiteX16695" fmla="*/ 1744093 w 6884782"/>
              <a:gd name="connsiteY16695" fmla="*/ 4471868 h 5973007"/>
              <a:gd name="connsiteX16696" fmla="*/ 1747811 w 6884782"/>
              <a:gd name="connsiteY16696" fmla="*/ 4476824 h 5973007"/>
              <a:gd name="connsiteX16697" fmla="*/ 1749515 w 6884782"/>
              <a:gd name="connsiteY16697" fmla="*/ 4484052 h 5973007"/>
              <a:gd name="connsiteX16698" fmla="*/ 1751528 w 6884782"/>
              <a:gd name="connsiteY16698" fmla="*/ 4484878 h 5973007"/>
              <a:gd name="connsiteX16699" fmla="*/ 1754007 w 6884782"/>
              <a:gd name="connsiteY16699" fmla="*/ 4487666 h 5973007"/>
              <a:gd name="connsiteX16700" fmla="*/ 1752768 w 6884782"/>
              <a:gd name="connsiteY16700" fmla="*/ 4493655 h 5973007"/>
              <a:gd name="connsiteX16701" fmla="*/ 1748121 w 6884782"/>
              <a:gd name="connsiteY16701" fmla="*/ 4491796 h 5973007"/>
              <a:gd name="connsiteX16702" fmla="*/ 1744249 w 6884782"/>
              <a:gd name="connsiteY16702" fmla="*/ 4495513 h 5973007"/>
              <a:gd name="connsiteX16703" fmla="*/ 1743319 w 6884782"/>
              <a:gd name="connsiteY16703" fmla="*/ 4486117 h 5973007"/>
              <a:gd name="connsiteX16704" fmla="*/ 1740841 w 6884782"/>
              <a:gd name="connsiteY16704" fmla="*/ 4477547 h 5973007"/>
              <a:gd name="connsiteX16705" fmla="*/ 1739911 w 6884782"/>
              <a:gd name="connsiteY16705" fmla="*/ 4481780 h 5973007"/>
              <a:gd name="connsiteX16706" fmla="*/ 1734954 w 6884782"/>
              <a:gd name="connsiteY16706" fmla="*/ 4486634 h 5973007"/>
              <a:gd name="connsiteX16707" fmla="*/ 1732631 w 6884782"/>
              <a:gd name="connsiteY16707" fmla="*/ 4485291 h 5973007"/>
              <a:gd name="connsiteX16708" fmla="*/ 1737278 w 6884782"/>
              <a:gd name="connsiteY16708" fmla="*/ 4473623 h 5973007"/>
              <a:gd name="connsiteX16709" fmla="*/ 1741151 w 6884782"/>
              <a:gd name="connsiteY16709" fmla="*/ 4473933 h 5973007"/>
              <a:gd name="connsiteX16710" fmla="*/ 1741151 w 6884782"/>
              <a:gd name="connsiteY16710" fmla="*/ 4474243 h 5973007"/>
              <a:gd name="connsiteX16711" fmla="*/ 1741925 w 6884782"/>
              <a:gd name="connsiteY16711" fmla="*/ 4473417 h 5973007"/>
              <a:gd name="connsiteX16712" fmla="*/ 1744093 w 6884782"/>
              <a:gd name="connsiteY16712" fmla="*/ 4471868 h 5973007"/>
              <a:gd name="connsiteX16713" fmla="*/ 1722098 w 6884782"/>
              <a:gd name="connsiteY16713" fmla="*/ 4471868 h 5973007"/>
              <a:gd name="connsiteX16714" fmla="*/ 1725661 w 6884782"/>
              <a:gd name="connsiteY16714" fmla="*/ 4472487 h 5973007"/>
              <a:gd name="connsiteX16715" fmla="*/ 1725816 w 6884782"/>
              <a:gd name="connsiteY16715" fmla="*/ 4473623 h 5973007"/>
              <a:gd name="connsiteX16716" fmla="*/ 1729379 w 6884782"/>
              <a:gd name="connsiteY16716" fmla="*/ 4473727 h 5973007"/>
              <a:gd name="connsiteX16717" fmla="*/ 1730772 w 6884782"/>
              <a:gd name="connsiteY16717" fmla="*/ 4482194 h 5973007"/>
              <a:gd name="connsiteX16718" fmla="*/ 1717142 w 6884782"/>
              <a:gd name="connsiteY16718" fmla="*/ 4491693 h 5973007"/>
              <a:gd name="connsiteX16719" fmla="*/ 1716832 w 6884782"/>
              <a:gd name="connsiteY16719" fmla="*/ 4490867 h 5973007"/>
              <a:gd name="connsiteX16720" fmla="*/ 1712340 w 6884782"/>
              <a:gd name="connsiteY16720" fmla="*/ 4494378 h 5973007"/>
              <a:gd name="connsiteX16721" fmla="*/ 1708312 w 6884782"/>
              <a:gd name="connsiteY16721" fmla="*/ 4489215 h 5973007"/>
              <a:gd name="connsiteX16722" fmla="*/ 1708158 w 6884782"/>
              <a:gd name="connsiteY16722" fmla="*/ 4487046 h 5973007"/>
              <a:gd name="connsiteX16723" fmla="*/ 1706764 w 6884782"/>
              <a:gd name="connsiteY16723" fmla="*/ 4486634 h 5973007"/>
              <a:gd name="connsiteX16724" fmla="*/ 1706144 w 6884782"/>
              <a:gd name="connsiteY16724" fmla="*/ 4478063 h 5973007"/>
              <a:gd name="connsiteX16725" fmla="*/ 1708467 w 6884782"/>
              <a:gd name="connsiteY16725" fmla="*/ 4476411 h 5973007"/>
              <a:gd name="connsiteX16726" fmla="*/ 1708777 w 6884782"/>
              <a:gd name="connsiteY16726" fmla="*/ 4475585 h 5973007"/>
              <a:gd name="connsiteX16727" fmla="*/ 1710945 w 6884782"/>
              <a:gd name="connsiteY16727" fmla="*/ 4475069 h 5973007"/>
              <a:gd name="connsiteX16728" fmla="*/ 1712649 w 6884782"/>
              <a:gd name="connsiteY16728" fmla="*/ 4476411 h 5973007"/>
              <a:gd name="connsiteX16729" fmla="*/ 1712804 w 6884782"/>
              <a:gd name="connsiteY16729" fmla="*/ 4476514 h 5973007"/>
              <a:gd name="connsiteX16730" fmla="*/ 1714508 w 6884782"/>
              <a:gd name="connsiteY16730" fmla="*/ 4476824 h 5973007"/>
              <a:gd name="connsiteX16731" fmla="*/ 1714973 w 6884782"/>
              <a:gd name="connsiteY16731" fmla="*/ 4478167 h 5973007"/>
              <a:gd name="connsiteX16732" fmla="*/ 1717297 w 6884782"/>
              <a:gd name="connsiteY16732" fmla="*/ 4477753 h 5973007"/>
              <a:gd name="connsiteX16733" fmla="*/ 1720549 w 6884782"/>
              <a:gd name="connsiteY16733" fmla="*/ 4475585 h 5973007"/>
              <a:gd name="connsiteX16734" fmla="*/ 1721169 w 6884782"/>
              <a:gd name="connsiteY16734" fmla="*/ 4475275 h 5973007"/>
              <a:gd name="connsiteX16735" fmla="*/ 1563640 w 6884782"/>
              <a:gd name="connsiteY16735" fmla="*/ 4471248 h 5973007"/>
              <a:gd name="connsiteX16736" fmla="*/ 1567667 w 6884782"/>
              <a:gd name="connsiteY16736" fmla="*/ 4471971 h 5973007"/>
              <a:gd name="connsiteX16737" fmla="*/ 1568906 w 6884782"/>
              <a:gd name="connsiteY16737" fmla="*/ 4479199 h 5973007"/>
              <a:gd name="connsiteX16738" fmla="*/ 1570300 w 6884782"/>
              <a:gd name="connsiteY16738" fmla="*/ 4483846 h 5973007"/>
              <a:gd name="connsiteX16739" fmla="*/ 1567357 w 6884782"/>
              <a:gd name="connsiteY16739" fmla="*/ 4478063 h 5973007"/>
              <a:gd name="connsiteX16740" fmla="*/ 1564879 w 6884782"/>
              <a:gd name="connsiteY16740" fmla="*/ 4476824 h 5973007"/>
              <a:gd name="connsiteX16741" fmla="*/ 1563640 w 6884782"/>
              <a:gd name="connsiteY16741" fmla="*/ 4471248 h 5973007"/>
              <a:gd name="connsiteX16742" fmla="*/ 1099880 w 6884782"/>
              <a:gd name="connsiteY16742" fmla="*/ 4470009 h 5973007"/>
              <a:gd name="connsiteX16743" fmla="*/ 1089192 w 6884782"/>
              <a:gd name="connsiteY16743" fmla="*/ 4477857 h 5973007"/>
              <a:gd name="connsiteX16744" fmla="*/ 1090431 w 6884782"/>
              <a:gd name="connsiteY16744" fmla="*/ 4475482 h 5973007"/>
              <a:gd name="connsiteX16745" fmla="*/ 1099880 w 6884782"/>
              <a:gd name="connsiteY16745" fmla="*/ 4470009 h 5973007"/>
              <a:gd name="connsiteX16746" fmla="*/ 6144997 w 6884782"/>
              <a:gd name="connsiteY16746" fmla="*/ 4469717 h 5973007"/>
              <a:gd name="connsiteX16747" fmla="*/ 6145617 w 6884782"/>
              <a:gd name="connsiteY16747" fmla="*/ 4474054 h 5973007"/>
              <a:gd name="connsiteX16748" fmla="*/ 6143139 w 6884782"/>
              <a:gd name="connsiteY16748" fmla="*/ 4476429 h 5973007"/>
              <a:gd name="connsiteX16749" fmla="*/ 6139111 w 6884782"/>
              <a:gd name="connsiteY16749" fmla="*/ 4476223 h 5973007"/>
              <a:gd name="connsiteX16750" fmla="*/ 6139886 w 6884782"/>
              <a:gd name="connsiteY16750" fmla="*/ 4476119 h 5973007"/>
              <a:gd name="connsiteX16751" fmla="*/ 6139731 w 6884782"/>
              <a:gd name="connsiteY16751" fmla="*/ 4474364 h 5973007"/>
              <a:gd name="connsiteX16752" fmla="*/ 6138802 w 6884782"/>
              <a:gd name="connsiteY16752" fmla="*/ 4474467 h 5973007"/>
              <a:gd name="connsiteX16753" fmla="*/ 6139421 w 6884782"/>
              <a:gd name="connsiteY16753" fmla="*/ 4472608 h 5973007"/>
              <a:gd name="connsiteX16754" fmla="*/ 6144997 w 6884782"/>
              <a:gd name="connsiteY16754" fmla="*/ 4469717 h 5973007"/>
              <a:gd name="connsiteX16755" fmla="*/ 1646354 w 6884782"/>
              <a:gd name="connsiteY16755" fmla="*/ 4469183 h 5973007"/>
              <a:gd name="connsiteX16756" fmla="*/ 1649916 w 6884782"/>
              <a:gd name="connsiteY16756" fmla="*/ 4472178 h 5973007"/>
              <a:gd name="connsiteX16757" fmla="*/ 1648833 w 6884782"/>
              <a:gd name="connsiteY16757" fmla="*/ 4484981 h 5973007"/>
              <a:gd name="connsiteX16758" fmla="*/ 1646664 w 6884782"/>
              <a:gd name="connsiteY16758" fmla="*/ 4485084 h 5973007"/>
              <a:gd name="connsiteX16759" fmla="*/ 1642172 w 6884782"/>
              <a:gd name="connsiteY16759" fmla="*/ 4480232 h 5973007"/>
              <a:gd name="connsiteX16760" fmla="*/ 1641552 w 6884782"/>
              <a:gd name="connsiteY16760" fmla="*/ 4475069 h 5973007"/>
              <a:gd name="connsiteX16761" fmla="*/ 1646354 w 6884782"/>
              <a:gd name="connsiteY16761" fmla="*/ 4469183 h 5973007"/>
              <a:gd name="connsiteX16762" fmla="*/ 1300141 w 6884782"/>
              <a:gd name="connsiteY16762" fmla="*/ 4469170 h 5973007"/>
              <a:gd name="connsiteX16763" fmla="*/ 1305582 w 6884782"/>
              <a:gd name="connsiteY16763" fmla="*/ 4472178 h 5973007"/>
              <a:gd name="connsiteX16764" fmla="*/ 1301710 w 6884782"/>
              <a:gd name="connsiteY16764" fmla="*/ 4474862 h 5973007"/>
              <a:gd name="connsiteX16765" fmla="*/ 1297373 w 6884782"/>
              <a:gd name="connsiteY16765" fmla="*/ 4473520 h 5973007"/>
              <a:gd name="connsiteX16766" fmla="*/ 1300141 w 6884782"/>
              <a:gd name="connsiteY16766" fmla="*/ 4469170 h 5973007"/>
              <a:gd name="connsiteX16767" fmla="*/ 1034359 w 6884782"/>
              <a:gd name="connsiteY16767" fmla="*/ 4468873 h 5973007"/>
              <a:gd name="connsiteX16768" fmla="*/ 1039935 w 6884782"/>
              <a:gd name="connsiteY16768" fmla="*/ 4472074 h 5973007"/>
              <a:gd name="connsiteX16769" fmla="*/ 1038076 w 6884782"/>
              <a:gd name="connsiteY16769" fmla="*/ 4472178 h 5973007"/>
              <a:gd name="connsiteX16770" fmla="*/ 1035907 w 6884782"/>
              <a:gd name="connsiteY16770" fmla="*/ 4471765 h 5973007"/>
              <a:gd name="connsiteX16771" fmla="*/ 1033739 w 6884782"/>
              <a:gd name="connsiteY16771" fmla="*/ 4471248 h 5973007"/>
              <a:gd name="connsiteX16772" fmla="*/ 1031880 w 6884782"/>
              <a:gd name="connsiteY16772" fmla="*/ 4471455 h 5973007"/>
              <a:gd name="connsiteX16773" fmla="*/ 1028783 w 6884782"/>
              <a:gd name="connsiteY16773" fmla="*/ 4469390 h 5973007"/>
              <a:gd name="connsiteX16774" fmla="*/ 1030641 w 6884782"/>
              <a:gd name="connsiteY16774" fmla="*/ 4469286 h 5973007"/>
              <a:gd name="connsiteX16775" fmla="*/ 1032964 w 6884782"/>
              <a:gd name="connsiteY16775" fmla="*/ 4469803 h 5973007"/>
              <a:gd name="connsiteX16776" fmla="*/ 1034359 w 6884782"/>
              <a:gd name="connsiteY16776" fmla="*/ 4468873 h 5973007"/>
              <a:gd name="connsiteX16777" fmla="*/ 1199013 w 6884782"/>
              <a:gd name="connsiteY16777" fmla="*/ 4468254 h 5973007"/>
              <a:gd name="connsiteX16778" fmla="*/ 1196845 w 6884782"/>
              <a:gd name="connsiteY16778" fmla="*/ 4475792 h 5973007"/>
              <a:gd name="connsiteX16779" fmla="*/ 1199013 w 6884782"/>
              <a:gd name="connsiteY16779" fmla="*/ 4468254 h 5973007"/>
              <a:gd name="connsiteX16780" fmla="*/ 708302 w 6884782"/>
              <a:gd name="connsiteY16780" fmla="*/ 4467531 h 5973007"/>
              <a:gd name="connsiteX16781" fmla="*/ 716821 w 6884782"/>
              <a:gd name="connsiteY16781" fmla="*/ 4472487 h 5973007"/>
              <a:gd name="connsiteX16782" fmla="*/ 715272 w 6884782"/>
              <a:gd name="connsiteY16782" fmla="*/ 4476102 h 5973007"/>
              <a:gd name="connsiteX16783" fmla="*/ 712639 w 6884782"/>
              <a:gd name="connsiteY16783" fmla="*/ 4477340 h 5973007"/>
              <a:gd name="connsiteX16784" fmla="*/ 705824 w 6884782"/>
              <a:gd name="connsiteY16784" fmla="*/ 4472591 h 5973007"/>
              <a:gd name="connsiteX16785" fmla="*/ 708302 w 6884782"/>
              <a:gd name="connsiteY16785" fmla="*/ 4467531 h 5973007"/>
              <a:gd name="connsiteX16786" fmla="*/ 874506 w 6884782"/>
              <a:gd name="connsiteY16786" fmla="*/ 4466808 h 5973007"/>
              <a:gd name="connsiteX16787" fmla="*/ 884574 w 6884782"/>
              <a:gd name="connsiteY16787" fmla="*/ 4478476 h 5973007"/>
              <a:gd name="connsiteX16788" fmla="*/ 880701 w 6884782"/>
              <a:gd name="connsiteY16788" fmla="*/ 4481264 h 5973007"/>
              <a:gd name="connsiteX16789" fmla="*/ 878069 w 6884782"/>
              <a:gd name="connsiteY16789" fmla="*/ 4480645 h 5973007"/>
              <a:gd name="connsiteX16790" fmla="*/ 876829 w 6884782"/>
              <a:gd name="connsiteY16790" fmla="*/ 4482607 h 5973007"/>
              <a:gd name="connsiteX16791" fmla="*/ 873577 w 6884782"/>
              <a:gd name="connsiteY16791" fmla="*/ 4481368 h 5973007"/>
              <a:gd name="connsiteX16792" fmla="*/ 874041 w 6884782"/>
              <a:gd name="connsiteY16792" fmla="*/ 4477340 h 5973007"/>
              <a:gd name="connsiteX16793" fmla="*/ 873112 w 6884782"/>
              <a:gd name="connsiteY16793" fmla="*/ 4474966 h 5973007"/>
              <a:gd name="connsiteX16794" fmla="*/ 871098 w 6884782"/>
              <a:gd name="connsiteY16794" fmla="*/ 4469596 h 5973007"/>
              <a:gd name="connsiteX16795" fmla="*/ 874506 w 6884782"/>
              <a:gd name="connsiteY16795" fmla="*/ 4466808 h 5973007"/>
              <a:gd name="connsiteX16796" fmla="*/ 1179031 w 6884782"/>
              <a:gd name="connsiteY16796" fmla="*/ 4466705 h 5973007"/>
              <a:gd name="connsiteX16797" fmla="*/ 1181820 w 6884782"/>
              <a:gd name="connsiteY16797" fmla="*/ 4479612 h 5973007"/>
              <a:gd name="connsiteX16798" fmla="*/ 1180271 w 6884782"/>
              <a:gd name="connsiteY16798" fmla="*/ 4477547 h 5973007"/>
              <a:gd name="connsiteX16799" fmla="*/ 1179013 w 6884782"/>
              <a:gd name="connsiteY16799" fmla="*/ 4472010 h 5973007"/>
              <a:gd name="connsiteX16800" fmla="*/ 1179022 w 6884782"/>
              <a:gd name="connsiteY16800" fmla="*/ 4469182 h 5973007"/>
              <a:gd name="connsiteX16801" fmla="*/ 1179031 w 6884782"/>
              <a:gd name="connsiteY16801" fmla="*/ 4469183 h 5973007"/>
              <a:gd name="connsiteX16802" fmla="*/ 1179022 w 6884782"/>
              <a:gd name="connsiteY16802" fmla="*/ 4469175 h 5973007"/>
              <a:gd name="connsiteX16803" fmla="*/ 6195184 w 6884782"/>
              <a:gd name="connsiteY16803" fmla="*/ 4466620 h 5973007"/>
              <a:gd name="connsiteX16804" fmla="*/ 6195804 w 6884782"/>
              <a:gd name="connsiteY16804" fmla="*/ 4467755 h 5973007"/>
              <a:gd name="connsiteX16805" fmla="*/ 6195184 w 6884782"/>
              <a:gd name="connsiteY16805" fmla="*/ 4469408 h 5973007"/>
              <a:gd name="connsiteX16806" fmla="*/ 6193480 w 6884782"/>
              <a:gd name="connsiteY16806" fmla="*/ 4472918 h 5973007"/>
              <a:gd name="connsiteX16807" fmla="*/ 6195184 w 6884782"/>
              <a:gd name="connsiteY16807" fmla="*/ 4466620 h 5973007"/>
              <a:gd name="connsiteX16808" fmla="*/ 1649762 w 6884782"/>
              <a:gd name="connsiteY16808" fmla="*/ 4465156 h 5973007"/>
              <a:gd name="connsiteX16809" fmla="*/ 1653789 w 6884782"/>
              <a:gd name="connsiteY16809" fmla="*/ 4468150 h 5973007"/>
              <a:gd name="connsiteX16810" fmla="*/ 1651311 w 6884782"/>
              <a:gd name="connsiteY16810" fmla="*/ 4470422 h 5973007"/>
              <a:gd name="connsiteX16811" fmla="*/ 1648367 w 6884782"/>
              <a:gd name="connsiteY16811" fmla="*/ 4469183 h 5973007"/>
              <a:gd name="connsiteX16812" fmla="*/ 1649762 w 6884782"/>
              <a:gd name="connsiteY16812" fmla="*/ 4465156 h 5973007"/>
              <a:gd name="connsiteX16813" fmla="*/ 1676094 w 6884782"/>
              <a:gd name="connsiteY16813" fmla="*/ 4464743 h 5973007"/>
              <a:gd name="connsiteX16814" fmla="*/ 1670673 w 6884782"/>
              <a:gd name="connsiteY16814" fmla="*/ 4471145 h 5973007"/>
              <a:gd name="connsiteX16815" fmla="*/ 1674545 w 6884782"/>
              <a:gd name="connsiteY16815" fmla="*/ 4464950 h 5973007"/>
              <a:gd name="connsiteX16816" fmla="*/ 1676094 w 6884782"/>
              <a:gd name="connsiteY16816" fmla="*/ 4464743 h 5973007"/>
              <a:gd name="connsiteX16817" fmla="*/ 1726900 w 6884782"/>
              <a:gd name="connsiteY16817" fmla="*/ 4464640 h 5973007"/>
              <a:gd name="connsiteX16818" fmla="*/ 1729533 w 6884782"/>
              <a:gd name="connsiteY16818" fmla="*/ 4466499 h 5973007"/>
              <a:gd name="connsiteX16819" fmla="*/ 1728759 w 6884782"/>
              <a:gd name="connsiteY16819" fmla="*/ 4467325 h 5973007"/>
              <a:gd name="connsiteX16820" fmla="*/ 1729533 w 6884782"/>
              <a:gd name="connsiteY16820" fmla="*/ 4467325 h 5973007"/>
              <a:gd name="connsiteX16821" fmla="*/ 1728449 w 6884782"/>
              <a:gd name="connsiteY16821" fmla="*/ 4467531 h 5973007"/>
              <a:gd name="connsiteX16822" fmla="*/ 1727985 w 6884782"/>
              <a:gd name="connsiteY16822" fmla="*/ 4467221 h 5973007"/>
              <a:gd name="connsiteX16823" fmla="*/ 1726900 w 6884782"/>
              <a:gd name="connsiteY16823" fmla="*/ 4464640 h 5973007"/>
              <a:gd name="connsiteX16824" fmla="*/ 1819992 w 6884782"/>
              <a:gd name="connsiteY16824" fmla="*/ 4464434 h 5973007"/>
              <a:gd name="connsiteX16825" fmla="*/ 1828822 w 6884782"/>
              <a:gd name="connsiteY16825" fmla="*/ 4470422 h 5973007"/>
              <a:gd name="connsiteX16826" fmla="*/ 1819992 w 6884782"/>
              <a:gd name="connsiteY16826" fmla="*/ 4464434 h 5973007"/>
              <a:gd name="connsiteX16827" fmla="*/ 1413216 w 6884782"/>
              <a:gd name="connsiteY16827" fmla="*/ 4464278 h 5973007"/>
              <a:gd name="connsiteX16828" fmla="*/ 1419276 w 6884782"/>
              <a:gd name="connsiteY16828" fmla="*/ 4465466 h 5973007"/>
              <a:gd name="connsiteX16829" fmla="*/ 1419586 w 6884782"/>
              <a:gd name="connsiteY16829" fmla="*/ 4470835 h 5973007"/>
              <a:gd name="connsiteX16830" fmla="*/ 1414474 w 6884782"/>
              <a:gd name="connsiteY16830" fmla="*/ 4473004 h 5973007"/>
              <a:gd name="connsiteX16831" fmla="*/ 1409363 w 6884782"/>
              <a:gd name="connsiteY16831" fmla="*/ 4471455 h 5973007"/>
              <a:gd name="connsiteX16832" fmla="*/ 1408898 w 6884782"/>
              <a:gd name="connsiteY16832" fmla="*/ 4467738 h 5973007"/>
              <a:gd name="connsiteX16833" fmla="*/ 1413216 w 6884782"/>
              <a:gd name="connsiteY16833" fmla="*/ 4464278 h 5973007"/>
              <a:gd name="connsiteX16834" fmla="*/ 1598336 w 6884782"/>
              <a:gd name="connsiteY16834" fmla="*/ 4463917 h 5973007"/>
              <a:gd name="connsiteX16835" fmla="*/ 1617079 w 6884782"/>
              <a:gd name="connsiteY16835" fmla="*/ 4485084 h 5973007"/>
              <a:gd name="connsiteX16836" fmla="*/ 1613981 w 6884782"/>
              <a:gd name="connsiteY16836" fmla="*/ 4485601 h 5973007"/>
              <a:gd name="connsiteX16837" fmla="*/ 1608559 w 6884782"/>
              <a:gd name="connsiteY16837" fmla="*/ 4482710 h 5973007"/>
              <a:gd name="connsiteX16838" fmla="*/ 1606546 w 6884782"/>
              <a:gd name="connsiteY16838" fmla="*/ 4480129 h 5973007"/>
              <a:gd name="connsiteX16839" fmla="*/ 1605771 w 6884782"/>
              <a:gd name="connsiteY16839" fmla="*/ 4480438 h 5973007"/>
              <a:gd name="connsiteX16840" fmla="*/ 1600814 w 6884782"/>
              <a:gd name="connsiteY16840" fmla="*/ 4481471 h 5973007"/>
              <a:gd name="connsiteX16841" fmla="*/ 1599420 w 6884782"/>
              <a:gd name="connsiteY16841" fmla="*/ 4480748 h 5973007"/>
              <a:gd name="connsiteX16842" fmla="*/ 1599575 w 6884782"/>
              <a:gd name="connsiteY16842" fmla="*/ 4480129 h 5973007"/>
              <a:gd name="connsiteX16843" fmla="*/ 1599265 w 6884782"/>
              <a:gd name="connsiteY16843" fmla="*/ 4480232 h 5973007"/>
              <a:gd name="connsiteX16844" fmla="*/ 1596942 w 6884782"/>
              <a:gd name="connsiteY16844" fmla="*/ 4479715 h 5973007"/>
              <a:gd name="connsiteX16845" fmla="*/ 1599730 w 6884782"/>
              <a:gd name="connsiteY16845" fmla="*/ 4477960 h 5973007"/>
              <a:gd name="connsiteX16846" fmla="*/ 1599885 w 6884782"/>
              <a:gd name="connsiteY16846" fmla="*/ 4478063 h 5973007"/>
              <a:gd name="connsiteX16847" fmla="*/ 1600505 w 6884782"/>
              <a:gd name="connsiteY16847" fmla="*/ 4476514 h 5973007"/>
              <a:gd name="connsiteX16848" fmla="*/ 1603602 w 6884782"/>
              <a:gd name="connsiteY16848" fmla="*/ 4476514 h 5973007"/>
              <a:gd name="connsiteX16849" fmla="*/ 1600040 w 6884782"/>
              <a:gd name="connsiteY16849" fmla="*/ 4469596 h 5973007"/>
              <a:gd name="connsiteX16850" fmla="*/ 1598336 w 6884782"/>
              <a:gd name="connsiteY16850" fmla="*/ 4463917 h 5973007"/>
              <a:gd name="connsiteX16851" fmla="*/ 5910020 w 6884782"/>
              <a:gd name="connsiteY16851" fmla="*/ 4462902 h 5973007"/>
              <a:gd name="connsiteX16852" fmla="*/ 5910174 w 6884782"/>
              <a:gd name="connsiteY16852" fmla="*/ 4468478 h 5973007"/>
              <a:gd name="connsiteX16853" fmla="*/ 5901810 w 6884782"/>
              <a:gd name="connsiteY16853" fmla="*/ 4469201 h 5973007"/>
              <a:gd name="connsiteX16854" fmla="*/ 5896854 w 6884782"/>
              <a:gd name="connsiteY16854" fmla="*/ 4465897 h 5973007"/>
              <a:gd name="connsiteX16855" fmla="*/ 5910020 w 6884782"/>
              <a:gd name="connsiteY16855" fmla="*/ 4462902 h 5973007"/>
              <a:gd name="connsiteX16856" fmla="*/ 1706454 w 6884782"/>
              <a:gd name="connsiteY16856" fmla="*/ 4462265 h 5973007"/>
              <a:gd name="connsiteX16857" fmla="*/ 1701962 w 6884782"/>
              <a:gd name="connsiteY16857" fmla="*/ 4475069 h 5973007"/>
              <a:gd name="connsiteX16858" fmla="*/ 1698244 w 6884782"/>
              <a:gd name="connsiteY16858" fmla="*/ 4472384 h 5973007"/>
              <a:gd name="connsiteX16859" fmla="*/ 1701652 w 6884782"/>
              <a:gd name="connsiteY16859" fmla="*/ 4462368 h 5973007"/>
              <a:gd name="connsiteX16860" fmla="*/ 1706454 w 6884782"/>
              <a:gd name="connsiteY16860" fmla="*/ 4462265 h 5973007"/>
              <a:gd name="connsiteX16861" fmla="*/ 6153052 w 6884782"/>
              <a:gd name="connsiteY16861" fmla="*/ 4461664 h 5973007"/>
              <a:gd name="connsiteX16862" fmla="*/ 6153981 w 6884782"/>
              <a:gd name="connsiteY16862" fmla="*/ 4461767 h 5973007"/>
              <a:gd name="connsiteX16863" fmla="*/ 6157234 w 6884782"/>
              <a:gd name="connsiteY16863" fmla="*/ 4462283 h 5973007"/>
              <a:gd name="connsiteX16864" fmla="*/ 6158628 w 6884782"/>
              <a:gd name="connsiteY16864" fmla="*/ 4466826 h 5973007"/>
              <a:gd name="connsiteX16865" fmla="*/ 6155840 w 6884782"/>
              <a:gd name="connsiteY16865" fmla="*/ 4468169 h 5973007"/>
              <a:gd name="connsiteX16866" fmla="*/ 6153517 w 6884782"/>
              <a:gd name="connsiteY16866" fmla="*/ 4467755 h 5973007"/>
              <a:gd name="connsiteX16867" fmla="*/ 6151968 w 6884782"/>
              <a:gd name="connsiteY16867" fmla="*/ 4463212 h 5973007"/>
              <a:gd name="connsiteX16868" fmla="*/ 6153052 w 6884782"/>
              <a:gd name="connsiteY16868" fmla="*/ 4461664 h 5973007"/>
              <a:gd name="connsiteX16869" fmla="*/ 1161839 w 6884782"/>
              <a:gd name="connsiteY16869" fmla="*/ 4461439 h 5973007"/>
              <a:gd name="connsiteX16870" fmla="*/ 1172352 w 6884782"/>
              <a:gd name="connsiteY16870" fmla="*/ 4462911 h 5973007"/>
              <a:gd name="connsiteX16871" fmla="*/ 1179022 w 6884782"/>
              <a:gd name="connsiteY16871" fmla="*/ 4469175 h 5973007"/>
              <a:gd name="connsiteX16872" fmla="*/ 1179022 w 6884782"/>
              <a:gd name="connsiteY16872" fmla="*/ 4469182 h 5973007"/>
              <a:gd name="connsiteX16873" fmla="*/ 1174308 w 6884782"/>
              <a:gd name="connsiteY16873" fmla="*/ 4468822 h 5973007"/>
              <a:gd name="connsiteX16874" fmla="*/ 1169119 w 6884782"/>
              <a:gd name="connsiteY16874" fmla="*/ 4468150 h 5973007"/>
              <a:gd name="connsiteX16875" fmla="*/ 1161839 w 6884782"/>
              <a:gd name="connsiteY16875" fmla="*/ 4461439 h 5973007"/>
              <a:gd name="connsiteX16876" fmla="*/ 1787929 w 6884782"/>
              <a:gd name="connsiteY16876" fmla="*/ 4459064 h 5973007"/>
              <a:gd name="connsiteX16877" fmla="*/ 1790253 w 6884782"/>
              <a:gd name="connsiteY16877" fmla="*/ 4464124 h 5973007"/>
              <a:gd name="connsiteX16878" fmla="*/ 1787619 w 6884782"/>
              <a:gd name="connsiteY16878" fmla="*/ 4463917 h 5973007"/>
              <a:gd name="connsiteX16879" fmla="*/ 1787929 w 6884782"/>
              <a:gd name="connsiteY16879" fmla="*/ 4459064 h 5973007"/>
              <a:gd name="connsiteX16880" fmla="*/ 1061930 w 6884782"/>
              <a:gd name="connsiteY16880" fmla="*/ 4459064 h 5973007"/>
              <a:gd name="connsiteX16881" fmla="*/ 1061155 w 6884782"/>
              <a:gd name="connsiteY16881" fmla="*/ 4459787 h 5973007"/>
              <a:gd name="connsiteX16882" fmla="*/ 1061930 w 6884782"/>
              <a:gd name="connsiteY16882" fmla="*/ 4459477 h 5973007"/>
              <a:gd name="connsiteX16883" fmla="*/ 1548615 w 6884782"/>
              <a:gd name="connsiteY16883" fmla="*/ 4458961 h 5973007"/>
              <a:gd name="connsiteX16884" fmla="*/ 1552177 w 6884782"/>
              <a:gd name="connsiteY16884" fmla="*/ 4465569 h 5973007"/>
              <a:gd name="connsiteX16885" fmla="*/ 1553571 w 6884782"/>
              <a:gd name="connsiteY16885" fmla="*/ 4469493 h 5973007"/>
              <a:gd name="connsiteX16886" fmla="*/ 1552642 w 6884782"/>
              <a:gd name="connsiteY16886" fmla="*/ 4471868 h 5973007"/>
              <a:gd name="connsiteX16887" fmla="*/ 1551867 w 6884782"/>
              <a:gd name="connsiteY16887" fmla="*/ 4472178 h 5973007"/>
              <a:gd name="connsiteX16888" fmla="*/ 1550628 w 6884782"/>
              <a:gd name="connsiteY16888" fmla="*/ 4470835 h 5973007"/>
              <a:gd name="connsiteX16889" fmla="*/ 1548305 w 6884782"/>
              <a:gd name="connsiteY16889" fmla="*/ 4462884 h 5973007"/>
              <a:gd name="connsiteX16890" fmla="*/ 1547685 w 6884782"/>
              <a:gd name="connsiteY16890" fmla="*/ 4461336 h 5973007"/>
              <a:gd name="connsiteX16891" fmla="*/ 1548615 w 6884782"/>
              <a:gd name="connsiteY16891" fmla="*/ 4458961 h 5973007"/>
              <a:gd name="connsiteX16892" fmla="*/ 5849939 w 6884782"/>
              <a:gd name="connsiteY16892" fmla="*/ 4458734 h 5973007"/>
              <a:gd name="connsiteX16893" fmla="*/ 5851469 w 6884782"/>
              <a:gd name="connsiteY16893" fmla="*/ 4463419 h 5973007"/>
              <a:gd name="connsiteX16894" fmla="*/ 5845273 w 6884782"/>
              <a:gd name="connsiteY16894" fmla="*/ 4461870 h 5973007"/>
              <a:gd name="connsiteX16895" fmla="*/ 5849939 w 6884782"/>
              <a:gd name="connsiteY16895" fmla="*/ 4458734 h 5973007"/>
              <a:gd name="connsiteX16896" fmla="*/ 5857045 w 6884782"/>
              <a:gd name="connsiteY16896" fmla="*/ 4458669 h 5973007"/>
              <a:gd name="connsiteX16897" fmla="*/ 5863241 w 6884782"/>
              <a:gd name="connsiteY16897" fmla="*/ 4460011 h 5973007"/>
              <a:gd name="connsiteX16898" fmla="*/ 5865100 w 6884782"/>
              <a:gd name="connsiteY16898" fmla="*/ 4463109 h 5973007"/>
              <a:gd name="connsiteX16899" fmla="*/ 5866959 w 6884782"/>
              <a:gd name="connsiteY16899" fmla="*/ 4461767 h 5973007"/>
              <a:gd name="connsiteX16900" fmla="*/ 5880125 w 6884782"/>
              <a:gd name="connsiteY16900" fmla="*/ 4468065 h 5973007"/>
              <a:gd name="connsiteX16901" fmla="*/ 5880434 w 6884782"/>
              <a:gd name="connsiteY16901" fmla="*/ 4470440 h 5973007"/>
              <a:gd name="connsiteX16902" fmla="*/ 5882138 w 6884782"/>
              <a:gd name="connsiteY16902" fmla="*/ 4473744 h 5973007"/>
              <a:gd name="connsiteX16903" fmla="*/ 5872999 w 6884782"/>
              <a:gd name="connsiteY16903" fmla="*/ 4480663 h 5973007"/>
              <a:gd name="connsiteX16904" fmla="*/ 5867733 w 6884782"/>
              <a:gd name="connsiteY16904" fmla="*/ 4481902 h 5973007"/>
              <a:gd name="connsiteX16905" fmla="*/ 5866649 w 6884782"/>
              <a:gd name="connsiteY16905" fmla="*/ 4481592 h 5973007"/>
              <a:gd name="connsiteX16906" fmla="*/ 5866959 w 6884782"/>
              <a:gd name="connsiteY16906" fmla="*/ 4481902 h 5973007"/>
              <a:gd name="connsiteX16907" fmla="*/ 5870366 w 6884782"/>
              <a:gd name="connsiteY16907" fmla="*/ 4487477 h 5973007"/>
              <a:gd name="connsiteX16908" fmla="*/ 5867888 w 6884782"/>
              <a:gd name="connsiteY16908" fmla="*/ 4486755 h 5973007"/>
              <a:gd name="connsiteX16909" fmla="*/ 5866804 w 6884782"/>
              <a:gd name="connsiteY16909" fmla="*/ 4485929 h 5973007"/>
              <a:gd name="connsiteX16910" fmla="*/ 5866029 w 6884782"/>
              <a:gd name="connsiteY16910" fmla="*/ 4485929 h 5973007"/>
              <a:gd name="connsiteX16911" fmla="*/ 5865874 w 6884782"/>
              <a:gd name="connsiteY16911" fmla="*/ 4485103 h 5973007"/>
              <a:gd name="connsiteX16912" fmla="*/ 5864016 w 6884782"/>
              <a:gd name="connsiteY16912" fmla="*/ 4483450 h 5973007"/>
              <a:gd name="connsiteX16913" fmla="*/ 5858594 w 6884782"/>
              <a:gd name="connsiteY16913" fmla="*/ 4481179 h 5973007"/>
              <a:gd name="connsiteX16914" fmla="*/ 5854412 w 6884782"/>
              <a:gd name="connsiteY16914" fmla="*/ 4476223 h 5973007"/>
              <a:gd name="connsiteX16915" fmla="*/ 5855961 w 6884782"/>
              <a:gd name="connsiteY16915" fmla="*/ 4474364 h 5973007"/>
              <a:gd name="connsiteX16916" fmla="*/ 5853947 w 6884782"/>
              <a:gd name="connsiteY16916" fmla="*/ 4472712 h 5973007"/>
              <a:gd name="connsiteX16917" fmla="*/ 5853328 w 6884782"/>
              <a:gd name="connsiteY16917" fmla="*/ 4461457 h 5973007"/>
              <a:gd name="connsiteX16918" fmla="*/ 5857045 w 6884782"/>
              <a:gd name="connsiteY16918" fmla="*/ 4458669 h 5973007"/>
              <a:gd name="connsiteX16919" fmla="*/ 1140154 w 6884782"/>
              <a:gd name="connsiteY16919" fmla="*/ 4458651 h 5973007"/>
              <a:gd name="connsiteX16920" fmla="*/ 1141237 w 6884782"/>
              <a:gd name="connsiteY16920" fmla="*/ 4472694 h 5973007"/>
              <a:gd name="connsiteX16921" fmla="*/ 1140154 w 6884782"/>
              <a:gd name="connsiteY16921" fmla="*/ 4458651 h 5973007"/>
              <a:gd name="connsiteX16922" fmla="*/ 737113 w 6884782"/>
              <a:gd name="connsiteY16922" fmla="*/ 4458651 h 5973007"/>
              <a:gd name="connsiteX16923" fmla="*/ 741759 w 6884782"/>
              <a:gd name="connsiteY16923" fmla="*/ 4468357 h 5973007"/>
              <a:gd name="connsiteX16924" fmla="*/ 740520 w 6884782"/>
              <a:gd name="connsiteY16924" fmla="*/ 4478683 h 5973007"/>
              <a:gd name="connsiteX16925" fmla="*/ 737113 w 6884782"/>
              <a:gd name="connsiteY16925" fmla="*/ 4458651 h 5973007"/>
              <a:gd name="connsiteX16926" fmla="*/ 1055425 w 6884782"/>
              <a:gd name="connsiteY16926" fmla="*/ 4458341 h 5973007"/>
              <a:gd name="connsiteX16927" fmla="*/ 1052327 w 6884782"/>
              <a:gd name="connsiteY16927" fmla="*/ 4460406 h 5973007"/>
              <a:gd name="connsiteX16928" fmla="*/ 1048144 w 6884782"/>
              <a:gd name="connsiteY16928" fmla="*/ 4460406 h 5973007"/>
              <a:gd name="connsiteX16929" fmla="*/ 1055425 w 6884782"/>
              <a:gd name="connsiteY16929" fmla="*/ 4458341 h 5973007"/>
              <a:gd name="connsiteX16930" fmla="*/ 1782817 w 6884782"/>
              <a:gd name="connsiteY16930" fmla="*/ 4458135 h 5973007"/>
              <a:gd name="connsiteX16931" fmla="*/ 1776002 w 6884782"/>
              <a:gd name="connsiteY16931" fmla="*/ 4465466 h 5973007"/>
              <a:gd name="connsiteX16932" fmla="*/ 1782817 w 6884782"/>
              <a:gd name="connsiteY16932" fmla="*/ 4458135 h 5973007"/>
              <a:gd name="connsiteX16933" fmla="*/ 1723337 w 6884782"/>
              <a:gd name="connsiteY16933" fmla="*/ 4458135 h 5973007"/>
              <a:gd name="connsiteX16934" fmla="*/ 1726900 w 6884782"/>
              <a:gd name="connsiteY16934" fmla="*/ 4464640 h 5973007"/>
              <a:gd name="connsiteX16935" fmla="*/ 1723337 w 6884782"/>
              <a:gd name="connsiteY16935" fmla="*/ 4461749 h 5973007"/>
              <a:gd name="connsiteX16936" fmla="*/ 1723337 w 6884782"/>
              <a:gd name="connsiteY16936" fmla="*/ 4458135 h 5973007"/>
              <a:gd name="connsiteX16937" fmla="*/ 1043652 w 6884782"/>
              <a:gd name="connsiteY16937" fmla="*/ 4457515 h 5973007"/>
              <a:gd name="connsiteX16938" fmla="*/ 1043807 w 6884782"/>
              <a:gd name="connsiteY16938" fmla="*/ 4458341 h 5973007"/>
              <a:gd name="connsiteX16939" fmla="*/ 1045511 w 6884782"/>
              <a:gd name="connsiteY16939" fmla="*/ 4461336 h 5973007"/>
              <a:gd name="connsiteX16940" fmla="*/ 1041484 w 6884782"/>
              <a:gd name="connsiteY16940" fmla="*/ 4462884 h 5973007"/>
              <a:gd name="connsiteX16941" fmla="*/ 1041484 w 6884782"/>
              <a:gd name="connsiteY16941" fmla="*/ 4459271 h 5973007"/>
              <a:gd name="connsiteX16942" fmla="*/ 1043652 w 6884782"/>
              <a:gd name="connsiteY16942" fmla="*/ 4457515 h 5973007"/>
              <a:gd name="connsiteX16943" fmla="*/ 1697779 w 6884782"/>
              <a:gd name="connsiteY16943" fmla="*/ 4456379 h 5973007"/>
              <a:gd name="connsiteX16944" fmla="*/ 1697470 w 6884782"/>
              <a:gd name="connsiteY16944" fmla="*/ 4463917 h 5973007"/>
              <a:gd name="connsiteX16945" fmla="*/ 1697005 w 6884782"/>
              <a:gd name="connsiteY16945" fmla="*/ 4457102 h 5973007"/>
              <a:gd name="connsiteX16946" fmla="*/ 1697779 w 6884782"/>
              <a:gd name="connsiteY16946" fmla="*/ 4456379 h 5973007"/>
              <a:gd name="connsiteX16947" fmla="*/ 6543081 w 6884782"/>
              <a:gd name="connsiteY16947" fmla="*/ 4456294 h 5973007"/>
              <a:gd name="connsiteX16948" fmla="*/ 6537814 w 6884782"/>
              <a:gd name="connsiteY16948" fmla="*/ 4459185 h 5973007"/>
              <a:gd name="connsiteX16949" fmla="*/ 6537659 w 6884782"/>
              <a:gd name="connsiteY16949" fmla="*/ 4459185 h 5973007"/>
              <a:gd name="connsiteX16950" fmla="*/ 6535181 w 6884782"/>
              <a:gd name="connsiteY16950" fmla="*/ 4463006 h 5973007"/>
              <a:gd name="connsiteX16951" fmla="*/ 6525267 w 6884782"/>
              <a:gd name="connsiteY16951" fmla="*/ 4466826 h 5973007"/>
              <a:gd name="connsiteX16952" fmla="*/ 6521860 w 6884782"/>
              <a:gd name="connsiteY16952" fmla="*/ 4460941 h 5973007"/>
              <a:gd name="connsiteX16953" fmla="*/ 6519691 w 6884782"/>
              <a:gd name="connsiteY16953" fmla="*/ 4461147 h 5973007"/>
              <a:gd name="connsiteX16954" fmla="*/ 6509313 w 6884782"/>
              <a:gd name="connsiteY16954" fmla="*/ 4468478 h 5973007"/>
              <a:gd name="connsiteX16955" fmla="*/ 6508539 w 6884782"/>
              <a:gd name="connsiteY16955" fmla="*/ 4468272 h 5973007"/>
              <a:gd name="connsiteX16956" fmla="*/ 6507764 w 6884782"/>
              <a:gd name="connsiteY16956" fmla="*/ 4468685 h 5973007"/>
              <a:gd name="connsiteX16957" fmla="*/ 6506990 w 6884782"/>
              <a:gd name="connsiteY16957" fmla="*/ 4468478 h 5973007"/>
              <a:gd name="connsiteX16958" fmla="*/ 6503272 w 6884782"/>
              <a:gd name="connsiteY16958" fmla="*/ 4468891 h 5973007"/>
              <a:gd name="connsiteX16959" fmla="*/ 6495837 w 6884782"/>
              <a:gd name="connsiteY16959" fmla="*/ 4469511 h 5973007"/>
              <a:gd name="connsiteX16960" fmla="*/ 6481432 w 6884782"/>
              <a:gd name="connsiteY16960" fmla="*/ 4471163 h 5973007"/>
              <a:gd name="connsiteX16961" fmla="*/ 6474307 w 6884782"/>
              <a:gd name="connsiteY16961" fmla="*/ 4472712 h 5973007"/>
              <a:gd name="connsiteX16962" fmla="*/ 6472758 w 6884782"/>
              <a:gd name="connsiteY16962" fmla="*/ 4473022 h 5973007"/>
              <a:gd name="connsiteX16963" fmla="*/ 6471519 w 6884782"/>
              <a:gd name="connsiteY16963" fmla="*/ 4472608 h 5973007"/>
              <a:gd name="connsiteX16964" fmla="*/ 6468421 w 6884782"/>
              <a:gd name="connsiteY16964" fmla="*/ 4473125 h 5973007"/>
              <a:gd name="connsiteX16965" fmla="*/ 6456339 w 6884782"/>
              <a:gd name="connsiteY16965" fmla="*/ 4474674 h 5973007"/>
              <a:gd name="connsiteX16966" fmla="*/ 6445806 w 6884782"/>
              <a:gd name="connsiteY16966" fmla="*/ 4475397 h 5973007"/>
              <a:gd name="connsiteX16967" fmla="*/ 6445806 w 6884782"/>
              <a:gd name="connsiteY16967" fmla="*/ 4475809 h 5973007"/>
              <a:gd name="connsiteX16968" fmla="*/ 6444102 w 6884782"/>
              <a:gd name="connsiteY16968" fmla="*/ 4480972 h 5973007"/>
              <a:gd name="connsiteX16969" fmla="*/ 6443018 w 6884782"/>
              <a:gd name="connsiteY16969" fmla="*/ 4478701 h 5973007"/>
              <a:gd name="connsiteX16970" fmla="*/ 6443328 w 6884782"/>
              <a:gd name="connsiteY16970" fmla="*/ 4475603 h 5973007"/>
              <a:gd name="connsiteX16971" fmla="*/ 6437752 w 6884782"/>
              <a:gd name="connsiteY16971" fmla="*/ 4475603 h 5973007"/>
              <a:gd name="connsiteX16972" fmla="*/ 6444722 w 6884782"/>
              <a:gd name="connsiteY16972" fmla="*/ 4483967 h 5973007"/>
              <a:gd name="connsiteX16973" fmla="*/ 6412658 w 6884782"/>
              <a:gd name="connsiteY16973" fmla="*/ 4481075 h 5973007"/>
              <a:gd name="connsiteX16974" fmla="*/ 6411729 w 6884782"/>
              <a:gd name="connsiteY16974" fmla="*/ 4499145 h 5973007"/>
              <a:gd name="connsiteX16975" fmla="*/ 6416841 w 6884782"/>
              <a:gd name="connsiteY16975" fmla="*/ 4500384 h 5973007"/>
              <a:gd name="connsiteX16976" fmla="*/ 6418699 w 6884782"/>
              <a:gd name="connsiteY16976" fmla="*/ 4502243 h 5973007"/>
              <a:gd name="connsiteX16977" fmla="*/ 6422881 w 6884782"/>
              <a:gd name="connsiteY16977" fmla="*/ 4500488 h 5973007"/>
              <a:gd name="connsiteX16978" fmla="*/ 6421177 w 6884782"/>
              <a:gd name="connsiteY16978" fmla="*/ 4503069 h 5973007"/>
              <a:gd name="connsiteX16979" fmla="*/ 6430316 w 6884782"/>
              <a:gd name="connsiteY16979" fmla="*/ 4499868 h 5973007"/>
              <a:gd name="connsiteX16980" fmla="*/ 6437132 w 6884782"/>
              <a:gd name="connsiteY16980" fmla="*/ 4502553 h 5973007"/>
              <a:gd name="connsiteX16981" fmla="*/ 6440075 w 6884782"/>
              <a:gd name="connsiteY16981" fmla="*/ 4503585 h 5973007"/>
              <a:gd name="connsiteX16982" fmla="*/ 6444102 w 6884782"/>
              <a:gd name="connsiteY16982" fmla="*/ 4501933 h 5973007"/>
              <a:gd name="connsiteX16983" fmla="*/ 6444102 w 6884782"/>
              <a:gd name="connsiteY16983" fmla="*/ 4501210 h 5973007"/>
              <a:gd name="connsiteX16984" fmla="*/ 6446271 w 6884782"/>
              <a:gd name="connsiteY16984" fmla="*/ 4498836 h 5973007"/>
              <a:gd name="connsiteX16985" fmla="*/ 6445187 w 6884782"/>
              <a:gd name="connsiteY16985" fmla="*/ 4498009 h 5973007"/>
              <a:gd name="connsiteX16986" fmla="*/ 6445342 w 6884782"/>
              <a:gd name="connsiteY16986" fmla="*/ 4490369 h 5973007"/>
              <a:gd name="connsiteX16987" fmla="*/ 6448904 w 6884782"/>
              <a:gd name="connsiteY16987" fmla="*/ 4498009 h 5973007"/>
              <a:gd name="connsiteX16988" fmla="*/ 6447510 w 6884782"/>
              <a:gd name="connsiteY16988" fmla="*/ 4499248 h 5973007"/>
              <a:gd name="connsiteX16989" fmla="*/ 6448439 w 6884782"/>
              <a:gd name="connsiteY16989" fmla="*/ 4500281 h 5973007"/>
              <a:gd name="connsiteX16990" fmla="*/ 6452466 w 6884782"/>
              <a:gd name="connsiteY16990" fmla="*/ 4498629 h 5973007"/>
              <a:gd name="connsiteX16991" fmla="*/ 6453086 w 6884782"/>
              <a:gd name="connsiteY16991" fmla="*/ 4498836 h 5973007"/>
              <a:gd name="connsiteX16992" fmla="*/ 6456184 w 6884782"/>
              <a:gd name="connsiteY16992" fmla="*/ 4496461 h 5973007"/>
              <a:gd name="connsiteX16993" fmla="*/ 6467337 w 6884782"/>
              <a:gd name="connsiteY16993" fmla="*/ 4497700 h 5973007"/>
              <a:gd name="connsiteX16994" fmla="*/ 6472293 w 6884782"/>
              <a:gd name="connsiteY16994" fmla="*/ 4497803 h 5973007"/>
              <a:gd name="connsiteX16995" fmla="*/ 6473688 w 6884782"/>
              <a:gd name="connsiteY16995" fmla="*/ 4498113 h 5973007"/>
              <a:gd name="connsiteX16996" fmla="*/ 6475391 w 6884782"/>
              <a:gd name="connsiteY16996" fmla="*/ 4497183 h 5973007"/>
              <a:gd name="connsiteX16997" fmla="*/ 6478179 w 6884782"/>
              <a:gd name="connsiteY16997" fmla="*/ 4495738 h 5973007"/>
              <a:gd name="connsiteX16998" fmla="*/ 6488867 w 6884782"/>
              <a:gd name="connsiteY16998" fmla="*/ 4498319 h 5973007"/>
              <a:gd name="connsiteX16999" fmla="*/ 6501878 w 6884782"/>
              <a:gd name="connsiteY16999" fmla="*/ 4494086 h 5973007"/>
              <a:gd name="connsiteX17000" fmla="*/ 6502498 w 6884782"/>
              <a:gd name="connsiteY17000" fmla="*/ 4493879 h 5973007"/>
              <a:gd name="connsiteX17001" fmla="*/ 6503272 w 6884782"/>
              <a:gd name="connsiteY17001" fmla="*/ 4492124 h 5973007"/>
              <a:gd name="connsiteX17002" fmla="*/ 6506835 w 6884782"/>
              <a:gd name="connsiteY17002" fmla="*/ 4492227 h 5973007"/>
              <a:gd name="connsiteX17003" fmla="*/ 6507145 w 6884782"/>
              <a:gd name="connsiteY17003" fmla="*/ 4492640 h 5973007"/>
              <a:gd name="connsiteX17004" fmla="*/ 6508384 w 6884782"/>
              <a:gd name="connsiteY17004" fmla="*/ 4492227 h 5973007"/>
              <a:gd name="connsiteX17005" fmla="*/ 6510088 w 6884782"/>
              <a:gd name="connsiteY17005" fmla="*/ 4491298 h 5973007"/>
              <a:gd name="connsiteX17006" fmla="*/ 6510862 w 6884782"/>
              <a:gd name="connsiteY17006" fmla="*/ 4491504 h 5973007"/>
              <a:gd name="connsiteX17007" fmla="*/ 6511637 w 6884782"/>
              <a:gd name="connsiteY17007" fmla="*/ 4491091 h 5973007"/>
              <a:gd name="connsiteX17008" fmla="*/ 6513186 w 6884782"/>
              <a:gd name="connsiteY17008" fmla="*/ 4490781 h 5973007"/>
              <a:gd name="connsiteX17009" fmla="*/ 6513805 w 6884782"/>
              <a:gd name="connsiteY17009" fmla="*/ 4490472 h 5973007"/>
              <a:gd name="connsiteX17010" fmla="*/ 6513341 w 6884782"/>
              <a:gd name="connsiteY17010" fmla="*/ 4488200 h 5973007"/>
              <a:gd name="connsiteX17011" fmla="*/ 6513805 w 6884782"/>
              <a:gd name="connsiteY17011" fmla="*/ 4483554 h 5973007"/>
              <a:gd name="connsiteX17012" fmla="*/ 6516439 w 6884782"/>
              <a:gd name="connsiteY17012" fmla="*/ 4488820 h 5973007"/>
              <a:gd name="connsiteX17013" fmla="*/ 6516593 w 6884782"/>
              <a:gd name="connsiteY17013" fmla="*/ 4489130 h 5973007"/>
              <a:gd name="connsiteX17014" fmla="*/ 6526352 w 6884782"/>
              <a:gd name="connsiteY17014" fmla="*/ 4484276 h 5973007"/>
              <a:gd name="connsiteX17015" fmla="*/ 6524958 w 6884782"/>
              <a:gd name="connsiteY17015" fmla="*/ 4471060 h 5973007"/>
              <a:gd name="connsiteX17016" fmla="*/ 6527436 w 6884782"/>
              <a:gd name="connsiteY17016" fmla="*/ 4470234 h 5973007"/>
              <a:gd name="connsiteX17017" fmla="*/ 6533632 w 6884782"/>
              <a:gd name="connsiteY17017" fmla="*/ 4469201 h 5973007"/>
              <a:gd name="connsiteX17018" fmla="*/ 6534252 w 6884782"/>
              <a:gd name="connsiteY17018" fmla="*/ 4469408 h 5973007"/>
              <a:gd name="connsiteX17019" fmla="*/ 6535181 w 6884782"/>
              <a:gd name="connsiteY17019" fmla="*/ 4468891 h 5973007"/>
              <a:gd name="connsiteX17020" fmla="*/ 6536885 w 6884782"/>
              <a:gd name="connsiteY17020" fmla="*/ 4467962 h 5973007"/>
              <a:gd name="connsiteX17021" fmla="*/ 6544165 w 6884782"/>
              <a:gd name="connsiteY17021" fmla="*/ 4464141 h 5973007"/>
              <a:gd name="connsiteX17022" fmla="*/ 6543081 w 6884782"/>
              <a:gd name="connsiteY17022" fmla="*/ 4456294 h 5973007"/>
              <a:gd name="connsiteX17023" fmla="*/ 897740 w 6884782"/>
              <a:gd name="connsiteY17023" fmla="*/ 4455450 h 5973007"/>
              <a:gd name="connsiteX17024" fmla="*/ 907653 w 6884782"/>
              <a:gd name="connsiteY17024" fmla="*/ 4464743 h 5973007"/>
              <a:gd name="connsiteX17025" fmla="*/ 903626 w 6884782"/>
              <a:gd name="connsiteY17025" fmla="*/ 4467015 h 5973007"/>
              <a:gd name="connsiteX17026" fmla="*/ 895881 w 6884782"/>
              <a:gd name="connsiteY17026" fmla="*/ 4459993 h 5973007"/>
              <a:gd name="connsiteX17027" fmla="*/ 897740 w 6884782"/>
              <a:gd name="connsiteY17027" fmla="*/ 4455450 h 5973007"/>
              <a:gd name="connsiteX17028" fmla="*/ 1719310 w 6884782"/>
              <a:gd name="connsiteY17028" fmla="*/ 4455244 h 5973007"/>
              <a:gd name="connsiteX17029" fmla="*/ 1718536 w 6884782"/>
              <a:gd name="connsiteY17029" fmla="*/ 4455450 h 5973007"/>
              <a:gd name="connsiteX17030" fmla="*/ 1719000 w 6884782"/>
              <a:gd name="connsiteY17030" fmla="*/ 4457206 h 5973007"/>
              <a:gd name="connsiteX17031" fmla="*/ 1719775 w 6884782"/>
              <a:gd name="connsiteY17031" fmla="*/ 4456896 h 5973007"/>
              <a:gd name="connsiteX17032" fmla="*/ 1719310 w 6884782"/>
              <a:gd name="connsiteY17032" fmla="*/ 4458754 h 5973007"/>
              <a:gd name="connsiteX17033" fmla="*/ 1714199 w 6884782"/>
              <a:gd name="connsiteY17033" fmla="*/ 4463401 h 5973007"/>
              <a:gd name="connsiteX17034" fmla="*/ 1712649 w 6884782"/>
              <a:gd name="connsiteY17034" fmla="*/ 4461336 h 5973007"/>
              <a:gd name="connsiteX17035" fmla="*/ 1713115 w 6884782"/>
              <a:gd name="connsiteY17035" fmla="*/ 4459271 h 5973007"/>
              <a:gd name="connsiteX17036" fmla="*/ 1715283 w 6884782"/>
              <a:gd name="connsiteY17036" fmla="*/ 4456173 h 5973007"/>
              <a:gd name="connsiteX17037" fmla="*/ 1719310 w 6884782"/>
              <a:gd name="connsiteY17037" fmla="*/ 4455244 h 5973007"/>
              <a:gd name="connsiteX17038" fmla="*/ 1375595 w 6884782"/>
              <a:gd name="connsiteY17038" fmla="*/ 4454934 h 5973007"/>
              <a:gd name="connsiteX17039" fmla="*/ 1378538 w 6884782"/>
              <a:gd name="connsiteY17039" fmla="*/ 4458858 h 5973007"/>
              <a:gd name="connsiteX17040" fmla="*/ 1380552 w 6884782"/>
              <a:gd name="connsiteY17040" fmla="*/ 4462575 h 5973007"/>
              <a:gd name="connsiteX17041" fmla="*/ 1383650 w 6884782"/>
              <a:gd name="connsiteY17041" fmla="*/ 4476102 h 5973007"/>
              <a:gd name="connsiteX17042" fmla="*/ 1380087 w 6884782"/>
              <a:gd name="connsiteY17042" fmla="*/ 4471558 h 5973007"/>
              <a:gd name="connsiteX17043" fmla="*/ 1374047 w 6884782"/>
              <a:gd name="connsiteY17043" fmla="*/ 4459683 h 5973007"/>
              <a:gd name="connsiteX17044" fmla="*/ 1374821 w 6884782"/>
              <a:gd name="connsiteY17044" fmla="*/ 4457309 h 5973007"/>
              <a:gd name="connsiteX17045" fmla="*/ 1374511 w 6884782"/>
              <a:gd name="connsiteY17045" fmla="*/ 4456483 h 5973007"/>
              <a:gd name="connsiteX17046" fmla="*/ 1375595 w 6884782"/>
              <a:gd name="connsiteY17046" fmla="*/ 4454934 h 5973007"/>
              <a:gd name="connsiteX17047" fmla="*/ 5348269 w 6884782"/>
              <a:gd name="connsiteY17047" fmla="*/ 4454926 h 5973007"/>
              <a:gd name="connsiteX17048" fmla="*/ 5353477 w 6884782"/>
              <a:gd name="connsiteY17048" fmla="*/ 4455881 h 5973007"/>
              <a:gd name="connsiteX17049" fmla="*/ 5348211 w 6884782"/>
              <a:gd name="connsiteY17049" fmla="*/ 4461354 h 5973007"/>
              <a:gd name="connsiteX17050" fmla="*/ 5345732 w 6884782"/>
              <a:gd name="connsiteY17050" fmla="*/ 4460631 h 5973007"/>
              <a:gd name="connsiteX17051" fmla="*/ 5348269 w 6884782"/>
              <a:gd name="connsiteY17051" fmla="*/ 4454926 h 5973007"/>
              <a:gd name="connsiteX17052" fmla="*/ 1107934 w 6884782"/>
              <a:gd name="connsiteY17052" fmla="*/ 4454108 h 5973007"/>
              <a:gd name="connsiteX17053" fmla="*/ 1108554 w 6884782"/>
              <a:gd name="connsiteY17053" fmla="*/ 4454211 h 5973007"/>
              <a:gd name="connsiteX17054" fmla="*/ 1109948 w 6884782"/>
              <a:gd name="connsiteY17054" fmla="*/ 4456379 h 5973007"/>
              <a:gd name="connsiteX17055" fmla="*/ 1109328 w 6884782"/>
              <a:gd name="connsiteY17055" fmla="*/ 4456379 h 5973007"/>
              <a:gd name="connsiteX17056" fmla="*/ 1107160 w 6884782"/>
              <a:gd name="connsiteY17056" fmla="*/ 4455553 h 5973007"/>
              <a:gd name="connsiteX17057" fmla="*/ 1107625 w 6884782"/>
              <a:gd name="connsiteY17057" fmla="*/ 4454417 h 5973007"/>
              <a:gd name="connsiteX17058" fmla="*/ 1106850 w 6884782"/>
              <a:gd name="connsiteY17058" fmla="*/ 4454831 h 5973007"/>
              <a:gd name="connsiteX17059" fmla="*/ 1107934 w 6884782"/>
              <a:gd name="connsiteY17059" fmla="*/ 4454108 h 5973007"/>
              <a:gd name="connsiteX17060" fmla="*/ 1600969 w 6884782"/>
              <a:gd name="connsiteY17060" fmla="*/ 4453798 h 5973007"/>
              <a:gd name="connsiteX17061" fmla="*/ 1606081 w 6884782"/>
              <a:gd name="connsiteY17061" fmla="*/ 4456070 h 5973007"/>
              <a:gd name="connsiteX17062" fmla="*/ 1608559 w 6884782"/>
              <a:gd name="connsiteY17062" fmla="*/ 4458961 h 5973007"/>
              <a:gd name="connsiteX17063" fmla="*/ 1608869 w 6884782"/>
              <a:gd name="connsiteY17063" fmla="*/ 4458548 h 5973007"/>
              <a:gd name="connsiteX17064" fmla="*/ 1611347 w 6884782"/>
              <a:gd name="connsiteY17064" fmla="*/ 4458444 h 5973007"/>
              <a:gd name="connsiteX17065" fmla="*/ 1615375 w 6884782"/>
              <a:gd name="connsiteY17065" fmla="*/ 4463917 h 5973007"/>
              <a:gd name="connsiteX17066" fmla="*/ 1618473 w 6884782"/>
              <a:gd name="connsiteY17066" fmla="*/ 4467221 h 5973007"/>
              <a:gd name="connsiteX17067" fmla="*/ 1613516 w 6884782"/>
              <a:gd name="connsiteY17067" fmla="*/ 4463917 h 5973007"/>
              <a:gd name="connsiteX17068" fmla="*/ 1610883 w 6884782"/>
              <a:gd name="connsiteY17068" fmla="*/ 4464227 h 5973007"/>
              <a:gd name="connsiteX17069" fmla="*/ 1609643 w 6884782"/>
              <a:gd name="connsiteY17069" fmla="*/ 4463091 h 5973007"/>
              <a:gd name="connsiteX17070" fmla="*/ 1608869 w 6884782"/>
              <a:gd name="connsiteY17070" fmla="*/ 4463814 h 5973007"/>
              <a:gd name="connsiteX17071" fmla="*/ 1607165 w 6884782"/>
              <a:gd name="connsiteY17071" fmla="*/ 4465879 h 5973007"/>
              <a:gd name="connsiteX17072" fmla="*/ 1600350 w 6884782"/>
              <a:gd name="connsiteY17072" fmla="*/ 4457412 h 5973007"/>
              <a:gd name="connsiteX17073" fmla="*/ 1600969 w 6884782"/>
              <a:gd name="connsiteY17073" fmla="*/ 4453798 h 5973007"/>
              <a:gd name="connsiteX17074" fmla="*/ 1098951 w 6884782"/>
              <a:gd name="connsiteY17074" fmla="*/ 4453798 h 5973007"/>
              <a:gd name="connsiteX17075" fmla="*/ 1102513 w 6884782"/>
              <a:gd name="connsiteY17075" fmla="*/ 4457825 h 5973007"/>
              <a:gd name="connsiteX17076" fmla="*/ 1104991 w 6884782"/>
              <a:gd name="connsiteY17076" fmla="*/ 4461542 h 5973007"/>
              <a:gd name="connsiteX17077" fmla="*/ 1110103 w 6884782"/>
              <a:gd name="connsiteY17077" fmla="*/ 4475275 h 5973007"/>
              <a:gd name="connsiteX17078" fmla="*/ 1106230 w 6884782"/>
              <a:gd name="connsiteY17078" fmla="*/ 4470835 h 5973007"/>
              <a:gd name="connsiteX17079" fmla="*/ 1104062 w 6884782"/>
              <a:gd name="connsiteY17079" fmla="*/ 4471351 h 5973007"/>
              <a:gd name="connsiteX17080" fmla="*/ 1100809 w 6884782"/>
              <a:gd name="connsiteY17080" fmla="*/ 4468461 h 5973007"/>
              <a:gd name="connsiteX17081" fmla="*/ 1104217 w 6884782"/>
              <a:gd name="connsiteY17081" fmla="*/ 4468150 h 5973007"/>
              <a:gd name="connsiteX17082" fmla="*/ 1104681 w 6884782"/>
              <a:gd name="connsiteY17082" fmla="*/ 4468357 h 5973007"/>
              <a:gd name="connsiteX17083" fmla="*/ 1102048 w 6884782"/>
              <a:gd name="connsiteY17083" fmla="*/ 4463814 h 5973007"/>
              <a:gd name="connsiteX17084" fmla="*/ 1098176 w 6884782"/>
              <a:gd name="connsiteY17084" fmla="*/ 4458548 h 5973007"/>
              <a:gd name="connsiteX17085" fmla="*/ 1098485 w 6884782"/>
              <a:gd name="connsiteY17085" fmla="*/ 4456173 h 5973007"/>
              <a:gd name="connsiteX17086" fmla="*/ 1098021 w 6884782"/>
              <a:gd name="connsiteY17086" fmla="*/ 4455450 h 5973007"/>
              <a:gd name="connsiteX17087" fmla="*/ 1098951 w 6884782"/>
              <a:gd name="connsiteY17087" fmla="*/ 4453798 h 5973007"/>
              <a:gd name="connsiteX17088" fmla="*/ 5748153 w 6884782"/>
              <a:gd name="connsiteY17088" fmla="*/ 4453093 h 5973007"/>
              <a:gd name="connsiteX17089" fmla="*/ 5755588 w 6884782"/>
              <a:gd name="connsiteY17089" fmla="*/ 4453197 h 5973007"/>
              <a:gd name="connsiteX17090" fmla="*/ 5756053 w 6884782"/>
              <a:gd name="connsiteY17090" fmla="*/ 4455778 h 5973007"/>
              <a:gd name="connsiteX17091" fmla="*/ 5750786 w 6884782"/>
              <a:gd name="connsiteY17091" fmla="*/ 4458875 h 5973007"/>
              <a:gd name="connsiteX17092" fmla="*/ 5748463 w 6884782"/>
              <a:gd name="connsiteY17092" fmla="*/ 4457327 h 5973007"/>
              <a:gd name="connsiteX17093" fmla="*/ 5747688 w 6884782"/>
              <a:gd name="connsiteY17093" fmla="*/ 4455468 h 5973007"/>
              <a:gd name="connsiteX17094" fmla="*/ 5748153 w 6884782"/>
              <a:gd name="connsiteY17094" fmla="*/ 4453093 h 5973007"/>
              <a:gd name="connsiteX17095" fmla="*/ 5904908 w 6884782"/>
              <a:gd name="connsiteY17095" fmla="*/ 4451957 h 5973007"/>
              <a:gd name="connsiteX17096" fmla="*/ 5909090 w 6884782"/>
              <a:gd name="connsiteY17096" fmla="*/ 4452164 h 5973007"/>
              <a:gd name="connsiteX17097" fmla="*/ 5910794 w 6884782"/>
              <a:gd name="connsiteY17097" fmla="*/ 4453919 h 5973007"/>
              <a:gd name="connsiteX17098" fmla="*/ 5910949 w 6884782"/>
              <a:gd name="connsiteY17098" fmla="*/ 4454745 h 5973007"/>
              <a:gd name="connsiteX17099" fmla="*/ 5909090 w 6884782"/>
              <a:gd name="connsiteY17099" fmla="*/ 4455468 h 5973007"/>
              <a:gd name="connsiteX17100" fmla="*/ 5900881 w 6884782"/>
              <a:gd name="connsiteY17100" fmla="*/ 4454332 h 5973007"/>
              <a:gd name="connsiteX17101" fmla="*/ 5899177 w 6884782"/>
              <a:gd name="connsiteY17101" fmla="*/ 4454229 h 5973007"/>
              <a:gd name="connsiteX17102" fmla="*/ 5897473 w 6884782"/>
              <a:gd name="connsiteY17102" fmla="*/ 4452474 h 5973007"/>
              <a:gd name="connsiteX17103" fmla="*/ 5904908 w 6884782"/>
              <a:gd name="connsiteY17103" fmla="*/ 4451957 h 5973007"/>
              <a:gd name="connsiteX17104" fmla="*/ 1170667 w 6884782"/>
              <a:gd name="connsiteY17104" fmla="*/ 4451939 h 5973007"/>
              <a:gd name="connsiteX17105" fmla="*/ 1168809 w 6884782"/>
              <a:gd name="connsiteY17105" fmla="*/ 4454314 h 5973007"/>
              <a:gd name="connsiteX17106" fmla="*/ 1168034 w 6884782"/>
              <a:gd name="connsiteY17106" fmla="*/ 4453282 h 5973007"/>
              <a:gd name="connsiteX17107" fmla="*/ 1167879 w 6884782"/>
              <a:gd name="connsiteY17107" fmla="*/ 4454108 h 5973007"/>
              <a:gd name="connsiteX17108" fmla="*/ 1167724 w 6884782"/>
              <a:gd name="connsiteY17108" fmla="*/ 4452869 h 5973007"/>
              <a:gd name="connsiteX17109" fmla="*/ 1168034 w 6884782"/>
              <a:gd name="connsiteY17109" fmla="*/ 4452352 h 5973007"/>
              <a:gd name="connsiteX17110" fmla="*/ 1170667 w 6884782"/>
              <a:gd name="connsiteY17110" fmla="*/ 4451939 h 5973007"/>
              <a:gd name="connsiteX17111" fmla="*/ 1319833 w 6884782"/>
              <a:gd name="connsiteY17111" fmla="*/ 4451320 h 5973007"/>
              <a:gd name="connsiteX17112" fmla="*/ 1317199 w 6884782"/>
              <a:gd name="connsiteY17112" fmla="*/ 4453075 h 5973007"/>
              <a:gd name="connsiteX17113" fmla="*/ 1316734 w 6884782"/>
              <a:gd name="connsiteY17113" fmla="*/ 4452352 h 5973007"/>
              <a:gd name="connsiteX17114" fmla="*/ 1319833 w 6884782"/>
              <a:gd name="connsiteY17114" fmla="*/ 4451320 h 5973007"/>
              <a:gd name="connsiteX17115" fmla="*/ 1455677 w 6884782"/>
              <a:gd name="connsiteY17115" fmla="*/ 4451216 h 5973007"/>
              <a:gd name="connsiteX17116" fmla="*/ 1455832 w 6884782"/>
              <a:gd name="connsiteY17116" fmla="*/ 4452766 h 5973007"/>
              <a:gd name="connsiteX17117" fmla="*/ 1458000 w 6884782"/>
              <a:gd name="connsiteY17117" fmla="*/ 4451836 h 5973007"/>
              <a:gd name="connsiteX17118" fmla="*/ 1458465 w 6884782"/>
              <a:gd name="connsiteY17118" fmla="*/ 4452043 h 5973007"/>
              <a:gd name="connsiteX17119" fmla="*/ 1458774 w 6884782"/>
              <a:gd name="connsiteY17119" fmla="*/ 4451939 h 5973007"/>
              <a:gd name="connsiteX17120" fmla="*/ 1458929 w 6884782"/>
              <a:gd name="connsiteY17120" fmla="*/ 4452043 h 5973007"/>
              <a:gd name="connsiteX17121" fmla="*/ 1458929 w 6884782"/>
              <a:gd name="connsiteY17121" fmla="*/ 4451939 h 5973007"/>
              <a:gd name="connsiteX17122" fmla="*/ 1458774 w 6884782"/>
              <a:gd name="connsiteY17122" fmla="*/ 4451939 h 5973007"/>
              <a:gd name="connsiteX17123" fmla="*/ 1458310 w 6884782"/>
              <a:gd name="connsiteY17123" fmla="*/ 4451733 h 5973007"/>
              <a:gd name="connsiteX17124" fmla="*/ 1458000 w 6884782"/>
              <a:gd name="connsiteY17124" fmla="*/ 4451836 h 5973007"/>
              <a:gd name="connsiteX17125" fmla="*/ 1114440 w 6884782"/>
              <a:gd name="connsiteY17125" fmla="*/ 4450804 h 5973007"/>
              <a:gd name="connsiteX17126" fmla="*/ 1114595 w 6884782"/>
              <a:gd name="connsiteY17126" fmla="*/ 4451216 h 5973007"/>
              <a:gd name="connsiteX17127" fmla="*/ 1116144 w 6884782"/>
              <a:gd name="connsiteY17127" fmla="*/ 4451010 h 5973007"/>
              <a:gd name="connsiteX17128" fmla="*/ 816420 w 6884782"/>
              <a:gd name="connsiteY17128" fmla="*/ 4450701 h 5973007"/>
              <a:gd name="connsiteX17129" fmla="*/ 818434 w 6884782"/>
              <a:gd name="connsiteY17129" fmla="*/ 4451526 h 5973007"/>
              <a:gd name="connsiteX17130" fmla="*/ 822306 w 6884782"/>
              <a:gd name="connsiteY17130" fmla="*/ 4451526 h 5973007"/>
              <a:gd name="connsiteX17131" fmla="*/ 821996 w 6884782"/>
              <a:gd name="connsiteY17131" fmla="*/ 4462884 h 5973007"/>
              <a:gd name="connsiteX17132" fmla="*/ 813012 w 6884782"/>
              <a:gd name="connsiteY17132" fmla="*/ 4471971 h 5973007"/>
              <a:gd name="connsiteX17133" fmla="*/ 809759 w 6884782"/>
              <a:gd name="connsiteY17133" fmla="*/ 4471868 h 5973007"/>
              <a:gd name="connsiteX17134" fmla="*/ 802944 w 6884782"/>
              <a:gd name="connsiteY17134" fmla="*/ 4465156 h 5973007"/>
              <a:gd name="connsiteX17135" fmla="*/ 803098 w 6884782"/>
              <a:gd name="connsiteY17135" fmla="*/ 4459271 h 5973007"/>
              <a:gd name="connsiteX17136" fmla="*/ 816420 w 6884782"/>
              <a:gd name="connsiteY17136" fmla="*/ 4450701 h 5973007"/>
              <a:gd name="connsiteX17137" fmla="*/ 5420083 w 6884782"/>
              <a:gd name="connsiteY17137" fmla="*/ 4450099 h 5973007"/>
              <a:gd name="connsiteX17138" fmla="*/ 5424110 w 6884782"/>
              <a:gd name="connsiteY17138" fmla="*/ 4452783 h 5973007"/>
              <a:gd name="connsiteX17139" fmla="*/ 5422096 w 6884782"/>
              <a:gd name="connsiteY17139" fmla="*/ 4463212 h 5973007"/>
              <a:gd name="connsiteX17140" fmla="*/ 5412803 w 6884782"/>
              <a:gd name="connsiteY17140" fmla="*/ 4464761 h 5973007"/>
              <a:gd name="connsiteX17141" fmla="*/ 5411718 w 6884782"/>
              <a:gd name="connsiteY17141" fmla="*/ 4466516 h 5973007"/>
              <a:gd name="connsiteX17142" fmla="*/ 5408156 w 6884782"/>
              <a:gd name="connsiteY17142" fmla="*/ 4468169 h 5973007"/>
              <a:gd name="connsiteX17143" fmla="*/ 5407536 w 6884782"/>
              <a:gd name="connsiteY17143" fmla="*/ 4466413 h 5973007"/>
              <a:gd name="connsiteX17144" fmla="*/ 5411099 w 6884782"/>
              <a:gd name="connsiteY17144" fmla="*/ 4463935 h 5973007"/>
              <a:gd name="connsiteX17145" fmla="*/ 5411254 w 6884782"/>
              <a:gd name="connsiteY17145" fmla="*/ 4463006 h 5973007"/>
              <a:gd name="connsiteX17146" fmla="*/ 5409705 w 6884782"/>
              <a:gd name="connsiteY17146" fmla="*/ 4461250 h 5973007"/>
              <a:gd name="connsiteX17147" fmla="*/ 5410634 w 6884782"/>
              <a:gd name="connsiteY17147" fmla="*/ 4452577 h 5973007"/>
              <a:gd name="connsiteX17148" fmla="*/ 5420083 w 6884782"/>
              <a:gd name="connsiteY17148" fmla="*/ 4450099 h 5973007"/>
              <a:gd name="connsiteX17149" fmla="*/ 6274181 w 6884782"/>
              <a:gd name="connsiteY17149" fmla="*/ 4449996 h 5973007"/>
              <a:gd name="connsiteX17150" fmla="*/ 6273097 w 6884782"/>
              <a:gd name="connsiteY17150" fmla="*/ 4450099 h 5973007"/>
              <a:gd name="connsiteX17151" fmla="*/ 6272167 w 6884782"/>
              <a:gd name="connsiteY17151" fmla="*/ 4450305 h 5973007"/>
              <a:gd name="connsiteX17152" fmla="*/ 6271703 w 6884782"/>
              <a:gd name="connsiteY17152" fmla="*/ 4450099 h 5973007"/>
              <a:gd name="connsiteX17153" fmla="*/ 6269689 w 6884782"/>
              <a:gd name="connsiteY17153" fmla="*/ 4450305 h 5973007"/>
              <a:gd name="connsiteX17154" fmla="*/ 6270463 w 6884782"/>
              <a:gd name="connsiteY17154" fmla="*/ 4456501 h 5973007"/>
              <a:gd name="connsiteX17155" fmla="*/ 6281771 w 6884782"/>
              <a:gd name="connsiteY17155" fmla="*/ 4463729 h 5973007"/>
              <a:gd name="connsiteX17156" fmla="*/ 6291374 w 6884782"/>
              <a:gd name="connsiteY17156" fmla="*/ 4471989 h 5973007"/>
              <a:gd name="connsiteX17157" fmla="*/ 6281461 w 6884782"/>
              <a:gd name="connsiteY17157" fmla="*/ 4469201 h 5973007"/>
              <a:gd name="connsiteX17158" fmla="*/ 6277124 w 6884782"/>
              <a:gd name="connsiteY17158" fmla="*/ 4467446 h 5973007"/>
              <a:gd name="connsiteX17159" fmla="*/ 6278208 w 6884782"/>
              <a:gd name="connsiteY17159" fmla="*/ 4470131 h 5973007"/>
              <a:gd name="connsiteX17160" fmla="*/ 6277589 w 6884782"/>
              <a:gd name="connsiteY17160" fmla="*/ 4472608 h 5973007"/>
              <a:gd name="connsiteX17161" fmla="*/ 6282545 w 6884782"/>
              <a:gd name="connsiteY17161" fmla="*/ 4476119 h 5973007"/>
              <a:gd name="connsiteX17162" fmla="*/ 6298654 w 6884782"/>
              <a:gd name="connsiteY17162" fmla="*/ 4480249 h 5973007"/>
              <a:gd name="connsiteX17163" fmla="*/ 6285333 w 6884782"/>
              <a:gd name="connsiteY17163" fmla="*/ 4480766 h 5973007"/>
              <a:gd name="connsiteX17164" fmla="*/ 6287657 w 6884782"/>
              <a:gd name="connsiteY17164" fmla="*/ 4482831 h 5973007"/>
              <a:gd name="connsiteX17165" fmla="*/ 6283165 w 6884782"/>
              <a:gd name="connsiteY17165" fmla="*/ 4483037 h 5973007"/>
              <a:gd name="connsiteX17166" fmla="*/ 6296021 w 6884782"/>
              <a:gd name="connsiteY17166" fmla="*/ 4490059 h 5973007"/>
              <a:gd name="connsiteX17167" fmla="*/ 6301907 w 6884782"/>
              <a:gd name="connsiteY17167" fmla="*/ 4494086 h 5973007"/>
              <a:gd name="connsiteX17168" fmla="*/ 6309962 w 6884782"/>
              <a:gd name="connsiteY17168" fmla="*/ 4498113 h 5973007"/>
              <a:gd name="connsiteX17169" fmla="*/ 6309807 w 6884782"/>
              <a:gd name="connsiteY17169" fmla="*/ 4502966 h 5973007"/>
              <a:gd name="connsiteX17170" fmla="*/ 6314299 w 6884782"/>
              <a:gd name="connsiteY17170" fmla="*/ 4505031 h 5973007"/>
              <a:gd name="connsiteX17171" fmla="*/ 6314454 w 6884782"/>
              <a:gd name="connsiteY17171" fmla="*/ 4504928 h 5973007"/>
              <a:gd name="connsiteX17172" fmla="*/ 6313370 w 6884782"/>
              <a:gd name="connsiteY17172" fmla="*/ 4499971 h 5973007"/>
              <a:gd name="connsiteX17173" fmla="*/ 6316622 w 6884782"/>
              <a:gd name="connsiteY17173" fmla="*/ 4495222 h 5973007"/>
              <a:gd name="connsiteX17174" fmla="*/ 6319101 w 6884782"/>
              <a:gd name="connsiteY17174" fmla="*/ 4500798 h 5973007"/>
              <a:gd name="connsiteX17175" fmla="*/ 6320805 w 6884782"/>
              <a:gd name="connsiteY17175" fmla="*/ 4504825 h 5973007"/>
              <a:gd name="connsiteX17176" fmla="*/ 6322508 w 6884782"/>
              <a:gd name="connsiteY17176" fmla="*/ 4504928 h 5973007"/>
              <a:gd name="connsiteX17177" fmla="*/ 6326691 w 6884782"/>
              <a:gd name="connsiteY17177" fmla="*/ 4505341 h 5973007"/>
              <a:gd name="connsiteX17178" fmla="*/ 6326691 w 6884782"/>
              <a:gd name="connsiteY17178" fmla="*/ 4504205 h 5973007"/>
              <a:gd name="connsiteX17179" fmla="*/ 6328859 w 6884782"/>
              <a:gd name="connsiteY17179" fmla="*/ 4498216 h 5973007"/>
              <a:gd name="connsiteX17180" fmla="*/ 6330718 w 6884782"/>
              <a:gd name="connsiteY17180" fmla="*/ 4496461 h 5973007"/>
              <a:gd name="connsiteX17181" fmla="*/ 6331648 w 6884782"/>
              <a:gd name="connsiteY17181" fmla="*/ 4494705 h 5973007"/>
              <a:gd name="connsiteX17182" fmla="*/ 6337069 w 6884782"/>
              <a:gd name="connsiteY17182" fmla="*/ 4492227 h 5973007"/>
              <a:gd name="connsiteX17183" fmla="*/ 6335985 w 6884782"/>
              <a:gd name="connsiteY17183" fmla="*/ 4495015 h 5973007"/>
              <a:gd name="connsiteX17184" fmla="*/ 6336914 w 6884782"/>
              <a:gd name="connsiteY17184" fmla="*/ 4495015 h 5973007"/>
              <a:gd name="connsiteX17185" fmla="*/ 6337224 w 6884782"/>
              <a:gd name="connsiteY17185" fmla="*/ 4499145 h 5973007"/>
              <a:gd name="connsiteX17186" fmla="*/ 6334281 w 6884782"/>
              <a:gd name="connsiteY17186" fmla="*/ 4500178 h 5973007"/>
              <a:gd name="connsiteX17187" fmla="*/ 6333971 w 6884782"/>
              <a:gd name="connsiteY17187" fmla="*/ 4501210 h 5973007"/>
              <a:gd name="connsiteX17188" fmla="*/ 6337533 w 6884782"/>
              <a:gd name="connsiteY17188" fmla="*/ 4501520 h 5973007"/>
              <a:gd name="connsiteX17189" fmla="*/ 6347757 w 6884782"/>
              <a:gd name="connsiteY17189" fmla="*/ 4501417 h 5973007"/>
              <a:gd name="connsiteX17190" fmla="*/ 6367584 w 6884782"/>
              <a:gd name="connsiteY17190" fmla="*/ 4498526 h 5973007"/>
              <a:gd name="connsiteX17191" fmla="*/ 6368048 w 6884782"/>
              <a:gd name="connsiteY17191" fmla="*/ 4501210 h 5973007"/>
              <a:gd name="connsiteX17192" fmla="*/ 6370836 w 6884782"/>
              <a:gd name="connsiteY17192" fmla="*/ 4498113 h 5973007"/>
              <a:gd name="connsiteX17193" fmla="*/ 6376258 w 6884782"/>
              <a:gd name="connsiteY17193" fmla="*/ 4497080 h 5973007"/>
              <a:gd name="connsiteX17194" fmla="*/ 6380595 w 6884782"/>
              <a:gd name="connsiteY17194" fmla="*/ 4499455 h 5973007"/>
              <a:gd name="connsiteX17195" fmla="*/ 6382453 w 6884782"/>
              <a:gd name="connsiteY17195" fmla="*/ 4499145 h 5973007"/>
              <a:gd name="connsiteX17196" fmla="*/ 6383383 w 6884782"/>
              <a:gd name="connsiteY17196" fmla="*/ 4499558 h 5973007"/>
              <a:gd name="connsiteX17197" fmla="*/ 6386481 w 6884782"/>
              <a:gd name="connsiteY17197" fmla="*/ 4493982 h 5973007"/>
              <a:gd name="connsiteX17198" fmla="*/ 6390818 w 6884782"/>
              <a:gd name="connsiteY17198" fmla="*/ 4489233 h 5973007"/>
              <a:gd name="connsiteX17199" fmla="*/ 6390818 w 6884782"/>
              <a:gd name="connsiteY17199" fmla="*/ 4492021 h 5973007"/>
              <a:gd name="connsiteX17200" fmla="*/ 6390353 w 6884782"/>
              <a:gd name="connsiteY17200" fmla="*/ 4493157 h 5973007"/>
              <a:gd name="connsiteX17201" fmla="*/ 6390508 w 6884782"/>
              <a:gd name="connsiteY17201" fmla="*/ 4493982 h 5973007"/>
              <a:gd name="connsiteX17202" fmla="*/ 6389733 w 6884782"/>
              <a:gd name="connsiteY17202" fmla="*/ 4494292 h 5973007"/>
              <a:gd name="connsiteX17203" fmla="*/ 6388649 w 6884782"/>
              <a:gd name="connsiteY17203" fmla="*/ 4496564 h 5973007"/>
              <a:gd name="connsiteX17204" fmla="*/ 6387720 w 6884782"/>
              <a:gd name="connsiteY17204" fmla="*/ 4502449 h 5973007"/>
              <a:gd name="connsiteX17205" fmla="*/ 6387565 w 6884782"/>
              <a:gd name="connsiteY17205" fmla="*/ 4502759 h 5973007"/>
              <a:gd name="connsiteX17206" fmla="*/ 6387720 w 6884782"/>
              <a:gd name="connsiteY17206" fmla="*/ 4503172 h 5973007"/>
              <a:gd name="connsiteX17207" fmla="*/ 6389733 w 6884782"/>
              <a:gd name="connsiteY17207" fmla="*/ 4501933 h 5973007"/>
              <a:gd name="connsiteX17208" fmla="*/ 6390353 w 6884782"/>
              <a:gd name="connsiteY17208" fmla="*/ 4501004 h 5973007"/>
              <a:gd name="connsiteX17209" fmla="*/ 6390198 w 6884782"/>
              <a:gd name="connsiteY17209" fmla="*/ 4501004 h 5973007"/>
              <a:gd name="connsiteX17210" fmla="*/ 6392676 w 6884782"/>
              <a:gd name="connsiteY17210" fmla="*/ 4496461 h 5973007"/>
              <a:gd name="connsiteX17211" fmla="*/ 6397169 w 6884782"/>
              <a:gd name="connsiteY17211" fmla="*/ 4496977 h 5973007"/>
              <a:gd name="connsiteX17212" fmla="*/ 6397633 w 6884782"/>
              <a:gd name="connsiteY17212" fmla="*/ 4497493 h 5973007"/>
              <a:gd name="connsiteX17213" fmla="*/ 6398098 w 6884782"/>
              <a:gd name="connsiteY17213" fmla="*/ 4489646 h 5973007"/>
              <a:gd name="connsiteX17214" fmla="*/ 6399182 w 6884782"/>
              <a:gd name="connsiteY17214" fmla="*/ 4473847 h 5973007"/>
              <a:gd name="connsiteX17215" fmla="*/ 6392522 w 6884782"/>
              <a:gd name="connsiteY17215" fmla="*/ 4467652 h 5973007"/>
              <a:gd name="connsiteX17216" fmla="*/ 6390043 w 6884782"/>
              <a:gd name="connsiteY17216" fmla="*/ 4463625 h 5973007"/>
              <a:gd name="connsiteX17217" fmla="*/ 6388030 w 6884782"/>
              <a:gd name="connsiteY17217" fmla="*/ 4463935 h 5973007"/>
              <a:gd name="connsiteX17218" fmla="*/ 6385706 w 6884782"/>
              <a:gd name="connsiteY17218" fmla="*/ 4464555 h 5973007"/>
              <a:gd name="connsiteX17219" fmla="*/ 6386636 w 6884782"/>
              <a:gd name="connsiteY17219" fmla="*/ 4466413 h 5973007"/>
              <a:gd name="connsiteX17220" fmla="*/ 6386326 w 6884782"/>
              <a:gd name="connsiteY17220" fmla="*/ 4468685 h 5973007"/>
              <a:gd name="connsiteX17221" fmla="*/ 6381989 w 6884782"/>
              <a:gd name="connsiteY17221" fmla="*/ 4470750 h 5973007"/>
              <a:gd name="connsiteX17222" fmla="*/ 6380440 w 6884782"/>
              <a:gd name="connsiteY17222" fmla="*/ 4469511 h 5973007"/>
              <a:gd name="connsiteX17223" fmla="*/ 6380595 w 6884782"/>
              <a:gd name="connsiteY17223" fmla="*/ 4468581 h 5973007"/>
              <a:gd name="connsiteX17224" fmla="*/ 6380750 w 6884782"/>
              <a:gd name="connsiteY17224" fmla="*/ 4466207 h 5973007"/>
              <a:gd name="connsiteX17225" fmla="*/ 6379201 w 6884782"/>
              <a:gd name="connsiteY17225" fmla="*/ 4466723 h 5973007"/>
              <a:gd name="connsiteX17226" fmla="*/ 6368048 w 6884782"/>
              <a:gd name="connsiteY17226" fmla="*/ 4465484 h 5973007"/>
              <a:gd name="connsiteX17227" fmla="*/ 6361078 w 6884782"/>
              <a:gd name="connsiteY17227" fmla="*/ 4473022 h 5973007"/>
              <a:gd name="connsiteX17228" fmla="*/ 6355811 w 6884782"/>
              <a:gd name="connsiteY17228" fmla="*/ 4478598 h 5973007"/>
              <a:gd name="connsiteX17229" fmla="*/ 6355501 w 6884782"/>
              <a:gd name="connsiteY17229" fmla="*/ 4481282 h 5973007"/>
              <a:gd name="connsiteX17230" fmla="*/ 6353178 w 6884782"/>
              <a:gd name="connsiteY17230" fmla="*/ 4481385 h 5973007"/>
              <a:gd name="connsiteX17231" fmla="*/ 6351164 w 6884782"/>
              <a:gd name="connsiteY17231" fmla="*/ 4483657 h 5973007"/>
              <a:gd name="connsiteX17232" fmla="*/ 6350235 w 6884782"/>
              <a:gd name="connsiteY17232" fmla="*/ 4483450 h 5973007"/>
              <a:gd name="connsiteX17233" fmla="*/ 6350235 w 6884782"/>
              <a:gd name="connsiteY17233" fmla="*/ 4485309 h 5973007"/>
              <a:gd name="connsiteX17234" fmla="*/ 6349306 w 6884782"/>
              <a:gd name="connsiteY17234" fmla="*/ 4486858 h 5973007"/>
              <a:gd name="connsiteX17235" fmla="*/ 6342955 w 6884782"/>
              <a:gd name="connsiteY17235" fmla="*/ 4488613 h 5973007"/>
              <a:gd name="connsiteX17236" fmla="*/ 6339083 w 6884782"/>
              <a:gd name="connsiteY17236" fmla="*/ 4487271 h 5973007"/>
              <a:gd name="connsiteX17237" fmla="*/ 6337224 w 6884782"/>
              <a:gd name="connsiteY17237" fmla="*/ 4482624 h 5973007"/>
              <a:gd name="connsiteX17238" fmla="*/ 6337224 w 6884782"/>
              <a:gd name="connsiteY17238" fmla="*/ 4482418 h 5973007"/>
              <a:gd name="connsiteX17239" fmla="*/ 6332886 w 6884782"/>
              <a:gd name="connsiteY17239" fmla="*/ 4482624 h 5973007"/>
              <a:gd name="connsiteX17240" fmla="*/ 6315538 w 6884782"/>
              <a:gd name="connsiteY17240" fmla="*/ 4477048 h 5973007"/>
              <a:gd name="connsiteX17241" fmla="*/ 6310427 w 6884782"/>
              <a:gd name="connsiteY17241" fmla="*/ 4465587 h 5973007"/>
              <a:gd name="connsiteX17242" fmla="*/ 6306554 w 6884782"/>
              <a:gd name="connsiteY17242" fmla="*/ 4460631 h 5973007"/>
              <a:gd name="connsiteX17243" fmla="*/ 6302217 w 6884782"/>
              <a:gd name="connsiteY17243" fmla="*/ 4460321 h 5973007"/>
              <a:gd name="connsiteX17244" fmla="*/ 6302992 w 6884782"/>
              <a:gd name="connsiteY17244" fmla="*/ 4455984 h 5973007"/>
              <a:gd name="connsiteX17245" fmla="*/ 6298190 w 6884782"/>
              <a:gd name="connsiteY17245" fmla="*/ 4459805 h 5973007"/>
              <a:gd name="connsiteX17246" fmla="*/ 6292923 w 6884782"/>
              <a:gd name="connsiteY17246" fmla="*/ 4456604 h 5973007"/>
              <a:gd name="connsiteX17247" fmla="*/ 6291374 w 6884782"/>
              <a:gd name="connsiteY17247" fmla="*/ 4456191 h 5973007"/>
              <a:gd name="connsiteX17248" fmla="*/ 6288431 w 6884782"/>
              <a:gd name="connsiteY17248" fmla="*/ 4456810 h 5973007"/>
              <a:gd name="connsiteX17249" fmla="*/ 6287502 w 6884782"/>
              <a:gd name="connsiteY17249" fmla="*/ 4455262 h 5973007"/>
              <a:gd name="connsiteX17250" fmla="*/ 6287657 w 6884782"/>
              <a:gd name="connsiteY17250" fmla="*/ 4455055 h 5973007"/>
              <a:gd name="connsiteX17251" fmla="*/ 6285643 w 6884782"/>
              <a:gd name="connsiteY17251" fmla="*/ 4454539 h 5973007"/>
              <a:gd name="connsiteX17252" fmla="*/ 6282390 w 6884782"/>
              <a:gd name="connsiteY17252" fmla="*/ 4453093 h 5973007"/>
              <a:gd name="connsiteX17253" fmla="*/ 6283010 w 6884782"/>
              <a:gd name="connsiteY17253" fmla="*/ 4453609 h 5973007"/>
              <a:gd name="connsiteX17254" fmla="*/ 6274181 w 6884782"/>
              <a:gd name="connsiteY17254" fmla="*/ 4449996 h 5973007"/>
              <a:gd name="connsiteX17255" fmla="*/ 1752613 w 6884782"/>
              <a:gd name="connsiteY17255" fmla="*/ 4449771 h 5973007"/>
              <a:gd name="connsiteX17256" fmla="*/ 1760513 w 6884782"/>
              <a:gd name="connsiteY17256" fmla="*/ 4459580 h 5973007"/>
              <a:gd name="connsiteX17257" fmla="*/ 1750754 w 6884782"/>
              <a:gd name="connsiteY17257" fmla="*/ 4463091 h 5973007"/>
              <a:gd name="connsiteX17258" fmla="*/ 1749979 w 6884782"/>
              <a:gd name="connsiteY17258" fmla="*/ 4462265 h 5973007"/>
              <a:gd name="connsiteX17259" fmla="*/ 1749205 w 6884782"/>
              <a:gd name="connsiteY17259" fmla="*/ 4462884 h 5973007"/>
              <a:gd name="connsiteX17260" fmla="*/ 1742855 w 6884782"/>
              <a:gd name="connsiteY17260" fmla="*/ 4463917 h 5973007"/>
              <a:gd name="connsiteX17261" fmla="*/ 1745023 w 6884782"/>
              <a:gd name="connsiteY17261" fmla="*/ 4458444 h 5973007"/>
              <a:gd name="connsiteX17262" fmla="*/ 1747966 w 6884782"/>
              <a:gd name="connsiteY17262" fmla="*/ 4458238 h 5973007"/>
              <a:gd name="connsiteX17263" fmla="*/ 1747811 w 6884782"/>
              <a:gd name="connsiteY17263" fmla="*/ 4455863 h 5973007"/>
              <a:gd name="connsiteX17264" fmla="*/ 1752613 w 6884782"/>
              <a:gd name="connsiteY17264" fmla="*/ 4449771 h 5973007"/>
              <a:gd name="connsiteX17265" fmla="*/ 873422 w 6884782"/>
              <a:gd name="connsiteY17265" fmla="*/ 4449048 h 5973007"/>
              <a:gd name="connsiteX17266" fmla="*/ 876519 w 6884782"/>
              <a:gd name="connsiteY17266" fmla="*/ 4451939 h 5973007"/>
              <a:gd name="connsiteX17267" fmla="*/ 865676 w 6884782"/>
              <a:gd name="connsiteY17267" fmla="*/ 4456689 h 5973007"/>
              <a:gd name="connsiteX17268" fmla="*/ 873422 w 6884782"/>
              <a:gd name="connsiteY17268" fmla="*/ 4449048 h 5973007"/>
              <a:gd name="connsiteX17269" fmla="*/ 5873716 w 6884782"/>
              <a:gd name="connsiteY17269" fmla="*/ 4447982 h 5973007"/>
              <a:gd name="connsiteX17270" fmla="*/ 5875788 w 6884782"/>
              <a:gd name="connsiteY17270" fmla="*/ 4452680 h 5973007"/>
              <a:gd name="connsiteX17271" fmla="*/ 5871141 w 6884782"/>
              <a:gd name="connsiteY17271" fmla="*/ 4457017 h 5973007"/>
              <a:gd name="connsiteX17272" fmla="*/ 5870366 w 6884782"/>
              <a:gd name="connsiteY17272" fmla="*/ 4457017 h 5973007"/>
              <a:gd name="connsiteX17273" fmla="*/ 5868508 w 6884782"/>
              <a:gd name="connsiteY17273" fmla="*/ 4456501 h 5973007"/>
              <a:gd name="connsiteX17274" fmla="*/ 5864945 w 6884782"/>
              <a:gd name="connsiteY17274" fmla="*/ 4453093 h 5973007"/>
              <a:gd name="connsiteX17275" fmla="*/ 5864480 w 6884782"/>
              <a:gd name="connsiteY17275" fmla="*/ 4453816 h 5973007"/>
              <a:gd name="connsiteX17276" fmla="*/ 5866649 w 6884782"/>
              <a:gd name="connsiteY17276" fmla="*/ 4448860 h 5973007"/>
              <a:gd name="connsiteX17277" fmla="*/ 5873716 w 6884782"/>
              <a:gd name="connsiteY17277" fmla="*/ 4447982 h 5973007"/>
              <a:gd name="connsiteX17278" fmla="*/ 1596942 w 6884782"/>
              <a:gd name="connsiteY17278" fmla="*/ 4447603 h 5973007"/>
              <a:gd name="connsiteX17279" fmla="*/ 1594154 w 6884782"/>
              <a:gd name="connsiteY17279" fmla="*/ 4449255 h 5973007"/>
              <a:gd name="connsiteX17280" fmla="*/ 1593844 w 6884782"/>
              <a:gd name="connsiteY17280" fmla="*/ 4448532 h 5973007"/>
              <a:gd name="connsiteX17281" fmla="*/ 1596942 w 6884782"/>
              <a:gd name="connsiteY17281" fmla="*/ 4447603 h 5973007"/>
              <a:gd name="connsiteX17282" fmla="*/ 915243 w 6884782"/>
              <a:gd name="connsiteY17282" fmla="*/ 4447190 h 5973007"/>
              <a:gd name="connsiteX17283" fmla="*/ 912145 w 6884782"/>
              <a:gd name="connsiteY17283" fmla="*/ 4448119 h 5973007"/>
              <a:gd name="connsiteX17284" fmla="*/ 914004 w 6884782"/>
              <a:gd name="connsiteY17284" fmla="*/ 4454314 h 5973007"/>
              <a:gd name="connsiteX17285" fmla="*/ 914004 w 6884782"/>
              <a:gd name="connsiteY17285" fmla="*/ 4455244 h 5973007"/>
              <a:gd name="connsiteX17286" fmla="*/ 915708 w 6884782"/>
              <a:gd name="connsiteY17286" fmla="*/ 4454624 h 5973007"/>
              <a:gd name="connsiteX17287" fmla="*/ 916018 w 6884782"/>
              <a:gd name="connsiteY17287" fmla="*/ 4449977 h 5973007"/>
              <a:gd name="connsiteX17288" fmla="*/ 915708 w 6884782"/>
              <a:gd name="connsiteY17288" fmla="*/ 4447190 h 5973007"/>
              <a:gd name="connsiteX17289" fmla="*/ 5493194 w 6884782"/>
              <a:gd name="connsiteY17289" fmla="*/ 4446898 h 5973007"/>
              <a:gd name="connsiteX17290" fmla="*/ 5492729 w 6884782"/>
              <a:gd name="connsiteY17290" fmla="*/ 4450408 h 5973007"/>
              <a:gd name="connsiteX17291" fmla="*/ 5486068 w 6884782"/>
              <a:gd name="connsiteY17291" fmla="*/ 4454332 h 5973007"/>
              <a:gd name="connsiteX17292" fmla="*/ 5484055 w 6884782"/>
              <a:gd name="connsiteY17292" fmla="*/ 4453712 h 5973007"/>
              <a:gd name="connsiteX17293" fmla="*/ 5485449 w 6884782"/>
              <a:gd name="connsiteY17293" fmla="*/ 4449376 h 5973007"/>
              <a:gd name="connsiteX17294" fmla="*/ 5493194 w 6884782"/>
              <a:gd name="connsiteY17294" fmla="*/ 4446898 h 5973007"/>
              <a:gd name="connsiteX17295" fmla="*/ 1380552 w 6884782"/>
              <a:gd name="connsiteY17295" fmla="*/ 4446673 h 5973007"/>
              <a:gd name="connsiteX17296" fmla="*/ 1383030 w 6884782"/>
              <a:gd name="connsiteY17296" fmla="*/ 4447706 h 5973007"/>
              <a:gd name="connsiteX17297" fmla="*/ 1383030 w 6884782"/>
              <a:gd name="connsiteY17297" fmla="*/ 4448532 h 5973007"/>
              <a:gd name="connsiteX17298" fmla="*/ 1383650 w 6884782"/>
              <a:gd name="connsiteY17298" fmla="*/ 4448842 h 5973007"/>
              <a:gd name="connsiteX17299" fmla="*/ 1385973 w 6884782"/>
              <a:gd name="connsiteY17299" fmla="*/ 4461439 h 5973007"/>
              <a:gd name="connsiteX17300" fmla="*/ 1380397 w 6884782"/>
              <a:gd name="connsiteY17300" fmla="*/ 4455244 h 5973007"/>
              <a:gd name="connsiteX17301" fmla="*/ 1380707 w 6884782"/>
              <a:gd name="connsiteY17301" fmla="*/ 4449255 h 5973007"/>
              <a:gd name="connsiteX17302" fmla="*/ 1379932 w 6884782"/>
              <a:gd name="connsiteY17302" fmla="*/ 4447086 h 5973007"/>
              <a:gd name="connsiteX17303" fmla="*/ 1380552 w 6884782"/>
              <a:gd name="connsiteY17303" fmla="*/ 4446673 h 5973007"/>
              <a:gd name="connsiteX17304" fmla="*/ 5803916 w 6884782"/>
              <a:gd name="connsiteY17304" fmla="*/ 4446381 h 5973007"/>
              <a:gd name="connsiteX17305" fmla="*/ 5808098 w 6884782"/>
              <a:gd name="connsiteY17305" fmla="*/ 4446588 h 5973007"/>
              <a:gd name="connsiteX17306" fmla="*/ 5821574 w 6884782"/>
              <a:gd name="connsiteY17306" fmla="*/ 4450718 h 5973007"/>
              <a:gd name="connsiteX17307" fmla="*/ 5815843 w 6884782"/>
              <a:gd name="connsiteY17307" fmla="*/ 4451441 h 5973007"/>
              <a:gd name="connsiteX17308" fmla="*/ 5802522 w 6884782"/>
              <a:gd name="connsiteY17308" fmla="*/ 4450718 h 5973007"/>
              <a:gd name="connsiteX17309" fmla="*/ 5800663 w 6884782"/>
              <a:gd name="connsiteY17309" fmla="*/ 4448860 h 5973007"/>
              <a:gd name="connsiteX17310" fmla="*/ 5799888 w 6884782"/>
              <a:gd name="connsiteY17310" fmla="*/ 4448860 h 5973007"/>
              <a:gd name="connsiteX17311" fmla="*/ 5798959 w 6884782"/>
              <a:gd name="connsiteY17311" fmla="*/ 4447001 h 5973007"/>
              <a:gd name="connsiteX17312" fmla="*/ 5803916 w 6884782"/>
              <a:gd name="connsiteY17312" fmla="*/ 4446381 h 5973007"/>
              <a:gd name="connsiteX17313" fmla="*/ 1197310 w 6884782"/>
              <a:gd name="connsiteY17313" fmla="*/ 4445847 h 5973007"/>
              <a:gd name="connsiteX17314" fmla="*/ 1214038 w 6884782"/>
              <a:gd name="connsiteY17314" fmla="*/ 4461542 h 5973007"/>
              <a:gd name="connsiteX17315" fmla="*/ 1213574 w 6884782"/>
              <a:gd name="connsiteY17315" fmla="*/ 4463194 h 5973007"/>
              <a:gd name="connsiteX17316" fmla="*/ 1215432 w 6884782"/>
              <a:gd name="connsiteY17316" fmla="*/ 4461645 h 5973007"/>
              <a:gd name="connsiteX17317" fmla="*/ 1230767 w 6884782"/>
              <a:gd name="connsiteY17317" fmla="*/ 4451010 h 5973007"/>
              <a:gd name="connsiteX17318" fmla="*/ 1232781 w 6884782"/>
              <a:gd name="connsiteY17318" fmla="*/ 4452146 h 5973007"/>
              <a:gd name="connsiteX17319" fmla="*/ 1232161 w 6884782"/>
              <a:gd name="connsiteY17319" fmla="*/ 4451526 h 5973007"/>
              <a:gd name="connsiteX17320" fmla="*/ 1229838 w 6884782"/>
              <a:gd name="connsiteY17320" fmla="*/ 4449151 h 5973007"/>
              <a:gd name="connsiteX17321" fmla="*/ 1236033 w 6884782"/>
              <a:gd name="connsiteY17321" fmla="*/ 4453282 h 5973007"/>
              <a:gd name="connsiteX17322" fmla="*/ 1236808 w 6884782"/>
              <a:gd name="connsiteY17322" fmla="*/ 4454108 h 5973007"/>
              <a:gd name="connsiteX17323" fmla="*/ 1241300 w 6884782"/>
              <a:gd name="connsiteY17323" fmla="*/ 4454417 h 5973007"/>
              <a:gd name="connsiteX17324" fmla="*/ 1250129 w 6884782"/>
              <a:gd name="connsiteY17324" fmla="*/ 4452352 h 5973007"/>
              <a:gd name="connsiteX17325" fmla="*/ 1267478 w 6884782"/>
              <a:gd name="connsiteY17325" fmla="*/ 4470112 h 5973007"/>
              <a:gd name="connsiteX17326" fmla="*/ 1266548 w 6884782"/>
              <a:gd name="connsiteY17326" fmla="*/ 4501296 h 5973007"/>
              <a:gd name="connsiteX17327" fmla="*/ 1252763 w 6884782"/>
              <a:gd name="connsiteY17327" fmla="*/ 4515132 h 5973007"/>
              <a:gd name="connsiteX17328" fmla="*/ 1251523 w 6884782"/>
              <a:gd name="connsiteY17328" fmla="*/ 4516371 h 5973007"/>
              <a:gd name="connsiteX17329" fmla="*/ 1252143 w 6884782"/>
              <a:gd name="connsiteY17329" fmla="*/ 4527936 h 5973007"/>
              <a:gd name="connsiteX17330" fmla="*/ 1249045 w 6884782"/>
              <a:gd name="connsiteY17330" fmla="*/ 4537229 h 5973007"/>
              <a:gd name="connsiteX17331" fmla="*/ 1254156 w 6884782"/>
              <a:gd name="connsiteY17331" fmla="*/ 4539088 h 5973007"/>
              <a:gd name="connsiteX17332" fmla="*/ 1256015 w 6884782"/>
              <a:gd name="connsiteY17332" fmla="*/ 4539810 h 5973007"/>
              <a:gd name="connsiteX17333" fmla="*/ 1255860 w 6884782"/>
              <a:gd name="connsiteY17333" fmla="*/ 4538881 h 5973007"/>
              <a:gd name="connsiteX17334" fmla="*/ 1256325 w 6884782"/>
              <a:gd name="connsiteY17334" fmla="*/ 4539914 h 5973007"/>
              <a:gd name="connsiteX17335" fmla="*/ 1260972 w 6884782"/>
              <a:gd name="connsiteY17335" fmla="*/ 4541876 h 5973007"/>
              <a:gd name="connsiteX17336" fmla="*/ 1267168 w 6884782"/>
              <a:gd name="connsiteY17336" fmla="*/ 4550136 h 5973007"/>
              <a:gd name="connsiteX17337" fmla="*/ 1262211 w 6884782"/>
              <a:gd name="connsiteY17337" fmla="*/ 4548897 h 5973007"/>
              <a:gd name="connsiteX17338" fmla="*/ 1258339 w 6884782"/>
              <a:gd name="connsiteY17338" fmla="*/ 4547761 h 5973007"/>
              <a:gd name="connsiteX17339" fmla="*/ 1258184 w 6884782"/>
              <a:gd name="connsiteY17339" fmla="*/ 4548587 h 5973007"/>
              <a:gd name="connsiteX17340" fmla="*/ 1257874 w 6884782"/>
              <a:gd name="connsiteY17340" fmla="*/ 4547658 h 5973007"/>
              <a:gd name="connsiteX17341" fmla="*/ 1256325 w 6884782"/>
              <a:gd name="connsiteY17341" fmla="*/ 4547245 h 5973007"/>
              <a:gd name="connsiteX17342" fmla="*/ 1248580 w 6884782"/>
              <a:gd name="connsiteY17342" fmla="*/ 4540430 h 5973007"/>
              <a:gd name="connsiteX17343" fmla="*/ 1248890 w 6884782"/>
              <a:gd name="connsiteY17343" fmla="*/ 4538158 h 5973007"/>
              <a:gd name="connsiteX17344" fmla="*/ 1248425 w 6884782"/>
              <a:gd name="connsiteY17344" fmla="*/ 4539501 h 5973007"/>
              <a:gd name="connsiteX17345" fmla="*/ 1218995 w 6884782"/>
              <a:gd name="connsiteY17345" fmla="*/ 4554576 h 5973007"/>
              <a:gd name="connsiteX17346" fmla="*/ 1200098 w 6884782"/>
              <a:gd name="connsiteY17346" fmla="*/ 4546832 h 5973007"/>
              <a:gd name="connsiteX17347" fmla="*/ 1185692 w 6884782"/>
              <a:gd name="connsiteY17347" fmla="*/ 4523703 h 5973007"/>
              <a:gd name="connsiteX17348" fmla="*/ 1191113 w 6884782"/>
              <a:gd name="connsiteY17348" fmla="*/ 4493655 h 5973007"/>
              <a:gd name="connsiteX17349" fmla="*/ 1198859 w 6884782"/>
              <a:gd name="connsiteY17349" fmla="*/ 4490144 h 5973007"/>
              <a:gd name="connsiteX17350" fmla="*/ 1202111 w 6884782"/>
              <a:gd name="connsiteY17350" fmla="*/ 4487769 h 5973007"/>
              <a:gd name="connsiteX17351" fmla="*/ 1204125 w 6884782"/>
              <a:gd name="connsiteY17351" fmla="*/ 4475585 h 5973007"/>
              <a:gd name="connsiteX17352" fmla="*/ 1208927 w 6884782"/>
              <a:gd name="connsiteY17352" fmla="*/ 4467221 h 5973007"/>
              <a:gd name="connsiteX17353" fmla="*/ 1212644 w 6884782"/>
              <a:gd name="connsiteY17353" fmla="*/ 4464124 h 5973007"/>
              <a:gd name="connsiteX17354" fmla="*/ 1208307 w 6884782"/>
              <a:gd name="connsiteY17354" fmla="*/ 4460923 h 5973007"/>
              <a:gd name="connsiteX17355" fmla="*/ 1197310 w 6884782"/>
              <a:gd name="connsiteY17355" fmla="*/ 4445847 h 5973007"/>
              <a:gd name="connsiteX17356" fmla="*/ 1138449 w 6884782"/>
              <a:gd name="connsiteY17356" fmla="*/ 4445331 h 5973007"/>
              <a:gd name="connsiteX17357" fmla="*/ 1140154 w 6884782"/>
              <a:gd name="connsiteY17357" fmla="*/ 4451630 h 5973007"/>
              <a:gd name="connsiteX17358" fmla="*/ 1139533 w 6884782"/>
              <a:gd name="connsiteY17358" fmla="*/ 4452766 h 5973007"/>
              <a:gd name="connsiteX17359" fmla="*/ 1138449 w 6884782"/>
              <a:gd name="connsiteY17359" fmla="*/ 4445331 h 5973007"/>
              <a:gd name="connsiteX17360" fmla="*/ 1224726 w 6884782"/>
              <a:gd name="connsiteY17360" fmla="*/ 4445125 h 5973007"/>
              <a:gd name="connsiteX17361" fmla="*/ 1226120 w 6884782"/>
              <a:gd name="connsiteY17361" fmla="*/ 4446673 h 5973007"/>
              <a:gd name="connsiteX17362" fmla="*/ 1225345 w 6884782"/>
              <a:gd name="connsiteY17362" fmla="*/ 4446983 h 5973007"/>
              <a:gd name="connsiteX17363" fmla="*/ 1224417 w 6884782"/>
              <a:gd name="connsiteY17363" fmla="*/ 4445847 h 5973007"/>
              <a:gd name="connsiteX17364" fmla="*/ 1224726 w 6884782"/>
              <a:gd name="connsiteY17364" fmla="*/ 4445125 h 5973007"/>
              <a:gd name="connsiteX17365" fmla="*/ 1395887 w 6884782"/>
              <a:gd name="connsiteY17365" fmla="*/ 4444711 h 5973007"/>
              <a:gd name="connsiteX17366" fmla="*/ 1399139 w 6884782"/>
              <a:gd name="connsiteY17366" fmla="*/ 4452456 h 5973007"/>
              <a:gd name="connsiteX17367" fmla="*/ 1393253 w 6884782"/>
              <a:gd name="connsiteY17367" fmla="*/ 4450494 h 5973007"/>
              <a:gd name="connsiteX17368" fmla="*/ 1395887 w 6884782"/>
              <a:gd name="connsiteY17368" fmla="*/ 4444711 h 5973007"/>
              <a:gd name="connsiteX17369" fmla="*/ 1755091 w 6884782"/>
              <a:gd name="connsiteY17369" fmla="*/ 4444092 h 5973007"/>
              <a:gd name="connsiteX17370" fmla="*/ 1755866 w 6884782"/>
              <a:gd name="connsiteY17370" fmla="*/ 4446777 h 5973007"/>
              <a:gd name="connsiteX17371" fmla="*/ 1754471 w 6884782"/>
              <a:gd name="connsiteY17371" fmla="*/ 4447396 h 5973007"/>
              <a:gd name="connsiteX17372" fmla="*/ 1753077 w 6884782"/>
              <a:gd name="connsiteY17372" fmla="*/ 4446983 h 5973007"/>
              <a:gd name="connsiteX17373" fmla="*/ 1751528 w 6884782"/>
              <a:gd name="connsiteY17373" fmla="*/ 4445331 h 5973007"/>
              <a:gd name="connsiteX17374" fmla="*/ 1755091 w 6884782"/>
              <a:gd name="connsiteY17374" fmla="*/ 4444092 h 5973007"/>
              <a:gd name="connsiteX17375" fmla="*/ 885503 w 6884782"/>
              <a:gd name="connsiteY17375" fmla="*/ 4443472 h 5973007"/>
              <a:gd name="connsiteX17376" fmla="*/ 885039 w 6884782"/>
              <a:gd name="connsiteY17376" fmla="*/ 4449461 h 5973007"/>
              <a:gd name="connsiteX17377" fmla="*/ 879927 w 6884782"/>
              <a:gd name="connsiteY17377" fmla="*/ 4448222 h 5973007"/>
              <a:gd name="connsiteX17378" fmla="*/ 885503 w 6884782"/>
              <a:gd name="connsiteY17378" fmla="*/ 4443472 h 5973007"/>
              <a:gd name="connsiteX17379" fmla="*/ 5502643 w 6884782"/>
              <a:gd name="connsiteY17379" fmla="*/ 4443387 h 5973007"/>
              <a:gd name="connsiteX17380" fmla="*/ 5502332 w 6884782"/>
              <a:gd name="connsiteY17380" fmla="*/ 4446175 h 5973007"/>
              <a:gd name="connsiteX17381" fmla="*/ 5500629 w 6884782"/>
              <a:gd name="connsiteY17381" fmla="*/ 4447001 h 5973007"/>
              <a:gd name="connsiteX17382" fmla="*/ 5499544 w 6884782"/>
              <a:gd name="connsiteY17382" fmla="*/ 4449789 h 5973007"/>
              <a:gd name="connsiteX17383" fmla="*/ 5497996 w 6884782"/>
              <a:gd name="connsiteY17383" fmla="*/ 4449686 h 5973007"/>
              <a:gd name="connsiteX17384" fmla="*/ 5500164 w 6884782"/>
              <a:gd name="connsiteY17384" fmla="*/ 4444316 h 5973007"/>
              <a:gd name="connsiteX17385" fmla="*/ 5502643 w 6884782"/>
              <a:gd name="connsiteY17385" fmla="*/ 4443387 h 5973007"/>
              <a:gd name="connsiteX17386" fmla="*/ 1078969 w 6884782"/>
              <a:gd name="connsiteY17386" fmla="*/ 4442956 h 5973007"/>
              <a:gd name="connsiteX17387" fmla="*/ 1091980 w 6884782"/>
              <a:gd name="connsiteY17387" fmla="*/ 4450597 h 5973007"/>
              <a:gd name="connsiteX17388" fmla="*/ 1091980 w 6884782"/>
              <a:gd name="connsiteY17388" fmla="*/ 4451423 h 5973007"/>
              <a:gd name="connsiteX17389" fmla="*/ 1090121 w 6884782"/>
              <a:gd name="connsiteY17389" fmla="*/ 4452249 h 5973007"/>
              <a:gd name="connsiteX17390" fmla="*/ 1086869 w 6884782"/>
              <a:gd name="connsiteY17390" fmla="*/ 4450287 h 5973007"/>
              <a:gd name="connsiteX17391" fmla="*/ 1080673 w 6884782"/>
              <a:gd name="connsiteY17391" fmla="*/ 4443989 h 5973007"/>
              <a:gd name="connsiteX17392" fmla="*/ 1078969 w 6884782"/>
              <a:gd name="connsiteY17392" fmla="*/ 4442956 h 5973007"/>
              <a:gd name="connsiteX17393" fmla="*/ 1446693 w 6884782"/>
              <a:gd name="connsiteY17393" fmla="*/ 4442853 h 5973007"/>
              <a:gd name="connsiteX17394" fmla="*/ 1450410 w 6884782"/>
              <a:gd name="connsiteY17394" fmla="*/ 4446364 h 5973007"/>
              <a:gd name="connsiteX17395" fmla="*/ 1448241 w 6884782"/>
              <a:gd name="connsiteY17395" fmla="*/ 4449668 h 5973007"/>
              <a:gd name="connsiteX17396" fmla="*/ 1444524 w 6884782"/>
              <a:gd name="connsiteY17396" fmla="*/ 4446157 h 5973007"/>
              <a:gd name="connsiteX17397" fmla="*/ 1446693 w 6884782"/>
              <a:gd name="connsiteY17397" fmla="*/ 4442853 h 5973007"/>
              <a:gd name="connsiteX17398" fmla="*/ 1806362 w 6884782"/>
              <a:gd name="connsiteY17398" fmla="*/ 4442543 h 5973007"/>
              <a:gd name="connsiteX17399" fmla="*/ 1806362 w 6884782"/>
              <a:gd name="connsiteY17399" fmla="*/ 4463401 h 5973007"/>
              <a:gd name="connsiteX17400" fmla="*/ 1802179 w 6884782"/>
              <a:gd name="connsiteY17400" fmla="*/ 4462162 h 5973007"/>
              <a:gd name="connsiteX17401" fmla="*/ 1806362 w 6884782"/>
              <a:gd name="connsiteY17401" fmla="*/ 4442543 h 5973007"/>
              <a:gd name="connsiteX17402" fmla="*/ 866761 w 6884782"/>
              <a:gd name="connsiteY17402" fmla="*/ 4442440 h 5973007"/>
              <a:gd name="connsiteX17403" fmla="*/ 872337 w 6884782"/>
              <a:gd name="connsiteY17403" fmla="*/ 4445641 h 5973007"/>
              <a:gd name="connsiteX17404" fmla="*/ 871098 w 6884782"/>
              <a:gd name="connsiteY17404" fmla="*/ 4445950 h 5973007"/>
              <a:gd name="connsiteX17405" fmla="*/ 869549 w 6884782"/>
              <a:gd name="connsiteY17405" fmla="*/ 4444918 h 5973007"/>
              <a:gd name="connsiteX17406" fmla="*/ 866761 w 6884782"/>
              <a:gd name="connsiteY17406" fmla="*/ 4442440 h 5973007"/>
              <a:gd name="connsiteX17407" fmla="*/ 792663 w 6884782"/>
              <a:gd name="connsiteY17407" fmla="*/ 4442349 h 5973007"/>
              <a:gd name="connsiteX17408" fmla="*/ 797367 w 6884782"/>
              <a:gd name="connsiteY17408" fmla="*/ 4445125 h 5973007"/>
              <a:gd name="connsiteX17409" fmla="*/ 796593 w 6884782"/>
              <a:gd name="connsiteY17409" fmla="*/ 4446673 h 5973007"/>
              <a:gd name="connsiteX17410" fmla="*/ 798452 w 6884782"/>
              <a:gd name="connsiteY17410" fmla="*/ 4446570 h 5973007"/>
              <a:gd name="connsiteX17411" fmla="*/ 801240 w 6884782"/>
              <a:gd name="connsiteY17411" fmla="*/ 4447086 h 5973007"/>
              <a:gd name="connsiteX17412" fmla="*/ 801859 w 6884782"/>
              <a:gd name="connsiteY17412" fmla="*/ 4453282 h 5973007"/>
              <a:gd name="connsiteX17413" fmla="*/ 799846 w 6884782"/>
              <a:gd name="connsiteY17413" fmla="*/ 4455244 h 5973007"/>
              <a:gd name="connsiteX17414" fmla="*/ 794889 w 6884782"/>
              <a:gd name="connsiteY17414" fmla="*/ 4456793 h 5973007"/>
              <a:gd name="connsiteX17415" fmla="*/ 795044 w 6884782"/>
              <a:gd name="connsiteY17415" fmla="*/ 4457515 h 5973007"/>
              <a:gd name="connsiteX17416" fmla="*/ 792565 w 6884782"/>
              <a:gd name="connsiteY17416" fmla="*/ 4453282 h 5973007"/>
              <a:gd name="connsiteX17417" fmla="*/ 792720 w 6884782"/>
              <a:gd name="connsiteY17417" fmla="*/ 4452662 h 5973007"/>
              <a:gd name="connsiteX17418" fmla="*/ 792256 w 6884782"/>
              <a:gd name="connsiteY17418" fmla="*/ 4453282 h 5973007"/>
              <a:gd name="connsiteX17419" fmla="*/ 787609 w 6884782"/>
              <a:gd name="connsiteY17419" fmla="*/ 4449461 h 5973007"/>
              <a:gd name="connsiteX17420" fmla="*/ 787144 w 6884782"/>
              <a:gd name="connsiteY17420" fmla="*/ 4442749 h 5973007"/>
              <a:gd name="connsiteX17421" fmla="*/ 792663 w 6884782"/>
              <a:gd name="connsiteY17421" fmla="*/ 4442349 h 5973007"/>
              <a:gd name="connsiteX17422" fmla="*/ 5957108 w 6884782"/>
              <a:gd name="connsiteY17422" fmla="*/ 4442045 h 5973007"/>
              <a:gd name="connsiteX17423" fmla="*/ 5958657 w 6884782"/>
              <a:gd name="connsiteY17423" fmla="*/ 4444007 h 5973007"/>
              <a:gd name="connsiteX17424" fmla="*/ 5956798 w 6884782"/>
              <a:gd name="connsiteY17424" fmla="*/ 4445968 h 5973007"/>
              <a:gd name="connsiteX17425" fmla="*/ 5954010 w 6884782"/>
              <a:gd name="connsiteY17425" fmla="*/ 4446381 h 5973007"/>
              <a:gd name="connsiteX17426" fmla="*/ 5953236 w 6884782"/>
              <a:gd name="connsiteY17426" fmla="*/ 4445142 h 5973007"/>
              <a:gd name="connsiteX17427" fmla="*/ 5952926 w 6884782"/>
              <a:gd name="connsiteY17427" fmla="*/ 4443180 h 5973007"/>
              <a:gd name="connsiteX17428" fmla="*/ 5957108 w 6884782"/>
              <a:gd name="connsiteY17428" fmla="*/ 4442045 h 5973007"/>
              <a:gd name="connsiteX17429" fmla="*/ 1012518 w 6884782"/>
              <a:gd name="connsiteY17429" fmla="*/ 4441717 h 5973007"/>
              <a:gd name="connsiteX17430" fmla="*/ 1013138 w 6884782"/>
              <a:gd name="connsiteY17430" fmla="*/ 4464950 h 5973007"/>
              <a:gd name="connsiteX17431" fmla="*/ 1009885 w 6884782"/>
              <a:gd name="connsiteY17431" fmla="*/ 4459477 h 5973007"/>
              <a:gd name="connsiteX17432" fmla="*/ 1012518 w 6884782"/>
              <a:gd name="connsiteY17432" fmla="*/ 4441717 h 5973007"/>
              <a:gd name="connsiteX17433" fmla="*/ 1628386 w 6884782"/>
              <a:gd name="connsiteY17433" fmla="*/ 4441510 h 5973007"/>
              <a:gd name="connsiteX17434" fmla="*/ 1635666 w 6884782"/>
              <a:gd name="connsiteY17434" fmla="*/ 4455863 h 5973007"/>
              <a:gd name="connsiteX17435" fmla="*/ 1632878 w 6884782"/>
              <a:gd name="connsiteY17435" fmla="*/ 4454108 h 5973007"/>
              <a:gd name="connsiteX17436" fmla="*/ 1632878 w 6884782"/>
              <a:gd name="connsiteY17436" fmla="*/ 4454314 h 5973007"/>
              <a:gd name="connsiteX17437" fmla="*/ 1632103 w 6884782"/>
              <a:gd name="connsiteY17437" fmla="*/ 4453901 h 5973007"/>
              <a:gd name="connsiteX17438" fmla="*/ 1632103 w 6884782"/>
              <a:gd name="connsiteY17438" fmla="*/ 4453592 h 5973007"/>
              <a:gd name="connsiteX17439" fmla="*/ 1631329 w 6884782"/>
              <a:gd name="connsiteY17439" fmla="*/ 4452972 h 5973007"/>
              <a:gd name="connsiteX17440" fmla="*/ 1628386 w 6884782"/>
              <a:gd name="connsiteY17440" fmla="*/ 4441510 h 5973007"/>
              <a:gd name="connsiteX17441" fmla="*/ 1658436 w 6884782"/>
              <a:gd name="connsiteY17441" fmla="*/ 4441407 h 5973007"/>
              <a:gd name="connsiteX17442" fmla="*/ 1660450 w 6884782"/>
              <a:gd name="connsiteY17442" fmla="*/ 4445125 h 5973007"/>
              <a:gd name="connsiteX17443" fmla="*/ 1658281 w 6884782"/>
              <a:gd name="connsiteY17443" fmla="*/ 4444711 h 5973007"/>
              <a:gd name="connsiteX17444" fmla="*/ 1657816 w 6884782"/>
              <a:gd name="connsiteY17444" fmla="*/ 4441820 h 5973007"/>
              <a:gd name="connsiteX17445" fmla="*/ 1658436 w 6884782"/>
              <a:gd name="connsiteY17445" fmla="*/ 4441407 h 5973007"/>
              <a:gd name="connsiteX17446" fmla="*/ 897276 w 6884782"/>
              <a:gd name="connsiteY17446" fmla="*/ 4441201 h 5973007"/>
              <a:gd name="connsiteX17447" fmla="*/ 897585 w 6884782"/>
              <a:gd name="connsiteY17447" fmla="*/ 4442130 h 5973007"/>
              <a:gd name="connsiteX17448" fmla="*/ 897895 w 6884782"/>
              <a:gd name="connsiteY17448" fmla="*/ 4442027 h 5973007"/>
              <a:gd name="connsiteX17449" fmla="*/ 897585 w 6884782"/>
              <a:gd name="connsiteY17449" fmla="*/ 4441614 h 5973007"/>
              <a:gd name="connsiteX17450" fmla="*/ 1221009 w 6884782"/>
              <a:gd name="connsiteY17450" fmla="*/ 4440994 h 5973007"/>
              <a:gd name="connsiteX17451" fmla="*/ 1223952 w 6884782"/>
              <a:gd name="connsiteY17451" fmla="*/ 4445434 h 5973007"/>
              <a:gd name="connsiteX17452" fmla="*/ 1220854 w 6884782"/>
              <a:gd name="connsiteY17452" fmla="*/ 4443576 h 5973007"/>
              <a:gd name="connsiteX17453" fmla="*/ 1221009 w 6884782"/>
              <a:gd name="connsiteY17453" fmla="*/ 4440994 h 5973007"/>
              <a:gd name="connsiteX17454" fmla="*/ 1792576 w 6884782"/>
              <a:gd name="connsiteY17454" fmla="*/ 4440891 h 5973007"/>
              <a:gd name="connsiteX17455" fmla="*/ 1788703 w 6884782"/>
              <a:gd name="connsiteY17455" fmla="*/ 4451320 h 5973007"/>
              <a:gd name="connsiteX17456" fmla="*/ 1785760 w 6884782"/>
              <a:gd name="connsiteY17456" fmla="*/ 4444402 h 5973007"/>
              <a:gd name="connsiteX17457" fmla="*/ 1792576 w 6884782"/>
              <a:gd name="connsiteY17457" fmla="*/ 4440891 h 5973007"/>
              <a:gd name="connsiteX17458" fmla="*/ 1288389 w 6884782"/>
              <a:gd name="connsiteY17458" fmla="*/ 4440788 h 5973007"/>
              <a:gd name="connsiteX17459" fmla="*/ 1287924 w 6884782"/>
              <a:gd name="connsiteY17459" fmla="*/ 4443989 h 5973007"/>
              <a:gd name="connsiteX17460" fmla="*/ 1288699 w 6884782"/>
              <a:gd name="connsiteY17460" fmla="*/ 4445538 h 5973007"/>
              <a:gd name="connsiteX17461" fmla="*/ 1287924 w 6884782"/>
              <a:gd name="connsiteY17461" fmla="*/ 4448222 h 5973007"/>
              <a:gd name="connsiteX17462" fmla="*/ 1286375 w 6884782"/>
              <a:gd name="connsiteY17462" fmla="*/ 4449461 h 5973007"/>
              <a:gd name="connsiteX17463" fmla="*/ 1284206 w 6884782"/>
              <a:gd name="connsiteY17463" fmla="*/ 4453592 h 5973007"/>
              <a:gd name="connsiteX17464" fmla="*/ 1274758 w 6884782"/>
              <a:gd name="connsiteY17464" fmla="*/ 4460510 h 5973007"/>
              <a:gd name="connsiteX17465" fmla="*/ 1283896 w 6884782"/>
              <a:gd name="connsiteY17465" fmla="*/ 4443782 h 5973007"/>
              <a:gd name="connsiteX17466" fmla="*/ 1284671 w 6884782"/>
              <a:gd name="connsiteY17466" fmla="*/ 4441717 h 5973007"/>
              <a:gd name="connsiteX17467" fmla="*/ 1286065 w 6884782"/>
              <a:gd name="connsiteY17467" fmla="*/ 4442337 h 5973007"/>
              <a:gd name="connsiteX17468" fmla="*/ 6369597 w 6884782"/>
              <a:gd name="connsiteY17468" fmla="*/ 4440393 h 5973007"/>
              <a:gd name="connsiteX17469" fmla="*/ 6369442 w 6884782"/>
              <a:gd name="connsiteY17469" fmla="*/ 4448446 h 5973007"/>
              <a:gd name="connsiteX17470" fmla="*/ 6370681 w 6884782"/>
              <a:gd name="connsiteY17470" fmla="*/ 4460424 h 5973007"/>
              <a:gd name="connsiteX17471" fmla="*/ 6376722 w 6884782"/>
              <a:gd name="connsiteY17471" fmla="*/ 4461457 h 5973007"/>
              <a:gd name="connsiteX17472" fmla="*/ 6387410 w 6884782"/>
              <a:gd name="connsiteY17472" fmla="*/ 4461767 h 5973007"/>
              <a:gd name="connsiteX17473" fmla="*/ 6389888 w 6884782"/>
              <a:gd name="connsiteY17473" fmla="*/ 4461354 h 5973007"/>
              <a:gd name="connsiteX17474" fmla="*/ 6389733 w 6884782"/>
              <a:gd name="connsiteY17474" fmla="*/ 4456191 h 5973007"/>
              <a:gd name="connsiteX17475" fmla="*/ 6397943 w 6884782"/>
              <a:gd name="connsiteY17475" fmla="*/ 4457740 h 5973007"/>
              <a:gd name="connsiteX17476" fmla="*/ 6396084 w 6884782"/>
              <a:gd name="connsiteY17476" fmla="*/ 4445349 h 5973007"/>
              <a:gd name="connsiteX17477" fmla="*/ 6396859 w 6884782"/>
              <a:gd name="connsiteY17477" fmla="*/ 4440599 h 5973007"/>
              <a:gd name="connsiteX17478" fmla="*/ 6384777 w 6884782"/>
              <a:gd name="connsiteY17478" fmla="*/ 4440599 h 5973007"/>
              <a:gd name="connsiteX17479" fmla="*/ 998733 w 6884782"/>
              <a:gd name="connsiteY17479" fmla="*/ 4439755 h 5973007"/>
              <a:gd name="connsiteX17480" fmla="*/ 1000437 w 6884782"/>
              <a:gd name="connsiteY17480" fmla="*/ 4441924 h 5973007"/>
              <a:gd name="connsiteX17481" fmla="*/ 999507 w 6884782"/>
              <a:gd name="connsiteY17481" fmla="*/ 4442234 h 5973007"/>
              <a:gd name="connsiteX17482" fmla="*/ 996564 w 6884782"/>
              <a:gd name="connsiteY17482" fmla="*/ 4444402 h 5973007"/>
              <a:gd name="connsiteX17483" fmla="*/ 995170 w 6884782"/>
              <a:gd name="connsiteY17483" fmla="*/ 4440375 h 5973007"/>
              <a:gd name="connsiteX17484" fmla="*/ 998733 w 6884782"/>
              <a:gd name="connsiteY17484" fmla="*/ 4439755 h 5973007"/>
              <a:gd name="connsiteX17485" fmla="*/ 5828234 w 6884782"/>
              <a:gd name="connsiteY17485" fmla="*/ 4439670 h 5973007"/>
              <a:gd name="connsiteX17486" fmla="*/ 5831023 w 6884782"/>
              <a:gd name="connsiteY17486" fmla="*/ 4449479 h 5973007"/>
              <a:gd name="connsiteX17487" fmla="*/ 5824982 w 6884782"/>
              <a:gd name="connsiteY17487" fmla="*/ 4450615 h 5973007"/>
              <a:gd name="connsiteX17488" fmla="*/ 5828234 w 6884782"/>
              <a:gd name="connsiteY17488" fmla="*/ 4439670 h 5973007"/>
              <a:gd name="connsiteX17489" fmla="*/ 1643256 w 6884782"/>
              <a:gd name="connsiteY17489" fmla="*/ 4439445 h 5973007"/>
              <a:gd name="connsiteX17490" fmla="*/ 1647593 w 6884782"/>
              <a:gd name="connsiteY17490" fmla="*/ 4447293 h 5973007"/>
              <a:gd name="connsiteX17491" fmla="*/ 1643876 w 6884782"/>
              <a:gd name="connsiteY17491" fmla="*/ 4447190 h 5973007"/>
              <a:gd name="connsiteX17492" fmla="*/ 1643256 w 6884782"/>
              <a:gd name="connsiteY17492" fmla="*/ 4439445 h 5973007"/>
              <a:gd name="connsiteX17493" fmla="*/ 1070450 w 6884782"/>
              <a:gd name="connsiteY17493" fmla="*/ 4439342 h 5973007"/>
              <a:gd name="connsiteX17494" fmla="*/ 1072928 w 6884782"/>
              <a:gd name="connsiteY17494" fmla="*/ 4439445 h 5973007"/>
              <a:gd name="connsiteX17495" fmla="*/ 1072773 w 6884782"/>
              <a:gd name="connsiteY17495" fmla="*/ 4445847 h 5973007"/>
              <a:gd name="connsiteX17496" fmla="*/ 1077885 w 6884782"/>
              <a:gd name="connsiteY17496" fmla="*/ 4446157 h 5973007"/>
              <a:gd name="connsiteX17497" fmla="*/ 1072618 w 6884782"/>
              <a:gd name="connsiteY17497" fmla="*/ 4461645 h 5973007"/>
              <a:gd name="connsiteX17498" fmla="*/ 1072153 w 6884782"/>
              <a:gd name="connsiteY17498" fmla="*/ 4462059 h 5973007"/>
              <a:gd name="connsiteX17499" fmla="*/ 1072618 w 6884782"/>
              <a:gd name="connsiteY17499" fmla="*/ 4462162 h 5973007"/>
              <a:gd name="connsiteX17500" fmla="*/ 1076335 w 6884782"/>
              <a:gd name="connsiteY17500" fmla="*/ 4460303 h 5973007"/>
              <a:gd name="connsiteX17501" fmla="*/ 1078349 w 6884782"/>
              <a:gd name="connsiteY17501" fmla="*/ 4473107 h 5973007"/>
              <a:gd name="connsiteX17502" fmla="*/ 1077885 w 6884782"/>
              <a:gd name="connsiteY17502" fmla="*/ 4474966 h 5973007"/>
              <a:gd name="connsiteX17503" fmla="*/ 1078814 w 6884782"/>
              <a:gd name="connsiteY17503" fmla="*/ 4474966 h 5973007"/>
              <a:gd name="connsiteX17504" fmla="*/ 1077885 w 6884782"/>
              <a:gd name="connsiteY17504" fmla="*/ 4475792 h 5973007"/>
              <a:gd name="connsiteX17505" fmla="*/ 1077885 w 6884782"/>
              <a:gd name="connsiteY17505" fmla="*/ 4475998 h 5973007"/>
              <a:gd name="connsiteX17506" fmla="*/ 1078039 w 6884782"/>
              <a:gd name="connsiteY17506" fmla="*/ 4476928 h 5973007"/>
              <a:gd name="connsiteX17507" fmla="*/ 1076026 w 6884782"/>
              <a:gd name="connsiteY17507" fmla="*/ 4479715 h 5973007"/>
              <a:gd name="connsiteX17508" fmla="*/ 1075096 w 6884782"/>
              <a:gd name="connsiteY17508" fmla="*/ 4480025 h 5973007"/>
              <a:gd name="connsiteX17509" fmla="*/ 1073857 w 6884782"/>
              <a:gd name="connsiteY17509" fmla="*/ 4479302 h 5973007"/>
              <a:gd name="connsiteX17510" fmla="*/ 1071224 w 6884782"/>
              <a:gd name="connsiteY17510" fmla="*/ 4474862 h 5973007"/>
              <a:gd name="connsiteX17511" fmla="*/ 1055889 w 6884782"/>
              <a:gd name="connsiteY17511" fmla="*/ 4473313 h 5973007"/>
              <a:gd name="connsiteX17512" fmla="*/ 1056354 w 6884782"/>
              <a:gd name="connsiteY17512" fmla="*/ 4464640 h 5973007"/>
              <a:gd name="connsiteX17513" fmla="*/ 1058058 w 6884782"/>
              <a:gd name="connsiteY17513" fmla="*/ 4462884 h 5973007"/>
              <a:gd name="connsiteX17514" fmla="*/ 1056044 w 6884782"/>
              <a:gd name="connsiteY17514" fmla="*/ 4462575 h 5973007"/>
              <a:gd name="connsiteX17515" fmla="*/ 1061620 w 6884782"/>
              <a:gd name="connsiteY17515" fmla="*/ 4446673 h 5973007"/>
              <a:gd name="connsiteX17516" fmla="*/ 1063014 w 6884782"/>
              <a:gd name="connsiteY17516" fmla="*/ 4445434 h 5973007"/>
              <a:gd name="connsiteX17517" fmla="*/ 1065028 w 6884782"/>
              <a:gd name="connsiteY17517" fmla="*/ 4446157 h 5973007"/>
              <a:gd name="connsiteX17518" fmla="*/ 1065957 w 6884782"/>
              <a:gd name="connsiteY17518" fmla="*/ 4448945 h 5973007"/>
              <a:gd name="connsiteX17519" fmla="*/ 1066577 w 6884782"/>
              <a:gd name="connsiteY17519" fmla="*/ 4448635 h 5973007"/>
              <a:gd name="connsiteX17520" fmla="*/ 1066577 w 6884782"/>
              <a:gd name="connsiteY17520" fmla="*/ 4448326 h 5973007"/>
              <a:gd name="connsiteX17521" fmla="*/ 1069675 w 6884782"/>
              <a:gd name="connsiteY17521" fmla="*/ 4440994 h 5973007"/>
              <a:gd name="connsiteX17522" fmla="*/ 1070450 w 6884782"/>
              <a:gd name="connsiteY17522" fmla="*/ 4439342 h 5973007"/>
              <a:gd name="connsiteX17523" fmla="*/ 1341869 w 6884782"/>
              <a:gd name="connsiteY17523" fmla="*/ 4438528 h 5973007"/>
              <a:gd name="connsiteX17524" fmla="*/ 1356543 w 6884782"/>
              <a:gd name="connsiteY17524" fmla="*/ 4446054 h 5973007"/>
              <a:gd name="connsiteX17525" fmla="*/ 1364598 w 6884782"/>
              <a:gd name="connsiteY17525" fmla="*/ 4476721 h 5973007"/>
              <a:gd name="connsiteX17526" fmla="*/ 1340744 w 6884782"/>
              <a:gd name="connsiteY17526" fmla="*/ 4475792 h 5973007"/>
              <a:gd name="connsiteX17527" fmla="*/ 1333309 w 6884782"/>
              <a:gd name="connsiteY17527" fmla="*/ 4472694 h 5973007"/>
              <a:gd name="connsiteX17528" fmla="*/ 1341869 w 6884782"/>
              <a:gd name="connsiteY17528" fmla="*/ 4438528 h 5973007"/>
              <a:gd name="connsiteX17529" fmla="*/ 830864 w 6884782"/>
              <a:gd name="connsiteY17529" fmla="*/ 4438155 h 5973007"/>
              <a:gd name="connsiteX17530" fmla="*/ 841048 w 6884782"/>
              <a:gd name="connsiteY17530" fmla="*/ 4439445 h 5973007"/>
              <a:gd name="connsiteX17531" fmla="*/ 840119 w 6884782"/>
              <a:gd name="connsiteY17531" fmla="*/ 4448119 h 5973007"/>
              <a:gd name="connsiteX17532" fmla="*/ 836401 w 6884782"/>
              <a:gd name="connsiteY17532" fmla="*/ 4448635 h 5973007"/>
              <a:gd name="connsiteX17533" fmla="*/ 832993 w 6884782"/>
              <a:gd name="connsiteY17533" fmla="*/ 4448119 h 5973007"/>
              <a:gd name="connsiteX17534" fmla="*/ 826953 w 6884782"/>
              <a:gd name="connsiteY17534" fmla="*/ 4445538 h 5973007"/>
              <a:gd name="connsiteX17535" fmla="*/ 830864 w 6884782"/>
              <a:gd name="connsiteY17535" fmla="*/ 4438155 h 5973007"/>
              <a:gd name="connsiteX17536" fmla="*/ 1266548 w 6884782"/>
              <a:gd name="connsiteY17536" fmla="*/ 4438103 h 5973007"/>
              <a:gd name="connsiteX17537" fmla="*/ 1267013 w 6884782"/>
              <a:gd name="connsiteY17537" fmla="*/ 4439239 h 5973007"/>
              <a:gd name="connsiteX17538" fmla="*/ 1267322 w 6884782"/>
              <a:gd name="connsiteY17538" fmla="*/ 4438516 h 5973007"/>
              <a:gd name="connsiteX17539" fmla="*/ 1267168 w 6884782"/>
              <a:gd name="connsiteY17539" fmla="*/ 4439652 h 5973007"/>
              <a:gd name="connsiteX17540" fmla="*/ 1266548 w 6884782"/>
              <a:gd name="connsiteY17540" fmla="*/ 4439962 h 5973007"/>
              <a:gd name="connsiteX17541" fmla="*/ 1265000 w 6884782"/>
              <a:gd name="connsiteY17541" fmla="*/ 4440375 h 5973007"/>
              <a:gd name="connsiteX17542" fmla="*/ 1263915 w 6884782"/>
              <a:gd name="connsiteY17542" fmla="*/ 4439445 h 5973007"/>
              <a:gd name="connsiteX17543" fmla="*/ 1266548 w 6884782"/>
              <a:gd name="connsiteY17543" fmla="*/ 4438103 h 5973007"/>
              <a:gd name="connsiteX17544" fmla="*/ 1154868 w 6884782"/>
              <a:gd name="connsiteY17544" fmla="*/ 4438103 h 5973007"/>
              <a:gd name="connsiteX17545" fmla="*/ 1158275 w 6884782"/>
              <a:gd name="connsiteY17545" fmla="*/ 4440891 h 5973007"/>
              <a:gd name="connsiteX17546" fmla="*/ 1154558 w 6884782"/>
              <a:gd name="connsiteY17546" fmla="*/ 4445125 h 5973007"/>
              <a:gd name="connsiteX17547" fmla="*/ 1150996 w 6884782"/>
              <a:gd name="connsiteY17547" fmla="*/ 4442543 h 5973007"/>
              <a:gd name="connsiteX17548" fmla="*/ 1151150 w 6884782"/>
              <a:gd name="connsiteY17548" fmla="*/ 4440478 h 5973007"/>
              <a:gd name="connsiteX17549" fmla="*/ 1151925 w 6884782"/>
              <a:gd name="connsiteY17549" fmla="*/ 4439962 h 5973007"/>
              <a:gd name="connsiteX17550" fmla="*/ 1154868 w 6884782"/>
              <a:gd name="connsiteY17550" fmla="*/ 4438103 h 5973007"/>
              <a:gd name="connsiteX17551" fmla="*/ 5687608 w 6884782"/>
              <a:gd name="connsiteY17551" fmla="*/ 4437075 h 5973007"/>
              <a:gd name="connsiteX17552" fmla="*/ 5693475 w 6884782"/>
              <a:gd name="connsiteY17552" fmla="*/ 4437192 h 5973007"/>
              <a:gd name="connsiteX17553" fmla="*/ 5690996 w 6884782"/>
              <a:gd name="connsiteY17553" fmla="*/ 4444936 h 5973007"/>
              <a:gd name="connsiteX17554" fmla="*/ 5687898 w 6884782"/>
              <a:gd name="connsiteY17554" fmla="*/ 4446691 h 5973007"/>
              <a:gd name="connsiteX17555" fmla="*/ 5684181 w 6884782"/>
              <a:gd name="connsiteY17555" fmla="*/ 4446588 h 5973007"/>
              <a:gd name="connsiteX17556" fmla="*/ 5681393 w 6884782"/>
              <a:gd name="connsiteY17556" fmla="*/ 4447207 h 5973007"/>
              <a:gd name="connsiteX17557" fmla="*/ 5678450 w 6884782"/>
              <a:gd name="connsiteY17557" fmla="*/ 4446485 h 5973007"/>
              <a:gd name="connsiteX17558" fmla="*/ 5677365 w 6884782"/>
              <a:gd name="connsiteY17558" fmla="*/ 4443903 h 5973007"/>
              <a:gd name="connsiteX17559" fmla="*/ 5678140 w 6884782"/>
              <a:gd name="connsiteY17559" fmla="*/ 4442148 h 5973007"/>
              <a:gd name="connsiteX17560" fmla="*/ 5687608 w 6884782"/>
              <a:gd name="connsiteY17560" fmla="*/ 4437075 h 5973007"/>
              <a:gd name="connsiteX17561" fmla="*/ 1377145 w 6884782"/>
              <a:gd name="connsiteY17561" fmla="*/ 4437071 h 5973007"/>
              <a:gd name="connsiteX17562" fmla="*/ 1379003 w 6884782"/>
              <a:gd name="connsiteY17562" fmla="*/ 4441407 h 5973007"/>
              <a:gd name="connsiteX17563" fmla="*/ 1377764 w 6884782"/>
              <a:gd name="connsiteY17563" fmla="*/ 4441717 h 5973007"/>
              <a:gd name="connsiteX17564" fmla="*/ 1378383 w 6884782"/>
              <a:gd name="connsiteY17564" fmla="*/ 4443885 h 5973007"/>
              <a:gd name="connsiteX17565" fmla="*/ 1376370 w 6884782"/>
              <a:gd name="connsiteY17565" fmla="*/ 4448739 h 5973007"/>
              <a:gd name="connsiteX17566" fmla="*/ 1367386 w 6884782"/>
              <a:gd name="connsiteY17566" fmla="*/ 4444402 h 5973007"/>
              <a:gd name="connsiteX17567" fmla="*/ 1366921 w 6884782"/>
              <a:gd name="connsiteY17567" fmla="*/ 4440684 h 5973007"/>
              <a:gd name="connsiteX17568" fmla="*/ 1374666 w 6884782"/>
              <a:gd name="connsiteY17568" fmla="*/ 4438103 h 5973007"/>
              <a:gd name="connsiteX17569" fmla="*/ 1375130 w 6884782"/>
              <a:gd name="connsiteY17569" fmla="*/ 4438516 h 5973007"/>
              <a:gd name="connsiteX17570" fmla="*/ 1375130 w 6884782"/>
              <a:gd name="connsiteY17570" fmla="*/ 4438413 h 5973007"/>
              <a:gd name="connsiteX17571" fmla="*/ 1377145 w 6884782"/>
              <a:gd name="connsiteY17571" fmla="*/ 4437071 h 5973007"/>
              <a:gd name="connsiteX17572" fmla="*/ 1073548 w 6884782"/>
              <a:gd name="connsiteY17572" fmla="*/ 4436864 h 5973007"/>
              <a:gd name="connsiteX17573" fmla="*/ 1077110 w 6884782"/>
              <a:gd name="connsiteY17573" fmla="*/ 4440478 h 5973007"/>
              <a:gd name="connsiteX17574" fmla="*/ 1078814 w 6884782"/>
              <a:gd name="connsiteY17574" fmla="*/ 4441407 h 5973007"/>
              <a:gd name="connsiteX17575" fmla="*/ 1077265 w 6884782"/>
              <a:gd name="connsiteY17575" fmla="*/ 4442234 h 5973007"/>
              <a:gd name="connsiteX17576" fmla="*/ 1075406 w 6884782"/>
              <a:gd name="connsiteY17576" fmla="*/ 4439549 h 5973007"/>
              <a:gd name="connsiteX17577" fmla="*/ 1073857 w 6884782"/>
              <a:gd name="connsiteY17577" fmla="*/ 4440375 h 5973007"/>
              <a:gd name="connsiteX17578" fmla="*/ 1072928 w 6884782"/>
              <a:gd name="connsiteY17578" fmla="*/ 4439445 h 5973007"/>
              <a:gd name="connsiteX17579" fmla="*/ 1073548 w 6884782"/>
              <a:gd name="connsiteY17579" fmla="*/ 4436864 h 5973007"/>
              <a:gd name="connsiteX17580" fmla="*/ 5497686 w 6884782"/>
              <a:gd name="connsiteY17580" fmla="*/ 4436675 h 5973007"/>
              <a:gd name="connsiteX17581" fmla="*/ 5500319 w 6884782"/>
              <a:gd name="connsiteY17581" fmla="*/ 4436675 h 5973007"/>
              <a:gd name="connsiteX17582" fmla="*/ 5499235 w 6884782"/>
              <a:gd name="connsiteY17582" fmla="*/ 4438431 h 5973007"/>
              <a:gd name="connsiteX17583" fmla="*/ 5495207 w 6884782"/>
              <a:gd name="connsiteY17583" fmla="*/ 4442768 h 5973007"/>
              <a:gd name="connsiteX17584" fmla="*/ 5494123 w 6884782"/>
              <a:gd name="connsiteY17584" fmla="*/ 4441322 h 5973007"/>
              <a:gd name="connsiteX17585" fmla="*/ 5494743 w 6884782"/>
              <a:gd name="connsiteY17585" fmla="*/ 4440083 h 5973007"/>
              <a:gd name="connsiteX17586" fmla="*/ 5496601 w 6884782"/>
              <a:gd name="connsiteY17586" fmla="*/ 4438328 h 5973007"/>
              <a:gd name="connsiteX17587" fmla="*/ 5497686 w 6884782"/>
              <a:gd name="connsiteY17587" fmla="*/ 4436675 h 5973007"/>
              <a:gd name="connsiteX17588" fmla="*/ 5970584 w 6884782"/>
              <a:gd name="connsiteY17588" fmla="*/ 4436159 h 5973007"/>
              <a:gd name="connsiteX17589" fmla="*/ 5974767 w 6884782"/>
              <a:gd name="connsiteY17589" fmla="*/ 4438431 h 5973007"/>
              <a:gd name="connsiteX17590" fmla="*/ 5975851 w 6884782"/>
              <a:gd name="connsiteY17590" fmla="*/ 4441838 h 5973007"/>
              <a:gd name="connsiteX17591" fmla="*/ 5976625 w 6884782"/>
              <a:gd name="connsiteY17591" fmla="*/ 4443284 h 5973007"/>
              <a:gd name="connsiteX17592" fmla="*/ 5989946 w 6884782"/>
              <a:gd name="connsiteY17592" fmla="*/ 4438121 h 5973007"/>
              <a:gd name="connsiteX17593" fmla="*/ 5991185 w 6884782"/>
              <a:gd name="connsiteY17593" fmla="*/ 4442045 h 5973007"/>
              <a:gd name="connsiteX17594" fmla="*/ 5991650 w 6884782"/>
              <a:gd name="connsiteY17594" fmla="*/ 4446691 h 5973007"/>
              <a:gd name="connsiteX17595" fmla="*/ 5995832 w 6884782"/>
              <a:gd name="connsiteY17595" fmla="*/ 4449686 h 5973007"/>
              <a:gd name="connsiteX17596" fmla="*/ 5996762 w 6884782"/>
              <a:gd name="connsiteY17596" fmla="*/ 4456707 h 5973007"/>
              <a:gd name="connsiteX17597" fmla="*/ 5991031 w 6884782"/>
              <a:gd name="connsiteY17597" fmla="*/ 4458359 h 5973007"/>
              <a:gd name="connsiteX17598" fmla="*/ 5986693 w 6884782"/>
              <a:gd name="connsiteY17598" fmla="*/ 4458153 h 5973007"/>
              <a:gd name="connsiteX17599" fmla="*/ 5980807 w 6884782"/>
              <a:gd name="connsiteY17599" fmla="*/ 4453197 h 5973007"/>
              <a:gd name="connsiteX17600" fmla="*/ 5983596 w 6884782"/>
              <a:gd name="connsiteY17600" fmla="*/ 4450202 h 5973007"/>
              <a:gd name="connsiteX17601" fmla="*/ 5970429 w 6884782"/>
              <a:gd name="connsiteY17601" fmla="*/ 4454745 h 5973007"/>
              <a:gd name="connsiteX17602" fmla="*/ 5959432 w 6884782"/>
              <a:gd name="connsiteY17602" fmla="*/ 4458359 h 5973007"/>
              <a:gd name="connsiteX17603" fmla="*/ 5960826 w 6884782"/>
              <a:gd name="connsiteY17603" fmla="*/ 4461354 h 5973007"/>
              <a:gd name="connsiteX17604" fmla="*/ 5962220 w 6884782"/>
              <a:gd name="connsiteY17604" fmla="*/ 4473331 h 5973007"/>
              <a:gd name="connsiteX17605" fmla="*/ 5960516 w 6884782"/>
              <a:gd name="connsiteY17605" fmla="*/ 4481075 h 5973007"/>
              <a:gd name="connsiteX17606" fmla="*/ 5952152 w 6884782"/>
              <a:gd name="connsiteY17606" fmla="*/ 4467136 h 5973007"/>
              <a:gd name="connsiteX17607" fmla="*/ 5936972 w 6884782"/>
              <a:gd name="connsiteY17607" fmla="*/ 4473744 h 5973007"/>
              <a:gd name="connsiteX17608" fmla="*/ 5950912 w 6884782"/>
              <a:gd name="connsiteY17608" fmla="*/ 4459082 h 5973007"/>
              <a:gd name="connsiteX17609" fmla="*/ 5952307 w 6884782"/>
              <a:gd name="connsiteY17609" fmla="*/ 4451647 h 5973007"/>
              <a:gd name="connsiteX17610" fmla="*/ 5953391 w 6884782"/>
              <a:gd name="connsiteY17610" fmla="*/ 4450615 h 5973007"/>
              <a:gd name="connsiteX17611" fmla="*/ 5953236 w 6884782"/>
              <a:gd name="connsiteY17611" fmla="*/ 4446381 h 5973007"/>
              <a:gd name="connsiteX17612" fmla="*/ 5959122 w 6884782"/>
              <a:gd name="connsiteY17612" fmla="*/ 4449273 h 5973007"/>
              <a:gd name="connsiteX17613" fmla="*/ 5958347 w 6884782"/>
              <a:gd name="connsiteY17613" fmla="*/ 4450925 h 5973007"/>
              <a:gd name="connsiteX17614" fmla="*/ 5956489 w 6884782"/>
              <a:gd name="connsiteY17614" fmla="*/ 4451957 h 5973007"/>
              <a:gd name="connsiteX17615" fmla="*/ 5957418 w 6884782"/>
              <a:gd name="connsiteY17615" fmla="*/ 4453816 h 5973007"/>
              <a:gd name="connsiteX17616" fmla="*/ 5958192 w 6884782"/>
              <a:gd name="connsiteY17616" fmla="*/ 4452887 h 5973007"/>
              <a:gd name="connsiteX17617" fmla="*/ 5965318 w 6884782"/>
              <a:gd name="connsiteY17617" fmla="*/ 4448343 h 5973007"/>
              <a:gd name="connsiteX17618" fmla="*/ 5969655 w 6884782"/>
              <a:gd name="connsiteY17618" fmla="*/ 4446278 h 5973007"/>
              <a:gd name="connsiteX17619" fmla="*/ 5967796 w 6884782"/>
              <a:gd name="connsiteY17619" fmla="*/ 4445349 h 5973007"/>
              <a:gd name="connsiteX17620" fmla="*/ 5963459 w 6884782"/>
              <a:gd name="connsiteY17620" fmla="*/ 4439670 h 5973007"/>
              <a:gd name="connsiteX17621" fmla="*/ 5970584 w 6884782"/>
              <a:gd name="connsiteY17621" fmla="*/ 4436159 h 5973007"/>
              <a:gd name="connsiteX17622" fmla="*/ 1462027 w 6884782"/>
              <a:gd name="connsiteY17622" fmla="*/ 4436141 h 5973007"/>
              <a:gd name="connsiteX17623" fmla="*/ 1466674 w 6884782"/>
              <a:gd name="connsiteY17623" fmla="*/ 4440994 h 5973007"/>
              <a:gd name="connsiteX17624" fmla="*/ 1470237 w 6884782"/>
              <a:gd name="connsiteY17624" fmla="*/ 4446467 h 5973007"/>
              <a:gd name="connsiteX17625" fmla="*/ 1465900 w 6884782"/>
              <a:gd name="connsiteY17625" fmla="*/ 4445021 h 5973007"/>
              <a:gd name="connsiteX17626" fmla="*/ 1466055 w 6884782"/>
              <a:gd name="connsiteY17626" fmla="*/ 4445125 h 5973007"/>
              <a:gd name="connsiteX17627" fmla="*/ 1466055 w 6884782"/>
              <a:gd name="connsiteY17627" fmla="*/ 4447086 h 5973007"/>
              <a:gd name="connsiteX17628" fmla="*/ 1463576 w 6884782"/>
              <a:gd name="connsiteY17628" fmla="*/ 4446570 h 5973007"/>
              <a:gd name="connsiteX17629" fmla="*/ 1463266 w 6884782"/>
              <a:gd name="connsiteY17629" fmla="*/ 4444608 h 5973007"/>
              <a:gd name="connsiteX17630" fmla="*/ 1462338 w 6884782"/>
              <a:gd name="connsiteY17630" fmla="*/ 4444505 h 5973007"/>
              <a:gd name="connsiteX17631" fmla="*/ 1459704 w 6884782"/>
              <a:gd name="connsiteY17631" fmla="*/ 4445434 h 5973007"/>
              <a:gd name="connsiteX17632" fmla="*/ 1461098 w 6884782"/>
              <a:gd name="connsiteY17632" fmla="*/ 4447190 h 5973007"/>
              <a:gd name="connsiteX17633" fmla="*/ 1460788 w 6884782"/>
              <a:gd name="connsiteY17633" fmla="*/ 4451320 h 5973007"/>
              <a:gd name="connsiteX17634" fmla="*/ 1460478 w 6884782"/>
              <a:gd name="connsiteY17634" fmla="*/ 4451526 h 5973007"/>
              <a:gd name="connsiteX17635" fmla="*/ 1460478 w 6884782"/>
              <a:gd name="connsiteY17635" fmla="*/ 4452249 h 5973007"/>
              <a:gd name="connsiteX17636" fmla="*/ 1460478 w 6884782"/>
              <a:gd name="connsiteY17636" fmla="*/ 4452662 h 5973007"/>
              <a:gd name="connsiteX17637" fmla="*/ 1461562 w 6884782"/>
              <a:gd name="connsiteY17637" fmla="*/ 4453075 h 5973007"/>
              <a:gd name="connsiteX17638" fmla="*/ 1464506 w 6884782"/>
              <a:gd name="connsiteY17638" fmla="*/ 4450184 h 5973007"/>
              <a:gd name="connsiteX17639" fmla="*/ 1470237 w 6884782"/>
              <a:gd name="connsiteY17639" fmla="*/ 4446467 h 5973007"/>
              <a:gd name="connsiteX17640" fmla="*/ 1471321 w 6884782"/>
              <a:gd name="connsiteY17640" fmla="*/ 4445641 h 5973007"/>
              <a:gd name="connsiteX17641" fmla="*/ 1478447 w 6884782"/>
              <a:gd name="connsiteY17641" fmla="*/ 4440168 h 5973007"/>
              <a:gd name="connsiteX17642" fmla="*/ 1498118 w 6884782"/>
              <a:gd name="connsiteY17642" fmla="*/ 4442130 h 5973007"/>
              <a:gd name="connsiteX17643" fmla="*/ 1517945 w 6884782"/>
              <a:gd name="connsiteY17643" fmla="*/ 4460613 h 5973007"/>
              <a:gd name="connsiteX17644" fmla="*/ 1521353 w 6884782"/>
              <a:gd name="connsiteY17644" fmla="*/ 4491693 h 5973007"/>
              <a:gd name="connsiteX17645" fmla="*/ 1516706 w 6884782"/>
              <a:gd name="connsiteY17645" fmla="*/ 4496030 h 5973007"/>
              <a:gd name="connsiteX17646" fmla="*/ 1516550 w 6884782"/>
              <a:gd name="connsiteY17646" fmla="*/ 4496340 h 5973007"/>
              <a:gd name="connsiteX17647" fmla="*/ 1514537 w 6884782"/>
              <a:gd name="connsiteY17647" fmla="*/ 4499024 h 5973007"/>
              <a:gd name="connsiteX17648" fmla="*/ 1514227 w 6884782"/>
              <a:gd name="connsiteY17648" fmla="*/ 4498611 h 5973007"/>
              <a:gd name="connsiteX17649" fmla="*/ 1509581 w 6884782"/>
              <a:gd name="connsiteY17649" fmla="*/ 4505013 h 5973007"/>
              <a:gd name="connsiteX17650" fmla="*/ 1510510 w 6884782"/>
              <a:gd name="connsiteY17650" fmla="*/ 4506252 h 5973007"/>
              <a:gd name="connsiteX17651" fmla="*/ 1512059 w 6884782"/>
              <a:gd name="connsiteY17651" fmla="*/ 4510589 h 5973007"/>
              <a:gd name="connsiteX17652" fmla="*/ 1511284 w 6884782"/>
              <a:gd name="connsiteY17652" fmla="*/ 4510899 h 5973007"/>
              <a:gd name="connsiteX17653" fmla="*/ 1509271 w 6884782"/>
              <a:gd name="connsiteY17653" fmla="*/ 4507388 h 5973007"/>
              <a:gd name="connsiteX17654" fmla="*/ 1508496 w 6884782"/>
              <a:gd name="connsiteY17654" fmla="*/ 4506252 h 5973007"/>
              <a:gd name="connsiteX17655" fmla="*/ 1506173 w 6884782"/>
              <a:gd name="connsiteY17655" fmla="*/ 4508834 h 5973007"/>
              <a:gd name="connsiteX17656" fmla="*/ 1508961 w 6884782"/>
              <a:gd name="connsiteY17656" fmla="*/ 4514100 h 5973007"/>
              <a:gd name="connsiteX17657" fmla="*/ 1503850 w 6884782"/>
              <a:gd name="connsiteY17657" fmla="*/ 4511931 h 5973007"/>
              <a:gd name="connsiteX17658" fmla="*/ 1503539 w 6884782"/>
              <a:gd name="connsiteY17658" fmla="*/ 4511518 h 5973007"/>
              <a:gd name="connsiteX17659" fmla="*/ 1503385 w 6884782"/>
              <a:gd name="connsiteY17659" fmla="*/ 4511621 h 5973007"/>
              <a:gd name="connsiteX17660" fmla="*/ 1495175 w 6884782"/>
              <a:gd name="connsiteY17660" fmla="*/ 4514409 h 5973007"/>
              <a:gd name="connsiteX17661" fmla="*/ 1483868 w 6884782"/>
              <a:gd name="connsiteY17661" fmla="*/ 4509866 h 5973007"/>
              <a:gd name="connsiteX17662" fmla="*/ 1483403 w 6884782"/>
              <a:gd name="connsiteY17662" fmla="*/ 4509866 h 5973007"/>
              <a:gd name="connsiteX17663" fmla="*/ 1483558 w 6884782"/>
              <a:gd name="connsiteY17663" fmla="*/ 4510176 h 5973007"/>
              <a:gd name="connsiteX17664" fmla="*/ 1482938 w 6884782"/>
              <a:gd name="connsiteY17664" fmla="*/ 4510382 h 5973007"/>
              <a:gd name="connsiteX17665" fmla="*/ 1481854 w 6884782"/>
              <a:gd name="connsiteY17665" fmla="*/ 4510692 h 5973007"/>
              <a:gd name="connsiteX17666" fmla="*/ 1481389 w 6884782"/>
              <a:gd name="connsiteY17666" fmla="*/ 4510692 h 5973007"/>
              <a:gd name="connsiteX17667" fmla="*/ 1480615 w 6884782"/>
              <a:gd name="connsiteY17667" fmla="*/ 4509763 h 5973007"/>
              <a:gd name="connsiteX17668" fmla="*/ 1479066 w 6884782"/>
              <a:gd name="connsiteY17668" fmla="*/ 4509660 h 5973007"/>
              <a:gd name="connsiteX17669" fmla="*/ 1474419 w 6884782"/>
              <a:gd name="connsiteY17669" fmla="*/ 4509040 h 5973007"/>
              <a:gd name="connsiteX17670" fmla="*/ 1466055 w 6884782"/>
              <a:gd name="connsiteY17670" fmla="*/ 4499850 h 5973007"/>
              <a:gd name="connsiteX17671" fmla="*/ 1463886 w 6884782"/>
              <a:gd name="connsiteY17671" fmla="*/ 4496443 h 5973007"/>
              <a:gd name="connsiteX17672" fmla="*/ 1461717 w 6884782"/>
              <a:gd name="connsiteY17672" fmla="*/ 4493862 h 5973007"/>
              <a:gd name="connsiteX17673" fmla="*/ 1461562 w 6884782"/>
              <a:gd name="connsiteY17673" fmla="*/ 4493552 h 5973007"/>
              <a:gd name="connsiteX17674" fmla="*/ 1455522 w 6884782"/>
              <a:gd name="connsiteY17674" fmla="*/ 4489731 h 5973007"/>
              <a:gd name="connsiteX17675" fmla="*/ 1451804 w 6884782"/>
              <a:gd name="connsiteY17675" fmla="*/ 4483536 h 5973007"/>
              <a:gd name="connsiteX17676" fmla="*/ 1452889 w 6884782"/>
              <a:gd name="connsiteY17676" fmla="*/ 4476102 h 5973007"/>
              <a:gd name="connsiteX17677" fmla="*/ 1453198 w 6884782"/>
              <a:gd name="connsiteY17677" fmla="*/ 4475792 h 5973007"/>
              <a:gd name="connsiteX17678" fmla="*/ 1452889 w 6884782"/>
              <a:gd name="connsiteY17678" fmla="*/ 4471351 h 5973007"/>
              <a:gd name="connsiteX17679" fmla="*/ 1453818 w 6884782"/>
              <a:gd name="connsiteY17679" fmla="*/ 4465982 h 5973007"/>
              <a:gd name="connsiteX17680" fmla="*/ 1455057 w 6884782"/>
              <a:gd name="connsiteY17680" fmla="*/ 4467841 h 5973007"/>
              <a:gd name="connsiteX17681" fmla="*/ 1455057 w 6884782"/>
              <a:gd name="connsiteY17681" fmla="*/ 4463917 h 5973007"/>
              <a:gd name="connsiteX17682" fmla="*/ 1455212 w 6884782"/>
              <a:gd name="connsiteY17682" fmla="*/ 4463607 h 5973007"/>
              <a:gd name="connsiteX17683" fmla="*/ 1453508 w 6884782"/>
              <a:gd name="connsiteY17683" fmla="*/ 4457412 h 5973007"/>
              <a:gd name="connsiteX17684" fmla="*/ 1454127 w 6884782"/>
              <a:gd name="connsiteY17684" fmla="*/ 4455553 h 5973007"/>
              <a:gd name="connsiteX17685" fmla="*/ 1452424 w 6884782"/>
              <a:gd name="connsiteY17685" fmla="*/ 4453178 h 5973007"/>
              <a:gd name="connsiteX17686" fmla="*/ 1449326 w 6884782"/>
              <a:gd name="connsiteY17686" fmla="*/ 4442234 h 5973007"/>
              <a:gd name="connsiteX17687" fmla="*/ 1452734 w 6884782"/>
              <a:gd name="connsiteY17687" fmla="*/ 4442749 h 5973007"/>
              <a:gd name="connsiteX17688" fmla="*/ 1452579 w 6884782"/>
              <a:gd name="connsiteY17688" fmla="*/ 4444505 h 5973007"/>
              <a:gd name="connsiteX17689" fmla="*/ 1454282 w 6884782"/>
              <a:gd name="connsiteY17689" fmla="*/ 4447086 h 5973007"/>
              <a:gd name="connsiteX17690" fmla="*/ 1454902 w 6884782"/>
              <a:gd name="connsiteY17690" fmla="*/ 4448739 h 5973007"/>
              <a:gd name="connsiteX17691" fmla="*/ 1455367 w 6884782"/>
              <a:gd name="connsiteY17691" fmla="*/ 4446880 h 5973007"/>
              <a:gd name="connsiteX17692" fmla="*/ 1456606 w 6884782"/>
              <a:gd name="connsiteY17692" fmla="*/ 4444815 h 5973007"/>
              <a:gd name="connsiteX17693" fmla="*/ 1458465 w 6884782"/>
              <a:gd name="connsiteY17693" fmla="*/ 4444815 h 5973007"/>
              <a:gd name="connsiteX17694" fmla="*/ 1458929 w 6884782"/>
              <a:gd name="connsiteY17694" fmla="*/ 4444815 h 5973007"/>
              <a:gd name="connsiteX17695" fmla="*/ 1459549 w 6884782"/>
              <a:gd name="connsiteY17695" fmla="*/ 4440478 h 5973007"/>
              <a:gd name="connsiteX17696" fmla="*/ 1460169 w 6884782"/>
              <a:gd name="connsiteY17696" fmla="*/ 4439445 h 5973007"/>
              <a:gd name="connsiteX17697" fmla="*/ 1460014 w 6884782"/>
              <a:gd name="connsiteY17697" fmla="*/ 4438929 h 5973007"/>
              <a:gd name="connsiteX17698" fmla="*/ 1459859 w 6884782"/>
              <a:gd name="connsiteY17698" fmla="*/ 4437793 h 5973007"/>
              <a:gd name="connsiteX17699" fmla="*/ 1460633 w 6884782"/>
              <a:gd name="connsiteY17699" fmla="*/ 4438310 h 5973007"/>
              <a:gd name="connsiteX17700" fmla="*/ 1460788 w 6884782"/>
              <a:gd name="connsiteY17700" fmla="*/ 4438413 h 5973007"/>
              <a:gd name="connsiteX17701" fmla="*/ 5653976 w 6884782"/>
              <a:gd name="connsiteY17701" fmla="*/ 4435849 h 5973007"/>
              <a:gd name="connsiteX17702" fmla="*/ 5640036 w 6884782"/>
              <a:gd name="connsiteY17702" fmla="*/ 4455881 h 5973007"/>
              <a:gd name="connsiteX17703" fmla="*/ 5631981 w 6884782"/>
              <a:gd name="connsiteY17703" fmla="*/ 4453919 h 5973007"/>
              <a:gd name="connsiteX17704" fmla="*/ 5631981 w 6884782"/>
              <a:gd name="connsiteY17704" fmla="*/ 4445452 h 5973007"/>
              <a:gd name="connsiteX17705" fmla="*/ 5653976 w 6884782"/>
              <a:gd name="connsiteY17705" fmla="*/ 4435849 h 5973007"/>
              <a:gd name="connsiteX17706" fmla="*/ 981384 w 6884782"/>
              <a:gd name="connsiteY17706" fmla="*/ 4435832 h 5973007"/>
              <a:gd name="connsiteX17707" fmla="*/ 978286 w 6884782"/>
              <a:gd name="connsiteY17707" fmla="*/ 4440478 h 5973007"/>
              <a:gd name="connsiteX17708" fmla="*/ 980145 w 6884782"/>
              <a:gd name="connsiteY17708" fmla="*/ 4441924 h 5973007"/>
              <a:gd name="connsiteX17709" fmla="*/ 981229 w 6884782"/>
              <a:gd name="connsiteY17709" fmla="*/ 4449255 h 5973007"/>
              <a:gd name="connsiteX17710" fmla="*/ 980919 w 6884782"/>
              <a:gd name="connsiteY17710" fmla="*/ 4450287 h 5973007"/>
              <a:gd name="connsiteX17711" fmla="*/ 991297 w 6884782"/>
              <a:gd name="connsiteY17711" fmla="*/ 4449977 h 5973007"/>
              <a:gd name="connsiteX17712" fmla="*/ 994240 w 6884782"/>
              <a:gd name="connsiteY17712" fmla="*/ 4449668 h 5973007"/>
              <a:gd name="connsiteX17713" fmla="*/ 994705 w 6884782"/>
              <a:gd name="connsiteY17713" fmla="*/ 4448739 h 5973007"/>
              <a:gd name="connsiteX17714" fmla="*/ 997028 w 6884782"/>
              <a:gd name="connsiteY17714" fmla="*/ 4446054 h 5973007"/>
              <a:gd name="connsiteX17715" fmla="*/ 999352 w 6884782"/>
              <a:gd name="connsiteY17715" fmla="*/ 4448532 h 5973007"/>
              <a:gd name="connsiteX17716" fmla="*/ 999507 w 6884782"/>
              <a:gd name="connsiteY17716" fmla="*/ 4449048 h 5973007"/>
              <a:gd name="connsiteX17717" fmla="*/ 999817 w 6884782"/>
              <a:gd name="connsiteY17717" fmla="*/ 4449048 h 5973007"/>
              <a:gd name="connsiteX17718" fmla="*/ 999662 w 6884782"/>
              <a:gd name="connsiteY17718" fmla="*/ 4449461 h 5973007"/>
              <a:gd name="connsiteX17719" fmla="*/ 999972 w 6884782"/>
              <a:gd name="connsiteY17719" fmla="*/ 4450494 h 5973007"/>
              <a:gd name="connsiteX17720" fmla="*/ 999817 w 6884782"/>
              <a:gd name="connsiteY17720" fmla="*/ 4453282 h 5973007"/>
              <a:gd name="connsiteX17721" fmla="*/ 998577 w 6884782"/>
              <a:gd name="connsiteY17721" fmla="*/ 4454934 h 5973007"/>
              <a:gd name="connsiteX17722" fmla="*/ 997028 w 6884782"/>
              <a:gd name="connsiteY17722" fmla="*/ 4456896 h 5973007"/>
              <a:gd name="connsiteX17723" fmla="*/ 996564 w 6884782"/>
              <a:gd name="connsiteY17723" fmla="*/ 4456999 h 5973007"/>
              <a:gd name="connsiteX17724" fmla="*/ 996255 w 6884782"/>
              <a:gd name="connsiteY17724" fmla="*/ 4458444 h 5973007"/>
              <a:gd name="connsiteX17725" fmla="*/ 996255 w 6884782"/>
              <a:gd name="connsiteY17725" fmla="*/ 4467841 h 5973007"/>
              <a:gd name="connsiteX17726" fmla="*/ 997958 w 6884782"/>
              <a:gd name="connsiteY17726" fmla="*/ 4467944 h 5973007"/>
              <a:gd name="connsiteX17727" fmla="*/ 1002140 w 6884782"/>
              <a:gd name="connsiteY17727" fmla="*/ 4469803 h 5973007"/>
              <a:gd name="connsiteX17728" fmla="*/ 997028 w 6884782"/>
              <a:gd name="connsiteY17728" fmla="*/ 4476102 h 5973007"/>
              <a:gd name="connsiteX17729" fmla="*/ 995170 w 6884782"/>
              <a:gd name="connsiteY17729" fmla="*/ 4475895 h 5973007"/>
              <a:gd name="connsiteX17730" fmla="*/ 994550 w 6884782"/>
              <a:gd name="connsiteY17730" fmla="*/ 4477547 h 5973007"/>
              <a:gd name="connsiteX17731" fmla="*/ 992072 w 6884782"/>
              <a:gd name="connsiteY17731" fmla="*/ 4481161 h 5973007"/>
              <a:gd name="connsiteX17732" fmla="*/ 966979 w 6884782"/>
              <a:gd name="connsiteY17732" fmla="*/ 4482194 h 5973007"/>
              <a:gd name="connsiteX17733" fmla="*/ 966514 w 6884782"/>
              <a:gd name="connsiteY17733" fmla="*/ 4481677 h 5973007"/>
              <a:gd name="connsiteX17734" fmla="*/ 965275 w 6884782"/>
              <a:gd name="connsiteY17734" fmla="*/ 4483846 h 5973007"/>
              <a:gd name="connsiteX17735" fmla="*/ 966979 w 6884782"/>
              <a:gd name="connsiteY17735" fmla="*/ 4483949 h 5973007"/>
              <a:gd name="connsiteX17736" fmla="*/ 968218 w 6884782"/>
              <a:gd name="connsiteY17736" fmla="*/ 4489215 h 5973007"/>
              <a:gd name="connsiteX17737" fmla="*/ 963416 w 6884782"/>
              <a:gd name="connsiteY17737" fmla="*/ 4489421 h 5973007"/>
              <a:gd name="connsiteX17738" fmla="*/ 961712 w 6884782"/>
              <a:gd name="connsiteY17738" fmla="*/ 4488182 h 5973007"/>
              <a:gd name="connsiteX17739" fmla="*/ 956911 w 6884782"/>
              <a:gd name="connsiteY17739" fmla="*/ 4490867 h 5973007"/>
              <a:gd name="connsiteX17740" fmla="*/ 952728 w 6884782"/>
              <a:gd name="connsiteY17740" fmla="*/ 4491280 h 5973007"/>
              <a:gd name="connsiteX17741" fmla="*/ 947927 w 6884782"/>
              <a:gd name="connsiteY17741" fmla="*/ 4490764 h 5973007"/>
              <a:gd name="connsiteX17742" fmla="*/ 935999 w 6884782"/>
              <a:gd name="connsiteY17742" fmla="*/ 4482503 h 5973007"/>
              <a:gd name="connsiteX17743" fmla="*/ 933521 w 6884782"/>
              <a:gd name="connsiteY17743" fmla="*/ 4479922 h 5973007"/>
              <a:gd name="connsiteX17744" fmla="*/ 932282 w 6884782"/>
              <a:gd name="connsiteY17744" fmla="*/ 4479612 h 5973007"/>
              <a:gd name="connsiteX17745" fmla="*/ 929339 w 6884782"/>
              <a:gd name="connsiteY17745" fmla="*/ 4478270 h 5973007"/>
              <a:gd name="connsiteX17746" fmla="*/ 928874 w 6884782"/>
              <a:gd name="connsiteY17746" fmla="*/ 4476824 h 5973007"/>
              <a:gd name="connsiteX17747" fmla="*/ 931043 w 6884782"/>
              <a:gd name="connsiteY17747" fmla="*/ 4477134 h 5973007"/>
              <a:gd name="connsiteX17748" fmla="*/ 930269 w 6884782"/>
              <a:gd name="connsiteY17748" fmla="*/ 4476514 h 5973007"/>
              <a:gd name="connsiteX17749" fmla="*/ 923453 w 6884782"/>
              <a:gd name="connsiteY17749" fmla="*/ 4470422 h 5973007"/>
              <a:gd name="connsiteX17750" fmla="*/ 933831 w 6884782"/>
              <a:gd name="connsiteY17750" fmla="*/ 4464434 h 5973007"/>
              <a:gd name="connsiteX17751" fmla="*/ 936464 w 6884782"/>
              <a:gd name="connsiteY17751" fmla="*/ 4461026 h 5973007"/>
              <a:gd name="connsiteX17752" fmla="*/ 935844 w 6884782"/>
              <a:gd name="connsiteY17752" fmla="*/ 4460303 h 5973007"/>
              <a:gd name="connsiteX17753" fmla="*/ 935690 w 6884782"/>
              <a:gd name="connsiteY17753" fmla="*/ 4460510 h 5973007"/>
              <a:gd name="connsiteX17754" fmla="*/ 932592 w 6884782"/>
              <a:gd name="connsiteY17754" fmla="*/ 4454831 h 5973007"/>
              <a:gd name="connsiteX17755" fmla="*/ 941266 w 6884782"/>
              <a:gd name="connsiteY17755" fmla="*/ 4455244 h 5973007"/>
              <a:gd name="connsiteX17756" fmla="*/ 941576 w 6884782"/>
              <a:gd name="connsiteY17756" fmla="*/ 4455450 h 5973007"/>
              <a:gd name="connsiteX17757" fmla="*/ 944519 w 6884782"/>
              <a:gd name="connsiteY17757" fmla="*/ 4453901 h 5973007"/>
              <a:gd name="connsiteX17758" fmla="*/ 948546 w 6884782"/>
              <a:gd name="connsiteY17758" fmla="*/ 4453385 h 5973007"/>
              <a:gd name="connsiteX17759" fmla="*/ 954587 w 6884782"/>
              <a:gd name="connsiteY17759" fmla="*/ 4454831 h 5973007"/>
              <a:gd name="connsiteX17760" fmla="*/ 954897 w 6884782"/>
              <a:gd name="connsiteY17760" fmla="*/ 4452869 h 5973007"/>
              <a:gd name="connsiteX17761" fmla="*/ 958770 w 6884782"/>
              <a:gd name="connsiteY17761" fmla="*/ 4456793 h 5973007"/>
              <a:gd name="connsiteX17762" fmla="*/ 958615 w 6884782"/>
              <a:gd name="connsiteY17762" fmla="*/ 4456999 h 5973007"/>
              <a:gd name="connsiteX17763" fmla="*/ 962022 w 6884782"/>
              <a:gd name="connsiteY17763" fmla="*/ 4459787 h 5973007"/>
              <a:gd name="connsiteX17764" fmla="*/ 963571 w 6884782"/>
              <a:gd name="connsiteY17764" fmla="*/ 4453592 h 5973007"/>
              <a:gd name="connsiteX17765" fmla="*/ 966205 w 6884782"/>
              <a:gd name="connsiteY17765" fmla="*/ 4447396 h 5973007"/>
              <a:gd name="connsiteX17766" fmla="*/ 972555 w 6884782"/>
              <a:gd name="connsiteY17766" fmla="*/ 4438103 h 5973007"/>
              <a:gd name="connsiteX17767" fmla="*/ 972865 w 6884782"/>
              <a:gd name="connsiteY17767" fmla="*/ 4438103 h 5973007"/>
              <a:gd name="connsiteX17768" fmla="*/ 974259 w 6884782"/>
              <a:gd name="connsiteY17768" fmla="*/ 4436038 h 5973007"/>
              <a:gd name="connsiteX17769" fmla="*/ 981384 w 6884782"/>
              <a:gd name="connsiteY17769" fmla="*/ 4435832 h 5973007"/>
              <a:gd name="connsiteX17770" fmla="*/ 1034204 w 6884782"/>
              <a:gd name="connsiteY17770" fmla="*/ 4435728 h 5973007"/>
              <a:gd name="connsiteX17771" fmla="*/ 1058832 w 6884782"/>
              <a:gd name="connsiteY17771" fmla="*/ 4443782 h 5973007"/>
              <a:gd name="connsiteX17772" fmla="*/ 1050468 w 6884782"/>
              <a:gd name="connsiteY17772" fmla="*/ 4451216 h 5973007"/>
              <a:gd name="connsiteX17773" fmla="*/ 1034513 w 6884782"/>
              <a:gd name="connsiteY17773" fmla="*/ 4441201 h 5973007"/>
              <a:gd name="connsiteX17774" fmla="*/ 1034359 w 6884782"/>
              <a:gd name="connsiteY17774" fmla="*/ 4437897 h 5973007"/>
              <a:gd name="connsiteX17775" fmla="*/ 1033894 w 6884782"/>
              <a:gd name="connsiteY17775" fmla="*/ 4437897 h 5973007"/>
              <a:gd name="connsiteX17776" fmla="*/ 1032964 w 6884782"/>
              <a:gd name="connsiteY17776" fmla="*/ 4437380 h 5973007"/>
              <a:gd name="connsiteX17777" fmla="*/ 1027078 w 6884782"/>
              <a:gd name="connsiteY17777" fmla="*/ 4439136 h 5973007"/>
              <a:gd name="connsiteX17778" fmla="*/ 1025684 w 6884782"/>
              <a:gd name="connsiteY17778" fmla="*/ 4438103 h 5973007"/>
              <a:gd name="connsiteX17779" fmla="*/ 1027388 w 6884782"/>
              <a:gd name="connsiteY17779" fmla="*/ 4436038 h 5973007"/>
              <a:gd name="connsiteX17780" fmla="*/ 1030022 w 6884782"/>
              <a:gd name="connsiteY17780" fmla="*/ 4437277 h 5973007"/>
              <a:gd name="connsiteX17781" fmla="*/ 1033429 w 6884782"/>
              <a:gd name="connsiteY17781" fmla="*/ 4436244 h 5973007"/>
              <a:gd name="connsiteX17782" fmla="*/ 1034359 w 6884782"/>
              <a:gd name="connsiteY17782" fmla="*/ 4436554 h 5973007"/>
              <a:gd name="connsiteX17783" fmla="*/ 1197619 w 6884782"/>
              <a:gd name="connsiteY17783" fmla="*/ 4435418 h 5973007"/>
              <a:gd name="connsiteX17784" fmla="*/ 1192198 w 6884782"/>
              <a:gd name="connsiteY17784" fmla="*/ 4454727 h 5973007"/>
              <a:gd name="connsiteX17785" fmla="*/ 1193437 w 6884782"/>
              <a:gd name="connsiteY17785" fmla="*/ 4465260 h 5973007"/>
              <a:gd name="connsiteX17786" fmla="*/ 1182130 w 6884782"/>
              <a:gd name="connsiteY17786" fmla="*/ 4458341 h 5973007"/>
              <a:gd name="connsiteX17787" fmla="*/ 1179806 w 6884782"/>
              <a:gd name="connsiteY17787" fmla="*/ 4455347 h 5973007"/>
              <a:gd name="connsiteX17788" fmla="*/ 1179651 w 6884782"/>
              <a:gd name="connsiteY17788" fmla="*/ 4455450 h 5973007"/>
              <a:gd name="connsiteX17789" fmla="*/ 1175934 w 6884782"/>
              <a:gd name="connsiteY17789" fmla="*/ 4458548 h 5973007"/>
              <a:gd name="connsiteX17790" fmla="*/ 1173301 w 6884782"/>
              <a:gd name="connsiteY17790" fmla="*/ 4458238 h 5973007"/>
              <a:gd name="connsiteX17791" fmla="*/ 1170667 w 6884782"/>
              <a:gd name="connsiteY17791" fmla="*/ 4453592 h 5973007"/>
              <a:gd name="connsiteX17792" fmla="*/ 1170822 w 6884782"/>
              <a:gd name="connsiteY17792" fmla="*/ 4451836 h 5973007"/>
              <a:gd name="connsiteX17793" fmla="*/ 1170667 w 6884782"/>
              <a:gd name="connsiteY17793" fmla="*/ 4451836 h 5973007"/>
              <a:gd name="connsiteX17794" fmla="*/ 1170977 w 6884782"/>
              <a:gd name="connsiteY17794" fmla="*/ 4451526 h 5973007"/>
              <a:gd name="connsiteX17795" fmla="*/ 1170977 w 6884782"/>
              <a:gd name="connsiteY17795" fmla="*/ 4450804 h 5973007"/>
              <a:gd name="connsiteX17796" fmla="*/ 1170203 w 6884782"/>
              <a:gd name="connsiteY17796" fmla="*/ 4451113 h 5973007"/>
              <a:gd name="connsiteX17797" fmla="*/ 1164781 w 6884782"/>
              <a:gd name="connsiteY17797" fmla="*/ 4450494 h 5973007"/>
              <a:gd name="connsiteX17798" fmla="*/ 1167105 w 6884782"/>
              <a:gd name="connsiteY17798" fmla="*/ 4445538 h 5973007"/>
              <a:gd name="connsiteX17799" fmla="*/ 1167724 w 6884782"/>
              <a:gd name="connsiteY17799" fmla="*/ 4445641 h 5973007"/>
              <a:gd name="connsiteX17800" fmla="*/ 1167879 w 6884782"/>
              <a:gd name="connsiteY17800" fmla="*/ 4445538 h 5973007"/>
              <a:gd name="connsiteX17801" fmla="*/ 1168344 w 6884782"/>
              <a:gd name="connsiteY17801" fmla="*/ 4443369 h 5973007"/>
              <a:gd name="connsiteX17802" fmla="*/ 1171597 w 6884782"/>
              <a:gd name="connsiteY17802" fmla="*/ 4444505 h 5973007"/>
              <a:gd name="connsiteX17803" fmla="*/ 1171907 w 6884782"/>
              <a:gd name="connsiteY17803" fmla="*/ 4445434 h 5973007"/>
              <a:gd name="connsiteX17804" fmla="*/ 1172371 w 6884782"/>
              <a:gd name="connsiteY17804" fmla="*/ 4445331 h 5973007"/>
              <a:gd name="connsiteX17805" fmla="*/ 1173146 w 6884782"/>
              <a:gd name="connsiteY17805" fmla="*/ 4443885 h 5973007"/>
              <a:gd name="connsiteX17806" fmla="*/ 1172526 w 6884782"/>
              <a:gd name="connsiteY17806" fmla="*/ 4442234 h 5973007"/>
              <a:gd name="connsiteX17807" fmla="*/ 1175624 w 6884782"/>
              <a:gd name="connsiteY17807" fmla="*/ 4441614 h 5973007"/>
              <a:gd name="connsiteX17808" fmla="*/ 1178257 w 6884782"/>
              <a:gd name="connsiteY17808" fmla="*/ 4440684 h 5973007"/>
              <a:gd name="connsiteX17809" fmla="*/ 1180890 w 6884782"/>
              <a:gd name="connsiteY17809" fmla="*/ 4442234 h 5973007"/>
              <a:gd name="connsiteX17810" fmla="*/ 1180890 w 6884782"/>
              <a:gd name="connsiteY17810" fmla="*/ 4443266 h 5973007"/>
              <a:gd name="connsiteX17811" fmla="*/ 1187242 w 6884782"/>
              <a:gd name="connsiteY17811" fmla="*/ 4448945 h 5973007"/>
              <a:gd name="connsiteX17812" fmla="*/ 1197619 w 6884782"/>
              <a:gd name="connsiteY17812" fmla="*/ 4435418 h 5973007"/>
              <a:gd name="connsiteX17813" fmla="*/ 969302 w 6884782"/>
              <a:gd name="connsiteY17813" fmla="*/ 4434386 h 5973007"/>
              <a:gd name="connsiteX17814" fmla="*/ 968992 w 6884782"/>
              <a:gd name="connsiteY17814" fmla="*/ 4434696 h 5973007"/>
              <a:gd name="connsiteX17815" fmla="*/ 968992 w 6884782"/>
              <a:gd name="connsiteY17815" fmla="*/ 4435418 h 5973007"/>
              <a:gd name="connsiteX17816" fmla="*/ 5460201 w 6884782"/>
              <a:gd name="connsiteY17816" fmla="*/ 4434094 h 5973007"/>
              <a:gd name="connsiteX17817" fmla="*/ 5445176 w 6884782"/>
              <a:gd name="connsiteY17817" fmla="*/ 4441838 h 5973007"/>
              <a:gd name="connsiteX17818" fmla="*/ 5445486 w 6884782"/>
              <a:gd name="connsiteY17818" fmla="*/ 4438328 h 5973007"/>
              <a:gd name="connsiteX17819" fmla="*/ 5447189 w 6884782"/>
              <a:gd name="connsiteY17819" fmla="*/ 4438328 h 5973007"/>
              <a:gd name="connsiteX17820" fmla="*/ 5460201 w 6884782"/>
              <a:gd name="connsiteY17820" fmla="*/ 4434094 h 5973007"/>
              <a:gd name="connsiteX17821" fmla="*/ 1511749 w 6884782"/>
              <a:gd name="connsiteY17821" fmla="*/ 4433766 h 5973007"/>
              <a:gd name="connsiteX17822" fmla="*/ 1512214 w 6884782"/>
              <a:gd name="connsiteY17822" fmla="*/ 4434489 h 5973007"/>
              <a:gd name="connsiteX17823" fmla="*/ 1511904 w 6884782"/>
              <a:gd name="connsiteY17823" fmla="*/ 4435212 h 5973007"/>
              <a:gd name="connsiteX17824" fmla="*/ 1512524 w 6884782"/>
              <a:gd name="connsiteY17824" fmla="*/ 4434696 h 5973007"/>
              <a:gd name="connsiteX17825" fmla="*/ 5946110 w 6884782"/>
              <a:gd name="connsiteY17825" fmla="*/ 4433578 h 5973007"/>
              <a:gd name="connsiteX17826" fmla="*/ 5942858 w 6884782"/>
              <a:gd name="connsiteY17826" fmla="*/ 4438431 h 5973007"/>
              <a:gd name="connsiteX17827" fmla="*/ 5940999 w 6884782"/>
              <a:gd name="connsiteY17827" fmla="*/ 4434920 h 5973007"/>
              <a:gd name="connsiteX17828" fmla="*/ 5946110 w 6884782"/>
              <a:gd name="connsiteY17828" fmla="*/ 4433578 h 5973007"/>
              <a:gd name="connsiteX17829" fmla="*/ 1135197 w 6884782"/>
              <a:gd name="connsiteY17829" fmla="*/ 4433560 h 5973007"/>
              <a:gd name="connsiteX17830" fmla="*/ 1132563 w 6884782"/>
              <a:gd name="connsiteY17830" fmla="*/ 4450494 h 5973007"/>
              <a:gd name="connsiteX17831" fmla="*/ 1131324 w 6884782"/>
              <a:gd name="connsiteY17831" fmla="*/ 4451939 h 5973007"/>
              <a:gd name="connsiteX17832" fmla="*/ 1129310 w 6884782"/>
              <a:gd name="connsiteY17832" fmla="*/ 4451526 h 5973007"/>
              <a:gd name="connsiteX17833" fmla="*/ 1128535 w 6884782"/>
              <a:gd name="connsiteY17833" fmla="*/ 4440168 h 5973007"/>
              <a:gd name="connsiteX17834" fmla="*/ 1129930 w 6884782"/>
              <a:gd name="connsiteY17834" fmla="*/ 4438310 h 5973007"/>
              <a:gd name="connsiteX17835" fmla="*/ 1130549 w 6884782"/>
              <a:gd name="connsiteY17835" fmla="*/ 4436451 h 5973007"/>
              <a:gd name="connsiteX17836" fmla="*/ 1135197 w 6884782"/>
              <a:gd name="connsiteY17836" fmla="*/ 4433560 h 5973007"/>
              <a:gd name="connsiteX17837" fmla="*/ 1698554 w 6884782"/>
              <a:gd name="connsiteY17837" fmla="*/ 4432837 h 5973007"/>
              <a:gd name="connsiteX17838" fmla="*/ 1701187 w 6884782"/>
              <a:gd name="connsiteY17838" fmla="*/ 4434696 h 5973007"/>
              <a:gd name="connsiteX17839" fmla="*/ 1701187 w 6884782"/>
              <a:gd name="connsiteY17839" fmla="*/ 4434799 h 5973007"/>
              <a:gd name="connsiteX17840" fmla="*/ 1702426 w 6884782"/>
              <a:gd name="connsiteY17840" fmla="*/ 4437483 h 5973007"/>
              <a:gd name="connsiteX17841" fmla="*/ 1701032 w 6884782"/>
              <a:gd name="connsiteY17841" fmla="*/ 4441407 h 5973007"/>
              <a:gd name="connsiteX17842" fmla="*/ 1700103 w 6884782"/>
              <a:gd name="connsiteY17842" fmla="*/ 4441304 h 5973007"/>
              <a:gd name="connsiteX17843" fmla="*/ 1700103 w 6884782"/>
              <a:gd name="connsiteY17843" fmla="*/ 4443782 h 5973007"/>
              <a:gd name="connsiteX17844" fmla="*/ 1698554 w 6884782"/>
              <a:gd name="connsiteY17844" fmla="*/ 4450391 h 5973007"/>
              <a:gd name="connsiteX17845" fmla="*/ 1698864 w 6884782"/>
              <a:gd name="connsiteY17845" fmla="*/ 4443782 h 5973007"/>
              <a:gd name="connsiteX17846" fmla="*/ 1699174 w 6884782"/>
              <a:gd name="connsiteY17846" fmla="*/ 4441304 h 5973007"/>
              <a:gd name="connsiteX17847" fmla="*/ 1697934 w 6884782"/>
              <a:gd name="connsiteY17847" fmla="*/ 4441201 h 5973007"/>
              <a:gd name="connsiteX17848" fmla="*/ 1692358 w 6884782"/>
              <a:gd name="connsiteY17848" fmla="*/ 4433457 h 5973007"/>
              <a:gd name="connsiteX17849" fmla="*/ 1698554 w 6884782"/>
              <a:gd name="connsiteY17849" fmla="*/ 4432837 h 5973007"/>
              <a:gd name="connsiteX17850" fmla="*/ 1656577 w 6884782"/>
              <a:gd name="connsiteY17850" fmla="*/ 4431908 h 5973007"/>
              <a:gd name="connsiteX17851" fmla="*/ 1657662 w 6884782"/>
              <a:gd name="connsiteY17851" fmla="*/ 4436244 h 5973007"/>
              <a:gd name="connsiteX17852" fmla="*/ 1655028 w 6884782"/>
              <a:gd name="connsiteY17852" fmla="*/ 4436864 h 5973007"/>
              <a:gd name="connsiteX17853" fmla="*/ 1654253 w 6884782"/>
              <a:gd name="connsiteY17853" fmla="*/ 4433353 h 5973007"/>
              <a:gd name="connsiteX17854" fmla="*/ 1656577 w 6884782"/>
              <a:gd name="connsiteY17854" fmla="*/ 4431908 h 5973007"/>
              <a:gd name="connsiteX17855" fmla="*/ 5757137 w 6884782"/>
              <a:gd name="connsiteY17855" fmla="*/ 4431822 h 5973007"/>
              <a:gd name="connsiteX17856" fmla="*/ 5762249 w 6884782"/>
              <a:gd name="connsiteY17856" fmla="*/ 4437295 h 5973007"/>
              <a:gd name="connsiteX17857" fmla="*/ 5759151 w 6884782"/>
              <a:gd name="connsiteY17857" fmla="*/ 4440702 h 5973007"/>
              <a:gd name="connsiteX17858" fmla="*/ 5753265 w 6884782"/>
              <a:gd name="connsiteY17858" fmla="*/ 4436882 h 5973007"/>
              <a:gd name="connsiteX17859" fmla="*/ 5757137 w 6884782"/>
              <a:gd name="connsiteY17859" fmla="*/ 4431822 h 5973007"/>
              <a:gd name="connsiteX17860" fmla="*/ 1168498 w 6884782"/>
              <a:gd name="connsiteY17860" fmla="*/ 4431495 h 5973007"/>
              <a:gd name="connsiteX17861" fmla="*/ 1171597 w 6884782"/>
              <a:gd name="connsiteY17861" fmla="*/ 4435625 h 5973007"/>
              <a:gd name="connsiteX17862" fmla="*/ 1164317 w 6884782"/>
              <a:gd name="connsiteY17862" fmla="*/ 4439858 h 5973007"/>
              <a:gd name="connsiteX17863" fmla="*/ 1161993 w 6884782"/>
              <a:gd name="connsiteY17863" fmla="*/ 4439755 h 5973007"/>
              <a:gd name="connsiteX17864" fmla="*/ 1168498 w 6884782"/>
              <a:gd name="connsiteY17864" fmla="*/ 4431495 h 5973007"/>
              <a:gd name="connsiteX17865" fmla="*/ 1204900 w 6884782"/>
              <a:gd name="connsiteY17865" fmla="*/ 4431391 h 5973007"/>
              <a:gd name="connsiteX17866" fmla="*/ 1208152 w 6884782"/>
              <a:gd name="connsiteY17866" fmla="*/ 4431908 h 5973007"/>
              <a:gd name="connsiteX17867" fmla="*/ 1208927 w 6884782"/>
              <a:gd name="connsiteY17867" fmla="*/ 4434696 h 5973007"/>
              <a:gd name="connsiteX17868" fmla="*/ 1204900 w 6884782"/>
              <a:gd name="connsiteY17868" fmla="*/ 4431391 h 5973007"/>
              <a:gd name="connsiteX17869" fmla="*/ 5820490 w 6884782"/>
              <a:gd name="connsiteY17869" fmla="*/ 4430996 h 5973007"/>
              <a:gd name="connsiteX17870" fmla="*/ 5822194 w 6884782"/>
              <a:gd name="connsiteY17870" fmla="*/ 4430996 h 5973007"/>
              <a:gd name="connsiteX17871" fmla="*/ 5821109 w 6884782"/>
              <a:gd name="connsiteY17871" fmla="*/ 4434404 h 5973007"/>
              <a:gd name="connsiteX17872" fmla="*/ 5819715 w 6884782"/>
              <a:gd name="connsiteY17872" fmla="*/ 4433578 h 5973007"/>
              <a:gd name="connsiteX17873" fmla="*/ 5819250 w 6884782"/>
              <a:gd name="connsiteY17873" fmla="*/ 4434301 h 5973007"/>
              <a:gd name="connsiteX17874" fmla="*/ 5818476 w 6884782"/>
              <a:gd name="connsiteY17874" fmla="*/ 4432752 h 5973007"/>
              <a:gd name="connsiteX17875" fmla="*/ 5818941 w 6884782"/>
              <a:gd name="connsiteY17875" fmla="*/ 4432029 h 5973007"/>
              <a:gd name="connsiteX17876" fmla="*/ 5818786 w 6884782"/>
              <a:gd name="connsiteY17876" fmla="*/ 4431719 h 5973007"/>
              <a:gd name="connsiteX17877" fmla="*/ 5820490 w 6884782"/>
              <a:gd name="connsiteY17877" fmla="*/ 4430996 h 5973007"/>
              <a:gd name="connsiteX17878" fmla="*/ 1337646 w 6884782"/>
              <a:gd name="connsiteY17878" fmla="*/ 4430978 h 5973007"/>
              <a:gd name="connsiteX17879" fmla="*/ 1344771 w 6884782"/>
              <a:gd name="connsiteY17879" fmla="*/ 4435935 h 5973007"/>
              <a:gd name="connsiteX17880" fmla="*/ 1342912 w 6884782"/>
              <a:gd name="connsiteY17880" fmla="*/ 4436554 h 5973007"/>
              <a:gd name="connsiteX17881" fmla="*/ 1341053 w 6884782"/>
              <a:gd name="connsiteY17881" fmla="*/ 4436038 h 5973007"/>
              <a:gd name="connsiteX17882" fmla="*/ 1338110 w 6884782"/>
              <a:gd name="connsiteY17882" fmla="*/ 4432940 h 5973007"/>
              <a:gd name="connsiteX17883" fmla="*/ 1337646 w 6884782"/>
              <a:gd name="connsiteY17883" fmla="*/ 4430978 h 5973007"/>
              <a:gd name="connsiteX17884" fmla="*/ 1202421 w 6884782"/>
              <a:gd name="connsiteY17884" fmla="*/ 4430875 h 5973007"/>
              <a:gd name="connsiteX17885" fmla="*/ 1204280 w 6884782"/>
              <a:gd name="connsiteY17885" fmla="*/ 4431185 h 5973007"/>
              <a:gd name="connsiteX17886" fmla="*/ 1204280 w 6884782"/>
              <a:gd name="connsiteY17886" fmla="*/ 4431908 h 5973007"/>
              <a:gd name="connsiteX17887" fmla="*/ 1202421 w 6884782"/>
              <a:gd name="connsiteY17887" fmla="*/ 4430875 h 5973007"/>
              <a:gd name="connsiteX17888" fmla="*/ 1459549 w 6884782"/>
              <a:gd name="connsiteY17888" fmla="*/ 4430566 h 5973007"/>
              <a:gd name="connsiteX17889" fmla="*/ 1462492 w 6884782"/>
              <a:gd name="connsiteY17889" fmla="*/ 4432940 h 5973007"/>
              <a:gd name="connsiteX17890" fmla="*/ 1460943 w 6884782"/>
              <a:gd name="connsiteY17890" fmla="*/ 4435935 h 5973007"/>
              <a:gd name="connsiteX17891" fmla="*/ 1458929 w 6884782"/>
              <a:gd name="connsiteY17891" fmla="*/ 4437071 h 5973007"/>
              <a:gd name="connsiteX17892" fmla="*/ 1458465 w 6884782"/>
              <a:gd name="connsiteY17892" fmla="*/ 4437380 h 5973007"/>
              <a:gd name="connsiteX17893" fmla="*/ 1451495 w 6884782"/>
              <a:gd name="connsiteY17893" fmla="*/ 4439445 h 5973007"/>
              <a:gd name="connsiteX17894" fmla="*/ 1459549 w 6884782"/>
              <a:gd name="connsiteY17894" fmla="*/ 4430566 h 5973007"/>
              <a:gd name="connsiteX17895" fmla="*/ 1700103 w 6884782"/>
              <a:gd name="connsiteY17895" fmla="*/ 4430256 h 5973007"/>
              <a:gd name="connsiteX17896" fmla="*/ 1700877 w 6884782"/>
              <a:gd name="connsiteY17896" fmla="*/ 4430359 h 5973007"/>
              <a:gd name="connsiteX17897" fmla="*/ 1700258 w 6884782"/>
              <a:gd name="connsiteY17897" fmla="*/ 4432217 h 5973007"/>
              <a:gd name="connsiteX17898" fmla="*/ 1700103 w 6884782"/>
              <a:gd name="connsiteY17898" fmla="*/ 4430256 h 5973007"/>
              <a:gd name="connsiteX17899" fmla="*/ 1804813 w 6884782"/>
              <a:gd name="connsiteY17899" fmla="*/ 4430152 h 5973007"/>
              <a:gd name="connsiteX17900" fmla="*/ 1811783 w 6884782"/>
              <a:gd name="connsiteY17900" fmla="*/ 4432631 h 5973007"/>
              <a:gd name="connsiteX17901" fmla="*/ 1809305 w 6884782"/>
              <a:gd name="connsiteY17901" fmla="*/ 4441510 h 5973007"/>
              <a:gd name="connsiteX17902" fmla="*/ 1801405 w 6884782"/>
              <a:gd name="connsiteY17902" fmla="*/ 4432631 h 5973007"/>
              <a:gd name="connsiteX17903" fmla="*/ 1804813 w 6884782"/>
              <a:gd name="connsiteY17903" fmla="*/ 4430152 h 5973007"/>
              <a:gd name="connsiteX17904" fmla="*/ 5467326 w 6884782"/>
              <a:gd name="connsiteY17904" fmla="*/ 4430067 h 5973007"/>
              <a:gd name="connsiteX17905" fmla="*/ 5463609 w 6884782"/>
              <a:gd name="connsiteY17905" fmla="*/ 4432648 h 5973007"/>
              <a:gd name="connsiteX17906" fmla="*/ 5462834 w 6884782"/>
              <a:gd name="connsiteY17906" fmla="*/ 4431719 h 5973007"/>
              <a:gd name="connsiteX17907" fmla="*/ 5467326 w 6884782"/>
              <a:gd name="connsiteY17907" fmla="*/ 4430067 h 5973007"/>
              <a:gd name="connsiteX17908" fmla="*/ 5454237 w 6884782"/>
              <a:gd name="connsiteY17908" fmla="*/ 4429757 h 5973007"/>
              <a:gd name="connsiteX17909" fmla="*/ 5458807 w 6884782"/>
              <a:gd name="connsiteY17909" fmla="*/ 4429964 h 5973007"/>
              <a:gd name="connsiteX17910" fmla="*/ 5458807 w 6884782"/>
              <a:gd name="connsiteY17910" fmla="*/ 4430790 h 5973007"/>
              <a:gd name="connsiteX17911" fmla="*/ 5449978 w 6884782"/>
              <a:gd name="connsiteY17911" fmla="*/ 4432648 h 5973007"/>
              <a:gd name="connsiteX17912" fmla="*/ 5446880 w 6884782"/>
              <a:gd name="connsiteY17912" fmla="*/ 4432235 h 5973007"/>
              <a:gd name="connsiteX17913" fmla="*/ 5447654 w 6884782"/>
              <a:gd name="connsiteY17913" fmla="*/ 4432235 h 5973007"/>
              <a:gd name="connsiteX17914" fmla="*/ 5446880 w 6884782"/>
              <a:gd name="connsiteY17914" fmla="*/ 4431409 h 5973007"/>
              <a:gd name="connsiteX17915" fmla="*/ 5454237 w 6884782"/>
              <a:gd name="connsiteY17915" fmla="*/ 4429757 h 5973007"/>
              <a:gd name="connsiteX17916" fmla="*/ 665706 w 6884782"/>
              <a:gd name="connsiteY17916" fmla="*/ 4429739 h 5973007"/>
              <a:gd name="connsiteX17917" fmla="*/ 667099 w 6884782"/>
              <a:gd name="connsiteY17917" fmla="*/ 4430669 h 5973007"/>
              <a:gd name="connsiteX17918" fmla="*/ 666480 w 6884782"/>
              <a:gd name="connsiteY17918" fmla="*/ 4433043 h 5973007"/>
              <a:gd name="connsiteX17919" fmla="*/ 661988 w 6884782"/>
              <a:gd name="connsiteY17919" fmla="*/ 4435832 h 5973007"/>
              <a:gd name="connsiteX17920" fmla="*/ 660594 w 6884782"/>
              <a:gd name="connsiteY17920" fmla="*/ 4434799 h 5973007"/>
              <a:gd name="connsiteX17921" fmla="*/ 665706 w 6884782"/>
              <a:gd name="connsiteY17921" fmla="*/ 4429739 h 5973007"/>
              <a:gd name="connsiteX17922" fmla="*/ 1199169 w 6884782"/>
              <a:gd name="connsiteY17922" fmla="*/ 4429533 h 5973007"/>
              <a:gd name="connsiteX17923" fmla="*/ 1199943 w 6884782"/>
              <a:gd name="connsiteY17923" fmla="*/ 4431288 h 5973007"/>
              <a:gd name="connsiteX17924" fmla="*/ 1198084 w 6884782"/>
              <a:gd name="connsiteY17924" fmla="*/ 4430256 h 5973007"/>
              <a:gd name="connsiteX17925" fmla="*/ 1199169 w 6884782"/>
              <a:gd name="connsiteY17925" fmla="*/ 4429533 h 5973007"/>
              <a:gd name="connsiteX17926" fmla="*/ 5956334 w 6884782"/>
              <a:gd name="connsiteY17926" fmla="*/ 4429447 h 5973007"/>
              <a:gd name="connsiteX17927" fmla="*/ 5957573 w 6884782"/>
              <a:gd name="connsiteY17927" fmla="*/ 4433578 h 5973007"/>
              <a:gd name="connsiteX17928" fmla="*/ 5954475 w 6884782"/>
              <a:gd name="connsiteY17928" fmla="*/ 4431512 h 5973007"/>
              <a:gd name="connsiteX17929" fmla="*/ 5956334 w 6884782"/>
              <a:gd name="connsiteY17929" fmla="*/ 4429447 h 5973007"/>
              <a:gd name="connsiteX17930" fmla="*/ 1777396 w 6884782"/>
              <a:gd name="connsiteY17930" fmla="*/ 4429326 h 5973007"/>
              <a:gd name="connsiteX17931" fmla="*/ 1779720 w 6884782"/>
              <a:gd name="connsiteY17931" fmla="*/ 4457928 h 5973007"/>
              <a:gd name="connsiteX17932" fmla="*/ 1776002 w 6884782"/>
              <a:gd name="connsiteY17932" fmla="*/ 4459064 h 5973007"/>
              <a:gd name="connsiteX17933" fmla="*/ 1763146 w 6884782"/>
              <a:gd name="connsiteY17933" fmla="*/ 4447706 h 5973007"/>
              <a:gd name="connsiteX17934" fmla="*/ 1762991 w 6884782"/>
              <a:gd name="connsiteY17934" fmla="*/ 4445847 h 5973007"/>
              <a:gd name="connsiteX17935" fmla="*/ 1761752 w 6884782"/>
              <a:gd name="connsiteY17935" fmla="*/ 4444608 h 5973007"/>
              <a:gd name="connsiteX17936" fmla="*/ 1761132 w 6884782"/>
              <a:gd name="connsiteY17936" fmla="*/ 4441614 h 5973007"/>
              <a:gd name="connsiteX17937" fmla="*/ 1762836 w 6884782"/>
              <a:gd name="connsiteY17937" fmla="*/ 4443163 h 5973007"/>
              <a:gd name="connsiteX17938" fmla="*/ 1762836 w 6884782"/>
              <a:gd name="connsiteY17938" fmla="*/ 4441098 h 5973007"/>
              <a:gd name="connsiteX17939" fmla="*/ 1777396 w 6884782"/>
              <a:gd name="connsiteY17939" fmla="*/ 4429326 h 5973007"/>
              <a:gd name="connsiteX17940" fmla="*/ 726580 w 6884782"/>
              <a:gd name="connsiteY17940" fmla="*/ 4429016 h 5973007"/>
              <a:gd name="connsiteX17941" fmla="*/ 730607 w 6884782"/>
              <a:gd name="connsiteY17941" fmla="*/ 4445125 h 5973007"/>
              <a:gd name="connsiteX17942" fmla="*/ 727664 w 6884782"/>
              <a:gd name="connsiteY17942" fmla="*/ 4446364 h 5973007"/>
              <a:gd name="connsiteX17943" fmla="*/ 723327 w 6884782"/>
              <a:gd name="connsiteY17943" fmla="*/ 4442234 h 5973007"/>
              <a:gd name="connsiteX17944" fmla="*/ 721623 w 6884782"/>
              <a:gd name="connsiteY17944" fmla="*/ 4438826 h 5973007"/>
              <a:gd name="connsiteX17945" fmla="*/ 722088 w 6884782"/>
              <a:gd name="connsiteY17945" fmla="*/ 4435212 h 5973007"/>
              <a:gd name="connsiteX17946" fmla="*/ 722397 w 6884782"/>
              <a:gd name="connsiteY17946" fmla="*/ 4429223 h 5973007"/>
              <a:gd name="connsiteX17947" fmla="*/ 726580 w 6884782"/>
              <a:gd name="connsiteY17947" fmla="*/ 4429016 h 5973007"/>
              <a:gd name="connsiteX17948" fmla="*/ 1010969 w 6884782"/>
              <a:gd name="connsiteY17948" fmla="*/ 4428810 h 5973007"/>
              <a:gd name="connsiteX17949" fmla="*/ 1006942 w 6884782"/>
              <a:gd name="connsiteY17949" fmla="*/ 4437277 h 5973007"/>
              <a:gd name="connsiteX17950" fmla="*/ 1010969 w 6884782"/>
              <a:gd name="connsiteY17950" fmla="*/ 4428810 h 5973007"/>
              <a:gd name="connsiteX17951" fmla="*/ 1705834 w 6884782"/>
              <a:gd name="connsiteY17951" fmla="*/ 4428604 h 5973007"/>
              <a:gd name="connsiteX17952" fmla="*/ 1705215 w 6884782"/>
              <a:gd name="connsiteY17952" fmla="*/ 4435005 h 5973007"/>
              <a:gd name="connsiteX17953" fmla="*/ 1704440 w 6884782"/>
              <a:gd name="connsiteY17953" fmla="*/ 4433973 h 5973007"/>
              <a:gd name="connsiteX17954" fmla="*/ 1704750 w 6884782"/>
              <a:gd name="connsiteY17954" fmla="*/ 4432321 h 5973007"/>
              <a:gd name="connsiteX17955" fmla="*/ 1705834 w 6884782"/>
              <a:gd name="connsiteY17955" fmla="*/ 4428604 h 5973007"/>
              <a:gd name="connsiteX17956" fmla="*/ 1721943 w 6884782"/>
              <a:gd name="connsiteY17956" fmla="*/ 4428500 h 5973007"/>
              <a:gd name="connsiteX17957" fmla="*/ 1723957 w 6884782"/>
              <a:gd name="connsiteY17957" fmla="*/ 4429533 h 5973007"/>
              <a:gd name="connsiteX17958" fmla="*/ 1725197 w 6884782"/>
              <a:gd name="connsiteY17958" fmla="*/ 4434386 h 5973007"/>
              <a:gd name="connsiteX17959" fmla="*/ 1721788 w 6884782"/>
              <a:gd name="connsiteY17959" fmla="*/ 4436658 h 5973007"/>
              <a:gd name="connsiteX17960" fmla="*/ 1718381 w 6884782"/>
              <a:gd name="connsiteY17960" fmla="*/ 4436967 h 5973007"/>
              <a:gd name="connsiteX17961" fmla="*/ 1722563 w 6884782"/>
              <a:gd name="connsiteY17961" fmla="*/ 4440994 h 5973007"/>
              <a:gd name="connsiteX17962" fmla="*/ 1721478 w 6884782"/>
              <a:gd name="connsiteY17962" fmla="*/ 4444711 h 5973007"/>
              <a:gd name="connsiteX17963" fmla="*/ 1719000 w 6884782"/>
              <a:gd name="connsiteY17963" fmla="*/ 4446880 h 5973007"/>
              <a:gd name="connsiteX17964" fmla="*/ 1725661 w 6884782"/>
              <a:gd name="connsiteY17964" fmla="*/ 4449151 h 5973007"/>
              <a:gd name="connsiteX17965" fmla="*/ 1730772 w 6884782"/>
              <a:gd name="connsiteY17965" fmla="*/ 4452559 h 5973007"/>
              <a:gd name="connsiteX17966" fmla="*/ 1731237 w 6884782"/>
              <a:gd name="connsiteY17966" fmla="*/ 4449771 h 5973007"/>
              <a:gd name="connsiteX17967" fmla="*/ 1743164 w 6884782"/>
              <a:gd name="connsiteY17967" fmla="*/ 4446880 h 5973007"/>
              <a:gd name="connsiteX17968" fmla="*/ 1742234 w 6884782"/>
              <a:gd name="connsiteY17968" fmla="*/ 4454727 h 5973007"/>
              <a:gd name="connsiteX17969" fmla="*/ 1740066 w 6884782"/>
              <a:gd name="connsiteY17969" fmla="*/ 4455140 h 5973007"/>
              <a:gd name="connsiteX17970" fmla="*/ 1738982 w 6884782"/>
              <a:gd name="connsiteY17970" fmla="*/ 4455967 h 5973007"/>
              <a:gd name="connsiteX17971" fmla="*/ 1739756 w 6884782"/>
              <a:gd name="connsiteY17971" fmla="*/ 4458238 h 5973007"/>
              <a:gd name="connsiteX17972" fmla="*/ 1742544 w 6884782"/>
              <a:gd name="connsiteY17972" fmla="*/ 4461439 h 5973007"/>
              <a:gd name="connsiteX17973" fmla="*/ 1737278 w 6884782"/>
              <a:gd name="connsiteY17973" fmla="*/ 4462059 h 5973007"/>
              <a:gd name="connsiteX17974" fmla="*/ 1732321 w 6884782"/>
              <a:gd name="connsiteY17974" fmla="*/ 4460819 h 5973007"/>
              <a:gd name="connsiteX17975" fmla="*/ 1734335 w 6884782"/>
              <a:gd name="connsiteY17975" fmla="*/ 4455863 h 5973007"/>
              <a:gd name="connsiteX17976" fmla="*/ 1732321 w 6884782"/>
              <a:gd name="connsiteY17976" fmla="*/ 4455450 h 5973007"/>
              <a:gd name="connsiteX17977" fmla="*/ 1730308 w 6884782"/>
              <a:gd name="connsiteY17977" fmla="*/ 4454108 h 5973007"/>
              <a:gd name="connsiteX17978" fmla="*/ 1730617 w 6884782"/>
              <a:gd name="connsiteY17978" fmla="*/ 4452766 h 5973007"/>
              <a:gd name="connsiteX17979" fmla="*/ 1725351 w 6884782"/>
              <a:gd name="connsiteY17979" fmla="*/ 4455037 h 5973007"/>
              <a:gd name="connsiteX17980" fmla="*/ 1721323 w 6884782"/>
              <a:gd name="connsiteY17980" fmla="*/ 4454934 h 5973007"/>
              <a:gd name="connsiteX17981" fmla="*/ 1709397 w 6884782"/>
              <a:gd name="connsiteY17981" fmla="*/ 4449461 h 5973007"/>
              <a:gd name="connsiteX17982" fmla="*/ 1710171 w 6884782"/>
              <a:gd name="connsiteY17982" fmla="*/ 4448739 h 5973007"/>
              <a:gd name="connsiteX17983" fmla="*/ 1707538 w 6884782"/>
              <a:gd name="connsiteY17983" fmla="*/ 4445021 h 5973007"/>
              <a:gd name="connsiteX17984" fmla="*/ 1712185 w 6884782"/>
              <a:gd name="connsiteY17984" fmla="*/ 4439652 h 5973007"/>
              <a:gd name="connsiteX17985" fmla="*/ 1718226 w 6884782"/>
              <a:gd name="connsiteY17985" fmla="*/ 4437071 h 5973007"/>
              <a:gd name="connsiteX17986" fmla="*/ 1717916 w 6884782"/>
              <a:gd name="connsiteY17986" fmla="*/ 4437071 h 5973007"/>
              <a:gd name="connsiteX17987" fmla="*/ 1716367 w 6884782"/>
              <a:gd name="connsiteY17987" fmla="*/ 4434489 h 5973007"/>
              <a:gd name="connsiteX17988" fmla="*/ 1717297 w 6884782"/>
              <a:gd name="connsiteY17988" fmla="*/ 4431082 h 5973007"/>
              <a:gd name="connsiteX17989" fmla="*/ 1719155 w 6884782"/>
              <a:gd name="connsiteY17989" fmla="*/ 4429016 h 5973007"/>
              <a:gd name="connsiteX17990" fmla="*/ 1721943 w 6884782"/>
              <a:gd name="connsiteY17990" fmla="*/ 4428500 h 5973007"/>
              <a:gd name="connsiteX17991" fmla="*/ 5837063 w 6884782"/>
              <a:gd name="connsiteY17991" fmla="*/ 4428415 h 5973007"/>
              <a:gd name="connsiteX17992" fmla="*/ 5838458 w 6884782"/>
              <a:gd name="connsiteY17992" fmla="*/ 4432029 h 5973007"/>
              <a:gd name="connsiteX17993" fmla="*/ 5830713 w 6884782"/>
              <a:gd name="connsiteY17993" fmla="*/ 4434094 h 5973007"/>
              <a:gd name="connsiteX17994" fmla="*/ 5824207 w 6884782"/>
              <a:gd name="connsiteY17994" fmla="*/ 4431409 h 5973007"/>
              <a:gd name="connsiteX17995" fmla="*/ 5824517 w 6884782"/>
              <a:gd name="connsiteY17995" fmla="*/ 4428931 h 5973007"/>
              <a:gd name="connsiteX17996" fmla="*/ 5837063 w 6884782"/>
              <a:gd name="connsiteY17996" fmla="*/ 4428415 h 5973007"/>
              <a:gd name="connsiteX17997" fmla="*/ 1360415 w 6884782"/>
              <a:gd name="connsiteY17997" fmla="*/ 4427984 h 5973007"/>
              <a:gd name="connsiteX17998" fmla="*/ 1362429 w 6884782"/>
              <a:gd name="connsiteY17998" fmla="*/ 4441201 h 5973007"/>
              <a:gd name="connsiteX17999" fmla="*/ 1356078 w 6884782"/>
              <a:gd name="connsiteY17999" fmla="*/ 4429843 h 5973007"/>
              <a:gd name="connsiteX18000" fmla="*/ 1360415 w 6884782"/>
              <a:gd name="connsiteY18000" fmla="*/ 4427984 h 5973007"/>
              <a:gd name="connsiteX18001" fmla="*/ 1082531 w 6884782"/>
              <a:gd name="connsiteY18001" fmla="*/ 4427881 h 5973007"/>
              <a:gd name="connsiteX18002" fmla="*/ 1083461 w 6884782"/>
              <a:gd name="connsiteY18002" fmla="*/ 4428707 h 5973007"/>
              <a:gd name="connsiteX18003" fmla="*/ 1081447 w 6884782"/>
              <a:gd name="connsiteY18003" fmla="*/ 4441407 h 5973007"/>
              <a:gd name="connsiteX18004" fmla="*/ 1080208 w 6884782"/>
              <a:gd name="connsiteY18004" fmla="*/ 4435418 h 5973007"/>
              <a:gd name="connsiteX18005" fmla="*/ 1082531 w 6884782"/>
              <a:gd name="connsiteY18005" fmla="*/ 4427881 h 5973007"/>
              <a:gd name="connsiteX18006" fmla="*/ 6289826 w 6884782"/>
              <a:gd name="connsiteY18006" fmla="*/ 4427796 h 5973007"/>
              <a:gd name="connsiteX18007" fmla="*/ 6288276 w 6884782"/>
              <a:gd name="connsiteY18007" fmla="*/ 4429138 h 5973007"/>
              <a:gd name="connsiteX18008" fmla="*/ 6289671 w 6884782"/>
              <a:gd name="connsiteY18008" fmla="*/ 4429654 h 5973007"/>
              <a:gd name="connsiteX18009" fmla="*/ 6295557 w 6884782"/>
              <a:gd name="connsiteY18009" fmla="*/ 4432029 h 5973007"/>
              <a:gd name="connsiteX18010" fmla="*/ 6298345 w 6884782"/>
              <a:gd name="connsiteY18010" fmla="*/ 4435746 h 5973007"/>
              <a:gd name="connsiteX18011" fmla="*/ 6298500 w 6884782"/>
              <a:gd name="connsiteY18011" fmla="*/ 4435849 h 5973007"/>
              <a:gd name="connsiteX18012" fmla="*/ 6306090 w 6884782"/>
              <a:gd name="connsiteY18012" fmla="*/ 4438637 h 5973007"/>
              <a:gd name="connsiteX18013" fmla="*/ 6307329 w 6884782"/>
              <a:gd name="connsiteY18013" fmla="*/ 4433578 h 5973007"/>
              <a:gd name="connsiteX18014" fmla="*/ 6307484 w 6884782"/>
              <a:gd name="connsiteY18014" fmla="*/ 4433268 h 5973007"/>
              <a:gd name="connsiteX18015" fmla="*/ 1674545 w 6884782"/>
              <a:gd name="connsiteY18015" fmla="*/ 4427468 h 5973007"/>
              <a:gd name="connsiteX18016" fmla="*/ 1682444 w 6884782"/>
              <a:gd name="connsiteY18016" fmla="*/ 4432011 h 5973007"/>
              <a:gd name="connsiteX18017" fmla="*/ 1677023 w 6884782"/>
              <a:gd name="connsiteY18017" fmla="*/ 4434179 h 5973007"/>
              <a:gd name="connsiteX18018" fmla="*/ 1672996 w 6884782"/>
              <a:gd name="connsiteY18018" fmla="*/ 4429223 h 5973007"/>
              <a:gd name="connsiteX18019" fmla="*/ 1674545 w 6884782"/>
              <a:gd name="connsiteY18019" fmla="*/ 4427468 h 5973007"/>
              <a:gd name="connsiteX18020" fmla="*/ 1066132 w 6884782"/>
              <a:gd name="connsiteY18020" fmla="*/ 4426074 h 5973007"/>
              <a:gd name="connsiteX18021" fmla="*/ 1077575 w 6884782"/>
              <a:gd name="connsiteY18021" fmla="*/ 4432424 h 5973007"/>
              <a:gd name="connsiteX18022" fmla="*/ 1066112 w 6884782"/>
              <a:gd name="connsiteY18022" fmla="*/ 4432837 h 5973007"/>
              <a:gd name="connsiteX18023" fmla="*/ 1053876 w 6884782"/>
              <a:gd name="connsiteY18023" fmla="*/ 4428707 h 5973007"/>
              <a:gd name="connsiteX18024" fmla="*/ 1066132 w 6884782"/>
              <a:gd name="connsiteY18024" fmla="*/ 4426074 h 5973007"/>
              <a:gd name="connsiteX18025" fmla="*/ 5714540 w 6884782"/>
              <a:gd name="connsiteY18025" fmla="*/ 4426040 h 5973007"/>
              <a:gd name="connsiteX18026" fmla="*/ 5716709 w 6884782"/>
              <a:gd name="connsiteY18026" fmla="*/ 4428518 h 5973007"/>
              <a:gd name="connsiteX18027" fmla="*/ 5715315 w 6884782"/>
              <a:gd name="connsiteY18027" fmla="*/ 4429344 h 5973007"/>
              <a:gd name="connsiteX18028" fmla="*/ 5715625 w 6884782"/>
              <a:gd name="connsiteY18028" fmla="*/ 4430067 h 5973007"/>
              <a:gd name="connsiteX18029" fmla="*/ 5713921 w 6884782"/>
              <a:gd name="connsiteY18029" fmla="*/ 4430273 h 5973007"/>
              <a:gd name="connsiteX18030" fmla="*/ 5713456 w 6884782"/>
              <a:gd name="connsiteY18030" fmla="*/ 4429551 h 5973007"/>
              <a:gd name="connsiteX18031" fmla="*/ 5713301 w 6884782"/>
              <a:gd name="connsiteY18031" fmla="*/ 4429447 h 5973007"/>
              <a:gd name="connsiteX18032" fmla="*/ 5713456 w 6884782"/>
              <a:gd name="connsiteY18032" fmla="*/ 4427692 h 5973007"/>
              <a:gd name="connsiteX18033" fmla="*/ 5714540 w 6884782"/>
              <a:gd name="connsiteY18033" fmla="*/ 4426040 h 5973007"/>
              <a:gd name="connsiteX18034" fmla="*/ 1702581 w 6884782"/>
              <a:gd name="connsiteY18034" fmla="*/ 4425403 h 5973007"/>
              <a:gd name="connsiteX18035" fmla="*/ 1700258 w 6884782"/>
              <a:gd name="connsiteY18035" fmla="*/ 4429739 h 5973007"/>
              <a:gd name="connsiteX18036" fmla="*/ 1700103 w 6884782"/>
              <a:gd name="connsiteY18036" fmla="*/ 4426125 h 5973007"/>
              <a:gd name="connsiteX18037" fmla="*/ 1702581 w 6884782"/>
              <a:gd name="connsiteY18037" fmla="*/ 4425403 h 5973007"/>
              <a:gd name="connsiteX18038" fmla="*/ 1184918 w 6884782"/>
              <a:gd name="connsiteY18038" fmla="*/ 4425403 h 5973007"/>
              <a:gd name="connsiteX18039" fmla="*/ 1198084 w 6884782"/>
              <a:gd name="connsiteY18039" fmla="*/ 4430049 h 5973007"/>
              <a:gd name="connsiteX18040" fmla="*/ 1184918 w 6884782"/>
              <a:gd name="connsiteY18040" fmla="*/ 4425403 h 5973007"/>
              <a:gd name="connsiteX18041" fmla="*/ 1107934 w 6884782"/>
              <a:gd name="connsiteY18041" fmla="*/ 4425196 h 5973007"/>
              <a:gd name="connsiteX18042" fmla="*/ 1105611 w 6884782"/>
              <a:gd name="connsiteY18042" fmla="*/ 4441924 h 5973007"/>
              <a:gd name="connsiteX18043" fmla="*/ 1120636 w 6884782"/>
              <a:gd name="connsiteY18043" fmla="*/ 4449151 h 5973007"/>
              <a:gd name="connsiteX18044" fmla="*/ 1116918 w 6884782"/>
              <a:gd name="connsiteY18044" fmla="*/ 4450907 h 5973007"/>
              <a:gd name="connsiteX18045" fmla="*/ 1117228 w 6884782"/>
              <a:gd name="connsiteY18045" fmla="*/ 4454108 h 5973007"/>
              <a:gd name="connsiteX18046" fmla="*/ 1116454 w 6884782"/>
              <a:gd name="connsiteY18046" fmla="*/ 4454934 h 5973007"/>
              <a:gd name="connsiteX18047" fmla="*/ 1117228 w 6884782"/>
              <a:gd name="connsiteY18047" fmla="*/ 4456173 h 5973007"/>
              <a:gd name="connsiteX18048" fmla="*/ 1118003 w 6884782"/>
              <a:gd name="connsiteY18048" fmla="*/ 4457206 h 5973007"/>
              <a:gd name="connsiteX18049" fmla="*/ 1116763 w 6884782"/>
              <a:gd name="connsiteY18049" fmla="*/ 4459168 h 5973007"/>
              <a:gd name="connsiteX18050" fmla="*/ 1115369 w 6884782"/>
              <a:gd name="connsiteY18050" fmla="*/ 4459064 h 5973007"/>
              <a:gd name="connsiteX18051" fmla="*/ 1114905 w 6884782"/>
              <a:gd name="connsiteY18051" fmla="*/ 4461026 h 5973007"/>
              <a:gd name="connsiteX18052" fmla="*/ 1110103 w 6884782"/>
              <a:gd name="connsiteY18052" fmla="*/ 4456276 h 5973007"/>
              <a:gd name="connsiteX18053" fmla="*/ 1111962 w 6884782"/>
              <a:gd name="connsiteY18053" fmla="*/ 4456999 h 5973007"/>
              <a:gd name="connsiteX18054" fmla="*/ 1110568 w 6884782"/>
              <a:gd name="connsiteY18054" fmla="*/ 4455553 h 5973007"/>
              <a:gd name="connsiteX18055" fmla="*/ 1109019 w 6884782"/>
              <a:gd name="connsiteY18055" fmla="*/ 4450287 h 5973007"/>
              <a:gd name="connsiteX18056" fmla="*/ 1111032 w 6884782"/>
              <a:gd name="connsiteY18056" fmla="*/ 4450287 h 5973007"/>
              <a:gd name="connsiteX18057" fmla="*/ 1106850 w 6884782"/>
              <a:gd name="connsiteY18057" fmla="*/ 4449255 h 5973007"/>
              <a:gd name="connsiteX18058" fmla="*/ 1101584 w 6884782"/>
              <a:gd name="connsiteY18058" fmla="*/ 4448635 h 5973007"/>
              <a:gd name="connsiteX18059" fmla="*/ 1096163 w 6884782"/>
              <a:gd name="connsiteY18059" fmla="*/ 4452869 h 5973007"/>
              <a:gd name="connsiteX18060" fmla="*/ 1092445 w 6884782"/>
              <a:gd name="connsiteY18060" fmla="*/ 4452662 h 5973007"/>
              <a:gd name="connsiteX18061" fmla="*/ 1102048 w 6884782"/>
              <a:gd name="connsiteY18061" fmla="*/ 4429533 h 5973007"/>
              <a:gd name="connsiteX18062" fmla="*/ 1107934 w 6884782"/>
              <a:gd name="connsiteY18062" fmla="*/ 4425196 h 5973007"/>
              <a:gd name="connsiteX18063" fmla="*/ 6275575 w 6884782"/>
              <a:gd name="connsiteY18063" fmla="*/ 4424595 h 5973007"/>
              <a:gd name="connsiteX18064" fmla="*/ 6275575 w 6884782"/>
              <a:gd name="connsiteY18064" fmla="*/ 4424698 h 5973007"/>
              <a:gd name="connsiteX18065" fmla="*/ 6274181 w 6884782"/>
              <a:gd name="connsiteY18065" fmla="*/ 4426350 h 5973007"/>
              <a:gd name="connsiteX18066" fmla="*/ 6276350 w 6884782"/>
              <a:gd name="connsiteY18066" fmla="*/ 4427589 h 5973007"/>
              <a:gd name="connsiteX18067" fmla="*/ 6276814 w 6884782"/>
              <a:gd name="connsiteY18067" fmla="*/ 4425834 h 5973007"/>
              <a:gd name="connsiteX18068" fmla="*/ 1241145 w 6884782"/>
              <a:gd name="connsiteY18068" fmla="*/ 4424370 h 5973007"/>
              <a:gd name="connsiteX18069" fmla="*/ 1245637 w 6884782"/>
              <a:gd name="connsiteY18069" fmla="*/ 4426848 h 5973007"/>
              <a:gd name="connsiteX18070" fmla="*/ 1247496 w 6884782"/>
              <a:gd name="connsiteY18070" fmla="*/ 4429843 h 5973007"/>
              <a:gd name="connsiteX18071" fmla="*/ 1247496 w 6884782"/>
              <a:gd name="connsiteY18071" fmla="*/ 4430049 h 5973007"/>
              <a:gd name="connsiteX18072" fmla="*/ 1252917 w 6884782"/>
              <a:gd name="connsiteY18072" fmla="*/ 4431908 h 5973007"/>
              <a:gd name="connsiteX18073" fmla="*/ 1253382 w 6884782"/>
              <a:gd name="connsiteY18073" fmla="*/ 4432321 h 5973007"/>
              <a:gd name="connsiteX18074" fmla="*/ 1253692 w 6884782"/>
              <a:gd name="connsiteY18074" fmla="*/ 4432424 h 5973007"/>
              <a:gd name="connsiteX18075" fmla="*/ 1264689 w 6884782"/>
              <a:gd name="connsiteY18075" fmla="*/ 4437483 h 5973007"/>
              <a:gd name="connsiteX18076" fmla="*/ 1257564 w 6884782"/>
              <a:gd name="connsiteY18076" fmla="*/ 4438826 h 5973007"/>
              <a:gd name="connsiteX18077" fmla="*/ 1257564 w 6884782"/>
              <a:gd name="connsiteY18077" fmla="*/ 4439342 h 5973007"/>
              <a:gd name="connsiteX18078" fmla="*/ 1260507 w 6884782"/>
              <a:gd name="connsiteY18078" fmla="*/ 4438516 h 5973007"/>
              <a:gd name="connsiteX18079" fmla="*/ 1263915 w 6884782"/>
              <a:gd name="connsiteY18079" fmla="*/ 4439652 h 5973007"/>
              <a:gd name="connsiteX18080" fmla="*/ 1260197 w 6884782"/>
              <a:gd name="connsiteY18080" fmla="*/ 4441201 h 5973007"/>
              <a:gd name="connsiteX18081" fmla="*/ 1258339 w 6884782"/>
              <a:gd name="connsiteY18081" fmla="*/ 4441614 h 5973007"/>
              <a:gd name="connsiteX18082" fmla="*/ 1257564 w 6884782"/>
              <a:gd name="connsiteY18082" fmla="*/ 4440375 h 5973007"/>
              <a:gd name="connsiteX18083" fmla="*/ 1257564 w 6884782"/>
              <a:gd name="connsiteY18083" fmla="*/ 4440684 h 5973007"/>
              <a:gd name="connsiteX18084" fmla="*/ 1255086 w 6884782"/>
              <a:gd name="connsiteY18084" fmla="*/ 4445641 h 5973007"/>
              <a:gd name="connsiteX18085" fmla="*/ 1249974 w 6884782"/>
              <a:gd name="connsiteY18085" fmla="*/ 4440065 h 5973007"/>
              <a:gd name="connsiteX18086" fmla="*/ 1249355 w 6884782"/>
              <a:gd name="connsiteY18086" fmla="*/ 4439549 h 5973007"/>
              <a:gd name="connsiteX18087" fmla="*/ 1245637 w 6884782"/>
              <a:gd name="connsiteY18087" fmla="*/ 4439342 h 5973007"/>
              <a:gd name="connsiteX18088" fmla="*/ 1244398 w 6884782"/>
              <a:gd name="connsiteY18088" fmla="*/ 4438826 h 5973007"/>
              <a:gd name="connsiteX18089" fmla="*/ 1242694 w 6884782"/>
              <a:gd name="connsiteY18089" fmla="*/ 4440065 h 5973007"/>
              <a:gd name="connsiteX18090" fmla="*/ 1240061 w 6884782"/>
              <a:gd name="connsiteY18090" fmla="*/ 4440272 h 5973007"/>
              <a:gd name="connsiteX18091" fmla="*/ 1232316 w 6884782"/>
              <a:gd name="connsiteY18091" fmla="*/ 4435728 h 5973007"/>
              <a:gd name="connsiteX18092" fmla="*/ 1232781 w 6884782"/>
              <a:gd name="connsiteY18092" fmla="*/ 4436451 h 5973007"/>
              <a:gd name="connsiteX18093" fmla="*/ 1229992 w 6884782"/>
              <a:gd name="connsiteY18093" fmla="*/ 4448532 h 5973007"/>
              <a:gd name="connsiteX18094" fmla="*/ 1229683 w 6884782"/>
              <a:gd name="connsiteY18094" fmla="*/ 4448739 h 5973007"/>
              <a:gd name="connsiteX18095" fmla="*/ 1229838 w 6884782"/>
              <a:gd name="connsiteY18095" fmla="*/ 4448945 h 5973007"/>
              <a:gd name="connsiteX18096" fmla="*/ 1229528 w 6884782"/>
              <a:gd name="connsiteY18096" fmla="*/ 4449048 h 5973007"/>
              <a:gd name="connsiteX18097" fmla="*/ 1228289 w 6884782"/>
              <a:gd name="connsiteY18097" fmla="*/ 4450184 h 5973007"/>
              <a:gd name="connsiteX18098" fmla="*/ 1227514 w 6884782"/>
              <a:gd name="connsiteY18098" fmla="*/ 4447500 h 5973007"/>
              <a:gd name="connsiteX18099" fmla="*/ 1227669 w 6884782"/>
              <a:gd name="connsiteY18099" fmla="*/ 4446364 h 5973007"/>
              <a:gd name="connsiteX18100" fmla="*/ 1227204 w 6884782"/>
              <a:gd name="connsiteY18100" fmla="*/ 4445538 h 5973007"/>
              <a:gd name="connsiteX18101" fmla="*/ 1227824 w 6884782"/>
              <a:gd name="connsiteY18101" fmla="*/ 4445125 h 5973007"/>
              <a:gd name="connsiteX18102" fmla="*/ 1228289 w 6884782"/>
              <a:gd name="connsiteY18102" fmla="*/ 4442749 h 5973007"/>
              <a:gd name="connsiteX18103" fmla="*/ 1227204 w 6884782"/>
              <a:gd name="connsiteY18103" fmla="*/ 4436864 h 5973007"/>
              <a:gd name="connsiteX18104" fmla="*/ 1229373 w 6884782"/>
              <a:gd name="connsiteY18104" fmla="*/ 4431185 h 5973007"/>
              <a:gd name="connsiteX18105" fmla="*/ 1231696 w 6884782"/>
              <a:gd name="connsiteY18105" fmla="*/ 4431805 h 5973007"/>
              <a:gd name="connsiteX18106" fmla="*/ 1232006 w 6884782"/>
              <a:gd name="connsiteY18106" fmla="*/ 4429430 h 5973007"/>
              <a:gd name="connsiteX18107" fmla="*/ 1241145 w 6884782"/>
              <a:gd name="connsiteY18107" fmla="*/ 4424370 h 5973007"/>
              <a:gd name="connsiteX18108" fmla="*/ 1616304 w 6884782"/>
              <a:gd name="connsiteY18108" fmla="*/ 4423544 h 5973007"/>
              <a:gd name="connsiteX18109" fmla="*/ 1613826 w 6884782"/>
              <a:gd name="connsiteY18109" fmla="*/ 4434696 h 5973007"/>
              <a:gd name="connsiteX18110" fmla="*/ 1611967 w 6884782"/>
              <a:gd name="connsiteY18110" fmla="*/ 4434696 h 5973007"/>
              <a:gd name="connsiteX18111" fmla="*/ 1609953 w 6884782"/>
              <a:gd name="connsiteY18111" fmla="*/ 4433663 h 5973007"/>
              <a:gd name="connsiteX18112" fmla="*/ 1616304 w 6884782"/>
              <a:gd name="connsiteY18112" fmla="*/ 4423544 h 5973007"/>
              <a:gd name="connsiteX18113" fmla="*/ 656566 w 6884782"/>
              <a:gd name="connsiteY18113" fmla="*/ 4423544 h 5973007"/>
              <a:gd name="connsiteX18114" fmla="*/ 659819 w 6884782"/>
              <a:gd name="connsiteY18114" fmla="*/ 4424473 h 5973007"/>
              <a:gd name="connsiteX18115" fmla="*/ 657341 w 6884782"/>
              <a:gd name="connsiteY18115" fmla="*/ 4426951 h 5973007"/>
              <a:gd name="connsiteX18116" fmla="*/ 656257 w 6884782"/>
              <a:gd name="connsiteY18116" fmla="*/ 4426125 h 5973007"/>
              <a:gd name="connsiteX18117" fmla="*/ 656566 w 6884782"/>
              <a:gd name="connsiteY18117" fmla="*/ 4423544 h 5973007"/>
              <a:gd name="connsiteX18118" fmla="*/ 1427350 w 6884782"/>
              <a:gd name="connsiteY18118" fmla="*/ 4423157 h 5973007"/>
              <a:gd name="connsiteX18119" fmla="*/ 1437708 w 6884782"/>
              <a:gd name="connsiteY18119" fmla="*/ 4427777 h 5973007"/>
              <a:gd name="connsiteX18120" fmla="*/ 1434611 w 6884782"/>
              <a:gd name="connsiteY18120" fmla="*/ 4433973 h 5973007"/>
              <a:gd name="connsiteX18121" fmla="*/ 1433681 w 6884782"/>
              <a:gd name="connsiteY18121" fmla="*/ 4434489 h 5973007"/>
              <a:gd name="connsiteX18122" fmla="*/ 1433217 w 6884782"/>
              <a:gd name="connsiteY18122" fmla="*/ 4437277 h 5973007"/>
              <a:gd name="connsiteX18123" fmla="*/ 1428105 w 6884782"/>
              <a:gd name="connsiteY18123" fmla="*/ 4443679 h 5973007"/>
              <a:gd name="connsiteX18124" fmla="*/ 1426401 w 6884782"/>
              <a:gd name="connsiteY18124" fmla="*/ 4440478 h 5973007"/>
              <a:gd name="connsiteX18125" fmla="*/ 1426711 w 6884782"/>
              <a:gd name="connsiteY18125" fmla="*/ 4437587 h 5973007"/>
              <a:gd name="connsiteX18126" fmla="*/ 1426246 w 6884782"/>
              <a:gd name="connsiteY18126" fmla="*/ 4437587 h 5973007"/>
              <a:gd name="connsiteX18127" fmla="*/ 1426401 w 6884782"/>
              <a:gd name="connsiteY18127" fmla="*/ 4441304 h 5973007"/>
              <a:gd name="connsiteX18128" fmla="*/ 1425472 w 6884782"/>
              <a:gd name="connsiteY18128" fmla="*/ 4440272 h 5973007"/>
              <a:gd name="connsiteX18129" fmla="*/ 1425627 w 6884782"/>
              <a:gd name="connsiteY18129" fmla="*/ 4438516 h 5973007"/>
              <a:gd name="connsiteX18130" fmla="*/ 1425781 w 6884782"/>
              <a:gd name="connsiteY18130" fmla="*/ 4437587 h 5973007"/>
              <a:gd name="connsiteX18131" fmla="*/ 1423768 w 6884782"/>
              <a:gd name="connsiteY18131" fmla="*/ 4437690 h 5973007"/>
              <a:gd name="connsiteX18132" fmla="*/ 1420360 w 6884782"/>
              <a:gd name="connsiteY18132" fmla="*/ 4429533 h 5973007"/>
              <a:gd name="connsiteX18133" fmla="*/ 1427350 w 6884782"/>
              <a:gd name="connsiteY18133" fmla="*/ 4423157 h 5973007"/>
              <a:gd name="connsiteX18134" fmla="*/ 5688111 w 6884782"/>
              <a:gd name="connsiteY18134" fmla="*/ 4422000 h 5973007"/>
              <a:gd name="connsiteX18135" fmla="*/ 5690996 w 6884782"/>
              <a:gd name="connsiteY18135" fmla="*/ 4432029 h 5973007"/>
              <a:gd name="connsiteX18136" fmla="*/ 5682322 w 6884782"/>
              <a:gd name="connsiteY18136" fmla="*/ 4429551 h 5973007"/>
              <a:gd name="connsiteX18137" fmla="*/ 5688111 w 6884782"/>
              <a:gd name="connsiteY18137" fmla="*/ 4422000 h 5973007"/>
              <a:gd name="connsiteX18138" fmla="*/ 1001366 w 6884782"/>
              <a:gd name="connsiteY18138" fmla="*/ 4421789 h 5973007"/>
              <a:gd name="connsiteX18139" fmla="*/ 1001521 w 6884782"/>
              <a:gd name="connsiteY18139" fmla="*/ 4423544 h 5973007"/>
              <a:gd name="connsiteX18140" fmla="*/ 1000901 w 6884782"/>
              <a:gd name="connsiteY18140" fmla="*/ 4423234 h 5973007"/>
              <a:gd name="connsiteX18141" fmla="*/ 1000746 w 6884782"/>
              <a:gd name="connsiteY18141" fmla="*/ 4422099 h 5973007"/>
              <a:gd name="connsiteX18142" fmla="*/ 1001366 w 6884782"/>
              <a:gd name="connsiteY18142" fmla="*/ 4421789 h 5973007"/>
              <a:gd name="connsiteX18143" fmla="*/ 1172061 w 6884782"/>
              <a:gd name="connsiteY18143" fmla="*/ 4421479 h 5973007"/>
              <a:gd name="connsiteX18144" fmla="*/ 1178567 w 6884782"/>
              <a:gd name="connsiteY18144" fmla="*/ 4422511 h 5973007"/>
              <a:gd name="connsiteX18145" fmla="*/ 1179342 w 6884782"/>
              <a:gd name="connsiteY18145" fmla="*/ 4423544 h 5973007"/>
              <a:gd name="connsiteX18146" fmla="*/ 1172061 w 6884782"/>
              <a:gd name="connsiteY18146" fmla="*/ 4421479 h 5973007"/>
              <a:gd name="connsiteX18147" fmla="*/ 1324789 w 6884782"/>
              <a:gd name="connsiteY18147" fmla="*/ 4420859 h 5973007"/>
              <a:gd name="connsiteX18148" fmla="*/ 1327422 w 6884782"/>
              <a:gd name="connsiteY18148" fmla="*/ 4423544 h 5973007"/>
              <a:gd name="connsiteX18149" fmla="*/ 1316580 w 6884782"/>
              <a:gd name="connsiteY18149" fmla="*/ 4429739 h 5973007"/>
              <a:gd name="connsiteX18150" fmla="*/ 1313636 w 6884782"/>
              <a:gd name="connsiteY18150" fmla="*/ 4428500 h 5973007"/>
              <a:gd name="connsiteX18151" fmla="*/ 1313018 w 6884782"/>
              <a:gd name="connsiteY18151" fmla="*/ 4426229 h 5973007"/>
              <a:gd name="connsiteX18152" fmla="*/ 1324789 w 6884782"/>
              <a:gd name="connsiteY18152" fmla="*/ 4420859 h 5973007"/>
              <a:gd name="connsiteX18153" fmla="*/ 6113244 w 6884782"/>
              <a:gd name="connsiteY18153" fmla="*/ 4420567 h 5973007"/>
              <a:gd name="connsiteX18154" fmla="*/ 6114483 w 6884782"/>
              <a:gd name="connsiteY18154" fmla="*/ 4432132 h 5973007"/>
              <a:gd name="connsiteX18155" fmla="*/ 6110146 w 6884782"/>
              <a:gd name="connsiteY18155" fmla="*/ 4431719 h 5973007"/>
              <a:gd name="connsiteX18156" fmla="*/ 6105964 w 6884782"/>
              <a:gd name="connsiteY18156" fmla="*/ 4425317 h 5973007"/>
              <a:gd name="connsiteX18157" fmla="*/ 6113244 w 6884782"/>
              <a:gd name="connsiteY18157" fmla="*/ 4420567 h 5973007"/>
              <a:gd name="connsiteX18158" fmla="*/ 983862 w 6884782"/>
              <a:gd name="connsiteY18158" fmla="*/ 4420033 h 5973007"/>
              <a:gd name="connsiteX18159" fmla="*/ 983398 w 6884782"/>
              <a:gd name="connsiteY18159" fmla="*/ 4421272 h 5973007"/>
              <a:gd name="connsiteX18160" fmla="*/ 971316 w 6884782"/>
              <a:gd name="connsiteY18160" fmla="*/ 4425712 h 5973007"/>
              <a:gd name="connsiteX18161" fmla="*/ 976118 w 6884782"/>
              <a:gd name="connsiteY18161" fmla="*/ 4421789 h 5973007"/>
              <a:gd name="connsiteX18162" fmla="*/ 983862 w 6884782"/>
              <a:gd name="connsiteY18162" fmla="*/ 4420033 h 5973007"/>
              <a:gd name="connsiteX18163" fmla="*/ 5492574 w 6884782"/>
              <a:gd name="connsiteY18163" fmla="*/ 4419122 h 5973007"/>
              <a:gd name="connsiteX18164" fmla="*/ 5486688 w 6884782"/>
              <a:gd name="connsiteY18164" fmla="*/ 4425214 h 5973007"/>
              <a:gd name="connsiteX18165" fmla="*/ 5484675 w 6884782"/>
              <a:gd name="connsiteY18165" fmla="*/ 4425007 h 5973007"/>
              <a:gd name="connsiteX18166" fmla="*/ 5484984 w 6884782"/>
              <a:gd name="connsiteY18166" fmla="*/ 4422426 h 5973007"/>
              <a:gd name="connsiteX18167" fmla="*/ 5492574 w 6884782"/>
              <a:gd name="connsiteY18167" fmla="*/ 4419122 h 5973007"/>
              <a:gd name="connsiteX18168" fmla="*/ 6056610 w 6884782"/>
              <a:gd name="connsiteY18168" fmla="*/ 4419006 h 5973007"/>
              <a:gd name="connsiteX18169" fmla="*/ 6063832 w 6884782"/>
              <a:gd name="connsiteY18169" fmla="*/ 4422426 h 5973007"/>
              <a:gd name="connsiteX18170" fmla="*/ 6057636 w 6884782"/>
              <a:gd name="connsiteY18170" fmla="*/ 4427072 h 5973007"/>
              <a:gd name="connsiteX18171" fmla="*/ 6049736 w 6884782"/>
              <a:gd name="connsiteY18171" fmla="*/ 4422633 h 5973007"/>
              <a:gd name="connsiteX18172" fmla="*/ 6056610 w 6884782"/>
              <a:gd name="connsiteY18172" fmla="*/ 4419006 h 5973007"/>
              <a:gd name="connsiteX18173" fmla="*/ 1478602 w 6884782"/>
              <a:gd name="connsiteY18173" fmla="*/ 4418691 h 5973007"/>
              <a:gd name="connsiteX18174" fmla="*/ 1469772 w 6884782"/>
              <a:gd name="connsiteY18174" fmla="*/ 4438413 h 5973007"/>
              <a:gd name="connsiteX18175" fmla="*/ 1478602 w 6884782"/>
              <a:gd name="connsiteY18175" fmla="*/ 4418691 h 5973007"/>
              <a:gd name="connsiteX18176" fmla="*/ 1583156 w 6884782"/>
              <a:gd name="connsiteY18176" fmla="*/ 4418278 h 5973007"/>
              <a:gd name="connsiteX18177" fmla="*/ 1585170 w 6884782"/>
              <a:gd name="connsiteY18177" fmla="*/ 4421272 h 5973007"/>
              <a:gd name="connsiteX18178" fmla="*/ 1584705 w 6884782"/>
              <a:gd name="connsiteY18178" fmla="*/ 4423544 h 5973007"/>
              <a:gd name="connsiteX18179" fmla="*/ 1585015 w 6884782"/>
              <a:gd name="connsiteY18179" fmla="*/ 4423544 h 5973007"/>
              <a:gd name="connsiteX18180" fmla="*/ 1590746 w 6884782"/>
              <a:gd name="connsiteY18180" fmla="*/ 4428913 h 5973007"/>
              <a:gd name="connsiteX18181" fmla="*/ 1588268 w 6884782"/>
              <a:gd name="connsiteY18181" fmla="*/ 4429430 h 5973007"/>
              <a:gd name="connsiteX18182" fmla="*/ 1584550 w 6884782"/>
              <a:gd name="connsiteY18182" fmla="*/ 4426848 h 5973007"/>
              <a:gd name="connsiteX18183" fmla="*/ 1584240 w 6884782"/>
              <a:gd name="connsiteY18183" fmla="*/ 4426125 h 5973007"/>
              <a:gd name="connsiteX18184" fmla="*/ 1582382 w 6884782"/>
              <a:gd name="connsiteY18184" fmla="*/ 4427468 h 5973007"/>
              <a:gd name="connsiteX18185" fmla="*/ 1580833 w 6884782"/>
              <a:gd name="connsiteY18185" fmla="*/ 4430049 h 5973007"/>
              <a:gd name="connsiteX18186" fmla="*/ 1578354 w 6884782"/>
              <a:gd name="connsiteY18186" fmla="*/ 4430359 h 5973007"/>
              <a:gd name="connsiteX18187" fmla="*/ 1578200 w 6884782"/>
              <a:gd name="connsiteY18187" fmla="*/ 4430359 h 5973007"/>
              <a:gd name="connsiteX18188" fmla="*/ 1578200 w 6884782"/>
              <a:gd name="connsiteY18188" fmla="*/ 4430462 h 5973007"/>
              <a:gd name="connsiteX18189" fmla="*/ 1579439 w 6884782"/>
              <a:gd name="connsiteY18189" fmla="*/ 4431598 h 5973007"/>
              <a:gd name="connsiteX18190" fmla="*/ 1579594 w 6884782"/>
              <a:gd name="connsiteY18190" fmla="*/ 4431288 h 5973007"/>
              <a:gd name="connsiteX18191" fmla="*/ 1587338 w 6884782"/>
              <a:gd name="connsiteY18191" fmla="*/ 4429016 h 5973007"/>
              <a:gd name="connsiteX18192" fmla="*/ 1582537 w 6884782"/>
              <a:gd name="connsiteY18192" fmla="*/ 4437793 h 5973007"/>
              <a:gd name="connsiteX18193" fmla="*/ 1579903 w 6884782"/>
              <a:gd name="connsiteY18193" fmla="*/ 4438929 h 5973007"/>
              <a:gd name="connsiteX18194" fmla="*/ 1577580 w 6884782"/>
              <a:gd name="connsiteY18194" fmla="*/ 4438723 h 5973007"/>
              <a:gd name="connsiteX18195" fmla="*/ 1577580 w 6884782"/>
              <a:gd name="connsiteY18195" fmla="*/ 4439652 h 5973007"/>
              <a:gd name="connsiteX18196" fmla="*/ 1578200 w 6884782"/>
              <a:gd name="connsiteY18196" fmla="*/ 4444608 h 5973007"/>
              <a:gd name="connsiteX18197" fmla="*/ 1574173 w 6884782"/>
              <a:gd name="connsiteY18197" fmla="*/ 4445847 h 5973007"/>
              <a:gd name="connsiteX18198" fmla="*/ 1570300 w 6884782"/>
              <a:gd name="connsiteY18198" fmla="*/ 4443059 h 5973007"/>
              <a:gd name="connsiteX18199" fmla="*/ 1569990 w 6884782"/>
              <a:gd name="connsiteY18199" fmla="*/ 4441924 h 5973007"/>
              <a:gd name="connsiteX18200" fmla="*/ 1568906 w 6884782"/>
              <a:gd name="connsiteY18200" fmla="*/ 4436658 h 5973007"/>
              <a:gd name="connsiteX18201" fmla="*/ 1567047 w 6884782"/>
              <a:gd name="connsiteY18201" fmla="*/ 4435418 h 5973007"/>
              <a:gd name="connsiteX18202" fmla="*/ 1570454 w 6884782"/>
              <a:gd name="connsiteY18202" fmla="*/ 4429946 h 5973007"/>
              <a:gd name="connsiteX18203" fmla="*/ 1572158 w 6884782"/>
              <a:gd name="connsiteY18203" fmla="*/ 4429843 h 5973007"/>
              <a:gd name="connsiteX18204" fmla="*/ 1572313 w 6884782"/>
              <a:gd name="connsiteY18204" fmla="*/ 4428087 h 5973007"/>
              <a:gd name="connsiteX18205" fmla="*/ 1572778 w 6884782"/>
              <a:gd name="connsiteY18205" fmla="*/ 4428191 h 5973007"/>
              <a:gd name="connsiteX18206" fmla="*/ 1572778 w 6884782"/>
              <a:gd name="connsiteY18206" fmla="*/ 4426642 h 5973007"/>
              <a:gd name="connsiteX18207" fmla="*/ 1583156 w 6884782"/>
              <a:gd name="connsiteY18207" fmla="*/ 4418278 h 5973007"/>
              <a:gd name="connsiteX18208" fmla="*/ 650681 w 6884782"/>
              <a:gd name="connsiteY18208" fmla="*/ 4417658 h 5973007"/>
              <a:gd name="connsiteX18209" fmla="*/ 655482 w 6884782"/>
              <a:gd name="connsiteY18209" fmla="*/ 4423234 h 5973007"/>
              <a:gd name="connsiteX18210" fmla="*/ 650681 w 6884782"/>
              <a:gd name="connsiteY18210" fmla="*/ 4429223 h 5973007"/>
              <a:gd name="connsiteX18211" fmla="*/ 649131 w 6884782"/>
              <a:gd name="connsiteY18211" fmla="*/ 4428191 h 5973007"/>
              <a:gd name="connsiteX18212" fmla="*/ 647738 w 6884782"/>
              <a:gd name="connsiteY18212" fmla="*/ 4426642 h 5973007"/>
              <a:gd name="connsiteX18213" fmla="*/ 646963 w 6884782"/>
              <a:gd name="connsiteY18213" fmla="*/ 4424680 h 5973007"/>
              <a:gd name="connsiteX18214" fmla="*/ 646963 w 6884782"/>
              <a:gd name="connsiteY18214" fmla="*/ 4421892 h 5973007"/>
              <a:gd name="connsiteX18215" fmla="*/ 649131 w 6884782"/>
              <a:gd name="connsiteY18215" fmla="*/ 4418484 h 5973007"/>
              <a:gd name="connsiteX18216" fmla="*/ 650681 w 6884782"/>
              <a:gd name="connsiteY18216" fmla="*/ 4417658 h 5973007"/>
              <a:gd name="connsiteX18217" fmla="*/ 5967177 w 6884782"/>
              <a:gd name="connsiteY18217" fmla="*/ 4417470 h 5973007"/>
              <a:gd name="connsiteX18218" fmla="*/ 5968106 w 6884782"/>
              <a:gd name="connsiteY18218" fmla="*/ 4419329 h 5973007"/>
              <a:gd name="connsiteX18219" fmla="*/ 5967331 w 6884782"/>
              <a:gd name="connsiteY18219" fmla="*/ 4421910 h 5973007"/>
              <a:gd name="connsiteX18220" fmla="*/ 5963924 w 6884782"/>
              <a:gd name="connsiteY18220" fmla="*/ 4422633 h 5973007"/>
              <a:gd name="connsiteX18221" fmla="*/ 5962994 w 6884782"/>
              <a:gd name="connsiteY18221" fmla="*/ 4420877 h 5973007"/>
              <a:gd name="connsiteX18222" fmla="*/ 5962994 w 6884782"/>
              <a:gd name="connsiteY18222" fmla="*/ 4418089 h 5973007"/>
              <a:gd name="connsiteX18223" fmla="*/ 5967177 w 6884782"/>
              <a:gd name="connsiteY18223" fmla="*/ 4417470 h 5973007"/>
              <a:gd name="connsiteX18224" fmla="*/ 1036682 w 6884782"/>
              <a:gd name="connsiteY18224" fmla="*/ 4417245 h 5973007"/>
              <a:gd name="connsiteX18225" fmla="*/ 1043033 w 6884782"/>
              <a:gd name="connsiteY18225" fmla="*/ 4421479 h 5973007"/>
              <a:gd name="connsiteX18226" fmla="*/ 1036992 w 6884782"/>
              <a:gd name="connsiteY18226" fmla="*/ 4418794 h 5973007"/>
              <a:gd name="connsiteX18227" fmla="*/ 1036682 w 6884782"/>
              <a:gd name="connsiteY18227" fmla="*/ 4417245 h 5973007"/>
              <a:gd name="connsiteX18228" fmla="*/ 5579471 w 6884782"/>
              <a:gd name="connsiteY18228" fmla="*/ 4416747 h 5973007"/>
              <a:gd name="connsiteX18229" fmla="*/ 5580245 w 6884782"/>
              <a:gd name="connsiteY18229" fmla="*/ 4417263 h 5973007"/>
              <a:gd name="connsiteX18230" fmla="*/ 5582879 w 6884782"/>
              <a:gd name="connsiteY18230" fmla="*/ 4419018 h 5973007"/>
              <a:gd name="connsiteX18231" fmla="*/ 5581794 w 6884782"/>
              <a:gd name="connsiteY18231" fmla="*/ 4423562 h 5973007"/>
              <a:gd name="connsiteX18232" fmla="*/ 5578542 w 6884782"/>
              <a:gd name="connsiteY18232" fmla="*/ 4423665 h 5973007"/>
              <a:gd name="connsiteX18233" fmla="*/ 5576838 w 6884782"/>
              <a:gd name="connsiteY18233" fmla="*/ 4422426 h 5973007"/>
              <a:gd name="connsiteX18234" fmla="*/ 5577612 w 6884782"/>
              <a:gd name="connsiteY18234" fmla="*/ 4417779 h 5973007"/>
              <a:gd name="connsiteX18235" fmla="*/ 5579471 w 6884782"/>
              <a:gd name="connsiteY18235" fmla="*/ 4416747 h 5973007"/>
              <a:gd name="connsiteX18236" fmla="*/ 5959432 w 6884782"/>
              <a:gd name="connsiteY18236" fmla="*/ 4415921 h 5973007"/>
              <a:gd name="connsiteX18237" fmla="*/ 5960206 w 6884782"/>
              <a:gd name="connsiteY18237" fmla="*/ 4416850 h 5973007"/>
              <a:gd name="connsiteX18238" fmla="*/ 5963769 w 6884782"/>
              <a:gd name="connsiteY18238" fmla="*/ 4427072 h 5973007"/>
              <a:gd name="connsiteX18239" fmla="*/ 5960206 w 6884782"/>
              <a:gd name="connsiteY18239" fmla="*/ 4428105 h 5973007"/>
              <a:gd name="connsiteX18240" fmla="*/ 5956334 w 6884782"/>
              <a:gd name="connsiteY18240" fmla="*/ 4425834 h 5973007"/>
              <a:gd name="connsiteX18241" fmla="*/ 5951687 w 6884782"/>
              <a:gd name="connsiteY18241" fmla="*/ 4417263 h 5973007"/>
              <a:gd name="connsiteX18242" fmla="*/ 5959432 w 6884782"/>
              <a:gd name="connsiteY18242" fmla="*/ 4415921 h 5973007"/>
              <a:gd name="connsiteX18243" fmla="*/ 1443595 w 6884782"/>
              <a:gd name="connsiteY18243" fmla="*/ 4415593 h 5973007"/>
              <a:gd name="connsiteX18244" fmla="*/ 1455057 w 6884782"/>
              <a:gd name="connsiteY18244" fmla="*/ 4423957 h 5973007"/>
              <a:gd name="connsiteX18245" fmla="*/ 1454437 w 6884782"/>
              <a:gd name="connsiteY18245" fmla="*/ 4426538 h 5973007"/>
              <a:gd name="connsiteX18246" fmla="*/ 1455832 w 6884782"/>
              <a:gd name="connsiteY18246" fmla="*/ 4424783 h 5973007"/>
              <a:gd name="connsiteX18247" fmla="*/ 1472560 w 6884782"/>
              <a:gd name="connsiteY18247" fmla="*/ 4421995 h 5973007"/>
              <a:gd name="connsiteX18248" fmla="*/ 1457071 w 6884782"/>
              <a:gd name="connsiteY18248" fmla="*/ 4430772 h 5973007"/>
              <a:gd name="connsiteX18249" fmla="*/ 1451959 w 6884782"/>
              <a:gd name="connsiteY18249" fmla="*/ 4429533 h 5973007"/>
              <a:gd name="connsiteX18250" fmla="*/ 1453043 w 6884782"/>
              <a:gd name="connsiteY18250" fmla="*/ 4428294 h 5973007"/>
              <a:gd name="connsiteX18251" fmla="*/ 1448086 w 6884782"/>
              <a:gd name="connsiteY18251" fmla="*/ 4422924 h 5973007"/>
              <a:gd name="connsiteX18252" fmla="*/ 1443595 w 6884782"/>
              <a:gd name="connsiteY18252" fmla="*/ 4415593 h 5973007"/>
              <a:gd name="connsiteX18253" fmla="*/ 1483868 w 6884782"/>
              <a:gd name="connsiteY18253" fmla="*/ 4415283 h 5973007"/>
              <a:gd name="connsiteX18254" fmla="*/ 1485107 w 6884782"/>
              <a:gd name="connsiteY18254" fmla="*/ 4416936 h 5973007"/>
              <a:gd name="connsiteX18255" fmla="*/ 1485417 w 6884782"/>
              <a:gd name="connsiteY18255" fmla="*/ 4417762 h 5973007"/>
              <a:gd name="connsiteX18256" fmla="*/ 1488050 w 6884782"/>
              <a:gd name="connsiteY18256" fmla="*/ 4419930 h 5973007"/>
              <a:gd name="connsiteX18257" fmla="*/ 1488824 w 6884782"/>
              <a:gd name="connsiteY18257" fmla="*/ 4420240 h 5973007"/>
              <a:gd name="connsiteX18258" fmla="*/ 1488979 w 6884782"/>
              <a:gd name="connsiteY18258" fmla="*/ 4419827 h 5973007"/>
              <a:gd name="connsiteX18259" fmla="*/ 1493781 w 6884782"/>
              <a:gd name="connsiteY18259" fmla="*/ 4417865 h 5973007"/>
              <a:gd name="connsiteX18260" fmla="*/ 1495020 w 6884782"/>
              <a:gd name="connsiteY18260" fmla="*/ 4419207 h 5973007"/>
              <a:gd name="connsiteX18261" fmla="*/ 1493626 w 6884782"/>
              <a:gd name="connsiteY18261" fmla="*/ 4421685 h 5973007"/>
              <a:gd name="connsiteX18262" fmla="*/ 1494401 w 6884782"/>
              <a:gd name="connsiteY18262" fmla="*/ 4421892 h 5973007"/>
              <a:gd name="connsiteX18263" fmla="*/ 1510665 w 6884782"/>
              <a:gd name="connsiteY18263" fmla="*/ 4427777 h 5973007"/>
              <a:gd name="connsiteX18264" fmla="*/ 1505398 w 6884782"/>
              <a:gd name="connsiteY18264" fmla="*/ 4428500 h 5973007"/>
              <a:gd name="connsiteX18265" fmla="*/ 1506173 w 6884782"/>
              <a:gd name="connsiteY18265" fmla="*/ 4429636 h 5973007"/>
              <a:gd name="connsiteX18266" fmla="*/ 1506173 w 6884782"/>
              <a:gd name="connsiteY18266" fmla="*/ 4434489 h 5973007"/>
              <a:gd name="connsiteX18267" fmla="*/ 1503385 w 6884782"/>
              <a:gd name="connsiteY18267" fmla="*/ 4437380 h 5973007"/>
              <a:gd name="connsiteX18268" fmla="*/ 1501836 w 6884782"/>
              <a:gd name="connsiteY18268" fmla="*/ 4438103 h 5973007"/>
              <a:gd name="connsiteX18269" fmla="*/ 1498428 w 6884782"/>
              <a:gd name="connsiteY18269" fmla="*/ 4435522 h 5973007"/>
              <a:gd name="connsiteX18270" fmla="*/ 1497963 w 6884782"/>
              <a:gd name="connsiteY18270" fmla="*/ 4431598 h 5973007"/>
              <a:gd name="connsiteX18271" fmla="*/ 1499202 w 6884782"/>
              <a:gd name="connsiteY18271" fmla="*/ 4429533 h 5973007"/>
              <a:gd name="connsiteX18272" fmla="*/ 1498428 w 6884782"/>
              <a:gd name="connsiteY18272" fmla="*/ 4429636 h 5973007"/>
              <a:gd name="connsiteX18273" fmla="*/ 1497344 w 6884782"/>
              <a:gd name="connsiteY18273" fmla="*/ 4429533 h 5973007"/>
              <a:gd name="connsiteX18274" fmla="*/ 1497034 w 6884782"/>
              <a:gd name="connsiteY18274" fmla="*/ 4431082 h 5973007"/>
              <a:gd name="connsiteX18275" fmla="*/ 1493936 w 6884782"/>
              <a:gd name="connsiteY18275" fmla="*/ 4429533 h 5973007"/>
              <a:gd name="connsiteX18276" fmla="*/ 1494246 w 6884782"/>
              <a:gd name="connsiteY18276" fmla="*/ 4429223 h 5973007"/>
              <a:gd name="connsiteX18277" fmla="*/ 1491767 w 6884782"/>
              <a:gd name="connsiteY18277" fmla="*/ 4428913 h 5973007"/>
              <a:gd name="connsiteX18278" fmla="*/ 1484177 w 6884782"/>
              <a:gd name="connsiteY18278" fmla="*/ 4425712 h 5973007"/>
              <a:gd name="connsiteX18279" fmla="*/ 1483248 w 6884782"/>
              <a:gd name="connsiteY18279" fmla="*/ 4421272 h 5973007"/>
              <a:gd name="connsiteX18280" fmla="*/ 1483248 w 6884782"/>
              <a:gd name="connsiteY18280" fmla="*/ 4419414 h 5973007"/>
              <a:gd name="connsiteX18281" fmla="*/ 1482784 w 6884782"/>
              <a:gd name="connsiteY18281" fmla="*/ 4418588 h 5973007"/>
              <a:gd name="connsiteX18282" fmla="*/ 1483868 w 6884782"/>
              <a:gd name="connsiteY18282" fmla="*/ 4415283 h 5973007"/>
              <a:gd name="connsiteX18283" fmla="*/ 6253115 w 6884782"/>
              <a:gd name="connsiteY18283" fmla="*/ 4414475 h 5973007"/>
              <a:gd name="connsiteX18284" fmla="*/ 6254199 w 6884782"/>
              <a:gd name="connsiteY18284" fmla="*/ 4418193 h 5973007"/>
              <a:gd name="connsiteX18285" fmla="*/ 6254509 w 6884782"/>
              <a:gd name="connsiteY18285" fmla="*/ 4417676 h 5973007"/>
              <a:gd name="connsiteX18286" fmla="*/ 6259775 w 6884782"/>
              <a:gd name="connsiteY18286" fmla="*/ 4422116 h 5973007"/>
              <a:gd name="connsiteX18287" fmla="*/ 6263958 w 6884782"/>
              <a:gd name="connsiteY18287" fmla="*/ 4423252 h 5973007"/>
              <a:gd name="connsiteX18288" fmla="*/ 6269069 w 6884782"/>
              <a:gd name="connsiteY18288" fmla="*/ 4424491 h 5973007"/>
              <a:gd name="connsiteX18289" fmla="*/ 6269844 w 6884782"/>
              <a:gd name="connsiteY18289" fmla="*/ 4424698 h 5973007"/>
              <a:gd name="connsiteX18290" fmla="*/ 6267365 w 6884782"/>
              <a:gd name="connsiteY18290" fmla="*/ 4422116 h 5973007"/>
              <a:gd name="connsiteX18291" fmla="*/ 6254044 w 6884782"/>
              <a:gd name="connsiteY18291" fmla="*/ 4416024 h 5973007"/>
              <a:gd name="connsiteX18292" fmla="*/ 4918683 w 6884782"/>
              <a:gd name="connsiteY18292" fmla="*/ 4414475 h 5973007"/>
              <a:gd name="connsiteX18293" fmla="*/ 4918529 w 6884782"/>
              <a:gd name="connsiteY18293" fmla="*/ 4416128 h 5973007"/>
              <a:gd name="connsiteX18294" fmla="*/ 4919303 w 6884782"/>
              <a:gd name="connsiteY18294" fmla="*/ 4416128 h 5973007"/>
              <a:gd name="connsiteX18295" fmla="*/ 4918374 w 6884782"/>
              <a:gd name="connsiteY18295" fmla="*/ 4417779 h 5973007"/>
              <a:gd name="connsiteX18296" fmla="*/ 4917599 w 6884782"/>
              <a:gd name="connsiteY18296" fmla="*/ 4417779 h 5973007"/>
              <a:gd name="connsiteX18297" fmla="*/ 4917289 w 6884782"/>
              <a:gd name="connsiteY18297" fmla="*/ 4417986 h 5973007"/>
              <a:gd name="connsiteX18298" fmla="*/ 4916050 w 6884782"/>
              <a:gd name="connsiteY18298" fmla="*/ 4416953 h 5973007"/>
              <a:gd name="connsiteX18299" fmla="*/ 4915121 w 6884782"/>
              <a:gd name="connsiteY18299" fmla="*/ 4416024 h 5973007"/>
              <a:gd name="connsiteX18300" fmla="*/ 4915431 w 6884782"/>
              <a:gd name="connsiteY18300" fmla="*/ 4415198 h 5973007"/>
              <a:gd name="connsiteX18301" fmla="*/ 4918683 w 6884782"/>
              <a:gd name="connsiteY18301" fmla="*/ 4414475 h 5973007"/>
              <a:gd name="connsiteX18302" fmla="*/ 1779100 w 6884782"/>
              <a:gd name="connsiteY18302" fmla="*/ 4413735 h 5973007"/>
              <a:gd name="connsiteX18303" fmla="*/ 1790253 w 6884782"/>
              <a:gd name="connsiteY18303" fmla="*/ 4426229 h 5973007"/>
              <a:gd name="connsiteX18304" fmla="*/ 1786690 w 6884782"/>
              <a:gd name="connsiteY18304" fmla="*/ 4426745 h 5973007"/>
              <a:gd name="connsiteX18305" fmla="*/ 1784211 w 6884782"/>
              <a:gd name="connsiteY18305" fmla="*/ 4425609 h 5973007"/>
              <a:gd name="connsiteX18306" fmla="*/ 1783592 w 6884782"/>
              <a:gd name="connsiteY18306" fmla="*/ 4426229 h 5973007"/>
              <a:gd name="connsiteX18307" fmla="*/ 1780029 w 6884782"/>
              <a:gd name="connsiteY18307" fmla="*/ 4421892 h 5973007"/>
              <a:gd name="connsiteX18308" fmla="*/ 1777706 w 6884782"/>
              <a:gd name="connsiteY18308" fmla="*/ 4419414 h 5973007"/>
              <a:gd name="connsiteX18309" fmla="*/ 1779100 w 6884782"/>
              <a:gd name="connsiteY18309" fmla="*/ 4413735 h 5973007"/>
              <a:gd name="connsiteX18310" fmla="*/ 1092755 w 6884782"/>
              <a:gd name="connsiteY18310" fmla="*/ 4413528 h 5973007"/>
              <a:gd name="connsiteX18311" fmla="*/ 1094303 w 6884782"/>
              <a:gd name="connsiteY18311" fmla="*/ 4414354 h 5973007"/>
              <a:gd name="connsiteX18312" fmla="*/ 1093839 w 6884782"/>
              <a:gd name="connsiteY18312" fmla="*/ 4414664 h 5973007"/>
              <a:gd name="connsiteX18313" fmla="*/ 1092755 w 6884782"/>
              <a:gd name="connsiteY18313" fmla="*/ 4414354 h 5973007"/>
              <a:gd name="connsiteX18314" fmla="*/ 1092755 w 6884782"/>
              <a:gd name="connsiteY18314" fmla="*/ 4413528 h 5973007"/>
              <a:gd name="connsiteX18315" fmla="*/ 1581143 w 6884782"/>
              <a:gd name="connsiteY18315" fmla="*/ 4413322 h 5973007"/>
              <a:gd name="connsiteX18316" fmla="*/ 1578354 w 6884782"/>
              <a:gd name="connsiteY18316" fmla="*/ 4419001 h 5973007"/>
              <a:gd name="connsiteX18317" fmla="*/ 1573553 w 6884782"/>
              <a:gd name="connsiteY18317" fmla="*/ 4414354 h 5973007"/>
              <a:gd name="connsiteX18318" fmla="*/ 1581143 w 6884782"/>
              <a:gd name="connsiteY18318" fmla="*/ 4413322 h 5973007"/>
              <a:gd name="connsiteX18319" fmla="*/ 1299076 w 6884782"/>
              <a:gd name="connsiteY18319" fmla="*/ 4413218 h 5973007"/>
              <a:gd name="connsiteX18320" fmla="*/ 1299076 w 6884782"/>
              <a:gd name="connsiteY18320" fmla="*/ 4415593 h 5973007"/>
              <a:gd name="connsiteX18321" fmla="*/ 1300470 w 6884782"/>
              <a:gd name="connsiteY18321" fmla="*/ 4415593 h 5973007"/>
              <a:gd name="connsiteX18322" fmla="*/ 1299076 w 6884782"/>
              <a:gd name="connsiteY18322" fmla="*/ 4417968 h 5973007"/>
              <a:gd name="connsiteX18323" fmla="*/ 1297837 w 6884782"/>
              <a:gd name="connsiteY18323" fmla="*/ 4417968 h 5973007"/>
              <a:gd name="connsiteX18324" fmla="*/ 1297527 w 6884782"/>
              <a:gd name="connsiteY18324" fmla="*/ 4418381 h 5973007"/>
              <a:gd name="connsiteX18325" fmla="*/ 1295204 w 6884782"/>
              <a:gd name="connsiteY18325" fmla="*/ 4416832 h 5973007"/>
              <a:gd name="connsiteX18326" fmla="*/ 1293965 w 6884782"/>
              <a:gd name="connsiteY18326" fmla="*/ 4414354 h 5973007"/>
              <a:gd name="connsiteX18327" fmla="*/ 1299076 w 6884782"/>
              <a:gd name="connsiteY18327" fmla="*/ 4413218 h 5973007"/>
              <a:gd name="connsiteX18328" fmla="*/ 1278785 w 6884782"/>
              <a:gd name="connsiteY18328" fmla="*/ 4413115 h 5973007"/>
              <a:gd name="connsiteX18329" fmla="*/ 1291642 w 6884782"/>
              <a:gd name="connsiteY18329" fmla="*/ 4419001 h 5973007"/>
              <a:gd name="connsiteX18330" fmla="*/ 1284981 w 6884782"/>
              <a:gd name="connsiteY18330" fmla="*/ 4428707 h 5973007"/>
              <a:gd name="connsiteX18331" fmla="*/ 1279405 w 6884782"/>
              <a:gd name="connsiteY18331" fmla="*/ 4426435 h 5973007"/>
              <a:gd name="connsiteX18332" fmla="*/ 1278785 w 6884782"/>
              <a:gd name="connsiteY18332" fmla="*/ 4413115 h 5973007"/>
              <a:gd name="connsiteX18333" fmla="*/ 1103752 w 6884782"/>
              <a:gd name="connsiteY18333" fmla="*/ 4413012 h 5973007"/>
              <a:gd name="connsiteX18334" fmla="*/ 1105920 w 6884782"/>
              <a:gd name="connsiteY18334" fmla="*/ 4413528 h 5973007"/>
              <a:gd name="connsiteX18335" fmla="*/ 1107934 w 6884782"/>
              <a:gd name="connsiteY18335" fmla="*/ 4413322 h 5973007"/>
              <a:gd name="connsiteX18336" fmla="*/ 1112427 w 6884782"/>
              <a:gd name="connsiteY18336" fmla="*/ 4416419 h 5973007"/>
              <a:gd name="connsiteX18337" fmla="*/ 1095853 w 6884782"/>
              <a:gd name="connsiteY18337" fmla="*/ 4420859 h 5973007"/>
              <a:gd name="connsiteX18338" fmla="*/ 1093994 w 6884782"/>
              <a:gd name="connsiteY18338" fmla="*/ 4420446 h 5973007"/>
              <a:gd name="connsiteX18339" fmla="*/ 1093529 w 6884782"/>
              <a:gd name="connsiteY18339" fmla="*/ 4418381 h 5973007"/>
              <a:gd name="connsiteX18340" fmla="*/ 1103752 w 6884782"/>
              <a:gd name="connsiteY18340" fmla="*/ 4413012 h 5973007"/>
              <a:gd name="connsiteX18341" fmla="*/ 966514 w 6884782"/>
              <a:gd name="connsiteY18341" fmla="*/ 4412909 h 5973007"/>
              <a:gd name="connsiteX18342" fmla="*/ 970386 w 6884782"/>
              <a:gd name="connsiteY18342" fmla="*/ 4414871 h 5973007"/>
              <a:gd name="connsiteX18343" fmla="*/ 969767 w 6884782"/>
              <a:gd name="connsiteY18343" fmla="*/ 4417039 h 5973007"/>
              <a:gd name="connsiteX18344" fmla="*/ 971471 w 6884782"/>
              <a:gd name="connsiteY18344" fmla="*/ 4416832 h 5973007"/>
              <a:gd name="connsiteX18345" fmla="*/ 970077 w 6884782"/>
              <a:gd name="connsiteY18345" fmla="*/ 4421685 h 5973007"/>
              <a:gd name="connsiteX18346" fmla="*/ 970077 w 6884782"/>
              <a:gd name="connsiteY18346" fmla="*/ 4423544 h 5973007"/>
              <a:gd name="connsiteX18347" fmla="*/ 968528 w 6884782"/>
              <a:gd name="connsiteY18347" fmla="*/ 4422615 h 5973007"/>
              <a:gd name="connsiteX18348" fmla="*/ 970077 w 6884782"/>
              <a:gd name="connsiteY18348" fmla="*/ 4419723 h 5973007"/>
              <a:gd name="connsiteX18349" fmla="*/ 968528 w 6884782"/>
              <a:gd name="connsiteY18349" fmla="*/ 4418691 h 5973007"/>
              <a:gd name="connsiteX18350" fmla="*/ 968838 w 6884782"/>
              <a:gd name="connsiteY18350" fmla="*/ 4417452 h 5973007"/>
              <a:gd name="connsiteX18351" fmla="*/ 968992 w 6884782"/>
              <a:gd name="connsiteY18351" fmla="*/ 4417245 h 5973007"/>
              <a:gd name="connsiteX18352" fmla="*/ 968838 w 6884782"/>
              <a:gd name="connsiteY18352" fmla="*/ 4417142 h 5973007"/>
              <a:gd name="connsiteX18353" fmla="*/ 968838 w 6884782"/>
              <a:gd name="connsiteY18353" fmla="*/ 4417452 h 5973007"/>
              <a:gd name="connsiteX18354" fmla="*/ 961248 w 6884782"/>
              <a:gd name="connsiteY18354" fmla="*/ 4421582 h 5973007"/>
              <a:gd name="connsiteX18355" fmla="*/ 961248 w 6884782"/>
              <a:gd name="connsiteY18355" fmla="*/ 4422615 h 5973007"/>
              <a:gd name="connsiteX18356" fmla="*/ 961867 w 6884782"/>
              <a:gd name="connsiteY18356" fmla="*/ 4423028 h 5973007"/>
              <a:gd name="connsiteX18357" fmla="*/ 964191 w 6884782"/>
              <a:gd name="connsiteY18357" fmla="*/ 4422408 h 5973007"/>
              <a:gd name="connsiteX18358" fmla="*/ 971006 w 6884782"/>
              <a:gd name="connsiteY18358" fmla="*/ 4426745 h 5973007"/>
              <a:gd name="connsiteX18359" fmla="*/ 970386 w 6884782"/>
              <a:gd name="connsiteY18359" fmla="*/ 4429326 h 5973007"/>
              <a:gd name="connsiteX18360" fmla="*/ 969922 w 6884782"/>
              <a:gd name="connsiteY18360" fmla="*/ 4431908 h 5973007"/>
              <a:gd name="connsiteX18361" fmla="*/ 970232 w 6884782"/>
              <a:gd name="connsiteY18361" fmla="*/ 4430772 h 5973007"/>
              <a:gd name="connsiteX18362" fmla="*/ 973949 w 6884782"/>
              <a:gd name="connsiteY18362" fmla="*/ 4429223 h 5973007"/>
              <a:gd name="connsiteX18363" fmla="*/ 972400 w 6884782"/>
              <a:gd name="connsiteY18363" fmla="*/ 4435832 h 5973007"/>
              <a:gd name="connsiteX18364" fmla="*/ 968992 w 6884782"/>
              <a:gd name="connsiteY18364" fmla="*/ 4435625 h 5973007"/>
              <a:gd name="connsiteX18365" fmla="*/ 968838 w 6884782"/>
              <a:gd name="connsiteY18365" fmla="*/ 4435728 h 5973007"/>
              <a:gd name="connsiteX18366" fmla="*/ 968528 w 6884782"/>
              <a:gd name="connsiteY18366" fmla="*/ 4439445 h 5973007"/>
              <a:gd name="connsiteX18367" fmla="*/ 967753 w 6884782"/>
              <a:gd name="connsiteY18367" fmla="*/ 4439858 h 5973007"/>
              <a:gd name="connsiteX18368" fmla="*/ 966205 w 6884782"/>
              <a:gd name="connsiteY18368" fmla="*/ 4438619 h 5973007"/>
              <a:gd name="connsiteX18369" fmla="*/ 966205 w 6884782"/>
              <a:gd name="connsiteY18369" fmla="*/ 4437277 h 5973007"/>
              <a:gd name="connsiteX18370" fmla="*/ 963261 w 6884782"/>
              <a:gd name="connsiteY18370" fmla="*/ 4438929 h 5973007"/>
              <a:gd name="connsiteX18371" fmla="*/ 955516 w 6884782"/>
              <a:gd name="connsiteY18371" fmla="*/ 4432940 h 5973007"/>
              <a:gd name="connsiteX18372" fmla="*/ 959544 w 6884782"/>
              <a:gd name="connsiteY18372" fmla="*/ 4423647 h 5973007"/>
              <a:gd name="connsiteX18373" fmla="*/ 959389 w 6884782"/>
              <a:gd name="connsiteY18373" fmla="*/ 4422924 h 5973007"/>
              <a:gd name="connsiteX18374" fmla="*/ 958615 w 6884782"/>
              <a:gd name="connsiteY18374" fmla="*/ 4423647 h 5973007"/>
              <a:gd name="connsiteX18375" fmla="*/ 957840 w 6884782"/>
              <a:gd name="connsiteY18375" fmla="*/ 4424370 h 5973007"/>
              <a:gd name="connsiteX18376" fmla="*/ 955981 w 6884782"/>
              <a:gd name="connsiteY18376" fmla="*/ 4424576 h 5973007"/>
              <a:gd name="connsiteX18377" fmla="*/ 950715 w 6884782"/>
              <a:gd name="connsiteY18377" fmla="*/ 4421995 h 5973007"/>
              <a:gd name="connsiteX18378" fmla="*/ 962642 w 6884782"/>
              <a:gd name="connsiteY18378" fmla="*/ 4415800 h 5973007"/>
              <a:gd name="connsiteX18379" fmla="*/ 965430 w 6884782"/>
              <a:gd name="connsiteY18379" fmla="*/ 4415490 h 5973007"/>
              <a:gd name="connsiteX18380" fmla="*/ 600185 w 6884782"/>
              <a:gd name="connsiteY18380" fmla="*/ 4412289 h 5973007"/>
              <a:gd name="connsiteX18381" fmla="*/ 621715 w 6884782"/>
              <a:gd name="connsiteY18381" fmla="*/ 4422408 h 5973007"/>
              <a:gd name="connsiteX18382" fmla="*/ 602352 w 6884782"/>
              <a:gd name="connsiteY18382" fmla="*/ 4417555 h 5973007"/>
              <a:gd name="connsiteX18383" fmla="*/ 600185 w 6884782"/>
              <a:gd name="connsiteY18383" fmla="*/ 4412289 h 5973007"/>
              <a:gd name="connsiteX18384" fmla="*/ 1307441 w 6884782"/>
              <a:gd name="connsiteY18384" fmla="*/ 4412186 h 5973007"/>
              <a:gd name="connsiteX18385" fmla="*/ 1312553 w 6884782"/>
              <a:gd name="connsiteY18385" fmla="*/ 4413838 h 5973007"/>
              <a:gd name="connsiteX18386" fmla="*/ 1308215 w 6884782"/>
              <a:gd name="connsiteY18386" fmla="*/ 4423131 h 5973007"/>
              <a:gd name="connsiteX18387" fmla="*/ 1304498 w 6884782"/>
              <a:gd name="connsiteY18387" fmla="*/ 4420756 h 5973007"/>
              <a:gd name="connsiteX18388" fmla="*/ 1307441 w 6884782"/>
              <a:gd name="connsiteY18388" fmla="*/ 4412186 h 5973007"/>
              <a:gd name="connsiteX18389" fmla="*/ 1686937 w 6884782"/>
              <a:gd name="connsiteY18389" fmla="*/ 4411979 h 5973007"/>
              <a:gd name="connsiteX18390" fmla="*/ 1699328 w 6884782"/>
              <a:gd name="connsiteY18390" fmla="*/ 4425919 h 5973007"/>
              <a:gd name="connsiteX18391" fmla="*/ 1686937 w 6884782"/>
              <a:gd name="connsiteY18391" fmla="*/ 4411979 h 5973007"/>
              <a:gd name="connsiteX18392" fmla="*/ 5681083 w 6884782"/>
              <a:gd name="connsiteY18392" fmla="*/ 4411481 h 5973007"/>
              <a:gd name="connsiteX18393" fmla="*/ 5681238 w 6884782"/>
              <a:gd name="connsiteY18393" fmla="*/ 4421187 h 5973007"/>
              <a:gd name="connsiteX18394" fmla="*/ 5681083 w 6884782"/>
              <a:gd name="connsiteY18394" fmla="*/ 4411481 h 5973007"/>
              <a:gd name="connsiteX18395" fmla="*/ 6074829 w 6884782"/>
              <a:gd name="connsiteY18395" fmla="*/ 4411377 h 5973007"/>
              <a:gd name="connsiteX18396" fmla="*/ 6076843 w 6884782"/>
              <a:gd name="connsiteY18396" fmla="*/ 4411481 h 5973007"/>
              <a:gd name="connsiteX18397" fmla="*/ 6078857 w 6884782"/>
              <a:gd name="connsiteY18397" fmla="*/ 4412823 h 5973007"/>
              <a:gd name="connsiteX18398" fmla="*/ 6077153 w 6884782"/>
              <a:gd name="connsiteY18398" fmla="*/ 4417160 h 5973007"/>
              <a:gd name="connsiteX18399" fmla="*/ 6075139 w 6884782"/>
              <a:gd name="connsiteY18399" fmla="*/ 4417057 h 5973007"/>
              <a:gd name="connsiteX18400" fmla="*/ 6073590 w 6884782"/>
              <a:gd name="connsiteY18400" fmla="*/ 4414888 h 5973007"/>
              <a:gd name="connsiteX18401" fmla="*/ 6074829 w 6884782"/>
              <a:gd name="connsiteY18401" fmla="*/ 4411377 h 5973007"/>
              <a:gd name="connsiteX18402" fmla="*/ 1593534 w 6884782"/>
              <a:gd name="connsiteY18402" fmla="*/ 4410121 h 5973007"/>
              <a:gd name="connsiteX18403" fmla="*/ 1594929 w 6884782"/>
              <a:gd name="connsiteY18403" fmla="*/ 4412289 h 5973007"/>
              <a:gd name="connsiteX18404" fmla="*/ 1592295 w 6884782"/>
              <a:gd name="connsiteY18404" fmla="*/ 4413838 h 5973007"/>
              <a:gd name="connsiteX18405" fmla="*/ 1590591 w 6884782"/>
              <a:gd name="connsiteY18405" fmla="*/ 4413012 h 5973007"/>
              <a:gd name="connsiteX18406" fmla="*/ 1593534 w 6884782"/>
              <a:gd name="connsiteY18406" fmla="*/ 4410121 h 5973007"/>
              <a:gd name="connsiteX18407" fmla="*/ 1084235 w 6884782"/>
              <a:gd name="connsiteY18407" fmla="*/ 4409811 h 5973007"/>
              <a:gd name="connsiteX18408" fmla="*/ 1084390 w 6884782"/>
              <a:gd name="connsiteY18408" fmla="*/ 4414044 h 5973007"/>
              <a:gd name="connsiteX18409" fmla="*/ 1080363 w 6884782"/>
              <a:gd name="connsiteY18409" fmla="*/ 4416419 h 5973007"/>
              <a:gd name="connsiteX18410" fmla="*/ 1077885 w 6884782"/>
              <a:gd name="connsiteY18410" fmla="*/ 4418484 h 5973007"/>
              <a:gd name="connsiteX18411" fmla="*/ 1076645 w 6884782"/>
              <a:gd name="connsiteY18411" fmla="*/ 4418691 h 5973007"/>
              <a:gd name="connsiteX18412" fmla="*/ 1075406 w 6884782"/>
              <a:gd name="connsiteY18412" fmla="*/ 4417968 h 5973007"/>
              <a:gd name="connsiteX18413" fmla="*/ 1078349 w 6884782"/>
              <a:gd name="connsiteY18413" fmla="*/ 4411256 h 5973007"/>
              <a:gd name="connsiteX18414" fmla="*/ 1084235 w 6884782"/>
              <a:gd name="connsiteY18414" fmla="*/ 4409811 h 5973007"/>
              <a:gd name="connsiteX18415" fmla="*/ 1021812 w 6884782"/>
              <a:gd name="connsiteY18415" fmla="*/ 4409398 h 5973007"/>
              <a:gd name="connsiteX18416" fmla="*/ 1023361 w 6884782"/>
              <a:gd name="connsiteY18416" fmla="*/ 4423854 h 5973007"/>
              <a:gd name="connsiteX18417" fmla="*/ 1021967 w 6884782"/>
              <a:gd name="connsiteY18417" fmla="*/ 4424886 h 5973007"/>
              <a:gd name="connsiteX18418" fmla="*/ 1028473 w 6884782"/>
              <a:gd name="connsiteY18418" fmla="*/ 4426229 h 5973007"/>
              <a:gd name="connsiteX18419" fmla="*/ 1047370 w 6884782"/>
              <a:gd name="connsiteY18419" fmla="*/ 4428810 h 5973007"/>
              <a:gd name="connsiteX18420" fmla="*/ 1027853 w 6884782"/>
              <a:gd name="connsiteY18420" fmla="*/ 4435109 h 5973007"/>
              <a:gd name="connsiteX18421" fmla="*/ 1023671 w 6884782"/>
              <a:gd name="connsiteY18421" fmla="*/ 4432424 h 5973007"/>
              <a:gd name="connsiteX18422" fmla="*/ 1021502 w 6884782"/>
              <a:gd name="connsiteY18422" fmla="*/ 4425196 h 5973007"/>
              <a:gd name="connsiteX18423" fmla="*/ 1018249 w 6884782"/>
              <a:gd name="connsiteY18423" fmla="*/ 4427674 h 5973007"/>
              <a:gd name="connsiteX18424" fmla="*/ 1012983 w 6884782"/>
              <a:gd name="connsiteY18424" fmla="*/ 4420137 h 5973007"/>
              <a:gd name="connsiteX18425" fmla="*/ 1013602 w 6884782"/>
              <a:gd name="connsiteY18425" fmla="*/ 4410431 h 5973007"/>
              <a:gd name="connsiteX18426" fmla="*/ 1021812 w 6884782"/>
              <a:gd name="connsiteY18426" fmla="*/ 4409398 h 5973007"/>
              <a:gd name="connsiteX18427" fmla="*/ 1610728 w 6884782"/>
              <a:gd name="connsiteY18427" fmla="*/ 4409295 h 5973007"/>
              <a:gd name="connsiteX18428" fmla="*/ 1610108 w 6884782"/>
              <a:gd name="connsiteY18428" fmla="*/ 4419827 h 5973007"/>
              <a:gd name="connsiteX18429" fmla="*/ 1606081 w 6884782"/>
              <a:gd name="connsiteY18429" fmla="*/ 4423647 h 5973007"/>
              <a:gd name="connsiteX18430" fmla="*/ 1604377 w 6884782"/>
              <a:gd name="connsiteY18430" fmla="*/ 4421789 h 5973007"/>
              <a:gd name="connsiteX18431" fmla="*/ 1604996 w 6884782"/>
              <a:gd name="connsiteY18431" fmla="*/ 4415903 h 5973007"/>
              <a:gd name="connsiteX18432" fmla="*/ 1610728 w 6884782"/>
              <a:gd name="connsiteY18432" fmla="*/ 4409295 h 5973007"/>
              <a:gd name="connsiteX18433" fmla="*/ 996255 w 6884782"/>
              <a:gd name="connsiteY18433" fmla="*/ 4408262 h 5973007"/>
              <a:gd name="connsiteX18434" fmla="*/ 1000437 w 6884782"/>
              <a:gd name="connsiteY18434" fmla="*/ 4412496 h 5973007"/>
              <a:gd name="connsiteX18435" fmla="*/ 996719 w 6884782"/>
              <a:gd name="connsiteY18435" fmla="*/ 4414767 h 5973007"/>
              <a:gd name="connsiteX18436" fmla="*/ 992692 w 6884782"/>
              <a:gd name="connsiteY18436" fmla="*/ 4412496 h 5973007"/>
              <a:gd name="connsiteX18437" fmla="*/ 989748 w 6884782"/>
              <a:gd name="connsiteY18437" fmla="*/ 4411463 h 5973007"/>
              <a:gd name="connsiteX18438" fmla="*/ 988974 w 6884782"/>
              <a:gd name="connsiteY18438" fmla="*/ 4408985 h 5973007"/>
              <a:gd name="connsiteX18439" fmla="*/ 996255 w 6884782"/>
              <a:gd name="connsiteY18439" fmla="*/ 4408262 h 5973007"/>
              <a:gd name="connsiteX18440" fmla="*/ 5954165 w 6884782"/>
              <a:gd name="connsiteY18440" fmla="*/ 4407970 h 5973007"/>
              <a:gd name="connsiteX18441" fmla="*/ 5948124 w 6884782"/>
              <a:gd name="connsiteY18441" fmla="*/ 4413443 h 5973007"/>
              <a:gd name="connsiteX18442" fmla="*/ 5945646 w 6884782"/>
              <a:gd name="connsiteY18442" fmla="*/ 4413133 h 5973007"/>
              <a:gd name="connsiteX18443" fmla="*/ 5954165 w 6884782"/>
              <a:gd name="connsiteY18443" fmla="*/ 4407970 h 5973007"/>
              <a:gd name="connsiteX18444" fmla="*/ 1257564 w 6884782"/>
              <a:gd name="connsiteY18444" fmla="*/ 4407436 h 5973007"/>
              <a:gd name="connsiteX18445" fmla="*/ 1260043 w 6884782"/>
              <a:gd name="connsiteY18445" fmla="*/ 4408159 h 5973007"/>
              <a:gd name="connsiteX18446" fmla="*/ 1257564 w 6884782"/>
              <a:gd name="connsiteY18446" fmla="*/ 4413322 h 5973007"/>
              <a:gd name="connsiteX18447" fmla="*/ 1255706 w 6884782"/>
              <a:gd name="connsiteY18447" fmla="*/ 4412082 h 5973007"/>
              <a:gd name="connsiteX18448" fmla="*/ 1257564 w 6884782"/>
              <a:gd name="connsiteY18448" fmla="*/ 4407436 h 5973007"/>
              <a:gd name="connsiteX18449" fmla="*/ 1454747 w 6884782"/>
              <a:gd name="connsiteY18449" fmla="*/ 4407023 h 5973007"/>
              <a:gd name="connsiteX18450" fmla="*/ 1459084 w 6884782"/>
              <a:gd name="connsiteY18450" fmla="*/ 4410017 h 5973007"/>
              <a:gd name="connsiteX18451" fmla="*/ 1453508 w 6884782"/>
              <a:gd name="connsiteY18451" fmla="*/ 4413941 h 5973007"/>
              <a:gd name="connsiteX18452" fmla="*/ 1452269 w 6884782"/>
              <a:gd name="connsiteY18452" fmla="*/ 4412289 h 5973007"/>
              <a:gd name="connsiteX18453" fmla="*/ 1454747 w 6884782"/>
              <a:gd name="connsiteY18453" fmla="*/ 4407023 h 5973007"/>
              <a:gd name="connsiteX18454" fmla="*/ 1119087 w 6884782"/>
              <a:gd name="connsiteY18454" fmla="*/ 4405577 h 5973007"/>
              <a:gd name="connsiteX18455" fmla="*/ 1136590 w 6884782"/>
              <a:gd name="connsiteY18455" fmla="*/ 4414871 h 5973007"/>
              <a:gd name="connsiteX18456" fmla="*/ 1136126 w 6884782"/>
              <a:gd name="connsiteY18456" fmla="*/ 4420343 h 5973007"/>
              <a:gd name="connsiteX18457" fmla="*/ 1137830 w 6884782"/>
              <a:gd name="connsiteY18457" fmla="*/ 4420343 h 5973007"/>
              <a:gd name="connsiteX18458" fmla="*/ 1139998 w 6884782"/>
              <a:gd name="connsiteY18458" fmla="*/ 4421066 h 5973007"/>
              <a:gd name="connsiteX18459" fmla="*/ 1141547 w 6884782"/>
              <a:gd name="connsiteY18459" fmla="*/ 4420343 h 5973007"/>
              <a:gd name="connsiteX18460" fmla="*/ 1146659 w 6884782"/>
              <a:gd name="connsiteY18460" fmla="*/ 4424164 h 5973007"/>
              <a:gd name="connsiteX18461" fmla="*/ 1142786 w 6884782"/>
              <a:gd name="connsiteY18461" fmla="*/ 4423338 h 5973007"/>
              <a:gd name="connsiteX18462" fmla="*/ 1140618 w 6884782"/>
              <a:gd name="connsiteY18462" fmla="*/ 4422615 h 5973007"/>
              <a:gd name="connsiteX18463" fmla="*/ 1138759 w 6884782"/>
              <a:gd name="connsiteY18463" fmla="*/ 4422615 h 5973007"/>
              <a:gd name="connsiteX18464" fmla="*/ 1136590 w 6884782"/>
              <a:gd name="connsiteY18464" fmla="*/ 4421479 h 5973007"/>
              <a:gd name="connsiteX18465" fmla="*/ 1136126 w 6884782"/>
              <a:gd name="connsiteY18465" fmla="*/ 4420446 h 5973007"/>
              <a:gd name="connsiteX18466" fmla="*/ 1135971 w 6884782"/>
              <a:gd name="connsiteY18466" fmla="*/ 4420549 h 5973007"/>
              <a:gd name="connsiteX18467" fmla="*/ 1119087 w 6884782"/>
              <a:gd name="connsiteY18467" fmla="*/ 4405577 h 5973007"/>
              <a:gd name="connsiteX18468" fmla="*/ 621715 w 6884782"/>
              <a:gd name="connsiteY18468" fmla="*/ 4404029 h 5973007"/>
              <a:gd name="connsiteX18469" fmla="*/ 621405 w 6884782"/>
              <a:gd name="connsiteY18469" fmla="*/ 4407539 h 5973007"/>
              <a:gd name="connsiteX18470" fmla="*/ 617068 w 6884782"/>
              <a:gd name="connsiteY18470" fmla="*/ 4404442 h 5973007"/>
              <a:gd name="connsiteX18471" fmla="*/ 621715 w 6884782"/>
              <a:gd name="connsiteY18471" fmla="*/ 4404029 h 5973007"/>
              <a:gd name="connsiteX18472" fmla="*/ 1521353 w 6884782"/>
              <a:gd name="connsiteY18472" fmla="*/ 4403822 h 5973007"/>
              <a:gd name="connsiteX18473" fmla="*/ 1535139 w 6884782"/>
              <a:gd name="connsiteY18473" fmla="*/ 4410224 h 5973007"/>
              <a:gd name="connsiteX18474" fmla="*/ 1529717 w 6884782"/>
              <a:gd name="connsiteY18474" fmla="*/ 4419620 h 5973007"/>
              <a:gd name="connsiteX18475" fmla="*/ 1527549 w 6884782"/>
              <a:gd name="connsiteY18475" fmla="*/ 4419723 h 5973007"/>
              <a:gd name="connsiteX18476" fmla="*/ 1528633 w 6884782"/>
              <a:gd name="connsiteY18476" fmla="*/ 4421479 h 5973007"/>
              <a:gd name="connsiteX18477" fmla="*/ 1528633 w 6884782"/>
              <a:gd name="connsiteY18477" fmla="*/ 4426848 h 5973007"/>
              <a:gd name="connsiteX18478" fmla="*/ 1527549 w 6884782"/>
              <a:gd name="connsiteY18478" fmla="*/ 4429636 h 5973007"/>
              <a:gd name="connsiteX18479" fmla="*/ 1527858 w 6884782"/>
              <a:gd name="connsiteY18479" fmla="*/ 4430772 h 5973007"/>
              <a:gd name="connsiteX18480" fmla="*/ 1518874 w 6884782"/>
              <a:gd name="connsiteY18480" fmla="*/ 4438206 h 5973007"/>
              <a:gd name="connsiteX18481" fmla="*/ 1514227 w 6884782"/>
              <a:gd name="connsiteY18481" fmla="*/ 4436658 h 5973007"/>
              <a:gd name="connsiteX18482" fmla="*/ 1513453 w 6884782"/>
              <a:gd name="connsiteY18482" fmla="*/ 4435728 h 5973007"/>
              <a:gd name="connsiteX18483" fmla="*/ 1514382 w 6884782"/>
              <a:gd name="connsiteY18483" fmla="*/ 4438516 h 5973007"/>
              <a:gd name="connsiteX18484" fmla="*/ 1513298 w 6884782"/>
              <a:gd name="connsiteY18484" fmla="*/ 4442234 h 5973007"/>
              <a:gd name="connsiteX18485" fmla="*/ 1512989 w 6884782"/>
              <a:gd name="connsiteY18485" fmla="*/ 4446570 h 5973007"/>
              <a:gd name="connsiteX18486" fmla="*/ 1511284 w 6884782"/>
              <a:gd name="connsiteY18486" fmla="*/ 4448016 h 5973007"/>
              <a:gd name="connsiteX18487" fmla="*/ 1510355 w 6884782"/>
              <a:gd name="connsiteY18487" fmla="*/ 4447809 h 5973007"/>
              <a:gd name="connsiteX18488" fmla="*/ 1509891 w 6884782"/>
              <a:gd name="connsiteY18488" fmla="*/ 4445847 h 5973007"/>
              <a:gd name="connsiteX18489" fmla="*/ 1510355 w 6884782"/>
              <a:gd name="connsiteY18489" fmla="*/ 4440891 h 5973007"/>
              <a:gd name="connsiteX18490" fmla="*/ 1510974 w 6884782"/>
              <a:gd name="connsiteY18490" fmla="*/ 4437897 h 5973007"/>
              <a:gd name="connsiteX18491" fmla="*/ 1509271 w 6884782"/>
              <a:gd name="connsiteY18491" fmla="*/ 4443059 h 5973007"/>
              <a:gd name="connsiteX18492" fmla="*/ 1505708 w 6884782"/>
              <a:gd name="connsiteY18492" fmla="*/ 4448429 h 5973007"/>
              <a:gd name="connsiteX18493" fmla="*/ 1505243 w 6884782"/>
              <a:gd name="connsiteY18493" fmla="*/ 4445641 h 5973007"/>
              <a:gd name="connsiteX18494" fmla="*/ 1505553 w 6884782"/>
              <a:gd name="connsiteY18494" fmla="*/ 4444505 h 5973007"/>
              <a:gd name="connsiteX18495" fmla="*/ 1505243 w 6884782"/>
              <a:gd name="connsiteY18495" fmla="*/ 4443782 h 5973007"/>
              <a:gd name="connsiteX18496" fmla="*/ 1505863 w 6884782"/>
              <a:gd name="connsiteY18496" fmla="*/ 4443266 h 5973007"/>
              <a:gd name="connsiteX18497" fmla="*/ 1506638 w 6884782"/>
              <a:gd name="connsiteY18497" fmla="*/ 4440891 h 5973007"/>
              <a:gd name="connsiteX18498" fmla="*/ 1506483 w 6884782"/>
              <a:gd name="connsiteY18498" fmla="*/ 4435005 h 5973007"/>
              <a:gd name="connsiteX18499" fmla="*/ 1509426 w 6884782"/>
              <a:gd name="connsiteY18499" fmla="*/ 4429326 h 5973007"/>
              <a:gd name="connsiteX18500" fmla="*/ 1511749 w 6884782"/>
              <a:gd name="connsiteY18500" fmla="*/ 4429843 h 5973007"/>
              <a:gd name="connsiteX18501" fmla="*/ 1512369 w 6884782"/>
              <a:gd name="connsiteY18501" fmla="*/ 4427468 h 5973007"/>
              <a:gd name="connsiteX18502" fmla="*/ 1522437 w 6884782"/>
              <a:gd name="connsiteY18502" fmla="*/ 4422202 h 5973007"/>
              <a:gd name="connsiteX18503" fmla="*/ 1523831 w 6884782"/>
              <a:gd name="connsiteY18503" fmla="*/ 4423441 h 5973007"/>
              <a:gd name="connsiteX18504" fmla="*/ 1523986 w 6884782"/>
              <a:gd name="connsiteY18504" fmla="*/ 4423544 h 5973007"/>
              <a:gd name="connsiteX18505" fmla="*/ 1524140 w 6884782"/>
              <a:gd name="connsiteY18505" fmla="*/ 4423131 h 5973007"/>
              <a:gd name="connsiteX18506" fmla="*/ 1525070 w 6884782"/>
              <a:gd name="connsiteY18506" fmla="*/ 4419414 h 5973007"/>
              <a:gd name="connsiteX18507" fmla="*/ 1526619 w 6884782"/>
              <a:gd name="connsiteY18507" fmla="*/ 4419207 h 5973007"/>
              <a:gd name="connsiteX18508" fmla="*/ 1523521 w 6884782"/>
              <a:gd name="connsiteY18508" fmla="*/ 4417039 h 5973007"/>
              <a:gd name="connsiteX18509" fmla="*/ 1521353 w 6884782"/>
              <a:gd name="connsiteY18509" fmla="*/ 4403822 h 5973007"/>
              <a:gd name="connsiteX18510" fmla="*/ 5524018 w 6884782"/>
              <a:gd name="connsiteY18510" fmla="*/ 4403737 h 5973007"/>
              <a:gd name="connsiteX18511" fmla="*/ 5517203 w 6884782"/>
              <a:gd name="connsiteY18511" fmla="*/ 4431203 h 5973007"/>
              <a:gd name="connsiteX18512" fmla="*/ 5514260 w 6884782"/>
              <a:gd name="connsiteY18512" fmla="*/ 4424801 h 5973007"/>
              <a:gd name="connsiteX18513" fmla="*/ 5524018 w 6884782"/>
              <a:gd name="connsiteY18513" fmla="*/ 4403737 h 5973007"/>
              <a:gd name="connsiteX18514" fmla="*/ 5939605 w 6884782"/>
              <a:gd name="connsiteY18514" fmla="*/ 4403324 h 5973007"/>
              <a:gd name="connsiteX18515" fmla="*/ 5940534 w 6884782"/>
              <a:gd name="connsiteY18515" fmla="*/ 4403324 h 5973007"/>
              <a:gd name="connsiteX18516" fmla="*/ 5939295 w 6884782"/>
              <a:gd name="connsiteY18516" fmla="*/ 4413856 h 5973007"/>
              <a:gd name="connsiteX18517" fmla="*/ 5937901 w 6884782"/>
              <a:gd name="connsiteY18517" fmla="*/ 4414682 h 5973007"/>
              <a:gd name="connsiteX18518" fmla="*/ 5935888 w 6884782"/>
              <a:gd name="connsiteY18518" fmla="*/ 4413649 h 5973007"/>
              <a:gd name="connsiteX18519" fmla="*/ 5935732 w 6884782"/>
              <a:gd name="connsiteY18519" fmla="*/ 4409209 h 5973007"/>
              <a:gd name="connsiteX18520" fmla="*/ 5938985 w 6884782"/>
              <a:gd name="connsiteY18520" fmla="*/ 4405905 h 5973007"/>
              <a:gd name="connsiteX18521" fmla="*/ 5939605 w 6884782"/>
              <a:gd name="connsiteY18521" fmla="*/ 4403324 h 5973007"/>
              <a:gd name="connsiteX18522" fmla="*/ 739281 w 6884782"/>
              <a:gd name="connsiteY18522" fmla="*/ 4403203 h 5973007"/>
              <a:gd name="connsiteX18523" fmla="*/ 734789 w 6884782"/>
              <a:gd name="connsiteY18523" fmla="*/ 4409914 h 5973007"/>
              <a:gd name="connsiteX18524" fmla="*/ 732001 w 6884782"/>
              <a:gd name="connsiteY18524" fmla="*/ 4409088 h 5973007"/>
              <a:gd name="connsiteX18525" fmla="*/ 730452 w 6884782"/>
              <a:gd name="connsiteY18525" fmla="*/ 4404235 h 5973007"/>
              <a:gd name="connsiteX18526" fmla="*/ 739281 w 6884782"/>
              <a:gd name="connsiteY18526" fmla="*/ 4403203 h 5973007"/>
              <a:gd name="connsiteX18527" fmla="*/ 1565653 w 6884782"/>
              <a:gd name="connsiteY18527" fmla="*/ 4402996 h 5973007"/>
              <a:gd name="connsiteX18528" fmla="*/ 1568441 w 6884782"/>
              <a:gd name="connsiteY18528" fmla="*/ 4407952 h 5973007"/>
              <a:gd name="connsiteX18529" fmla="*/ 1564414 w 6884782"/>
              <a:gd name="connsiteY18529" fmla="*/ 4409708 h 5973007"/>
              <a:gd name="connsiteX18530" fmla="*/ 1560077 w 6884782"/>
              <a:gd name="connsiteY18530" fmla="*/ 4407642 h 5973007"/>
              <a:gd name="connsiteX18531" fmla="*/ 1565653 w 6884782"/>
              <a:gd name="connsiteY18531" fmla="*/ 4402996 h 5973007"/>
              <a:gd name="connsiteX18532" fmla="*/ 1427640 w 6884782"/>
              <a:gd name="connsiteY18532" fmla="*/ 4401964 h 5973007"/>
              <a:gd name="connsiteX18533" fmla="*/ 1429809 w 6884782"/>
              <a:gd name="connsiteY18533" fmla="*/ 4405784 h 5973007"/>
              <a:gd name="connsiteX18534" fmla="*/ 1430738 w 6884782"/>
              <a:gd name="connsiteY18534" fmla="*/ 4405990 h 5973007"/>
              <a:gd name="connsiteX18535" fmla="*/ 1432442 w 6884782"/>
              <a:gd name="connsiteY18535" fmla="*/ 4404545 h 5973007"/>
              <a:gd name="connsiteX18536" fmla="*/ 1440806 w 6884782"/>
              <a:gd name="connsiteY18536" fmla="*/ 4405887 h 5973007"/>
              <a:gd name="connsiteX18537" fmla="*/ 1442665 w 6884782"/>
              <a:gd name="connsiteY18537" fmla="*/ 4415800 h 5973007"/>
              <a:gd name="connsiteX18538" fmla="*/ 1439877 w 6884782"/>
              <a:gd name="connsiteY18538" fmla="*/ 4419723 h 5973007"/>
              <a:gd name="connsiteX18539" fmla="*/ 1435850 w 6884782"/>
              <a:gd name="connsiteY18539" fmla="*/ 4419930 h 5973007"/>
              <a:gd name="connsiteX18540" fmla="*/ 1429964 w 6884782"/>
              <a:gd name="connsiteY18540" fmla="*/ 4417245 h 5973007"/>
              <a:gd name="connsiteX18541" fmla="*/ 1428879 w 6884782"/>
              <a:gd name="connsiteY18541" fmla="*/ 4407436 h 5973007"/>
              <a:gd name="connsiteX18542" fmla="*/ 1427331 w 6884782"/>
              <a:gd name="connsiteY18542" fmla="*/ 4406300 h 5973007"/>
              <a:gd name="connsiteX18543" fmla="*/ 1425937 w 6884782"/>
              <a:gd name="connsiteY18543" fmla="*/ 4402480 h 5973007"/>
              <a:gd name="connsiteX18544" fmla="*/ 1427640 w 6884782"/>
              <a:gd name="connsiteY18544" fmla="*/ 4401964 h 5973007"/>
              <a:gd name="connsiteX18545" fmla="*/ 1176088 w 6884782"/>
              <a:gd name="connsiteY18545" fmla="*/ 4401550 h 5973007"/>
              <a:gd name="connsiteX18546" fmla="*/ 1178412 w 6884782"/>
              <a:gd name="connsiteY18546" fmla="*/ 4406610 h 5973007"/>
              <a:gd name="connsiteX18547" fmla="*/ 1174695 w 6884782"/>
              <a:gd name="connsiteY18547" fmla="*/ 4408881 h 5973007"/>
              <a:gd name="connsiteX18548" fmla="*/ 1172836 w 6884782"/>
              <a:gd name="connsiteY18548" fmla="*/ 4407849 h 5973007"/>
              <a:gd name="connsiteX18549" fmla="*/ 1172681 w 6884782"/>
              <a:gd name="connsiteY18549" fmla="*/ 4407023 h 5973007"/>
              <a:gd name="connsiteX18550" fmla="*/ 1172216 w 6884782"/>
              <a:gd name="connsiteY18550" fmla="*/ 4403512 h 5973007"/>
              <a:gd name="connsiteX18551" fmla="*/ 1176088 w 6884782"/>
              <a:gd name="connsiteY18551" fmla="*/ 4401550 h 5973007"/>
              <a:gd name="connsiteX18552" fmla="*/ 6041681 w 6884782"/>
              <a:gd name="connsiteY18552" fmla="*/ 4401155 h 5973007"/>
              <a:gd name="connsiteX18553" fmla="*/ 6043540 w 6884782"/>
              <a:gd name="connsiteY18553" fmla="*/ 4401259 h 5973007"/>
              <a:gd name="connsiteX18554" fmla="*/ 6043231 w 6884782"/>
              <a:gd name="connsiteY18554" fmla="*/ 4401981 h 5973007"/>
              <a:gd name="connsiteX18555" fmla="*/ 6041836 w 6884782"/>
              <a:gd name="connsiteY18555" fmla="*/ 4401981 h 5973007"/>
              <a:gd name="connsiteX18556" fmla="*/ 6041681 w 6884782"/>
              <a:gd name="connsiteY18556" fmla="*/ 4401155 h 5973007"/>
              <a:gd name="connsiteX18557" fmla="*/ 6039358 w 6884782"/>
              <a:gd name="connsiteY18557" fmla="*/ 4400949 h 5973007"/>
              <a:gd name="connsiteX18558" fmla="*/ 6040597 w 6884782"/>
              <a:gd name="connsiteY18558" fmla="*/ 4401775 h 5973007"/>
              <a:gd name="connsiteX18559" fmla="*/ 6041217 w 6884782"/>
              <a:gd name="connsiteY18559" fmla="*/ 4402084 h 5973007"/>
              <a:gd name="connsiteX18560" fmla="*/ 6041062 w 6884782"/>
              <a:gd name="connsiteY18560" fmla="*/ 4402188 h 5973007"/>
              <a:gd name="connsiteX18561" fmla="*/ 6042456 w 6884782"/>
              <a:gd name="connsiteY18561" fmla="*/ 4404046 h 5973007"/>
              <a:gd name="connsiteX18562" fmla="*/ 6044160 w 6884782"/>
              <a:gd name="connsiteY18562" fmla="*/ 4404356 h 5973007"/>
              <a:gd name="connsiteX18563" fmla="*/ 6047103 w 6884782"/>
              <a:gd name="connsiteY18563" fmla="*/ 4410758 h 5973007"/>
              <a:gd name="connsiteX18564" fmla="*/ 6043850 w 6884782"/>
              <a:gd name="connsiteY18564" fmla="*/ 4407764 h 5973007"/>
              <a:gd name="connsiteX18565" fmla="*/ 6042301 w 6884782"/>
              <a:gd name="connsiteY18565" fmla="*/ 4405802 h 5973007"/>
              <a:gd name="connsiteX18566" fmla="*/ 6040752 w 6884782"/>
              <a:gd name="connsiteY18566" fmla="*/ 4404666 h 5973007"/>
              <a:gd name="connsiteX18567" fmla="*/ 6039823 w 6884782"/>
              <a:gd name="connsiteY18567" fmla="*/ 4403014 h 5973007"/>
              <a:gd name="connsiteX18568" fmla="*/ 6039668 w 6884782"/>
              <a:gd name="connsiteY18568" fmla="*/ 4403014 h 5973007"/>
              <a:gd name="connsiteX18569" fmla="*/ 6037964 w 6884782"/>
              <a:gd name="connsiteY18569" fmla="*/ 4403427 h 5973007"/>
              <a:gd name="connsiteX18570" fmla="*/ 6037035 w 6884782"/>
              <a:gd name="connsiteY18570" fmla="*/ 4402807 h 5973007"/>
              <a:gd name="connsiteX18571" fmla="*/ 6036415 w 6884782"/>
              <a:gd name="connsiteY18571" fmla="*/ 4401362 h 5973007"/>
              <a:gd name="connsiteX18572" fmla="*/ 6039048 w 6884782"/>
              <a:gd name="connsiteY18572" fmla="*/ 4401259 h 5973007"/>
              <a:gd name="connsiteX18573" fmla="*/ 6039358 w 6884782"/>
              <a:gd name="connsiteY18573" fmla="*/ 4401465 h 5973007"/>
              <a:gd name="connsiteX18574" fmla="*/ 5497531 w 6884782"/>
              <a:gd name="connsiteY18574" fmla="*/ 4400123 h 5973007"/>
              <a:gd name="connsiteX18575" fmla="*/ 5495672 w 6884782"/>
              <a:gd name="connsiteY18575" fmla="*/ 4407350 h 5973007"/>
              <a:gd name="connsiteX18576" fmla="*/ 5491955 w 6884782"/>
              <a:gd name="connsiteY18576" fmla="*/ 4407970 h 5973007"/>
              <a:gd name="connsiteX18577" fmla="*/ 5487927 w 6884782"/>
              <a:gd name="connsiteY18577" fmla="*/ 4406628 h 5973007"/>
              <a:gd name="connsiteX18578" fmla="*/ 5497531 w 6884782"/>
              <a:gd name="connsiteY18578" fmla="*/ 4400123 h 5973007"/>
              <a:gd name="connsiteX18579" fmla="*/ 1370949 w 6884782"/>
              <a:gd name="connsiteY18579" fmla="*/ 4400002 h 5973007"/>
              <a:gd name="connsiteX18580" fmla="*/ 1371723 w 6884782"/>
              <a:gd name="connsiteY18580" fmla="*/ 4400105 h 5973007"/>
              <a:gd name="connsiteX18581" fmla="*/ 1370793 w 6884782"/>
              <a:gd name="connsiteY18581" fmla="*/ 4403306 h 5973007"/>
              <a:gd name="connsiteX18582" fmla="*/ 1370949 w 6884782"/>
              <a:gd name="connsiteY18582" fmla="*/ 4400002 h 5973007"/>
              <a:gd name="connsiteX18583" fmla="*/ 6045709 w 6884782"/>
              <a:gd name="connsiteY18583" fmla="*/ 4399503 h 5973007"/>
              <a:gd name="connsiteX18584" fmla="*/ 6047568 w 6884782"/>
              <a:gd name="connsiteY18584" fmla="*/ 4399606 h 5973007"/>
              <a:gd name="connsiteX18585" fmla="*/ 6046948 w 6884782"/>
              <a:gd name="connsiteY18585" fmla="*/ 4400639 h 5973007"/>
              <a:gd name="connsiteX18586" fmla="*/ 6045709 w 6884782"/>
              <a:gd name="connsiteY18586" fmla="*/ 4399503 h 5973007"/>
              <a:gd name="connsiteX18587" fmla="*/ 1648987 w 6884782"/>
              <a:gd name="connsiteY18587" fmla="*/ 4398556 h 5973007"/>
              <a:gd name="connsiteX18588" fmla="*/ 1654099 w 6884782"/>
              <a:gd name="connsiteY18588" fmla="*/ 4402170 h 5973007"/>
              <a:gd name="connsiteX18589" fmla="*/ 1651775 w 6884782"/>
              <a:gd name="connsiteY18589" fmla="*/ 4404545 h 5973007"/>
              <a:gd name="connsiteX18590" fmla="*/ 1656112 w 6884782"/>
              <a:gd name="connsiteY18590" fmla="*/ 4407849 h 5973007"/>
              <a:gd name="connsiteX18591" fmla="*/ 1658281 w 6884782"/>
              <a:gd name="connsiteY18591" fmla="*/ 4412702 h 5973007"/>
              <a:gd name="connsiteX18592" fmla="*/ 1656267 w 6884782"/>
              <a:gd name="connsiteY18592" fmla="*/ 4418484 h 5973007"/>
              <a:gd name="connsiteX18593" fmla="*/ 1653324 w 6884782"/>
              <a:gd name="connsiteY18593" fmla="*/ 4419517 h 5973007"/>
              <a:gd name="connsiteX18594" fmla="*/ 1654408 w 6884782"/>
              <a:gd name="connsiteY18594" fmla="*/ 4420446 h 5973007"/>
              <a:gd name="connsiteX18595" fmla="*/ 1656422 w 6884782"/>
              <a:gd name="connsiteY18595" fmla="*/ 4422821 h 5973007"/>
              <a:gd name="connsiteX18596" fmla="*/ 1653789 w 6884782"/>
              <a:gd name="connsiteY18596" fmla="*/ 4425196 h 5973007"/>
              <a:gd name="connsiteX18597" fmla="*/ 1651466 w 6884782"/>
              <a:gd name="connsiteY18597" fmla="*/ 4425299 h 5973007"/>
              <a:gd name="connsiteX18598" fmla="*/ 1651775 w 6884782"/>
              <a:gd name="connsiteY18598" fmla="*/ 4426538 h 5973007"/>
              <a:gd name="connsiteX18599" fmla="*/ 1643411 w 6884782"/>
              <a:gd name="connsiteY18599" fmla="*/ 4432631 h 5973007"/>
              <a:gd name="connsiteX18600" fmla="*/ 1641397 w 6884782"/>
              <a:gd name="connsiteY18600" fmla="*/ 4428604 h 5973007"/>
              <a:gd name="connsiteX18601" fmla="*/ 1640468 w 6884782"/>
              <a:gd name="connsiteY18601" fmla="*/ 4425299 h 5973007"/>
              <a:gd name="connsiteX18602" fmla="*/ 1645579 w 6884782"/>
              <a:gd name="connsiteY18602" fmla="*/ 4420446 h 5973007"/>
              <a:gd name="connsiteX18603" fmla="*/ 1645889 w 6884782"/>
              <a:gd name="connsiteY18603" fmla="*/ 4420549 h 5973007"/>
              <a:gd name="connsiteX18604" fmla="*/ 1645889 w 6884782"/>
              <a:gd name="connsiteY18604" fmla="*/ 4420343 h 5973007"/>
              <a:gd name="connsiteX18605" fmla="*/ 1646974 w 6884782"/>
              <a:gd name="connsiteY18605" fmla="*/ 4419001 h 5973007"/>
              <a:gd name="connsiteX18606" fmla="*/ 1645270 w 6884782"/>
              <a:gd name="connsiteY18606" fmla="*/ 4418381 h 5973007"/>
              <a:gd name="connsiteX18607" fmla="*/ 1641707 w 6884782"/>
              <a:gd name="connsiteY18607" fmla="*/ 4409914 h 5973007"/>
              <a:gd name="connsiteX18608" fmla="*/ 1641707 w 6884782"/>
              <a:gd name="connsiteY18608" fmla="*/ 4410740 h 5973007"/>
              <a:gd name="connsiteX18609" fmla="*/ 1629470 w 6884782"/>
              <a:gd name="connsiteY18609" fmla="*/ 4417555 h 5973007"/>
              <a:gd name="connsiteX18610" fmla="*/ 1630400 w 6884782"/>
              <a:gd name="connsiteY18610" fmla="*/ 4415077 h 5973007"/>
              <a:gd name="connsiteX18611" fmla="*/ 1631329 w 6884782"/>
              <a:gd name="connsiteY18611" fmla="*/ 4414354 h 5973007"/>
              <a:gd name="connsiteX18612" fmla="*/ 1631329 w 6884782"/>
              <a:gd name="connsiteY18612" fmla="*/ 4413528 h 5973007"/>
              <a:gd name="connsiteX18613" fmla="*/ 1632258 w 6884782"/>
              <a:gd name="connsiteY18613" fmla="*/ 4413632 h 5973007"/>
              <a:gd name="connsiteX18614" fmla="*/ 1633962 w 6884782"/>
              <a:gd name="connsiteY18614" fmla="*/ 4412186 h 5973007"/>
              <a:gd name="connsiteX18615" fmla="*/ 1636751 w 6884782"/>
              <a:gd name="connsiteY18615" fmla="*/ 4407333 h 5973007"/>
              <a:gd name="connsiteX18616" fmla="*/ 1642017 w 6884782"/>
              <a:gd name="connsiteY18616" fmla="*/ 4404751 h 5973007"/>
              <a:gd name="connsiteX18617" fmla="*/ 1643565 w 6884782"/>
              <a:gd name="connsiteY18617" fmla="*/ 4406713 h 5973007"/>
              <a:gd name="connsiteX18618" fmla="*/ 1645425 w 6884782"/>
              <a:gd name="connsiteY18618" fmla="*/ 4405268 h 5973007"/>
              <a:gd name="connsiteX18619" fmla="*/ 1647593 w 6884782"/>
              <a:gd name="connsiteY18619" fmla="*/ 4403512 h 5973007"/>
              <a:gd name="connsiteX18620" fmla="*/ 1647593 w 6884782"/>
              <a:gd name="connsiteY18620" fmla="*/ 4401447 h 5973007"/>
              <a:gd name="connsiteX18621" fmla="*/ 1648987 w 6884782"/>
              <a:gd name="connsiteY18621" fmla="*/ 4398556 h 5973007"/>
              <a:gd name="connsiteX18622" fmla="*/ 1499202 w 6884782"/>
              <a:gd name="connsiteY18622" fmla="*/ 4397317 h 5973007"/>
              <a:gd name="connsiteX18623" fmla="*/ 1501836 w 6884782"/>
              <a:gd name="connsiteY18623" fmla="*/ 4398246 h 5973007"/>
              <a:gd name="connsiteX18624" fmla="*/ 1499977 w 6884782"/>
              <a:gd name="connsiteY18624" fmla="*/ 4403306 h 5973007"/>
              <a:gd name="connsiteX18625" fmla="*/ 1499202 w 6884782"/>
              <a:gd name="connsiteY18625" fmla="*/ 4397317 h 5973007"/>
              <a:gd name="connsiteX18626" fmla="*/ 6061199 w 6884782"/>
              <a:gd name="connsiteY18626" fmla="*/ 4396818 h 5973007"/>
              <a:gd name="connsiteX18627" fmla="*/ 6047723 w 6884782"/>
              <a:gd name="connsiteY18627" fmla="*/ 4399710 h 5973007"/>
              <a:gd name="connsiteX18628" fmla="*/ 6061199 w 6884782"/>
              <a:gd name="connsiteY18628" fmla="*/ 4396818 h 5973007"/>
              <a:gd name="connsiteX18629" fmla="*/ 1578665 w 6884782"/>
              <a:gd name="connsiteY18629" fmla="*/ 4396284 h 5973007"/>
              <a:gd name="connsiteX18630" fmla="*/ 1572933 w 6884782"/>
              <a:gd name="connsiteY18630" fmla="*/ 4407333 h 5973007"/>
              <a:gd name="connsiteX18631" fmla="*/ 1572778 w 6884782"/>
              <a:gd name="connsiteY18631" fmla="*/ 4404648 h 5973007"/>
              <a:gd name="connsiteX18632" fmla="*/ 1578665 w 6884782"/>
              <a:gd name="connsiteY18632" fmla="*/ 4396284 h 5973007"/>
              <a:gd name="connsiteX18633" fmla="*/ 5753110 w 6884782"/>
              <a:gd name="connsiteY18633" fmla="*/ 4395993 h 5973007"/>
              <a:gd name="connsiteX18634" fmla="*/ 5757292 w 6884782"/>
              <a:gd name="connsiteY18634" fmla="*/ 4397438 h 5973007"/>
              <a:gd name="connsiteX18635" fmla="*/ 5757912 w 6884782"/>
              <a:gd name="connsiteY18635" fmla="*/ 4400123 h 5973007"/>
              <a:gd name="connsiteX18636" fmla="*/ 5756827 w 6884782"/>
              <a:gd name="connsiteY18636" fmla="*/ 4401155 h 5973007"/>
              <a:gd name="connsiteX18637" fmla="*/ 5755433 w 6884782"/>
              <a:gd name="connsiteY18637" fmla="*/ 4400639 h 5973007"/>
              <a:gd name="connsiteX18638" fmla="*/ 5752955 w 6884782"/>
              <a:gd name="connsiteY18638" fmla="*/ 4399400 h 5973007"/>
              <a:gd name="connsiteX18639" fmla="*/ 5752645 w 6884782"/>
              <a:gd name="connsiteY18639" fmla="*/ 4397851 h 5973007"/>
              <a:gd name="connsiteX18640" fmla="*/ 5753110 w 6884782"/>
              <a:gd name="connsiteY18640" fmla="*/ 4395993 h 5973007"/>
              <a:gd name="connsiteX18641" fmla="*/ 744083 w 6884782"/>
              <a:gd name="connsiteY18641" fmla="*/ 4395768 h 5973007"/>
              <a:gd name="connsiteX18642" fmla="*/ 748111 w 6884782"/>
              <a:gd name="connsiteY18642" fmla="*/ 4401344 h 5973007"/>
              <a:gd name="connsiteX18643" fmla="*/ 743154 w 6884782"/>
              <a:gd name="connsiteY18643" fmla="*/ 4402893 h 5973007"/>
              <a:gd name="connsiteX18644" fmla="*/ 740831 w 6884782"/>
              <a:gd name="connsiteY18644" fmla="*/ 4401137 h 5973007"/>
              <a:gd name="connsiteX18645" fmla="*/ 741295 w 6884782"/>
              <a:gd name="connsiteY18645" fmla="*/ 4398040 h 5973007"/>
              <a:gd name="connsiteX18646" fmla="*/ 744083 w 6884782"/>
              <a:gd name="connsiteY18646" fmla="*/ 4395768 h 5973007"/>
              <a:gd name="connsiteX18647" fmla="*/ 1748276 w 6884782"/>
              <a:gd name="connsiteY18647" fmla="*/ 4394219 h 5973007"/>
              <a:gd name="connsiteX18648" fmla="*/ 1751993 w 6884782"/>
              <a:gd name="connsiteY18648" fmla="*/ 4397833 h 5973007"/>
              <a:gd name="connsiteX18649" fmla="*/ 1745332 w 6884782"/>
              <a:gd name="connsiteY18649" fmla="*/ 4403512 h 5973007"/>
              <a:gd name="connsiteX18650" fmla="*/ 1748276 w 6884782"/>
              <a:gd name="connsiteY18650" fmla="*/ 4394219 h 5973007"/>
              <a:gd name="connsiteX18651" fmla="*/ 1210321 w 6884782"/>
              <a:gd name="connsiteY18651" fmla="*/ 4394013 h 5973007"/>
              <a:gd name="connsiteX18652" fmla="*/ 1205365 w 6884782"/>
              <a:gd name="connsiteY18652" fmla="*/ 4402686 h 5973007"/>
              <a:gd name="connsiteX18653" fmla="*/ 1196380 w 6884782"/>
              <a:gd name="connsiteY18653" fmla="*/ 4406507 h 5973007"/>
              <a:gd name="connsiteX18654" fmla="*/ 1210321 w 6884782"/>
              <a:gd name="connsiteY18654" fmla="*/ 4394013 h 5973007"/>
              <a:gd name="connsiteX18655" fmla="*/ 1469307 w 6884782"/>
              <a:gd name="connsiteY18655" fmla="*/ 4393290 h 5973007"/>
              <a:gd name="connsiteX18656" fmla="*/ 1475968 w 6884782"/>
              <a:gd name="connsiteY18656" fmla="*/ 4403409 h 5973007"/>
              <a:gd name="connsiteX18657" fmla="*/ 1465435 w 6884782"/>
              <a:gd name="connsiteY18657" fmla="*/ 4398556 h 5973007"/>
              <a:gd name="connsiteX18658" fmla="*/ 1469307 w 6884782"/>
              <a:gd name="connsiteY18658" fmla="*/ 4393290 h 5973007"/>
              <a:gd name="connsiteX18659" fmla="*/ 5388484 w 6884782"/>
              <a:gd name="connsiteY18659" fmla="*/ 4392998 h 5973007"/>
              <a:gd name="connsiteX18660" fmla="*/ 5395144 w 6884782"/>
              <a:gd name="connsiteY18660" fmla="*/ 4395063 h 5973007"/>
              <a:gd name="connsiteX18661" fmla="*/ 5388794 w 6884782"/>
              <a:gd name="connsiteY18661" fmla="*/ 4407454 h 5973007"/>
              <a:gd name="connsiteX18662" fmla="*/ 5384456 w 6884782"/>
              <a:gd name="connsiteY18662" fmla="*/ 4404563 h 5973007"/>
              <a:gd name="connsiteX18663" fmla="*/ 5388484 w 6884782"/>
              <a:gd name="connsiteY18663" fmla="*/ 4392998 h 5973007"/>
              <a:gd name="connsiteX18664" fmla="*/ 5958502 w 6884782"/>
              <a:gd name="connsiteY18664" fmla="*/ 4391759 h 5973007"/>
              <a:gd name="connsiteX18665" fmla="*/ 5961290 w 6884782"/>
              <a:gd name="connsiteY18665" fmla="*/ 4398677 h 5973007"/>
              <a:gd name="connsiteX18666" fmla="*/ 5959122 w 6884782"/>
              <a:gd name="connsiteY18666" fmla="*/ 4400639 h 5973007"/>
              <a:gd name="connsiteX18667" fmla="*/ 5954475 w 6884782"/>
              <a:gd name="connsiteY18667" fmla="*/ 4397335 h 5973007"/>
              <a:gd name="connsiteX18668" fmla="*/ 5954940 w 6884782"/>
              <a:gd name="connsiteY18668" fmla="*/ 4394443 h 5973007"/>
              <a:gd name="connsiteX18669" fmla="*/ 5958502 w 6884782"/>
              <a:gd name="connsiteY18669" fmla="*/ 4391759 h 5973007"/>
              <a:gd name="connsiteX18670" fmla="*/ 1123734 w 6884782"/>
              <a:gd name="connsiteY18670" fmla="*/ 4391638 h 5973007"/>
              <a:gd name="connsiteX18671" fmla="*/ 1123734 w 6884782"/>
              <a:gd name="connsiteY18671" fmla="*/ 4392464 h 5973007"/>
              <a:gd name="connsiteX18672" fmla="*/ 1122185 w 6884782"/>
              <a:gd name="connsiteY18672" fmla="*/ 4394116 h 5973007"/>
              <a:gd name="connsiteX18673" fmla="*/ 1120791 w 6884782"/>
              <a:gd name="connsiteY18673" fmla="*/ 4400105 h 5973007"/>
              <a:gd name="connsiteX18674" fmla="*/ 1119087 w 6884782"/>
              <a:gd name="connsiteY18674" fmla="*/ 4400828 h 5973007"/>
              <a:gd name="connsiteX18675" fmla="*/ 1118157 w 6884782"/>
              <a:gd name="connsiteY18675" fmla="*/ 4398246 h 5973007"/>
              <a:gd name="connsiteX18676" fmla="*/ 1120636 w 6884782"/>
              <a:gd name="connsiteY18676" fmla="*/ 4396698 h 5973007"/>
              <a:gd name="connsiteX18677" fmla="*/ 1121255 w 6884782"/>
              <a:gd name="connsiteY18677" fmla="*/ 4393187 h 5973007"/>
              <a:gd name="connsiteX18678" fmla="*/ 1123734 w 6884782"/>
              <a:gd name="connsiteY18678" fmla="*/ 4391638 h 5973007"/>
              <a:gd name="connsiteX18679" fmla="*/ 1335633 w 6884782"/>
              <a:gd name="connsiteY18679" fmla="*/ 4391225 h 5973007"/>
              <a:gd name="connsiteX18680" fmla="*/ 1327268 w 6884782"/>
              <a:gd name="connsiteY18680" fmla="*/ 4408469 h 5973007"/>
              <a:gd name="connsiteX18681" fmla="*/ 1325719 w 6884782"/>
              <a:gd name="connsiteY18681" fmla="*/ 4409191 h 5973007"/>
              <a:gd name="connsiteX18682" fmla="*/ 1325409 w 6884782"/>
              <a:gd name="connsiteY18682" fmla="*/ 4410947 h 5973007"/>
              <a:gd name="connsiteX18683" fmla="*/ 1321691 w 6884782"/>
              <a:gd name="connsiteY18683" fmla="*/ 4413528 h 5973007"/>
              <a:gd name="connsiteX18684" fmla="*/ 1318748 w 6884782"/>
              <a:gd name="connsiteY18684" fmla="*/ 4413218 h 5973007"/>
              <a:gd name="connsiteX18685" fmla="*/ 1317974 w 6884782"/>
              <a:gd name="connsiteY18685" fmla="*/ 4411256 h 5973007"/>
              <a:gd name="connsiteX18686" fmla="*/ 1317509 w 6884782"/>
              <a:gd name="connsiteY18686" fmla="*/ 4408572 h 5973007"/>
              <a:gd name="connsiteX18687" fmla="*/ 1317974 w 6884782"/>
              <a:gd name="connsiteY18687" fmla="*/ 4408159 h 5973007"/>
              <a:gd name="connsiteX18688" fmla="*/ 1315031 w 6884782"/>
              <a:gd name="connsiteY18688" fmla="*/ 4405577 h 5973007"/>
              <a:gd name="connsiteX18689" fmla="*/ 1335633 w 6884782"/>
              <a:gd name="connsiteY18689" fmla="*/ 4391225 h 5973007"/>
              <a:gd name="connsiteX18690" fmla="*/ 1225501 w 6884782"/>
              <a:gd name="connsiteY18690" fmla="*/ 4391121 h 5973007"/>
              <a:gd name="connsiteX18691" fmla="*/ 1235879 w 6884782"/>
              <a:gd name="connsiteY18691" fmla="*/ 4395252 h 5973007"/>
              <a:gd name="connsiteX18692" fmla="*/ 1244708 w 6884782"/>
              <a:gd name="connsiteY18692" fmla="*/ 4403925 h 5973007"/>
              <a:gd name="connsiteX18693" fmla="*/ 1241300 w 6884782"/>
              <a:gd name="connsiteY18693" fmla="*/ 4404751 h 5973007"/>
              <a:gd name="connsiteX18694" fmla="*/ 1238047 w 6884782"/>
              <a:gd name="connsiteY18694" fmla="*/ 4404442 h 5973007"/>
              <a:gd name="connsiteX18695" fmla="*/ 1225501 w 6884782"/>
              <a:gd name="connsiteY18695" fmla="*/ 4391121 h 5973007"/>
              <a:gd name="connsiteX18696" fmla="*/ 1277081 w 6884782"/>
              <a:gd name="connsiteY18696" fmla="*/ 4390812 h 5973007"/>
              <a:gd name="connsiteX18697" fmla="*/ 1283432 w 6884782"/>
              <a:gd name="connsiteY18697" fmla="*/ 4392361 h 5973007"/>
              <a:gd name="connsiteX18698" fmla="*/ 1278475 w 6884782"/>
              <a:gd name="connsiteY18698" fmla="*/ 4396491 h 5973007"/>
              <a:gd name="connsiteX18699" fmla="*/ 1277081 w 6884782"/>
              <a:gd name="connsiteY18699" fmla="*/ 4390812 h 5973007"/>
              <a:gd name="connsiteX18700" fmla="*/ 1709706 w 6884782"/>
              <a:gd name="connsiteY18700" fmla="*/ 4390502 h 5973007"/>
              <a:gd name="connsiteX18701" fmla="*/ 1717761 w 6884782"/>
              <a:gd name="connsiteY18701" fmla="*/ 4400828 h 5973007"/>
              <a:gd name="connsiteX18702" fmla="*/ 1714973 w 6884782"/>
              <a:gd name="connsiteY18702" fmla="*/ 4400724 h 5973007"/>
              <a:gd name="connsiteX18703" fmla="*/ 1706609 w 6884782"/>
              <a:gd name="connsiteY18703" fmla="*/ 4395665 h 5973007"/>
              <a:gd name="connsiteX18704" fmla="*/ 1709706 w 6884782"/>
              <a:gd name="connsiteY18704" fmla="*/ 4390502 h 5973007"/>
              <a:gd name="connsiteX18705" fmla="*/ 6038119 w 6884782"/>
              <a:gd name="connsiteY18705" fmla="*/ 4390416 h 5973007"/>
              <a:gd name="connsiteX18706" fmla="*/ 6039203 w 6884782"/>
              <a:gd name="connsiteY18706" fmla="*/ 4390623 h 5973007"/>
              <a:gd name="connsiteX18707" fmla="*/ 6047258 w 6884782"/>
              <a:gd name="connsiteY18707" fmla="*/ 4396509 h 5973007"/>
              <a:gd name="connsiteX18708" fmla="*/ 6042921 w 6884782"/>
              <a:gd name="connsiteY18708" fmla="*/ 4400742 h 5973007"/>
              <a:gd name="connsiteX18709" fmla="*/ 6040443 w 6884782"/>
              <a:gd name="connsiteY18709" fmla="*/ 4400639 h 5973007"/>
              <a:gd name="connsiteX18710" fmla="*/ 6032543 w 6884782"/>
              <a:gd name="connsiteY18710" fmla="*/ 4396818 h 5973007"/>
              <a:gd name="connsiteX18711" fmla="*/ 6038119 w 6884782"/>
              <a:gd name="connsiteY18711" fmla="*/ 4390416 h 5973007"/>
              <a:gd name="connsiteX18712" fmla="*/ 1502765 w 6884782"/>
              <a:gd name="connsiteY18712" fmla="*/ 4390296 h 5973007"/>
              <a:gd name="connsiteX18713" fmla="*/ 1498893 w 6884782"/>
              <a:gd name="connsiteY18713" fmla="*/ 4395148 h 5973007"/>
              <a:gd name="connsiteX18714" fmla="*/ 1496105 w 6884782"/>
              <a:gd name="connsiteY18714" fmla="*/ 4394529 h 5973007"/>
              <a:gd name="connsiteX18715" fmla="*/ 1495330 w 6884782"/>
              <a:gd name="connsiteY18715" fmla="*/ 4393703 h 5973007"/>
              <a:gd name="connsiteX18716" fmla="*/ 1493316 w 6884782"/>
              <a:gd name="connsiteY18716" fmla="*/ 4396698 h 5973007"/>
              <a:gd name="connsiteX18717" fmla="*/ 1489909 w 6884782"/>
              <a:gd name="connsiteY18717" fmla="*/ 4401241 h 5973007"/>
              <a:gd name="connsiteX18718" fmla="*/ 1480305 w 6884782"/>
              <a:gd name="connsiteY18718" fmla="*/ 4405268 h 5973007"/>
              <a:gd name="connsiteX18719" fmla="*/ 1492232 w 6884782"/>
              <a:gd name="connsiteY18719" fmla="*/ 4393187 h 5973007"/>
              <a:gd name="connsiteX18720" fmla="*/ 1494401 w 6884782"/>
              <a:gd name="connsiteY18720" fmla="*/ 4392774 h 5973007"/>
              <a:gd name="connsiteX18721" fmla="*/ 1494246 w 6884782"/>
              <a:gd name="connsiteY18721" fmla="*/ 4392670 h 5973007"/>
              <a:gd name="connsiteX18722" fmla="*/ 1502765 w 6884782"/>
              <a:gd name="connsiteY18722" fmla="*/ 4390296 h 5973007"/>
              <a:gd name="connsiteX18723" fmla="*/ 5698896 w 6884782"/>
              <a:gd name="connsiteY18723" fmla="*/ 4390107 h 5973007"/>
              <a:gd name="connsiteX18724" fmla="*/ 5700600 w 6884782"/>
              <a:gd name="connsiteY18724" fmla="*/ 4392688 h 5973007"/>
              <a:gd name="connsiteX18725" fmla="*/ 5690377 w 6884782"/>
              <a:gd name="connsiteY18725" fmla="*/ 4406421 h 5973007"/>
              <a:gd name="connsiteX18726" fmla="*/ 5688208 w 6884782"/>
              <a:gd name="connsiteY18726" fmla="*/ 4405079 h 5973007"/>
              <a:gd name="connsiteX18727" fmla="*/ 5698896 w 6884782"/>
              <a:gd name="connsiteY18727" fmla="*/ 4390107 h 5973007"/>
              <a:gd name="connsiteX18728" fmla="*/ 1368935 w 6884782"/>
              <a:gd name="connsiteY18728" fmla="*/ 4390089 h 5973007"/>
              <a:gd name="connsiteX18729" fmla="*/ 1368625 w 6884782"/>
              <a:gd name="connsiteY18729" fmla="*/ 4395458 h 5973007"/>
              <a:gd name="connsiteX18730" fmla="*/ 1366301 w 6884782"/>
              <a:gd name="connsiteY18730" fmla="*/ 4394426 h 5973007"/>
              <a:gd name="connsiteX18731" fmla="*/ 1368935 w 6884782"/>
              <a:gd name="connsiteY18731" fmla="*/ 4390089 h 5973007"/>
              <a:gd name="connsiteX18732" fmla="*/ 5851159 w 6884782"/>
              <a:gd name="connsiteY18732" fmla="*/ 4389694 h 5973007"/>
              <a:gd name="connsiteX18733" fmla="*/ 5862931 w 6884782"/>
              <a:gd name="connsiteY18733" fmla="*/ 4396199 h 5973007"/>
              <a:gd name="connsiteX18734" fmla="*/ 5859214 w 6884782"/>
              <a:gd name="connsiteY18734" fmla="*/ 4402498 h 5973007"/>
              <a:gd name="connsiteX18735" fmla="*/ 5857200 w 6884782"/>
              <a:gd name="connsiteY18735" fmla="*/ 4402291 h 5973007"/>
              <a:gd name="connsiteX18736" fmla="*/ 5848061 w 6884782"/>
              <a:gd name="connsiteY18736" fmla="*/ 4397954 h 5973007"/>
              <a:gd name="connsiteX18737" fmla="*/ 5851159 w 6884782"/>
              <a:gd name="connsiteY18737" fmla="*/ 4389694 h 5973007"/>
              <a:gd name="connsiteX18738" fmla="*/ 5898867 w 6884782"/>
              <a:gd name="connsiteY18738" fmla="*/ 4389177 h 5973007"/>
              <a:gd name="connsiteX18739" fmla="*/ 5903359 w 6884782"/>
              <a:gd name="connsiteY18739" fmla="*/ 4392895 h 5973007"/>
              <a:gd name="connsiteX18740" fmla="*/ 5900571 w 6884782"/>
              <a:gd name="connsiteY18740" fmla="*/ 4399606 h 5973007"/>
              <a:gd name="connsiteX18741" fmla="*/ 5897783 w 6884782"/>
              <a:gd name="connsiteY18741" fmla="*/ 4401671 h 5973007"/>
              <a:gd name="connsiteX18742" fmla="*/ 5901810 w 6884782"/>
              <a:gd name="connsiteY18742" fmla="*/ 4404253 h 5973007"/>
              <a:gd name="connsiteX18743" fmla="*/ 5902430 w 6884782"/>
              <a:gd name="connsiteY18743" fmla="*/ 4405389 h 5973007"/>
              <a:gd name="connsiteX18744" fmla="*/ 5902895 w 6884782"/>
              <a:gd name="connsiteY18744" fmla="*/ 4404253 h 5973007"/>
              <a:gd name="connsiteX18745" fmla="*/ 5915441 w 6884782"/>
              <a:gd name="connsiteY18745" fmla="*/ 4396818 h 5973007"/>
              <a:gd name="connsiteX18746" fmla="*/ 5917145 w 6884782"/>
              <a:gd name="connsiteY18746" fmla="*/ 4399297 h 5973007"/>
              <a:gd name="connsiteX18747" fmla="*/ 5918074 w 6884782"/>
              <a:gd name="connsiteY18747" fmla="*/ 4398780 h 5973007"/>
              <a:gd name="connsiteX18748" fmla="*/ 5921792 w 6884782"/>
              <a:gd name="connsiteY18748" fmla="*/ 4397644 h 5973007"/>
              <a:gd name="connsiteX18749" fmla="*/ 5921482 w 6884782"/>
              <a:gd name="connsiteY18749" fmla="*/ 4397128 h 5973007"/>
              <a:gd name="connsiteX18750" fmla="*/ 5922411 w 6884782"/>
              <a:gd name="connsiteY18750" fmla="*/ 4394753 h 5973007"/>
              <a:gd name="connsiteX18751" fmla="*/ 5929072 w 6884782"/>
              <a:gd name="connsiteY18751" fmla="*/ 4393411 h 5973007"/>
              <a:gd name="connsiteX18752" fmla="*/ 5933254 w 6884782"/>
              <a:gd name="connsiteY18752" fmla="*/ 4391862 h 5973007"/>
              <a:gd name="connsiteX18753" fmla="*/ 5928297 w 6884782"/>
              <a:gd name="connsiteY18753" fmla="*/ 4395063 h 5973007"/>
              <a:gd name="connsiteX18754" fmla="*/ 5927523 w 6884782"/>
              <a:gd name="connsiteY18754" fmla="*/ 4397541 h 5973007"/>
              <a:gd name="connsiteX18755" fmla="*/ 5925974 w 6884782"/>
              <a:gd name="connsiteY18755" fmla="*/ 4398264 h 5973007"/>
              <a:gd name="connsiteX18756" fmla="*/ 5926284 w 6884782"/>
              <a:gd name="connsiteY18756" fmla="*/ 4399400 h 5973007"/>
              <a:gd name="connsiteX18757" fmla="*/ 5927523 w 6884782"/>
              <a:gd name="connsiteY18757" fmla="*/ 4401671 h 5973007"/>
              <a:gd name="connsiteX18758" fmla="*/ 5921327 w 6884782"/>
              <a:gd name="connsiteY18758" fmla="*/ 4403840 h 5973007"/>
              <a:gd name="connsiteX18759" fmla="*/ 5918694 w 6884782"/>
              <a:gd name="connsiteY18759" fmla="*/ 4404253 h 5973007"/>
              <a:gd name="connsiteX18760" fmla="*/ 5918694 w 6884782"/>
              <a:gd name="connsiteY18760" fmla="*/ 4404563 h 5973007"/>
              <a:gd name="connsiteX18761" fmla="*/ 5916216 w 6884782"/>
              <a:gd name="connsiteY18761" fmla="*/ 4409209 h 5973007"/>
              <a:gd name="connsiteX18762" fmla="*/ 5914821 w 6884782"/>
              <a:gd name="connsiteY18762" fmla="*/ 4410035 h 5973007"/>
              <a:gd name="connsiteX18763" fmla="*/ 5913118 w 6884782"/>
              <a:gd name="connsiteY18763" fmla="*/ 4420154 h 5973007"/>
              <a:gd name="connsiteX18764" fmla="*/ 5905683 w 6884782"/>
              <a:gd name="connsiteY18764" fmla="*/ 4418089 h 5973007"/>
              <a:gd name="connsiteX18765" fmla="*/ 5905838 w 6884782"/>
              <a:gd name="connsiteY18765" fmla="*/ 4412100 h 5973007"/>
              <a:gd name="connsiteX18766" fmla="*/ 5904443 w 6884782"/>
              <a:gd name="connsiteY18766" fmla="*/ 4411068 h 5973007"/>
              <a:gd name="connsiteX18767" fmla="*/ 5904288 w 6884782"/>
              <a:gd name="connsiteY18767" fmla="*/ 4415611 h 5973007"/>
              <a:gd name="connsiteX18768" fmla="*/ 5901810 w 6884782"/>
              <a:gd name="connsiteY18768" fmla="*/ 4422219 h 5973007"/>
              <a:gd name="connsiteX18769" fmla="*/ 5872535 w 6884782"/>
              <a:gd name="connsiteY18769" fmla="*/ 4443594 h 5973007"/>
              <a:gd name="connsiteX18770" fmla="*/ 5863396 w 6884782"/>
              <a:gd name="connsiteY18770" fmla="*/ 4439360 h 5973007"/>
              <a:gd name="connsiteX18771" fmla="*/ 5867888 w 6884782"/>
              <a:gd name="connsiteY18771" fmla="*/ 4428621 h 5973007"/>
              <a:gd name="connsiteX18772" fmla="*/ 5874394 w 6884782"/>
              <a:gd name="connsiteY18772" fmla="*/ 4418605 h 5973007"/>
              <a:gd name="connsiteX18773" fmla="*/ 5871296 w 6884782"/>
              <a:gd name="connsiteY18773" fmla="*/ 4419432 h 5973007"/>
              <a:gd name="connsiteX18774" fmla="*/ 5866029 w 6884782"/>
              <a:gd name="connsiteY18774" fmla="*/ 4419638 h 5973007"/>
              <a:gd name="connsiteX18775" fmla="*/ 5870211 w 6884782"/>
              <a:gd name="connsiteY18775" fmla="*/ 4414166 h 5973007"/>
              <a:gd name="connsiteX18776" fmla="*/ 5874858 w 6884782"/>
              <a:gd name="connsiteY18776" fmla="*/ 4411171 h 5973007"/>
              <a:gd name="connsiteX18777" fmla="*/ 5874394 w 6884782"/>
              <a:gd name="connsiteY18777" fmla="*/ 4408590 h 5973007"/>
              <a:gd name="connsiteX18778" fmla="*/ 5871915 w 6884782"/>
              <a:gd name="connsiteY18778" fmla="*/ 4412307 h 5973007"/>
              <a:gd name="connsiteX18779" fmla="*/ 5855961 w 6884782"/>
              <a:gd name="connsiteY18779" fmla="*/ 4418296 h 5973007"/>
              <a:gd name="connsiteX18780" fmla="*/ 5863086 w 6884782"/>
              <a:gd name="connsiteY18780" fmla="*/ 4409209 h 5973007"/>
              <a:gd name="connsiteX18781" fmla="*/ 5874239 w 6884782"/>
              <a:gd name="connsiteY18781" fmla="*/ 4406938 h 5973007"/>
              <a:gd name="connsiteX18782" fmla="*/ 5874239 w 6884782"/>
              <a:gd name="connsiteY18782" fmla="*/ 4404356 h 5973007"/>
              <a:gd name="connsiteX18783" fmla="*/ 5877956 w 6884782"/>
              <a:gd name="connsiteY18783" fmla="*/ 4403737 h 5973007"/>
              <a:gd name="connsiteX18784" fmla="*/ 5879660 w 6884782"/>
              <a:gd name="connsiteY18784" fmla="*/ 4404976 h 5973007"/>
              <a:gd name="connsiteX18785" fmla="*/ 5880125 w 6884782"/>
              <a:gd name="connsiteY18785" fmla="*/ 4399813 h 5973007"/>
              <a:gd name="connsiteX18786" fmla="*/ 5885391 w 6884782"/>
              <a:gd name="connsiteY18786" fmla="*/ 4405595 h 5973007"/>
              <a:gd name="connsiteX18787" fmla="*/ 5887715 w 6884782"/>
              <a:gd name="connsiteY18787" fmla="*/ 4406111 h 5973007"/>
              <a:gd name="connsiteX18788" fmla="*/ 5894065 w 6884782"/>
              <a:gd name="connsiteY18788" fmla="*/ 4401775 h 5973007"/>
              <a:gd name="connsiteX18789" fmla="*/ 5893291 w 6884782"/>
              <a:gd name="connsiteY18789" fmla="*/ 4401671 h 5973007"/>
              <a:gd name="connsiteX18790" fmla="*/ 5890967 w 6884782"/>
              <a:gd name="connsiteY18790" fmla="*/ 4398264 h 5973007"/>
              <a:gd name="connsiteX18791" fmla="*/ 5892052 w 6884782"/>
              <a:gd name="connsiteY18791" fmla="*/ 4390107 h 5973007"/>
              <a:gd name="connsiteX18792" fmla="*/ 5898867 w 6884782"/>
              <a:gd name="connsiteY18792" fmla="*/ 4389177 h 5973007"/>
              <a:gd name="connsiteX18793" fmla="*/ 1307441 w 6884782"/>
              <a:gd name="connsiteY18793" fmla="*/ 4388540 h 5973007"/>
              <a:gd name="connsiteX18794" fmla="*/ 1310229 w 6884782"/>
              <a:gd name="connsiteY18794" fmla="*/ 4391121 h 5973007"/>
              <a:gd name="connsiteX18795" fmla="*/ 1309919 w 6884782"/>
              <a:gd name="connsiteY18795" fmla="*/ 4393909 h 5973007"/>
              <a:gd name="connsiteX18796" fmla="*/ 1308989 w 6884782"/>
              <a:gd name="connsiteY18796" fmla="*/ 4394116 h 5973007"/>
              <a:gd name="connsiteX18797" fmla="*/ 1309145 w 6884782"/>
              <a:gd name="connsiteY18797" fmla="*/ 4393393 h 5973007"/>
              <a:gd name="connsiteX18798" fmla="*/ 1305582 w 6884782"/>
              <a:gd name="connsiteY18798" fmla="*/ 4392361 h 5973007"/>
              <a:gd name="connsiteX18799" fmla="*/ 1307441 w 6884782"/>
              <a:gd name="connsiteY18799" fmla="*/ 4388540 h 5973007"/>
              <a:gd name="connsiteX18800" fmla="*/ 5561658 w 6884782"/>
              <a:gd name="connsiteY18800" fmla="*/ 4386906 h 5973007"/>
              <a:gd name="connsiteX18801" fmla="*/ 5552364 w 6884782"/>
              <a:gd name="connsiteY18801" fmla="*/ 4405699 h 5973007"/>
              <a:gd name="connsiteX18802" fmla="*/ 5548492 w 6884782"/>
              <a:gd name="connsiteY18802" fmla="*/ 4406938 h 5973007"/>
              <a:gd name="connsiteX18803" fmla="*/ 5546943 w 6884782"/>
              <a:gd name="connsiteY18803" fmla="*/ 4406421 h 5973007"/>
              <a:gd name="connsiteX18804" fmla="*/ 5561658 w 6884782"/>
              <a:gd name="connsiteY18804" fmla="*/ 4386906 h 5973007"/>
              <a:gd name="connsiteX18805" fmla="*/ 4843714 w 6884782"/>
              <a:gd name="connsiteY18805" fmla="*/ 4386183 h 5973007"/>
              <a:gd name="connsiteX18806" fmla="*/ 4842319 w 6884782"/>
              <a:gd name="connsiteY18806" fmla="*/ 4391346 h 5973007"/>
              <a:gd name="connsiteX18807" fmla="*/ 4839686 w 6884782"/>
              <a:gd name="connsiteY18807" fmla="*/ 4392895 h 5973007"/>
              <a:gd name="connsiteX18808" fmla="*/ 4837363 w 6884782"/>
              <a:gd name="connsiteY18808" fmla="*/ 4391139 h 5973007"/>
              <a:gd name="connsiteX18809" fmla="*/ 4836743 w 6884782"/>
              <a:gd name="connsiteY18809" fmla="*/ 4387732 h 5973007"/>
              <a:gd name="connsiteX18810" fmla="*/ 4843714 w 6884782"/>
              <a:gd name="connsiteY18810" fmla="*/ 4386183 h 5973007"/>
              <a:gd name="connsiteX18811" fmla="*/ 1589662 w 6884782"/>
              <a:gd name="connsiteY18811" fmla="*/ 4386062 h 5973007"/>
              <a:gd name="connsiteX18812" fmla="*/ 1589352 w 6884782"/>
              <a:gd name="connsiteY18812" fmla="*/ 4399175 h 5973007"/>
              <a:gd name="connsiteX18813" fmla="*/ 1588113 w 6884782"/>
              <a:gd name="connsiteY18813" fmla="*/ 4396904 h 5973007"/>
              <a:gd name="connsiteX18814" fmla="*/ 1589662 w 6884782"/>
              <a:gd name="connsiteY18814" fmla="*/ 4386062 h 5973007"/>
              <a:gd name="connsiteX18815" fmla="*/ 5842330 w 6884782"/>
              <a:gd name="connsiteY18815" fmla="*/ 4385770 h 5973007"/>
              <a:gd name="connsiteX18816" fmla="*/ 5841710 w 6884782"/>
              <a:gd name="connsiteY18816" fmla="*/ 4398058 h 5973007"/>
              <a:gd name="connsiteX18817" fmla="*/ 5842950 w 6884782"/>
              <a:gd name="connsiteY18817" fmla="*/ 4398574 h 5973007"/>
              <a:gd name="connsiteX18818" fmla="*/ 5843414 w 6884782"/>
              <a:gd name="connsiteY18818" fmla="*/ 4398058 h 5973007"/>
              <a:gd name="connsiteX18819" fmla="*/ 5849145 w 6884782"/>
              <a:gd name="connsiteY18819" fmla="*/ 4404769 h 5973007"/>
              <a:gd name="connsiteX18820" fmla="*/ 5848681 w 6884782"/>
              <a:gd name="connsiteY18820" fmla="*/ 4406834 h 5973007"/>
              <a:gd name="connsiteX18821" fmla="*/ 5848836 w 6884782"/>
              <a:gd name="connsiteY18821" fmla="*/ 4407041 h 5973007"/>
              <a:gd name="connsiteX18822" fmla="*/ 5844964 w 6884782"/>
              <a:gd name="connsiteY18822" fmla="*/ 4410138 h 5973007"/>
              <a:gd name="connsiteX18823" fmla="*/ 5841401 w 6884782"/>
              <a:gd name="connsiteY18823" fmla="*/ 4409726 h 5973007"/>
              <a:gd name="connsiteX18824" fmla="*/ 5840317 w 6884782"/>
              <a:gd name="connsiteY18824" fmla="*/ 4409209 h 5973007"/>
              <a:gd name="connsiteX18825" fmla="*/ 5839232 w 6884782"/>
              <a:gd name="connsiteY18825" fmla="*/ 4413133 h 5973007"/>
              <a:gd name="connsiteX18826" fmla="*/ 5835515 w 6884782"/>
              <a:gd name="connsiteY18826" fmla="*/ 4406628 h 5973007"/>
              <a:gd name="connsiteX18827" fmla="*/ 5835205 w 6884782"/>
              <a:gd name="connsiteY18827" fmla="*/ 4402807 h 5973007"/>
              <a:gd name="connsiteX18828" fmla="*/ 5835050 w 6884782"/>
              <a:gd name="connsiteY18828" fmla="*/ 4402601 h 5973007"/>
              <a:gd name="connsiteX18829" fmla="*/ 5834275 w 6884782"/>
              <a:gd name="connsiteY18829" fmla="*/ 4399710 h 5973007"/>
              <a:gd name="connsiteX18830" fmla="*/ 5834895 w 6884782"/>
              <a:gd name="connsiteY18830" fmla="*/ 4398677 h 5973007"/>
              <a:gd name="connsiteX18831" fmla="*/ 5834740 w 6884782"/>
              <a:gd name="connsiteY18831" fmla="*/ 4397644 h 5973007"/>
              <a:gd name="connsiteX18832" fmla="*/ 5842330 w 6884782"/>
              <a:gd name="connsiteY18832" fmla="*/ 4385770 h 5973007"/>
              <a:gd name="connsiteX18833" fmla="*/ 5611225 w 6884782"/>
              <a:gd name="connsiteY18833" fmla="*/ 4385564 h 5973007"/>
              <a:gd name="connsiteX18834" fmla="*/ 5625320 w 6884782"/>
              <a:gd name="connsiteY18834" fmla="*/ 4394650 h 5973007"/>
              <a:gd name="connsiteX18835" fmla="*/ 5624701 w 6884782"/>
              <a:gd name="connsiteY18835" fmla="*/ 4413443 h 5973007"/>
              <a:gd name="connsiteX18836" fmla="*/ 5619589 w 6884782"/>
              <a:gd name="connsiteY18836" fmla="*/ 4414166 h 5973007"/>
              <a:gd name="connsiteX18837" fmla="*/ 5611225 w 6884782"/>
              <a:gd name="connsiteY18837" fmla="*/ 4404563 h 5973007"/>
              <a:gd name="connsiteX18838" fmla="*/ 5609521 w 6884782"/>
              <a:gd name="connsiteY18838" fmla="*/ 4398367 h 5973007"/>
              <a:gd name="connsiteX18839" fmla="*/ 5609056 w 6884782"/>
              <a:gd name="connsiteY18839" fmla="*/ 4387526 h 5973007"/>
              <a:gd name="connsiteX18840" fmla="*/ 5611225 w 6884782"/>
              <a:gd name="connsiteY18840" fmla="*/ 4385564 h 5973007"/>
              <a:gd name="connsiteX18841" fmla="*/ 5847442 w 6884782"/>
              <a:gd name="connsiteY18841" fmla="*/ 4385254 h 5973007"/>
              <a:gd name="connsiteX18842" fmla="*/ 5859214 w 6884782"/>
              <a:gd name="connsiteY18842" fmla="*/ 4390933 h 5973007"/>
              <a:gd name="connsiteX18843" fmla="*/ 5856735 w 6884782"/>
              <a:gd name="connsiteY18843" fmla="*/ 4391139 h 5973007"/>
              <a:gd name="connsiteX18844" fmla="*/ 5847442 w 6884782"/>
              <a:gd name="connsiteY18844" fmla="*/ 4385254 h 5973007"/>
              <a:gd name="connsiteX18845" fmla="*/ 5762093 w 6884782"/>
              <a:gd name="connsiteY18845" fmla="*/ 4384737 h 5973007"/>
              <a:gd name="connsiteX18846" fmla="*/ 5763178 w 6884782"/>
              <a:gd name="connsiteY18846" fmla="*/ 4390830 h 5973007"/>
              <a:gd name="connsiteX18847" fmla="*/ 5761319 w 6884782"/>
              <a:gd name="connsiteY18847" fmla="*/ 4392998 h 5973007"/>
              <a:gd name="connsiteX18848" fmla="*/ 5756518 w 6884782"/>
              <a:gd name="connsiteY18848" fmla="*/ 4395063 h 5973007"/>
              <a:gd name="connsiteX18849" fmla="*/ 5756827 w 6884782"/>
              <a:gd name="connsiteY18849" fmla="*/ 4395786 h 5973007"/>
              <a:gd name="connsiteX18850" fmla="*/ 5753884 w 6884782"/>
              <a:gd name="connsiteY18850" fmla="*/ 4391862 h 5973007"/>
              <a:gd name="connsiteX18851" fmla="*/ 5762093 w 6884782"/>
              <a:gd name="connsiteY18851" fmla="*/ 4384737 h 5973007"/>
              <a:gd name="connsiteX18852" fmla="*/ 1608559 w 6884782"/>
              <a:gd name="connsiteY18852" fmla="*/ 4383790 h 5973007"/>
              <a:gd name="connsiteX18853" fmla="*/ 1609024 w 6884782"/>
              <a:gd name="connsiteY18853" fmla="*/ 4389160 h 5973007"/>
              <a:gd name="connsiteX18854" fmla="*/ 1606546 w 6884782"/>
              <a:gd name="connsiteY18854" fmla="*/ 4388024 h 5973007"/>
              <a:gd name="connsiteX18855" fmla="*/ 1608559 w 6884782"/>
              <a:gd name="connsiteY18855" fmla="*/ 4383790 h 5973007"/>
              <a:gd name="connsiteX18856" fmla="*/ 598790 w 6884782"/>
              <a:gd name="connsiteY18856" fmla="*/ 4383687 h 5973007"/>
              <a:gd name="connsiteX18857" fmla="*/ 602043 w 6884782"/>
              <a:gd name="connsiteY18857" fmla="*/ 4389882 h 5973007"/>
              <a:gd name="connsiteX18858" fmla="*/ 589651 w 6884782"/>
              <a:gd name="connsiteY18858" fmla="*/ 4395562 h 5973007"/>
              <a:gd name="connsiteX18859" fmla="*/ 598790 w 6884782"/>
              <a:gd name="connsiteY18859" fmla="*/ 4383687 h 5973007"/>
              <a:gd name="connsiteX18860" fmla="*/ 1580833 w 6884782"/>
              <a:gd name="connsiteY18860" fmla="*/ 4383171 h 5973007"/>
              <a:gd name="connsiteX18861" fmla="*/ 1578665 w 6884782"/>
              <a:gd name="connsiteY18861" fmla="*/ 4387714 h 5973007"/>
              <a:gd name="connsiteX18862" fmla="*/ 1580833 w 6884782"/>
              <a:gd name="connsiteY18862" fmla="*/ 4383171 h 5973007"/>
              <a:gd name="connsiteX18863" fmla="*/ 1793970 w 6884782"/>
              <a:gd name="connsiteY18863" fmla="*/ 4382758 h 5973007"/>
              <a:gd name="connsiteX18864" fmla="*/ 1795519 w 6884782"/>
              <a:gd name="connsiteY18864" fmla="*/ 4386681 h 5973007"/>
              <a:gd name="connsiteX18865" fmla="*/ 1793350 w 6884782"/>
              <a:gd name="connsiteY18865" fmla="*/ 4386062 h 5973007"/>
              <a:gd name="connsiteX18866" fmla="*/ 1793196 w 6884782"/>
              <a:gd name="connsiteY18866" fmla="*/ 4383068 h 5973007"/>
              <a:gd name="connsiteX18867" fmla="*/ 1793970 w 6884782"/>
              <a:gd name="connsiteY18867" fmla="*/ 4382758 h 5973007"/>
              <a:gd name="connsiteX18868" fmla="*/ 1732631 w 6884782"/>
              <a:gd name="connsiteY18868" fmla="*/ 4382448 h 5973007"/>
              <a:gd name="connsiteX18869" fmla="*/ 1729688 w 6884782"/>
              <a:gd name="connsiteY18869" fmla="*/ 4383894 h 5973007"/>
              <a:gd name="connsiteX18870" fmla="*/ 1729379 w 6884782"/>
              <a:gd name="connsiteY18870" fmla="*/ 4383171 h 5973007"/>
              <a:gd name="connsiteX18871" fmla="*/ 1732631 w 6884782"/>
              <a:gd name="connsiteY18871" fmla="*/ 4382448 h 5973007"/>
              <a:gd name="connsiteX18872" fmla="*/ 5655060 w 6884782"/>
              <a:gd name="connsiteY18872" fmla="*/ 4382363 h 5973007"/>
              <a:gd name="connsiteX18873" fmla="*/ 5657074 w 6884782"/>
              <a:gd name="connsiteY18873" fmla="*/ 4390933 h 5973007"/>
              <a:gd name="connsiteX18874" fmla="*/ 5651188 w 6884782"/>
              <a:gd name="connsiteY18874" fmla="*/ 4385667 h 5973007"/>
              <a:gd name="connsiteX18875" fmla="*/ 5655060 w 6884782"/>
              <a:gd name="connsiteY18875" fmla="*/ 4382363 h 5973007"/>
              <a:gd name="connsiteX18876" fmla="*/ 5545084 w 6884782"/>
              <a:gd name="connsiteY18876" fmla="*/ 4382156 h 5973007"/>
              <a:gd name="connsiteX18877" fmla="*/ 5548182 w 6884782"/>
              <a:gd name="connsiteY18877" fmla="*/ 4383395 h 5973007"/>
              <a:gd name="connsiteX18878" fmla="*/ 5544310 w 6884782"/>
              <a:gd name="connsiteY18878" fmla="*/ 4387216 h 5973007"/>
              <a:gd name="connsiteX18879" fmla="*/ 5545084 w 6884782"/>
              <a:gd name="connsiteY18879" fmla="*/ 4382156 h 5973007"/>
              <a:gd name="connsiteX18880" fmla="*/ 5381359 w 6884782"/>
              <a:gd name="connsiteY18880" fmla="*/ 4381846 h 5973007"/>
              <a:gd name="connsiteX18881" fmla="*/ 5376712 w 6884782"/>
              <a:gd name="connsiteY18881" fmla="*/ 4391759 h 5973007"/>
              <a:gd name="connsiteX18882" fmla="*/ 5381359 w 6884782"/>
              <a:gd name="connsiteY18882" fmla="*/ 4381846 h 5973007"/>
              <a:gd name="connsiteX18883" fmla="*/ 5767980 w 6884782"/>
              <a:gd name="connsiteY18883" fmla="*/ 4381640 h 5973007"/>
              <a:gd name="connsiteX18884" fmla="*/ 5770613 w 6884782"/>
              <a:gd name="connsiteY18884" fmla="*/ 4386080 h 5973007"/>
              <a:gd name="connsiteX18885" fmla="*/ 5769064 w 6884782"/>
              <a:gd name="connsiteY18885" fmla="*/ 4388661 h 5973007"/>
              <a:gd name="connsiteX18886" fmla="*/ 5772162 w 6884782"/>
              <a:gd name="connsiteY18886" fmla="*/ 4386906 h 5973007"/>
              <a:gd name="connsiteX18887" fmla="*/ 5777584 w 6884782"/>
              <a:gd name="connsiteY18887" fmla="*/ 4386803 h 5973007"/>
              <a:gd name="connsiteX18888" fmla="*/ 5779752 w 6884782"/>
              <a:gd name="connsiteY18888" fmla="*/ 4387319 h 5973007"/>
              <a:gd name="connsiteX18889" fmla="*/ 5783624 w 6884782"/>
              <a:gd name="connsiteY18889" fmla="*/ 4387009 h 5973007"/>
              <a:gd name="connsiteX18890" fmla="*/ 5784399 w 6884782"/>
              <a:gd name="connsiteY18890" fmla="*/ 4398161 h 5973007"/>
              <a:gd name="connsiteX18891" fmla="*/ 5776344 w 6884782"/>
              <a:gd name="connsiteY18891" fmla="*/ 4408177 h 5973007"/>
              <a:gd name="connsiteX18892" fmla="*/ 5773556 w 6884782"/>
              <a:gd name="connsiteY18892" fmla="*/ 4408280 h 5973007"/>
              <a:gd name="connsiteX18893" fmla="*/ 5772782 w 6884782"/>
              <a:gd name="connsiteY18893" fmla="*/ 4410862 h 5973007"/>
              <a:gd name="connsiteX18894" fmla="*/ 5763488 w 6884782"/>
              <a:gd name="connsiteY18894" fmla="*/ 4414372 h 5973007"/>
              <a:gd name="connsiteX18895" fmla="*/ 5760235 w 6884782"/>
              <a:gd name="connsiteY18895" fmla="*/ 4414269 h 5973007"/>
              <a:gd name="connsiteX18896" fmla="*/ 5755588 w 6884782"/>
              <a:gd name="connsiteY18896" fmla="*/ 4407867 h 5973007"/>
              <a:gd name="connsiteX18897" fmla="*/ 5755433 w 6884782"/>
              <a:gd name="connsiteY18897" fmla="*/ 4404563 h 5973007"/>
              <a:gd name="connsiteX18898" fmla="*/ 5764727 w 6884782"/>
              <a:gd name="connsiteY18898" fmla="*/ 4404769 h 5973007"/>
              <a:gd name="connsiteX18899" fmla="*/ 5767205 w 6884782"/>
              <a:gd name="connsiteY18899" fmla="*/ 4404563 h 5973007"/>
              <a:gd name="connsiteX18900" fmla="*/ 5765502 w 6884782"/>
              <a:gd name="connsiteY18900" fmla="*/ 4402394 h 5973007"/>
              <a:gd name="connsiteX18901" fmla="*/ 5765037 w 6884782"/>
              <a:gd name="connsiteY18901" fmla="*/ 4396612 h 5973007"/>
              <a:gd name="connsiteX18902" fmla="*/ 5767670 w 6884782"/>
              <a:gd name="connsiteY18902" fmla="*/ 4390520 h 5973007"/>
              <a:gd name="connsiteX18903" fmla="*/ 5764882 w 6884782"/>
              <a:gd name="connsiteY18903" fmla="*/ 4389074 h 5973007"/>
              <a:gd name="connsiteX18904" fmla="*/ 5767980 w 6884782"/>
              <a:gd name="connsiteY18904" fmla="*/ 4381640 h 5973007"/>
              <a:gd name="connsiteX18905" fmla="*/ 1049848 w 6884782"/>
              <a:gd name="connsiteY18905" fmla="*/ 4380899 h 5973007"/>
              <a:gd name="connsiteX18906" fmla="*/ 1049693 w 6884782"/>
              <a:gd name="connsiteY18906" fmla="*/ 4381519 h 5973007"/>
              <a:gd name="connsiteX18907" fmla="*/ 1051397 w 6884782"/>
              <a:gd name="connsiteY18907" fmla="*/ 4381519 h 5973007"/>
              <a:gd name="connsiteX18908" fmla="*/ 1050623 w 6884782"/>
              <a:gd name="connsiteY18908" fmla="*/ 4381209 h 5973007"/>
              <a:gd name="connsiteX18909" fmla="*/ 1050468 w 6884782"/>
              <a:gd name="connsiteY18909" fmla="*/ 4381312 h 5973007"/>
              <a:gd name="connsiteX18910" fmla="*/ 1049848 w 6884782"/>
              <a:gd name="connsiteY18910" fmla="*/ 4380899 h 5973007"/>
              <a:gd name="connsiteX18911" fmla="*/ 1356969 w 6884782"/>
              <a:gd name="connsiteY18911" fmla="*/ 4379880 h 5973007"/>
              <a:gd name="connsiteX18912" fmla="*/ 1363823 w 6884782"/>
              <a:gd name="connsiteY18912" fmla="*/ 4380383 h 5973007"/>
              <a:gd name="connsiteX18913" fmla="*/ 1365837 w 6884782"/>
              <a:gd name="connsiteY18913" fmla="*/ 4384926 h 5973007"/>
              <a:gd name="connsiteX18914" fmla="*/ 1356078 w 6884782"/>
              <a:gd name="connsiteY18914" fmla="*/ 4389366 h 5973007"/>
              <a:gd name="connsiteX18915" fmla="*/ 1353135 w 6884782"/>
              <a:gd name="connsiteY18915" fmla="*/ 4387508 h 5973007"/>
              <a:gd name="connsiteX18916" fmla="*/ 1356969 w 6884782"/>
              <a:gd name="connsiteY18916" fmla="*/ 4379880 h 5973007"/>
              <a:gd name="connsiteX18917" fmla="*/ 5921637 w 6884782"/>
              <a:gd name="connsiteY18917" fmla="*/ 4379575 h 5973007"/>
              <a:gd name="connsiteX18918" fmla="*/ 5922721 w 6884782"/>
              <a:gd name="connsiteY18918" fmla="*/ 4381330 h 5973007"/>
              <a:gd name="connsiteX18919" fmla="*/ 5922411 w 6884782"/>
              <a:gd name="connsiteY18919" fmla="*/ 4383602 h 5973007"/>
              <a:gd name="connsiteX18920" fmla="*/ 5916990 w 6884782"/>
              <a:gd name="connsiteY18920" fmla="*/ 4389591 h 5973007"/>
              <a:gd name="connsiteX18921" fmla="*/ 5915441 w 6884782"/>
              <a:gd name="connsiteY18921" fmla="*/ 4390623 h 5973007"/>
              <a:gd name="connsiteX18922" fmla="*/ 5914047 w 6884782"/>
              <a:gd name="connsiteY18922" fmla="*/ 4391759 h 5973007"/>
              <a:gd name="connsiteX18923" fmla="*/ 5912343 w 6884782"/>
              <a:gd name="connsiteY18923" fmla="*/ 4391966 h 5973007"/>
              <a:gd name="connsiteX18924" fmla="*/ 5910639 w 6884782"/>
              <a:gd name="connsiteY18924" fmla="*/ 4390830 h 5973007"/>
              <a:gd name="connsiteX18925" fmla="*/ 5921637 w 6884782"/>
              <a:gd name="connsiteY18925" fmla="*/ 4379575 h 5973007"/>
              <a:gd name="connsiteX18926" fmla="*/ 1736503 w 6884782"/>
              <a:gd name="connsiteY18926" fmla="*/ 4379557 h 5973007"/>
              <a:gd name="connsiteX18927" fmla="*/ 1742080 w 6884782"/>
              <a:gd name="connsiteY18927" fmla="*/ 4384100 h 5973007"/>
              <a:gd name="connsiteX18928" fmla="*/ 1736658 w 6884782"/>
              <a:gd name="connsiteY18928" fmla="*/ 4385133 h 5973007"/>
              <a:gd name="connsiteX18929" fmla="*/ 1736503 w 6884782"/>
              <a:gd name="connsiteY18929" fmla="*/ 4379557 h 5973007"/>
              <a:gd name="connsiteX18930" fmla="*/ 1717451 w 6884782"/>
              <a:gd name="connsiteY18930" fmla="*/ 4379350 h 5973007"/>
              <a:gd name="connsiteX18931" fmla="*/ 1709087 w 6884782"/>
              <a:gd name="connsiteY18931" fmla="*/ 4386888 h 5973007"/>
              <a:gd name="connsiteX18932" fmla="*/ 1704440 w 6884782"/>
              <a:gd name="connsiteY18932" fmla="*/ 4385236 h 5973007"/>
              <a:gd name="connsiteX18933" fmla="*/ 1704750 w 6884782"/>
              <a:gd name="connsiteY18933" fmla="*/ 4381622 h 5973007"/>
              <a:gd name="connsiteX18934" fmla="*/ 1717451 w 6884782"/>
              <a:gd name="connsiteY18934" fmla="*/ 4379350 h 5973007"/>
              <a:gd name="connsiteX18935" fmla="*/ 1401928 w 6884782"/>
              <a:gd name="connsiteY18935" fmla="*/ 4378937 h 5973007"/>
              <a:gd name="connsiteX18936" fmla="*/ 1414319 w 6884782"/>
              <a:gd name="connsiteY18936" fmla="*/ 4391844 h 5973007"/>
              <a:gd name="connsiteX18937" fmla="*/ 1415093 w 6884782"/>
              <a:gd name="connsiteY18937" fmla="*/ 4393703 h 5973007"/>
              <a:gd name="connsiteX18938" fmla="*/ 1413700 w 6884782"/>
              <a:gd name="connsiteY18938" fmla="*/ 4395252 h 5973007"/>
              <a:gd name="connsiteX18939" fmla="*/ 1404096 w 6884782"/>
              <a:gd name="connsiteY18939" fmla="*/ 4388850 h 5973007"/>
              <a:gd name="connsiteX18940" fmla="*/ 1403322 w 6884782"/>
              <a:gd name="connsiteY18940" fmla="*/ 4386475 h 5973007"/>
              <a:gd name="connsiteX18941" fmla="*/ 1402082 w 6884782"/>
              <a:gd name="connsiteY18941" fmla="*/ 4384823 h 5973007"/>
              <a:gd name="connsiteX18942" fmla="*/ 1401928 w 6884782"/>
              <a:gd name="connsiteY18942" fmla="*/ 4378937 h 5973007"/>
              <a:gd name="connsiteX18943" fmla="*/ 5828544 w 6884782"/>
              <a:gd name="connsiteY18943" fmla="*/ 4378542 h 5973007"/>
              <a:gd name="connsiteX18944" fmla="*/ 5830403 w 6884782"/>
              <a:gd name="connsiteY18944" fmla="*/ 4382053 h 5973007"/>
              <a:gd name="connsiteX18945" fmla="*/ 5825446 w 6884782"/>
              <a:gd name="connsiteY18945" fmla="*/ 4383602 h 5973007"/>
              <a:gd name="connsiteX18946" fmla="*/ 5823587 w 6884782"/>
              <a:gd name="connsiteY18946" fmla="*/ 4379988 h 5973007"/>
              <a:gd name="connsiteX18947" fmla="*/ 5828544 w 6884782"/>
              <a:gd name="connsiteY18947" fmla="*/ 4378542 h 5973007"/>
              <a:gd name="connsiteX18948" fmla="*/ 1303104 w 6884782"/>
              <a:gd name="connsiteY18948" fmla="*/ 4378008 h 5973007"/>
              <a:gd name="connsiteX18949" fmla="*/ 1305892 w 6884782"/>
              <a:gd name="connsiteY18949" fmla="*/ 4379867 h 5973007"/>
              <a:gd name="connsiteX18950" fmla="*/ 1301710 w 6884782"/>
              <a:gd name="connsiteY18950" fmla="*/ 4386888 h 5973007"/>
              <a:gd name="connsiteX18951" fmla="*/ 1298612 w 6884782"/>
              <a:gd name="connsiteY18951" fmla="*/ 4386372 h 5973007"/>
              <a:gd name="connsiteX18952" fmla="*/ 1303104 w 6884782"/>
              <a:gd name="connsiteY18952" fmla="*/ 4378008 h 5973007"/>
              <a:gd name="connsiteX18953" fmla="*/ 1285445 w 6884782"/>
              <a:gd name="connsiteY18953" fmla="*/ 4377905 h 5973007"/>
              <a:gd name="connsiteX18954" fmla="*/ 1293655 w 6884782"/>
              <a:gd name="connsiteY18954" fmla="*/ 4379867 h 5973007"/>
              <a:gd name="connsiteX18955" fmla="*/ 1285445 w 6884782"/>
              <a:gd name="connsiteY18955" fmla="*/ 4388953 h 5973007"/>
              <a:gd name="connsiteX18956" fmla="*/ 1281883 w 6884782"/>
              <a:gd name="connsiteY18956" fmla="*/ 4385959 h 5973007"/>
              <a:gd name="connsiteX18957" fmla="*/ 1285445 w 6884782"/>
              <a:gd name="connsiteY18957" fmla="*/ 4377905 h 5973007"/>
              <a:gd name="connsiteX18958" fmla="*/ 1379003 w 6884782"/>
              <a:gd name="connsiteY18958" fmla="*/ 4376046 h 5973007"/>
              <a:gd name="connsiteX18959" fmla="*/ 1381326 w 6884782"/>
              <a:gd name="connsiteY18959" fmla="*/ 4384100 h 5973007"/>
              <a:gd name="connsiteX18960" fmla="*/ 1374511 w 6884782"/>
              <a:gd name="connsiteY18960" fmla="*/ 4386991 h 5973007"/>
              <a:gd name="connsiteX18961" fmla="*/ 1367695 w 6884782"/>
              <a:gd name="connsiteY18961" fmla="*/ 4386991 h 5973007"/>
              <a:gd name="connsiteX18962" fmla="*/ 1379003 w 6884782"/>
              <a:gd name="connsiteY18962" fmla="*/ 4376046 h 5973007"/>
              <a:gd name="connsiteX18963" fmla="*/ 5718413 w 6884782"/>
              <a:gd name="connsiteY18963" fmla="*/ 4375858 h 5973007"/>
              <a:gd name="connsiteX18964" fmla="*/ 5733903 w 6884782"/>
              <a:gd name="connsiteY18964" fmla="*/ 4381846 h 5973007"/>
              <a:gd name="connsiteX18965" fmla="*/ 5733128 w 6884782"/>
              <a:gd name="connsiteY18965" fmla="*/ 4383602 h 5973007"/>
              <a:gd name="connsiteX18966" fmla="*/ 5730960 w 6884782"/>
              <a:gd name="connsiteY18966" fmla="*/ 4384014 h 5973007"/>
              <a:gd name="connsiteX18967" fmla="*/ 5722905 w 6884782"/>
              <a:gd name="connsiteY18967" fmla="*/ 4381330 h 5973007"/>
              <a:gd name="connsiteX18968" fmla="*/ 5721201 w 6884782"/>
              <a:gd name="connsiteY18968" fmla="*/ 4380298 h 5973007"/>
              <a:gd name="connsiteX18969" fmla="*/ 5719497 w 6884782"/>
              <a:gd name="connsiteY18969" fmla="*/ 4379368 h 5973007"/>
              <a:gd name="connsiteX18970" fmla="*/ 5718413 w 6884782"/>
              <a:gd name="connsiteY18970" fmla="*/ 4375858 h 5973007"/>
              <a:gd name="connsiteX18971" fmla="*/ 5441923 w 6884782"/>
              <a:gd name="connsiteY18971" fmla="*/ 4375651 h 5973007"/>
              <a:gd name="connsiteX18972" fmla="*/ 5445950 w 6884782"/>
              <a:gd name="connsiteY18972" fmla="*/ 4375754 h 5973007"/>
              <a:gd name="connsiteX18973" fmla="*/ 5447499 w 6884782"/>
              <a:gd name="connsiteY18973" fmla="*/ 4377509 h 5973007"/>
              <a:gd name="connsiteX18974" fmla="*/ 5447345 w 6884782"/>
              <a:gd name="connsiteY18974" fmla="*/ 4378439 h 5973007"/>
              <a:gd name="connsiteX18975" fmla="*/ 5445486 w 6884782"/>
              <a:gd name="connsiteY18975" fmla="*/ 4379059 h 5973007"/>
              <a:gd name="connsiteX18976" fmla="*/ 5437431 w 6884782"/>
              <a:gd name="connsiteY18976" fmla="*/ 4378232 h 5973007"/>
              <a:gd name="connsiteX18977" fmla="*/ 5435727 w 6884782"/>
              <a:gd name="connsiteY18977" fmla="*/ 4378232 h 5973007"/>
              <a:gd name="connsiteX18978" fmla="*/ 5434178 w 6884782"/>
              <a:gd name="connsiteY18978" fmla="*/ 4376477 h 5973007"/>
              <a:gd name="connsiteX18979" fmla="*/ 5441923 w 6884782"/>
              <a:gd name="connsiteY18979" fmla="*/ 4375651 h 5973007"/>
              <a:gd name="connsiteX18980" fmla="*/ 5687666 w 6884782"/>
              <a:gd name="connsiteY18980" fmla="*/ 4375625 h 5973007"/>
              <a:gd name="connsiteX18981" fmla="*/ 5693475 w 6884782"/>
              <a:gd name="connsiteY18981" fmla="*/ 4377509 h 5973007"/>
              <a:gd name="connsiteX18982" fmla="*/ 5694869 w 6884782"/>
              <a:gd name="connsiteY18982" fmla="*/ 4382672 h 5973007"/>
              <a:gd name="connsiteX18983" fmla="*/ 5689602 w 6884782"/>
              <a:gd name="connsiteY18983" fmla="*/ 4384221 h 5973007"/>
              <a:gd name="connsiteX18984" fmla="*/ 5684646 w 6884782"/>
              <a:gd name="connsiteY18984" fmla="*/ 4382879 h 5973007"/>
              <a:gd name="connsiteX18985" fmla="*/ 5687666 w 6884782"/>
              <a:gd name="connsiteY18985" fmla="*/ 4375625 h 5973007"/>
              <a:gd name="connsiteX18986" fmla="*/ 5884462 w 6884782"/>
              <a:gd name="connsiteY18986" fmla="*/ 4375444 h 5973007"/>
              <a:gd name="connsiteX18987" fmla="*/ 5883687 w 6884782"/>
              <a:gd name="connsiteY18987" fmla="*/ 4377613 h 5973007"/>
              <a:gd name="connsiteX18988" fmla="*/ 5883068 w 6884782"/>
              <a:gd name="connsiteY18988" fmla="*/ 4378542 h 5973007"/>
              <a:gd name="connsiteX18989" fmla="*/ 5886630 w 6884782"/>
              <a:gd name="connsiteY18989" fmla="*/ 4380298 h 5973007"/>
              <a:gd name="connsiteX18990" fmla="*/ 5887560 w 6884782"/>
              <a:gd name="connsiteY18990" fmla="*/ 4382053 h 5973007"/>
              <a:gd name="connsiteX18991" fmla="*/ 5888489 w 6884782"/>
              <a:gd name="connsiteY18991" fmla="*/ 4376477 h 5973007"/>
              <a:gd name="connsiteX18992" fmla="*/ 5887405 w 6884782"/>
              <a:gd name="connsiteY18992" fmla="*/ 4377716 h 5973007"/>
              <a:gd name="connsiteX18993" fmla="*/ 5885236 w 6884782"/>
              <a:gd name="connsiteY18993" fmla="*/ 4376580 h 5973007"/>
              <a:gd name="connsiteX18994" fmla="*/ 674167 w 6884782"/>
              <a:gd name="connsiteY18994" fmla="*/ 4375297 h 5973007"/>
              <a:gd name="connsiteX18995" fmla="*/ 682744 w 6884782"/>
              <a:gd name="connsiteY18995" fmla="*/ 4379764 h 5973007"/>
              <a:gd name="connsiteX18996" fmla="*/ 684293 w 6884782"/>
              <a:gd name="connsiteY18996" fmla="*/ 4381829 h 5973007"/>
              <a:gd name="connsiteX18997" fmla="*/ 684603 w 6884782"/>
              <a:gd name="connsiteY18997" fmla="*/ 4382035 h 5973007"/>
              <a:gd name="connsiteX18998" fmla="*/ 684912 w 6884782"/>
              <a:gd name="connsiteY18998" fmla="*/ 4380796 h 5973007"/>
              <a:gd name="connsiteX18999" fmla="*/ 686307 w 6884782"/>
              <a:gd name="connsiteY18999" fmla="*/ 4380589 h 5973007"/>
              <a:gd name="connsiteX19000" fmla="*/ 688630 w 6884782"/>
              <a:gd name="connsiteY19000" fmla="*/ 4381209 h 5973007"/>
              <a:gd name="connsiteX19001" fmla="*/ 690489 w 6884782"/>
              <a:gd name="connsiteY19001" fmla="*/ 4381003 h 5973007"/>
              <a:gd name="connsiteX19002" fmla="*/ 691728 w 6884782"/>
              <a:gd name="connsiteY19002" fmla="*/ 4383274 h 5973007"/>
              <a:gd name="connsiteX19003" fmla="*/ 689869 w 6884782"/>
              <a:gd name="connsiteY19003" fmla="*/ 4383480 h 5973007"/>
              <a:gd name="connsiteX19004" fmla="*/ 687081 w 6884782"/>
              <a:gd name="connsiteY19004" fmla="*/ 4382861 h 5973007"/>
              <a:gd name="connsiteX19005" fmla="*/ 685687 w 6884782"/>
              <a:gd name="connsiteY19005" fmla="*/ 4382758 h 5973007"/>
              <a:gd name="connsiteX19006" fmla="*/ 687546 w 6884782"/>
              <a:gd name="connsiteY19006" fmla="*/ 4384100 h 5973007"/>
              <a:gd name="connsiteX19007" fmla="*/ 686152 w 6884782"/>
              <a:gd name="connsiteY19007" fmla="*/ 4386165 h 5973007"/>
              <a:gd name="connsiteX19008" fmla="*/ 685687 w 6884782"/>
              <a:gd name="connsiteY19008" fmla="*/ 4388231 h 5973007"/>
              <a:gd name="connsiteX19009" fmla="*/ 687391 w 6884782"/>
              <a:gd name="connsiteY19009" fmla="*/ 4389676 h 5973007"/>
              <a:gd name="connsiteX19010" fmla="*/ 685067 w 6884782"/>
              <a:gd name="connsiteY19010" fmla="*/ 4391121 h 5973007"/>
              <a:gd name="connsiteX19011" fmla="*/ 684757 w 6884782"/>
              <a:gd name="connsiteY19011" fmla="*/ 4391018 h 5973007"/>
              <a:gd name="connsiteX19012" fmla="*/ 682589 w 6884782"/>
              <a:gd name="connsiteY19012" fmla="*/ 4393703 h 5973007"/>
              <a:gd name="connsiteX19013" fmla="*/ 674689 w 6884782"/>
              <a:gd name="connsiteY19013" fmla="*/ 4397317 h 5973007"/>
              <a:gd name="connsiteX19014" fmla="*/ 668339 w 6884782"/>
              <a:gd name="connsiteY19014" fmla="*/ 4394116 h 5973007"/>
              <a:gd name="connsiteX19015" fmla="*/ 665086 w 6884782"/>
              <a:gd name="connsiteY19015" fmla="*/ 4384203 h 5973007"/>
              <a:gd name="connsiteX19016" fmla="*/ 667564 w 6884782"/>
              <a:gd name="connsiteY19016" fmla="*/ 4379041 h 5973007"/>
              <a:gd name="connsiteX19017" fmla="*/ 674167 w 6884782"/>
              <a:gd name="connsiteY19017" fmla="*/ 4375297 h 5973007"/>
              <a:gd name="connsiteX19018" fmla="*/ 1330366 w 6884782"/>
              <a:gd name="connsiteY19018" fmla="*/ 4374084 h 5973007"/>
              <a:gd name="connsiteX19019" fmla="*/ 1336716 w 6884782"/>
              <a:gd name="connsiteY19019" fmla="*/ 4375943 h 5973007"/>
              <a:gd name="connsiteX19020" fmla="*/ 1332069 w 6884782"/>
              <a:gd name="connsiteY19020" fmla="*/ 4379557 h 5973007"/>
              <a:gd name="connsiteX19021" fmla="*/ 1325874 w 6884782"/>
              <a:gd name="connsiteY19021" fmla="*/ 4378318 h 5973007"/>
              <a:gd name="connsiteX19022" fmla="*/ 1330366 w 6884782"/>
              <a:gd name="connsiteY19022" fmla="*/ 4374084 h 5973007"/>
              <a:gd name="connsiteX19023" fmla="*/ 1174695 w 6884782"/>
              <a:gd name="connsiteY19023" fmla="*/ 4373671 h 5973007"/>
              <a:gd name="connsiteX19024" fmla="*/ 1173301 w 6884782"/>
              <a:gd name="connsiteY19024" fmla="*/ 4381209 h 5973007"/>
              <a:gd name="connsiteX19025" fmla="*/ 1171597 w 6884782"/>
              <a:gd name="connsiteY19025" fmla="*/ 4382861 h 5973007"/>
              <a:gd name="connsiteX19026" fmla="*/ 1171907 w 6884782"/>
              <a:gd name="connsiteY19026" fmla="*/ 4383068 h 5973007"/>
              <a:gd name="connsiteX19027" fmla="*/ 1172216 w 6884782"/>
              <a:gd name="connsiteY19027" fmla="*/ 4385030 h 5973007"/>
              <a:gd name="connsiteX19028" fmla="*/ 1172216 w 6884782"/>
              <a:gd name="connsiteY19028" fmla="*/ 4383584 h 5973007"/>
              <a:gd name="connsiteX19029" fmla="*/ 1173455 w 6884782"/>
              <a:gd name="connsiteY19029" fmla="*/ 4382241 h 5973007"/>
              <a:gd name="connsiteX19030" fmla="*/ 1175314 w 6884782"/>
              <a:gd name="connsiteY19030" fmla="*/ 4382345 h 5973007"/>
              <a:gd name="connsiteX19031" fmla="*/ 1177948 w 6884782"/>
              <a:gd name="connsiteY19031" fmla="*/ 4384100 h 5973007"/>
              <a:gd name="connsiteX19032" fmla="*/ 1178412 w 6884782"/>
              <a:gd name="connsiteY19032" fmla="*/ 4386475 h 5973007"/>
              <a:gd name="connsiteX19033" fmla="*/ 1177638 w 6884782"/>
              <a:gd name="connsiteY19033" fmla="*/ 4387198 h 5973007"/>
              <a:gd name="connsiteX19034" fmla="*/ 1178412 w 6884782"/>
              <a:gd name="connsiteY19034" fmla="*/ 4388024 h 5973007"/>
              <a:gd name="connsiteX19035" fmla="*/ 1179651 w 6884782"/>
              <a:gd name="connsiteY19035" fmla="*/ 4391638 h 5973007"/>
              <a:gd name="connsiteX19036" fmla="*/ 1176863 w 6884782"/>
              <a:gd name="connsiteY19036" fmla="*/ 4388231 h 5973007"/>
              <a:gd name="connsiteX19037" fmla="*/ 1177948 w 6884782"/>
              <a:gd name="connsiteY19037" fmla="*/ 4392567 h 5973007"/>
              <a:gd name="connsiteX19038" fmla="*/ 1176554 w 6884782"/>
              <a:gd name="connsiteY19038" fmla="*/ 4397627 h 5973007"/>
              <a:gd name="connsiteX19039" fmla="*/ 1172526 w 6884782"/>
              <a:gd name="connsiteY19039" fmla="*/ 4397007 h 5973007"/>
              <a:gd name="connsiteX19040" fmla="*/ 1172836 w 6884782"/>
              <a:gd name="connsiteY19040" fmla="*/ 4397317 h 5973007"/>
              <a:gd name="connsiteX19041" fmla="*/ 1157966 w 6884782"/>
              <a:gd name="connsiteY19041" fmla="*/ 4406404 h 5973007"/>
              <a:gd name="connsiteX19042" fmla="*/ 1155642 w 6884782"/>
              <a:gd name="connsiteY19042" fmla="*/ 4406094 h 5973007"/>
              <a:gd name="connsiteX19043" fmla="*/ 1155177 w 6884782"/>
              <a:gd name="connsiteY19043" fmla="*/ 4407023 h 5973007"/>
              <a:gd name="connsiteX19044" fmla="*/ 1153784 w 6884782"/>
              <a:gd name="connsiteY19044" fmla="*/ 4408675 h 5973007"/>
              <a:gd name="connsiteX19045" fmla="*/ 1152234 w 6884782"/>
              <a:gd name="connsiteY19045" fmla="*/ 4410224 h 5973007"/>
              <a:gd name="connsiteX19046" fmla="*/ 1151460 w 6884782"/>
              <a:gd name="connsiteY19046" fmla="*/ 4411979 h 5973007"/>
              <a:gd name="connsiteX19047" fmla="*/ 1148207 w 6884782"/>
              <a:gd name="connsiteY19047" fmla="*/ 4413528 h 5973007"/>
              <a:gd name="connsiteX19048" fmla="*/ 1148982 w 6884782"/>
              <a:gd name="connsiteY19048" fmla="*/ 4411876 h 5973007"/>
              <a:gd name="connsiteX19049" fmla="*/ 1150531 w 6884782"/>
              <a:gd name="connsiteY19049" fmla="*/ 4410224 h 5973007"/>
              <a:gd name="connsiteX19050" fmla="*/ 1150531 w 6884782"/>
              <a:gd name="connsiteY19050" fmla="*/ 4408572 h 5973007"/>
              <a:gd name="connsiteX19051" fmla="*/ 1152544 w 6884782"/>
              <a:gd name="connsiteY19051" fmla="*/ 4405680 h 5973007"/>
              <a:gd name="connsiteX19052" fmla="*/ 1151770 w 6884782"/>
              <a:gd name="connsiteY19052" fmla="*/ 4405577 h 5973007"/>
              <a:gd name="connsiteX19053" fmla="*/ 1142321 w 6884782"/>
              <a:gd name="connsiteY19053" fmla="*/ 4401860 h 5973007"/>
              <a:gd name="connsiteX19054" fmla="*/ 1141702 w 6884782"/>
              <a:gd name="connsiteY19054" fmla="*/ 4399175 h 5973007"/>
              <a:gd name="connsiteX19055" fmla="*/ 1146968 w 6884782"/>
              <a:gd name="connsiteY19055" fmla="*/ 4391535 h 5973007"/>
              <a:gd name="connsiteX19056" fmla="*/ 1150531 w 6884782"/>
              <a:gd name="connsiteY19056" fmla="*/ 4390089 h 5973007"/>
              <a:gd name="connsiteX19057" fmla="*/ 1148982 w 6884782"/>
              <a:gd name="connsiteY19057" fmla="*/ 4389779 h 5973007"/>
              <a:gd name="connsiteX19058" fmla="*/ 1146813 w 6884782"/>
              <a:gd name="connsiteY19058" fmla="*/ 4388540 h 5973007"/>
              <a:gd name="connsiteX19059" fmla="*/ 1149137 w 6884782"/>
              <a:gd name="connsiteY19059" fmla="*/ 4389263 h 5973007"/>
              <a:gd name="connsiteX19060" fmla="*/ 1150686 w 6884782"/>
              <a:gd name="connsiteY19060" fmla="*/ 4388540 h 5973007"/>
              <a:gd name="connsiteX19061" fmla="*/ 1151770 w 6884782"/>
              <a:gd name="connsiteY19061" fmla="*/ 4389056 h 5973007"/>
              <a:gd name="connsiteX19062" fmla="*/ 1152080 w 6884782"/>
              <a:gd name="connsiteY19062" fmla="*/ 4389573 h 5973007"/>
              <a:gd name="connsiteX19063" fmla="*/ 1157191 w 6884782"/>
              <a:gd name="connsiteY19063" fmla="*/ 4389573 h 5973007"/>
              <a:gd name="connsiteX19064" fmla="*/ 1162303 w 6884782"/>
              <a:gd name="connsiteY19064" fmla="*/ 4390915 h 5973007"/>
              <a:gd name="connsiteX19065" fmla="*/ 1162458 w 6884782"/>
              <a:gd name="connsiteY19065" fmla="*/ 4390915 h 5973007"/>
              <a:gd name="connsiteX19066" fmla="*/ 1164472 w 6884782"/>
              <a:gd name="connsiteY19066" fmla="*/ 4391431 h 5973007"/>
              <a:gd name="connsiteX19067" fmla="*/ 1169893 w 6884782"/>
              <a:gd name="connsiteY19067" fmla="*/ 4394736 h 5973007"/>
              <a:gd name="connsiteX19068" fmla="*/ 1169583 w 6884782"/>
              <a:gd name="connsiteY19068" fmla="*/ 4394426 h 5973007"/>
              <a:gd name="connsiteX19069" fmla="*/ 1171597 w 6884782"/>
              <a:gd name="connsiteY19069" fmla="*/ 4388437 h 5973007"/>
              <a:gd name="connsiteX19070" fmla="*/ 1173455 w 6884782"/>
              <a:gd name="connsiteY19070" fmla="*/ 4387920 h 5973007"/>
              <a:gd name="connsiteX19071" fmla="*/ 1172216 w 6884782"/>
              <a:gd name="connsiteY19071" fmla="*/ 4385649 h 5973007"/>
              <a:gd name="connsiteX19072" fmla="*/ 1164937 w 6884782"/>
              <a:gd name="connsiteY19072" fmla="*/ 4384926 h 5973007"/>
              <a:gd name="connsiteX19073" fmla="*/ 1163232 w 6884782"/>
              <a:gd name="connsiteY19073" fmla="*/ 4383790 h 5973007"/>
              <a:gd name="connsiteX19074" fmla="*/ 1161529 w 6884782"/>
              <a:gd name="connsiteY19074" fmla="*/ 4383894 h 5973007"/>
              <a:gd name="connsiteX19075" fmla="*/ 1162148 w 6884782"/>
              <a:gd name="connsiteY19075" fmla="*/ 4382861 h 5973007"/>
              <a:gd name="connsiteX19076" fmla="*/ 1161839 w 6884782"/>
              <a:gd name="connsiteY19076" fmla="*/ 4382758 h 5973007"/>
              <a:gd name="connsiteX19077" fmla="*/ 1162148 w 6884782"/>
              <a:gd name="connsiteY19077" fmla="*/ 4382551 h 5973007"/>
              <a:gd name="connsiteX19078" fmla="*/ 1161839 w 6884782"/>
              <a:gd name="connsiteY19078" fmla="*/ 4382035 h 5973007"/>
              <a:gd name="connsiteX19079" fmla="*/ 1161684 w 6884782"/>
              <a:gd name="connsiteY19079" fmla="*/ 4379970 h 5973007"/>
              <a:gd name="connsiteX19080" fmla="*/ 1163232 w 6884782"/>
              <a:gd name="connsiteY19080" fmla="*/ 4378731 h 5973007"/>
              <a:gd name="connsiteX19081" fmla="*/ 1164007 w 6884782"/>
              <a:gd name="connsiteY19081" fmla="*/ 4378628 h 5973007"/>
              <a:gd name="connsiteX19082" fmla="*/ 1163542 w 6884782"/>
              <a:gd name="connsiteY19082" fmla="*/ 4377802 h 5973007"/>
              <a:gd name="connsiteX19083" fmla="*/ 1163852 w 6884782"/>
              <a:gd name="connsiteY19083" fmla="*/ 4376253 h 5973007"/>
              <a:gd name="connsiteX19084" fmla="*/ 1174695 w 6884782"/>
              <a:gd name="connsiteY19084" fmla="*/ 4373671 h 5973007"/>
              <a:gd name="connsiteX19085" fmla="*/ 1028008 w 6884782"/>
              <a:gd name="connsiteY19085" fmla="*/ 4373465 h 5973007"/>
              <a:gd name="connsiteX19086" fmla="*/ 1029866 w 6884782"/>
              <a:gd name="connsiteY19086" fmla="*/ 4373465 h 5973007"/>
              <a:gd name="connsiteX19087" fmla="*/ 1034513 w 6884782"/>
              <a:gd name="connsiteY19087" fmla="*/ 4377905 h 5973007"/>
              <a:gd name="connsiteX19088" fmla="*/ 1032500 w 6884782"/>
              <a:gd name="connsiteY19088" fmla="*/ 4379867 h 5973007"/>
              <a:gd name="connsiteX19089" fmla="*/ 1031261 w 6884782"/>
              <a:gd name="connsiteY19089" fmla="*/ 4379867 h 5973007"/>
              <a:gd name="connsiteX19090" fmla="*/ 1029247 w 6884782"/>
              <a:gd name="connsiteY19090" fmla="*/ 4384307 h 5973007"/>
              <a:gd name="connsiteX19091" fmla="*/ 1018559 w 6884782"/>
              <a:gd name="connsiteY19091" fmla="*/ 4388643 h 5973007"/>
              <a:gd name="connsiteX19092" fmla="*/ 1026769 w 6884782"/>
              <a:gd name="connsiteY19092" fmla="*/ 4379350 h 5973007"/>
              <a:gd name="connsiteX19093" fmla="*/ 1029712 w 6884782"/>
              <a:gd name="connsiteY19093" fmla="*/ 4379453 h 5973007"/>
              <a:gd name="connsiteX19094" fmla="*/ 1027543 w 6884782"/>
              <a:gd name="connsiteY19094" fmla="*/ 4378214 h 5973007"/>
              <a:gd name="connsiteX19095" fmla="*/ 1026459 w 6884782"/>
              <a:gd name="connsiteY19095" fmla="*/ 4374291 h 5973007"/>
              <a:gd name="connsiteX19096" fmla="*/ 1026769 w 6884782"/>
              <a:gd name="connsiteY19096" fmla="*/ 4375013 h 5973007"/>
              <a:gd name="connsiteX19097" fmla="*/ 1028317 w 6884782"/>
              <a:gd name="connsiteY19097" fmla="*/ 4374291 h 5973007"/>
              <a:gd name="connsiteX19098" fmla="*/ 1028008 w 6884782"/>
              <a:gd name="connsiteY19098" fmla="*/ 4373465 h 5973007"/>
              <a:gd name="connsiteX19099" fmla="*/ 5925819 w 6884782"/>
              <a:gd name="connsiteY19099" fmla="*/ 4373379 h 5973007"/>
              <a:gd name="connsiteX19100" fmla="*/ 5927368 w 6884782"/>
              <a:gd name="connsiteY19100" fmla="*/ 4373379 h 5973007"/>
              <a:gd name="connsiteX19101" fmla="*/ 5926594 w 6884782"/>
              <a:gd name="connsiteY19101" fmla="*/ 4374102 h 5973007"/>
              <a:gd name="connsiteX19102" fmla="*/ 5925819 w 6884782"/>
              <a:gd name="connsiteY19102" fmla="*/ 4373379 h 5973007"/>
              <a:gd name="connsiteX19103" fmla="*/ 5341550 w 6884782"/>
              <a:gd name="connsiteY19103" fmla="*/ 4373070 h 5973007"/>
              <a:gd name="connsiteX19104" fmla="*/ 5345578 w 6884782"/>
              <a:gd name="connsiteY19104" fmla="*/ 4373173 h 5973007"/>
              <a:gd name="connsiteX19105" fmla="*/ 5358589 w 6884782"/>
              <a:gd name="connsiteY19105" fmla="*/ 4376890 h 5973007"/>
              <a:gd name="connsiteX19106" fmla="*/ 5352703 w 6884782"/>
              <a:gd name="connsiteY19106" fmla="*/ 4377819 h 5973007"/>
              <a:gd name="connsiteX19107" fmla="*/ 5339382 w 6884782"/>
              <a:gd name="connsiteY19107" fmla="*/ 4377509 h 5973007"/>
              <a:gd name="connsiteX19108" fmla="*/ 5337988 w 6884782"/>
              <a:gd name="connsiteY19108" fmla="*/ 4375651 h 5973007"/>
              <a:gd name="connsiteX19109" fmla="*/ 5337213 w 6884782"/>
              <a:gd name="connsiteY19109" fmla="*/ 4375651 h 5973007"/>
              <a:gd name="connsiteX19110" fmla="*/ 5336439 w 6884782"/>
              <a:gd name="connsiteY19110" fmla="*/ 4374825 h 5973007"/>
              <a:gd name="connsiteX19111" fmla="*/ 5336439 w 6884782"/>
              <a:gd name="connsiteY19111" fmla="*/ 4373896 h 5973007"/>
              <a:gd name="connsiteX19112" fmla="*/ 5341550 w 6884782"/>
              <a:gd name="connsiteY19112" fmla="*/ 4373070 h 5973007"/>
              <a:gd name="connsiteX19113" fmla="*/ 5522934 w 6884782"/>
              <a:gd name="connsiteY19113" fmla="*/ 4372140 h 5973007"/>
              <a:gd name="connsiteX19114" fmla="*/ 5519991 w 6884782"/>
              <a:gd name="connsiteY19114" fmla="*/ 4378542 h 5973007"/>
              <a:gd name="connsiteX19115" fmla="*/ 5517357 w 6884782"/>
              <a:gd name="connsiteY19115" fmla="*/ 4378542 h 5973007"/>
              <a:gd name="connsiteX19116" fmla="*/ 5522934 w 6884782"/>
              <a:gd name="connsiteY19116" fmla="*/ 4372140 h 5973007"/>
              <a:gd name="connsiteX19117" fmla="*/ 1559922 w 6884782"/>
              <a:gd name="connsiteY19117" fmla="*/ 4372122 h 5973007"/>
              <a:gd name="connsiteX19118" fmla="*/ 1567667 w 6884782"/>
              <a:gd name="connsiteY19118" fmla="*/ 4375013 h 5973007"/>
              <a:gd name="connsiteX19119" fmla="*/ 1569835 w 6884782"/>
              <a:gd name="connsiteY19119" fmla="*/ 4377698 h 5973007"/>
              <a:gd name="connsiteX19120" fmla="*/ 1555275 w 6884782"/>
              <a:gd name="connsiteY19120" fmla="*/ 4387714 h 5973007"/>
              <a:gd name="connsiteX19121" fmla="*/ 1554965 w 6884782"/>
              <a:gd name="connsiteY19121" fmla="*/ 4387404 h 5973007"/>
              <a:gd name="connsiteX19122" fmla="*/ 1553726 w 6884782"/>
              <a:gd name="connsiteY19122" fmla="*/ 4394942 h 5973007"/>
              <a:gd name="connsiteX19123" fmla="*/ 1550783 w 6884782"/>
              <a:gd name="connsiteY19123" fmla="*/ 4403925 h 5973007"/>
              <a:gd name="connsiteX19124" fmla="*/ 1552332 w 6884782"/>
              <a:gd name="connsiteY19124" fmla="*/ 4404029 h 5973007"/>
              <a:gd name="connsiteX19125" fmla="*/ 1555275 w 6884782"/>
              <a:gd name="connsiteY19125" fmla="*/ 4405784 h 5973007"/>
              <a:gd name="connsiteX19126" fmla="*/ 1552177 w 6884782"/>
              <a:gd name="connsiteY19126" fmla="*/ 4414767 h 5973007"/>
              <a:gd name="connsiteX19127" fmla="*/ 1548150 w 6884782"/>
              <a:gd name="connsiteY19127" fmla="*/ 4412289 h 5973007"/>
              <a:gd name="connsiteX19128" fmla="*/ 1547995 w 6884782"/>
              <a:gd name="connsiteY19128" fmla="*/ 4412082 h 5973007"/>
              <a:gd name="connsiteX19129" fmla="*/ 1546446 w 6884782"/>
              <a:gd name="connsiteY19129" fmla="*/ 4416832 h 5973007"/>
              <a:gd name="connsiteX19130" fmla="*/ 1537927 w 6884782"/>
              <a:gd name="connsiteY19130" fmla="*/ 4412186 h 5973007"/>
              <a:gd name="connsiteX19131" fmla="*/ 1553726 w 6884782"/>
              <a:gd name="connsiteY19131" fmla="*/ 4373362 h 5973007"/>
              <a:gd name="connsiteX19132" fmla="*/ 1554810 w 6884782"/>
              <a:gd name="connsiteY19132" fmla="*/ 4380279 h 5973007"/>
              <a:gd name="connsiteX19133" fmla="*/ 1555585 w 6884782"/>
              <a:gd name="connsiteY19133" fmla="*/ 4379970 h 5973007"/>
              <a:gd name="connsiteX19134" fmla="*/ 1559922 w 6884782"/>
              <a:gd name="connsiteY19134" fmla="*/ 4372122 h 5973007"/>
              <a:gd name="connsiteX19135" fmla="*/ 1310539 w 6884782"/>
              <a:gd name="connsiteY19135" fmla="*/ 4371606 h 5973007"/>
              <a:gd name="connsiteX19136" fmla="*/ 1315650 w 6884782"/>
              <a:gd name="connsiteY19136" fmla="*/ 4373568 h 5973007"/>
              <a:gd name="connsiteX19137" fmla="*/ 1315341 w 6884782"/>
              <a:gd name="connsiteY19137" fmla="*/ 4382861 h 5973007"/>
              <a:gd name="connsiteX19138" fmla="*/ 1310539 w 6884782"/>
              <a:gd name="connsiteY19138" fmla="*/ 4371606 h 5973007"/>
              <a:gd name="connsiteX19139" fmla="*/ 1142166 w 6884782"/>
              <a:gd name="connsiteY19139" fmla="*/ 4370574 h 5973007"/>
              <a:gd name="connsiteX19140" fmla="*/ 1144335 w 6884782"/>
              <a:gd name="connsiteY19140" fmla="*/ 4387817 h 5973007"/>
              <a:gd name="connsiteX19141" fmla="*/ 1145265 w 6884782"/>
              <a:gd name="connsiteY19141" fmla="*/ 4388334 h 5973007"/>
              <a:gd name="connsiteX19142" fmla="*/ 1146039 w 6884782"/>
              <a:gd name="connsiteY19142" fmla="*/ 4388953 h 5973007"/>
              <a:gd name="connsiteX19143" fmla="*/ 1145265 w 6884782"/>
              <a:gd name="connsiteY19143" fmla="*/ 4389366 h 5973007"/>
              <a:gd name="connsiteX19144" fmla="*/ 1144025 w 6884782"/>
              <a:gd name="connsiteY19144" fmla="*/ 4389056 h 5973007"/>
              <a:gd name="connsiteX19145" fmla="*/ 1143716 w 6884782"/>
              <a:gd name="connsiteY19145" fmla="*/ 4388953 h 5973007"/>
              <a:gd name="connsiteX19146" fmla="*/ 1141237 w 6884782"/>
              <a:gd name="connsiteY19146" fmla="*/ 4393083 h 5973007"/>
              <a:gd name="connsiteX19147" fmla="*/ 1133957 w 6884782"/>
              <a:gd name="connsiteY19147" fmla="*/ 4400414 h 5973007"/>
              <a:gd name="connsiteX19148" fmla="*/ 1131169 w 6884782"/>
              <a:gd name="connsiteY19148" fmla="*/ 4399795 h 5973007"/>
              <a:gd name="connsiteX19149" fmla="*/ 1126367 w 6884782"/>
              <a:gd name="connsiteY19149" fmla="*/ 4391947 h 5973007"/>
              <a:gd name="connsiteX19150" fmla="*/ 1126522 w 6884782"/>
              <a:gd name="connsiteY19150" fmla="*/ 4389056 h 5973007"/>
              <a:gd name="connsiteX19151" fmla="*/ 1126367 w 6884782"/>
              <a:gd name="connsiteY19151" fmla="*/ 4389056 h 5973007"/>
              <a:gd name="connsiteX19152" fmla="*/ 1125902 w 6884782"/>
              <a:gd name="connsiteY19152" fmla="*/ 4388850 h 5973007"/>
              <a:gd name="connsiteX19153" fmla="*/ 1125593 w 6884782"/>
              <a:gd name="connsiteY19153" fmla="*/ 4389263 h 5973007"/>
              <a:gd name="connsiteX19154" fmla="*/ 1123579 w 6884782"/>
              <a:gd name="connsiteY19154" fmla="*/ 4390708 h 5973007"/>
              <a:gd name="connsiteX19155" fmla="*/ 1125283 w 6884782"/>
              <a:gd name="connsiteY19155" fmla="*/ 4389056 h 5973007"/>
              <a:gd name="connsiteX19156" fmla="*/ 1125128 w 6884782"/>
              <a:gd name="connsiteY19156" fmla="*/ 4388540 h 5973007"/>
              <a:gd name="connsiteX19157" fmla="*/ 1122649 w 6884782"/>
              <a:gd name="connsiteY19157" fmla="*/ 4387404 h 5973007"/>
              <a:gd name="connsiteX19158" fmla="*/ 1130549 w 6884782"/>
              <a:gd name="connsiteY19158" fmla="*/ 4373981 h 5973007"/>
              <a:gd name="connsiteX19159" fmla="*/ 1133183 w 6884782"/>
              <a:gd name="connsiteY19159" fmla="*/ 4374187 h 5973007"/>
              <a:gd name="connsiteX19160" fmla="*/ 1134576 w 6884782"/>
              <a:gd name="connsiteY19160" fmla="*/ 4375013 h 5973007"/>
              <a:gd name="connsiteX19161" fmla="*/ 1139533 w 6884782"/>
              <a:gd name="connsiteY19161" fmla="*/ 4371503 h 5973007"/>
              <a:gd name="connsiteX19162" fmla="*/ 1142166 w 6884782"/>
              <a:gd name="connsiteY19162" fmla="*/ 4370574 h 5973007"/>
              <a:gd name="connsiteX19163" fmla="*/ 5704937 w 6884782"/>
              <a:gd name="connsiteY19163" fmla="*/ 4370488 h 5973007"/>
              <a:gd name="connsiteX19164" fmla="*/ 5711752 w 6884782"/>
              <a:gd name="connsiteY19164" fmla="*/ 4372760 h 5973007"/>
              <a:gd name="connsiteX19165" fmla="*/ 5707105 w 6884782"/>
              <a:gd name="connsiteY19165" fmla="*/ 4384944 h 5973007"/>
              <a:gd name="connsiteX19166" fmla="*/ 5704937 w 6884782"/>
              <a:gd name="connsiteY19166" fmla="*/ 4370488 h 5973007"/>
              <a:gd name="connsiteX19167" fmla="*/ 1398365 w 6884782"/>
              <a:gd name="connsiteY19167" fmla="*/ 4369851 h 5973007"/>
              <a:gd name="connsiteX19168" fmla="*/ 1403477 w 6884782"/>
              <a:gd name="connsiteY19168" fmla="*/ 4374601 h 5973007"/>
              <a:gd name="connsiteX19169" fmla="*/ 1396971 w 6884782"/>
              <a:gd name="connsiteY19169" fmla="*/ 4381829 h 5973007"/>
              <a:gd name="connsiteX19170" fmla="*/ 1391239 w 6884782"/>
              <a:gd name="connsiteY19170" fmla="*/ 4376253 h 5973007"/>
              <a:gd name="connsiteX19171" fmla="*/ 1394183 w 6884782"/>
              <a:gd name="connsiteY19171" fmla="*/ 4370883 h 5973007"/>
              <a:gd name="connsiteX19172" fmla="*/ 1398365 w 6884782"/>
              <a:gd name="connsiteY19172" fmla="*/ 4369851 h 5973007"/>
              <a:gd name="connsiteX19173" fmla="*/ 1540715 w 6884782"/>
              <a:gd name="connsiteY19173" fmla="*/ 4369541 h 5973007"/>
              <a:gd name="connsiteX19174" fmla="*/ 1543813 w 6884782"/>
              <a:gd name="connsiteY19174" fmla="*/ 4371400 h 5973007"/>
              <a:gd name="connsiteX19175" fmla="*/ 1540715 w 6884782"/>
              <a:gd name="connsiteY19175" fmla="*/ 4378318 h 5973007"/>
              <a:gd name="connsiteX19176" fmla="*/ 1537462 w 6884782"/>
              <a:gd name="connsiteY19176" fmla="*/ 4377802 h 5973007"/>
              <a:gd name="connsiteX19177" fmla="*/ 1540715 w 6884782"/>
              <a:gd name="connsiteY19177" fmla="*/ 4369541 h 5973007"/>
              <a:gd name="connsiteX19178" fmla="*/ 1080982 w 6884782"/>
              <a:gd name="connsiteY19178" fmla="*/ 4368818 h 5973007"/>
              <a:gd name="connsiteX19179" fmla="*/ 1080208 w 6884782"/>
              <a:gd name="connsiteY19179" fmla="*/ 4380176 h 5973007"/>
              <a:gd name="connsiteX19180" fmla="*/ 1079433 w 6884782"/>
              <a:gd name="connsiteY19180" fmla="*/ 4383274 h 5973007"/>
              <a:gd name="connsiteX19181" fmla="*/ 1080518 w 6884782"/>
              <a:gd name="connsiteY19181" fmla="*/ 4383377 h 5973007"/>
              <a:gd name="connsiteX19182" fmla="*/ 1082066 w 6884782"/>
              <a:gd name="connsiteY19182" fmla="*/ 4384307 h 5973007"/>
              <a:gd name="connsiteX19183" fmla="*/ 1083926 w 6884782"/>
              <a:gd name="connsiteY19183" fmla="*/ 4383894 h 5973007"/>
              <a:gd name="connsiteX19184" fmla="*/ 1084081 w 6884782"/>
              <a:gd name="connsiteY19184" fmla="*/ 4383584 h 5973007"/>
              <a:gd name="connsiteX19185" fmla="*/ 1084390 w 6884782"/>
              <a:gd name="connsiteY19185" fmla="*/ 4380486 h 5973007"/>
              <a:gd name="connsiteX19186" fmla="*/ 1086094 w 6884782"/>
              <a:gd name="connsiteY19186" fmla="*/ 4379867 h 5973007"/>
              <a:gd name="connsiteX19187" fmla="*/ 1086869 w 6884782"/>
              <a:gd name="connsiteY19187" fmla="*/ 4382551 h 5973007"/>
              <a:gd name="connsiteX19188" fmla="*/ 1084545 w 6884782"/>
              <a:gd name="connsiteY19188" fmla="*/ 4383894 h 5973007"/>
              <a:gd name="connsiteX19189" fmla="*/ 1091360 w 6884782"/>
              <a:gd name="connsiteY19189" fmla="*/ 4382654 h 5973007"/>
              <a:gd name="connsiteX19190" fmla="*/ 1093839 w 6884782"/>
              <a:gd name="connsiteY19190" fmla="*/ 4383068 h 5973007"/>
              <a:gd name="connsiteX19191" fmla="*/ 1093684 w 6884782"/>
              <a:gd name="connsiteY19191" fmla="*/ 4382035 h 5973007"/>
              <a:gd name="connsiteX19192" fmla="*/ 1098330 w 6884782"/>
              <a:gd name="connsiteY19192" fmla="*/ 4383480 h 5973007"/>
              <a:gd name="connsiteX19193" fmla="*/ 1098330 w 6884782"/>
              <a:gd name="connsiteY19193" fmla="*/ 4383790 h 5973007"/>
              <a:gd name="connsiteX19194" fmla="*/ 1102668 w 6884782"/>
              <a:gd name="connsiteY19194" fmla="*/ 4384513 h 5973007"/>
              <a:gd name="connsiteX19195" fmla="*/ 1109019 w 6884782"/>
              <a:gd name="connsiteY19195" fmla="*/ 4388024 h 5973007"/>
              <a:gd name="connsiteX19196" fmla="*/ 1092755 w 6884782"/>
              <a:gd name="connsiteY19196" fmla="*/ 4392774 h 5973007"/>
              <a:gd name="connsiteX19197" fmla="*/ 1092290 w 6884782"/>
              <a:gd name="connsiteY19197" fmla="*/ 4409398 h 5973007"/>
              <a:gd name="connsiteX19198" fmla="*/ 1086559 w 6884782"/>
              <a:gd name="connsiteY19198" fmla="*/ 4397007 h 5973007"/>
              <a:gd name="connsiteX19199" fmla="*/ 1085939 w 6884782"/>
              <a:gd name="connsiteY19199" fmla="*/ 4394839 h 5973007"/>
              <a:gd name="connsiteX19200" fmla="*/ 1084545 w 6884782"/>
              <a:gd name="connsiteY19200" fmla="*/ 4393703 h 5973007"/>
              <a:gd name="connsiteX19201" fmla="*/ 1079588 w 6884782"/>
              <a:gd name="connsiteY19201" fmla="*/ 4390812 h 5973007"/>
              <a:gd name="connsiteX19202" fmla="*/ 1079124 w 6884782"/>
              <a:gd name="connsiteY19202" fmla="*/ 4391121 h 5973007"/>
              <a:gd name="connsiteX19203" fmla="*/ 1079124 w 6884782"/>
              <a:gd name="connsiteY19203" fmla="*/ 4391431 h 5973007"/>
              <a:gd name="connsiteX19204" fmla="*/ 1079278 w 6884782"/>
              <a:gd name="connsiteY19204" fmla="*/ 4391535 h 5973007"/>
              <a:gd name="connsiteX19205" fmla="*/ 1079124 w 6884782"/>
              <a:gd name="connsiteY19205" fmla="*/ 4392154 h 5973007"/>
              <a:gd name="connsiteX19206" fmla="*/ 1079124 w 6884782"/>
              <a:gd name="connsiteY19206" fmla="*/ 4392980 h 5973007"/>
              <a:gd name="connsiteX19207" fmla="*/ 1078969 w 6884782"/>
              <a:gd name="connsiteY19207" fmla="*/ 4393083 h 5973007"/>
              <a:gd name="connsiteX19208" fmla="*/ 1078814 w 6884782"/>
              <a:gd name="connsiteY19208" fmla="*/ 4394013 h 5973007"/>
              <a:gd name="connsiteX19209" fmla="*/ 1077110 w 6884782"/>
              <a:gd name="connsiteY19209" fmla="*/ 4396388 h 5973007"/>
              <a:gd name="connsiteX19210" fmla="*/ 1074631 w 6884782"/>
              <a:gd name="connsiteY19210" fmla="*/ 4400208 h 5973007"/>
              <a:gd name="connsiteX19211" fmla="*/ 1064099 w 6884782"/>
              <a:gd name="connsiteY19211" fmla="*/ 4410431 h 5973007"/>
              <a:gd name="connsiteX19212" fmla="*/ 1066577 w 6884782"/>
              <a:gd name="connsiteY19212" fmla="*/ 4405061 h 5973007"/>
              <a:gd name="connsiteX19213" fmla="*/ 1065338 w 6884782"/>
              <a:gd name="connsiteY19213" fmla="*/ 4403306 h 5973007"/>
              <a:gd name="connsiteX19214" fmla="*/ 1066577 w 6884782"/>
              <a:gd name="connsiteY19214" fmla="*/ 4399279 h 5973007"/>
              <a:gd name="connsiteX19215" fmla="*/ 1068281 w 6884782"/>
              <a:gd name="connsiteY19215" fmla="*/ 4402170 h 5973007"/>
              <a:gd name="connsiteX19216" fmla="*/ 1068281 w 6884782"/>
              <a:gd name="connsiteY19216" fmla="*/ 4402686 h 5973007"/>
              <a:gd name="connsiteX19217" fmla="*/ 1071224 w 6884782"/>
              <a:gd name="connsiteY19217" fmla="*/ 4398349 h 5973007"/>
              <a:gd name="connsiteX19218" fmla="*/ 1074477 w 6884782"/>
              <a:gd name="connsiteY19218" fmla="*/ 4392670 h 5973007"/>
              <a:gd name="connsiteX19219" fmla="*/ 1076955 w 6884782"/>
              <a:gd name="connsiteY19219" fmla="*/ 4392051 h 5973007"/>
              <a:gd name="connsiteX19220" fmla="*/ 1077419 w 6884782"/>
              <a:gd name="connsiteY19220" fmla="*/ 4391328 h 5973007"/>
              <a:gd name="connsiteX19221" fmla="*/ 1078504 w 6884782"/>
              <a:gd name="connsiteY19221" fmla="*/ 4391121 h 5973007"/>
              <a:gd name="connsiteX19222" fmla="*/ 1078659 w 6884782"/>
              <a:gd name="connsiteY19222" fmla="*/ 4390915 h 5973007"/>
              <a:gd name="connsiteX19223" fmla="*/ 1079124 w 6884782"/>
              <a:gd name="connsiteY19223" fmla="*/ 4390502 h 5973007"/>
              <a:gd name="connsiteX19224" fmla="*/ 1074786 w 6884782"/>
              <a:gd name="connsiteY19224" fmla="*/ 4388024 h 5973007"/>
              <a:gd name="connsiteX19225" fmla="*/ 1074786 w 6884782"/>
              <a:gd name="connsiteY19225" fmla="*/ 4382551 h 5973007"/>
              <a:gd name="connsiteX19226" fmla="*/ 1077110 w 6884782"/>
              <a:gd name="connsiteY19226" fmla="*/ 4382861 h 5973007"/>
              <a:gd name="connsiteX19227" fmla="*/ 1077419 w 6884782"/>
              <a:gd name="connsiteY19227" fmla="*/ 4379144 h 5973007"/>
              <a:gd name="connsiteX19228" fmla="*/ 1080827 w 6884782"/>
              <a:gd name="connsiteY19228" fmla="*/ 4370780 h 5973007"/>
              <a:gd name="connsiteX19229" fmla="*/ 1080982 w 6884782"/>
              <a:gd name="connsiteY19229" fmla="*/ 4368818 h 5973007"/>
              <a:gd name="connsiteX19230" fmla="*/ 5491025 w 6884782"/>
              <a:gd name="connsiteY19230" fmla="*/ 4368733 h 5973007"/>
              <a:gd name="connsiteX19231" fmla="*/ 5496446 w 6884782"/>
              <a:gd name="connsiteY19231" fmla="*/ 4371417 h 5973007"/>
              <a:gd name="connsiteX19232" fmla="*/ 5495517 w 6884782"/>
              <a:gd name="connsiteY19232" fmla="*/ 4373173 h 5973007"/>
              <a:gd name="connsiteX19233" fmla="*/ 5492884 w 6884782"/>
              <a:gd name="connsiteY19233" fmla="*/ 4374515 h 5973007"/>
              <a:gd name="connsiteX19234" fmla="*/ 5490406 w 6884782"/>
              <a:gd name="connsiteY19234" fmla="*/ 4373896 h 5973007"/>
              <a:gd name="connsiteX19235" fmla="*/ 5491025 w 6884782"/>
              <a:gd name="connsiteY19235" fmla="*/ 4368733 h 5973007"/>
              <a:gd name="connsiteX19236" fmla="*/ 611956 w 6884782"/>
              <a:gd name="connsiteY19236" fmla="*/ 4368302 h 5973007"/>
              <a:gd name="connsiteX19237" fmla="*/ 612576 w 6884782"/>
              <a:gd name="connsiteY19237" fmla="*/ 4371709 h 5973007"/>
              <a:gd name="connsiteX19238" fmla="*/ 610872 w 6884782"/>
              <a:gd name="connsiteY19238" fmla="*/ 4371503 h 5973007"/>
              <a:gd name="connsiteX19239" fmla="*/ 610872 w 6884782"/>
              <a:gd name="connsiteY19239" fmla="*/ 4372226 h 5973007"/>
              <a:gd name="connsiteX19240" fmla="*/ 609323 w 6884782"/>
              <a:gd name="connsiteY19240" fmla="*/ 4371193 h 5973007"/>
              <a:gd name="connsiteX19241" fmla="*/ 609323 w 6884782"/>
              <a:gd name="connsiteY19241" fmla="*/ 4370367 h 5973007"/>
              <a:gd name="connsiteX19242" fmla="*/ 609323 w 6884782"/>
              <a:gd name="connsiteY19242" fmla="*/ 4370161 h 5973007"/>
              <a:gd name="connsiteX19243" fmla="*/ 610253 w 6884782"/>
              <a:gd name="connsiteY19243" fmla="*/ 4368818 h 5973007"/>
              <a:gd name="connsiteX19244" fmla="*/ 611956 w 6884782"/>
              <a:gd name="connsiteY19244" fmla="*/ 4368302 h 5973007"/>
              <a:gd name="connsiteX19245" fmla="*/ 1513607 w 6884782"/>
              <a:gd name="connsiteY19245" fmla="*/ 4366753 h 5973007"/>
              <a:gd name="connsiteX19246" fmla="*/ 1516241 w 6884782"/>
              <a:gd name="connsiteY19246" fmla="*/ 4370986 h 5973007"/>
              <a:gd name="connsiteX19247" fmla="*/ 1517790 w 6884782"/>
              <a:gd name="connsiteY19247" fmla="*/ 4374910 h 5973007"/>
              <a:gd name="connsiteX19248" fmla="*/ 1519494 w 6884782"/>
              <a:gd name="connsiteY19248" fmla="*/ 4388850 h 5973007"/>
              <a:gd name="connsiteX19249" fmla="*/ 1516396 w 6884782"/>
              <a:gd name="connsiteY19249" fmla="*/ 4383894 h 5973007"/>
              <a:gd name="connsiteX19250" fmla="*/ 1511749 w 6884782"/>
              <a:gd name="connsiteY19250" fmla="*/ 4371400 h 5973007"/>
              <a:gd name="connsiteX19251" fmla="*/ 1512679 w 6884782"/>
              <a:gd name="connsiteY19251" fmla="*/ 4369025 h 5973007"/>
              <a:gd name="connsiteX19252" fmla="*/ 1512369 w 6884782"/>
              <a:gd name="connsiteY19252" fmla="*/ 4368302 h 5973007"/>
              <a:gd name="connsiteX19253" fmla="*/ 1513607 w 6884782"/>
              <a:gd name="connsiteY19253" fmla="*/ 4366753 h 5973007"/>
              <a:gd name="connsiteX19254" fmla="*/ 1567512 w 6884782"/>
              <a:gd name="connsiteY19254" fmla="*/ 4366546 h 5973007"/>
              <a:gd name="connsiteX19255" fmla="*/ 1574173 w 6884782"/>
              <a:gd name="connsiteY19255" fmla="*/ 4368612 h 5973007"/>
              <a:gd name="connsiteX19256" fmla="*/ 1569990 w 6884782"/>
              <a:gd name="connsiteY19256" fmla="*/ 4372019 h 5973007"/>
              <a:gd name="connsiteX19257" fmla="*/ 1563640 w 6884782"/>
              <a:gd name="connsiteY19257" fmla="*/ 4370574 h 5973007"/>
              <a:gd name="connsiteX19258" fmla="*/ 1567512 w 6884782"/>
              <a:gd name="connsiteY19258" fmla="*/ 4366546 h 5973007"/>
              <a:gd name="connsiteX19259" fmla="*/ 5774214 w 6884782"/>
              <a:gd name="connsiteY19259" fmla="*/ 4366164 h 5973007"/>
              <a:gd name="connsiteX19260" fmla="*/ 5775260 w 6884782"/>
              <a:gd name="connsiteY19260" fmla="*/ 4372450 h 5973007"/>
              <a:gd name="connsiteX19261" fmla="*/ 5768290 w 6884782"/>
              <a:gd name="connsiteY19261" fmla="*/ 4369249 h 5973007"/>
              <a:gd name="connsiteX19262" fmla="*/ 5774214 w 6884782"/>
              <a:gd name="connsiteY19262" fmla="*/ 4366164 h 5973007"/>
              <a:gd name="connsiteX19263" fmla="*/ 1531575 w 6884782"/>
              <a:gd name="connsiteY19263" fmla="*/ 4365617 h 5973007"/>
              <a:gd name="connsiteX19264" fmla="*/ 1533744 w 6884782"/>
              <a:gd name="connsiteY19264" fmla="*/ 4367476 h 5973007"/>
              <a:gd name="connsiteX19265" fmla="*/ 1533125 w 6884782"/>
              <a:gd name="connsiteY19265" fmla="*/ 4370574 h 5973007"/>
              <a:gd name="connsiteX19266" fmla="*/ 1531575 w 6884782"/>
              <a:gd name="connsiteY19266" fmla="*/ 4372122 h 5973007"/>
              <a:gd name="connsiteX19267" fmla="*/ 1531575 w 6884782"/>
              <a:gd name="connsiteY19267" fmla="*/ 4375013 h 5973007"/>
              <a:gd name="connsiteX19268" fmla="*/ 1526929 w 6884782"/>
              <a:gd name="connsiteY19268" fmla="*/ 4379970 h 5973007"/>
              <a:gd name="connsiteX19269" fmla="*/ 1524605 w 6884782"/>
              <a:gd name="connsiteY19269" fmla="*/ 4379867 h 5973007"/>
              <a:gd name="connsiteX19270" fmla="*/ 1520578 w 6884782"/>
              <a:gd name="connsiteY19270" fmla="*/ 4376769 h 5973007"/>
              <a:gd name="connsiteX19271" fmla="*/ 1523211 w 6884782"/>
              <a:gd name="connsiteY19271" fmla="*/ 4368818 h 5973007"/>
              <a:gd name="connsiteX19272" fmla="*/ 1526619 w 6884782"/>
              <a:gd name="connsiteY19272" fmla="*/ 4368096 h 5973007"/>
              <a:gd name="connsiteX19273" fmla="*/ 1526619 w 6884782"/>
              <a:gd name="connsiteY19273" fmla="*/ 4366753 h 5973007"/>
              <a:gd name="connsiteX19274" fmla="*/ 1531575 w 6884782"/>
              <a:gd name="connsiteY19274" fmla="*/ 4365617 h 5973007"/>
              <a:gd name="connsiteX19275" fmla="*/ 5828854 w 6884782"/>
              <a:gd name="connsiteY19275" fmla="*/ 4365325 h 5973007"/>
              <a:gd name="connsiteX19276" fmla="*/ 5837373 w 6884782"/>
              <a:gd name="connsiteY19276" fmla="*/ 4371004 h 5973007"/>
              <a:gd name="connsiteX19277" fmla="*/ 5833656 w 6884782"/>
              <a:gd name="connsiteY19277" fmla="*/ 4373689 h 5973007"/>
              <a:gd name="connsiteX19278" fmla="*/ 5828854 w 6884782"/>
              <a:gd name="connsiteY19278" fmla="*/ 4365325 h 5973007"/>
              <a:gd name="connsiteX19279" fmla="*/ 5786335 w 6884782"/>
              <a:gd name="connsiteY19279" fmla="*/ 4364835 h 5973007"/>
              <a:gd name="connsiteX19280" fmla="*/ 5791524 w 6884782"/>
              <a:gd name="connsiteY19280" fmla="*/ 4368423 h 5973007"/>
              <a:gd name="connsiteX19281" fmla="*/ 5789975 w 6884782"/>
              <a:gd name="connsiteY19281" fmla="*/ 4390416 h 5973007"/>
              <a:gd name="connsiteX19282" fmla="*/ 5783004 w 6884782"/>
              <a:gd name="connsiteY19282" fmla="*/ 4381124 h 5973007"/>
              <a:gd name="connsiteX19283" fmla="*/ 5780216 w 6884782"/>
              <a:gd name="connsiteY19283" fmla="*/ 4367287 h 5973007"/>
              <a:gd name="connsiteX19284" fmla="*/ 5786335 w 6884782"/>
              <a:gd name="connsiteY19284" fmla="*/ 4364835 h 5973007"/>
              <a:gd name="connsiteX19285" fmla="*/ 666886 w 6884782"/>
              <a:gd name="connsiteY19285" fmla="*/ 4364081 h 5973007"/>
              <a:gd name="connsiteX19286" fmla="*/ 671127 w 6884782"/>
              <a:gd name="connsiteY19286" fmla="*/ 4367476 h 5973007"/>
              <a:gd name="connsiteX19287" fmla="*/ 668958 w 6884782"/>
              <a:gd name="connsiteY19287" fmla="*/ 4373258 h 5973007"/>
              <a:gd name="connsiteX19288" fmla="*/ 666480 w 6884782"/>
              <a:gd name="connsiteY19288" fmla="*/ 4373671 h 5973007"/>
              <a:gd name="connsiteX19289" fmla="*/ 664621 w 6884782"/>
              <a:gd name="connsiteY19289" fmla="*/ 4373981 h 5973007"/>
              <a:gd name="connsiteX19290" fmla="*/ 661523 w 6884782"/>
              <a:gd name="connsiteY19290" fmla="*/ 4372019 h 5973007"/>
              <a:gd name="connsiteX19291" fmla="*/ 661523 w 6884782"/>
              <a:gd name="connsiteY19291" fmla="*/ 4372845 h 5973007"/>
              <a:gd name="connsiteX19292" fmla="*/ 660904 w 6884782"/>
              <a:gd name="connsiteY19292" fmla="*/ 4367579 h 5973007"/>
              <a:gd name="connsiteX19293" fmla="*/ 666886 w 6884782"/>
              <a:gd name="connsiteY19293" fmla="*/ 4364081 h 5973007"/>
              <a:gd name="connsiteX19294" fmla="*/ 5291673 w 6884782"/>
              <a:gd name="connsiteY19294" fmla="*/ 4362950 h 5973007"/>
              <a:gd name="connsiteX19295" fmla="*/ 5294152 w 6884782"/>
              <a:gd name="connsiteY19295" fmla="*/ 4369146 h 5973007"/>
              <a:gd name="connsiteX19296" fmla="*/ 5291519 w 6884782"/>
              <a:gd name="connsiteY19296" fmla="*/ 4369765 h 5973007"/>
              <a:gd name="connsiteX19297" fmla="*/ 5288576 w 6884782"/>
              <a:gd name="connsiteY19297" fmla="*/ 4369146 h 5973007"/>
              <a:gd name="connsiteX19298" fmla="*/ 5291673 w 6884782"/>
              <a:gd name="connsiteY19298" fmla="*/ 4362950 h 5973007"/>
              <a:gd name="connsiteX19299" fmla="*/ 1084390 w 6884782"/>
              <a:gd name="connsiteY19299" fmla="*/ 4361590 h 5973007"/>
              <a:gd name="connsiteX19300" fmla="*/ 1082531 w 6884782"/>
              <a:gd name="connsiteY19300" fmla="*/ 4366237 h 5973007"/>
              <a:gd name="connsiteX19301" fmla="*/ 1082376 w 6884782"/>
              <a:gd name="connsiteY19301" fmla="*/ 4368096 h 5973007"/>
              <a:gd name="connsiteX19302" fmla="*/ 1080982 w 6884782"/>
              <a:gd name="connsiteY19302" fmla="*/ 4366960 h 5973007"/>
              <a:gd name="connsiteX19303" fmla="*/ 1082686 w 6884782"/>
              <a:gd name="connsiteY19303" fmla="*/ 4364275 h 5973007"/>
              <a:gd name="connsiteX19304" fmla="*/ 1081292 w 6884782"/>
              <a:gd name="connsiteY19304" fmla="*/ 4363139 h 5973007"/>
              <a:gd name="connsiteX19305" fmla="*/ 1081757 w 6884782"/>
              <a:gd name="connsiteY19305" fmla="*/ 4361900 h 5973007"/>
              <a:gd name="connsiteX19306" fmla="*/ 1084390 w 6884782"/>
              <a:gd name="connsiteY19306" fmla="*/ 4361590 h 5973007"/>
              <a:gd name="connsiteX19307" fmla="*/ 1470856 w 6884782"/>
              <a:gd name="connsiteY19307" fmla="*/ 4361177 h 5973007"/>
              <a:gd name="connsiteX19308" fmla="*/ 1477207 w 6884782"/>
              <a:gd name="connsiteY19308" fmla="*/ 4363552 h 5973007"/>
              <a:gd name="connsiteX19309" fmla="*/ 1477207 w 6884782"/>
              <a:gd name="connsiteY19309" fmla="*/ 4379660 h 5973007"/>
              <a:gd name="connsiteX19310" fmla="*/ 1475193 w 6884782"/>
              <a:gd name="connsiteY19310" fmla="*/ 4384307 h 5973007"/>
              <a:gd name="connsiteX19311" fmla="*/ 1475193 w 6884782"/>
              <a:gd name="connsiteY19311" fmla="*/ 4387404 h 5973007"/>
              <a:gd name="connsiteX19312" fmla="*/ 1471786 w 6884782"/>
              <a:gd name="connsiteY19312" fmla="*/ 4388231 h 5973007"/>
              <a:gd name="connsiteX19313" fmla="*/ 1465590 w 6884782"/>
              <a:gd name="connsiteY19313" fmla="*/ 4391535 h 5973007"/>
              <a:gd name="connsiteX19314" fmla="*/ 1463421 w 6884782"/>
              <a:gd name="connsiteY19314" fmla="*/ 4387920 h 5973007"/>
              <a:gd name="connsiteX19315" fmla="*/ 1461872 w 6884782"/>
              <a:gd name="connsiteY19315" fmla="*/ 4387301 h 5973007"/>
              <a:gd name="connsiteX19316" fmla="*/ 1458310 w 6884782"/>
              <a:gd name="connsiteY19316" fmla="*/ 4382345 h 5973007"/>
              <a:gd name="connsiteX19317" fmla="*/ 1455367 w 6884782"/>
              <a:gd name="connsiteY19317" fmla="*/ 4382035 h 5973007"/>
              <a:gd name="connsiteX19318" fmla="*/ 1454282 w 6884782"/>
              <a:gd name="connsiteY19318" fmla="*/ 4379350 h 5973007"/>
              <a:gd name="connsiteX19319" fmla="*/ 1457690 w 6884782"/>
              <a:gd name="connsiteY19319" fmla="*/ 4378214 h 5973007"/>
              <a:gd name="connsiteX19320" fmla="*/ 1458000 w 6884782"/>
              <a:gd name="connsiteY19320" fmla="*/ 4373981 h 5973007"/>
              <a:gd name="connsiteX19321" fmla="*/ 1459239 w 6884782"/>
              <a:gd name="connsiteY19321" fmla="*/ 4372845 h 5973007"/>
              <a:gd name="connsiteX19322" fmla="*/ 1459239 w 6884782"/>
              <a:gd name="connsiteY19322" fmla="*/ 4372226 h 5973007"/>
              <a:gd name="connsiteX19323" fmla="*/ 1470856 w 6884782"/>
              <a:gd name="connsiteY19323" fmla="*/ 4361177 h 5973007"/>
              <a:gd name="connsiteX19324" fmla="*/ 695910 w 6884782"/>
              <a:gd name="connsiteY19324" fmla="*/ 4361074 h 5973007"/>
              <a:gd name="connsiteX19325" fmla="*/ 702261 w 6884782"/>
              <a:gd name="connsiteY19325" fmla="*/ 4365720 h 5973007"/>
              <a:gd name="connsiteX19326" fmla="*/ 694516 w 6884782"/>
              <a:gd name="connsiteY19326" fmla="*/ 4364172 h 5973007"/>
              <a:gd name="connsiteX19327" fmla="*/ 693742 w 6884782"/>
              <a:gd name="connsiteY19327" fmla="*/ 4362416 h 5973007"/>
              <a:gd name="connsiteX19328" fmla="*/ 695910 w 6884782"/>
              <a:gd name="connsiteY19328" fmla="*/ 4361074 h 5973007"/>
              <a:gd name="connsiteX19329" fmla="*/ 5758996 w 6884782"/>
              <a:gd name="connsiteY19329" fmla="*/ 4360989 h 5973007"/>
              <a:gd name="connsiteX19330" fmla="*/ 5766895 w 6884782"/>
              <a:gd name="connsiteY19330" fmla="*/ 4369146 h 5973007"/>
              <a:gd name="connsiteX19331" fmla="*/ 5771542 w 6884782"/>
              <a:gd name="connsiteY19331" fmla="*/ 4380814 h 5973007"/>
              <a:gd name="connsiteX19332" fmla="*/ 5761474 w 6884782"/>
              <a:gd name="connsiteY19332" fmla="*/ 4373586 h 5973007"/>
              <a:gd name="connsiteX19333" fmla="*/ 5758996 w 6884782"/>
              <a:gd name="connsiteY19333" fmla="*/ 4360989 h 5973007"/>
              <a:gd name="connsiteX19334" fmla="*/ 1422993 w 6884782"/>
              <a:gd name="connsiteY19334" fmla="*/ 4360558 h 5973007"/>
              <a:gd name="connsiteX19335" fmla="*/ 1425317 w 6884782"/>
              <a:gd name="connsiteY19335" fmla="*/ 4361074 h 5973007"/>
              <a:gd name="connsiteX19336" fmla="*/ 1425317 w 6884782"/>
              <a:gd name="connsiteY19336" fmla="*/ 4363036 h 5973007"/>
              <a:gd name="connsiteX19337" fmla="*/ 1426092 w 6884782"/>
              <a:gd name="connsiteY19337" fmla="*/ 4364481 h 5973007"/>
              <a:gd name="connsiteX19338" fmla="*/ 1425317 w 6884782"/>
              <a:gd name="connsiteY19338" fmla="*/ 4364998 h 5973007"/>
              <a:gd name="connsiteX19339" fmla="*/ 1425007 w 6884782"/>
              <a:gd name="connsiteY19339" fmla="*/ 4366237 h 5973007"/>
              <a:gd name="connsiteX19340" fmla="*/ 1421135 w 6884782"/>
              <a:gd name="connsiteY19340" fmla="*/ 4366546 h 5973007"/>
              <a:gd name="connsiteX19341" fmla="*/ 1419431 w 6884782"/>
              <a:gd name="connsiteY19341" fmla="*/ 4365720 h 5973007"/>
              <a:gd name="connsiteX19342" fmla="*/ 1418967 w 6884782"/>
              <a:gd name="connsiteY19342" fmla="*/ 4364172 h 5973007"/>
              <a:gd name="connsiteX19343" fmla="*/ 1420050 w 6884782"/>
              <a:gd name="connsiteY19343" fmla="*/ 4362416 h 5973007"/>
              <a:gd name="connsiteX19344" fmla="*/ 1422993 w 6884782"/>
              <a:gd name="connsiteY19344" fmla="*/ 4360558 h 5973007"/>
              <a:gd name="connsiteX19345" fmla="*/ 6018912 w 6884782"/>
              <a:gd name="connsiteY19345" fmla="*/ 4359646 h 5973007"/>
              <a:gd name="connsiteX19346" fmla="*/ 6020925 w 6884782"/>
              <a:gd name="connsiteY19346" fmla="*/ 4360885 h 5973007"/>
              <a:gd name="connsiteX19347" fmla="*/ 6019377 w 6884782"/>
              <a:gd name="connsiteY19347" fmla="*/ 4369249 h 5973007"/>
              <a:gd name="connsiteX19348" fmla="*/ 6017673 w 6884782"/>
              <a:gd name="connsiteY19348" fmla="*/ 4361298 h 5973007"/>
              <a:gd name="connsiteX19349" fmla="*/ 6018912 w 6884782"/>
              <a:gd name="connsiteY19349" fmla="*/ 4359646 h 5973007"/>
              <a:gd name="connsiteX19350" fmla="*/ 1645221 w 6884782"/>
              <a:gd name="connsiteY19350" fmla="*/ 4359554 h 5973007"/>
              <a:gd name="connsiteX19351" fmla="*/ 1640880 w 6884782"/>
              <a:gd name="connsiteY19351" fmla="*/ 4362631 h 5973007"/>
              <a:gd name="connsiteX19352" fmla="*/ 1644495 w 6884782"/>
              <a:gd name="connsiteY19352" fmla="*/ 4363345 h 5973007"/>
              <a:gd name="connsiteX19353" fmla="*/ 1644650 w 6884782"/>
              <a:gd name="connsiteY19353" fmla="*/ 4362933 h 5973007"/>
              <a:gd name="connsiteX19354" fmla="*/ 1644650 w 6884782"/>
              <a:gd name="connsiteY19354" fmla="*/ 4360454 h 5973007"/>
              <a:gd name="connsiteX19355" fmla="*/ 1078969 w 6884782"/>
              <a:gd name="connsiteY19355" fmla="*/ 4359525 h 5973007"/>
              <a:gd name="connsiteX19356" fmla="*/ 1080982 w 6884782"/>
              <a:gd name="connsiteY19356" fmla="*/ 4359525 h 5973007"/>
              <a:gd name="connsiteX19357" fmla="*/ 1081757 w 6884782"/>
              <a:gd name="connsiteY19357" fmla="*/ 4361900 h 5973007"/>
              <a:gd name="connsiteX19358" fmla="*/ 1070295 w 6884782"/>
              <a:gd name="connsiteY19358" fmla="*/ 4367579 h 5973007"/>
              <a:gd name="connsiteX19359" fmla="*/ 1068436 w 6884782"/>
              <a:gd name="connsiteY19359" fmla="*/ 4367579 h 5973007"/>
              <a:gd name="connsiteX19360" fmla="*/ 1063479 w 6884782"/>
              <a:gd name="connsiteY19360" fmla="*/ 4364481 h 5973007"/>
              <a:gd name="connsiteX19361" fmla="*/ 1078969 w 6884782"/>
              <a:gd name="connsiteY19361" fmla="*/ 4359525 h 5973007"/>
              <a:gd name="connsiteX19362" fmla="*/ 1402857 w 6884782"/>
              <a:gd name="connsiteY19362" fmla="*/ 4357873 h 5973007"/>
              <a:gd name="connsiteX19363" fmla="*/ 1418967 w 6884782"/>
              <a:gd name="connsiteY19363" fmla="*/ 4365307 h 5973007"/>
              <a:gd name="connsiteX19364" fmla="*/ 1415868 w 6884782"/>
              <a:gd name="connsiteY19364" fmla="*/ 4366960 h 5973007"/>
              <a:gd name="connsiteX19365" fmla="*/ 1411841 w 6884782"/>
              <a:gd name="connsiteY19365" fmla="*/ 4366753 h 5973007"/>
              <a:gd name="connsiteX19366" fmla="*/ 1404251 w 6884782"/>
              <a:gd name="connsiteY19366" fmla="*/ 4363552 h 5973007"/>
              <a:gd name="connsiteX19367" fmla="*/ 1402857 w 6884782"/>
              <a:gd name="connsiteY19367" fmla="*/ 4357873 h 5973007"/>
              <a:gd name="connsiteX19368" fmla="*/ 1142786 w 6884782"/>
              <a:gd name="connsiteY19368" fmla="*/ 4357667 h 5973007"/>
              <a:gd name="connsiteX19369" fmla="*/ 1143251 w 6884782"/>
              <a:gd name="connsiteY19369" fmla="*/ 4362623 h 5973007"/>
              <a:gd name="connsiteX19370" fmla="*/ 1139843 w 6884782"/>
              <a:gd name="connsiteY19370" fmla="*/ 4362416 h 5973007"/>
              <a:gd name="connsiteX19371" fmla="*/ 1142786 w 6884782"/>
              <a:gd name="connsiteY19371" fmla="*/ 4357667 h 5973007"/>
              <a:gd name="connsiteX19372" fmla="*/ 5873154 w 6884782"/>
              <a:gd name="connsiteY19372" fmla="*/ 4357374 h 5973007"/>
              <a:gd name="connsiteX19373" fmla="*/ 5865255 w 6884782"/>
              <a:gd name="connsiteY19373" fmla="*/ 4374309 h 5973007"/>
              <a:gd name="connsiteX19374" fmla="*/ 5873154 w 6884782"/>
              <a:gd name="connsiteY19374" fmla="*/ 4357374 h 5973007"/>
              <a:gd name="connsiteX19375" fmla="*/ 5415126 w 6884782"/>
              <a:gd name="connsiteY19375" fmla="*/ 4356755 h 5973007"/>
              <a:gd name="connsiteX19376" fmla="*/ 5416520 w 6884782"/>
              <a:gd name="connsiteY19376" fmla="*/ 4360059 h 5973007"/>
              <a:gd name="connsiteX19377" fmla="*/ 5407071 w 6884782"/>
              <a:gd name="connsiteY19377" fmla="*/ 4365325 h 5973007"/>
              <a:gd name="connsiteX19378" fmla="*/ 5405213 w 6884782"/>
              <a:gd name="connsiteY19378" fmla="*/ 4360369 h 5973007"/>
              <a:gd name="connsiteX19379" fmla="*/ 5415126 w 6884782"/>
              <a:gd name="connsiteY19379" fmla="*/ 4356755 h 5973007"/>
              <a:gd name="connsiteX19380" fmla="*/ 1450410 w 6884782"/>
              <a:gd name="connsiteY19380" fmla="*/ 4356737 h 5973007"/>
              <a:gd name="connsiteX19381" fmla="*/ 1458620 w 6884782"/>
              <a:gd name="connsiteY19381" fmla="*/ 4358493 h 5973007"/>
              <a:gd name="connsiteX19382" fmla="*/ 1448861 w 6884782"/>
              <a:gd name="connsiteY19382" fmla="*/ 4364895 h 5973007"/>
              <a:gd name="connsiteX19383" fmla="*/ 1444834 w 6884782"/>
              <a:gd name="connsiteY19383" fmla="*/ 4363449 h 5973007"/>
              <a:gd name="connsiteX19384" fmla="*/ 1450410 w 6884782"/>
              <a:gd name="connsiteY19384" fmla="*/ 4356737 h 5973007"/>
              <a:gd name="connsiteX19385" fmla="*/ 5745365 w 6884782"/>
              <a:gd name="connsiteY19385" fmla="*/ 4356032 h 5973007"/>
              <a:gd name="connsiteX19386" fmla="*/ 5748463 w 6884782"/>
              <a:gd name="connsiteY19386" fmla="*/ 4359336 h 5973007"/>
              <a:gd name="connsiteX19387" fmla="*/ 5738240 w 6884782"/>
              <a:gd name="connsiteY19387" fmla="*/ 4373379 h 5973007"/>
              <a:gd name="connsiteX19388" fmla="*/ 5734987 w 6884782"/>
              <a:gd name="connsiteY19388" fmla="*/ 4373070 h 5973007"/>
              <a:gd name="connsiteX19389" fmla="*/ 5745365 w 6884782"/>
              <a:gd name="connsiteY19389" fmla="*/ 4356032 h 5973007"/>
              <a:gd name="connsiteX19390" fmla="*/ 5891897 w 6884782"/>
              <a:gd name="connsiteY19390" fmla="*/ 4355929 h 5973007"/>
              <a:gd name="connsiteX19391" fmla="*/ 5886785 w 6884782"/>
              <a:gd name="connsiteY19391" fmla="*/ 4369662 h 5973007"/>
              <a:gd name="connsiteX19392" fmla="*/ 5889883 w 6884782"/>
              <a:gd name="connsiteY19392" fmla="*/ 4370695 h 5973007"/>
              <a:gd name="connsiteX19393" fmla="*/ 5889883 w 6884782"/>
              <a:gd name="connsiteY19393" fmla="*/ 4371624 h 5973007"/>
              <a:gd name="connsiteX19394" fmla="*/ 5891277 w 6884782"/>
              <a:gd name="connsiteY19394" fmla="*/ 4369765 h 5973007"/>
              <a:gd name="connsiteX19395" fmla="*/ 5895460 w 6884782"/>
              <a:gd name="connsiteY19395" fmla="*/ 4368630 h 5973007"/>
              <a:gd name="connsiteX19396" fmla="*/ 5895769 w 6884782"/>
              <a:gd name="connsiteY19396" fmla="*/ 4369249 h 5973007"/>
              <a:gd name="connsiteX19397" fmla="*/ 5895924 w 6884782"/>
              <a:gd name="connsiteY19397" fmla="*/ 4368733 h 5973007"/>
              <a:gd name="connsiteX19398" fmla="*/ 5896234 w 6884782"/>
              <a:gd name="connsiteY19398" fmla="*/ 4368733 h 5973007"/>
              <a:gd name="connsiteX19399" fmla="*/ 5896234 w 6884782"/>
              <a:gd name="connsiteY19399" fmla="*/ 4366668 h 5973007"/>
              <a:gd name="connsiteX19400" fmla="*/ 5903204 w 6884782"/>
              <a:gd name="connsiteY19400" fmla="*/ 4356548 h 5973007"/>
              <a:gd name="connsiteX19401" fmla="*/ 5906147 w 6884782"/>
              <a:gd name="connsiteY19401" fmla="*/ 4357788 h 5973007"/>
              <a:gd name="connsiteX19402" fmla="*/ 5905992 w 6884782"/>
              <a:gd name="connsiteY19402" fmla="*/ 4357478 h 5973007"/>
              <a:gd name="connsiteX19403" fmla="*/ 5906767 w 6884782"/>
              <a:gd name="connsiteY19403" fmla="*/ 4357891 h 5973007"/>
              <a:gd name="connsiteX19404" fmla="*/ 5906767 w 6884782"/>
              <a:gd name="connsiteY19404" fmla="*/ 4358098 h 5973007"/>
              <a:gd name="connsiteX19405" fmla="*/ 5907851 w 6884782"/>
              <a:gd name="connsiteY19405" fmla="*/ 4357581 h 5973007"/>
              <a:gd name="connsiteX19406" fmla="*/ 5909245 w 6884782"/>
              <a:gd name="connsiteY19406" fmla="*/ 4359233 h 5973007"/>
              <a:gd name="connsiteX19407" fmla="*/ 5910794 w 6884782"/>
              <a:gd name="connsiteY19407" fmla="*/ 4359956 h 5973007"/>
              <a:gd name="connsiteX19408" fmla="*/ 5918384 w 6884782"/>
              <a:gd name="connsiteY19408" fmla="*/ 4378955 h 5973007"/>
              <a:gd name="connsiteX19409" fmla="*/ 5906457 w 6884782"/>
              <a:gd name="connsiteY19409" fmla="*/ 4385150 h 5973007"/>
              <a:gd name="connsiteX19410" fmla="*/ 5900571 w 6884782"/>
              <a:gd name="connsiteY19410" fmla="*/ 4382053 h 5973007"/>
              <a:gd name="connsiteX19411" fmla="*/ 5899487 w 6884782"/>
              <a:gd name="connsiteY19411" fmla="*/ 4380607 h 5973007"/>
              <a:gd name="connsiteX19412" fmla="*/ 5895614 w 6884782"/>
              <a:gd name="connsiteY19412" fmla="*/ 4381124 h 5973007"/>
              <a:gd name="connsiteX19413" fmla="*/ 5895305 w 6884782"/>
              <a:gd name="connsiteY19413" fmla="*/ 4380298 h 5973007"/>
              <a:gd name="connsiteX19414" fmla="*/ 5893910 w 6884782"/>
              <a:gd name="connsiteY19414" fmla="*/ 4381743 h 5973007"/>
              <a:gd name="connsiteX19415" fmla="*/ 5887870 w 6884782"/>
              <a:gd name="connsiteY19415" fmla="*/ 4382569 h 5973007"/>
              <a:gd name="connsiteX19416" fmla="*/ 5888179 w 6884782"/>
              <a:gd name="connsiteY19416" fmla="*/ 4382982 h 5973007"/>
              <a:gd name="connsiteX19417" fmla="*/ 5888489 w 6884782"/>
              <a:gd name="connsiteY19417" fmla="*/ 4385564 h 5973007"/>
              <a:gd name="connsiteX19418" fmla="*/ 5886011 w 6884782"/>
              <a:gd name="connsiteY19418" fmla="*/ 4386286 h 5973007"/>
              <a:gd name="connsiteX19419" fmla="*/ 5880899 w 6884782"/>
              <a:gd name="connsiteY19419" fmla="*/ 4383499 h 5973007"/>
              <a:gd name="connsiteX19420" fmla="*/ 5880280 w 6884782"/>
              <a:gd name="connsiteY19420" fmla="*/ 4382776 h 5973007"/>
              <a:gd name="connsiteX19421" fmla="*/ 5877027 w 6884782"/>
              <a:gd name="connsiteY19421" fmla="*/ 4387835 h 5973007"/>
              <a:gd name="connsiteX19422" fmla="*/ 5873619 w 6884782"/>
              <a:gd name="connsiteY19422" fmla="*/ 4391139 h 5973007"/>
              <a:gd name="connsiteX19423" fmla="*/ 5872380 w 6884782"/>
              <a:gd name="connsiteY19423" fmla="*/ 4395476 h 5973007"/>
              <a:gd name="connsiteX19424" fmla="*/ 5871451 w 6884782"/>
              <a:gd name="connsiteY19424" fmla="*/ 4392998 h 5973007"/>
              <a:gd name="connsiteX19425" fmla="*/ 5867113 w 6884782"/>
              <a:gd name="connsiteY19425" fmla="*/ 4397128 h 5973007"/>
              <a:gd name="connsiteX19426" fmla="*/ 5866339 w 6884782"/>
              <a:gd name="connsiteY19426" fmla="*/ 4383808 h 5973007"/>
              <a:gd name="connsiteX19427" fmla="*/ 5891897 w 6884782"/>
              <a:gd name="connsiteY19427" fmla="*/ 4355929 h 5973007"/>
              <a:gd name="connsiteX19428" fmla="*/ 1064041 w 6884782"/>
              <a:gd name="connsiteY19428" fmla="*/ 4354414 h 5973007"/>
              <a:gd name="connsiteX19429" fmla="*/ 1070604 w 6884782"/>
              <a:gd name="connsiteY19429" fmla="*/ 4354466 h 5973007"/>
              <a:gd name="connsiteX19430" fmla="*/ 1072308 w 6884782"/>
              <a:gd name="connsiteY19430" fmla="*/ 4355188 h 5973007"/>
              <a:gd name="connsiteX19431" fmla="*/ 1072463 w 6884782"/>
              <a:gd name="connsiteY19431" fmla="*/ 4357357 h 5973007"/>
              <a:gd name="connsiteX19432" fmla="*/ 1061620 w 6884782"/>
              <a:gd name="connsiteY19432" fmla="*/ 4360868 h 5973007"/>
              <a:gd name="connsiteX19433" fmla="*/ 1059607 w 6884782"/>
              <a:gd name="connsiteY19433" fmla="*/ 4359835 h 5973007"/>
              <a:gd name="connsiteX19434" fmla="*/ 1058522 w 6884782"/>
              <a:gd name="connsiteY19434" fmla="*/ 4359422 h 5973007"/>
              <a:gd name="connsiteX19435" fmla="*/ 1060691 w 6884782"/>
              <a:gd name="connsiteY19435" fmla="*/ 4361487 h 5973007"/>
              <a:gd name="connsiteX19436" fmla="*/ 1061466 w 6884782"/>
              <a:gd name="connsiteY19436" fmla="*/ 4369231 h 5973007"/>
              <a:gd name="connsiteX19437" fmla="*/ 1060691 w 6884782"/>
              <a:gd name="connsiteY19437" fmla="*/ 4369644 h 5973007"/>
              <a:gd name="connsiteX19438" fmla="*/ 1064099 w 6884782"/>
              <a:gd name="connsiteY19438" fmla="*/ 4373568 h 5973007"/>
              <a:gd name="connsiteX19439" fmla="*/ 1053256 w 6884782"/>
              <a:gd name="connsiteY19439" fmla="*/ 4380589 h 5973007"/>
              <a:gd name="connsiteX19440" fmla="*/ 1051397 w 6884782"/>
              <a:gd name="connsiteY19440" fmla="*/ 4380899 h 5973007"/>
              <a:gd name="connsiteX19441" fmla="*/ 1051707 w 6884782"/>
              <a:gd name="connsiteY19441" fmla="*/ 4381519 h 5973007"/>
              <a:gd name="connsiteX19442" fmla="*/ 1053566 w 6884782"/>
              <a:gd name="connsiteY19442" fmla="*/ 4381519 h 5973007"/>
              <a:gd name="connsiteX19443" fmla="*/ 1063169 w 6884782"/>
              <a:gd name="connsiteY19443" fmla="*/ 4386888 h 5973007"/>
              <a:gd name="connsiteX19444" fmla="*/ 1050158 w 6884782"/>
              <a:gd name="connsiteY19444" fmla="*/ 4388127 h 5973007"/>
              <a:gd name="connsiteX19445" fmla="*/ 1040400 w 6884782"/>
              <a:gd name="connsiteY19445" fmla="*/ 4381725 h 5973007"/>
              <a:gd name="connsiteX19446" fmla="*/ 1046130 w 6884782"/>
              <a:gd name="connsiteY19446" fmla="*/ 4381519 h 5973007"/>
              <a:gd name="connsiteX19447" fmla="*/ 1048764 w 6884782"/>
              <a:gd name="connsiteY19447" fmla="*/ 4381519 h 5973007"/>
              <a:gd name="connsiteX19448" fmla="*/ 1046285 w 6884782"/>
              <a:gd name="connsiteY19448" fmla="*/ 4381003 h 5973007"/>
              <a:gd name="connsiteX19449" fmla="*/ 1045821 w 6884782"/>
              <a:gd name="connsiteY19449" fmla="*/ 4378937 h 5973007"/>
              <a:gd name="connsiteX19450" fmla="*/ 1048764 w 6884782"/>
              <a:gd name="connsiteY19450" fmla="*/ 4374704 h 5973007"/>
              <a:gd name="connsiteX19451" fmla="*/ 1045976 w 6884782"/>
              <a:gd name="connsiteY19451" fmla="*/ 4369025 h 5973007"/>
              <a:gd name="connsiteX19452" fmla="*/ 1045666 w 6884782"/>
              <a:gd name="connsiteY19452" fmla="*/ 4368508 h 5973007"/>
              <a:gd name="connsiteX19453" fmla="*/ 1044427 w 6884782"/>
              <a:gd name="connsiteY19453" fmla="*/ 4366237 h 5973007"/>
              <a:gd name="connsiteX19454" fmla="*/ 1044427 w 6884782"/>
              <a:gd name="connsiteY19454" fmla="*/ 4366030 h 5973007"/>
              <a:gd name="connsiteX19455" fmla="*/ 1043962 w 6884782"/>
              <a:gd name="connsiteY19455" fmla="*/ 4365411 h 5973007"/>
              <a:gd name="connsiteX19456" fmla="*/ 1043962 w 6884782"/>
              <a:gd name="connsiteY19456" fmla="*/ 4360041 h 5973007"/>
              <a:gd name="connsiteX19457" fmla="*/ 1052017 w 6884782"/>
              <a:gd name="connsiteY19457" fmla="*/ 4356944 h 5973007"/>
              <a:gd name="connsiteX19458" fmla="*/ 1054340 w 6884782"/>
              <a:gd name="connsiteY19458" fmla="*/ 4357770 h 5973007"/>
              <a:gd name="connsiteX19459" fmla="*/ 1053876 w 6884782"/>
              <a:gd name="connsiteY19459" fmla="*/ 4355911 h 5973007"/>
              <a:gd name="connsiteX19460" fmla="*/ 1064041 w 6884782"/>
              <a:gd name="connsiteY19460" fmla="*/ 4354414 h 5973007"/>
              <a:gd name="connsiteX19461" fmla="*/ 4911558 w 6884782"/>
              <a:gd name="connsiteY19461" fmla="*/ 4354174 h 5973007"/>
              <a:gd name="connsiteX19462" fmla="*/ 4917134 w 6884782"/>
              <a:gd name="connsiteY19462" fmla="*/ 4356032 h 5973007"/>
              <a:gd name="connsiteX19463" fmla="*/ 4917754 w 6884782"/>
              <a:gd name="connsiteY19463" fmla="*/ 4358613 h 5973007"/>
              <a:gd name="connsiteX19464" fmla="*/ 4916360 w 6884782"/>
              <a:gd name="connsiteY19464" fmla="*/ 4363776 h 5973007"/>
              <a:gd name="connsiteX19465" fmla="*/ 4917134 w 6884782"/>
              <a:gd name="connsiteY19465" fmla="*/ 4363776 h 5973007"/>
              <a:gd name="connsiteX19466" fmla="*/ 4912023 w 6884782"/>
              <a:gd name="connsiteY19466" fmla="*/ 4364603 h 5973007"/>
              <a:gd name="connsiteX19467" fmla="*/ 4909080 w 6884782"/>
              <a:gd name="connsiteY19467" fmla="*/ 4361195 h 5973007"/>
              <a:gd name="connsiteX19468" fmla="*/ 4911558 w 6884782"/>
              <a:gd name="connsiteY19468" fmla="*/ 4354174 h 5973007"/>
              <a:gd name="connsiteX19469" fmla="*/ 5725848 w 6884782"/>
              <a:gd name="connsiteY19469" fmla="*/ 4352831 h 5973007"/>
              <a:gd name="connsiteX19470" fmla="*/ 5731115 w 6884782"/>
              <a:gd name="connsiteY19470" fmla="*/ 4358201 h 5973007"/>
              <a:gd name="connsiteX19471" fmla="*/ 5726313 w 6884782"/>
              <a:gd name="connsiteY19471" fmla="*/ 4367080 h 5973007"/>
              <a:gd name="connsiteX19472" fmla="*/ 5722440 w 6884782"/>
              <a:gd name="connsiteY19472" fmla="*/ 4366874 h 5973007"/>
              <a:gd name="connsiteX19473" fmla="*/ 5717019 w 6884782"/>
              <a:gd name="connsiteY19473" fmla="*/ 4362744 h 5973007"/>
              <a:gd name="connsiteX19474" fmla="*/ 5725848 w 6884782"/>
              <a:gd name="connsiteY19474" fmla="*/ 4352831 h 5973007"/>
              <a:gd name="connsiteX19475" fmla="*/ 6025882 w 6884782"/>
              <a:gd name="connsiteY19475" fmla="*/ 4352418 h 5973007"/>
              <a:gd name="connsiteX19476" fmla="*/ 6026037 w 6884782"/>
              <a:gd name="connsiteY19476" fmla="*/ 4355000 h 5973007"/>
              <a:gd name="connsiteX19477" fmla="*/ 6027276 w 6884782"/>
              <a:gd name="connsiteY19477" fmla="*/ 4356755 h 5973007"/>
              <a:gd name="connsiteX19478" fmla="*/ 6026812 w 6884782"/>
              <a:gd name="connsiteY19478" fmla="*/ 4355206 h 5973007"/>
              <a:gd name="connsiteX19479" fmla="*/ 6027741 w 6884782"/>
              <a:gd name="connsiteY19479" fmla="*/ 4353141 h 5973007"/>
              <a:gd name="connsiteX19480" fmla="*/ 584695 w 6884782"/>
              <a:gd name="connsiteY19480" fmla="*/ 4351678 h 5973007"/>
              <a:gd name="connsiteX19481" fmla="*/ 593214 w 6884782"/>
              <a:gd name="connsiteY19481" fmla="*/ 4359835 h 5973007"/>
              <a:gd name="connsiteX19482" fmla="*/ 590116 w 6884782"/>
              <a:gd name="connsiteY19482" fmla="*/ 4360351 h 5973007"/>
              <a:gd name="connsiteX19483" fmla="*/ 586088 w 6884782"/>
              <a:gd name="connsiteY19483" fmla="*/ 4359835 h 5973007"/>
              <a:gd name="connsiteX19484" fmla="*/ 584695 w 6884782"/>
              <a:gd name="connsiteY19484" fmla="*/ 4351678 h 5973007"/>
              <a:gd name="connsiteX19485" fmla="*/ 5576218 w 6884782"/>
              <a:gd name="connsiteY19485" fmla="*/ 4351386 h 5973007"/>
              <a:gd name="connsiteX19486" fmla="*/ 5584582 w 6884782"/>
              <a:gd name="connsiteY19486" fmla="*/ 4357891 h 5973007"/>
              <a:gd name="connsiteX19487" fmla="*/ 5585047 w 6884782"/>
              <a:gd name="connsiteY19487" fmla="*/ 4360369 h 5973007"/>
              <a:gd name="connsiteX19488" fmla="*/ 5585977 w 6884782"/>
              <a:gd name="connsiteY19488" fmla="*/ 4361918 h 5973007"/>
              <a:gd name="connsiteX19489" fmla="*/ 5586441 w 6884782"/>
              <a:gd name="connsiteY19489" fmla="*/ 4364809 h 5973007"/>
              <a:gd name="connsiteX19490" fmla="*/ 5595890 w 6884782"/>
              <a:gd name="connsiteY19490" fmla="*/ 4359336 h 5973007"/>
              <a:gd name="connsiteX19491" fmla="*/ 5623616 w 6884782"/>
              <a:gd name="connsiteY19491" fmla="*/ 4362744 h 5973007"/>
              <a:gd name="connsiteX19492" fmla="*/ 5610915 w 6884782"/>
              <a:gd name="connsiteY19492" fmla="*/ 4367184 h 5973007"/>
              <a:gd name="connsiteX19493" fmla="*/ 5610450 w 6884782"/>
              <a:gd name="connsiteY19493" fmla="*/ 4368836 h 5973007"/>
              <a:gd name="connsiteX19494" fmla="*/ 5609676 w 6884782"/>
              <a:gd name="connsiteY19494" fmla="*/ 4368939 h 5973007"/>
              <a:gd name="connsiteX19495" fmla="*/ 5609366 w 6884782"/>
              <a:gd name="connsiteY19495" fmla="*/ 4369146 h 5973007"/>
              <a:gd name="connsiteX19496" fmla="*/ 5608282 w 6884782"/>
              <a:gd name="connsiteY19496" fmla="*/ 4368423 h 5973007"/>
              <a:gd name="connsiteX19497" fmla="*/ 5599608 w 6884782"/>
              <a:gd name="connsiteY19497" fmla="*/ 4372553 h 5973007"/>
              <a:gd name="connsiteX19498" fmla="*/ 5572965 w 6884782"/>
              <a:gd name="connsiteY19498" fmla="*/ 4379678 h 5973007"/>
              <a:gd name="connsiteX19499" fmla="*/ 5581020 w 6884782"/>
              <a:gd name="connsiteY19499" fmla="*/ 4367907 h 5973007"/>
              <a:gd name="connsiteX19500" fmla="*/ 5583808 w 6884782"/>
              <a:gd name="connsiteY19500" fmla="*/ 4366358 h 5973007"/>
              <a:gd name="connsiteX19501" fmla="*/ 5578387 w 6884782"/>
              <a:gd name="connsiteY19501" fmla="*/ 4360369 h 5973007"/>
              <a:gd name="connsiteX19502" fmla="*/ 5574824 w 6884782"/>
              <a:gd name="connsiteY19502" fmla="*/ 4354897 h 5973007"/>
              <a:gd name="connsiteX19503" fmla="*/ 5574514 w 6884782"/>
              <a:gd name="connsiteY19503" fmla="*/ 4352935 h 5973007"/>
              <a:gd name="connsiteX19504" fmla="*/ 5576218 w 6884782"/>
              <a:gd name="connsiteY19504" fmla="*/ 4351386 h 5973007"/>
              <a:gd name="connsiteX19505" fmla="*/ 5784554 w 6884782"/>
              <a:gd name="connsiteY19505" fmla="*/ 4351282 h 5973007"/>
              <a:gd name="connsiteX19506" fmla="*/ 5793693 w 6884782"/>
              <a:gd name="connsiteY19506" fmla="*/ 4358510 h 5973007"/>
              <a:gd name="connsiteX19507" fmla="*/ 5787497 w 6884782"/>
              <a:gd name="connsiteY19507" fmla="*/ 4361195 h 5973007"/>
              <a:gd name="connsiteX19508" fmla="*/ 5781766 w 6884782"/>
              <a:gd name="connsiteY19508" fmla="*/ 4357891 h 5973007"/>
              <a:gd name="connsiteX19509" fmla="*/ 5781146 w 6884782"/>
              <a:gd name="connsiteY19509" fmla="*/ 4355000 h 5973007"/>
              <a:gd name="connsiteX19510" fmla="*/ 5779442 w 6884782"/>
              <a:gd name="connsiteY19510" fmla="*/ 4355929 h 5973007"/>
              <a:gd name="connsiteX19511" fmla="*/ 5780216 w 6884782"/>
              <a:gd name="connsiteY19511" fmla="*/ 4358201 h 5973007"/>
              <a:gd name="connsiteX19512" fmla="*/ 5778668 w 6884782"/>
              <a:gd name="connsiteY19512" fmla="*/ 4362434 h 5973007"/>
              <a:gd name="connsiteX19513" fmla="*/ 5776034 w 6884782"/>
              <a:gd name="connsiteY19513" fmla="*/ 4362950 h 5973007"/>
              <a:gd name="connsiteX19514" fmla="*/ 5773401 w 6884782"/>
              <a:gd name="connsiteY19514" fmla="*/ 4357168 h 5973007"/>
              <a:gd name="connsiteX19515" fmla="*/ 5774950 w 6884782"/>
              <a:gd name="connsiteY19515" fmla="*/ 4355000 h 5973007"/>
              <a:gd name="connsiteX19516" fmla="*/ 5776809 w 6884782"/>
              <a:gd name="connsiteY19516" fmla="*/ 4354174 h 5973007"/>
              <a:gd name="connsiteX19517" fmla="*/ 5778513 w 6884782"/>
              <a:gd name="connsiteY19517" fmla="*/ 4354690 h 5973007"/>
              <a:gd name="connsiteX19518" fmla="*/ 5778203 w 6884782"/>
              <a:gd name="connsiteY19518" fmla="*/ 4353451 h 5973007"/>
              <a:gd name="connsiteX19519" fmla="*/ 5780991 w 6884782"/>
              <a:gd name="connsiteY19519" fmla="*/ 4352935 h 5973007"/>
              <a:gd name="connsiteX19520" fmla="*/ 5781301 w 6884782"/>
              <a:gd name="connsiteY19520" fmla="*/ 4353451 h 5973007"/>
              <a:gd name="connsiteX19521" fmla="*/ 634436 w 6884782"/>
              <a:gd name="connsiteY19521" fmla="*/ 4350361 h 5973007"/>
              <a:gd name="connsiteX19522" fmla="*/ 642471 w 6884782"/>
              <a:gd name="connsiteY19522" fmla="*/ 4352710 h 5973007"/>
              <a:gd name="connsiteX19523" fmla="*/ 616293 w 6884782"/>
              <a:gd name="connsiteY19523" fmla="*/ 4369541 h 5973007"/>
              <a:gd name="connsiteX19524" fmla="*/ 625587 w 6884782"/>
              <a:gd name="connsiteY19524" fmla="*/ 4354362 h 5973007"/>
              <a:gd name="connsiteX19525" fmla="*/ 634436 w 6884782"/>
              <a:gd name="connsiteY19525" fmla="*/ 4350361 h 5973007"/>
              <a:gd name="connsiteX19526" fmla="*/ 678098 w 6884782"/>
              <a:gd name="connsiteY19526" fmla="*/ 4347547 h 5973007"/>
              <a:gd name="connsiteX19527" fmla="*/ 681505 w 6884782"/>
              <a:gd name="connsiteY19527" fmla="*/ 4350335 h 5973007"/>
              <a:gd name="connsiteX19528" fmla="*/ 677788 w 6884782"/>
              <a:gd name="connsiteY19528" fmla="*/ 4348786 h 5973007"/>
              <a:gd name="connsiteX19529" fmla="*/ 678098 w 6884782"/>
              <a:gd name="connsiteY19529" fmla="*/ 4347547 h 5973007"/>
              <a:gd name="connsiteX19530" fmla="*/ 5503882 w 6884782"/>
              <a:gd name="connsiteY19530" fmla="*/ 4347462 h 5973007"/>
              <a:gd name="connsiteX19531" fmla="*/ 5512401 w 6884782"/>
              <a:gd name="connsiteY19531" fmla="*/ 4378749 h 5973007"/>
              <a:gd name="connsiteX19532" fmla="*/ 5501093 w 6884782"/>
              <a:gd name="connsiteY19532" fmla="*/ 4365325 h 5973007"/>
              <a:gd name="connsiteX19533" fmla="*/ 5503882 w 6884782"/>
              <a:gd name="connsiteY19533" fmla="*/ 4347462 h 5973007"/>
              <a:gd name="connsiteX19534" fmla="*/ 1319988 w 6884782"/>
              <a:gd name="connsiteY19534" fmla="*/ 4346308 h 5973007"/>
              <a:gd name="connsiteX19535" fmla="*/ 1316890 w 6884782"/>
              <a:gd name="connsiteY19535" fmla="*/ 4350232 h 5973007"/>
              <a:gd name="connsiteX19536" fmla="*/ 1316734 w 6884782"/>
              <a:gd name="connsiteY19536" fmla="*/ 4350542 h 5973007"/>
              <a:gd name="connsiteX19537" fmla="*/ 1317354 w 6884782"/>
              <a:gd name="connsiteY19537" fmla="*/ 4350542 h 5973007"/>
              <a:gd name="connsiteX19538" fmla="*/ 1323240 w 6884782"/>
              <a:gd name="connsiteY19538" fmla="*/ 4358286 h 5973007"/>
              <a:gd name="connsiteX19539" fmla="*/ 1319833 w 6884782"/>
              <a:gd name="connsiteY19539" fmla="*/ 4371193 h 5973007"/>
              <a:gd name="connsiteX19540" fmla="*/ 1311468 w 6884782"/>
              <a:gd name="connsiteY19540" fmla="*/ 4361797 h 5973007"/>
              <a:gd name="connsiteX19541" fmla="*/ 1311003 w 6884782"/>
              <a:gd name="connsiteY19541" fmla="*/ 4356634 h 5973007"/>
              <a:gd name="connsiteX19542" fmla="*/ 1308525 w 6884782"/>
              <a:gd name="connsiteY19542" fmla="*/ 4358596 h 5973007"/>
              <a:gd name="connsiteX19543" fmla="*/ 1303723 w 6884782"/>
              <a:gd name="connsiteY19543" fmla="*/ 4359318 h 5973007"/>
              <a:gd name="connsiteX19544" fmla="*/ 1300935 w 6884782"/>
              <a:gd name="connsiteY19544" fmla="*/ 4357563 h 5973007"/>
              <a:gd name="connsiteX19545" fmla="*/ 1319988 w 6884782"/>
              <a:gd name="connsiteY19545" fmla="*/ 4346308 h 5973007"/>
              <a:gd name="connsiteX19546" fmla="*/ 5678295 w 6884782"/>
              <a:gd name="connsiteY19546" fmla="*/ 4346223 h 5973007"/>
              <a:gd name="connsiteX19547" fmla="*/ 5680928 w 6884782"/>
              <a:gd name="connsiteY19547" fmla="*/ 4350043 h 5973007"/>
              <a:gd name="connsiteX19548" fmla="*/ 5679999 w 6884782"/>
              <a:gd name="connsiteY19548" fmla="*/ 4353451 h 5973007"/>
              <a:gd name="connsiteX19549" fmla="*/ 5680618 w 6884782"/>
              <a:gd name="connsiteY19549" fmla="*/ 4353347 h 5973007"/>
              <a:gd name="connsiteX19550" fmla="*/ 5680308 w 6884782"/>
              <a:gd name="connsiteY19550" fmla="*/ 4353967 h 5973007"/>
              <a:gd name="connsiteX19551" fmla="*/ 5683561 w 6884782"/>
              <a:gd name="connsiteY19551" fmla="*/ 4355000 h 5973007"/>
              <a:gd name="connsiteX19552" fmla="*/ 5681083 w 6884782"/>
              <a:gd name="connsiteY19552" fmla="*/ 4358820 h 5973007"/>
              <a:gd name="connsiteX19553" fmla="*/ 5678759 w 6884782"/>
              <a:gd name="connsiteY19553" fmla="*/ 4356239 h 5973007"/>
              <a:gd name="connsiteX19554" fmla="*/ 5679224 w 6884782"/>
              <a:gd name="connsiteY19554" fmla="*/ 4354897 h 5973007"/>
              <a:gd name="connsiteX19555" fmla="*/ 5679534 w 6884782"/>
              <a:gd name="connsiteY19555" fmla="*/ 4353554 h 5973007"/>
              <a:gd name="connsiteX19556" fmla="*/ 5678140 w 6884782"/>
              <a:gd name="connsiteY19556" fmla="*/ 4352831 h 5973007"/>
              <a:gd name="connsiteX19557" fmla="*/ 5675971 w 6884782"/>
              <a:gd name="connsiteY19557" fmla="*/ 4352625 h 5973007"/>
              <a:gd name="connsiteX19558" fmla="*/ 5675197 w 6884782"/>
              <a:gd name="connsiteY19558" fmla="*/ 4351799 h 5973007"/>
              <a:gd name="connsiteX19559" fmla="*/ 5672873 w 6884782"/>
              <a:gd name="connsiteY19559" fmla="*/ 4353141 h 5973007"/>
              <a:gd name="connsiteX19560" fmla="*/ 5667297 w 6884782"/>
              <a:gd name="connsiteY19560" fmla="*/ 4349114 h 5973007"/>
              <a:gd name="connsiteX19561" fmla="*/ 5674887 w 6884782"/>
              <a:gd name="connsiteY19561" fmla="*/ 4348907 h 5973007"/>
              <a:gd name="connsiteX19562" fmla="*/ 5674887 w 6884782"/>
              <a:gd name="connsiteY19562" fmla="*/ 4349011 h 5973007"/>
              <a:gd name="connsiteX19563" fmla="*/ 5675352 w 6884782"/>
              <a:gd name="connsiteY19563" fmla="*/ 4348185 h 5973007"/>
              <a:gd name="connsiteX19564" fmla="*/ 5678295 w 6884782"/>
              <a:gd name="connsiteY19564" fmla="*/ 4346223 h 5973007"/>
              <a:gd name="connsiteX19565" fmla="*/ 1129310 w 6884782"/>
              <a:gd name="connsiteY19565" fmla="*/ 4346102 h 5973007"/>
              <a:gd name="connsiteX19566" fmla="*/ 1127916 w 6884782"/>
              <a:gd name="connsiteY19566" fmla="*/ 4346618 h 5973007"/>
              <a:gd name="connsiteX19567" fmla="*/ 1127761 w 6884782"/>
              <a:gd name="connsiteY19567" fmla="*/ 4347341 h 5973007"/>
              <a:gd name="connsiteX19568" fmla="*/ 1128535 w 6884782"/>
              <a:gd name="connsiteY19568" fmla="*/ 4347547 h 5973007"/>
              <a:gd name="connsiteX19569" fmla="*/ 1129000 w 6884782"/>
              <a:gd name="connsiteY19569" fmla="*/ 4347857 h 5973007"/>
              <a:gd name="connsiteX19570" fmla="*/ 6012406 w 6884782"/>
              <a:gd name="connsiteY19570" fmla="*/ 4343641 h 5973007"/>
              <a:gd name="connsiteX19571" fmla="*/ 6012871 w 6884782"/>
              <a:gd name="connsiteY19571" fmla="*/ 4356136 h 5973007"/>
              <a:gd name="connsiteX19572" fmla="*/ 6008999 w 6884782"/>
              <a:gd name="connsiteY19572" fmla="*/ 4370592 h 5973007"/>
              <a:gd name="connsiteX19573" fmla="*/ 6004352 w 6884782"/>
              <a:gd name="connsiteY19573" fmla="*/ 4372863 h 5973007"/>
              <a:gd name="connsiteX19574" fmla="*/ 5993354 w 6884782"/>
              <a:gd name="connsiteY19574" fmla="*/ 4371624 h 5973007"/>
              <a:gd name="connsiteX19575" fmla="*/ 5987623 w 6884782"/>
              <a:gd name="connsiteY19575" fmla="*/ 4368939 h 5973007"/>
              <a:gd name="connsiteX19576" fmla="*/ 5980962 w 6884782"/>
              <a:gd name="connsiteY19576" fmla="*/ 4373482 h 5973007"/>
              <a:gd name="connsiteX19577" fmla="*/ 5981117 w 6884782"/>
              <a:gd name="connsiteY19577" fmla="*/ 4373896 h 5973007"/>
              <a:gd name="connsiteX19578" fmla="*/ 5979878 w 6884782"/>
              <a:gd name="connsiteY19578" fmla="*/ 4379265 h 5973007"/>
              <a:gd name="connsiteX19579" fmla="*/ 5978949 w 6884782"/>
              <a:gd name="connsiteY19579" fmla="*/ 4379988 h 5973007"/>
              <a:gd name="connsiteX19580" fmla="*/ 5983441 w 6884782"/>
              <a:gd name="connsiteY19580" fmla="*/ 4386080 h 5973007"/>
              <a:gd name="connsiteX19581" fmla="*/ 5995987 w 6884782"/>
              <a:gd name="connsiteY19581" fmla="*/ 4399710 h 5973007"/>
              <a:gd name="connsiteX19582" fmla="*/ 5981117 w 6884782"/>
              <a:gd name="connsiteY19582" fmla="*/ 4390830 h 5973007"/>
              <a:gd name="connsiteX19583" fmla="*/ 5980033 w 6884782"/>
              <a:gd name="connsiteY19583" fmla="*/ 4390313 h 5973007"/>
              <a:gd name="connsiteX19584" fmla="*/ 5979878 w 6884782"/>
              <a:gd name="connsiteY19584" fmla="*/ 4390830 h 5973007"/>
              <a:gd name="connsiteX19585" fmla="*/ 5980653 w 6884782"/>
              <a:gd name="connsiteY19585" fmla="*/ 4391243 h 5973007"/>
              <a:gd name="connsiteX19586" fmla="*/ 5980188 w 6884782"/>
              <a:gd name="connsiteY19586" fmla="*/ 4393824 h 5973007"/>
              <a:gd name="connsiteX19587" fmla="*/ 5980033 w 6884782"/>
              <a:gd name="connsiteY19587" fmla="*/ 4393927 h 5973007"/>
              <a:gd name="connsiteX19588" fmla="*/ 5984215 w 6884782"/>
              <a:gd name="connsiteY19588" fmla="*/ 4398264 h 5973007"/>
              <a:gd name="connsiteX19589" fmla="*/ 5992270 w 6884782"/>
              <a:gd name="connsiteY19589" fmla="*/ 4406111 h 5973007"/>
              <a:gd name="connsiteX19590" fmla="*/ 6000944 w 6884782"/>
              <a:gd name="connsiteY19590" fmla="*/ 4412410 h 5973007"/>
              <a:gd name="connsiteX19591" fmla="*/ 6003112 w 6884782"/>
              <a:gd name="connsiteY19591" fmla="*/ 4413339 h 5973007"/>
              <a:gd name="connsiteX19592" fmla="*/ 6003577 w 6884782"/>
              <a:gd name="connsiteY19592" fmla="*/ 4410551 h 5973007"/>
              <a:gd name="connsiteX19593" fmla="*/ 6008224 w 6884782"/>
              <a:gd name="connsiteY19593" fmla="*/ 4413959 h 5973007"/>
              <a:gd name="connsiteX19594" fmla="*/ 6007914 w 6884782"/>
              <a:gd name="connsiteY19594" fmla="*/ 4415198 h 5973007"/>
              <a:gd name="connsiteX19595" fmla="*/ 6008999 w 6884782"/>
              <a:gd name="connsiteY19595" fmla="*/ 4415714 h 5973007"/>
              <a:gd name="connsiteX19596" fmla="*/ 6009928 w 6884782"/>
              <a:gd name="connsiteY19596" fmla="*/ 4413856 h 5973007"/>
              <a:gd name="connsiteX19597" fmla="*/ 6023249 w 6884782"/>
              <a:gd name="connsiteY19597" fmla="*/ 4413236 h 5973007"/>
              <a:gd name="connsiteX19598" fmla="*/ 6017208 w 6884782"/>
              <a:gd name="connsiteY19598" fmla="*/ 4417883 h 5973007"/>
              <a:gd name="connsiteX19599" fmla="*/ 6013335 w 6884782"/>
              <a:gd name="connsiteY19599" fmla="*/ 4422529 h 5973007"/>
              <a:gd name="connsiteX19600" fmla="*/ 6015349 w 6884782"/>
              <a:gd name="connsiteY19600" fmla="*/ 4425834 h 5973007"/>
              <a:gd name="connsiteX19601" fmla="*/ 6023094 w 6884782"/>
              <a:gd name="connsiteY19601" fmla="*/ 4435127 h 5973007"/>
              <a:gd name="connsiteX19602" fmla="*/ 6041681 w 6884782"/>
              <a:gd name="connsiteY19602" fmla="*/ 4450718 h 5973007"/>
              <a:gd name="connsiteX19603" fmla="*/ 6051130 w 6884782"/>
              <a:gd name="connsiteY19603" fmla="*/ 4457533 h 5973007"/>
              <a:gd name="connsiteX19604" fmla="*/ 6051750 w 6884782"/>
              <a:gd name="connsiteY19604" fmla="*/ 4451131 h 5973007"/>
              <a:gd name="connsiteX19605" fmla="*/ 6064916 w 6884782"/>
              <a:gd name="connsiteY19605" fmla="*/ 4432752 h 5973007"/>
              <a:gd name="connsiteX19606" fmla="*/ 6110765 w 6884782"/>
              <a:gd name="connsiteY19606" fmla="*/ 4432442 h 5973007"/>
              <a:gd name="connsiteX19607" fmla="*/ 6121143 w 6884782"/>
              <a:gd name="connsiteY19607" fmla="*/ 4465174 h 5973007"/>
              <a:gd name="connsiteX19608" fmla="*/ 6116032 w 6884782"/>
              <a:gd name="connsiteY19608" fmla="*/ 4469924 h 5973007"/>
              <a:gd name="connsiteX19609" fmla="*/ 6114328 w 6884782"/>
              <a:gd name="connsiteY19609" fmla="*/ 4473022 h 5973007"/>
              <a:gd name="connsiteX19610" fmla="*/ 6114792 w 6884782"/>
              <a:gd name="connsiteY19610" fmla="*/ 4474674 h 5973007"/>
              <a:gd name="connsiteX19611" fmla="*/ 6113244 w 6884782"/>
              <a:gd name="connsiteY19611" fmla="*/ 4475397 h 5973007"/>
              <a:gd name="connsiteX19612" fmla="*/ 6112159 w 6884782"/>
              <a:gd name="connsiteY19612" fmla="*/ 4480663 h 5973007"/>
              <a:gd name="connsiteX19613" fmla="*/ 6112469 w 6884782"/>
              <a:gd name="connsiteY19613" fmla="*/ 4480766 h 5973007"/>
              <a:gd name="connsiteX19614" fmla="*/ 6123002 w 6884782"/>
              <a:gd name="connsiteY19614" fmla="*/ 4487065 h 5973007"/>
              <a:gd name="connsiteX19615" fmla="*/ 6125171 w 6884782"/>
              <a:gd name="connsiteY19615" fmla="*/ 4482934 h 5973007"/>
              <a:gd name="connsiteX19616" fmla="*/ 6130902 w 6884782"/>
              <a:gd name="connsiteY19616" fmla="*/ 4476842 h 5973007"/>
              <a:gd name="connsiteX19617" fmla="*/ 6137717 w 6884782"/>
              <a:gd name="connsiteY19617" fmla="*/ 4480972 h 5973007"/>
              <a:gd name="connsiteX19618" fmla="*/ 6131676 w 6884782"/>
              <a:gd name="connsiteY19618" fmla="*/ 4485929 h 5973007"/>
              <a:gd name="connsiteX19619" fmla="*/ 6129043 w 6884782"/>
              <a:gd name="connsiteY19619" fmla="*/ 4490678 h 5973007"/>
              <a:gd name="connsiteX19620" fmla="*/ 6130592 w 6884782"/>
              <a:gd name="connsiteY19620" fmla="*/ 4491608 h 5973007"/>
              <a:gd name="connsiteX19621" fmla="*/ 6134310 w 6884782"/>
              <a:gd name="connsiteY19621" fmla="*/ 4493776 h 5973007"/>
              <a:gd name="connsiteX19622" fmla="*/ 6134619 w 6884782"/>
              <a:gd name="connsiteY19622" fmla="*/ 4493673 h 5973007"/>
              <a:gd name="connsiteX19623" fmla="*/ 6138492 w 6884782"/>
              <a:gd name="connsiteY19623" fmla="*/ 4494499 h 5973007"/>
              <a:gd name="connsiteX19624" fmla="*/ 6139266 w 6884782"/>
              <a:gd name="connsiteY19624" fmla="*/ 4496564 h 5973007"/>
              <a:gd name="connsiteX19625" fmla="*/ 6146392 w 6884782"/>
              <a:gd name="connsiteY19625" fmla="*/ 4500384 h 5973007"/>
              <a:gd name="connsiteX19626" fmla="*/ 6147011 w 6884782"/>
              <a:gd name="connsiteY19626" fmla="*/ 4500488 h 5973007"/>
              <a:gd name="connsiteX19627" fmla="*/ 6147321 w 6884782"/>
              <a:gd name="connsiteY19627" fmla="*/ 4500901 h 5973007"/>
              <a:gd name="connsiteX19628" fmla="*/ 6149954 w 6884782"/>
              <a:gd name="connsiteY19628" fmla="*/ 4502346 h 5973007"/>
              <a:gd name="connsiteX19629" fmla="*/ 6168697 w 6884782"/>
              <a:gd name="connsiteY19629" fmla="*/ 4511743 h 5973007"/>
              <a:gd name="connsiteX19630" fmla="*/ 6174118 w 6884782"/>
              <a:gd name="connsiteY19630" fmla="*/ 4512878 h 5973007"/>
              <a:gd name="connsiteX19631" fmla="*/ 6178920 w 6884782"/>
              <a:gd name="connsiteY19631" fmla="*/ 4513808 h 5973007"/>
              <a:gd name="connsiteX19632" fmla="*/ 6178610 w 6884782"/>
              <a:gd name="connsiteY19632" fmla="*/ 4513395 h 5973007"/>
              <a:gd name="connsiteX19633" fmla="*/ 6183567 w 6884782"/>
              <a:gd name="connsiteY19633" fmla="*/ 4506167 h 5973007"/>
              <a:gd name="connsiteX19634" fmla="*/ 6185580 w 6884782"/>
              <a:gd name="connsiteY19634" fmla="*/ 4515976 h 5973007"/>
              <a:gd name="connsiteX19635" fmla="*/ 6184341 w 6884782"/>
              <a:gd name="connsiteY19635" fmla="*/ 4516596 h 5973007"/>
              <a:gd name="connsiteX19636" fmla="*/ 6184651 w 6884782"/>
              <a:gd name="connsiteY19636" fmla="*/ 4516802 h 5973007"/>
              <a:gd name="connsiteX19637" fmla="*/ 6185115 w 6884782"/>
              <a:gd name="connsiteY19637" fmla="*/ 4522894 h 5973007"/>
              <a:gd name="connsiteX19638" fmla="*/ 6198747 w 6884782"/>
              <a:gd name="connsiteY19638" fmla="*/ 4525992 h 5973007"/>
              <a:gd name="connsiteX19639" fmla="*/ 6200295 w 6884782"/>
              <a:gd name="connsiteY19639" fmla="*/ 4525476 h 5973007"/>
              <a:gd name="connsiteX19640" fmla="*/ 6200450 w 6884782"/>
              <a:gd name="connsiteY19640" fmla="*/ 4525372 h 5973007"/>
              <a:gd name="connsiteX19641" fmla="*/ 6200605 w 6884782"/>
              <a:gd name="connsiteY19641" fmla="*/ 4525372 h 5973007"/>
              <a:gd name="connsiteX19642" fmla="*/ 6201844 w 6884782"/>
              <a:gd name="connsiteY19642" fmla="*/ 4524960 h 5973007"/>
              <a:gd name="connsiteX19643" fmla="*/ 6202464 w 6884782"/>
              <a:gd name="connsiteY19643" fmla="*/ 4525785 h 5973007"/>
              <a:gd name="connsiteX19644" fmla="*/ 6205097 w 6884782"/>
              <a:gd name="connsiteY19644" fmla="*/ 4526405 h 5973007"/>
              <a:gd name="connsiteX19645" fmla="*/ 6206182 w 6884782"/>
              <a:gd name="connsiteY19645" fmla="*/ 4528161 h 5973007"/>
              <a:gd name="connsiteX19646" fmla="*/ 6207266 w 6884782"/>
              <a:gd name="connsiteY19646" fmla="*/ 4531155 h 5973007"/>
              <a:gd name="connsiteX19647" fmla="*/ 6209589 w 6884782"/>
              <a:gd name="connsiteY19647" fmla="*/ 4531877 h 5973007"/>
              <a:gd name="connsiteX19648" fmla="*/ 6209589 w 6884782"/>
              <a:gd name="connsiteY19648" fmla="*/ 4530432 h 5973007"/>
              <a:gd name="connsiteX19649" fmla="*/ 6212842 w 6884782"/>
              <a:gd name="connsiteY19649" fmla="*/ 4528986 h 5973007"/>
              <a:gd name="connsiteX19650" fmla="*/ 6214546 w 6884782"/>
              <a:gd name="connsiteY19650" fmla="*/ 4530226 h 5973007"/>
              <a:gd name="connsiteX19651" fmla="*/ 6214546 w 6884782"/>
              <a:gd name="connsiteY19651" fmla="*/ 4528677 h 5973007"/>
              <a:gd name="connsiteX19652" fmla="*/ 6217024 w 6884782"/>
              <a:gd name="connsiteY19652" fmla="*/ 4525063 h 5973007"/>
              <a:gd name="connsiteX19653" fmla="*/ 6222601 w 6884782"/>
              <a:gd name="connsiteY19653" fmla="*/ 4529916 h 5973007"/>
              <a:gd name="connsiteX19654" fmla="*/ 6225698 w 6884782"/>
              <a:gd name="connsiteY19654" fmla="*/ 4531671 h 5973007"/>
              <a:gd name="connsiteX19655" fmla="*/ 6229416 w 6884782"/>
              <a:gd name="connsiteY19655" fmla="*/ 4524030 h 5973007"/>
              <a:gd name="connsiteX19656" fmla="*/ 6227867 w 6884782"/>
              <a:gd name="connsiteY19656" fmla="*/ 4520623 h 5973007"/>
              <a:gd name="connsiteX19657" fmla="*/ 6230036 w 6884782"/>
              <a:gd name="connsiteY19657" fmla="*/ 4517215 h 5973007"/>
              <a:gd name="connsiteX19658" fmla="*/ 6232049 w 6884782"/>
              <a:gd name="connsiteY19658" fmla="*/ 4520313 h 5973007"/>
              <a:gd name="connsiteX19659" fmla="*/ 6238400 w 6884782"/>
              <a:gd name="connsiteY19659" fmla="*/ 4514324 h 5973007"/>
              <a:gd name="connsiteX19660" fmla="*/ 6240723 w 6884782"/>
              <a:gd name="connsiteY19660" fmla="*/ 4526405 h 5973007"/>
              <a:gd name="connsiteX19661" fmla="*/ 6237935 w 6884782"/>
              <a:gd name="connsiteY19661" fmla="*/ 4538486 h 5973007"/>
              <a:gd name="connsiteX19662" fmla="*/ 6251411 w 6884782"/>
              <a:gd name="connsiteY19662" fmla="*/ 4543339 h 5973007"/>
              <a:gd name="connsiteX19663" fmla="*/ 6268295 w 6884782"/>
              <a:gd name="connsiteY19663" fmla="*/ 4547160 h 5973007"/>
              <a:gd name="connsiteX19664" fmla="*/ 6268915 w 6884782"/>
              <a:gd name="connsiteY19664" fmla="*/ 4545198 h 5973007"/>
              <a:gd name="connsiteX19665" fmla="*/ 6272787 w 6884782"/>
              <a:gd name="connsiteY19665" fmla="*/ 4542306 h 5973007"/>
              <a:gd name="connsiteX19666" fmla="*/ 6276195 w 6884782"/>
              <a:gd name="connsiteY19666" fmla="*/ 4542616 h 5973007"/>
              <a:gd name="connsiteX19667" fmla="*/ 6277898 w 6884782"/>
              <a:gd name="connsiteY19667" fmla="*/ 4542616 h 5973007"/>
              <a:gd name="connsiteX19668" fmla="*/ 6278518 w 6884782"/>
              <a:gd name="connsiteY19668" fmla="*/ 4528367 h 5973007"/>
              <a:gd name="connsiteX19669" fmla="*/ 6287812 w 6884782"/>
              <a:gd name="connsiteY19669" fmla="*/ 4530432 h 5973007"/>
              <a:gd name="connsiteX19670" fmla="*/ 6286108 w 6884782"/>
              <a:gd name="connsiteY19670" fmla="*/ 4549741 h 5973007"/>
              <a:gd name="connsiteX19671" fmla="*/ 6291219 w 6884782"/>
              <a:gd name="connsiteY19671" fmla="*/ 4550257 h 5973007"/>
              <a:gd name="connsiteX19672" fmla="*/ 6304386 w 6884782"/>
              <a:gd name="connsiteY19672" fmla="*/ 4558105 h 5973007"/>
              <a:gd name="connsiteX19673" fmla="*/ 6311201 w 6884782"/>
              <a:gd name="connsiteY19673" fmla="*/ 4558621 h 5973007"/>
              <a:gd name="connsiteX19674" fmla="*/ 6311046 w 6884782"/>
              <a:gd name="connsiteY19674" fmla="*/ 4558518 h 5973007"/>
              <a:gd name="connsiteX19675" fmla="*/ 6311976 w 6884782"/>
              <a:gd name="connsiteY19675" fmla="*/ 4558724 h 5973007"/>
              <a:gd name="connsiteX19676" fmla="*/ 6312750 w 6884782"/>
              <a:gd name="connsiteY19676" fmla="*/ 4558828 h 5973007"/>
              <a:gd name="connsiteX19677" fmla="*/ 6320030 w 6884782"/>
              <a:gd name="connsiteY19677" fmla="*/ 4559137 h 5973007"/>
              <a:gd name="connsiteX19678" fmla="*/ 6312440 w 6884782"/>
              <a:gd name="connsiteY19678" fmla="*/ 4553871 h 5973007"/>
              <a:gd name="connsiteX19679" fmla="*/ 6325451 w 6884782"/>
              <a:gd name="connsiteY19679" fmla="*/ 4554078 h 5973007"/>
              <a:gd name="connsiteX19680" fmla="*/ 6348221 w 6884782"/>
              <a:gd name="connsiteY19680" fmla="*/ 4561822 h 5973007"/>
              <a:gd name="connsiteX19681" fmla="*/ 6344349 w 6884782"/>
              <a:gd name="connsiteY19681" fmla="*/ 4558311 h 5973007"/>
              <a:gd name="connsiteX19682" fmla="*/ 6336604 w 6884782"/>
              <a:gd name="connsiteY19682" fmla="*/ 4557485 h 5973007"/>
              <a:gd name="connsiteX19683" fmla="*/ 6343574 w 6884782"/>
              <a:gd name="connsiteY19683" fmla="*/ 4555936 h 5973007"/>
              <a:gd name="connsiteX19684" fmla="*/ 6350545 w 6884782"/>
              <a:gd name="connsiteY19684" fmla="*/ 4555007 h 5973007"/>
              <a:gd name="connsiteX19685" fmla="*/ 6364950 w 6884782"/>
              <a:gd name="connsiteY19685" fmla="*/ 4557278 h 5973007"/>
              <a:gd name="connsiteX19686" fmla="*/ 6372385 w 6884782"/>
              <a:gd name="connsiteY19686" fmla="*/ 4558724 h 5973007"/>
              <a:gd name="connsiteX19687" fmla="*/ 6375948 w 6884782"/>
              <a:gd name="connsiteY19687" fmla="*/ 4556452 h 5973007"/>
              <a:gd name="connsiteX19688" fmla="*/ 6377497 w 6884782"/>
              <a:gd name="connsiteY19688" fmla="*/ 4559653 h 5973007"/>
              <a:gd name="connsiteX19689" fmla="*/ 6380440 w 6884782"/>
              <a:gd name="connsiteY19689" fmla="*/ 4560273 h 5973007"/>
              <a:gd name="connsiteX19690" fmla="*/ 6386945 w 6884782"/>
              <a:gd name="connsiteY19690" fmla="*/ 4560686 h 5973007"/>
              <a:gd name="connsiteX19691" fmla="*/ 6388340 w 6884782"/>
              <a:gd name="connsiteY19691" fmla="*/ 4558931 h 5973007"/>
              <a:gd name="connsiteX19692" fmla="*/ 6390663 w 6884782"/>
              <a:gd name="connsiteY19692" fmla="*/ 4560583 h 5973007"/>
              <a:gd name="connsiteX19693" fmla="*/ 6395930 w 6884782"/>
              <a:gd name="connsiteY19693" fmla="*/ 4560067 h 5973007"/>
              <a:gd name="connsiteX19694" fmla="*/ 6400886 w 6884782"/>
              <a:gd name="connsiteY19694" fmla="*/ 4564507 h 5973007"/>
              <a:gd name="connsiteX19695" fmla="*/ 6412658 w 6884782"/>
              <a:gd name="connsiteY19695" fmla="*/ 4561512 h 5973007"/>
              <a:gd name="connsiteX19696" fmla="*/ 6423811 w 6884782"/>
              <a:gd name="connsiteY19696" fmla="*/ 4561306 h 5973007"/>
              <a:gd name="connsiteX19697" fmla="*/ 6424276 w 6884782"/>
              <a:gd name="connsiteY19697" fmla="*/ 4559034 h 5973007"/>
              <a:gd name="connsiteX19698" fmla="*/ 6427374 w 6884782"/>
              <a:gd name="connsiteY19698" fmla="*/ 4555420 h 5973007"/>
              <a:gd name="connsiteX19699" fmla="*/ 6426134 w 6884782"/>
              <a:gd name="connsiteY19699" fmla="*/ 4552839 h 5973007"/>
              <a:gd name="connsiteX19700" fmla="*/ 6426444 w 6884782"/>
              <a:gd name="connsiteY19700" fmla="*/ 4550464 h 5973007"/>
              <a:gd name="connsiteX19701" fmla="*/ 6430471 w 6884782"/>
              <a:gd name="connsiteY19701" fmla="*/ 4547779 h 5973007"/>
              <a:gd name="connsiteX19702" fmla="*/ 6432330 w 6884782"/>
              <a:gd name="connsiteY19702" fmla="*/ 4549638 h 5973007"/>
              <a:gd name="connsiteX19703" fmla="*/ 6433879 w 6884782"/>
              <a:gd name="connsiteY19703" fmla="*/ 4547882 h 5973007"/>
              <a:gd name="connsiteX19704" fmla="*/ 6439610 w 6884782"/>
              <a:gd name="connsiteY19704" fmla="*/ 4544888 h 5973007"/>
              <a:gd name="connsiteX19705" fmla="*/ 6437906 w 6884782"/>
              <a:gd name="connsiteY19705" fmla="*/ 4543545 h 5973007"/>
              <a:gd name="connsiteX19706" fmla="*/ 6432175 w 6884782"/>
              <a:gd name="connsiteY19706" fmla="*/ 4543339 h 5973007"/>
              <a:gd name="connsiteX19707" fmla="*/ 6415911 w 6884782"/>
              <a:gd name="connsiteY19707" fmla="*/ 4552632 h 5973007"/>
              <a:gd name="connsiteX19708" fmla="*/ 6416221 w 6884782"/>
              <a:gd name="connsiteY19708" fmla="*/ 4549741 h 5973007"/>
              <a:gd name="connsiteX19709" fmla="*/ 6403364 w 6884782"/>
              <a:gd name="connsiteY19709" fmla="*/ 4553458 h 5973007"/>
              <a:gd name="connsiteX19710" fmla="*/ 6403055 w 6884782"/>
              <a:gd name="connsiteY19710" fmla="*/ 4552942 h 5973007"/>
              <a:gd name="connsiteX19711" fmla="*/ 6401970 w 6884782"/>
              <a:gd name="connsiteY19711" fmla="*/ 4553252 h 5973007"/>
              <a:gd name="connsiteX19712" fmla="*/ 6389579 w 6884782"/>
              <a:gd name="connsiteY19712" fmla="*/ 4553148 h 5973007"/>
              <a:gd name="connsiteX19713" fmla="*/ 6387255 w 6884782"/>
              <a:gd name="connsiteY19713" fmla="*/ 4544681 h 5973007"/>
              <a:gd name="connsiteX19714" fmla="*/ 6376722 w 6884782"/>
              <a:gd name="connsiteY19714" fmla="*/ 4544268 h 5973007"/>
              <a:gd name="connsiteX19715" fmla="*/ 6362627 w 6884782"/>
              <a:gd name="connsiteY19715" fmla="*/ 4545198 h 5973007"/>
              <a:gd name="connsiteX19716" fmla="*/ 6361387 w 6884782"/>
              <a:gd name="connsiteY19716" fmla="*/ 4540241 h 5973007"/>
              <a:gd name="connsiteX19717" fmla="*/ 6358135 w 6884782"/>
              <a:gd name="connsiteY19717" fmla="*/ 4540448 h 5973007"/>
              <a:gd name="connsiteX19718" fmla="*/ 6362162 w 6884782"/>
              <a:gd name="connsiteY19718" fmla="*/ 4544888 h 5973007"/>
              <a:gd name="connsiteX19719" fmla="*/ 6359219 w 6884782"/>
              <a:gd name="connsiteY19719" fmla="*/ 4546850 h 5973007"/>
              <a:gd name="connsiteX19720" fmla="*/ 6356740 w 6884782"/>
              <a:gd name="connsiteY19720" fmla="*/ 4545198 h 5973007"/>
              <a:gd name="connsiteX19721" fmla="*/ 6355811 w 6884782"/>
              <a:gd name="connsiteY19721" fmla="*/ 4542306 h 5973007"/>
              <a:gd name="connsiteX19722" fmla="*/ 6357670 w 6884782"/>
              <a:gd name="connsiteY19722" fmla="*/ 4540448 h 5973007"/>
              <a:gd name="connsiteX19723" fmla="*/ 6353178 w 6884782"/>
              <a:gd name="connsiteY19723" fmla="*/ 4540654 h 5973007"/>
              <a:gd name="connsiteX19724" fmla="*/ 6352558 w 6884782"/>
              <a:gd name="connsiteY19724" fmla="*/ 4547572 h 5973007"/>
              <a:gd name="connsiteX19725" fmla="*/ 6341251 w 6884782"/>
              <a:gd name="connsiteY19725" fmla="*/ 4556143 h 5973007"/>
              <a:gd name="connsiteX19726" fmla="*/ 6332422 w 6884782"/>
              <a:gd name="connsiteY19726" fmla="*/ 4552942 h 5973007"/>
              <a:gd name="connsiteX19727" fmla="*/ 6336914 w 6884782"/>
              <a:gd name="connsiteY19727" fmla="*/ 4539415 h 5973007"/>
              <a:gd name="connsiteX19728" fmla="*/ 6330873 w 6884782"/>
              <a:gd name="connsiteY19728" fmla="*/ 4538383 h 5973007"/>
              <a:gd name="connsiteX19729" fmla="*/ 6316622 w 6884782"/>
              <a:gd name="connsiteY19729" fmla="*/ 4535492 h 5973007"/>
              <a:gd name="connsiteX19730" fmla="*/ 6307329 w 6884782"/>
              <a:gd name="connsiteY19730" fmla="*/ 4534975 h 5973007"/>
              <a:gd name="connsiteX19731" fmla="*/ 6308568 w 6884782"/>
              <a:gd name="connsiteY19731" fmla="*/ 4538693 h 5973007"/>
              <a:gd name="connsiteX19732" fmla="*/ 6306864 w 6884782"/>
              <a:gd name="connsiteY19732" fmla="*/ 4544681 h 5973007"/>
              <a:gd name="connsiteX19733" fmla="*/ 6303456 w 6884782"/>
              <a:gd name="connsiteY19733" fmla="*/ 4545301 h 5973007"/>
              <a:gd name="connsiteX19734" fmla="*/ 6298345 w 6884782"/>
              <a:gd name="connsiteY19734" fmla="*/ 4543545 h 5973007"/>
              <a:gd name="connsiteX19735" fmla="*/ 6296176 w 6884782"/>
              <a:gd name="connsiteY19735" fmla="*/ 4541584 h 5973007"/>
              <a:gd name="connsiteX19736" fmla="*/ 6295247 w 6884782"/>
              <a:gd name="connsiteY19736" fmla="*/ 4542306 h 5973007"/>
              <a:gd name="connsiteX19737" fmla="*/ 6295402 w 6884782"/>
              <a:gd name="connsiteY19737" fmla="*/ 4540964 h 5973007"/>
              <a:gd name="connsiteX19738" fmla="*/ 6294008 w 6884782"/>
              <a:gd name="connsiteY19738" fmla="*/ 4539828 h 5973007"/>
              <a:gd name="connsiteX19739" fmla="*/ 6293233 w 6884782"/>
              <a:gd name="connsiteY19739" fmla="*/ 4538176 h 5973007"/>
              <a:gd name="connsiteX19740" fmla="*/ 6289980 w 6884782"/>
              <a:gd name="connsiteY19740" fmla="*/ 4539828 h 5973007"/>
              <a:gd name="connsiteX19741" fmla="*/ 6290445 w 6884782"/>
              <a:gd name="connsiteY19741" fmla="*/ 4538486 h 5973007"/>
              <a:gd name="connsiteX19742" fmla="*/ 6292149 w 6884782"/>
              <a:gd name="connsiteY19742" fmla="*/ 4537970 h 5973007"/>
              <a:gd name="connsiteX19743" fmla="*/ 6293078 w 6884782"/>
              <a:gd name="connsiteY19743" fmla="*/ 4537660 h 5973007"/>
              <a:gd name="connsiteX19744" fmla="*/ 6292149 w 6884782"/>
              <a:gd name="connsiteY19744" fmla="*/ 4536008 h 5973007"/>
              <a:gd name="connsiteX19745" fmla="*/ 6294782 w 6884782"/>
              <a:gd name="connsiteY19745" fmla="*/ 4531981 h 5973007"/>
              <a:gd name="connsiteX19746" fmla="*/ 6288896 w 6884782"/>
              <a:gd name="connsiteY19746" fmla="*/ 4529193 h 5973007"/>
              <a:gd name="connsiteX19747" fmla="*/ 6296951 w 6884782"/>
              <a:gd name="connsiteY19747" fmla="*/ 4526611 h 5973007"/>
              <a:gd name="connsiteX19748" fmla="*/ 6298809 w 6884782"/>
              <a:gd name="connsiteY19748" fmla="*/ 4526818 h 5973007"/>
              <a:gd name="connsiteX19749" fmla="*/ 6299119 w 6884782"/>
              <a:gd name="connsiteY19749" fmla="*/ 4526508 h 5973007"/>
              <a:gd name="connsiteX19750" fmla="*/ 6289206 w 6884782"/>
              <a:gd name="connsiteY19750" fmla="*/ 4523720 h 5973007"/>
              <a:gd name="connsiteX19751" fmla="*/ 6278673 w 6884782"/>
              <a:gd name="connsiteY19751" fmla="*/ 4517009 h 5973007"/>
              <a:gd name="connsiteX19752" fmla="*/ 6279138 w 6884782"/>
              <a:gd name="connsiteY19752" fmla="*/ 4521655 h 5973007"/>
              <a:gd name="connsiteX19753" fmla="*/ 6266281 w 6884782"/>
              <a:gd name="connsiteY19753" fmla="*/ 4514737 h 5973007"/>
              <a:gd name="connsiteX19754" fmla="*/ 6259001 w 6884782"/>
              <a:gd name="connsiteY19754" fmla="*/ 4519280 h 5973007"/>
              <a:gd name="connsiteX19755" fmla="*/ 6241653 w 6884782"/>
              <a:gd name="connsiteY19755" fmla="*/ 4514634 h 5973007"/>
              <a:gd name="connsiteX19756" fmla="*/ 6234372 w 6884782"/>
              <a:gd name="connsiteY19756" fmla="*/ 4512775 h 5973007"/>
              <a:gd name="connsiteX19757" fmla="*/ 6233908 w 6884782"/>
              <a:gd name="connsiteY19757" fmla="*/ 4514427 h 5973007"/>
              <a:gd name="connsiteX19758" fmla="*/ 6228486 w 6884782"/>
              <a:gd name="connsiteY19758" fmla="*/ 4514324 h 5973007"/>
              <a:gd name="connsiteX19759" fmla="*/ 6226783 w 6884782"/>
              <a:gd name="connsiteY19759" fmla="*/ 4510710 h 5973007"/>
              <a:gd name="connsiteX19760" fmla="*/ 6223685 w 6884782"/>
              <a:gd name="connsiteY19760" fmla="*/ 4509884 h 5973007"/>
              <a:gd name="connsiteX19761" fmla="*/ 6225698 w 6884782"/>
              <a:gd name="connsiteY19761" fmla="*/ 4507096 h 5973007"/>
              <a:gd name="connsiteX19762" fmla="*/ 6226938 w 6884782"/>
              <a:gd name="connsiteY19762" fmla="*/ 4506580 h 5973007"/>
              <a:gd name="connsiteX19763" fmla="*/ 6227712 w 6884782"/>
              <a:gd name="connsiteY19763" fmla="*/ 4505031 h 5973007"/>
              <a:gd name="connsiteX19764" fmla="*/ 6229106 w 6884782"/>
              <a:gd name="connsiteY19764" fmla="*/ 4505134 h 5973007"/>
              <a:gd name="connsiteX19765" fmla="*/ 6229881 w 6884782"/>
              <a:gd name="connsiteY19765" fmla="*/ 4504515 h 5973007"/>
              <a:gd name="connsiteX19766" fmla="*/ 6229571 w 6884782"/>
              <a:gd name="connsiteY19766" fmla="*/ 4501107 h 5973007"/>
              <a:gd name="connsiteX19767" fmla="*/ 6245525 w 6884782"/>
              <a:gd name="connsiteY19767" fmla="*/ 4507612 h 5973007"/>
              <a:gd name="connsiteX19768" fmla="*/ 6260550 w 6884782"/>
              <a:gd name="connsiteY19768" fmla="*/ 4506167 h 5973007"/>
              <a:gd name="connsiteX19769" fmla="*/ 6261170 w 6884782"/>
              <a:gd name="connsiteY19769" fmla="*/ 4510813 h 5973007"/>
              <a:gd name="connsiteX19770" fmla="*/ 6264887 w 6884782"/>
              <a:gd name="connsiteY19770" fmla="*/ 4508232 h 5973007"/>
              <a:gd name="connsiteX19771" fmla="*/ 6254199 w 6884782"/>
              <a:gd name="connsiteY19771" fmla="*/ 4501210 h 5973007"/>
              <a:gd name="connsiteX19772" fmla="*/ 6242117 w 6884782"/>
              <a:gd name="connsiteY19772" fmla="*/ 4502759 h 5973007"/>
              <a:gd name="connsiteX19773" fmla="*/ 6235922 w 6884782"/>
              <a:gd name="connsiteY19773" fmla="*/ 4498939 h 5973007"/>
              <a:gd name="connsiteX19774" fmla="*/ 6233133 w 6884782"/>
              <a:gd name="connsiteY19774" fmla="*/ 4497183 h 5973007"/>
              <a:gd name="connsiteX19775" fmla="*/ 6232514 w 6884782"/>
              <a:gd name="connsiteY19775" fmla="*/ 4497700 h 5973007"/>
              <a:gd name="connsiteX19776" fmla="*/ 6232514 w 6884782"/>
              <a:gd name="connsiteY19776" fmla="*/ 4496770 h 5973007"/>
              <a:gd name="connsiteX19777" fmla="*/ 6230190 w 6884782"/>
              <a:gd name="connsiteY19777" fmla="*/ 4495325 h 5973007"/>
              <a:gd name="connsiteX19778" fmla="*/ 6232204 w 6884782"/>
              <a:gd name="connsiteY19778" fmla="*/ 4490885 h 5973007"/>
              <a:gd name="connsiteX19779" fmla="*/ 6229726 w 6884782"/>
              <a:gd name="connsiteY19779" fmla="*/ 4485515 h 5973007"/>
              <a:gd name="connsiteX19780" fmla="*/ 6228177 w 6884782"/>
              <a:gd name="connsiteY19780" fmla="*/ 4482934 h 5973007"/>
              <a:gd name="connsiteX19781" fmla="*/ 6226163 w 6884782"/>
              <a:gd name="connsiteY19781" fmla="*/ 4482005 h 5973007"/>
              <a:gd name="connsiteX19782" fmla="*/ 6208815 w 6884782"/>
              <a:gd name="connsiteY19782" fmla="*/ 4477462 h 5973007"/>
              <a:gd name="connsiteX19783" fmla="*/ 6202929 w 6884782"/>
              <a:gd name="connsiteY19783" fmla="*/ 4471782 h 5973007"/>
              <a:gd name="connsiteX19784" fmla="*/ 6198747 w 6884782"/>
              <a:gd name="connsiteY19784" fmla="*/ 4468995 h 5973007"/>
              <a:gd name="connsiteX19785" fmla="*/ 6194874 w 6884782"/>
              <a:gd name="connsiteY19785" fmla="*/ 4465587 h 5973007"/>
              <a:gd name="connsiteX19786" fmla="*/ 6186974 w 6884782"/>
              <a:gd name="connsiteY19786" fmla="*/ 4460424 h 5973007"/>
              <a:gd name="connsiteX19787" fmla="*/ 6186510 w 6884782"/>
              <a:gd name="connsiteY19787" fmla="*/ 4460424 h 5973007"/>
              <a:gd name="connsiteX19788" fmla="*/ 6178455 w 6884782"/>
              <a:gd name="connsiteY19788" fmla="*/ 4457120 h 5973007"/>
              <a:gd name="connsiteX19789" fmla="*/ 6174737 w 6884782"/>
              <a:gd name="connsiteY19789" fmla="*/ 4452370 h 5973007"/>
              <a:gd name="connsiteX19790" fmla="*/ 6161571 w 6884782"/>
              <a:gd name="connsiteY19790" fmla="*/ 4443284 h 5973007"/>
              <a:gd name="connsiteX19791" fmla="*/ 6160022 w 6884782"/>
              <a:gd name="connsiteY19791" fmla="*/ 4447311 h 5973007"/>
              <a:gd name="connsiteX19792" fmla="*/ 6154911 w 6884782"/>
              <a:gd name="connsiteY19792" fmla="*/ 4454126 h 5973007"/>
              <a:gd name="connsiteX19793" fmla="*/ 6153826 w 6884782"/>
              <a:gd name="connsiteY19793" fmla="*/ 4454229 h 5973007"/>
              <a:gd name="connsiteX19794" fmla="*/ 6153052 w 6884782"/>
              <a:gd name="connsiteY19794" fmla="*/ 4455262 h 5973007"/>
              <a:gd name="connsiteX19795" fmla="*/ 6153207 w 6884782"/>
              <a:gd name="connsiteY19795" fmla="*/ 4455468 h 5973007"/>
              <a:gd name="connsiteX19796" fmla="*/ 6153362 w 6884782"/>
              <a:gd name="connsiteY19796" fmla="*/ 4456294 h 5973007"/>
              <a:gd name="connsiteX19797" fmla="*/ 6151658 w 6884782"/>
              <a:gd name="connsiteY19797" fmla="*/ 4459288 h 5973007"/>
              <a:gd name="connsiteX19798" fmla="*/ 6149490 w 6884782"/>
              <a:gd name="connsiteY19798" fmla="*/ 4459082 h 5973007"/>
              <a:gd name="connsiteX19799" fmla="*/ 6146392 w 6884782"/>
              <a:gd name="connsiteY19799" fmla="*/ 4454952 h 5973007"/>
              <a:gd name="connsiteX19800" fmla="*/ 6131057 w 6884782"/>
              <a:gd name="connsiteY19800" fmla="*/ 4454952 h 5973007"/>
              <a:gd name="connsiteX19801" fmla="*/ 6130747 w 6884782"/>
              <a:gd name="connsiteY19801" fmla="*/ 4446175 h 5973007"/>
              <a:gd name="connsiteX19802" fmla="*/ 6145307 w 6884782"/>
              <a:gd name="connsiteY19802" fmla="*/ 4441012 h 5973007"/>
              <a:gd name="connsiteX19803" fmla="*/ 6145307 w 6884782"/>
              <a:gd name="connsiteY19803" fmla="*/ 4441838 h 5973007"/>
              <a:gd name="connsiteX19804" fmla="*/ 6150109 w 6884782"/>
              <a:gd name="connsiteY19804" fmla="*/ 4439773 h 5973007"/>
              <a:gd name="connsiteX19805" fmla="*/ 6150728 w 6884782"/>
              <a:gd name="connsiteY19805" fmla="*/ 4440599 h 5973007"/>
              <a:gd name="connsiteX19806" fmla="*/ 6151038 w 6884782"/>
              <a:gd name="connsiteY19806" fmla="*/ 4440599 h 5973007"/>
              <a:gd name="connsiteX19807" fmla="*/ 6153826 w 6884782"/>
              <a:gd name="connsiteY19807" fmla="*/ 4437605 h 5973007"/>
              <a:gd name="connsiteX19808" fmla="*/ 6153671 w 6884782"/>
              <a:gd name="connsiteY19808" fmla="*/ 4437605 h 5973007"/>
              <a:gd name="connsiteX19809" fmla="*/ 6153362 w 6884782"/>
              <a:gd name="connsiteY19809" fmla="*/ 4437605 h 5973007"/>
              <a:gd name="connsiteX19810" fmla="*/ 6147786 w 6884782"/>
              <a:gd name="connsiteY19810" fmla="*/ 4433268 h 5973007"/>
              <a:gd name="connsiteX19811" fmla="*/ 6147166 w 6884782"/>
              <a:gd name="connsiteY19811" fmla="*/ 4431409 h 5973007"/>
              <a:gd name="connsiteX19812" fmla="*/ 6145772 w 6884782"/>
              <a:gd name="connsiteY19812" fmla="*/ 4430170 h 5973007"/>
              <a:gd name="connsiteX19813" fmla="*/ 6146082 w 6884782"/>
              <a:gd name="connsiteY19813" fmla="*/ 4430996 h 5973007"/>
              <a:gd name="connsiteX19814" fmla="*/ 6146547 w 6884782"/>
              <a:gd name="connsiteY19814" fmla="*/ 4432029 h 5973007"/>
              <a:gd name="connsiteX19815" fmla="*/ 6145927 w 6884782"/>
              <a:gd name="connsiteY19815" fmla="*/ 4433887 h 5973007"/>
              <a:gd name="connsiteX19816" fmla="*/ 6141435 w 6884782"/>
              <a:gd name="connsiteY19816" fmla="*/ 4437605 h 5973007"/>
              <a:gd name="connsiteX19817" fmla="*/ 6138802 w 6884782"/>
              <a:gd name="connsiteY19817" fmla="*/ 4431306 h 5973007"/>
              <a:gd name="connsiteX19818" fmla="*/ 6140196 w 6884782"/>
              <a:gd name="connsiteY19818" fmla="*/ 4425834 h 5973007"/>
              <a:gd name="connsiteX19819" fmla="*/ 6137872 w 6884782"/>
              <a:gd name="connsiteY19819" fmla="*/ 4426763 h 5973007"/>
              <a:gd name="connsiteX19820" fmla="*/ 6134929 w 6884782"/>
              <a:gd name="connsiteY19820" fmla="*/ 4424491 h 5973007"/>
              <a:gd name="connsiteX19821" fmla="*/ 6130747 w 6884782"/>
              <a:gd name="connsiteY19821" fmla="*/ 4421703 h 5973007"/>
              <a:gd name="connsiteX19822" fmla="*/ 6123932 w 6884782"/>
              <a:gd name="connsiteY19822" fmla="*/ 4420361 h 5973007"/>
              <a:gd name="connsiteX19823" fmla="*/ 6128733 w 6884782"/>
              <a:gd name="connsiteY19823" fmla="*/ 4418812 h 5973007"/>
              <a:gd name="connsiteX19824" fmla="*/ 6106118 w 6884782"/>
              <a:gd name="connsiteY19824" fmla="*/ 4408796 h 5973007"/>
              <a:gd name="connsiteX19825" fmla="*/ 6083658 w 6884782"/>
              <a:gd name="connsiteY19825" fmla="*/ 4398058 h 5973007"/>
              <a:gd name="connsiteX19826" fmla="*/ 6087066 w 6884782"/>
              <a:gd name="connsiteY19826" fmla="*/ 4407454 h 5973007"/>
              <a:gd name="connsiteX19827" fmla="*/ 6078547 w 6884782"/>
              <a:gd name="connsiteY19827" fmla="*/ 4400226 h 5973007"/>
              <a:gd name="connsiteX19828" fmla="*/ 6073125 w 6884782"/>
              <a:gd name="connsiteY19828" fmla="*/ 4394031 h 5973007"/>
              <a:gd name="connsiteX19829" fmla="*/ 6071267 w 6884782"/>
              <a:gd name="connsiteY19829" fmla="*/ 4395476 h 5973007"/>
              <a:gd name="connsiteX19830" fmla="*/ 6068014 w 6884782"/>
              <a:gd name="connsiteY19830" fmla="*/ 4395889 h 5973007"/>
              <a:gd name="connsiteX19831" fmla="*/ 6066930 w 6884782"/>
              <a:gd name="connsiteY19831" fmla="*/ 4395373 h 5973007"/>
              <a:gd name="connsiteX19832" fmla="*/ 6070802 w 6884782"/>
              <a:gd name="connsiteY19832" fmla="*/ 4393927 h 5973007"/>
              <a:gd name="connsiteX19833" fmla="*/ 6072661 w 6884782"/>
              <a:gd name="connsiteY19833" fmla="*/ 4393514 h 5973007"/>
              <a:gd name="connsiteX19834" fmla="*/ 6072351 w 6884782"/>
              <a:gd name="connsiteY19834" fmla="*/ 4393101 h 5973007"/>
              <a:gd name="connsiteX19835" fmla="*/ 6065071 w 6884782"/>
              <a:gd name="connsiteY19835" fmla="*/ 4388248 h 5973007"/>
              <a:gd name="connsiteX19836" fmla="*/ 6061044 w 6884782"/>
              <a:gd name="connsiteY19836" fmla="*/ 4386803 h 5973007"/>
              <a:gd name="connsiteX19837" fmla="*/ 6062592 w 6884782"/>
              <a:gd name="connsiteY19837" fmla="*/ 4388455 h 5973007"/>
              <a:gd name="connsiteX19838" fmla="*/ 6057171 w 6884782"/>
              <a:gd name="connsiteY19838" fmla="*/ 4392482 h 5973007"/>
              <a:gd name="connsiteX19839" fmla="*/ 6056397 w 6884782"/>
              <a:gd name="connsiteY19839" fmla="*/ 4390830 h 5973007"/>
              <a:gd name="connsiteX19840" fmla="*/ 6056707 w 6884782"/>
              <a:gd name="connsiteY19840" fmla="*/ 4387835 h 5973007"/>
              <a:gd name="connsiteX19841" fmla="*/ 6058565 w 6884782"/>
              <a:gd name="connsiteY19841" fmla="*/ 4385976 h 5973007"/>
              <a:gd name="connsiteX19842" fmla="*/ 6056087 w 6884782"/>
              <a:gd name="connsiteY19842" fmla="*/ 4385150 h 5973007"/>
              <a:gd name="connsiteX19843" fmla="*/ 6056397 w 6884782"/>
              <a:gd name="connsiteY19843" fmla="*/ 4380401 h 5973007"/>
              <a:gd name="connsiteX19844" fmla="*/ 6055003 w 6884782"/>
              <a:gd name="connsiteY19844" fmla="*/ 4375754 h 5973007"/>
              <a:gd name="connsiteX19845" fmla="*/ 6054848 w 6884782"/>
              <a:gd name="connsiteY19845" fmla="*/ 4375754 h 5973007"/>
              <a:gd name="connsiteX19846" fmla="*/ 6053144 w 6884782"/>
              <a:gd name="connsiteY19846" fmla="*/ 4375858 h 5973007"/>
              <a:gd name="connsiteX19847" fmla="*/ 6047103 w 6884782"/>
              <a:gd name="connsiteY19847" fmla="*/ 4375547 h 5973007"/>
              <a:gd name="connsiteX19848" fmla="*/ 6051285 w 6884782"/>
              <a:gd name="connsiteY19848" fmla="*/ 4374412 h 5973007"/>
              <a:gd name="connsiteX19849" fmla="*/ 6052369 w 6884782"/>
              <a:gd name="connsiteY19849" fmla="*/ 4373792 h 5973007"/>
              <a:gd name="connsiteX19850" fmla="*/ 6052214 w 6884782"/>
              <a:gd name="connsiteY19850" fmla="*/ 4373379 h 5973007"/>
              <a:gd name="connsiteX19851" fmla="*/ 6052524 w 6884782"/>
              <a:gd name="connsiteY19851" fmla="*/ 4373276 h 5973007"/>
              <a:gd name="connsiteX19852" fmla="*/ 6046019 w 6884782"/>
              <a:gd name="connsiteY19852" fmla="*/ 4368733 h 5973007"/>
              <a:gd name="connsiteX19853" fmla="*/ 6039048 w 6884782"/>
              <a:gd name="connsiteY19853" fmla="*/ 4360989 h 5973007"/>
              <a:gd name="connsiteX19854" fmla="*/ 6034711 w 6884782"/>
              <a:gd name="connsiteY19854" fmla="*/ 4369456 h 5973007"/>
              <a:gd name="connsiteX19855" fmla="*/ 6043850 w 6884782"/>
              <a:gd name="connsiteY19855" fmla="*/ 4374515 h 5973007"/>
              <a:gd name="connsiteX19856" fmla="*/ 6042611 w 6884782"/>
              <a:gd name="connsiteY19856" fmla="*/ 4374412 h 5973007"/>
              <a:gd name="connsiteX19857" fmla="*/ 6044935 w 6884782"/>
              <a:gd name="connsiteY19857" fmla="*/ 4376167 h 5973007"/>
              <a:gd name="connsiteX19858" fmla="*/ 6048652 w 6884782"/>
              <a:gd name="connsiteY19858" fmla="*/ 4381330 h 5973007"/>
              <a:gd name="connsiteX19859" fmla="*/ 6044160 w 6884782"/>
              <a:gd name="connsiteY19859" fmla="*/ 4385150 h 5973007"/>
              <a:gd name="connsiteX19860" fmla="*/ 6036725 w 6884782"/>
              <a:gd name="connsiteY19860" fmla="*/ 4376787 h 5973007"/>
              <a:gd name="connsiteX19861" fmla="*/ 6038584 w 6884782"/>
              <a:gd name="connsiteY19861" fmla="*/ 4373896 h 5973007"/>
              <a:gd name="connsiteX19862" fmla="*/ 6035176 w 6884782"/>
              <a:gd name="connsiteY19862" fmla="*/ 4372347 h 5973007"/>
              <a:gd name="connsiteX19863" fmla="*/ 6026347 w 6884782"/>
              <a:gd name="connsiteY19863" fmla="*/ 4370592 h 5973007"/>
              <a:gd name="connsiteX19864" fmla="*/ 6032698 w 6884782"/>
              <a:gd name="connsiteY19864" fmla="*/ 4368836 h 5973007"/>
              <a:gd name="connsiteX19865" fmla="*/ 6035486 w 6884782"/>
              <a:gd name="connsiteY19865" fmla="*/ 4364086 h 5973007"/>
              <a:gd name="connsiteX19866" fmla="*/ 6034866 w 6884782"/>
              <a:gd name="connsiteY19866" fmla="*/ 4360679 h 5973007"/>
              <a:gd name="connsiteX19867" fmla="*/ 6031303 w 6884782"/>
              <a:gd name="connsiteY19867" fmla="*/ 4360989 h 5973007"/>
              <a:gd name="connsiteX19868" fmla="*/ 6027896 w 6884782"/>
              <a:gd name="connsiteY19868" fmla="*/ 4359027 h 5973007"/>
              <a:gd name="connsiteX19869" fmla="*/ 6027431 w 6884782"/>
              <a:gd name="connsiteY19869" fmla="*/ 4357581 h 5973007"/>
              <a:gd name="connsiteX19870" fmla="*/ 6022629 w 6884782"/>
              <a:gd name="connsiteY19870" fmla="*/ 4357581 h 5973007"/>
              <a:gd name="connsiteX19871" fmla="*/ 6017363 w 6884782"/>
              <a:gd name="connsiteY19871" fmla="*/ 4356548 h 5973007"/>
              <a:gd name="connsiteX19872" fmla="*/ 6021080 w 6884782"/>
              <a:gd name="connsiteY19872" fmla="*/ 4351179 h 5973007"/>
              <a:gd name="connsiteX19873" fmla="*/ 6022165 w 6884782"/>
              <a:gd name="connsiteY19873" fmla="*/ 4344880 h 5973007"/>
              <a:gd name="connsiteX19874" fmla="*/ 6014575 w 6884782"/>
              <a:gd name="connsiteY19874" fmla="*/ 4344674 h 5973007"/>
              <a:gd name="connsiteX19875" fmla="*/ 1333773 w 6884782"/>
              <a:gd name="connsiteY19875" fmla="*/ 4343211 h 5973007"/>
              <a:gd name="connsiteX19876" fmla="*/ 1332379 w 6884782"/>
              <a:gd name="connsiteY19876" fmla="*/ 4361384 h 5973007"/>
              <a:gd name="connsiteX19877" fmla="*/ 1333773 w 6884782"/>
              <a:gd name="connsiteY19877" fmla="*/ 4343211 h 5973007"/>
              <a:gd name="connsiteX19878" fmla="*/ 5528820 w 6884782"/>
              <a:gd name="connsiteY19878" fmla="*/ 4343125 h 5973007"/>
              <a:gd name="connsiteX19879" fmla="*/ 5528665 w 6884782"/>
              <a:gd name="connsiteY19879" fmla="*/ 4348288 h 5973007"/>
              <a:gd name="connsiteX19880" fmla="*/ 5526342 w 6884782"/>
              <a:gd name="connsiteY19880" fmla="*/ 4350043 h 5973007"/>
              <a:gd name="connsiteX19881" fmla="*/ 5523554 w 6884782"/>
              <a:gd name="connsiteY19881" fmla="*/ 4348598 h 5973007"/>
              <a:gd name="connsiteX19882" fmla="*/ 5522314 w 6884782"/>
              <a:gd name="connsiteY19882" fmla="*/ 4345191 h 5973007"/>
              <a:gd name="connsiteX19883" fmla="*/ 5528820 w 6884782"/>
              <a:gd name="connsiteY19883" fmla="*/ 4343125 h 5973007"/>
              <a:gd name="connsiteX19884" fmla="*/ 5060104 w 6884782"/>
              <a:gd name="connsiteY19884" fmla="*/ 4342093 h 5973007"/>
              <a:gd name="connsiteX19885" fmla="*/ 5064905 w 6884782"/>
              <a:gd name="connsiteY19885" fmla="*/ 4347256 h 5973007"/>
              <a:gd name="connsiteX19886" fmla="*/ 5060568 w 6884782"/>
              <a:gd name="connsiteY19886" fmla="*/ 4349217 h 5973007"/>
              <a:gd name="connsiteX19887" fmla="*/ 5058865 w 6884782"/>
              <a:gd name="connsiteY19887" fmla="*/ 4348391 h 5973007"/>
              <a:gd name="connsiteX19888" fmla="*/ 5060104 w 6884782"/>
              <a:gd name="connsiteY19888" fmla="*/ 4342093 h 5973007"/>
              <a:gd name="connsiteX19889" fmla="*/ 1399139 w 6884782"/>
              <a:gd name="connsiteY19889" fmla="*/ 4341868 h 5973007"/>
              <a:gd name="connsiteX19890" fmla="*/ 1393253 w 6884782"/>
              <a:gd name="connsiteY19890" fmla="*/ 4348270 h 5973007"/>
              <a:gd name="connsiteX19891" fmla="*/ 1390465 w 6884782"/>
              <a:gd name="connsiteY19891" fmla="*/ 4348270 h 5973007"/>
              <a:gd name="connsiteX19892" fmla="*/ 1399139 w 6884782"/>
              <a:gd name="connsiteY19892" fmla="*/ 4341868 h 5973007"/>
              <a:gd name="connsiteX19893" fmla="*/ 5796945 w 6884782"/>
              <a:gd name="connsiteY19893" fmla="*/ 4341576 h 5973007"/>
              <a:gd name="connsiteX19894" fmla="*/ 5804380 w 6884782"/>
              <a:gd name="connsiteY19894" fmla="*/ 4343435 h 5973007"/>
              <a:gd name="connsiteX19895" fmla="*/ 5802986 w 6884782"/>
              <a:gd name="connsiteY19895" fmla="*/ 4347772 h 5973007"/>
              <a:gd name="connsiteX19896" fmla="*/ 5790905 w 6884782"/>
              <a:gd name="connsiteY19896" fmla="*/ 4352108 h 5973007"/>
              <a:gd name="connsiteX19897" fmla="*/ 5792453 w 6884782"/>
              <a:gd name="connsiteY19897" fmla="*/ 4344158 h 5973007"/>
              <a:gd name="connsiteX19898" fmla="*/ 5796945 w 6884782"/>
              <a:gd name="connsiteY19898" fmla="*/ 4341576 h 5973007"/>
              <a:gd name="connsiteX19899" fmla="*/ 1083926 w 6884782"/>
              <a:gd name="connsiteY19899" fmla="*/ 4340113 h 5973007"/>
              <a:gd name="connsiteX19900" fmla="*/ 1091360 w 6884782"/>
              <a:gd name="connsiteY19900" fmla="*/ 4350335 h 5973007"/>
              <a:gd name="connsiteX19901" fmla="*/ 1091360 w 6884782"/>
              <a:gd name="connsiteY19901" fmla="*/ 4353330 h 5973007"/>
              <a:gd name="connsiteX19902" fmla="*/ 1093994 w 6884782"/>
              <a:gd name="connsiteY19902" fmla="*/ 4355085 h 5973007"/>
              <a:gd name="connsiteX19903" fmla="*/ 1094149 w 6884782"/>
              <a:gd name="connsiteY19903" fmla="*/ 4369644 h 5973007"/>
              <a:gd name="connsiteX19904" fmla="*/ 1090896 w 6884782"/>
              <a:gd name="connsiteY19904" fmla="*/ 4369128 h 5973007"/>
              <a:gd name="connsiteX19905" fmla="*/ 1090586 w 6884782"/>
              <a:gd name="connsiteY19905" fmla="*/ 4368818 h 5973007"/>
              <a:gd name="connsiteX19906" fmla="*/ 1089811 w 6884782"/>
              <a:gd name="connsiteY19906" fmla="*/ 4369128 h 5973007"/>
              <a:gd name="connsiteX19907" fmla="*/ 1083461 w 6884782"/>
              <a:gd name="connsiteY19907" fmla="*/ 4370470 h 5973007"/>
              <a:gd name="connsiteX19908" fmla="*/ 1088572 w 6884782"/>
              <a:gd name="connsiteY19908" fmla="*/ 4367063 h 5973007"/>
              <a:gd name="connsiteX19909" fmla="*/ 1089037 w 6884782"/>
              <a:gd name="connsiteY19909" fmla="*/ 4366960 h 5973007"/>
              <a:gd name="connsiteX19910" fmla="*/ 1087488 w 6884782"/>
              <a:gd name="connsiteY19910" fmla="*/ 4365204 h 5973007"/>
              <a:gd name="connsiteX19911" fmla="*/ 1085010 w 6884782"/>
              <a:gd name="connsiteY19911" fmla="*/ 4357047 h 5973007"/>
              <a:gd name="connsiteX19912" fmla="*/ 1085939 w 6884782"/>
              <a:gd name="connsiteY19912" fmla="*/ 4354878 h 5973007"/>
              <a:gd name="connsiteX19913" fmla="*/ 1085165 w 6884782"/>
              <a:gd name="connsiteY19913" fmla="*/ 4353020 h 5973007"/>
              <a:gd name="connsiteX19914" fmla="*/ 1083926 w 6884782"/>
              <a:gd name="connsiteY19914" fmla="*/ 4340113 h 5973007"/>
              <a:gd name="connsiteX19915" fmla="*/ 1166640 w 6884782"/>
              <a:gd name="connsiteY19915" fmla="*/ 4339494 h 5973007"/>
              <a:gd name="connsiteX19916" fmla="*/ 1168344 w 6884782"/>
              <a:gd name="connsiteY19916" fmla="*/ 4341455 h 5973007"/>
              <a:gd name="connsiteX19917" fmla="*/ 1158275 w 6884782"/>
              <a:gd name="connsiteY19917" fmla="*/ 4354362 h 5973007"/>
              <a:gd name="connsiteX19918" fmla="*/ 1154248 w 6884782"/>
              <a:gd name="connsiteY19918" fmla="*/ 4353020 h 5973007"/>
              <a:gd name="connsiteX19919" fmla="*/ 1153319 w 6884782"/>
              <a:gd name="connsiteY19919" fmla="*/ 4349922 h 5973007"/>
              <a:gd name="connsiteX19920" fmla="*/ 1166640 w 6884782"/>
              <a:gd name="connsiteY19920" fmla="*/ 4339494 h 5973007"/>
              <a:gd name="connsiteX19921" fmla="*/ 5509148 w 6884782"/>
              <a:gd name="connsiteY19921" fmla="*/ 4339305 h 5973007"/>
              <a:gd name="connsiteX19922" fmla="*/ 5509922 w 6884782"/>
              <a:gd name="connsiteY19922" fmla="*/ 4341060 h 5973007"/>
              <a:gd name="connsiteX19923" fmla="*/ 5508683 w 6884782"/>
              <a:gd name="connsiteY19923" fmla="*/ 4343848 h 5973007"/>
              <a:gd name="connsiteX19924" fmla="*/ 5505121 w 6884782"/>
              <a:gd name="connsiteY19924" fmla="*/ 4344674 h 5973007"/>
              <a:gd name="connsiteX19925" fmla="*/ 5504501 w 6884782"/>
              <a:gd name="connsiteY19925" fmla="*/ 4342815 h 5973007"/>
              <a:gd name="connsiteX19926" fmla="*/ 5504811 w 6884782"/>
              <a:gd name="connsiteY19926" fmla="*/ 4340131 h 5973007"/>
              <a:gd name="connsiteX19927" fmla="*/ 5509148 w 6884782"/>
              <a:gd name="connsiteY19927" fmla="*/ 4339305 h 5973007"/>
              <a:gd name="connsiteX19928" fmla="*/ 5908006 w 6884782"/>
              <a:gd name="connsiteY19928" fmla="*/ 4339098 h 5973007"/>
              <a:gd name="connsiteX19929" fmla="*/ 5909090 w 6884782"/>
              <a:gd name="connsiteY19929" fmla="*/ 4342609 h 5973007"/>
              <a:gd name="connsiteX19930" fmla="*/ 5908316 w 6884782"/>
              <a:gd name="connsiteY19930" fmla="*/ 4344777 h 5973007"/>
              <a:gd name="connsiteX19931" fmla="*/ 5909555 w 6884782"/>
              <a:gd name="connsiteY19931" fmla="*/ 4344984 h 5973007"/>
              <a:gd name="connsiteX19932" fmla="*/ 5911878 w 6884782"/>
              <a:gd name="connsiteY19932" fmla="*/ 4355000 h 5973007"/>
              <a:gd name="connsiteX19933" fmla="*/ 5907231 w 6884782"/>
              <a:gd name="connsiteY19933" fmla="*/ 4355206 h 5973007"/>
              <a:gd name="connsiteX19934" fmla="*/ 5903979 w 6884782"/>
              <a:gd name="connsiteY19934" fmla="*/ 4354793 h 5973007"/>
              <a:gd name="connsiteX19935" fmla="*/ 5901500 w 6884782"/>
              <a:gd name="connsiteY19935" fmla="*/ 4348288 h 5973007"/>
              <a:gd name="connsiteX19936" fmla="*/ 5901655 w 6884782"/>
              <a:gd name="connsiteY19936" fmla="*/ 4347978 h 5973007"/>
              <a:gd name="connsiteX19937" fmla="*/ 5901500 w 6884782"/>
              <a:gd name="connsiteY19937" fmla="*/ 4347875 h 5973007"/>
              <a:gd name="connsiteX19938" fmla="*/ 5900106 w 6884782"/>
              <a:gd name="connsiteY19938" fmla="*/ 4344880 h 5973007"/>
              <a:gd name="connsiteX19939" fmla="*/ 5901965 w 6884782"/>
              <a:gd name="connsiteY19939" fmla="*/ 4341679 h 5973007"/>
              <a:gd name="connsiteX19940" fmla="*/ 5908006 w 6884782"/>
              <a:gd name="connsiteY19940" fmla="*/ 4339098 h 5973007"/>
              <a:gd name="connsiteX19941" fmla="*/ 4799878 w 6884782"/>
              <a:gd name="connsiteY19941" fmla="*/ 4338479 h 5973007"/>
              <a:gd name="connsiteX19942" fmla="*/ 4801582 w 6884782"/>
              <a:gd name="connsiteY19942" fmla="*/ 4345603 h 5973007"/>
              <a:gd name="connsiteX19943" fmla="*/ 4799878 w 6884782"/>
              <a:gd name="connsiteY19943" fmla="*/ 4346430 h 5973007"/>
              <a:gd name="connsiteX19944" fmla="*/ 4797709 w 6884782"/>
              <a:gd name="connsiteY19944" fmla="*/ 4346946 h 5973007"/>
              <a:gd name="connsiteX19945" fmla="*/ 4793372 w 6884782"/>
              <a:gd name="connsiteY19945" fmla="*/ 4345397 h 5973007"/>
              <a:gd name="connsiteX19946" fmla="*/ 4792133 w 6884782"/>
              <a:gd name="connsiteY19946" fmla="*/ 4343332 h 5973007"/>
              <a:gd name="connsiteX19947" fmla="*/ 4792133 w 6884782"/>
              <a:gd name="connsiteY19947" fmla="*/ 4341886 h 5973007"/>
              <a:gd name="connsiteX19948" fmla="*/ 4792133 w 6884782"/>
              <a:gd name="connsiteY19948" fmla="*/ 4340131 h 5973007"/>
              <a:gd name="connsiteX19949" fmla="*/ 4799878 w 6884782"/>
              <a:gd name="connsiteY19949" fmla="*/ 4338479 h 5973007"/>
              <a:gd name="connsiteX19950" fmla="*/ 5746335 w 6884782"/>
              <a:gd name="connsiteY19950" fmla="*/ 4338418 h 5973007"/>
              <a:gd name="connsiteX19951" fmla="*/ 5752955 w 6884782"/>
              <a:gd name="connsiteY19951" fmla="*/ 4339202 h 5973007"/>
              <a:gd name="connsiteX19952" fmla="*/ 5749857 w 6884782"/>
              <a:gd name="connsiteY19952" fmla="*/ 4342093 h 5973007"/>
              <a:gd name="connsiteX19953" fmla="*/ 5750322 w 6884782"/>
              <a:gd name="connsiteY19953" fmla="*/ 4341989 h 5973007"/>
              <a:gd name="connsiteX19954" fmla="*/ 5747998 w 6884782"/>
              <a:gd name="connsiteY19954" fmla="*/ 4351902 h 5973007"/>
              <a:gd name="connsiteX19955" fmla="*/ 5742422 w 6884782"/>
              <a:gd name="connsiteY19955" fmla="*/ 4348907 h 5973007"/>
              <a:gd name="connsiteX19956" fmla="*/ 5742732 w 6884782"/>
              <a:gd name="connsiteY19956" fmla="*/ 4348495 h 5973007"/>
              <a:gd name="connsiteX19957" fmla="*/ 5737620 w 6884782"/>
              <a:gd name="connsiteY19957" fmla="*/ 4353038 h 5973007"/>
              <a:gd name="connsiteX19958" fmla="*/ 5730804 w 6884782"/>
              <a:gd name="connsiteY19958" fmla="*/ 4356858 h 5973007"/>
              <a:gd name="connsiteX19959" fmla="*/ 5746335 w 6884782"/>
              <a:gd name="connsiteY19959" fmla="*/ 4338418 h 5973007"/>
              <a:gd name="connsiteX19960" fmla="*/ 5954475 w 6884782"/>
              <a:gd name="connsiteY19960" fmla="*/ 4338169 h 5973007"/>
              <a:gd name="connsiteX19961" fmla="*/ 5958038 w 6884782"/>
              <a:gd name="connsiteY19961" fmla="*/ 4345707 h 5973007"/>
              <a:gd name="connsiteX19962" fmla="*/ 5954010 w 6884782"/>
              <a:gd name="connsiteY19962" fmla="*/ 4339718 h 5973007"/>
              <a:gd name="connsiteX19963" fmla="*/ 5954475 w 6884782"/>
              <a:gd name="connsiteY19963" fmla="*/ 4338169 h 5973007"/>
              <a:gd name="connsiteX19964" fmla="*/ 1296405 w 6884782"/>
              <a:gd name="connsiteY19964" fmla="*/ 4337183 h 5973007"/>
              <a:gd name="connsiteX19965" fmla="*/ 1298612 w 6884782"/>
              <a:gd name="connsiteY19965" fmla="*/ 4341972 h 5973007"/>
              <a:gd name="connsiteX19966" fmla="*/ 1296133 w 6884782"/>
              <a:gd name="connsiteY19966" fmla="*/ 4343314 h 5973007"/>
              <a:gd name="connsiteX19967" fmla="*/ 1291642 w 6884782"/>
              <a:gd name="connsiteY19967" fmla="*/ 4337738 h 5973007"/>
              <a:gd name="connsiteX19968" fmla="*/ 1296405 w 6884782"/>
              <a:gd name="connsiteY19968" fmla="*/ 4337183 h 5973007"/>
              <a:gd name="connsiteX19969" fmla="*/ 1465745 w 6884782"/>
              <a:gd name="connsiteY19969" fmla="*/ 4337118 h 5973007"/>
              <a:gd name="connsiteX19970" fmla="*/ 1465280 w 6884782"/>
              <a:gd name="connsiteY19970" fmla="*/ 4338977 h 5973007"/>
              <a:gd name="connsiteX19971" fmla="*/ 1464816 w 6884782"/>
              <a:gd name="connsiteY19971" fmla="*/ 4338358 h 5973007"/>
              <a:gd name="connsiteX19972" fmla="*/ 1465745 w 6884782"/>
              <a:gd name="connsiteY19972" fmla="*/ 4337118 h 5973007"/>
              <a:gd name="connsiteX19973" fmla="*/ 5821574 w 6884782"/>
              <a:gd name="connsiteY19973" fmla="*/ 4336413 h 5973007"/>
              <a:gd name="connsiteX19974" fmla="*/ 5822503 w 6884782"/>
              <a:gd name="connsiteY19974" fmla="*/ 4337963 h 5973007"/>
              <a:gd name="connsiteX19975" fmla="*/ 5823278 w 6884782"/>
              <a:gd name="connsiteY19975" fmla="*/ 4336413 h 5973007"/>
              <a:gd name="connsiteX19976" fmla="*/ 5821109 w 6884782"/>
              <a:gd name="connsiteY19976" fmla="*/ 4379471 h 5973007"/>
              <a:gd name="connsiteX19977" fmla="*/ 5817547 w 6884782"/>
              <a:gd name="connsiteY19977" fmla="*/ 4347359 h 5973007"/>
              <a:gd name="connsiteX19978" fmla="*/ 5819560 w 6884782"/>
              <a:gd name="connsiteY19978" fmla="*/ 4343332 h 5973007"/>
              <a:gd name="connsiteX19979" fmla="*/ 5817392 w 6884782"/>
              <a:gd name="connsiteY19979" fmla="*/ 4341989 h 5973007"/>
              <a:gd name="connsiteX19980" fmla="*/ 5817392 w 6884782"/>
              <a:gd name="connsiteY19980" fmla="*/ 4341679 h 5973007"/>
              <a:gd name="connsiteX19981" fmla="*/ 5816927 w 6884782"/>
              <a:gd name="connsiteY19981" fmla="*/ 4341679 h 5973007"/>
              <a:gd name="connsiteX19982" fmla="*/ 5815998 w 6884782"/>
              <a:gd name="connsiteY19982" fmla="*/ 4341679 h 5973007"/>
              <a:gd name="connsiteX19983" fmla="*/ 5815688 w 6884782"/>
              <a:gd name="connsiteY19983" fmla="*/ 4340957 h 5973007"/>
              <a:gd name="connsiteX19984" fmla="*/ 5815533 w 6884782"/>
              <a:gd name="connsiteY19984" fmla="*/ 4340854 h 5973007"/>
              <a:gd name="connsiteX19985" fmla="*/ 5815843 w 6884782"/>
              <a:gd name="connsiteY19985" fmla="*/ 4338995 h 5973007"/>
              <a:gd name="connsiteX19986" fmla="*/ 5817082 w 6884782"/>
              <a:gd name="connsiteY19986" fmla="*/ 4337549 h 5973007"/>
              <a:gd name="connsiteX19987" fmla="*/ 5818011 w 6884782"/>
              <a:gd name="connsiteY19987" fmla="*/ 4338169 h 5973007"/>
              <a:gd name="connsiteX19988" fmla="*/ 5818321 w 6884782"/>
              <a:gd name="connsiteY19988" fmla="*/ 4338685 h 5973007"/>
              <a:gd name="connsiteX19989" fmla="*/ 664621 w 6884782"/>
              <a:gd name="connsiteY19989" fmla="*/ 4336396 h 5973007"/>
              <a:gd name="connsiteX19990" fmla="*/ 665396 w 6884782"/>
              <a:gd name="connsiteY19990" fmla="*/ 4337841 h 5973007"/>
              <a:gd name="connsiteX19991" fmla="*/ 674999 w 6884782"/>
              <a:gd name="connsiteY19991" fmla="*/ 4346721 h 5973007"/>
              <a:gd name="connsiteX19992" fmla="*/ 661523 w 6884782"/>
              <a:gd name="connsiteY19992" fmla="*/ 4338254 h 5973007"/>
              <a:gd name="connsiteX19993" fmla="*/ 664621 w 6884782"/>
              <a:gd name="connsiteY19993" fmla="*/ 4336396 h 5973007"/>
              <a:gd name="connsiteX19994" fmla="*/ 4926583 w 6884782"/>
              <a:gd name="connsiteY19994" fmla="*/ 4336310 h 5973007"/>
              <a:gd name="connsiteX19995" fmla="*/ 4936187 w 6884782"/>
              <a:gd name="connsiteY19995" fmla="*/ 4340854 h 5973007"/>
              <a:gd name="connsiteX19996" fmla="*/ 4937271 w 6884782"/>
              <a:gd name="connsiteY19996" fmla="*/ 4355619 h 5973007"/>
              <a:gd name="connsiteX19997" fmla="*/ 4927822 w 6884782"/>
              <a:gd name="connsiteY19997" fmla="*/ 4359336 h 5973007"/>
              <a:gd name="connsiteX19998" fmla="*/ 4922865 w 6884782"/>
              <a:gd name="connsiteY19998" fmla="*/ 4357065 h 5973007"/>
              <a:gd name="connsiteX19999" fmla="*/ 4920232 w 6884782"/>
              <a:gd name="connsiteY19999" fmla="*/ 4354174 h 5973007"/>
              <a:gd name="connsiteX20000" fmla="*/ 4922711 w 6884782"/>
              <a:gd name="connsiteY20000" fmla="*/ 4341473 h 5973007"/>
              <a:gd name="connsiteX20001" fmla="*/ 4924569 w 6884782"/>
              <a:gd name="connsiteY20001" fmla="*/ 4339718 h 5973007"/>
              <a:gd name="connsiteX20002" fmla="*/ 4926583 w 6884782"/>
              <a:gd name="connsiteY20002" fmla="*/ 4336310 h 5973007"/>
              <a:gd name="connsiteX20003" fmla="*/ 5421631 w 6884782"/>
              <a:gd name="connsiteY20003" fmla="*/ 4334762 h 5973007"/>
              <a:gd name="connsiteX20004" fmla="*/ 5421787 w 6884782"/>
              <a:gd name="connsiteY20004" fmla="*/ 4348185 h 5973007"/>
              <a:gd name="connsiteX20005" fmla="*/ 5414661 w 6884782"/>
              <a:gd name="connsiteY20005" fmla="*/ 4335174 h 5973007"/>
              <a:gd name="connsiteX20006" fmla="*/ 5421631 w 6884782"/>
              <a:gd name="connsiteY20006" fmla="*/ 4334762 h 5973007"/>
              <a:gd name="connsiteX20007" fmla="*/ 1354219 w 6884782"/>
              <a:gd name="connsiteY20007" fmla="*/ 4333711 h 5973007"/>
              <a:gd name="connsiteX20008" fmla="*/ 1372033 w 6884782"/>
              <a:gd name="connsiteY20008" fmla="*/ 4348580 h 5973007"/>
              <a:gd name="connsiteX20009" fmla="*/ 1374201 w 6884782"/>
              <a:gd name="connsiteY20009" fmla="*/ 4354259 h 5973007"/>
              <a:gd name="connsiteX20010" fmla="*/ 1375440 w 6884782"/>
              <a:gd name="connsiteY20010" fmla="*/ 4346825 h 5973007"/>
              <a:gd name="connsiteX20011" fmla="*/ 1384424 w 6884782"/>
              <a:gd name="connsiteY20011" fmla="*/ 4362003 h 5973007"/>
              <a:gd name="connsiteX20012" fmla="*/ 1392014 w 6884782"/>
              <a:gd name="connsiteY20012" fmla="*/ 4356531 h 5973007"/>
              <a:gd name="connsiteX20013" fmla="*/ 1395732 w 6884782"/>
              <a:gd name="connsiteY20013" fmla="*/ 4355601 h 5973007"/>
              <a:gd name="connsiteX20014" fmla="*/ 1395732 w 6884782"/>
              <a:gd name="connsiteY20014" fmla="*/ 4355085 h 5973007"/>
              <a:gd name="connsiteX20015" fmla="*/ 1395732 w 6884782"/>
              <a:gd name="connsiteY20015" fmla="*/ 4353123 h 5973007"/>
              <a:gd name="connsiteX20016" fmla="*/ 1398365 w 6884782"/>
              <a:gd name="connsiteY20016" fmla="*/ 4350439 h 5973007"/>
              <a:gd name="connsiteX20017" fmla="*/ 1400688 w 6884782"/>
              <a:gd name="connsiteY20017" fmla="*/ 4366753 h 5973007"/>
              <a:gd name="connsiteX20018" fmla="*/ 1398829 w 6884782"/>
              <a:gd name="connsiteY20018" fmla="*/ 4366960 h 5973007"/>
              <a:gd name="connsiteX20019" fmla="*/ 1397281 w 6884782"/>
              <a:gd name="connsiteY20019" fmla="*/ 4365204 h 5973007"/>
              <a:gd name="connsiteX20020" fmla="*/ 1396661 w 6884782"/>
              <a:gd name="connsiteY20020" fmla="*/ 4362933 h 5973007"/>
              <a:gd name="connsiteX20021" fmla="*/ 1394492 w 6884782"/>
              <a:gd name="connsiteY20021" fmla="*/ 4364688 h 5973007"/>
              <a:gd name="connsiteX20022" fmla="*/ 1385973 w 6884782"/>
              <a:gd name="connsiteY20022" fmla="*/ 4370161 h 5973007"/>
              <a:gd name="connsiteX20023" fmla="*/ 1382101 w 6884782"/>
              <a:gd name="connsiteY20023" fmla="*/ 4379764 h 5973007"/>
              <a:gd name="connsiteX20024" fmla="*/ 1375905 w 6884782"/>
              <a:gd name="connsiteY20024" fmla="*/ 4366546 h 5973007"/>
              <a:gd name="connsiteX20025" fmla="*/ 1374356 w 6884782"/>
              <a:gd name="connsiteY20025" fmla="*/ 4355395 h 5973007"/>
              <a:gd name="connsiteX20026" fmla="*/ 1374511 w 6884782"/>
              <a:gd name="connsiteY20026" fmla="*/ 4359422 h 5973007"/>
              <a:gd name="connsiteX20027" fmla="*/ 1372652 w 6884782"/>
              <a:gd name="connsiteY20027" fmla="*/ 4361384 h 5973007"/>
              <a:gd name="connsiteX20028" fmla="*/ 1356853 w 6884782"/>
              <a:gd name="connsiteY20028" fmla="*/ 4352504 h 5973007"/>
              <a:gd name="connsiteX20029" fmla="*/ 1354219 w 6884782"/>
              <a:gd name="connsiteY20029" fmla="*/ 4333711 h 5973007"/>
              <a:gd name="connsiteX20030" fmla="*/ 1520578 w 6884782"/>
              <a:gd name="connsiteY20030" fmla="*/ 4333401 h 5973007"/>
              <a:gd name="connsiteX20031" fmla="*/ 1521043 w 6884782"/>
              <a:gd name="connsiteY20031" fmla="*/ 4338667 h 5973007"/>
              <a:gd name="connsiteX20032" fmla="*/ 1520733 w 6884782"/>
              <a:gd name="connsiteY20032" fmla="*/ 4343004 h 5973007"/>
              <a:gd name="connsiteX20033" fmla="*/ 1516550 w 6884782"/>
              <a:gd name="connsiteY20033" fmla="*/ 4356117 h 5973007"/>
              <a:gd name="connsiteX20034" fmla="*/ 1515931 w 6884782"/>
              <a:gd name="connsiteY20034" fmla="*/ 4349922 h 5973007"/>
              <a:gd name="connsiteX20035" fmla="*/ 1517016 w 6884782"/>
              <a:gd name="connsiteY20035" fmla="*/ 4336293 h 5973007"/>
              <a:gd name="connsiteX20036" fmla="*/ 1518720 w 6884782"/>
              <a:gd name="connsiteY20036" fmla="*/ 4334847 h 5973007"/>
              <a:gd name="connsiteX20037" fmla="*/ 1518874 w 6884782"/>
              <a:gd name="connsiteY20037" fmla="*/ 4334021 h 5973007"/>
              <a:gd name="connsiteX20038" fmla="*/ 1520578 w 6884782"/>
              <a:gd name="connsiteY20038" fmla="*/ 4333401 h 5973007"/>
              <a:gd name="connsiteX20039" fmla="*/ 670817 w 6884782"/>
              <a:gd name="connsiteY20039" fmla="*/ 4333298 h 5973007"/>
              <a:gd name="connsiteX20040" fmla="*/ 677632 w 6884782"/>
              <a:gd name="connsiteY20040" fmla="*/ 4342798 h 5973007"/>
              <a:gd name="connsiteX20041" fmla="*/ 677013 w 6884782"/>
              <a:gd name="connsiteY20041" fmla="*/ 4343314 h 5973007"/>
              <a:gd name="connsiteX20042" fmla="*/ 671282 w 6884782"/>
              <a:gd name="connsiteY20042" fmla="*/ 4336706 h 5973007"/>
              <a:gd name="connsiteX20043" fmla="*/ 670043 w 6884782"/>
              <a:gd name="connsiteY20043" fmla="*/ 4333711 h 5973007"/>
              <a:gd name="connsiteX20044" fmla="*/ 670508 w 6884782"/>
              <a:gd name="connsiteY20044" fmla="*/ 4334537 h 5973007"/>
              <a:gd name="connsiteX20045" fmla="*/ 670817 w 6884782"/>
              <a:gd name="connsiteY20045" fmla="*/ 4333298 h 5973007"/>
              <a:gd name="connsiteX20046" fmla="*/ 5888334 w 6884782"/>
              <a:gd name="connsiteY20046" fmla="*/ 4333006 h 5973007"/>
              <a:gd name="connsiteX20047" fmla="*/ 5887405 w 6884782"/>
              <a:gd name="connsiteY20047" fmla="*/ 4339821 h 5973007"/>
              <a:gd name="connsiteX20048" fmla="*/ 5882913 w 6884782"/>
              <a:gd name="connsiteY20048" fmla="*/ 4336104 h 5973007"/>
              <a:gd name="connsiteX20049" fmla="*/ 5888334 w 6884782"/>
              <a:gd name="connsiteY20049" fmla="*/ 4333006 h 5973007"/>
              <a:gd name="connsiteX20050" fmla="*/ 1471786 w 6884782"/>
              <a:gd name="connsiteY20050" fmla="*/ 4331852 h 5973007"/>
              <a:gd name="connsiteX20051" fmla="*/ 1473645 w 6884782"/>
              <a:gd name="connsiteY20051" fmla="*/ 4351987 h 5973007"/>
              <a:gd name="connsiteX20052" fmla="*/ 1469772 w 6884782"/>
              <a:gd name="connsiteY20052" fmla="*/ 4341972 h 5973007"/>
              <a:gd name="connsiteX20053" fmla="*/ 1471786 w 6884782"/>
              <a:gd name="connsiteY20053" fmla="*/ 4331852 h 5973007"/>
              <a:gd name="connsiteX20054" fmla="*/ 1420980 w 6884782"/>
              <a:gd name="connsiteY20054" fmla="*/ 4328548 h 5973007"/>
              <a:gd name="connsiteX20055" fmla="*/ 1423458 w 6884782"/>
              <a:gd name="connsiteY20055" fmla="*/ 4329684 h 5973007"/>
              <a:gd name="connsiteX20056" fmla="*/ 1424388 w 6884782"/>
              <a:gd name="connsiteY20056" fmla="*/ 4330613 h 5973007"/>
              <a:gd name="connsiteX20057" fmla="*/ 1425162 w 6884782"/>
              <a:gd name="connsiteY20057" fmla="*/ 4330716 h 5973007"/>
              <a:gd name="connsiteX20058" fmla="*/ 1425162 w 6884782"/>
              <a:gd name="connsiteY20058" fmla="*/ 4331130 h 5973007"/>
              <a:gd name="connsiteX20059" fmla="*/ 1426401 w 6884782"/>
              <a:gd name="connsiteY20059" fmla="*/ 4331027 h 5973007"/>
              <a:gd name="connsiteX20060" fmla="*/ 1427950 w 6884782"/>
              <a:gd name="connsiteY20060" fmla="*/ 4333092 h 5973007"/>
              <a:gd name="connsiteX20061" fmla="*/ 1427640 w 6884782"/>
              <a:gd name="connsiteY20061" fmla="*/ 4334124 h 5973007"/>
              <a:gd name="connsiteX20062" fmla="*/ 1429654 w 6884782"/>
              <a:gd name="connsiteY20062" fmla="*/ 4335467 h 5973007"/>
              <a:gd name="connsiteX20063" fmla="*/ 1431822 w 6884782"/>
              <a:gd name="connsiteY20063" fmla="*/ 4336706 h 5973007"/>
              <a:gd name="connsiteX20064" fmla="*/ 1435075 w 6884782"/>
              <a:gd name="connsiteY20064" fmla="*/ 4342281 h 5973007"/>
              <a:gd name="connsiteX20065" fmla="*/ 1433371 w 6884782"/>
              <a:gd name="connsiteY20065" fmla="*/ 4343727 h 5973007"/>
              <a:gd name="connsiteX20066" fmla="*/ 1435075 w 6884782"/>
              <a:gd name="connsiteY20066" fmla="*/ 4345689 h 5973007"/>
              <a:gd name="connsiteX20067" fmla="*/ 1433837 w 6884782"/>
              <a:gd name="connsiteY20067" fmla="*/ 4356737 h 5973007"/>
              <a:gd name="connsiteX20068" fmla="*/ 1429499 w 6884782"/>
              <a:gd name="connsiteY20068" fmla="*/ 4358802 h 5973007"/>
              <a:gd name="connsiteX20069" fmla="*/ 1423613 w 6884782"/>
              <a:gd name="connsiteY20069" fmla="*/ 4356428 h 5973007"/>
              <a:gd name="connsiteX20070" fmla="*/ 1422219 w 6884782"/>
              <a:gd name="connsiteY20070" fmla="*/ 4345069 h 5973007"/>
              <a:gd name="connsiteX20071" fmla="*/ 1429964 w 6884782"/>
              <a:gd name="connsiteY20071" fmla="*/ 4341662 h 5973007"/>
              <a:gd name="connsiteX20072" fmla="*/ 1429189 w 6884782"/>
              <a:gd name="connsiteY20072" fmla="*/ 4341559 h 5973007"/>
              <a:gd name="connsiteX20073" fmla="*/ 1426556 w 6884782"/>
              <a:gd name="connsiteY20073" fmla="*/ 4338151 h 5973007"/>
              <a:gd name="connsiteX20074" fmla="*/ 1420980 w 6884782"/>
              <a:gd name="connsiteY20074" fmla="*/ 4335776 h 5973007"/>
              <a:gd name="connsiteX20075" fmla="*/ 1420980 w 6884782"/>
              <a:gd name="connsiteY20075" fmla="*/ 4332988 h 5973007"/>
              <a:gd name="connsiteX20076" fmla="*/ 1422064 w 6884782"/>
              <a:gd name="connsiteY20076" fmla="*/ 4332162 h 5973007"/>
              <a:gd name="connsiteX20077" fmla="*/ 1421444 w 6884782"/>
              <a:gd name="connsiteY20077" fmla="*/ 4331027 h 5973007"/>
              <a:gd name="connsiteX20078" fmla="*/ 1420980 w 6884782"/>
              <a:gd name="connsiteY20078" fmla="*/ 4328548 h 5973007"/>
              <a:gd name="connsiteX20079" fmla="*/ 598790 w 6884782"/>
              <a:gd name="connsiteY20079" fmla="*/ 4327309 h 5973007"/>
              <a:gd name="connsiteX20080" fmla="*/ 607464 w 6884782"/>
              <a:gd name="connsiteY20080" fmla="*/ 4334124 h 5973007"/>
              <a:gd name="connsiteX20081" fmla="*/ 592439 w 6884782"/>
              <a:gd name="connsiteY20081" fmla="*/ 4347650 h 5973007"/>
              <a:gd name="connsiteX20082" fmla="*/ 598790 w 6884782"/>
              <a:gd name="connsiteY20082" fmla="*/ 4327309 h 5973007"/>
              <a:gd name="connsiteX20083" fmla="*/ 5550350 w 6884782"/>
              <a:gd name="connsiteY20083" fmla="*/ 4326295 h 5973007"/>
              <a:gd name="connsiteX20084" fmla="*/ 5542451 w 6884782"/>
              <a:gd name="connsiteY20084" fmla="*/ 4348804 h 5973007"/>
              <a:gd name="connsiteX20085" fmla="*/ 5550350 w 6884782"/>
              <a:gd name="connsiteY20085" fmla="*/ 4326295 h 5973007"/>
              <a:gd name="connsiteX20086" fmla="*/ 5483590 w 6884782"/>
              <a:gd name="connsiteY20086" fmla="*/ 4325881 h 5973007"/>
              <a:gd name="connsiteX20087" fmla="*/ 5484365 w 6884782"/>
              <a:gd name="connsiteY20087" fmla="*/ 4325881 h 5973007"/>
              <a:gd name="connsiteX20088" fmla="*/ 5481731 w 6884782"/>
              <a:gd name="connsiteY20088" fmla="*/ 4336413 h 5973007"/>
              <a:gd name="connsiteX20089" fmla="*/ 5480182 w 6884782"/>
              <a:gd name="connsiteY20089" fmla="*/ 4337446 h 5973007"/>
              <a:gd name="connsiteX20090" fmla="*/ 5478324 w 6884782"/>
              <a:gd name="connsiteY20090" fmla="*/ 4336413 h 5973007"/>
              <a:gd name="connsiteX20091" fmla="*/ 5477239 w 6884782"/>
              <a:gd name="connsiteY20091" fmla="*/ 4334865 h 5973007"/>
              <a:gd name="connsiteX20092" fmla="*/ 5478788 w 6884782"/>
              <a:gd name="connsiteY20092" fmla="*/ 4331973 h 5973007"/>
              <a:gd name="connsiteX20093" fmla="*/ 5482506 w 6884782"/>
              <a:gd name="connsiteY20093" fmla="*/ 4328566 h 5973007"/>
              <a:gd name="connsiteX20094" fmla="*/ 5483590 w 6884782"/>
              <a:gd name="connsiteY20094" fmla="*/ 4325881 h 5973007"/>
              <a:gd name="connsiteX20095" fmla="*/ 5715470 w 6884782"/>
              <a:gd name="connsiteY20095" fmla="*/ 4325572 h 5973007"/>
              <a:gd name="connsiteX20096" fmla="*/ 5706021 w 6884782"/>
              <a:gd name="connsiteY20096" fmla="*/ 4343848 h 5973007"/>
              <a:gd name="connsiteX20097" fmla="*/ 5704162 w 6884782"/>
              <a:gd name="connsiteY20097" fmla="*/ 4344777 h 5973007"/>
              <a:gd name="connsiteX20098" fmla="*/ 5704317 w 6884782"/>
              <a:gd name="connsiteY20098" fmla="*/ 4345191 h 5973007"/>
              <a:gd name="connsiteX20099" fmla="*/ 5699515 w 6884782"/>
              <a:gd name="connsiteY20099" fmla="*/ 4347256 h 5973007"/>
              <a:gd name="connsiteX20100" fmla="*/ 5697037 w 6884782"/>
              <a:gd name="connsiteY20100" fmla="*/ 4345810 h 5973007"/>
              <a:gd name="connsiteX20101" fmla="*/ 5697192 w 6884782"/>
              <a:gd name="connsiteY20101" fmla="*/ 4342712 h 5973007"/>
              <a:gd name="connsiteX20102" fmla="*/ 5699825 w 6884782"/>
              <a:gd name="connsiteY20102" fmla="*/ 4340131 h 5973007"/>
              <a:gd name="connsiteX20103" fmla="*/ 5703078 w 6884782"/>
              <a:gd name="connsiteY20103" fmla="*/ 4341473 h 5973007"/>
              <a:gd name="connsiteX20104" fmla="*/ 5706641 w 6884782"/>
              <a:gd name="connsiteY20104" fmla="*/ 4334762 h 5973007"/>
              <a:gd name="connsiteX20105" fmla="*/ 5715470 w 6884782"/>
              <a:gd name="connsiteY20105" fmla="*/ 4325572 h 5973007"/>
              <a:gd name="connsiteX20106" fmla="*/ 5082873 w 6884782"/>
              <a:gd name="connsiteY20106" fmla="*/ 4324023 h 5973007"/>
              <a:gd name="connsiteX20107" fmla="*/ 5083338 w 6884782"/>
              <a:gd name="connsiteY20107" fmla="*/ 4326604 h 5973007"/>
              <a:gd name="connsiteX20108" fmla="*/ 5082254 w 6884782"/>
              <a:gd name="connsiteY20108" fmla="*/ 4329186 h 5973007"/>
              <a:gd name="connsiteX20109" fmla="*/ 5080860 w 6884782"/>
              <a:gd name="connsiteY20109" fmla="*/ 4329496 h 5973007"/>
              <a:gd name="connsiteX20110" fmla="*/ 5079001 w 6884782"/>
              <a:gd name="connsiteY20110" fmla="*/ 4329186 h 5973007"/>
              <a:gd name="connsiteX20111" fmla="*/ 5078381 w 6884782"/>
              <a:gd name="connsiteY20111" fmla="*/ 4328153 h 5973007"/>
              <a:gd name="connsiteX20112" fmla="*/ 5080240 w 6884782"/>
              <a:gd name="connsiteY20112" fmla="*/ 4324745 h 5973007"/>
              <a:gd name="connsiteX20113" fmla="*/ 5082873 w 6884782"/>
              <a:gd name="connsiteY20113" fmla="*/ 4324023 h 5973007"/>
              <a:gd name="connsiteX20114" fmla="*/ 1435695 w 6884782"/>
              <a:gd name="connsiteY20114" fmla="*/ 4323902 h 5973007"/>
              <a:gd name="connsiteX20115" fmla="*/ 1435385 w 6884782"/>
              <a:gd name="connsiteY20115" fmla="*/ 4335363 h 5973007"/>
              <a:gd name="connsiteX20116" fmla="*/ 1428414 w 6884782"/>
              <a:gd name="connsiteY20116" fmla="*/ 4329787 h 5973007"/>
              <a:gd name="connsiteX20117" fmla="*/ 1435695 w 6884782"/>
              <a:gd name="connsiteY20117" fmla="*/ 4323902 h 5973007"/>
              <a:gd name="connsiteX20118" fmla="*/ 1395267 w 6884782"/>
              <a:gd name="connsiteY20118" fmla="*/ 4323282 h 5973007"/>
              <a:gd name="connsiteX20119" fmla="*/ 1400379 w 6884782"/>
              <a:gd name="connsiteY20119" fmla="*/ 4324315 h 5973007"/>
              <a:gd name="connsiteX20120" fmla="*/ 1400533 w 6884782"/>
              <a:gd name="connsiteY20120" fmla="*/ 4329065 h 5973007"/>
              <a:gd name="connsiteX20121" fmla="*/ 1398675 w 6884782"/>
              <a:gd name="connsiteY20121" fmla="*/ 4330097 h 5973007"/>
              <a:gd name="connsiteX20122" fmla="*/ 1397900 w 6884782"/>
              <a:gd name="connsiteY20122" fmla="*/ 4329581 h 5973007"/>
              <a:gd name="connsiteX20123" fmla="*/ 1394957 w 6884782"/>
              <a:gd name="connsiteY20123" fmla="*/ 4327826 h 5973007"/>
              <a:gd name="connsiteX20124" fmla="*/ 1395267 w 6884782"/>
              <a:gd name="connsiteY20124" fmla="*/ 4323282 h 5973007"/>
              <a:gd name="connsiteX20125" fmla="*/ 1366611 w 6884782"/>
              <a:gd name="connsiteY20125" fmla="*/ 4322869 h 5973007"/>
              <a:gd name="connsiteX20126" fmla="*/ 1370483 w 6884782"/>
              <a:gd name="connsiteY20126" fmla="*/ 4332885 h 5973007"/>
              <a:gd name="connsiteX20127" fmla="*/ 1367076 w 6884782"/>
              <a:gd name="connsiteY20127" fmla="*/ 4333917 h 5973007"/>
              <a:gd name="connsiteX20128" fmla="*/ 1364753 w 6884782"/>
              <a:gd name="connsiteY20128" fmla="*/ 4333195 h 5973007"/>
              <a:gd name="connsiteX20129" fmla="*/ 1362119 w 6884782"/>
              <a:gd name="connsiteY20129" fmla="*/ 4327722 h 5973007"/>
              <a:gd name="connsiteX20130" fmla="*/ 1366611 w 6884782"/>
              <a:gd name="connsiteY20130" fmla="*/ 4322869 h 5973007"/>
              <a:gd name="connsiteX20131" fmla="*/ 1192508 w 6884782"/>
              <a:gd name="connsiteY20131" fmla="*/ 4322559 h 5973007"/>
              <a:gd name="connsiteX20132" fmla="*/ 1184918 w 6884782"/>
              <a:gd name="connsiteY20132" fmla="*/ 4331543 h 5973007"/>
              <a:gd name="connsiteX20133" fmla="*/ 1184763 w 6884782"/>
              <a:gd name="connsiteY20133" fmla="*/ 4324315 h 5973007"/>
              <a:gd name="connsiteX20134" fmla="*/ 1192508 w 6884782"/>
              <a:gd name="connsiteY20134" fmla="*/ 4322559 h 5973007"/>
              <a:gd name="connsiteX20135" fmla="*/ 5774950 w 6884782"/>
              <a:gd name="connsiteY20135" fmla="*/ 4321545 h 5973007"/>
              <a:gd name="connsiteX20136" fmla="*/ 5783470 w 6884782"/>
              <a:gd name="connsiteY20136" fmla="*/ 4326501 h 5973007"/>
              <a:gd name="connsiteX20137" fmla="*/ 5782075 w 6884782"/>
              <a:gd name="connsiteY20137" fmla="*/ 4330115 h 5973007"/>
              <a:gd name="connsiteX20138" fmla="*/ 5779287 w 6884782"/>
              <a:gd name="connsiteY20138" fmla="*/ 4331354 h 5973007"/>
              <a:gd name="connsiteX20139" fmla="*/ 5772472 w 6884782"/>
              <a:gd name="connsiteY20139" fmla="*/ 4326604 h 5973007"/>
              <a:gd name="connsiteX20140" fmla="*/ 5774950 w 6884782"/>
              <a:gd name="connsiteY20140" fmla="*/ 4321545 h 5973007"/>
              <a:gd name="connsiteX20141" fmla="*/ 5726158 w 6884782"/>
              <a:gd name="connsiteY20141" fmla="*/ 4320512 h 5973007"/>
              <a:gd name="connsiteX20142" fmla="*/ 5733903 w 6884782"/>
              <a:gd name="connsiteY20142" fmla="*/ 4320615 h 5973007"/>
              <a:gd name="connsiteX20143" fmla="*/ 5734522 w 6884782"/>
              <a:gd name="connsiteY20143" fmla="*/ 4322474 h 5973007"/>
              <a:gd name="connsiteX20144" fmla="*/ 5734987 w 6884782"/>
              <a:gd name="connsiteY20144" fmla="*/ 4326811 h 5973007"/>
              <a:gd name="connsiteX20145" fmla="*/ 5732199 w 6884782"/>
              <a:gd name="connsiteY20145" fmla="*/ 4328463 h 5973007"/>
              <a:gd name="connsiteX20146" fmla="*/ 5728946 w 6884782"/>
              <a:gd name="connsiteY20146" fmla="*/ 4326707 h 5973007"/>
              <a:gd name="connsiteX20147" fmla="*/ 5727242 w 6884782"/>
              <a:gd name="connsiteY20147" fmla="*/ 4323610 h 5973007"/>
              <a:gd name="connsiteX20148" fmla="*/ 5726158 w 6884782"/>
              <a:gd name="connsiteY20148" fmla="*/ 4320512 h 5973007"/>
              <a:gd name="connsiteX20149" fmla="*/ 5507599 w 6884782"/>
              <a:gd name="connsiteY20149" fmla="*/ 4319273 h 5973007"/>
              <a:gd name="connsiteX20150" fmla="*/ 5508529 w 6884782"/>
              <a:gd name="connsiteY20150" fmla="*/ 4320925 h 5973007"/>
              <a:gd name="connsiteX20151" fmla="*/ 5508838 w 6884782"/>
              <a:gd name="connsiteY20151" fmla="*/ 4323197 h 5973007"/>
              <a:gd name="connsiteX20152" fmla="*/ 5510233 w 6884782"/>
              <a:gd name="connsiteY20152" fmla="*/ 4324023 h 5973007"/>
              <a:gd name="connsiteX20153" fmla="*/ 5509613 w 6884782"/>
              <a:gd name="connsiteY20153" fmla="*/ 4330941 h 5973007"/>
              <a:gd name="connsiteX20154" fmla="*/ 5508838 w 6884782"/>
              <a:gd name="connsiteY20154" fmla="*/ 4329289 h 5973007"/>
              <a:gd name="connsiteX20155" fmla="*/ 5508374 w 6884782"/>
              <a:gd name="connsiteY20155" fmla="*/ 4327017 h 5973007"/>
              <a:gd name="connsiteX20156" fmla="*/ 5507909 w 6884782"/>
              <a:gd name="connsiteY20156" fmla="*/ 4324745 h 5973007"/>
              <a:gd name="connsiteX20157" fmla="*/ 5507134 w 6884782"/>
              <a:gd name="connsiteY20157" fmla="*/ 4323094 h 5973007"/>
              <a:gd name="connsiteX20158" fmla="*/ 5507599 w 6884782"/>
              <a:gd name="connsiteY20158" fmla="*/ 4319273 h 5973007"/>
              <a:gd name="connsiteX20159" fmla="*/ 5792763 w 6884782"/>
              <a:gd name="connsiteY20159" fmla="*/ 4315659 h 5973007"/>
              <a:gd name="connsiteX20160" fmla="*/ 5799424 w 6884782"/>
              <a:gd name="connsiteY20160" fmla="*/ 4328669 h 5973007"/>
              <a:gd name="connsiteX20161" fmla="*/ 5795241 w 6884782"/>
              <a:gd name="connsiteY20161" fmla="*/ 4332077 h 5973007"/>
              <a:gd name="connsiteX20162" fmla="*/ 5786258 w 6884782"/>
              <a:gd name="connsiteY20162" fmla="*/ 4320306 h 5973007"/>
              <a:gd name="connsiteX20163" fmla="*/ 5792763 w 6884782"/>
              <a:gd name="connsiteY20163" fmla="*/ 4315659 h 5973007"/>
              <a:gd name="connsiteX20164" fmla="*/ 636585 w 6884782"/>
              <a:gd name="connsiteY20164" fmla="*/ 4314609 h 5973007"/>
              <a:gd name="connsiteX20165" fmla="*/ 643091 w 6884782"/>
              <a:gd name="connsiteY20165" fmla="*/ 4321424 h 5973007"/>
              <a:gd name="connsiteX20166" fmla="*/ 642781 w 6884782"/>
              <a:gd name="connsiteY20166" fmla="*/ 4326586 h 5973007"/>
              <a:gd name="connsiteX20167" fmla="*/ 633487 w 6884782"/>
              <a:gd name="connsiteY20167" fmla="*/ 4331336 h 5973007"/>
              <a:gd name="connsiteX20168" fmla="*/ 627756 w 6884782"/>
              <a:gd name="connsiteY20168" fmla="*/ 4324108 h 5973007"/>
              <a:gd name="connsiteX20169" fmla="*/ 625897 w 6884782"/>
              <a:gd name="connsiteY20169" fmla="*/ 4324315 h 5973007"/>
              <a:gd name="connsiteX20170" fmla="*/ 622954 w 6884782"/>
              <a:gd name="connsiteY20170" fmla="*/ 4322249 h 5973007"/>
              <a:gd name="connsiteX20171" fmla="*/ 624038 w 6884782"/>
              <a:gd name="connsiteY20171" fmla="*/ 4320494 h 5973007"/>
              <a:gd name="connsiteX20172" fmla="*/ 627756 w 6884782"/>
              <a:gd name="connsiteY20172" fmla="*/ 4322146 h 5973007"/>
              <a:gd name="connsiteX20173" fmla="*/ 628530 w 6884782"/>
              <a:gd name="connsiteY20173" fmla="*/ 4321630 h 5973007"/>
              <a:gd name="connsiteX20174" fmla="*/ 629305 w 6884782"/>
              <a:gd name="connsiteY20174" fmla="*/ 4319255 h 5973007"/>
              <a:gd name="connsiteX20175" fmla="*/ 636585 w 6884782"/>
              <a:gd name="connsiteY20175" fmla="*/ 4314609 h 5973007"/>
              <a:gd name="connsiteX20176" fmla="*/ 1225965 w 6884782"/>
              <a:gd name="connsiteY20176" fmla="*/ 4314505 h 5973007"/>
              <a:gd name="connsiteX20177" fmla="*/ 1227359 w 6884782"/>
              <a:gd name="connsiteY20177" fmla="*/ 4315125 h 5973007"/>
              <a:gd name="connsiteX20178" fmla="*/ 1230612 w 6884782"/>
              <a:gd name="connsiteY20178" fmla="*/ 4316674 h 5973007"/>
              <a:gd name="connsiteX20179" fmla="*/ 1224726 w 6884782"/>
              <a:gd name="connsiteY20179" fmla="*/ 4315228 h 5973007"/>
              <a:gd name="connsiteX20180" fmla="*/ 1225965 w 6884782"/>
              <a:gd name="connsiteY20180" fmla="*/ 4314505 h 5973007"/>
              <a:gd name="connsiteX20181" fmla="*/ 5470579 w 6884782"/>
              <a:gd name="connsiteY20181" fmla="*/ 4314420 h 5973007"/>
              <a:gd name="connsiteX20182" fmla="*/ 5471354 w 6884782"/>
              <a:gd name="connsiteY20182" fmla="*/ 4315762 h 5973007"/>
              <a:gd name="connsiteX20183" fmla="*/ 5474451 w 6884782"/>
              <a:gd name="connsiteY20183" fmla="*/ 4316278 h 5973007"/>
              <a:gd name="connsiteX20184" fmla="*/ 5478943 w 6884782"/>
              <a:gd name="connsiteY20184" fmla="*/ 4314627 h 5973007"/>
              <a:gd name="connsiteX20185" fmla="*/ 5473522 w 6884782"/>
              <a:gd name="connsiteY20185" fmla="*/ 4317931 h 5973007"/>
              <a:gd name="connsiteX20186" fmla="*/ 5473057 w 6884782"/>
              <a:gd name="connsiteY20186" fmla="*/ 4319067 h 5973007"/>
              <a:gd name="connsiteX20187" fmla="*/ 5473057 w 6884782"/>
              <a:gd name="connsiteY20187" fmla="*/ 4319273 h 5973007"/>
              <a:gd name="connsiteX20188" fmla="*/ 5472747 w 6884782"/>
              <a:gd name="connsiteY20188" fmla="*/ 4319583 h 5973007"/>
              <a:gd name="connsiteX20189" fmla="*/ 5472438 w 6884782"/>
              <a:gd name="connsiteY20189" fmla="*/ 4320512 h 5973007"/>
              <a:gd name="connsiteX20190" fmla="*/ 5471973 w 6884782"/>
              <a:gd name="connsiteY20190" fmla="*/ 4320615 h 5973007"/>
              <a:gd name="connsiteX20191" fmla="*/ 5470889 w 6884782"/>
              <a:gd name="connsiteY20191" fmla="*/ 4322784 h 5973007"/>
              <a:gd name="connsiteX20192" fmla="*/ 5469340 w 6884782"/>
              <a:gd name="connsiteY20192" fmla="*/ 4326501 h 5973007"/>
              <a:gd name="connsiteX20193" fmla="*/ 5467171 w 6884782"/>
              <a:gd name="connsiteY20193" fmla="*/ 4326811 h 5973007"/>
              <a:gd name="connsiteX20194" fmla="*/ 5466087 w 6884782"/>
              <a:gd name="connsiteY20194" fmla="*/ 4324436 h 5973007"/>
              <a:gd name="connsiteX20195" fmla="*/ 5466707 w 6884782"/>
              <a:gd name="connsiteY20195" fmla="*/ 4321132 h 5973007"/>
              <a:gd name="connsiteX20196" fmla="*/ 5466397 w 6884782"/>
              <a:gd name="connsiteY20196" fmla="*/ 4320306 h 5973007"/>
              <a:gd name="connsiteX20197" fmla="*/ 5467636 w 6884782"/>
              <a:gd name="connsiteY20197" fmla="*/ 4317828 h 5973007"/>
              <a:gd name="connsiteX20198" fmla="*/ 5468565 w 6884782"/>
              <a:gd name="connsiteY20198" fmla="*/ 4317311 h 5973007"/>
              <a:gd name="connsiteX20199" fmla="*/ 1247186 w 6884782"/>
              <a:gd name="connsiteY20199" fmla="*/ 4313576 h 5973007"/>
              <a:gd name="connsiteX20200" fmla="*/ 1261127 w 6884782"/>
              <a:gd name="connsiteY20200" fmla="*/ 4320288 h 5973007"/>
              <a:gd name="connsiteX20201" fmla="*/ 1266703 w 6884782"/>
              <a:gd name="connsiteY20201" fmla="*/ 4322972 h 5973007"/>
              <a:gd name="connsiteX20202" fmla="*/ 1269027 w 6884782"/>
              <a:gd name="connsiteY20202" fmla="*/ 4319359 h 5973007"/>
              <a:gd name="connsiteX20203" fmla="*/ 1271195 w 6884782"/>
              <a:gd name="connsiteY20203" fmla="*/ 4322249 h 5973007"/>
              <a:gd name="connsiteX20204" fmla="*/ 1270111 w 6884782"/>
              <a:gd name="connsiteY20204" fmla="*/ 4324625 h 5973007"/>
              <a:gd name="connsiteX20205" fmla="*/ 1275222 w 6884782"/>
              <a:gd name="connsiteY20205" fmla="*/ 4327000 h 5973007"/>
              <a:gd name="connsiteX20206" fmla="*/ 1275533 w 6884782"/>
              <a:gd name="connsiteY20206" fmla="*/ 4328342 h 5973007"/>
              <a:gd name="connsiteX20207" fmla="*/ 1277856 w 6884782"/>
              <a:gd name="connsiteY20207" fmla="*/ 4325347 h 5973007"/>
              <a:gd name="connsiteX20208" fmla="*/ 1278475 w 6884782"/>
              <a:gd name="connsiteY20208" fmla="*/ 4325450 h 5973007"/>
              <a:gd name="connsiteX20209" fmla="*/ 1278321 w 6884782"/>
              <a:gd name="connsiteY20209" fmla="*/ 4325244 h 5973007"/>
              <a:gd name="connsiteX20210" fmla="*/ 1279249 w 6884782"/>
              <a:gd name="connsiteY20210" fmla="*/ 4321630 h 5973007"/>
              <a:gd name="connsiteX20211" fmla="*/ 1281573 w 6884782"/>
              <a:gd name="connsiteY20211" fmla="*/ 4320494 h 5973007"/>
              <a:gd name="connsiteX20212" fmla="*/ 1286530 w 6884782"/>
              <a:gd name="connsiteY20212" fmla="*/ 4327515 h 5973007"/>
              <a:gd name="connsiteX20213" fmla="*/ 1286375 w 6884782"/>
              <a:gd name="connsiteY20213" fmla="*/ 4327515 h 5973007"/>
              <a:gd name="connsiteX20214" fmla="*/ 1287304 w 6884782"/>
              <a:gd name="connsiteY20214" fmla="*/ 4327826 h 5973007"/>
              <a:gd name="connsiteX20215" fmla="*/ 1288543 w 6884782"/>
              <a:gd name="connsiteY20215" fmla="*/ 4331646 h 5973007"/>
              <a:gd name="connsiteX20216" fmla="*/ 1287304 w 6884782"/>
              <a:gd name="connsiteY20216" fmla="*/ 4339287 h 5973007"/>
              <a:gd name="connsiteX20217" fmla="*/ 1288543 w 6884782"/>
              <a:gd name="connsiteY20217" fmla="*/ 4339287 h 5973007"/>
              <a:gd name="connsiteX20218" fmla="*/ 1284516 w 6884782"/>
              <a:gd name="connsiteY20218" fmla="*/ 4339906 h 5973007"/>
              <a:gd name="connsiteX20219" fmla="*/ 1281573 w 6884782"/>
              <a:gd name="connsiteY20219" fmla="*/ 4340423 h 5973007"/>
              <a:gd name="connsiteX20220" fmla="*/ 1280489 w 6884782"/>
              <a:gd name="connsiteY20220" fmla="*/ 4341662 h 5973007"/>
              <a:gd name="connsiteX20221" fmla="*/ 1282348 w 6884782"/>
              <a:gd name="connsiteY20221" fmla="*/ 4345173 h 5973007"/>
              <a:gd name="connsiteX20222" fmla="*/ 1284826 w 6884782"/>
              <a:gd name="connsiteY20222" fmla="*/ 4363552 h 5973007"/>
              <a:gd name="connsiteX20223" fmla="*/ 1284361 w 6884782"/>
              <a:gd name="connsiteY20223" fmla="*/ 4363965 h 5973007"/>
              <a:gd name="connsiteX20224" fmla="*/ 1281263 w 6884782"/>
              <a:gd name="connsiteY20224" fmla="*/ 4368818 h 5973007"/>
              <a:gd name="connsiteX20225" fmla="*/ 1277856 w 6884782"/>
              <a:gd name="connsiteY20225" fmla="*/ 4370057 h 5973007"/>
              <a:gd name="connsiteX20226" fmla="*/ 1276771 w 6884782"/>
              <a:gd name="connsiteY20226" fmla="*/ 4371709 h 5973007"/>
              <a:gd name="connsiteX20227" fmla="*/ 1272434 w 6884782"/>
              <a:gd name="connsiteY20227" fmla="*/ 4379970 h 5973007"/>
              <a:gd name="connsiteX20228" fmla="*/ 1261436 w 6884782"/>
              <a:gd name="connsiteY20228" fmla="*/ 4382861 h 5973007"/>
              <a:gd name="connsiteX20229" fmla="*/ 1258493 w 6884782"/>
              <a:gd name="connsiteY20229" fmla="*/ 4382964 h 5973007"/>
              <a:gd name="connsiteX20230" fmla="*/ 1262521 w 6884782"/>
              <a:gd name="connsiteY20230" fmla="*/ 4384823 h 5973007"/>
              <a:gd name="connsiteX20231" fmla="*/ 1265154 w 6884782"/>
              <a:gd name="connsiteY20231" fmla="*/ 4388334 h 5973007"/>
              <a:gd name="connsiteX20232" fmla="*/ 1265309 w 6884782"/>
              <a:gd name="connsiteY20232" fmla="*/ 4390812 h 5973007"/>
              <a:gd name="connsiteX20233" fmla="*/ 1266084 w 6884782"/>
              <a:gd name="connsiteY20233" fmla="*/ 4391741 h 5973007"/>
              <a:gd name="connsiteX20234" fmla="*/ 1268407 w 6884782"/>
              <a:gd name="connsiteY20234" fmla="*/ 4400414 h 5973007"/>
              <a:gd name="connsiteX20235" fmla="*/ 1266084 w 6884782"/>
              <a:gd name="connsiteY20235" fmla="*/ 4404751 h 5973007"/>
              <a:gd name="connsiteX20236" fmla="*/ 1266393 w 6884782"/>
              <a:gd name="connsiteY20236" fmla="*/ 4405165 h 5973007"/>
              <a:gd name="connsiteX20237" fmla="*/ 1262211 w 6884782"/>
              <a:gd name="connsiteY20237" fmla="*/ 4409088 h 5973007"/>
              <a:gd name="connsiteX20238" fmla="*/ 1258958 w 6884782"/>
              <a:gd name="connsiteY20238" fmla="*/ 4406094 h 5973007"/>
              <a:gd name="connsiteX20239" fmla="*/ 1259423 w 6884782"/>
              <a:gd name="connsiteY20239" fmla="*/ 4404029 h 5973007"/>
              <a:gd name="connsiteX20240" fmla="*/ 1260197 w 6884782"/>
              <a:gd name="connsiteY20240" fmla="*/ 4403615 h 5973007"/>
              <a:gd name="connsiteX20241" fmla="*/ 1261591 w 6884782"/>
              <a:gd name="connsiteY20241" fmla="*/ 4402893 h 5973007"/>
              <a:gd name="connsiteX20242" fmla="*/ 1257874 w 6884782"/>
              <a:gd name="connsiteY20242" fmla="*/ 4400828 h 5973007"/>
              <a:gd name="connsiteX20243" fmla="*/ 1255551 w 6884782"/>
              <a:gd name="connsiteY20243" fmla="*/ 4401447 h 5973007"/>
              <a:gd name="connsiteX20244" fmla="*/ 1248735 w 6884782"/>
              <a:gd name="connsiteY20244" fmla="*/ 4398659 h 5973007"/>
              <a:gd name="connsiteX20245" fmla="*/ 1249045 w 6884782"/>
              <a:gd name="connsiteY20245" fmla="*/ 4394322 h 5973007"/>
              <a:gd name="connsiteX20246" fmla="*/ 1250129 w 6884782"/>
              <a:gd name="connsiteY20246" fmla="*/ 4392154 h 5973007"/>
              <a:gd name="connsiteX20247" fmla="*/ 1248116 w 6884782"/>
              <a:gd name="connsiteY20247" fmla="*/ 4388437 h 5973007"/>
              <a:gd name="connsiteX20248" fmla="*/ 1253072 w 6884782"/>
              <a:gd name="connsiteY20248" fmla="*/ 4383894 h 5973007"/>
              <a:gd name="connsiteX20249" fmla="*/ 1255396 w 6884782"/>
              <a:gd name="connsiteY20249" fmla="*/ 4384307 h 5973007"/>
              <a:gd name="connsiteX20250" fmla="*/ 1256790 w 6884782"/>
              <a:gd name="connsiteY20250" fmla="*/ 4383068 h 5973007"/>
              <a:gd name="connsiteX20251" fmla="*/ 1249200 w 6884782"/>
              <a:gd name="connsiteY20251" fmla="*/ 4383377 h 5973007"/>
              <a:gd name="connsiteX20252" fmla="*/ 1237118 w 6884782"/>
              <a:gd name="connsiteY20252" fmla="*/ 4380693 h 5973007"/>
              <a:gd name="connsiteX20253" fmla="*/ 1228289 w 6884782"/>
              <a:gd name="connsiteY20253" fmla="*/ 4374807 h 5973007"/>
              <a:gd name="connsiteX20254" fmla="*/ 1229218 w 6884782"/>
              <a:gd name="connsiteY20254" fmla="*/ 4376459 h 5973007"/>
              <a:gd name="connsiteX20255" fmla="*/ 1230612 w 6884782"/>
              <a:gd name="connsiteY20255" fmla="*/ 4385546 h 5973007"/>
              <a:gd name="connsiteX20256" fmla="*/ 1222402 w 6884782"/>
              <a:gd name="connsiteY20256" fmla="*/ 4388024 h 5973007"/>
              <a:gd name="connsiteX20257" fmla="*/ 1213574 w 6884782"/>
              <a:gd name="connsiteY20257" fmla="*/ 4379350 h 5973007"/>
              <a:gd name="connsiteX20258" fmla="*/ 1213574 w 6884782"/>
              <a:gd name="connsiteY20258" fmla="*/ 4378008 h 5973007"/>
              <a:gd name="connsiteX20259" fmla="*/ 1213264 w 6884782"/>
              <a:gd name="connsiteY20259" fmla="*/ 4378111 h 5973007"/>
              <a:gd name="connsiteX20260" fmla="*/ 1211560 w 6884782"/>
              <a:gd name="connsiteY20260" fmla="*/ 4378214 h 5973007"/>
              <a:gd name="connsiteX20261" fmla="*/ 1212644 w 6884782"/>
              <a:gd name="connsiteY20261" fmla="*/ 4379144 h 5973007"/>
              <a:gd name="connsiteX20262" fmla="*/ 1210321 w 6884782"/>
              <a:gd name="connsiteY20262" fmla="*/ 4380693 h 5973007"/>
              <a:gd name="connsiteX20263" fmla="*/ 1208307 w 6884782"/>
              <a:gd name="connsiteY20263" fmla="*/ 4382861 h 5973007"/>
              <a:gd name="connsiteX20264" fmla="*/ 1206913 w 6884782"/>
              <a:gd name="connsiteY20264" fmla="*/ 4383068 h 5973007"/>
              <a:gd name="connsiteX20265" fmla="*/ 1201646 w 6884782"/>
              <a:gd name="connsiteY20265" fmla="*/ 4386785 h 5973007"/>
              <a:gd name="connsiteX20266" fmla="*/ 1198084 w 6884782"/>
              <a:gd name="connsiteY20266" fmla="*/ 4387714 h 5973007"/>
              <a:gd name="connsiteX20267" fmla="*/ 1198084 w 6884782"/>
              <a:gd name="connsiteY20267" fmla="*/ 4387817 h 5973007"/>
              <a:gd name="connsiteX20268" fmla="*/ 1199323 w 6884782"/>
              <a:gd name="connsiteY20268" fmla="*/ 4392567 h 5973007"/>
              <a:gd name="connsiteX20269" fmla="*/ 1198084 w 6884782"/>
              <a:gd name="connsiteY20269" fmla="*/ 4394736 h 5973007"/>
              <a:gd name="connsiteX20270" fmla="*/ 1192818 w 6884782"/>
              <a:gd name="connsiteY20270" fmla="*/ 4395252 h 5973007"/>
              <a:gd name="connsiteX20271" fmla="*/ 1187396 w 6884782"/>
              <a:gd name="connsiteY20271" fmla="*/ 4392361 h 5973007"/>
              <a:gd name="connsiteX20272" fmla="*/ 1184918 w 6884782"/>
              <a:gd name="connsiteY20272" fmla="*/ 4389056 h 5973007"/>
              <a:gd name="connsiteX20273" fmla="*/ 1183059 w 6884782"/>
              <a:gd name="connsiteY20273" fmla="*/ 4388953 h 5973007"/>
              <a:gd name="connsiteX20274" fmla="*/ 1183833 w 6884782"/>
              <a:gd name="connsiteY20274" fmla="*/ 4385959 h 5973007"/>
              <a:gd name="connsiteX20275" fmla="*/ 1183988 w 6884782"/>
              <a:gd name="connsiteY20275" fmla="*/ 4383274 h 5973007"/>
              <a:gd name="connsiteX20276" fmla="*/ 1186466 w 6884782"/>
              <a:gd name="connsiteY20276" fmla="*/ 4381519 h 5973007"/>
              <a:gd name="connsiteX20277" fmla="*/ 1187396 w 6884782"/>
              <a:gd name="connsiteY20277" fmla="*/ 4381829 h 5973007"/>
              <a:gd name="connsiteX20278" fmla="*/ 1190959 w 6884782"/>
              <a:gd name="connsiteY20278" fmla="*/ 4380279 h 5973007"/>
              <a:gd name="connsiteX20279" fmla="*/ 1191578 w 6884782"/>
              <a:gd name="connsiteY20279" fmla="*/ 4378834 h 5973007"/>
              <a:gd name="connsiteX20280" fmla="*/ 1190340 w 6884782"/>
              <a:gd name="connsiteY20280" fmla="*/ 4376046 h 5973007"/>
              <a:gd name="connsiteX20281" fmla="*/ 1188945 w 6884782"/>
              <a:gd name="connsiteY20281" fmla="*/ 4374601 h 5973007"/>
              <a:gd name="connsiteX20282" fmla="*/ 1186932 w 6884782"/>
              <a:gd name="connsiteY20282" fmla="*/ 4375117 h 5973007"/>
              <a:gd name="connsiteX20283" fmla="*/ 1179187 w 6884782"/>
              <a:gd name="connsiteY20283" fmla="*/ 4375530 h 5973007"/>
              <a:gd name="connsiteX20284" fmla="*/ 1179651 w 6884782"/>
              <a:gd name="connsiteY20284" fmla="*/ 4374291 h 5973007"/>
              <a:gd name="connsiteX20285" fmla="*/ 1185847 w 6884782"/>
              <a:gd name="connsiteY20285" fmla="*/ 4372845 h 5973007"/>
              <a:gd name="connsiteX20286" fmla="*/ 1187087 w 6884782"/>
              <a:gd name="connsiteY20286" fmla="*/ 4372742 h 5973007"/>
              <a:gd name="connsiteX20287" fmla="*/ 1185538 w 6884782"/>
              <a:gd name="connsiteY20287" fmla="*/ 4371193 h 5973007"/>
              <a:gd name="connsiteX20288" fmla="*/ 1177173 w 6884782"/>
              <a:gd name="connsiteY20288" fmla="*/ 4360454 h 5973007"/>
              <a:gd name="connsiteX20289" fmla="*/ 1176398 w 6884782"/>
              <a:gd name="connsiteY20289" fmla="*/ 4356428 h 5973007"/>
              <a:gd name="connsiteX20290" fmla="*/ 1173301 w 6884782"/>
              <a:gd name="connsiteY20290" fmla="*/ 4359112 h 5973007"/>
              <a:gd name="connsiteX20291" fmla="*/ 1170203 w 6884782"/>
              <a:gd name="connsiteY20291" fmla="*/ 4361900 h 5973007"/>
              <a:gd name="connsiteX20292" fmla="*/ 1164472 w 6884782"/>
              <a:gd name="connsiteY20292" fmla="*/ 4366546 h 5973007"/>
              <a:gd name="connsiteX20293" fmla="*/ 1163542 w 6884782"/>
              <a:gd name="connsiteY20293" fmla="*/ 4369025 h 5973007"/>
              <a:gd name="connsiteX20294" fmla="*/ 1162923 w 6884782"/>
              <a:gd name="connsiteY20294" fmla="*/ 4369335 h 5973007"/>
              <a:gd name="connsiteX20295" fmla="*/ 1163077 w 6884782"/>
              <a:gd name="connsiteY20295" fmla="*/ 4370367 h 5973007"/>
              <a:gd name="connsiteX20296" fmla="*/ 1162303 w 6884782"/>
              <a:gd name="connsiteY20296" fmla="*/ 4370574 h 5973007"/>
              <a:gd name="connsiteX20297" fmla="*/ 1162458 w 6884782"/>
              <a:gd name="connsiteY20297" fmla="*/ 4369747 h 5973007"/>
              <a:gd name="connsiteX20298" fmla="*/ 1161374 w 6884782"/>
              <a:gd name="connsiteY20298" fmla="*/ 4370470 h 5973007"/>
              <a:gd name="connsiteX20299" fmla="*/ 1155798 w 6884782"/>
              <a:gd name="connsiteY20299" fmla="*/ 4366960 h 5973007"/>
              <a:gd name="connsiteX20300" fmla="*/ 1155952 w 6884782"/>
              <a:gd name="connsiteY20300" fmla="*/ 4361487 h 5973007"/>
              <a:gd name="connsiteX20301" fmla="*/ 1163852 w 6884782"/>
              <a:gd name="connsiteY20301" fmla="*/ 4362726 h 5973007"/>
              <a:gd name="connsiteX20302" fmla="*/ 1164007 w 6884782"/>
              <a:gd name="connsiteY20302" fmla="*/ 4362933 h 5973007"/>
              <a:gd name="connsiteX20303" fmla="*/ 1164162 w 6884782"/>
              <a:gd name="connsiteY20303" fmla="*/ 4362829 h 5973007"/>
              <a:gd name="connsiteX20304" fmla="*/ 1170513 w 6884782"/>
              <a:gd name="connsiteY20304" fmla="*/ 4356944 h 5973007"/>
              <a:gd name="connsiteX20305" fmla="*/ 1172216 w 6884782"/>
              <a:gd name="connsiteY20305" fmla="*/ 4355911 h 5973007"/>
              <a:gd name="connsiteX20306" fmla="*/ 1173920 w 6884782"/>
              <a:gd name="connsiteY20306" fmla="*/ 4354775 h 5973007"/>
              <a:gd name="connsiteX20307" fmla="*/ 1177173 w 6884782"/>
              <a:gd name="connsiteY20307" fmla="*/ 4355808 h 5973007"/>
              <a:gd name="connsiteX20308" fmla="*/ 1177018 w 6884782"/>
              <a:gd name="connsiteY20308" fmla="*/ 4355911 h 5973007"/>
              <a:gd name="connsiteX20309" fmla="*/ 1179961 w 6884782"/>
              <a:gd name="connsiteY20309" fmla="*/ 4356221 h 5973007"/>
              <a:gd name="connsiteX20310" fmla="*/ 1186002 w 6884782"/>
              <a:gd name="connsiteY20310" fmla="*/ 4359525 h 5973007"/>
              <a:gd name="connsiteX20311" fmla="*/ 1190649 w 6884782"/>
              <a:gd name="connsiteY20311" fmla="*/ 4364275 h 5973007"/>
              <a:gd name="connsiteX20312" fmla="*/ 1191269 w 6884782"/>
              <a:gd name="connsiteY20312" fmla="*/ 4364481 h 5973007"/>
              <a:gd name="connsiteX20313" fmla="*/ 1194831 w 6884782"/>
              <a:gd name="connsiteY20313" fmla="*/ 4367682 h 5973007"/>
              <a:gd name="connsiteX20314" fmla="*/ 1194831 w 6884782"/>
              <a:gd name="connsiteY20314" fmla="*/ 4367476 h 5973007"/>
              <a:gd name="connsiteX20315" fmla="*/ 1197154 w 6884782"/>
              <a:gd name="connsiteY20315" fmla="*/ 4358906 h 5973007"/>
              <a:gd name="connsiteX20316" fmla="*/ 1198084 w 6884782"/>
              <a:gd name="connsiteY20316" fmla="*/ 4358596 h 5973007"/>
              <a:gd name="connsiteX20317" fmla="*/ 1199323 w 6884782"/>
              <a:gd name="connsiteY20317" fmla="*/ 4360041 h 5973007"/>
              <a:gd name="connsiteX20318" fmla="*/ 1198703 w 6884782"/>
              <a:gd name="connsiteY20318" fmla="*/ 4363862 h 5973007"/>
              <a:gd name="connsiteX20319" fmla="*/ 1196535 w 6884782"/>
              <a:gd name="connsiteY20319" fmla="*/ 4368612 h 5973007"/>
              <a:gd name="connsiteX20320" fmla="*/ 1196226 w 6884782"/>
              <a:gd name="connsiteY20320" fmla="*/ 4369231 h 5973007"/>
              <a:gd name="connsiteX20321" fmla="*/ 1202576 w 6884782"/>
              <a:gd name="connsiteY20321" fmla="*/ 4376149 h 5973007"/>
              <a:gd name="connsiteX20322" fmla="*/ 1204744 w 6884782"/>
              <a:gd name="connsiteY20322" fmla="*/ 4376046 h 5973007"/>
              <a:gd name="connsiteX20323" fmla="*/ 1204744 w 6884782"/>
              <a:gd name="connsiteY20323" fmla="*/ 4375840 h 5973007"/>
              <a:gd name="connsiteX20324" fmla="*/ 1209237 w 6884782"/>
              <a:gd name="connsiteY20324" fmla="*/ 4372639 h 5973007"/>
              <a:gd name="connsiteX20325" fmla="*/ 1212025 w 6884782"/>
              <a:gd name="connsiteY20325" fmla="*/ 4372122 h 5973007"/>
              <a:gd name="connsiteX20326" fmla="*/ 1211870 w 6884782"/>
              <a:gd name="connsiteY20326" fmla="*/ 4372019 h 5973007"/>
              <a:gd name="connsiteX20327" fmla="*/ 1211560 w 6884782"/>
              <a:gd name="connsiteY20327" fmla="*/ 4370367 h 5973007"/>
              <a:gd name="connsiteX20328" fmla="*/ 1215123 w 6884782"/>
              <a:gd name="connsiteY20328" fmla="*/ 4367063 h 5973007"/>
              <a:gd name="connsiteX20329" fmla="*/ 1211715 w 6884782"/>
              <a:gd name="connsiteY20329" fmla="*/ 4365720 h 5973007"/>
              <a:gd name="connsiteX20330" fmla="*/ 1218840 w 6884782"/>
              <a:gd name="connsiteY20330" fmla="*/ 4359525 h 5973007"/>
              <a:gd name="connsiteX20331" fmla="*/ 1218221 w 6884782"/>
              <a:gd name="connsiteY20331" fmla="*/ 4357667 h 5973007"/>
              <a:gd name="connsiteX20332" fmla="*/ 1214658 w 6884782"/>
              <a:gd name="connsiteY20332" fmla="*/ 4339390 h 5973007"/>
              <a:gd name="connsiteX20333" fmla="*/ 1223797 w 6884782"/>
              <a:gd name="connsiteY20333" fmla="*/ 4322249 h 5973007"/>
              <a:gd name="connsiteX20334" fmla="*/ 1247186 w 6884782"/>
              <a:gd name="connsiteY20334" fmla="*/ 4313576 h 5973007"/>
              <a:gd name="connsiteX20335" fmla="*/ 5808562 w 6884782"/>
              <a:gd name="connsiteY20335" fmla="*/ 4312045 h 5973007"/>
              <a:gd name="connsiteX20336" fmla="*/ 5812900 w 6884782"/>
              <a:gd name="connsiteY20336" fmla="*/ 4318757 h 5973007"/>
              <a:gd name="connsiteX20337" fmla="*/ 5811351 w 6884782"/>
              <a:gd name="connsiteY20337" fmla="*/ 4320822 h 5973007"/>
              <a:gd name="connsiteX20338" fmla="*/ 5808253 w 6884782"/>
              <a:gd name="connsiteY20338" fmla="*/ 4319893 h 5973007"/>
              <a:gd name="connsiteX20339" fmla="*/ 5806704 w 6884782"/>
              <a:gd name="connsiteY20339" fmla="*/ 4318550 h 5973007"/>
              <a:gd name="connsiteX20340" fmla="*/ 5808408 w 6884782"/>
              <a:gd name="connsiteY20340" fmla="*/ 4322371 h 5973007"/>
              <a:gd name="connsiteX20341" fmla="*/ 5807169 w 6884782"/>
              <a:gd name="connsiteY20341" fmla="*/ 4332697 h 5973007"/>
              <a:gd name="connsiteX20342" fmla="*/ 5803761 w 6884782"/>
              <a:gd name="connsiteY20342" fmla="*/ 4312562 h 5973007"/>
              <a:gd name="connsiteX20343" fmla="*/ 5805774 w 6884782"/>
              <a:gd name="connsiteY20343" fmla="*/ 4316485 h 5973007"/>
              <a:gd name="connsiteX20344" fmla="*/ 5805619 w 6884782"/>
              <a:gd name="connsiteY20344" fmla="*/ 4315039 h 5973007"/>
              <a:gd name="connsiteX20345" fmla="*/ 5808562 w 6884782"/>
              <a:gd name="connsiteY20345" fmla="*/ 4312045 h 5973007"/>
              <a:gd name="connsiteX20346" fmla="*/ 5393905 w 6884782"/>
              <a:gd name="connsiteY20346" fmla="*/ 4310600 h 5973007"/>
              <a:gd name="connsiteX20347" fmla="*/ 5404903 w 6884782"/>
              <a:gd name="connsiteY20347" fmla="*/ 4315866 h 5973007"/>
              <a:gd name="connsiteX20348" fmla="*/ 5402424 w 6884782"/>
              <a:gd name="connsiteY20348" fmla="*/ 4316175 h 5973007"/>
              <a:gd name="connsiteX20349" fmla="*/ 5393905 w 6884782"/>
              <a:gd name="connsiteY20349" fmla="*/ 4310600 h 5973007"/>
              <a:gd name="connsiteX20350" fmla="*/ 5538423 w 6884782"/>
              <a:gd name="connsiteY20350" fmla="*/ 4308947 h 5973007"/>
              <a:gd name="connsiteX20351" fmla="*/ 5538888 w 6884782"/>
              <a:gd name="connsiteY20351" fmla="*/ 4311322 h 5973007"/>
              <a:gd name="connsiteX20352" fmla="*/ 5540127 w 6884782"/>
              <a:gd name="connsiteY20352" fmla="*/ 4312252 h 5973007"/>
              <a:gd name="connsiteX20353" fmla="*/ 5539353 w 6884782"/>
              <a:gd name="connsiteY20353" fmla="*/ 4314936 h 5973007"/>
              <a:gd name="connsiteX20354" fmla="*/ 5538423 w 6884782"/>
              <a:gd name="connsiteY20354" fmla="*/ 4308947 h 5973007"/>
              <a:gd name="connsiteX20355" fmla="*/ 1074322 w 6884782"/>
              <a:gd name="connsiteY20355" fmla="*/ 4308930 h 5973007"/>
              <a:gd name="connsiteX20356" fmla="*/ 1079124 w 6884782"/>
              <a:gd name="connsiteY20356" fmla="*/ 4322249 h 5973007"/>
              <a:gd name="connsiteX20357" fmla="*/ 1080363 w 6884782"/>
              <a:gd name="connsiteY20357" fmla="*/ 4325347 h 5973007"/>
              <a:gd name="connsiteX20358" fmla="*/ 1081757 w 6884782"/>
              <a:gd name="connsiteY20358" fmla="*/ 4322249 h 5973007"/>
              <a:gd name="connsiteX20359" fmla="*/ 1086869 w 6884782"/>
              <a:gd name="connsiteY20359" fmla="*/ 4332885 h 5973007"/>
              <a:gd name="connsiteX20360" fmla="*/ 1083771 w 6884782"/>
              <a:gd name="connsiteY20360" fmla="*/ 4332059 h 5973007"/>
              <a:gd name="connsiteX20361" fmla="*/ 1081292 w 6884782"/>
              <a:gd name="connsiteY20361" fmla="*/ 4330820 h 5973007"/>
              <a:gd name="connsiteX20362" fmla="*/ 1081137 w 6884782"/>
              <a:gd name="connsiteY20362" fmla="*/ 4334227 h 5973007"/>
              <a:gd name="connsiteX20363" fmla="*/ 1077729 w 6884782"/>
              <a:gd name="connsiteY20363" fmla="*/ 4330407 h 5973007"/>
              <a:gd name="connsiteX20364" fmla="*/ 1077110 w 6884782"/>
              <a:gd name="connsiteY20364" fmla="*/ 4329891 h 5973007"/>
              <a:gd name="connsiteX20365" fmla="*/ 1074941 w 6884782"/>
              <a:gd name="connsiteY20365" fmla="*/ 4330820 h 5973007"/>
              <a:gd name="connsiteX20366" fmla="*/ 1071224 w 6884782"/>
              <a:gd name="connsiteY20366" fmla="*/ 4329891 h 5973007"/>
              <a:gd name="connsiteX20367" fmla="*/ 1073392 w 6884782"/>
              <a:gd name="connsiteY20367" fmla="*/ 4336293 h 5973007"/>
              <a:gd name="connsiteX20368" fmla="*/ 1072153 w 6884782"/>
              <a:gd name="connsiteY20368" fmla="*/ 4350748 h 5973007"/>
              <a:gd name="connsiteX20369" fmla="*/ 1068591 w 6884782"/>
              <a:gd name="connsiteY20369" fmla="*/ 4351987 h 5973007"/>
              <a:gd name="connsiteX20370" fmla="*/ 1061930 w 6884782"/>
              <a:gd name="connsiteY20370" fmla="*/ 4346308 h 5973007"/>
              <a:gd name="connsiteX20371" fmla="*/ 1064718 w 6884782"/>
              <a:gd name="connsiteY20371" fmla="*/ 4327515 h 5973007"/>
              <a:gd name="connsiteX20372" fmla="*/ 1064718 w 6884782"/>
              <a:gd name="connsiteY20372" fmla="*/ 4327412 h 5973007"/>
              <a:gd name="connsiteX20373" fmla="*/ 1060227 w 6884782"/>
              <a:gd name="connsiteY20373" fmla="*/ 4323799 h 5973007"/>
              <a:gd name="connsiteX20374" fmla="*/ 1063169 w 6884782"/>
              <a:gd name="connsiteY20374" fmla="*/ 4315848 h 5973007"/>
              <a:gd name="connsiteX20375" fmla="*/ 1068126 w 6884782"/>
              <a:gd name="connsiteY20375" fmla="*/ 4314815 h 5973007"/>
              <a:gd name="connsiteX20376" fmla="*/ 1068281 w 6884782"/>
              <a:gd name="connsiteY20376" fmla="*/ 4314092 h 5973007"/>
              <a:gd name="connsiteX20377" fmla="*/ 1074322 w 6884782"/>
              <a:gd name="connsiteY20377" fmla="*/ 4308930 h 5973007"/>
              <a:gd name="connsiteX20378" fmla="*/ 1121410 w 6884782"/>
              <a:gd name="connsiteY20378" fmla="*/ 4308723 h 5973007"/>
              <a:gd name="connsiteX20379" fmla="*/ 1125902 w 6884782"/>
              <a:gd name="connsiteY20379" fmla="*/ 4331646 h 5973007"/>
              <a:gd name="connsiteX20380" fmla="*/ 1119552 w 6884782"/>
              <a:gd name="connsiteY20380" fmla="*/ 4320288 h 5973007"/>
              <a:gd name="connsiteX20381" fmla="*/ 1121410 w 6884782"/>
              <a:gd name="connsiteY20381" fmla="*/ 4308723 h 5973007"/>
              <a:gd name="connsiteX20382" fmla="*/ 5730960 w 6884782"/>
              <a:gd name="connsiteY20382" fmla="*/ 4307605 h 5973007"/>
              <a:gd name="connsiteX20383" fmla="*/ 5733593 w 6884782"/>
              <a:gd name="connsiteY20383" fmla="*/ 4308225 h 5973007"/>
              <a:gd name="connsiteX20384" fmla="*/ 5730650 w 6884782"/>
              <a:gd name="connsiteY20384" fmla="*/ 4309567 h 5973007"/>
              <a:gd name="connsiteX20385" fmla="*/ 5730495 w 6884782"/>
              <a:gd name="connsiteY20385" fmla="*/ 4308431 h 5973007"/>
              <a:gd name="connsiteX20386" fmla="*/ 5730030 w 6884782"/>
              <a:gd name="connsiteY20386" fmla="*/ 4309051 h 5973007"/>
              <a:gd name="connsiteX20387" fmla="*/ 5730495 w 6884782"/>
              <a:gd name="connsiteY20387" fmla="*/ 4307915 h 5973007"/>
              <a:gd name="connsiteX20388" fmla="*/ 5730960 w 6884782"/>
              <a:gd name="connsiteY20388" fmla="*/ 4307605 h 5973007"/>
              <a:gd name="connsiteX20389" fmla="*/ 1177173 w 6884782"/>
              <a:gd name="connsiteY20389" fmla="*/ 4307484 h 5973007"/>
              <a:gd name="connsiteX20390" fmla="*/ 1157811 w 6884782"/>
              <a:gd name="connsiteY20390" fmla="*/ 4319978 h 5973007"/>
              <a:gd name="connsiteX20391" fmla="*/ 1165865 w 6884782"/>
              <a:gd name="connsiteY20391" fmla="*/ 4312027 h 5973007"/>
              <a:gd name="connsiteX20392" fmla="*/ 1177173 w 6884782"/>
              <a:gd name="connsiteY20392" fmla="*/ 4307484 h 5973007"/>
              <a:gd name="connsiteX20393" fmla="*/ 5737620 w 6884782"/>
              <a:gd name="connsiteY20393" fmla="*/ 4306469 h 5973007"/>
              <a:gd name="connsiteX20394" fmla="*/ 5740408 w 6884782"/>
              <a:gd name="connsiteY20394" fmla="*/ 4308225 h 5973007"/>
              <a:gd name="connsiteX20395" fmla="*/ 5736846 w 6884782"/>
              <a:gd name="connsiteY20395" fmla="*/ 4309154 h 5973007"/>
              <a:gd name="connsiteX20396" fmla="*/ 5733593 w 6884782"/>
              <a:gd name="connsiteY20396" fmla="*/ 4308018 h 5973007"/>
              <a:gd name="connsiteX20397" fmla="*/ 5737620 w 6884782"/>
              <a:gd name="connsiteY20397" fmla="*/ 4306469 h 5973007"/>
              <a:gd name="connsiteX20398" fmla="*/ 5588300 w 6884782"/>
              <a:gd name="connsiteY20398" fmla="*/ 4306366 h 5973007"/>
              <a:gd name="connsiteX20399" fmla="*/ 5594341 w 6884782"/>
              <a:gd name="connsiteY20399" fmla="*/ 4307708 h 5973007"/>
              <a:gd name="connsiteX20400" fmla="*/ 5595580 w 6884782"/>
              <a:gd name="connsiteY20400" fmla="*/ 4310290 h 5973007"/>
              <a:gd name="connsiteX20401" fmla="*/ 5595426 w 6884782"/>
              <a:gd name="connsiteY20401" fmla="*/ 4315556 h 5973007"/>
              <a:gd name="connsiteX20402" fmla="*/ 5596355 w 6884782"/>
              <a:gd name="connsiteY20402" fmla="*/ 4315556 h 5973007"/>
              <a:gd name="connsiteX20403" fmla="*/ 5591398 w 6884782"/>
              <a:gd name="connsiteY20403" fmla="*/ 4316692 h 5973007"/>
              <a:gd name="connsiteX20404" fmla="*/ 5588300 w 6884782"/>
              <a:gd name="connsiteY20404" fmla="*/ 4306366 h 5973007"/>
              <a:gd name="connsiteX20405" fmla="*/ 4638070 w 6884782"/>
              <a:gd name="connsiteY20405" fmla="*/ 4306327 h 5973007"/>
              <a:gd name="connsiteX20406" fmla="*/ 4643278 w 6884782"/>
              <a:gd name="connsiteY20406" fmla="*/ 4307192 h 5973007"/>
              <a:gd name="connsiteX20407" fmla="*/ 4637856 w 6884782"/>
              <a:gd name="connsiteY20407" fmla="*/ 4312665 h 5973007"/>
              <a:gd name="connsiteX20408" fmla="*/ 4635533 w 6884782"/>
              <a:gd name="connsiteY20408" fmla="*/ 4312045 h 5973007"/>
              <a:gd name="connsiteX20409" fmla="*/ 4638070 w 6884782"/>
              <a:gd name="connsiteY20409" fmla="*/ 4306327 h 5973007"/>
              <a:gd name="connsiteX20410" fmla="*/ 1135041 w 6884782"/>
              <a:gd name="connsiteY20410" fmla="*/ 4305109 h 5973007"/>
              <a:gd name="connsiteX20411" fmla="*/ 1137055 w 6884782"/>
              <a:gd name="connsiteY20411" fmla="*/ 4305729 h 5973007"/>
              <a:gd name="connsiteX20412" fmla="*/ 1137364 w 6884782"/>
              <a:gd name="connsiteY20412" fmla="*/ 4306142 h 5973007"/>
              <a:gd name="connsiteX20413" fmla="*/ 1141857 w 6884782"/>
              <a:gd name="connsiteY20413" fmla="*/ 4305212 h 5973007"/>
              <a:gd name="connsiteX20414" fmla="*/ 1140927 w 6884782"/>
              <a:gd name="connsiteY20414" fmla="*/ 4310169 h 5973007"/>
              <a:gd name="connsiteX20415" fmla="*/ 1140154 w 6884782"/>
              <a:gd name="connsiteY20415" fmla="*/ 4310478 h 5973007"/>
              <a:gd name="connsiteX20416" fmla="*/ 1142321 w 6884782"/>
              <a:gd name="connsiteY20416" fmla="*/ 4311201 h 5973007"/>
              <a:gd name="connsiteX20417" fmla="*/ 1154713 w 6884782"/>
              <a:gd name="connsiteY20417" fmla="*/ 4313060 h 5973007"/>
              <a:gd name="connsiteX20418" fmla="*/ 1154713 w 6884782"/>
              <a:gd name="connsiteY20418" fmla="*/ 4319462 h 5973007"/>
              <a:gd name="connsiteX20419" fmla="*/ 1153938 w 6884782"/>
              <a:gd name="connsiteY20419" fmla="*/ 4321114 h 5973007"/>
              <a:gd name="connsiteX20420" fmla="*/ 1155023 w 6884782"/>
              <a:gd name="connsiteY20420" fmla="*/ 4320288 h 5973007"/>
              <a:gd name="connsiteX20421" fmla="*/ 1156882 w 6884782"/>
              <a:gd name="connsiteY20421" fmla="*/ 4324005 h 5973007"/>
              <a:gd name="connsiteX20422" fmla="*/ 1153474 w 6884782"/>
              <a:gd name="connsiteY20422" fmla="*/ 4325141 h 5973007"/>
              <a:gd name="connsiteX20423" fmla="*/ 1152544 w 6884782"/>
              <a:gd name="connsiteY20423" fmla="*/ 4324315 h 5973007"/>
              <a:gd name="connsiteX20424" fmla="*/ 1151770 w 6884782"/>
              <a:gd name="connsiteY20424" fmla="*/ 4323489 h 5973007"/>
              <a:gd name="connsiteX20425" fmla="*/ 1150221 w 6884782"/>
              <a:gd name="connsiteY20425" fmla="*/ 4324934 h 5973007"/>
              <a:gd name="connsiteX20426" fmla="*/ 1142166 w 6884782"/>
              <a:gd name="connsiteY20426" fmla="*/ 4326173 h 5973007"/>
              <a:gd name="connsiteX20427" fmla="*/ 1140927 w 6884782"/>
              <a:gd name="connsiteY20427" fmla="*/ 4325450 h 5973007"/>
              <a:gd name="connsiteX20428" fmla="*/ 1140927 w 6884782"/>
              <a:gd name="connsiteY20428" fmla="*/ 4325760 h 5973007"/>
              <a:gd name="connsiteX20429" fmla="*/ 1140154 w 6884782"/>
              <a:gd name="connsiteY20429" fmla="*/ 4328239 h 5973007"/>
              <a:gd name="connsiteX20430" fmla="*/ 1141547 w 6884782"/>
              <a:gd name="connsiteY20430" fmla="*/ 4328032 h 5973007"/>
              <a:gd name="connsiteX20431" fmla="*/ 1138604 w 6884782"/>
              <a:gd name="connsiteY20431" fmla="*/ 4343934 h 5973007"/>
              <a:gd name="connsiteX20432" fmla="*/ 1137830 w 6884782"/>
              <a:gd name="connsiteY20432" fmla="*/ 4345585 h 5973007"/>
              <a:gd name="connsiteX20433" fmla="*/ 1137055 w 6884782"/>
              <a:gd name="connsiteY20433" fmla="*/ 4346102 h 5973007"/>
              <a:gd name="connsiteX20434" fmla="*/ 1136590 w 6884782"/>
              <a:gd name="connsiteY20434" fmla="*/ 4345792 h 5973007"/>
              <a:gd name="connsiteX20435" fmla="*/ 1136126 w 6884782"/>
              <a:gd name="connsiteY20435" fmla="*/ 4345792 h 5973007"/>
              <a:gd name="connsiteX20436" fmla="*/ 1136280 w 6884782"/>
              <a:gd name="connsiteY20436" fmla="*/ 4346308 h 5973007"/>
              <a:gd name="connsiteX20437" fmla="*/ 1135661 w 6884782"/>
              <a:gd name="connsiteY20437" fmla="*/ 4349406 h 5973007"/>
              <a:gd name="connsiteX20438" fmla="*/ 1137519 w 6884782"/>
              <a:gd name="connsiteY20438" fmla="*/ 4349509 h 5973007"/>
              <a:gd name="connsiteX20439" fmla="*/ 1140308 w 6884782"/>
              <a:gd name="connsiteY20439" fmla="*/ 4348580 h 5973007"/>
              <a:gd name="connsiteX20440" fmla="*/ 1141702 w 6884782"/>
              <a:gd name="connsiteY20440" fmla="*/ 4349922 h 5973007"/>
              <a:gd name="connsiteX20441" fmla="*/ 1139533 w 6884782"/>
              <a:gd name="connsiteY20441" fmla="*/ 4351574 h 5973007"/>
              <a:gd name="connsiteX20442" fmla="*/ 1137209 w 6884782"/>
              <a:gd name="connsiteY20442" fmla="*/ 4349922 h 5973007"/>
              <a:gd name="connsiteX20443" fmla="*/ 1135506 w 6884782"/>
              <a:gd name="connsiteY20443" fmla="*/ 4350129 h 5973007"/>
              <a:gd name="connsiteX20444" fmla="*/ 1135041 w 6884782"/>
              <a:gd name="connsiteY20444" fmla="*/ 4353743 h 5973007"/>
              <a:gd name="connsiteX20445" fmla="*/ 1130859 w 6884782"/>
              <a:gd name="connsiteY20445" fmla="*/ 4360661 h 5973007"/>
              <a:gd name="connsiteX20446" fmla="*/ 1132253 w 6884782"/>
              <a:gd name="connsiteY20446" fmla="*/ 4360454 h 5973007"/>
              <a:gd name="connsiteX20447" fmla="*/ 1134576 w 6884782"/>
              <a:gd name="connsiteY20447" fmla="*/ 4361074 h 5973007"/>
              <a:gd name="connsiteX20448" fmla="*/ 1134731 w 6884782"/>
              <a:gd name="connsiteY20448" fmla="*/ 4362003 h 5973007"/>
              <a:gd name="connsiteX20449" fmla="*/ 1135816 w 6884782"/>
              <a:gd name="connsiteY20449" fmla="*/ 4361797 h 5973007"/>
              <a:gd name="connsiteX20450" fmla="*/ 1139843 w 6884782"/>
              <a:gd name="connsiteY20450" fmla="*/ 4362003 h 5973007"/>
              <a:gd name="connsiteX20451" fmla="*/ 1135041 w 6884782"/>
              <a:gd name="connsiteY20451" fmla="*/ 4363242 h 5973007"/>
              <a:gd name="connsiteX20452" fmla="*/ 1134886 w 6884782"/>
              <a:gd name="connsiteY20452" fmla="*/ 4363242 h 5973007"/>
              <a:gd name="connsiteX20453" fmla="*/ 1134886 w 6884782"/>
              <a:gd name="connsiteY20453" fmla="*/ 4364068 h 5973007"/>
              <a:gd name="connsiteX20454" fmla="*/ 1135816 w 6884782"/>
              <a:gd name="connsiteY20454" fmla="*/ 4364481 h 5973007"/>
              <a:gd name="connsiteX20455" fmla="*/ 1135197 w 6884782"/>
              <a:gd name="connsiteY20455" fmla="*/ 4364998 h 5973007"/>
              <a:gd name="connsiteX20456" fmla="*/ 1135041 w 6884782"/>
              <a:gd name="connsiteY20456" fmla="*/ 4366134 h 5973007"/>
              <a:gd name="connsiteX20457" fmla="*/ 1131169 w 6884782"/>
              <a:gd name="connsiteY20457" fmla="*/ 4366443 h 5973007"/>
              <a:gd name="connsiteX20458" fmla="*/ 1127761 w 6884782"/>
              <a:gd name="connsiteY20458" fmla="*/ 4372742 h 5973007"/>
              <a:gd name="connsiteX20459" fmla="*/ 1125902 w 6884782"/>
              <a:gd name="connsiteY20459" fmla="*/ 4373774 h 5973007"/>
              <a:gd name="connsiteX20460" fmla="*/ 1125438 w 6884782"/>
              <a:gd name="connsiteY20460" fmla="*/ 4375530 h 5973007"/>
              <a:gd name="connsiteX20461" fmla="*/ 1124663 w 6884782"/>
              <a:gd name="connsiteY20461" fmla="*/ 4374497 h 5973007"/>
              <a:gd name="connsiteX20462" fmla="*/ 1124353 w 6884782"/>
              <a:gd name="connsiteY20462" fmla="*/ 4374704 h 5973007"/>
              <a:gd name="connsiteX20463" fmla="*/ 1124198 w 6884782"/>
              <a:gd name="connsiteY20463" fmla="*/ 4374291 h 5973007"/>
              <a:gd name="connsiteX20464" fmla="*/ 1123734 w 6884782"/>
              <a:gd name="connsiteY20464" fmla="*/ 4374394 h 5973007"/>
              <a:gd name="connsiteX20465" fmla="*/ 1121875 w 6884782"/>
              <a:gd name="connsiteY20465" fmla="*/ 4373774 h 5973007"/>
              <a:gd name="connsiteX20466" fmla="*/ 1121875 w 6884782"/>
              <a:gd name="connsiteY20466" fmla="*/ 4369541 h 5973007"/>
              <a:gd name="connsiteX20467" fmla="*/ 1126212 w 6884782"/>
              <a:gd name="connsiteY20467" fmla="*/ 4367476 h 5973007"/>
              <a:gd name="connsiteX20468" fmla="*/ 1128690 w 6884782"/>
              <a:gd name="connsiteY20468" fmla="*/ 4365617 h 5973007"/>
              <a:gd name="connsiteX20469" fmla="*/ 1130704 w 6884782"/>
              <a:gd name="connsiteY20469" fmla="*/ 4366134 h 5973007"/>
              <a:gd name="connsiteX20470" fmla="*/ 1129465 w 6884782"/>
              <a:gd name="connsiteY20470" fmla="*/ 4365514 h 5973007"/>
              <a:gd name="connsiteX20471" fmla="*/ 1128535 w 6884782"/>
              <a:gd name="connsiteY20471" fmla="*/ 4363965 h 5973007"/>
              <a:gd name="connsiteX20472" fmla="*/ 1129465 w 6884782"/>
              <a:gd name="connsiteY20472" fmla="*/ 4362313 h 5973007"/>
              <a:gd name="connsiteX20473" fmla="*/ 1130395 w 6884782"/>
              <a:gd name="connsiteY20473" fmla="*/ 4360971 h 5973007"/>
              <a:gd name="connsiteX20474" fmla="*/ 1125593 w 6884782"/>
              <a:gd name="connsiteY20474" fmla="*/ 4363242 h 5973007"/>
              <a:gd name="connsiteX20475" fmla="*/ 1128381 w 6884782"/>
              <a:gd name="connsiteY20475" fmla="*/ 4354052 h 5973007"/>
              <a:gd name="connsiteX20476" fmla="*/ 1129000 w 6884782"/>
              <a:gd name="connsiteY20476" fmla="*/ 4348373 h 5973007"/>
              <a:gd name="connsiteX20477" fmla="*/ 1128535 w 6884782"/>
              <a:gd name="connsiteY20477" fmla="*/ 4348064 h 5973007"/>
              <a:gd name="connsiteX20478" fmla="*/ 1127606 w 6884782"/>
              <a:gd name="connsiteY20478" fmla="*/ 4348477 h 5973007"/>
              <a:gd name="connsiteX20479" fmla="*/ 1127606 w 6884782"/>
              <a:gd name="connsiteY20479" fmla="*/ 4348683 h 5973007"/>
              <a:gd name="connsiteX20480" fmla="*/ 1124663 w 6884782"/>
              <a:gd name="connsiteY20480" fmla="*/ 4355911 h 5973007"/>
              <a:gd name="connsiteX20481" fmla="*/ 1123888 w 6884782"/>
              <a:gd name="connsiteY20481" fmla="*/ 4355085 h 5973007"/>
              <a:gd name="connsiteX20482" fmla="*/ 1124973 w 6884782"/>
              <a:gd name="connsiteY20482" fmla="*/ 4348786 h 5973007"/>
              <a:gd name="connsiteX20483" fmla="*/ 1125438 w 6884782"/>
              <a:gd name="connsiteY20483" fmla="*/ 4347547 h 5973007"/>
              <a:gd name="connsiteX20484" fmla="*/ 1123424 w 6884782"/>
              <a:gd name="connsiteY20484" fmla="*/ 4348373 h 5973007"/>
              <a:gd name="connsiteX20485" fmla="*/ 1110258 w 6884782"/>
              <a:gd name="connsiteY20485" fmla="*/ 4351574 h 5973007"/>
              <a:gd name="connsiteX20486" fmla="*/ 1106230 w 6884782"/>
              <a:gd name="connsiteY20486" fmla="*/ 4350748 h 5973007"/>
              <a:gd name="connsiteX20487" fmla="*/ 1106850 w 6884782"/>
              <a:gd name="connsiteY20487" fmla="*/ 4353123 h 5973007"/>
              <a:gd name="connsiteX20488" fmla="*/ 1109638 w 6884782"/>
              <a:gd name="connsiteY20488" fmla="*/ 4353123 h 5973007"/>
              <a:gd name="connsiteX20489" fmla="*/ 1114595 w 6884782"/>
              <a:gd name="connsiteY20489" fmla="*/ 4364378 h 5973007"/>
              <a:gd name="connsiteX20490" fmla="*/ 1111342 w 6884782"/>
              <a:gd name="connsiteY20490" fmla="*/ 4365720 h 5973007"/>
              <a:gd name="connsiteX20491" fmla="*/ 1110723 w 6884782"/>
              <a:gd name="connsiteY20491" fmla="*/ 4365824 h 5973007"/>
              <a:gd name="connsiteX20492" fmla="*/ 1112427 w 6884782"/>
              <a:gd name="connsiteY20492" fmla="*/ 4367579 h 5973007"/>
              <a:gd name="connsiteX20493" fmla="*/ 1112581 w 6884782"/>
              <a:gd name="connsiteY20493" fmla="*/ 4368302 h 5973007"/>
              <a:gd name="connsiteX20494" fmla="*/ 1113511 w 6884782"/>
              <a:gd name="connsiteY20494" fmla="*/ 4368612 h 5973007"/>
              <a:gd name="connsiteX20495" fmla="*/ 1113511 w 6884782"/>
              <a:gd name="connsiteY20495" fmla="*/ 4369335 h 5973007"/>
              <a:gd name="connsiteX20496" fmla="*/ 1112736 w 6884782"/>
              <a:gd name="connsiteY20496" fmla="*/ 4368921 h 5973007"/>
              <a:gd name="connsiteX20497" fmla="*/ 1112891 w 6884782"/>
              <a:gd name="connsiteY20497" fmla="*/ 4369851 h 5973007"/>
              <a:gd name="connsiteX20498" fmla="*/ 1113511 w 6884782"/>
              <a:gd name="connsiteY20498" fmla="*/ 4369541 h 5973007"/>
              <a:gd name="connsiteX20499" fmla="*/ 1113356 w 6884782"/>
              <a:gd name="connsiteY20499" fmla="*/ 4371400 h 5973007"/>
              <a:gd name="connsiteX20500" fmla="*/ 1113046 w 6884782"/>
              <a:gd name="connsiteY20500" fmla="*/ 4371090 h 5973007"/>
              <a:gd name="connsiteX20501" fmla="*/ 1112891 w 6884782"/>
              <a:gd name="connsiteY20501" fmla="*/ 4370264 h 5973007"/>
              <a:gd name="connsiteX20502" fmla="*/ 1111187 w 6884782"/>
              <a:gd name="connsiteY20502" fmla="*/ 4372948 h 5973007"/>
              <a:gd name="connsiteX20503" fmla="*/ 1107470 w 6884782"/>
              <a:gd name="connsiteY20503" fmla="*/ 4373878 h 5973007"/>
              <a:gd name="connsiteX20504" fmla="*/ 1102513 w 6884782"/>
              <a:gd name="connsiteY20504" fmla="*/ 4371503 h 5973007"/>
              <a:gd name="connsiteX20505" fmla="*/ 1103907 w 6884782"/>
              <a:gd name="connsiteY20505" fmla="*/ 4367992 h 5973007"/>
              <a:gd name="connsiteX20506" fmla="*/ 1106385 w 6884782"/>
              <a:gd name="connsiteY20506" fmla="*/ 4365204 h 5973007"/>
              <a:gd name="connsiteX20507" fmla="*/ 1102978 w 6884782"/>
              <a:gd name="connsiteY20507" fmla="*/ 4360041 h 5973007"/>
              <a:gd name="connsiteX20508" fmla="*/ 1103442 w 6884782"/>
              <a:gd name="connsiteY20508" fmla="*/ 4358183 h 5973007"/>
              <a:gd name="connsiteX20509" fmla="*/ 1102978 w 6884782"/>
              <a:gd name="connsiteY20509" fmla="*/ 4357976 h 5973007"/>
              <a:gd name="connsiteX20510" fmla="*/ 1102513 w 6884782"/>
              <a:gd name="connsiteY20510" fmla="*/ 4355395 h 5973007"/>
              <a:gd name="connsiteX20511" fmla="*/ 1103907 w 6884782"/>
              <a:gd name="connsiteY20511" fmla="*/ 4355498 h 5973007"/>
              <a:gd name="connsiteX20512" fmla="*/ 1104062 w 6884782"/>
              <a:gd name="connsiteY20512" fmla="*/ 4354878 h 5973007"/>
              <a:gd name="connsiteX20513" fmla="*/ 1104062 w 6884782"/>
              <a:gd name="connsiteY20513" fmla="*/ 4354362 h 5973007"/>
              <a:gd name="connsiteX20514" fmla="*/ 1103752 w 6884782"/>
              <a:gd name="connsiteY20514" fmla="*/ 4352401 h 5973007"/>
              <a:gd name="connsiteX20515" fmla="*/ 1105920 w 6884782"/>
              <a:gd name="connsiteY20515" fmla="*/ 4349819 h 5973007"/>
              <a:gd name="connsiteX20516" fmla="*/ 1106075 w 6884782"/>
              <a:gd name="connsiteY20516" fmla="*/ 4350026 h 5973007"/>
              <a:gd name="connsiteX20517" fmla="*/ 1107470 w 6884782"/>
              <a:gd name="connsiteY20517" fmla="*/ 4347341 h 5973007"/>
              <a:gd name="connsiteX20518" fmla="*/ 1120171 w 6884782"/>
              <a:gd name="connsiteY20518" fmla="*/ 4340629 h 5973007"/>
              <a:gd name="connsiteX20519" fmla="*/ 1126986 w 6884782"/>
              <a:gd name="connsiteY20519" fmla="*/ 4340526 h 5973007"/>
              <a:gd name="connsiteX20520" fmla="*/ 1123734 w 6884782"/>
              <a:gd name="connsiteY20520" fmla="*/ 4338358 h 5973007"/>
              <a:gd name="connsiteX20521" fmla="*/ 1116918 w 6884782"/>
              <a:gd name="connsiteY20521" fmla="*/ 4332678 h 5973007"/>
              <a:gd name="connsiteX20522" fmla="*/ 1116918 w 6884782"/>
              <a:gd name="connsiteY20522" fmla="*/ 4331852 h 5973007"/>
              <a:gd name="connsiteX20523" fmla="*/ 1118777 w 6884782"/>
              <a:gd name="connsiteY20523" fmla="*/ 4331233 h 5973007"/>
              <a:gd name="connsiteX20524" fmla="*/ 1122030 w 6884782"/>
              <a:gd name="connsiteY20524" fmla="*/ 4333401 h 5973007"/>
              <a:gd name="connsiteX20525" fmla="*/ 1127761 w 6884782"/>
              <a:gd name="connsiteY20525" fmla="*/ 4340216 h 5973007"/>
              <a:gd name="connsiteX20526" fmla="*/ 1128381 w 6884782"/>
              <a:gd name="connsiteY20526" fmla="*/ 4340526 h 5973007"/>
              <a:gd name="connsiteX20527" fmla="*/ 1130085 w 6884782"/>
              <a:gd name="connsiteY20527" fmla="*/ 4340526 h 5973007"/>
              <a:gd name="connsiteX20528" fmla="*/ 1132098 w 6884782"/>
              <a:gd name="connsiteY20528" fmla="*/ 4341455 h 5973007"/>
              <a:gd name="connsiteX20529" fmla="*/ 1134576 w 6884782"/>
              <a:gd name="connsiteY20529" fmla="*/ 4340629 h 5973007"/>
              <a:gd name="connsiteX20530" fmla="*/ 1135506 w 6884782"/>
              <a:gd name="connsiteY20530" fmla="*/ 4343417 h 5973007"/>
              <a:gd name="connsiteX20531" fmla="*/ 1136126 w 6884782"/>
              <a:gd name="connsiteY20531" fmla="*/ 4336293 h 5973007"/>
              <a:gd name="connsiteX20532" fmla="*/ 1135816 w 6884782"/>
              <a:gd name="connsiteY20532" fmla="*/ 4333505 h 5973007"/>
              <a:gd name="connsiteX20533" fmla="*/ 1135661 w 6884782"/>
              <a:gd name="connsiteY20533" fmla="*/ 4332782 h 5973007"/>
              <a:gd name="connsiteX20534" fmla="*/ 1135351 w 6884782"/>
              <a:gd name="connsiteY20534" fmla="*/ 4332678 h 5973007"/>
              <a:gd name="connsiteX20535" fmla="*/ 1134267 w 6884782"/>
              <a:gd name="connsiteY20535" fmla="*/ 4327309 h 5973007"/>
              <a:gd name="connsiteX20536" fmla="*/ 1134886 w 6884782"/>
              <a:gd name="connsiteY20536" fmla="*/ 4324625 h 5973007"/>
              <a:gd name="connsiteX20537" fmla="*/ 1134731 w 6884782"/>
              <a:gd name="connsiteY20537" fmla="*/ 4324625 h 5973007"/>
              <a:gd name="connsiteX20538" fmla="*/ 1133183 w 6884782"/>
              <a:gd name="connsiteY20538" fmla="*/ 4324315 h 5973007"/>
              <a:gd name="connsiteX20539" fmla="*/ 1132098 w 6884782"/>
              <a:gd name="connsiteY20539" fmla="*/ 4311408 h 5973007"/>
              <a:gd name="connsiteX20540" fmla="*/ 1132718 w 6884782"/>
              <a:gd name="connsiteY20540" fmla="*/ 4309652 h 5973007"/>
              <a:gd name="connsiteX20541" fmla="*/ 1131788 w 6884782"/>
              <a:gd name="connsiteY20541" fmla="*/ 4309652 h 5973007"/>
              <a:gd name="connsiteX20542" fmla="*/ 1132718 w 6884782"/>
              <a:gd name="connsiteY20542" fmla="*/ 4308826 h 5973007"/>
              <a:gd name="connsiteX20543" fmla="*/ 1132718 w 6884782"/>
              <a:gd name="connsiteY20543" fmla="*/ 4308620 h 5973007"/>
              <a:gd name="connsiteX20544" fmla="*/ 1132718 w 6884782"/>
              <a:gd name="connsiteY20544" fmla="*/ 4307794 h 5973007"/>
              <a:gd name="connsiteX20545" fmla="*/ 1135041 w 6884782"/>
              <a:gd name="connsiteY20545" fmla="*/ 4305109 h 5973007"/>
              <a:gd name="connsiteX20546" fmla="*/ 5266116 w 6884782"/>
              <a:gd name="connsiteY20546" fmla="*/ 4304817 h 5973007"/>
              <a:gd name="connsiteX20547" fmla="*/ 5280831 w 6884782"/>
              <a:gd name="connsiteY20547" fmla="*/ 4310393 h 5973007"/>
              <a:gd name="connsiteX20548" fmla="*/ 5279747 w 6884782"/>
              <a:gd name="connsiteY20548" fmla="*/ 4312148 h 5973007"/>
              <a:gd name="connsiteX20549" fmla="*/ 5277423 w 6884782"/>
              <a:gd name="connsiteY20549" fmla="*/ 4312665 h 5973007"/>
              <a:gd name="connsiteX20550" fmla="*/ 5269833 w 6884782"/>
              <a:gd name="connsiteY20550" fmla="*/ 4310186 h 5973007"/>
              <a:gd name="connsiteX20551" fmla="*/ 5268285 w 6884782"/>
              <a:gd name="connsiteY20551" fmla="*/ 4309257 h 5973007"/>
              <a:gd name="connsiteX20552" fmla="*/ 5266735 w 6884782"/>
              <a:gd name="connsiteY20552" fmla="*/ 4308431 h 5973007"/>
              <a:gd name="connsiteX20553" fmla="*/ 5265806 w 6884782"/>
              <a:gd name="connsiteY20553" fmla="*/ 4306882 h 5973007"/>
              <a:gd name="connsiteX20554" fmla="*/ 5266116 w 6884782"/>
              <a:gd name="connsiteY20554" fmla="*/ 4304817 h 5973007"/>
              <a:gd name="connsiteX20555" fmla="*/ 5883068 w 6884782"/>
              <a:gd name="connsiteY20555" fmla="*/ 4304714 h 5973007"/>
              <a:gd name="connsiteX20556" fmla="*/ 5885236 w 6884782"/>
              <a:gd name="connsiteY20556" fmla="*/ 4305437 h 5973007"/>
              <a:gd name="connsiteX20557" fmla="*/ 5888954 w 6884782"/>
              <a:gd name="connsiteY20557" fmla="*/ 4305540 h 5973007"/>
              <a:gd name="connsiteX20558" fmla="*/ 5888644 w 6884782"/>
              <a:gd name="connsiteY20558" fmla="*/ 4316898 h 5973007"/>
              <a:gd name="connsiteX20559" fmla="*/ 5879660 w 6884782"/>
              <a:gd name="connsiteY20559" fmla="*/ 4325985 h 5973007"/>
              <a:gd name="connsiteX20560" fmla="*/ 5876407 w 6884782"/>
              <a:gd name="connsiteY20560" fmla="*/ 4325778 h 5973007"/>
              <a:gd name="connsiteX20561" fmla="*/ 5869592 w 6884782"/>
              <a:gd name="connsiteY20561" fmla="*/ 4319067 h 5973007"/>
              <a:gd name="connsiteX20562" fmla="*/ 5869747 w 6884782"/>
              <a:gd name="connsiteY20562" fmla="*/ 4313181 h 5973007"/>
              <a:gd name="connsiteX20563" fmla="*/ 5883068 w 6884782"/>
              <a:gd name="connsiteY20563" fmla="*/ 4304714 h 5973007"/>
              <a:gd name="connsiteX20564" fmla="*/ 5037954 w 6884782"/>
              <a:gd name="connsiteY20564" fmla="*/ 4304404 h 5973007"/>
              <a:gd name="connsiteX20565" fmla="*/ 5045234 w 6884782"/>
              <a:gd name="connsiteY20565" fmla="*/ 4304507 h 5973007"/>
              <a:gd name="connsiteX20566" fmla="*/ 5045853 w 6884782"/>
              <a:gd name="connsiteY20566" fmla="*/ 4307089 h 5973007"/>
              <a:gd name="connsiteX20567" fmla="*/ 5040432 w 6884782"/>
              <a:gd name="connsiteY20567" fmla="*/ 4310186 h 5973007"/>
              <a:gd name="connsiteX20568" fmla="*/ 5038263 w 6884782"/>
              <a:gd name="connsiteY20568" fmla="*/ 4308741 h 5973007"/>
              <a:gd name="connsiteX20569" fmla="*/ 5037489 w 6884782"/>
              <a:gd name="connsiteY20569" fmla="*/ 4306882 h 5973007"/>
              <a:gd name="connsiteX20570" fmla="*/ 5037954 w 6884782"/>
              <a:gd name="connsiteY20570" fmla="*/ 4304404 h 5973007"/>
              <a:gd name="connsiteX20571" fmla="*/ 5375937 w 6884782"/>
              <a:gd name="connsiteY20571" fmla="*/ 4304301 h 5973007"/>
              <a:gd name="connsiteX20572" fmla="*/ 5377331 w 6884782"/>
              <a:gd name="connsiteY20572" fmla="*/ 4307811 h 5973007"/>
              <a:gd name="connsiteX20573" fmla="*/ 5372220 w 6884782"/>
              <a:gd name="connsiteY20573" fmla="*/ 4309464 h 5973007"/>
              <a:gd name="connsiteX20574" fmla="*/ 5370826 w 6884782"/>
              <a:gd name="connsiteY20574" fmla="*/ 4305953 h 5973007"/>
              <a:gd name="connsiteX20575" fmla="*/ 5375937 w 6884782"/>
              <a:gd name="connsiteY20575" fmla="*/ 4304301 h 5973007"/>
              <a:gd name="connsiteX20576" fmla="*/ 1541799 w 6884782"/>
              <a:gd name="connsiteY20576" fmla="*/ 4304076 h 5973007"/>
              <a:gd name="connsiteX20577" fmla="*/ 1542108 w 6884782"/>
              <a:gd name="connsiteY20577" fmla="*/ 4308413 h 5973007"/>
              <a:gd name="connsiteX20578" fmla="*/ 1541489 w 6884782"/>
              <a:gd name="connsiteY20578" fmla="*/ 4309343 h 5973007"/>
              <a:gd name="connsiteX20579" fmla="*/ 1541489 w 6884782"/>
              <a:gd name="connsiteY20579" fmla="*/ 4310272 h 5973007"/>
              <a:gd name="connsiteX20580" fmla="*/ 1539785 w 6884782"/>
              <a:gd name="connsiteY20580" fmla="*/ 4311821 h 5973007"/>
              <a:gd name="connsiteX20581" fmla="*/ 1538237 w 6884782"/>
              <a:gd name="connsiteY20581" fmla="*/ 4310685 h 5973007"/>
              <a:gd name="connsiteX20582" fmla="*/ 1536532 w 6884782"/>
              <a:gd name="connsiteY20582" fmla="*/ 4310478 h 5973007"/>
              <a:gd name="connsiteX20583" fmla="*/ 1536532 w 6884782"/>
              <a:gd name="connsiteY20583" fmla="*/ 4309652 h 5973007"/>
              <a:gd name="connsiteX20584" fmla="*/ 1535758 w 6884782"/>
              <a:gd name="connsiteY20584" fmla="*/ 4308723 h 5973007"/>
              <a:gd name="connsiteX20585" fmla="*/ 1537462 w 6884782"/>
              <a:gd name="connsiteY20585" fmla="*/ 4305419 h 5973007"/>
              <a:gd name="connsiteX20586" fmla="*/ 1539165 w 6884782"/>
              <a:gd name="connsiteY20586" fmla="*/ 4304490 h 5973007"/>
              <a:gd name="connsiteX20587" fmla="*/ 1539630 w 6884782"/>
              <a:gd name="connsiteY20587" fmla="*/ 4304696 h 5973007"/>
              <a:gd name="connsiteX20588" fmla="*/ 1539785 w 6884782"/>
              <a:gd name="connsiteY20588" fmla="*/ 4304490 h 5973007"/>
              <a:gd name="connsiteX20589" fmla="*/ 1541799 w 6884782"/>
              <a:gd name="connsiteY20589" fmla="*/ 4304076 h 5973007"/>
              <a:gd name="connsiteX20590" fmla="*/ 5940070 w 6884782"/>
              <a:gd name="connsiteY20590" fmla="*/ 4303062 h 5973007"/>
              <a:gd name="connsiteX20591" fmla="*/ 5943167 w 6884782"/>
              <a:gd name="connsiteY20591" fmla="*/ 4305953 h 5973007"/>
              <a:gd name="connsiteX20592" fmla="*/ 5941774 w 6884782"/>
              <a:gd name="connsiteY20592" fmla="*/ 4308638 h 5973007"/>
              <a:gd name="connsiteX20593" fmla="*/ 5940844 w 6884782"/>
              <a:gd name="connsiteY20593" fmla="*/ 4309051 h 5973007"/>
              <a:gd name="connsiteX20594" fmla="*/ 5940999 w 6884782"/>
              <a:gd name="connsiteY20594" fmla="*/ 4311632 h 5973007"/>
              <a:gd name="connsiteX20595" fmla="*/ 5936042 w 6884782"/>
              <a:gd name="connsiteY20595" fmla="*/ 4316382 h 5973007"/>
              <a:gd name="connsiteX20596" fmla="*/ 5931241 w 6884782"/>
              <a:gd name="connsiteY20596" fmla="*/ 4314936 h 5973007"/>
              <a:gd name="connsiteX20597" fmla="*/ 5934184 w 6884782"/>
              <a:gd name="connsiteY20597" fmla="*/ 4304817 h 5973007"/>
              <a:gd name="connsiteX20598" fmla="*/ 5934338 w 6884782"/>
              <a:gd name="connsiteY20598" fmla="*/ 4304817 h 5973007"/>
              <a:gd name="connsiteX20599" fmla="*/ 5940070 w 6884782"/>
              <a:gd name="connsiteY20599" fmla="*/ 4303062 h 5973007"/>
              <a:gd name="connsiteX20600" fmla="*/ 1190959 w 6884782"/>
              <a:gd name="connsiteY20600" fmla="*/ 4302941 h 5973007"/>
              <a:gd name="connsiteX20601" fmla="*/ 1185847 w 6884782"/>
              <a:gd name="connsiteY20601" fmla="*/ 4323179 h 5973007"/>
              <a:gd name="connsiteX20602" fmla="*/ 1181975 w 6884782"/>
              <a:gd name="connsiteY20602" fmla="*/ 4319772 h 5973007"/>
              <a:gd name="connsiteX20603" fmla="*/ 1182439 w 6884782"/>
              <a:gd name="connsiteY20603" fmla="*/ 4303457 h 5973007"/>
              <a:gd name="connsiteX20604" fmla="*/ 1190959 w 6884782"/>
              <a:gd name="connsiteY20604" fmla="*/ 4302941 h 5973007"/>
              <a:gd name="connsiteX20605" fmla="*/ 1216052 w 6884782"/>
              <a:gd name="connsiteY20605" fmla="*/ 4302837 h 5973007"/>
              <a:gd name="connsiteX20606" fmla="*/ 1204590 w 6884782"/>
              <a:gd name="connsiteY20606" fmla="*/ 4326277 h 5973007"/>
              <a:gd name="connsiteX20607" fmla="*/ 1197619 w 6884782"/>
              <a:gd name="connsiteY20607" fmla="*/ 4321217 h 5973007"/>
              <a:gd name="connsiteX20608" fmla="*/ 1216052 w 6884782"/>
              <a:gd name="connsiteY20608" fmla="*/ 4302837 h 5973007"/>
              <a:gd name="connsiteX20609" fmla="*/ 5774640 w 6884782"/>
              <a:gd name="connsiteY20609" fmla="*/ 4302545 h 5973007"/>
              <a:gd name="connsiteX20610" fmla="*/ 5777428 w 6884782"/>
              <a:gd name="connsiteY20610" fmla="*/ 4304301 h 5973007"/>
              <a:gd name="connsiteX20611" fmla="*/ 5776654 w 6884782"/>
              <a:gd name="connsiteY20611" fmla="*/ 4306986 h 5973007"/>
              <a:gd name="connsiteX20612" fmla="*/ 5775260 w 6884782"/>
              <a:gd name="connsiteY20612" fmla="*/ 4304817 h 5973007"/>
              <a:gd name="connsiteX20613" fmla="*/ 5774640 w 6884782"/>
              <a:gd name="connsiteY20613" fmla="*/ 4302545 h 5973007"/>
              <a:gd name="connsiteX20614" fmla="*/ 1511459 w 6884782"/>
              <a:gd name="connsiteY20614" fmla="*/ 4302257 h 5973007"/>
              <a:gd name="connsiteX20615" fmla="*/ 1519494 w 6884782"/>
              <a:gd name="connsiteY20615" fmla="*/ 4308207 h 5973007"/>
              <a:gd name="connsiteX20616" fmla="*/ 1514072 w 6884782"/>
              <a:gd name="connsiteY20616" fmla="*/ 4312853 h 5973007"/>
              <a:gd name="connsiteX20617" fmla="*/ 1515776 w 6884782"/>
              <a:gd name="connsiteY20617" fmla="*/ 4313679 h 5973007"/>
              <a:gd name="connsiteX20618" fmla="*/ 1516706 w 6884782"/>
              <a:gd name="connsiteY20618" fmla="*/ 4317397 h 5973007"/>
              <a:gd name="connsiteX20619" fmla="*/ 1517016 w 6884782"/>
              <a:gd name="connsiteY20619" fmla="*/ 4317293 h 5973007"/>
              <a:gd name="connsiteX20620" fmla="*/ 1520733 w 6884782"/>
              <a:gd name="connsiteY20620" fmla="*/ 4323179 h 5973007"/>
              <a:gd name="connsiteX20621" fmla="*/ 1513918 w 6884782"/>
              <a:gd name="connsiteY20621" fmla="*/ 4327619 h 5973007"/>
              <a:gd name="connsiteX20622" fmla="*/ 1510355 w 6884782"/>
              <a:gd name="connsiteY20622" fmla="*/ 4317913 h 5973007"/>
              <a:gd name="connsiteX20623" fmla="*/ 1511129 w 6884782"/>
              <a:gd name="connsiteY20623" fmla="*/ 4317913 h 5973007"/>
              <a:gd name="connsiteX20624" fmla="*/ 1509426 w 6884782"/>
              <a:gd name="connsiteY20624" fmla="*/ 4317190 h 5973007"/>
              <a:gd name="connsiteX20625" fmla="*/ 1509271 w 6884782"/>
              <a:gd name="connsiteY20625" fmla="*/ 4316674 h 5973007"/>
              <a:gd name="connsiteX20626" fmla="*/ 1504159 w 6884782"/>
              <a:gd name="connsiteY20626" fmla="*/ 4319978 h 5973007"/>
              <a:gd name="connsiteX20627" fmla="*/ 1500596 w 6884782"/>
              <a:gd name="connsiteY20627" fmla="*/ 4316571 h 5973007"/>
              <a:gd name="connsiteX20628" fmla="*/ 1500286 w 6884782"/>
              <a:gd name="connsiteY20628" fmla="*/ 4315022 h 5973007"/>
              <a:gd name="connsiteX20629" fmla="*/ 1499822 w 6884782"/>
              <a:gd name="connsiteY20629" fmla="*/ 4316571 h 5973007"/>
              <a:gd name="connsiteX20630" fmla="*/ 1498428 w 6884782"/>
              <a:gd name="connsiteY20630" fmla="*/ 4309652 h 5973007"/>
              <a:gd name="connsiteX20631" fmla="*/ 1500132 w 6884782"/>
              <a:gd name="connsiteY20631" fmla="*/ 4311717 h 5973007"/>
              <a:gd name="connsiteX20632" fmla="*/ 1503539 w 6884782"/>
              <a:gd name="connsiteY20632" fmla="*/ 4305212 h 5973007"/>
              <a:gd name="connsiteX20633" fmla="*/ 1511459 w 6884782"/>
              <a:gd name="connsiteY20633" fmla="*/ 4302257 h 5973007"/>
              <a:gd name="connsiteX20634" fmla="*/ 5972133 w 6884782"/>
              <a:gd name="connsiteY20634" fmla="*/ 4302029 h 5973007"/>
              <a:gd name="connsiteX20635" fmla="*/ 5969965 w 6884782"/>
              <a:gd name="connsiteY20635" fmla="*/ 4304611 h 5973007"/>
              <a:gd name="connsiteX20636" fmla="*/ 5968880 w 6884782"/>
              <a:gd name="connsiteY20636" fmla="*/ 4304507 h 5973007"/>
              <a:gd name="connsiteX20637" fmla="*/ 5972133 w 6884782"/>
              <a:gd name="connsiteY20637" fmla="*/ 4302029 h 5973007"/>
              <a:gd name="connsiteX20638" fmla="*/ 5772782 w 6884782"/>
              <a:gd name="connsiteY20638" fmla="*/ 4301203 h 5973007"/>
              <a:gd name="connsiteX20639" fmla="*/ 5774176 w 6884782"/>
              <a:gd name="connsiteY20639" fmla="*/ 4302133 h 5973007"/>
              <a:gd name="connsiteX20640" fmla="*/ 5773711 w 6884782"/>
              <a:gd name="connsiteY20640" fmla="*/ 4302855 h 5973007"/>
              <a:gd name="connsiteX20641" fmla="*/ 5772782 w 6884782"/>
              <a:gd name="connsiteY20641" fmla="*/ 4302029 h 5973007"/>
              <a:gd name="connsiteX20642" fmla="*/ 5772782 w 6884782"/>
              <a:gd name="connsiteY20642" fmla="*/ 4301203 h 5973007"/>
              <a:gd name="connsiteX20643" fmla="*/ 1375750 w 6884782"/>
              <a:gd name="connsiteY20643" fmla="*/ 4300049 h 5973007"/>
              <a:gd name="connsiteX20644" fmla="*/ 1380552 w 6884782"/>
              <a:gd name="connsiteY20644" fmla="*/ 4307174 h 5973007"/>
              <a:gd name="connsiteX20645" fmla="*/ 1376060 w 6884782"/>
              <a:gd name="connsiteY20645" fmla="*/ 4308000 h 5973007"/>
              <a:gd name="connsiteX20646" fmla="*/ 1372342 w 6884782"/>
              <a:gd name="connsiteY20646" fmla="*/ 4307587 h 5973007"/>
              <a:gd name="connsiteX20647" fmla="*/ 1367695 w 6884782"/>
              <a:gd name="connsiteY20647" fmla="*/ 4301702 h 5973007"/>
              <a:gd name="connsiteX20648" fmla="*/ 1375750 w 6884782"/>
              <a:gd name="connsiteY20648" fmla="*/ 4300049 h 5973007"/>
              <a:gd name="connsiteX20649" fmla="*/ 5515809 w 6884782"/>
              <a:gd name="connsiteY20649" fmla="*/ 4299964 h 5973007"/>
              <a:gd name="connsiteX20650" fmla="*/ 5518907 w 6884782"/>
              <a:gd name="connsiteY20650" fmla="*/ 4305334 h 5973007"/>
              <a:gd name="connsiteX20651" fmla="*/ 5513021 w 6884782"/>
              <a:gd name="connsiteY20651" fmla="*/ 4312148 h 5973007"/>
              <a:gd name="connsiteX20652" fmla="*/ 5510077 w 6884782"/>
              <a:gd name="connsiteY20652" fmla="*/ 4312045 h 5973007"/>
              <a:gd name="connsiteX20653" fmla="*/ 5506825 w 6884782"/>
              <a:gd name="connsiteY20653" fmla="*/ 4308947 h 5973007"/>
              <a:gd name="connsiteX20654" fmla="*/ 5515809 w 6884782"/>
              <a:gd name="connsiteY20654" fmla="*/ 4299964 h 5973007"/>
              <a:gd name="connsiteX20655" fmla="*/ 5425039 w 6884782"/>
              <a:gd name="connsiteY20655" fmla="*/ 4299654 h 5973007"/>
              <a:gd name="connsiteX20656" fmla="*/ 5425504 w 6884782"/>
              <a:gd name="connsiteY20656" fmla="*/ 4300067 h 5973007"/>
              <a:gd name="connsiteX20657" fmla="*/ 5433868 w 6884782"/>
              <a:gd name="connsiteY20657" fmla="*/ 4304404 h 5973007"/>
              <a:gd name="connsiteX20658" fmla="*/ 5434952 w 6884782"/>
              <a:gd name="connsiteY20658" fmla="*/ 4309567 h 5973007"/>
              <a:gd name="connsiteX20659" fmla="*/ 5432475 w 6884782"/>
              <a:gd name="connsiteY20659" fmla="*/ 4310496 h 5973007"/>
              <a:gd name="connsiteX20660" fmla="*/ 5428602 w 6884782"/>
              <a:gd name="connsiteY20660" fmla="*/ 4308225 h 5973007"/>
              <a:gd name="connsiteX20661" fmla="*/ 5428602 w 6884782"/>
              <a:gd name="connsiteY20661" fmla="*/ 4310083 h 5973007"/>
              <a:gd name="connsiteX20662" fmla="*/ 5426589 w 6884782"/>
              <a:gd name="connsiteY20662" fmla="*/ 4314213 h 5973007"/>
              <a:gd name="connsiteX20663" fmla="*/ 5420392 w 6884782"/>
              <a:gd name="connsiteY20663" fmla="*/ 4310290 h 5973007"/>
              <a:gd name="connsiteX20664" fmla="*/ 5420702 w 6884782"/>
              <a:gd name="connsiteY20664" fmla="*/ 4300894 h 5973007"/>
              <a:gd name="connsiteX20665" fmla="*/ 5425039 w 6884782"/>
              <a:gd name="connsiteY20665" fmla="*/ 4299654 h 5973007"/>
              <a:gd name="connsiteX20666" fmla="*/ 5473831 w 6884782"/>
              <a:gd name="connsiteY20666" fmla="*/ 4299344 h 5973007"/>
              <a:gd name="connsiteX20667" fmla="*/ 5477239 w 6884782"/>
              <a:gd name="connsiteY20667" fmla="*/ 4306160 h 5973007"/>
              <a:gd name="connsiteX20668" fmla="*/ 5475690 w 6884782"/>
              <a:gd name="connsiteY20668" fmla="*/ 4307089 h 5973007"/>
              <a:gd name="connsiteX20669" fmla="*/ 5473831 w 6884782"/>
              <a:gd name="connsiteY20669" fmla="*/ 4307708 h 5973007"/>
              <a:gd name="connsiteX20670" fmla="*/ 5471663 w 6884782"/>
              <a:gd name="connsiteY20670" fmla="*/ 4307708 h 5973007"/>
              <a:gd name="connsiteX20671" fmla="*/ 5469030 w 6884782"/>
              <a:gd name="connsiteY20671" fmla="*/ 4306572 h 5973007"/>
              <a:gd name="connsiteX20672" fmla="*/ 5466861 w 6884782"/>
              <a:gd name="connsiteY20672" fmla="*/ 4303268 h 5973007"/>
              <a:gd name="connsiteX20673" fmla="*/ 5466707 w 6884782"/>
              <a:gd name="connsiteY20673" fmla="*/ 4301410 h 5973007"/>
              <a:gd name="connsiteX20674" fmla="*/ 5473831 w 6884782"/>
              <a:gd name="connsiteY20674" fmla="*/ 4299344 h 5973007"/>
              <a:gd name="connsiteX20675" fmla="*/ 1361190 w 6884782"/>
              <a:gd name="connsiteY20675" fmla="*/ 4299327 h 5973007"/>
              <a:gd name="connsiteX20676" fmla="*/ 1363978 w 6884782"/>
              <a:gd name="connsiteY20676" fmla="*/ 4305522 h 5973007"/>
              <a:gd name="connsiteX20677" fmla="*/ 1358557 w 6884782"/>
              <a:gd name="connsiteY20677" fmla="*/ 4304386 h 5973007"/>
              <a:gd name="connsiteX20678" fmla="*/ 1361190 w 6884782"/>
              <a:gd name="connsiteY20678" fmla="*/ 4299327 h 5973007"/>
              <a:gd name="connsiteX20679" fmla="*/ 5533157 w 6884782"/>
              <a:gd name="connsiteY20679" fmla="*/ 4299241 h 5973007"/>
              <a:gd name="connsiteX20680" fmla="*/ 5535635 w 6884782"/>
              <a:gd name="connsiteY20680" fmla="*/ 4299861 h 5973007"/>
              <a:gd name="connsiteX20681" fmla="*/ 5535480 w 6884782"/>
              <a:gd name="connsiteY20681" fmla="*/ 4302855 h 5973007"/>
              <a:gd name="connsiteX20682" fmla="*/ 5537804 w 6884782"/>
              <a:gd name="connsiteY20682" fmla="*/ 4305437 h 5973007"/>
              <a:gd name="connsiteX20683" fmla="*/ 5537649 w 6884782"/>
              <a:gd name="connsiteY20683" fmla="*/ 4308534 h 5973007"/>
              <a:gd name="connsiteX20684" fmla="*/ 5536720 w 6884782"/>
              <a:gd name="connsiteY20684" fmla="*/ 4308741 h 5973007"/>
              <a:gd name="connsiteX20685" fmla="*/ 5537029 w 6884782"/>
              <a:gd name="connsiteY20685" fmla="*/ 4308018 h 5973007"/>
              <a:gd name="connsiteX20686" fmla="*/ 5536565 w 6884782"/>
              <a:gd name="connsiteY20686" fmla="*/ 4305746 h 5973007"/>
              <a:gd name="connsiteX20687" fmla="*/ 5532847 w 6884782"/>
              <a:gd name="connsiteY20687" fmla="*/ 4301203 h 5973007"/>
              <a:gd name="connsiteX20688" fmla="*/ 5533157 w 6884782"/>
              <a:gd name="connsiteY20688" fmla="*/ 4299241 h 5973007"/>
              <a:gd name="connsiteX20689" fmla="*/ 1299231 w 6884782"/>
              <a:gd name="connsiteY20689" fmla="*/ 4299017 h 5973007"/>
              <a:gd name="connsiteX20690" fmla="*/ 1315341 w 6884782"/>
              <a:gd name="connsiteY20690" fmla="*/ 4305315 h 5973007"/>
              <a:gd name="connsiteX20691" fmla="*/ 1319367 w 6884782"/>
              <a:gd name="connsiteY20691" fmla="*/ 4326793 h 5973007"/>
              <a:gd name="connsiteX20692" fmla="*/ 1304962 w 6884782"/>
              <a:gd name="connsiteY20692" fmla="*/ 4332575 h 5973007"/>
              <a:gd name="connsiteX20693" fmla="*/ 1296598 w 6884782"/>
              <a:gd name="connsiteY20693" fmla="*/ 4329374 h 5973007"/>
              <a:gd name="connsiteX20694" fmla="*/ 1293810 w 6884782"/>
              <a:gd name="connsiteY20694" fmla="*/ 4306555 h 5973007"/>
              <a:gd name="connsiteX20695" fmla="*/ 1296598 w 6884782"/>
              <a:gd name="connsiteY20695" fmla="*/ 4304076 h 5973007"/>
              <a:gd name="connsiteX20696" fmla="*/ 1299231 w 6884782"/>
              <a:gd name="connsiteY20696" fmla="*/ 4299017 h 5973007"/>
              <a:gd name="connsiteX20697" fmla="*/ 5770458 w 6884782"/>
              <a:gd name="connsiteY20697" fmla="*/ 4298725 h 5973007"/>
              <a:gd name="connsiteX20698" fmla="*/ 5770303 w 6884782"/>
              <a:gd name="connsiteY20698" fmla="*/ 4300584 h 5973007"/>
              <a:gd name="connsiteX20699" fmla="*/ 5769219 w 6884782"/>
              <a:gd name="connsiteY20699" fmla="*/ 4298932 h 5973007"/>
              <a:gd name="connsiteX20700" fmla="*/ 5770458 w 6884782"/>
              <a:gd name="connsiteY20700" fmla="*/ 4298725 h 5973007"/>
              <a:gd name="connsiteX20701" fmla="*/ 725960 w 6884782"/>
              <a:gd name="connsiteY20701" fmla="*/ 4298501 h 5973007"/>
              <a:gd name="connsiteX20702" fmla="*/ 721623 w 6884782"/>
              <a:gd name="connsiteY20702" fmla="*/ 4300153 h 5973007"/>
              <a:gd name="connsiteX20703" fmla="*/ 716511 w 6884782"/>
              <a:gd name="connsiteY20703" fmla="*/ 4301599 h 5973007"/>
              <a:gd name="connsiteX20704" fmla="*/ 718216 w 6884782"/>
              <a:gd name="connsiteY20704" fmla="*/ 4302114 h 5973007"/>
              <a:gd name="connsiteX20705" fmla="*/ 721468 w 6884782"/>
              <a:gd name="connsiteY20705" fmla="*/ 4302114 h 5973007"/>
              <a:gd name="connsiteX20706" fmla="*/ 724101 w 6884782"/>
              <a:gd name="connsiteY20706" fmla="*/ 4300669 h 5973007"/>
              <a:gd name="connsiteX20707" fmla="*/ 5952152 w 6884782"/>
              <a:gd name="connsiteY20707" fmla="*/ 4297486 h 5973007"/>
              <a:gd name="connsiteX20708" fmla="*/ 5951687 w 6884782"/>
              <a:gd name="connsiteY20708" fmla="*/ 4303372 h 5973007"/>
              <a:gd name="connsiteX20709" fmla="*/ 5946575 w 6884782"/>
              <a:gd name="connsiteY20709" fmla="*/ 4302133 h 5973007"/>
              <a:gd name="connsiteX20710" fmla="*/ 5952152 w 6884782"/>
              <a:gd name="connsiteY20710" fmla="*/ 4297486 h 5973007"/>
              <a:gd name="connsiteX20711" fmla="*/ 5629038 w 6884782"/>
              <a:gd name="connsiteY20711" fmla="*/ 4297383 h 5973007"/>
              <a:gd name="connsiteX20712" fmla="*/ 5651653 w 6884782"/>
              <a:gd name="connsiteY20712" fmla="*/ 4306572 h 5973007"/>
              <a:gd name="connsiteX20713" fmla="*/ 5655990 w 6884782"/>
              <a:gd name="connsiteY20713" fmla="*/ 4312562 h 5973007"/>
              <a:gd name="connsiteX20714" fmla="*/ 5639725 w 6884782"/>
              <a:gd name="connsiteY20714" fmla="*/ 4310703 h 5973007"/>
              <a:gd name="connsiteX20715" fmla="*/ 5633375 w 6884782"/>
              <a:gd name="connsiteY20715" fmla="*/ 4326501 h 5973007"/>
              <a:gd name="connsiteX20716" fmla="*/ 5631361 w 6884782"/>
              <a:gd name="connsiteY20716" fmla="*/ 4322474 h 5973007"/>
              <a:gd name="connsiteX20717" fmla="*/ 5633220 w 6884782"/>
              <a:gd name="connsiteY20717" fmla="*/ 4306779 h 5973007"/>
              <a:gd name="connsiteX20718" fmla="*/ 5629038 w 6884782"/>
              <a:gd name="connsiteY20718" fmla="*/ 4297383 h 5973007"/>
              <a:gd name="connsiteX20719" fmla="*/ 1398985 w 6884782"/>
              <a:gd name="connsiteY20719" fmla="*/ 4297262 h 5973007"/>
              <a:gd name="connsiteX20720" fmla="*/ 1397745 w 6884782"/>
              <a:gd name="connsiteY20720" fmla="*/ 4303973 h 5973007"/>
              <a:gd name="connsiteX20721" fmla="*/ 1395577 w 6884782"/>
              <a:gd name="connsiteY20721" fmla="*/ 4304076 h 5973007"/>
              <a:gd name="connsiteX20722" fmla="*/ 1394492 w 6884782"/>
              <a:gd name="connsiteY20722" fmla="*/ 4302941 h 5973007"/>
              <a:gd name="connsiteX20723" fmla="*/ 1393563 w 6884782"/>
              <a:gd name="connsiteY20723" fmla="*/ 4298914 h 5973007"/>
              <a:gd name="connsiteX20724" fmla="*/ 1398985 w 6884782"/>
              <a:gd name="connsiteY20724" fmla="*/ 4297262 h 5973007"/>
              <a:gd name="connsiteX20725" fmla="*/ 5662495 w 6884782"/>
              <a:gd name="connsiteY20725" fmla="*/ 4296763 h 5973007"/>
              <a:gd name="connsiteX20726" fmla="*/ 5667917 w 6884782"/>
              <a:gd name="connsiteY20726" fmla="*/ 4301306 h 5973007"/>
              <a:gd name="connsiteX20727" fmla="*/ 5663890 w 6884782"/>
              <a:gd name="connsiteY20727" fmla="*/ 4300480 h 5973007"/>
              <a:gd name="connsiteX20728" fmla="*/ 5662495 w 6884782"/>
              <a:gd name="connsiteY20728" fmla="*/ 4296763 h 5973007"/>
              <a:gd name="connsiteX20729" fmla="*/ 5562587 w 6884782"/>
              <a:gd name="connsiteY20729" fmla="*/ 4296660 h 5973007"/>
              <a:gd name="connsiteX20730" fmla="*/ 5570332 w 6884782"/>
              <a:gd name="connsiteY20730" fmla="*/ 4298828 h 5973007"/>
              <a:gd name="connsiteX20731" fmla="*/ 5560574 w 6884782"/>
              <a:gd name="connsiteY20731" fmla="*/ 4315039 h 5973007"/>
              <a:gd name="connsiteX20732" fmla="*/ 5558560 w 6884782"/>
              <a:gd name="connsiteY20732" fmla="*/ 4311012 h 5973007"/>
              <a:gd name="connsiteX20733" fmla="*/ 5562587 w 6884782"/>
              <a:gd name="connsiteY20733" fmla="*/ 4296660 h 5973007"/>
              <a:gd name="connsiteX20734" fmla="*/ 5859330 w 6884782"/>
              <a:gd name="connsiteY20734" fmla="*/ 4296363 h 5973007"/>
              <a:gd name="connsiteX20735" fmla="*/ 5864016 w 6884782"/>
              <a:gd name="connsiteY20735" fmla="*/ 4299138 h 5973007"/>
              <a:gd name="connsiteX20736" fmla="*/ 5863241 w 6884782"/>
              <a:gd name="connsiteY20736" fmla="*/ 4300687 h 5973007"/>
              <a:gd name="connsiteX20737" fmla="*/ 5865100 w 6884782"/>
              <a:gd name="connsiteY20737" fmla="*/ 4300480 h 5973007"/>
              <a:gd name="connsiteX20738" fmla="*/ 5867888 w 6884782"/>
              <a:gd name="connsiteY20738" fmla="*/ 4300997 h 5973007"/>
              <a:gd name="connsiteX20739" fmla="*/ 5868508 w 6884782"/>
              <a:gd name="connsiteY20739" fmla="*/ 4307295 h 5973007"/>
              <a:gd name="connsiteX20740" fmla="*/ 5866494 w 6884782"/>
              <a:gd name="connsiteY20740" fmla="*/ 4309257 h 5973007"/>
              <a:gd name="connsiteX20741" fmla="*/ 5861537 w 6884782"/>
              <a:gd name="connsiteY20741" fmla="*/ 4310806 h 5973007"/>
              <a:gd name="connsiteX20742" fmla="*/ 5861692 w 6884782"/>
              <a:gd name="connsiteY20742" fmla="*/ 4311529 h 5973007"/>
              <a:gd name="connsiteX20743" fmla="*/ 5859214 w 6884782"/>
              <a:gd name="connsiteY20743" fmla="*/ 4307295 h 5973007"/>
              <a:gd name="connsiteX20744" fmla="*/ 5859369 w 6884782"/>
              <a:gd name="connsiteY20744" fmla="*/ 4306572 h 5973007"/>
              <a:gd name="connsiteX20745" fmla="*/ 5858904 w 6884782"/>
              <a:gd name="connsiteY20745" fmla="*/ 4307192 h 5973007"/>
              <a:gd name="connsiteX20746" fmla="*/ 5854257 w 6884782"/>
              <a:gd name="connsiteY20746" fmla="*/ 4303372 h 5973007"/>
              <a:gd name="connsiteX20747" fmla="*/ 5853947 w 6884782"/>
              <a:gd name="connsiteY20747" fmla="*/ 4296763 h 5973007"/>
              <a:gd name="connsiteX20748" fmla="*/ 5859330 w 6884782"/>
              <a:gd name="connsiteY20748" fmla="*/ 4296363 h 5973007"/>
              <a:gd name="connsiteX20749" fmla="*/ 5933409 w 6884782"/>
              <a:gd name="connsiteY20749" fmla="*/ 4296350 h 5973007"/>
              <a:gd name="connsiteX20750" fmla="*/ 5938985 w 6884782"/>
              <a:gd name="connsiteY20750" fmla="*/ 4299654 h 5973007"/>
              <a:gd name="connsiteX20751" fmla="*/ 5937746 w 6884782"/>
              <a:gd name="connsiteY20751" fmla="*/ 4299861 h 5973007"/>
              <a:gd name="connsiteX20752" fmla="*/ 5936197 w 6884782"/>
              <a:gd name="connsiteY20752" fmla="*/ 4298828 h 5973007"/>
              <a:gd name="connsiteX20753" fmla="*/ 5933409 w 6884782"/>
              <a:gd name="connsiteY20753" fmla="*/ 4296350 h 5973007"/>
              <a:gd name="connsiteX20754" fmla="*/ 5542915 w 6884782"/>
              <a:gd name="connsiteY20754" fmla="*/ 4296247 h 5973007"/>
              <a:gd name="connsiteX20755" fmla="*/ 5550196 w 6884782"/>
              <a:gd name="connsiteY20755" fmla="*/ 4323610 h 5973007"/>
              <a:gd name="connsiteX20756" fmla="*/ 5542915 w 6884782"/>
              <a:gd name="connsiteY20756" fmla="*/ 4296247 h 5973007"/>
              <a:gd name="connsiteX20757" fmla="*/ 5474142 w 6884782"/>
              <a:gd name="connsiteY20757" fmla="*/ 4296247 h 5973007"/>
              <a:gd name="connsiteX20758" fmla="*/ 5475535 w 6884782"/>
              <a:gd name="connsiteY20758" fmla="*/ 4296247 h 5973007"/>
              <a:gd name="connsiteX20759" fmla="*/ 5474761 w 6884782"/>
              <a:gd name="connsiteY20759" fmla="*/ 4296970 h 5973007"/>
              <a:gd name="connsiteX20760" fmla="*/ 5474142 w 6884782"/>
              <a:gd name="connsiteY20760" fmla="*/ 4296247 h 5973007"/>
              <a:gd name="connsiteX20761" fmla="*/ 5476620 w 6884782"/>
              <a:gd name="connsiteY20761" fmla="*/ 4295731 h 5973007"/>
              <a:gd name="connsiteX20762" fmla="*/ 5478014 w 6884782"/>
              <a:gd name="connsiteY20762" fmla="*/ 4299035 h 5973007"/>
              <a:gd name="connsiteX20763" fmla="*/ 5476620 w 6884782"/>
              <a:gd name="connsiteY20763" fmla="*/ 4299654 h 5973007"/>
              <a:gd name="connsiteX20764" fmla="*/ 5474451 w 6884782"/>
              <a:gd name="connsiteY20764" fmla="*/ 4298415 h 5973007"/>
              <a:gd name="connsiteX20765" fmla="*/ 1187396 w 6884782"/>
              <a:gd name="connsiteY20765" fmla="*/ 4295197 h 5973007"/>
              <a:gd name="connsiteX20766" fmla="*/ 1191113 w 6884782"/>
              <a:gd name="connsiteY20766" fmla="*/ 4299637 h 5973007"/>
              <a:gd name="connsiteX20767" fmla="*/ 1189255 w 6884782"/>
              <a:gd name="connsiteY20767" fmla="*/ 4300669 h 5973007"/>
              <a:gd name="connsiteX20768" fmla="*/ 1185692 w 6884782"/>
              <a:gd name="connsiteY20768" fmla="*/ 4297158 h 5973007"/>
              <a:gd name="connsiteX20769" fmla="*/ 1187396 w 6884782"/>
              <a:gd name="connsiteY20769" fmla="*/ 4295197 h 5973007"/>
              <a:gd name="connsiteX20770" fmla="*/ 5485294 w 6884782"/>
              <a:gd name="connsiteY20770" fmla="*/ 4291600 h 5973007"/>
              <a:gd name="connsiteX20771" fmla="*/ 5487153 w 6884782"/>
              <a:gd name="connsiteY20771" fmla="*/ 4293252 h 5973007"/>
              <a:gd name="connsiteX20772" fmla="*/ 5487927 w 6884782"/>
              <a:gd name="connsiteY20772" fmla="*/ 4298415 h 5973007"/>
              <a:gd name="connsiteX20773" fmla="*/ 5486378 w 6884782"/>
              <a:gd name="connsiteY20773" fmla="*/ 4299344 h 5973007"/>
              <a:gd name="connsiteX20774" fmla="*/ 5483745 w 6884782"/>
              <a:gd name="connsiteY20774" fmla="*/ 4292633 h 5973007"/>
              <a:gd name="connsiteX20775" fmla="*/ 5485294 w 6884782"/>
              <a:gd name="connsiteY20775" fmla="*/ 4291600 h 5973007"/>
              <a:gd name="connsiteX20776" fmla="*/ 1470547 w 6884782"/>
              <a:gd name="connsiteY20776" fmla="*/ 4291273 h 5973007"/>
              <a:gd name="connsiteX20777" fmla="*/ 1476742 w 6884782"/>
              <a:gd name="connsiteY20777" fmla="*/ 4298501 h 5973007"/>
              <a:gd name="connsiteX20778" fmla="*/ 1476433 w 6884782"/>
              <a:gd name="connsiteY20778" fmla="*/ 4304490 h 5973007"/>
              <a:gd name="connsiteX20779" fmla="*/ 1474729 w 6884782"/>
              <a:gd name="connsiteY20779" fmla="*/ 4306968 h 5973007"/>
              <a:gd name="connsiteX20780" fmla="*/ 1480925 w 6884782"/>
              <a:gd name="connsiteY20780" fmla="*/ 4304180 h 5973007"/>
              <a:gd name="connsiteX20781" fmla="*/ 1495639 w 6884782"/>
              <a:gd name="connsiteY20781" fmla="*/ 4304180 h 5973007"/>
              <a:gd name="connsiteX20782" fmla="*/ 1485571 w 6884782"/>
              <a:gd name="connsiteY20782" fmla="*/ 4309756 h 5973007"/>
              <a:gd name="connsiteX20783" fmla="*/ 1486346 w 6884782"/>
              <a:gd name="connsiteY20783" fmla="*/ 4311201 h 5973007"/>
              <a:gd name="connsiteX20784" fmla="*/ 1482164 w 6884782"/>
              <a:gd name="connsiteY20784" fmla="*/ 4317603 h 5973007"/>
              <a:gd name="connsiteX20785" fmla="*/ 1477207 w 6884782"/>
              <a:gd name="connsiteY20785" fmla="*/ 4316777 h 5973007"/>
              <a:gd name="connsiteX20786" fmla="*/ 1476897 w 6884782"/>
              <a:gd name="connsiteY20786" fmla="*/ 4313782 h 5973007"/>
              <a:gd name="connsiteX20787" fmla="*/ 1476897 w 6884782"/>
              <a:gd name="connsiteY20787" fmla="*/ 4312750 h 5973007"/>
              <a:gd name="connsiteX20788" fmla="*/ 1471631 w 6884782"/>
              <a:gd name="connsiteY20788" fmla="*/ 4313163 h 5973007"/>
              <a:gd name="connsiteX20789" fmla="*/ 1471770 w 6884782"/>
              <a:gd name="connsiteY20789" fmla="*/ 4311409 h 5973007"/>
              <a:gd name="connsiteX20790" fmla="*/ 1471786 w 6884782"/>
              <a:gd name="connsiteY20790" fmla="*/ 4311408 h 5973007"/>
              <a:gd name="connsiteX20791" fmla="*/ 1471786 w 6884782"/>
              <a:gd name="connsiteY20791" fmla="*/ 4311201 h 5973007"/>
              <a:gd name="connsiteX20792" fmla="*/ 1471770 w 6884782"/>
              <a:gd name="connsiteY20792" fmla="*/ 4311409 h 5973007"/>
              <a:gd name="connsiteX20793" fmla="*/ 1462492 w 6884782"/>
              <a:gd name="connsiteY20793" fmla="*/ 4311924 h 5973007"/>
              <a:gd name="connsiteX20794" fmla="*/ 1460478 w 6884782"/>
              <a:gd name="connsiteY20794" fmla="*/ 4310995 h 5973007"/>
              <a:gd name="connsiteX20795" fmla="*/ 1456761 w 6884782"/>
              <a:gd name="connsiteY20795" fmla="*/ 4310685 h 5973007"/>
              <a:gd name="connsiteX20796" fmla="*/ 1457690 w 6884782"/>
              <a:gd name="connsiteY20796" fmla="*/ 4299327 h 5973007"/>
              <a:gd name="connsiteX20797" fmla="*/ 1470547 w 6884782"/>
              <a:gd name="connsiteY20797" fmla="*/ 4291273 h 5973007"/>
              <a:gd name="connsiteX20798" fmla="*/ 5118035 w 6884782"/>
              <a:gd name="connsiteY20798" fmla="*/ 4291084 h 5973007"/>
              <a:gd name="connsiteX20799" fmla="*/ 5120823 w 6884782"/>
              <a:gd name="connsiteY20799" fmla="*/ 4300790 h 5973007"/>
              <a:gd name="connsiteX20800" fmla="*/ 5114782 w 6884782"/>
              <a:gd name="connsiteY20800" fmla="*/ 4301926 h 5973007"/>
              <a:gd name="connsiteX20801" fmla="*/ 5118035 w 6884782"/>
              <a:gd name="connsiteY20801" fmla="*/ 4291084 h 5973007"/>
              <a:gd name="connsiteX20802" fmla="*/ 5351328 w 6884782"/>
              <a:gd name="connsiteY20802" fmla="*/ 4291032 h 5973007"/>
              <a:gd name="connsiteX20803" fmla="*/ 5356421 w 6884782"/>
              <a:gd name="connsiteY20803" fmla="*/ 4294285 h 5973007"/>
              <a:gd name="connsiteX20804" fmla="*/ 5350844 w 6884782"/>
              <a:gd name="connsiteY20804" fmla="*/ 4300584 h 5973007"/>
              <a:gd name="connsiteX20805" fmla="*/ 5344493 w 6884782"/>
              <a:gd name="connsiteY20805" fmla="*/ 4298002 h 5973007"/>
              <a:gd name="connsiteX20806" fmla="*/ 5344028 w 6884782"/>
              <a:gd name="connsiteY20806" fmla="*/ 4293046 h 5973007"/>
              <a:gd name="connsiteX20807" fmla="*/ 5351328 w 6884782"/>
              <a:gd name="connsiteY20807" fmla="*/ 4291032 h 5973007"/>
              <a:gd name="connsiteX20808" fmla="*/ 1331295 w 6884782"/>
              <a:gd name="connsiteY20808" fmla="*/ 4289724 h 5973007"/>
              <a:gd name="connsiteX20809" fmla="*/ 1343996 w 6884782"/>
              <a:gd name="connsiteY20809" fmla="*/ 4292202 h 5973007"/>
              <a:gd name="connsiteX20810" fmla="*/ 1336716 w 6884782"/>
              <a:gd name="connsiteY20810" fmla="*/ 4296229 h 5973007"/>
              <a:gd name="connsiteX20811" fmla="*/ 1329281 w 6884782"/>
              <a:gd name="connsiteY20811" fmla="*/ 4292925 h 5973007"/>
              <a:gd name="connsiteX20812" fmla="*/ 1331295 w 6884782"/>
              <a:gd name="connsiteY20812" fmla="*/ 4289724 h 5973007"/>
              <a:gd name="connsiteX20813" fmla="*/ 5960826 w 6884782"/>
              <a:gd name="connsiteY20813" fmla="*/ 4289638 h 5973007"/>
              <a:gd name="connsiteX20814" fmla="*/ 5963304 w 6884782"/>
              <a:gd name="connsiteY20814" fmla="*/ 4292427 h 5973007"/>
              <a:gd name="connsiteX20815" fmla="*/ 5964233 w 6884782"/>
              <a:gd name="connsiteY20815" fmla="*/ 4296143 h 5973007"/>
              <a:gd name="connsiteX20816" fmla="*/ 5964853 w 6884782"/>
              <a:gd name="connsiteY20816" fmla="*/ 4296040 h 5973007"/>
              <a:gd name="connsiteX20817" fmla="*/ 5964853 w 6884782"/>
              <a:gd name="connsiteY20817" fmla="*/ 4295111 h 5973007"/>
              <a:gd name="connsiteX20818" fmla="*/ 5966402 w 6884782"/>
              <a:gd name="connsiteY20818" fmla="*/ 4296247 h 5973007"/>
              <a:gd name="connsiteX20819" fmla="*/ 5968571 w 6884782"/>
              <a:gd name="connsiteY20819" fmla="*/ 4302752 h 5973007"/>
              <a:gd name="connsiteX20820" fmla="*/ 5966092 w 6884782"/>
              <a:gd name="connsiteY20820" fmla="*/ 4303372 h 5973007"/>
              <a:gd name="connsiteX20821" fmla="*/ 5964388 w 6884782"/>
              <a:gd name="connsiteY20821" fmla="*/ 4302029 h 5973007"/>
              <a:gd name="connsiteX20822" fmla="*/ 5962530 w 6884782"/>
              <a:gd name="connsiteY20822" fmla="*/ 4298932 h 5973007"/>
              <a:gd name="connsiteX20823" fmla="*/ 5962685 w 6884782"/>
              <a:gd name="connsiteY20823" fmla="*/ 4297899 h 5973007"/>
              <a:gd name="connsiteX20824" fmla="*/ 5962065 w 6884782"/>
              <a:gd name="connsiteY20824" fmla="*/ 4298622 h 5973007"/>
              <a:gd name="connsiteX20825" fmla="*/ 5958657 w 6884782"/>
              <a:gd name="connsiteY20825" fmla="*/ 4298725 h 5973007"/>
              <a:gd name="connsiteX20826" fmla="*/ 5956489 w 6884782"/>
              <a:gd name="connsiteY20826" fmla="*/ 4297589 h 5973007"/>
              <a:gd name="connsiteX20827" fmla="*/ 5955714 w 6884782"/>
              <a:gd name="connsiteY20827" fmla="*/ 4295214 h 5973007"/>
              <a:gd name="connsiteX20828" fmla="*/ 5954010 w 6884782"/>
              <a:gd name="connsiteY20828" fmla="*/ 4295524 h 5973007"/>
              <a:gd name="connsiteX20829" fmla="*/ 5954475 w 6884782"/>
              <a:gd name="connsiteY20829" fmla="*/ 4290155 h 5973007"/>
              <a:gd name="connsiteX20830" fmla="*/ 5958347 w 6884782"/>
              <a:gd name="connsiteY20830" fmla="*/ 4290361 h 5973007"/>
              <a:gd name="connsiteX20831" fmla="*/ 5958347 w 6884782"/>
              <a:gd name="connsiteY20831" fmla="*/ 4290877 h 5973007"/>
              <a:gd name="connsiteX20832" fmla="*/ 5958502 w 6884782"/>
              <a:gd name="connsiteY20832" fmla="*/ 4290671 h 5973007"/>
              <a:gd name="connsiteX20833" fmla="*/ 5960826 w 6884782"/>
              <a:gd name="connsiteY20833" fmla="*/ 4289638 h 5973007"/>
              <a:gd name="connsiteX20834" fmla="*/ 5556546 w 6884782"/>
              <a:gd name="connsiteY20834" fmla="*/ 4289535 h 5973007"/>
              <a:gd name="connsiteX20835" fmla="*/ 5560109 w 6884782"/>
              <a:gd name="connsiteY20835" fmla="*/ 4296763 h 5973007"/>
              <a:gd name="connsiteX20836" fmla="*/ 5554997 w 6884782"/>
              <a:gd name="connsiteY20836" fmla="*/ 4304404 h 5973007"/>
              <a:gd name="connsiteX20837" fmla="*/ 5552984 w 6884782"/>
              <a:gd name="connsiteY20837" fmla="*/ 4300480 h 5973007"/>
              <a:gd name="connsiteX20838" fmla="*/ 5556546 w 6884782"/>
              <a:gd name="connsiteY20838" fmla="*/ 4289535 h 5973007"/>
              <a:gd name="connsiteX20839" fmla="*/ 1099880 w 6884782"/>
              <a:gd name="connsiteY20839" fmla="*/ 4289311 h 5973007"/>
              <a:gd name="connsiteX20840" fmla="*/ 1109948 w 6884782"/>
              <a:gd name="connsiteY20840" fmla="*/ 4290860 h 5973007"/>
              <a:gd name="connsiteX20841" fmla="*/ 1113356 w 6884782"/>
              <a:gd name="connsiteY20841" fmla="*/ 4297571 h 5973007"/>
              <a:gd name="connsiteX20842" fmla="*/ 1114130 w 6884782"/>
              <a:gd name="connsiteY20842" fmla="*/ 4296436 h 5973007"/>
              <a:gd name="connsiteX20843" fmla="*/ 1116918 w 6884782"/>
              <a:gd name="connsiteY20843" fmla="*/ 4295093 h 5973007"/>
              <a:gd name="connsiteX20844" fmla="*/ 1119552 w 6884782"/>
              <a:gd name="connsiteY20844" fmla="*/ 4297571 h 5973007"/>
              <a:gd name="connsiteX20845" fmla="*/ 1119552 w 6884782"/>
              <a:gd name="connsiteY20845" fmla="*/ 4305109 h 5973007"/>
              <a:gd name="connsiteX20846" fmla="*/ 1116918 w 6884782"/>
              <a:gd name="connsiteY20846" fmla="*/ 4306348 h 5973007"/>
              <a:gd name="connsiteX20847" fmla="*/ 1114595 w 6884782"/>
              <a:gd name="connsiteY20847" fmla="*/ 4303870 h 5973007"/>
              <a:gd name="connsiteX20848" fmla="*/ 1114595 w 6884782"/>
              <a:gd name="connsiteY20848" fmla="*/ 4309549 h 5973007"/>
              <a:gd name="connsiteX20849" fmla="*/ 1097556 w 6884782"/>
              <a:gd name="connsiteY20849" fmla="*/ 4327515 h 5973007"/>
              <a:gd name="connsiteX20850" fmla="*/ 1095853 w 6884782"/>
              <a:gd name="connsiteY20850" fmla="*/ 4317397 h 5973007"/>
              <a:gd name="connsiteX20851" fmla="*/ 1095388 w 6884782"/>
              <a:gd name="connsiteY20851" fmla="*/ 4317397 h 5973007"/>
              <a:gd name="connsiteX20852" fmla="*/ 1094923 w 6884782"/>
              <a:gd name="connsiteY20852" fmla="*/ 4317603 h 5973007"/>
              <a:gd name="connsiteX20853" fmla="*/ 1087488 w 6884782"/>
              <a:gd name="connsiteY20853" fmla="*/ 4315538 h 5973007"/>
              <a:gd name="connsiteX20854" fmla="*/ 1084855 w 6884782"/>
              <a:gd name="connsiteY20854" fmla="*/ 4310375 h 5973007"/>
              <a:gd name="connsiteX20855" fmla="*/ 1084855 w 6884782"/>
              <a:gd name="connsiteY20855" fmla="*/ 4307794 h 5973007"/>
              <a:gd name="connsiteX20856" fmla="*/ 1090896 w 6884782"/>
              <a:gd name="connsiteY20856" fmla="*/ 4304180 h 5973007"/>
              <a:gd name="connsiteX20857" fmla="*/ 1095078 w 6884782"/>
              <a:gd name="connsiteY20857" fmla="*/ 4304903 h 5973007"/>
              <a:gd name="connsiteX20858" fmla="*/ 1095697 w 6884782"/>
              <a:gd name="connsiteY20858" fmla="*/ 4299843 h 5973007"/>
              <a:gd name="connsiteX20859" fmla="*/ 1099880 w 6884782"/>
              <a:gd name="connsiteY20859" fmla="*/ 4289311 h 5973007"/>
              <a:gd name="connsiteX20860" fmla="*/ 5429686 w 6884782"/>
              <a:gd name="connsiteY20860" fmla="*/ 4288916 h 5973007"/>
              <a:gd name="connsiteX20861" fmla="*/ 5437586 w 6884782"/>
              <a:gd name="connsiteY20861" fmla="*/ 4298312 h 5973007"/>
              <a:gd name="connsiteX20862" fmla="*/ 5435882 w 6884782"/>
              <a:gd name="connsiteY20862" fmla="*/ 4301926 h 5973007"/>
              <a:gd name="connsiteX20863" fmla="*/ 5428137 w 6884782"/>
              <a:gd name="connsiteY20863" fmla="*/ 4295421 h 5973007"/>
              <a:gd name="connsiteX20864" fmla="*/ 5427053 w 6884782"/>
              <a:gd name="connsiteY20864" fmla="*/ 4292427 h 5973007"/>
              <a:gd name="connsiteX20865" fmla="*/ 5429686 w 6884782"/>
              <a:gd name="connsiteY20865" fmla="*/ 4288916 h 5973007"/>
              <a:gd name="connsiteX20866" fmla="*/ 642626 w 6884782"/>
              <a:gd name="connsiteY20866" fmla="*/ 4288485 h 5973007"/>
              <a:gd name="connsiteX20867" fmla="*/ 643865 w 6884782"/>
              <a:gd name="connsiteY20867" fmla="*/ 4295713 h 5973007"/>
              <a:gd name="connsiteX20868" fmla="*/ 638908 w 6884782"/>
              <a:gd name="connsiteY20868" fmla="*/ 4294061 h 5973007"/>
              <a:gd name="connsiteX20869" fmla="*/ 637514 w 6884782"/>
              <a:gd name="connsiteY20869" fmla="*/ 4291170 h 5973007"/>
              <a:gd name="connsiteX20870" fmla="*/ 639218 w 6884782"/>
              <a:gd name="connsiteY20870" fmla="*/ 4288795 h 5973007"/>
              <a:gd name="connsiteX20871" fmla="*/ 642626 w 6884782"/>
              <a:gd name="connsiteY20871" fmla="*/ 4288485 h 5973007"/>
              <a:gd name="connsiteX20872" fmla="*/ 4977409 w 6884782"/>
              <a:gd name="connsiteY20872" fmla="*/ 4288425 h 5973007"/>
              <a:gd name="connsiteX20873" fmla="*/ 4983275 w 6884782"/>
              <a:gd name="connsiteY20873" fmla="*/ 4288503 h 5973007"/>
              <a:gd name="connsiteX20874" fmla="*/ 4980797 w 6884782"/>
              <a:gd name="connsiteY20874" fmla="*/ 4296350 h 5973007"/>
              <a:gd name="connsiteX20875" fmla="*/ 4977699 w 6884782"/>
              <a:gd name="connsiteY20875" fmla="*/ 4298105 h 5973007"/>
              <a:gd name="connsiteX20876" fmla="*/ 4973981 w 6884782"/>
              <a:gd name="connsiteY20876" fmla="*/ 4297899 h 5973007"/>
              <a:gd name="connsiteX20877" fmla="*/ 4971038 w 6884782"/>
              <a:gd name="connsiteY20877" fmla="*/ 4298518 h 5973007"/>
              <a:gd name="connsiteX20878" fmla="*/ 4968250 w 6884782"/>
              <a:gd name="connsiteY20878" fmla="*/ 4297796 h 5973007"/>
              <a:gd name="connsiteX20879" fmla="*/ 4967166 w 6884782"/>
              <a:gd name="connsiteY20879" fmla="*/ 4295318 h 5973007"/>
              <a:gd name="connsiteX20880" fmla="*/ 4967940 w 6884782"/>
              <a:gd name="connsiteY20880" fmla="*/ 4293459 h 5973007"/>
              <a:gd name="connsiteX20881" fmla="*/ 4977409 w 6884782"/>
              <a:gd name="connsiteY20881" fmla="*/ 4288425 h 5973007"/>
              <a:gd name="connsiteX20882" fmla="*/ 5576238 w 6884782"/>
              <a:gd name="connsiteY20882" fmla="*/ 4287741 h 5973007"/>
              <a:gd name="connsiteX20883" fmla="*/ 5582414 w 6884782"/>
              <a:gd name="connsiteY20883" fmla="*/ 4289329 h 5973007"/>
              <a:gd name="connsiteX20884" fmla="*/ 5576683 w 6884782"/>
              <a:gd name="connsiteY20884" fmla="*/ 4294285 h 5973007"/>
              <a:gd name="connsiteX20885" fmla="*/ 5576238 w 6884782"/>
              <a:gd name="connsiteY20885" fmla="*/ 4287741 h 5973007"/>
              <a:gd name="connsiteX20886" fmla="*/ 5598988 w 6884782"/>
              <a:gd name="connsiteY20886" fmla="*/ 4287573 h 5973007"/>
              <a:gd name="connsiteX20887" fmla="*/ 5609676 w 6884782"/>
              <a:gd name="connsiteY20887" fmla="*/ 4291394 h 5973007"/>
              <a:gd name="connsiteX20888" fmla="*/ 5615407 w 6884782"/>
              <a:gd name="connsiteY20888" fmla="*/ 4302752 h 5973007"/>
              <a:gd name="connsiteX20889" fmla="*/ 5614478 w 6884782"/>
              <a:gd name="connsiteY20889" fmla="*/ 4305437 h 5973007"/>
              <a:gd name="connsiteX20890" fmla="*/ 5616491 w 6884782"/>
              <a:gd name="connsiteY20890" fmla="*/ 4307192 h 5973007"/>
              <a:gd name="connsiteX20891" fmla="*/ 5614478 w 6884782"/>
              <a:gd name="connsiteY20891" fmla="*/ 4319996 h 5973007"/>
              <a:gd name="connsiteX20892" fmla="*/ 5606733 w 6884782"/>
              <a:gd name="connsiteY20892" fmla="*/ 4321648 h 5973007"/>
              <a:gd name="connsiteX20893" fmla="*/ 5603789 w 6884782"/>
              <a:gd name="connsiteY20893" fmla="*/ 4320409 h 5973007"/>
              <a:gd name="connsiteX20894" fmla="*/ 5607662 w 6884782"/>
              <a:gd name="connsiteY20894" fmla="*/ 4311942 h 5973007"/>
              <a:gd name="connsiteX20895" fmla="*/ 5608437 w 6884782"/>
              <a:gd name="connsiteY20895" fmla="*/ 4309670 h 5973007"/>
              <a:gd name="connsiteX20896" fmla="*/ 5605803 w 6884782"/>
              <a:gd name="connsiteY20896" fmla="*/ 4310290 h 5973007"/>
              <a:gd name="connsiteX20897" fmla="*/ 5600382 w 6884782"/>
              <a:gd name="connsiteY20897" fmla="*/ 4308431 h 5973007"/>
              <a:gd name="connsiteX20898" fmla="*/ 5596510 w 6884782"/>
              <a:gd name="connsiteY20898" fmla="*/ 4292943 h 5973007"/>
              <a:gd name="connsiteX20899" fmla="*/ 5597904 w 6884782"/>
              <a:gd name="connsiteY20899" fmla="*/ 4291187 h 5973007"/>
              <a:gd name="connsiteX20900" fmla="*/ 5598988 w 6884782"/>
              <a:gd name="connsiteY20900" fmla="*/ 4287573 h 5973007"/>
              <a:gd name="connsiteX20901" fmla="*/ 5719342 w 6884782"/>
              <a:gd name="connsiteY20901" fmla="*/ 4287057 h 5973007"/>
              <a:gd name="connsiteX20902" fmla="*/ 5718878 w 6884782"/>
              <a:gd name="connsiteY20902" fmla="*/ 4297899 h 5973007"/>
              <a:gd name="connsiteX20903" fmla="*/ 5713611 w 6884782"/>
              <a:gd name="connsiteY20903" fmla="*/ 4297589 h 5973007"/>
              <a:gd name="connsiteX20904" fmla="*/ 5715780 w 6884782"/>
              <a:gd name="connsiteY20904" fmla="*/ 4287161 h 5973007"/>
              <a:gd name="connsiteX20905" fmla="*/ 5719342 w 6884782"/>
              <a:gd name="connsiteY20905" fmla="*/ 4287057 h 5973007"/>
              <a:gd name="connsiteX20906" fmla="*/ 5291519 w 6884782"/>
              <a:gd name="connsiteY20906" fmla="*/ 4286231 h 5973007"/>
              <a:gd name="connsiteX20907" fmla="*/ 5293068 w 6884782"/>
              <a:gd name="connsiteY20907" fmla="*/ 4287161 h 5973007"/>
              <a:gd name="connsiteX20908" fmla="*/ 5294772 w 6884782"/>
              <a:gd name="connsiteY20908" fmla="*/ 4287161 h 5973007"/>
              <a:gd name="connsiteX20909" fmla="*/ 5294616 w 6884782"/>
              <a:gd name="connsiteY20909" fmla="*/ 4288090 h 5973007"/>
              <a:gd name="connsiteX20910" fmla="*/ 5295391 w 6884782"/>
              <a:gd name="connsiteY20910" fmla="*/ 4289019 h 5973007"/>
              <a:gd name="connsiteX20911" fmla="*/ 5293377 w 6884782"/>
              <a:gd name="connsiteY20911" fmla="*/ 4292427 h 5973007"/>
              <a:gd name="connsiteX20912" fmla="*/ 5291519 w 6884782"/>
              <a:gd name="connsiteY20912" fmla="*/ 4293459 h 5973007"/>
              <a:gd name="connsiteX20913" fmla="*/ 5289970 w 6884782"/>
              <a:gd name="connsiteY20913" fmla="*/ 4293252 h 5973007"/>
              <a:gd name="connsiteX20914" fmla="*/ 5289350 w 6884782"/>
              <a:gd name="connsiteY20914" fmla="*/ 4291497 h 5973007"/>
              <a:gd name="connsiteX20915" fmla="*/ 5289660 w 6884782"/>
              <a:gd name="connsiteY20915" fmla="*/ 4287987 h 5973007"/>
              <a:gd name="connsiteX20916" fmla="*/ 5291519 w 6884782"/>
              <a:gd name="connsiteY20916" fmla="*/ 4286231 h 5973007"/>
              <a:gd name="connsiteX20917" fmla="*/ 5733748 w 6884782"/>
              <a:gd name="connsiteY20917" fmla="*/ 4285921 h 5973007"/>
              <a:gd name="connsiteX20918" fmla="*/ 5742112 w 6884782"/>
              <a:gd name="connsiteY20918" fmla="*/ 4287161 h 5973007"/>
              <a:gd name="connsiteX20919" fmla="*/ 5739169 w 6884782"/>
              <a:gd name="connsiteY20919" fmla="*/ 4296454 h 5973007"/>
              <a:gd name="connsiteX20920" fmla="*/ 5733748 w 6884782"/>
              <a:gd name="connsiteY20920" fmla="*/ 4285921 h 5973007"/>
              <a:gd name="connsiteX20921" fmla="*/ 1091825 w 6884782"/>
              <a:gd name="connsiteY20921" fmla="*/ 4285180 h 5973007"/>
              <a:gd name="connsiteX20922" fmla="*/ 1088108 w 6884782"/>
              <a:gd name="connsiteY20922" fmla="*/ 4289827 h 5973007"/>
              <a:gd name="connsiteX20923" fmla="*/ 1087953 w 6884782"/>
              <a:gd name="connsiteY20923" fmla="*/ 4288485 h 5973007"/>
              <a:gd name="connsiteX20924" fmla="*/ 1089037 w 6884782"/>
              <a:gd name="connsiteY20924" fmla="*/ 4287349 h 5973007"/>
              <a:gd name="connsiteX20925" fmla="*/ 1091825 w 6884782"/>
              <a:gd name="connsiteY20925" fmla="*/ 4285180 h 5973007"/>
              <a:gd name="connsiteX20926" fmla="*/ 5668072 w 6884782"/>
              <a:gd name="connsiteY20926" fmla="*/ 4283856 h 5973007"/>
              <a:gd name="connsiteX20927" fmla="*/ 5675507 w 6884782"/>
              <a:gd name="connsiteY20927" fmla="*/ 4283960 h 5973007"/>
              <a:gd name="connsiteX20928" fmla="*/ 5674113 w 6884782"/>
              <a:gd name="connsiteY20928" fmla="*/ 4289948 h 5973007"/>
              <a:gd name="connsiteX20929" fmla="*/ 5671789 w 6884782"/>
              <a:gd name="connsiteY20929" fmla="*/ 4291291 h 5973007"/>
              <a:gd name="connsiteX20930" fmla="*/ 5669001 w 6884782"/>
              <a:gd name="connsiteY20930" fmla="*/ 4290671 h 5973007"/>
              <a:gd name="connsiteX20931" fmla="*/ 5667607 w 6884782"/>
              <a:gd name="connsiteY20931" fmla="*/ 4289019 h 5973007"/>
              <a:gd name="connsiteX20932" fmla="*/ 5668072 w 6884782"/>
              <a:gd name="connsiteY20932" fmla="*/ 4283856 h 5973007"/>
              <a:gd name="connsiteX20933" fmla="*/ 5732354 w 6884782"/>
              <a:gd name="connsiteY20933" fmla="*/ 4283650 h 5973007"/>
              <a:gd name="connsiteX20934" fmla="*/ 5733748 w 6884782"/>
              <a:gd name="connsiteY20934" fmla="*/ 4284682 h 5973007"/>
              <a:gd name="connsiteX20935" fmla="*/ 5733128 w 6884782"/>
              <a:gd name="connsiteY20935" fmla="*/ 4287057 h 5973007"/>
              <a:gd name="connsiteX20936" fmla="*/ 5728636 w 6884782"/>
              <a:gd name="connsiteY20936" fmla="*/ 4289742 h 5973007"/>
              <a:gd name="connsiteX20937" fmla="*/ 5727242 w 6884782"/>
              <a:gd name="connsiteY20937" fmla="*/ 4288709 h 5973007"/>
              <a:gd name="connsiteX20938" fmla="*/ 5732354 w 6884782"/>
              <a:gd name="connsiteY20938" fmla="*/ 4283650 h 5973007"/>
              <a:gd name="connsiteX20939" fmla="*/ 5046783 w 6884782"/>
              <a:gd name="connsiteY20939" fmla="*/ 4283133 h 5973007"/>
              <a:gd name="connsiteX20940" fmla="*/ 5052049 w 6884782"/>
              <a:gd name="connsiteY20940" fmla="*/ 4288606 h 5973007"/>
              <a:gd name="connsiteX20941" fmla="*/ 5048951 w 6884782"/>
              <a:gd name="connsiteY20941" fmla="*/ 4292117 h 5973007"/>
              <a:gd name="connsiteX20942" fmla="*/ 5043065 w 6884782"/>
              <a:gd name="connsiteY20942" fmla="*/ 4288296 h 5973007"/>
              <a:gd name="connsiteX20943" fmla="*/ 5046783 w 6884782"/>
              <a:gd name="connsiteY20943" fmla="*/ 4283133 h 5973007"/>
              <a:gd name="connsiteX20944" fmla="*/ 1250284 w 6884782"/>
              <a:gd name="connsiteY20944" fmla="*/ 4283115 h 5973007"/>
              <a:gd name="connsiteX20945" fmla="*/ 1252143 w 6884782"/>
              <a:gd name="connsiteY20945" fmla="*/ 4291996 h 5973007"/>
              <a:gd name="connsiteX20946" fmla="*/ 1250129 w 6884782"/>
              <a:gd name="connsiteY20946" fmla="*/ 4290860 h 5973007"/>
              <a:gd name="connsiteX20947" fmla="*/ 1250284 w 6884782"/>
              <a:gd name="connsiteY20947" fmla="*/ 4283115 h 5973007"/>
              <a:gd name="connsiteX20948" fmla="*/ 5793228 w 6884782"/>
              <a:gd name="connsiteY20948" fmla="*/ 4282927 h 5973007"/>
              <a:gd name="connsiteX20949" fmla="*/ 5797255 w 6884782"/>
              <a:gd name="connsiteY20949" fmla="*/ 4299138 h 5973007"/>
              <a:gd name="connsiteX20950" fmla="*/ 5794312 w 6884782"/>
              <a:gd name="connsiteY20950" fmla="*/ 4300377 h 5973007"/>
              <a:gd name="connsiteX20951" fmla="*/ 5789975 w 6884782"/>
              <a:gd name="connsiteY20951" fmla="*/ 4296247 h 5973007"/>
              <a:gd name="connsiteX20952" fmla="*/ 5788271 w 6884782"/>
              <a:gd name="connsiteY20952" fmla="*/ 4292839 h 5973007"/>
              <a:gd name="connsiteX20953" fmla="*/ 5788736 w 6884782"/>
              <a:gd name="connsiteY20953" fmla="*/ 4289122 h 5973007"/>
              <a:gd name="connsiteX20954" fmla="*/ 5789046 w 6884782"/>
              <a:gd name="connsiteY20954" fmla="*/ 4283133 h 5973007"/>
              <a:gd name="connsiteX20955" fmla="*/ 5793228 w 6884782"/>
              <a:gd name="connsiteY20955" fmla="*/ 4282927 h 5973007"/>
              <a:gd name="connsiteX20956" fmla="*/ 1228599 w 6884782"/>
              <a:gd name="connsiteY20956" fmla="*/ 4282496 h 5973007"/>
              <a:gd name="connsiteX20957" fmla="*/ 1241300 w 6884782"/>
              <a:gd name="connsiteY20957" fmla="*/ 4302941 h 5973007"/>
              <a:gd name="connsiteX20958" fmla="*/ 1228599 w 6884782"/>
              <a:gd name="connsiteY20958" fmla="*/ 4282496 h 5973007"/>
              <a:gd name="connsiteX20959" fmla="*/ 1354064 w 6884782"/>
              <a:gd name="connsiteY20959" fmla="*/ 4282186 h 5973007"/>
              <a:gd name="connsiteX20960" fmla="*/ 1355459 w 6884782"/>
              <a:gd name="connsiteY20960" fmla="*/ 4282393 h 5973007"/>
              <a:gd name="connsiteX20961" fmla="*/ 1354685 w 6884782"/>
              <a:gd name="connsiteY20961" fmla="*/ 4282599 h 5973007"/>
              <a:gd name="connsiteX20962" fmla="*/ 1354064 w 6884782"/>
              <a:gd name="connsiteY20962" fmla="*/ 4282186 h 5973007"/>
              <a:gd name="connsiteX20963" fmla="*/ 5750167 w 6884782"/>
              <a:gd name="connsiteY20963" fmla="*/ 4281275 h 5973007"/>
              <a:gd name="connsiteX20964" fmla="*/ 5755433 w 6884782"/>
              <a:gd name="connsiteY20964" fmla="*/ 4284682 h 5973007"/>
              <a:gd name="connsiteX20965" fmla="*/ 5755588 w 6884782"/>
              <a:gd name="connsiteY20965" fmla="*/ 4285715 h 5973007"/>
              <a:gd name="connsiteX20966" fmla="*/ 5750167 w 6884782"/>
              <a:gd name="connsiteY20966" fmla="*/ 4281275 h 5973007"/>
              <a:gd name="connsiteX20967" fmla="*/ 5941619 w 6884782"/>
              <a:gd name="connsiteY20967" fmla="*/ 4280242 h 5973007"/>
              <a:gd name="connsiteX20968" fmla="*/ 5946575 w 6884782"/>
              <a:gd name="connsiteY20968" fmla="*/ 4280965 h 5973007"/>
              <a:gd name="connsiteX20969" fmla="*/ 5945956 w 6884782"/>
              <a:gd name="connsiteY20969" fmla="*/ 4288709 h 5973007"/>
              <a:gd name="connsiteX20970" fmla="*/ 5943013 w 6884782"/>
              <a:gd name="connsiteY20970" fmla="*/ 4289122 h 5973007"/>
              <a:gd name="connsiteX20971" fmla="*/ 5940224 w 6884782"/>
              <a:gd name="connsiteY20971" fmla="*/ 4286954 h 5973007"/>
              <a:gd name="connsiteX20972" fmla="*/ 5939140 w 6884782"/>
              <a:gd name="connsiteY20972" fmla="*/ 4284476 h 5973007"/>
              <a:gd name="connsiteX20973" fmla="*/ 5939760 w 6884782"/>
              <a:gd name="connsiteY20973" fmla="*/ 4281584 h 5973007"/>
              <a:gd name="connsiteX20974" fmla="*/ 5941619 w 6884782"/>
              <a:gd name="connsiteY20974" fmla="*/ 4280242 h 5973007"/>
              <a:gd name="connsiteX20975" fmla="*/ 1282812 w 6884782"/>
              <a:gd name="connsiteY20975" fmla="*/ 4280224 h 5973007"/>
              <a:gd name="connsiteX20976" fmla="*/ 1284206 w 6884782"/>
              <a:gd name="connsiteY20976" fmla="*/ 4282186 h 5973007"/>
              <a:gd name="connsiteX20977" fmla="*/ 1289473 w 6884782"/>
              <a:gd name="connsiteY20977" fmla="*/ 4283115 h 5973007"/>
              <a:gd name="connsiteX20978" fmla="*/ 1294585 w 6884782"/>
              <a:gd name="connsiteY20978" fmla="*/ 4287556 h 5973007"/>
              <a:gd name="connsiteX20979" fmla="*/ 1288389 w 6884782"/>
              <a:gd name="connsiteY20979" fmla="*/ 4295713 h 5973007"/>
              <a:gd name="connsiteX20980" fmla="*/ 1288078 w 6884782"/>
              <a:gd name="connsiteY20980" fmla="*/ 4295816 h 5973007"/>
              <a:gd name="connsiteX20981" fmla="*/ 1287769 w 6884782"/>
              <a:gd name="connsiteY20981" fmla="*/ 4297055 h 5973007"/>
              <a:gd name="connsiteX20982" fmla="*/ 1285600 w 6884782"/>
              <a:gd name="connsiteY20982" fmla="*/ 4300256 h 5973007"/>
              <a:gd name="connsiteX20983" fmla="*/ 1283896 w 6884782"/>
              <a:gd name="connsiteY20983" fmla="*/ 4302011 h 5973007"/>
              <a:gd name="connsiteX20984" fmla="*/ 1281418 w 6884782"/>
              <a:gd name="connsiteY20984" fmla="*/ 4308413 h 5973007"/>
              <a:gd name="connsiteX20985" fmla="*/ 1274138 w 6884782"/>
              <a:gd name="connsiteY20985" fmla="*/ 4312957 h 5973007"/>
              <a:gd name="connsiteX20986" fmla="*/ 1277546 w 6884782"/>
              <a:gd name="connsiteY20986" fmla="*/ 4296539 h 5973007"/>
              <a:gd name="connsiteX20987" fmla="*/ 1277701 w 6884782"/>
              <a:gd name="connsiteY20987" fmla="*/ 4296126 h 5973007"/>
              <a:gd name="connsiteX20988" fmla="*/ 1275377 w 6884782"/>
              <a:gd name="connsiteY20988" fmla="*/ 4292305 h 5973007"/>
              <a:gd name="connsiteX20989" fmla="*/ 1275067 w 6884782"/>
              <a:gd name="connsiteY20989" fmla="*/ 4288278 h 5973007"/>
              <a:gd name="connsiteX20990" fmla="*/ 1275222 w 6884782"/>
              <a:gd name="connsiteY20990" fmla="*/ 4287969 h 5973007"/>
              <a:gd name="connsiteX20991" fmla="*/ 1274603 w 6884782"/>
              <a:gd name="connsiteY20991" fmla="*/ 4288175 h 5973007"/>
              <a:gd name="connsiteX20992" fmla="*/ 1272744 w 6884782"/>
              <a:gd name="connsiteY20992" fmla="*/ 4288485 h 5973007"/>
              <a:gd name="connsiteX20993" fmla="*/ 1271040 w 6884782"/>
              <a:gd name="connsiteY20993" fmla="*/ 4286523 h 5973007"/>
              <a:gd name="connsiteX20994" fmla="*/ 1271815 w 6884782"/>
              <a:gd name="connsiteY20994" fmla="*/ 4286110 h 5973007"/>
              <a:gd name="connsiteX20995" fmla="*/ 1274758 w 6884782"/>
              <a:gd name="connsiteY20995" fmla="*/ 4283735 h 5973007"/>
              <a:gd name="connsiteX20996" fmla="*/ 1275997 w 6884782"/>
              <a:gd name="connsiteY20996" fmla="*/ 4286936 h 5973007"/>
              <a:gd name="connsiteX20997" fmla="*/ 1278011 w 6884782"/>
              <a:gd name="connsiteY20997" fmla="*/ 4284045 h 5973007"/>
              <a:gd name="connsiteX20998" fmla="*/ 1281573 w 6884782"/>
              <a:gd name="connsiteY20998" fmla="*/ 4282703 h 5973007"/>
              <a:gd name="connsiteX20999" fmla="*/ 1457071 w 6884782"/>
              <a:gd name="connsiteY20999" fmla="*/ 4280018 h 5973007"/>
              <a:gd name="connsiteX21000" fmla="*/ 1458620 w 6884782"/>
              <a:gd name="connsiteY21000" fmla="*/ 4283632 h 5973007"/>
              <a:gd name="connsiteX21001" fmla="*/ 1455986 w 6884782"/>
              <a:gd name="connsiteY21001" fmla="*/ 4285490 h 5973007"/>
              <a:gd name="connsiteX21002" fmla="*/ 1454747 w 6884782"/>
              <a:gd name="connsiteY21002" fmla="*/ 4285594 h 5973007"/>
              <a:gd name="connsiteX21003" fmla="*/ 1453508 w 6884782"/>
              <a:gd name="connsiteY21003" fmla="*/ 4284768 h 5973007"/>
              <a:gd name="connsiteX21004" fmla="*/ 1451959 w 6884782"/>
              <a:gd name="connsiteY21004" fmla="*/ 4281050 h 5973007"/>
              <a:gd name="connsiteX21005" fmla="*/ 1457071 w 6884782"/>
              <a:gd name="connsiteY21005" fmla="*/ 4280018 h 5973007"/>
              <a:gd name="connsiteX21006" fmla="*/ 5126864 w 6884782"/>
              <a:gd name="connsiteY21006" fmla="*/ 4279829 h 5973007"/>
              <a:gd name="connsiteX21007" fmla="*/ 5128103 w 6884782"/>
              <a:gd name="connsiteY21007" fmla="*/ 4283340 h 5973007"/>
              <a:gd name="connsiteX21008" fmla="*/ 5120359 w 6884782"/>
              <a:gd name="connsiteY21008" fmla="*/ 4285405 h 5973007"/>
              <a:gd name="connsiteX21009" fmla="*/ 5114008 w 6884782"/>
              <a:gd name="connsiteY21009" fmla="*/ 4282824 h 5973007"/>
              <a:gd name="connsiteX21010" fmla="*/ 5114317 w 6884782"/>
              <a:gd name="connsiteY21010" fmla="*/ 4280345 h 5973007"/>
              <a:gd name="connsiteX21011" fmla="*/ 5126864 w 6884782"/>
              <a:gd name="connsiteY21011" fmla="*/ 4279829 h 5973007"/>
              <a:gd name="connsiteX21012" fmla="*/ 1529717 w 6884782"/>
              <a:gd name="connsiteY21012" fmla="*/ 4279811 h 5973007"/>
              <a:gd name="connsiteX21013" fmla="*/ 1531421 w 6884782"/>
              <a:gd name="connsiteY21013" fmla="*/ 4280018 h 5973007"/>
              <a:gd name="connsiteX21014" fmla="*/ 1531730 w 6884782"/>
              <a:gd name="connsiteY21014" fmla="*/ 4280741 h 5973007"/>
              <a:gd name="connsiteX21015" fmla="*/ 1532040 w 6884782"/>
              <a:gd name="connsiteY21015" fmla="*/ 4280947 h 5973007"/>
              <a:gd name="connsiteX21016" fmla="*/ 1531421 w 6884782"/>
              <a:gd name="connsiteY21016" fmla="*/ 4282599 h 5973007"/>
              <a:gd name="connsiteX21017" fmla="*/ 1530182 w 6884782"/>
              <a:gd name="connsiteY21017" fmla="*/ 4284045 h 5973007"/>
              <a:gd name="connsiteX21018" fmla="*/ 1529252 w 6884782"/>
              <a:gd name="connsiteY21018" fmla="*/ 4283322 h 5973007"/>
              <a:gd name="connsiteX21019" fmla="*/ 1528478 w 6884782"/>
              <a:gd name="connsiteY21019" fmla="*/ 4281257 h 5973007"/>
              <a:gd name="connsiteX21020" fmla="*/ 1530027 w 6884782"/>
              <a:gd name="connsiteY21020" fmla="*/ 4280534 h 5973007"/>
              <a:gd name="connsiteX21021" fmla="*/ 1529717 w 6884782"/>
              <a:gd name="connsiteY21021" fmla="*/ 4279811 h 5973007"/>
              <a:gd name="connsiteX21022" fmla="*/ 1105766 w 6884782"/>
              <a:gd name="connsiteY21022" fmla="*/ 4279192 h 5973007"/>
              <a:gd name="connsiteX21023" fmla="*/ 1107315 w 6884782"/>
              <a:gd name="connsiteY21023" fmla="*/ 4279708 h 5973007"/>
              <a:gd name="connsiteX21024" fmla="*/ 1102668 w 6884782"/>
              <a:gd name="connsiteY21024" fmla="*/ 4283322 h 5973007"/>
              <a:gd name="connsiteX21025" fmla="*/ 1100499 w 6884782"/>
              <a:gd name="connsiteY21025" fmla="*/ 4283115 h 5973007"/>
              <a:gd name="connsiteX21026" fmla="*/ 1105766 w 6884782"/>
              <a:gd name="connsiteY21026" fmla="*/ 4279192 h 5973007"/>
              <a:gd name="connsiteX21027" fmla="*/ 5602705 w 6884782"/>
              <a:gd name="connsiteY21027" fmla="*/ 4277558 h 5973007"/>
              <a:gd name="connsiteX21028" fmla="*/ 5606578 w 6884782"/>
              <a:gd name="connsiteY21028" fmla="*/ 4284476 h 5973007"/>
              <a:gd name="connsiteX21029" fmla="*/ 5601931 w 6884782"/>
              <a:gd name="connsiteY21029" fmla="*/ 4279726 h 5973007"/>
              <a:gd name="connsiteX21030" fmla="*/ 5602705 w 6884782"/>
              <a:gd name="connsiteY21030" fmla="*/ 4277558 h 5973007"/>
              <a:gd name="connsiteX21031" fmla="*/ 5830713 w 6884782"/>
              <a:gd name="connsiteY21031" fmla="*/ 4277248 h 5973007"/>
              <a:gd name="connsiteX21032" fmla="*/ 5838767 w 6884782"/>
              <a:gd name="connsiteY21032" fmla="*/ 4287470 h 5973007"/>
              <a:gd name="connsiteX21033" fmla="*/ 5839232 w 6884782"/>
              <a:gd name="connsiteY21033" fmla="*/ 4295731 h 5973007"/>
              <a:gd name="connsiteX21034" fmla="*/ 5843414 w 6884782"/>
              <a:gd name="connsiteY21034" fmla="*/ 4299861 h 5973007"/>
              <a:gd name="connsiteX21035" fmla="*/ 5845893 w 6884782"/>
              <a:gd name="connsiteY21035" fmla="*/ 4299241 h 5973007"/>
              <a:gd name="connsiteX21036" fmla="*/ 5849610 w 6884782"/>
              <a:gd name="connsiteY21036" fmla="*/ 4301616 h 5973007"/>
              <a:gd name="connsiteX21037" fmla="*/ 5849300 w 6884782"/>
              <a:gd name="connsiteY21037" fmla="*/ 4302545 h 5973007"/>
              <a:gd name="connsiteX21038" fmla="*/ 5850384 w 6884782"/>
              <a:gd name="connsiteY21038" fmla="*/ 4302649 h 5973007"/>
              <a:gd name="connsiteX21039" fmla="*/ 5853018 w 6884782"/>
              <a:gd name="connsiteY21039" fmla="*/ 4304301 h 5973007"/>
              <a:gd name="connsiteX21040" fmla="*/ 5855186 w 6884782"/>
              <a:gd name="connsiteY21040" fmla="*/ 4315659 h 5973007"/>
              <a:gd name="connsiteX21041" fmla="*/ 5847752 w 6884782"/>
              <a:gd name="connsiteY21041" fmla="*/ 4319583 h 5973007"/>
              <a:gd name="connsiteX21042" fmla="*/ 5848681 w 6884782"/>
              <a:gd name="connsiteY21042" fmla="*/ 4319583 h 5973007"/>
              <a:gd name="connsiteX21043" fmla="*/ 5857665 w 6884782"/>
              <a:gd name="connsiteY21043" fmla="*/ 4332077 h 5973007"/>
              <a:gd name="connsiteX21044" fmla="*/ 5855031 w 6884782"/>
              <a:gd name="connsiteY21044" fmla="*/ 4331147 h 5973007"/>
              <a:gd name="connsiteX21045" fmla="*/ 5854257 w 6884782"/>
              <a:gd name="connsiteY21045" fmla="*/ 4330218 h 5973007"/>
              <a:gd name="connsiteX21046" fmla="*/ 5853947 w 6884782"/>
              <a:gd name="connsiteY21046" fmla="*/ 4330115 h 5973007"/>
              <a:gd name="connsiteX21047" fmla="*/ 5855651 w 6884782"/>
              <a:gd name="connsiteY21047" fmla="*/ 4332800 h 5973007"/>
              <a:gd name="connsiteX21048" fmla="*/ 5853328 w 6884782"/>
              <a:gd name="connsiteY21048" fmla="*/ 4337859 h 5973007"/>
              <a:gd name="connsiteX21049" fmla="*/ 5844344 w 6884782"/>
              <a:gd name="connsiteY21049" fmla="*/ 4321958 h 5973007"/>
              <a:gd name="connsiteX21050" fmla="*/ 5842640 w 6884782"/>
              <a:gd name="connsiteY21050" fmla="*/ 4319376 h 5973007"/>
              <a:gd name="connsiteX21051" fmla="*/ 5844344 w 6884782"/>
              <a:gd name="connsiteY21051" fmla="*/ 4317724 h 5973007"/>
              <a:gd name="connsiteX21052" fmla="*/ 5842950 w 6884782"/>
              <a:gd name="connsiteY21052" fmla="*/ 4316175 h 5973007"/>
              <a:gd name="connsiteX21053" fmla="*/ 5841555 w 6884782"/>
              <a:gd name="connsiteY21053" fmla="*/ 4320306 h 5973007"/>
              <a:gd name="connsiteX21054" fmla="*/ 5839697 w 6884782"/>
              <a:gd name="connsiteY21054" fmla="*/ 4322061 h 5973007"/>
              <a:gd name="connsiteX21055" fmla="*/ 5839851 w 6884782"/>
              <a:gd name="connsiteY21055" fmla="*/ 4322887 h 5973007"/>
              <a:gd name="connsiteX21056" fmla="*/ 5838458 w 6884782"/>
              <a:gd name="connsiteY21056" fmla="*/ 4332800 h 5973007"/>
              <a:gd name="connsiteX21057" fmla="*/ 5832572 w 6884782"/>
              <a:gd name="connsiteY21057" fmla="*/ 4331457 h 5973007"/>
              <a:gd name="connsiteX21058" fmla="*/ 5829629 w 6884782"/>
              <a:gd name="connsiteY21058" fmla="*/ 4330218 h 5973007"/>
              <a:gd name="connsiteX21059" fmla="*/ 5828389 w 6884782"/>
              <a:gd name="connsiteY21059" fmla="*/ 4333729 h 5973007"/>
              <a:gd name="connsiteX21060" fmla="*/ 5824827 w 6884782"/>
              <a:gd name="connsiteY21060" fmla="*/ 4335691 h 5973007"/>
              <a:gd name="connsiteX21061" fmla="*/ 5823433 w 6884782"/>
              <a:gd name="connsiteY21061" fmla="*/ 4332283 h 5973007"/>
              <a:gd name="connsiteX21062" fmla="*/ 5825446 w 6884782"/>
              <a:gd name="connsiteY21062" fmla="*/ 4328256 h 5973007"/>
              <a:gd name="connsiteX21063" fmla="*/ 5825756 w 6884782"/>
              <a:gd name="connsiteY21063" fmla="*/ 4328153 h 5973007"/>
              <a:gd name="connsiteX21064" fmla="*/ 5819406 w 6884782"/>
              <a:gd name="connsiteY21064" fmla="*/ 4324333 h 5973007"/>
              <a:gd name="connsiteX21065" fmla="*/ 5816772 w 6884782"/>
              <a:gd name="connsiteY21065" fmla="*/ 4327017 h 5973007"/>
              <a:gd name="connsiteX21066" fmla="*/ 5812125 w 6884782"/>
              <a:gd name="connsiteY21066" fmla="*/ 4328360 h 5973007"/>
              <a:gd name="connsiteX21067" fmla="*/ 5822348 w 6884782"/>
              <a:gd name="connsiteY21067" fmla="*/ 4315866 h 5973007"/>
              <a:gd name="connsiteX21068" fmla="*/ 5822039 w 6884782"/>
              <a:gd name="connsiteY21068" fmla="*/ 4319376 h 5973007"/>
              <a:gd name="connsiteX21069" fmla="*/ 5821109 w 6884782"/>
              <a:gd name="connsiteY21069" fmla="*/ 4321751 h 5973007"/>
              <a:gd name="connsiteX21070" fmla="*/ 5821884 w 6884782"/>
              <a:gd name="connsiteY21070" fmla="*/ 4321441 h 5973007"/>
              <a:gd name="connsiteX21071" fmla="*/ 5826840 w 6884782"/>
              <a:gd name="connsiteY21071" fmla="*/ 4320822 h 5973007"/>
              <a:gd name="connsiteX21072" fmla="*/ 5830713 w 6884782"/>
              <a:gd name="connsiteY21072" fmla="*/ 4319067 h 5973007"/>
              <a:gd name="connsiteX21073" fmla="*/ 5828080 w 6884782"/>
              <a:gd name="connsiteY21073" fmla="*/ 4309051 h 5973007"/>
              <a:gd name="connsiteX21074" fmla="*/ 5828544 w 6884782"/>
              <a:gd name="connsiteY21074" fmla="*/ 4302545 h 5973007"/>
              <a:gd name="connsiteX21075" fmla="*/ 5826066 w 6884782"/>
              <a:gd name="connsiteY21075" fmla="*/ 4302855 h 5973007"/>
              <a:gd name="connsiteX21076" fmla="*/ 5813674 w 6884782"/>
              <a:gd name="connsiteY21076" fmla="*/ 4293975 h 5973007"/>
              <a:gd name="connsiteX21077" fmla="*/ 5815223 w 6884782"/>
              <a:gd name="connsiteY21077" fmla="*/ 4287573 h 5973007"/>
              <a:gd name="connsiteX21078" fmla="*/ 5830713 w 6884782"/>
              <a:gd name="connsiteY21078" fmla="*/ 4277248 h 5973007"/>
              <a:gd name="connsiteX21079" fmla="*/ 5862466 w 6884782"/>
              <a:gd name="connsiteY21079" fmla="*/ 4274150 h 5973007"/>
              <a:gd name="connsiteX21080" fmla="*/ 5867113 w 6884782"/>
              <a:gd name="connsiteY21080" fmla="*/ 4274357 h 5973007"/>
              <a:gd name="connsiteX21081" fmla="*/ 5865720 w 6884782"/>
              <a:gd name="connsiteY21081" fmla="*/ 4278177 h 5973007"/>
              <a:gd name="connsiteX21082" fmla="*/ 5862312 w 6884782"/>
              <a:gd name="connsiteY21082" fmla="*/ 4276938 h 5973007"/>
              <a:gd name="connsiteX21083" fmla="*/ 5862466 w 6884782"/>
              <a:gd name="connsiteY21083" fmla="*/ 4274150 h 5973007"/>
              <a:gd name="connsiteX21084" fmla="*/ 5510233 w 6884782"/>
              <a:gd name="connsiteY21084" fmla="*/ 4273943 h 5973007"/>
              <a:gd name="connsiteX21085" fmla="*/ 5497531 w 6884782"/>
              <a:gd name="connsiteY21085" fmla="*/ 4282927 h 5973007"/>
              <a:gd name="connsiteX21086" fmla="*/ 5493349 w 6884782"/>
              <a:gd name="connsiteY21086" fmla="*/ 4280345 h 5973007"/>
              <a:gd name="connsiteX21087" fmla="*/ 5510233 w 6884782"/>
              <a:gd name="connsiteY21087" fmla="*/ 4273943 h 5973007"/>
              <a:gd name="connsiteX21088" fmla="*/ 1185886 w 6884782"/>
              <a:gd name="connsiteY21088" fmla="*/ 4273861 h 5973007"/>
              <a:gd name="connsiteX21089" fmla="*/ 1194366 w 6884782"/>
              <a:gd name="connsiteY21089" fmla="*/ 4277643 h 5973007"/>
              <a:gd name="connsiteX21090" fmla="*/ 1188480 w 6884782"/>
              <a:gd name="connsiteY21090" fmla="*/ 4283012 h 5973007"/>
              <a:gd name="connsiteX21091" fmla="*/ 1185383 w 6884782"/>
              <a:gd name="connsiteY21091" fmla="*/ 4283529 h 5973007"/>
              <a:gd name="connsiteX21092" fmla="*/ 1182285 w 6884782"/>
              <a:gd name="connsiteY21092" fmla="*/ 4282703 h 5973007"/>
              <a:gd name="connsiteX21093" fmla="*/ 1185886 w 6884782"/>
              <a:gd name="connsiteY21093" fmla="*/ 4273861 h 5973007"/>
              <a:gd name="connsiteX21094" fmla="*/ 4977912 w 6884782"/>
              <a:gd name="connsiteY21094" fmla="*/ 4273324 h 5973007"/>
              <a:gd name="connsiteX21095" fmla="*/ 4980797 w 6884782"/>
              <a:gd name="connsiteY21095" fmla="*/ 4283443 h 5973007"/>
              <a:gd name="connsiteX21096" fmla="*/ 4972122 w 6884782"/>
              <a:gd name="connsiteY21096" fmla="*/ 4280862 h 5973007"/>
              <a:gd name="connsiteX21097" fmla="*/ 4977912 w 6884782"/>
              <a:gd name="connsiteY21097" fmla="*/ 4273324 h 5973007"/>
              <a:gd name="connsiteX21098" fmla="*/ 1327732 w 6884782"/>
              <a:gd name="connsiteY21098" fmla="*/ 4272997 h 5973007"/>
              <a:gd name="connsiteX21099" fmla="*/ 1331295 w 6884782"/>
              <a:gd name="connsiteY21099" fmla="*/ 4275062 h 5973007"/>
              <a:gd name="connsiteX21100" fmla="*/ 1331759 w 6884782"/>
              <a:gd name="connsiteY21100" fmla="*/ 4282496 h 5973007"/>
              <a:gd name="connsiteX21101" fmla="*/ 1322776 w 6884782"/>
              <a:gd name="connsiteY21101" fmla="*/ 4283838 h 5973007"/>
              <a:gd name="connsiteX21102" fmla="*/ 1327732 w 6884782"/>
              <a:gd name="connsiteY21102" fmla="*/ 4272997 h 5973007"/>
              <a:gd name="connsiteX21103" fmla="*/ 1221784 w 6884782"/>
              <a:gd name="connsiteY21103" fmla="*/ 4271757 h 5973007"/>
              <a:gd name="connsiteX21104" fmla="*/ 1218530 w 6884782"/>
              <a:gd name="connsiteY21104" fmla="*/ 4274958 h 5973007"/>
              <a:gd name="connsiteX21105" fmla="*/ 1214658 w 6884782"/>
              <a:gd name="connsiteY21105" fmla="*/ 4274442 h 5973007"/>
              <a:gd name="connsiteX21106" fmla="*/ 1221784 w 6884782"/>
              <a:gd name="connsiteY21106" fmla="*/ 4271757 h 5973007"/>
              <a:gd name="connsiteX21107" fmla="*/ 1210166 w 6884782"/>
              <a:gd name="connsiteY21107" fmla="*/ 4270621 h 5973007"/>
              <a:gd name="connsiteX21108" fmla="*/ 1212025 w 6884782"/>
              <a:gd name="connsiteY21108" fmla="*/ 4284974 h 5973007"/>
              <a:gd name="connsiteX21109" fmla="*/ 1207998 w 6884782"/>
              <a:gd name="connsiteY21109" fmla="*/ 4285180 h 5973007"/>
              <a:gd name="connsiteX21110" fmla="*/ 1199478 w 6884782"/>
              <a:gd name="connsiteY21110" fmla="*/ 4280018 h 5973007"/>
              <a:gd name="connsiteX21111" fmla="*/ 1210166 w 6884782"/>
              <a:gd name="connsiteY21111" fmla="*/ 4270621 h 5973007"/>
              <a:gd name="connsiteX21112" fmla="*/ 1423613 w 6884782"/>
              <a:gd name="connsiteY21112" fmla="*/ 4270105 h 5973007"/>
              <a:gd name="connsiteX21113" fmla="*/ 1426092 w 6884782"/>
              <a:gd name="connsiteY21113" fmla="*/ 4270105 h 5973007"/>
              <a:gd name="connsiteX21114" fmla="*/ 1435075 w 6884782"/>
              <a:gd name="connsiteY21114" fmla="*/ 4276507 h 5973007"/>
              <a:gd name="connsiteX21115" fmla="*/ 1432442 w 6884782"/>
              <a:gd name="connsiteY21115" fmla="*/ 4276507 h 5973007"/>
              <a:gd name="connsiteX21116" fmla="*/ 1423613 w 6884782"/>
              <a:gd name="connsiteY21116" fmla="*/ 4270105 h 5973007"/>
              <a:gd name="connsiteX21117" fmla="*/ 5655060 w 6884782"/>
              <a:gd name="connsiteY21117" fmla="*/ 4270020 h 5973007"/>
              <a:gd name="connsiteX21118" fmla="*/ 5657539 w 6884782"/>
              <a:gd name="connsiteY21118" fmla="*/ 4272498 h 5973007"/>
              <a:gd name="connsiteX21119" fmla="*/ 5656300 w 6884782"/>
              <a:gd name="connsiteY21119" fmla="*/ 4273324 h 5973007"/>
              <a:gd name="connsiteX21120" fmla="*/ 5656764 w 6884782"/>
              <a:gd name="connsiteY21120" fmla="*/ 4274150 h 5973007"/>
              <a:gd name="connsiteX21121" fmla="*/ 5655060 w 6884782"/>
              <a:gd name="connsiteY21121" fmla="*/ 4274150 h 5973007"/>
              <a:gd name="connsiteX21122" fmla="*/ 5654441 w 6884782"/>
              <a:gd name="connsiteY21122" fmla="*/ 4273531 h 5973007"/>
              <a:gd name="connsiteX21123" fmla="*/ 5654286 w 6884782"/>
              <a:gd name="connsiteY21123" fmla="*/ 4273427 h 5973007"/>
              <a:gd name="connsiteX21124" fmla="*/ 5654131 w 6884782"/>
              <a:gd name="connsiteY21124" fmla="*/ 4271569 h 5973007"/>
              <a:gd name="connsiteX21125" fmla="*/ 5655060 w 6884782"/>
              <a:gd name="connsiteY21125" fmla="*/ 4270020 h 5973007"/>
              <a:gd name="connsiteX21126" fmla="*/ 5835824 w 6884782"/>
              <a:gd name="connsiteY21126" fmla="*/ 4269813 h 5973007"/>
              <a:gd name="connsiteX21127" fmla="*/ 5831487 w 6884782"/>
              <a:gd name="connsiteY21127" fmla="*/ 4277454 h 5973007"/>
              <a:gd name="connsiteX21128" fmla="*/ 5830558 w 6884782"/>
              <a:gd name="connsiteY21128" fmla="*/ 4270020 h 5973007"/>
              <a:gd name="connsiteX21129" fmla="*/ 5835824 w 6884782"/>
              <a:gd name="connsiteY21129" fmla="*/ 4269813 h 5973007"/>
              <a:gd name="connsiteX21130" fmla="*/ 1035907 w 6884782"/>
              <a:gd name="connsiteY21130" fmla="*/ 4269589 h 5973007"/>
              <a:gd name="connsiteX21131" fmla="*/ 1047990 w 6884782"/>
              <a:gd name="connsiteY21131" fmla="*/ 4276817 h 5973007"/>
              <a:gd name="connsiteX21132" fmla="*/ 1048919 w 6884782"/>
              <a:gd name="connsiteY21132" fmla="*/ 4279192 h 5973007"/>
              <a:gd name="connsiteX21133" fmla="*/ 1046750 w 6884782"/>
              <a:gd name="connsiteY21133" fmla="*/ 4282496 h 5973007"/>
              <a:gd name="connsiteX21134" fmla="*/ 1045821 w 6884782"/>
              <a:gd name="connsiteY21134" fmla="*/ 4278985 h 5973007"/>
              <a:gd name="connsiteX21135" fmla="*/ 1046595 w 6884782"/>
              <a:gd name="connsiteY21135" fmla="*/ 4276507 h 5973007"/>
              <a:gd name="connsiteX21136" fmla="*/ 1040864 w 6884782"/>
              <a:gd name="connsiteY21136" fmla="*/ 4275371 h 5973007"/>
              <a:gd name="connsiteX21137" fmla="*/ 1036062 w 6884782"/>
              <a:gd name="connsiteY21137" fmla="*/ 4273513 h 5973007"/>
              <a:gd name="connsiteX21138" fmla="*/ 1035907 w 6884782"/>
              <a:gd name="connsiteY21138" fmla="*/ 4269589 h 5973007"/>
              <a:gd name="connsiteX21139" fmla="*/ 5375782 w 6884782"/>
              <a:gd name="connsiteY21139" fmla="*/ 4269400 h 5973007"/>
              <a:gd name="connsiteX21140" fmla="*/ 5380274 w 6884782"/>
              <a:gd name="connsiteY21140" fmla="*/ 4271775 h 5973007"/>
              <a:gd name="connsiteX21141" fmla="*/ 5380894 w 6884782"/>
              <a:gd name="connsiteY21141" fmla="*/ 4282101 h 5973007"/>
              <a:gd name="connsiteX21142" fmla="*/ 5371910 w 6884782"/>
              <a:gd name="connsiteY21142" fmla="*/ 4284372 h 5973007"/>
              <a:gd name="connsiteX21143" fmla="*/ 5371290 w 6884782"/>
              <a:gd name="connsiteY21143" fmla="*/ 4286231 h 5973007"/>
              <a:gd name="connsiteX21144" fmla="*/ 5368192 w 6884782"/>
              <a:gd name="connsiteY21144" fmla="*/ 4288090 h 5973007"/>
              <a:gd name="connsiteX21145" fmla="*/ 5367108 w 6884782"/>
              <a:gd name="connsiteY21145" fmla="*/ 4286438 h 5973007"/>
              <a:gd name="connsiteX21146" fmla="*/ 5370051 w 6884782"/>
              <a:gd name="connsiteY21146" fmla="*/ 4283650 h 5973007"/>
              <a:gd name="connsiteX21147" fmla="*/ 5370051 w 6884782"/>
              <a:gd name="connsiteY21147" fmla="*/ 4282824 h 5973007"/>
              <a:gd name="connsiteX21148" fmla="*/ 5368038 w 6884782"/>
              <a:gd name="connsiteY21148" fmla="*/ 4281171 h 5973007"/>
              <a:gd name="connsiteX21149" fmla="*/ 5366954 w 6884782"/>
              <a:gd name="connsiteY21149" fmla="*/ 4272498 h 5973007"/>
              <a:gd name="connsiteX21150" fmla="*/ 5375782 w 6884782"/>
              <a:gd name="connsiteY21150" fmla="*/ 4269400 h 5973007"/>
              <a:gd name="connsiteX21151" fmla="*/ 1302445 w 6884782"/>
              <a:gd name="connsiteY21151" fmla="*/ 4268943 h 5973007"/>
              <a:gd name="connsiteX21152" fmla="*/ 1308060 w 6884782"/>
              <a:gd name="connsiteY21152" fmla="*/ 4273203 h 5973007"/>
              <a:gd name="connsiteX21153" fmla="*/ 1309145 w 6884782"/>
              <a:gd name="connsiteY21153" fmla="*/ 4279502 h 5973007"/>
              <a:gd name="connsiteX21154" fmla="*/ 1308525 w 6884782"/>
              <a:gd name="connsiteY21154" fmla="*/ 4280637 h 5973007"/>
              <a:gd name="connsiteX21155" fmla="*/ 1310384 w 6884782"/>
              <a:gd name="connsiteY21155" fmla="*/ 4279605 h 5973007"/>
              <a:gd name="connsiteX21156" fmla="*/ 1320607 w 6884782"/>
              <a:gd name="connsiteY21156" fmla="*/ 4281464 h 5973007"/>
              <a:gd name="connsiteX21157" fmla="*/ 1305427 w 6884782"/>
              <a:gd name="connsiteY21157" fmla="*/ 4293338 h 5973007"/>
              <a:gd name="connsiteX21158" fmla="*/ 1301555 w 6884782"/>
              <a:gd name="connsiteY21158" fmla="*/ 4290034 h 5973007"/>
              <a:gd name="connsiteX21159" fmla="*/ 1301245 w 6884782"/>
              <a:gd name="connsiteY21159" fmla="*/ 4287452 h 5973007"/>
              <a:gd name="connsiteX21160" fmla="*/ 1290867 w 6884782"/>
              <a:gd name="connsiteY21160" fmla="*/ 4277643 h 5973007"/>
              <a:gd name="connsiteX21161" fmla="*/ 1293655 w 6884782"/>
              <a:gd name="connsiteY21161" fmla="*/ 4273513 h 5973007"/>
              <a:gd name="connsiteX21162" fmla="*/ 1293500 w 6884782"/>
              <a:gd name="connsiteY21162" fmla="*/ 4273100 h 5973007"/>
              <a:gd name="connsiteX21163" fmla="*/ 1294120 w 6884782"/>
              <a:gd name="connsiteY21163" fmla="*/ 4272790 h 5973007"/>
              <a:gd name="connsiteX21164" fmla="*/ 1295204 w 6884782"/>
              <a:gd name="connsiteY21164" fmla="*/ 4271035 h 5973007"/>
              <a:gd name="connsiteX21165" fmla="*/ 1302445 w 6884782"/>
              <a:gd name="connsiteY21165" fmla="*/ 4268943 h 5973007"/>
              <a:gd name="connsiteX21166" fmla="*/ 5724764 w 6884782"/>
              <a:gd name="connsiteY21166" fmla="*/ 4268265 h 5973007"/>
              <a:gd name="connsiteX21167" fmla="*/ 5725228 w 6884782"/>
              <a:gd name="connsiteY21167" fmla="*/ 4270123 h 5973007"/>
              <a:gd name="connsiteX21168" fmla="*/ 5725848 w 6884782"/>
              <a:gd name="connsiteY21168" fmla="*/ 4269607 h 5973007"/>
              <a:gd name="connsiteX21169" fmla="*/ 5729875 w 6884782"/>
              <a:gd name="connsiteY21169" fmla="*/ 4268471 h 5973007"/>
              <a:gd name="connsiteX21170" fmla="*/ 5727242 w 6884782"/>
              <a:gd name="connsiteY21170" fmla="*/ 4271052 h 5973007"/>
              <a:gd name="connsiteX21171" fmla="*/ 5725848 w 6884782"/>
              <a:gd name="connsiteY21171" fmla="*/ 4271982 h 5973007"/>
              <a:gd name="connsiteX21172" fmla="*/ 5726623 w 6884782"/>
              <a:gd name="connsiteY21172" fmla="*/ 4274150 h 5973007"/>
              <a:gd name="connsiteX21173" fmla="*/ 5724764 w 6884782"/>
              <a:gd name="connsiteY21173" fmla="*/ 4277971 h 5973007"/>
              <a:gd name="connsiteX21174" fmla="*/ 5726468 w 6884782"/>
              <a:gd name="connsiteY21174" fmla="*/ 4278384 h 5973007"/>
              <a:gd name="connsiteX21175" fmla="*/ 5723989 w 6884782"/>
              <a:gd name="connsiteY21175" fmla="*/ 4280965 h 5973007"/>
              <a:gd name="connsiteX21176" fmla="*/ 5723370 w 6884782"/>
              <a:gd name="connsiteY21176" fmla="*/ 4280345 h 5973007"/>
              <a:gd name="connsiteX21177" fmla="*/ 5721046 w 6884782"/>
              <a:gd name="connsiteY21177" fmla="*/ 4279829 h 5973007"/>
              <a:gd name="connsiteX21178" fmla="*/ 5720581 w 6884782"/>
              <a:gd name="connsiteY21178" fmla="*/ 4281068 h 5973007"/>
              <a:gd name="connsiteX21179" fmla="*/ 5717329 w 6884782"/>
              <a:gd name="connsiteY21179" fmla="*/ 4283133 h 5973007"/>
              <a:gd name="connsiteX21180" fmla="*/ 5715780 w 6884782"/>
              <a:gd name="connsiteY21180" fmla="*/ 4282101 h 5973007"/>
              <a:gd name="connsiteX21181" fmla="*/ 5714386 w 6884782"/>
              <a:gd name="connsiteY21181" fmla="*/ 4280552 h 5973007"/>
              <a:gd name="connsiteX21182" fmla="*/ 5713611 w 6884782"/>
              <a:gd name="connsiteY21182" fmla="*/ 4278694 h 5973007"/>
              <a:gd name="connsiteX21183" fmla="*/ 5713611 w 6884782"/>
              <a:gd name="connsiteY21183" fmla="*/ 4275802 h 5973007"/>
              <a:gd name="connsiteX21184" fmla="*/ 5715780 w 6884782"/>
              <a:gd name="connsiteY21184" fmla="*/ 4272498 h 5973007"/>
              <a:gd name="connsiteX21185" fmla="*/ 5717329 w 6884782"/>
              <a:gd name="connsiteY21185" fmla="*/ 4271569 h 5973007"/>
              <a:gd name="connsiteX21186" fmla="*/ 5717793 w 6884782"/>
              <a:gd name="connsiteY21186" fmla="*/ 4271775 h 5973007"/>
              <a:gd name="connsiteX21187" fmla="*/ 5720737 w 6884782"/>
              <a:gd name="connsiteY21187" fmla="*/ 4269504 h 5973007"/>
              <a:gd name="connsiteX21188" fmla="*/ 5724764 w 6884782"/>
              <a:gd name="connsiteY21188" fmla="*/ 4268265 h 5973007"/>
              <a:gd name="connsiteX21189" fmla="*/ 4869272 w 6884782"/>
              <a:gd name="connsiteY21189" fmla="*/ 4268161 h 5973007"/>
              <a:gd name="connsiteX21190" fmla="*/ 4869891 w 6884782"/>
              <a:gd name="connsiteY21190" fmla="*/ 4268574 h 5973007"/>
              <a:gd name="connsiteX21191" fmla="*/ 4872679 w 6884782"/>
              <a:gd name="connsiteY21191" fmla="*/ 4270330 h 5973007"/>
              <a:gd name="connsiteX21192" fmla="*/ 4871595 w 6884782"/>
              <a:gd name="connsiteY21192" fmla="*/ 4274873 h 5973007"/>
              <a:gd name="connsiteX21193" fmla="*/ 4868342 w 6884782"/>
              <a:gd name="connsiteY21193" fmla="*/ 4275079 h 5973007"/>
              <a:gd name="connsiteX21194" fmla="*/ 4866638 w 6884782"/>
              <a:gd name="connsiteY21194" fmla="*/ 4273840 h 5973007"/>
              <a:gd name="connsiteX21195" fmla="*/ 4867413 w 6884782"/>
              <a:gd name="connsiteY21195" fmla="*/ 4269091 h 5973007"/>
              <a:gd name="connsiteX21196" fmla="*/ 4869272 w 6884782"/>
              <a:gd name="connsiteY21196" fmla="*/ 4268161 h 5973007"/>
              <a:gd name="connsiteX21197" fmla="*/ 5820180 w 6884782"/>
              <a:gd name="connsiteY21197" fmla="*/ 4267026 h 5973007"/>
              <a:gd name="connsiteX21198" fmla="*/ 5818631 w 6884782"/>
              <a:gd name="connsiteY21198" fmla="*/ 4276215 h 5973007"/>
              <a:gd name="connsiteX21199" fmla="*/ 5817237 w 6884782"/>
              <a:gd name="connsiteY21199" fmla="*/ 4274357 h 5973007"/>
              <a:gd name="connsiteX21200" fmla="*/ 5820180 w 6884782"/>
              <a:gd name="connsiteY21200" fmla="*/ 4267026 h 5973007"/>
              <a:gd name="connsiteX21201" fmla="*/ 5577147 w 6884782"/>
              <a:gd name="connsiteY21201" fmla="*/ 4266819 h 5973007"/>
              <a:gd name="connsiteX21202" fmla="*/ 5571726 w 6884782"/>
              <a:gd name="connsiteY21202" fmla="*/ 4277454 h 5973007"/>
              <a:gd name="connsiteX21203" fmla="*/ 5567544 w 6884782"/>
              <a:gd name="connsiteY21203" fmla="*/ 4276628 h 5973007"/>
              <a:gd name="connsiteX21204" fmla="*/ 5577147 w 6884782"/>
              <a:gd name="connsiteY21204" fmla="*/ 4266819 h 5973007"/>
              <a:gd name="connsiteX21205" fmla="*/ 5666833 w 6884782"/>
              <a:gd name="connsiteY21205" fmla="*/ 4266303 h 5973007"/>
              <a:gd name="connsiteX21206" fmla="*/ 5688518 w 6884782"/>
              <a:gd name="connsiteY21206" fmla="*/ 4276318 h 5973007"/>
              <a:gd name="connsiteX21207" fmla="*/ 5669001 w 6884782"/>
              <a:gd name="connsiteY21207" fmla="*/ 4271569 h 5973007"/>
              <a:gd name="connsiteX21208" fmla="*/ 5666833 w 6884782"/>
              <a:gd name="connsiteY21208" fmla="*/ 4266303 h 5973007"/>
              <a:gd name="connsiteX21209" fmla="*/ 5632136 w 6884782"/>
              <a:gd name="connsiteY21209" fmla="*/ 4266096 h 5973007"/>
              <a:gd name="connsiteX21210" fmla="*/ 5639880 w 6884782"/>
              <a:gd name="connsiteY21210" fmla="*/ 4281584 h 5973007"/>
              <a:gd name="connsiteX21211" fmla="*/ 5628573 w 6884782"/>
              <a:gd name="connsiteY21211" fmla="*/ 4286438 h 5973007"/>
              <a:gd name="connsiteX21212" fmla="*/ 5617111 w 6884782"/>
              <a:gd name="connsiteY21212" fmla="*/ 4281378 h 5973007"/>
              <a:gd name="connsiteX21213" fmla="*/ 5618505 w 6884782"/>
              <a:gd name="connsiteY21213" fmla="*/ 4275905 h 5973007"/>
              <a:gd name="connsiteX21214" fmla="*/ 5632136 w 6884782"/>
              <a:gd name="connsiteY21214" fmla="*/ 4266096 h 5973007"/>
              <a:gd name="connsiteX21215" fmla="*/ 1232471 w 6884782"/>
              <a:gd name="connsiteY21215" fmla="*/ 4265975 h 5973007"/>
              <a:gd name="connsiteX21216" fmla="*/ 1232626 w 6884782"/>
              <a:gd name="connsiteY21216" fmla="*/ 4266698 h 5973007"/>
              <a:gd name="connsiteX21217" fmla="*/ 1230922 w 6884782"/>
              <a:gd name="connsiteY21217" fmla="*/ 4268969 h 5973007"/>
              <a:gd name="connsiteX21218" fmla="*/ 1228599 w 6884782"/>
              <a:gd name="connsiteY21218" fmla="*/ 4268246 h 5973007"/>
              <a:gd name="connsiteX21219" fmla="*/ 1229528 w 6884782"/>
              <a:gd name="connsiteY21219" fmla="*/ 4266181 h 5973007"/>
              <a:gd name="connsiteX21220" fmla="*/ 1232471 w 6884782"/>
              <a:gd name="connsiteY21220" fmla="*/ 4265975 h 5973007"/>
              <a:gd name="connsiteX21221" fmla="*/ 697150 w 6884782"/>
              <a:gd name="connsiteY21221" fmla="*/ 4265046 h 5973007"/>
              <a:gd name="connsiteX21222" fmla="*/ 697769 w 6884782"/>
              <a:gd name="connsiteY21222" fmla="*/ 4266904 h 5973007"/>
              <a:gd name="connsiteX21223" fmla="*/ 696065 w 6884782"/>
              <a:gd name="connsiteY21223" fmla="*/ 4268350 h 5973007"/>
              <a:gd name="connsiteX21224" fmla="*/ 693277 w 6884782"/>
              <a:gd name="connsiteY21224" fmla="*/ 4268556 h 5973007"/>
              <a:gd name="connsiteX21225" fmla="*/ 691108 w 6884782"/>
              <a:gd name="connsiteY21225" fmla="*/ 4267524 h 5973007"/>
              <a:gd name="connsiteX21226" fmla="*/ 690334 w 6884782"/>
              <a:gd name="connsiteY21226" fmla="*/ 4265665 h 5973007"/>
              <a:gd name="connsiteX21227" fmla="*/ 697150 w 6884782"/>
              <a:gd name="connsiteY21227" fmla="*/ 4265046 h 5973007"/>
              <a:gd name="connsiteX21228" fmla="*/ 1397126 w 6884782"/>
              <a:gd name="connsiteY21228" fmla="*/ 4264426 h 5973007"/>
              <a:gd name="connsiteX21229" fmla="*/ 1413854 w 6884782"/>
              <a:gd name="connsiteY21229" fmla="*/ 4279811 h 5973007"/>
              <a:gd name="connsiteX21230" fmla="*/ 1408279 w 6884782"/>
              <a:gd name="connsiteY21230" fmla="*/ 4284561 h 5973007"/>
              <a:gd name="connsiteX21231" fmla="*/ 1409672 w 6884782"/>
              <a:gd name="connsiteY21231" fmla="*/ 4288795 h 5973007"/>
              <a:gd name="connsiteX21232" fmla="*/ 1405955 w 6884782"/>
              <a:gd name="connsiteY21232" fmla="*/ 4291273 h 5973007"/>
              <a:gd name="connsiteX21233" fmla="*/ 1400998 w 6884782"/>
              <a:gd name="connsiteY21233" fmla="*/ 4288381 h 5973007"/>
              <a:gd name="connsiteX21234" fmla="*/ 1400379 w 6884782"/>
              <a:gd name="connsiteY21234" fmla="*/ 4287452 h 5973007"/>
              <a:gd name="connsiteX21235" fmla="*/ 1399139 w 6884782"/>
              <a:gd name="connsiteY21235" fmla="*/ 4287762 h 5973007"/>
              <a:gd name="connsiteX21236" fmla="*/ 1375595 w 6884782"/>
              <a:gd name="connsiteY21236" fmla="*/ 4272067 h 5973007"/>
              <a:gd name="connsiteX21237" fmla="*/ 1376214 w 6884782"/>
              <a:gd name="connsiteY21237" fmla="*/ 4269486 h 5973007"/>
              <a:gd name="connsiteX21238" fmla="*/ 1397126 w 6884782"/>
              <a:gd name="connsiteY21238" fmla="*/ 4264426 h 5973007"/>
              <a:gd name="connsiteX21239" fmla="*/ 1074941 w 6884782"/>
              <a:gd name="connsiteY21239" fmla="*/ 4264220 h 5973007"/>
              <a:gd name="connsiteX21240" fmla="*/ 1076645 w 6884782"/>
              <a:gd name="connsiteY21240" fmla="*/ 4269692 h 5973007"/>
              <a:gd name="connsiteX21241" fmla="*/ 1077110 w 6884782"/>
              <a:gd name="connsiteY21241" fmla="*/ 4269589 h 5973007"/>
              <a:gd name="connsiteX21242" fmla="*/ 1080673 w 6884782"/>
              <a:gd name="connsiteY21242" fmla="*/ 4280018 h 5973007"/>
              <a:gd name="connsiteX21243" fmla="*/ 1080518 w 6884782"/>
              <a:gd name="connsiteY21243" fmla="*/ 4283322 h 5973007"/>
              <a:gd name="connsiteX21244" fmla="*/ 1080982 w 6884782"/>
              <a:gd name="connsiteY21244" fmla="*/ 4290240 h 5973007"/>
              <a:gd name="connsiteX21245" fmla="*/ 1078969 w 6884782"/>
              <a:gd name="connsiteY21245" fmla="*/ 4300256 h 5973007"/>
              <a:gd name="connsiteX21246" fmla="*/ 1072308 w 6884782"/>
              <a:gd name="connsiteY21246" fmla="*/ 4293132 h 5973007"/>
              <a:gd name="connsiteX21247" fmla="*/ 1071689 w 6884782"/>
              <a:gd name="connsiteY21247" fmla="*/ 4293132 h 5973007"/>
              <a:gd name="connsiteX21248" fmla="*/ 1064408 w 6884782"/>
              <a:gd name="connsiteY21248" fmla="*/ 4273306 h 5973007"/>
              <a:gd name="connsiteX21249" fmla="*/ 1070450 w 6884782"/>
              <a:gd name="connsiteY21249" fmla="*/ 4270208 h 5973007"/>
              <a:gd name="connsiteX21250" fmla="*/ 1072618 w 6884782"/>
              <a:gd name="connsiteY21250" fmla="*/ 4270002 h 5973007"/>
              <a:gd name="connsiteX21251" fmla="*/ 1310539 w 6884782"/>
              <a:gd name="connsiteY21251" fmla="*/ 4263394 h 5973007"/>
              <a:gd name="connsiteX21252" fmla="*/ 1316580 w 6884782"/>
              <a:gd name="connsiteY21252" fmla="*/ 4268246 h 5973007"/>
              <a:gd name="connsiteX21253" fmla="*/ 1311003 w 6884782"/>
              <a:gd name="connsiteY21253" fmla="*/ 4270518 h 5973007"/>
              <a:gd name="connsiteX21254" fmla="*/ 1305582 w 6884782"/>
              <a:gd name="connsiteY21254" fmla="*/ 4268969 h 5973007"/>
              <a:gd name="connsiteX21255" fmla="*/ 1310539 w 6884782"/>
              <a:gd name="connsiteY21255" fmla="*/ 4263394 h 5973007"/>
              <a:gd name="connsiteX21256" fmla="*/ 1241455 w 6884782"/>
              <a:gd name="connsiteY21256" fmla="*/ 4263394 h 5973007"/>
              <a:gd name="connsiteX21257" fmla="*/ 1242075 w 6884782"/>
              <a:gd name="connsiteY21257" fmla="*/ 4265975 h 5973007"/>
              <a:gd name="connsiteX21258" fmla="*/ 1237738 w 6884782"/>
              <a:gd name="connsiteY21258" fmla="*/ 4266698 h 5973007"/>
              <a:gd name="connsiteX21259" fmla="*/ 1237892 w 6884782"/>
              <a:gd name="connsiteY21259" fmla="*/ 4263807 h 5973007"/>
              <a:gd name="connsiteX21260" fmla="*/ 1241455 w 6884782"/>
              <a:gd name="connsiteY21260" fmla="*/ 4263394 h 5973007"/>
              <a:gd name="connsiteX21261" fmla="*/ 5543690 w 6884782"/>
              <a:gd name="connsiteY21261" fmla="*/ 4263205 h 5973007"/>
              <a:gd name="connsiteX21262" fmla="*/ 5546323 w 6884782"/>
              <a:gd name="connsiteY21262" fmla="*/ 4265890 h 5973007"/>
              <a:gd name="connsiteX21263" fmla="*/ 5539353 w 6884782"/>
              <a:gd name="connsiteY21263" fmla="*/ 4273221 h 5973007"/>
              <a:gd name="connsiteX21264" fmla="*/ 5535790 w 6884782"/>
              <a:gd name="connsiteY21264" fmla="*/ 4268884 h 5973007"/>
              <a:gd name="connsiteX21265" fmla="*/ 5543690 w 6884782"/>
              <a:gd name="connsiteY21265" fmla="*/ 4263205 h 5973007"/>
              <a:gd name="connsiteX21266" fmla="*/ 1046130 w 6884782"/>
              <a:gd name="connsiteY21266" fmla="*/ 4262877 h 5973007"/>
              <a:gd name="connsiteX21267" fmla="*/ 1046905 w 6884782"/>
              <a:gd name="connsiteY21267" fmla="*/ 4262980 h 5973007"/>
              <a:gd name="connsiteX21268" fmla="*/ 1047835 w 6884782"/>
              <a:gd name="connsiteY21268" fmla="*/ 4264530 h 5973007"/>
              <a:gd name="connsiteX21269" fmla="*/ 1048144 w 6884782"/>
              <a:gd name="connsiteY21269" fmla="*/ 4264426 h 5973007"/>
              <a:gd name="connsiteX21270" fmla="*/ 1051242 w 6884782"/>
              <a:gd name="connsiteY21270" fmla="*/ 4267214 h 5973007"/>
              <a:gd name="connsiteX21271" fmla="*/ 1047680 w 6884782"/>
              <a:gd name="connsiteY21271" fmla="*/ 4270105 h 5973007"/>
              <a:gd name="connsiteX21272" fmla="*/ 1044427 w 6884782"/>
              <a:gd name="connsiteY21272" fmla="*/ 4268556 h 5973007"/>
              <a:gd name="connsiteX21273" fmla="*/ 1043187 w 6884782"/>
              <a:gd name="connsiteY21273" fmla="*/ 4265252 h 5973007"/>
              <a:gd name="connsiteX21274" fmla="*/ 1045356 w 6884782"/>
              <a:gd name="connsiteY21274" fmla="*/ 4264942 h 5973007"/>
              <a:gd name="connsiteX21275" fmla="*/ 5901345 w 6884782"/>
              <a:gd name="connsiteY21275" fmla="*/ 4260933 h 5973007"/>
              <a:gd name="connsiteX21276" fmla="*/ 5916061 w 6884782"/>
              <a:gd name="connsiteY21276" fmla="*/ 4277764 h 5973007"/>
              <a:gd name="connsiteX21277" fmla="*/ 5900726 w 6884782"/>
              <a:gd name="connsiteY21277" fmla="*/ 4266406 h 5973007"/>
              <a:gd name="connsiteX21278" fmla="*/ 5901345 w 6884782"/>
              <a:gd name="connsiteY21278" fmla="*/ 4260933 h 5973007"/>
              <a:gd name="connsiteX21279" fmla="*/ 5447345 w 6884782"/>
              <a:gd name="connsiteY21279" fmla="*/ 4260624 h 5973007"/>
              <a:gd name="connsiteX21280" fmla="*/ 5447809 w 6884782"/>
              <a:gd name="connsiteY21280" fmla="*/ 4264134 h 5973007"/>
              <a:gd name="connsiteX21281" fmla="*/ 5442233 w 6884782"/>
              <a:gd name="connsiteY21281" fmla="*/ 4268574 h 5973007"/>
              <a:gd name="connsiteX21282" fmla="*/ 5440065 w 6884782"/>
              <a:gd name="connsiteY21282" fmla="*/ 4268161 h 5973007"/>
              <a:gd name="connsiteX21283" fmla="*/ 5440374 w 6884782"/>
              <a:gd name="connsiteY21283" fmla="*/ 4263721 h 5973007"/>
              <a:gd name="connsiteX21284" fmla="*/ 5447345 w 6884782"/>
              <a:gd name="connsiteY21284" fmla="*/ 4260624 h 5973007"/>
              <a:gd name="connsiteX21285" fmla="*/ 5357505 w 6884782"/>
              <a:gd name="connsiteY21285" fmla="*/ 4260107 h 5973007"/>
              <a:gd name="connsiteX21286" fmla="*/ 5363236 w 6884782"/>
              <a:gd name="connsiteY21286" fmla="*/ 4264857 h 5973007"/>
              <a:gd name="connsiteX21287" fmla="*/ 5362926 w 6884782"/>
              <a:gd name="connsiteY21287" fmla="*/ 4270020 h 5973007"/>
              <a:gd name="connsiteX21288" fmla="*/ 5357195 w 6884782"/>
              <a:gd name="connsiteY21288" fmla="*/ 4275905 h 5973007"/>
              <a:gd name="connsiteX21289" fmla="*/ 5354097 w 6884782"/>
              <a:gd name="connsiteY21289" fmla="*/ 4273014 h 5973007"/>
              <a:gd name="connsiteX21290" fmla="*/ 5357505 w 6884782"/>
              <a:gd name="connsiteY21290" fmla="*/ 4260107 h 5973007"/>
              <a:gd name="connsiteX21291" fmla="*/ 5752026 w 6884782"/>
              <a:gd name="connsiteY21291" fmla="*/ 4260004 h 5973007"/>
              <a:gd name="connsiteX21292" fmla="*/ 5759925 w 6884782"/>
              <a:gd name="connsiteY21292" fmla="*/ 4262792 h 5973007"/>
              <a:gd name="connsiteX21293" fmla="*/ 5748153 w 6884782"/>
              <a:gd name="connsiteY21293" fmla="*/ 4280242 h 5973007"/>
              <a:gd name="connsiteX21294" fmla="*/ 5745829 w 6884782"/>
              <a:gd name="connsiteY21294" fmla="*/ 4275493 h 5973007"/>
              <a:gd name="connsiteX21295" fmla="*/ 5747379 w 6884782"/>
              <a:gd name="connsiteY21295" fmla="*/ 4266819 h 5973007"/>
              <a:gd name="connsiteX21296" fmla="*/ 5748463 w 6884782"/>
              <a:gd name="connsiteY21296" fmla="*/ 4265373 h 5973007"/>
              <a:gd name="connsiteX21297" fmla="*/ 5748618 w 6884782"/>
              <a:gd name="connsiteY21297" fmla="*/ 4264650 h 5973007"/>
              <a:gd name="connsiteX21298" fmla="*/ 5749547 w 6884782"/>
              <a:gd name="connsiteY21298" fmla="*/ 4263721 h 5973007"/>
              <a:gd name="connsiteX21299" fmla="*/ 5688363 w 6884782"/>
              <a:gd name="connsiteY21299" fmla="*/ 4257939 h 5973007"/>
              <a:gd name="connsiteX21300" fmla="*/ 5688208 w 6884782"/>
              <a:gd name="connsiteY21300" fmla="*/ 4260830 h 5973007"/>
              <a:gd name="connsiteX21301" fmla="*/ 5688518 w 6884782"/>
              <a:gd name="connsiteY21301" fmla="*/ 4262379 h 5973007"/>
              <a:gd name="connsiteX21302" fmla="*/ 5687434 w 6884782"/>
              <a:gd name="connsiteY21302" fmla="*/ 4264237 h 5973007"/>
              <a:gd name="connsiteX21303" fmla="*/ 5684491 w 6884782"/>
              <a:gd name="connsiteY21303" fmla="*/ 4266406 h 5973007"/>
              <a:gd name="connsiteX21304" fmla="*/ 5680463 w 6884782"/>
              <a:gd name="connsiteY21304" fmla="*/ 4265890 h 5973007"/>
              <a:gd name="connsiteX21305" fmla="*/ 5681393 w 6884782"/>
              <a:gd name="connsiteY21305" fmla="*/ 4265890 h 5973007"/>
              <a:gd name="connsiteX21306" fmla="*/ 5681547 w 6884782"/>
              <a:gd name="connsiteY21306" fmla="*/ 4264134 h 5973007"/>
              <a:gd name="connsiteX21307" fmla="*/ 5680773 w 6884782"/>
              <a:gd name="connsiteY21307" fmla="*/ 4264134 h 5973007"/>
              <a:gd name="connsiteX21308" fmla="*/ 5681702 w 6884782"/>
              <a:gd name="connsiteY21308" fmla="*/ 4262379 h 5973007"/>
              <a:gd name="connsiteX21309" fmla="*/ 5684646 w 6884782"/>
              <a:gd name="connsiteY21309" fmla="*/ 4260210 h 5973007"/>
              <a:gd name="connsiteX21310" fmla="*/ 5683716 w 6884782"/>
              <a:gd name="connsiteY21310" fmla="*/ 4258455 h 5973007"/>
              <a:gd name="connsiteX21311" fmla="*/ 5688363 w 6884782"/>
              <a:gd name="connsiteY21311" fmla="*/ 4257939 h 5973007"/>
              <a:gd name="connsiteX21312" fmla="*/ 1360570 w 6884782"/>
              <a:gd name="connsiteY21312" fmla="*/ 4257198 h 5973007"/>
              <a:gd name="connsiteX21313" fmla="*/ 1360415 w 6884782"/>
              <a:gd name="connsiteY21313" fmla="*/ 4261432 h 5973007"/>
              <a:gd name="connsiteX21314" fmla="*/ 1353600 w 6884782"/>
              <a:gd name="connsiteY21314" fmla="*/ 4262361 h 5973007"/>
              <a:gd name="connsiteX21315" fmla="*/ 1351431 w 6884782"/>
              <a:gd name="connsiteY21315" fmla="*/ 4263600 h 5973007"/>
              <a:gd name="connsiteX21316" fmla="*/ 1349263 w 6884782"/>
              <a:gd name="connsiteY21316" fmla="*/ 4263497 h 5973007"/>
              <a:gd name="connsiteX21317" fmla="*/ 1354530 w 6884782"/>
              <a:gd name="connsiteY21317" fmla="*/ 4260709 h 5973007"/>
              <a:gd name="connsiteX21318" fmla="*/ 1355459 w 6884782"/>
              <a:gd name="connsiteY21318" fmla="*/ 4258231 h 5973007"/>
              <a:gd name="connsiteX21319" fmla="*/ 1360570 w 6884782"/>
              <a:gd name="connsiteY21319" fmla="*/ 4257198 h 5973007"/>
              <a:gd name="connsiteX21320" fmla="*/ 5637092 w 6884782"/>
              <a:gd name="connsiteY21320" fmla="*/ 4257113 h 5973007"/>
              <a:gd name="connsiteX21321" fmla="*/ 5638177 w 6884782"/>
              <a:gd name="connsiteY21321" fmla="*/ 4263515 h 5973007"/>
              <a:gd name="connsiteX21322" fmla="*/ 5636628 w 6884782"/>
              <a:gd name="connsiteY21322" fmla="*/ 4260624 h 5973007"/>
              <a:gd name="connsiteX21323" fmla="*/ 5637092 w 6884782"/>
              <a:gd name="connsiteY21323" fmla="*/ 4257113 h 5973007"/>
              <a:gd name="connsiteX21324" fmla="*/ 5456019 w 6884782"/>
              <a:gd name="connsiteY21324" fmla="*/ 4256597 h 5973007"/>
              <a:gd name="connsiteX21325" fmla="*/ 5456329 w 6884782"/>
              <a:gd name="connsiteY21325" fmla="*/ 4259281 h 5973007"/>
              <a:gd name="connsiteX21326" fmla="*/ 5454934 w 6884782"/>
              <a:gd name="connsiteY21326" fmla="*/ 4260210 h 5973007"/>
              <a:gd name="connsiteX21327" fmla="*/ 5454470 w 6884782"/>
              <a:gd name="connsiteY21327" fmla="*/ 4262999 h 5973007"/>
              <a:gd name="connsiteX21328" fmla="*/ 5452921 w 6884782"/>
              <a:gd name="connsiteY21328" fmla="*/ 4263102 h 5973007"/>
              <a:gd name="connsiteX21329" fmla="*/ 5453695 w 6884782"/>
              <a:gd name="connsiteY21329" fmla="*/ 4257629 h 5973007"/>
              <a:gd name="connsiteX21330" fmla="*/ 5456019 w 6884782"/>
              <a:gd name="connsiteY21330" fmla="*/ 4256597 h 5973007"/>
              <a:gd name="connsiteX21331" fmla="*/ 1261281 w 6884782"/>
              <a:gd name="connsiteY21331" fmla="*/ 4255340 h 5973007"/>
              <a:gd name="connsiteX21332" fmla="*/ 1258184 w 6884782"/>
              <a:gd name="connsiteY21332" fmla="*/ 4259470 h 5973007"/>
              <a:gd name="connsiteX21333" fmla="*/ 1256170 w 6884782"/>
              <a:gd name="connsiteY21333" fmla="*/ 4256682 h 5973007"/>
              <a:gd name="connsiteX21334" fmla="*/ 1261281 w 6884782"/>
              <a:gd name="connsiteY21334" fmla="*/ 4255340 h 5973007"/>
              <a:gd name="connsiteX21335" fmla="*/ 1410544 w 6884782"/>
              <a:gd name="connsiteY21335" fmla="*/ 4253946 h 5973007"/>
              <a:gd name="connsiteX21336" fmla="*/ 1418347 w 6884782"/>
              <a:gd name="connsiteY21336" fmla="*/ 4257611 h 5973007"/>
              <a:gd name="connsiteX21337" fmla="*/ 1418811 w 6884782"/>
              <a:gd name="connsiteY21337" fmla="*/ 4260296 h 5973007"/>
              <a:gd name="connsiteX21338" fmla="*/ 1409827 w 6884782"/>
              <a:gd name="connsiteY21338" fmla="*/ 4265665 h 5973007"/>
              <a:gd name="connsiteX21339" fmla="*/ 1401773 w 6884782"/>
              <a:gd name="connsiteY21339" fmla="*/ 4260606 h 5973007"/>
              <a:gd name="connsiteX21340" fmla="*/ 1402392 w 6884782"/>
              <a:gd name="connsiteY21340" fmla="*/ 4257405 h 5973007"/>
              <a:gd name="connsiteX21341" fmla="*/ 1410544 w 6884782"/>
              <a:gd name="connsiteY21341" fmla="*/ 4253946 h 5973007"/>
              <a:gd name="connsiteX21342" fmla="*/ 692657 w 6884782"/>
              <a:gd name="connsiteY21342" fmla="*/ 4253791 h 5973007"/>
              <a:gd name="connsiteX21343" fmla="*/ 694981 w 6884782"/>
              <a:gd name="connsiteY21343" fmla="*/ 4256888 h 5973007"/>
              <a:gd name="connsiteX21344" fmla="*/ 693277 w 6884782"/>
              <a:gd name="connsiteY21344" fmla="*/ 4257714 h 5973007"/>
              <a:gd name="connsiteX21345" fmla="*/ 691728 w 6884782"/>
              <a:gd name="connsiteY21345" fmla="*/ 4257198 h 5973007"/>
              <a:gd name="connsiteX21346" fmla="*/ 691264 w 6884782"/>
              <a:gd name="connsiteY21346" fmla="*/ 4255649 h 5973007"/>
              <a:gd name="connsiteX21347" fmla="*/ 692657 w 6884782"/>
              <a:gd name="connsiteY21347" fmla="*/ 4253791 h 5973007"/>
              <a:gd name="connsiteX21348" fmla="*/ 5902120 w 6884782"/>
              <a:gd name="connsiteY21348" fmla="*/ 4253189 h 5973007"/>
              <a:gd name="connsiteX21349" fmla="*/ 5902275 w 6884782"/>
              <a:gd name="connsiteY21349" fmla="*/ 4256493 h 5973007"/>
              <a:gd name="connsiteX21350" fmla="*/ 5901810 w 6884782"/>
              <a:gd name="connsiteY21350" fmla="*/ 4257009 h 5973007"/>
              <a:gd name="connsiteX21351" fmla="*/ 5901345 w 6884782"/>
              <a:gd name="connsiteY21351" fmla="*/ 4256390 h 5973007"/>
              <a:gd name="connsiteX21352" fmla="*/ 5902120 w 6884782"/>
              <a:gd name="connsiteY21352" fmla="*/ 4253189 h 5973007"/>
              <a:gd name="connsiteX21353" fmla="*/ 1385199 w 6884782"/>
              <a:gd name="connsiteY21353" fmla="*/ 4252552 h 5973007"/>
              <a:gd name="connsiteX21354" fmla="*/ 1387987 w 6884782"/>
              <a:gd name="connsiteY21354" fmla="*/ 4258024 h 5973007"/>
              <a:gd name="connsiteX21355" fmla="*/ 1383650 w 6884782"/>
              <a:gd name="connsiteY21355" fmla="*/ 4259676 h 5973007"/>
              <a:gd name="connsiteX21356" fmla="*/ 1380862 w 6884782"/>
              <a:gd name="connsiteY21356" fmla="*/ 4257405 h 5973007"/>
              <a:gd name="connsiteX21357" fmla="*/ 1385199 w 6884782"/>
              <a:gd name="connsiteY21357" fmla="*/ 4252552 h 5973007"/>
              <a:gd name="connsiteX21358" fmla="*/ 1074128 w 6884782"/>
              <a:gd name="connsiteY21358" fmla="*/ 4252242 h 5973007"/>
              <a:gd name="connsiteX21359" fmla="*/ 1077885 w 6884782"/>
              <a:gd name="connsiteY21359" fmla="*/ 4255443 h 5973007"/>
              <a:gd name="connsiteX21360" fmla="*/ 1076026 w 6884782"/>
              <a:gd name="connsiteY21360" fmla="*/ 4256888 h 5973007"/>
              <a:gd name="connsiteX21361" fmla="*/ 1069210 w 6884782"/>
              <a:gd name="connsiteY21361" fmla="*/ 4253378 h 5973007"/>
              <a:gd name="connsiteX21362" fmla="*/ 1074128 w 6884782"/>
              <a:gd name="connsiteY21362" fmla="*/ 4252242 h 5973007"/>
              <a:gd name="connsiteX21363" fmla="*/ 1508032 w 6884782"/>
              <a:gd name="connsiteY21363" fmla="*/ 4250590 h 5973007"/>
              <a:gd name="connsiteX21364" fmla="*/ 1510045 w 6884782"/>
              <a:gd name="connsiteY21364" fmla="*/ 4277953 h 5973007"/>
              <a:gd name="connsiteX21365" fmla="*/ 1506173 w 6884782"/>
              <a:gd name="connsiteY21365" fmla="*/ 4274339 h 5973007"/>
              <a:gd name="connsiteX21366" fmla="*/ 1501061 w 6884782"/>
              <a:gd name="connsiteY21366" fmla="*/ 4279295 h 5973007"/>
              <a:gd name="connsiteX21367" fmla="*/ 1493006 w 6884782"/>
              <a:gd name="connsiteY21367" fmla="*/ 4282599 h 5973007"/>
              <a:gd name="connsiteX21368" fmla="*/ 1488204 w 6884782"/>
              <a:gd name="connsiteY21368" fmla="*/ 4282806 h 5973007"/>
              <a:gd name="connsiteX21369" fmla="*/ 1485261 w 6884782"/>
              <a:gd name="connsiteY21369" fmla="*/ 4286110 h 5973007"/>
              <a:gd name="connsiteX21370" fmla="*/ 1479221 w 6884782"/>
              <a:gd name="connsiteY21370" fmla="*/ 4286936 h 5973007"/>
              <a:gd name="connsiteX21371" fmla="*/ 1475968 w 6884782"/>
              <a:gd name="connsiteY21371" fmla="*/ 4285594 h 5973007"/>
              <a:gd name="connsiteX21372" fmla="*/ 1473800 w 6884782"/>
              <a:gd name="connsiteY21372" fmla="*/ 4278366 h 5973007"/>
              <a:gd name="connsiteX21373" fmla="*/ 1477362 w 6884782"/>
              <a:gd name="connsiteY21373" fmla="*/ 4273926 h 5973007"/>
              <a:gd name="connsiteX21374" fmla="*/ 1480615 w 6884782"/>
              <a:gd name="connsiteY21374" fmla="*/ 4273719 h 5973007"/>
              <a:gd name="connsiteX21375" fmla="*/ 1480305 w 6884782"/>
              <a:gd name="connsiteY21375" fmla="*/ 4272480 h 5973007"/>
              <a:gd name="connsiteX21376" fmla="*/ 1503075 w 6884782"/>
              <a:gd name="connsiteY21376" fmla="*/ 4257302 h 5973007"/>
              <a:gd name="connsiteX21377" fmla="*/ 1505553 w 6884782"/>
              <a:gd name="connsiteY21377" fmla="*/ 4257611 h 5973007"/>
              <a:gd name="connsiteX21378" fmla="*/ 1505708 w 6884782"/>
              <a:gd name="connsiteY21378" fmla="*/ 4256682 h 5973007"/>
              <a:gd name="connsiteX21379" fmla="*/ 1508032 w 6884782"/>
              <a:gd name="connsiteY21379" fmla="*/ 4250590 h 5973007"/>
              <a:gd name="connsiteX21380" fmla="*/ 5451991 w 6884782"/>
              <a:gd name="connsiteY21380" fmla="*/ 4250092 h 5973007"/>
              <a:gd name="connsiteX21381" fmla="*/ 5451372 w 6884782"/>
              <a:gd name="connsiteY21381" fmla="*/ 4251847 h 5973007"/>
              <a:gd name="connsiteX21382" fmla="*/ 5448429 w 6884782"/>
              <a:gd name="connsiteY21382" fmla="*/ 4256390 h 5973007"/>
              <a:gd name="connsiteX21383" fmla="*/ 5447345 w 6884782"/>
              <a:gd name="connsiteY21383" fmla="*/ 4253808 h 5973007"/>
              <a:gd name="connsiteX21384" fmla="*/ 5448739 w 6884782"/>
              <a:gd name="connsiteY21384" fmla="*/ 4251950 h 5973007"/>
              <a:gd name="connsiteX21385" fmla="*/ 5449358 w 6884782"/>
              <a:gd name="connsiteY21385" fmla="*/ 4250195 h 5973007"/>
              <a:gd name="connsiteX21386" fmla="*/ 5451991 w 6884782"/>
              <a:gd name="connsiteY21386" fmla="*/ 4250092 h 5973007"/>
              <a:gd name="connsiteX21387" fmla="*/ 5543845 w 6884782"/>
              <a:gd name="connsiteY21387" fmla="*/ 4249472 h 5973007"/>
              <a:gd name="connsiteX21388" fmla="*/ 5547253 w 6884782"/>
              <a:gd name="connsiteY21388" fmla="*/ 4255977 h 5973007"/>
              <a:gd name="connsiteX21389" fmla="*/ 5545239 w 6884782"/>
              <a:gd name="connsiteY21389" fmla="*/ 4262069 h 5973007"/>
              <a:gd name="connsiteX21390" fmla="*/ 5541831 w 6884782"/>
              <a:gd name="connsiteY21390" fmla="*/ 4259901 h 5973007"/>
              <a:gd name="connsiteX21391" fmla="*/ 5542296 w 6884782"/>
              <a:gd name="connsiteY21391" fmla="*/ 4254841 h 5973007"/>
              <a:gd name="connsiteX21392" fmla="*/ 5541986 w 6884782"/>
              <a:gd name="connsiteY21392" fmla="*/ 4251434 h 5973007"/>
              <a:gd name="connsiteX21393" fmla="*/ 5543845 w 6884782"/>
              <a:gd name="connsiteY21393" fmla="*/ 4249472 h 5973007"/>
              <a:gd name="connsiteX21394" fmla="*/ 1328816 w 6884782"/>
              <a:gd name="connsiteY21394" fmla="*/ 4249041 h 5973007"/>
              <a:gd name="connsiteX21395" fmla="*/ 1333773 w 6884782"/>
              <a:gd name="connsiteY21395" fmla="*/ 4251932 h 5973007"/>
              <a:gd name="connsiteX21396" fmla="*/ 1330830 w 6884782"/>
              <a:gd name="connsiteY21396" fmla="*/ 4255753 h 5973007"/>
              <a:gd name="connsiteX21397" fmla="*/ 1326338 w 6884782"/>
              <a:gd name="connsiteY21397" fmla="*/ 4254101 h 5973007"/>
              <a:gd name="connsiteX21398" fmla="*/ 1328816 w 6884782"/>
              <a:gd name="connsiteY21398" fmla="*/ 4249041 h 5973007"/>
              <a:gd name="connsiteX21399" fmla="*/ 1048919 w 6884782"/>
              <a:gd name="connsiteY21399" fmla="*/ 4248938 h 5973007"/>
              <a:gd name="connsiteX21400" fmla="*/ 1050932 w 6884782"/>
              <a:gd name="connsiteY21400" fmla="*/ 4251209 h 5973007"/>
              <a:gd name="connsiteX21401" fmla="*/ 1051242 w 6884782"/>
              <a:gd name="connsiteY21401" fmla="*/ 4250693 h 5973007"/>
              <a:gd name="connsiteX21402" fmla="*/ 1051862 w 6884782"/>
              <a:gd name="connsiteY21402" fmla="*/ 4250177 h 5973007"/>
              <a:gd name="connsiteX21403" fmla="*/ 1175159 w 6884782"/>
              <a:gd name="connsiteY21403" fmla="*/ 4248628 h 5973007"/>
              <a:gd name="connsiteX21404" fmla="*/ 1175469 w 6884782"/>
              <a:gd name="connsiteY21404" fmla="*/ 4253274 h 5973007"/>
              <a:gd name="connsiteX21405" fmla="*/ 1176709 w 6884782"/>
              <a:gd name="connsiteY21405" fmla="*/ 4254101 h 5973007"/>
              <a:gd name="connsiteX21406" fmla="*/ 1177018 w 6884782"/>
              <a:gd name="connsiteY21406" fmla="*/ 4250486 h 5973007"/>
              <a:gd name="connsiteX21407" fmla="*/ 632093 w 6884782"/>
              <a:gd name="connsiteY21407" fmla="*/ 4247802 h 5973007"/>
              <a:gd name="connsiteX21408" fmla="*/ 634571 w 6884782"/>
              <a:gd name="connsiteY21408" fmla="*/ 4260296 h 5973007"/>
              <a:gd name="connsiteX21409" fmla="*/ 625587 w 6884782"/>
              <a:gd name="connsiteY21409" fmla="*/ 4252862 h 5973007"/>
              <a:gd name="connsiteX21410" fmla="*/ 632093 w 6884782"/>
              <a:gd name="connsiteY21410" fmla="*/ 4247802 h 5973007"/>
              <a:gd name="connsiteX21411" fmla="*/ 1477052 w 6884782"/>
              <a:gd name="connsiteY21411" fmla="*/ 4247699 h 5973007"/>
              <a:gd name="connsiteX21412" fmla="*/ 1479530 w 6884782"/>
              <a:gd name="connsiteY21412" fmla="*/ 4248421 h 5973007"/>
              <a:gd name="connsiteX21413" fmla="*/ 1479840 w 6884782"/>
              <a:gd name="connsiteY21413" fmla="*/ 4248112 h 5973007"/>
              <a:gd name="connsiteX21414" fmla="*/ 1486346 w 6884782"/>
              <a:gd name="connsiteY21414" fmla="*/ 4248008 h 5973007"/>
              <a:gd name="connsiteX21415" fmla="*/ 1486036 w 6884782"/>
              <a:gd name="connsiteY21415" fmla="*/ 4262051 h 5973007"/>
              <a:gd name="connsiteX21416" fmla="*/ 1478911 w 6884782"/>
              <a:gd name="connsiteY21416" fmla="*/ 4261019 h 5973007"/>
              <a:gd name="connsiteX21417" fmla="*/ 1477207 w 6884782"/>
              <a:gd name="connsiteY21417" fmla="*/ 4258024 h 5973007"/>
              <a:gd name="connsiteX21418" fmla="*/ 1473335 w 6884782"/>
              <a:gd name="connsiteY21418" fmla="*/ 4255959 h 5973007"/>
              <a:gd name="connsiteX21419" fmla="*/ 1472095 w 6884782"/>
              <a:gd name="connsiteY21419" fmla="*/ 4249661 h 5973007"/>
              <a:gd name="connsiteX21420" fmla="*/ 1477052 w 6884782"/>
              <a:gd name="connsiteY21420" fmla="*/ 4247699 h 5973007"/>
              <a:gd name="connsiteX21421" fmla="*/ 1241145 w 6884782"/>
              <a:gd name="connsiteY21421" fmla="*/ 4247079 h 5973007"/>
              <a:gd name="connsiteX21422" fmla="*/ 1243623 w 6884782"/>
              <a:gd name="connsiteY21422" fmla="*/ 4252035 h 5973007"/>
              <a:gd name="connsiteX21423" fmla="*/ 1234795 w 6884782"/>
              <a:gd name="connsiteY21423" fmla="*/ 4256475 h 5973007"/>
              <a:gd name="connsiteX21424" fmla="*/ 1241145 w 6884782"/>
              <a:gd name="connsiteY21424" fmla="*/ 4247079 h 5973007"/>
              <a:gd name="connsiteX21425" fmla="*/ 5600382 w 6884782"/>
              <a:gd name="connsiteY21425" fmla="*/ 4246684 h 5973007"/>
              <a:gd name="connsiteX21426" fmla="*/ 5607662 w 6884782"/>
              <a:gd name="connsiteY21426" fmla="*/ 4250608 h 5973007"/>
              <a:gd name="connsiteX21427" fmla="*/ 5607662 w 6884782"/>
              <a:gd name="connsiteY21427" fmla="*/ 4255977 h 5973007"/>
              <a:gd name="connsiteX21428" fmla="*/ 5605184 w 6884782"/>
              <a:gd name="connsiteY21428" fmla="*/ 4257319 h 5973007"/>
              <a:gd name="connsiteX21429" fmla="*/ 5602396 w 6884782"/>
              <a:gd name="connsiteY21429" fmla="*/ 4256080 h 5973007"/>
              <a:gd name="connsiteX21430" fmla="*/ 5598368 w 6884782"/>
              <a:gd name="connsiteY21430" fmla="*/ 4252982 h 5973007"/>
              <a:gd name="connsiteX21431" fmla="*/ 5598678 w 6884782"/>
              <a:gd name="connsiteY21431" fmla="*/ 4250298 h 5973007"/>
              <a:gd name="connsiteX21432" fmla="*/ 5600382 w 6884782"/>
              <a:gd name="connsiteY21432" fmla="*/ 4246684 h 5973007"/>
              <a:gd name="connsiteX21433" fmla="*/ 5380739 w 6884782"/>
              <a:gd name="connsiteY21433" fmla="*/ 4246271 h 5973007"/>
              <a:gd name="connsiteX21434" fmla="*/ 5376402 w 6884782"/>
              <a:gd name="connsiteY21434" fmla="*/ 4253602 h 5973007"/>
              <a:gd name="connsiteX21435" fmla="*/ 5380739 w 6884782"/>
              <a:gd name="connsiteY21435" fmla="*/ 4246271 h 5973007"/>
              <a:gd name="connsiteX21436" fmla="*/ 5417759 w 6884782"/>
              <a:gd name="connsiteY21436" fmla="*/ 4245961 h 5973007"/>
              <a:gd name="connsiteX21437" fmla="*/ 5414661 w 6884782"/>
              <a:gd name="connsiteY21437" fmla="*/ 4248749 h 5973007"/>
              <a:gd name="connsiteX21438" fmla="*/ 5413732 w 6884782"/>
              <a:gd name="connsiteY21438" fmla="*/ 4248026 h 5973007"/>
              <a:gd name="connsiteX21439" fmla="*/ 5417759 w 6884782"/>
              <a:gd name="connsiteY21439" fmla="*/ 4245961 h 5973007"/>
              <a:gd name="connsiteX21440" fmla="*/ 1498428 w 6884782"/>
              <a:gd name="connsiteY21440" fmla="*/ 4244601 h 5973007"/>
              <a:gd name="connsiteX21441" fmla="*/ 1496414 w 6884782"/>
              <a:gd name="connsiteY21441" fmla="*/ 4255340 h 5973007"/>
              <a:gd name="connsiteX21442" fmla="*/ 1494865 w 6884782"/>
              <a:gd name="connsiteY21442" fmla="*/ 4255546 h 5973007"/>
              <a:gd name="connsiteX21443" fmla="*/ 1489599 w 6884782"/>
              <a:gd name="connsiteY21443" fmla="*/ 4248628 h 5973007"/>
              <a:gd name="connsiteX21444" fmla="*/ 1498428 w 6884782"/>
              <a:gd name="connsiteY21444" fmla="*/ 4244601 h 5973007"/>
              <a:gd name="connsiteX21445" fmla="*/ 5522624 w 6884782"/>
              <a:gd name="connsiteY21445" fmla="*/ 4242347 h 5973007"/>
              <a:gd name="connsiteX21446" fmla="*/ 5527890 w 6884782"/>
              <a:gd name="connsiteY21446" fmla="*/ 4244515 h 5973007"/>
              <a:gd name="connsiteX21447" fmla="*/ 5532382 w 6884782"/>
              <a:gd name="connsiteY21447" fmla="*/ 4250711 h 5973007"/>
              <a:gd name="connsiteX21448" fmla="*/ 5531143 w 6884782"/>
              <a:gd name="connsiteY21448" fmla="*/ 4251021 h 5973007"/>
              <a:gd name="connsiteX21449" fmla="*/ 5522624 w 6884782"/>
              <a:gd name="connsiteY21449" fmla="*/ 4242347 h 5973007"/>
              <a:gd name="connsiteX21450" fmla="*/ 5918229 w 6884782"/>
              <a:gd name="connsiteY21450" fmla="*/ 4242141 h 5973007"/>
              <a:gd name="connsiteX21451" fmla="*/ 5917145 w 6884782"/>
              <a:gd name="connsiteY21451" fmla="*/ 4242967 h 5973007"/>
              <a:gd name="connsiteX21452" fmla="*/ 5915906 w 6884782"/>
              <a:gd name="connsiteY21452" fmla="*/ 4247200 h 5973007"/>
              <a:gd name="connsiteX21453" fmla="*/ 5920398 w 6884782"/>
              <a:gd name="connsiteY21453" fmla="*/ 4245961 h 5973007"/>
              <a:gd name="connsiteX21454" fmla="*/ 5919004 w 6884782"/>
              <a:gd name="connsiteY21454" fmla="*/ 4244412 h 5973007"/>
              <a:gd name="connsiteX21455" fmla="*/ 4988697 w 6884782"/>
              <a:gd name="connsiteY21455" fmla="*/ 4241418 h 5973007"/>
              <a:gd name="connsiteX21456" fmla="*/ 4990400 w 6884782"/>
              <a:gd name="connsiteY21456" fmla="*/ 4244103 h 5973007"/>
              <a:gd name="connsiteX21457" fmla="*/ 4980177 w 6884782"/>
              <a:gd name="connsiteY21457" fmla="*/ 4257732 h 5973007"/>
              <a:gd name="connsiteX21458" fmla="*/ 4978009 w 6884782"/>
              <a:gd name="connsiteY21458" fmla="*/ 4256390 h 5973007"/>
              <a:gd name="connsiteX21459" fmla="*/ 4988697 w 6884782"/>
              <a:gd name="connsiteY21459" fmla="*/ 4241418 h 5973007"/>
              <a:gd name="connsiteX21460" fmla="*/ 1304343 w 6884782"/>
              <a:gd name="connsiteY21460" fmla="*/ 4241090 h 5973007"/>
              <a:gd name="connsiteX21461" fmla="*/ 1321071 w 6884782"/>
              <a:gd name="connsiteY21461" fmla="*/ 4249661 h 5973007"/>
              <a:gd name="connsiteX21462" fmla="*/ 1302329 w 6884782"/>
              <a:gd name="connsiteY21462" fmla="*/ 4264736 h 5973007"/>
              <a:gd name="connsiteX21463" fmla="*/ 1295824 w 6884782"/>
              <a:gd name="connsiteY21463" fmla="*/ 4263290 h 5973007"/>
              <a:gd name="connsiteX21464" fmla="*/ 1293190 w 6884782"/>
              <a:gd name="connsiteY21464" fmla="*/ 4260399 h 5973007"/>
              <a:gd name="connsiteX21465" fmla="*/ 1304343 w 6884782"/>
              <a:gd name="connsiteY21465" fmla="*/ 4241090 h 5973007"/>
              <a:gd name="connsiteX21466" fmla="*/ 5266774 w 6884782"/>
              <a:gd name="connsiteY21466" fmla="*/ 4240514 h 5973007"/>
              <a:gd name="connsiteX21467" fmla="*/ 5270453 w 6884782"/>
              <a:gd name="connsiteY21467" fmla="*/ 4242554 h 5973007"/>
              <a:gd name="connsiteX21468" fmla="*/ 5268130 w 6884782"/>
              <a:gd name="connsiteY21468" fmla="*/ 4247613 h 5973007"/>
              <a:gd name="connsiteX21469" fmla="*/ 5263792 w 6884782"/>
              <a:gd name="connsiteY21469" fmla="*/ 4242347 h 5973007"/>
              <a:gd name="connsiteX21470" fmla="*/ 5266774 w 6884782"/>
              <a:gd name="connsiteY21470" fmla="*/ 4240514 h 5973007"/>
              <a:gd name="connsiteX21471" fmla="*/ 1346320 w 6884782"/>
              <a:gd name="connsiteY21471" fmla="*/ 4240471 h 5973007"/>
              <a:gd name="connsiteX21472" fmla="*/ 1348179 w 6884782"/>
              <a:gd name="connsiteY21472" fmla="*/ 4241710 h 5973007"/>
              <a:gd name="connsiteX21473" fmla="*/ 1348024 w 6884782"/>
              <a:gd name="connsiteY21473" fmla="*/ 4246046 h 5973007"/>
              <a:gd name="connsiteX21474" fmla="*/ 1344616 w 6884782"/>
              <a:gd name="connsiteY21474" fmla="*/ 4249144 h 5973007"/>
              <a:gd name="connsiteX21475" fmla="*/ 1343842 w 6884782"/>
              <a:gd name="connsiteY21475" fmla="*/ 4251726 h 5973007"/>
              <a:gd name="connsiteX21476" fmla="*/ 1342912 w 6884782"/>
              <a:gd name="connsiteY21476" fmla="*/ 4251622 h 5973007"/>
              <a:gd name="connsiteX21477" fmla="*/ 1344925 w 6884782"/>
              <a:gd name="connsiteY21477" fmla="*/ 4241297 h 5973007"/>
              <a:gd name="connsiteX21478" fmla="*/ 1346320 w 6884782"/>
              <a:gd name="connsiteY21478" fmla="*/ 4240471 h 5973007"/>
              <a:gd name="connsiteX21479" fmla="*/ 1383650 w 6884782"/>
              <a:gd name="connsiteY21479" fmla="*/ 4240058 h 5973007"/>
              <a:gd name="connsiteX21480" fmla="*/ 1381326 w 6884782"/>
              <a:gd name="connsiteY21480" fmla="*/ 4247079 h 5973007"/>
              <a:gd name="connsiteX21481" fmla="*/ 1383650 w 6884782"/>
              <a:gd name="connsiteY21481" fmla="*/ 4240058 h 5973007"/>
              <a:gd name="connsiteX21482" fmla="*/ 5522779 w 6884782"/>
              <a:gd name="connsiteY21482" fmla="*/ 4239146 h 5973007"/>
              <a:gd name="connsiteX21483" fmla="*/ 5509922 w 6884782"/>
              <a:gd name="connsiteY21483" fmla="*/ 4246994 h 5973007"/>
              <a:gd name="connsiteX21484" fmla="*/ 5509303 w 6884782"/>
              <a:gd name="connsiteY21484" fmla="*/ 4246580 h 5973007"/>
              <a:gd name="connsiteX21485" fmla="*/ 5509768 w 6884782"/>
              <a:gd name="connsiteY21485" fmla="*/ 4244412 h 5973007"/>
              <a:gd name="connsiteX21486" fmla="*/ 5513021 w 6884782"/>
              <a:gd name="connsiteY21486" fmla="*/ 4242450 h 5973007"/>
              <a:gd name="connsiteX21487" fmla="*/ 5521075 w 6884782"/>
              <a:gd name="connsiteY21487" fmla="*/ 4240179 h 5973007"/>
              <a:gd name="connsiteX21488" fmla="*/ 5522779 w 6884782"/>
              <a:gd name="connsiteY21488" fmla="*/ 4239146 h 5973007"/>
              <a:gd name="connsiteX21489" fmla="*/ 674689 w 6884782"/>
              <a:gd name="connsiteY21489" fmla="*/ 4239129 h 5973007"/>
              <a:gd name="connsiteX21490" fmla="*/ 696375 w 6884782"/>
              <a:gd name="connsiteY21490" fmla="*/ 4253378 h 5973007"/>
              <a:gd name="connsiteX21491" fmla="*/ 692502 w 6884782"/>
              <a:gd name="connsiteY21491" fmla="*/ 4250797 h 5973007"/>
              <a:gd name="connsiteX21492" fmla="*/ 692038 w 6884782"/>
              <a:gd name="connsiteY21492" fmla="*/ 4252862 h 5973007"/>
              <a:gd name="connsiteX21493" fmla="*/ 686927 w 6884782"/>
              <a:gd name="connsiteY21493" fmla="*/ 4255236 h 5973007"/>
              <a:gd name="connsiteX21494" fmla="*/ 685067 w 6884782"/>
              <a:gd name="connsiteY21494" fmla="*/ 4254307 h 5973007"/>
              <a:gd name="connsiteX21495" fmla="*/ 684448 w 6884782"/>
              <a:gd name="connsiteY21495" fmla="*/ 4252448 h 5973007"/>
              <a:gd name="connsiteX21496" fmla="*/ 683983 w 6884782"/>
              <a:gd name="connsiteY21496" fmla="*/ 4250280 h 5973007"/>
              <a:gd name="connsiteX21497" fmla="*/ 685222 w 6884782"/>
              <a:gd name="connsiteY21497" fmla="*/ 4247079 h 5973007"/>
              <a:gd name="connsiteX21498" fmla="*/ 679956 w 6884782"/>
              <a:gd name="connsiteY21498" fmla="*/ 4244085 h 5973007"/>
              <a:gd name="connsiteX21499" fmla="*/ 674689 w 6884782"/>
              <a:gd name="connsiteY21499" fmla="*/ 4239129 h 5973007"/>
              <a:gd name="connsiteX21500" fmla="*/ 5360757 w 6884782"/>
              <a:gd name="connsiteY21500" fmla="*/ 4238940 h 5973007"/>
              <a:gd name="connsiteX21501" fmla="*/ 5364010 w 6884782"/>
              <a:gd name="connsiteY21501" fmla="*/ 4248542 h 5973007"/>
              <a:gd name="connsiteX21502" fmla="*/ 5361222 w 6884782"/>
              <a:gd name="connsiteY21502" fmla="*/ 4258868 h 5973007"/>
              <a:gd name="connsiteX21503" fmla="*/ 5358744 w 6884782"/>
              <a:gd name="connsiteY21503" fmla="*/ 4254635 h 5973007"/>
              <a:gd name="connsiteX21504" fmla="*/ 5360757 w 6884782"/>
              <a:gd name="connsiteY21504" fmla="*/ 4238940 h 5973007"/>
              <a:gd name="connsiteX21505" fmla="*/ 5229135 w 6884782"/>
              <a:gd name="connsiteY21505" fmla="*/ 4238294 h 5973007"/>
              <a:gd name="connsiteX21506" fmla="*/ 5243036 w 6884782"/>
              <a:gd name="connsiteY21506" fmla="*/ 4240385 h 5973007"/>
              <a:gd name="connsiteX21507" fmla="*/ 5216859 w 6884782"/>
              <a:gd name="connsiteY21507" fmla="*/ 4248749 h 5973007"/>
              <a:gd name="connsiteX21508" fmla="*/ 5229135 w 6884782"/>
              <a:gd name="connsiteY21508" fmla="*/ 4238294 h 5973007"/>
              <a:gd name="connsiteX21509" fmla="*/ 5665438 w 6884782"/>
              <a:gd name="connsiteY21509" fmla="*/ 4237701 h 5973007"/>
              <a:gd name="connsiteX21510" fmla="*/ 5668691 w 6884782"/>
              <a:gd name="connsiteY21510" fmla="*/ 4243896 h 5973007"/>
              <a:gd name="connsiteX21511" fmla="*/ 5656455 w 6884782"/>
              <a:gd name="connsiteY21511" fmla="*/ 4249575 h 5973007"/>
              <a:gd name="connsiteX21512" fmla="*/ 5665438 w 6884782"/>
              <a:gd name="connsiteY21512" fmla="*/ 4237701 h 5973007"/>
              <a:gd name="connsiteX21513" fmla="*/ 4900870 w 6884782"/>
              <a:gd name="connsiteY21513" fmla="*/ 4236874 h 5973007"/>
              <a:gd name="connsiteX21514" fmla="*/ 4915121 w 6884782"/>
              <a:gd name="connsiteY21514" fmla="*/ 4245961 h 5973007"/>
              <a:gd name="connsiteX21515" fmla="*/ 4914501 w 6884782"/>
              <a:gd name="connsiteY21515" fmla="*/ 4264754 h 5973007"/>
              <a:gd name="connsiteX21516" fmla="*/ 4909389 w 6884782"/>
              <a:gd name="connsiteY21516" fmla="*/ 4265580 h 5973007"/>
              <a:gd name="connsiteX21517" fmla="*/ 4901025 w 6884782"/>
              <a:gd name="connsiteY21517" fmla="*/ 4255874 h 5973007"/>
              <a:gd name="connsiteX21518" fmla="*/ 4899321 w 6884782"/>
              <a:gd name="connsiteY21518" fmla="*/ 4249781 h 5973007"/>
              <a:gd name="connsiteX21519" fmla="*/ 4898857 w 6884782"/>
              <a:gd name="connsiteY21519" fmla="*/ 4238940 h 5973007"/>
              <a:gd name="connsiteX21520" fmla="*/ 4900870 w 6884782"/>
              <a:gd name="connsiteY21520" fmla="*/ 4236874 h 5973007"/>
              <a:gd name="connsiteX21521" fmla="*/ 5819250 w 6884782"/>
              <a:gd name="connsiteY21521" fmla="*/ 4235636 h 5973007"/>
              <a:gd name="connsiteX21522" fmla="*/ 5820335 w 6884782"/>
              <a:gd name="connsiteY21522" fmla="*/ 4236565 h 5973007"/>
              <a:gd name="connsiteX21523" fmla="*/ 5820335 w 6884782"/>
              <a:gd name="connsiteY21523" fmla="*/ 4235842 h 5973007"/>
              <a:gd name="connsiteX21524" fmla="*/ 5528820 w 6884782"/>
              <a:gd name="connsiteY21524" fmla="*/ 4235532 h 5973007"/>
              <a:gd name="connsiteX21525" fmla="*/ 5530369 w 6884782"/>
              <a:gd name="connsiteY21525" fmla="*/ 4237597 h 5973007"/>
              <a:gd name="connsiteX21526" fmla="*/ 5525722 w 6884782"/>
              <a:gd name="connsiteY21526" fmla="*/ 4238733 h 5973007"/>
              <a:gd name="connsiteX21527" fmla="*/ 5524018 w 6884782"/>
              <a:gd name="connsiteY21527" fmla="*/ 4239869 h 5973007"/>
              <a:gd name="connsiteX21528" fmla="*/ 5524328 w 6884782"/>
              <a:gd name="connsiteY21528" fmla="*/ 4237907 h 5973007"/>
              <a:gd name="connsiteX21529" fmla="*/ 5527271 w 6884782"/>
              <a:gd name="connsiteY21529" fmla="*/ 4237701 h 5973007"/>
              <a:gd name="connsiteX21530" fmla="*/ 5527735 w 6884782"/>
              <a:gd name="connsiteY21530" fmla="*/ 4235842 h 5973007"/>
              <a:gd name="connsiteX21531" fmla="*/ 5528820 w 6884782"/>
              <a:gd name="connsiteY21531" fmla="*/ 4235532 h 5973007"/>
              <a:gd name="connsiteX21532" fmla="*/ 5641739 w 6884782"/>
              <a:gd name="connsiteY21532" fmla="*/ 4234809 h 5973007"/>
              <a:gd name="connsiteX21533" fmla="*/ 5643598 w 6884782"/>
              <a:gd name="connsiteY21533" fmla="*/ 4236048 h 5973007"/>
              <a:gd name="connsiteX21534" fmla="*/ 5643753 w 6884782"/>
              <a:gd name="connsiteY21534" fmla="*/ 4236048 h 5973007"/>
              <a:gd name="connsiteX21535" fmla="*/ 5643288 w 6884782"/>
              <a:gd name="connsiteY21535" fmla="*/ 4243896 h 5973007"/>
              <a:gd name="connsiteX21536" fmla="*/ 5640500 w 6884782"/>
              <a:gd name="connsiteY21536" fmla="*/ 4245961 h 5973007"/>
              <a:gd name="connsiteX21537" fmla="*/ 5636937 w 6884782"/>
              <a:gd name="connsiteY21537" fmla="*/ 4245961 h 5973007"/>
              <a:gd name="connsiteX21538" fmla="*/ 5634149 w 6884782"/>
              <a:gd name="connsiteY21538" fmla="*/ 4246891 h 5973007"/>
              <a:gd name="connsiteX21539" fmla="*/ 5631206 w 6884782"/>
              <a:gd name="connsiteY21539" fmla="*/ 4246374 h 5973007"/>
              <a:gd name="connsiteX21540" fmla="*/ 5629812 w 6884782"/>
              <a:gd name="connsiteY21540" fmla="*/ 4242037 h 5973007"/>
              <a:gd name="connsiteX21541" fmla="*/ 5633530 w 6884782"/>
              <a:gd name="connsiteY21541" fmla="*/ 4237907 h 5973007"/>
              <a:gd name="connsiteX21542" fmla="*/ 5633375 w 6884782"/>
              <a:gd name="connsiteY21542" fmla="*/ 4237288 h 5973007"/>
              <a:gd name="connsiteX21543" fmla="*/ 5641739 w 6884782"/>
              <a:gd name="connsiteY21543" fmla="*/ 4234809 h 5973007"/>
              <a:gd name="connsiteX21544" fmla="*/ 1264070 w 6884782"/>
              <a:gd name="connsiteY21544" fmla="*/ 4234275 h 5973007"/>
              <a:gd name="connsiteX21545" fmla="*/ 1268717 w 6884782"/>
              <a:gd name="connsiteY21545" fmla="*/ 4236444 h 5973007"/>
              <a:gd name="connsiteX21546" fmla="*/ 1252607 w 6884782"/>
              <a:gd name="connsiteY21546" fmla="*/ 4248421 h 5973007"/>
              <a:gd name="connsiteX21547" fmla="*/ 1247032 w 6884782"/>
              <a:gd name="connsiteY21547" fmla="*/ 4246150 h 5973007"/>
              <a:gd name="connsiteX21548" fmla="*/ 1264070 w 6884782"/>
              <a:gd name="connsiteY21548" fmla="*/ 4234275 h 5973007"/>
              <a:gd name="connsiteX21549" fmla="*/ 4944861 w 6884782"/>
              <a:gd name="connsiteY21549" fmla="*/ 4233777 h 5973007"/>
              <a:gd name="connsiteX21550" fmla="*/ 4946875 w 6884782"/>
              <a:gd name="connsiteY21550" fmla="*/ 4242347 h 5973007"/>
              <a:gd name="connsiteX21551" fmla="*/ 4940988 w 6884782"/>
              <a:gd name="connsiteY21551" fmla="*/ 4236978 h 5973007"/>
              <a:gd name="connsiteX21552" fmla="*/ 4944861 w 6884782"/>
              <a:gd name="connsiteY21552" fmla="*/ 4233777 h 5973007"/>
              <a:gd name="connsiteX21553" fmla="*/ 5568590 w 6884782"/>
              <a:gd name="connsiteY21553" fmla="*/ 4233699 h 5973007"/>
              <a:gd name="connsiteX21554" fmla="*/ 5572191 w 6884782"/>
              <a:gd name="connsiteY21554" fmla="*/ 4238113 h 5973007"/>
              <a:gd name="connsiteX21555" fmla="*/ 5571261 w 6884782"/>
              <a:gd name="connsiteY21555" fmla="*/ 4242450 h 5973007"/>
              <a:gd name="connsiteX21556" fmla="*/ 5564756 w 6884782"/>
              <a:gd name="connsiteY21556" fmla="*/ 4246168 h 5973007"/>
              <a:gd name="connsiteX21557" fmla="*/ 5562278 w 6884782"/>
              <a:gd name="connsiteY21557" fmla="*/ 4241831 h 5973007"/>
              <a:gd name="connsiteX21558" fmla="*/ 5561038 w 6884782"/>
              <a:gd name="connsiteY21558" fmla="*/ 4237804 h 5973007"/>
              <a:gd name="connsiteX21559" fmla="*/ 5568590 w 6884782"/>
              <a:gd name="connsiteY21559" fmla="*/ 4233699 h 5973007"/>
              <a:gd name="connsiteX21560" fmla="*/ 569206 w 6884782"/>
              <a:gd name="connsiteY21560" fmla="*/ 4233243 h 5973007"/>
              <a:gd name="connsiteX21561" fmla="*/ 579428 w 6884782"/>
              <a:gd name="connsiteY21561" fmla="*/ 4235514 h 5973007"/>
              <a:gd name="connsiteX21562" fmla="*/ 573077 w 6884782"/>
              <a:gd name="connsiteY21562" fmla="*/ 4235411 h 5973007"/>
              <a:gd name="connsiteX21563" fmla="*/ 569206 w 6884782"/>
              <a:gd name="connsiteY21563" fmla="*/ 4233243 h 5973007"/>
              <a:gd name="connsiteX21564" fmla="*/ 1295824 w 6884782"/>
              <a:gd name="connsiteY21564" fmla="*/ 4232623 h 5973007"/>
              <a:gd name="connsiteX21565" fmla="*/ 1298457 w 6884782"/>
              <a:gd name="connsiteY21565" fmla="*/ 4235205 h 5973007"/>
              <a:gd name="connsiteX21566" fmla="*/ 1296288 w 6884782"/>
              <a:gd name="connsiteY21566" fmla="*/ 4237063 h 5973007"/>
              <a:gd name="connsiteX21567" fmla="*/ 1295049 w 6884782"/>
              <a:gd name="connsiteY21567" fmla="*/ 4234585 h 5973007"/>
              <a:gd name="connsiteX21568" fmla="*/ 1295824 w 6884782"/>
              <a:gd name="connsiteY21568" fmla="*/ 4232623 h 5973007"/>
              <a:gd name="connsiteX21569" fmla="*/ 5462834 w 6884782"/>
              <a:gd name="connsiteY21569" fmla="*/ 4230679 h 5973007"/>
              <a:gd name="connsiteX21570" fmla="*/ 5462369 w 6884782"/>
              <a:gd name="connsiteY21570" fmla="*/ 4238940 h 5973007"/>
              <a:gd name="connsiteX21571" fmla="*/ 5461750 w 6884782"/>
              <a:gd name="connsiteY21571" fmla="*/ 4231918 h 5973007"/>
              <a:gd name="connsiteX21572" fmla="*/ 5462834 w 6884782"/>
              <a:gd name="connsiteY21572" fmla="*/ 4230679 h 5973007"/>
              <a:gd name="connsiteX21573" fmla="*/ 1320762 w 6884782"/>
              <a:gd name="connsiteY21573" fmla="*/ 4230558 h 5973007"/>
              <a:gd name="connsiteX21574" fmla="*/ 1321536 w 6884782"/>
              <a:gd name="connsiteY21574" fmla="*/ 4232520 h 5973007"/>
              <a:gd name="connsiteX21575" fmla="*/ 1321381 w 6884782"/>
              <a:gd name="connsiteY21575" fmla="*/ 4235205 h 5973007"/>
              <a:gd name="connsiteX21576" fmla="*/ 1317045 w 6884782"/>
              <a:gd name="connsiteY21576" fmla="*/ 4235514 h 5973007"/>
              <a:gd name="connsiteX21577" fmla="*/ 1316270 w 6884782"/>
              <a:gd name="connsiteY21577" fmla="*/ 4233656 h 5973007"/>
              <a:gd name="connsiteX21578" fmla="*/ 1317199 w 6884782"/>
              <a:gd name="connsiteY21578" fmla="*/ 4231074 h 5973007"/>
              <a:gd name="connsiteX21579" fmla="*/ 1320762 w 6884782"/>
              <a:gd name="connsiteY21579" fmla="*/ 4230558 h 5973007"/>
              <a:gd name="connsiteX21580" fmla="*/ 1353445 w 6884782"/>
              <a:gd name="connsiteY21580" fmla="*/ 4228596 h 5973007"/>
              <a:gd name="connsiteX21581" fmla="*/ 1353600 w 6884782"/>
              <a:gd name="connsiteY21581" fmla="*/ 4246460 h 5973007"/>
              <a:gd name="connsiteX21582" fmla="*/ 1348798 w 6884782"/>
              <a:gd name="connsiteY21582" fmla="*/ 4231591 h 5973007"/>
              <a:gd name="connsiteX21583" fmla="*/ 1353445 w 6884782"/>
              <a:gd name="connsiteY21583" fmla="*/ 4228596 h 5973007"/>
              <a:gd name="connsiteX21584" fmla="*/ 1399101 w 6884782"/>
              <a:gd name="connsiteY21584" fmla="*/ 4228235 h 5973007"/>
              <a:gd name="connsiteX21585" fmla="*/ 1409827 w 6884782"/>
              <a:gd name="connsiteY21585" fmla="*/ 4236444 h 5973007"/>
              <a:gd name="connsiteX21586" fmla="*/ 1398365 w 6884782"/>
              <a:gd name="connsiteY21586" fmla="*/ 4242742 h 5973007"/>
              <a:gd name="connsiteX21587" fmla="*/ 1387213 w 6884782"/>
              <a:gd name="connsiteY21587" fmla="*/ 4236753 h 5973007"/>
              <a:gd name="connsiteX21588" fmla="*/ 1399101 w 6884782"/>
              <a:gd name="connsiteY21588" fmla="*/ 4228235 h 5973007"/>
              <a:gd name="connsiteX21589" fmla="*/ 1382101 w 6884782"/>
              <a:gd name="connsiteY21589" fmla="*/ 4227770 h 5973007"/>
              <a:gd name="connsiteX21590" fmla="*/ 1379468 w 6884782"/>
              <a:gd name="connsiteY21590" fmla="*/ 4239232 h 5973007"/>
              <a:gd name="connsiteX21591" fmla="*/ 1374666 w 6884782"/>
              <a:gd name="connsiteY21591" fmla="*/ 4241916 h 5973007"/>
              <a:gd name="connsiteX21592" fmla="*/ 1368935 w 6884782"/>
              <a:gd name="connsiteY21592" fmla="*/ 4241710 h 5973007"/>
              <a:gd name="connsiteX21593" fmla="*/ 1364288 w 6884782"/>
              <a:gd name="connsiteY21593" fmla="*/ 4242639 h 5973007"/>
              <a:gd name="connsiteX21594" fmla="*/ 1359641 w 6884782"/>
              <a:gd name="connsiteY21594" fmla="*/ 4241710 h 5973007"/>
              <a:gd name="connsiteX21595" fmla="*/ 1358402 w 6884782"/>
              <a:gd name="connsiteY21595" fmla="*/ 4235411 h 5973007"/>
              <a:gd name="connsiteX21596" fmla="*/ 1382101 w 6884782"/>
              <a:gd name="connsiteY21596" fmla="*/ 4227770 h 5973007"/>
              <a:gd name="connsiteX21597" fmla="*/ 725650 w 6884782"/>
              <a:gd name="connsiteY21597" fmla="*/ 4227770 h 5973007"/>
              <a:gd name="connsiteX21598" fmla="*/ 729678 w 6884782"/>
              <a:gd name="connsiteY21598" fmla="*/ 4229319 h 5973007"/>
              <a:gd name="connsiteX21599" fmla="*/ 731691 w 6884782"/>
              <a:gd name="connsiteY21599" fmla="*/ 4237476 h 5973007"/>
              <a:gd name="connsiteX21600" fmla="*/ 728439 w 6884782"/>
              <a:gd name="connsiteY21600" fmla="*/ 4236960 h 5973007"/>
              <a:gd name="connsiteX21601" fmla="*/ 724876 w 6884782"/>
              <a:gd name="connsiteY21601" fmla="*/ 4229835 h 5973007"/>
              <a:gd name="connsiteX21602" fmla="*/ 725650 w 6884782"/>
              <a:gd name="connsiteY21602" fmla="*/ 4227770 h 5973007"/>
              <a:gd name="connsiteX21603" fmla="*/ 5405522 w 6884782"/>
              <a:gd name="connsiteY21603" fmla="*/ 4227272 h 5973007"/>
              <a:gd name="connsiteX21604" fmla="*/ 5411254 w 6884782"/>
              <a:gd name="connsiteY21604" fmla="*/ 4229130 h 5973007"/>
              <a:gd name="connsiteX21605" fmla="*/ 5411873 w 6884782"/>
              <a:gd name="connsiteY21605" fmla="*/ 4240385 h 5973007"/>
              <a:gd name="connsiteX21606" fmla="*/ 5403819 w 6884782"/>
              <a:gd name="connsiteY21606" fmla="*/ 4244619 h 5973007"/>
              <a:gd name="connsiteX21607" fmla="*/ 5404748 w 6884782"/>
              <a:gd name="connsiteY21607" fmla="*/ 4244619 h 5973007"/>
              <a:gd name="connsiteX21608" fmla="*/ 5406142 w 6884782"/>
              <a:gd name="connsiteY21608" fmla="*/ 4246580 h 5973007"/>
              <a:gd name="connsiteX21609" fmla="*/ 5407691 w 6884782"/>
              <a:gd name="connsiteY21609" fmla="*/ 4246477 h 5973007"/>
              <a:gd name="connsiteX21610" fmla="*/ 5409240 w 6884782"/>
              <a:gd name="connsiteY21610" fmla="*/ 4246477 h 5973007"/>
              <a:gd name="connsiteX21611" fmla="*/ 5409395 w 6884782"/>
              <a:gd name="connsiteY21611" fmla="*/ 4247303 h 5973007"/>
              <a:gd name="connsiteX21612" fmla="*/ 5407226 w 6884782"/>
              <a:gd name="connsiteY21612" fmla="*/ 4247820 h 5973007"/>
              <a:gd name="connsiteX21613" fmla="*/ 5409705 w 6884782"/>
              <a:gd name="connsiteY21613" fmla="*/ 4250917 h 5973007"/>
              <a:gd name="connsiteX21614" fmla="*/ 5411718 w 6884782"/>
              <a:gd name="connsiteY21614" fmla="*/ 4250504 h 5973007"/>
              <a:gd name="connsiteX21615" fmla="*/ 5410324 w 6884782"/>
              <a:gd name="connsiteY21615" fmla="*/ 4252053 h 5973007"/>
              <a:gd name="connsiteX21616" fmla="*/ 5411564 w 6884782"/>
              <a:gd name="connsiteY21616" fmla="*/ 4254428 h 5973007"/>
              <a:gd name="connsiteX21617" fmla="*/ 5411873 w 6884782"/>
              <a:gd name="connsiteY21617" fmla="*/ 4256906 h 5973007"/>
              <a:gd name="connsiteX21618" fmla="*/ 5409395 w 6884782"/>
              <a:gd name="connsiteY21618" fmla="*/ 4255977 h 5973007"/>
              <a:gd name="connsiteX21619" fmla="*/ 5408620 w 6884782"/>
              <a:gd name="connsiteY21619" fmla="*/ 4255047 h 5973007"/>
              <a:gd name="connsiteX21620" fmla="*/ 5407846 w 6884782"/>
              <a:gd name="connsiteY21620" fmla="*/ 4255047 h 5973007"/>
              <a:gd name="connsiteX21621" fmla="*/ 5407846 w 6884782"/>
              <a:gd name="connsiteY21621" fmla="*/ 4254738 h 5973007"/>
              <a:gd name="connsiteX21622" fmla="*/ 5404438 w 6884782"/>
              <a:gd name="connsiteY21622" fmla="*/ 4256287 h 5973007"/>
              <a:gd name="connsiteX21623" fmla="*/ 5398552 w 6884782"/>
              <a:gd name="connsiteY21623" fmla="*/ 4259281 h 5973007"/>
              <a:gd name="connsiteX21624" fmla="*/ 5398087 w 6884782"/>
              <a:gd name="connsiteY21624" fmla="*/ 4255770 h 5973007"/>
              <a:gd name="connsiteX21625" fmla="*/ 5399791 w 6884782"/>
              <a:gd name="connsiteY21625" fmla="*/ 4255667 h 5973007"/>
              <a:gd name="connsiteX21626" fmla="*/ 5404903 w 6884782"/>
              <a:gd name="connsiteY21626" fmla="*/ 4251847 h 5973007"/>
              <a:gd name="connsiteX21627" fmla="*/ 5405213 w 6884782"/>
              <a:gd name="connsiteY21627" fmla="*/ 4251743 h 5973007"/>
              <a:gd name="connsiteX21628" fmla="*/ 5403663 w 6884782"/>
              <a:gd name="connsiteY21628" fmla="*/ 4250814 h 5973007"/>
              <a:gd name="connsiteX21629" fmla="*/ 5401650 w 6884782"/>
              <a:gd name="connsiteY21629" fmla="*/ 4249781 h 5973007"/>
              <a:gd name="connsiteX21630" fmla="*/ 5401495 w 6884782"/>
              <a:gd name="connsiteY21630" fmla="*/ 4249678 h 5973007"/>
              <a:gd name="connsiteX21631" fmla="*/ 5401031 w 6884782"/>
              <a:gd name="connsiteY21631" fmla="*/ 4249781 h 5973007"/>
              <a:gd name="connsiteX21632" fmla="*/ 5397932 w 6884782"/>
              <a:gd name="connsiteY21632" fmla="*/ 4249678 h 5973007"/>
              <a:gd name="connsiteX21633" fmla="*/ 5398707 w 6884782"/>
              <a:gd name="connsiteY21633" fmla="*/ 4249575 h 5973007"/>
              <a:gd name="connsiteX21634" fmla="*/ 5397778 w 6884782"/>
              <a:gd name="connsiteY21634" fmla="*/ 4248852 h 5973007"/>
              <a:gd name="connsiteX21635" fmla="*/ 5400566 w 6884782"/>
              <a:gd name="connsiteY21635" fmla="*/ 4248026 h 5973007"/>
              <a:gd name="connsiteX21636" fmla="*/ 5400101 w 6884782"/>
              <a:gd name="connsiteY21636" fmla="*/ 4247510 h 5973007"/>
              <a:gd name="connsiteX21637" fmla="*/ 5398707 w 6884782"/>
              <a:gd name="connsiteY21637" fmla="*/ 4244515 h 5973007"/>
              <a:gd name="connsiteX21638" fmla="*/ 5400566 w 6884782"/>
              <a:gd name="connsiteY21638" fmla="*/ 4242864 h 5973007"/>
              <a:gd name="connsiteX21639" fmla="*/ 5399172 w 6884782"/>
              <a:gd name="connsiteY21639" fmla="*/ 4241005 h 5973007"/>
              <a:gd name="connsiteX21640" fmla="*/ 5401031 w 6884782"/>
              <a:gd name="connsiteY21640" fmla="*/ 4229853 h 5973007"/>
              <a:gd name="connsiteX21641" fmla="*/ 5405522 w 6884782"/>
              <a:gd name="connsiteY21641" fmla="*/ 4227272 h 5973007"/>
              <a:gd name="connsiteX21642" fmla="*/ 4977467 w 6884782"/>
              <a:gd name="connsiteY21642" fmla="*/ 4226949 h 5973007"/>
              <a:gd name="connsiteX21643" fmla="*/ 4983275 w 6884782"/>
              <a:gd name="connsiteY21643" fmla="*/ 4228821 h 5973007"/>
              <a:gd name="connsiteX21644" fmla="*/ 4984669 w 6884782"/>
              <a:gd name="connsiteY21644" fmla="*/ 4234087 h 5973007"/>
              <a:gd name="connsiteX21645" fmla="*/ 4979403 w 6884782"/>
              <a:gd name="connsiteY21645" fmla="*/ 4235532 h 5973007"/>
              <a:gd name="connsiteX21646" fmla="*/ 4974446 w 6884782"/>
              <a:gd name="connsiteY21646" fmla="*/ 4234293 h 5973007"/>
              <a:gd name="connsiteX21647" fmla="*/ 4977467 w 6884782"/>
              <a:gd name="connsiteY21647" fmla="*/ 4226949 h 5973007"/>
              <a:gd name="connsiteX21648" fmla="*/ 1501991 w 6884782"/>
              <a:gd name="connsiteY21648" fmla="*/ 4224053 h 5973007"/>
              <a:gd name="connsiteX21649" fmla="*/ 1509735 w 6884782"/>
              <a:gd name="connsiteY21649" fmla="*/ 4226221 h 5973007"/>
              <a:gd name="connsiteX21650" fmla="*/ 1505708 w 6884782"/>
              <a:gd name="connsiteY21650" fmla="*/ 4237270 h 5973007"/>
              <a:gd name="connsiteX21651" fmla="*/ 1501991 w 6884782"/>
              <a:gd name="connsiteY21651" fmla="*/ 4224053 h 5973007"/>
              <a:gd name="connsiteX21652" fmla="*/ 717750 w 6884782"/>
              <a:gd name="connsiteY21652" fmla="*/ 4223537 h 5973007"/>
              <a:gd name="connsiteX21653" fmla="*/ 719764 w 6884782"/>
              <a:gd name="connsiteY21653" fmla="*/ 4233243 h 5973007"/>
              <a:gd name="connsiteX21654" fmla="*/ 711865 w 6884782"/>
              <a:gd name="connsiteY21654" fmla="*/ 4234275 h 5973007"/>
              <a:gd name="connsiteX21655" fmla="*/ 709542 w 6884782"/>
              <a:gd name="connsiteY21655" fmla="*/ 4228080 h 5973007"/>
              <a:gd name="connsiteX21656" fmla="*/ 717750 w 6884782"/>
              <a:gd name="connsiteY21656" fmla="*/ 4223537 h 5973007"/>
              <a:gd name="connsiteX21657" fmla="*/ 5373769 w 6884782"/>
              <a:gd name="connsiteY21657" fmla="*/ 4223451 h 5973007"/>
              <a:gd name="connsiteX21658" fmla="*/ 5375008 w 6884782"/>
              <a:gd name="connsiteY21658" fmla="*/ 4232435 h 5973007"/>
              <a:gd name="connsiteX21659" fmla="*/ 5373769 w 6884782"/>
              <a:gd name="connsiteY21659" fmla="*/ 4223451 h 5973007"/>
              <a:gd name="connsiteX21660" fmla="*/ 5915286 w 6884782"/>
              <a:gd name="connsiteY21660" fmla="*/ 4223245 h 5973007"/>
              <a:gd name="connsiteX21661" fmla="*/ 5913892 w 6884782"/>
              <a:gd name="connsiteY21661" fmla="*/ 4223658 h 5973007"/>
              <a:gd name="connsiteX21662" fmla="*/ 5914357 w 6884782"/>
              <a:gd name="connsiteY21662" fmla="*/ 4224690 h 5973007"/>
              <a:gd name="connsiteX21663" fmla="*/ 5678605 w 6884782"/>
              <a:gd name="connsiteY21663" fmla="*/ 4222212 h 5973007"/>
              <a:gd name="connsiteX21664" fmla="*/ 5679224 w 6884782"/>
              <a:gd name="connsiteY21664" fmla="*/ 4225723 h 5973007"/>
              <a:gd name="connsiteX21665" fmla="*/ 5677675 w 6884782"/>
              <a:gd name="connsiteY21665" fmla="*/ 4225413 h 5973007"/>
              <a:gd name="connsiteX21666" fmla="*/ 5677520 w 6884782"/>
              <a:gd name="connsiteY21666" fmla="*/ 4226239 h 5973007"/>
              <a:gd name="connsiteX21667" fmla="*/ 5676127 w 6884782"/>
              <a:gd name="connsiteY21667" fmla="*/ 4225207 h 5973007"/>
              <a:gd name="connsiteX21668" fmla="*/ 5676127 w 6884782"/>
              <a:gd name="connsiteY21668" fmla="*/ 4224277 h 5973007"/>
              <a:gd name="connsiteX21669" fmla="*/ 5675971 w 6884782"/>
              <a:gd name="connsiteY21669" fmla="*/ 4224174 h 5973007"/>
              <a:gd name="connsiteX21670" fmla="*/ 5676901 w 6884782"/>
              <a:gd name="connsiteY21670" fmla="*/ 4222832 h 5973007"/>
              <a:gd name="connsiteX21671" fmla="*/ 5678605 w 6884782"/>
              <a:gd name="connsiteY21671" fmla="*/ 4222212 h 5973007"/>
              <a:gd name="connsiteX21672" fmla="*/ 4994737 w 6884782"/>
              <a:gd name="connsiteY21672" fmla="*/ 4221902 h 5973007"/>
              <a:gd name="connsiteX21673" fmla="*/ 5001553 w 6884782"/>
              <a:gd name="connsiteY21673" fmla="*/ 4224174 h 5973007"/>
              <a:gd name="connsiteX21674" fmla="*/ 4996906 w 6884782"/>
              <a:gd name="connsiteY21674" fmla="*/ 4236358 h 5973007"/>
              <a:gd name="connsiteX21675" fmla="*/ 4994737 w 6884782"/>
              <a:gd name="connsiteY21675" fmla="*/ 4221902 h 5973007"/>
              <a:gd name="connsiteX21676" fmla="*/ 5852243 w 6884782"/>
              <a:gd name="connsiteY21676" fmla="*/ 4221386 h 5973007"/>
              <a:gd name="connsiteX21677" fmla="*/ 5848526 w 6884782"/>
              <a:gd name="connsiteY21677" fmla="*/ 4223761 h 5973007"/>
              <a:gd name="connsiteX21678" fmla="*/ 5849145 w 6884782"/>
              <a:gd name="connsiteY21678" fmla="*/ 4224380 h 5973007"/>
              <a:gd name="connsiteX21679" fmla="*/ 5853947 w 6884782"/>
              <a:gd name="connsiteY21679" fmla="*/ 4223451 h 5973007"/>
              <a:gd name="connsiteX21680" fmla="*/ 5854567 w 6884782"/>
              <a:gd name="connsiteY21680" fmla="*/ 4223451 h 5973007"/>
              <a:gd name="connsiteX21681" fmla="*/ 5853018 w 6884782"/>
              <a:gd name="connsiteY21681" fmla="*/ 4222625 h 5973007"/>
              <a:gd name="connsiteX21682" fmla="*/ 5517977 w 6884782"/>
              <a:gd name="connsiteY21682" fmla="*/ 4221076 h 5973007"/>
              <a:gd name="connsiteX21683" fmla="*/ 5529439 w 6884782"/>
              <a:gd name="connsiteY21683" fmla="*/ 4231608 h 5973007"/>
              <a:gd name="connsiteX21684" fmla="*/ 5530214 w 6884782"/>
              <a:gd name="connsiteY21684" fmla="*/ 4233261 h 5973007"/>
              <a:gd name="connsiteX21685" fmla="*/ 5528820 w 6884782"/>
              <a:gd name="connsiteY21685" fmla="*/ 4235532 h 5973007"/>
              <a:gd name="connsiteX21686" fmla="*/ 5518752 w 6884782"/>
              <a:gd name="connsiteY21686" fmla="*/ 4228924 h 5973007"/>
              <a:gd name="connsiteX21687" fmla="*/ 5517822 w 6884782"/>
              <a:gd name="connsiteY21687" fmla="*/ 4227375 h 5973007"/>
              <a:gd name="connsiteX21688" fmla="*/ 5517977 w 6884782"/>
              <a:gd name="connsiteY21688" fmla="*/ 4221076 h 5973007"/>
              <a:gd name="connsiteX21689" fmla="*/ 5564911 w 6884782"/>
              <a:gd name="connsiteY21689" fmla="*/ 4220044 h 5973007"/>
              <a:gd name="connsiteX21690" fmla="*/ 5559179 w 6884782"/>
              <a:gd name="connsiteY21690" fmla="*/ 4230886 h 5973007"/>
              <a:gd name="connsiteX21691" fmla="*/ 5557321 w 6884782"/>
              <a:gd name="connsiteY21691" fmla="*/ 4225826 h 5973007"/>
              <a:gd name="connsiteX21692" fmla="*/ 5564911 w 6884782"/>
              <a:gd name="connsiteY21692" fmla="*/ 4220044 h 5973007"/>
              <a:gd name="connsiteX21693" fmla="*/ 5256357 w 6884782"/>
              <a:gd name="connsiteY21693" fmla="*/ 4219837 h 5973007"/>
              <a:gd name="connsiteX21694" fmla="*/ 5254653 w 6884782"/>
              <a:gd name="connsiteY21694" fmla="*/ 4229957 h 5973007"/>
              <a:gd name="connsiteX21695" fmla="*/ 5250626 w 6884782"/>
              <a:gd name="connsiteY21695" fmla="*/ 4227581 h 5973007"/>
              <a:gd name="connsiteX21696" fmla="*/ 5256357 w 6884782"/>
              <a:gd name="connsiteY21696" fmla="*/ 4219837 h 5973007"/>
              <a:gd name="connsiteX21697" fmla="*/ 1414009 w 6884782"/>
              <a:gd name="connsiteY21697" fmla="*/ 4217032 h 5973007"/>
              <a:gd name="connsiteX21698" fmla="*/ 1421754 w 6884782"/>
              <a:gd name="connsiteY21698" fmla="*/ 4220749 h 5973007"/>
              <a:gd name="connsiteX21699" fmla="*/ 1418036 w 6884782"/>
              <a:gd name="connsiteY21699" fmla="*/ 4226221 h 5973007"/>
              <a:gd name="connsiteX21700" fmla="*/ 1415248 w 6884782"/>
              <a:gd name="connsiteY21700" fmla="*/ 4226634 h 5973007"/>
              <a:gd name="connsiteX21701" fmla="*/ 1414474 w 6884782"/>
              <a:gd name="connsiteY21701" fmla="*/ 4226428 h 5973007"/>
              <a:gd name="connsiteX21702" fmla="*/ 1415403 w 6884782"/>
              <a:gd name="connsiteY21702" fmla="*/ 4227564 h 5973007"/>
              <a:gd name="connsiteX21703" fmla="*/ 1414939 w 6884782"/>
              <a:gd name="connsiteY21703" fmla="*/ 4231487 h 5973007"/>
              <a:gd name="connsiteX21704" fmla="*/ 1412150 w 6884782"/>
              <a:gd name="connsiteY21704" fmla="*/ 4223434 h 5973007"/>
              <a:gd name="connsiteX21705" fmla="*/ 1412306 w 6884782"/>
              <a:gd name="connsiteY21705" fmla="*/ 4223640 h 5973007"/>
              <a:gd name="connsiteX21706" fmla="*/ 1412925 w 6884782"/>
              <a:gd name="connsiteY21706" fmla="*/ 4221162 h 5973007"/>
              <a:gd name="connsiteX21707" fmla="*/ 1414009 w 6884782"/>
              <a:gd name="connsiteY21707" fmla="*/ 4217032 h 5973007"/>
              <a:gd name="connsiteX21708" fmla="*/ 4899631 w 6884782"/>
              <a:gd name="connsiteY21708" fmla="*/ 4216946 h 5973007"/>
              <a:gd name="connsiteX21709" fmla="*/ 4899941 w 6884782"/>
              <a:gd name="connsiteY21709" fmla="*/ 4218495 h 5973007"/>
              <a:gd name="connsiteX21710" fmla="*/ 4900715 w 6884782"/>
              <a:gd name="connsiteY21710" fmla="*/ 4218495 h 5973007"/>
              <a:gd name="connsiteX21711" fmla="*/ 4900096 w 6884782"/>
              <a:gd name="connsiteY21711" fmla="*/ 4220147 h 5973007"/>
              <a:gd name="connsiteX21712" fmla="*/ 4899321 w 6884782"/>
              <a:gd name="connsiteY21712" fmla="*/ 4220250 h 5973007"/>
              <a:gd name="connsiteX21713" fmla="*/ 4899166 w 6884782"/>
              <a:gd name="connsiteY21713" fmla="*/ 4220457 h 5973007"/>
              <a:gd name="connsiteX21714" fmla="*/ 4897618 w 6884782"/>
              <a:gd name="connsiteY21714" fmla="*/ 4219528 h 5973007"/>
              <a:gd name="connsiteX21715" fmla="*/ 4896533 w 6884782"/>
              <a:gd name="connsiteY21715" fmla="*/ 4217978 h 5973007"/>
              <a:gd name="connsiteX21716" fmla="*/ 4899631 w 6884782"/>
              <a:gd name="connsiteY21716" fmla="*/ 4216946 h 5973007"/>
              <a:gd name="connsiteX21717" fmla="*/ 5623810 w 6884782"/>
              <a:gd name="connsiteY21717" fmla="*/ 4216727 h 5973007"/>
              <a:gd name="connsiteX21718" fmla="*/ 5635389 w 6884782"/>
              <a:gd name="connsiteY21718" fmla="*/ 4224794 h 5973007"/>
              <a:gd name="connsiteX21719" fmla="*/ 5634924 w 6884782"/>
              <a:gd name="connsiteY21719" fmla="*/ 4227478 h 5973007"/>
              <a:gd name="connsiteX21720" fmla="*/ 5615407 w 6884782"/>
              <a:gd name="connsiteY21720" fmla="*/ 4239456 h 5973007"/>
              <a:gd name="connsiteX21721" fmla="*/ 5596974 w 6884782"/>
              <a:gd name="connsiteY21721" fmla="*/ 4229957 h 5973007"/>
              <a:gd name="connsiteX21722" fmla="*/ 5610140 w 6884782"/>
              <a:gd name="connsiteY21722" fmla="*/ 4217256 h 5973007"/>
              <a:gd name="connsiteX21723" fmla="*/ 5623810 w 6884782"/>
              <a:gd name="connsiteY21723" fmla="*/ 4216727 h 5973007"/>
              <a:gd name="connsiteX21724" fmla="*/ 5302206 w 6884782"/>
              <a:gd name="connsiteY21724" fmla="*/ 4216430 h 5973007"/>
              <a:gd name="connsiteX21725" fmla="*/ 5296940 w 6884782"/>
              <a:gd name="connsiteY21725" fmla="*/ 4231196 h 5973007"/>
              <a:gd name="connsiteX21726" fmla="*/ 5291364 w 6884782"/>
              <a:gd name="connsiteY21726" fmla="*/ 4231092 h 5973007"/>
              <a:gd name="connsiteX21727" fmla="*/ 5302206 w 6884782"/>
              <a:gd name="connsiteY21727" fmla="*/ 4216430 h 5973007"/>
              <a:gd name="connsiteX21728" fmla="*/ 1471476 w 6884782"/>
              <a:gd name="connsiteY21728" fmla="*/ 4213521 h 5973007"/>
              <a:gd name="connsiteX21729" fmla="*/ 1484797 w 6884782"/>
              <a:gd name="connsiteY21729" fmla="*/ 4215276 h 5973007"/>
              <a:gd name="connsiteX21730" fmla="*/ 1486501 w 6884782"/>
              <a:gd name="connsiteY21730" fmla="*/ 4217135 h 5973007"/>
              <a:gd name="connsiteX21731" fmla="*/ 1487276 w 6884782"/>
              <a:gd name="connsiteY21731" fmla="*/ 4217238 h 5973007"/>
              <a:gd name="connsiteX21732" fmla="*/ 1488050 w 6884782"/>
              <a:gd name="connsiteY21732" fmla="*/ 4219097 h 5973007"/>
              <a:gd name="connsiteX21733" fmla="*/ 1485881 w 6884782"/>
              <a:gd name="connsiteY21733" fmla="*/ 4219923 h 5973007"/>
              <a:gd name="connsiteX21734" fmla="*/ 1483093 w 6884782"/>
              <a:gd name="connsiteY21734" fmla="*/ 4219303 h 5973007"/>
              <a:gd name="connsiteX21735" fmla="*/ 1478911 w 6884782"/>
              <a:gd name="connsiteY21735" fmla="*/ 4218890 h 5973007"/>
              <a:gd name="connsiteX21736" fmla="*/ 1465590 w 6884782"/>
              <a:gd name="connsiteY21736" fmla="*/ 4213727 h 5973007"/>
              <a:gd name="connsiteX21737" fmla="*/ 1471476 w 6884782"/>
              <a:gd name="connsiteY21737" fmla="*/ 4213521 h 5973007"/>
              <a:gd name="connsiteX21738" fmla="*/ 1489444 w 6884782"/>
              <a:gd name="connsiteY21738" fmla="*/ 4211559 h 5973007"/>
              <a:gd name="connsiteX21739" fmla="*/ 1501836 w 6884782"/>
              <a:gd name="connsiteY21739" fmla="*/ 4212798 h 5973007"/>
              <a:gd name="connsiteX21740" fmla="*/ 1494401 w 6884782"/>
              <a:gd name="connsiteY21740" fmla="*/ 4221265 h 5973007"/>
              <a:gd name="connsiteX21741" fmla="*/ 1489444 w 6884782"/>
              <a:gd name="connsiteY21741" fmla="*/ 4211559 h 5973007"/>
              <a:gd name="connsiteX21742" fmla="*/ 1393873 w 6884782"/>
              <a:gd name="connsiteY21742" fmla="*/ 4209804 h 5973007"/>
              <a:gd name="connsiteX21743" fmla="*/ 1398210 w 6884782"/>
              <a:gd name="connsiteY21743" fmla="*/ 4213521 h 5973007"/>
              <a:gd name="connsiteX21744" fmla="*/ 1397590 w 6884782"/>
              <a:gd name="connsiteY21744" fmla="*/ 4216309 h 5973007"/>
              <a:gd name="connsiteX21745" fmla="*/ 1393873 w 6884782"/>
              <a:gd name="connsiteY21745" fmla="*/ 4218787 h 5973007"/>
              <a:gd name="connsiteX21746" fmla="*/ 1392324 w 6884782"/>
              <a:gd name="connsiteY21746" fmla="*/ 4217858 h 5973007"/>
              <a:gd name="connsiteX21747" fmla="*/ 1391704 w 6884782"/>
              <a:gd name="connsiteY21747" fmla="*/ 4211559 h 5973007"/>
              <a:gd name="connsiteX21748" fmla="*/ 1393873 w 6884782"/>
              <a:gd name="connsiteY21748" fmla="*/ 4209804 h 5973007"/>
              <a:gd name="connsiteX21749" fmla="*/ 1415248 w 6884782"/>
              <a:gd name="connsiteY21749" fmla="*/ 4209597 h 5973007"/>
              <a:gd name="connsiteX21750" fmla="*/ 1415558 w 6884782"/>
              <a:gd name="connsiteY21750" fmla="*/ 4216412 h 5973007"/>
              <a:gd name="connsiteX21751" fmla="*/ 1408434 w 6884782"/>
              <a:gd name="connsiteY21751" fmla="*/ 4215276 h 5973007"/>
              <a:gd name="connsiteX21752" fmla="*/ 1408743 w 6884782"/>
              <a:gd name="connsiteY21752" fmla="*/ 4210320 h 5973007"/>
              <a:gd name="connsiteX21753" fmla="*/ 1415248 w 6884782"/>
              <a:gd name="connsiteY21753" fmla="*/ 4209597 h 5973007"/>
              <a:gd name="connsiteX21754" fmla="*/ 5447035 w 6884782"/>
              <a:gd name="connsiteY21754" fmla="*/ 4209099 h 5973007"/>
              <a:gd name="connsiteX21755" fmla="*/ 5453076 w 6884782"/>
              <a:gd name="connsiteY21755" fmla="*/ 4218702 h 5973007"/>
              <a:gd name="connsiteX21756" fmla="*/ 5441458 w 6884782"/>
              <a:gd name="connsiteY21756" fmla="*/ 4234190 h 5973007"/>
              <a:gd name="connsiteX21757" fmla="*/ 5440994 w 6884782"/>
              <a:gd name="connsiteY21757" fmla="*/ 4234087 h 5973007"/>
              <a:gd name="connsiteX21758" fmla="*/ 5440839 w 6884782"/>
              <a:gd name="connsiteY21758" fmla="*/ 4241005 h 5973007"/>
              <a:gd name="connsiteX21759" fmla="*/ 5438360 w 6884782"/>
              <a:gd name="connsiteY21759" fmla="*/ 4248542 h 5973007"/>
              <a:gd name="connsiteX21760" fmla="*/ 5436037 w 6884782"/>
              <a:gd name="connsiteY21760" fmla="*/ 4249678 h 5973007"/>
              <a:gd name="connsiteX21761" fmla="*/ 5418379 w 6884782"/>
              <a:gd name="connsiteY21761" fmla="*/ 4237701 h 5973007"/>
              <a:gd name="connsiteX21762" fmla="*/ 5416830 w 6884782"/>
              <a:gd name="connsiteY21762" fmla="*/ 4220870 h 5973007"/>
              <a:gd name="connsiteX21763" fmla="*/ 5417295 w 6884782"/>
              <a:gd name="connsiteY21763" fmla="*/ 4220044 h 5973007"/>
              <a:gd name="connsiteX21764" fmla="*/ 5416210 w 6884782"/>
              <a:gd name="connsiteY21764" fmla="*/ 4221076 h 5973007"/>
              <a:gd name="connsiteX21765" fmla="*/ 5414352 w 6884782"/>
              <a:gd name="connsiteY21765" fmla="*/ 4220870 h 5973007"/>
              <a:gd name="connsiteX21766" fmla="*/ 5410324 w 6884782"/>
              <a:gd name="connsiteY21766" fmla="*/ 4219528 h 5973007"/>
              <a:gd name="connsiteX21767" fmla="*/ 5410634 w 6884782"/>
              <a:gd name="connsiteY21767" fmla="*/ 4216223 h 5973007"/>
              <a:gd name="connsiteX21768" fmla="*/ 5413887 w 6884782"/>
              <a:gd name="connsiteY21768" fmla="*/ 4214055 h 5973007"/>
              <a:gd name="connsiteX21769" fmla="*/ 5420702 w 6884782"/>
              <a:gd name="connsiteY21769" fmla="*/ 4214055 h 5973007"/>
              <a:gd name="connsiteX21770" fmla="*/ 5420238 w 6884782"/>
              <a:gd name="connsiteY21770" fmla="*/ 4215604 h 5973007"/>
              <a:gd name="connsiteX21771" fmla="*/ 5428602 w 6884782"/>
              <a:gd name="connsiteY21771" fmla="*/ 4216533 h 5973007"/>
              <a:gd name="connsiteX21772" fmla="*/ 5435418 w 6884782"/>
              <a:gd name="connsiteY21772" fmla="*/ 4221076 h 5973007"/>
              <a:gd name="connsiteX21773" fmla="*/ 5438051 w 6884782"/>
              <a:gd name="connsiteY21773" fmla="*/ 4225103 h 5973007"/>
              <a:gd name="connsiteX21774" fmla="*/ 5438825 w 6884782"/>
              <a:gd name="connsiteY21774" fmla="*/ 4221489 h 5973007"/>
              <a:gd name="connsiteX21775" fmla="*/ 5447035 w 6884782"/>
              <a:gd name="connsiteY21775" fmla="*/ 4209099 h 5973007"/>
              <a:gd name="connsiteX21776" fmla="*/ 5195793 w 6884782"/>
              <a:gd name="connsiteY21776" fmla="*/ 4208789 h 5973007"/>
              <a:gd name="connsiteX21777" fmla="*/ 5196413 w 6884782"/>
              <a:gd name="connsiteY21777" fmla="*/ 4209305 h 5973007"/>
              <a:gd name="connsiteX21778" fmla="*/ 5197652 w 6884782"/>
              <a:gd name="connsiteY21778" fmla="*/ 4208996 h 5973007"/>
              <a:gd name="connsiteX21779" fmla="*/ 5199975 w 6884782"/>
              <a:gd name="connsiteY21779" fmla="*/ 4212300 h 5973007"/>
              <a:gd name="connsiteX21780" fmla="*/ 5200285 w 6884782"/>
              <a:gd name="connsiteY21780" fmla="*/ 4214262 h 5973007"/>
              <a:gd name="connsiteX21781" fmla="*/ 5199356 w 6884782"/>
              <a:gd name="connsiteY21781" fmla="*/ 4215707 h 5973007"/>
              <a:gd name="connsiteX21782" fmla="*/ 5197497 w 6884782"/>
              <a:gd name="connsiteY21782" fmla="*/ 4215501 h 5973007"/>
              <a:gd name="connsiteX21783" fmla="*/ 5194399 w 6884782"/>
              <a:gd name="connsiteY21783" fmla="*/ 4213848 h 5973007"/>
              <a:gd name="connsiteX21784" fmla="*/ 5193624 w 6884782"/>
              <a:gd name="connsiteY21784" fmla="*/ 4211370 h 5973007"/>
              <a:gd name="connsiteX21785" fmla="*/ 5195018 w 6884782"/>
              <a:gd name="connsiteY21785" fmla="*/ 4210338 h 5973007"/>
              <a:gd name="connsiteX21786" fmla="*/ 5195793 w 6884782"/>
              <a:gd name="connsiteY21786" fmla="*/ 4208789 h 5973007"/>
              <a:gd name="connsiteX21787" fmla="*/ 5252795 w 6884782"/>
              <a:gd name="connsiteY21787" fmla="*/ 4206827 h 5973007"/>
              <a:gd name="connsiteX21788" fmla="*/ 5255583 w 6884782"/>
              <a:gd name="connsiteY21788" fmla="*/ 4209822 h 5973007"/>
              <a:gd name="connsiteX21789" fmla="*/ 5254808 w 6884782"/>
              <a:gd name="connsiteY21789" fmla="*/ 4212506 h 5973007"/>
              <a:gd name="connsiteX21790" fmla="*/ 5253569 w 6884782"/>
              <a:gd name="connsiteY21790" fmla="*/ 4212919 h 5973007"/>
              <a:gd name="connsiteX21791" fmla="*/ 5252330 w 6884782"/>
              <a:gd name="connsiteY21791" fmla="*/ 4211887 h 5973007"/>
              <a:gd name="connsiteX21792" fmla="*/ 5250781 w 6884782"/>
              <a:gd name="connsiteY21792" fmla="*/ 4209822 h 5973007"/>
              <a:gd name="connsiteX21793" fmla="*/ 5251401 w 6884782"/>
              <a:gd name="connsiteY21793" fmla="*/ 4208479 h 5973007"/>
              <a:gd name="connsiteX21794" fmla="*/ 5252795 w 6884782"/>
              <a:gd name="connsiteY21794" fmla="*/ 4206827 h 5973007"/>
              <a:gd name="connsiteX21795" fmla="*/ 1228599 w 6884782"/>
              <a:gd name="connsiteY21795" fmla="*/ 4206809 h 5973007"/>
              <a:gd name="connsiteX21796" fmla="*/ 1228599 w 6884782"/>
              <a:gd name="connsiteY21796" fmla="*/ 4207429 h 5973007"/>
              <a:gd name="connsiteX21797" fmla="*/ 1229373 w 6884782"/>
              <a:gd name="connsiteY21797" fmla="*/ 4207222 h 5973007"/>
              <a:gd name="connsiteX21798" fmla="*/ 5491335 w 6884782"/>
              <a:gd name="connsiteY21798" fmla="*/ 4205691 h 5973007"/>
              <a:gd name="connsiteX21799" fmla="*/ 5490715 w 6884782"/>
              <a:gd name="connsiteY21799" fmla="*/ 4210854 h 5973007"/>
              <a:gd name="connsiteX21800" fmla="*/ 5488237 w 6884782"/>
              <a:gd name="connsiteY21800" fmla="*/ 4212300 h 5973007"/>
              <a:gd name="connsiteX21801" fmla="*/ 5485604 w 6884782"/>
              <a:gd name="connsiteY21801" fmla="*/ 4210544 h 5973007"/>
              <a:gd name="connsiteX21802" fmla="*/ 5484520 w 6884782"/>
              <a:gd name="connsiteY21802" fmla="*/ 4207137 h 5973007"/>
              <a:gd name="connsiteX21803" fmla="*/ 5491335 w 6884782"/>
              <a:gd name="connsiteY21803" fmla="*/ 4205691 h 5973007"/>
              <a:gd name="connsiteX21804" fmla="*/ 5563207 w 6884782"/>
              <a:gd name="connsiteY21804" fmla="*/ 4204349 h 5973007"/>
              <a:gd name="connsiteX21805" fmla="*/ 5565995 w 6884782"/>
              <a:gd name="connsiteY21805" fmla="*/ 4208169 h 5973007"/>
              <a:gd name="connsiteX21806" fmla="*/ 5563517 w 6884782"/>
              <a:gd name="connsiteY21806" fmla="*/ 4210235 h 5973007"/>
              <a:gd name="connsiteX21807" fmla="*/ 5561658 w 6884782"/>
              <a:gd name="connsiteY21807" fmla="*/ 4208996 h 5973007"/>
              <a:gd name="connsiteX21808" fmla="*/ 5563207 w 6884782"/>
              <a:gd name="connsiteY21808" fmla="*/ 4204349 h 5973007"/>
              <a:gd name="connsiteX21809" fmla="*/ 1349108 w 6884782"/>
              <a:gd name="connsiteY21809" fmla="*/ 4203505 h 5973007"/>
              <a:gd name="connsiteX21810" fmla="*/ 1343532 w 6884782"/>
              <a:gd name="connsiteY21810" fmla="*/ 4226944 h 5973007"/>
              <a:gd name="connsiteX21811" fmla="*/ 1344151 w 6884782"/>
              <a:gd name="connsiteY21811" fmla="*/ 4215070 h 5973007"/>
              <a:gd name="connsiteX21812" fmla="*/ 1349108 w 6884782"/>
              <a:gd name="connsiteY21812" fmla="*/ 4203505 h 5973007"/>
              <a:gd name="connsiteX21813" fmla="*/ 4866019 w 6884782"/>
              <a:gd name="connsiteY21813" fmla="*/ 4202800 h 5973007"/>
              <a:gd name="connsiteX21814" fmla="*/ 4874383 w 6884782"/>
              <a:gd name="connsiteY21814" fmla="*/ 4209305 h 5973007"/>
              <a:gd name="connsiteX21815" fmla="*/ 4874848 w 6884782"/>
              <a:gd name="connsiteY21815" fmla="*/ 4211680 h 5973007"/>
              <a:gd name="connsiteX21816" fmla="*/ 4875622 w 6884782"/>
              <a:gd name="connsiteY21816" fmla="*/ 4213332 h 5973007"/>
              <a:gd name="connsiteX21817" fmla="*/ 4874848 w 6884782"/>
              <a:gd name="connsiteY21817" fmla="*/ 4219114 h 5973007"/>
              <a:gd name="connsiteX21818" fmla="*/ 4864625 w 6884782"/>
              <a:gd name="connsiteY21818" fmla="*/ 4206207 h 5973007"/>
              <a:gd name="connsiteX21819" fmla="*/ 4864315 w 6884782"/>
              <a:gd name="connsiteY21819" fmla="*/ 4204349 h 5973007"/>
              <a:gd name="connsiteX21820" fmla="*/ 4866019 w 6884782"/>
              <a:gd name="connsiteY21820" fmla="*/ 4202800 h 5973007"/>
              <a:gd name="connsiteX21821" fmla="*/ 1378074 w 6884782"/>
              <a:gd name="connsiteY21821" fmla="*/ 4202369 h 5973007"/>
              <a:gd name="connsiteX21822" fmla="*/ 1386283 w 6884782"/>
              <a:gd name="connsiteY21822" fmla="*/ 4204124 h 5973007"/>
              <a:gd name="connsiteX21823" fmla="*/ 1387213 w 6884782"/>
              <a:gd name="connsiteY21823" fmla="*/ 4204228 h 5973007"/>
              <a:gd name="connsiteX21824" fmla="*/ 1390930 w 6884782"/>
              <a:gd name="connsiteY21824" fmla="*/ 4204434 h 5973007"/>
              <a:gd name="connsiteX21825" fmla="*/ 1385973 w 6884782"/>
              <a:gd name="connsiteY21825" fmla="*/ 4214553 h 5973007"/>
              <a:gd name="connsiteX21826" fmla="*/ 1379623 w 6884782"/>
              <a:gd name="connsiteY21826" fmla="*/ 4208565 h 5973007"/>
              <a:gd name="connsiteX21827" fmla="*/ 1382256 w 6884782"/>
              <a:gd name="connsiteY21827" fmla="*/ 4206190 h 5973007"/>
              <a:gd name="connsiteX21828" fmla="*/ 1382101 w 6884782"/>
              <a:gd name="connsiteY21828" fmla="*/ 4206086 h 5973007"/>
              <a:gd name="connsiteX21829" fmla="*/ 1377764 w 6884782"/>
              <a:gd name="connsiteY21829" fmla="*/ 4205673 h 5973007"/>
              <a:gd name="connsiteX21830" fmla="*/ 1376214 w 6884782"/>
              <a:gd name="connsiteY21830" fmla="*/ 4203711 h 5973007"/>
              <a:gd name="connsiteX21831" fmla="*/ 1376214 w 6884782"/>
              <a:gd name="connsiteY21831" fmla="*/ 4202885 h 5973007"/>
              <a:gd name="connsiteX21832" fmla="*/ 1378074 w 6884782"/>
              <a:gd name="connsiteY21832" fmla="*/ 4202369 h 5973007"/>
              <a:gd name="connsiteX21833" fmla="*/ 1225191 w 6884782"/>
              <a:gd name="connsiteY21833" fmla="*/ 4202266 h 5973007"/>
              <a:gd name="connsiteX21834" fmla="*/ 1221784 w 6884782"/>
              <a:gd name="connsiteY21834" fmla="*/ 4203092 h 5973007"/>
              <a:gd name="connsiteX21835" fmla="*/ 1206293 w 6884782"/>
              <a:gd name="connsiteY21835" fmla="*/ 4207945 h 5973007"/>
              <a:gd name="connsiteX21836" fmla="*/ 1204125 w 6884782"/>
              <a:gd name="connsiteY21836" fmla="*/ 4204744 h 5973007"/>
              <a:gd name="connsiteX21837" fmla="*/ 1201802 w 6884782"/>
              <a:gd name="connsiteY21837" fmla="*/ 4212282 h 5973007"/>
              <a:gd name="connsiteX21838" fmla="*/ 1193902 w 6884782"/>
              <a:gd name="connsiteY21838" fmla="*/ 4214967 h 5973007"/>
              <a:gd name="connsiteX21839" fmla="*/ 1193902 w 6884782"/>
              <a:gd name="connsiteY21839" fmla="*/ 4221368 h 5973007"/>
              <a:gd name="connsiteX21840" fmla="*/ 1207223 w 6884782"/>
              <a:gd name="connsiteY21840" fmla="*/ 4215276 h 5973007"/>
              <a:gd name="connsiteX21841" fmla="*/ 1207068 w 6884782"/>
              <a:gd name="connsiteY21841" fmla="*/ 4213211 h 5973007"/>
              <a:gd name="connsiteX21842" fmla="*/ 1205674 w 6884782"/>
              <a:gd name="connsiteY21842" fmla="*/ 4213831 h 5973007"/>
              <a:gd name="connsiteX21843" fmla="*/ 1209546 w 6884782"/>
              <a:gd name="connsiteY21843" fmla="*/ 4209081 h 5973007"/>
              <a:gd name="connsiteX21844" fmla="*/ 1210631 w 6884782"/>
              <a:gd name="connsiteY21844" fmla="*/ 4211456 h 5973007"/>
              <a:gd name="connsiteX21845" fmla="*/ 1207843 w 6884782"/>
              <a:gd name="connsiteY21845" fmla="*/ 4212695 h 5973007"/>
              <a:gd name="connsiteX21846" fmla="*/ 1209546 w 6884782"/>
              <a:gd name="connsiteY21846" fmla="*/ 4213521 h 5973007"/>
              <a:gd name="connsiteX21847" fmla="*/ 1212025 w 6884782"/>
              <a:gd name="connsiteY21847" fmla="*/ 4214347 h 5973007"/>
              <a:gd name="connsiteX21848" fmla="*/ 1226120 w 6884782"/>
              <a:gd name="connsiteY21848" fmla="*/ 4205570 h 5973007"/>
              <a:gd name="connsiteX21849" fmla="*/ 1226740 w 6884782"/>
              <a:gd name="connsiteY21849" fmla="*/ 4205260 h 5973007"/>
              <a:gd name="connsiteX21850" fmla="*/ 1225191 w 6884782"/>
              <a:gd name="connsiteY21850" fmla="*/ 4203092 h 5973007"/>
              <a:gd name="connsiteX21851" fmla="*/ 5512246 w 6884782"/>
              <a:gd name="connsiteY21851" fmla="*/ 4201251 h 5973007"/>
              <a:gd name="connsiteX21852" fmla="*/ 5518597 w 6884782"/>
              <a:gd name="connsiteY21852" fmla="*/ 4206414 h 5973007"/>
              <a:gd name="connsiteX21853" fmla="*/ 5513175 w 6884782"/>
              <a:gd name="connsiteY21853" fmla="*/ 4222315 h 5973007"/>
              <a:gd name="connsiteX21854" fmla="*/ 5512556 w 6884782"/>
              <a:gd name="connsiteY21854" fmla="*/ 4221902 h 5973007"/>
              <a:gd name="connsiteX21855" fmla="*/ 5511007 w 6884782"/>
              <a:gd name="connsiteY21855" fmla="*/ 4227375 h 5973007"/>
              <a:gd name="connsiteX21856" fmla="*/ 5507599 w 6884782"/>
              <a:gd name="connsiteY21856" fmla="*/ 4227581 h 5973007"/>
              <a:gd name="connsiteX21857" fmla="*/ 5500164 w 6884782"/>
              <a:gd name="connsiteY21857" fmla="*/ 4222212 h 5973007"/>
              <a:gd name="connsiteX21858" fmla="*/ 5499854 w 6884782"/>
              <a:gd name="connsiteY21858" fmla="*/ 4221696 h 5973007"/>
              <a:gd name="connsiteX21859" fmla="*/ 5498770 w 6884782"/>
              <a:gd name="connsiteY21859" fmla="*/ 4221283 h 5973007"/>
              <a:gd name="connsiteX21860" fmla="*/ 5498615 w 6884782"/>
              <a:gd name="connsiteY21860" fmla="*/ 4221593 h 5973007"/>
              <a:gd name="connsiteX21861" fmla="*/ 5498460 w 6884782"/>
              <a:gd name="connsiteY21861" fmla="*/ 4221180 h 5973007"/>
              <a:gd name="connsiteX21862" fmla="*/ 5496601 w 6884782"/>
              <a:gd name="connsiteY21862" fmla="*/ 4220457 h 5973007"/>
              <a:gd name="connsiteX21863" fmla="*/ 5497221 w 6884782"/>
              <a:gd name="connsiteY21863" fmla="*/ 4219011 h 5973007"/>
              <a:gd name="connsiteX21864" fmla="*/ 5496446 w 6884782"/>
              <a:gd name="connsiteY21864" fmla="*/ 4216430 h 5973007"/>
              <a:gd name="connsiteX21865" fmla="*/ 5497996 w 6884782"/>
              <a:gd name="connsiteY21865" fmla="*/ 4214674 h 5973007"/>
              <a:gd name="connsiteX21866" fmla="*/ 5502797 w 6884782"/>
              <a:gd name="connsiteY21866" fmla="*/ 4214571 h 5973007"/>
              <a:gd name="connsiteX21867" fmla="*/ 5506050 w 6884782"/>
              <a:gd name="connsiteY21867" fmla="*/ 4208582 h 5973007"/>
              <a:gd name="connsiteX21868" fmla="*/ 5507599 w 6884782"/>
              <a:gd name="connsiteY21868" fmla="*/ 4205588 h 5973007"/>
              <a:gd name="connsiteX21869" fmla="*/ 5506670 w 6884782"/>
              <a:gd name="connsiteY21869" fmla="*/ 4206414 h 5973007"/>
              <a:gd name="connsiteX21870" fmla="*/ 5494278 w 6884782"/>
              <a:gd name="connsiteY21870" fmla="*/ 4205278 h 5973007"/>
              <a:gd name="connsiteX21871" fmla="*/ 5502332 w 6884782"/>
              <a:gd name="connsiteY21871" fmla="*/ 4201458 h 5973007"/>
              <a:gd name="connsiteX21872" fmla="*/ 5508993 w 6884782"/>
              <a:gd name="connsiteY21872" fmla="*/ 4203833 h 5973007"/>
              <a:gd name="connsiteX21873" fmla="*/ 665396 w 6884782"/>
              <a:gd name="connsiteY21873" fmla="*/ 4200820 h 5973007"/>
              <a:gd name="connsiteX21874" fmla="*/ 668339 w 6884782"/>
              <a:gd name="connsiteY21874" fmla="*/ 4204847 h 5973007"/>
              <a:gd name="connsiteX21875" fmla="*/ 670197 w 6884782"/>
              <a:gd name="connsiteY21875" fmla="*/ 4208461 h 5973007"/>
              <a:gd name="connsiteX21876" fmla="*/ 673296 w 6884782"/>
              <a:gd name="connsiteY21876" fmla="*/ 4222091 h 5973007"/>
              <a:gd name="connsiteX21877" fmla="*/ 669887 w 6884782"/>
              <a:gd name="connsiteY21877" fmla="*/ 4217444 h 5973007"/>
              <a:gd name="connsiteX21878" fmla="*/ 663847 w 6884782"/>
              <a:gd name="connsiteY21878" fmla="*/ 4205673 h 5973007"/>
              <a:gd name="connsiteX21879" fmla="*/ 664621 w 6884782"/>
              <a:gd name="connsiteY21879" fmla="*/ 4203299 h 5973007"/>
              <a:gd name="connsiteX21880" fmla="*/ 664312 w 6884782"/>
              <a:gd name="connsiteY21880" fmla="*/ 4202472 h 5973007"/>
              <a:gd name="connsiteX21881" fmla="*/ 665396 w 6884782"/>
              <a:gd name="connsiteY21881" fmla="*/ 4200820 h 5973007"/>
              <a:gd name="connsiteX21882" fmla="*/ 5384147 w 6884782"/>
              <a:gd name="connsiteY21882" fmla="*/ 4199909 h 5973007"/>
              <a:gd name="connsiteX21883" fmla="*/ 5391892 w 6884782"/>
              <a:gd name="connsiteY21883" fmla="*/ 4205278 h 5973007"/>
              <a:gd name="connsiteX21884" fmla="*/ 5386160 w 6884782"/>
              <a:gd name="connsiteY21884" fmla="*/ 4211370 h 5973007"/>
              <a:gd name="connsiteX21885" fmla="*/ 5380429 w 6884782"/>
              <a:gd name="connsiteY21885" fmla="*/ 4208686 h 5973007"/>
              <a:gd name="connsiteX21886" fmla="*/ 5384147 w 6884782"/>
              <a:gd name="connsiteY21886" fmla="*/ 4199909 h 5973007"/>
              <a:gd name="connsiteX21887" fmla="*/ 5904288 w 6884782"/>
              <a:gd name="connsiteY21887" fmla="*/ 4199186 h 5973007"/>
              <a:gd name="connsiteX21888" fmla="*/ 5904908 w 6884782"/>
              <a:gd name="connsiteY21888" fmla="*/ 4201664 h 5973007"/>
              <a:gd name="connsiteX21889" fmla="*/ 5907231 w 6884782"/>
              <a:gd name="connsiteY21889" fmla="*/ 4201251 h 5973007"/>
              <a:gd name="connsiteX21890" fmla="*/ 5659552 w 6884782"/>
              <a:gd name="connsiteY21890" fmla="*/ 4198876 h 5973007"/>
              <a:gd name="connsiteX21891" fmla="*/ 5660946 w 6884782"/>
              <a:gd name="connsiteY21891" fmla="*/ 4202490 h 5973007"/>
              <a:gd name="connsiteX21892" fmla="*/ 5661256 w 6884782"/>
              <a:gd name="connsiteY21892" fmla="*/ 4202077 h 5973007"/>
              <a:gd name="connsiteX21893" fmla="*/ 5662340 w 6884782"/>
              <a:gd name="connsiteY21893" fmla="*/ 4225310 h 5973007"/>
              <a:gd name="connsiteX21894" fmla="*/ 5658933 w 6884782"/>
              <a:gd name="connsiteY21894" fmla="*/ 4219321 h 5973007"/>
              <a:gd name="connsiteX21895" fmla="*/ 5658158 w 6884782"/>
              <a:gd name="connsiteY21895" fmla="*/ 4214055 h 5973007"/>
              <a:gd name="connsiteX21896" fmla="*/ 5656764 w 6884782"/>
              <a:gd name="connsiteY21896" fmla="*/ 4214365 h 5973007"/>
              <a:gd name="connsiteX21897" fmla="*/ 5656145 w 6884782"/>
              <a:gd name="connsiteY21897" fmla="*/ 4214262 h 5973007"/>
              <a:gd name="connsiteX21898" fmla="*/ 5658003 w 6884782"/>
              <a:gd name="connsiteY21898" fmla="*/ 4217049 h 5973007"/>
              <a:gd name="connsiteX21899" fmla="*/ 5657074 w 6884782"/>
              <a:gd name="connsiteY21899" fmla="*/ 4234087 h 5973007"/>
              <a:gd name="connsiteX21900" fmla="*/ 5652892 w 6884782"/>
              <a:gd name="connsiteY21900" fmla="*/ 4229853 h 5973007"/>
              <a:gd name="connsiteX21901" fmla="*/ 5652582 w 6884782"/>
              <a:gd name="connsiteY21901" fmla="*/ 4229027 h 5973007"/>
              <a:gd name="connsiteX21902" fmla="*/ 5652582 w 6884782"/>
              <a:gd name="connsiteY21902" fmla="*/ 4230369 h 5973007"/>
              <a:gd name="connsiteX21903" fmla="*/ 5650569 w 6884782"/>
              <a:gd name="connsiteY21903" fmla="*/ 4249885 h 5973007"/>
              <a:gd name="connsiteX21904" fmla="*/ 5646386 w 6884782"/>
              <a:gd name="connsiteY21904" fmla="*/ 4239663 h 5973007"/>
              <a:gd name="connsiteX21905" fmla="*/ 5643908 w 6884782"/>
              <a:gd name="connsiteY21905" fmla="*/ 4229853 h 5973007"/>
              <a:gd name="connsiteX21906" fmla="*/ 5644992 w 6884782"/>
              <a:gd name="connsiteY21906" fmla="*/ 4226859 h 5973007"/>
              <a:gd name="connsiteX21907" fmla="*/ 5644372 w 6884782"/>
              <a:gd name="connsiteY21907" fmla="*/ 4226549 h 5973007"/>
              <a:gd name="connsiteX21908" fmla="*/ 5647625 w 6884782"/>
              <a:gd name="connsiteY21908" fmla="*/ 4221489 h 5973007"/>
              <a:gd name="connsiteX21909" fmla="*/ 5649949 w 6884782"/>
              <a:gd name="connsiteY21909" fmla="*/ 4223864 h 5973007"/>
              <a:gd name="connsiteX21910" fmla="*/ 5651653 w 6884782"/>
              <a:gd name="connsiteY21910" fmla="*/ 4223451 h 5973007"/>
              <a:gd name="connsiteX21911" fmla="*/ 5652272 w 6884782"/>
              <a:gd name="connsiteY21911" fmla="*/ 4217359 h 5973007"/>
              <a:gd name="connsiteX21912" fmla="*/ 5653512 w 6884782"/>
              <a:gd name="connsiteY21912" fmla="*/ 4213848 h 5973007"/>
              <a:gd name="connsiteX21913" fmla="*/ 5652737 w 6884782"/>
              <a:gd name="connsiteY21913" fmla="*/ 4213745 h 5973007"/>
              <a:gd name="connsiteX21914" fmla="*/ 5651343 w 6884782"/>
              <a:gd name="connsiteY21914" fmla="*/ 4205588 h 5973007"/>
              <a:gd name="connsiteX21915" fmla="*/ 5656764 w 6884782"/>
              <a:gd name="connsiteY21915" fmla="*/ 4208273 h 5973007"/>
              <a:gd name="connsiteX21916" fmla="*/ 5658158 w 6884782"/>
              <a:gd name="connsiteY21916" fmla="*/ 4210854 h 5973007"/>
              <a:gd name="connsiteX21917" fmla="*/ 5658468 w 6884782"/>
              <a:gd name="connsiteY21917" fmla="*/ 4208479 h 5973007"/>
              <a:gd name="connsiteX21918" fmla="*/ 5655525 w 6884782"/>
              <a:gd name="connsiteY21918" fmla="*/ 4207550 h 5973007"/>
              <a:gd name="connsiteX21919" fmla="*/ 5649794 w 6884782"/>
              <a:gd name="connsiteY21919" fmla="*/ 4204556 h 5973007"/>
              <a:gd name="connsiteX21920" fmla="*/ 5659552 w 6884782"/>
              <a:gd name="connsiteY21920" fmla="*/ 4198876 h 5973007"/>
              <a:gd name="connsiteX21921" fmla="*/ 5670860 w 6884782"/>
              <a:gd name="connsiteY21921" fmla="*/ 4195985 h 5973007"/>
              <a:gd name="connsiteX21922" fmla="*/ 5672873 w 6884782"/>
              <a:gd name="connsiteY21922" fmla="*/ 4198876 h 5973007"/>
              <a:gd name="connsiteX21923" fmla="*/ 5665129 w 6884782"/>
              <a:gd name="connsiteY21923" fmla="*/ 4210544 h 5973007"/>
              <a:gd name="connsiteX21924" fmla="*/ 5670860 w 6884782"/>
              <a:gd name="connsiteY21924" fmla="*/ 4195985 h 5973007"/>
              <a:gd name="connsiteX21925" fmla="*/ 5492574 w 6884782"/>
              <a:gd name="connsiteY21925" fmla="*/ 4194849 h 5973007"/>
              <a:gd name="connsiteX21926" fmla="*/ 5491955 w 6884782"/>
              <a:gd name="connsiteY21926" fmla="*/ 4195675 h 5973007"/>
              <a:gd name="connsiteX21927" fmla="*/ 5493349 w 6884782"/>
              <a:gd name="connsiteY21927" fmla="*/ 4196605 h 5973007"/>
              <a:gd name="connsiteX21928" fmla="*/ 5493813 w 6884782"/>
              <a:gd name="connsiteY21928" fmla="*/ 4195778 h 5973007"/>
              <a:gd name="connsiteX21929" fmla="*/ 5494743 w 6884782"/>
              <a:gd name="connsiteY21929" fmla="*/ 4197431 h 5973007"/>
              <a:gd name="connsiteX21930" fmla="*/ 5493349 w 6884782"/>
              <a:gd name="connsiteY21930" fmla="*/ 4204142 h 5973007"/>
              <a:gd name="connsiteX21931" fmla="*/ 5489941 w 6884782"/>
              <a:gd name="connsiteY21931" fmla="*/ 4201974 h 5973007"/>
              <a:gd name="connsiteX21932" fmla="*/ 5489786 w 6884782"/>
              <a:gd name="connsiteY21932" fmla="*/ 4198360 h 5973007"/>
              <a:gd name="connsiteX21933" fmla="*/ 5492574 w 6884782"/>
              <a:gd name="connsiteY21933" fmla="*/ 4194849 h 5973007"/>
              <a:gd name="connsiteX21934" fmla="*/ 5383527 w 6884782"/>
              <a:gd name="connsiteY21934" fmla="*/ 4193817 h 5973007"/>
              <a:gd name="connsiteX21935" fmla="*/ 5385386 w 6884782"/>
              <a:gd name="connsiteY21935" fmla="*/ 4195366 h 5973007"/>
              <a:gd name="connsiteX21936" fmla="*/ 5385541 w 6884782"/>
              <a:gd name="connsiteY21936" fmla="*/ 4196295 h 5973007"/>
              <a:gd name="connsiteX21937" fmla="*/ 5383837 w 6884782"/>
              <a:gd name="connsiteY21937" fmla="*/ 4197121 h 5973007"/>
              <a:gd name="connsiteX21938" fmla="*/ 5379035 w 6884782"/>
              <a:gd name="connsiteY21938" fmla="*/ 4197121 h 5973007"/>
              <a:gd name="connsiteX21939" fmla="*/ 5375628 w 6884782"/>
              <a:gd name="connsiteY21939" fmla="*/ 4196914 h 5973007"/>
              <a:gd name="connsiteX21940" fmla="*/ 5373924 w 6884782"/>
              <a:gd name="connsiteY21940" fmla="*/ 4196914 h 5973007"/>
              <a:gd name="connsiteX21941" fmla="*/ 5372065 w 6884782"/>
              <a:gd name="connsiteY21941" fmla="*/ 4195366 h 5973007"/>
              <a:gd name="connsiteX21942" fmla="*/ 5379345 w 6884782"/>
              <a:gd name="connsiteY21942" fmla="*/ 4194023 h 5973007"/>
              <a:gd name="connsiteX21943" fmla="*/ 5383527 w 6884782"/>
              <a:gd name="connsiteY21943" fmla="*/ 4193817 h 5973007"/>
              <a:gd name="connsiteX21944" fmla="*/ 5335045 w 6884782"/>
              <a:gd name="connsiteY21944" fmla="*/ 4192991 h 5973007"/>
              <a:gd name="connsiteX21945" fmla="*/ 5313204 w 6884782"/>
              <a:gd name="connsiteY21945" fmla="*/ 4207240 h 5973007"/>
              <a:gd name="connsiteX21946" fmla="*/ 5335045 w 6884782"/>
              <a:gd name="connsiteY21946" fmla="*/ 4192991 h 5973007"/>
              <a:gd name="connsiteX21947" fmla="*/ 5547717 w 6884782"/>
              <a:gd name="connsiteY21947" fmla="*/ 4192577 h 5973007"/>
              <a:gd name="connsiteX21948" fmla="*/ 5547562 w 6884782"/>
              <a:gd name="connsiteY21948" fmla="*/ 4202594 h 5973007"/>
              <a:gd name="connsiteX21949" fmla="*/ 5543225 w 6884782"/>
              <a:gd name="connsiteY21949" fmla="*/ 4200219 h 5973007"/>
              <a:gd name="connsiteX21950" fmla="*/ 5547717 w 6884782"/>
              <a:gd name="connsiteY21950" fmla="*/ 4192577 h 5973007"/>
              <a:gd name="connsiteX21951" fmla="*/ 748265 w 6884782"/>
              <a:gd name="connsiteY21951" fmla="*/ 4190391 h 5973007"/>
              <a:gd name="connsiteX21952" fmla="*/ 748150 w 6884782"/>
              <a:gd name="connsiteY21952" fmla="*/ 4191187 h 5973007"/>
              <a:gd name="connsiteX21953" fmla="*/ 748111 w 6884782"/>
              <a:gd name="connsiteY21953" fmla="*/ 4191217 h 5973007"/>
              <a:gd name="connsiteX21954" fmla="*/ 748265 w 6884782"/>
              <a:gd name="connsiteY21954" fmla="*/ 4190391 h 5973007"/>
              <a:gd name="connsiteX21955" fmla="*/ 736493 w 6884782"/>
              <a:gd name="connsiteY21955" fmla="*/ 4188843 h 5973007"/>
              <a:gd name="connsiteX21956" fmla="*/ 740211 w 6884782"/>
              <a:gd name="connsiteY21956" fmla="*/ 4192353 h 5973007"/>
              <a:gd name="connsiteX21957" fmla="*/ 738042 w 6884782"/>
              <a:gd name="connsiteY21957" fmla="*/ 4195657 h 5973007"/>
              <a:gd name="connsiteX21958" fmla="*/ 734324 w 6884782"/>
              <a:gd name="connsiteY21958" fmla="*/ 4192147 h 5973007"/>
              <a:gd name="connsiteX21959" fmla="*/ 736493 w 6884782"/>
              <a:gd name="connsiteY21959" fmla="*/ 4188843 h 5973007"/>
              <a:gd name="connsiteX21960" fmla="*/ 5438825 w 6884782"/>
              <a:gd name="connsiteY21960" fmla="*/ 4188034 h 5973007"/>
              <a:gd name="connsiteX21961" fmla="*/ 5437586 w 6884782"/>
              <a:gd name="connsiteY21961" fmla="*/ 4200012 h 5973007"/>
              <a:gd name="connsiteX21962" fmla="*/ 5432164 w 6884782"/>
              <a:gd name="connsiteY21962" fmla="*/ 4212403 h 5973007"/>
              <a:gd name="connsiteX21963" fmla="*/ 5438825 w 6884782"/>
              <a:gd name="connsiteY21963" fmla="*/ 4188034 h 5973007"/>
              <a:gd name="connsiteX21964" fmla="*/ 5808873 w 6884782"/>
              <a:gd name="connsiteY21964" fmla="*/ 4187002 h 5973007"/>
              <a:gd name="connsiteX21965" fmla="*/ 5809337 w 6884782"/>
              <a:gd name="connsiteY21965" fmla="*/ 4193507 h 5973007"/>
              <a:gd name="connsiteX21966" fmla="*/ 5807478 w 6884782"/>
              <a:gd name="connsiteY21966" fmla="*/ 4193713 h 5973007"/>
              <a:gd name="connsiteX21967" fmla="*/ 5805155 w 6884782"/>
              <a:gd name="connsiteY21967" fmla="*/ 4192268 h 5973007"/>
              <a:gd name="connsiteX21968" fmla="*/ 5804380 w 6884782"/>
              <a:gd name="connsiteY21968" fmla="*/ 4189790 h 5973007"/>
              <a:gd name="connsiteX21969" fmla="*/ 5808873 w 6884782"/>
              <a:gd name="connsiteY21969" fmla="*/ 4187002 h 5973007"/>
              <a:gd name="connsiteX21970" fmla="*/ 5303601 w 6884782"/>
              <a:gd name="connsiteY21970" fmla="*/ 4186795 h 5973007"/>
              <a:gd name="connsiteX21971" fmla="*/ 5302052 w 6884782"/>
              <a:gd name="connsiteY21971" fmla="*/ 4192577 h 5973007"/>
              <a:gd name="connsiteX21972" fmla="*/ 5296475 w 6884782"/>
              <a:gd name="connsiteY21972" fmla="*/ 4204556 h 5973007"/>
              <a:gd name="connsiteX21973" fmla="*/ 5294152 w 6884782"/>
              <a:gd name="connsiteY21973" fmla="*/ 4205175 h 5973007"/>
              <a:gd name="connsiteX21974" fmla="*/ 5293842 w 6884782"/>
              <a:gd name="connsiteY21974" fmla="*/ 4205898 h 5973007"/>
              <a:gd name="connsiteX21975" fmla="*/ 5292758 w 6884782"/>
              <a:gd name="connsiteY21975" fmla="*/ 4206207 h 5973007"/>
              <a:gd name="connsiteX21976" fmla="*/ 5291984 w 6884782"/>
              <a:gd name="connsiteY21976" fmla="*/ 4205795 h 5973007"/>
              <a:gd name="connsiteX21977" fmla="*/ 5291984 w 6884782"/>
              <a:gd name="connsiteY21977" fmla="*/ 4203316 h 5973007"/>
              <a:gd name="connsiteX21978" fmla="*/ 5292293 w 6884782"/>
              <a:gd name="connsiteY21978" fmla="*/ 4202697 h 5973007"/>
              <a:gd name="connsiteX21979" fmla="*/ 5291519 w 6884782"/>
              <a:gd name="connsiteY21979" fmla="*/ 4202800 h 5973007"/>
              <a:gd name="connsiteX21980" fmla="*/ 5284239 w 6884782"/>
              <a:gd name="connsiteY21980" fmla="*/ 4202800 h 5973007"/>
              <a:gd name="connsiteX21981" fmla="*/ 5278663 w 6884782"/>
              <a:gd name="connsiteY21981" fmla="*/ 4203523 h 5973007"/>
              <a:gd name="connsiteX21982" fmla="*/ 5277888 w 6884782"/>
              <a:gd name="connsiteY21982" fmla="*/ 4205072 h 5973007"/>
              <a:gd name="connsiteX21983" fmla="*/ 5276029 w 6884782"/>
              <a:gd name="connsiteY21983" fmla="*/ 4206724 h 5973007"/>
              <a:gd name="connsiteX21984" fmla="*/ 5274635 w 6884782"/>
              <a:gd name="connsiteY21984" fmla="*/ 4206930 h 5973007"/>
              <a:gd name="connsiteX21985" fmla="*/ 5273551 w 6884782"/>
              <a:gd name="connsiteY21985" fmla="*/ 4205898 h 5973007"/>
              <a:gd name="connsiteX21986" fmla="*/ 5275409 w 6884782"/>
              <a:gd name="connsiteY21986" fmla="*/ 4198773 h 5973007"/>
              <a:gd name="connsiteX21987" fmla="*/ 5276029 w 6884782"/>
              <a:gd name="connsiteY21987" fmla="*/ 4199186 h 5973007"/>
              <a:gd name="connsiteX21988" fmla="*/ 5276494 w 6884782"/>
              <a:gd name="connsiteY21988" fmla="*/ 4198979 h 5973007"/>
              <a:gd name="connsiteX21989" fmla="*/ 5279282 w 6884782"/>
              <a:gd name="connsiteY21989" fmla="*/ 4198979 h 5973007"/>
              <a:gd name="connsiteX21990" fmla="*/ 5283464 w 6884782"/>
              <a:gd name="connsiteY21990" fmla="*/ 4198773 h 5973007"/>
              <a:gd name="connsiteX21991" fmla="*/ 5292758 w 6884782"/>
              <a:gd name="connsiteY21991" fmla="*/ 4199909 h 5973007"/>
              <a:gd name="connsiteX21992" fmla="*/ 5293532 w 6884782"/>
              <a:gd name="connsiteY21992" fmla="*/ 4200219 h 5973007"/>
              <a:gd name="connsiteX21993" fmla="*/ 5294152 w 6884782"/>
              <a:gd name="connsiteY21993" fmla="*/ 4198979 h 5973007"/>
              <a:gd name="connsiteX21994" fmla="*/ 5295081 w 6884782"/>
              <a:gd name="connsiteY21994" fmla="*/ 4197121 h 5973007"/>
              <a:gd name="connsiteX21995" fmla="*/ 5303601 w 6884782"/>
              <a:gd name="connsiteY21995" fmla="*/ 4186795 h 5973007"/>
              <a:gd name="connsiteX21996" fmla="*/ 5840626 w 6884782"/>
              <a:gd name="connsiteY21996" fmla="*/ 4185763 h 5973007"/>
              <a:gd name="connsiteX21997" fmla="*/ 5840006 w 6884782"/>
              <a:gd name="connsiteY21997" fmla="*/ 4186486 h 5973007"/>
              <a:gd name="connsiteX21998" fmla="*/ 5838613 w 6884782"/>
              <a:gd name="connsiteY21998" fmla="*/ 4186795 h 5973007"/>
              <a:gd name="connsiteX21999" fmla="*/ 5838922 w 6884782"/>
              <a:gd name="connsiteY21999" fmla="*/ 4188241 h 5973007"/>
              <a:gd name="connsiteX22000" fmla="*/ 5839851 w 6884782"/>
              <a:gd name="connsiteY22000" fmla="*/ 4189790 h 5973007"/>
              <a:gd name="connsiteX22001" fmla="*/ 5840006 w 6884782"/>
              <a:gd name="connsiteY22001" fmla="*/ 4189273 h 5973007"/>
              <a:gd name="connsiteX22002" fmla="*/ 5841091 w 6884782"/>
              <a:gd name="connsiteY22002" fmla="*/ 4189790 h 5973007"/>
              <a:gd name="connsiteX22003" fmla="*/ 5842020 w 6884782"/>
              <a:gd name="connsiteY22003" fmla="*/ 4189377 h 5973007"/>
              <a:gd name="connsiteX22004" fmla="*/ 5841865 w 6884782"/>
              <a:gd name="connsiteY22004" fmla="*/ 4189377 h 5973007"/>
              <a:gd name="connsiteX22005" fmla="*/ 5627179 w 6884782"/>
              <a:gd name="connsiteY22005" fmla="*/ 4183698 h 5973007"/>
              <a:gd name="connsiteX22006" fmla="*/ 5632601 w 6884782"/>
              <a:gd name="connsiteY22006" fmla="*/ 4188861 h 5973007"/>
              <a:gd name="connsiteX22007" fmla="*/ 5628108 w 6884782"/>
              <a:gd name="connsiteY22007" fmla="*/ 4190822 h 5973007"/>
              <a:gd name="connsiteX22008" fmla="*/ 5625320 w 6884782"/>
              <a:gd name="connsiteY22008" fmla="*/ 4189377 h 5973007"/>
              <a:gd name="connsiteX22009" fmla="*/ 5625011 w 6884782"/>
              <a:gd name="connsiteY22009" fmla="*/ 4186279 h 5973007"/>
              <a:gd name="connsiteX22010" fmla="*/ 5627179 w 6884782"/>
              <a:gd name="connsiteY22010" fmla="*/ 4183698 h 5973007"/>
              <a:gd name="connsiteX22011" fmla="*/ 5426433 w 6884782"/>
              <a:gd name="connsiteY22011" fmla="*/ 4183491 h 5973007"/>
              <a:gd name="connsiteX22012" fmla="*/ 5432629 w 6884782"/>
              <a:gd name="connsiteY22012" fmla="*/ 4185763 h 5973007"/>
              <a:gd name="connsiteX22013" fmla="*/ 5432010 w 6884782"/>
              <a:gd name="connsiteY22013" fmla="*/ 4187518 h 5973007"/>
              <a:gd name="connsiteX22014" fmla="*/ 5429841 w 6884782"/>
              <a:gd name="connsiteY22014" fmla="*/ 4189067 h 5973007"/>
              <a:gd name="connsiteX22015" fmla="*/ 5427208 w 6884782"/>
              <a:gd name="connsiteY22015" fmla="*/ 4188654 h 5973007"/>
              <a:gd name="connsiteX22016" fmla="*/ 5426433 w 6884782"/>
              <a:gd name="connsiteY22016" fmla="*/ 4183491 h 5973007"/>
              <a:gd name="connsiteX22017" fmla="*/ 1283123 w 6884782"/>
              <a:gd name="connsiteY22017" fmla="*/ 4182234 h 5973007"/>
              <a:gd name="connsiteX22018" fmla="*/ 1269801 w 6884782"/>
              <a:gd name="connsiteY22018" fmla="*/ 4186055 h 5973007"/>
              <a:gd name="connsiteX22019" fmla="*/ 1283123 w 6884782"/>
              <a:gd name="connsiteY22019" fmla="*/ 4182234 h 5973007"/>
              <a:gd name="connsiteX22020" fmla="*/ 5208184 w 6884782"/>
              <a:gd name="connsiteY22020" fmla="*/ 4182149 h 5973007"/>
              <a:gd name="connsiteX22021" fmla="*/ 5215929 w 6884782"/>
              <a:gd name="connsiteY22021" fmla="*/ 4183698 h 5973007"/>
              <a:gd name="connsiteX22022" fmla="*/ 5217633 w 6884782"/>
              <a:gd name="connsiteY22022" fmla="*/ 4192371 h 5973007"/>
              <a:gd name="connsiteX22023" fmla="*/ 5208495 w 6884782"/>
              <a:gd name="connsiteY22023" fmla="*/ 4186692 h 5973007"/>
              <a:gd name="connsiteX22024" fmla="*/ 5208184 w 6884782"/>
              <a:gd name="connsiteY22024" fmla="*/ 4182149 h 5973007"/>
              <a:gd name="connsiteX22025" fmla="*/ 1283742 w 6884782"/>
              <a:gd name="connsiteY22025" fmla="*/ 4181202 h 5973007"/>
              <a:gd name="connsiteX22026" fmla="*/ 1285135 w 6884782"/>
              <a:gd name="connsiteY22026" fmla="*/ 4182234 h 5973007"/>
              <a:gd name="connsiteX22027" fmla="*/ 1283123 w 6884782"/>
              <a:gd name="connsiteY22027" fmla="*/ 4182337 h 5973007"/>
              <a:gd name="connsiteX22028" fmla="*/ 1283742 w 6884782"/>
              <a:gd name="connsiteY22028" fmla="*/ 4181202 h 5973007"/>
              <a:gd name="connsiteX22029" fmla="*/ 5652892 w 6884782"/>
              <a:gd name="connsiteY22029" fmla="*/ 4180497 h 5973007"/>
              <a:gd name="connsiteX22030" fmla="*/ 5652892 w 6884782"/>
              <a:gd name="connsiteY22030" fmla="*/ 4193920 h 5973007"/>
              <a:gd name="connsiteX22031" fmla="*/ 5645767 w 6884782"/>
              <a:gd name="connsiteY22031" fmla="*/ 4189583 h 5973007"/>
              <a:gd name="connsiteX22032" fmla="*/ 5652892 w 6884782"/>
              <a:gd name="connsiteY22032" fmla="*/ 4180497 h 5973007"/>
              <a:gd name="connsiteX22033" fmla="*/ 5810421 w 6884782"/>
              <a:gd name="connsiteY22033" fmla="*/ 4179877 h 5973007"/>
              <a:gd name="connsiteX22034" fmla="*/ 5810576 w 6884782"/>
              <a:gd name="connsiteY22034" fmla="*/ 4182562 h 5973007"/>
              <a:gd name="connsiteX22035" fmla="*/ 5808098 w 6884782"/>
              <a:gd name="connsiteY22035" fmla="*/ 4182975 h 5973007"/>
              <a:gd name="connsiteX22036" fmla="*/ 5805310 w 6884782"/>
              <a:gd name="connsiteY22036" fmla="*/ 4182872 h 5973007"/>
              <a:gd name="connsiteX22037" fmla="*/ 5810421 w 6884782"/>
              <a:gd name="connsiteY22037" fmla="*/ 4179877 h 5973007"/>
              <a:gd name="connsiteX22038" fmla="*/ 5160322 w 6884782"/>
              <a:gd name="connsiteY22038" fmla="*/ 4179671 h 5973007"/>
              <a:gd name="connsiteX22039" fmla="*/ 5166517 w 6884782"/>
              <a:gd name="connsiteY22039" fmla="*/ 4181116 h 5973007"/>
              <a:gd name="connsiteX22040" fmla="*/ 5163574 w 6884782"/>
              <a:gd name="connsiteY22040" fmla="*/ 4188138 h 5973007"/>
              <a:gd name="connsiteX22041" fmla="*/ 5159238 w 6884782"/>
              <a:gd name="connsiteY22041" fmla="*/ 4186692 h 5973007"/>
              <a:gd name="connsiteX22042" fmla="*/ 5160322 w 6884782"/>
              <a:gd name="connsiteY22042" fmla="*/ 4179671 h 5973007"/>
              <a:gd name="connsiteX22043" fmla="*/ 5115169 w 6884782"/>
              <a:gd name="connsiteY22043" fmla="*/ 4179580 h 5973007"/>
              <a:gd name="connsiteX22044" fmla="*/ 5119894 w 6884782"/>
              <a:gd name="connsiteY22044" fmla="*/ 4179980 h 5973007"/>
              <a:gd name="connsiteX22045" fmla="*/ 5114472 w 6884782"/>
              <a:gd name="connsiteY22045" fmla="*/ 4187002 h 5973007"/>
              <a:gd name="connsiteX22046" fmla="*/ 5113233 w 6884782"/>
              <a:gd name="connsiteY22046" fmla="*/ 4183595 h 5973007"/>
              <a:gd name="connsiteX22047" fmla="*/ 5115169 w 6884782"/>
              <a:gd name="connsiteY22047" fmla="*/ 4179580 h 5973007"/>
              <a:gd name="connsiteX22048" fmla="*/ 5421012 w 6884782"/>
              <a:gd name="connsiteY22048" fmla="*/ 4179567 h 5973007"/>
              <a:gd name="connsiteX22049" fmla="*/ 5419463 w 6884782"/>
              <a:gd name="connsiteY22049" fmla="*/ 4184730 h 5973007"/>
              <a:gd name="connsiteX22050" fmla="*/ 5421012 w 6884782"/>
              <a:gd name="connsiteY22050" fmla="*/ 4179567 h 5973007"/>
              <a:gd name="connsiteX22051" fmla="*/ 1288853 w 6884782"/>
              <a:gd name="connsiteY22051" fmla="*/ 4179446 h 5973007"/>
              <a:gd name="connsiteX22052" fmla="*/ 1289163 w 6884782"/>
              <a:gd name="connsiteY22052" fmla="*/ 4180169 h 5973007"/>
              <a:gd name="connsiteX22053" fmla="*/ 1287924 w 6884782"/>
              <a:gd name="connsiteY22053" fmla="*/ 4180685 h 5973007"/>
              <a:gd name="connsiteX22054" fmla="*/ 1287149 w 6884782"/>
              <a:gd name="connsiteY22054" fmla="*/ 4180272 h 5973007"/>
              <a:gd name="connsiteX22055" fmla="*/ 1288853 w 6884782"/>
              <a:gd name="connsiteY22055" fmla="*/ 4179446 h 5973007"/>
              <a:gd name="connsiteX22056" fmla="*/ 5292913 w 6884782"/>
              <a:gd name="connsiteY22056" fmla="*/ 4178225 h 5973007"/>
              <a:gd name="connsiteX22057" fmla="*/ 5296785 w 6884782"/>
              <a:gd name="connsiteY22057" fmla="*/ 4179567 h 5973007"/>
              <a:gd name="connsiteX22058" fmla="*/ 5292448 w 6884782"/>
              <a:gd name="connsiteY22058" fmla="*/ 4186279 h 5973007"/>
              <a:gd name="connsiteX22059" fmla="*/ 5289970 w 6884782"/>
              <a:gd name="connsiteY22059" fmla="*/ 4185763 h 5973007"/>
              <a:gd name="connsiteX22060" fmla="*/ 5290435 w 6884782"/>
              <a:gd name="connsiteY22060" fmla="*/ 4179567 h 5973007"/>
              <a:gd name="connsiteX22061" fmla="*/ 5292913 w 6884782"/>
              <a:gd name="connsiteY22061" fmla="*/ 4178225 h 5973007"/>
              <a:gd name="connsiteX22062" fmla="*/ 1292571 w 6884782"/>
              <a:gd name="connsiteY22062" fmla="*/ 4177691 h 5973007"/>
              <a:gd name="connsiteX22063" fmla="*/ 1294275 w 6884782"/>
              <a:gd name="connsiteY22063" fmla="*/ 4179653 h 5973007"/>
              <a:gd name="connsiteX22064" fmla="*/ 1291642 w 6884782"/>
              <a:gd name="connsiteY22064" fmla="*/ 4179963 h 5973007"/>
              <a:gd name="connsiteX22065" fmla="*/ 1289473 w 6884782"/>
              <a:gd name="connsiteY22065" fmla="*/ 4179240 h 5973007"/>
              <a:gd name="connsiteX22066" fmla="*/ 1292571 w 6884782"/>
              <a:gd name="connsiteY22066" fmla="*/ 4177691 h 5973007"/>
              <a:gd name="connsiteX22067" fmla="*/ 749349 w 6884782"/>
              <a:gd name="connsiteY22067" fmla="*/ 4176555 h 5973007"/>
              <a:gd name="connsiteX22068" fmla="*/ 752138 w 6884782"/>
              <a:gd name="connsiteY22068" fmla="*/ 4178930 h 5973007"/>
              <a:gd name="connsiteX22069" fmla="*/ 741140 w 6884782"/>
              <a:gd name="connsiteY22069" fmla="*/ 4185435 h 5973007"/>
              <a:gd name="connsiteX22070" fmla="*/ 749349 w 6884782"/>
              <a:gd name="connsiteY22070" fmla="*/ 4176555 h 5973007"/>
              <a:gd name="connsiteX22071" fmla="*/ 5467791 w 6884782"/>
              <a:gd name="connsiteY22071" fmla="*/ 4176366 h 5973007"/>
              <a:gd name="connsiteX22072" fmla="*/ 5467481 w 6884782"/>
              <a:gd name="connsiteY22072" fmla="*/ 4179671 h 5973007"/>
              <a:gd name="connsiteX22073" fmla="*/ 5467016 w 6884782"/>
              <a:gd name="connsiteY22073" fmla="*/ 4180290 h 5973007"/>
              <a:gd name="connsiteX22074" fmla="*/ 5466552 w 6884782"/>
              <a:gd name="connsiteY22074" fmla="*/ 4179671 h 5973007"/>
              <a:gd name="connsiteX22075" fmla="*/ 5467791 w 6884782"/>
              <a:gd name="connsiteY22075" fmla="*/ 4176366 h 5973007"/>
              <a:gd name="connsiteX22076" fmla="*/ 5554688 w 6884782"/>
              <a:gd name="connsiteY22076" fmla="*/ 4175643 h 5973007"/>
              <a:gd name="connsiteX22077" fmla="*/ 5560574 w 6884782"/>
              <a:gd name="connsiteY22077" fmla="*/ 4177709 h 5973007"/>
              <a:gd name="connsiteX22078" fmla="*/ 5561503 w 6884782"/>
              <a:gd name="connsiteY22078" fmla="*/ 4180290 h 5973007"/>
              <a:gd name="connsiteX22079" fmla="*/ 5560883 w 6884782"/>
              <a:gd name="connsiteY22079" fmla="*/ 4185453 h 5973007"/>
              <a:gd name="connsiteX22080" fmla="*/ 5561658 w 6884782"/>
              <a:gd name="connsiteY22080" fmla="*/ 4185556 h 5973007"/>
              <a:gd name="connsiteX22081" fmla="*/ 5556701 w 6884782"/>
              <a:gd name="connsiteY22081" fmla="*/ 4186176 h 5973007"/>
              <a:gd name="connsiteX22082" fmla="*/ 5556236 w 6884782"/>
              <a:gd name="connsiteY22082" fmla="*/ 4185660 h 5973007"/>
              <a:gd name="connsiteX22083" fmla="*/ 5556546 w 6884782"/>
              <a:gd name="connsiteY22083" fmla="*/ 4186382 h 5973007"/>
              <a:gd name="connsiteX22084" fmla="*/ 5551280 w 6884782"/>
              <a:gd name="connsiteY22084" fmla="*/ 4189170 h 5973007"/>
              <a:gd name="connsiteX22085" fmla="*/ 5545084 w 6884782"/>
              <a:gd name="connsiteY22085" fmla="*/ 4186692 h 5973007"/>
              <a:gd name="connsiteX22086" fmla="*/ 5551280 w 6884782"/>
              <a:gd name="connsiteY22086" fmla="*/ 4178432 h 5973007"/>
              <a:gd name="connsiteX22087" fmla="*/ 5552364 w 6884782"/>
              <a:gd name="connsiteY22087" fmla="*/ 4179671 h 5973007"/>
              <a:gd name="connsiteX22088" fmla="*/ 5552984 w 6884782"/>
              <a:gd name="connsiteY22088" fmla="*/ 4177915 h 5973007"/>
              <a:gd name="connsiteX22089" fmla="*/ 5554688 w 6884782"/>
              <a:gd name="connsiteY22089" fmla="*/ 4175643 h 5973007"/>
              <a:gd name="connsiteX22090" fmla="*/ 650216 w 6884782"/>
              <a:gd name="connsiteY22090" fmla="*/ 4173974 h 5973007"/>
              <a:gd name="connsiteX22091" fmla="*/ 652229 w 6884782"/>
              <a:gd name="connsiteY22091" fmla="*/ 4187190 h 5973007"/>
              <a:gd name="connsiteX22092" fmla="*/ 645724 w 6884782"/>
              <a:gd name="connsiteY22092" fmla="*/ 4175832 h 5973007"/>
              <a:gd name="connsiteX22093" fmla="*/ 650216 w 6884782"/>
              <a:gd name="connsiteY22093" fmla="*/ 4173974 h 5973007"/>
              <a:gd name="connsiteX22094" fmla="*/ 5480492 w 6884782"/>
              <a:gd name="connsiteY22094" fmla="*/ 4173578 h 5973007"/>
              <a:gd name="connsiteX22095" fmla="*/ 5484520 w 6884782"/>
              <a:gd name="connsiteY22095" fmla="*/ 4176160 h 5973007"/>
              <a:gd name="connsiteX22096" fmla="*/ 5480182 w 6884782"/>
              <a:gd name="connsiteY22096" fmla="*/ 4182872 h 5973007"/>
              <a:gd name="connsiteX22097" fmla="*/ 5475845 w 6884782"/>
              <a:gd name="connsiteY22097" fmla="*/ 4179155 h 5973007"/>
              <a:gd name="connsiteX22098" fmla="*/ 5476000 w 6884782"/>
              <a:gd name="connsiteY22098" fmla="*/ 4176470 h 5973007"/>
              <a:gd name="connsiteX22099" fmla="*/ 5478169 w 6884782"/>
              <a:gd name="connsiteY22099" fmla="*/ 4174198 h 5973007"/>
              <a:gd name="connsiteX22100" fmla="*/ 5480492 w 6884782"/>
              <a:gd name="connsiteY22100" fmla="*/ 4173578 h 5973007"/>
              <a:gd name="connsiteX22101" fmla="*/ 5134144 w 6884782"/>
              <a:gd name="connsiteY22101" fmla="*/ 4173269 h 5973007"/>
              <a:gd name="connsiteX22102" fmla="*/ 5145452 w 6884782"/>
              <a:gd name="connsiteY22102" fmla="*/ 4184214 h 5973007"/>
              <a:gd name="connsiteX22103" fmla="*/ 5143128 w 6884782"/>
              <a:gd name="connsiteY22103" fmla="*/ 4189273 h 5973007"/>
              <a:gd name="connsiteX22104" fmla="*/ 5134144 w 6884782"/>
              <a:gd name="connsiteY22104" fmla="*/ 4173269 h 5973007"/>
              <a:gd name="connsiteX22105" fmla="*/ 5787807 w 6884782"/>
              <a:gd name="connsiteY22105" fmla="*/ 4173062 h 5973007"/>
              <a:gd name="connsiteX22106" fmla="*/ 5786722 w 6884782"/>
              <a:gd name="connsiteY22106" fmla="*/ 4174818 h 5973007"/>
              <a:gd name="connsiteX22107" fmla="*/ 5786103 w 6884782"/>
              <a:gd name="connsiteY22107" fmla="*/ 4175437 h 5973007"/>
              <a:gd name="connsiteX22108" fmla="*/ 5785173 w 6884782"/>
              <a:gd name="connsiteY22108" fmla="*/ 4178844 h 5973007"/>
              <a:gd name="connsiteX22109" fmla="*/ 5787187 w 6884782"/>
              <a:gd name="connsiteY22109" fmla="*/ 4202594 h 5973007"/>
              <a:gd name="connsiteX22110" fmla="*/ 5780527 w 6884782"/>
              <a:gd name="connsiteY22110" fmla="*/ 4192165 h 5973007"/>
              <a:gd name="connsiteX22111" fmla="*/ 5778358 w 6884782"/>
              <a:gd name="connsiteY22111" fmla="*/ 4177709 h 5973007"/>
              <a:gd name="connsiteX22112" fmla="*/ 5782075 w 6884782"/>
              <a:gd name="connsiteY22112" fmla="*/ 4174818 h 5973007"/>
              <a:gd name="connsiteX22113" fmla="*/ 5783779 w 6884782"/>
              <a:gd name="connsiteY22113" fmla="*/ 4174095 h 5973007"/>
              <a:gd name="connsiteX22114" fmla="*/ 5784399 w 6884782"/>
              <a:gd name="connsiteY22114" fmla="*/ 4173475 h 5973007"/>
              <a:gd name="connsiteX22115" fmla="*/ 5787807 w 6884782"/>
              <a:gd name="connsiteY22115" fmla="*/ 4173062 h 5973007"/>
              <a:gd name="connsiteX22116" fmla="*/ 1434921 w 6884782"/>
              <a:gd name="connsiteY22116" fmla="*/ 4172012 h 5973007"/>
              <a:gd name="connsiteX22117" fmla="*/ 1439723 w 6884782"/>
              <a:gd name="connsiteY22117" fmla="*/ 4175006 h 5973007"/>
              <a:gd name="connsiteX22118" fmla="*/ 1434456 w 6884782"/>
              <a:gd name="connsiteY22118" fmla="*/ 4194418 h 5973007"/>
              <a:gd name="connsiteX22119" fmla="*/ 1434921 w 6884782"/>
              <a:gd name="connsiteY22119" fmla="*/ 4172012 h 5973007"/>
              <a:gd name="connsiteX22120" fmla="*/ 5661411 w 6884782"/>
              <a:gd name="connsiteY22120" fmla="*/ 4170894 h 5973007"/>
              <a:gd name="connsiteX22121" fmla="*/ 5669776 w 6884782"/>
              <a:gd name="connsiteY22121" fmla="*/ 4171204 h 5973007"/>
              <a:gd name="connsiteX22122" fmla="*/ 5673028 w 6884782"/>
              <a:gd name="connsiteY22122" fmla="*/ 4175334 h 5973007"/>
              <a:gd name="connsiteX22123" fmla="*/ 5673183 w 6884782"/>
              <a:gd name="connsiteY22123" fmla="*/ 4176986 h 5973007"/>
              <a:gd name="connsiteX22124" fmla="*/ 5673338 w 6884782"/>
              <a:gd name="connsiteY22124" fmla="*/ 4176986 h 5973007"/>
              <a:gd name="connsiteX22125" fmla="*/ 5681858 w 6884782"/>
              <a:gd name="connsiteY22125" fmla="*/ 4182665 h 5973007"/>
              <a:gd name="connsiteX22126" fmla="*/ 5676901 w 6884782"/>
              <a:gd name="connsiteY22126" fmla="*/ 4188551 h 5973007"/>
              <a:gd name="connsiteX22127" fmla="*/ 5671480 w 6884782"/>
              <a:gd name="connsiteY22127" fmla="*/ 4185969 h 5973007"/>
              <a:gd name="connsiteX22128" fmla="*/ 5669156 w 6884782"/>
              <a:gd name="connsiteY22128" fmla="*/ 4187311 h 5973007"/>
              <a:gd name="connsiteX22129" fmla="*/ 5666678 w 6884782"/>
              <a:gd name="connsiteY22129" fmla="*/ 4190926 h 5973007"/>
              <a:gd name="connsiteX22130" fmla="*/ 5661566 w 6884782"/>
              <a:gd name="connsiteY22130" fmla="*/ 4191132 h 5973007"/>
              <a:gd name="connsiteX22131" fmla="*/ 5659243 w 6884782"/>
              <a:gd name="connsiteY22131" fmla="*/ 4179567 h 5973007"/>
              <a:gd name="connsiteX22132" fmla="*/ 5660792 w 6884782"/>
              <a:gd name="connsiteY22132" fmla="*/ 4178225 h 5973007"/>
              <a:gd name="connsiteX22133" fmla="*/ 5660482 w 6884782"/>
              <a:gd name="connsiteY22133" fmla="*/ 4175128 h 5973007"/>
              <a:gd name="connsiteX22134" fmla="*/ 5661411 w 6884782"/>
              <a:gd name="connsiteY22134" fmla="*/ 4170894 h 5973007"/>
              <a:gd name="connsiteX22135" fmla="*/ 1446228 w 6884782"/>
              <a:gd name="connsiteY22135" fmla="*/ 4169534 h 5973007"/>
              <a:gd name="connsiteX22136" fmla="*/ 1446538 w 6884782"/>
              <a:gd name="connsiteY22136" fmla="*/ 4176865 h 5973007"/>
              <a:gd name="connsiteX22137" fmla="*/ 1443904 w 6884782"/>
              <a:gd name="connsiteY22137" fmla="*/ 4175626 h 5973007"/>
              <a:gd name="connsiteX22138" fmla="*/ 1446228 w 6884782"/>
              <a:gd name="connsiteY22138" fmla="*/ 4169534 h 5973007"/>
              <a:gd name="connsiteX22139" fmla="*/ 5595580 w 6884782"/>
              <a:gd name="connsiteY22139" fmla="*/ 4169242 h 5973007"/>
              <a:gd name="connsiteX22140" fmla="*/ 5597439 w 6884782"/>
              <a:gd name="connsiteY22140" fmla="*/ 4174818 h 5973007"/>
              <a:gd name="connsiteX22141" fmla="*/ 5592947 w 6884782"/>
              <a:gd name="connsiteY22141" fmla="*/ 4180497 h 5973007"/>
              <a:gd name="connsiteX22142" fmla="*/ 5591088 w 6884782"/>
              <a:gd name="connsiteY22142" fmla="*/ 4177709 h 5973007"/>
              <a:gd name="connsiteX22143" fmla="*/ 5595580 w 6884782"/>
              <a:gd name="connsiteY22143" fmla="*/ 4169242 h 5973007"/>
              <a:gd name="connsiteX22144" fmla="*/ 5112149 w 6884782"/>
              <a:gd name="connsiteY22144" fmla="*/ 4167176 h 5973007"/>
              <a:gd name="connsiteX22145" fmla="*/ 5101926 w 6884782"/>
              <a:gd name="connsiteY22145" fmla="*/ 4179671 h 5973007"/>
              <a:gd name="connsiteX22146" fmla="*/ 5112149 w 6884782"/>
              <a:gd name="connsiteY22146" fmla="*/ 4167176 h 5973007"/>
              <a:gd name="connsiteX22147" fmla="*/ 5542915 w 6884782"/>
              <a:gd name="connsiteY22147" fmla="*/ 4166351 h 5973007"/>
              <a:gd name="connsiteX22148" fmla="*/ 5537494 w 6884782"/>
              <a:gd name="connsiteY22148" fmla="*/ 4172856 h 5973007"/>
              <a:gd name="connsiteX22149" fmla="*/ 5535480 w 6884782"/>
              <a:gd name="connsiteY22149" fmla="*/ 4171823 h 5973007"/>
              <a:gd name="connsiteX22150" fmla="*/ 5542915 w 6884782"/>
              <a:gd name="connsiteY22150" fmla="*/ 4166351 h 5973007"/>
              <a:gd name="connsiteX22151" fmla="*/ 5772007 w 6884782"/>
              <a:gd name="connsiteY22151" fmla="*/ 4165925 h 5973007"/>
              <a:gd name="connsiteX22152" fmla="*/ 5782540 w 6884782"/>
              <a:gd name="connsiteY22152" fmla="*/ 4169655 h 5973007"/>
              <a:gd name="connsiteX22153" fmla="*/ 5772317 w 6884782"/>
              <a:gd name="connsiteY22153" fmla="*/ 4173992 h 5973007"/>
              <a:gd name="connsiteX22154" fmla="*/ 5761009 w 6884782"/>
              <a:gd name="connsiteY22154" fmla="*/ 4169552 h 5973007"/>
              <a:gd name="connsiteX22155" fmla="*/ 5772007 w 6884782"/>
              <a:gd name="connsiteY22155" fmla="*/ 4165925 h 5973007"/>
              <a:gd name="connsiteX22156" fmla="*/ 5203848 w 6884782"/>
              <a:gd name="connsiteY22156" fmla="*/ 4165111 h 5973007"/>
              <a:gd name="connsiteX22157" fmla="*/ 5212057 w 6884782"/>
              <a:gd name="connsiteY22157" fmla="*/ 4166247 h 5973007"/>
              <a:gd name="connsiteX22158" fmla="*/ 5209269 w 6884782"/>
              <a:gd name="connsiteY22158" fmla="*/ 4179980 h 5973007"/>
              <a:gd name="connsiteX22159" fmla="*/ 5205861 w 6884782"/>
              <a:gd name="connsiteY22159" fmla="*/ 4180187 h 5973007"/>
              <a:gd name="connsiteX22160" fmla="*/ 5203848 w 6884782"/>
              <a:gd name="connsiteY22160" fmla="*/ 4165111 h 5973007"/>
              <a:gd name="connsiteX22161" fmla="*/ 1402082 w 6884782"/>
              <a:gd name="connsiteY22161" fmla="*/ 4164268 h 5973007"/>
              <a:gd name="connsiteX22162" fmla="*/ 1402857 w 6884782"/>
              <a:gd name="connsiteY22162" fmla="*/ 4165507 h 5973007"/>
              <a:gd name="connsiteX22163" fmla="*/ 1403167 w 6884782"/>
              <a:gd name="connsiteY22163" fmla="*/ 4167572 h 5973007"/>
              <a:gd name="connsiteX22164" fmla="*/ 1401153 w 6884782"/>
              <a:gd name="connsiteY22164" fmla="*/ 4168604 h 5973007"/>
              <a:gd name="connsiteX22165" fmla="*/ 1398829 w 6884782"/>
              <a:gd name="connsiteY22165" fmla="*/ 4168398 h 5973007"/>
              <a:gd name="connsiteX22166" fmla="*/ 1397590 w 6884782"/>
              <a:gd name="connsiteY22166" fmla="*/ 4167572 h 5973007"/>
              <a:gd name="connsiteX22167" fmla="*/ 1397281 w 6884782"/>
              <a:gd name="connsiteY22167" fmla="*/ 4166333 h 5973007"/>
              <a:gd name="connsiteX22168" fmla="*/ 1399449 w 6884782"/>
              <a:gd name="connsiteY22168" fmla="*/ 4164474 h 5973007"/>
              <a:gd name="connsiteX22169" fmla="*/ 1402082 w 6884782"/>
              <a:gd name="connsiteY22169" fmla="*/ 4164268 h 5973007"/>
              <a:gd name="connsiteX22170" fmla="*/ 5098208 w 6884782"/>
              <a:gd name="connsiteY22170" fmla="*/ 4163460 h 5973007"/>
              <a:gd name="connsiteX22171" fmla="*/ 5102700 w 6884782"/>
              <a:gd name="connsiteY22171" fmla="*/ 4170068 h 5973007"/>
              <a:gd name="connsiteX22172" fmla="*/ 5101151 w 6884782"/>
              <a:gd name="connsiteY22172" fmla="*/ 4172133 h 5973007"/>
              <a:gd name="connsiteX22173" fmla="*/ 5095575 w 6884782"/>
              <a:gd name="connsiteY22173" fmla="*/ 4169242 h 5973007"/>
              <a:gd name="connsiteX22174" fmla="*/ 5095420 w 6884782"/>
              <a:gd name="connsiteY22174" fmla="*/ 4166351 h 5973007"/>
              <a:gd name="connsiteX22175" fmla="*/ 5098208 w 6884782"/>
              <a:gd name="connsiteY22175" fmla="*/ 4163460 h 5973007"/>
              <a:gd name="connsiteX22176" fmla="*/ 5280211 w 6884782"/>
              <a:gd name="connsiteY22176" fmla="*/ 4162633 h 5973007"/>
              <a:gd name="connsiteX22177" fmla="*/ 5287182 w 6884782"/>
              <a:gd name="connsiteY22177" fmla="*/ 4166661 h 5973007"/>
              <a:gd name="connsiteX22178" fmla="*/ 5277888 w 6884782"/>
              <a:gd name="connsiteY22178" fmla="*/ 4178122 h 5973007"/>
              <a:gd name="connsiteX22179" fmla="*/ 5273241 w 6884782"/>
              <a:gd name="connsiteY22179" fmla="*/ 4175643 h 5973007"/>
              <a:gd name="connsiteX22180" fmla="*/ 5280211 w 6884782"/>
              <a:gd name="connsiteY22180" fmla="*/ 4162633 h 5973007"/>
              <a:gd name="connsiteX22181" fmla="*/ 5316457 w 6884782"/>
              <a:gd name="connsiteY22181" fmla="*/ 4161498 h 5973007"/>
              <a:gd name="connsiteX22182" fmla="*/ 5326061 w 6884782"/>
              <a:gd name="connsiteY22182" fmla="*/ 4163563 h 5973007"/>
              <a:gd name="connsiteX22183" fmla="*/ 5323892 w 6884782"/>
              <a:gd name="connsiteY22183" fmla="*/ 4171307 h 5973007"/>
              <a:gd name="connsiteX22184" fmla="*/ 5320949 w 6884782"/>
              <a:gd name="connsiteY22184" fmla="*/ 4171100 h 5973007"/>
              <a:gd name="connsiteX22185" fmla="*/ 5322653 w 6884782"/>
              <a:gd name="connsiteY22185" fmla="*/ 4172133 h 5973007"/>
              <a:gd name="connsiteX22186" fmla="*/ 5324667 w 6884782"/>
              <a:gd name="connsiteY22186" fmla="*/ 4176160 h 5973007"/>
              <a:gd name="connsiteX22187" fmla="*/ 5319555 w 6884782"/>
              <a:gd name="connsiteY22187" fmla="*/ 4173682 h 5973007"/>
              <a:gd name="connsiteX22188" fmla="*/ 5318471 w 6884782"/>
              <a:gd name="connsiteY22188" fmla="*/ 4170894 h 5973007"/>
              <a:gd name="connsiteX22189" fmla="*/ 5317231 w 6884782"/>
              <a:gd name="connsiteY22189" fmla="*/ 4170791 h 5973007"/>
              <a:gd name="connsiteX22190" fmla="*/ 5316457 w 6884782"/>
              <a:gd name="connsiteY22190" fmla="*/ 4161498 h 5973007"/>
              <a:gd name="connsiteX22191" fmla="*/ 5335045 w 6884782"/>
              <a:gd name="connsiteY22191" fmla="*/ 4160775 h 5973007"/>
              <a:gd name="connsiteX22192" fmla="*/ 5343719 w 6884782"/>
              <a:gd name="connsiteY22192" fmla="*/ 4171617 h 5973007"/>
              <a:gd name="connsiteX22193" fmla="*/ 5339382 w 6884782"/>
              <a:gd name="connsiteY22193" fmla="*/ 4174301 h 5973007"/>
              <a:gd name="connsiteX22194" fmla="*/ 5330552 w 6884782"/>
              <a:gd name="connsiteY22194" fmla="*/ 4165938 h 5973007"/>
              <a:gd name="connsiteX22195" fmla="*/ 5335045 w 6884782"/>
              <a:gd name="connsiteY22195" fmla="*/ 4160775 h 5973007"/>
              <a:gd name="connsiteX22196" fmla="*/ 5373711 w 6884782"/>
              <a:gd name="connsiteY22196" fmla="*/ 4158761 h 5973007"/>
              <a:gd name="connsiteX22197" fmla="*/ 5381668 w 6884782"/>
              <a:gd name="connsiteY22197" fmla="*/ 4162633 h 5973007"/>
              <a:gd name="connsiteX22198" fmla="*/ 5380894 w 6884782"/>
              <a:gd name="connsiteY22198" fmla="*/ 4166041 h 5973007"/>
              <a:gd name="connsiteX22199" fmla="*/ 5376557 w 6884782"/>
              <a:gd name="connsiteY22199" fmla="*/ 4169035 h 5973007"/>
              <a:gd name="connsiteX22200" fmla="*/ 5372685 w 6884782"/>
              <a:gd name="connsiteY22200" fmla="*/ 4170687 h 5973007"/>
              <a:gd name="connsiteX22201" fmla="*/ 5372994 w 6884782"/>
              <a:gd name="connsiteY22201" fmla="*/ 4176883 h 5973007"/>
              <a:gd name="connsiteX22202" fmla="*/ 5369586 w 6884782"/>
              <a:gd name="connsiteY22202" fmla="*/ 4181839 h 5973007"/>
              <a:gd name="connsiteX22203" fmla="*/ 5367418 w 6884782"/>
              <a:gd name="connsiteY22203" fmla="*/ 4176160 h 5973007"/>
              <a:gd name="connsiteX22204" fmla="*/ 5367263 w 6884782"/>
              <a:gd name="connsiteY22204" fmla="*/ 4169552 h 5973007"/>
              <a:gd name="connsiteX22205" fmla="*/ 5364940 w 6884782"/>
              <a:gd name="connsiteY22205" fmla="*/ 4168106 h 5973007"/>
              <a:gd name="connsiteX22206" fmla="*/ 5364475 w 6884782"/>
              <a:gd name="connsiteY22206" fmla="*/ 4165421 h 5973007"/>
              <a:gd name="connsiteX22207" fmla="*/ 5373711 w 6884782"/>
              <a:gd name="connsiteY22207" fmla="*/ 4158761 h 5973007"/>
              <a:gd name="connsiteX22208" fmla="*/ 5567234 w 6884782"/>
              <a:gd name="connsiteY22208" fmla="*/ 4158297 h 5973007"/>
              <a:gd name="connsiteX22209" fmla="*/ 5577612 w 6884782"/>
              <a:gd name="connsiteY22209" fmla="*/ 4163046 h 5973007"/>
              <a:gd name="connsiteX22210" fmla="*/ 5580710 w 6884782"/>
              <a:gd name="connsiteY22210" fmla="*/ 4177915 h 5973007"/>
              <a:gd name="connsiteX22211" fmla="*/ 5571881 w 6884782"/>
              <a:gd name="connsiteY22211" fmla="*/ 4181426 h 5973007"/>
              <a:gd name="connsiteX22212" fmla="*/ 5566460 w 6884782"/>
              <a:gd name="connsiteY22212" fmla="*/ 4178948 h 5973007"/>
              <a:gd name="connsiteX22213" fmla="*/ 5563981 w 6884782"/>
              <a:gd name="connsiteY22213" fmla="*/ 4163356 h 5973007"/>
              <a:gd name="connsiteX22214" fmla="*/ 5565685 w 6884782"/>
              <a:gd name="connsiteY22214" fmla="*/ 4161704 h 5973007"/>
              <a:gd name="connsiteX22215" fmla="*/ 5567234 w 6884782"/>
              <a:gd name="connsiteY22215" fmla="*/ 4158297 h 5973007"/>
              <a:gd name="connsiteX22216" fmla="*/ 5707416 w 6884782"/>
              <a:gd name="connsiteY22216" fmla="*/ 4157884 h 5973007"/>
              <a:gd name="connsiteX22217" fmla="*/ 5706641 w 6884782"/>
              <a:gd name="connsiteY22217" fmla="*/ 4163046 h 5973007"/>
              <a:gd name="connsiteX22218" fmla="*/ 5707416 w 6884782"/>
              <a:gd name="connsiteY22218" fmla="*/ 4157884 h 5973007"/>
              <a:gd name="connsiteX22219" fmla="*/ 5399636 w 6884782"/>
              <a:gd name="connsiteY22219" fmla="*/ 4157677 h 5973007"/>
              <a:gd name="connsiteX22220" fmla="*/ 5408310 w 6884782"/>
              <a:gd name="connsiteY22220" fmla="*/ 4163563 h 5973007"/>
              <a:gd name="connsiteX22221" fmla="*/ 5405987 w 6884782"/>
              <a:gd name="connsiteY22221" fmla="*/ 4172856 h 5973007"/>
              <a:gd name="connsiteX22222" fmla="*/ 5407071 w 6884782"/>
              <a:gd name="connsiteY22222" fmla="*/ 4174508 h 5973007"/>
              <a:gd name="connsiteX22223" fmla="*/ 5407226 w 6884782"/>
              <a:gd name="connsiteY22223" fmla="*/ 4178432 h 5973007"/>
              <a:gd name="connsiteX22224" fmla="*/ 5405367 w 6884782"/>
              <a:gd name="connsiteY22224" fmla="*/ 4178328 h 5973007"/>
              <a:gd name="connsiteX22225" fmla="*/ 5404438 w 6884782"/>
              <a:gd name="connsiteY22225" fmla="*/ 4173992 h 5973007"/>
              <a:gd name="connsiteX22226" fmla="*/ 5403663 w 6884782"/>
              <a:gd name="connsiteY22226" fmla="*/ 4173578 h 5973007"/>
              <a:gd name="connsiteX22227" fmla="*/ 5401495 w 6884782"/>
              <a:gd name="connsiteY22227" fmla="*/ 4174198 h 5973007"/>
              <a:gd name="connsiteX22228" fmla="*/ 5393905 w 6884782"/>
              <a:gd name="connsiteY22228" fmla="*/ 4169965 h 5973007"/>
              <a:gd name="connsiteX22229" fmla="*/ 5395454 w 6884782"/>
              <a:gd name="connsiteY22229" fmla="*/ 4160259 h 5973007"/>
              <a:gd name="connsiteX22230" fmla="*/ 5399636 w 6884782"/>
              <a:gd name="connsiteY22230" fmla="*/ 4157677 h 5973007"/>
              <a:gd name="connsiteX22231" fmla="*/ 5633046 w 6884782"/>
              <a:gd name="connsiteY22231" fmla="*/ 4157354 h 5973007"/>
              <a:gd name="connsiteX22232" fmla="*/ 5646231 w 6884782"/>
              <a:gd name="connsiteY22232" fmla="*/ 4161084 h 5973007"/>
              <a:gd name="connsiteX22233" fmla="*/ 5649174 w 6884782"/>
              <a:gd name="connsiteY22233" fmla="*/ 4168416 h 5973007"/>
              <a:gd name="connsiteX22234" fmla="*/ 5647625 w 6884782"/>
              <a:gd name="connsiteY22234" fmla="*/ 4173166 h 5973007"/>
              <a:gd name="connsiteX22235" fmla="*/ 5647935 w 6884782"/>
              <a:gd name="connsiteY22235" fmla="*/ 4173785 h 5973007"/>
              <a:gd name="connsiteX22236" fmla="*/ 5647315 w 6884782"/>
              <a:gd name="connsiteY22236" fmla="*/ 4173992 h 5973007"/>
              <a:gd name="connsiteX22237" fmla="*/ 5647161 w 6884782"/>
              <a:gd name="connsiteY22237" fmla="*/ 4174508 h 5973007"/>
              <a:gd name="connsiteX22238" fmla="*/ 5634769 w 6884782"/>
              <a:gd name="connsiteY22238" fmla="*/ 4179877 h 5973007"/>
              <a:gd name="connsiteX22239" fmla="*/ 5619744 w 6884782"/>
              <a:gd name="connsiteY22239" fmla="*/ 4165938 h 5973007"/>
              <a:gd name="connsiteX22240" fmla="*/ 5633046 w 6884782"/>
              <a:gd name="connsiteY22240" fmla="*/ 4157354 h 5973007"/>
              <a:gd name="connsiteX22241" fmla="*/ 5518442 w 6884782"/>
              <a:gd name="connsiteY22241" fmla="*/ 4157264 h 5973007"/>
              <a:gd name="connsiteX22242" fmla="*/ 5524483 w 6884782"/>
              <a:gd name="connsiteY22242" fmla="*/ 4158916 h 5973007"/>
              <a:gd name="connsiteX22243" fmla="*/ 5520920 w 6884782"/>
              <a:gd name="connsiteY22243" fmla="*/ 4158916 h 5973007"/>
              <a:gd name="connsiteX22244" fmla="*/ 5518442 w 6884782"/>
              <a:gd name="connsiteY22244" fmla="*/ 4157264 h 5973007"/>
              <a:gd name="connsiteX22245" fmla="*/ 5227237 w 6884782"/>
              <a:gd name="connsiteY22245" fmla="*/ 4155302 h 5973007"/>
              <a:gd name="connsiteX22246" fmla="*/ 5225843 w 6884782"/>
              <a:gd name="connsiteY22246" fmla="*/ 4167693 h 5973007"/>
              <a:gd name="connsiteX22247" fmla="*/ 5221041 w 6884782"/>
              <a:gd name="connsiteY22247" fmla="*/ 4166247 h 5973007"/>
              <a:gd name="connsiteX22248" fmla="*/ 5227237 w 6884782"/>
              <a:gd name="connsiteY22248" fmla="*/ 4155302 h 5973007"/>
              <a:gd name="connsiteX22249" fmla="*/ 5150098 w 6884782"/>
              <a:gd name="connsiteY22249" fmla="*/ 4154993 h 5973007"/>
              <a:gd name="connsiteX22250" fmla="*/ 5160786 w 6884782"/>
              <a:gd name="connsiteY22250" fmla="*/ 4155509 h 5973007"/>
              <a:gd name="connsiteX22251" fmla="*/ 5156294 w 6884782"/>
              <a:gd name="connsiteY22251" fmla="*/ 4161498 h 5973007"/>
              <a:gd name="connsiteX22252" fmla="*/ 5152732 w 6884782"/>
              <a:gd name="connsiteY22252" fmla="*/ 4160981 h 5973007"/>
              <a:gd name="connsiteX22253" fmla="*/ 5150098 w 6884782"/>
              <a:gd name="connsiteY22253" fmla="*/ 4154993 h 5973007"/>
              <a:gd name="connsiteX22254" fmla="*/ 5064441 w 6884782"/>
              <a:gd name="connsiteY22254" fmla="*/ 4153857 h 5973007"/>
              <a:gd name="connsiteX22255" fmla="*/ 5067229 w 6884782"/>
              <a:gd name="connsiteY22255" fmla="*/ 4155715 h 5973007"/>
              <a:gd name="connsiteX22256" fmla="*/ 5066455 w 6884782"/>
              <a:gd name="connsiteY22256" fmla="*/ 4158297 h 5973007"/>
              <a:gd name="connsiteX22257" fmla="*/ 5065060 w 6884782"/>
              <a:gd name="connsiteY22257" fmla="*/ 4156232 h 5973007"/>
              <a:gd name="connsiteX22258" fmla="*/ 5064441 w 6884782"/>
              <a:gd name="connsiteY22258" fmla="*/ 4153857 h 5973007"/>
              <a:gd name="connsiteX22259" fmla="*/ 5443627 w 6884782"/>
              <a:gd name="connsiteY22259" fmla="*/ 4153547 h 5973007"/>
              <a:gd name="connsiteX22260" fmla="*/ 5444556 w 6884782"/>
              <a:gd name="connsiteY22260" fmla="*/ 4156954 h 5973007"/>
              <a:gd name="connsiteX22261" fmla="*/ 5443162 w 6884782"/>
              <a:gd name="connsiteY22261" fmla="*/ 4157367 h 5973007"/>
              <a:gd name="connsiteX22262" fmla="*/ 5441149 w 6884782"/>
              <a:gd name="connsiteY22262" fmla="*/ 4156025 h 5973007"/>
              <a:gd name="connsiteX22263" fmla="*/ 5557902 w 6884782"/>
              <a:gd name="connsiteY22263" fmla="*/ 4152992 h 5973007"/>
              <a:gd name="connsiteX22264" fmla="*/ 5559799 w 6884782"/>
              <a:gd name="connsiteY22264" fmla="*/ 4158400 h 5973007"/>
              <a:gd name="connsiteX22265" fmla="*/ 5552984 w 6884782"/>
              <a:gd name="connsiteY22265" fmla="*/ 4153547 h 5973007"/>
              <a:gd name="connsiteX22266" fmla="*/ 5557902 w 6884782"/>
              <a:gd name="connsiteY22266" fmla="*/ 4152992 h 5973007"/>
              <a:gd name="connsiteX22267" fmla="*/ 5437431 w 6884782"/>
              <a:gd name="connsiteY22267" fmla="*/ 4152927 h 5973007"/>
              <a:gd name="connsiteX22268" fmla="*/ 5438670 w 6884782"/>
              <a:gd name="connsiteY22268" fmla="*/ 4154683 h 5973007"/>
              <a:gd name="connsiteX22269" fmla="*/ 5438360 w 6884782"/>
              <a:gd name="connsiteY22269" fmla="*/ 4156232 h 5973007"/>
              <a:gd name="connsiteX22270" fmla="*/ 5440374 w 6884782"/>
              <a:gd name="connsiteY22270" fmla="*/ 4156748 h 5973007"/>
              <a:gd name="connsiteX22271" fmla="*/ 5443162 w 6884782"/>
              <a:gd name="connsiteY22271" fmla="*/ 4163872 h 5973007"/>
              <a:gd name="connsiteX22272" fmla="*/ 5441458 w 6884782"/>
              <a:gd name="connsiteY22272" fmla="*/ 4164595 h 5973007"/>
              <a:gd name="connsiteX22273" fmla="*/ 5439445 w 6884782"/>
              <a:gd name="connsiteY22273" fmla="*/ 4165111 h 5973007"/>
              <a:gd name="connsiteX22274" fmla="*/ 5434952 w 6884782"/>
              <a:gd name="connsiteY22274" fmla="*/ 4163460 h 5973007"/>
              <a:gd name="connsiteX22275" fmla="*/ 5432939 w 6884782"/>
              <a:gd name="connsiteY22275" fmla="*/ 4159845 h 5973007"/>
              <a:gd name="connsiteX22276" fmla="*/ 5432939 w 6884782"/>
              <a:gd name="connsiteY22276" fmla="*/ 4158090 h 5973007"/>
              <a:gd name="connsiteX22277" fmla="*/ 5434178 w 6884782"/>
              <a:gd name="connsiteY22277" fmla="*/ 4157367 h 5973007"/>
              <a:gd name="connsiteX22278" fmla="*/ 5433714 w 6884782"/>
              <a:gd name="connsiteY22278" fmla="*/ 4156851 h 5973007"/>
              <a:gd name="connsiteX22279" fmla="*/ 5433404 w 6884782"/>
              <a:gd name="connsiteY22279" fmla="*/ 4154166 h 5973007"/>
              <a:gd name="connsiteX22280" fmla="*/ 5437431 w 6884782"/>
              <a:gd name="connsiteY22280" fmla="*/ 4152927 h 5973007"/>
              <a:gd name="connsiteX22281" fmla="*/ 5062427 w 6884782"/>
              <a:gd name="connsiteY22281" fmla="*/ 4152514 h 5973007"/>
              <a:gd name="connsiteX22282" fmla="*/ 5063976 w 6884782"/>
              <a:gd name="connsiteY22282" fmla="*/ 4153443 h 5973007"/>
              <a:gd name="connsiteX22283" fmla="*/ 5063512 w 6884782"/>
              <a:gd name="connsiteY22283" fmla="*/ 4154166 h 5973007"/>
              <a:gd name="connsiteX22284" fmla="*/ 5062582 w 6884782"/>
              <a:gd name="connsiteY22284" fmla="*/ 4153443 h 5973007"/>
              <a:gd name="connsiteX22285" fmla="*/ 5062427 w 6884782"/>
              <a:gd name="connsiteY22285" fmla="*/ 4152514 h 5973007"/>
              <a:gd name="connsiteX22286" fmla="*/ 615984 w 6884782"/>
              <a:gd name="connsiteY22286" fmla="*/ 4152083 h 5973007"/>
              <a:gd name="connsiteX22287" fmla="*/ 611492 w 6884782"/>
              <a:gd name="connsiteY22287" fmla="*/ 4159518 h 5973007"/>
              <a:gd name="connsiteX22288" fmla="*/ 608549 w 6884782"/>
              <a:gd name="connsiteY22288" fmla="*/ 4159208 h 5973007"/>
              <a:gd name="connsiteX22289" fmla="*/ 607774 w 6884782"/>
              <a:gd name="connsiteY22289" fmla="*/ 4157246 h 5973007"/>
              <a:gd name="connsiteX22290" fmla="*/ 607155 w 6884782"/>
              <a:gd name="connsiteY22290" fmla="*/ 4154562 h 5973007"/>
              <a:gd name="connsiteX22291" fmla="*/ 615984 w 6884782"/>
              <a:gd name="connsiteY22291" fmla="*/ 4152083 h 5973007"/>
              <a:gd name="connsiteX22292" fmla="*/ 5722130 w 6884782"/>
              <a:gd name="connsiteY22292" fmla="*/ 4150552 h 5973007"/>
              <a:gd name="connsiteX22293" fmla="*/ 5723060 w 6884782"/>
              <a:gd name="connsiteY22293" fmla="*/ 4153134 h 5973007"/>
              <a:gd name="connsiteX22294" fmla="*/ 5722285 w 6884782"/>
              <a:gd name="connsiteY22294" fmla="*/ 4155715 h 5973007"/>
              <a:gd name="connsiteX22295" fmla="*/ 5720891 w 6884782"/>
              <a:gd name="connsiteY22295" fmla="*/ 4156025 h 5973007"/>
              <a:gd name="connsiteX22296" fmla="*/ 5719033 w 6884782"/>
              <a:gd name="connsiteY22296" fmla="*/ 4155509 h 5973007"/>
              <a:gd name="connsiteX22297" fmla="*/ 5719652 w 6884782"/>
              <a:gd name="connsiteY22297" fmla="*/ 4151275 h 5973007"/>
              <a:gd name="connsiteX22298" fmla="*/ 5722130 w 6884782"/>
              <a:gd name="connsiteY22298" fmla="*/ 4150552 h 5973007"/>
              <a:gd name="connsiteX22299" fmla="*/ 5060104 w 6884782"/>
              <a:gd name="connsiteY22299" fmla="*/ 4150036 h 5973007"/>
              <a:gd name="connsiteX22300" fmla="*/ 5059949 w 6884782"/>
              <a:gd name="connsiteY22300" fmla="*/ 4151895 h 5973007"/>
              <a:gd name="connsiteX22301" fmla="*/ 5059019 w 6884782"/>
              <a:gd name="connsiteY22301" fmla="*/ 4150346 h 5973007"/>
              <a:gd name="connsiteX22302" fmla="*/ 5060104 w 6884782"/>
              <a:gd name="connsiteY22302" fmla="*/ 4150036 h 5973007"/>
              <a:gd name="connsiteX22303" fmla="*/ 5761939 w 6884782"/>
              <a:gd name="connsiteY22303" fmla="*/ 4149727 h 5973007"/>
              <a:gd name="connsiteX22304" fmla="*/ 5764727 w 6884782"/>
              <a:gd name="connsiteY22304" fmla="*/ 4150552 h 5973007"/>
              <a:gd name="connsiteX22305" fmla="*/ 5769529 w 6884782"/>
              <a:gd name="connsiteY22305" fmla="*/ 4150242 h 5973007"/>
              <a:gd name="connsiteX22306" fmla="*/ 5780991 w 6884782"/>
              <a:gd name="connsiteY22306" fmla="*/ 4161394 h 5973007"/>
              <a:gd name="connsiteX22307" fmla="*/ 5776809 w 6884782"/>
              <a:gd name="connsiteY22307" fmla="*/ 4164905 h 5973007"/>
              <a:gd name="connsiteX22308" fmla="*/ 5776964 w 6884782"/>
              <a:gd name="connsiteY22308" fmla="*/ 4165525 h 5973007"/>
              <a:gd name="connsiteX22309" fmla="*/ 5776189 w 6884782"/>
              <a:gd name="connsiteY22309" fmla="*/ 4165318 h 5973007"/>
              <a:gd name="connsiteX22310" fmla="*/ 5775415 w 6884782"/>
              <a:gd name="connsiteY22310" fmla="*/ 4166041 h 5973007"/>
              <a:gd name="connsiteX22311" fmla="*/ 5774021 w 6884782"/>
              <a:gd name="connsiteY22311" fmla="*/ 4164802 h 5973007"/>
              <a:gd name="connsiteX22312" fmla="*/ 5772317 w 6884782"/>
              <a:gd name="connsiteY22312" fmla="*/ 4164492 h 5973007"/>
              <a:gd name="connsiteX22313" fmla="*/ 5768290 w 6884782"/>
              <a:gd name="connsiteY22313" fmla="*/ 4162117 h 5973007"/>
              <a:gd name="connsiteX22314" fmla="*/ 5766586 w 6884782"/>
              <a:gd name="connsiteY22314" fmla="*/ 4159845 h 5973007"/>
              <a:gd name="connsiteX22315" fmla="*/ 5764263 w 6884782"/>
              <a:gd name="connsiteY22315" fmla="*/ 4158606 h 5973007"/>
              <a:gd name="connsiteX22316" fmla="*/ 5760700 w 6884782"/>
              <a:gd name="connsiteY22316" fmla="*/ 4156851 h 5973007"/>
              <a:gd name="connsiteX22317" fmla="*/ 5759770 w 6884782"/>
              <a:gd name="connsiteY22317" fmla="*/ 4157884 h 5973007"/>
              <a:gd name="connsiteX22318" fmla="*/ 5757447 w 6884782"/>
              <a:gd name="connsiteY22318" fmla="*/ 4159432 h 5973007"/>
              <a:gd name="connsiteX22319" fmla="*/ 5759306 w 6884782"/>
              <a:gd name="connsiteY22319" fmla="*/ 4157677 h 5973007"/>
              <a:gd name="connsiteX22320" fmla="*/ 5759460 w 6884782"/>
              <a:gd name="connsiteY22320" fmla="*/ 4156232 h 5973007"/>
              <a:gd name="connsiteX22321" fmla="*/ 5758841 w 6884782"/>
              <a:gd name="connsiteY22321" fmla="*/ 4155922 h 5973007"/>
              <a:gd name="connsiteX22322" fmla="*/ 5754039 w 6884782"/>
              <a:gd name="connsiteY22322" fmla="*/ 4152514 h 5973007"/>
              <a:gd name="connsiteX22323" fmla="*/ 5761474 w 6884782"/>
              <a:gd name="connsiteY22323" fmla="*/ 4150656 h 5973007"/>
              <a:gd name="connsiteX22324" fmla="*/ 5762093 w 6884782"/>
              <a:gd name="connsiteY22324" fmla="*/ 4150656 h 5973007"/>
              <a:gd name="connsiteX22325" fmla="*/ 775372 w 6884782"/>
              <a:gd name="connsiteY22325" fmla="*/ 4149296 h 5973007"/>
              <a:gd name="connsiteX22326" fmla="*/ 775217 w 6884782"/>
              <a:gd name="connsiteY22326" fmla="*/ 4149399 h 5973007"/>
              <a:gd name="connsiteX22327" fmla="*/ 772893 w 6884782"/>
              <a:gd name="connsiteY22327" fmla="*/ 4150741 h 5973007"/>
              <a:gd name="connsiteX22328" fmla="*/ 771654 w 6884782"/>
              <a:gd name="connsiteY22328" fmla="*/ 4151051 h 5973007"/>
              <a:gd name="connsiteX22329" fmla="*/ 774907 w 6884782"/>
              <a:gd name="connsiteY22329" fmla="*/ 4152290 h 5973007"/>
              <a:gd name="connsiteX22330" fmla="*/ 776921 w 6884782"/>
              <a:gd name="connsiteY22330" fmla="*/ 4151774 h 5973007"/>
              <a:gd name="connsiteX22331" fmla="*/ 717286 w 6884782"/>
              <a:gd name="connsiteY22331" fmla="*/ 4147953 h 5973007"/>
              <a:gd name="connsiteX22332" fmla="*/ 719610 w 6884782"/>
              <a:gd name="connsiteY22332" fmla="*/ 4151774 h 5973007"/>
              <a:gd name="connsiteX22333" fmla="*/ 720384 w 6884782"/>
              <a:gd name="connsiteY22333" fmla="*/ 4151980 h 5973007"/>
              <a:gd name="connsiteX22334" fmla="*/ 722243 w 6884782"/>
              <a:gd name="connsiteY22334" fmla="*/ 4150535 h 5973007"/>
              <a:gd name="connsiteX22335" fmla="*/ 730607 w 6884782"/>
              <a:gd name="connsiteY22335" fmla="*/ 4151877 h 5973007"/>
              <a:gd name="connsiteX22336" fmla="*/ 732776 w 6884782"/>
              <a:gd name="connsiteY22336" fmla="*/ 4159002 h 5973007"/>
              <a:gd name="connsiteX22337" fmla="*/ 732621 w 6884782"/>
              <a:gd name="connsiteY22337" fmla="*/ 4160757 h 5973007"/>
              <a:gd name="connsiteX22338" fmla="*/ 734324 w 6884782"/>
              <a:gd name="connsiteY22338" fmla="*/ 4164990 h 5973007"/>
              <a:gd name="connsiteX22339" fmla="*/ 706908 w 6884782"/>
              <a:gd name="connsiteY22339" fmla="*/ 4192353 h 5973007"/>
              <a:gd name="connsiteX22340" fmla="*/ 724566 w 6884782"/>
              <a:gd name="connsiteY22340" fmla="*/ 4166126 h 5973007"/>
              <a:gd name="connsiteX22341" fmla="*/ 725031 w 6884782"/>
              <a:gd name="connsiteY22341" fmla="*/ 4165816 h 5973007"/>
              <a:gd name="connsiteX22342" fmla="*/ 722862 w 6884782"/>
              <a:gd name="connsiteY22342" fmla="*/ 4165403 h 5973007"/>
              <a:gd name="connsiteX22343" fmla="*/ 719764 w 6884782"/>
              <a:gd name="connsiteY22343" fmla="*/ 4163235 h 5973007"/>
              <a:gd name="connsiteX22344" fmla="*/ 718680 w 6884782"/>
              <a:gd name="connsiteY22344" fmla="*/ 4153426 h 5973007"/>
              <a:gd name="connsiteX22345" fmla="*/ 717131 w 6884782"/>
              <a:gd name="connsiteY22345" fmla="*/ 4152290 h 5973007"/>
              <a:gd name="connsiteX22346" fmla="*/ 715737 w 6884782"/>
              <a:gd name="connsiteY22346" fmla="*/ 4148469 h 5973007"/>
              <a:gd name="connsiteX22347" fmla="*/ 717286 w 6884782"/>
              <a:gd name="connsiteY22347" fmla="*/ 4147953 h 5973007"/>
              <a:gd name="connsiteX22348" fmla="*/ 1355769 w 6884782"/>
              <a:gd name="connsiteY22348" fmla="*/ 4146714 h 5973007"/>
              <a:gd name="connsiteX22349" fmla="*/ 1356698 w 6884782"/>
              <a:gd name="connsiteY22349" fmla="*/ 4147746 h 5973007"/>
              <a:gd name="connsiteX22350" fmla="*/ 1353445 w 6884782"/>
              <a:gd name="connsiteY22350" fmla="*/ 4149502 h 5973007"/>
              <a:gd name="connsiteX22351" fmla="*/ 1352361 w 6884782"/>
              <a:gd name="connsiteY22351" fmla="*/ 4148985 h 5973007"/>
              <a:gd name="connsiteX22352" fmla="*/ 1355769 w 6884782"/>
              <a:gd name="connsiteY22352" fmla="*/ 4146714 h 5973007"/>
              <a:gd name="connsiteX22353" fmla="*/ 5117338 w 6884782"/>
              <a:gd name="connsiteY22353" fmla="*/ 4146035 h 5973007"/>
              <a:gd name="connsiteX22354" fmla="*/ 5123766 w 6884782"/>
              <a:gd name="connsiteY22354" fmla="*/ 4148797 h 5973007"/>
              <a:gd name="connsiteX22355" fmla="*/ 5118345 w 6884782"/>
              <a:gd name="connsiteY22355" fmla="*/ 4152721 h 5973007"/>
              <a:gd name="connsiteX22356" fmla="*/ 5112458 w 6884782"/>
              <a:gd name="connsiteY22356" fmla="*/ 4151069 h 5973007"/>
              <a:gd name="connsiteX22357" fmla="*/ 5111839 w 6884782"/>
              <a:gd name="connsiteY22357" fmla="*/ 4147145 h 5973007"/>
              <a:gd name="connsiteX22358" fmla="*/ 5117338 w 6884782"/>
              <a:gd name="connsiteY22358" fmla="*/ 4146035 h 5973007"/>
              <a:gd name="connsiteX22359" fmla="*/ 5861382 w 6884782"/>
              <a:gd name="connsiteY22359" fmla="*/ 4145183 h 5973007"/>
              <a:gd name="connsiteX22360" fmla="*/ 5859678 w 6884782"/>
              <a:gd name="connsiteY22360" fmla="*/ 4145390 h 5973007"/>
              <a:gd name="connsiteX22361" fmla="*/ 5862002 w 6884782"/>
              <a:gd name="connsiteY22361" fmla="*/ 4145699 h 5973007"/>
              <a:gd name="connsiteX22362" fmla="*/ 5862157 w 6884782"/>
              <a:gd name="connsiteY22362" fmla="*/ 4145699 h 5973007"/>
              <a:gd name="connsiteX22363" fmla="*/ 5385270 w 6884782"/>
              <a:gd name="connsiteY22363" fmla="*/ 4143324 h 5973007"/>
              <a:gd name="connsiteX22364" fmla="*/ 5387399 w 6884782"/>
              <a:gd name="connsiteY22364" fmla="*/ 4149210 h 5973007"/>
              <a:gd name="connsiteX22365" fmla="*/ 5384456 w 6884782"/>
              <a:gd name="connsiteY22365" fmla="*/ 4154063 h 5973007"/>
              <a:gd name="connsiteX22366" fmla="*/ 5382443 w 6884782"/>
              <a:gd name="connsiteY22366" fmla="*/ 4153134 h 5973007"/>
              <a:gd name="connsiteX22367" fmla="*/ 5382133 w 6884782"/>
              <a:gd name="connsiteY22367" fmla="*/ 4152927 h 5973007"/>
              <a:gd name="connsiteX22368" fmla="*/ 5379190 w 6884782"/>
              <a:gd name="connsiteY22368" fmla="*/ 4157264 h 5973007"/>
              <a:gd name="connsiteX22369" fmla="*/ 5377331 w 6884782"/>
              <a:gd name="connsiteY22369" fmla="*/ 4154786 h 5973007"/>
              <a:gd name="connsiteX22370" fmla="*/ 5377331 w 6884782"/>
              <a:gd name="connsiteY22370" fmla="*/ 4149623 h 5973007"/>
              <a:gd name="connsiteX22371" fmla="*/ 5378725 w 6884782"/>
              <a:gd name="connsiteY22371" fmla="*/ 4147558 h 5973007"/>
              <a:gd name="connsiteX22372" fmla="*/ 5378261 w 6884782"/>
              <a:gd name="connsiteY22372" fmla="*/ 4146422 h 5973007"/>
              <a:gd name="connsiteX22373" fmla="*/ 5385270 w 6884782"/>
              <a:gd name="connsiteY22373" fmla="*/ 4143324 h 5973007"/>
              <a:gd name="connsiteX22374" fmla="*/ 5709274 w 6884782"/>
              <a:gd name="connsiteY22374" fmla="*/ 4142395 h 5973007"/>
              <a:gd name="connsiteX22375" fmla="*/ 5711443 w 6884782"/>
              <a:gd name="connsiteY22375" fmla="*/ 4146009 h 5973007"/>
              <a:gd name="connsiteX22376" fmla="*/ 5711288 w 6884782"/>
              <a:gd name="connsiteY22376" fmla="*/ 4146732 h 5973007"/>
              <a:gd name="connsiteX22377" fmla="*/ 5712062 w 6884782"/>
              <a:gd name="connsiteY22377" fmla="*/ 4147455 h 5973007"/>
              <a:gd name="connsiteX22378" fmla="*/ 5710823 w 6884782"/>
              <a:gd name="connsiteY22378" fmla="*/ 4148281 h 5973007"/>
              <a:gd name="connsiteX22379" fmla="*/ 5710513 w 6884782"/>
              <a:gd name="connsiteY22379" fmla="*/ 4149623 h 5973007"/>
              <a:gd name="connsiteX22380" fmla="*/ 5705557 w 6884782"/>
              <a:gd name="connsiteY22380" fmla="*/ 4147971 h 5973007"/>
              <a:gd name="connsiteX22381" fmla="*/ 5704162 w 6884782"/>
              <a:gd name="connsiteY22381" fmla="*/ 4145183 h 5973007"/>
              <a:gd name="connsiteX22382" fmla="*/ 5705866 w 6884782"/>
              <a:gd name="connsiteY22382" fmla="*/ 4142808 h 5973007"/>
              <a:gd name="connsiteX22383" fmla="*/ 5709274 w 6884782"/>
              <a:gd name="connsiteY22383" fmla="*/ 4142395 h 5973007"/>
              <a:gd name="connsiteX22384" fmla="*/ 5776034 w 6884782"/>
              <a:gd name="connsiteY22384" fmla="*/ 4142085 h 5973007"/>
              <a:gd name="connsiteX22385" fmla="*/ 5780062 w 6884782"/>
              <a:gd name="connsiteY22385" fmla="*/ 4148281 h 5973007"/>
              <a:gd name="connsiteX22386" fmla="*/ 5782075 w 6884782"/>
              <a:gd name="connsiteY22386" fmla="*/ 4151998 h 5973007"/>
              <a:gd name="connsiteX22387" fmla="*/ 5781301 w 6884782"/>
              <a:gd name="connsiteY22387" fmla="*/ 4154373 h 5973007"/>
              <a:gd name="connsiteX22388" fmla="*/ 5780527 w 6884782"/>
              <a:gd name="connsiteY22388" fmla="*/ 4154786 h 5973007"/>
              <a:gd name="connsiteX22389" fmla="*/ 5779132 w 6884782"/>
              <a:gd name="connsiteY22389" fmla="*/ 4153650 h 5973007"/>
              <a:gd name="connsiteX22390" fmla="*/ 5776034 w 6884782"/>
              <a:gd name="connsiteY22390" fmla="*/ 4146009 h 5973007"/>
              <a:gd name="connsiteX22391" fmla="*/ 5775260 w 6884782"/>
              <a:gd name="connsiteY22391" fmla="*/ 4144460 h 5973007"/>
              <a:gd name="connsiteX22392" fmla="*/ 5776034 w 6884782"/>
              <a:gd name="connsiteY22392" fmla="*/ 4142085 h 5973007"/>
              <a:gd name="connsiteX22393" fmla="*/ 5408930 w 6884782"/>
              <a:gd name="connsiteY22393" fmla="*/ 4141569 h 5973007"/>
              <a:gd name="connsiteX22394" fmla="*/ 5409860 w 6884782"/>
              <a:gd name="connsiteY22394" fmla="*/ 4141569 h 5973007"/>
              <a:gd name="connsiteX22395" fmla="*/ 5409550 w 6884782"/>
              <a:gd name="connsiteY22395" fmla="*/ 4152204 h 5973007"/>
              <a:gd name="connsiteX22396" fmla="*/ 5408310 w 6884782"/>
              <a:gd name="connsiteY22396" fmla="*/ 4153237 h 5973007"/>
              <a:gd name="connsiteX22397" fmla="*/ 5406297 w 6884782"/>
              <a:gd name="connsiteY22397" fmla="*/ 4152411 h 5973007"/>
              <a:gd name="connsiteX22398" fmla="*/ 5405677 w 6884782"/>
              <a:gd name="connsiteY22398" fmla="*/ 4147971 h 5973007"/>
              <a:gd name="connsiteX22399" fmla="*/ 5408465 w 6884782"/>
              <a:gd name="connsiteY22399" fmla="*/ 4144357 h 5973007"/>
              <a:gd name="connsiteX22400" fmla="*/ 5408930 w 6884782"/>
              <a:gd name="connsiteY22400" fmla="*/ 4141569 h 5973007"/>
              <a:gd name="connsiteX22401" fmla="*/ 5244275 w 6884782"/>
              <a:gd name="connsiteY22401" fmla="*/ 4141466 h 5973007"/>
              <a:gd name="connsiteX22402" fmla="*/ 5247993 w 6884782"/>
              <a:gd name="connsiteY22402" fmla="*/ 4141672 h 5973007"/>
              <a:gd name="connsiteX22403" fmla="*/ 5247528 w 6884782"/>
              <a:gd name="connsiteY22403" fmla="*/ 4147042 h 5973007"/>
              <a:gd name="connsiteX22404" fmla="*/ 5243656 w 6884782"/>
              <a:gd name="connsiteY22404" fmla="*/ 4146938 h 5973007"/>
              <a:gd name="connsiteX22405" fmla="*/ 5244275 w 6884782"/>
              <a:gd name="connsiteY22405" fmla="*/ 4141466 h 5973007"/>
              <a:gd name="connsiteX22406" fmla="*/ 5448274 w 6884782"/>
              <a:gd name="connsiteY22406" fmla="*/ 4140330 h 5973007"/>
              <a:gd name="connsiteX22407" fmla="*/ 5457258 w 6884782"/>
              <a:gd name="connsiteY22407" fmla="*/ 4142085 h 5973007"/>
              <a:gd name="connsiteX22408" fmla="*/ 5454779 w 6884782"/>
              <a:gd name="connsiteY22408" fmla="*/ 4153547 h 5973007"/>
              <a:gd name="connsiteX22409" fmla="*/ 5455089 w 6884782"/>
              <a:gd name="connsiteY22409" fmla="*/ 4155096 h 5973007"/>
              <a:gd name="connsiteX22410" fmla="*/ 5454625 w 6884782"/>
              <a:gd name="connsiteY22410" fmla="*/ 4157264 h 5973007"/>
              <a:gd name="connsiteX22411" fmla="*/ 5453850 w 6884782"/>
              <a:gd name="connsiteY22411" fmla="*/ 4157677 h 5973007"/>
              <a:gd name="connsiteX22412" fmla="*/ 5452301 w 6884782"/>
              <a:gd name="connsiteY22412" fmla="*/ 4164699 h 5973007"/>
              <a:gd name="connsiteX22413" fmla="*/ 5447345 w 6884782"/>
              <a:gd name="connsiteY22413" fmla="*/ 4185246 h 5973007"/>
              <a:gd name="connsiteX22414" fmla="*/ 5448274 w 6884782"/>
              <a:gd name="connsiteY22414" fmla="*/ 4140330 h 5973007"/>
              <a:gd name="connsiteX22415" fmla="*/ 1373736 w 6884782"/>
              <a:gd name="connsiteY22415" fmla="*/ 4139486 h 5973007"/>
              <a:gd name="connsiteX22416" fmla="*/ 1373582 w 6884782"/>
              <a:gd name="connsiteY22416" fmla="*/ 4142997 h 5973007"/>
              <a:gd name="connsiteX22417" fmla="*/ 1372033 w 6884782"/>
              <a:gd name="connsiteY22417" fmla="*/ 4142790 h 5973007"/>
              <a:gd name="connsiteX22418" fmla="*/ 1366147 w 6884782"/>
              <a:gd name="connsiteY22418" fmla="*/ 4145578 h 5973007"/>
              <a:gd name="connsiteX22419" fmla="*/ 1359176 w 6884782"/>
              <a:gd name="connsiteY22419" fmla="*/ 4145578 h 5973007"/>
              <a:gd name="connsiteX22420" fmla="*/ 1373736 w 6884782"/>
              <a:gd name="connsiteY22420" fmla="*/ 4139486 h 5973007"/>
              <a:gd name="connsiteX22421" fmla="*/ 5182782 w 6884782"/>
              <a:gd name="connsiteY22421" fmla="*/ 4138988 h 5973007"/>
              <a:gd name="connsiteX22422" fmla="*/ 5185260 w 6884782"/>
              <a:gd name="connsiteY22422" fmla="*/ 4142292 h 5973007"/>
              <a:gd name="connsiteX22423" fmla="*/ 5183092 w 6884782"/>
              <a:gd name="connsiteY22423" fmla="*/ 4149623 h 5973007"/>
              <a:gd name="connsiteX22424" fmla="*/ 5174417 w 6884782"/>
              <a:gd name="connsiteY22424" fmla="*/ 4147351 h 5973007"/>
              <a:gd name="connsiteX22425" fmla="*/ 5182782 w 6884782"/>
              <a:gd name="connsiteY22425" fmla="*/ 4138988 h 5973007"/>
              <a:gd name="connsiteX22426" fmla="*/ 5661198 w 6884782"/>
              <a:gd name="connsiteY22426" fmla="*/ 4138833 h 5973007"/>
              <a:gd name="connsiteX22427" fmla="*/ 5667142 w 6884782"/>
              <a:gd name="connsiteY22427" fmla="*/ 4139194 h 5973007"/>
              <a:gd name="connsiteX22428" fmla="*/ 5667142 w 6884782"/>
              <a:gd name="connsiteY22428" fmla="*/ 4141775 h 5973007"/>
              <a:gd name="connsiteX22429" fmla="*/ 5660636 w 6884782"/>
              <a:gd name="connsiteY22429" fmla="*/ 4145803 h 5973007"/>
              <a:gd name="connsiteX22430" fmla="*/ 5658623 w 6884782"/>
              <a:gd name="connsiteY22430" fmla="*/ 4144667 h 5973007"/>
              <a:gd name="connsiteX22431" fmla="*/ 5661198 w 6884782"/>
              <a:gd name="connsiteY22431" fmla="*/ 4138833 h 5973007"/>
              <a:gd name="connsiteX22432" fmla="*/ 5188203 w 6884782"/>
              <a:gd name="connsiteY22432" fmla="*/ 4137129 h 5973007"/>
              <a:gd name="connsiteX22433" fmla="*/ 5196722 w 6884782"/>
              <a:gd name="connsiteY22433" fmla="*/ 4139194 h 5973007"/>
              <a:gd name="connsiteX22434" fmla="*/ 5197187 w 6884782"/>
              <a:gd name="connsiteY22434" fmla="*/ 4139401 h 5973007"/>
              <a:gd name="connsiteX22435" fmla="*/ 5198581 w 6884782"/>
              <a:gd name="connsiteY22435" fmla="*/ 4137645 h 5973007"/>
              <a:gd name="connsiteX22436" fmla="*/ 5203073 w 6884782"/>
              <a:gd name="connsiteY22436" fmla="*/ 4137232 h 5973007"/>
              <a:gd name="connsiteX22437" fmla="*/ 5207720 w 6884782"/>
              <a:gd name="connsiteY22437" fmla="*/ 4139607 h 5973007"/>
              <a:gd name="connsiteX22438" fmla="*/ 5210818 w 6884782"/>
              <a:gd name="connsiteY22438" fmla="*/ 4147248 h 5973007"/>
              <a:gd name="connsiteX22439" fmla="*/ 5206791 w 6884782"/>
              <a:gd name="connsiteY22439" fmla="*/ 4148797 h 5973007"/>
              <a:gd name="connsiteX22440" fmla="*/ 5201679 w 6884782"/>
              <a:gd name="connsiteY22440" fmla="*/ 4146422 h 5973007"/>
              <a:gd name="connsiteX22441" fmla="*/ 5198736 w 6884782"/>
              <a:gd name="connsiteY22441" fmla="*/ 4143737 h 5973007"/>
              <a:gd name="connsiteX22442" fmla="*/ 5196103 w 6884782"/>
              <a:gd name="connsiteY22442" fmla="*/ 4143428 h 5973007"/>
              <a:gd name="connsiteX22443" fmla="*/ 5193160 w 6884782"/>
              <a:gd name="connsiteY22443" fmla="*/ 4142085 h 5973007"/>
              <a:gd name="connsiteX22444" fmla="*/ 5191301 w 6884782"/>
              <a:gd name="connsiteY22444" fmla="*/ 4141363 h 5973007"/>
              <a:gd name="connsiteX22445" fmla="*/ 5189442 w 6884782"/>
              <a:gd name="connsiteY22445" fmla="*/ 4140537 h 5973007"/>
              <a:gd name="connsiteX22446" fmla="*/ 5188203 w 6884782"/>
              <a:gd name="connsiteY22446" fmla="*/ 4137129 h 5973007"/>
              <a:gd name="connsiteX22447" fmla="*/ 5563826 w 6884782"/>
              <a:gd name="connsiteY22447" fmla="*/ 4136200 h 5973007"/>
              <a:gd name="connsiteX22448" fmla="*/ 5566460 w 6884782"/>
              <a:gd name="connsiteY22448" fmla="*/ 4137026 h 5973007"/>
              <a:gd name="connsiteX22449" fmla="*/ 5566769 w 6884782"/>
              <a:gd name="connsiteY22449" fmla="*/ 4136819 h 5973007"/>
              <a:gd name="connsiteX22450" fmla="*/ 5573275 w 6884782"/>
              <a:gd name="connsiteY22450" fmla="*/ 4141879 h 5973007"/>
              <a:gd name="connsiteX22451" fmla="*/ 5569403 w 6884782"/>
              <a:gd name="connsiteY22451" fmla="*/ 4146422 h 5973007"/>
              <a:gd name="connsiteX22452" fmla="*/ 5568938 w 6884782"/>
              <a:gd name="connsiteY22452" fmla="*/ 4146009 h 5973007"/>
              <a:gd name="connsiteX22453" fmla="*/ 5568473 w 6884782"/>
              <a:gd name="connsiteY22453" fmla="*/ 4147042 h 5973007"/>
              <a:gd name="connsiteX22454" fmla="*/ 5563672 w 6884782"/>
              <a:gd name="connsiteY22454" fmla="*/ 4151585 h 5973007"/>
              <a:gd name="connsiteX22455" fmla="*/ 5563826 w 6884782"/>
              <a:gd name="connsiteY22455" fmla="*/ 4136200 h 5973007"/>
              <a:gd name="connsiteX22456" fmla="*/ 566417 w 6884782"/>
              <a:gd name="connsiteY22456" fmla="*/ 4134943 h 5973007"/>
              <a:gd name="connsiteX22457" fmla="*/ 575711 w 6884782"/>
              <a:gd name="connsiteY22457" fmla="*/ 4140002 h 5973007"/>
              <a:gd name="connsiteX22458" fmla="*/ 571684 w 6884782"/>
              <a:gd name="connsiteY22458" fmla="*/ 4159002 h 5973007"/>
              <a:gd name="connsiteX22459" fmla="*/ 559137 w 6884782"/>
              <a:gd name="connsiteY22459" fmla="*/ 4161893 h 5973007"/>
              <a:gd name="connsiteX22460" fmla="*/ 554490 w 6884782"/>
              <a:gd name="connsiteY22460" fmla="*/ 4160344 h 5973007"/>
              <a:gd name="connsiteX22461" fmla="*/ 566417 w 6884782"/>
              <a:gd name="connsiteY22461" fmla="*/ 4134943 h 5973007"/>
              <a:gd name="connsiteX22462" fmla="*/ 5236376 w 6884782"/>
              <a:gd name="connsiteY22462" fmla="*/ 4134238 h 5973007"/>
              <a:gd name="connsiteX22463" fmla="*/ 5245979 w 6884782"/>
              <a:gd name="connsiteY22463" fmla="*/ 4138471 h 5973007"/>
              <a:gd name="connsiteX22464" fmla="*/ 5241487 w 6884782"/>
              <a:gd name="connsiteY22464" fmla="*/ 4142705 h 5973007"/>
              <a:gd name="connsiteX22465" fmla="*/ 5235911 w 6884782"/>
              <a:gd name="connsiteY22465" fmla="*/ 4140537 h 5973007"/>
              <a:gd name="connsiteX22466" fmla="*/ 5236376 w 6884782"/>
              <a:gd name="connsiteY22466" fmla="*/ 4134238 h 5973007"/>
              <a:gd name="connsiteX22467" fmla="*/ 5316302 w 6884782"/>
              <a:gd name="connsiteY22467" fmla="*/ 4133205 h 5973007"/>
              <a:gd name="connsiteX22468" fmla="*/ 5328539 w 6884782"/>
              <a:gd name="connsiteY22468" fmla="*/ 4137645 h 5973007"/>
              <a:gd name="connsiteX22469" fmla="*/ 5326061 w 6884782"/>
              <a:gd name="connsiteY22469" fmla="*/ 4138059 h 5973007"/>
              <a:gd name="connsiteX22470" fmla="*/ 5316302 w 6884782"/>
              <a:gd name="connsiteY22470" fmla="*/ 4133205 h 5973007"/>
              <a:gd name="connsiteX22471" fmla="*/ 5039967 w 6884782"/>
              <a:gd name="connsiteY22471" fmla="*/ 4132586 h 5973007"/>
              <a:gd name="connsiteX22472" fmla="*/ 5045234 w 6884782"/>
              <a:gd name="connsiteY22472" fmla="*/ 4135993 h 5973007"/>
              <a:gd name="connsiteX22473" fmla="*/ 5045389 w 6884782"/>
              <a:gd name="connsiteY22473" fmla="*/ 4137129 h 5973007"/>
              <a:gd name="connsiteX22474" fmla="*/ 5039967 w 6884782"/>
              <a:gd name="connsiteY22474" fmla="*/ 4132586 h 5973007"/>
              <a:gd name="connsiteX22475" fmla="*/ 5224158 w 6884782"/>
              <a:gd name="connsiteY22475" fmla="*/ 4132418 h 5973007"/>
              <a:gd name="connsiteX22476" fmla="*/ 5231109 w 6884782"/>
              <a:gd name="connsiteY22476" fmla="*/ 4139710 h 5973007"/>
              <a:gd name="connsiteX22477" fmla="*/ 5229251 w 6884782"/>
              <a:gd name="connsiteY22477" fmla="*/ 4143944 h 5973007"/>
              <a:gd name="connsiteX22478" fmla="*/ 5224294 w 6884782"/>
              <a:gd name="connsiteY22478" fmla="*/ 4144460 h 5973007"/>
              <a:gd name="connsiteX22479" fmla="*/ 5219957 w 6884782"/>
              <a:gd name="connsiteY22479" fmla="*/ 4144460 h 5973007"/>
              <a:gd name="connsiteX22480" fmla="*/ 5211283 w 6884782"/>
              <a:gd name="connsiteY22480" fmla="*/ 4137129 h 5973007"/>
              <a:gd name="connsiteX22481" fmla="*/ 5224158 w 6884782"/>
              <a:gd name="connsiteY22481" fmla="*/ 4132418 h 5973007"/>
              <a:gd name="connsiteX22482" fmla="*/ 5856890 w 6884782"/>
              <a:gd name="connsiteY22482" fmla="*/ 4131450 h 5973007"/>
              <a:gd name="connsiteX22483" fmla="*/ 5856116 w 6884782"/>
              <a:gd name="connsiteY22483" fmla="*/ 4132586 h 5973007"/>
              <a:gd name="connsiteX22484" fmla="*/ 5850849 w 6884782"/>
              <a:gd name="connsiteY22484" fmla="*/ 4136097 h 5973007"/>
              <a:gd name="connsiteX22485" fmla="*/ 5847752 w 6884782"/>
              <a:gd name="connsiteY22485" fmla="*/ 4137232 h 5973007"/>
              <a:gd name="connsiteX22486" fmla="*/ 5848371 w 6884782"/>
              <a:gd name="connsiteY22486" fmla="*/ 4139504 h 5973007"/>
              <a:gd name="connsiteX22487" fmla="*/ 5850695 w 6884782"/>
              <a:gd name="connsiteY22487" fmla="*/ 4145493 h 5973007"/>
              <a:gd name="connsiteX22488" fmla="*/ 5853018 w 6884782"/>
              <a:gd name="connsiteY22488" fmla="*/ 4151482 h 5973007"/>
              <a:gd name="connsiteX22489" fmla="*/ 5857200 w 6884782"/>
              <a:gd name="connsiteY22489" fmla="*/ 4162427 h 5973007"/>
              <a:gd name="connsiteX22490" fmla="*/ 5857510 w 6884782"/>
              <a:gd name="connsiteY22490" fmla="*/ 4163769 h 5973007"/>
              <a:gd name="connsiteX22491" fmla="*/ 5857820 w 6884782"/>
              <a:gd name="connsiteY22491" fmla="*/ 4163976 h 5973007"/>
              <a:gd name="connsiteX22492" fmla="*/ 5874703 w 6884782"/>
              <a:gd name="connsiteY22492" fmla="*/ 4176676 h 5973007"/>
              <a:gd name="connsiteX22493" fmla="*/ 5864325 w 6884782"/>
              <a:gd name="connsiteY22493" fmla="*/ 4175643 h 5973007"/>
              <a:gd name="connsiteX22494" fmla="*/ 5860298 w 6884782"/>
              <a:gd name="connsiteY22494" fmla="*/ 4173785 h 5973007"/>
              <a:gd name="connsiteX22495" fmla="*/ 5862931 w 6884782"/>
              <a:gd name="connsiteY22495" fmla="*/ 4179877 h 5973007"/>
              <a:gd name="connsiteX22496" fmla="*/ 5867888 w 6884782"/>
              <a:gd name="connsiteY22496" fmla="*/ 4188447 h 5973007"/>
              <a:gd name="connsiteX22497" fmla="*/ 5870986 w 6884782"/>
              <a:gd name="connsiteY22497" fmla="*/ 4203006 h 5973007"/>
              <a:gd name="connsiteX22498" fmla="*/ 5878266 w 6884782"/>
              <a:gd name="connsiteY22498" fmla="*/ 4223968 h 5973007"/>
              <a:gd name="connsiteX22499" fmla="*/ 5880589 w 6884782"/>
              <a:gd name="connsiteY22499" fmla="*/ 4229234 h 5973007"/>
              <a:gd name="connsiteX22500" fmla="*/ 5887405 w 6884782"/>
              <a:gd name="connsiteY22500" fmla="*/ 4226033 h 5973007"/>
              <a:gd name="connsiteX22501" fmla="*/ 5892981 w 6884782"/>
              <a:gd name="connsiteY22501" fmla="*/ 4242450 h 5973007"/>
              <a:gd name="connsiteX22502" fmla="*/ 5890193 w 6884782"/>
              <a:gd name="connsiteY22502" fmla="*/ 4249162 h 5973007"/>
              <a:gd name="connsiteX22503" fmla="*/ 5895924 w 6884782"/>
              <a:gd name="connsiteY22503" fmla="*/ 4259591 h 5973007"/>
              <a:gd name="connsiteX22504" fmla="*/ 5904134 w 6884782"/>
              <a:gd name="connsiteY22504" fmla="*/ 4275699 h 5973007"/>
              <a:gd name="connsiteX22505" fmla="*/ 5899177 w 6884782"/>
              <a:gd name="connsiteY22505" fmla="*/ 4275596 h 5973007"/>
              <a:gd name="connsiteX22506" fmla="*/ 5897938 w 6884782"/>
              <a:gd name="connsiteY22506" fmla="*/ 4276938 h 5973007"/>
              <a:gd name="connsiteX22507" fmla="*/ 5898712 w 6884782"/>
              <a:gd name="connsiteY22507" fmla="*/ 4278487 h 5973007"/>
              <a:gd name="connsiteX22508" fmla="*/ 5902740 w 6884782"/>
              <a:gd name="connsiteY22508" fmla="*/ 4281378 h 5973007"/>
              <a:gd name="connsiteX22509" fmla="*/ 5903514 w 6884782"/>
              <a:gd name="connsiteY22509" fmla="*/ 4282101 h 5973007"/>
              <a:gd name="connsiteX22510" fmla="*/ 5903669 w 6884782"/>
              <a:gd name="connsiteY22510" fmla="*/ 4282101 h 5973007"/>
              <a:gd name="connsiteX22511" fmla="*/ 5904908 w 6884782"/>
              <a:gd name="connsiteY22511" fmla="*/ 4277454 h 5973007"/>
              <a:gd name="connsiteX22512" fmla="*/ 5911259 w 6884782"/>
              <a:gd name="connsiteY22512" fmla="*/ 4286025 h 5973007"/>
              <a:gd name="connsiteX22513" fmla="*/ 5913428 w 6884782"/>
              <a:gd name="connsiteY22513" fmla="*/ 4285921 h 5973007"/>
              <a:gd name="connsiteX22514" fmla="*/ 5917919 w 6884782"/>
              <a:gd name="connsiteY22514" fmla="*/ 4288296 h 5973007"/>
              <a:gd name="connsiteX22515" fmla="*/ 5921017 w 6884782"/>
              <a:gd name="connsiteY22515" fmla="*/ 4295937 h 5973007"/>
              <a:gd name="connsiteX22516" fmla="*/ 5917764 w 6884782"/>
              <a:gd name="connsiteY22516" fmla="*/ 4297279 h 5973007"/>
              <a:gd name="connsiteX22517" fmla="*/ 5918229 w 6884782"/>
              <a:gd name="connsiteY22517" fmla="*/ 4298105 h 5973007"/>
              <a:gd name="connsiteX22518" fmla="*/ 5932015 w 6884782"/>
              <a:gd name="connsiteY22518" fmla="*/ 4319686 h 5973007"/>
              <a:gd name="connsiteX22519" fmla="*/ 5925819 w 6884782"/>
              <a:gd name="connsiteY22519" fmla="*/ 4318550 h 5973007"/>
              <a:gd name="connsiteX22520" fmla="*/ 5935888 w 6884782"/>
              <a:gd name="connsiteY22520" fmla="*/ 4326914 h 5973007"/>
              <a:gd name="connsiteX22521" fmla="*/ 5930156 w 6884782"/>
              <a:gd name="connsiteY22521" fmla="*/ 4322887 h 5973007"/>
              <a:gd name="connsiteX22522" fmla="*/ 5941309 w 6884782"/>
              <a:gd name="connsiteY22522" fmla="*/ 4339098 h 5973007"/>
              <a:gd name="connsiteX22523" fmla="*/ 5942238 w 6884782"/>
              <a:gd name="connsiteY22523" fmla="*/ 4336104 h 5973007"/>
              <a:gd name="connsiteX22524" fmla="*/ 5940224 w 6884782"/>
              <a:gd name="connsiteY22524" fmla="*/ 4335381 h 5973007"/>
              <a:gd name="connsiteX22525" fmla="*/ 5940689 w 6884782"/>
              <a:gd name="connsiteY22525" fmla="*/ 4331354 h 5973007"/>
              <a:gd name="connsiteX22526" fmla="*/ 5939760 w 6884782"/>
              <a:gd name="connsiteY22526" fmla="*/ 4328979 h 5973007"/>
              <a:gd name="connsiteX22527" fmla="*/ 5937746 w 6884782"/>
              <a:gd name="connsiteY22527" fmla="*/ 4323506 h 5973007"/>
              <a:gd name="connsiteX22528" fmla="*/ 5941309 w 6884782"/>
              <a:gd name="connsiteY22528" fmla="*/ 4320822 h 5973007"/>
              <a:gd name="connsiteX22529" fmla="*/ 5951377 w 6884782"/>
              <a:gd name="connsiteY22529" fmla="*/ 4332490 h 5973007"/>
              <a:gd name="connsiteX22530" fmla="*/ 5947350 w 6884782"/>
              <a:gd name="connsiteY22530" fmla="*/ 4335278 h 5973007"/>
              <a:gd name="connsiteX22531" fmla="*/ 5944717 w 6884782"/>
              <a:gd name="connsiteY22531" fmla="*/ 4334555 h 5973007"/>
              <a:gd name="connsiteX22532" fmla="*/ 5943478 w 6884782"/>
              <a:gd name="connsiteY22532" fmla="*/ 4336517 h 5973007"/>
              <a:gd name="connsiteX22533" fmla="*/ 5942703 w 6884782"/>
              <a:gd name="connsiteY22533" fmla="*/ 4336310 h 5973007"/>
              <a:gd name="connsiteX22534" fmla="*/ 5944407 w 6884782"/>
              <a:gd name="connsiteY22534" fmla="*/ 4339821 h 5973007"/>
              <a:gd name="connsiteX22535" fmla="*/ 5947350 w 6884782"/>
              <a:gd name="connsiteY22535" fmla="*/ 4344674 h 5973007"/>
              <a:gd name="connsiteX22536" fmla="*/ 5949673 w 6884782"/>
              <a:gd name="connsiteY22536" fmla="*/ 4348907 h 5973007"/>
              <a:gd name="connsiteX22537" fmla="*/ 5950138 w 6884782"/>
              <a:gd name="connsiteY22537" fmla="*/ 4348495 h 5973007"/>
              <a:gd name="connsiteX22538" fmla="*/ 5953855 w 6884782"/>
              <a:gd name="connsiteY22538" fmla="*/ 4348701 h 5973007"/>
              <a:gd name="connsiteX22539" fmla="*/ 5955249 w 6884782"/>
              <a:gd name="connsiteY22539" fmla="*/ 4349631 h 5973007"/>
              <a:gd name="connsiteX22540" fmla="*/ 5955095 w 6884782"/>
              <a:gd name="connsiteY22540" fmla="*/ 4354277 h 5973007"/>
              <a:gd name="connsiteX22541" fmla="*/ 5953855 w 6884782"/>
              <a:gd name="connsiteY22541" fmla="*/ 4355516 h 5973007"/>
              <a:gd name="connsiteX22542" fmla="*/ 5960826 w 6884782"/>
              <a:gd name="connsiteY22542" fmla="*/ 4363260 h 5973007"/>
              <a:gd name="connsiteX22543" fmla="*/ 5967796 w 6884782"/>
              <a:gd name="connsiteY22543" fmla="*/ 4365325 h 5973007"/>
              <a:gd name="connsiteX22544" fmla="*/ 5969035 w 6884782"/>
              <a:gd name="connsiteY22544" fmla="*/ 4372553 h 5973007"/>
              <a:gd name="connsiteX22545" fmla="*/ 5969809 w 6884782"/>
              <a:gd name="connsiteY22545" fmla="*/ 4372760 h 5973007"/>
              <a:gd name="connsiteX22546" fmla="*/ 5974456 w 6884782"/>
              <a:gd name="connsiteY22546" fmla="*/ 4367597 h 5973007"/>
              <a:gd name="connsiteX22547" fmla="*/ 5979413 w 6884782"/>
              <a:gd name="connsiteY22547" fmla="*/ 4363776 h 5973007"/>
              <a:gd name="connsiteX22548" fmla="*/ 5974921 w 6884782"/>
              <a:gd name="connsiteY22548" fmla="*/ 4359956 h 5973007"/>
              <a:gd name="connsiteX22549" fmla="*/ 5968261 w 6884782"/>
              <a:gd name="connsiteY22549" fmla="*/ 4350869 h 5973007"/>
              <a:gd name="connsiteX22550" fmla="*/ 5966712 w 6884782"/>
              <a:gd name="connsiteY22550" fmla="*/ 4347359 h 5973007"/>
              <a:gd name="connsiteX22551" fmla="*/ 5963614 w 6884782"/>
              <a:gd name="connsiteY22551" fmla="*/ 4347978 h 5973007"/>
              <a:gd name="connsiteX22552" fmla="*/ 5960671 w 6884782"/>
              <a:gd name="connsiteY22552" fmla="*/ 4345810 h 5973007"/>
              <a:gd name="connsiteX22553" fmla="*/ 5962994 w 6884782"/>
              <a:gd name="connsiteY22553" fmla="*/ 4340647 h 5973007"/>
              <a:gd name="connsiteX22554" fmla="*/ 5963769 w 6884782"/>
              <a:gd name="connsiteY22554" fmla="*/ 4340544 h 5973007"/>
              <a:gd name="connsiteX22555" fmla="*/ 5962065 w 6884782"/>
              <a:gd name="connsiteY22555" fmla="*/ 4329599 h 5973007"/>
              <a:gd name="connsiteX22556" fmla="*/ 5963304 w 6884782"/>
              <a:gd name="connsiteY22556" fmla="*/ 4318653 h 5973007"/>
              <a:gd name="connsiteX22557" fmla="*/ 5964078 w 6884782"/>
              <a:gd name="connsiteY22557" fmla="*/ 4317105 h 5973007"/>
              <a:gd name="connsiteX22558" fmla="*/ 5962530 w 6884782"/>
              <a:gd name="connsiteY22558" fmla="*/ 4313904 h 5973007"/>
              <a:gd name="connsiteX22559" fmla="*/ 5964388 w 6884782"/>
              <a:gd name="connsiteY22559" fmla="*/ 4309464 h 5973007"/>
              <a:gd name="connsiteX22560" fmla="*/ 5967177 w 6884782"/>
              <a:gd name="connsiteY22560" fmla="*/ 4310600 h 5973007"/>
              <a:gd name="connsiteX22561" fmla="*/ 5968106 w 6884782"/>
              <a:gd name="connsiteY22561" fmla="*/ 4308534 h 5973007"/>
              <a:gd name="connsiteX22562" fmla="*/ 5979723 w 6884782"/>
              <a:gd name="connsiteY22562" fmla="*/ 4309567 h 5973007"/>
              <a:gd name="connsiteX22563" fmla="*/ 5979878 w 6884782"/>
              <a:gd name="connsiteY22563" fmla="*/ 4309567 h 5973007"/>
              <a:gd name="connsiteX22564" fmla="*/ 5979878 w 6884782"/>
              <a:gd name="connsiteY22564" fmla="*/ 4307708 h 5973007"/>
              <a:gd name="connsiteX22565" fmla="*/ 5976160 w 6884782"/>
              <a:gd name="connsiteY22565" fmla="*/ 4304714 h 5973007"/>
              <a:gd name="connsiteX22566" fmla="*/ 5976625 w 6884782"/>
              <a:gd name="connsiteY22566" fmla="*/ 4297279 h 5973007"/>
              <a:gd name="connsiteX22567" fmla="*/ 5971978 w 6884782"/>
              <a:gd name="connsiteY22567" fmla="*/ 4287573 h 5973007"/>
              <a:gd name="connsiteX22568" fmla="*/ 5971204 w 6884782"/>
              <a:gd name="connsiteY22568" fmla="*/ 4291910 h 5973007"/>
              <a:gd name="connsiteX22569" fmla="*/ 5967796 w 6884782"/>
              <a:gd name="connsiteY22569" fmla="*/ 4282514 h 5973007"/>
              <a:gd name="connsiteX22570" fmla="*/ 5960516 w 6884782"/>
              <a:gd name="connsiteY22570" fmla="*/ 4274253 h 5973007"/>
              <a:gd name="connsiteX22571" fmla="*/ 5962375 w 6884782"/>
              <a:gd name="connsiteY22571" fmla="*/ 4271052 h 5973007"/>
              <a:gd name="connsiteX22572" fmla="*/ 5956643 w 6884782"/>
              <a:gd name="connsiteY22572" fmla="*/ 4270742 h 5973007"/>
              <a:gd name="connsiteX22573" fmla="*/ 5960826 w 6884782"/>
              <a:gd name="connsiteY22573" fmla="*/ 4266819 h 5973007"/>
              <a:gd name="connsiteX22574" fmla="*/ 5945801 w 6884782"/>
              <a:gd name="connsiteY22574" fmla="*/ 4259901 h 5973007"/>
              <a:gd name="connsiteX22575" fmla="*/ 5946885 w 6884782"/>
              <a:gd name="connsiteY22575" fmla="*/ 4250401 h 5973007"/>
              <a:gd name="connsiteX22576" fmla="*/ 5942393 w 6884782"/>
              <a:gd name="connsiteY22576" fmla="*/ 4244619 h 5973007"/>
              <a:gd name="connsiteX22577" fmla="*/ 5935732 w 6884782"/>
              <a:gd name="connsiteY22577" fmla="*/ 4244826 h 5973007"/>
              <a:gd name="connsiteX22578" fmla="*/ 5928762 w 6884782"/>
              <a:gd name="connsiteY22578" fmla="*/ 4231299 h 5973007"/>
              <a:gd name="connsiteX22579" fmla="*/ 5928143 w 6884782"/>
              <a:gd name="connsiteY22579" fmla="*/ 4222109 h 5973007"/>
              <a:gd name="connsiteX22580" fmla="*/ 5925355 w 6884782"/>
              <a:gd name="connsiteY22580" fmla="*/ 4217049 h 5973007"/>
              <a:gd name="connsiteX22581" fmla="*/ 5923960 w 6884782"/>
              <a:gd name="connsiteY22581" fmla="*/ 4218805 h 5973007"/>
              <a:gd name="connsiteX22582" fmla="*/ 5925199 w 6884782"/>
              <a:gd name="connsiteY22582" fmla="*/ 4219424 h 5973007"/>
              <a:gd name="connsiteX22583" fmla="*/ 5927058 w 6884782"/>
              <a:gd name="connsiteY22583" fmla="*/ 4223245 h 5973007"/>
              <a:gd name="connsiteX22584" fmla="*/ 5923806 w 6884782"/>
              <a:gd name="connsiteY22584" fmla="*/ 4220044 h 5973007"/>
              <a:gd name="connsiteX22585" fmla="*/ 5919778 w 6884782"/>
              <a:gd name="connsiteY22585" fmla="*/ 4232744 h 5973007"/>
              <a:gd name="connsiteX22586" fmla="*/ 5920863 w 6884782"/>
              <a:gd name="connsiteY22586" fmla="*/ 4237597 h 5973007"/>
              <a:gd name="connsiteX22587" fmla="*/ 5923341 w 6884782"/>
              <a:gd name="connsiteY22587" fmla="*/ 4237391 h 5973007"/>
              <a:gd name="connsiteX22588" fmla="*/ 5925664 w 6884782"/>
              <a:gd name="connsiteY22588" fmla="*/ 4238113 h 5973007"/>
              <a:gd name="connsiteX22589" fmla="*/ 5923806 w 6884782"/>
              <a:gd name="connsiteY22589" fmla="*/ 4239972 h 5973007"/>
              <a:gd name="connsiteX22590" fmla="*/ 5922721 w 6884782"/>
              <a:gd name="connsiteY22590" fmla="*/ 4240282 h 5973007"/>
              <a:gd name="connsiteX22591" fmla="*/ 5922411 w 6884782"/>
              <a:gd name="connsiteY22591" fmla="*/ 4241108 h 5973007"/>
              <a:gd name="connsiteX22592" fmla="*/ 5921637 w 6884782"/>
              <a:gd name="connsiteY22592" fmla="*/ 4240695 h 5973007"/>
              <a:gd name="connsiteX22593" fmla="*/ 5921482 w 6884782"/>
              <a:gd name="connsiteY22593" fmla="*/ 4240798 h 5973007"/>
              <a:gd name="connsiteX22594" fmla="*/ 5922411 w 6884782"/>
              <a:gd name="connsiteY22594" fmla="*/ 4245341 h 5973007"/>
              <a:gd name="connsiteX22595" fmla="*/ 5922566 w 6884782"/>
              <a:gd name="connsiteY22595" fmla="*/ 4245341 h 5973007"/>
              <a:gd name="connsiteX22596" fmla="*/ 5930776 w 6884782"/>
              <a:gd name="connsiteY22596" fmla="*/ 4246684 h 5973007"/>
              <a:gd name="connsiteX22597" fmla="*/ 5943632 w 6884782"/>
              <a:gd name="connsiteY22597" fmla="*/ 4270020 h 5973007"/>
              <a:gd name="connsiteX22598" fmla="*/ 5941619 w 6884782"/>
              <a:gd name="connsiteY22598" fmla="*/ 4271982 h 5973007"/>
              <a:gd name="connsiteX22599" fmla="*/ 5933254 w 6884782"/>
              <a:gd name="connsiteY22599" fmla="*/ 4273531 h 5973007"/>
              <a:gd name="connsiteX22600" fmla="*/ 5914047 w 6884782"/>
              <a:gd name="connsiteY22600" fmla="*/ 4259178 h 5973007"/>
              <a:gd name="connsiteX22601" fmla="*/ 5912808 w 6884782"/>
              <a:gd name="connsiteY22601" fmla="*/ 4253705 h 5973007"/>
              <a:gd name="connsiteX22602" fmla="*/ 5913428 w 6884782"/>
              <a:gd name="connsiteY22602" fmla="*/ 4248336 h 5973007"/>
              <a:gd name="connsiteX22603" fmla="*/ 5912343 w 6884782"/>
              <a:gd name="connsiteY22603" fmla="*/ 4248233 h 5973007"/>
              <a:gd name="connsiteX22604" fmla="*/ 5909865 w 6884782"/>
              <a:gd name="connsiteY22604" fmla="*/ 4245445 h 5973007"/>
              <a:gd name="connsiteX22605" fmla="*/ 5909865 w 6884782"/>
              <a:gd name="connsiteY22605" fmla="*/ 4245135 h 5973007"/>
              <a:gd name="connsiteX22606" fmla="*/ 5909090 w 6884782"/>
              <a:gd name="connsiteY22606" fmla="*/ 4245135 h 5973007"/>
              <a:gd name="connsiteX22607" fmla="*/ 5908316 w 6884782"/>
              <a:gd name="connsiteY22607" fmla="*/ 4242760 h 5973007"/>
              <a:gd name="connsiteX22608" fmla="*/ 5906147 w 6884782"/>
              <a:gd name="connsiteY22608" fmla="*/ 4243380 h 5973007"/>
              <a:gd name="connsiteX22609" fmla="*/ 5896698 w 6884782"/>
              <a:gd name="connsiteY22609" fmla="*/ 4237081 h 5973007"/>
              <a:gd name="connsiteX22610" fmla="*/ 5896079 w 6884782"/>
              <a:gd name="connsiteY22610" fmla="*/ 4231918 h 5973007"/>
              <a:gd name="connsiteX22611" fmla="*/ 5896389 w 6884782"/>
              <a:gd name="connsiteY22611" fmla="*/ 4231402 h 5973007"/>
              <a:gd name="connsiteX22612" fmla="*/ 5892981 w 6884782"/>
              <a:gd name="connsiteY22612" fmla="*/ 4230576 h 5973007"/>
              <a:gd name="connsiteX22613" fmla="*/ 5894530 w 6884782"/>
              <a:gd name="connsiteY22613" fmla="*/ 4225207 h 5973007"/>
              <a:gd name="connsiteX22614" fmla="*/ 5902430 w 6884782"/>
              <a:gd name="connsiteY22614" fmla="*/ 4226962 h 5973007"/>
              <a:gd name="connsiteX22615" fmla="*/ 5903824 w 6884782"/>
              <a:gd name="connsiteY22615" fmla="*/ 4227581 h 5973007"/>
              <a:gd name="connsiteX22616" fmla="*/ 5906147 w 6884782"/>
              <a:gd name="connsiteY22616" fmla="*/ 4227788 h 5973007"/>
              <a:gd name="connsiteX22617" fmla="*/ 5910639 w 6884782"/>
              <a:gd name="connsiteY22617" fmla="*/ 4231505 h 5973007"/>
              <a:gd name="connsiteX22618" fmla="*/ 5912033 w 6884782"/>
              <a:gd name="connsiteY22618" fmla="*/ 4236668 h 5973007"/>
              <a:gd name="connsiteX22619" fmla="*/ 5911414 w 6884782"/>
              <a:gd name="connsiteY22619" fmla="*/ 4239559 h 5973007"/>
              <a:gd name="connsiteX22620" fmla="*/ 5915751 w 6884782"/>
              <a:gd name="connsiteY22620" fmla="*/ 4237391 h 5973007"/>
              <a:gd name="connsiteX22621" fmla="*/ 5916061 w 6884782"/>
              <a:gd name="connsiteY22621" fmla="*/ 4238630 h 5973007"/>
              <a:gd name="connsiteX22622" fmla="*/ 5917145 w 6884782"/>
              <a:gd name="connsiteY22622" fmla="*/ 4238320 h 5973007"/>
              <a:gd name="connsiteX22623" fmla="*/ 5916370 w 6884782"/>
              <a:gd name="connsiteY22623" fmla="*/ 4236048 h 5973007"/>
              <a:gd name="connsiteX22624" fmla="*/ 5916525 w 6884782"/>
              <a:gd name="connsiteY22624" fmla="*/ 4229027 h 5973007"/>
              <a:gd name="connsiteX22625" fmla="*/ 5913428 w 6884782"/>
              <a:gd name="connsiteY22625" fmla="*/ 4226962 h 5973007"/>
              <a:gd name="connsiteX22626" fmla="*/ 5911259 w 6884782"/>
              <a:gd name="connsiteY22626" fmla="*/ 4224277 h 5973007"/>
              <a:gd name="connsiteX22627" fmla="*/ 5910794 w 6884782"/>
              <a:gd name="connsiteY22627" fmla="*/ 4224484 h 5973007"/>
              <a:gd name="connsiteX22628" fmla="*/ 5894840 w 6884782"/>
              <a:gd name="connsiteY22628" fmla="*/ 4219011 h 5973007"/>
              <a:gd name="connsiteX22629" fmla="*/ 5894220 w 6884782"/>
              <a:gd name="connsiteY22629" fmla="*/ 4218289 h 5973007"/>
              <a:gd name="connsiteX22630" fmla="*/ 5894685 w 6884782"/>
              <a:gd name="connsiteY22630" fmla="*/ 4219631 h 5973007"/>
              <a:gd name="connsiteX22631" fmla="*/ 5893756 w 6884782"/>
              <a:gd name="connsiteY22631" fmla="*/ 4221386 h 5973007"/>
              <a:gd name="connsiteX22632" fmla="*/ 5890967 w 6884782"/>
              <a:gd name="connsiteY22632" fmla="*/ 4224277 h 5973007"/>
              <a:gd name="connsiteX22633" fmla="*/ 5888024 w 6884782"/>
              <a:gd name="connsiteY22633" fmla="*/ 4222729 h 5973007"/>
              <a:gd name="connsiteX22634" fmla="*/ 5887405 w 6884782"/>
              <a:gd name="connsiteY22634" fmla="*/ 4219011 h 5973007"/>
              <a:gd name="connsiteX22635" fmla="*/ 5890193 w 6884782"/>
              <a:gd name="connsiteY22635" fmla="*/ 4212816 h 5973007"/>
              <a:gd name="connsiteX22636" fmla="*/ 5891432 w 6884782"/>
              <a:gd name="connsiteY22636" fmla="*/ 4213745 h 5973007"/>
              <a:gd name="connsiteX22637" fmla="*/ 5892981 w 6884782"/>
              <a:gd name="connsiteY22637" fmla="*/ 4211164 h 5973007"/>
              <a:gd name="connsiteX22638" fmla="*/ 5892826 w 6884782"/>
              <a:gd name="connsiteY22638" fmla="*/ 4211267 h 5973007"/>
              <a:gd name="connsiteX22639" fmla="*/ 5892052 w 6884782"/>
              <a:gd name="connsiteY22639" fmla="*/ 4204349 h 5973007"/>
              <a:gd name="connsiteX22640" fmla="*/ 5889418 w 6884782"/>
              <a:gd name="connsiteY22640" fmla="*/ 4201251 h 5973007"/>
              <a:gd name="connsiteX22641" fmla="*/ 5886475 w 6884782"/>
              <a:gd name="connsiteY22641" fmla="*/ 4201044 h 5973007"/>
              <a:gd name="connsiteX22642" fmla="*/ 5873619 w 6884782"/>
              <a:gd name="connsiteY22642" fmla="*/ 4185660 h 5973007"/>
              <a:gd name="connsiteX22643" fmla="*/ 5884152 w 6884782"/>
              <a:gd name="connsiteY22643" fmla="*/ 4191545 h 5973007"/>
              <a:gd name="connsiteX22644" fmla="*/ 5889109 w 6884782"/>
              <a:gd name="connsiteY22644" fmla="*/ 4195675 h 5973007"/>
              <a:gd name="connsiteX22645" fmla="*/ 5889883 w 6884782"/>
              <a:gd name="connsiteY22645" fmla="*/ 4196811 h 5973007"/>
              <a:gd name="connsiteX22646" fmla="*/ 5890503 w 6884782"/>
              <a:gd name="connsiteY22646" fmla="*/ 4195262 h 5973007"/>
              <a:gd name="connsiteX22647" fmla="*/ 5884307 w 6884782"/>
              <a:gd name="connsiteY22647" fmla="*/ 4185246 h 5973007"/>
              <a:gd name="connsiteX22648" fmla="*/ 5877646 w 6884782"/>
              <a:gd name="connsiteY22648" fmla="*/ 4187725 h 5973007"/>
              <a:gd name="connsiteX22649" fmla="*/ 5872845 w 6884782"/>
              <a:gd name="connsiteY22649" fmla="*/ 4163563 h 5973007"/>
              <a:gd name="connsiteX22650" fmla="*/ 5871915 w 6884782"/>
              <a:gd name="connsiteY22650" fmla="*/ 4159639 h 5973007"/>
              <a:gd name="connsiteX22651" fmla="*/ 5871141 w 6884782"/>
              <a:gd name="connsiteY22651" fmla="*/ 4159742 h 5973007"/>
              <a:gd name="connsiteX22652" fmla="*/ 5869747 w 6884782"/>
              <a:gd name="connsiteY22652" fmla="*/ 4158606 h 5973007"/>
              <a:gd name="connsiteX22653" fmla="*/ 5867113 w 6884782"/>
              <a:gd name="connsiteY22653" fmla="*/ 4159019 h 5973007"/>
              <a:gd name="connsiteX22654" fmla="*/ 5866494 w 6884782"/>
              <a:gd name="connsiteY22654" fmla="*/ 4157574 h 5973007"/>
              <a:gd name="connsiteX22655" fmla="*/ 5868817 w 6884782"/>
              <a:gd name="connsiteY22655" fmla="*/ 4157264 h 5973007"/>
              <a:gd name="connsiteX22656" fmla="*/ 5871141 w 6884782"/>
              <a:gd name="connsiteY22656" fmla="*/ 4156748 h 5973007"/>
              <a:gd name="connsiteX22657" fmla="*/ 5869902 w 6884782"/>
              <a:gd name="connsiteY22657" fmla="*/ 4151172 h 5973007"/>
              <a:gd name="connsiteX22658" fmla="*/ 5864325 w 6884782"/>
              <a:gd name="connsiteY22658" fmla="*/ 4141363 h 5973007"/>
              <a:gd name="connsiteX22659" fmla="*/ 5863706 w 6884782"/>
              <a:gd name="connsiteY22659" fmla="*/ 4144357 h 5973007"/>
              <a:gd name="connsiteX22660" fmla="*/ 5864016 w 6884782"/>
              <a:gd name="connsiteY22660" fmla="*/ 4146422 h 5973007"/>
              <a:gd name="connsiteX22661" fmla="*/ 5866804 w 6884782"/>
              <a:gd name="connsiteY22661" fmla="*/ 4147455 h 5973007"/>
              <a:gd name="connsiteX22662" fmla="*/ 5867113 w 6884782"/>
              <a:gd name="connsiteY22662" fmla="*/ 4151482 h 5973007"/>
              <a:gd name="connsiteX22663" fmla="*/ 5863861 w 6884782"/>
              <a:gd name="connsiteY22663" fmla="*/ 4153134 h 5973007"/>
              <a:gd name="connsiteX22664" fmla="*/ 5857975 w 6884782"/>
              <a:gd name="connsiteY22664" fmla="*/ 4149004 h 5973007"/>
              <a:gd name="connsiteX22665" fmla="*/ 5857665 w 6884782"/>
              <a:gd name="connsiteY22665" fmla="*/ 4146835 h 5973007"/>
              <a:gd name="connsiteX22666" fmla="*/ 5858904 w 6884782"/>
              <a:gd name="connsiteY22666" fmla="*/ 4145390 h 5973007"/>
              <a:gd name="connsiteX22667" fmla="*/ 5857975 w 6884782"/>
              <a:gd name="connsiteY22667" fmla="*/ 4145493 h 5973007"/>
              <a:gd name="connsiteX22668" fmla="*/ 5856890 w 6884782"/>
              <a:gd name="connsiteY22668" fmla="*/ 4142085 h 5973007"/>
              <a:gd name="connsiteX22669" fmla="*/ 5856735 w 6884782"/>
              <a:gd name="connsiteY22669" fmla="*/ 4133308 h 5973007"/>
              <a:gd name="connsiteX22670" fmla="*/ 5808717 w 6884782"/>
              <a:gd name="connsiteY22670" fmla="*/ 4131450 h 5973007"/>
              <a:gd name="connsiteX22671" fmla="*/ 5812900 w 6884782"/>
              <a:gd name="connsiteY22671" fmla="*/ 4136200 h 5973007"/>
              <a:gd name="connsiteX22672" fmla="*/ 5810112 w 6884782"/>
              <a:gd name="connsiteY22672" fmla="*/ 4138059 h 5973007"/>
              <a:gd name="connsiteX22673" fmla="*/ 5807478 w 6884782"/>
              <a:gd name="connsiteY22673" fmla="*/ 4136406 h 5973007"/>
              <a:gd name="connsiteX22674" fmla="*/ 5808717 w 6884782"/>
              <a:gd name="connsiteY22674" fmla="*/ 4131450 h 5973007"/>
              <a:gd name="connsiteX22675" fmla="*/ 5674268 w 6884782"/>
              <a:gd name="connsiteY22675" fmla="*/ 4129592 h 5973007"/>
              <a:gd name="connsiteX22676" fmla="*/ 5681702 w 6884782"/>
              <a:gd name="connsiteY22676" fmla="*/ 4129901 h 5973007"/>
              <a:gd name="connsiteX22677" fmla="*/ 5682632 w 6884782"/>
              <a:gd name="connsiteY22677" fmla="*/ 4132586 h 5973007"/>
              <a:gd name="connsiteX22678" fmla="*/ 5677675 w 6884782"/>
              <a:gd name="connsiteY22678" fmla="*/ 4135477 h 5973007"/>
              <a:gd name="connsiteX22679" fmla="*/ 5675352 w 6884782"/>
              <a:gd name="connsiteY22679" fmla="*/ 4133928 h 5973007"/>
              <a:gd name="connsiteX22680" fmla="*/ 5674268 w 6884782"/>
              <a:gd name="connsiteY22680" fmla="*/ 4129592 h 5973007"/>
              <a:gd name="connsiteX22681" fmla="*/ 5178290 w 6884782"/>
              <a:gd name="connsiteY22681" fmla="*/ 4128972 h 5973007"/>
              <a:gd name="connsiteX22682" fmla="*/ 5188358 w 6884782"/>
              <a:gd name="connsiteY22682" fmla="*/ 4129901 h 5973007"/>
              <a:gd name="connsiteX22683" fmla="*/ 5196877 w 6884782"/>
              <a:gd name="connsiteY22683" fmla="*/ 4136613 h 5973007"/>
              <a:gd name="connsiteX22684" fmla="*/ 5191920 w 6884782"/>
              <a:gd name="connsiteY22684" fmla="*/ 4137129 h 5973007"/>
              <a:gd name="connsiteX22685" fmla="*/ 5178290 w 6884782"/>
              <a:gd name="connsiteY22685" fmla="*/ 4128972 h 5973007"/>
              <a:gd name="connsiteX22686" fmla="*/ 5296940 w 6884782"/>
              <a:gd name="connsiteY22686" fmla="*/ 4128352 h 5973007"/>
              <a:gd name="connsiteX22687" fmla="*/ 5299109 w 6884782"/>
              <a:gd name="connsiteY22687" fmla="*/ 4131657 h 5973007"/>
              <a:gd name="connsiteX22688" fmla="*/ 5294462 w 6884782"/>
              <a:gd name="connsiteY22688" fmla="*/ 4133722 h 5973007"/>
              <a:gd name="connsiteX22689" fmla="*/ 5292293 w 6884782"/>
              <a:gd name="connsiteY22689" fmla="*/ 4130314 h 5973007"/>
              <a:gd name="connsiteX22690" fmla="*/ 5296940 w 6884782"/>
              <a:gd name="connsiteY22690" fmla="*/ 4128352 h 5973007"/>
              <a:gd name="connsiteX22691" fmla="*/ 5651343 w 6884782"/>
              <a:gd name="connsiteY22691" fmla="*/ 4127939 h 5973007"/>
              <a:gd name="connsiteX22692" fmla="*/ 5652892 w 6884782"/>
              <a:gd name="connsiteY22692" fmla="*/ 4128972 h 5973007"/>
              <a:gd name="connsiteX22693" fmla="*/ 5652582 w 6884782"/>
              <a:gd name="connsiteY22693" fmla="*/ 4131346 h 5973007"/>
              <a:gd name="connsiteX22694" fmla="*/ 5648710 w 6884782"/>
              <a:gd name="connsiteY22694" fmla="*/ 4134031 h 5973007"/>
              <a:gd name="connsiteX22695" fmla="*/ 5647006 w 6884782"/>
              <a:gd name="connsiteY22695" fmla="*/ 4132896 h 5973007"/>
              <a:gd name="connsiteX22696" fmla="*/ 5651343 w 6884782"/>
              <a:gd name="connsiteY22696" fmla="*/ 4127939 h 5973007"/>
              <a:gd name="connsiteX22697" fmla="*/ 5308093 w 6884782"/>
              <a:gd name="connsiteY22697" fmla="*/ 4127010 h 5973007"/>
              <a:gd name="connsiteX22698" fmla="*/ 5311655 w 6884782"/>
              <a:gd name="connsiteY22698" fmla="*/ 4127113 h 5973007"/>
              <a:gd name="connsiteX22699" fmla="*/ 5312739 w 6884782"/>
              <a:gd name="connsiteY22699" fmla="*/ 4137852 h 5973007"/>
              <a:gd name="connsiteX22700" fmla="*/ 5307473 w 6884782"/>
              <a:gd name="connsiteY22700" fmla="*/ 4137439 h 5973007"/>
              <a:gd name="connsiteX22701" fmla="*/ 5308093 w 6884782"/>
              <a:gd name="connsiteY22701" fmla="*/ 4127010 h 5973007"/>
              <a:gd name="connsiteX22702" fmla="*/ 5798959 w 6884782"/>
              <a:gd name="connsiteY22702" fmla="*/ 4126597 h 5973007"/>
              <a:gd name="connsiteX22703" fmla="*/ 5800972 w 6884782"/>
              <a:gd name="connsiteY22703" fmla="*/ 4131553 h 5973007"/>
              <a:gd name="connsiteX22704" fmla="*/ 5790285 w 6884782"/>
              <a:gd name="connsiteY22704" fmla="*/ 4136097 h 5973007"/>
              <a:gd name="connsiteX22705" fmla="*/ 5787342 w 6884782"/>
              <a:gd name="connsiteY22705" fmla="*/ 4134444 h 5973007"/>
              <a:gd name="connsiteX22706" fmla="*/ 5798959 w 6884782"/>
              <a:gd name="connsiteY22706" fmla="*/ 4126597 h 5973007"/>
              <a:gd name="connsiteX22707" fmla="*/ 5152112 w 6884782"/>
              <a:gd name="connsiteY22707" fmla="*/ 4125564 h 5973007"/>
              <a:gd name="connsiteX22708" fmla="*/ 5156914 w 6884782"/>
              <a:gd name="connsiteY22708" fmla="*/ 4125668 h 5973007"/>
              <a:gd name="connsiteX22709" fmla="*/ 5155520 w 6884782"/>
              <a:gd name="connsiteY22709" fmla="*/ 4129488 h 5973007"/>
              <a:gd name="connsiteX22710" fmla="*/ 5152112 w 6884782"/>
              <a:gd name="connsiteY22710" fmla="*/ 4128249 h 5973007"/>
              <a:gd name="connsiteX22711" fmla="*/ 5152112 w 6884782"/>
              <a:gd name="connsiteY22711" fmla="*/ 4125564 h 5973007"/>
              <a:gd name="connsiteX22712" fmla="*/ 5168066 w 6884782"/>
              <a:gd name="connsiteY22712" fmla="*/ 4123086 h 5973007"/>
              <a:gd name="connsiteX22713" fmla="*/ 5174417 w 6884782"/>
              <a:gd name="connsiteY22713" fmla="*/ 4127320 h 5973007"/>
              <a:gd name="connsiteX22714" fmla="*/ 5172404 w 6884782"/>
              <a:gd name="connsiteY22714" fmla="*/ 4134031 h 5973007"/>
              <a:gd name="connsiteX22715" fmla="*/ 5169305 w 6884782"/>
              <a:gd name="connsiteY22715" fmla="*/ 4135477 h 5973007"/>
              <a:gd name="connsiteX22716" fmla="*/ 5166828 w 6884782"/>
              <a:gd name="connsiteY22716" fmla="*/ 4135477 h 5973007"/>
              <a:gd name="connsiteX22717" fmla="*/ 5163729 w 6884782"/>
              <a:gd name="connsiteY22717" fmla="*/ 4132483 h 5973007"/>
              <a:gd name="connsiteX22718" fmla="*/ 5168066 w 6884782"/>
              <a:gd name="connsiteY22718" fmla="*/ 4123086 h 5973007"/>
              <a:gd name="connsiteX22719" fmla="*/ 1388296 w 6884782"/>
              <a:gd name="connsiteY22719" fmla="*/ 4123068 h 5973007"/>
              <a:gd name="connsiteX22720" fmla="*/ 1383650 w 6884782"/>
              <a:gd name="connsiteY22720" fmla="*/ 4125753 h 5973007"/>
              <a:gd name="connsiteX22721" fmla="*/ 1387058 w 6884782"/>
              <a:gd name="connsiteY22721" fmla="*/ 4125753 h 5973007"/>
              <a:gd name="connsiteX22722" fmla="*/ 1358557 w 6884782"/>
              <a:gd name="connsiteY22722" fmla="*/ 4141448 h 5973007"/>
              <a:gd name="connsiteX22723" fmla="*/ 1354685 w 6884782"/>
              <a:gd name="connsiteY22723" fmla="*/ 4143616 h 5973007"/>
              <a:gd name="connsiteX22724" fmla="*/ 1348953 w 6884782"/>
              <a:gd name="connsiteY22724" fmla="*/ 4146301 h 5973007"/>
              <a:gd name="connsiteX22725" fmla="*/ 1348334 w 6884782"/>
              <a:gd name="connsiteY22725" fmla="*/ 4146301 h 5973007"/>
              <a:gd name="connsiteX22726" fmla="*/ 1348334 w 6884782"/>
              <a:gd name="connsiteY22726" fmla="*/ 4146920 h 5973007"/>
              <a:gd name="connsiteX22727" fmla="*/ 1347249 w 6884782"/>
              <a:gd name="connsiteY22727" fmla="*/ 4147437 h 5973007"/>
              <a:gd name="connsiteX22728" fmla="*/ 1342602 w 6884782"/>
              <a:gd name="connsiteY22728" fmla="*/ 4148985 h 5973007"/>
              <a:gd name="connsiteX22729" fmla="*/ 1338730 w 6884782"/>
              <a:gd name="connsiteY22729" fmla="*/ 4150121 h 5973007"/>
              <a:gd name="connsiteX22730" fmla="*/ 1336406 w 6884782"/>
              <a:gd name="connsiteY22730" fmla="*/ 4150638 h 5973007"/>
              <a:gd name="connsiteX22731" fmla="*/ 1335322 w 6884782"/>
              <a:gd name="connsiteY22731" fmla="*/ 4150638 h 5973007"/>
              <a:gd name="connsiteX22732" fmla="*/ 1333463 w 6884782"/>
              <a:gd name="connsiteY22732" fmla="*/ 4150638 h 5973007"/>
              <a:gd name="connsiteX22733" fmla="*/ 1332534 w 6884782"/>
              <a:gd name="connsiteY22733" fmla="*/ 4151877 h 5973007"/>
              <a:gd name="connsiteX22734" fmla="*/ 1332999 w 6884782"/>
              <a:gd name="connsiteY22734" fmla="*/ 4152083 h 5973007"/>
              <a:gd name="connsiteX22735" fmla="*/ 1333309 w 6884782"/>
              <a:gd name="connsiteY22735" fmla="*/ 4151877 h 5973007"/>
              <a:gd name="connsiteX22736" fmla="*/ 1335322 w 6884782"/>
              <a:gd name="connsiteY22736" fmla="*/ 4152290 h 5973007"/>
              <a:gd name="connsiteX22737" fmla="*/ 1335787 w 6884782"/>
              <a:gd name="connsiteY22737" fmla="*/ 4152290 h 5973007"/>
              <a:gd name="connsiteX22738" fmla="*/ 1336406 w 6884782"/>
              <a:gd name="connsiteY22738" fmla="*/ 4151774 h 5973007"/>
              <a:gd name="connsiteX22739" fmla="*/ 1335787 w 6884782"/>
              <a:gd name="connsiteY22739" fmla="*/ 4153322 h 5973007"/>
              <a:gd name="connsiteX22740" fmla="*/ 1335633 w 6884782"/>
              <a:gd name="connsiteY22740" fmla="*/ 4153529 h 5973007"/>
              <a:gd name="connsiteX22741" fmla="*/ 1335322 w 6884782"/>
              <a:gd name="connsiteY22741" fmla="*/ 4154768 h 5973007"/>
              <a:gd name="connsiteX22742" fmla="*/ 1329126 w 6884782"/>
              <a:gd name="connsiteY22742" fmla="*/ 4157453 h 5973007"/>
              <a:gd name="connsiteX22743" fmla="*/ 1327732 w 6884782"/>
              <a:gd name="connsiteY22743" fmla="*/ 4157246 h 5973007"/>
              <a:gd name="connsiteX22744" fmla="*/ 1329126 w 6884782"/>
              <a:gd name="connsiteY22744" fmla="*/ 4155594 h 5973007"/>
              <a:gd name="connsiteX22745" fmla="*/ 1327268 w 6884782"/>
              <a:gd name="connsiteY22745" fmla="*/ 4154974 h 5973007"/>
              <a:gd name="connsiteX22746" fmla="*/ 1313636 w 6884782"/>
              <a:gd name="connsiteY22746" fmla="*/ 4163648 h 5973007"/>
              <a:gd name="connsiteX22747" fmla="*/ 1306201 w 6884782"/>
              <a:gd name="connsiteY22747" fmla="*/ 4166333 h 5973007"/>
              <a:gd name="connsiteX22748" fmla="*/ 1304343 w 6884782"/>
              <a:gd name="connsiteY22748" fmla="*/ 4167365 h 5973007"/>
              <a:gd name="connsiteX22749" fmla="*/ 1302794 w 6884782"/>
              <a:gd name="connsiteY22749" fmla="*/ 4168501 h 5973007"/>
              <a:gd name="connsiteX22750" fmla="*/ 1299386 w 6884782"/>
              <a:gd name="connsiteY22750" fmla="*/ 4170670 h 5973007"/>
              <a:gd name="connsiteX22751" fmla="*/ 1289628 w 6884782"/>
              <a:gd name="connsiteY22751" fmla="*/ 4170670 h 5973007"/>
              <a:gd name="connsiteX22752" fmla="*/ 1282193 w 6884782"/>
              <a:gd name="connsiteY22752" fmla="*/ 4171186 h 5973007"/>
              <a:gd name="connsiteX22753" fmla="*/ 1281573 w 6884782"/>
              <a:gd name="connsiteY22753" fmla="*/ 4176039 h 5973007"/>
              <a:gd name="connsiteX22754" fmla="*/ 1271505 w 6884782"/>
              <a:gd name="connsiteY22754" fmla="*/ 4180169 h 5973007"/>
              <a:gd name="connsiteX22755" fmla="*/ 1267322 w 6884782"/>
              <a:gd name="connsiteY22755" fmla="*/ 4181821 h 5973007"/>
              <a:gd name="connsiteX22756" fmla="*/ 1263295 w 6884782"/>
              <a:gd name="connsiteY22756" fmla="*/ 4187500 h 5973007"/>
              <a:gd name="connsiteX22757" fmla="*/ 1261591 w 6884782"/>
              <a:gd name="connsiteY22757" fmla="*/ 4186984 h 5973007"/>
              <a:gd name="connsiteX22758" fmla="*/ 1261902 w 6884782"/>
              <a:gd name="connsiteY22758" fmla="*/ 4187707 h 5973007"/>
              <a:gd name="connsiteX22759" fmla="*/ 1262985 w 6884782"/>
              <a:gd name="connsiteY22759" fmla="*/ 4187500 h 5973007"/>
              <a:gd name="connsiteX22760" fmla="*/ 1264070 w 6884782"/>
              <a:gd name="connsiteY22760" fmla="*/ 4187913 h 5973007"/>
              <a:gd name="connsiteX22761" fmla="*/ 1256945 w 6884782"/>
              <a:gd name="connsiteY22761" fmla="*/ 4190495 h 5973007"/>
              <a:gd name="connsiteX22762" fmla="*/ 1259733 w 6884782"/>
              <a:gd name="connsiteY22762" fmla="*/ 4188223 h 5973007"/>
              <a:gd name="connsiteX22763" fmla="*/ 1259888 w 6884782"/>
              <a:gd name="connsiteY22763" fmla="*/ 4188120 h 5973007"/>
              <a:gd name="connsiteX22764" fmla="*/ 1259888 w 6884782"/>
              <a:gd name="connsiteY22764" fmla="*/ 4187190 h 5973007"/>
              <a:gd name="connsiteX22765" fmla="*/ 1258184 w 6884782"/>
              <a:gd name="connsiteY22765" fmla="*/ 4186365 h 5973007"/>
              <a:gd name="connsiteX22766" fmla="*/ 1256015 w 6884782"/>
              <a:gd name="connsiteY22766" fmla="*/ 4188430 h 5973007"/>
              <a:gd name="connsiteX22767" fmla="*/ 1252607 w 6884782"/>
              <a:gd name="connsiteY22767" fmla="*/ 4189049 h 5973007"/>
              <a:gd name="connsiteX22768" fmla="*/ 1246877 w 6884782"/>
              <a:gd name="connsiteY22768" fmla="*/ 4193386 h 5973007"/>
              <a:gd name="connsiteX22769" fmla="*/ 1244553 w 6884782"/>
              <a:gd name="connsiteY22769" fmla="*/ 4190598 h 5973007"/>
              <a:gd name="connsiteX22770" fmla="*/ 1241145 w 6884782"/>
              <a:gd name="connsiteY22770" fmla="*/ 4193386 h 5973007"/>
              <a:gd name="connsiteX22771" fmla="*/ 1242075 w 6884782"/>
              <a:gd name="connsiteY22771" fmla="*/ 4199994 h 5973007"/>
              <a:gd name="connsiteX22772" fmla="*/ 1241920 w 6884782"/>
              <a:gd name="connsiteY22772" fmla="*/ 4201337 h 5973007"/>
              <a:gd name="connsiteX22773" fmla="*/ 1243933 w 6884782"/>
              <a:gd name="connsiteY22773" fmla="*/ 4198755 h 5973007"/>
              <a:gd name="connsiteX22774" fmla="*/ 1245172 w 6884782"/>
              <a:gd name="connsiteY22774" fmla="*/ 4199788 h 5973007"/>
              <a:gd name="connsiteX22775" fmla="*/ 1245327 w 6884782"/>
              <a:gd name="connsiteY22775" fmla="*/ 4199788 h 5973007"/>
              <a:gd name="connsiteX22776" fmla="*/ 1245637 w 6884782"/>
              <a:gd name="connsiteY22776" fmla="*/ 4200304 h 5973007"/>
              <a:gd name="connsiteX22777" fmla="*/ 1245947 w 6884782"/>
              <a:gd name="connsiteY22777" fmla="*/ 4200614 h 5973007"/>
              <a:gd name="connsiteX22778" fmla="*/ 1249664 w 6884782"/>
              <a:gd name="connsiteY22778" fmla="*/ 4201956 h 5973007"/>
              <a:gd name="connsiteX22779" fmla="*/ 1259888 w 6884782"/>
              <a:gd name="connsiteY22779" fmla="*/ 4197723 h 5973007"/>
              <a:gd name="connsiteX22780" fmla="*/ 1268562 w 6884782"/>
              <a:gd name="connsiteY22780" fmla="*/ 4191114 h 5973007"/>
              <a:gd name="connsiteX22781" fmla="*/ 1275842 w 6884782"/>
              <a:gd name="connsiteY22781" fmla="*/ 4191114 h 5973007"/>
              <a:gd name="connsiteX22782" fmla="*/ 1271350 w 6884782"/>
              <a:gd name="connsiteY22782" fmla="*/ 4190081 h 5973007"/>
              <a:gd name="connsiteX22783" fmla="*/ 1276616 w 6884782"/>
              <a:gd name="connsiteY22783" fmla="*/ 4187397 h 5973007"/>
              <a:gd name="connsiteX22784" fmla="*/ 1275842 w 6884782"/>
              <a:gd name="connsiteY22784" fmla="*/ 4185848 h 5973007"/>
              <a:gd name="connsiteX22785" fmla="*/ 1284206 w 6884782"/>
              <a:gd name="connsiteY22785" fmla="*/ 4186055 h 5973007"/>
              <a:gd name="connsiteX22786" fmla="*/ 1283896 w 6884782"/>
              <a:gd name="connsiteY22786" fmla="*/ 4186881 h 5973007"/>
              <a:gd name="connsiteX22787" fmla="*/ 1284516 w 6884782"/>
              <a:gd name="connsiteY22787" fmla="*/ 4186881 h 5973007"/>
              <a:gd name="connsiteX22788" fmla="*/ 1296443 w 6884782"/>
              <a:gd name="connsiteY22788" fmla="*/ 4183576 h 5973007"/>
              <a:gd name="connsiteX22789" fmla="*/ 1298147 w 6884782"/>
              <a:gd name="connsiteY22789" fmla="*/ 4187913 h 5973007"/>
              <a:gd name="connsiteX22790" fmla="*/ 1304033 w 6884782"/>
              <a:gd name="connsiteY22790" fmla="*/ 4183783 h 5973007"/>
              <a:gd name="connsiteX22791" fmla="*/ 1302174 w 6884782"/>
              <a:gd name="connsiteY22791" fmla="*/ 4183267 h 5973007"/>
              <a:gd name="connsiteX22792" fmla="*/ 1301710 w 6884782"/>
              <a:gd name="connsiteY22792" fmla="*/ 4181511 h 5973007"/>
              <a:gd name="connsiteX22793" fmla="*/ 1295824 w 6884782"/>
              <a:gd name="connsiteY22793" fmla="*/ 4182544 h 5973007"/>
              <a:gd name="connsiteX22794" fmla="*/ 1299851 w 6884782"/>
              <a:gd name="connsiteY22794" fmla="*/ 4179756 h 5973007"/>
              <a:gd name="connsiteX22795" fmla="*/ 1301090 w 6884782"/>
              <a:gd name="connsiteY22795" fmla="*/ 4179446 h 5973007"/>
              <a:gd name="connsiteX22796" fmla="*/ 1300780 w 6884782"/>
              <a:gd name="connsiteY22796" fmla="*/ 4177898 h 5973007"/>
              <a:gd name="connsiteX22797" fmla="*/ 1302639 w 6884782"/>
              <a:gd name="connsiteY22797" fmla="*/ 4175213 h 5973007"/>
              <a:gd name="connsiteX22798" fmla="*/ 1303104 w 6884782"/>
              <a:gd name="connsiteY22798" fmla="*/ 4173251 h 5973007"/>
              <a:gd name="connsiteX22799" fmla="*/ 1302949 w 6884782"/>
              <a:gd name="connsiteY22799" fmla="*/ 4173044 h 5973007"/>
              <a:gd name="connsiteX22800" fmla="*/ 1303259 w 6884782"/>
              <a:gd name="connsiteY22800" fmla="*/ 4172941 h 5973007"/>
              <a:gd name="connsiteX22801" fmla="*/ 1304343 w 6884782"/>
              <a:gd name="connsiteY22801" fmla="*/ 4168914 h 5973007"/>
              <a:gd name="connsiteX22802" fmla="*/ 1307750 w 6884782"/>
              <a:gd name="connsiteY22802" fmla="*/ 4171392 h 5973007"/>
              <a:gd name="connsiteX22803" fmla="*/ 1310849 w 6884782"/>
              <a:gd name="connsiteY22803" fmla="*/ 4169843 h 5973007"/>
              <a:gd name="connsiteX22804" fmla="*/ 1313018 w 6884782"/>
              <a:gd name="connsiteY22804" fmla="*/ 4175522 h 5973007"/>
              <a:gd name="connsiteX22805" fmla="*/ 1316424 w 6884782"/>
              <a:gd name="connsiteY22805" fmla="*/ 4173354 h 5973007"/>
              <a:gd name="connsiteX22806" fmla="*/ 1313482 w 6884782"/>
              <a:gd name="connsiteY22806" fmla="*/ 4176555 h 5973007"/>
              <a:gd name="connsiteX22807" fmla="*/ 1313636 w 6884782"/>
              <a:gd name="connsiteY22807" fmla="*/ 4176865 h 5973007"/>
              <a:gd name="connsiteX22808" fmla="*/ 1318284 w 6884782"/>
              <a:gd name="connsiteY22808" fmla="*/ 4175522 h 5973007"/>
              <a:gd name="connsiteX22809" fmla="*/ 1327268 w 6884782"/>
              <a:gd name="connsiteY22809" fmla="*/ 4176039 h 5973007"/>
              <a:gd name="connsiteX22810" fmla="*/ 1331295 w 6884782"/>
              <a:gd name="connsiteY22810" fmla="*/ 4173354 h 5973007"/>
              <a:gd name="connsiteX22811" fmla="*/ 1333309 w 6884782"/>
              <a:gd name="connsiteY22811" fmla="*/ 4170979 h 5973007"/>
              <a:gd name="connsiteX22812" fmla="*/ 1332689 w 6884782"/>
              <a:gd name="connsiteY22812" fmla="*/ 4170463 h 5973007"/>
              <a:gd name="connsiteX22813" fmla="*/ 1331295 w 6884782"/>
              <a:gd name="connsiteY22813" fmla="*/ 4170256 h 5973007"/>
              <a:gd name="connsiteX22814" fmla="*/ 1324479 w 6884782"/>
              <a:gd name="connsiteY22814" fmla="*/ 4174490 h 5973007"/>
              <a:gd name="connsiteX22815" fmla="*/ 1327887 w 6884782"/>
              <a:gd name="connsiteY22815" fmla="*/ 4166849 h 5973007"/>
              <a:gd name="connsiteX22816" fmla="*/ 1331915 w 6884782"/>
              <a:gd name="connsiteY22816" fmla="*/ 4167365 h 5973007"/>
              <a:gd name="connsiteX22817" fmla="*/ 1331759 w 6884782"/>
              <a:gd name="connsiteY22817" fmla="*/ 4165197 h 5973007"/>
              <a:gd name="connsiteX22818" fmla="*/ 1335167 w 6884782"/>
              <a:gd name="connsiteY22818" fmla="*/ 4163958 h 5973007"/>
              <a:gd name="connsiteX22819" fmla="*/ 1337646 w 6884782"/>
              <a:gd name="connsiteY22819" fmla="*/ 4167778 h 5973007"/>
              <a:gd name="connsiteX22820" fmla="*/ 1340899 w 6884782"/>
              <a:gd name="connsiteY22820" fmla="*/ 4167365 h 5973007"/>
              <a:gd name="connsiteX22821" fmla="*/ 1342138 w 6884782"/>
              <a:gd name="connsiteY22821" fmla="*/ 4166849 h 5973007"/>
              <a:gd name="connsiteX22822" fmla="*/ 1342602 w 6884782"/>
              <a:gd name="connsiteY22822" fmla="*/ 4166849 h 5973007"/>
              <a:gd name="connsiteX22823" fmla="*/ 1343222 w 6884782"/>
              <a:gd name="connsiteY22823" fmla="*/ 4166849 h 5973007"/>
              <a:gd name="connsiteX22824" fmla="*/ 1344306 w 6884782"/>
              <a:gd name="connsiteY22824" fmla="*/ 4166333 h 5973007"/>
              <a:gd name="connsiteX22825" fmla="*/ 1343222 w 6884782"/>
              <a:gd name="connsiteY22825" fmla="*/ 4162512 h 5973007"/>
              <a:gd name="connsiteX22826" fmla="*/ 1346165 w 6884782"/>
              <a:gd name="connsiteY22826" fmla="*/ 4164680 h 5973007"/>
              <a:gd name="connsiteX22827" fmla="*/ 1351122 w 6884782"/>
              <a:gd name="connsiteY22827" fmla="*/ 4158795 h 5973007"/>
              <a:gd name="connsiteX22828" fmla="*/ 1352980 w 6884782"/>
              <a:gd name="connsiteY22828" fmla="*/ 4157659 h 5973007"/>
              <a:gd name="connsiteX22829" fmla="*/ 1354064 w 6884782"/>
              <a:gd name="connsiteY22829" fmla="*/ 4157143 h 5973007"/>
              <a:gd name="connsiteX22830" fmla="*/ 1354064 w 6884782"/>
              <a:gd name="connsiteY22830" fmla="*/ 4156627 h 5973007"/>
              <a:gd name="connsiteX22831" fmla="*/ 1354685 w 6884782"/>
              <a:gd name="connsiteY22831" fmla="*/ 4156627 h 5973007"/>
              <a:gd name="connsiteX22832" fmla="*/ 1360415 w 6884782"/>
              <a:gd name="connsiteY22832" fmla="*/ 4153839 h 5973007"/>
              <a:gd name="connsiteX22833" fmla="*/ 1366456 w 6884782"/>
              <a:gd name="connsiteY22833" fmla="*/ 4150535 h 5973007"/>
              <a:gd name="connsiteX22834" fmla="*/ 1365527 w 6884782"/>
              <a:gd name="connsiteY22834" fmla="*/ 4150638 h 5973007"/>
              <a:gd name="connsiteX22835" fmla="*/ 1360880 w 6884782"/>
              <a:gd name="connsiteY22835" fmla="*/ 4150018 h 5973007"/>
              <a:gd name="connsiteX22836" fmla="*/ 1360880 w 6884782"/>
              <a:gd name="connsiteY22836" fmla="*/ 4149192 h 5973007"/>
              <a:gd name="connsiteX22837" fmla="*/ 1369709 w 6884782"/>
              <a:gd name="connsiteY22837" fmla="*/ 4148160 h 5973007"/>
              <a:gd name="connsiteX22838" fmla="*/ 1370328 w 6884782"/>
              <a:gd name="connsiteY22838" fmla="*/ 4148366 h 5973007"/>
              <a:gd name="connsiteX22839" fmla="*/ 1380862 w 6884782"/>
              <a:gd name="connsiteY22839" fmla="*/ 4142584 h 5973007"/>
              <a:gd name="connsiteX22840" fmla="*/ 1394028 w 6884782"/>
              <a:gd name="connsiteY22840" fmla="*/ 4133394 h 5973007"/>
              <a:gd name="connsiteX22841" fmla="*/ 1395887 w 6884782"/>
              <a:gd name="connsiteY22841" fmla="*/ 4131948 h 5973007"/>
              <a:gd name="connsiteX22842" fmla="*/ 1394183 w 6884782"/>
              <a:gd name="connsiteY22842" fmla="*/ 4130709 h 5973007"/>
              <a:gd name="connsiteX22843" fmla="*/ 1393408 w 6884782"/>
              <a:gd name="connsiteY22843" fmla="*/ 4126476 h 5973007"/>
              <a:gd name="connsiteX22844" fmla="*/ 1394492 w 6884782"/>
              <a:gd name="connsiteY22844" fmla="*/ 4123068 h 5973007"/>
              <a:gd name="connsiteX22845" fmla="*/ 1391704 w 6884782"/>
              <a:gd name="connsiteY22845" fmla="*/ 4123791 h 5973007"/>
              <a:gd name="connsiteX22846" fmla="*/ 1388916 w 6884782"/>
              <a:gd name="connsiteY22846" fmla="*/ 4126269 h 5973007"/>
              <a:gd name="connsiteX22847" fmla="*/ 1388296 w 6884782"/>
              <a:gd name="connsiteY22847" fmla="*/ 4123068 h 5973007"/>
              <a:gd name="connsiteX22848" fmla="*/ 5606578 w 6884782"/>
              <a:gd name="connsiteY22848" fmla="*/ 4122776 h 5973007"/>
              <a:gd name="connsiteX22849" fmla="*/ 5607197 w 6884782"/>
              <a:gd name="connsiteY22849" fmla="*/ 4124841 h 5973007"/>
              <a:gd name="connsiteX22850" fmla="*/ 5608127 w 6884782"/>
              <a:gd name="connsiteY22850" fmla="*/ 4124222 h 5973007"/>
              <a:gd name="connsiteX22851" fmla="*/ 5613703 w 6884782"/>
              <a:gd name="connsiteY22851" fmla="*/ 4130004 h 5973007"/>
              <a:gd name="connsiteX22852" fmla="*/ 5612774 w 6884782"/>
              <a:gd name="connsiteY22852" fmla="*/ 4133515 h 5973007"/>
              <a:gd name="connsiteX22853" fmla="*/ 5617266 w 6884782"/>
              <a:gd name="connsiteY22853" fmla="*/ 4136923 h 5973007"/>
              <a:gd name="connsiteX22854" fmla="*/ 5621293 w 6884782"/>
              <a:gd name="connsiteY22854" fmla="*/ 4140846 h 5973007"/>
              <a:gd name="connsiteX22855" fmla="*/ 5623616 w 6884782"/>
              <a:gd name="connsiteY22855" fmla="*/ 4148177 h 5973007"/>
              <a:gd name="connsiteX22856" fmla="*/ 5601466 w 6884782"/>
              <a:gd name="connsiteY22856" fmla="*/ 4168622 h 5973007"/>
              <a:gd name="connsiteX22857" fmla="*/ 5587835 w 6884782"/>
              <a:gd name="connsiteY22857" fmla="*/ 4157884 h 5973007"/>
              <a:gd name="connsiteX22858" fmla="*/ 5587681 w 6884782"/>
              <a:gd name="connsiteY22858" fmla="*/ 4148591 h 5973007"/>
              <a:gd name="connsiteX22859" fmla="*/ 5606578 w 6884782"/>
              <a:gd name="connsiteY22859" fmla="*/ 4122776 h 5973007"/>
              <a:gd name="connsiteX22860" fmla="*/ 668803 w 6884782"/>
              <a:gd name="connsiteY22860" fmla="*/ 4122036 h 5973007"/>
              <a:gd name="connsiteX22861" fmla="*/ 671127 w 6884782"/>
              <a:gd name="connsiteY22861" fmla="*/ 4130090 h 5973007"/>
              <a:gd name="connsiteX22862" fmla="*/ 657496 w 6884782"/>
              <a:gd name="connsiteY22862" fmla="*/ 4132981 h 5973007"/>
              <a:gd name="connsiteX22863" fmla="*/ 668803 w 6884782"/>
              <a:gd name="connsiteY22863" fmla="*/ 4122036 h 5973007"/>
              <a:gd name="connsiteX22864" fmla="*/ 5641275 w 6884782"/>
              <a:gd name="connsiteY22864" fmla="*/ 4121641 h 5973007"/>
              <a:gd name="connsiteX22865" fmla="*/ 5644682 w 6884782"/>
              <a:gd name="connsiteY22865" fmla="*/ 4122570 h 5973007"/>
              <a:gd name="connsiteX22866" fmla="*/ 5642514 w 6884782"/>
              <a:gd name="connsiteY22866" fmla="*/ 4125048 h 5973007"/>
              <a:gd name="connsiteX22867" fmla="*/ 5641275 w 6884782"/>
              <a:gd name="connsiteY22867" fmla="*/ 4124119 h 5973007"/>
              <a:gd name="connsiteX22868" fmla="*/ 5641275 w 6884782"/>
              <a:gd name="connsiteY22868" fmla="*/ 4121641 h 5973007"/>
              <a:gd name="connsiteX22869" fmla="*/ 5749082 w 6884782"/>
              <a:gd name="connsiteY22869" fmla="*/ 4120815 h 5973007"/>
              <a:gd name="connsiteX22870" fmla="*/ 5757602 w 6884782"/>
              <a:gd name="connsiteY22870" fmla="*/ 4135890 h 5973007"/>
              <a:gd name="connsiteX22871" fmla="*/ 5754349 w 6884782"/>
              <a:gd name="connsiteY22871" fmla="*/ 4136509 h 5973007"/>
              <a:gd name="connsiteX22872" fmla="*/ 5744900 w 6884782"/>
              <a:gd name="connsiteY22872" fmla="*/ 4131037 h 5973007"/>
              <a:gd name="connsiteX22873" fmla="*/ 5744126 w 6884782"/>
              <a:gd name="connsiteY22873" fmla="*/ 4129385 h 5973007"/>
              <a:gd name="connsiteX22874" fmla="*/ 5740718 w 6884782"/>
              <a:gd name="connsiteY22874" fmla="*/ 4131037 h 5973007"/>
              <a:gd name="connsiteX22875" fmla="*/ 5741337 w 6884782"/>
              <a:gd name="connsiteY22875" fmla="*/ 4129798 h 5973007"/>
              <a:gd name="connsiteX22876" fmla="*/ 5742887 w 6884782"/>
              <a:gd name="connsiteY22876" fmla="*/ 4129178 h 5973007"/>
              <a:gd name="connsiteX22877" fmla="*/ 5743816 w 6884782"/>
              <a:gd name="connsiteY22877" fmla="*/ 4128869 h 5973007"/>
              <a:gd name="connsiteX22878" fmla="*/ 5743041 w 6884782"/>
              <a:gd name="connsiteY22878" fmla="*/ 4127216 h 5973007"/>
              <a:gd name="connsiteX22879" fmla="*/ 5749082 w 6884782"/>
              <a:gd name="connsiteY22879" fmla="*/ 4120815 h 5973007"/>
              <a:gd name="connsiteX22880" fmla="*/ 5663735 w 6884782"/>
              <a:gd name="connsiteY22880" fmla="*/ 4120298 h 5973007"/>
              <a:gd name="connsiteX22881" fmla="*/ 5667917 w 6884782"/>
              <a:gd name="connsiteY22881" fmla="*/ 4123706 h 5973007"/>
              <a:gd name="connsiteX22882" fmla="*/ 5668226 w 6884782"/>
              <a:gd name="connsiteY22882" fmla="*/ 4127630 h 5973007"/>
              <a:gd name="connsiteX22883" fmla="*/ 5669621 w 6884782"/>
              <a:gd name="connsiteY22883" fmla="*/ 4126494 h 5973007"/>
              <a:gd name="connsiteX22884" fmla="*/ 5673648 w 6884782"/>
              <a:gd name="connsiteY22884" fmla="*/ 4129901 h 5973007"/>
              <a:gd name="connsiteX22885" fmla="*/ 5670085 w 6884782"/>
              <a:gd name="connsiteY22885" fmla="*/ 4131140 h 5973007"/>
              <a:gd name="connsiteX22886" fmla="*/ 5668382 w 6884782"/>
              <a:gd name="connsiteY22886" fmla="*/ 4129592 h 5973007"/>
              <a:gd name="connsiteX22887" fmla="*/ 5668537 w 6884782"/>
              <a:gd name="connsiteY22887" fmla="*/ 4130211 h 5973007"/>
              <a:gd name="connsiteX22888" fmla="*/ 5663580 w 6884782"/>
              <a:gd name="connsiteY22888" fmla="*/ 4131863 h 5973007"/>
              <a:gd name="connsiteX22889" fmla="*/ 5662340 w 6884782"/>
              <a:gd name="connsiteY22889" fmla="*/ 4134135 h 5973007"/>
              <a:gd name="connsiteX22890" fmla="*/ 5659862 w 6884782"/>
              <a:gd name="connsiteY22890" fmla="*/ 4124841 h 5973007"/>
              <a:gd name="connsiteX22891" fmla="*/ 5660482 w 6884782"/>
              <a:gd name="connsiteY22891" fmla="*/ 4124015 h 5973007"/>
              <a:gd name="connsiteX22892" fmla="*/ 5660482 w 6884782"/>
              <a:gd name="connsiteY22892" fmla="*/ 4121641 h 5973007"/>
              <a:gd name="connsiteX22893" fmla="*/ 5663735 w 6884782"/>
              <a:gd name="connsiteY22893" fmla="*/ 4120298 h 5973007"/>
              <a:gd name="connsiteX22894" fmla="*/ 5266581 w 6884782"/>
              <a:gd name="connsiteY22894" fmla="*/ 4119782 h 5973007"/>
              <a:gd name="connsiteX22895" fmla="*/ 5265806 w 6884782"/>
              <a:gd name="connsiteY22895" fmla="*/ 4122157 h 5973007"/>
              <a:gd name="connsiteX22896" fmla="*/ 5257287 w 6884782"/>
              <a:gd name="connsiteY22896" fmla="*/ 4127630 h 5973007"/>
              <a:gd name="connsiteX22897" fmla="*/ 5266581 w 6884782"/>
              <a:gd name="connsiteY22897" fmla="*/ 4119782 h 5973007"/>
              <a:gd name="connsiteX22898" fmla="*/ 5763798 w 6884782"/>
              <a:gd name="connsiteY22898" fmla="*/ 4119059 h 5973007"/>
              <a:gd name="connsiteX22899" fmla="*/ 5764417 w 6884782"/>
              <a:gd name="connsiteY22899" fmla="*/ 4120815 h 5973007"/>
              <a:gd name="connsiteX22900" fmla="*/ 5762713 w 6884782"/>
              <a:gd name="connsiteY22900" fmla="*/ 4122364 h 5973007"/>
              <a:gd name="connsiteX22901" fmla="*/ 5759925 w 6884782"/>
              <a:gd name="connsiteY22901" fmla="*/ 4122467 h 5973007"/>
              <a:gd name="connsiteX22902" fmla="*/ 5757757 w 6884782"/>
              <a:gd name="connsiteY22902" fmla="*/ 4121434 h 5973007"/>
              <a:gd name="connsiteX22903" fmla="*/ 5756982 w 6884782"/>
              <a:gd name="connsiteY22903" fmla="*/ 4119679 h 5973007"/>
              <a:gd name="connsiteX22904" fmla="*/ 5763798 w 6884782"/>
              <a:gd name="connsiteY22904" fmla="*/ 4119059 h 5973007"/>
              <a:gd name="connsiteX22905" fmla="*/ 5109981 w 6884782"/>
              <a:gd name="connsiteY22905" fmla="*/ 4118336 h 5973007"/>
              <a:gd name="connsiteX22906" fmla="*/ 5108277 w 6884782"/>
              <a:gd name="connsiteY22906" fmla="*/ 4127526 h 5973007"/>
              <a:gd name="connsiteX22907" fmla="*/ 5106882 w 6884782"/>
              <a:gd name="connsiteY22907" fmla="*/ 4125668 h 5973007"/>
              <a:gd name="connsiteX22908" fmla="*/ 5109981 w 6884782"/>
              <a:gd name="connsiteY22908" fmla="*/ 4118336 h 5973007"/>
              <a:gd name="connsiteX22909" fmla="*/ 5655990 w 6884782"/>
              <a:gd name="connsiteY22909" fmla="*/ 4117717 h 5973007"/>
              <a:gd name="connsiteX22910" fmla="*/ 5657074 w 6884782"/>
              <a:gd name="connsiteY22910" fmla="*/ 4119369 h 5973007"/>
              <a:gd name="connsiteX22911" fmla="*/ 5658468 w 6884782"/>
              <a:gd name="connsiteY22911" fmla="*/ 4123706 h 5973007"/>
              <a:gd name="connsiteX22912" fmla="*/ 5655990 w 6884782"/>
              <a:gd name="connsiteY22912" fmla="*/ 4125461 h 5973007"/>
              <a:gd name="connsiteX22913" fmla="*/ 5652582 w 6884782"/>
              <a:gd name="connsiteY22913" fmla="*/ 4124015 h 5973007"/>
              <a:gd name="connsiteX22914" fmla="*/ 5648245 w 6884782"/>
              <a:gd name="connsiteY22914" fmla="*/ 4118130 h 5973007"/>
              <a:gd name="connsiteX22915" fmla="*/ 5655990 w 6884782"/>
              <a:gd name="connsiteY22915" fmla="*/ 4117717 h 5973007"/>
              <a:gd name="connsiteX22916" fmla="*/ 5397158 w 6884782"/>
              <a:gd name="connsiteY22916" fmla="*/ 4116994 h 5973007"/>
              <a:gd name="connsiteX22917" fmla="*/ 5397468 w 6884782"/>
              <a:gd name="connsiteY22917" fmla="*/ 4130417 h 5973007"/>
              <a:gd name="connsiteX22918" fmla="*/ 5397778 w 6884782"/>
              <a:gd name="connsiteY22918" fmla="*/ 4132483 h 5973007"/>
              <a:gd name="connsiteX22919" fmla="*/ 5399482 w 6884782"/>
              <a:gd name="connsiteY22919" fmla="*/ 4131140 h 5973007"/>
              <a:gd name="connsiteX22920" fmla="*/ 5401650 w 6884782"/>
              <a:gd name="connsiteY22920" fmla="*/ 4130831 h 5973007"/>
              <a:gd name="connsiteX22921" fmla="*/ 5398087 w 6884782"/>
              <a:gd name="connsiteY22921" fmla="*/ 4133722 h 5973007"/>
              <a:gd name="connsiteX22922" fmla="*/ 5398087 w 6884782"/>
              <a:gd name="connsiteY22922" fmla="*/ 4133928 h 5973007"/>
              <a:gd name="connsiteX22923" fmla="*/ 5397778 w 6884782"/>
              <a:gd name="connsiteY22923" fmla="*/ 4133928 h 5973007"/>
              <a:gd name="connsiteX22924" fmla="*/ 5397003 w 6884782"/>
              <a:gd name="connsiteY22924" fmla="*/ 4134548 h 5973007"/>
              <a:gd name="connsiteX22925" fmla="*/ 5396539 w 6884782"/>
              <a:gd name="connsiteY22925" fmla="*/ 4137129 h 5973007"/>
              <a:gd name="connsiteX22926" fmla="*/ 5391737 w 6884782"/>
              <a:gd name="connsiteY22926" fmla="*/ 4139194 h 5973007"/>
              <a:gd name="connsiteX22927" fmla="*/ 5391117 w 6884782"/>
              <a:gd name="connsiteY22927" fmla="*/ 4134858 h 5973007"/>
              <a:gd name="connsiteX22928" fmla="*/ 5393905 w 6884782"/>
              <a:gd name="connsiteY22928" fmla="*/ 4132586 h 5973007"/>
              <a:gd name="connsiteX22929" fmla="*/ 5395454 w 6884782"/>
              <a:gd name="connsiteY22929" fmla="*/ 4132689 h 5973007"/>
              <a:gd name="connsiteX22930" fmla="*/ 5394989 w 6884782"/>
              <a:gd name="connsiteY22930" fmla="*/ 4132173 h 5973007"/>
              <a:gd name="connsiteX22931" fmla="*/ 5395764 w 6884782"/>
              <a:gd name="connsiteY22931" fmla="*/ 4130727 h 5973007"/>
              <a:gd name="connsiteX22932" fmla="*/ 5397158 w 6884782"/>
              <a:gd name="connsiteY22932" fmla="*/ 4116994 h 5973007"/>
              <a:gd name="connsiteX22933" fmla="*/ 5344803 w 6884782"/>
              <a:gd name="connsiteY22933" fmla="*/ 4116994 h 5973007"/>
              <a:gd name="connsiteX22934" fmla="*/ 5349140 w 6884782"/>
              <a:gd name="connsiteY22934" fmla="*/ 4119782 h 5973007"/>
              <a:gd name="connsiteX22935" fmla="*/ 5349605 w 6884782"/>
              <a:gd name="connsiteY22935" fmla="*/ 4122157 h 5973007"/>
              <a:gd name="connsiteX22936" fmla="*/ 5354407 w 6884782"/>
              <a:gd name="connsiteY22936" fmla="*/ 4124015 h 5973007"/>
              <a:gd name="connsiteX22937" fmla="*/ 5356885 w 6884782"/>
              <a:gd name="connsiteY22937" fmla="*/ 4129178 h 5973007"/>
              <a:gd name="connsiteX22938" fmla="*/ 5354562 w 6884782"/>
              <a:gd name="connsiteY22938" fmla="*/ 4130211 h 5973007"/>
              <a:gd name="connsiteX22939" fmla="*/ 5349605 w 6884782"/>
              <a:gd name="connsiteY22939" fmla="*/ 4128042 h 5973007"/>
              <a:gd name="connsiteX22940" fmla="*/ 5348676 w 6884782"/>
              <a:gd name="connsiteY22940" fmla="*/ 4130211 h 5973007"/>
              <a:gd name="connsiteX22941" fmla="*/ 5345578 w 6884782"/>
              <a:gd name="connsiteY22941" fmla="*/ 4132379 h 5973007"/>
              <a:gd name="connsiteX22942" fmla="*/ 5344493 w 6884782"/>
              <a:gd name="connsiteY22942" fmla="*/ 4132379 h 5973007"/>
              <a:gd name="connsiteX22943" fmla="*/ 5344648 w 6884782"/>
              <a:gd name="connsiteY22943" fmla="*/ 4133308 h 5973007"/>
              <a:gd name="connsiteX22944" fmla="*/ 5342015 w 6884782"/>
              <a:gd name="connsiteY22944" fmla="*/ 4134754 h 5973007"/>
              <a:gd name="connsiteX22945" fmla="*/ 5341085 w 6884782"/>
              <a:gd name="connsiteY22945" fmla="*/ 4136303 h 5973007"/>
              <a:gd name="connsiteX22946" fmla="*/ 5338297 w 6884782"/>
              <a:gd name="connsiteY22946" fmla="*/ 4136613 h 5973007"/>
              <a:gd name="connsiteX22947" fmla="*/ 5337058 w 6884782"/>
              <a:gd name="connsiteY22947" fmla="*/ 4134548 h 5973007"/>
              <a:gd name="connsiteX22948" fmla="*/ 5336903 w 6884782"/>
              <a:gd name="connsiteY22948" fmla="*/ 4134031 h 5973007"/>
              <a:gd name="connsiteX22949" fmla="*/ 5335354 w 6884782"/>
              <a:gd name="connsiteY22949" fmla="*/ 4134754 h 5973007"/>
              <a:gd name="connsiteX22950" fmla="*/ 5334425 w 6884782"/>
              <a:gd name="connsiteY22950" fmla="*/ 4132999 h 5973007"/>
              <a:gd name="connsiteX22951" fmla="*/ 5336129 w 6884782"/>
              <a:gd name="connsiteY22951" fmla="*/ 4131657 h 5973007"/>
              <a:gd name="connsiteX22952" fmla="*/ 5335974 w 6884782"/>
              <a:gd name="connsiteY22952" fmla="*/ 4130934 h 5973007"/>
              <a:gd name="connsiteX22953" fmla="*/ 5336129 w 6884782"/>
              <a:gd name="connsiteY22953" fmla="*/ 4128146 h 5973007"/>
              <a:gd name="connsiteX22954" fmla="*/ 5335974 w 6884782"/>
              <a:gd name="connsiteY22954" fmla="*/ 4127836 h 5973007"/>
              <a:gd name="connsiteX22955" fmla="*/ 5335664 w 6884782"/>
              <a:gd name="connsiteY22955" fmla="*/ 4119266 h 5973007"/>
              <a:gd name="connsiteX22956" fmla="*/ 5344803 w 6884782"/>
              <a:gd name="connsiteY22956" fmla="*/ 4116994 h 5973007"/>
              <a:gd name="connsiteX22957" fmla="*/ 5392821 w 6884782"/>
              <a:gd name="connsiteY22957" fmla="*/ 4116684 h 5973007"/>
              <a:gd name="connsiteX22958" fmla="*/ 5393441 w 6884782"/>
              <a:gd name="connsiteY22958" fmla="*/ 4116994 h 5973007"/>
              <a:gd name="connsiteX22959" fmla="*/ 5391582 w 6884782"/>
              <a:gd name="connsiteY22959" fmla="*/ 4125874 h 5973007"/>
              <a:gd name="connsiteX22960" fmla="*/ 5390033 w 6884782"/>
              <a:gd name="connsiteY22960" fmla="*/ 4128559 h 5973007"/>
              <a:gd name="connsiteX22961" fmla="*/ 5390342 w 6884782"/>
              <a:gd name="connsiteY22961" fmla="*/ 4127836 h 5973007"/>
              <a:gd name="connsiteX22962" fmla="*/ 5389258 w 6884782"/>
              <a:gd name="connsiteY22962" fmla="*/ 4128146 h 5973007"/>
              <a:gd name="connsiteX22963" fmla="*/ 5392821 w 6884782"/>
              <a:gd name="connsiteY22963" fmla="*/ 4116684 h 5973007"/>
              <a:gd name="connsiteX22964" fmla="*/ 5417604 w 6884782"/>
              <a:gd name="connsiteY22964" fmla="*/ 4115962 h 5973007"/>
              <a:gd name="connsiteX22965" fmla="*/ 5417759 w 6884782"/>
              <a:gd name="connsiteY22965" fmla="*/ 4119369 h 5973007"/>
              <a:gd name="connsiteX22966" fmla="*/ 5411564 w 6884782"/>
              <a:gd name="connsiteY22966" fmla="*/ 4123190 h 5973007"/>
              <a:gd name="connsiteX22967" fmla="*/ 5409395 w 6884782"/>
              <a:gd name="connsiteY22967" fmla="*/ 4122467 h 5973007"/>
              <a:gd name="connsiteX22968" fmla="*/ 5410169 w 6884782"/>
              <a:gd name="connsiteY22968" fmla="*/ 4118233 h 5973007"/>
              <a:gd name="connsiteX22969" fmla="*/ 5417604 w 6884782"/>
              <a:gd name="connsiteY22969" fmla="*/ 4115962 h 5973007"/>
              <a:gd name="connsiteX22970" fmla="*/ 5220731 w 6884782"/>
              <a:gd name="connsiteY22970" fmla="*/ 4115549 h 5973007"/>
              <a:gd name="connsiteX22971" fmla="*/ 5226152 w 6884782"/>
              <a:gd name="connsiteY22971" fmla="*/ 4120505 h 5973007"/>
              <a:gd name="connsiteX22972" fmla="*/ 5223209 w 6884782"/>
              <a:gd name="connsiteY22972" fmla="*/ 4127526 h 5973007"/>
              <a:gd name="connsiteX22973" fmla="*/ 5217633 w 6884782"/>
              <a:gd name="connsiteY22973" fmla="*/ 4129385 h 5973007"/>
              <a:gd name="connsiteX22974" fmla="*/ 5213141 w 6884782"/>
              <a:gd name="connsiteY22974" fmla="*/ 4126803 h 5973007"/>
              <a:gd name="connsiteX22975" fmla="*/ 5211902 w 6884782"/>
              <a:gd name="connsiteY22975" fmla="*/ 4123190 h 5973007"/>
              <a:gd name="connsiteX22976" fmla="*/ 5211902 w 6884782"/>
              <a:gd name="connsiteY22976" fmla="*/ 4122983 h 5973007"/>
              <a:gd name="connsiteX22977" fmla="*/ 5210663 w 6884782"/>
              <a:gd name="connsiteY22977" fmla="*/ 4123912 h 5973007"/>
              <a:gd name="connsiteX22978" fmla="*/ 5208959 w 6884782"/>
              <a:gd name="connsiteY22978" fmla="*/ 4123912 h 5973007"/>
              <a:gd name="connsiteX22979" fmla="*/ 5208030 w 6884782"/>
              <a:gd name="connsiteY22979" fmla="*/ 4122157 h 5973007"/>
              <a:gd name="connsiteX22980" fmla="*/ 5207410 w 6884782"/>
              <a:gd name="connsiteY22980" fmla="*/ 4118646 h 5973007"/>
              <a:gd name="connsiteX22981" fmla="*/ 5208804 w 6884782"/>
              <a:gd name="connsiteY22981" fmla="*/ 4116788 h 5973007"/>
              <a:gd name="connsiteX22982" fmla="*/ 5210663 w 6884782"/>
              <a:gd name="connsiteY22982" fmla="*/ 4117510 h 5973007"/>
              <a:gd name="connsiteX22983" fmla="*/ 5212212 w 6884782"/>
              <a:gd name="connsiteY22983" fmla="*/ 4117510 h 5973007"/>
              <a:gd name="connsiteX22984" fmla="*/ 5212367 w 6884782"/>
              <a:gd name="connsiteY22984" fmla="*/ 4118336 h 5973007"/>
              <a:gd name="connsiteX22985" fmla="*/ 5212212 w 6884782"/>
              <a:gd name="connsiteY22985" fmla="*/ 4118440 h 5973007"/>
              <a:gd name="connsiteX22986" fmla="*/ 5212831 w 6884782"/>
              <a:gd name="connsiteY22986" fmla="*/ 4118853 h 5973007"/>
              <a:gd name="connsiteX22987" fmla="*/ 5213451 w 6884782"/>
              <a:gd name="connsiteY22987" fmla="*/ 4116478 h 5973007"/>
              <a:gd name="connsiteX22988" fmla="*/ 5220731 w 6884782"/>
              <a:gd name="connsiteY22988" fmla="*/ 4115549 h 5973007"/>
              <a:gd name="connsiteX22989" fmla="*/ 5634304 w 6884782"/>
              <a:gd name="connsiteY22989" fmla="*/ 4115548 h 5973007"/>
              <a:gd name="connsiteX22990" fmla="*/ 5640190 w 6884782"/>
              <a:gd name="connsiteY22990" fmla="*/ 4121331 h 5973007"/>
              <a:gd name="connsiteX22991" fmla="*/ 5636163 w 6884782"/>
              <a:gd name="connsiteY22991" fmla="*/ 4127113 h 5973007"/>
              <a:gd name="connsiteX22992" fmla="*/ 5634459 w 6884782"/>
              <a:gd name="connsiteY22992" fmla="*/ 4126081 h 5973007"/>
              <a:gd name="connsiteX22993" fmla="*/ 5632910 w 6884782"/>
              <a:gd name="connsiteY22993" fmla="*/ 4124532 h 5973007"/>
              <a:gd name="connsiteX22994" fmla="*/ 5631206 w 6884782"/>
              <a:gd name="connsiteY22994" fmla="*/ 4119679 h 5973007"/>
              <a:gd name="connsiteX22995" fmla="*/ 5633065 w 6884782"/>
              <a:gd name="connsiteY22995" fmla="*/ 4116478 h 5973007"/>
              <a:gd name="connsiteX22996" fmla="*/ 5634304 w 6884782"/>
              <a:gd name="connsiteY22996" fmla="*/ 4115548 h 5973007"/>
              <a:gd name="connsiteX22997" fmla="*/ 5725538 w 6884782"/>
              <a:gd name="connsiteY22997" fmla="*/ 4113897 h 5973007"/>
              <a:gd name="connsiteX22998" fmla="*/ 5734832 w 6884782"/>
              <a:gd name="connsiteY22998" fmla="*/ 4119679 h 5973007"/>
              <a:gd name="connsiteX22999" fmla="*/ 5734212 w 6884782"/>
              <a:gd name="connsiteY22999" fmla="*/ 4120298 h 5973007"/>
              <a:gd name="connsiteX23000" fmla="*/ 5738549 w 6884782"/>
              <a:gd name="connsiteY23000" fmla="*/ 4121641 h 5973007"/>
              <a:gd name="connsiteX23001" fmla="*/ 5736691 w 6884782"/>
              <a:gd name="connsiteY23001" fmla="*/ 4144150 h 5973007"/>
              <a:gd name="connsiteX23002" fmla="*/ 5735606 w 6884782"/>
              <a:gd name="connsiteY23002" fmla="*/ 4155612 h 5973007"/>
              <a:gd name="connsiteX23003" fmla="*/ 5738859 w 6884782"/>
              <a:gd name="connsiteY23003" fmla="*/ 4155509 h 5973007"/>
              <a:gd name="connsiteX23004" fmla="*/ 5750322 w 6884782"/>
              <a:gd name="connsiteY23004" fmla="*/ 4159329 h 5973007"/>
              <a:gd name="connsiteX23005" fmla="*/ 5753265 w 6884782"/>
              <a:gd name="connsiteY23005" fmla="*/ 4161394 h 5973007"/>
              <a:gd name="connsiteX23006" fmla="*/ 5754969 w 6884782"/>
              <a:gd name="connsiteY23006" fmla="*/ 4160981 h 5973007"/>
              <a:gd name="connsiteX23007" fmla="*/ 5756053 w 6884782"/>
              <a:gd name="connsiteY23007" fmla="*/ 4161188 h 5973007"/>
              <a:gd name="connsiteX23008" fmla="*/ 5756518 w 6884782"/>
              <a:gd name="connsiteY23008" fmla="*/ 4160878 h 5973007"/>
              <a:gd name="connsiteX23009" fmla="*/ 5757447 w 6884782"/>
              <a:gd name="connsiteY23009" fmla="*/ 4160362 h 5973007"/>
              <a:gd name="connsiteX23010" fmla="*/ 5757292 w 6884782"/>
              <a:gd name="connsiteY23010" fmla="*/ 4161188 h 5973007"/>
              <a:gd name="connsiteX23011" fmla="*/ 5757292 w 6884782"/>
              <a:gd name="connsiteY23011" fmla="*/ 4161291 h 5973007"/>
              <a:gd name="connsiteX23012" fmla="*/ 5759925 w 6884782"/>
              <a:gd name="connsiteY23012" fmla="*/ 4161498 h 5973007"/>
              <a:gd name="connsiteX23013" fmla="*/ 5757292 w 6884782"/>
              <a:gd name="connsiteY23013" fmla="*/ 4167796 h 5973007"/>
              <a:gd name="connsiteX23014" fmla="*/ 5753729 w 6884782"/>
              <a:gd name="connsiteY23014" fmla="*/ 4173269 h 5973007"/>
              <a:gd name="connsiteX23015" fmla="*/ 5753265 w 6884782"/>
              <a:gd name="connsiteY23015" fmla="*/ 4168932 h 5973007"/>
              <a:gd name="connsiteX23016" fmla="*/ 5751561 w 6884782"/>
              <a:gd name="connsiteY23016" fmla="*/ 4169758 h 5973007"/>
              <a:gd name="connsiteX23017" fmla="*/ 5750941 w 6884782"/>
              <a:gd name="connsiteY23017" fmla="*/ 4167176 h 5973007"/>
              <a:gd name="connsiteX23018" fmla="*/ 5749547 w 6884782"/>
              <a:gd name="connsiteY23018" fmla="*/ 4167383 h 5973007"/>
              <a:gd name="connsiteX23019" fmla="*/ 5744126 w 6884782"/>
              <a:gd name="connsiteY23019" fmla="*/ 4166557 h 5973007"/>
              <a:gd name="connsiteX23020" fmla="*/ 5744126 w 6884782"/>
              <a:gd name="connsiteY23020" fmla="*/ 4168003 h 5973007"/>
              <a:gd name="connsiteX23021" fmla="*/ 5747998 w 6884782"/>
              <a:gd name="connsiteY23021" fmla="*/ 4169552 h 5973007"/>
              <a:gd name="connsiteX23022" fmla="*/ 5753729 w 6884782"/>
              <a:gd name="connsiteY23022" fmla="*/ 4173269 h 5973007"/>
              <a:gd name="connsiteX23023" fmla="*/ 5754969 w 6884782"/>
              <a:gd name="connsiteY23023" fmla="*/ 4173888 h 5973007"/>
              <a:gd name="connsiteX23024" fmla="*/ 5762868 w 6884782"/>
              <a:gd name="connsiteY23024" fmla="*/ 4178225 h 5973007"/>
              <a:gd name="connsiteX23025" fmla="*/ 5768909 w 6884782"/>
              <a:gd name="connsiteY23025" fmla="*/ 4196914 h 5973007"/>
              <a:gd name="connsiteX23026" fmla="*/ 5763952 w 6884782"/>
              <a:gd name="connsiteY23026" fmla="*/ 4208996 h 5973007"/>
              <a:gd name="connsiteX23027" fmla="*/ 5762249 w 6884782"/>
              <a:gd name="connsiteY23027" fmla="*/ 4215191 h 5973007"/>
              <a:gd name="connsiteX23028" fmla="*/ 5762713 w 6884782"/>
              <a:gd name="connsiteY23028" fmla="*/ 4214984 h 5973007"/>
              <a:gd name="connsiteX23029" fmla="*/ 5768909 w 6884782"/>
              <a:gd name="connsiteY23029" fmla="*/ 4219734 h 5973007"/>
              <a:gd name="connsiteX23030" fmla="*/ 5764882 w 6884782"/>
              <a:gd name="connsiteY23030" fmla="*/ 4219424 h 5973007"/>
              <a:gd name="connsiteX23031" fmla="*/ 5761474 w 6884782"/>
              <a:gd name="connsiteY23031" fmla="*/ 4218289 h 5973007"/>
              <a:gd name="connsiteX23032" fmla="*/ 5760235 w 6884782"/>
              <a:gd name="connsiteY23032" fmla="*/ 4222625 h 5973007"/>
              <a:gd name="connsiteX23033" fmla="*/ 5746604 w 6884782"/>
              <a:gd name="connsiteY23033" fmla="*/ 4230473 h 5973007"/>
              <a:gd name="connsiteX23034" fmla="*/ 5745829 w 6884782"/>
              <a:gd name="connsiteY23034" fmla="*/ 4230886 h 5973007"/>
              <a:gd name="connsiteX23035" fmla="*/ 5749082 w 6884782"/>
              <a:gd name="connsiteY23035" fmla="*/ 4233467 h 5973007"/>
              <a:gd name="connsiteX23036" fmla="*/ 5752180 w 6884782"/>
              <a:gd name="connsiteY23036" fmla="*/ 4229853 h 5973007"/>
              <a:gd name="connsiteX23037" fmla="*/ 5763333 w 6884782"/>
              <a:gd name="connsiteY23037" fmla="*/ 4235223 h 5973007"/>
              <a:gd name="connsiteX23038" fmla="*/ 5755743 w 6884782"/>
              <a:gd name="connsiteY23038" fmla="*/ 4242760 h 5973007"/>
              <a:gd name="connsiteX23039" fmla="*/ 5753110 w 6884782"/>
              <a:gd name="connsiteY23039" fmla="*/ 4239869 h 5973007"/>
              <a:gd name="connsiteX23040" fmla="*/ 5752800 w 6884782"/>
              <a:gd name="connsiteY23040" fmla="*/ 4240179 h 5973007"/>
              <a:gd name="connsiteX23041" fmla="*/ 5752335 w 6884782"/>
              <a:gd name="connsiteY23041" fmla="*/ 4242244 h 5973007"/>
              <a:gd name="connsiteX23042" fmla="*/ 5754039 w 6884782"/>
              <a:gd name="connsiteY23042" fmla="*/ 4243586 h 5973007"/>
              <a:gd name="connsiteX23043" fmla="*/ 5751716 w 6884782"/>
              <a:gd name="connsiteY23043" fmla="*/ 4245135 h 5973007"/>
              <a:gd name="connsiteX23044" fmla="*/ 5751406 w 6884782"/>
              <a:gd name="connsiteY23044" fmla="*/ 4244929 h 5973007"/>
              <a:gd name="connsiteX23045" fmla="*/ 5749237 w 6884782"/>
              <a:gd name="connsiteY23045" fmla="*/ 4247716 h 5973007"/>
              <a:gd name="connsiteX23046" fmla="*/ 5741337 w 6884782"/>
              <a:gd name="connsiteY23046" fmla="*/ 4251331 h 5973007"/>
              <a:gd name="connsiteX23047" fmla="*/ 5734987 w 6884782"/>
              <a:gd name="connsiteY23047" fmla="*/ 4248026 h 5973007"/>
              <a:gd name="connsiteX23048" fmla="*/ 5731734 w 6884782"/>
              <a:gd name="connsiteY23048" fmla="*/ 4238113 h 5973007"/>
              <a:gd name="connsiteX23049" fmla="*/ 5732044 w 6884782"/>
              <a:gd name="connsiteY23049" fmla="*/ 4237804 h 5973007"/>
              <a:gd name="connsiteX23050" fmla="*/ 5725228 w 6884782"/>
              <a:gd name="connsiteY23050" fmla="*/ 4234913 h 5973007"/>
              <a:gd name="connsiteX23051" fmla="*/ 5718568 w 6884782"/>
              <a:gd name="connsiteY23051" fmla="*/ 4233467 h 5973007"/>
              <a:gd name="connsiteX23052" fmla="*/ 5719807 w 6884782"/>
              <a:gd name="connsiteY23052" fmla="*/ 4237184 h 5973007"/>
              <a:gd name="connsiteX23053" fmla="*/ 5720891 w 6884782"/>
              <a:gd name="connsiteY23053" fmla="*/ 4243793 h 5973007"/>
              <a:gd name="connsiteX23054" fmla="*/ 5710978 w 6884782"/>
              <a:gd name="connsiteY23054" fmla="*/ 4253499 h 5973007"/>
              <a:gd name="connsiteX23055" fmla="*/ 5710048 w 6884782"/>
              <a:gd name="connsiteY23055" fmla="*/ 4252879 h 5973007"/>
              <a:gd name="connsiteX23056" fmla="*/ 5708345 w 6884782"/>
              <a:gd name="connsiteY23056" fmla="*/ 4252157 h 5973007"/>
              <a:gd name="connsiteX23057" fmla="*/ 5705712 w 6884782"/>
              <a:gd name="connsiteY23057" fmla="*/ 4253189 h 5973007"/>
              <a:gd name="connsiteX23058" fmla="*/ 5703233 w 6884782"/>
              <a:gd name="connsiteY23058" fmla="*/ 4251847 h 5973007"/>
              <a:gd name="connsiteX23059" fmla="*/ 5701839 w 6884782"/>
              <a:gd name="connsiteY23059" fmla="*/ 4247613 h 5973007"/>
              <a:gd name="connsiteX23060" fmla="*/ 5702458 w 6884782"/>
              <a:gd name="connsiteY23060" fmla="*/ 4246891 h 5973007"/>
              <a:gd name="connsiteX23061" fmla="*/ 5701219 w 6884782"/>
              <a:gd name="connsiteY23061" fmla="*/ 4241728 h 5973007"/>
              <a:gd name="connsiteX23062" fmla="*/ 5701684 w 6884782"/>
              <a:gd name="connsiteY23062" fmla="*/ 4238527 h 5973007"/>
              <a:gd name="connsiteX23063" fmla="*/ 5700290 w 6884782"/>
              <a:gd name="connsiteY23063" fmla="*/ 4243380 h 5973007"/>
              <a:gd name="connsiteX23064" fmla="*/ 5699671 w 6884782"/>
              <a:gd name="connsiteY23064" fmla="*/ 4245238 h 5973007"/>
              <a:gd name="connsiteX23065" fmla="*/ 5700445 w 6884782"/>
              <a:gd name="connsiteY23065" fmla="*/ 4245238 h 5973007"/>
              <a:gd name="connsiteX23066" fmla="*/ 5699515 w 6884782"/>
              <a:gd name="connsiteY23066" fmla="*/ 4246168 h 5973007"/>
              <a:gd name="connsiteX23067" fmla="*/ 5699361 w 6884782"/>
              <a:gd name="connsiteY23067" fmla="*/ 4246374 h 5973007"/>
              <a:gd name="connsiteX23068" fmla="*/ 5699361 w 6884782"/>
              <a:gd name="connsiteY23068" fmla="*/ 4247200 h 5973007"/>
              <a:gd name="connsiteX23069" fmla="*/ 5697037 w 6884782"/>
              <a:gd name="connsiteY23069" fmla="*/ 4250092 h 5973007"/>
              <a:gd name="connsiteX23070" fmla="*/ 5696108 w 6884782"/>
              <a:gd name="connsiteY23070" fmla="*/ 4249885 h 5973007"/>
              <a:gd name="connsiteX23071" fmla="*/ 5696263 w 6884782"/>
              <a:gd name="connsiteY23071" fmla="*/ 4254738 h 5973007"/>
              <a:gd name="connsiteX23072" fmla="*/ 5695953 w 6884782"/>
              <a:gd name="connsiteY23072" fmla="*/ 4256080 h 5973007"/>
              <a:gd name="connsiteX23073" fmla="*/ 5696418 w 6884782"/>
              <a:gd name="connsiteY23073" fmla="*/ 4256493 h 5973007"/>
              <a:gd name="connsiteX23074" fmla="*/ 5695798 w 6884782"/>
              <a:gd name="connsiteY23074" fmla="*/ 4257319 h 5973007"/>
              <a:gd name="connsiteX23075" fmla="*/ 5695024 w 6884782"/>
              <a:gd name="connsiteY23075" fmla="*/ 4261656 h 5973007"/>
              <a:gd name="connsiteX23076" fmla="*/ 5691461 w 6884782"/>
              <a:gd name="connsiteY23076" fmla="*/ 4264960 h 5973007"/>
              <a:gd name="connsiteX23077" fmla="*/ 5690532 w 6884782"/>
              <a:gd name="connsiteY23077" fmla="*/ 4259075 h 5973007"/>
              <a:gd name="connsiteX23078" fmla="*/ 5690377 w 6884782"/>
              <a:gd name="connsiteY23078" fmla="*/ 4258765 h 5973007"/>
              <a:gd name="connsiteX23079" fmla="*/ 5690377 w 6884782"/>
              <a:gd name="connsiteY23079" fmla="*/ 4258352 h 5973007"/>
              <a:gd name="connsiteX23080" fmla="*/ 5689757 w 6884782"/>
              <a:gd name="connsiteY23080" fmla="*/ 4251434 h 5973007"/>
              <a:gd name="connsiteX23081" fmla="*/ 5690841 w 6884782"/>
              <a:gd name="connsiteY23081" fmla="*/ 4244929 h 5973007"/>
              <a:gd name="connsiteX23082" fmla="*/ 5690067 w 6884782"/>
              <a:gd name="connsiteY23082" fmla="*/ 4244826 h 5973007"/>
              <a:gd name="connsiteX23083" fmla="*/ 5677675 w 6884782"/>
              <a:gd name="connsiteY23083" fmla="*/ 4244206 h 5973007"/>
              <a:gd name="connsiteX23084" fmla="*/ 5679379 w 6884782"/>
              <a:gd name="connsiteY23084" fmla="*/ 4235532 h 5973007"/>
              <a:gd name="connsiteX23085" fmla="*/ 5691306 w 6884782"/>
              <a:gd name="connsiteY23085" fmla="*/ 4229750 h 5973007"/>
              <a:gd name="connsiteX23086" fmla="*/ 5691616 w 6884782"/>
              <a:gd name="connsiteY23086" fmla="*/ 4229853 h 5973007"/>
              <a:gd name="connsiteX23087" fmla="*/ 5696418 w 6884782"/>
              <a:gd name="connsiteY23087" fmla="*/ 4229853 h 5973007"/>
              <a:gd name="connsiteX23088" fmla="*/ 5697192 w 6884782"/>
              <a:gd name="connsiteY23088" fmla="*/ 4231505 h 5973007"/>
              <a:gd name="connsiteX23089" fmla="*/ 5700135 w 6884782"/>
              <a:gd name="connsiteY23089" fmla="*/ 4230679 h 5973007"/>
              <a:gd name="connsiteX23090" fmla="*/ 5701994 w 6884782"/>
              <a:gd name="connsiteY23090" fmla="*/ 4237081 h 5973007"/>
              <a:gd name="connsiteX23091" fmla="*/ 5712372 w 6884782"/>
              <a:gd name="connsiteY23091" fmla="*/ 4232228 h 5973007"/>
              <a:gd name="connsiteX23092" fmla="*/ 5714695 w 6884782"/>
              <a:gd name="connsiteY23092" fmla="*/ 4232744 h 5973007"/>
              <a:gd name="connsiteX23093" fmla="*/ 5715935 w 6884782"/>
              <a:gd name="connsiteY23093" fmla="*/ 4232847 h 5973007"/>
              <a:gd name="connsiteX23094" fmla="*/ 5707570 w 6884782"/>
              <a:gd name="connsiteY23094" fmla="*/ 4229957 h 5973007"/>
              <a:gd name="connsiteX23095" fmla="*/ 5701684 w 6884782"/>
              <a:gd name="connsiteY23095" fmla="*/ 4223555 h 5973007"/>
              <a:gd name="connsiteX23096" fmla="*/ 5701219 w 6884782"/>
              <a:gd name="connsiteY23096" fmla="*/ 4211370 h 5973007"/>
              <a:gd name="connsiteX23097" fmla="*/ 5701219 w 6884782"/>
              <a:gd name="connsiteY23097" fmla="*/ 4211164 h 5973007"/>
              <a:gd name="connsiteX23098" fmla="*/ 5699051 w 6884782"/>
              <a:gd name="connsiteY23098" fmla="*/ 4213332 h 5973007"/>
              <a:gd name="connsiteX23099" fmla="*/ 5698122 w 6884782"/>
              <a:gd name="connsiteY23099" fmla="*/ 4218805 h 5973007"/>
              <a:gd name="connsiteX23100" fmla="*/ 5698431 w 6884782"/>
              <a:gd name="connsiteY23100" fmla="*/ 4222729 h 5973007"/>
              <a:gd name="connsiteX23101" fmla="*/ 5697347 w 6884782"/>
              <a:gd name="connsiteY23101" fmla="*/ 4224380 h 5973007"/>
              <a:gd name="connsiteX23102" fmla="*/ 5692081 w 6884782"/>
              <a:gd name="connsiteY23102" fmla="*/ 4227788 h 5973007"/>
              <a:gd name="connsiteX23103" fmla="*/ 5690687 w 6884782"/>
              <a:gd name="connsiteY23103" fmla="*/ 4223761 h 5973007"/>
              <a:gd name="connsiteX23104" fmla="*/ 5691616 w 6884782"/>
              <a:gd name="connsiteY23104" fmla="*/ 4220560 h 5973007"/>
              <a:gd name="connsiteX23105" fmla="*/ 5690996 w 6884782"/>
              <a:gd name="connsiteY23105" fmla="*/ 4221076 h 5973007"/>
              <a:gd name="connsiteX23106" fmla="*/ 5682942 w 6884782"/>
              <a:gd name="connsiteY23106" fmla="*/ 4223451 h 5973007"/>
              <a:gd name="connsiteX23107" fmla="*/ 5692236 w 6884782"/>
              <a:gd name="connsiteY23107" fmla="*/ 4208273 h 5973007"/>
              <a:gd name="connsiteX23108" fmla="*/ 5699051 w 6884782"/>
              <a:gd name="connsiteY23108" fmla="*/ 4205175 h 5973007"/>
              <a:gd name="connsiteX23109" fmla="*/ 5698122 w 6884782"/>
              <a:gd name="connsiteY23109" fmla="*/ 4202387 h 5973007"/>
              <a:gd name="connsiteX23110" fmla="*/ 5703233 w 6884782"/>
              <a:gd name="connsiteY23110" fmla="*/ 4191029 h 5973007"/>
              <a:gd name="connsiteX23111" fmla="*/ 5705557 w 6884782"/>
              <a:gd name="connsiteY23111" fmla="*/ 4187725 h 5973007"/>
              <a:gd name="connsiteX23112" fmla="*/ 5706951 w 6884782"/>
              <a:gd name="connsiteY23112" fmla="*/ 4184730 h 5973007"/>
              <a:gd name="connsiteX23113" fmla="*/ 5707105 w 6884782"/>
              <a:gd name="connsiteY23113" fmla="*/ 4184420 h 5973007"/>
              <a:gd name="connsiteX23114" fmla="*/ 5707416 w 6884782"/>
              <a:gd name="connsiteY23114" fmla="*/ 4182355 h 5973007"/>
              <a:gd name="connsiteX23115" fmla="*/ 5706331 w 6884782"/>
              <a:gd name="connsiteY23115" fmla="*/ 4183595 h 5973007"/>
              <a:gd name="connsiteX23116" fmla="*/ 5700135 w 6884782"/>
              <a:gd name="connsiteY23116" fmla="*/ 4185246 h 5973007"/>
              <a:gd name="connsiteX23117" fmla="*/ 5694404 w 6884782"/>
              <a:gd name="connsiteY23117" fmla="*/ 4178019 h 5973007"/>
              <a:gd name="connsiteX23118" fmla="*/ 5692545 w 6884782"/>
              <a:gd name="connsiteY23118" fmla="*/ 4178225 h 5973007"/>
              <a:gd name="connsiteX23119" fmla="*/ 5689602 w 6884782"/>
              <a:gd name="connsiteY23119" fmla="*/ 4176160 h 5973007"/>
              <a:gd name="connsiteX23120" fmla="*/ 5690687 w 6884782"/>
              <a:gd name="connsiteY23120" fmla="*/ 4174405 h 5973007"/>
              <a:gd name="connsiteX23121" fmla="*/ 5694404 w 6884782"/>
              <a:gd name="connsiteY23121" fmla="*/ 4176057 h 5973007"/>
              <a:gd name="connsiteX23122" fmla="*/ 5695179 w 6884782"/>
              <a:gd name="connsiteY23122" fmla="*/ 4175643 h 5973007"/>
              <a:gd name="connsiteX23123" fmla="*/ 5695953 w 6884782"/>
              <a:gd name="connsiteY23123" fmla="*/ 4173269 h 5973007"/>
              <a:gd name="connsiteX23124" fmla="*/ 5703233 w 6884782"/>
              <a:gd name="connsiteY23124" fmla="*/ 4168622 h 5973007"/>
              <a:gd name="connsiteX23125" fmla="*/ 5708655 w 6884782"/>
              <a:gd name="connsiteY23125" fmla="*/ 4172856 h 5973007"/>
              <a:gd name="connsiteX23126" fmla="*/ 5709739 w 6884782"/>
              <a:gd name="connsiteY23126" fmla="*/ 4175231 h 5973007"/>
              <a:gd name="connsiteX23127" fmla="*/ 5712372 w 6884782"/>
              <a:gd name="connsiteY23127" fmla="*/ 4171410 h 5973007"/>
              <a:gd name="connsiteX23128" fmla="*/ 5719652 w 6884782"/>
              <a:gd name="connsiteY23128" fmla="*/ 4169345 h 5973007"/>
              <a:gd name="connsiteX23129" fmla="*/ 5721976 w 6884782"/>
              <a:gd name="connsiteY23129" fmla="*/ 4170584 h 5973007"/>
              <a:gd name="connsiteX23130" fmla="*/ 5731734 w 6884782"/>
              <a:gd name="connsiteY23130" fmla="*/ 4166557 h 5973007"/>
              <a:gd name="connsiteX23131" fmla="*/ 5732044 w 6884782"/>
              <a:gd name="connsiteY23131" fmla="*/ 4166557 h 5973007"/>
              <a:gd name="connsiteX23132" fmla="*/ 5733283 w 6884782"/>
              <a:gd name="connsiteY23132" fmla="*/ 4165525 h 5973007"/>
              <a:gd name="connsiteX23133" fmla="*/ 5732818 w 6884782"/>
              <a:gd name="connsiteY23133" fmla="*/ 4163769 h 5973007"/>
              <a:gd name="connsiteX23134" fmla="*/ 5725228 w 6884782"/>
              <a:gd name="connsiteY23134" fmla="*/ 4155818 h 5973007"/>
              <a:gd name="connsiteX23135" fmla="*/ 5730650 w 6884782"/>
              <a:gd name="connsiteY23135" fmla="*/ 4155715 h 5973007"/>
              <a:gd name="connsiteX23136" fmla="*/ 5730030 w 6884782"/>
              <a:gd name="connsiteY23136" fmla="*/ 4154579 h 5973007"/>
              <a:gd name="connsiteX23137" fmla="*/ 5728636 w 6884782"/>
              <a:gd name="connsiteY23137" fmla="*/ 4146216 h 5973007"/>
              <a:gd name="connsiteX23138" fmla="*/ 5728636 w 6884782"/>
              <a:gd name="connsiteY23138" fmla="*/ 4141363 h 5973007"/>
              <a:gd name="connsiteX23139" fmla="*/ 5726932 w 6884782"/>
              <a:gd name="connsiteY23139" fmla="*/ 4142808 h 5973007"/>
              <a:gd name="connsiteX23140" fmla="*/ 5719962 w 6884782"/>
              <a:gd name="connsiteY23140" fmla="*/ 4144460 h 5973007"/>
              <a:gd name="connsiteX23141" fmla="*/ 5719807 w 6884782"/>
              <a:gd name="connsiteY23141" fmla="*/ 4136406 h 5973007"/>
              <a:gd name="connsiteX23142" fmla="*/ 5723525 w 6884782"/>
              <a:gd name="connsiteY23142" fmla="*/ 4133515 h 5973007"/>
              <a:gd name="connsiteX23143" fmla="*/ 5727087 w 6884782"/>
              <a:gd name="connsiteY23143" fmla="*/ 4133928 h 5973007"/>
              <a:gd name="connsiteX23144" fmla="*/ 5728791 w 6884782"/>
              <a:gd name="connsiteY23144" fmla="*/ 4133825 h 5973007"/>
              <a:gd name="connsiteX23145" fmla="*/ 5729101 w 6884782"/>
              <a:gd name="connsiteY23145" fmla="*/ 4125461 h 5973007"/>
              <a:gd name="connsiteX23146" fmla="*/ 5727242 w 6884782"/>
              <a:gd name="connsiteY23146" fmla="*/ 4127423 h 5973007"/>
              <a:gd name="connsiteX23147" fmla="*/ 5722130 w 6884782"/>
              <a:gd name="connsiteY23147" fmla="*/ 4120918 h 5973007"/>
              <a:gd name="connsiteX23148" fmla="*/ 5725538 w 6884782"/>
              <a:gd name="connsiteY23148" fmla="*/ 4113897 h 5973007"/>
              <a:gd name="connsiteX23149" fmla="*/ 5393905 w 6884782"/>
              <a:gd name="connsiteY23149" fmla="*/ 4112864 h 5973007"/>
              <a:gd name="connsiteX23150" fmla="*/ 5393286 w 6884782"/>
              <a:gd name="connsiteY23150" fmla="*/ 4113690 h 5973007"/>
              <a:gd name="connsiteX23151" fmla="*/ 5392356 w 6884782"/>
              <a:gd name="connsiteY23151" fmla="*/ 4113070 h 5973007"/>
              <a:gd name="connsiteX23152" fmla="*/ 5393905 w 6884782"/>
              <a:gd name="connsiteY23152" fmla="*/ 4112864 h 5973007"/>
              <a:gd name="connsiteX23153" fmla="*/ 5426589 w 6884782"/>
              <a:gd name="connsiteY23153" fmla="*/ 4112761 h 5973007"/>
              <a:gd name="connsiteX23154" fmla="*/ 5426743 w 6884782"/>
              <a:gd name="connsiteY23154" fmla="*/ 4115445 h 5973007"/>
              <a:gd name="connsiteX23155" fmla="*/ 5425194 w 6884782"/>
              <a:gd name="connsiteY23155" fmla="*/ 4116271 h 5973007"/>
              <a:gd name="connsiteX23156" fmla="*/ 5424420 w 6884782"/>
              <a:gd name="connsiteY23156" fmla="*/ 4118956 h 5973007"/>
              <a:gd name="connsiteX23157" fmla="*/ 5422871 w 6884782"/>
              <a:gd name="connsiteY23157" fmla="*/ 4118853 h 5973007"/>
              <a:gd name="connsiteX23158" fmla="*/ 5424265 w 6884782"/>
              <a:gd name="connsiteY23158" fmla="*/ 4113587 h 5973007"/>
              <a:gd name="connsiteX23159" fmla="*/ 5426589 w 6884782"/>
              <a:gd name="connsiteY23159" fmla="*/ 4112761 h 5973007"/>
              <a:gd name="connsiteX23160" fmla="*/ 517685 w 6884782"/>
              <a:gd name="connsiteY23160" fmla="*/ 4112278 h 5973007"/>
              <a:gd name="connsiteX23161" fmla="*/ 522581 w 6884782"/>
              <a:gd name="connsiteY23161" fmla="*/ 4116150 h 5973007"/>
              <a:gd name="connsiteX23162" fmla="*/ 513133 w 6884782"/>
              <a:gd name="connsiteY23162" fmla="*/ 4123894 h 5973007"/>
              <a:gd name="connsiteX23163" fmla="*/ 517685 w 6884782"/>
              <a:gd name="connsiteY23163" fmla="*/ 4112278 h 5973007"/>
              <a:gd name="connsiteX23164" fmla="*/ 5289660 w 6884782"/>
              <a:gd name="connsiteY23164" fmla="*/ 4111935 h 5973007"/>
              <a:gd name="connsiteX23165" fmla="*/ 5291209 w 6884782"/>
              <a:gd name="connsiteY23165" fmla="*/ 4124532 h 5973007"/>
              <a:gd name="connsiteX23166" fmla="*/ 5286252 w 6884782"/>
              <a:gd name="connsiteY23166" fmla="*/ 4113690 h 5973007"/>
              <a:gd name="connsiteX23167" fmla="*/ 5289660 w 6884782"/>
              <a:gd name="connsiteY23167" fmla="*/ 4111935 h 5973007"/>
              <a:gd name="connsiteX23168" fmla="*/ 5611206 w 6884782"/>
              <a:gd name="connsiteY23168" fmla="*/ 4111857 h 5973007"/>
              <a:gd name="connsiteX23169" fmla="*/ 5617111 w 6884782"/>
              <a:gd name="connsiteY23169" fmla="*/ 4112141 h 5973007"/>
              <a:gd name="connsiteX23170" fmla="*/ 5618040 w 6884782"/>
              <a:gd name="connsiteY23170" fmla="*/ 4116891 h 5973007"/>
              <a:gd name="connsiteX23171" fmla="*/ 5616336 w 6884782"/>
              <a:gd name="connsiteY23171" fmla="*/ 4119059 h 5973007"/>
              <a:gd name="connsiteX23172" fmla="*/ 5617730 w 6884782"/>
              <a:gd name="connsiteY23172" fmla="*/ 4120918 h 5973007"/>
              <a:gd name="connsiteX23173" fmla="*/ 5615252 w 6884782"/>
              <a:gd name="connsiteY23173" fmla="*/ 4123396 h 5973007"/>
              <a:gd name="connsiteX23174" fmla="*/ 5611844 w 6884782"/>
              <a:gd name="connsiteY23174" fmla="*/ 4121434 h 5973007"/>
              <a:gd name="connsiteX23175" fmla="*/ 5609211 w 6884782"/>
              <a:gd name="connsiteY23175" fmla="*/ 4121228 h 5973007"/>
              <a:gd name="connsiteX23176" fmla="*/ 5603480 w 6884782"/>
              <a:gd name="connsiteY23176" fmla="*/ 4120918 h 5973007"/>
              <a:gd name="connsiteX23177" fmla="*/ 5602396 w 6884782"/>
              <a:gd name="connsiteY23177" fmla="*/ 4116684 h 5973007"/>
              <a:gd name="connsiteX23178" fmla="*/ 5611206 w 6884782"/>
              <a:gd name="connsiteY23178" fmla="*/ 4111857 h 5973007"/>
              <a:gd name="connsiteX23179" fmla="*/ 5574611 w 6884782"/>
              <a:gd name="connsiteY23179" fmla="*/ 4110140 h 5973007"/>
              <a:gd name="connsiteX23180" fmla="*/ 5585047 w 6884782"/>
              <a:gd name="connsiteY23180" fmla="*/ 4113793 h 5973007"/>
              <a:gd name="connsiteX23181" fmla="*/ 5573895 w 6884782"/>
              <a:gd name="connsiteY23181" fmla="*/ 4124738 h 5973007"/>
              <a:gd name="connsiteX23182" fmla="*/ 5569403 w 6884782"/>
              <a:gd name="connsiteY23182" fmla="*/ 4119575 h 5973007"/>
              <a:gd name="connsiteX23183" fmla="*/ 5574611 w 6884782"/>
              <a:gd name="connsiteY23183" fmla="*/ 4110140 h 5973007"/>
              <a:gd name="connsiteX23184" fmla="*/ 5396229 w 6884782"/>
              <a:gd name="connsiteY23184" fmla="*/ 4108940 h 5973007"/>
              <a:gd name="connsiteX23185" fmla="*/ 5397158 w 6884782"/>
              <a:gd name="connsiteY23185" fmla="*/ 4113380 h 5973007"/>
              <a:gd name="connsiteX23186" fmla="*/ 5396074 w 6884782"/>
              <a:gd name="connsiteY23186" fmla="*/ 4113690 h 5973007"/>
              <a:gd name="connsiteX23187" fmla="*/ 5396229 w 6884782"/>
              <a:gd name="connsiteY23187" fmla="*/ 4108940 h 5973007"/>
              <a:gd name="connsiteX23188" fmla="*/ 5096194 w 6884782"/>
              <a:gd name="connsiteY23188" fmla="*/ 4108114 h 5973007"/>
              <a:gd name="connsiteX23189" fmla="*/ 5097898 w 6884782"/>
              <a:gd name="connsiteY23189" fmla="*/ 4108940 h 5973007"/>
              <a:gd name="connsiteX23190" fmla="*/ 5099447 w 6884782"/>
              <a:gd name="connsiteY23190" fmla="*/ 4109250 h 5973007"/>
              <a:gd name="connsiteX23191" fmla="*/ 5099447 w 6884782"/>
              <a:gd name="connsiteY23191" fmla="*/ 4109973 h 5973007"/>
              <a:gd name="connsiteX23192" fmla="*/ 5102236 w 6884782"/>
              <a:gd name="connsiteY23192" fmla="*/ 4115652 h 5973007"/>
              <a:gd name="connsiteX23193" fmla="*/ 5100841 w 6884782"/>
              <a:gd name="connsiteY23193" fmla="*/ 4119885 h 5973007"/>
              <a:gd name="connsiteX23194" fmla="*/ 5096659 w 6884782"/>
              <a:gd name="connsiteY23194" fmla="*/ 4120092 h 5973007"/>
              <a:gd name="connsiteX23195" fmla="*/ 5095110 w 6884782"/>
              <a:gd name="connsiteY23195" fmla="*/ 4118749 h 5973007"/>
              <a:gd name="connsiteX23196" fmla="*/ 5093251 w 6884782"/>
              <a:gd name="connsiteY23196" fmla="*/ 4120092 h 5973007"/>
              <a:gd name="connsiteX23197" fmla="*/ 5088914 w 6884782"/>
              <a:gd name="connsiteY23197" fmla="*/ 4122673 h 5973007"/>
              <a:gd name="connsiteX23198" fmla="*/ 5086126 w 6884782"/>
              <a:gd name="connsiteY23198" fmla="*/ 4119266 h 5973007"/>
              <a:gd name="connsiteX23199" fmla="*/ 5087211 w 6884782"/>
              <a:gd name="connsiteY23199" fmla="*/ 4114722 h 5973007"/>
              <a:gd name="connsiteX23200" fmla="*/ 5088140 w 6884782"/>
              <a:gd name="connsiteY23200" fmla="*/ 4113897 h 5973007"/>
              <a:gd name="connsiteX23201" fmla="*/ 5092477 w 6884782"/>
              <a:gd name="connsiteY23201" fmla="*/ 4110799 h 5973007"/>
              <a:gd name="connsiteX23202" fmla="*/ 5092787 w 6884782"/>
              <a:gd name="connsiteY23202" fmla="*/ 4108527 h 5973007"/>
              <a:gd name="connsiteX23203" fmla="*/ 5096194 w 6884782"/>
              <a:gd name="connsiteY23203" fmla="*/ 4108114 h 5973007"/>
              <a:gd name="connsiteX23204" fmla="*/ 5759306 w 6884782"/>
              <a:gd name="connsiteY23204" fmla="*/ 4107804 h 5973007"/>
              <a:gd name="connsiteX23205" fmla="*/ 5761629 w 6884782"/>
              <a:gd name="connsiteY23205" fmla="*/ 4110799 h 5973007"/>
              <a:gd name="connsiteX23206" fmla="*/ 5759925 w 6884782"/>
              <a:gd name="connsiteY23206" fmla="*/ 4111625 h 5973007"/>
              <a:gd name="connsiteX23207" fmla="*/ 5758376 w 6884782"/>
              <a:gd name="connsiteY23207" fmla="*/ 4111108 h 5973007"/>
              <a:gd name="connsiteX23208" fmla="*/ 5757912 w 6884782"/>
              <a:gd name="connsiteY23208" fmla="*/ 4109663 h 5973007"/>
              <a:gd name="connsiteX23209" fmla="*/ 5759306 w 6884782"/>
              <a:gd name="connsiteY23209" fmla="*/ 4107804 h 5973007"/>
              <a:gd name="connsiteX23210" fmla="*/ 5193528 w 6884782"/>
              <a:gd name="connsiteY23210" fmla="*/ 4107507 h 5973007"/>
              <a:gd name="connsiteX23211" fmla="*/ 5201524 w 6884782"/>
              <a:gd name="connsiteY23211" fmla="*/ 4108527 h 5973007"/>
              <a:gd name="connsiteX23212" fmla="*/ 5202144 w 6884782"/>
              <a:gd name="connsiteY23212" fmla="*/ 4115755 h 5973007"/>
              <a:gd name="connsiteX23213" fmla="*/ 5198736 w 6884782"/>
              <a:gd name="connsiteY23213" fmla="*/ 4116271 h 5973007"/>
              <a:gd name="connsiteX23214" fmla="*/ 5199046 w 6884782"/>
              <a:gd name="connsiteY23214" fmla="*/ 4117510 h 5973007"/>
              <a:gd name="connsiteX23215" fmla="*/ 5198117 w 6884782"/>
              <a:gd name="connsiteY23215" fmla="*/ 4120608 h 5973007"/>
              <a:gd name="connsiteX23216" fmla="*/ 5193934 w 6884782"/>
              <a:gd name="connsiteY23216" fmla="*/ 4117510 h 5973007"/>
              <a:gd name="connsiteX23217" fmla="*/ 5193779 w 6884782"/>
              <a:gd name="connsiteY23217" fmla="*/ 4117097 h 5973007"/>
              <a:gd name="connsiteX23218" fmla="*/ 5192230 w 6884782"/>
              <a:gd name="connsiteY23218" fmla="*/ 4117407 h 5973007"/>
              <a:gd name="connsiteX23219" fmla="*/ 5189132 w 6884782"/>
              <a:gd name="connsiteY23219" fmla="*/ 4116478 h 5973007"/>
              <a:gd name="connsiteX23220" fmla="*/ 5193528 w 6884782"/>
              <a:gd name="connsiteY23220" fmla="*/ 4107507 h 5973007"/>
              <a:gd name="connsiteX23221" fmla="*/ 712794 w 6884782"/>
              <a:gd name="connsiteY23221" fmla="*/ 4106547 h 5973007"/>
              <a:gd name="connsiteX23222" fmla="*/ 715117 w 6884782"/>
              <a:gd name="connsiteY23222" fmla="*/ 4107064 h 5973007"/>
              <a:gd name="connsiteX23223" fmla="*/ 715117 w 6884782"/>
              <a:gd name="connsiteY23223" fmla="*/ 4109026 h 5973007"/>
              <a:gd name="connsiteX23224" fmla="*/ 715892 w 6884782"/>
              <a:gd name="connsiteY23224" fmla="*/ 4110471 h 5973007"/>
              <a:gd name="connsiteX23225" fmla="*/ 715117 w 6884782"/>
              <a:gd name="connsiteY23225" fmla="*/ 4110987 h 5973007"/>
              <a:gd name="connsiteX23226" fmla="*/ 714653 w 6884782"/>
              <a:gd name="connsiteY23226" fmla="*/ 4112227 h 5973007"/>
              <a:gd name="connsiteX23227" fmla="*/ 710935 w 6884782"/>
              <a:gd name="connsiteY23227" fmla="*/ 4112536 h 5973007"/>
              <a:gd name="connsiteX23228" fmla="*/ 709232 w 6884782"/>
              <a:gd name="connsiteY23228" fmla="*/ 4111710 h 5973007"/>
              <a:gd name="connsiteX23229" fmla="*/ 708766 w 6884782"/>
              <a:gd name="connsiteY23229" fmla="*/ 4110161 h 5973007"/>
              <a:gd name="connsiteX23230" fmla="*/ 709851 w 6884782"/>
              <a:gd name="connsiteY23230" fmla="*/ 4108406 h 5973007"/>
              <a:gd name="connsiteX23231" fmla="*/ 712794 w 6884782"/>
              <a:gd name="connsiteY23231" fmla="*/ 4106547 h 5973007"/>
              <a:gd name="connsiteX23232" fmla="*/ 5114782 w 6884782"/>
              <a:gd name="connsiteY23232" fmla="*/ 4106049 h 5973007"/>
              <a:gd name="connsiteX23233" fmla="*/ 5118809 w 6884782"/>
              <a:gd name="connsiteY23233" fmla="*/ 4112658 h 5973007"/>
              <a:gd name="connsiteX23234" fmla="*/ 5115247 w 6884782"/>
              <a:gd name="connsiteY23234" fmla="*/ 4114103 h 5973007"/>
              <a:gd name="connsiteX23235" fmla="*/ 5112458 w 6884782"/>
              <a:gd name="connsiteY23235" fmla="*/ 4112244 h 5973007"/>
              <a:gd name="connsiteX23236" fmla="*/ 5114782 w 6884782"/>
              <a:gd name="connsiteY23236" fmla="*/ 4106049 h 5973007"/>
              <a:gd name="connsiteX23237" fmla="*/ 5420547 w 6884782"/>
              <a:gd name="connsiteY23237" fmla="*/ 4105842 h 5973007"/>
              <a:gd name="connsiteX23238" fmla="*/ 5423181 w 6884782"/>
              <a:gd name="connsiteY23238" fmla="*/ 4105946 h 5973007"/>
              <a:gd name="connsiteX23239" fmla="*/ 5422406 w 6884782"/>
              <a:gd name="connsiteY23239" fmla="*/ 4107598 h 5973007"/>
              <a:gd name="connsiteX23240" fmla="*/ 5419153 w 6884782"/>
              <a:gd name="connsiteY23240" fmla="*/ 4111831 h 5973007"/>
              <a:gd name="connsiteX23241" fmla="*/ 5418069 w 6884782"/>
              <a:gd name="connsiteY23241" fmla="*/ 4109147 h 5973007"/>
              <a:gd name="connsiteX23242" fmla="*/ 5419773 w 6884782"/>
              <a:gd name="connsiteY23242" fmla="*/ 4107495 h 5973007"/>
              <a:gd name="connsiteX23243" fmla="*/ 5420547 w 6884782"/>
              <a:gd name="connsiteY23243" fmla="*/ 4105842 h 5973007"/>
              <a:gd name="connsiteX23244" fmla="*/ 5340156 w 6884782"/>
              <a:gd name="connsiteY23244" fmla="*/ 4105842 h 5973007"/>
              <a:gd name="connsiteX23245" fmla="*/ 5340931 w 6884782"/>
              <a:gd name="connsiteY23245" fmla="*/ 4106255 h 5973007"/>
              <a:gd name="connsiteX23246" fmla="*/ 5340776 w 6884782"/>
              <a:gd name="connsiteY23246" fmla="*/ 4108217 h 5973007"/>
              <a:gd name="connsiteX23247" fmla="*/ 5336749 w 6884782"/>
              <a:gd name="connsiteY23247" fmla="*/ 4115239 h 5973007"/>
              <a:gd name="connsiteX23248" fmla="*/ 5335974 w 6884782"/>
              <a:gd name="connsiteY23248" fmla="*/ 4116788 h 5973007"/>
              <a:gd name="connsiteX23249" fmla="*/ 5333806 w 6884782"/>
              <a:gd name="connsiteY23249" fmla="*/ 4117407 h 5973007"/>
              <a:gd name="connsiteX23250" fmla="*/ 5336284 w 6884782"/>
              <a:gd name="connsiteY23250" fmla="*/ 4110282 h 5973007"/>
              <a:gd name="connsiteX23251" fmla="*/ 5337988 w 6884782"/>
              <a:gd name="connsiteY23251" fmla="*/ 4106462 h 5973007"/>
              <a:gd name="connsiteX23252" fmla="*/ 5340156 w 6884782"/>
              <a:gd name="connsiteY23252" fmla="*/ 4105842 h 5973007"/>
              <a:gd name="connsiteX23253" fmla="*/ 5315838 w 6884782"/>
              <a:gd name="connsiteY23253" fmla="*/ 4105739 h 5973007"/>
              <a:gd name="connsiteX23254" fmla="*/ 5317851 w 6884782"/>
              <a:gd name="connsiteY23254" fmla="*/ 4107495 h 5973007"/>
              <a:gd name="connsiteX23255" fmla="*/ 5315838 w 6884782"/>
              <a:gd name="connsiteY23255" fmla="*/ 4109560 h 5973007"/>
              <a:gd name="connsiteX23256" fmla="*/ 5313359 w 6884782"/>
              <a:gd name="connsiteY23256" fmla="*/ 4110282 h 5973007"/>
              <a:gd name="connsiteX23257" fmla="*/ 5312430 w 6884782"/>
              <a:gd name="connsiteY23257" fmla="*/ 4109250 h 5973007"/>
              <a:gd name="connsiteX23258" fmla="*/ 5311810 w 6884782"/>
              <a:gd name="connsiteY23258" fmla="*/ 4107288 h 5973007"/>
              <a:gd name="connsiteX23259" fmla="*/ 5315838 w 6884782"/>
              <a:gd name="connsiteY23259" fmla="*/ 4105739 h 5973007"/>
              <a:gd name="connsiteX23260" fmla="*/ 692502 w 6884782"/>
              <a:gd name="connsiteY23260" fmla="*/ 4103863 h 5973007"/>
              <a:gd name="connsiteX23261" fmla="*/ 708766 w 6884782"/>
              <a:gd name="connsiteY23261" fmla="*/ 4111297 h 5973007"/>
              <a:gd name="connsiteX23262" fmla="*/ 705669 w 6884782"/>
              <a:gd name="connsiteY23262" fmla="*/ 4112949 h 5973007"/>
              <a:gd name="connsiteX23263" fmla="*/ 701641 w 6884782"/>
              <a:gd name="connsiteY23263" fmla="*/ 4112743 h 5973007"/>
              <a:gd name="connsiteX23264" fmla="*/ 694051 w 6884782"/>
              <a:gd name="connsiteY23264" fmla="*/ 4109542 h 5973007"/>
              <a:gd name="connsiteX23265" fmla="*/ 692502 w 6884782"/>
              <a:gd name="connsiteY23265" fmla="*/ 4103863 h 5973007"/>
              <a:gd name="connsiteX23266" fmla="*/ 5382753 w 6884782"/>
              <a:gd name="connsiteY23266" fmla="*/ 4102229 h 5973007"/>
              <a:gd name="connsiteX23267" fmla="*/ 5368657 w 6884782"/>
              <a:gd name="connsiteY23267" fmla="*/ 4109457 h 5973007"/>
              <a:gd name="connsiteX23268" fmla="*/ 5368502 w 6884782"/>
              <a:gd name="connsiteY23268" fmla="*/ 4105946 h 5973007"/>
              <a:gd name="connsiteX23269" fmla="*/ 5370206 w 6884782"/>
              <a:gd name="connsiteY23269" fmla="*/ 4105946 h 5973007"/>
              <a:gd name="connsiteX23270" fmla="*/ 5382753 w 6884782"/>
              <a:gd name="connsiteY23270" fmla="*/ 4102229 h 5973007"/>
              <a:gd name="connsiteX23271" fmla="*/ 1416892 w 6884782"/>
              <a:gd name="connsiteY23271" fmla="*/ 4102104 h 5973007"/>
              <a:gd name="connsiteX23272" fmla="*/ 1415093 w 6884782"/>
              <a:gd name="connsiteY23272" fmla="*/ 4103140 h 5973007"/>
              <a:gd name="connsiteX23273" fmla="*/ 1411376 w 6884782"/>
              <a:gd name="connsiteY23273" fmla="*/ 4105411 h 5973007"/>
              <a:gd name="connsiteX23274" fmla="*/ 1410292 w 6884782"/>
              <a:gd name="connsiteY23274" fmla="*/ 4108406 h 5973007"/>
              <a:gd name="connsiteX23275" fmla="*/ 1406884 w 6884782"/>
              <a:gd name="connsiteY23275" fmla="*/ 4113466 h 5973007"/>
              <a:gd name="connsiteX23276" fmla="*/ 1405180 w 6884782"/>
              <a:gd name="connsiteY23276" fmla="*/ 4109748 h 5973007"/>
              <a:gd name="connsiteX23277" fmla="*/ 1400224 w 6884782"/>
              <a:gd name="connsiteY23277" fmla="*/ 4114911 h 5973007"/>
              <a:gd name="connsiteX23278" fmla="*/ 1405335 w 6884782"/>
              <a:gd name="connsiteY23278" fmla="*/ 4113362 h 5973007"/>
              <a:gd name="connsiteX23279" fmla="*/ 1404871 w 6884782"/>
              <a:gd name="connsiteY23279" fmla="*/ 4118732 h 5973007"/>
              <a:gd name="connsiteX23280" fmla="*/ 1403012 w 6884782"/>
              <a:gd name="connsiteY23280" fmla="*/ 4119454 h 5973007"/>
              <a:gd name="connsiteX23281" fmla="*/ 1403786 w 6884782"/>
              <a:gd name="connsiteY23281" fmla="*/ 4119764 h 5973007"/>
              <a:gd name="connsiteX23282" fmla="*/ 1404560 w 6884782"/>
              <a:gd name="connsiteY23282" fmla="*/ 4119971 h 5973007"/>
              <a:gd name="connsiteX23283" fmla="*/ 1405490 w 6884782"/>
              <a:gd name="connsiteY23283" fmla="*/ 4118318 h 5973007"/>
              <a:gd name="connsiteX23284" fmla="*/ 1408898 w 6884782"/>
              <a:gd name="connsiteY23284" fmla="*/ 4116976 h 5973007"/>
              <a:gd name="connsiteX23285" fmla="*/ 1409827 w 6884782"/>
              <a:gd name="connsiteY23285" fmla="*/ 4118835 h 5973007"/>
              <a:gd name="connsiteX23286" fmla="*/ 1406264 w 6884782"/>
              <a:gd name="connsiteY23286" fmla="*/ 4121003 h 5973007"/>
              <a:gd name="connsiteX23287" fmla="*/ 1406264 w 6884782"/>
              <a:gd name="connsiteY23287" fmla="*/ 4121829 h 5973007"/>
              <a:gd name="connsiteX23288" fmla="*/ 1406419 w 6884782"/>
              <a:gd name="connsiteY23288" fmla="*/ 4122036 h 5973007"/>
              <a:gd name="connsiteX23289" fmla="*/ 1407504 w 6884782"/>
              <a:gd name="connsiteY23289" fmla="*/ 4123378 h 5973007"/>
              <a:gd name="connsiteX23290" fmla="*/ 1410602 w 6884782"/>
              <a:gd name="connsiteY23290" fmla="*/ 4121003 h 5973007"/>
              <a:gd name="connsiteX23291" fmla="*/ 1423543 w 6884782"/>
              <a:gd name="connsiteY23291" fmla="*/ 4111626 h 5973007"/>
              <a:gd name="connsiteX23292" fmla="*/ 1418401 w 6884782"/>
              <a:gd name="connsiteY23292" fmla="*/ 4104184 h 5973007"/>
              <a:gd name="connsiteX23293" fmla="*/ 5664509 w 6884782"/>
              <a:gd name="connsiteY23293" fmla="*/ 4101609 h 5973007"/>
              <a:gd name="connsiteX23294" fmla="*/ 5670705 w 6884782"/>
              <a:gd name="connsiteY23294" fmla="*/ 4109766 h 5973007"/>
              <a:gd name="connsiteX23295" fmla="*/ 5668226 w 6884782"/>
              <a:gd name="connsiteY23295" fmla="*/ 4110076 h 5973007"/>
              <a:gd name="connsiteX23296" fmla="*/ 5664509 w 6884782"/>
              <a:gd name="connsiteY23296" fmla="*/ 4101609 h 5973007"/>
              <a:gd name="connsiteX23297" fmla="*/ 5290435 w 6884782"/>
              <a:gd name="connsiteY23297" fmla="*/ 4100680 h 5973007"/>
              <a:gd name="connsiteX23298" fmla="*/ 5292758 w 6884782"/>
              <a:gd name="connsiteY23298" fmla="*/ 4108940 h 5973007"/>
              <a:gd name="connsiteX23299" fmla="*/ 5288421 w 6884782"/>
              <a:gd name="connsiteY23299" fmla="*/ 4110902 h 5973007"/>
              <a:gd name="connsiteX23300" fmla="*/ 5282999 w 6884782"/>
              <a:gd name="connsiteY23300" fmla="*/ 4109973 h 5973007"/>
              <a:gd name="connsiteX23301" fmla="*/ 5290435 w 6884782"/>
              <a:gd name="connsiteY23301" fmla="*/ 4100680 h 5973007"/>
              <a:gd name="connsiteX23302" fmla="*/ 5389258 w 6884782"/>
              <a:gd name="connsiteY23302" fmla="*/ 4098305 h 5973007"/>
              <a:gd name="connsiteX23303" fmla="*/ 5385851 w 6884782"/>
              <a:gd name="connsiteY23303" fmla="*/ 4100783 h 5973007"/>
              <a:gd name="connsiteX23304" fmla="*/ 5385076 w 6884782"/>
              <a:gd name="connsiteY23304" fmla="*/ 4099854 h 5973007"/>
              <a:gd name="connsiteX23305" fmla="*/ 5389258 w 6884782"/>
              <a:gd name="connsiteY23305" fmla="*/ 4098305 h 5973007"/>
              <a:gd name="connsiteX23306" fmla="*/ 5375995 w 6884782"/>
              <a:gd name="connsiteY23306" fmla="*/ 4097621 h 5973007"/>
              <a:gd name="connsiteX23307" fmla="*/ 5380739 w 6884782"/>
              <a:gd name="connsiteY23307" fmla="*/ 4097892 h 5973007"/>
              <a:gd name="connsiteX23308" fmla="*/ 5380739 w 6884782"/>
              <a:gd name="connsiteY23308" fmla="*/ 4098718 h 5973007"/>
              <a:gd name="connsiteX23309" fmla="*/ 5372065 w 6884782"/>
              <a:gd name="connsiteY23309" fmla="*/ 4100370 h 5973007"/>
              <a:gd name="connsiteX23310" fmla="*/ 5368967 w 6884782"/>
              <a:gd name="connsiteY23310" fmla="*/ 4099957 h 5973007"/>
              <a:gd name="connsiteX23311" fmla="*/ 5369742 w 6884782"/>
              <a:gd name="connsiteY23311" fmla="*/ 4099957 h 5973007"/>
              <a:gd name="connsiteX23312" fmla="*/ 5368812 w 6884782"/>
              <a:gd name="connsiteY23312" fmla="*/ 4099131 h 5973007"/>
              <a:gd name="connsiteX23313" fmla="*/ 5375995 w 6884782"/>
              <a:gd name="connsiteY23313" fmla="*/ 4097621 h 5973007"/>
              <a:gd name="connsiteX23314" fmla="*/ 5634459 w 6884782"/>
              <a:gd name="connsiteY23314" fmla="*/ 4097375 h 5973007"/>
              <a:gd name="connsiteX23315" fmla="*/ 5633065 w 6884782"/>
              <a:gd name="connsiteY23315" fmla="*/ 4109043 h 5973007"/>
              <a:gd name="connsiteX23316" fmla="*/ 5629347 w 6884782"/>
              <a:gd name="connsiteY23316" fmla="*/ 4104707 h 5973007"/>
              <a:gd name="connsiteX23317" fmla="*/ 5634459 w 6884782"/>
              <a:gd name="connsiteY23317" fmla="*/ 4097375 h 5973007"/>
              <a:gd name="connsiteX23318" fmla="*/ 5852088 w 6884782"/>
              <a:gd name="connsiteY23318" fmla="*/ 4097272 h 5973007"/>
              <a:gd name="connsiteX23319" fmla="*/ 5845893 w 6884782"/>
              <a:gd name="connsiteY23319" fmla="*/ 4102848 h 5973007"/>
              <a:gd name="connsiteX23320" fmla="*/ 5838922 w 6884782"/>
              <a:gd name="connsiteY23320" fmla="*/ 4108114 h 5973007"/>
              <a:gd name="connsiteX23321" fmla="*/ 5844653 w 6884782"/>
              <a:gd name="connsiteY23321" fmla="*/ 4127010 h 5973007"/>
              <a:gd name="connsiteX23322" fmla="*/ 5846512 w 6884782"/>
              <a:gd name="connsiteY23322" fmla="*/ 4133102 h 5973007"/>
              <a:gd name="connsiteX23323" fmla="*/ 5849145 w 6884782"/>
              <a:gd name="connsiteY23323" fmla="*/ 4130521 h 5973007"/>
              <a:gd name="connsiteX23324" fmla="*/ 5856271 w 6884782"/>
              <a:gd name="connsiteY23324" fmla="*/ 4128146 h 5973007"/>
              <a:gd name="connsiteX23325" fmla="*/ 5857200 w 6884782"/>
              <a:gd name="connsiteY23325" fmla="*/ 4128146 h 5973007"/>
              <a:gd name="connsiteX23326" fmla="*/ 5857200 w 6884782"/>
              <a:gd name="connsiteY23326" fmla="*/ 4127939 h 5973007"/>
              <a:gd name="connsiteX23327" fmla="*/ 5855341 w 6884782"/>
              <a:gd name="connsiteY23327" fmla="*/ 4123499 h 5973007"/>
              <a:gd name="connsiteX23328" fmla="*/ 5859369 w 6884782"/>
              <a:gd name="connsiteY23328" fmla="*/ 4124015 h 5973007"/>
              <a:gd name="connsiteX23329" fmla="*/ 5858129 w 6884782"/>
              <a:gd name="connsiteY23329" fmla="*/ 4118233 h 5973007"/>
              <a:gd name="connsiteX23330" fmla="*/ 5857820 w 6884782"/>
              <a:gd name="connsiteY23330" fmla="*/ 4117820 h 5973007"/>
              <a:gd name="connsiteX23331" fmla="*/ 5856581 w 6884782"/>
              <a:gd name="connsiteY23331" fmla="*/ 4119369 h 5973007"/>
              <a:gd name="connsiteX23332" fmla="*/ 5856581 w 6884782"/>
              <a:gd name="connsiteY23332" fmla="*/ 4121744 h 5973007"/>
              <a:gd name="connsiteX23333" fmla="*/ 5853483 w 6884782"/>
              <a:gd name="connsiteY23333" fmla="*/ 4104397 h 5973007"/>
              <a:gd name="connsiteX23334" fmla="*/ 5853173 w 6884782"/>
              <a:gd name="connsiteY23334" fmla="*/ 4104294 h 5973007"/>
              <a:gd name="connsiteX23335" fmla="*/ 5853328 w 6884782"/>
              <a:gd name="connsiteY23335" fmla="*/ 4103984 h 5973007"/>
              <a:gd name="connsiteX23336" fmla="*/ 5585512 w 6884782"/>
              <a:gd name="connsiteY23336" fmla="*/ 4097169 h 5973007"/>
              <a:gd name="connsiteX23337" fmla="*/ 5590624 w 6884782"/>
              <a:gd name="connsiteY23337" fmla="*/ 4099957 h 5973007"/>
              <a:gd name="connsiteX23338" fmla="*/ 5587525 w 6884782"/>
              <a:gd name="connsiteY23338" fmla="*/ 4104191 h 5973007"/>
              <a:gd name="connsiteX23339" fmla="*/ 5585512 w 6884782"/>
              <a:gd name="connsiteY23339" fmla="*/ 4097169 h 5973007"/>
              <a:gd name="connsiteX23340" fmla="*/ 688166 w 6884782"/>
              <a:gd name="connsiteY23340" fmla="*/ 4096428 h 5973007"/>
              <a:gd name="connsiteX23341" fmla="*/ 690489 w 6884782"/>
              <a:gd name="connsiteY23341" fmla="*/ 4112743 h 5973007"/>
              <a:gd name="connsiteX23342" fmla="*/ 688630 w 6884782"/>
              <a:gd name="connsiteY23342" fmla="*/ 4112846 h 5973007"/>
              <a:gd name="connsiteX23343" fmla="*/ 687081 w 6884782"/>
              <a:gd name="connsiteY23343" fmla="*/ 4111194 h 5973007"/>
              <a:gd name="connsiteX23344" fmla="*/ 685532 w 6884782"/>
              <a:gd name="connsiteY23344" fmla="*/ 4102934 h 5973007"/>
              <a:gd name="connsiteX23345" fmla="*/ 685532 w 6884782"/>
              <a:gd name="connsiteY23345" fmla="*/ 4101075 h 5973007"/>
              <a:gd name="connsiteX23346" fmla="*/ 685532 w 6884782"/>
              <a:gd name="connsiteY23346" fmla="*/ 4099113 h 5973007"/>
              <a:gd name="connsiteX23347" fmla="*/ 688166 w 6884782"/>
              <a:gd name="connsiteY23347" fmla="*/ 4096428 h 5973007"/>
              <a:gd name="connsiteX23348" fmla="*/ 5795396 w 6884782"/>
              <a:gd name="connsiteY23348" fmla="*/ 4096343 h 5973007"/>
              <a:gd name="connsiteX23349" fmla="*/ 5800508 w 6884782"/>
              <a:gd name="connsiteY23349" fmla="*/ 4098924 h 5973007"/>
              <a:gd name="connsiteX23350" fmla="*/ 5801283 w 6884782"/>
              <a:gd name="connsiteY23350" fmla="*/ 4101506 h 5973007"/>
              <a:gd name="connsiteX23351" fmla="*/ 5799579 w 6884782"/>
              <a:gd name="connsiteY23351" fmla="*/ 4101506 h 5973007"/>
              <a:gd name="connsiteX23352" fmla="*/ 5798649 w 6884782"/>
              <a:gd name="connsiteY23352" fmla="*/ 4101093 h 5973007"/>
              <a:gd name="connsiteX23353" fmla="*/ 5797875 w 6884782"/>
              <a:gd name="connsiteY23353" fmla="*/ 4099234 h 5973007"/>
              <a:gd name="connsiteX23354" fmla="*/ 5795241 w 6884782"/>
              <a:gd name="connsiteY23354" fmla="*/ 4097995 h 5973007"/>
              <a:gd name="connsiteX23355" fmla="*/ 5795396 w 6884782"/>
              <a:gd name="connsiteY23355" fmla="*/ 4096343 h 5973007"/>
              <a:gd name="connsiteX23356" fmla="*/ 5678450 w 6884782"/>
              <a:gd name="connsiteY23356" fmla="*/ 4096343 h 5973007"/>
              <a:gd name="connsiteX23357" fmla="*/ 5684646 w 6884782"/>
              <a:gd name="connsiteY23357" fmla="*/ 4105636 h 5973007"/>
              <a:gd name="connsiteX23358" fmla="*/ 5679379 w 6884782"/>
              <a:gd name="connsiteY23358" fmla="*/ 4105533 h 5973007"/>
              <a:gd name="connsiteX23359" fmla="*/ 5677365 w 6884782"/>
              <a:gd name="connsiteY23359" fmla="*/ 4101402 h 5973007"/>
              <a:gd name="connsiteX23360" fmla="*/ 5678450 w 6884782"/>
              <a:gd name="connsiteY23360" fmla="*/ 4096343 h 5973007"/>
              <a:gd name="connsiteX23361" fmla="*/ 5143380 w 6884782"/>
              <a:gd name="connsiteY23361" fmla="*/ 4095917 h 5973007"/>
              <a:gd name="connsiteX23362" fmla="*/ 5146226 w 6884782"/>
              <a:gd name="connsiteY23362" fmla="*/ 4100163 h 5973007"/>
              <a:gd name="connsiteX23363" fmla="*/ 5142663 w 6884782"/>
              <a:gd name="connsiteY23363" fmla="*/ 4100680 h 5973007"/>
              <a:gd name="connsiteX23364" fmla="*/ 5141114 w 6884782"/>
              <a:gd name="connsiteY23364" fmla="*/ 4099957 h 5973007"/>
              <a:gd name="connsiteX23365" fmla="*/ 5143380 w 6884782"/>
              <a:gd name="connsiteY23365" fmla="*/ 4095917 h 5973007"/>
              <a:gd name="connsiteX23366" fmla="*/ 5221506 w 6884782"/>
              <a:gd name="connsiteY23366" fmla="*/ 4094794 h 5973007"/>
              <a:gd name="connsiteX23367" fmla="*/ 5246754 w 6884782"/>
              <a:gd name="connsiteY23367" fmla="*/ 4100060 h 5973007"/>
              <a:gd name="connsiteX23368" fmla="*/ 5241332 w 6884782"/>
              <a:gd name="connsiteY23368" fmla="*/ 4103674 h 5973007"/>
              <a:gd name="connsiteX23369" fmla="*/ 5221506 w 6884782"/>
              <a:gd name="connsiteY23369" fmla="*/ 4094794 h 5973007"/>
              <a:gd name="connsiteX23370" fmla="*/ 5804845 w 6884782"/>
              <a:gd name="connsiteY23370" fmla="*/ 4093452 h 5973007"/>
              <a:gd name="connsiteX23371" fmla="*/ 5806394 w 6884782"/>
              <a:gd name="connsiteY23371" fmla="*/ 4095517 h 5973007"/>
              <a:gd name="connsiteX23372" fmla="*/ 5808098 w 6884782"/>
              <a:gd name="connsiteY23372" fmla="*/ 4096652 h 5973007"/>
              <a:gd name="connsiteX23373" fmla="*/ 5807943 w 6884782"/>
              <a:gd name="connsiteY23373" fmla="*/ 4099337 h 5973007"/>
              <a:gd name="connsiteX23374" fmla="*/ 5806239 w 6884782"/>
              <a:gd name="connsiteY23374" fmla="*/ 4098201 h 5973007"/>
              <a:gd name="connsiteX23375" fmla="*/ 5802367 w 6884782"/>
              <a:gd name="connsiteY23375" fmla="*/ 4093968 h 5973007"/>
              <a:gd name="connsiteX23376" fmla="*/ 5804845 w 6884782"/>
              <a:gd name="connsiteY23376" fmla="*/ 4093452 h 5973007"/>
              <a:gd name="connsiteX23377" fmla="*/ 5741337 w 6884782"/>
              <a:gd name="connsiteY23377" fmla="*/ 4093039 h 5973007"/>
              <a:gd name="connsiteX23378" fmla="*/ 5763023 w 6884782"/>
              <a:gd name="connsiteY23378" fmla="*/ 4107288 h 5973007"/>
              <a:gd name="connsiteX23379" fmla="*/ 5759151 w 6884782"/>
              <a:gd name="connsiteY23379" fmla="*/ 4104810 h 5973007"/>
              <a:gd name="connsiteX23380" fmla="*/ 5758686 w 6884782"/>
              <a:gd name="connsiteY23380" fmla="*/ 4106875 h 5973007"/>
              <a:gd name="connsiteX23381" fmla="*/ 5753574 w 6884782"/>
              <a:gd name="connsiteY23381" fmla="*/ 4109147 h 5973007"/>
              <a:gd name="connsiteX23382" fmla="*/ 5751716 w 6884782"/>
              <a:gd name="connsiteY23382" fmla="*/ 4108321 h 5973007"/>
              <a:gd name="connsiteX23383" fmla="*/ 5751096 w 6884782"/>
              <a:gd name="connsiteY23383" fmla="*/ 4106462 h 5973007"/>
              <a:gd name="connsiteX23384" fmla="*/ 5750631 w 6884782"/>
              <a:gd name="connsiteY23384" fmla="*/ 4104294 h 5973007"/>
              <a:gd name="connsiteX23385" fmla="*/ 5751870 w 6884782"/>
              <a:gd name="connsiteY23385" fmla="*/ 4101093 h 5973007"/>
              <a:gd name="connsiteX23386" fmla="*/ 5746604 w 6884782"/>
              <a:gd name="connsiteY23386" fmla="*/ 4098098 h 5973007"/>
              <a:gd name="connsiteX23387" fmla="*/ 5741337 w 6884782"/>
              <a:gd name="connsiteY23387" fmla="*/ 4093039 h 5973007"/>
              <a:gd name="connsiteX23388" fmla="*/ 5465777 w 6884782"/>
              <a:gd name="connsiteY23388" fmla="*/ 4092935 h 5973007"/>
              <a:gd name="connsiteX23389" fmla="*/ 5472902 w 6884782"/>
              <a:gd name="connsiteY23389" fmla="*/ 4094174 h 5973007"/>
              <a:gd name="connsiteX23390" fmla="*/ 5473057 w 6884782"/>
              <a:gd name="connsiteY23390" fmla="*/ 4096136 h 5973007"/>
              <a:gd name="connsiteX23391" fmla="*/ 5472593 w 6884782"/>
              <a:gd name="connsiteY23391" fmla="*/ 4098201 h 5973007"/>
              <a:gd name="connsiteX23392" fmla="*/ 5469495 w 6884782"/>
              <a:gd name="connsiteY23392" fmla="*/ 4101712 h 5973007"/>
              <a:gd name="connsiteX23393" fmla="*/ 5467016 w 6884782"/>
              <a:gd name="connsiteY23393" fmla="*/ 4102022 h 5973007"/>
              <a:gd name="connsiteX23394" fmla="*/ 5465777 w 6884782"/>
              <a:gd name="connsiteY23394" fmla="*/ 4101506 h 5973007"/>
              <a:gd name="connsiteX23395" fmla="*/ 5464228 w 6884782"/>
              <a:gd name="connsiteY23395" fmla="*/ 4100576 h 5973007"/>
              <a:gd name="connsiteX23396" fmla="*/ 5465777 w 6884782"/>
              <a:gd name="connsiteY23396" fmla="*/ 4092935 h 5973007"/>
              <a:gd name="connsiteX23397" fmla="*/ 5422096 w 6884782"/>
              <a:gd name="connsiteY23397" fmla="*/ 4092109 h 5973007"/>
              <a:gd name="connsiteX23398" fmla="*/ 5425194 w 6884782"/>
              <a:gd name="connsiteY23398" fmla="*/ 4093865 h 5973007"/>
              <a:gd name="connsiteX23399" fmla="*/ 5426124 w 6884782"/>
              <a:gd name="connsiteY23399" fmla="*/ 4101609 h 5973007"/>
              <a:gd name="connsiteX23400" fmla="*/ 5424730 w 6884782"/>
              <a:gd name="connsiteY23400" fmla="*/ 4103158 h 5973007"/>
              <a:gd name="connsiteX23401" fmla="*/ 5421322 w 6884782"/>
              <a:gd name="connsiteY23401" fmla="*/ 4100163 h 5973007"/>
              <a:gd name="connsiteX23402" fmla="*/ 5422096 w 6884782"/>
              <a:gd name="connsiteY23402" fmla="*/ 4092109 h 5973007"/>
              <a:gd name="connsiteX23403" fmla="*/ 5597807 w 6884782"/>
              <a:gd name="connsiteY23403" fmla="*/ 4091670 h 5973007"/>
              <a:gd name="connsiteX23404" fmla="*/ 5599453 w 6884782"/>
              <a:gd name="connsiteY23404" fmla="*/ 4094588 h 5973007"/>
              <a:gd name="connsiteX23405" fmla="*/ 5597594 w 6884782"/>
              <a:gd name="connsiteY23405" fmla="*/ 4096756 h 5973007"/>
              <a:gd name="connsiteX23406" fmla="*/ 5594186 w 6884782"/>
              <a:gd name="connsiteY23406" fmla="*/ 4092935 h 5973007"/>
              <a:gd name="connsiteX23407" fmla="*/ 5597807 w 6884782"/>
              <a:gd name="connsiteY23407" fmla="*/ 4091670 h 5973007"/>
              <a:gd name="connsiteX23408" fmla="*/ 5542509 w 6884782"/>
              <a:gd name="connsiteY23408" fmla="*/ 4090754 h 5973007"/>
              <a:gd name="connsiteX23409" fmla="*/ 5556856 w 6884782"/>
              <a:gd name="connsiteY23409" fmla="*/ 4093968 h 5973007"/>
              <a:gd name="connsiteX23410" fmla="*/ 5557940 w 6884782"/>
              <a:gd name="connsiteY23410" fmla="*/ 4096549 h 5973007"/>
              <a:gd name="connsiteX23411" fmla="*/ 5535016 w 6884782"/>
              <a:gd name="connsiteY23411" fmla="*/ 4116581 h 5973007"/>
              <a:gd name="connsiteX23412" fmla="*/ 5529594 w 6884782"/>
              <a:gd name="connsiteY23412" fmla="*/ 4115342 h 5973007"/>
              <a:gd name="connsiteX23413" fmla="*/ 5526187 w 6884782"/>
              <a:gd name="connsiteY23413" fmla="*/ 4113380 h 5973007"/>
              <a:gd name="connsiteX23414" fmla="*/ 5527116 w 6884782"/>
              <a:gd name="connsiteY23414" fmla="*/ 4115239 h 5973007"/>
              <a:gd name="connsiteX23415" fmla="*/ 5527735 w 6884782"/>
              <a:gd name="connsiteY23415" fmla="*/ 4115445 h 5973007"/>
              <a:gd name="connsiteX23416" fmla="*/ 5536255 w 6884782"/>
              <a:gd name="connsiteY23416" fmla="*/ 4122673 h 5973007"/>
              <a:gd name="connsiteX23417" fmla="*/ 5540282 w 6884782"/>
              <a:gd name="connsiteY23417" fmla="*/ 4120195 h 5973007"/>
              <a:gd name="connsiteX23418" fmla="*/ 5552829 w 6884782"/>
              <a:gd name="connsiteY23418" fmla="*/ 4122364 h 5973007"/>
              <a:gd name="connsiteX23419" fmla="*/ 5544774 w 6884782"/>
              <a:gd name="connsiteY23419" fmla="*/ 4125771 h 5973007"/>
              <a:gd name="connsiteX23420" fmla="*/ 5537184 w 6884782"/>
              <a:gd name="connsiteY23420" fmla="*/ 4131140 h 5973007"/>
              <a:gd name="connsiteX23421" fmla="*/ 5536565 w 6884782"/>
              <a:gd name="connsiteY23421" fmla="*/ 4133515 h 5973007"/>
              <a:gd name="connsiteX23422" fmla="*/ 5531143 w 6884782"/>
              <a:gd name="connsiteY23422" fmla="*/ 4140227 h 5973007"/>
              <a:gd name="connsiteX23423" fmla="*/ 5521540 w 6884782"/>
              <a:gd name="connsiteY23423" fmla="*/ 4137852 h 5973007"/>
              <a:gd name="connsiteX23424" fmla="*/ 5519526 w 6884782"/>
              <a:gd name="connsiteY23424" fmla="*/ 4137129 h 5973007"/>
              <a:gd name="connsiteX23425" fmla="*/ 5521385 w 6884782"/>
              <a:gd name="connsiteY23425" fmla="*/ 4139607 h 5973007"/>
              <a:gd name="connsiteX23426" fmla="*/ 5524638 w 6884782"/>
              <a:gd name="connsiteY23426" fmla="*/ 4154476 h 5973007"/>
              <a:gd name="connsiteX23427" fmla="*/ 5522624 w 6884782"/>
              <a:gd name="connsiteY23427" fmla="*/ 4156128 h 5973007"/>
              <a:gd name="connsiteX23428" fmla="*/ 5517048 w 6884782"/>
              <a:gd name="connsiteY23428" fmla="*/ 4156748 h 5973007"/>
              <a:gd name="connsiteX23429" fmla="*/ 5493968 w 6884782"/>
              <a:gd name="connsiteY23429" fmla="*/ 4127526 h 5973007"/>
              <a:gd name="connsiteX23430" fmla="*/ 5502952 w 6884782"/>
              <a:gd name="connsiteY23430" fmla="*/ 4126391 h 5973007"/>
              <a:gd name="connsiteX23431" fmla="*/ 5503107 w 6884782"/>
              <a:gd name="connsiteY23431" fmla="*/ 4126494 h 5973007"/>
              <a:gd name="connsiteX23432" fmla="*/ 5503417 w 6884782"/>
              <a:gd name="connsiteY23432" fmla="*/ 4124429 h 5973007"/>
              <a:gd name="connsiteX23433" fmla="*/ 5503107 w 6884782"/>
              <a:gd name="connsiteY23433" fmla="*/ 4122880 h 5973007"/>
              <a:gd name="connsiteX23434" fmla="*/ 5501093 w 6884782"/>
              <a:gd name="connsiteY23434" fmla="*/ 4123912 h 5973007"/>
              <a:gd name="connsiteX23435" fmla="*/ 5490096 w 6884782"/>
              <a:gd name="connsiteY23435" fmla="*/ 4120092 h 5973007"/>
              <a:gd name="connsiteX23436" fmla="*/ 5506979 w 6884782"/>
              <a:gd name="connsiteY23436" fmla="*/ 4108217 h 5973007"/>
              <a:gd name="connsiteX23437" fmla="*/ 5509458 w 6884782"/>
              <a:gd name="connsiteY23437" fmla="*/ 4112451 h 5973007"/>
              <a:gd name="connsiteX23438" fmla="*/ 5513021 w 6884782"/>
              <a:gd name="connsiteY23438" fmla="*/ 4110592 h 5973007"/>
              <a:gd name="connsiteX23439" fmla="*/ 5515964 w 6884782"/>
              <a:gd name="connsiteY23439" fmla="*/ 4110179 h 5973007"/>
              <a:gd name="connsiteX23440" fmla="*/ 5515809 w 6884782"/>
              <a:gd name="connsiteY23440" fmla="*/ 4106152 h 5973007"/>
              <a:gd name="connsiteX23441" fmla="*/ 5520920 w 6884782"/>
              <a:gd name="connsiteY23441" fmla="*/ 4106668 h 5973007"/>
              <a:gd name="connsiteX23442" fmla="*/ 5524793 w 6884782"/>
              <a:gd name="connsiteY23442" fmla="*/ 4109973 h 5973007"/>
              <a:gd name="connsiteX23443" fmla="*/ 5525722 w 6884782"/>
              <a:gd name="connsiteY23443" fmla="*/ 4103055 h 5973007"/>
              <a:gd name="connsiteX23444" fmla="*/ 5530369 w 6884782"/>
              <a:gd name="connsiteY23444" fmla="*/ 4096136 h 5973007"/>
              <a:gd name="connsiteX23445" fmla="*/ 5542509 w 6884782"/>
              <a:gd name="connsiteY23445" fmla="*/ 4090754 h 5973007"/>
              <a:gd name="connsiteX23446" fmla="*/ 5482196 w 6884782"/>
              <a:gd name="connsiteY23446" fmla="*/ 4090147 h 5973007"/>
              <a:gd name="connsiteX23447" fmla="*/ 5493349 w 6884782"/>
              <a:gd name="connsiteY23447" fmla="*/ 4090973 h 5973007"/>
              <a:gd name="connsiteX23448" fmla="*/ 5488392 w 6884782"/>
              <a:gd name="connsiteY23448" fmla="*/ 4095724 h 5973007"/>
              <a:gd name="connsiteX23449" fmla="*/ 5482196 w 6884782"/>
              <a:gd name="connsiteY23449" fmla="*/ 4090147 h 5973007"/>
              <a:gd name="connsiteX23450" fmla="*/ 5267820 w 6884782"/>
              <a:gd name="connsiteY23450" fmla="*/ 4088599 h 5973007"/>
              <a:gd name="connsiteX23451" fmla="*/ 5273086 w 6884782"/>
              <a:gd name="connsiteY23451" fmla="*/ 4089631 h 5973007"/>
              <a:gd name="connsiteX23452" fmla="*/ 5272776 w 6884782"/>
              <a:gd name="connsiteY23452" fmla="*/ 4092419 h 5973007"/>
              <a:gd name="connsiteX23453" fmla="*/ 5269214 w 6884782"/>
              <a:gd name="connsiteY23453" fmla="*/ 4095001 h 5973007"/>
              <a:gd name="connsiteX23454" fmla="*/ 5270918 w 6884782"/>
              <a:gd name="connsiteY23454" fmla="*/ 4095724 h 5973007"/>
              <a:gd name="connsiteX23455" fmla="*/ 5273861 w 6884782"/>
              <a:gd name="connsiteY23455" fmla="*/ 4099234 h 5973007"/>
              <a:gd name="connsiteX23456" fmla="*/ 5270143 w 6884782"/>
              <a:gd name="connsiteY23456" fmla="*/ 4103364 h 5973007"/>
              <a:gd name="connsiteX23457" fmla="*/ 5267820 w 6884782"/>
              <a:gd name="connsiteY23457" fmla="*/ 4103261 h 5973007"/>
              <a:gd name="connsiteX23458" fmla="*/ 5259300 w 6884782"/>
              <a:gd name="connsiteY23458" fmla="*/ 4099234 h 5973007"/>
              <a:gd name="connsiteX23459" fmla="*/ 5259920 w 6884782"/>
              <a:gd name="connsiteY23459" fmla="*/ 4094794 h 5973007"/>
              <a:gd name="connsiteX23460" fmla="*/ 5260540 w 6884782"/>
              <a:gd name="connsiteY23460" fmla="*/ 4094484 h 5973007"/>
              <a:gd name="connsiteX23461" fmla="*/ 5464228 w 6884782"/>
              <a:gd name="connsiteY23461" fmla="*/ 4088289 h 5973007"/>
              <a:gd name="connsiteX23462" fmla="*/ 5467636 w 6884782"/>
              <a:gd name="connsiteY23462" fmla="*/ 4089115 h 5973007"/>
              <a:gd name="connsiteX23463" fmla="*/ 5467481 w 6884782"/>
              <a:gd name="connsiteY23463" fmla="*/ 4090664 h 5973007"/>
              <a:gd name="connsiteX23464" fmla="*/ 5465467 w 6884782"/>
              <a:gd name="connsiteY23464" fmla="*/ 4091800 h 5973007"/>
              <a:gd name="connsiteX23465" fmla="*/ 5412957 w 6884782"/>
              <a:gd name="connsiteY23465" fmla="*/ 4088082 h 5973007"/>
              <a:gd name="connsiteX23466" fmla="*/ 5407846 w 6884782"/>
              <a:gd name="connsiteY23466" fmla="*/ 4093968 h 5973007"/>
              <a:gd name="connsiteX23467" fmla="*/ 5405832 w 6884782"/>
              <a:gd name="connsiteY23467" fmla="*/ 4093762 h 5973007"/>
              <a:gd name="connsiteX23468" fmla="*/ 5405677 w 6884782"/>
              <a:gd name="connsiteY23468" fmla="*/ 4091180 h 5973007"/>
              <a:gd name="connsiteX23469" fmla="*/ 5412957 w 6884782"/>
              <a:gd name="connsiteY23469" fmla="*/ 4088082 h 5973007"/>
              <a:gd name="connsiteX23470" fmla="*/ 5635853 w 6884782"/>
              <a:gd name="connsiteY23470" fmla="*/ 4087257 h 5973007"/>
              <a:gd name="connsiteX23471" fmla="*/ 5646076 w 6884782"/>
              <a:gd name="connsiteY23471" fmla="*/ 4089528 h 5973007"/>
              <a:gd name="connsiteX23472" fmla="*/ 5639725 w 6884782"/>
              <a:gd name="connsiteY23472" fmla="*/ 4089425 h 5973007"/>
              <a:gd name="connsiteX23473" fmla="*/ 5635853 w 6884782"/>
              <a:gd name="connsiteY23473" fmla="*/ 4087257 h 5973007"/>
              <a:gd name="connsiteX23474" fmla="*/ 5664819 w 6884782"/>
              <a:gd name="connsiteY23474" fmla="*/ 4086740 h 5973007"/>
              <a:gd name="connsiteX23475" fmla="*/ 5666987 w 6884782"/>
              <a:gd name="connsiteY23475" fmla="*/ 4088392 h 5973007"/>
              <a:gd name="connsiteX23476" fmla="*/ 5664974 w 6884782"/>
              <a:gd name="connsiteY23476" fmla="*/ 4089838 h 5973007"/>
              <a:gd name="connsiteX23477" fmla="*/ 5663270 w 6884782"/>
              <a:gd name="connsiteY23477" fmla="*/ 4088805 h 5973007"/>
              <a:gd name="connsiteX23478" fmla="*/ 5660636 w 6884782"/>
              <a:gd name="connsiteY23478" fmla="*/ 4089425 h 5973007"/>
              <a:gd name="connsiteX23479" fmla="*/ 5659707 w 6884782"/>
              <a:gd name="connsiteY23479" fmla="*/ 4087979 h 5973007"/>
              <a:gd name="connsiteX23480" fmla="*/ 5664819 w 6884782"/>
              <a:gd name="connsiteY23480" fmla="*/ 4086740 h 5973007"/>
              <a:gd name="connsiteX23481" fmla="*/ 5767360 w 6884782"/>
              <a:gd name="connsiteY23481" fmla="*/ 4086430 h 5973007"/>
              <a:gd name="connsiteX23482" fmla="*/ 5772317 w 6884782"/>
              <a:gd name="connsiteY23482" fmla="*/ 4110179 h 5973007"/>
              <a:gd name="connsiteX23483" fmla="*/ 5767360 w 6884782"/>
              <a:gd name="connsiteY23483" fmla="*/ 4086430 h 5973007"/>
              <a:gd name="connsiteX23484" fmla="*/ 5589229 w 6884782"/>
              <a:gd name="connsiteY23484" fmla="*/ 4085707 h 5973007"/>
              <a:gd name="connsiteX23485" fmla="*/ 5589229 w 6884782"/>
              <a:gd name="connsiteY23485" fmla="*/ 4091696 h 5973007"/>
              <a:gd name="connsiteX23486" fmla="*/ 5587216 w 6884782"/>
              <a:gd name="connsiteY23486" fmla="*/ 4093245 h 5973007"/>
              <a:gd name="connsiteX23487" fmla="*/ 5584428 w 6884782"/>
              <a:gd name="connsiteY23487" fmla="*/ 4092935 h 5973007"/>
              <a:gd name="connsiteX23488" fmla="*/ 5582569 w 6884782"/>
              <a:gd name="connsiteY23488" fmla="*/ 4091283 h 5973007"/>
              <a:gd name="connsiteX23489" fmla="*/ 5581794 w 6884782"/>
              <a:gd name="connsiteY23489" fmla="*/ 4086121 h 5973007"/>
              <a:gd name="connsiteX23490" fmla="*/ 5589229 w 6884782"/>
              <a:gd name="connsiteY23490" fmla="*/ 4085707 h 5973007"/>
              <a:gd name="connsiteX23491" fmla="*/ 515766 w 6884782"/>
              <a:gd name="connsiteY23491" fmla="*/ 4083315 h 5973007"/>
              <a:gd name="connsiteX23492" fmla="*/ 506473 w 6884782"/>
              <a:gd name="connsiteY23492" fmla="*/ 4099526 h 5973007"/>
              <a:gd name="connsiteX23493" fmla="*/ 503064 w 6884782"/>
              <a:gd name="connsiteY23493" fmla="*/ 4099629 h 5973007"/>
              <a:gd name="connsiteX23494" fmla="*/ 499812 w 6884782"/>
              <a:gd name="connsiteY23494" fmla="*/ 4098493 h 5973007"/>
              <a:gd name="connsiteX23495" fmla="*/ 515766 w 6884782"/>
              <a:gd name="connsiteY23495" fmla="*/ 4083315 h 5973007"/>
              <a:gd name="connsiteX23496" fmla="*/ 5354717 w 6884782"/>
              <a:gd name="connsiteY23496" fmla="*/ 4082816 h 5973007"/>
              <a:gd name="connsiteX23497" fmla="*/ 5366798 w 6884782"/>
              <a:gd name="connsiteY23497" fmla="*/ 4125564 h 5973007"/>
              <a:gd name="connsiteX23498" fmla="*/ 5345732 w 6884782"/>
              <a:gd name="connsiteY23498" fmla="*/ 4084468 h 5973007"/>
              <a:gd name="connsiteX23499" fmla="*/ 5354717 w 6884782"/>
              <a:gd name="connsiteY23499" fmla="*/ 4082816 h 5973007"/>
              <a:gd name="connsiteX23500" fmla="*/ 5263638 w 6884782"/>
              <a:gd name="connsiteY23500" fmla="*/ 4082713 h 5973007"/>
              <a:gd name="connsiteX23501" fmla="*/ 5266426 w 6884782"/>
              <a:gd name="connsiteY23501" fmla="*/ 4085811 h 5973007"/>
              <a:gd name="connsiteX23502" fmla="*/ 5257287 w 6884782"/>
              <a:gd name="connsiteY23502" fmla="*/ 4090251 h 5973007"/>
              <a:gd name="connsiteX23503" fmla="*/ 5254034 w 6884782"/>
              <a:gd name="connsiteY23503" fmla="*/ 4089941 h 5973007"/>
              <a:gd name="connsiteX23504" fmla="*/ 5252020 w 6884782"/>
              <a:gd name="connsiteY23504" fmla="*/ 4086224 h 5973007"/>
              <a:gd name="connsiteX23505" fmla="*/ 5263638 w 6884782"/>
              <a:gd name="connsiteY23505" fmla="*/ 4082713 h 5973007"/>
              <a:gd name="connsiteX23506" fmla="*/ 5422871 w 6884782"/>
              <a:gd name="connsiteY23506" fmla="*/ 4082094 h 5973007"/>
              <a:gd name="connsiteX23507" fmla="*/ 5425194 w 6884782"/>
              <a:gd name="connsiteY23507" fmla="*/ 4083333 h 5973007"/>
              <a:gd name="connsiteX23508" fmla="*/ 5425349 w 6884782"/>
              <a:gd name="connsiteY23508" fmla="*/ 4085295 h 5973007"/>
              <a:gd name="connsiteX23509" fmla="*/ 5427363 w 6884782"/>
              <a:gd name="connsiteY23509" fmla="*/ 4087360 h 5973007"/>
              <a:gd name="connsiteX23510" fmla="*/ 5426743 w 6884782"/>
              <a:gd name="connsiteY23510" fmla="*/ 4088805 h 5973007"/>
              <a:gd name="connsiteX23511" fmla="*/ 5422561 w 6884782"/>
              <a:gd name="connsiteY23511" fmla="*/ 4084675 h 5973007"/>
              <a:gd name="connsiteX23512" fmla="*/ 5422871 w 6884782"/>
              <a:gd name="connsiteY23512" fmla="*/ 4082094 h 5973007"/>
              <a:gd name="connsiteX23513" fmla="*/ 5415591 w 6884782"/>
              <a:gd name="connsiteY23513" fmla="*/ 4081577 h 5973007"/>
              <a:gd name="connsiteX23514" fmla="*/ 5416830 w 6884782"/>
              <a:gd name="connsiteY23514" fmla="*/ 4083126 h 5973007"/>
              <a:gd name="connsiteX23515" fmla="*/ 5419153 w 6884782"/>
              <a:gd name="connsiteY23515" fmla="*/ 4088392 h 5973007"/>
              <a:gd name="connsiteX23516" fmla="*/ 5417450 w 6884782"/>
              <a:gd name="connsiteY23516" fmla="*/ 4089115 h 5973007"/>
              <a:gd name="connsiteX23517" fmla="*/ 5416520 w 6884782"/>
              <a:gd name="connsiteY23517" fmla="*/ 4087876 h 5973007"/>
              <a:gd name="connsiteX23518" fmla="*/ 5415746 w 6884782"/>
              <a:gd name="connsiteY23518" fmla="*/ 4085501 h 5973007"/>
              <a:gd name="connsiteX23519" fmla="*/ 5414507 w 6884782"/>
              <a:gd name="connsiteY23519" fmla="*/ 4083849 h 5973007"/>
              <a:gd name="connsiteX23520" fmla="*/ 5415591 w 6884782"/>
              <a:gd name="connsiteY23520" fmla="*/ 4081577 h 5973007"/>
              <a:gd name="connsiteX23521" fmla="*/ 5396539 w 6884782"/>
              <a:gd name="connsiteY23521" fmla="*/ 4081371 h 5973007"/>
              <a:gd name="connsiteX23522" fmla="*/ 5399636 w 6884782"/>
              <a:gd name="connsiteY23522" fmla="*/ 4089322 h 5973007"/>
              <a:gd name="connsiteX23523" fmla="*/ 5398552 w 6884782"/>
              <a:gd name="connsiteY23523" fmla="*/ 4090973 h 5973007"/>
              <a:gd name="connsiteX23524" fmla="*/ 5396384 w 6884782"/>
              <a:gd name="connsiteY23524" fmla="*/ 4089734 h 5973007"/>
              <a:gd name="connsiteX23525" fmla="*/ 5396539 w 6884782"/>
              <a:gd name="connsiteY23525" fmla="*/ 4081371 h 5973007"/>
              <a:gd name="connsiteX23526" fmla="*/ 5664509 w 6884782"/>
              <a:gd name="connsiteY23526" fmla="*/ 4079306 h 5973007"/>
              <a:gd name="connsiteX23527" fmla="*/ 5666987 w 6884782"/>
              <a:gd name="connsiteY23527" fmla="*/ 4079925 h 5973007"/>
              <a:gd name="connsiteX23528" fmla="*/ 5668846 w 6884782"/>
              <a:gd name="connsiteY23528" fmla="*/ 4079822 h 5973007"/>
              <a:gd name="connsiteX23529" fmla="*/ 5670395 w 6884782"/>
              <a:gd name="connsiteY23529" fmla="*/ 4082094 h 5973007"/>
              <a:gd name="connsiteX23530" fmla="*/ 5668537 w 6884782"/>
              <a:gd name="connsiteY23530" fmla="*/ 4082197 h 5973007"/>
              <a:gd name="connsiteX23531" fmla="*/ 5663115 w 6884782"/>
              <a:gd name="connsiteY23531" fmla="*/ 4081371 h 5973007"/>
              <a:gd name="connsiteX23532" fmla="*/ 5664509 w 6884782"/>
              <a:gd name="connsiteY23532" fmla="*/ 4079306 h 5973007"/>
              <a:gd name="connsiteX23533" fmla="*/ 5150718 w 6884782"/>
              <a:gd name="connsiteY23533" fmla="*/ 4079202 h 5973007"/>
              <a:gd name="connsiteX23534" fmla="*/ 5155984 w 6884782"/>
              <a:gd name="connsiteY23534" fmla="*/ 4081164 h 5973007"/>
              <a:gd name="connsiteX23535" fmla="*/ 5156759 w 6884782"/>
              <a:gd name="connsiteY23535" fmla="*/ 4087360 h 5973007"/>
              <a:gd name="connsiteX23536" fmla="*/ 5160167 w 6884782"/>
              <a:gd name="connsiteY23536" fmla="*/ 4086843 h 5973007"/>
              <a:gd name="connsiteX23537" fmla="*/ 5163420 w 6884782"/>
              <a:gd name="connsiteY23537" fmla="*/ 4094588 h 5973007"/>
              <a:gd name="connsiteX23538" fmla="*/ 5158618 w 6884782"/>
              <a:gd name="connsiteY23538" fmla="*/ 4098718 h 5973007"/>
              <a:gd name="connsiteX23539" fmla="*/ 5152112 w 6884782"/>
              <a:gd name="connsiteY23539" fmla="*/ 4091696 h 5973007"/>
              <a:gd name="connsiteX23540" fmla="*/ 5154591 w 6884782"/>
              <a:gd name="connsiteY23540" fmla="*/ 4087876 h 5973007"/>
              <a:gd name="connsiteX23541" fmla="*/ 5153506 w 6884782"/>
              <a:gd name="connsiteY23541" fmla="*/ 4087773 h 5973007"/>
              <a:gd name="connsiteX23542" fmla="*/ 5151957 w 6884782"/>
              <a:gd name="connsiteY23542" fmla="*/ 4085707 h 5973007"/>
              <a:gd name="connsiteX23543" fmla="*/ 5150718 w 6884782"/>
              <a:gd name="connsiteY23543" fmla="*/ 4079202 h 5973007"/>
              <a:gd name="connsiteX23544" fmla="*/ 5720117 w 6884782"/>
              <a:gd name="connsiteY23544" fmla="*/ 4079099 h 5973007"/>
              <a:gd name="connsiteX23545" fmla="*/ 5721356 w 6884782"/>
              <a:gd name="connsiteY23545" fmla="*/ 4083952 h 5973007"/>
              <a:gd name="connsiteX23546" fmla="*/ 5722440 w 6884782"/>
              <a:gd name="connsiteY23546" fmla="*/ 4083023 h 5973007"/>
              <a:gd name="connsiteX23547" fmla="*/ 5724609 w 6884782"/>
              <a:gd name="connsiteY23547" fmla="*/ 4084365 h 5973007"/>
              <a:gd name="connsiteX23548" fmla="*/ 5723215 w 6884782"/>
              <a:gd name="connsiteY23548" fmla="*/ 4086224 h 5973007"/>
              <a:gd name="connsiteX23549" fmla="*/ 5722285 w 6884782"/>
              <a:gd name="connsiteY23549" fmla="*/ 4087050 h 5973007"/>
              <a:gd name="connsiteX23550" fmla="*/ 5725228 w 6884782"/>
              <a:gd name="connsiteY23550" fmla="*/ 4093245 h 5973007"/>
              <a:gd name="connsiteX23551" fmla="*/ 5727552 w 6884782"/>
              <a:gd name="connsiteY23551" fmla="*/ 4105430 h 5973007"/>
              <a:gd name="connsiteX23552" fmla="*/ 5721511 w 6884782"/>
              <a:gd name="connsiteY23552" fmla="*/ 4098614 h 5973007"/>
              <a:gd name="connsiteX23553" fmla="*/ 5717329 w 6884782"/>
              <a:gd name="connsiteY23553" fmla="*/ 4093762 h 5973007"/>
              <a:gd name="connsiteX23554" fmla="*/ 5717329 w 6884782"/>
              <a:gd name="connsiteY23554" fmla="*/ 4093968 h 5973007"/>
              <a:gd name="connsiteX23555" fmla="*/ 5714850 w 6884782"/>
              <a:gd name="connsiteY23555" fmla="*/ 4095104 h 5973007"/>
              <a:gd name="connsiteX23556" fmla="*/ 5714386 w 6884782"/>
              <a:gd name="connsiteY23556" fmla="*/ 4092935 h 5973007"/>
              <a:gd name="connsiteX23557" fmla="*/ 5715625 w 6884782"/>
              <a:gd name="connsiteY23557" fmla="*/ 4091800 h 5973007"/>
              <a:gd name="connsiteX23558" fmla="*/ 5715315 w 6884782"/>
              <a:gd name="connsiteY23558" fmla="*/ 4091490 h 5973007"/>
              <a:gd name="connsiteX23559" fmla="*/ 5720117 w 6884782"/>
              <a:gd name="connsiteY23559" fmla="*/ 4079099 h 5973007"/>
              <a:gd name="connsiteX23560" fmla="*/ 5784399 w 6884782"/>
              <a:gd name="connsiteY23560" fmla="*/ 4077550 h 5973007"/>
              <a:gd name="connsiteX23561" fmla="*/ 5787187 w 6884782"/>
              <a:gd name="connsiteY23561" fmla="*/ 4081267 h 5973007"/>
              <a:gd name="connsiteX23562" fmla="*/ 5786877 w 6884782"/>
              <a:gd name="connsiteY23562" fmla="*/ 4083436 h 5973007"/>
              <a:gd name="connsiteX23563" fmla="*/ 5787807 w 6884782"/>
              <a:gd name="connsiteY23563" fmla="*/ 4083436 h 5973007"/>
              <a:gd name="connsiteX23564" fmla="*/ 5786877 w 6884782"/>
              <a:gd name="connsiteY23564" fmla="*/ 4086327 h 5973007"/>
              <a:gd name="connsiteX23565" fmla="*/ 5787807 w 6884782"/>
              <a:gd name="connsiteY23565" fmla="*/ 4086224 h 5973007"/>
              <a:gd name="connsiteX23566" fmla="*/ 5787961 w 6884782"/>
              <a:gd name="connsiteY23566" fmla="*/ 4090354 h 5973007"/>
              <a:gd name="connsiteX23567" fmla="*/ 5785018 w 6884782"/>
              <a:gd name="connsiteY23567" fmla="*/ 4091387 h 5973007"/>
              <a:gd name="connsiteX23568" fmla="*/ 5784244 w 6884782"/>
              <a:gd name="connsiteY23568" fmla="*/ 4093658 h 5973007"/>
              <a:gd name="connsiteX23569" fmla="*/ 5781146 w 6884782"/>
              <a:gd name="connsiteY23569" fmla="*/ 4099957 h 5973007"/>
              <a:gd name="connsiteX23570" fmla="*/ 5779597 w 6884782"/>
              <a:gd name="connsiteY23570" fmla="*/ 4101402 h 5973007"/>
              <a:gd name="connsiteX23571" fmla="*/ 5777738 w 6884782"/>
              <a:gd name="connsiteY23571" fmla="*/ 4100783 h 5973007"/>
              <a:gd name="connsiteX23572" fmla="*/ 5779752 w 6884782"/>
              <a:gd name="connsiteY23572" fmla="*/ 4089425 h 5973007"/>
              <a:gd name="connsiteX23573" fmla="*/ 5780991 w 6884782"/>
              <a:gd name="connsiteY23573" fmla="*/ 4088185 h 5973007"/>
              <a:gd name="connsiteX23574" fmla="*/ 5778513 w 6884782"/>
              <a:gd name="connsiteY23574" fmla="*/ 4088289 h 5973007"/>
              <a:gd name="connsiteX23575" fmla="*/ 5776189 w 6884782"/>
              <a:gd name="connsiteY23575" fmla="*/ 4082094 h 5973007"/>
              <a:gd name="connsiteX23576" fmla="*/ 5784399 w 6884782"/>
              <a:gd name="connsiteY23576" fmla="*/ 4077550 h 5973007"/>
              <a:gd name="connsiteX23577" fmla="*/ 5467171 w 6884782"/>
              <a:gd name="connsiteY23577" fmla="*/ 4077550 h 5973007"/>
              <a:gd name="connsiteX23578" fmla="*/ 5471663 w 6884782"/>
              <a:gd name="connsiteY23578" fmla="*/ 4080029 h 5973007"/>
              <a:gd name="connsiteX23579" fmla="*/ 5471663 w 6884782"/>
              <a:gd name="connsiteY23579" fmla="*/ 4081990 h 5973007"/>
              <a:gd name="connsiteX23580" fmla="*/ 5467946 w 6884782"/>
              <a:gd name="connsiteY23580" fmla="*/ 4082920 h 5973007"/>
              <a:gd name="connsiteX23581" fmla="*/ 5465003 w 6884782"/>
              <a:gd name="connsiteY23581" fmla="*/ 4080132 h 5973007"/>
              <a:gd name="connsiteX23582" fmla="*/ 5465003 w 6884782"/>
              <a:gd name="connsiteY23582" fmla="*/ 4078170 h 5973007"/>
              <a:gd name="connsiteX23583" fmla="*/ 5467171 w 6884782"/>
              <a:gd name="connsiteY23583" fmla="*/ 4077550 h 5973007"/>
              <a:gd name="connsiteX23584" fmla="*/ 5244740 w 6884782"/>
              <a:gd name="connsiteY23584" fmla="*/ 4077344 h 5973007"/>
              <a:gd name="connsiteX23585" fmla="*/ 5248303 w 6884782"/>
              <a:gd name="connsiteY23585" fmla="*/ 4084056 h 5973007"/>
              <a:gd name="connsiteX23586" fmla="*/ 5239319 w 6884782"/>
              <a:gd name="connsiteY23586" fmla="*/ 4087979 h 5973007"/>
              <a:gd name="connsiteX23587" fmla="*/ 5236066 w 6884782"/>
              <a:gd name="connsiteY23587" fmla="*/ 4087773 h 5973007"/>
              <a:gd name="connsiteX23588" fmla="*/ 5244740 w 6884782"/>
              <a:gd name="connsiteY23588" fmla="*/ 4077344 h 5973007"/>
              <a:gd name="connsiteX23589" fmla="*/ 5652272 w 6884782"/>
              <a:gd name="connsiteY23589" fmla="*/ 4076621 h 5973007"/>
              <a:gd name="connsiteX23590" fmla="*/ 5658778 w 6884782"/>
              <a:gd name="connsiteY23590" fmla="*/ 4081990 h 5973007"/>
              <a:gd name="connsiteX23591" fmla="*/ 5655990 w 6884782"/>
              <a:gd name="connsiteY23591" fmla="*/ 4083745 h 5973007"/>
              <a:gd name="connsiteX23592" fmla="*/ 5649174 w 6884782"/>
              <a:gd name="connsiteY23592" fmla="*/ 4080235 h 5973007"/>
              <a:gd name="connsiteX23593" fmla="*/ 5648400 w 6884782"/>
              <a:gd name="connsiteY23593" fmla="*/ 4078170 h 5973007"/>
              <a:gd name="connsiteX23594" fmla="*/ 5652272 w 6884782"/>
              <a:gd name="connsiteY23594" fmla="*/ 4076621 h 5973007"/>
              <a:gd name="connsiteX23595" fmla="*/ 5184330 w 6884782"/>
              <a:gd name="connsiteY23595" fmla="*/ 4076518 h 5973007"/>
              <a:gd name="connsiteX23596" fmla="*/ 5192230 w 6884782"/>
              <a:gd name="connsiteY23596" fmla="*/ 4078273 h 5973007"/>
              <a:gd name="connsiteX23597" fmla="*/ 5193470 w 6884782"/>
              <a:gd name="connsiteY23597" fmla="*/ 4078996 h 5973007"/>
              <a:gd name="connsiteX23598" fmla="*/ 5195948 w 6884782"/>
              <a:gd name="connsiteY23598" fmla="*/ 4079099 h 5973007"/>
              <a:gd name="connsiteX23599" fmla="*/ 5200440 w 6884782"/>
              <a:gd name="connsiteY23599" fmla="*/ 4082816 h 5973007"/>
              <a:gd name="connsiteX23600" fmla="*/ 5201060 w 6884782"/>
              <a:gd name="connsiteY23600" fmla="*/ 4091903 h 5973007"/>
              <a:gd name="connsiteX23601" fmla="*/ 5201369 w 6884782"/>
              <a:gd name="connsiteY23601" fmla="*/ 4091077 h 5973007"/>
              <a:gd name="connsiteX23602" fmla="*/ 5215465 w 6884782"/>
              <a:gd name="connsiteY23602" fmla="*/ 4089425 h 5973007"/>
              <a:gd name="connsiteX23603" fmla="*/ 5213606 w 6884782"/>
              <a:gd name="connsiteY23603" fmla="*/ 4091387 h 5973007"/>
              <a:gd name="connsiteX23604" fmla="*/ 5212522 w 6884782"/>
              <a:gd name="connsiteY23604" fmla="*/ 4091696 h 5973007"/>
              <a:gd name="connsiteX23605" fmla="*/ 5212212 w 6884782"/>
              <a:gd name="connsiteY23605" fmla="*/ 4092419 h 5973007"/>
              <a:gd name="connsiteX23606" fmla="*/ 5211438 w 6884782"/>
              <a:gd name="connsiteY23606" fmla="*/ 4092006 h 5973007"/>
              <a:gd name="connsiteX23607" fmla="*/ 5209269 w 6884782"/>
              <a:gd name="connsiteY23607" fmla="*/ 4092729 h 5973007"/>
              <a:gd name="connsiteX23608" fmla="*/ 5204777 w 6884782"/>
              <a:gd name="connsiteY23608" fmla="*/ 4096033 h 5973007"/>
              <a:gd name="connsiteX23609" fmla="*/ 5198891 w 6884782"/>
              <a:gd name="connsiteY23609" fmla="*/ 4096446 h 5973007"/>
              <a:gd name="connsiteX23610" fmla="*/ 5198117 w 6884782"/>
              <a:gd name="connsiteY23610" fmla="*/ 4094071 h 5973007"/>
              <a:gd name="connsiteX23611" fmla="*/ 5195793 w 6884782"/>
              <a:gd name="connsiteY23611" fmla="*/ 4094691 h 5973007"/>
              <a:gd name="connsiteX23612" fmla="*/ 5186344 w 6884782"/>
              <a:gd name="connsiteY23612" fmla="*/ 4088392 h 5973007"/>
              <a:gd name="connsiteX23613" fmla="*/ 5185880 w 6884782"/>
              <a:gd name="connsiteY23613" fmla="*/ 4083229 h 5973007"/>
              <a:gd name="connsiteX23614" fmla="*/ 5186189 w 6884782"/>
              <a:gd name="connsiteY23614" fmla="*/ 4082713 h 5973007"/>
              <a:gd name="connsiteX23615" fmla="*/ 5182782 w 6884782"/>
              <a:gd name="connsiteY23615" fmla="*/ 4081887 h 5973007"/>
              <a:gd name="connsiteX23616" fmla="*/ 5184330 w 6884782"/>
              <a:gd name="connsiteY23616" fmla="*/ 4076518 h 5973007"/>
              <a:gd name="connsiteX23617" fmla="*/ 5792918 w 6884782"/>
              <a:gd name="connsiteY23617" fmla="*/ 4073523 h 5973007"/>
              <a:gd name="connsiteX23618" fmla="*/ 5791369 w 6884782"/>
              <a:gd name="connsiteY23618" fmla="*/ 4073627 h 5973007"/>
              <a:gd name="connsiteX23619" fmla="*/ 5792453 w 6884782"/>
              <a:gd name="connsiteY23619" fmla="*/ 4074039 h 5973007"/>
              <a:gd name="connsiteX23620" fmla="*/ 5231884 w 6884782"/>
              <a:gd name="connsiteY23620" fmla="*/ 4069909 h 5973007"/>
              <a:gd name="connsiteX23621" fmla="*/ 5227702 w 6884782"/>
              <a:gd name="connsiteY23621" fmla="*/ 4075898 h 5973007"/>
              <a:gd name="connsiteX23622" fmla="*/ 5226462 w 6884782"/>
              <a:gd name="connsiteY23622" fmla="*/ 4070219 h 5973007"/>
              <a:gd name="connsiteX23623" fmla="*/ 5231884 w 6884782"/>
              <a:gd name="connsiteY23623" fmla="*/ 4069909 h 5973007"/>
              <a:gd name="connsiteX23624" fmla="*/ 5347901 w 6884782"/>
              <a:gd name="connsiteY23624" fmla="*/ 4069290 h 5973007"/>
              <a:gd name="connsiteX23625" fmla="*/ 5360138 w 6884782"/>
              <a:gd name="connsiteY23625" fmla="*/ 4072594 h 5973007"/>
              <a:gd name="connsiteX23626" fmla="*/ 5353632 w 6884782"/>
              <a:gd name="connsiteY23626" fmla="*/ 4080029 h 5973007"/>
              <a:gd name="connsiteX23627" fmla="*/ 5346507 w 6884782"/>
              <a:gd name="connsiteY23627" fmla="*/ 4076621 h 5973007"/>
              <a:gd name="connsiteX23628" fmla="*/ 5347901 w 6884782"/>
              <a:gd name="connsiteY23628" fmla="*/ 4069290 h 5973007"/>
              <a:gd name="connsiteX23629" fmla="*/ 5381204 w 6884782"/>
              <a:gd name="connsiteY23629" fmla="*/ 4069083 h 5973007"/>
              <a:gd name="connsiteX23630" fmla="*/ 5386935 w 6884782"/>
              <a:gd name="connsiteY23630" fmla="*/ 4073730 h 5973007"/>
              <a:gd name="connsiteX23631" fmla="*/ 5383372 w 6884782"/>
              <a:gd name="connsiteY23631" fmla="*/ 4080545 h 5973007"/>
              <a:gd name="connsiteX23632" fmla="*/ 5384921 w 6884782"/>
              <a:gd name="connsiteY23632" fmla="*/ 4079615 h 5973007"/>
              <a:gd name="connsiteX23633" fmla="*/ 5387710 w 6884782"/>
              <a:gd name="connsiteY23633" fmla="*/ 4079822 h 5973007"/>
              <a:gd name="connsiteX23634" fmla="*/ 5381978 w 6884782"/>
              <a:gd name="connsiteY23634" fmla="*/ 4087050 h 5973007"/>
              <a:gd name="connsiteX23635" fmla="*/ 5382288 w 6884782"/>
              <a:gd name="connsiteY23635" fmla="*/ 4081061 h 5973007"/>
              <a:gd name="connsiteX23636" fmla="*/ 5383218 w 6884782"/>
              <a:gd name="connsiteY23636" fmla="*/ 4080545 h 5973007"/>
              <a:gd name="connsiteX23637" fmla="*/ 5380429 w 6884782"/>
              <a:gd name="connsiteY23637" fmla="*/ 4075072 h 5973007"/>
              <a:gd name="connsiteX23638" fmla="*/ 5381204 w 6884782"/>
              <a:gd name="connsiteY23638" fmla="*/ 4069083 h 5973007"/>
              <a:gd name="connsiteX23639" fmla="*/ 656257 w 6884782"/>
              <a:gd name="connsiteY23639" fmla="*/ 4068859 h 5973007"/>
              <a:gd name="connsiteX23640" fmla="*/ 660129 w 6884782"/>
              <a:gd name="connsiteY23640" fmla="*/ 4078875 h 5973007"/>
              <a:gd name="connsiteX23641" fmla="*/ 656876 w 6884782"/>
              <a:gd name="connsiteY23641" fmla="*/ 4079907 h 5973007"/>
              <a:gd name="connsiteX23642" fmla="*/ 654553 w 6884782"/>
              <a:gd name="connsiteY23642" fmla="*/ 4079184 h 5973007"/>
              <a:gd name="connsiteX23643" fmla="*/ 651920 w 6884782"/>
              <a:gd name="connsiteY23643" fmla="*/ 4073712 h 5973007"/>
              <a:gd name="connsiteX23644" fmla="*/ 656257 w 6884782"/>
              <a:gd name="connsiteY23644" fmla="*/ 4068859 h 5973007"/>
              <a:gd name="connsiteX23645" fmla="*/ 5581794 w 6884782"/>
              <a:gd name="connsiteY23645" fmla="*/ 4068154 h 5973007"/>
              <a:gd name="connsiteX23646" fmla="*/ 5588455 w 6884782"/>
              <a:gd name="connsiteY23646" fmla="*/ 4072181 h 5973007"/>
              <a:gd name="connsiteX23647" fmla="*/ 5569248 w 6884782"/>
              <a:gd name="connsiteY23647" fmla="*/ 4093245 h 5973007"/>
              <a:gd name="connsiteX23648" fmla="*/ 5581794 w 6884782"/>
              <a:gd name="connsiteY23648" fmla="*/ 4068154 h 5973007"/>
              <a:gd name="connsiteX23649" fmla="*/ 5310881 w 6884782"/>
              <a:gd name="connsiteY23649" fmla="*/ 4066915 h 5973007"/>
              <a:gd name="connsiteX23650" fmla="*/ 5310261 w 6884782"/>
              <a:gd name="connsiteY23650" fmla="*/ 4067121 h 5973007"/>
              <a:gd name="connsiteX23651" fmla="*/ 5311036 w 6884782"/>
              <a:gd name="connsiteY23651" fmla="*/ 4067121 h 5973007"/>
              <a:gd name="connsiteX23652" fmla="*/ 5639416 w 6884782"/>
              <a:gd name="connsiteY23652" fmla="*/ 4066295 h 5973007"/>
              <a:gd name="connsiteX23653" fmla="*/ 5635079 w 6884782"/>
              <a:gd name="connsiteY23653" fmla="*/ 4071252 h 5973007"/>
              <a:gd name="connsiteX23654" fmla="*/ 5633530 w 6884782"/>
              <a:gd name="connsiteY23654" fmla="*/ 4071045 h 5973007"/>
              <a:gd name="connsiteX23655" fmla="*/ 5639416 w 6884782"/>
              <a:gd name="connsiteY23655" fmla="*/ 4066295 h 5973007"/>
              <a:gd name="connsiteX23656" fmla="*/ 5492826 w 6884782"/>
              <a:gd name="connsiteY23656" fmla="*/ 4065069 h 5973007"/>
              <a:gd name="connsiteX23657" fmla="*/ 5494898 w 6884782"/>
              <a:gd name="connsiteY23657" fmla="*/ 4069187 h 5973007"/>
              <a:gd name="connsiteX23658" fmla="*/ 5491180 w 6884782"/>
              <a:gd name="connsiteY23658" fmla="*/ 4071148 h 5973007"/>
              <a:gd name="connsiteX23659" fmla="*/ 5488547 w 6884782"/>
              <a:gd name="connsiteY23659" fmla="*/ 4068361 h 5973007"/>
              <a:gd name="connsiteX23660" fmla="*/ 5488082 w 6884782"/>
              <a:gd name="connsiteY23660" fmla="*/ 4065986 h 5973007"/>
              <a:gd name="connsiteX23661" fmla="*/ 5492826 w 6884782"/>
              <a:gd name="connsiteY23661" fmla="*/ 4065069 h 5973007"/>
              <a:gd name="connsiteX23662" fmla="*/ 5266271 w 6884782"/>
              <a:gd name="connsiteY23662" fmla="*/ 4064746 h 5973007"/>
              <a:gd name="connsiteX23663" fmla="*/ 5271692 w 6884782"/>
              <a:gd name="connsiteY23663" fmla="*/ 4074039 h 5973007"/>
              <a:gd name="connsiteX23664" fmla="*/ 5271537 w 6884782"/>
              <a:gd name="connsiteY23664" fmla="*/ 4084468 h 5973007"/>
              <a:gd name="connsiteX23665" fmla="*/ 5266271 w 6884782"/>
              <a:gd name="connsiteY23665" fmla="*/ 4064746 h 5973007"/>
              <a:gd name="connsiteX23666" fmla="*/ 449277 w 6884782"/>
              <a:gd name="connsiteY23666" fmla="*/ 4063967 h 5973007"/>
              <a:gd name="connsiteX23667" fmla="*/ 455821 w 6884782"/>
              <a:gd name="connsiteY23667" fmla="*/ 4069272 h 5973007"/>
              <a:gd name="connsiteX23668" fmla="*/ 448851 w 6884782"/>
              <a:gd name="connsiteY23668" fmla="*/ 4073299 h 5973007"/>
              <a:gd name="connsiteX23669" fmla="*/ 442035 w 6884782"/>
              <a:gd name="connsiteY23669" fmla="*/ 4069581 h 5973007"/>
              <a:gd name="connsiteX23670" fmla="*/ 449277 w 6884782"/>
              <a:gd name="connsiteY23670" fmla="*/ 4063967 h 5973007"/>
              <a:gd name="connsiteX23671" fmla="*/ 5756053 w 6884782"/>
              <a:gd name="connsiteY23671" fmla="*/ 4063610 h 5973007"/>
              <a:gd name="connsiteX23672" fmla="*/ 5756208 w 6884782"/>
              <a:gd name="connsiteY23672" fmla="*/ 4064437 h 5973007"/>
              <a:gd name="connsiteX23673" fmla="*/ 5754969 w 6884782"/>
              <a:gd name="connsiteY23673" fmla="*/ 4065572 h 5973007"/>
              <a:gd name="connsiteX23674" fmla="*/ 5752955 w 6884782"/>
              <a:gd name="connsiteY23674" fmla="*/ 4064850 h 5973007"/>
              <a:gd name="connsiteX23675" fmla="*/ 5756053 w 6884782"/>
              <a:gd name="connsiteY23675" fmla="*/ 4063610 h 5973007"/>
              <a:gd name="connsiteX23676" fmla="*/ 5595735 w 6884782"/>
              <a:gd name="connsiteY23676" fmla="*/ 4060926 h 5973007"/>
              <a:gd name="connsiteX23677" fmla="*/ 5596355 w 6884782"/>
              <a:gd name="connsiteY23677" fmla="*/ 4065263 h 5973007"/>
              <a:gd name="connsiteX23678" fmla="*/ 5593876 w 6884782"/>
              <a:gd name="connsiteY23678" fmla="*/ 4067638 h 5973007"/>
              <a:gd name="connsiteX23679" fmla="*/ 5589849 w 6884782"/>
              <a:gd name="connsiteY23679" fmla="*/ 4067431 h 5973007"/>
              <a:gd name="connsiteX23680" fmla="*/ 5590624 w 6884782"/>
              <a:gd name="connsiteY23680" fmla="*/ 4067431 h 5973007"/>
              <a:gd name="connsiteX23681" fmla="*/ 5590469 w 6884782"/>
              <a:gd name="connsiteY23681" fmla="*/ 4065572 h 5973007"/>
              <a:gd name="connsiteX23682" fmla="*/ 5589539 w 6884782"/>
              <a:gd name="connsiteY23682" fmla="*/ 4065676 h 5973007"/>
              <a:gd name="connsiteX23683" fmla="*/ 5590314 w 6884782"/>
              <a:gd name="connsiteY23683" fmla="*/ 4063817 h 5973007"/>
              <a:gd name="connsiteX23684" fmla="*/ 5595735 w 6884782"/>
              <a:gd name="connsiteY23684" fmla="*/ 4060926 h 5973007"/>
              <a:gd name="connsiteX23685" fmla="*/ 5717174 w 6884782"/>
              <a:gd name="connsiteY23685" fmla="*/ 4058138 h 5973007"/>
              <a:gd name="connsiteX23686" fmla="*/ 5717019 w 6884782"/>
              <a:gd name="connsiteY23686" fmla="*/ 4061649 h 5973007"/>
              <a:gd name="connsiteX23687" fmla="*/ 5716090 w 6884782"/>
              <a:gd name="connsiteY23687" fmla="*/ 4062268 h 5973007"/>
              <a:gd name="connsiteX23688" fmla="*/ 5714540 w 6884782"/>
              <a:gd name="connsiteY23688" fmla="*/ 4062165 h 5973007"/>
              <a:gd name="connsiteX23689" fmla="*/ 5717174 w 6884782"/>
              <a:gd name="connsiteY23689" fmla="*/ 4058138 h 5973007"/>
              <a:gd name="connsiteX23690" fmla="*/ 5645922 w 6884782"/>
              <a:gd name="connsiteY23690" fmla="*/ 4057828 h 5973007"/>
              <a:gd name="connsiteX23691" fmla="*/ 5646541 w 6884782"/>
              <a:gd name="connsiteY23691" fmla="*/ 4058964 h 5973007"/>
              <a:gd name="connsiteX23692" fmla="*/ 5645922 w 6884782"/>
              <a:gd name="connsiteY23692" fmla="*/ 4060616 h 5973007"/>
              <a:gd name="connsiteX23693" fmla="*/ 5644218 w 6884782"/>
              <a:gd name="connsiteY23693" fmla="*/ 4064127 h 5973007"/>
              <a:gd name="connsiteX23694" fmla="*/ 5645922 w 6884782"/>
              <a:gd name="connsiteY23694" fmla="*/ 4057828 h 5973007"/>
              <a:gd name="connsiteX23695" fmla="*/ 5717329 w 6884782"/>
              <a:gd name="connsiteY23695" fmla="*/ 4055557 h 5973007"/>
              <a:gd name="connsiteX23696" fmla="*/ 5717329 w 6884782"/>
              <a:gd name="connsiteY23696" fmla="*/ 4057519 h 5973007"/>
              <a:gd name="connsiteX23697" fmla="*/ 5716554 w 6884782"/>
              <a:gd name="connsiteY23697" fmla="*/ 4057415 h 5973007"/>
              <a:gd name="connsiteX23698" fmla="*/ 5717329 w 6884782"/>
              <a:gd name="connsiteY23698" fmla="*/ 4055557 h 5973007"/>
              <a:gd name="connsiteX23699" fmla="*/ 5835979 w 6884782"/>
              <a:gd name="connsiteY23699" fmla="*/ 4054731 h 5973007"/>
              <a:gd name="connsiteX23700" fmla="*/ 5837219 w 6884782"/>
              <a:gd name="connsiteY23700" fmla="*/ 4059894 h 5973007"/>
              <a:gd name="connsiteX23701" fmla="*/ 5832881 w 6884782"/>
              <a:gd name="connsiteY23701" fmla="*/ 4061959 h 5973007"/>
              <a:gd name="connsiteX23702" fmla="*/ 5831177 w 6884782"/>
              <a:gd name="connsiteY23702" fmla="*/ 4060720 h 5973007"/>
              <a:gd name="connsiteX23703" fmla="*/ 5831332 w 6884782"/>
              <a:gd name="connsiteY23703" fmla="*/ 4059894 h 5973007"/>
              <a:gd name="connsiteX23704" fmla="*/ 5831642 w 6884782"/>
              <a:gd name="connsiteY23704" fmla="*/ 4056383 h 5973007"/>
              <a:gd name="connsiteX23705" fmla="*/ 5835979 w 6884782"/>
              <a:gd name="connsiteY23705" fmla="*/ 4054731 h 5973007"/>
              <a:gd name="connsiteX23706" fmla="*/ 5360912 w 6884782"/>
              <a:gd name="connsiteY23706" fmla="*/ 4054111 h 5973007"/>
              <a:gd name="connsiteX23707" fmla="*/ 5360912 w 6884782"/>
              <a:gd name="connsiteY23707" fmla="*/ 4059687 h 5973007"/>
              <a:gd name="connsiteX23708" fmla="*/ 5355646 w 6884782"/>
              <a:gd name="connsiteY23708" fmla="*/ 4060100 h 5973007"/>
              <a:gd name="connsiteX23709" fmla="*/ 5355801 w 6884782"/>
              <a:gd name="connsiteY23709" fmla="*/ 4063094 h 5973007"/>
              <a:gd name="connsiteX23710" fmla="*/ 5354252 w 6884782"/>
              <a:gd name="connsiteY23710" fmla="*/ 4065056 h 5973007"/>
              <a:gd name="connsiteX23711" fmla="*/ 5349760 w 6884782"/>
              <a:gd name="connsiteY23711" fmla="*/ 4062475 h 5973007"/>
              <a:gd name="connsiteX23712" fmla="*/ 5351464 w 6884782"/>
              <a:gd name="connsiteY23712" fmla="*/ 4060203 h 5973007"/>
              <a:gd name="connsiteX23713" fmla="*/ 5349760 w 6884782"/>
              <a:gd name="connsiteY23713" fmla="*/ 4059894 h 5973007"/>
              <a:gd name="connsiteX23714" fmla="*/ 5347746 w 6884782"/>
              <a:gd name="connsiteY23714" fmla="*/ 4057105 h 5973007"/>
              <a:gd name="connsiteX23715" fmla="*/ 5360912 w 6884782"/>
              <a:gd name="connsiteY23715" fmla="*/ 4054111 h 5973007"/>
              <a:gd name="connsiteX23716" fmla="*/ 5603945 w 6884782"/>
              <a:gd name="connsiteY23716" fmla="*/ 4052872 h 5973007"/>
              <a:gd name="connsiteX23717" fmla="*/ 5604719 w 6884782"/>
              <a:gd name="connsiteY23717" fmla="*/ 4052975 h 5973007"/>
              <a:gd name="connsiteX23718" fmla="*/ 5608127 w 6884782"/>
              <a:gd name="connsiteY23718" fmla="*/ 4053492 h 5973007"/>
              <a:gd name="connsiteX23719" fmla="*/ 5609521 w 6884782"/>
              <a:gd name="connsiteY23719" fmla="*/ 4058138 h 5973007"/>
              <a:gd name="connsiteX23720" fmla="*/ 5606578 w 6884782"/>
              <a:gd name="connsiteY23720" fmla="*/ 4059480 h 5973007"/>
              <a:gd name="connsiteX23721" fmla="*/ 5604409 w 6884782"/>
              <a:gd name="connsiteY23721" fmla="*/ 4059067 h 5973007"/>
              <a:gd name="connsiteX23722" fmla="*/ 5602705 w 6884782"/>
              <a:gd name="connsiteY23722" fmla="*/ 4054421 h 5973007"/>
              <a:gd name="connsiteX23723" fmla="*/ 5603945 w 6884782"/>
              <a:gd name="connsiteY23723" fmla="*/ 4052872 h 5973007"/>
              <a:gd name="connsiteX23724" fmla="*/ 5295391 w 6884782"/>
              <a:gd name="connsiteY23724" fmla="*/ 4051633 h 5973007"/>
              <a:gd name="connsiteX23725" fmla="*/ 5296320 w 6884782"/>
              <a:gd name="connsiteY23725" fmla="*/ 4057828 h 5973007"/>
              <a:gd name="connsiteX23726" fmla="*/ 5297095 w 6884782"/>
              <a:gd name="connsiteY23726" fmla="*/ 4058758 h 5973007"/>
              <a:gd name="connsiteX23727" fmla="*/ 5297250 w 6884782"/>
              <a:gd name="connsiteY23727" fmla="*/ 4058758 h 5973007"/>
              <a:gd name="connsiteX23728" fmla="*/ 5297560 w 6884782"/>
              <a:gd name="connsiteY23728" fmla="*/ 4059171 h 5973007"/>
              <a:gd name="connsiteX23729" fmla="*/ 5298179 w 6884782"/>
              <a:gd name="connsiteY23729" fmla="*/ 4059894 h 5973007"/>
              <a:gd name="connsiteX23730" fmla="*/ 5298179 w 6884782"/>
              <a:gd name="connsiteY23730" fmla="*/ 4060306 h 5973007"/>
              <a:gd name="connsiteX23731" fmla="*/ 5299574 w 6884782"/>
              <a:gd name="connsiteY23731" fmla="*/ 4062165 h 5973007"/>
              <a:gd name="connsiteX23732" fmla="*/ 5302517 w 6884782"/>
              <a:gd name="connsiteY23732" fmla="*/ 4065160 h 5973007"/>
              <a:gd name="connsiteX23733" fmla="*/ 5299263 w 6884782"/>
              <a:gd name="connsiteY23733" fmla="*/ 4067328 h 5973007"/>
              <a:gd name="connsiteX23734" fmla="*/ 5296475 w 6884782"/>
              <a:gd name="connsiteY23734" fmla="*/ 4065366 h 5973007"/>
              <a:gd name="connsiteX23735" fmla="*/ 5295546 w 6884782"/>
              <a:gd name="connsiteY23735" fmla="*/ 4065366 h 5973007"/>
              <a:gd name="connsiteX23736" fmla="*/ 5293842 w 6884782"/>
              <a:gd name="connsiteY23736" fmla="*/ 4063301 h 5973007"/>
              <a:gd name="connsiteX23737" fmla="*/ 5293687 w 6884782"/>
              <a:gd name="connsiteY23737" fmla="*/ 4062165 h 5973007"/>
              <a:gd name="connsiteX23738" fmla="*/ 5291984 w 6884782"/>
              <a:gd name="connsiteY23738" fmla="*/ 4059067 h 5973007"/>
              <a:gd name="connsiteX23739" fmla="*/ 5293532 w 6884782"/>
              <a:gd name="connsiteY23739" fmla="*/ 4059067 h 5973007"/>
              <a:gd name="connsiteX23740" fmla="*/ 5295081 w 6884782"/>
              <a:gd name="connsiteY23740" fmla="*/ 4056279 h 5973007"/>
              <a:gd name="connsiteX23741" fmla="*/ 5295391 w 6884782"/>
              <a:gd name="connsiteY23741" fmla="*/ 4051633 h 5973007"/>
              <a:gd name="connsiteX23742" fmla="*/ 5717484 w 6884782"/>
              <a:gd name="connsiteY23742" fmla="*/ 4051220 h 5973007"/>
              <a:gd name="connsiteX23743" fmla="*/ 5718258 w 6884782"/>
              <a:gd name="connsiteY23743" fmla="*/ 4052253 h 5973007"/>
              <a:gd name="connsiteX23744" fmla="*/ 5717638 w 6884782"/>
              <a:gd name="connsiteY23744" fmla="*/ 4052975 h 5973007"/>
              <a:gd name="connsiteX23745" fmla="*/ 5716709 w 6884782"/>
              <a:gd name="connsiteY23745" fmla="*/ 4052975 h 5973007"/>
              <a:gd name="connsiteX23746" fmla="*/ 5717484 w 6884782"/>
              <a:gd name="connsiteY23746" fmla="*/ 4051220 h 5973007"/>
              <a:gd name="connsiteX23747" fmla="*/ 5300735 w 6884782"/>
              <a:gd name="connsiteY23747" fmla="*/ 4049955 h 5973007"/>
              <a:gd name="connsiteX23748" fmla="*/ 5302206 w 6884782"/>
              <a:gd name="connsiteY23748" fmla="*/ 4054731 h 5973007"/>
              <a:gd name="connsiteX23749" fmla="*/ 5296011 w 6884782"/>
              <a:gd name="connsiteY23749" fmla="*/ 4053078 h 5973007"/>
              <a:gd name="connsiteX23750" fmla="*/ 5300735 w 6884782"/>
              <a:gd name="connsiteY23750" fmla="*/ 4049955 h 5973007"/>
              <a:gd name="connsiteX23751" fmla="*/ 5307938 w 6884782"/>
              <a:gd name="connsiteY23751" fmla="*/ 4049877 h 5973007"/>
              <a:gd name="connsiteX23752" fmla="*/ 5313979 w 6884782"/>
              <a:gd name="connsiteY23752" fmla="*/ 4051323 h 5973007"/>
              <a:gd name="connsiteX23753" fmla="*/ 5315992 w 6884782"/>
              <a:gd name="connsiteY23753" fmla="*/ 4054318 h 5973007"/>
              <a:gd name="connsiteX23754" fmla="*/ 5317696 w 6884782"/>
              <a:gd name="connsiteY23754" fmla="*/ 4052975 h 5973007"/>
              <a:gd name="connsiteX23755" fmla="*/ 5330863 w 6884782"/>
              <a:gd name="connsiteY23755" fmla="*/ 4059377 h 5973007"/>
              <a:gd name="connsiteX23756" fmla="*/ 5331327 w 6884782"/>
              <a:gd name="connsiteY23756" fmla="*/ 4061752 h 5973007"/>
              <a:gd name="connsiteX23757" fmla="*/ 5333031 w 6884782"/>
              <a:gd name="connsiteY23757" fmla="*/ 4064953 h 5973007"/>
              <a:gd name="connsiteX23758" fmla="*/ 5323737 w 6884782"/>
              <a:gd name="connsiteY23758" fmla="*/ 4071871 h 5973007"/>
              <a:gd name="connsiteX23759" fmla="*/ 5318626 w 6884782"/>
              <a:gd name="connsiteY23759" fmla="*/ 4073110 h 5973007"/>
              <a:gd name="connsiteX23760" fmla="*/ 5317386 w 6884782"/>
              <a:gd name="connsiteY23760" fmla="*/ 4072800 h 5973007"/>
              <a:gd name="connsiteX23761" fmla="*/ 5317851 w 6884782"/>
              <a:gd name="connsiteY23761" fmla="*/ 4073110 h 5973007"/>
              <a:gd name="connsiteX23762" fmla="*/ 5321259 w 6884782"/>
              <a:gd name="connsiteY23762" fmla="*/ 4078686 h 5973007"/>
              <a:gd name="connsiteX23763" fmla="*/ 5318626 w 6884782"/>
              <a:gd name="connsiteY23763" fmla="*/ 4077963 h 5973007"/>
              <a:gd name="connsiteX23764" fmla="*/ 5317696 w 6884782"/>
              <a:gd name="connsiteY23764" fmla="*/ 4077137 h 5973007"/>
              <a:gd name="connsiteX23765" fmla="*/ 5316767 w 6884782"/>
              <a:gd name="connsiteY23765" fmla="*/ 4077240 h 5973007"/>
              <a:gd name="connsiteX23766" fmla="*/ 5316612 w 6884782"/>
              <a:gd name="connsiteY23766" fmla="*/ 4076311 h 5973007"/>
              <a:gd name="connsiteX23767" fmla="*/ 5314753 w 6884782"/>
              <a:gd name="connsiteY23767" fmla="*/ 4074659 h 5973007"/>
              <a:gd name="connsiteX23768" fmla="*/ 5309332 w 6884782"/>
              <a:gd name="connsiteY23768" fmla="*/ 4072491 h 5973007"/>
              <a:gd name="connsiteX23769" fmla="*/ 5305305 w 6884782"/>
              <a:gd name="connsiteY23769" fmla="*/ 4067431 h 5973007"/>
              <a:gd name="connsiteX23770" fmla="*/ 5306699 w 6884782"/>
              <a:gd name="connsiteY23770" fmla="*/ 4065572 h 5973007"/>
              <a:gd name="connsiteX23771" fmla="*/ 5304840 w 6884782"/>
              <a:gd name="connsiteY23771" fmla="*/ 4064024 h 5973007"/>
              <a:gd name="connsiteX23772" fmla="*/ 5304065 w 6884782"/>
              <a:gd name="connsiteY23772" fmla="*/ 4052666 h 5973007"/>
              <a:gd name="connsiteX23773" fmla="*/ 5307938 w 6884782"/>
              <a:gd name="connsiteY23773" fmla="*/ 4049877 h 5973007"/>
              <a:gd name="connsiteX23774" fmla="*/ 5480887 w 6884782"/>
              <a:gd name="connsiteY23774" fmla="*/ 4049647 h 5973007"/>
              <a:gd name="connsiteX23775" fmla="*/ 5486378 w 6884782"/>
              <a:gd name="connsiteY23775" fmla="*/ 4050600 h 5973007"/>
              <a:gd name="connsiteX23776" fmla="*/ 5468875 w 6884782"/>
              <a:gd name="connsiteY23776" fmla="*/ 4065779 h 5973007"/>
              <a:gd name="connsiteX23777" fmla="*/ 5466707 w 6884782"/>
              <a:gd name="connsiteY23777" fmla="*/ 4064850 h 5973007"/>
              <a:gd name="connsiteX23778" fmla="*/ 5480887 w 6884782"/>
              <a:gd name="connsiteY23778" fmla="*/ 4049647 h 5973007"/>
              <a:gd name="connsiteX23779" fmla="*/ 5651343 w 6884782"/>
              <a:gd name="connsiteY23779" fmla="*/ 4046057 h 5973007"/>
              <a:gd name="connsiteX23780" fmla="*/ 5655215 w 6884782"/>
              <a:gd name="connsiteY23780" fmla="*/ 4048948 h 5973007"/>
              <a:gd name="connsiteX23781" fmla="*/ 5651188 w 6884782"/>
              <a:gd name="connsiteY23781" fmla="*/ 4047296 h 5973007"/>
              <a:gd name="connsiteX23782" fmla="*/ 5651343 w 6884782"/>
              <a:gd name="connsiteY23782" fmla="*/ 4046057 h 5973007"/>
              <a:gd name="connsiteX23783" fmla="*/ 5727087 w 6884782"/>
              <a:gd name="connsiteY23783" fmla="*/ 4045437 h 5973007"/>
              <a:gd name="connsiteX23784" fmla="*/ 5735297 w 6884782"/>
              <a:gd name="connsiteY23784" fmla="*/ 4046264 h 5973007"/>
              <a:gd name="connsiteX23785" fmla="*/ 5738549 w 6884782"/>
              <a:gd name="connsiteY23785" fmla="*/ 4066295 h 5973007"/>
              <a:gd name="connsiteX23786" fmla="*/ 5738085 w 6884782"/>
              <a:gd name="connsiteY23786" fmla="*/ 4067741 h 5973007"/>
              <a:gd name="connsiteX23787" fmla="*/ 5738394 w 6884782"/>
              <a:gd name="connsiteY23787" fmla="*/ 4068257 h 5973007"/>
              <a:gd name="connsiteX23788" fmla="*/ 5739944 w 6884782"/>
              <a:gd name="connsiteY23788" fmla="*/ 4076105 h 5973007"/>
              <a:gd name="connsiteX23789" fmla="*/ 5736691 w 6884782"/>
              <a:gd name="connsiteY23789" fmla="*/ 4071665 h 5973007"/>
              <a:gd name="connsiteX23790" fmla="*/ 5736071 w 6884782"/>
              <a:gd name="connsiteY23790" fmla="*/ 4073213 h 5973007"/>
              <a:gd name="connsiteX23791" fmla="*/ 5734832 w 6884782"/>
              <a:gd name="connsiteY23791" fmla="*/ 4077447 h 5973007"/>
              <a:gd name="connsiteX23792" fmla="*/ 5730960 w 6884782"/>
              <a:gd name="connsiteY23792" fmla="*/ 4079202 h 5973007"/>
              <a:gd name="connsiteX23793" fmla="*/ 5729101 w 6884782"/>
              <a:gd name="connsiteY23793" fmla="*/ 4079306 h 5973007"/>
              <a:gd name="connsiteX23794" fmla="*/ 5721976 w 6884782"/>
              <a:gd name="connsiteY23794" fmla="*/ 4070012 h 5973007"/>
              <a:gd name="connsiteX23795" fmla="*/ 5720737 w 6884782"/>
              <a:gd name="connsiteY23795" fmla="*/ 4063301 h 5973007"/>
              <a:gd name="connsiteX23796" fmla="*/ 5723215 w 6884782"/>
              <a:gd name="connsiteY23796" fmla="*/ 4056486 h 5973007"/>
              <a:gd name="connsiteX23797" fmla="*/ 5727087 w 6884782"/>
              <a:gd name="connsiteY23797" fmla="*/ 4045437 h 5973007"/>
              <a:gd name="connsiteX23798" fmla="*/ 5687550 w 6884782"/>
              <a:gd name="connsiteY23798" fmla="*/ 4044831 h 5973007"/>
              <a:gd name="connsiteX23799" fmla="*/ 5704627 w 6884782"/>
              <a:gd name="connsiteY23799" fmla="*/ 4047503 h 5973007"/>
              <a:gd name="connsiteX23800" fmla="*/ 5708964 w 6884782"/>
              <a:gd name="connsiteY23800" fmla="*/ 4052562 h 5973007"/>
              <a:gd name="connsiteX23801" fmla="*/ 5710359 w 6884782"/>
              <a:gd name="connsiteY23801" fmla="*/ 4051220 h 5973007"/>
              <a:gd name="connsiteX23802" fmla="*/ 5714540 w 6884782"/>
              <a:gd name="connsiteY23802" fmla="*/ 4050394 h 5973007"/>
              <a:gd name="connsiteX23803" fmla="*/ 5715625 w 6884782"/>
              <a:gd name="connsiteY23803" fmla="*/ 4058241 h 5973007"/>
              <a:gd name="connsiteX23804" fmla="*/ 5712527 w 6884782"/>
              <a:gd name="connsiteY23804" fmla="*/ 4061029 h 5973007"/>
              <a:gd name="connsiteX23805" fmla="*/ 5709584 w 6884782"/>
              <a:gd name="connsiteY23805" fmla="*/ 4063301 h 5973007"/>
              <a:gd name="connsiteX23806" fmla="*/ 5708035 w 6884782"/>
              <a:gd name="connsiteY23806" fmla="*/ 4069187 h 5973007"/>
              <a:gd name="connsiteX23807" fmla="*/ 5683406 w 6884782"/>
              <a:gd name="connsiteY23807" fmla="*/ 4088908 h 5973007"/>
              <a:gd name="connsiteX23808" fmla="*/ 5674577 w 6884782"/>
              <a:gd name="connsiteY23808" fmla="*/ 4066708 h 5973007"/>
              <a:gd name="connsiteX23809" fmla="*/ 5674113 w 6884782"/>
              <a:gd name="connsiteY23809" fmla="*/ 4064333 h 5973007"/>
              <a:gd name="connsiteX23810" fmla="*/ 5670395 w 6884782"/>
              <a:gd name="connsiteY23810" fmla="*/ 4063094 h 5973007"/>
              <a:gd name="connsiteX23811" fmla="*/ 5669311 w 6884782"/>
              <a:gd name="connsiteY23811" fmla="*/ 4061236 h 5973007"/>
              <a:gd name="connsiteX23812" fmla="*/ 5671325 w 6884782"/>
              <a:gd name="connsiteY23812" fmla="*/ 4059997 h 5973007"/>
              <a:gd name="connsiteX23813" fmla="*/ 5674113 w 6884782"/>
              <a:gd name="connsiteY23813" fmla="*/ 4061236 h 5973007"/>
              <a:gd name="connsiteX23814" fmla="*/ 5674423 w 6884782"/>
              <a:gd name="connsiteY23814" fmla="*/ 4058654 h 5973007"/>
              <a:gd name="connsiteX23815" fmla="*/ 5687550 w 6884782"/>
              <a:gd name="connsiteY23815" fmla="*/ 4044831 h 5973007"/>
              <a:gd name="connsiteX23816" fmla="*/ 5477704 w 6884782"/>
              <a:gd name="connsiteY23816" fmla="*/ 4043372 h 5973007"/>
              <a:gd name="connsiteX23817" fmla="*/ 5483745 w 6884782"/>
              <a:gd name="connsiteY23817" fmla="*/ 4045437 h 5973007"/>
              <a:gd name="connsiteX23818" fmla="*/ 5478169 w 6884782"/>
              <a:gd name="connsiteY23818" fmla="*/ 4049774 h 5973007"/>
              <a:gd name="connsiteX23819" fmla="*/ 5477704 w 6884782"/>
              <a:gd name="connsiteY23819" fmla="*/ 4043372 h 5973007"/>
              <a:gd name="connsiteX23820" fmla="*/ 5335664 w 6884782"/>
              <a:gd name="connsiteY23820" fmla="*/ 4042030 h 5973007"/>
              <a:gd name="connsiteX23821" fmla="*/ 5343719 w 6884782"/>
              <a:gd name="connsiteY23821" fmla="*/ 4043992 h 5973007"/>
              <a:gd name="connsiteX23822" fmla="*/ 5348366 w 6884782"/>
              <a:gd name="connsiteY23822" fmla="*/ 4043682 h 5973007"/>
              <a:gd name="connsiteX23823" fmla="*/ 5348211 w 6884782"/>
              <a:gd name="connsiteY23823" fmla="*/ 4043682 h 5973007"/>
              <a:gd name="connsiteX23824" fmla="*/ 5355646 w 6884782"/>
              <a:gd name="connsiteY23824" fmla="*/ 4043166 h 5973007"/>
              <a:gd name="connsiteX23825" fmla="*/ 5359983 w 6884782"/>
              <a:gd name="connsiteY23825" fmla="*/ 4043372 h 5973007"/>
              <a:gd name="connsiteX23826" fmla="*/ 5360138 w 6884782"/>
              <a:gd name="connsiteY23826" fmla="*/ 4043579 h 5973007"/>
              <a:gd name="connsiteX23827" fmla="*/ 5360448 w 6884782"/>
              <a:gd name="connsiteY23827" fmla="*/ 4043889 h 5973007"/>
              <a:gd name="connsiteX23828" fmla="*/ 5367728 w 6884782"/>
              <a:gd name="connsiteY23828" fmla="*/ 4046986 h 5973007"/>
              <a:gd name="connsiteX23829" fmla="*/ 5350689 w 6884782"/>
              <a:gd name="connsiteY23829" fmla="*/ 4051839 h 5973007"/>
              <a:gd name="connsiteX23830" fmla="*/ 5335664 w 6884782"/>
              <a:gd name="connsiteY23830" fmla="*/ 4042030 h 5973007"/>
              <a:gd name="connsiteX23831" fmla="*/ 5670085 w 6884782"/>
              <a:gd name="connsiteY23831" fmla="*/ 4041307 h 5973007"/>
              <a:gd name="connsiteX23832" fmla="*/ 5677211 w 6884782"/>
              <a:gd name="connsiteY23832" fmla="*/ 4046161 h 5973007"/>
              <a:gd name="connsiteX23833" fmla="*/ 5672409 w 6884782"/>
              <a:gd name="connsiteY23833" fmla="*/ 4052872 h 5973007"/>
              <a:gd name="connsiteX23834" fmla="*/ 5664819 w 6884782"/>
              <a:gd name="connsiteY23834" fmla="*/ 4048226 h 5973007"/>
              <a:gd name="connsiteX23835" fmla="*/ 5670085 w 6884782"/>
              <a:gd name="connsiteY23835" fmla="*/ 4041307 h 5973007"/>
              <a:gd name="connsiteX23836" fmla="*/ 5316612 w 6884782"/>
              <a:gd name="connsiteY23836" fmla="*/ 4038726 h 5973007"/>
              <a:gd name="connsiteX23837" fmla="*/ 5319090 w 6884782"/>
              <a:gd name="connsiteY23837" fmla="*/ 4039552 h 5973007"/>
              <a:gd name="connsiteX23838" fmla="*/ 5322033 w 6884782"/>
              <a:gd name="connsiteY23838" fmla="*/ 4038726 h 5973007"/>
              <a:gd name="connsiteX23839" fmla="*/ 5326680 w 6884782"/>
              <a:gd name="connsiteY23839" fmla="*/ 4043889 h 5973007"/>
              <a:gd name="connsiteX23840" fmla="*/ 5324512 w 6884782"/>
              <a:gd name="connsiteY23840" fmla="*/ 4046264 h 5973007"/>
              <a:gd name="connsiteX23841" fmla="*/ 5324357 w 6884782"/>
              <a:gd name="connsiteY23841" fmla="*/ 4046367 h 5973007"/>
              <a:gd name="connsiteX23842" fmla="*/ 5324512 w 6884782"/>
              <a:gd name="connsiteY23842" fmla="*/ 4046883 h 5973007"/>
              <a:gd name="connsiteX23843" fmla="*/ 5319245 w 6884782"/>
              <a:gd name="connsiteY23843" fmla="*/ 4048948 h 5973007"/>
              <a:gd name="connsiteX23844" fmla="*/ 5313824 w 6884782"/>
              <a:gd name="connsiteY23844" fmla="*/ 4047709 h 5973007"/>
              <a:gd name="connsiteX23845" fmla="*/ 5316612 w 6884782"/>
              <a:gd name="connsiteY23845" fmla="*/ 4038726 h 5973007"/>
              <a:gd name="connsiteX23846" fmla="*/ 5254808 w 6884782"/>
              <a:gd name="connsiteY23846" fmla="*/ 4037590 h 5973007"/>
              <a:gd name="connsiteX23847" fmla="*/ 5258836 w 6884782"/>
              <a:gd name="connsiteY23847" fmla="*/ 4037797 h 5973007"/>
              <a:gd name="connsiteX23848" fmla="*/ 5272312 w 6884782"/>
              <a:gd name="connsiteY23848" fmla="*/ 4041927 h 5973007"/>
              <a:gd name="connsiteX23849" fmla="*/ 5266581 w 6884782"/>
              <a:gd name="connsiteY23849" fmla="*/ 4042650 h 5973007"/>
              <a:gd name="connsiteX23850" fmla="*/ 5253260 w 6884782"/>
              <a:gd name="connsiteY23850" fmla="*/ 4041927 h 5973007"/>
              <a:gd name="connsiteX23851" fmla="*/ 5251556 w 6884782"/>
              <a:gd name="connsiteY23851" fmla="*/ 4040068 h 5973007"/>
              <a:gd name="connsiteX23852" fmla="*/ 5250626 w 6884782"/>
              <a:gd name="connsiteY23852" fmla="*/ 4040068 h 5973007"/>
              <a:gd name="connsiteX23853" fmla="*/ 5249852 w 6884782"/>
              <a:gd name="connsiteY23853" fmla="*/ 4038209 h 5973007"/>
              <a:gd name="connsiteX23854" fmla="*/ 5254808 w 6884782"/>
              <a:gd name="connsiteY23854" fmla="*/ 4037590 h 5973007"/>
              <a:gd name="connsiteX23855" fmla="*/ 5686194 w 6884782"/>
              <a:gd name="connsiteY23855" fmla="*/ 4035319 h 5973007"/>
              <a:gd name="connsiteX23856" fmla="*/ 5688363 w 6884782"/>
              <a:gd name="connsiteY23856" fmla="*/ 4037694 h 5973007"/>
              <a:gd name="connsiteX23857" fmla="*/ 5685730 w 6884782"/>
              <a:gd name="connsiteY23857" fmla="*/ 4036041 h 5973007"/>
              <a:gd name="connsiteX23858" fmla="*/ 5686194 w 6884782"/>
              <a:gd name="connsiteY23858" fmla="*/ 4035319 h 5973007"/>
              <a:gd name="connsiteX23859" fmla="*/ 5330243 w 6884782"/>
              <a:gd name="connsiteY23859" fmla="*/ 4033873 h 5973007"/>
              <a:gd name="connsiteX23860" fmla="*/ 5332102 w 6884782"/>
              <a:gd name="connsiteY23860" fmla="*/ 4034079 h 5973007"/>
              <a:gd name="connsiteX23861" fmla="*/ 5334115 w 6884782"/>
              <a:gd name="connsiteY23861" fmla="*/ 4036144 h 5973007"/>
              <a:gd name="connsiteX23862" fmla="*/ 5333495 w 6884782"/>
              <a:gd name="connsiteY23862" fmla="*/ 4039759 h 5973007"/>
              <a:gd name="connsiteX23863" fmla="*/ 5331637 w 6884782"/>
              <a:gd name="connsiteY23863" fmla="*/ 4039552 h 5973007"/>
              <a:gd name="connsiteX23864" fmla="*/ 5329159 w 6884782"/>
              <a:gd name="connsiteY23864" fmla="*/ 4038313 h 5973007"/>
              <a:gd name="connsiteX23865" fmla="*/ 5330243 w 6884782"/>
              <a:gd name="connsiteY23865" fmla="*/ 4033873 h 5973007"/>
              <a:gd name="connsiteX23866" fmla="*/ 5407846 w 6884782"/>
              <a:gd name="connsiteY23866" fmla="*/ 4033253 h 5973007"/>
              <a:gd name="connsiteX23867" fmla="*/ 5409550 w 6884782"/>
              <a:gd name="connsiteY23867" fmla="*/ 4035215 h 5973007"/>
              <a:gd name="connsiteX23868" fmla="*/ 5407536 w 6884782"/>
              <a:gd name="connsiteY23868" fmla="*/ 4037177 h 5973007"/>
              <a:gd name="connsiteX23869" fmla="*/ 5404903 w 6884782"/>
              <a:gd name="connsiteY23869" fmla="*/ 4037487 h 5973007"/>
              <a:gd name="connsiteX23870" fmla="*/ 5404128 w 6884782"/>
              <a:gd name="connsiteY23870" fmla="*/ 4036454 h 5973007"/>
              <a:gd name="connsiteX23871" fmla="*/ 5403663 w 6884782"/>
              <a:gd name="connsiteY23871" fmla="*/ 4034389 h 5973007"/>
              <a:gd name="connsiteX23872" fmla="*/ 5407846 w 6884782"/>
              <a:gd name="connsiteY23872" fmla="*/ 4033253 h 5973007"/>
              <a:gd name="connsiteX23873" fmla="*/ 5687898 w 6884782"/>
              <a:gd name="connsiteY23873" fmla="*/ 4030362 h 5973007"/>
              <a:gd name="connsiteX23874" fmla="*/ 5692700 w 6884782"/>
              <a:gd name="connsiteY23874" fmla="*/ 4030362 h 5973007"/>
              <a:gd name="connsiteX23875" fmla="*/ 5693629 w 6884782"/>
              <a:gd name="connsiteY23875" fmla="*/ 4031188 h 5973007"/>
              <a:gd name="connsiteX23876" fmla="*/ 5694249 w 6884782"/>
              <a:gd name="connsiteY23876" fmla="*/ 4031911 h 5973007"/>
              <a:gd name="connsiteX23877" fmla="*/ 5695798 w 6884782"/>
              <a:gd name="connsiteY23877" fmla="*/ 4033666 h 5973007"/>
              <a:gd name="connsiteX23878" fmla="*/ 5693784 w 6884782"/>
              <a:gd name="connsiteY23878" fmla="*/ 4035835 h 5973007"/>
              <a:gd name="connsiteX23879" fmla="*/ 5691306 w 6884782"/>
              <a:gd name="connsiteY23879" fmla="*/ 4035732 h 5973007"/>
              <a:gd name="connsiteX23880" fmla="*/ 5687898 w 6884782"/>
              <a:gd name="connsiteY23880" fmla="*/ 4030362 h 5973007"/>
              <a:gd name="connsiteX23881" fmla="*/ 5742267 w 6884782"/>
              <a:gd name="connsiteY23881" fmla="*/ 4027987 h 5973007"/>
              <a:gd name="connsiteX23882" fmla="*/ 5745520 w 6884782"/>
              <a:gd name="connsiteY23882" fmla="*/ 4031395 h 5973007"/>
              <a:gd name="connsiteX23883" fmla="*/ 5744591 w 6884782"/>
              <a:gd name="connsiteY23883" fmla="*/ 4033150 h 5973007"/>
              <a:gd name="connsiteX23884" fmla="*/ 5742112 w 6884782"/>
              <a:gd name="connsiteY23884" fmla="*/ 4033770 h 5973007"/>
              <a:gd name="connsiteX23885" fmla="*/ 5739324 w 6884782"/>
              <a:gd name="connsiteY23885" fmla="*/ 4031085 h 5973007"/>
              <a:gd name="connsiteX23886" fmla="*/ 5740253 w 6884782"/>
              <a:gd name="connsiteY23886" fmla="*/ 4029433 h 5973007"/>
              <a:gd name="connsiteX23887" fmla="*/ 5742267 w 6884782"/>
              <a:gd name="connsiteY23887" fmla="*/ 4027987 h 5973007"/>
              <a:gd name="connsiteX23888" fmla="*/ 5716864 w 6884782"/>
              <a:gd name="connsiteY23888" fmla="*/ 4027884 h 5973007"/>
              <a:gd name="connsiteX23889" fmla="*/ 5720891 w 6884782"/>
              <a:gd name="connsiteY23889" fmla="*/ 4038209 h 5973007"/>
              <a:gd name="connsiteX23890" fmla="*/ 5720272 w 6884782"/>
              <a:gd name="connsiteY23890" fmla="*/ 4039036 h 5973007"/>
              <a:gd name="connsiteX23891" fmla="*/ 5720117 w 6884782"/>
              <a:gd name="connsiteY23891" fmla="*/ 4040275 h 5973007"/>
              <a:gd name="connsiteX23892" fmla="*/ 5717638 w 6884782"/>
              <a:gd name="connsiteY23892" fmla="*/ 4051220 h 5973007"/>
              <a:gd name="connsiteX23893" fmla="*/ 5718413 w 6884782"/>
              <a:gd name="connsiteY23893" fmla="*/ 4044095 h 5973007"/>
              <a:gd name="connsiteX23894" fmla="*/ 5719807 w 6884782"/>
              <a:gd name="connsiteY23894" fmla="*/ 4039862 h 5973007"/>
              <a:gd name="connsiteX23895" fmla="*/ 5718878 w 6884782"/>
              <a:gd name="connsiteY23895" fmla="*/ 4041101 h 5973007"/>
              <a:gd name="connsiteX23896" fmla="*/ 5714231 w 6884782"/>
              <a:gd name="connsiteY23896" fmla="*/ 4039965 h 5973007"/>
              <a:gd name="connsiteX23897" fmla="*/ 5713611 w 6884782"/>
              <a:gd name="connsiteY23897" fmla="*/ 4039242 h 5973007"/>
              <a:gd name="connsiteX23898" fmla="*/ 5713301 w 6884782"/>
              <a:gd name="connsiteY23898" fmla="*/ 4039242 h 5973007"/>
              <a:gd name="connsiteX23899" fmla="*/ 5712992 w 6884782"/>
              <a:gd name="connsiteY23899" fmla="*/ 4039655 h 5973007"/>
              <a:gd name="connsiteX23900" fmla="*/ 5710513 w 6884782"/>
              <a:gd name="connsiteY23900" fmla="*/ 4038209 h 5973007"/>
              <a:gd name="connsiteX23901" fmla="*/ 5709429 w 6884782"/>
              <a:gd name="connsiteY23901" fmla="*/ 4035628 h 5973007"/>
              <a:gd name="connsiteX23902" fmla="*/ 5712062 w 6884782"/>
              <a:gd name="connsiteY23902" fmla="*/ 4033873 h 5973007"/>
              <a:gd name="connsiteX23903" fmla="*/ 5712527 w 6884782"/>
              <a:gd name="connsiteY23903" fmla="*/ 4029742 h 5973007"/>
              <a:gd name="connsiteX23904" fmla="*/ 5716864 w 6884782"/>
              <a:gd name="connsiteY23904" fmla="*/ 4027884 h 5973007"/>
              <a:gd name="connsiteX23905" fmla="*/ 5421322 w 6884782"/>
              <a:gd name="connsiteY23905" fmla="*/ 4027368 h 5973007"/>
              <a:gd name="connsiteX23906" fmla="*/ 5425659 w 6884782"/>
              <a:gd name="connsiteY23906" fmla="*/ 4029639 h 5973007"/>
              <a:gd name="connsiteX23907" fmla="*/ 5426743 w 6884782"/>
              <a:gd name="connsiteY23907" fmla="*/ 4033047 h 5973007"/>
              <a:gd name="connsiteX23908" fmla="*/ 5427363 w 6884782"/>
              <a:gd name="connsiteY23908" fmla="*/ 4034596 h 5973007"/>
              <a:gd name="connsiteX23909" fmla="*/ 5440684 w 6884782"/>
              <a:gd name="connsiteY23909" fmla="*/ 4029227 h 5973007"/>
              <a:gd name="connsiteX23910" fmla="*/ 5442542 w 6884782"/>
              <a:gd name="connsiteY23910" fmla="*/ 4038519 h 5973007"/>
              <a:gd name="connsiteX23911" fmla="*/ 5421322 w 6884782"/>
              <a:gd name="connsiteY23911" fmla="*/ 4045954 h 5973007"/>
              <a:gd name="connsiteX23912" fmla="*/ 5410324 w 6884782"/>
              <a:gd name="connsiteY23912" fmla="*/ 4049568 h 5973007"/>
              <a:gd name="connsiteX23913" fmla="*/ 5411718 w 6884782"/>
              <a:gd name="connsiteY23913" fmla="*/ 4052562 h 5973007"/>
              <a:gd name="connsiteX23914" fmla="*/ 5412338 w 6884782"/>
              <a:gd name="connsiteY23914" fmla="*/ 4058344 h 5973007"/>
              <a:gd name="connsiteX23915" fmla="*/ 5417604 w 6884782"/>
              <a:gd name="connsiteY23915" fmla="*/ 4063817 h 5973007"/>
              <a:gd name="connsiteX23916" fmla="*/ 5412803 w 6884782"/>
              <a:gd name="connsiteY23916" fmla="*/ 4063817 h 5973007"/>
              <a:gd name="connsiteX23917" fmla="*/ 5412957 w 6884782"/>
              <a:gd name="connsiteY23917" fmla="*/ 4064540 h 5973007"/>
              <a:gd name="connsiteX23918" fmla="*/ 5411408 w 6884782"/>
              <a:gd name="connsiteY23918" fmla="*/ 4072284 h 5973007"/>
              <a:gd name="connsiteX23919" fmla="*/ 5405213 w 6884782"/>
              <a:gd name="connsiteY23919" fmla="*/ 4067121 h 5973007"/>
              <a:gd name="connsiteX23920" fmla="*/ 5403354 w 6884782"/>
              <a:gd name="connsiteY23920" fmla="*/ 4060203 h 5973007"/>
              <a:gd name="connsiteX23921" fmla="*/ 5402115 w 6884782"/>
              <a:gd name="connsiteY23921" fmla="*/ 4059171 h 5973007"/>
              <a:gd name="connsiteX23922" fmla="*/ 5399017 w 6884782"/>
              <a:gd name="connsiteY23922" fmla="*/ 4061752 h 5973007"/>
              <a:gd name="connsiteX23923" fmla="*/ 5387710 w 6884782"/>
              <a:gd name="connsiteY23923" fmla="*/ 4064953 h 5973007"/>
              <a:gd name="connsiteX23924" fmla="*/ 5392976 w 6884782"/>
              <a:gd name="connsiteY23924" fmla="*/ 4057105 h 5973007"/>
              <a:gd name="connsiteX23925" fmla="*/ 5397003 w 6884782"/>
              <a:gd name="connsiteY23925" fmla="*/ 4053904 h 5973007"/>
              <a:gd name="connsiteX23926" fmla="*/ 5395454 w 6884782"/>
              <a:gd name="connsiteY23926" fmla="*/ 4051633 h 5973007"/>
              <a:gd name="connsiteX23927" fmla="*/ 5395144 w 6884782"/>
              <a:gd name="connsiteY23927" fmla="*/ 4046367 h 5973007"/>
              <a:gd name="connsiteX23928" fmla="*/ 5400875 w 6884782"/>
              <a:gd name="connsiteY23928" fmla="*/ 4050704 h 5973007"/>
              <a:gd name="connsiteX23929" fmla="*/ 5401031 w 6884782"/>
              <a:gd name="connsiteY23929" fmla="*/ 4050910 h 5973007"/>
              <a:gd name="connsiteX23930" fmla="*/ 5401650 w 6884782"/>
              <a:gd name="connsiteY23930" fmla="*/ 4050394 h 5973007"/>
              <a:gd name="connsiteX23931" fmla="*/ 5403044 w 6884782"/>
              <a:gd name="connsiteY23931" fmla="*/ 4042960 h 5973007"/>
              <a:gd name="connsiteX23932" fmla="*/ 5404128 w 6884782"/>
              <a:gd name="connsiteY23932" fmla="*/ 4041824 h 5973007"/>
              <a:gd name="connsiteX23933" fmla="*/ 5403974 w 6884782"/>
              <a:gd name="connsiteY23933" fmla="*/ 4037590 h 5973007"/>
              <a:gd name="connsiteX23934" fmla="*/ 5410014 w 6884782"/>
              <a:gd name="connsiteY23934" fmla="*/ 4040481 h 5973007"/>
              <a:gd name="connsiteX23935" fmla="*/ 5409240 w 6884782"/>
              <a:gd name="connsiteY23935" fmla="*/ 4042133 h 5973007"/>
              <a:gd name="connsiteX23936" fmla="*/ 5407226 w 6884782"/>
              <a:gd name="connsiteY23936" fmla="*/ 4043166 h 5973007"/>
              <a:gd name="connsiteX23937" fmla="*/ 5408156 w 6884782"/>
              <a:gd name="connsiteY23937" fmla="*/ 4045128 h 5973007"/>
              <a:gd name="connsiteX23938" fmla="*/ 5409085 w 6884782"/>
              <a:gd name="connsiteY23938" fmla="*/ 4044095 h 5973007"/>
              <a:gd name="connsiteX23939" fmla="*/ 5416055 w 6884782"/>
              <a:gd name="connsiteY23939" fmla="*/ 4039552 h 5973007"/>
              <a:gd name="connsiteX23940" fmla="*/ 5420547 w 6884782"/>
              <a:gd name="connsiteY23940" fmla="*/ 4037487 h 5973007"/>
              <a:gd name="connsiteX23941" fmla="*/ 5418534 w 6884782"/>
              <a:gd name="connsiteY23941" fmla="*/ 4036558 h 5973007"/>
              <a:gd name="connsiteX23942" fmla="*/ 5414197 w 6884782"/>
              <a:gd name="connsiteY23942" fmla="*/ 4030775 h 5973007"/>
              <a:gd name="connsiteX23943" fmla="*/ 5421322 w 6884782"/>
              <a:gd name="connsiteY23943" fmla="*/ 4027368 h 5973007"/>
              <a:gd name="connsiteX23944" fmla="*/ 5316767 w 6884782"/>
              <a:gd name="connsiteY23944" fmla="*/ 4026748 h 5973007"/>
              <a:gd name="connsiteX23945" fmla="*/ 5322808 w 6884782"/>
              <a:gd name="connsiteY23945" fmla="*/ 4030156 h 5973007"/>
              <a:gd name="connsiteX23946" fmla="*/ 5320949 w 6884782"/>
              <a:gd name="connsiteY23946" fmla="*/ 4030156 h 5973007"/>
              <a:gd name="connsiteX23947" fmla="*/ 5318781 w 6884782"/>
              <a:gd name="connsiteY23947" fmla="*/ 4029639 h 5973007"/>
              <a:gd name="connsiteX23948" fmla="*/ 5316457 w 6884782"/>
              <a:gd name="connsiteY23948" fmla="*/ 4029123 h 5973007"/>
              <a:gd name="connsiteX23949" fmla="*/ 5314598 w 6884782"/>
              <a:gd name="connsiteY23949" fmla="*/ 4029227 h 5973007"/>
              <a:gd name="connsiteX23950" fmla="*/ 5311345 w 6884782"/>
              <a:gd name="connsiteY23950" fmla="*/ 4027265 h 5973007"/>
              <a:gd name="connsiteX23951" fmla="*/ 5313204 w 6884782"/>
              <a:gd name="connsiteY23951" fmla="*/ 4027058 h 5973007"/>
              <a:gd name="connsiteX23952" fmla="*/ 5315528 w 6884782"/>
              <a:gd name="connsiteY23952" fmla="*/ 4027677 h 5973007"/>
              <a:gd name="connsiteX23953" fmla="*/ 5316767 w 6884782"/>
              <a:gd name="connsiteY23953" fmla="*/ 4026748 h 5973007"/>
              <a:gd name="connsiteX23954" fmla="*/ 5396848 w 6884782"/>
              <a:gd name="connsiteY23954" fmla="*/ 4024786 h 5973007"/>
              <a:gd name="connsiteX23955" fmla="*/ 5393596 w 6884782"/>
              <a:gd name="connsiteY23955" fmla="*/ 4029639 h 5973007"/>
              <a:gd name="connsiteX23956" fmla="*/ 5391737 w 6884782"/>
              <a:gd name="connsiteY23956" fmla="*/ 4026129 h 5973007"/>
              <a:gd name="connsiteX23957" fmla="*/ 5396848 w 6884782"/>
              <a:gd name="connsiteY23957" fmla="*/ 4024786 h 5973007"/>
              <a:gd name="connsiteX23958" fmla="*/ 5722440 w 6884782"/>
              <a:gd name="connsiteY23958" fmla="*/ 4024476 h 5973007"/>
              <a:gd name="connsiteX23959" fmla="*/ 5722285 w 6884782"/>
              <a:gd name="connsiteY23959" fmla="*/ 4031188 h 5973007"/>
              <a:gd name="connsiteX23960" fmla="*/ 5721511 w 6884782"/>
              <a:gd name="connsiteY23960" fmla="*/ 4031808 h 5973007"/>
              <a:gd name="connsiteX23961" fmla="*/ 5722440 w 6884782"/>
              <a:gd name="connsiteY23961" fmla="*/ 4024476 h 5973007"/>
              <a:gd name="connsiteX23962" fmla="*/ 5693010 w 6884782"/>
              <a:gd name="connsiteY23962" fmla="*/ 4021482 h 5973007"/>
              <a:gd name="connsiteX23963" fmla="*/ 5696263 w 6884782"/>
              <a:gd name="connsiteY23963" fmla="*/ 4024580 h 5973007"/>
              <a:gd name="connsiteX23964" fmla="*/ 5696108 w 6884782"/>
              <a:gd name="connsiteY23964" fmla="*/ 4028194 h 5973007"/>
              <a:gd name="connsiteX23965" fmla="*/ 5693010 w 6884782"/>
              <a:gd name="connsiteY23965" fmla="*/ 4021482 h 5973007"/>
              <a:gd name="connsiteX23966" fmla="*/ 5707105 w 6884782"/>
              <a:gd name="connsiteY23966" fmla="*/ 4019417 h 5973007"/>
              <a:gd name="connsiteX23967" fmla="*/ 5714695 w 6884782"/>
              <a:gd name="connsiteY23967" fmla="*/ 4021585 h 5973007"/>
              <a:gd name="connsiteX23968" fmla="*/ 5714076 w 6884782"/>
              <a:gd name="connsiteY23968" fmla="*/ 4025819 h 5973007"/>
              <a:gd name="connsiteX23969" fmla="*/ 5709739 w 6884782"/>
              <a:gd name="connsiteY23969" fmla="*/ 4028813 h 5973007"/>
              <a:gd name="connsiteX23970" fmla="*/ 5706331 w 6884782"/>
              <a:gd name="connsiteY23970" fmla="*/ 4029639 h 5973007"/>
              <a:gd name="connsiteX23971" fmla="*/ 5706486 w 6884782"/>
              <a:gd name="connsiteY23971" fmla="*/ 4031292 h 5973007"/>
              <a:gd name="connsiteX23972" fmla="*/ 5704008 w 6884782"/>
              <a:gd name="connsiteY23972" fmla="*/ 4033357 h 5973007"/>
              <a:gd name="connsiteX23973" fmla="*/ 5701684 w 6884782"/>
              <a:gd name="connsiteY23973" fmla="*/ 4031808 h 5973007"/>
              <a:gd name="connsiteX23974" fmla="*/ 5703233 w 6884782"/>
              <a:gd name="connsiteY23974" fmla="*/ 4029742 h 5973007"/>
              <a:gd name="connsiteX23975" fmla="*/ 5702458 w 6884782"/>
              <a:gd name="connsiteY23975" fmla="*/ 4029742 h 5973007"/>
              <a:gd name="connsiteX23976" fmla="*/ 5702923 w 6884782"/>
              <a:gd name="connsiteY23976" fmla="*/ 4021895 h 5973007"/>
              <a:gd name="connsiteX23977" fmla="*/ 5707105 w 6884782"/>
              <a:gd name="connsiteY23977" fmla="*/ 4019417 h 5973007"/>
              <a:gd name="connsiteX23978" fmla="*/ 5691616 w 6884782"/>
              <a:gd name="connsiteY23978" fmla="*/ 4018384 h 5973007"/>
              <a:gd name="connsiteX23979" fmla="*/ 5692081 w 6884782"/>
              <a:gd name="connsiteY23979" fmla="*/ 4018798 h 5973007"/>
              <a:gd name="connsiteX23980" fmla="*/ 5692855 w 6884782"/>
              <a:gd name="connsiteY23980" fmla="*/ 4021482 h 5973007"/>
              <a:gd name="connsiteX23981" fmla="*/ 5690377 w 6884782"/>
              <a:gd name="connsiteY23981" fmla="*/ 4019417 h 5973007"/>
              <a:gd name="connsiteX23982" fmla="*/ 5691306 w 6884782"/>
              <a:gd name="connsiteY23982" fmla="*/ 4018694 h 5973007"/>
              <a:gd name="connsiteX23983" fmla="*/ 5690377 w 6884782"/>
              <a:gd name="connsiteY23983" fmla="*/ 4018591 h 5973007"/>
              <a:gd name="connsiteX23984" fmla="*/ 5691616 w 6884782"/>
              <a:gd name="connsiteY23984" fmla="*/ 4018384 h 5973007"/>
              <a:gd name="connsiteX23985" fmla="*/ 5386315 w 6884782"/>
              <a:gd name="connsiteY23985" fmla="*/ 4016009 h 5973007"/>
              <a:gd name="connsiteX23986" fmla="*/ 5388174 w 6884782"/>
              <a:gd name="connsiteY23986" fmla="*/ 4021172 h 5973007"/>
              <a:gd name="connsiteX23987" fmla="*/ 5383992 w 6884782"/>
              <a:gd name="connsiteY23987" fmla="*/ 4018488 h 5973007"/>
              <a:gd name="connsiteX23988" fmla="*/ 5386315 w 6884782"/>
              <a:gd name="connsiteY23988" fmla="*/ 4016009 h 5973007"/>
              <a:gd name="connsiteX23989" fmla="*/ 5728326 w 6884782"/>
              <a:gd name="connsiteY23989" fmla="*/ 4014874 h 5973007"/>
              <a:gd name="connsiteX23990" fmla="*/ 5749702 w 6884782"/>
              <a:gd name="connsiteY23990" fmla="*/ 4027677 h 5973007"/>
              <a:gd name="connsiteX23991" fmla="*/ 5736536 w 6884782"/>
              <a:gd name="connsiteY23991" fmla="*/ 4027781 h 5973007"/>
              <a:gd name="connsiteX23992" fmla="*/ 5726932 w 6884782"/>
              <a:gd name="connsiteY23992" fmla="*/ 4024270 h 5973007"/>
              <a:gd name="connsiteX23993" fmla="*/ 5728326 w 6884782"/>
              <a:gd name="connsiteY23993" fmla="*/ 4014874 h 5973007"/>
              <a:gd name="connsiteX23994" fmla="*/ 5417914 w 6884782"/>
              <a:gd name="connsiteY23994" fmla="*/ 4008678 h 5973007"/>
              <a:gd name="connsiteX23995" fmla="*/ 5418998 w 6884782"/>
              <a:gd name="connsiteY23995" fmla="*/ 4010537 h 5973007"/>
              <a:gd name="connsiteX23996" fmla="*/ 5418224 w 6884782"/>
              <a:gd name="connsiteY23996" fmla="*/ 4013222 h 5973007"/>
              <a:gd name="connsiteX23997" fmla="*/ 5414816 w 6884782"/>
              <a:gd name="connsiteY23997" fmla="*/ 4013944 h 5973007"/>
              <a:gd name="connsiteX23998" fmla="*/ 5413887 w 6884782"/>
              <a:gd name="connsiteY23998" fmla="*/ 4012086 h 5973007"/>
              <a:gd name="connsiteX23999" fmla="*/ 5413732 w 6884782"/>
              <a:gd name="connsiteY23999" fmla="*/ 4009401 h 5973007"/>
              <a:gd name="connsiteX24000" fmla="*/ 5417914 w 6884782"/>
              <a:gd name="connsiteY24000" fmla="*/ 4008678 h 5973007"/>
              <a:gd name="connsiteX24001" fmla="*/ 5410169 w 6884782"/>
              <a:gd name="connsiteY24001" fmla="*/ 4007130 h 5973007"/>
              <a:gd name="connsiteX24002" fmla="*/ 5410944 w 6884782"/>
              <a:gd name="connsiteY24002" fmla="*/ 4008059 h 5973007"/>
              <a:gd name="connsiteX24003" fmla="*/ 5414507 w 6884782"/>
              <a:gd name="connsiteY24003" fmla="*/ 4018281 h 5973007"/>
              <a:gd name="connsiteX24004" fmla="*/ 5410944 w 6884782"/>
              <a:gd name="connsiteY24004" fmla="*/ 4019314 h 5973007"/>
              <a:gd name="connsiteX24005" fmla="*/ 5407071 w 6884782"/>
              <a:gd name="connsiteY24005" fmla="*/ 4017042 h 5973007"/>
              <a:gd name="connsiteX24006" fmla="*/ 5402579 w 6884782"/>
              <a:gd name="connsiteY24006" fmla="*/ 4008472 h 5973007"/>
              <a:gd name="connsiteX24007" fmla="*/ 5410169 w 6884782"/>
              <a:gd name="connsiteY24007" fmla="*/ 4007130 h 5973007"/>
              <a:gd name="connsiteX24008" fmla="*/ 485251 w 6884782"/>
              <a:gd name="connsiteY24008" fmla="*/ 4006595 h 5973007"/>
              <a:gd name="connsiteX24009" fmla="*/ 477971 w 6884782"/>
              <a:gd name="connsiteY24009" fmla="*/ 4019812 h 5973007"/>
              <a:gd name="connsiteX24010" fmla="*/ 473169 w 6884782"/>
              <a:gd name="connsiteY24010" fmla="*/ 4014133 h 5973007"/>
              <a:gd name="connsiteX24011" fmla="*/ 485251 w 6884782"/>
              <a:gd name="connsiteY24011" fmla="*/ 4006595 h 5973007"/>
              <a:gd name="connsiteX24012" fmla="*/ 5395144 w 6884782"/>
              <a:gd name="connsiteY24012" fmla="*/ 4005168 h 5973007"/>
              <a:gd name="connsiteX24013" fmla="*/ 5408465 w 6884782"/>
              <a:gd name="connsiteY24013" fmla="*/ 4021379 h 5973007"/>
              <a:gd name="connsiteX24014" fmla="*/ 5408310 w 6884782"/>
              <a:gd name="connsiteY24014" fmla="*/ 4022102 h 5973007"/>
              <a:gd name="connsiteX24015" fmla="*/ 5408775 w 6884782"/>
              <a:gd name="connsiteY24015" fmla="*/ 4022825 h 5973007"/>
              <a:gd name="connsiteX24016" fmla="*/ 5408310 w 6884782"/>
              <a:gd name="connsiteY24016" fmla="*/ 4024890 h 5973007"/>
              <a:gd name="connsiteX24017" fmla="*/ 5407846 w 6884782"/>
              <a:gd name="connsiteY24017" fmla="*/ 4024476 h 5973007"/>
              <a:gd name="connsiteX24018" fmla="*/ 5406917 w 6884782"/>
              <a:gd name="connsiteY24018" fmla="*/ 4026542 h 5973007"/>
              <a:gd name="connsiteX24019" fmla="*/ 5395144 w 6884782"/>
              <a:gd name="connsiteY24019" fmla="*/ 4005168 h 5973007"/>
              <a:gd name="connsiteX24020" fmla="*/ 5466126 w 6884782"/>
              <a:gd name="connsiteY24020" fmla="*/ 4000663 h 5973007"/>
              <a:gd name="connsiteX24021" fmla="*/ 5473987 w 6884782"/>
              <a:gd name="connsiteY24021" fmla="*/ 4004548 h 5973007"/>
              <a:gd name="connsiteX24022" fmla="*/ 5452921 w 6884782"/>
              <a:gd name="connsiteY24022" fmla="*/ 4021895 h 5973007"/>
              <a:gd name="connsiteX24023" fmla="*/ 5456793 w 6884782"/>
              <a:gd name="connsiteY24023" fmla="*/ 4013635 h 5973007"/>
              <a:gd name="connsiteX24024" fmla="*/ 5455244 w 6884782"/>
              <a:gd name="connsiteY24024" fmla="*/ 4012499 h 5973007"/>
              <a:gd name="connsiteX24025" fmla="*/ 5453540 w 6884782"/>
              <a:gd name="connsiteY24025" fmla="*/ 4007336 h 5973007"/>
              <a:gd name="connsiteX24026" fmla="*/ 5454315 w 6884782"/>
              <a:gd name="connsiteY24026" fmla="*/ 4001864 h 5973007"/>
              <a:gd name="connsiteX24027" fmla="*/ 5458962 w 6884782"/>
              <a:gd name="connsiteY24027" fmla="*/ 4005168 h 5973007"/>
              <a:gd name="connsiteX24028" fmla="*/ 5458807 w 6884782"/>
              <a:gd name="connsiteY24028" fmla="*/ 4009195 h 5973007"/>
              <a:gd name="connsiteX24029" fmla="*/ 5460820 w 6884782"/>
              <a:gd name="connsiteY24029" fmla="*/ 4005064 h 5973007"/>
              <a:gd name="connsiteX24030" fmla="*/ 5466126 w 6884782"/>
              <a:gd name="connsiteY24030" fmla="*/ 4000663 h 5973007"/>
              <a:gd name="connsiteX24031" fmla="*/ 5732508 w 6884782"/>
              <a:gd name="connsiteY24031" fmla="*/ 4000108 h 5973007"/>
              <a:gd name="connsiteX24032" fmla="*/ 5735451 w 6884782"/>
              <a:gd name="connsiteY24032" fmla="*/ 4000625 h 5973007"/>
              <a:gd name="connsiteX24033" fmla="*/ 5736536 w 6884782"/>
              <a:gd name="connsiteY24033" fmla="*/ 4001037 h 5973007"/>
              <a:gd name="connsiteX24034" fmla="*/ 5736536 w 6884782"/>
              <a:gd name="connsiteY24034" fmla="*/ 4000831 h 5973007"/>
              <a:gd name="connsiteX24035" fmla="*/ 5738859 w 6884782"/>
              <a:gd name="connsiteY24035" fmla="*/ 4000934 h 5973007"/>
              <a:gd name="connsiteX24036" fmla="*/ 5739634 w 6884782"/>
              <a:gd name="connsiteY24036" fmla="*/ 4000728 h 5973007"/>
              <a:gd name="connsiteX24037" fmla="*/ 5739944 w 6884782"/>
              <a:gd name="connsiteY24037" fmla="*/ 4000934 h 5973007"/>
              <a:gd name="connsiteX24038" fmla="*/ 5740718 w 6884782"/>
              <a:gd name="connsiteY24038" fmla="*/ 4000934 h 5973007"/>
              <a:gd name="connsiteX24039" fmla="*/ 5739479 w 6884782"/>
              <a:gd name="connsiteY24039" fmla="*/ 4004548 h 5973007"/>
              <a:gd name="connsiteX24040" fmla="*/ 5736846 w 6884782"/>
              <a:gd name="connsiteY24040" fmla="*/ 4005374 h 5973007"/>
              <a:gd name="connsiteX24041" fmla="*/ 5736381 w 6884782"/>
              <a:gd name="connsiteY24041" fmla="*/ 4004548 h 5973007"/>
              <a:gd name="connsiteX24042" fmla="*/ 5737001 w 6884782"/>
              <a:gd name="connsiteY24042" fmla="*/ 4004445 h 5973007"/>
              <a:gd name="connsiteX24043" fmla="*/ 5736846 w 6884782"/>
              <a:gd name="connsiteY24043" fmla="*/ 4003102 h 5973007"/>
              <a:gd name="connsiteX24044" fmla="*/ 5735606 w 6884782"/>
              <a:gd name="connsiteY24044" fmla="*/ 4003825 h 5973007"/>
              <a:gd name="connsiteX24045" fmla="*/ 5730960 w 6884782"/>
              <a:gd name="connsiteY24045" fmla="*/ 4005374 h 5973007"/>
              <a:gd name="connsiteX24046" fmla="*/ 5729411 w 6884782"/>
              <a:gd name="connsiteY24046" fmla="*/ 4004651 h 5973007"/>
              <a:gd name="connsiteX24047" fmla="*/ 5729101 w 6884782"/>
              <a:gd name="connsiteY24047" fmla="*/ 4002380 h 5973007"/>
              <a:gd name="connsiteX24048" fmla="*/ 5732508 w 6884782"/>
              <a:gd name="connsiteY24048" fmla="*/ 4000108 h 5973007"/>
              <a:gd name="connsiteX24049" fmla="*/ 5405058 w 6884782"/>
              <a:gd name="connsiteY24049" fmla="*/ 3999179 h 5973007"/>
              <a:gd name="connsiteX24050" fmla="*/ 5398862 w 6884782"/>
              <a:gd name="connsiteY24050" fmla="*/ 4004651 h 5973007"/>
              <a:gd name="connsiteX24051" fmla="*/ 5396539 w 6884782"/>
              <a:gd name="connsiteY24051" fmla="*/ 4004341 h 5973007"/>
              <a:gd name="connsiteX24052" fmla="*/ 5405058 w 6884782"/>
              <a:gd name="connsiteY24052" fmla="*/ 3999179 h 5973007"/>
              <a:gd name="connsiteX24053" fmla="*/ 5432939 w 6884782"/>
              <a:gd name="connsiteY24053" fmla="*/ 3998766 h 5973007"/>
              <a:gd name="connsiteX24054" fmla="*/ 5436811 w 6884782"/>
              <a:gd name="connsiteY24054" fmla="*/ 4001554 h 5973007"/>
              <a:gd name="connsiteX24055" fmla="*/ 5433714 w 6884782"/>
              <a:gd name="connsiteY24055" fmla="*/ 4005684 h 5973007"/>
              <a:gd name="connsiteX24056" fmla="*/ 5429686 w 6884782"/>
              <a:gd name="connsiteY24056" fmla="*/ 4003102 h 5973007"/>
              <a:gd name="connsiteX24057" fmla="*/ 5429532 w 6884782"/>
              <a:gd name="connsiteY24057" fmla="*/ 4000934 h 5973007"/>
              <a:gd name="connsiteX24058" fmla="*/ 5430306 w 6884782"/>
              <a:gd name="connsiteY24058" fmla="*/ 4000521 h 5973007"/>
              <a:gd name="connsiteX24059" fmla="*/ 5432939 w 6884782"/>
              <a:gd name="connsiteY24059" fmla="*/ 3998766 h 5973007"/>
              <a:gd name="connsiteX24060" fmla="*/ 5757447 w 6884782"/>
              <a:gd name="connsiteY24060" fmla="*/ 3996907 h 5973007"/>
              <a:gd name="connsiteX24061" fmla="*/ 5757757 w 6884782"/>
              <a:gd name="connsiteY24061" fmla="*/ 4002483 h 5973007"/>
              <a:gd name="connsiteX24062" fmla="*/ 5752026 w 6884782"/>
              <a:gd name="connsiteY24062" fmla="*/ 4006510 h 5973007"/>
              <a:gd name="connsiteX24063" fmla="*/ 5749237 w 6884782"/>
              <a:gd name="connsiteY24063" fmla="*/ 4005787 h 5973007"/>
              <a:gd name="connsiteX24064" fmla="*/ 5757447 w 6884782"/>
              <a:gd name="connsiteY24064" fmla="*/ 3996907 h 5973007"/>
              <a:gd name="connsiteX24065" fmla="*/ 5390498 w 6884782"/>
              <a:gd name="connsiteY24065" fmla="*/ 3994532 h 5973007"/>
              <a:gd name="connsiteX24066" fmla="*/ 5391272 w 6884782"/>
              <a:gd name="connsiteY24066" fmla="*/ 3994532 h 5973007"/>
              <a:gd name="connsiteX24067" fmla="*/ 5390033 w 6884782"/>
              <a:gd name="connsiteY24067" fmla="*/ 4005064 h 5973007"/>
              <a:gd name="connsiteX24068" fmla="*/ 5388794 w 6884782"/>
              <a:gd name="connsiteY24068" fmla="*/ 4005994 h 5973007"/>
              <a:gd name="connsiteX24069" fmla="*/ 5386625 w 6884782"/>
              <a:gd name="connsiteY24069" fmla="*/ 4004858 h 5973007"/>
              <a:gd name="connsiteX24070" fmla="*/ 5386470 w 6884782"/>
              <a:gd name="connsiteY24070" fmla="*/ 4000521 h 5973007"/>
              <a:gd name="connsiteX24071" fmla="*/ 5389723 w 6884782"/>
              <a:gd name="connsiteY24071" fmla="*/ 3997114 h 5973007"/>
              <a:gd name="connsiteX24072" fmla="*/ 5390498 w 6884782"/>
              <a:gd name="connsiteY24072" fmla="*/ 3994532 h 5973007"/>
              <a:gd name="connsiteX24073" fmla="*/ 5409395 w 6884782"/>
              <a:gd name="connsiteY24073" fmla="*/ 3982968 h 5973007"/>
              <a:gd name="connsiteX24074" fmla="*/ 5412028 w 6884782"/>
              <a:gd name="connsiteY24074" fmla="*/ 3989886 h 5973007"/>
              <a:gd name="connsiteX24075" fmla="*/ 5410014 w 6884782"/>
              <a:gd name="connsiteY24075" fmla="*/ 3991847 h 5973007"/>
              <a:gd name="connsiteX24076" fmla="*/ 5405213 w 6884782"/>
              <a:gd name="connsiteY24076" fmla="*/ 3988543 h 5973007"/>
              <a:gd name="connsiteX24077" fmla="*/ 5405677 w 6884782"/>
              <a:gd name="connsiteY24077" fmla="*/ 3985756 h 5973007"/>
              <a:gd name="connsiteX24078" fmla="*/ 5409395 w 6884782"/>
              <a:gd name="connsiteY24078" fmla="*/ 3982968 h 5973007"/>
              <a:gd name="connsiteX24079" fmla="*/ 5431235 w 6884782"/>
              <a:gd name="connsiteY24079" fmla="*/ 3980386 h 5973007"/>
              <a:gd name="connsiteX24080" fmla="*/ 5428757 w 6884782"/>
              <a:gd name="connsiteY24080" fmla="*/ 3984413 h 5973007"/>
              <a:gd name="connsiteX24081" fmla="*/ 5424730 w 6884782"/>
              <a:gd name="connsiteY24081" fmla="*/ 3982761 h 5973007"/>
              <a:gd name="connsiteX24082" fmla="*/ 5431235 w 6884782"/>
              <a:gd name="connsiteY24082" fmla="*/ 3980386 h 5973007"/>
              <a:gd name="connsiteX24083" fmla="*/ 480759 w 6884782"/>
              <a:gd name="connsiteY24083" fmla="*/ 3955483 h 5973007"/>
              <a:gd name="connsiteX24084" fmla="*/ 488659 w 6884782"/>
              <a:gd name="connsiteY24084" fmla="*/ 3966738 h 5973007"/>
              <a:gd name="connsiteX24085" fmla="*/ 479985 w 6884782"/>
              <a:gd name="connsiteY24085" fmla="*/ 3971178 h 5973007"/>
              <a:gd name="connsiteX24086" fmla="*/ 470227 w 6884782"/>
              <a:gd name="connsiteY24086" fmla="*/ 3968081 h 5973007"/>
              <a:gd name="connsiteX24087" fmla="*/ 480759 w 6884782"/>
              <a:gd name="connsiteY24087" fmla="*/ 3955483 h 5973007"/>
              <a:gd name="connsiteX24088" fmla="*/ 5776809 w 6884782"/>
              <a:gd name="connsiteY24088" fmla="*/ 3952610 h 5973007"/>
              <a:gd name="connsiteX24089" fmla="*/ 5770303 w 6884782"/>
              <a:gd name="connsiteY24089" fmla="*/ 3960251 h 5973007"/>
              <a:gd name="connsiteX24090" fmla="*/ 5773246 w 6884782"/>
              <a:gd name="connsiteY24090" fmla="*/ 3961800 h 5973007"/>
              <a:gd name="connsiteX24091" fmla="*/ 5775415 w 6884782"/>
              <a:gd name="connsiteY24091" fmla="*/ 3965207 h 5973007"/>
              <a:gd name="connsiteX24092" fmla="*/ 5772317 w 6884782"/>
              <a:gd name="connsiteY24092" fmla="*/ 3966860 h 5973007"/>
              <a:gd name="connsiteX24093" fmla="*/ 5769219 w 6884782"/>
              <a:gd name="connsiteY24093" fmla="*/ 3966756 h 5973007"/>
              <a:gd name="connsiteX24094" fmla="*/ 5769683 w 6884782"/>
              <a:gd name="connsiteY24094" fmla="*/ 3973055 h 5973007"/>
              <a:gd name="connsiteX24095" fmla="*/ 5766586 w 6884782"/>
              <a:gd name="connsiteY24095" fmla="*/ 3982451 h 5973007"/>
              <a:gd name="connsiteX24096" fmla="*/ 5771697 w 6884782"/>
              <a:gd name="connsiteY24096" fmla="*/ 3984310 h 5973007"/>
              <a:gd name="connsiteX24097" fmla="*/ 5773401 w 6884782"/>
              <a:gd name="connsiteY24097" fmla="*/ 3985033 h 5973007"/>
              <a:gd name="connsiteX24098" fmla="*/ 5773401 w 6884782"/>
              <a:gd name="connsiteY24098" fmla="*/ 3984000 h 5973007"/>
              <a:gd name="connsiteX24099" fmla="*/ 5773711 w 6884782"/>
              <a:gd name="connsiteY24099" fmla="*/ 3985136 h 5973007"/>
              <a:gd name="connsiteX24100" fmla="*/ 5777584 w 6884782"/>
              <a:gd name="connsiteY24100" fmla="*/ 3986581 h 5973007"/>
              <a:gd name="connsiteX24101" fmla="*/ 5777428 w 6884782"/>
              <a:gd name="connsiteY24101" fmla="*/ 3983897 h 5973007"/>
              <a:gd name="connsiteX24102" fmla="*/ 5776344 w 6884782"/>
              <a:gd name="connsiteY24102" fmla="*/ 3983691 h 5973007"/>
              <a:gd name="connsiteX24103" fmla="*/ 5775105 w 6884782"/>
              <a:gd name="connsiteY24103" fmla="*/ 3981935 h 5973007"/>
              <a:gd name="connsiteX24104" fmla="*/ 5777273 w 6884782"/>
              <a:gd name="connsiteY24104" fmla="*/ 3982555 h 5973007"/>
              <a:gd name="connsiteX24105" fmla="*/ 5777428 w 6884782"/>
              <a:gd name="connsiteY24105" fmla="*/ 3982555 h 5973007"/>
              <a:gd name="connsiteX24106" fmla="*/ 5776964 w 6884782"/>
              <a:gd name="connsiteY24106" fmla="*/ 3976669 h 5973007"/>
              <a:gd name="connsiteX24107" fmla="*/ 5777893 w 6884782"/>
              <a:gd name="connsiteY24107" fmla="*/ 3968718 h 5973007"/>
              <a:gd name="connsiteX24108" fmla="*/ 5778203 w 6884782"/>
              <a:gd name="connsiteY24108" fmla="*/ 3968718 h 5973007"/>
              <a:gd name="connsiteX24109" fmla="*/ 5778203 w 6884782"/>
              <a:gd name="connsiteY24109" fmla="*/ 3968512 h 5973007"/>
              <a:gd name="connsiteX24110" fmla="*/ 5778203 w 6884782"/>
              <a:gd name="connsiteY24110" fmla="*/ 3968408 h 5973007"/>
              <a:gd name="connsiteX24111" fmla="*/ 5778048 w 6884782"/>
              <a:gd name="connsiteY24111" fmla="*/ 3966550 h 5973007"/>
              <a:gd name="connsiteX24112" fmla="*/ 5777584 w 6884782"/>
              <a:gd name="connsiteY24112" fmla="*/ 3966550 h 5973007"/>
              <a:gd name="connsiteX24113" fmla="*/ 5775880 w 6884782"/>
              <a:gd name="connsiteY24113" fmla="*/ 3965621 h 5973007"/>
              <a:gd name="connsiteX24114" fmla="*/ 5775415 w 6884782"/>
              <a:gd name="connsiteY24114" fmla="*/ 3964072 h 5973007"/>
              <a:gd name="connsiteX24115" fmla="*/ 5776499 w 6884782"/>
              <a:gd name="connsiteY24115" fmla="*/ 3962420 h 5973007"/>
              <a:gd name="connsiteX24116" fmla="*/ 5777273 w 6884782"/>
              <a:gd name="connsiteY24116" fmla="*/ 3961387 h 5973007"/>
              <a:gd name="connsiteX24117" fmla="*/ 5776964 w 6884782"/>
              <a:gd name="connsiteY24117" fmla="*/ 3959012 h 5973007"/>
              <a:gd name="connsiteX24118" fmla="*/ 547210 w 6884782"/>
              <a:gd name="connsiteY24118" fmla="*/ 3940924 h 5973007"/>
              <a:gd name="connsiteX24119" fmla="*/ 555574 w 6884782"/>
              <a:gd name="connsiteY24119" fmla="*/ 3950734 h 5973007"/>
              <a:gd name="connsiteX24120" fmla="*/ 536522 w 6884782"/>
              <a:gd name="connsiteY24120" fmla="*/ 3961163 h 5973007"/>
              <a:gd name="connsiteX24121" fmla="*/ 547210 w 6884782"/>
              <a:gd name="connsiteY24121" fmla="*/ 3940924 h 5973007"/>
              <a:gd name="connsiteX24122" fmla="*/ 5824052 w 6884782"/>
              <a:gd name="connsiteY24122" fmla="*/ 3919981 h 5973007"/>
              <a:gd name="connsiteX24123" fmla="*/ 5826530 w 6884782"/>
              <a:gd name="connsiteY24123" fmla="*/ 3923286 h 5973007"/>
              <a:gd name="connsiteX24124" fmla="*/ 5823433 w 6884782"/>
              <a:gd name="connsiteY24124" fmla="*/ 3925041 h 5973007"/>
              <a:gd name="connsiteX24125" fmla="*/ 5823278 w 6884782"/>
              <a:gd name="connsiteY24125" fmla="*/ 3925247 h 5973007"/>
              <a:gd name="connsiteX24126" fmla="*/ 5826376 w 6884782"/>
              <a:gd name="connsiteY24126" fmla="*/ 3928035 h 5973007"/>
              <a:gd name="connsiteX24127" fmla="*/ 5829474 w 6884782"/>
              <a:gd name="connsiteY24127" fmla="*/ 3948893 h 5973007"/>
              <a:gd name="connsiteX24128" fmla="*/ 5824207 w 6884782"/>
              <a:gd name="connsiteY24128" fmla="*/ 3953746 h 5973007"/>
              <a:gd name="connsiteX24129" fmla="*/ 5825601 w 6884782"/>
              <a:gd name="connsiteY24129" fmla="*/ 3955501 h 5973007"/>
              <a:gd name="connsiteX24130" fmla="*/ 5822658 w 6884782"/>
              <a:gd name="connsiteY24130" fmla="*/ 3964381 h 5973007"/>
              <a:gd name="connsiteX24131" fmla="*/ 5825756 w 6884782"/>
              <a:gd name="connsiteY24131" fmla="*/ 3959322 h 5973007"/>
              <a:gd name="connsiteX24132" fmla="*/ 5827305 w 6884782"/>
              <a:gd name="connsiteY24132" fmla="*/ 3967892 h 5973007"/>
              <a:gd name="connsiteX24133" fmla="*/ 5826221 w 6884782"/>
              <a:gd name="connsiteY24133" fmla="*/ 3970887 h 5973007"/>
              <a:gd name="connsiteX24134" fmla="*/ 5828234 w 6884782"/>
              <a:gd name="connsiteY24134" fmla="*/ 3970990 h 5973007"/>
              <a:gd name="connsiteX24135" fmla="*/ 5832262 w 6884782"/>
              <a:gd name="connsiteY24135" fmla="*/ 3977908 h 5973007"/>
              <a:gd name="connsiteX24136" fmla="*/ 5827615 w 6884782"/>
              <a:gd name="connsiteY24136" fmla="*/ 3983794 h 5973007"/>
              <a:gd name="connsiteX24137" fmla="*/ 5823742 w 6884782"/>
              <a:gd name="connsiteY24137" fmla="*/ 3980076 h 5973007"/>
              <a:gd name="connsiteX24138" fmla="*/ 5823433 w 6884782"/>
              <a:gd name="connsiteY24138" fmla="*/ 3979767 h 5973007"/>
              <a:gd name="connsiteX24139" fmla="*/ 5822039 w 6884782"/>
              <a:gd name="connsiteY24139" fmla="*/ 3984723 h 5973007"/>
              <a:gd name="connsiteX24140" fmla="*/ 5823433 w 6884782"/>
              <a:gd name="connsiteY24140" fmla="*/ 3991744 h 5973007"/>
              <a:gd name="connsiteX24141" fmla="*/ 5817547 w 6884782"/>
              <a:gd name="connsiteY24141" fmla="*/ 3992158 h 5973007"/>
              <a:gd name="connsiteX24142" fmla="*/ 5820180 w 6884782"/>
              <a:gd name="connsiteY24142" fmla="*/ 4000728 h 5973007"/>
              <a:gd name="connsiteX24143" fmla="*/ 5822348 w 6884782"/>
              <a:gd name="connsiteY24143" fmla="*/ 3999179 h 5973007"/>
              <a:gd name="connsiteX24144" fmla="*/ 5823587 w 6884782"/>
              <a:gd name="connsiteY24144" fmla="*/ 3999385 h 5973007"/>
              <a:gd name="connsiteX24145" fmla="*/ 5824982 w 6884782"/>
              <a:gd name="connsiteY24145" fmla="*/ 3991435 h 5973007"/>
              <a:gd name="connsiteX24146" fmla="*/ 5826686 w 6884782"/>
              <a:gd name="connsiteY24146" fmla="*/ 3997320 h 5973007"/>
              <a:gd name="connsiteX24147" fmla="*/ 5826530 w 6884782"/>
              <a:gd name="connsiteY24147" fmla="*/ 3999695 h 5973007"/>
              <a:gd name="connsiteX24148" fmla="*/ 5827460 w 6884782"/>
              <a:gd name="connsiteY24148" fmla="*/ 3999902 h 5973007"/>
              <a:gd name="connsiteX24149" fmla="*/ 5833191 w 6884782"/>
              <a:gd name="connsiteY24149" fmla="*/ 4003516 h 5973007"/>
              <a:gd name="connsiteX24150" fmla="*/ 5833656 w 6884782"/>
              <a:gd name="connsiteY24150" fmla="*/ 4003516 h 5973007"/>
              <a:gd name="connsiteX24151" fmla="*/ 5833656 w 6884782"/>
              <a:gd name="connsiteY24151" fmla="*/ 4003825 h 5973007"/>
              <a:gd name="connsiteX24152" fmla="*/ 5837993 w 6884782"/>
              <a:gd name="connsiteY24152" fmla="*/ 4006613 h 5973007"/>
              <a:gd name="connsiteX24153" fmla="*/ 5833656 w 6884782"/>
              <a:gd name="connsiteY24153" fmla="*/ 4009711 h 5973007"/>
              <a:gd name="connsiteX24154" fmla="*/ 5834431 w 6884782"/>
              <a:gd name="connsiteY24154" fmla="*/ 4014048 h 5973007"/>
              <a:gd name="connsiteX24155" fmla="*/ 5833966 w 6884782"/>
              <a:gd name="connsiteY24155" fmla="*/ 4014048 h 5973007"/>
              <a:gd name="connsiteX24156" fmla="*/ 5835205 w 6884782"/>
              <a:gd name="connsiteY24156" fmla="*/ 4015700 h 5973007"/>
              <a:gd name="connsiteX24157" fmla="*/ 5839851 w 6884782"/>
              <a:gd name="connsiteY24157" fmla="*/ 4027987 h 5973007"/>
              <a:gd name="connsiteX24158" fmla="*/ 5829629 w 6884782"/>
              <a:gd name="connsiteY24158" fmla="*/ 4019624 h 5973007"/>
              <a:gd name="connsiteX24159" fmla="*/ 5826995 w 6884782"/>
              <a:gd name="connsiteY24159" fmla="*/ 4016423 h 5973007"/>
              <a:gd name="connsiteX24160" fmla="*/ 5827770 w 6884782"/>
              <a:gd name="connsiteY24160" fmla="*/ 4019417 h 5973007"/>
              <a:gd name="connsiteX24161" fmla="*/ 5824982 w 6884782"/>
              <a:gd name="connsiteY24161" fmla="*/ 4014667 h 5973007"/>
              <a:gd name="connsiteX24162" fmla="*/ 5824517 w 6884782"/>
              <a:gd name="connsiteY24162" fmla="*/ 4014874 h 5973007"/>
              <a:gd name="connsiteX24163" fmla="*/ 5824362 w 6884782"/>
              <a:gd name="connsiteY24163" fmla="*/ 4020656 h 5973007"/>
              <a:gd name="connsiteX24164" fmla="*/ 5823433 w 6884782"/>
              <a:gd name="connsiteY24164" fmla="*/ 4027058 h 5973007"/>
              <a:gd name="connsiteX24165" fmla="*/ 5820335 w 6884782"/>
              <a:gd name="connsiteY24165" fmla="*/ 4030981 h 5973007"/>
              <a:gd name="connsiteX24166" fmla="*/ 5820335 w 6884782"/>
              <a:gd name="connsiteY24166" fmla="*/ 4033357 h 5973007"/>
              <a:gd name="connsiteX24167" fmla="*/ 5820490 w 6884782"/>
              <a:gd name="connsiteY24167" fmla="*/ 4035112 h 5973007"/>
              <a:gd name="connsiteX24168" fmla="*/ 5824052 w 6884782"/>
              <a:gd name="connsiteY24168" fmla="*/ 4040791 h 5973007"/>
              <a:gd name="connsiteX24169" fmla="*/ 5823123 w 6884782"/>
              <a:gd name="connsiteY24169" fmla="*/ 4028607 h 5973007"/>
              <a:gd name="connsiteX24170" fmla="*/ 5831023 w 6884782"/>
              <a:gd name="connsiteY24170" fmla="*/ 4035422 h 5973007"/>
              <a:gd name="connsiteX24171" fmla="*/ 5826376 w 6884782"/>
              <a:gd name="connsiteY24171" fmla="*/ 4044611 h 5973007"/>
              <a:gd name="connsiteX24172" fmla="*/ 5824982 w 6884782"/>
              <a:gd name="connsiteY24172" fmla="*/ 4050910 h 5973007"/>
              <a:gd name="connsiteX24173" fmla="*/ 5825137 w 6884782"/>
              <a:gd name="connsiteY24173" fmla="*/ 4052459 h 5973007"/>
              <a:gd name="connsiteX24174" fmla="*/ 5824982 w 6884782"/>
              <a:gd name="connsiteY24174" fmla="*/ 4053182 h 5973007"/>
              <a:gd name="connsiteX24175" fmla="*/ 5824672 w 6884782"/>
              <a:gd name="connsiteY24175" fmla="*/ 4053904 h 5973007"/>
              <a:gd name="connsiteX24176" fmla="*/ 5824827 w 6884782"/>
              <a:gd name="connsiteY24176" fmla="*/ 4055454 h 5973007"/>
              <a:gd name="connsiteX24177" fmla="*/ 5829938 w 6884782"/>
              <a:gd name="connsiteY24177" fmla="*/ 4055454 h 5973007"/>
              <a:gd name="connsiteX24178" fmla="*/ 5826066 w 6884782"/>
              <a:gd name="connsiteY24178" fmla="*/ 4058035 h 5973007"/>
              <a:gd name="connsiteX24179" fmla="*/ 5831332 w 6884782"/>
              <a:gd name="connsiteY24179" fmla="*/ 4066399 h 5973007"/>
              <a:gd name="connsiteX24180" fmla="*/ 5831952 w 6884782"/>
              <a:gd name="connsiteY24180" fmla="*/ 4068877 h 5973007"/>
              <a:gd name="connsiteX24181" fmla="*/ 5832107 w 6884782"/>
              <a:gd name="connsiteY24181" fmla="*/ 4070426 h 5973007"/>
              <a:gd name="connsiteX24182" fmla="*/ 5832727 w 6884782"/>
              <a:gd name="connsiteY24182" fmla="*/ 4070632 h 5973007"/>
              <a:gd name="connsiteX24183" fmla="*/ 5832572 w 6884782"/>
              <a:gd name="connsiteY24183" fmla="*/ 4071355 h 5973007"/>
              <a:gd name="connsiteX24184" fmla="*/ 5833501 w 6884782"/>
              <a:gd name="connsiteY24184" fmla="*/ 4079202 h 5973007"/>
              <a:gd name="connsiteX24185" fmla="*/ 5833811 w 6884782"/>
              <a:gd name="connsiteY24185" fmla="*/ 4080751 h 5973007"/>
              <a:gd name="connsiteX24186" fmla="*/ 5835670 w 6884782"/>
              <a:gd name="connsiteY24186" fmla="*/ 4082713 h 5973007"/>
              <a:gd name="connsiteX24187" fmla="*/ 5836599 w 6884782"/>
              <a:gd name="connsiteY24187" fmla="*/ 4085398 h 5973007"/>
              <a:gd name="connsiteX24188" fmla="*/ 5836289 w 6884782"/>
              <a:gd name="connsiteY24188" fmla="*/ 4087050 h 5973007"/>
              <a:gd name="connsiteX24189" fmla="*/ 5837219 w 6884782"/>
              <a:gd name="connsiteY24189" fmla="*/ 4085191 h 5973007"/>
              <a:gd name="connsiteX24190" fmla="*/ 5841710 w 6884782"/>
              <a:gd name="connsiteY24190" fmla="*/ 4080441 h 5973007"/>
              <a:gd name="connsiteX24191" fmla="*/ 5841555 w 6884782"/>
              <a:gd name="connsiteY24191" fmla="*/ 4083229 h 5973007"/>
              <a:gd name="connsiteX24192" fmla="*/ 5841091 w 6884782"/>
              <a:gd name="connsiteY24192" fmla="*/ 4084365 h 5973007"/>
              <a:gd name="connsiteX24193" fmla="*/ 5841401 w 6884782"/>
              <a:gd name="connsiteY24193" fmla="*/ 4085191 h 5973007"/>
              <a:gd name="connsiteX24194" fmla="*/ 5840626 w 6884782"/>
              <a:gd name="connsiteY24194" fmla="*/ 4085501 h 5973007"/>
              <a:gd name="connsiteX24195" fmla="*/ 5839542 w 6884782"/>
              <a:gd name="connsiteY24195" fmla="*/ 4087773 h 5973007"/>
              <a:gd name="connsiteX24196" fmla="*/ 5838613 w 6884782"/>
              <a:gd name="connsiteY24196" fmla="*/ 4093658 h 5973007"/>
              <a:gd name="connsiteX24197" fmla="*/ 5838303 w 6884782"/>
              <a:gd name="connsiteY24197" fmla="*/ 4094071 h 5973007"/>
              <a:gd name="connsiteX24198" fmla="*/ 5840006 w 6884782"/>
              <a:gd name="connsiteY24198" fmla="*/ 4096652 h 5973007"/>
              <a:gd name="connsiteX24199" fmla="*/ 5839387 w 6884782"/>
              <a:gd name="connsiteY24199" fmla="*/ 4104397 h 5973007"/>
              <a:gd name="connsiteX24200" fmla="*/ 5841555 w 6884782"/>
              <a:gd name="connsiteY24200" fmla="*/ 4098718 h 5973007"/>
              <a:gd name="connsiteX24201" fmla="*/ 5842794 w 6884782"/>
              <a:gd name="connsiteY24201" fmla="*/ 4097272 h 5973007"/>
              <a:gd name="connsiteX24202" fmla="*/ 5841246 w 6884782"/>
              <a:gd name="connsiteY24202" fmla="*/ 4096343 h 5973007"/>
              <a:gd name="connsiteX24203" fmla="*/ 5843414 w 6884782"/>
              <a:gd name="connsiteY24203" fmla="*/ 4087669 h 5973007"/>
              <a:gd name="connsiteX24204" fmla="*/ 5847906 w 6884782"/>
              <a:gd name="connsiteY24204" fmla="*/ 4088185 h 5973007"/>
              <a:gd name="connsiteX24205" fmla="*/ 5849145 w 6884782"/>
              <a:gd name="connsiteY24205" fmla="*/ 4089322 h 5973007"/>
              <a:gd name="connsiteX24206" fmla="*/ 5850384 w 6884782"/>
              <a:gd name="connsiteY24206" fmla="*/ 4088185 h 5973007"/>
              <a:gd name="connsiteX24207" fmla="*/ 5849300 w 6884782"/>
              <a:gd name="connsiteY24207" fmla="*/ 4081784 h 5973007"/>
              <a:gd name="connsiteX24208" fmla="*/ 5848216 w 6884782"/>
              <a:gd name="connsiteY24208" fmla="*/ 4076208 h 5973007"/>
              <a:gd name="connsiteX24209" fmla="*/ 5847287 w 6884782"/>
              <a:gd name="connsiteY24209" fmla="*/ 4068361 h 5973007"/>
              <a:gd name="connsiteX24210" fmla="*/ 5847596 w 6884782"/>
              <a:gd name="connsiteY24210" fmla="*/ 4067638 h 5973007"/>
              <a:gd name="connsiteX24211" fmla="*/ 5846822 w 6884782"/>
              <a:gd name="connsiteY24211" fmla="*/ 4067431 h 5973007"/>
              <a:gd name="connsiteX24212" fmla="*/ 5846667 w 6884782"/>
              <a:gd name="connsiteY24212" fmla="*/ 4065882 h 5973007"/>
              <a:gd name="connsiteX24213" fmla="*/ 5846512 w 6884782"/>
              <a:gd name="connsiteY24213" fmla="*/ 4059894 h 5973007"/>
              <a:gd name="connsiteX24214" fmla="*/ 5846977 w 6884782"/>
              <a:gd name="connsiteY24214" fmla="*/ 4054731 h 5973007"/>
              <a:gd name="connsiteX24215" fmla="*/ 5847132 w 6884782"/>
              <a:gd name="connsiteY24215" fmla="*/ 4051736 h 5973007"/>
              <a:gd name="connsiteX24216" fmla="*/ 5847596 w 6884782"/>
              <a:gd name="connsiteY24216" fmla="*/ 4050394 h 5973007"/>
              <a:gd name="connsiteX24217" fmla="*/ 5848371 w 6884782"/>
              <a:gd name="connsiteY24217" fmla="*/ 4048329 h 5973007"/>
              <a:gd name="connsiteX24218" fmla="*/ 5846357 w 6884782"/>
              <a:gd name="connsiteY24218" fmla="*/ 4047709 h 5973007"/>
              <a:gd name="connsiteX24219" fmla="*/ 5845893 w 6884782"/>
              <a:gd name="connsiteY24219" fmla="*/ 4049051 h 5973007"/>
              <a:gd name="connsiteX24220" fmla="*/ 5845428 w 6884782"/>
              <a:gd name="connsiteY24220" fmla="*/ 4050394 h 5973007"/>
              <a:gd name="connsiteX24221" fmla="*/ 5845893 w 6884782"/>
              <a:gd name="connsiteY24221" fmla="*/ 4051323 h 5973007"/>
              <a:gd name="connsiteX24222" fmla="*/ 5844189 w 6884782"/>
              <a:gd name="connsiteY24222" fmla="*/ 4050084 h 5973007"/>
              <a:gd name="connsiteX24223" fmla="*/ 5843260 w 6884782"/>
              <a:gd name="connsiteY24223" fmla="*/ 4046057 h 5973007"/>
              <a:gd name="connsiteX24224" fmla="*/ 5845583 w 6884782"/>
              <a:gd name="connsiteY24224" fmla="*/ 4039242 h 5973007"/>
              <a:gd name="connsiteX24225" fmla="*/ 5840781 w 6884782"/>
              <a:gd name="connsiteY24225" fmla="*/ 4019624 h 5973007"/>
              <a:gd name="connsiteX24226" fmla="*/ 5840471 w 6884782"/>
              <a:gd name="connsiteY24226" fmla="*/ 4009814 h 5973007"/>
              <a:gd name="connsiteX24227" fmla="*/ 5839851 w 6884782"/>
              <a:gd name="connsiteY24227" fmla="*/ 4007336 h 5973007"/>
              <a:gd name="connsiteX24228" fmla="*/ 5839232 w 6884782"/>
              <a:gd name="connsiteY24228" fmla="*/ 4004858 h 5973007"/>
              <a:gd name="connsiteX24229" fmla="*/ 5836599 w 6884782"/>
              <a:gd name="connsiteY24229" fmla="*/ 4005271 h 5973007"/>
              <a:gd name="connsiteX24230" fmla="*/ 5838458 w 6884782"/>
              <a:gd name="connsiteY24230" fmla="*/ 4001554 h 5973007"/>
              <a:gd name="connsiteX24231" fmla="*/ 5837993 w 6884782"/>
              <a:gd name="connsiteY24231" fmla="*/ 4000005 h 5973007"/>
              <a:gd name="connsiteX24232" fmla="*/ 5841865 w 6884782"/>
              <a:gd name="connsiteY24232" fmla="*/ 3988337 h 5973007"/>
              <a:gd name="connsiteX24233" fmla="*/ 5844344 w 6884782"/>
              <a:gd name="connsiteY24233" fmla="*/ 3979354 h 5973007"/>
              <a:gd name="connsiteX24234" fmla="*/ 5838613 w 6884782"/>
              <a:gd name="connsiteY24234" fmla="*/ 3976772 h 5973007"/>
              <a:gd name="connsiteX24235" fmla="*/ 5837838 w 6884782"/>
              <a:gd name="connsiteY24235" fmla="*/ 3963246 h 5973007"/>
              <a:gd name="connsiteX24236" fmla="*/ 5837528 w 6884782"/>
              <a:gd name="connsiteY24236" fmla="*/ 3957567 h 5973007"/>
              <a:gd name="connsiteX24237" fmla="*/ 5832262 w 6884782"/>
              <a:gd name="connsiteY24237" fmla="*/ 3950648 h 5973007"/>
              <a:gd name="connsiteX24238" fmla="*/ 5833501 w 6884782"/>
              <a:gd name="connsiteY24238" fmla="*/ 3948790 h 5973007"/>
              <a:gd name="connsiteX24239" fmla="*/ 5831487 w 6884782"/>
              <a:gd name="connsiteY24239" fmla="*/ 3948996 h 5973007"/>
              <a:gd name="connsiteX24240" fmla="*/ 5835824 w 6884782"/>
              <a:gd name="connsiteY24240" fmla="*/ 3945072 h 5973007"/>
              <a:gd name="connsiteX24241" fmla="*/ 5834120 w 6884782"/>
              <a:gd name="connsiteY24241" fmla="*/ 3941562 h 5973007"/>
              <a:gd name="connsiteX24242" fmla="*/ 5834740 w 6884782"/>
              <a:gd name="connsiteY24242" fmla="*/ 3937225 h 5973007"/>
              <a:gd name="connsiteX24243" fmla="*/ 5831952 w 6884782"/>
              <a:gd name="connsiteY24243" fmla="*/ 3928861 h 5973007"/>
              <a:gd name="connsiteX24244" fmla="*/ 5836134 w 6884782"/>
              <a:gd name="connsiteY24244" fmla="*/ 3927106 h 5973007"/>
              <a:gd name="connsiteX24245" fmla="*/ 5834120 w 6884782"/>
              <a:gd name="connsiteY24245" fmla="*/ 3921943 h 5973007"/>
              <a:gd name="connsiteX24246" fmla="*/ 5825756 w 6884782"/>
              <a:gd name="connsiteY24246" fmla="*/ 3920601 h 5973007"/>
              <a:gd name="connsiteX24247" fmla="*/ 641075 w 6884782"/>
              <a:gd name="connsiteY24247" fmla="*/ 3900621 h 5973007"/>
              <a:gd name="connsiteX24248" fmla="*/ 641697 w 6884782"/>
              <a:gd name="connsiteY24248" fmla="*/ 3901481 h 5973007"/>
              <a:gd name="connsiteX24249" fmla="*/ 644639 w 6884782"/>
              <a:gd name="connsiteY24249" fmla="*/ 3905817 h 5973007"/>
              <a:gd name="connsiteX24250" fmla="*/ 645724 w 6884782"/>
              <a:gd name="connsiteY24250" fmla="*/ 3906953 h 5973007"/>
              <a:gd name="connsiteX24251" fmla="*/ 645724 w 6884782"/>
              <a:gd name="connsiteY24251" fmla="*/ 3907573 h 5973007"/>
              <a:gd name="connsiteX24252" fmla="*/ 646343 w 6884782"/>
              <a:gd name="connsiteY24252" fmla="*/ 3908089 h 5973007"/>
              <a:gd name="connsiteX24253" fmla="*/ 646963 w 6884782"/>
              <a:gd name="connsiteY24253" fmla="*/ 3909121 h 5973007"/>
              <a:gd name="connsiteX24254" fmla="*/ 654863 w 6884782"/>
              <a:gd name="connsiteY24254" fmla="*/ 3917176 h 5973007"/>
              <a:gd name="connsiteX24255" fmla="*/ 664621 w 6884782"/>
              <a:gd name="connsiteY24255" fmla="*/ 3912839 h 5973007"/>
              <a:gd name="connsiteX24256" fmla="*/ 665706 w 6884782"/>
              <a:gd name="connsiteY24256" fmla="*/ 3914491 h 5973007"/>
              <a:gd name="connsiteX24257" fmla="*/ 668029 w 6884782"/>
              <a:gd name="connsiteY24257" fmla="*/ 3918828 h 5973007"/>
              <a:gd name="connsiteX24258" fmla="*/ 668029 w 6884782"/>
              <a:gd name="connsiteY24258" fmla="*/ 3919447 h 5973007"/>
              <a:gd name="connsiteX24259" fmla="*/ 668493 w 6884782"/>
              <a:gd name="connsiteY24259" fmla="*/ 3919964 h 5973007"/>
              <a:gd name="connsiteX24260" fmla="*/ 669733 w 6884782"/>
              <a:gd name="connsiteY24260" fmla="*/ 3920996 h 5973007"/>
              <a:gd name="connsiteX24261" fmla="*/ 674225 w 6884782"/>
              <a:gd name="connsiteY24261" fmla="*/ 3925333 h 5973007"/>
              <a:gd name="connsiteX24262" fmla="*/ 677943 w 6884782"/>
              <a:gd name="connsiteY24262" fmla="*/ 3926675 h 5973007"/>
              <a:gd name="connsiteX24263" fmla="*/ 679956 w 6884782"/>
              <a:gd name="connsiteY24263" fmla="*/ 3922648 h 5973007"/>
              <a:gd name="connsiteX24264" fmla="*/ 676548 w 6884782"/>
              <a:gd name="connsiteY24264" fmla="*/ 3919447 h 5973007"/>
              <a:gd name="connsiteX24265" fmla="*/ 675464 w 6884782"/>
              <a:gd name="connsiteY24265" fmla="*/ 3916659 h 5973007"/>
              <a:gd name="connsiteX24266" fmla="*/ 674844 w 6884782"/>
              <a:gd name="connsiteY24266" fmla="*/ 3915110 h 5973007"/>
              <a:gd name="connsiteX24267" fmla="*/ 674225 w 6884782"/>
              <a:gd name="connsiteY24267" fmla="*/ 3915110 h 5973007"/>
              <a:gd name="connsiteX24268" fmla="*/ 672056 w 6884782"/>
              <a:gd name="connsiteY24268" fmla="*/ 3911290 h 5973007"/>
              <a:gd name="connsiteX24269" fmla="*/ 672056 w 6884782"/>
              <a:gd name="connsiteY24269" fmla="*/ 3910774 h 5973007"/>
              <a:gd name="connsiteX24270" fmla="*/ 672521 w 6884782"/>
              <a:gd name="connsiteY24270" fmla="*/ 3910774 h 5973007"/>
              <a:gd name="connsiteX24271" fmla="*/ 672521 w 6884782"/>
              <a:gd name="connsiteY24271" fmla="*/ 3910154 h 5973007"/>
              <a:gd name="connsiteX24272" fmla="*/ 670817 w 6884782"/>
              <a:gd name="connsiteY24272" fmla="*/ 3906437 h 5973007"/>
              <a:gd name="connsiteX24273" fmla="*/ 662995 w 6884782"/>
              <a:gd name="connsiteY24273" fmla="*/ 3900621 h 5973007"/>
              <a:gd name="connsiteX24274" fmla="*/ 5830254 w 6884782"/>
              <a:gd name="connsiteY24274" fmla="*/ 3894951 h 5973007"/>
              <a:gd name="connsiteX24275" fmla="*/ 5825601 w 6884782"/>
              <a:gd name="connsiteY24275" fmla="*/ 3900171 h 5973007"/>
              <a:gd name="connsiteX24276" fmla="*/ 5825601 w 6884782"/>
              <a:gd name="connsiteY24276" fmla="*/ 3900363 h 5973007"/>
              <a:gd name="connsiteX24277" fmla="*/ 5828854 w 6884782"/>
              <a:gd name="connsiteY24277" fmla="*/ 3899227 h 5973007"/>
              <a:gd name="connsiteX24278" fmla="*/ 5829783 w 6884782"/>
              <a:gd name="connsiteY24278" fmla="*/ 3899640 h 5973007"/>
              <a:gd name="connsiteX24279" fmla="*/ 5830248 w 6884782"/>
              <a:gd name="connsiteY24279" fmla="*/ 3895200 h 5973007"/>
              <a:gd name="connsiteX24280" fmla="*/ 422008 w 6884782"/>
              <a:gd name="connsiteY24280" fmla="*/ 3879710 h 5973007"/>
              <a:gd name="connsiteX24281" fmla="*/ 438839 w 6884782"/>
              <a:gd name="connsiteY24281" fmla="*/ 3885131 h 5973007"/>
              <a:gd name="connsiteX24282" fmla="*/ 454637 w 6884782"/>
              <a:gd name="connsiteY24282" fmla="*/ 3893031 h 5973007"/>
              <a:gd name="connsiteX24283" fmla="*/ 422008 w 6884782"/>
              <a:gd name="connsiteY24283" fmla="*/ 3879710 h 5973007"/>
              <a:gd name="connsiteX24284" fmla="*/ 496094 w 6884782"/>
              <a:gd name="connsiteY24284" fmla="*/ 3875047 h 5973007"/>
              <a:gd name="connsiteX24285" fmla="*/ 508021 w 6884782"/>
              <a:gd name="connsiteY24285" fmla="*/ 3886715 h 5973007"/>
              <a:gd name="connsiteX24286" fmla="*/ 499502 w 6884782"/>
              <a:gd name="connsiteY24286" fmla="*/ 3890019 h 5973007"/>
              <a:gd name="connsiteX24287" fmla="*/ 492222 w 6884782"/>
              <a:gd name="connsiteY24287" fmla="*/ 3883617 h 5973007"/>
              <a:gd name="connsiteX24288" fmla="*/ 496094 w 6884782"/>
              <a:gd name="connsiteY24288" fmla="*/ 3875047 h 5973007"/>
              <a:gd name="connsiteX24289" fmla="*/ 573387 w 6884782"/>
              <a:gd name="connsiteY24289" fmla="*/ 3863895 h 5973007"/>
              <a:gd name="connsiteX24290" fmla="*/ 574936 w 6884782"/>
              <a:gd name="connsiteY24290" fmla="*/ 3869678 h 5973007"/>
              <a:gd name="connsiteX24291" fmla="*/ 578963 w 6884782"/>
              <a:gd name="connsiteY24291" fmla="*/ 3877835 h 5973007"/>
              <a:gd name="connsiteX24292" fmla="*/ 585779 w 6884782"/>
              <a:gd name="connsiteY24292" fmla="*/ 3900448 h 5973007"/>
              <a:gd name="connsiteX24293" fmla="*/ 592749 w 6884782"/>
              <a:gd name="connsiteY24293" fmla="*/ 3912219 h 5973007"/>
              <a:gd name="connsiteX24294" fmla="*/ 600495 w 6884782"/>
              <a:gd name="connsiteY24294" fmla="*/ 3924197 h 5973007"/>
              <a:gd name="connsiteX24295" fmla="*/ 600959 w 6884782"/>
              <a:gd name="connsiteY24295" fmla="*/ 3923681 h 5973007"/>
              <a:gd name="connsiteX24296" fmla="*/ 604521 w 6884782"/>
              <a:gd name="connsiteY24296" fmla="*/ 3922338 h 5973007"/>
              <a:gd name="connsiteX24297" fmla="*/ 602508 w 6884782"/>
              <a:gd name="connsiteY24297" fmla="*/ 3921512 h 5973007"/>
              <a:gd name="connsiteX24298" fmla="*/ 602973 w 6884782"/>
              <a:gd name="connsiteY24298" fmla="*/ 3913458 h 5973007"/>
              <a:gd name="connsiteX24299" fmla="*/ 600185 w 6884782"/>
              <a:gd name="connsiteY24299" fmla="*/ 3909638 h 5973007"/>
              <a:gd name="connsiteX24300" fmla="*/ 598945 w 6884782"/>
              <a:gd name="connsiteY24300" fmla="*/ 3920480 h 5973007"/>
              <a:gd name="connsiteX24301" fmla="*/ 595538 w 6884782"/>
              <a:gd name="connsiteY24301" fmla="*/ 3908089 h 5973007"/>
              <a:gd name="connsiteX24302" fmla="*/ 597861 w 6884782"/>
              <a:gd name="connsiteY24302" fmla="*/ 3899932 h 5973007"/>
              <a:gd name="connsiteX24303" fmla="*/ 605296 w 6884782"/>
              <a:gd name="connsiteY24303" fmla="*/ 3906953 h 5973007"/>
              <a:gd name="connsiteX24304" fmla="*/ 606380 w 6884782"/>
              <a:gd name="connsiteY24304" fmla="*/ 3900964 h 5973007"/>
              <a:gd name="connsiteX24305" fmla="*/ 606257 w 6884782"/>
              <a:gd name="connsiteY24305" fmla="*/ 3900621 h 5973007"/>
              <a:gd name="connsiteX24306" fmla="*/ 602397 w 6884782"/>
              <a:gd name="connsiteY24306" fmla="*/ 3900621 h 5973007"/>
              <a:gd name="connsiteX24307" fmla="*/ 602397 w 6884782"/>
              <a:gd name="connsiteY24307" fmla="*/ 3900466 h 5973007"/>
              <a:gd name="connsiteX24308" fmla="*/ 599506 w 6884782"/>
              <a:gd name="connsiteY24308" fmla="*/ 3897058 h 5973007"/>
              <a:gd name="connsiteX24309" fmla="*/ 591142 w 6884782"/>
              <a:gd name="connsiteY24309" fmla="*/ 3889933 h 5973007"/>
              <a:gd name="connsiteX24310" fmla="*/ 583295 w 6884782"/>
              <a:gd name="connsiteY24310" fmla="*/ 3883582 h 5973007"/>
              <a:gd name="connsiteX24311" fmla="*/ 591555 w 6884782"/>
              <a:gd name="connsiteY24311" fmla="*/ 3886370 h 5973007"/>
              <a:gd name="connsiteX24312" fmla="*/ 599713 w 6884782"/>
              <a:gd name="connsiteY24312" fmla="*/ 3891327 h 5973007"/>
              <a:gd name="connsiteX24313" fmla="*/ 595892 w 6884782"/>
              <a:gd name="connsiteY24313" fmla="*/ 3884202 h 5973007"/>
              <a:gd name="connsiteX24314" fmla="*/ 589180 w 6884782"/>
              <a:gd name="connsiteY24314" fmla="*/ 3884047 h 5973007"/>
              <a:gd name="connsiteX24315" fmla="*/ 579888 w 6884782"/>
              <a:gd name="connsiteY24315" fmla="*/ 3872894 h 5973007"/>
              <a:gd name="connsiteX24316" fmla="*/ 589180 w 6884782"/>
              <a:gd name="connsiteY24316" fmla="*/ 3876922 h 5973007"/>
              <a:gd name="connsiteX24317" fmla="*/ 585818 w 6884782"/>
              <a:gd name="connsiteY24317" fmla="*/ 3869948 h 5973007"/>
              <a:gd name="connsiteX24318" fmla="*/ 576950 w 6884782"/>
              <a:gd name="connsiteY24318" fmla="*/ 3865444 h 5973007"/>
              <a:gd name="connsiteX24319" fmla="*/ 439665 w 6884782"/>
              <a:gd name="connsiteY24319" fmla="*/ 3858024 h 5973007"/>
              <a:gd name="connsiteX24320" fmla="*/ 443073 w 6884782"/>
              <a:gd name="connsiteY24320" fmla="*/ 3858644 h 5973007"/>
              <a:gd name="connsiteX24321" fmla="*/ 442247 w 6884782"/>
              <a:gd name="connsiteY24321" fmla="*/ 3860038 h 5973007"/>
              <a:gd name="connsiteX24322" fmla="*/ 442969 w 6884782"/>
              <a:gd name="connsiteY24322" fmla="*/ 3860348 h 5973007"/>
              <a:gd name="connsiteX24323" fmla="*/ 441421 w 6884782"/>
              <a:gd name="connsiteY24323" fmla="*/ 3861587 h 5973007"/>
              <a:gd name="connsiteX24324" fmla="*/ 440698 w 6884782"/>
              <a:gd name="connsiteY24324" fmla="*/ 3861122 h 5973007"/>
              <a:gd name="connsiteX24325" fmla="*/ 440388 w 6884782"/>
              <a:gd name="connsiteY24325" fmla="*/ 3861277 h 5973007"/>
              <a:gd name="connsiteX24326" fmla="*/ 439665 w 6884782"/>
              <a:gd name="connsiteY24326" fmla="*/ 3859728 h 5973007"/>
              <a:gd name="connsiteX24327" fmla="*/ 439149 w 6884782"/>
              <a:gd name="connsiteY24327" fmla="*/ 3858644 h 5973007"/>
              <a:gd name="connsiteX24328" fmla="*/ 439665 w 6884782"/>
              <a:gd name="connsiteY24328" fmla="*/ 3858024 h 5973007"/>
              <a:gd name="connsiteX24329" fmla="*/ 565858 w 6884782"/>
              <a:gd name="connsiteY24329" fmla="*/ 3841886 h 5973007"/>
              <a:gd name="connsiteX24330" fmla="*/ 564713 w 6884782"/>
              <a:gd name="connsiteY24330" fmla="*/ 3844277 h 5973007"/>
              <a:gd name="connsiteX24331" fmla="*/ 569824 w 6884782"/>
              <a:gd name="connsiteY24331" fmla="*/ 3852227 h 5973007"/>
              <a:gd name="connsiteX24332" fmla="*/ 572303 w 6884782"/>
              <a:gd name="connsiteY24332" fmla="*/ 3860075 h 5973007"/>
              <a:gd name="connsiteX24333" fmla="*/ 573852 w 6884782"/>
              <a:gd name="connsiteY24333" fmla="*/ 3859559 h 5973007"/>
              <a:gd name="connsiteX24334" fmla="*/ 577993 w 6884782"/>
              <a:gd name="connsiteY24334" fmla="*/ 3859033 h 5973007"/>
              <a:gd name="connsiteX24335" fmla="*/ 575241 w 6884782"/>
              <a:gd name="connsiteY24335" fmla="*/ 3856166 h 5973007"/>
              <a:gd name="connsiteX24336" fmla="*/ 571007 w 6884782"/>
              <a:gd name="connsiteY24336" fmla="*/ 3850435 h 5973007"/>
              <a:gd name="connsiteX24337" fmla="*/ 316481 w 6884782"/>
              <a:gd name="connsiteY24337" fmla="*/ 3805824 h 5973007"/>
              <a:gd name="connsiteX24338" fmla="*/ 317926 w 6884782"/>
              <a:gd name="connsiteY24338" fmla="*/ 3830453 h 5973007"/>
              <a:gd name="connsiteX24339" fmla="*/ 311215 w 6884782"/>
              <a:gd name="connsiteY24339" fmla="*/ 3833551 h 5973007"/>
              <a:gd name="connsiteX24340" fmla="*/ 306878 w 6884782"/>
              <a:gd name="connsiteY24340" fmla="*/ 3815892 h 5973007"/>
              <a:gd name="connsiteX24341" fmla="*/ 316481 w 6884782"/>
              <a:gd name="connsiteY24341" fmla="*/ 3805824 h 5973007"/>
              <a:gd name="connsiteX24342" fmla="*/ 378951 w 6884782"/>
              <a:gd name="connsiteY24342" fmla="*/ 3801023 h 5973007"/>
              <a:gd name="connsiteX24343" fmla="*/ 385972 w 6884782"/>
              <a:gd name="connsiteY24343" fmla="*/ 3802417 h 5973007"/>
              <a:gd name="connsiteX24344" fmla="*/ 385146 w 6884782"/>
              <a:gd name="connsiteY24344" fmla="*/ 3804275 h 5973007"/>
              <a:gd name="connsiteX24345" fmla="*/ 391032 w 6884782"/>
              <a:gd name="connsiteY24345" fmla="*/ 3802571 h 5973007"/>
              <a:gd name="connsiteX24346" fmla="*/ 409824 w 6884782"/>
              <a:gd name="connsiteY24346" fmla="*/ 3804895 h 5973007"/>
              <a:gd name="connsiteX24347" fmla="*/ 435948 w 6884782"/>
              <a:gd name="connsiteY24347" fmla="*/ 3869951 h 5973007"/>
              <a:gd name="connsiteX24348" fmla="*/ 374407 w 6884782"/>
              <a:gd name="connsiteY24348" fmla="*/ 3870416 h 5973007"/>
              <a:gd name="connsiteX24349" fmla="*/ 358816 w 6884782"/>
              <a:gd name="connsiteY24349" fmla="*/ 3855391 h 5973007"/>
              <a:gd name="connsiteX24350" fmla="*/ 353860 w 6884782"/>
              <a:gd name="connsiteY24350" fmla="*/ 3840831 h 5973007"/>
              <a:gd name="connsiteX24351" fmla="*/ 373994 w 6884782"/>
              <a:gd name="connsiteY24351" fmla="*/ 3807528 h 5973007"/>
              <a:gd name="connsiteX24352" fmla="*/ 379054 w 6884782"/>
              <a:gd name="connsiteY24352" fmla="*/ 3805979 h 5973007"/>
              <a:gd name="connsiteX24353" fmla="*/ 378125 w 6884782"/>
              <a:gd name="connsiteY24353" fmla="*/ 3804430 h 5973007"/>
              <a:gd name="connsiteX24354" fmla="*/ 378951 w 6884782"/>
              <a:gd name="connsiteY24354" fmla="*/ 3801023 h 5973007"/>
              <a:gd name="connsiteX24355" fmla="*/ 460936 w 6884782"/>
              <a:gd name="connsiteY24355" fmla="*/ 3800558 h 5973007"/>
              <a:gd name="connsiteX24356" fmla="*/ 465273 w 6884782"/>
              <a:gd name="connsiteY24356" fmla="*/ 3804585 h 5973007"/>
              <a:gd name="connsiteX24357" fmla="*/ 464756 w 6884782"/>
              <a:gd name="connsiteY24357" fmla="*/ 3807218 h 5973007"/>
              <a:gd name="connsiteX24358" fmla="*/ 461453 w 6884782"/>
              <a:gd name="connsiteY24358" fmla="*/ 3811400 h 5973007"/>
              <a:gd name="connsiteX24359" fmla="*/ 462175 w 6884782"/>
              <a:gd name="connsiteY24359" fmla="*/ 3811710 h 5973007"/>
              <a:gd name="connsiteX24360" fmla="*/ 457219 w 6884782"/>
              <a:gd name="connsiteY24360" fmla="*/ 3810471 h 5973007"/>
              <a:gd name="connsiteX24361" fmla="*/ 455773 w 6884782"/>
              <a:gd name="connsiteY24361" fmla="*/ 3805979 h 5973007"/>
              <a:gd name="connsiteX24362" fmla="*/ 460936 w 6884782"/>
              <a:gd name="connsiteY24362" fmla="*/ 3800558 h 5973007"/>
              <a:gd name="connsiteX24363" fmla="*/ 345805 w 6884782"/>
              <a:gd name="connsiteY24363" fmla="*/ 3792503 h 5973007"/>
              <a:gd name="connsiteX24364" fmla="*/ 342295 w 6884782"/>
              <a:gd name="connsiteY24364" fmla="*/ 3808302 h 5973007"/>
              <a:gd name="connsiteX24365" fmla="*/ 335480 w 6884782"/>
              <a:gd name="connsiteY24365" fmla="*/ 3798389 h 5973007"/>
              <a:gd name="connsiteX24366" fmla="*/ 335790 w 6884782"/>
              <a:gd name="connsiteY24366" fmla="*/ 3794672 h 5973007"/>
              <a:gd name="connsiteX24367" fmla="*/ 345805 w 6884782"/>
              <a:gd name="connsiteY24367" fmla="*/ 3792503 h 5973007"/>
              <a:gd name="connsiteX24368" fmla="*/ 481897 w 6884782"/>
              <a:gd name="connsiteY24368" fmla="*/ 3790489 h 5973007"/>
              <a:gd name="connsiteX24369" fmla="*/ 487060 w 6884782"/>
              <a:gd name="connsiteY24369" fmla="*/ 3795136 h 5973007"/>
              <a:gd name="connsiteX24370" fmla="*/ 488918 w 6884782"/>
              <a:gd name="connsiteY24370" fmla="*/ 3798389 h 5973007"/>
              <a:gd name="connsiteX24371" fmla="*/ 495011 w 6884782"/>
              <a:gd name="connsiteY24371" fmla="*/ 3797305 h 5973007"/>
              <a:gd name="connsiteX24372" fmla="*/ 494081 w 6884782"/>
              <a:gd name="connsiteY24372" fmla="*/ 3795446 h 5973007"/>
              <a:gd name="connsiteX24373" fmla="*/ 506265 w 6884782"/>
              <a:gd name="connsiteY24373" fmla="*/ 3793742 h 5973007"/>
              <a:gd name="connsiteX24374" fmla="*/ 507815 w 6884782"/>
              <a:gd name="connsiteY24374" fmla="*/ 3805205 h 5973007"/>
              <a:gd name="connsiteX24375" fmla="*/ 504510 w 6884782"/>
              <a:gd name="connsiteY24375" fmla="*/ 3804275 h 5973007"/>
              <a:gd name="connsiteX24376" fmla="*/ 507608 w 6884782"/>
              <a:gd name="connsiteY24376" fmla="*/ 3812175 h 5973007"/>
              <a:gd name="connsiteX24377" fmla="*/ 491294 w 6884782"/>
              <a:gd name="connsiteY24377" fmla="*/ 3823328 h 5973007"/>
              <a:gd name="connsiteX24378" fmla="*/ 484375 w 6884782"/>
              <a:gd name="connsiteY24378" fmla="*/ 3819920 h 5973007"/>
              <a:gd name="connsiteX24379" fmla="*/ 480142 w 6884782"/>
              <a:gd name="connsiteY24379" fmla="*/ 3812640 h 5973007"/>
              <a:gd name="connsiteX24380" fmla="*/ 473740 w 6884782"/>
              <a:gd name="connsiteY24380" fmla="*/ 3812020 h 5973007"/>
              <a:gd name="connsiteX24381" fmla="*/ 470126 w 6884782"/>
              <a:gd name="connsiteY24381" fmla="*/ 3807838 h 5973007"/>
              <a:gd name="connsiteX24382" fmla="*/ 468887 w 6884782"/>
              <a:gd name="connsiteY24382" fmla="*/ 3804121 h 5973007"/>
              <a:gd name="connsiteX24383" fmla="*/ 476321 w 6884782"/>
              <a:gd name="connsiteY24383" fmla="*/ 3793588 h 5973007"/>
              <a:gd name="connsiteX24384" fmla="*/ 478696 w 6884782"/>
              <a:gd name="connsiteY24384" fmla="*/ 3792813 h 5973007"/>
              <a:gd name="connsiteX24385" fmla="*/ 481897 w 6884782"/>
              <a:gd name="connsiteY24385" fmla="*/ 3790489 h 5973007"/>
              <a:gd name="connsiteX24386" fmla="*/ 481843 w 6884782"/>
              <a:gd name="connsiteY24386" fmla="*/ 3771481 h 5973007"/>
              <a:gd name="connsiteX24387" fmla="*/ 489278 w 6884782"/>
              <a:gd name="connsiteY24387" fmla="*/ 3777470 h 5973007"/>
              <a:gd name="connsiteX24388" fmla="*/ 483857 w 6884782"/>
              <a:gd name="connsiteY24388" fmla="*/ 3781703 h 5973007"/>
              <a:gd name="connsiteX24389" fmla="*/ 478126 w 6884782"/>
              <a:gd name="connsiteY24389" fmla="*/ 3780051 h 5973007"/>
              <a:gd name="connsiteX24390" fmla="*/ 481843 w 6884782"/>
              <a:gd name="connsiteY24390" fmla="*/ 3771481 h 5973007"/>
              <a:gd name="connsiteX24391" fmla="*/ 409140 w 6884782"/>
              <a:gd name="connsiteY24391" fmla="*/ 3768262 h 5973007"/>
              <a:gd name="connsiteX24392" fmla="*/ 418911 w 6884782"/>
              <a:gd name="connsiteY24392" fmla="*/ 3771592 h 5973007"/>
              <a:gd name="connsiteX24393" fmla="*/ 418911 w 6884782"/>
              <a:gd name="connsiteY24393" fmla="*/ 3775774 h 5973007"/>
              <a:gd name="connsiteX24394" fmla="*/ 398363 w 6884782"/>
              <a:gd name="connsiteY24394" fmla="*/ 3777478 h 5973007"/>
              <a:gd name="connsiteX24395" fmla="*/ 409140 w 6884782"/>
              <a:gd name="connsiteY24395" fmla="*/ 3768262 h 5973007"/>
              <a:gd name="connsiteX24396" fmla="*/ 505956 w 6884782"/>
              <a:gd name="connsiteY24396" fmla="*/ 3745724 h 5973007"/>
              <a:gd name="connsiteX24397" fmla="*/ 460317 w 6884782"/>
              <a:gd name="connsiteY24397" fmla="*/ 3768804 h 5973007"/>
              <a:gd name="connsiteX24398" fmla="*/ 505956 w 6884782"/>
              <a:gd name="connsiteY24398" fmla="*/ 3745724 h 5973007"/>
              <a:gd name="connsiteX24399" fmla="*/ 378022 w 6884782"/>
              <a:gd name="connsiteY24399" fmla="*/ 3740303 h 5973007"/>
              <a:gd name="connsiteX24400" fmla="*/ 379983 w 6884782"/>
              <a:gd name="connsiteY24400" fmla="*/ 3740303 h 5973007"/>
              <a:gd name="connsiteX24401" fmla="*/ 380602 w 6884782"/>
              <a:gd name="connsiteY24401" fmla="*/ 3742472 h 5973007"/>
              <a:gd name="connsiteX24402" fmla="*/ 378022 w 6884782"/>
              <a:gd name="connsiteY24402" fmla="*/ 3746964 h 5973007"/>
              <a:gd name="connsiteX24403" fmla="*/ 376059 w 6884782"/>
              <a:gd name="connsiteY24403" fmla="*/ 3746964 h 5973007"/>
              <a:gd name="connsiteX24404" fmla="*/ 375233 w 6884782"/>
              <a:gd name="connsiteY24404" fmla="*/ 3743246 h 5973007"/>
              <a:gd name="connsiteX24405" fmla="*/ 378022 w 6884782"/>
              <a:gd name="connsiteY24405" fmla="*/ 3740303 h 5973007"/>
              <a:gd name="connsiteX24406" fmla="*/ 369864 w 6884782"/>
              <a:gd name="connsiteY24406" fmla="*/ 3739529 h 5973007"/>
              <a:gd name="connsiteX24407" fmla="*/ 368935 w 6884782"/>
              <a:gd name="connsiteY24407" fmla="*/ 3742936 h 5973007"/>
              <a:gd name="connsiteX24408" fmla="*/ 367489 w 6884782"/>
              <a:gd name="connsiteY24408" fmla="*/ 3742781 h 5973007"/>
              <a:gd name="connsiteX24409" fmla="*/ 366250 w 6884782"/>
              <a:gd name="connsiteY24409" fmla="*/ 3740768 h 5973007"/>
              <a:gd name="connsiteX24410" fmla="*/ 357473 w 6884782"/>
              <a:gd name="connsiteY24410" fmla="*/ 3739529 h 5973007"/>
              <a:gd name="connsiteX24411" fmla="*/ 365114 w 6884782"/>
              <a:gd name="connsiteY24411" fmla="*/ 3741077 h 5973007"/>
              <a:gd name="connsiteX24412" fmla="*/ 363875 w 6884782"/>
              <a:gd name="connsiteY24412" fmla="*/ 3748203 h 5973007"/>
              <a:gd name="connsiteX24413" fmla="*/ 361913 w 6884782"/>
              <a:gd name="connsiteY24413" fmla="*/ 3748358 h 5973007"/>
              <a:gd name="connsiteX24414" fmla="*/ 359848 w 6884782"/>
              <a:gd name="connsiteY24414" fmla="*/ 3747893 h 5973007"/>
              <a:gd name="connsiteX24415" fmla="*/ 356441 w 6884782"/>
              <a:gd name="connsiteY24415" fmla="*/ 3744795 h 5973007"/>
              <a:gd name="connsiteX24416" fmla="*/ 356131 w 6884782"/>
              <a:gd name="connsiteY24416" fmla="*/ 3742317 h 5973007"/>
              <a:gd name="connsiteX24417" fmla="*/ 356647 w 6884782"/>
              <a:gd name="connsiteY24417" fmla="*/ 3740923 h 5973007"/>
              <a:gd name="connsiteX24418" fmla="*/ 357473 w 6884782"/>
              <a:gd name="connsiteY24418" fmla="*/ 3739529 h 5973007"/>
              <a:gd name="connsiteX24419" fmla="*/ 10223 w 6884782"/>
              <a:gd name="connsiteY24419" fmla="*/ 3736741 h 5973007"/>
              <a:gd name="connsiteX24420" fmla="*/ 24782 w 6884782"/>
              <a:gd name="connsiteY24420" fmla="*/ 3738444 h 5973007"/>
              <a:gd name="connsiteX24421" fmla="*/ 38928 w 6884782"/>
              <a:gd name="connsiteY24421" fmla="*/ 3748203 h 5973007"/>
              <a:gd name="connsiteX24422" fmla="*/ 19413 w 6884782"/>
              <a:gd name="connsiteY24422" fmla="*/ 3755793 h 5973007"/>
              <a:gd name="connsiteX24423" fmla="*/ 9810 w 6884782"/>
              <a:gd name="connsiteY24423" fmla="*/ 3750991 h 5973007"/>
              <a:gd name="connsiteX24424" fmla="*/ 0 w 6884782"/>
              <a:gd name="connsiteY24424" fmla="*/ 3741697 h 5973007"/>
              <a:gd name="connsiteX24425" fmla="*/ 86426 w 6884782"/>
              <a:gd name="connsiteY24425" fmla="*/ 3731474 h 5973007"/>
              <a:gd name="connsiteX24426" fmla="*/ 91176 w 6884782"/>
              <a:gd name="connsiteY24426" fmla="*/ 3732094 h 5973007"/>
              <a:gd name="connsiteX24427" fmla="*/ 107284 w 6884782"/>
              <a:gd name="connsiteY24427" fmla="*/ 3754554 h 5973007"/>
              <a:gd name="connsiteX24428" fmla="*/ 80230 w 6884782"/>
              <a:gd name="connsiteY24428" fmla="*/ 3758271 h 5973007"/>
              <a:gd name="connsiteX24429" fmla="*/ 76100 w 6884782"/>
              <a:gd name="connsiteY24429" fmla="*/ 3751455 h 5973007"/>
              <a:gd name="connsiteX24430" fmla="*/ 75997 w 6884782"/>
              <a:gd name="connsiteY24430" fmla="*/ 3744950 h 5973007"/>
              <a:gd name="connsiteX24431" fmla="*/ 86426 w 6884782"/>
              <a:gd name="connsiteY24431" fmla="*/ 3731474 h 5973007"/>
              <a:gd name="connsiteX24432" fmla="*/ 432128 w 6884782"/>
              <a:gd name="connsiteY24432" fmla="*/ 3711338 h 5973007"/>
              <a:gd name="connsiteX24433" fmla="*/ 430372 w 6884782"/>
              <a:gd name="connsiteY24433" fmla="*/ 3733643 h 5973007"/>
              <a:gd name="connsiteX24434" fmla="*/ 388450 w 6884782"/>
              <a:gd name="connsiteY24434" fmla="*/ 3733178 h 5973007"/>
              <a:gd name="connsiteX24435" fmla="*/ 432128 w 6884782"/>
              <a:gd name="connsiteY24435" fmla="*/ 3711338 h 5973007"/>
              <a:gd name="connsiteX24436" fmla="*/ 457219 w 6884782"/>
              <a:gd name="connsiteY24436" fmla="*/ 3704832 h 5973007"/>
              <a:gd name="connsiteX24437" fmla="*/ 457632 w 6884782"/>
              <a:gd name="connsiteY24437" fmla="*/ 3705452 h 5973007"/>
              <a:gd name="connsiteX24438" fmla="*/ 459387 w 6884782"/>
              <a:gd name="connsiteY24438" fmla="*/ 3708240 h 5973007"/>
              <a:gd name="connsiteX24439" fmla="*/ 456496 w 6884782"/>
              <a:gd name="connsiteY24439" fmla="*/ 3711957 h 5973007"/>
              <a:gd name="connsiteX24440" fmla="*/ 452366 w 6884782"/>
              <a:gd name="connsiteY24440" fmla="*/ 3709014 h 5973007"/>
              <a:gd name="connsiteX24441" fmla="*/ 454947 w 6884782"/>
              <a:gd name="connsiteY24441" fmla="*/ 3704987 h 5973007"/>
              <a:gd name="connsiteX24442" fmla="*/ 457219 w 6884782"/>
              <a:gd name="connsiteY24442" fmla="*/ 3704832 h 5973007"/>
              <a:gd name="connsiteX24443" fmla="*/ 373478 w 6884782"/>
              <a:gd name="connsiteY24443" fmla="*/ 3697862 h 5973007"/>
              <a:gd name="connsiteX24444" fmla="*/ 376059 w 6884782"/>
              <a:gd name="connsiteY24444" fmla="*/ 3698017 h 5973007"/>
              <a:gd name="connsiteX24445" fmla="*/ 374717 w 6884782"/>
              <a:gd name="connsiteY24445" fmla="*/ 3700495 h 5973007"/>
              <a:gd name="connsiteX24446" fmla="*/ 372755 w 6884782"/>
              <a:gd name="connsiteY24446" fmla="*/ 3700650 h 5973007"/>
              <a:gd name="connsiteX24447" fmla="*/ 370690 w 6884782"/>
              <a:gd name="connsiteY24447" fmla="*/ 3702663 h 5973007"/>
              <a:gd name="connsiteX24448" fmla="*/ 369245 w 6884782"/>
              <a:gd name="connsiteY24448" fmla="*/ 3701889 h 5973007"/>
              <a:gd name="connsiteX24449" fmla="*/ 373478 w 6884782"/>
              <a:gd name="connsiteY24449" fmla="*/ 3697862 h 5973007"/>
              <a:gd name="connsiteX24450" fmla="*/ 357886 w 6884782"/>
              <a:gd name="connsiteY24450" fmla="*/ 3696467 h 5973007"/>
              <a:gd name="connsiteX24451" fmla="*/ 365940 w 6884782"/>
              <a:gd name="connsiteY24451" fmla="*/ 3697397 h 5973007"/>
              <a:gd name="connsiteX24452" fmla="*/ 364185 w 6884782"/>
              <a:gd name="connsiteY24452" fmla="*/ 3700495 h 5973007"/>
              <a:gd name="connsiteX24453" fmla="*/ 356441 w 6884782"/>
              <a:gd name="connsiteY24453" fmla="*/ 3701424 h 5973007"/>
              <a:gd name="connsiteX24454" fmla="*/ 354995 w 6884782"/>
              <a:gd name="connsiteY24454" fmla="*/ 3700030 h 5973007"/>
              <a:gd name="connsiteX24455" fmla="*/ 357886 w 6884782"/>
              <a:gd name="connsiteY24455" fmla="*/ 3696467 h 5973007"/>
              <a:gd name="connsiteX24456" fmla="*/ 374201 w 6884782"/>
              <a:gd name="connsiteY24456" fmla="*/ 3689807 h 5973007"/>
              <a:gd name="connsiteX24457" fmla="*/ 376576 w 6884782"/>
              <a:gd name="connsiteY24457" fmla="*/ 3690891 h 5973007"/>
              <a:gd name="connsiteX24458" fmla="*/ 374923 w 6884782"/>
              <a:gd name="connsiteY24458" fmla="*/ 3692131 h 5973007"/>
              <a:gd name="connsiteX24459" fmla="*/ 369657 w 6884782"/>
              <a:gd name="connsiteY24459" fmla="*/ 3694454 h 5973007"/>
              <a:gd name="connsiteX24460" fmla="*/ 369038 w 6884782"/>
              <a:gd name="connsiteY24460" fmla="*/ 3692750 h 5973007"/>
              <a:gd name="connsiteX24461" fmla="*/ 370174 w 6884782"/>
              <a:gd name="connsiteY24461" fmla="*/ 3691821 h 5973007"/>
              <a:gd name="connsiteX24462" fmla="*/ 372652 w 6884782"/>
              <a:gd name="connsiteY24462" fmla="*/ 3691046 h 5973007"/>
              <a:gd name="connsiteX24463" fmla="*/ 374201 w 6884782"/>
              <a:gd name="connsiteY24463" fmla="*/ 3689807 h 5973007"/>
              <a:gd name="connsiteX24464" fmla="*/ 344463 w 6884782"/>
              <a:gd name="connsiteY24464" fmla="*/ 3671374 h 5973007"/>
              <a:gd name="connsiteX24465" fmla="*/ 349213 w 6884782"/>
              <a:gd name="connsiteY24465" fmla="*/ 3671529 h 5973007"/>
              <a:gd name="connsiteX24466" fmla="*/ 344773 w 6884782"/>
              <a:gd name="connsiteY24466" fmla="*/ 3672459 h 5973007"/>
              <a:gd name="connsiteX24467" fmla="*/ 344463 w 6884782"/>
              <a:gd name="connsiteY24467" fmla="*/ 3671374 h 5973007"/>
              <a:gd name="connsiteX24468" fmla="*/ 373026 w 6884782"/>
              <a:gd name="connsiteY24468" fmla="*/ 3670948 h 5973007"/>
              <a:gd name="connsiteX24469" fmla="*/ 376782 w 6884782"/>
              <a:gd name="connsiteY24469" fmla="*/ 3671839 h 5973007"/>
              <a:gd name="connsiteX24470" fmla="*/ 368831 w 6884782"/>
              <a:gd name="connsiteY24470" fmla="*/ 3674937 h 5973007"/>
              <a:gd name="connsiteX24471" fmla="*/ 367076 w 6884782"/>
              <a:gd name="connsiteY24471" fmla="*/ 3673853 h 5973007"/>
              <a:gd name="connsiteX24472" fmla="*/ 368418 w 6884782"/>
              <a:gd name="connsiteY24472" fmla="*/ 3671684 h 5973007"/>
              <a:gd name="connsiteX24473" fmla="*/ 373026 w 6884782"/>
              <a:gd name="connsiteY24473" fmla="*/ 3670948 h 5973007"/>
              <a:gd name="connsiteX24474" fmla="*/ 411683 w 6884782"/>
              <a:gd name="connsiteY24474" fmla="*/ 3670445 h 5973007"/>
              <a:gd name="connsiteX24475" fmla="*/ 394232 w 6884782"/>
              <a:gd name="connsiteY24475" fmla="*/ 3692750 h 5973007"/>
              <a:gd name="connsiteX24476" fmla="*/ 393613 w 6884782"/>
              <a:gd name="connsiteY24476" fmla="*/ 3689652 h 5973007"/>
              <a:gd name="connsiteX24477" fmla="*/ 394232 w 6884782"/>
              <a:gd name="connsiteY24477" fmla="*/ 3685780 h 5973007"/>
              <a:gd name="connsiteX24478" fmla="*/ 411683 w 6884782"/>
              <a:gd name="connsiteY24478" fmla="*/ 3670445 h 5973007"/>
              <a:gd name="connsiteX24479" fmla="*/ 325877 w 6884782"/>
              <a:gd name="connsiteY24479" fmla="*/ 3670290 h 5973007"/>
              <a:gd name="connsiteX24480" fmla="*/ 327426 w 6884782"/>
              <a:gd name="connsiteY24480" fmla="*/ 3671064 h 5973007"/>
              <a:gd name="connsiteX24481" fmla="*/ 341056 w 6884782"/>
              <a:gd name="connsiteY24481" fmla="*/ 3672459 h 5973007"/>
              <a:gd name="connsiteX24482" fmla="*/ 324121 w 6884782"/>
              <a:gd name="connsiteY24482" fmla="*/ 3673388 h 5973007"/>
              <a:gd name="connsiteX24483" fmla="*/ 325877 w 6884782"/>
              <a:gd name="connsiteY24483" fmla="*/ 3670290 h 5973007"/>
              <a:gd name="connsiteX24484" fmla="*/ 288189 w 6884782"/>
              <a:gd name="connsiteY24484" fmla="*/ 3669206 h 5973007"/>
              <a:gd name="connsiteX24485" fmla="*/ 297894 w 6884782"/>
              <a:gd name="connsiteY24485" fmla="*/ 3670755 h 5973007"/>
              <a:gd name="connsiteX24486" fmla="*/ 300373 w 6884782"/>
              <a:gd name="connsiteY24486" fmla="*/ 3674937 h 5973007"/>
              <a:gd name="connsiteX24487" fmla="*/ 294487 w 6884782"/>
              <a:gd name="connsiteY24487" fmla="*/ 3683611 h 5973007"/>
              <a:gd name="connsiteX24488" fmla="*/ 285194 w 6884782"/>
              <a:gd name="connsiteY24488" fmla="*/ 3681133 h 5973007"/>
              <a:gd name="connsiteX24489" fmla="*/ 283645 w 6884782"/>
              <a:gd name="connsiteY24489" fmla="*/ 3682372 h 5973007"/>
              <a:gd name="connsiteX24490" fmla="*/ 279721 w 6884782"/>
              <a:gd name="connsiteY24490" fmla="*/ 3682527 h 5973007"/>
              <a:gd name="connsiteX24491" fmla="*/ 279721 w 6884782"/>
              <a:gd name="connsiteY24491" fmla="*/ 3680668 h 5973007"/>
              <a:gd name="connsiteX24492" fmla="*/ 284161 w 6884782"/>
              <a:gd name="connsiteY24492" fmla="*/ 3679739 h 5973007"/>
              <a:gd name="connsiteX24493" fmla="*/ 284574 w 6884782"/>
              <a:gd name="connsiteY24493" fmla="*/ 3678964 h 5973007"/>
              <a:gd name="connsiteX24494" fmla="*/ 283852 w 6884782"/>
              <a:gd name="connsiteY24494" fmla="*/ 3676796 h 5973007"/>
              <a:gd name="connsiteX24495" fmla="*/ 288189 w 6884782"/>
              <a:gd name="connsiteY24495" fmla="*/ 3669206 h 5973007"/>
              <a:gd name="connsiteX24496" fmla="*/ 443279 w 6884782"/>
              <a:gd name="connsiteY24496" fmla="*/ 3668896 h 5973007"/>
              <a:gd name="connsiteX24497" fmla="*/ 441421 w 6884782"/>
              <a:gd name="connsiteY24497" fmla="*/ 3671064 h 5973007"/>
              <a:gd name="connsiteX24498" fmla="*/ 446893 w 6884782"/>
              <a:gd name="connsiteY24498" fmla="*/ 3668896 h 5973007"/>
              <a:gd name="connsiteX24499" fmla="*/ 452985 w 6884782"/>
              <a:gd name="connsiteY24499" fmla="*/ 3670290 h 5973007"/>
              <a:gd name="connsiteX24500" fmla="*/ 436774 w 6884782"/>
              <a:gd name="connsiteY24500" fmla="*/ 3683766 h 5973007"/>
              <a:gd name="connsiteX24501" fmla="*/ 431611 w 6884782"/>
              <a:gd name="connsiteY24501" fmla="*/ 3682217 h 5973007"/>
              <a:gd name="connsiteX24502" fmla="*/ 432025 w 6884782"/>
              <a:gd name="connsiteY24502" fmla="*/ 3681287 h 5973007"/>
              <a:gd name="connsiteX24503" fmla="*/ 428204 w 6884782"/>
              <a:gd name="connsiteY24503" fmla="*/ 3685315 h 5973007"/>
              <a:gd name="connsiteX24504" fmla="*/ 406107 w 6884782"/>
              <a:gd name="connsiteY24504" fmla="*/ 3696158 h 5973007"/>
              <a:gd name="connsiteX24505" fmla="*/ 443279 w 6884782"/>
              <a:gd name="connsiteY24505" fmla="*/ 3668896 h 5973007"/>
              <a:gd name="connsiteX24506" fmla="*/ 329904 w 6884782"/>
              <a:gd name="connsiteY24506" fmla="*/ 3664559 h 5973007"/>
              <a:gd name="connsiteX24507" fmla="*/ 341468 w 6884782"/>
              <a:gd name="connsiteY24507" fmla="*/ 3667966 h 5973007"/>
              <a:gd name="connsiteX24508" fmla="*/ 341056 w 6884782"/>
              <a:gd name="connsiteY24508" fmla="*/ 3668741 h 5973007"/>
              <a:gd name="connsiteX24509" fmla="*/ 332176 w 6884782"/>
              <a:gd name="connsiteY24509" fmla="*/ 3666882 h 5973007"/>
              <a:gd name="connsiteX24510" fmla="*/ 329491 w 6884782"/>
              <a:gd name="connsiteY24510" fmla="*/ 3665178 h 5973007"/>
              <a:gd name="connsiteX24511" fmla="*/ 330317 w 6884782"/>
              <a:gd name="connsiteY24511" fmla="*/ 3665643 h 5973007"/>
              <a:gd name="connsiteX24512" fmla="*/ 329904 w 6884782"/>
              <a:gd name="connsiteY24512" fmla="*/ 3664559 h 5973007"/>
              <a:gd name="connsiteX24513" fmla="*/ 439665 w 6884782"/>
              <a:gd name="connsiteY24513" fmla="*/ 3659292 h 5973007"/>
              <a:gd name="connsiteX24514" fmla="*/ 442040 w 6884782"/>
              <a:gd name="connsiteY24514" fmla="*/ 3661616 h 5973007"/>
              <a:gd name="connsiteX24515" fmla="*/ 436981 w 6884782"/>
              <a:gd name="connsiteY24515" fmla="*/ 3663475 h 5973007"/>
              <a:gd name="connsiteX24516" fmla="*/ 439665 w 6884782"/>
              <a:gd name="connsiteY24516" fmla="*/ 3659292 h 5973007"/>
              <a:gd name="connsiteX24517" fmla="*/ 388966 w 6884782"/>
              <a:gd name="connsiteY24517" fmla="*/ 3656349 h 5973007"/>
              <a:gd name="connsiteX24518" fmla="*/ 384423 w 6884782"/>
              <a:gd name="connsiteY24518" fmla="*/ 3662235 h 5973007"/>
              <a:gd name="connsiteX24519" fmla="*/ 377608 w 6884782"/>
              <a:gd name="connsiteY24519" fmla="*/ 3658518 h 5973007"/>
              <a:gd name="connsiteX24520" fmla="*/ 388966 w 6884782"/>
              <a:gd name="connsiteY24520" fmla="*/ 3656349 h 5973007"/>
              <a:gd name="connsiteX24521" fmla="*/ 261961 w 6884782"/>
              <a:gd name="connsiteY24521" fmla="*/ 3648140 h 5973007"/>
              <a:gd name="connsiteX24522" fmla="*/ 268983 w 6884782"/>
              <a:gd name="connsiteY24522" fmla="*/ 3649379 h 5973007"/>
              <a:gd name="connsiteX24523" fmla="*/ 280031 w 6884782"/>
              <a:gd name="connsiteY24523" fmla="*/ 3670909 h 5973007"/>
              <a:gd name="connsiteX24524" fmla="*/ 273010 w 6884782"/>
              <a:gd name="connsiteY24524" fmla="*/ 3669980 h 5973007"/>
              <a:gd name="connsiteX24525" fmla="*/ 257418 w 6884782"/>
              <a:gd name="connsiteY24525" fmla="*/ 3651238 h 5973007"/>
              <a:gd name="connsiteX24526" fmla="*/ 261961 w 6884782"/>
              <a:gd name="connsiteY24526" fmla="*/ 3648140 h 5973007"/>
              <a:gd name="connsiteX24527" fmla="*/ 230287 w 6884782"/>
              <a:gd name="connsiteY24527" fmla="*/ 3646087 h 5973007"/>
              <a:gd name="connsiteX24528" fmla="*/ 234702 w 6884782"/>
              <a:gd name="connsiteY24528" fmla="*/ 3649069 h 5973007"/>
              <a:gd name="connsiteX24529" fmla="*/ 225718 w 6884782"/>
              <a:gd name="connsiteY24529" fmla="*/ 3650308 h 5973007"/>
              <a:gd name="connsiteX24530" fmla="*/ 230287 w 6884782"/>
              <a:gd name="connsiteY24530" fmla="*/ 3646087 h 5973007"/>
              <a:gd name="connsiteX24531" fmla="*/ 395678 w 6884782"/>
              <a:gd name="connsiteY24531" fmla="*/ 3625060 h 5973007"/>
              <a:gd name="connsiteX24532" fmla="*/ 399602 w 6884782"/>
              <a:gd name="connsiteY24532" fmla="*/ 3629707 h 5973007"/>
              <a:gd name="connsiteX24533" fmla="*/ 398053 w 6884782"/>
              <a:gd name="connsiteY24533" fmla="*/ 3630946 h 5973007"/>
              <a:gd name="connsiteX24534" fmla="*/ 395059 w 6884782"/>
              <a:gd name="connsiteY24534" fmla="*/ 3631101 h 5973007"/>
              <a:gd name="connsiteX24535" fmla="*/ 393096 w 6884782"/>
              <a:gd name="connsiteY24535" fmla="*/ 3629552 h 5973007"/>
              <a:gd name="connsiteX24536" fmla="*/ 395678 w 6884782"/>
              <a:gd name="connsiteY24536" fmla="*/ 3625060 h 5973007"/>
              <a:gd name="connsiteX24537" fmla="*/ 319836 w 6884782"/>
              <a:gd name="connsiteY24537" fmla="*/ 3622272 h 5973007"/>
              <a:gd name="connsiteX24538" fmla="*/ 328975 w 6884782"/>
              <a:gd name="connsiteY24538" fmla="*/ 3622582 h 5973007"/>
              <a:gd name="connsiteX24539" fmla="*/ 329800 w 6884782"/>
              <a:gd name="connsiteY24539" fmla="*/ 3626919 h 5973007"/>
              <a:gd name="connsiteX24540" fmla="*/ 333415 w 6884782"/>
              <a:gd name="connsiteY24540" fmla="*/ 3629862 h 5973007"/>
              <a:gd name="connsiteX24541" fmla="*/ 337235 w 6884782"/>
              <a:gd name="connsiteY24541" fmla="*/ 3637297 h 5973007"/>
              <a:gd name="connsiteX24542" fmla="*/ 322883 w 6884782"/>
              <a:gd name="connsiteY24542" fmla="*/ 3657124 h 5973007"/>
              <a:gd name="connsiteX24543" fmla="*/ 307084 w 6884782"/>
              <a:gd name="connsiteY24543" fmla="*/ 3653561 h 5973007"/>
              <a:gd name="connsiteX24544" fmla="*/ 302541 w 6884782"/>
              <a:gd name="connsiteY24544" fmla="*/ 3649224 h 5973007"/>
              <a:gd name="connsiteX24545" fmla="*/ 317100 w 6884782"/>
              <a:gd name="connsiteY24545" fmla="*/ 3638381 h 5973007"/>
              <a:gd name="connsiteX24546" fmla="*/ 318236 w 6884782"/>
              <a:gd name="connsiteY24546" fmla="*/ 3637142 h 5973007"/>
              <a:gd name="connsiteX24547" fmla="*/ 317203 w 6884782"/>
              <a:gd name="connsiteY24547" fmla="*/ 3637142 h 5973007"/>
              <a:gd name="connsiteX24548" fmla="*/ 312557 w 6884782"/>
              <a:gd name="connsiteY24548" fmla="*/ 3628933 h 5973007"/>
              <a:gd name="connsiteX24549" fmla="*/ 319836 w 6884782"/>
              <a:gd name="connsiteY24549" fmla="*/ 3622272 h 5973007"/>
              <a:gd name="connsiteX24550" fmla="*/ 381532 w 6884782"/>
              <a:gd name="connsiteY24550" fmla="*/ 3621808 h 5973007"/>
              <a:gd name="connsiteX24551" fmla="*/ 388760 w 6884782"/>
              <a:gd name="connsiteY24551" fmla="*/ 3623047 h 5973007"/>
              <a:gd name="connsiteX24552" fmla="*/ 385559 w 6884782"/>
              <a:gd name="connsiteY24552" fmla="*/ 3635438 h 5973007"/>
              <a:gd name="connsiteX24553" fmla="*/ 378125 w 6884782"/>
              <a:gd name="connsiteY24553" fmla="*/ 3628933 h 5973007"/>
              <a:gd name="connsiteX24554" fmla="*/ 381532 w 6884782"/>
              <a:gd name="connsiteY24554" fmla="*/ 3621808 h 5973007"/>
              <a:gd name="connsiteX24555" fmla="*/ 340643 w 6884782"/>
              <a:gd name="connsiteY24555" fmla="*/ 3609106 h 5973007"/>
              <a:gd name="connsiteX24556" fmla="*/ 347870 w 6884782"/>
              <a:gd name="connsiteY24556" fmla="*/ 3611429 h 5973007"/>
              <a:gd name="connsiteX24557" fmla="*/ 351588 w 6884782"/>
              <a:gd name="connsiteY24557" fmla="*/ 3613288 h 5973007"/>
              <a:gd name="connsiteX24558" fmla="*/ 352311 w 6884782"/>
              <a:gd name="connsiteY24558" fmla="*/ 3615457 h 5973007"/>
              <a:gd name="connsiteX24559" fmla="*/ 351897 w 6884782"/>
              <a:gd name="connsiteY24559" fmla="*/ 3616231 h 5973007"/>
              <a:gd name="connsiteX24560" fmla="*/ 349936 w 6884782"/>
              <a:gd name="connsiteY24560" fmla="*/ 3616076 h 5973007"/>
              <a:gd name="connsiteX24561" fmla="*/ 342811 w 6884782"/>
              <a:gd name="connsiteY24561" fmla="*/ 3612049 h 5973007"/>
              <a:gd name="connsiteX24562" fmla="*/ 341262 w 6884782"/>
              <a:gd name="connsiteY24562" fmla="*/ 3611274 h 5973007"/>
              <a:gd name="connsiteX24563" fmla="*/ 340643 w 6884782"/>
              <a:gd name="connsiteY24563" fmla="*/ 3609106 h 5973007"/>
              <a:gd name="connsiteX24564" fmla="*/ 292216 w 6884782"/>
              <a:gd name="connsiteY24564" fmla="*/ 3605698 h 5973007"/>
              <a:gd name="connsiteX24565" fmla="*/ 297378 w 6884782"/>
              <a:gd name="connsiteY24565" fmla="*/ 3610345 h 5973007"/>
              <a:gd name="connsiteX24566" fmla="*/ 286536 w 6884782"/>
              <a:gd name="connsiteY24566" fmla="*/ 3619019 h 5973007"/>
              <a:gd name="connsiteX24567" fmla="*/ 283748 w 6884782"/>
              <a:gd name="connsiteY24567" fmla="*/ 3614527 h 5973007"/>
              <a:gd name="connsiteX24568" fmla="*/ 292216 w 6884782"/>
              <a:gd name="connsiteY24568" fmla="*/ 3605698 h 5973007"/>
              <a:gd name="connsiteX24569" fmla="*/ 290150 w 6884782"/>
              <a:gd name="connsiteY24569" fmla="*/ 3592687 h 5973007"/>
              <a:gd name="connsiteX24570" fmla="*/ 281890 w 6884782"/>
              <a:gd name="connsiteY24570" fmla="*/ 3599967 h 5973007"/>
              <a:gd name="connsiteX24571" fmla="*/ 290150 w 6884782"/>
              <a:gd name="connsiteY24571" fmla="*/ 3592687 h 5973007"/>
              <a:gd name="connsiteX24572" fmla="*/ 108316 w 6884782"/>
              <a:gd name="connsiteY24572" fmla="*/ 3591603 h 5973007"/>
              <a:gd name="connsiteX24573" fmla="*/ 132581 w 6884782"/>
              <a:gd name="connsiteY24573" fmla="*/ 3595940 h 5973007"/>
              <a:gd name="connsiteX24574" fmla="*/ 150135 w 6884782"/>
              <a:gd name="connsiteY24574" fmla="*/ 3609261 h 5973007"/>
              <a:gd name="connsiteX24575" fmla="*/ 125973 w 6884782"/>
              <a:gd name="connsiteY24575" fmla="*/ 3610965 h 5973007"/>
              <a:gd name="connsiteX24576" fmla="*/ 108316 w 6884782"/>
              <a:gd name="connsiteY24576" fmla="*/ 3591603 h 5973007"/>
              <a:gd name="connsiteX24577" fmla="*/ 320714 w 6884782"/>
              <a:gd name="connsiteY24577" fmla="*/ 3582773 h 5973007"/>
              <a:gd name="connsiteX24578" fmla="*/ 331040 w 6884782"/>
              <a:gd name="connsiteY24578" fmla="*/ 3583393 h 5973007"/>
              <a:gd name="connsiteX24579" fmla="*/ 331040 w 6884782"/>
              <a:gd name="connsiteY24579" fmla="*/ 3586956 h 5973007"/>
              <a:gd name="connsiteX24580" fmla="*/ 320198 w 6884782"/>
              <a:gd name="connsiteY24580" fmla="*/ 3588040 h 5973007"/>
              <a:gd name="connsiteX24581" fmla="*/ 320714 w 6884782"/>
              <a:gd name="connsiteY24581" fmla="*/ 3582773 h 5973007"/>
              <a:gd name="connsiteX24582" fmla="*/ 278005 w 6884782"/>
              <a:gd name="connsiteY24582" fmla="*/ 3573654 h 5973007"/>
              <a:gd name="connsiteX24583" fmla="*/ 285400 w 6884782"/>
              <a:gd name="connsiteY24583" fmla="*/ 3573790 h 5973007"/>
              <a:gd name="connsiteX24584" fmla="*/ 288911 w 6884782"/>
              <a:gd name="connsiteY24584" fmla="*/ 3580915 h 5973007"/>
              <a:gd name="connsiteX24585" fmla="*/ 274146 w 6884782"/>
              <a:gd name="connsiteY24585" fmla="*/ 3584787 h 5973007"/>
              <a:gd name="connsiteX24586" fmla="*/ 273010 w 6884782"/>
              <a:gd name="connsiteY24586" fmla="*/ 3581844 h 5973007"/>
              <a:gd name="connsiteX24587" fmla="*/ 273010 w 6884782"/>
              <a:gd name="connsiteY24587" fmla="*/ 3579211 h 5973007"/>
              <a:gd name="connsiteX24588" fmla="*/ 278005 w 6884782"/>
              <a:gd name="connsiteY24588" fmla="*/ 3573654 h 5973007"/>
              <a:gd name="connsiteX24589" fmla="*/ 252256 w 6884782"/>
              <a:gd name="connsiteY24589" fmla="*/ 3567284 h 5973007"/>
              <a:gd name="connsiteX24590" fmla="*/ 257212 w 6884782"/>
              <a:gd name="connsiteY24590" fmla="*/ 3568523 h 5973007"/>
              <a:gd name="connsiteX24591" fmla="*/ 261032 w 6884782"/>
              <a:gd name="connsiteY24591" fmla="*/ 3570227 h 5973007"/>
              <a:gd name="connsiteX24592" fmla="*/ 271254 w 6884782"/>
              <a:gd name="connsiteY24592" fmla="*/ 3578901 h 5973007"/>
              <a:gd name="connsiteX24593" fmla="*/ 265472 w 6884782"/>
              <a:gd name="connsiteY24593" fmla="*/ 3577352 h 5973007"/>
              <a:gd name="connsiteX24594" fmla="*/ 253598 w 6884782"/>
              <a:gd name="connsiteY24594" fmla="*/ 3571621 h 5973007"/>
              <a:gd name="connsiteX24595" fmla="*/ 252875 w 6884782"/>
              <a:gd name="connsiteY24595" fmla="*/ 3569452 h 5973007"/>
              <a:gd name="connsiteX24596" fmla="*/ 252152 w 6884782"/>
              <a:gd name="connsiteY24596" fmla="*/ 3569143 h 5973007"/>
              <a:gd name="connsiteX24597" fmla="*/ 251946 w 6884782"/>
              <a:gd name="connsiteY24597" fmla="*/ 3568059 h 5973007"/>
              <a:gd name="connsiteX24598" fmla="*/ 252256 w 6884782"/>
              <a:gd name="connsiteY24598" fmla="*/ 3567284 h 5973007"/>
              <a:gd name="connsiteX24599" fmla="*/ 260928 w 6884782"/>
              <a:gd name="connsiteY24599" fmla="*/ 3548541 h 5973007"/>
              <a:gd name="connsiteX24600" fmla="*/ 270841 w 6884782"/>
              <a:gd name="connsiteY24600" fmla="*/ 3549161 h 5973007"/>
              <a:gd name="connsiteX24601" fmla="*/ 277450 w 6884782"/>
              <a:gd name="connsiteY24601" fmla="*/ 3551794 h 5973007"/>
              <a:gd name="connsiteX24602" fmla="*/ 279102 w 6884782"/>
              <a:gd name="connsiteY24602" fmla="*/ 3552879 h 5973007"/>
              <a:gd name="connsiteX24603" fmla="*/ 279824 w 6884782"/>
              <a:gd name="connsiteY24603" fmla="*/ 3552879 h 5973007"/>
              <a:gd name="connsiteX24604" fmla="*/ 286639 w 6884782"/>
              <a:gd name="connsiteY24604" fmla="*/ 3557216 h 5973007"/>
              <a:gd name="connsiteX24605" fmla="*/ 296036 w 6884782"/>
              <a:gd name="connsiteY24605" fmla="*/ 3567439 h 5973007"/>
              <a:gd name="connsiteX24606" fmla="*/ 275694 w 6884782"/>
              <a:gd name="connsiteY24606" fmla="*/ 3564806 h 5973007"/>
              <a:gd name="connsiteX24607" fmla="*/ 260928 w 6884782"/>
              <a:gd name="connsiteY24607" fmla="*/ 3548541 h 5973007"/>
              <a:gd name="connsiteX24608" fmla="*/ 215806 w 6884782"/>
              <a:gd name="connsiteY24608" fmla="*/ 3539093 h 5973007"/>
              <a:gd name="connsiteX24609" fmla="*/ 215496 w 6884782"/>
              <a:gd name="connsiteY24609" fmla="*/ 3545753 h 5973007"/>
              <a:gd name="connsiteX24610" fmla="*/ 210436 w 6884782"/>
              <a:gd name="connsiteY24610" fmla="*/ 3543430 h 5973007"/>
              <a:gd name="connsiteX24611" fmla="*/ 215806 w 6884782"/>
              <a:gd name="connsiteY24611" fmla="*/ 3539093 h 5973007"/>
              <a:gd name="connsiteX24612" fmla="*/ 290563 w 6884782"/>
              <a:gd name="connsiteY24612" fmla="*/ 3535685 h 5973007"/>
              <a:gd name="connsiteX24613" fmla="*/ 298101 w 6884782"/>
              <a:gd name="connsiteY24613" fmla="*/ 3539248 h 5973007"/>
              <a:gd name="connsiteX24614" fmla="*/ 285917 w 6884782"/>
              <a:gd name="connsiteY24614" fmla="*/ 3553033 h 5973007"/>
              <a:gd name="connsiteX24615" fmla="*/ 279824 w 6884782"/>
              <a:gd name="connsiteY24615" fmla="*/ 3552879 h 5973007"/>
              <a:gd name="connsiteX24616" fmla="*/ 278998 w 6884782"/>
              <a:gd name="connsiteY24616" fmla="*/ 3552414 h 5973007"/>
              <a:gd name="connsiteX24617" fmla="*/ 277450 w 6884782"/>
              <a:gd name="connsiteY24617" fmla="*/ 3551794 h 5973007"/>
              <a:gd name="connsiteX24618" fmla="*/ 271977 w 6884782"/>
              <a:gd name="connsiteY24618" fmla="*/ 3548077 h 5973007"/>
              <a:gd name="connsiteX24619" fmla="*/ 290563 w 6884782"/>
              <a:gd name="connsiteY24619" fmla="*/ 3535685 h 5973007"/>
              <a:gd name="connsiteX24620" fmla="*/ 311215 w 6884782"/>
              <a:gd name="connsiteY24620" fmla="*/ 3518956 h 5973007"/>
              <a:gd name="connsiteX24621" fmla="*/ 316584 w 6884782"/>
              <a:gd name="connsiteY24621" fmla="*/ 3519576 h 5973007"/>
              <a:gd name="connsiteX24622" fmla="*/ 316377 w 6884782"/>
              <a:gd name="connsiteY24622" fmla="*/ 3523294 h 5973007"/>
              <a:gd name="connsiteX24623" fmla="*/ 311008 w 6884782"/>
              <a:gd name="connsiteY24623" fmla="*/ 3522674 h 5973007"/>
              <a:gd name="connsiteX24624" fmla="*/ 311215 w 6884782"/>
              <a:gd name="connsiteY24624" fmla="*/ 3518956 h 5973007"/>
              <a:gd name="connsiteX24625" fmla="*/ 468680 w 6884782"/>
              <a:gd name="connsiteY24625" fmla="*/ 3510592 h 5973007"/>
              <a:gd name="connsiteX24626" fmla="*/ 467958 w 6884782"/>
              <a:gd name="connsiteY24626" fmla="*/ 3513225 h 5973007"/>
              <a:gd name="connsiteX24627" fmla="*/ 468164 w 6884782"/>
              <a:gd name="connsiteY24627" fmla="*/ 3513535 h 5973007"/>
              <a:gd name="connsiteX24628" fmla="*/ 468267 w 6884782"/>
              <a:gd name="connsiteY24628" fmla="*/ 3513535 h 5973007"/>
              <a:gd name="connsiteX24629" fmla="*/ 470022 w 6884782"/>
              <a:gd name="connsiteY24629" fmla="*/ 3514464 h 5973007"/>
              <a:gd name="connsiteX24630" fmla="*/ 528259 w 6884782"/>
              <a:gd name="connsiteY24630" fmla="*/ 3504086 h 5973007"/>
              <a:gd name="connsiteX24631" fmla="*/ 529292 w 6884782"/>
              <a:gd name="connsiteY24631" fmla="*/ 3508578 h 5973007"/>
              <a:gd name="connsiteX24632" fmla="*/ 524955 w 6884782"/>
              <a:gd name="connsiteY24632" fmla="*/ 3507649 h 5973007"/>
              <a:gd name="connsiteX24633" fmla="*/ 528259 w 6884782"/>
              <a:gd name="connsiteY24633" fmla="*/ 3504086 h 5973007"/>
              <a:gd name="connsiteX24634" fmla="*/ 479316 w 6884782"/>
              <a:gd name="connsiteY24634" fmla="*/ 3498820 h 5973007"/>
              <a:gd name="connsiteX24635" fmla="*/ 475289 w 6884782"/>
              <a:gd name="connsiteY24635" fmla="*/ 3500214 h 5973007"/>
              <a:gd name="connsiteX24636" fmla="*/ 474876 w 6884782"/>
              <a:gd name="connsiteY24636" fmla="*/ 3499439 h 5973007"/>
              <a:gd name="connsiteX24637" fmla="*/ 473327 w 6884782"/>
              <a:gd name="connsiteY24637" fmla="*/ 3501453 h 5973007"/>
              <a:gd name="connsiteX24638" fmla="*/ 472914 w 6884782"/>
              <a:gd name="connsiteY24638" fmla="*/ 3502537 h 5973007"/>
              <a:gd name="connsiteX24639" fmla="*/ 473224 w 6884782"/>
              <a:gd name="connsiteY24639" fmla="*/ 3503002 h 5973007"/>
              <a:gd name="connsiteX24640" fmla="*/ 475805 w 6884782"/>
              <a:gd name="connsiteY24640" fmla="*/ 3509508 h 5973007"/>
              <a:gd name="connsiteX24641" fmla="*/ 477663 w 6884782"/>
              <a:gd name="connsiteY24641" fmla="*/ 3507959 h 5973007"/>
              <a:gd name="connsiteX24642" fmla="*/ 477663 w 6884782"/>
              <a:gd name="connsiteY24642" fmla="*/ 3506719 h 5973007"/>
              <a:gd name="connsiteX24643" fmla="*/ 477457 w 6884782"/>
              <a:gd name="connsiteY24643" fmla="*/ 3506719 h 5973007"/>
              <a:gd name="connsiteX24644" fmla="*/ 478283 w 6884782"/>
              <a:gd name="connsiteY24644" fmla="*/ 3503157 h 5973007"/>
              <a:gd name="connsiteX24645" fmla="*/ 479419 w 6884782"/>
              <a:gd name="connsiteY24645" fmla="*/ 3501918 h 5973007"/>
              <a:gd name="connsiteX24646" fmla="*/ 291906 w 6884782"/>
              <a:gd name="connsiteY24646" fmla="*/ 3496341 h 5973007"/>
              <a:gd name="connsiteX24647" fmla="*/ 302748 w 6884782"/>
              <a:gd name="connsiteY24647" fmla="*/ 3502537 h 5973007"/>
              <a:gd name="connsiteX24648" fmla="*/ 290357 w 6884782"/>
              <a:gd name="connsiteY24648" fmla="*/ 3501143 h 5973007"/>
              <a:gd name="connsiteX24649" fmla="*/ 291906 w 6884782"/>
              <a:gd name="connsiteY24649" fmla="*/ 3496341 h 5973007"/>
              <a:gd name="connsiteX24650" fmla="*/ 276004 w 6884782"/>
              <a:gd name="connsiteY24650" fmla="*/ 3483485 h 5973007"/>
              <a:gd name="connsiteX24651" fmla="*/ 274455 w 6884782"/>
              <a:gd name="connsiteY24651" fmla="*/ 3491230 h 5973007"/>
              <a:gd name="connsiteX24652" fmla="*/ 265782 w 6884782"/>
              <a:gd name="connsiteY24652" fmla="*/ 3492934 h 5973007"/>
              <a:gd name="connsiteX24653" fmla="*/ 271461 w 6884782"/>
              <a:gd name="connsiteY24653" fmla="*/ 3483640 h 5973007"/>
              <a:gd name="connsiteX24654" fmla="*/ 276004 w 6884782"/>
              <a:gd name="connsiteY24654" fmla="*/ 3483485 h 5973007"/>
              <a:gd name="connsiteX24655" fmla="*/ 476321 w 6884782"/>
              <a:gd name="connsiteY24655" fmla="*/ 3482711 h 5973007"/>
              <a:gd name="connsiteX24656" fmla="*/ 475702 w 6884782"/>
              <a:gd name="connsiteY24656" fmla="*/ 3482865 h 5973007"/>
              <a:gd name="connsiteX24657" fmla="*/ 475495 w 6884782"/>
              <a:gd name="connsiteY24657" fmla="*/ 3482865 h 5973007"/>
              <a:gd name="connsiteX24658" fmla="*/ 475495 w 6884782"/>
              <a:gd name="connsiteY24658" fmla="*/ 3483795 h 5973007"/>
              <a:gd name="connsiteX24659" fmla="*/ 476424 w 6884782"/>
              <a:gd name="connsiteY24659" fmla="*/ 3482865 h 5973007"/>
              <a:gd name="connsiteX24660" fmla="*/ 366250 w 6884782"/>
              <a:gd name="connsiteY24660" fmla="*/ 3476205 h 5973007"/>
              <a:gd name="connsiteX24661" fmla="*/ 366973 w 6884782"/>
              <a:gd name="connsiteY24661" fmla="*/ 3476670 h 5973007"/>
              <a:gd name="connsiteX24662" fmla="*/ 369038 w 6884782"/>
              <a:gd name="connsiteY24662" fmla="*/ 3484724 h 5973007"/>
              <a:gd name="connsiteX24663" fmla="*/ 369141 w 6884782"/>
              <a:gd name="connsiteY24663" fmla="*/ 3485963 h 5973007"/>
              <a:gd name="connsiteX24664" fmla="*/ 377815 w 6884782"/>
              <a:gd name="connsiteY24664" fmla="*/ 3480542 h 5973007"/>
              <a:gd name="connsiteX24665" fmla="*/ 372858 w 6884782"/>
              <a:gd name="connsiteY24665" fmla="*/ 3479922 h 5973007"/>
              <a:gd name="connsiteX24666" fmla="*/ 369554 w 6884782"/>
              <a:gd name="connsiteY24666" fmla="*/ 3476980 h 5973007"/>
              <a:gd name="connsiteX24667" fmla="*/ 216012 w 6884782"/>
              <a:gd name="connsiteY24667" fmla="*/ 3475585 h 5973007"/>
              <a:gd name="connsiteX24668" fmla="*/ 227060 w 6884782"/>
              <a:gd name="connsiteY24668" fmla="*/ 3486583 h 5973007"/>
              <a:gd name="connsiteX24669" fmla="*/ 225512 w 6884782"/>
              <a:gd name="connsiteY24669" fmla="*/ 3487822 h 5973007"/>
              <a:gd name="connsiteX24670" fmla="*/ 223137 w 6884782"/>
              <a:gd name="connsiteY24670" fmla="*/ 3487358 h 5973007"/>
              <a:gd name="connsiteX24671" fmla="*/ 217148 w 6884782"/>
              <a:gd name="connsiteY24671" fmla="*/ 3482091 h 5973007"/>
              <a:gd name="connsiteX24672" fmla="*/ 216116 w 6884782"/>
              <a:gd name="connsiteY24672" fmla="*/ 3480542 h 5973007"/>
              <a:gd name="connsiteX24673" fmla="*/ 214980 w 6884782"/>
              <a:gd name="connsiteY24673" fmla="*/ 3478993 h 5973007"/>
              <a:gd name="connsiteX24674" fmla="*/ 214773 w 6884782"/>
              <a:gd name="connsiteY24674" fmla="*/ 3477444 h 5973007"/>
              <a:gd name="connsiteX24675" fmla="*/ 216012 w 6884782"/>
              <a:gd name="connsiteY24675" fmla="*/ 3475585 h 5973007"/>
              <a:gd name="connsiteX24676" fmla="*/ 317616 w 6884782"/>
              <a:gd name="connsiteY24676" fmla="*/ 3471713 h 5973007"/>
              <a:gd name="connsiteX24677" fmla="*/ 320921 w 6884782"/>
              <a:gd name="connsiteY24677" fmla="*/ 3478373 h 5973007"/>
              <a:gd name="connsiteX24678" fmla="*/ 318546 w 6884782"/>
              <a:gd name="connsiteY24678" fmla="*/ 3482865 h 5973007"/>
              <a:gd name="connsiteX24679" fmla="*/ 310801 w 6884782"/>
              <a:gd name="connsiteY24679" fmla="*/ 3485963 h 5973007"/>
              <a:gd name="connsiteX24680" fmla="*/ 309356 w 6884782"/>
              <a:gd name="connsiteY24680" fmla="*/ 3482091 h 5973007"/>
              <a:gd name="connsiteX24681" fmla="*/ 317616 w 6884782"/>
              <a:gd name="connsiteY24681" fmla="*/ 3471713 h 5973007"/>
              <a:gd name="connsiteX24682" fmla="*/ 422731 w 6884782"/>
              <a:gd name="connsiteY24682" fmla="*/ 3469699 h 5973007"/>
              <a:gd name="connsiteX24683" fmla="*/ 421698 w 6884782"/>
              <a:gd name="connsiteY24683" fmla="*/ 3472487 h 5973007"/>
              <a:gd name="connsiteX24684" fmla="*/ 417259 w 6884782"/>
              <a:gd name="connsiteY24684" fmla="*/ 3476515 h 5973007"/>
              <a:gd name="connsiteX24685" fmla="*/ 417568 w 6884782"/>
              <a:gd name="connsiteY24685" fmla="*/ 3476515 h 5973007"/>
              <a:gd name="connsiteX24686" fmla="*/ 423867 w 6884782"/>
              <a:gd name="connsiteY24686" fmla="*/ 3479303 h 5973007"/>
              <a:gd name="connsiteX24687" fmla="*/ 199388 w 6884782"/>
              <a:gd name="connsiteY24687" fmla="*/ 3469390 h 5973007"/>
              <a:gd name="connsiteX24688" fmla="*/ 200421 w 6884782"/>
              <a:gd name="connsiteY24688" fmla="*/ 3479148 h 5973007"/>
              <a:gd name="connsiteX24689" fmla="*/ 195671 w 6884782"/>
              <a:gd name="connsiteY24689" fmla="*/ 3477289 h 5973007"/>
              <a:gd name="connsiteX24690" fmla="*/ 199388 w 6884782"/>
              <a:gd name="connsiteY24690" fmla="*/ 3469390 h 5973007"/>
              <a:gd name="connsiteX24691" fmla="*/ 246679 w 6884782"/>
              <a:gd name="connsiteY24691" fmla="*/ 3468925 h 5973007"/>
              <a:gd name="connsiteX24692" fmla="*/ 247712 w 6884782"/>
              <a:gd name="connsiteY24692" fmla="*/ 3470319 h 5973007"/>
              <a:gd name="connsiteX24693" fmla="*/ 249261 w 6884782"/>
              <a:gd name="connsiteY24693" fmla="*/ 3471093 h 5973007"/>
              <a:gd name="connsiteX24694" fmla="*/ 248745 w 6884782"/>
              <a:gd name="connsiteY24694" fmla="*/ 3471713 h 5973007"/>
              <a:gd name="connsiteX24695" fmla="*/ 249157 w 6884782"/>
              <a:gd name="connsiteY24695" fmla="*/ 3472952 h 5973007"/>
              <a:gd name="connsiteX24696" fmla="*/ 245854 w 6884782"/>
              <a:gd name="connsiteY24696" fmla="*/ 3475276 h 5973007"/>
              <a:gd name="connsiteX24697" fmla="*/ 243788 w 6884782"/>
              <a:gd name="connsiteY24697" fmla="*/ 3475585 h 5973007"/>
              <a:gd name="connsiteX24698" fmla="*/ 242446 w 6884782"/>
              <a:gd name="connsiteY24698" fmla="*/ 3474656 h 5973007"/>
              <a:gd name="connsiteX24699" fmla="*/ 242549 w 6884782"/>
              <a:gd name="connsiteY24699" fmla="*/ 3472797 h 5973007"/>
              <a:gd name="connsiteX24700" fmla="*/ 244304 w 6884782"/>
              <a:gd name="connsiteY24700" fmla="*/ 3469699 h 5973007"/>
              <a:gd name="connsiteX24701" fmla="*/ 246679 w 6884782"/>
              <a:gd name="connsiteY24701" fmla="*/ 3468925 h 5973007"/>
              <a:gd name="connsiteX24702" fmla="*/ 344566 w 6884782"/>
              <a:gd name="connsiteY24702" fmla="*/ 3468460 h 5973007"/>
              <a:gd name="connsiteX24703" fmla="*/ 337545 w 6884782"/>
              <a:gd name="connsiteY24703" fmla="*/ 3473417 h 5973007"/>
              <a:gd name="connsiteX24704" fmla="*/ 344566 w 6884782"/>
              <a:gd name="connsiteY24704" fmla="*/ 3468460 h 5973007"/>
              <a:gd name="connsiteX24705" fmla="*/ 228300 w 6884782"/>
              <a:gd name="connsiteY24705" fmla="*/ 3459631 h 5973007"/>
              <a:gd name="connsiteX24706" fmla="*/ 238006 w 6884782"/>
              <a:gd name="connsiteY24706" fmla="*/ 3461025 h 5973007"/>
              <a:gd name="connsiteX24707" fmla="*/ 237180 w 6884782"/>
              <a:gd name="connsiteY24707" fmla="*/ 3466911 h 5973007"/>
              <a:gd name="connsiteX24708" fmla="*/ 225615 w 6884782"/>
              <a:gd name="connsiteY24708" fmla="*/ 3460715 h 5973007"/>
              <a:gd name="connsiteX24709" fmla="*/ 228300 w 6884782"/>
              <a:gd name="connsiteY24709" fmla="*/ 3459631 h 5973007"/>
              <a:gd name="connsiteX24710" fmla="*/ 329181 w 6884782"/>
              <a:gd name="connsiteY24710" fmla="*/ 3453590 h 5973007"/>
              <a:gd name="connsiteX24711" fmla="*/ 328252 w 6884782"/>
              <a:gd name="connsiteY24711" fmla="*/ 3463658 h 5973007"/>
              <a:gd name="connsiteX24712" fmla="*/ 321540 w 6884782"/>
              <a:gd name="connsiteY24712" fmla="*/ 3472023 h 5973007"/>
              <a:gd name="connsiteX24713" fmla="*/ 321024 w 6884782"/>
              <a:gd name="connsiteY24713" fmla="*/ 3467221 h 5973007"/>
              <a:gd name="connsiteX24714" fmla="*/ 329181 w 6884782"/>
              <a:gd name="connsiteY24714" fmla="*/ 3453590 h 5973007"/>
              <a:gd name="connsiteX24715" fmla="*/ 453811 w 6884782"/>
              <a:gd name="connsiteY24715" fmla="*/ 3450802 h 5973007"/>
              <a:gd name="connsiteX24716" fmla="*/ 453708 w 6884782"/>
              <a:gd name="connsiteY24716" fmla="*/ 3451886 h 5973007"/>
              <a:gd name="connsiteX24717" fmla="*/ 455463 w 6884782"/>
              <a:gd name="connsiteY24717" fmla="*/ 3463348 h 5973007"/>
              <a:gd name="connsiteX24718" fmla="*/ 455154 w 6884782"/>
              <a:gd name="connsiteY24718" fmla="*/ 3493553 h 5973007"/>
              <a:gd name="connsiteX24719" fmla="*/ 456703 w 6884782"/>
              <a:gd name="connsiteY24719" fmla="*/ 3500369 h 5973007"/>
              <a:gd name="connsiteX24720" fmla="*/ 456909 w 6884782"/>
              <a:gd name="connsiteY24720" fmla="*/ 3500679 h 5973007"/>
              <a:gd name="connsiteX24721" fmla="*/ 463930 w 6884782"/>
              <a:gd name="connsiteY24721" fmla="*/ 3508733 h 5973007"/>
              <a:gd name="connsiteX24722" fmla="*/ 463827 w 6884782"/>
              <a:gd name="connsiteY24722" fmla="*/ 3506719 h 5973007"/>
              <a:gd name="connsiteX24723" fmla="*/ 470539 w 6884782"/>
              <a:gd name="connsiteY24723" fmla="*/ 3503622 h 5973007"/>
              <a:gd name="connsiteX24724" fmla="*/ 470539 w 6884782"/>
              <a:gd name="connsiteY24724" fmla="*/ 3503467 h 5973007"/>
              <a:gd name="connsiteX24725" fmla="*/ 465686 w 6884782"/>
              <a:gd name="connsiteY24725" fmla="*/ 3500369 h 5973007"/>
              <a:gd name="connsiteX24726" fmla="*/ 463414 w 6884782"/>
              <a:gd name="connsiteY24726" fmla="*/ 3494793 h 5973007"/>
              <a:gd name="connsiteX24727" fmla="*/ 463208 w 6884782"/>
              <a:gd name="connsiteY24727" fmla="*/ 3494173 h 5973007"/>
              <a:gd name="connsiteX24728" fmla="*/ 462485 w 6884782"/>
              <a:gd name="connsiteY24728" fmla="*/ 3493398 h 5973007"/>
              <a:gd name="connsiteX24729" fmla="*/ 462175 w 6884782"/>
              <a:gd name="connsiteY24729" fmla="*/ 3493553 h 5973007"/>
              <a:gd name="connsiteX24730" fmla="*/ 462278 w 6884782"/>
              <a:gd name="connsiteY24730" fmla="*/ 3493244 h 5973007"/>
              <a:gd name="connsiteX24731" fmla="*/ 460832 w 6884782"/>
              <a:gd name="connsiteY24731" fmla="*/ 3491694 h 5973007"/>
              <a:gd name="connsiteX24732" fmla="*/ 462072 w 6884782"/>
              <a:gd name="connsiteY24732" fmla="*/ 3490610 h 5973007"/>
              <a:gd name="connsiteX24733" fmla="*/ 462382 w 6884782"/>
              <a:gd name="connsiteY24733" fmla="*/ 3487977 h 5973007"/>
              <a:gd name="connsiteX24734" fmla="*/ 464447 w 6884782"/>
              <a:gd name="connsiteY24734" fmla="*/ 3487048 h 5973007"/>
              <a:gd name="connsiteX24735" fmla="*/ 468887 w 6884782"/>
              <a:gd name="connsiteY24735" fmla="*/ 3488906 h 5973007"/>
              <a:gd name="connsiteX24736" fmla="*/ 474256 w 6884782"/>
              <a:gd name="connsiteY24736" fmla="*/ 3484724 h 5973007"/>
              <a:gd name="connsiteX24737" fmla="*/ 474463 w 6884782"/>
              <a:gd name="connsiteY24737" fmla="*/ 3484569 h 5973007"/>
              <a:gd name="connsiteX24738" fmla="*/ 473740 w 6884782"/>
              <a:gd name="connsiteY24738" fmla="*/ 3482711 h 5973007"/>
              <a:gd name="connsiteX24739" fmla="*/ 469093 w 6884782"/>
              <a:gd name="connsiteY24739" fmla="*/ 3482091 h 5973007"/>
              <a:gd name="connsiteX24740" fmla="*/ 464756 w 6884782"/>
              <a:gd name="connsiteY24740" fmla="*/ 3476980 h 5973007"/>
              <a:gd name="connsiteX24741" fmla="*/ 470022 w 6884782"/>
              <a:gd name="connsiteY24741" fmla="*/ 3475740 h 5973007"/>
              <a:gd name="connsiteX24742" fmla="*/ 473327 w 6884782"/>
              <a:gd name="connsiteY24742" fmla="*/ 3476515 h 5973007"/>
              <a:gd name="connsiteX24743" fmla="*/ 473327 w 6884782"/>
              <a:gd name="connsiteY24743" fmla="*/ 3476205 h 5973007"/>
              <a:gd name="connsiteX24744" fmla="*/ 473017 w 6884782"/>
              <a:gd name="connsiteY24744" fmla="*/ 3473882 h 5973007"/>
              <a:gd name="connsiteX24745" fmla="*/ 472707 w 6884782"/>
              <a:gd name="connsiteY24745" fmla="*/ 3474811 h 5973007"/>
              <a:gd name="connsiteX24746" fmla="*/ 468474 w 6884782"/>
              <a:gd name="connsiteY24746" fmla="*/ 3470009 h 5973007"/>
              <a:gd name="connsiteX24747" fmla="*/ 467028 w 6884782"/>
              <a:gd name="connsiteY24747" fmla="*/ 3473572 h 5973007"/>
              <a:gd name="connsiteX24748" fmla="*/ 464550 w 6884782"/>
              <a:gd name="connsiteY24748" fmla="*/ 3475585 h 5973007"/>
              <a:gd name="connsiteX24749" fmla="*/ 462278 w 6884782"/>
              <a:gd name="connsiteY24749" fmla="*/ 3472178 h 5973007"/>
              <a:gd name="connsiteX24750" fmla="*/ 463621 w 6884782"/>
              <a:gd name="connsiteY24750" fmla="*/ 3468770 h 5973007"/>
              <a:gd name="connsiteX24751" fmla="*/ 466202 w 6884782"/>
              <a:gd name="connsiteY24751" fmla="*/ 3467376 h 5973007"/>
              <a:gd name="connsiteX24752" fmla="*/ 464447 w 6884782"/>
              <a:gd name="connsiteY24752" fmla="*/ 3465517 h 5973007"/>
              <a:gd name="connsiteX24753" fmla="*/ 457528 w 6884782"/>
              <a:gd name="connsiteY24753" fmla="*/ 3456533 h 5973007"/>
              <a:gd name="connsiteX24754" fmla="*/ 310698 w 6884782"/>
              <a:gd name="connsiteY24754" fmla="*/ 3449718 h 5973007"/>
              <a:gd name="connsiteX24755" fmla="*/ 319165 w 6884782"/>
              <a:gd name="connsiteY24755" fmla="*/ 3458082 h 5973007"/>
              <a:gd name="connsiteX24756" fmla="*/ 315861 w 6884782"/>
              <a:gd name="connsiteY24756" fmla="*/ 3460560 h 5973007"/>
              <a:gd name="connsiteX24757" fmla="*/ 308426 w 6884782"/>
              <a:gd name="connsiteY24757" fmla="*/ 3458392 h 5973007"/>
              <a:gd name="connsiteX24758" fmla="*/ 310698 w 6884782"/>
              <a:gd name="connsiteY24758" fmla="*/ 3449718 h 5973007"/>
              <a:gd name="connsiteX24759" fmla="*/ 325670 w 6884782"/>
              <a:gd name="connsiteY24759" fmla="*/ 3439030 h 5973007"/>
              <a:gd name="connsiteX24760" fmla="*/ 335066 w 6884782"/>
              <a:gd name="connsiteY24760" fmla="*/ 3443367 h 5973007"/>
              <a:gd name="connsiteX24761" fmla="*/ 330730 w 6884782"/>
              <a:gd name="connsiteY24761" fmla="*/ 3449718 h 5973007"/>
              <a:gd name="connsiteX24762" fmla="*/ 324121 w 6884782"/>
              <a:gd name="connsiteY24762" fmla="*/ 3447549 h 5973007"/>
              <a:gd name="connsiteX24763" fmla="*/ 322573 w 6884782"/>
              <a:gd name="connsiteY24763" fmla="*/ 3442128 h 5973007"/>
              <a:gd name="connsiteX24764" fmla="*/ 325670 w 6884782"/>
              <a:gd name="connsiteY24764" fmla="*/ 3439030 h 5973007"/>
              <a:gd name="connsiteX24765" fmla="*/ 232430 w 6884782"/>
              <a:gd name="connsiteY24765" fmla="*/ 3430356 h 5973007"/>
              <a:gd name="connsiteX24766" fmla="*/ 249364 w 6884782"/>
              <a:gd name="connsiteY24766" fmla="*/ 3438101 h 5973007"/>
              <a:gd name="connsiteX24767" fmla="*/ 232430 w 6884782"/>
              <a:gd name="connsiteY24767" fmla="*/ 3430356 h 5973007"/>
              <a:gd name="connsiteX24768" fmla="*/ 516385 w 6884782"/>
              <a:gd name="connsiteY24768" fmla="*/ 3427568 h 5973007"/>
              <a:gd name="connsiteX24769" fmla="*/ 515146 w 6884782"/>
              <a:gd name="connsiteY24769" fmla="*/ 3432679 h 5973007"/>
              <a:gd name="connsiteX24770" fmla="*/ 513287 w 6884782"/>
              <a:gd name="connsiteY24770" fmla="*/ 3434538 h 5973007"/>
              <a:gd name="connsiteX24771" fmla="*/ 515042 w 6884782"/>
              <a:gd name="connsiteY24771" fmla="*/ 3438720 h 5973007"/>
              <a:gd name="connsiteX24772" fmla="*/ 512461 w 6884782"/>
              <a:gd name="connsiteY24772" fmla="*/ 3437016 h 5973007"/>
              <a:gd name="connsiteX24773" fmla="*/ 515662 w 6884782"/>
              <a:gd name="connsiteY24773" fmla="*/ 3446155 h 5973007"/>
              <a:gd name="connsiteX24774" fmla="*/ 512977 w 6884782"/>
              <a:gd name="connsiteY24774" fmla="*/ 3452970 h 5973007"/>
              <a:gd name="connsiteX24775" fmla="*/ 511945 w 6884782"/>
              <a:gd name="connsiteY24775" fmla="*/ 3455914 h 5973007"/>
              <a:gd name="connsiteX24776" fmla="*/ 513596 w 6884782"/>
              <a:gd name="connsiteY24776" fmla="*/ 3459941 h 5973007"/>
              <a:gd name="connsiteX24777" fmla="*/ 514320 w 6884782"/>
              <a:gd name="connsiteY24777" fmla="*/ 3459941 h 5973007"/>
              <a:gd name="connsiteX24778" fmla="*/ 516695 w 6884782"/>
              <a:gd name="connsiteY24778" fmla="*/ 3462109 h 5973007"/>
              <a:gd name="connsiteX24779" fmla="*/ 517520 w 6884782"/>
              <a:gd name="connsiteY24779" fmla="*/ 3461025 h 5973007"/>
              <a:gd name="connsiteX24780" fmla="*/ 525161 w 6884782"/>
              <a:gd name="connsiteY24780" fmla="*/ 3461180 h 5973007"/>
              <a:gd name="connsiteX24781" fmla="*/ 517520 w 6884782"/>
              <a:gd name="connsiteY24781" fmla="*/ 3464743 h 5973007"/>
              <a:gd name="connsiteX24782" fmla="*/ 516281 w 6884782"/>
              <a:gd name="connsiteY24782" fmla="*/ 3463348 h 5973007"/>
              <a:gd name="connsiteX24783" fmla="*/ 515249 w 6884782"/>
              <a:gd name="connsiteY24783" fmla="*/ 3464278 h 5973007"/>
              <a:gd name="connsiteX24784" fmla="*/ 516901 w 6884782"/>
              <a:gd name="connsiteY24784" fmla="*/ 3468305 h 5973007"/>
              <a:gd name="connsiteX24785" fmla="*/ 516695 w 6884782"/>
              <a:gd name="connsiteY24785" fmla="*/ 3468925 h 5973007"/>
              <a:gd name="connsiteX24786" fmla="*/ 519069 w 6884782"/>
              <a:gd name="connsiteY24786" fmla="*/ 3472023 h 5973007"/>
              <a:gd name="connsiteX24787" fmla="*/ 517830 w 6884782"/>
              <a:gd name="connsiteY24787" fmla="*/ 3483175 h 5973007"/>
              <a:gd name="connsiteX24788" fmla="*/ 517727 w 6884782"/>
              <a:gd name="connsiteY24788" fmla="*/ 3488132 h 5973007"/>
              <a:gd name="connsiteX24789" fmla="*/ 517417 w 6884782"/>
              <a:gd name="connsiteY24789" fmla="*/ 3489526 h 5973007"/>
              <a:gd name="connsiteX24790" fmla="*/ 518347 w 6884782"/>
              <a:gd name="connsiteY24790" fmla="*/ 3491230 h 5973007"/>
              <a:gd name="connsiteX24791" fmla="*/ 519792 w 6884782"/>
              <a:gd name="connsiteY24791" fmla="*/ 3494018 h 5973007"/>
              <a:gd name="connsiteX24792" fmla="*/ 517211 w 6884782"/>
              <a:gd name="connsiteY24792" fmla="*/ 3504706 h 5973007"/>
              <a:gd name="connsiteX24793" fmla="*/ 521444 w 6884782"/>
              <a:gd name="connsiteY24793" fmla="*/ 3517717 h 5973007"/>
              <a:gd name="connsiteX24794" fmla="*/ 521651 w 6884782"/>
              <a:gd name="connsiteY24794" fmla="*/ 3518337 h 5973007"/>
              <a:gd name="connsiteX24795" fmla="*/ 523406 w 6884782"/>
              <a:gd name="connsiteY24795" fmla="*/ 3519111 h 5973007"/>
              <a:gd name="connsiteX24796" fmla="*/ 523303 w 6884782"/>
              <a:gd name="connsiteY24796" fmla="*/ 3522674 h 5973007"/>
              <a:gd name="connsiteX24797" fmla="*/ 522890 w 6884782"/>
              <a:gd name="connsiteY24797" fmla="*/ 3522983 h 5973007"/>
              <a:gd name="connsiteX24798" fmla="*/ 523303 w 6884782"/>
              <a:gd name="connsiteY24798" fmla="*/ 3524223 h 5973007"/>
              <a:gd name="connsiteX24799" fmla="*/ 524232 w 6884782"/>
              <a:gd name="connsiteY24799" fmla="*/ 3525927 h 5973007"/>
              <a:gd name="connsiteX24800" fmla="*/ 524025 w 6884782"/>
              <a:gd name="connsiteY24800" fmla="*/ 3526701 h 5973007"/>
              <a:gd name="connsiteX24801" fmla="*/ 524439 w 6884782"/>
              <a:gd name="connsiteY24801" fmla="*/ 3527476 h 5973007"/>
              <a:gd name="connsiteX24802" fmla="*/ 524748 w 6884782"/>
              <a:gd name="connsiteY24802" fmla="*/ 3529025 h 5973007"/>
              <a:gd name="connsiteX24803" fmla="*/ 525058 w 6884782"/>
              <a:gd name="connsiteY24803" fmla="*/ 3529644 h 5973007"/>
              <a:gd name="connsiteX24804" fmla="*/ 527330 w 6884782"/>
              <a:gd name="connsiteY24804" fmla="*/ 3529180 h 5973007"/>
              <a:gd name="connsiteX24805" fmla="*/ 531976 w 6884782"/>
              <a:gd name="connsiteY24805" fmla="*/ 3529644 h 5973007"/>
              <a:gd name="connsiteX24806" fmla="*/ 526710 w 6884782"/>
              <a:gd name="connsiteY24806" fmla="*/ 3532277 h 5973007"/>
              <a:gd name="connsiteX24807" fmla="*/ 526400 w 6884782"/>
              <a:gd name="connsiteY24807" fmla="*/ 3532432 h 5973007"/>
              <a:gd name="connsiteX24808" fmla="*/ 531254 w 6884782"/>
              <a:gd name="connsiteY24808" fmla="*/ 3542191 h 5973007"/>
              <a:gd name="connsiteX24809" fmla="*/ 544470 w 6884782"/>
              <a:gd name="connsiteY24809" fmla="*/ 3540797 h 5973007"/>
              <a:gd name="connsiteX24810" fmla="*/ 545296 w 6884782"/>
              <a:gd name="connsiteY24810" fmla="*/ 3543275 h 5973007"/>
              <a:gd name="connsiteX24811" fmla="*/ 546329 w 6884782"/>
              <a:gd name="connsiteY24811" fmla="*/ 3549471 h 5973007"/>
              <a:gd name="connsiteX24812" fmla="*/ 546122 w 6884782"/>
              <a:gd name="connsiteY24812" fmla="*/ 3550091 h 5973007"/>
              <a:gd name="connsiteX24813" fmla="*/ 546639 w 6884782"/>
              <a:gd name="connsiteY24813" fmla="*/ 3551020 h 5973007"/>
              <a:gd name="connsiteX24814" fmla="*/ 547568 w 6884782"/>
              <a:gd name="connsiteY24814" fmla="*/ 3552724 h 5973007"/>
              <a:gd name="connsiteX24815" fmla="*/ 551389 w 6884782"/>
              <a:gd name="connsiteY24815" fmla="*/ 3560004 h 5973007"/>
              <a:gd name="connsiteX24816" fmla="*/ 559236 w 6884782"/>
              <a:gd name="connsiteY24816" fmla="*/ 3558919 h 5973007"/>
              <a:gd name="connsiteX24817" fmla="*/ 556345 w 6884782"/>
              <a:gd name="connsiteY24817" fmla="*/ 3553653 h 5973007"/>
              <a:gd name="connsiteX24818" fmla="*/ 556345 w 6884782"/>
              <a:gd name="connsiteY24818" fmla="*/ 3553498 h 5973007"/>
              <a:gd name="connsiteX24819" fmla="*/ 552524 w 6884782"/>
              <a:gd name="connsiteY24819" fmla="*/ 3551020 h 5973007"/>
              <a:gd name="connsiteX24820" fmla="*/ 548704 w 6884782"/>
              <a:gd name="connsiteY24820" fmla="*/ 3541106 h 5973007"/>
              <a:gd name="connsiteX24821" fmla="*/ 554589 w 6884782"/>
              <a:gd name="connsiteY24821" fmla="*/ 3537699 h 5973007"/>
              <a:gd name="connsiteX24822" fmla="*/ 554383 w 6884782"/>
              <a:gd name="connsiteY24822" fmla="*/ 3535530 h 5973007"/>
              <a:gd name="connsiteX24823" fmla="*/ 547052 w 6884782"/>
              <a:gd name="connsiteY24823" fmla="*/ 3525152 h 5973007"/>
              <a:gd name="connsiteX24824" fmla="*/ 547258 w 6884782"/>
              <a:gd name="connsiteY24824" fmla="*/ 3524378 h 5973007"/>
              <a:gd name="connsiteX24825" fmla="*/ 546845 w 6884782"/>
              <a:gd name="connsiteY24825" fmla="*/ 3523603 h 5973007"/>
              <a:gd name="connsiteX24826" fmla="*/ 547052 w 6884782"/>
              <a:gd name="connsiteY24826" fmla="*/ 3522829 h 5973007"/>
              <a:gd name="connsiteX24827" fmla="*/ 546639 w 6884782"/>
              <a:gd name="connsiteY24827" fmla="*/ 3519111 h 5973007"/>
              <a:gd name="connsiteX24828" fmla="*/ 546019 w 6884782"/>
              <a:gd name="connsiteY24828" fmla="*/ 3511676 h 5973007"/>
              <a:gd name="connsiteX24829" fmla="*/ 544367 w 6884782"/>
              <a:gd name="connsiteY24829" fmla="*/ 3497271 h 5973007"/>
              <a:gd name="connsiteX24830" fmla="*/ 542818 w 6884782"/>
              <a:gd name="connsiteY24830" fmla="*/ 3490146 h 5973007"/>
              <a:gd name="connsiteX24831" fmla="*/ 542508 w 6884782"/>
              <a:gd name="connsiteY24831" fmla="*/ 3488597 h 5973007"/>
              <a:gd name="connsiteX24832" fmla="*/ 542921 w 6884782"/>
              <a:gd name="connsiteY24832" fmla="*/ 3487358 h 5973007"/>
              <a:gd name="connsiteX24833" fmla="*/ 542405 w 6884782"/>
              <a:gd name="connsiteY24833" fmla="*/ 3484260 h 5973007"/>
              <a:gd name="connsiteX24834" fmla="*/ 540856 w 6884782"/>
              <a:gd name="connsiteY24834" fmla="*/ 3472178 h 5973007"/>
              <a:gd name="connsiteX24835" fmla="*/ 540134 w 6884782"/>
              <a:gd name="connsiteY24835" fmla="*/ 3461645 h 5973007"/>
              <a:gd name="connsiteX24836" fmla="*/ 539721 w 6884782"/>
              <a:gd name="connsiteY24836" fmla="*/ 3461645 h 5973007"/>
              <a:gd name="connsiteX24837" fmla="*/ 534558 w 6884782"/>
              <a:gd name="connsiteY24837" fmla="*/ 3459941 h 5973007"/>
              <a:gd name="connsiteX24838" fmla="*/ 536829 w 6884782"/>
              <a:gd name="connsiteY24838" fmla="*/ 3458857 h 5973007"/>
              <a:gd name="connsiteX24839" fmla="*/ 539927 w 6884782"/>
              <a:gd name="connsiteY24839" fmla="*/ 3459166 h 5973007"/>
              <a:gd name="connsiteX24840" fmla="*/ 539927 w 6884782"/>
              <a:gd name="connsiteY24840" fmla="*/ 3453590 h 5973007"/>
              <a:gd name="connsiteX24841" fmla="*/ 531563 w 6884782"/>
              <a:gd name="connsiteY24841" fmla="*/ 3460560 h 5973007"/>
              <a:gd name="connsiteX24842" fmla="*/ 534454 w 6884782"/>
              <a:gd name="connsiteY24842" fmla="*/ 3428497 h 5973007"/>
              <a:gd name="connsiteX24843" fmla="*/ 329800 w 6884782"/>
              <a:gd name="connsiteY24843" fmla="*/ 3427413 h 5973007"/>
              <a:gd name="connsiteX24844" fmla="*/ 332485 w 6884782"/>
              <a:gd name="connsiteY24844" fmla="*/ 3427413 h 5973007"/>
              <a:gd name="connsiteX24845" fmla="*/ 332382 w 6884782"/>
              <a:gd name="connsiteY24845" fmla="*/ 3432214 h 5973007"/>
              <a:gd name="connsiteX24846" fmla="*/ 328561 w 6884782"/>
              <a:gd name="connsiteY24846" fmla="*/ 3430665 h 5973007"/>
              <a:gd name="connsiteX24847" fmla="*/ 329800 w 6884782"/>
              <a:gd name="connsiteY24847" fmla="*/ 3427413 h 5973007"/>
              <a:gd name="connsiteX24848" fmla="*/ 378951 w 6884782"/>
              <a:gd name="connsiteY24848" fmla="*/ 3426018 h 5973007"/>
              <a:gd name="connsiteX24849" fmla="*/ 376886 w 6884782"/>
              <a:gd name="connsiteY24849" fmla="*/ 3431285 h 5973007"/>
              <a:gd name="connsiteX24850" fmla="*/ 370690 w 6884782"/>
              <a:gd name="connsiteY24850" fmla="*/ 3432059 h 5973007"/>
              <a:gd name="connsiteX24851" fmla="*/ 371206 w 6884782"/>
              <a:gd name="connsiteY24851" fmla="*/ 3435467 h 5973007"/>
              <a:gd name="connsiteX24852" fmla="*/ 363462 w 6884782"/>
              <a:gd name="connsiteY24852" fmla="*/ 3438720 h 5973007"/>
              <a:gd name="connsiteX24853" fmla="*/ 359332 w 6884782"/>
              <a:gd name="connsiteY24853" fmla="*/ 3433918 h 5973007"/>
              <a:gd name="connsiteX24854" fmla="*/ 366353 w 6884782"/>
              <a:gd name="connsiteY24854" fmla="*/ 3427413 h 5973007"/>
              <a:gd name="connsiteX24855" fmla="*/ 370174 w 6884782"/>
              <a:gd name="connsiteY24855" fmla="*/ 3429891 h 5973007"/>
              <a:gd name="connsiteX24856" fmla="*/ 370380 w 6884782"/>
              <a:gd name="connsiteY24856" fmla="*/ 3428807 h 5973007"/>
              <a:gd name="connsiteX24857" fmla="*/ 372446 w 6884782"/>
              <a:gd name="connsiteY24857" fmla="*/ 3427258 h 5973007"/>
              <a:gd name="connsiteX24858" fmla="*/ 378951 w 6884782"/>
              <a:gd name="connsiteY24858" fmla="*/ 3426018 h 5973007"/>
              <a:gd name="connsiteX24859" fmla="*/ 66291 w 6884782"/>
              <a:gd name="connsiteY24859" fmla="*/ 3424160 h 5973007"/>
              <a:gd name="connsiteX24860" fmla="*/ 65361 w 6884782"/>
              <a:gd name="connsiteY24860" fmla="*/ 3444296 h 5973007"/>
              <a:gd name="connsiteX24861" fmla="*/ 51319 w 6884782"/>
              <a:gd name="connsiteY24861" fmla="*/ 3432679 h 5973007"/>
              <a:gd name="connsiteX24862" fmla="*/ 58856 w 6884782"/>
              <a:gd name="connsiteY24862" fmla="*/ 3425864 h 5973007"/>
              <a:gd name="connsiteX24863" fmla="*/ 66291 w 6884782"/>
              <a:gd name="connsiteY24863" fmla="*/ 3424160 h 5973007"/>
              <a:gd name="connsiteX24864" fmla="*/ 408275 w 6884782"/>
              <a:gd name="connsiteY24864" fmla="*/ 3423695 h 5973007"/>
              <a:gd name="connsiteX24865" fmla="*/ 404764 w 6884782"/>
              <a:gd name="connsiteY24865" fmla="*/ 3427877 h 5973007"/>
              <a:gd name="connsiteX24866" fmla="*/ 408275 w 6884782"/>
              <a:gd name="connsiteY24866" fmla="*/ 3423695 h 5973007"/>
              <a:gd name="connsiteX24867" fmla="*/ 358196 w 6884782"/>
              <a:gd name="connsiteY24867" fmla="*/ 3416260 h 5973007"/>
              <a:gd name="connsiteX24868" fmla="*/ 357989 w 6884782"/>
              <a:gd name="connsiteY24868" fmla="*/ 3421526 h 5973007"/>
              <a:gd name="connsiteX24869" fmla="*/ 357473 w 6884782"/>
              <a:gd name="connsiteY24869" fmla="*/ 3417964 h 5973007"/>
              <a:gd name="connsiteX24870" fmla="*/ 358196 w 6884782"/>
              <a:gd name="connsiteY24870" fmla="*/ 3416260 h 5973007"/>
              <a:gd name="connsiteX24871" fmla="*/ 208888 w 6884782"/>
              <a:gd name="connsiteY24871" fmla="*/ 3413007 h 5973007"/>
              <a:gd name="connsiteX24872" fmla="*/ 217045 w 6884782"/>
              <a:gd name="connsiteY24872" fmla="*/ 3416260 h 5973007"/>
              <a:gd name="connsiteX24873" fmla="*/ 210540 w 6884782"/>
              <a:gd name="connsiteY24873" fmla="*/ 3427877 h 5973007"/>
              <a:gd name="connsiteX24874" fmla="*/ 204241 w 6884782"/>
              <a:gd name="connsiteY24874" fmla="*/ 3424314 h 5973007"/>
              <a:gd name="connsiteX24875" fmla="*/ 204448 w 6884782"/>
              <a:gd name="connsiteY24875" fmla="*/ 3422146 h 5973007"/>
              <a:gd name="connsiteX24876" fmla="*/ 208888 w 6884782"/>
              <a:gd name="connsiteY24876" fmla="*/ 3413007 h 5973007"/>
              <a:gd name="connsiteX24877" fmla="*/ 284781 w 6884782"/>
              <a:gd name="connsiteY24877" fmla="*/ 3409290 h 5973007"/>
              <a:gd name="connsiteX24878" fmla="*/ 273939 w 6884782"/>
              <a:gd name="connsiteY24878" fmla="*/ 3420597 h 5973007"/>
              <a:gd name="connsiteX24879" fmla="*/ 268880 w 6884782"/>
              <a:gd name="connsiteY24879" fmla="*/ 3418429 h 5973007"/>
              <a:gd name="connsiteX24880" fmla="*/ 284781 w 6884782"/>
              <a:gd name="connsiteY24880" fmla="*/ 3409290 h 5973007"/>
              <a:gd name="connsiteX24881" fmla="*/ 399808 w 6884782"/>
              <a:gd name="connsiteY24881" fmla="*/ 3408980 h 5973007"/>
              <a:gd name="connsiteX24882" fmla="*/ 400324 w 6884782"/>
              <a:gd name="connsiteY24882" fmla="*/ 3417654 h 5973007"/>
              <a:gd name="connsiteX24883" fmla="*/ 396607 w 6884782"/>
              <a:gd name="connsiteY24883" fmla="*/ 3417190 h 5973007"/>
              <a:gd name="connsiteX24884" fmla="*/ 395162 w 6884782"/>
              <a:gd name="connsiteY24884" fmla="*/ 3412852 h 5973007"/>
              <a:gd name="connsiteX24885" fmla="*/ 396711 w 6884782"/>
              <a:gd name="connsiteY24885" fmla="*/ 3409600 h 5973007"/>
              <a:gd name="connsiteX24886" fmla="*/ 399808 w 6884782"/>
              <a:gd name="connsiteY24886" fmla="*/ 3408980 h 5973007"/>
              <a:gd name="connsiteX24887" fmla="*/ 314828 w 6884782"/>
              <a:gd name="connsiteY24887" fmla="*/ 3407276 h 5973007"/>
              <a:gd name="connsiteX24888" fmla="*/ 313692 w 6884782"/>
              <a:gd name="connsiteY24888" fmla="*/ 3420287 h 5973007"/>
              <a:gd name="connsiteX24889" fmla="*/ 304296 w 6884782"/>
              <a:gd name="connsiteY24889" fmla="*/ 3414247 h 5973007"/>
              <a:gd name="connsiteX24890" fmla="*/ 314828 w 6884782"/>
              <a:gd name="connsiteY24890" fmla="*/ 3407276 h 5973007"/>
              <a:gd name="connsiteX24891" fmla="*/ 209107 w 6884782"/>
              <a:gd name="connsiteY24891" fmla="*/ 3399783 h 5973007"/>
              <a:gd name="connsiteX24892" fmla="*/ 220968 w 6884782"/>
              <a:gd name="connsiteY24892" fmla="*/ 3407431 h 5973007"/>
              <a:gd name="connsiteX24893" fmla="*/ 193606 w 6884782"/>
              <a:gd name="connsiteY24893" fmla="*/ 3404333 h 5973007"/>
              <a:gd name="connsiteX24894" fmla="*/ 209107 w 6884782"/>
              <a:gd name="connsiteY24894" fmla="*/ 3399783 h 5973007"/>
              <a:gd name="connsiteX24895" fmla="*/ 241413 w 6884782"/>
              <a:gd name="connsiteY24895" fmla="*/ 3393955 h 5973007"/>
              <a:gd name="connsiteX24896" fmla="*/ 235837 w 6884782"/>
              <a:gd name="connsiteY24896" fmla="*/ 3402474 h 5973007"/>
              <a:gd name="connsiteX24897" fmla="*/ 233050 w 6884782"/>
              <a:gd name="connsiteY24897" fmla="*/ 3398757 h 5973007"/>
              <a:gd name="connsiteX24898" fmla="*/ 241413 w 6884782"/>
              <a:gd name="connsiteY24898" fmla="*/ 3393955 h 5973007"/>
              <a:gd name="connsiteX24899" fmla="*/ 156124 w 6884782"/>
              <a:gd name="connsiteY24899" fmla="*/ 3390082 h 5973007"/>
              <a:gd name="connsiteX24900" fmla="*/ 167069 w 6884782"/>
              <a:gd name="connsiteY24900" fmla="*/ 3393180 h 5973007"/>
              <a:gd name="connsiteX24901" fmla="*/ 157259 w 6884782"/>
              <a:gd name="connsiteY24901" fmla="*/ 3396123 h 5973007"/>
              <a:gd name="connsiteX24902" fmla="*/ 156124 w 6884782"/>
              <a:gd name="connsiteY24902" fmla="*/ 3390082 h 5973007"/>
              <a:gd name="connsiteX24903" fmla="*/ 175329 w 6884782"/>
              <a:gd name="connsiteY24903" fmla="*/ 3389308 h 5973007"/>
              <a:gd name="connsiteX24904" fmla="*/ 177807 w 6884782"/>
              <a:gd name="connsiteY24904" fmla="*/ 3389618 h 5973007"/>
              <a:gd name="connsiteX24905" fmla="*/ 178324 w 6884782"/>
              <a:gd name="connsiteY24905" fmla="*/ 3402165 h 5973007"/>
              <a:gd name="connsiteX24906" fmla="*/ 174710 w 6884782"/>
              <a:gd name="connsiteY24906" fmla="*/ 3403404 h 5973007"/>
              <a:gd name="connsiteX24907" fmla="*/ 172748 w 6884782"/>
              <a:gd name="connsiteY24907" fmla="*/ 3395659 h 5973007"/>
              <a:gd name="connsiteX24908" fmla="*/ 175329 w 6884782"/>
              <a:gd name="connsiteY24908" fmla="*/ 3389308 h 5973007"/>
              <a:gd name="connsiteX24909" fmla="*/ 6884782 w 6884782"/>
              <a:gd name="connsiteY24909" fmla="*/ 3389141 h 5973007"/>
              <a:gd name="connsiteX24910" fmla="*/ 6884782 w 6884782"/>
              <a:gd name="connsiteY24910" fmla="*/ 3401532 h 5973007"/>
              <a:gd name="connsiteX24911" fmla="*/ 6884627 w 6884782"/>
              <a:gd name="connsiteY24911" fmla="*/ 3401532 h 5973007"/>
              <a:gd name="connsiteX24912" fmla="*/ 6880135 w 6884782"/>
              <a:gd name="connsiteY24912" fmla="*/ 3391723 h 5973007"/>
              <a:gd name="connsiteX24913" fmla="*/ 6884627 w 6884782"/>
              <a:gd name="connsiteY24913" fmla="*/ 3389244 h 5973007"/>
              <a:gd name="connsiteX24914" fmla="*/ 274455 w 6884782"/>
              <a:gd name="connsiteY24914" fmla="*/ 3388534 h 5973007"/>
              <a:gd name="connsiteX24915" fmla="*/ 278172 w 6884782"/>
              <a:gd name="connsiteY24915" fmla="*/ 3395194 h 5973007"/>
              <a:gd name="connsiteX24916" fmla="*/ 271048 w 6884782"/>
              <a:gd name="connsiteY24916" fmla="*/ 3389773 h 5973007"/>
              <a:gd name="connsiteX24917" fmla="*/ 274455 w 6884782"/>
              <a:gd name="connsiteY24917" fmla="*/ 3388534 h 5973007"/>
              <a:gd name="connsiteX24918" fmla="*/ 345805 w 6884782"/>
              <a:gd name="connsiteY24918" fmla="*/ 3387759 h 5973007"/>
              <a:gd name="connsiteX24919" fmla="*/ 352001 w 6884782"/>
              <a:gd name="connsiteY24919" fmla="*/ 3390082 h 5973007"/>
              <a:gd name="connsiteX24920" fmla="*/ 345495 w 6884782"/>
              <a:gd name="connsiteY24920" fmla="*/ 3393955 h 5973007"/>
              <a:gd name="connsiteX24921" fmla="*/ 344050 w 6884782"/>
              <a:gd name="connsiteY24921" fmla="*/ 3390547 h 5973007"/>
              <a:gd name="connsiteX24922" fmla="*/ 345805 w 6884782"/>
              <a:gd name="connsiteY24922" fmla="*/ 3387759 h 5973007"/>
              <a:gd name="connsiteX24923" fmla="*/ 6819726 w 6884782"/>
              <a:gd name="connsiteY24923" fmla="*/ 3385630 h 5973007"/>
              <a:gd name="connsiteX24924" fmla="*/ 6824992 w 6884782"/>
              <a:gd name="connsiteY24924" fmla="*/ 3390793 h 5973007"/>
              <a:gd name="connsiteX24925" fmla="*/ 6820655 w 6884782"/>
              <a:gd name="connsiteY24925" fmla="*/ 3394097 h 5973007"/>
              <a:gd name="connsiteX24926" fmla="*/ 6818022 w 6884782"/>
              <a:gd name="connsiteY24926" fmla="*/ 3389348 h 5973007"/>
              <a:gd name="connsiteX24927" fmla="*/ 6819726 w 6884782"/>
              <a:gd name="connsiteY24927" fmla="*/ 3385630 h 5973007"/>
              <a:gd name="connsiteX24928" fmla="*/ 567084 w 6884782"/>
              <a:gd name="connsiteY24928" fmla="*/ 3385281 h 5973007"/>
              <a:gd name="connsiteX24929" fmla="*/ 555106 w 6884782"/>
              <a:gd name="connsiteY24929" fmla="*/ 3386520 h 5973007"/>
              <a:gd name="connsiteX24930" fmla="*/ 554073 w 6884782"/>
              <a:gd name="connsiteY24930" fmla="*/ 3392561 h 5973007"/>
              <a:gd name="connsiteX24931" fmla="*/ 553763 w 6884782"/>
              <a:gd name="connsiteY24931" fmla="*/ 3403249 h 5973007"/>
              <a:gd name="connsiteX24932" fmla="*/ 554176 w 6884782"/>
              <a:gd name="connsiteY24932" fmla="*/ 3405727 h 5973007"/>
              <a:gd name="connsiteX24933" fmla="*/ 559339 w 6884782"/>
              <a:gd name="connsiteY24933" fmla="*/ 3405572 h 5973007"/>
              <a:gd name="connsiteX24934" fmla="*/ 557791 w 6884782"/>
              <a:gd name="connsiteY24934" fmla="*/ 3413782 h 5973007"/>
              <a:gd name="connsiteX24935" fmla="*/ 570181 w 6884782"/>
              <a:gd name="connsiteY24935" fmla="*/ 3411923 h 5973007"/>
              <a:gd name="connsiteX24936" fmla="*/ 574931 w 6884782"/>
              <a:gd name="connsiteY24936" fmla="*/ 3412697 h 5973007"/>
              <a:gd name="connsiteX24937" fmla="*/ 574931 w 6884782"/>
              <a:gd name="connsiteY24937" fmla="*/ 3400615 h 5973007"/>
              <a:gd name="connsiteX24938" fmla="*/ 575137 w 6884782"/>
              <a:gd name="connsiteY24938" fmla="*/ 3385435 h 5973007"/>
              <a:gd name="connsiteX24939" fmla="*/ 6661576 w 6884782"/>
              <a:gd name="connsiteY24939" fmla="*/ 3383256 h 5973007"/>
              <a:gd name="connsiteX24940" fmla="*/ 6666688 w 6884782"/>
              <a:gd name="connsiteY24940" fmla="*/ 3390793 h 5973007"/>
              <a:gd name="connsiteX24941" fmla="*/ 6666688 w 6884782"/>
              <a:gd name="connsiteY24941" fmla="*/ 3391516 h 5973007"/>
              <a:gd name="connsiteX24942" fmla="*/ 6668702 w 6884782"/>
              <a:gd name="connsiteY24942" fmla="*/ 3392445 h 5973007"/>
              <a:gd name="connsiteX24943" fmla="*/ 6671490 w 6884782"/>
              <a:gd name="connsiteY24943" fmla="*/ 3388831 h 5973007"/>
              <a:gd name="connsiteX24944" fmla="*/ 6682178 w 6884782"/>
              <a:gd name="connsiteY24944" fmla="*/ 3395130 h 5973007"/>
              <a:gd name="connsiteX24945" fmla="*/ 6681093 w 6884782"/>
              <a:gd name="connsiteY24945" fmla="*/ 3391206 h 5973007"/>
              <a:gd name="connsiteX24946" fmla="*/ 6680783 w 6884782"/>
              <a:gd name="connsiteY24946" fmla="*/ 3391723 h 5973007"/>
              <a:gd name="connsiteX24947" fmla="*/ 6675362 w 6884782"/>
              <a:gd name="connsiteY24947" fmla="*/ 3387386 h 5973007"/>
              <a:gd name="connsiteX24948" fmla="*/ 6671335 w 6884782"/>
              <a:gd name="connsiteY24948" fmla="*/ 3386250 h 5973007"/>
              <a:gd name="connsiteX24949" fmla="*/ 6666223 w 6884782"/>
              <a:gd name="connsiteY24949" fmla="*/ 3384907 h 5973007"/>
              <a:gd name="connsiteX24950" fmla="*/ 6661576 w 6884782"/>
              <a:gd name="connsiteY24950" fmla="*/ 3383256 h 5973007"/>
              <a:gd name="connsiteX24951" fmla="*/ 264840 w 6884782"/>
              <a:gd name="connsiteY24951" fmla="*/ 3382473 h 5973007"/>
              <a:gd name="connsiteX24952" fmla="*/ 270325 w 6884782"/>
              <a:gd name="connsiteY24952" fmla="*/ 3386520 h 5973007"/>
              <a:gd name="connsiteX24953" fmla="*/ 262684 w 6884782"/>
              <a:gd name="connsiteY24953" fmla="*/ 3388069 h 5973007"/>
              <a:gd name="connsiteX24954" fmla="*/ 264840 w 6884782"/>
              <a:gd name="connsiteY24954" fmla="*/ 3382473 h 5973007"/>
              <a:gd name="connsiteX24955" fmla="*/ 332485 w 6884782"/>
              <a:gd name="connsiteY24955" fmla="*/ 3382183 h 5973007"/>
              <a:gd name="connsiteX24956" fmla="*/ 339713 w 6884782"/>
              <a:gd name="connsiteY24956" fmla="*/ 3385281 h 5973007"/>
              <a:gd name="connsiteX24957" fmla="*/ 330523 w 6884782"/>
              <a:gd name="connsiteY24957" fmla="*/ 3383577 h 5973007"/>
              <a:gd name="connsiteX24958" fmla="*/ 332485 w 6884782"/>
              <a:gd name="connsiteY24958" fmla="*/ 3382183 h 5973007"/>
              <a:gd name="connsiteX24959" fmla="*/ 243375 w 6884782"/>
              <a:gd name="connsiteY24959" fmla="*/ 3380634 h 5973007"/>
              <a:gd name="connsiteX24960" fmla="*/ 244821 w 6884782"/>
              <a:gd name="connsiteY24960" fmla="*/ 3384506 h 5973007"/>
              <a:gd name="connsiteX24961" fmla="*/ 243065 w 6884782"/>
              <a:gd name="connsiteY24961" fmla="*/ 3386520 h 5973007"/>
              <a:gd name="connsiteX24962" fmla="*/ 241000 w 6884782"/>
              <a:gd name="connsiteY24962" fmla="*/ 3384971 h 5973007"/>
              <a:gd name="connsiteX24963" fmla="*/ 240381 w 6884782"/>
              <a:gd name="connsiteY24963" fmla="*/ 3382493 h 5973007"/>
              <a:gd name="connsiteX24964" fmla="*/ 241413 w 6884782"/>
              <a:gd name="connsiteY24964" fmla="*/ 3381563 h 5973007"/>
              <a:gd name="connsiteX24965" fmla="*/ 243375 w 6884782"/>
              <a:gd name="connsiteY24965" fmla="*/ 3380634 h 5973007"/>
              <a:gd name="connsiteX24966" fmla="*/ 278379 w 6884782"/>
              <a:gd name="connsiteY24966" fmla="*/ 3377226 h 5973007"/>
              <a:gd name="connsiteX24967" fmla="*/ 290873 w 6884782"/>
              <a:gd name="connsiteY24967" fmla="*/ 3387449 h 5973007"/>
              <a:gd name="connsiteX24968" fmla="*/ 278379 w 6884782"/>
              <a:gd name="connsiteY24968" fmla="*/ 3377226 h 5973007"/>
              <a:gd name="connsiteX24969" fmla="*/ 324431 w 6884782"/>
              <a:gd name="connsiteY24969" fmla="*/ 3372424 h 5973007"/>
              <a:gd name="connsiteX24970" fmla="*/ 327735 w 6884782"/>
              <a:gd name="connsiteY24970" fmla="*/ 3389773 h 5973007"/>
              <a:gd name="connsiteX24971" fmla="*/ 315345 w 6884782"/>
              <a:gd name="connsiteY24971" fmla="*/ 3390082 h 5973007"/>
              <a:gd name="connsiteX24972" fmla="*/ 311215 w 6884782"/>
              <a:gd name="connsiteY24972" fmla="*/ 3387604 h 5973007"/>
              <a:gd name="connsiteX24973" fmla="*/ 312557 w 6884782"/>
              <a:gd name="connsiteY24973" fmla="*/ 3389928 h 5973007"/>
              <a:gd name="connsiteX24974" fmla="*/ 309253 w 6884782"/>
              <a:gd name="connsiteY24974" fmla="*/ 3398912 h 5973007"/>
              <a:gd name="connsiteX24975" fmla="*/ 305432 w 6884782"/>
              <a:gd name="connsiteY24975" fmla="*/ 3393645 h 5973007"/>
              <a:gd name="connsiteX24976" fmla="*/ 307084 w 6884782"/>
              <a:gd name="connsiteY24976" fmla="*/ 3387759 h 5973007"/>
              <a:gd name="connsiteX24977" fmla="*/ 310492 w 6884782"/>
              <a:gd name="connsiteY24977" fmla="*/ 3387140 h 5973007"/>
              <a:gd name="connsiteX24978" fmla="*/ 310182 w 6884782"/>
              <a:gd name="connsiteY24978" fmla="*/ 3386985 h 5973007"/>
              <a:gd name="connsiteX24979" fmla="*/ 305845 w 6884782"/>
              <a:gd name="connsiteY24979" fmla="*/ 3381254 h 5973007"/>
              <a:gd name="connsiteX24980" fmla="*/ 324431 w 6884782"/>
              <a:gd name="connsiteY24980" fmla="*/ 3372424 h 5973007"/>
              <a:gd name="connsiteX24981" fmla="*/ 291802 w 6884782"/>
              <a:gd name="connsiteY24981" fmla="*/ 3370721 h 5973007"/>
              <a:gd name="connsiteX24982" fmla="*/ 294694 w 6884782"/>
              <a:gd name="connsiteY24982" fmla="*/ 3373509 h 5973007"/>
              <a:gd name="connsiteX24983" fmla="*/ 287982 w 6884782"/>
              <a:gd name="connsiteY24983" fmla="*/ 3378001 h 5973007"/>
              <a:gd name="connsiteX24984" fmla="*/ 285917 w 6884782"/>
              <a:gd name="connsiteY24984" fmla="*/ 3376452 h 5973007"/>
              <a:gd name="connsiteX24985" fmla="*/ 288911 w 6884782"/>
              <a:gd name="connsiteY24985" fmla="*/ 3370875 h 5973007"/>
              <a:gd name="connsiteX24986" fmla="*/ 291802 w 6884782"/>
              <a:gd name="connsiteY24986" fmla="*/ 3370721 h 5973007"/>
              <a:gd name="connsiteX24987" fmla="*/ 338784 w 6884782"/>
              <a:gd name="connsiteY24987" fmla="*/ 3361427 h 5973007"/>
              <a:gd name="connsiteX24988" fmla="*/ 343327 w 6884782"/>
              <a:gd name="connsiteY24988" fmla="*/ 3362511 h 5973007"/>
              <a:gd name="connsiteX24989" fmla="*/ 344256 w 6884782"/>
              <a:gd name="connsiteY24989" fmla="*/ 3363286 h 5973007"/>
              <a:gd name="connsiteX24990" fmla="*/ 347355 w 6884782"/>
              <a:gd name="connsiteY24990" fmla="*/ 3367778 h 5973007"/>
              <a:gd name="connsiteX24991" fmla="*/ 349522 w 6884782"/>
              <a:gd name="connsiteY24991" fmla="*/ 3368087 h 5973007"/>
              <a:gd name="connsiteX24992" fmla="*/ 342501 w 6884782"/>
              <a:gd name="connsiteY24992" fmla="*/ 3377536 h 5973007"/>
              <a:gd name="connsiteX24993" fmla="*/ 338164 w 6884782"/>
              <a:gd name="connsiteY24993" fmla="*/ 3376142 h 5973007"/>
              <a:gd name="connsiteX24994" fmla="*/ 338061 w 6884782"/>
              <a:gd name="connsiteY24994" fmla="*/ 3371805 h 5973007"/>
              <a:gd name="connsiteX24995" fmla="*/ 339403 w 6884782"/>
              <a:gd name="connsiteY24995" fmla="*/ 3370411 h 5973007"/>
              <a:gd name="connsiteX24996" fmla="*/ 338061 w 6884782"/>
              <a:gd name="connsiteY24996" fmla="*/ 3368552 h 5973007"/>
              <a:gd name="connsiteX24997" fmla="*/ 335480 w 6884782"/>
              <a:gd name="connsiteY24997" fmla="*/ 3364215 h 5973007"/>
              <a:gd name="connsiteX24998" fmla="*/ 338784 w 6884782"/>
              <a:gd name="connsiteY24998" fmla="*/ 3361427 h 5973007"/>
              <a:gd name="connsiteX24999" fmla="*/ 254630 w 6884782"/>
              <a:gd name="connsiteY24999" fmla="*/ 3355850 h 5973007"/>
              <a:gd name="connsiteX25000" fmla="*/ 262684 w 6884782"/>
              <a:gd name="connsiteY25000" fmla="*/ 3357554 h 5973007"/>
              <a:gd name="connsiteX25001" fmla="*/ 265266 w 6884782"/>
              <a:gd name="connsiteY25001" fmla="*/ 3362046 h 5973007"/>
              <a:gd name="connsiteX25002" fmla="*/ 263303 w 6884782"/>
              <a:gd name="connsiteY25002" fmla="*/ 3369326 h 5973007"/>
              <a:gd name="connsiteX25003" fmla="*/ 258967 w 6884782"/>
              <a:gd name="connsiteY25003" fmla="*/ 3368087 h 5973007"/>
              <a:gd name="connsiteX25004" fmla="*/ 254630 w 6884782"/>
              <a:gd name="connsiteY25004" fmla="*/ 3355850 h 5973007"/>
              <a:gd name="connsiteX25005" fmla="*/ 388657 w 6884782"/>
              <a:gd name="connsiteY25005" fmla="*/ 3355076 h 5973007"/>
              <a:gd name="connsiteX25006" fmla="*/ 393716 w 6884782"/>
              <a:gd name="connsiteY25006" fmla="*/ 3358019 h 5973007"/>
              <a:gd name="connsiteX25007" fmla="*/ 394439 w 6884782"/>
              <a:gd name="connsiteY25007" fmla="*/ 3365764 h 5973007"/>
              <a:gd name="connsiteX25008" fmla="*/ 393096 w 6884782"/>
              <a:gd name="connsiteY25008" fmla="*/ 3366538 h 5973007"/>
              <a:gd name="connsiteX25009" fmla="*/ 396711 w 6884782"/>
              <a:gd name="connsiteY25009" fmla="*/ 3367313 h 5973007"/>
              <a:gd name="connsiteX25010" fmla="*/ 404042 w 6884782"/>
              <a:gd name="connsiteY25010" fmla="*/ 3378465 h 5973007"/>
              <a:gd name="connsiteX25011" fmla="*/ 395059 w 6884782"/>
              <a:gd name="connsiteY25011" fmla="*/ 3379704 h 5973007"/>
              <a:gd name="connsiteX25012" fmla="*/ 391032 w 6884782"/>
              <a:gd name="connsiteY25012" fmla="*/ 3378775 h 5973007"/>
              <a:gd name="connsiteX25013" fmla="*/ 391032 w 6884782"/>
              <a:gd name="connsiteY25013" fmla="*/ 3379085 h 5973007"/>
              <a:gd name="connsiteX25014" fmla="*/ 389896 w 6884782"/>
              <a:gd name="connsiteY25014" fmla="*/ 3382338 h 5973007"/>
              <a:gd name="connsiteX25015" fmla="*/ 385869 w 6884782"/>
              <a:gd name="connsiteY25015" fmla="*/ 3385281 h 5973007"/>
              <a:gd name="connsiteX25016" fmla="*/ 386385 w 6884782"/>
              <a:gd name="connsiteY25016" fmla="*/ 3399531 h 5973007"/>
              <a:gd name="connsiteX25017" fmla="*/ 386901 w 6884782"/>
              <a:gd name="connsiteY25017" fmla="*/ 3419358 h 5973007"/>
              <a:gd name="connsiteX25018" fmla="*/ 382978 w 6884782"/>
              <a:gd name="connsiteY25018" fmla="*/ 3413627 h 5973007"/>
              <a:gd name="connsiteX25019" fmla="*/ 382461 w 6884782"/>
              <a:gd name="connsiteY25019" fmla="*/ 3414247 h 5973007"/>
              <a:gd name="connsiteX25020" fmla="*/ 381635 w 6884782"/>
              <a:gd name="connsiteY25020" fmla="*/ 3423076 h 5973007"/>
              <a:gd name="connsiteX25021" fmla="*/ 373271 w 6884782"/>
              <a:gd name="connsiteY25021" fmla="*/ 3423540 h 5973007"/>
              <a:gd name="connsiteX25022" fmla="*/ 370380 w 6884782"/>
              <a:gd name="connsiteY25022" fmla="*/ 3421991 h 5973007"/>
              <a:gd name="connsiteX25023" fmla="*/ 379570 w 6884782"/>
              <a:gd name="connsiteY25023" fmla="*/ 3406966 h 5973007"/>
              <a:gd name="connsiteX25024" fmla="*/ 379983 w 6884782"/>
              <a:gd name="connsiteY25024" fmla="*/ 3407121 h 5973007"/>
              <a:gd name="connsiteX25025" fmla="*/ 378022 w 6884782"/>
              <a:gd name="connsiteY25025" fmla="*/ 3399686 h 5973007"/>
              <a:gd name="connsiteX25026" fmla="*/ 377505 w 6884782"/>
              <a:gd name="connsiteY25026" fmla="*/ 3394575 h 5973007"/>
              <a:gd name="connsiteX25027" fmla="*/ 377092 w 6884782"/>
              <a:gd name="connsiteY25027" fmla="*/ 3395039 h 5973007"/>
              <a:gd name="connsiteX25028" fmla="*/ 361604 w 6884782"/>
              <a:gd name="connsiteY25028" fmla="*/ 3390547 h 5973007"/>
              <a:gd name="connsiteX25029" fmla="*/ 362326 w 6884782"/>
              <a:gd name="connsiteY25029" fmla="*/ 3387914 h 5973007"/>
              <a:gd name="connsiteX25030" fmla="*/ 367386 w 6884782"/>
              <a:gd name="connsiteY25030" fmla="*/ 3385126 h 5973007"/>
              <a:gd name="connsiteX25031" fmla="*/ 371000 w 6884782"/>
              <a:gd name="connsiteY25031" fmla="*/ 3385435 h 5973007"/>
              <a:gd name="connsiteX25032" fmla="*/ 371413 w 6884782"/>
              <a:gd name="connsiteY25032" fmla="*/ 3380944 h 5973007"/>
              <a:gd name="connsiteX25033" fmla="*/ 376059 w 6884782"/>
              <a:gd name="connsiteY25033" fmla="*/ 3381563 h 5973007"/>
              <a:gd name="connsiteX25034" fmla="*/ 376266 w 6884782"/>
              <a:gd name="connsiteY25034" fmla="*/ 3381718 h 5973007"/>
              <a:gd name="connsiteX25035" fmla="*/ 375853 w 6884782"/>
              <a:gd name="connsiteY25035" fmla="*/ 3376761 h 5973007"/>
              <a:gd name="connsiteX25036" fmla="*/ 380190 w 6884782"/>
              <a:gd name="connsiteY25036" fmla="*/ 3376761 h 5973007"/>
              <a:gd name="connsiteX25037" fmla="*/ 382564 w 6884782"/>
              <a:gd name="connsiteY25037" fmla="*/ 3377071 h 5973007"/>
              <a:gd name="connsiteX25038" fmla="*/ 382668 w 6884782"/>
              <a:gd name="connsiteY25038" fmla="*/ 3376142 h 5973007"/>
              <a:gd name="connsiteX25039" fmla="*/ 387521 w 6884782"/>
              <a:gd name="connsiteY25039" fmla="*/ 3374748 h 5973007"/>
              <a:gd name="connsiteX25040" fmla="*/ 388760 w 6884782"/>
              <a:gd name="connsiteY25040" fmla="*/ 3375368 h 5973007"/>
              <a:gd name="connsiteX25041" fmla="*/ 388554 w 6884782"/>
              <a:gd name="connsiteY25041" fmla="*/ 3371185 h 5973007"/>
              <a:gd name="connsiteX25042" fmla="*/ 390102 w 6884782"/>
              <a:gd name="connsiteY25042" fmla="*/ 3367313 h 5973007"/>
              <a:gd name="connsiteX25043" fmla="*/ 391961 w 6884782"/>
              <a:gd name="connsiteY25043" fmla="*/ 3366383 h 5973007"/>
              <a:gd name="connsiteX25044" fmla="*/ 390102 w 6884782"/>
              <a:gd name="connsiteY25044" fmla="*/ 3365299 h 5973007"/>
              <a:gd name="connsiteX25045" fmla="*/ 388140 w 6884782"/>
              <a:gd name="connsiteY25045" fmla="*/ 3360343 h 5973007"/>
              <a:gd name="connsiteX25046" fmla="*/ 388657 w 6884782"/>
              <a:gd name="connsiteY25046" fmla="*/ 3355076 h 5973007"/>
              <a:gd name="connsiteX25047" fmla="*/ 129896 w 6884782"/>
              <a:gd name="connsiteY25047" fmla="*/ 3353682 h 5973007"/>
              <a:gd name="connsiteX25048" fmla="*/ 133304 w 6884782"/>
              <a:gd name="connsiteY25048" fmla="*/ 3355541 h 5973007"/>
              <a:gd name="connsiteX25049" fmla="*/ 134130 w 6884782"/>
              <a:gd name="connsiteY25049" fmla="*/ 3358019 h 5973007"/>
              <a:gd name="connsiteX25050" fmla="*/ 131446 w 6884782"/>
              <a:gd name="connsiteY25050" fmla="*/ 3358639 h 5973007"/>
              <a:gd name="connsiteX25051" fmla="*/ 128864 w 6884782"/>
              <a:gd name="connsiteY25051" fmla="*/ 3357554 h 5973007"/>
              <a:gd name="connsiteX25052" fmla="*/ 128554 w 6884782"/>
              <a:gd name="connsiteY25052" fmla="*/ 3356160 h 5973007"/>
              <a:gd name="connsiteX25053" fmla="*/ 128967 w 6884782"/>
              <a:gd name="connsiteY25053" fmla="*/ 3354146 h 5973007"/>
              <a:gd name="connsiteX25054" fmla="*/ 129896 w 6884782"/>
              <a:gd name="connsiteY25054" fmla="*/ 3353682 h 5973007"/>
              <a:gd name="connsiteX25055" fmla="*/ 6794942 w 6884782"/>
              <a:gd name="connsiteY25055" fmla="*/ 3353001 h 5973007"/>
              <a:gd name="connsiteX25056" fmla="*/ 6810122 w 6884782"/>
              <a:gd name="connsiteY25056" fmla="*/ 3371897 h 5973007"/>
              <a:gd name="connsiteX25057" fmla="*/ 6804236 w 6884782"/>
              <a:gd name="connsiteY25057" fmla="*/ 3376544 h 5973007"/>
              <a:gd name="connsiteX25058" fmla="*/ 6795252 w 6884782"/>
              <a:gd name="connsiteY25058" fmla="*/ 3375718 h 5973007"/>
              <a:gd name="connsiteX25059" fmla="*/ 6787972 w 6884782"/>
              <a:gd name="connsiteY25059" fmla="*/ 3369729 h 5973007"/>
              <a:gd name="connsiteX25060" fmla="*/ 6786578 w 6884782"/>
              <a:gd name="connsiteY25060" fmla="*/ 3354447 h 5973007"/>
              <a:gd name="connsiteX25061" fmla="*/ 6794942 w 6884782"/>
              <a:gd name="connsiteY25061" fmla="*/ 3353001 h 5973007"/>
              <a:gd name="connsiteX25062" fmla="*/ 286433 w 6884782"/>
              <a:gd name="connsiteY25062" fmla="*/ 3351358 h 5973007"/>
              <a:gd name="connsiteX25063" fmla="*/ 291080 w 6884782"/>
              <a:gd name="connsiteY25063" fmla="*/ 3357864 h 5973007"/>
              <a:gd name="connsiteX25064" fmla="*/ 277966 w 6884782"/>
              <a:gd name="connsiteY25064" fmla="*/ 3364525 h 5973007"/>
              <a:gd name="connsiteX25065" fmla="*/ 274765 w 6884782"/>
              <a:gd name="connsiteY25065" fmla="*/ 3360343 h 5973007"/>
              <a:gd name="connsiteX25066" fmla="*/ 286433 w 6884782"/>
              <a:gd name="connsiteY25066" fmla="*/ 3351358 h 5973007"/>
              <a:gd name="connsiteX25067" fmla="*/ 6547728 w 6884782"/>
              <a:gd name="connsiteY25067" fmla="*/ 3347735 h 5973007"/>
              <a:gd name="connsiteX25068" fmla="*/ 6537040 w 6884782"/>
              <a:gd name="connsiteY25068" fmla="*/ 3349594 h 5973007"/>
              <a:gd name="connsiteX25069" fmla="*/ 6539208 w 6884782"/>
              <a:gd name="connsiteY25069" fmla="*/ 3364050 h 5973007"/>
              <a:gd name="connsiteX25070" fmla="*/ 6538434 w 6884782"/>
              <a:gd name="connsiteY25070" fmla="*/ 3368800 h 5973007"/>
              <a:gd name="connsiteX25071" fmla="*/ 6550516 w 6884782"/>
              <a:gd name="connsiteY25071" fmla="*/ 3368800 h 5973007"/>
              <a:gd name="connsiteX25072" fmla="*/ 6575764 w 6884782"/>
              <a:gd name="connsiteY25072" fmla="*/ 3369109 h 5973007"/>
              <a:gd name="connsiteX25073" fmla="*/ 6598998 w 6884782"/>
              <a:gd name="connsiteY25073" fmla="*/ 3370658 h 5973007"/>
              <a:gd name="connsiteX25074" fmla="*/ 6604575 w 6884782"/>
              <a:gd name="connsiteY25074" fmla="*/ 3367767 h 5973007"/>
              <a:gd name="connsiteX25075" fmla="*/ 6613094 w 6884782"/>
              <a:gd name="connsiteY25075" fmla="*/ 3369832 h 5973007"/>
              <a:gd name="connsiteX25076" fmla="*/ 6615727 w 6884782"/>
              <a:gd name="connsiteY25076" fmla="*/ 3373550 h 5973007"/>
              <a:gd name="connsiteX25077" fmla="*/ 6625176 w 6884782"/>
              <a:gd name="connsiteY25077" fmla="*/ 3375305 h 5973007"/>
              <a:gd name="connsiteX25078" fmla="*/ 6647481 w 6884782"/>
              <a:gd name="connsiteY25078" fmla="*/ 3382223 h 5973007"/>
              <a:gd name="connsiteX25079" fmla="*/ 6653057 w 6884782"/>
              <a:gd name="connsiteY25079" fmla="*/ 3384804 h 5973007"/>
              <a:gd name="connsiteX25080" fmla="*/ 6658324 w 6884782"/>
              <a:gd name="connsiteY25080" fmla="*/ 3381397 h 5973007"/>
              <a:gd name="connsiteX25081" fmla="*/ 6656775 w 6884782"/>
              <a:gd name="connsiteY25081" fmla="*/ 3380571 h 5973007"/>
              <a:gd name="connsiteX25082" fmla="*/ 6653057 w 6884782"/>
              <a:gd name="connsiteY25082" fmla="*/ 3378299 h 5973007"/>
              <a:gd name="connsiteX25083" fmla="*/ 6651973 w 6884782"/>
              <a:gd name="connsiteY25083" fmla="*/ 3378299 h 5973007"/>
              <a:gd name="connsiteX25084" fmla="*/ 6652128 w 6884782"/>
              <a:gd name="connsiteY25084" fmla="*/ 3377783 h 5973007"/>
              <a:gd name="connsiteX25085" fmla="*/ 6651508 w 6884782"/>
              <a:gd name="connsiteY25085" fmla="*/ 3377267 h 5973007"/>
              <a:gd name="connsiteX25086" fmla="*/ 6646087 w 6884782"/>
              <a:gd name="connsiteY25086" fmla="*/ 3375718 h 5973007"/>
              <a:gd name="connsiteX25087" fmla="*/ 6636638 w 6884782"/>
              <a:gd name="connsiteY25087" fmla="*/ 3373550 h 5973007"/>
              <a:gd name="connsiteX25088" fmla="*/ 6625021 w 6884782"/>
              <a:gd name="connsiteY25088" fmla="*/ 3369213 h 5973007"/>
              <a:gd name="connsiteX25089" fmla="*/ 6612939 w 6884782"/>
              <a:gd name="connsiteY25089" fmla="*/ 3364772 h 5973007"/>
              <a:gd name="connsiteX25090" fmla="*/ 6600237 w 6884782"/>
              <a:gd name="connsiteY25090" fmla="*/ 3361571 h 5973007"/>
              <a:gd name="connsiteX25091" fmla="*/ 6599153 w 6884782"/>
              <a:gd name="connsiteY25091" fmla="*/ 3358371 h 5973007"/>
              <a:gd name="connsiteX25092" fmla="*/ 6597449 w 6884782"/>
              <a:gd name="connsiteY25092" fmla="*/ 3356305 h 5973007"/>
              <a:gd name="connsiteX25093" fmla="*/ 6587691 w 6884782"/>
              <a:gd name="connsiteY25093" fmla="*/ 3354550 h 5973007"/>
              <a:gd name="connsiteX25094" fmla="*/ 6578242 w 6884782"/>
              <a:gd name="connsiteY25094" fmla="*/ 3351866 h 5973007"/>
              <a:gd name="connsiteX25095" fmla="*/ 6558570 w 6884782"/>
              <a:gd name="connsiteY25095" fmla="*/ 3347942 h 5973007"/>
              <a:gd name="connsiteX25096" fmla="*/ 6547728 w 6884782"/>
              <a:gd name="connsiteY25096" fmla="*/ 3347735 h 5973007"/>
              <a:gd name="connsiteX25097" fmla="*/ 239452 w 6884782"/>
              <a:gd name="connsiteY25097" fmla="*/ 3345163 h 5973007"/>
              <a:gd name="connsiteX25098" fmla="*/ 238316 w 6884782"/>
              <a:gd name="connsiteY25098" fmla="*/ 3356470 h 5973007"/>
              <a:gd name="connsiteX25099" fmla="*/ 216322 w 6884782"/>
              <a:gd name="connsiteY25099" fmla="*/ 3354921 h 5973007"/>
              <a:gd name="connsiteX25100" fmla="*/ 225615 w 6884782"/>
              <a:gd name="connsiteY25100" fmla="*/ 3348106 h 5973007"/>
              <a:gd name="connsiteX25101" fmla="*/ 239452 w 6884782"/>
              <a:gd name="connsiteY25101" fmla="*/ 3345163 h 5973007"/>
              <a:gd name="connsiteX25102" fmla="*/ 253288 w 6884782"/>
              <a:gd name="connsiteY25102" fmla="*/ 3343304 h 5973007"/>
              <a:gd name="connsiteX25103" fmla="*/ 252256 w 6884782"/>
              <a:gd name="connsiteY25103" fmla="*/ 3347331 h 5973007"/>
              <a:gd name="connsiteX25104" fmla="*/ 250603 w 6884782"/>
              <a:gd name="connsiteY25104" fmla="*/ 3343768 h 5973007"/>
              <a:gd name="connsiteX25105" fmla="*/ 253288 w 6884782"/>
              <a:gd name="connsiteY25105" fmla="*/ 3343304 h 5973007"/>
              <a:gd name="connsiteX25106" fmla="*/ 304296 w 6884782"/>
              <a:gd name="connsiteY25106" fmla="*/ 3339741 h 5973007"/>
              <a:gd name="connsiteX25107" fmla="*/ 302438 w 6884782"/>
              <a:gd name="connsiteY25107" fmla="*/ 3342529 h 5973007"/>
              <a:gd name="connsiteX25108" fmla="*/ 299753 w 6884782"/>
              <a:gd name="connsiteY25108" fmla="*/ 3341755 h 5973007"/>
              <a:gd name="connsiteX25109" fmla="*/ 301921 w 6884782"/>
              <a:gd name="connsiteY25109" fmla="*/ 3340206 h 5973007"/>
              <a:gd name="connsiteX25110" fmla="*/ 304296 w 6884782"/>
              <a:gd name="connsiteY25110" fmla="*/ 3339741 h 5973007"/>
              <a:gd name="connsiteX25111" fmla="*/ 305535 w 6884782"/>
              <a:gd name="connsiteY25111" fmla="*/ 3337728 h 5973007"/>
              <a:gd name="connsiteX25112" fmla="*/ 304709 w 6884782"/>
              <a:gd name="connsiteY25112" fmla="*/ 3339277 h 5973007"/>
              <a:gd name="connsiteX25113" fmla="*/ 303987 w 6884782"/>
              <a:gd name="connsiteY25113" fmla="*/ 3338812 h 5973007"/>
              <a:gd name="connsiteX25114" fmla="*/ 304709 w 6884782"/>
              <a:gd name="connsiteY25114" fmla="*/ 3337882 h 5973007"/>
              <a:gd name="connsiteX25115" fmla="*/ 305535 w 6884782"/>
              <a:gd name="connsiteY25115" fmla="*/ 3337728 h 5973007"/>
              <a:gd name="connsiteX25116" fmla="*/ 360468 w 6884782"/>
              <a:gd name="connsiteY25116" fmla="*/ 3336179 h 5973007"/>
              <a:gd name="connsiteX25117" fmla="*/ 363359 w 6884782"/>
              <a:gd name="connsiteY25117" fmla="*/ 3338967 h 5973007"/>
              <a:gd name="connsiteX25118" fmla="*/ 352724 w 6884782"/>
              <a:gd name="connsiteY25118" fmla="*/ 3351823 h 5973007"/>
              <a:gd name="connsiteX25119" fmla="*/ 349729 w 6884782"/>
              <a:gd name="connsiteY25119" fmla="*/ 3348570 h 5973007"/>
              <a:gd name="connsiteX25120" fmla="*/ 350245 w 6884782"/>
              <a:gd name="connsiteY25120" fmla="*/ 3344853 h 5973007"/>
              <a:gd name="connsiteX25121" fmla="*/ 352001 w 6884782"/>
              <a:gd name="connsiteY25121" fmla="*/ 3341600 h 5973007"/>
              <a:gd name="connsiteX25122" fmla="*/ 355202 w 6884782"/>
              <a:gd name="connsiteY25122" fmla="*/ 3339586 h 5973007"/>
              <a:gd name="connsiteX25123" fmla="*/ 360468 w 6884782"/>
              <a:gd name="connsiteY25123" fmla="*/ 3336179 h 5973007"/>
              <a:gd name="connsiteX25124" fmla="*/ 307807 w 6884782"/>
              <a:gd name="connsiteY25124" fmla="*/ 3334320 h 5973007"/>
              <a:gd name="connsiteX25125" fmla="*/ 308014 w 6884782"/>
              <a:gd name="connsiteY25125" fmla="*/ 3335404 h 5973007"/>
              <a:gd name="connsiteX25126" fmla="*/ 306155 w 6884782"/>
              <a:gd name="connsiteY25126" fmla="*/ 3335249 h 5973007"/>
              <a:gd name="connsiteX25127" fmla="*/ 307807 w 6884782"/>
              <a:gd name="connsiteY25127" fmla="*/ 3334320 h 5973007"/>
              <a:gd name="connsiteX25128" fmla="*/ 109658 w 6884782"/>
              <a:gd name="connsiteY25128" fmla="*/ 3334165 h 5973007"/>
              <a:gd name="connsiteX25129" fmla="*/ 115957 w 6884782"/>
              <a:gd name="connsiteY25129" fmla="*/ 3335404 h 5973007"/>
              <a:gd name="connsiteX25130" fmla="*/ 110794 w 6884782"/>
              <a:gd name="connsiteY25130" fmla="*/ 3340206 h 5973007"/>
              <a:gd name="connsiteX25131" fmla="*/ 108935 w 6884782"/>
              <a:gd name="connsiteY25131" fmla="*/ 3335869 h 5973007"/>
              <a:gd name="connsiteX25132" fmla="*/ 109658 w 6884782"/>
              <a:gd name="connsiteY25132" fmla="*/ 3334165 h 5973007"/>
              <a:gd name="connsiteX25133" fmla="*/ 6640820 w 6884782"/>
              <a:gd name="connsiteY25133" fmla="*/ 3330182 h 5973007"/>
              <a:gd name="connsiteX25134" fmla="*/ 6642834 w 6884782"/>
              <a:gd name="connsiteY25134" fmla="*/ 3335345 h 5973007"/>
              <a:gd name="connsiteX25135" fmla="*/ 6640820 w 6884782"/>
              <a:gd name="connsiteY25135" fmla="*/ 3340198 h 5973007"/>
              <a:gd name="connsiteX25136" fmla="*/ 6632301 w 6884782"/>
              <a:gd name="connsiteY25136" fmla="*/ 3349078 h 5973007"/>
              <a:gd name="connsiteX25137" fmla="*/ 6632921 w 6884782"/>
              <a:gd name="connsiteY25137" fmla="*/ 3349078 h 5973007"/>
              <a:gd name="connsiteX25138" fmla="*/ 6632146 w 6884782"/>
              <a:gd name="connsiteY25138" fmla="*/ 3353414 h 5973007"/>
              <a:gd name="connsiteX25139" fmla="*/ 6637103 w 6884782"/>
              <a:gd name="connsiteY25139" fmla="*/ 3349594 h 5973007"/>
              <a:gd name="connsiteX25140" fmla="*/ 6642369 w 6884782"/>
              <a:gd name="connsiteY25140" fmla="*/ 3352795 h 5973007"/>
              <a:gd name="connsiteX25141" fmla="*/ 6643918 w 6884782"/>
              <a:gd name="connsiteY25141" fmla="*/ 3353208 h 5973007"/>
              <a:gd name="connsiteX25142" fmla="*/ 6646706 w 6884782"/>
              <a:gd name="connsiteY25142" fmla="*/ 3352589 h 5973007"/>
              <a:gd name="connsiteX25143" fmla="*/ 6647791 w 6884782"/>
              <a:gd name="connsiteY25143" fmla="*/ 3354240 h 5973007"/>
              <a:gd name="connsiteX25144" fmla="*/ 6647636 w 6884782"/>
              <a:gd name="connsiteY25144" fmla="*/ 3354344 h 5973007"/>
              <a:gd name="connsiteX25145" fmla="*/ 6649649 w 6884782"/>
              <a:gd name="connsiteY25145" fmla="*/ 3354963 h 5973007"/>
              <a:gd name="connsiteX25146" fmla="*/ 6652902 w 6884782"/>
              <a:gd name="connsiteY25146" fmla="*/ 3356305 h 5973007"/>
              <a:gd name="connsiteX25147" fmla="*/ 6652128 w 6884782"/>
              <a:gd name="connsiteY25147" fmla="*/ 3355789 h 5973007"/>
              <a:gd name="connsiteX25148" fmla="*/ 6661112 w 6884782"/>
              <a:gd name="connsiteY25148" fmla="*/ 3359403 h 5973007"/>
              <a:gd name="connsiteX25149" fmla="*/ 6662196 w 6884782"/>
              <a:gd name="connsiteY25149" fmla="*/ 3359300 h 5973007"/>
              <a:gd name="connsiteX25150" fmla="*/ 6662970 w 6884782"/>
              <a:gd name="connsiteY25150" fmla="*/ 3359094 h 5973007"/>
              <a:gd name="connsiteX25151" fmla="*/ 6663590 w 6884782"/>
              <a:gd name="connsiteY25151" fmla="*/ 3359197 h 5973007"/>
              <a:gd name="connsiteX25152" fmla="*/ 6665603 w 6884782"/>
              <a:gd name="connsiteY25152" fmla="*/ 3359197 h 5973007"/>
              <a:gd name="connsiteX25153" fmla="*/ 6664829 w 6884782"/>
              <a:gd name="connsiteY25153" fmla="*/ 3352898 h 5973007"/>
              <a:gd name="connsiteX25154" fmla="*/ 6653522 w 6884782"/>
              <a:gd name="connsiteY25154" fmla="*/ 3345670 h 5973007"/>
              <a:gd name="connsiteX25155" fmla="*/ 6643918 w 6884782"/>
              <a:gd name="connsiteY25155" fmla="*/ 3337410 h 5973007"/>
              <a:gd name="connsiteX25156" fmla="*/ 6664984 w 6884782"/>
              <a:gd name="connsiteY25156" fmla="*/ 3341643 h 5973007"/>
              <a:gd name="connsiteX25157" fmla="*/ 6652592 w 6884782"/>
              <a:gd name="connsiteY25157" fmla="*/ 3333279 h 5973007"/>
              <a:gd name="connsiteX25158" fmla="*/ 217768 w 6884782"/>
              <a:gd name="connsiteY25158" fmla="*/ 3329828 h 5973007"/>
              <a:gd name="connsiteX25159" fmla="*/ 225099 w 6884782"/>
              <a:gd name="connsiteY25159" fmla="*/ 3333081 h 5973007"/>
              <a:gd name="connsiteX25160" fmla="*/ 216116 w 6884782"/>
              <a:gd name="connsiteY25160" fmla="*/ 3332926 h 5973007"/>
              <a:gd name="connsiteX25161" fmla="*/ 217768 w 6884782"/>
              <a:gd name="connsiteY25161" fmla="*/ 3329828 h 5973007"/>
              <a:gd name="connsiteX25162" fmla="*/ 377918 w 6884782"/>
              <a:gd name="connsiteY25162" fmla="*/ 3326265 h 5973007"/>
              <a:gd name="connsiteX25163" fmla="*/ 385662 w 6884782"/>
              <a:gd name="connsiteY25163" fmla="*/ 3335869 h 5973007"/>
              <a:gd name="connsiteX25164" fmla="*/ 371310 w 6884782"/>
              <a:gd name="connsiteY25164" fmla="*/ 3336024 h 5973007"/>
              <a:gd name="connsiteX25165" fmla="*/ 377918 w 6884782"/>
              <a:gd name="connsiteY25165" fmla="*/ 3326265 h 5973007"/>
              <a:gd name="connsiteX25166" fmla="*/ 317100 w 6884782"/>
              <a:gd name="connsiteY25166" fmla="*/ 3324871 h 5973007"/>
              <a:gd name="connsiteX25167" fmla="*/ 307910 w 6884782"/>
              <a:gd name="connsiteY25167" fmla="*/ 3334320 h 5973007"/>
              <a:gd name="connsiteX25168" fmla="*/ 317100 w 6884782"/>
              <a:gd name="connsiteY25168" fmla="*/ 3324871 h 5973007"/>
              <a:gd name="connsiteX25169" fmla="*/ 245750 w 6884782"/>
              <a:gd name="connsiteY25169" fmla="*/ 3323942 h 5973007"/>
              <a:gd name="connsiteX25170" fmla="*/ 237593 w 6884782"/>
              <a:gd name="connsiteY25170" fmla="*/ 3331842 h 5973007"/>
              <a:gd name="connsiteX25171" fmla="*/ 225925 w 6884782"/>
              <a:gd name="connsiteY25171" fmla="*/ 3336643 h 5973007"/>
              <a:gd name="connsiteX25172" fmla="*/ 233256 w 6884782"/>
              <a:gd name="connsiteY25172" fmla="*/ 3326575 h 5973007"/>
              <a:gd name="connsiteX25173" fmla="*/ 245750 w 6884782"/>
              <a:gd name="connsiteY25173" fmla="*/ 3323942 h 5973007"/>
              <a:gd name="connsiteX25174" fmla="*/ 6539363 w 6884782"/>
              <a:gd name="connsiteY25174" fmla="*/ 3323677 h 5973007"/>
              <a:gd name="connsiteX25175" fmla="*/ 6542306 w 6884782"/>
              <a:gd name="connsiteY25175" fmla="*/ 3339062 h 5973007"/>
              <a:gd name="connsiteX25176" fmla="*/ 6535026 w 6884782"/>
              <a:gd name="connsiteY25176" fmla="*/ 3328530 h 5973007"/>
              <a:gd name="connsiteX25177" fmla="*/ 6539363 w 6884782"/>
              <a:gd name="connsiteY25177" fmla="*/ 3323677 h 5973007"/>
              <a:gd name="connsiteX25178" fmla="*/ 169857 w 6884782"/>
              <a:gd name="connsiteY25178" fmla="*/ 3318210 h 5973007"/>
              <a:gd name="connsiteX25179" fmla="*/ 175020 w 6884782"/>
              <a:gd name="connsiteY25179" fmla="*/ 3322083 h 5973007"/>
              <a:gd name="connsiteX25180" fmla="*/ 169444 w 6884782"/>
              <a:gd name="connsiteY25180" fmla="*/ 3327350 h 5973007"/>
              <a:gd name="connsiteX25181" fmla="*/ 166036 w 6884782"/>
              <a:gd name="connsiteY25181" fmla="*/ 3324252 h 5973007"/>
              <a:gd name="connsiteX25182" fmla="*/ 169857 w 6884782"/>
              <a:gd name="connsiteY25182" fmla="*/ 3318210 h 5973007"/>
              <a:gd name="connsiteX25183" fmla="*/ 541889 w 6884782"/>
              <a:gd name="connsiteY25183" fmla="*/ 3318056 h 5973007"/>
              <a:gd name="connsiteX25184" fmla="*/ 543128 w 6884782"/>
              <a:gd name="connsiteY25184" fmla="*/ 3320999 h 5973007"/>
              <a:gd name="connsiteX25185" fmla="*/ 542405 w 6884782"/>
              <a:gd name="connsiteY25185" fmla="*/ 3321309 h 5973007"/>
              <a:gd name="connsiteX25186" fmla="*/ 541166 w 6884782"/>
              <a:gd name="connsiteY25186" fmla="*/ 3319914 h 5973007"/>
              <a:gd name="connsiteX25187" fmla="*/ 541889 w 6884782"/>
              <a:gd name="connsiteY25187" fmla="*/ 3318056 h 5973007"/>
              <a:gd name="connsiteX25188" fmla="*/ 6697358 w 6884782"/>
              <a:gd name="connsiteY25188" fmla="*/ 3317171 h 5973007"/>
              <a:gd name="connsiteX25189" fmla="*/ 6697667 w 6884782"/>
              <a:gd name="connsiteY25189" fmla="*/ 3318101 h 5973007"/>
              <a:gd name="connsiteX25190" fmla="*/ 6697822 w 6884782"/>
              <a:gd name="connsiteY25190" fmla="*/ 3317791 h 5973007"/>
              <a:gd name="connsiteX25191" fmla="*/ 325464 w 6884782"/>
              <a:gd name="connsiteY25191" fmla="*/ 3315113 h 5973007"/>
              <a:gd name="connsiteX25192" fmla="*/ 322159 w 6884782"/>
              <a:gd name="connsiteY25192" fmla="*/ 3320379 h 5973007"/>
              <a:gd name="connsiteX25193" fmla="*/ 321024 w 6884782"/>
              <a:gd name="connsiteY25193" fmla="*/ 3320689 h 5973007"/>
              <a:gd name="connsiteX25194" fmla="*/ 325464 w 6884782"/>
              <a:gd name="connsiteY25194" fmla="*/ 3315113 h 5973007"/>
              <a:gd name="connsiteX25195" fmla="*/ 6695808 w 6884782"/>
              <a:gd name="connsiteY25195" fmla="*/ 3313558 h 5973007"/>
              <a:gd name="connsiteX25196" fmla="*/ 6684811 w 6884782"/>
              <a:gd name="connsiteY25196" fmla="*/ 3313970 h 5973007"/>
              <a:gd name="connsiteX25197" fmla="*/ 6684656 w 6884782"/>
              <a:gd name="connsiteY25197" fmla="*/ 3314590 h 5973007"/>
              <a:gd name="connsiteX25198" fmla="*/ 6691161 w 6884782"/>
              <a:gd name="connsiteY25198" fmla="*/ 3316655 h 5973007"/>
              <a:gd name="connsiteX25199" fmla="*/ 6697358 w 6884782"/>
              <a:gd name="connsiteY25199" fmla="*/ 3316965 h 5973007"/>
              <a:gd name="connsiteX25200" fmla="*/ 6696428 w 6884782"/>
              <a:gd name="connsiteY25200" fmla="*/ 3315726 h 5973007"/>
              <a:gd name="connsiteX25201" fmla="*/ 6695808 w 6884782"/>
              <a:gd name="connsiteY25201" fmla="*/ 3313558 h 5973007"/>
              <a:gd name="connsiteX25202" fmla="*/ 331350 w 6884782"/>
              <a:gd name="connsiteY25202" fmla="*/ 3310776 h 5973007"/>
              <a:gd name="connsiteX25203" fmla="*/ 339920 w 6884782"/>
              <a:gd name="connsiteY25203" fmla="*/ 3312479 h 5973007"/>
              <a:gd name="connsiteX25204" fmla="*/ 341468 w 6884782"/>
              <a:gd name="connsiteY25204" fmla="*/ 3313564 h 5973007"/>
              <a:gd name="connsiteX25205" fmla="*/ 342088 w 6884782"/>
              <a:gd name="connsiteY25205" fmla="*/ 3313719 h 5973007"/>
              <a:gd name="connsiteX25206" fmla="*/ 343017 w 6884782"/>
              <a:gd name="connsiteY25206" fmla="*/ 3314648 h 5973007"/>
              <a:gd name="connsiteX25207" fmla="*/ 346838 w 6884782"/>
              <a:gd name="connsiteY25207" fmla="*/ 3317126 h 5973007"/>
              <a:gd name="connsiteX25208" fmla="*/ 343947 w 6884782"/>
              <a:gd name="connsiteY25208" fmla="*/ 3325026 h 5973007"/>
              <a:gd name="connsiteX25209" fmla="*/ 326496 w 6884782"/>
              <a:gd name="connsiteY25209" fmla="*/ 3313099 h 5973007"/>
              <a:gd name="connsiteX25210" fmla="*/ 331350 w 6884782"/>
              <a:gd name="connsiteY25210" fmla="*/ 3310776 h 5973007"/>
              <a:gd name="connsiteX25211" fmla="*/ 6681248 w 6884782"/>
              <a:gd name="connsiteY25211" fmla="*/ 3309737 h 5973007"/>
              <a:gd name="connsiteX25212" fmla="*/ 6677376 w 6884782"/>
              <a:gd name="connsiteY25212" fmla="*/ 3311905 h 5973007"/>
              <a:gd name="connsiteX25213" fmla="*/ 6678305 w 6884782"/>
              <a:gd name="connsiteY25213" fmla="*/ 3311905 h 5973007"/>
              <a:gd name="connsiteX25214" fmla="*/ 6682023 w 6884782"/>
              <a:gd name="connsiteY25214" fmla="*/ 3313454 h 5973007"/>
              <a:gd name="connsiteX25215" fmla="*/ 6682023 w 6884782"/>
              <a:gd name="connsiteY25215" fmla="*/ 3312319 h 5973007"/>
              <a:gd name="connsiteX25216" fmla="*/ 6681248 w 6884782"/>
              <a:gd name="connsiteY25216" fmla="*/ 3309737 h 5973007"/>
              <a:gd name="connsiteX25217" fmla="*/ 6673348 w 6884782"/>
              <a:gd name="connsiteY25217" fmla="*/ 3309531 h 5973007"/>
              <a:gd name="connsiteX25218" fmla="*/ 6670250 w 6884782"/>
              <a:gd name="connsiteY25218" fmla="*/ 3311389 h 5973007"/>
              <a:gd name="connsiteX25219" fmla="*/ 6668702 w 6884782"/>
              <a:gd name="connsiteY25219" fmla="*/ 3312835 h 5973007"/>
              <a:gd name="connsiteX25220" fmla="*/ 6670870 w 6884782"/>
              <a:gd name="connsiteY25220" fmla="*/ 3314074 h 5973007"/>
              <a:gd name="connsiteX25221" fmla="*/ 6673039 w 6884782"/>
              <a:gd name="connsiteY25221" fmla="*/ 3311802 h 5973007"/>
              <a:gd name="connsiteX25222" fmla="*/ 6675982 w 6884782"/>
              <a:gd name="connsiteY25222" fmla="*/ 3311802 h 5973007"/>
              <a:gd name="connsiteX25223" fmla="*/ 6675362 w 6884782"/>
              <a:gd name="connsiteY25223" fmla="*/ 3311596 h 5973007"/>
              <a:gd name="connsiteX25224" fmla="*/ 6673348 w 6884782"/>
              <a:gd name="connsiteY25224" fmla="*/ 3309531 h 5973007"/>
              <a:gd name="connsiteX25225" fmla="*/ 257934 w 6884782"/>
              <a:gd name="connsiteY25225" fmla="*/ 3307523 h 5973007"/>
              <a:gd name="connsiteX25226" fmla="*/ 264749 w 6884782"/>
              <a:gd name="connsiteY25226" fmla="*/ 3315267 h 5973007"/>
              <a:gd name="connsiteX25227" fmla="*/ 254837 w 6884782"/>
              <a:gd name="connsiteY25227" fmla="*/ 3313099 h 5973007"/>
              <a:gd name="connsiteX25228" fmla="*/ 257934 w 6884782"/>
              <a:gd name="connsiteY25228" fmla="*/ 3307523 h 5973007"/>
              <a:gd name="connsiteX25229" fmla="*/ 586392 w 6884782"/>
              <a:gd name="connsiteY25229" fmla="*/ 3304115 h 5973007"/>
              <a:gd name="connsiteX25230" fmla="*/ 585876 w 6884782"/>
              <a:gd name="connsiteY25230" fmla="*/ 3305509 h 5973007"/>
              <a:gd name="connsiteX25231" fmla="*/ 583501 w 6884782"/>
              <a:gd name="connsiteY25231" fmla="*/ 3311395 h 5973007"/>
              <a:gd name="connsiteX25232" fmla="*/ 579784 w 6884782"/>
              <a:gd name="connsiteY25232" fmla="*/ 3314183 h 5973007"/>
              <a:gd name="connsiteX25233" fmla="*/ 579681 w 6884782"/>
              <a:gd name="connsiteY25233" fmla="*/ 3314338 h 5973007"/>
              <a:gd name="connsiteX25234" fmla="*/ 576893 w 6884782"/>
              <a:gd name="connsiteY25234" fmla="*/ 3321928 h 5973007"/>
              <a:gd name="connsiteX25235" fmla="*/ 581952 w 6884782"/>
              <a:gd name="connsiteY25235" fmla="*/ 3323168 h 5973007"/>
              <a:gd name="connsiteX25236" fmla="*/ 582262 w 6884782"/>
              <a:gd name="connsiteY25236" fmla="*/ 3323322 h 5973007"/>
              <a:gd name="connsiteX25237" fmla="*/ 587735 w 6884782"/>
              <a:gd name="connsiteY25237" fmla="*/ 3305664 h 5973007"/>
              <a:gd name="connsiteX25238" fmla="*/ 6627344 w 6884782"/>
              <a:gd name="connsiteY25238" fmla="*/ 3303645 h 5973007"/>
              <a:gd name="connsiteX25239" fmla="*/ 6627035 w 6884782"/>
              <a:gd name="connsiteY25239" fmla="*/ 3303748 h 5973007"/>
              <a:gd name="connsiteX25240" fmla="*/ 6627344 w 6884782"/>
              <a:gd name="connsiteY25240" fmla="*/ 3303852 h 5973007"/>
              <a:gd name="connsiteX25241" fmla="*/ 6553768 w 6884782"/>
              <a:gd name="connsiteY25241" fmla="*/ 3302819 h 5973007"/>
              <a:gd name="connsiteX25242" fmla="*/ 6543855 w 6884782"/>
              <a:gd name="connsiteY25242" fmla="*/ 3310357 h 5973007"/>
              <a:gd name="connsiteX25243" fmla="*/ 6542771 w 6884782"/>
              <a:gd name="connsiteY25243" fmla="*/ 3303129 h 5973007"/>
              <a:gd name="connsiteX25244" fmla="*/ 6524183 w 6884782"/>
              <a:gd name="connsiteY25244" fmla="*/ 3308704 h 5973007"/>
              <a:gd name="connsiteX25245" fmla="*/ 6522634 w 6884782"/>
              <a:gd name="connsiteY25245" fmla="*/ 3304574 h 5973007"/>
              <a:gd name="connsiteX25246" fmla="*/ 6512411 w 6884782"/>
              <a:gd name="connsiteY25246" fmla="*/ 3308911 h 5973007"/>
              <a:gd name="connsiteX25247" fmla="*/ 6514115 w 6884782"/>
              <a:gd name="connsiteY25247" fmla="*/ 3306433 h 5973007"/>
              <a:gd name="connsiteX25248" fmla="*/ 6504976 w 6884782"/>
              <a:gd name="connsiteY25248" fmla="*/ 3309531 h 5973007"/>
              <a:gd name="connsiteX25249" fmla="*/ 6490726 w 6884782"/>
              <a:gd name="connsiteY25249" fmla="*/ 3304471 h 5973007"/>
              <a:gd name="connsiteX25250" fmla="*/ 6479109 w 6884782"/>
              <a:gd name="connsiteY25250" fmla="*/ 3312938 h 5973007"/>
              <a:gd name="connsiteX25251" fmla="*/ 6467956 w 6884782"/>
              <a:gd name="connsiteY25251" fmla="*/ 3311802 h 5973007"/>
              <a:gd name="connsiteX25252" fmla="*/ 6462844 w 6884782"/>
              <a:gd name="connsiteY25252" fmla="*/ 3311699 h 5973007"/>
              <a:gd name="connsiteX25253" fmla="*/ 6461606 w 6884782"/>
              <a:gd name="connsiteY25253" fmla="*/ 3311286 h 5973007"/>
              <a:gd name="connsiteX25254" fmla="*/ 6459747 w 6884782"/>
              <a:gd name="connsiteY25254" fmla="*/ 3312215 h 5973007"/>
              <a:gd name="connsiteX25255" fmla="*/ 6457113 w 6884782"/>
              <a:gd name="connsiteY25255" fmla="*/ 3313661 h 5973007"/>
              <a:gd name="connsiteX25256" fmla="*/ 6446426 w 6884782"/>
              <a:gd name="connsiteY25256" fmla="*/ 3311079 h 5973007"/>
              <a:gd name="connsiteX25257" fmla="*/ 6433259 w 6884782"/>
              <a:gd name="connsiteY25257" fmla="*/ 3315313 h 5973007"/>
              <a:gd name="connsiteX25258" fmla="*/ 6426909 w 6884782"/>
              <a:gd name="connsiteY25258" fmla="*/ 3317068 h 5973007"/>
              <a:gd name="connsiteX25259" fmla="*/ 6425205 w 6884782"/>
              <a:gd name="connsiteY25259" fmla="*/ 3318101 h 5973007"/>
              <a:gd name="connsiteX25260" fmla="*/ 6424431 w 6884782"/>
              <a:gd name="connsiteY25260" fmla="*/ 3317894 h 5973007"/>
              <a:gd name="connsiteX25261" fmla="*/ 6423656 w 6884782"/>
              <a:gd name="connsiteY25261" fmla="*/ 3318411 h 5973007"/>
              <a:gd name="connsiteX25262" fmla="*/ 6422107 w 6884782"/>
              <a:gd name="connsiteY25262" fmla="*/ 3318617 h 5973007"/>
              <a:gd name="connsiteX25263" fmla="*/ 6408941 w 6884782"/>
              <a:gd name="connsiteY25263" fmla="*/ 3325122 h 5973007"/>
              <a:gd name="connsiteX25264" fmla="*/ 6410180 w 6884782"/>
              <a:gd name="connsiteY25264" fmla="*/ 3338339 h 5973007"/>
              <a:gd name="connsiteX25265" fmla="*/ 6407856 w 6884782"/>
              <a:gd name="connsiteY25265" fmla="*/ 3339062 h 5973007"/>
              <a:gd name="connsiteX25266" fmla="*/ 6401661 w 6884782"/>
              <a:gd name="connsiteY25266" fmla="*/ 3340198 h 5973007"/>
              <a:gd name="connsiteX25267" fmla="*/ 6400886 w 6884782"/>
              <a:gd name="connsiteY25267" fmla="*/ 3339991 h 5973007"/>
              <a:gd name="connsiteX25268" fmla="*/ 6400112 w 6884782"/>
              <a:gd name="connsiteY25268" fmla="*/ 3340507 h 5973007"/>
              <a:gd name="connsiteX25269" fmla="*/ 6398253 w 6884782"/>
              <a:gd name="connsiteY25269" fmla="*/ 3341437 h 5973007"/>
              <a:gd name="connsiteX25270" fmla="*/ 6391128 w 6884782"/>
              <a:gd name="connsiteY25270" fmla="*/ 3345257 h 5973007"/>
              <a:gd name="connsiteX25271" fmla="*/ 6388030 w 6884782"/>
              <a:gd name="connsiteY25271" fmla="*/ 3349284 h 5973007"/>
              <a:gd name="connsiteX25272" fmla="*/ 6392057 w 6884782"/>
              <a:gd name="connsiteY25272" fmla="*/ 3353104 h 5973007"/>
              <a:gd name="connsiteX25273" fmla="*/ 6397478 w 6884782"/>
              <a:gd name="connsiteY25273" fmla="*/ 3350214 h 5973007"/>
              <a:gd name="connsiteX25274" fmla="*/ 6401196 w 6884782"/>
              <a:gd name="connsiteY25274" fmla="*/ 3349904 h 5973007"/>
              <a:gd name="connsiteX25275" fmla="*/ 6403364 w 6884782"/>
              <a:gd name="connsiteY25275" fmla="*/ 3349800 h 5973007"/>
              <a:gd name="connsiteX25276" fmla="*/ 6403674 w 6884782"/>
              <a:gd name="connsiteY25276" fmla="*/ 3349078 h 5973007"/>
              <a:gd name="connsiteX25277" fmla="*/ 6409251 w 6884782"/>
              <a:gd name="connsiteY25277" fmla="*/ 3347838 h 5973007"/>
              <a:gd name="connsiteX25278" fmla="*/ 6409870 w 6884782"/>
              <a:gd name="connsiteY25278" fmla="*/ 3348045 h 5973007"/>
              <a:gd name="connsiteX25279" fmla="*/ 6409560 w 6884782"/>
              <a:gd name="connsiteY25279" fmla="*/ 3348768 h 5973007"/>
              <a:gd name="connsiteX25280" fmla="*/ 6410180 w 6884782"/>
              <a:gd name="connsiteY25280" fmla="*/ 3348871 h 5973007"/>
              <a:gd name="connsiteX25281" fmla="*/ 6415601 w 6884782"/>
              <a:gd name="connsiteY25281" fmla="*/ 3348252 h 5973007"/>
              <a:gd name="connsiteX25282" fmla="*/ 6425979 w 6884782"/>
              <a:gd name="connsiteY25282" fmla="*/ 3341024 h 5973007"/>
              <a:gd name="connsiteX25283" fmla="*/ 6426754 w 6884782"/>
              <a:gd name="connsiteY25283" fmla="*/ 3341127 h 5973007"/>
              <a:gd name="connsiteX25284" fmla="*/ 6427528 w 6884782"/>
              <a:gd name="connsiteY25284" fmla="*/ 3340611 h 5973007"/>
              <a:gd name="connsiteX25285" fmla="*/ 6428303 w 6884782"/>
              <a:gd name="connsiteY25285" fmla="*/ 3340921 h 5973007"/>
              <a:gd name="connsiteX25286" fmla="*/ 6432020 w 6884782"/>
              <a:gd name="connsiteY25286" fmla="*/ 3340507 h 5973007"/>
              <a:gd name="connsiteX25287" fmla="*/ 6439455 w 6884782"/>
              <a:gd name="connsiteY25287" fmla="*/ 3339785 h 5973007"/>
              <a:gd name="connsiteX25288" fmla="*/ 6453861 w 6884782"/>
              <a:gd name="connsiteY25288" fmla="*/ 3338236 h 5973007"/>
              <a:gd name="connsiteX25289" fmla="*/ 6460831 w 6884782"/>
              <a:gd name="connsiteY25289" fmla="*/ 3336687 h 5973007"/>
              <a:gd name="connsiteX25290" fmla="*/ 6462380 w 6884782"/>
              <a:gd name="connsiteY25290" fmla="*/ 3336377 h 5973007"/>
              <a:gd name="connsiteX25291" fmla="*/ 6463774 w 6884782"/>
              <a:gd name="connsiteY25291" fmla="*/ 3336790 h 5973007"/>
              <a:gd name="connsiteX25292" fmla="*/ 6466872 w 6884782"/>
              <a:gd name="connsiteY25292" fmla="*/ 3336170 h 5973007"/>
              <a:gd name="connsiteX25293" fmla="*/ 6478954 w 6884782"/>
              <a:gd name="connsiteY25293" fmla="*/ 3334725 h 5973007"/>
              <a:gd name="connsiteX25294" fmla="*/ 6490881 w 6884782"/>
              <a:gd name="connsiteY25294" fmla="*/ 3333899 h 5973007"/>
              <a:gd name="connsiteX25295" fmla="*/ 6502498 w 6884782"/>
              <a:gd name="connsiteY25295" fmla="*/ 3333693 h 5973007"/>
              <a:gd name="connsiteX25296" fmla="*/ 6524958 w 6884782"/>
              <a:gd name="connsiteY25296" fmla="*/ 3336067 h 5973007"/>
              <a:gd name="connsiteX25297" fmla="*/ 6556092 w 6884782"/>
              <a:gd name="connsiteY25297" fmla="*/ 3342676 h 5973007"/>
              <a:gd name="connsiteX25298" fmla="*/ 6574989 w 6884782"/>
              <a:gd name="connsiteY25298" fmla="*/ 3344741 h 5973007"/>
              <a:gd name="connsiteX25299" fmla="*/ 6579326 w 6884782"/>
              <a:gd name="connsiteY25299" fmla="*/ 3344637 h 5973007"/>
              <a:gd name="connsiteX25300" fmla="*/ 6584128 w 6884782"/>
              <a:gd name="connsiteY25300" fmla="*/ 3345257 h 5973007"/>
              <a:gd name="connsiteX25301" fmla="*/ 6593422 w 6884782"/>
              <a:gd name="connsiteY25301" fmla="*/ 3345980 h 5973007"/>
              <a:gd name="connsiteX25302" fmla="*/ 6631526 w 6884782"/>
              <a:gd name="connsiteY25302" fmla="*/ 3348974 h 5973007"/>
              <a:gd name="connsiteX25303" fmla="*/ 6629358 w 6884782"/>
              <a:gd name="connsiteY25303" fmla="*/ 3343399 h 5973007"/>
              <a:gd name="connsiteX25304" fmla="*/ 6630133 w 6884782"/>
              <a:gd name="connsiteY25304" fmla="*/ 3338236 h 5973007"/>
              <a:gd name="connsiteX25305" fmla="*/ 6633850 w 6884782"/>
              <a:gd name="connsiteY25305" fmla="*/ 3333486 h 5973007"/>
              <a:gd name="connsiteX25306" fmla="*/ 6639426 w 6884782"/>
              <a:gd name="connsiteY25306" fmla="*/ 3329872 h 5973007"/>
              <a:gd name="connsiteX25307" fmla="*/ 6636638 w 6884782"/>
              <a:gd name="connsiteY25307" fmla="*/ 3329149 h 5973007"/>
              <a:gd name="connsiteX25308" fmla="*/ 6649804 w 6884782"/>
              <a:gd name="connsiteY25308" fmla="*/ 3328736 h 5973007"/>
              <a:gd name="connsiteX25309" fmla="*/ 6647636 w 6884782"/>
              <a:gd name="connsiteY25309" fmla="*/ 3326568 h 5973007"/>
              <a:gd name="connsiteX25310" fmla="*/ 6652128 w 6884782"/>
              <a:gd name="connsiteY25310" fmla="*/ 3326361 h 5973007"/>
              <a:gd name="connsiteX25311" fmla="*/ 6639271 w 6884782"/>
              <a:gd name="connsiteY25311" fmla="*/ 3319443 h 5973007"/>
              <a:gd name="connsiteX25312" fmla="*/ 6633385 w 6884782"/>
              <a:gd name="connsiteY25312" fmla="*/ 3315313 h 5973007"/>
              <a:gd name="connsiteX25313" fmla="*/ 6625331 w 6884782"/>
              <a:gd name="connsiteY25313" fmla="*/ 3311389 h 5973007"/>
              <a:gd name="connsiteX25314" fmla="*/ 6625486 w 6884782"/>
              <a:gd name="connsiteY25314" fmla="*/ 3306433 h 5973007"/>
              <a:gd name="connsiteX25315" fmla="*/ 6620839 w 6884782"/>
              <a:gd name="connsiteY25315" fmla="*/ 3304471 h 5973007"/>
              <a:gd name="connsiteX25316" fmla="*/ 6618050 w 6884782"/>
              <a:gd name="connsiteY25316" fmla="*/ 3304781 h 5973007"/>
              <a:gd name="connsiteX25317" fmla="*/ 6605659 w 6884782"/>
              <a:gd name="connsiteY25317" fmla="*/ 3303748 h 5973007"/>
              <a:gd name="connsiteX25318" fmla="*/ 6606124 w 6884782"/>
              <a:gd name="connsiteY25318" fmla="*/ 3308498 h 5973007"/>
              <a:gd name="connsiteX25319" fmla="*/ 6587536 w 6884782"/>
              <a:gd name="connsiteY25319" fmla="*/ 3307982 h 5973007"/>
              <a:gd name="connsiteX25320" fmla="*/ 6567709 w 6884782"/>
              <a:gd name="connsiteY25320" fmla="*/ 3310873 h 5973007"/>
              <a:gd name="connsiteX25321" fmla="*/ 6553768 w 6884782"/>
              <a:gd name="connsiteY25321" fmla="*/ 3302819 h 5973007"/>
              <a:gd name="connsiteX25322" fmla="*/ 233772 w 6884782"/>
              <a:gd name="connsiteY25322" fmla="*/ 3299933 h 5973007"/>
              <a:gd name="connsiteX25323" fmla="*/ 250706 w 6884782"/>
              <a:gd name="connsiteY25323" fmla="*/ 3310466 h 5973007"/>
              <a:gd name="connsiteX25324" fmla="*/ 247402 w 6884782"/>
              <a:gd name="connsiteY25324" fmla="*/ 3313564 h 5973007"/>
              <a:gd name="connsiteX25325" fmla="*/ 233462 w 6884782"/>
              <a:gd name="connsiteY25325" fmla="*/ 3303341 h 5973007"/>
              <a:gd name="connsiteX25326" fmla="*/ 233772 w 6884782"/>
              <a:gd name="connsiteY25326" fmla="*/ 3299933 h 5973007"/>
              <a:gd name="connsiteX25327" fmla="*/ 298721 w 6884782"/>
              <a:gd name="connsiteY25327" fmla="*/ 3298694 h 5973007"/>
              <a:gd name="connsiteX25328" fmla="*/ 300373 w 6884782"/>
              <a:gd name="connsiteY25328" fmla="*/ 3302721 h 5973007"/>
              <a:gd name="connsiteX25329" fmla="*/ 298514 w 6884782"/>
              <a:gd name="connsiteY25329" fmla="*/ 3305509 h 5973007"/>
              <a:gd name="connsiteX25330" fmla="*/ 297585 w 6884782"/>
              <a:gd name="connsiteY25330" fmla="*/ 3301792 h 5973007"/>
              <a:gd name="connsiteX25331" fmla="*/ 298721 w 6884782"/>
              <a:gd name="connsiteY25331" fmla="*/ 3298694 h 5973007"/>
              <a:gd name="connsiteX25332" fmla="*/ 314132 w 6884782"/>
              <a:gd name="connsiteY25332" fmla="*/ 3298481 h 5973007"/>
              <a:gd name="connsiteX25333" fmla="*/ 320817 w 6884782"/>
              <a:gd name="connsiteY25333" fmla="*/ 3298849 h 5973007"/>
              <a:gd name="connsiteX25334" fmla="*/ 319682 w 6884782"/>
              <a:gd name="connsiteY25334" fmla="*/ 3307213 h 5973007"/>
              <a:gd name="connsiteX25335" fmla="*/ 310388 w 6884782"/>
              <a:gd name="connsiteY25335" fmla="*/ 3304270 h 5973007"/>
              <a:gd name="connsiteX25336" fmla="*/ 314132 w 6884782"/>
              <a:gd name="connsiteY25336" fmla="*/ 3298481 h 5973007"/>
              <a:gd name="connsiteX25337" fmla="*/ 297585 w 6884782"/>
              <a:gd name="connsiteY25337" fmla="*/ 3295131 h 5973007"/>
              <a:gd name="connsiteX25338" fmla="*/ 298824 w 6884782"/>
              <a:gd name="connsiteY25338" fmla="*/ 3295441 h 5973007"/>
              <a:gd name="connsiteX25339" fmla="*/ 299133 w 6884782"/>
              <a:gd name="connsiteY25339" fmla="*/ 3296060 h 5973007"/>
              <a:gd name="connsiteX25340" fmla="*/ 298618 w 6884782"/>
              <a:gd name="connsiteY25340" fmla="*/ 3298539 h 5973007"/>
              <a:gd name="connsiteX25341" fmla="*/ 297172 w 6884782"/>
              <a:gd name="connsiteY25341" fmla="*/ 3295751 h 5973007"/>
              <a:gd name="connsiteX25342" fmla="*/ 298411 w 6884782"/>
              <a:gd name="connsiteY25342" fmla="*/ 3295596 h 5973007"/>
              <a:gd name="connsiteX25343" fmla="*/ 297585 w 6884782"/>
              <a:gd name="connsiteY25343" fmla="*/ 3295131 h 5973007"/>
              <a:gd name="connsiteX25344" fmla="*/ 286226 w 6884782"/>
              <a:gd name="connsiteY25344" fmla="*/ 3291104 h 5973007"/>
              <a:gd name="connsiteX25345" fmla="*/ 286123 w 6884782"/>
              <a:gd name="connsiteY25345" fmla="*/ 3298849 h 5973007"/>
              <a:gd name="connsiteX25346" fmla="*/ 284368 w 6884782"/>
              <a:gd name="connsiteY25346" fmla="*/ 3299623 h 5973007"/>
              <a:gd name="connsiteX25347" fmla="*/ 279928 w 6884782"/>
              <a:gd name="connsiteY25347" fmla="*/ 3299933 h 5973007"/>
              <a:gd name="connsiteX25348" fmla="*/ 278379 w 6884782"/>
              <a:gd name="connsiteY25348" fmla="*/ 3297145 h 5973007"/>
              <a:gd name="connsiteX25349" fmla="*/ 280031 w 6884782"/>
              <a:gd name="connsiteY25349" fmla="*/ 3294047 h 5973007"/>
              <a:gd name="connsiteX25350" fmla="*/ 283129 w 6884782"/>
              <a:gd name="connsiteY25350" fmla="*/ 3292188 h 5973007"/>
              <a:gd name="connsiteX25351" fmla="*/ 286226 w 6884782"/>
              <a:gd name="connsiteY25351" fmla="*/ 3291104 h 5973007"/>
              <a:gd name="connsiteX25352" fmla="*/ 589180 w 6884782"/>
              <a:gd name="connsiteY25352" fmla="*/ 3290020 h 5973007"/>
              <a:gd name="connsiteX25353" fmla="*/ 587941 w 6884782"/>
              <a:gd name="connsiteY25353" fmla="*/ 3292188 h 5973007"/>
              <a:gd name="connsiteX25354" fmla="*/ 589696 w 6884782"/>
              <a:gd name="connsiteY25354" fmla="*/ 3292653 h 5973007"/>
              <a:gd name="connsiteX25355" fmla="*/ 590935 w 6884782"/>
              <a:gd name="connsiteY25355" fmla="*/ 3291414 h 5973007"/>
              <a:gd name="connsiteX25356" fmla="*/ 590832 w 6884782"/>
              <a:gd name="connsiteY25356" fmla="*/ 3291414 h 5973007"/>
              <a:gd name="connsiteX25357" fmla="*/ 6751710 w 6884782"/>
              <a:gd name="connsiteY25357" fmla="*/ 3289571 h 5973007"/>
              <a:gd name="connsiteX25358" fmla="*/ 6780847 w 6884782"/>
              <a:gd name="connsiteY25358" fmla="*/ 3302819 h 5973007"/>
              <a:gd name="connsiteX25359" fmla="*/ 6810122 w 6884782"/>
              <a:gd name="connsiteY25359" fmla="*/ 3314797 h 5973007"/>
              <a:gd name="connsiteX25360" fmla="*/ 6811516 w 6884782"/>
              <a:gd name="connsiteY25360" fmla="*/ 3316345 h 5973007"/>
              <a:gd name="connsiteX25361" fmla="*/ 6812910 w 6884782"/>
              <a:gd name="connsiteY25361" fmla="*/ 3315520 h 5973007"/>
              <a:gd name="connsiteX25362" fmla="*/ 6836144 w 6884782"/>
              <a:gd name="connsiteY25362" fmla="*/ 3322747 h 5973007"/>
              <a:gd name="connsiteX25363" fmla="*/ 6827006 w 6884782"/>
              <a:gd name="connsiteY25363" fmla="*/ 3327084 h 5973007"/>
              <a:gd name="connsiteX25364" fmla="*/ 6823753 w 6884782"/>
              <a:gd name="connsiteY25364" fmla="*/ 3326878 h 5973007"/>
              <a:gd name="connsiteX25365" fmla="*/ 6830413 w 6884782"/>
              <a:gd name="connsiteY25365" fmla="*/ 3330492 h 5973007"/>
              <a:gd name="connsiteX25366" fmla="*/ 6838778 w 6884782"/>
              <a:gd name="connsiteY25366" fmla="*/ 3337203 h 5973007"/>
              <a:gd name="connsiteX25367" fmla="*/ 6831343 w 6884782"/>
              <a:gd name="connsiteY25367" fmla="*/ 3333486 h 5973007"/>
              <a:gd name="connsiteX25368" fmla="*/ 6822823 w 6884782"/>
              <a:gd name="connsiteY25368" fmla="*/ 3328633 h 5973007"/>
              <a:gd name="connsiteX25369" fmla="*/ 6819571 w 6884782"/>
              <a:gd name="connsiteY25369" fmla="*/ 3326671 h 5973007"/>
              <a:gd name="connsiteX25370" fmla="*/ 6813065 w 6884782"/>
              <a:gd name="connsiteY25370" fmla="*/ 3323367 h 5973007"/>
              <a:gd name="connsiteX25371" fmla="*/ 6808573 w 6884782"/>
              <a:gd name="connsiteY25371" fmla="*/ 3319959 h 5973007"/>
              <a:gd name="connsiteX25372" fmla="*/ 6804701 w 6884782"/>
              <a:gd name="connsiteY25372" fmla="*/ 3317791 h 5973007"/>
              <a:gd name="connsiteX25373" fmla="*/ 6766596 w 6884782"/>
              <a:gd name="connsiteY25373" fmla="*/ 3297656 h 5973007"/>
              <a:gd name="connsiteX25374" fmla="*/ 6754998 w 6884782"/>
              <a:gd name="connsiteY25374" fmla="*/ 3295346 h 5973007"/>
              <a:gd name="connsiteX25375" fmla="*/ 6750642 w 6884782"/>
              <a:gd name="connsiteY25375" fmla="*/ 3287697 h 5973007"/>
              <a:gd name="connsiteX25376" fmla="*/ 6751710 w 6884782"/>
              <a:gd name="connsiteY25376" fmla="*/ 3289571 h 5973007"/>
              <a:gd name="connsiteX25377" fmla="*/ 6750642 w 6884782"/>
              <a:gd name="connsiteY25377" fmla="*/ 3289086 h 5973007"/>
              <a:gd name="connsiteX25378" fmla="*/ 131652 w 6884782"/>
              <a:gd name="connsiteY25378" fmla="*/ 3286147 h 5973007"/>
              <a:gd name="connsiteX25379" fmla="*/ 147966 w 6884782"/>
              <a:gd name="connsiteY25379" fmla="*/ 3306129 h 5973007"/>
              <a:gd name="connsiteX25380" fmla="*/ 150135 w 6884782"/>
              <a:gd name="connsiteY25380" fmla="*/ 3313254 h 5973007"/>
              <a:gd name="connsiteX25381" fmla="*/ 151271 w 6884782"/>
              <a:gd name="connsiteY25381" fmla="*/ 3312790 h 5973007"/>
              <a:gd name="connsiteX25382" fmla="*/ 153749 w 6884782"/>
              <a:gd name="connsiteY25382" fmla="*/ 3313099 h 5973007"/>
              <a:gd name="connsiteX25383" fmla="*/ 153646 w 6884782"/>
              <a:gd name="connsiteY25383" fmla="*/ 3320534 h 5973007"/>
              <a:gd name="connsiteX25384" fmla="*/ 150961 w 6884782"/>
              <a:gd name="connsiteY25384" fmla="*/ 3321154 h 5973007"/>
              <a:gd name="connsiteX25385" fmla="*/ 147863 w 6884782"/>
              <a:gd name="connsiteY25385" fmla="*/ 3315732 h 5973007"/>
              <a:gd name="connsiteX25386" fmla="*/ 149309 w 6884782"/>
              <a:gd name="connsiteY25386" fmla="*/ 3313719 h 5973007"/>
              <a:gd name="connsiteX25387" fmla="*/ 145385 w 6884782"/>
              <a:gd name="connsiteY25387" fmla="*/ 3315732 h 5973007"/>
              <a:gd name="connsiteX25388" fmla="*/ 140532 w 6884782"/>
              <a:gd name="connsiteY25388" fmla="*/ 3315113 h 5973007"/>
              <a:gd name="connsiteX25389" fmla="*/ 121326 w 6884782"/>
              <a:gd name="connsiteY25389" fmla="*/ 3286457 h 5973007"/>
              <a:gd name="connsiteX25390" fmla="*/ 131652 w 6884782"/>
              <a:gd name="connsiteY25390" fmla="*/ 3286147 h 5973007"/>
              <a:gd name="connsiteX25391" fmla="*/ 565225 w 6884782"/>
              <a:gd name="connsiteY25391" fmla="*/ 3285528 h 5973007"/>
              <a:gd name="connsiteX25392" fmla="*/ 559029 w 6884782"/>
              <a:gd name="connsiteY25392" fmla="*/ 3286302 h 5973007"/>
              <a:gd name="connsiteX25393" fmla="*/ 551801 w 6884782"/>
              <a:gd name="connsiteY25393" fmla="*/ 3297610 h 5973007"/>
              <a:gd name="connsiteX25394" fmla="*/ 543541 w 6884782"/>
              <a:gd name="connsiteY25394" fmla="*/ 3307213 h 5973007"/>
              <a:gd name="connsiteX25395" fmla="*/ 546329 w 6884782"/>
              <a:gd name="connsiteY25395" fmla="*/ 3297300 h 5973007"/>
              <a:gd name="connsiteX25396" fmla="*/ 548084 w 6884782"/>
              <a:gd name="connsiteY25396" fmla="*/ 3292963 h 5973007"/>
              <a:gd name="connsiteX25397" fmla="*/ 545399 w 6884782"/>
              <a:gd name="connsiteY25397" fmla="*/ 3294047 h 5973007"/>
              <a:gd name="connsiteX25398" fmla="*/ 542921 w 6884782"/>
              <a:gd name="connsiteY25398" fmla="*/ 3293427 h 5973007"/>
              <a:gd name="connsiteX25399" fmla="*/ 539411 w 6884782"/>
              <a:gd name="connsiteY25399" fmla="*/ 3298384 h 5973007"/>
              <a:gd name="connsiteX25400" fmla="*/ 535281 w 6884782"/>
              <a:gd name="connsiteY25400" fmla="*/ 3314493 h 5973007"/>
              <a:gd name="connsiteX25401" fmla="*/ 534764 w 6884782"/>
              <a:gd name="connsiteY25401" fmla="*/ 3301172 h 5973007"/>
              <a:gd name="connsiteX25402" fmla="*/ 532699 w 6884782"/>
              <a:gd name="connsiteY25402" fmla="*/ 3303496 h 5973007"/>
              <a:gd name="connsiteX25403" fmla="*/ 532493 w 6884782"/>
              <a:gd name="connsiteY25403" fmla="*/ 3299003 h 5973007"/>
              <a:gd name="connsiteX25404" fmla="*/ 525471 w 6884782"/>
              <a:gd name="connsiteY25404" fmla="*/ 3311860 h 5973007"/>
              <a:gd name="connsiteX25405" fmla="*/ 521444 w 6884782"/>
              <a:gd name="connsiteY25405" fmla="*/ 3317746 h 5973007"/>
              <a:gd name="connsiteX25406" fmla="*/ 517417 w 6884782"/>
              <a:gd name="connsiteY25406" fmla="*/ 3325801 h 5973007"/>
              <a:gd name="connsiteX25407" fmla="*/ 512564 w 6884782"/>
              <a:gd name="connsiteY25407" fmla="*/ 3325646 h 5973007"/>
              <a:gd name="connsiteX25408" fmla="*/ 510499 w 6884782"/>
              <a:gd name="connsiteY25408" fmla="*/ 3330138 h 5973007"/>
              <a:gd name="connsiteX25409" fmla="*/ 510602 w 6884782"/>
              <a:gd name="connsiteY25409" fmla="*/ 3330292 h 5973007"/>
              <a:gd name="connsiteX25410" fmla="*/ 515559 w 6884782"/>
              <a:gd name="connsiteY25410" fmla="*/ 3329208 h 5973007"/>
              <a:gd name="connsiteX25411" fmla="*/ 520308 w 6884782"/>
              <a:gd name="connsiteY25411" fmla="*/ 3332461 h 5973007"/>
              <a:gd name="connsiteX25412" fmla="*/ 514732 w 6884782"/>
              <a:gd name="connsiteY25412" fmla="*/ 3334939 h 5973007"/>
              <a:gd name="connsiteX25413" fmla="*/ 510705 w 6884782"/>
              <a:gd name="connsiteY25413" fmla="*/ 3336643 h 5973007"/>
              <a:gd name="connsiteX25414" fmla="*/ 510602 w 6884782"/>
              <a:gd name="connsiteY25414" fmla="*/ 3338347 h 5973007"/>
              <a:gd name="connsiteX25415" fmla="*/ 510189 w 6884782"/>
              <a:gd name="connsiteY25415" fmla="*/ 3342529 h 5973007"/>
              <a:gd name="connsiteX25416" fmla="*/ 511325 w 6884782"/>
              <a:gd name="connsiteY25416" fmla="*/ 3342529 h 5973007"/>
              <a:gd name="connsiteX25417" fmla="*/ 517314 w 6884782"/>
              <a:gd name="connsiteY25417" fmla="*/ 3344698 h 5973007"/>
              <a:gd name="connsiteX25418" fmla="*/ 519069 w 6884782"/>
              <a:gd name="connsiteY25418" fmla="*/ 3346557 h 5973007"/>
              <a:gd name="connsiteX25419" fmla="*/ 520825 w 6884782"/>
              <a:gd name="connsiteY25419" fmla="*/ 3347486 h 5973007"/>
              <a:gd name="connsiteX25420" fmla="*/ 523303 w 6884782"/>
              <a:gd name="connsiteY25420" fmla="*/ 3352907 h 5973007"/>
              <a:gd name="connsiteX25421" fmla="*/ 520515 w 6884782"/>
              <a:gd name="connsiteY25421" fmla="*/ 3351823 h 5973007"/>
              <a:gd name="connsiteX25422" fmla="*/ 520515 w 6884782"/>
              <a:gd name="connsiteY25422" fmla="*/ 3352753 h 5973007"/>
              <a:gd name="connsiteX25423" fmla="*/ 516385 w 6884782"/>
              <a:gd name="connsiteY25423" fmla="*/ 3353062 h 5973007"/>
              <a:gd name="connsiteX25424" fmla="*/ 515352 w 6884782"/>
              <a:gd name="connsiteY25424" fmla="*/ 3350119 h 5973007"/>
              <a:gd name="connsiteX25425" fmla="*/ 514320 w 6884782"/>
              <a:gd name="connsiteY25425" fmla="*/ 3349810 h 5973007"/>
              <a:gd name="connsiteX25426" fmla="*/ 514010 w 6884782"/>
              <a:gd name="connsiteY25426" fmla="*/ 3353372 h 5973007"/>
              <a:gd name="connsiteX25427" fmla="*/ 514113 w 6884782"/>
              <a:gd name="connsiteY25427" fmla="*/ 3363595 h 5973007"/>
              <a:gd name="connsiteX25428" fmla="*/ 517004 w 6884782"/>
              <a:gd name="connsiteY25428" fmla="*/ 3383422 h 5973007"/>
              <a:gd name="connsiteX25429" fmla="*/ 514320 w 6884782"/>
              <a:gd name="connsiteY25429" fmla="*/ 3383887 h 5973007"/>
              <a:gd name="connsiteX25430" fmla="*/ 517417 w 6884782"/>
              <a:gd name="connsiteY25430" fmla="*/ 3386675 h 5973007"/>
              <a:gd name="connsiteX25431" fmla="*/ 518450 w 6884782"/>
              <a:gd name="connsiteY25431" fmla="*/ 3392096 h 5973007"/>
              <a:gd name="connsiteX25432" fmla="*/ 516075 w 6884782"/>
              <a:gd name="connsiteY25432" fmla="*/ 3396433 h 5973007"/>
              <a:gd name="connsiteX25433" fmla="*/ 516385 w 6884782"/>
              <a:gd name="connsiteY25433" fmla="*/ 3398292 h 5973007"/>
              <a:gd name="connsiteX25434" fmla="*/ 515972 w 6884782"/>
              <a:gd name="connsiteY25434" fmla="*/ 3399222 h 5973007"/>
              <a:gd name="connsiteX25435" fmla="*/ 521548 w 6884782"/>
              <a:gd name="connsiteY25435" fmla="*/ 3402319 h 5973007"/>
              <a:gd name="connsiteX25436" fmla="*/ 526297 w 6884782"/>
              <a:gd name="connsiteY25436" fmla="*/ 3406657 h 5973007"/>
              <a:gd name="connsiteX25437" fmla="*/ 523509 w 6884782"/>
              <a:gd name="connsiteY25437" fmla="*/ 3406657 h 5973007"/>
              <a:gd name="connsiteX25438" fmla="*/ 522373 w 6884782"/>
              <a:gd name="connsiteY25438" fmla="*/ 3406192 h 5973007"/>
              <a:gd name="connsiteX25439" fmla="*/ 521548 w 6884782"/>
              <a:gd name="connsiteY25439" fmla="*/ 3406347 h 5973007"/>
              <a:gd name="connsiteX25440" fmla="*/ 521238 w 6884782"/>
              <a:gd name="connsiteY25440" fmla="*/ 3405572 h 5973007"/>
              <a:gd name="connsiteX25441" fmla="*/ 518966 w 6884782"/>
              <a:gd name="connsiteY25441" fmla="*/ 3404488 h 5973007"/>
              <a:gd name="connsiteX25442" fmla="*/ 513081 w 6884782"/>
              <a:gd name="connsiteY25442" fmla="*/ 3403558 h 5973007"/>
              <a:gd name="connsiteX25443" fmla="*/ 512771 w 6884782"/>
              <a:gd name="connsiteY25443" fmla="*/ 3403404 h 5973007"/>
              <a:gd name="connsiteX25444" fmla="*/ 512358 w 6884782"/>
              <a:gd name="connsiteY25444" fmla="*/ 3403558 h 5973007"/>
              <a:gd name="connsiteX25445" fmla="*/ 513596 w 6884782"/>
              <a:gd name="connsiteY25445" fmla="*/ 3405572 h 5973007"/>
              <a:gd name="connsiteX25446" fmla="*/ 514526 w 6884782"/>
              <a:gd name="connsiteY25446" fmla="*/ 3406192 h 5973007"/>
              <a:gd name="connsiteX25447" fmla="*/ 514526 w 6884782"/>
              <a:gd name="connsiteY25447" fmla="*/ 3406037 h 5973007"/>
              <a:gd name="connsiteX25448" fmla="*/ 519069 w 6884782"/>
              <a:gd name="connsiteY25448" fmla="*/ 3408515 h 5973007"/>
              <a:gd name="connsiteX25449" fmla="*/ 518553 w 6884782"/>
              <a:gd name="connsiteY25449" fmla="*/ 3413007 h 5973007"/>
              <a:gd name="connsiteX25450" fmla="*/ 518037 w 6884782"/>
              <a:gd name="connsiteY25450" fmla="*/ 3413472 h 5973007"/>
              <a:gd name="connsiteX25451" fmla="*/ 525884 w 6884782"/>
              <a:gd name="connsiteY25451" fmla="*/ 3413936 h 5973007"/>
              <a:gd name="connsiteX25452" fmla="*/ 541682 w 6884782"/>
              <a:gd name="connsiteY25452" fmla="*/ 3415021 h 5973007"/>
              <a:gd name="connsiteX25453" fmla="*/ 547878 w 6884782"/>
              <a:gd name="connsiteY25453" fmla="*/ 3408360 h 5973007"/>
              <a:gd name="connsiteX25454" fmla="*/ 551905 w 6884782"/>
              <a:gd name="connsiteY25454" fmla="*/ 3405882 h 5973007"/>
              <a:gd name="connsiteX25455" fmla="*/ 551595 w 6884782"/>
              <a:gd name="connsiteY25455" fmla="*/ 3403869 h 5973007"/>
              <a:gd name="connsiteX25456" fmla="*/ 550975 w 6884782"/>
              <a:gd name="connsiteY25456" fmla="*/ 3401545 h 5973007"/>
              <a:gd name="connsiteX25457" fmla="*/ 549117 w 6884782"/>
              <a:gd name="connsiteY25457" fmla="*/ 3402474 h 5973007"/>
              <a:gd name="connsiteX25458" fmla="*/ 546845 w 6884782"/>
              <a:gd name="connsiteY25458" fmla="*/ 3402165 h 5973007"/>
              <a:gd name="connsiteX25459" fmla="*/ 544780 w 6884782"/>
              <a:gd name="connsiteY25459" fmla="*/ 3397827 h 5973007"/>
              <a:gd name="connsiteX25460" fmla="*/ 546019 w 6884782"/>
              <a:gd name="connsiteY25460" fmla="*/ 3396279 h 5973007"/>
              <a:gd name="connsiteX25461" fmla="*/ 546949 w 6884782"/>
              <a:gd name="connsiteY25461" fmla="*/ 3396433 h 5973007"/>
              <a:gd name="connsiteX25462" fmla="*/ 549323 w 6884782"/>
              <a:gd name="connsiteY25462" fmla="*/ 3396588 h 5973007"/>
              <a:gd name="connsiteX25463" fmla="*/ 548807 w 6884782"/>
              <a:gd name="connsiteY25463" fmla="*/ 3395039 h 5973007"/>
              <a:gd name="connsiteX25464" fmla="*/ 550046 w 6884782"/>
              <a:gd name="connsiteY25464" fmla="*/ 3383887 h 5973007"/>
              <a:gd name="connsiteX25465" fmla="*/ 542508 w 6884782"/>
              <a:gd name="connsiteY25465" fmla="*/ 3376916 h 5973007"/>
              <a:gd name="connsiteX25466" fmla="*/ 536932 w 6884782"/>
              <a:gd name="connsiteY25466" fmla="*/ 3371650 h 5973007"/>
              <a:gd name="connsiteX25467" fmla="*/ 534248 w 6884782"/>
              <a:gd name="connsiteY25467" fmla="*/ 3371340 h 5973007"/>
              <a:gd name="connsiteX25468" fmla="*/ 534145 w 6884782"/>
              <a:gd name="connsiteY25468" fmla="*/ 3369017 h 5973007"/>
              <a:gd name="connsiteX25469" fmla="*/ 531873 w 6884782"/>
              <a:gd name="connsiteY25469" fmla="*/ 3367003 h 5973007"/>
              <a:gd name="connsiteX25470" fmla="*/ 532080 w 6884782"/>
              <a:gd name="connsiteY25470" fmla="*/ 3366074 h 5973007"/>
              <a:gd name="connsiteX25471" fmla="*/ 530221 w 6884782"/>
              <a:gd name="connsiteY25471" fmla="*/ 3366074 h 5973007"/>
              <a:gd name="connsiteX25472" fmla="*/ 528672 w 6884782"/>
              <a:gd name="connsiteY25472" fmla="*/ 3365144 h 5973007"/>
              <a:gd name="connsiteX25473" fmla="*/ 526917 w 6884782"/>
              <a:gd name="connsiteY25473" fmla="*/ 3358793 h 5973007"/>
              <a:gd name="connsiteX25474" fmla="*/ 528259 w 6884782"/>
              <a:gd name="connsiteY25474" fmla="*/ 3354921 h 5973007"/>
              <a:gd name="connsiteX25475" fmla="*/ 532906 w 6884782"/>
              <a:gd name="connsiteY25475" fmla="*/ 3353062 h 5973007"/>
              <a:gd name="connsiteX25476" fmla="*/ 533112 w 6884782"/>
              <a:gd name="connsiteY25476" fmla="*/ 3353062 h 5973007"/>
              <a:gd name="connsiteX25477" fmla="*/ 532906 w 6884782"/>
              <a:gd name="connsiteY25477" fmla="*/ 3348725 h 5973007"/>
              <a:gd name="connsiteX25478" fmla="*/ 538482 w 6884782"/>
              <a:gd name="connsiteY25478" fmla="*/ 3331377 h 5973007"/>
              <a:gd name="connsiteX25479" fmla="*/ 549943 w 6884782"/>
              <a:gd name="connsiteY25479" fmla="*/ 3326265 h 5973007"/>
              <a:gd name="connsiteX25480" fmla="*/ 554899 w 6884782"/>
              <a:gd name="connsiteY25480" fmla="*/ 3322393 h 5973007"/>
              <a:gd name="connsiteX25481" fmla="*/ 555209 w 6884782"/>
              <a:gd name="connsiteY25481" fmla="*/ 3318056 h 5973007"/>
              <a:gd name="connsiteX25482" fmla="*/ 559546 w 6884782"/>
              <a:gd name="connsiteY25482" fmla="*/ 3318830 h 5973007"/>
              <a:gd name="connsiteX25483" fmla="*/ 555725 w 6884782"/>
              <a:gd name="connsiteY25483" fmla="*/ 3314028 h 5973007"/>
              <a:gd name="connsiteX25484" fmla="*/ 558926 w 6884782"/>
              <a:gd name="connsiteY25484" fmla="*/ 3308762 h 5973007"/>
              <a:gd name="connsiteX25485" fmla="*/ 559339 w 6884782"/>
              <a:gd name="connsiteY25485" fmla="*/ 3307213 h 5973007"/>
              <a:gd name="connsiteX25486" fmla="*/ 558720 w 6884782"/>
              <a:gd name="connsiteY25486" fmla="*/ 3304270 h 5973007"/>
              <a:gd name="connsiteX25487" fmla="*/ 560268 w 6884782"/>
              <a:gd name="connsiteY25487" fmla="*/ 3303341 h 5973007"/>
              <a:gd name="connsiteX25488" fmla="*/ 560475 w 6884782"/>
              <a:gd name="connsiteY25488" fmla="*/ 3303496 h 5973007"/>
              <a:gd name="connsiteX25489" fmla="*/ 560991 w 6884782"/>
              <a:gd name="connsiteY25489" fmla="*/ 3301482 h 5973007"/>
              <a:gd name="connsiteX25490" fmla="*/ 562437 w 6884782"/>
              <a:gd name="connsiteY25490" fmla="*/ 3298229 h 5973007"/>
              <a:gd name="connsiteX25491" fmla="*/ 561921 w 6884782"/>
              <a:gd name="connsiteY25491" fmla="*/ 3298849 h 5973007"/>
              <a:gd name="connsiteX25492" fmla="*/ 565535 w 6884782"/>
              <a:gd name="connsiteY25492" fmla="*/ 3290020 h 5973007"/>
              <a:gd name="connsiteX25493" fmla="*/ 565431 w 6884782"/>
              <a:gd name="connsiteY25493" fmla="*/ 3288935 h 5973007"/>
              <a:gd name="connsiteX25494" fmla="*/ 565225 w 6884782"/>
              <a:gd name="connsiteY25494" fmla="*/ 3288006 h 5973007"/>
              <a:gd name="connsiteX25495" fmla="*/ 565431 w 6884782"/>
              <a:gd name="connsiteY25495" fmla="*/ 3287541 h 5973007"/>
              <a:gd name="connsiteX25496" fmla="*/ 157466 w 6884782"/>
              <a:gd name="connsiteY25496" fmla="*/ 3284908 h 5973007"/>
              <a:gd name="connsiteX25497" fmla="*/ 170786 w 6884782"/>
              <a:gd name="connsiteY25497" fmla="*/ 3287232 h 5973007"/>
              <a:gd name="connsiteX25498" fmla="*/ 184313 w 6884782"/>
              <a:gd name="connsiteY25498" fmla="*/ 3315578 h 5973007"/>
              <a:gd name="connsiteX25499" fmla="*/ 176775 w 6884782"/>
              <a:gd name="connsiteY25499" fmla="*/ 3319450 h 5973007"/>
              <a:gd name="connsiteX25500" fmla="*/ 155504 w 6884782"/>
              <a:gd name="connsiteY25500" fmla="*/ 3295751 h 5973007"/>
              <a:gd name="connsiteX25501" fmla="*/ 155504 w 6884782"/>
              <a:gd name="connsiteY25501" fmla="*/ 3290949 h 5973007"/>
              <a:gd name="connsiteX25502" fmla="*/ 157466 w 6884782"/>
              <a:gd name="connsiteY25502" fmla="*/ 3284908 h 5973007"/>
              <a:gd name="connsiteX25503" fmla="*/ 6705722 w 6884782"/>
              <a:gd name="connsiteY25503" fmla="*/ 3284822 h 5973007"/>
              <a:gd name="connsiteX25504" fmla="*/ 6704328 w 6884782"/>
              <a:gd name="connsiteY25504" fmla="*/ 3295901 h 5973007"/>
              <a:gd name="connsiteX25505" fmla="*/ 6700301 w 6884782"/>
              <a:gd name="connsiteY25505" fmla="*/ 3287640 h 5973007"/>
              <a:gd name="connsiteX25506" fmla="*/ 6705722 w 6884782"/>
              <a:gd name="connsiteY25506" fmla="*/ 3284822 h 5973007"/>
              <a:gd name="connsiteX25507" fmla="*/ 243994 w 6884782"/>
              <a:gd name="connsiteY25507" fmla="*/ 3282120 h 5973007"/>
              <a:gd name="connsiteX25508" fmla="*/ 254011 w 6884782"/>
              <a:gd name="connsiteY25508" fmla="*/ 3290794 h 5973007"/>
              <a:gd name="connsiteX25509" fmla="*/ 248641 w 6884782"/>
              <a:gd name="connsiteY25509" fmla="*/ 3296060 h 5973007"/>
              <a:gd name="connsiteX25510" fmla="*/ 239658 w 6884782"/>
              <a:gd name="connsiteY25510" fmla="*/ 3291414 h 5973007"/>
              <a:gd name="connsiteX25511" fmla="*/ 239864 w 6884782"/>
              <a:gd name="connsiteY25511" fmla="*/ 3287541 h 5973007"/>
              <a:gd name="connsiteX25512" fmla="*/ 243994 w 6884782"/>
              <a:gd name="connsiteY25512" fmla="*/ 3282120 h 5973007"/>
              <a:gd name="connsiteX25513" fmla="*/ 333931 w 6884782"/>
              <a:gd name="connsiteY25513" fmla="*/ 3281655 h 5973007"/>
              <a:gd name="connsiteX25514" fmla="*/ 338577 w 6884782"/>
              <a:gd name="connsiteY25514" fmla="*/ 3289710 h 5973007"/>
              <a:gd name="connsiteX25515" fmla="*/ 336616 w 6884782"/>
              <a:gd name="connsiteY25515" fmla="*/ 3290329 h 5973007"/>
              <a:gd name="connsiteX25516" fmla="*/ 337132 w 6884782"/>
              <a:gd name="connsiteY25516" fmla="*/ 3290794 h 5973007"/>
              <a:gd name="connsiteX25517" fmla="*/ 338267 w 6884782"/>
              <a:gd name="connsiteY25517" fmla="*/ 3294976 h 5973007"/>
              <a:gd name="connsiteX25518" fmla="*/ 335790 w 6884782"/>
              <a:gd name="connsiteY25518" fmla="*/ 3292188 h 5973007"/>
              <a:gd name="connsiteX25519" fmla="*/ 334860 w 6884782"/>
              <a:gd name="connsiteY25519" fmla="*/ 3290949 h 5973007"/>
              <a:gd name="connsiteX25520" fmla="*/ 332485 w 6884782"/>
              <a:gd name="connsiteY25520" fmla="*/ 3291723 h 5973007"/>
              <a:gd name="connsiteX25521" fmla="*/ 326393 w 6884782"/>
              <a:gd name="connsiteY25521" fmla="*/ 3288625 h 5973007"/>
              <a:gd name="connsiteX25522" fmla="*/ 333931 w 6884782"/>
              <a:gd name="connsiteY25522" fmla="*/ 3281655 h 5973007"/>
              <a:gd name="connsiteX25523" fmla="*/ 309149 w 6884782"/>
              <a:gd name="connsiteY25523" fmla="*/ 3278712 h 5973007"/>
              <a:gd name="connsiteX25524" fmla="*/ 319578 w 6884782"/>
              <a:gd name="connsiteY25524" fmla="*/ 3280881 h 5973007"/>
              <a:gd name="connsiteX25525" fmla="*/ 319682 w 6884782"/>
              <a:gd name="connsiteY25525" fmla="*/ 3284443 h 5973007"/>
              <a:gd name="connsiteX25526" fmla="*/ 308840 w 6884782"/>
              <a:gd name="connsiteY25526" fmla="*/ 3283978 h 5973007"/>
              <a:gd name="connsiteX25527" fmla="*/ 309149 w 6884782"/>
              <a:gd name="connsiteY25527" fmla="*/ 3278712 h 5973007"/>
              <a:gd name="connsiteX25528" fmla="*/ 6815233 w 6884782"/>
              <a:gd name="connsiteY25528" fmla="*/ 3275766 h 5973007"/>
              <a:gd name="connsiteX25529" fmla="*/ 6826851 w 6884782"/>
              <a:gd name="connsiteY25529" fmla="*/ 3288466 h 5973007"/>
              <a:gd name="connsiteX25530" fmla="*/ 6828245 w 6884782"/>
              <a:gd name="connsiteY25530" fmla="*/ 3289189 h 5973007"/>
              <a:gd name="connsiteX25531" fmla="*/ 6830104 w 6884782"/>
              <a:gd name="connsiteY25531" fmla="*/ 3288673 h 5973007"/>
              <a:gd name="connsiteX25532" fmla="*/ 6836454 w 6884782"/>
              <a:gd name="connsiteY25532" fmla="*/ 3292803 h 5973007"/>
              <a:gd name="connsiteX25533" fmla="*/ 6835835 w 6884782"/>
              <a:gd name="connsiteY25533" fmla="*/ 3293732 h 5973007"/>
              <a:gd name="connsiteX25534" fmla="*/ 6843889 w 6884782"/>
              <a:gd name="connsiteY25534" fmla="*/ 3298172 h 5973007"/>
              <a:gd name="connsiteX25535" fmla="*/ 6838003 w 6884782"/>
              <a:gd name="connsiteY25535" fmla="*/ 3298586 h 5973007"/>
              <a:gd name="connsiteX25536" fmla="*/ 6863716 w 6884782"/>
              <a:gd name="connsiteY25536" fmla="*/ 3310357 h 5973007"/>
              <a:gd name="connsiteX25537" fmla="*/ 6875798 w 6884782"/>
              <a:gd name="connsiteY25537" fmla="*/ 3323780 h 5973007"/>
              <a:gd name="connsiteX25538" fmla="*/ 6884782 w 6884782"/>
              <a:gd name="connsiteY25538" fmla="*/ 3330285 h 5973007"/>
              <a:gd name="connsiteX25539" fmla="*/ 6884782 w 6884782"/>
              <a:gd name="connsiteY25539" fmla="*/ 3352382 h 5973007"/>
              <a:gd name="connsiteX25540" fmla="*/ 6873784 w 6884782"/>
              <a:gd name="connsiteY25540" fmla="*/ 3344328 h 5973007"/>
              <a:gd name="connsiteX25541" fmla="*/ 6857210 w 6884782"/>
              <a:gd name="connsiteY25541" fmla="*/ 3327188 h 5973007"/>
              <a:gd name="connsiteX25542" fmla="*/ 6839707 w 6884782"/>
              <a:gd name="connsiteY25542" fmla="*/ 3318824 h 5973007"/>
              <a:gd name="connsiteX25543" fmla="*/ 6843734 w 6884782"/>
              <a:gd name="connsiteY25543" fmla="*/ 3315520 h 5973007"/>
              <a:gd name="connsiteX25544" fmla="*/ 6823288 w 6884782"/>
              <a:gd name="connsiteY25544" fmla="*/ 3305400 h 5973007"/>
              <a:gd name="connsiteX25545" fmla="*/ 6807489 w 6884782"/>
              <a:gd name="connsiteY25545" fmla="*/ 3292184 h 5973007"/>
              <a:gd name="connsiteX25546" fmla="*/ 6817867 w 6884782"/>
              <a:gd name="connsiteY25546" fmla="*/ 3299928 h 5973007"/>
              <a:gd name="connsiteX25547" fmla="*/ 6801448 w 6884782"/>
              <a:gd name="connsiteY25547" fmla="*/ 3279896 h 5973007"/>
              <a:gd name="connsiteX25548" fmla="*/ 6809193 w 6884782"/>
              <a:gd name="connsiteY25548" fmla="*/ 3278450 h 5973007"/>
              <a:gd name="connsiteX25549" fmla="*/ 6815233 w 6884782"/>
              <a:gd name="connsiteY25549" fmla="*/ 3275766 h 5973007"/>
              <a:gd name="connsiteX25550" fmla="*/ 517933 w 6884782"/>
              <a:gd name="connsiteY25550" fmla="*/ 3275150 h 5973007"/>
              <a:gd name="connsiteX25551" fmla="*/ 517727 w 6884782"/>
              <a:gd name="connsiteY25551" fmla="*/ 3275769 h 5973007"/>
              <a:gd name="connsiteX25552" fmla="*/ 515662 w 6884782"/>
              <a:gd name="connsiteY25552" fmla="*/ 3277783 h 5973007"/>
              <a:gd name="connsiteX25553" fmla="*/ 516901 w 6884782"/>
              <a:gd name="connsiteY25553" fmla="*/ 3279796 h 5973007"/>
              <a:gd name="connsiteX25554" fmla="*/ 519792 w 6884782"/>
              <a:gd name="connsiteY25554" fmla="*/ 3279022 h 5973007"/>
              <a:gd name="connsiteX25555" fmla="*/ 519482 w 6884782"/>
              <a:gd name="connsiteY25555" fmla="*/ 3277938 h 5973007"/>
              <a:gd name="connsiteX25556" fmla="*/ 517933 w 6884782"/>
              <a:gd name="connsiteY25556" fmla="*/ 3278092 h 5973007"/>
              <a:gd name="connsiteX25557" fmla="*/ 518450 w 6884782"/>
              <a:gd name="connsiteY25557" fmla="*/ 3269109 h 5973007"/>
              <a:gd name="connsiteX25558" fmla="*/ 515868 w 6884782"/>
              <a:gd name="connsiteY25558" fmla="*/ 3269883 h 5973007"/>
              <a:gd name="connsiteX25559" fmla="*/ 517933 w 6884782"/>
              <a:gd name="connsiteY25559" fmla="*/ 3273600 h 5973007"/>
              <a:gd name="connsiteX25560" fmla="*/ 518037 w 6884782"/>
              <a:gd name="connsiteY25560" fmla="*/ 3272671 h 5973007"/>
              <a:gd name="connsiteX25561" fmla="*/ 519586 w 6884782"/>
              <a:gd name="connsiteY25561" fmla="*/ 3269109 h 5973007"/>
              <a:gd name="connsiteX25562" fmla="*/ 601055 w 6884782"/>
              <a:gd name="connsiteY25562" fmla="*/ 3268954 h 5973007"/>
              <a:gd name="connsiteX25563" fmla="*/ 597337 w 6884782"/>
              <a:gd name="connsiteY25563" fmla="*/ 3270038 h 5973007"/>
              <a:gd name="connsiteX25564" fmla="*/ 597854 w 6884782"/>
              <a:gd name="connsiteY25564" fmla="*/ 3270348 h 5973007"/>
              <a:gd name="connsiteX25565" fmla="*/ 593414 w 6884782"/>
              <a:gd name="connsiteY25565" fmla="*/ 3275614 h 5973007"/>
              <a:gd name="connsiteX25566" fmla="*/ 592278 w 6884782"/>
              <a:gd name="connsiteY25566" fmla="*/ 3279796 h 5973007"/>
              <a:gd name="connsiteX25567" fmla="*/ 591039 w 6884782"/>
              <a:gd name="connsiteY25567" fmla="*/ 3284908 h 5973007"/>
              <a:gd name="connsiteX25568" fmla="*/ 590832 w 6884782"/>
              <a:gd name="connsiteY25568" fmla="*/ 3285682 h 5973007"/>
              <a:gd name="connsiteX25569" fmla="*/ 593414 w 6884782"/>
              <a:gd name="connsiteY25569" fmla="*/ 3283204 h 5973007"/>
              <a:gd name="connsiteX25570" fmla="*/ 599506 w 6884782"/>
              <a:gd name="connsiteY25570" fmla="*/ 3269883 h 5973007"/>
              <a:gd name="connsiteX25571" fmla="*/ 229448 w 6884782"/>
              <a:gd name="connsiteY25571" fmla="*/ 3265759 h 5973007"/>
              <a:gd name="connsiteX25572" fmla="*/ 236250 w 6884782"/>
              <a:gd name="connsiteY25572" fmla="*/ 3269883 h 5973007"/>
              <a:gd name="connsiteX25573" fmla="*/ 233979 w 6884782"/>
              <a:gd name="connsiteY25573" fmla="*/ 3276699 h 5973007"/>
              <a:gd name="connsiteX25574" fmla="*/ 221795 w 6884782"/>
              <a:gd name="connsiteY25574" fmla="*/ 3272207 h 5973007"/>
              <a:gd name="connsiteX25575" fmla="*/ 229448 w 6884782"/>
              <a:gd name="connsiteY25575" fmla="*/ 3265759 h 5973007"/>
              <a:gd name="connsiteX25576" fmla="*/ 260103 w 6884782"/>
              <a:gd name="connsiteY25576" fmla="*/ 3265391 h 5973007"/>
              <a:gd name="connsiteX25577" fmla="*/ 281167 w 6884782"/>
              <a:gd name="connsiteY25577" fmla="*/ 3280416 h 5973007"/>
              <a:gd name="connsiteX25578" fmla="*/ 260103 w 6884782"/>
              <a:gd name="connsiteY25578" fmla="*/ 3265391 h 5973007"/>
              <a:gd name="connsiteX25579" fmla="*/ 6505596 w 6884782"/>
              <a:gd name="connsiteY25579" fmla="*/ 3264717 h 5973007"/>
              <a:gd name="connsiteX25580" fmla="*/ 6501568 w 6884782"/>
              <a:gd name="connsiteY25580" fmla="*/ 3265957 h 5973007"/>
              <a:gd name="connsiteX25581" fmla="*/ 6503117 w 6884782"/>
              <a:gd name="connsiteY25581" fmla="*/ 3266060 h 5973007"/>
              <a:gd name="connsiteX25582" fmla="*/ 387844 w 6884782"/>
              <a:gd name="connsiteY25582" fmla="*/ 3257027 h 5973007"/>
              <a:gd name="connsiteX25583" fmla="*/ 395265 w 6884782"/>
              <a:gd name="connsiteY25583" fmla="*/ 3261209 h 5973007"/>
              <a:gd name="connsiteX25584" fmla="*/ 397020 w 6884782"/>
              <a:gd name="connsiteY25584" fmla="*/ 3262293 h 5973007"/>
              <a:gd name="connsiteX25585" fmla="*/ 397020 w 6884782"/>
              <a:gd name="connsiteY25585" fmla="*/ 3264771 h 5973007"/>
              <a:gd name="connsiteX25586" fmla="*/ 384114 w 6884782"/>
              <a:gd name="connsiteY25586" fmla="*/ 3263377 h 5973007"/>
              <a:gd name="connsiteX25587" fmla="*/ 382358 w 6884782"/>
              <a:gd name="connsiteY25587" fmla="*/ 3262448 h 5973007"/>
              <a:gd name="connsiteX25588" fmla="*/ 378951 w 6884782"/>
              <a:gd name="connsiteY25588" fmla="*/ 3257027 h 5973007"/>
              <a:gd name="connsiteX25589" fmla="*/ 387844 w 6884782"/>
              <a:gd name="connsiteY25589" fmla="*/ 3257027 h 5973007"/>
              <a:gd name="connsiteX25590" fmla="*/ 522373 w 6884782"/>
              <a:gd name="connsiteY25590" fmla="*/ 3254393 h 5973007"/>
              <a:gd name="connsiteX25591" fmla="*/ 521857 w 6884782"/>
              <a:gd name="connsiteY25591" fmla="*/ 3254703 h 5973007"/>
              <a:gd name="connsiteX25592" fmla="*/ 519689 w 6884782"/>
              <a:gd name="connsiteY25592" fmla="*/ 3255168 h 5973007"/>
              <a:gd name="connsiteX25593" fmla="*/ 519172 w 6884782"/>
              <a:gd name="connsiteY25593" fmla="*/ 3261209 h 5973007"/>
              <a:gd name="connsiteX25594" fmla="*/ 520205 w 6884782"/>
              <a:gd name="connsiteY25594" fmla="*/ 3266321 h 5973007"/>
              <a:gd name="connsiteX25595" fmla="*/ 520722 w 6884782"/>
              <a:gd name="connsiteY25595" fmla="*/ 3266475 h 5973007"/>
              <a:gd name="connsiteX25596" fmla="*/ 522786 w 6884782"/>
              <a:gd name="connsiteY25596" fmla="*/ 3259970 h 5973007"/>
              <a:gd name="connsiteX25597" fmla="*/ 523096 w 6884782"/>
              <a:gd name="connsiteY25597" fmla="*/ 3255323 h 5973007"/>
              <a:gd name="connsiteX25598" fmla="*/ 201659 w 6884782"/>
              <a:gd name="connsiteY25598" fmla="*/ 3253154 h 5973007"/>
              <a:gd name="connsiteX25599" fmla="*/ 216632 w 6884782"/>
              <a:gd name="connsiteY25599" fmla="*/ 3263997 h 5973007"/>
              <a:gd name="connsiteX25600" fmla="*/ 214050 w 6884782"/>
              <a:gd name="connsiteY25600" fmla="*/ 3265701 h 5973007"/>
              <a:gd name="connsiteX25601" fmla="*/ 200421 w 6884782"/>
              <a:gd name="connsiteY25601" fmla="*/ 3255478 h 5973007"/>
              <a:gd name="connsiteX25602" fmla="*/ 201659 w 6884782"/>
              <a:gd name="connsiteY25602" fmla="*/ 3253154 h 5973007"/>
              <a:gd name="connsiteX25603" fmla="*/ 223860 w 6884782"/>
              <a:gd name="connsiteY25603" fmla="*/ 3249746 h 5973007"/>
              <a:gd name="connsiteX25604" fmla="*/ 229332 w 6884782"/>
              <a:gd name="connsiteY25604" fmla="*/ 3258576 h 5973007"/>
              <a:gd name="connsiteX25605" fmla="*/ 224066 w 6884782"/>
              <a:gd name="connsiteY25605" fmla="*/ 3259815 h 5973007"/>
              <a:gd name="connsiteX25606" fmla="*/ 222621 w 6884782"/>
              <a:gd name="connsiteY25606" fmla="*/ 3254703 h 5973007"/>
              <a:gd name="connsiteX25607" fmla="*/ 223860 w 6884782"/>
              <a:gd name="connsiteY25607" fmla="*/ 3249746 h 5973007"/>
              <a:gd name="connsiteX25608" fmla="*/ 6499245 w 6884782"/>
              <a:gd name="connsiteY25608" fmla="*/ 3247577 h 5973007"/>
              <a:gd name="connsiteX25609" fmla="*/ 6487783 w 6884782"/>
              <a:gd name="connsiteY25609" fmla="*/ 3249332 h 5973007"/>
              <a:gd name="connsiteX25610" fmla="*/ 6457423 w 6884782"/>
              <a:gd name="connsiteY25610" fmla="*/ 3249023 h 5973007"/>
              <a:gd name="connsiteX25611" fmla="*/ 6440385 w 6884782"/>
              <a:gd name="connsiteY25611" fmla="*/ 3252843 h 5973007"/>
              <a:gd name="connsiteX25612" fmla="*/ 6422572 w 6884782"/>
              <a:gd name="connsiteY25612" fmla="*/ 3257490 h 5973007"/>
              <a:gd name="connsiteX25613" fmla="*/ 6423036 w 6884782"/>
              <a:gd name="connsiteY25613" fmla="*/ 3258419 h 5973007"/>
              <a:gd name="connsiteX25614" fmla="*/ 6423346 w 6884782"/>
              <a:gd name="connsiteY25614" fmla="*/ 3263065 h 5973007"/>
              <a:gd name="connsiteX25615" fmla="*/ 6425050 w 6884782"/>
              <a:gd name="connsiteY25615" fmla="*/ 3261000 h 5973007"/>
              <a:gd name="connsiteX25616" fmla="*/ 6434653 w 6884782"/>
              <a:gd name="connsiteY25616" fmla="*/ 3264614 h 5973007"/>
              <a:gd name="connsiteX25617" fmla="*/ 6440540 w 6884782"/>
              <a:gd name="connsiteY25617" fmla="*/ 3262549 h 5973007"/>
              <a:gd name="connsiteX25618" fmla="*/ 6427838 w 6884782"/>
              <a:gd name="connsiteY25618" fmla="*/ 3257180 h 5973007"/>
              <a:gd name="connsiteX25619" fmla="*/ 6444257 w 6884782"/>
              <a:gd name="connsiteY25619" fmla="*/ 3257799 h 5973007"/>
              <a:gd name="connsiteX25620" fmla="*/ 6453241 w 6884782"/>
              <a:gd name="connsiteY25620" fmla="*/ 3263478 h 5973007"/>
              <a:gd name="connsiteX25621" fmla="*/ 6441624 w 6884782"/>
              <a:gd name="connsiteY25621" fmla="*/ 3269777 h 5973007"/>
              <a:gd name="connsiteX25622" fmla="*/ 6448439 w 6884782"/>
              <a:gd name="connsiteY25622" fmla="*/ 3273288 h 5973007"/>
              <a:gd name="connsiteX25623" fmla="*/ 6454945 w 6884782"/>
              <a:gd name="connsiteY25623" fmla="*/ 3273081 h 5973007"/>
              <a:gd name="connsiteX25624" fmla="*/ 6458043 w 6884782"/>
              <a:gd name="connsiteY25624" fmla="*/ 3272565 h 5973007"/>
              <a:gd name="connsiteX25625" fmla="*/ 6459592 w 6884782"/>
              <a:gd name="connsiteY25625" fmla="*/ 3272255 h 5973007"/>
              <a:gd name="connsiteX25626" fmla="*/ 6461141 w 6884782"/>
              <a:gd name="connsiteY25626" fmla="*/ 3272049 h 5973007"/>
              <a:gd name="connsiteX25627" fmla="*/ 6464394 w 6884782"/>
              <a:gd name="connsiteY25627" fmla="*/ 3269157 h 5973007"/>
              <a:gd name="connsiteX25628" fmla="*/ 6480038 w 6884782"/>
              <a:gd name="connsiteY25628" fmla="*/ 3263478 h 5973007"/>
              <a:gd name="connsiteX25629" fmla="*/ 6492120 w 6884782"/>
              <a:gd name="connsiteY25629" fmla="*/ 3264201 h 5973007"/>
              <a:gd name="connsiteX25630" fmla="*/ 6495528 w 6884782"/>
              <a:gd name="connsiteY25630" fmla="*/ 3265337 h 5973007"/>
              <a:gd name="connsiteX25631" fmla="*/ 6493669 w 6884782"/>
              <a:gd name="connsiteY25631" fmla="*/ 3261310 h 5973007"/>
              <a:gd name="connsiteX25632" fmla="*/ 6503737 w 6884782"/>
              <a:gd name="connsiteY25632" fmla="*/ 3251397 h 5973007"/>
              <a:gd name="connsiteX25633" fmla="*/ 6506990 w 6884782"/>
              <a:gd name="connsiteY25633" fmla="*/ 3247990 h 5973007"/>
              <a:gd name="connsiteX25634" fmla="*/ 177188 w 6884782"/>
              <a:gd name="connsiteY25634" fmla="*/ 3247423 h 5973007"/>
              <a:gd name="connsiteX25635" fmla="*/ 174710 w 6884782"/>
              <a:gd name="connsiteY25635" fmla="*/ 3256097 h 5973007"/>
              <a:gd name="connsiteX25636" fmla="*/ 177188 w 6884782"/>
              <a:gd name="connsiteY25636" fmla="*/ 3247423 h 5973007"/>
              <a:gd name="connsiteX25637" fmla="*/ 6749848 w 6884782"/>
              <a:gd name="connsiteY25637" fmla="*/ 3247048 h 5973007"/>
              <a:gd name="connsiteX25638" fmla="*/ 6761639 w 6884782"/>
              <a:gd name="connsiteY25638" fmla="*/ 3247164 h 5973007"/>
              <a:gd name="connsiteX25639" fmla="*/ 6752191 w 6884782"/>
              <a:gd name="connsiteY25639" fmla="*/ 3262549 h 5973007"/>
              <a:gd name="connsiteX25640" fmla="*/ 6741658 w 6884782"/>
              <a:gd name="connsiteY25640" fmla="*/ 3254908 h 5973007"/>
              <a:gd name="connsiteX25641" fmla="*/ 6749848 w 6884782"/>
              <a:gd name="connsiteY25641" fmla="*/ 3247048 h 5973007"/>
              <a:gd name="connsiteX25642" fmla="*/ 340849 w 6884782"/>
              <a:gd name="connsiteY25642" fmla="*/ 3245564 h 5973007"/>
              <a:gd name="connsiteX25643" fmla="*/ 340849 w 6884782"/>
              <a:gd name="connsiteY25643" fmla="*/ 3246339 h 5973007"/>
              <a:gd name="connsiteX25644" fmla="*/ 342604 w 6884782"/>
              <a:gd name="connsiteY25644" fmla="*/ 3246649 h 5973007"/>
              <a:gd name="connsiteX25645" fmla="*/ 342708 w 6884782"/>
              <a:gd name="connsiteY25645" fmla="*/ 3245719 h 5973007"/>
              <a:gd name="connsiteX25646" fmla="*/ 344360 w 6884782"/>
              <a:gd name="connsiteY25646" fmla="*/ 3246649 h 5973007"/>
              <a:gd name="connsiteX25647" fmla="*/ 346941 w 6884782"/>
              <a:gd name="connsiteY25647" fmla="*/ 3252844 h 5973007"/>
              <a:gd name="connsiteX25648" fmla="*/ 342501 w 6884782"/>
              <a:gd name="connsiteY25648" fmla="*/ 3252535 h 5973007"/>
              <a:gd name="connsiteX25649" fmla="*/ 340436 w 6884782"/>
              <a:gd name="connsiteY25649" fmla="*/ 3249437 h 5973007"/>
              <a:gd name="connsiteX25650" fmla="*/ 340849 w 6884782"/>
              <a:gd name="connsiteY25650" fmla="*/ 3245564 h 5973007"/>
              <a:gd name="connsiteX25651" fmla="*/ 162835 w 6884782"/>
              <a:gd name="connsiteY25651" fmla="*/ 3242466 h 5973007"/>
              <a:gd name="connsiteX25652" fmla="*/ 164591 w 6884782"/>
              <a:gd name="connsiteY25652" fmla="*/ 3243086 h 5973007"/>
              <a:gd name="connsiteX25653" fmla="*/ 169547 w 6884782"/>
              <a:gd name="connsiteY25653" fmla="*/ 3258576 h 5973007"/>
              <a:gd name="connsiteX25654" fmla="*/ 161803 w 6884782"/>
              <a:gd name="connsiteY25654" fmla="*/ 3256097 h 5973007"/>
              <a:gd name="connsiteX25655" fmla="*/ 160048 w 6884782"/>
              <a:gd name="connsiteY25655" fmla="*/ 3252844 h 5973007"/>
              <a:gd name="connsiteX25656" fmla="*/ 160254 w 6884782"/>
              <a:gd name="connsiteY25656" fmla="*/ 3249282 h 5973007"/>
              <a:gd name="connsiteX25657" fmla="*/ 159531 w 6884782"/>
              <a:gd name="connsiteY25657" fmla="*/ 3246339 h 5973007"/>
              <a:gd name="connsiteX25658" fmla="*/ 160254 w 6884782"/>
              <a:gd name="connsiteY25658" fmla="*/ 3243551 h 5973007"/>
              <a:gd name="connsiteX25659" fmla="*/ 162835 w 6884782"/>
              <a:gd name="connsiteY25659" fmla="*/ 3242466 h 5973007"/>
              <a:gd name="connsiteX25660" fmla="*/ 256179 w 6884782"/>
              <a:gd name="connsiteY25660" fmla="*/ 3239214 h 5973007"/>
              <a:gd name="connsiteX25661" fmla="*/ 260516 w 6884782"/>
              <a:gd name="connsiteY25661" fmla="*/ 3243241 h 5973007"/>
              <a:gd name="connsiteX25662" fmla="*/ 256695 w 6884782"/>
              <a:gd name="connsiteY25662" fmla="*/ 3246029 h 5973007"/>
              <a:gd name="connsiteX25663" fmla="*/ 253288 w 6884782"/>
              <a:gd name="connsiteY25663" fmla="*/ 3244945 h 5973007"/>
              <a:gd name="connsiteX25664" fmla="*/ 253391 w 6884782"/>
              <a:gd name="connsiteY25664" fmla="*/ 3245564 h 5973007"/>
              <a:gd name="connsiteX25665" fmla="*/ 252771 w 6884782"/>
              <a:gd name="connsiteY25665" fmla="*/ 3245410 h 5973007"/>
              <a:gd name="connsiteX25666" fmla="*/ 251739 w 6884782"/>
              <a:gd name="connsiteY25666" fmla="*/ 3248662 h 5973007"/>
              <a:gd name="connsiteX25667" fmla="*/ 247918 w 6884782"/>
              <a:gd name="connsiteY25667" fmla="*/ 3246184 h 5973007"/>
              <a:gd name="connsiteX25668" fmla="*/ 250500 w 6884782"/>
              <a:gd name="connsiteY25668" fmla="*/ 3243860 h 5973007"/>
              <a:gd name="connsiteX25669" fmla="*/ 251842 w 6884782"/>
              <a:gd name="connsiteY25669" fmla="*/ 3244325 h 5973007"/>
              <a:gd name="connsiteX25670" fmla="*/ 253184 w 6884782"/>
              <a:gd name="connsiteY25670" fmla="*/ 3244635 h 5973007"/>
              <a:gd name="connsiteX25671" fmla="*/ 253907 w 6884782"/>
              <a:gd name="connsiteY25671" fmla="*/ 3243241 h 5973007"/>
              <a:gd name="connsiteX25672" fmla="*/ 256179 w 6884782"/>
              <a:gd name="connsiteY25672" fmla="*/ 3239214 h 5973007"/>
              <a:gd name="connsiteX25673" fmla="*/ 317720 w 6884782"/>
              <a:gd name="connsiteY25673" fmla="*/ 3232553 h 5973007"/>
              <a:gd name="connsiteX25674" fmla="*/ 322986 w 6884782"/>
              <a:gd name="connsiteY25674" fmla="*/ 3233018 h 5973007"/>
              <a:gd name="connsiteX25675" fmla="*/ 322883 w 6884782"/>
              <a:gd name="connsiteY25675" fmla="*/ 3240453 h 5973007"/>
              <a:gd name="connsiteX25676" fmla="*/ 316790 w 6884782"/>
              <a:gd name="connsiteY25676" fmla="*/ 3239059 h 5973007"/>
              <a:gd name="connsiteX25677" fmla="*/ 315448 w 6884782"/>
              <a:gd name="connsiteY25677" fmla="*/ 3236735 h 5973007"/>
              <a:gd name="connsiteX25678" fmla="*/ 316067 w 6884782"/>
              <a:gd name="connsiteY25678" fmla="*/ 3234102 h 5973007"/>
              <a:gd name="connsiteX25679" fmla="*/ 317720 w 6884782"/>
              <a:gd name="connsiteY25679" fmla="*/ 3232553 h 5973007"/>
              <a:gd name="connsiteX25680" fmla="*/ 404442 w 6884782"/>
              <a:gd name="connsiteY25680" fmla="*/ 3229784 h 5973007"/>
              <a:gd name="connsiteX25681" fmla="*/ 410753 w 6884782"/>
              <a:gd name="connsiteY25681" fmla="*/ 3235961 h 5973007"/>
              <a:gd name="connsiteX25682" fmla="*/ 407862 w 6884782"/>
              <a:gd name="connsiteY25682" fmla="*/ 3237975 h 5973007"/>
              <a:gd name="connsiteX25683" fmla="*/ 396195 w 6884782"/>
              <a:gd name="connsiteY25683" fmla="*/ 3230230 h 5973007"/>
              <a:gd name="connsiteX25684" fmla="*/ 404442 w 6884782"/>
              <a:gd name="connsiteY25684" fmla="*/ 3229784 h 5973007"/>
              <a:gd name="connsiteX25685" fmla="*/ 500445 w 6884782"/>
              <a:gd name="connsiteY25685" fmla="*/ 3229417 h 5973007"/>
              <a:gd name="connsiteX25686" fmla="*/ 505129 w 6884782"/>
              <a:gd name="connsiteY25686" fmla="*/ 3229455 h 5973007"/>
              <a:gd name="connsiteX25687" fmla="*/ 496972 w 6884782"/>
              <a:gd name="connsiteY25687" fmla="*/ 3235806 h 5973007"/>
              <a:gd name="connsiteX25688" fmla="*/ 496766 w 6884782"/>
              <a:gd name="connsiteY25688" fmla="*/ 3233328 h 5973007"/>
              <a:gd name="connsiteX25689" fmla="*/ 500445 w 6884782"/>
              <a:gd name="connsiteY25689" fmla="*/ 3229417 h 5973007"/>
              <a:gd name="connsiteX25690" fmla="*/ 525368 w 6884782"/>
              <a:gd name="connsiteY25690" fmla="*/ 3228061 h 5973007"/>
              <a:gd name="connsiteX25691" fmla="*/ 527536 w 6884782"/>
              <a:gd name="connsiteY25691" fmla="*/ 3229610 h 5973007"/>
              <a:gd name="connsiteX25692" fmla="*/ 526814 w 6884782"/>
              <a:gd name="connsiteY25692" fmla="*/ 3231933 h 5973007"/>
              <a:gd name="connsiteX25693" fmla="*/ 526917 w 6884782"/>
              <a:gd name="connsiteY25693" fmla="*/ 3233792 h 5973007"/>
              <a:gd name="connsiteX25694" fmla="*/ 524645 w 6884782"/>
              <a:gd name="connsiteY25694" fmla="*/ 3235341 h 5973007"/>
              <a:gd name="connsiteX25695" fmla="*/ 524439 w 6884782"/>
              <a:gd name="connsiteY25695" fmla="*/ 3233482 h 5973007"/>
              <a:gd name="connsiteX25696" fmla="*/ 525368 w 6884782"/>
              <a:gd name="connsiteY25696" fmla="*/ 3228061 h 5973007"/>
              <a:gd name="connsiteX25697" fmla="*/ 309975 w 6884782"/>
              <a:gd name="connsiteY25697" fmla="*/ 3227442 h 5973007"/>
              <a:gd name="connsiteX25698" fmla="*/ 305432 w 6884782"/>
              <a:gd name="connsiteY25698" fmla="*/ 3233018 h 5973007"/>
              <a:gd name="connsiteX25699" fmla="*/ 306258 w 6884782"/>
              <a:gd name="connsiteY25699" fmla="*/ 3228835 h 5973007"/>
              <a:gd name="connsiteX25700" fmla="*/ 309975 w 6884782"/>
              <a:gd name="connsiteY25700" fmla="*/ 3227442 h 5973007"/>
              <a:gd name="connsiteX25701" fmla="*/ 426242 w 6884782"/>
              <a:gd name="connsiteY25701" fmla="*/ 3226105 h 5973007"/>
              <a:gd name="connsiteX25702" fmla="*/ 435845 w 6884782"/>
              <a:gd name="connsiteY25702" fmla="*/ 3226512 h 5973007"/>
              <a:gd name="connsiteX25703" fmla="*/ 435638 w 6884782"/>
              <a:gd name="connsiteY25703" fmla="*/ 3234877 h 5973007"/>
              <a:gd name="connsiteX25704" fmla="*/ 431508 w 6884782"/>
              <a:gd name="connsiteY25704" fmla="*/ 3238129 h 5973007"/>
              <a:gd name="connsiteX25705" fmla="*/ 429753 w 6884782"/>
              <a:gd name="connsiteY25705" fmla="*/ 3238284 h 5973007"/>
              <a:gd name="connsiteX25706" fmla="*/ 424177 w 6884782"/>
              <a:gd name="connsiteY25706" fmla="*/ 3246803 h 5973007"/>
              <a:gd name="connsiteX25707" fmla="*/ 418188 w 6884782"/>
              <a:gd name="connsiteY25707" fmla="*/ 3242002 h 5973007"/>
              <a:gd name="connsiteX25708" fmla="*/ 420769 w 6884782"/>
              <a:gd name="connsiteY25708" fmla="*/ 3236580 h 5973007"/>
              <a:gd name="connsiteX25709" fmla="*/ 417878 w 6884782"/>
              <a:gd name="connsiteY25709" fmla="*/ 3231624 h 5973007"/>
              <a:gd name="connsiteX25710" fmla="*/ 426242 w 6884782"/>
              <a:gd name="connsiteY25710" fmla="*/ 3226105 h 5973007"/>
              <a:gd name="connsiteX25711" fmla="*/ 518759 w 6884782"/>
              <a:gd name="connsiteY25711" fmla="*/ 3224653 h 5973007"/>
              <a:gd name="connsiteX25712" fmla="*/ 520102 w 6884782"/>
              <a:gd name="connsiteY25712" fmla="*/ 3229920 h 5973007"/>
              <a:gd name="connsiteX25713" fmla="*/ 518347 w 6884782"/>
              <a:gd name="connsiteY25713" fmla="*/ 3231933 h 5973007"/>
              <a:gd name="connsiteX25714" fmla="*/ 517004 w 6884782"/>
              <a:gd name="connsiteY25714" fmla="*/ 3229920 h 5973007"/>
              <a:gd name="connsiteX25715" fmla="*/ 517933 w 6884782"/>
              <a:gd name="connsiteY25715" fmla="*/ 3228216 h 5973007"/>
              <a:gd name="connsiteX25716" fmla="*/ 517314 w 6884782"/>
              <a:gd name="connsiteY25716" fmla="*/ 3225738 h 5973007"/>
              <a:gd name="connsiteX25717" fmla="*/ 518759 w 6884782"/>
              <a:gd name="connsiteY25717" fmla="*/ 3224653 h 5973007"/>
              <a:gd name="connsiteX25718" fmla="*/ 462072 w 6884782"/>
              <a:gd name="connsiteY25718" fmla="*/ 3223724 h 5973007"/>
              <a:gd name="connsiteX25719" fmla="*/ 467545 w 6884782"/>
              <a:gd name="connsiteY25719" fmla="*/ 3232243 h 5973007"/>
              <a:gd name="connsiteX25720" fmla="*/ 464963 w 6884782"/>
              <a:gd name="connsiteY25720" fmla="*/ 3232088 h 5973007"/>
              <a:gd name="connsiteX25721" fmla="*/ 460936 w 6884782"/>
              <a:gd name="connsiteY25721" fmla="*/ 3225738 h 5973007"/>
              <a:gd name="connsiteX25722" fmla="*/ 462072 w 6884782"/>
              <a:gd name="connsiteY25722" fmla="*/ 3223724 h 5973007"/>
              <a:gd name="connsiteX25723" fmla="*/ 333311 w 6884782"/>
              <a:gd name="connsiteY25723" fmla="*/ 3219232 h 5973007"/>
              <a:gd name="connsiteX25724" fmla="*/ 335066 w 6884782"/>
              <a:gd name="connsiteY25724" fmla="*/ 3219232 h 5973007"/>
              <a:gd name="connsiteX25725" fmla="*/ 336719 w 6884782"/>
              <a:gd name="connsiteY25725" fmla="*/ 3220007 h 5973007"/>
              <a:gd name="connsiteX25726" fmla="*/ 334241 w 6884782"/>
              <a:gd name="connsiteY25726" fmla="*/ 3222640 h 5973007"/>
              <a:gd name="connsiteX25727" fmla="*/ 333415 w 6884782"/>
              <a:gd name="connsiteY25727" fmla="*/ 3221245 h 5973007"/>
              <a:gd name="connsiteX25728" fmla="*/ 332692 w 6884782"/>
              <a:gd name="connsiteY25728" fmla="*/ 3221865 h 5973007"/>
              <a:gd name="connsiteX25729" fmla="*/ 332485 w 6884782"/>
              <a:gd name="connsiteY25729" fmla="*/ 3220007 h 5973007"/>
              <a:gd name="connsiteX25730" fmla="*/ 333208 w 6884782"/>
              <a:gd name="connsiteY25730" fmla="*/ 3219542 h 5973007"/>
              <a:gd name="connsiteX25731" fmla="*/ 333311 w 6884782"/>
              <a:gd name="connsiteY25731" fmla="*/ 3219232 h 5973007"/>
              <a:gd name="connsiteX25732" fmla="*/ 221175 w 6884782"/>
              <a:gd name="connsiteY25732" fmla="*/ 3216289 h 5973007"/>
              <a:gd name="connsiteX25733" fmla="*/ 224376 w 6884782"/>
              <a:gd name="connsiteY25733" fmla="*/ 3220161 h 5973007"/>
              <a:gd name="connsiteX25734" fmla="*/ 215806 w 6884782"/>
              <a:gd name="connsiteY25734" fmla="*/ 3222175 h 5973007"/>
              <a:gd name="connsiteX25735" fmla="*/ 221175 w 6884782"/>
              <a:gd name="connsiteY25735" fmla="*/ 3216289 h 5973007"/>
              <a:gd name="connsiteX25736" fmla="*/ 6714551 w 6884782"/>
              <a:gd name="connsiteY25736" fmla="*/ 3215980 h 5973007"/>
              <a:gd name="connsiteX25737" fmla="*/ 6718888 w 6884782"/>
              <a:gd name="connsiteY25737" fmla="*/ 3233327 h 5973007"/>
              <a:gd name="connsiteX25738" fmla="*/ 6709904 w 6884782"/>
              <a:gd name="connsiteY25738" fmla="*/ 3238284 h 5973007"/>
              <a:gd name="connsiteX25739" fmla="*/ 6704637 w 6884782"/>
              <a:gd name="connsiteY25739" fmla="*/ 3238490 h 5973007"/>
              <a:gd name="connsiteX25740" fmla="*/ 6697822 w 6884782"/>
              <a:gd name="connsiteY25740" fmla="*/ 3228165 h 5973007"/>
              <a:gd name="connsiteX25741" fmla="*/ 6700920 w 6884782"/>
              <a:gd name="connsiteY25741" fmla="*/ 3220214 h 5973007"/>
              <a:gd name="connsiteX25742" fmla="*/ 6714551 w 6884782"/>
              <a:gd name="connsiteY25742" fmla="*/ 3215980 h 5973007"/>
              <a:gd name="connsiteX25743" fmla="*/ 402286 w 6884782"/>
              <a:gd name="connsiteY25743" fmla="*/ 3214895 h 5973007"/>
              <a:gd name="connsiteX25744" fmla="*/ 407862 w 6884782"/>
              <a:gd name="connsiteY25744" fmla="*/ 3224653 h 5973007"/>
              <a:gd name="connsiteX25745" fmla="*/ 404248 w 6884782"/>
              <a:gd name="connsiteY25745" fmla="*/ 3226047 h 5973007"/>
              <a:gd name="connsiteX25746" fmla="*/ 404764 w 6884782"/>
              <a:gd name="connsiteY25746" fmla="*/ 3226202 h 5973007"/>
              <a:gd name="connsiteX25747" fmla="*/ 381429 w 6884782"/>
              <a:gd name="connsiteY25747" fmla="*/ 3227287 h 5973007"/>
              <a:gd name="connsiteX25748" fmla="*/ 394129 w 6884782"/>
              <a:gd name="connsiteY25748" fmla="*/ 3222949 h 5973007"/>
              <a:gd name="connsiteX25749" fmla="*/ 398363 w 6884782"/>
              <a:gd name="connsiteY25749" fmla="*/ 3223414 h 5973007"/>
              <a:gd name="connsiteX25750" fmla="*/ 399189 w 6884782"/>
              <a:gd name="connsiteY25750" fmla="*/ 3220471 h 5973007"/>
              <a:gd name="connsiteX25751" fmla="*/ 402286 w 6884782"/>
              <a:gd name="connsiteY25751" fmla="*/ 3214895 h 5973007"/>
              <a:gd name="connsiteX25752" fmla="*/ 528569 w 6884782"/>
              <a:gd name="connsiteY25752" fmla="*/ 3213501 h 5973007"/>
              <a:gd name="connsiteX25753" fmla="*/ 530118 w 6884782"/>
              <a:gd name="connsiteY25753" fmla="*/ 3217373 h 5973007"/>
              <a:gd name="connsiteX25754" fmla="*/ 524748 w 6884782"/>
              <a:gd name="connsiteY25754" fmla="*/ 3223879 h 5973007"/>
              <a:gd name="connsiteX25755" fmla="*/ 522890 w 6884782"/>
              <a:gd name="connsiteY25755" fmla="*/ 3221091 h 5973007"/>
              <a:gd name="connsiteX25756" fmla="*/ 526503 w 6884782"/>
              <a:gd name="connsiteY25756" fmla="*/ 3214121 h 5973007"/>
              <a:gd name="connsiteX25757" fmla="*/ 528569 w 6884782"/>
              <a:gd name="connsiteY25757" fmla="*/ 3213501 h 5973007"/>
              <a:gd name="connsiteX25758" fmla="*/ 417155 w 6884782"/>
              <a:gd name="connsiteY25758" fmla="*/ 3210867 h 5973007"/>
              <a:gd name="connsiteX25759" fmla="*/ 426242 w 6884782"/>
              <a:gd name="connsiteY25759" fmla="*/ 3217993 h 5973007"/>
              <a:gd name="connsiteX25760" fmla="*/ 412819 w 6884782"/>
              <a:gd name="connsiteY25760" fmla="*/ 3217838 h 5973007"/>
              <a:gd name="connsiteX25761" fmla="*/ 417155 w 6884782"/>
              <a:gd name="connsiteY25761" fmla="*/ 3210867 h 5973007"/>
              <a:gd name="connsiteX25762" fmla="*/ 542612 w 6884782"/>
              <a:gd name="connsiteY25762" fmla="*/ 3209319 h 5973007"/>
              <a:gd name="connsiteX25763" fmla="*/ 548910 w 6884782"/>
              <a:gd name="connsiteY25763" fmla="*/ 3211022 h 5973007"/>
              <a:gd name="connsiteX25764" fmla="*/ 547775 w 6884782"/>
              <a:gd name="connsiteY25764" fmla="*/ 3211642 h 5973007"/>
              <a:gd name="connsiteX25765" fmla="*/ 546122 w 6884782"/>
              <a:gd name="connsiteY25765" fmla="*/ 3211022 h 5973007"/>
              <a:gd name="connsiteX25766" fmla="*/ 542612 w 6884782"/>
              <a:gd name="connsiteY25766" fmla="*/ 3209319 h 5973007"/>
              <a:gd name="connsiteX25767" fmla="*/ 376886 w 6884782"/>
              <a:gd name="connsiteY25767" fmla="*/ 3208854 h 5973007"/>
              <a:gd name="connsiteX25768" fmla="*/ 379983 w 6884782"/>
              <a:gd name="connsiteY25768" fmla="*/ 3209938 h 5973007"/>
              <a:gd name="connsiteX25769" fmla="*/ 380293 w 6884782"/>
              <a:gd name="connsiteY25769" fmla="*/ 3209474 h 5973007"/>
              <a:gd name="connsiteX25770" fmla="*/ 385352 w 6884782"/>
              <a:gd name="connsiteY25770" fmla="*/ 3212726 h 5973007"/>
              <a:gd name="connsiteX25771" fmla="*/ 382874 w 6884782"/>
              <a:gd name="connsiteY25771" fmla="*/ 3214895 h 5973007"/>
              <a:gd name="connsiteX25772" fmla="*/ 383288 w 6884782"/>
              <a:gd name="connsiteY25772" fmla="*/ 3216599 h 5973007"/>
              <a:gd name="connsiteX25773" fmla="*/ 389380 w 6884782"/>
              <a:gd name="connsiteY25773" fmla="*/ 3217373 h 5973007"/>
              <a:gd name="connsiteX25774" fmla="*/ 395162 w 6884782"/>
              <a:gd name="connsiteY25774" fmla="*/ 3219387 h 5973007"/>
              <a:gd name="connsiteX25775" fmla="*/ 372755 w 6884782"/>
              <a:gd name="connsiteY25775" fmla="*/ 3222020 h 5973007"/>
              <a:gd name="connsiteX25776" fmla="*/ 376886 w 6884782"/>
              <a:gd name="connsiteY25776" fmla="*/ 3217838 h 5973007"/>
              <a:gd name="connsiteX25777" fmla="*/ 377712 w 6884782"/>
              <a:gd name="connsiteY25777" fmla="*/ 3217683 h 5973007"/>
              <a:gd name="connsiteX25778" fmla="*/ 376472 w 6884782"/>
              <a:gd name="connsiteY25778" fmla="*/ 3217528 h 5973007"/>
              <a:gd name="connsiteX25779" fmla="*/ 356957 w 6884782"/>
              <a:gd name="connsiteY25779" fmla="*/ 3215514 h 5973007"/>
              <a:gd name="connsiteX25780" fmla="*/ 367076 w 6884782"/>
              <a:gd name="connsiteY25780" fmla="*/ 3211487 h 5973007"/>
              <a:gd name="connsiteX25781" fmla="*/ 376886 w 6884782"/>
              <a:gd name="connsiteY25781" fmla="*/ 3208854 h 5973007"/>
              <a:gd name="connsiteX25782" fmla="*/ 346115 w 6884782"/>
              <a:gd name="connsiteY25782" fmla="*/ 3201729 h 5973007"/>
              <a:gd name="connsiteX25783" fmla="*/ 349522 w 6884782"/>
              <a:gd name="connsiteY25783" fmla="*/ 3202193 h 5973007"/>
              <a:gd name="connsiteX25784" fmla="*/ 343224 w 6884782"/>
              <a:gd name="connsiteY25784" fmla="*/ 3203123 h 5973007"/>
              <a:gd name="connsiteX25785" fmla="*/ 346115 w 6884782"/>
              <a:gd name="connsiteY25785" fmla="*/ 3201729 h 5973007"/>
              <a:gd name="connsiteX25786" fmla="*/ 535797 w 6884782"/>
              <a:gd name="connsiteY25786" fmla="*/ 3198476 h 5973007"/>
              <a:gd name="connsiteX25787" fmla="*/ 540443 w 6884782"/>
              <a:gd name="connsiteY25787" fmla="*/ 3204517 h 5973007"/>
              <a:gd name="connsiteX25788" fmla="*/ 535590 w 6884782"/>
              <a:gd name="connsiteY25788" fmla="*/ 3200025 h 5973007"/>
              <a:gd name="connsiteX25789" fmla="*/ 535797 w 6884782"/>
              <a:gd name="connsiteY25789" fmla="*/ 3198476 h 5973007"/>
              <a:gd name="connsiteX25790" fmla="*/ 364701 w 6884782"/>
              <a:gd name="connsiteY25790" fmla="*/ 3194758 h 5973007"/>
              <a:gd name="connsiteX25791" fmla="*/ 368831 w 6884782"/>
              <a:gd name="connsiteY25791" fmla="*/ 3198631 h 5973007"/>
              <a:gd name="connsiteX25792" fmla="*/ 369451 w 6884782"/>
              <a:gd name="connsiteY25792" fmla="*/ 3198476 h 5973007"/>
              <a:gd name="connsiteX25793" fmla="*/ 371929 w 6884782"/>
              <a:gd name="connsiteY25793" fmla="*/ 3206840 h 5973007"/>
              <a:gd name="connsiteX25794" fmla="*/ 370690 w 6884782"/>
              <a:gd name="connsiteY25794" fmla="*/ 3208544 h 5973007"/>
              <a:gd name="connsiteX25795" fmla="*/ 370690 w 6884782"/>
              <a:gd name="connsiteY25795" fmla="*/ 3208854 h 5973007"/>
              <a:gd name="connsiteX25796" fmla="*/ 362843 w 6884782"/>
              <a:gd name="connsiteY25796" fmla="*/ 3208234 h 5973007"/>
              <a:gd name="connsiteX25797" fmla="*/ 360881 w 6884782"/>
              <a:gd name="connsiteY25797" fmla="*/ 3205601 h 5973007"/>
              <a:gd name="connsiteX25798" fmla="*/ 360778 w 6884782"/>
              <a:gd name="connsiteY25798" fmla="*/ 3201884 h 5973007"/>
              <a:gd name="connsiteX25799" fmla="*/ 359951 w 6884782"/>
              <a:gd name="connsiteY25799" fmla="*/ 3199096 h 5973007"/>
              <a:gd name="connsiteX25800" fmla="*/ 360365 w 6884782"/>
              <a:gd name="connsiteY25800" fmla="*/ 3196153 h 5973007"/>
              <a:gd name="connsiteX25801" fmla="*/ 364701 w 6884782"/>
              <a:gd name="connsiteY25801" fmla="*/ 3194758 h 5973007"/>
              <a:gd name="connsiteX25802" fmla="*/ 109632 w 6884782"/>
              <a:gd name="connsiteY25802" fmla="*/ 3194100 h 5973007"/>
              <a:gd name="connsiteX25803" fmla="*/ 116680 w 6884782"/>
              <a:gd name="connsiteY25803" fmla="*/ 3198011 h 5973007"/>
              <a:gd name="connsiteX25804" fmla="*/ 118332 w 6884782"/>
              <a:gd name="connsiteY25804" fmla="*/ 3199870 h 5973007"/>
              <a:gd name="connsiteX25805" fmla="*/ 121739 w 6884782"/>
              <a:gd name="connsiteY25805" fmla="*/ 3201884 h 5973007"/>
              <a:gd name="connsiteX25806" fmla="*/ 117299 w 6884782"/>
              <a:gd name="connsiteY25806" fmla="*/ 3211487 h 5973007"/>
              <a:gd name="connsiteX25807" fmla="*/ 102430 w 6884782"/>
              <a:gd name="connsiteY25807" fmla="*/ 3212571 h 5973007"/>
              <a:gd name="connsiteX25808" fmla="*/ 98713 w 6884782"/>
              <a:gd name="connsiteY25808" fmla="*/ 3203123 h 5973007"/>
              <a:gd name="connsiteX25809" fmla="*/ 100985 w 6884782"/>
              <a:gd name="connsiteY25809" fmla="*/ 3198166 h 5973007"/>
              <a:gd name="connsiteX25810" fmla="*/ 103979 w 6884782"/>
              <a:gd name="connsiteY25810" fmla="*/ 3195533 h 5973007"/>
              <a:gd name="connsiteX25811" fmla="*/ 109632 w 6884782"/>
              <a:gd name="connsiteY25811" fmla="*/ 3194100 h 5973007"/>
              <a:gd name="connsiteX25812" fmla="*/ 309356 w 6884782"/>
              <a:gd name="connsiteY25812" fmla="*/ 3193984 h 5973007"/>
              <a:gd name="connsiteX25813" fmla="*/ 300166 w 6884782"/>
              <a:gd name="connsiteY25813" fmla="*/ 3216599 h 5973007"/>
              <a:gd name="connsiteX25814" fmla="*/ 294177 w 6884782"/>
              <a:gd name="connsiteY25814" fmla="*/ 3221091 h 5973007"/>
              <a:gd name="connsiteX25815" fmla="*/ 296036 w 6884782"/>
              <a:gd name="connsiteY25815" fmla="*/ 3204827 h 5973007"/>
              <a:gd name="connsiteX25816" fmla="*/ 280341 w 6884782"/>
              <a:gd name="connsiteY25816" fmla="*/ 3198321 h 5973007"/>
              <a:gd name="connsiteX25817" fmla="*/ 284264 w 6884782"/>
              <a:gd name="connsiteY25817" fmla="*/ 3196307 h 5973007"/>
              <a:gd name="connsiteX25818" fmla="*/ 300063 w 6884782"/>
              <a:gd name="connsiteY25818" fmla="*/ 3198321 h 5973007"/>
              <a:gd name="connsiteX25819" fmla="*/ 309356 w 6884782"/>
              <a:gd name="connsiteY25819" fmla="*/ 3193984 h 5973007"/>
              <a:gd name="connsiteX25820" fmla="*/ 42025 w 6884782"/>
              <a:gd name="connsiteY25820" fmla="*/ 3190421 h 5973007"/>
              <a:gd name="connsiteX25821" fmla="*/ 42852 w 6884782"/>
              <a:gd name="connsiteY25821" fmla="*/ 3190576 h 5973007"/>
              <a:gd name="connsiteX25822" fmla="*/ 43574 w 6884782"/>
              <a:gd name="connsiteY25822" fmla="*/ 3193984 h 5973007"/>
              <a:gd name="connsiteX25823" fmla="*/ 42025 w 6884782"/>
              <a:gd name="connsiteY25823" fmla="*/ 3193829 h 5973007"/>
              <a:gd name="connsiteX25824" fmla="*/ 42025 w 6884782"/>
              <a:gd name="connsiteY25824" fmla="*/ 3194603 h 5973007"/>
              <a:gd name="connsiteX25825" fmla="*/ 40373 w 6884782"/>
              <a:gd name="connsiteY25825" fmla="*/ 3193674 h 5973007"/>
              <a:gd name="connsiteX25826" fmla="*/ 40373 w 6884782"/>
              <a:gd name="connsiteY25826" fmla="*/ 3192899 h 5973007"/>
              <a:gd name="connsiteX25827" fmla="*/ 40167 w 6884782"/>
              <a:gd name="connsiteY25827" fmla="*/ 3192590 h 5973007"/>
              <a:gd name="connsiteX25828" fmla="*/ 41199 w 6884782"/>
              <a:gd name="connsiteY25828" fmla="*/ 3191351 h 5973007"/>
              <a:gd name="connsiteX25829" fmla="*/ 42025 w 6884782"/>
              <a:gd name="connsiteY25829" fmla="*/ 3190421 h 5973007"/>
              <a:gd name="connsiteX25830" fmla="*/ 420460 w 6884782"/>
              <a:gd name="connsiteY25830" fmla="*/ 3190111 h 5973007"/>
              <a:gd name="connsiteX25831" fmla="*/ 423041 w 6884782"/>
              <a:gd name="connsiteY25831" fmla="*/ 3192280 h 5973007"/>
              <a:gd name="connsiteX25832" fmla="*/ 417878 w 6884782"/>
              <a:gd name="connsiteY25832" fmla="*/ 3197546 h 5973007"/>
              <a:gd name="connsiteX25833" fmla="*/ 415916 w 6884782"/>
              <a:gd name="connsiteY25833" fmla="*/ 3193054 h 5973007"/>
              <a:gd name="connsiteX25834" fmla="*/ 417362 w 6884782"/>
              <a:gd name="connsiteY25834" fmla="*/ 3190266 h 5973007"/>
              <a:gd name="connsiteX25835" fmla="*/ 420460 w 6884782"/>
              <a:gd name="connsiteY25835" fmla="*/ 3190111 h 5973007"/>
              <a:gd name="connsiteX25836" fmla="*/ 96958 w 6884782"/>
              <a:gd name="connsiteY25836" fmla="*/ 3184380 h 5973007"/>
              <a:gd name="connsiteX25837" fmla="*/ 103979 w 6884782"/>
              <a:gd name="connsiteY25837" fmla="*/ 3186704 h 5973007"/>
              <a:gd name="connsiteX25838" fmla="*/ 102121 w 6884782"/>
              <a:gd name="connsiteY25838" fmla="*/ 3192435 h 5973007"/>
              <a:gd name="connsiteX25839" fmla="*/ 99539 w 6884782"/>
              <a:gd name="connsiteY25839" fmla="*/ 3192899 h 5973007"/>
              <a:gd name="connsiteX25840" fmla="*/ 94273 w 6884782"/>
              <a:gd name="connsiteY25840" fmla="*/ 3191660 h 5973007"/>
              <a:gd name="connsiteX25841" fmla="*/ 94273 w 6884782"/>
              <a:gd name="connsiteY25841" fmla="*/ 3192435 h 5973007"/>
              <a:gd name="connsiteX25842" fmla="*/ 93447 w 6884782"/>
              <a:gd name="connsiteY25842" fmla="*/ 3187323 h 5973007"/>
              <a:gd name="connsiteX25843" fmla="*/ 96958 w 6884782"/>
              <a:gd name="connsiteY25843" fmla="*/ 3184380 h 5973007"/>
              <a:gd name="connsiteX25844" fmla="*/ 219213 w 6884782"/>
              <a:gd name="connsiteY25844" fmla="*/ 3174002 h 5973007"/>
              <a:gd name="connsiteX25845" fmla="*/ 221278 w 6884782"/>
              <a:gd name="connsiteY25845" fmla="*/ 3176171 h 5973007"/>
              <a:gd name="connsiteX25846" fmla="*/ 212192 w 6884782"/>
              <a:gd name="connsiteY25846" fmla="*/ 3190266 h 5973007"/>
              <a:gd name="connsiteX25847" fmla="*/ 193296 w 6884782"/>
              <a:gd name="connsiteY25847" fmla="*/ 3189802 h 5973007"/>
              <a:gd name="connsiteX25848" fmla="*/ 192573 w 6884782"/>
              <a:gd name="connsiteY25848" fmla="*/ 3184690 h 5973007"/>
              <a:gd name="connsiteX25849" fmla="*/ 202176 w 6884782"/>
              <a:gd name="connsiteY25849" fmla="*/ 3176326 h 5973007"/>
              <a:gd name="connsiteX25850" fmla="*/ 208371 w 6884782"/>
              <a:gd name="connsiteY25850" fmla="*/ 3174622 h 5973007"/>
              <a:gd name="connsiteX25851" fmla="*/ 219213 w 6884782"/>
              <a:gd name="connsiteY25851" fmla="*/ 3174002 h 5973007"/>
              <a:gd name="connsiteX25852" fmla="*/ 6853931 w 6884782"/>
              <a:gd name="connsiteY25852" fmla="*/ 3173555 h 5973007"/>
              <a:gd name="connsiteX25853" fmla="*/ 6861238 w 6884782"/>
              <a:gd name="connsiteY25853" fmla="*/ 3180254 h 5973007"/>
              <a:gd name="connsiteX25854" fmla="*/ 6835680 w 6884782"/>
              <a:gd name="connsiteY25854" fmla="*/ 3185726 h 5973007"/>
              <a:gd name="connsiteX25855" fmla="*/ 6827161 w 6884782"/>
              <a:gd name="connsiteY25855" fmla="*/ 3185520 h 5973007"/>
              <a:gd name="connsiteX25856" fmla="*/ 6853931 w 6884782"/>
              <a:gd name="connsiteY25856" fmla="*/ 3173555 h 5973007"/>
              <a:gd name="connsiteX25857" fmla="*/ 240174 w 6884782"/>
              <a:gd name="connsiteY25857" fmla="*/ 3171834 h 5973007"/>
              <a:gd name="connsiteX25858" fmla="*/ 241207 w 6884782"/>
              <a:gd name="connsiteY25858" fmla="*/ 3174931 h 5973007"/>
              <a:gd name="connsiteX25859" fmla="*/ 239555 w 6884782"/>
              <a:gd name="connsiteY25859" fmla="*/ 3175087 h 5973007"/>
              <a:gd name="connsiteX25860" fmla="*/ 239658 w 6884782"/>
              <a:gd name="connsiteY25860" fmla="*/ 3176016 h 5973007"/>
              <a:gd name="connsiteX25861" fmla="*/ 237902 w 6884782"/>
              <a:gd name="connsiteY25861" fmla="*/ 3175396 h 5973007"/>
              <a:gd name="connsiteX25862" fmla="*/ 237902 w 6884782"/>
              <a:gd name="connsiteY25862" fmla="*/ 3174622 h 5973007"/>
              <a:gd name="connsiteX25863" fmla="*/ 237696 w 6884782"/>
              <a:gd name="connsiteY25863" fmla="*/ 3174467 h 5973007"/>
              <a:gd name="connsiteX25864" fmla="*/ 238625 w 6884782"/>
              <a:gd name="connsiteY25864" fmla="*/ 3172918 h 5973007"/>
              <a:gd name="connsiteX25865" fmla="*/ 240174 w 6884782"/>
              <a:gd name="connsiteY25865" fmla="*/ 3171834 h 5973007"/>
              <a:gd name="connsiteX25866" fmla="*/ 552318 w 6884782"/>
              <a:gd name="connsiteY25866" fmla="*/ 3167807 h 5973007"/>
              <a:gd name="connsiteX25867" fmla="*/ 553866 w 6884782"/>
              <a:gd name="connsiteY25867" fmla="*/ 3168891 h 5973007"/>
              <a:gd name="connsiteX25868" fmla="*/ 553763 w 6884782"/>
              <a:gd name="connsiteY25868" fmla="*/ 3169820 h 5973007"/>
              <a:gd name="connsiteX25869" fmla="*/ 553247 w 6884782"/>
              <a:gd name="connsiteY25869" fmla="*/ 3173073 h 5973007"/>
              <a:gd name="connsiteX25870" fmla="*/ 548704 w 6884782"/>
              <a:gd name="connsiteY25870" fmla="*/ 3174467 h 5973007"/>
              <a:gd name="connsiteX25871" fmla="*/ 547361 w 6884782"/>
              <a:gd name="connsiteY25871" fmla="*/ 3171679 h 5973007"/>
              <a:gd name="connsiteX25872" fmla="*/ 547775 w 6884782"/>
              <a:gd name="connsiteY25872" fmla="*/ 3169355 h 5973007"/>
              <a:gd name="connsiteX25873" fmla="*/ 552318 w 6884782"/>
              <a:gd name="connsiteY25873" fmla="*/ 3167807 h 5973007"/>
              <a:gd name="connsiteX25874" fmla="*/ 490157 w 6884782"/>
              <a:gd name="connsiteY25874" fmla="*/ 3167497 h 5973007"/>
              <a:gd name="connsiteX25875" fmla="*/ 494597 w 6884782"/>
              <a:gd name="connsiteY25875" fmla="*/ 3182057 h 5973007"/>
              <a:gd name="connsiteX25876" fmla="*/ 489951 w 6884782"/>
              <a:gd name="connsiteY25876" fmla="*/ 3183141 h 5973007"/>
              <a:gd name="connsiteX25877" fmla="*/ 487680 w 6884782"/>
              <a:gd name="connsiteY25877" fmla="*/ 3181437 h 5973007"/>
              <a:gd name="connsiteX25878" fmla="*/ 485821 w 6884782"/>
              <a:gd name="connsiteY25878" fmla="*/ 3182676 h 5973007"/>
              <a:gd name="connsiteX25879" fmla="*/ 483343 w 6884782"/>
              <a:gd name="connsiteY25879" fmla="*/ 3180353 h 5973007"/>
              <a:gd name="connsiteX25880" fmla="*/ 485304 w 6884782"/>
              <a:gd name="connsiteY25880" fmla="*/ 3176790 h 5973007"/>
              <a:gd name="connsiteX25881" fmla="*/ 485511 w 6884782"/>
              <a:gd name="connsiteY25881" fmla="*/ 3174312 h 5973007"/>
              <a:gd name="connsiteX25882" fmla="*/ 485821 w 6884782"/>
              <a:gd name="connsiteY25882" fmla="*/ 3168581 h 5973007"/>
              <a:gd name="connsiteX25883" fmla="*/ 490157 w 6884782"/>
              <a:gd name="connsiteY25883" fmla="*/ 3167497 h 5973007"/>
              <a:gd name="connsiteX25884" fmla="*/ 327013 w 6884782"/>
              <a:gd name="connsiteY25884" fmla="*/ 3167032 h 5973007"/>
              <a:gd name="connsiteX25885" fmla="*/ 329181 w 6884782"/>
              <a:gd name="connsiteY25885" fmla="*/ 3167652 h 5973007"/>
              <a:gd name="connsiteX25886" fmla="*/ 322263 w 6884782"/>
              <a:gd name="connsiteY25886" fmla="*/ 3171524 h 5973007"/>
              <a:gd name="connsiteX25887" fmla="*/ 327013 w 6884782"/>
              <a:gd name="connsiteY25887" fmla="*/ 3167032 h 5973007"/>
              <a:gd name="connsiteX25888" fmla="*/ 6647636 w 6884782"/>
              <a:gd name="connsiteY25888" fmla="*/ 3165385 h 5973007"/>
              <a:gd name="connsiteX25889" fmla="*/ 6656620 w 6884782"/>
              <a:gd name="connsiteY25889" fmla="*/ 3173232 h 5973007"/>
              <a:gd name="connsiteX25890" fmla="*/ 6646242 w 6884782"/>
              <a:gd name="connsiteY25890" fmla="*/ 3179841 h 5973007"/>
              <a:gd name="connsiteX25891" fmla="*/ 6643299 w 6884782"/>
              <a:gd name="connsiteY25891" fmla="*/ 3171787 h 5973007"/>
              <a:gd name="connsiteX25892" fmla="*/ 6647636 w 6884782"/>
              <a:gd name="connsiteY25892" fmla="*/ 3165385 h 5973007"/>
              <a:gd name="connsiteX25893" fmla="*/ 6413861 w 6884782"/>
              <a:gd name="connsiteY25893" fmla="*/ 3162802 h 5973007"/>
              <a:gd name="connsiteX25894" fmla="*/ 6424120 w 6884782"/>
              <a:gd name="connsiteY25894" fmla="*/ 3187792 h 5973007"/>
              <a:gd name="connsiteX25895" fmla="*/ 6408786 w 6884782"/>
              <a:gd name="connsiteY25895" fmla="*/ 3193987 h 5973007"/>
              <a:gd name="connsiteX25896" fmla="*/ 6403829 w 6884782"/>
              <a:gd name="connsiteY25896" fmla="*/ 3167347 h 5973007"/>
              <a:gd name="connsiteX25897" fmla="*/ 6413861 w 6884782"/>
              <a:gd name="connsiteY25897" fmla="*/ 3162802 h 5973007"/>
              <a:gd name="connsiteX25898" fmla="*/ 376782 w 6884782"/>
              <a:gd name="connsiteY25898" fmla="*/ 3161920 h 5973007"/>
              <a:gd name="connsiteX25899" fmla="*/ 389483 w 6884782"/>
              <a:gd name="connsiteY25899" fmla="*/ 3175087 h 5973007"/>
              <a:gd name="connsiteX25900" fmla="*/ 381945 w 6884782"/>
              <a:gd name="connsiteY25900" fmla="*/ 3200335 h 5973007"/>
              <a:gd name="connsiteX25901" fmla="*/ 379260 w 6884782"/>
              <a:gd name="connsiteY25901" fmla="*/ 3200025 h 5973007"/>
              <a:gd name="connsiteX25902" fmla="*/ 367283 w 6884782"/>
              <a:gd name="connsiteY25902" fmla="*/ 3180353 h 5973007"/>
              <a:gd name="connsiteX25903" fmla="*/ 376782 w 6884782"/>
              <a:gd name="connsiteY25903" fmla="*/ 3161920 h 5973007"/>
              <a:gd name="connsiteX25904" fmla="*/ 304503 w 6884782"/>
              <a:gd name="connsiteY25904" fmla="*/ 3159848 h 5973007"/>
              <a:gd name="connsiteX25905" fmla="*/ 313796 w 6884782"/>
              <a:gd name="connsiteY25905" fmla="*/ 3161456 h 5973007"/>
              <a:gd name="connsiteX25906" fmla="*/ 315551 w 6884782"/>
              <a:gd name="connsiteY25906" fmla="*/ 3162850 h 5973007"/>
              <a:gd name="connsiteX25907" fmla="*/ 319165 w 6884782"/>
              <a:gd name="connsiteY25907" fmla="*/ 3164089 h 5973007"/>
              <a:gd name="connsiteX25908" fmla="*/ 315448 w 6884782"/>
              <a:gd name="connsiteY25908" fmla="*/ 3174777 h 5973007"/>
              <a:gd name="connsiteX25909" fmla="*/ 303987 w 6884782"/>
              <a:gd name="connsiteY25909" fmla="*/ 3180508 h 5973007"/>
              <a:gd name="connsiteX25910" fmla="*/ 301302 w 6884782"/>
              <a:gd name="connsiteY25910" fmla="*/ 3179424 h 5973007"/>
              <a:gd name="connsiteX25911" fmla="*/ 299547 w 6884782"/>
              <a:gd name="connsiteY25911" fmla="*/ 3181437 h 5973007"/>
              <a:gd name="connsiteX25912" fmla="*/ 286743 w 6884782"/>
              <a:gd name="connsiteY25912" fmla="*/ 3179578 h 5973007"/>
              <a:gd name="connsiteX25913" fmla="*/ 285194 w 6884782"/>
              <a:gd name="connsiteY25913" fmla="*/ 3171834 h 5973007"/>
              <a:gd name="connsiteX25914" fmla="*/ 286330 w 6884782"/>
              <a:gd name="connsiteY25914" fmla="*/ 3168736 h 5973007"/>
              <a:gd name="connsiteX25915" fmla="*/ 294797 w 6884782"/>
              <a:gd name="connsiteY25915" fmla="*/ 3172763 h 5973007"/>
              <a:gd name="connsiteX25916" fmla="*/ 297068 w 6884782"/>
              <a:gd name="connsiteY25916" fmla="*/ 3173538 h 5973007"/>
              <a:gd name="connsiteX25917" fmla="*/ 296449 w 6884782"/>
              <a:gd name="connsiteY25917" fmla="*/ 3170904 h 5973007"/>
              <a:gd name="connsiteX25918" fmla="*/ 298307 w 6884782"/>
              <a:gd name="connsiteY25918" fmla="*/ 3165328 h 5973007"/>
              <a:gd name="connsiteX25919" fmla="*/ 304503 w 6884782"/>
              <a:gd name="connsiteY25919" fmla="*/ 3159848 h 5973007"/>
              <a:gd name="connsiteX25920" fmla="*/ 429133 w 6884782"/>
              <a:gd name="connsiteY25920" fmla="*/ 3156189 h 5973007"/>
              <a:gd name="connsiteX25921" fmla="*/ 437600 w 6884782"/>
              <a:gd name="connsiteY25921" fmla="*/ 3160681 h 5973007"/>
              <a:gd name="connsiteX25922" fmla="*/ 431921 w 6884782"/>
              <a:gd name="connsiteY25922" fmla="*/ 3162385 h 5973007"/>
              <a:gd name="connsiteX25923" fmla="*/ 426242 w 6884782"/>
              <a:gd name="connsiteY25923" fmla="*/ 3157893 h 5973007"/>
              <a:gd name="connsiteX25924" fmla="*/ 429133 w 6884782"/>
              <a:gd name="connsiteY25924" fmla="*/ 3156189 h 5973007"/>
              <a:gd name="connsiteX25925" fmla="*/ 541063 w 6884782"/>
              <a:gd name="connsiteY25925" fmla="*/ 3154640 h 5973007"/>
              <a:gd name="connsiteX25926" fmla="*/ 542921 w 6884782"/>
              <a:gd name="connsiteY25926" fmla="*/ 3155260 h 5973007"/>
              <a:gd name="connsiteX25927" fmla="*/ 545813 w 6884782"/>
              <a:gd name="connsiteY25927" fmla="*/ 3160836 h 5973007"/>
              <a:gd name="connsiteX25928" fmla="*/ 541476 w 6884782"/>
              <a:gd name="connsiteY25928" fmla="*/ 3161456 h 5973007"/>
              <a:gd name="connsiteX25929" fmla="*/ 539101 w 6884782"/>
              <a:gd name="connsiteY25929" fmla="*/ 3158977 h 5973007"/>
              <a:gd name="connsiteX25930" fmla="*/ 539307 w 6884782"/>
              <a:gd name="connsiteY25930" fmla="*/ 3154950 h 5973007"/>
              <a:gd name="connsiteX25931" fmla="*/ 539411 w 6884782"/>
              <a:gd name="connsiteY25931" fmla="*/ 3155724 h 5973007"/>
              <a:gd name="connsiteX25932" fmla="*/ 541166 w 6884782"/>
              <a:gd name="connsiteY25932" fmla="*/ 3155570 h 5973007"/>
              <a:gd name="connsiteX25933" fmla="*/ 541063 w 6884782"/>
              <a:gd name="connsiteY25933" fmla="*/ 3154640 h 5973007"/>
              <a:gd name="connsiteX25934" fmla="*/ 458045 w 6884782"/>
              <a:gd name="connsiteY25934" fmla="*/ 3152627 h 5973007"/>
              <a:gd name="connsiteX25935" fmla="*/ 483962 w 6884782"/>
              <a:gd name="connsiteY25935" fmla="*/ 3171524 h 5973007"/>
              <a:gd name="connsiteX25936" fmla="*/ 482000 w 6884782"/>
              <a:gd name="connsiteY25936" fmla="*/ 3172298 h 5973007"/>
              <a:gd name="connsiteX25937" fmla="*/ 482517 w 6884782"/>
              <a:gd name="connsiteY25937" fmla="*/ 3173228 h 5973007"/>
              <a:gd name="connsiteX25938" fmla="*/ 476837 w 6884782"/>
              <a:gd name="connsiteY25938" fmla="*/ 3178804 h 5973007"/>
              <a:gd name="connsiteX25939" fmla="*/ 473327 w 6884782"/>
              <a:gd name="connsiteY25939" fmla="*/ 3177875 h 5973007"/>
              <a:gd name="connsiteX25940" fmla="*/ 469816 w 6884782"/>
              <a:gd name="connsiteY25940" fmla="*/ 3182367 h 5973007"/>
              <a:gd name="connsiteX25941" fmla="*/ 465995 w 6884782"/>
              <a:gd name="connsiteY25941" fmla="*/ 3186394 h 5973007"/>
              <a:gd name="connsiteX25942" fmla="*/ 458561 w 6884782"/>
              <a:gd name="connsiteY25942" fmla="*/ 3188717 h 5973007"/>
              <a:gd name="connsiteX25943" fmla="*/ 449578 w 6884782"/>
              <a:gd name="connsiteY25943" fmla="*/ 3186859 h 5973007"/>
              <a:gd name="connsiteX25944" fmla="*/ 449268 w 6884782"/>
              <a:gd name="connsiteY25944" fmla="*/ 3186704 h 5973007"/>
              <a:gd name="connsiteX25945" fmla="*/ 448132 w 6884782"/>
              <a:gd name="connsiteY25945" fmla="*/ 3187788 h 5973007"/>
              <a:gd name="connsiteX25946" fmla="*/ 445138 w 6884782"/>
              <a:gd name="connsiteY25946" fmla="*/ 3189492 h 5973007"/>
              <a:gd name="connsiteX25947" fmla="*/ 446480 w 6884782"/>
              <a:gd name="connsiteY25947" fmla="*/ 3190886 h 5973007"/>
              <a:gd name="connsiteX25948" fmla="*/ 445654 w 6884782"/>
              <a:gd name="connsiteY25948" fmla="*/ 3211332 h 5973007"/>
              <a:gd name="connsiteX25949" fmla="*/ 438426 w 6884782"/>
              <a:gd name="connsiteY25949" fmla="*/ 3214121 h 5973007"/>
              <a:gd name="connsiteX25950" fmla="*/ 433573 w 6884782"/>
              <a:gd name="connsiteY25950" fmla="*/ 3212571 h 5973007"/>
              <a:gd name="connsiteX25951" fmla="*/ 432954 w 6884782"/>
              <a:gd name="connsiteY25951" fmla="*/ 3212881 h 5973007"/>
              <a:gd name="connsiteX25952" fmla="*/ 432850 w 6884782"/>
              <a:gd name="connsiteY25952" fmla="*/ 3212417 h 5973007"/>
              <a:gd name="connsiteX25953" fmla="*/ 432334 w 6884782"/>
              <a:gd name="connsiteY25953" fmla="*/ 3212262 h 5973007"/>
              <a:gd name="connsiteX25954" fmla="*/ 426965 w 6884782"/>
              <a:gd name="connsiteY25954" fmla="*/ 3199870 h 5973007"/>
              <a:gd name="connsiteX25955" fmla="*/ 427894 w 6884782"/>
              <a:gd name="connsiteY25955" fmla="*/ 3195378 h 5973007"/>
              <a:gd name="connsiteX25956" fmla="*/ 430062 w 6884782"/>
              <a:gd name="connsiteY25956" fmla="*/ 3191660 h 5973007"/>
              <a:gd name="connsiteX25957" fmla="*/ 429133 w 6884782"/>
              <a:gd name="connsiteY25957" fmla="*/ 3191196 h 5973007"/>
              <a:gd name="connsiteX25958" fmla="*/ 424384 w 6884782"/>
              <a:gd name="connsiteY25958" fmla="*/ 3188098 h 5973007"/>
              <a:gd name="connsiteX25959" fmla="*/ 432437 w 6884782"/>
              <a:gd name="connsiteY25959" fmla="*/ 3181747 h 5973007"/>
              <a:gd name="connsiteX25960" fmla="*/ 440285 w 6884782"/>
              <a:gd name="connsiteY25960" fmla="*/ 3176326 h 5973007"/>
              <a:gd name="connsiteX25961" fmla="*/ 439149 w 6884782"/>
              <a:gd name="connsiteY25961" fmla="*/ 3174312 h 5973007"/>
              <a:gd name="connsiteX25962" fmla="*/ 438220 w 6884782"/>
              <a:gd name="connsiteY25962" fmla="*/ 3166412 h 5973007"/>
              <a:gd name="connsiteX25963" fmla="*/ 448752 w 6884782"/>
              <a:gd name="connsiteY25963" fmla="*/ 3152781 h 5973007"/>
              <a:gd name="connsiteX25964" fmla="*/ 458045 w 6884782"/>
              <a:gd name="connsiteY25964" fmla="*/ 3152627 h 5973007"/>
              <a:gd name="connsiteX25965" fmla="*/ 295674 w 6884782"/>
              <a:gd name="connsiteY25965" fmla="*/ 3151407 h 5973007"/>
              <a:gd name="connsiteX25966" fmla="*/ 300373 w 6884782"/>
              <a:gd name="connsiteY25966" fmla="*/ 3153401 h 5973007"/>
              <a:gd name="connsiteX25967" fmla="*/ 299030 w 6884782"/>
              <a:gd name="connsiteY25967" fmla="*/ 3159442 h 5973007"/>
              <a:gd name="connsiteX25968" fmla="*/ 296449 w 6884782"/>
              <a:gd name="connsiteY25968" fmla="*/ 3160526 h 5973007"/>
              <a:gd name="connsiteX25969" fmla="*/ 291183 w 6884782"/>
              <a:gd name="connsiteY25969" fmla="*/ 3160526 h 5973007"/>
              <a:gd name="connsiteX25970" fmla="*/ 291286 w 6884782"/>
              <a:gd name="connsiteY25970" fmla="*/ 3161301 h 5973007"/>
              <a:gd name="connsiteX25971" fmla="*/ 290047 w 6884782"/>
              <a:gd name="connsiteY25971" fmla="*/ 3156499 h 5973007"/>
              <a:gd name="connsiteX25972" fmla="*/ 295674 w 6884782"/>
              <a:gd name="connsiteY25972" fmla="*/ 3151407 h 5973007"/>
              <a:gd name="connsiteX25973" fmla="*/ 509570 w 6884782"/>
              <a:gd name="connsiteY25973" fmla="*/ 3150458 h 5973007"/>
              <a:gd name="connsiteX25974" fmla="*/ 506782 w 6884782"/>
              <a:gd name="connsiteY25974" fmla="*/ 3155724 h 5973007"/>
              <a:gd name="connsiteX25975" fmla="*/ 502549 w 6884782"/>
              <a:gd name="connsiteY25975" fmla="*/ 3152472 h 5973007"/>
              <a:gd name="connsiteX25976" fmla="*/ 509570 w 6884782"/>
              <a:gd name="connsiteY25976" fmla="*/ 3150458 h 5973007"/>
              <a:gd name="connsiteX25977" fmla="*/ 6515974 w 6884782"/>
              <a:gd name="connsiteY25977" fmla="*/ 3143598 h 5973007"/>
              <a:gd name="connsiteX25978" fmla="*/ 6524958 w 6884782"/>
              <a:gd name="connsiteY25978" fmla="*/ 3151239 h 5973007"/>
              <a:gd name="connsiteX25979" fmla="*/ 6505906 w 6884782"/>
              <a:gd name="connsiteY25979" fmla="*/ 3161048 h 5973007"/>
              <a:gd name="connsiteX25980" fmla="*/ 6505441 w 6884782"/>
              <a:gd name="connsiteY25980" fmla="*/ 3149793 h 5973007"/>
              <a:gd name="connsiteX25981" fmla="*/ 6515974 w 6884782"/>
              <a:gd name="connsiteY25981" fmla="*/ 3143598 h 5973007"/>
              <a:gd name="connsiteX25982" fmla="*/ 184313 w 6884782"/>
              <a:gd name="connsiteY25982" fmla="*/ 3141939 h 5973007"/>
              <a:gd name="connsiteX25983" fmla="*/ 189062 w 6884782"/>
              <a:gd name="connsiteY25983" fmla="*/ 3142713 h 5973007"/>
              <a:gd name="connsiteX25984" fmla="*/ 189992 w 6884782"/>
              <a:gd name="connsiteY25984" fmla="*/ 3144572 h 5973007"/>
              <a:gd name="connsiteX25985" fmla="*/ 189579 w 6884782"/>
              <a:gd name="connsiteY25985" fmla="*/ 3145192 h 5973007"/>
              <a:gd name="connsiteX25986" fmla="*/ 187823 w 6884782"/>
              <a:gd name="connsiteY25986" fmla="*/ 3147980 h 5973007"/>
              <a:gd name="connsiteX25987" fmla="*/ 183177 w 6884782"/>
              <a:gd name="connsiteY25987" fmla="*/ 3146896 h 5973007"/>
              <a:gd name="connsiteX25988" fmla="*/ 183074 w 6884782"/>
              <a:gd name="connsiteY25988" fmla="*/ 3143642 h 5973007"/>
              <a:gd name="connsiteX25989" fmla="*/ 184313 w 6884782"/>
              <a:gd name="connsiteY25989" fmla="*/ 3141939 h 5973007"/>
              <a:gd name="connsiteX25990" fmla="*/ 319036 w 6884782"/>
              <a:gd name="connsiteY25990" fmla="*/ 3141261 h 5973007"/>
              <a:gd name="connsiteX25991" fmla="*/ 317410 w 6884782"/>
              <a:gd name="connsiteY25991" fmla="*/ 3147360 h 5973007"/>
              <a:gd name="connsiteX25992" fmla="*/ 312454 w 6884782"/>
              <a:gd name="connsiteY25992" fmla="*/ 3141784 h 5973007"/>
              <a:gd name="connsiteX25993" fmla="*/ 319036 w 6884782"/>
              <a:gd name="connsiteY25993" fmla="*/ 3141261 h 5973007"/>
              <a:gd name="connsiteX25994" fmla="*/ 253804 w 6884782"/>
              <a:gd name="connsiteY25994" fmla="*/ 3139615 h 5973007"/>
              <a:gd name="connsiteX25995" fmla="*/ 255353 w 6884782"/>
              <a:gd name="connsiteY25995" fmla="*/ 3141164 h 5973007"/>
              <a:gd name="connsiteX25996" fmla="*/ 248848 w 6884782"/>
              <a:gd name="connsiteY25996" fmla="*/ 3149684 h 5973007"/>
              <a:gd name="connsiteX25997" fmla="*/ 246473 w 6884782"/>
              <a:gd name="connsiteY25997" fmla="*/ 3149993 h 5973007"/>
              <a:gd name="connsiteX25998" fmla="*/ 244821 w 6884782"/>
              <a:gd name="connsiteY25998" fmla="*/ 3150923 h 5973007"/>
              <a:gd name="connsiteX25999" fmla="*/ 238935 w 6884782"/>
              <a:gd name="connsiteY25999" fmla="*/ 3150148 h 5973007"/>
              <a:gd name="connsiteX26000" fmla="*/ 251842 w 6884782"/>
              <a:gd name="connsiteY26000" fmla="*/ 3139925 h 5973007"/>
              <a:gd name="connsiteX26001" fmla="*/ 253804 w 6884782"/>
              <a:gd name="connsiteY26001" fmla="*/ 3139615 h 5973007"/>
              <a:gd name="connsiteX26002" fmla="*/ 6575623 w 6884782"/>
              <a:gd name="connsiteY26002" fmla="*/ 3134445 h 5973007"/>
              <a:gd name="connsiteX26003" fmla="*/ 6622543 w 6884782"/>
              <a:gd name="connsiteY26003" fmla="*/ 3165591 h 5973007"/>
              <a:gd name="connsiteX26004" fmla="*/ 6560119 w 6884782"/>
              <a:gd name="connsiteY26004" fmla="*/ 3139364 h 5973007"/>
              <a:gd name="connsiteX26005" fmla="*/ 6575623 w 6884782"/>
              <a:gd name="connsiteY26005" fmla="*/ 3134445 h 5973007"/>
              <a:gd name="connsiteX26006" fmla="*/ 330110 w 6884782"/>
              <a:gd name="connsiteY26006" fmla="*/ 3132645 h 5973007"/>
              <a:gd name="connsiteX26007" fmla="*/ 340023 w 6884782"/>
              <a:gd name="connsiteY26007" fmla="*/ 3142249 h 5973007"/>
              <a:gd name="connsiteX26008" fmla="*/ 329285 w 6884782"/>
              <a:gd name="connsiteY26008" fmla="*/ 3136827 h 5973007"/>
              <a:gd name="connsiteX26009" fmla="*/ 330110 w 6884782"/>
              <a:gd name="connsiteY26009" fmla="*/ 3132645 h 5973007"/>
              <a:gd name="connsiteX26010" fmla="*/ 397743 w 6884782"/>
              <a:gd name="connsiteY26010" fmla="*/ 3126759 h 5973007"/>
              <a:gd name="connsiteX26011" fmla="*/ 402390 w 6884782"/>
              <a:gd name="connsiteY26011" fmla="*/ 3128308 h 5973007"/>
              <a:gd name="connsiteX26012" fmla="*/ 398569 w 6884782"/>
              <a:gd name="connsiteY26012" fmla="*/ 3131096 h 5973007"/>
              <a:gd name="connsiteX26013" fmla="*/ 396504 w 6884782"/>
              <a:gd name="connsiteY26013" fmla="*/ 3128463 h 5973007"/>
              <a:gd name="connsiteX26014" fmla="*/ 397743 w 6884782"/>
              <a:gd name="connsiteY26014" fmla="*/ 3126759 h 5973007"/>
              <a:gd name="connsiteX26015" fmla="*/ 434477 w 6884782"/>
              <a:gd name="connsiteY26015" fmla="*/ 3126527 h 5973007"/>
              <a:gd name="connsiteX26016" fmla="*/ 443486 w 6884782"/>
              <a:gd name="connsiteY26016" fmla="*/ 3129082 h 5973007"/>
              <a:gd name="connsiteX26017" fmla="*/ 445035 w 6884782"/>
              <a:gd name="connsiteY26017" fmla="*/ 3130631 h 5973007"/>
              <a:gd name="connsiteX26018" fmla="*/ 448442 w 6884782"/>
              <a:gd name="connsiteY26018" fmla="*/ 3132180 h 5973007"/>
              <a:gd name="connsiteX26019" fmla="*/ 443692 w 6884782"/>
              <a:gd name="connsiteY26019" fmla="*/ 3142558 h 5973007"/>
              <a:gd name="connsiteX26020" fmla="*/ 428823 w 6884782"/>
              <a:gd name="connsiteY26020" fmla="*/ 3145811 h 5973007"/>
              <a:gd name="connsiteX26021" fmla="*/ 425416 w 6884782"/>
              <a:gd name="connsiteY26021" fmla="*/ 3136827 h 5973007"/>
              <a:gd name="connsiteX26022" fmla="*/ 427791 w 6884782"/>
              <a:gd name="connsiteY26022" fmla="*/ 3131406 h 5973007"/>
              <a:gd name="connsiteX26023" fmla="*/ 434477 w 6884782"/>
              <a:gd name="connsiteY26023" fmla="*/ 3126527 h 5973007"/>
              <a:gd name="connsiteX26024" fmla="*/ 369038 w 6884782"/>
              <a:gd name="connsiteY26024" fmla="*/ 3126139 h 5973007"/>
              <a:gd name="connsiteX26025" fmla="*/ 368625 w 6884782"/>
              <a:gd name="connsiteY26025" fmla="*/ 3137292 h 5973007"/>
              <a:gd name="connsiteX26026" fmla="*/ 364391 w 6884782"/>
              <a:gd name="connsiteY26026" fmla="*/ 3136363 h 5973007"/>
              <a:gd name="connsiteX26027" fmla="*/ 360571 w 6884782"/>
              <a:gd name="connsiteY26027" fmla="*/ 3129702 h 5973007"/>
              <a:gd name="connsiteX26028" fmla="*/ 364908 w 6884782"/>
              <a:gd name="connsiteY26028" fmla="*/ 3127378 h 5973007"/>
              <a:gd name="connsiteX26029" fmla="*/ 369038 w 6884782"/>
              <a:gd name="connsiteY26029" fmla="*/ 3126139 h 5973007"/>
              <a:gd name="connsiteX26030" fmla="*/ 295726 w 6884782"/>
              <a:gd name="connsiteY26030" fmla="*/ 3123661 h 5973007"/>
              <a:gd name="connsiteX26031" fmla="*/ 310079 w 6884782"/>
              <a:gd name="connsiteY26031" fmla="*/ 3127533 h 5973007"/>
              <a:gd name="connsiteX26032" fmla="*/ 307910 w 6884782"/>
              <a:gd name="connsiteY26032" fmla="*/ 3135433 h 5973007"/>
              <a:gd name="connsiteX26033" fmla="*/ 291802 w 6884782"/>
              <a:gd name="connsiteY26033" fmla="*/ 3125674 h 5973007"/>
              <a:gd name="connsiteX26034" fmla="*/ 295726 w 6884782"/>
              <a:gd name="connsiteY26034" fmla="*/ 3123661 h 5973007"/>
              <a:gd name="connsiteX26035" fmla="*/ 461814 w 6884782"/>
              <a:gd name="connsiteY26035" fmla="*/ 3123467 h 5973007"/>
              <a:gd name="connsiteX26036" fmla="*/ 470642 w 6884782"/>
              <a:gd name="connsiteY26036" fmla="*/ 3128773 h 5973007"/>
              <a:gd name="connsiteX26037" fmla="*/ 469713 w 6884782"/>
              <a:gd name="connsiteY26037" fmla="*/ 3131406 h 5973007"/>
              <a:gd name="connsiteX26038" fmla="*/ 470022 w 6884782"/>
              <a:gd name="connsiteY26038" fmla="*/ 3131871 h 5973007"/>
              <a:gd name="connsiteX26039" fmla="*/ 464756 w 6884782"/>
              <a:gd name="connsiteY26039" fmla="*/ 3138221 h 5973007"/>
              <a:gd name="connsiteX26040" fmla="*/ 460317 w 6884782"/>
              <a:gd name="connsiteY26040" fmla="*/ 3134504 h 5973007"/>
              <a:gd name="connsiteX26041" fmla="*/ 460729 w 6884782"/>
              <a:gd name="connsiteY26041" fmla="*/ 3133884 h 5973007"/>
              <a:gd name="connsiteX26042" fmla="*/ 459594 w 6884782"/>
              <a:gd name="connsiteY26042" fmla="*/ 3133419 h 5973007"/>
              <a:gd name="connsiteX26043" fmla="*/ 455154 w 6884782"/>
              <a:gd name="connsiteY26043" fmla="*/ 3128618 h 5973007"/>
              <a:gd name="connsiteX26044" fmla="*/ 461814 w 6884782"/>
              <a:gd name="connsiteY26044" fmla="*/ 3123467 h 5973007"/>
              <a:gd name="connsiteX26045" fmla="*/ 380913 w 6884782"/>
              <a:gd name="connsiteY26045" fmla="*/ 3122422 h 5973007"/>
              <a:gd name="connsiteX26046" fmla="*/ 386695 w 6884782"/>
              <a:gd name="connsiteY26046" fmla="*/ 3129857 h 5973007"/>
              <a:gd name="connsiteX26047" fmla="*/ 375853 w 6884782"/>
              <a:gd name="connsiteY26047" fmla="*/ 3124126 h 5973007"/>
              <a:gd name="connsiteX26048" fmla="*/ 380913 w 6884782"/>
              <a:gd name="connsiteY26048" fmla="*/ 3122422 h 5973007"/>
              <a:gd name="connsiteX26049" fmla="*/ 590213 w 6884782"/>
              <a:gd name="connsiteY26049" fmla="*/ 3121802 h 5973007"/>
              <a:gd name="connsiteX26050" fmla="*/ 594962 w 6884782"/>
              <a:gd name="connsiteY26050" fmla="*/ 3129082 h 5973007"/>
              <a:gd name="connsiteX26051" fmla="*/ 583398 w 6884782"/>
              <a:gd name="connsiteY26051" fmla="*/ 3130321 h 5973007"/>
              <a:gd name="connsiteX26052" fmla="*/ 583811 w 6884782"/>
              <a:gd name="connsiteY26052" fmla="*/ 3125985 h 5973007"/>
              <a:gd name="connsiteX26053" fmla="*/ 590213 w 6884782"/>
              <a:gd name="connsiteY26053" fmla="*/ 3121802 h 5973007"/>
              <a:gd name="connsiteX26054" fmla="*/ 99849 w 6884782"/>
              <a:gd name="connsiteY26054" fmla="*/ 3120253 h 5973007"/>
              <a:gd name="connsiteX26055" fmla="*/ 113582 w 6884782"/>
              <a:gd name="connsiteY26055" fmla="*/ 3136672 h 5973007"/>
              <a:gd name="connsiteX26056" fmla="*/ 109555 w 6884782"/>
              <a:gd name="connsiteY26056" fmla="*/ 3138376 h 5973007"/>
              <a:gd name="connsiteX26057" fmla="*/ 98713 w 6884782"/>
              <a:gd name="connsiteY26057" fmla="*/ 3125985 h 5973007"/>
              <a:gd name="connsiteX26058" fmla="*/ 99849 w 6884782"/>
              <a:gd name="connsiteY26058" fmla="*/ 3120253 h 5973007"/>
              <a:gd name="connsiteX26059" fmla="*/ 306362 w 6884782"/>
              <a:gd name="connsiteY26059" fmla="*/ 3118085 h 5973007"/>
              <a:gd name="connsiteX26060" fmla="*/ 317203 w 6884782"/>
              <a:gd name="connsiteY26060" fmla="*/ 3121647 h 5973007"/>
              <a:gd name="connsiteX26061" fmla="*/ 309975 w 6884782"/>
              <a:gd name="connsiteY26061" fmla="*/ 3125210 h 5973007"/>
              <a:gd name="connsiteX26062" fmla="*/ 302334 w 6884782"/>
              <a:gd name="connsiteY26062" fmla="*/ 3119943 h 5973007"/>
              <a:gd name="connsiteX26063" fmla="*/ 306362 w 6884782"/>
              <a:gd name="connsiteY26063" fmla="*/ 3118085 h 5973007"/>
              <a:gd name="connsiteX26064" fmla="*/ 453192 w 6884782"/>
              <a:gd name="connsiteY26064" fmla="*/ 3117930 h 5973007"/>
              <a:gd name="connsiteX26065" fmla="*/ 448339 w 6884782"/>
              <a:gd name="connsiteY26065" fmla="*/ 3124900 h 5973007"/>
              <a:gd name="connsiteX26066" fmla="*/ 453192 w 6884782"/>
              <a:gd name="connsiteY26066" fmla="*/ 3117930 h 5973007"/>
              <a:gd name="connsiteX26067" fmla="*/ 6787972 w 6884782"/>
              <a:gd name="connsiteY26067" fmla="*/ 3116132 h 5973007"/>
              <a:gd name="connsiteX26068" fmla="*/ 6759316 w 6884782"/>
              <a:gd name="connsiteY26068" fmla="*/ 3162081 h 5973007"/>
              <a:gd name="connsiteX26069" fmla="*/ 6787972 w 6884782"/>
              <a:gd name="connsiteY26069" fmla="*/ 3116132 h 5973007"/>
              <a:gd name="connsiteX26070" fmla="*/ 200317 w 6884782"/>
              <a:gd name="connsiteY26070" fmla="*/ 3112044 h 5973007"/>
              <a:gd name="connsiteX26071" fmla="*/ 219833 w 6884782"/>
              <a:gd name="connsiteY26071" fmla="*/ 3126759 h 5973007"/>
              <a:gd name="connsiteX26072" fmla="*/ 201040 w 6884782"/>
              <a:gd name="connsiteY26072" fmla="*/ 3117310 h 5973007"/>
              <a:gd name="connsiteX26073" fmla="*/ 199904 w 6884782"/>
              <a:gd name="connsiteY26073" fmla="*/ 3113593 h 5973007"/>
              <a:gd name="connsiteX26074" fmla="*/ 200317 w 6884782"/>
              <a:gd name="connsiteY26074" fmla="*/ 3112044 h 5973007"/>
              <a:gd name="connsiteX26075" fmla="*/ 70421 w 6884782"/>
              <a:gd name="connsiteY26075" fmla="*/ 3112044 h 5973007"/>
              <a:gd name="connsiteX26076" fmla="*/ 71970 w 6884782"/>
              <a:gd name="connsiteY26076" fmla="*/ 3119014 h 5973007"/>
              <a:gd name="connsiteX26077" fmla="*/ 66807 w 6884782"/>
              <a:gd name="connsiteY26077" fmla="*/ 3117620 h 5973007"/>
              <a:gd name="connsiteX26078" fmla="*/ 65258 w 6884782"/>
              <a:gd name="connsiteY26078" fmla="*/ 3114987 h 5973007"/>
              <a:gd name="connsiteX26079" fmla="*/ 66910 w 6884782"/>
              <a:gd name="connsiteY26079" fmla="*/ 3112508 h 5973007"/>
              <a:gd name="connsiteX26080" fmla="*/ 70421 w 6884782"/>
              <a:gd name="connsiteY26080" fmla="*/ 3112044 h 5973007"/>
              <a:gd name="connsiteX26081" fmla="*/ 420047 w 6884782"/>
              <a:gd name="connsiteY26081" fmla="*/ 3110030 h 5973007"/>
              <a:gd name="connsiteX26082" fmla="*/ 428307 w 6884782"/>
              <a:gd name="connsiteY26082" fmla="*/ 3116381 h 5973007"/>
              <a:gd name="connsiteX26083" fmla="*/ 427068 w 6884782"/>
              <a:gd name="connsiteY26083" fmla="*/ 3117465 h 5973007"/>
              <a:gd name="connsiteX26084" fmla="*/ 428823 w 6884782"/>
              <a:gd name="connsiteY26084" fmla="*/ 3118085 h 5973007"/>
              <a:gd name="connsiteX26085" fmla="*/ 431095 w 6884782"/>
              <a:gd name="connsiteY26085" fmla="*/ 3119634 h 5973007"/>
              <a:gd name="connsiteX26086" fmla="*/ 430372 w 6884782"/>
              <a:gd name="connsiteY26086" fmla="*/ 3122577 h 5973007"/>
              <a:gd name="connsiteX26087" fmla="*/ 429133 w 6884782"/>
              <a:gd name="connsiteY26087" fmla="*/ 3125520 h 5973007"/>
              <a:gd name="connsiteX26088" fmla="*/ 429443 w 6884782"/>
              <a:gd name="connsiteY26088" fmla="*/ 3126294 h 5973007"/>
              <a:gd name="connsiteX26089" fmla="*/ 414987 w 6884782"/>
              <a:gd name="connsiteY26089" fmla="*/ 3126759 h 5973007"/>
              <a:gd name="connsiteX26090" fmla="*/ 417362 w 6884782"/>
              <a:gd name="connsiteY26090" fmla="*/ 3118240 h 5973007"/>
              <a:gd name="connsiteX26091" fmla="*/ 418291 w 6884782"/>
              <a:gd name="connsiteY26091" fmla="*/ 3117465 h 5973007"/>
              <a:gd name="connsiteX26092" fmla="*/ 417568 w 6884782"/>
              <a:gd name="connsiteY26092" fmla="*/ 3116226 h 5973007"/>
              <a:gd name="connsiteX26093" fmla="*/ 420047 w 6884782"/>
              <a:gd name="connsiteY26093" fmla="*/ 3110030 h 5973007"/>
              <a:gd name="connsiteX26094" fmla="*/ 219626 w 6884782"/>
              <a:gd name="connsiteY26094" fmla="*/ 3109256 h 5973007"/>
              <a:gd name="connsiteX26095" fmla="*/ 224583 w 6884782"/>
              <a:gd name="connsiteY26095" fmla="*/ 3110030 h 5973007"/>
              <a:gd name="connsiteX26096" fmla="*/ 223344 w 6884782"/>
              <a:gd name="connsiteY26096" fmla="*/ 3113283 h 5973007"/>
              <a:gd name="connsiteX26097" fmla="*/ 219626 w 6884782"/>
              <a:gd name="connsiteY26097" fmla="*/ 3109256 h 5973007"/>
              <a:gd name="connsiteX26098" fmla="*/ 6751416 w 6884782"/>
              <a:gd name="connsiteY26098" fmla="*/ 3109110 h 5973007"/>
              <a:gd name="connsiteX26099" fmla="*/ 6743671 w 6884782"/>
              <a:gd name="connsiteY26099" fmla="*/ 3136783 h 5973007"/>
              <a:gd name="connsiteX26100" fmla="*/ 6739025 w 6884782"/>
              <a:gd name="connsiteY26100" fmla="*/ 3121707 h 5973007"/>
              <a:gd name="connsiteX26101" fmla="*/ 6751416 w 6884782"/>
              <a:gd name="connsiteY26101" fmla="*/ 3109110 h 5973007"/>
              <a:gd name="connsiteX26102" fmla="*/ 406520 w 6884782"/>
              <a:gd name="connsiteY26102" fmla="*/ 3108171 h 5973007"/>
              <a:gd name="connsiteX26103" fmla="*/ 414161 w 6884782"/>
              <a:gd name="connsiteY26103" fmla="*/ 3112818 h 5973007"/>
              <a:gd name="connsiteX26104" fmla="*/ 404042 w 6884782"/>
              <a:gd name="connsiteY26104" fmla="*/ 3112508 h 5973007"/>
              <a:gd name="connsiteX26105" fmla="*/ 406520 w 6884782"/>
              <a:gd name="connsiteY26105" fmla="*/ 3108171 h 5973007"/>
              <a:gd name="connsiteX26106" fmla="*/ 257934 w 6884782"/>
              <a:gd name="connsiteY26106" fmla="*/ 3107552 h 5973007"/>
              <a:gd name="connsiteX26107" fmla="*/ 280444 w 6884782"/>
              <a:gd name="connsiteY26107" fmla="*/ 3115452 h 5973007"/>
              <a:gd name="connsiteX26108" fmla="*/ 257934 w 6884782"/>
              <a:gd name="connsiteY26108" fmla="*/ 3107552 h 5973007"/>
              <a:gd name="connsiteX26109" fmla="*/ 346838 w 6884782"/>
              <a:gd name="connsiteY26109" fmla="*/ 3106932 h 5973007"/>
              <a:gd name="connsiteX26110" fmla="*/ 351897 w 6884782"/>
              <a:gd name="connsiteY26110" fmla="*/ 3107397 h 5973007"/>
              <a:gd name="connsiteX26111" fmla="*/ 355202 w 6884782"/>
              <a:gd name="connsiteY26111" fmla="*/ 3107087 h 5973007"/>
              <a:gd name="connsiteX26112" fmla="*/ 357267 w 6884782"/>
              <a:gd name="connsiteY26112" fmla="*/ 3108946 h 5973007"/>
              <a:gd name="connsiteX26113" fmla="*/ 350865 w 6884782"/>
              <a:gd name="connsiteY26113" fmla="*/ 3112353 h 5973007"/>
              <a:gd name="connsiteX26114" fmla="*/ 344773 w 6884782"/>
              <a:gd name="connsiteY26114" fmla="*/ 3110340 h 5973007"/>
              <a:gd name="connsiteX26115" fmla="*/ 346838 w 6884782"/>
              <a:gd name="connsiteY26115" fmla="*/ 3106932 h 5973007"/>
              <a:gd name="connsiteX26116" fmla="*/ 296204 w 6884782"/>
              <a:gd name="connsiteY26116" fmla="*/ 3105538 h 5973007"/>
              <a:gd name="connsiteX26117" fmla="*/ 310595 w 6884782"/>
              <a:gd name="connsiteY26117" fmla="*/ 3108017 h 5973007"/>
              <a:gd name="connsiteX26118" fmla="*/ 283129 w 6884782"/>
              <a:gd name="connsiteY26118" fmla="*/ 3115141 h 5973007"/>
              <a:gd name="connsiteX26119" fmla="*/ 296204 w 6884782"/>
              <a:gd name="connsiteY26119" fmla="*/ 3105538 h 5973007"/>
              <a:gd name="connsiteX26120" fmla="*/ 297894 w 6884782"/>
              <a:gd name="connsiteY26120" fmla="*/ 3103370 h 5973007"/>
              <a:gd name="connsiteX26121" fmla="*/ 295416 w 6884782"/>
              <a:gd name="connsiteY26121" fmla="*/ 3103834 h 5973007"/>
              <a:gd name="connsiteX26122" fmla="*/ 294487 w 6884782"/>
              <a:gd name="connsiteY26122" fmla="*/ 3105228 h 5973007"/>
              <a:gd name="connsiteX26123" fmla="*/ 291802 w 6884782"/>
              <a:gd name="connsiteY26123" fmla="*/ 3104454 h 5973007"/>
              <a:gd name="connsiteX26124" fmla="*/ 297894 w 6884782"/>
              <a:gd name="connsiteY26124" fmla="*/ 3103370 h 5973007"/>
              <a:gd name="connsiteX26125" fmla="*/ 6837694 w 6884782"/>
              <a:gd name="connsiteY26125" fmla="*/ 3102502 h 5973007"/>
              <a:gd name="connsiteX26126" fmla="*/ 6855042 w 6884782"/>
              <a:gd name="connsiteY26126" fmla="*/ 3115512 h 5973007"/>
              <a:gd name="connsiteX26127" fmla="*/ 6846213 w 6884782"/>
              <a:gd name="connsiteY26127" fmla="*/ 3118300 h 5973007"/>
              <a:gd name="connsiteX26128" fmla="*/ 6841721 w 6884782"/>
              <a:gd name="connsiteY26128" fmla="*/ 3116441 h 5973007"/>
              <a:gd name="connsiteX26129" fmla="*/ 6844354 w 6884782"/>
              <a:gd name="connsiteY26129" fmla="*/ 3120365 h 5973007"/>
              <a:gd name="connsiteX26130" fmla="*/ 6824527 w 6884782"/>
              <a:gd name="connsiteY26130" fmla="*/ 3133582 h 5973007"/>
              <a:gd name="connsiteX26131" fmla="*/ 6820345 w 6884782"/>
              <a:gd name="connsiteY26131" fmla="*/ 3122327 h 5973007"/>
              <a:gd name="connsiteX26132" fmla="*/ 6831652 w 6884782"/>
              <a:gd name="connsiteY26132" fmla="*/ 3112001 h 5973007"/>
              <a:gd name="connsiteX26133" fmla="*/ 6838623 w 6884782"/>
              <a:gd name="connsiteY26133" fmla="*/ 3112931 h 5973007"/>
              <a:gd name="connsiteX26134" fmla="*/ 6837848 w 6884782"/>
              <a:gd name="connsiteY26134" fmla="*/ 3112104 h 5973007"/>
              <a:gd name="connsiteX26135" fmla="*/ 6837694 w 6884782"/>
              <a:gd name="connsiteY26135" fmla="*/ 3102502 h 5973007"/>
              <a:gd name="connsiteX26136" fmla="*/ 337855 w 6884782"/>
              <a:gd name="connsiteY26136" fmla="*/ 3100736 h 5973007"/>
              <a:gd name="connsiteX26137" fmla="*/ 343637 w 6884782"/>
              <a:gd name="connsiteY26137" fmla="*/ 3108791 h 5973007"/>
              <a:gd name="connsiteX26138" fmla="*/ 340746 w 6884782"/>
              <a:gd name="connsiteY26138" fmla="*/ 3111269 h 5973007"/>
              <a:gd name="connsiteX26139" fmla="*/ 333518 w 6884782"/>
              <a:gd name="connsiteY26139" fmla="*/ 3104454 h 5973007"/>
              <a:gd name="connsiteX26140" fmla="*/ 337855 w 6884782"/>
              <a:gd name="connsiteY26140" fmla="*/ 3100736 h 5973007"/>
              <a:gd name="connsiteX26141" fmla="*/ 434916 w 6884782"/>
              <a:gd name="connsiteY26141" fmla="*/ 3100427 h 5973007"/>
              <a:gd name="connsiteX26142" fmla="*/ 440388 w 6884782"/>
              <a:gd name="connsiteY26142" fmla="*/ 3108017 h 5973007"/>
              <a:gd name="connsiteX26143" fmla="*/ 433883 w 6884782"/>
              <a:gd name="connsiteY26143" fmla="*/ 3102440 h 5973007"/>
              <a:gd name="connsiteX26144" fmla="*/ 434916 w 6884782"/>
              <a:gd name="connsiteY26144" fmla="*/ 3100427 h 5973007"/>
              <a:gd name="connsiteX26145" fmla="*/ 305535 w 6884782"/>
              <a:gd name="connsiteY26145" fmla="*/ 3097793 h 5973007"/>
              <a:gd name="connsiteX26146" fmla="*/ 307497 w 6884782"/>
              <a:gd name="connsiteY26146" fmla="*/ 3098103 h 5973007"/>
              <a:gd name="connsiteX26147" fmla="*/ 306981 w 6884782"/>
              <a:gd name="connsiteY26147" fmla="*/ 3100581 h 5973007"/>
              <a:gd name="connsiteX26148" fmla="*/ 303780 w 6884782"/>
              <a:gd name="connsiteY26148" fmla="*/ 3100581 h 5973007"/>
              <a:gd name="connsiteX26149" fmla="*/ 301405 w 6884782"/>
              <a:gd name="connsiteY26149" fmla="*/ 3102750 h 5973007"/>
              <a:gd name="connsiteX26150" fmla="*/ 298204 w 6884782"/>
              <a:gd name="connsiteY26150" fmla="*/ 3102750 h 5973007"/>
              <a:gd name="connsiteX26151" fmla="*/ 298101 w 6884782"/>
              <a:gd name="connsiteY26151" fmla="*/ 3101666 h 5973007"/>
              <a:gd name="connsiteX26152" fmla="*/ 298618 w 6884782"/>
              <a:gd name="connsiteY26152" fmla="*/ 3101975 h 5973007"/>
              <a:gd name="connsiteX26153" fmla="*/ 301096 w 6884782"/>
              <a:gd name="connsiteY26153" fmla="*/ 3101666 h 5973007"/>
              <a:gd name="connsiteX26154" fmla="*/ 305535 w 6884782"/>
              <a:gd name="connsiteY26154" fmla="*/ 3097793 h 5973007"/>
              <a:gd name="connsiteX26155" fmla="*/ 477870 w 6884782"/>
              <a:gd name="connsiteY26155" fmla="*/ 3096554 h 5973007"/>
              <a:gd name="connsiteX26156" fmla="*/ 486647 w 6884782"/>
              <a:gd name="connsiteY26156" fmla="*/ 3105383 h 5973007"/>
              <a:gd name="connsiteX26157" fmla="*/ 486647 w 6884782"/>
              <a:gd name="connsiteY26157" fmla="*/ 3106003 h 5973007"/>
              <a:gd name="connsiteX26158" fmla="*/ 488918 w 6884782"/>
              <a:gd name="connsiteY26158" fmla="*/ 3106003 h 5973007"/>
              <a:gd name="connsiteX26159" fmla="*/ 481174 w 6884782"/>
              <a:gd name="connsiteY26159" fmla="*/ 3125985 h 5973007"/>
              <a:gd name="connsiteX26160" fmla="*/ 473740 w 6884782"/>
              <a:gd name="connsiteY26160" fmla="*/ 3122112 h 5973007"/>
              <a:gd name="connsiteX26161" fmla="*/ 470849 w 6884782"/>
              <a:gd name="connsiteY26161" fmla="*/ 3116381 h 5973007"/>
              <a:gd name="connsiteX26162" fmla="*/ 470952 w 6884782"/>
              <a:gd name="connsiteY26162" fmla="*/ 3108017 h 5973007"/>
              <a:gd name="connsiteX26163" fmla="*/ 478593 w 6884782"/>
              <a:gd name="connsiteY26163" fmla="*/ 3106313 h 5973007"/>
              <a:gd name="connsiteX26164" fmla="*/ 475082 w 6884782"/>
              <a:gd name="connsiteY26164" fmla="*/ 3101356 h 5973007"/>
              <a:gd name="connsiteX26165" fmla="*/ 477870 w 6884782"/>
              <a:gd name="connsiteY26165" fmla="*/ 3096554 h 5973007"/>
              <a:gd name="connsiteX26166" fmla="*/ 6458411 w 6884782"/>
              <a:gd name="connsiteY26166" fmla="*/ 3091208 h 5973007"/>
              <a:gd name="connsiteX26167" fmla="*/ 6471829 w 6884782"/>
              <a:gd name="connsiteY26167" fmla="*/ 3096410 h 5973007"/>
              <a:gd name="connsiteX26168" fmla="*/ 6458508 w 6884782"/>
              <a:gd name="connsiteY26168" fmla="*/ 3114583 h 5973007"/>
              <a:gd name="connsiteX26169" fmla="*/ 6449214 w 6884782"/>
              <a:gd name="connsiteY26169" fmla="*/ 3112621 h 5973007"/>
              <a:gd name="connsiteX26170" fmla="*/ 6446735 w 6884782"/>
              <a:gd name="connsiteY26170" fmla="*/ 3093209 h 5973007"/>
              <a:gd name="connsiteX26171" fmla="*/ 6458411 w 6884782"/>
              <a:gd name="connsiteY26171" fmla="*/ 3091208 h 5973007"/>
              <a:gd name="connsiteX26172" fmla="*/ 6645971 w 6884782"/>
              <a:gd name="connsiteY26172" fmla="*/ 3091079 h 5973007"/>
              <a:gd name="connsiteX26173" fmla="*/ 6656465 w 6884782"/>
              <a:gd name="connsiteY26173" fmla="*/ 3099198 h 5973007"/>
              <a:gd name="connsiteX26174" fmla="*/ 6658324 w 6884782"/>
              <a:gd name="connsiteY26174" fmla="*/ 3107974 h 5973007"/>
              <a:gd name="connsiteX26175" fmla="*/ 6651663 w 6884782"/>
              <a:gd name="connsiteY26175" fmla="*/ 3121914 h 5973007"/>
              <a:gd name="connsiteX26176" fmla="*/ 6647481 w 6884782"/>
              <a:gd name="connsiteY26176" fmla="*/ 3123360 h 5973007"/>
              <a:gd name="connsiteX26177" fmla="*/ 6642834 w 6884782"/>
              <a:gd name="connsiteY26177" fmla="*/ 3123256 h 5973007"/>
              <a:gd name="connsiteX26178" fmla="*/ 6620993 w 6884782"/>
              <a:gd name="connsiteY26178" fmla="*/ 3105806 h 5973007"/>
              <a:gd name="connsiteX26179" fmla="*/ 6631062 w 6884782"/>
              <a:gd name="connsiteY26179" fmla="*/ 3091866 h 5973007"/>
              <a:gd name="connsiteX26180" fmla="*/ 6645971 w 6884782"/>
              <a:gd name="connsiteY26180" fmla="*/ 3091079 h 5973007"/>
              <a:gd name="connsiteX26181" fmla="*/ 600642 w 6884782"/>
              <a:gd name="connsiteY26181" fmla="*/ 3089429 h 5973007"/>
              <a:gd name="connsiteX26182" fmla="*/ 604153 w 6884782"/>
              <a:gd name="connsiteY26182" fmla="*/ 3090668 h 5973007"/>
              <a:gd name="connsiteX26183" fmla="*/ 604049 w 6884782"/>
              <a:gd name="connsiteY26183" fmla="*/ 3092682 h 5973007"/>
              <a:gd name="connsiteX26184" fmla="*/ 602707 w 6884782"/>
              <a:gd name="connsiteY26184" fmla="*/ 3094696 h 5973007"/>
              <a:gd name="connsiteX26185" fmla="*/ 598370 w 6884782"/>
              <a:gd name="connsiteY26185" fmla="*/ 3092992 h 5973007"/>
              <a:gd name="connsiteX26186" fmla="*/ 598473 w 6884782"/>
              <a:gd name="connsiteY26186" fmla="*/ 3090978 h 5973007"/>
              <a:gd name="connsiteX26187" fmla="*/ 600642 w 6884782"/>
              <a:gd name="connsiteY26187" fmla="*/ 3089429 h 5973007"/>
              <a:gd name="connsiteX26188" fmla="*/ 366870 w 6884782"/>
              <a:gd name="connsiteY26188" fmla="*/ 3089119 h 5973007"/>
              <a:gd name="connsiteX26189" fmla="*/ 368831 w 6884782"/>
              <a:gd name="connsiteY26189" fmla="*/ 3089429 h 5973007"/>
              <a:gd name="connsiteX26190" fmla="*/ 369038 w 6884782"/>
              <a:gd name="connsiteY26190" fmla="*/ 3092372 h 5973007"/>
              <a:gd name="connsiteX26191" fmla="*/ 371000 w 6884782"/>
              <a:gd name="connsiteY26191" fmla="*/ 3092682 h 5973007"/>
              <a:gd name="connsiteX26192" fmla="*/ 371310 w 6884782"/>
              <a:gd name="connsiteY26192" fmla="*/ 3093921 h 5973007"/>
              <a:gd name="connsiteX26193" fmla="*/ 369245 w 6884782"/>
              <a:gd name="connsiteY26193" fmla="*/ 3095315 h 5973007"/>
              <a:gd name="connsiteX26194" fmla="*/ 368005 w 6884782"/>
              <a:gd name="connsiteY26194" fmla="*/ 3090823 h 5973007"/>
              <a:gd name="connsiteX26195" fmla="*/ 366870 w 6884782"/>
              <a:gd name="connsiteY26195" fmla="*/ 3089119 h 5973007"/>
              <a:gd name="connsiteX26196" fmla="*/ 364495 w 6884782"/>
              <a:gd name="connsiteY26196" fmla="*/ 3087725 h 5973007"/>
              <a:gd name="connsiteX26197" fmla="*/ 362223 w 6884782"/>
              <a:gd name="connsiteY26197" fmla="*/ 3092837 h 5973007"/>
              <a:gd name="connsiteX26198" fmla="*/ 356131 w 6884782"/>
              <a:gd name="connsiteY26198" fmla="*/ 3097484 h 5973007"/>
              <a:gd name="connsiteX26199" fmla="*/ 355718 w 6884782"/>
              <a:gd name="connsiteY26199" fmla="*/ 3096244 h 5973007"/>
              <a:gd name="connsiteX26200" fmla="*/ 364495 w 6884782"/>
              <a:gd name="connsiteY26200" fmla="*/ 3087725 h 5973007"/>
              <a:gd name="connsiteX26201" fmla="*/ 261548 w 6884782"/>
              <a:gd name="connsiteY26201" fmla="*/ 3087260 h 5973007"/>
              <a:gd name="connsiteX26202" fmla="*/ 263613 w 6884782"/>
              <a:gd name="connsiteY26202" fmla="*/ 3093766 h 5973007"/>
              <a:gd name="connsiteX26203" fmla="*/ 258451 w 6884782"/>
              <a:gd name="connsiteY26203" fmla="*/ 3093611 h 5973007"/>
              <a:gd name="connsiteX26204" fmla="*/ 256695 w 6884782"/>
              <a:gd name="connsiteY26204" fmla="*/ 3091442 h 5973007"/>
              <a:gd name="connsiteX26205" fmla="*/ 258141 w 6884782"/>
              <a:gd name="connsiteY26205" fmla="*/ 3088654 h 5973007"/>
              <a:gd name="connsiteX26206" fmla="*/ 261548 w 6884782"/>
              <a:gd name="connsiteY26206" fmla="*/ 3087260 h 5973007"/>
              <a:gd name="connsiteX26207" fmla="*/ 6422572 w 6884782"/>
              <a:gd name="connsiteY26207" fmla="*/ 3085464 h 5973007"/>
              <a:gd name="connsiteX26208" fmla="*/ 6433569 w 6884782"/>
              <a:gd name="connsiteY26208" fmla="*/ 3102812 h 5973007"/>
              <a:gd name="connsiteX26209" fmla="*/ 6420248 w 6884782"/>
              <a:gd name="connsiteY26209" fmla="*/ 3108284 h 5973007"/>
              <a:gd name="connsiteX26210" fmla="*/ 6416686 w 6884782"/>
              <a:gd name="connsiteY26210" fmla="*/ 3108078 h 5973007"/>
              <a:gd name="connsiteX26211" fmla="*/ 6414827 w 6884782"/>
              <a:gd name="connsiteY26211" fmla="*/ 3095893 h 5973007"/>
              <a:gd name="connsiteX26212" fmla="*/ 6422572 w 6884782"/>
              <a:gd name="connsiteY26212" fmla="*/ 3085464 h 5973007"/>
              <a:gd name="connsiteX26213" fmla="*/ 121739 w 6884782"/>
              <a:gd name="connsiteY26213" fmla="*/ 3085092 h 5973007"/>
              <a:gd name="connsiteX26214" fmla="*/ 125457 w 6884782"/>
              <a:gd name="connsiteY26214" fmla="*/ 3086641 h 5973007"/>
              <a:gd name="connsiteX26215" fmla="*/ 126283 w 6884782"/>
              <a:gd name="connsiteY26215" fmla="*/ 3088345 h 5973007"/>
              <a:gd name="connsiteX26216" fmla="*/ 124630 w 6884782"/>
              <a:gd name="connsiteY26216" fmla="*/ 3089739 h 5973007"/>
              <a:gd name="connsiteX26217" fmla="*/ 119468 w 6884782"/>
              <a:gd name="connsiteY26217" fmla="*/ 3089274 h 5973007"/>
              <a:gd name="connsiteX26218" fmla="*/ 118538 w 6884782"/>
              <a:gd name="connsiteY26218" fmla="*/ 3087570 h 5973007"/>
              <a:gd name="connsiteX26219" fmla="*/ 121739 w 6884782"/>
              <a:gd name="connsiteY26219" fmla="*/ 3085092 h 5973007"/>
              <a:gd name="connsiteX26220" fmla="*/ 449475 w 6884782"/>
              <a:gd name="connsiteY26220" fmla="*/ 3083543 h 5973007"/>
              <a:gd name="connsiteX26221" fmla="*/ 447822 w 6884782"/>
              <a:gd name="connsiteY26221" fmla="*/ 3089429 h 5973007"/>
              <a:gd name="connsiteX26222" fmla="*/ 447822 w 6884782"/>
              <a:gd name="connsiteY26222" fmla="*/ 3085866 h 5973007"/>
              <a:gd name="connsiteX26223" fmla="*/ 449475 w 6884782"/>
              <a:gd name="connsiteY26223" fmla="*/ 3083543 h 5973007"/>
              <a:gd name="connsiteX26224" fmla="*/ 379363 w 6884782"/>
              <a:gd name="connsiteY26224" fmla="*/ 3082768 h 5973007"/>
              <a:gd name="connsiteX26225" fmla="*/ 385662 w 6884782"/>
              <a:gd name="connsiteY26225" fmla="*/ 3083078 h 5973007"/>
              <a:gd name="connsiteX26226" fmla="*/ 375233 w 6884782"/>
              <a:gd name="connsiteY26226" fmla="*/ 3094385 h 5973007"/>
              <a:gd name="connsiteX26227" fmla="*/ 373581 w 6884782"/>
              <a:gd name="connsiteY26227" fmla="*/ 3095315 h 5973007"/>
              <a:gd name="connsiteX26228" fmla="*/ 371310 w 6884782"/>
              <a:gd name="connsiteY26228" fmla="*/ 3093921 h 5973007"/>
              <a:gd name="connsiteX26229" fmla="*/ 377815 w 6884782"/>
              <a:gd name="connsiteY26229" fmla="*/ 3083698 h 5973007"/>
              <a:gd name="connsiteX26230" fmla="*/ 379363 w 6884782"/>
              <a:gd name="connsiteY26230" fmla="*/ 3082768 h 5973007"/>
              <a:gd name="connsiteX26231" fmla="*/ 228300 w 6884782"/>
              <a:gd name="connsiteY26231" fmla="*/ 3082304 h 5973007"/>
              <a:gd name="connsiteX26232" fmla="*/ 234702 w 6884782"/>
              <a:gd name="connsiteY26232" fmla="*/ 3087880 h 5973007"/>
              <a:gd name="connsiteX26233" fmla="*/ 228093 w 6884782"/>
              <a:gd name="connsiteY26233" fmla="*/ 3084937 h 5973007"/>
              <a:gd name="connsiteX26234" fmla="*/ 228300 w 6884782"/>
              <a:gd name="connsiteY26234" fmla="*/ 3082304 h 5973007"/>
              <a:gd name="connsiteX26235" fmla="*/ 181938 w 6884782"/>
              <a:gd name="connsiteY26235" fmla="*/ 3079361 h 5973007"/>
              <a:gd name="connsiteX26236" fmla="*/ 203105 w 6884782"/>
              <a:gd name="connsiteY26236" fmla="*/ 3089119 h 5973007"/>
              <a:gd name="connsiteX26237" fmla="*/ 175536 w 6884782"/>
              <a:gd name="connsiteY26237" fmla="*/ 3082149 h 5973007"/>
              <a:gd name="connsiteX26238" fmla="*/ 181938 w 6884782"/>
              <a:gd name="connsiteY26238" fmla="*/ 3079361 h 5973007"/>
              <a:gd name="connsiteX26239" fmla="*/ 120397 w 6884782"/>
              <a:gd name="connsiteY26239" fmla="*/ 3075953 h 5973007"/>
              <a:gd name="connsiteX26240" fmla="*/ 122875 w 6884782"/>
              <a:gd name="connsiteY26240" fmla="*/ 3078741 h 5973007"/>
              <a:gd name="connsiteX26241" fmla="*/ 119468 w 6884782"/>
              <a:gd name="connsiteY26241" fmla="*/ 3079206 h 5973007"/>
              <a:gd name="connsiteX26242" fmla="*/ 118951 w 6884782"/>
              <a:gd name="connsiteY26242" fmla="*/ 3077812 h 5973007"/>
              <a:gd name="connsiteX26243" fmla="*/ 120397 w 6884782"/>
              <a:gd name="connsiteY26243" fmla="*/ 3075953 h 5973007"/>
              <a:gd name="connsiteX26244" fmla="*/ 6399647 w 6884782"/>
              <a:gd name="connsiteY26244" fmla="*/ 3075139 h 5973007"/>
              <a:gd name="connsiteX26245" fmla="*/ 6401351 w 6884782"/>
              <a:gd name="connsiteY26245" fmla="*/ 3094654 h 5973007"/>
              <a:gd name="connsiteX26246" fmla="*/ 6399647 w 6884782"/>
              <a:gd name="connsiteY26246" fmla="*/ 3075139 h 5973007"/>
              <a:gd name="connsiteX26247" fmla="*/ 360158 w 6884782"/>
              <a:gd name="connsiteY26247" fmla="*/ 3074249 h 5973007"/>
              <a:gd name="connsiteX26248" fmla="*/ 362326 w 6884782"/>
              <a:gd name="connsiteY26248" fmla="*/ 3074714 h 5973007"/>
              <a:gd name="connsiteX26249" fmla="*/ 364288 w 6884782"/>
              <a:gd name="connsiteY26249" fmla="*/ 3077966 h 5973007"/>
              <a:gd name="connsiteX26250" fmla="*/ 366560 w 6884782"/>
              <a:gd name="connsiteY26250" fmla="*/ 3086176 h 5973007"/>
              <a:gd name="connsiteX26251" fmla="*/ 367695 w 6884782"/>
              <a:gd name="connsiteY26251" fmla="*/ 3087880 h 5973007"/>
              <a:gd name="connsiteX26252" fmla="*/ 359745 w 6884782"/>
              <a:gd name="connsiteY26252" fmla="*/ 3075024 h 5973007"/>
              <a:gd name="connsiteX26253" fmla="*/ 360158 w 6884782"/>
              <a:gd name="connsiteY26253" fmla="*/ 3074249 h 5973007"/>
              <a:gd name="connsiteX26254" fmla="*/ 283645 w 6884782"/>
              <a:gd name="connsiteY26254" fmla="*/ 3072081 h 5973007"/>
              <a:gd name="connsiteX26255" fmla="*/ 287465 w 6884782"/>
              <a:gd name="connsiteY26255" fmla="*/ 3072700 h 5973007"/>
              <a:gd name="connsiteX26256" fmla="*/ 285917 w 6884782"/>
              <a:gd name="connsiteY26256" fmla="*/ 3073474 h 5973007"/>
              <a:gd name="connsiteX26257" fmla="*/ 283542 w 6884782"/>
              <a:gd name="connsiteY26257" fmla="*/ 3073939 h 5973007"/>
              <a:gd name="connsiteX26258" fmla="*/ 282613 w 6884782"/>
              <a:gd name="connsiteY26258" fmla="*/ 3075333 h 5973007"/>
              <a:gd name="connsiteX26259" fmla="*/ 275797 w 6884782"/>
              <a:gd name="connsiteY26259" fmla="*/ 3074714 h 5973007"/>
              <a:gd name="connsiteX26260" fmla="*/ 277450 w 6884782"/>
              <a:gd name="connsiteY26260" fmla="*/ 3073785 h 5973007"/>
              <a:gd name="connsiteX26261" fmla="*/ 279721 w 6884782"/>
              <a:gd name="connsiteY26261" fmla="*/ 3073474 h 5973007"/>
              <a:gd name="connsiteX26262" fmla="*/ 282096 w 6884782"/>
              <a:gd name="connsiteY26262" fmla="*/ 3073010 h 5973007"/>
              <a:gd name="connsiteX26263" fmla="*/ 283645 w 6884782"/>
              <a:gd name="connsiteY26263" fmla="*/ 3072081 h 5973007"/>
              <a:gd name="connsiteX26264" fmla="*/ 297791 w 6884782"/>
              <a:gd name="connsiteY26264" fmla="*/ 3071926 h 5973007"/>
              <a:gd name="connsiteX26265" fmla="*/ 306775 w 6884782"/>
              <a:gd name="connsiteY26265" fmla="*/ 3080909 h 5973007"/>
              <a:gd name="connsiteX26266" fmla="*/ 301405 w 6884782"/>
              <a:gd name="connsiteY26266" fmla="*/ 3083852 h 5973007"/>
              <a:gd name="connsiteX26267" fmla="*/ 294694 w 6884782"/>
              <a:gd name="connsiteY26267" fmla="*/ 3078121 h 5973007"/>
              <a:gd name="connsiteX26268" fmla="*/ 294694 w 6884782"/>
              <a:gd name="connsiteY26268" fmla="*/ 3075024 h 5973007"/>
              <a:gd name="connsiteX26269" fmla="*/ 297791 w 6884782"/>
              <a:gd name="connsiteY26269" fmla="*/ 3071926 h 5973007"/>
              <a:gd name="connsiteX26270" fmla="*/ 263923 w 6884782"/>
              <a:gd name="connsiteY26270" fmla="*/ 3069602 h 5973007"/>
              <a:gd name="connsiteX26271" fmla="*/ 266608 w 6884782"/>
              <a:gd name="connsiteY26271" fmla="*/ 3069757 h 5973007"/>
              <a:gd name="connsiteX26272" fmla="*/ 267434 w 6884782"/>
              <a:gd name="connsiteY26272" fmla="*/ 3074249 h 5973007"/>
              <a:gd name="connsiteX26273" fmla="*/ 265679 w 6884782"/>
              <a:gd name="connsiteY26273" fmla="*/ 3074869 h 5973007"/>
              <a:gd name="connsiteX26274" fmla="*/ 262994 w 6884782"/>
              <a:gd name="connsiteY26274" fmla="*/ 3073785 h 5973007"/>
              <a:gd name="connsiteX26275" fmla="*/ 262168 w 6884782"/>
              <a:gd name="connsiteY26275" fmla="*/ 3070222 h 5973007"/>
              <a:gd name="connsiteX26276" fmla="*/ 263923 w 6884782"/>
              <a:gd name="connsiteY26276" fmla="*/ 3069602 h 5973007"/>
              <a:gd name="connsiteX26277" fmla="*/ 116163 w 6884782"/>
              <a:gd name="connsiteY26277" fmla="*/ 3067279 h 5973007"/>
              <a:gd name="connsiteX26278" fmla="*/ 117919 w 6884782"/>
              <a:gd name="connsiteY26278" fmla="*/ 3067434 h 5973007"/>
              <a:gd name="connsiteX26279" fmla="*/ 119571 w 6884782"/>
              <a:gd name="connsiteY26279" fmla="*/ 3075024 h 5973007"/>
              <a:gd name="connsiteX26280" fmla="*/ 112550 w 6884782"/>
              <a:gd name="connsiteY26280" fmla="*/ 3076882 h 5973007"/>
              <a:gd name="connsiteX26281" fmla="*/ 111723 w 6884782"/>
              <a:gd name="connsiteY26281" fmla="*/ 3075178 h 5973007"/>
              <a:gd name="connsiteX26282" fmla="*/ 111207 w 6884782"/>
              <a:gd name="connsiteY26282" fmla="*/ 3073010 h 5973007"/>
              <a:gd name="connsiteX26283" fmla="*/ 112756 w 6884782"/>
              <a:gd name="connsiteY26283" fmla="*/ 3068673 h 5973007"/>
              <a:gd name="connsiteX26284" fmla="*/ 114821 w 6884782"/>
              <a:gd name="connsiteY26284" fmla="*/ 3067434 h 5973007"/>
              <a:gd name="connsiteX26285" fmla="*/ 116163 w 6884782"/>
              <a:gd name="connsiteY26285" fmla="*/ 3067279 h 5973007"/>
              <a:gd name="connsiteX26286" fmla="*/ 241517 w 6884782"/>
              <a:gd name="connsiteY26286" fmla="*/ 3066040 h 5973007"/>
              <a:gd name="connsiteX26287" fmla="*/ 259277 w 6884782"/>
              <a:gd name="connsiteY26287" fmla="*/ 3068983 h 5973007"/>
              <a:gd name="connsiteX26288" fmla="*/ 227990 w 6884782"/>
              <a:gd name="connsiteY26288" fmla="*/ 3077347 h 5973007"/>
              <a:gd name="connsiteX26289" fmla="*/ 241517 w 6884782"/>
              <a:gd name="connsiteY26289" fmla="*/ 3066040 h 5973007"/>
              <a:gd name="connsiteX26290" fmla="*/ 592897 w 6884782"/>
              <a:gd name="connsiteY26290" fmla="*/ 3065575 h 5973007"/>
              <a:gd name="connsiteX26291" fmla="*/ 593104 w 6884782"/>
              <a:gd name="connsiteY26291" fmla="*/ 3079670 h 5973007"/>
              <a:gd name="connsiteX26292" fmla="*/ 588457 w 6884782"/>
              <a:gd name="connsiteY26292" fmla="*/ 3073474 h 5973007"/>
              <a:gd name="connsiteX26293" fmla="*/ 592897 w 6884782"/>
              <a:gd name="connsiteY26293" fmla="*/ 3065575 h 5973007"/>
              <a:gd name="connsiteX26294" fmla="*/ 6298906 w 6884782"/>
              <a:gd name="connsiteY26294" fmla="*/ 3064254 h 5973007"/>
              <a:gd name="connsiteX26295" fmla="*/ 6291454 w 6884782"/>
              <a:gd name="connsiteY26295" fmla="*/ 3098318 h 5973007"/>
              <a:gd name="connsiteX26296" fmla="*/ 6292459 w 6884782"/>
              <a:gd name="connsiteY26296" fmla="*/ 3099301 h 5973007"/>
              <a:gd name="connsiteX26297" fmla="*/ 6292687 w 6884782"/>
              <a:gd name="connsiteY26297" fmla="*/ 3106574 h 5973007"/>
              <a:gd name="connsiteX26298" fmla="*/ 6302282 w 6884782"/>
              <a:gd name="connsiteY26298" fmla="*/ 3102816 h 5973007"/>
              <a:gd name="connsiteX26299" fmla="*/ 6319508 w 6884782"/>
              <a:gd name="connsiteY26299" fmla="*/ 3092692 h 5973007"/>
              <a:gd name="connsiteX26300" fmla="*/ 6339964 w 6884782"/>
              <a:gd name="connsiteY26300" fmla="*/ 3085100 h 5973007"/>
              <a:gd name="connsiteX26301" fmla="*/ 6342135 w 6884782"/>
              <a:gd name="connsiteY26301" fmla="*/ 3084371 h 5973007"/>
              <a:gd name="connsiteX26302" fmla="*/ 6344039 w 6884782"/>
              <a:gd name="connsiteY26302" fmla="*/ 3076688 h 5973007"/>
              <a:gd name="connsiteX26303" fmla="*/ 6347569 w 6884782"/>
              <a:gd name="connsiteY26303" fmla="*/ 3072296 h 5973007"/>
              <a:gd name="connsiteX26304" fmla="*/ 6344329 w 6884782"/>
              <a:gd name="connsiteY26304" fmla="*/ 3072296 h 5973007"/>
              <a:gd name="connsiteX26305" fmla="*/ 6344329 w 6884782"/>
              <a:gd name="connsiteY26305" fmla="*/ 3072154 h 5973007"/>
              <a:gd name="connsiteX26306" fmla="*/ 6344116 w 6884782"/>
              <a:gd name="connsiteY26306" fmla="*/ 3072296 h 5973007"/>
              <a:gd name="connsiteX26307" fmla="*/ 6326615 w 6884782"/>
              <a:gd name="connsiteY26307" fmla="*/ 3072296 h 5973007"/>
              <a:gd name="connsiteX26308" fmla="*/ 6321920 w 6884782"/>
              <a:gd name="connsiteY26308" fmla="*/ 3070020 h 5973007"/>
              <a:gd name="connsiteX26309" fmla="*/ 6322133 w 6884782"/>
              <a:gd name="connsiteY26309" fmla="*/ 3070731 h 5973007"/>
              <a:gd name="connsiteX26310" fmla="*/ 6317438 w 6884782"/>
              <a:gd name="connsiteY26310" fmla="*/ 3071442 h 5973007"/>
              <a:gd name="connsiteX26311" fmla="*/ 6317865 w 6884782"/>
              <a:gd name="connsiteY26311" fmla="*/ 3072296 h 5973007"/>
              <a:gd name="connsiteX26312" fmla="*/ 6298444 w 6884782"/>
              <a:gd name="connsiteY26312" fmla="*/ 3072296 h 5973007"/>
              <a:gd name="connsiteX26313" fmla="*/ 6298657 w 6884782"/>
              <a:gd name="connsiteY26313" fmla="*/ 3069735 h 5973007"/>
              <a:gd name="connsiteX26314" fmla="*/ 615821 w 6884782"/>
              <a:gd name="connsiteY26314" fmla="*/ 3063561 h 5973007"/>
              <a:gd name="connsiteX26315" fmla="*/ 618712 w 6884782"/>
              <a:gd name="connsiteY26315" fmla="*/ 3077037 h 5973007"/>
              <a:gd name="connsiteX26316" fmla="*/ 615821 w 6884782"/>
              <a:gd name="connsiteY26316" fmla="*/ 3063561 h 5973007"/>
              <a:gd name="connsiteX26317" fmla="*/ 157053 w 6884782"/>
              <a:gd name="connsiteY26317" fmla="*/ 3063096 h 5973007"/>
              <a:gd name="connsiteX26318" fmla="*/ 162422 w 6884782"/>
              <a:gd name="connsiteY26318" fmla="*/ 3065265 h 5973007"/>
              <a:gd name="connsiteX26319" fmla="*/ 163352 w 6884782"/>
              <a:gd name="connsiteY26319" fmla="*/ 3067743 h 5973007"/>
              <a:gd name="connsiteX26320" fmla="*/ 160563 w 6884782"/>
              <a:gd name="connsiteY26320" fmla="*/ 3067434 h 5973007"/>
              <a:gd name="connsiteX26321" fmla="*/ 159738 w 6884782"/>
              <a:gd name="connsiteY26321" fmla="*/ 3065730 h 5973007"/>
              <a:gd name="connsiteX26322" fmla="*/ 157053 w 6884782"/>
              <a:gd name="connsiteY26322" fmla="*/ 3064645 h 5973007"/>
              <a:gd name="connsiteX26323" fmla="*/ 157053 w 6884782"/>
              <a:gd name="connsiteY26323" fmla="*/ 3063096 h 5973007"/>
              <a:gd name="connsiteX26324" fmla="*/ 616027 w 6884782"/>
              <a:gd name="connsiteY26324" fmla="*/ 3061548 h 5973007"/>
              <a:gd name="connsiteX26325" fmla="*/ 615924 w 6884782"/>
              <a:gd name="connsiteY26325" fmla="*/ 3063406 h 5973007"/>
              <a:gd name="connsiteX26326" fmla="*/ 614891 w 6884782"/>
              <a:gd name="connsiteY26326" fmla="*/ 3062787 h 5973007"/>
              <a:gd name="connsiteX26327" fmla="*/ 616027 w 6884782"/>
              <a:gd name="connsiteY26327" fmla="*/ 3061548 h 5973007"/>
              <a:gd name="connsiteX26328" fmla="*/ 479213 w 6884782"/>
              <a:gd name="connsiteY26328" fmla="*/ 3059069 h 5973007"/>
              <a:gd name="connsiteX26329" fmla="*/ 477663 w 6884782"/>
              <a:gd name="connsiteY26329" fmla="*/ 3076108 h 5973007"/>
              <a:gd name="connsiteX26330" fmla="*/ 452262 w 6884782"/>
              <a:gd name="connsiteY26330" fmla="*/ 3089584 h 5973007"/>
              <a:gd name="connsiteX26331" fmla="*/ 450611 w 6884782"/>
              <a:gd name="connsiteY26331" fmla="*/ 3087725 h 5973007"/>
              <a:gd name="connsiteX26332" fmla="*/ 449991 w 6884782"/>
              <a:gd name="connsiteY26332" fmla="*/ 3082149 h 5973007"/>
              <a:gd name="connsiteX26333" fmla="*/ 479213 w 6884782"/>
              <a:gd name="connsiteY26333" fmla="*/ 3059069 h 5973007"/>
              <a:gd name="connsiteX26334" fmla="*/ 165314 w 6884782"/>
              <a:gd name="connsiteY26334" fmla="*/ 3059069 h 5973007"/>
              <a:gd name="connsiteX26335" fmla="*/ 166759 w 6884782"/>
              <a:gd name="connsiteY26335" fmla="*/ 3059689 h 5973007"/>
              <a:gd name="connsiteX26336" fmla="*/ 168411 w 6884782"/>
              <a:gd name="connsiteY26336" fmla="*/ 3061548 h 5973007"/>
              <a:gd name="connsiteX26337" fmla="*/ 170166 w 6884782"/>
              <a:gd name="connsiteY26337" fmla="*/ 3062632 h 5973007"/>
              <a:gd name="connsiteX26338" fmla="*/ 170063 w 6884782"/>
              <a:gd name="connsiteY26338" fmla="*/ 3065265 h 5973007"/>
              <a:gd name="connsiteX26339" fmla="*/ 168308 w 6884782"/>
              <a:gd name="connsiteY26339" fmla="*/ 3064181 h 5973007"/>
              <a:gd name="connsiteX26340" fmla="*/ 164074 w 6884782"/>
              <a:gd name="connsiteY26340" fmla="*/ 3060308 h 5973007"/>
              <a:gd name="connsiteX26341" fmla="*/ 165314 w 6884782"/>
              <a:gd name="connsiteY26341" fmla="*/ 3059069 h 5973007"/>
              <a:gd name="connsiteX26342" fmla="*/ 384630 w 6884782"/>
              <a:gd name="connsiteY26342" fmla="*/ 3058760 h 5973007"/>
              <a:gd name="connsiteX26343" fmla="*/ 389380 w 6884782"/>
              <a:gd name="connsiteY26343" fmla="*/ 3061857 h 5973007"/>
              <a:gd name="connsiteX26344" fmla="*/ 390309 w 6884782"/>
              <a:gd name="connsiteY26344" fmla="*/ 3061548 h 5973007"/>
              <a:gd name="connsiteX26345" fmla="*/ 392064 w 6884782"/>
              <a:gd name="connsiteY26345" fmla="*/ 3062941 h 5973007"/>
              <a:gd name="connsiteX26346" fmla="*/ 392374 w 6884782"/>
              <a:gd name="connsiteY26346" fmla="*/ 3065110 h 5973007"/>
              <a:gd name="connsiteX26347" fmla="*/ 392374 w 6884782"/>
              <a:gd name="connsiteY26347" fmla="*/ 3065265 h 5973007"/>
              <a:gd name="connsiteX26348" fmla="*/ 395265 w 6884782"/>
              <a:gd name="connsiteY26348" fmla="*/ 3070067 h 5973007"/>
              <a:gd name="connsiteX26349" fmla="*/ 398259 w 6884782"/>
              <a:gd name="connsiteY26349" fmla="*/ 3071151 h 5973007"/>
              <a:gd name="connsiteX26350" fmla="*/ 401151 w 6884782"/>
              <a:gd name="connsiteY26350" fmla="*/ 3072545 h 5973007"/>
              <a:gd name="connsiteX26351" fmla="*/ 400428 w 6884782"/>
              <a:gd name="connsiteY26351" fmla="*/ 3071616 h 5973007"/>
              <a:gd name="connsiteX26352" fmla="*/ 401461 w 6884782"/>
              <a:gd name="connsiteY26352" fmla="*/ 3059224 h 5973007"/>
              <a:gd name="connsiteX26353" fmla="*/ 405281 w 6884782"/>
              <a:gd name="connsiteY26353" fmla="*/ 3067279 h 5973007"/>
              <a:gd name="connsiteX26354" fmla="*/ 402906 w 6884782"/>
              <a:gd name="connsiteY26354" fmla="*/ 3073939 h 5973007"/>
              <a:gd name="connsiteX26355" fmla="*/ 405487 w 6884782"/>
              <a:gd name="connsiteY26355" fmla="*/ 3077347 h 5973007"/>
              <a:gd name="connsiteX26356" fmla="*/ 400324 w 6884782"/>
              <a:gd name="connsiteY26356" fmla="*/ 3083698 h 5973007"/>
              <a:gd name="connsiteX26357" fmla="*/ 384423 w 6884782"/>
              <a:gd name="connsiteY26357" fmla="*/ 3078276 h 5973007"/>
              <a:gd name="connsiteX26358" fmla="*/ 384836 w 6884782"/>
              <a:gd name="connsiteY26358" fmla="*/ 3077657 h 5973007"/>
              <a:gd name="connsiteX26359" fmla="*/ 379467 w 6884782"/>
              <a:gd name="connsiteY26359" fmla="*/ 3075953 h 5973007"/>
              <a:gd name="connsiteX26360" fmla="*/ 379157 w 6884782"/>
              <a:gd name="connsiteY26360" fmla="*/ 3072545 h 5973007"/>
              <a:gd name="connsiteX26361" fmla="*/ 372135 w 6884782"/>
              <a:gd name="connsiteY26361" fmla="*/ 3067279 h 5973007"/>
              <a:gd name="connsiteX26362" fmla="*/ 368625 w 6884782"/>
              <a:gd name="connsiteY26362" fmla="*/ 3059379 h 5973007"/>
              <a:gd name="connsiteX26363" fmla="*/ 384630 w 6884782"/>
              <a:gd name="connsiteY26363" fmla="*/ 3058760 h 5973007"/>
              <a:gd name="connsiteX26364" fmla="*/ 326393 w 6884782"/>
              <a:gd name="connsiteY26364" fmla="*/ 3058450 h 5973007"/>
              <a:gd name="connsiteX26365" fmla="*/ 332795 w 6884782"/>
              <a:gd name="connsiteY26365" fmla="*/ 3075178 h 5973007"/>
              <a:gd name="connsiteX26366" fmla="*/ 323812 w 6884782"/>
              <a:gd name="connsiteY26366" fmla="*/ 3062632 h 5973007"/>
              <a:gd name="connsiteX26367" fmla="*/ 326393 w 6884782"/>
              <a:gd name="connsiteY26367" fmla="*/ 3058450 h 5973007"/>
              <a:gd name="connsiteX26368" fmla="*/ 614375 w 6884782"/>
              <a:gd name="connsiteY26368" fmla="*/ 3057520 h 5973007"/>
              <a:gd name="connsiteX26369" fmla="*/ 614271 w 6884782"/>
              <a:gd name="connsiteY26369" fmla="*/ 3059379 h 5973007"/>
              <a:gd name="connsiteX26370" fmla="*/ 613549 w 6884782"/>
              <a:gd name="connsiteY26370" fmla="*/ 3059069 h 5973007"/>
              <a:gd name="connsiteX26371" fmla="*/ 613549 w 6884782"/>
              <a:gd name="connsiteY26371" fmla="*/ 3057675 h 5973007"/>
              <a:gd name="connsiteX26372" fmla="*/ 614375 w 6884782"/>
              <a:gd name="connsiteY26372" fmla="*/ 3057520 h 5973007"/>
              <a:gd name="connsiteX26373" fmla="*/ 6537349 w 6884782"/>
              <a:gd name="connsiteY26373" fmla="*/ 3056140 h 5973007"/>
              <a:gd name="connsiteX26374" fmla="*/ 6551910 w 6884782"/>
              <a:gd name="connsiteY26374" fmla="*/ 3094861 h 5973007"/>
              <a:gd name="connsiteX26375" fmla="*/ 6537349 w 6884782"/>
              <a:gd name="connsiteY26375" fmla="*/ 3056140 h 5973007"/>
              <a:gd name="connsiteX26376" fmla="*/ 232843 w 6884782"/>
              <a:gd name="connsiteY26376" fmla="*/ 3055506 h 5973007"/>
              <a:gd name="connsiteX26377" fmla="*/ 238109 w 6884782"/>
              <a:gd name="connsiteY26377" fmla="*/ 3055971 h 5973007"/>
              <a:gd name="connsiteX26378" fmla="*/ 235321 w 6884782"/>
              <a:gd name="connsiteY26378" fmla="*/ 3061548 h 5973007"/>
              <a:gd name="connsiteX26379" fmla="*/ 233669 w 6884782"/>
              <a:gd name="connsiteY26379" fmla="*/ 3060463 h 5973007"/>
              <a:gd name="connsiteX26380" fmla="*/ 232223 w 6884782"/>
              <a:gd name="connsiteY26380" fmla="*/ 3057985 h 5973007"/>
              <a:gd name="connsiteX26381" fmla="*/ 232843 w 6884782"/>
              <a:gd name="connsiteY26381" fmla="*/ 3055506 h 5973007"/>
              <a:gd name="connsiteX26382" fmla="*/ 486647 w 6884782"/>
              <a:gd name="connsiteY26382" fmla="*/ 3055042 h 5973007"/>
              <a:gd name="connsiteX26383" fmla="*/ 498521 w 6884782"/>
              <a:gd name="connsiteY26383" fmla="*/ 3071926 h 5973007"/>
              <a:gd name="connsiteX26384" fmla="*/ 490261 w 6884782"/>
              <a:gd name="connsiteY26384" fmla="*/ 3074714 h 5973007"/>
              <a:gd name="connsiteX26385" fmla="*/ 482826 w 6884782"/>
              <a:gd name="connsiteY26385" fmla="*/ 3066040 h 5973007"/>
              <a:gd name="connsiteX26386" fmla="*/ 486647 w 6884782"/>
              <a:gd name="connsiteY26386" fmla="*/ 3055042 h 5973007"/>
              <a:gd name="connsiteX26387" fmla="*/ 404868 w 6884782"/>
              <a:gd name="connsiteY26387" fmla="*/ 3054887 h 5973007"/>
              <a:gd name="connsiteX26388" fmla="*/ 408379 w 6884782"/>
              <a:gd name="connsiteY26388" fmla="*/ 3054887 h 5973007"/>
              <a:gd name="connsiteX26389" fmla="*/ 411786 w 6884782"/>
              <a:gd name="connsiteY26389" fmla="*/ 3057520 h 5973007"/>
              <a:gd name="connsiteX26390" fmla="*/ 411063 w 6884782"/>
              <a:gd name="connsiteY26390" fmla="*/ 3057056 h 5973007"/>
              <a:gd name="connsiteX26391" fmla="*/ 410237 w 6884782"/>
              <a:gd name="connsiteY26391" fmla="*/ 3058450 h 5973007"/>
              <a:gd name="connsiteX26392" fmla="*/ 410960 w 6884782"/>
              <a:gd name="connsiteY26392" fmla="*/ 3058914 h 5973007"/>
              <a:gd name="connsiteX26393" fmla="*/ 409308 w 6884782"/>
              <a:gd name="connsiteY26393" fmla="*/ 3059844 h 5973007"/>
              <a:gd name="connsiteX26394" fmla="*/ 402596 w 6884782"/>
              <a:gd name="connsiteY26394" fmla="*/ 3058450 h 5973007"/>
              <a:gd name="connsiteX26395" fmla="*/ 404868 w 6884782"/>
              <a:gd name="connsiteY26395" fmla="*/ 3054887 h 5973007"/>
              <a:gd name="connsiteX26396" fmla="*/ 540856 w 6884782"/>
              <a:gd name="connsiteY26396" fmla="*/ 3053183 h 5973007"/>
              <a:gd name="connsiteX26397" fmla="*/ 537552 w 6884782"/>
              <a:gd name="connsiteY26397" fmla="*/ 3059998 h 5973007"/>
              <a:gd name="connsiteX26398" fmla="*/ 535693 w 6884782"/>
              <a:gd name="connsiteY26398" fmla="*/ 3056281 h 5973007"/>
              <a:gd name="connsiteX26399" fmla="*/ 538482 w 6884782"/>
              <a:gd name="connsiteY26399" fmla="*/ 3053648 h 5973007"/>
              <a:gd name="connsiteX26400" fmla="*/ 540856 w 6884782"/>
              <a:gd name="connsiteY26400" fmla="*/ 3053183 h 5973007"/>
              <a:gd name="connsiteX26401" fmla="*/ 200111 w 6884782"/>
              <a:gd name="connsiteY26401" fmla="*/ 3053028 h 5973007"/>
              <a:gd name="connsiteX26402" fmla="*/ 206616 w 6884782"/>
              <a:gd name="connsiteY26402" fmla="*/ 3062632 h 5973007"/>
              <a:gd name="connsiteX26403" fmla="*/ 199388 w 6884782"/>
              <a:gd name="connsiteY26403" fmla="*/ 3060773 h 5973007"/>
              <a:gd name="connsiteX26404" fmla="*/ 198768 w 6884782"/>
              <a:gd name="connsiteY26404" fmla="*/ 3056901 h 5973007"/>
              <a:gd name="connsiteX26405" fmla="*/ 200111 w 6884782"/>
              <a:gd name="connsiteY26405" fmla="*/ 3053028 h 5973007"/>
              <a:gd name="connsiteX26406" fmla="*/ 614168 w 6884782"/>
              <a:gd name="connsiteY26406" fmla="*/ 3052254 h 5973007"/>
              <a:gd name="connsiteX26407" fmla="*/ 614271 w 6884782"/>
              <a:gd name="connsiteY26407" fmla="*/ 3054887 h 5973007"/>
              <a:gd name="connsiteX26408" fmla="*/ 614065 w 6884782"/>
              <a:gd name="connsiteY26408" fmla="*/ 3055197 h 5973007"/>
              <a:gd name="connsiteX26409" fmla="*/ 614581 w 6884782"/>
              <a:gd name="connsiteY26409" fmla="*/ 3055197 h 5973007"/>
              <a:gd name="connsiteX26410" fmla="*/ 613755 w 6884782"/>
              <a:gd name="connsiteY26410" fmla="*/ 3056436 h 5973007"/>
              <a:gd name="connsiteX26411" fmla="*/ 613446 w 6884782"/>
              <a:gd name="connsiteY26411" fmla="*/ 3057056 h 5973007"/>
              <a:gd name="connsiteX26412" fmla="*/ 613342 w 6884782"/>
              <a:gd name="connsiteY26412" fmla="*/ 3056901 h 5973007"/>
              <a:gd name="connsiteX26413" fmla="*/ 611484 w 6884782"/>
              <a:gd name="connsiteY26413" fmla="*/ 3058295 h 5973007"/>
              <a:gd name="connsiteX26414" fmla="*/ 611174 w 6884782"/>
              <a:gd name="connsiteY26414" fmla="*/ 3059998 h 5973007"/>
              <a:gd name="connsiteX26415" fmla="*/ 604772 w 6884782"/>
              <a:gd name="connsiteY26415" fmla="*/ 3062941 h 5973007"/>
              <a:gd name="connsiteX26416" fmla="*/ 607766 w 6884782"/>
              <a:gd name="connsiteY26416" fmla="*/ 3059689 h 5973007"/>
              <a:gd name="connsiteX26417" fmla="*/ 609728 w 6884782"/>
              <a:gd name="connsiteY26417" fmla="*/ 3058140 h 5973007"/>
              <a:gd name="connsiteX26418" fmla="*/ 610864 w 6884782"/>
              <a:gd name="connsiteY26418" fmla="*/ 3056591 h 5973007"/>
              <a:gd name="connsiteX26419" fmla="*/ 612516 w 6884782"/>
              <a:gd name="connsiteY26419" fmla="*/ 3055661 h 5973007"/>
              <a:gd name="connsiteX26420" fmla="*/ 612516 w 6884782"/>
              <a:gd name="connsiteY26420" fmla="*/ 3055506 h 5973007"/>
              <a:gd name="connsiteX26421" fmla="*/ 612103 w 6884782"/>
              <a:gd name="connsiteY26421" fmla="*/ 3053803 h 5973007"/>
              <a:gd name="connsiteX26422" fmla="*/ 612723 w 6884782"/>
              <a:gd name="connsiteY26422" fmla="*/ 3052873 h 5973007"/>
              <a:gd name="connsiteX26423" fmla="*/ 614168 w 6884782"/>
              <a:gd name="connsiteY26423" fmla="*/ 3052254 h 5973007"/>
              <a:gd name="connsiteX26424" fmla="*/ 181834 w 6884782"/>
              <a:gd name="connsiteY26424" fmla="*/ 3049775 h 5973007"/>
              <a:gd name="connsiteX26425" fmla="*/ 184313 w 6884782"/>
              <a:gd name="connsiteY26425" fmla="*/ 3049930 h 5973007"/>
              <a:gd name="connsiteX26426" fmla="*/ 187617 w 6884782"/>
              <a:gd name="connsiteY26426" fmla="*/ 3057675 h 5973007"/>
              <a:gd name="connsiteX26427" fmla="*/ 181628 w 6884782"/>
              <a:gd name="connsiteY26427" fmla="*/ 3051634 h 5973007"/>
              <a:gd name="connsiteX26428" fmla="*/ 181834 w 6884782"/>
              <a:gd name="connsiteY26428" fmla="*/ 3049775 h 5973007"/>
              <a:gd name="connsiteX26429" fmla="*/ 399705 w 6884782"/>
              <a:gd name="connsiteY26429" fmla="*/ 3049620 h 5973007"/>
              <a:gd name="connsiteX26430" fmla="*/ 401048 w 6884782"/>
              <a:gd name="connsiteY26430" fmla="*/ 3056281 h 5973007"/>
              <a:gd name="connsiteX26431" fmla="*/ 395988 w 6884782"/>
              <a:gd name="connsiteY26431" fmla="*/ 3055661 h 5973007"/>
              <a:gd name="connsiteX26432" fmla="*/ 394439 w 6884782"/>
              <a:gd name="connsiteY26432" fmla="*/ 3053183 h 5973007"/>
              <a:gd name="connsiteX26433" fmla="*/ 396195 w 6884782"/>
              <a:gd name="connsiteY26433" fmla="*/ 3050705 h 5973007"/>
              <a:gd name="connsiteX26434" fmla="*/ 399705 w 6884782"/>
              <a:gd name="connsiteY26434" fmla="*/ 3049620 h 5973007"/>
              <a:gd name="connsiteX26435" fmla="*/ 153026 w 6884782"/>
              <a:gd name="connsiteY26435" fmla="*/ 3049156 h 5973007"/>
              <a:gd name="connsiteX26436" fmla="*/ 157363 w 6884782"/>
              <a:gd name="connsiteY26436" fmla="*/ 3050395 h 5973007"/>
              <a:gd name="connsiteX26437" fmla="*/ 159841 w 6884782"/>
              <a:gd name="connsiteY26437" fmla="*/ 3058140 h 5973007"/>
              <a:gd name="connsiteX26438" fmla="*/ 156433 w 6884782"/>
              <a:gd name="connsiteY26438" fmla="*/ 3057830 h 5973007"/>
              <a:gd name="connsiteX26439" fmla="*/ 152406 w 6884782"/>
              <a:gd name="connsiteY26439" fmla="*/ 3051015 h 5973007"/>
              <a:gd name="connsiteX26440" fmla="*/ 153026 w 6884782"/>
              <a:gd name="connsiteY26440" fmla="*/ 3049156 h 5973007"/>
              <a:gd name="connsiteX26441" fmla="*/ 314106 w 6884782"/>
              <a:gd name="connsiteY26441" fmla="*/ 3048846 h 5973007"/>
              <a:gd name="connsiteX26442" fmla="*/ 315138 w 6884782"/>
              <a:gd name="connsiteY26442" fmla="*/ 3050395 h 5973007"/>
              <a:gd name="connsiteX26443" fmla="*/ 313486 w 6884782"/>
              <a:gd name="connsiteY26443" fmla="*/ 3052254 h 5973007"/>
              <a:gd name="connsiteX26444" fmla="*/ 308426 w 6884782"/>
              <a:gd name="connsiteY26444" fmla="*/ 3053028 h 5973007"/>
              <a:gd name="connsiteX26445" fmla="*/ 307394 w 6884782"/>
              <a:gd name="connsiteY26445" fmla="*/ 3051479 h 5973007"/>
              <a:gd name="connsiteX26446" fmla="*/ 314106 w 6884782"/>
              <a:gd name="connsiteY26446" fmla="*/ 3048846 h 5973007"/>
              <a:gd name="connsiteX26447" fmla="*/ 618712 w 6884782"/>
              <a:gd name="connsiteY26447" fmla="*/ 3048381 h 5973007"/>
              <a:gd name="connsiteX26448" fmla="*/ 625114 w 6884782"/>
              <a:gd name="connsiteY26448" fmla="*/ 3053958 h 5973007"/>
              <a:gd name="connsiteX26449" fmla="*/ 624907 w 6884782"/>
              <a:gd name="connsiteY26449" fmla="*/ 3055042 h 5973007"/>
              <a:gd name="connsiteX26450" fmla="*/ 619021 w 6884782"/>
              <a:gd name="connsiteY26450" fmla="*/ 3063096 h 5973007"/>
              <a:gd name="connsiteX26451" fmla="*/ 614788 w 6884782"/>
              <a:gd name="connsiteY26451" fmla="*/ 3058760 h 5973007"/>
              <a:gd name="connsiteX26452" fmla="*/ 614891 w 6884782"/>
              <a:gd name="connsiteY26452" fmla="*/ 3056281 h 5973007"/>
              <a:gd name="connsiteX26453" fmla="*/ 618712 w 6884782"/>
              <a:gd name="connsiteY26453" fmla="*/ 3048381 h 5973007"/>
              <a:gd name="connsiteX26454" fmla="*/ 516695 w 6884782"/>
              <a:gd name="connsiteY26454" fmla="*/ 3047297 h 5973007"/>
              <a:gd name="connsiteX26455" fmla="*/ 515765 w 6884782"/>
              <a:gd name="connsiteY26455" fmla="*/ 3058295 h 5973007"/>
              <a:gd name="connsiteX26456" fmla="*/ 511015 w 6884782"/>
              <a:gd name="connsiteY26456" fmla="*/ 3053338 h 5973007"/>
              <a:gd name="connsiteX26457" fmla="*/ 516695 w 6884782"/>
              <a:gd name="connsiteY26457" fmla="*/ 3047297 h 5973007"/>
              <a:gd name="connsiteX26458" fmla="*/ 6564611 w 6884782"/>
              <a:gd name="connsiteY26458" fmla="*/ 3046021 h 5973007"/>
              <a:gd name="connsiteX26459" fmla="*/ 6584593 w 6884782"/>
              <a:gd name="connsiteY26459" fmla="*/ 3062438 h 5973007"/>
              <a:gd name="connsiteX26460" fmla="*/ 6574370 w 6884782"/>
              <a:gd name="connsiteY26460" fmla="*/ 3070802 h 5973007"/>
              <a:gd name="connsiteX26461" fmla="*/ 6558106 w 6884782"/>
              <a:gd name="connsiteY26461" fmla="*/ 3052113 h 5973007"/>
              <a:gd name="connsiteX26462" fmla="*/ 6564611 w 6884782"/>
              <a:gd name="connsiteY26462" fmla="*/ 3046021 h 5973007"/>
              <a:gd name="connsiteX26463" fmla="*/ 271977 w 6884782"/>
              <a:gd name="connsiteY26463" fmla="*/ 3042340 h 5973007"/>
              <a:gd name="connsiteX26464" fmla="*/ 274765 w 6884782"/>
              <a:gd name="connsiteY26464" fmla="*/ 3043889 h 5973007"/>
              <a:gd name="connsiteX26465" fmla="*/ 278172 w 6884782"/>
              <a:gd name="connsiteY26465" fmla="*/ 3047607 h 5973007"/>
              <a:gd name="connsiteX26466" fmla="*/ 280857 w 6884782"/>
              <a:gd name="connsiteY26466" fmla="*/ 3048691 h 5973007"/>
              <a:gd name="connsiteX26467" fmla="*/ 280857 w 6884782"/>
              <a:gd name="connsiteY26467" fmla="*/ 3049466 h 5973007"/>
              <a:gd name="connsiteX26468" fmla="*/ 270325 w 6884782"/>
              <a:gd name="connsiteY26468" fmla="*/ 3046832 h 5973007"/>
              <a:gd name="connsiteX26469" fmla="*/ 269395 w 6884782"/>
              <a:gd name="connsiteY26469" fmla="*/ 3045284 h 5973007"/>
              <a:gd name="connsiteX26470" fmla="*/ 270325 w 6884782"/>
              <a:gd name="connsiteY26470" fmla="*/ 3043425 h 5973007"/>
              <a:gd name="connsiteX26471" fmla="*/ 271977 w 6884782"/>
              <a:gd name="connsiteY26471" fmla="*/ 3042340 h 5973007"/>
              <a:gd name="connsiteX26472" fmla="*/ 663112 w 6884782"/>
              <a:gd name="connsiteY26472" fmla="*/ 3041721 h 5973007"/>
              <a:gd name="connsiteX26473" fmla="*/ 660530 w 6884782"/>
              <a:gd name="connsiteY26473" fmla="*/ 3041876 h 5973007"/>
              <a:gd name="connsiteX26474" fmla="*/ 658775 w 6884782"/>
              <a:gd name="connsiteY26474" fmla="*/ 3043115 h 5973007"/>
              <a:gd name="connsiteX26475" fmla="*/ 660324 w 6884782"/>
              <a:gd name="connsiteY26475" fmla="*/ 3042650 h 5973007"/>
              <a:gd name="connsiteX26476" fmla="*/ 662389 w 6884782"/>
              <a:gd name="connsiteY26476" fmla="*/ 3043580 h 5973007"/>
              <a:gd name="connsiteX26477" fmla="*/ 427687 w 6884782"/>
              <a:gd name="connsiteY26477" fmla="*/ 3040946 h 5973007"/>
              <a:gd name="connsiteX26478" fmla="*/ 430269 w 6884782"/>
              <a:gd name="connsiteY26478" fmla="*/ 3041101 h 5973007"/>
              <a:gd name="connsiteX26479" fmla="*/ 432541 w 6884782"/>
              <a:gd name="connsiteY26479" fmla="*/ 3043115 h 5973007"/>
              <a:gd name="connsiteX26480" fmla="*/ 433160 w 6884782"/>
              <a:gd name="connsiteY26480" fmla="*/ 3045438 h 5973007"/>
              <a:gd name="connsiteX26481" fmla="*/ 430579 w 6884782"/>
              <a:gd name="connsiteY26481" fmla="*/ 3049466 h 5973007"/>
              <a:gd name="connsiteX26482" fmla="*/ 423867 w 6884782"/>
              <a:gd name="connsiteY26482" fmla="*/ 3045284 h 5973007"/>
              <a:gd name="connsiteX26483" fmla="*/ 427687 w 6884782"/>
              <a:gd name="connsiteY26483" fmla="*/ 3040946 h 5973007"/>
              <a:gd name="connsiteX26484" fmla="*/ 308323 w 6884782"/>
              <a:gd name="connsiteY26484" fmla="*/ 3039552 h 5973007"/>
              <a:gd name="connsiteX26485" fmla="*/ 311008 w 6884782"/>
              <a:gd name="connsiteY26485" fmla="*/ 3041721 h 5973007"/>
              <a:gd name="connsiteX26486" fmla="*/ 307704 w 6884782"/>
              <a:gd name="connsiteY26486" fmla="*/ 3042960 h 5973007"/>
              <a:gd name="connsiteX26487" fmla="*/ 307084 w 6884782"/>
              <a:gd name="connsiteY26487" fmla="*/ 3041721 h 5973007"/>
              <a:gd name="connsiteX26488" fmla="*/ 308323 w 6884782"/>
              <a:gd name="connsiteY26488" fmla="*/ 3039552 h 5973007"/>
              <a:gd name="connsiteX26489" fmla="*/ 310492 w 6884782"/>
              <a:gd name="connsiteY26489" fmla="*/ 3039088 h 5973007"/>
              <a:gd name="connsiteX26490" fmla="*/ 310492 w 6884782"/>
              <a:gd name="connsiteY26490" fmla="*/ 3040637 h 5973007"/>
              <a:gd name="connsiteX26491" fmla="*/ 309769 w 6884782"/>
              <a:gd name="connsiteY26491" fmla="*/ 3039862 h 5973007"/>
              <a:gd name="connsiteX26492" fmla="*/ 310492 w 6884782"/>
              <a:gd name="connsiteY26492" fmla="*/ 3039088 h 5973007"/>
              <a:gd name="connsiteX26493" fmla="*/ 654232 w 6884782"/>
              <a:gd name="connsiteY26493" fmla="*/ 3033511 h 5973007"/>
              <a:gd name="connsiteX26494" fmla="*/ 655884 w 6884782"/>
              <a:gd name="connsiteY26494" fmla="*/ 3034750 h 5973007"/>
              <a:gd name="connsiteX26495" fmla="*/ 654645 w 6884782"/>
              <a:gd name="connsiteY26495" fmla="*/ 3036764 h 5973007"/>
              <a:gd name="connsiteX26496" fmla="*/ 646281 w 6884782"/>
              <a:gd name="connsiteY26496" fmla="*/ 3035215 h 5973007"/>
              <a:gd name="connsiteX26497" fmla="*/ 654232 w 6884782"/>
              <a:gd name="connsiteY26497" fmla="*/ 3033511 h 5973007"/>
              <a:gd name="connsiteX26498" fmla="*/ 432747 w 6884782"/>
              <a:gd name="connsiteY26498" fmla="*/ 3032272 h 5973007"/>
              <a:gd name="connsiteX26499" fmla="*/ 440698 w 6884782"/>
              <a:gd name="connsiteY26499" fmla="*/ 3033821 h 5973007"/>
              <a:gd name="connsiteX26500" fmla="*/ 432747 w 6884782"/>
              <a:gd name="connsiteY26500" fmla="*/ 3032272 h 5973007"/>
              <a:gd name="connsiteX26501" fmla="*/ 6617121 w 6884782"/>
              <a:gd name="connsiteY26501" fmla="*/ 3031978 h 5973007"/>
              <a:gd name="connsiteX26502" fmla="*/ 6625176 w 6884782"/>
              <a:gd name="connsiteY26502" fmla="*/ 3059754 h 5973007"/>
              <a:gd name="connsiteX26503" fmla="*/ 6603490 w 6884782"/>
              <a:gd name="connsiteY26503" fmla="*/ 3039722 h 5973007"/>
              <a:gd name="connsiteX26504" fmla="*/ 6617121 w 6884782"/>
              <a:gd name="connsiteY26504" fmla="*/ 3031978 h 5973007"/>
              <a:gd name="connsiteX26505" fmla="*/ 427171 w 6884782"/>
              <a:gd name="connsiteY26505" fmla="*/ 3031652 h 5973007"/>
              <a:gd name="connsiteX26506" fmla="*/ 430372 w 6884782"/>
              <a:gd name="connsiteY26506" fmla="*/ 3032892 h 5973007"/>
              <a:gd name="connsiteX26507" fmla="*/ 427171 w 6884782"/>
              <a:gd name="connsiteY26507" fmla="*/ 3032427 h 5973007"/>
              <a:gd name="connsiteX26508" fmla="*/ 426449 w 6884782"/>
              <a:gd name="connsiteY26508" fmla="*/ 3031962 h 5973007"/>
              <a:gd name="connsiteX26509" fmla="*/ 427171 w 6884782"/>
              <a:gd name="connsiteY26509" fmla="*/ 3031652 h 5973007"/>
              <a:gd name="connsiteX26510" fmla="*/ 305329 w 6884782"/>
              <a:gd name="connsiteY26510" fmla="*/ 3031652 h 5973007"/>
              <a:gd name="connsiteX26511" fmla="*/ 307497 w 6884782"/>
              <a:gd name="connsiteY26511" fmla="*/ 3038778 h 5973007"/>
              <a:gd name="connsiteX26512" fmla="*/ 300682 w 6884782"/>
              <a:gd name="connsiteY26512" fmla="*/ 3042340 h 5973007"/>
              <a:gd name="connsiteX26513" fmla="*/ 299650 w 6884782"/>
              <a:gd name="connsiteY26513" fmla="*/ 3040792 h 5973007"/>
              <a:gd name="connsiteX26514" fmla="*/ 299030 w 6884782"/>
              <a:gd name="connsiteY26514" fmla="*/ 3038778 h 5973007"/>
              <a:gd name="connsiteX26515" fmla="*/ 299030 w 6884782"/>
              <a:gd name="connsiteY26515" fmla="*/ 3036764 h 5973007"/>
              <a:gd name="connsiteX26516" fmla="*/ 300166 w 6884782"/>
              <a:gd name="connsiteY26516" fmla="*/ 3033976 h 5973007"/>
              <a:gd name="connsiteX26517" fmla="*/ 303573 w 6884782"/>
              <a:gd name="connsiteY26517" fmla="*/ 3031962 h 5973007"/>
              <a:gd name="connsiteX26518" fmla="*/ 305329 w 6884782"/>
              <a:gd name="connsiteY26518" fmla="*/ 3031652 h 5973007"/>
              <a:gd name="connsiteX26519" fmla="*/ 282303 w 6884782"/>
              <a:gd name="connsiteY26519" fmla="*/ 3031033 h 5973007"/>
              <a:gd name="connsiteX26520" fmla="*/ 285607 w 6884782"/>
              <a:gd name="connsiteY26520" fmla="*/ 3031807 h 5973007"/>
              <a:gd name="connsiteX26521" fmla="*/ 286433 w 6884782"/>
              <a:gd name="connsiteY26521" fmla="*/ 3031343 h 5973007"/>
              <a:gd name="connsiteX26522" fmla="*/ 288911 w 6884782"/>
              <a:gd name="connsiteY26522" fmla="*/ 3032582 h 5973007"/>
              <a:gd name="connsiteX26523" fmla="*/ 289531 w 6884782"/>
              <a:gd name="connsiteY26523" fmla="*/ 3033511 h 5973007"/>
              <a:gd name="connsiteX26524" fmla="*/ 292319 w 6884782"/>
              <a:gd name="connsiteY26524" fmla="*/ 3035680 h 5973007"/>
              <a:gd name="connsiteX26525" fmla="*/ 290873 w 6884782"/>
              <a:gd name="connsiteY26525" fmla="*/ 3036299 h 5973007"/>
              <a:gd name="connsiteX26526" fmla="*/ 290460 w 6884782"/>
              <a:gd name="connsiteY26526" fmla="*/ 3039552 h 5973007"/>
              <a:gd name="connsiteX26527" fmla="*/ 292112 w 6884782"/>
              <a:gd name="connsiteY26527" fmla="*/ 3043889 h 5973007"/>
              <a:gd name="connsiteX26528" fmla="*/ 288808 w 6884782"/>
              <a:gd name="connsiteY26528" fmla="*/ 3038468 h 5973007"/>
              <a:gd name="connsiteX26529" fmla="*/ 287672 w 6884782"/>
              <a:gd name="connsiteY26529" fmla="*/ 3038003 h 5973007"/>
              <a:gd name="connsiteX26530" fmla="*/ 287465 w 6884782"/>
              <a:gd name="connsiteY26530" fmla="*/ 3038158 h 5973007"/>
              <a:gd name="connsiteX26531" fmla="*/ 287156 w 6884782"/>
              <a:gd name="connsiteY26531" fmla="*/ 3037849 h 5973007"/>
              <a:gd name="connsiteX26532" fmla="*/ 286226 w 6884782"/>
              <a:gd name="connsiteY26532" fmla="*/ 3037384 h 5973007"/>
              <a:gd name="connsiteX26533" fmla="*/ 286123 w 6884782"/>
              <a:gd name="connsiteY26533" fmla="*/ 3037074 h 5973007"/>
              <a:gd name="connsiteX26534" fmla="*/ 284058 w 6884782"/>
              <a:gd name="connsiteY26534" fmla="*/ 3035990 h 5973007"/>
              <a:gd name="connsiteX26535" fmla="*/ 280238 w 6884782"/>
              <a:gd name="connsiteY26535" fmla="*/ 3034441 h 5973007"/>
              <a:gd name="connsiteX26536" fmla="*/ 279928 w 6884782"/>
              <a:gd name="connsiteY26536" fmla="*/ 3032272 h 5973007"/>
              <a:gd name="connsiteX26537" fmla="*/ 282303 w 6884782"/>
              <a:gd name="connsiteY26537" fmla="*/ 3031033 h 5973007"/>
              <a:gd name="connsiteX26538" fmla="*/ 175020 w 6884782"/>
              <a:gd name="connsiteY26538" fmla="*/ 3027935 h 5973007"/>
              <a:gd name="connsiteX26539" fmla="*/ 176672 w 6884782"/>
              <a:gd name="connsiteY26539" fmla="*/ 3032272 h 5973007"/>
              <a:gd name="connsiteX26540" fmla="*/ 174090 w 6884782"/>
              <a:gd name="connsiteY26540" fmla="*/ 3028709 h 5973007"/>
              <a:gd name="connsiteX26541" fmla="*/ 175020 w 6884782"/>
              <a:gd name="connsiteY26541" fmla="*/ 3027935 h 5973007"/>
              <a:gd name="connsiteX26542" fmla="*/ 374820 w 6884782"/>
              <a:gd name="connsiteY26542" fmla="*/ 3026696 h 5973007"/>
              <a:gd name="connsiteX26543" fmla="*/ 376059 w 6884782"/>
              <a:gd name="connsiteY26543" fmla="*/ 3027780 h 5973007"/>
              <a:gd name="connsiteX26544" fmla="*/ 367902 w 6884782"/>
              <a:gd name="connsiteY26544" fmla="*/ 3027470 h 5973007"/>
              <a:gd name="connsiteX26545" fmla="*/ 374820 w 6884782"/>
              <a:gd name="connsiteY26545" fmla="*/ 3026696 h 5973007"/>
              <a:gd name="connsiteX26546" fmla="*/ 6510583 w 6884782"/>
              <a:gd name="connsiteY26546" fmla="*/ 3019230 h 5973007"/>
              <a:gd name="connsiteX26547" fmla="*/ 6518479 w 6884782"/>
              <a:gd name="connsiteY26547" fmla="*/ 3021506 h 5973007"/>
              <a:gd name="connsiteX26548" fmla="*/ 6513357 w 6884782"/>
              <a:gd name="connsiteY26548" fmla="*/ 3033314 h 5973007"/>
              <a:gd name="connsiteX26549" fmla="*/ 6503113 w 6884782"/>
              <a:gd name="connsiteY26549" fmla="*/ 3025063 h 5973007"/>
              <a:gd name="connsiteX26550" fmla="*/ 6510583 w 6884782"/>
              <a:gd name="connsiteY26550" fmla="*/ 3019230 h 5973007"/>
              <a:gd name="connsiteX26551" fmla="*/ 343637 w 6884782"/>
              <a:gd name="connsiteY26551" fmla="*/ 3017867 h 5973007"/>
              <a:gd name="connsiteX26552" fmla="*/ 349213 w 6884782"/>
              <a:gd name="connsiteY26552" fmla="*/ 3018796 h 5973007"/>
              <a:gd name="connsiteX26553" fmla="*/ 350245 w 6884782"/>
              <a:gd name="connsiteY26553" fmla="*/ 3020965 h 5973007"/>
              <a:gd name="connsiteX26554" fmla="*/ 347458 w 6884782"/>
              <a:gd name="connsiteY26554" fmla="*/ 3021429 h 5973007"/>
              <a:gd name="connsiteX26555" fmla="*/ 346425 w 6884782"/>
              <a:gd name="connsiteY26555" fmla="*/ 3019881 h 5973007"/>
              <a:gd name="connsiteX26556" fmla="*/ 343740 w 6884782"/>
              <a:gd name="connsiteY26556" fmla="*/ 3019570 h 5973007"/>
              <a:gd name="connsiteX26557" fmla="*/ 343637 w 6884782"/>
              <a:gd name="connsiteY26557" fmla="*/ 3017867 h 5973007"/>
              <a:gd name="connsiteX26558" fmla="*/ 352930 w 6884782"/>
              <a:gd name="connsiteY26558" fmla="*/ 3012291 h 5973007"/>
              <a:gd name="connsiteX26559" fmla="*/ 354789 w 6884782"/>
              <a:gd name="connsiteY26559" fmla="*/ 3013839 h 5973007"/>
              <a:gd name="connsiteX26560" fmla="*/ 356647 w 6884782"/>
              <a:gd name="connsiteY26560" fmla="*/ 3014459 h 5973007"/>
              <a:gd name="connsiteX26561" fmla="*/ 356751 w 6884782"/>
              <a:gd name="connsiteY26561" fmla="*/ 3017092 h 5973007"/>
              <a:gd name="connsiteX26562" fmla="*/ 354892 w 6884782"/>
              <a:gd name="connsiteY26562" fmla="*/ 3016318 h 5973007"/>
              <a:gd name="connsiteX26563" fmla="*/ 350452 w 6884782"/>
              <a:gd name="connsiteY26563" fmla="*/ 3013530 h 5973007"/>
              <a:gd name="connsiteX26564" fmla="*/ 352930 w 6884782"/>
              <a:gd name="connsiteY26564" fmla="*/ 3012291 h 5973007"/>
              <a:gd name="connsiteX26565" fmla="*/ 174503 w 6884782"/>
              <a:gd name="connsiteY26565" fmla="*/ 3011826 h 5973007"/>
              <a:gd name="connsiteX26566" fmla="*/ 174503 w 6884782"/>
              <a:gd name="connsiteY26566" fmla="*/ 3012755 h 5973007"/>
              <a:gd name="connsiteX26567" fmla="*/ 175329 w 6884782"/>
              <a:gd name="connsiteY26567" fmla="*/ 3011981 h 5973007"/>
              <a:gd name="connsiteX26568" fmla="*/ 176878 w 6884782"/>
              <a:gd name="connsiteY26568" fmla="*/ 3023908 h 5973007"/>
              <a:gd name="connsiteX26569" fmla="*/ 175949 w 6884782"/>
              <a:gd name="connsiteY26569" fmla="*/ 3023753 h 5973007"/>
              <a:gd name="connsiteX26570" fmla="*/ 174090 w 6884782"/>
              <a:gd name="connsiteY26570" fmla="*/ 3014924 h 5973007"/>
              <a:gd name="connsiteX26571" fmla="*/ 174503 w 6884782"/>
              <a:gd name="connsiteY26571" fmla="*/ 3011826 h 5973007"/>
              <a:gd name="connsiteX26572" fmla="*/ 164900 w 6884782"/>
              <a:gd name="connsiteY26572" fmla="*/ 3010122 h 5973007"/>
              <a:gd name="connsiteX26573" fmla="*/ 168411 w 6884782"/>
              <a:gd name="connsiteY26573" fmla="*/ 3010587 h 5973007"/>
              <a:gd name="connsiteX26574" fmla="*/ 168411 w 6884782"/>
              <a:gd name="connsiteY26574" fmla="*/ 3012291 h 5973007"/>
              <a:gd name="connsiteX26575" fmla="*/ 172645 w 6884782"/>
              <a:gd name="connsiteY26575" fmla="*/ 3025302 h 5973007"/>
              <a:gd name="connsiteX26576" fmla="*/ 164900 w 6884782"/>
              <a:gd name="connsiteY26576" fmla="*/ 3010122 h 5973007"/>
              <a:gd name="connsiteX26577" fmla="*/ 442505 w 6884782"/>
              <a:gd name="connsiteY26577" fmla="*/ 3009309 h 5973007"/>
              <a:gd name="connsiteX26578" fmla="*/ 466305 w 6884782"/>
              <a:gd name="connsiteY26578" fmla="*/ 3013375 h 5973007"/>
              <a:gd name="connsiteX26579" fmla="*/ 464653 w 6884782"/>
              <a:gd name="connsiteY26579" fmla="*/ 3022359 h 5973007"/>
              <a:gd name="connsiteX26580" fmla="*/ 453192 w 6884782"/>
              <a:gd name="connsiteY26580" fmla="*/ 3019726 h 5973007"/>
              <a:gd name="connsiteX26581" fmla="*/ 451643 w 6884782"/>
              <a:gd name="connsiteY26581" fmla="*/ 3020190 h 5973007"/>
              <a:gd name="connsiteX26582" fmla="*/ 449475 w 6884782"/>
              <a:gd name="connsiteY26582" fmla="*/ 3019726 h 5973007"/>
              <a:gd name="connsiteX26583" fmla="*/ 449061 w 6884782"/>
              <a:gd name="connsiteY26583" fmla="*/ 3018796 h 5973007"/>
              <a:gd name="connsiteX26584" fmla="*/ 442040 w 6884782"/>
              <a:gd name="connsiteY26584" fmla="*/ 3017247 h 5973007"/>
              <a:gd name="connsiteX26585" fmla="*/ 421492 w 6884782"/>
              <a:gd name="connsiteY26585" fmla="*/ 3012445 h 5973007"/>
              <a:gd name="connsiteX26586" fmla="*/ 442505 w 6884782"/>
              <a:gd name="connsiteY26586" fmla="*/ 3009309 h 5973007"/>
              <a:gd name="connsiteX26587" fmla="*/ 450817 w 6884782"/>
              <a:gd name="connsiteY26587" fmla="*/ 3006249 h 5973007"/>
              <a:gd name="connsiteX26588" fmla="*/ 453192 w 6884782"/>
              <a:gd name="connsiteY26588" fmla="*/ 3008573 h 5973007"/>
              <a:gd name="connsiteX26589" fmla="*/ 449784 w 6884782"/>
              <a:gd name="connsiteY26589" fmla="*/ 3009657 h 5973007"/>
              <a:gd name="connsiteX26590" fmla="*/ 449268 w 6884782"/>
              <a:gd name="connsiteY26590" fmla="*/ 3008263 h 5973007"/>
              <a:gd name="connsiteX26591" fmla="*/ 450817 w 6884782"/>
              <a:gd name="connsiteY26591" fmla="*/ 3006249 h 5973007"/>
              <a:gd name="connsiteX26592" fmla="*/ 338577 w 6884782"/>
              <a:gd name="connsiteY26592" fmla="*/ 3005165 h 5973007"/>
              <a:gd name="connsiteX26593" fmla="*/ 343017 w 6884782"/>
              <a:gd name="connsiteY26593" fmla="*/ 3005320 h 5973007"/>
              <a:gd name="connsiteX26594" fmla="*/ 346115 w 6884782"/>
              <a:gd name="connsiteY26594" fmla="*/ 3012445 h 5973007"/>
              <a:gd name="connsiteX26595" fmla="*/ 342604 w 6884782"/>
              <a:gd name="connsiteY26595" fmla="*/ 3012910 h 5973007"/>
              <a:gd name="connsiteX26596" fmla="*/ 338164 w 6884782"/>
              <a:gd name="connsiteY26596" fmla="*/ 3007179 h 5973007"/>
              <a:gd name="connsiteX26597" fmla="*/ 338577 w 6884782"/>
              <a:gd name="connsiteY26597" fmla="*/ 3005165 h 5973007"/>
              <a:gd name="connsiteX26598" fmla="*/ 230365 w 6884782"/>
              <a:gd name="connsiteY26598" fmla="*/ 2999279 h 5973007"/>
              <a:gd name="connsiteX26599" fmla="*/ 231088 w 6884782"/>
              <a:gd name="connsiteY26599" fmla="*/ 3006869 h 5973007"/>
              <a:gd name="connsiteX26600" fmla="*/ 230984 w 6884782"/>
              <a:gd name="connsiteY26600" fmla="*/ 3011051 h 5973007"/>
              <a:gd name="connsiteX26601" fmla="*/ 229229 w 6884782"/>
              <a:gd name="connsiteY26601" fmla="*/ 3012445 h 5973007"/>
              <a:gd name="connsiteX26602" fmla="*/ 228403 w 6884782"/>
              <a:gd name="connsiteY26602" fmla="*/ 3012445 h 5973007"/>
              <a:gd name="connsiteX26603" fmla="*/ 227680 w 6884782"/>
              <a:gd name="connsiteY26603" fmla="*/ 3010587 h 5973007"/>
              <a:gd name="connsiteX26604" fmla="*/ 228506 w 6884782"/>
              <a:gd name="connsiteY26604" fmla="*/ 3002377 h 5973007"/>
              <a:gd name="connsiteX26605" fmla="*/ 228610 w 6884782"/>
              <a:gd name="connsiteY26605" fmla="*/ 3000828 h 5973007"/>
              <a:gd name="connsiteX26606" fmla="*/ 230365 w 6884782"/>
              <a:gd name="connsiteY26606" fmla="*/ 2999279 h 5973007"/>
              <a:gd name="connsiteX26607" fmla="*/ 446893 w 6884782"/>
              <a:gd name="connsiteY26607" fmla="*/ 2998040 h 5973007"/>
              <a:gd name="connsiteX26608" fmla="*/ 448649 w 6884782"/>
              <a:gd name="connsiteY26608" fmla="*/ 2998040 h 5973007"/>
              <a:gd name="connsiteX26609" fmla="*/ 449268 w 6884782"/>
              <a:gd name="connsiteY26609" fmla="*/ 2999124 h 5973007"/>
              <a:gd name="connsiteX26610" fmla="*/ 449991 w 6884782"/>
              <a:gd name="connsiteY26610" fmla="*/ 2998659 h 5973007"/>
              <a:gd name="connsiteX26611" fmla="*/ 452572 w 6884782"/>
              <a:gd name="connsiteY26611" fmla="*/ 2998350 h 5973007"/>
              <a:gd name="connsiteX26612" fmla="*/ 453811 w 6884782"/>
              <a:gd name="connsiteY26612" fmla="*/ 3002532 h 5973007"/>
              <a:gd name="connsiteX26613" fmla="*/ 452056 w 6884782"/>
              <a:gd name="connsiteY26613" fmla="*/ 3003617 h 5973007"/>
              <a:gd name="connsiteX26614" fmla="*/ 450507 w 6884782"/>
              <a:gd name="connsiteY26614" fmla="*/ 3003306 h 5973007"/>
              <a:gd name="connsiteX26615" fmla="*/ 449991 w 6884782"/>
              <a:gd name="connsiteY26615" fmla="*/ 3005475 h 5973007"/>
              <a:gd name="connsiteX26616" fmla="*/ 442969 w 6884782"/>
              <a:gd name="connsiteY26616" fmla="*/ 3008108 h 5973007"/>
              <a:gd name="connsiteX26617" fmla="*/ 442040 w 6884782"/>
              <a:gd name="connsiteY26617" fmla="*/ 3006559 h 5973007"/>
              <a:gd name="connsiteX26618" fmla="*/ 441627 w 6884782"/>
              <a:gd name="connsiteY26618" fmla="*/ 3004546 h 5973007"/>
              <a:gd name="connsiteX26619" fmla="*/ 443279 w 6884782"/>
              <a:gd name="connsiteY26619" fmla="*/ 2999899 h 5973007"/>
              <a:gd name="connsiteX26620" fmla="*/ 446893 w 6884782"/>
              <a:gd name="connsiteY26620" fmla="*/ 2998040 h 5973007"/>
              <a:gd name="connsiteX26621" fmla="*/ 407630 w 6884782"/>
              <a:gd name="connsiteY26621" fmla="*/ 2996336 h 5973007"/>
              <a:gd name="connsiteX26622" fmla="*/ 418807 w 6884782"/>
              <a:gd name="connsiteY26622" fmla="*/ 3003771 h 5973007"/>
              <a:gd name="connsiteX26623" fmla="*/ 406726 w 6884782"/>
              <a:gd name="connsiteY26623" fmla="*/ 3002687 h 5973007"/>
              <a:gd name="connsiteX26624" fmla="*/ 394439 w 6884782"/>
              <a:gd name="connsiteY26624" fmla="*/ 2997266 h 5973007"/>
              <a:gd name="connsiteX26625" fmla="*/ 407630 w 6884782"/>
              <a:gd name="connsiteY26625" fmla="*/ 2996336 h 5973007"/>
              <a:gd name="connsiteX26626" fmla="*/ 635542 w 6884782"/>
              <a:gd name="connsiteY26626" fmla="*/ 2994787 h 5973007"/>
              <a:gd name="connsiteX26627" fmla="*/ 629450 w 6884782"/>
              <a:gd name="connsiteY26627" fmla="*/ 2999279 h 5973007"/>
              <a:gd name="connsiteX26628" fmla="*/ 615821 w 6884782"/>
              <a:gd name="connsiteY26628" fmla="*/ 3011826 h 5973007"/>
              <a:gd name="connsiteX26629" fmla="*/ 624700 w 6884782"/>
              <a:gd name="connsiteY26629" fmla="*/ 2996956 h 5973007"/>
              <a:gd name="connsiteX26630" fmla="*/ 625217 w 6884782"/>
              <a:gd name="connsiteY26630" fmla="*/ 2995872 h 5973007"/>
              <a:gd name="connsiteX26631" fmla="*/ 624700 w 6884782"/>
              <a:gd name="connsiteY26631" fmla="*/ 2995716 h 5973007"/>
              <a:gd name="connsiteX26632" fmla="*/ 624287 w 6884782"/>
              <a:gd name="connsiteY26632" fmla="*/ 2996491 h 5973007"/>
              <a:gd name="connsiteX26633" fmla="*/ 621706 w 6884782"/>
              <a:gd name="connsiteY26633" fmla="*/ 2996026 h 5973007"/>
              <a:gd name="connsiteX26634" fmla="*/ 621603 w 6884782"/>
              <a:gd name="connsiteY26634" fmla="*/ 2995872 h 5973007"/>
              <a:gd name="connsiteX26635" fmla="*/ 617266 w 6884782"/>
              <a:gd name="connsiteY26635" fmla="*/ 3000054 h 5973007"/>
              <a:gd name="connsiteX26636" fmla="*/ 609419 w 6884782"/>
              <a:gd name="connsiteY26636" fmla="*/ 3008108 h 5973007"/>
              <a:gd name="connsiteX26637" fmla="*/ 603120 w 6884782"/>
              <a:gd name="connsiteY26637" fmla="*/ 3016782 h 5973007"/>
              <a:gd name="connsiteX26638" fmla="*/ 602190 w 6884782"/>
              <a:gd name="connsiteY26638" fmla="*/ 3018951 h 5973007"/>
              <a:gd name="connsiteX26639" fmla="*/ 604979 w 6884782"/>
              <a:gd name="connsiteY26639" fmla="*/ 3019416 h 5973007"/>
              <a:gd name="connsiteX26640" fmla="*/ 601571 w 6884782"/>
              <a:gd name="connsiteY26640" fmla="*/ 3024062 h 5973007"/>
              <a:gd name="connsiteX26641" fmla="*/ 600332 w 6884782"/>
              <a:gd name="connsiteY26641" fmla="*/ 3023753 h 5973007"/>
              <a:gd name="connsiteX26642" fmla="*/ 599816 w 6884782"/>
              <a:gd name="connsiteY26642" fmla="*/ 3024837 h 5973007"/>
              <a:gd name="connsiteX26643" fmla="*/ 601674 w 6884782"/>
              <a:gd name="connsiteY26643" fmla="*/ 3025766 h 5973007"/>
              <a:gd name="connsiteX26644" fmla="*/ 602294 w 6884782"/>
              <a:gd name="connsiteY26644" fmla="*/ 3039088 h 5973007"/>
              <a:gd name="connsiteX26645" fmla="*/ 597647 w 6884782"/>
              <a:gd name="connsiteY26645" fmla="*/ 3033047 h 5973007"/>
              <a:gd name="connsiteX26646" fmla="*/ 593001 w 6884782"/>
              <a:gd name="connsiteY26646" fmla="*/ 3029174 h 5973007"/>
              <a:gd name="connsiteX26647" fmla="*/ 589696 w 6884782"/>
              <a:gd name="connsiteY26647" fmla="*/ 3031188 h 5973007"/>
              <a:gd name="connsiteX26648" fmla="*/ 580403 w 6884782"/>
              <a:gd name="connsiteY26648" fmla="*/ 3038933 h 5973007"/>
              <a:gd name="connsiteX26649" fmla="*/ 564812 w 6884782"/>
              <a:gd name="connsiteY26649" fmla="*/ 3057520 h 5973007"/>
              <a:gd name="connsiteX26650" fmla="*/ 557997 w 6884782"/>
              <a:gd name="connsiteY26650" fmla="*/ 3066969 h 5973007"/>
              <a:gd name="connsiteX26651" fmla="*/ 564399 w 6884782"/>
              <a:gd name="connsiteY26651" fmla="*/ 3067588 h 5973007"/>
              <a:gd name="connsiteX26652" fmla="*/ 582778 w 6884782"/>
              <a:gd name="connsiteY26652" fmla="*/ 3080755 h 5973007"/>
              <a:gd name="connsiteX26653" fmla="*/ 583088 w 6884782"/>
              <a:gd name="connsiteY26653" fmla="*/ 3126604 h 5973007"/>
              <a:gd name="connsiteX26654" fmla="*/ 550356 w 6884782"/>
              <a:gd name="connsiteY26654" fmla="*/ 3136982 h 5973007"/>
              <a:gd name="connsiteX26655" fmla="*/ 545606 w 6884782"/>
              <a:gd name="connsiteY26655" fmla="*/ 3131871 h 5973007"/>
              <a:gd name="connsiteX26656" fmla="*/ 542508 w 6884782"/>
              <a:gd name="connsiteY26656" fmla="*/ 3130166 h 5973007"/>
              <a:gd name="connsiteX26657" fmla="*/ 540856 w 6884782"/>
              <a:gd name="connsiteY26657" fmla="*/ 3130631 h 5973007"/>
              <a:gd name="connsiteX26658" fmla="*/ 540134 w 6884782"/>
              <a:gd name="connsiteY26658" fmla="*/ 3129082 h 5973007"/>
              <a:gd name="connsiteX26659" fmla="*/ 534868 w 6884782"/>
              <a:gd name="connsiteY26659" fmla="*/ 3127998 h 5973007"/>
              <a:gd name="connsiteX26660" fmla="*/ 534764 w 6884782"/>
              <a:gd name="connsiteY26660" fmla="*/ 3128308 h 5973007"/>
              <a:gd name="connsiteX26661" fmla="*/ 528466 w 6884782"/>
              <a:gd name="connsiteY26661" fmla="*/ 3138841 h 5973007"/>
              <a:gd name="connsiteX26662" fmla="*/ 532596 w 6884782"/>
              <a:gd name="connsiteY26662" fmla="*/ 3141009 h 5973007"/>
              <a:gd name="connsiteX26663" fmla="*/ 538688 w 6884782"/>
              <a:gd name="connsiteY26663" fmla="*/ 3146741 h 5973007"/>
              <a:gd name="connsiteX26664" fmla="*/ 534558 w 6884782"/>
              <a:gd name="connsiteY26664" fmla="*/ 3153556 h 5973007"/>
              <a:gd name="connsiteX26665" fmla="*/ 529601 w 6884782"/>
              <a:gd name="connsiteY26665" fmla="*/ 3147515 h 5973007"/>
              <a:gd name="connsiteX26666" fmla="*/ 524852 w 6884782"/>
              <a:gd name="connsiteY26666" fmla="*/ 3144882 h 5973007"/>
              <a:gd name="connsiteX26667" fmla="*/ 523922 w 6884782"/>
              <a:gd name="connsiteY26667" fmla="*/ 3146431 h 5973007"/>
              <a:gd name="connsiteX26668" fmla="*/ 521754 w 6884782"/>
              <a:gd name="connsiteY26668" fmla="*/ 3150148 h 5973007"/>
              <a:gd name="connsiteX26669" fmla="*/ 521857 w 6884782"/>
              <a:gd name="connsiteY26669" fmla="*/ 3150458 h 5973007"/>
              <a:gd name="connsiteX26670" fmla="*/ 521031 w 6884782"/>
              <a:gd name="connsiteY26670" fmla="*/ 3154331 h 5973007"/>
              <a:gd name="connsiteX26671" fmla="*/ 518966 w 6884782"/>
              <a:gd name="connsiteY26671" fmla="*/ 3155105 h 5973007"/>
              <a:gd name="connsiteX26672" fmla="*/ 515146 w 6884782"/>
              <a:gd name="connsiteY26672" fmla="*/ 3162230 h 5973007"/>
              <a:gd name="connsiteX26673" fmla="*/ 515042 w 6884782"/>
              <a:gd name="connsiteY26673" fmla="*/ 3162850 h 5973007"/>
              <a:gd name="connsiteX26674" fmla="*/ 514629 w 6884782"/>
              <a:gd name="connsiteY26674" fmla="*/ 3163160 h 5973007"/>
              <a:gd name="connsiteX26675" fmla="*/ 513184 w 6884782"/>
              <a:gd name="connsiteY26675" fmla="*/ 3165793 h 5973007"/>
              <a:gd name="connsiteX26676" fmla="*/ 503787 w 6884782"/>
              <a:gd name="connsiteY26676" fmla="*/ 3184535 h 5973007"/>
              <a:gd name="connsiteX26677" fmla="*/ 502652 w 6884782"/>
              <a:gd name="connsiteY26677" fmla="*/ 3189956 h 5973007"/>
              <a:gd name="connsiteX26678" fmla="*/ 501722 w 6884782"/>
              <a:gd name="connsiteY26678" fmla="*/ 3194758 h 5973007"/>
              <a:gd name="connsiteX26679" fmla="*/ 502135 w 6884782"/>
              <a:gd name="connsiteY26679" fmla="*/ 3194449 h 5973007"/>
              <a:gd name="connsiteX26680" fmla="*/ 509363 w 6884782"/>
              <a:gd name="connsiteY26680" fmla="*/ 3199405 h 5973007"/>
              <a:gd name="connsiteX26681" fmla="*/ 499554 w 6884782"/>
              <a:gd name="connsiteY26681" fmla="*/ 3201419 h 5973007"/>
              <a:gd name="connsiteX26682" fmla="*/ 498934 w 6884782"/>
              <a:gd name="connsiteY26682" fmla="*/ 3200180 h 5973007"/>
              <a:gd name="connsiteX26683" fmla="*/ 498728 w 6884782"/>
              <a:gd name="connsiteY26683" fmla="*/ 3200489 h 5973007"/>
              <a:gd name="connsiteX26684" fmla="*/ 492636 w 6884782"/>
              <a:gd name="connsiteY26684" fmla="*/ 3200954 h 5973007"/>
              <a:gd name="connsiteX26685" fmla="*/ 489538 w 6884782"/>
              <a:gd name="connsiteY26685" fmla="*/ 3214585 h 5973007"/>
              <a:gd name="connsiteX26686" fmla="*/ 490054 w 6884782"/>
              <a:gd name="connsiteY26686" fmla="*/ 3216134 h 5973007"/>
              <a:gd name="connsiteX26687" fmla="*/ 490157 w 6884782"/>
              <a:gd name="connsiteY26687" fmla="*/ 3216289 h 5973007"/>
              <a:gd name="connsiteX26688" fmla="*/ 490157 w 6884782"/>
              <a:gd name="connsiteY26688" fmla="*/ 3216444 h 5973007"/>
              <a:gd name="connsiteX26689" fmla="*/ 490570 w 6884782"/>
              <a:gd name="connsiteY26689" fmla="*/ 3217683 h 5973007"/>
              <a:gd name="connsiteX26690" fmla="*/ 489745 w 6884782"/>
              <a:gd name="connsiteY26690" fmla="*/ 3218303 h 5973007"/>
              <a:gd name="connsiteX26691" fmla="*/ 489125 w 6884782"/>
              <a:gd name="connsiteY26691" fmla="*/ 3220936 h 5973007"/>
              <a:gd name="connsiteX26692" fmla="*/ 487370 w 6884782"/>
              <a:gd name="connsiteY26692" fmla="*/ 3222020 h 5973007"/>
              <a:gd name="connsiteX26693" fmla="*/ 484375 w 6884782"/>
              <a:gd name="connsiteY26693" fmla="*/ 3223104 h 5973007"/>
              <a:gd name="connsiteX26694" fmla="*/ 483653 w 6884782"/>
              <a:gd name="connsiteY26694" fmla="*/ 3225428 h 5973007"/>
              <a:gd name="connsiteX26695" fmla="*/ 485098 w 6884782"/>
              <a:gd name="connsiteY26695" fmla="*/ 3225428 h 5973007"/>
              <a:gd name="connsiteX26696" fmla="*/ 486544 w 6884782"/>
              <a:gd name="connsiteY26696" fmla="*/ 3228681 h 5973007"/>
              <a:gd name="connsiteX26697" fmla="*/ 485304 w 6884782"/>
              <a:gd name="connsiteY26697" fmla="*/ 3230385 h 5973007"/>
              <a:gd name="connsiteX26698" fmla="*/ 486853 w 6884782"/>
              <a:gd name="connsiteY26698" fmla="*/ 3230385 h 5973007"/>
              <a:gd name="connsiteX26699" fmla="*/ 490467 w 6884782"/>
              <a:gd name="connsiteY26699" fmla="*/ 3232863 h 5973007"/>
              <a:gd name="connsiteX26700" fmla="*/ 485614 w 6884782"/>
              <a:gd name="connsiteY26700" fmla="*/ 3238439 h 5973007"/>
              <a:gd name="connsiteX26701" fmla="*/ 483859 w 6884782"/>
              <a:gd name="connsiteY26701" fmla="*/ 3241537 h 5973007"/>
              <a:gd name="connsiteX26702" fmla="*/ 491500 w 6884782"/>
              <a:gd name="connsiteY26702" fmla="*/ 3245255 h 5973007"/>
              <a:gd name="connsiteX26703" fmla="*/ 494907 w 6884782"/>
              <a:gd name="connsiteY26703" fmla="*/ 3243706 h 5973007"/>
              <a:gd name="connsiteX26704" fmla="*/ 498315 w 6884782"/>
              <a:gd name="connsiteY26704" fmla="*/ 3245874 h 5973007"/>
              <a:gd name="connsiteX26705" fmla="*/ 495217 w 6884782"/>
              <a:gd name="connsiteY26705" fmla="*/ 3247888 h 5973007"/>
              <a:gd name="connsiteX26706" fmla="*/ 501206 w 6884782"/>
              <a:gd name="connsiteY26706" fmla="*/ 3254239 h 5973007"/>
              <a:gd name="connsiteX26707" fmla="*/ 489125 w 6884782"/>
              <a:gd name="connsiteY26707" fmla="*/ 3256562 h 5973007"/>
              <a:gd name="connsiteX26708" fmla="*/ 477044 w 6884782"/>
              <a:gd name="connsiteY26708" fmla="*/ 3253774 h 5973007"/>
              <a:gd name="connsiteX26709" fmla="*/ 472191 w 6884782"/>
              <a:gd name="connsiteY26709" fmla="*/ 3267250 h 5973007"/>
              <a:gd name="connsiteX26710" fmla="*/ 468370 w 6884782"/>
              <a:gd name="connsiteY26710" fmla="*/ 3284133 h 5973007"/>
              <a:gd name="connsiteX26711" fmla="*/ 470332 w 6884782"/>
              <a:gd name="connsiteY26711" fmla="*/ 3284753 h 5973007"/>
              <a:gd name="connsiteX26712" fmla="*/ 473224 w 6884782"/>
              <a:gd name="connsiteY26712" fmla="*/ 3288625 h 5973007"/>
              <a:gd name="connsiteX26713" fmla="*/ 472914 w 6884782"/>
              <a:gd name="connsiteY26713" fmla="*/ 3292033 h 5973007"/>
              <a:gd name="connsiteX26714" fmla="*/ 472914 w 6884782"/>
              <a:gd name="connsiteY26714" fmla="*/ 3293737 h 5973007"/>
              <a:gd name="connsiteX26715" fmla="*/ 487163 w 6884782"/>
              <a:gd name="connsiteY26715" fmla="*/ 3294356 h 5973007"/>
              <a:gd name="connsiteX26716" fmla="*/ 485098 w 6884782"/>
              <a:gd name="connsiteY26716" fmla="*/ 3303650 h 5973007"/>
              <a:gd name="connsiteX26717" fmla="*/ 465789 w 6884782"/>
              <a:gd name="connsiteY26717" fmla="*/ 3301946 h 5973007"/>
              <a:gd name="connsiteX26718" fmla="*/ 465273 w 6884782"/>
              <a:gd name="connsiteY26718" fmla="*/ 3307058 h 5973007"/>
              <a:gd name="connsiteX26719" fmla="*/ 457425 w 6884782"/>
              <a:gd name="connsiteY26719" fmla="*/ 3320224 h 5973007"/>
              <a:gd name="connsiteX26720" fmla="*/ 456909 w 6884782"/>
              <a:gd name="connsiteY26720" fmla="*/ 3327040 h 5973007"/>
              <a:gd name="connsiteX26721" fmla="*/ 457012 w 6884782"/>
              <a:gd name="connsiteY26721" fmla="*/ 3326885 h 5973007"/>
              <a:gd name="connsiteX26722" fmla="*/ 456806 w 6884782"/>
              <a:gd name="connsiteY26722" fmla="*/ 3327814 h 5973007"/>
              <a:gd name="connsiteX26723" fmla="*/ 456703 w 6884782"/>
              <a:gd name="connsiteY26723" fmla="*/ 3328589 h 5973007"/>
              <a:gd name="connsiteX26724" fmla="*/ 456393 w 6884782"/>
              <a:gd name="connsiteY26724" fmla="*/ 3335869 h 5973007"/>
              <a:gd name="connsiteX26725" fmla="*/ 461659 w 6884782"/>
              <a:gd name="connsiteY26725" fmla="*/ 3328279 h 5973007"/>
              <a:gd name="connsiteX26726" fmla="*/ 461453 w 6884782"/>
              <a:gd name="connsiteY26726" fmla="*/ 3341290 h 5973007"/>
              <a:gd name="connsiteX26727" fmla="*/ 453708 w 6884782"/>
              <a:gd name="connsiteY26727" fmla="*/ 3364060 h 5973007"/>
              <a:gd name="connsiteX26728" fmla="*/ 457219 w 6884782"/>
              <a:gd name="connsiteY26728" fmla="*/ 3360188 h 5973007"/>
              <a:gd name="connsiteX26729" fmla="*/ 458045 w 6884782"/>
              <a:gd name="connsiteY26729" fmla="*/ 3352443 h 5973007"/>
              <a:gd name="connsiteX26730" fmla="*/ 459594 w 6884782"/>
              <a:gd name="connsiteY26730" fmla="*/ 3359413 h 5973007"/>
              <a:gd name="connsiteX26731" fmla="*/ 460523 w 6884782"/>
              <a:gd name="connsiteY26731" fmla="*/ 3366383 h 5973007"/>
              <a:gd name="connsiteX26732" fmla="*/ 458251 w 6884782"/>
              <a:gd name="connsiteY26732" fmla="*/ 3380789 h 5973007"/>
              <a:gd name="connsiteX26733" fmla="*/ 456806 w 6884782"/>
              <a:gd name="connsiteY26733" fmla="*/ 3388224 h 5973007"/>
              <a:gd name="connsiteX26734" fmla="*/ 459078 w 6884782"/>
              <a:gd name="connsiteY26734" fmla="*/ 3391786 h 5973007"/>
              <a:gd name="connsiteX26735" fmla="*/ 455877 w 6884782"/>
              <a:gd name="connsiteY26735" fmla="*/ 3393336 h 5973007"/>
              <a:gd name="connsiteX26736" fmla="*/ 455257 w 6884782"/>
              <a:gd name="connsiteY26736" fmla="*/ 3396279 h 5973007"/>
              <a:gd name="connsiteX26737" fmla="*/ 454844 w 6884782"/>
              <a:gd name="connsiteY26737" fmla="*/ 3402784 h 5973007"/>
              <a:gd name="connsiteX26738" fmla="*/ 456599 w 6884782"/>
              <a:gd name="connsiteY26738" fmla="*/ 3404178 h 5973007"/>
              <a:gd name="connsiteX26739" fmla="*/ 454947 w 6884782"/>
              <a:gd name="connsiteY26739" fmla="*/ 3406502 h 5973007"/>
              <a:gd name="connsiteX26740" fmla="*/ 455463 w 6884782"/>
              <a:gd name="connsiteY26740" fmla="*/ 3411768 h 5973007"/>
              <a:gd name="connsiteX26741" fmla="*/ 451023 w 6884782"/>
              <a:gd name="connsiteY26741" fmla="*/ 3416725 h 5973007"/>
              <a:gd name="connsiteX26742" fmla="*/ 454018 w 6884782"/>
              <a:gd name="connsiteY26742" fmla="*/ 3428497 h 5973007"/>
              <a:gd name="connsiteX26743" fmla="*/ 454224 w 6884782"/>
              <a:gd name="connsiteY26743" fmla="*/ 3439649 h 5973007"/>
              <a:gd name="connsiteX26744" fmla="*/ 456496 w 6884782"/>
              <a:gd name="connsiteY26744" fmla="*/ 3440114 h 5973007"/>
              <a:gd name="connsiteX26745" fmla="*/ 460110 w 6884782"/>
              <a:gd name="connsiteY26745" fmla="*/ 3443212 h 5973007"/>
              <a:gd name="connsiteX26746" fmla="*/ 462691 w 6884782"/>
              <a:gd name="connsiteY26746" fmla="*/ 3441973 h 5973007"/>
              <a:gd name="connsiteX26747" fmla="*/ 465066 w 6884782"/>
              <a:gd name="connsiteY26747" fmla="*/ 3442282 h 5973007"/>
              <a:gd name="connsiteX26748" fmla="*/ 467751 w 6884782"/>
              <a:gd name="connsiteY26748" fmla="*/ 3446310 h 5973007"/>
              <a:gd name="connsiteX26749" fmla="*/ 465892 w 6884782"/>
              <a:gd name="connsiteY26749" fmla="*/ 3448169 h 5973007"/>
              <a:gd name="connsiteX26750" fmla="*/ 467648 w 6884782"/>
              <a:gd name="connsiteY26750" fmla="*/ 3449718 h 5973007"/>
              <a:gd name="connsiteX26751" fmla="*/ 470642 w 6884782"/>
              <a:gd name="connsiteY26751" fmla="*/ 3455449 h 5973007"/>
              <a:gd name="connsiteX26752" fmla="*/ 471985 w 6884782"/>
              <a:gd name="connsiteY26752" fmla="*/ 3453745 h 5973007"/>
              <a:gd name="connsiteX26753" fmla="*/ 472191 w 6884782"/>
              <a:gd name="connsiteY26753" fmla="*/ 3448014 h 5973007"/>
              <a:gd name="connsiteX26754" fmla="*/ 462898 w 6884782"/>
              <a:gd name="connsiteY26754" fmla="*/ 3431750 h 5973007"/>
              <a:gd name="connsiteX26755" fmla="*/ 465789 w 6884782"/>
              <a:gd name="connsiteY26755" fmla="*/ 3432059 h 5973007"/>
              <a:gd name="connsiteX26756" fmla="*/ 462072 w 6884782"/>
              <a:gd name="connsiteY26756" fmla="*/ 3419203 h 5973007"/>
              <a:gd name="connsiteX26757" fmla="*/ 462588 w 6884782"/>
              <a:gd name="connsiteY26757" fmla="*/ 3418893 h 5973007"/>
              <a:gd name="connsiteX26758" fmla="*/ 462278 w 6884782"/>
              <a:gd name="connsiteY26758" fmla="*/ 3417809 h 5973007"/>
              <a:gd name="connsiteX26759" fmla="*/ 462382 w 6884782"/>
              <a:gd name="connsiteY26759" fmla="*/ 3405417 h 5973007"/>
              <a:gd name="connsiteX26760" fmla="*/ 470849 w 6884782"/>
              <a:gd name="connsiteY26760" fmla="*/ 3403094 h 5973007"/>
              <a:gd name="connsiteX26761" fmla="*/ 471261 w 6884782"/>
              <a:gd name="connsiteY26761" fmla="*/ 3392561 h 5973007"/>
              <a:gd name="connsiteX26762" fmla="*/ 470332 w 6884782"/>
              <a:gd name="connsiteY26762" fmla="*/ 3378465 h 5973007"/>
              <a:gd name="connsiteX26763" fmla="*/ 475289 w 6884782"/>
              <a:gd name="connsiteY26763" fmla="*/ 3377226 h 5973007"/>
              <a:gd name="connsiteX26764" fmla="*/ 475082 w 6884782"/>
              <a:gd name="connsiteY26764" fmla="*/ 3373973 h 5973007"/>
              <a:gd name="connsiteX26765" fmla="*/ 470642 w 6884782"/>
              <a:gd name="connsiteY26765" fmla="*/ 3378001 h 5973007"/>
              <a:gd name="connsiteX26766" fmla="*/ 468680 w 6884782"/>
              <a:gd name="connsiteY26766" fmla="*/ 3375057 h 5973007"/>
              <a:gd name="connsiteX26767" fmla="*/ 470332 w 6884782"/>
              <a:gd name="connsiteY26767" fmla="*/ 3372579 h 5973007"/>
              <a:gd name="connsiteX26768" fmla="*/ 473224 w 6884782"/>
              <a:gd name="connsiteY26768" fmla="*/ 3371650 h 5973007"/>
              <a:gd name="connsiteX26769" fmla="*/ 475082 w 6884782"/>
              <a:gd name="connsiteY26769" fmla="*/ 3373509 h 5973007"/>
              <a:gd name="connsiteX26770" fmla="*/ 474876 w 6884782"/>
              <a:gd name="connsiteY26770" fmla="*/ 3369017 h 5973007"/>
              <a:gd name="connsiteX26771" fmla="*/ 467958 w 6884782"/>
              <a:gd name="connsiteY26771" fmla="*/ 3368397 h 5973007"/>
              <a:gd name="connsiteX26772" fmla="*/ 459387 w 6884782"/>
              <a:gd name="connsiteY26772" fmla="*/ 3357090 h 5973007"/>
              <a:gd name="connsiteX26773" fmla="*/ 462588 w 6884782"/>
              <a:gd name="connsiteY26773" fmla="*/ 3348261 h 5973007"/>
              <a:gd name="connsiteX26774" fmla="*/ 476115 w 6884782"/>
              <a:gd name="connsiteY26774" fmla="*/ 3352753 h 5973007"/>
              <a:gd name="connsiteX26775" fmla="*/ 477147 w 6884782"/>
              <a:gd name="connsiteY26775" fmla="*/ 3346712 h 5973007"/>
              <a:gd name="connsiteX26776" fmla="*/ 480038 w 6884782"/>
              <a:gd name="connsiteY26776" fmla="*/ 3332461 h 5973007"/>
              <a:gd name="connsiteX26777" fmla="*/ 480555 w 6884782"/>
              <a:gd name="connsiteY26777" fmla="*/ 3323168 h 5973007"/>
              <a:gd name="connsiteX26778" fmla="*/ 476837 w 6884782"/>
              <a:gd name="connsiteY26778" fmla="*/ 3324407 h 5973007"/>
              <a:gd name="connsiteX26779" fmla="*/ 470849 w 6884782"/>
              <a:gd name="connsiteY26779" fmla="*/ 3322703 h 5973007"/>
              <a:gd name="connsiteX26780" fmla="*/ 470229 w 6884782"/>
              <a:gd name="connsiteY26780" fmla="*/ 3319295 h 5973007"/>
              <a:gd name="connsiteX26781" fmla="*/ 471985 w 6884782"/>
              <a:gd name="connsiteY26781" fmla="*/ 3314183 h 5973007"/>
              <a:gd name="connsiteX26782" fmla="*/ 473946 w 6884782"/>
              <a:gd name="connsiteY26782" fmla="*/ 3312015 h 5973007"/>
              <a:gd name="connsiteX26783" fmla="*/ 473224 w 6884782"/>
              <a:gd name="connsiteY26783" fmla="*/ 3311086 h 5973007"/>
              <a:gd name="connsiteX26784" fmla="*/ 474566 w 6884782"/>
              <a:gd name="connsiteY26784" fmla="*/ 3311240 h 5973007"/>
              <a:gd name="connsiteX26785" fmla="*/ 475702 w 6884782"/>
              <a:gd name="connsiteY26785" fmla="*/ 3309846 h 5973007"/>
              <a:gd name="connsiteX26786" fmla="*/ 477354 w 6884782"/>
              <a:gd name="connsiteY26786" fmla="*/ 3309072 h 5973007"/>
              <a:gd name="connsiteX26787" fmla="*/ 475702 w 6884782"/>
              <a:gd name="connsiteY26787" fmla="*/ 3305819 h 5973007"/>
              <a:gd name="connsiteX26788" fmla="*/ 477044 w 6884782"/>
              <a:gd name="connsiteY26788" fmla="*/ 3306284 h 5973007"/>
              <a:gd name="connsiteX26789" fmla="*/ 477560 w 6884782"/>
              <a:gd name="connsiteY26789" fmla="*/ 3307988 h 5973007"/>
              <a:gd name="connsiteX26790" fmla="*/ 477870 w 6884782"/>
              <a:gd name="connsiteY26790" fmla="*/ 3308917 h 5973007"/>
              <a:gd name="connsiteX26791" fmla="*/ 479522 w 6884782"/>
              <a:gd name="connsiteY26791" fmla="*/ 3307988 h 5973007"/>
              <a:gd name="connsiteX26792" fmla="*/ 483549 w 6884782"/>
              <a:gd name="connsiteY26792" fmla="*/ 3310621 h 5973007"/>
              <a:gd name="connsiteX26793" fmla="*/ 486337 w 6884782"/>
              <a:gd name="connsiteY26793" fmla="*/ 3304735 h 5973007"/>
              <a:gd name="connsiteX26794" fmla="*/ 488918 w 6884782"/>
              <a:gd name="connsiteY26794" fmla="*/ 3312790 h 5973007"/>
              <a:gd name="connsiteX26795" fmla="*/ 488712 w 6884782"/>
              <a:gd name="connsiteY26795" fmla="*/ 3314648 h 5973007"/>
              <a:gd name="connsiteX26796" fmla="*/ 489022 w 6884782"/>
              <a:gd name="connsiteY26796" fmla="*/ 3314958 h 5973007"/>
              <a:gd name="connsiteX26797" fmla="*/ 491810 w 6884782"/>
              <a:gd name="connsiteY26797" fmla="*/ 3305045 h 5973007"/>
              <a:gd name="connsiteX26798" fmla="*/ 498521 w 6884782"/>
              <a:gd name="connsiteY26798" fmla="*/ 3294511 h 5973007"/>
              <a:gd name="connsiteX26799" fmla="*/ 493875 w 6884782"/>
              <a:gd name="connsiteY26799" fmla="*/ 3294976 h 5973007"/>
              <a:gd name="connsiteX26800" fmla="*/ 500793 w 6884782"/>
              <a:gd name="connsiteY26800" fmla="*/ 3282120 h 5973007"/>
              <a:gd name="connsiteX26801" fmla="*/ 496250 w 6884782"/>
              <a:gd name="connsiteY26801" fmla="*/ 3274840 h 5973007"/>
              <a:gd name="connsiteX26802" fmla="*/ 500896 w 6884782"/>
              <a:gd name="connsiteY26802" fmla="*/ 3257491 h 5973007"/>
              <a:gd name="connsiteX26803" fmla="*/ 502755 w 6884782"/>
              <a:gd name="connsiteY26803" fmla="*/ 3250211 h 5973007"/>
              <a:gd name="connsiteX26804" fmla="*/ 501103 w 6884782"/>
              <a:gd name="connsiteY26804" fmla="*/ 3249746 h 5973007"/>
              <a:gd name="connsiteX26805" fmla="*/ 501206 w 6884782"/>
              <a:gd name="connsiteY26805" fmla="*/ 3244325 h 5973007"/>
              <a:gd name="connsiteX26806" fmla="*/ 504820 w 6884782"/>
              <a:gd name="connsiteY26806" fmla="*/ 3242622 h 5973007"/>
              <a:gd name="connsiteX26807" fmla="*/ 505646 w 6884782"/>
              <a:gd name="connsiteY26807" fmla="*/ 3239523 h 5973007"/>
              <a:gd name="connsiteX26808" fmla="*/ 508434 w 6884782"/>
              <a:gd name="connsiteY26808" fmla="*/ 3241537 h 5973007"/>
              <a:gd name="connsiteX26809" fmla="*/ 508950 w 6884782"/>
              <a:gd name="connsiteY26809" fmla="*/ 3242776 h 5973007"/>
              <a:gd name="connsiteX26810" fmla="*/ 510499 w 6884782"/>
              <a:gd name="connsiteY26810" fmla="*/ 3243551 h 5973007"/>
              <a:gd name="connsiteX26811" fmla="*/ 510396 w 6884782"/>
              <a:gd name="connsiteY26811" fmla="*/ 3244945 h 5973007"/>
              <a:gd name="connsiteX26812" fmla="*/ 511015 w 6884782"/>
              <a:gd name="connsiteY26812" fmla="*/ 3245719 h 5973007"/>
              <a:gd name="connsiteX26813" fmla="*/ 514423 w 6884782"/>
              <a:gd name="connsiteY26813" fmla="*/ 3245410 h 5973007"/>
              <a:gd name="connsiteX26814" fmla="*/ 507918 w 6884782"/>
              <a:gd name="connsiteY26814" fmla="*/ 3261364 h 5973007"/>
              <a:gd name="connsiteX26815" fmla="*/ 509363 w 6884782"/>
              <a:gd name="connsiteY26815" fmla="*/ 3276389 h 5973007"/>
              <a:gd name="connsiteX26816" fmla="*/ 504717 w 6884782"/>
              <a:gd name="connsiteY26816" fmla="*/ 3277008 h 5973007"/>
              <a:gd name="connsiteX26817" fmla="*/ 507298 w 6884782"/>
              <a:gd name="connsiteY26817" fmla="*/ 3280726 h 5973007"/>
              <a:gd name="connsiteX26818" fmla="*/ 514320 w 6884782"/>
              <a:gd name="connsiteY26818" fmla="*/ 3270038 h 5973007"/>
              <a:gd name="connsiteX26819" fmla="*/ 512771 w 6884782"/>
              <a:gd name="connsiteY26819" fmla="*/ 3257956 h 5973007"/>
              <a:gd name="connsiteX26820" fmla="*/ 516591 w 6884782"/>
              <a:gd name="connsiteY26820" fmla="*/ 3251760 h 5973007"/>
              <a:gd name="connsiteX26821" fmla="*/ 518347 w 6884782"/>
              <a:gd name="connsiteY26821" fmla="*/ 3248972 h 5973007"/>
              <a:gd name="connsiteX26822" fmla="*/ 517830 w 6884782"/>
              <a:gd name="connsiteY26822" fmla="*/ 3248353 h 5973007"/>
              <a:gd name="connsiteX26823" fmla="*/ 518759 w 6884782"/>
              <a:gd name="connsiteY26823" fmla="*/ 3248353 h 5973007"/>
              <a:gd name="connsiteX26824" fmla="*/ 520205 w 6884782"/>
              <a:gd name="connsiteY26824" fmla="*/ 3246029 h 5973007"/>
              <a:gd name="connsiteX26825" fmla="*/ 524645 w 6884782"/>
              <a:gd name="connsiteY26825" fmla="*/ 3248042 h 5973007"/>
              <a:gd name="connsiteX26826" fmla="*/ 530015 w 6884782"/>
              <a:gd name="connsiteY26826" fmla="*/ 3245564 h 5973007"/>
              <a:gd name="connsiteX26827" fmla="*/ 532596 w 6884782"/>
              <a:gd name="connsiteY26827" fmla="*/ 3244015 h 5973007"/>
              <a:gd name="connsiteX26828" fmla="*/ 533525 w 6884782"/>
              <a:gd name="connsiteY26828" fmla="*/ 3242002 h 5973007"/>
              <a:gd name="connsiteX26829" fmla="*/ 538068 w 6884782"/>
              <a:gd name="connsiteY26829" fmla="*/ 3224653 h 5973007"/>
              <a:gd name="connsiteX26830" fmla="*/ 543748 w 6884782"/>
              <a:gd name="connsiteY26830" fmla="*/ 3218767 h 5973007"/>
              <a:gd name="connsiteX26831" fmla="*/ 546535 w 6884782"/>
              <a:gd name="connsiteY26831" fmla="*/ 3214585 h 5973007"/>
              <a:gd name="connsiteX26832" fmla="*/ 549943 w 6884782"/>
              <a:gd name="connsiteY26832" fmla="*/ 3210713 h 5973007"/>
              <a:gd name="connsiteX26833" fmla="*/ 555106 w 6884782"/>
              <a:gd name="connsiteY26833" fmla="*/ 3202813 h 5973007"/>
              <a:gd name="connsiteX26834" fmla="*/ 555106 w 6884782"/>
              <a:gd name="connsiteY26834" fmla="*/ 3202348 h 5973007"/>
              <a:gd name="connsiteX26835" fmla="*/ 558410 w 6884782"/>
              <a:gd name="connsiteY26835" fmla="*/ 3194294 h 5973007"/>
              <a:gd name="connsiteX26836" fmla="*/ 563160 w 6884782"/>
              <a:gd name="connsiteY26836" fmla="*/ 3190576 h 5973007"/>
              <a:gd name="connsiteX26837" fmla="*/ 572246 w 6884782"/>
              <a:gd name="connsiteY26837" fmla="*/ 3177410 h 5973007"/>
              <a:gd name="connsiteX26838" fmla="*/ 568220 w 6884782"/>
              <a:gd name="connsiteY26838" fmla="*/ 3175861 h 5973007"/>
              <a:gd name="connsiteX26839" fmla="*/ 561404 w 6884782"/>
              <a:gd name="connsiteY26839" fmla="*/ 3170749 h 5973007"/>
              <a:gd name="connsiteX26840" fmla="*/ 561301 w 6884782"/>
              <a:gd name="connsiteY26840" fmla="*/ 3169665 h 5973007"/>
              <a:gd name="connsiteX26841" fmla="*/ 560268 w 6884782"/>
              <a:gd name="connsiteY26841" fmla="*/ 3168891 h 5973007"/>
              <a:gd name="connsiteX26842" fmla="*/ 560062 w 6884782"/>
              <a:gd name="connsiteY26842" fmla="*/ 3169045 h 5973007"/>
              <a:gd name="connsiteX26843" fmla="*/ 559236 w 6884782"/>
              <a:gd name="connsiteY26843" fmla="*/ 3169200 h 5973007"/>
              <a:gd name="connsiteX26844" fmla="*/ 556242 w 6884782"/>
              <a:gd name="connsiteY26844" fmla="*/ 3167497 h 5973007"/>
              <a:gd name="connsiteX26845" fmla="*/ 556448 w 6884782"/>
              <a:gd name="connsiteY26845" fmla="*/ 3165328 h 5973007"/>
              <a:gd name="connsiteX26846" fmla="*/ 560578 w 6884782"/>
              <a:gd name="connsiteY26846" fmla="*/ 3162230 h 5973007"/>
              <a:gd name="connsiteX26847" fmla="*/ 560578 w 6884782"/>
              <a:gd name="connsiteY26847" fmla="*/ 3146896 h 5973007"/>
              <a:gd name="connsiteX26848" fmla="*/ 569355 w 6884782"/>
              <a:gd name="connsiteY26848" fmla="*/ 3146585 h 5973007"/>
              <a:gd name="connsiteX26849" fmla="*/ 574518 w 6884782"/>
              <a:gd name="connsiteY26849" fmla="*/ 3161146 h 5973007"/>
              <a:gd name="connsiteX26850" fmla="*/ 573692 w 6884782"/>
              <a:gd name="connsiteY26850" fmla="*/ 3161146 h 5973007"/>
              <a:gd name="connsiteX26851" fmla="*/ 575757 w 6884782"/>
              <a:gd name="connsiteY26851" fmla="*/ 3165948 h 5973007"/>
              <a:gd name="connsiteX26852" fmla="*/ 574931 w 6884782"/>
              <a:gd name="connsiteY26852" fmla="*/ 3166567 h 5973007"/>
              <a:gd name="connsiteX26853" fmla="*/ 574931 w 6884782"/>
              <a:gd name="connsiteY26853" fmla="*/ 3166877 h 5973007"/>
              <a:gd name="connsiteX26854" fmla="*/ 577925 w 6884782"/>
              <a:gd name="connsiteY26854" fmla="*/ 3169665 h 5973007"/>
              <a:gd name="connsiteX26855" fmla="*/ 577925 w 6884782"/>
              <a:gd name="connsiteY26855" fmla="*/ 3169510 h 5973007"/>
              <a:gd name="connsiteX26856" fmla="*/ 577925 w 6884782"/>
              <a:gd name="connsiteY26856" fmla="*/ 3169200 h 5973007"/>
              <a:gd name="connsiteX26857" fmla="*/ 582262 w 6884782"/>
              <a:gd name="connsiteY26857" fmla="*/ 3163624 h 5973007"/>
              <a:gd name="connsiteX26858" fmla="*/ 584121 w 6884782"/>
              <a:gd name="connsiteY26858" fmla="*/ 3163005 h 5973007"/>
              <a:gd name="connsiteX26859" fmla="*/ 585360 w 6884782"/>
              <a:gd name="connsiteY26859" fmla="*/ 3161610 h 5973007"/>
              <a:gd name="connsiteX26860" fmla="*/ 584533 w 6884782"/>
              <a:gd name="connsiteY26860" fmla="*/ 3161920 h 5973007"/>
              <a:gd name="connsiteX26861" fmla="*/ 583501 w 6884782"/>
              <a:gd name="connsiteY26861" fmla="*/ 3162385 h 5973007"/>
              <a:gd name="connsiteX26862" fmla="*/ 581643 w 6884782"/>
              <a:gd name="connsiteY26862" fmla="*/ 3161765 h 5973007"/>
              <a:gd name="connsiteX26863" fmla="*/ 577925 w 6884782"/>
              <a:gd name="connsiteY26863" fmla="*/ 3157274 h 5973007"/>
              <a:gd name="connsiteX26864" fmla="*/ 584224 w 6884782"/>
              <a:gd name="connsiteY26864" fmla="*/ 3154640 h 5973007"/>
              <a:gd name="connsiteX26865" fmla="*/ 589696 w 6884782"/>
              <a:gd name="connsiteY26865" fmla="*/ 3156034 h 5973007"/>
              <a:gd name="connsiteX26866" fmla="*/ 588767 w 6884782"/>
              <a:gd name="connsiteY26866" fmla="*/ 3153711 h 5973007"/>
              <a:gd name="connsiteX26867" fmla="*/ 591039 w 6884782"/>
              <a:gd name="connsiteY26867" fmla="*/ 3150768 h 5973007"/>
              <a:gd name="connsiteX26868" fmla="*/ 593827 w 6884782"/>
              <a:gd name="connsiteY26868" fmla="*/ 3146585 h 5973007"/>
              <a:gd name="connsiteX26869" fmla="*/ 595169 w 6884782"/>
              <a:gd name="connsiteY26869" fmla="*/ 3139770 h 5973007"/>
              <a:gd name="connsiteX26870" fmla="*/ 596718 w 6884782"/>
              <a:gd name="connsiteY26870" fmla="*/ 3144572 h 5973007"/>
              <a:gd name="connsiteX26871" fmla="*/ 606734 w 6884782"/>
              <a:gd name="connsiteY26871" fmla="*/ 3121957 h 5973007"/>
              <a:gd name="connsiteX26872" fmla="*/ 617472 w 6884782"/>
              <a:gd name="connsiteY26872" fmla="*/ 3099497 h 5973007"/>
              <a:gd name="connsiteX26873" fmla="*/ 608076 w 6884782"/>
              <a:gd name="connsiteY26873" fmla="*/ 3102905 h 5973007"/>
              <a:gd name="connsiteX26874" fmla="*/ 615304 w 6884782"/>
              <a:gd name="connsiteY26874" fmla="*/ 3094385 h 5973007"/>
              <a:gd name="connsiteX26875" fmla="*/ 621499 w 6884782"/>
              <a:gd name="connsiteY26875" fmla="*/ 3088964 h 5973007"/>
              <a:gd name="connsiteX26876" fmla="*/ 620054 w 6884782"/>
              <a:gd name="connsiteY26876" fmla="*/ 3087106 h 5973007"/>
              <a:gd name="connsiteX26877" fmla="*/ 619641 w 6884782"/>
              <a:gd name="connsiteY26877" fmla="*/ 3083852 h 5973007"/>
              <a:gd name="connsiteX26878" fmla="*/ 620157 w 6884782"/>
              <a:gd name="connsiteY26878" fmla="*/ 3082768 h 5973007"/>
              <a:gd name="connsiteX26879" fmla="*/ 621603 w 6884782"/>
              <a:gd name="connsiteY26879" fmla="*/ 3086641 h 5973007"/>
              <a:gd name="connsiteX26880" fmla="*/ 622016 w 6884782"/>
              <a:gd name="connsiteY26880" fmla="*/ 3088499 h 5973007"/>
              <a:gd name="connsiteX26881" fmla="*/ 622429 w 6884782"/>
              <a:gd name="connsiteY26881" fmla="*/ 3088190 h 5973007"/>
              <a:gd name="connsiteX26882" fmla="*/ 627282 w 6884782"/>
              <a:gd name="connsiteY26882" fmla="*/ 3080909 h 5973007"/>
              <a:gd name="connsiteX26883" fmla="*/ 628728 w 6884782"/>
              <a:gd name="connsiteY26883" fmla="*/ 3076882 h 5973007"/>
              <a:gd name="connsiteX26884" fmla="*/ 627075 w 6884782"/>
              <a:gd name="connsiteY26884" fmla="*/ 3078431 h 5973007"/>
              <a:gd name="connsiteX26885" fmla="*/ 623048 w 6884782"/>
              <a:gd name="connsiteY26885" fmla="*/ 3073010 h 5973007"/>
              <a:gd name="connsiteX26886" fmla="*/ 624700 w 6884782"/>
              <a:gd name="connsiteY26886" fmla="*/ 3072235 h 5973007"/>
              <a:gd name="connsiteX26887" fmla="*/ 627695 w 6884782"/>
              <a:gd name="connsiteY26887" fmla="*/ 3072545 h 5973007"/>
              <a:gd name="connsiteX26888" fmla="*/ 629553 w 6884782"/>
              <a:gd name="connsiteY26888" fmla="*/ 3074404 h 5973007"/>
              <a:gd name="connsiteX26889" fmla="*/ 630380 w 6884782"/>
              <a:gd name="connsiteY26889" fmla="*/ 3071926 h 5973007"/>
              <a:gd name="connsiteX26890" fmla="*/ 635129 w 6884782"/>
              <a:gd name="connsiteY26890" fmla="*/ 3072235 h 5973007"/>
              <a:gd name="connsiteX26891" fmla="*/ 639776 w 6884782"/>
              <a:gd name="connsiteY26891" fmla="*/ 3070841 h 5973007"/>
              <a:gd name="connsiteX26892" fmla="*/ 639776 w 6884782"/>
              <a:gd name="connsiteY26892" fmla="*/ 3070686 h 5973007"/>
              <a:gd name="connsiteX26893" fmla="*/ 639672 w 6884782"/>
              <a:gd name="connsiteY26893" fmla="*/ 3068983 h 5973007"/>
              <a:gd name="connsiteX26894" fmla="*/ 639983 w 6884782"/>
              <a:gd name="connsiteY26894" fmla="*/ 3062941 h 5973007"/>
              <a:gd name="connsiteX26895" fmla="*/ 641118 w 6884782"/>
              <a:gd name="connsiteY26895" fmla="*/ 3067124 h 5973007"/>
              <a:gd name="connsiteX26896" fmla="*/ 641738 w 6884782"/>
              <a:gd name="connsiteY26896" fmla="*/ 3068208 h 5973007"/>
              <a:gd name="connsiteX26897" fmla="*/ 642151 w 6884782"/>
              <a:gd name="connsiteY26897" fmla="*/ 3068053 h 5973007"/>
              <a:gd name="connsiteX26898" fmla="*/ 642254 w 6884782"/>
              <a:gd name="connsiteY26898" fmla="*/ 3068363 h 5973007"/>
              <a:gd name="connsiteX26899" fmla="*/ 646797 w 6884782"/>
              <a:gd name="connsiteY26899" fmla="*/ 3061857 h 5973007"/>
              <a:gd name="connsiteX26900" fmla="*/ 654541 w 6884782"/>
              <a:gd name="connsiteY26900" fmla="*/ 3054887 h 5973007"/>
              <a:gd name="connsiteX26901" fmla="*/ 646074 w 6884782"/>
              <a:gd name="connsiteY26901" fmla="*/ 3050550 h 5973007"/>
              <a:gd name="connsiteX26902" fmla="*/ 641015 w 6884782"/>
              <a:gd name="connsiteY26902" fmla="*/ 3059689 h 5973007"/>
              <a:gd name="connsiteX26903" fmla="*/ 641118 w 6884782"/>
              <a:gd name="connsiteY26903" fmla="*/ 3058450 h 5973007"/>
              <a:gd name="connsiteX26904" fmla="*/ 639363 w 6884782"/>
              <a:gd name="connsiteY26904" fmla="*/ 3060773 h 5973007"/>
              <a:gd name="connsiteX26905" fmla="*/ 634200 w 6884782"/>
              <a:gd name="connsiteY26905" fmla="*/ 3064491 h 5973007"/>
              <a:gd name="connsiteX26906" fmla="*/ 630380 w 6884782"/>
              <a:gd name="connsiteY26906" fmla="*/ 3059998 h 5973007"/>
              <a:gd name="connsiteX26907" fmla="*/ 638743 w 6884782"/>
              <a:gd name="connsiteY26907" fmla="*/ 3052563 h 5973007"/>
              <a:gd name="connsiteX26908" fmla="*/ 641634 w 6884782"/>
              <a:gd name="connsiteY26908" fmla="*/ 3054422 h 5973007"/>
              <a:gd name="connsiteX26909" fmla="*/ 643183 w 6884782"/>
              <a:gd name="connsiteY26909" fmla="*/ 3051015 h 5973007"/>
              <a:gd name="connsiteX26910" fmla="*/ 644938 w 6884782"/>
              <a:gd name="connsiteY26910" fmla="*/ 3042185 h 5973007"/>
              <a:gd name="connsiteX26911" fmla="*/ 646694 w 6884782"/>
              <a:gd name="connsiteY26911" fmla="*/ 3048536 h 5973007"/>
              <a:gd name="connsiteX26912" fmla="*/ 651444 w 6884782"/>
              <a:gd name="connsiteY26912" fmla="*/ 3051324 h 5973007"/>
              <a:gd name="connsiteX26913" fmla="*/ 654851 w 6884782"/>
              <a:gd name="connsiteY26913" fmla="*/ 3050705 h 5973007"/>
              <a:gd name="connsiteX26914" fmla="*/ 654541 w 6884782"/>
              <a:gd name="connsiteY26914" fmla="*/ 3047142 h 5973007"/>
              <a:gd name="connsiteX26915" fmla="*/ 656503 w 6884782"/>
              <a:gd name="connsiteY26915" fmla="*/ 3043734 h 5973007"/>
              <a:gd name="connsiteX26916" fmla="*/ 657949 w 6884782"/>
              <a:gd name="connsiteY26916" fmla="*/ 3043270 h 5973007"/>
              <a:gd name="connsiteX26917" fmla="*/ 657949 w 6884782"/>
              <a:gd name="connsiteY26917" fmla="*/ 3038468 h 5973007"/>
              <a:gd name="connsiteX26918" fmla="*/ 658982 w 6884782"/>
              <a:gd name="connsiteY26918" fmla="*/ 3033202 h 5973007"/>
              <a:gd name="connsiteX26919" fmla="*/ 664351 w 6884782"/>
              <a:gd name="connsiteY26919" fmla="*/ 3036919 h 5973007"/>
              <a:gd name="connsiteX26920" fmla="*/ 670650 w 6884782"/>
              <a:gd name="connsiteY26920" fmla="*/ 3038003 h 5973007"/>
              <a:gd name="connsiteX26921" fmla="*/ 670856 w 6884782"/>
              <a:gd name="connsiteY26921" fmla="*/ 3030413 h 5973007"/>
              <a:gd name="connsiteX26922" fmla="*/ 671888 w 6884782"/>
              <a:gd name="connsiteY26922" fmla="*/ 3028245 h 5973007"/>
              <a:gd name="connsiteX26923" fmla="*/ 659395 w 6884782"/>
              <a:gd name="connsiteY26923" fmla="*/ 3028709 h 5973007"/>
              <a:gd name="connsiteX26924" fmla="*/ 644938 w 6884782"/>
              <a:gd name="connsiteY26924" fmla="*/ 3024837 h 5973007"/>
              <a:gd name="connsiteX26925" fmla="*/ 642667 w 6884782"/>
              <a:gd name="connsiteY26925" fmla="*/ 3020190 h 5973007"/>
              <a:gd name="connsiteX26926" fmla="*/ 643906 w 6884782"/>
              <a:gd name="connsiteY26926" fmla="*/ 3009192 h 5973007"/>
              <a:gd name="connsiteX26927" fmla="*/ 646591 w 6884782"/>
              <a:gd name="connsiteY26927" fmla="*/ 3003461 h 5973007"/>
              <a:gd name="connsiteX26928" fmla="*/ 642048 w 6884782"/>
              <a:gd name="connsiteY26928" fmla="*/ 2996801 h 5973007"/>
              <a:gd name="connsiteX26929" fmla="*/ 641634 w 6884782"/>
              <a:gd name="connsiteY26929" fmla="*/ 2996956 h 5973007"/>
              <a:gd name="connsiteX26930" fmla="*/ 636265 w 6884782"/>
              <a:gd name="connsiteY26930" fmla="*/ 2995716 h 5973007"/>
              <a:gd name="connsiteX26931" fmla="*/ 314416 w 6884782"/>
              <a:gd name="connsiteY26931" fmla="*/ 2992154 h 5973007"/>
              <a:gd name="connsiteX26932" fmla="*/ 317823 w 6884782"/>
              <a:gd name="connsiteY26932" fmla="*/ 2994632 h 5973007"/>
              <a:gd name="connsiteX26933" fmla="*/ 308530 w 6884782"/>
              <a:gd name="connsiteY26933" fmla="*/ 3002687 h 5973007"/>
              <a:gd name="connsiteX26934" fmla="*/ 304813 w 6884782"/>
              <a:gd name="connsiteY26934" fmla="*/ 3000828 h 5973007"/>
              <a:gd name="connsiteX26935" fmla="*/ 311421 w 6884782"/>
              <a:gd name="connsiteY26935" fmla="*/ 2993084 h 5973007"/>
              <a:gd name="connsiteX26936" fmla="*/ 314416 w 6884782"/>
              <a:gd name="connsiteY26936" fmla="*/ 2992154 h 5973007"/>
              <a:gd name="connsiteX26937" fmla="*/ 6807489 w 6884782"/>
              <a:gd name="connsiteY26937" fmla="*/ 2991811 h 5973007"/>
              <a:gd name="connsiteX26938" fmla="*/ 6818022 w 6884782"/>
              <a:gd name="connsiteY26938" fmla="*/ 2997697 h 5973007"/>
              <a:gd name="connsiteX26939" fmla="*/ 6812445 w 6884782"/>
              <a:gd name="connsiteY26939" fmla="*/ 3012669 h 5973007"/>
              <a:gd name="connsiteX26940" fmla="*/ 6797111 w 6884782"/>
              <a:gd name="connsiteY26940" fmla="*/ 3005648 h 5973007"/>
              <a:gd name="connsiteX26941" fmla="*/ 6807489 w 6884782"/>
              <a:gd name="connsiteY26941" fmla="*/ 2991811 h 5973007"/>
              <a:gd name="connsiteX26942" fmla="*/ 423351 w 6884782"/>
              <a:gd name="connsiteY26942" fmla="*/ 2991534 h 5973007"/>
              <a:gd name="connsiteX26943" fmla="*/ 421079 w 6884782"/>
              <a:gd name="connsiteY26943" fmla="*/ 2997730 h 5973007"/>
              <a:gd name="connsiteX26944" fmla="*/ 419221 w 6884782"/>
              <a:gd name="connsiteY26944" fmla="*/ 2997111 h 5973007"/>
              <a:gd name="connsiteX26945" fmla="*/ 417672 w 6884782"/>
              <a:gd name="connsiteY26945" fmla="*/ 2994787 h 5973007"/>
              <a:gd name="connsiteX26946" fmla="*/ 418085 w 6884782"/>
              <a:gd name="connsiteY26946" fmla="*/ 2992309 h 5973007"/>
              <a:gd name="connsiteX26947" fmla="*/ 423351 w 6884782"/>
              <a:gd name="connsiteY26947" fmla="*/ 2991534 h 5973007"/>
              <a:gd name="connsiteX26948" fmla="*/ 487886 w 6884782"/>
              <a:gd name="connsiteY26948" fmla="*/ 2987817 h 5973007"/>
              <a:gd name="connsiteX26949" fmla="*/ 493152 w 6884782"/>
              <a:gd name="connsiteY26949" fmla="*/ 2989211 h 5973007"/>
              <a:gd name="connsiteX26950" fmla="*/ 493978 w 6884782"/>
              <a:gd name="connsiteY26950" fmla="*/ 2991689 h 5973007"/>
              <a:gd name="connsiteX26951" fmla="*/ 491294 w 6884782"/>
              <a:gd name="connsiteY26951" fmla="*/ 2991689 h 5973007"/>
              <a:gd name="connsiteX26952" fmla="*/ 490467 w 6884782"/>
              <a:gd name="connsiteY26952" fmla="*/ 2990140 h 5973007"/>
              <a:gd name="connsiteX26953" fmla="*/ 487783 w 6884782"/>
              <a:gd name="connsiteY26953" fmla="*/ 2989521 h 5973007"/>
              <a:gd name="connsiteX26954" fmla="*/ 487886 w 6884782"/>
              <a:gd name="connsiteY26954" fmla="*/ 2987817 h 5973007"/>
              <a:gd name="connsiteX26955" fmla="*/ 296449 w 6884782"/>
              <a:gd name="connsiteY26955" fmla="*/ 2985493 h 5973007"/>
              <a:gd name="connsiteX26956" fmla="*/ 305845 w 6884782"/>
              <a:gd name="connsiteY26956" fmla="*/ 2985648 h 5973007"/>
              <a:gd name="connsiteX26957" fmla="*/ 307084 w 6884782"/>
              <a:gd name="connsiteY26957" fmla="*/ 2990140 h 5973007"/>
              <a:gd name="connsiteX26958" fmla="*/ 306775 w 6884782"/>
              <a:gd name="connsiteY26958" fmla="*/ 2990450 h 5973007"/>
              <a:gd name="connsiteX26959" fmla="*/ 302438 w 6884782"/>
              <a:gd name="connsiteY26959" fmla="*/ 2998815 h 5973007"/>
              <a:gd name="connsiteX26960" fmla="*/ 297068 w 6884782"/>
              <a:gd name="connsiteY26960" fmla="*/ 3000054 h 5973007"/>
              <a:gd name="connsiteX26961" fmla="*/ 296242 w 6884782"/>
              <a:gd name="connsiteY26961" fmla="*/ 2997420 h 5973007"/>
              <a:gd name="connsiteX26962" fmla="*/ 298514 w 6884782"/>
              <a:gd name="connsiteY26962" fmla="*/ 2993703 h 5973007"/>
              <a:gd name="connsiteX26963" fmla="*/ 296655 w 6884782"/>
              <a:gd name="connsiteY26963" fmla="*/ 2993703 h 5973007"/>
              <a:gd name="connsiteX26964" fmla="*/ 292525 w 6884782"/>
              <a:gd name="connsiteY26964" fmla="*/ 2991534 h 5973007"/>
              <a:gd name="connsiteX26965" fmla="*/ 296449 w 6884782"/>
              <a:gd name="connsiteY26965" fmla="*/ 2985493 h 5973007"/>
              <a:gd name="connsiteX26966" fmla="*/ 711023 w 6884782"/>
              <a:gd name="connsiteY26966" fmla="*/ 2984719 h 5973007"/>
              <a:gd name="connsiteX26967" fmla="*/ 713501 w 6884782"/>
              <a:gd name="connsiteY26967" fmla="*/ 2987972 h 5973007"/>
              <a:gd name="connsiteX26968" fmla="*/ 710919 w 6884782"/>
              <a:gd name="connsiteY26968" fmla="*/ 2985803 h 5973007"/>
              <a:gd name="connsiteX26969" fmla="*/ 711023 w 6884782"/>
              <a:gd name="connsiteY26969" fmla="*/ 2984719 h 5973007"/>
              <a:gd name="connsiteX26970" fmla="*/ 497592 w 6884782"/>
              <a:gd name="connsiteY26970" fmla="*/ 2983170 h 5973007"/>
              <a:gd name="connsiteX26971" fmla="*/ 499244 w 6884782"/>
              <a:gd name="connsiteY26971" fmla="*/ 2984874 h 5973007"/>
              <a:gd name="connsiteX26972" fmla="*/ 500999 w 6884782"/>
              <a:gd name="connsiteY26972" fmla="*/ 2985648 h 5973007"/>
              <a:gd name="connsiteX26973" fmla="*/ 500896 w 6884782"/>
              <a:gd name="connsiteY26973" fmla="*/ 2988127 h 5973007"/>
              <a:gd name="connsiteX26974" fmla="*/ 499141 w 6884782"/>
              <a:gd name="connsiteY26974" fmla="*/ 2987352 h 5973007"/>
              <a:gd name="connsiteX26975" fmla="*/ 495011 w 6884782"/>
              <a:gd name="connsiteY26975" fmla="*/ 2984099 h 5973007"/>
              <a:gd name="connsiteX26976" fmla="*/ 497592 w 6884782"/>
              <a:gd name="connsiteY26976" fmla="*/ 2983170 h 5973007"/>
              <a:gd name="connsiteX26977" fmla="*/ 594653 w 6884782"/>
              <a:gd name="connsiteY26977" fmla="*/ 2978833 h 5973007"/>
              <a:gd name="connsiteX26978" fmla="*/ 597441 w 6884782"/>
              <a:gd name="connsiteY26978" fmla="*/ 2978833 h 5973007"/>
              <a:gd name="connsiteX26979" fmla="*/ 598060 w 6884782"/>
              <a:gd name="connsiteY26979" fmla="*/ 2983015 h 5973007"/>
              <a:gd name="connsiteX26980" fmla="*/ 596201 w 6884782"/>
              <a:gd name="connsiteY26980" fmla="*/ 2983945 h 5973007"/>
              <a:gd name="connsiteX26981" fmla="*/ 593620 w 6884782"/>
              <a:gd name="connsiteY26981" fmla="*/ 2983170 h 5973007"/>
              <a:gd name="connsiteX26982" fmla="*/ 592897 w 6884782"/>
              <a:gd name="connsiteY26982" fmla="*/ 2979762 h 5973007"/>
              <a:gd name="connsiteX26983" fmla="*/ 594653 w 6884782"/>
              <a:gd name="connsiteY26983" fmla="*/ 2978833 h 5973007"/>
              <a:gd name="connsiteX26984" fmla="*/ 358816 w 6884782"/>
              <a:gd name="connsiteY26984" fmla="*/ 2978833 h 5973007"/>
              <a:gd name="connsiteX26985" fmla="*/ 360778 w 6884782"/>
              <a:gd name="connsiteY26985" fmla="*/ 2982705 h 5973007"/>
              <a:gd name="connsiteX26986" fmla="*/ 357989 w 6884782"/>
              <a:gd name="connsiteY26986" fmla="*/ 2979762 h 5973007"/>
              <a:gd name="connsiteX26987" fmla="*/ 358816 w 6884782"/>
              <a:gd name="connsiteY26987" fmla="*/ 2978833 h 5973007"/>
              <a:gd name="connsiteX26988" fmla="*/ 263446 w 6884782"/>
              <a:gd name="connsiteY26988" fmla="*/ 2978446 h 5973007"/>
              <a:gd name="connsiteX26989" fmla="*/ 271667 w 6884782"/>
              <a:gd name="connsiteY26989" fmla="*/ 2979762 h 5973007"/>
              <a:gd name="connsiteX26990" fmla="*/ 272080 w 6884782"/>
              <a:gd name="connsiteY26990" fmla="*/ 2986733 h 5973007"/>
              <a:gd name="connsiteX26991" fmla="*/ 258554 w 6884782"/>
              <a:gd name="connsiteY26991" fmla="*/ 2986887 h 5973007"/>
              <a:gd name="connsiteX26992" fmla="*/ 263446 w 6884782"/>
              <a:gd name="connsiteY26992" fmla="*/ 2978446 h 5973007"/>
              <a:gd name="connsiteX26993" fmla="*/ 484272 w 6884782"/>
              <a:gd name="connsiteY26993" fmla="*/ 2974496 h 5973007"/>
              <a:gd name="connsiteX26994" fmla="*/ 488505 w 6884782"/>
              <a:gd name="connsiteY26994" fmla="*/ 2975115 h 5973007"/>
              <a:gd name="connsiteX26995" fmla="*/ 490880 w 6884782"/>
              <a:gd name="connsiteY26995" fmla="*/ 2982551 h 5973007"/>
              <a:gd name="connsiteX26996" fmla="*/ 487370 w 6884782"/>
              <a:gd name="connsiteY26996" fmla="*/ 2982705 h 5973007"/>
              <a:gd name="connsiteX26997" fmla="*/ 483549 w 6884782"/>
              <a:gd name="connsiteY26997" fmla="*/ 2976509 h 5973007"/>
              <a:gd name="connsiteX26998" fmla="*/ 484272 w 6884782"/>
              <a:gd name="connsiteY26998" fmla="*/ 2974496 h 5973007"/>
              <a:gd name="connsiteX26999" fmla="*/ 430682 w 6884782"/>
              <a:gd name="connsiteY26999" fmla="*/ 2972637 h 5973007"/>
              <a:gd name="connsiteX27000" fmla="*/ 438013 w 6884782"/>
              <a:gd name="connsiteY27000" fmla="*/ 2991534 h 5973007"/>
              <a:gd name="connsiteX27001" fmla="*/ 431715 w 6884782"/>
              <a:gd name="connsiteY27001" fmla="*/ 2994632 h 5973007"/>
              <a:gd name="connsiteX27002" fmla="*/ 422938 w 6884782"/>
              <a:gd name="connsiteY27002" fmla="*/ 2988901 h 5973007"/>
              <a:gd name="connsiteX27003" fmla="*/ 422834 w 6884782"/>
              <a:gd name="connsiteY27003" fmla="*/ 2988746 h 5973007"/>
              <a:gd name="connsiteX27004" fmla="*/ 422318 w 6884782"/>
              <a:gd name="connsiteY27004" fmla="*/ 2988436 h 5973007"/>
              <a:gd name="connsiteX27005" fmla="*/ 422112 w 6884782"/>
              <a:gd name="connsiteY27005" fmla="*/ 2985648 h 5973007"/>
              <a:gd name="connsiteX27006" fmla="*/ 421492 w 6884782"/>
              <a:gd name="connsiteY27006" fmla="*/ 2983325 h 5973007"/>
              <a:gd name="connsiteX27007" fmla="*/ 421286 w 6884782"/>
              <a:gd name="connsiteY27007" fmla="*/ 2976664 h 5973007"/>
              <a:gd name="connsiteX27008" fmla="*/ 430682 w 6884782"/>
              <a:gd name="connsiteY27008" fmla="*/ 2972637 h 5973007"/>
              <a:gd name="connsiteX27009" fmla="*/ 140325 w 6884782"/>
              <a:gd name="connsiteY27009" fmla="*/ 2972637 h 5973007"/>
              <a:gd name="connsiteX27010" fmla="*/ 142804 w 6884782"/>
              <a:gd name="connsiteY27010" fmla="*/ 2976200 h 5973007"/>
              <a:gd name="connsiteX27011" fmla="*/ 143733 w 6884782"/>
              <a:gd name="connsiteY27011" fmla="*/ 2976200 h 5973007"/>
              <a:gd name="connsiteX27012" fmla="*/ 145488 w 6884782"/>
              <a:gd name="connsiteY27012" fmla="*/ 2974805 h 5973007"/>
              <a:gd name="connsiteX27013" fmla="*/ 154161 w 6884782"/>
              <a:gd name="connsiteY27013" fmla="*/ 2975735 h 5973007"/>
              <a:gd name="connsiteX27014" fmla="*/ 156640 w 6884782"/>
              <a:gd name="connsiteY27014" fmla="*/ 2985183 h 5973007"/>
              <a:gd name="connsiteX27015" fmla="*/ 153955 w 6884782"/>
              <a:gd name="connsiteY27015" fmla="*/ 2989056 h 5973007"/>
              <a:gd name="connsiteX27016" fmla="*/ 143526 w 6884782"/>
              <a:gd name="connsiteY27016" fmla="*/ 2987197 h 5973007"/>
              <a:gd name="connsiteX27017" fmla="*/ 141978 w 6884782"/>
              <a:gd name="connsiteY27017" fmla="*/ 2977749 h 5973007"/>
              <a:gd name="connsiteX27018" fmla="*/ 140222 w 6884782"/>
              <a:gd name="connsiteY27018" fmla="*/ 2976819 h 5973007"/>
              <a:gd name="connsiteX27019" fmla="*/ 138570 w 6884782"/>
              <a:gd name="connsiteY27019" fmla="*/ 2973257 h 5973007"/>
              <a:gd name="connsiteX27020" fmla="*/ 140325 w 6884782"/>
              <a:gd name="connsiteY27020" fmla="*/ 2972637 h 5973007"/>
              <a:gd name="connsiteX27021" fmla="*/ 618195 w 6884782"/>
              <a:gd name="connsiteY27021" fmla="*/ 2970314 h 5973007"/>
              <a:gd name="connsiteX27022" fmla="*/ 621086 w 6884782"/>
              <a:gd name="connsiteY27022" fmla="*/ 2970778 h 5973007"/>
              <a:gd name="connsiteX27023" fmla="*/ 623771 w 6884782"/>
              <a:gd name="connsiteY27023" fmla="*/ 2974341 h 5973007"/>
              <a:gd name="connsiteX27024" fmla="*/ 616853 w 6884782"/>
              <a:gd name="connsiteY27024" fmla="*/ 2977129 h 5973007"/>
              <a:gd name="connsiteX27025" fmla="*/ 614891 w 6884782"/>
              <a:gd name="connsiteY27025" fmla="*/ 2974960 h 5973007"/>
              <a:gd name="connsiteX27026" fmla="*/ 618195 w 6884782"/>
              <a:gd name="connsiteY27026" fmla="*/ 2970314 h 5973007"/>
              <a:gd name="connsiteX27027" fmla="*/ 584018 w 6884782"/>
              <a:gd name="connsiteY27027" fmla="*/ 2970314 h 5973007"/>
              <a:gd name="connsiteX27028" fmla="*/ 586083 w 6884782"/>
              <a:gd name="connsiteY27028" fmla="*/ 2972172 h 5973007"/>
              <a:gd name="connsiteX27029" fmla="*/ 581952 w 6884782"/>
              <a:gd name="connsiteY27029" fmla="*/ 2973412 h 5973007"/>
              <a:gd name="connsiteX27030" fmla="*/ 584018 w 6884782"/>
              <a:gd name="connsiteY27030" fmla="*/ 2970314 h 5973007"/>
              <a:gd name="connsiteX27031" fmla="*/ 720006 w 6884782"/>
              <a:gd name="connsiteY27031" fmla="*/ 2969849 h 5973007"/>
              <a:gd name="connsiteX27032" fmla="*/ 725375 w 6884782"/>
              <a:gd name="connsiteY27032" fmla="*/ 2970314 h 5973007"/>
              <a:gd name="connsiteX27033" fmla="*/ 725168 w 6884782"/>
              <a:gd name="connsiteY27033" fmla="*/ 2974186 h 5973007"/>
              <a:gd name="connsiteX27034" fmla="*/ 724652 w 6884782"/>
              <a:gd name="connsiteY27034" fmla="*/ 2974186 h 5973007"/>
              <a:gd name="connsiteX27035" fmla="*/ 724859 w 6884782"/>
              <a:gd name="connsiteY27035" fmla="*/ 2974341 h 5973007"/>
              <a:gd name="connsiteX27036" fmla="*/ 725891 w 6884782"/>
              <a:gd name="connsiteY27036" fmla="*/ 2976664 h 5973007"/>
              <a:gd name="connsiteX27037" fmla="*/ 723103 w 6884782"/>
              <a:gd name="connsiteY27037" fmla="*/ 2979143 h 5973007"/>
              <a:gd name="connsiteX27038" fmla="*/ 719386 w 6884782"/>
              <a:gd name="connsiteY27038" fmla="*/ 2980072 h 5973007"/>
              <a:gd name="connsiteX27039" fmla="*/ 719490 w 6884782"/>
              <a:gd name="connsiteY27039" fmla="*/ 2980691 h 5973007"/>
              <a:gd name="connsiteX27040" fmla="*/ 720419 w 6884782"/>
              <a:gd name="connsiteY27040" fmla="*/ 2980691 h 5973007"/>
              <a:gd name="connsiteX27041" fmla="*/ 719283 w 6884782"/>
              <a:gd name="connsiteY27041" fmla="*/ 2982241 h 5973007"/>
              <a:gd name="connsiteX27042" fmla="*/ 712778 w 6884782"/>
              <a:gd name="connsiteY27042" fmla="*/ 2984409 h 5973007"/>
              <a:gd name="connsiteX27043" fmla="*/ 712159 w 6884782"/>
              <a:gd name="connsiteY27043" fmla="*/ 2981931 h 5973007"/>
              <a:gd name="connsiteX27044" fmla="*/ 713501 w 6884782"/>
              <a:gd name="connsiteY27044" fmla="*/ 2980227 h 5973007"/>
              <a:gd name="connsiteX27045" fmla="*/ 716598 w 6884782"/>
              <a:gd name="connsiteY27045" fmla="*/ 2978368 h 5973007"/>
              <a:gd name="connsiteX27046" fmla="*/ 717631 w 6884782"/>
              <a:gd name="connsiteY27046" fmla="*/ 2978523 h 5973007"/>
              <a:gd name="connsiteX27047" fmla="*/ 716908 w 6884782"/>
              <a:gd name="connsiteY27047" fmla="*/ 2977903 h 5973007"/>
              <a:gd name="connsiteX27048" fmla="*/ 716805 w 6884782"/>
              <a:gd name="connsiteY27048" fmla="*/ 2974496 h 5973007"/>
              <a:gd name="connsiteX27049" fmla="*/ 717941 w 6884782"/>
              <a:gd name="connsiteY27049" fmla="*/ 2972327 h 5973007"/>
              <a:gd name="connsiteX27050" fmla="*/ 720316 w 6884782"/>
              <a:gd name="connsiteY27050" fmla="*/ 2971553 h 5973007"/>
              <a:gd name="connsiteX27051" fmla="*/ 675812 w 6884782"/>
              <a:gd name="connsiteY27051" fmla="*/ 2969849 h 5973007"/>
              <a:gd name="connsiteX27052" fmla="*/ 677361 w 6884782"/>
              <a:gd name="connsiteY27052" fmla="*/ 2970314 h 5973007"/>
              <a:gd name="connsiteX27053" fmla="*/ 669823 w 6884782"/>
              <a:gd name="connsiteY27053" fmla="*/ 2973876 h 5973007"/>
              <a:gd name="connsiteX27054" fmla="*/ 675812 w 6884782"/>
              <a:gd name="connsiteY27054" fmla="*/ 2969849 h 5973007"/>
              <a:gd name="connsiteX27055" fmla="*/ 572350 w 6884782"/>
              <a:gd name="connsiteY27055" fmla="*/ 2968765 h 5973007"/>
              <a:gd name="connsiteX27056" fmla="*/ 573486 w 6884782"/>
              <a:gd name="connsiteY27056" fmla="*/ 2972947 h 5973007"/>
              <a:gd name="connsiteX27057" fmla="*/ 571523 w 6884782"/>
              <a:gd name="connsiteY27057" fmla="*/ 2974496 h 5973007"/>
              <a:gd name="connsiteX27058" fmla="*/ 569562 w 6884782"/>
              <a:gd name="connsiteY27058" fmla="*/ 2972637 h 5973007"/>
              <a:gd name="connsiteX27059" fmla="*/ 569149 w 6884782"/>
              <a:gd name="connsiteY27059" fmla="*/ 2969849 h 5973007"/>
              <a:gd name="connsiteX27060" fmla="*/ 570388 w 6884782"/>
              <a:gd name="connsiteY27060" fmla="*/ 2969074 h 5973007"/>
              <a:gd name="connsiteX27061" fmla="*/ 572350 w 6884782"/>
              <a:gd name="connsiteY27061" fmla="*/ 2968765 h 5973007"/>
              <a:gd name="connsiteX27062" fmla="*/ 391032 w 6884782"/>
              <a:gd name="connsiteY27062" fmla="*/ 2968765 h 5973007"/>
              <a:gd name="connsiteX27063" fmla="*/ 401873 w 6884782"/>
              <a:gd name="connsiteY27063" fmla="*/ 2989985 h 5973007"/>
              <a:gd name="connsiteX27064" fmla="*/ 395678 w 6884782"/>
              <a:gd name="connsiteY27064" fmla="*/ 2993084 h 5973007"/>
              <a:gd name="connsiteX27065" fmla="*/ 390309 w 6884782"/>
              <a:gd name="connsiteY27065" fmla="*/ 2992773 h 5973007"/>
              <a:gd name="connsiteX27066" fmla="*/ 390102 w 6884782"/>
              <a:gd name="connsiteY27066" fmla="*/ 2993703 h 5973007"/>
              <a:gd name="connsiteX27067" fmla="*/ 385662 w 6884782"/>
              <a:gd name="connsiteY27067" fmla="*/ 3000363 h 5973007"/>
              <a:gd name="connsiteX27068" fmla="*/ 381635 w 6884782"/>
              <a:gd name="connsiteY27068" fmla="*/ 3003151 h 5973007"/>
              <a:gd name="connsiteX27069" fmla="*/ 385352 w 6884782"/>
              <a:gd name="connsiteY27069" fmla="*/ 3003926 h 5973007"/>
              <a:gd name="connsiteX27070" fmla="*/ 397640 w 6884782"/>
              <a:gd name="connsiteY27070" fmla="*/ 3011981 h 5973007"/>
              <a:gd name="connsiteX27071" fmla="*/ 388037 w 6884782"/>
              <a:gd name="connsiteY27071" fmla="*/ 3018022 h 5973007"/>
              <a:gd name="connsiteX27072" fmla="*/ 372652 w 6884782"/>
              <a:gd name="connsiteY27072" fmla="*/ 3006559 h 5973007"/>
              <a:gd name="connsiteX27073" fmla="*/ 372652 w 6884782"/>
              <a:gd name="connsiteY27073" fmla="*/ 3006095 h 5973007"/>
              <a:gd name="connsiteX27074" fmla="*/ 365734 w 6884782"/>
              <a:gd name="connsiteY27074" fmla="*/ 3005785 h 5973007"/>
              <a:gd name="connsiteX27075" fmla="*/ 358196 w 6884782"/>
              <a:gd name="connsiteY27075" fmla="*/ 3003461 h 5973007"/>
              <a:gd name="connsiteX27076" fmla="*/ 357163 w 6884782"/>
              <a:gd name="connsiteY27076" fmla="*/ 3000983 h 5973007"/>
              <a:gd name="connsiteX27077" fmla="*/ 369038 w 6884782"/>
              <a:gd name="connsiteY27077" fmla="*/ 2983325 h 5973007"/>
              <a:gd name="connsiteX27078" fmla="*/ 377298 w 6884782"/>
              <a:gd name="connsiteY27078" fmla="*/ 2981002 h 5973007"/>
              <a:gd name="connsiteX27079" fmla="*/ 381532 w 6884782"/>
              <a:gd name="connsiteY27079" fmla="*/ 2981466 h 5973007"/>
              <a:gd name="connsiteX27080" fmla="*/ 381119 w 6884782"/>
              <a:gd name="connsiteY27080" fmla="*/ 2980382 h 5973007"/>
              <a:gd name="connsiteX27081" fmla="*/ 391032 w 6884782"/>
              <a:gd name="connsiteY27081" fmla="*/ 2968765 h 5973007"/>
              <a:gd name="connsiteX27082" fmla="*/ 598267 w 6884782"/>
              <a:gd name="connsiteY27082" fmla="*/ 2967526 h 5973007"/>
              <a:gd name="connsiteX27083" fmla="*/ 599609 w 6884782"/>
              <a:gd name="connsiteY27083" fmla="*/ 2975270 h 5973007"/>
              <a:gd name="connsiteX27084" fmla="*/ 598680 w 6884782"/>
              <a:gd name="connsiteY27084" fmla="*/ 2976045 h 5973007"/>
              <a:gd name="connsiteX27085" fmla="*/ 588457 w 6884782"/>
              <a:gd name="connsiteY27085" fmla="*/ 2979607 h 5973007"/>
              <a:gd name="connsiteX27086" fmla="*/ 587425 w 6884782"/>
              <a:gd name="connsiteY27086" fmla="*/ 2976045 h 5973007"/>
              <a:gd name="connsiteX27087" fmla="*/ 589696 w 6884782"/>
              <a:gd name="connsiteY27087" fmla="*/ 2972172 h 5973007"/>
              <a:gd name="connsiteX27088" fmla="*/ 598267 w 6884782"/>
              <a:gd name="connsiteY27088" fmla="*/ 2967526 h 5973007"/>
              <a:gd name="connsiteX27089" fmla="*/ 525678 w 6884782"/>
              <a:gd name="connsiteY27089" fmla="*/ 2966751 h 5973007"/>
              <a:gd name="connsiteX27090" fmla="*/ 531873 w 6884782"/>
              <a:gd name="connsiteY27090" fmla="*/ 2970623 h 5973007"/>
              <a:gd name="connsiteX27091" fmla="*/ 528982 w 6884782"/>
              <a:gd name="connsiteY27091" fmla="*/ 2986578 h 5973007"/>
              <a:gd name="connsiteX27092" fmla="*/ 511531 w 6884782"/>
              <a:gd name="connsiteY27092" fmla="*/ 2977903 h 5973007"/>
              <a:gd name="connsiteX27093" fmla="*/ 512977 w 6884782"/>
              <a:gd name="connsiteY27093" fmla="*/ 2973412 h 5973007"/>
              <a:gd name="connsiteX27094" fmla="*/ 513081 w 6884782"/>
              <a:gd name="connsiteY27094" fmla="*/ 2973257 h 5973007"/>
              <a:gd name="connsiteX27095" fmla="*/ 512771 w 6884782"/>
              <a:gd name="connsiteY27095" fmla="*/ 2972947 h 5973007"/>
              <a:gd name="connsiteX27096" fmla="*/ 513081 w 6884782"/>
              <a:gd name="connsiteY27096" fmla="*/ 2970933 h 5973007"/>
              <a:gd name="connsiteX27097" fmla="*/ 514320 w 6884782"/>
              <a:gd name="connsiteY27097" fmla="*/ 2970469 h 5973007"/>
              <a:gd name="connsiteX27098" fmla="*/ 515352 w 6884782"/>
              <a:gd name="connsiteY27098" fmla="*/ 2970623 h 5973007"/>
              <a:gd name="connsiteX27099" fmla="*/ 516281 w 6884782"/>
              <a:gd name="connsiteY27099" fmla="*/ 2969539 h 5973007"/>
              <a:gd name="connsiteX27100" fmla="*/ 525678 w 6884782"/>
              <a:gd name="connsiteY27100" fmla="*/ 2966751 h 5973007"/>
              <a:gd name="connsiteX27101" fmla="*/ 713398 w 6884782"/>
              <a:gd name="connsiteY27101" fmla="*/ 2962414 h 5973007"/>
              <a:gd name="connsiteX27102" fmla="*/ 718044 w 6884782"/>
              <a:gd name="connsiteY27102" fmla="*/ 2967990 h 5973007"/>
              <a:gd name="connsiteX27103" fmla="*/ 712159 w 6884782"/>
              <a:gd name="connsiteY27103" fmla="*/ 2967526 h 5973007"/>
              <a:gd name="connsiteX27104" fmla="*/ 713398 w 6884782"/>
              <a:gd name="connsiteY27104" fmla="*/ 2962414 h 5973007"/>
              <a:gd name="connsiteX27105" fmla="*/ 370690 w 6884782"/>
              <a:gd name="connsiteY27105" fmla="*/ 2962220 h 5973007"/>
              <a:gd name="connsiteX27106" fmla="*/ 376886 w 6884782"/>
              <a:gd name="connsiteY27106" fmla="*/ 2966131 h 5973007"/>
              <a:gd name="connsiteX27107" fmla="*/ 379467 w 6884782"/>
              <a:gd name="connsiteY27107" fmla="*/ 2970623 h 5973007"/>
              <a:gd name="connsiteX27108" fmla="*/ 377608 w 6884782"/>
              <a:gd name="connsiteY27108" fmla="*/ 2976355 h 5973007"/>
              <a:gd name="connsiteX27109" fmla="*/ 366353 w 6884782"/>
              <a:gd name="connsiteY27109" fmla="*/ 2976819 h 5973007"/>
              <a:gd name="connsiteX27110" fmla="*/ 362120 w 6884782"/>
              <a:gd name="connsiteY27110" fmla="*/ 2968919 h 5973007"/>
              <a:gd name="connsiteX27111" fmla="*/ 362120 w 6884782"/>
              <a:gd name="connsiteY27111" fmla="*/ 2969694 h 5973007"/>
              <a:gd name="connsiteX27112" fmla="*/ 360261 w 6884782"/>
              <a:gd name="connsiteY27112" fmla="*/ 2971243 h 5973007"/>
              <a:gd name="connsiteX27113" fmla="*/ 360261 w 6884782"/>
              <a:gd name="connsiteY27113" fmla="*/ 2972637 h 5973007"/>
              <a:gd name="connsiteX27114" fmla="*/ 360261 w 6884782"/>
              <a:gd name="connsiteY27114" fmla="*/ 2974341 h 5973007"/>
              <a:gd name="connsiteX27115" fmla="*/ 359435 w 6884782"/>
              <a:gd name="connsiteY27115" fmla="*/ 2974496 h 5973007"/>
              <a:gd name="connsiteX27116" fmla="*/ 359022 w 6884782"/>
              <a:gd name="connsiteY27116" fmla="*/ 2972172 h 5973007"/>
              <a:gd name="connsiteX27117" fmla="*/ 355924 w 6884782"/>
              <a:gd name="connsiteY27117" fmla="*/ 2974651 h 5973007"/>
              <a:gd name="connsiteX27118" fmla="*/ 356234 w 6884782"/>
              <a:gd name="connsiteY27118" fmla="*/ 2976664 h 5973007"/>
              <a:gd name="connsiteX27119" fmla="*/ 354685 w 6884782"/>
              <a:gd name="connsiteY27119" fmla="*/ 2975425 h 5973007"/>
              <a:gd name="connsiteX27120" fmla="*/ 352414 w 6884782"/>
              <a:gd name="connsiteY27120" fmla="*/ 2976664 h 5973007"/>
              <a:gd name="connsiteX27121" fmla="*/ 349936 w 6884782"/>
              <a:gd name="connsiteY27121" fmla="*/ 2976819 h 5973007"/>
              <a:gd name="connsiteX27122" fmla="*/ 350761 w 6884782"/>
              <a:gd name="connsiteY27122" fmla="*/ 2974496 h 5973007"/>
              <a:gd name="connsiteX27123" fmla="*/ 351691 w 6884782"/>
              <a:gd name="connsiteY27123" fmla="*/ 2973722 h 5973007"/>
              <a:gd name="connsiteX27124" fmla="*/ 351691 w 6884782"/>
              <a:gd name="connsiteY27124" fmla="*/ 2972947 h 5973007"/>
              <a:gd name="connsiteX27125" fmla="*/ 352001 w 6884782"/>
              <a:gd name="connsiteY27125" fmla="*/ 2972947 h 5973007"/>
              <a:gd name="connsiteX27126" fmla="*/ 350452 w 6884782"/>
              <a:gd name="connsiteY27126" fmla="*/ 2969384 h 5973007"/>
              <a:gd name="connsiteX27127" fmla="*/ 347458 w 6884782"/>
              <a:gd name="connsiteY27127" fmla="*/ 2963653 h 5973007"/>
              <a:gd name="connsiteX27128" fmla="*/ 350968 w 6884782"/>
              <a:gd name="connsiteY27128" fmla="*/ 2963189 h 5973007"/>
              <a:gd name="connsiteX27129" fmla="*/ 351071 w 6884782"/>
              <a:gd name="connsiteY27129" fmla="*/ 2964892 h 5973007"/>
              <a:gd name="connsiteX27130" fmla="*/ 354995 w 6884782"/>
              <a:gd name="connsiteY27130" fmla="*/ 2969849 h 5973007"/>
              <a:gd name="connsiteX27131" fmla="*/ 355098 w 6884782"/>
              <a:gd name="connsiteY27131" fmla="*/ 2970314 h 5973007"/>
              <a:gd name="connsiteX27132" fmla="*/ 355924 w 6884782"/>
              <a:gd name="connsiteY27132" fmla="*/ 2968765 h 5973007"/>
              <a:gd name="connsiteX27133" fmla="*/ 356957 w 6884782"/>
              <a:gd name="connsiteY27133" fmla="*/ 2966751 h 5973007"/>
              <a:gd name="connsiteX27134" fmla="*/ 357163 w 6884782"/>
              <a:gd name="connsiteY27134" fmla="*/ 2966596 h 5973007"/>
              <a:gd name="connsiteX27135" fmla="*/ 356957 w 6884782"/>
              <a:gd name="connsiteY27135" fmla="*/ 2966131 h 5973007"/>
              <a:gd name="connsiteX27136" fmla="*/ 357060 w 6884782"/>
              <a:gd name="connsiteY27136" fmla="*/ 2962879 h 5973007"/>
              <a:gd name="connsiteX27137" fmla="*/ 357163 w 6884782"/>
              <a:gd name="connsiteY27137" fmla="*/ 2963808 h 5973007"/>
              <a:gd name="connsiteX27138" fmla="*/ 357886 w 6884782"/>
              <a:gd name="connsiteY27138" fmla="*/ 2962879 h 5973007"/>
              <a:gd name="connsiteX27139" fmla="*/ 358816 w 6884782"/>
              <a:gd name="connsiteY27139" fmla="*/ 2965512 h 5973007"/>
              <a:gd name="connsiteX27140" fmla="*/ 359332 w 6884782"/>
              <a:gd name="connsiteY27140" fmla="*/ 2965202 h 5973007"/>
              <a:gd name="connsiteX27141" fmla="*/ 362223 w 6884782"/>
              <a:gd name="connsiteY27141" fmla="*/ 2963808 h 5973007"/>
              <a:gd name="connsiteX27142" fmla="*/ 363979 w 6884782"/>
              <a:gd name="connsiteY27142" fmla="*/ 2965667 h 5973007"/>
              <a:gd name="connsiteX27143" fmla="*/ 365734 w 6884782"/>
              <a:gd name="connsiteY27143" fmla="*/ 2964118 h 5973007"/>
              <a:gd name="connsiteX27144" fmla="*/ 370690 w 6884782"/>
              <a:gd name="connsiteY27144" fmla="*/ 2962220 h 5973007"/>
              <a:gd name="connsiteX27145" fmla="*/ 602397 w 6884782"/>
              <a:gd name="connsiteY27145" fmla="*/ 2961485 h 5973007"/>
              <a:gd name="connsiteX27146" fmla="*/ 607560 w 6884782"/>
              <a:gd name="connsiteY27146" fmla="*/ 2970004 h 5973007"/>
              <a:gd name="connsiteX27147" fmla="*/ 602087 w 6884782"/>
              <a:gd name="connsiteY27147" fmla="*/ 2963963 h 5973007"/>
              <a:gd name="connsiteX27148" fmla="*/ 602397 w 6884782"/>
              <a:gd name="connsiteY27148" fmla="*/ 2961485 h 5973007"/>
              <a:gd name="connsiteX27149" fmla="*/ 243272 w 6884782"/>
              <a:gd name="connsiteY27149" fmla="*/ 2959626 h 5973007"/>
              <a:gd name="connsiteX27150" fmla="*/ 252771 w 6884782"/>
              <a:gd name="connsiteY27150" fmla="*/ 2968919 h 5973007"/>
              <a:gd name="connsiteX27151" fmla="*/ 248125 w 6884782"/>
              <a:gd name="connsiteY27151" fmla="*/ 2972482 h 5973007"/>
              <a:gd name="connsiteX27152" fmla="*/ 249777 w 6884782"/>
              <a:gd name="connsiteY27152" fmla="*/ 2974651 h 5973007"/>
              <a:gd name="connsiteX27153" fmla="*/ 249984 w 6884782"/>
              <a:gd name="connsiteY27153" fmla="*/ 2980072 h 5973007"/>
              <a:gd name="connsiteX27154" fmla="*/ 246679 w 6884782"/>
              <a:gd name="connsiteY27154" fmla="*/ 2981466 h 5973007"/>
              <a:gd name="connsiteX27155" fmla="*/ 242136 w 6884782"/>
              <a:gd name="connsiteY27155" fmla="*/ 2978368 h 5973007"/>
              <a:gd name="connsiteX27156" fmla="*/ 242033 w 6884782"/>
              <a:gd name="connsiteY27156" fmla="*/ 2977284 h 5973007"/>
              <a:gd name="connsiteX27157" fmla="*/ 241826 w 6884782"/>
              <a:gd name="connsiteY27157" fmla="*/ 2977284 h 5973007"/>
              <a:gd name="connsiteX27158" fmla="*/ 235631 w 6884782"/>
              <a:gd name="connsiteY27158" fmla="*/ 2970004 h 5973007"/>
              <a:gd name="connsiteX27159" fmla="*/ 243272 w 6884782"/>
              <a:gd name="connsiteY27159" fmla="*/ 2959626 h 5973007"/>
              <a:gd name="connsiteX27160" fmla="*/ 452779 w 6884782"/>
              <a:gd name="connsiteY27160" fmla="*/ 2959161 h 5973007"/>
              <a:gd name="connsiteX27161" fmla="*/ 454327 w 6884782"/>
              <a:gd name="connsiteY27161" fmla="*/ 2971553 h 5973007"/>
              <a:gd name="connsiteX27162" fmla="*/ 454327 w 6884782"/>
              <a:gd name="connsiteY27162" fmla="*/ 2971243 h 5973007"/>
              <a:gd name="connsiteX27163" fmla="*/ 458767 w 6884782"/>
              <a:gd name="connsiteY27163" fmla="*/ 2970623 h 5973007"/>
              <a:gd name="connsiteX27164" fmla="*/ 462485 w 6884782"/>
              <a:gd name="connsiteY27164" fmla="*/ 2973566 h 5973007"/>
              <a:gd name="connsiteX27165" fmla="*/ 465169 w 6884782"/>
              <a:gd name="connsiteY27165" fmla="*/ 2974031 h 5973007"/>
              <a:gd name="connsiteX27166" fmla="*/ 465169 w 6884782"/>
              <a:gd name="connsiteY27166" fmla="*/ 2974805 h 5973007"/>
              <a:gd name="connsiteX27167" fmla="*/ 459594 w 6884782"/>
              <a:gd name="connsiteY27167" fmla="*/ 2975115 h 5973007"/>
              <a:gd name="connsiteX27168" fmla="*/ 454637 w 6884782"/>
              <a:gd name="connsiteY27168" fmla="*/ 2974651 h 5973007"/>
              <a:gd name="connsiteX27169" fmla="*/ 454844 w 6884782"/>
              <a:gd name="connsiteY27169" fmla="*/ 2976200 h 5973007"/>
              <a:gd name="connsiteX27170" fmla="*/ 454018 w 6884782"/>
              <a:gd name="connsiteY27170" fmla="*/ 2993393 h 5973007"/>
              <a:gd name="connsiteX27171" fmla="*/ 444105 w 6884782"/>
              <a:gd name="connsiteY27171" fmla="*/ 2975270 h 5973007"/>
              <a:gd name="connsiteX27172" fmla="*/ 444002 w 6884782"/>
              <a:gd name="connsiteY27172" fmla="*/ 2970158 h 5973007"/>
              <a:gd name="connsiteX27173" fmla="*/ 452779 w 6884782"/>
              <a:gd name="connsiteY27173" fmla="*/ 2959161 h 5973007"/>
              <a:gd name="connsiteX27174" fmla="*/ 296242 w 6884782"/>
              <a:gd name="connsiteY27174" fmla="*/ 2959006 h 5973007"/>
              <a:gd name="connsiteX27175" fmla="*/ 290873 w 6884782"/>
              <a:gd name="connsiteY27175" fmla="*/ 2970004 h 5973007"/>
              <a:gd name="connsiteX27176" fmla="*/ 290666 w 6884782"/>
              <a:gd name="connsiteY27176" fmla="*/ 2967526 h 5973007"/>
              <a:gd name="connsiteX27177" fmla="*/ 296242 w 6884782"/>
              <a:gd name="connsiteY27177" fmla="*/ 2959006 h 5973007"/>
              <a:gd name="connsiteX27178" fmla="*/ 493771 w 6884782"/>
              <a:gd name="connsiteY27178" fmla="*/ 2957457 h 5973007"/>
              <a:gd name="connsiteX27179" fmla="*/ 493875 w 6884782"/>
              <a:gd name="connsiteY27179" fmla="*/ 2959006 h 5973007"/>
              <a:gd name="connsiteX27180" fmla="*/ 493152 w 6884782"/>
              <a:gd name="connsiteY27180" fmla="*/ 2958232 h 5973007"/>
              <a:gd name="connsiteX27181" fmla="*/ 493771 w 6884782"/>
              <a:gd name="connsiteY27181" fmla="*/ 2957457 h 5973007"/>
              <a:gd name="connsiteX27182" fmla="*/ 580610 w 6884782"/>
              <a:gd name="connsiteY27182" fmla="*/ 2956837 h 5973007"/>
              <a:gd name="connsiteX27183" fmla="*/ 581952 w 6884782"/>
              <a:gd name="connsiteY27183" fmla="*/ 2961949 h 5973007"/>
              <a:gd name="connsiteX27184" fmla="*/ 577099 w 6884782"/>
              <a:gd name="connsiteY27184" fmla="*/ 2958696 h 5973007"/>
              <a:gd name="connsiteX27185" fmla="*/ 580610 w 6884782"/>
              <a:gd name="connsiteY27185" fmla="*/ 2956837 h 5973007"/>
              <a:gd name="connsiteX27186" fmla="*/ 471881 w 6884782"/>
              <a:gd name="connsiteY27186" fmla="*/ 2956063 h 5973007"/>
              <a:gd name="connsiteX27187" fmla="*/ 474050 w 6884782"/>
              <a:gd name="connsiteY27187" fmla="*/ 2962569 h 5973007"/>
              <a:gd name="connsiteX27188" fmla="*/ 476012 w 6884782"/>
              <a:gd name="connsiteY27188" fmla="*/ 2966596 h 5973007"/>
              <a:gd name="connsiteX27189" fmla="*/ 472191 w 6884782"/>
              <a:gd name="connsiteY27189" fmla="*/ 2962104 h 5973007"/>
              <a:gd name="connsiteX27190" fmla="*/ 469610 w 6884782"/>
              <a:gd name="connsiteY27190" fmla="*/ 2961485 h 5973007"/>
              <a:gd name="connsiteX27191" fmla="*/ 467648 w 6884782"/>
              <a:gd name="connsiteY27191" fmla="*/ 2956683 h 5973007"/>
              <a:gd name="connsiteX27192" fmla="*/ 471881 w 6884782"/>
              <a:gd name="connsiteY27192" fmla="*/ 2956063 h 5973007"/>
              <a:gd name="connsiteX27193" fmla="*/ 731054 w 6884782"/>
              <a:gd name="connsiteY27193" fmla="*/ 2954979 h 5973007"/>
              <a:gd name="connsiteX27194" fmla="*/ 733946 w 6884782"/>
              <a:gd name="connsiteY27194" fmla="*/ 2955598 h 5973007"/>
              <a:gd name="connsiteX27195" fmla="*/ 735288 w 6884782"/>
              <a:gd name="connsiteY27195" fmla="*/ 2957457 h 5973007"/>
              <a:gd name="connsiteX27196" fmla="*/ 734565 w 6884782"/>
              <a:gd name="connsiteY27196" fmla="*/ 2962414 h 5973007"/>
              <a:gd name="connsiteX27197" fmla="*/ 726821 w 6884782"/>
              <a:gd name="connsiteY27197" fmla="*/ 2961794 h 5973007"/>
              <a:gd name="connsiteX27198" fmla="*/ 726408 w 6884782"/>
              <a:gd name="connsiteY27198" fmla="*/ 2958851 h 5973007"/>
              <a:gd name="connsiteX27199" fmla="*/ 728576 w 6884782"/>
              <a:gd name="connsiteY27199" fmla="*/ 2956063 h 5973007"/>
              <a:gd name="connsiteX27200" fmla="*/ 731054 w 6884782"/>
              <a:gd name="connsiteY27200" fmla="*/ 2954979 h 5973007"/>
              <a:gd name="connsiteX27201" fmla="*/ 541786 w 6884782"/>
              <a:gd name="connsiteY27201" fmla="*/ 2952810 h 5973007"/>
              <a:gd name="connsiteX27202" fmla="*/ 556448 w 6884782"/>
              <a:gd name="connsiteY27202" fmla="*/ 2966751 h 5973007"/>
              <a:gd name="connsiteX27203" fmla="*/ 563883 w 6884782"/>
              <a:gd name="connsiteY27203" fmla="*/ 2968145 h 5973007"/>
              <a:gd name="connsiteX27204" fmla="*/ 564915 w 6884782"/>
              <a:gd name="connsiteY27204" fmla="*/ 2969229 h 5973007"/>
              <a:gd name="connsiteX27205" fmla="*/ 569149 w 6884782"/>
              <a:gd name="connsiteY27205" fmla="*/ 2969074 h 5973007"/>
              <a:gd name="connsiteX27206" fmla="*/ 566257 w 6884782"/>
              <a:gd name="connsiteY27206" fmla="*/ 2974960 h 5973007"/>
              <a:gd name="connsiteX27207" fmla="*/ 564605 w 6884782"/>
              <a:gd name="connsiteY27207" fmla="*/ 2974186 h 5973007"/>
              <a:gd name="connsiteX27208" fmla="*/ 563573 w 6884782"/>
              <a:gd name="connsiteY27208" fmla="*/ 2972327 h 5973007"/>
              <a:gd name="connsiteX27209" fmla="*/ 561714 w 6884782"/>
              <a:gd name="connsiteY27209" fmla="*/ 2973257 h 5973007"/>
              <a:gd name="connsiteX27210" fmla="*/ 562643 w 6884782"/>
              <a:gd name="connsiteY27210" fmla="*/ 2974031 h 5973007"/>
              <a:gd name="connsiteX27211" fmla="*/ 567187 w 6884782"/>
              <a:gd name="connsiteY27211" fmla="*/ 2981156 h 5973007"/>
              <a:gd name="connsiteX27212" fmla="*/ 569252 w 6884782"/>
              <a:gd name="connsiteY27212" fmla="*/ 2985493 h 5973007"/>
              <a:gd name="connsiteX27213" fmla="*/ 570181 w 6884782"/>
              <a:gd name="connsiteY27213" fmla="*/ 2983635 h 5973007"/>
              <a:gd name="connsiteX27214" fmla="*/ 575860 w 6884782"/>
              <a:gd name="connsiteY27214" fmla="*/ 2979298 h 5973007"/>
              <a:gd name="connsiteX27215" fmla="*/ 579371 w 6884782"/>
              <a:gd name="connsiteY27215" fmla="*/ 2986423 h 5973007"/>
              <a:gd name="connsiteX27216" fmla="*/ 577099 w 6884782"/>
              <a:gd name="connsiteY27216" fmla="*/ 2990605 h 5973007"/>
              <a:gd name="connsiteX27217" fmla="*/ 573692 w 6884782"/>
              <a:gd name="connsiteY27217" fmla="*/ 2991689 h 5973007"/>
              <a:gd name="connsiteX27218" fmla="*/ 572246 w 6884782"/>
              <a:gd name="connsiteY27218" fmla="*/ 2992464 h 5973007"/>
              <a:gd name="connsiteX27219" fmla="*/ 577409 w 6884782"/>
              <a:gd name="connsiteY27219" fmla="*/ 3005785 h 5973007"/>
              <a:gd name="connsiteX27220" fmla="*/ 573486 w 6884782"/>
              <a:gd name="connsiteY27220" fmla="*/ 3007024 h 5973007"/>
              <a:gd name="connsiteX27221" fmla="*/ 568839 w 6884782"/>
              <a:gd name="connsiteY27221" fmla="*/ 3007489 h 5973007"/>
              <a:gd name="connsiteX27222" fmla="*/ 565844 w 6884782"/>
              <a:gd name="connsiteY27222" fmla="*/ 3011671 h 5973007"/>
              <a:gd name="connsiteX27223" fmla="*/ 558823 w 6884782"/>
              <a:gd name="connsiteY27223" fmla="*/ 3012600 h 5973007"/>
              <a:gd name="connsiteX27224" fmla="*/ 557171 w 6884782"/>
              <a:gd name="connsiteY27224" fmla="*/ 3006869 h 5973007"/>
              <a:gd name="connsiteX27225" fmla="*/ 557377 w 6884782"/>
              <a:gd name="connsiteY27225" fmla="*/ 3002532 h 5973007"/>
              <a:gd name="connsiteX27226" fmla="*/ 562333 w 6884782"/>
              <a:gd name="connsiteY27226" fmla="*/ 2996646 h 5973007"/>
              <a:gd name="connsiteX27227" fmla="*/ 565328 w 6884782"/>
              <a:gd name="connsiteY27227" fmla="*/ 2999434 h 5973007"/>
              <a:gd name="connsiteX27228" fmla="*/ 560785 w 6884782"/>
              <a:gd name="connsiteY27228" fmla="*/ 2986268 h 5973007"/>
              <a:gd name="connsiteX27229" fmla="*/ 557171 w 6884782"/>
              <a:gd name="connsiteY27229" fmla="*/ 2975270 h 5973007"/>
              <a:gd name="connsiteX27230" fmla="*/ 554176 w 6884782"/>
              <a:gd name="connsiteY27230" fmla="*/ 2976664 h 5973007"/>
              <a:gd name="connsiteX27231" fmla="*/ 542198 w 6884782"/>
              <a:gd name="connsiteY27231" fmla="*/ 2978059 h 5973007"/>
              <a:gd name="connsiteX27232" fmla="*/ 534454 w 6884782"/>
              <a:gd name="connsiteY27232" fmla="*/ 2976355 h 5973007"/>
              <a:gd name="connsiteX27233" fmla="*/ 548394 w 6884782"/>
              <a:gd name="connsiteY27233" fmla="*/ 2967990 h 5973007"/>
              <a:gd name="connsiteX27234" fmla="*/ 541786 w 6884782"/>
              <a:gd name="connsiteY27234" fmla="*/ 2952810 h 5973007"/>
              <a:gd name="connsiteX27235" fmla="*/ 606321 w 6884782"/>
              <a:gd name="connsiteY27235" fmla="*/ 2951571 h 5973007"/>
              <a:gd name="connsiteX27236" fmla="*/ 609625 w 6884782"/>
              <a:gd name="connsiteY27236" fmla="*/ 2954824 h 5973007"/>
              <a:gd name="connsiteX27237" fmla="*/ 612206 w 6884782"/>
              <a:gd name="connsiteY27237" fmla="*/ 2955444 h 5973007"/>
              <a:gd name="connsiteX27238" fmla="*/ 612206 w 6884782"/>
              <a:gd name="connsiteY27238" fmla="*/ 2956373 h 5973007"/>
              <a:gd name="connsiteX27239" fmla="*/ 601674 w 6884782"/>
              <a:gd name="connsiteY27239" fmla="*/ 2955134 h 5973007"/>
              <a:gd name="connsiteX27240" fmla="*/ 600848 w 6884782"/>
              <a:gd name="connsiteY27240" fmla="*/ 2953740 h 5973007"/>
              <a:gd name="connsiteX27241" fmla="*/ 601881 w 6884782"/>
              <a:gd name="connsiteY27241" fmla="*/ 2951726 h 5973007"/>
              <a:gd name="connsiteX27242" fmla="*/ 606321 w 6884782"/>
              <a:gd name="connsiteY27242" fmla="*/ 2951571 h 5973007"/>
              <a:gd name="connsiteX27243" fmla="*/ 506885 w 6884782"/>
              <a:gd name="connsiteY27243" fmla="*/ 2950022 h 5973007"/>
              <a:gd name="connsiteX27244" fmla="*/ 508434 w 6884782"/>
              <a:gd name="connsiteY27244" fmla="*/ 2954204 h 5973007"/>
              <a:gd name="connsiteX27245" fmla="*/ 505956 w 6884782"/>
              <a:gd name="connsiteY27245" fmla="*/ 2950952 h 5973007"/>
              <a:gd name="connsiteX27246" fmla="*/ 506885 w 6884782"/>
              <a:gd name="connsiteY27246" fmla="*/ 2950022 h 5973007"/>
              <a:gd name="connsiteX27247" fmla="*/ 202279 w 6884782"/>
              <a:gd name="connsiteY27247" fmla="*/ 2949402 h 5973007"/>
              <a:gd name="connsiteX27248" fmla="*/ 213741 w 6884782"/>
              <a:gd name="connsiteY27248" fmla="*/ 2953585 h 5973007"/>
              <a:gd name="connsiteX27249" fmla="*/ 211676 w 6884782"/>
              <a:gd name="connsiteY27249" fmla="*/ 2960245 h 5973007"/>
              <a:gd name="connsiteX27250" fmla="*/ 199285 w 6884782"/>
              <a:gd name="connsiteY27250" fmla="*/ 2953740 h 5973007"/>
              <a:gd name="connsiteX27251" fmla="*/ 202279 w 6884782"/>
              <a:gd name="connsiteY27251" fmla="*/ 2949402 h 5973007"/>
              <a:gd name="connsiteX27252" fmla="*/ 719180 w 6884782"/>
              <a:gd name="connsiteY27252" fmla="*/ 2949248 h 5973007"/>
              <a:gd name="connsiteX27253" fmla="*/ 715876 w 6884782"/>
              <a:gd name="connsiteY27253" fmla="*/ 2954824 h 5973007"/>
              <a:gd name="connsiteX27254" fmla="*/ 715669 w 6884782"/>
              <a:gd name="connsiteY27254" fmla="*/ 2953585 h 5973007"/>
              <a:gd name="connsiteX27255" fmla="*/ 716701 w 6884782"/>
              <a:gd name="connsiteY27255" fmla="*/ 2952036 h 5973007"/>
              <a:gd name="connsiteX27256" fmla="*/ 719180 w 6884782"/>
              <a:gd name="connsiteY27256" fmla="*/ 2949248 h 5973007"/>
              <a:gd name="connsiteX27257" fmla="*/ 700594 w 6884782"/>
              <a:gd name="connsiteY27257" fmla="*/ 2947079 h 5973007"/>
              <a:gd name="connsiteX27258" fmla="*/ 710713 w 6884782"/>
              <a:gd name="connsiteY27258" fmla="*/ 2950022 h 5973007"/>
              <a:gd name="connsiteX27259" fmla="*/ 710713 w 6884782"/>
              <a:gd name="connsiteY27259" fmla="*/ 2950177 h 5973007"/>
              <a:gd name="connsiteX27260" fmla="*/ 712468 w 6884782"/>
              <a:gd name="connsiteY27260" fmla="*/ 2955908 h 5973007"/>
              <a:gd name="connsiteX27261" fmla="*/ 709577 w 6884782"/>
              <a:gd name="connsiteY27261" fmla="*/ 2959006 h 5973007"/>
              <a:gd name="connsiteX27262" fmla="*/ 706893 w 6884782"/>
              <a:gd name="connsiteY27262" fmla="*/ 2957612 h 5973007"/>
              <a:gd name="connsiteX27263" fmla="*/ 706479 w 6884782"/>
              <a:gd name="connsiteY27263" fmla="*/ 2956683 h 5973007"/>
              <a:gd name="connsiteX27264" fmla="*/ 703898 w 6884782"/>
              <a:gd name="connsiteY27264" fmla="*/ 2956837 h 5973007"/>
              <a:gd name="connsiteX27265" fmla="*/ 699148 w 6884782"/>
              <a:gd name="connsiteY27265" fmla="*/ 2951881 h 5973007"/>
              <a:gd name="connsiteX27266" fmla="*/ 700594 w 6884782"/>
              <a:gd name="connsiteY27266" fmla="*/ 2947079 h 5973007"/>
              <a:gd name="connsiteX27267" fmla="*/ 519689 w 6884782"/>
              <a:gd name="connsiteY27267" fmla="*/ 2946924 h 5973007"/>
              <a:gd name="connsiteX27268" fmla="*/ 526917 w 6884782"/>
              <a:gd name="connsiteY27268" fmla="*/ 2952656 h 5973007"/>
              <a:gd name="connsiteX27269" fmla="*/ 519689 w 6884782"/>
              <a:gd name="connsiteY27269" fmla="*/ 2946924 h 5973007"/>
              <a:gd name="connsiteX27270" fmla="*/ 398053 w 6884782"/>
              <a:gd name="connsiteY27270" fmla="*/ 2945530 h 5973007"/>
              <a:gd name="connsiteX27271" fmla="*/ 406830 w 6884782"/>
              <a:gd name="connsiteY27271" fmla="*/ 2949248 h 5973007"/>
              <a:gd name="connsiteX27272" fmla="*/ 401461 w 6884782"/>
              <a:gd name="connsiteY27272" fmla="*/ 2956993 h 5973007"/>
              <a:gd name="connsiteX27273" fmla="*/ 395368 w 6884782"/>
              <a:gd name="connsiteY27273" fmla="*/ 2951106 h 5973007"/>
              <a:gd name="connsiteX27274" fmla="*/ 398053 w 6884782"/>
              <a:gd name="connsiteY27274" fmla="*/ 2945530 h 5973007"/>
              <a:gd name="connsiteX27275" fmla="*/ 451953 w 6884782"/>
              <a:gd name="connsiteY27275" fmla="*/ 2942432 h 5973007"/>
              <a:gd name="connsiteX27276" fmla="*/ 457116 w 6884782"/>
              <a:gd name="connsiteY27276" fmla="*/ 2942432 h 5973007"/>
              <a:gd name="connsiteX27277" fmla="*/ 459284 w 6884782"/>
              <a:gd name="connsiteY27277" fmla="*/ 2943826 h 5973007"/>
              <a:gd name="connsiteX27278" fmla="*/ 460317 w 6884782"/>
              <a:gd name="connsiteY27278" fmla="*/ 2943362 h 5973007"/>
              <a:gd name="connsiteX27279" fmla="*/ 457528 w 6884782"/>
              <a:gd name="connsiteY27279" fmla="*/ 2952501 h 5973007"/>
              <a:gd name="connsiteX27280" fmla="*/ 452675 w 6884782"/>
              <a:gd name="connsiteY27280" fmla="*/ 2949557 h 5973007"/>
              <a:gd name="connsiteX27281" fmla="*/ 453605 w 6884782"/>
              <a:gd name="connsiteY27281" fmla="*/ 2947389 h 5973007"/>
              <a:gd name="connsiteX27282" fmla="*/ 453811 w 6884782"/>
              <a:gd name="connsiteY27282" fmla="*/ 2947234 h 5973007"/>
              <a:gd name="connsiteX27283" fmla="*/ 449475 w 6884782"/>
              <a:gd name="connsiteY27283" fmla="*/ 2944291 h 5973007"/>
              <a:gd name="connsiteX27284" fmla="*/ 451953 w 6884782"/>
              <a:gd name="connsiteY27284" fmla="*/ 2942432 h 5973007"/>
              <a:gd name="connsiteX27285" fmla="*/ 214980 w 6884782"/>
              <a:gd name="connsiteY27285" fmla="*/ 2941813 h 5973007"/>
              <a:gd name="connsiteX27286" fmla="*/ 224892 w 6884782"/>
              <a:gd name="connsiteY27286" fmla="*/ 2946460 h 5973007"/>
              <a:gd name="connsiteX27287" fmla="*/ 214980 w 6884782"/>
              <a:gd name="connsiteY27287" fmla="*/ 2941813 h 5973007"/>
              <a:gd name="connsiteX27288" fmla="*/ 642151 w 6884782"/>
              <a:gd name="connsiteY27288" fmla="*/ 2941658 h 5973007"/>
              <a:gd name="connsiteX27289" fmla="*/ 642151 w 6884782"/>
              <a:gd name="connsiteY27289" fmla="*/ 2943207 h 5973007"/>
              <a:gd name="connsiteX27290" fmla="*/ 641428 w 6884782"/>
              <a:gd name="connsiteY27290" fmla="*/ 2942432 h 5973007"/>
              <a:gd name="connsiteX27291" fmla="*/ 642151 w 6884782"/>
              <a:gd name="connsiteY27291" fmla="*/ 2941658 h 5973007"/>
              <a:gd name="connsiteX27292" fmla="*/ 411373 w 6884782"/>
              <a:gd name="connsiteY27292" fmla="*/ 2937166 h 5973007"/>
              <a:gd name="connsiteX27293" fmla="*/ 412716 w 6884782"/>
              <a:gd name="connsiteY27293" fmla="*/ 2944446 h 5973007"/>
              <a:gd name="connsiteX27294" fmla="*/ 412922 w 6884782"/>
              <a:gd name="connsiteY27294" fmla="*/ 2948628 h 5973007"/>
              <a:gd name="connsiteX27295" fmla="*/ 411270 w 6884782"/>
              <a:gd name="connsiteY27295" fmla="*/ 2950487 h 5973007"/>
              <a:gd name="connsiteX27296" fmla="*/ 410444 w 6884782"/>
              <a:gd name="connsiteY27296" fmla="*/ 2950642 h 5973007"/>
              <a:gd name="connsiteX27297" fmla="*/ 409618 w 6884782"/>
              <a:gd name="connsiteY27297" fmla="*/ 2948938 h 5973007"/>
              <a:gd name="connsiteX27298" fmla="*/ 409618 w 6884782"/>
              <a:gd name="connsiteY27298" fmla="*/ 2943981 h 5973007"/>
              <a:gd name="connsiteX27299" fmla="*/ 409927 w 6884782"/>
              <a:gd name="connsiteY27299" fmla="*/ 2940728 h 5973007"/>
              <a:gd name="connsiteX27300" fmla="*/ 409721 w 6884782"/>
              <a:gd name="connsiteY27300" fmla="*/ 2939024 h 5973007"/>
              <a:gd name="connsiteX27301" fmla="*/ 411373 w 6884782"/>
              <a:gd name="connsiteY27301" fmla="*/ 2937166 h 5973007"/>
              <a:gd name="connsiteX27302" fmla="*/ 6599153 w 6884782"/>
              <a:gd name="connsiteY27302" fmla="*/ 2936466 h 5973007"/>
              <a:gd name="connsiteX27303" fmla="*/ 6618205 w 6884782"/>
              <a:gd name="connsiteY27303" fmla="*/ 2947721 h 5973007"/>
              <a:gd name="connsiteX27304" fmla="*/ 6598379 w 6884782"/>
              <a:gd name="connsiteY27304" fmla="*/ 2954536 h 5973007"/>
              <a:gd name="connsiteX27305" fmla="*/ 6580875 w 6884782"/>
              <a:gd name="connsiteY27305" fmla="*/ 2945759 h 5973007"/>
              <a:gd name="connsiteX27306" fmla="*/ 6599153 w 6884782"/>
              <a:gd name="connsiteY27306" fmla="*/ 2936466 h 5973007"/>
              <a:gd name="connsiteX27307" fmla="*/ 300786 w 6884782"/>
              <a:gd name="connsiteY27307" fmla="*/ 2935927 h 5973007"/>
              <a:gd name="connsiteX27308" fmla="*/ 302438 w 6884782"/>
              <a:gd name="connsiteY27308" fmla="*/ 2941038 h 5973007"/>
              <a:gd name="connsiteX27309" fmla="*/ 299030 w 6884782"/>
              <a:gd name="connsiteY27309" fmla="*/ 2942432 h 5973007"/>
              <a:gd name="connsiteX27310" fmla="*/ 297275 w 6884782"/>
              <a:gd name="connsiteY27310" fmla="*/ 2937166 h 5973007"/>
              <a:gd name="connsiteX27311" fmla="*/ 300786 w 6884782"/>
              <a:gd name="connsiteY27311" fmla="*/ 2935927 h 5973007"/>
              <a:gd name="connsiteX27312" fmla="*/ 6326358 w 6884782"/>
              <a:gd name="connsiteY27312" fmla="*/ 2934177 h 5973007"/>
              <a:gd name="connsiteX27313" fmla="*/ 6309680 w 6884782"/>
              <a:gd name="connsiteY27313" fmla="*/ 3014763 h 5973007"/>
              <a:gd name="connsiteX27314" fmla="*/ 6310737 w 6884782"/>
              <a:gd name="connsiteY27314" fmla="*/ 3013804 h 5973007"/>
              <a:gd name="connsiteX27315" fmla="*/ 6314609 w 6884782"/>
              <a:gd name="connsiteY27315" fmla="*/ 3024556 h 5973007"/>
              <a:gd name="connsiteX27316" fmla="*/ 6312052 w 6884782"/>
              <a:gd name="connsiteY27316" fmla="*/ 3026199 h 5973007"/>
              <a:gd name="connsiteX27317" fmla="*/ 6312743 w 6884782"/>
              <a:gd name="connsiteY27317" fmla="*/ 3029046 h 5973007"/>
              <a:gd name="connsiteX27318" fmla="*/ 6321706 w 6884782"/>
              <a:gd name="connsiteY27318" fmla="*/ 3069308 h 5973007"/>
              <a:gd name="connsiteX27319" fmla="*/ 6326829 w 6884782"/>
              <a:gd name="connsiteY27319" fmla="*/ 3065040 h 5973007"/>
              <a:gd name="connsiteX27320" fmla="*/ 6332591 w 6884782"/>
              <a:gd name="connsiteY27320" fmla="*/ 3063902 h 5973007"/>
              <a:gd name="connsiteX27321" fmla="*/ 6338567 w 6884782"/>
              <a:gd name="connsiteY27321" fmla="*/ 3066178 h 5973007"/>
              <a:gd name="connsiteX27322" fmla="*/ 6344329 w 6884782"/>
              <a:gd name="connsiteY27322" fmla="*/ 3070589 h 5973007"/>
              <a:gd name="connsiteX27323" fmla="*/ 6344116 w 6884782"/>
              <a:gd name="connsiteY27323" fmla="*/ 3067601 h 5973007"/>
              <a:gd name="connsiteX27324" fmla="*/ 6348039 w 6884782"/>
              <a:gd name="connsiteY27324" fmla="*/ 3071711 h 5973007"/>
              <a:gd name="connsiteX27325" fmla="*/ 6357292 w 6884782"/>
              <a:gd name="connsiteY27325" fmla="*/ 3060197 h 5973007"/>
              <a:gd name="connsiteX27326" fmla="*/ 6357561 w 6884782"/>
              <a:gd name="connsiteY27326" fmla="*/ 3059350 h 5973007"/>
              <a:gd name="connsiteX27327" fmla="*/ 6359055 w 6884782"/>
              <a:gd name="connsiteY27327" fmla="*/ 3049675 h 5973007"/>
              <a:gd name="connsiteX27328" fmla="*/ 6364177 w 6884782"/>
              <a:gd name="connsiteY27328" fmla="*/ 3048110 h 5973007"/>
              <a:gd name="connsiteX27329" fmla="*/ 6364817 w 6884782"/>
              <a:gd name="connsiteY27329" fmla="*/ 3042704 h 5973007"/>
              <a:gd name="connsiteX27330" fmla="*/ 6363537 w 6884782"/>
              <a:gd name="connsiteY27330" fmla="*/ 3039859 h 5973007"/>
              <a:gd name="connsiteX27331" fmla="*/ 6360549 w 6884782"/>
              <a:gd name="connsiteY27331" fmla="*/ 3026770 h 5973007"/>
              <a:gd name="connsiteX27332" fmla="*/ 6355854 w 6884782"/>
              <a:gd name="connsiteY27332" fmla="*/ 3029046 h 5973007"/>
              <a:gd name="connsiteX27333" fmla="*/ 6350305 w 6884782"/>
              <a:gd name="connsiteY27333" fmla="*/ 3009698 h 5973007"/>
              <a:gd name="connsiteX27334" fmla="*/ 6340914 w 6884782"/>
              <a:gd name="connsiteY27334" fmla="*/ 2990349 h 5973007"/>
              <a:gd name="connsiteX27335" fmla="*/ 6344969 w 6884782"/>
              <a:gd name="connsiteY27335" fmla="*/ 2973135 h 5973007"/>
              <a:gd name="connsiteX27336" fmla="*/ 6333872 w 6884782"/>
              <a:gd name="connsiteY27336" fmla="*/ 2965737 h 5973007"/>
              <a:gd name="connsiteX27337" fmla="*/ 6340914 w 6884782"/>
              <a:gd name="connsiteY27337" fmla="*/ 2962038 h 5973007"/>
              <a:gd name="connsiteX27338" fmla="*/ 6329176 w 6884782"/>
              <a:gd name="connsiteY27338" fmla="*/ 2944966 h 5973007"/>
              <a:gd name="connsiteX27339" fmla="*/ 6333231 w 6884782"/>
              <a:gd name="connsiteY27339" fmla="*/ 2941978 h 5973007"/>
              <a:gd name="connsiteX27340" fmla="*/ 506782 w 6884782"/>
              <a:gd name="connsiteY27340" fmla="*/ 2933913 h 5973007"/>
              <a:gd name="connsiteX27341" fmla="*/ 506782 w 6884782"/>
              <a:gd name="connsiteY27341" fmla="*/ 2934842 h 5973007"/>
              <a:gd name="connsiteX27342" fmla="*/ 507608 w 6884782"/>
              <a:gd name="connsiteY27342" fmla="*/ 2933913 h 5973007"/>
              <a:gd name="connsiteX27343" fmla="*/ 508847 w 6884782"/>
              <a:gd name="connsiteY27343" fmla="*/ 2945685 h 5973007"/>
              <a:gd name="connsiteX27344" fmla="*/ 507918 w 6884782"/>
              <a:gd name="connsiteY27344" fmla="*/ 2945685 h 5973007"/>
              <a:gd name="connsiteX27345" fmla="*/ 506369 w 6884782"/>
              <a:gd name="connsiteY27345" fmla="*/ 2937166 h 5973007"/>
              <a:gd name="connsiteX27346" fmla="*/ 506782 w 6884782"/>
              <a:gd name="connsiteY27346" fmla="*/ 2933913 h 5973007"/>
              <a:gd name="connsiteX27347" fmla="*/ 500793 w 6884782"/>
              <a:gd name="connsiteY27347" fmla="*/ 2933603 h 5973007"/>
              <a:gd name="connsiteX27348" fmla="*/ 500690 w 6884782"/>
              <a:gd name="connsiteY27348" fmla="*/ 2935307 h 5973007"/>
              <a:gd name="connsiteX27349" fmla="*/ 504614 w 6884782"/>
              <a:gd name="connsiteY27349" fmla="*/ 2947699 h 5973007"/>
              <a:gd name="connsiteX27350" fmla="*/ 497282 w 6884782"/>
              <a:gd name="connsiteY27350" fmla="*/ 2933758 h 5973007"/>
              <a:gd name="connsiteX27351" fmla="*/ 500793 w 6884782"/>
              <a:gd name="connsiteY27351" fmla="*/ 2933603 h 5973007"/>
              <a:gd name="connsiteX27352" fmla="*/ 6326856 w 6884782"/>
              <a:gd name="connsiteY27352" fmla="*/ 2931772 h 5973007"/>
              <a:gd name="connsiteX27353" fmla="*/ 6326540 w 6884782"/>
              <a:gd name="connsiteY27353" fmla="*/ 2933302 h 5973007"/>
              <a:gd name="connsiteX27354" fmla="*/ 6328322 w 6884782"/>
              <a:gd name="connsiteY27354" fmla="*/ 2933726 h 5973007"/>
              <a:gd name="connsiteX27355" fmla="*/ 768330 w 6884782"/>
              <a:gd name="connsiteY27355" fmla="*/ 2931745 h 5973007"/>
              <a:gd name="connsiteX27356" fmla="*/ 769569 w 6884782"/>
              <a:gd name="connsiteY27356" fmla="*/ 2936237 h 5973007"/>
              <a:gd name="connsiteX27357" fmla="*/ 771118 w 6884782"/>
              <a:gd name="connsiteY27357" fmla="*/ 2934842 h 5973007"/>
              <a:gd name="connsiteX27358" fmla="*/ 773389 w 6884782"/>
              <a:gd name="connsiteY27358" fmla="*/ 2934068 h 5973007"/>
              <a:gd name="connsiteX27359" fmla="*/ 772563 w 6884782"/>
              <a:gd name="connsiteY27359" fmla="*/ 2932983 h 5973007"/>
              <a:gd name="connsiteX27360" fmla="*/ 328290 w 6884782"/>
              <a:gd name="connsiteY27360" fmla="*/ 2931473 h 5973007"/>
              <a:gd name="connsiteX27361" fmla="*/ 334241 w 6884782"/>
              <a:gd name="connsiteY27361" fmla="*/ 2931899 h 5973007"/>
              <a:gd name="connsiteX27362" fmla="*/ 337338 w 6884782"/>
              <a:gd name="connsiteY27362" fmla="*/ 2940728 h 5973007"/>
              <a:gd name="connsiteX27363" fmla="*/ 335066 w 6884782"/>
              <a:gd name="connsiteY27363" fmla="*/ 2945220 h 5973007"/>
              <a:gd name="connsiteX27364" fmla="*/ 324638 w 6884782"/>
              <a:gd name="connsiteY27364" fmla="*/ 2945840 h 5973007"/>
              <a:gd name="connsiteX27365" fmla="*/ 322366 w 6884782"/>
              <a:gd name="connsiteY27365" fmla="*/ 2937011 h 5973007"/>
              <a:gd name="connsiteX27366" fmla="*/ 320508 w 6884782"/>
              <a:gd name="connsiteY27366" fmla="*/ 2936391 h 5973007"/>
              <a:gd name="connsiteX27367" fmla="*/ 318649 w 6884782"/>
              <a:gd name="connsiteY27367" fmla="*/ 2933294 h 5973007"/>
              <a:gd name="connsiteX27368" fmla="*/ 320301 w 6884782"/>
              <a:gd name="connsiteY27368" fmla="*/ 2932209 h 5973007"/>
              <a:gd name="connsiteX27369" fmla="*/ 323089 w 6884782"/>
              <a:gd name="connsiteY27369" fmla="*/ 2935152 h 5973007"/>
              <a:gd name="connsiteX27370" fmla="*/ 323915 w 6884782"/>
              <a:gd name="connsiteY27370" fmla="*/ 2934997 h 5973007"/>
              <a:gd name="connsiteX27371" fmla="*/ 325670 w 6884782"/>
              <a:gd name="connsiteY27371" fmla="*/ 2933138 h 5973007"/>
              <a:gd name="connsiteX27372" fmla="*/ 328290 w 6884782"/>
              <a:gd name="connsiteY27372" fmla="*/ 2931473 h 5973007"/>
              <a:gd name="connsiteX27373" fmla="*/ 791872 w 6884782"/>
              <a:gd name="connsiteY27373" fmla="*/ 2929731 h 5973007"/>
              <a:gd name="connsiteX27374" fmla="*/ 790840 w 6884782"/>
              <a:gd name="connsiteY27374" fmla="*/ 2930195 h 5973007"/>
              <a:gd name="connsiteX27375" fmla="*/ 792285 w 6884782"/>
              <a:gd name="connsiteY27375" fmla="*/ 2931125 h 5973007"/>
              <a:gd name="connsiteX27376" fmla="*/ 441421 w 6884782"/>
              <a:gd name="connsiteY27376" fmla="*/ 2929576 h 5973007"/>
              <a:gd name="connsiteX27377" fmla="*/ 444105 w 6884782"/>
              <a:gd name="connsiteY27377" fmla="*/ 2946614 h 5973007"/>
              <a:gd name="connsiteX27378" fmla="*/ 440801 w 6884782"/>
              <a:gd name="connsiteY27378" fmla="*/ 2945840 h 5973007"/>
              <a:gd name="connsiteX27379" fmla="*/ 437807 w 6884782"/>
              <a:gd name="connsiteY27379" fmla="*/ 2941658 h 5973007"/>
              <a:gd name="connsiteX27380" fmla="*/ 436155 w 6884782"/>
              <a:gd name="connsiteY27380" fmla="*/ 2937630 h 5973007"/>
              <a:gd name="connsiteX27381" fmla="*/ 429856 w 6884782"/>
              <a:gd name="connsiteY27381" fmla="*/ 2937940 h 5973007"/>
              <a:gd name="connsiteX27382" fmla="*/ 424899 w 6884782"/>
              <a:gd name="connsiteY27382" fmla="*/ 2934687 h 5973007"/>
              <a:gd name="connsiteX27383" fmla="*/ 430579 w 6884782"/>
              <a:gd name="connsiteY27383" fmla="*/ 2932364 h 5973007"/>
              <a:gd name="connsiteX27384" fmla="*/ 437187 w 6884782"/>
              <a:gd name="connsiteY27384" fmla="*/ 2932209 h 5973007"/>
              <a:gd name="connsiteX27385" fmla="*/ 438633 w 6884782"/>
              <a:gd name="connsiteY27385" fmla="*/ 2929886 h 5973007"/>
              <a:gd name="connsiteX27386" fmla="*/ 441421 w 6884782"/>
              <a:gd name="connsiteY27386" fmla="*/ 2929576 h 5973007"/>
              <a:gd name="connsiteX27387" fmla="*/ 624700 w 6884782"/>
              <a:gd name="connsiteY27387" fmla="*/ 2926478 h 5973007"/>
              <a:gd name="connsiteX27388" fmla="*/ 635955 w 6884782"/>
              <a:gd name="connsiteY27388" fmla="*/ 2937476 h 5973007"/>
              <a:gd name="connsiteX27389" fmla="*/ 634200 w 6884782"/>
              <a:gd name="connsiteY27389" fmla="*/ 2938560 h 5973007"/>
              <a:gd name="connsiteX27390" fmla="*/ 631928 w 6884782"/>
              <a:gd name="connsiteY27390" fmla="*/ 2938250 h 5973007"/>
              <a:gd name="connsiteX27391" fmla="*/ 625939 w 6884782"/>
              <a:gd name="connsiteY27391" fmla="*/ 2932829 h 5973007"/>
              <a:gd name="connsiteX27392" fmla="*/ 624907 w 6884782"/>
              <a:gd name="connsiteY27392" fmla="*/ 2931280 h 5973007"/>
              <a:gd name="connsiteX27393" fmla="*/ 623771 w 6884782"/>
              <a:gd name="connsiteY27393" fmla="*/ 2929886 h 5973007"/>
              <a:gd name="connsiteX27394" fmla="*/ 623565 w 6884782"/>
              <a:gd name="connsiteY27394" fmla="*/ 2928182 h 5973007"/>
              <a:gd name="connsiteX27395" fmla="*/ 624700 w 6884782"/>
              <a:gd name="connsiteY27395" fmla="*/ 2926478 h 5973007"/>
              <a:gd name="connsiteX27396" fmla="*/ 361345 w 6884782"/>
              <a:gd name="connsiteY27396" fmla="*/ 2923516 h 5973007"/>
              <a:gd name="connsiteX27397" fmla="*/ 367799 w 6884782"/>
              <a:gd name="connsiteY27397" fmla="*/ 2925858 h 5973007"/>
              <a:gd name="connsiteX27398" fmla="*/ 358299 w 6884782"/>
              <a:gd name="connsiteY27398" fmla="*/ 2928956 h 5973007"/>
              <a:gd name="connsiteX27399" fmla="*/ 347870 w 6884782"/>
              <a:gd name="connsiteY27399" fmla="*/ 2926323 h 5973007"/>
              <a:gd name="connsiteX27400" fmla="*/ 352104 w 6884782"/>
              <a:gd name="connsiteY27400" fmla="*/ 2923845 h 5973007"/>
              <a:gd name="connsiteX27401" fmla="*/ 361345 w 6884782"/>
              <a:gd name="connsiteY27401" fmla="*/ 2923516 h 5973007"/>
              <a:gd name="connsiteX27402" fmla="*/ 6392830 w 6884782"/>
              <a:gd name="connsiteY27402" fmla="*/ 2923142 h 5973007"/>
              <a:gd name="connsiteX27403" fmla="*/ 6388030 w 6884782"/>
              <a:gd name="connsiteY27403" fmla="*/ 2932955 h 5973007"/>
              <a:gd name="connsiteX27404" fmla="*/ 6382036 w 6884782"/>
              <a:gd name="connsiteY27404" fmla="*/ 2950650 h 5973007"/>
              <a:gd name="connsiteX27405" fmla="*/ 6385732 w 6884782"/>
              <a:gd name="connsiteY27405" fmla="*/ 2965025 h 5973007"/>
              <a:gd name="connsiteX27406" fmla="*/ 6391282 w 6884782"/>
              <a:gd name="connsiteY27406" fmla="*/ 2979110 h 5973007"/>
              <a:gd name="connsiteX27407" fmla="*/ 6386586 w 6884782"/>
              <a:gd name="connsiteY27407" fmla="*/ 2982098 h 5973007"/>
              <a:gd name="connsiteX27408" fmla="*/ 6389609 w 6884782"/>
              <a:gd name="connsiteY27408" fmla="*/ 2990560 h 5973007"/>
              <a:gd name="connsiteX27409" fmla="*/ 6400112 w 6884782"/>
              <a:gd name="connsiteY27409" fmla="*/ 2972399 h 5973007"/>
              <a:gd name="connsiteX27410" fmla="*/ 6399899 w 6884782"/>
              <a:gd name="connsiteY27410" fmla="*/ 2960215 h 5973007"/>
              <a:gd name="connsiteX27411" fmla="*/ 6400211 w 6884782"/>
              <a:gd name="connsiteY27411" fmla="*/ 2959377 h 5973007"/>
              <a:gd name="connsiteX27412" fmla="*/ 6395977 w 6884782"/>
              <a:gd name="connsiteY27412" fmla="*/ 2939701 h 5973007"/>
              <a:gd name="connsiteX27413" fmla="*/ 6399178 w 6884782"/>
              <a:gd name="connsiteY27413" fmla="*/ 2933015 h 5973007"/>
              <a:gd name="connsiteX27414" fmla="*/ 816344 w 6884782"/>
              <a:gd name="connsiteY27414" fmla="*/ 2920127 h 5973007"/>
              <a:gd name="connsiteX27415" fmla="*/ 813866 w 6884782"/>
              <a:gd name="connsiteY27415" fmla="*/ 2920747 h 5973007"/>
              <a:gd name="connsiteX27416" fmla="*/ 814279 w 6884782"/>
              <a:gd name="connsiteY27416" fmla="*/ 2923070 h 5973007"/>
              <a:gd name="connsiteX27417" fmla="*/ 333724 w 6884782"/>
              <a:gd name="connsiteY27417" fmla="*/ 2919198 h 5973007"/>
              <a:gd name="connsiteX27418" fmla="*/ 346631 w 6884782"/>
              <a:gd name="connsiteY27418" fmla="*/ 2922451 h 5973007"/>
              <a:gd name="connsiteX27419" fmla="*/ 341882 w 6884782"/>
              <a:gd name="connsiteY27419" fmla="*/ 2928337 h 5973007"/>
              <a:gd name="connsiteX27420" fmla="*/ 336719 w 6884782"/>
              <a:gd name="connsiteY27420" fmla="*/ 2927872 h 5973007"/>
              <a:gd name="connsiteX27421" fmla="*/ 330833 w 6884782"/>
              <a:gd name="connsiteY27421" fmla="*/ 2922141 h 5973007"/>
              <a:gd name="connsiteX27422" fmla="*/ 333724 w 6884782"/>
              <a:gd name="connsiteY27422" fmla="*/ 2919198 h 5973007"/>
              <a:gd name="connsiteX27423" fmla="*/ 759140 w 6884782"/>
              <a:gd name="connsiteY27423" fmla="*/ 2917184 h 5973007"/>
              <a:gd name="connsiteX27424" fmla="*/ 762341 w 6884782"/>
              <a:gd name="connsiteY27424" fmla="*/ 2917959 h 5973007"/>
              <a:gd name="connsiteX27425" fmla="*/ 759037 w 6884782"/>
              <a:gd name="connsiteY27425" fmla="*/ 2918113 h 5973007"/>
              <a:gd name="connsiteX27426" fmla="*/ 758520 w 6884782"/>
              <a:gd name="connsiteY27426" fmla="*/ 2917649 h 5973007"/>
              <a:gd name="connsiteX27427" fmla="*/ 759140 w 6884782"/>
              <a:gd name="connsiteY27427" fmla="*/ 2917184 h 5973007"/>
              <a:gd name="connsiteX27428" fmla="*/ 749124 w 6884782"/>
              <a:gd name="connsiteY27428" fmla="*/ 2916565 h 5973007"/>
              <a:gd name="connsiteX27429" fmla="*/ 754597 w 6884782"/>
              <a:gd name="connsiteY27429" fmla="*/ 2917184 h 5973007"/>
              <a:gd name="connsiteX27430" fmla="*/ 737766 w 6884782"/>
              <a:gd name="connsiteY27430" fmla="*/ 2931899 h 5973007"/>
              <a:gd name="connsiteX27431" fmla="*/ 749124 w 6884782"/>
              <a:gd name="connsiteY27431" fmla="*/ 2916565 h 5973007"/>
              <a:gd name="connsiteX27432" fmla="*/ 670650 w 6884782"/>
              <a:gd name="connsiteY27432" fmla="*/ 2915945 h 5973007"/>
              <a:gd name="connsiteX27433" fmla="*/ 673850 w 6884782"/>
              <a:gd name="connsiteY27433" fmla="*/ 2917804 h 5973007"/>
              <a:gd name="connsiteX27434" fmla="*/ 676432 w 6884782"/>
              <a:gd name="connsiteY27434" fmla="*/ 2923845 h 5973007"/>
              <a:gd name="connsiteX27435" fmla="*/ 672921 w 6884782"/>
              <a:gd name="connsiteY27435" fmla="*/ 2924929 h 5973007"/>
              <a:gd name="connsiteX27436" fmla="*/ 670753 w 6884782"/>
              <a:gd name="connsiteY27436" fmla="*/ 2924155 h 5973007"/>
              <a:gd name="connsiteX27437" fmla="*/ 670546 w 6884782"/>
              <a:gd name="connsiteY27437" fmla="*/ 2925394 h 5973007"/>
              <a:gd name="connsiteX27438" fmla="*/ 660530 w 6884782"/>
              <a:gd name="connsiteY27438" fmla="*/ 2927717 h 5973007"/>
              <a:gd name="connsiteX27439" fmla="*/ 660324 w 6884782"/>
              <a:gd name="connsiteY27439" fmla="*/ 2923070 h 5973007"/>
              <a:gd name="connsiteX27440" fmla="*/ 660737 w 6884782"/>
              <a:gd name="connsiteY27440" fmla="*/ 2919817 h 5973007"/>
              <a:gd name="connsiteX27441" fmla="*/ 667242 w 6884782"/>
              <a:gd name="connsiteY27441" fmla="*/ 2917339 h 5973007"/>
              <a:gd name="connsiteX27442" fmla="*/ 667552 w 6884782"/>
              <a:gd name="connsiteY27442" fmla="*/ 2917494 h 5973007"/>
              <a:gd name="connsiteX27443" fmla="*/ 667655 w 6884782"/>
              <a:gd name="connsiteY27443" fmla="*/ 2917339 h 5973007"/>
              <a:gd name="connsiteX27444" fmla="*/ 670650 w 6884782"/>
              <a:gd name="connsiteY27444" fmla="*/ 2915945 h 5973007"/>
              <a:gd name="connsiteX27445" fmla="*/ 6452621 w 6884782"/>
              <a:gd name="connsiteY27445" fmla="*/ 2915505 h 5973007"/>
              <a:gd name="connsiteX27446" fmla="*/ 6463464 w 6884782"/>
              <a:gd name="connsiteY27446" fmla="*/ 2917054 h 5973007"/>
              <a:gd name="connsiteX27447" fmla="*/ 6472138 w 6884782"/>
              <a:gd name="connsiteY27447" fmla="*/ 2932026 h 5973007"/>
              <a:gd name="connsiteX27448" fmla="*/ 6450763 w 6884782"/>
              <a:gd name="connsiteY27448" fmla="*/ 2941422 h 5973007"/>
              <a:gd name="connsiteX27449" fmla="*/ 6452621 w 6884782"/>
              <a:gd name="connsiteY27449" fmla="*/ 2915505 h 5973007"/>
              <a:gd name="connsiteX27450" fmla="*/ 563057 w 6884782"/>
              <a:gd name="connsiteY27450" fmla="*/ 2913312 h 5973007"/>
              <a:gd name="connsiteX27451" fmla="*/ 563573 w 6884782"/>
              <a:gd name="connsiteY27451" fmla="*/ 2920747 h 5973007"/>
              <a:gd name="connsiteX27452" fmla="*/ 563366 w 6884782"/>
              <a:gd name="connsiteY27452" fmla="*/ 2924929 h 5973007"/>
              <a:gd name="connsiteX27453" fmla="*/ 561611 w 6884782"/>
              <a:gd name="connsiteY27453" fmla="*/ 2926633 h 5973007"/>
              <a:gd name="connsiteX27454" fmla="*/ 560785 w 6884782"/>
              <a:gd name="connsiteY27454" fmla="*/ 2926788 h 5973007"/>
              <a:gd name="connsiteX27455" fmla="*/ 560062 w 6884782"/>
              <a:gd name="connsiteY27455" fmla="*/ 2924929 h 5973007"/>
              <a:gd name="connsiteX27456" fmla="*/ 561198 w 6884782"/>
              <a:gd name="connsiteY27456" fmla="*/ 2916719 h 5973007"/>
              <a:gd name="connsiteX27457" fmla="*/ 561301 w 6884782"/>
              <a:gd name="connsiteY27457" fmla="*/ 2915015 h 5973007"/>
              <a:gd name="connsiteX27458" fmla="*/ 563057 w 6884782"/>
              <a:gd name="connsiteY27458" fmla="*/ 2913312 h 5973007"/>
              <a:gd name="connsiteX27459" fmla="*/ 387004 w 6884782"/>
              <a:gd name="connsiteY27459" fmla="*/ 2912847 h 5973007"/>
              <a:gd name="connsiteX27460" fmla="*/ 393819 w 6884782"/>
              <a:gd name="connsiteY27460" fmla="*/ 2913932 h 5973007"/>
              <a:gd name="connsiteX27461" fmla="*/ 405281 w 6884782"/>
              <a:gd name="connsiteY27461" fmla="*/ 2933294 h 5973007"/>
              <a:gd name="connsiteX27462" fmla="*/ 394646 w 6884782"/>
              <a:gd name="connsiteY27462" fmla="*/ 2941813 h 5973007"/>
              <a:gd name="connsiteX27463" fmla="*/ 377918 w 6884782"/>
              <a:gd name="connsiteY27463" fmla="*/ 2929731 h 5973007"/>
              <a:gd name="connsiteX27464" fmla="*/ 377815 w 6884782"/>
              <a:gd name="connsiteY27464" fmla="*/ 2926013 h 5973007"/>
              <a:gd name="connsiteX27465" fmla="*/ 378641 w 6884782"/>
              <a:gd name="connsiteY27465" fmla="*/ 2922296 h 5973007"/>
              <a:gd name="connsiteX27466" fmla="*/ 387004 w 6884782"/>
              <a:gd name="connsiteY27466" fmla="*/ 2912847 h 5973007"/>
              <a:gd name="connsiteX27467" fmla="*/ 549633 w 6884782"/>
              <a:gd name="connsiteY27467" fmla="*/ 2912692 h 5973007"/>
              <a:gd name="connsiteX27468" fmla="*/ 552627 w 6884782"/>
              <a:gd name="connsiteY27468" fmla="*/ 2925858 h 5973007"/>
              <a:gd name="connsiteX27469" fmla="*/ 547052 w 6884782"/>
              <a:gd name="connsiteY27469" fmla="*/ 2926013 h 5973007"/>
              <a:gd name="connsiteX27470" fmla="*/ 546329 w 6884782"/>
              <a:gd name="connsiteY27470" fmla="*/ 2917649 h 5973007"/>
              <a:gd name="connsiteX27471" fmla="*/ 549633 w 6884782"/>
              <a:gd name="connsiteY27471" fmla="*/ 2912692 h 5973007"/>
              <a:gd name="connsiteX27472" fmla="*/ 146108 w 6884782"/>
              <a:gd name="connsiteY27472" fmla="*/ 2910834 h 5973007"/>
              <a:gd name="connsiteX27473" fmla="*/ 150961 w 6884782"/>
              <a:gd name="connsiteY27473" fmla="*/ 2918578 h 5973007"/>
              <a:gd name="connsiteX27474" fmla="*/ 145385 w 6884782"/>
              <a:gd name="connsiteY27474" fmla="*/ 2913157 h 5973007"/>
              <a:gd name="connsiteX27475" fmla="*/ 146108 w 6884782"/>
              <a:gd name="connsiteY27475" fmla="*/ 2910834 h 5973007"/>
              <a:gd name="connsiteX27476" fmla="*/ 522270 w 6884782"/>
              <a:gd name="connsiteY27476" fmla="*/ 2910679 h 5973007"/>
              <a:gd name="connsiteX27477" fmla="*/ 523922 w 6884782"/>
              <a:gd name="connsiteY27477" fmla="*/ 2919817 h 5973007"/>
              <a:gd name="connsiteX27478" fmla="*/ 481174 w 6884782"/>
              <a:gd name="connsiteY27478" fmla="*/ 2931899 h 5973007"/>
              <a:gd name="connsiteX27479" fmla="*/ 522270 w 6884782"/>
              <a:gd name="connsiteY27479" fmla="*/ 2910679 h 5973007"/>
              <a:gd name="connsiteX27480" fmla="*/ 6369299 w 6884782"/>
              <a:gd name="connsiteY27480" fmla="*/ 2910537 h 5973007"/>
              <a:gd name="connsiteX27481" fmla="*/ 6373994 w 6884782"/>
              <a:gd name="connsiteY27481" fmla="*/ 2915089 h 5973007"/>
              <a:gd name="connsiteX27482" fmla="*/ 6381891 w 6884782"/>
              <a:gd name="connsiteY27482" fmla="*/ 2921918 h 5973007"/>
              <a:gd name="connsiteX27483" fmla="*/ 6378689 w 6884782"/>
              <a:gd name="connsiteY27483" fmla="*/ 2922629 h 5973007"/>
              <a:gd name="connsiteX27484" fmla="*/ 6382531 w 6884782"/>
              <a:gd name="connsiteY27484" fmla="*/ 2938279 h 5973007"/>
              <a:gd name="connsiteX27485" fmla="*/ 6381037 w 6884782"/>
              <a:gd name="connsiteY27485" fmla="*/ 2930027 h 5973007"/>
              <a:gd name="connsiteX27486" fmla="*/ 6373994 w 6884782"/>
              <a:gd name="connsiteY27486" fmla="*/ 2927893 h 5973007"/>
              <a:gd name="connsiteX27487" fmla="*/ 6379143 w 6884782"/>
              <a:gd name="connsiteY27487" fmla="*/ 2936162 h 5973007"/>
              <a:gd name="connsiteX27488" fmla="*/ 6379972 w 6884782"/>
              <a:gd name="connsiteY27488" fmla="*/ 2940361 h 5973007"/>
              <a:gd name="connsiteX27489" fmla="*/ 6380672 w 6884782"/>
              <a:gd name="connsiteY27489" fmla="*/ 2941758 h 5973007"/>
              <a:gd name="connsiteX27490" fmla="*/ 6380274 w 6884782"/>
              <a:gd name="connsiteY27490" fmla="*/ 2941895 h 5973007"/>
              <a:gd name="connsiteX27491" fmla="*/ 6381654 w 6884782"/>
              <a:gd name="connsiteY27491" fmla="*/ 2948886 h 5973007"/>
              <a:gd name="connsiteX27492" fmla="*/ 6382298 w 6884782"/>
              <a:gd name="connsiteY27492" fmla="*/ 2945449 h 5973007"/>
              <a:gd name="connsiteX27493" fmla="*/ 6385242 w 6884782"/>
              <a:gd name="connsiteY27493" fmla="*/ 2933781 h 5973007"/>
              <a:gd name="connsiteX27494" fmla="*/ 6390051 w 6884782"/>
              <a:gd name="connsiteY27494" fmla="*/ 2915461 h 5973007"/>
              <a:gd name="connsiteX27495" fmla="*/ 6388720 w 6884782"/>
              <a:gd name="connsiteY27495" fmla="*/ 2911248 h 5973007"/>
              <a:gd name="connsiteX27496" fmla="*/ 6386586 w 6884782"/>
              <a:gd name="connsiteY27496" fmla="*/ 2911959 h 5973007"/>
              <a:gd name="connsiteX27497" fmla="*/ 6377623 w 6884782"/>
              <a:gd name="connsiteY27497" fmla="*/ 2913097 h 5973007"/>
              <a:gd name="connsiteX27498" fmla="*/ 313796 w 6884782"/>
              <a:gd name="connsiteY27498" fmla="*/ 2908975 h 5973007"/>
              <a:gd name="connsiteX27499" fmla="*/ 312454 w 6884782"/>
              <a:gd name="connsiteY27499" fmla="*/ 2921521 h 5973007"/>
              <a:gd name="connsiteX27500" fmla="*/ 306155 w 6884782"/>
              <a:gd name="connsiteY27500" fmla="*/ 2915790 h 5973007"/>
              <a:gd name="connsiteX27501" fmla="*/ 308736 w 6884782"/>
              <a:gd name="connsiteY27501" fmla="*/ 2909594 h 5973007"/>
              <a:gd name="connsiteX27502" fmla="*/ 313796 w 6884782"/>
              <a:gd name="connsiteY27502" fmla="*/ 2908975 h 5973007"/>
              <a:gd name="connsiteX27503" fmla="*/ 6366525 w 6884782"/>
              <a:gd name="connsiteY27503" fmla="*/ 2906838 h 5973007"/>
              <a:gd name="connsiteX27504" fmla="*/ 6366952 w 6884782"/>
              <a:gd name="connsiteY27504" fmla="*/ 2908403 h 5973007"/>
              <a:gd name="connsiteX27505" fmla="*/ 6369086 w 6884782"/>
              <a:gd name="connsiteY27505" fmla="*/ 2910537 h 5973007"/>
              <a:gd name="connsiteX27506" fmla="*/ 231914 w 6884782"/>
              <a:gd name="connsiteY27506" fmla="*/ 2901540 h 5973007"/>
              <a:gd name="connsiteX27507" fmla="*/ 232843 w 6884782"/>
              <a:gd name="connsiteY27507" fmla="*/ 2901540 h 5973007"/>
              <a:gd name="connsiteX27508" fmla="*/ 233669 w 6884782"/>
              <a:gd name="connsiteY27508" fmla="*/ 2906496 h 5973007"/>
              <a:gd name="connsiteX27509" fmla="*/ 233566 w 6884782"/>
              <a:gd name="connsiteY27509" fmla="*/ 2910679 h 5973007"/>
              <a:gd name="connsiteX27510" fmla="*/ 229849 w 6884782"/>
              <a:gd name="connsiteY27510" fmla="*/ 2923535 h 5973007"/>
              <a:gd name="connsiteX27511" fmla="*/ 228919 w 6884782"/>
              <a:gd name="connsiteY27511" fmla="*/ 2917649 h 5973007"/>
              <a:gd name="connsiteX27512" fmla="*/ 229332 w 6884782"/>
              <a:gd name="connsiteY27512" fmla="*/ 2904483 h 5973007"/>
              <a:gd name="connsiteX27513" fmla="*/ 231088 w 6884782"/>
              <a:gd name="connsiteY27513" fmla="*/ 2902934 h 5973007"/>
              <a:gd name="connsiteX27514" fmla="*/ 231088 w 6884782"/>
              <a:gd name="connsiteY27514" fmla="*/ 2902159 h 5973007"/>
              <a:gd name="connsiteX27515" fmla="*/ 231914 w 6884782"/>
              <a:gd name="connsiteY27515" fmla="*/ 2901540 h 5973007"/>
              <a:gd name="connsiteX27516" fmla="*/ 473740 w 6884782"/>
              <a:gd name="connsiteY27516" fmla="*/ 2899526 h 5973007"/>
              <a:gd name="connsiteX27517" fmla="*/ 475082 w 6884782"/>
              <a:gd name="connsiteY27517" fmla="*/ 2901230 h 5973007"/>
              <a:gd name="connsiteX27518" fmla="*/ 475908 w 6884782"/>
              <a:gd name="connsiteY27518" fmla="*/ 2901075 h 5973007"/>
              <a:gd name="connsiteX27519" fmla="*/ 478696 w 6884782"/>
              <a:gd name="connsiteY27519" fmla="*/ 2901230 h 5973007"/>
              <a:gd name="connsiteX27520" fmla="*/ 478902 w 6884782"/>
              <a:gd name="connsiteY27520" fmla="*/ 2900920 h 5973007"/>
              <a:gd name="connsiteX27521" fmla="*/ 487576 w 6884782"/>
              <a:gd name="connsiteY27521" fmla="*/ 2900610 h 5973007"/>
              <a:gd name="connsiteX27522" fmla="*/ 489745 w 6884782"/>
              <a:gd name="connsiteY27522" fmla="*/ 2909749 h 5973007"/>
              <a:gd name="connsiteX27523" fmla="*/ 486957 w 6884782"/>
              <a:gd name="connsiteY27523" fmla="*/ 2914086 h 5973007"/>
              <a:gd name="connsiteX27524" fmla="*/ 484582 w 6884782"/>
              <a:gd name="connsiteY27524" fmla="*/ 2914706 h 5973007"/>
              <a:gd name="connsiteX27525" fmla="*/ 482723 w 6884782"/>
              <a:gd name="connsiteY27525" fmla="*/ 2919508 h 5973007"/>
              <a:gd name="connsiteX27526" fmla="*/ 477560 w 6884782"/>
              <a:gd name="connsiteY27526" fmla="*/ 2921831 h 5973007"/>
              <a:gd name="connsiteX27527" fmla="*/ 476631 w 6884782"/>
              <a:gd name="connsiteY27527" fmla="*/ 2919508 h 5973007"/>
              <a:gd name="connsiteX27528" fmla="*/ 478696 w 6884782"/>
              <a:gd name="connsiteY27528" fmla="*/ 2914551 h 5973007"/>
              <a:gd name="connsiteX27529" fmla="*/ 476631 w 6884782"/>
              <a:gd name="connsiteY27529" fmla="*/ 2913776 h 5973007"/>
              <a:gd name="connsiteX27530" fmla="*/ 474463 w 6884782"/>
              <a:gd name="connsiteY27530" fmla="*/ 2910679 h 5973007"/>
              <a:gd name="connsiteX27531" fmla="*/ 474463 w 6884782"/>
              <a:gd name="connsiteY27531" fmla="*/ 2909439 h 5973007"/>
              <a:gd name="connsiteX27532" fmla="*/ 473430 w 6884782"/>
              <a:gd name="connsiteY27532" fmla="*/ 2909594 h 5973007"/>
              <a:gd name="connsiteX27533" fmla="*/ 472088 w 6884782"/>
              <a:gd name="connsiteY27533" fmla="*/ 2907116 h 5973007"/>
              <a:gd name="connsiteX27534" fmla="*/ 470435 w 6884782"/>
              <a:gd name="connsiteY27534" fmla="*/ 2906032 h 5973007"/>
              <a:gd name="connsiteX27535" fmla="*/ 470126 w 6884782"/>
              <a:gd name="connsiteY27535" fmla="*/ 2903399 h 5973007"/>
              <a:gd name="connsiteX27536" fmla="*/ 472191 w 6884782"/>
              <a:gd name="connsiteY27536" fmla="*/ 2902004 h 5973007"/>
              <a:gd name="connsiteX27537" fmla="*/ 472707 w 6884782"/>
              <a:gd name="connsiteY27537" fmla="*/ 2901849 h 5973007"/>
              <a:gd name="connsiteX27538" fmla="*/ 471985 w 6884782"/>
              <a:gd name="connsiteY27538" fmla="*/ 2900455 h 5973007"/>
              <a:gd name="connsiteX27539" fmla="*/ 473740 w 6884782"/>
              <a:gd name="connsiteY27539" fmla="*/ 2899526 h 5973007"/>
              <a:gd name="connsiteX27540" fmla="*/ 636988 w 6884782"/>
              <a:gd name="connsiteY27540" fmla="*/ 2898906 h 5973007"/>
              <a:gd name="connsiteX27541" fmla="*/ 635232 w 6884782"/>
              <a:gd name="connsiteY27541" fmla="*/ 2902469 h 5973007"/>
              <a:gd name="connsiteX27542" fmla="*/ 633477 w 6884782"/>
              <a:gd name="connsiteY27542" fmla="*/ 2903399 h 5973007"/>
              <a:gd name="connsiteX27543" fmla="*/ 639053 w 6884782"/>
              <a:gd name="connsiteY27543" fmla="*/ 2904328 h 5973007"/>
              <a:gd name="connsiteX27544" fmla="*/ 637814 w 6884782"/>
              <a:gd name="connsiteY27544" fmla="*/ 2903244 h 5973007"/>
              <a:gd name="connsiteX27545" fmla="*/ 638950 w 6884782"/>
              <a:gd name="connsiteY27545" fmla="*/ 2901075 h 5973007"/>
              <a:gd name="connsiteX27546" fmla="*/ 640086 w 6884782"/>
              <a:gd name="connsiteY27546" fmla="*/ 2900301 h 5973007"/>
              <a:gd name="connsiteX27547" fmla="*/ 637917 w 6884782"/>
              <a:gd name="connsiteY27547" fmla="*/ 2899526 h 5973007"/>
              <a:gd name="connsiteX27548" fmla="*/ 679426 w 6884782"/>
              <a:gd name="connsiteY27548" fmla="*/ 2898751 h 5973007"/>
              <a:gd name="connsiteX27549" fmla="*/ 682524 w 6884782"/>
              <a:gd name="connsiteY27549" fmla="*/ 2904173 h 5973007"/>
              <a:gd name="connsiteX27550" fmla="*/ 675709 w 6884782"/>
              <a:gd name="connsiteY27550" fmla="*/ 2903244 h 5973007"/>
              <a:gd name="connsiteX27551" fmla="*/ 679426 w 6884782"/>
              <a:gd name="connsiteY27551" fmla="*/ 2898751 h 5973007"/>
              <a:gd name="connsiteX27552" fmla="*/ 6528482 w 6884782"/>
              <a:gd name="connsiteY27552" fmla="*/ 2885548 h 5973007"/>
              <a:gd name="connsiteX27553" fmla="*/ 6534716 w 6884782"/>
              <a:gd name="connsiteY27553" fmla="*/ 2888865 h 5973007"/>
              <a:gd name="connsiteX27554" fmla="*/ 6529760 w 6884782"/>
              <a:gd name="connsiteY27554" fmla="*/ 2904043 h 5973007"/>
              <a:gd name="connsiteX27555" fmla="*/ 6526971 w 6884782"/>
              <a:gd name="connsiteY27555" fmla="*/ 2903630 h 5973007"/>
              <a:gd name="connsiteX27556" fmla="*/ 6516903 w 6884782"/>
              <a:gd name="connsiteY27556" fmla="*/ 2895163 h 5973007"/>
              <a:gd name="connsiteX27557" fmla="*/ 6528482 w 6884782"/>
              <a:gd name="connsiteY27557" fmla="*/ 2885548 h 5973007"/>
              <a:gd name="connsiteX27558" fmla="*/ 696464 w 6884782"/>
              <a:gd name="connsiteY27558" fmla="*/ 2885430 h 5973007"/>
              <a:gd name="connsiteX27559" fmla="*/ 702349 w 6884782"/>
              <a:gd name="connsiteY27559" fmla="*/ 2885585 h 5973007"/>
              <a:gd name="connsiteX27560" fmla="*/ 710816 w 6884782"/>
              <a:gd name="connsiteY27560" fmla="*/ 2898906 h 5973007"/>
              <a:gd name="connsiteX27561" fmla="*/ 710093 w 6884782"/>
              <a:gd name="connsiteY27561" fmla="*/ 2901075 h 5973007"/>
              <a:gd name="connsiteX27562" fmla="*/ 709990 w 6884782"/>
              <a:gd name="connsiteY27562" fmla="*/ 2904792 h 5973007"/>
              <a:gd name="connsiteX27563" fmla="*/ 698632 w 6884782"/>
              <a:gd name="connsiteY27563" fmla="*/ 2904483 h 5973007"/>
              <a:gd name="connsiteX27564" fmla="*/ 689545 w 6884782"/>
              <a:gd name="connsiteY27564" fmla="*/ 2895499 h 5973007"/>
              <a:gd name="connsiteX27565" fmla="*/ 689752 w 6884782"/>
              <a:gd name="connsiteY27565" fmla="*/ 2892246 h 5973007"/>
              <a:gd name="connsiteX27566" fmla="*/ 696464 w 6884782"/>
              <a:gd name="connsiteY27566" fmla="*/ 2885430 h 5973007"/>
              <a:gd name="connsiteX27567" fmla="*/ 418807 w 6884782"/>
              <a:gd name="connsiteY27567" fmla="*/ 2885430 h 5973007"/>
              <a:gd name="connsiteX27568" fmla="*/ 457735 w 6884782"/>
              <a:gd name="connsiteY27568" fmla="*/ 2921831 h 5973007"/>
              <a:gd name="connsiteX27569" fmla="*/ 418807 w 6884782"/>
              <a:gd name="connsiteY27569" fmla="*/ 2885430 h 5973007"/>
              <a:gd name="connsiteX27570" fmla="*/ 631722 w 6884782"/>
              <a:gd name="connsiteY27570" fmla="*/ 2882178 h 5973007"/>
              <a:gd name="connsiteX27571" fmla="*/ 659601 w 6884782"/>
              <a:gd name="connsiteY27571" fmla="*/ 2907735 h 5973007"/>
              <a:gd name="connsiteX27572" fmla="*/ 645868 w 6884782"/>
              <a:gd name="connsiteY27572" fmla="*/ 2902624 h 5973007"/>
              <a:gd name="connsiteX27573" fmla="*/ 644835 w 6884782"/>
              <a:gd name="connsiteY27573" fmla="*/ 2905722 h 5973007"/>
              <a:gd name="connsiteX27574" fmla="*/ 643906 w 6884782"/>
              <a:gd name="connsiteY27574" fmla="*/ 2905722 h 5973007"/>
              <a:gd name="connsiteX27575" fmla="*/ 645764 w 6884782"/>
              <a:gd name="connsiteY27575" fmla="*/ 2907116 h 5973007"/>
              <a:gd name="connsiteX27576" fmla="*/ 646900 w 6884782"/>
              <a:gd name="connsiteY27576" fmla="*/ 2911298 h 5973007"/>
              <a:gd name="connsiteX27577" fmla="*/ 646281 w 6884782"/>
              <a:gd name="connsiteY27577" fmla="*/ 2911608 h 5973007"/>
              <a:gd name="connsiteX27578" fmla="*/ 646797 w 6884782"/>
              <a:gd name="connsiteY27578" fmla="*/ 2911763 h 5973007"/>
              <a:gd name="connsiteX27579" fmla="*/ 646797 w 6884782"/>
              <a:gd name="connsiteY27579" fmla="*/ 2912072 h 5973007"/>
              <a:gd name="connsiteX27580" fmla="*/ 648862 w 6884782"/>
              <a:gd name="connsiteY27580" fmla="*/ 2912072 h 5973007"/>
              <a:gd name="connsiteX27581" fmla="*/ 658982 w 6884782"/>
              <a:gd name="connsiteY27581" fmla="*/ 2919043 h 5973007"/>
              <a:gd name="connsiteX27582" fmla="*/ 657742 w 6884782"/>
              <a:gd name="connsiteY27582" fmla="*/ 2921986 h 5973007"/>
              <a:gd name="connsiteX27583" fmla="*/ 658052 w 6884782"/>
              <a:gd name="connsiteY27583" fmla="*/ 2921831 h 5973007"/>
              <a:gd name="connsiteX27584" fmla="*/ 657639 w 6884782"/>
              <a:gd name="connsiteY27584" fmla="*/ 2922605 h 5973007"/>
              <a:gd name="connsiteX27585" fmla="*/ 657432 w 6884782"/>
              <a:gd name="connsiteY27585" fmla="*/ 2922605 h 5973007"/>
              <a:gd name="connsiteX27586" fmla="*/ 657949 w 6884782"/>
              <a:gd name="connsiteY27586" fmla="*/ 2923690 h 5973007"/>
              <a:gd name="connsiteX27587" fmla="*/ 656297 w 6884782"/>
              <a:gd name="connsiteY27587" fmla="*/ 2925084 h 5973007"/>
              <a:gd name="connsiteX27588" fmla="*/ 655574 w 6884782"/>
              <a:gd name="connsiteY27588" fmla="*/ 2926633 h 5973007"/>
              <a:gd name="connsiteX27589" fmla="*/ 636575 w 6884782"/>
              <a:gd name="connsiteY27589" fmla="*/ 2934223 h 5973007"/>
              <a:gd name="connsiteX27590" fmla="*/ 630380 w 6884782"/>
              <a:gd name="connsiteY27590" fmla="*/ 2922296 h 5973007"/>
              <a:gd name="connsiteX27591" fmla="*/ 633477 w 6884782"/>
              <a:gd name="connsiteY27591" fmla="*/ 2916410 h 5973007"/>
              <a:gd name="connsiteX27592" fmla="*/ 634923 w 6884782"/>
              <a:gd name="connsiteY27592" fmla="*/ 2915325 h 5973007"/>
              <a:gd name="connsiteX27593" fmla="*/ 634406 w 6884782"/>
              <a:gd name="connsiteY27593" fmla="*/ 2911453 h 5973007"/>
              <a:gd name="connsiteX27594" fmla="*/ 635232 w 6884782"/>
              <a:gd name="connsiteY27594" fmla="*/ 2911143 h 5973007"/>
              <a:gd name="connsiteX27595" fmla="*/ 633787 w 6884782"/>
              <a:gd name="connsiteY27595" fmla="*/ 2909749 h 5973007"/>
              <a:gd name="connsiteX27596" fmla="*/ 632961 w 6884782"/>
              <a:gd name="connsiteY27596" fmla="*/ 2903709 h 5973007"/>
              <a:gd name="connsiteX27597" fmla="*/ 632548 w 6884782"/>
              <a:gd name="connsiteY27597" fmla="*/ 2904018 h 5973007"/>
              <a:gd name="connsiteX27598" fmla="*/ 629967 w 6884782"/>
              <a:gd name="connsiteY27598" fmla="*/ 2904328 h 5973007"/>
              <a:gd name="connsiteX27599" fmla="*/ 629244 w 6884782"/>
              <a:gd name="connsiteY27599" fmla="*/ 2901849 h 5973007"/>
              <a:gd name="connsiteX27600" fmla="*/ 632031 w 6884782"/>
              <a:gd name="connsiteY27600" fmla="*/ 2896738 h 5973007"/>
              <a:gd name="connsiteX27601" fmla="*/ 632754 w 6884782"/>
              <a:gd name="connsiteY27601" fmla="*/ 2896118 h 5973007"/>
              <a:gd name="connsiteX27602" fmla="*/ 627695 w 6884782"/>
              <a:gd name="connsiteY27602" fmla="*/ 2892866 h 5973007"/>
              <a:gd name="connsiteX27603" fmla="*/ 624391 w 6884782"/>
              <a:gd name="connsiteY27603" fmla="*/ 2889458 h 5973007"/>
              <a:gd name="connsiteX27604" fmla="*/ 620054 w 6884782"/>
              <a:gd name="connsiteY27604" fmla="*/ 2888219 h 5973007"/>
              <a:gd name="connsiteX27605" fmla="*/ 622532 w 6884782"/>
              <a:gd name="connsiteY27605" fmla="*/ 2887289 h 5973007"/>
              <a:gd name="connsiteX27606" fmla="*/ 618402 w 6884782"/>
              <a:gd name="connsiteY27606" fmla="*/ 2882952 h 5973007"/>
              <a:gd name="connsiteX27607" fmla="*/ 631722 w 6884782"/>
              <a:gd name="connsiteY27607" fmla="*/ 2882178 h 5973007"/>
              <a:gd name="connsiteX27608" fmla="*/ 473533 w 6884782"/>
              <a:gd name="connsiteY27608" fmla="*/ 2881403 h 5973007"/>
              <a:gd name="connsiteX27609" fmla="*/ 469093 w 6884782"/>
              <a:gd name="connsiteY27609" fmla="*/ 2893485 h 5973007"/>
              <a:gd name="connsiteX27610" fmla="*/ 468784 w 6884782"/>
              <a:gd name="connsiteY27610" fmla="*/ 2891007 h 5973007"/>
              <a:gd name="connsiteX27611" fmla="*/ 473533 w 6884782"/>
              <a:gd name="connsiteY27611" fmla="*/ 2881403 h 5973007"/>
              <a:gd name="connsiteX27612" fmla="*/ 445241 w 6884782"/>
              <a:gd name="connsiteY27612" fmla="*/ 2881403 h 5973007"/>
              <a:gd name="connsiteX27613" fmla="*/ 443073 w 6884782"/>
              <a:gd name="connsiteY27613" fmla="*/ 2891162 h 5973007"/>
              <a:gd name="connsiteX27614" fmla="*/ 435535 w 6884782"/>
              <a:gd name="connsiteY27614" fmla="*/ 2888838 h 5973007"/>
              <a:gd name="connsiteX27615" fmla="*/ 435948 w 6884782"/>
              <a:gd name="connsiteY27615" fmla="*/ 2882333 h 5973007"/>
              <a:gd name="connsiteX27616" fmla="*/ 445241 w 6884782"/>
              <a:gd name="connsiteY27616" fmla="*/ 2881403 h 5973007"/>
              <a:gd name="connsiteX27617" fmla="*/ 641221 w 6884782"/>
              <a:gd name="connsiteY27617" fmla="*/ 2881093 h 5973007"/>
              <a:gd name="connsiteX27618" fmla="*/ 658156 w 6884782"/>
              <a:gd name="connsiteY27618" fmla="*/ 2888993 h 5973007"/>
              <a:gd name="connsiteX27619" fmla="*/ 641221 w 6884782"/>
              <a:gd name="connsiteY27619" fmla="*/ 2881093 h 5973007"/>
              <a:gd name="connsiteX27620" fmla="*/ 561714 w 6884782"/>
              <a:gd name="connsiteY27620" fmla="*/ 2880319 h 5973007"/>
              <a:gd name="connsiteX27621" fmla="*/ 566670 w 6884782"/>
              <a:gd name="connsiteY27621" fmla="*/ 2882487 h 5973007"/>
              <a:gd name="connsiteX27622" fmla="*/ 562850 w 6884782"/>
              <a:gd name="connsiteY27622" fmla="*/ 2891626 h 5973007"/>
              <a:gd name="connsiteX27623" fmla="*/ 558513 w 6884782"/>
              <a:gd name="connsiteY27623" fmla="*/ 2886979 h 5973007"/>
              <a:gd name="connsiteX27624" fmla="*/ 558513 w 6884782"/>
              <a:gd name="connsiteY27624" fmla="*/ 2886205 h 5973007"/>
              <a:gd name="connsiteX27625" fmla="*/ 559029 w 6884782"/>
              <a:gd name="connsiteY27625" fmla="*/ 2884347 h 5973007"/>
              <a:gd name="connsiteX27626" fmla="*/ 562437 w 6884782"/>
              <a:gd name="connsiteY27626" fmla="*/ 2880783 h 5973007"/>
              <a:gd name="connsiteX27627" fmla="*/ 561714 w 6884782"/>
              <a:gd name="connsiteY27627" fmla="*/ 2880319 h 5973007"/>
              <a:gd name="connsiteX27628" fmla="*/ 399602 w 6884782"/>
              <a:gd name="connsiteY27628" fmla="*/ 2878305 h 5973007"/>
              <a:gd name="connsiteX27629" fmla="*/ 413748 w 6884782"/>
              <a:gd name="connsiteY27629" fmla="*/ 2899990 h 5973007"/>
              <a:gd name="connsiteX27630" fmla="*/ 399602 w 6884782"/>
              <a:gd name="connsiteY27630" fmla="*/ 2878305 h 5973007"/>
              <a:gd name="connsiteX27631" fmla="*/ 738592 w 6884782"/>
              <a:gd name="connsiteY27631" fmla="*/ 2878150 h 5973007"/>
              <a:gd name="connsiteX27632" fmla="*/ 741380 w 6884782"/>
              <a:gd name="connsiteY27632" fmla="*/ 2878305 h 5973007"/>
              <a:gd name="connsiteX27633" fmla="*/ 741173 w 6884782"/>
              <a:gd name="connsiteY27633" fmla="*/ 2882952 h 5973007"/>
              <a:gd name="connsiteX27634" fmla="*/ 737353 w 6884782"/>
              <a:gd name="connsiteY27634" fmla="*/ 2881558 h 5973007"/>
              <a:gd name="connsiteX27635" fmla="*/ 738592 w 6884782"/>
              <a:gd name="connsiteY27635" fmla="*/ 2878150 h 5973007"/>
              <a:gd name="connsiteX27636" fmla="*/ 499451 w 6884782"/>
              <a:gd name="connsiteY27636" fmla="*/ 2876756 h 5973007"/>
              <a:gd name="connsiteX27637" fmla="*/ 501103 w 6884782"/>
              <a:gd name="connsiteY27637" fmla="*/ 2880938 h 5973007"/>
              <a:gd name="connsiteX27638" fmla="*/ 499347 w 6884782"/>
              <a:gd name="connsiteY27638" fmla="*/ 2882797 h 5973007"/>
              <a:gd name="connsiteX27639" fmla="*/ 497179 w 6884782"/>
              <a:gd name="connsiteY27639" fmla="*/ 2880938 h 5973007"/>
              <a:gd name="connsiteX27640" fmla="*/ 496456 w 6884782"/>
              <a:gd name="connsiteY27640" fmla="*/ 2878305 h 5973007"/>
              <a:gd name="connsiteX27641" fmla="*/ 497489 w 6884782"/>
              <a:gd name="connsiteY27641" fmla="*/ 2877531 h 5973007"/>
              <a:gd name="connsiteX27642" fmla="*/ 499451 w 6884782"/>
              <a:gd name="connsiteY27642" fmla="*/ 2876756 h 5973007"/>
              <a:gd name="connsiteX27643" fmla="*/ 870140 w 6884782"/>
              <a:gd name="connsiteY27643" fmla="*/ 2875517 h 5973007"/>
              <a:gd name="connsiteX27644" fmla="*/ 869830 w 6884782"/>
              <a:gd name="connsiteY27644" fmla="*/ 2877840 h 5973007"/>
              <a:gd name="connsiteX27645" fmla="*/ 869830 w 6884782"/>
              <a:gd name="connsiteY27645" fmla="*/ 2877995 h 5973007"/>
              <a:gd name="connsiteX27646" fmla="*/ 870347 w 6884782"/>
              <a:gd name="connsiteY27646" fmla="*/ 2877221 h 5973007"/>
              <a:gd name="connsiteX27647" fmla="*/ 539617 w 6884782"/>
              <a:gd name="connsiteY27647" fmla="*/ 2875362 h 5973007"/>
              <a:gd name="connsiteX27648" fmla="*/ 539617 w 6884782"/>
              <a:gd name="connsiteY27648" fmla="*/ 2875982 h 5973007"/>
              <a:gd name="connsiteX27649" fmla="*/ 539824 w 6884782"/>
              <a:gd name="connsiteY27649" fmla="*/ 2875982 h 5973007"/>
              <a:gd name="connsiteX27650" fmla="*/ 597234 w 6884782"/>
              <a:gd name="connsiteY27650" fmla="*/ 2871800 h 5973007"/>
              <a:gd name="connsiteX27651" fmla="*/ 606321 w 6884782"/>
              <a:gd name="connsiteY27651" fmla="*/ 2878925 h 5973007"/>
              <a:gd name="connsiteX27652" fmla="*/ 608592 w 6884782"/>
              <a:gd name="connsiteY27652" fmla="*/ 2890077 h 5973007"/>
              <a:gd name="connsiteX27653" fmla="*/ 611174 w 6884782"/>
              <a:gd name="connsiteY27653" fmla="*/ 2890077 h 5973007"/>
              <a:gd name="connsiteX27654" fmla="*/ 611794 w 6884782"/>
              <a:gd name="connsiteY27654" fmla="*/ 2893795 h 5973007"/>
              <a:gd name="connsiteX27655" fmla="*/ 610555 w 6884782"/>
              <a:gd name="connsiteY27655" fmla="*/ 2895499 h 5973007"/>
              <a:gd name="connsiteX27656" fmla="*/ 615717 w 6884782"/>
              <a:gd name="connsiteY27656" fmla="*/ 2895963 h 5973007"/>
              <a:gd name="connsiteX27657" fmla="*/ 609935 w 6884782"/>
              <a:gd name="connsiteY27657" fmla="*/ 2901230 h 5973007"/>
              <a:gd name="connsiteX27658" fmla="*/ 609419 w 6884782"/>
              <a:gd name="connsiteY27658" fmla="*/ 2903553 h 5973007"/>
              <a:gd name="connsiteX27659" fmla="*/ 613755 w 6884782"/>
              <a:gd name="connsiteY27659" fmla="*/ 2909904 h 5973007"/>
              <a:gd name="connsiteX27660" fmla="*/ 613858 w 6884782"/>
              <a:gd name="connsiteY27660" fmla="*/ 2909130 h 5973007"/>
              <a:gd name="connsiteX27661" fmla="*/ 617266 w 6884782"/>
              <a:gd name="connsiteY27661" fmla="*/ 2906806 h 5973007"/>
              <a:gd name="connsiteX27662" fmla="*/ 625423 w 6884782"/>
              <a:gd name="connsiteY27662" fmla="*/ 2907891 h 5973007"/>
              <a:gd name="connsiteX27663" fmla="*/ 622635 w 6884782"/>
              <a:gd name="connsiteY27663" fmla="*/ 2919198 h 5973007"/>
              <a:gd name="connsiteX27664" fmla="*/ 615924 w 6884782"/>
              <a:gd name="connsiteY27664" fmla="*/ 2916410 h 5973007"/>
              <a:gd name="connsiteX27665" fmla="*/ 613858 w 6884782"/>
              <a:gd name="connsiteY27665" fmla="*/ 2913622 h 5973007"/>
              <a:gd name="connsiteX27666" fmla="*/ 611277 w 6884782"/>
              <a:gd name="connsiteY27666" fmla="*/ 2917649 h 5973007"/>
              <a:gd name="connsiteX27667" fmla="*/ 610141 w 6884782"/>
              <a:gd name="connsiteY27667" fmla="*/ 2918268 h 5973007"/>
              <a:gd name="connsiteX27668" fmla="*/ 611277 w 6884782"/>
              <a:gd name="connsiteY27668" fmla="*/ 2918733 h 5973007"/>
              <a:gd name="connsiteX27669" fmla="*/ 618712 w 6884782"/>
              <a:gd name="connsiteY27669" fmla="*/ 2931280 h 5973007"/>
              <a:gd name="connsiteX27670" fmla="*/ 616233 w 6884782"/>
              <a:gd name="connsiteY27670" fmla="*/ 2932983 h 5973007"/>
              <a:gd name="connsiteX27671" fmla="*/ 616750 w 6884782"/>
              <a:gd name="connsiteY27671" fmla="*/ 2933913 h 5973007"/>
              <a:gd name="connsiteX27672" fmla="*/ 617886 w 6884782"/>
              <a:gd name="connsiteY27672" fmla="*/ 2937630 h 5973007"/>
              <a:gd name="connsiteX27673" fmla="*/ 618402 w 6884782"/>
              <a:gd name="connsiteY27673" fmla="*/ 2937321 h 5973007"/>
              <a:gd name="connsiteX27674" fmla="*/ 620777 w 6884782"/>
              <a:gd name="connsiteY27674" fmla="*/ 2938250 h 5973007"/>
              <a:gd name="connsiteX27675" fmla="*/ 622119 w 6884782"/>
              <a:gd name="connsiteY27675" fmla="*/ 2944911 h 5973007"/>
              <a:gd name="connsiteX27676" fmla="*/ 623668 w 6884782"/>
              <a:gd name="connsiteY27676" fmla="*/ 2949093 h 5973007"/>
              <a:gd name="connsiteX27677" fmla="*/ 620467 w 6884782"/>
              <a:gd name="connsiteY27677" fmla="*/ 2944136 h 5973007"/>
              <a:gd name="connsiteX27678" fmla="*/ 617989 w 6884782"/>
              <a:gd name="connsiteY27678" fmla="*/ 2943362 h 5973007"/>
              <a:gd name="connsiteX27679" fmla="*/ 617266 w 6884782"/>
              <a:gd name="connsiteY27679" fmla="*/ 2941813 h 5973007"/>
              <a:gd name="connsiteX27680" fmla="*/ 616130 w 6884782"/>
              <a:gd name="connsiteY27680" fmla="*/ 2942123 h 5973007"/>
              <a:gd name="connsiteX27681" fmla="*/ 613858 w 6884782"/>
              <a:gd name="connsiteY27681" fmla="*/ 2943362 h 5973007"/>
              <a:gd name="connsiteX27682" fmla="*/ 611690 w 6884782"/>
              <a:gd name="connsiteY27682" fmla="*/ 2937166 h 5973007"/>
              <a:gd name="connsiteX27683" fmla="*/ 611277 w 6884782"/>
              <a:gd name="connsiteY27683" fmla="*/ 2934533 h 5973007"/>
              <a:gd name="connsiteX27684" fmla="*/ 610967 w 6884782"/>
              <a:gd name="connsiteY27684" fmla="*/ 2934533 h 5973007"/>
              <a:gd name="connsiteX27685" fmla="*/ 606321 w 6884782"/>
              <a:gd name="connsiteY27685" fmla="*/ 2932054 h 5973007"/>
              <a:gd name="connsiteX27686" fmla="*/ 605495 w 6884782"/>
              <a:gd name="connsiteY27686" fmla="*/ 2930660 h 5973007"/>
              <a:gd name="connsiteX27687" fmla="*/ 595376 w 6884782"/>
              <a:gd name="connsiteY27687" fmla="*/ 2928956 h 5973007"/>
              <a:gd name="connsiteX27688" fmla="*/ 597441 w 6884782"/>
              <a:gd name="connsiteY27688" fmla="*/ 2921521 h 5973007"/>
              <a:gd name="connsiteX27689" fmla="*/ 603429 w 6884782"/>
              <a:gd name="connsiteY27689" fmla="*/ 2921676 h 5973007"/>
              <a:gd name="connsiteX27690" fmla="*/ 604462 w 6884782"/>
              <a:gd name="connsiteY27690" fmla="*/ 2920282 h 5973007"/>
              <a:gd name="connsiteX27691" fmla="*/ 599919 w 6884782"/>
              <a:gd name="connsiteY27691" fmla="*/ 2920127 h 5973007"/>
              <a:gd name="connsiteX27692" fmla="*/ 593311 w 6884782"/>
              <a:gd name="connsiteY27692" fmla="*/ 2917649 h 5973007"/>
              <a:gd name="connsiteX27693" fmla="*/ 571936 w 6884782"/>
              <a:gd name="connsiteY27693" fmla="*/ 2888373 h 5973007"/>
              <a:gd name="connsiteX27694" fmla="*/ 576170 w 6884782"/>
              <a:gd name="connsiteY27694" fmla="*/ 2879234 h 5973007"/>
              <a:gd name="connsiteX27695" fmla="*/ 586909 w 6884782"/>
              <a:gd name="connsiteY27695" fmla="*/ 2883726 h 5973007"/>
              <a:gd name="connsiteX27696" fmla="*/ 596924 w 6884782"/>
              <a:gd name="connsiteY27696" fmla="*/ 2890232 h 5973007"/>
              <a:gd name="connsiteX27697" fmla="*/ 596098 w 6884782"/>
              <a:gd name="connsiteY27697" fmla="*/ 2887134 h 5973007"/>
              <a:gd name="connsiteX27698" fmla="*/ 595892 w 6884782"/>
              <a:gd name="connsiteY27698" fmla="*/ 2881868 h 5973007"/>
              <a:gd name="connsiteX27699" fmla="*/ 601364 w 6884782"/>
              <a:gd name="connsiteY27699" fmla="*/ 2886050 h 5973007"/>
              <a:gd name="connsiteX27700" fmla="*/ 604359 w 6884782"/>
              <a:gd name="connsiteY27700" fmla="*/ 2890697 h 5973007"/>
              <a:gd name="connsiteX27701" fmla="*/ 606940 w 6884782"/>
              <a:gd name="connsiteY27701" fmla="*/ 2890232 h 5973007"/>
              <a:gd name="connsiteX27702" fmla="*/ 603223 w 6884782"/>
              <a:gd name="connsiteY27702" fmla="*/ 2887754 h 5973007"/>
              <a:gd name="connsiteX27703" fmla="*/ 597234 w 6884782"/>
              <a:gd name="connsiteY27703" fmla="*/ 2871800 h 5973007"/>
              <a:gd name="connsiteX27704" fmla="*/ 6489028 w 6884782"/>
              <a:gd name="connsiteY27704" fmla="*/ 2869990 h 5973007"/>
              <a:gd name="connsiteX27705" fmla="*/ 6499058 w 6884782"/>
              <a:gd name="connsiteY27705" fmla="*/ 2878810 h 5973007"/>
              <a:gd name="connsiteX27706" fmla="*/ 6493723 w 6884782"/>
              <a:gd name="connsiteY27706" fmla="*/ 2890618 h 5973007"/>
              <a:gd name="connsiteX27707" fmla="*/ 6477290 w 6884782"/>
              <a:gd name="connsiteY27707" fmla="*/ 2874542 h 5973007"/>
              <a:gd name="connsiteX27708" fmla="*/ 6489028 w 6884782"/>
              <a:gd name="connsiteY27708" fmla="*/ 2869990 h 5973007"/>
              <a:gd name="connsiteX27709" fmla="*/ 718767 w 6884782"/>
              <a:gd name="connsiteY27709" fmla="*/ 2869786 h 5973007"/>
              <a:gd name="connsiteX27710" fmla="*/ 716392 w 6884782"/>
              <a:gd name="connsiteY27710" fmla="*/ 2879854 h 5973007"/>
              <a:gd name="connsiteX27711" fmla="*/ 714843 w 6884782"/>
              <a:gd name="connsiteY27711" fmla="*/ 2879080 h 5973007"/>
              <a:gd name="connsiteX27712" fmla="*/ 715050 w 6884782"/>
              <a:gd name="connsiteY27712" fmla="*/ 2880938 h 5973007"/>
              <a:gd name="connsiteX27713" fmla="*/ 714533 w 6884782"/>
              <a:gd name="connsiteY27713" fmla="*/ 2883726 h 5973007"/>
              <a:gd name="connsiteX27714" fmla="*/ 708235 w 6884782"/>
              <a:gd name="connsiteY27714" fmla="*/ 2884347 h 5973007"/>
              <a:gd name="connsiteX27715" fmla="*/ 706273 w 6884782"/>
              <a:gd name="connsiteY27715" fmla="*/ 2882333 h 5973007"/>
              <a:gd name="connsiteX27716" fmla="*/ 704724 w 6884782"/>
              <a:gd name="connsiteY27716" fmla="*/ 2877376 h 5973007"/>
              <a:gd name="connsiteX27717" fmla="*/ 704001 w 6884782"/>
              <a:gd name="connsiteY27717" fmla="*/ 2877531 h 5973007"/>
              <a:gd name="connsiteX27718" fmla="*/ 708235 w 6884782"/>
              <a:gd name="connsiteY27718" fmla="*/ 2875052 h 5973007"/>
              <a:gd name="connsiteX27719" fmla="*/ 708957 w 6884782"/>
              <a:gd name="connsiteY27719" fmla="*/ 2875207 h 5973007"/>
              <a:gd name="connsiteX27720" fmla="*/ 708338 w 6884782"/>
              <a:gd name="connsiteY27720" fmla="*/ 2874743 h 5973007"/>
              <a:gd name="connsiteX27721" fmla="*/ 712159 w 6884782"/>
              <a:gd name="connsiteY27721" fmla="*/ 2870096 h 5973007"/>
              <a:gd name="connsiteX27722" fmla="*/ 718767 w 6884782"/>
              <a:gd name="connsiteY27722" fmla="*/ 2869786 h 5973007"/>
              <a:gd name="connsiteX27723" fmla="*/ 237489 w 6884782"/>
              <a:gd name="connsiteY27723" fmla="*/ 2867462 h 5973007"/>
              <a:gd name="connsiteX27724" fmla="*/ 244614 w 6884782"/>
              <a:gd name="connsiteY27724" fmla="*/ 2867462 h 5973007"/>
              <a:gd name="connsiteX27725" fmla="*/ 246886 w 6884782"/>
              <a:gd name="connsiteY27725" fmla="*/ 2882023 h 5973007"/>
              <a:gd name="connsiteX27726" fmla="*/ 236250 w 6884782"/>
              <a:gd name="connsiteY27726" fmla="*/ 2872109 h 5973007"/>
              <a:gd name="connsiteX27727" fmla="*/ 237489 w 6884782"/>
              <a:gd name="connsiteY27727" fmla="*/ 2867462 h 5973007"/>
              <a:gd name="connsiteX27728" fmla="*/ 547633 w 6884782"/>
              <a:gd name="connsiteY27728" fmla="*/ 2866746 h 5973007"/>
              <a:gd name="connsiteX27729" fmla="*/ 554073 w 6884782"/>
              <a:gd name="connsiteY27729" fmla="*/ 2869166 h 5973007"/>
              <a:gd name="connsiteX27730" fmla="*/ 556861 w 6884782"/>
              <a:gd name="connsiteY27730" fmla="*/ 2872884 h 5973007"/>
              <a:gd name="connsiteX27731" fmla="*/ 555519 w 6884782"/>
              <a:gd name="connsiteY27731" fmla="*/ 2879080 h 5973007"/>
              <a:gd name="connsiteX27732" fmla="*/ 552421 w 6884782"/>
              <a:gd name="connsiteY27732" fmla="*/ 2880938 h 5973007"/>
              <a:gd name="connsiteX27733" fmla="*/ 553763 w 6884782"/>
              <a:gd name="connsiteY27733" fmla="*/ 2882797 h 5973007"/>
              <a:gd name="connsiteX27734" fmla="*/ 547465 w 6884782"/>
              <a:gd name="connsiteY27734" fmla="*/ 2895963 h 5973007"/>
              <a:gd name="connsiteX27735" fmla="*/ 545090 w 6884782"/>
              <a:gd name="connsiteY27735" fmla="*/ 2896273 h 5973007"/>
              <a:gd name="connsiteX27736" fmla="*/ 541786 w 6884782"/>
              <a:gd name="connsiteY27736" fmla="*/ 2897977 h 5973007"/>
              <a:gd name="connsiteX27737" fmla="*/ 534868 w 6884782"/>
              <a:gd name="connsiteY27737" fmla="*/ 2888838 h 5973007"/>
              <a:gd name="connsiteX27738" fmla="*/ 533629 w 6884782"/>
              <a:gd name="connsiteY27738" fmla="*/ 2883572 h 5973007"/>
              <a:gd name="connsiteX27739" fmla="*/ 533938 w 6884782"/>
              <a:gd name="connsiteY27739" fmla="*/ 2882487 h 5973007"/>
              <a:gd name="connsiteX27740" fmla="*/ 533629 w 6884782"/>
              <a:gd name="connsiteY27740" fmla="*/ 2882797 h 5973007"/>
              <a:gd name="connsiteX27741" fmla="*/ 528053 w 6884782"/>
              <a:gd name="connsiteY27741" fmla="*/ 2886205 h 5973007"/>
              <a:gd name="connsiteX27742" fmla="*/ 528775 w 6884782"/>
              <a:gd name="connsiteY27742" fmla="*/ 2883726 h 5973007"/>
              <a:gd name="connsiteX27743" fmla="*/ 529601 w 6884782"/>
              <a:gd name="connsiteY27743" fmla="*/ 2882642 h 5973007"/>
              <a:gd name="connsiteX27744" fmla="*/ 529601 w 6884782"/>
              <a:gd name="connsiteY27744" fmla="*/ 2881868 h 5973007"/>
              <a:gd name="connsiteX27745" fmla="*/ 530427 w 6884782"/>
              <a:gd name="connsiteY27745" fmla="*/ 2881713 h 5973007"/>
              <a:gd name="connsiteX27746" fmla="*/ 532080 w 6884782"/>
              <a:gd name="connsiteY27746" fmla="*/ 2879854 h 5973007"/>
              <a:gd name="connsiteX27747" fmla="*/ 534351 w 6884782"/>
              <a:gd name="connsiteY27747" fmla="*/ 2874433 h 5973007"/>
              <a:gd name="connsiteX27748" fmla="*/ 539307 w 6884782"/>
              <a:gd name="connsiteY27748" fmla="*/ 2870251 h 5973007"/>
              <a:gd name="connsiteX27749" fmla="*/ 541166 w 6884782"/>
              <a:gd name="connsiteY27749" fmla="*/ 2871800 h 5973007"/>
              <a:gd name="connsiteX27750" fmla="*/ 542818 w 6884782"/>
              <a:gd name="connsiteY27750" fmla="*/ 2869786 h 5973007"/>
              <a:gd name="connsiteX27751" fmla="*/ 547633 w 6884782"/>
              <a:gd name="connsiteY27751" fmla="*/ 2866746 h 5973007"/>
              <a:gd name="connsiteX27752" fmla="*/ 791769 w 6884782"/>
              <a:gd name="connsiteY27752" fmla="*/ 2864365 h 5973007"/>
              <a:gd name="connsiteX27753" fmla="*/ 791150 w 6884782"/>
              <a:gd name="connsiteY27753" fmla="*/ 2864984 h 5973007"/>
              <a:gd name="connsiteX27754" fmla="*/ 792079 w 6884782"/>
              <a:gd name="connsiteY27754" fmla="*/ 2869786 h 5973007"/>
              <a:gd name="connsiteX27755" fmla="*/ 792079 w 6884782"/>
              <a:gd name="connsiteY27755" fmla="*/ 2870405 h 5973007"/>
              <a:gd name="connsiteX27756" fmla="*/ 792905 w 6884782"/>
              <a:gd name="connsiteY27756" fmla="*/ 2868857 h 5973007"/>
              <a:gd name="connsiteX27757" fmla="*/ 794144 w 6884782"/>
              <a:gd name="connsiteY27757" fmla="*/ 2868082 h 5973007"/>
              <a:gd name="connsiteX27758" fmla="*/ 617576 w 6884782"/>
              <a:gd name="connsiteY27758" fmla="*/ 2863900 h 5973007"/>
              <a:gd name="connsiteX27759" fmla="*/ 625836 w 6884782"/>
              <a:gd name="connsiteY27759" fmla="*/ 2866998 h 5973007"/>
              <a:gd name="connsiteX27760" fmla="*/ 619331 w 6884782"/>
              <a:gd name="connsiteY27760" fmla="*/ 2878770 h 5973007"/>
              <a:gd name="connsiteX27761" fmla="*/ 613033 w 6884782"/>
              <a:gd name="connsiteY27761" fmla="*/ 2875052 h 5973007"/>
              <a:gd name="connsiteX27762" fmla="*/ 613239 w 6884782"/>
              <a:gd name="connsiteY27762" fmla="*/ 2873039 h 5973007"/>
              <a:gd name="connsiteX27763" fmla="*/ 617576 w 6884782"/>
              <a:gd name="connsiteY27763" fmla="*/ 2863900 h 5973007"/>
              <a:gd name="connsiteX27764" fmla="*/ 878297 w 6884782"/>
              <a:gd name="connsiteY27764" fmla="*/ 2863590 h 5973007"/>
              <a:gd name="connsiteX27765" fmla="*/ 876026 w 6884782"/>
              <a:gd name="connsiteY27765" fmla="*/ 2864210 h 5973007"/>
              <a:gd name="connsiteX27766" fmla="*/ 870037 w 6884782"/>
              <a:gd name="connsiteY27766" fmla="*/ 2866533 h 5973007"/>
              <a:gd name="connsiteX27767" fmla="*/ 864048 w 6884782"/>
              <a:gd name="connsiteY27767" fmla="*/ 2868857 h 5973007"/>
              <a:gd name="connsiteX27768" fmla="*/ 853103 w 6884782"/>
              <a:gd name="connsiteY27768" fmla="*/ 2873039 h 5973007"/>
              <a:gd name="connsiteX27769" fmla="*/ 851761 w 6884782"/>
              <a:gd name="connsiteY27769" fmla="*/ 2873348 h 5973007"/>
              <a:gd name="connsiteX27770" fmla="*/ 851554 w 6884782"/>
              <a:gd name="connsiteY27770" fmla="*/ 2873658 h 5973007"/>
              <a:gd name="connsiteX27771" fmla="*/ 838854 w 6884782"/>
              <a:gd name="connsiteY27771" fmla="*/ 2890542 h 5973007"/>
              <a:gd name="connsiteX27772" fmla="*/ 839886 w 6884782"/>
              <a:gd name="connsiteY27772" fmla="*/ 2880164 h 5973007"/>
              <a:gd name="connsiteX27773" fmla="*/ 841745 w 6884782"/>
              <a:gd name="connsiteY27773" fmla="*/ 2876136 h 5973007"/>
              <a:gd name="connsiteX27774" fmla="*/ 835653 w 6884782"/>
              <a:gd name="connsiteY27774" fmla="*/ 2878770 h 5973007"/>
              <a:gd name="connsiteX27775" fmla="*/ 827083 w 6884782"/>
              <a:gd name="connsiteY27775" fmla="*/ 2883726 h 5973007"/>
              <a:gd name="connsiteX27776" fmla="*/ 812523 w 6884782"/>
              <a:gd name="connsiteY27776" fmla="*/ 2886825 h 5973007"/>
              <a:gd name="connsiteX27777" fmla="*/ 791563 w 6884782"/>
              <a:gd name="connsiteY27777" fmla="*/ 2894104 h 5973007"/>
              <a:gd name="connsiteX27778" fmla="*/ 786296 w 6884782"/>
              <a:gd name="connsiteY27778" fmla="*/ 2896428 h 5973007"/>
              <a:gd name="connsiteX27779" fmla="*/ 789497 w 6884782"/>
              <a:gd name="connsiteY27779" fmla="*/ 2903244 h 5973007"/>
              <a:gd name="connsiteX27780" fmla="*/ 773080 w 6884782"/>
              <a:gd name="connsiteY27780" fmla="*/ 2908820 h 5973007"/>
              <a:gd name="connsiteX27781" fmla="*/ 766368 w 6884782"/>
              <a:gd name="connsiteY27781" fmla="*/ 2906032 h 5973007"/>
              <a:gd name="connsiteX27782" fmla="*/ 755939 w 6884782"/>
              <a:gd name="connsiteY27782" fmla="*/ 2911763 h 5973007"/>
              <a:gd name="connsiteX27783" fmla="*/ 739831 w 6884782"/>
              <a:gd name="connsiteY27783" fmla="*/ 2919972 h 5973007"/>
              <a:gd name="connsiteX27784" fmla="*/ 739934 w 6884782"/>
              <a:gd name="connsiteY27784" fmla="*/ 2915015 h 5973007"/>
              <a:gd name="connsiteX27785" fmla="*/ 738592 w 6884782"/>
              <a:gd name="connsiteY27785" fmla="*/ 2913776 h 5973007"/>
              <a:gd name="connsiteX27786" fmla="*/ 737043 w 6884782"/>
              <a:gd name="connsiteY27786" fmla="*/ 2914551 h 5973007"/>
              <a:gd name="connsiteX27787" fmla="*/ 734152 w 6884782"/>
              <a:gd name="connsiteY27787" fmla="*/ 2918578 h 5973007"/>
              <a:gd name="connsiteX27788" fmla="*/ 733429 w 6884782"/>
              <a:gd name="connsiteY27788" fmla="*/ 2919353 h 5973007"/>
              <a:gd name="connsiteX27789" fmla="*/ 733429 w 6884782"/>
              <a:gd name="connsiteY27789" fmla="*/ 2919508 h 5973007"/>
              <a:gd name="connsiteX27790" fmla="*/ 738076 w 6884782"/>
              <a:gd name="connsiteY27790" fmla="*/ 2920747 h 5973007"/>
              <a:gd name="connsiteX27791" fmla="*/ 729505 w 6884782"/>
              <a:gd name="connsiteY27791" fmla="*/ 2927098 h 5973007"/>
              <a:gd name="connsiteX27792" fmla="*/ 729609 w 6884782"/>
              <a:gd name="connsiteY27792" fmla="*/ 2929266 h 5973007"/>
              <a:gd name="connsiteX27793" fmla="*/ 727234 w 6884782"/>
              <a:gd name="connsiteY27793" fmla="*/ 2933758 h 5973007"/>
              <a:gd name="connsiteX27794" fmla="*/ 719593 w 6884782"/>
              <a:gd name="connsiteY27794" fmla="*/ 2936856 h 5973007"/>
              <a:gd name="connsiteX27795" fmla="*/ 718251 w 6884782"/>
              <a:gd name="connsiteY27795" fmla="*/ 2933603 h 5973007"/>
              <a:gd name="connsiteX27796" fmla="*/ 717424 w 6884782"/>
              <a:gd name="connsiteY27796" fmla="*/ 2934068 h 5973007"/>
              <a:gd name="connsiteX27797" fmla="*/ 695844 w 6884782"/>
              <a:gd name="connsiteY27797" fmla="*/ 2947854 h 5973007"/>
              <a:gd name="connsiteX27798" fmla="*/ 696980 w 6884782"/>
              <a:gd name="connsiteY27798" fmla="*/ 2941658 h 5973007"/>
              <a:gd name="connsiteX27799" fmla="*/ 688616 w 6884782"/>
              <a:gd name="connsiteY27799" fmla="*/ 2951726 h 5973007"/>
              <a:gd name="connsiteX27800" fmla="*/ 692643 w 6884782"/>
              <a:gd name="connsiteY27800" fmla="*/ 2945995 h 5973007"/>
              <a:gd name="connsiteX27801" fmla="*/ 676432 w 6884782"/>
              <a:gd name="connsiteY27801" fmla="*/ 2957147 h 5973007"/>
              <a:gd name="connsiteX27802" fmla="*/ 679426 w 6884782"/>
              <a:gd name="connsiteY27802" fmla="*/ 2958077 h 5973007"/>
              <a:gd name="connsiteX27803" fmla="*/ 680149 w 6884782"/>
              <a:gd name="connsiteY27803" fmla="*/ 2956063 h 5973007"/>
              <a:gd name="connsiteX27804" fmla="*/ 684176 w 6884782"/>
              <a:gd name="connsiteY27804" fmla="*/ 2956528 h 5973007"/>
              <a:gd name="connsiteX27805" fmla="*/ 686551 w 6884782"/>
              <a:gd name="connsiteY27805" fmla="*/ 2955598 h 5973007"/>
              <a:gd name="connsiteX27806" fmla="*/ 692023 w 6884782"/>
              <a:gd name="connsiteY27806" fmla="*/ 2953585 h 5973007"/>
              <a:gd name="connsiteX27807" fmla="*/ 694708 w 6884782"/>
              <a:gd name="connsiteY27807" fmla="*/ 2957147 h 5973007"/>
              <a:gd name="connsiteX27808" fmla="*/ 683040 w 6884782"/>
              <a:gd name="connsiteY27808" fmla="*/ 2967215 h 5973007"/>
              <a:gd name="connsiteX27809" fmla="*/ 680252 w 6884782"/>
              <a:gd name="connsiteY27809" fmla="*/ 2963189 h 5973007"/>
              <a:gd name="connsiteX27810" fmla="*/ 680975 w 6884782"/>
              <a:gd name="connsiteY27810" fmla="*/ 2960555 h 5973007"/>
              <a:gd name="connsiteX27811" fmla="*/ 679013 w 6884782"/>
              <a:gd name="connsiteY27811" fmla="*/ 2959316 h 5973007"/>
              <a:gd name="connsiteX27812" fmla="*/ 679220 w 6884782"/>
              <a:gd name="connsiteY27812" fmla="*/ 2958541 h 5973007"/>
              <a:gd name="connsiteX27813" fmla="*/ 675709 w 6884782"/>
              <a:gd name="connsiteY27813" fmla="*/ 2960245 h 5973007"/>
              <a:gd name="connsiteX27814" fmla="*/ 670856 w 6884782"/>
              <a:gd name="connsiteY27814" fmla="*/ 2963189 h 5973007"/>
              <a:gd name="connsiteX27815" fmla="*/ 666622 w 6884782"/>
              <a:gd name="connsiteY27815" fmla="*/ 2965512 h 5973007"/>
              <a:gd name="connsiteX27816" fmla="*/ 667035 w 6884782"/>
              <a:gd name="connsiteY27816" fmla="*/ 2965977 h 5973007"/>
              <a:gd name="connsiteX27817" fmla="*/ 666829 w 6884782"/>
              <a:gd name="connsiteY27817" fmla="*/ 2969694 h 5973007"/>
              <a:gd name="connsiteX27818" fmla="*/ 665900 w 6884782"/>
              <a:gd name="connsiteY27818" fmla="*/ 2971088 h 5973007"/>
              <a:gd name="connsiteX27819" fmla="*/ 661253 w 6884782"/>
              <a:gd name="connsiteY27819" fmla="*/ 2970933 h 5973007"/>
              <a:gd name="connsiteX27820" fmla="*/ 660014 w 6884782"/>
              <a:gd name="connsiteY27820" fmla="*/ 2969694 h 5973007"/>
              <a:gd name="connsiteX27821" fmla="*/ 652270 w 6884782"/>
              <a:gd name="connsiteY27821" fmla="*/ 2976664 h 5973007"/>
              <a:gd name="connsiteX27822" fmla="*/ 650205 w 6884782"/>
              <a:gd name="connsiteY27822" fmla="*/ 2983635 h 5973007"/>
              <a:gd name="connsiteX27823" fmla="*/ 642977 w 6884782"/>
              <a:gd name="connsiteY27823" fmla="*/ 2984874 h 5973007"/>
              <a:gd name="connsiteX27824" fmla="*/ 642770 w 6884782"/>
              <a:gd name="connsiteY27824" fmla="*/ 2985648 h 5973007"/>
              <a:gd name="connsiteX27825" fmla="*/ 647933 w 6884782"/>
              <a:gd name="connsiteY27825" fmla="*/ 2990295 h 5973007"/>
              <a:gd name="connsiteX27826" fmla="*/ 651754 w 6884782"/>
              <a:gd name="connsiteY27826" fmla="*/ 2995252 h 5973007"/>
              <a:gd name="connsiteX27827" fmla="*/ 655574 w 6884782"/>
              <a:gd name="connsiteY27827" fmla="*/ 2990760 h 5973007"/>
              <a:gd name="connsiteX27828" fmla="*/ 664661 w 6884782"/>
              <a:gd name="connsiteY27828" fmla="*/ 2984099 h 5973007"/>
              <a:gd name="connsiteX27829" fmla="*/ 668171 w 6884782"/>
              <a:gd name="connsiteY27829" fmla="*/ 2982551 h 5973007"/>
              <a:gd name="connsiteX27830" fmla="*/ 667552 w 6884782"/>
              <a:gd name="connsiteY27830" fmla="*/ 2979452 h 5973007"/>
              <a:gd name="connsiteX27831" fmla="*/ 669720 w 6884782"/>
              <a:gd name="connsiteY27831" fmla="*/ 2976509 h 5973007"/>
              <a:gd name="connsiteX27832" fmla="*/ 674883 w 6884782"/>
              <a:gd name="connsiteY27832" fmla="*/ 2978833 h 5973007"/>
              <a:gd name="connsiteX27833" fmla="*/ 674986 w 6884782"/>
              <a:gd name="connsiteY27833" fmla="*/ 2979607 h 5973007"/>
              <a:gd name="connsiteX27834" fmla="*/ 685931 w 6884782"/>
              <a:gd name="connsiteY27834" fmla="*/ 2977903 h 5973007"/>
              <a:gd name="connsiteX27835" fmla="*/ 696877 w 6884782"/>
              <a:gd name="connsiteY27835" fmla="*/ 2979143 h 5973007"/>
              <a:gd name="connsiteX27836" fmla="*/ 698425 w 6884782"/>
              <a:gd name="connsiteY27836" fmla="*/ 2979917 h 5973007"/>
              <a:gd name="connsiteX27837" fmla="*/ 701627 w 6884782"/>
              <a:gd name="connsiteY27837" fmla="*/ 2978368 h 5973007"/>
              <a:gd name="connsiteX27838" fmla="*/ 706066 w 6884782"/>
              <a:gd name="connsiteY27838" fmla="*/ 2980227 h 5973007"/>
              <a:gd name="connsiteX27839" fmla="*/ 704930 w 6884782"/>
              <a:gd name="connsiteY27839" fmla="*/ 2983015 h 5973007"/>
              <a:gd name="connsiteX27840" fmla="*/ 706996 w 6884782"/>
              <a:gd name="connsiteY27840" fmla="*/ 2983945 h 5973007"/>
              <a:gd name="connsiteX27841" fmla="*/ 705963 w 6884782"/>
              <a:gd name="connsiteY27841" fmla="*/ 2995562 h 5973007"/>
              <a:gd name="connsiteX27842" fmla="*/ 705963 w 6884782"/>
              <a:gd name="connsiteY27842" fmla="*/ 2995716 h 5973007"/>
              <a:gd name="connsiteX27843" fmla="*/ 707822 w 6884782"/>
              <a:gd name="connsiteY27843" fmla="*/ 2995716 h 5973007"/>
              <a:gd name="connsiteX27844" fmla="*/ 710816 w 6884782"/>
              <a:gd name="connsiteY27844" fmla="*/ 2991999 h 5973007"/>
              <a:gd name="connsiteX27845" fmla="*/ 718251 w 6884782"/>
              <a:gd name="connsiteY27845" fmla="*/ 2992464 h 5973007"/>
              <a:gd name="connsiteX27846" fmla="*/ 727957 w 6884782"/>
              <a:gd name="connsiteY27846" fmla="*/ 2987817 h 5973007"/>
              <a:gd name="connsiteX27847" fmla="*/ 723620 w 6884782"/>
              <a:gd name="connsiteY27847" fmla="*/ 2987042 h 5973007"/>
              <a:gd name="connsiteX27848" fmla="*/ 733016 w 6884782"/>
              <a:gd name="connsiteY27848" fmla="*/ 2983635 h 5973007"/>
              <a:gd name="connsiteX27849" fmla="*/ 741277 w 6884782"/>
              <a:gd name="connsiteY27849" fmla="*/ 2976355 h 5973007"/>
              <a:gd name="connsiteX27850" fmla="*/ 744478 w 6884782"/>
              <a:gd name="connsiteY27850" fmla="*/ 2978213 h 5973007"/>
              <a:gd name="connsiteX27851" fmla="*/ 744787 w 6884782"/>
              <a:gd name="connsiteY27851" fmla="*/ 2972482 h 5973007"/>
              <a:gd name="connsiteX27852" fmla="*/ 748711 w 6884782"/>
              <a:gd name="connsiteY27852" fmla="*/ 2976664 h 5973007"/>
              <a:gd name="connsiteX27853" fmla="*/ 755629 w 6884782"/>
              <a:gd name="connsiteY27853" fmla="*/ 2961639 h 5973007"/>
              <a:gd name="connsiteX27854" fmla="*/ 765129 w 6884782"/>
              <a:gd name="connsiteY27854" fmla="*/ 2962724 h 5973007"/>
              <a:gd name="connsiteX27855" fmla="*/ 770911 w 6884782"/>
              <a:gd name="connsiteY27855" fmla="*/ 2958232 h 5973007"/>
              <a:gd name="connsiteX27856" fmla="*/ 770704 w 6884782"/>
              <a:gd name="connsiteY27856" fmla="*/ 2951571 h 5973007"/>
              <a:gd name="connsiteX27857" fmla="*/ 784231 w 6884782"/>
              <a:gd name="connsiteY27857" fmla="*/ 2944601 h 5973007"/>
              <a:gd name="connsiteX27858" fmla="*/ 793421 w 6884782"/>
              <a:gd name="connsiteY27858" fmla="*/ 2943981 h 5973007"/>
              <a:gd name="connsiteX27859" fmla="*/ 798481 w 6884782"/>
              <a:gd name="connsiteY27859" fmla="*/ 2941193 h 5973007"/>
              <a:gd name="connsiteX27860" fmla="*/ 796726 w 6884782"/>
              <a:gd name="connsiteY27860" fmla="*/ 2939799 h 5973007"/>
              <a:gd name="connsiteX27861" fmla="*/ 796106 w 6884782"/>
              <a:gd name="connsiteY27861" fmla="*/ 2941038 h 5973007"/>
              <a:gd name="connsiteX27862" fmla="*/ 792285 w 6884782"/>
              <a:gd name="connsiteY27862" fmla="*/ 2942897 h 5973007"/>
              <a:gd name="connsiteX27863" fmla="*/ 795486 w 6884782"/>
              <a:gd name="connsiteY27863" fmla="*/ 2939644 h 5973007"/>
              <a:gd name="connsiteX27864" fmla="*/ 782786 w 6884782"/>
              <a:gd name="connsiteY27864" fmla="*/ 2935617 h 5973007"/>
              <a:gd name="connsiteX27865" fmla="*/ 777932 w 6884782"/>
              <a:gd name="connsiteY27865" fmla="*/ 2936701 h 5973007"/>
              <a:gd name="connsiteX27866" fmla="*/ 778139 w 6884782"/>
              <a:gd name="connsiteY27866" fmla="*/ 2939180 h 5973007"/>
              <a:gd name="connsiteX27867" fmla="*/ 777417 w 6884782"/>
              <a:gd name="connsiteY27867" fmla="*/ 2941503 h 5973007"/>
              <a:gd name="connsiteX27868" fmla="*/ 775558 w 6884782"/>
              <a:gd name="connsiteY27868" fmla="*/ 2939644 h 5973007"/>
              <a:gd name="connsiteX27869" fmla="*/ 775248 w 6884782"/>
              <a:gd name="connsiteY27869" fmla="*/ 2938560 h 5973007"/>
              <a:gd name="connsiteX27870" fmla="*/ 774422 w 6884782"/>
              <a:gd name="connsiteY27870" fmla="*/ 2938250 h 5973007"/>
              <a:gd name="connsiteX27871" fmla="*/ 774835 w 6884782"/>
              <a:gd name="connsiteY27871" fmla="*/ 2937476 h 5973007"/>
              <a:gd name="connsiteX27872" fmla="*/ 774731 w 6884782"/>
              <a:gd name="connsiteY27872" fmla="*/ 2937321 h 5973007"/>
              <a:gd name="connsiteX27873" fmla="*/ 770188 w 6884782"/>
              <a:gd name="connsiteY27873" fmla="*/ 2938250 h 5973007"/>
              <a:gd name="connsiteX27874" fmla="*/ 770188 w 6884782"/>
              <a:gd name="connsiteY27874" fmla="*/ 2938405 h 5973007"/>
              <a:gd name="connsiteX27875" fmla="*/ 768846 w 6884782"/>
              <a:gd name="connsiteY27875" fmla="*/ 2946614 h 5973007"/>
              <a:gd name="connsiteX27876" fmla="*/ 745510 w 6884782"/>
              <a:gd name="connsiteY27876" fmla="*/ 2959471 h 5973007"/>
              <a:gd name="connsiteX27877" fmla="*/ 743548 w 6884782"/>
              <a:gd name="connsiteY27877" fmla="*/ 2957457 h 5973007"/>
              <a:gd name="connsiteX27878" fmla="*/ 741999 w 6884782"/>
              <a:gd name="connsiteY27878" fmla="*/ 2949093 h 5973007"/>
              <a:gd name="connsiteX27879" fmla="*/ 756352 w 6884782"/>
              <a:gd name="connsiteY27879" fmla="*/ 2929886 h 5973007"/>
              <a:gd name="connsiteX27880" fmla="*/ 761825 w 6884782"/>
              <a:gd name="connsiteY27880" fmla="*/ 2928647 h 5973007"/>
              <a:gd name="connsiteX27881" fmla="*/ 767194 w 6884782"/>
              <a:gd name="connsiteY27881" fmla="*/ 2929266 h 5973007"/>
              <a:gd name="connsiteX27882" fmla="*/ 767297 w 6884782"/>
              <a:gd name="connsiteY27882" fmla="*/ 2928182 h 5973007"/>
              <a:gd name="connsiteX27883" fmla="*/ 770085 w 6884782"/>
              <a:gd name="connsiteY27883" fmla="*/ 2925704 h 5973007"/>
              <a:gd name="connsiteX27884" fmla="*/ 770395 w 6884782"/>
              <a:gd name="connsiteY27884" fmla="*/ 2925704 h 5973007"/>
              <a:gd name="connsiteX27885" fmla="*/ 770395 w 6884782"/>
              <a:gd name="connsiteY27885" fmla="*/ 2924929 h 5973007"/>
              <a:gd name="connsiteX27886" fmla="*/ 772770 w 6884782"/>
              <a:gd name="connsiteY27886" fmla="*/ 2924155 h 5973007"/>
              <a:gd name="connsiteX27887" fmla="*/ 772150 w 6884782"/>
              <a:gd name="connsiteY27887" fmla="*/ 2921986 h 5973007"/>
              <a:gd name="connsiteX27888" fmla="*/ 778449 w 6884782"/>
              <a:gd name="connsiteY27888" fmla="*/ 2912537 h 5973007"/>
              <a:gd name="connsiteX27889" fmla="*/ 783612 w 6884782"/>
              <a:gd name="connsiteY27889" fmla="*/ 2911918 h 5973007"/>
              <a:gd name="connsiteX27890" fmla="*/ 784128 w 6884782"/>
              <a:gd name="connsiteY27890" fmla="*/ 2912228 h 5973007"/>
              <a:gd name="connsiteX27891" fmla="*/ 784954 w 6884782"/>
              <a:gd name="connsiteY27891" fmla="*/ 2908820 h 5973007"/>
              <a:gd name="connsiteX27892" fmla="*/ 790324 w 6884782"/>
              <a:gd name="connsiteY27892" fmla="*/ 2910369 h 5973007"/>
              <a:gd name="connsiteX27893" fmla="*/ 788568 w 6884782"/>
              <a:gd name="connsiteY27893" fmla="*/ 2918268 h 5973007"/>
              <a:gd name="connsiteX27894" fmla="*/ 787949 w 6884782"/>
              <a:gd name="connsiteY27894" fmla="*/ 2919662 h 5973007"/>
              <a:gd name="connsiteX27895" fmla="*/ 787742 w 6884782"/>
              <a:gd name="connsiteY27895" fmla="*/ 2921986 h 5973007"/>
              <a:gd name="connsiteX27896" fmla="*/ 784025 w 6884782"/>
              <a:gd name="connsiteY27896" fmla="*/ 2926478 h 5973007"/>
              <a:gd name="connsiteX27897" fmla="*/ 778862 w 6884782"/>
              <a:gd name="connsiteY27897" fmla="*/ 2927872 h 5973007"/>
              <a:gd name="connsiteX27898" fmla="*/ 775971 w 6884782"/>
              <a:gd name="connsiteY27898" fmla="*/ 2927252 h 5973007"/>
              <a:gd name="connsiteX27899" fmla="*/ 778139 w 6884782"/>
              <a:gd name="connsiteY27899" fmla="*/ 2931590 h 5973007"/>
              <a:gd name="connsiteX27900" fmla="*/ 776900 w 6884782"/>
              <a:gd name="connsiteY27900" fmla="*/ 2931899 h 5973007"/>
              <a:gd name="connsiteX27901" fmla="*/ 777210 w 6884782"/>
              <a:gd name="connsiteY27901" fmla="*/ 2932983 h 5973007"/>
              <a:gd name="connsiteX27902" fmla="*/ 779482 w 6884782"/>
              <a:gd name="connsiteY27902" fmla="*/ 2932209 h 5973007"/>
              <a:gd name="connsiteX27903" fmla="*/ 786503 w 6884782"/>
              <a:gd name="connsiteY27903" fmla="*/ 2932364 h 5973007"/>
              <a:gd name="connsiteX27904" fmla="*/ 788568 w 6884782"/>
              <a:gd name="connsiteY27904" fmla="*/ 2929266 h 5973007"/>
              <a:gd name="connsiteX27905" fmla="*/ 791253 w 6884782"/>
              <a:gd name="connsiteY27905" fmla="*/ 2927098 h 5973007"/>
              <a:gd name="connsiteX27906" fmla="*/ 791046 w 6884782"/>
              <a:gd name="connsiteY27906" fmla="*/ 2926633 h 5973007"/>
              <a:gd name="connsiteX27907" fmla="*/ 796519 w 6884782"/>
              <a:gd name="connsiteY27907" fmla="*/ 2910679 h 5973007"/>
              <a:gd name="connsiteX27908" fmla="*/ 797241 w 6884782"/>
              <a:gd name="connsiteY27908" fmla="*/ 2910059 h 5973007"/>
              <a:gd name="connsiteX27909" fmla="*/ 795899 w 6884782"/>
              <a:gd name="connsiteY27909" fmla="*/ 2910523 h 5973007"/>
              <a:gd name="connsiteX27910" fmla="*/ 794144 w 6884782"/>
              <a:gd name="connsiteY27910" fmla="*/ 2909594 h 5973007"/>
              <a:gd name="connsiteX27911" fmla="*/ 791253 w 6884782"/>
              <a:gd name="connsiteY27911" fmla="*/ 2906806 h 5973007"/>
              <a:gd name="connsiteX27912" fmla="*/ 792802 w 6884782"/>
              <a:gd name="connsiteY27912" fmla="*/ 2903863 h 5973007"/>
              <a:gd name="connsiteX27913" fmla="*/ 796519 w 6884782"/>
              <a:gd name="connsiteY27913" fmla="*/ 2903244 h 5973007"/>
              <a:gd name="connsiteX27914" fmla="*/ 802714 w 6884782"/>
              <a:gd name="connsiteY27914" fmla="*/ 2906032 h 5973007"/>
              <a:gd name="connsiteX27915" fmla="*/ 801785 w 6884782"/>
              <a:gd name="connsiteY27915" fmla="*/ 2907271 h 5973007"/>
              <a:gd name="connsiteX27916" fmla="*/ 804366 w 6884782"/>
              <a:gd name="connsiteY27916" fmla="*/ 2908820 h 5973007"/>
              <a:gd name="connsiteX27917" fmla="*/ 804263 w 6884782"/>
              <a:gd name="connsiteY27917" fmla="*/ 2908665 h 5973007"/>
              <a:gd name="connsiteX27918" fmla="*/ 811181 w 6884782"/>
              <a:gd name="connsiteY27918" fmla="*/ 2907891 h 5973007"/>
              <a:gd name="connsiteX27919" fmla="*/ 814279 w 6884782"/>
              <a:gd name="connsiteY27919" fmla="*/ 2905257 h 5973007"/>
              <a:gd name="connsiteX27920" fmla="*/ 814485 w 6884782"/>
              <a:gd name="connsiteY27920" fmla="*/ 2902314 h 5973007"/>
              <a:gd name="connsiteX27921" fmla="*/ 829870 w 6884782"/>
              <a:gd name="connsiteY27921" fmla="*/ 2889458 h 5973007"/>
              <a:gd name="connsiteX27922" fmla="*/ 823985 w 6884782"/>
              <a:gd name="connsiteY27922" fmla="*/ 2899990 h 5973007"/>
              <a:gd name="connsiteX27923" fmla="*/ 819855 w 6884782"/>
              <a:gd name="connsiteY27923" fmla="*/ 2904948 h 5973007"/>
              <a:gd name="connsiteX27924" fmla="*/ 818719 w 6884782"/>
              <a:gd name="connsiteY27924" fmla="*/ 2905722 h 5973007"/>
              <a:gd name="connsiteX27925" fmla="*/ 820267 w 6884782"/>
              <a:gd name="connsiteY27925" fmla="*/ 2906341 h 5973007"/>
              <a:gd name="connsiteX27926" fmla="*/ 830284 w 6884782"/>
              <a:gd name="connsiteY27926" fmla="*/ 2900146 h 5973007"/>
              <a:gd name="connsiteX27927" fmla="*/ 827805 w 6884782"/>
              <a:gd name="connsiteY27927" fmla="*/ 2893485 h 5973007"/>
              <a:gd name="connsiteX27928" fmla="*/ 851967 w 6884782"/>
              <a:gd name="connsiteY27928" fmla="*/ 2888683 h 5973007"/>
              <a:gd name="connsiteX27929" fmla="*/ 855891 w 6884782"/>
              <a:gd name="connsiteY27929" fmla="*/ 2887754 h 5973007"/>
              <a:gd name="connsiteX27930" fmla="*/ 855788 w 6884782"/>
              <a:gd name="connsiteY27930" fmla="*/ 2886979 h 5973007"/>
              <a:gd name="connsiteX27931" fmla="*/ 856924 w 6884782"/>
              <a:gd name="connsiteY27931" fmla="*/ 2885585 h 5973007"/>
              <a:gd name="connsiteX27932" fmla="*/ 856511 w 6884782"/>
              <a:gd name="connsiteY27932" fmla="*/ 2882952 h 5973007"/>
              <a:gd name="connsiteX27933" fmla="*/ 857956 w 6884782"/>
              <a:gd name="connsiteY27933" fmla="*/ 2882333 h 5973007"/>
              <a:gd name="connsiteX27934" fmla="*/ 858266 w 6884782"/>
              <a:gd name="connsiteY27934" fmla="*/ 2884656 h 5973007"/>
              <a:gd name="connsiteX27935" fmla="*/ 858782 w 6884782"/>
              <a:gd name="connsiteY27935" fmla="*/ 2886979 h 5973007"/>
              <a:gd name="connsiteX27936" fmla="*/ 864358 w 6884782"/>
              <a:gd name="connsiteY27936" fmla="*/ 2885740 h 5973007"/>
              <a:gd name="connsiteX27937" fmla="*/ 874167 w 6884782"/>
              <a:gd name="connsiteY27937" fmla="*/ 2880164 h 5973007"/>
              <a:gd name="connsiteX27938" fmla="*/ 871173 w 6884782"/>
              <a:gd name="connsiteY27938" fmla="*/ 2879544 h 5973007"/>
              <a:gd name="connsiteX27939" fmla="*/ 869108 w 6884782"/>
              <a:gd name="connsiteY27939" fmla="*/ 2879854 h 5973007"/>
              <a:gd name="connsiteX27940" fmla="*/ 868075 w 6884782"/>
              <a:gd name="connsiteY27940" fmla="*/ 2882642 h 5973007"/>
              <a:gd name="connsiteX27941" fmla="*/ 864048 w 6884782"/>
              <a:gd name="connsiteY27941" fmla="*/ 2882952 h 5973007"/>
              <a:gd name="connsiteX27942" fmla="*/ 862396 w 6884782"/>
              <a:gd name="connsiteY27942" fmla="*/ 2879699 h 5973007"/>
              <a:gd name="connsiteX27943" fmla="*/ 866526 w 6884782"/>
              <a:gd name="connsiteY27943" fmla="*/ 2873814 h 5973007"/>
              <a:gd name="connsiteX27944" fmla="*/ 868695 w 6884782"/>
              <a:gd name="connsiteY27944" fmla="*/ 2873504 h 5973007"/>
              <a:gd name="connsiteX27945" fmla="*/ 870140 w 6884782"/>
              <a:gd name="connsiteY27945" fmla="*/ 2874743 h 5973007"/>
              <a:gd name="connsiteX27946" fmla="*/ 870037 w 6884782"/>
              <a:gd name="connsiteY27946" fmla="*/ 2873814 h 5973007"/>
              <a:gd name="connsiteX27947" fmla="*/ 873445 w 6884782"/>
              <a:gd name="connsiteY27947" fmla="*/ 2872729 h 5973007"/>
              <a:gd name="connsiteX27948" fmla="*/ 882221 w 6884782"/>
              <a:gd name="connsiteY27948" fmla="*/ 2872574 h 5973007"/>
              <a:gd name="connsiteX27949" fmla="*/ 884080 w 6884782"/>
              <a:gd name="connsiteY27949" fmla="*/ 2872729 h 5973007"/>
              <a:gd name="connsiteX27950" fmla="*/ 882944 w 6884782"/>
              <a:gd name="connsiteY27950" fmla="*/ 2871955 h 5973007"/>
              <a:gd name="connsiteX27951" fmla="*/ 879433 w 6884782"/>
              <a:gd name="connsiteY27951" fmla="*/ 2866688 h 5973007"/>
              <a:gd name="connsiteX27952" fmla="*/ 630276 w 6884782"/>
              <a:gd name="connsiteY27952" fmla="*/ 2863281 h 5973007"/>
              <a:gd name="connsiteX27953" fmla="*/ 624597 w 6884782"/>
              <a:gd name="connsiteY27953" fmla="*/ 2875052 h 5973007"/>
              <a:gd name="connsiteX27954" fmla="*/ 624391 w 6884782"/>
              <a:gd name="connsiteY27954" fmla="*/ 2872574 h 5973007"/>
              <a:gd name="connsiteX27955" fmla="*/ 630276 w 6884782"/>
              <a:gd name="connsiteY27955" fmla="*/ 2863281 h 5973007"/>
              <a:gd name="connsiteX27956" fmla="*/ 553660 w 6884782"/>
              <a:gd name="connsiteY27956" fmla="*/ 2861111 h 5973007"/>
              <a:gd name="connsiteX27957" fmla="*/ 552111 w 6884782"/>
              <a:gd name="connsiteY27957" fmla="*/ 2867308 h 5973007"/>
              <a:gd name="connsiteX27958" fmla="*/ 553660 w 6884782"/>
              <a:gd name="connsiteY27958" fmla="*/ 2861111 h 5973007"/>
              <a:gd name="connsiteX27959" fmla="*/ 1342434 w 6884782"/>
              <a:gd name="connsiteY27959" fmla="*/ 2857394 h 5973007"/>
              <a:gd name="connsiteX27960" fmla="*/ 1341815 w 6884782"/>
              <a:gd name="connsiteY27960" fmla="*/ 2857859 h 5973007"/>
              <a:gd name="connsiteX27961" fmla="*/ 1340886 w 6884782"/>
              <a:gd name="connsiteY27961" fmla="*/ 2858324 h 5973007"/>
              <a:gd name="connsiteX27962" fmla="*/ 1343983 w 6884782"/>
              <a:gd name="connsiteY27962" fmla="*/ 2860802 h 5973007"/>
              <a:gd name="connsiteX27963" fmla="*/ 476424 w 6884782"/>
              <a:gd name="connsiteY27963" fmla="*/ 2857394 h 5973007"/>
              <a:gd name="connsiteX27964" fmla="*/ 478490 w 6884782"/>
              <a:gd name="connsiteY27964" fmla="*/ 2862041 h 5973007"/>
              <a:gd name="connsiteX27965" fmla="*/ 475082 w 6884782"/>
              <a:gd name="connsiteY27965" fmla="*/ 2864210 h 5973007"/>
              <a:gd name="connsiteX27966" fmla="*/ 473017 w 6884782"/>
              <a:gd name="connsiteY27966" fmla="*/ 2859408 h 5973007"/>
              <a:gd name="connsiteX27967" fmla="*/ 476424 w 6884782"/>
              <a:gd name="connsiteY27967" fmla="*/ 2857394 h 5973007"/>
              <a:gd name="connsiteX27968" fmla="*/ 375647 w 6884782"/>
              <a:gd name="connsiteY27968" fmla="*/ 2856310 h 5973007"/>
              <a:gd name="connsiteX27969" fmla="*/ 390309 w 6884782"/>
              <a:gd name="connsiteY27969" fmla="*/ 2867308 h 5973007"/>
              <a:gd name="connsiteX27970" fmla="*/ 375647 w 6884782"/>
              <a:gd name="connsiteY27970" fmla="*/ 2861886 h 5973007"/>
              <a:gd name="connsiteX27971" fmla="*/ 375647 w 6884782"/>
              <a:gd name="connsiteY27971" fmla="*/ 2856310 h 5973007"/>
              <a:gd name="connsiteX27972" fmla="*/ 420976 w 6884782"/>
              <a:gd name="connsiteY27972" fmla="*/ 2855071 h 5973007"/>
              <a:gd name="connsiteX27973" fmla="*/ 427171 w 6884782"/>
              <a:gd name="connsiteY27973" fmla="*/ 2855380 h 5973007"/>
              <a:gd name="connsiteX27974" fmla="*/ 428514 w 6884782"/>
              <a:gd name="connsiteY27974" fmla="*/ 2858014 h 5973007"/>
              <a:gd name="connsiteX27975" fmla="*/ 427171 w 6884782"/>
              <a:gd name="connsiteY27975" fmla="*/ 2861886 h 5973007"/>
              <a:gd name="connsiteX27976" fmla="*/ 420460 w 6884782"/>
              <a:gd name="connsiteY27976" fmla="*/ 2857549 h 5973007"/>
              <a:gd name="connsiteX27977" fmla="*/ 420976 w 6884782"/>
              <a:gd name="connsiteY27977" fmla="*/ 2855071 h 5973007"/>
              <a:gd name="connsiteX27978" fmla="*/ 907416 w 6884782"/>
              <a:gd name="connsiteY27978" fmla="*/ 2854761 h 5973007"/>
              <a:gd name="connsiteX27979" fmla="*/ 888520 w 6884782"/>
              <a:gd name="connsiteY27979" fmla="*/ 2860492 h 5973007"/>
              <a:gd name="connsiteX27980" fmla="*/ 882428 w 6884782"/>
              <a:gd name="connsiteY27980" fmla="*/ 2862351 h 5973007"/>
              <a:gd name="connsiteX27981" fmla="*/ 885009 w 6884782"/>
              <a:gd name="connsiteY27981" fmla="*/ 2864984 h 5973007"/>
              <a:gd name="connsiteX27982" fmla="*/ 887384 w 6884782"/>
              <a:gd name="connsiteY27982" fmla="*/ 2872109 h 5973007"/>
              <a:gd name="connsiteX27983" fmla="*/ 887384 w 6884782"/>
              <a:gd name="connsiteY27983" fmla="*/ 2873039 h 5973007"/>
              <a:gd name="connsiteX27984" fmla="*/ 887591 w 6884782"/>
              <a:gd name="connsiteY27984" fmla="*/ 2873039 h 5973007"/>
              <a:gd name="connsiteX27985" fmla="*/ 892031 w 6884782"/>
              <a:gd name="connsiteY27985" fmla="*/ 2871180 h 5973007"/>
              <a:gd name="connsiteX27986" fmla="*/ 891515 w 6884782"/>
              <a:gd name="connsiteY27986" fmla="*/ 2875207 h 5973007"/>
              <a:gd name="connsiteX27987" fmla="*/ 897297 w 6884782"/>
              <a:gd name="connsiteY27987" fmla="*/ 2873968 h 5973007"/>
              <a:gd name="connsiteX27988" fmla="*/ 897710 w 6884782"/>
              <a:gd name="connsiteY27988" fmla="*/ 2873658 h 5973007"/>
              <a:gd name="connsiteX27989" fmla="*/ 896161 w 6884782"/>
              <a:gd name="connsiteY27989" fmla="*/ 2872419 h 5973007"/>
              <a:gd name="connsiteX27990" fmla="*/ 893786 w 6884782"/>
              <a:gd name="connsiteY27990" fmla="*/ 2872419 h 5973007"/>
              <a:gd name="connsiteX27991" fmla="*/ 911133 w 6884782"/>
              <a:gd name="connsiteY27991" fmla="*/ 2869321 h 5973007"/>
              <a:gd name="connsiteX27992" fmla="*/ 911236 w 6884782"/>
              <a:gd name="connsiteY27992" fmla="*/ 2869012 h 5973007"/>
              <a:gd name="connsiteX27993" fmla="*/ 911546 w 6884782"/>
              <a:gd name="connsiteY27993" fmla="*/ 2869166 h 5973007"/>
              <a:gd name="connsiteX27994" fmla="*/ 918258 w 6884782"/>
              <a:gd name="connsiteY27994" fmla="*/ 2867927 h 5973007"/>
              <a:gd name="connsiteX27995" fmla="*/ 912682 w 6884782"/>
              <a:gd name="connsiteY27995" fmla="*/ 2861731 h 5973007"/>
              <a:gd name="connsiteX27996" fmla="*/ 828734 w 6884782"/>
              <a:gd name="connsiteY27996" fmla="*/ 2854451 h 5973007"/>
              <a:gd name="connsiteX27997" fmla="*/ 827289 w 6884782"/>
              <a:gd name="connsiteY27997" fmla="*/ 2854761 h 5973007"/>
              <a:gd name="connsiteX27998" fmla="*/ 825740 w 6884782"/>
              <a:gd name="connsiteY27998" fmla="*/ 2855690 h 5973007"/>
              <a:gd name="connsiteX27999" fmla="*/ 826257 w 6884782"/>
              <a:gd name="connsiteY27999" fmla="*/ 2855845 h 5973007"/>
              <a:gd name="connsiteX28000" fmla="*/ 825740 w 6884782"/>
              <a:gd name="connsiteY28000" fmla="*/ 2856930 h 5973007"/>
              <a:gd name="connsiteX28001" fmla="*/ 826154 w 6884782"/>
              <a:gd name="connsiteY28001" fmla="*/ 2857859 h 5973007"/>
              <a:gd name="connsiteX28002" fmla="*/ 826154 w 6884782"/>
              <a:gd name="connsiteY28002" fmla="*/ 2857704 h 5973007"/>
              <a:gd name="connsiteX28003" fmla="*/ 829767 w 6884782"/>
              <a:gd name="connsiteY28003" fmla="*/ 2856465 h 5973007"/>
              <a:gd name="connsiteX28004" fmla="*/ 829044 w 6884782"/>
              <a:gd name="connsiteY28004" fmla="*/ 2855845 h 5973007"/>
              <a:gd name="connsiteX28005" fmla="*/ 315345 w 6884782"/>
              <a:gd name="connsiteY28005" fmla="*/ 2854296 h 5973007"/>
              <a:gd name="connsiteX28006" fmla="*/ 318752 w 6884782"/>
              <a:gd name="connsiteY28006" fmla="*/ 2854761 h 5973007"/>
              <a:gd name="connsiteX28007" fmla="*/ 320508 w 6884782"/>
              <a:gd name="connsiteY28007" fmla="*/ 2856620 h 5973007"/>
              <a:gd name="connsiteX28008" fmla="*/ 319682 w 6884782"/>
              <a:gd name="connsiteY28008" fmla="*/ 2858168 h 5973007"/>
              <a:gd name="connsiteX28009" fmla="*/ 319578 w 6884782"/>
              <a:gd name="connsiteY28009" fmla="*/ 2859718 h 5973007"/>
              <a:gd name="connsiteX28010" fmla="*/ 318752 w 6884782"/>
              <a:gd name="connsiteY28010" fmla="*/ 2859718 h 5973007"/>
              <a:gd name="connsiteX28011" fmla="*/ 317823 w 6884782"/>
              <a:gd name="connsiteY28011" fmla="*/ 2860492 h 5973007"/>
              <a:gd name="connsiteX28012" fmla="*/ 314312 w 6884782"/>
              <a:gd name="connsiteY28012" fmla="*/ 2858478 h 5973007"/>
              <a:gd name="connsiteX28013" fmla="*/ 313280 w 6884782"/>
              <a:gd name="connsiteY28013" fmla="*/ 2856620 h 5973007"/>
              <a:gd name="connsiteX28014" fmla="*/ 313486 w 6884782"/>
              <a:gd name="connsiteY28014" fmla="*/ 2855071 h 5973007"/>
              <a:gd name="connsiteX28015" fmla="*/ 315345 w 6884782"/>
              <a:gd name="connsiteY28015" fmla="*/ 2854296 h 5973007"/>
              <a:gd name="connsiteX28016" fmla="*/ 237593 w 6884782"/>
              <a:gd name="connsiteY28016" fmla="*/ 2853677 h 5973007"/>
              <a:gd name="connsiteX28017" fmla="*/ 243788 w 6884782"/>
              <a:gd name="connsiteY28017" fmla="*/ 2856775 h 5973007"/>
              <a:gd name="connsiteX28018" fmla="*/ 237593 w 6884782"/>
              <a:gd name="connsiteY28018" fmla="*/ 2859098 h 5973007"/>
              <a:gd name="connsiteX28019" fmla="*/ 237077 w 6884782"/>
              <a:gd name="connsiteY28019" fmla="*/ 2856620 h 5973007"/>
              <a:gd name="connsiteX28020" fmla="*/ 237593 w 6884782"/>
              <a:gd name="connsiteY28020" fmla="*/ 2853677 h 5973007"/>
              <a:gd name="connsiteX28021" fmla="*/ 493152 w 6884782"/>
              <a:gd name="connsiteY28021" fmla="*/ 2851198 h 5973007"/>
              <a:gd name="connsiteX28022" fmla="*/ 494804 w 6884782"/>
              <a:gd name="connsiteY28022" fmla="*/ 2854606 h 5973007"/>
              <a:gd name="connsiteX28023" fmla="*/ 482207 w 6884782"/>
              <a:gd name="connsiteY28023" fmla="*/ 2856155 h 5973007"/>
              <a:gd name="connsiteX28024" fmla="*/ 493152 w 6884782"/>
              <a:gd name="connsiteY28024" fmla="*/ 2851198 h 5973007"/>
              <a:gd name="connsiteX28025" fmla="*/ 615821 w 6884782"/>
              <a:gd name="connsiteY28025" fmla="*/ 2850114 h 5973007"/>
              <a:gd name="connsiteX28026" fmla="*/ 616853 w 6884782"/>
              <a:gd name="connsiteY28026" fmla="*/ 2850734 h 5973007"/>
              <a:gd name="connsiteX28027" fmla="*/ 617886 w 6884782"/>
              <a:gd name="connsiteY28027" fmla="*/ 2850579 h 5973007"/>
              <a:gd name="connsiteX28028" fmla="*/ 629760 w 6884782"/>
              <a:gd name="connsiteY28028" fmla="*/ 2858168 h 5973007"/>
              <a:gd name="connsiteX28029" fmla="*/ 617472 w 6884782"/>
              <a:gd name="connsiteY28029" fmla="*/ 2857549 h 5973007"/>
              <a:gd name="connsiteX28030" fmla="*/ 616956 w 6884782"/>
              <a:gd name="connsiteY28030" fmla="*/ 2858788 h 5973007"/>
              <a:gd name="connsiteX28031" fmla="*/ 617472 w 6884782"/>
              <a:gd name="connsiteY28031" fmla="*/ 2859253 h 5973007"/>
              <a:gd name="connsiteX28032" fmla="*/ 610761 w 6884782"/>
              <a:gd name="connsiteY28032" fmla="*/ 2864984 h 5973007"/>
              <a:gd name="connsiteX28033" fmla="*/ 608696 w 6884782"/>
              <a:gd name="connsiteY28033" fmla="*/ 2864519 h 5973007"/>
              <a:gd name="connsiteX28034" fmla="*/ 608489 w 6884782"/>
              <a:gd name="connsiteY28034" fmla="*/ 2864674 h 5973007"/>
              <a:gd name="connsiteX28035" fmla="*/ 605392 w 6884782"/>
              <a:gd name="connsiteY28035" fmla="*/ 2860802 h 5973007"/>
              <a:gd name="connsiteX28036" fmla="*/ 605804 w 6884782"/>
              <a:gd name="connsiteY28036" fmla="*/ 2857239 h 5973007"/>
              <a:gd name="connsiteX28037" fmla="*/ 606321 w 6884782"/>
              <a:gd name="connsiteY28037" fmla="*/ 2856155 h 5973007"/>
              <a:gd name="connsiteX28038" fmla="*/ 602397 w 6884782"/>
              <a:gd name="connsiteY28038" fmla="*/ 2855071 h 5973007"/>
              <a:gd name="connsiteX28039" fmla="*/ 608902 w 6884782"/>
              <a:gd name="connsiteY28039" fmla="*/ 2851353 h 5973007"/>
              <a:gd name="connsiteX28040" fmla="*/ 612723 w 6884782"/>
              <a:gd name="connsiteY28040" fmla="*/ 2851044 h 5973007"/>
              <a:gd name="connsiteX28041" fmla="*/ 612929 w 6884782"/>
              <a:gd name="connsiteY28041" fmla="*/ 2850889 h 5973007"/>
              <a:gd name="connsiteX28042" fmla="*/ 615821 w 6884782"/>
              <a:gd name="connsiteY28042" fmla="*/ 2850114 h 5973007"/>
              <a:gd name="connsiteX28043" fmla="*/ 496766 w 6884782"/>
              <a:gd name="connsiteY28043" fmla="*/ 2848100 h 5973007"/>
              <a:gd name="connsiteX28044" fmla="*/ 506059 w 6884782"/>
              <a:gd name="connsiteY28044" fmla="*/ 2855380 h 5973007"/>
              <a:gd name="connsiteX28045" fmla="*/ 497902 w 6884782"/>
              <a:gd name="connsiteY28045" fmla="*/ 2857704 h 5973007"/>
              <a:gd name="connsiteX28046" fmla="*/ 495940 w 6884782"/>
              <a:gd name="connsiteY28046" fmla="*/ 2853522 h 5973007"/>
              <a:gd name="connsiteX28047" fmla="*/ 496766 w 6884782"/>
              <a:gd name="connsiteY28047" fmla="*/ 2848100 h 5973007"/>
              <a:gd name="connsiteX28048" fmla="*/ 954810 w 6884782"/>
              <a:gd name="connsiteY28048" fmla="*/ 2847016 h 5973007"/>
              <a:gd name="connsiteX28049" fmla="*/ 955636 w 6884782"/>
              <a:gd name="connsiteY28049" fmla="*/ 2847171 h 5973007"/>
              <a:gd name="connsiteX28050" fmla="*/ 959147 w 6884782"/>
              <a:gd name="connsiteY28050" fmla="*/ 2847481 h 5973007"/>
              <a:gd name="connsiteX28051" fmla="*/ 960799 w 6884782"/>
              <a:gd name="connsiteY28051" fmla="*/ 2851818 h 5973007"/>
              <a:gd name="connsiteX28052" fmla="*/ 955636 w 6884782"/>
              <a:gd name="connsiteY28052" fmla="*/ 2853057 h 5973007"/>
              <a:gd name="connsiteX28053" fmla="*/ 953571 w 6884782"/>
              <a:gd name="connsiteY28053" fmla="*/ 2848720 h 5973007"/>
              <a:gd name="connsiteX28054" fmla="*/ 954810 w 6884782"/>
              <a:gd name="connsiteY28054" fmla="*/ 2847016 h 5973007"/>
              <a:gd name="connsiteX28055" fmla="*/ 745510 w 6884782"/>
              <a:gd name="connsiteY28055" fmla="*/ 2846397 h 5973007"/>
              <a:gd name="connsiteX28056" fmla="*/ 745717 w 6884782"/>
              <a:gd name="connsiteY28056" fmla="*/ 2851663 h 5973007"/>
              <a:gd name="connsiteX28057" fmla="*/ 738076 w 6884782"/>
              <a:gd name="connsiteY28057" fmla="*/ 2847326 h 5973007"/>
              <a:gd name="connsiteX28058" fmla="*/ 745510 w 6884782"/>
              <a:gd name="connsiteY28058" fmla="*/ 2846397 h 5973007"/>
              <a:gd name="connsiteX28059" fmla="*/ 650205 w 6884782"/>
              <a:gd name="connsiteY28059" fmla="*/ 2844693 h 5973007"/>
              <a:gd name="connsiteX28060" fmla="*/ 644525 w 6884782"/>
              <a:gd name="connsiteY28060" fmla="*/ 2853212 h 5973007"/>
              <a:gd name="connsiteX28061" fmla="*/ 641841 w 6884782"/>
              <a:gd name="connsiteY28061" fmla="*/ 2849494 h 5973007"/>
              <a:gd name="connsiteX28062" fmla="*/ 650205 w 6884782"/>
              <a:gd name="connsiteY28062" fmla="*/ 2844693 h 5973007"/>
              <a:gd name="connsiteX28063" fmla="*/ 1294420 w 6884782"/>
              <a:gd name="connsiteY28063" fmla="*/ 2843144 h 5973007"/>
              <a:gd name="connsiteX28064" fmla="*/ 1297105 w 6884782"/>
              <a:gd name="connsiteY28064" fmla="*/ 2845777 h 5973007"/>
              <a:gd name="connsiteX28065" fmla="*/ 1301029 w 6884782"/>
              <a:gd name="connsiteY28065" fmla="*/ 2847016 h 5973007"/>
              <a:gd name="connsiteX28066" fmla="*/ 1299790 w 6884782"/>
              <a:gd name="connsiteY28066" fmla="*/ 2844228 h 5973007"/>
              <a:gd name="connsiteX28067" fmla="*/ 1300099 w 6884782"/>
              <a:gd name="connsiteY28067" fmla="*/ 2843299 h 5973007"/>
              <a:gd name="connsiteX28068" fmla="*/ 1298757 w 6884782"/>
              <a:gd name="connsiteY28068" fmla="*/ 2843454 h 5973007"/>
              <a:gd name="connsiteX28069" fmla="*/ 1294420 w 6884782"/>
              <a:gd name="connsiteY28069" fmla="*/ 2843144 h 5973007"/>
              <a:gd name="connsiteX28070" fmla="*/ 564915 w 6884782"/>
              <a:gd name="connsiteY28070" fmla="*/ 2840820 h 5973007"/>
              <a:gd name="connsiteX28071" fmla="*/ 575860 w 6884782"/>
              <a:gd name="connsiteY28071" fmla="*/ 2844073 h 5973007"/>
              <a:gd name="connsiteX28072" fmla="*/ 566051 w 6884782"/>
              <a:gd name="connsiteY28072" fmla="*/ 2846861 h 5973007"/>
              <a:gd name="connsiteX28073" fmla="*/ 564915 w 6884782"/>
              <a:gd name="connsiteY28073" fmla="*/ 2840820 h 5973007"/>
              <a:gd name="connsiteX28074" fmla="*/ 584121 w 6884782"/>
              <a:gd name="connsiteY28074" fmla="*/ 2840046 h 5973007"/>
              <a:gd name="connsiteX28075" fmla="*/ 586599 w 6884782"/>
              <a:gd name="connsiteY28075" fmla="*/ 2840355 h 5973007"/>
              <a:gd name="connsiteX28076" fmla="*/ 587115 w 6884782"/>
              <a:gd name="connsiteY28076" fmla="*/ 2852902 h 5973007"/>
              <a:gd name="connsiteX28077" fmla="*/ 583501 w 6884782"/>
              <a:gd name="connsiteY28077" fmla="*/ 2854296 h 5973007"/>
              <a:gd name="connsiteX28078" fmla="*/ 581436 w 6884782"/>
              <a:gd name="connsiteY28078" fmla="*/ 2846551 h 5973007"/>
              <a:gd name="connsiteX28079" fmla="*/ 584121 w 6884782"/>
              <a:gd name="connsiteY28079" fmla="*/ 2840046 h 5973007"/>
              <a:gd name="connsiteX28080" fmla="*/ 635542 w 6884782"/>
              <a:gd name="connsiteY28080" fmla="*/ 2839426 h 5973007"/>
              <a:gd name="connsiteX28081" fmla="*/ 636988 w 6884782"/>
              <a:gd name="connsiteY28081" fmla="*/ 2844383 h 5973007"/>
              <a:gd name="connsiteX28082" fmla="*/ 633477 w 6884782"/>
              <a:gd name="connsiteY28082" fmla="*/ 2846242 h 5973007"/>
              <a:gd name="connsiteX28083" fmla="*/ 631928 w 6884782"/>
              <a:gd name="connsiteY28083" fmla="*/ 2841285 h 5973007"/>
              <a:gd name="connsiteX28084" fmla="*/ 635542 w 6884782"/>
              <a:gd name="connsiteY28084" fmla="*/ 2839426 h 5973007"/>
              <a:gd name="connsiteX28085" fmla="*/ 400841 w 6884782"/>
              <a:gd name="connsiteY28085" fmla="*/ 2838497 h 5973007"/>
              <a:gd name="connsiteX28086" fmla="*/ 407966 w 6884782"/>
              <a:gd name="connsiteY28086" fmla="*/ 2840511 h 5973007"/>
              <a:gd name="connsiteX28087" fmla="*/ 407553 w 6884782"/>
              <a:gd name="connsiteY28087" fmla="*/ 2841130 h 5973007"/>
              <a:gd name="connsiteX28088" fmla="*/ 407759 w 6884782"/>
              <a:gd name="connsiteY28088" fmla="*/ 2841595 h 5973007"/>
              <a:gd name="connsiteX28089" fmla="*/ 407656 w 6884782"/>
              <a:gd name="connsiteY28089" fmla="*/ 2844383 h 5973007"/>
              <a:gd name="connsiteX28090" fmla="*/ 407966 w 6884782"/>
              <a:gd name="connsiteY28090" fmla="*/ 2848565 h 5973007"/>
              <a:gd name="connsiteX28091" fmla="*/ 405281 w 6884782"/>
              <a:gd name="connsiteY28091" fmla="*/ 2862196 h 5973007"/>
              <a:gd name="connsiteX28092" fmla="*/ 403939 w 6884782"/>
              <a:gd name="connsiteY28092" fmla="*/ 2856620 h 5973007"/>
              <a:gd name="connsiteX28093" fmla="*/ 403939 w 6884782"/>
              <a:gd name="connsiteY28093" fmla="*/ 2849340 h 5973007"/>
              <a:gd name="connsiteX28094" fmla="*/ 403319 w 6884782"/>
              <a:gd name="connsiteY28094" fmla="*/ 2843763 h 5973007"/>
              <a:gd name="connsiteX28095" fmla="*/ 401667 w 6884782"/>
              <a:gd name="connsiteY28095" fmla="*/ 2842834 h 5973007"/>
              <a:gd name="connsiteX28096" fmla="*/ 400015 w 6884782"/>
              <a:gd name="connsiteY28096" fmla="*/ 2841130 h 5973007"/>
              <a:gd name="connsiteX28097" fmla="*/ 399912 w 6884782"/>
              <a:gd name="connsiteY28097" fmla="*/ 2839581 h 5973007"/>
              <a:gd name="connsiteX28098" fmla="*/ 400841 w 6884782"/>
              <a:gd name="connsiteY28098" fmla="*/ 2838497 h 5973007"/>
              <a:gd name="connsiteX28099" fmla="*/ 431095 w 6884782"/>
              <a:gd name="connsiteY28099" fmla="*/ 2838187 h 5973007"/>
              <a:gd name="connsiteX28100" fmla="*/ 444105 w 6884782"/>
              <a:gd name="connsiteY28100" fmla="*/ 2845312 h 5973007"/>
              <a:gd name="connsiteX28101" fmla="*/ 439975 w 6884782"/>
              <a:gd name="connsiteY28101" fmla="*/ 2852283 h 5973007"/>
              <a:gd name="connsiteX28102" fmla="*/ 428617 w 6884782"/>
              <a:gd name="connsiteY28102" fmla="*/ 2842989 h 5973007"/>
              <a:gd name="connsiteX28103" fmla="*/ 431095 w 6884782"/>
              <a:gd name="connsiteY28103" fmla="*/ 2838187 h 5973007"/>
              <a:gd name="connsiteX28104" fmla="*/ 1112896 w 6884782"/>
              <a:gd name="connsiteY28104" fmla="*/ 2838032 h 5973007"/>
              <a:gd name="connsiteX28105" fmla="*/ 1113515 w 6884782"/>
              <a:gd name="connsiteY28105" fmla="*/ 2838652 h 5973007"/>
              <a:gd name="connsiteX28106" fmla="*/ 1113825 w 6884782"/>
              <a:gd name="connsiteY28106" fmla="*/ 2838032 h 5973007"/>
              <a:gd name="connsiteX28107" fmla="*/ 1303817 w 6884782"/>
              <a:gd name="connsiteY28107" fmla="*/ 2836328 h 5973007"/>
              <a:gd name="connsiteX28108" fmla="*/ 1301958 w 6884782"/>
              <a:gd name="connsiteY28108" fmla="*/ 2839271 h 5973007"/>
              <a:gd name="connsiteX28109" fmla="*/ 1304230 w 6884782"/>
              <a:gd name="connsiteY28109" fmla="*/ 2840820 h 5973007"/>
              <a:gd name="connsiteX28110" fmla="*/ 1306914 w 6884782"/>
              <a:gd name="connsiteY28110" fmla="*/ 2843919 h 5973007"/>
              <a:gd name="connsiteX28111" fmla="*/ 1305469 w 6884782"/>
              <a:gd name="connsiteY28111" fmla="*/ 2847326 h 5973007"/>
              <a:gd name="connsiteX28112" fmla="*/ 1304746 w 6884782"/>
              <a:gd name="connsiteY28112" fmla="*/ 2847791 h 5973007"/>
              <a:gd name="connsiteX28113" fmla="*/ 1306398 w 6884782"/>
              <a:gd name="connsiteY28113" fmla="*/ 2848100 h 5973007"/>
              <a:gd name="connsiteX28114" fmla="*/ 1310115 w 6884782"/>
              <a:gd name="connsiteY28114" fmla="*/ 2848565 h 5973007"/>
              <a:gd name="connsiteX28115" fmla="*/ 1307121 w 6884782"/>
              <a:gd name="connsiteY28115" fmla="*/ 2846087 h 5973007"/>
              <a:gd name="connsiteX28116" fmla="*/ 1310425 w 6884782"/>
              <a:gd name="connsiteY28116" fmla="*/ 2846551 h 5973007"/>
              <a:gd name="connsiteX28117" fmla="*/ 1311251 w 6884782"/>
              <a:gd name="connsiteY28117" fmla="*/ 2846861 h 5973007"/>
              <a:gd name="connsiteX28118" fmla="*/ 1310115 w 6884782"/>
              <a:gd name="connsiteY28118" fmla="*/ 2845932 h 5973007"/>
              <a:gd name="connsiteX28119" fmla="*/ 1306914 w 6884782"/>
              <a:gd name="connsiteY28119" fmla="*/ 2840820 h 5973007"/>
              <a:gd name="connsiteX28120" fmla="*/ 1305778 w 6884782"/>
              <a:gd name="connsiteY28120" fmla="*/ 2836328 h 5973007"/>
              <a:gd name="connsiteX28121" fmla="*/ 1160600 w 6884782"/>
              <a:gd name="connsiteY28121" fmla="*/ 2835244 h 5973007"/>
              <a:gd name="connsiteX28122" fmla="*/ 1141498 w 6884782"/>
              <a:gd name="connsiteY28122" fmla="*/ 2840975 h 5973007"/>
              <a:gd name="connsiteX28123" fmla="*/ 1136232 w 6884782"/>
              <a:gd name="connsiteY28123" fmla="*/ 2836328 h 5973007"/>
              <a:gd name="connsiteX28124" fmla="*/ 1116097 w 6884782"/>
              <a:gd name="connsiteY28124" fmla="*/ 2841440 h 5973007"/>
              <a:gd name="connsiteX28125" fmla="*/ 1115168 w 6884782"/>
              <a:gd name="connsiteY28125" fmla="*/ 2841440 h 5973007"/>
              <a:gd name="connsiteX28126" fmla="*/ 1116303 w 6884782"/>
              <a:gd name="connsiteY28126" fmla="*/ 2844693 h 5973007"/>
              <a:gd name="connsiteX28127" fmla="*/ 1115890 w 6884782"/>
              <a:gd name="connsiteY28127" fmla="*/ 2845622 h 5973007"/>
              <a:gd name="connsiteX28128" fmla="*/ 1120330 w 6884782"/>
              <a:gd name="connsiteY28128" fmla="*/ 2846087 h 5973007"/>
              <a:gd name="connsiteX28129" fmla="*/ 1140568 w 6884782"/>
              <a:gd name="connsiteY28129" fmla="*/ 2846551 h 5973007"/>
              <a:gd name="connsiteX28130" fmla="*/ 1139226 w 6884782"/>
              <a:gd name="connsiteY28130" fmla="*/ 2849340 h 5973007"/>
              <a:gd name="connsiteX28131" fmla="*/ 1140878 w 6884782"/>
              <a:gd name="connsiteY28131" fmla="*/ 2850424 h 5973007"/>
              <a:gd name="connsiteX28132" fmla="*/ 1140568 w 6884782"/>
              <a:gd name="connsiteY28132" fmla="*/ 2849804 h 5973007"/>
              <a:gd name="connsiteX28133" fmla="*/ 1141807 w 6884782"/>
              <a:gd name="connsiteY28133" fmla="*/ 2846861 h 5973007"/>
              <a:gd name="connsiteX28134" fmla="*/ 1144182 w 6884782"/>
              <a:gd name="connsiteY28134" fmla="*/ 2846242 h 5973007"/>
              <a:gd name="connsiteX28135" fmla="*/ 1145215 w 6884782"/>
              <a:gd name="connsiteY28135" fmla="*/ 2848255 h 5973007"/>
              <a:gd name="connsiteX28136" fmla="*/ 1146764 w 6884782"/>
              <a:gd name="connsiteY28136" fmla="*/ 2847326 h 5973007"/>
              <a:gd name="connsiteX28137" fmla="*/ 1147590 w 6884782"/>
              <a:gd name="connsiteY28137" fmla="*/ 2843144 h 5973007"/>
              <a:gd name="connsiteX28138" fmla="*/ 1149242 w 6884782"/>
              <a:gd name="connsiteY28138" fmla="*/ 2842834 h 5973007"/>
              <a:gd name="connsiteX28139" fmla="*/ 1147280 w 6884782"/>
              <a:gd name="connsiteY28139" fmla="*/ 2841440 h 5973007"/>
              <a:gd name="connsiteX28140" fmla="*/ 1149655 w 6884782"/>
              <a:gd name="connsiteY28140" fmla="*/ 2837723 h 5973007"/>
              <a:gd name="connsiteX28141" fmla="*/ 1158122 w 6884782"/>
              <a:gd name="connsiteY28141" fmla="*/ 2840665 h 5973007"/>
              <a:gd name="connsiteX28142" fmla="*/ 1158019 w 6884782"/>
              <a:gd name="connsiteY28142" fmla="*/ 2843144 h 5973007"/>
              <a:gd name="connsiteX28143" fmla="*/ 1158225 w 6884782"/>
              <a:gd name="connsiteY28143" fmla="*/ 2843144 h 5973007"/>
              <a:gd name="connsiteX28144" fmla="*/ 1160600 w 6884782"/>
              <a:gd name="connsiteY28144" fmla="*/ 2835244 h 5973007"/>
              <a:gd name="connsiteX28145" fmla="*/ 779894 w 6884782"/>
              <a:gd name="connsiteY28145" fmla="*/ 2835089 h 5973007"/>
              <a:gd name="connsiteX28146" fmla="*/ 778965 w 6884782"/>
              <a:gd name="connsiteY28146" fmla="*/ 2836173 h 5973007"/>
              <a:gd name="connsiteX28147" fmla="*/ 779688 w 6884782"/>
              <a:gd name="connsiteY28147" fmla="*/ 2836173 h 5973007"/>
              <a:gd name="connsiteX28148" fmla="*/ 582778 w 6884782"/>
              <a:gd name="connsiteY28148" fmla="*/ 2834314 h 5973007"/>
              <a:gd name="connsiteX28149" fmla="*/ 583501 w 6884782"/>
              <a:gd name="connsiteY28149" fmla="*/ 2834780 h 5973007"/>
              <a:gd name="connsiteX28150" fmla="*/ 583811 w 6884782"/>
              <a:gd name="connsiteY28150" fmla="*/ 2834624 h 5973007"/>
              <a:gd name="connsiteX28151" fmla="*/ 584533 w 6884782"/>
              <a:gd name="connsiteY28151" fmla="*/ 2836328 h 5973007"/>
              <a:gd name="connsiteX28152" fmla="*/ 584533 w 6884782"/>
              <a:gd name="connsiteY28152" fmla="*/ 2838032 h 5973007"/>
              <a:gd name="connsiteX28153" fmla="*/ 581126 w 6884782"/>
              <a:gd name="connsiteY28153" fmla="*/ 2836948 h 5973007"/>
              <a:gd name="connsiteX28154" fmla="*/ 581952 w 6884782"/>
              <a:gd name="connsiteY28154" fmla="*/ 2835554 h 5973007"/>
              <a:gd name="connsiteX28155" fmla="*/ 581230 w 6884782"/>
              <a:gd name="connsiteY28155" fmla="*/ 2835089 h 5973007"/>
              <a:gd name="connsiteX28156" fmla="*/ 582778 w 6884782"/>
              <a:gd name="connsiteY28156" fmla="*/ 2834314 h 5973007"/>
              <a:gd name="connsiteX28157" fmla="*/ 1023372 w 6884782"/>
              <a:gd name="connsiteY28157" fmla="*/ 2833386 h 5973007"/>
              <a:gd name="connsiteX28158" fmla="*/ 1014802 w 6884782"/>
              <a:gd name="connsiteY28158" fmla="*/ 2836018 h 5973007"/>
              <a:gd name="connsiteX28159" fmla="*/ 1016351 w 6884782"/>
              <a:gd name="connsiteY28159" fmla="*/ 2838187 h 5973007"/>
              <a:gd name="connsiteX28160" fmla="*/ 1016145 w 6884782"/>
              <a:gd name="connsiteY28160" fmla="*/ 2839426 h 5973007"/>
              <a:gd name="connsiteX28161" fmla="*/ 1024096 w 6884782"/>
              <a:gd name="connsiteY28161" fmla="*/ 2840820 h 5973007"/>
              <a:gd name="connsiteX28162" fmla="*/ 1018210 w 6884782"/>
              <a:gd name="connsiteY28162" fmla="*/ 2842524 h 5973007"/>
              <a:gd name="connsiteX28163" fmla="*/ 1015835 w 6884782"/>
              <a:gd name="connsiteY28163" fmla="*/ 2842369 h 5973007"/>
              <a:gd name="connsiteX28164" fmla="*/ 1015628 w 6884782"/>
              <a:gd name="connsiteY28164" fmla="*/ 2843299 h 5973007"/>
              <a:gd name="connsiteX28165" fmla="*/ 1012014 w 6884782"/>
              <a:gd name="connsiteY28165" fmla="*/ 2849030 h 5973007"/>
              <a:gd name="connsiteX28166" fmla="*/ 1012014 w 6884782"/>
              <a:gd name="connsiteY28166" fmla="*/ 2849494 h 5973007"/>
              <a:gd name="connsiteX28167" fmla="*/ 1011704 w 6884782"/>
              <a:gd name="connsiteY28167" fmla="*/ 2849494 h 5973007"/>
              <a:gd name="connsiteX28168" fmla="*/ 1008917 w 6884782"/>
              <a:gd name="connsiteY28168" fmla="*/ 2853832 h 5973007"/>
              <a:gd name="connsiteX28169" fmla="*/ 1005819 w 6884782"/>
              <a:gd name="connsiteY28169" fmla="*/ 2849494 h 5973007"/>
              <a:gd name="connsiteX28170" fmla="*/ 1001482 w 6884782"/>
              <a:gd name="connsiteY28170" fmla="*/ 2850269 h 5973007"/>
              <a:gd name="connsiteX28171" fmla="*/ 1001482 w 6884782"/>
              <a:gd name="connsiteY28171" fmla="*/ 2849804 h 5973007"/>
              <a:gd name="connsiteX28172" fmla="*/ 999830 w 6884782"/>
              <a:gd name="connsiteY28172" fmla="*/ 2851044 h 5973007"/>
              <a:gd name="connsiteX28173" fmla="*/ 987543 w 6884782"/>
              <a:gd name="connsiteY28173" fmla="*/ 2855690 h 5973007"/>
              <a:gd name="connsiteX28174" fmla="*/ 995906 w 6884782"/>
              <a:gd name="connsiteY28174" fmla="*/ 2845467 h 5973007"/>
              <a:gd name="connsiteX28175" fmla="*/ 999107 w 6884782"/>
              <a:gd name="connsiteY28175" fmla="*/ 2842834 h 5973007"/>
              <a:gd name="connsiteX28176" fmla="*/ 996113 w 6884782"/>
              <a:gd name="connsiteY28176" fmla="*/ 2843609 h 5973007"/>
              <a:gd name="connsiteX28177" fmla="*/ 1000863 w 6884782"/>
              <a:gd name="connsiteY28177" fmla="*/ 2840820 h 5973007"/>
              <a:gd name="connsiteX28178" fmla="*/ 1000656 w 6884782"/>
              <a:gd name="connsiteY28178" fmla="*/ 2840355 h 5973007"/>
              <a:gd name="connsiteX28179" fmla="*/ 994874 w 6884782"/>
              <a:gd name="connsiteY28179" fmla="*/ 2840201 h 5973007"/>
              <a:gd name="connsiteX28180" fmla="*/ 988472 w 6884782"/>
              <a:gd name="connsiteY28180" fmla="*/ 2839271 h 5973007"/>
              <a:gd name="connsiteX28181" fmla="*/ 984549 w 6884782"/>
              <a:gd name="connsiteY28181" fmla="*/ 2836173 h 5973007"/>
              <a:gd name="connsiteX28182" fmla="*/ 982173 w 6884782"/>
              <a:gd name="connsiteY28182" fmla="*/ 2836173 h 5973007"/>
              <a:gd name="connsiteX28183" fmla="*/ 980418 w 6884782"/>
              <a:gd name="connsiteY28183" fmla="*/ 2836328 h 5973007"/>
              <a:gd name="connsiteX28184" fmla="*/ 974739 w 6884782"/>
              <a:gd name="connsiteY28184" fmla="*/ 2839891 h 5973007"/>
              <a:gd name="connsiteX28185" fmla="*/ 986923 w 6884782"/>
              <a:gd name="connsiteY28185" fmla="*/ 2838961 h 5973007"/>
              <a:gd name="connsiteX28186" fmla="*/ 980108 w 6884782"/>
              <a:gd name="connsiteY28186" fmla="*/ 2846861 h 5973007"/>
              <a:gd name="connsiteX28187" fmla="*/ 970919 w 6884782"/>
              <a:gd name="connsiteY28187" fmla="*/ 2842214 h 5973007"/>
              <a:gd name="connsiteX28188" fmla="*/ 964620 w 6884782"/>
              <a:gd name="connsiteY28188" fmla="*/ 2840820 h 5973007"/>
              <a:gd name="connsiteX28189" fmla="*/ 963071 w 6884782"/>
              <a:gd name="connsiteY28189" fmla="*/ 2840975 h 5973007"/>
              <a:gd name="connsiteX28190" fmla="*/ 962348 w 6884782"/>
              <a:gd name="connsiteY28190" fmla="*/ 2840820 h 5973007"/>
              <a:gd name="connsiteX28191" fmla="*/ 961625 w 6884782"/>
              <a:gd name="connsiteY28191" fmla="*/ 2840511 h 5973007"/>
              <a:gd name="connsiteX28192" fmla="*/ 960076 w 6884782"/>
              <a:gd name="connsiteY28192" fmla="*/ 2840665 h 5973007"/>
              <a:gd name="connsiteX28193" fmla="*/ 960076 w 6884782"/>
              <a:gd name="connsiteY28193" fmla="*/ 2845777 h 5973007"/>
              <a:gd name="connsiteX28194" fmla="*/ 957495 w 6884782"/>
              <a:gd name="connsiteY28194" fmla="*/ 2841905 h 5973007"/>
              <a:gd name="connsiteX28195" fmla="*/ 949131 w 6884782"/>
              <a:gd name="connsiteY28195" fmla="*/ 2847171 h 5973007"/>
              <a:gd name="connsiteX28196" fmla="*/ 946653 w 6884782"/>
              <a:gd name="connsiteY28196" fmla="*/ 2847791 h 5973007"/>
              <a:gd name="connsiteX28197" fmla="*/ 945104 w 6884782"/>
              <a:gd name="connsiteY28197" fmla="*/ 2847945 h 5973007"/>
              <a:gd name="connsiteX28198" fmla="*/ 944898 w 6884782"/>
              <a:gd name="connsiteY28198" fmla="*/ 2848565 h 5973007"/>
              <a:gd name="connsiteX28199" fmla="*/ 944175 w 6884782"/>
              <a:gd name="connsiteY28199" fmla="*/ 2848410 h 5973007"/>
              <a:gd name="connsiteX28200" fmla="*/ 936328 w 6884782"/>
              <a:gd name="connsiteY28200" fmla="*/ 2849340 h 5973007"/>
              <a:gd name="connsiteX28201" fmla="*/ 934779 w 6884782"/>
              <a:gd name="connsiteY28201" fmla="*/ 2849649 h 5973007"/>
              <a:gd name="connsiteX28202" fmla="*/ 932817 w 6884782"/>
              <a:gd name="connsiteY28202" fmla="*/ 2851508 h 5973007"/>
              <a:gd name="connsiteX28203" fmla="*/ 930132 w 6884782"/>
              <a:gd name="connsiteY28203" fmla="*/ 2852438 h 5973007"/>
              <a:gd name="connsiteX28204" fmla="*/ 928480 w 6884782"/>
              <a:gd name="connsiteY28204" fmla="*/ 2852128 h 5973007"/>
              <a:gd name="connsiteX28205" fmla="*/ 930339 w 6884782"/>
              <a:gd name="connsiteY28205" fmla="*/ 2853057 h 5973007"/>
              <a:gd name="connsiteX28206" fmla="*/ 935089 w 6884782"/>
              <a:gd name="connsiteY28206" fmla="*/ 2857549 h 5973007"/>
              <a:gd name="connsiteX28207" fmla="*/ 932300 w 6884782"/>
              <a:gd name="connsiteY28207" fmla="*/ 2857394 h 5973007"/>
              <a:gd name="connsiteX28208" fmla="*/ 931165 w 6884782"/>
              <a:gd name="connsiteY28208" fmla="*/ 2856930 h 5973007"/>
              <a:gd name="connsiteX28209" fmla="*/ 930339 w 6884782"/>
              <a:gd name="connsiteY28209" fmla="*/ 2857239 h 5973007"/>
              <a:gd name="connsiteX28210" fmla="*/ 930029 w 6884782"/>
              <a:gd name="connsiteY28210" fmla="*/ 2856465 h 5973007"/>
              <a:gd name="connsiteX28211" fmla="*/ 927758 w 6884782"/>
              <a:gd name="connsiteY28211" fmla="*/ 2855380 h 5973007"/>
              <a:gd name="connsiteX28212" fmla="*/ 921872 w 6884782"/>
              <a:gd name="connsiteY28212" fmla="*/ 2854451 h 5973007"/>
              <a:gd name="connsiteX28213" fmla="*/ 921459 w 6884782"/>
              <a:gd name="connsiteY28213" fmla="*/ 2854142 h 5973007"/>
              <a:gd name="connsiteX28214" fmla="*/ 918878 w 6884782"/>
              <a:gd name="connsiteY28214" fmla="*/ 2855845 h 5973007"/>
              <a:gd name="connsiteX28215" fmla="*/ 911133 w 6884782"/>
              <a:gd name="connsiteY28215" fmla="*/ 2855226 h 5973007"/>
              <a:gd name="connsiteX28216" fmla="*/ 916812 w 6884782"/>
              <a:gd name="connsiteY28216" fmla="*/ 2857394 h 5973007"/>
              <a:gd name="connsiteX28217" fmla="*/ 918258 w 6884782"/>
              <a:gd name="connsiteY28217" fmla="*/ 2858633 h 5973007"/>
              <a:gd name="connsiteX28218" fmla="*/ 919187 w 6884782"/>
              <a:gd name="connsiteY28218" fmla="*/ 2857084 h 5973007"/>
              <a:gd name="connsiteX28219" fmla="*/ 927861 w 6884782"/>
              <a:gd name="connsiteY28219" fmla="*/ 2859253 h 5973007"/>
              <a:gd name="connsiteX28220" fmla="*/ 927345 w 6884782"/>
              <a:gd name="connsiteY28220" fmla="*/ 2863745 h 5973007"/>
              <a:gd name="connsiteX28221" fmla="*/ 926208 w 6884782"/>
              <a:gd name="connsiteY28221" fmla="*/ 2864984 h 5973007"/>
              <a:gd name="connsiteX28222" fmla="*/ 927345 w 6884782"/>
              <a:gd name="connsiteY28222" fmla="*/ 2866223 h 5973007"/>
              <a:gd name="connsiteX28223" fmla="*/ 933746 w 6884782"/>
              <a:gd name="connsiteY28223" fmla="*/ 2865139 h 5973007"/>
              <a:gd name="connsiteX28224" fmla="*/ 939322 w 6884782"/>
              <a:gd name="connsiteY28224" fmla="*/ 2864055 h 5973007"/>
              <a:gd name="connsiteX28225" fmla="*/ 947170 w 6884782"/>
              <a:gd name="connsiteY28225" fmla="*/ 2863125 h 5973007"/>
              <a:gd name="connsiteX28226" fmla="*/ 947892 w 6884782"/>
              <a:gd name="connsiteY28226" fmla="*/ 2863435 h 5973007"/>
              <a:gd name="connsiteX28227" fmla="*/ 948099 w 6884782"/>
              <a:gd name="connsiteY28227" fmla="*/ 2862661 h 5973007"/>
              <a:gd name="connsiteX28228" fmla="*/ 949648 w 6884782"/>
              <a:gd name="connsiteY28228" fmla="*/ 2862506 h 5973007"/>
              <a:gd name="connsiteX28229" fmla="*/ 955636 w 6884782"/>
              <a:gd name="connsiteY28229" fmla="*/ 2862351 h 5973007"/>
              <a:gd name="connsiteX28230" fmla="*/ 960799 w 6884782"/>
              <a:gd name="connsiteY28230" fmla="*/ 2862815 h 5973007"/>
              <a:gd name="connsiteX28231" fmla="*/ 963794 w 6884782"/>
              <a:gd name="connsiteY28231" fmla="*/ 2862971 h 5973007"/>
              <a:gd name="connsiteX28232" fmla="*/ 965136 w 6884782"/>
              <a:gd name="connsiteY28232" fmla="*/ 2863435 h 5973007"/>
              <a:gd name="connsiteX28233" fmla="*/ 967201 w 6884782"/>
              <a:gd name="connsiteY28233" fmla="*/ 2864210 h 5973007"/>
              <a:gd name="connsiteX28234" fmla="*/ 967821 w 6884782"/>
              <a:gd name="connsiteY28234" fmla="*/ 2862196 h 5973007"/>
              <a:gd name="connsiteX28235" fmla="*/ 966479 w 6884782"/>
              <a:gd name="connsiteY28235" fmla="*/ 2861731 h 5973007"/>
              <a:gd name="connsiteX28236" fmla="*/ 965136 w 6884782"/>
              <a:gd name="connsiteY28236" fmla="*/ 2861267 h 5973007"/>
              <a:gd name="connsiteX28237" fmla="*/ 964207 w 6884782"/>
              <a:gd name="connsiteY28237" fmla="*/ 2861731 h 5973007"/>
              <a:gd name="connsiteX28238" fmla="*/ 965446 w 6884782"/>
              <a:gd name="connsiteY28238" fmla="*/ 2860027 h 5973007"/>
              <a:gd name="connsiteX28239" fmla="*/ 969473 w 6884782"/>
              <a:gd name="connsiteY28239" fmla="*/ 2859098 h 5973007"/>
              <a:gd name="connsiteX28240" fmla="*/ 976288 w 6884782"/>
              <a:gd name="connsiteY28240" fmla="*/ 2861422 h 5973007"/>
              <a:gd name="connsiteX28241" fmla="*/ 995906 w 6884782"/>
              <a:gd name="connsiteY28241" fmla="*/ 2856620 h 5973007"/>
              <a:gd name="connsiteX28242" fmla="*/ 1005716 w 6884782"/>
              <a:gd name="connsiteY28242" fmla="*/ 2856310 h 5973007"/>
              <a:gd name="connsiteX28243" fmla="*/ 1008194 w 6884782"/>
              <a:gd name="connsiteY28243" fmla="*/ 2855690 h 5973007"/>
              <a:gd name="connsiteX28244" fmla="*/ 1010672 w 6884782"/>
              <a:gd name="connsiteY28244" fmla="*/ 2855071 h 5973007"/>
              <a:gd name="connsiteX28245" fmla="*/ 1010259 w 6884782"/>
              <a:gd name="connsiteY28245" fmla="*/ 2852438 h 5973007"/>
              <a:gd name="connsiteX28246" fmla="*/ 1013976 w 6884782"/>
              <a:gd name="connsiteY28246" fmla="*/ 2854296 h 5973007"/>
              <a:gd name="connsiteX28247" fmla="*/ 1015525 w 6884782"/>
              <a:gd name="connsiteY28247" fmla="*/ 2853832 h 5973007"/>
              <a:gd name="connsiteX28248" fmla="*/ 1027193 w 6884782"/>
              <a:gd name="connsiteY28248" fmla="*/ 2857704 h 5973007"/>
              <a:gd name="connsiteX28249" fmla="*/ 1036176 w 6884782"/>
              <a:gd name="connsiteY28249" fmla="*/ 2860182 h 5973007"/>
              <a:gd name="connsiteX28250" fmla="*/ 1038758 w 6884782"/>
              <a:gd name="connsiteY28250" fmla="*/ 2854451 h 5973007"/>
              <a:gd name="connsiteX28251" fmla="*/ 1052284 w 6884782"/>
              <a:gd name="connsiteY28251" fmla="*/ 2853677 h 5973007"/>
              <a:gd name="connsiteX28252" fmla="*/ 1057963 w 6884782"/>
              <a:gd name="connsiteY28252" fmla="*/ 2853367 h 5973007"/>
              <a:gd name="connsiteX28253" fmla="*/ 1064882 w 6884782"/>
              <a:gd name="connsiteY28253" fmla="*/ 2848100 h 5973007"/>
              <a:gd name="connsiteX28254" fmla="*/ 1066740 w 6884782"/>
              <a:gd name="connsiteY28254" fmla="*/ 2849340 h 5973007"/>
              <a:gd name="connsiteX28255" fmla="*/ 1066534 w 6884782"/>
              <a:gd name="connsiteY28255" fmla="*/ 2847326 h 5973007"/>
              <a:gd name="connsiteX28256" fmla="*/ 1070458 w 6884782"/>
              <a:gd name="connsiteY28256" fmla="*/ 2851663 h 5973007"/>
              <a:gd name="connsiteX28257" fmla="*/ 1073968 w 6884782"/>
              <a:gd name="connsiteY28257" fmla="*/ 2849959 h 5973007"/>
              <a:gd name="connsiteX28258" fmla="*/ 1078305 w 6884782"/>
              <a:gd name="connsiteY28258" fmla="*/ 2850579 h 5973007"/>
              <a:gd name="connsiteX28259" fmla="*/ 1086669 w 6884782"/>
              <a:gd name="connsiteY28259" fmla="*/ 2847791 h 5973007"/>
              <a:gd name="connsiteX28260" fmla="*/ 1088424 w 6884782"/>
              <a:gd name="connsiteY28260" fmla="*/ 2851973 h 5973007"/>
              <a:gd name="connsiteX28261" fmla="*/ 1093587 w 6884782"/>
              <a:gd name="connsiteY28261" fmla="*/ 2849959 h 5973007"/>
              <a:gd name="connsiteX28262" fmla="*/ 1094929 w 6884782"/>
              <a:gd name="connsiteY28262" fmla="*/ 2841595 h 5973007"/>
              <a:gd name="connsiteX28263" fmla="*/ 1095549 w 6884782"/>
              <a:gd name="connsiteY28263" fmla="*/ 2839891 h 5973007"/>
              <a:gd name="connsiteX28264" fmla="*/ 1092244 w 6884782"/>
              <a:gd name="connsiteY28264" fmla="*/ 2842369 h 5973007"/>
              <a:gd name="connsiteX28265" fmla="*/ 1090489 w 6884782"/>
              <a:gd name="connsiteY28265" fmla="*/ 2839271 h 5973007"/>
              <a:gd name="connsiteX28266" fmla="*/ 1090283 w 6884782"/>
              <a:gd name="connsiteY28266" fmla="*/ 2839116 h 5973007"/>
              <a:gd name="connsiteX28267" fmla="*/ 1087495 w 6884782"/>
              <a:gd name="connsiteY28267" fmla="*/ 2842214 h 5973007"/>
              <a:gd name="connsiteX28268" fmla="*/ 1066637 w 6884782"/>
              <a:gd name="connsiteY28268" fmla="*/ 2845312 h 5973007"/>
              <a:gd name="connsiteX28269" fmla="*/ 1061784 w 6884782"/>
              <a:gd name="connsiteY28269" fmla="*/ 2840046 h 5973007"/>
              <a:gd name="connsiteX28270" fmla="*/ 1060029 w 6884782"/>
              <a:gd name="connsiteY28270" fmla="*/ 2841440 h 5973007"/>
              <a:gd name="connsiteX28271" fmla="*/ 1051149 w 6884782"/>
              <a:gd name="connsiteY28271" fmla="*/ 2838497 h 5973007"/>
              <a:gd name="connsiteX28272" fmla="*/ 1056208 w 6884782"/>
              <a:gd name="connsiteY28272" fmla="*/ 2841595 h 5973007"/>
              <a:gd name="connsiteX28273" fmla="*/ 1047638 w 6884782"/>
              <a:gd name="connsiteY28273" fmla="*/ 2843144 h 5973007"/>
              <a:gd name="connsiteX28274" fmla="*/ 1044643 w 6884782"/>
              <a:gd name="connsiteY28274" fmla="*/ 2842059 h 5973007"/>
              <a:gd name="connsiteX28275" fmla="*/ 1044540 w 6884782"/>
              <a:gd name="connsiteY28275" fmla="*/ 2844073 h 5973007"/>
              <a:gd name="connsiteX28276" fmla="*/ 1037622 w 6884782"/>
              <a:gd name="connsiteY28276" fmla="*/ 2848100 h 5973007"/>
              <a:gd name="connsiteX28277" fmla="*/ 1031736 w 6884782"/>
              <a:gd name="connsiteY28277" fmla="*/ 2843454 h 5973007"/>
              <a:gd name="connsiteX28278" fmla="*/ 1035454 w 6884782"/>
              <a:gd name="connsiteY28278" fmla="*/ 2839581 h 5973007"/>
              <a:gd name="connsiteX28279" fmla="*/ 1035763 w 6884782"/>
              <a:gd name="connsiteY28279" fmla="*/ 2839271 h 5973007"/>
              <a:gd name="connsiteX28280" fmla="*/ 1030807 w 6884782"/>
              <a:gd name="connsiteY28280" fmla="*/ 2837877 h 5973007"/>
              <a:gd name="connsiteX28281" fmla="*/ 1023786 w 6884782"/>
              <a:gd name="connsiteY28281" fmla="*/ 2839271 h 5973007"/>
              <a:gd name="connsiteX28282" fmla="*/ 1023372 w 6884782"/>
              <a:gd name="connsiteY28282" fmla="*/ 2833386 h 5973007"/>
              <a:gd name="connsiteX28283" fmla="*/ 741173 w 6884782"/>
              <a:gd name="connsiteY28283" fmla="*/ 2833076 h 5973007"/>
              <a:gd name="connsiteX28284" fmla="*/ 748504 w 6884782"/>
              <a:gd name="connsiteY28284" fmla="*/ 2836018 h 5973007"/>
              <a:gd name="connsiteX28285" fmla="*/ 739315 w 6884782"/>
              <a:gd name="connsiteY28285" fmla="*/ 2834469 h 5973007"/>
              <a:gd name="connsiteX28286" fmla="*/ 741173 w 6884782"/>
              <a:gd name="connsiteY28286" fmla="*/ 2833076 h 5973007"/>
              <a:gd name="connsiteX28287" fmla="*/ 472707 w 6884782"/>
              <a:gd name="connsiteY28287" fmla="*/ 2831372 h 5973007"/>
              <a:gd name="connsiteX28288" fmla="*/ 477560 w 6884782"/>
              <a:gd name="connsiteY28288" fmla="*/ 2837877 h 5973007"/>
              <a:gd name="connsiteX28289" fmla="*/ 455154 w 6884782"/>
              <a:gd name="connsiteY28289" fmla="*/ 2847326 h 5973007"/>
              <a:gd name="connsiteX28290" fmla="*/ 449371 w 6884782"/>
              <a:gd name="connsiteY28290" fmla="*/ 2842214 h 5973007"/>
              <a:gd name="connsiteX28291" fmla="*/ 472707 w 6884782"/>
              <a:gd name="connsiteY28291" fmla="*/ 2831372 h 5973007"/>
              <a:gd name="connsiteX28292" fmla="*/ 1269535 w 6884782"/>
              <a:gd name="connsiteY28292" fmla="*/ 2831062 h 5973007"/>
              <a:gd name="connsiteX28293" fmla="*/ 1278519 w 6884782"/>
              <a:gd name="connsiteY28293" fmla="*/ 2836328 h 5973007"/>
              <a:gd name="connsiteX28294" fmla="*/ 1278932 w 6884782"/>
              <a:gd name="connsiteY28294" fmla="*/ 2836328 h 5973007"/>
              <a:gd name="connsiteX28295" fmla="*/ 1280377 w 6884782"/>
              <a:gd name="connsiteY28295" fmla="*/ 2834780 h 5973007"/>
              <a:gd name="connsiteX28296" fmla="*/ 1284714 w 6884782"/>
              <a:gd name="connsiteY28296" fmla="*/ 2834314 h 5973007"/>
              <a:gd name="connsiteX28297" fmla="*/ 1287812 w 6884782"/>
              <a:gd name="connsiteY28297" fmla="*/ 2838652 h 5973007"/>
              <a:gd name="connsiteX28298" fmla="*/ 1289154 w 6884782"/>
              <a:gd name="connsiteY28298" fmla="*/ 2840820 h 5973007"/>
              <a:gd name="connsiteX28299" fmla="*/ 1295453 w 6884782"/>
              <a:gd name="connsiteY28299" fmla="*/ 2840820 h 5973007"/>
              <a:gd name="connsiteX28300" fmla="*/ 1298757 w 6884782"/>
              <a:gd name="connsiteY28300" fmla="*/ 2840975 h 5973007"/>
              <a:gd name="connsiteX28301" fmla="*/ 1300512 w 6884782"/>
              <a:gd name="connsiteY28301" fmla="*/ 2841905 h 5973007"/>
              <a:gd name="connsiteX28302" fmla="*/ 1301132 w 6884782"/>
              <a:gd name="connsiteY28302" fmla="*/ 2839426 h 5973007"/>
              <a:gd name="connsiteX28303" fmla="*/ 1296072 w 6884782"/>
              <a:gd name="connsiteY28303" fmla="*/ 2834005 h 5973007"/>
              <a:gd name="connsiteX28304" fmla="*/ 1288328 w 6884782"/>
              <a:gd name="connsiteY28304" fmla="*/ 2833850 h 5973007"/>
              <a:gd name="connsiteX28305" fmla="*/ 1269535 w 6884782"/>
              <a:gd name="connsiteY28305" fmla="*/ 2831062 h 5973007"/>
              <a:gd name="connsiteX28306" fmla="*/ 532325 w 6884782"/>
              <a:gd name="connsiteY28306" fmla="*/ 2831004 h 5973007"/>
              <a:gd name="connsiteX28307" fmla="*/ 541992 w 6884782"/>
              <a:gd name="connsiteY28307" fmla="*/ 2831217 h 5973007"/>
              <a:gd name="connsiteX28308" fmla="*/ 532699 w 6884782"/>
              <a:gd name="connsiteY28308" fmla="*/ 2836793 h 5973007"/>
              <a:gd name="connsiteX28309" fmla="*/ 522270 w 6884782"/>
              <a:gd name="connsiteY28309" fmla="*/ 2836483 h 5973007"/>
              <a:gd name="connsiteX28310" fmla="*/ 532325 w 6884782"/>
              <a:gd name="connsiteY28310" fmla="*/ 2831004 h 5973007"/>
              <a:gd name="connsiteX28311" fmla="*/ 299857 w 6884782"/>
              <a:gd name="connsiteY28311" fmla="*/ 2830752 h 5973007"/>
              <a:gd name="connsiteX28312" fmla="*/ 301921 w 6884782"/>
              <a:gd name="connsiteY28312" fmla="*/ 2831217 h 5973007"/>
              <a:gd name="connsiteX28313" fmla="*/ 296346 w 6884782"/>
              <a:gd name="connsiteY28313" fmla="*/ 2845777 h 5973007"/>
              <a:gd name="connsiteX28314" fmla="*/ 294591 w 6884782"/>
              <a:gd name="connsiteY28314" fmla="*/ 2844847 h 5973007"/>
              <a:gd name="connsiteX28315" fmla="*/ 294074 w 6884782"/>
              <a:gd name="connsiteY28315" fmla="*/ 2842524 h 5973007"/>
              <a:gd name="connsiteX28316" fmla="*/ 296552 w 6884782"/>
              <a:gd name="connsiteY28316" fmla="*/ 2834934 h 5973007"/>
              <a:gd name="connsiteX28317" fmla="*/ 297482 w 6884782"/>
              <a:gd name="connsiteY28317" fmla="*/ 2833386 h 5973007"/>
              <a:gd name="connsiteX28318" fmla="*/ 298411 w 6884782"/>
              <a:gd name="connsiteY28318" fmla="*/ 2831681 h 5973007"/>
              <a:gd name="connsiteX28319" fmla="*/ 299857 w 6884782"/>
              <a:gd name="connsiteY28319" fmla="*/ 2830752 h 5973007"/>
              <a:gd name="connsiteX28320" fmla="*/ 649792 w 6884782"/>
              <a:gd name="connsiteY28320" fmla="*/ 2829300 h 5973007"/>
              <a:gd name="connsiteX28321" fmla="*/ 668171 w 6884782"/>
              <a:gd name="connsiteY28321" fmla="*/ 2833386 h 5973007"/>
              <a:gd name="connsiteX28322" fmla="*/ 672198 w 6884782"/>
              <a:gd name="connsiteY28322" fmla="*/ 2835399 h 5973007"/>
              <a:gd name="connsiteX28323" fmla="*/ 673541 w 6884782"/>
              <a:gd name="connsiteY28323" fmla="*/ 2833230 h 5973007"/>
              <a:gd name="connsiteX28324" fmla="*/ 673850 w 6884782"/>
              <a:gd name="connsiteY28324" fmla="*/ 2833230 h 5973007"/>
              <a:gd name="connsiteX28325" fmla="*/ 673850 w 6884782"/>
              <a:gd name="connsiteY28325" fmla="*/ 2832766 h 5973007"/>
              <a:gd name="connsiteX28326" fmla="*/ 673850 w 6884782"/>
              <a:gd name="connsiteY28326" fmla="*/ 2831836 h 5973007"/>
              <a:gd name="connsiteX28327" fmla="*/ 674573 w 6884782"/>
              <a:gd name="connsiteY28327" fmla="*/ 2831526 h 5973007"/>
              <a:gd name="connsiteX28328" fmla="*/ 674676 w 6884782"/>
              <a:gd name="connsiteY28328" fmla="*/ 2831372 h 5973007"/>
              <a:gd name="connsiteX28329" fmla="*/ 676535 w 6884782"/>
              <a:gd name="connsiteY28329" fmla="*/ 2831681 h 5973007"/>
              <a:gd name="connsiteX28330" fmla="*/ 677981 w 6884782"/>
              <a:gd name="connsiteY28330" fmla="*/ 2832921 h 5973007"/>
              <a:gd name="connsiteX28331" fmla="*/ 677361 w 6884782"/>
              <a:gd name="connsiteY28331" fmla="*/ 2833850 h 5973007"/>
              <a:gd name="connsiteX28332" fmla="*/ 676845 w 6884782"/>
              <a:gd name="connsiteY28332" fmla="*/ 2834160 h 5973007"/>
              <a:gd name="connsiteX28333" fmla="*/ 679117 w 6884782"/>
              <a:gd name="connsiteY28333" fmla="*/ 2837412 h 5973007"/>
              <a:gd name="connsiteX28334" fmla="*/ 677568 w 6884782"/>
              <a:gd name="connsiteY28334" fmla="*/ 2838342 h 5973007"/>
              <a:gd name="connsiteX28335" fmla="*/ 679117 w 6884782"/>
              <a:gd name="connsiteY28335" fmla="*/ 2839116 h 5973007"/>
              <a:gd name="connsiteX28336" fmla="*/ 636058 w 6884782"/>
              <a:gd name="connsiteY28336" fmla="*/ 2836948 h 5973007"/>
              <a:gd name="connsiteX28337" fmla="*/ 649792 w 6884782"/>
              <a:gd name="connsiteY28337" fmla="*/ 2829300 h 5973007"/>
              <a:gd name="connsiteX28338" fmla="*/ 1335723 w 6884782"/>
              <a:gd name="connsiteY28338" fmla="*/ 2828274 h 5973007"/>
              <a:gd name="connsiteX28339" fmla="*/ 1337685 w 6884782"/>
              <a:gd name="connsiteY28339" fmla="*/ 2829203 h 5973007"/>
              <a:gd name="connsiteX28340" fmla="*/ 1335103 w 6884782"/>
              <a:gd name="connsiteY28340" fmla="*/ 2831836 h 5973007"/>
              <a:gd name="connsiteX28341" fmla="*/ 1333348 w 6884782"/>
              <a:gd name="connsiteY28341" fmla="*/ 2829513 h 5973007"/>
              <a:gd name="connsiteX28342" fmla="*/ 1335723 w 6884782"/>
              <a:gd name="connsiteY28342" fmla="*/ 2828274 h 5973007"/>
              <a:gd name="connsiteX28343" fmla="*/ 687170 w 6884782"/>
              <a:gd name="connsiteY28343" fmla="*/ 2827964 h 5973007"/>
              <a:gd name="connsiteX28344" fmla="*/ 699664 w 6884782"/>
              <a:gd name="connsiteY28344" fmla="*/ 2838187 h 5973007"/>
              <a:gd name="connsiteX28345" fmla="*/ 696154 w 6884782"/>
              <a:gd name="connsiteY28345" fmla="*/ 2837877 h 5973007"/>
              <a:gd name="connsiteX28346" fmla="*/ 693779 w 6884782"/>
              <a:gd name="connsiteY28346" fmla="*/ 2836948 h 5973007"/>
              <a:gd name="connsiteX28347" fmla="*/ 694089 w 6884782"/>
              <a:gd name="connsiteY28347" fmla="*/ 2837723 h 5973007"/>
              <a:gd name="connsiteX28348" fmla="*/ 694708 w 6884782"/>
              <a:gd name="connsiteY28348" fmla="*/ 2842679 h 5973007"/>
              <a:gd name="connsiteX28349" fmla="*/ 696464 w 6884782"/>
              <a:gd name="connsiteY28349" fmla="*/ 2846551 h 5973007"/>
              <a:gd name="connsiteX28350" fmla="*/ 706479 w 6884782"/>
              <a:gd name="connsiteY28350" fmla="*/ 2843919 h 5973007"/>
              <a:gd name="connsiteX28351" fmla="*/ 712985 w 6884782"/>
              <a:gd name="connsiteY28351" fmla="*/ 2844383 h 5973007"/>
              <a:gd name="connsiteX28352" fmla="*/ 712675 w 6884782"/>
              <a:gd name="connsiteY28352" fmla="*/ 2841905 h 5973007"/>
              <a:gd name="connsiteX28353" fmla="*/ 721555 w 6884782"/>
              <a:gd name="connsiteY28353" fmla="*/ 2829513 h 5973007"/>
              <a:gd name="connsiteX28354" fmla="*/ 727957 w 6884782"/>
              <a:gd name="connsiteY28354" fmla="*/ 2831062 h 5973007"/>
              <a:gd name="connsiteX28355" fmla="*/ 738282 w 6884782"/>
              <a:gd name="connsiteY28355" fmla="*/ 2846551 h 5973007"/>
              <a:gd name="connsiteX28356" fmla="*/ 728060 w 6884782"/>
              <a:gd name="connsiteY28356" fmla="*/ 2854606 h 5973007"/>
              <a:gd name="connsiteX28357" fmla="*/ 719799 w 6884782"/>
              <a:gd name="connsiteY28357" fmla="*/ 2855071 h 5973007"/>
              <a:gd name="connsiteX28358" fmla="*/ 715669 w 6884782"/>
              <a:gd name="connsiteY28358" fmla="*/ 2859253 h 5973007"/>
              <a:gd name="connsiteX28359" fmla="*/ 716289 w 6884782"/>
              <a:gd name="connsiteY28359" fmla="*/ 2861731 h 5973007"/>
              <a:gd name="connsiteX28360" fmla="*/ 713914 w 6884782"/>
              <a:gd name="connsiteY28360" fmla="*/ 2865449 h 5973007"/>
              <a:gd name="connsiteX28361" fmla="*/ 712985 w 6884782"/>
              <a:gd name="connsiteY28361" fmla="*/ 2865139 h 5973007"/>
              <a:gd name="connsiteX28362" fmla="*/ 712881 w 6884782"/>
              <a:gd name="connsiteY28362" fmla="*/ 2866223 h 5973007"/>
              <a:gd name="connsiteX28363" fmla="*/ 711229 w 6884782"/>
              <a:gd name="connsiteY28363" fmla="*/ 2868857 h 5973007"/>
              <a:gd name="connsiteX28364" fmla="*/ 699871 w 6884782"/>
              <a:gd name="connsiteY28364" fmla="*/ 2871025 h 5973007"/>
              <a:gd name="connsiteX28365" fmla="*/ 695947 w 6884782"/>
              <a:gd name="connsiteY28365" fmla="*/ 2863590 h 5973007"/>
              <a:gd name="connsiteX28366" fmla="*/ 695947 w 6884782"/>
              <a:gd name="connsiteY28366" fmla="*/ 2864519 h 5973007"/>
              <a:gd name="connsiteX28367" fmla="*/ 683453 w 6884782"/>
              <a:gd name="connsiteY28367" fmla="*/ 2873504 h 5973007"/>
              <a:gd name="connsiteX28368" fmla="*/ 684383 w 6884782"/>
              <a:gd name="connsiteY28368" fmla="*/ 2870870 h 5973007"/>
              <a:gd name="connsiteX28369" fmla="*/ 685312 w 6884782"/>
              <a:gd name="connsiteY28369" fmla="*/ 2870096 h 5973007"/>
              <a:gd name="connsiteX28370" fmla="*/ 685415 w 6884782"/>
              <a:gd name="connsiteY28370" fmla="*/ 2869786 h 5973007"/>
              <a:gd name="connsiteX28371" fmla="*/ 682730 w 6884782"/>
              <a:gd name="connsiteY28371" fmla="*/ 2871490 h 5973007"/>
              <a:gd name="connsiteX28372" fmla="*/ 677671 w 6884782"/>
              <a:gd name="connsiteY28372" fmla="*/ 2869166 h 5973007"/>
              <a:gd name="connsiteX28373" fmla="*/ 693572 w 6884782"/>
              <a:gd name="connsiteY28373" fmla="*/ 2860182 h 5973007"/>
              <a:gd name="connsiteX28374" fmla="*/ 696154 w 6884782"/>
              <a:gd name="connsiteY28374" fmla="*/ 2858478 h 5973007"/>
              <a:gd name="connsiteX28375" fmla="*/ 697806 w 6884782"/>
              <a:gd name="connsiteY28375" fmla="*/ 2860182 h 5973007"/>
              <a:gd name="connsiteX28376" fmla="*/ 699355 w 6884782"/>
              <a:gd name="connsiteY28376" fmla="*/ 2858788 h 5973007"/>
              <a:gd name="connsiteX28377" fmla="*/ 695225 w 6884782"/>
              <a:gd name="connsiteY28377" fmla="*/ 2857394 h 5973007"/>
              <a:gd name="connsiteX28378" fmla="*/ 693469 w 6884782"/>
              <a:gd name="connsiteY28378" fmla="*/ 2855536 h 5973007"/>
              <a:gd name="connsiteX28379" fmla="*/ 692643 w 6884782"/>
              <a:gd name="connsiteY28379" fmla="*/ 2855690 h 5973007"/>
              <a:gd name="connsiteX28380" fmla="*/ 682730 w 6884782"/>
              <a:gd name="connsiteY28380" fmla="*/ 2854296 h 5973007"/>
              <a:gd name="connsiteX28381" fmla="*/ 684073 w 6884782"/>
              <a:gd name="connsiteY28381" fmla="*/ 2848410 h 5973007"/>
              <a:gd name="connsiteX28382" fmla="*/ 685312 w 6884782"/>
              <a:gd name="connsiteY28382" fmla="*/ 2845467 h 5973007"/>
              <a:gd name="connsiteX28383" fmla="*/ 681801 w 6884782"/>
              <a:gd name="connsiteY28383" fmla="*/ 2844228 h 5973007"/>
              <a:gd name="connsiteX28384" fmla="*/ 679839 w 6884782"/>
              <a:gd name="connsiteY28384" fmla="*/ 2840665 h 5973007"/>
              <a:gd name="connsiteX28385" fmla="*/ 683247 w 6884782"/>
              <a:gd name="connsiteY28385" fmla="*/ 2839271 h 5973007"/>
              <a:gd name="connsiteX28386" fmla="*/ 687274 w 6884782"/>
              <a:gd name="connsiteY28386" fmla="*/ 2841285 h 5973007"/>
              <a:gd name="connsiteX28387" fmla="*/ 687377 w 6884782"/>
              <a:gd name="connsiteY28387" fmla="*/ 2841595 h 5973007"/>
              <a:gd name="connsiteX28388" fmla="*/ 691197 w 6884782"/>
              <a:gd name="connsiteY28388" fmla="*/ 2835244 h 5973007"/>
              <a:gd name="connsiteX28389" fmla="*/ 688513 w 6884782"/>
              <a:gd name="connsiteY28389" fmla="*/ 2832610 h 5973007"/>
              <a:gd name="connsiteX28390" fmla="*/ 687170 w 6884782"/>
              <a:gd name="connsiteY28390" fmla="*/ 2827964 h 5973007"/>
              <a:gd name="connsiteX28391" fmla="*/ 879124 w 6884782"/>
              <a:gd name="connsiteY28391" fmla="*/ 2823317 h 5973007"/>
              <a:gd name="connsiteX28392" fmla="*/ 884080 w 6884782"/>
              <a:gd name="connsiteY28392" fmla="*/ 2824556 h 5973007"/>
              <a:gd name="connsiteX28393" fmla="*/ 879330 w 6884782"/>
              <a:gd name="connsiteY28393" fmla="*/ 2828738 h 5973007"/>
              <a:gd name="connsiteX28394" fmla="*/ 877471 w 6884782"/>
              <a:gd name="connsiteY28394" fmla="*/ 2825950 h 5973007"/>
              <a:gd name="connsiteX28395" fmla="*/ 879124 w 6884782"/>
              <a:gd name="connsiteY28395" fmla="*/ 2823317 h 5973007"/>
              <a:gd name="connsiteX28396" fmla="*/ 6349878 w 6884782"/>
              <a:gd name="connsiteY28396" fmla="*/ 2822899 h 5973007"/>
              <a:gd name="connsiteX28397" fmla="*/ 6349317 w 6884782"/>
              <a:gd name="connsiteY28397" fmla="*/ 2823522 h 5973007"/>
              <a:gd name="connsiteX28398" fmla="*/ 6346497 w 6884782"/>
              <a:gd name="connsiteY28398" fmla="*/ 2837111 h 5973007"/>
              <a:gd name="connsiteX28399" fmla="*/ 6346463 w 6884782"/>
              <a:gd name="connsiteY28399" fmla="*/ 2837695 h 5973007"/>
              <a:gd name="connsiteX28400" fmla="*/ 6350305 w 6884782"/>
              <a:gd name="connsiteY28400" fmla="*/ 2842959 h 5973007"/>
              <a:gd name="connsiteX28401" fmla="*/ 6352012 w 6884782"/>
              <a:gd name="connsiteY28401" fmla="*/ 2828021 h 5973007"/>
              <a:gd name="connsiteX28402" fmla="*/ 6356707 w 6884782"/>
              <a:gd name="connsiteY28402" fmla="*/ 2845093 h 5973007"/>
              <a:gd name="connsiteX28403" fmla="*/ 6353506 w 6884782"/>
              <a:gd name="connsiteY28403" fmla="*/ 2856332 h 5973007"/>
              <a:gd name="connsiteX28404" fmla="*/ 6348064 w 6884782"/>
              <a:gd name="connsiteY28404" fmla="*/ 2852349 h 5973007"/>
              <a:gd name="connsiteX28405" fmla="*/ 6344268 w 6884782"/>
              <a:gd name="connsiteY28405" fmla="*/ 2847851 h 5973007"/>
              <a:gd name="connsiteX28406" fmla="*/ 6342424 w 6884782"/>
              <a:gd name="connsiteY28406" fmla="*/ 2856738 h 5973007"/>
              <a:gd name="connsiteX28407" fmla="*/ 6344116 w 6884782"/>
              <a:gd name="connsiteY28407" fmla="*/ 2861454 h 5973007"/>
              <a:gd name="connsiteX28408" fmla="*/ 6345610 w 6884782"/>
              <a:gd name="connsiteY28408" fmla="*/ 2864584 h 5973007"/>
              <a:gd name="connsiteX28409" fmla="*/ 6346463 w 6884782"/>
              <a:gd name="connsiteY28409" fmla="*/ 2866006 h 5973007"/>
              <a:gd name="connsiteX28410" fmla="*/ 6347317 w 6884782"/>
              <a:gd name="connsiteY28410" fmla="*/ 2867429 h 5973007"/>
              <a:gd name="connsiteX28411" fmla="*/ 6351159 w 6884782"/>
              <a:gd name="connsiteY28411" fmla="*/ 2869705 h 5973007"/>
              <a:gd name="connsiteX28412" fmla="*/ 6362256 w 6884782"/>
              <a:gd name="connsiteY28412" fmla="*/ 2883932 h 5973007"/>
              <a:gd name="connsiteX28413" fmla="*/ 6365244 w 6884782"/>
              <a:gd name="connsiteY28413" fmla="*/ 2896594 h 5973007"/>
              <a:gd name="connsiteX28414" fmla="*/ 6365244 w 6884782"/>
              <a:gd name="connsiteY28414" fmla="*/ 2900435 h 5973007"/>
              <a:gd name="connsiteX28415" fmla="*/ 6368873 w 6884782"/>
              <a:gd name="connsiteY28415" fmla="*/ 2897021 h 5973007"/>
              <a:gd name="connsiteX28416" fmla="*/ 6382318 w 6884782"/>
              <a:gd name="connsiteY28416" fmla="*/ 2903850 h 5973007"/>
              <a:gd name="connsiteX28417" fmla="*/ 6387227 w 6884782"/>
              <a:gd name="connsiteY28417" fmla="*/ 2905984 h 5973007"/>
              <a:gd name="connsiteX28418" fmla="*/ 6385092 w 6884782"/>
              <a:gd name="connsiteY28418" fmla="*/ 2898017 h 5973007"/>
              <a:gd name="connsiteX28419" fmla="*/ 6379544 w 6884782"/>
              <a:gd name="connsiteY28419" fmla="*/ 2886778 h 5973007"/>
              <a:gd name="connsiteX28420" fmla="*/ 6370153 w 6884782"/>
              <a:gd name="connsiteY28420" fmla="*/ 2855620 h 5973007"/>
              <a:gd name="connsiteX28421" fmla="*/ 6360549 w 6884782"/>
              <a:gd name="connsiteY28421" fmla="*/ 2839402 h 5973007"/>
              <a:gd name="connsiteX28422" fmla="*/ 832659 w 6884782"/>
              <a:gd name="connsiteY28422" fmla="*/ 2821148 h 5973007"/>
              <a:gd name="connsiteX28423" fmla="*/ 835653 w 6884782"/>
              <a:gd name="connsiteY28423" fmla="*/ 2826260 h 5973007"/>
              <a:gd name="connsiteX28424" fmla="*/ 832968 w 6884782"/>
              <a:gd name="connsiteY28424" fmla="*/ 2826415 h 5973007"/>
              <a:gd name="connsiteX28425" fmla="*/ 832556 w 6884782"/>
              <a:gd name="connsiteY28425" fmla="*/ 2823936 h 5973007"/>
              <a:gd name="connsiteX28426" fmla="*/ 832659 w 6884782"/>
              <a:gd name="connsiteY28426" fmla="*/ 2821148 h 5973007"/>
              <a:gd name="connsiteX28427" fmla="*/ 825740 w 6884782"/>
              <a:gd name="connsiteY28427" fmla="*/ 2820219 h 5973007"/>
              <a:gd name="connsiteX28428" fmla="*/ 828528 w 6884782"/>
              <a:gd name="connsiteY28428" fmla="*/ 2824711 h 5973007"/>
              <a:gd name="connsiteX28429" fmla="*/ 822023 w 6884782"/>
              <a:gd name="connsiteY28429" fmla="*/ 2825176 h 5973007"/>
              <a:gd name="connsiteX28430" fmla="*/ 821817 w 6884782"/>
              <a:gd name="connsiteY28430" fmla="*/ 2823317 h 5973007"/>
              <a:gd name="connsiteX28431" fmla="*/ 823262 w 6884782"/>
              <a:gd name="connsiteY28431" fmla="*/ 2820993 h 5973007"/>
              <a:gd name="connsiteX28432" fmla="*/ 825740 w 6884782"/>
              <a:gd name="connsiteY28432" fmla="*/ 2820219 h 5973007"/>
              <a:gd name="connsiteX28433" fmla="*/ 6485305 w 6884782"/>
              <a:gd name="connsiteY28433" fmla="*/ 2819373 h 5973007"/>
              <a:gd name="connsiteX28434" fmla="*/ 6499400 w 6884782"/>
              <a:gd name="connsiteY28434" fmla="*/ 2822574 h 5973007"/>
              <a:gd name="connsiteX28435" fmla="*/ 6470745 w 6884782"/>
              <a:gd name="connsiteY28435" fmla="*/ 2849318 h 5973007"/>
              <a:gd name="connsiteX28436" fmla="*/ 6465787 w 6884782"/>
              <a:gd name="connsiteY28436" fmla="*/ 2848905 h 5973007"/>
              <a:gd name="connsiteX28437" fmla="*/ 6485305 w 6884782"/>
              <a:gd name="connsiteY28437" fmla="*/ 2819373 h 5973007"/>
              <a:gd name="connsiteX28438" fmla="*/ 693366 w 6884782"/>
              <a:gd name="connsiteY28438" fmla="*/ 2818399 h 5973007"/>
              <a:gd name="connsiteX28439" fmla="*/ 702969 w 6884782"/>
              <a:gd name="connsiteY28439" fmla="*/ 2819599 h 5973007"/>
              <a:gd name="connsiteX28440" fmla="*/ 699045 w 6884782"/>
              <a:gd name="connsiteY28440" fmla="*/ 2821613 h 5973007"/>
              <a:gd name="connsiteX28441" fmla="*/ 700491 w 6884782"/>
              <a:gd name="connsiteY28441" fmla="*/ 2821458 h 5973007"/>
              <a:gd name="connsiteX28442" fmla="*/ 703485 w 6884782"/>
              <a:gd name="connsiteY28442" fmla="*/ 2824401 h 5973007"/>
              <a:gd name="connsiteX28443" fmla="*/ 696773 w 6884782"/>
              <a:gd name="connsiteY28443" fmla="*/ 2828738 h 5973007"/>
              <a:gd name="connsiteX28444" fmla="*/ 694708 w 6884782"/>
              <a:gd name="connsiteY28444" fmla="*/ 2827190 h 5973007"/>
              <a:gd name="connsiteX28445" fmla="*/ 695637 w 6884782"/>
              <a:gd name="connsiteY28445" fmla="*/ 2824091 h 5973007"/>
              <a:gd name="connsiteX28446" fmla="*/ 696980 w 6884782"/>
              <a:gd name="connsiteY28446" fmla="*/ 2822543 h 5973007"/>
              <a:gd name="connsiteX28447" fmla="*/ 693159 w 6884782"/>
              <a:gd name="connsiteY28447" fmla="*/ 2824247 h 5973007"/>
              <a:gd name="connsiteX28448" fmla="*/ 682833 w 6884782"/>
              <a:gd name="connsiteY28448" fmla="*/ 2823007 h 5973007"/>
              <a:gd name="connsiteX28449" fmla="*/ 693366 w 6884782"/>
              <a:gd name="connsiteY28449" fmla="*/ 2818399 h 5973007"/>
              <a:gd name="connsiteX28450" fmla="*/ 921562 w 6884782"/>
              <a:gd name="connsiteY28450" fmla="*/ 2818205 h 5973007"/>
              <a:gd name="connsiteX28451" fmla="*/ 922078 w 6884782"/>
              <a:gd name="connsiteY28451" fmla="*/ 2820684 h 5973007"/>
              <a:gd name="connsiteX28452" fmla="*/ 920013 w 6884782"/>
              <a:gd name="connsiteY28452" fmla="*/ 2822233 h 5973007"/>
              <a:gd name="connsiteX28453" fmla="*/ 918878 w 6884782"/>
              <a:gd name="connsiteY28453" fmla="*/ 2823936 h 5973007"/>
              <a:gd name="connsiteX28454" fmla="*/ 916193 w 6884782"/>
              <a:gd name="connsiteY28454" fmla="*/ 2823782 h 5973007"/>
              <a:gd name="connsiteX28455" fmla="*/ 917329 w 6884782"/>
              <a:gd name="connsiteY28455" fmla="*/ 2822078 h 5973007"/>
              <a:gd name="connsiteX28456" fmla="*/ 921562 w 6884782"/>
              <a:gd name="connsiteY28456" fmla="*/ 2818205 h 5973007"/>
              <a:gd name="connsiteX28457" fmla="*/ 396917 w 6884782"/>
              <a:gd name="connsiteY28457" fmla="*/ 2815882 h 5973007"/>
              <a:gd name="connsiteX28458" fmla="*/ 398259 w 6884782"/>
              <a:gd name="connsiteY28458" fmla="*/ 2816346 h 5973007"/>
              <a:gd name="connsiteX28459" fmla="*/ 399912 w 6884782"/>
              <a:gd name="connsiteY28459" fmla="*/ 2817741 h 5973007"/>
              <a:gd name="connsiteX28460" fmla="*/ 397020 w 6884782"/>
              <a:gd name="connsiteY28460" fmla="*/ 2820684 h 5973007"/>
              <a:gd name="connsiteX28461" fmla="*/ 394232 w 6884782"/>
              <a:gd name="connsiteY28461" fmla="*/ 2819909 h 5973007"/>
              <a:gd name="connsiteX28462" fmla="*/ 393819 w 6884782"/>
              <a:gd name="connsiteY28462" fmla="*/ 2818515 h 5973007"/>
              <a:gd name="connsiteX28463" fmla="*/ 394852 w 6884782"/>
              <a:gd name="connsiteY28463" fmla="*/ 2817431 h 5973007"/>
              <a:gd name="connsiteX28464" fmla="*/ 396917 w 6884782"/>
              <a:gd name="connsiteY28464" fmla="*/ 2815882 h 5973007"/>
              <a:gd name="connsiteX28465" fmla="*/ 379157 w 6884782"/>
              <a:gd name="connsiteY28465" fmla="*/ 2815727 h 5973007"/>
              <a:gd name="connsiteX28466" fmla="*/ 386901 w 6884782"/>
              <a:gd name="connsiteY28466" fmla="*/ 2821303 h 5973007"/>
              <a:gd name="connsiteX28467" fmla="*/ 376782 w 6884782"/>
              <a:gd name="connsiteY28467" fmla="*/ 2819754 h 5973007"/>
              <a:gd name="connsiteX28468" fmla="*/ 379157 w 6884782"/>
              <a:gd name="connsiteY28468" fmla="*/ 2815727 h 5973007"/>
              <a:gd name="connsiteX28469" fmla="*/ 568529 w 6884782"/>
              <a:gd name="connsiteY28469" fmla="*/ 2814798 h 5973007"/>
              <a:gd name="connsiteX28470" fmla="*/ 569149 w 6884782"/>
              <a:gd name="connsiteY28470" fmla="*/ 2819754 h 5973007"/>
              <a:gd name="connsiteX28471" fmla="*/ 568942 w 6884782"/>
              <a:gd name="connsiteY28471" fmla="*/ 2823936 h 5973007"/>
              <a:gd name="connsiteX28472" fmla="*/ 564812 w 6884782"/>
              <a:gd name="connsiteY28472" fmla="*/ 2837412 h 5973007"/>
              <a:gd name="connsiteX28473" fmla="*/ 564089 w 6884782"/>
              <a:gd name="connsiteY28473" fmla="*/ 2831681 h 5973007"/>
              <a:gd name="connsiteX28474" fmla="*/ 564812 w 6884782"/>
              <a:gd name="connsiteY28474" fmla="*/ 2818360 h 5973007"/>
              <a:gd name="connsiteX28475" fmla="*/ 566670 w 6884782"/>
              <a:gd name="connsiteY28475" fmla="*/ 2816502 h 5973007"/>
              <a:gd name="connsiteX28476" fmla="*/ 566670 w 6884782"/>
              <a:gd name="connsiteY28476" fmla="*/ 2815727 h 5973007"/>
              <a:gd name="connsiteX28477" fmla="*/ 568529 w 6884782"/>
              <a:gd name="connsiteY28477" fmla="*/ 2814798 h 5973007"/>
              <a:gd name="connsiteX28478" fmla="*/ 917535 w 6884782"/>
              <a:gd name="connsiteY28478" fmla="*/ 2811080 h 5973007"/>
              <a:gd name="connsiteX28479" fmla="*/ 919187 w 6884782"/>
              <a:gd name="connsiteY28479" fmla="*/ 2811235 h 5973007"/>
              <a:gd name="connsiteX28480" fmla="*/ 916606 w 6884782"/>
              <a:gd name="connsiteY28480" fmla="*/ 2816346 h 5973007"/>
              <a:gd name="connsiteX28481" fmla="*/ 914024 w 6884782"/>
              <a:gd name="connsiteY28481" fmla="*/ 2817121 h 5973007"/>
              <a:gd name="connsiteX28482" fmla="*/ 914024 w 6884782"/>
              <a:gd name="connsiteY28482" fmla="*/ 2815417 h 5973007"/>
              <a:gd name="connsiteX28483" fmla="*/ 914437 w 6884782"/>
              <a:gd name="connsiteY28483" fmla="*/ 2814488 h 5973007"/>
              <a:gd name="connsiteX28484" fmla="*/ 916296 w 6884782"/>
              <a:gd name="connsiteY28484" fmla="*/ 2813714 h 5973007"/>
              <a:gd name="connsiteX28485" fmla="*/ 917535 w 6884782"/>
              <a:gd name="connsiteY28485" fmla="*/ 2811080 h 5973007"/>
              <a:gd name="connsiteX28486" fmla="*/ 941904 w 6884782"/>
              <a:gd name="connsiteY28486" fmla="*/ 2807208 h 5973007"/>
              <a:gd name="connsiteX28487" fmla="*/ 941490 w 6884782"/>
              <a:gd name="connsiteY28487" fmla="*/ 2808292 h 5973007"/>
              <a:gd name="connsiteX28488" fmla="*/ 942007 w 6884782"/>
              <a:gd name="connsiteY28488" fmla="*/ 2808757 h 5973007"/>
              <a:gd name="connsiteX28489" fmla="*/ 663422 w 6884782"/>
              <a:gd name="connsiteY28489" fmla="*/ 2806743 h 5973007"/>
              <a:gd name="connsiteX28490" fmla="*/ 671372 w 6884782"/>
              <a:gd name="connsiteY28490" fmla="*/ 2808292 h 5973007"/>
              <a:gd name="connsiteX28491" fmla="*/ 673954 w 6884782"/>
              <a:gd name="connsiteY28491" fmla="*/ 2812784 h 5973007"/>
              <a:gd name="connsiteX28492" fmla="*/ 672095 w 6884782"/>
              <a:gd name="connsiteY28492" fmla="*/ 2820219 h 5973007"/>
              <a:gd name="connsiteX28493" fmla="*/ 667758 w 6884782"/>
              <a:gd name="connsiteY28493" fmla="*/ 2818825 h 5973007"/>
              <a:gd name="connsiteX28494" fmla="*/ 663422 w 6884782"/>
              <a:gd name="connsiteY28494" fmla="*/ 2806743 h 5973007"/>
              <a:gd name="connsiteX28495" fmla="*/ 1191577 w 6884782"/>
              <a:gd name="connsiteY28495" fmla="*/ 2806433 h 5973007"/>
              <a:gd name="connsiteX28496" fmla="*/ 1191577 w 6884782"/>
              <a:gd name="connsiteY28496" fmla="*/ 2806743 h 5973007"/>
              <a:gd name="connsiteX28497" fmla="*/ 1193642 w 6884782"/>
              <a:gd name="connsiteY28497" fmla="*/ 2811080 h 5973007"/>
              <a:gd name="connsiteX28498" fmla="*/ 1198186 w 6884782"/>
              <a:gd name="connsiteY28498" fmla="*/ 2810770 h 5973007"/>
              <a:gd name="connsiteX28499" fmla="*/ 1198599 w 6884782"/>
              <a:gd name="connsiteY28499" fmla="*/ 2809996 h 5973007"/>
              <a:gd name="connsiteX28500" fmla="*/ 538688 w 6884782"/>
              <a:gd name="connsiteY28500" fmla="*/ 2804420 h 5973007"/>
              <a:gd name="connsiteX28501" fmla="*/ 542095 w 6884782"/>
              <a:gd name="connsiteY28501" fmla="*/ 2806278 h 5973007"/>
              <a:gd name="connsiteX28502" fmla="*/ 542921 w 6884782"/>
              <a:gd name="connsiteY28502" fmla="*/ 2808912 h 5973007"/>
              <a:gd name="connsiteX28503" fmla="*/ 540340 w 6884782"/>
              <a:gd name="connsiteY28503" fmla="*/ 2809376 h 5973007"/>
              <a:gd name="connsiteX28504" fmla="*/ 537759 w 6884782"/>
              <a:gd name="connsiteY28504" fmla="*/ 2808292 h 5973007"/>
              <a:gd name="connsiteX28505" fmla="*/ 537346 w 6884782"/>
              <a:gd name="connsiteY28505" fmla="*/ 2806898 h 5973007"/>
              <a:gd name="connsiteX28506" fmla="*/ 537759 w 6884782"/>
              <a:gd name="connsiteY28506" fmla="*/ 2805039 h 5973007"/>
              <a:gd name="connsiteX28507" fmla="*/ 538688 w 6884782"/>
              <a:gd name="connsiteY28507" fmla="*/ 2804420 h 5973007"/>
              <a:gd name="connsiteX28508" fmla="*/ 722691 w 6884782"/>
              <a:gd name="connsiteY28508" fmla="*/ 2804110 h 5973007"/>
              <a:gd name="connsiteX28509" fmla="*/ 726408 w 6884782"/>
              <a:gd name="connsiteY28509" fmla="*/ 2804575 h 5973007"/>
              <a:gd name="connsiteX28510" fmla="*/ 732396 w 6884782"/>
              <a:gd name="connsiteY28510" fmla="*/ 2804884 h 5973007"/>
              <a:gd name="connsiteX28511" fmla="*/ 732603 w 6884782"/>
              <a:gd name="connsiteY28511" fmla="*/ 2809066 h 5973007"/>
              <a:gd name="connsiteX28512" fmla="*/ 716392 w 6884782"/>
              <a:gd name="connsiteY28512" fmla="*/ 2813094 h 5973007"/>
              <a:gd name="connsiteX28513" fmla="*/ 715153 w 6884782"/>
              <a:gd name="connsiteY28513" fmla="*/ 2810151 h 5973007"/>
              <a:gd name="connsiteX28514" fmla="*/ 719283 w 6884782"/>
              <a:gd name="connsiteY28514" fmla="*/ 2805814 h 5973007"/>
              <a:gd name="connsiteX28515" fmla="*/ 722691 w 6884782"/>
              <a:gd name="connsiteY28515" fmla="*/ 2804110 h 5973007"/>
              <a:gd name="connsiteX28516" fmla="*/ 881086 w 6884782"/>
              <a:gd name="connsiteY28516" fmla="*/ 2803181 h 5973007"/>
              <a:gd name="connsiteX28517" fmla="*/ 888933 w 6884782"/>
              <a:gd name="connsiteY28517" fmla="*/ 2814798 h 5973007"/>
              <a:gd name="connsiteX28518" fmla="*/ 883977 w 6884782"/>
              <a:gd name="connsiteY28518" fmla="*/ 2816811 h 5973007"/>
              <a:gd name="connsiteX28519" fmla="*/ 879433 w 6884782"/>
              <a:gd name="connsiteY28519" fmla="*/ 2806123 h 5973007"/>
              <a:gd name="connsiteX28520" fmla="*/ 881086 w 6884782"/>
              <a:gd name="connsiteY28520" fmla="*/ 2803181 h 5973007"/>
              <a:gd name="connsiteX28521" fmla="*/ 695225 w 6884782"/>
              <a:gd name="connsiteY28521" fmla="*/ 2802096 h 5973007"/>
              <a:gd name="connsiteX28522" fmla="*/ 699871 w 6884782"/>
              <a:gd name="connsiteY28522" fmla="*/ 2808602 h 5973007"/>
              <a:gd name="connsiteX28523" fmla="*/ 686861 w 6884782"/>
              <a:gd name="connsiteY28523" fmla="*/ 2815262 h 5973007"/>
              <a:gd name="connsiteX28524" fmla="*/ 683453 w 6884782"/>
              <a:gd name="connsiteY28524" fmla="*/ 2811080 h 5973007"/>
              <a:gd name="connsiteX28525" fmla="*/ 695225 w 6884782"/>
              <a:gd name="connsiteY28525" fmla="*/ 2802096 h 5973007"/>
              <a:gd name="connsiteX28526" fmla="*/ 1352554 w 6884782"/>
              <a:gd name="connsiteY28526" fmla="*/ 2801632 h 5973007"/>
              <a:gd name="connsiteX28527" fmla="*/ 1356890 w 6884782"/>
              <a:gd name="connsiteY28527" fmla="*/ 2802871 h 5973007"/>
              <a:gd name="connsiteX28528" fmla="*/ 1358542 w 6884782"/>
              <a:gd name="connsiteY28528" fmla="*/ 2805968 h 5973007"/>
              <a:gd name="connsiteX28529" fmla="*/ 1352554 w 6884782"/>
              <a:gd name="connsiteY28529" fmla="*/ 2801632 h 5973007"/>
              <a:gd name="connsiteX28530" fmla="*/ 518966 w 6884782"/>
              <a:gd name="connsiteY28530" fmla="*/ 2801012 h 5973007"/>
              <a:gd name="connsiteX28531" fmla="*/ 529498 w 6884782"/>
              <a:gd name="connsiteY28531" fmla="*/ 2809841 h 5973007"/>
              <a:gd name="connsiteX28532" fmla="*/ 522786 w 6884782"/>
              <a:gd name="connsiteY28532" fmla="*/ 2813249 h 5973007"/>
              <a:gd name="connsiteX28533" fmla="*/ 518759 w 6884782"/>
              <a:gd name="connsiteY28533" fmla="*/ 2804420 h 5973007"/>
              <a:gd name="connsiteX28534" fmla="*/ 518966 w 6884782"/>
              <a:gd name="connsiteY28534" fmla="*/ 2801012 h 5973007"/>
              <a:gd name="connsiteX28535" fmla="*/ 466202 w 6884782"/>
              <a:gd name="connsiteY28535" fmla="*/ 2801012 h 5973007"/>
              <a:gd name="connsiteX28536" fmla="*/ 472604 w 6884782"/>
              <a:gd name="connsiteY28536" fmla="*/ 2801477 h 5973007"/>
              <a:gd name="connsiteX28537" fmla="*/ 468267 w 6884782"/>
              <a:gd name="connsiteY28537" fmla="*/ 2810925 h 5973007"/>
              <a:gd name="connsiteX28538" fmla="*/ 464137 w 6884782"/>
              <a:gd name="connsiteY28538" fmla="*/ 2806588 h 5973007"/>
              <a:gd name="connsiteX28539" fmla="*/ 466202 w 6884782"/>
              <a:gd name="connsiteY28539" fmla="*/ 2801012 h 5973007"/>
              <a:gd name="connsiteX28540" fmla="*/ 1080473 w 6884782"/>
              <a:gd name="connsiteY28540" fmla="*/ 2800237 h 5973007"/>
              <a:gd name="connsiteX28541" fmla="*/ 1080887 w 6884782"/>
              <a:gd name="connsiteY28541" fmla="*/ 2800702 h 5973007"/>
              <a:gd name="connsiteX28542" fmla="*/ 1081402 w 6884782"/>
              <a:gd name="connsiteY28542" fmla="*/ 2800237 h 5973007"/>
              <a:gd name="connsiteX28543" fmla="*/ 1349869 w 6884782"/>
              <a:gd name="connsiteY28543" fmla="*/ 2799463 h 5973007"/>
              <a:gd name="connsiteX28544" fmla="*/ 1350488 w 6884782"/>
              <a:gd name="connsiteY28544" fmla="*/ 2799618 h 5973007"/>
              <a:gd name="connsiteX28545" fmla="*/ 1352450 w 6884782"/>
              <a:gd name="connsiteY28545" fmla="*/ 2801632 h 5973007"/>
              <a:gd name="connsiteX28546" fmla="*/ 1349353 w 6884782"/>
              <a:gd name="connsiteY28546" fmla="*/ 2801012 h 5973007"/>
              <a:gd name="connsiteX28547" fmla="*/ 1349765 w 6884782"/>
              <a:gd name="connsiteY28547" fmla="*/ 2799928 h 5973007"/>
              <a:gd name="connsiteX28548" fmla="*/ 1348940 w 6884782"/>
              <a:gd name="connsiteY28548" fmla="*/ 2800237 h 5973007"/>
              <a:gd name="connsiteX28549" fmla="*/ 1349869 w 6884782"/>
              <a:gd name="connsiteY28549" fmla="*/ 2799463 h 5973007"/>
              <a:gd name="connsiteX28550" fmla="*/ 1180116 w 6884782"/>
              <a:gd name="connsiteY28550" fmla="*/ 2797914 h 5973007"/>
              <a:gd name="connsiteX28551" fmla="*/ 1178567 w 6884782"/>
              <a:gd name="connsiteY28551" fmla="*/ 2799463 h 5973007"/>
              <a:gd name="connsiteX28552" fmla="*/ 1175779 w 6884782"/>
              <a:gd name="connsiteY28552" fmla="*/ 2800237 h 5973007"/>
              <a:gd name="connsiteX28553" fmla="*/ 1181458 w 6884782"/>
              <a:gd name="connsiteY28553" fmla="*/ 2801786 h 5973007"/>
              <a:gd name="connsiteX28554" fmla="*/ 1187034 w 6884782"/>
              <a:gd name="connsiteY28554" fmla="*/ 2802406 h 5973007"/>
              <a:gd name="connsiteX28555" fmla="*/ 1189408 w 6884782"/>
              <a:gd name="connsiteY28555" fmla="*/ 2802251 h 5973007"/>
              <a:gd name="connsiteX28556" fmla="*/ 1189099 w 6884782"/>
              <a:gd name="connsiteY28556" fmla="*/ 2800857 h 5973007"/>
              <a:gd name="connsiteX28557" fmla="*/ 1182181 w 6884782"/>
              <a:gd name="connsiteY28557" fmla="*/ 2798843 h 5973007"/>
              <a:gd name="connsiteX28558" fmla="*/ 648243 w 6884782"/>
              <a:gd name="connsiteY28558" fmla="*/ 2796055 h 5973007"/>
              <a:gd name="connsiteX28559" fmla="*/ 647107 w 6884782"/>
              <a:gd name="connsiteY28559" fmla="*/ 2807363 h 5973007"/>
              <a:gd name="connsiteX28560" fmla="*/ 625114 w 6884782"/>
              <a:gd name="connsiteY28560" fmla="*/ 2805814 h 5973007"/>
              <a:gd name="connsiteX28561" fmla="*/ 634406 w 6884782"/>
              <a:gd name="connsiteY28561" fmla="*/ 2798843 h 5973007"/>
              <a:gd name="connsiteX28562" fmla="*/ 648243 w 6884782"/>
              <a:gd name="connsiteY28562" fmla="*/ 2796055 h 5973007"/>
              <a:gd name="connsiteX28563" fmla="*/ 837822 w 6884782"/>
              <a:gd name="connsiteY28563" fmla="*/ 2794197 h 5973007"/>
              <a:gd name="connsiteX28564" fmla="*/ 840712 w 6884782"/>
              <a:gd name="connsiteY28564" fmla="*/ 2797914 h 5973007"/>
              <a:gd name="connsiteX28565" fmla="*/ 841435 w 6884782"/>
              <a:gd name="connsiteY28565" fmla="*/ 2799618 h 5973007"/>
              <a:gd name="connsiteX28566" fmla="*/ 842055 w 6884782"/>
              <a:gd name="connsiteY28566" fmla="*/ 2800237 h 5973007"/>
              <a:gd name="connsiteX28567" fmla="*/ 842468 w 6884782"/>
              <a:gd name="connsiteY28567" fmla="*/ 2803645 h 5973007"/>
              <a:gd name="connsiteX28568" fmla="*/ 840712 w 6884782"/>
              <a:gd name="connsiteY28568" fmla="*/ 2802561 h 5973007"/>
              <a:gd name="connsiteX28569" fmla="*/ 840093 w 6884782"/>
              <a:gd name="connsiteY28569" fmla="*/ 2801941 h 5973007"/>
              <a:gd name="connsiteX28570" fmla="*/ 836686 w 6884782"/>
              <a:gd name="connsiteY28570" fmla="*/ 2801012 h 5973007"/>
              <a:gd name="connsiteX28571" fmla="*/ 812936 w 6884782"/>
              <a:gd name="connsiteY28571" fmla="*/ 2803025 h 5973007"/>
              <a:gd name="connsiteX28572" fmla="*/ 823365 w 6884782"/>
              <a:gd name="connsiteY28572" fmla="*/ 2796365 h 5973007"/>
              <a:gd name="connsiteX28573" fmla="*/ 837822 w 6884782"/>
              <a:gd name="connsiteY28573" fmla="*/ 2794197 h 5973007"/>
              <a:gd name="connsiteX28574" fmla="*/ 1359678 w 6884782"/>
              <a:gd name="connsiteY28574" fmla="*/ 2793732 h 5973007"/>
              <a:gd name="connsiteX28575" fmla="*/ 1368971 w 6884782"/>
              <a:gd name="connsiteY28575" fmla="*/ 2801321 h 5973007"/>
              <a:gd name="connsiteX28576" fmla="*/ 1365151 w 6884782"/>
              <a:gd name="connsiteY28576" fmla="*/ 2804884 h 5973007"/>
              <a:gd name="connsiteX28577" fmla="*/ 1358542 w 6884782"/>
              <a:gd name="connsiteY28577" fmla="*/ 2797294 h 5973007"/>
              <a:gd name="connsiteX28578" fmla="*/ 1359678 w 6884782"/>
              <a:gd name="connsiteY28578" fmla="*/ 2793732 h 5973007"/>
              <a:gd name="connsiteX28579" fmla="*/ 933436 w 6884782"/>
              <a:gd name="connsiteY28579" fmla="*/ 2792028 h 5973007"/>
              <a:gd name="connsiteX28580" fmla="*/ 937980 w 6884782"/>
              <a:gd name="connsiteY28580" fmla="*/ 2800237 h 5973007"/>
              <a:gd name="connsiteX28581" fmla="*/ 934263 w 6884782"/>
              <a:gd name="connsiteY28581" fmla="*/ 2803025 h 5973007"/>
              <a:gd name="connsiteX28582" fmla="*/ 932094 w 6884782"/>
              <a:gd name="connsiteY28582" fmla="*/ 2802716 h 5973007"/>
              <a:gd name="connsiteX28583" fmla="*/ 932094 w 6884782"/>
              <a:gd name="connsiteY28583" fmla="*/ 2803645 h 5973007"/>
              <a:gd name="connsiteX28584" fmla="*/ 929203 w 6884782"/>
              <a:gd name="connsiteY28584" fmla="*/ 2802716 h 5973007"/>
              <a:gd name="connsiteX28585" fmla="*/ 929306 w 6884782"/>
              <a:gd name="connsiteY28585" fmla="*/ 2803645 h 5973007"/>
              <a:gd name="connsiteX28586" fmla="*/ 925176 w 6884782"/>
              <a:gd name="connsiteY28586" fmla="*/ 2803800 h 5973007"/>
              <a:gd name="connsiteX28587" fmla="*/ 924143 w 6884782"/>
              <a:gd name="connsiteY28587" fmla="*/ 2800857 h 5973007"/>
              <a:gd name="connsiteX28588" fmla="*/ 921872 w 6884782"/>
              <a:gd name="connsiteY28588" fmla="*/ 2800082 h 5973007"/>
              <a:gd name="connsiteX28589" fmla="*/ 915573 w 6884782"/>
              <a:gd name="connsiteY28589" fmla="*/ 2796985 h 5973007"/>
              <a:gd name="connsiteX28590" fmla="*/ 914127 w 6884782"/>
              <a:gd name="connsiteY28590" fmla="*/ 2795436 h 5973007"/>
              <a:gd name="connsiteX28591" fmla="*/ 914747 w 6884782"/>
              <a:gd name="connsiteY28591" fmla="*/ 2793577 h 5973007"/>
              <a:gd name="connsiteX28592" fmla="*/ 926105 w 6884782"/>
              <a:gd name="connsiteY28592" fmla="*/ 2795590 h 5973007"/>
              <a:gd name="connsiteX28593" fmla="*/ 927345 w 6884782"/>
              <a:gd name="connsiteY28593" fmla="*/ 2796830 h 5973007"/>
              <a:gd name="connsiteX28594" fmla="*/ 927241 w 6884782"/>
              <a:gd name="connsiteY28594" fmla="*/ 2794352 h 5973007"/>
              <a:gd name="connsiteX28595" fmla="*/ 933436 w 6884782"/>
              <a:gd name="connsiteY28595" fmla="*/ 2792028 h 5973007"/>
              <a:gd name="connsiteX28596" fmla="*/ 871069 w 6884782"/>
              <a:gd name="connsiteY28596" fmla="*/ 2791099 h 5973007"/>
              <a:gd name="connsiteX28597" fmla="*/ 873445 w 6884782"/>
              <a:gd name="connsiteY28597" fmla="*/ 2791873 h 5973007"/>
              <a:gd name="connsiteX28598" fmla="*/ 867249 w 6884782"/>
              <a:gd name="connsiteY28598" fmla="*/ 2795901 h 5973007"/>
              <a:gd name="connsiteX28599" fmla="*/ 863532 w 6884782"/>
              <a:gd name="connsiteY28599" fmla="*/ 2797914 h 5973007"/>
              <a:gd name="connsiteX28600" fmla="*/ 861157 w 6884782"/>
              <a:gd name="connsiteY28600" fmla="*/ 2797140 h 5973007"/>
              <a:gd name="connsiteX28601" fmla="*/ 860744 w 6884782"/>
              <a:gd name="connsiteY28601" fmla="*/ 2796365 h 5973007"/>
              <a:gd name="connsiteX28602" fmla="*/ 861880 w 6884782"/>
              <a:gd name="connsiteY28602" fmla="*/ 2794971 h 5973007"/>
              <a:gd name="connsiteX28603" fmla="*/ 869521 w 6884782"/>
              <a:gd name="connsiteY28603" fmla="*/ 2791873 h 5973007"/>
              <a:gd name="connsiteX28604" fmla="*/ 871069 w 6884782"/>
              <a:gd name="connsiteY28604" fmla="*/ 2791099 h 5973007"/>
              <a:gd name="connsiteX28605" fmla="*/ 712985 w 6884782"/>
              <a:gd name="connsiteY28605" fmla="*/ 2790479 h 5973007"/>
              <a:gd name="connsiteX28606" fmla="*/ 711229 w 6884782"/>
              <a:gd name="connsiteY28606" fmla="*/ 2793267 h 5973007"/>
              <a:gd name="connsiteX28607" fmla="*/ 708544 w 6884782"/>
              <a:gd name="connsiteY28607" fmla="*/ 2792493 h 5973007"/>
              <a:gd name="connsiteX28608" fmla="*/ 710713 w 6884782"/>
              <a:gd name="connsiteY28608" fmla="*/ 2791099 h 5973007"/>
              <a:gd name="connsiteX28609" fmla="*/ 712985 w 6884782"/>
              <a:gd name="connsiteY28609" fmla="*/ 2790479 h 5973007"/>
              <a:gd name="connsiteX28610" fmla="*/ 1379813 w 6884782"/>
              <a:gd name="connsiteY28610" fmla="*/ 2790324 h 5973007"/>
              <a:gd name="connsiteX28611" fmla="*/ 1382807 w 6884782"/>
              <a:gd name="connsiteY28611" fmla="*/ 2796365 h 5973007"/>
              <a:gd name="connsiteX28612" fmla="*/ 1382395 w 6884782"/>
              <a:gd name="connsiteY28612" fmla="*/ 2797449 h 5973007"/>
              <a:gd name="connsiteX28613" fmla="*/ 1379813 w 6884782"/>
              <a:gd name="connsiteY28613" fmla="*/ 2790324 h 5973007"/>
              <a:gd name="connsiteX28614" fmla="*/ 1313729 w 6884782"/>
              <a:gd name="connsiteY28614" fmla="*/ 2789550 h 5973007"/>
              <a:gd name="connsiteX28615" fmla="*/ 1314968 w 6884782"/>
              <a:gd name="connsiteY28615" fmla="*/ 2794506 h 5973007"/>
              <a:gd name="connsiteX28616" fmla="*/ 1310941 w 6884782"/>
              <a:gd name="connsiteY28616" fmla="*/ 2791408 h 5973007"/>
              <a:gd name="connsiteX28617" fmla="*/ 1313729 w 6884782"/>
              <a:gd name="connsiteY28617" fmla="*/ 2789550 h 5973007"/>
              <a:gd name="connsiteX28618" fmla="*/ 658362 w 6884782"/>
              <a:gd name="connsiteY28618" fmla="*/ 2789240 h 5973007"/>
              <a:gd name="connsiteX28619" fmla="*/ 660530 w 6884782"/>
              <a:gd name="connsiteY28619" fmla="*/ 2790789 h 5973007"/>
              <a:gd name="connsiteX28620" fmla="*/ 661356 w 6884782"/>
              <a:gd name="connsiteY28620" fmla="*/ 2792648 h 5973007"/>
              <a:gd name="connsiteX28621" fmla="*/ 660840 w 6884782"/>
              <a:gd name="connsiteY28621" fmla="*/ 2794352 h 5973007"/>
              <a:gd name="connsiteX28622" fmla="*/ 662079 w 6884782"/>
              <a:gd name="connsiteY28622" fmla="*/ 2794042 h 5973007"/>
              <a:gd name="connsiteX28623" fmla="*/ 662595 w 6884782"/>
              <a:gd name="connsiteY28623" fmla="*/ 2796830 h 5973007"/>
              <a:gd name="connsiteX28624" fmla="*/ 662079 w 6884782"/>
              <a:gd name="connsiteY28624" fmla="*/ 2797140 h 5973007"/>
              <a:gd name="connsiteX28625" fmla="*/ 664248 w 6884782"/>
              <a:gd name="connsiteY28625" fmla="*/ 2800392 h 5973007"/>
              <a:gd name="connsiteX28626" fmla="*/ 657020 w 6884782"/>
              <a:gd name="connsiteY28626" fmla="*/ 2809531 h 5973007"/>
              <a:gd name="connsiteX28627" fmla="*/ 654335 w 6884782"/>
              <a:gd name="connsiteY28627" fmla="*/ 2803335 h 5973007"/>
              <a:gd name="connsiteX28628" fmla="*/ 657639 w 6884782"/>
              <a:gd name="connsiteY28628" fmla="*/ 2797604 h 5973007"/>
              <a:gd name="connsiteX28629" fmla="*/ 660530 w 6884782"/>
              <a:gd name="connsiteY28629" fmla="*/ 2796985 h 5973007"/>
              <a:gd name="connsiteX28630" fmla="*/ 659601 w 6884782"/>
              <a:gd name="connsiteY28630" fmla="*/ 2795281 h 5973007"/>
              <a:gd name="connsiteX28631" fmla="*/ 657329 w 6884782"/>
              <a:gd name="connsiteY28631" fmla="*/ 2796055 h 5973007"/>
              <a:gd name="connsiteX28632" fmla="*/ 653096 w 6884782"/>
              <a:gd name="connsiteY28632" fmla="*/ 2794506 h 5973007"/>
              <a:gd name="connsiteX28633" fmla="*/ 652580 w 6884782"/>
              <a:gd name="connsiteY28633" fmla="*/ 2791873 h 5973007"/>
              <a:gd name="connsiteX28634" fmla="*/ 658362 w 6884782"/>
              <a:gd name="connsiteY28634" fmla="*/ 2789240 h 5973007"/>
              <a:gd name="connsiteX28635" fmla="*/ 1158225 w 6884782"/>
              <a:gd name="connsiteY28635" fmla="*/ 2789085 h 5973007"/>
              <a:gd name="connsiteX28636" fmla="*/ 1162872 w 6884782"/>
              <a:gd name="connsiteY28636" fmla="*/ 2790944 h 5973007"/>
              <a:gd name="connsiteX28637" fmla="*/ 1162149 w 6884782"/>
              <a:gd name="connsiteY28637" fmla="*/ 2793267 h 5973007"/>
              <a:gd name="connsiteX28638" fmla="*/ 1156986 w 6884782"/>
              <a:gd name="connsiteY28638" fmla="*/ 2790789 h 5973007"/>
              <a:gd name="connsiteX28639" fmla="*/ 1158225 w 6884782"/>
              <a:gd name="connsiteY28639" fmla="*/ 2789085 h 5973007"/>
              <a:gd name="connsiteX28640" fmla="*/ 713501 w 6884782"/>
              <a:gd name="connsiteY28640" fmla="*/ 2788620 h 5973007"/>
              <a:gd name="connsiteX28641" fmla="*/ 714327 w 6884782"/>
              <a:gd name="connsiteY28641" fmla="*/ 2788620 h 5973007"/>
              <a:gd name="connsiteX28642" fmla="*/ 713398 w 6884782"/>
              <a:gd name="connsiteY28642" fmla="*/ 2790014 h 5973007"/>
              <a:gd name="connsiteX28643" fmla="*/ 712675 w 6884782"/>
              <a:gd name="connsiteY28643" fmla="*/ 2789550 h 5973007"/>
              <a:gd name="connsiteX28644" fmla="*/ 713501 w 6884782"/>
              <a:gd name="connsiteY28644" fmla="*/ 2788620 h 5973007"/>
              <a:gd name="connsiteX28645" fmla="*/ 688926 w 6884782"/>
              <a:gd name="connsiteY28645" fmla="*/ 2788310 h 5973007"/>
              <a:gd name="connsiteX28646" fmla="*/ 693985 w 6884782"/>
              <a:gd name="connsiteY28646" fmla="*/ 2790789 h 5973007"/>
              <a:gd name="connsiteX28647" fmla="*/ 689029 w 6884782"/>
              <a:gd name="connsiteY28647" fmla="*/ 2799308 h 5973007"/>
              <a:gd name="connsiteX28648" fmla="*/ 685415 w 6884782"/>
              <a:gd name="connsiteY28648" fmla="*/ 2797914 h 5973007"/>
              <a:gd name="connsiteX28649" fmla="*/ 684176 w 6884782"/>
              <a:gd name="connsiteY28649" fmla="*/ 2795126 h 5973007"/>
              <a:gd name="connsiteX28650" fmla="*/ 688926 w 6884782"/>
              <a:gd name="connsiteY28650" fmla="*/ 2788310 h 5973007"/>
              <a:gd name="connsiteX28651" fmla="*/ 511945 w 6884782"/>
              <a:gd name="connsiteY28651" fmla="*/ 2786452 h 5973007"/>
              <a:gd name="connsiteX28652" fmla="*/ 506782 w 6884782"/>
              <a:gd name="connsiteY28652" fmla="*/ 2811854 h 5973007"/>
              <a:gd name="connsiteX28653" fmla="*/ 503168 w 6884782"/>
              <a:gd name="connsiteY28653" fmla="*/ 2806278 h 5973007"/>
              <a:gd name="connsiteX28654" fmla="*/ 511945 w 6884782"/>
              <a:gd name="connsiteY28654" fmla="*/ 2786452 h 5973007"/>
              <a:gd name="connsiteX28655" fmla="*/ 716598 w 6884782"/>
              <a:gd name="connsiteY28655" fmla="*/ 2785057 h 5973007"/>
              <a:gd name="connsiteX28656" fmla="*/ 716805 w 6884782"/>
              <a:gd name="connsiteY28656" fmla="*/ 2786297 h 5973007"/>
              <a:gd name="connsiteX28657" fmla="*/ 714946 w 6884782"/>
              <a:gd name="connsiteY28657" fmla="*/ 2786142 h 5973007"/>
              <a:gd name="connsiteX28658" fmla="*/ 716598 w 6884782"/>
              <a:gd name="connsiteY28658" fmla="*/ 2785057 h 5973007"/>
              <a:gd name="connsiteX28659" fmla="*/ 518450 w 6884782"/>
              <a:gd name="connsiteY28659" fmla="*/ 2784903 h 5973007"/>
              <a:gd name="connsiteX28660" fmla="*/ 524852 w 6884782"/>
              <a:gd name="connsiteY28660" fmla="*/ 2786297 h 5973007"/>
              <a:gd name="connsiteX28661" fmla="*/ 519586 w 6884782"/>
              <a:gd name="connsiteY28661" fmla="*/ 2790944 h 5973007"/>
              <a:gd name="connsiteX28662" fmla="*/ 517727 w 6884782"/>
              <a:gd name="connsiteY28662" fmla="*/ 2786607 h 5973007"/>
              <a:gd name="connsiteX28663" fmla="*/ 518450 w 6884782"/>
              <a:gd name="connsiteY28663" fmla="*/ 2784903 h 5973007"/>
              <a:gd name="connsiteX28664" fmla="*/ 1350178 w 6884782"/>
              <a:gd name="connsiteY28664" fmla="*/ 2784748 h 5973007"/>
              <a:gd name="connsiteX28665" fmla="*/ 1353999 w 6884782"/>
              <a:gd name="connsiteY28665" fmla="*/ 2792957 h 5973007"/>
              <a:gd name="connsiteX28666" fmla="*/ 1350488 w 6884782"/>
              <a:gd name="connsiteY28666" fmla="*/ 2793887 h 5973007"/>
              <a:gd name="connsiteX28667" fmla="*/ 1347184 w 6884782"/>
              <a:gd name="connsiteY28667" fmla="*/ 2788930 h 5973007"/>
              <a:gd name="connsiteX28668" fmla="*/ 1350178 w 6884782"/>
              <a:gd name="connsiteY28668" fmla="*/ 2784748 h 5973007"/>
              <a:gd name="connsiteX28669" fmla="*/ 646281 w 6884782"/>
              <a:gd name="connsiteY28669" fmla="*/ 2784129 h 5973007"/>
              <a:gd name="connsiteX28670" fmla="*/ 643080 w 6884782"/>
              <a:gd name="connsiteY28670" fmla="*/ 2791099 h 5973007"/>
              <a:gd name="connsiteX28671" fmla="*/ 646281 w 6884782"/>
              <a:gd name="connsiteY28671" fmla="*/ 2784129 h 5973007"/>
              <a:gd name="connsiteX28672" fmla="*/ 1033079 w 6884782"/>
              <a:gd name="connsiteY28672" fmla="*/ 2782424 h 5973007"/>
              <a:gd name="connsiteX28673" fmla="*/ 1031220 w 6884782"/>
              <a:gd name="connsiteY28673" fmla="*/ 2787536 h 5973007"/>
              <a:gd name="connsiteX28674" fmla="*/ 1030498 w 6884782"/>
              <a:gd name="connsiteY28674" fmla="*/ 2789240 h 5973007"/>
              <a:gd name="connsiteX28675" fmla="*/ 1031530 w 6884782"/>
              <a:gd name="connsiteY28675" fmla="*/ 2789240 h 5973007"/>
              <a:gd name="connsiteX28676" fmla="*/ 1030394 w 6884782"/>
              <a:gd name="connsiteY28676" fmla="*/ 2789550 h 5973007"/>
              <a:gd name="connsiteX28677" fmla="*/ 1028949 w 6884782"/>
              <a:gd name="connsiteY28677" fmla="*/ 2793422 h 5973007"/>
              <a:gd name="connsiteX28678" fmla="*/ 1031633 w 6884782"/>
              <a:gd name="connsiteY28678" fmla="*/ 2793267 h 5973007"/>
              <a:gd name="connsiteX28679" fmla="*/ 1031840 w 6884782"/>
              <a:gd name="connsiteY28679" fmla="*/ 2792183 h 5973007"/>
              <a:gd name="connsiteX28680" fmla="*/ 1033595 w 6884782"/>
              <a:gd name="connsiteY28680" fmla="*/ 2790944 h 5973007"/>
              <a:gd name="connsiteX28681" fmla="*/ 1032975 w 6884782"/>
              <a:gd name="connsiteY28681" fmla="*/ 2793112 h 5973007"/>
              <a:gd name="connsiteX28682" fmla="*/ 1032975 w 6884782"/>
              <a:gd name="connsiteY28682" fmla="*/ 2793267 h 5973007"/>
              <a:gd name="connsiteX28683" fmla="*/ 1038861 w 6884782"/>
              <a:gd name="connsiteY28683" fmla="*/ 2792802 h 5973007"/>
              <a:gd name="connsiteX28684" fmla="*/ 1046812 w 6884782"/>
              <a:gd name="connsiteY28684" fmla="*/ 2793732 h 5973007"/>
              <a:gd name="connsiteX28685" fmla="*/ 1046812 w 6884782"/>
              <a:gd name="connsiteY28685" fmla="*/ 2794042 h 5973007"/>
              <a:gd name="connsiteX28686" fmla="*/ 1047018 w 6884782"/>
              <a:gd name="connsiteY28686" fmla="*/ 2794042 h 5973007"/>
              <a:gd name="connsiteX28687" fmla="*/ 1047122 w 6884782"/>
              <a:gd name="connsiteY28687" fmla="*/ 2794042 h 5973007"/>
              <a:gd name="connsiteX28688" fmla="*/ 1048980 w 6884782"/>
              <a:gd name="connsiteY28688" fmla="*/ 2793887 h 5973007"/>
              <a:gd name="connsiteX28689" fmla="*/ 1048980 w 6884782"/>
              <a:gd name="connsiteY28689" fmla="*/ 2793422 h 5973007"/>
              <a:gd name="connsiteX28690" fmla="*/ 1049909 w 6884782"/>
              <a:gd name="connsiteY28690" fmla="*/ 2791718 h 5973007"/>
              <a:gd name="connsiteX28691" fmla="*/ 1051458 w 6884782"/>
              <a:gd name="connsiteY28691" fmla="*/ 2791254 h 5973007"/>
              <a:gd name="connsiteX28692" fmla="*/ 1053110 w 6884782"/>
              <a:gd name="connsiteY28692" fmla="*/ 2792338 h 5973007"/>
              <a:gd name="connsiteX28693" fmla="*/ 1054143 w 6884782"/>
              <a:gd name="connsiteY28693" fmla="*/ 2793112 h 5973007"/>
              <a:gd name="connsiteX28694" fmla="*/ 1056518 w 6884782"/>
              <a:gd name="connsiteY28694" fmla="*/ 2792802 h 5973007"/>
              <a:gd name="connsiteX28695" fmla="*/ 1062920 w 6884782"/>
              <a:gd name="connsiteY28695" fmla="*/ 2792648 h 5973007"/>
              <a:gd name="connsiteX28696" fmla="*/ 1055279 w 6884782"/>
              <a:gd name="connsiteY28696" fmla="*/ 2786142 h 5973007"/>
              <a:gd name="connsiteX28697" fmla="*/ 1053730 w 6884782"/>
              <a:gd name="connsiteY28697" fmla="*/ 2789085 h 5973007"/>
              <a:gd name="connsiteX28698" fmla="*/ 1050323 w 6884782"/>
              <a:gd name="connsiteY28698" fmla="*/ 2791254 h 5973007"/>
              <a:gd name="connsiteX28699" fmla="*/ 1048670 w 6884782"/>
              <a:gd name="connsiteY28699" fmla="*/ 2788156 h 5973007"/>
              <a:gd name="connsiteX28700" fmla="*/ 1048774 w 6884782"/>
              <a:gd name="connsiteY28700" fmla="*/ 2785057 h 5973007"/>
              <a:gd name="connsiteX28701" fmla="*/ 1042475 w 6884782"/>
              <a:gd name="connsiteY28701" fmla="*/ 2785522 h 5973007"/>
              <a:gd name="connsiteX28702" fmla="*/ 357989 w 6884782"/>
              <a:gd name="connsiteY28702" fmla="*/ 2781960 h 5973007"/>
              <a:gd name="connsiteX28703" fmla="*/ 366353 w 6884782"/>
              <a:gd name="connsiteY28703" fmla="*/ 2808137 h 5973007"/>
              <a:gd name="connsiteX28704" fmla="*/ 357989 w 6884782"/>
              <a:gd name="connsiteY28704" fmla="*/ 2781960 h 5973007"/>
              <a:gd name="connsiteX28705" fmla="*/ 917806 w 6884782"/>
              <a:gd name="connsiteY28705" fmla="*/ 2781495 h 5973007"/>
              <a:gd name="connsiteX28706" fmla="*/ 929100 w 6884782"/>
              <a:gd name="connsiteY28706" fmla="*/ 2783199 h 5973007"/>
              <a:gd name="connsiteX28707" fmla="*/ 905351 w 6884782"/>
              <a:gd name="connsiteY28707" fmla="*/ 2788156 h 5973007"/>
              <a:gd name="connsiteX28708" fmla="*/ 917806 w 6884782"/>
              <a:gd name="connsiteY28708" fmla="*/ 2781495 h 5973007"/>
              <a:gd name="connsiteX28709" fmla="*/ 1369488 w 6884782"/>
              <a:gd name="connsiteY28709" fmla="*/ 2777777 h 5973007"/>
              <a:gd name="connsiteX28710" fmla="*/ 1370313 w 6884782"/>
              <a:gd name="connsiteY28710" fmla="*/ 2777777 h 5973007"/>
              <a:gd name="connsiteX28711" fmla="*/ 1370624 w 6884782"/>
              <a:gd name="connsiteY28711" fmla="*/ 2778552 h 5973007"/>
              <a:gd name="connsiteX28712" fmla="*/ 1367216 w 6884782"/>
              <a:gd name="connsiteY28712" fmla="*/ 2778552 h 5973007"/>
              <a:gd name="connsiteX28713" fmla="*/ 1369488 w 6884782"/>
              <a:gd name="connsiteY28713" fmla="*/ 2777777 h 5973007"/>
              <a:gd name="connsiteX28714" fmla="*/ 845978 w 6884782"/>
              <a:gd name="connsiteY28714" fmla="*/ 2776848 h 5973007"/>
              <a:gd name="connsiteX28715" fmla="*/ 845875 w 6884782"/>
              <a:gd name="connsiteY28715" fmla="*/ 2798379 h 5973007"/>
              <a:gd name="connsiteX28716" fmla="*/ 841538 w 6884782"/>
              <a:gd name="connsiteY28716" fmla="*/ 2788156 h 5973007"/>
              <a:gd name="connsiteX28717" fmla="*/ 845978 w 6884782"/>
              <a:gd name="connsiteY28717" fmla="*/ 2776848 h 5973007"/>
              <a:gd name="connsiteX28718" fmla="*/ 469713 w 6884782"/>
              <a:gd name="connsiteY28718" fmla="*/ 2776383 h 5973007"/>
              <a:gd name="connsiteX28719" fmla="*/ 467028 w 6884782"/>
              <a:gd name="connsiteY28719" fmla="*/ 2796055 h 5973007"/>
              <a:gd name="connsiteX28720" fmla="*/ 462794 w 6884782"/>
              <a:gd name="connsiteY28720" fmla="*/ 2794352 h 5973007"/>
              <a:gd name="connsiteX28721" fmla="*/ 462382 w 6884782"/>
              <a:gd name="connsiteY28721" fmla="*/ 2789240 h 5973007"/>
              <a:gd name="connsiteX28722" fmla="*/ 462278 w 6884782"/>
              <a:gd name="connsiteY28722" fmla="*/ 2785057 h 5973007"/>
              <a:gd name="connsiteX28723" fmla="*/ 469713 w 6884782"/>
              <a:gd name="connsiteY28723" fmla="*/ 2776383 h 5973007"/>
              <a:gd name="connsiteX28724" fmla="*/ 348284 w 6884782"/>
              <a:gd name="connsiteY28724" fmla="*/ 2776383 h 5973007"/>
              <a:gd name="connsiteX28725" fmla="*/ 354169 w 6884782"/>
              <a:gd name="connsiteY28725" fmla="*/ 2785057 h 5973007"/>
              <a:gd name="connsiteX28726" fmla="*/ 337648 w 6884782"/>
              <a:gd name="connsiteY28726" fmla="*/ 2786142 h 5973007"/>
              <a:gd name="connsiteX28727" fmla="*/ 348284 w 6884782"/>
              <a:gd name="connsiteY28727" fmla="*/ 2776383 h 5973007"/>
              <a:gd name="connsiteX28728" fmla="*/ 725891 w 6884782"/>
              <a:gd name="connsiteY28728" fmla="*/ 2775609 h 5973007"/>
              <a:gd name="connsiteX28729" fmla="*/ 716701 w 6884782"/>
              <a:gd name="connsiteY28729" fmla="*/ 2785057 h 5973007"/>
              <a:gd name="connsiteX28730" fmla="*/ 725891 w 6884782"/>
              <a:gd name="connsiteY28730" fmla="*/ 2775609 h 5973007"/>
              <a:gd name="connsiteX28731" fmla="*/ 654541 w 6884782"/>
              <a:gd name="connsiteY28731" fmla="*/ 2774834 h 5973007"/>
              <a:gd name="connsiteX28732" fmla="*/ 646384 w 6884782"/>
              <a:gd name="connsiteY28732" fmla="*/ 2782734 h 5973007"/>
              <a:gd name="connsiteX28733" fmla="*/ 634716 w 6884782"/>
              <a:gd name="connsiteY28733" fmla="*/ 2787381 h 5973007"/>
              <a:gd name="connsiteX28734" fmla="*/ 641944 w 6884782"/>
              <a:gd name="connsiteY28734" fmla="*/ 2777313 h 5973007"/>
              <a:gd name="connsiteX28735" fmla="*/ 654541 w 6884782"/>
              <a:gd name="connsiteY28735" fmla="*/ 2774834 h 5973007"/>
              <a:gd name="connsiteX28736" fmla="*/ 5096677 w 6884782"/>
              <a:gd name="connsiteY28736" fmla="*/ 2774243 h 5973007"/>
              <a:gd name="connsiteX28737" fmla="*/ 5091128 w 6884782"/>
              <a:gd name="connsiteY28737" fmla="*/ 2778511 h 5973007"/>
              <a:gd name="connsiteX28738" fmla="*/ 5091128 w 6884782"/>
              <a:gd name="connsiteY28738" fmla="*/ 2778653 h 5973007"/>
              <a:gd name="connsiteX28739" fmla="*/ 5088140 w 6884782"/>
              <a:gd name="connsiteY28739" fmla="*/ 2781641 h 5973007"/>
              <a:gd name="connsiteX28740" fmla="*/ 5087286 w 6884782"/>
              <a:gd name="connsiteY28740" fmla="*/ 2781356 h 5973007"/>
              <a:gd name="connsiteX28741" fmla="*/ 5086433 w 6884782"/>
              <a:gd name="connsiteY28741" fmla="*/ 2782067 h 5973007"/>
              <a:gd name="connsiteX28742" fmla="*/ 5069567 w 6884782"/>
              <a:gd name="connsiteY28742" fmla="*/ 2785712 h 5973007"/>
              <a:gd name="connsiteX28743" fmla="*/ 5091019 w 6884782"/>
              <a:gd name="connsiteY28743" fmla="*/ 2785712 h 5973007"/>
              <a:gd name="connsiteX28744" fmla="*/ 5092409 w 6884782"/>
              <a:gd name="connsiteY28744" fmla="*/ 2782637 h 5973007"/>
              <a:gd name="connsiteX28745" fmla="*/ 5095823 w 6884782"/>
              <a:gd name="connsiteY28745" fmla="*/ 2777800 h 5973007"/>
              <a:gd name="connsiteX28746" fmla="*/ 905867 w 6884782"/>
              <a:gd name="connsiteY28746" fmla="*/ 2773750 h 5973007"/>
              <a:gd name="connsiteX28747" fmla="*/ 907726 w 6884782"/>
              <a:gd name="connsiteY28747" fmla="*/ 2775144 h 5973007"/>
              <a:gd name="connsiteX28748" fmla="*/ 904731 w 6884782"/>
              <a:gd name="connsiteY28748" fmla="*/ 2777468 h 5973007"/>
              <a:gd name="connsiteX28749" fmla="*/ 903905 w 6884782"/>
              <a:gd name="connsiteY28749" fmla="*/ 2775764 h 5973007"/>
              <a:gd name="connsiteX28750" fmla="*/ 904422 w 6884782"/>
              <a:gd name="connsiteY28750" fmla="*/ 2774215 h 5973007"/>
              <a:gd name="connsiteX28751" fmla="*/ 905867 w 6884782"/>
              <a:gd name="connsiteY28751" fmla="*/ 2773750 h 5973007"/>
              <a:gd name="connsiteX28752" fmla="*/ 372135 w 6884782"/>
              <a:gd name="connsiteY28752" fmla="*/ 2773596 h 5973007"/>
              <a:gd name="connsiteX28753" fmla="*/ 381222 w 6884782"/>
              <a:gd name="connsiteY28753" fmla="*/ 2774989 h 5973007"/>
              <a:gd name="connsiteX28754" fmla="*/ 371413 w 6884782"/>
              <a:gd name="connsiteY28754" fmla="*/ 2778397 h 5973007"/>
              <a:gd name="connsiteX28755" fmla="*/ 371516 w 6884782"/>
              <a:gd name="connsiteY28755" fmla="*/ 2776229 h 5973007"/>
              <a:gd name="connsiteX28756" fmla="*/ 372135 w 6884782"/>
              <a:gd name="connsiteY28756" fmla="*/ 2773596 h 5973007"/>
              <a:gd name="connsiteX28757" fmla="*/ 1362053 w 6884782"/>
              <a:gd name="connsiteY28757" fmla="*/ 2773286 h 5973007"/>
              <a:gd name="connsiteX28758" fmla="*/ 1366183 w 6884782"/>
              <a:gd name="connsiteY28758" fmla="*/ 2780876 h 5973007"/>
              <a:gd name="connsiteX28759" fmla="*/ 1358956 w 6884782"/>
              <a:gd name="connsiteY28759" fmla="*/ 2785368 h 5973007"/>
              <a:gd name="connsiteX28760" fmla="*/ 1354825 w 6884782"/>
              <a:gd name="connsiteY28760" fmla="*/ 2779172 h 5973007"/>
              <a:gd name="connsiteX28761" fmla="*/ 1357200 w 6884782"/>
              <a:gd name="connsiteY28761" fmla="*/ 2773905 h 5973007"/>
              <a:gd name="connsiteX28762" fmla="*/ 1362053 w 6884782"/>
              <a:gd name="connsiteY28762" fmla="*/ 2773286 h 5973007"/>
              <a:gd name="connsiteX28763" fmla="*/ 1336859 w 6884782"/>
              <a:gd name="connsiteY28763" fmla="*/ 2772976 h 5973007"/>
              <a:gd name="connsiteX28764" fmla="*/ 1341299 w 6884782"/>
              <a:gd name="connsiteY28764" fmla="*/ 2780411 h 5973007"/>
              <a:gd name="connsiteX28765" fmla="*/ 1336549 w 6884782"/>
              <a:gd name="connsiteY28765" fmla="*/ 2774989 h 5973007"/>
              <a:gd name="connsiteX28766" fmla="*/ 1336859 w 6884782"/>
              <a:gd name="connsiteY28766" fmla="*/ 2772976 h 5973007"/>
              <a:gd name="connsiteX28767" fmla="*/ 895851 w 6884782"/>
              <a:gd name="connsiteY28767" fmla="*/ 2772821 h 5973007"/>
              <a:gd name="connsiteX28768" fmla="*/ 896470 w 6884782"/>
              <a:gd name="connsiteY28768" fmla="*/ 2779636 h 5973007"/>
              <a:gd name="connsiteX28769" fmla="*/ 894715 w 6884782"/>
              <a:gd name="connsiteY28769" fmla="*/ 2780256 h 5973007"/>
              <a:gd name="connsiteX28770" fmla="*/ 893167 w 6884782"/>
              <a:gd name="connsiteY28770" fmla="*/ 2778552 h 5973007"/>
              <a:gd name="connsiteX28771" fmla="*/ 893063 w 6884782"/>
              <a:gd name="connsiteY28771" fmla="*/ 2775764 h 5973007"/>
              <a:gd name="connsiteX28772" fmla="*/ 894096 w 6884782"/>
              <a:gd name="connsiteY28772" fmla="*/ 2773596 h 5973007"/>
              <a:gd name="connsiteX28773" fmla="*/ 895851 w 6884782"/>
              <a:gd name="connsiteY28773" fmla="*/ 2772821 h 5973007"/>
              <a:gd name="connsiteX28774" fmla="*/ 488195 w 6884782"/>
              <a:gd name="connsiteY28774" fmla="*/ 2772511 h 5973007"/>
              <a:gd name="connsiteX28775" fmla="*/ 489951 w 6884782"/>
              <a:gd name="connsiteY28775" fmla="*/ 2773905 h 5973007"/>
              <a:gd name="connsiteX28776" fmla="*/ 489228 w 6884782"/>
              <a:gd name="connsiteY28776" fmla="*/ 2775609 h 5973007"/>
              <a:gd name="connsiteX28777" fmla="*/ 489331 w 6884782"/>
              <a:gd name="connsiteY28777" fmla="*/ 2777313 h 5973007"/>
              <a:gd name="connsiteX28778" fmla="*/ 488402 w 6884782"/>
              <a:gd name="connsiteY28778" fmla="*/ 2777468 h 5973007"/>
              <a:gd name="connsiteX28779" fmla="*/ 488299 w 6884782"/>
              <a:gd name="connsiteY28779" fmla="*/ 2777313 h 5973007"/>
              <a:gd name="connsiteX28780" fmla="*/ 487886 w 6884782"/>
              <a:gd name="connsiteY28780" fmla="*/ 2777932 h 5973007"/>
              <a:gd name="connsiteX28781" fmla="*/ 490261 w 6884782"/>
              <a:gd name="connsiteY28781" fmla="*/ 2778552 h 5973007"/>
              <a:gd name="connsiteX28782" fmla="*/ 486234 w 6884782"/>
              <a:gd name="connsiteY28782" fmla="*/ 2791099 h 5973007"/>
              <a:gd name="connsiteX28783" fmla="*/ 479213 w 6884782"/>
              <a:gd name="connsiteY28783" fmla="*/ 2788310 h 5973007"/>
              <a:gd name="connsiteX28784" fmla="*/ 477457 w 6884782"/>
              <a:gd name="connsiteY28784" fmla="*/ 2782734 h 5973007"/>
              <a:gd name="connsiteX28785" fmla="*/ 479935 w 6884782"/>
              <a:gd name="connsiteY28785" fmla="*/ 2778242 h 5973007"/>
              <a:gd name="connsiteX28786" fmla="*/ 483549 w 6884782"/>
              <a:gd name="connsiteY28786" fmla="*/ 2776848 h 5973007"/>
              <a:gd name="connsiteX28787" fmla="*/ 483756 w 6884782"/>
              <a:gd name="connsiteY28787" fmla="*/ 2777003 h 5973007"/>
              <a:gd name="connsiteX28788" fmla="*/ 482826 w 6884782"/>
              <a:gd name="connsiteY28788" fmla="*/ 2775764 h 5973007"/>
              <a:gd name="connsiteX28789" fmla="*/ 482929 w 6884782"/>
              <a:gd name="connsiteY28789" fmla="*/ 2774060 h 5973007"/>
              <a:gd name="connsiteX28790" fmla="*/ 484582 w 6884782"/>
              <a:gd name="connsiteY28790" fmla="*/ 2772976 h 5973007"/>
              <a:gd name="connsiteX28791" fmla="*/ 488195 w 6884782"/>
              <a:gd name="connsiteY28791" fmla="*/ 2772511 h 5973007"/>
              <a:gd name="connsiteX28792" fmla="*/ 610967 w 6884782"/>
              <a:gd name="connsiteY28792" fmla="*/ 2771272 h 5973007"/>
              <a:gd name="connsiteX28793" fmla="*/ 610761 w 6884782"/>
              <a:gd name="connsiteY28793" fmla="*/ 2780565 h 5973007"/>
              <a:gd name="connsiteX28794" fmla="*/ 610967 w 6884782"/>
              <a:gd name="connsiteY28794" fmla="*/ 2783044 h 5973007"/>
              <a:gd name="connsiteX28795" fmla="*/ 613136 w 6884782"/>
              <a:gd name="connsiteY28795" fmla="*/ 2781340 h 5973007"/>
              <a:gd name="connsiteX28796" fmla="*/ 618918 w 6884782"/>
              <a:gd name="connsiteY28796" fmla="*/ 2780876 h 5973007"/>
              <a:gd name="connsiteX28797" fmla="*/ 625010 w 6884782"/>
              <a:gd name="connsiteY28797" fmla="*/ 2783509 h 5973007"/>
              <a:gd name="connsiteX28798" fmla="*/ 626456 w 6884782"/>
              <a:gd name="connsiteY28798" fmla="*/ 2780721 h 5973007"/>
              <a:gd name="connsiteX28799" fmla="*/ 633890 w 6884782"/>
              <a:gd name="connsiteY28799" fmla="*/ 2783819 h 5973007"/>
              <a:gd name="connsiteX28800" fmla="*/ 629450 w 6884782"/>
              <a:gd name="connsiteY28800" fmla="*/ 2786452 h 5973007"/>
              <a:gd name="connsiteX28801" fmla="*/ 626868 w 6884782"/>
              <a:gd name="connsiteY28801" fmla="*/ 2784903 h 5973007"/>
              <a:gd name="connsiteX28802" fmla="*/ 628624 w 6884782"/>
              <a:gd name="connsiteY28802" fmla="*/ 2788000 h 5973007"/>
              <a:gd name="connsiteX28803" fmla="*/ 628728 w 6884782"/>
              <a:gd name="connsiteY28803" fmla="*/ 2793422 h 5973007"/>
              <a:gd name="connsiteX28804" fmla="*/ 628211 w 6884782"/>
              <a:gd name="connsiteY28804" fmla="*/ 2795590 h 5973007"/>
              <a:gd name="connsiteX28805" fmla="*/ 628521 w 6884782"/>
              <a:gd name="connsiteY28805" fmla="*/ 2799463 h 5973007"/>
              <a:gd name="connsiteX28806" fmla="*/ 617369 w 6884782"/>
              <a:gd name="connsiteY28806" fmla="*/ 2800237 h 5973007"/>
              <a:gd name="connsiteX28807" fmla="*/ 607353 w 6884782"/>
              <a:gd name="connsiteY28807" fmla="*/ 2792183 h 5973007"/>
              <a:gd name="connsiteX28808" fmla="*/ 607250 w 6884782"/>
              <a:gd name="connsiteY28808" fmla="*/ 2789395 h 5973007"/>
              <a:gd name="connsiteX28809" fmla="*/ 604668 w 6884782"/>
              <a:gd name="connsiteY28809" fmla="*/ 2788620 h 5973007"/>
              <a:gd name="connsiteX28810" fmla="*/ 601158 w 6884782"/>
              <a:gd name="connsiteY28810" fmla="*/ 2779326 h 5973007"/>
              <a:gd name="connsiteX28811" fmla="*/ 601261 w 6884782"/>
              <a:gd name="connsiteY28811" fmla="*/ 2776074 h 5973007"/>
              <a:gd name="connsiteX28812" fmla="*/ 607663 w 6884782"/>
              <a:gd name="connsiteY28812" fmla="*/ 2771427 h 5973007"/>
              <a:gd name="connsiteX28813" fmla="*/ 610967 w 6884782"/>
              <a:gd name="connsiteY28813" fmla="*/ 2771272 h 5973007"/>
              <a:gd name="connsiteX28814" fmla="*/ 531253 w 6884782"/>
              <a:gd name="connsiteY28814" fmla="*/ 2771253 h 5973007"/>
              <a:gd name="connsiteX28815" fmla="*/ 534248 w 6884782"/>
              <a:gd name="connsiteY28815" fmla="*/ 2772201 h 5973007"/>
              <a:gd name="connsiteX28816" fmla="*/ 532390 w 6884782"/>
              <a:gd name="connsiteY28816" fmla="*/ 2777777 h 5973007"/>
              <a:gd name="connsiteX28817" fmla="*/ 527949 w 6884782"/>
              <a:gd name="connsiteY28817" fmla="*/ 2771582 h 5973007"/>
              <a:gd name="connsiteX28818" fmla="*/ 531253 w 6884782"/>
              <a:gd name="connsiteY28818" fmla="*/ 2771253 h 5973007"/>
              <a:gd name="connsiteX28819" fmla="*/ 863016 w 6884782"/>
              <a:gd name="connsiteY28819" fmla="*/ 2769878 h 5973007"/>
              <a:gd name="connsiteX28820" fmla="*/ 864874 w 6884782"/>
              <a:gd name="connsiteY28820" fmla="*/ 2777313 h 5973007"/>
              <a:gd name="connsiteX28821" fmla="*/ 864874 w 6884782"/>
              <a:gd name="connsiteY28821" fmla="*/ 2777932 h 5973007"/>
              <a:gd name="connsiteX28822" fmla="*/ 865803 w 6884782"/>
              <a:gd name="connsiteY28822" fmla="*/ 2777777 h 5973007"/>
              <a:gd name="connsiteX28823" fmla="*/ 864978 w 6884782"/>
              <a:gd name="connsiteY28823" fmla="*/ 2780565 h 5973007"/>
              <a:gd name="connsiteX28824" fmla="*/ 865287 w 6884782"/>
              <a:gd name="connsiteY28824" fmla="*/ 2785368 h 5973007"/>
              <a:gd name="connsiteX28825" fmla="*/ 854135 w 6884782"/>
              <a:gd name="connsiteY28825" fmla="*/ 2796830 h 5973007"/>
              <a:gd name="connsiteX28826" fmla="*/ 850625 w 6884782"/>
              <a:gd name="connsiteY28826" fmla="*/ 2792648 h 5973007"/>
              <a:gd name="connsiteX28827" fmla="*/ 850005 w 6884782"/>
              <a:gd name="connsiteY28827" fmla="*/ 2792802 h 5973007"/>
              <a:gd name="connsiteX28828" fmla="*/ 850212 w 6884782"/>
              <a:gd name="connsiteY28828" fmla="*/ 2792028 h 5973007"/>
              <a:gd name="connsiteX28829" fmla="*/ 849490 w 6884782"/>
              <a:gd name="connsiteY28829" fmla="*/ 2791254 h 5973007"/>
              <a:gd name="connsiteX28830" fmla="*/ 850728 w 6884782"/>
              <a:gd name="connsiteY28830" fmla="*/ 2789859 h 5973007"/>
              <a:gd name="connsiteX28831" fmla="*/ 851038 w 6884782"/>
              <a:gd name="connsiteY28831" fmla="*/ 2788156 h 5973007"/>
              <a:gd name="connsiteX28832" fmla="*/ 853413 w 6884782"/>
              <a:gd name="connsiteY28832" fmla="*/ 2784129 h 5973007"/>
              <a:gd name="connsiteX28833" fmla="*/ 855685 w 6884782"/>
              <a:gd name="connsiteY28833" fmla="*/ 2782424 h 5973007"/>
              <a:gd name="connsiteX28834" fmla="*/ 856924 w 6884782"/>
              <a:gd name="connsiteY28834" fmla="*/ 2780101 h 5973007"/>
              <a:gd name="connsiteX28835" fmla="*/ 858679 w 6884782"/>
              <a:gd name="connsiteY28835" fmla="*/ 2776538 h 5973007"/>
              <a:gd name="connsiteX28836" fmla="*/ 857646 w 6884782"/>
              <a:gd name="connsiteY28836" fmla="*/ 2775609 h 5973007"/>
              <a:gd name="connsiteX28837" fmla="*/ 856097 w 6884782"/>
              <a:gd name="connsiteY28837" fmla="*/ 2773286 h 5973007"/>
              <a:gd name="connsiteX28838" fmla="*/ 857853 w 6884782"/>
              <a:gd name="connsiteY28838" fmla="*/ 2775144 h 5973007"/>
              <a:gd name="connsiteX28839" fmla="*/ 859298 w 6884782"/>
              <a:gd name="connsiteY28839" fmla="*/ 2775299 h 5973007"/>
              <a:gd name="connsiteX28840" fmla="*/ 859608 w 6884782"/>
              <a:gd name="connsiteY28840" fmla="*/ 2774679 h 5973007"/>
              <a:gd name="connsiteX28841" fmla="*/ 863016 w 6884782"/>
              <a:gd name="connsiteY28841" fmla="*/ 2769878 h 5973007"/>
              <a:gd name="connsiteX28842" fmla="*/ 623668 w 6884782"/>
              <a:gd name="connsiteY28842" fmla="*/ 2769723 h 5973007"/>
              <a:gd name="connsiteX28843" fmla="*/ 630792 w 6884782"/>
              <a:gd name="connsiteY28843" fmla="*/ 2777932 h 5973007"/>
              <a:gd name="connsiteX28844" fmla="*/ 624700 w 6884782"/>
              <a:gd name="connsiteY28844" fmla="*/ 2779017 h 5973007"/>
              <a:gd name="connsiteX28845" fmla="*/ 622532 w 6884782"/>
              <a:gd name="connsiteY28845" fmla="*/ 2777158 h 5973007"/>
              <a:gd name="connsiteX28846" fmla="*/ 620467 w 6884782"/>
              <a:gd name="connsiteY28846" fmla="*/ 2772356 h 5973007"/>
              <a:gd name="connsiteX28847" fmla="*/ 619744 w 6884782"/>
              <a:gd name="connsiteY28847" fmla="*/ 2772666 h 5973007"/>
              <a:gd name="connsiteX28848" fmla="*/ 623668 w 6884782"/>
              <a:gd name="connsiteY28848" fmla="*/ 2769723 h 5973007"/>
              <a:gd name="connsiteX28849" fmla="*/ 578648 w 6884782"/>
              <a:gd name="connsiteY28849" fmla="*/ 2769103 h 5973007"/>
              <a:gd name="connsiteX28850" fmla="*/ 583708 w 6884782"/>
              <a:gd name="connsiteY28850" fmla="*/ 2772976 h 5973007"/>
              <a:gd name="connsiteX28851" fmla="*/ 578235 w 6884782"/>
              <a:gd name="connsiteY28851" fmla="*/ 2778087 h 5973007"/>
              <a:gd name="connsiteX28852" fmla="*/ 574828 w 6884782"/>
              <a:gd name="connsiteY28852" fmla="*/ 2774989 h 5973007"/>
              <a:gd name="connsiteX28853" fmla="*/ 578648 w 6884782"/>
              <a:gd name="connsiteY28853" fmla="*/ 2769103 h 5973007"/>
              <a:gd name="connsiteX28854" fmla="*/ 950680 w 6884782"/>
              <a:gd name="connsiteY28854" fmla="*/ 2768793 h 5973007"/>
              <a:gd name="connsiteX28855" fmla="*/ 951919 w 6884782"/>
              <a:gd name="connsiteY28855" fmla="*/ 2771891 h 5973007"/>
              <a:gd name="connsiteX28856" fmla="*/ 951093 w 6884782"/>
              <a:gd name="connsiteY28856" fmla="*/ 2772046 h 5973007"/>
              <a:gd name="connsiteX28857" fmla="*/ 949957 w 6884782"/>
              <a:gd name="connsiteY28857" fmla="*/ 2770807 h 5973007"/>
              <a:gd name="connsiteX28858" fmla="*/ 950680 w 6884782"/>
              <a:gd name="connsiteY28858" fmla="*/ 2768793 h 5973007"/>
              <a:gd name="connsiteX28859" fmla="*/ 617679 w 6884782"/>
              <a:gd name="connsiteY28859" fmla="*/ 2768484 h 5973007"/>
              <a:gd name="connsiteX28860" fmla="*/ 619538 w 6884782"/>
              <a:gd name="connsiteY28860" fmla="*/ 2768948 h 5973007"/>
              <a:gd name="connsiteX28861" fmla="*/ 618092 w 6884782"/>
              <a:gd name="connsiteY28861" fmla="*/ 2773131 h 5973007"/>
              <a:gd name="connsiteX28862" fmla="*/ 615407 w 6884782"/>
              <a:gd name="connsiteY28862" fmla="*/ 2773750 h 5973007"/>
              <a:gd name="connsiteX28863" fmla="*/ 614375 w 6884782"/>
              <a:gd name="connsiteY28863" fmla="*/ 2772666 h 5973007"/>
              <a:gd name="connsiteX28864" fmla="*/ 614891 w 6884782"/>
              <a:gd name="connsiteY28864" fmla="*/ 2771272 h 5973007"/>
              <a:gd name="connsiteX28865" fmla="*/ 616130 w 6884782"/>
              <a:gd name="connsiteY28865" fmla="*/ 2768793 h 5973007"/>
              <a:gd name="connsiteX28866" fmla="*/ 617679 w 6884782"/>
              <a:gd name="connsiteY28866" fmla="*/ 2768484 h 5973007"/>
              <a:gd name="connsiteX28867" fmla="*/ 432450 w 6884782"/>
              <a:gd name="connsiteY28867" fmla="*/ 2767322 h 5973007"/>
              <a:gd name="connsiteX28868" fmla="*/ 441730 w 6884782"/>
              <a:gd name="connsiteY28868" fmla="*/ 2768948 h 5973007"/>
              <a:gd name="connsiteX28869" fmla="*/ 440491 w 6884782"/>
              <a:gd name="connsiteY28869" fmla="*/ 2777158 h 5973007"/>
              <a:gd name="connsiteX28870" fmla="*/ 426758 w 6884782"/>
              <a:gd name="connsiteY28870" fmla="*/ 2774215 h 5973007"/>
              <a:gd name="connsiteX28871" fmla="*/ 426655 w 6884782"/>
              <a:gd name="connsiteY28871" fmla="*/ 2770807 h 5973007"/>
              <a:gd name="connsiteX28872" fmla="*/ 432450 w 6884782"/>
              <a:gd name="connsiteY28872" fmla="*/ 2767322 h 5973007"/>
              <a:gd name="connsiteX28873" fmla="*/ 1383531 w 6884782"/>
              <a:gd name="connsiteY28873" fmla="*/ 2766780 h 5973007"/>
              <a:gd name="connsiteX28874" fmla="*/ 1389726 w 6884782"/>
              <a:gd name="connsiteY28874" fmla="*/ 2769878 h 5973007"/>
              <a:gd name="connsiteX28875" fmla="*/ 1382498 w 6884782"/>
              <a:gd name="connsiteY28875" fmla="*/ 2769258 h 5973007"/>
              <a:gd name="connsiteX28876" fmla="*/ 1383531 w 6884782"/>
              <a:gd name="connsiteY28876" fmla="*/ 2766780 h 5973007"/>
              <a:gd name="connsiteX28877" fmla="*/ 734255 w 6884782"/>
              <a:gd name="connsiteY28877" fmla="*/ 2766005 h 5973007"/>
              <a:gd name="connsiteX28878" fmla="*/ 730848 w 6884782"/>
              <a:gd name="connsiteY28878" fmla="*/ 2771272 h 5973007"/>
              <a:gd name="connsiteX28879" fmla="*/ 729815 w 6884782"/>
              <a:gd name="connsiteY28879" fmla="*/ 2771427 h 5973007"/>
              <a:gd name="connsiteX28880" fmla="*/ 734255 w 6884782"/>
              <a:gd name="connsiteY28880" fmla="*/ 2766005 h 5973007"/>
              <a:gd name="connsiteX28881" fmla="*/ 1009743 w 6884782"/>
              <a:gd name="connsiteY28881" fmla="*/ 2765076 h 5973007"/>
              <a:gd name="connsiteX28882" fmla="*/ 1018623 w 6884782"/>
              <a:gd name="connsiteY28882" fmla="*/ 2773286 h 5973007"/>
              <a:gd name="connsiteX28883" fmla="*/ 1013047 w 6884782"/>
              <a:gd name="connsiteY28883" fmla="*/ 2773596 h 5973007"/>
              <a:gd name="connsiteX28884" fmla="*/ 1009020 w 6884782"/>
              <a:gd name="connsiteY28884" fmla="*/ 2767864 h 5973007"/>
              <a:gd name="connsiteX28885" fmla="*/ 1009743 w 6884782"/>
              <a:gd name="connsiteY28885" fmla="*/ 2765076 h 5973007"/>
              <a:gd name="connsiteX28886" fmla="*/ 560062 w 6884782"/>
              <a:gd name="connsiteY28886" fmla="*/ 2763527 h 5973007"/>
              <a:gd name="connsiteX28887" fmla="*/ 562437 w 6884782"/>
              <a:gd name="connsiteY28887" fmla="*/ 2763992 h 5973007"/>
              <a:gd name="connsiteX28888" fmla="*/ 562333 w 6884782"/>
              <a:gd name="connsiteY28888" fmla="*/ 2771427 h 5973007"/>
              <a:gd name="connsiteX28889" fmla="*/ 559752 w 6884782"/>
              <a:gd name="connsiteY28889" fmla="*/ 2771891 h 5973007"/>
              <a:gd name="connsiteX28890" fmla="*/ 556655 w 6884782"/>
              <a:gd name="connsiteY28890" fmla="*/ 2766625 h 5973007"/>
              <a:gd name="connsiteX28891" fmla="*/ 558203 w 6884782"/>
              <a:gd name="connsiteY28891" fmla="*/ 2764301 h 5973007"/>
              <a:gd name="connsiteX28892" fmla="*/ 560062 w 6884782"/>
              <a:gd name="connsiteY28892" fmla="*/ 2763527 h 5973007"/>
              <a:gd name="connsiteX28893" fmla="*/ 740037 w 6884782"/>
              <a:gd name="connsiteY28893" fmla="*/ 2761668 h 5973007"/>
              <a:gd name="connsiteX28894" fmla="*/ 748711 w 6884782"/>
              <a:gd name="connsiteY28894" fmla="*/ 2763217 h 5973007"/>
              <a:gd name="connsiteX28895" fmla="*/ 750157 w 6884782"/>
              <a:gd name="connsiteY28895" fmla="*/ 2764301 h 5973007"/>
              <a:gd name="connsiteX28896" fmla="*/ 750880 w 6884782"/>
              <a:gd name="connsiteY28896" fmla="*/ 2764457 h 5973007"/>
              <a:gd name="connsiteX28897" fmla="*/ 751809 w 6884782"/>
              <a:gd name="connsiteY28897" fmla="*/ 2765386 h 5973007"/>
              <a:gd name="connsiteX28898" fmla="*/ 755526 w 6884782"/>
              <a:gd name="connsiteY28898" fmla="*/ 2767864 h 5973007"/>
              <a:gd name="connsiteX28899" fmla="*/ 752738 w 6884782"/>
              <a:gd name="connsiteY28899" fmla="*/ 2775764 h 5973007"/>
              <a:gd name="connsiteX28900" fmla="*/ 735288 w 6884782"/>
              <a:gd name="connsiteY28900" fmla="*/ 2763992 h 5973007"/>
              <a:gd name="connsiteX28901" fmla="*/ 740037 w 6884782"/>
              <a:gd name="connsiteY28901" fmla="*/ 2761668 h 5973007"/>
              <a:gd name="connsiteX28902" fmla="*/ 1195501 w 6884782"/>
              <a:gd name="connsiteY28902" fmla="*/ 2761513 h 5973007"/>
              <a:gd name="connsiteX28903" fmla="*/ 1193849 w 6884782"/>
              <a:gd name="connsiteY28903" fmla="*/ 2762598 h 5973007"/>
              <a:gd name="connsiteX28904" fmla="*/ 1192094 w 6884782"/>
              <a:gd name="connsiteY28904" fmla="*/ 2763372 h 5973007"/>
              <a:gd name="connsiteX28905" fmla="*/ 1193849 w 6884782"/>
              <a:gd name="connsiteY28905" fmla="*/ 2763992 h 5973007"/>
              <a:gd name="connsiteX28906" fmla="*/ 1179186 w 6884782"/>
              <a:gd name="connsiteY28906" fmla="*/ 2758725 h 5973007"/>
              <a:gd name="connsiteX28907" fmla="*/ 1175056 w 6884782"/>
              <a:gd name="connsiteY28907" fmla="*/ 2769258 h 5973007"/>
              <a:gd name="connsiteX28908" fmla="*/ 1166486 w 6884782"/>
              <a:gd name="connsiteY28908" fmla="*/ 2778087 h 5973007"/>
              <a:gd name="connsiteX28909" fmla="*/ 1165660 w 6884782"/>
              <a:gd name="connsiteY28909" fmla="*/ 2774525 h 5973007"/>
              <a:gd name="connsiteX28910" fmla="*/ 1165866 w 6884782"/>
              <a:gd name="connsiteY28910" fmla="*/ 2771272 h 5973007"/>
              <a:gd name="connsiteX28911" fmla="*/ 1179186 w 6884782"/>
              <a:gd name="connsiteY28911" fmla="*/ 2758725 h 5973007"/>
              <a:gd name="connsiteX28912" fmla="*/ 6515919 w 6884782"/>
              <a:gd name="connsiteY28912" fmla="*/ 2758166 h 5973007"/>
              <a:gd name="connsiteX28913" fmla="*/ 6529363 w 6884782"/>
              <a:gd name="connsiteY28913" fmla="*/ 2762435 h 5973007"/>
              <a:gd name="connsiteX28914" fmla="*/ 6514851 w 6884782"/>
              <a:gd name="connsiteY28914" fmla="*/ 2779791 h 5973007"/>
              <a:gd name="connsiteX28915" fmla="*/ 6503967 w 6884782"/>
              <a:gd name="connsiteY28915" fmla="*/ 2764284 h 5973007"/>
              <a:gd name="connsiteX28916" fmla="*/ 6515919 w 6884782"/>
              <a:gd name="connsiteY28916" fmla="*/ 2758166 h 5973007"/>
              <a:gd name="connsiteX28917" fmla="*/ 1255080 w 6884782"/>
              <a:gd name="connsiteY28917" fmla="*/ 2757951 h 5973007"/>
              <a:gd name="connsiteX28918" fmla="*/ 1255802 w 6884782"/>
              <a:gd name="connsiteY28918" fmla="*/ 2759190 h 5973007"/>
              <a:gd name="connsiteX28919" fmla="*/ 1255183 w 6884782"/>
              <a:gd name="connsiteY28919" fmla="*/ 2760739 h 5973007"/>
              <a:gd name="connsiteX28920" fmla="*/ 1253634 w 6884782"/>
              <a:gd name="connsiteY28920" fmla="*/ 2763837 h 5973007"/>
              <a:gd name="connsiteX28921" fmla="*/ 1255080 w 6884782"/>
              <a:gd name="connsiteY28921" fmla="*/ 2757951 h 5973007"/>
              <a:gd name="connsiteX28922" fmla="*/ 1124564 w 6884782"/>
              <a:gd name="connsiteY28922" fmla="*/ 2757641 h 5973007"/>
              <a:gd name="connsiteX28923" fmla="*/ 1125183 w 6884782"/>
              <a:gd name="connsiteY28923" fmla="*/ 2758106 h 5973007"/>
              <a:gd name="connsiteX28924" fmla="*/ 1123634 w 6884782"/>
              <a:gd name="connsiteY28924" fmla="*/ 2759345 h 5973007"/>
              <a:gd name="connsiteX28925" fmla="*/ 1123325 w 6884782"/>
              <a:gd name="connsiteY28925" fmla="*/ 2758570 h 5973007"/>
              <a:gd name="connsiteX28926" fmla="*/ 1124564 w 6884782"/>
              <a:gd name="connsiteY28926" fmla="*/ 2757641 h 5973007"/>
              <a:gd name="connsiteX28927" fmla="*/ 922492 w 6884782"/>
              <a:gd name="connsiteY28927" fmla="*/ 2757176 h 5973007"/>
              <a:gd name="connsiteX28928" fmla="*/ 908242 w 6884782"/>
              <a:gd name="connsiteY28928" fmla="*/ 2778862 h 5973007"/>
              <a:gd name="connsiteX28929" fmla="*/ 910720 w 6884782"/>
              <a:gd name="connsiteY28929" fmla="*/ 2774989 h 5973007"/>
              <a:gd name="connsiteX28930" fmla="*/ 908655 w 6884782"/>
              <a:gd name="connsiteY28930" fmla="*/ 2774525 h 5973007"/>
              <a:gd name="connsiteX28931" fmla="*/ 906383 w 6884782"/>
              <a:gd name="connsiteY28931" fmla="*/ 2769413 h 5973007"/>
              <a:gd name="connsiteX28932" fmla="*/ 907209 w 6884782"/>
              <a:gd name="connsiteY28932" fmla="*/ 2767554 h 5973007"/>
              <a:gd name="connsiteX28933" fmla="*/ 909068 w 6884782"/>
              <a:gd name="connsiteY28933" fmla="*/ 2766935 h 5973007"/>
              <a:gd name="connsiteX28934" fmla="*/ 911236 w 6884782"/>
              <a:gd name="connsiteY28934" fmla="*/ 2766470 h 5973007"/>
              <a:gd name="connsiteX28935" fmla="*/ 914437 w 6884782"/>
              <a:gd name="connsiteY28935" fmla="*/ 2767709 h 5973007"/>
              <a:gd name="connsiteX28936" fmla="*/ 917432 w 6884782"/>
              <a:gd name="connsiteY28936" fmla="*/ 2762443 h 5973007"/>
              <a:gd name="connsiteX28937" fmla="*/ 922492 w 6884782"/>
              <a:gd name="connsiteY28937" fmla="*/ 2757176 h 5973007"/>
              <a:gd name="connsiteX28938" fmla="*/ 884493 w 6884782"/>
              <a:gd name="connsiteY28938" fmla="*/ 2756557 h 5973007"/>
              <a:gd name="connsiteX28939" fmla="*/ 885732 w 6884782"/>
              <a:gd name="connsiteY28939" fmla="*/ 2757176 h 5973007"/>
              <a:gd name="connsiteX28940" fmla="*/ 886352 w 6884782"/>
              <a:gd name="connsiteY28940" fmla="*/ 2758725 h 5973007"/>
              <a:gd name="connsiteX28941" fmla="*/ 886662 w 6884782"/>
              <a:gd name="connsiteY28941" fmla="*/ 2759654 h 5973007"/>
              <a:gd name="connsiteX28942" fmla="*/ 888314 w 6884782"/>
              <a:gd name="connsiteY28942" fmla="*/ 2758880 h 5973007"/>
              <a:gd name="connsiteX28943" fmla="*/ 894715 w 6884782"/>
              <a:gd name="connsiteY28943" fmla="*/ 2764921 h 5973007"/>
              <a:gd name="connsiteX28944" fmla="*/ 879640 w 6884782"/>
              <a:gd name="connsiteY28944" fmla="*/ 2773440 h 5973007"/>
              <a:gd name="connsiteX28945" fmla="*/ 879021 w 6884782"/>
              <a:gd name="connsiteY28945" fmla="*/ 2770187 h 5973007"/>
              <a:gd name="connsiteX28946" fmla="*/ 884493 w 6884782"/>
              <a:gd name="connsiteY28946" fmla="*/ 2760739 h 5973007"/>
              <a:gd name="connsiteX28947" fmla="*/ 886145 w 6884782"/>
              <a:gd name="connsiteY28947" fmla="*/ 2759965 h 5973007"/>
              <a:gd name="connsiteX28948" fmla="*/ 984445 w 6884782"/>
              <a:gd name="connsiteY28948" fmla="*/ 2755163 h 5973007"/>
              <a:gd name="connsiteX28949" fmla="*/ 986097 w 6884782"/>
              <a:gd name="connsiteY28949" fmla="*/ 2756092 h 5973007"/>
              <a:gd name="connsiteX28950" fmla="*/ 987543 w 6884782"/>
              <a:gd name="connsiteY28950" fmla="*/ 2758106 h 5973007"/>
              <a:gd name="connsiteX28951" fmla="*/ 984135 w 6884782"/>
              <a:gd name="connsiteY28951" fmla="*/ 2761358 h 5973007"/>
              <a:gd name="connsiteX28952" fmla="*/ 982380 w 6884782"/>
              <a:gd name="connsiteY28952" fmla="*/ 2760429 h 5973007"/>
              <a:gd name="connsiteX28953" fmla="*/ 981761 w 6884782"/>
              <a:gd name="connsiteY28953" fmla="*/ 2757951 h 5973007"/>
              <a:gd name="connsiteX28954" fmla="*/ 984445 w 6884782"/>
              <a:gd name="connsiteY28954" fmla="*/ 2755163 h 5973007"/>
              <a:gd name="connsiteX28955" fmla="*/ 490261 w 6884782"/>
              <a:gd name="connsiteY28955" fmla="*/ 2754233 h 5973007"/>
              <a:gd name="connsiteX28956" fmla="*/ 498108 w 6884782"/>
              <a:gd name="connsiteY28956" fmla="*/ 2766470 h 5973007"/>
              <a:gd name="connsiteX28957" fmla="*/ 490984 w 6884782"/>
              <a:gd name="connsiteY28957" fmla="*/ 2767090 h 5973007"/>
              <a:gd name="connsiteX28958" fmla="*/ 489331 w 6884782"/>
              <a:gd name="connsiteY28958" fmla="*/ 2757176 h 5973007"/>
              <a:gd name="connsiteX28959" fmla="*/ 490261 w 6884782"/>
              <a:gd name="connsiteY28959" fmla="*/ 2754233 h 5973007"/>
              <a:gd name="connsiteX28960" fmla="*/ 1126629 w 6884782"/>
              <a:gd name="connsiteY28960" fmla="*/ 2754078 h 5973007"/>
              <a:gd name="connsiteX28961" fmla="*/ 1129313 w 6884782"/>
              <a:gd name="connsiteY28961" fmla="*/ 2754388 h 5973007"/>
              <a:gd name="connsiteX28962" fmla="*/ 1124873 w 6884782"/>
              <a:gd name="connsiteY28962" fmla="*/ 2757176 h 5973007"/>
              <a:gd name="connsiteX28963" fmla="*/ 1126629 w 6884782"/>
              <a:gd name="connsiteY28963" fmla="*/ 2754078 h 5973007"/>
              <a:gd name="connsiteX28964" fmla="*/ 469713 w 6884782"/>
              <a:gd name="connsiteY28964" fmla="*/ 2753304 h 5973007"/>
              <a:gd name="connsiteX28965" fmla="*/ 465273 w 6884782"/>
              <a:gd name="connsiteY28965" fmla="*/ 2769103 h 5973007"/>
              <a:gd name="connsiteX28966" fmla="*/ 463414 w 6884782"/>
              <a:gd name="connsiteY28966" fmla="*/ 2768484 h 5973007"/>
              <a:gd name="connsiteX28967" fmla="*/ 462691 w 6884782"/>
              <a:gd name="connsiteY28967" fmla="*/ 2766315 h 5973007"/>
              <a:gd name="connsiteX28968" fmla="*/ 464653 w 6884782"/>
              <a:gd name="connsiteY28968" fmla="*/ 2758106 h 5973007"/>
              <a:gd name="connsiteX28969" fmla="*/ 465376 w 6884782"/>
              <a:gd name="connsiteY28969" fmla="*/ 2756402 h 5973007"/>
              <a:gd name="connsiteX28970" fmla="*/ 466202 w 6884782"/>
              <a:gd name="connsiteY28970" fmla="*/ 2754543 h 5973007"/>
              <a:gd name="connsiteX28971" fmla="*/ 469713 w 6884782"/>
              <a:gd name="connsiteY28971" fmla="*/ 2753304 h 5973007"/>
              <a:gd name="connsiteX28972" fmla="*/ 1158122 w 6884782"/>
              <a:gd name="connsiteY28972" fmla="*/ 2752994 h 5973007"/>
              <a:gd name="connsiteX28973" fmla="*/ 1162975 w 6884782"/>
              <a:gd name="connsiteY28973" fmla="*/ 2757486 h 5973007"/>
              <a:gd name="connsiteX28974" fmla="*/ 1157503 w 6884782"/>
              <a:gd name="connsiteY28974" fmla="*/ 2760274 h 5973007"/>
              <a:gd name="connsiteX28975" fmla="*/ 1155954 w 6884782"/>
              <a:gd name="connsiteY28975" fmla="*/ 2755937 h 5973007"/>
              <a:gd name="connsiteX28976" fmla="*/ 1158122 w 6884782"/>
              <a:gd name="connsiteY28976" fmla="*/ 2752994 h 5973007"/>
              <a:gd name="connsiteX28977" fmla="*/ 642460 w 6884782"/>
              <a:gd name="connsiteY28977" fmla="*/ 2750825 h 5973007"/>
              <a:gd name="connsiteX28978" fmla="*/ 659498 w 6884782"/>
              <a:gd name="connsiteY28978" fmla="*/ 2761204 h 5973007"/>
              <a:gd name="connsiteX28979" fmla="*/ 656193 w 6884782"/>
              <a:gd name="connsiteY28979" fmla="*/ 2764301 h 5973007"/>
              <a:gd name="connsiteX28980" fmla="*/ 642151 w 6884782"/>
              <a:gd name="connsiteY28980" fmla="*/ 2754078 h 5973007"/>
              <a:gd name="connsiteX28981" fmla="*/ 642460 w 6884782"/>
              <a:gd name="connsiteY28981" fmla="*/ 2750825 h 5973007"/>
              <a:gd name="connsiteX28982" fmla="*/ 707512 w 6884782"/>
              <a:gd name="connsiteY28982" fmla="*/ 2749431 h 5973007"/>
              <a:gd name="connsiteX28983" fmla="*/ 709061 w 6884782"/>
              <a:gd name="connsiteY28983" fmla="*/ 2753459 h 5973007"/>
              <a:gd name="connsiteX28984" fmla="*/ 707305 w 6884782"/>
              <a:gd name="connsiteY28984" fmla="*/ 2756247 h 5973007"/>
              <a:gd name="connsiteX28985" fmla="*/ 706376 w 6884782"/>
              <a:gd name="connsiteY28985" fmla="*/ 2752684 h 5973007"/>
              <a:gd name="connsiteX28986" fmla="*/ 707512 w 6884782"/>
              <a:gd name="connsiteY28986" fmla="*/ 2749431 h 5973007"/>
              <a:gd name="connsiteX28987" fmla="*/ 722871 w 6884782"/>
              <a:gd name="connsiteY28987" fmla="*/ 2749218 h 5973007"/>
              <a:gd name="connsiteX28988" fmla="*/ 729609 w 6884782"/>
              <a:gd name="connsiteY28988" fmla="*/ 2749586 h 5973007"/>
              <a:gd name="connsiteX28989" fmla="*/ 728369 w 6884782"/>
              <a:gd name="connsiteY28989" fmla="*/ 2757951 h 5973007"/>
              <a:gd name="connsiteX28990" fmla="*/ 719076 w 6884782"/>
              <a:gd name="connsiteY28990" fmla="*/ 2755008 h 5973007"/>
              <a:gd name="connsiteX28991" fmla="*/ 722871 w 6884782"/>
              <a:gd name="connsiteY28991" fmla="*/ 2749218 h 5973007"/>
              <a:gd name="connsiteX28992" fmla="*/ 1381981 w 6884782"/>
              <a:gd name="connsiteY28992" fmla="*/ 2748192 h 5973007"/>
              <a:gd name="connsiteX28993" fmla="*/ 1377851 w 6884782"/>
              <a:gd name="connsiteY28993" fmla="*/ 2751135 h 5973007"/>
              <a:gd name="connsiteX28994" fmla="*/ 1381981 w 6884782"/>
              <a:gd name="connsiteY28994" fmla="*/ 2748192 h 5973007"/>
              <a:gd name="connsiteX28995" fmla="*/ 658672 w 6884782"/>
              <a:gd name="connsiteY28995" fmla="*/ 2746643 h 5973007"/>
              <a:gd name="connsiteX28996" fmla="*/ 676328 w 6884782"/>
              <a:gd name="connsiteY28996" fmla="*/ 2768793 h 5973007"/>
              <a:gd name="connsiteX28997" fmla="*/ 673437 w 6884782"/>
              <a:gd name="connsiteY28997" fmla="*/ 2765696 h 5973007"/>
              <a:gd name="connsiteX28998" fmla="*/ 673541 w 6884782"/>
              <a:gd name="connsiteY28998" fmla="*/ 2766160 h 5973007"/>
              <a:gd name="connsiteX28999" fmla="*/ 663628 w 6884782"/>
              <a:gd name="connsiteY28999" fmla="*/ 2763837 h 5973007"/>
              <a:gd name="connsiteX29000" fmla="*/ 666622 w 6884782"/>
              <a:gd name="connsiteY29000" fmla="*/ 2758261 h 5973007"/>
              <a:gd name="connsiteX29001" fmla="*/ 667035 w 6884782"/>
              <a:gd name="connsiteY29001" fmla="*/ 2758570 h 5973007"/>
              <a:gd name="connsiteX29002" fmla="*/ 662492 w 6884782"/>
              <a:gd name="connsiteY29002" fmla="*/ 2753459 h 5973007"/>
              <a:gd name="connsiteX29003" fmla="*/ 658672 w 6884782"/>
              <a:gd name="connsiteY29003" fmla="*/ 2746643 h 5973007"/>
              <a:gd name="connsiteX29004" fmla="*/ 706479 w 6884782"/>
              <a:gd name="connsiteY29004" fmla="*/ 2745869 h 5973007"/>
              <a:gd name="connsiteX29005" fmla="*/ 707615 w 6884782"/>
              <a:gd name="connsiteY29005" fmla="*/ 2746334 h 5973007"/>
              <a:gd name="connsiteX29006" fmla="*/ 707925 w 6884782"/>
              <a:gd name="connsiteY29006" fmla="*/ 2746798 h 5973007"/>
              <a:gd name="connsiteX29007" fmla="*/ 707305 w 6884782"/>
              <a:gd name="connsiteY29007" fmla="*/ 2749431 h 5973007"/>
              <a:gd name="connsiteX29008" fmla="*/ 705963 w 6884782"/>
              <a:gd name="connsiteY29008" fmla="*/ 2746488 h 5973007"/>
              <a:gd name="connsiteX29009" fmla="*/ 707099 w 6884782"/>
              <a:gd name="connsiteY29009" fmla="*/ 2746334 h 5973007"/>
              <a:gd name="connsiteX29010" fmla="*/ 706479 w 6884782"/>
              <a:gd name="connsiteY29010" fmla="*/ 2745869 h 5973007"/>
              <a:gd name="connsiteX29011" fmla="*/ 1013150 w 6884782"/>
              <a:gd name="connsiteY29011" fmla="*/ 2744940 h 5973007"/>
              <a:gd name="connsiteX29012" fmla="*/ 1015422 w 6884782"/>
              <a:gd name="connsiteY29012" fmla="*/ 2748347 h 5973007"/>
              <a:gd name="connsiteX29013" fmla="*/ 1014905 w 6884782"/>
              <a:gd name="connsiteY29013" fmla="*/ 2751290 h 5973007"/>
              <a:gd name="connsiteX29014" fmla="*/ 1014493 w 6884782"/>
              <a:gd name="connsiteY29014" fmla="*/ 2752375 h 5973007"/>
              <a:gd name="connsiteX29015" fmla="*/ 1014699 w 6884782"/>
              <a:gd name="connsiteY29015" fmla="*/ 2752375 h 5973007"/>
              <a:gd name="connsiteX29016" fmla="*/ 1014596 w 6884782"/>
              <a:gd name="connsiteY29016" fmla="*/ 2754698 h 5973007"/>
              <a:gd name="connsiteX29017" fmla="*/ 1014802 w 6884782"/>
              <a:gd name="connsiteY29017" fmla="*/ 2755472 h 5973007"/>
              <a:gd name="connsiteX29018" fmla="*/ 1014596 w 6884782"/>
              <a:gd name="connsiteY29018" fmla="*/ 2755782 h 5973007"/>
              <a:gd name="connsiteX29019" fmla="*/ 1014596 w 6884782"/>
              <a:gd name="connsiteY29019" fmla="*/ 2756557 h 5973007"/>
              <a:gd name="connsiteX29020" fmla="*/ 1010982 w 6884782"/>
              <a:gd name="connsiteY29020" fmla="*/ 2755318 h 5973007"/>
              <a:gd name="connsiteX29021" fmla="*/ 1010156 w 6884782"/>
              <a:gd name="connsiteY29021" fmla="*/ 2752684 h 5973007"/>
              <a:gd name="connsiteX29022" fmla="*/ 1010982 w 6884782"/>
              <a:gd name="connsiteY29022" fmla="*/ 2752220 h 5973007"/>
              <a:gd name="connsiteX29023" fmla="*/ 1011085 w 6884782"/>
              <a:gd name="connsiteY29023" fmla="*/ 2752839 h 5973007"/>
              <a:gd name="connsiteX29024" fmla="*/ 1012428 w 6884782"/>
              <a:gd name="connsiteY29024" fmla="*/ 2752684 h 5973007"/>
              <a:gd name="connsiteX29025" fmla="*/ 1011704 w 6884782"/>
              <a:gd name="connsiteY29025" fmla="*/ 2751445 h 5973007"/>
              <a:gd name="connsiteX29026" fmla="*/ 1010156 w 6884782"/>
              <a:gd name="connsiteY29026" fmla="*/ 2746798 h 5973007"/>
              <a:gd name="connsiteX29027" fmla="*/ 1010879 w 6884782"/>
              <a:gd name="connsiteY29027" fmla="*/ 2745249 h 5973007"/>
              <a:gd name="connsiteX29028" fmla="*/ 1013150 w 6884782"/>
              <a:gd name="connsiteY29028" fmla="*/ 2744940 h 5973007"/>
              <a:gd name="connsiteX29029" fmla="*/ 726821 w 6884782"/>
              <a:gd name="connsiteY29029" fmla="*/ 2743081 h 5973007"/>
              <a:gd name="connsiteX29030" fmla="*/ 731880 w 6884782"/>
              <a:gd name="connsiteY29030" fmla="*/ 2748192 h 5973007"/>
              <a:gd name="connsiteX29031" fmla="*/ 730848 w 6884782"/>
              <a:gd name="connsiteY29031" fmla="*/ 2749586 h 5973007"/>
              <a:gd name="connsiteX29032" fmla="*/ 728473 w 6884782"/>
              <a:gd name="connsiteY29032" fmla="*/ 2748967 h 5973007"/>
              <a:gd name="connsiteX29033" fmla="*/ 725788 w 6884782"/>
              <a:gd name="connsiteY29033" fmla="*/ 2744475 h 5973007"/>
              <a:gd name="connsiteX29034" fmla="*/ 726821 w 6884782"/>
              <a:gd name="connsiteY29034" fmla="*/ 2743081 h 5973007"/>
              <a:gd name="connsiteX29035" fmla="*/ 991260 w 6884782"/>
              <a:gd name="connsiteY29035" fmla="*/ 2742771 h 5973007"/>
              <a:gd name="connsiteX29036" fmla="*/ 1000656 w 6884782"/>
              <a:gd name="connsiteY29036" fmla="*/ 2744165 h 5973007"/>
              <a:gd name="connsiteX29037" fmla="*/ 987853 w 6884782"/>
              <a:gd name="connsiteY29037" fmla="*/ 2765541 h 5973007"/>
              <a:gd name="connsiteX29038" fmla="*/ 987749 w 6884782"/>
              <a:gd name="connsiteY29038" fmla="*/ 2752375 h 5973007"/>
              <a:gd name="connsiteX29039" fmla="*/ 991260 w 6884782"/>
              <a:gd name="connsiteY29039" fmla="*/ 2742771 h 5973007"/>
              <a:gd name="connsiteX29040" fmla="*/ 695018 w 6884782"/>
              <a:gd name="connsiteY29040" fmla="*/ 2741997 h 5973007"/>
              <a:gd name="connsiteX29041" fmla="*/ 694915 w 6884782"/>
              <a:gd name="connsiteY29041" fmla="*/ 2749741 h 5973007"/>
              <a:gd name="connsiteX29042" fmla="*/ 693056 w 6884782"/>
              <a:gd name="connsiteY29042" fmla="*/ 2750361 h 5973007"/>
              <a:gd name="connsiteX29043" fmla="*/ 688720 w 6884782"/>
              <a:gd name="connsiteY29043" fmla="*/ 2750825 h 5973007"/>
              <a:gd name="connsiteX29044" fmla="*/ 687067 w 6884782"/>
              <a:gd name="connsiteY29044" fmla="*/ 2748037 h 5973007"/>
              <a:gd name="connsiteX29045" fmla="*/ 688823 w 6884782"/>
              <a:gd name="connsiteY29045" fmla="*/ 2744785 h 5973007"/>
              <a:gd name="connsiteX29046" fmla="*/ 691920 w 6884782"/>
              <a:gd name="connsiteY29046" fmla="*/ 2743081 h 5973007"/>
              <a:gd name="connsiteX29047" fmla="*/ 695018 w 6884782"/>
              <a:gd name="connsiteY29047" fmla="*/ 2741997 h 5973007"/>
              <a:gd name="connsiteX29048" fmla="*/ 1356580 w 6884782"/>
              <a:gd name="connsiteY29048" fmla="*/ 2739054 h 5973007"/>
              <a:gd name="connsiteX29049" fmla="*/ 1361227 w 6884782"/>
              <a:gd name="connsiteY29049" fmla="*/ 2742771 h 5973007"/>
              <a:gd name="connsiteX29050" fmla="*/ 1358956 w 6884782"/>
              <a:gd name="connsiteY29050" fmla="*/ 2744010 h 5973007"/>
              <a:gd name="connsiteX29051" fmla="*/ 1356580 w 6884782"/>
              <a:gd name="connsiteY29051" fmla="*/ 2739054 h 5973007"/>
              <a:gd name="connsiteX29052" fmla="*/ 1139020 w 6884782"/>
              <a:gd name="connsiteY29052" fmla="*/ 2738124 h 5973007"/>
              <a:gd name="connsiteX29053" fmla="*/ 1138400 w 6884782"/>
              <a:gd name="connsiteY29053" fmla="*/ 2741532 h 5973007"/>
              <a:gd name="connsiteX29054" fmla="*/ 1135715 w 6884782"/>
              <a:gd name="connsiteY29054" fmla="*/ 2742151 h 5973007"/>
              <a:gd name="connsiteX29055" fmla="*/ 1139020 w 6884782"/>
              <a:gd name="connsiteY29055" fmla="*/ 2738124 h 5973007"/>
              <a:gd name="connsiteX29056" fmla="*/ 1393753 w 6884782"/>
              <a:gd name="connsiteY29056" fmla="*/ 2737504 h 5973007"/>
              <a:gd name="connsiteX29057" fmla="*/ 1394372 w 6884782"/>
              <a:gd name="connsiteY29057" fmla="*/ 2739054 h 5973007"/>
              <a:gd name="connsiteX29058" fmla="*/ 1392514 w 6884782"/>
              <a:gd name="connsiteY29058" fmla="*/ 2738898 h 5973007"/>
              <a:gd name="connsiteX29059" fmla="*/ 1391378 w 6884782"/>
              <a:gd name="connsiteY29059" fmla="*/ 2738589 h 5973007"/>
              <a:gd name="connsiteX29060" fmla="*/ 1393753 w 6884782"/>
              <a:gd name="connsiteY29060" fmla="*/ 2737504 h 5973007"/>
              <a:gd name="connsiteX29061" fmla="*/ 983722 w 6884782"/>
              <a:gd name="connsiteY29061" fmla="*/ 2737350 h 5973007"/>
              <a:gd name="connsiteX29062" fmla="*/ 991054 w 6884782"/>
              <a:gd name="connsiteY29062" fmla="*/ 2738279 h 5973007"/>
              <a:gd name="connsiteX29063" fmla="*/ 984342 w 6884782"/>
              <a:gd name="connsiteY29063" fmla="*/ 2738124 h 5973007"/>
              <a:gd name="connsiteX29064" fmla="*/ 983722 w 6884782"/>
              <a:gd name="connsiteY29064" fmla="*/ 2737350 h 5973007"/>
              <a:gd name="connsiteX29065" fmla="*/ 952229 w 6884782"/>
              <a:gd name="connsiteY29065" fmla="*/ 2736575 h 5973007"/>
              <a:gd name="connsiteX29066" fmla="*/ 959044 w 6884782"/>
              <a:gd name="connsiteY29066" fmla="*/ 2739054 h 5973007"/>
              <a:gd name="connsiteX29067" fmla="*/ 970093 w 6884782"/>
              <a:gd name="connsiteY29067" fmla="*/ 2742926 h 5973007"/>
              <a:gd name="connsiteX29068" fmla="*/ 969266 w 6884782"/>
              <a:gd name="connsiteY29068" fmla="*/ 2751135 h 5973007"/>
              <a:gd name="connsiteX29069" fmla="*/ 949234 w 6884782"/>
              <a:gd name="connsiteY29069" fmla="*/ 2754388 h 5973007"/>
              <a:gd name="connsiteX29070" fmla="*/ 947789 w 6884782"/>
              <a:gd name="connsiteY29070" fmla="*/ 2753924 h 5973007"/>
              <a:gd name="connsiteX29071" fmla="*/ 947273 w 6884782"/>
              <a:gd name="connsiteY29071" fmla="*/ 2754233 h 5973007"/>
              <a:gd name="connsiteX29072" fmla="*/ 939426 w 6884782"/>
              <a:gd name="connsiteY29072" fmla="*/ 2755782 h 5973007"/>
              <a:gd name="connsiteX29073" fmla="*/ 943865 w 6884782"/>
              <a:gd name="connsiteY29073" fmla="*/ 2752529 h 5973007"/>
              <a:gd name="connsiteX29074" fmla="*/ 942317 w 6884782"/>
              <a:gd name="connsiteY29074" fmla="*/ 2751910 h 5973007"/>
              <a:gd name="connsiteX29075" fmla="*/ 938083 w 6884782"/>
              <a:gd name="connsiteY29075" fmla="*/ 2750671 h 5973007"/>
              <a:gd name="connsiteX29076" fmla="*/ 936328 w 6884782"/>
              <a:gd name="connsiteY29076" fmla="*/ 2746798 h 5973007"/>
              <a:gd name="connsiteX29077" fmla="*/ 936224 w 6884782"/>
              <a:gd name="connsiteY29077" fmla="*/ 2744940 h 5973007"/>
              <a:gd name="connsiteX29078" fmla="*/ 945518 w 6884782"/>
              <a:gd name="connsiteY29078" fmla="*/ 2737814 h 5973007"/>
              <a:gd name="connsiteX29079" fmla="*/ 952229 w 6884782"/>
              <a:gd name="connsiteY29079" fmla="*/ 2736575 h 5973007"/>
              <a:gd name="connsiteX29080" fmla="*/ 1316827 w 6884782"/>
              <a:gd name="connsiteY29080" fmla="*/ 2735955 h 5973007"/>
              <a:gd name="connsiteX29081" fmla="*/ 1319718 w 6884782"/>
              <a:gd name="connsiteY29081" fmla="*/ 2743236 h 5973007"/>
              <a:gd name="connsiteX29082" fmla="*/ 1318789 w 6884782"/>
              <a:gd name="connsiteY29082" fmla="*/ 2744475 h 5973007"/>
              <a:gd name="connsiteX29083" fmla="*/ 1318892 w 6884782"/>
              <a:gd name="connsiteY29083" fmla="*/ 2744630 h 5973007"/>
              <a:gd name="connsiteX29084" fmla="*/ 1320751 w 6884782"/>
              <a:gd name="connsiteY29084" fmla="*/ 2747263 h 5973007"/>
              <a:gd name="connsiteX29085" fmla="*/ 1317343 w 6884782"/>
              <a:gd name="connsiteY29085" fmla="*/ 2751135 h 5973007"/>
              <a:gd name="connsiteX29086" fmla="*/ 1314452 w 6884782"/>
              <a:gd name="connsiteY29086" fmla="*/ 2752994 h 5973007"/>
              <a:gd name="connsiteX29087" fmla="*/ 1313729 w 6884782"/>
              <a:gd name="connsiteY29087" fmla="*/ 2758725 h 5973007"/>
              <a:gd name="connsiteX29088" fmla="*/ 1314865 w 6884782"/>
              <a:gd name="connsiteY29088" fmla="*/ 2758880 h 5973007"/>
              <a:gd name="connsiteX29089" fmla="*/ 1316104 w 6884782"/>
              <a:gd name="connsiteY29089" fmla="*/ 2759345 h 5973007"/>
              <a:gd name="connsiteX29090" fmla="*/ 1316207 w 6884782"/>
              <a:gd name="connsiteY29090" fmla="*/ 2758570 h 5973007"/>
              <a:gd name="connsiteX29091" fmla="*/ 1323848 w 6884782"/>
              <a:gd name="connsiteY29091" fmla="*/ 2757951 h 5973007"/>
              <a:gd name="connsiteX29092" fmla="*/ 1327978 w 6884782"/>
              <a:gd name="connsiteY29092" fmla="*/ 2758415 h 5973007"/>
              <a:gd name="connsiteX29093" fmla="*/ 1325707 w 6884782"/>
              <a:gd name="connsiteY29093" fmla="*/ 2753924 h 5973007"/>
              <a:gd name="connsiteX29094" fmla="*/ 1327256 w 6884782"/>
              <a:gd name="connsiteY29094" fmla="*/ 2746334 h 5973007"/>
              <a:gd name="connsiteX29095" fmla="*/ 1342125 w 6884782"/>
              <a:gd name="connsiteY29095" fmla="*/ 2753924 h 5973007"/>
              <a:gd name="connsiteX29096" fmla="*/ 1334484 w 6884782"/>
              <a:gd name="connsiteY29096" fmla="*/ 2758415 h 5973007"/>
              <a:gd name="connsiteX29097" fmla="*/ 1329424 w 6884782"/>
              <a:gd name="connsiteY29097" fmla="*/ 2759035 h 5973007"/>
              <a:gd name="connsiteX29098" fmla="*/ 1330457 w 6884782"/>
              <a:gd name="connsiteY29098" fmla="*/ 2761978 h 5973007"/>
              <a:gd name="connsiteX29099" fmla="*/ 1322299 w 6884782"/>
              <a:gd name="connsiteY29099" fmla="*/ 2763682 h 5973007"/>
              <a:gd name="connsiteX29100" fmla="*/ 1322093 w 6884782"/>
              <a:gd name="connsiteY29100" fmla="*/ 2763682 h 5973007"/>
              <a:gd name="connsiteX29101" fmla="*/ 1322712 w 6884782"/>
              <a:gd name="connsiteY29101" fmla="*/ 2764301 h 5973007"/>
              <a:gd name="connsiteX29102" fmla="*/ 1324055 w 6884782"/>
              <a:gd name="connsiteY29102" fmla="*/ 2771582 h 5973007"/>
              <a:gd name="connsiteX29103" fmla="*/ 1323435 w 6884782"/>
              <a:gd name="connsiteY29103" fmla="*/ 2772356 h 5973007"/>
              <a:gd name="connsiteX29104" fmla="*/ 1323229 w 6884782"/>
              <a:gd name="connsiteY29104" fmla="*/ 2774370 h 5973007"/>
              <a:gd name="connsiteX29105" fmla="*/ 1323022 w 6884782"/>
              <a:gd name="connsiteY29105" fmla="*/ 2774525 h 5973007"/>
              <a:gd name="connsiteX29106" fmla="*/ 1323022 w 6884782"/>
              <a:gd name="connsiteY29106" fmla="*/ 2774679 h 5973007"/>
              <a:gd name="connsiteX29107" fmla="*/ 1322196 w 6884782"/>
              <a:gd name="connsiteY29107" fmla="*/ 2774989 h 5973007"/>
              <a:gd name="connsiteX29108" fmla="*/ 1318375 w 6884782"/>
              <a:gd name="connsiteY29108" fmla="*/ 2776848 h 5973007"/>
              <a:gd name="connsiteX29109" fmla="*/ 1317446 w 6884782"/>
              <a:gd name="connsiteY29109" fmla="*/ 2776074 h 5973007"/>
              <a:gd name="connsiteX29110" fmla="*/ 1314555 w 6884782"/>
              <a:gd name="connsiteY29110" fmla="*/ 2776848 h 5973007"/>
              <a:gd name="connsiteX29111" fmla="*/ 1309805 w 6884782"/>
              <a:gd name="connsiteY29111" fmla="*/ 2774060 h 5973007"/>
              <a:gd name="connsiteX29112" fmla="*/ 1307121 w 6884782"/>
              <a:gd name="connsiteY29112" fmla="*/ 2779946 h 5973007"/>
              <a:gd name="connsiteX29113" fmla="*/ 1300409 w 6884782"/>
              <a:gd name="connsiteY29113" fmla="*/ 2788465 h 5973007"/>
              <a:gd name="connsiteX29114" fmla="*/ 1307327 w 6884782"/>
              <a:gd name="connsiteY29114" fmla="*/ 2800547 h 5973007"/>
              <a:gd name="connsiteX29115" fmla="*/ 1290496 w 6884782"/>
              <a:gd name="connsiteY29115" fmla="*/ 2793422 h 5973007"/>
              <a:gd name="connsiteX29116" fmla="*/ 1283888 w 6884782"/>
              <a:gd name="connsiteY29116" fmla="*/ 2786452 h 5973007"/>
              <a:gd name="connsiteX29117" fmla="*/ 1283062 w 6884782"/>
              <a:gd name="connsiteY29117" fmla="*/ 2786761 h 5973007"/>
              <a:gd name="connsiteX29118" fmla="*/ 1278312 w 6884782"/>
              <a:gd name="connsiteY29118" fmla="*/ 2785522 h 5973007"/>
              <a:gd name="connsiteX29119" fmla="*/ 1279448 w 6884782"/>
              <a:gd name="connsiteY29119" fmla="*/ 2783354 h 5973007"/>
              <a:gd name="connsiteX29120" fmla="*/ 1282236 w 6884782"/>
              <a:gd name="connsiteY29120" fmla="*/ 2782889 h 5973007"/>
              <a:gd name="connsiteX29121" fmla="*/ 1279964 w 6884782"/>
              <a:gd name="connsiteY29121" fmla="*/ 2777468 h 5973007"/>
              <a:gd name="connsiteX29122" fmla="*/ 1280067 w 6884782"/>
              <a:gd name="connsiteY29122" fmla="*/ 2777003 h 5973007"/>
              <a:gd name="connsiteX29123" fmla="*/ 1277899 w 6884782"/>
              <a:gd name="connsiteY29123" fmla="*/ 2772976 h 5973007"/>
              <a:gd name="connsiteX29124" fmla="*/ 1277899 w 6884782"/>
              <a:gd name="connsiteY29124" fmla="*/ 2772356 h 5973007"/>
              <a:gd name="connsiteX29125" fmla="*/ 1272736 w 6884782"/>
              <a:gd name="connsiteY29125" fmla="*/ 2774370 h 5973007"/>
              <a:gd name="connsiteX29126" fmla="*/ 1267470 w 6884782"/>
              <a:gd name="connsiteY29126" fmla="*/ 2774525 h 5973007"/>
              <a:gd name="connsiteX29127" fmla="*/ 1287812 w 6884782"/>
              <a:gd name="connsiteY29127" fmla="*/ 2761978 h 5973007"/>
              <a:gd name="connsiteX29128" fmla="*/ 1285437 w 6884782"/>
              <a:gd name="connsiteY29128" fmla="*/ 2765850 h 5973007"/>
              <a:gd name="connsiteX29129" fmla="*/ 1286160 w 6884782"/>
              <a:gd name="connsiteY29129" fmla="*/ 2767400 h 5973007"/>
              <a:gd name="connsiteX29130" fmla="*/ 1288328 w 6884782"/>
              <a:gd name="connsiteY29130" fmla="*/ 2760584 h 5973007"/>
              <a:gd name="connsiteX29131" fmla="*/ 1293388 w 6884782"/>
              <a:gd name="connsiteY29131" fmla="*/ 2752529 h 5973007"/>
              <a:gd name="connsiteX29132" fmla="*/ 1295453 w 6884782"/>
              <a:gd name="connsiteY29132" fmla="*/ 2750671 h 5973007"/>
              <a:gd name="connsiteX29133" fmla="*/ 1295866 w 6884782"/>
              <a:gd name="connsiteY29133" fmla="*/ 2748037 h 5973007"/>
              <a:gd name="connsiteX29134" fmla="*/ 1296898 w 6884782"/>
              <a:gd name="connsiteY29134" fmla="*/ 2749277 h 5973007"/>
              <a:gd name="connsiteX29135" fmla="*/ 1299996 w 6884782"/>
              <a:gd name="connsiteY29135" fmla="*/ 2746488 h 5973007"/>
              <a:gd name="connsiteX29136" fmla="*/ 1307534 w 6884782"/>
              <a:gd name="connsiteY29136" fmla="*/ 2743855 h 5973007"/>
              <a:gd name="connsiteX29137" fmla="*/ 1309186 w 6884782"/>
              <a:gd name="connsiteY29137" fmla="*/ 2744165 h 5973007"/>
              <a:gd name="connsiteX29138" fmla="*/ 1309083 w 6884782"/>
              <a:gd name="connsiteY29138" fmla="*/ 2743700 h 5973007"/>
              <a:gd name="connsiteX29139" fmla="*/ 1309496 w 6884782"/>
              <a:gd name="connsiteY29139" fmla="*/ 2742616 h 5973007"/>
              <a:gd name="connsiteX29140" fmla="*/ 1316827 w 6884782"/>
              <a:gd name="connsiteY29140" fmla="*/ 2735955 h 5973007"/>
              <a:gd name="connsiteX29141" fmla="*/ 1139433 w 6884782"/>
              <a:gd name="connsiteY29141" fmla="*/ 2735646 h 5973007"/>
              <a:gd name="connsiteX29142" fmla="*/ 1139123 w 6884782"/>
              <a:gd name="connsiteY29142" fmla="*/ 2737504 h 5973007"/>
              <a:gd name="connsiteX29143" fmla="*/ 1138400 w 6884782"/>
              <a:gd name="connsiteY29143" fmla="*/ 2737504 h 5973007"/>
              <a:gd name="connsiteX29144" fmla="*/ 1139433 w 6884782"/>
              <a:gd name="connsiteY29144" fmla="*/ 2735646 h 5973007"/>
              <a:gd name="connsiteX29145" fmla="*/ 860021 w 6884782"/>
              <a:gd name="connsiteY29145" fmla="*/ 2734872 h 5973007"/>
              <a:gd name="connsiteX29146" fmla="*/ 864255 w 6884782"/>
              <a:gd name="connsiteY29146" fmla="*/ 2735491 h 5973007"/>
              <a:gd name="connsiteX29147" fmla="*/ 864978 w 6884782"/>
              <a:gd name="connsiteY29147" fmla="*/ 2737969 h 5973007"/>
              <a:gd name="connsiteX29148" fmla="*/ 862396 w 6884782"/>
              <a:gd name="connsiteY29148" fmla="*/ 2738898 h 5973007"/>
              <a:gd name="connsiteX29149" fmla="*/ 859815 w 6884782"/>
              <a:gd name="connsiteY29149" fmla="*/ 2738124 h 5973007"/>
              <a:gd name="connsiteX29150" fmla="*/ 859505 w 6884782"/>
              <a:gd name="connsiteY29150" fmla="*/ 2736730 h 5973007"/>
              <a:gd name="connsiteX29151" fmla="*/ 860021 w 6884782"/>
              <a:gd name="connsiteY29151" fmla="*/ 2734872 h 5973007"/>
              <a:gd name="connsiteX29152" fmla="*/ 639672 w 6884782"/>
              <a:gd name="connsiteY29152" fmla="*/ 2734252 h 5973007"/>
              <a:gd name="connsiteX29153" fmla="*/ 633684 w 6884782"/>
              <a:gd name="connsiteY29153" fmla="*/ 2749741 h 5973007"/>
              <a:gd name="connsiteX29154" fmla="*/ 631928 w 6884782"/>
              <a:gd name="connsiteY29154" fmla="*/ 2748967 h 5973007"/>
              <a:gd name="connsiteX29155" fmla="*/ 631515 w 6884782"/>
              <a:gd name="connsiteY29155" fmla="*/ 2746798 h 5973007"/>
              <a:gd name="connsiteX29156" fmla="*/ 634200 w 6884782"/>
              <a:gd name="connsiteY29156" fmla="*/ 2738744 h 5973007"/>
              <a:gd name="connsiteX29157" fmla="*/ 635232 w 6884782"/>
              <a:gd name="connsiteY29157" fmla="*/ 2737040 h 5973007"/>
              <a:gd name="connsiteX29158" fmla="*/ 636162 w 6884782"/>
              <a:gd name="connsiteY29158" fmla="*/ 2735336 h 5973007"/>
              <a:gd name="connsiteX29159" fmla="*/ 639672 w 6884782"/>
              <a:gd name="connsiteY29159" fmla="*/ 2734252 h 5973007"/>
              <a:gd name="connsiteX29160" fmla="*/ 1375192 w 6884782"/>
              <a:gd name="connsiteY29160" fmla="*/ 2734136 h 5973007"/>
              <a:gd name="connsiteX29161" fmla="*/ 1381259 w 6884782"/>
              <a:gd name="connsiteY29161" fmla="*/ 2737350 h 5973007"/>
              <a:gd name="connsiteX29162" fmla="*/ 1381259 w 6884782"/>
              <a:gd name="connsiteY29162" fmla="*/ 2742151 h 5973007"/>
              <a:gd name="connsiteX29163" fmla="*/ 1368661 w 6884782"/>
              <a:gd name="connsiteY29163" fmla="*/ 2739518 h 5973007"/>
              <a:gd name="connsiteX29164" fmla="*/ 1375192 w 6884782"/>
              <a:gd name="connsiteY29164" fmla="*/ 2734136 h 5973007"/>
              <a:gd name="connsiteX29165" fmla="*/ 1290290 w 6884782"/>
              <a:gd name="connsiteY29165" fmla="*/ 2732858 h 5973007"/>
              <a:gd name="connsiteX29166" fmla="*/ 1299686 w 6884782"/>
              <a:gd name="connsiteY29166" fmla="*/ 2743391 h 5973007"/>
              <a:gd name="connsiteX29167" fmla="*/ 1285334 w 6884782"/>
              <a:gd name="connsiteY29167" fmla="*/ 2745249 h 5973007"/>
              <a:gd name="connsiteX29168" fmla="*/ 1285127 w 6884782"/>
              <a:gd name="connsiteY29168" fmla="*/ 2741377 h 5973007"/>
              <a:gd name="connsiteX29169" fmla="*/ 1290290 w 6884782"/>
              <a:gd name="connsiteY29169" fmla="*/ 2732858 h 5973007"/>
              <a:gd name="connsiteX29170" fmla="*/ 652786 w 6884782"/>
              <a:gd name="connsiteY29170" fmla="*/ 2732858 h 5973007"/>
              <a:gd name="connsiteX29171" fmla="*/ 662698 w 6884782"/>
              <a:gd name="connsiteY29171" fmla="*/ 2741687 h 5973007"/>
              <a:gd name="connsiteX29172" fmla="*/ 657329 w 6884782"/>
              <a:gd name="connsiteY29172" fmla="*/ 2746953 h 5973007"/>
              <a:gd name="connsiteX29173" fmla="*/ 648449 w 6884782"/>
              <a:gd name="connsiteY29173" fmla="*/ 2742151 h 5973007"/>
              <a:gd name="connsiteX29174" fmla="*/ 648656 w 6884782"/>
              <a:gd name="connsiteY29174" fmla="*/ 2738279 h 5973007"/>
              <a:gd name="connsiteX29175" fmla="*/ 652786 w 6884782"/>
              <a:gd name="connsiteY29175" fmla="*/ 2732858 h 5973007"/>
              <a:gd name="connsiteX29176" fmla="*/ 962555 w 6884782"/>
              <a:gd name="connsiteY29176" fmla="*/ 2732548 h 5973007"/>
              <a:gd name="connsiteX29177" fmla="*/ 964310 w 6884782"/>
              <a:gd name="connsiteY29177" fmla="*/ 2733322 h 5973007"/>
              <a:gd name="connsiteX29178" fmla="*/ 963277 w 6884782"/>
              <a:gd name="connsiteY29178" fmla="*/ 2734097 h 5973007"/>
              <a:gd name="connsiteX29179" fmla="*/ 962555 w 6884782"/>
              <a:gd name="connsiteY29179" fmla="*/ 2733477 h 5973007"/>
              <a:gd name="connsiteX29180" fmla="*/ 962555 w 6884782"/>
              <a:gd name="connsiteY29180" fmla="*/ 2732548 h 5973007"/>
              <a:gd name="connsiteX29181" fmla="*/ 958115 w 6884782"/>
              <a:gd name="connsiteY29181" fmla="*/ 2732393 h 5973007"/>
              <a:gd name="connsiteX29182" fmla="*/ 959973 w 6884782"/>
              <a:gd name="connsiteY29182" fmla="*/ 2733168 h 5973007"/>
              <a:gd name="connsiteX29183" fmla="*/ 958011 w 6884782"/>
              <a:gd name="connsiteY29183" fmla="*/ 2733168 h 5973007"/>
              <a:gd name="connsiteX29184" fmla="*/ 958115 w 6884782"/>
              <a:gd name="connsiteY29184" fmla="*/ 2732393 h 5973007"/>
              <a:gd name="connsiteX29185" fmla="*/ 1140156 w 6884782"/>
              <a:gd name="connsiteY29185" fmla="*/ 2731464 h 5973007"/>
              <a:gd name="connsiteX29186" fmla="*/ 1140775 w 6884782"/>
              <a:gd name="connsiteY29186" fmla="*/ 2732393 h 5973007"/>
              <a:gd name="connsiteX29187" fmla="*/ 1139020 w 6884782"/>
              <a:gd name="connsiteY29187" fmla="*/ 2733322 h 5973007"/>
              <a:gd name="connsiteX29188" fmla="*/ 1140156 w 6884782"/>
              <a:gd name="connsiteY29188" fmla="*/ 2731464 h 5973007"/>
              <a:gd name="connsiteX29189" fmla="*/ 1249194 w 6884782"/>
              <a:gd name="connsiteY29189" fmla="*/ 2730844 h 5973007"/>
              <a:gd name="connsiteX29190" fmla="*/ 1267470 w 6884782"/>
              <a:gd name="connsiteY29190" fmla="*/ 2749431 h 5973007"/>
              <a:gd name="connsiteX29191" fmla="*/ 1244031 w 6884782"/>
              <a:gd name="connsiteY29191" fmla="*/ 2737814 h 5973007"/>
              <a:gd name="connsiteX29192" fmla="*/ 1249194 w 6884782"/>
              <a:gd name="connsiteY29192" fmla="*/ 2730844 h 5973007"/>
              <a:gd name="connsiteX29193" fmla="*/ 953365 w 6884782"/>
              <a:gd name="connsiteY29193" fmla="*/ 2730379 h 5973007"/>
              <a:gd name="connsiteX29194" fmla="*/ 957392 w 6884782"/>
              <a:gd name="connsiteY29194" fmla="*/ 2733012 h 5973007"/>
              <a:gd name="connsiteX29195" fmla="*/ 953881 w 6884782"/>
              <a:gd name="connsiteY29195" fmla="*/ 2732858 h 5973007"/>
              <a:gd name="connsiteX29196" fmla="*/ 953262 w 6884782"/>
              <a:gd name="connsiteY29196" fmla="*/ 2731928 h 5973007"/>
              <a:gd name="connsiteX29197" fmla="*/ 953365 w 6884782"/>
              <a:gd name="connsiteY29197" fmla="*/ 2730379 h 5973007"/>
              <a:gd name="connsiteX29198" fmla="*/ 1390862 w 6884782"/>
              <a:gd name="connsiteY29198" fmla="*/ 2729760 h 5973007"/>
              <a:gd name="connsiteX29199" fmla="*/ 1391481 w 6884782"/>
              <a:gd name="connsiteY29199" fmla="*/ 2729914 h 5973007"/>
              <a:gd name="connsiteX29200" fmla="*/ 1391068 w 6884782"/>
              <a:gd name="connsiteY29200" fmla="*/ 2730224 h 5973007"/>
              <a:gd name="connsiteX29201" fmla="*/ 1390862 w 6884782"/>
              <a:gd name="connsiteY29201" fmla="*/ 2729760 h 5973007"/>
              <a:gd name="connsiteX29202" fmla="*/ 1163801 w 6884782"/>
              <a:gd name="connsiteY29202" fmla="*/ 2729605 h 5973007"/>
              <a:gd name="connsiteX29203" fmla="*/ 1176295 w 6884782"/>
              <a:gd name="connsiteY29203" fmla="*/ 2743700 h 5973007"/>
              <a:gd name="connsiteX29204" fmla="*/ 1167622 w 6884782"/>
              <a:gd name="connsiteY29204" fmla="*/ 2738744 h 5973007"/>
              <a:gd name="connsiteX29205" fmla="*/ 1163801 w 6884782"/>
              <a:gd name="connsiteY29205" fmla="*/ 2729605 h 5973007"/>
              <a:gd name="connsiteX29206" fmla="*/ 736836 w 6884782"/>
              <a:gd name="connsiteY29206" fmla="*/ 2729450 h 5973007"/>
              <a:gd name="connsiteX29207" fmla="*/ 739728 w 6884782"/>
              <a:gd name="connsiteY29207" fmla="*/ 2729450 h 5973007"/>
              <a:gd name="connsiteX29208" fmla="*/ 743032 w 6884782"/>
              <a:gd name="connsiteY29208" fmla="*/ 2731618 h 5973007"/>
              <a:gd name="connsiteX29209" fmla="*/ 743962 w 6884782"/>
              <a:gd name="connsiteY29209" fmla="*/ 2733168 h 5973007"/>
              <a:gd name="connsiteX29210" fmla="*/ 743755 w 6884782"/>
              <a:gd name="connsiteY29210" fmla="*/ 2733632 h 5973007"/>
              <a:gd name="connsiteX29211" fmla="*/ 746026 w 6884782"/>
              <a:gd name="connsiteY29211" fmla="*/ 2736575 h 5973007"/>
              <a:gd name="connsiteX29212" fmla="*/ 747265 w 6884782"/>
              <a:gd name="connsiteY29212" fmla="*/ 2740602 h 5973007"/>
              <a:gd name="connsiteX29213" fmla="*/ 745407 w 6884782"/>
              <a:gd name="connsiteY29213" fmla="*/ 2741067 h 5973007"/>
              <a:gd name="connsiteX29214" fmla="*/ 745923 w 6884782"/>
              <a:gd name="connsiteY29214" fmla="*/ 2741687 h 5973007"/>
              <a:gd name="connsiteX29215" fmla="*/ 747059 w 6884782"/>
              <a:gd name="connsiteY29215" fmla="*/ 2745714 h 5973007"/>
              <a:gd name="connsiteX29216" fmla="*/ 744478 w 6884782"/>
              <a:gd name="connsiteY29216" fmla="*/ 2743081 h 5973007"/>
              <a:gd name="connsiteX29217" fmla="*/ 743548 w 6884782"/>
              <a:gd name="connsiteY29217" fmla="*/ 2741687 h 5973007"/>
              <a:gd name="connsiteX29218" fmla="*/ 741380 w 6884782"/>
              <a:gd name="connsiteY29218" fmla="*/ 2742461 h 5973007"/>
              <a:gd name="connsiteX29219" fmla="*/ 737560 w 6884782"/>
              <a:gd name="connsiteY29219" fmla="*/ 2740602 h 5973007"/>
              <a:gd name="connsiteX29220" fmla="*/ 737146 w 6884782"/>
              <a:gd name="connsiteY29220" fmla="*/ 2742306 h 5973007"/>
              <a:gd name="connsiteX29221" fmla="*/ 734565 w 6884782"/>
              <a:gd name="connsiteY29221" fmla="*/ 2739828 h 5973007"/>
              <a:gd name="connsiteX29222" fmla="*/ 735185 w 6884782"/>
              <a:gd name="connsiteY29222" fmla="*/ 2739208 h 5973007"/>
              <a:gd name="connsiteX29223" fmla="*/ 735701 w 6884782"/>
              <a:gd name="connsiteY29223" fmla="*/ 2736885 h 5973007"/>
              <a:gd name="connsiteX29224" fmla="*/ 734462 w 6884782"/>
              <a:gd name="connsiteY29224" fmla="*/ 2736420 h 5973007"/>
              <a:gd name="connsiteX29225" fmla="*/ 732396 w 6884782"/>
              <a:gd name="connsiteY29225" fmla="*/ 2733168 h 5973007"/>
              <a:gd name="connsiteX29226" fmla="*/ 733429 w 6884782"/>
              <a:gd name="connsiteY29226" fmla="*/ 2731618 h 5973007"/>
              <a:gd name="connsiteX29227" fmla="*/ 734978 w 6884782"/>
              <a:gd name="connsiteY29227" fmla="*/ 2730224 h 5973007"/>
              <a:gd name="connsiteX29228" fmla="*/ 736836 w 6884782"/>
              <a:gd name="connsiteY29228" fmla="*/ 2729450 h 5973007"/>
              <a:gd name="connsiteX29229" fmla="*/ 717941 w 6884782"/>
              <a:gd name="connsiteY29229" fmla="*/ 2729450 h 5973007"/>
              <a:gd name="connsiteX29230" fmla="*/ 728369 w 6884782"/>
              <a:gd name="connsiteY29230" fmla="*/ 2731618 h 5973007"/>
              <a:gd name="connsiteX29231" fmla="*/ 728473 w 6884782"/>
              <a:gd name="connsiteY29231" fmla="*/ 2735181 h 5973007"/>
              <a:gd name="connsiteX29232" fmla="*/ 717631 w 6884782"/>
              <a:gd name="connsiteY29232" fmla="*/ 2734716 h 5973007"/>
              <a:gd name="connsiteX29233" fmla="*/ 717941 w 6884782"/>
              <a:gd name="connsiteY29233" fmla="*/ 2729450 h 5973007"/>
              <a:gd name="connsiteX29234" fmla="*/ 930739 w 6884782"/>
              <a:gd name="connsiteY29234" fmla="*/ 2729198 h 5973007"/>
              <a:gd name="connsiteX29235" fmla="*/ 936431 w 6884782"/>
              <a:gd name="connsiteY29235" fmla="*/ 2735955 h 5973007"/>
              <a:gd name="connsiteX29236" fmla="*/ 931578 w 6884782"/>
              <a:gd name="connsiteY29236" fmla="*/ 2737195 h 5973007"/>
              <a:gd name="connsiteX29237" fmla="*/ 932507 w 6884782"/>
              <a:gd name="connsiteY29237" fmla="*/ 2738279 h 5973007"/>
              <a:gd name="connsiteX29238" fmla="*/ 931165 w 6884782"/>
              <a:gd name="connsiteY29238" fmla="*/ 2740447 h 5973007"/>
              <a:gd name="connsiteX29239" fmla="*/ 929306 w 6884782"/>
              <a:gd name="connsiteY29239" fmla="*/ 2739054 h 5973007"/>
              <a:gd name="connsiteX29240" fmla="*/ 928480 w 6884782"/>
              <a:gd name="connsiteY29240" fmla="*/ 2738124 h 5973007"/>
              <a:gd name="connsiteX29241" fmla="*/ 922285 w 6884782"/>
              <a:gd name="connsiteY29241" fmla="*/ 2741067 h 5973007"/>
              <a:gd name="connsiteX29242" fmla="*/ 910100 w 6884782"/>
              <a:gd name="connsiteY29242" fmla="*/ 2743391 h 5973007"/>
              <a:gd name="connsiteX29243" fmla="*/ 916916 w 6884782"/>
              <a:gd name="connsiteY29243" fmla="*/ 2737350 h 5973007"/>
              <a:gd name="connsiteX29244" fmla="*/ 921768 w 6884782"/>
              <a:gd name="connsiteY29244" fmla="*/ 2733168 h 5973007"/>
              <a:gd name="connsiteX29245" fmla="*/ 921562 w 6884782"/>
              <a:gd name="connsiteY29245" fmla="*/ 2733168 h 5973007"/>
              <a:gd name="connsiteX29246" fmla="*/ 920426 w 6884782"/>
              <a:gd name="connsiteY29246" fmla="*/ 2730689 h 5973007"/>
              <a:gd name="connsiteX29247" fmla="*/ 922595 w 6884782"/>
              <a:gd name="connsiteY29247" fmla="*/ 2730224 h 5973007"/>
              <a:gd name="connsiteX29248" fmla="*/ 923731 w 6884782"/>
              <a:gd name="connsiteY29248" fmla="*/ 2731464 h 5973007"/>
              <a:gd name="connsiteX29249" fmla="*/ 924040 w 6884782"/>
              <a:gd name="connsiteY29249" fmla="*/ 2731153 h 5973007"/>
              <a:gd name="connsiteX29250" fmla="*/ 930739 w 6884782"/>
              <a:gd name="connsiteY29250" fmla="*/ 2729198 h 5973007"/>
              <a:gd name="connsiteX29251" fmla="*/ 586083 w 6884782"/>
              <a:gd name="connsiteY29251" fmla="*/ 2729140 h 5973007"/>
              <a:gd name="connsiteX29252" fmla="*/ 587838 w 6884782"/>
              <a:gd name="connsiteY29252" fmla="*/ 2729295 h 5973007"/>
              <a:gd name="connsiteX29253" fmla="*/ 589490 w 6884782"/>
              <a:gd name="connsiteY29253" fmla="*/ 2730379 h 5973007"/>
              <a:gd name="connsiteX29254" fmla="*/ 587012 w 6884782"/>
              <a:gd name="connsiteY29254" fmla="*/ 2732548 h 5973007"/>
              <a:gd name="connsiteX29255" fmla="*/ 586186 w 6884782"/>
              <a:gd name="connsiteY29255" fmla="*/ 2731153 h 5973007"/>
              <a:gd name="connsiteX29256" fmla="*/ 585463 w 6884782"/>
              <a:gd name="connsiteY29256" fmla="*/ 2731464 h 5973007"/>
              <a:gd name="connsiteX29257" fmla="*/ 585256 w 6884782"/>
              <a:gd name="connsiteY29257" fmla="*/ 2729760 h 5973007"/>
              <a:gd name="connsiteX29258" fmla="*/ 585979 w 6884782"/>
              <a:gd name="connsiteY29258" fmla="*/ 2729295 h 5973007"/>
              <a:gd name="connsiteX29259" fmla="*/ 586083 w 6884782"/>
              <a:gd name="connsiteY29259" fmla="*/ 2729140 h 5973007"/>
              <a:gd name="connsiteX29260" fmla="*/ 1395818 w 6884782"/>
              <a:gd name="connsiteY29260" fmla="*/ 2728365 h 5973007"/>
              <a:gd name="connsiteX29261" fmla="*/ 1395714 w 6884782"/>
              <a:gd name="connsiteY29261" fmla="*/ 2730224 h 5973007"/>
              <a:gd name="connsiteX29262" fmla="*/ 1391378 w 6884782"/>
              <a:gd name="connsiteY29262" fmla="*/ 2730999 h 5973007"/>
              <a:gd name="connsiteX29263" fmla="*/ 1391791 w 6884782"/>
              <a:gd name="connsiteY29263" fmla="*/ 2729914 h 5973007"/>
              <a:gd name="connsiteX29264" fmla="*/ 1391481 w 6884782"/>
              <a:gd name="connsiteY29264" fmla="*/ 2729914 h 5973007"/>
              <a:gd name="connsiteX29265" fmla="*/ 1393030 w 6884782"/>
              <a:gd name="connsiteY29265" fmla="*/ 2728521 h 5973007"/>
              <a:gd name="connsiteX29266" fmla="*/ 1395818 w 6884782"/>
              <a:gd name="connsiteY29266" fmla="*/ 2728365 h 5973007"/>
              <a:gd name="connsiteX29267" fmla="*/ 533629 w 6884782"/>
              <a:gd name="connsiteY29267" fmla="*/ 2728365 h 5973007"/>
              <a:gd name="connsiteX29268" fmla="*/ 541166 w 6884782"/>
              <a:gd name="connsiteY29268" fmla="*/ 2730999 h 5973007"/>
              <a:gd name="connsiteX29269" fmla="*/ 538895 w 6884782"/>
              <a:gd name="connsiteY29269" fmla="*/ 2735491 h 5973007"/>
              <a:gd name="connsiteX29270" fmla="*/ 533629 w 6884782"/>
              <a:gd name="connsiteY29270" fmla="*/ 2728365 h 5973007"/>
              <a:gd name="connsiteX29271" fmla="*/ 1099369 w 6884782"/>
              <a:gd name="connsiteY29271" fmla="*/ 2728308 h 5973007"/>
              <a:gd name="connsiteX29272" fmla="*/ 1101951 w 6884782"/>
              <a:gd name="connsiteY29272" fmla="*/ 2732238 h 5973007"/>
              <a:gd name="connsiteX29273" fmla="*/ 1094620 w 6884782"/>
              <a:gd name="connsiteY29273" fmla="*/ 2730069 h 5973007"/>
              <a:gd name="connsiteX29274" fmla="*/ 1099369 w 6884782"/>
              <a:gd name="connsiteY29274" fmla="*/ 2728308 h 5973007"/>
              <a:gd name="connsiteX29275" fmla="*/ 979902 w 6884782"/>
              <a:gd name="connsiteY29275" fmla="*/ 2725267 h 5973007"/>
              <a:gd name="connsiteX29276" fmla="*/ 981657 w 6884782"/>
              <a:gd name="connsiteY29276" fmla="*/ 2727901 h 5973007"/>
              <a:gd name="connsiteX29277" fmla="*/ 985787 w 6884782"/>
              <a:gd name="connsiteY29277" fmla="*/ 2728365 h 5973007"/>
              <a:gd name="connsiteX29278" fmla="*/ 987646 w 6884782"/>
              <a:gd name="connsiteY29278" fmla="*/ 2732703 h 5973007"/>
              <a:gd name="connsiteX29279" fmla="*/ 977320 w 6884782"/>
              <a:gd name="connsiteY29279" fmla="*/ 2736730 h 5973007"/>
              <a:gd name="connsiteX29280" fmla="*/ 976495 w 6884782"/>
              <a:gd name="connsiteY29280" fmla="*/ 2736110 h 5973007"/>
              <a:gd name="connsiteX29281" fmla="*/ 975256 w 6884782"/>
              <a:gd name="connsiteY29281" fmla="*/ 2735955 h 5973007"/>
              <a:gd name="connsiteX29282" fmla="*/ 964310 w 6884782"/>
              <a:gd name="connsiteY29282" fmla="*/ 2733477 h 5973007"/>
              <a:gd name="connsiteX29283" fmla="*/ 971435 w 6884782"/>
              <a:gd name="connsiteY29283" fmla="*/ 2734252 h 5973007"/>
              <a:gd name="connsiteX29284" fmla="*/ 975668 w 6884782"/>
              <a:gd name="connsiteY29284" fmla="*/ 2735646 h 5973007"/>
              <a:gd name="connsiteX29285" fmla="*/ 974429 w 6884782"/>
              <a:gd name="connsiteY29285" fmla="*/ 2734716 h 5973007"/>
              <a:gd name="connsiteX29286" fmla="*/ 975565 w 6884782"/>
              <a:gd name="connsiteY29286" fmla="*/ 2730069 h 5973007"/>
              <a:gd name="connsiteX29287" fmla="*/ 976288 w 6884782"/>
              <a:gd name="connsiteY29287" fmla="*/ 2729450 h 5973007"/>
              <a:gd name="connsiteX29288" fmla="*/ 976288 w 6884782"/>
              <a:gd name="connsiteY29288" fmla="*/ 2729140 h 5973007"/>
              <a:gd name="connsiteX29289" fmla="*/ 975875 w 6884782"/>
              <a:gd name="connsiteY29289" fmla="*/ 2728830 h 5973007"/>
              <a:gd name="connsiteX29290" fmla="*/ 977320 w 6884782"/>
              <a:gd name="connsiteY29290" fmla="*/ 2726352 h 5973007"/>
              <a:gd name="connsiteX29291" fmla="*/ 979902 w 6884782"/>
              <a:gd name="connsiteY29291" fmla="*/ 2725267 h 5973007"/>
              <a:gd name="connsiteX29292" fmla="*/ 420150 w 6884782"/>
              <a:gd name="connsiteY29292" fmla="*/ 2724183 h 5973007"/>
              <a:gd name="connsiteX29293" fmla="*/ 427171 w 6884782"/>
              <a:gd name="connsiteY29293" fmla="*/ 2725267 h 5973007"/>
              <a:gd name="connsiteX29294" fmla="*/ 425623 w 6884782"/>
              <a:gd name="connsiteY29294" fmla="*/ 2731618 h 5973007"/>
              <a:gd name="connsiteX29295" fmla="*/ 418601 w 6884782"/>
              <a:gd name="connsiteY29295" fmla="*/ 2728675 h 5973007"/>
              <a:gd name="connsiteX29296" fmla="*/ 420150 w 6884782"/>
              <a:gd name="connsiteY29296" fmla="*/ 2724183 h 5973007"/>
              <a:gd name="connsiteX29297" fmla="*/ 852484 w 6884782"/>
              <a:gd name="connsiteY29297" fmla="*/ 2722479 h 5973007"/>
              <a:gd name="connsiteX29298" fmla="*/ 857646 w 6884782"/>
              <a:gd name="connsiteY29298" fmla="*/ 2723254 h 5973007"/>
              <a:gd name="connsiteX29299" fmla="*/ 852484 w 6884782"/>
              <a:gd name="connsiteY29299" fmla="*/ 2722479 h 5973007"/>
              <a:gd name="connsiteX29300" fmla="*/ 870347 w 6884782"/>
              <a:gd name="connsiteY29300" fmla="*/ 2720001 h 5973007"/>
              <a:gd name="connsiteX29301" fmla="*/ 872722 w 6884782"/>
              <a:gd name="connsiteY29301" fmla="*/ 2721705 h 5973007"/>
              <a:gd name="connsiteX29302" fmla="*/ 873135 w 6884782"/>
              <a:gd name="connsiteY29302" fmla="*/ 2725113 h 5973007"/>
              <a:gd name="connsiteX29303" fmla="*/ 869521 w 6884782"/>
              <a:gd name="connsiteY29303" fmla="*/ 2727281 h 5973007"/>
              <a:gd name="connsiteX29304" fmla="*/ 868798 w 6884782"/>
              <a:gd name="connsiteY29304" fmla="*/ 2727126 h 5973007"/>
              <a:gd name="connsiteX29305" fmla="*/ 868075 w 6884782"/>
              <a:gd name="connsiteY29305" fmla="*/ 2727901 h 5973007"/>
              <a:gd name="connsiteX29306" fmla="*/ 867249 w 6884782"/>
              <a:gd name="connsiteY29306" fmla="*/ 2726662 h 5973007"/>
              <a:gd name="connsiteX29307" fmla="*/ 865907 w 6884782"/>
              <a:gd name="connsiteY29307" fmla="*/ 2726352 h 5973007"/>
              <a:gd name="connsiteX29308" fmla="*/ 867559 w 6884782"/>
              <a:gd name="connsiteY29308" fmla="*/ 2721395 h 5973007"/>
              <a:gd name="connsiteX29309" fmla="*/ 870347 w 6884782"/>
              <a:gd name="connsiteY29309" fmla="*/ 2720001 h 5973007"/>
              <a:gd name="connsiteX29310" fmla="*/ 1273149 w 6884782"/>
              <a:gd name="connsiteY29310" fmla="*/ 2719072 h 5973007"/>
              <a:gd name="connsiteX29311" fmla="*/ 1275111 w 6884782"/>
              <a:gd name="connsiteY29311" fmla="*/ 2720776 h 5973007"/>
              <a:gd name="connsiteX29312" fmla="*/ 1270671 w 6884782"/>
              <a:gd name="connsiteY29312" fmla="*/ 2724339 h 5973007"/>
              <a:gd name="connsiteX29313" fmla="*/ 1269639 w 6884782"/>
              <a:gd name="connsiteY29313" fmla="*/ 2722479 h 5973007"/>
              <a:gd name="connsiteX29314" fmla="*/ 1273149 w 6884782"/>
              <a:gd name="connsiteY29314" fmla="*/ 2719072 h 5973007"/>
              <a:gd name="connsiteX29315" fmla="*/ 1145008 w 6884782"/>
              <a:gd name="connsiteY29315" fmla="*/ 2718297 h 5973007"/>
              <a:gd name="connsiteX29316" fmla="*/ 1140362 w 6884782"/>
              <a:gd name="connsiteY29316" fmla="*/ 2731464 h 5973007"/>
              <a:gd name="connsiteX29317" fmla="*/ 1145008 w 6884782"/>
              <a:gd name="connsiteY29317" fmla="*/ 2718297 h 5973007"/>
              <a:gd name="connsiteX29318" fmla="*/ 1246097 w 6884782"/>
              <a:gd name="connsiteY29318" fmla="*/ 2718142 h 5973007"/>
              <a:gd name="connsiteX29319" fmla="*/ 1247852 w 6884782"/>
              <a:gd name="connsiteY29319" fmla="*/ 2725887 h 5973007"/>
              <a:gd name="connsiteX29320" fmla="*/ 1238765 w 6884782"/>
              <a:gd name="connsiteY29320" fmla="*/ 2718297 h 5973007"/>
              <a:gd name="connsiteX29321" fmla="*/ 1246097 w 6884782"/>
              <a:gd name="connsiteY29321" fmla="*/ 2718142 h 5973007"/>
              <a:gd name="connsiteX29322" fmla="*/ 1398193 w 6884782"/>
              <a:gd name="connsiteY29322" fmla="*/ 2717832 h 5973007"/>
              <a:gd name="connsiteX29323" fmla="*/ 1408312 w 6884782"/>
              <a:gd name="connsiteY29323" fmla="*/ 2719382 h 5973007"/>
              <a:gd name="connsiteX29324" fmla="*/ 1399845 w 6884782"/>
              <a:gd name="connsiteY29324" fmla="*/ 2726197 h 5973007"/>
              <a:gd name="connsiteX29325" fmla="*/ 1397780 w 6884782"/>
              <a:gd name="connsiteY29325" fmla="*/ 2722479 h 5973007"/>
              <a:gd name="connsiteX29326" fmla="*/ 1398193 w 6884782"/>
              <a:gd name="connsiteY29326" fmla="*/ 2717832 h 5973007"/>
              <a:gd name="connsiteX29327" fmla="*/ 983722 w 6884782"/>
              <a:gd name="connsiteY29327" fmla="*/ 2717523 h 5973007"/>
              <a:gd name="connsiteX29328" fmla="*/ 985787 w 6884782"/>
              <a:gd name="connsiteY29328" fmla="*/ 2719072 h 5973007"/>
              <a:gd name="connsiteX29329" fmla="*/ 985787 w 6884782"/>
              <a:gd name="connsiteY29329" fmla="*/ 2718297 h 5973007"/>
              <a:gd name="connsiteX29330" fmla="*/ 993635 w 6884782"/>
              <a:gd name="connsiteY29330" fmla="*/ 2718762 h 5973007"/>
              <a:gd name="connsiteX29331" fmla="*/ 996113 w 6884782"/>
              <a:gd name="connsiteY29331" fmla="*/ 2722944 h 5973007"/>
              <a:gd name="connsiteX29332" fmla="*/ 993945 w 6884782"/>
              <a:gd name="connsiteY29332" fmla="*/ 2730534 h 5973007"/>
              <a:gd name="connsiteX29333" fmla="*/ 989711 w 6884782"/>
              <a:gd name="connsiteY29333" fmla="*/ 2729914 h 5973007"/>
              <a:gd name="connsiteX29334" fmla="*/ 986717 w 6884782"/>
              <a:gd name="connsiteY29334" fmla="*/ 2725578 h 5973007"/>
              <a:gd name="connsiteX29335" fmla="*/ 985891 w 6884782"/>
              <a:gd name="connsiteY29335" fmla="*/ 2722170 h 5973007"/>
              <a:gd name="connsiteX29336" fmla="*/ 984239 w 6884782"/>
              <a:gd name="connsiteY29336" fmla="*/ 2722325 h 5973007"/>
              <a:gd name="connsiteX29337" fmla="*/ 982173 w 6884782"/>
              <a:gd name="connsiteY29337" fmla="*/ 2719846 h 5973007"/>
              <a:gd name="connsiteX29338" fmla="*/ 983722 w 6884782"/>
              <a:gd name="connsiteY29338" fmla="*/ 2717523 h 5973007"/>
              <a:gd name="connsiteX29339" fmla="*/ 1013873 w 6884782"/>
              <a:gd name="connsiteY29339" fmla="*/ 2717058 h 5973007"/>
              <a:gd name="connsiteX29340" fmla="*/ 1004064 w 6884782"/>
              <a:gd name="connsiteY29340" fmla="*/ 2742461 h 5973007"/>
              <a:gd name="connsiteX29341" fmla="*/ 996423 w 6884782"/>
              <a:gd name="connsiteY29341" fmla="*/ 2739518 h 5973007"/>
              <a:gd name="connsiteX29342" fmla="*/ 1013873 w 6884782"/>
              <a:gd name="connsiteY29342" fmla="*/ 2717058 h 5973007"/>
              <a:gd name="connsiteX29343" fmla="*/ 638162 w 6884782"/>
              <a:gd name="connsiteY29343" fmla="*/ 2716516 h 5973007"/>
              <a:gd name="connsiteX29344" fmla="*/ 645042 w 6884782"/>
              <a:gd name="connsiteY29344" fmla="*/ 2720776 h 5973007"/>
              <a:gd name="connsiteX29345" fmla="*/ 642770 w 6884782"/>
              <a:gd name="connsiteY29345" fmla="*/ 2727591 h 5973007"/>
              <a:gd name="connsiteX29346" fmla="*/ 630586 w 6884782"/>
              <a:gd name="connsiteY29346" fmla="*/ 2722944 h 5973007"/>
              <a:gd name="connsiteX29347" fmla="*/ 638162 w 6884782"/>
              <a:gd name="connsiteY29347" fmla="*/ 2716516 h 5973007"/>
              <a:gd name="connsiteX29348" fmla="*/ 1409654 w 6884782"/>
              <a:gd name="connsiteY29348" fmla="*/ 2715974 h 5973007"/>
              <a:gd name="connsiteX29349" fmla="*/ 1418225 w 6884782"/>
              <a:gd name="connsiteY29349" fmla="*/ 2716593 h 5973007"/>
              <a:gd name="connsiteX29350" fmla="*/ 1419670 w 6884782"/>
              <a:gd name="connsiteY29350" fmla="*/ 2718297 h 5973007"/>
              <a:gd name="connsiteX29351" fmla="*/ 1424833 w 6884782"/>
              <a:gd name="connsiteY29351" fmla="*/ 2716129 h 5973007"/>
              <a:gd name="connsiteX29352" fmla="*/ 1429066 w 6884782"/>
              <a:gd name="connsiteY29352" fmla="*/ 2716439 h 5973007"/>
              <a:gd name="connsiteX29353" fmla="*/ 1424317 w 6884782"/>
              <a:gd name="connsiteY29353" fmla="*/ 2719691 h 5973007"/>
              <a:gd name="connsiteX29354" fmla="*/ 1421219 w 6884782"/>
              <a:gd name="connsiteY29354" fmla="*/ 2719846 h 5973007"/>
              <a:gd name="connsiteX29355" fmla="*/ 1423181 w 6884782"/>
              <a:gd name="connsiteY29355" fmla="*/ 2722015 h 5973007"/>
              <a:gd name="connsiteX29356" fmla="*/ 1417398 w 6884782"/>
              <a:gd name="connsiteY29356" fmla="*/ 2735955 h 5973007"/>
              <a:gd name="connsiteX29357" fmla="*/ 1409138 w 6884782"/>
              <a:gd name="connsiteY29357" fmla="*/ 2726197 h 5973007"/>
              <a:gd name="connsiteX29358" fmla="*/ 1408518 w 6884782"/>
              <a:gd name="connsiteY29358" fmla="*/ 2721086 h 5973007"/>
              <a:gd name="connsiteX29359" fmla="*/ 1409654 w 6884782"/>
              <a:gd name="connsiteY29359" fmla="*/ 2715974 h 5973007"/>
              <a:gd name="connsiteX29360" fmla="*/ 1250536 w 6884782"/>
              <a:gd name="connsiteY29360" fmla="*/ 2715199 h 5973007"/>
              <a:gd name="connsiteX29361" fmla="*/ 1266851 w 6884782"/>
              <a:gd name="connsiteY29361" fmla="*/ 2715664 h 5973007"/>
              <a:gd name="connsiteX29362" fmla="*/ 1267470 w 6884782"/>
              <a:gd name="connsiteY29362" fmla="*/ 2724183 h 5973007"/>
              <a:gd name="connsiteX29363" fmla="*/ 1247129 w 6884782"/>
              <a:gd name="connsiteY29363" fmla="*/ 2719072 h 5973007"/>
              <a:gd name="connsiteX29364" fmla="*/ 1250536 w 6884782"/>
              <a:gd name="connsiteY29364" fmla="*/ 2715199 h 5973007"/>
              <a:gd name="connsiteX29365" fmla="*/ 451746 w 6884782"/>
              <a:gd name="connsiteY29365" fmla="*/ 2715199 h 5973007"/>
              <a:gd name="connsiteX29366" fmla="*/ 451230 w 6884782"/>
              <a:gd name="connsiteY29366" fmla="*/ 2725887 h 5973007"/>
              <a:gd name="connsiteX29367" fmla="*/ 445241 w 6884782"/>
              <a:gd name="connsiteY29367" fmla="*/ 2721240 h 5973007"/>
              <a:gd name="connsiteX29368" fmla="*/ 445860 w 6884782"/>
              <a:gd name="connsiteY29368" fmla="*/ 2717832 h 5973007"/>
              <a:gd name="connsiteX29369" fmla="*/ 451746 w 6884782"/>
              <a:gd name="connsiteY29369" fmla="*/ 2715199 h 5973007"/>
              <a:gd name="connsiteX29370" fmla="*/ 669720 w 6884782"/>
              <a:gd name="connsiteY29370" fmla="*/ 2712876 h 5973007"/>
              <a:gd name="connsiteX29371" fmla="*/ 672818 w 6884782"/>
              <a:gd name="connsiteY29371" fmla="*/ 2713031 h 5973007"/>
              <a:gd name="connsiteX29372" fmla="*/ 675399 w 6884782"/>
              <a:gd name="connsiteY29372" fmla="*/ 2715664 h 5973007"/>
              <a:gd name="connsiteX29373" fmla="*/ 674057 w 6884782"/>
              <a:gd name="connsiteY29373" fmla="*/ 2718917 h 5973007"/>
              <a:gd name="connsiteX29374" fmla="*/ 680768 w 6884782"/>
              <a:gd name="connsiteY29374" fmla="*/ 2722479 h 5973007"/>
              <a:gd name="connsiteX29375" fmla="*/ 689958 w 6884782"/>
              <a:gd name="connsiteY29375" fmla="*/ 2731309 h 5973007"/>
              <a:gd name="connsiteX29376" fmla="*/ 671682 w 6884782"/>
              <a:gd name="connsiteY29376" fmla="*/ 2721860 h 5973007"/>
              <a:gd name="connsiteX29377" fmla="*/ 670753 w 6884782"/>
              <a:gd name="connsiteY29377" fmla="*/ 2720001 h 5973007"/>
              <a:gd name="connsiteX29378" fmla="*/ 670339 w 6884782"/>
              <a:gd name="connsiteY29378" fmla="*/ 2720156 h 5973007"/>
              <a:gd name="connsiteX29379" fmla="*/ 668274 w 6884782"/>
              <a:gd name="connsiteY29379" fmla="*/ 2715354 h 5973007"/>
              <a:gd name="connsiteX29380" fmla="*/ 669720 w 6884782"/>
              <a:gd name="connsiteY29380" fmla="*/ 2712876 h 5973007"/>
              <a:gd name="connsiteX29381" fmla="*/ 1103603 w 6884782"/>
              <a:gd name="connsiteY29381" fmla="*/ 2712411 h 5973007"/>
              <a:gd name="connsiteX29382" fmla="*/ 1090696 w 6884782"/>
              <a:gd name="connsiteY29382" fmla="*/ 2715199 h 5973007"/>
              <a:gd name="connsiteX29383" fmla="*/ 1092761 w 6884782"/>
              <a:gd name="connsiteY29383" fmla="*/ 2713496 h 5973007"/>
              <a:gd name="connsiteX29384" fmla="*/ 1103603 w 6884782"/>
              <a:gd name="connsiteY29384" fmla="*/ 2712411 h 5973007"/>
              <a:gd name="connsiteX29385" fmla="*/ 1074278 w 6884782"/>
              <a:gd name="connsiteY29385" fmla="*/ 2712101 h 5973007"/>
              <a:gd name="connsiteX29386" fmla="*/ 1075207 w 6884782"/>
              <a:gd name="connsiteY29386" fmla="*/ 2712876 h 5973007"/>
              <a:gd name="connsiteX29387" fmla="*/ 1079131 w 6884782"/>
              <a:gd name="connsiteY29387" fmla="*/ 2721860 h 5973007"/>
              <a:gd name="connsiteX29388" fmla="*/ 1071284 w 6884782"/>
              <a:gd name="connsiteY29388" fmla="*/ 2722170 h 5973007"/>
              <a:gd name="connsiteX29389" fmla="*/ 1066431 w 6884782"/>
              <a:gd name="connsiteY29389" fmla="*/ 2714889 h 5973007"/>
              <a:gd name="connsiteX29390" fmla="*/ 1074278 w 6884782"/>
              <a:gd name="connsiteY29390" fmla="*/ 2712101 h 5973007"/>
              <a:gd name="connsiteX29391" fmla="*/ 1350695 w 6884782"/>
              <a:gd name="connsiteY29391" fmla="*/ 2711172 h 5973007"/>
              <a:gd name="connsiteX29392" fmla="*/ 1356374 w 6884782"/>
              <a:gd name="connsiteY29392" fmla="*/ 2717832 h 5973007"/>
              <a:gd name="connsiteX29393" fmla="*/ 1353793 w 6884782"/>
              <a:gd name="connsiteY29393" fmla="*/ 2718452 h 5973007"/>
              <a:gd name="connsiteX29394" fmla="*/ 1358232 w 6884782"/>
              <a:gd name="connsiteY29394" fmla="*/ 2722325 h 5973007"/>
              <a:gd name="connsiteX29395" fmla="*/ 1352554 w 6884782"/>
              <a:gd name="connsiteY29395" fmla="*/ 2723719 h 5973007"/>
              <a:gd name="connsiteX29396" fmla="*/ 1348113 w 6884782"/>
              <a:gd name="connsiteY29396" fmla="*/ 2720621 h 5973007"/>
              <a:gd name="connsiteX29397" fmla="*/ 1343570 w 6884782"/>
              <a:gd name="connsiteY29397" fmla="*/ 2724339 h 5973007"/>
              <a:gd name="connsiteX29398" fmla="*/ 1331902 w 6884782"/>
              <a:gd name="connsiteY29398" fmla="*/ 2728675 h 5973007"/>
              <a:gd name="connsiteX29399" fmla="*/ 1350695 w 6884782"/>
              <a:gd name="connsiteY29399" fmla="*/ 2711172 h 5973007"/>
              <a:gd name="connsiteX29400" fmla="*/ 1326636 w 6884782"/>
              <a:gd name="connsiteY29400" fmla="*/ 2710552 h 5973007"/>
              <a:gd name="connsiteX29401" fmla="*/ 1328495 w 6884782"/>
              <a:gd name="connsiteY29401" fmla="*/ 2713341 h 5973007"/>
              <a:gd name="connsiteX29402" fmla="*/ 1319305 w 6884782"/>
              <a:gd name="connsiteY29402" fmla="*/ 2716439 h 5973007"/>
              <a:gd name="connsiteX29403" fmla="*/ 1326636 w 6884782"/>
              <a:gd name="connsiteY29403" fmla="*/ 2710552 h 5973007"/>
              <a:gd name="connsiteX29404" fmla="*/ 994048 w 6884782"/>
              <a:gd name="connsiteY29404" fmla="*/ 2708849 h 5973007"/>
              <a:gd name="connsiteX29405" fmla="*/ 990950 w 6884782"/>
              <a:gd name="connsiteY29405" fmla="*/ 2712101 h 5973007"/>
              <a:gd name="connsiteX29406" fmla="*/ 987336 w 6884782"/>
              <a:gd name="connsiteY29406" fmla="*/ 2711946 h 5973007"/>
              <a:gd name="connsiteX29407" fmla="*/ 994048 w 6884782"/>
              <a:gd name="connsiteY29407" fmla="*/ 2708849 h 5973007"/>
              <a:gd name="connsiteX29408" fmla="*/ 996113 w 6884782"/>
              <a:gd name="connsiteY29408" fmla="*/ 2706215 h 5973007"/>
              <a:gd name="connsiteX29409" fmla="*/ 996836 w 6884782"/>
              <a:gd name="connsiteY29409" fmla="*/ 2707145 h 5973007"/>
              <a:gd name="connsiteX29410" fmla="*/ 996939 w 6884782"/>
              <a:gd name="connsiteY29410" fmla="*/ 2706215 h 5973007"/>
              <a:gd name="connsiteX29411" fmla="*/ 997146 w 6884782"/>
              <a:gd name="connsiteY29411" fmla="*/ 2707455 h 5973007"/>
              <a:gd name="connsiteX29412" fmla="*/ 996732 w 6884782"/>
              <a:gd name="connsiteY29412" fmla="*/ 2707919 h 5973007"/>
              <a:gd name="connsiteX29413" fmla="*/ 994048 w 6884782"/>
              <a:gd name="connsiteY29413" fmla="*/ 2708694 h 5973007"/>
              <a:gd name="connsiteX29414" fmla="*/ 996113 w 6884782"/>
              <a:gd name="connsiteY29414" fmla="*/ 2706215 h 5973007"/>
              <a:gd name="connsiteX29415" fmla="*/ 1166796 w 6884782"/>
              <a:gd name="connsiteY29415" fmla="*/ 2705441 h 5973007"/>
              <a:gd name="connsiteX29416" fmla="*/ 1168757 w 6884782"/>
              <a:gd name="connsiteY29416" fmla="*/ 2709313 h 5973007"/>
              <a:gd name="connsiteX29417" fmla="*/ 1163698 w 6884782"/>
              <a:gd name="connsiteY29417" fmla="*/ 2711792 h 5973007"/>
              <a:gd name="connsiteX29418" fmla="*/ 1161426 w 6884782"/>
              <a:gd name="connsiteY29418" fmla="*/ 2708074 h 5973007"/>
              <a:gd name="connsiteX29419" fmla="*/ 1162562 w 6884782"/>
              <a:gd name="connsiteY29419" fmla="*/ 2706061 h 5973007"/>
              <a:gd name="connsiteX29420" fmla="*/ 1163388 w 6884782"/>
              <a:gd name="connsiteY29420" fmla="*/ 2706061 h 5973007"/>
              <a:gd name="connsiteX29421" fmla="*/ 1166796 w 6884782"/>
              <a:gd name="connsiteY29421" fmla="*/ 2705441 h 5973007"/>
              <a:gd name="connsiteX29422" fmla="*/ 1148932 w 6884782"/>
              <a:gd name="connsiteY29422" fmla="*/ 2705441 h 5973007"/>
              <a:gd name="connsiteX29423" fmla="*/ 1147796 w 6884782"/>
              <a:gd name="connsiteY29423" fmla="*/ 2711792 h 5973007"/>
              <a:gd name="connsiteX29424" fmla="*/ 1146867 w 6884782"/>
              <a:gd name="connsiteY29424" fmla="*/ 2712566 h 5973007"/>
              <a:gd name="connsiteX29425" fmla="*/ 1148932 w 6884782"/>
              <a:gd name="connsiteY29425" fmla="*/ 2705441 h 5973007"/>
              <a:gd name="connsiteX29426" fmla="*/ 475702 w 6884782"/>
              <a:gd name="connsiteY29426" fmla="*/ 2704667 h 5973007"/>
              <a:gd name="connsiteX29427" fmla="*/ 507401 w 6884782"/>
              <a:gd name="connsiteY29427" fmla="*/ 2723254 h 5973007"/>
              <a:gd name="connsiteX29428" fmla="*/ 499967 w 6884782"/>
              <a:gd name="connsiteY29428" fmla="*/ 2733787 h 5973007"/>
              <a:gd name="connsiteX29429" fmla="*/ 475598 w 6884782"/>
              <a:gd name="connsiteY29429" fmla="*/ 2725887 h 5973007"/>
              <a:gd name="connsiteX29430" fmla="*/ 473017 w 6884782"/>
              <a:gd name="connsiteY29430" fmla="*/ 2714115 h 5973007"/>
              <a:gd name="connsiteX29431" fmla="*/ 473224 w 6884782"/>
              <a:gd name="connsiteY29431" fmla="*/ 2710088 h 5973007"/>
              <a:gd name="connsiteX29432" fmla="*/ 475702 w 6884782"/>
              <a:gd name="connsiteY29432" fmla="*/ 2704667 h 5973007"/>
              <a:gd name="connsiteX29433" fmla="*/ 610451 w 6884782"/>
              <a:gd name="connsiteY29433" fmla="*/ 2704047 h 5973007"/>
              <a:gd name="connsiteX29434" fmla="*/ 625423 w 6884782"/>
              <a:gd name="connsiteY29434" fmla="*/ 2714735 h 5973007"/>
              <a:gd name="connsiteX29435" fmla="*/ 622842 w 6884782"/>
              <a:gd name="connsiteY29435" fmla="*/ 2716439 h 5973007"/>
              <a:gd name="connsiteX29436" fmla="*/ 609109 w 6884782"/>
              <a:gd name="connsiteY29436" fmla="*/ 2706215 h 5973007"/>
              <a:gd name="connsiteX29437" fmla="*/ 610451 w 6884782"/>
              <a:gd name="connsiteY29437" fmla="*/ 2704047 h 5973007"/>
              <a:gd name="connsiteX29438" fmla="*/ 985168 w 6884782"/>
              <a:gd name="connsiteY29438" fmla="*/ 2703737 h 5973007"/>
              <a:gd name="connsiteX29439" fmla="*/ 985168 w 6884782"/>
              <a:gd name="connsiteY29439" fmla="*/ 2708539 h 5973007"/>
              <a:gd name="connsiteX29440" fmla="*/ 984342 w 6884782"/>
              <a:gd name="connsiteY29440" fmla="*/ 2709468 h 5973007"/>
              <a:gd name="connsiteX29441" fmla="*/ 983619 w 6884782"/>
              <a:gd name="connsiteY29441" fmla="*/ 2710088 h 5973007"/>
              <a:gd name="connsiteX29442" fmla="*/ 981864 w 6884782"/>
              <a:gd name="connsiteY29442" fmla="*/ 2711637 h 5973007"/>
              <a:gd name="connsiteX29443" fmla="*/ 979695 w 6884782"/>
              <a:gd name="connsiteY29443" fmla="*/ 2709623 h 5973007"/>
              <a:gd name="connsiteX29444" fmla="*/ 979798 w 6884782"/>
              <a:gd name="connsiteY29444" fmla="*/ 2707145 h 5973007"/>
              <a:gd name="connsiteX29445" fmla="*/ 985168 w 6884782"/>
              <a:gd name="connsiteY29445" fmla="*/ 2703737 h 5973007"/>
              <a:gd name="connsiteX29446" fmla="*/ 1003651 w 6884782"/>
              <a:gd name="connsiteY29446" fmla="*/ 2702963 h 5973007"/>
              <a:gd name="connsiteX29447" fmla="*/ 1008814 w 6884782"/>
              <a:gd name="connsiteY29447" fmla="*/ 2704667 h 5973007"/>
              <a:gd name="connsiteX29448" fmla="*/ 1010156 w 6884782"/>
              <a:gd name="connsiteY29448" fmla="*/ 2712101 h 5973007"/>
              <a:gd name="connsiteX29449" fmla="*/ 1005819 w 6884782"/>
              <a:gd name="connsiteY29449" fmla="*/ 2712721 h 5973007"/>
              <a:gd name="connsiteX29450" fmla="*/ 1003444 w 6884782"/>
              <a:gd name="connsiteY29450" fmla="*/ 2708229 h 5973007"/>
              <a:gd name="connsiteX29451" fmla="*/ 1003134 w 6884782"/>
              <a:gd name="connsiteY29451" fmla="*/ 2705441 h 5973007"/>
              <a:gd name="connsiteX29452" fmla="*/ 1003651 w 6884782"/>
              <a:gd name="connsiteY29452" fmla="*/ 2702963 h 5973007"/>
              <a:gd name="connsiteX29453" fmla="*/ 1392101 w 6884782"/>
              <a:gd name="connsiteY29453" fmla="*/ 2702808 h 5973007"/>
              <a:gd name="connsiteX29454" fmla="*/ 1398296 w 6884782"/>
              <a:gd name="connsiteY29454" fmla="*/ 2703737 h 5973007"/>
              <a:gd name="connsiteX29455" fmla="*/ 1391481 w 6884782"/>
              <a:gd name="connsiteY29455" fmla="*/ 2714735 h 5973007"/>
              <a:gd name="connsiteX29456" fmla="*/ 1390448 w 6884782"/>
              <a:gd name="connsiteY29456" fmla="*/ 2708694 h 5973007"/>
              <a:gd name="connsiteX29457" fmla="*/ 1392101 w 6884782"/>
              <a:gd name="connsiteY29457" fmla="*/ 2702808 h 5973007"/>
              <a:gd name="connsiteX29458" fmla="*/ 979489 w 6884782"/>
              <a:gd name="connsiteY29458" fmla="*/ 2701568 h 5973007"/>
              <a:gd name="connsiteX29459" fmla="*/ 980211 w 6884782"/>
              <a:gd name="connsiteY29459" fmla="*/ 2702033 h 5973007"/>
              <a:gd name="connsiteX29460" fmla="*/ 977837 w 6884782"/>
              <a:gd name="connsiteY29460" fmla="*/ 2704202 h 5973007"/>
              <a:gd name="connsiteX29461" fmla="*/ 979489 w 6884782"/>
              <a:gd name="connsiteY29461" fmla="*/ 2701568 h 5973007"/>
              <a:gd name="connsiteX29462" fmla="*/ 1117439 w 6884782"/>
              <a:gd name="connsiteY29462" fmla="*/ 2701104 h 5973007"/>
              <a:gd name="connsiteX29463" fmla="*/ 1117955 w 6884782"/>
              <a:gd name="connsiteY29463" fmla="*/ 2701414 h 5973007"/>
              <a:gd name="connsiteX29464" fmla="*/ 1118368 w 6884782"/>
              <a:gd name="connsiteY29464" fmla="*/ 2703892 h 5973007"/>
              <a:gd name="connsiteX29465" fmla="*/ 1116097 w 6884782"/>
              <a:gd name="connsiteY29465" fmla="*/ 2702033 h 5973007"/>
              <a:gd name="connsiteX29466" fmla="*/ 1117129 w 6884782"/>
              <a:gd name="connsiteY29466" fmla="*/ 2701259 h 5973007"/>
              <a:gd name="connsiteX29467" fmla="*/ 1116200 w 6884782"/>
              <a:gd name="connsiteY29467" fmla="*/ 2701259 h 5973007"/>
              <a:gd name="connsiteX29468" fmla="*/ 1117439 w 6884782"/>
              <a:gd name="connsiteY29468" fmla="*/ 2701104 h 5973007"/>
              <a:gd name="connsiteX29469" fmla="*/ 632651 w 6884782"/>
              <a:gd name="connsiteY29469" fmla="*/ 2700484 h 5973007"/>
              <a:gd name="connsiteX29470" fmla="*/ 638020 w 6884782"/>
              <a:gd name="connsiteY29470" fmla="*/ 2709313 h 5973007"/>
              <a:gd name="connsiteX29471" fmla="*/ 632858 w 6884782"/>
              <a:gd name="connsiteY29471" fmla="*/ 2710707 h 5973007"/>
              <a:gd name="connsiteX29472" fmla="*/ 631309 w 6884782"/>
              <a:gd name="connsiteY29472" fmla="*/ 2705441 h 5973007"/>
              <a:gd name="connsiteX29473" fmla="*/ 632651 w 6884782"/>
              <a:gd name="connsiteY29473" fmla="*/ 2700484 h 5973007"/>
              <a:gd name="connsiteX29474" fmla="*/ 4907374 w 6884782"/>
              <a:gd name="connsiteY29474" fmla="*/ 2698698 h 5973007"/>
              <a:gd name="connsiteX29475" fmla="*/ 4906093 w 6884782"/>
              <a:gd name="connsiteY29475" fmla="*/ 2699836 h 5973007"/>
              <a:gd name="connsiteX29476" fmla="*/ 4898197 w 6884782"/>
              <a:gd name="connsiteY29476" fmla="*/ 2702824 h 5973007"/>
              <a:gd name="connsiteX29477" fmla="*/ 4902465 w 6884782"/>
              <a:gd name="connsiteY29477" fmla="*/ 2704531 h 5973007"/>
              <a:gd name="connsiteX29478" fmla="*/ 4901612 w 6884782"/>
              <a:gd name="connsiteY29478" fmla="*/ 2721461 h 5973007"/>
              <a:gd name="connsiteX29479" fmla="*/ 4908227 w 6884782"/>
              <a:gd name="connsiteY29479" fmla="*/ 2729428 h 5973007"/>
              <a:gd name="connsiteX29480" fmla="*/ 4910788 w 6884782"/>
              <a:gd name="connsiteY29480" fmla="*/ 2706665 h 5973007"/>
              <a:gd name="connsiteX29481" fmla="*/ 4918471 w 6884782"/>
              <a:gd name="connsiteY29481" fmla="*/ 2732843 h 5973007"/>
              <a:gd name="connsiteX29482" fmla="*/ 4913349 w 6884782"/>
              <a:gd name="connsiteY29482" fmla="*/ 2750057 h 5973007"/>
              <a:gd name="connsiteX29483" fmla="*/ 4896489 w 6884782"/>
              <a:gd name="connsiteY29483" fmla="*/ 2735119 h 5973007"/>
              <a:gd name="connsiteX29484" fmla="*/ 4893928 w 6884782"/>
              <a:gd name="connsiteY29484" fmla="*/ 2747781 h 5973007"/>
              <a:gd name="connsiteX29485" fmla="*/ 4897770 w 6884782"/>
              <a:gd name="connsiteY29485" fmla="*/ 2758024 h 5973007"/>
              <a:gd name="connsiteX29486" fmla="*/ 4900331 w 6884782"/>
              <a:gd name="connsiteY29486" fmla="*/ 2762577 h 5973007"/>
              <a:gd name="connsiteX29487" fmla="*/ 4901612 w 6884782"/>
              <a:gd name="connsiteY29487" fmla="*/ 2764854 h 5973007"/>
              <a:gd name="connsiteX29488" fmla="*/ 4902892 w 6884782"/>
              <a:gd name="connsiteY29488" fmla="*/ 2767129 h 5973007"/>
              <a:gd name="connsiteX29489" fmla="*/ 4906947 w 6884782"/>
              <a:gd name="connsiteY29489" fmla="*/ 2773958 h 5973007"/>
              <a:gd name="connsiteX29490" fmla="*/ 4907160 w 6884782"/>
              <a:gd name="connsiteY29490" fmla="*/ 2774385 h 5973007"/>
              <a:gd name="connsiteX29491" fmla="*/ 4909935 w 6884782"/>
              <a:gd name="connsiteY29491" fmla="*/ 2772393 h 5973007"/>
              <a:gd name="connsiteX29492" fmla="*/ 4909295 w 6884782"/>
              <a:gd name="connsiteY29492" fmla="*/ 2770544 h 5973007"/>
              <a:gd name="connsiteX29493" fmla="*/ 4910788 w 6884782"/>
              <a:gd name="connsiteY29493" fmla="*/ 2771966 h 5973007"/>
              <a:gd name="connsiteX29494" fmla="*/ 4912283 w 6884782"/>
              <a:gd name="connsiteY29494" fmla="*/ 2770971 h 5973007"/>
              <a:gd name="connsiteX29495" fmla="*/ 4919966 w 6884782"/>
              <a:gd name="connsiteY29495" fmla="*/ 2772678 h 5973007"/>
              <a:gd name="connsiteX29496" fmla="*/ 4923594 w 6884782"/>
              <a:gd name="connsiteY29496" fmla="*/ 2780200 h 5973007"/>
              <a:gd name="connsiteX29497" fmla="*/ 4922768 w 6884782"/>
              <a:gd name="connsiteY29497" fmla="*/ 2785712 h 5973007"/>
              <a:gd name="connsiteX29498" fmla="*/ 4953000 w 6884782"/>
              <a:gd name="connsiteY29498" fmla="*/ 2785712 h 5973007"/>
              <a:gd name="connsiteX29499" fmla="*/ 4949097 w 6884782"/>
              <a:gd name="connsiteY29499" fmla="*/ 2770277 h 5973007"/>
              <a:gd name="connsiteX29500" fmla="*/ 4940453 w 6884782"/>
              <a:gd name="connsiteY29500" fmla="*/ 2748919 h 5973007"/>
              <a:gd name="connsiteX29501" fmla="*/ 4924661 w 6884782"/>
              <a:gd name="connsiteY29501" fmla="*/ 2724022 h 5973007"/>
              <a:gd name="connsiteX29502" fmla="*/ 585979 w 6884782"/>
              <a:gd name="connsiteY29502" fmla="*/ 2698161 h 5973007"/>
              <a:gd name="connsiteX29503" fmla="*/ 583501 w 6884782"/>
              <a:gd name="connsiteY29503" fmla="*/ 2706835 h 5973007"/>
              <a:gd name="connsiteX29504" fmla="*/ 585979 w 6884782"/>
              <a:gd name="connsiteY29504" fmla="*/ 2698161 h 5973007"/>
              <a:gd name="connsiteX29505" fmla="*/ 1119917 w 6884782"/>
              <a:gd name="connsiteY29505" fmla="*/ 2698006 h 5973007"/>
              <a:gd name="connsiteX29506" fmla="*/ 1124873 w 6884782"/>
              <a:gd name="connsiteY29506" fmla="*/ 2700329 h 5973007"/>
              <a:gd name="connsiteX29507" fmla="*/ 1124667 w 6884782"/>
              <a:gd name="connsiteY29507" fmla="*/ 2701104 h 5973007"/>
              <a:gd name="connsiteX29508" fmla="*/ 1124770 w 6884782"/>
              <a:gd name="connsiteY29508" fmla="*/ 2701259 h 5973007"/>
              <a:gd name="connsiteX29509" fmla="*/ 1126939 w 6884782"/>
              <a:gd name="connsiteY29509" fmla="*/ 2701723 h 5973007"/>
              <a:gd name="connsiteX29510" fmla="*/ 1125803 w 6884782"/>
              <a:gd name="connsiteY29510" fmla="*/ 2704821 h 5973007"/>
              <a:gd name="connsiteX29511" fmla="*/ 1124873 w 6884782"/>
              <a:gd name="connsiteY29511" fmla="*/ 2705286 h 5973007"/>
              <a:gd name="connsiteX29512" fmla="*/ 1124977 w 6884782"/>
              <a:gd name="connsiteY29512" fmla="*/ 2705751 h 5973007"/>
              <a:gd name="connsiteX29513" fmla="*/ 1126422 w 6884782"/>
              <a:gd name="connsiteY29513" fmla="*/ 2706525 h 5973007"/>
              <a:gd name="connsiteX29514" fmla="*/ 1128178 w 6884782"/>
              <a:gd name="connsiteY29514" fmla="*/ 2705906 h 5973007"/>
              <a:gd name="connsiteX29515" fmla="*/ 1128694 w 6884782"/>
              <a:gd name="connsiteY29515" fmla="*/ 2709003 h 5973007"/>
              <a:gd name="connsiteX29516" fmla="*/ 1129727 w 6884782"/>
              <a:gd name="connsiteY29516" fmla="*/ 2711482 h 5973007"/>
              <a:gd name="connsiteX29517" fmla="*/ 1128074 w 6884782"/>
              <a:gd name="connsiteY29517" fmla="*/ 2714115 h 5973007"/>
              <a:gd name="connsiteX29518" fmla="*/ 1127042 w 6884782"/>
              <a:gd name="connsiteY29518" fmla="*/ 2714270 h 5973007"/>
              <a:gd name="connsiteX29519" fmla="*/ 1121466 w 6884782"/>
              <a:gd name="connsiteY29519" fmla="*/ 2720466 h 5973007"/>
              <a:gd name="connsiteX29520" fmla="*/ 1134993 w 6884782"/>
              <a:gd name="connsiteY29520" fmla="*/ 2730844 h 5973007"/>
              <a:gd name="connsiteX29521" fmla="*/ 1115580 w 6884782"/>
              <a:gd name="connsiteY29521" fmla="*/ 2725578 h 5973007"/>
              <a:gd name="connsiteX29522" fmla="*/ 1105048 w 6884782"/>
              <a:gd name="connsiteY29522" fmla="*/ 2726817 h 5973007"/>
              <a:gd name="connsiteX29523" fmla="*/ 1111966 w 6884782"/>
              <a:gd name="connsiteY29523" fmla="*/ 2715510 h 5973007"/>
              <a:gd name="connsiteX29524" fmla="*/ 1114961 w 6884782"/>
              <a:gd name="connsiteY29524" fmla="*/ 2713031 h 5973007"/>
              <a:gd name="connsiteX29525" fmla="*/ 1114858 w 6884782"/>
              <a:gd name="connsiteY29525" fmla="*/ 2713031 h 5973007"/>
              <a:gd name="connsiteX29526" fmla="*/ 1111760 w 6884782"/>
              <a:gd name="connsiteY29526" fmla="*/ 2709313 h 5973007"/>
              <a:gd name="connsiteX29527" fmla="*/ 1112173 w 6884782"/>
              <a:gd name="connsiteY29527" fmla="*/ 2706680 h 5973007"/>
              <a:gd name="connsiteX29528" fmla="*/ 1116716 w 6884782"/>
              <a:gd name="connsiteY29528" fmla="*/ 2704047 h 5973007"/>
              <a:gd name="connsiteX29529" fmla="*/ 1118472 w 6884782"/>
              <a:gd name="connsiteY29529" fmla="*/ 2704202 h 5973007"/>
              <a:gd name="connsiteX29530" fmla="*/ 1118472 w 6884782"/>
              <a:gd name="connsiteY29530" fmla="*/ 2703892 h 5973007"/>
              <a:gd name="connsiteX29531" fmla="*/ 1118781 w 6884782"/>
              <a:gd name="connsiteY29531" fmla="*/ 2704202 h 5973007"/>
              <a:gd name="connsiteX29532" fmla="*/ 1119504 w 6884782"/>
              <a:gd name="connsiteY29532" fmla="*/ 2704357 h 5973007"/>
              <a:gd name="connsiteX29533" fmla="*/ 1119195 w 6884782"/>
              <a:gd name="connsiteY29533" fmla="*/ 2703427 h 5973007"/>
              <a:gd name="connsiteX29534" fmla="*/ 1119917 w 6884782"/>
              <a:gd name="connsiteY29534" fmla="*/ 2698006 h 5973007"/>
              <a:gd name="connsiteX29535" fmla="*/ 604049 w 6884782"/>
              <a:gd name="connsiteY29535" fmla="*/ 2696921 h 5973007"/>
              <a:gd name="connsiteX29536" fmla="*/ 594343 w 6884782"/>
              <a:gd name="connsiteY29536" fmla="*/ 2697076 h 5973007"/>
              <a:gd name="connsiteX29537" fmla="*/ 604049 w 6884782"/>
              <a:gd name="connsiteY29537" fmla="*/ 2696921 h 5973007"/>
              <a:gd name="connsiteX29538" fmla="*/ 749640 w 6884782"/>
              <a:gd name="connsiteY29538" fmla="*/ 2696302 h 5973007"/>
              <a:gd name="connsiteX29539" fmla="*/ 749640 w 6884782"/>
              <a:gd name="connsiteY29539" fmla="*/ 2697232 h 5973007"/>
              <a:gd name="connsiteX29540" fmla="*/ 751396 w 6884782"/>
              <a:gd name="connsiteY29540" fmla="*/ 2697386 h 5973007"/>
              <a:gd name="connsiteX29541" fmla="*/ 751396 w 6884782"/>
              <a:gd name="connsiteY29541" fmla="*/ 2696612 h 5973007"/>
              <a:gd name="connsiteX29542" fmla="*/ 753151 w 6884782"/>
              <a:gd name="connsiteY29542" fmla="*/ 2697541 h 5973007"/>
              <a:gd name="connsiteX29543" fmla="*/ 755320 w 6884782"/>
              <a:gd name="connsiteY29543" fmla="*/ 2700484 h 5973007"/>
              <a:gd name="connsiteX29544" fmla="*/ 757075 w 6884782"/>
              <a:gd name="connsiteY29544" fmla="*/ 2699555 h 5973007"/>
              <a:gd name="connsiteX29545" fmla="*/ 757591 w 6884782"/>
              <a:gd name="connsiteY29545" fmla="*/ 2704202 h 5973007"/>
              <a:gd name="connsiteX29546" fmla="*/ 754700 w 6884782"/>
              <a:gd name="connsiteY29546" fmla="*/ 2704047 h 5973007"/>
              <a:gd name="connsiteX29547" fmla="*/ 753151 w 6884782"/>
              <a:gd name="connsiteY29547" fmla="*/ 2704357 h 5973007"/>
              <a:gd name="connsiteX29548" fmla="*/ 751292 w 6884782"/>
              <a:gd name="connsiteY29548" fmla="*/ 2703273 h 5973007"/>
              <a:gd name="connsiteX29549" fmla="*/ 749124 w 6884782"/>
              <a:gd name="connsiteY29549" fmla="*/ 2700329 h 5973007"/>
              <a:gd name="connsiteX29550" fmla="*/ 749640 w 6884782"/>
              <a:gd name="connsiteY29550" fmla="*/ 2696302 h 5973007"/>
              <a:gd name="connsiteX29551" fmla="*/ 900085 w 6884782"/>
              <a:gd name="connsiteY29551" fmla="*/ 2696147 h 5973007"/>
              <a:gd name="connsiteX29552" fmla="*/ 907003 w 6884782"/>
              <a:gd name="connsiteY29552" fmla="*/ 2696612 h 5973007"/>
              <a:gd name="connsiteX29553" fmla="*/ 900085 w 6884782"/>
              <a:gd name="connsiteY29553" fmla="*/ 2696147 h 5973007"/>
              <a:gd name="connsiteX29554" fmla="*/ 1130553 w 6884782"/>
              <a:gd name="connsiteY29554" fmla="*/ 2695373 h 5973007"/>
              <a:gd name="connsiteX29555" fmla="*/ 1138813 w 6884782"/>
              <a:gd name="connsiteY29555" fmla="*/ 2701723 h 5973007"/>
              <a:gd name="connsiteX29556" fmla="*/ 1134683 w 6884782"/>
              <a:gd name="connsiteY29556" fmla="*/ 2704977 h 5973007"/>
              <a:gd name="connsiteX29557" fmla="*/ 1130346 w 6884782"/>
              <a:gd name="connsiteY29557" fmla="*/ 2697541 h 5973007"/>
              <a:gd name="connsiteX29558" fmla="*/ 1130553 w 6884782"/>
              <a:gd name="connsiteY29558" fmla="*/ 2695373 h 5973007"/>
              <a:gd name="connsiteX29559" fmla="*/ 1108869 w 6884782"/>
              <a:gd name="connsiteY29559" fmla="*/ 2695218 h 5973007"/>
              <a:gd name="connsiteX29560" fmla="*/ 1101125 w 6884782"/>
              <a:gd name="connsiteY29560" fmla="*/ 2712256 h 5973007"/>
              <a:gd name="connsiteX29561" fmla="*/ 1102157 w 6884782"/>
              <a:gd name="connsiteY29561" fmla="*/ 2702343 h 5973007"/>
              <a:gd name="connsiteX29562" fmla="*/ 1108869 w 6884782"/>
              <a:gd name="connsiteY29562" fmla="*/ 2695218 h 5973007"/>
              <a:gd name="connsiteX29563" fmla="*/ 1425349 w 6884782"/>
              <a:gd name="connsiteY29563" fmla="*/ 2693824 h 5973007"/>
              <a:gd name="connsiteX29564" fmla="*/ 1434952 w 6884782"/>
              <a:gd name="connsiteY29564" fmla="*/ 2698161 h 5973007"/>
              <a:gd name="connsiteX29565" fmla="*/ 1427930 w 6884782"/>
              <a:gd name="connsiteY29565" fmla="*/ 2703892 h 5973007"/>
              <a:gd name="connsiteX29566" fmla="*/ 1424110 w 6884782"/>
              <a:gd name="connsiteY29566" fmla="*/ 2696147 h 5973007"/>
              <a:gd name="connsiteX29567" fmla="*/ 1425349 w 6884782"/>
              <a:gd name="connsiteY29567" fmla="*/ 2693824 h 5973007"/>
              <a:gd name="connsiteX29568" fmla="*/ 4731942 w 6884782"/>
              <a:gd name="connsiteY29568" fmla="*/ 2693719 h 5973007"/>
              <a:gd name="connsiteX29569" fmla="*/ 4727461 w 6884782"/>
              <a:gd name="connsiteY29569" fmla="*/ 2702112 h 5973007"/>
              <a:gd name="connsiteX29570" fmla="*/ 4735144 w 6884782"/>
              <a:gd name="connsiteY29570" fmla="*/ 2708941 h 5973007"/>
              <a:gd name="connsiteX29571" fmla="*/ 4737705 w 6884782"/>
              <a:gd name="connsiteY29571" fmla="*/ 2714632 h 5973007"/>
              <a:gd name="connsiteX29572" fmla="*/ 4738985 w 6884782"/>
              <a:gd name="connsiteY29572" fmla="*/ 2718189 h 5973007"/>
              <a:gd name="connsiteX29573" fmla="*/ 4740266 w 6884782"/>
              <a:gd name="connsiteY29573" fmla="*/ 2718189 h 5973007"/>
              <a:gd name="connsiteX29574" fmla="*/ 4745388 w 6884782"/>
              <a:gd name="connsiteY29574" fmla="*/ 2726156 h 5973007"/>
              <a:gd name="connsiteX29575" fmla="*/ 4745388 w 6884782"/>
              <a:gd name="connsiteY29575" fmla="*/ 2727152 h 5973007"/>
              <a:gd name="connsiteX29576" fmla="*/ 4744108 w 6884782"/>
              <a:gd name="connsiteY29576" fmla="*/ 2727152 h 5973007"/>
              <a:gd name="connsiteX29577" fmla="*/ 4744108 w 6884782"/>
              <a:gd name="connsiteY29577" fmla="*/ 2728290 h 5973007"/>
              <a:gd name="connsiteX29578" fmla="*/ 4747949 w 6884782"/>
              <a:gd name="connsiteY29578" fmla="*/ 2736399 h 5973007"/>
              <a:gd name="connsiteX29579" fmla="*/ 4766090 w 6884782"/>
              <a:gd name="connsiteY29579" fmla="*/ 2748919 h 5973007"/>
              <a:gd name="connsiteX29580" fmla="*/ 4766090 w 6884782"/>
              <a:gd name="connsiteY29580" fmla="*/ 2750057 h 5973007"/>
              <a:gd name="connsiteX29581" fmla="*/ 4767370 w 6884782"/>
              <a:gd name="connsiteY29581" fmla="*/ 2751196 h 5973007"/>
              <a:gd name="connsiteX29582" fmla="*/ 4767370 w 6884782"/>
              <a:gd name="connsiteY29582" fmla="*/ 2752333 h 5973007"/>
              <a:gd name="connsiteX29583" fmla="*/ 4769931 w 6884782"/>
              <a:gd name="connsiteY29583" fmla="*/ 2758024 h 5973007"/>
              <a:gd name="connsiteX29584" fmla="*/ 4775053 w 6884782"/>
              <a:gd name="connsiteY29584" fmla="*/ 2769406 h 5973007"/>
              <a:gd name="connsiteX29585" fmla="*/ 4782888 w 6884782"/>
              <a:gd name="connsiteY29585" fmla="*/ 2785712 h 5973007"/>
              <a:gd name="connsiteX29586" fmla="*/ 4805454 w 6884782"/>
              <a:gd name="connsiteY29586" fmla="*/ 2785712 h 5973007"/>
              <a:gd name="connsiteX29587" fmla="*/ 4804835 w 6884782"/>
              <a:gd name="connsiteY29587" fmla="*/ 2798102 h 5973007"/>
              <a:gd name="connsiteX29588" fmla="*/ 4805609 w 6884782"/>
              <a:gd name="connsiteY29588" fmla="*/ 2813797 h 5973007"/>
              <a:gd name="connsiteX29589" fmla="*/ 4802046 w 6884782"/>
              <a:gd name="connsiteY29589" fmla="*/ 2816172 h 5973007"/>
              <a:gd name="connsiteX29590" fmla="*/ 4800188 w 6884782"/>
              <a:gd name="connsiteY29590" fmla="*/ 2818857 h 5973007"/>
              <a:gd name="connsiteX29591" fmla="*/ 4800268 w 6884782"/>
              <a:gd name="connsiteY29591" fmla="*/ 2819476 h 5973007"/>
              <a:gd name="connsiteX29592" fmla="*/ 4804932 w 6884782"/>
              <a:gd name="connsiteY29592" fmla="*/ 2828731 h 5973007"/>
              <a:gd name="connsiteX29593" fmla="*/ 4812615 w 6884782"/>
              <a:gd name="connsiteY29593" fmla="*/ 2846942 h 5973007"/>
              <a:gd name="connsiteX29594" fmla="*/ 4814996 w 6884782"/>
              <a:gd name="connsiteY29594" fmla="*/ 2853714 h 5973007"/>
              <a:gd name="connsiteX29595" fmla="*/ 4831162 w 6884782"/>
              <a:gd name="connsiteY29595" fmla="*/ 2859358 h 5973007"/>
              <a:gd name="connsiteX29596" fmla="*/ 4824507 w 6884782"/>
              <a:gd name="connsiteY29596" fmla="*/ 2838579 h 5973007"/>
              <a:gd name="connsiteX29597" fmla="*/ 4822920 w 6884782"/>
              <a:gd name="connsiteY29597" fmla="*/ 2832534 h 5973007"/>
              <a:gd name="connsiteX29598" fmla="*/ 4812189 w 6884782"/>
              <a:gd name="connsiteY29598" fmla="*/ 2829763 h 5973007"/>
              <a:gd name="connsiteX29599" fmla="*/ 4806426 w 6884782"/>
              <a:gd name="connsiteY29599" fmla="*/ 2817777 h 5973007"/>
              <a:gd name="connsiteX29600" fmla="*/ 4814963 w 6884782"/>
              <a:gd name="connsiteY29600" fmla="*/ 2810237 h 5973007"/>
              <a:gd name="connsiteX29601" fmla="*/ 4817470 w 6884782"/>
              <a:gd name="connsiteY29601" fmla="*/ 2811775 h 5973007"/>
              <a:gd name="connsiteX29602" fmla="*/ 4816917 w 6884782"/>
              <a:gd name="connsiteY29602" fmla="*/ 2809667 h 5973007"/>
              <a:gd name="connsiteX29603" fmla="*/ 4813974 w 6884782"/>
              <a:gd name="connsiteY29603" fmla="*/ 2785712 h 5973007"/>
              <a:gd name="connsiteX29604" fmla="*/ 4832455 w 6884782"/>
              <a:gd name="connsiteY29604" fmla="*/ 2785712 h 5973007"/>
              <a:gd name="connsiteX29605" fmla="*/ 4829475 w 6884782"/>
              <a:gd name="connsiteY29605" fmla="*/ 2783064 h 5973007"/>
              <a:gd name="connsiteX29606" fmla="*/ 4828195 w 6884782"/>
              <a:gd name="connsiteY29606" fmla="*/ 2764854 h 5973007"/>
              <a:gd name="connsiteX29607" fmla="*/ 4817737 w 6884782"/>
              <a:gd name="connsiteY29607" fmla="*/ 2751764 h 5973007"/>
              <a:gd name="connsiteX29608" fmla="*/ 4813896 w 6884782"/>
              <a:gd name="connsiteY29608" fmla="*/ 2753045 h 5973007"/>
              <a:gd name="connsiteX29609" fmla="*/ 4774626 w 6884782"/>
              <a:gd name="connsiteY29609" fmla="*/ 2725017 h 5973007"/>
              <a:gd name="connsiteX29610" fmla="*/ 4802798 w 6884782"/>
              <a:gd name="connsiteY29610" fmla="*/ 2733696 h 5973007"/>
              <a:gd name="connsiteX29611" fmla="*/ 4804932 w 6884782"/>
              <a:gd name="connsiteY29611" fmla="*/ 2734692 h 5973007"/>
              <a:gd name="connsiteX29612" fmla="*/ 4804932 w 6884782"/>
              <a:gd name="connsiteY29612" fmla="*/ 2733981 h 5973007"/>
              <a:gd name="connsiteX29613" fmla="*/ 4803651 w 6884782"/>
              <a:gd name="connsiteY29613" fmla="*/ 2732843 h 5973007"/>
              <a:gd name="connsiteX29614" fmla="*/ 4802158 w 6884782"/>
              <a:gd name="connsiteY29614" fmla="*/ 2730709 h 5973007"/>
              <a:gd name="connsiteX29615" fmla="*/ 4784231 w 6884782"/>
              <a:gd name="connsiteY29615" fmla="*/ 2713494 h 5973007"/>
              <a:gd name="connsiteX29616" fmla="*/ 4762248 w 6884782"/>
              <a:gd name="connsiteY29616" fmla="*/ 2722599 h 5973007"/>
              <a:gd name="connsiteX29617" fmla="*/ 4759687 w 6884782"/>
              <a:gd name="connsiteY29617" fmla="*/ 2719327 h 5973007"/>
              <a:gd name="connsiteX29618" fmla="*/ 4754565 w 6884782"/>
              <a:gd name="connsiteY29618" fmla="*/ 2710080 h 5973007"/>
              <a:gd name="connsiteX29619" fmla="*/ 4754565 w 6884782"/>
              <a:gd name="connsiteY29619" fmla="*/ 2708941 h 5973007"/>
              <a:gd name="connsiteX29620" fmla="*/ 4753284 w 6884782"/>
              <a:gd name="connsiteY29620" fmla="*/ 2707803 h 5973007"/>
              <a:gd name="connsiteX29621" fmla="*/ 4750510 w 6884782"/>
              <a:gd name="connsiteY29621" fmla="*/ 2705527 h 5973007"/>
              <a:gd name="connsiteX29622" fmla="*/ 4740266 w 6884782"/>
              <a:gd name="connsiteY29622" fmla="*/ 2696422 h 5973007"/>
              <a:gd name="connsiteX29623" fmla="*/ 4731942 w 6884782"/>
              <a:gd name="connsiteY29623" fmla="*/ 2693719 h 5973007"/>
              <a:gd name="connsiteX29624" fmla="*/ 771324 w 6884782"/>
              <a:gd name="connsiteY29624" fmla="*/ 2693514 h 5973007"/>
              <a:gd name="connsiteX29625" fmla="*/ 779998 w 6884782"/>
              <a:gd name="connsiteY29625" fmla="*/ 2695218 h 5973007"/>
              <a:gd name="connsiteX29626" fmla="*/ 785780 w 6884782"/>
              <a:gd name="connsiteY29626" fmla="*/ 2707145 h 5973007"/>
              <a:gd name="connsiteX29627" fmla="*/ 785677 w 6884782"/>
              <a:gd name="connsiteY29627" fmla="*/ 2707455 h 5973007"/>
              <a:gd name="connsiteX29628" fmla="*/ 785677 w 6884782"/>
              <a:gd name="connsiteY29628" fmla="*/ 2712256 h 5973007"/>
              <a:gd name="connsiteX29629" fmla="*/ 784025 w 6884782"/>
              <a:gd name="connsiteY29629" fmla="*/ 2713031 h 5973007"/>
              <a:gd name="connsiteX29630" fmla="*/ 784851 w 6884782"/>
              <a:gd name="connsiteY29630" fmla="*/ 2715974 h 5973007"/>
              <a:gd name="connsiteX29631" fmla="*/ 778449 w 6884782"/>
              <a:gd name="connsiteY29631" fmla="*/ 2717832 h 5973007"/>
              <a:gd name="connsiteX29632" fmla="*/ 783302 w 6884782"/>
              <a:gd name="connsiteY29632" fmla="*/ 2728210 h 5973007"/>
              <a:gd name="connsiteX29633" fmla="*/ 782786 w 6884782"/>
              <a:gd name="connsiteY29633" fmla="*/ 2730534 h 5973007"/>
              <a:gd name="connsiteX29634" fmla="*/ 782683 w 6884782"/>
              <a:gd name="connsiteY29634" fmla="*/ 2731773 h 5973007"/>
              <a:gd name="connsiteX29635" fmla="*/ 785573 w 6884782"/>
              <a:gd name="connsiteY29635" fmla="*/ 2723409 h 5973007"/>
              <a:gd name="connsiteX29636" fmla="*/ 791975 w 6884782"/>
              <a:gd name="connsiteY29636" fmla="*/ 2717523 h 5973007"/>
              <a:gd name="connsiteX29637" fmla="*/ 804160 w 6884782"/>
              <a:gd name="connsiteY29637" fmla="*/ 2717058 h 5973007"/>
              <a:gd name="connsiteX29638" fmla="*/ 804366 w 6884782"/>
              <a:gd name="connsiteY29638" fmla="*/ 2717058 h 5973007"/>
              <a:gd name="connsiteX29639" fmla="*/ 802198 w 6884782"/>
              <a:gd name="connsiteY29639" fmla="*/ 2714889 h 5973007"/>
              <a:gd name="connsiteX29640" fmla="*/ 796726 w 6884782"/>
              <a:gd name="connsiteY29640" fmla="*/ 2713960 h 5973007"/>
              <a:gd name="connsiteX29641" fmla="*/ 792802 w 6884782"/>
              <a:gd name="connsiteY29641" fmla="*/ 2714270 h 5973007"/>
              <a:gd name="connsiteX29642" fmla="*/ 791150 w 6884782"/>
              <a:gd name="connsiteY29642" fmla="*/ 2713186 h 5973007"/>
              <a:gd name="connsiteX29643" fmla="*/ 787742 w 6884782"/>
              <a:gd name="connsiteY29643" fmla="*/ 2707919 h 5973007"/>
              <a:gd name="connsiteX29644" fmla="*/ 791769 w 6884782"/>
              <a:gd name="connsiteY29644" fmla="*/ 2706525 h 5973007"/>
              <a:gd name="connsiteX29645" fmla="*/ 794970 w 6884782"/>
              <a:gd name="connsiteY29645" fmla="*/ 2707455 h 5973007"/>
              <a:gd name="connsiteX29646" fmla="*/ 794454 w 6884782"/>
              <a:gd name="connsiteY29646" fmla="*/ 2706835 h 5973007"/>
              <a:gd name="connsiteX29647" fmla="*/ 792079 w 6884782"/>
              <a:gd name="connsiteY29647" fmla="*/ 2698780 h 5973007"/>
              <a:gd name="connsiteX29648" fmla="*/ 807257 w 6884782"/>
              <a:gd name="connsiteY29648" fmla="*/ 2708074 h 5973007"/>
              <a:gd name="connsiteX29649" fmla="*/ 810355 w 6884782"/>
              <a:gd name="connsiteY29649" fmla="*/ 2714889 h 5973007"/>
              <a:gd name="connsiteX29650" fmla="*/ 813143 w 6884782"/>
              <a:gd name="connsiteY29650" fmla="*/ 2713960 h 5973007"/>
              <a:gd name="connsiteX29651" fmla="*/ 824501 w 6884782"/>
              <a:gd name="connsiteY29651" fmla="*/ 2719072 h 5973007"/>
              <a:gd name="connsiteX29652" fmla="*/ 827805 w 6884782"/>
              <a:gd name="connsiteY29652" fmla="*/ 2721395 h 5973007"/>
              <a:gd name="connsiteX29653" fmla="*/ 830800 w 6884782"/>
              <a:gd name="connsiteY29653" fmla="*/ 2722789 h 5973007"/>
              <a:gd name="connsiteX29654" fmla="*/ 831110 w 6884782"/>
              <a:gd name="connsiteY29654" fmla="*/ 2722944 h 5973007"/>
              <a:gd name="connsiteX29655" fmla="*/ 833175 w 6884782"/>
              <a:gd name="connsiteY29655" fmla="*/ 2723254 h 5973007"/>
              <a:gd name="connsiteX29656" fmla="*/ 831935 w 6884782"/>
              <a:gd name="connsiteY29656" fmla="*/ 2722170 h 5973007"/>
              <a:gd name="connsiteX29657" fmla="*/ 830284 w 6884782"/>
              <a:gd name="connsiteY29657" fmla="*/ 2715974 h 5973007"/>
              <a:gd name="connsiteX29658" fmla="*/ 837511 w 6884782"/>
              <a:gd name="connsiteY29658" fmla="*/ 2710243 h 5973007"/>
              <a:gd name="connsiteX29659" fmla="*/ 837305 w 6884782"/>
              <a:gd name="connsiteY29659" fmla="*/ 2708384 h 5973007"/>
              <a:gd name="connsiteX29660" fmla="*/ 839370 w 6884782"/>
              <a:gd name="connsiteY29660" fmla="*/ 2705441 h 5973007"/>
              <a:gd name="connsiteX29661" fmla="*/ 841125 w 6884782"/>
              <a:gd name="connsiteY29661" fmla="*/ 2706525 h 5973007"/>
              <a:gd name="connsiteX29662" fmla="*/ 839473 w 6884782"/>
              <a:gd name="connsiteY29662" fmla="*/ 2710243 h 5973007"/>
              <a:gd name="connsiteX29663" fmla="*/ 839886 w 6884782"/>
              <a:gd name="connsiteY29663" fmla="*/ 2711017 h 5973007"/>
              <a:gd name="connsiteX29664" fmla="*/ 842261 w 6884782"/>
              <a:gd name="connsiteY29664" fmla="*/ 2711792 h 5973007"/>
              <a:gd name="connsiteX29665" fmla="*/ 846908 w 6884782"/>
              <a:gd name="connsiteY29665" fmla="*/ 2719072 h 5973007"/>
              <a:gd name="connsiteX29666" fmla="*/ 842674 w 6884782"/>
              <a:gd name="connsiteY29666" fmla="*/ 2724493 h 5973007"/>
              <a:gd name="connsiteX29667" fmla="*/ 840299 w 6884782"/>
              <a:gd name="connsiteY29667" fmla="*/ 2725578 h 5973007"/>
              <a:gd name="connsiteX29668" fmla="*/ 844120 w 6884782"/>
              <a:gd name="connsiteY29668" fmla="*/ 2728210 h 5973007"/>
              <a:gd name="connsiteX29669" fmla="*/ 846185 w 6884782"/>
              <a:gd name="connsiteY29669" fmla="*/ 2735491 h 5973007"/>
              <a:gd name="connsiteX29670" fmla="*/ 844946 w 6884782"/>
              <a:gd name="connsiteY29670" fmla="*/ 2737814 h 5973007"/>
              <a:gd name="connsiteX29671" fmla="*/ 848973 w 6884782"/>
              <a:gd name="connsiteY29671" fmla="*/ 2747573 h 5973007"/>
              <a:gd name="connsiteX29672" fmla="*/ 848973 w 6884782"/>
              <a:gd name="connsiteY29672" fmla="*/ 2747882 h 5973007"/>
              <a:gd name="connsiteX29673" fmla="*/ 850005 w 6884782"/>
              <a:gd name="connsiteY29673" fmla="*/ 2749122 h 5973007"/>
              <a:gd name="connsiteX29674" fmla="*/ 851761 w 6884782"/>
              <a:gd name="connsiteY29674" fmla="*/ 2748657 h 5973007"/>
              <a:gd name="connsiteX29675" fmla="*/ 859712 w 6884782"/>
              <a:gd name="connsiteY29675" fmla="*/ 2741067 h 5973007"/>
              <a:gd name="connsiteX29676" fmla="*/ 859815 w 6884782"/>
              <a:gd name="connsiteY29676" fmla="*/ 2746488 h 5973007"/>
              <a:gd name="connsiteX29677" fmla="*/ 860951 w 6884782"/>
              <a:gd name="connsiteY29677" fmla="*/ 2745869 h 5973007"/>
              <a:gd name="connsiteX29678" fmla="*/ 869314 w 6884782"/>
              <a:gd name="connsiteY29678" fmla="*/ 2744475 h 5973007"/>
              <a:gd name="connsiteX29679" fmla="*/ 874167 w 6884782"/>
              <a:gd name="connsiteY29679" fmla="*/ 2744475 h 5973007"/>
              <a:gd name="connsiteX29680" fmla="*/ 872722 w 6884782"/>
              <a:gd name="connsiteY29680" fmla="*/ 2742771 h 5973007"/>
              <a:gd name="connsiteX29681" fmla="*/ 871069 w 6884782"/>
              <a:gd name="connsiteY29681" fmla="*/ 2735800 h 5973007"/>
              <a:gd name="connsiteX29682" fmla="*/ 879124 w 6884782"/>
              <a:gd name="connsiteY29682" fmla="*/ 2735646 h 5973007"/>
              <a:gd name="connsiteX29683" fmla="*/ 882015 w 6884782"/>
              <a:gd name="connsiteY29683" fmla="*/ 2739363 h 5973007"/>
              <a:gd name="connsiteX29684" fmla="*/ 881602 w 6884782"/>
              <a:gd name="connsiteY29684" fmla="*/ 2742926 h 5973007"/>
              <a:gd name="connsiteX29685" fmla="*/ 881705 w 6884782"/>
              <a:gd name="connsiteY29685" fmla="*/ 2744630 h 5973007"/>
              <a:gd name="connsiteX29686" fmla="*/ 890069 w 6884782"/>
              <a:gd name="connsiteY29686" fmla="*/ 2744940 h 5973007"/>
              <a:gd name="connsiteX29687" fmla="*/ 888107 w 6884782"/>
              <a:gd name="connsiteY29687" fmla="*/ 2743081 h 5973007"/>
              <a:gd name="connsiteX29688" fmla="*/ 894612 w 6884782"/>
              <a:gd name="connsiteY29688" fmla="*/ 2737969 h 5973007"/>
              <a:gd name="connsiteX29689" fmla="*/ 901633 w 6884782"/>
              <a:gd name="connsiteY29689" fmla="*/ 2741377 h 5973007"/>
              <a:gd name="connsiteX29690" fmla="*/ 895851 w 6884782"/>
              <a:gd name="connsiteY29690" fmla="*/ 2750671 h 5973007"/>
              <a:gd name="connsiteX29691" fmla="*/ 895232 w 6884782"/>
              <a:gd name="connsiteY29691" fmla="*/ 2750051 h 5973007"/>
              <a:gd name="connsiteX29692" fmla="*/ 893889 w 6884782"/>
              <a:gd name="connsiteY29692" fmla="*/ 2754388 h 5973007"/>
              <a:gd name="connsiteX29693" fmla="*/ 871380 w 6884782"/>
              <a:gd name="connsiteY29693" fmla="*/ 2752529 h 5973007"/>
              <a:gd name="connsiteX29694" fmla="*/ 859918 w 6884782"/>
              <a:gd name="connsiteY29694" fmla="*/ 2751445 h 5973007"/>
              <a:gd name="connsiteX29695" fmla="*/ 860021 w 6884782"/>
              <a:gd name="connsiteY29695" fmla="*/ 2754698 h 5973007"/>
              <a:gd name="connsiteX29696" fmla="*/ 856201 w 6884782"/>
              <a:gd name="connsiteY29696" fmla="*/ 2766160 h 5973007"/>
              <a:gd name="connsiteX29697" fmla="*/ 854135 w 6884782"/>
              <a:gd name="connsiteY29697" fmla="*/ 2769103 h 5973007"/>
              <a:gd name="connsiteX29698" fmla="*/ 854549 w 6884782"/>
              <a:gd name="connsiteY29698" fmla="*/ 2770807 h 5973007"/>
              <a:gd name="connsiteX29699" fmla="*/ 854342 w 6884782"/>
              <a:gd name="connsiteY29699" fmla="*/ 2771891 h 5973007"/>
              <a:gd name="connsiteX29700" fmla="*/ 854652 w 6884782"/>
              <a:gd name="connsiteY29700" fmla="*/ 2772356 h 5973007"/>
              <a:gd name="connsiteX29701" fmla="*/ 855168 w 6884782"/>
              <a:gd name="connsiteY29701" fmla="*/ 2773286 h 5973007"/>
              <a:gd name="connsiteX29702" fmla="*/ 854342 w 6884782"/>
              <a:gd name="connsiteY29702" fmla="*/ 2773131 h 5973007"/>
              <a:gd name="connsiteX29703" fmla="*/ 854239 w 6884782"/>
              <a:gd name="connsiteY29703" fmla="*/ 2773131 h 5973007"/>
              <a:gd name="connsiteX29704" fmla="*/ 854032 w 6884782"/>
              <a:gd name="connsiteY29704" fmla="*/ 2775764 h 5973007"/>
              <a:gd name="connsiteX29705" fmla="*/ 847734 w 6884782"/>
              <a:gd name="connsiteY29705" fmla="*/ 2773131 h 5973007"/>
              <a:gd name="connsiteX29706" fmla="*/ 842261 w 6884782"/>
              <a:gd name="connsiteY29706" fmla="*/ 2769568 h 5973007"/>
              <a:gd name="connsiteX29707" fmla="*/ 846598 w 6884782"/>
              <a:gd name="connsiteY29707" fmla="*/ 2769103 h 5973007"/>
              <a:gd name="connsiteX29708" fmla="*/ 845772 w 6884782"/>
              <a:gd name="connsiteY29708" fmla="*/ 2767400 h 5973007"/>
              <a:gd name="connsiteX29709" fmla="*/ 848353 w 6884782"/>
              <a:gd name="connsiteY29709" fmla="*/ 2766780 h 5973007"/>
              <a:gd name="connsiteX29710" fmla="*/ 848147 w 6884782"/>
              <a:gd name="connsiteY29710" fmla="*/ 2765386 h 5973007"/>
              <a:gd name="connsiteX29711" fmla="*/ 848973 w 6884782"/>
              <a:gd name="connsiteY29711" fmla="*/ 2759965 h 5973007"/>
              <a:gd name="connsiteX29712" fmla="*/ 847527 w 6884782"/>
              <a:gd name="connsiteY29712" fmla="*/ 2759965 h 5973007"/>
              <a:gd name="connsiteX29713" fmla="*/ 845978 w 6884782"/>
              <a:gd name="connsiteY29713" fmla="*/ 2763837 h 5973007"/>
              <a:gd name="connsiteX29714" fmla="*/ 842261 w 6884782"/>
              <a:gd name="connsiteY29714" fmla="*/ 2769568 h 5973007"/>
              <a:gd name="connsiteX29715" fmla="*/ 841642 w 6884782"/>
              <a:gd name="connsiteY29715" fmla="*/ 2770807 h 5973007"/>
              <a:gd name="connsiteX29716" fmla="*/ 837305 w 6884782"/>
              <a:gd name="connsiteY29716" fmla="*/ 2778707 h 5973007"/>
              <a:gd name="connsiteX29717" fmla="*/ 818616 w 6884782"/>
              <a:gd name="connsiteY29717" fmla="*/ 2784748 h 5973007"/>
              <a:gd name="connsiteX29718" fmla="*/ 806534 w 6884782"/>
              <a:gd name="connsiteY29718" fmla="*/ 2779791 h 5973007"/>
              <a:gd name="connsiteX29719" fmla="*/ 800339 w 6884782"/>
              <a:gd name="connsiteY29719" fmla="*/ 2778087 h 5973007"/>
              <a:gd name="connsiteX29720" fmla="*/ 800546 w 6884782"/>
              <a:gd name="connsiteY29720" fmla="*/ 2778552 h 5973007"/>
              <a:gd name="connsiteX29721" fmla="*/ 795796 w 6884782"/>
              <a:gd name="connsiteY29721" fmla="*/ 2784748 h 5973007"/>
              <a:gd name="connsiteX29722" fmla="*/ 796106 w 6884782"/>
              <a:gd name="connsiteY29722" fmla="*/ 2780721 h 5973007"/>
              <a:gd name="connsiteX29723" fmla="*/ 797241 w 6884782"/>
              <a:gd name="connsiteY29723" fmla="*/ 2777313 h 5973007"/>
              <a:gd name="connsiteX29724" fmla="*/ 792905 w 6884782"/>
              <a:gd name="connsiteY29724" fmla="*/ 2776074 h 5973007"/>
              <a:gd name="connsiteX29725" fmla="*/ 785058 w 6884782"/>
              <a:gd name="connsiteY29725" fmla="*/ 2762443 h 5973007"/>
              <a:gd name="connsiteX29726" fmla="*/ 784644 w 6884782"/>
              <a:gd name="connsiteY29726" fmla="*/ 2761668 h 5973007"/>
              <a:gd name="connsiteX29727" fmla="*/ 782063 w 6884782"/>
              <a:gd name="connsiteY29727" fmla="*/ 2764921 h 5973007"/>
              <a:gd name="connsiteX29728" fmla="*/ 785677 w 6884782"/>
              <a:gd name="connsiteY29728" fmla="*/ 2768019 h 5973007"/>
              <a:gd name="connsiteX29729" fmla="*/ 780307 w 6884782"/>
              <a:gd name="connsiteY29729" fmla="*/ 2779172 h 5973007"/>
              <a:gd name="connsiteX29730" fmla="*/ 772770 w 6884782"/>
              <a:gd name="connsiteY29730" fmla="*/ 2771582 h 5973007"/>
              <a:gd name="connsiteX29731" fmla="*/ 775661 w 6884782"/>
              <a:gd name="connsiteY29731" fmla="*/ 2768948 h 5973007"/>
              <a:gd name="connsiteX29732" fmla="*/ 775351 w 6884782"/>
              <a:gd name="connsiteY29732" fmla="*/ 2768639 h 5973007"/>
              <a:gd name="connsiteX29733" fmla="*/ 773286 w 6884782"/>
              <a:gd name="connsiteY29733" fmla="*/ 2768174 h 5973007"/>
              <a:gd name="connsiteX29734" fmla="*/ 771944 w 6884782"/>
              <a:gd name="connsiteY29734" fmla="*/ 2769878 h 5973007"/>
              <a:gd name="connsiteX29735" fmla="*/ 770395 w 6884782"/>
              <a:gd name="connsiteY29735" fmla="*/ 2767554 h 5973007"/>
              <a:gd name="connsiteX29736" fmla="*/ 770601 w 6884782"/>
              <a:gd name="connsiteY29736" fmla="*/ 2767244 h 5973007"/>
              <a:gd name="connsiteX29737" fmla="*/ 767814 w 6884782"/>
              <a:gd name="connsiteY29737" fmla="*/ 2765076 h 5973007"/>
              <a:gd name="connsiteX29738" fmla="*/ 764199 w 6884782"/>
              <a:gd name="connsiteY29738" fmla="*/ 2757176 h 5973007"/>
              <a:gd name="connsiteX29739" fmla="*/ 767504 w 6884782"/>
              <a:gd name="connsiteY29739" fmla="*/ 2750825 h 5973007"/>
              <a:gd name="connsiteX29740" fmla="*/ 777417 w 6884782"/>
              <a:gd name="connsiteY29740" fmla="*/ 2747573 h 5973007"/>
              <a:gd name="connsiteX29741" fmla="*/ 777726 w 6884782"/>
              <a:gd name="connsiteY29741" fmla="*/ 2747882 h 5973007"/>
              <a:gd name="connsiteX29742" fmla="*/ 780617 w 6884782"/>
              <a:gd name="connsiteY29742" fmla="*/ 2741067 h 5973007"/>
              <a:gd name="connsiteX29743" fmla="*/ 782063 w 6884782"/>
              <a:gd name="connsiteY29743" fmla="*/ 2734407 h 5973007"/>
              <a:gd name="connsiteX29744" fmla="*/ 778346 w 6884782"/>
              <a:gd name="connsiteY29744" fmla="*/ 2735646 h 5973007"/>
              <a:gd name="connsiteX29745" fmla="*/ 771737 w 6884782"/>
              <a:gd name="connsiteY29745" fmla="*/ 2736730 h 5973007"/>
              <a:gd name="connsiteX29746" fmla="*/ 762031 w 6884782"/>
              <a:gd name="connsiteY29746" fmla="*/ 2726817 h 5973007"/>
              <a:gd name="connsiteX29747" fmla="*/ 762651 w 6884782"/>
              <a:gd name="connsiteY29747" fmla="*/ 2725887 h 5973007"/>
              <a:gd name="connsiteX29748" fmla="*/ 763373 w 6884782"/>
              <a:gd name="connsiteY29748" fmla="*/ 2724183 h 5973007"/>
              <a:gd name="connsiteX29749" fmla="*/ 762341 w 6884782"/>
              <a:gd name="connsiteY29749" fmla="*/ 2721550 h 5973007"/>
              <a:gd name="connsiteX29750" fmla="*/ 763683 w 6884782"/>
              <a:gd name="connsiteY29750" fmla="*/ 2719072 h 5973007"/>
              <a:gd name="connsiteX29751" fmla="*/ 767917 w 6884782"/>
              <a:gd name="connsiteY29751" fmla="*/ 2717678 h 5973007"/>
              <a:gd name="connsiteX29752" fmla="*/ 768640 w 6884782"/>
              <a:gd name="connsiteY29752" fmla="*/ 2718297 h 5973007"/>
              <a:gd name="connsiteX29753" fmla="*/ 773802 w 6884782"/>
              <a:gd name="connsiteY29753" fmla="*/ 2717058 h 5973007"/>
              <a:gd name="connsiteX29754" fmla="*/ 777003 w 6884782"/>
              <a:gd name="connsiteY29754" fmla="*/ 2717523 h 5973007"/>
              <a:gd name="connsiteX29755" fmla="*/ 772150 w 6884782"/>
              <a:gd name="connsiteY29755" fmla="*/ 2716129 h 5973007"/>
              <a:gd name="connsiteX29756" fmla="*/ 770292 w 6884782"/>
              <a:gd name="connsiteY29756" fmla="*/ 2715510 h 5973007"/>
              <a:gd name="connsiteX29757" fmla="*/ 770292 w 6884782"/>
              <a:gd name="connsiteY29757" fmla="*/ 2716284 h 5973007"/>
              <a:gd name="connsiteX29758" fmla="*/ 769362 w 6884782"/>
              <a:gd name="connsiteY29758" fmla="*/ 2715354 h 5973007"/>
              <a:gd name="connsiteX29759" fmla="*/ 769156 w 6884782"/>
              <a:gd name="connsiteY29759" fmla="*/ 2715199 h 5973007"/>
              <a:gd name="connsiteX29760" fmla="*/ 768330 w 6884782"/>
              <a:gd name="connsiteY29760" fmla="*/ 2715199 h 5973007"/>
              <a:gd name="connsiteX29761" fmla="*/ 765438 w 6884782"/>
              <a:gd name="connsiteY29761" fmla="*/ 2712876 h 5973007"/>
              <a:gd name="connsiteX29762" fmla="*/ 765645 w 6884782"/>
              <a:gd name="connsiteY29762" fmla="*/ 2711946 h 5973007"/>
              <a:gd name="connsiteX29763" fmla="*/ 760792 w 6884782"/>
              <a:gd name="connsiteY29763" fmla="*/ 2712101 h 5973007"/>
              <a:gd name="connsiteX29764" fmla="*/ 759450 w 6884782"/>
              <a:gd name="connsiteY29764" fmla="*/ 2711792 h 5973007"/>
              <a:gd name="connsiteX29765" fmla="*/ 759037 w 6884782"/>
              <a:gd name="connsiteY29765" fmla="*/ 2712256 h 5973007"/>
              <a:gd name="connsiteX29766" fmla="*/ 758211 w 6884782"/>
              <a:gd name="connsiteY29766" fmla="*/ 2711637 h 5973007"/>
              <a:gd name="connsiteX29767" fmla="*/ 753874 w 6884782"/>
              <a:gd name="connsiteY29767" fmla="*/ 2710862 h 5973007"/>
              <a:gd name="connsiteX29768" fmla="*/ 750570 w 6884782"/>
              <a:gd name="connsiteY29768" fmla="*/ 2707299 h 5973007"/>
              <a:gd name="connsiteX29769" fmla="*/ 756455 w 6884782"/>
              <a:gd name="connsiteY29769" fmla="*/ 2706370 h 5973007"/>
              <a:gd name="connsiteX29770" fmla="*/ 756765 w 6884782"/>
              <a:gd name="connsiteY29770" fmla="*/ 2706215 h 5973007"/>
              <a:gd name="connsiteX29771" fmla="*/ 757178 w 6884782"/>
              <a:gd name="connsiteY29771" fmla="*/ 2706215 h 5973007"/>
              <a:gd name="connsiteX29772" fmla="*/ 764096 w 6884782"/>
              <a:gd name="connsiteY29772" fmla="*/ 2705596 h 5973007"/>
              <a:gd name="connsiteX29773" fmla="*/ 770601 w 6884782"/>
              <a:gd name="connsiteY29773" fmla="*/ 2706680 h 5973007"/>
              <a:gd name="connsiteX29774" fmla="*/ 770704 w 6884782"/>
              <a:gd name="connsiteY29774" fmla="*/ 2705906 h 5973007"/>
              <a:gd name="connsiteX29775" fmla="*/ 771324 w 6884782"/>
              <a:gd name="connsiteY29775" fmla="*/ 2693514 h 5973007"/>
              <a:gd name="connsiteX29776" fmla="*/ 914127 w 6884782"/>
              <a:gd name="connsiteY29776" fmla="*/ 2693204 h 5973007"/>
              <a:gd name="connsiteX29777" fmla="*/ 919187 w 6884782"/>
              <a:gd name="connsiteY29777" fmla="*/ 2694288 h 5973007"/>
              <a:gd name="connsiteX29778" fmla="*/ 909894 w 6884782"/>
              <a:gd name="connsiteY29778" fmla="*/ 2700484 h 5973007"/>
              <a:gd name="connsiteX29779" fmla="*/ 909997 w 6884782"/>
              <a:gd name="connsiteY29779" fmla="*/ 2695218 h 5973007"/>
              <a:gd name="connsiteX29780" fmla="*/ 914127 w 6884782"/>
              <a:gd name="connsiteY29780" fmla="*/ 2693204 h 5973007"/>
              <a:gd name="connsiteX29781" fmla="*/ 571627 w 6884782"/>
              <a:gd name="connsiteY29781" fmla="*/ 2693204 h 5973007"/>
              <a:gd name="connsiteX29782" fmla="*/ 573382 w 6884782"/>
              <a:gd name="connsiteY29782" fmla="*/ 2693978 h 5973007"/>
              <a:gd name="connsiteX29783" fmla="*/ 578338 w 6884782"/>
              <a:gd name="connsiteY29783" fmla="*/ 2709313 h 5973007"/>
              <a:gd name="connsiteX29784" fmla="*/ 570594 w 6884782"/>
              <a:gd name="connsiteY29784" fmla="*/ 2706835 h 5973007"/>
              <a:gd name="connsiteX29785" fmla="*/ 568839 w 6884782"/>
              <a:gd name="connsiteY29785" fmla="*/ 2703737 h 5973007"/>
              <a:gd name="connsiteX29786" fmla="*/ 568942 w 6884782"/>
              <a:gd name="connsiteY29786" fmla="*/ 2700019 h 5973007"/>
              <a:gd name="connsiteX29787" fmla="*/ 568323 w 6884782"/>
              <a:gd name="connsiteY29787" fmla="*/ 2697232 h 5973007"/>
              <a:gd name="connsiteX29788" fmla="*/ 569045 w 6884782"/>
              <a:gd name="connsiteY29788" fmla="*/ 2694288 h 5973007"/>
              <a:gd name="connsiteX29789" fmla="*/ 571627 w 6884782"/>
              <a:gd name="connsiteY29789" fmla="*/ 2693204 h 5973007"/>
              <a:gd name="connsiteX29790" fmla="*/ 1354619 w 6884782"/>
              <a:gd name="connsiteY29790" fmla="*/ 2693049 h 5973007"/>
              <a:gd name="connsiteX29791" fmla="*/ 1356477 w 6884782"/>
              <a:gd name="connsiteY29791" fmla="*/ 2695992 h 5973007"/>
              <a:gd name="connsiteX29792" fmla="*/ 1354722 w 6884782"/>
              <a:gd name="connsiteY29792" fmla="*/ 2698006 h 5973007"/>
              <a:gd name="connsiteX29793" fmla="*/ 1354206 w 6884782"/>
              <a:gd name="connsiteY29793" fmla="*/ 2695373 h 5973007"/>
              <a:gd name="connsiteX29794" fmla="*/ 1354619 w 6884782"/>
              <a:gd name="connsiteY29794" fmla="*/ 2693049 h 5973007"/>
              <a:gd name="connsiteX29795" fmla="*/ 1032356 w 6884782"/>
              <a:gd name="connsiteY29795" fmla="*/ 2692120 h 5973007"/>
              <a:gd name="connsiteX29796" fmla="*/ 1033698 w 6884782"/>
              <a:gd name="connsiteY29796" fmla="*/ 2692430 h 5973007"/>
              <a:gd name="connsiteX29797" fmla="*/ 1031943 w 6884782"/>
              <a:gd name="connsiteY29797" fmla="*/ 2694753 h 5973007"/>
              <a:gd name="connsiteX29798" fmla="*/ 1031117 w 6884782"/>
              <a:gd name="connsiteY29798" fmla="*/ 2693824 h 5973007"/>
              <a:gd name="connsiteX29799" fmla="*/ 1031014 w 6884782"/>
              <a:gd name="connsiteY29799" fmla="*/ 2694598 h 5973007"/>
              <a:gd name="connsiteX29800" fmla="*/ 1030807 w 6884782"/>
              <a:gd name="connsiteY29800" fmla="*/ 2693514 h 5973007"/>
              <a:gd name="connsiteX29801" fmla="*/ 1031117 w 6884782"/>
              <a:gd name="connsiteY29801" fmla="*/ 2693049 h 5973007"/>
              <a:gd name="connsiteX29802" fmla="*/ 1032356 w 6884782"/>
              <a:gd name="connsiteY29802" fmla="*/ 2692120 h 5973007"/>
              <a:gd name="connsiteX29803" fmla="*/ 791356 w 6884782"/>
              <a:gd name="connsiteY29803" fmla="*/ 2691810 h 5973007"/>
              <a:gd name="connsiteX29804" fmla="*/ 792698 w 6884782"/>
              <a:gd name="connsiteY29804" fmla="*/ 2692739 h 5973007"/>
              <a:gd name="connsiteX29805" fmla="*/ 793318 w 6884782"/>
              <a:gd name="connsiteY29805" fmla="*/ 2694444 h 5973007"/>
              <a:gd name="connsiteX29806" fmla="*/ 789807 w 6884782"/>
              <a:gd name="connsiteY29806" fmla="*/ 2695063 h 5973007"/>
              <a:gd name="connsiteX29807" fmla="*/ 790117 w 6884782"/>
              <a:gd name="connsiteY29807" fmla="*/ 2693514 h 5973007"/>
              <a:gd name="connsiteX29808" fmla="*/ 789291 w 6884782"/>
              <a:gd name="connsiteY29808" fmla="*/ 2693359 h 5973007"/>
              <a:gd name="connsiteX29809" fmla="*/ 790324 w 6884782"/>
              <a:gd name="connsiteY29809" fmla="*/ 2691965 h 5973007"/>
              <a:gd name="connsiteX29810" fmla="*/ 791253 w 6884782"/>
              <a:gd name="connsiteY29810" fmla="*/ 2691965 h 5973007"/>
              <a:gd name="connsiteX29811" fmla="*/ 791356 w 6884782"/>
              <a:gd name="connsiteY29811" fmla="*/ 2691810 h 5973007"/>
              <a:gd name="connsiteX29812" fmla="*/ 1368868 w 6884782"/>
              <a:gd name="connsiteY29812" fmla="*/ 2691190 h 5973007"/>
              <a:gd name="connsiteX29813" fmla="*/ 1360194 w 6884782"/>
              <a:gd name="connsiteY29813" fmla="*/ 2707299 h 5973007"/>
              <a:gd name="connsiteX29814" fmla="*/ 1368868 w 6884782"/>
              <a:gd name="connsiteY29814" fmla="*/ 2691190 h 5973007"/>
              <a:gd name="connsiteX29815" fmla="*/ 6518693 w 6884782"/>
              <a:gd name="connsiteY29815" fmla="*/ 2691158 h 5973007"/>
              <a:gd name="connsiteX29816" fmla="*/ 6525309 w 6884782"/>
              <a:gd name="connsiteY29816" fmla="*/ 2698983 h 5973007"/>
              <a:gd name="connsiteX29817" fmla="*/ 6508662 w 6884782"/>
              <a:gd name="connsiteY29817" fmla="*/ 2709368 h 5973007"/>
              <a:gd name="connsiteX29818" fmla="*/ 6518693 w 6884782"/>
              <a:gd name="connsiteY29818" fmla="*/ 2691158 h 5973007"/>
              <a:gd name="connsiteX29819" fmla="*/ 1353276 w 6884782"/>
              <a:gd name="connsiteY29819" fmla="*/ 2690726 h 5973007"/>
              <a:gd name="connsiteX29820" fmla="*/ 1354309 w 6884782"/>
              <a:gd name="connsiteY29820" fmla="*/ 2692430 h 5973007"/>
              <a:gd name="connsiteX29821" fmla="*/ 1353586 w 6884782"/>
              <a:gd name="connsiteY29821" fmla="*/ 2692739 h 5973007"/>
              <a:gd name="connsiteX29822" fmla="*/ 1353070 w 6884782"/>
              <a:gd name="connsiteY29822" fmla="*/ 2691655 h 5973007"/>
              <a:gd name="connsiteX29823" fmla="*/ 1353276 w 6884782"/>
              <a:gd name="connsiteY29823" fmla="*/ 2690726 h 5973007"/>
              <a:gd name="connsiteX29824" fmla="*/ 885938 w 6884782"/>
              <a:gd name="connsiteY29824" fmla="*/ 2690106 h 5973007"/>
              <a:gd name="connsiteX29825" fmla="*/ 885629 w 6884782"/>
              <a:gd name="connsiteY29825" fmla="*/ 2697541 h 5973007"/>
              <a:gd name="connsiteX29826" fmla="*/ 882944 w 6884782"/>
              <a:gd name="connsiteY29826" fmla="*/ 2698471 h 5973007"/>
              <a:gd name="connsiteX29827" fmla="*/ 880053 w 6884782"/>
              <a:gd name="connsiteY29827" fmla="*/ 2693514 h 5973007"/>
              <a:gd name="connsiteX29828" fmla="*/ 881602 w 6884782"/>
              <a:gd name="connsiteY29828" fmla="*/ 2691190 h 5973007"/>
              <a:gd name="connsiteX29829" fmla="*/ 885938 w 6884782"/>
              <a:gd name="connsiteY29829" fmla="*/ 2690106 h 5973007"/>
              <a:gd name="connsiteX29830" fmla="*/ 1025851 w 6884782"/>
              <a:gd name="connsiteY29830" fmla="*/ 2689177 h 5973007"/>
              <a:gd name="connsiteX29831" fmla="*/ 1028226 w 6884782"/>
              <a:gd name="connsiteY29831" fmla="*/ 2689487 h 5973007"/>
              <a:gd name="connsiteX29832" fmla="*/ 1021927 w 6884782"/>
              <a:gd name="connsiteY29832" fmla="*/ 2694598 h 5973007"/>
              <a:gd name="connsiteX29833" fmla="*/ 1018210 w 6884782"/>
              <a:gd name="connsiteY29833" fmla="*/ 2697076 h 5973007"/>
              <a:gd name="connsiteX29834" fmla="*/ 1015835 w 6884782"/>
              <a:gd name="connsiteY29834" fmla="*/ 2696767 h 5973007"/>
              <a:gd name="connsiteX29835" fmla="*/ 1015422 w 6884782"/>
              <a:gd name="connsiteY29835" fmla="*/ 2695992 h 5973007"/>
              <a:gd name="connsiteX29836" fmla="*/ 1016661 w 6884782"/>
              <a:gd name="connsiteY29836" fmla="*/ 2694444 h 5973007"/>
              <a:gd name="connsiteX29837" fmla="*/ 1024302 w 6884782"/>
              <a:gd name="connsiteY29837" fmla="*/ 2690106 h 5973007"/>
              <a:gd name="connsiteX29838" fmla="*/ 1025851 w 6884782"/>
              <a:gd name="connsiteY29838" fmla="*/ 2689177 h 5973007"/>
              <a:gd name="connsiteX29839" fmla="*/ 1004890 w 6884782"/>
              <a:gd name="connsiteY29839" fmla="*/ 2688093 h 5973007"/>
              <a:gd name="connsiteX29840" fmla="*/ 1006955 w 6884782"/>
              <a:gd name="connsiteY29840" fmla="*/ 2689642 h 5973007"/>
              <a:gd name="connsiteX29841" fmla="*/ 1007058 w 6884782"/>
              <a:gd name="connsiteY29841" fmla="*/ 2689797 h 5973007"/>
              <a:gd name="connsiteX29842" fmla="*/ 1009433 w 6884782"/>
              <a:gd name="connsiteY29842" fmla="*/ 2691655 h 5973007"/>
              <a:gd name="connsiteX29843" fmla="*/ 1009846 w 6884782"/>
              <a:gd name="connsiteY29843" fmla="*/ 2691190 h 5973007"/>
              <a:gd name="connsiteX29844" fmla="*/ 1013770 w 6884782"/>
              <a:gd name="connsiteY29844" fmla="*/ 2694598 h 5973007"/>
              <a:gd name="connsiteX29845" fmla="*/ 1013873 w 6884782"/>
              <a:gd name="connsiteY29845" fmla="*/ 2698935 h 5973007"/>
              <a:gd name="connsiteX29846" fmla="*/ 1011189 w 6884782"/>
              <a:gd name="connsiteY29846" fmla="*/ 2698625 h 5973007"/>
              <a:gd name="connsiteX29847" fmla="*/ 1010982 w 6884782"/>
              <a:gd name="connsiteY29847" fmla="*/ 2699090 h 5973007"/>
              <a:gd name="connsiteX29848" fmla="*/ 994770 w 6884782"/>
              <a:gd name="connsiteY29848" fmla="*/ 2699864 h 5973007"/>
              <a:gd name="connsiteX29849" fmla="*/ 1004890 w 6884782"/>
              <a:gd name="connsiteY29849" fmla="*/ 2688093 h 5973007"/>
              <a:gd name="connsiteX29850" fmla="*/ 1351004 w 6884782"/>
              <a:gd name="connsiteY29850" fmla="*/ 2687008 h 5973007"/>
              <a:gd name="connsiteX29851" fmla="*/ 1352140 w 6884782"/>
              <a:gd name="connsiteY29851" fmla="*/ 2687473 h 5973007"/>
              <a:gd name="connsiteX29852" fmla="*/ 1351314 w 6884782"/>
              <a:gd name="connsiteY29852" fmla="*/ 2689022 h 5973007"/>
              <a:gd name="connsiteX29853" fmla="*/ 1351004 w 6884782"/>
              <a:gd name="connsiteY29853" fmla="*/ 2687008 h 5973007"/>
              <a:gd name="connsiteX29854" fmla="*/ 1220489 w 6884782"/>
              <a:gd name="connsiteY29854" fmla="*/ 2686699 h 5973007"/>
              <a:gd name="connsiteX29855" fmla="*/ 1230814 w 6884782"/>
              <a:gd name="connsiteY29855" fmla="*/ 2700019 h 5973007"/>
              <a:gd name="connsiteX29856" fmla="*/ 1228853 w 6884782"/>
              <a:gd name="connsiteY29856" fmla="*/ 2701568 h 5973007"/>
              <a:gd name="connsiteX29857" fmla="*/ 1216049 w 6884782"/>
              <a:gd name="connsiteY29857" fmla="*/ 2691500 h 5973007"/>
              <a:gd name="connsiteX29858" fmla="*/ 1217391 w 6884782"/>
              <a:gd name="connsiteY29858" fmla="*/ 2687628 h 5973007"/>
              <a:gd name="connsiteX29859" fmla="*/ 1220489 w 6884782"/>
              <a:gd name="connsiteY29859" fmla="*/ 2686699 h 5973007"/>
              <a:gd name="connsiteX29860" fmla="*/ 1264102 w 6884782"/>
              <a:gd name="connsiteY29860" fmla="*/ 2685169 h 5973007"/>
              <a:gd name="connsiteX29861" fmla="*/ 1266541 w 6884782"/>
              <a:gd name="connsiteY29861" fmla="*/ 2685769 h 5973007"/>
              <a:gd name="connsiteX29862" fmla="*/ 1272220 w 6884782"/>
              <a:gd name="connsiteY29862" fmla="*/ 2697851 h 5973007"/>
              <a:gd name="connsiteX29863" fmla="*/ 1270362 w 6884782"/>
              <a:gd name="connsiteY29863" fmla="*/ 2703582 h 5973007"/>
              <a:gd name="connsiteX29864" fmla="*/ 1264579 w 6884782"/>
              <a:gd name="connsiteY29864" fmla="*/ 2704047 h 5973007"/>
              <a:gd name="connsiteX29865" fmla="*/ 1259933 w 6884782"/>
              <a:gd name="connsiteY29865" fmla="*/ 2701878 h 5973007"/>
              <a:gd name="connsiteX29866" fmla="*/ 1261275 w 6884782"/>
              <a:gd name="connsiteY29866" fmla="*/ 2704202 h 5973007"/>
              <a:gd name="connsiteX29867" fmla="*/ 1262824 w 6884782"/>
              <a:gd name="connsiteY29867" fmla="*/ 2710552 h 5973007"/>
              <a:gd name="connsiteX29868" fmla="*/ 1250433 w 6884782"/>
              <a:gd name="connsiteY29868" fmla="*/ 2691190 h 5973007"/>
              <a:gd name="connsiteX29869" fmla="*/ 1255493 w 6884782"/>
              <a:gd name="connsiteY29869" fmla="*/ 2696302 h 5973007"/>
              <a:gd name="connsiteX29870" fmla="*/ 1255183 w 6884782"/>
              <a:gd name="connsiteY29870" fmla="*/ 2694598 h 5973007"/>
              <a:gd name="connsiteX29871" fmla="*/ 1258797 w 6884782"/>
              <a:gd name="connsiteY29871" fmla="*/ 2687938 h 5973007"/>
              <a:gd name="connsiteX29872" fmla="*/ 1264102 w 6884782"/>
              <a:gd name="connsiteY29872" fmla="*/ 2685169 h 5973007"/>
              <a:gd name="connsiteX29873" fmla="*/ 954294 w 6884782"/>
              <a:gd name="connsiteY29873" fmla="*/ 2685150 h 5973007"/>
              <a:gd name="connsiteX29874" fmla="*/ 955533 w 6884782"/>
              <a:gd name="connsiteY29874" fmla="*/ 2687163 h 5973007"/>
              <a:gd name="connsiteX29875" fmla="*/ 954294 w 6884782"/>
              <a:gd name="connsiteY29875" fmla="*/ 2689951 h 5973007"/>
              <a:gd name="connsiteX29876" fmla="*/ 956876 w 6884782"/>
              <a:gd name="connsiteY29876" fmla="*/ 2690261 h 5973007"/>
              <a:gd name="connsiteX29877" fmla="*/ 968027 w 6884782"/>
              <a:gd name="connsiteY29877" fmla="*/ 2720466 h 5973007"/>
              <a:gd name="connsiteX29878" fmla="*/ 962968 w 6884782"/>
              <a:gd name="connsiteY29878" fmla="*/ 2724803 h 5973007"/>
              <a:gd name="connsiteX29879" fmla="*/ 964310 w 6884782"/>
              <a:gd name="connsiteY29879" fmla="*/ 2726197 h 5973007"/>
              <a:gd name="connsiteX29880" fmla="*/ 965136 w 6884782"/>
              <a:gd name="connsiteY29880" fmla="*/ 2730379 h 5973007"/>
              <a:gd name="connsiteX29881" fmla="*/ 957289 w 6884782"/>
              <a:gd name="connsiteY29881" fmla="*/ 2731464 h 5973007"/>
              <a:gd name="connsiteX29882" fmla="*/ 954501 w 6884782"/>
              <a:gd name="connsiteY29882" fmla="*/ 2728365 h 5973007"/>
              <a:gd name="connsiteX29883" fmla="*/ 952229 w 6884782"/>
              <a:gd name="connsiteY29883" fmla="*/ 2725422 h 5973007"/>
              <a:gd name="connsiteX29884" fmla="*/ 946343 w 6884782"/>
              <a:gd name="connsiteY29884" fmla="*/ 2723874 h 5973007"/>
              <a:gd name="connsiteX29885" fmla="*/ 926622 w 6884782"/>
              <a:gd name="connsiteY29885" fmla="*/ 2699245 h 5973007"/>
              <a:gd name="connsiteX29886" fmla="*/ 948822 w 6884782"/>
              <a:gd name="connsiteY29886" fmla="*/ 2690416 h 5973007"/>
              <a:gd name="connsiteX29887" fmla="*/ 951196 w 6884782"/>
              <a:gd name="connsiteY29887" fmla="*/ 2689951 h 5973007"/>
              <a:gd name="connsiteX29888" fmla="*/ 952436 w 6884782"/>
              <a:gd name="connsiteY29888" fmla="*/ 2686234 h 5973007"/>
              <a:gd name="connsiteX29889" fmla="*/ 954294 w 6884782"/>
              <a:gd name="connsiteY29889" fmla="*/ 2685150 h 5973007"/>
              <a:gd name="connsiteX29890" fmla="*/ 1127765 w 6884782"/>
              <a:gd name="connsiteY29890" fmla="*/ 2684220 h 5973007"/>
              <a:gd name="connsiteX29891" fmla="*/ 1129830 w 6884782"/>
              <a:gd name="connsiteY29891" fmla="*/ 2684530 h 5973007"/>
              <a:gd name="connsiteX29892" fmla="*/ 1130346 w 6884782"/>
              <a:gd name="connsiteY29892" fmla="*/ 2685304 h 5973007"/>
              <a:gd name="connsiteX29893" fmla="*/ 1132204 w 6884782"/>
              <a:gd name="connsiteY29893" fmla="*/ 2688093 h 5973007"/>
              <a:gd name="connsiteX29894" fmla="*/ 1129417 w 6884782"/>
              <a:gd name="connsiteY29894" fmla="*/ 2691500 h 5973007"/>
              <a:gd name="connsiteX29895" fmla="*/ 1125183 w 6884782"/>
              <a:gd name="connsiteY29895" fmla="*/ 2687938 h 5973007"/>
              <a:gd name="connsiteX29896" fmla="*/ 1127765 w 6884782"/>
              <a:gd name="connsiteY29896" fmla="*/ 2684220 h 5973007"/>
              <a:gd name="connsiteX29897" fmla="*/ 726511 w 6884782"/>
              <a:gd name="connsiteY29897" fmla="*/ 2683446 h 5973007"/>
              <a:gd name="connsiteX29898" fmla="*/ 731674 w 6884782"/>
              <a:gd name="connsiteY29898" fmla="*/ 2683911 h 5973007"/>
              <a:gd name="connsiteX29899" fmla="*/ 731570 w 6884782"/>
              <a:gd name="connsiteY29899" fmla="*/ 2691345 h 5973007"/>
              <a:gd name="connsiteX29900" fmla="*/ 725582 w 6884782"/>
              <a:gd name="connsiteY29900" fmla="*/ 2689951 h 5973007"/>
              <a:gd name="connsiteX29901" fmla="*/ 724239 w 6884782"/>
              <a:gd name="connsiteY29901" fmla="*/ 2687628 h 5973007"/>
              <a:gd name="connsiteX29902" fmla="*/ 724859 w 6884782"/>
              <a:gd name="connsiteY29902" fmla="*/ 2684840 h 5973007"/>
              <a:gd name="connsiteX29903" fmla="*/ 726511 w 6884782"/>
              <a:gd name="connsiteY29903" fmla="*/ 2683446 h 5973007"/>
              <a:gd name="connsiteX29904" fmla="*/ 666416 w 6884782"/>
              <a:gd name="connsiteY29904" fmla="*/ 2683136 h 5973007"/>
              <a:gd name="connsiteX29905" fmla="*/ 666622 w 6884782"/>
              <a:gd name="connsiteY29905" fmla="*/ 2690726 h 5973007"/>
              <a:gd name="connsiteX29906" fmla="*/ 666519 w 6884782"/>
              <a:gd name="connsiteY29906" fmla="*/ 2690726 h 5973007"/>
              <a:gd name="connsiteX29907" fmla="*/ 667345 w 6884782"/>
              <a:gd name="connsiteY29907" fmla="*/ 2691190 h 5973007"/>
              <a:gd name="connsiteX29908" fmla="*/ 669307 w 6884782"/>
              <a:gd name="connsiteY29908" fmla="*/ 2694134 h 5973007"/>
              <a:gd name="connsiteX29909" fmla="*/ 665487 w 6884782"/>
              <a:gd name="connsiteY29909" fmla="*/ 2696767 h 5973007"/>
              <a:gd name="connsiteX29910" fmla="*/ 662079 w 6884782"/>
              <a:gd name="connsiteY29910" fmla="*/ 2695837 h 5973007"/>
              <a:gd name="connsiteX29911" fmla="*/ 662183 w 6884782"/>
              <a:gd name="connsiteY29911" fmla="*/ 2696457 h 5973007"/>
              <a:gd name="connsiteX29912" fmla="*/ 661563 w 6884782"/>
              <a:gd name="connsiteY29912" fmla="*/ 2696147 h 5973007"/>
              <a:gd name="connsiteX29913" fmla="*/ 660530 w 6884782"/>
              <a:gd name="connsiteY29913" fmla="*/ 2699400 h 5973007"/>
              <a:gd name="connsiteX29914" fmla="*/ 656710 w 6884782"/>
              <a:gd name="connsiteY29914" fmla="*/ 2696921 h 5973007"/>
              <a:gd name="connsiteX29915" fmla="*/ 659291 w 6884782"/>
              <a:gd name="connsiteY29915" fmla="*/ 2694598 h 5973007"/>
              <a:gd name="connsiteX29916" fmla="*/ 660634 w 6884782"/>
              <a:gd name="connsiteY29916" fmla="*/ 2695063 h 5973007"/>
              <a:gd name="connsiteX29917" fmla="*/ 661976 w 6884782"/>
              <a:gd name="connsiteY29917" fmla="*/ 2695373 h 5973007"/>
              <a:gd name="connsiteX29918" fmla="*/ 662698 w 6884782"/>
              <a:gd name="connsiteY29918" fmla="*/ 2693978 h 5973007"/>
              <a:gd name="connsiteX29919" fmla="*/ 662905 w 6884782"/>
              <a:gd name="connsiteY29919" fmla="*/ 2691810 h 5973007"/>
              <a:gd name="connsiteX29920" fmla="*/ 663731 w 6884782"/>
              <a:gd name="connsiteY29920" fmla="*/ 2691035 h 5973007"/>
              <a:gd name="connsiteX29921" fmla="*/ 662389 w 6884782"/>
              <a:gd name="connsiteY29921" fmla="*/ 2688712 h 5973007"/>
              <a:gd name="connsiteX29922" fmla="*/ 666416 w 6884782"/>
              <a:gd name="connsiteY29922" fmla="*/ 2683136 h 5973007"/>
              <a:gd name="connsiteX29923" fmla="*/ 749228 w 6884782"/>
              <a:gd name="connsiteY29923" fmla="*/ 2682671 h 5973007"/>
              <a:gd name="connsiteX29924" fmla="*/ 739212 w 6884782"/>
              <a:gd name="connsiteY29924" fmla="*/ 2704357 h 5973007"/>
              <a:gd name="connsiteX29925" fmla="*/ 743962 w 6884782"/>
              <a:gd name="connsiteY29925" fmla="*/ 2684840 h 5973007"/>
              <a:gd name="connsiteX29926" fmla="*/ 749228 w 6884782"/>
              <a:gd name="connsiteY29926" fmla="*/ 2682671 h 5973007"/>
              <a:gd name="connsiteX29927" fmla="*/ 967304 w 6884782"/>
              <a:gd name="connsiteY29927" fmla="*/ 2680657 h 5973007"/>
              <a:gd name="connsiteX29928" fmla="*/ 969369 w 6884782"/>
              <a:gd name="connsiteY29928" fmla="*/ 2693049 h 5973007"/>
              <a:gd name="connsiteX29929" fmla="*/ 962658 w 6884782"/>
              <a:gd name="connsiteY29929" fmla="*/ 2688247 h 5973007"/>
              <a:gd name="connsiteX29930" fmla="*/ 967304 w 6884782"/>
              <a:gd name="connsiteY29930" fmla="*/ 2680657 h 5973007"/>
              <a:gd name="connsiteX29931" fmla="*/ 813233 w 6884782"/>
              <a:gd name="connsiteY29931" fmla="*/ 2680580 h 5973007"/>
              <a:gd name="connsiteX29932" fmla="*/ 819545 w 6884782"/>
              <a:gd name="connsiteY29932" fmla="*/ 2686699 h 5973007"/>
              <a:gd name="connsiteX29933" fmla="*/ 816654 w 6884782"/>
              <a:gd name="connsiteY29933" fmla="*/ 2688712 h 5973007"/>
              <a:gd name="connsiteX29934" fmla="*/ 804986 w 6884782"/>
              <a:gd name="connsiteY29934" fmla="*/ 2680967 h 5973007"/>
              <a:gd name="connsiteX29935" fmla="*/ 813233 w 6884782"/>
              <a:gd name="connsiteY29935" fmla="*/ 2680580 h 5973007"/>
              <a:gd name="connsiteX29936" fmla="*/ 909184 w 6884782"/>
              <a:gd name="connsiteY29936" fmla="*/ 2680232 h 5973007"/>
              <a:gd name="connsiteX29937" fmla="*/ 913921 w 6884782"/>
              <a:gd name="connsiteY29937" fmla="*/ 2680348 h 5973007"/>
              <a:gd name="connsiteX29938" fmla="*/ 905764 w 6884782"/>
              <a:gd name="connsiteY29938" fmla="*/ 2686543 h 5973007"/>
              <a:gd name="connsiteX29939" fmla="*/ 905454 w 6884782"/>
              <a:gd name="connsiteY29939" fmla="*/ 2684065 h 5973007"/>
              <a:gd name="connsiteX29940" fmla="*/ 909184 w 6884782"/>
              <a:gd name="connsiteY29940" fmla="*/ 2680232 h 5973007"/>
              <a:gd name="connsiteX29941" fmla="*/ 934160 w 6884782"/>
              <a:gd name="connsiteY29941" fmla="*/ 2678954 h 5973007"/>
              <a:gd name="connsiteX29942" fmla="*/ 936224 w 6884782"/>
              <a:gd name="connsiteY29942" fmla="*/ 2680348 h 5973007"/>
              <a:gd name="connsiteX29943" fmla="*/ 935605 w 6884782"/>
              <a:gd name="connsiteY29943" fmla="*/ 2682826 h 5973007"/>
              <a:gd name="connsiteX29944" fmla="*/ 935708 w 6884782"/>
              <a:gd name="connsiteY29944" fmla="*/ 2684685 h 5973007"/>
              <a:gd name="connsiteX29945" fmla="*/ 933436 w 6884782"/>
              <a:gd name="connsiteY29945" fmla="*/ 2686234 h 5973007"/>
              <a:gd name="connsiteX29946" fmla="*/ 933333 w 6884782"/>
              <a:gd name="connsiteY29946" fmla="*/ 2684375 h 5973007"/>
              <a:gd name="connsiteX29947" fmla="*/ 934160 w 6884782"/>
              <a:gd name="connsiteY29947" fmla="*/ 2678954 h 5973007"/>
              <a:gd name="connsiteX29948" fmla="*/ 718767 w 6884782"/>
              <a:gd name="connsiteY29948" fmla="*/ 2678334 h 5973007"/>
              <a:gd name="connsiteX29949" fmla="*/ 714224 w 6884782"/>
              <a:gd name="connsiteY29949" fmla="*/ 2683755 h 5973007"/>
              <a:gd name="connsiteX29950" fmla="*/ 715050 w 6884782"/>
              <a:gd name="connsiteY29950" fmla="*/ 2679728 h 5973007"/>
              <a:gd name="connsiteX29951" fmla="*/ 718767 w 6884782"/>
              <a:gd name="connsiteY29951" fmla="*/ 2678334 h 5973007"/>
              <a:gd name="connsiteX29952" fmla="*/ 890688 w 6884782"/>
              <a:gd name="connsiteY29952" fmla="*/ 2675701 h 5973007"/>
              <a:gd name="connsiteX29953" fmla="*/ 891515 w 6884782"/>
              <a:gd name="connsiteY29953" fmla="*/ 2676320 h 5973007"/>
              <a:gd name="connsiteX29954" fmla="*/ 893889 w 6884782"/>
              <a:gd name="connsiteY29954" fmla="*/ 2676320 h 5973007"/>
              <a:gd name="connsiteX29955" fmla="*/ 895232 w 6884782"/>
              <a:gd name="connsiteY29955" fmla="*/ 2679573 h 5973007"/>
              <a:gd name="connsiteX29956" fmla="*/ 891825 w 6884782"/>
              <a:gd name="connsiteY29956" fmla="*/ 2683755 h 5973007"/>
              <a:gd name="connsiteX29957" fmla="*/ 887901 w 6884782"/>
              <a:gd name="connsiteY29957" fmla="*/ 2684065 h 5973007"/>
              <a:gd name="connsiteX29958" fmla="*/ 889036 w 6884782"/>
              <a:gd name="connsiteY29958" fmla="*/ 2685459 h 5973007"/>
              <a:gd name="connsiteX29959" fmla="*/ 885629 w 6884782"/>
              <a:gd name="connsiteY29959" fmla="*/ 2689487 h 5973007"/>
              <a:gd name="connsiteX29960" fmla="*/ 884390 w 6884782"/>
              <a:gd name="connsiteY29960" fmla="*/ 2685924 h 5973007"/>
              <a:gd name="connsiteX29961" fmla="*/ 885938 w 6884782"/>
              <a:gd name="connsiteY29961" fmla="*/ 2684220 h 5973007"/>
              <a:gd name="connsiteX29962" fmla="*/ 885319 w 6884782"/>
              <a:gd name="connsiteY29962" fmla="*/ 2684375 h 5973007"/>
              <a:gd name="connsiteX29963" fmla="*/ 883667 w 6884782"/>
              <a:gd name="connsiteY29963" fmla="*/ 2679418 h 5973007"/>
              <a:gd name="connsiteX29964" fmla="*/ 881396 w 6884782"/>
              <a:gd name="connsiteY29964" fmla="*/ 2678179 h 5973007"/>
              <a:gd name="connsiteX29965" fmla="*/ 890688 w 6884782"/>
              <a:gd name="connsiteY29965" fmla="*/ 2675701 h 5973007"/>
              <a:gd name="connsiteX29966" fmla="*/ 927551 w 6884782"/>
              <a:gd name="connsiteY29966" fmla="*/ 2675546 h 5973007"/>
              <a:gd name="connsiteX29967" fmla="*/ 928790 w 6884782"/>
              <a:gd name="connsiteY29967" fmla="*/ 2680657 h 5973007"/>
              <a:gd name="connsiteX29968" fmla="*/ 927138 w 6884782"/>
              <a:gd name="connsiteY29968" fmla="*/ 2682826 h 5973007"/>
              <a:gd name="connsiteX29969" fmla="*/ 925692 w 6884782"/>
              <a:gd name="connsiteY29969" fmla="*/ 2680812 h 5973007"/>
              <a:gd name="connsiteX29970" fmla="*/ 926725 w 6884782"/>
              <a:gd name="connsiteY29970" fmla="*/ 2679108 h 5973007"/>
              <a:gd name="connsiteX29971" fmla="*/ 926105 w 6884782"/>
              <a:gd name="connsiteY29971" fmla="*/ 2676475 h 5973007"/>
              <a:gd name="connsiteX29972" fmla="*/ 927551 w 6884782"/>
              <a:gd name="connsiteY29972" fmla="*/ 2675546 h 5973007"/>
              <a:gd name="connsiteX29973" fmla="*/ 1091419 w 6884782"/>
              <a:gd name="connsiteY29973" fmla="*/ 2675082 h 5973007"/>
              <a:gd name="connsiteX29974" fmla="*/ 1093484 w 6884782"/>
              <a:gd name="connsiteY29974" fmla="*/ 2675391 h 5973007"/>
              <a:gd name="connsiteX29975" fmla="*/ 1091728 w 6884782"/>
              <a:gd name="connsiteY29975" fmla="*/ 2675856 h 5973007"/>
              <a:gd name="connsiteX29976" fmla="*/ 1091419 w 6884782"/>
              <a:gd name="connsiteY29976" fmla="*/ 2675082 h 5973007"/>
              <a:gd name="connsiteX29977" fmla="*/ 1441457 w 6884782"/>
              <a:gd name="connsiteY29977" fmla="*/ 2674926 h 5973007"/>
              <a:gd name="connsiteX29978" fmla="*/ 1447136 w 6884782"/>
              <a:gd name="connsiteY29978" fmla="*/ 2675546 h 5973007"/>
              <a:gd name="connsiteX29979" fmla="*/ 1443212 w 6884782"/>
              <a:gd name="connsiteY29979" fmla="*/ 2681122 h 5973007"/>
              <a:gd name="connsiteX29980" fmla="*/ 1440528 w 6884782"/>
              <a:gd name="connsiteY29980" fmla="*/ 2678954 h 5973007"/>
              <a:gd name="connsiteX29981" fmla="*/ 1441457 w 6884782"/>
              <a:gd name="connsiteY29981" fmla="*/ 2674926 h 5973007"/>
              <a:gd name="connsiteX29982" fmla="*/ 1171132 w 6884782"/>
              <a:gd name="connsiteY29982" fmla="*/ 2674926 h 5973007"/>
              <a:gd name="connsiteX29983" fmla="*/ 1178773 w 6884782"/>
              <a:gd name="connsiteY29983" fmla="*/ 2680193 h 5973007"/>
              <a:gd name="connsiteX29984" fmla="*/ 1180219 w 6884782"/>
              <a:gd name="connsiteY29984" fmla="*/ 2683911 h 5973007"/>
              <a:gd name="connsiteX29985" fmla="*/ 1180529 w 6884782"/>
              <a:gd name="connsiteY29985" fmla="*/ 2682361 h 5973007"/>
              <a:gd name="connsiteX29986" fmla="*/ 1181768 w 6884782"/>
              <a:gd name="connsiteY29986" fmla="*/ 2680193 h 5973007"/>
              <a:gd name="connsiteX29987" fmla="*/ 1181045 w 6884782"/>
              <a:gd name="connsiteY29987" fmla="*/ 2682361 h 5973007"/>
              <a:gd name="connsiteX29988" fmla="*/ 1181768 w 6884782"/>
              <a:gd name="connsiteY29988" fmla="*/ 2684065 h 5973007"/>
              <a:gd name="connsiteX29989" fmla="*/ 1181251 w 6884782"/>
              <a:gd name="connsiteY29989" fmla="*/ 2684995 h 5973007"/>
              <a:gd name="connsiteX29990" fmla="*/ 1180735 w 6884782"/>
              <a:gd name="connsiteY29990" fmla="*/ 2685304 h 5973007"/>
              <a:gd name="connsiteX29991" fmla="*/ 1180735 w 6884782"/>
              <a:gd name="connsiteY29991" fmla="*/ 2690416 h 5973007"/>
              <a:gd name="connsiteX29992" fmla="*/ 1179393 w 6884782"/>
              <a:gd name="connsiteY29992" fmla="*/ 2695682 h 5973007"/>
              <a:gd name="connsiteX29993" fmla="*/ 1178876 w 6884782"/>
              <a:gd name="connsiteY29993" fmla="*/ 2697696 h 5973007"/>
              <a:gd name="connsiteX29994" fmla="*/ 1175572 w 6884782"/>
              <a:gd name="connsiteY29994" fmla="*/ 2703273 h 5973007"/>
              <a:gd name="connsiteX29995" fmla="*/ 1175985 w 6884782"/>
              <a:gd name="connsiteY29995" fmla="*/ 2702963 h 5973007"/>
              <a:gd name="connsiteX29996" fmla="*/ 1181974 w 6884782"/>
              <a:gd name="connsiteY29996" fmla="*/ 2704977 h 5973007"/>
              <a:gd name="connsiteX29997" fmla="*/ 1182387 w 6884782"/>
              <a:gd name="connsiteY29997" fmla="*/ 2706680 h 5973007"/>
              <a:gd name="connsiteX29998" fmla="*/ 1184659 w 6884782"/>
              <a:gd name="connsiteY29998" fmla="*/ 2705441 h 5973007"/>
              <a:gd name="connsiteX29999" fmla="*/ 1184762 w 6884782"/>
              <a:gd name="connsiteY29999" fmla="*/ 2705441 h 5973007"/>
              <a:gd name="connsiteX30000" fmla="*/ 1185382 w 6884782"/>
              <a:gd name="connsiteY30000" fmla="*/ 2698316 h 5973007"/>
              <a:gd name="connsiteX30001" fmla="*/ 1186518 w 6884782"/>
              <a:gd name="connsiteY30001" fmla="*/ 2696612 h 5973007"/>
              <a:gd name="connsiteX30002" fmla="*/ 1186414 w 6884782"/>
              <a:gd name="connsiteY30002" fmla="*/ 2694753 h 5973007"/>
              <a:gd name="connsiteX30003" fmla="*/ 1187447 w 6884782"/>
              <a:gd name="connsiteY30003" fmla="*/ 2695373 h 5973007"/>
              <a:gd name="connsiteX30004" fmla="*/ 1187550 w 6884782"/>
              <a:gd name="connsiteY30004" fmla="*/ 2695063 h 5973007"/>
              <a:gd name="connsiteX30005" fmla="*/ 1187860 w 6884782"/>
              <a:gd name="connsiteY30005" fmla="*/ 2695528 h 5973007"/>
              <a:gd name="connsiteX30006" fmla="*/ 1188273 w 6884782"/>
              <a:gd name="connsiteY30006" fmla="*/ 2695218 h 5973007"/>
              <a:gd name="connsiteX30007" fmla="*/ 1190338 w 6884782"/>
              <a:gd name="connsiteY30007" fmla="*/ 2695063 h 5973007"/>
              <a:gd name="connsiteX30008" fmla="*/ 1191990 w 6884782"/>
              <a:gd name="connsiteY30008" fmla="*/ 2698935 h 5973007"/>
              <a:gd name="connsiteX30009" fmla="*/ 1188892 w 6884782"/>
              <a:gd name="connsiteY30009" fmla="*/ 2702498 h 5973007"/>
              <a:gd name="connsiteX30010" fmla="*/ 1187343 w 6884782"/>
              <a:gd name="connsiteY30010" fmla="*/ 2705286 h 5973007"/>
              <a:gd name="connsiteX30011" fmla="*/ 1185278 w 6884782"/>
              <a:gd name="connsiteY30011" fmla="*/ 2705441 h 5973007"/>
              <a:gd name="connsiteX30012" fmla="*/ 1186724 w 6884782"/>
              <a:gd name="connsiteY30012" fmla="*/ 2705596 h 5973007"/>
              <a:gd name="connsiteX30013" fmla="*/ 1188066 w 6884782"/>
              <a:gd name="connsiteY30013" fmla="*/ 2706680 h 5973007"/>
              <a:gd name="connsiteX30014" fmla="*/ 1187963 w 6884782"/>
              <a:gd name="connsiteY30014" fmla="*/ 2708539 h 5973007"/>
              <a:gd name="connsiteX30015" fmla="*/ 1186207 w 6884782"/>
              <a:gd name="connsiteY30015" fmla="*/ 2711327 h 5973007"/>
              <a:gd name="connsiteX30016" fmla="*/ 1183833 w 6884782"/>
              <a:gd name="connsiteY30016" fmla="*/ 2711792 h 5973007"/>
              <a:gd name="connsiteX30017" fmla="*/ 1183213 w 6884782"/>
              <a:gd name="connsiteY30017" fmla="*/ 2711017 h 5973007"/>
              <a:gd name="connsiteX30018" fmla="*/ 1182284 w 6884782"/>
              <a:gd name="connsiteY30018" fmla="*/ 2711637 h 5973007"/>
              <a:gd name="connsiteX30019" fmla="*/ 1178567 w 6884782"/>
              <a:gd name="connsiteY30019" fmla="*/ 2713031 h 5973007"/>
              <a:gd name="connsiteX30020" fmla="*/ 1182077 w 6884782"/>
              <a:gd name="connsiteY30020" fmla="*/ 2710243 h 5973007"/>
              <a:gd name="connsiteX30021" fmla="*/ 1177740 w 6884782"/>
              <a:gd name="connsiteY30021" fmla="*/ 2711327 h 5973007"/>
              <a:gd name="connsiteX30022" fmla="*/ 1172681 w 6884782"/>
              <a:gd name="connsiteY30022" fmla="*/ 2709933 h 5973007"/>
              <a:gd name="connsiteX30023" fmla="*/ 1173404 w 6884782"/>
              <a:gd name="connsiteY30023" fmla="*/ 2705906 h 5973007"/>
              <a:gd name="connsiteX30024" fmla="*/ 1172991 w 6884782"/>
              <a:gd name="connsiteY30024" fmla="*/ 2706215 h 5973007"/>
              <a:gd name="connsiteX30025" fmla="*/ 1163904 w 6884782"/>
              <a:gd name="connsiteY30025" fmla="*/ 2691190 h 5973007"/>
              <a:gd name="connsiteX30026" fmla="*/ 1164214 w 6884782"/>
              <a:gd name="connsiteY30026" fmla="*/ 2689022 h 5973007"/>
              <a:gd name="connsiteX30027" fmla="*/ 1163388 w 6884782"/>
              <a:gd name="connsiteY30027" fmla="*/ 2688557 h 5973007"/>
              <a:gd name="connsiteX30028" fmla="*/ 1161633 w 6884782"/>
              <a:gd name="connsiteY30028" fmla="*/ 2687008 h 5973007"/>
              <a:gd name="connsiteX30029" fmla="*/ 1160084 w 6884782"/>
              <a:gd name="connsiteY30029" fmla="*/ 2685459 h 5973007"/>
              <a:gd name="connsiteX30030" fmla="*/ 1158329 w 6884782"/>
              <a:gd name="connsiteY30030" fmla="*/ 2684685 h 5973007"/>
              <a:gd name="connsiteX30031" fmla="*/ 1156780 w 6884782"/>
              <a:gd name="connsiteY30031" fmla="*/ 2681587 h 5973007"/>
              <a:gd name="connsiteX30032" fmla="*/ 1158432 w 6884782"/>
              <a:gd name="connsiteY30032" fmla="*/ 2682361 h 5973007"/>
              <a:gd name="connsiteX30033" fmla="*/ 1160084 w 6884782"/>
              <a:gd name="connsiteY30033" fmla="*/ 2683911 h 5973007"/>
              <a:gd name="connsiteX30034" fmla="*/ 1161839 w 6884782"/>
              <a:gd name="connsiteY30034" fmla="*/ 2683755 h 5973007"/>
              <a:gd name="connsiteX30035" fmla="*/ 1164627 w 6884782"/>
              <a:gd name="connsiteY30035" fmla="*/ 2685769 h 5973007"/>
              <a:gd name="connsiteX30036" fmla="*/ 1164730 w 6884782"/>
              <a:gd name="connsiteY30036" fmla="*/ 2685150 h 5973007"/>
              <a:gd name="connsiteX30037" fmla="*/ 1168448 w 6884782"/>
              <a:gd name="connsiteY30037" fmla="*/ 2675546 h 5973007"/>
              <a:gd name="connsiteX30038" fmla="*/ 1171132 w 6884782"/>
              <a:gd name="connsiteY30038" fmla="*/ 2674926 h 5973007"/>
              <a:gd name="connsiteX30039" fmla="*/ 829870 w 6884782"/>
              <a:gd name="connsiteY30039" fmla="*/ 2674849 h 5973007"/>
              <a:gd name="connsiteX30040" fmla="*/ 835962 w 6884782"/>
              <a:gd name="connsiteY30040" fmla="*/ 2675082 h 5973007"/>
              <a:gd name="connsiteX30041" fmla="*/ 837305 w 6884782"/>
              <a:gd name="connsiteY30041" fmla="*/ 2676630 h 5973007"/>
              <a:gd name="connsiteX30042" fmla="*/ 840403 w 6884782"/>
              <a:gd name="connsiteY30042" fmla="*/ 2676320 h 5973007"/>
              <a:gd name="connsiteX30043" fmla="*/ 844636 w 6884782"/>
              <a:gd name="connsiteY30043" fmla="*/ 2677250 h 5973007"/>
              <a:gd name="connsiteX30044" fmla="*/ 844327 w 6884782"/>
              <a:gd name="connsiteY30044" fmla="*/ 2685615 h 5973007"/>
              <a:gd name="connsiteX30045" fmla="*/ 840196 w 6884782"/>
              <a:gd name="connsiteY30045" fmla="*/ 2688867 h 5973007"/>
              <a:gd name="connsiteX30046" fmla="*/ 838544 w 6884782"/>
              <a:gd name="connsiteY30046" fmla="*/ 2689022 h 5973007"/>
              <a:gd name="connsiteX30047" fmla="*/ 838544 w 6884782"/>
              <a:gd name="connsiteY30047" fmla="*/ 2689177 h 5973007"/>
              <a:gd name="connsiteX30048" fmla="*/ 832865 w 6884782"/>
              <a:gd name="connsiteY30048" fmla="*/ 2697696 h 5973007"/>
              <a:gd name="connsiteX30049" fmla="*/ 826979 w 6884782"/>
              <a:gd name="connsiteY30049" fmla="*/ 2692739 h 5973007"/>
              <a:gd name="connsiteX30050" fmla="*/ 829561 w 6884782"/>
              <a:gd name="connsiteY30050" fmla="*/ 2687318 h 5973007"/>
              <a:gd name="connsiteX30051" fmla="*/ 828218 w 6884782"/>
              <a:gd name="connsiteY30051" fmla="*/ 2684995 h 5973007"/>
              <a:gd name="connsiteX30052" fmla="*/ 824604 w 6884782"/>
              <a:gd name="connsiteY30052" fmla="*/ 2682516 h 5973007"/>
              <a:gd name="connsiteX30053" fmla="*/ 824398 w 6884782"/>
              <a:gd name="connsiteY30053" fmla="*/ 2677405 h 5973007"/>
              <a:gd name="connsiteX30054" fmla="*/ 829870 w 6884782"/>
              <a:gd name="connsiteY30054" fmla="*/ 2674849 h 5973007"/>
              <a:gd name="connsiteX30055" fmla="*/ 1086049 w 6884782"/>
              <a:gd name="connsiteY30055" fmla="*/ 2674617 h 5973007"/>
              <a:gd name="connsiteX30056" fmla="*/ 1091109 w 6884782"/>
              <a:gd name="connsiteY30056" fmla="*/ 2676010 h 5973007"/>
              <a:gd name="connsiteX30057" fmla="*/ 1087701 w 6884782"/>
              <a:gd name="connsiteY30057" fmla="*/ 2676785 h 5973007"/>
              <a:gd name="connsiteX30058" fmla="*/ 1086049 w 6884782"/>
              <a:gd name="connsiteY30058" fmla="*/ 2674617 h 5973007"/>
              <a:gd name="connsiteX30059" fmla="*/ 870863 w 6884782"/>
              <a:gd name="connsiteY30059" fmla="*/ 2674462 h 5973007"/>
              <a:gd name="connsiteX30060" fmla="*/ 876336 w 6884782"/>
              <a:gd name="connsiteY30060" fmla="*/ 2682981 h 5973007"/>
              <a:gd name="connsiteX30061" fmla="*/ 873755 w 6884782"/>
              <a:gd name="connsiteY30061" fmla="*/ 2682981 h 5973007"/>
              <a:gd name="connsiteX30062" fmla="*/ 869727 w 6884782"/>
              <a:gd name="connsiteY30062" fmla="*/ 2676475 h 5973007"/>
              <a:gd name="connsiteX30063" fmla="*/ 870863 w 6884782"/>
              <a:gd name="connsiteY30063" fmla="*/ 2674462 h 5973007"/>
              <a:gd name="connsiteX30064" fmla="*/ 1095652 w 6884782"/>
              <a:gd name="connsiteY30064" fmla="*/ 2673997 h 5973007"/>
              <a:gd name="connsiteX30065" fmla="*/ 1097717 w 6884782"/>
              <a:gd name="connsiteY30065" fmla="*/ 2674307 h 5973007"/>
              <a:gd name="connsiteX30066" fmla="*/ 1096994 w 6884782"/>
              <a:gd name="connsiteY30066" fmla="*/ 2675236 h 5973007"/>
              <a:gd name="connsiteX30067" fmla="*/ 1095652 w 6884782"/>
              <a:gd name="connsiteY30067" fmla="*/ 2673997 h 5973007"/>
              <a:gd name="connsiteX30068" fmla="*/ 1207892 w 6884782"/>
              <a:gd name="connsiteY30068" fmla="*/ 2673222 h 5973007"/>
              <a:gd name="connsiteX30069" fmla="*/ 1212641 w 6884782"/>
              <a:gd name="connsiteY30069" fmla="*/ 2676010 h 5973007"/>
              <a:gd name="connsiteX30070" fmla="*/ 1207788 w 6884782"/>
              <a:gd name="connsiteY30070" fmla="*/ 2676630 h 5973007"/>
              <a:gd name="connsiteX30071" fmla="*/ 1207892 w 6884782"/>
              <a:gd name="connsiteY30071" fmla="*/ 2673222 h 5973007"/>
              <a:gd name="connsiteX30072" fmla="*/ 765955 w 6884782"/>
              <a:gd name="connsiteY30072" fmla="*/ 2672293 h 5973007"/>
              <a:gd name="connsiteX30073" fmla="*/ 777829 w 6884782"/>
              <a:gd name="connsiteY30073" fmla="*/ 2681277 h 5973007"/>
              <a:gd name="connsiteX30074" fmla="*/ 771634 w 6884782"/>
              <a:gd name="connsiteY30074" fmla="*/ 2684530 h 5973007"/>
              <a:gd name="connsiteX30075" fmla="*/ 765955 w 6884782"/>
              <a:gd name="connsiteY30075" fmla="*/ 2672293 h 5973007"/>
              <a:gd name="connsiteX30076" fmla="*/ 1125080 w 6884782"/>
              <a:gd name="connsiteY30076" fmla="*/ 2671674 h 5973007"/>
              <a:gd name="connsiteX30077" fmla="*/ 1118678 w 6884782"/>
              <a:gd name="connsiteY30077" fmla="*/ 2673378 h 5973007"/>
              <a:gd name="connsiteX30078" fmla="*/ 1117646 w 6884782"/>
              <a:gd name="connsiteY30078" fmla="*/ 2672758 h 5973007"/>
              <a:gd name="connsiteX30079" fmla="*/ 1125080 w 6884782"/>
              <a:gd name="connsiteY30079" fmla="*/ 2671674 h 5973007"/>
              <a:gd name="connsiteX30080" fmla="*/ 743962 w 6884782"/>
              <a:gd name="connsiteY30080" fmla="*/ 2669970 h 5973007"/>
              <a:gd name="connsiteX30081" fmla="*/ 745510 w 6884782"/>
              <a:gd name="connsiteY30081" fmla="*/ 2670899 h 5973007"/>
              <a:gd name="connsiteX30082" fmla="*/ 743032 w 6884782"/>
              <a:gd name="connsiteY30082" fmla="*/ 2673378 h 5973007"/>
              <a:gd name="connsiteX30083" fmla="*/ 742206 w 6884782"/>
              <a:gd name="connsiteY30083" fmla="*/ 2672138 h 5973007"/>
              <a:gd name="connsiteX30084" fmla="*/ 741380 w 6884782"/>
              <a:gd name="connsiteY30084" fmla="*/ 2672603 h 5973007"/>
              <a:gd name="connsiteX30085" fmla="*/ 741380 w 6884782"/>
              <a:gd name="connsiteY30085" fmla="*/ 2670899 h 5973007"/>
              <a:gd name="connsiteX30086" fmla="*/ 741999 w 6884782"/>
              <a:gd name="connsiteY30086" fmla="*/ 2670279 h 5973007"/>
              <a:gd name="connsiteX30087" fmla="*/ 742103 w 6884782"/>
              <a:gd name="connsiteY30087" fmla="*/ 2670125 h 5973007"/>
              <a:gd name="connsiteX30088" fmla="*/ 743962 w 6884782"/>
              <a:gd name="connsiteY30088" fmla="*/ 2669970 h 5973007"/>
              <a:gd name="connsiteX30089" fmla="*/ 1149965 w 6884782"/>
              <a:gd name="connsiteY30089" fmla="*/ 2669350 h 5973007"/>
              <a:gd name="connsiteX30090" fmla="*/ 1149965 w 6884782"/>
              <a:gd name="connsiteY30090" fmla="*/ 2671054 h 5973007"/>
              <a:gd name="connsiteX30091" fmla="*/ 1149345 w 6884782"/>
              <a:gd name="connsiteY30091" fmla="*/ 2673378 h 5973007"/>
              <a:gd name="connsiteX30092" fmla="*/ 1149965 w 6884782"/>
              <a:gd name="connsiteY30092" fmla="*/ 2674772 h 5973007"/>
              <a:gd name="connsiteX30093" fmla="*/ 1146248 w 6884782"/>
              <a:gd name="connsiteY30093" fmla="*/ 2680038 h 5973007"/>
              <a:gd name="connsiteX30094" fmla="*/ 1146970 w 6884782"/>
              <a:gd name="connsiteY30094" fmla="*/ 2676010 h 5973007"/>
              <a:gd name="connsiteX30095" fmla="*/ 1147796 w 6884782"/>
              <a:gd name="connsiteY30095" fmla="*/ 2673842 h 5973007"/>
              <a:gd name="connsiteX30096" fmla="*/ 1147796 w 6884782"/>
              <a:gd name="connsiteY30096" fmla="*/ 2671983 h 5973007"/>
              <a:gd name="connsiteX30097" fmla="*/ 1149965 w 6884782"/>
              <a:gd name="connsiteY30097" fmla="*/ 2669350 h 5973007"/>
              <a:gd name="connsiteX30098" fmla="*/ 968234 w 6884782"/>
              <a:gd name="connsiteY30098" fmla="*/ 2667027 h 5973007"/>
              <a:gd name="connsiteX30099" fmla="*/ 969473 w 6884782"/>
              <a:gd name="connsiteY30099" fmla="*/ 2667182 h 5973007"/>
              <a:gd name="connsiteX30100" fmla="*/ 966582 w 6884782"/>
              <a:gd name="connsiteY30100" fmla="*/ 2671054 h 5973007"/>
              <a:gd name="connsiteX30101" fmla="*/ 968234 w 6884782"/>
              <a:gd name="connsiteY30101" fmla="*/ 2667027 h 5973007"/>
              <a:gd name="connsiteX30102" fmla="*/ 629863 w 6884782"/>
              <a:gd name="connsiteY30102" fmla="*/ 2667027 h 5973007"/>
              <a:gd name="connsiteX30103" fmla="*/ 633167 w 6884782"/>
              <a:gd name="connsiteY30103" fmla="*/ 2670899 h 5973007"/>
              <a:gd name="connsiteX30104" fmla="*/ 624597 w 6884782"/>
              <a:gd name="connsiteY30104" fmla="*/ 2672913 h 5973007"/>
              <a:gd name="connsiteX30105" fmla="*/ 629863 w 6884782"/>
              <a:gd name="connsiteY30105" fmla="*/ 2667027 h 5973007"/>
              <a:gd name="connsiteX30106" fmla="*/ 1416675 w 6884782"/>
              <a:gd name="connsiteY30106" fmla="*/ 2666872 h 5973007"/>
              <a:gd name="connsiteX30107" fmla="*/ 1424627 w 6884782"/>
              <a:gd name="connsiteY30107" fmla="*/ 2668730 h 5973007"/>
              <a:gd name="connsiteX30108" fmla="*/ 1426175 w 6884782"/>
              <a:gd name="connsiteY30108" fmla="*/ 2677095 h 5973007"/>
              <a:gd name="connsiteX30109" fmla="*/ 1416675 w 6884782"/>
              <a:gd name="connsiteY30109" fmla="*/ 2666872 h 5973007"/>
              <a:gd name="connsiteX30110" fmla="*/ 5014297 w 6884782"/>
              <a:gd name="connsiteY30110" fmla="*/ 2666403 h 5973007"/>
              <a:gd name="connsiteX30111" fmla="*/ 5020913 w 6884782"/>
              <a:gd name="connsiteY30111" fmla="*/ 2671383 h 5973007"/>
              <a:gd name="connsiteX30112" fmla="*/ 5003626 w 6884782"/>
              <a:gd name="connsiteY30112" fmla="*/ 2668395 h 5973007"/>
              <a:gd name="connsiteX30113" fmla="*/ 5014297 w 6884782"/>
              <a:gd name="connsiteY30113" fmla="*/ 2666403 h 5973007"/>
              <a:gd name="connsiteX30114" fmla="*/ 937360 w 6884782"/>
              <a:gd name="connsiteY30114" fmla="*/ 2664239 h 5973007"/>
              <a:gd name="connsiteX30115" fmla="*/ 938909 w 6884782"/>
              <a:gd name="connsiteY30115" fmla="*/ 2668111 h 5973007"/>
              <a:gd name="connsiteX30116" fmla="*/ 933540 w 6884782"/>
              <a:gd name="connsiteY30116" fmla="*/ 2674617 h 5973007"/>
              <a:gd name="connsiteX30117" fmla="*/ 931785 w 6884782"/>
              <a:gd name="connsiteY30117" fmla="*/ 2671829 h 5973007"/>
              <a:gd name="connsiteX30118" fmla="*/ 935295 w 6884782"/>
              <a:gd name="connsiteY30118" fmla="*/ 2665013 h 5973007"/>
              <a:gd name="connsiteX30119" fmla="*/ 937360 w 6884782"/>
              <a:gd name="connsiteY30119" fmla="*/ 2664239 h 5973007"/>
              <a:gd name="connsiteX30120" fmla="*/ 897400 w 6884782"/>
              <a:gd name="connsiteY30120" fmla="*/ 2664084 h 5973007"/>
              <a:gd name="connsiteX30121" fmla="*/ 897813 w 6884782"/>
              <a:gd name="connsiteY30121" fmla="*/ 2671829 h 5973007"/>
              <a:gd name="connsiteX30122" fmla="*/ 896161 w 6884782"/>
              <a:gd name="connsiteY30122" fmla="*/ 2672913 h 5973007"/>
              <a:gd name="connsiteX30123" fmla="*/ 891825 w 6884782"/>
              <a:gd name="connsiteY30123" fmla="*/ 2674307 h 5973007"/>
              <a:gd name="connsiteX30124" fmla="*/ 890069 w 6884782"/>
              <a:gd name="connsiteY30124" fmla="*/ 2671829 h 5973007"/>
              <a:gd name="connsiteX30125" fmla="*/ 891515 w 6884782"/>
              <a:gd name="connsiteY30125" fmla="*/ 2668421 h 5973007"/>
              <a:gd name="connsiteX30126" fmla="*/ 897400 w 6884782"/>
              <a:gd name="connsiteY30126" fmla="*/ 2664084 h 5973007"/>
              <a:gd name="connsiteX30127" fmla="*/ 882635 w 6884782"/>
              <a:gd name="connsiteY30127" fmla="*/ 2662844 h 5973007"/>
              <a:gd name="connsiteX30128" fmla="*/ 887591 w 6884782"/>
              <a:gd name="connsiteY30128" fmla="*/ 2667182 h 5973007"/>
              <a:gd name="connsiteX30129" fmla="*/ 886558 w 6884782"/>
              <a:gd name="connsiteY30129" fmla="*/ 2668730 h 5973007"/>
              <a:gd name="connsiteX30130" fmla="*/ 884184 w 6884782"/>
              <a:gd name="connsiteY30130" fmla="*/ 2668421 h 5973007"/>
              <a:gd name="connsiteX30131" fmla="*/ 881499 w 6884782"/>
              <a:gd name="connsiteY30131" fmla="*/ 2664549 h 5973007"/>
              <a:gd name="connsiteX30132" fmla="*/ 882635 w 6884782"/>
              <a:gd name="connsiteY30132" fmla="*/ 2662844 h 5973007"/>
              <a:gd name="connsiteX30133" fmla="*/ 1037003 w 6884782"/>
              <a:gd name="connsiteY30133" fmla="*/ 2662380 h 5973007"/>
              <a:gd name="connsiteX30134" fmla="*/ 1040306 w 6884782"/>
              <a:gd name="connsiteY30134" fmla="*/ 2663619 h 5973007"/>
              <a:gd name="connsiteX30135" fmla="*/ 1041133 w 6884782"/>
              <a:gd name="connsiteY30135" fmla="*/ 2664549 h 5973007"/>
              <a:gd name="connsiteX30136" fmla="*/ 1037003 w 6884782"/>
              <a:gd name="connsiteY30136" fmla="*/ 2664084 h 5973007"/>
              <a:gd name="connsiteX30137" fmla="*/ 1033905 w 6884782"/>
              <a:gd name="connsiteY30137" fmla="*/ 2662999 h 5973007"/>
              <a:gd name="connsiteX30138" fmla="*/ 1411616 w 6884782"/>
              <a:gd name="connsiteY30138" fmla="*/ 2662070 h 5973007"/>
              <a:gd name="connsiteX30139" fmla="*/ 1411823 w 6884782"/>
              <a:gd name="connsiteY30139" fmla="*/ 2668886 h 5973007"/>
              <a:gd name="connsiteX30140" fmla="*/ 1407279 w 6884782"/>
              <a:gd name="connsiteY30140" fmla="*/ 2665787 h 5973007"/>
              <a:gd name="connsiteX30141" fmla="*/ 1411616 w 6884782"/>
              <a:gd name="connsiteY30141" fmla="*/ 2662070 h 5973007"/>
              <a:gd name="connsiteX30142" fmla="*/ 1130243 w 6884782"/>
              <a:gd name="connsiteY30142" fmla="*/ 2661760 h 5973007"/>
              <a:gd name="connsiteX30143" fmla="*/ 1132101 w 6884782"/>
              <a:gd name="connsiteY30143" fmla="*/ 2663309 h 5973007"/>
              <a:gd name="connsiteX30144" fmla="*/ 1133857 w 6884782"/>
              <a:gd name="connsiteY30144" fmla="*/ 2663774 h 5973007"/>
              <a:gd name="connsiteX30145" fmla="*/ 1136748 w 6884782"/>
              <a:gd name="connsiteY30145" fmla="*/ 2668421 h 5973007"/>
              <a:gd name="connsiteX30146" fmla="*/ 1119917 w 6884782"/>
              <a:gd name="connsiteY30146" fmla="*/ 2665787 h 5973007"/>
              <a:gd name="connsiteX30147" fmla="*/ 1118368 w 6884782"/>
              <a:gd name="connsiteY30147" fmla="*/ 2664703 h 5973007"/>
              <a:gd name="connsiteX30148" fmla="*/ 1118781 w 6884782"/>
              <a:gd name="connsiteY30148" fmla="*/ 2662535 h 5973007"/>
              <a:gd name="connsiteX30149" fmla="*/ 1130243 w 6884782"/>
              <a:gd name="connsiteY30149" fmla="*/ 2661760 h 5973007"/>
              <a:gd name="connsiteX30150" fmla="*/ 825947 w 6884782"/>
              <a:gd name="connsiteY30150" fmla="*/ 2661605 h 5973007"/>
              <a:gd name="connsiteX30151" fmla="*/ 835033 w 6884782"/>
              <a:gd name="connsiteY30151" fmla="*/ 2668730 h 5973007"/>
              <a:gd name="connsiteX30152" fmla="*/ 821610 w 6884782"/>
              <a:gd name="connsiteY30152" fmla="*/ 2668730 h 5973007"/>
              <a:gd name="connsiteX30153" fmla="*/ 825947 w 6884782"/>
              <a:gd name="connsiteY30153" fmla="*/ 2661605 h 5973007"/>
              <a:gd name="connsiteX30154" fmla="*/ 1222967 w 6884782"/>
              <a:gd name="connsiteY30154" fmla="*/ 2660985 h 5973007"/>
              <a:gd name="connsiteX30155" fmla="*/ 1222760 w 6884782"/>
              <a:gd name="connsiteY30155" fmla="*/ 2661760 h 5973007"/>
              <a:gd name="connsiteX30156" fmla="*/ 1222554 w 6884782"/>
              <a:gd name="connsiteY30156" fmla="*/ 2662380 h 5973007"/>
              <a:gd name="connsiteX30157" fmla="*/ 1224206 w 6884782"/>
              <a:gd name="connsiteY30157" fmla="*/ 2662535 h 5973007"/>
              <a:gd name="connsiteX30158" fmla="*/ 1223690 w 6884782"/>
              <a:gd name="connsiteY30158" fmla="*/ 2661141 h 5973007"/>
              <a:gd name="connsiteX30159" fmla="*/ 951403 w 6884782"/>
              <a:gd name="connsiteY30159" fmla="*/ 2660056 h 5973007"/>
              <a:gd name="connsiteX30160" fmla="*/ 957701 w 6884782"/>
              <a:gd name="connsiteY30160" fmla="*/ 2661760 h 5973007"/>
              <a:gd name="connsiteX30161" fmla="*/ 956566 w 6884782"/>
              <a:gd name="connsiteY30161" fmla="*/ 2662380 h 5973007"/>
              <a:gd name="connsiteX30162" fmla="*/ 954914 w 6884782"/>
              <a:gd name="connsiteY30162" fmla="*/ 2661760 h 5973007"/>
              <a:gd name="connsiteX30163" fmla="*/ 951403 w 6884782"/>
              <a:gd name="connsiteY30163" fmla="*/ 2660056 h 5973007"/>
              <a:gd name="connsiteX30164" fmla="*/ 785677 w 6884782"/>
              <a:gd name="connsiteY30164" fmla="*/ 2659746 h 5973007"/>
              <a:gd name="connsiteX30165" fmla="*/ 788671 w 6884782"/>
              <a:gd name="connsiteY30165" fmla="*/ 2660831 h 5973007"/>
              <a:gd name="connsiteX30166" fmla="*/ 788981 w 6884782"/>
              <a:gd name="connsiteY30166" fmla="*/ 2660211 h 5973007"/>
              <a:gd name="connsiteX30167" fmla="*/ 794041 w 6884782"/>
              <a:gd name="connsiteY30167" fmla="*/ 2663464 h 5973007"/>
              <a:gd name="connsiteX30168" fmla="*/ 791666 w 6884782"/>
              <a:gd name="connsiteY30168" fmla="*/ 2665787 h 5973007"/>
              <a:gd name="connsiteX30169" fmla="*/ 792079 w 6884782"/>
              <a:gd name="connsiteY30169" fmla="*/ 2667491 h 5973007"/>
              <a:gd name="connsiteX30170" fmla="*/ 798171 w 6884782"/>
              <a:gd name="connsiteY30170" fmla="*/ 2668111 h 5973007"/>
              <a:gd name="connsiteX30171" fmla="*/ 801682 w 6884782"/>
              <a:gd name="connsiteY30171" fmla="*/ 2669350 h 5973007"/>
              <a:gd name="connsiteX30172" fmla="*/ 801785 w 6884782"/>
              <a:gd name="connsiteY30172" fmla="*/ 2668575 h 5973007"/>
              <a:gd name="connsiteX30173" fmla="*/ 809942 w 6884782"/>
              <a:gd name="connsiteY30173" fmla="*/ 2667182 h 5973007"/>
              <a:gd name="connsiteX30174" fmla="*/ 807257 w 6884782"/>
              <a:gd name="connsiteY30174" fmla="*/ 2672603 h 5973007"/>
              <a:gd name="connsiteX30175" fmla="*/ 804676 w 6884782"/>
              <a:gd name="connsiteY30175" fmla="*/ 2673997 h 5973007"/>
              <a:gd name="connsiteX30176" fmla="*/ 807051 w 6884782"/>
              <a:gd name="connsiteY30176" fmla="*/ 2674307 h 5973007"/>
              <a:gd name="connsiteX30177" fmla="*/ 807980 w 6884782"/>
              <a:gd name="connsiteY30177" fmla="*/ 2671364 h 5973007"/>
              <a:gd name="connsiteX30178" fmla="*/ 810975 w 6884782"/>
              <a:gd name="connsiteY30178" fmla="*/ 2665632 h 5973007"/>
              <a:gd name="connsiteX30179" fmla="*/ 816654 w 6884782"/>
              <a:gd name="connsiteY30179" fmla="*/ 2675391 h 5973007"/>
              <a:gd name="connsiteX30180" fmla="*/ 813040 w 6884782"/>
              <a:gd name="connsiteY30180" fmla="*/ 2676785 h 5973007"/>
              <a:gd name="connsiteX30181" fmla="*/ 813453 w 6884782"/>
              <a:gd name="connsiteY30181" fmla="*/ 2677095 h 5973007"/>
              <a:gd name="connsiteX30182" fmla="*/ 790220 w 6884782"/>
              <a:gd name="connsiteY30182" fmla="*/ 2678179 h 5973007"/>
              <a:gd name="connsiteX30183" fmla="*/ 796209 w 6884782"/>
              <a:gd name="connsiteY30183" fmla="*/ 2674772 h 5973007"/>
              <a:gd name="connsiteX30184" fmla="*/ 801475 w 6884782"/>
              <a:gd name="connsiteY30184" fmla="*/ 2673997 h 5973007"/>
              <a:gd name="connsiteX30185" fmla="*/ 801165 w 6884782"/>
              <a:gd name="connsiteY30185" fmla="*/ 2672603 h 5973007"/>
              <a:gd name="connsiteX30186" fmla="*/ 801268 w 6884782"/>
              <a:gd name="connsiteY30186" fmla="*/ 2671983 h 5973007"/>
              <a:gd name="connsiteX30187" fmla="*/ 798481 w 6884782"/>
              <a:gd name="connsiteY30187" fmla="*/ 2673842 h 5973007"/>
              <a:gd name="connsiteX30188" fmla="*/ 781443 w 6884782"/>
              <a:gd name="connsiteY30188" fmla="*/ 2672913 h 5973007"/>
              <a:gd name="connsiteX30189" fmla="*/ 785677 w 6884782"/>
              <a:gd name="connsiteY30189" fmla="*/ 2668730 h 5973007"/>
              <a:gd name="connsiteX30190" fmla="*/ 786503 w 6884782"/>
              <a:gd name="connsiteY30190" fmla="*/ 2668421 h 5973007"/>
              <a:gd name="connsiteX30191" fmla="*/ 785161 w 6884782"/>
              <a:gd name="connsiteY30191" fmla="*/ 2668421 h 5973007"/>
              <a:gd name="connsiteX30192" fmla="*/ 765645 w 6884782"/>
              <a:gd name="connsiteY30192" fmla="*/ 2666407 h 5973007"/>
              <a:gd name="connsiteX30193" fmla="*/ 775867 w 6884782"/>
              <a:gd name="connsiteY30193" fmla="*/ 2662225 h 5973007"/>
              <a:gd name="connsiteX30194" fmla="*/ 785677 w 6884782"/>
              <a:gd name="connsiteY30194" fmla="*/ 2659746 h 5973007"/>
              <a:gd name="connsiteX30195" fmla="*/ 497282 w 6884782"/>
              <a:gd name="connsiteY30195" fmla="*/ 2658353 h 5973007"/>
              <a:gd name="connsiteX30196" fmla="*/ 497592 w 6884782"/>
              <a:gd name="connsiteY30196" fmla="*/ 2664549 h 5973007"/>
              <a:gd name="connsiteX30197" fmla="*/ 491294 w 6884782"/>
              <a:gd name="connsiteY30197" fmla="*/ 2660985 h 5973007"/>
              <a:gd name="connsiteX30198" fmla="*/ 497282 w 6884782"/>
              <a:gd name="connsiteY30198" fmla="*/ 2658353 h 5973007"/>
              <a:gd name="connsiteX30199" fmla="*/ 891411 w 6884782"/>
              <a:gd name="connsiteY30199" fmla="*/ 2657113 h 5973007"/>
              <a:gd name="connsiteX30200" fmla="*/ 893889 w 6884782"/>
              <a:gd name="connsiteY30200" fmla="*/ 2657113 h 5973007"/>
              <a:gd name="connsiteX30201" fmla="*/ 892960 w 6884782"/>
              <a:gd name="connsiteY30201" fmla="*/ 2660521 h 5973007"/>
              <a:gd name="connsiteX30202" fmla="*/ 890482 w 6884782"/>
              <a:gd name="connsiteY30202" fmla="*/ 2658353 h 5973007"/>
              <a:gd name="connsiteX30203" fmla="*/ 891411 w 6884782"/>
              <a:gd name="connsiteY30203" fmla="*/ 2657113 h 5973007"/>
              <a:gd name="connsiteX30204" fmla="*/ 754906 w 6884782"/>
              <a:gd name="connsiteY30204" fmla="*/ 2652466 h 5973007"/>
              <a:gd name="connsiteX30205" fmla="*/ 758417 w 6884782"/>
              <a:gd name="connsiteY30205" fmla="*/ 2652931 h 5973007"/>
              <a:gd name="connsiteX30206" fmla="*/ 752015 w 6884782"/>
              <a:gd name="connsiteY30206" fmla="*/ 2654016 h 5973007"/>
              <a:gd name="connsiteX30207" fmla="*/ 754906 w 6884782"/>
              <a:gd name="connsiteY30207" fmla="*/ 2652466 h 5973007"/>
              <a:gd name="connsiteX30208" fmla="*/ 1051149 w 6884782"/>
              <a:gd name="connsiteY30208" fmla="*/ 2652002 h 5973007"/>
              <a:gd name="connsiteX30209" fmla="*/ 1053007 w 6884782"/>
              <a:gd name="connsiteY30209" fmla="*/ 2654170 h 5973007"/>
              <a:gd name="connsiteX30210" fmla="*/ 1056518 w 6884782"/>
              <a:gd name="connsiteY30210" fmla="*/ 2654480 h 5973007"/>
              <a:gd name="connsiteX30211" fmla="*/ 1056621 w 6884782"/>
              <a:gd name="connsiteY30211" fmla="*/ 2654635 h 5973007"/>
              <a:gd name="connsiteX30212" fmla="*/ 1069425 w 6884782"/>
              <a:gd name="connsiteY30212" fmla="*/ 2654790 h 5973007"/>
              <a:gd name="connsiteX30213" fmla="*/ 1078408 w 6884782"/>
              <a:gd name="connsiteY30213" fmla="*/ 2662070 h 5973007"/>
              <a:gd name="connsiteX30214" fmla="*/ 1083571 w 6884782"/>
              <a:gd name="connsiteY30214" fmla="*/ 2676630 h 5973007"/>
              <a:gd name="connsiteX30215" fmla="*/ 1082745 w 6884782"/>
              <a:gd name="connsiteY30215" fmla="*/ 2679263 h 5973007"/>
              <a:gd name="connsiteX30216" fmla="*/ 1087495 w 6884782"/>
              <a:gd name="connsiteY30216" fmla="*/ 2678799 h 5973007"/>
              <a:gd name="connsiteX30217" fmla="*/ 1093070 w 6884782"/>
              <a:gd name="connsiteY30217" fmla="*/ 2681587 h 5973007"/>
              <a:gd name="connsiteX30218" fmla="*/ 1076963 w 6884782"/>
              <a:gd name="connsiteY30218" fmla="*/ 2694908 h 5973007"/>
              <a:gd name="connsiteX30219" fmla="*/ 1073762 w 6884782"/>
              <a:gd name="connsiteY30219" fmla="*/ 2691190 h 5973007"/>
              <a:gd name="connsiteX30220" fmla="*/ 1073658 w 6884782"/>
              <a:gd name="connsiteY30220" fmla="*/ 2690571 h 5973007"/>
              <a:gd name="connsiteX30221" fmla="*/ 1073039 w 6884782"/>
              <a:gd name="connsiteY30221" fmla="*/ 2690881 h 5973007"/>
              <a:gd name="connsiteX30222" fmla="*/ 1068909 w 6884782"/>
              <a:gd name="connsiteY30222" fmla="*/ 2692894 h 5973007"/>
              <a:gd name="connsiteX30223" fmla="*/ 1063746 w 6884782"/>
              <a:gd name="connsiteY30223" fmla="*/ 2698006 h 5973007"/>
              <a:gd name="connsiteX30224" fmla="*/ 1061991 w 6884782"/>
              <a:gd name="connsiteY30224" fmla="*/ 2696302 h 5973007"/>
              <a:gd name="connsiteX30225" fmla="*/ 1060648 w 6884782"/>
              <a:gd name="connsiteY30225" fmla="*/ 2697076 h 5973007"/>
              <a:gd name="connsiteX30226" fmla="*/ 1055589 w 6884782"/>
              <a:gd name="connsiteY30226" fmla="*/ 2696612 h 5973007"/>
              <a:gd name="connsiteX30227" fmla="*/ 1052697 w 6884782"/>
              <a:gd name="connsiteY30227" fmla="*/ 2694598 h 5973007"/>
              <a:gd name="connsiteX30228" fmla="*/ 1052594 w 6884782"/>
              <a:gd name="connsiteY30228" fmla="*/ 2694444 h 5973007"/>
              <a:gd name="connsiteX30229" fmla="*/ 1046915 w 6884782"/>
              <a:gd name="connsiteY30229" fmla="*/ 2694908 h 5973007"/>
              <a:gd name="connsiteX30230" fmla="*/ 1040513 w 6884782"/>
              <a:gd name="connsiteY30230" fmla="*/ 2692274 h 5973007"/>
              <a:gd name="connsiteX30231" fmla="*/ 1039584 w 6884782"/>
              <a:gd name="connsiteY30231" fmla="*/ 2690106 h 5973007"/>
              <a:gd name="connsiteX30232" fmla="*/ 1037209 w 6884782"/>
              <a:gd name="connsiteY30232" fmla="*/ 2691965 h 5973007"/>
              <a:gd name="connsiteX30233" fmla="*/ 1033698 w 6884782"/>
              <a:gd name="connsiteY30233" fmla="*/ 2692274 h 5973007"/>
              <a:gd name="connsiteX30234" fmla="*/ 1036486 w 6884782"/>
              <a:gd name="connsiteY30234" fmla="*/ 2689331 h 5973007"/>
              <a:gd name="connsiteX30235" fmla="*/ 1038035 w 6884782"/>
              <a:gd name="connsiteY30235" fmla="*/ 2688247 h 5973007"/>
              <a:gd name="connsiteX30236" fmla="*/ 1039274 w 6884782"/>
              <a:gd name="connsiteY30236" fmla="*/ 2689022 h 5973007"/>
              <a:gd name="connsiteX30237" fmla="*/ 1039067 w 6884782"/>
              <a:gd name="connsiteY30237" fmla="*/ 2688712 h 5973007"/>
              <a:gd name="connsiteX30238" fmla="*/ 1039274 w 6884782"/>
              <a:gd name="connsiteY30238" fmla="*/ 2684375 h 5973007"/>
              <a:gd name="connsiteX30239" fmla="*/ 1038964 w 6884782"/>
              <a:gd name="connsiteY30239" fmla="*/ 2683136 h 5973007"/>
              <a:gd name="connsiteX30240" fmla="*/ 1039377 w 6884782"/>
              <a:gd name="connsiteY30240" fmla="*/ 2683136 h 5973007"/>
              <a:gd name="connsiteX30241" fmla="*/ 1039377 w 6884782"/>
              <a:gd name="connsiteY30241" fmla="*/ 2683291 h 5973007"/>
              <a:gd name="connsiteX30242" fmla="*/ 1040720 w 6884782"/>
              <a:gd name="connsiteY30242" fmla="*/ 2683601 h 5973007"/>
              <a:gd name="connsiteX30243" fmla="*/ 1041133 w 6884782"/>
              <a:gd name="connsiteY30243" fmla="*/ 2684065 h 5973007"/>
              <a:gd name="connsiteX30244" fmla="*/ 1043198 w 6884782"/>
              <a:gd name="connsiteY30244" fmla="*/ 2684995 h 5973007"/>
              <a:gd name="connsiteX30245" fmla="*/ 1044230 w 6884782"/>
              <a:gd name="connsiteY30245" fmla="*/ 2684840 h 5973007"/>
              <a:gd name="connsiteX30246" fmla="*/ 1047122 w 6884782"/>
              <a:gd name="connsiteY30246" fmla="*/ 2686389 h 5973007"/>
              <a:gd name="connsiteX30247" fmla="*/ 1049703 w 6884782"/>
              <a:gd name="connsiteY30247" fmla="*/ 2687008 h 5973007"/>
              <a:gd name="connsiteX30248" fmla="*/ 1046915 w 6884782"/>
              <a:gd name="connsiteY30248" fmla="*/ 2683755 h 5973007"/>
              <a:gd name="connsiteX30249" fmla="*/ 1042268 w 6884782"/>
              <a:gd name="connsiteY30249" fmla="*/ 2674307 h 5973007"/>
              <a:gd name="connsiteX30250" fmla="*/ 1041959 w 6884782"/>
              <a:gd name="connsiteY30250" fmla="*/ 2668266 h 5973007"/>
              <a:gd name="connsiteX30251" fmla="*/ 1050219 w 6884782"/>
              <a:gd name="connsiteY30251" fmla="*/ 2655874 h 5973007"/>
              <a:gd name="connsiteX30252" fmla="*/ 1052284 w 6884782"/>
              <a:gd name="connsiteY30252" fmla="*/ 2655874 h 5973007"/>
              <a:gd name="connsiteX30253" fmla="*/ 1054763 w 6884782"/>
              <a:gd name="connsiteY30253" fmla="*/ 2655254 h 5973007"/>
              <a:gd name="connsiteX30254" fmla="*/ 1052594 w 6884782"/>
              <a:gd name="connsiteY30254" fmla="*/ 2654480 h 5973007"/>
              <a:gd name="connsiteX30255" fmla="*/ 1049600 w 6884782"/>
              <a:gd name="connsiteY30255" fmla="*/ 2654635 h 5973007"/>
              <a:gd name="connsiteX30256" fmla="*/ 1048670 w 6884782"/>
              <a:gd name="connsiteY30256" fmla="*/ 2653086 h 5973007"/>
              <a:gd name="connsiteX30257" fmla="*/ 1051149 w 6884782"/>
              <a:gd name="connsiteY30257" fmla="*/ 2652002 h 5973007"/>
              <a:gd name="connsiteX30258" fmla="*/ 928273 w 6884782"/>
              <a:gd name="connsiteY30258" fmla="*/ 2651692 h 5973007"/>
              <a:gd name="connsiteX30259" fmla="*/ 926002 w 6884782"/>
              <a:gd name="connsiteY30259" fmla="*/ 2661915 h 5973007"/>
              <a:gd name="connsiteX30260" fmla="*/ 926105 w 6884782"/>
              <a:gd name="connsiteY30260" fmla="*/ 2655564 h 5973007"/>
              <a:gd name="connsiteX30261" fmla="*/ 928273 w 6884782"/>
              <a:gd name="connsiteY30261" fmla="*/ 2651692 h 5973007"/>
              <a:gd name="connsiteX30262" fmla="*/ 1035247 w 6884782"/>
              <a:gd name="connsiteY30262" fmla="*/ 2651227 h 5973007"/>
              <a:gd name="connsiteX30263" fmla="*/ 1035763 w 6884782"/>
              <a:gd name="connsiteY30263" fmla="*/ 2657268 h 5973007"/>
              <a:gd name="connsiteX30264" fmla="*/ 1033905 w 6884782"/>
              <a:gd name="connsiteY30264" fmla="*/ 2662999 h 5973007"/>
              <a:gd name="connsiteX30265" fmla="*/ 1033698 w 6884782"/>
              <a:gd name="connsiteY30265" fmla="*/ 2663309 h 5973007"/>
              <a:gd name="connsiteX30266" fmla="*/ 1026367 w 6884782"/>
              <a:gd name="connsiteY30266" fmla="*/ 2672603 h 5973007"/>
              <a:gd name="connsiteX30267" fmla="*/ 1025644 w 6884782"/>
              <a:gd name="connsiteY30267" fmla="*/ 2666252 h 5973007"/>
              <a:gd name="connsiteX30268" fmla="*/ 1035247 w 6884782"/>
              <a:gd name="connsiteY30268" fmla="*/ 2651227 h 5973007"/>
              <a:gd name="connsiteX30269" fmla="*/ 944485 w 6884782"/>
              <a:gd name="connsiteY30269" fmla="*/ 2649368 h 5973007"/>
              <a:gd name="connsiteX30270" fmla="*/ 949234 w 6884782"/>
              <a:gd name="connsiteY30270" fmla="*/ 2655254 h 5973007"/>
              <a:gd name="connsiteX30271" fmla="*/ 944278 w 6884782"/>
              <a:gd name="connsiteY30271" fmla="*/ 2650918 h 5973007"/>
              <a:gd name="connsiteX30272" fmla="*/ 944485 w 6884782"/>
              <a:gd name="connsiteY30272" fmla="*/ 2649368 h 5973007"/>
              <a:gd name="connsiteX30273" fmla="*/ 1070044 w 6884782"/>
              <a:gd name="connsiteY30273" fmla="*/ 2649059 h 5973007"/>
              <a:gd name="connsiteX30274" fmla="*/ 1089869 w 6884782"/>
              <a:gd name="connsiteY30274" fmla="*/ 2655254 h 5973007"/>
              <a:gd name="connsiteX30275" fmla="*/ 1090489 w 6884782"/>
              <a:gd name="connsiteY30275" fmla="*/ 2656029 h 5973007"/>
              <a:gd name="connsiteX30276" fmla="*/ 1092244 w 6884782"/>
              <a:gd name="connsiteY30276" fmla="*/ 2654480 h 5973007"/>
              <a:gd name="connsiteX30277" fmla="*/ 1093277 w 6884782"/>
              <a:gd name="connsiteY30277" fmla="*/ 2653861 h 5973007"/>
              <a:gd name="connsiteX30278" fmla="*/ 1091625 w 6884782"/>
              <a:gd name="connsiteY30278" fmla="*/ 2653241 h 5973007"/>
              <a:gd name="connsiteX30279" fmla="*/ 1101641 w 6884782"/>
              <a:gd name="connsiteY30279" fmla="*/ 2655099 h 5973007"/>
              <a:gd name="connsiteX30280" fmla="*/ 1103706 w 6884782"/>
              <a:gd name="connsiteY30280" fmla="*/ 2671518 h 5973007"/>
              <a:gd name="connsiteX30281" fmla="*/ 1099989 w 6884782"/>
              <a:gd name="connsiteY30281" fmla="*/ 2674152 h 5973007"/>
              <a:gd name="connsiteX30282" fmla="*/ 1104738 w 6884782"/>
              <a:gd name="connsiteY30282" fmla="*/ 2673222 h 5973007"/>
              <a:gd name="connsiteX30283" fmla="*/ 1111657 w 6884782"/>
              <a:gd name="connsiteY30283" fmla="*/ 2673378 h 5973007"/>
              <a:gd name="connsiteX30284" fmla="*/ 1100918 w 6884782"/>
              <a:gd name="connsiteY30284" fmla="*/ 2674772 h 5973007"/>
              <a:gd name="connsiteX30285" fmla="*/ 1099266 w 6884782"/>
              <a:gd name="connsiteY30285" fmla="*/ 2674617 h 5973007"/>
              <a:gd name="connsiteX30286" fmla="*/ 1099059 w 6884782"/>
              <a:gd name="connsiteY30286" fmla="*/ 2674617 h 5973007"/>
              <a:gd name="connsiteX30287" fmla="*/ 1098853 w 6884782"/>
              <a:gd name="connsiteY30287" fmla="*/ 2674617 h 5973007"/>
              <a:gd name="connsiteX30288" fmla="*/ 1097717 w 6884782"/>
              <a:gd name="connsiteY30288" fmla="*/ 2674462 h 5973007"/>
              <a:gd name="connsiteX30289" fmla="*/ 1098440 w 6884782"/>
              <a:gd name="connsiteY30289" fmla="*/ 2674307 h 5973007"/>
              <a:gd name="connsiteX30290" fmla="*/ 1093793 w 6884782"/>
              <a:gd name="connsiteY30290" fmla="*/ 2671829 h 5973007"/>
              <a:gd name="connsiteX30291" fmla="*/ 1088940 w 6884782"/>
              <a:gd name="connsiteY30291" fmla="*/ 2667801 h 5973007"/>
              <a:gd name="connsiteX30292" fmla="*/ 1088424 w 6884782"/>
              <a:gd name="connsiteY30292" fmla="*/ 2666407 h 5973007"/>
              <a:gd name="connsiteX30293" fmla="*/ 1088734 w 6884782"/>
              <a:gd name="connsiteY30293" fmla="*/ 2662535 h 5973007"/>
              <a:gd name="connsiteX30294" fmla="*/ 1088734 w 6884782"/>
              <a:gd name="connsiteY30294" fmla="*/ 2659127 h 5973007"/>
              <a:gd name="connsiteX30295" fmla="*/ 1085843 w 6884782"/>
              <a:gd name="connsiteY30295" fmla="*/ 2658817 h 5973007"/>
              <a:gd name="connsiteX30296" fmla="*/ 1070044 w 6884782"/>
              <a:gd name="connsiteY30296" fmla="*/ 2649059 h 5973007"/>
              <a:gd name="connsiteX30297" fmla="*/ 1250743 w 6884782"/>
              <a:gd name="connsiteY30297" fmla="*/ 2648284 h 5973007"/>
              <a:gd name="connsiteX30298" fmla="*/ 1253944 w 6884782"/>
              <a:gd name="connsiteY30298" fmla="*/ 2652002 h 5973007"/>
              <a:gd name="connsiteX30299" fmla="*/ 1256422 w 6884782"/>
              <a:gd name="connsiteY30299" fmla="*/ 2651537 h 5973007"/>
              <a:gd name="connsiteX30300" fmla="*/ 1261585 w 6884782"/>
              <a:gd name="connsiteY30300" fmla="*/ 2654790 h 5973007"/>
              <a:gd name="connsiteX30301" fmla="*/ 1256422 w 6884782"/>
              <a:gd name="connsiteY30301" fmla="*/ 2657113 h 5973007"/>
              <a:gd name="connsiteX30302" fmla="*/ 1255389 w 6884782"/>
              <a:gd name="connsiteY30302" fmla="*/ 2657578 h 5973007"/>
              <a:gd name="connsiteX30303" fmla="*/ 1255389 w 6884782"/>
              <a:gd name="connsiteY30303" fmla="*/ 2657733 h 5973007"/>
              <a:gd name="connsiteX30304" fmla="*/ 1254357 w 6884782"/>
              <a:gd name="connsiteY30304" fmla="*/ 2659437 h 5973007"/>
              <a:gd name="connsiteX30305" fmla="*/ 1247129 w 6884782"/>
              <a:gd name="connsiteY30305" fmla="*/ 2661915 h 5973007"/>
              <a:gd name="connsiteX30306" fmla="*/ 1245580 w 6884782"/>
              <a:gd name="connsiteY30306" fmla="*/ 2660985 h 5973007"/>
              <a:gd name="connsiteX30307" fmla="*/ 1242999 w 6884782"/>
              <a:gd name="connsiteY30307" fmla="*/ 2661450 h 5973007"/>
              <a:gd name="connsiteX30308" fmla="*/ 1238662 w 6884782"/>
              <a:gd name="connsiteY30308" fmla="*/ 2659127 h 5973007"/>
              <a:gd name="connsiteX30309" fmla="*/ 1240521 w 6884782"/>
              <a:gd name="connsiteY30309" fmla="*/ 2658042 h 5973007"/>
              <a:gd name="connsiteX30310" fmla="*/ 1241450 w 6884782"/>
              <a:gd name="connsiteY30310" fmla="*/ 2653396 h 5973007"/>
              <a:gd name="connsiteX30311" fmla="*/ 1244961 w 6884782"/>
              <a:gd name="connsiteY30311" fmla="*/ 2649368 h 5973007"/>
              <a:gd name="connsiteX30312" fmla="*/ 1250743 w 6884782"/>
              <a:gd name="connsiteY30312" fmla="*/ 2648284 h 5973007"/>
              <a:gd name="connsiteX30313" fmla="*/ 1119195 w 6884782"/>
              <a:gd name="connsiteY30313" fmla="*/ 2647820 h 5973007"/>
              <a:gd name="connsiteX30314" fmla="*/ 1119091 w 6884782"/>
              <a:gd name="connsiteY30314" fmla="*/ 2647974 h 5973007"/>
              <a:gd name="connsiteX30315" fmla="*/ 1119401 w 6884782"/>
              <a:gd name="connsiteY30315" fmla="*/ 2649368 h 5973007"/>
              <a:gd name="connsiteX30316" fmla="*/ 1119504 w 6884782"/>
              <a:gd name="connsiteY30316" fmla="*/ 2647820 h 5973007"/>
              <a:gd name="connsiteX30317" fmla="*/ 561611 w 6884782"/>
              <a:gd name="connsiteY30317" fmla="*/ 2647820 h 5973007"/>
              <a:gd name="connsiteX30318" fmla="*/ 570078 w 6884782"/>
              <a:gd name="connsiteY30318" fmla="*/ 2647820 h 5973007"/>
              <a:gd name="connsiteX30319" fmla="*/ 579681 w 6884782"/>
              <a:gd name="connsiteY30319" fmla="*/ 2669815 h 5973007"/>
              <a:gd name="connsiteX30320" fmla="*/ 559649 w 6884782"/>
              <a:gd name="connsiteY30320" fmla="*/ 2655874 h 5973007"/>
              <a:gd name="connsiteX30321" fmla="*/ 561611 w 6884782"/>
              <a:gd name="connsiteY30321" fmla="*/ 2647820 h 5973007"/>
              <a:gd name="connsiteX30322" fmla="*/ 1184349 w 6884782"/>
              <a:gd name="connsiteY30322" fmla="*/ 2647355 h 5973007"/>
              <a:gd name="connsiteX30323" fmla="*/ 1193333 w 6884782"/>
              <a:gd name="connsiteY30323" fmla="*/ 2652621 h 5973007"/>
              <a:gd name="connsiteX30324" fmla="*/ 1180735 w 6884782"/>
              <a:gd name="connsiteY30324" fmla="*/ 2657888 h 5973007"/>
              <a:gd name="connsiteX30325" fmla="*/ 1181251 w 6884782"/>
              <a:gd name="connsiteY30325" fmla="*/ 2658507 h 5973007"/>
              <a:gd name="connsiteX30326" fmla="*/ 1183110 w 6884782"/>
              <a:gd name="connsiteY30326" fmla="*/ 2658353 h 5973007"/>
              <a:gd name="connsiteX30327" fmla="*/ 1183833 w 6884782"/>
              <a:gd name="connsiteY30327" fmla="*/ 2659437 h 5973007"/>
              <a:gd name="connsiteX30328" fmla="*/ 1183833 w 6884782"/>
              <a:gd name="connsiteY30328" fmla="*/ 2659901 h 5973007"/>
              <a:gd name="connsiteX30329" fmla="*/ 1188583 w 6884782"/>
              <a:gd name="connsiteY30329" fmla="*/ 2661915 h 5973007"/>
              <a:gd name="connsiteX30330" fmla="*/ 1192816 w 6884782"/>
              <a:gd name="connsiteY30330" fmla="*/ 2665323 h 5973007"/>
              <a:gd name="connsiteX30331" fmla="*/ 1194571 w 6884782"/>
              <a:gd name="connsiteY30331" fmla="*/ 2666717 h 5973007"/>
              <a:gd name="connsiteX30332" fmla="*/ 1199838 w 6884782"/>
              <a:gd name="connsiteY30332" fmla="*/ 2675546 h 5973007"/>
              <a:gd name="connsiteX30333" fmla="*/ 1182491 w 6884782"/>
              <a:gd name="connsiteY30333" fmla="*/ 2677714 h 5973007"/>
              <a:gd name="connsiteX30334" fmla="*/ 1181974 w 6884782"/>
              <a:gd name="connsiteY30334" fmla="*/ 2678644 h 5973007"/>
              <a:gd name="connsiteX30335" fmla="*/ 1181355 w 6884782"/>
              <a:gd name="connsiteY30335" fmla="*/ 2679418 h 5973007"/>
              <a:gd name="connsiteX30336" fmla="*/ 1180941 w 6884782"/>
              <a:gd name="connsiteY30336" fmla="*/ 2678644 h 5973007"/>
              <a:gd name="connsiteX30337" fmla="*/ 1181251 w 6884782"/>
              <a:gd name="connsiteY30337" fmla="*/ 2677250 h 5973007"/>
              <a:gd name="connsiteX30338" fmla="*/ 1181355 w 6884782"/>
              <a:gd name="connsiteY30338" fmla="*/ 2677095 h 5973007"/>
              <a:gd name="connsiteX30339" fmla="*/ 1177224 w 6884782"/>
              <a:gd name="connsiteY30339" fmla="*/ 2674462 h 5973007"/>
              <a:gd name="connsiteX30340" fmla="*/ 1169893 w 6884782"/>
              <a:gd name="connsiteY30340" fmla="*/ 2667182 h 5973007"/>
              <a:gd name="connsiteX30341" fmla="*/ 1170616 w 6884782"/>
              <a:gd name="connsiteY30341" fmla="*/ 2664549 h 5973007"/>
              <a:gd name="connsiteX30342" fmla="*/ 1178360 w 6884782"/>
              <a:gd name="connsiteY30342" fmla="*/ 2659592 h 5973007"/>
              <a:gd name="connsiteX30343" fmla="*/ 1182284 w 6884782"/>
              <a:gd name="connsiteY30343" fmla="*/ 2659901 h 5973007"/>
              <a:gd name="connsiteX30344" fmla="*/ 1181148 w 6884782"/>
              <a:gd name="connsiteY30344" fmla="*/ 2658972 h 5973007"/>
              <a:gd name="connsiteX30345" fmla="*/ 1180219 w 6884782"/>
              <a:gd name="connsiteY30345" fmla="*/ 2658197 h 5973007"/>
              <a:gd name="connsiteX30346" fmla="*/ 1177637 w 6884782"/>
              <a:gd name="connsiteY30346" fmla="*/ 2659282 h 5973007"/>
              <a:gd name="connsiteX30347" fmla="*/ 1160806 w 6884782"/>
              <a:gd name="connsiteY30347" fmla="*/ 2663309 h 5973007"/>
              <a:gd name="connsiteX30348" fmla="*/ 1164524 w 6884782"/>
              <a:gd name="connsiteY30348" fmla="*/ 2657113 h 5973007"/>
              <a:gd name="connsiteX30349" fmla="*/ 1169480 w 6884782"/>
              <a:gd name="connsiteY30349" fmla="*/ 2652466 h 5973007"/>
              <a:gd name="connsiteX30350" fmla="*/ 1169584 w 6884782"/>
              <a:gd name="connsiteY30350" fmla="*/ 2652466 h 5973007"/>
              <a:gd name="connsiteX30351" fmla="*/ 1170203 w 6884782"/>
              <a:gd name="connsiteY30351" fmla="*/ 2651692 h 5973007"/>
              <a:gd name="connsiteX30352" fmla="*/ 1184349 w 6884782"/>
              <a:gd name="connsiteY30352" fmla="*/ 2647355 h 5973007"/>
              <a:gd name="connsiteX30353" fmla="*/ 895851 w 6884782"/>
              <a:gd name="connsiteY30353" fmla="*/ 2647045 h 5973007"/>
              <a:gd name="connsiteX30354" fmla="*/ 899052 w 6884782"/>
              <a:gd name="connsiteY30354" fmla="*/ 2648904 h 5973007"/>
              <a:gd name="connsiteX30355" fmla="*/ 899982 w 6884782"/>
              <a:gd name="connsiteY30355" fmla="*/ 2650143 h 5973007"/>
              <a:gd name="connsiteX30356" fmla="*/ 894199 w 6884782"/>
              <a:gd name="connsiteY30356" fmla="*/ 2656029 h 5973007"/>
              <a:gd name="connsiteX30357" fmla="*/ 888417 w 6884782"/>
              <a:gd name="connsiteY30357" fmla="*/ 2652002 h 5973007"/>
              <a:gd name="connsiteX30358" fmla="*/ 889449 w 6884782"/>
              <a:gd name="connsiteY30358" fmla="*/ 2650298 h 5973007"/>
              <a:gd name="connsiteX30359" fmla="*/ 890998 w 6884782"/>
              <a:gd name="connsiteY30359" fmla="*/ 2648749 h 5973007"/>
              <a:gd name="connsiteX30360" fmla="*/ 895851 w 6884782"/>
              <a:gd name="connsiteY30360" fmla="*/ 2647045 h 5973007"/>
              <a:gd name="connsiteX30361" fmla="*/ 773493 w 6884782"/>
              <a:gd name="connsiteY30361" fmla="*/ 2645651 h 5973007"/>
              <a:gd name="connsiteX30362" fmla="*/ 777623 w 6884782"/>
              <a:gd name="connsiteY30362" fmla="*/ 2649368 h 5973007"/>
              <a:gd name="connsiteX30363" fmla="*/ 778242 w 6884782"/>
              <a:gd name="connsiteY30363" fmla="*/ 2649214 h 5973007"/>
              <a:gd name="connsiteX30364" fmla="*/ 780721 w 6884782"/>
              <a:gd name="connsiteY30364" fmla="*/ 2657578 h 5973007"/>
              <a:gd name="connsiteX30365" fmla="*/ 779482 w 6884782"/>
              <a:gd name="connsiteY30365" fmla="*/ 2659437 h 5973007"/>
              <a:gd name="connsiteX30366" fmla="*/ 779482 w 6884782"/>
              <a:gd name="connsiteY30366" fmla="*/ 2659592 h 5973007"/>
              <a:gd name="connsiteX30367" fmla="*/ 771634 w 6884782"/>
              <a:gd name="connsiteY30367" fmla="*/ 2659127 h 5973007"/>
              <a:gd name="connsiteX30368" fmla="*/ 769569 w 6884782"/>
              <a:gd name="connsiteY30368" fmla="*/ 2656339 h 5973007"/>
              <a:gd name="connsiteX30369" fmla="*/ 769569 w 6884782"/>
              <a:gd name="connsiteY30369" fmla="*/ 2652776 h 5973007"/>
              <a:gd name="connsiteX30370" fmla="*/ 768640 w 6884782"/>
              <a:gd name="connsiteY30370" fmla="*/ 2649988 h 5973007"/>
              <a:gd name="connsiteX30371" fmla="*/ 769156 w 6884782"/>
              <a:gd name="connsiteY30371" fmla="*/ 2647045 h 5973007"/>
              <a:gd name="connsiteX30372" fmla="*/ 773493 w 6884782"/>
              <a:gd name="connsiteY30372" fmla="*/ 2645651 h 5973007"/>
              <a:gd name="connsiteX30373" fmla="*/ 910823 w 6884782"/>
              <a:gd name="connsiteY30373" fmla="*/ 2645186 h 5973007"/>
              <a:gd name="connsiteX30374" fmla="*/ 918155 w 6884782"/>
              <a:gd name="connsiteY30374" fmla="*/ 2650298 h 5973007"/>
              <a:gd name="connsiteX30375" fmla="*/ 906487 w 6884782"/>
              <a:gd name="connsiteY30375" fmla="*/ 2648904 h 5973007"/>
              <a:gd name="connsiteX30376" fmla="*/ 910823 w 6884782"/>
              <a:gd name="connsiteY30376" fmla="*/ 2645186 h 5973007"/>
              <a:gd name="connsiteX30377" fmla="*/ 518372 w 6884782"/>
              <a:gd name="connsiteY30377" fmla="*/ 2644954 h 5973007"/>
              <a:gd name="connsiteX30378" fmla="*/ 525368 w 6884782"/>
              <a:gd name="connsiteY30378" fmla="*/ 2648749 h 5973007"/>
              <a:gd name="connsiteX30379" fmla="*/ 527124 w 6884782"/>
              <a:gd name="connsiteY30379" fmla="*/ 2650608 h 5973007"/>
              <a:gd name="connsiteX30380" fmla="*/ 530531 w 6884782"/>
              <a:gd name="connsiteY30380" fmla="*/ 2652621 h 5973007"/>
              <a:gd name="connsiteX30381" fmla="*/ 528259 w 6884782"/>
              <a:gd name="connsiteY30381" fmla="*/ 2659282 h 5973007"/>
              <a:gd name="connsiteX30382" fmla="*/ 527846 w 6884782"/>
              <a:gd name="connsiteY30382" fmla="*/ 2659901 h 5973007"/>
              <a:gd name="connsiteX30383" fmla="*/ 533732 w 6884782"/>
              <a:gd name="connsiteY30383" fmla="*/ 2657578 h 5973007"/>
              <a:gd name="connsiteX30384" fmla="*/ 536313 w 6884782"/>
              <a:gd name="connsiteY30384" fmla="*/ 2672758 h 5973007"/>
              <a:gd name="connsiteX30385" fmla="*/ 530634 w 6884782"/>
              <a:gd name="connsiteY30385" fmla="*/ 2665632 h 5973007"/>
              <a:gd name="connsiteX30386" fmla="*/ 527433 w 6884782"/>
              <a:gd name="connsiteY30386" fmla="*/ 2660366 h 5973007"/>
              <a:gd name="connsiteX30387" fmla="*/ 525988 w 6884782"/>
              <a:gd name="connsiteY30387" fmla="*/ 2662225 h 5973007"/>
              <a:gd name="connsiteX30388" fmla="*/ 511222 w 6884782"/>
              <a:gd name="connsiteY30388" fmla="*/ 2663309 h 5973007"/>
              <a:gd name="connsiteX30389" fmla="*/ 507504 w 6884782"/>
              <a:gd name="connsiteY30389" fmla="*/ 2654016 h 5973007"/>
              <a:gd name="connsiteX30390" fmla="*/ 509776 w 6884782"/>
              <a:gd name="connsiteY30390" fmla="*/ 2648904 h 5973007"/>
              <a:gd name="connsiteX30391" fmla="*/ 512771 w 6884782"/>
              <a:gd name="connsiteY30391" fmla="*/ 2646271 h 5973007"/>
              <a:gd name="connsiteX30392" fmla="*/ 518372 w 6884782"/>
              <a:gd name="connsiteY30392" fmla="*/ 2644954 h 5973007"/>
              <a:gd name="connsiteX30393" fmla="*/ 718147 w 6884782"/>
              <a:gd name="connsiteY30393" fmla="*/ 2644877 h 5973007"/>
              <a:gd name="connsiteX30394" fmla="*/ 708957 w 6884782"/>
              <a:gd name="connsiteY30394" fmla="*/ 2667491 h 5973007"/>
              <a:gd name="connsiteX30395" fmla="*/ 702969 w 6884782"/>
              <a:gd name="connsiteY30395" fmla="*/ 2671829 h 5973007"/>
              <a:gd name="connsiteX30396" fmla="*/ 704827 w 6884782"/>
              <a:gd name="connsiteY30396" fmla="*/ 2655564 h 5973007"/>
              <a:gd name="connsiteX30397" fmla="*/ 689029 w 6884782"/>
              <a:gd name="connsiteY30397" fmla="*/ 2649214 h 5973007"/>
              <a:gd name="connsiteX30398" fmla="*/ 693056 w 6884782"/>
              <a:gd name="connsiteY30398" fmla="*/ 2647200 h 5973007"/>
              <a:gd name="connsiteX30399" fmla="*/ 708751 w 6884782"/>
              <a:gd name="connsiteY30399" fmla="*/ 2649059 h 5973007"/>
              <a:gd name="connsiteX30400" fmla="*/ 718147 w 6884782"/>
              <a:gd name="connsiteY30400" fmla="*/ 2644877 h 5973007"/>
              <a:gd name="connsiteX30401" fmla="*/ 1297208 w 6884782"/>
              <a:gd name="connsiteY30401" fmla="*/ 2643173 h 5973007"/>
              <a:gd name="connsiteX30402" fmla="*/ 1309392 w 6884782"/>
              <a:gd name="connsiteY30402" fmla="*/ 2643947 h 5973007"/>
              <a:gd name="connsiteX30403" fmla="*/ 1315691 w 6884782"/>
              <a:gd name="connsiteY30403" fmla="*/ 2645496 h 5973007"/>
              <a:gd name="connsiteX30404" fmla="*/ 1319305 w 6884782"/>
              <a:gd name="connsiteY30404" fmla="*/ 2643173 h 5973007"/>
              <a:gd name="connsiteX30405" fmla="*/ 1320028 w 6884782"/>
              <a:gd name="connsiteY30405" fmla="*/ 2646425 h 5973007"/>
              <a:gd name="connsiteX30406" fmla="*/ 1321990 w 6884782"/>
              <a:gd name="connsiteY30406" fmla="*/ 2647045 h 5973007"/>
              <a:gd name="connsiteX30407" fmla="*/ 1327359 w 6884782"/>
              <a:gd name="connsiteY30407" fmla="*/ 2649833 h 5973007"/>
              <a:gd name="connsiteX30408" fmla="*/ 1327669 w 6884782"/>
              <a:gd name="connsiteY30408" fmla="*/ 2649368 h 5973007"/>
              <a:gd name="connsiteX30409" fmla="*/ 1330250 w 6884782"/>
              <a:gd name="connsiteY30409" fmla="*/ 2649214 h 5973007"/>
              <a:gd name="connsiteX30410" fmla="*/ 1332831 w 6884782"/>
              <a:gd name="connsiteY30410" fmla="*/ 2652621 h 5973007"/>
              <a:gd name="connsiteX30411" fmla="*/ 1333554 w 6884782"/>
              <a:gd name="connsiteY30411" fmla="*/ 2652931 h 5973007"/>
              <a:gd name="connsiteX30412" fmla="*/ 1342434 w 6884782"/>
              <a:gd name="connsiteY30412" fmla="*/ 2662380 h 5973007"/>
              <a:gd name="connsiteX30413" fmla="*/ 1345842 w 6884782"/>
              <a:gd name="connsiteY30413" fmla="*/ 2671054 h 5973007"/>
              <a:gd name="connsiteX30414" fmla="*/ 1345945 w 6884782"/>
              <a:gd name="connsiteY30414" fmla="*/ 2674152 h 5973007"/>
              <a:gd name="connsiteX30415" fmla="*/ 1347081 w 6884782"/>
              <a:gd name="connsiteY30415" fmla="*/ 2676166 h 5973007"/>
              <a:gd name="connsiteX30416" fmla="*/ 1351108 w 6884782"/>
              <a:gd name="connsiteY30416" fmla="*/ 2687008 h 5973007"/>
              <a:gd name="connsiteX30417" fmla="*/ 1347804 w 6884782"/>
              <a:gd name="connsiteY30417" fmla="*/ 2680348 h 5973007"/>
              <a:gd name="connsiteX30418" fmla="*/ 1345945 w 6884782"/>
              <a:gd name="connsiteY30418" fmla="*/ 2674462 h 5973007"/>
              <a:gd name="connsiteX30419" fmla="*/ 1346048 w 6884782"/>
              <a:gd name="connsiteY30419" fmla="*/ 2679263 h 5973007"/>
              <a:gd name="connsiteX30420" fmla="*/ 1344190 w 6884782"/>
              <a:gd name="connsiteY30420" fmla="*/ 2696457 h 5973007"/>
              <a:gd name="connsiteX30421" fmla="*/ 1329734 w 6884782"/>
              <a:gd name="connsiteY30421" fmla="*/ 2709158 h 5973007"/>
              <a:gd name="connsiteX30422" fmla="*/ 1323641 w 6884782"/>
              <a:gd name="connsiteY30422" fmla="*/ 2708384 h 5973007"/>
              <a:gd name="connsiteX30423" fmla="*/ 1319202 w 6884782"/>
              <a:gd name="connsiteY30423" fmla="*/ 2708539 h 5973007"/>
              <a:gd name="connsiteX30424" fmla="*/ 1316620 w 6884782"/>
              <a:gd name="connsiteY30424" fmla="*/ 2711637 h 5973007"/>
              <a:gd name="connsiteX30425" fmla="*/ 1315485 w 6884782"/>
              <a:gd name="connsiteY30425" fmla="*/ 2711017 h 5973007"/>
              <a:gd name="connsiteX30426" fmla="*/ 1314245 w 6884782"/>
              <a:gd name="connsiteY30426" fmla="*/ 2712721 h 5973007"/>
              <a:gd name="connsiteX30427" fmla="*/ 1306192 w 6884782"/>
              <a:gd name="connsiteY30427" fmla="*/ 2713341 h 5973007"/>
              <a:gd name="connsiteX30428" fmla="*/ 1304436 w 6884782"/>
              <a:gd name="connsiteY30428" fmla="*/ 2709933 h 5973007"/>
              <a:gd name="connsiteX30429" fmla="*/ 1303403 w 6884782"/>
              <a:gd name="connsiteY30429" fmla="*/ 2709933 h 5973007"/>
              <a:gd name="connsiteX30430" fmla="*/ 1291116 w 6884782"/>
              <a:gd name="connsiteY30430" fmla="*/ 2699710 h 5973007"/>
              <a:gd name="connsiteX30431" fmla="*/ 1289877 w 6884782"/>
              <a:gd name="connsiteY30431" fmla="*/ 2698780 h 5973007"/>
              <a:gd name="connsiteX30432" fmla="*/ 1289567 w 6884782"/>
              <a:gd name="connsiteY30432" fmla="*/ 2701259 h 5973007"/>
              <a:gd name="connsiteX30433" fmla="*/ 1285953 w 6884782"/>
              <a:gd name="connsiteY30433" fmla="*/ 2704511 h 5973007"/>
              <a:gd name="connsiteX30434" fmla="*/ 1287296 w 6884782"/>
              <a:gd name="connsiteY30434" fmla="*/ 2708074 h 5973007"/>
              <a:gd name="connsiteX30435" fmla="*/ 1285953 w 6884782"/>
              <a:gd name="connsiteY30435" fmla="*/ 2717058 h 5973007"/>
              <a:gd name="connsiteX30436" fmla="*/ 1282030 w 6884782"/>
              <a:gd name="connsiteY30436" fmla="*/ 2720001 h 5973007"/>
              <a:gd name="connsiteX30437" fmla="*/ 1282030 w 6884782"/>
              <a:gd name="connsiteY30437" fmla="*/ 2720621 h 5973007"/>
              <a:gd name="connsiteX30438" fmla="*/ 1276867 w 6884782"/>
              <a:gd name="connsiteY30438" fmla="*/ 2722479 h 5973007"/>
              <a:gd name="connsiteX30439" fmla="*/ 1275008 w 6884782"/>
              <a:gd name="connsiteY30439" fmla="*/ 2718452 h 5973007"/>
              <a:gd name="connsiteX30440" fmla="*/ 1276247 w 6884782"/>
              <a:gd name="connsiteY30440" fmla="*/ 2716593 h 5973007"/>
              <a:gd name="connsiteX30441" fmla="*/ 1277073 w 6884782"/>
              <a:gd name="connsiteY30441" fmla="*/ 2716593 h 5973007"/>
              <a:gd name="connsiteX30442" fmla="*/ 1278622 w 6884782"/>
              <a:gd name="connsiteY30442" fmla="*/ 2716439 h 5973007"/>
              <a:gd name="connsiteX30443" fmla="*/ 1274698 w 6884782"/>
              <a:gd name="connsiteY30443" fmla="*/ 2711327 h 5973007"/>
              <a:gd name="connsiteX30444" fmla="*/ 1272220 w 6884782"/>
              <a:gd name="connsiteY30444" fmla="*/ 2697851 h 5973007"/>
              <a:gd name="connsiteX30445" fmla="*/ 1283785 w 6884782"/>
              <a:gd name="connsiteY30445" fmla="*/ 2699245 h 5973007"/>
              <a:gd name="connsiteX30446" fmla="*/ 1283991 w 6884782"/>
              <a:gd name="connsiteY30446" fmla="*/ 2699555 h 5973007"/>
              <a:gd name="connsiteX30447" fmla="*/ 1284611 w 6884782"/>
              <a:gd name="connsiteY30447" fmla="*/ 2699245 h 5973007"/>
              <a:gd name="connsiteX30448" fmla="*/ 1288018 w 6884782"/>
              <a:gd name="connsiteY30448" fmla="*/ 2697386 h 5973007"/>
              <a:gd name="connsiteX30449" fmla="*/ 1289464 w 6884782"/>
              <a:gd name="connsiteY30449" fmla="*/ 2698471 h 5973007"/>
              <a:gd name="connsiteX30450" fmla="*/ 1278829 w 6884782"/>
              <a:gd name="connsiteY30450" fmla="*/ 2689642 h 5973007"/>
              <a:gd name="connsiteX30451" fmla="*/ 1278725 w 6884782"/>
              <a:gd name="connsiteY30451" fmla="*/ 2682516 h 5973007"/>
              <a:gd name="connsiteX30452" fmla="*/ 1278622 w 6884782"/>
              <a:gd name="connsiteY30452" fmla="*/ 2682361 h 5973007"/>
              <a:gd name="connsiteX30453" fmla="*/ 1277693 w 6884782"/>
              <a:gd name="connsiteY30453" fmla="*/ 2682671 h 5973007"/>
              <a:gd name="connsiteX30454" fmla="*/ 1277590 w 6884782"/>
              <a:gd name="connsiteY30454" fmla="*/ 2683601 h 5973007"/>
              <a:gd name="connsiteX30455" fmla="*/ 1275937 w 6884782"/>
              <a:gd name="connsiteY30455" fmla="*/ 2682671 h 5973007"/>
              <a:gd name="connsiteX30456" fmla="*/ 1274079 w 6884782"/>
              <a:gd name="connsiteY30456" fmla="*/ 2676630 h 5973007"/>
              <a:gd name="connsiteX30457" fmla="*/ 1276660 w 6884782"/>
              <a:gd name="connsiteY30457" fmla="*/ 2675701 h 5973007"/>
              <a:gd name="connsiteX30458" fmla="*/ 1277899 w 6884782"/>
              <a:gd name="connsiteY30458" fmla="*/ 2676475 h 5973007"/>
              <a:gd name="connsiteX30459" fmla="*/ 1276867 w 6884782"/>
              <a:gd name="connsiteY30459" fmla="*/ 2671364 h 5973007"/>
              <a:gd name="connsiteX30460" fmla="*/ 1279655 w 6884782"/>
              <a:gd name="connsiteY30460" fmla="*/ 2654170 h 5973007"/>
              <a:gd name="connsiteX30461" fmla="*/ 1297208 w 6884782"/>
              <a:gd name="connsiteY30461" fmla="*/ 2643173 h 5973007"/>
              <a:gd name="connsiteX30462" fmla="*/ 1359885 w 6884782"/>
              <a:gd name="connsiteY30462" fmla="*/ 2643017 h 5973007"/>
              <a:gd name="connsiteX30463" fmla="*/ 1353896 w 6884782"/>
              <a:gd name="connsiteY30463" fmla="*/ 2652002 h 5973007"/>
              <a:gd name="connsiteX30464" fmla="*/ 1359885 w 6884782"/>
              <a:gd name="connsiteY30464" fmla="*/ 2643017 h 5973007"/>
              <a:gd name="connsiteX30465" fmla="*/ 1019965 w 6884782"/>
              <a:gd name="connsiteY30465" fmla="*/ 2642863 h 5973007"/>
              <a:gd name="connsiteX30466" fmla="*/ 1023476 w 6884782"/>
              <a:gd name="connsiteY30466" fmla="*/ 2643792 h 5973007"/>
              <a:gd name="connsiteX30467" fmla="*/ 1024096 w 6884782"/>
              <a:gd name="connsiteY30467" fmla="*/ 2646271 h 5973007"/>
              <a:gd name="connsiteX30468" fmla="*/ 1023166 w 6884782"/>
              <a:gd name="connsiteY30468" fmla="*/ 2646271 h 5973007"/>
              <a:gd name="connsiteX30469" fmla="*/ 1019449 w 6884782"/>
              <a:gd name="connsiteY30469" fmla="*/ 2647045 h 5973007"/>
              <a:gd name="connsiteX30470" fmla="*/ 1019036 w 6884782"/>
              <a:gd name="connsiteY30470" fmla="*/ 2645186 h 5973007"/>
              <a:gd name="connsiteX30471" fmla="*/ 1019965 w 6884782"/>
              <a:gd name="connsiteY30471" fmla="*/ 2642863 h 5973007"/>
              <a:gd name="connsiteX30472" fmla="*/ 1388177 w 6884782"/>
              <a:gd name="connsiteY30472" fmla="*/ 2641314 h 5973007"/>
              <a:gd name="connsiteX30473" fmla="*/ 1398812 w 6884782"/>
              <a:gd name="connsiteY30473" fmla="*/ 2648594 h 5973007"/>
              <a:gd name="connsiteX30474" fmla="*/ 1385079 w 6884782"/>
              <a:gd name="connsiteY30474" fmla="*/ 2643483 h 5973007"/>
              <a:gd name="connsiteX30475" fmla="*/ 1388177 w 6884782"/>
              <a:gd name="connsiteY30475" fmla="*/ 2641314 h 5973007"/>
              <a:gd name="connsiteX30476" fmla="*/ 450817 w 6884782"/>
              <a:gd name="connsiteY30476" fmla="*/ 2641159 h 5973007"/>
              <a:gd name="connsiteX30477" fmla="*/ 451643 w 6884782"/>
              <a:gd name="connsiteY30477" fmla="*/ 2641469 h 5973007"/>
              <a:gd name="connsiteX30478" fmla="*/ 452366 w 6884782"/>
              <a:gd name="connsiteY30478" fmla="*/ 2644721 h 5973007"/>
              <a:gd name="connsiteX30479" fmla="*/ 450714 w 6884782"/>
              <a:gd name="connsiteY30479" fmla="*/ 2644567 h 5973007"/>
              <a:gd name="connsiteX30480" fmla="*/ 450714 w 6884782"/>
              <a:gd name="connsiteY30480" fmla="*/ 2645341 h 5973007"/>
              <a:gd name="connsiteX30481" fmla="*/ 449165 w 6884782"/>
              <a:gd name="connsiteY30481" fmla="*/ 2644412 h 5973007"/>
              <a:gd name="connsiteX30482" fmla="*/ 449165 w 6884782"/>
              <a:gd name="connsiteY30482" fmla="*/ 2643637 h 5973007"/>
              <a:gd name="connsiteX30483" fmla="*/ 448959 w 6884782"/>
              <a:gd name="connsiteY30483" fmla="*/ 2643328 h 5973007"/>
              <a:gd name="connsiteX30484" fmla="*/ 449991 w 6884782"/>
              <a:gd name="connsiteY30484" fmla="*/ 2642088 h 5973007"/>
              <a:gd name="connsiteX30485" fmla="*/ 450817 w 6884782"/>
              <a:gd name="connsiteY30485" fmla="*/ 2641159 h 5973007"/>
              <a:gd name="connsiteX30486" fmla="*/ 829251 w 6884782"/>
              <a:gd name="connsiteY30486" fmla="*/ 2640849 h 5973007"/>
              <a:gd name="connsiteX30487" fmla="*/ 831832 w 6884782"/>
              <a:gd name="connsiteY30487" fmla="*/ 2643017 h 5973007"/>
              <a:gd name="connsiteX30488" fmla="*/ 826669 w 6884782"/>
              <a:gd name="connsiteY30488" fmla="*/ 2648439 h 5973007"/>
              <a:gd name="connsiteX30489" fmla="*/ 824708 w 6884782"/>
              <a:gd name="connsiteY30489" fmla="*/ 2643947 h 5973007"/>
              <a:gd name="connsiteX30490" fmla="*/ 826154 w 6884782"/>
              <a:gd name="connsiteY30490" fmla="*/ 2641159 h 5973007"/>
              <a:gd name="connsiteX30491" fmla="*/ 829251 w 6884782"/>
              <a:gd name="connsiteY30491" fmla="*/ 2640849 h 5973007"/>
              <a:gd name="connsiteX30492" fmla="*/ 1115580 w 6884782"/>
              <a:gd name="connsiteY30492" fmla="*/ 2640229 h 5973007"/>
              <a:gd name="connsiteX30493" fmla="*/ 1116303 w 6884782"/>
              <a:gd name="connsiteY30493" fmla="*/ 2641314 h 5973007"/>
              <a:gd name="connsiteX30494" fmla="*/ 1116097 w 6884782"/>
              <a:gd name="connsiteY30494" fmla="*/ 2641778 h 5973007"/>
              <a:gd name="connsiteX30495" fmla="*/ 1114032 w 6884782"/>
              <a:gd name="connsiteY30495" fmla="*/ 2643328 h 5973007"/>
              <a:gd name="connsiteX30496" fmla="*/ 1114032 w 6884782"/>
              <a:gd name="connsiteY30496" fmla="*/ 2642553 h 5973007"/>
              <a:gd name="connsiteX30497" fmla="*/ 1114755 w 6884782"/>
              <a:gd name="connsiteY30497" fmla="*/ 2640384 h 5973007"/>
              <a:gd name="connsiteX30498" fmla="*/ 1115890 w 6884782"/>
              <a:gd name="connsiteY30498" fmla="*/ 2641004 h 5973007"/>
              <a:gd name="connsiteX30499" fmla="*/ 1115580 w 6884782"/>
              <a:gd name="connsiteY30499" fmla="*/ 2640229 h 5973007"/>
              <a:gd name="connsiteX30500" fmla="*/ 1039067 w 6884782"/>
              <a:gd name="connsiteY30500" fmla="*/ 2638681 h 5973007"/>
              <a:gd name="connsiteX30501" fmla="*/ 1031943 w 6884782"/>
              <a:gd name="connsiteY30501" fmla="*/ 2644877 h 5973007"/>
              <a:gd name="connsiteX30502" fmla="*/ 1039067 w 6884782"/>
              <a:gd name="connsiteY30502" fmla="*/ 2638681 h 5973007"/>
              <a:gd name="connsiteX30503" fmla="*/ 1067257 w 6884782"/>
              <a:gd name="connsiteY30503" fmla="*/ 2638526 h 5973007"/>
              <a:gd name="connsiteX30504" fmla="*/ 1071284 w 6884782"/>
              <a:gd name="connsiteY30504" fmla="*/ 2645031 h 5973007"/>
              <a:gd name="connsiteX30505" fmla="*/ 1066844 w 6884782"/>
              <a:gd name="connsiteY30505" fmla="*/ 2640075 h 5973007"/>
              <a:gd name="connsiteX30506" fmla="*/ 1067257 w 6884782"/>
              <a:gd name="connsiteY30506" fmla="*/ 2638526 h 5973007"/>
              <a:gd name="connsiteX30507" fmla="*/ 849593 w 6884782"/>
              <a:gd name="connsiteY30507" fmla="*/ 2635583 h 5973007"/>
              <a:gd name="connsiteX30508" fmla="*/ 854446 w 6884782"/>
              <a:gd name="connsiteY30508" fmla="*/ 2662070 h 5973007"/>
              <a:gd name="connsiteX30509" fmla="*/ 847114 w 6884782"/>
              <a:gd name="connsiteY30509" fmla="*/ 2665013 h 5973007"/>
              <a:gd name="connsiteX30510" fmla="*/ 842364 w 6884782"/>
              <a:gd name="connsiteY30510" fmla="*/ 2663464 h 5973007"/>
              <a:gd name="connsiteX30511" fmla="*/ 841745 w 6884782"/>
              <a:gd name="connsiteY30511" fmla="*/ 2663774 h 5973007"/>
              <a:gd name="connsiteX30512" fmla="*/ 841538 w 6884782"/>
              <a:gd name="connsiteY30512" fmla="*/ 2663154 h 5973007"/>
              <a:gd name="connsiteX30513" fmla="*/ 841022 w 6884782"/>
              <a:gd name="connsiteY30513" fmla="*/ 2662999 h 5973007"/>
              <a:gd name="connsiteX30514" fmla="*/ 835653 w 6884782"/>
              <a:gd name="connsiteY30514" fmla="*/ 2650608 h 5973007"/>
              <a:gd name="connsiteX30515" fmla="*/ 849593 w 6884782"/>
              <a:gd name="connsiteY30515" fmla="*/ 2635583 h 5973007"/>
              <a:gd name="connsiteX30516" fmla="*/ 505646 w 6884782"/>
              <a:gd name="connsiteY30516" fmla="*/ 2635118 h 5973007"/>
              <a:gd name="connsiteX30517" fmla="*/ 512771 w 6884782"/>
              <a:gd name="connsiteY30517" fmla="*/ 2637597 h 5973007"/>
              <a:gd name="connsiteX30518" fmla="*/ 510912 w 6884782"/>
              <a:gd name="connsiteY30518" fmla="*/ 2643173 h 5973007"/>
              <a:gd name="connsiteX30519" fmla="*/ 508330 w 6884782"/>
              <a:gd name="connsiteY30519" fmla="*/ 2643792 h 5973007"/>
              <a:gd name="connsiteX30520" fmla="*/ 503064 w 6884782"/>
              <a:gd name="connsiteY30520" fmla="*/ 2642398 h 5973007"/>
              <a:gd name="connsiteX30521" fmla="*/ 503064 w 6884782"/>
              <a:gd name="connsiteY30521" fmla="*/ 2643328 h 5973007"/>
              <a:gd name="connsiteX30522" fmla="*/ 502238 w 6884782"/>
              <a:gd name="connsiteY30522" fmla="*/ 2638216 h 5973007"/>
              <a:gd name="connsiteX30523" fmla="*/ 505646 w 6884782"/>
              <a:gd name="connsiteY30523" fmla="*/ 2635118 h 5973007"/>
              <a:gd name="connsiteX30524" fmla="*/ 1287193 w 6884782"/>
              <a:gd name="connsiteY30524" fmla="*/ 2633879 h 5973007"/>
              <a:gd name="connsiteX30525" fmla="*/ 1291116 w 6884782"/>
              <a:gd name="connsiteY30525" fmla="*/ 2639145 h 5973007"/>
              <a:gd name="connsiteX30526" fmla="*/ 1290703 w 6884782"/>
              <a:gd name="connsiteY30526" fmla="*/ 2640539 h 5973007"/>
              <a:gd name="connsiteX30527" fmla="*/ 1286883 w 6884782"/>
              <a:gd name="connsiteY30527" fmla="*/ 2636047 h 5973007"/>
              <a:gd name="connsiteX30528" fmla="*/ 1287193 w 6884782"/>
              <a:gd name="connsiteY30528" fmla="*/ 2633879 h 5973007"/>
              <a:gd name="connsiteX30529" fmla="*/ 734152 w 6884782"/>
              <a:gd name="connsiteY30529" fmla="*/ 2632950 h 5973007"/>
              <a:gd name="connsiteX30530" fmla="*/ 739625 w 6884782"/>
              <a:gd name="connsiteY30530" fmla="*/ 2634344 h 5973007"/>
              <a:gd name="connsiteX30531" fmla="*/ 749434 w 6884782"/>
              <a:gd name="connsiteY30531" fmla="*/ 2647974 h 5973007"/>
              <a:gd name="connsiteX30532" fmla="*/ 733946 w 6884782"/>
              <a:gd name="connsiteY30532" fmla="*/ 2655719 h 5973007"/>
              <a:gd name="connsiteX30533" fmla="*/ 729092 w 6884782"/>
              <a:gd name="connsiteY30533" fmla="*/ 2644412 h 5973007"/>
              <a:gd name="connsiteX30534" fmla="*/ 734152 w 6884782"/>
              <a:gd name="connsiteY30534" fmla="*/ 2632950 h 5973007"/>
              <a:gd name="connsiteX30535" fmla="*/ 1080473 w 6884782"/>
              <a:gd name="connsiteY30535" fmla="*/ 2632020 h 5973007"/>
              <a:gd name="connsiteX30536" fmla="*/ 1081402 w 6884782"/>
              <a:gd name="connsiteY30536" fmla="*/ 2639765 h 5973007"/>
              <a:gd name="connsiteX30537" fmla="*/ 1078099 w 6884782"/>
              <a:gd name="connsiteY30537" fmla="*/ 2636047 h 5973007"/>
              <a:gd name="connsiteX30538" fmla="*/ 1080473 w 6884782"/>
              <a:gd name="connsiteY30538" fmla="*/ 2632020 h 5973007"/>
              <a:gd name="connsiteX30539" fmla="*/ 1000037 w 6884782"/>
              <a:gd name="connsiteY30539" fmla="*/ 2631710 h 5973007"/>
              <a:gd name="connsiteX30540" fmla="*/ 1002721 w 6884782"/>
              <a:gd name="connsiteY30540" fmla="*/ 2632484 h 5973007"/>
              <a:gd name="connsiteX30541" fmla="*/ 1003547 w 6884782"/>
              <a:gd name="connsiteY30541" fmla="*/ 2645341 h 5973007"/>
              <a:gd name="connsiteX30542" fmla="*/ 1002928 w 6884782"/>
              <a:gd name="connsiteY30542" fmla="*/ 2646116 h 5973007"/>
              <a:gd name="connsiteX30543" fmla="*/ 1012428 w 6884782"/>
              <a:gd name="connsiteY30543" fmla="*/ 2650143 h 5973007"/>
              <a:gd name="connsiteX30544" fmla="*/ 1015215 w 6884782"/>
              <a:gd name="connsiteY30544" fmla="*/ 2650918 h 5973007"/>
              <a:gd name="connsiteX30545" fmla="*/ 1016145 w 6884782"/>
              <a:gd name="connsiteY30545" fmla="*/ 2650298 h 5973007"/>
              <a:gd name="connsiteX30546" fmla="*/ 1019243 w 6884782"/>
              <a:gd name="connsiteY30546" fmla="*/ 2648749 h 5973007"/>
              <a:gd name="connsiteX30547" fmla="*/ 1019759 w 6884782"/>
              <a:gd name="connsiteY30547" fmla="*/ 2650298 h 5973007"/>
              <a:gd name="connsiteX30548" fmla="*/ 1021617 w 6884782"/>
              <a:gd name="connsiteY30548" fmla="*/ 2649523 h 5973007"/>
              <a:gd name="connsiteX30549" fmla="*/ 1024818 w 6884782"/>
              <a:gd name="connsiteY30549" fmla="*/ 2649368 h 5973007"/>
              <a:gd name="connsiteX30550" fmla="*/ 1023269 w 6884782"/>
              <a:gd name="connsiteY30550" fmla="*/ 2655719 h 5973007"/>
              <a:gd name="connsiteX30551" fmla="*/ 1019965 w 6884782"/>
              <a:gd name="connsiteY30551" fmla="*/ 2654635 h 5973007"/>
              <a:gd name="connsiteX30552" fmla="*/ 1018933 w 6884782"/>
              <a:gd name="connsiteY30552" fmla="*/ 2656494 h 5973007"/>
              <a:gd name="connsiteX30553" fmla="*/ 1017074 w 6884782"/>
              <a:gd name="connsiteY30553" fmla="*/ 2657578 h 5973007"/>
              <a:gd name="connsiteX30554" fmla="*/ 1014802 w 6884782"/>
              <a:gd name="connsiteY30554" fmla="*/ 2658662 h 5973007"/>
              <a:gd name="connsiteX30555" fmla="*/ 1014389 w 6884782"/>
              <a:gd name="connsiteY30555" fmla="*/ 2658662 h 5973007"/>
              <a:gd name="connsiteX30556" fmla="*/ 1013564 w 6884782"/>
              <a:gd name="connsiteY30556" fmla="*/ 2659746 h 5973007"/>
              <a:gd name="connsiteX30557" fmla="*/ 1009743 w 6884782"/>
              <a:gd name="connsiteY30557" fmla="*/ 2668421 h 5973007"/>
              <a:gd name="connsiteX30558" fmla="*/ 1011292 w 6884782"/>
              <a:gd name="connsiteY30558" fmla="*/ 2669195 h 5973007"/>
              <a:gd name="connsiteX30559" fmla="*/ 1014286 w 6884782"/>
              <a:gd name="connsiteY30559" fmla="*/ 2672603 h 5973007"/>
              <a:gd name="connsiteX30560" fmla="*/ 1014080 w 6884782"/>
              <a:gd name="connsiteY30560" fmla="*/ 2672913 h 5973007"/>
              <a:gd name="connsiteX30561" fmla="*/ 1018520 w 6884782"/>
              <a:gd name="connsiteY30561" fmla="*/ 2677869 h 5973007"/>
              <a:gd name="connsiteX30562" fmla="*/ 1020172 w 6884782"/>
              <a:gd name="connsiteY30562" fmla="*/ 2684685 h 5973007"/>
              <a:gd name="connsiteX30563" fmla="*/ 1003341 w 6884782"/>
              <a:gd name="connsiteY30563" fmla="*/ 2683755 h 5973007"/>
              <a:gd name="connsiteX30564" fmla="*/ 1001173 w 6884782"/>
              <a:gd name="connsiteY30564" fmla="*/ 2678489 h 5973007"/>
              <a:gd name="connsiteX30565" fmla="*/ 1000553 w 6884782"/>
              <a:gd name="connsiteY30565" fmla="*/ 2678799 h 5973007"/>
              <a:gd name="connsiteX30566" fmla="*/ 992809 w 6884782"/>
              <a:gd name="connsiteY30566" fmla="*/ 2680503 h 5973007"/>
              <a:gd name="connsiteX30567" fmla="*/ 988782 w 6884782"/>
              <a:gd name="connsiteY30567" fmla="*/ 2679728 h 5973007"/>
              <a:gd name="connsiteX30568" fmla="*/ 988679 w 6884782"/>
              <a:gd name="connsiteY30568" fmla="*/ 2679883 h 5973007"/>
              <a:gd name="connsiteX30569" fmla="*/ 982483 w 6884782"/>
              <a:gd name="connsiteY30569" fmla="*/ 2679418 h 5973007"/>
              <a:gd name="connsiteX30570" fmla="*/ 983722 w 6884782"/>
              <a:gd name="connsiteY30570" fmla="*/ 2677405 h 5973007"/>
              <a:gd name="connsiteX30571" fmla="*/ 980728 w 6884782"/>
              <a:gd name="connsiteY30571" fmla="*/ 2675236 h 5973007"/>
              <a:gd name="connsiteX30572" fmla="*/ 978869 w 6884782"/>
              <a:gd name="connsiteY30572" fmla="*/ 2672293 h 5973007"/>
              <a:gd name="connsiteX30573" fmla="*/ 976495 w 6884782"/>
              <a:gd name="connsiteY30573" fmla="*/ 2671518 h 5973007"/>
              <a:gd name="connsiteX30574" fmla="*/ 977011 w 6884782"/>
              <a:gd name="connsiteY30574" fmla="*/ 2673687 h 5973007"/>
              <a:gd name="connsiteX30575" fmla="*/ 975462 w 6884782"/>
              <a:gd name="connsiteY30575" fmla="*/ 2676630 h 5973007"/>
              <a:gd name="connsiteX30576" fmla="*/ 968750 w 6884782"/>
              <a:gd name="connsiteY30576" fmla="*/ 2671209 h 5973007"/>
              <a:gd name="connsiteX30577" fmla="*/ 971435 w 6884782"/>
              <a:gd name="connsiteY30577" fmla="*/ 2668575 h 5973007"/>
              <a:gd name="connsiteX30578" fmla="*/ 972674 w 6884782"/>
              <a:gd name="connsiteY30578" fmla="*/ 2669195 h 5973007"/>
              <a:gd name="connsiteX30579" fmla="*/ 968854 w 6884782"/>
              <a:gd name="connsiteY30579" fmla="*/ 2666562 h 5973007"/>
              <a:gd name="connsiteX30580" fmla="*/ 963897 w 6884782"/>
              <a:gd name="connsiteY30580" fmla="*/ 2653241 h 5973007"/>
              <a:gd name="connsiteX30581" fmla="*/ 967201 w 6884782"/>
              <a:gd name="connsiteY30581" fmla="*/ 2645186 h 5973007"/>
              <a:gd name="connsiteX30582" fmla="*/ 972364 w 6884782"/>
              <a:gd name="connsiteY30582" fmla="*/ 2641004 h 5973007"/>
              <a:gd name="connsiteX30583" fmla="*/ 977114 w 6884782"/>
              <a:gd name="connsiteY30583" fmla="*/ 2639300 h 5973007"/>
              <a:gd name="connsiteX30584" fmla="*/ 977940 w 6884782"/>
              <a:gd name="connsiteY30584" fmla="*/ 2638061 h 5973007"/>
              <a:gd name="connsiteX30585" fmla="*/ 978663 w 6884782"/>
              <a:gd name="connsiteY30585" fmla="*/ 2638835 h 5973007"/>
              <a:gd name="connsiteX30586" fmla="*/ 982690 w 6884782"/>
              <a:gd name="connsiteY30586" fmla="*/ 2637441 h 5973007"/>
              <a:gd name="connsiteX30587" fmla="*/ 994461 w 6884782"/>
              <a:gd name="connsiteY30587" fmla="*/ 2632950 h 5973007"/>
              <a:gd name="connsiteX30588" fmla="*/ 994358 w 6884782"/>
              <a:gd name="connsiteY30588" fmla="*/ 2634344 h 5973007"/>
              <a:gd name="connsiteX30589" fmla="*/ 995390 w 6884782"/>
              <a:gd name="connsiteY30589" fmla="*/ 2633569 h 5973007"/>
              <a:gd name="connsiteX30590" fmla="*/ 1000037 w 6884782"/>
              <a:gd name="connsiteY30590" fmla="*/ 2631710 h 5973007"/>
              <a:gd name="connsiteX30591" fmla="*/ 1114858 w 6884782"/>
              <a:gd name="connsiteY30591" fmla="*/ 2631246 h 5973007"/>
              <a:gd name="connsiteX30592" fmla="*/ 1116510 w 6884782"/>
              <a:gd name="connsiteY30592" fmla="*/ 2632175 h 5973007"/>
              <a:gd name="connsiteX30593" fmla="*/ 1112483 w 6884782"/>
              <a:gd name="connsiteY30593" fmla="*/ 2635893 h 5973007"/>
              <a:gd name="connsiteX30594" fmla="*/ 1108869 w 6884782"/>
              <a:gd name="connsiteY30594" fmla="*/ 2638216 h 5973007"/>
              <a:gd name="connsiteX30595" fmla="*/ 1095136 w 6884782"/>
              <a:gd name="connsiteY30595" fmla="*/ 2643328 h 5973007"/>
              <a:gd name="connsiteX30596" fmla="*/ 1099472 w 6884782"/>
              <a:gd name="connsiteY30596" fmla="*/ 2639455 h 5973007"/>
              <a:gd name="connsiteX30597" fmla="*/ 1099059 w 6884782"/>
              <a:gd name="connsiteY30597" fmla="*/ 2637287 h 5973007"/>
              <a:gd name="connsiteX30598" fmla="*/ 1101847 w 6884782"/>
              <a:gd name="connsiteY30598" fmla="*/ 2634189 h 5973007"/>
              <a:gd name="connsiteX30599" fmla="*/ 1102157 w 6884782"/>
              <a:gd name="connsiteY30599" fmla="*/ 2637597 h 5973007"/>
              <a:gd name="connsiteX30600" fmla="*/ 1101951 w 6884782"/>
              <a:gd name="connsiteY30600" fmla="*/ 2637906 h 5973007"/>
              <a:gd name="connsiteX30601" fmla="*/ 1106494 w 6884782"/>
              <a:gd name="connsiteY30601" fmla="*/ 2635273 h 5973007"/>
              <a:gd name="connsiteX30602" fmla="*/ 1111760 w 6884782"/>
              <a:gd name="connsiteY30602" fmla="*/ 2631400 h 5973007"/>
              <a:gd name="connsiteX30603" fmla="*/ 1114135 w 6884782"/>
              <a:gd name="connsiteY30603" fmla="*/ 2631865 h 5973007"/>
              <a:gd name="connsiteX30604" fmla="*/ 1114858 w 6884782"/>
              <a:gd name="connsiteY30604" fmla="*/ 2631246 h 5973007"/>
              <a:gd name="connsiteX30605" fmla="*/ 1424110 w 6884782"/>
              <a:gd name="connsiteY30605" fmla="*/ 2629387 h 5973007"/>
              <a:gd name="connsiteX30606" fmla="*/ 1426692 w 6884782"/>
              <a:gd name="connsiteY30606" fmla="*/ 2630936 h 5973007"/>
              <a:gd name="connsiteX30607" fmla="*/ 1419876 w 6884782"/>
              <a:gd name="connsiteY30607" fmla="*/ 2633414 h 5973007"/>
              <a:gd name="connsiteX30608" fmla="*/ 1424110 w 6884782"/>
              <a:gd name="connsiteY30608" fmla="*/ 2629387 h 5973007"/>
              <a:gd name="connsiteX30609" fmla="*/ 1152030 w 6884782"/>
              <a:gd name="connsiteY30609" fmla="*/ 2626908 h 5973007"/>
              <a:gd name="connsiteX30610" fmla="*/ 1157296 w 6884782"/>
              <a:gd name="connsiteY30610" fmla="*/ 2636977 h 5973007"/>
              <a:gd name="connsiteX30611" fmla="*/ 1156676 w 6884782"/>
              <a:gd name="connsiteY30611" fmla="*/ 2639300 h 5973007"/>
              <a:gd name="connsiteX30612" fmla="*/ 1156883 w 6884782"/>
              <a:gd name="connsiteY30612" fmla="*/ 2641159 h 5973007"/>
              <a:gd name="connsiteX30613" fmla="*/ 1153889 w 6884782"/>
              <a:gd name="connsiteY30613" fmla="*/ 2645651 h 5973007"/>
              <a:gd name="connsiteX30614" fmla="*/ 1149448 w 6884782"/>
              <a:gd name="connsiteY30614" fmla="*/ 2629232 h 5973007"/>
              <a:gd name="connsiteX30615" fmla="*/ 1149965 w 6884782"/>
              <a:gd name="connsiteY30615" fmla="*/ 2627373 h 5973007"/>
              <a:gd name="connsiteX30616" fmla="*/ 1152030 w 6884782"/>
              <a:gd name="connsiteY30616" fmla="*/ 2626908 h 5973007"/>
              <a:gd name="connsiteX30617" fmla="*/ 1155954 w 6884782"/>
              <a:gd name="connsiteY30617" fmla="*/ 2626134 h 5973007"/>
              <a:gd name="connsiteX30618" fmla="*/ 1156780 w 6884782"/>
              <a:gd name="connsiteY30618" fmla="*/ 2626134 h 5973007"/>
              <a:gd name="connsiteX30619" fmla="*/ 1155954 w 6884782"/>
              <a:gd name="connsiteY30619" fmla="*/ 2627683 h 5973007"/>
              <a:gd name="connsiteX30620" fmla="*/ 1155644 w 6884782"/>
              <a:gd name="connsiteY30620" fmla="*/ 2627218 h 5973007"/>
              <a:gd name="connsiteX30621" fmla="*/ 1155954 w 6884782"/>
              <a:gd name="connsiteY30621" fmla="*/ 2626134 h 5973007"/>
              <a:gd name="connsiteX30622" fmla="*/ 1117646 w 6884782"/>
              <a:gd name="connsiteY30622" fmla="*/ 2625669 h 5973007"/>
              <a:gd name="connsiteX30623" fmla="*/ 1140775 w 6884782"/>
              <a:gd name="connsiteY30623" fmla="*/ 2635273 h 5973007"/>
              <a:gd name="connsiteX30624" fmla="*/ 1145215 w 6884782"/>
              <a:gd name="connsiteY30624" fmla="*/ 2641159 h 5973007"/>
              <a:gd name="connsiteX30625" fmla="*/ 1128488 w 6884782"/>
              <a:gd name="connsiteY30625" fmla="*/ 2638990 h 5973007"/>
              <a:gd name="connsiteX30626" fmla="*/ 1121260 w 6884782"/>
              <a:gd name="connsiteY30626" fmla="*/ 2653861 h 5973007"/>
              <a:gd name="connsiteX30627" fmla="*/ 1119401 w 6884782"/>
              <a:gd name="connsiteY30627" fmla="*/ 2650143 h 5973007"/>
              <a:gd name="connsiteX30628" fmla="*/ 1116200 w 6884782"/>
              <a:gd name="connsiteY30628" fmla="*/ 2650453 h 5973007"/>
              <a:gd name="connsiteX30629" fmla="*/ 1115374 w 6884782"/>
              <a:gd name="connsiteY30629" fmla="*/ 2649833 h 5973007"/>
              <a:gd name="connsiteX30630" fmla="*/ 1114238 w 6884782"/>
              <a:gd name="connsiteY30630" fmla="*/ 2650608 h 5973007"/>
              <a:gd name="connsiteX30631" fmla="*/ 1113205 w 6884782"/>
              <a:gd name="connsiteY30631" fmla="*/ 2651227 h 5973007"/>
              <a:gd name="connsiteX30632" fmla="*/ 1111140 w 6884782"/>
              <a:gd name="connsiteY30632" fmla="*/ 2650143 h 5973007"/>
              <a:gd name="connsiteX30633" fmla="*/ 1111244 w 6884782"/>
              <a:gd name="connsiteY30633" fmla="*/ 2648594 h 5973007"/>
              <a:gd name="connsiteX30634" fmla="*/ 1109178 w 6884782"/>
              <a:gd name="connsiteY30634" fmla="*/ 2648129 h 5973007"/>
              <a:gd name="connsiteX30635" fmla="*/ 1114032 w 6884782"/>
              <a:gd name="connsiteY30635" fmla="*/ 2643328 h 5973007"/>
              <a:gd name="connsiteX30636" fmla="*/ 1113309 w 6884782"/>
              <a:gd name="connsiteY30636" fmla="*/ 2645341 h 5973007"/>
              <a:gd name="connsiteX30637" fmla="*/ 1114755 w 6884782"/>
              <a:gd name="connsiteY30637" fmla="*/ 2643792 h 5973007"/>
              <a:gd name="connsiteX30638" fmla="*/ 1120021 w 6884782"/>
              <a:gd name="connsiteY30638" fmla="*/ 2642243 h 5973007"/>
              <a:gd name="connsiteX30639" fmla="*/ 1119917 w 6884782"/>
              <a:gd name="connsiteY30639" fmla="*/ 2644412 h 5973007"/>
              <a:gd name="connsiteX30640" fmla="*/ 1121053 w 6884782"/>
              <a:gd name="connsiteY30640" fmla="*/ 2640229 h 5973007"/>
              <a:gd name="connsiteX30641" fmla="*/ 1121776 w 6884782"/>
              <a:gd name="connsiteY30641" fmla="*/ 2634963 h 5973007"/>
              <a:gd name="connsiteX30642" fmla="*/ 1117439 w 6884782"/>
              <a:gd name="connsiteY30642" fmla="*/ 2629387 h 5973007"/>
              <a:gd name="connsiteX30643" fmla="*/ 1117646 w 6884782"/>
              <a:gd name="connsiteY30643" fmla="*/ 2625669 h 5973007"/>
              <a:gd name="connsiteX30644" fmla="*/ 628004 w 6884782"/>
              <a:gd name="connsiteY30644" fmla="*/ 2624895 h 5973007"/>
              <a:gd name="connsiteX30645" fmla="*/ 629967 w 6884782"/>
              <a:gd name="connsiteY30645" fmla="*/ 2627064 h 5973007"/>
              <a:gd name="connsiteX30646" fmla="*/ 620880 w 6884782"/>
              <a:gd name="connsiteY30646" fmla="*/ 2641159 h 5973007"/>
              <a:gd name="connsiteX30647" fmla="*/ 602087 w 6884782"/>
              <a:gd name="connsiteY30647" fmla="*/ 2640539 h 5973007"/>
              <a:gd name="connsiteX30648" fmla="*/ 601364 w 6884782"/>
              <a:gd name="connsiteY30648" fmla="*/ 2635428 h 5973007"/>
              <a:gd name="connsiteX30649" fmla="*/ 610967 w 6884782"/>
              <a:gd name="connsiteY30649" fmla="*/ 2627064 h 5973007"/>
              <a:gd name="connsiteX30650" fmla="*/ 617163 w 6884782"/>
              <a:gd name="connsiteY30650" fmla="*/ 2625360 h 5973007"/>
              <a:gd name="connsiteX30651" fmla="*/ 628004 w 6884782"/>
              <a:gd name="connsiteY30651" fmla="*/ 2624895 h 5973007"/>
              <a:gd name="connsiteX30652" fmla="*/ 1385750 w 6884782"/>
              <a:gd name="connsiteY30652" fmla="*/ 2624527 h 5973007"/>
              <a:gd name="connsiteX30653" fmla="*/ 1391791 w 6884782"/>
              <a:gd name="connsiteY30653" fmla="*/ 2624585 h 5973007"/>
              <a:gd name="connsiteX30654" fmla="*/ 1394166 w 6884782"/>
              <a:gd name="connsiteY30654" fmla="*/ 2627838 h 5973007"/>
              <a:gd name="connsiteX30655" fmla="*/ 1391688 w 6884782"/>
              <a:gd name="connsiteY30655" fmla="*/ 2634808 h 5973007"/>
              <a:gd name="connsiteX30656" fmla="*/ 1382807 w 6884782"/>
              <a:gd name="connsiteY30656" fmla="*/ 2632484 h 5973007"/>
              <a:gd name="connsiteX30657" fmla="*/ 1385750 w 6884782"/>
              <a:gd name="connsiteY30657" fmla="*/ 2624527 h 5973007"/>
              <a:gd name="connsiteX30658" fmla="*/ 1373140 w 6884782"/>
              <a:gd name="connsiteY30658" fmla="*/ 2623462 h 5973007"/>
              <a:gd name="connsiteX30659" fmla="*/ 1381775 w 6884782"/>
              <a:gd name="connsiteY30659" fmla="*/ 2629387 h 5973007"/>
              <a:gd name="connsiteX30660" fmla="*/ 1360917 w 6884782"/>
              <a:gd name="connsiteY30660" fmla="*/ 2629387 h 5973007"/>
              <a:gd name="connsiteX30661" fmla="*/ 1362260 w 6884782"/>
              <a:gd name="connsiteY30661" fmla="*/ 2625205 h 5973007"/>
              <a:gd name="connsiteX30662" fmla="*/ 1373140 w 6884782"/>
              <a:gd name="connsiteY30662" fmla="*/ 2623462 h 5973007"/>
              <a:gd name="connsiteX30663" fmla="*/ 1092554 w 6884782"/>
              <a:gd name="connsiteY30663" fmla="*/ 2622417 h 5973007"/>
              <a:gd name="connsiteX30664" fmla="*/ 1094929 w 6884782"/>
              <a:gd name="connsiteY30664" fmla="*/ 2623656 h 5973007"/>
              <a:gd name="connsiteX30665" fmla="*/ 1100298 w 6884782"/>
              <a:gd name="connsiteY30665" fmla="*/ 2633259 h 5973007"/>
              <a:gd name="connsiteX30666" fmla="*/ 1092554 w 6884782"/>
              <a:gd name="connsiteY30666" fmla="*/ 2622417 h 5973007"/>
              <a:gd name="connsiteX30667" fmla="*/ 1281823 w 6884782"/>
              <a:gd name="connsiteY30667" fmla="*/ 2621177 h 5973007"/>
              <a:gd name="connsiteX30668" fmla="*/ 1282959 w 6884782"/>
              <a:gd name="connsiteY30668" fmla="*/ 2622417 h 5973007"/>
              <a:gd name="connsiteX30669" fmla="*/ 1285127 w 6884782"/>
              <a:gd name="connsiteY30669" fmla="*/ 2625050 h 5973007"/>
              <a:gd name="connsiteX30670" fmla="*/ 1280481 w 6884782"/>
              <a:gd name="connsiteY30670" fmla="*/ 2621332 h 5973007"/>
              <a:gd name="connsiteX30671" fmla="*/ 1281823 w 6884782"/>
              <a:gd name="connsiteY30671" fmla="*/ 2621177 h 5973007"/>
              <a:gd name="connsiteX30672" fmla="*/ 5051859 w 6884782"/>
              <a:gd name="connsiteY30672" fmla="*/ 2620735 h 5973007"/>
              <a:gd name="connsiteX30673" fmla="*/ 5043535 w 6884782"/>
              <a:gd name="connsiteY30673" fmla="*/ 2654594 h 5973007"/>
              <a:gd name="connsiteX30674" fmla="*/ 5030730 w 6884782"/>
              <a:gd name="connsiteY30674" fmla="*/ 2661708 h 5973007"/>
              <a:gd name="connsiteX30675" fmla="*/ 5033078 w 6884782"/>
              <a:gd name="connsiteY30675" fmla="*/ 2663415 h 5973007"/>
              <a:gd name="connsiteX30676" fmla="*/ 5027956 w 6884782"/>
              <a:gd name="connsiteY30676" fmla="*/ 2663273 h 5973007"/>
              <a:gd name="connsiteX30677" fmla="*/ 5027742 w 6884782"/>
              <a:gd name="connsiteY30677" fmla="*/ 2663415 h 5973007"/>
              <a:gd name="connsiteX30678" fmla="*/ 5027529 w 6884782"/>
              <a:gd name="connsiteY30678" fmla="*/ 2663273 h 5973007"/>
              <a:gd name="connsiteX30679" fmla="*/ 5007681 w 6884782"/>
              <a:gd name="connsiteY30679" fmla="*/ 2662562 h 5973007"/>
              <a:gd name="connsiteX30680" fmla="*/ 4982071 w 6884782"/>
              <a:gd name="connsiteY30680" fmla="*/ 2652461 h 5973007"/>
              <a:gd name="connsiteX30681" fmla="*/ 4995729 w 6884782"/>
              <a:gd name="connsiteY30681" fmla="*/ 2646912 h 5973007"/>
              <a:gd name="connsiteX30682" fmla="*/ 5006614 w 6884782"/>
              <a:gd name="connsiteY30682" fmla="*/ 2647908 h 5973007"/>
              <a:gd name="connsiteX30683" fmla="*/ 5013230 w 6884782"/>
              <a:gd name="connsiteY30683" fmla="*/ 2650611 h 5973007"/>
              <a:gd name="connsiteX30684" fmla="*/ 5008962 w 6884782"/>
              <a:gd name="connsiteY30684" fmla="*/ 2642787 h 5973007"/>
              <a:gd name="connsiteX30685" fmla="*/ 5051859 w 6884782"/>
              <a:gd name="connsiteY30685" fmla="*/ 2620735 h 5973007"/>
              <a:gd name="connsiteX30686" fmla="*/ 961109 w 6884782"/>
              <a:gd name="connsiteY30686" fmla="*/ 2618544 h 5973007"/>
              <a:gd name="connsiteX30687" fmla="*/ 962658 w 6884782"/>
              <a:gd name="connsiteY30687" fmla="*/ 2619783 h 5973007"/>
              <a:gd name="connsiteX30688" fmla="*/ 962555 w 6884782"/>
              <a:gd name="connsiteY30688" fmla="*/ 2620558 h 5973007"/>
              <a:gd name="connsiteX30689" fmla="*/ 962038 w 6884782"/>
              <a:gd name="connsiteY30689" fmla="*/ 2623965 h 5973007"/>
              <a:gd name="connsiteX30690" fmla="*/ 957392 w 6884782"/>
              <a:gd name="connsiteY30690" fmla="*/ 2625360 h 5973007"/>
              <a:gd name="connsiteX30691" fmla="*/ 956050 w 6884782"/>
              <a:gd name="connsiteY30691" fmla="*/ 2622417 h 5973007"/>
              <a:gd name="connsiteX30692" fmla="*/ 956463 w 6884782"/>
              <a:gd name="connsiteY30692" fmla="*/ 2620248 h 5973007"/>
              <a:gd name="connsiteX30693" fmla="*/ 961109 w 6884782"/>
              <a:gd name="connsiteY30693" fmla="*/ 2618544 h 5973007"/>
              <a:gd name="connsiteX30694" fmla="*/ 898846 w 6884782"/>
              <a:gd name="connsiteY30694" fmla="*/ 2618234 h 5973007"/>
              <a:gd name="connsiteX30695" fmla="*/ 903389 w 6884782"/>
              <a:gd name="connsiteY30695" fmla="*/ 2632950 h 5973007"/>
              <a:gd name="connsiteX30696" fmla="*/ 898639 w 6884782"/>
              <a:gd name="connsiteY30696" fmla="*/ 2633879 h 5973007"/>
              <a:gd name="connsiteX30697" fmla="*/ 896470 w 6884782"/>
              <a:gd name="connsiteY30697" fmla="*/ 2632175 h 5973007"/>
              <a:gd name="connsiteX30698" fmla="*/ 894612 w 6884782"/>
              <a:gd name="connsiteY30698" fmla="*/ 2633569 h 5973007"/>
              <a:gd name="connsiteX30699" fmla="*/ 892134 w 6884782"/>
              <a:gd name="connsiteY30699" fmla="*/ 2631091 h 5973007"/>
              <a:gd name="connsiteX30700" fmla="*/ 894096 w 6884782"/>
              <a:gd name="connsiteY30700" fmla="*/ 2627683 h 5973007"/>
              <a:gd name="connsiteX30701" fmla="*/ 894302 w 6884782"/>
              <a:gd name="connsiteY30701" fmla="*/ 2625050 h 5973007"/>
              <a:gd name="connsiteX30702" fmla="*/ 894612 w 6884782"/>
              <a:gd name="connsiteY30702" fmla="*/ 2619319 h 5973007"/>
              <a:gd name="connsiteX30703" fmla="*/ 898846 w 6884782"/>
              <a:gd name="connsiteY30703" fmla="*/ 2618234 h 5973007"/>
              <a:gd name="connsiteX30704" fmla="*/ 5205521 w 6884782"/>
              <a:gd name="connsiteY30704" fmla="*/ 2618174 h 5973007"/>
              <a:gd name="connsiteX30705" fmla="*/ 5177136 w 6884782"/>
              <a:gd name="connsiteY30705" fmla="*/ 2640368 h 5973007"/>
              <a:gd name="connsiteX30706" fmla="*/ 5190581 w 6884782"/>
              <a:gd name="connsiteY30706" fmla="*/ 2639656 h 5973007"/>
              <a:gd name="connsiteX30707" fmla="*/ 5186740 w 6884782"/>
              <a:gd name="connsiteY30707" fmla="*/ 2646343 h 5973007"/>
              <a:gd name="connsiteX30708" fmla="*/ 5186527 w 6884782"/>
              <a:gd name="connsiteY30708" fmla="*/ 2647055 h 5973007"/>
              <a:gd name="connsiteX30709" fmla="*/ 5188234 w 6884782"/>
              <a:gd name="connsiteY30709" fmla="*/ 2647908 h 5973007"/>
              <a:gd name="connsiteX30710" fmla="*/ 5185460 w 6884782"/>
              <a:gd name="connsiteY30710" fmla="*/ 2652319 h 5973007"/>
              <a:gd name="connsiteX30711" fmla="*/ 5191436 w 6884782"/>
              <a:gd name="connsiteY30711" fmla="*/ 2646343 h 5973007"/>
              <a:gd name="connsiteX30712" fmla="*/ 5194423 w 6884782"/>
              <a:gd name="connsiteY30712" fmla="*/ 2631547 h 5973007"/>
              <a:gd name="connsiteX30713" fmla="*/ 5204027 w 6884782"/>
              <a:gd name="connsiteY30713" fmla="*/ 2626283 h 5973007"/>
              <a:gd name="connsiteX30714" fmla="*/ 5205521 w 6884782"/>
              <a:gd name="connsiteY30714" fmla="*/ 2618174 h 5973007"/>
              <a:gd name="connsiteX30715" fmla="*/ 1249400 w 6884782"/>
              <a:gd name="connsiteY30715" fmla="*/ 2617924 h 5973007"/>
              <a:gd name="connsiteX30716" fmla="*/ 1269948 w 6884782"/>
              <a:gd name="connsiteY30716" fmla="*/ 2631091 h 5973007"/>
              <a:gd name="connsiteX30717" fmla="*/ 1266748 w 6884782"/>
              <a:gd name="connsiteY30717" fmla="*/ 2639920 h 5973007"/>
              <a:gd name="connsiteX30718" fmla="*/ 1244134 w 6884782"/>
              <a:gd name="connsiteY30718" fmla="*/ 2630316 h 5973007"/>
              <a:gd name="connsiteX30719" fmla="*/ 1249400 w 6884782"/>
              <a:gd name="connsiteY30719" fmla="*/ 2617924 h 5973007"/>
              <a:gd name="connsiteX30720" fmla="*/ 735804 w 6884782"/>
              <a:gd name="connsiteY30720" fmla="*/ 2617770 h 5973007"/>
              <a:gd name="connsiteX30721" fmla="*/ 737972 w 6884782"/>
              <a:gd name="connsiteY30721" fmla="*/ 2618544 h 5973007"/>
              <a:gd name="connsiteX30722" fmla="*/ 731054 w 6884782"/>
              <a:gd name="connsiteY30722" fmla="*/ 2622417 h 5973007"/>
              <a:gd name="connsiteX30723" fmla="*/ 735804 w 6884782"/>
              <a:gd name="connsiteY30723" fmla="*/ 2617770 h 5973007"/>
              <a:gd name="connsiteX30724" fmla="*/ 6558816 w 6884782"/>
              <a:gd name="connsiteY30724" fmla="*/ 2617463 h 5973007"/>
              <a:gd name="connsiteX30725" fmla="*/ 6568206 w 6884782"/>
              <a:gd name="connsiteY30725" fmla="*/ 2622585 h 5973007"/>
              <a:gd name="connsiteX30726" fmla="*/ 6549212 w 6884782"/>
              <a:gd name="connsiteY30726" fmla="*/ 2623011 h 5973007"/>
              <a:gd name="connsiteX30727" fmla="*/ 6558816 w 6884782"/>
              <a:gd name="connsiteY30727" fmla="*/ 2617463 h 5973007"/>
              <a:gd name="connsiteX30728" fmla="*/ 1304230 w 6884782"/>
              <a:gd name="connsiteY30728" fmla="*/ 2616840 h 5973007"/>
              <a:gd name="connsiteX30729" fmla="*/ 1318892 w 6884782"/>
              <a:gd name="connsiteY30729" fmla="*/ 2641933 h 5973007"/>
              <a:gd name="connsiteX30730" fmla="*/ 1301442 w 6884782"/>
              <a:gd name="connsiteY30730" fmla="*/ 2623656 h 5973007"/>
              <a:gd name="connsiteX30731" fmla="*/ 1304230 w 6884782"/>
              <a:gd name="connsiteY30731" fmla="*/ 2616840 h 5973007"/>
              <a:gd name="connsiteX30732" fmla="*/ 762548 w 6884782"/>
              <a:gd name="connsiteY30732" fmla="*/ 2614207 h 5973007"/>
              <a:gd name="connsiteX30733" fmla="*/ 765232 w 6884782"/>
              <a:gd name="connsiteY30733" fmla="*/ 2614517 h 5973007"/>
              <a:gd name="connsiteX30734" fmla="*/ 768846 w 6884782"/>
              <a:gd name="connsiteY30734" fmla="*/ 2616220 h 5973007"/>
              <a:gd name="connsiteX30735" fmla="*/ 764922 w 6884782"/>
              <a:gd name="connsiteY30735" fmla="*/ 2623501 h 5973007"/>
              <a:gd name="connsiteX30736" fmla="*/ 759553 w 6884782"/>
              <a:gd name="connsiteY30736" fmla="*/ 2623501 h 5973007"/>
              <a:gd name="connsiteX30737" fmla="*/ 758211 w 6884782"/>
              <a:gd name="connsiteY30737" fmla="*/ 2621022 h 5973007"/>
              <a:gd name="connsiteX30738" fmla="*/ 759450 w 6884782"/>
              <a:gd name="connsiteY30738" fmla="*/ 2618234 h 5973007"/>
              <a:gd name="connsiteX30739" fmla="*/ 762548 w 6884782"/>
              <a:gd name="connsiteY30739" fmla="*/ 2614207 h 5973007"/>
              <a:gd name="connsiteX30740" fmla="*/ 1134993 w 6884782"/>
              <a:gd name="connsiteY30740" fmla="*/ 2613588 h 5973007"/>
              <a:gd name="connsiteX30741" fmla="*/ 1142427 w 6884782"/>
              <a:gd name="connsiteY30741" fmla="*/ 2615756 h 5973007"/>
              <a:gd name="connsiteX30742" fmla="*/ 1141601 w 6884782"/>
              <a:gd name="connsiteY30742" fmla="*/ 2616685 h 5973007"/>
              <a:gd name="connsiteX30743" fmla="*/ 1129004 w 6884782"/>
              <a:gd name="connsiteY30743" fmla="*/ 2614672 h 5973007"/>
              <a:gd name="connsiteX30744" fmla="*/ 1134993 w 6884782"/>
              <a:gd name="connsiteY30744" fmla="*/ 2613588 h 5973007"/>
              <a:gd name="connsiteX30745" fmla="*/ 1347804 w 6884782"/>
              <a:gd name="connsiteY30745" fmla="*/ 2612968 h 5973007"/>
              <a:gd name="connsiteX30746" fmla="*/ 1347597 w 6884782"/>
              <a:gd name="connsiteY30746" fmla="*/ 2621022 h 5973007"/>
              <a:gd name="connsiteX30747" fmla="*/ 1345842 w 6884782"/>
              <a:gd name="connsiteY30747" fmla="*/ 2624275 h 5973007"/>
              <a:gd name="connsiteX30748" fmla="*/ 1346255 w 6884782"/>
              <a:gd name="connsiteY30748" fmla="*/ 2624275 h 5973007"/>
              <a:gd name="connsiteX30749" fmla="*/ 1347494 w 6884782"/>
              <a:gd name="connsiteY30749" fmla="*/ 2627064 h 5973007"/>
              <a:gd name="connsiteX30750" fmla="*/ 1345532 w 6884782"/>
              <a:gd name="connsiteY30750" fmla="*/ 2630471 h 5973007"/>
              <a:gd name="connsiteX30751" fmla="*/ 1342228 w 6884782"/>
              <a:gd name="connsiteY30751" fmla="*/ 2632330 h 5973007"/>
              <a:gd name="connsiteX30752" fmla="*/ 1339956 w 6884782"/>
              <a:gd name="connsiteY30752" fmla="*/ 2633259 h 5973007"/>
              <a:gd name="connsiteX30753" fmla="*/ 1335000 w 6884782"/>
              <a:gd name="connsiteY30753" fmla="*/ 2638061 h 5973007"/>
              <a:gd name="connsiteX30754" fmla="*/ 1326533 w 6884782"/>
              <a:gd name="connsiteY30754" fmla="*/ 2639455 h 5973007"/>
              <a:gd name="connsiteX30755" fmla="*/ 1347804 w 6884782"/>
              <a:gd name="connsiteY30755" fmla="*/ 2612968 h 5973007"/>
              <a:gd name="connsiteX30756" fmla="*/ 1339027 w 6884782"/>
              <a:gd name="connsiteY30756" fmla="*/ 2612813 h 5973007"/>
              <a:gd name="connsiteX30757" fmla="*/ 1338821 w 6884782"/>
              <a:gd name="connsiteY30757" fmla="*/ 2617150 h 5973007"/>
              <a:gd name="connsiteX30758" fmla="*/ 1335206 w 6884782"/>
              <a:gd name="connsiteY30758" fmla="*/ 2616375 h 5973007"/>
              <a:gd name="connsiteX30759" fmla="*/ 1334484 w 6884782"/>
              <a:gd name="connsiteY30759" fmla="*/ 2613897 h 5973007"/>
              <a:gd name="connsiteX30760" fmla="*/ 1335413 w 6884782"/>
              <a:gd name="connsiteY30760" fmla="*/ 2613897 h 5973007"/>
              <a:gd name="connsiteX30761" fmla="*/ 1339027 w 6884782"/>
              <a:gd name="connsiteY30761" fmla="*/ 2612813 h 5973007"/>
              <a:gd name="connsiteX30762" fmla="*/ 785573 w 6884782"/>
              <a:gd name="connsiteY30762" fmla="*/ 2612813 h 5973007"/>
              <a:gd name="connsiteX30763" fmla="*/ 798274 w 6884782"/>
              <a:gd name="connsiteY30763" fmla="*/ 2625979 h 5973007"/>
              <a:gd name="connsiteX30764" fmla="*/ 790736 w 6884782"/>
              <a:gd name="connsiteY30764" fmla="*/ 2651227 h 5973007"/>
              <a:gd name="connsiteX30765" fmla="*/ 788052 w 6884782"/>
              <a:gd name="connsiteY30765" fmla="*/ 2650762 h 5973007"/>
              <a:gd name="connsiteX30766" fmla="*/ 776074 w 6884782"/>
              <a:gd name="connsiteY30766" fmla="*/ 2631246 h 5973007"/>
              <a:gd name="connsiteX30767" fmla="*/ 785573 w 6884782"/>
              <a:gd name="connsiteY30767" fmla="*/ 2612813 h 5973007"/>
              <a:gd name="connsiteX30768" fmla="*/ 1127352 w 6884782"/>
              <a:gd name="connsiteY30768" fmla="*/ 2612193 h 5973007"/>
              <a:gd name="connsiteX30769" fmla="*/ 1119711 w 6884782"/>
              <a:gd name="connsiteY30769" fmla="*/ 2625205 h 5973007"/>
              <a:gd name="connsiteX30770" fmla="*/ 1118885 w 6884782"/>
              <a:gd name="connsiteY30770" fmla="*/ 2625360 h 5973007"/>
              <a:gd name="connsiteX30771" fmla="*/ 1118162 w 6884782"/>
              <a:gd name="connsiteY30771" fmla="*/ 2623501 h 5973007"/>
              <a:gd name="connsiteX30772" fmla="*/ 1120021 w 6884782"/>
              <a:gd name="connsiteY30772" fmla="*/ 2620093 h 5973007"/>
              <a:gd name="connsiteX30773" fmla="*/ 1126422 w 6884782"/>
              <a:gd name="connsiteY30773" fmla="*/ 2613897 h 5973007"/>
              <a:gd name="connsiteX30774" fmla="*/ 1127352 w 6884782"/>
              <a:gd name="connsiteY30774" fmla="*/ 2612193 h 5973007"/>
              <a:gd name="connsiteX30775" fmla="*/ 1360401 w 6884782"/>
              <a:gd name="connsiteY30775" fmla="*/ 2610644 h 5973007"/>
              <a:gd name="connsiteX30776" fmla="*/ 1365254 w 6884782"/>
              <a:gd name="connsiteY30776" fmla="*/ 2610954 h 5973007"/>
              <a:gd name="connsiteX30777" fmla="*/ 1360298 w 6884782"/>
              <a:gd name="connsiteY30777" fmla="*/ 2613278 h 5973007"/>
              <a:gd name="connsiteX30778" fmla="*/ 1360401 w 6884782"/>
              <a:gd name="connsiteY30778" fmla="*/ 2610644 h 5973007"/>
              <a:gd name="connsiteX30779" fmla="*/ 713294 w 6884782"/>
              <a:gd name="connsiteY30779" fmla="*/ 2610625 h 5973007"/>
              <a:gd name="connsiteX30780" fmla="*/ 722587 w 6884782"/>
              <a:gd name="connsiteY30780" fmla="*/ 2612348 h 5973007"/>
              <a:gd name="connsiteX30781" fmla="*/ 724343 w 6884782"/>
              <a:gd name="connsiteY30781" fmla="*/ 2613742 h 5973007"/>
              <a:gd name="connsiteX30782" fmla="*/ 727957 w 6884782"/>
              <a:gd name="connsiteY30782" fmla="*/ 2614827 h 5973007"/>
              <a:gd name="connsiteX30783" fmla="*/ 724136 w 6884782"/>
              <a:gd name="connsiteY30783" fmla="*/ 2625514 h 5973007"/>
              <a:gd name="connsiteX30784" fmla="*/ 712778 w 6884782"/>
              <a:gd name="connsiteY30784" fmla="*/ 2631246 h 5973007"/>
              <a:gd name="connsiteX30785" fmla="*/ 710093 w 6884782"/>
              <a:gd name="connsiteY30785" fmla="*/ 2630316 h 5973007"/>
              <a:gd name="connsiteX30786" fmla="*/ 708338 w 6884782"/>
              <a:gd name="connsiteY30786" fmla="*/ 2632330 h 5973007"/>
              <a:gd name="connsiteX30787" fmla="*/ 695534 w 6884782"/>
              <a:gd name="connsiteY30787" fmla="*/ 2630316 h 5973007"/>
              <a:gd name="connsiteX30788" fmla="*/ 693882 w 6884782"/>
              <a:gd name="connsiteY30788" fmla="*/ 2622571 h 5973007"/>
              <a:gd name="connsiteX30789" fmla="*/ 695121 w 6884782"/>
              <a:gd name="connsiteY30789" fmla="*/ 2619628 h 5973007"/>
              <a:gd name="connsiteX30790" fmla="*/ 703588 w 6884782"/>
              <a:gd name="connsiteY30790" fmla="*/ 2623501 h 5973007"/>
              <a:gd name="connsiteX30791" fmla="*/ 705860 w 6884782"/>
              <a:gd name="connsiteY30791" fmla="*/ 2624275 h 5973007"/>
              <a:gd name="connsiteX30792" fmla="*/ 705240 w 6884782"/>
              <a:gd name="connsiteY30792" fmla="*/ 2621642 h 5973007"/>
              <a:gd name="connsiteX30793" fmla="*/ 707099 w 6884782"/>
              <a:gd name="connsiteY30793" fmla="*/ 2616220 h 5973007"/>
              <a:gd name="connsiteX30794" fmla="*/ 713294 w 6884782"/>
              <a:gd name="connsiteY30794" fmla="*/ 2610625 h 5973007"/>
              <a:gd name="connsiteX30795" fmla="*/ 922595 w 6884782"/>
              <a:gd name="connsiteY30795" fmla="*/ 2610025 h 5973007"/>
              <a:gd name="connsiteX30796" fmla="*/ 920942 w 6884782"/>
              <a:gd name="connsiteY30796" fmla="*/ 2615292 h 5973007"/>
              <a:gd name="connsiteX30797" fmla="*/ 918774 w 6884782"/>
              <a:gd name="connsiteY30797" fmla="*/ 2613432 h 5973007"/>
              <a:gd name="connsiteX30798" fmla="*/ 922595 w 6884782"/>
              <a:gd name="connsiteY30798" fmla="*/ 2610025 h 5973007"/>
              <a:gd name="connsiteX30799" fmla="*/ 1348320 w 6884782"/>
              <a:gd name="connsiteY30799" fmla="*/ 2607237 h 5973007"/>
              <a:gd name="connsiteX30800" fmla="*/ 1349146 w 6884782"/>
              <a:gd name="connsiteY30800" fmla="*/ 2608631 h 5973007"/>
              <a:gd name="connsiteX30801" fmla="*/ 1347288 w 6884782"/>
              <a:gd name="connsiteY30801" fmla="*/ 2608786 h 5973007"/>
              <a:gd name="connsiteX30802" fmla="*/ 1346152 w 6884782"/>
              <a:gd name="connsiteY30802" fmla="*/ 2608476 h 5973007"/>
              <a:gd name="connsiteX30803" fmla="*/ 1348320 w 6884782"/>
              <a:gd name="connsiteY30803" fmla="*/ 2607237 h 5973007"/>
              <a:gd name="connsiteX30804" fmla="*/ 837822 w 6884782"/>
              <a:gd name="connsiteY30804" fmla="*/ 2606927 h 5973007"/>
              <a:gd name="connsiteX30805" fmla="*/ 846288 w 6884782"/>
              <a:gd name="connsiteY30805" fmla="*/ 2611419 h 5973007"/>
              <a:gd name="connsiteX30806" fmla="*/ 840712 w 6884782"/>
              <a:gd name="connsiteY30806" fmla="*/ 2613278 h 5973007"/>
              <a:gd name="connsiteX30807" fmla="*/ 835033 w 6884782"/>
              <a:gd name="connsiteY30807" fmla="*/ 2608786 h 5973007"/>
              <a:gd name="connsiteX30808" fmla="*/ 837822 w 6884782"/>
              <a:gd name="connsiteY30808" fmla="*/ 2606927 h 5973007"/>
              <a:gd name="connsiteX30809" fmla="*/ 1130862 w 6884782"/>
              <a:gd name="connsiteY30809" fmla="*/ 2606152 h 5973007"/>
              <a:gd name="connsiteX30810" fmla="*/ 1133444 w 6884782"/>
              <a:gd name="connsiteY30810" fmla="*/ 2606927 h 5973007"/>
              <a:gd name="connsiteX30811" fmla="*/ 1129830 w 6884782"/>
              <a:gd name="connsiteY30811" fmla="*/ 2610335 h 5973007"/>
              <a:gd name="connsiteX30812" fmla="*/ 1128900 w 6884782"/>
              <a:gd name="connsiteY30812" fmla="*/ 2612193 h 5973007"/>
              <a:gd name="connsiteX30813" fmla="*/ 1128178 w 6884782"/>
              <a:gd name="connsiteY30813" fmla="*/ 2610489 h 5973007"/>
              <a:gd name="connsiteX30814" fmla="*/ 1130759 w 6884782"/>
              <a:gd name="connsiteY30814" fmla="*/ 2608786 h 5973007"/>
              <a:gd name="connsiteX30815" fmla="*/ 1130036 w 6884782"/>
              <a:gd name="connsiteY30815" fmla="*/ 2607082 h 5973007"/>
              <a:gd name="connsiteX30816" fmla="*/ 1130862 w 6884782"/>
              <a:gd name="connsiteY30816" fmla="*/ 2606152 h 5973007"/>
              <a:gd name="connsiteX30817" fmla="*/ 949854 w 6884782"/>
              <a:gd name="connsiteY30817" fmla="*/ 2605378 h 5973007"/>
              <a:gd name="connsiteX30818" fmla="*/ 951713 w 6884782"/>
              <a:gd name="connsiteY30818" fmla="*/ 2606152 h 5973007"/>
              <a:gd name="connsiteX30819" fmla="*/ 954604 w 6884782"/>
              <a:gd name="connsiteY30819" fmla="*/ 2611574 h 5973007"/>
              <a:gd name="connsiteX30820" fmla="*/ 950267 w 6884782"/>
              <a:gd name="connsiteY30820" fmla="*/ 2612193 h 5973007"/>
              <a:gd name="connsiteX30821" fmla="*/ 947892 w 6884782"/>
              <a:gd name="connsiteY30821" fmla="*/ 2609715 h 5973007"/>
              <a:gd name="connsiteX30822" fmla="*/ 948099 w 6884782"/>
              <a:gd name="connsiteY30822" fmla="*/ 2605688 h 5973007"/>
              <a:gd name="connsiteX30823" fmla="*/ 948099 w 6884782"/>
              <a:gd name="connsiteY30823" fmla="*/ 2606463 h 5973007"/>
              <a:gd name="connsiteX30824" fmla="*/ 949957 w 6884782"/>
              <a:gd name="connsiteY30824" fmla="*/ 2606307 h 5973007"/>
              <a:gd name="connsiteX30825" fmla="*/ 949854 w 6884782"/>
              <a:gd name="connsiteY30825" fmla="*/ 2605378 h 5973007"/>
              <a:gd name="connsiteX30826" fmla="*/ 866939 w 6884782"/>
              <a:gd name="connsiteY30826" fmla="*/ 2603519 h 5973007"/>
              <a:gd name="connsiteX30827" fmla="*/ 892754 w 6884782"/>
              <a:gd name="connsiteY30827" fmla="*/ 2622417 h 5973007"/>
              <a:gd name="connsiteX30828" fmla="*/ 890688 w 6884782"/>
              <a:gd name="connsiteY30828" fmla="*/ 2623036 h 5973007"/>
              <a:gd name="connsiteX30829" fmla="*/ 891308 w 6884782"/>
              <a:gd name="connsiteY30829" fmla="*/ 2623965 h 5973007"/>
              <a:gd name="connsiteX30830" fmla="*/ 885526 w 6884782"/>
              <a:gd name="connsiteY30830" fmla="*/ 2629542 h 5973007"/>
              <a:gd name="connsiteX30831" fmla="*/ 882015 w 6884782"/>
              <a:gd name="connsiteY30831" fmla="*/ 2628612 h 5973007"/>
              <a:gd name="connsiteX30832" fmla="*/ 878607 w 6884782"/>
              <a:gd name="connsiteY30832" fmla="*/ 2633104 h 5973007"/>
              <a:gd name="connsiteX30833" fmla="*/ 874684 w 6884782"/>
              <a:gd name="connsiteY30833" fmla="*/ 2637131 h 5973007"/>
              <a:gd name="connsiteX30834" fmla="*/ 867353 w 6884782"/>
              <a:gd name="connsiteY30834" fmla="*/ 2639455 h 5973007"/>
              <a:gd name="connsiteX30835" fmla="*/ 846908 w 6884782"/>
              <a:gd name="connsiteY30835" fmla="*/ 2617305 h 5973007"/>
              <a:gd name="connsiteX30836" fmla="*/ 857646 w 6884782"/>
              <a:gd name="connsiteY30836" fmla="*/ 2603674 h 5973007"/>
              <a:gd name="connsiteX30837" fmla="*/ 866939 w 6884782"/>
              <a:gd name="connsiteY30837" fmla="*/ 2603519 h 5973007"/>
              <a:gd name="connsiteX30838" fmla="*/ 1316930 w 6884782"/>
              <a:gd name="connsiteY30838" fmla="*/ 2602435 h 5973007"/>
              <a:gd name="connsiteX30839" fmla="*/ 1314968 w 6884782"/>
              <a:gd name="connsiteY30839" fmla="*/ 2611264 h 5973007"/>
              <a:gd name="connsiteX30840" fmla="*/ 1313523 w 6884782"/>
              <a:gd name="connsiteY30840" fmla="*/ 2609405 h 5973007"/>
              <a:gd name="connsiteX30841" fmla="*/ 1316930 w 6884782"/>
              <a:gd name="connsiteY30841" fmla="*/ 2602435 h 5973007"/>
              <a:gd name="connsiteX30842" fmla="*/ 704427 w 6884782"/>
              <a:gd name="connsiteY30842" fmla="*/ 2602203 h 5973007"/>
              <a:gd name="connsiteX30843" fmla="*/ 709164 w 6884782"/>
              <a:gd name="connsiteY30843" fmla="*/ 2604139 h 5973007"/>
              <a:gd name="connsiteX30844" fmla="*/ 707822 w 6884782"/>
              <a:gd name="connsiteY30844" fmla="*/ 2610180 h 5973007"/>
              <a:gd name="connsiteX30845" fmla="*/ 705240 w 6884782"/>
              <a:gd name="connsiteY30845" fmla="*/ 2611419 h 5973007"/>
              <a:gd name="connsiteX30846" fmla="*/ 699974 w 6884782"/>
              <a:gd name="connsiteY30846" fmla="*/ 2611264 h 5973007"/>
              <a:gd name="connsiteX30847" fmla="*/ 699974 w 6884782"/>
              <a:gd name="connsiteY30847" fmla="*/ 2612193 h 5973007"/>
              <a:gd name="connsiteX30848" fmla="*/ 698838 w 6884782"/>
              <a:gd name="connsiteY30848" fmla="*/ 2607237 h 5973007"/>
              <a:gd name="connsiteX30849" fmla="*/ 704427 w 6884782"/>
              <a:gd name="connsiteY30849" fmla="*/ 2602203 h 5973007"/>
              <a:gd name="connsiteX30850" fmla="*/ 918361 w 6884782"/>
              <a:gd name="connsiteY30850" fmla="*/ 2601350 h 5973007"/>
              <a:gd name="connsiteX30851" fmla="*/ 915573 w 6884782"/>
              <a:gd name="connsiteY30851" fmla="*/ 2606463 h 5973007"/>
              <a:gd name="connsiteX30852" fmla="*/ 911339 w 6884782"/>
              <a:gd name="connsiteY30852" fmla="*/ 2603364 h 5973007"/>
              <a:gd name="connsiteX30853" fmla="*/ 918361 w 6884782"/>
              <a:gd name="connsiteY30853" fmla="*/ 2601350 h 5973007"/>
              <a:gd name="connsiteX30854" fmla="*/ 1404904 w 6884782"/>
              <a:gd name="connsiteY30854" fmla="*/ 2600731 h 5973007"/>
              <a:gd name="connsiteX30855" fmla="*/ 1410583 w 6884782"/>
              <a:gd name="connsiteY30855" fmla="*/ 2602280 h 5973007"/>
              <a:gd name="connsiteX30856" fmla="*/ 1398090 w 6884782"/>
              <a:gd name="connsiteY30856" fmla="*/ 2613278 h 5973007"/>
              <a:gd name="connsiteX30857" fmla="*/ 1397676 w 6884782"/>
              <a:gd name="connsiteY30857" fmla="*/ 2609715 h 5973007"/>
              <a:gd name="connsiteX30858" fmla="*/ 1398709 w 6884782"/>
              <a:gd name="connsiteY30858" fmla="*/ 2607237 h 5973007"/>
              <a:gd name="connsiteX30859" fmla="*/ 1398090 w 6884782"/>
              <a:gd name="connsiteY30859" fmla="*/ 2606617 h 5973007"/>
              <a:gd name="connsiteX30860" fmla="*/ 1402426 w 6884782"/>
              <a:gd name="connsiteY30860" fmla="*/ 2603054 h 5973007"/>
              <a:gd name="connsiteX30861" fmla="*/ 1082952 w 6884782"/>
              <a:gd name="connsiteY30861" fmla="*/ 2600111 h 5973007"/>
              <a:gd name="connsiteX30862" fmla="*/ 1088734 w 6884782"/>
              <a:gd name="connsiteY30862" fmla="*/ 2606307 h 5973007"/>
              <a:gd name="connsiteX30863" fmla="*/ 1088424 w 6884782"/>
              <a:gd name="connsiteY30863" fmla="*/ 2607237 h 5973007"/>
              <a:gd name="connsiteX30864" fmla="*/ 1081712 w 6884782"/>
              <a:gd name="connsiteY30864" fmla="*/ 2614672 h 5973007"/>
              <a:gd name="connsiteX30865" fmla="*/ 1077892 w 6884782"/>
              <a:gd name="connsiteY30865" fmla="*/ 2609870 h 5973007"/>
              <a:gd name="connsiteX30866" fmla="*/ 1078202 w 6884782"/>
              <a:gd name="connsiteY30866" fmla="*/ 2607546 h 5973007"/>
              <a:gd name="connsiteX30867" fmla="*/ 1082952 w 6884782"/>
              <a:gd name="connsiteY30867" fmla="*/ 2600111 h 5973007"/>
              <a:gd name="connsiteX30868" fmla="*/ 1075104 w 6884782"/>
              <a:gd name="connsiteY30868" fmla="*/ 2599802 h 5973007"/>
              <a:gd name="connsiteX30869" fmla="*/ 1075311 w 6884782"/>
              <a:gd name="connsiteY30869" fmla="*/ 2600731 h 5973007"/>
              <a:gd name="connsiteX30870" fmla="*/ 1076240 w 6884782"/>
              <a:gd name="connsiteY30870" fmla="*/ 2601196 h 5973007"/>
              <a:gd name="connsiteX30871" fmla="*/ 1344706 w 6884782"/>
              <a:gd name="connsiteY30871" fmla="*/ 2599647 h 5973007"/>
              <a:gd name="connsiteX30872" fmla="*/ 1345326 w 6884782"/>
              <a:gd name="connsiteY30872" fmla="*/ 2599647 h 5973007"/>
              <a:gd name="connsiteX30873" fmla="*/ 1344912 w 6884782"/>
              <a:gd name="connsiteY30873" fmla="*/ 2600266 h 5973007"/>
              <a:gd name="connsiteX30874" fmla="*/ 1344706 w 6884782"/>
              <a:gd name="connsiteY30874" fmla="*/ 2599647 h 5973007"/>
              <a:gd name="connsiteX30875" fmla="*/ 997146 w 6884782"/>
              <a:gd name="connsiteY30875" fmla="*/ 2598562 h 5973007"/>
              <a:gd name="connsiteX30876" fmla="*/ 1000450 w 6884782"/>
              <a:gd name="connsiteY30876" fmla="*/ 2599182 h 5973007"/>
              <a:gd name="connsiteX30877" fmla="*/ 999624 w 6884782"/>
              <a:gd name="connsiteY30877" fmla="*/ 2600731 h 5973007"/>
              <a:gd name="connsiteX30878" fmla="*/ 1000346 w 6884782"/>
              <a:gd name="connsiteY30878" fmla="*/ 2601041 h 5973007"/>
              <a:gd name="connsiteX30879" fmla="*/ 998798 w 6884782"/>
              <a:gd name="connsiteY30879" fmla="*/ 2602125 h 5973007"/>
              <a:gd name="connsiteX30880" fmla="*/ 998075 w 6884782"/>
              <a:gd name="connsiteY30880" fmla="*/ 2601815 h 5973007"/>
              <a:gd name="connsiteX30881" fmla="*/ 997765 w 6884782"/>
              <a:gd name="connsiteY30881" fmla="*/ 2601970 h 5973007"/>
              <a:gd name="connsiteX30882" fmla="*/ 997042 w 6884782"/>
              <a:gd name="connsiteY30882" fmla="*/ 2600421 h 5973007"/>
              <a:gd name="connsiteX30883" fmla="*/ 996526 w 6884782"/>
              <a:gd name="connsiteY30883" fmla="*/ 2599182 h 5973007"/>
              <a:gd name="connsiteX30884" fmla="*/ 997146 w 6884782"/>
              <a:gd name="connsiteY30884" fmla="*/ 2598562 h 5973007"/>
              <a:gd name="connsiteX30885" fmla="*/ 1349456 w 6884782"/>
              <a:gd name="connsiteY30885" fmla="*/ 2597788 h 5973007"/>
              <a:gd name="connsiteX30886" fmla="*/ 1349559 w 6884782"/>
              <a:gd name="connsiteY30886" fmla="*/ 2599647 h 5973007"/>
              <a:gd name="connsiteX30887" fmla="*/ 1345326 w 6884782"/>
              <a:gd name="connsiteY30887" fmla="*/ 2600886 h 5973007"/>
              <a:gd name="connsiteX30888" fmla="*/ 1345738 w 6884782"/>
              <a:gd name="connsiteY30888" fmla="*/ 2599802 h 5973007"/>
              <a:gd name="connsiteX30889" fmla="*/ 1345326 w 6884782"/>
              <a:gd name="connsiteY30889" fmla="*/ 2599647 h 5973007"/>
              <a:gd name="connsiteX30890" fmla="*/ 1346771 w 6884782"/>
              <a:gd name="connsiteY30890" fmla="*/ 2598253 h 5973007"/>
              <a:gd name="connsiteX30891" fmla="*/ 1349456 w 6884782"/>
              <a:gd name="connsiteY30891" fmla="*/ 2597788 h 5973007"/>
              <a:gd name="connsiteX30892" fmla="*/ 929409 w 6884782"/>
              <a:gd name="connsiteY30892" fmla="*/ 2597633 h 5973007"/>
              <a:gd name="connsiteX30893" fmla="*/ 929823 w 6884782"/>
              <a:gd name="connsiteY30893" fmla="*/ 2605068 h 5973007"/>
              <a:gd name="connsiteX30894" fmla="*/ 923834 w 6884782"/>
              <a:gd name="connsiteY30894" fmla="*/ 2605068 h 5973007"/>
              <a:gd name="connsiteX30895" fmla="*/ 922285 w 6884782"/>
              <a:gd name="connsiteY30895" fmla="*/ 2603054 h 5973007"/>
              <a:gd name="connsiteX30896" fmla="*/ 922595 w 6884782"/>
              <a:gd name="connsiteY30896" fmla="*/ 2600266 h 5973007"/>
              <a:gd name="connsiteX30897" fmla="*/ 924247 w 6884782"/>
              <a:gd name="connsiteY30897" fmla="*/ 2598407 h 5973007"/>
              <a:gd name="connsiteX30898" fmla="*/ 929409 w 6884782"/>
              <a:gd name="connsiteY30898" fmla="*/ 2597633 h 5973007"/>
              <a:gd name="connsiteX30899" fmla="*/ 973397 w 6884782"/>
              <a:gd name="connsiteY30899" fmla="*/ 2597265 h 5973007"/>
              <a:gd name="connsiteX30900" fmla="*/ 978043 w 6884782"/>
              <a:gd name="connsiteY30900" fmla="*/ 2597323 h 5973007"/>
              <a:gd name="connsiteX30901" fmla="*/ 983309 w 6884782"/>
              <a:gd name="connsiteY30901" fmla="*/ 2611884 h 5973007"/>
              <a:gd name="connsiteX30902" fmla="*/ 982483 w 6884782"/>
              <a:gd name="connsiteY30902" fmla="*/ 2612039 h 5973007"/>
              <a:gd name="connsiteX30903" fmla="*/ 984445 w 6884782"/>
              <a:gd name="connsiteY30903" fmla="*/ 2616840 h 5973007"/>
              <a:gd name="connsiteX30904" fmla="*/ 983722 w 6884782"/>
              <a:gd name="connsiteY30904" fmla="*/ 2617305 h 5973007"/>
              <a:gd name="connsiteX30905" fmla="*/ 983722 w 6884782"/>
              <a:gd name="connsiteY30905" fmla="*/ 2617770 h 5973007"/>
              <a:gd name="connsiteX30906" fmla="*/ 986820 w 6884782"/>
              <a:gd name="connsiteY30906" fmla="*/ 2620403 h 5973007"/>
              <a:gd name="connsiteX30907" fmla="*/ 986717 w 6884782"/>
              <a:gd name="connsiteY30907" fmla="*/ 2620093 h 5973007"/>
              <a:gd name="connsiteX30908" fmla="*/ 994151 w 6884782"/>
              <a:gd name="connsiteY30908" fmla="*/ 2613123 h 5973007"/>
              <a:gd name="connsiteX30909" fmla="*/ 994254 w 6884782"/>
              <a:gd name="connsiteY30909" fmla="*/ 2612503 h 5973007"/>
              <a:gd name="connsiteX30910" fmla="*/ 993222 w 6884782"/>
              <a:gd name="connsiteY30910" fmla="*/ 2612658 h 5973007"/>
              <a:gd name="connsiteX30911" fmla="*/ 992189 w 6884782"/>
              <a:gd name="connsiteY30911" fmla="*/ 2613123 h 5973007"/>
              <a:gd name="connsiteX30912" fmla="*/ 990434 w 6884782"/>
              <a:gd name="connsiteY30912" fmla="*/ 2612503 h 5973007"/>
              <a:gd name="connsiteX30913" fmla="*/ 986717 w 6884782"/>
              <a:gd name="connsiteY30913" fmla="*/ 2608011 h 5973007"/>
              <a:gd name="connsiteX30914" fmla="*/ 1000037 w 6884782"/>
              <a:gd name="connsiteY30914" fmla="*/ 2607237 h 5973007"/>
              <a:gd name="connsiteX30915" fmla="*/ 1002825 w 6884782"/>
              <a:gd name="connsiteY30915" fmla="*/ 2608166 h 5973007"/>
              <a:gd name="connsiteX30916" fmla="*/ 1004787 w 6884782"/>
              <a:gd name="connsiteY30916" fmla="*/ 2606152 h 5973007"/>
              <a:gd name="connsiteX30917" fmla="*/ 1007574 w 6884782"/>
              <a:gd name="connsiteY30917" fmla="*/ 2609560 h 5973007"/>
              <a:gd name="connsiteX30918" fmla="*/ 1006129 w 6884782"/>
              <a:gd name="connsiteY30918" fmla="*/ 2611264 h 5973007"/>
              <a:gd name="connsiteX30919" fmla="*/ 1007678 w 6884782"/>
              <a:gd name="connsiteY30919" fmla="*/ 2611729 h 5973007"/>
              <a:gd name="connsiteX30920" fmla="*/ 1004477 w 6884782"/>
              <a:gd name="connsiteY30920" fmla="*/ 2615601 h 5973007"/>
              <a:gd name="connsiteX30921" fmla="*/ 1003651 w 6884782"/>
              <a:gd name="connsiteY30921" fmla="*/ 2617305 h 5973007"/>
              <a:gd name="connsiteX30922" fmla="*/ 1002721 w 6884782"/>
              <a:gd name="connsiteY30922" fmla="*/ 2615756 h 5973007"/>
              <a:gd name="connsiteX30923" fmla="*/ 1005199 w 6884782"/>
              <a:gd name="connsiteY30923" fmla="*/ 2613742 h 5973007"/>
              <a:gd name="connsiteX30924" fmla="*/ 1004270 w 6884782"/>
              <a:gd name="connsiteY30924" fmla="*/ 2612348 h 5973007"/>
              <a:gd name="connsiteX30925" fmla="*/ 1005096 w 6884782"/>
              <a:gd name="connsiteY30925" fmla="*/ 2611264 h 5973007"/>
              <a:gd name="connsiteX30926" fmla="*/ 1005303 w 6884782"/>
              <a:gd name="connsiteY30926" fmla="*/ 2611109 h 5973007"/>
              <a:gd name="connsiteX30927" fmla="*/ 1005199 w 6884782"/>
              <a:gd name="connsiteY30927" fmla="*/ 2610954 h 5973007"/>
              <a:gd name="connsiteX30928" fmla="*/ 1005096 w 6884782"/>
              <a:gd name="connsiteY30928" fmla="*/ 2611264 h 5973007"/>
              <a:gd name="connsiteX30929" fmla="*/ 996526 w 6884782"/>
              <a:gd name="connsiteY30929" fmla="*/ 2611884 h 5973007"/>
              <a:gd name="connsiteX30930" fmla="*/ 996010 w 6884782"/>
              <a:gd name="connsiteY30930" fmla="*/ 2612813 h 5973007"/>
              <a:gd name="connsiteX30931" fmla="*/ 996526 w 6884782"/>
              <a:gd name="connsiteY30931" fmla="*/ 2613588 h 5973007"/>
              <a:gd name="connsiteX30932" fmla="*/ 998901 w 6884782"/>
              <a:gd name="connsiteY30932" fmla="*/ 2613897 h 5973007"/>
              <a:gd name="connsiteX30933" fmla="*/ 1003341 w 6884782"/>
              <a:gd name="connsiteY30933" fmla="*/ 2620713 h 5973007"/>
              <a:gd name="connsiteX30934" fmla="*/ 999004 w 6884782"/>
              <a:gd name="connsiteY30934" fmla="*/ 2626599 h 5973007"/>
              <a:gd name="connsiteX30935" fmla="*/ 998281 w 6884782"/>
              <a:gd name="connsiteY30935" fmla="*/ 2627064 h 5973007"/>
              <a:gd name="connsiteX30936" fmla="*/ 997765 w 6884782"/>
              <a:gd name="connsiteY30936" fmla="*/ 2627993 h 5973007"/>
              <a:gd name="connsiteX30937" fmla="*/ 995906 w 6884782"/>
              <a:gd name="connsiteY30937" fmla="*/ 2631246 h 5973007"/>
              <a:gd name="connsiteX30938" fmla="*/ 994977 w 6884782"/>
              <a:gd name="connsiteY30938" fmla="*/ 2631246 h 5973007"/>
              <a:gd name="connsiteX30939" fmla="*/ 994048 w 6884782"/>
              <a:gd name="connsiteY30939" fmla="*/ 2629542 h 5973007"/>
              <a:gd name="connsiteX30940" fmla="*/ 994564 w 6884782"/>
              <a:gd name="connsiteY30940" fmla="*/ 2628303 h 5973007"/>
              <a:gd name="connsiteX30941" fmla="*/ 991260 w 6884782"/>
              <a:gd name="connsiteY30941" fmla="*/ 2628612 h 5973007"/>
              <a:gd name="connsiteX30942" fmla="*/ 988369 w 6884782"/>
              <a:gd name="connsiteY30942" fmla="*/ 2625825 h 5973007"/>
              <a:gd name="connsiteX30943" fmla="*/ 987646 w 6884782"/>
              <a:gd name="connsiteY30943" fmla="*/ 2624585 h 5973007"/>
              <a:gd name="connsiteX30944" fmla="*/ 987646 w 6884782"/>
              <a:gd name="connsiteY30944" fmla="*/ 2626444 h 5973007"/>
              <a:gd name="connsiteX30945" fmla="*/ 984858 w 6884782"/>
              <a:gd name="connsiteY30945" fmla="*/ 2629542 h 5973007"/>
              <a:gd name="connsiteX30946" fmla="*/ 970299 w 6884782"/>
              <a:gd name="connsiteY30946" fmla="*/ 2621642 h 5973007"/>
              <a:gd name="connsiteX30947" fmla="*/ 969989 w 6884782"/>
              <a:gd name="connsiteY30947" fmla="*/ 2620558 h 5973007"/>
              <a:gd name="connsiteX30948" fmla="*/ 969060 w 6884782"/>
              <a:gd name="connsiteY30948" fmla="*/ 2619783 h 5973007"/>
              <a:gd name="connsiteX30949" fmla="*/ 968854 w 6884782"/>
              <a:gd name="connsiteY30949" fmla="*/ 2619783 h 5973007"/>
              <a:gd name="connsiteX30950" fmla="*/ 968027 w 6884782"/>
              <a:gd name="connsiteY30950" fmla="*/ 2619938 h 5973007"/>
              <a:gd name="connsiteX30951" fmla="*/ 964930 w 6884782"/>
              <a:gd name="connsiteY30951" fmla="*/ 2618234 h 5973007"/>
              <a:gd name="connsiteX30952" fmla="*/ 964620 w 6884782"/>
              <a:gd name="connsiteY30952" fmla="*/ 2617305 h 5973007"/>
              <a:gd name="connsiteX30953" fmla="*/ 965136 w 6884782"/>
              <a:gd name="connsiteY30953" fmla="*/ 2616066 h 5973007"/>
              <a:gd name="connsiteX30954" fmla="*/ 969369 w 6884782"/>
              <a:gd name="connsiteY30954" fmla="*/ 2612968 h 5973007"/>
              <a:gd name="connsiteX30955" fmla="*/ 969369 w 6884782"/>
              <a:gd name="connsiteY30955" fmla="*/ 2597788 h 5973007"/>
              <a:gd name="connsiteX30956" fmla="*/ 973397 w 6884782"/>
              <a:gd name="connsiteY30956" fmla="*/ 2597265 h 5973007"/>
              <a:gd name="connsiteX30957" fmla="*/ 1205826 w 6884782"/>
              <a:gd name="connsiteY30957" fmla="*/ 2596859 h 5973007"/>
              <a:gd name="connsiteX30958" fmla="*/ 1210783 w 6884782"/>
              <a:gd name="connsiteY30958" fmla="*/ 2609095 h 5973007"/>
              <a:gd name="connsiteX30959" fmla="*/ 1210783 w 6884782"/>
              <a:gd name="connsiteY30959" fmla="*/ 2610489 h 5973007"/>
              <a:gd name="connsiteX30960" fmla="*/ 1212435 w 6884782"/>
              <a:gd name="connsiteY30960" fmla="*/ 2609250 h 5973007"/>
              <a:gd name="connsiteX30961" fmla="*/ 1221418 w 6884782"/>
              <a:gd name="connsiteY30961" fmla="*/ 2612348 h 5973007"/>
              <a:gd name="connsiteX30962" fmla="*/ 1218630 w 6884782"/>
              <a:gd name="connsiteY30962" fmla="*/ 2618234 h 5973007"/>
              <a:gd name="connsiteX30963" fmla="*/ 1230195 w 6884782"/>
              <a:gd name="connsiteY30963" fmla="*/ 2617150 h 5973007"/>
              <a:gd name="connsiteX30964" fmla="*/ 1219972 w 6884782"/>
              <a:gd name="connsiteY30964" fmla="*/ 2624585 h 5973007"/>
              <a:gd name="connsiteX30965" fmla="*/ 1216978 w 6884782"/>
              <a:gd name="connsiteY30965" fmla="*/ 2624585 h 5973007"/>
              <a:gd name="connsiteX30966" fmla="*/ 1215223 w 6884782"/>
              <a:gd name="connsiteY30966" fmla="*/ 2627373 h 5973007"/>
              <a:gd name="connsiteX30967" fmla="*/ 1215120 w 6884782"/>
              <a:gd name="connsiteY30967" fmla="*/ 2627373 h 5973007"/>
              <a:gd name="connsiteX30968" fmla="*/ 1214293 w 6884782"/>
              <a:gd name="connsiteY30968" fmla="*/ 2629852 h 5973007"/>
              <a:gd name="connsiteX30969" fmla="*/ 1211299 w 6884782"/>
              <a:gd name="connsiteY30969" fmla="*/ 2636822 h 5973007"/>
              <a:gd name="connsiteX30970" fmla="*/ 1209543 w 6884782"/>
              <a:gd name="connsiteY30970" fmla="*/ 2638681 h 5973007"/>
              <a:gd name="connsiteX30971" fmla="*/ 1210886 w 6884782"/>
              <a:gd name="connsiteY30971" fmla="*/ 2638216 h 5973007"/>
              <a:gd name="connsiteX30972" fmla="*/ 1211505 w 6884782"/>
              <a:gd name="connsiteY30972" fmla="*/ 2638061 h 5973007"/>
              <a:gd name="connsiteX30973" fmla="*/ 1212331 w 6884782"/>
              <a:gd name="connsiteY30973" fmla="*/ 2636357 h 5973007"/>
              <a:gd name="connsiteX30974" fmla="*/ 1214810 w 6884782"/>
              <a:gd name="connsiteY30974" fmla="*/ 2635738 h 5973007"/>
              <a:gd name="connsiteX30975" fmla="*/ 1214810 w 6884782"/>
              <a:gd name="connsiteY30975" fmla="*/ 2637441 h 5973007"/>
              <a:gd name="connsiteX30976" fmla="*/ 1215016 w 6884782"/>
              <a:gd name="connsiteY30976" fmla="*/ 2637441 h 5973007"/>
              <a:gd name="connsiteX30977" fmla="*/ 1216049 w 6884782"/>
              <a:gd name="connsiteY30977" fmla="*/ 2637287 h 5973007"/>
              <a:gd name="connsiteX30978" fmla="*/ 1217907 w 6884782"/>
              <a:gd name="connsiteY30978" fmla="*/ 2636977 h 5973007"/>
              <a:gd name="connsiteX30979" fmla="*/ 1220489 w 6884782"/>
              <a:gd name="connsiteY30979" fmla="*/ 2639300 h 5973007"/>
              <a:gd name="connsiteX30980" fmla="*/ 1220282 w 6884782"/>
              <a:gd name="connsiteY30980" fmla="*/ 2639300 h 5973007"/>
              <a:gd name="connsiteX30981" fmla="*/ 1222967 w 6884782"/>
              <a:gd name="connsiteY30981" fmla="*/ 2640694 h 5973007"/>
              <a:gd name="connsiteX30982" fmla="*/ 1229782 w 6884782"/>
              <a:gd name="connsiteY30982" fmla="*/ 2653396 h 5973007"/>
              <a:gd name="connsiteX30983" fmla="*/ 1229782 w 6884782"/>
              <a:gd name="connsiteY30983" fmla="*/ 2660211 h 5973007"/>
              <a:gd name="connsiteX30984" fmla="*/ 1231950 w 6884782"/>
              <a:gd name="connsiteY30984" fmla="*/ 2657113 h 5973007"/>
              <a:gd name="connsiteX30985" fmla="*/ 1237526 w 6884782"/>
              <a:gd name="connsiteY30985" fmla="*/ 2650143 h 5973007"/>
              <a:gd name="connsiteX30986" fmla="*/ 1238456 w 6884782"/>
              <a:gd name="connsiteY30986" fmla="*/ 2650143 h 5973007"/>
              <a:gd name="connsiteX30987" fmla="*/ 1239075 w 6884782"/>
              <a:gd name="connsiteY30987" fmla="*/ 2652157 h 5973007"/>
              <a:gd name="connsiteX30988" fmla="*/ 1237010 w 6884782"/>
              <a:gd name="connsiteY30988" fmla="*/ 2655254 h 5973007"/>
              <a:gd name="connsiteX30989" fmla="*/ 1230092 w 6884782"/>
              <a:gd name="connsiteY30989" fmla="*/ 2661141 h 5973007"/>
              <a:gd name="connsiteX30990" fmla="*/ 1229782 w 6884782"/>
              <a:gd name="connsiteY30990" fmla="*/ 2661605 h 5973007"/>
              <a:gd name="connsiteX30991" fmla="*/ 1229782 w 6884782"/>
              <a:gd name="connsiteY30991" fmla="*/ 2663309 h 5973007"/>
              <a:gd name="connsiteX30992" fmla="*/ 1228956 w 6884782"/>
              <a:gd name="connsiteY30992" fmla="*/ 2665323 h 5973007"/>
              <a:gd name="connsiteX30993" fmla="*/ 1229782 w 6884782"/>
              <a:gd name="connsiteY30993" fmla="*/ 2667956 h 5973007"/>
              <a:gd name="connsiteX30994" fmla="*/ 1226891 w 6884782"/>
              <a:gd name="connsiteY30994" fmla="*/ 2668730 h 5973007"/>
              <a:gd name="connsiteX30995" fmla="*/ 1234015 w 6884782"/>
              <a:gd name="connsiteY30995" fmla="*/ 2669350 h 5973007"/>
              <a:gd name="connsiteX30996" fmla="*/ 1236803 w 6884782"/>
              <a:gd name="connsiteY30996" fmla="*/ 2669040 h 5973007"/>
              <a:gd name="connsiteX30997" fmla="*/ 1237526 w 6884782"/>
              <a:gd name="connsiteY30997" fmla="*/ 2668886 h 5973007"/>
              <a:gd name="connsiteX30998" fmla="*/ 1237629 w 6884782"/>
              <a:gd name="connsiteY30998" fmla="*/ 2668730 h 5973007"/>
              <a:gd name="connsiteX30999" fmla="*/ 1242999 w 6884782"/>
              <a:gd name="connsiteY30999" fmla="*/ 2667646 h 5973007"/>
              <a:gd name="connsiteX31000" fmla="*/ 1245787 w 6884782"/>
              <a:gd name="connsiteY31000" fmla="*/ 2668266 h 5973007"/>
              <a:gd name="connsiteX31001" fmla="*/ 1245683 w 6884782"/>
              <a:gd name="connsiteY31001" fmla="*/ 2668111 h 5973007"/>
              <a:gd name="connsiteX31002" fmla="*/ 1246097 w 6884782"/>
              <a:gd name="connsiteY31002" fmla="*/ 2666407 h 5973007"/>
              <a:gd name="connsiteX31003" fmla="*/ 1258900 w 6884782"/>
              <a:gd name="connsiteY31003" fmla="*/ 2665323 h 5973007"/>
              <a:gd name="connsiteX31004" fmla="*/ 1260656 w 6884782"/>
              <a:gd name="connsiteY31004" fmla="*/ 2665943 h 5973007"/>
              <a:gd name="connsiteX31005" fmla="*/ 1260759 w 6884782"/>
              <a:gd name="connsiteY31005" fmla="*/ 2665168 h 5973007"/>
              <a:gd name="connsiteX31006" fmla="*/ 1261585 w 6884782"/>
              <a:gd name="connsiteY31006" fmla="*/ 2666097 h 5973007"/>
              <a:gd name="connsiteX31007" fmla="*/ 1261791 w 6884782"/>
              <a:gd name="connsiteY31007" fmla="*/ 2666097 h 5973007"/>
              <a:gd name="connsiteX31008" fmla="*/ 1262617 w 6884782"/>
              <a:gd name="connsiteY31008" fmla="*/ 2666097 h 5973007"/>
              <a:gd name="connsiteX31009" fmla="*/ 1265199 w 6884782"/>
              <a:gd name="connsiteY31009" fmla="*/ 2668266 h 5973007"/>
              <a:gd name="connsiteX31010" fmla="*/ 1264682 w 6884782"/>
              <a:gd name="connsiteY31010" fmla="*/ 2670434 h 5973007"/>
              <a:gd name="connsiteX31011" fmla="*/ 1264166 w 6884782"/>
              <a:gd name="connsiteY31011" fmla="*/ 2670744 h 5973007"/>
              <a:gd name="connsiteX31012" fmla="*/ 1265095 w 6884782"/>
              <a:gd name="connsiteY31012" fmla="*/ 2675236 h 5973007"/>
              <a:gd name="connsiteX31013" fmla="*/ 1260036 w 6884782"/>
              <a:gd name="connsiteY31013" fmla="*/ 2674307 h 5973007"/>
              <a:gd name="connsiteX31014" fmla="*/ 1259829 w 6884782"/>
              <a:gd name="connsiteY31014" fmla="*/ 2673532 h 5973007"/>
              <a:gd name="connsiteX31015" fmla="*/ 1259210 w 6884782"/>
              <a:gd name="connsiteY31015" fmla="*/ 2675701 h 5973007"/>
              <a:gd name="connsiteX31016" fmla="*/ 1257351 w 6884782"/>
              <a:gd name="connsiteY31016" fmla="*/ 2688093 h 5973007"/>
              <a:gd name="connsiteX31017" fmla="*/ 1250846 w 6884782"/>
              <a:gd name="connsiteY31017" fmla="*/ 2688093 h 5973007"/>
              <a:gd name="connsiteX31018" fmla="*/ 1249194 w 6884782"/>
              <a:gd name="connsiteY31018" fmla="*/ 2687163 h 5973007"/>
              <a:gd name="connsiteX31019" fmla="*/ 1250124 w 6884782"/>
              <a:gd name="connsiteY31019" fmla="*/ 2688402 h 5973007"/>
              <a:gd name="connsiteX31020" fmla="*/ 1246303 w 6884782"/>
              <a:gd name="connsiteY31020" fmla="*/ 2690261 h 5973007"/>
              <a:gd name="connsiteX31021" fmla="*/ 1245167 w 6884782"/>
              <a:gd name="connsiteY31021" fmla="*/ 2686853 h 5973007"/>
              <a:gd name="connsiteX31022" fmla="*/ 1245993 w 6884782"/>
              <a:gd name="connsiteY31022" fmla="*/ 2685769 h 5973007"/>
              <a:gd name="connsiteX31023" fmla="*/ 1246819 w 6884782"/>
              <a:gd name="connsiteY31023" fmla="*/ 2684995 h 5973007"/>
              <a:gd name="connsiteX31024" fmla="*/ 1245373 w 6884782"/>
              <a:gd name="connsiteY31024" fmla="*/ 2683446 h 5973007"/>
              <a:gd name="connsiteX31025" fmla="*/ 1244238 w 6884782"/>
              <a:gd name="connsiteY31025" fmla="*/ 2675546 h 5973007"/>
              <a:gd name="connsiteX31026" fmla="*/ 1244857 w 6884782"/>
              <a:gd name="connsiteY31026" fmla="*/ 2674307 h 5973007"/>
              <a:gd name="connsiteX31027" fmla="*/ 1244547 w 6884782"/>
              <a:gd name="connsiteY31027" fmla="*/ 2674152 h 5973007"/>
              <a:gd name="connsiteX31028" fmla="*/ 1242069 w 6884782"/>
              <a:gd name="connsiteY31028" fmla="*/ 2673378 h 5973007"/>
              <a:gd name="connsiteX31029" fmla="*/ 1242379 w 6884782"/>
              <a:gd name="connsiteY31029" fmla="*/ 2674926 h 5973007"/>
              <a:gd name="connsiteX31030" fmla="*/ 1226374 w 6884782"/>
              <a:gd name="connsiteY31030" fmla="*/ 2671829 h 5973007"/>
              <a:gd name="connsiteX31031" fmla="*/ 1224826 w 6884782"/>
              <a:gd name="connsiteY31031" fmla="*/ 2671054 h 5973007"/>
              <a:gd name="connsiteX31032" fmla="*/ 1224309 w 6884782"/>
              <a:gd name="connsiteY31032" fmla="*/ 2670434 h 5973007"/>
              <a:gd name="connsiteX31033" fmla="*/ 1224619 w 6884782"/>
              <a:gd name="connsiteY31033" fmla="*/ 2669970 h 5973007"/>
              <a:gd name="connsiteX31034" fmla="*/ 1224516 w 6884782"/>
              <a:gd name="connsiteY31034" fmla="*/ 2669350 h 5973007"/>
              <a:gd name="connsiteX31035" fmla="*/ 1224103 w 6884782"/>
              <a:gd name="connsiteY31035" fmla="*/ 2669505 h 5973007"/>
              <a:gd name="connsiteX31036" fmla="*/ 1221005 w 6884782"/>
              <a:gd name="connsiteY31036" fmla="*/ 2669040 h 5973007"/>
              <a:gd name="connsiteX31037" fmla="*/ 1220798 w 6884782"/>
              <a:gd name="connsiteY31037" fmla="*/ 2670744 h 5973007"/>
              <a:gd name="connsiteX31038" fmla="*/ 1221728 w 6884782"/>
              <a:gd name="connsiteY31038" fmla="*/ 2673687 h 5973007"/>
              <a:gd name="connsiteX31039" fmla="*/ 1220489 w 6884782"/>
              <a:gd name="connsiteY31039" fmla="*/ 2674926 h 5973007"/>
              <a:gd name="connsiteX31040" fmla="*/ 1218630 w 6884782"/>
              <a:gd name="connsiteY31040" fmla="*/ 2672758 h 5973007"/>
              <a:gd name="connsiteX31041" fmla="*/ 1220489 w 6884782"/>
              <a:gd name="connsiteY31041" fmla="*/ 2670434 h 5973007"/>
              <a:gd name="connsiteX31042" fmla="*/ 1220179 w 6884782"/>
              <a:gd name="connsiteY31042" fmla="*/ 2668886 h 5973007"/>
              <a:gd name="connsiteX31043" fmla="*/ 1216565 w 6884782"/>
              <a:gd name="connsiteY31043" fmla="*/ 2668266 h 5973007"/>
              <a:gd name="connsiteX31044" fmla="*/ 1209647 w 6884782"/>
              <a:gd name="connsiteY31044" fmla="*/ 2664239 h 5973007"/>
              <a:gd name="connsiteX31045" fmla="*/ 1209854 w 6884782"/>
              <a:gd name="connsiteY31045" fmla="*/ 2665478 h 5973007"/>
              <a:gd name="connsiteX31046" fmla="*/ 1209234 w 6884782"/>
              <a:gd name="connsiteY31046" fmla="*/ 2667801 h 5973007"/>
              <a:gd name="connsiteX31047" fmla="*/ 1208304 w 6884782"/>
              <a:gd name="connsiteY31047" fmla="*/ 2668111 h 5973007"/>
              <a:gd name="connsiteX31048" fmla="*/ 1208614 w 6884782"/>
              <a:gd name="connsiteY31048" fmla="*/ 2669195 h 5973007"/>
              <a:gd name="connsiteX31049" fmla="*/ 1208304 w 6884782"/>
              <a:gd name="connsiteY31049" fmla="*/ 2673068 h 5973007"/>
              <a:gd name="connsiteX31050" fmla="*/ 1207065 w 6884782"/>
              <a:gd name="connsiteY31050" fmla="*/ 2668421 h 5973007"/>
              <a:gd name="connsiteX31051" fmla="*/ 1207065 w 6884782"/>
              <a:gd name="connsiteY31051" fmla="*/ 2668111 h 5973007"/>
              <a:gd name="connsiteX31052" fmla="*/ 1206239 w 6884782"/>
              <a:gd name="connsiteY31052" fmla="*/ 2668111 h 5973007"/>
              <a:gd name="connsiteX31053" fmla="*/ 1205826 w 6884782"/>
              <a:gd name="connsiteY31053" fmla="*/ 2669195 h 5973007"/>
              <a:gd name="connsiteX31054" fmla="*/ 1205413 w 6884782"/>
              <a:gd name="connsiteY31054" fmla="*/ 2668421 h 5973007"/>
              <a:gd name="connsiteX31055" fmla="*/ 1204174 w 6884782"/>
              <a:gd name="connsiteY31055" fmla="*/ 2668266 h 5973007"/>
              <a:gd name="connsiteX31056" fmla="*/ 1203865 w 6884782"/>
              <a:gd name="connsiteY31056" fmla="*/ 2664549 h 5973007"/>
              <a:gd name="connsiteX31057" fmla="*/ 1197669 w 6884782"/>
              <a:gd name="connsiteY31057" fmla="*/ 2660985 h 5973007"/>
              <a:gd name="connsiteX31058" fmla="*/ 1196533 w 6884782"/>
              <a:gd name="connsiteY31058" fmla="*/ 2659282 h 5973007"/>
              <a:gd name="connsiteX31059" fmla="*/ 1194881 w 6884782"/>
              <a:gd name="connsiteY31059" fmla="*/ 2658662 h 5973007"/>
              <a:gd name="connsiteX31060" fmla="*/ 1195810 w 6884782"/>
              <a:gd name="connsiteY31060" fmla="*/ 2657888 h 5973007"/>
              <a:gd name="connsiteX31061" fmla="*/ 1195604 w 6884782"/>
              <a:gd name="connsiteY31061" fmla="*/ 2657733 h 5973007"/>
              <a:gd name="connsiteX31062" fmla="*/ 1196017 w 6884782"/>
              <a:gd name="connsiteY31062" fmla="*/ 2657578 h 5973007"/>
              <a:gd name="connsiteX31063" fmla="*/ 1195914 w 6884782"/>
              <a:gd name="connsiteY31063" fmla="*/ 2657113 h 5973007"/>
              <a:gd name="connsiteX31064" fmla="*/ 1196636 w 6884782"/>
              <a:gd name="connsiteY31064" fmla="*/ 2655099 h 5973007"/>
              <a:gd name="connsiteX31065" fmla="*/ 1200870 w 6884782"/>
              <a:gd name="connsiteY31065" fmla="*/ 2655254 h 5973007"/>
              <a:gd name="connsiteX31066" fmla="*/ 1202935 w 6884782"/>
              <a:gd name="connsiteY31066" fmla="*/ 2659437 h 5973007"/>
              <a:gd name="connsiteX31067" fmla="*/ 1204691 w 6884782"/>
              <a:gd name="connsiteY31067" fmla="*/ 2662070 h 5973007"/>
              <a:gd name="connsiteX31068" fmla="*/ 1204174 w 6884782"/>
              <a:gd name="connsiteY31068" fmla="*/ 2663929 h 5973007"/>
              <a:gd name="connsiteX31069" fmla="*/ 1204794 w 6884782"/>
              <a:gd name="connsiteY31069" fmla="*/ 2662689 h 5973007"/>
              <a:gd name="connsiteX31070" fmla="*/ 1206446 w 6884782"/>
              <a:gd name="connsiteY31070" fmla="*/ 2661915 h 5973007"/>
              <a:gd name="connsiteX31071" fmla="*/ 1208098 w 6884782"/>
              <a:gd name="connsiteY31071" fmla="*/ 2662844 h 5973007"/>
              <a:gd name="connsiteX31072" fmla="*/ 1209337 w 6884782"/>
              <a:gd name="connsiteY31072" fmla="*/ 2663774 h 5973007"/>
              <a:gd name="connsiteX31073" fmla="*/ 1207065 w 6884782"/>
              <a:gd name="connsiteY31073" fmla="*/ 2658972 h 5973007"/>
              <a:gd name="connsiteX31074" fmla="*/ 1216359 w 6884782"/>
              <a:gd name="connsiteY31074" fmla="*/ 2661760 h 5973007"/>
              <a:gd name="connsiteX31075" fmla="*/ 1222037 w 6884782"/>
              <a:gd name="connsiteY31075" fmla="*/ 2662380 h 5973007"/>
              <a:gd name="connsiteX31076" fmla="*/ 1222244 w 6884782"/>
              <a:gd name="connsiteY31076" fmla="*/ 2661760 h 5973007"/>
              <a:gd name="connsiteX31077" fmla="*/ 1221831 w 6884782"/>
              <a:gd name="connsiteY31077" fmla="*/ 2660831 h 5973007"/>
              <a:gd name="connsiteX31078" fmla="*/ 1221625 w 6884782"/>
              <a:gd name="connsiteY31078" fmla="*/ 2660831 h 5973007"/>
              <a:gd name="connsiteX31079" fmla="*/ 1214397 w 6884782"/>
              <a:gd name="connsiteY31079" fmla="*/ 2658042 h 5973007"/>
              <a:gd name="connsiteX31080" fmla="*/ 1215326 w 6884782"/>
              <a:gd name="connsiteY31080" fmla="*/ 2657113 h 5973007"/>
              <a:gd name="connsiteX31081" fmla="*/ 1221521 w 6884782"/>
              <a:gd name="connsiteY31081" fmla="*/ 2658353 h 5973007"/>
              <a:gd name="connsiteX31082" fmla="*/ 1222760 w 6884782"/>
              <a:gd name="connsiteY31082" fmla="*/ 2658662 h 5973007"/>
              <a:gd name="connsiteX31083" fmla="*/ 1222037 w 6884782"/>
              <a:gd name="connsiteY31083" fmla="*/ 2656649 h 5973007"/>
              <a:gd name="connsiteX31084" fmla="*/ 1218733 w 6884782"/>
              <a:gd name="connsiteY31084" fmla="*/ 2643483 h 5973007"/>
              <a:gd name="connsiteX31085" fmla="*/ 1219663 w 6884782"/>
              <a:gd name="connsiteY31085" fmla="*/ 2639455 h 5973007"/>
              <a:gd name="connsiteX31086" fmla="*/ 1215636 w 6884782"/>
              <a:gd name="connsiteY31086" fmla="*/ 2640694 h 5973007"/>
              <a:gd name="connsiteX31087" fmla="*/ 1214810 w 6884782"/>
              <a:gd name="connsiteY31087" fmla="*/ 2641004 h 5973007"/>
              <a:gd name="connsiteX31088" fmla="*/ 1214810 w 6884782"/>
              <a:gd name="connsiteY31088" fmla="*/ 2643173 h 5973007"/>
              <a:gd name="connsiteX31089" fmla="*/ 1210163 w 6884782"/>
              <a:gd name="connsiteY31089" fmla="*/ 2646735 h 5973007"/>
              <a:gd name="connsiteX31090" fmla="*/ 1208718 w 6884782"/>
              <a:gd name="connsiteY31090" fmla="*/ 2645341 h 5973007"/>
              <a:gd name="connsiteX31091" fmla="*/ 1208201 w 6884782"/>
              <a:gd name="connsiteY31091" fmla="*/ 2643017 h 5973007"/>
              <a:gd name="connsiteX31092" fmla="*/ 1204587 w 6884782"/>
              <a:gd name="connsiteY31092" fmla="*/ 2643947 h 5973007"/>
              <a:gd name="connsiteX31093" fmla="*/ 1202729 w 6884782"/>
              <a:gd name="connsiteY31093" fmla="*/ 2645806 h 5973007"/>
              <a:gd name="connsiteX31094" fmla="*/ 1202109 w 6884782"/>
              <a:gd name="connsiteY31094" fmla="*/ 2645961 h 5973007"/>
              <a:gd name="connsiteX31095" fmla="*/ 1201799 w 6884782"/>
              <a:gd name="connsiteY31095" fmla="*/ 2646735 h 5973007"/>
              <a:gd name="connsiteX31096" fmla="*/ 1200973 w 6884782"/>
              <a:gd name="connsiteY31096" fmla="*/ 2646735 h 5973007"/>
              <a:gd name="connsiteX31097" fmla="*/ 1201386 w 6884782"/>
              <a:gd name="connsiteY31097" fmla="*/ 2645961 h 5973007"/>
              <a:gd name="connsiteX31098" fmla="*/ 1200457 w 6884782"/>
              <a:gd name="connsiteY31098" fmla="*/ 2646271 h 5973007"/>
              <a:gd name="connsiteX31099" fmla="*/ 1200767 w 6884782"/>
              <a:gd name="connsiteY31099" fmla="*/ 2646890 h 5973007"/>
              <a:gd name="connsiteX31100" fmla="*/ 1199011 w 6884782"/>
              <a:gd name="connsiteY31100" fmla="*/ 2646735 h 5973007"/>
              <a:gd name="connsiteX31101" fmla="*/ 1199321 w 6884782"/>
              <a:gd name="connsiteY31101" fmla="*/ 2646271 h 5973007"/>
              <a:gd name="connsiteX31102" fmla="*/ 1200044 w 6884782"/>
              <a:gd name="connsiteY31102" fmla="*/ 2646116 h 5973007"/>
              <a:gd name="connsiteX31103" fmla="*/ 1197360 w 6884782"/>
              <a:gd name="connsiteY31103" fmla="*/ 2644412 h 5973007"/>
              <a:gd name="connsiteX31104" fmla="*/ 1196430 w 6884782"/>
              <a:gd name="connsiteY31104" fmla="*/ 2640849 h 5973007"/>
              <a:gd name="connsiteX31105" fmla="*/ 1198805 w 6884782"/>
              <a:gd name="connsiteY31105" fmla="*/ 2635893 h 5973007"/>
              <a:gd name="connsiteX31106" fmla="*/ 1199218 w 6884782"/>
              <a:gd name="connsiteY31106" fmla="*/ 2635893 h 5973007"/>
              <a:gd name="connsiteX31107" fmla="*/ 1200354 w 6884782"/>
              <a:gd name="connsiteY31107" fmla="*/ 2629852 h 5973007"/>
              <a:gd name="connsiteX31108" fmla="*/ 1201076 w 6884782"/>
              <a:gd name="connsiteY31108" fmla="*/ 2627838 h 5973007"/>
              <a:gd name="connsiteX31109" fmla="*/ 1200767 w 6884782"/>
              <a:gd name="connsiteY31109" fmla="*/ 2627373 h 5973007"/>
              <a:gd name="connsiteX31110" fmla="*/ 1201180 w 6884782"/>
              <a:gd name="connsiteY31110" fmla="*/ 2624275 h 5973007"/>
              <a:gd name="connsiteX31111" fmla="*/ 1201490 w 6884782"/>
              <a:gd name="connsiteY31111" fmla="*/ 2623965 h 5973007"/>
              <a:gd name="connsiteX31112" fmla="*/ 1201283 w 6884782"/>
              <a:gd name="connsiteY31112" fmla="*/ 2623191 h 5973007"/>
              <a:gd name="connsiteX31113" fmla="*/ 1199838 w 6884782"/>
              <a:gd name="connsiteY31113" fmla="*/ 2616840 h 5973007"/>
              <a:gd name="connsiteX31114" fmla="*/ 1203348 w 6884782"/>
              <a:gd name="connsiteY31114" fmla="*/ 2621797 h 5973007"/>
              <a:gd name="connsiteX31115" fmla="*/ 1203348 w 6884782"/>
              <a:gd name="connsiteY31115" fmla="*/ 2622107 h 5973007"/>
              <a:gd name="connsiteX31116" fmla="*/ 1205207 w 6884782"/>
              <a:gd name="connsiteY31116" fmla="*/ 2617305 h 5973007"/>
              <a:gd name="connsiteX31117" fmla="*/ 1205723 w 6884782"/>
              <a:gd name="connsiteY31117" fmla="*/ 2616531 h 5973007"/>
              <a:gd name="connsiteX31118" fmla="*/ 1204174 w 6884782"/>
              <a:gd name="connsiteY31118" fmla="*/ 2615911 h 5973007"/>
              <a:gd name="connsiteX31119" fmla="*/ 1202212 w 6884782"/>
              <a:gd name="connsiteY31119" fmla="*/ 2615756 h 5973007"/>
              <a:gd name="connsiteX31120" fmla="*/ 1203348 w 6884782"/>
              <a:gd name="connsiteY31120" fmla="*/ 2614362 h 5973007"/>
              <a:gd name="connsiteX31121" fmla="*/ 1206033 w 6884782"/>
              <a:gd name="connsiteY31121" fmla="*/ 2616066 h 5973007"/>
              <a:gd name="connsiteX31122" fmla="*/ 1206549 w 6884782"/>
              <a:gd name="connsiteY31122" fmla="*/ 2614362 h 5973007"/>
              <a:gd name="connsiteX31123" fmla="*/ 1207065 w 6884782"/>
              <a:gd name="connsiteY31123" fmla="*/ 2614517 h 5973007"/>
              <a:gd name="connsiteX31124" fmla="*/ 1207788 w 6884782"/>
              <a:gd name="connsiteY31124" fmla="*/ 2613432 h 5973007"/>
              <a:gd name="connsiteX31125" fmla="*/ 1205000 w 6884782"/>
              <a:gd name="connsiteY31125" fmla="*/ 2606772 h 5973007"/>
              <a:gd name="connsiteX31126" fmla="*/ 1202626 w 6884782"/>
              <a:gd name="connsiteY31126" fmla="*/ 2603519 h 5973007"/>
              <a:gd name="connsiteX31127" fmla="*/ 1202729 w 6884782"/>
              <a:gd name="connsiteY31127" fmla="*/ 2601660 h 5973007"/>
              <a:gd name="connsiteX31128" fmla="*/ 1205826 w 6884782"/>
              <a:gd name="connsiteY31128" fmla="*/ 2596859 h 5973007"/>
              <a:gd name="connsiteX31129" fmla="*/ 1110521 w 6884782"/>
              <a:gd name="connsiteY31129" fmla="*/ 2594535 h 5973007"/>
              <a:gd name="connsiteX31130" fmla="*/ 1110831 w 6884782"/>
              <a:gd name="connsiteY31130" fmla="*/ 2595155 h 5973007"/>
              <a:gd name="connsiteX31131" fmla="*/ 1111244 w 6884782"/>
              <a:gd name="connsiteY31131" fmla="*/ 2595310 h 5973007"/>
              <a:gd name="connsiteX31132" fmla="*/ 1246509 w 6884782"/>
              <a:gd name="connsiteY31132" fmla="*/ 2593451 h 5973007"/>
              <a:gd name="connsiteX31133" fmla="*/ 1254563 w 6884782"/>
              <a:gd name="connsiteY31133" fmla="*/ 2596549 h 5973007"/>
              <a:gd name="connsiteX31134" fmla="*/ 1255493 w 6884782"/>
              <a:gd name="connsiteY31134" fmla="*/ 2601506 h 5973007"/>
              <a:gd name="connsiteX31135" fmla="*/ 1256319 w 6884782"/>
              <a:gd name="connsiteY31135" fmla="*/ 2601506 h 5973007"/>
              <a:gd name="connsiteX31136" fmla="*/ 1261378 w 6884782"/>
              <a:gd name="connsiteY31136" fmla="*/ 2607701 h 5973007"/>
              <a:gd name="connsiteX31137" fmla="*/ 1248058 w 6884782"/>
              <a:gd name="connsiteY31137" fmla="*/ 2612348 h 5973007"/>
              <a:gd name="connsiteX31138" fmla="*/ 1245064 w 6884782"/>
              <a:gd name="connsiteY31138" fmla="*/ 2613588 h 5973007"/>
              <a:gd name="connsiteX31139" fmla="*/ 1248058 w 6884782"/>
              <a:gd name="connsiteY31139" fmla="*/ 2614982 h 5973007"/>
              <a:gd name="connsiteX31140" fmla="*/ 1237526 w 6884782"/>
              <a:gd name="connsiteY31140" fmla="*/ 2620248 h 5973007"/>
              <a:gd name="connsiteX31141" fmla="*/ 1238249 w 6884782"/>
              <a:gd name="connsiteY31141" fmla="*/ 2616995 h 5973007"/>
              <a:gd name="connsiteX31142" fmla="*/ 1239591 w 6884782"/>
              <a:gd name="connsiteY31142" fmla="*/ 2614672 h 5973007"/>
              <a:gd name="connsiteX31143" fmla="*/ 1236184 w 6884782"/>
              <a:gd name="connsiteY31143" fmla="*/ 2614517 h 5973007"/>
              <a:gd name="connsiteX31144" fmla="*/ 1239901 w 6884782"/>
              <a:gd name="connsiteY31144" fmla="*/ 2610954 h 5973007"/>
              <a:gd name="connsiteX31145" fmla="*/ 1240417 w 6884782"/>
              <a:gd name="connsiteY31145" fmla="*/ 2610335 h 5973007"/>
              <a:gd name="connsiteX31146" fmla="*/ 1239488 w 6884782"/>
              <a:gd name="connsiteY31146" fmla="*/ 2608321 h 5973007"/>
              <a:gd name="connsiteX31147" fmla="*/ 1240417 w 6884782"/>
              <a:gd name="connsiteY31147" fmla="*/ 2604449 h 5973007"/>
              <a:gd name="connsiteX31148" fmla="*/ 1233912 w 6884782"/>
              <a:gd name="connsiteY31148" fmla="*/ 2606617 h 5973007"/>
              <a:gd name="connsiteX31149" fmla="*/ 1219560 w 6884782"/>
              <a:gd name="connsiteY31149" fmla="*/ 2605378 h 5973007"/>
              <a:gd name="connsiteX31150" fmla="*/ 1218424 w 6884782"/>
              <a:gd name="connsiteY31150" fmla="*/ 2601970 h 5973007"/>
              <a:gd name="connsiteX31151" fmla="*/ 1224103 w 6884782"/>
              <a:gd name="connsiteY31151" fmla="*/ 2595310 h 5973007"/>
              <a:gd name="connsiteX31152" fmla="*/ 1242895 w 6884782"/>
              <a:gd name="connsiteY31152" fmla="*/ 2597943 h 5973007"/>
              <a:gd name="connsiteX31153" fmla="*/ 1242895 w 6884782"/>
              <a:gd name="connsiteY31153" fmla="*/ 2598098 h 5973007"/>
              <a:gd name="connsiteX31154" fmla="*/ 593104 w 6884782"/>
              <a:gd name="connsiteY31154" fmla="*/ 2592676 h 5973007"/>
              <a:gd name="connsiteX31155" fmla="*/ 597751 w 6884782"/>
              <a:gd name="connsiteY31155" fmla="*/ 2593451 h 5973007"/>
              <a:gd name="connsiteX31156" fmla="*/ 598783 w 6884782"/>
              <a:gd name="connsiteY31156" fmla="*/ 2595310 h 5973007"/>
              <a:gd name="connsiteX31157" fmla="*/ 598267 w 6884782"/>
              <a:gd name="connsiteY31157" fmla="*/ 2596084 h 5973007"/>
              <a:gd name="connsiteX31158" fmla="*/ 596512 w 6884782"/>
              <a:gd name="connsiteY31158" fmla="*/ 2598718 h 5973007"/>
              <a:gd name="connsiteX31159" fmla="*/ 591968 w 6884782"/>
              <a:gd name="connsiteY31159" fmla="*/ 2597633 h 5973007"/>
              <a:gd name="connsiteX31160" fmla="*/ 591865 w 6884782"/>
              <a:gd name="connsiteY31160" fmla="*/ 2594380 h 5973007"/>
              <a:gd name="connsiteX31161" fmla="*/ 593104 w 6884782"/>
              <a:gd name="connsiteY31161" fmla="*/ 2592676 h 5973007"/>
              <a:gd name="connsiteX31162" fmla="*/ 727789 w 6884782"/>
              <a:gd name="connsiteY31162" fmla="*/ 2592076 h 5973007"/>
              <a:gd name="connsiteX31163" fmla="*/ 726201 w 6884782"/>
              <a:gd name="connsiteY31163" fmla="*/ 2598253 h 5973007"/>
              <a:gd name="connsiteX31164" fmla="*/ 721245 w 6884782"/>
              <a:gd name="connsiteY31164" fmla="*/ 2592521 h 5973007"/>
              <a:gd name="connsiteX31165" fmla="*/ 727789 w 6884782"/>
              <a:gd name="connsiteY31165" fmla="*/ 2592076 h 5973007"/>
              <a:gd name="connsiteX31166" fmla="*/ 1096994 w 6884782"/>
              <a:gd name="connsiteY31166" fmla="*/ 2589114 h 5973007"/>
              <a:gd name="connsiteX31167" fmla="*/ 1101021 w 6884782"/>
              <a:gd name="connsiteY31167" fmla="*/ 2589114 h 5973007"/>
              <a:gd name="connsiteX31168" fmla="*/ 1105668 w 6884782"/>
              <a:gd name="connsiteY31168" fmla="*/ 2589578 h 5973007"/>
              <a:gd name="connsiteX31169" fmla="*/ 1107527 w 6884782"/>
              <a:gd name="connsiteY31169" fmla="*/ 2591282 h 5973007"/>
              <a:gd name="connsiteX31170" fmla="*/ 1107733 w 6884782"/>
              <a:gd name="connsiteY31170" fmla="*/ 2589424 h 5973007"/>
              <a:gd name="connsiteX31171" fmla="*/ 1123634 w 6884782"/>
              <a:gd name="connsiteY31171" fmla="*/ 2594845 h 5973007"/>
              <a:gd name="connsiteX31172" fmla="*/ 1124873 w 6884782"/>
              <a:gd name="connsiteY31172" fmla="*/ 2596240 h 5973007"/>
              <a:gd name="connsiteX31173" fmla="*/ 1124151 w 6884782"/>
              <a:gd name="connsiteY31173" fmla="*/ 2598253 h 5973007"/>
              <a:gd name="connsiteX31174" fmla="*/ 1121363 w 6884782"/>
              <a:gd name="connsiteY31174" fmla="*/ 2599182 h 5973007"/>
              <a:gd name="connsiteX31175" fmla="*/ 1121673 w 6884782"/>
              <a:gd name="connsiteY31175" fmla="*/ 2599802 h 5973007"/>
              <a:gd name="connsiteX31176" fmla="*/ 1121982 w 6884782"/>
              <a:gd name="connsiteY31176" fmla="*/ 2599802 h 5973007"/>
              <a:gd name="connsiteX31177" fmla="*/ 1129313 w 6884782"/>
              <a:gd name="connsiteY31177" fmla="*/ 2602899 h 5973007"/>
              <a:gd name="connsiteX31178" fmla="*/ 1130966 w 6884782"/>
              <a:gd name="connsiteY31178" fmla="*/ 2603674 h 5973007"/>
              <a:gd name="connsiteX31179" fmla="*/ 1130862 w 6884782"/>
              <a:gd name="connsiteY31179" fmla="*/ 2606152 h 5973007"/>
              <a:gd name="connsiteX31180" fmla="*/ 1124564 w 6884782"/>
              <a:gd name="connsiteY31180" fmla="*/ 2606152 h 5973007"/>
              <a:gd name="connsiteX31181" fmla="*/ 1124151 w 6884782"/>
              <a:gd name="connsiteY31181" fmla="*/ 2611109 h 5973007"/>
              <a:gd name="connsiteX31182" fmla="*/ 1108662 w 6884782"/>
              <a:gd name="connsiteY31182" fmla="*/ 2605997 h 5973007"/>
              <a:gd name="connsiteX31183" fmla="*/ 1108249 w 6884782"/>
              <a:gd name="connsiteY31183" fmla="*/ 2605533 h 5973007"/>
              <a:gd name="connsiteX31184" fmla="*/ 1108146 w 6884782"/>
              <a:gd name="connsiteY31184" fmla="*/ 2605842 h 5973007"/>
              <a:gd name="connsiteX31185" fmla="*/ 1110005 w 6884782"/>
              <a:gd name="connsiteY31185" fmla="*/ 2609715 h 5973007"/>
              <a:gd name="connsiteX31186" fmla="*/ 1097201 w 6884782"/>
              <a:gd name="connsiteY31186" fmla="*/ 2611729 h 5973007"/>
              <a:gd name="connsiteX31187" fmla="*/ 1095445 w 6884782"/>
              <a:gd name="connsiteY31187" fmla="*/ 2611264 h 5973007"/>
              <a:gd name="connsiteX31188" fmla="*/ 1095342 w 6884782"/>
              <a:gd name="connsiteY31188" fmla="*/ 2612039 h 5973007"/>
              <a:gd name="connsiteX31189" fmla="*/ 1094516 w 6884782"/>
              <a:gd name="connsiteY31189" fmla="*/ 2611264 h 5973007"/>
              <a:gd name="connsiteX31190" fmla="*/ 1094310 w 6884782"/>
              <a:gd name="connsiteY31190" fmla="*/ 2611264 h 5973007"/>
              <a:gd name="connsiteX31191" fmla="*/ 1093381 w 6884782"/>
              <a:gd name="connsiteY31191" fmla="*/ 2611264 h 5973007"/>
              <a:gd name="connsiteX31192" fmla="*/ 1090592 w 6884782"/>
              <a:gd name="connsiteY31192" fmla="*/ 2609250 h 5973007"/>
              <a:gd name="connsiteX31193" fmla="*/ 1090283 w 6884782"/>
              <a:gd name="connsiteY31193" fmla="*/ 2608321 h 5973007"/>
              <a:gd name="connsiteX31194" fmla="*/ 1091005 w 6884782"/>
              <a:gd name="connsiteY31194" fmla="*/ 2607237 h 5973007"/>
              <a:gd name="connsiteX31195" fmla="*/ 1095445 w 6884782"/>
              <a:gd name="connsiteY31195" fmla="*/ 2604449 h 5973007"/>
              <a:gd name="connsiteX31196" fmla="*/ 1096994 w 6884782"/>
              <a:gd name="connsiteY31196" fmla="*/ 2589114 h 5973007"/>
              <a:gd name="connsiteX31197" fmla="*/ 635852 w 6884782"/>
              <a:gd name="connsiteY31197" fmla="*/ 2588804 h 5973007"/>
              <a:gd name="connsiteX31198" fmla="*/ 647624 w 6884782"/>
              <a:gd name="connsiteY31198" fmla="*/ 2596859 h 5973007"/>
              <a:gd name="connsiteX31199" fmla="*/ 649172 w 6884782"/>
              <a:gd name="connsiteY31199" fmla="*/ 2599647 h 5973007"/>
              <a:gd name="connsiteX31200" fmla="*/ 655161 w 6884782"/>
              <a:gd name="connsiteY31200" fmla="*/ 2594226 h 5973007"/>
              <a:gd name="connsiteX31201" fmla="*/ 660634 w 6884782"/>
              <a:gd name="connsiteY31201" fmla="*/ 2590663 h 5973007"/>
              <a:gd name="connsiteX31202" fmla="*/ 662595 w 6884782"/>
              <a:gd name="connsiteY31202" fmla="*/ 2590353 h 5973007"/>
              <a:gd name="connsiteX31203" fmla="*/ 664144 w 6884782"/>
              <a:gd name="connsiteY31203" fmla="*/ 2592057 h 5973007"/>
              <a:gd name="connsiteX31204" fmla="*/ 657639 w 6884782"/>
              <a:gd name="connsiteY31204" fmla="*/ 2600421 h 5973007"/>
              <a:gd name="connsiteX31205" fmla="*/ 655161 w 6884782"/>
              <a:gd name="connsiteY31205" fmla="*/ 2600886 h 5973007"/>
              <a:gd name="connsiteX31206" fmla="*/ 653612 w 6884782"/>
              <a:gd name="connsiteY31206" fmla="*/ 2601815 h 5973007"/>
              <a:gd name="connsiteX31207" fmla="*/ 650721 w 6884782"/>
              <a:gd name="connsiteY31207" fmla="*/ 2602280 h 5973007"/>
              <a:gd name="connsiteX31208" fmla="*/ 656193 w 6884782"/>
              <a:gd name="connsiteY31208" fmla="*/ 2611729 h 5973007"/>
              <a:gd name="connsiteX31209" fmla="*/ 652786 w 6884782"/>
              <a:gd name="connsiteY31209" fmla="*/ 2639455 h 5973007"/>
              <a:gd name="connsiteX31210" fmla="*/ 648346 w 6884782"/>
              <a:gd name="connsiteY31210" fmla="*/ 2626753 h 5973007"/>
              <a:gd name="connsiteX31211" fmla="*/ 646694 w 6884782"/>
              <a:gd name="connsiteY31211" fmla="*/ 2626289 h 5973007"/>
              <a:gd name="connsiteX31212" fmla="*/ 646591 w 6884782"/>
              <a:gd name="connsiteY31212" fmla="*/ 2625514 h 5973007"/>
              <a:gd name="connsiteX31213" fmla="*/ 646384 w 6884782"/>
              <a:gd name="connsiteY31213" fmla="*/ 2625205 h 5973007"/>
              <a:gd name="connsiteX31214" fmla="*/ 647107 w 6884782"/>
              <a:gd name="connsiteY31214" fmla="*/ 2624121 h 5973007"/>
              <a:gd name="connsiteX31215" fmla="*/ 642977 w 6884782"/>
              <a:gd name="connsiteY31215" fmla="*/ 2615446 h 5973007"/>
              <a:gd name="connsiteX31216" fmla="*/ 635852 w 6884782"/>
              <a:gd name="connsiteY31216" fmla="*/ 2588804 h 5973007"/>
              <a:gd name="connsiteX31217" fmla="*/ 1141601 w 6884782"/>
              <a:gd name="connsiteY31217" fmla="*/ 2587100 h 5973007"/>
              <a:gd name="connsiteX31218" fmla="*/ 1144699 w 6884782"/>
              <a:gd name="connsiteY31218" fmla="*/ 2592676 h 5973007"/>
              <a:gd name="connsiteX31219" fmla="*/ 1148519 w 6884782"/>
              <a:gd name="connsiteY31219" fmla="*/ 2590973 h 5973007"/>
              <a:gd name="connsiteX31220" fmla="*/ 1154405 w 6884782"/>
              <a:gd name="connsiteY31220" fmla="*/ 2591282 h 5973007"/>
              <a:gd name="connsiteX31221" fmla="*/ 1156264 w 6884782"/>
              <a:gd name="connsiteY31221" fmla="*/ 2592986 h 5973007"/>
              <a:gd name="connsiteX31222" fmla="*/ 1159051 w 6884782"/>
              <a:gd name="connsiteY31222" fmla="*/ 2590353 h 5973007"/>
              <a:gd name="connsiteX31223" fmla="*/ 1161426 w 6884782"/>
              <a:gd name="connsiteY31223" fmla="*/ 2597014 h 5973007"/>
              <a:gd name="connsiteX31224" fmla="*/ 1160806 w 6884782"/>
              <a:gd name="connsiteY31224" fmla="*/ 2597014 h 5973007"/>
              <a:gd name="connsiteX31225" fmla="*/ 1161426 w 6884782"/>
              <a:gd name="connsiteY31225" fmla="*/ 2597478 h 5973007"/>
              <a:gd name="connsiteX31226" fmla="*/ 1161116 w 6884782"/>
              <a:gd name="connsiteY31226" fmla="*/ 2598098 h 5973007"/>
              <a:gd name="connsiteX31227" fmla="*/ 1165247 w 6884782"/>
              <a:gd name="connsiteY31227" fmla="*/ 2599956 h 5973007"/>
              <a:gd name="connsiteX31228" fmla="*/ 1167002 w 6884782"/>
              <a:gd name="connsiteY31228" fmla="*/ 2598562 h 5973007"/>
              <a:gd name="connsiteX31229" fmla="*/ 1171132 w 6884782"/>
              <a:gd name="connsiteY31229" fmla="*/ 2599956 h 5973007"/>
              <a:gd name="connsiteX31230" fmla="*/ 1168138 w 6884782"/>
              <a:gd name="connsiteY31230" fmla="*/ 2601506 h 5973007"/>
              <a:gd name="connsiteX31231" fmla="*/ 1167622 w 6884782"/>
              <a:gd name="connsiteY31231" fmla="*/ 2601506 h 5973007"/>
              <a:gd name="connsiteX31232" fmla="*/ 1171958 w 6884782"/>
              <a:gd name="connsiteY31232" fmla="*/ 2604603 h 5973007"/>
              <a:gd name="connsiteX31233" fmla="*/ 1177637 w 6884782"/>
              <a:gd name="connsiteY31233" fmla="*/ 2607856 h 5973007"/>
              <a:gd name="connsiteX31234" fmla="*/ 1178154 w 6884782"/>
              <a:gd name="connsiteY31234" fmla="*/ 2610180 h 5973007"/>
              <a:gd name="connsiteX31235" fmla="*/ 1178980 w 6884782"/>
              <a:gd name="connsiteY31235" fmla="*/ 2610644 h 5973007"/>
              <a:gd name="connsiteX31236" fmla="*/ 1179186 w 6884782"/>
              <a:gd name="connsiteY31236" fmla="*/ 2611729 h 5973007"/>
              <a:gd name="connsiteX31237" fmla="*/ 1179186 w 6884782"/>
              <a:gd name="connsiteY31237" fmla="*/ 2611884 h 5973007"/>
              <a:gd name="connsiteX31238" fmla="*/ 1179393 w 6884782"/>
              <a:gd name="connsiteY31238" fmla="*/ 2612039 h 5973007"/>
              <a:gd name="connsiteX31239" fmla="*/ 1179806 w 6884782"/>
              <a:gd name="connsiteY31239" fmla="*/ 2612348 h 5973007"/>
              <a:gd name="connsiteX31240" fmla="*/ 1182284 w 6884782"/>
              <a:gd name="connsiteY31240" fmla="*/ 2608166 h 5973007"/>
              <a:gd name="connsiteX31241" fmla="*/ 1187860 w 6884782"/>
              <a:gd name="connsiteY31241" fmla="*/ 2608011 h 5973007"/>
              <a:gd name="connsiteX31242" fmla="*/ 1187447 w 6884782"/>
              <a:gd name="connsiteY31242" fmla="*/ 2610335 h 5973007"/>
              <a:gd name="connsiteX31243" fmla="*/ 1191267 w 6884782"/>
              <a:gd name="connsiteY31243" fmla="*/ 2610799 h 5973007"/>
              <a:gd name="connsiteX31244" fmla="*/ 1199528 w 6884782"/>
              <a:gd name="connsiteY31244" fmla="*/ 2614207 h 5973007"/>
              <a:gd name="connsiteX31245" fmla="*/ 1201490 w 6884782"/>
              <a:gd name="connsiteY31245" fmla="*/ 2614207 h 5973007"/>
              <a:gd name="connsiteX31246" fmla="*/ 1190131 w 6884782"/>
              <a:gd name="connsiteY31246" fmla="*/ 2613432 h 5973007"/>
              <a:gd name="connsiteX31247" fmla="*/ 1187137 w 6884782"/>
              <a:gd name="connsiteY31247" fmla="*/ 2612813 h 5973007"/>
              <a:gd name="connsiteX31248" fmla="*/ 1186931 w 6884782"/>
              <a:gd name="connsiteY31248" fmla="*/ 2613897 h 5973007"/>
              <a:gd name="connsiteX31249" fmla="*/ 1186001 w 6884782"/>
              <a:gd name="connsiteY31249" fmla="*/ 2615446 h 5973007"/>
              <a:gd name="connsiteX31250" fmla="*/ 1186311 w 6884782"/>
              <a:gd name="connsiteY31250" fmla="*/ 2617150 h 5973007"/>
              <a:gd name="connsiteX31251" fmla="*/ 1186827 w 6884782"/>
              <a:gd name="connsiteY31251" fmla="*/ 2617460 h 5973007"/>
              <a:gd name="connsiteX31252" fmla="*/ 1189719 w 6884782"/>
              <a:gd name="connsiteY31252" fmla="*/ 2617770 h 5973007"/>
              <a:gd name="connsiteX31253" fmla="*/ 1190441 w 6884782"/>
              <a:gd name="connsiteY31253" fmla="*/ 2619473 h 5973007"/>
              <a:gd name="connsiteX31254" fmla="*/ 1187757 w 6884782"/>
              <a:gd name="connsiteY31254" fmla="*/ 2620248 h 5973007"/>
              <a:gd name="connsiteX31255" fmla="*/ 1186414 w 6884782"/>
              <a:gd name="connsiteY31255" fmla="*/ 2617924 h 5973007"/>
              <a:gd name="connsiteX31256" fmla="*/ 1187653 w 6884782"/>
              <a:gd name="connsiteY31256" fmla="*/ 2624585 h 5973007"/>
              <a:gd name="connsiteX31257" fmla="*/ 1187343 w 6884782"/>
              <a:gd name="connsiteY31257" fmla="*/ 2627218 h 5973007"/>
              <a:gd name="connsiteX31258" fmla="*/ 1188273 w 6884782"/>
              <a:gd name="connsiteY31258" fmla="*/ 2627064 h 5973007"/>
              <a:gd name="connsiteX31259" fmla="*/ 1186827 w 6884782"/>
              <a:gd name="connsiteY31259" fmla="*/ 2631710 h 5973007"/>
              <a:gd name="connsiteX31260" fmla="*/ 1186518 w 6884782"/>
              <a:gd name="connsiteY31260" fmla="*/ 2631555 h 5973007"/>
              <a:gd name="connsiteX31261" fmla="*/ 1185795 w 6884782"/>
              <a:gd name="connsiteY31261" fmla="*/ 2635893 h 5973007"/>
              <a:gd name="connsiteX31262" fmla="*/ 1182284 w 6884782"/>
              <a:gd name="connsiteY31262" fmla="*/ 2642398 h 5973007"/>
              <a:gd name="connsiteX31263" fmla="*/ 1177534 w 6884782"/>
              <a:gd name="connsiteY31263" fmla="*/ 2626134 h 5973007"/>
              <a:gd name="connsiteX31264" fmla="*/ 1161013 w 6884782"/>
              <a:gd name="connsiteY31264" fmla="*/ 2625514 h 5973007"/>
              <a:gd name="connsiteX31265" fmla="*/ 1173301 w 6884782"/>
              <a:gd name="connsiteY31265" fmla="*/ 2619938 h 5973007"/>
              <a:gd name="connsiteX31266" fmla="*/ 1175469 w 6884782"/>
              <a:gd name="connsiteY31266" fmla="*/ 2619319 h 5973007"/>
              <a:gd name="connsiteX31267" fmla="*/ 1176605 w 6884782"/>
              <a:gd name="connsiteY31267" fmla="*/ 2617770 h 5973007"/>
              <a:gd name="connsiteX31268" fmla="*/ 1179599 w 6884782"/>
              <a:gd name="connsiteY31268" fmla="*/ 2612968 h 5973007"/>
              <a:gd name="connsiteX31269" fmla="*/ 1179186 w 6884782"/>
              <a:gd name="connsiteY31269" fmla="*/ 2612503 h 5973007"/>
              <a:gd name="connsiteX31270" fmla="*/ 1178876 w 6884782"/>
              <a:gd name="connsiteY31270" fmla="*/ 2612503 h 5973007"/>
              <a:gd name="connsiteX31271" fmla="*/ 1178154 w 6884782"/>
              <a:gd name="connsiteY31271" fmla="*/ 2612348 h 5973007"/>
              <a:gd name="connsiteX31272" fmla="*/ 1177328 w 6884782"/>
              <a:gd name="connsiteY31272" fmla="*/ 2612348 h 5973007"/>
              <a:gd name="connsiteX31273" fmla="*/ 1176295 w 6884782"/>
              <a:gd name="connsiteY31273" fmla="*/ 2612193 h 5973007"/>
              <a:gd name="connsiteX31274" fmla="*/ 1173920 w 6884782"/>
              <a:gd name="connsiteY31274" fmla="*/ 2610335 h 5973007"/>
              <a:gd name="connsiteX31275" fmla="*/ 1170100 w 6884782"/>
              <a:gd name="connsiteY31275" fmla="*/ 2607856 h 5973007"/>
              <a:gd name="connsiteX31276" fmla="*/ 1162665 w 6884782"/>
              <a:gd name="connsiteY31276" fmla="*/ 2601350 h 5973007"/>
              <a:gd name="connsiteX31277" fmla="*/ 1160910 w 6884782"/>
              <a:gd name="connsiteY31277" fmla="*/ 2598872 h 5973007"/>
              <a:gd name="connsiteX31278" fmla="*/ 1159361 w 6884782"/>
              <a:gd name="connsiteY31278" fmla="*/ 2602590 h 5973007"/>
              <a:gd name="connsiteX31279" fmla="*/ 1154921 w 6884782"/>
              <a:gd name="connsiteY31279" fmla="*/ 2607701 h 5973007"/>
              <a:gd name="connsiteX31280" fmla="*/ 1153062 w 6884782"/>
              <a:gd name="connsiteY31280" fmla="*/ 2608940 h 5973007"/>
              <a:gd name="connsiteX31281" fmla="*/ 1159051 w 6884782"/>
              <a:gd name="connsiteY31281" fmla="*/ 2611729 h 5973007"/>
              <a:gd name="connsiteX31282" fmla="*/ 1160497 w 6884782"/>
              <a:gd name="connsiteY31282" fmla="*/ 2617460 h 5973007"/>
              <a:gd name="connsiteX31283" fmla="*/ 1156264 w 6884782"/>
              <a:gd name="connsiteY31283" fmla="*/ 2617770 h 5973007"/>
              <a:gd name="connsiteX31284" fmla="*/ 1153889 w 6884782"/>
              <a:gd name="connsiteY31284" fmla="*/ 2613588 h 5973007"/>
              <a:gd name="connsiteX31285" fmla="*/ 1151823 w 6884782"/>
              <a:gd name="connsiteY31285" fmla="*/ 2611109 h 5973007"/>
              <a:gd name="connsiteX31286" fmla="*/ 1152236 w 6884782"/>
              <a:gd name="connsiteY31286" fmla="*/ 2609560 h 5973007"/>
              <a:gd name="connsiteX31287" fmla="*/ 1149655 w 6884782"/>
              <a:gd name="connsiteY31287" fmla="*/ 2611574 h 5973007"/>
              <a:gd name="connsiteX31288" fmla="*/ 1145008 w 6884782"/>
              <a:gd name="connsiteY31288" fmla="*/ 2613588 h 5973007"/>
              <a:gd name="connsiteX31289" fmla="*/ 1139742 w 6884782"/>
              <a:gd name="connsiteY31289" fmla="*/ 2608631 h 5973007"/>
              <a:gd name="connsiteX31290" fmla="*/ 1139639 w 6884782"/>
              <a:gd name="connsiteY31290" fmla="*/ 2608476 h 5973007"/>
              <a:gd name="connsiteX31291" fmla="*/ 1137987 w 6884782"/>
              <a:gd name="connsiteY31291" fmla="*/ 2610954 h 5973007"/>
              <a:gd name="connsiteX31292" fmla="*/ 1137471 w 6884782"/>
              <a:gd name="connsiteY31292" fmla="*/ 2599492 h 5973007"/>
              <a:gd name="connsiteX31293" fmla="*/ 1141601 w 6884782"/>
              <a:gd name="connsiteY31293" fmla="*/ 2587100 h 5973007"/>
              <a:gd name="connsiteX31294" fmla="*/ 1291335 w 6884782"/>
              <a:gd name="connsiteY31294" fmla="*/ 2585745 h 5973007"/>
              <a:gd name="connsiteX31295" fmla="*/ 1301855 w 6884782"/>
              <a:gd name="connsiteY31295" fmla="*/ 2588185 h 5973007"/>
              <a:gd name="connsiteX31296" fmla="*/ 1284507 w 6884782"/>
              <a:gd name="connsiteY31296" fmla="*/ 2604759 h 5973007"/>
              <a:gd name="connsiteX31297" fmla="*/ 1281203 w 6884782"/>
              <a:gd name="connsiteY31297" fmla="*/ 2592831 h 5973007"/>
              <a:gd name="connsiteX31298" fmla="*/ 1291335 w 6884782"/>
              <a:gd name="connsiteY31298" fmla="*/ 2585745 h 5973007"/>
              <a:gd name="connsiteX31299" fmla="*/ 922285 w 6884782"/>
              <a:gd name="connsiteY31299" fmla="*/ 2585087 h 5973007"/>
              <a:gd name="connsiteX31300" fmla="*/ 947376 w 6884782"/>
              <a:gd name="connsiteY31300" fmla="*/ 2597633 h 5973007"/>
              <a:gd name="connsiteX31301" fmla="*/ 943349 w 6884782"/>
              <a:gd name="connsiteY31301" fmla="*/ 2604294 h 5973007"/>
              <a:gd name="connsiteX31302" fmla="*/ 922285 w 6884782"/>
              <a:gd name="connsiteY31302" fmla="*/ 2585087 h 5973007"/>
              <a:gd name="connsiteX31303" fmla="*/ 902361 w 6884782"/>
              <a:gd name="connsiteY31303" fmla="*/ 2584920 h 5973007"/>
              <a:gd name="connsiteX31304" fmla="*/ 901737 w 6884782"/>
              <a:gd name="connsiteY31304" fmla="*/ 2600886 h 5973007"/>
              <a:gd name="connsiteX31305" fmla="*/ 890792 w 6884782"/>
              <a:gd name="connsiteY31305" fmla="*/ 2589733 h 5973007"/>
              <a:gd name="connsiteX31306" fmla="*/ 895955 w 6884782"/>
              <a:gd name="connsiteY31306" fmla="*/ 2585242 h 5973007"/>
              <a:gd name="connsiteX31307" fmla="*/ 902361 w 6884782"/>
              <a:gd name="connsiteY31307" fmla="*/ 2584920 h 5973007"/>
              <a:gd name="connsiteX31308" fmla="*/ 5017925 w 6884782"/>
              <a:gd name="connsiteY31308" fmla="*/ 2584029 h 5973007"/>
              <a:gd name="connsiteX31309" fmla="*/ 5031157 w 6884782"/>
              <a:gd name="connsiteY31309" fmla="*/ 2586163 h 5973007"/>
              <a:gd name="connsiteX31310" fmla="*/ 4985699 w 6884782"/>
              <a:gd name="connsiteY31310" fmla="*/ 2599110 h 5973007"/>
              <a:gd name="connsiteX31311" fmla="*/ 5017925 w 6884782"/>
              <a:gd name="connsiteY31311" fmla="*/ 2584029 h 5973007"/>
              <a:gd name="connsiteX31312" fmla="*/ 738902 w 6884782"/>
              <a:gd name="connsiteY31312" fmla="*/ 2583383 h 5973007"/>
              <a:gd name="connsiteX31313" fmla="*/ 748711 w 6884782"/>
              <a:gd name="connsiteY31313" fmla="*/ 2592986 h 5973007"/>
              <a:gd name="connsiteX31314" fmla="*/ 738076 w 6884782"/>
              <a:gd name="connsiteY31314" fmla="*/ 2587565 h 5973007"/>
              <a:gd name="connsiteX31315" fmla="*/ 738902 w 6884782"/>
              <a:gd name="connsiteY31315" fmla="*/ 2583383 h 5973007"/>
              <a:gd name="connsiteX31316" fmla="*/ 1188789 w 6884782"/>
              <a:gd name="connsiteY31316" fmla="*/ 2582918 h 5973007"/>
              <a:gd name="connsiteX31317" fmla="*/ 1188789 w 6884782"/>
              <a:gd name="connsiteY31317" fmla="*/ 2584777 h 5973007"/>
              <a:gd name="connsiteX31318" fmla="*/ 1189099 w 6884782"/>
              <a:gd name="connsiteY31318" fmla="*/ 2583847 h 5973007"/>
              <a:gd name="connsiteX31319" fmla="*/ 1188996 w 6884782"/>
              <a:gd name="connsiteY31319" fmla="*/ 2583693 h 5973007"/>
              <a:gd name="connsiteX31320" fmla="*/ 1189408 w 6884782"/>
              <a:gd name="connsiteY31320" fmla="*/ 2583073 h 5973007"/>
              <a:gd name="connsiteX31321" fmla="*/ 6205820 w 6884782"/>
              <a:gd name="connsiteY31321" fmla="*/ 2582322 h 5973007"/>
              <a:gd name="connsiteX31322" fmla="*/ 6207038 w 6884782"/>
              <a:gd name="connsiteY31322" fmla="*/ 2588526 h 5973007"/>
              <a:gd name="connsiteX31323" fmla="*/ 6208599 w 6884782"/>
              <a:gd name="connsiteY31323" fmla="*/ 2588016 h 5973007"/>
              <a:gd name="connsiteX31324" fmla="*/ 6208274 w 6884782"/>
              <a:gd name="connsiteY31324" fmla="*/ 2587799 h 5973007"/>
              <a:gd name="connsiteX31325" fmla="*/ 6205820 w 6884782"/>
              <a:gd name="connsiteY31325" fmla="*/ 2582322 h 5973007"/>
              <a:gd name="connsiteX31326" fmla="*/ 1109901 w 6884782"/>
              <a:gd name="connsiteY31326" fmla="*/ 2581369 h 5973007"/>
              <a:gd name="connsiteX31327" fmla="*/ 1111966 w 6884782"/>
              <a:gd name="connsiteY31327" fmla="*/ 2588649 h 5973007"/>
              <a:gd name="connsiteX31328" fmla="*/ 1109901 w 6884782"/>
              <a:gd name="connsiteY31328" fmla="*/ 2585707 h 5973007"/>
              <a:gd name="connsiteX31329" fmla="*/ 1109901 w 6884782"/>
              <a:gd name="connsiteY31329" fmla="*/ 2581369 h 5973007"/>
              <a:gd name="connsiteX31330" fmla="*/ 6484119 w 6884782"/>
              <a:gd name="connsiteY31330" fmla="*/ 2581184 h 5973007"/>
              <a:gd name="connsiteX31331" fmla="*/ 6488601 w 6884782"/>
              <a:gd name="connsiteY31331" fmla="*/ 2582749 h 5973007"/>
              <a:gd name="connsiteX31332" fmla="*/ 6466619 w 6884782"/>
              <a:gd name="connsiteY31332" fmla="*/ 2603663 h 5973007"/>
              <a:gd name="connsiteX31333" fmla="*/ 6479424 w 6884782"/>
              <a:gd name="connsiteY31333" fmla="*/ 2581326 h 5973007"/>
              <a:gd name="connsiteX31334" fmla="*/ 6484119 w 6884782"/>
              <a:gd name="connsiteY31334" fmla="*/ 2581184 h 5973007"/>
              <a:gd name="connsiteX31335" fmla="*/ 1332935 w 6884782"/>
              <a:gd name="connsiteY31335" fmla="*/ 2580594 h 5973007"/>
              <a:gd name="connsiteX31336" fmla="*/ 1338098 w 6884782"/>
              <a:gd name="connsiteY31336" fmla="*/ 2581524 h 5973007"/>
              <a:gd name="connsiteX31337" fmla="*/ 1333658 w 6884782"/>
              <a:gd name="connsiteY31337" fmla="*/ 2584002 h 5973007"/>
              <a:gd name="connsiteX31338" fmla="*/ 1332935 w 6884782"/>
              <a:gd name="connsiteY31338" fmla="*/ 2580594 h 5973007"/>
              <a:gd name="connsiteX31339" fmla="*/ 1313419 w 6884782"/>
              <a:gd name="connsiteY31339" fmla="*/ 2579820 h 5973007"/>
              <a:gd name="connsiteX31340" fmla="*/ 1316827 w 6884782"/>
              <a:gd name="connsiteY31340" fmla="*/ 2580904 h 5973007"/>
              <a:gd name="connsiteX31341" fmla="*/ 1316310 w 6884782"/>
              <a:gd name="connsiteY31341" fmla="*/ 2583383 h 5973007"/>
              <a:gd name="connsiteX31342" fmla="*/ 1312077 w 6884782"/>
              <a:gd name="connsiteY31342" fmla="*/ 2582298 h 5973007"/>
              <a:gd name="connsiteX31343" fmla="*/ 1313419 w 6884782"/>
              <a:gd name="connsiteY31343" fmla="*/ 2579820 h 5973007"/>
              <a:gd name="connsiteX31344" fmla="*/ 806534 w 6884782"/>
              <a:gd name="connsiteY31344" fmla="*/ 2577497 h 5973007"/>
              <a:gd name="connsiteX31345" fmla="*/ 811181 w 6884782"/>
              <a:gd name="connsiteY31345" fmla="*/ 2579046 h 5973007"/>
              <a:gd name="connsiteX31346" fmla="*/ 807361 w 6884782"/>
              <a:gd name="connsiteY31346" fmla="*/ 2581834 h 5973007"/>
              <a:gd name="connsiteX31347" fmla="*/ 805295 w 6884782"/>
              <a:gd name="connsiteY31347" fmla="*/ 2579355 h 5973007"/>
              <a:gd name="connsiteX31348" fmla="*/ 806534 w 6884782"/>
              <a:gd name="connsiteY31348" fmla="*/ 2577497 h 5973007"/>
              <a:gd name="connsiteX31349" fmla="*/ 843255 w 6884782"/>
              <a:gd name="connsiteY31349" fmla="*/ 2577342 h 5973007"/>
              <a:gd name="connsiteX31350" fmla="*/ 852174 w 6884782"/>
              <a:gd name="connsiteY31350" fmla="*/ 2579820 h 5973007"/>
              <a:gd name="connsiteX31351" fmla="*/ 853826 w 6884782"/>
              <a:gd name="connsiteY31351" fmla="*/ 2581524 h 5973007"/>
              <a:gd name="connsiteX31352" fmla="*/ 857233 w 6884782"/>
              <a:gd name="connsiteY31352" fmla="*/ 2583073 h 5973007"/>
              <a:gd name="connsiteX31353" fmla="*/ 852484 w 6884782"/>
              <a:gd name="connsiteY31353" fmla="*/ 2593451 h 5973007"/>
              <a:gd name="connsiteX31354" fmla="*/ 837615 w 6884782"/>
              <a:gd name="connsiteY31354" fmla="*/ 2596549 h 5973007"/>
              <a:gd name="connsiteX31355" fmla="*/ 834104 w 6884782"/>
              <a:gd name="connsiteY31355" fmla="*/ 2587720 h 5973007"/>
              <a:gd name="connsiteX31356" fmla="*/ 836582 w 6884782"/>
              <a:gd name="connsiteY31356" fmla="*/ 2582298 h 5973007"/>
              <a:gd name="connsiteX31357" fmla="*/ 843255 w 6884782"/>
              <a:gd name="connsiteY31357" fmla="*/ 2577342 h 5973007"/>
              <a:gd name="connsiteX31358" fmla="*/ 777726 w 6884782"/>
              <a:gd name="connsiteY31358" fmla="*/ 2576877 h 5973007"/>
              <a:gd name="connsiteX31359" fmla="*/ 777417 w 6884782"/>
              <a:gd name="connsiteY31359" fmla="*/ 2588030 h 5973007"/>
              <a:gd name="connsiteX31360" fmla="*/ 773080 w 6884782"/>
              <a:gd name="connsiteY31360" fmla="*/ 2587100 h 5973007"/>
              <a:gd name="connsiteX31361" fmla="*/ 769362 w 6884782"/>
              <a:gd name="connsiteY31361" fmla="*/ 2580594 h 5973007"/>
              <a:gd name="connsiteX31362" fmla="*/ 773699 w 6884782"/>
              <a:gd name="connsiteY31362" fmla="*/ 2578116 h 5973007"/>
              <a:gd name="connsiteX31363" fmla="*/ 777726 w 6884782"/>
              <a:gd name="connsiteY31363" fmla="*/ 2576877 h 5973007"/>
              <a:gd name="connsiteX31364" fmla="*/ 1305056 w 6884782"/>
              <a:gd name="connsiteY31364" fmla="*/ 2576412 h 5973007"/>
              <a:gd name="connsiteX31365" fmla="*/ 1305469 w 6884782"/>
              <a:gd name="connsiteY31365" fmla="*/ 2578736 h 5973007"/>
              <a:gd name="connsiteX31366" fmla="*/ 1307534 w 6884782"/>
              <a:gd name="connsiteY31366" fmla="*/ 2579510 h 5973007"/>
              <a:gd name="connsiteX31367" fmla="*/ 1307327 w 6884782"/>
              <a:gd name="connsiteY31367" fmla="*/ 2580284 h 5973007"/>
              <a:gd name="connsiteX31368" fmla="*/ 1305778 w 6884782"/>
              <a:gd name="connsiteY31368" fmla="*/ 2581214 h 5973007"/>
              <a:gd name="connsiteX31369" fmla="*/ 1305882 w 6884782"/>
              <a:gd name="connsiteY31369" fmla="*/ 2581369 h 5973007"/>
              <a:gd name="connsiteX31370" fmla="*/ 1303094 w 6884782"/>
              <a:gd name="connsiteY31370" fmla="*/ 2584467 h 5973007"/>
              <a:gd name="connsiteX31371" fmla="*/ 1300099 w 6884782"/>
              <a:gd name="connsiteY31371" fmla="*/ 2581059 h 5973007"/>
              <a:gd name="connsiteX31372" fmla="*/ 1301855 w 6884782"/>
              <a:gd name="connsiteY31372" fmla="*/ 2577651 h 5973007"/>
              <a:gd name="connsiteX31373" fmla="*/ 1305056 w 6884782"/>
              <a:gd name="connsiteY31373" fmla="*/ 2576412 h 5973007"/>
              <a:gd name="connsiteX31374" fmla="*/ 1107424 w 6884782"/>
              <a:gd name="connsiteY31374" fmla="*/ 2574708 h 5973007"/>
              <a:gd name="connsiteX31375" fmla="*/ 1111140 w 6884782"/>
              <a:gd name="connsiteY31375" fmla="*/ 2574708 h 5973007"/>
              <a:gd name="connsiteX31376" fmla="*/ 1112793 w 6884782"/>
              <a:gd name="connsiteY31376" fmla="*/ 2576877 h 5973007"/>
              <a:gd name="connsiteX31377" fmla="*/ 1111966 w 6884782"/>
              <a:gd name="connsiteY31377" fmla="*/ 2577187 h 5973007"/>
              <a:gd name="connsiteX31378" fmla="*/ 1108972 w 6884782"/>
              <a:gd name="connsiteY31378" fmla="*/ 2578891 h 5973007"/>
              <a:gd name="connsiteX31379" fmla="*/ 1107424 w 6884782"/>
              <a:gd name="connsiteY31379" fmla="*/ 2574708 h 5973007"/>
              <a:gd name="connsiteX31380" fmla="*/ 704518 w 6884782"/>
              <a:gd name="connsiteY31380" fmla="*/ 2574399 h 5973007"/>
              <a:gd name="connsiteX31381" fmla="*/ 718870 w 6884782"/>
              <a:gd name="connsiteY31381" fmla="*/ 2578426 h 5973007"/>
              <a:gd name="connsiteX31382" fmla="*/ 716701 w 6884782"/>
              <a:gd name="connsiteY31382" fmla="*/ 2586171 h 5973007"/>
              <a:gd name="connsiteX31383" fmla="*/ 700491 w 6884782"/>
              <a:gd name="connsiteY31383" fmla="*/ 2576412 h 5973007"/>
              <a:gd name="connsiteX31384" fmla="*/ 704518 w 6884782"/>
              <a:gd name="connsiteY31384" fmla="*/ 2574399 h 5973007"/>
              <a:gd name="connsiteX31385" fmla="*/ 870553 w 6884782"/>
              <a:gd name="connsiteY31385" fmla="*/ 2574360 h 5973007"/>
              <a:gd name="connsiteX31386" fmla="*/ 879330 w 6884782"/>
              <a:gd name="connsiteY31386" fmla="*/ 2579665 h 5973007"/>
              <a:gd name="connsiteX31387" fmla="*/ 878504 w 6884782"/>
              <a:gd name="connsiteY31387" fmla="*/ 2582298 h 5973007"/>
              <a:gd name="connsiteX31388" fmla="*/ 878711 w 6884782"/>
              <a:gd name="connsiteY31388" fmla="*/ 2582608 h 5973007"/>
              <a:gd name="connsiteX31389" fmla="*/ 873651 w 6884782"/>
              <a:gd name="connsiteY31389" fmla="*/ 2589114 h 5973007"/>
              <a:gd name="connsiteX31390" fmla="*/ 869108 w 6884782"/>
              <a:gd name="connsiteY31390" fmla="*/ 2585242 h 5973007"/>
              <a:gd name="connsiteX31391" fmla="*/ 869521 w 6884782"/>
              <a:gd name="connsiteY31391" fmla="*/ 2584777 h 5973007"/>
              <a:gd name="connsiteX31392" fmla="*/ 868489 w 6884782"/>
              <a:gd name="connsiteY31392" fmla="*/ 2584312 h 5973007"/>
              <a:gd name="connsiteX31393" fmla="*/ 863945 w 6884782"/>
              <a:gd name="connsiteY31393" fmla="*/ 2579510 h 5973007"/>
              <a:gd name="connsiteX31394" fmla="*/ 870553 w 6884782"/>
              <a:gd name="connsiteY31394" fmla="*/ 2574360 h 5973007"/>
              <a:gd name="connsiteX31395" fmla="*/ 1188686 w 6884782"/>
              <a:gd name="connsiteY31395" fmla="*/ 2573624 h 5973007"/>
              <a:gd name="connsiteX31396" fmla="*/ 1188789 w 6884782"/>
              <a:gd name="connsiteY31396" fmla="*/ 2579355 h 5973007"/>
              <a:gd name="connsiteX31397" fmla="*/ 1188789 w 6884782"/>
              <a:gd name="connsiteY31397" fmla="*/ 2581988 h 5973007"/>
              <a:gd name="connsiteX31398" fmla="*/ 1189305 w 6884782"/>
              <a:gd name="connsiteY31398" fmla="*/ 2579510 h 5973007"/>
              <a:gd name="connsiteX31399" fmla="*/ 1191474 w 6884782"/>
              <a:gd name="connsiteY31399" fmla="*/ 2579046 h 5973007"/>
              <a:gd name="connsiteX31400" fmla="*/ 1195707 w 6884782"/>
              <a:gd name="connsiteY31400" fmla="*/ 2581988 h 5973007"/>
              <a:gd name="connsiteX31401" fmla="*/ 1201386 w 6884782"/>
              <a:gd name="connsiteY31401" fmla="*/ 2579200 h 5973007"/>
              <a:gd name="connsiteX31402" fmla="*/ 1201799 w 6884782"/>
              <a:gd name="connsiteY31402" fmla="*/ 2579046 h 5973007"/>
              <a:gd name="connsiteX31403" fmla="*/ 1201799 w 6884782"/>
              <a:gd name="connsiteY31403" fmla="*/ 2578891 h 5973007"/>
              <a:gd name="connsiteX31404" fmla="*/ 1204174 w 6884782"/>
              <a:gd name="connsiteY31404" fmla="*/ 2577651 h 5973007"/>
              <a:gd name="connsiteX31405" fmla="*/ 1205000 w 6884782"/>
              <a:gd name="connsiteY31405" fmla="*/ 2577187 h 5973007"/>
              <a:gd name="connsiteX31406" fmla="*/ 1210370 w 6884782"/>
              <a:gd name="connsiteY31406" fmla="*/ 2577342 h 5973007"/>
              <a:gd name="connsiteX31407" fmla="*/ 1213364 w 6884782"/>
              <a:gd name="connsiteY31407" fmla="*/ 2585396 h 5973007"/>
              <a:gd name="connsiteX31408" fmla="*/ 1212538 w 6884782"/>
              <a:gd name="connsiteY31408" fmla="*/ 2587720 h 5973007"/>
              <a:gd name="connsiteX31409" fmla="*/ 1214500 w 6884782"/>
              <a:gd name="connsiteY31409" fmla="*/ 2587100 h 5973007"/>
              <a:gd name="connsiteX31410" fmla="*/ 1215842 w 6884782"/>
              <a:gd name="connsiteY31410" fmla="*/ 2603829 h 5973007"/>
              <a:gd name="connsiteX31411" fmla="*/ 1215120 w 6884782"/>
              <a:gd name="connsiteY31411" fmla="*/ 2605688 h 5973007"/>
              <a:gd name="connsiteX31412" fmla="*/ 1212951 w 6884782"/>
              <a:gd name="connsiteY31412" fmla="*/ 2605688 h 5973007"/>
              <a:gd name="connsiteX31413" fmla="*/ 1209440 w 6884782"/>
              <a:gd name="connsiteY31413" fmla="*/ 2595000 h 5973007"/>
              <a:gd name="connsiteX31414" fmla="*/ 1210370 w 6884782"/>
              <a:gd name="connsiteY31414" fmla="*/ 2592831 h 5973007"/>
              <a:gd name="connsiteX31415" fmla="*/ 1210886 w 6884782"/>
              <a:gd name="connsiteY31415" fmla="*/ 2591747 h 5973007"/>
              <a:gd name="connsiteX31416" fmla="*/ 1208821 w 6884782"/>
              <a:gd name="connsiteY31416" fmla="*/ 2594071 h 5973007"/>
              <a:gd name="connsiteX31417" fmla="*/ 1201076 w 6884782"/>
              <a:gd name="connsiteY31417" fmla="*/ 2594845 h 5973007"/>
              <a:gd name="connsiteX31418" fmla="*/ 1200767 w 6884782"/>
              <a:gd name="connsiteY31418" fmla="*/ 2594071 h 5973007"/>
              <a:gd name="connsiteX31419" fmla="*/ 1196740 w 6884782"/>
              <a:gd name="connsiteY31419" fmla="*/ 2597478 h 5973007"/>
              <a:gd name="connsiteX31420" fmla="*/ 1189719 w 6884782"/>
              <a:gd name="connsiteY31420" fmla="*/ 2586481 h 5973007"/>
              <a:gd name="connsiteX31421" fmla="*/ 1189408 w 6884782"/>
              <a:gd name="connsiteY31421" fmla="*/ 2584777 h 5973007"/>
              <a:gd name="connsiteX31422" fmla="*/ 1188789 w 6884782"/>
              <a:gd name="connsiteY31422" fmla="*/ 2584931 h 5973007"/>
              <a:gd name="connsiteX31423" fmla="*/ 1188789 w 6884782"/>
              <a:gd name="connsiteY31423" fmla="*/ 2586790 h 5973007"/>
              <a:gd name="connsiteX31424" fmla="*/ 1183420 w 6884782"/>
              <a:gd name="connsiteY31424" fmla="*/ 2596394 h 5973007"/>
              <a:gd name="connsiteX31425" fmla="*/ 1182697 w 6884782"/>
              <a:gd name="connsiteY31425" fmla="*/ 2590663 h 5973007"/>
              <a:gd name="connsiteX31426" fmla="*/ 1182387 w 6884782"/>
              <a:gd name="connsiteY31426" fmla="*/ 2586635 h 5973007"/>
              <a:gd name="connsiteX31427" fmla="*/ 1181561 w 6884782"/>
              <a:gd name="connsiteY31427" fmla="*/ 2586016 h 5973007"/>
              <a:gd name="connsiteX31428" fmla="*/ 1181458 w 6884782"/>
              <a:gd name="connsiteY31428" fmla="*/ 2585087 h 5973007"/>
              <a:gd name="connsiteX31429" fmla="*/ 1182284 w 6884782"/>
              <a:gd name="connsiteY31429" fmla="*/ 2584467 h 5973007"/>
              <a:gd name="connsiteX31430" fmla="*/ 1182181 w 6884782"/>
              <a:gd name="connsiteY31430" fmla="*/ 2583383 h 5973007"/>
              <a:gd name="connsiteX31431" fmla="*/ 1188686 w 6884782"/>
              <a:gd name="connsiteY31431" fmla="*/ 2573624 h 5973007"/>
              <a:gd name="connsiteX31432" fmla="*/ 789704 w 6884782"/>
              <a:gd name="connsiteY31432" fmla="*/ 2573160 h 5973007"/>
              <a:gd name="connsiteX31433" fmla="*/ 795486 w 6884782"/>
              <a:gd name="connsiteY31433" fmla="*/ 2580750 h 5973007"/>
              <a:gd name="connsiteX31434" fmla="*/ 784644 w 6884782"/>
              <a:gd name="connsiteY31434" fmla="*/ 2575018 h 5973007"/>
              <a:gd name="connsiteX31435" fmla="*/ 789704 w 6884782"/>
              <a:gd name="connsiteY31435" fmla="*/ 2573160 h 5973007"/>
              <a:gd name="connsiteX31436" fmla="*/ 999004 w 6884782"/>
              <a:gd name="connsiteY31436" fmla="*/ 2572540 h 5973007"/>
              <a:gd name="connsiteX31437" fmla="*/ 1003754 w 6884782"/>
              <a:gd name="connsiteY31437" fmla="*/ 2579820 h 5973007"/>
              <a:gd name="connsiteX31438" fmla="*/ 992189 w 6884782"/>
              <a:gd name="connsiteY31438" fmla="*/ 2581059 h 5973007"/>
              <a:gd name="connsiteX31439" fmla="*/ 992602 w 6884782"/>
              <a:gd name="connsiteY31439" fmla="*/ 2576877 h 5973007"/>
              <a:gd name="connsiteX31440" fmla="*/ 999004 w 6884782"/>
              <a:gd name="connsiteY31440" fmla="*/ 2572540 h 5973007"/>
              <a:gd name="connsiteX31441" fmla="*/ 508537 w 6884782"/>
              <a:gd name="connsiteY31441" fmla="*/ 2570991 h 5973007"/>
              <a:gd name="connsiteX31442" fmla="*/ 522270 w 6884782"/>
              <a:gd name="connsiteY31442" fmla="*/ 2587410 h 5973007"/>
              <a:gd name="connsiteX31443" fmla="*/ 518347 w 6884782"/>
              <a:gd name="connsiteY31443" fmla="*/ 2589114 h 5973007"/>
              <a:gd name="connsiteX31444" fmla="*/ 507401 w 6884782"/>
              <a:gd name="connsiteY31444" fmla="*/ 2576722 h 5973007"/>
              <a:gd name="connsiteX31445" fmla="*/ 508537 w 6884782"/>
              <a:gd name="connsiteY31445" fmla="*/ 2570991 h 5973007"/>
              <a:gd name="connsiteX31446" fmla="*/ 5102866 w 6884782"/>
              <a:gd name="connsiteY31446" fmla="*/ 2570372 h 5973007"/>
              <a:gd name="connsiteX31447" fmla="*/ 5104787 w 6884782"/>
              <a:gd name="connsiteY31447" fmla="*/ 2575778 h 5973007"/>
              <a:gd name="connsiteX31448" fmla="*/ 5102013 w 6884782"/>
              <a:gd name="connsiteY31448" fmla="*/ 2577058 h 5973007"/>
              <a:gd name="connsiteX31449" fmla="*/ 5104573 w 6884782"/>
              <a:gd name="connsiteY31449" fmla="*/ 2578339 h 5973007"/>
              <a:gd name="connsiteX31450" fmla="*/ 5107135 w 6884782"/>
              <a:gd name="connsiteY31450" fmla="*/ 2596549 h 5973007"/>
              <a:gd name="connsiteX31451" fmla="*/ 5097744 w 6884782"/>
              <a:gd name="connsiteY31451" fmla="*/ 2601813 h 5973007"/>
              <a:gd name="connsiteX31452" fmla="*/ 5093476 w 6884782"/>
              <a:gd name="connsiteY31452" fmla="*/ 2601528 h 5973007"/>
              <a:gd name="connsiteX31453" fmla="*/ 5095610 w 6884782"/>
              <a:gd name="connsiteY31453" fmla="*/ 2575636 h 5973007"/>
              <a:gd name="connsiteX31454" fmla="*/ 5097530 w 6884782"/>
              <a:gd name="connsiteY31454" fmla="*/ 2575778 h 5973007"/>
              <a:gd name="connsiteX31455" fmla="*/ 5095397 w 6884782"/>
              <a:gd name="connsiteY31455" fmla="*/ 2574070 h 5973007"/>
              <a:gd name="connsiteX31456" fmla="*/ 5102866 w 6884782"/>
              <a:gd name="connsiteY31456" fmla="*/ 2570372 h 5973007"/>
              <a:gd name="connsiteX31457" fmla="*/ 1153062 w 6884782"/>
              <a:gd name="connsiteY31457" fmla="*/ 2569907 h 5973007"/>
              <a:gd name="connsiteX31458" fmla="*/ 1148829 w 6884782"/>
              <a:gd name="connsiteY31458" fmla="*/ 2576257 h 5973007"/>
              <a:gd name="connsiteX31459" fmla="*/ 1151514 w 6884782"/>
              <a:gd name="connsiteY31459" fmla="*/ 2570217 h 5973007"/>
              <a:gd name="connsiteX31460" fmla="*/ 1153062 w 6884782"/>
              <a:gd name="connsiteY31460" fmla="*/ 2569907 h 5973007"/>
              <a:gd name="connsiteX31461" fmla="*/ 1300719 w 6884782"/>
              <a:gd name="connsiteY31461" fmla="*/ 2569287 h 5973007"/>
              <a:gd name="connsiteX31462" fmla="*/ 1293594 w 6884782"/>
              <a:gd name="connsiteY31462" fmla="*/ 2581369 h 5973007"/>
              <a:gd name="connsiteX31463" fmla="*/ 1293594 w 6884782"/>
              <a:gd name="connsiteY31463" fmla="*/ 2581214 h 5973007"/>
              <a:gd name="connsiteX31464" fmla="*/ 1291219 w 6884782"/>
              <a:gd name="connsiteY31464" fmla="*/ 2582143 h 5973007"/>
              <a:gd name="connsiteX31465" fmla="*/ 1287812 w 6884782"/>
              <a:gd name="connsiteY31465" fmla="*/ 2580130 h 5973007"/>
              <a:gd name="connsiteX31466" fmla="*/ 1291323 w 6884782"/>
              <a:gd name="connsiteY31466" fmla="*/ 2579046 h 5973007"/>
              <a:gd name="connsiteX31467" fmla="*/ 1293801 w 6884782"/>
              <a:gd name="connsiteY31467" fmla="*/ 2579975 h 5973007"/>
              <a:gd name="connsiteX31468" fmla="*/ 1294937 w 6884782"/>
              <a:gd name="connsiteY31468" fmla="*/ 2574089 h 5973007"/>
              <a:gd name="connsiteX31469" fmla="*/ 1296795 w 6884782"/>
              <a:gd name="connsiteY31469" fmla="*/ 2569442 h 5973007"/>
              <a:gd name="connsiteX31470" fmla="*/ 1300719 w 6884782"/>
              <a:gd name="connsiteY31470" fmla="*/ 2569287 h 5973007"/>
              <a:gd name="connsiteX31471" fmla="*/ 861983 w 6884782"/>
              <a:gd name="connsiteY31471" fmla="*/ 2568822 h 5973007"/>
              <a:gd name="connsiteX31472" fmla="*/ 857130 w 6884782"/>
              <a:gd name="connsiteY31472" fmla="*/ 2575638 h 5973007"/>
              <a:gd name="connsiteX31473" fmla="*/ 861983 w 6884782"/>
              <a:gd name="connsiteY31473" fmla="*/ 2568822 h 5973007"/>
              <a:gd name="connsiteX31474" fmla="*/ 715050 w 6884782"/>
              <a:gd name="connsiteY31474" fmla="*/ 2568822 h 5973007"/>
              <a:gd name="connsiteX31475" fmla="*/ 725995 w 6884782"/>
              <a:gd name="connsiteY31475" fmla="*/ 2572385 h 5973007"/>
              <a:gd name="connsiteX31476" fmla="*/ 718767 w 6884782"/>
              <a:gd name="connsiteY31476" fmla="*/ 2575948 h 5973007"/>
              <a:gd name="connsiteX31477" fmla="*/ 711126 w 6884782"/>
              <a:gd name="connsiteY31477" fmla="*/ 2570836 h 5973007"/>
              <a:gd name="connsiteX31478" fmla="*/ 715050 w 6884782"/>
              <a:gd name="connsiteY31478" fmla="*/ 2568822 h 5973007"/>
              <a:gd name="connsiteX31479" fmla="*/ 1043817 w 6884782"/>
              <a:gd name="connsiteY31479" fmla="*/ 2565879 h 5973007"/>
              <a:gd name="connsiteX31480" fmla="*/ 1050219 w 6884782"/>
              <a:gd name="connsiteY31480" fmla="*/ 2566963 h 5973007"/>
              <a:gd name="connsiteX31481" fmla="*/ 1052388 w 6884782"/>
              <a:gd name="connsiteY31481" fmla="*/ 2569287 h 5973007"/>
              <a:gd name="connsiteX31482" fmla="*/ 1053833 w 6884782"/>
              <a:gd name="connsiteY31482" fmla="*/ 2568358 h 5973007"/>
              <a:gd name="connsiteX31483" fmla="*/ 1069631 w 6884782"/>
              <a:gd name="connsiteY31483" fmla="*/ 2576568 h 5973007"/>
              <a:gd name="connsiteX31484" fmla="*/ 1075311 w 6884782"/>
              <a:gd name="connsiteY31484" fmla="*/ 2585087 h 5973007"/>
              <a:gd name="connsiteX31485" fmla="*/ 1074278 w 6884782"/>
              <a:gd name="connsiteY31485" fmla="*/ 2587720 h 5973007"/>
              <a:gd name="connsiteX31486" fmla="*/ 1073142 w 6884782"/>
              <a:gd name="connsiteY31486" fmla="*/ 2588494 h 5973007"/>
              <a:gd name="connsiteX31487" fmla="*/ 1072729 w 6884782"/>
              <a:gd name="connsiteY31487" fmla="*/ 2589888 h 5973007"/>
              <a:gd name="connsiteX31488" fmla="*/ 1074794 w 6884782"/>
              <a:gd name="connsiteY31488" fmla="*/ 2598407 h 5973007"/>
              <a:gd name="connsiteX31489" fmla="*/ 1075311 w 6884782"/>
              <a:gd name="connsiteY31489" fmla="*/ 2595155 h 5973007"/>
              <a:gd name="connsiteX31490" fmla="*/ 1075207 w 6884782"/>
              <a:gd name="connsiteY31490" fmla="*/ 2595929 h 5973007"/>
              <a:gd name="connsiteX31491" fmla="*/ 1077066 w 6884782"/>
              <a:gd name="connsiteY31491" fmla="*/ 2595929 h 5973007"/>
              <a:gd name="connsiteX31492" fmla="*/ 1077066 w 6884782"/>
              <a:gd name="connsiteY31492" fmla="*/ 2595000 h 5973007"/>
              <a:gd name="connsiteX31493" fmla="*/ 1078821 w 6884782"/>
              <a:gd name="connsiteY31493" fmla="*/ 2595775 h 5973007"/>
              <a:gd name="connsiteX31494" fmla="*/ 1081093 w 6884782"/>
              <a:gd name="connsiteY31494" fmla="*/ 2601660 h 5973007"/>
              <a:gd name="connsiteX31495" fmla="*/ 1078615 w 6884782"/>
              <a:gd name="connsiteY31495" fmla="*/ 2602745 h 5973007"/>
              <a:gd name="connsiteX31496" fmla="*/ 1077375 w 6884782"/>
              <a:gd name="connsiteY31496" fmla="*/ 2602125 h 5973007"/>
              <a:gd name="connsiteX31497" fmla="*/ 1076033 w 6884782"/>
              <a:gd name="connsiteY31497" fmla="*/ 2603519 h 5973007"/>
              <a:gd name="connsiteX31498" fmla="*/ 1078408 w 6884782"/>
              <a:gd name="connsiteY31498" fmla="*/ 2613432 h 5973007"/>
              <a:gd name="connsiteX31499" fmla="*/ 1072729 w 6884782"/>
              <a:gd name="connsiteY31499" fmla="*/ 2619783 h 5973007"/>
              <a:gd name="connsiteX31500" fmla="*/ 1071594 w 6884782"/>
              <a:gd name="connsiteY31500" fmla="*/ 2621797 h 5973007"/>
              <a:gd name="connsiteX31501" fmla="*/ 1071180 w 6884782"/>
              <a:gd name="connsiteY31501" fmla="*/ 2623501 h 5973007"/>
              <a:gd name="connsiteX31502" fmla="*/ 1069322 w 6884782"/>
              <a:gd name="connsiteY31502" fmla="*/ 2625514 h 5973007"/>
              <a:gd name="connsiteX31503" fmla="*/ 1068083 w 6884782"/>
              <a:gd name="connsiteY31503" fmla="*/ 2627838 h 5973007"/>
              <a:gd name="connsiteX31504" fmla="*/ 1054453 w 6884782"/>
              <a:gd name="connsiteY31504" fmla="*/ 2638526 h 5973007"/>
              <a:gd name="connsiteX31505" fmla="*/ 1053317 w 6884782"/>
              <a:gd name="connsiteY31505" fmla="*/ 2638061 h 5973007"/>
              <a:gd name="connsiteX31506" fmla="*/ 1052284 w 6884782"/>
              <a:gd name="connsiteY31506" fmla="*/ 2639145 h 5973007"/>
              <a:gd name="connsiteX31507" fmla="*/ 1046089 w 6884782"/>
              <a:gd name="connsiteY31507" fmla="*/ 2640539 h 5973007"/>
              <a:gd name="connsiteX31508" fmla="*/ 1044230 w 6884782"/>
              <a:gd name="connsiteY31508" fmla="*/ 2636667 h 5973007"/>
              <a:gd name="connsiteX31509" fmla="*/ 1044230 w 6884782"/>
              <a:gd name="connsiteY31509" fmla="*/ 2635738 h 5973007"/>
              <a:gd name="connsiteX31510" fmla="*/ 1042372 w 6884782"/>
              <a:gd name="connsiteY31510" fmla="*/ 2635583 h 5973007"/>
              <a:gd name="connsiteX31511" fmla="*/ 1032562 w 6884782"/>
              <a:gd name="connsiteY31511" fmla="*/ 2635893 h 5973007"/>
              <a:gd name="connsiteX31512" fmla="*/ 1022960 w 6884782"/>
              <a:gd name="connsiteY31512" fmla="*/ 2627993 h 5973007"/>
              <a:gd name="connsiteX31513" fmla="*/ 1016558 w 6884782"/>
              <a:gd name="connsiteY31513" fmla="*/ 2620713 h 5973007"/>
              <a:gd name="connsiteX31514" fmla="*/ 1010465 w 6884782"/>
              <a:gd name="connsiteY31514" fmla="*/ 2620558 h 5973007"/>
              <a:gd name="connsiteX31515" fmla="*/ 1004064 w 6884782"/>
              <a:gd name="connsiteY31515" fmla="*/ 2619938 h 5973007"/>
              <a:gd name="connsiteX31516" fmla="*/ 1009949 w 6884782"/>
              <a:gd name="connsiteY31516" fmla="*/ 2618234 h 5973007"/>
              <a:gd name="connsiteX31517" fmla="*/ 1013770 w 6884782"/>
              <a:gd name="connsiteY31517" fmla="*/ 2618854 h 5973007"/>
              <a:gd name="connsiteX31518" fmla="*/ 1015319 w 6884782"/>
              <a:gd name="connsiteY31518" fmla="*/ 2619319 h 5973007"/>
              <a:gd name="connsiteX31519" fmla="*/ 1014493 w 6884782"/>
              <a:gd name="connsiteY31519" fmla="*/ 2618079 h 5973007"/>
              <a:gd name="connsiteX31520" fmla="*/ 1007368 w 6884782"/>
              <a:gd name="connsiteY31520" fmla="*/ 2594690 h 5973007"/>
              <a:gd name="connsiteX31521" fmla="*/ 1028329 w 6884782"/>
              <a:gd name="connsiteY31521" fmla="*/ 2568977 h 5973007"/>
              <a:gd name="connsiteX31522" fmla="*/ 1040100 w 6884782"/>
              <a:gd name="connsiteY31522" fmla="*/ 2571146 h 5973007"/>
              <a:gd name="connsiteX31523" fmla="*/ 1042165 w 6884782"/>
              <a:gd name="connsiteY31523" fmla="*/ 2570526 h 5973007"/>
              <a:gd name="connsiteX31524" fmla="*/ 5048871 w 6884782"/>
              <a:gd name="connsiteY31524" fmla="*/ 2565819 h 5973007"/>
              <a:gd name="connsiteX31525" fmla="*/ 5053993 w 6884782"/>
              <a:gd name="connsiteY31525" fmla="*/ 2568237 h 5973007"/>
              <a:gd name="connsiteX31526" fmla="*/ 5048658 w 6884782"/>
              <a:gd name="connsiteY31526" fmla="*/ 2577343 h 5973007"/>
              <a:gd name="connsiteX31527" fmla="*/ 5048871 w 6884782"/>
              <a:gd name="connsiteY31527" fmla="*/ 2565819 h 5973007"/>
              <a:gd name="connsiteX31528" fmla="*/ 1317021 w 6884782"/>
              <a:gd name="connsiteY31528" fmla="*/ 2564737 h 5973007"/>
              <a:gd name="connsiteX31529" fmla="*/ 1323022 w 6884782"/>
              <a:gd name="connsiteY31529" fmla="*/ 2565724 h 5973007"/>
              <a:gd name="connsiteX31530" fmla="*/ 1323848 w 6884782"/>
              <a:gd name="connsiteY31530" fmla="*/ 2568048 h 5973007"/>
              <a:gd name="connsiteX31531" fmla="*/ 1323745 w 6884782"/>
              <a:gd name="connsiteY31531" fmla="*/ 2568513 h 5973007"/>
              <a:gd name="connsiteX31532" fmla="*/ 1323848 w 6884782"/>
              <a:gd name="connsiteY31532" fmla="*/ 2568667 h 5973007"/>
              <a:gd name="connsiteX31533" fmla="*/ 1324674 w 6884782"/>
              <a:gd name="connsiteY31533" fmla="*/ 2571301 h 5973007"/>
              <a:gd name="connsiteX31534" fmla="*/ 1321060 w 6884782"/>
              <a:gd name="connsiteY31534" fmla="*/ 2575018 h 5973007"/>
              <a:gd name="connsiteX31535" fmla="*/ 1316620 w 6884782"/>
              <a:gd name="connsiteY31535" fmla="*/ 2572695 h 5973007"/>
              <a:gd name="connsiteX31536" fmla="*/ 1316517 w 6884782"/>
              <a:gd name="connsiteY31536" fmla="*/ 2572075 h 5973007"/>
              <a:gd name="connsiteX31537" fmla="*/ 1313419 w 6884782"/>
              <a:gd name="connsiteY31537" fmla="*/ 2571765 h 5973007"/>
              <a:gd name="connsiteX31538" fmla="*/ 1317021 w 6884782"/>
              <a:gd name="connsiteY31538" fmla="*/ 2564737 h 5973007"/>
              <a:gd name="connsiteX31539" fmla="*/ 6197710 w 6884782"/>
              <a:gd name="connsiteY31539" fmla="*/ 2563400 h 5973007"/>
              <a:gd name="connsiteX31540" fmla="*/ 6200057 w 6884782"/>
              <a:gd name="connsiteY31540" fmla="*/ 2564538 h 5973007"/>
              <a:gd name="connsiteX31541" fmla="*/ 6200698 w 6884782"/>
              <a:gd name="connsiteY31541" fmla="*/ 2566673 h 5973007"/>
              <a:gd name="connsiteX31542" fmla="*/ 6199204 w 6884782"/>
              <a:gd name="connsiteY31542" fmla="*/ 2569091 h 5973007"/>
              <a:gd name="connsiteX31543" fmla="*/ 6195149 w 6884782"/>
              <a:gd name="connsiteY31543" fmla="*/ 2571652 h 5973007"/>
              <a:gd name="connsiteX31544" fmla="*/ 6191947 w 6884782"/>
              <a:gd name="connsiteY31544" fmla="*/ 2570940 h 5973007"/>
              <a:gd name="connsiteX31545" fmla="*/ 6191947 w 6884782"/>
              <a:gd name="connsiteY31545" fmla="*/ 2568237 h 5973007"/>
              <a:gd name="connsiteX31546" fmla="*/ 6190880 w 6884782"/>
              <a:gd name="connsiteY31546" fmla="*/ 2566246 h 5973007"/>
              <a:gd name="connsiteX31547" fmla="*/ 6191947 w 6884782"/>
              <a:gd name="connsiteY31547" fmla="*/ 2565534 h 5973007"/>
              <a:gd name="connsiteX31548" fmla="*/ 6192587 w 6884782"/>
              <a:gd name="connsiteY31548" fmla="*/ 2563827 h 5973007"/>
              <a:gd name="connsiteX31549" fmla="*/ 6197710 w 6884782"/>
              <a:gd name="connsiteY31549" fmla="*/ 2563400 h 5973007"/>
              <a:gd name="connsiteX31550" fmla="*/ 1349146 w 6884782"/>
              <a:gd name="connsiteY31550" fmla="*/ 2563246 h 5973007"/>
              <a:gd name="connsiteX31551" fmla="*/ 1352554 w 6884782"/>
              <a:gd name="connsiteY31551" fmla="*/ 2567118 h 5973007"/>
              <a:gd name="connsiteX31552" fmla="*/ 1328804 w 6884782"/>
              <a:gd name="connsiteY31552" fmla="*/ 2567273 h 5973007"/>
              <a:gd name="connsiteX31553" fmla="*/ 1349146 w 6884782"/>
              <a:gd name="connsiteY31553" fmla="*/ 2563246 h 5973007"/>
              <a:gd name="connsiteX31554" fmla="*/ 6204966 w 6884782"/>
              <a:gd name="connsiteY31554" fmla="*/ 2562831 h 5973007"/>
              <a:gd name="connsiteX31555" fmla="*/ 6210515 w 6884782"/>
              <a:gd name="connsiteY31555" fmla="*/ 2563116 h 5973007"/>
              <a:gd name="connsiteX31556" fmla="*/ 6220972 w 6884782"/>
              <a:gd name="connsiteY31556" fmla="*/ 2567526 h 5973007"/>
              <a:gd name="connsiteX31557" fmla="*/ 6223107 w 6884782"/>
              <a:gd name="connsiteY31557" fmla="*/ 2575351 h 5973007"/>
              <a:gd name="connsiteX31558" fmla="*/ 6200698 w 6884782"/>
              <a:gd name="connsiteY31558" fmla="*/ 2565108 h 5973007"/>
              <a:gd name="connsiteX31559" fmla="*/ 6204966 w 6884782"/>
              <a:gd name="connsiteY31559" fmla="*/ 2562831 h 5973007"/>
              <a:gd name="connsiteX31560" fmla="*/ 609109 w 6884782"/>
              <a:gd name="connsiteY31560" fmla="*/ 2562782 h 5973007"/>
              <a:gd name="connsiteX31561" fmla="*/ 628624 w 6884782"/>
              <a:gd name="connsiteY31561" fmla="*/ 2577497 h 5973007"/>
              <a:gd name="connsiteX31562" fmla="*/ 609831 w 6884782"/>
              <a:gd name="connsiteY31562" fmla="*/ 2568203 h 5973007"/>
              <a:gd name="connsiteX31563" fmla="*/ 608592 w 6884782"/>
              <a:gd name="connsiteY31563" fmla="*/ 2564331 h 5973007"/>
              <a:gd name="connsiteX31564" fmla="*/ 609109 w 6884782"/>
              <a:gd name="connsiteY31564" fmla="*/ 2562782 h 5973007"/>
              <a:gd name="connsiteX31565" fmla="*/ 479109 w 6884782"/>
              <a:gd name="connsiteY31565" fmla="*/ 2562782 h 5973007"/>
              <a:gd name="connsiteX31566" fmla="*/ 480761 w 6884782"/>
              <a:gd name="connsiteY31566" fmla="*/ 2569752 h 5973007"/>
              <a:gd name="connsiteX31567" fmla="*/ 475598 w 6884782"/>
              <a:gd name="connsiteY31567" fmla="*/ 2568358 h 5973007"/>
              <a:gd name="connsiteX31568" fmla="*/ 474050 w 6884782"/>
              <a:gd name="connsiteY31568" fmla="*/ 2565724 h 5973007"/>
              <a:gd name="connsiteX31569" fmla="*/ 475702 w 6884782"/>
              <a:gd name="connsiteY31569" fmla="*/ 2563401 h 5973007"/>
              <a:gd name="connsiteX31570" fmla="*/ 479109 w 6884782"/>
              <a:gd name="connsiteY31570" fmla="*/ 2562782 h 5973007"/>
              <a:gd name="connsiteX31571" fmla="*/ 1100918 w 6884782"/>
              <a:gd name="connsiteY31571" fmla="*/ 2562162 h 5973007"/>
              <a:gd name="connsiteX31572" fmla="*/ 1101125 w 6884782"/>
              <a:gd name="connsiteY31572" fmla="*/ 2564021 h 5973007"/>
              <a:gd name="connsiteX31573" fmla="*/ 1100608 w 6884782"/>
              <a:gd name="connsiteY31573" fmla="*/ 2566189 h 5973007"/>
              <a:gd name="connsiteX31574" fmla="*/ 1101434 w 6884782"/>
              <a:gd name="connsiteY31574" fmla="*/ 2567738 h 5973007"/>
              <a:gd name="connsiteX31575" fmla="*/ 1098233 w 6884782"/>
              <a:gd name="connsiteY31575" fmla="*/ 2573314 h 5973007"/>
              <a:gd name="connsiteX31576" fmla="*/ 1098130 w 6884782"/>
              <a:gd name="connsiteY31576" fmla="*/ 2571301 h 5973007"/>
              <a:gd name="connsiteX31577" fmla="*/ 1098543 w 6884782"/>
              <a:gd name="connsiteY31577" fmla="*/ 2569132 h 5973007"/>
              <a:gd name="connsiteX31578" fmla="*/ 1099059 w 6884782"/>
              <a:gd name="connsiteY31578" fmla="*/ 2566963 h 5973007"/>
              <a:gd name="connsiteX31579" fmla="*/ 1098853 w 6884782"/>
              <a:gd name="connsiteY31579" fmla="*/ 2565105 h 5973007"/>
              <a:gd name="connsiteX31580" fmla="*/ 1100918 w 6884782"/>
              <a:gd name="connsiteY31580" fmla="*/ 2562162 h 5973007"/>
              <a:gd name="connsiteX31581" fmla="*/ 1031014 w 6884782"/>
              <a:gd name="connsiteY31581" fmla="*/ 2561697 h 5973007"/>
              <a:gd name="connsiteX31582" fmla="*/ 1032666 w 6884782"/>
              <a:gd name="connsiteY31582" fmla="*/ 2561697 h 5973007"/>
              <a:gd name="connsiteX31583" fmla="*/ 1034008 w 6884782"/>
              <a:gd name="connsiteY31583" fmla="*/ 2563556 h 5973007"/>
              <a:gd name="connsiteX31584" fmla="*/ 1031736 w 6884782"/>
              <a:gd name="connsiteY31584" fmla="*/ 2567118 h 5973007"/>
              <a:gd name="connsiteX31585" fmla="*/ 1026987 w 6884782"/>
              <a:gd name="connsiteY31585" fmla="*/ 2567893 h 5973007"/>
              <a:gd name="connsiteX31586" fmla="*/ 1024922 w 6884782"/>
              <a:gd name="connsiteY31586" fmla="*/ 2569442 h 5973007"/>
              <a:gd name="connsiteX31587" fmla="*/ 1024096 w 6884782"/>
              <a:gd name="connsiteY31587" fmla="*/ 2568977 h 5973007"/>
              <a:gd name="connsiteX31588" fmla="*/ 1031014 w 6884782"/>
              <a:gd name="connsiteY31588" fmla="*/ 2561697 h 5973007"/>
              <a:gd name="connsiteX31589" fmla="*/ 828838 w 6884782"/>
              <a:gd name="connsiteY31589" fmla="*/ 2560923 h 5973007"/>
              <a:gd name="connsiteX31590" fmla="*/ 837098 w 6884782"/>
              <a:gd name="connsiteY31590" fmla="*/ 2567118 h 5973007"/>
              <a:gd name="connsiteX31591" fmla="*/ 835859 w 6884782"/>
              <a:gd name="connsiteY31591" fmla="*/ 2568203 h 5973007"/>
              <a:gd name="connsiteX31592" fmla="*/ 837615 w 6884782"/>
              <a:gd name="connsiteY31592" fmla="*/ 2568822 h 5973007"/>
              <a:gd name="connsiteX31593" fmla="*/ 839886 w 6884782"/>
              <a:gd name="connsiteY31593" fmla="*/ 2570526 h 5973007"/>
              <a:gd name="connsiteX31594" fmla="*/ 837822 w 6884782"/>
              <a:gd name="connsiteY31594" fmla="*/ 2576412 h 5973007"/>
              <a:gd name="connsiteX31595" fmla="*/ 835240 w 6884782"/>
              <a:gd name="connsiteY31595" fmla="*/ 2577342 h 5973007"/>
              <a:gd name="connsiteX31596" fmla="*/ 830077 w 6884782"/>
              <a:gd name="connsiteY31596" fmla="*/ 2576722 h 5973007"/>
              <a:gd name="connsiteX31597" fmla="*/ 829974 w 6884782"/>
              <a:gd name="connsiteY31597" fmla="*/ 2577497 h 5973007"/>
              <a:gd name="connsiteX31598" fmla="*/ 829354 w 6884782"/>
              <a:gd name="connsiteY31598" fmla="*/ 2572540 h 5973007"/>
              <a:gd name="connsiteX31599" fmla="*/ 829870 w 6884782"/>
              <a:gd name="connsiteY31599" fmla="*/ 2572075 h 5973007"/>
              <a:gd name="connsiteX31600" fmla="*/ 829148 w 6884782"/>
              <a:gd name="connsiteY31600" fmla="*/ 2572385 h 5973007"/>
              <a:gd name="connsiteX31601" fmla="*/ 826360 w 6884782"/>
              <a:gd name="connsiteY31601" fmla="*/ 2567118 h 5973007"/>
              <a:gd name="connsiteX31602" fmla="*/ 828838 w 6884782"/>
              <a:gd name="connsiteY31602" fmla="*/ 2560923 h 5973007"/>
              <a:gd name="connsiteX31603" fmla="*/ 628314 w 6884782"/>
              <a:gd name="connsiteY31603" fmla="*/ 2560148 h 5973007"/>
              <a:gd name="connsiteX31604" fmla="*/ 633374 w 6884782"/>
              <a:gd name="connsiteY31604" fmla="*/ 2560923 h 5973007"/>
              <a:gd name="connsiteX31605" fmla="*/ 632135 w 6884782"/>
              <a:gd name="connsiteY31605" fmla="*/ 2564021 h 5973007"/>
              <a:gd name="connsiteX31606" fmla="*/ 628314 w 6884782"/>
              <a:gd name="connsiteY31606" fmla="*/ 2560148 h 5973007"/>
              <a:gd name="connsiteX31607" fmla="*/ 815311 w 6884782"/>
              <a:gd name="connsiteY31607" fmla="*/ 2559064 h 5973007"/>
              <a:gd name="connsiteX31608" fmla="*/ 822952 w 6884782"/>
              <a:gd name="connsiteY31608" fmla="*/ 2563556 h 5973007"/>
              <a:gd name="connsiteX31609" fmla="*/ 812936 w 6884782"/>
              <a:gd name="connsiteY31609" fmla="*/ 2563401 h 5973007"/>
              <a:gd name="connsiteX31610" fmla="*/ 815311 w 6884782"/>
              <a:gd name="connsiteY31610" fmla="*/ 2559064 h 5973007"/>
              <a:gd name="connsiteX31611" fmla="*/ 1132204 w 6884782"/>
              <a:gd name="connsiteY31611" fmla="*/ 2558909 h 5973007"/>
              <a:gd name="connsiteX31612" fmla="*/ 1134373 w 6884782"/>
              <a:gd name="connsiteY31612" fmla="*/ 2560768 h 5973007"/>
              <a:gd name="connsiteX31613" fmla="*/ 1133031 w 6884782"/>
              <a:gd name="connsiteY31613" fmla="*/ 2563401 h 5973007"/>
              <a:gd name="connsiteX31614" fmla="*/ 1134166 w 6884782"/>
              <a:gd name="connsiteY31614" fmla="*/ 2566654 h 5973007"/>
              <a:gd name="connsiteX31615" fmla="*/ 1133754 w 6884782"/>
              <a:gd name="connsiteY31615" fmla="*/ 2567583 h 5973007"/>
              <a:gd name="connsiteX31616" fmla="*/ 1134580 w 6884782"/>
              <a:gd name="connsiteY31616" fmla="*/ 2567583 h 5973007"/>
              <a:gd name="connsiteX31617" fmla="*/ 1126526 w 6884782"/>
              <a:gd name="connsiteY31617" fmla="*/ 2592212 h 5973007"/>
              <a:gd name="connsiteX31618" fmla="*/ 1119091 w 6884782"/>
              <a:gd name="connsiteY31618" fmla="*/ 2583847 h 5973007"/>
              <a:gd name="connsiteX31619" fmla="*/ 1129107 w 6884782"/>
              <a:gd name="connsiteY31619" fmla="*/ 2567893 h 5973007"/>
              <a:gd name="connsiteX31620" fmla="*/ 1132411 w 6884782"/>
              <a:gd name="connsiteY31620" fmla="*/ 2567738 h 5973007"/>
              <a:gd name="connsiteX31621" fmla="*/ 1132411 w 6884782"/>
              <a:gd name="connsiteY31621" fmla="*/ 2567118 h 5973007"/>
              <a:gd name="connsiteX31622" fmla="*/ 1132928 w 6884782"/>
              <a:gd name="connsiteY31622" fmla="*/ 2566344 h 5973007"/>
              <a:gd name="connsiteX31623" fmla="*/ 1131172 w 6884782"/>
              <a:gd name="connsiteY31623" fmla="*/ 2560458 h 5973007"/>
              <a:gd name="connsiteX31624" fmla="*/ 1132204 w 6884782"/>
              <a:gd name="connsiteY31624" fmla="*/ 2558909 h 5973007"/>
              <a:gd name="connsiteX31625" fmla="*/ 666726 w 6884782"/>
              <a:gd name="connsiteY31625" fmla="*/ 2558289 h 5973007"/>
              <a:gd name="connsiteX31626" fmla="*/ 689235 w 6884782"/>
              <a:gd name="connsiteY31626" fmla="*/ 2566189 h 5973007"/>
              <a:gd name="connsiteX31627" fmla="*/ 666726 w 6884782"/>
              <a:gd name="connsiteY31627" fmla="*/ 2558289 h 5973007"/>
              <a:gd name="connsiteX31628" fmla="*/ 755629 w 6884782"/>
              <a:gd name="connsiteY31628" fmla="*/ 2557670 h 5973007"/>
              <a:gd name="connsiteX31629" fmla="*/ 760689 w 6884782"/>
              <a:gd name="connsiteY31629" fmla="*/ 2558135 h 5973007"/>
              <a:gd name="connsiteX31630" fmla="*/ 764096 w 6884782"/>
              <a:gd name="connsiteY31630" fmla="*/ 2557825 h 5973007"/>
              <a:gd name="connsiteX31631" fmla="*/ 766058 w 6884782"/>
              <a:gd name="connsiteY31631" fmla="*/ 2559684 h 5973007"/>
              <a:gd name="connsiteX31632" fmla="*/ 759553 w 6884782"/>
              <a:gd name="connsiteY31632" fmla="*/ 2563091 h 5973007"/>
              <a:gd name="connsiteX31633" fmla="*/ 753461 w 6884782"/>
              <a:gd name="connsiteY31633" fmla="*/ 2561078 h 5973007"/>
              <a:gd name="connsiteX31634" fmla="*/ 755629 w 6884782"/>
              <a:gd name="connsiteY31634" fmla="*/ 2557670 h 5973007"/>
              <a:gd name="connsiteX31635" fmla="*/ 704943 w 6884782"/>
              <a:gd name="connsiteY31635" fmla="*/ 2556353 h 5973007"/>
              <a:gd name="connsiteX31636" fmla="*/ 719283 w 6884782"/>
              <a:gd name="connsiteY31636" fmla="*/ 2558754 h 5973007"/>
              <a:gd name="connsiteX31637" fmla="*/ 691920 w 6884782"/>
              <a:gd name="connsiteY31637" fmla="*/ 2566035 h 5973007"/>
              <a:gd name="connsiteX31638" fmla="*/ 704943 w 6884782"/>
              <a:gd name="connsiteY31638" fmla="*/ 2556353 h 5973007"/>
              <a:gd name="connsiteX31639" fmla="*/ 1285334 w 6884782"/>
              <a:gd name="connsiteY31639" fmla="*/ 2556121 h 5973007"/>
              <a:gd name="connsiteX31640" fmla="*/ 1293078 w 6884782"/>
              <a:gd name="connsiteY31640" fmla="*/ 2556276 h 5973007"/>
              <a:gd name="connsiteX31641" fmla="*/ 1297311 w 6884782"/>
              <a:gd name="connsiteY31641" fmla="*/ 2564021 h 5973007"/>
              <a:gd name="connsiteX31642" fmla="*/ 1289258 w 6884782"/>
              <a:gd name="connsiteY31642" fmla="*/ 2566344 h 5973007"/>
              <a:gd name="connsiteX31643" fmla="*/ 1288432 w 6884782"/>
              <a:gd name="connsiteY31643" fmla="*/ 2565415 h 5973007"/>
              <a:gd name="connsiteX31644" fmla="*/ 1285334 w 6884782"/>
              <a:gd name="connsiteY31644" fmla="*/ 2560458 h 5973007"/>
              <a:gd name="connsiteX31645" fmla="*/ 1285334 w 6884782"/>
              <a:gd name="connsiteY31645" fmla="*/ 2556121 h 5973007"/>
              <a:gd name="connsiteX31646" fmla="*/ 706583 w 6884782"/>
              <a:gd name="connsiteY31646" fmla="*/ 2554262 h 5973007"/>
              <a:gd name="connsiteX31647" fmla="*/ 704208 w 6884782"/>
              <a:gd name="connsiteY31647" fmla="*/ 2554727 h 5973007"/>
              <a:gd name="connsiteX31648" fmla="*/ 703278 w 6884782"/>
              <a:gd name="connsiteY31648" fmla="*/ 2555966 h 5973007"/>
              <a:gd name="connsiteX31649" fmla="*/ 700594 w 6884782"/>
              <a:gd name="connsiteY31649" fmla="*/ 2555192 h 5973007"/>
              <a:gd name="connsiteX31650" fmla="*/ 706583 w 6884782"/>
              <a:gd name="connsiteY31650" fmla="*/ 2554262 h 5973007"/>
              <a:gd name="connsiteX31651" fmla="*/ 1108559 w 6884782"/>
              <a:gd name="connsiteY31651" fmla="*/ 2553333 h 5973007"/>
              <a:gd name="connsiteX31652" fmla="*/ 1110108 w 6884782"/>
              <a:gd name="connsiteY31652" fmla="*/ 2553952 h 5973007"/>
              <a:gd name="connsiteX31653" fmla="*/ 1110521 w 6884782"/>
              <a:gd name="connsiteY31653" fmla="*/ 2553642 h 5973007"/>
              <a:gd name="connsiteX31654" fmla="*/ 1112690 w 6884782"/>
              <a:gd name="connsiteY31654" fmla="*/ 2556431 h 5973007"/>
              <a:gd name="connsiteX31655" fmla="*/ 1113309 w 6884782"/>
              <a:gd name="connsiteY31655" fmla="*/ 2559838 h 5973007"/>
              <a:gd name="connsiteX31656" fmla="*/ 1106700 w 6884782"/>
              <a:gd name="connsiteY31656" fmla="*/ 2559219 h 5973007"/>
              <a:gd name="connsiteX31657" fmla="*/ 1107630 w 6884782"/>
              <a:gd name="connsiteY31657" fmla="*/ 2556276 h 5973007"/>
              <a:gd name="connsiteX31658" fmla="*/ 1106081 w 6884782"/>
              <a:gd name="connsiteY31658" fmla="*/ 2555811 h 5973007"/>
              <a:gd name="connsiteX31659" fmla="*/ 1108559 w 6884782"/>
              <a:gd name="connsiteY31659" fmla="*/ 2553333 h 5973007"/>
              <a:gd name="connsiteX31660" fmla="*/ 1181664 w 6884782"/>
              <a:gd name="connsiteY31660" fmla="*/ 2551784 h 5973007"/>
              <a:gd name="connsiteX31661" fmla="*/ 1190958 w 6884782"/>
              <a:gd name="connsiteY31661" fmla="*/ 2560148 h 5973007"/>
              <a:gd name="connsiteX31662" fmla="*/ 1190958 w 6884782"/>
              <a:gd name="connsiteY31662" fmla="*/ 2563091 h 5973007"/>
              <a:gd name="connsiteX31663" fmla="*/ 1192094 w 6884782"/>
              <a:gd name="connsiteY31663" fmla="*/ 2560923 h 5973007"/>
              <a:gd name="connsiteX31664" fmla="*/ 1196120 w 6884782"/>
              <a:gd name="connsiteY31664" fmla="*/ 2559838 h 5973007"/>
              <a:gd name="connsiteX31665" fmla="*/ 1195294 w 6884782"/>
              <a:gd name="connsiteY31665" fmla="*/ 2560148 h 5973007"/>
              <a:gd name="connsiteX31666" fmla="*/ 1196120 w 6884782"/>
              <a:gd name="connsiteY31666" fmla="*/ 2561697 h 5973007"/>
              <a:gd name="connsiteX31667" fmla="*/ 1196843 w 6884782"/>
              <a:gd name="connsiteY31667" fmla="*/ 2561387 h 5973007"/>
              <a:gd name="connsiteX31668" fmla="*/ 1196843 w 6884782"/>
              <a:gd name="connsiteY31668" fmla="*/ 2563246 h 5973007"/>
              <a:gd name="connsiteX31669" fmla="*/ 1192506 w 6884782"/>
              <a:gd name="connsiteY31669" fmla="*/ 2567738 h 5973007"/>
              <a:gd name="connsiteX31670" fmla="*/ 1190441 w 6884782"/>
              <a:gd name="connsiteY31670" fmla="*/ 2565879 h 5973007"/>
              <a:gd name="connsiteX31671" fmla="*/ 1190441 w 6884782"/>
              <a:gd name="connsiteY31671" fmla="*/ 2564640 h 5973007"/>
              <a:gd name="connsiteX31672" fmla="*/ 1186001 w 6884782"/>
              <a:gd name="connsiteY31672" fmla="*/ 2562471 h 5973007"/>
              <a:gd name="connsiteX31673" fmla="*/ 1181664 w 6884782"/>
              <a:gd name="connsiteY31673" fmla="*/ 2551784 h 5973007"/>
              <a:gd name="connsiteX31674" fmla="*/ 746646 w 6884782"/>
              <a:gd name="connsiteY31674" fmla="*/ 2551629 h 5973007"/>
              <a:gd name="connsiteX31675" fmla="*/ 752325 w 6884782"/>
              <a:gd name="connsiteY31675" fmla="*/ 2559528 h 5973007"/>
              <a:gd name="connsiteX31676" fmla="*/ 749640 w 6884782"/>
              <a:gd name="connsiteY31676" fmla="*/ 2562162 h 5973007"/>
              <a:gd name="connsiteX31677" fmla="*/ 742309 w 6884782"/>
              <a:gd name="connsiteY31677" fmla="*/ 2555192 h 5973007"/>
              <a:gd name="connsiteX31678" fmla="*/ 746646 w 6884782"/>
              <a:gd name="connsiteY31678" fmla="*/ 2551629 h 5973007"/>
              <a:gd name="connsiteX31679" fmla="*/ 843707 w 6884782"/>
              <a:gd name="connsiteY31679" fmla="*/ 2551319 h 5973007"/>
              <a:gd name="connsiteX31680" fmla="*/ 849179 w 6884782"/>
              <a:gd name="connsiteY31680" fmla="*/ 2558754 h 5973007"/>
              <a:gd name="connsiteX31681" fmla="*/ 842674 w 6884782"/>
              <a:gd name="connsiteY31681" fmla="*/ 2553333 h 5973007"/>
              <a:gd name="connsiteX31682" fmla="*/ 843707 w 6884782"/>
              <a:gd name="connsiteY31682" fmla="*/ 2551319 h 5973007"/>
              <a:gd name="connsiteX31683" fmla="*/ 1359781 w 6884782"/>
              <a:gd name="connsiteY31683" fmla="*/ 2550080 h 5973007"/>
              <a:gd name="connsiteX31684" fmla="*/ 1357923 w 6884782"/>
              <a:gd name="connsiteY31684" fmla="*/ 2552558 h 5973007"/>
              <a:gd name="connsiteX31685" fmla="*/ 1357097 w 6884782"/>
              <a:gd name="connsiteY31685" fmla="*/ 2551784 h 5973007"/>
              <a:gd name="connsiteX31686" fmla="*/ 1357097 w 6884782"/>
              <a:gd name="connsiteY31686" fmla="*/ 2552713 h 5973007"/>
              <a:gd name="connsiteX31687" fmla="*/ 1356787 w 6884782"/>
              <a:gd name="connsiteY31687" fmla="*/ 2551474 h 5973007"/>
              <a:gd name="connsiteX31688" fmla="*/ 1357097 w 6884782"/>
              <a:gd name="connsiteY31688" fmla="*/ 2551009 h 5973007"/>
              <a:gd name="connsiteX31689" fmla="*/ 1359781 w 6884782"/>
              <a:gd name="connsiteY31689" fmla="*/ 2550080 h 5973007"/>
              <a:gd name="connsiteX31690" fmla="*/ 714327 w 6884782"/>
              <a:gd name="connsiteY31690" fmla="*/ 2548686 h 5973007"/>
              <a:gd name="connsiteX31691" fmla="*/ 716289 w 6884782"/>
              <a:gd name="connsiteY31691" fmla="*/ 2548995 h 5973007"/>
              <a:gd name="connsiteX31692" fmla="*/ 715669 w 6884782"/>
              <a:gd name="connsiteY31692" fmla="*/ 2551474 h 5973007"/>
              <a:gd name="connsiteX31693" fmla="*/ 712675 w 6884782"/>
              <a:gd name="connsiteY31693" fmla="*/ 2551319 h 5973007"/>
              <a:gd name="connsiteX31694" fmla="*/ 710093 w 6884782"/>
              <a:gd name="connsiteY31694" fmla="*/ 2553642 h 5973007"/>
              <a:gd name="connsiteX31695" fmla="*/ 706996 w 6884782"/>
              <a:gd name="connsiteY31695" fmla="*/ 2553488 h 5973007"/>
              <a:gd name="connsiteX31696" fmla="*/ 706789 w 6884782"/>
              <a:gd name="connsiteY31696" fmla="*/ 2552558 h 5973007"/>
              <a:gd name="connsiteX31697" fmla="*/ 707512 w 6884782"/>
              <a:gd name="connsiteY31697" fmla="*/ 2552868 h 5973007"/>
              <a:gd name="connsiteX31698" fmla="*/ 709784 w 6884782"/>
              <a:gd name="connsiteY31698" fmla="*/ 2552403 h 5973007"/>
              <a:gd name="connsiteX31699" fmla="*/ 714327 w 6884782"/>
              <a:gd name="connsiteY31699" fmla="*/ 2548686 h 5973007"/>
              <a:gd name="connsiteX31700" fmla="*/ 5237961 w 6884782"/>
              <a:gd name="connsiteY31700" fmla="*/ 2548462 h 5973007"/>
              <a:gd name="connsiteX31701" fmla="*/ 5233692 w 6884782"/>
              <a:gd name="connsiteY31701" fmla="*/ 2551734 h 5973007"/>
              <a:gd name="connsiteX31702" fmla="*/ 5214058 w 6884782"/>
              <a:gd name="connsiteY31702" fmla="*/ 2565961 h 5973007"/>
              <a:gd name="connsiteX31703" fmla="*/ 5199972 w 6884782"/>
              <a:gd name="connsiteY31703" fmla="*/ 2580188 h 5973007"/>
              <a:gd name="connsiteX31704" fmla="*/ 5185886 w 6884782"/>
              <a:gd name="connsiteY31704" fmla="*/ 2588297 h 5973007"/>
              <a:gd name="connsiteX31705" fmla="*/ 5166252 w 6884782"/>
              <a:gd name="connsiteY31705" fmla="*/ 2603236 h 5973007"/>
              <a:gd name="connsiteX31706" fmla="*/ 5149819 w 6884782"/>
              <a:gd name="connsiteY31706" fmla="*/ 2618174 h 5973007"/>
              <a:gd name="connsiteX31707" fmla="*/ 5134879 w 6884782"/>
              <a:gd name="connsiteY31707" fmla="*/ 2633824 h 5973007"/>
              <a:gd name="connsiteX31708" fmla="*/ 5120793 w 6884782"/>
              <a:gd name="connsiteY31708" fmla="*/ 2647908 h 5973007"/>
              <a:gd name="connsiteX31709" fmla="*/ 5119086 w 6884782"/>
              <a:gd name="connsiteY31709" fmla="*/ 2642644 h 5973007"/>
              <a:gd name="connsiteX31710" fmla="*/ 5112043 w 6884782"/>
              <a:gd name="connsiteY31710" fmla="*/ 2647908 h 5973007"/>
              <a:gd name="connsiteX31711" fmla="*/ 5119086 w 6884782"/>
              <a:gd name="connsiteY31711" fmla="*/ 2649331 h 5973007"/>
              <a:gd name="connsiteX31712" fmla="*/ 5101799 w 6884782"/>
              <a:gd name="connsiteY31712" fmla="*/ 2670244 h 5973007"/>
              <a:gd name="connsiteX31713" fmla="*/ 5083658 w 6884782"/>
              <a:gd name="connsiteY31713" fmla="*/ 2691869 h 5973007"/>
              <a:gd name="connsiteX31714" fmla="*/ 5082805 w 6884782"/>
              <a:gd name="connsiteY31714" fmla="*/ 2685040 h 5973007"/>
              <a:gd name="connsiteX31715" fmla="*/ 5077469 w 6884782"/>
              <a:gd name="connsiteY31715" fmla="*/ 2698413 h 5973007"/>
              <a:gd name="connsiteX31716" fmla="*/ 5079817 w 6884782"/>
              <a:gd name="connsiteY31716" fmla="*/ 2691016 h 5973007"/>
              <a:gd name="connsiteX31717" fmla="*/ 5066372 w 6884782"/>
              <a:gd name="connsiteY31717" fmla="*/ 2708230 h 5973007"/>
              <a:gd name="connsiteX31718" fmla="*/ 5070426 w 6884782"/>
              <a:gd name="connsiteY31718" fmla="*/ 2708230 h 5973007"/>
              <a:gd name="connsiteX31719" fmla="*/ 5062530 w 6884782"/>
              <a:gd name="connsiteY31719" fmla="*/ 2716339 h 5973007"/>
              <a:gd name="connsiteX31720" fmla="*/ 5053780 w 6884782"/>
              <a:gd name="connsiteY31720" fmla="*/ 2726014 h 5973007"/>
              <a:gd name="connsiteX31721" fmla="*/ 5047590 w 6884782"/>
              <a:gd name="connsiteY31721" fmla="*/ 2744651 h 5973007"/>
              <a:gd name="connsiteX31722" fmla="*/ 5040547 w 6884782"/>
              <a:gd name="connsiteY31722" fmla="*/ 2748350 h 5973007"/>
              <a:gd name="connsiteX31723" fmla="*/ 5043535 w 6884782"/>
              <a:gd name="connsiteY31723" fmla="*/ 2754325 h 5973007"/>
              <a:gd name="connsiteX31724" fmla="*/ 5020913 w 6884782"/>
              <a:gd name="connsiteY31724" fmla="*/ 2785624 h 5973007"/>
              <a:gd name="connsiteX31725" fmla="*/ 5024754 w 6884782"/>
              <a:gd name="connsiteY31725" fmla="*/ 2761723 h 5973007"/>
              <a:gd name="connsiteX31726" fmla="*/ 5018352 w 6884782"/>
              <a:gd name="connsiteY31726" fmla="*/ 2772963 h 5973007"/>
              <a:gd name="connsiteX31727" fmla="*/ 5014297 w 6884782"/>
              <a:gd name="connsiteY31727" fmla="*/ 2781356 h 5973007"/>
              <a:gd name="connsiteX31728" fmla="*/ 5015150 w 6884782"/>
              <a:gd name="connsiteY31728" fmla="*/ 2783064 h 5973007"/>
              <a:gd name="connsiteX31729" fmla="*/ 5016272 w 6884782"/>
              <a:gd name="connsiteY31729" fmla="*/ 2785712 h 5973007"/>
              <a:gd name="connsiteX31730" fmla="*/ 5052497 w 6884782"/>
              <a:gd name="connsiteY31730" fmla="*/ 2785712 h 5973007"/>
              <a:gd name="connsiteX31731" fmla="*/ 5051432 w 6884782"/>
              <a:gd name="connsiteY31731" fmla="*/ 2784629 h 5973007"/>
              <a:gd name="connsiteX31732" fmla="*/ 5106921 w 6884782"/>
              <a:gd name="connsiteY31732" fmla="*/ 2725017 h 5973007"/>
              <a:gd name="connsiteX31733" fmla="*/ 5109696 w 6884782"/>
              <a:gd name="connsiteY31733" fmla="*/ 2737395 h 5973007"/>
              <a:gd name="connsiteX31734" fmla="*/ 5111616 w 6884782"/>
              <a:gd name="connsiteY31734" fmla="*/ 2736684 h 5973007"/>
              <a:gd name="connsiteX31735" fmla="*/ 5113537 w 6884782"/>
              <a:gd name="connsiteY31735" fmla="*/ 2731989 h 5973007"/>
              <a:gd name="connsiteX31736" fmla="*/ 5121434 w 6884782"/>
              <a:gd name="connsiteY31736" fmla="*/ 2729713 h 5973007"/>
              <a:gd name="connsiteX31737" fmla="*/ 5130184 w 6884782"/>
              <a:gd name="connsiteY31737" fmla="*/ 2721603 h 5973007"/>
              <a:gd name="connsiteX31738" fmla="*/ 5125489 w 6884782"/>
              <a:gd name="connsiteY31738" fmla="*/ 2722315 h 5973007"/>
              <a:gd name="connsiteX31739" fmla="*/ 5134026 w 6884782"/>
              <a:gd name="connsiteY31739" fmla="*/ 2715628 h 5973007"/>
              <a:gd name="connsiteX31740" fmla="*/ 5140428 w 6884782"/>
              <a:gd name="connsiteY31740" fmla="*/ 2705242 h 5973007"/>
              <a:gd name="connsiteX31741" fmla="*/ 5144269 w 6884782"/>
              <a:gd name="connsiteY31741" fmla="*/ 2705954 h 5973007"/>
              <a:gd name="connsiteX31742" fmla="*/ 5142562 w 6884782"/>
              <a:gd name="connsiteY31742" fmla="*/ 2699978 h 5973007"/>
              <a:gd name="connsiteX31743" fmla="*/ 5148111 w 6884782"/>
              <a:gd name="connsiteY31743" fmla="*/ 2702966 h 5973007"/>
              <a:gd name="connsiteX31744" fmla="*/ 5150459 w 6884782"/>
              <a:gd name="connsiteY31744" fmla="*/ 2685040 h 5973007"/>
              <a:gd name="connsiteX31745" fmla="*/ 5160703 w 6884782"/>
              <a:gd name="connsiteY31745" fmla="*/ 2682764 h 5973007"/>
              <a:gd name="connsiteX31746" fmla="*/ 5165398 w 6884782"/>
              <a:gd name="connsiteY31746" fmla="*/ 2676219 h 5973007"/>
              <a:gd name="connsiteX31747" fmla="*/ 5163051 w 6884782"/>
              <a:gd name="connsiteY31747" fmla="*/ 2669533 h 5973007"/>
              <a:gd name="connsiteX31748" fmla="*/ 5174575 w 6884782"/>
              <a:gd name="connsiteY31748" fmla="*/ 2663273 h 5973007"/>
              <a:gd name="connsiteX31749" fmla="*/ 5174789 w 6884782"/>
              <a:gd name="connsiteY31749" fmla="*/ 2657867 h 5973007"/>
              <a:gd name="connsiteX31750" fmla="*/ 5173935 w 6884782"/>
              <a:gd name="connsiteY31750" fmla="*/ 2658152 h 5973007"/>
              <a:gd name="connsiteX31751" fmla="*/ 5169453 w 6884782"/>
              <a:gd name="connsiteY31751" fmla="*/ 2654879 h 5973007"/>
              <a:gd name="connsiteX31752" fmla="*/ 5173295 w 6884782"/>
              <a:gd name="connsiteY31752" fmla="*/ 2648335 h 5973007"/>
              <a:gd name="connsiteX31753" fmla="*/ 5170520 w 6884782"/>
              <a:gd name="connsiteY31753" fmla="*/ 2648904 h 5973007"/>
              <a:gd name="connsiteX31754" fmla="*/ 5155368 w 6884782"/>
              <a:gd name="connsiteY31754" fmla="*/ 2657582 h 5973007"/>
              <a:gd name="connsiteX31755" fmla="*/ 5173295 w 6884782"/>
              <a:gd name="connsiteY31755" fmla="*/ 2644209 h 5973007"/>
              <a:gd name="connsiteX31756" fmla="*/ 5177136 w 6884782"/>
              <a:gd name="connsiteY31756" fmla="*/ 2636385 h 5973007"/>
              <a:gd name="connsiteX31757" fmla="*/ 5182258 w 6884782"/>
              <a:gd name="connsiteY31757" fmla="*/ 2630409 h 5973007"/>
              <a:gd name="connsiteX31758" fmla="*/ 5178203 w 6884782"/>
              <a:gd name="connsiteY31758" fmla="*/ 2632827 h 5973007"/>
              <a:gd name="connsiteX31759" fmla="*/ 5160276 w 6884782"/>
              <a:gd name="connsiteY31759" fmla="*/ 2609069 h 5973007"/>
              <a:gd name="connsiteX31760" fmla="*/ 5180124 w 6884782"/>
              <a:gd name="connsiteY31760" fmla="*/ 2599679 h 5973007"/>
              <a:gd name="connsiteX31761" fmla="*/ 5191008 w 6884782"/>
              <a:gd name="connsiteY31761" fmla="*/ 2600817 h 5973007"/>
              <a:gd name="connsiteX31762" fmla="*/ 5195277 w 6884782"/>
              <a:gd name="connsiteY31762" fmla="*/ 2602951 h 5973007"/>
              <a:gd name="connsiteX31763" fmla="*/ 5198478 w 6884782"/>
              <a:gd name="connsiteY31763" fmla="*/ 2591997 h 5973007"/>
              <a:gd name="connsiteX31764" fmla="*/ 5198051 w 6884782"/>
              <a:gd name="connsiteY31764" fmla="*/ 2601813 h 5973007"/>
              <a:gd name="connsiteX31765" fmla="*/ 5197411 w 6884782"/>
              <a:gd name="connsiteY31765" fmla="*/ 2603947 h 5973007"/>
              <a:gd name="connsiteX31766" fmla="*/ 5200399 w 6884782"/>
              <a:gd name="connsiteY31766" fmla="*/ 2605370 h 5973007"/>
              <a:gd name="connsiteX31767" fmla="*/ 5202107 w 6884782"/>
              <a:gd name="connsiteY31767" fmla="*/ 2601955 h 5973007"/>
              <a:gd name="connsiteX31768" fmla="*/ 5208722 w 6884782"/>
              <a:gd name="connsiteY31768" fmla="*/ 2595838 h 5973007"/>
              <a:gd name="connsiteX31769" fmla="*/ 5204027 w 6884782"/>
              <a:gd name="connsiteY31769" fmla="*/ 2589862 h 5973007"/>
              <a:gd name="connsiteX31770" fmla="*/ 5227503 w 6884782"/>
              <a:gd name="connsiteY31770" fmla="*/ 2576347 h 5973007"/>
              <a:gd name="connsiteX31771" fmla="*/ 5232625 w 6884782"/>
              <a:gd name="connsiteY31771" fmla="*/ 2573217 h 5973007"/>
              <a:gd name="connsiteX31772" fmla="*/ 5234120 w 6884782"/>
              <a:gd name="connsiteY31772" fmla="*/ 2569091 h 5973007"/>
              <a:gd name="connsiteX31773" fmla="*/ 5238815 w 6884782"/>
              <a:gd name="connsiteY31773" fmla="*/ 2562120 h 5973007"/>
              <a:gd name="connsiteX31774" fmla="*/ 5241162 w 6884782"/>
              <a:gd name="connsiteY31774" fmla="*/ 2567242 h 5973007"/>
              <a:gd name="connsiteX31775" fmla="*/ 5247991 w 6884782"/>
              <a:gd name="connsiteY31775" fmla="*/ 2560128 h 5973007"/>
              <a:gd name="connsiteX31776" fmla="*/ 5240948 w 6884782"/>
              <a:gd name="connsiteY31776" fmla="*/ 2562262 h 5973007"/>
              <a:gd name="connsiteX31777" fmla="*/ 5241589 w 6884782"/>
              <a:gd name="connsiteY31777" fmla="*/ 2554864 h 5973007"/>
              <a:gd name="connsiteX31778" fmla="*/ 5244150 w 6884782"/>
              <a:gd name="connsiteY31778" fmla="*/ 2553868 h 5973007"/>
              <a:gd name="connsiteX31779" fmla="*/ 5243083 w 6884782"/>
              <a:gd name="connsiteY31779" fmla="*/ 2553442 h 5973007"/>
              <a:gd name="connsiteX31780" fmla="*/ 5242016 w 6884782"/>
              <a:gd name="connsiteY31780" fmla="*/ 2553157 h 5973007"/>
              <a:gd name="connsiteX31781" fmla="*/ 5240735 w 6884782"/>
              <a:gd name="connsiteY31781" fmla="*/ 2555434 h 5973007"/>
              <a:gd name="connsiteX31782" fmla="*/ 5236040 w 6884782"/>
              <a:gd name="connsiteY31782" fmla="*/ 2557283 h 5973007"/>
              <a:gd name="connsiteX31783" fmla="*/ 5234760 w 6884782"/>
              <a:gd name="connsiteY31783" fmla="*/ 2554722 h 5973007"/>
              <a:gd name="connsiteX31784" fmla="*/ 5239668 w 6884782"/>
              <a:gd name="connsiteY31784" fmla="*/ 2551734 h 5973007"/>
              <a:gd name="connsiteX31785" fmla="*/ 5239668 w 6884782"/>
              <a:gd name="connsiteY31785" fmla="*/ 2550596 h 5973007"/>
              <a:gd name="connsiteX31786" fmla="*/ 5239455 w 6884782"/>
              <a:gd name="connsiteY31786" fmla="*/ 2550312 h 5973007"/>
              <a:gd name="connsiteX31787" fmla="*/ 6470247 w 6884782"/>
              <a:gd name="connsiteY31787" fmla="*/ 2547751 h 5973007"/>
              <a:gd name="connsiteX31788" fmla="*/ 6457228 w 6884782"/>
              <a:gd name="connsiteY31788" fmla="*/ 2558421 h 5973007"/>
              <a:gd name="connsiteX31789" fmla="*/ 6470247 w 6884782"/>
              <a:gd name="connsiteY31789" fmla="*/ 2547751 h 5973007"/>
              <a:gd name="connsiteX31790" fmla="*/ 1366183 w 6884782"/>
              <a:gd name="connsiteY31790" fmla="*/ 2546363 h 5973007"/>
              <a:gd name="connsiteX31791" fmla="*/ 1359781 w 6884782"/>
              <a:gd name="connsiteY31791" fmla="*/ 2549925 h 5973007"/>
              <a:gd name="connsiteX31792" fmla="*/ 1362569 w 6884782"/>
              <a:gd name="connsiteY31792" fmla="*/ 2546517 h 5973007"/>
              <a:gd name="connsiteX31793" fmla="*/ 1366183 w 6884782"/>
              <a:gd name="connsiteY31793" fmla="*/ 2546363 h 5973007"/>
              <a:gd name="connsiteX31794" fmla="*/ 1150171 w 6884782"/>
              <a:gd name="connsiteY31794" fmla="*/ 2546207 h 5973007"/>
              <a:gd name="connsiteX31795" fmla="*/ 1159877 w 6884782"/>
              <a:gd name="connsiteY31795" fmla="*/ 2546827 h 5973007"/>
              <a:gd name="connsiteX31796" fmla="*/ 1161013 w 6884782"/>
              <a:gd name="connsiteY31796" fmla="*/ 2555192 h 5973007"/>
              <a:gd name="connsiteX31797" fmla="*/ 1146454 w 6884782"/>
              <a:gd name="connsiteY31797" fmla="*/ 2556585 h 5973007"/>
              <a:gd name="connsiteX31798" fmla="*/ 1145422 w 6884782"/>
              <a:gd name="connsiteY31798" fmla="*/ 2555192 h 5973007"/>
              <a:gd name="connsiteX31799" fmla="*/ 1144182 w 6884782"/>
              <a:gd name="connsiteY31799" fmla="*/ 2561852 h 5973007"/>
              <a:gd name="connsiteX31800" fmla="*/ 1141498 w 6884782"/>
              <a:gd name="connsiteY31800" fmla="*/ 2580594 h 5973007"/>
              <a:gd name="connsiteX31801" fmla="*/ 1135199 w 6884782"/>
              <a:gd name="connsiteY31801" fmla="*/ 2561232 h 5973007"/>
              <a:gd name="connsiteX31802" fmla="*/ 1137781 w 6884782"/>
              <a:gd name="connsiteY31802" fmla="*/ 2557050 h 5973007"/>
              <a:gd name="connsiteX31803" fmla="*/ 1145215 w 6884782"/>
              <a:gd name="connsiteY31803" fmla="*/ 2554882 h 5973007"/>
              <a:gd name="connsiteX31804" fmla="*/ 1142633 w 6884782"/>
              <a:gd name="connsiteY31804" fmla="*/ 2551629 h 5973007"/>
              <a:gd name="connsiteX31805" fmla="*/ 1150171 w 6884782"/>
              <a:gd name="connsiteY31805" fmla="*/ 2546207 h 5973007"/>
              <a:gd name="connsiteX31806" fmla="*/ 1079544 w 6884782"/>
              <a:gd name="connsiteY31806" fmla="*/ 2545898 h 5973007"/>
              <a:gd name="connsiteX31807" fmla="*/ 1081506 w 6884782"/>
              <a:gd name="connsiteY31807" fmla="*/ 2546363 h 5973007"/>
              <a:gd name="connsiteX31808" fmla="*/ 1088527 w 6884782"/>
              <a:gd name="connsiteY31808" fmla="*/ 2551629 h 5973007"/>
              <a:gd name="connsiteX31809" fmla="*/ 1090076 w 6884782"/>
              <a:gd name="connsiteY31809" fmla="*/ 2552713 h 5973007"/>
              <a:gd name="connsiteX31810" fmla="*/ 1090696 w 6884782"/>
              <a:gd name="connsiteY31810" fmla="*/ 2555037 h 5973007"/>
              <a:gd name="connsiteX31811" fmla="*/ 1086462 w 6884782"/>
              <a:gd name="connsiteY31811" fmla="*/ 2554107 h 5973007"/>
              <a:gd name="connsiteX31812" fmla="*/ 1083571 w 6884782"/>
              <a:gd name="connsiteY31812" fmla="*/ 2551319 h 5973007"/>
              <a:gd name="connsiteX31813" fmla="*/ 1082022 w 6884782"/>
              <a:gd name="connsiteY31813" fmla="*/ 2552249 h 5973007"/>
              <a:gd name="connsiteX31814" fmla="*/ 1078925 w 6884782"/>
              <a:gd name="connsiteY31814" fmla="*/ 2552249 h 5973007"/>
              <a:gd name="connsiteX31815" fmla="*/ 1081816 w 6884782"/>
              <a:gd name="connsiteY31815" fmla="*/ 2550390 h 5973007"/>
              <a:gd name="connsiteX31816" fmla="*/ 1082642 w 6884782"/>
              <a:gd name="connsiteY31816" fmla="*/ 2550390 h 5973007"/>
              <a:gd name="connsiteX31817" fmla="*/ 1081919 w 6884782"/>
              <a:gd name="connsiteY31817" fmla="*/ 2549615 h 5973007"/>
              <a:gd name="connsiteX31818" fmla="*/ 1079751 w 6884782"/>
              <a:gd name="connsiteY31818" fmla="*/ 2548841 h 5973007"/>
              <a:gd name="connsiteX31819" fmla="*/ 1079131 w 6884782"/>
              <a:gd name="connsiteY31819" fmla="*/ 2546673 h 5973007"/>
              <a:gd name="connsiteX31820" fmla="*/ 1110831 w 6884782"/>
              <a:gd name="connsiteY31820" fmla="*/ 2543110 h 5973007"/>
              <a:gd name="connsiteX31821" fmla="*/ 1128591 w 6884782"/>
              <a:gd name="connsiteY31821" fmla="*/ 2545898 h 5973007"/>
              <a:gd name="connsiteX31822" fmla="*/ 1105358 w 6884782"/>
              <a:gd name="connsiteY31822" fmla="*/ 2546363 h 5973007"/>
              <a:gd name="connsiteX31823" fmla="*/ 1110831 w 6884782"/>
              <a:gd name="connsiteY31823" fmla="*/ 2543110 h 5973007"/>
              <a:gd name="connsiteX31824" fmla="*/ 1089457 w 6884782"/>
              <a:gd name="connsiteY31824" fmla="*/ 2541560 h 5973007"/>
              <a:gd name="connsiteX31825" fmla="*/ 1091005 w 6884782"/>
              <a:gd name="connsiteY31825" fmla="*/ 2545743 h 5973007"/>
              <a:gd name="connsiteX31826" fmla="*/ 1089560 w 6884782"/>
              <a:gd name="connsiteY31826" fmla="*/ 2547447 h 5973007"/>
              <a:gd name="connsiteX31827" fmla="*/ 1088734 w 6884782"/>
              <a:gd name="connsiteY31827" fmla="*/ 2547447 h 5973007"/>
              <a:gd name="connsiteX31828" fmla="*/ 1085326 w 6884782"/>
              <a:gd name="connsiteY31828" fmla="*/ 2547292 h 5973007"/>
              <a:gd name="connsiteX31829" fmla="*/ 1084087 w 6884782"/>
              <a:gd name="connsiteY31829" fmla="*/ 2545123 h 5973007"/>
              <a:gd name="connsiteX31830" fmla="*/ 1084087 w 6884782"/>
              <a:gd name="connsiteY31830" fmla="*/ 2543110 h 5973007"/>
              <a:gd name="connsiteX31831" fmla="*/ 1089457 w 6884782"/>
              <a:gd name="connsiteY31831" fmla="*/ 2541560 h 5973007"/>
              <a:gd name="connsiteX31832" fmla="*/ 1018313 w 6884782"/>
              <a:gd name="connsiteY31832" fmla="*/ 2541251 h 5973007"/>
              <a:gd name="connsiteX31833" fmla="*/ 1022753 w 6884782"/>
              <a:gd name="connsiteY31833" fmla="*/ 2545123 h 5973007"/>
              <a:gd name="connsiteX31834" fmla="*/ 1022237 w 6884782"/>
              <a:gd name="connsiteY31834" fmla="*/ 2547756 h 5973007"/>
              <a:gd name="connsiteX31835" fmla="*/ 1018830 w 6884782"/>
              <a:gd name="connsiteY31835" fmla="*/ 2551939 h 5973007"/>
              <a:gd name="connsiteX31836" fmla="*/ 1019655 w 6884782"/>
              <a:gd name="connsiteY31836" fmla="*/ 2552403 h 5973007"/>
              <a:gd name="connsiteX31837" fmla="*/ 1014596 w 6884782"/>
              <a:gd name="connsiteY31837" fmla="*/ 2551009 h 5973007"/>
              <a:gd name="connsiteX31838" fmla="*/ 1013254 w 6884782"/>
              <a:gd name="connsiteY31838" fmla="*/ 2546673 h 5973007"/>
              <a:gd name="connsiteX31839" fmla="*/ 1018313 w 6884782"/>
              <a:gd name="connsiteY31839" fmla="*/ 2541251 h 5973007"/>
              <a:gd name="connsiteX31840" fmla="*/ 1133031 w 6884782"/>
              <a:gd name="connsiteY31840" fmla="*/ 2540321 h 5973007"/>
              <a:gd name="connsiteX31841" fmla="*/ 1141601 w 6884782"/>
              <a:gd name="connsiteY31841" fmla="*/ 2544349 h 5973007"/>
              <a:gd name="connsiteX31842" fmla="*/ 1133031 w 6884782"/>
              <a:gd name="connsiteY31842" fmla="*/ 2540321 h 5973007"/>
              <a:gd name="connsiteX31843" fmla="*/ 1009330 w 6884782"/>
              <a:gd name="connsiteY31843" fmla="*/ 2540167 h 5973007"/>
              <a:gd name="connsiteX31844" fmla="*/ 1012944 w 6884782"/>
              <a:gd name="connsiteY31844" fmla="*/ 2541560 h 5973007"/>
              <a:gd name="connsiteX31845" fmla="*/ 1012840 w 6884782"/>
              <a:gd name="connsiteY31845" fmla="*/ 2543419 h 5973007"/>
              <a:gd name="connsiteX31846" fmla="*/ 1011498 w 6884782"/>
              <a:gd name="connsiteY31846" fmla="*/ 2545588 h 5973007"/>
              <a:gd name="connsiteX31847" fmla="*/ 1007058 w 6884782"/>
              <a:gd name="connsiteY31847" fmla="*/ 2543729 h 5973007"/>
              <a:gd name="connsiteX31848" fmla="*/ 1007265 w 6884782"/>
              <a:gd name="connsiteY31848" fmla="*/ 2541871 h 5973007"/>
              <a:gd name="connsiteX31849" fmla="*/ 1009330 w 6884782"/>
              <a:gd name="connsiteY31849" fmla="*/ 2540167 h 5973007"/>
              <a:gd name="connsiteX31850" fmla="*/ 5038627 w 6884782"/>
              <a:gd name="connsiteY31850" fmla="*/ 2539926 h 5973007"/>
              <a:gd name="connsiteX31851" fmla="*/ 5035852 w 6884782"/>
              <a:gd name="connsiteY31851" fmla="*/ 2556571 h 5973007"/>
              <a:gd name="connsiteX31852" fmla="*/ 5030090 w 6884782"/>
              <a:gd name="connsiteY31852" fmla="*/ 2557283 h 5973007"/>
              <a:gd name="connsiteX31853" fmla="*/ 5038627 w 6884782"/>
              <a:gd name="connsiteY31853" fmla="*/ 2539926 h 5973007"/>
              <a:gd name="connsiteX31854" fmla="*/ 775661 w 6884782"/>
              <a:gd name="connsiteY31854" fmla="*/ 2539857 h 5973007"/>
              <a:gd name="connsiteX31855" fmla="*/ 777623 w 6884782"/>
              <a:gd name="connsiteY31855" fmla="*/ 2540167 h 5973007"/>
              <a:gd name="connsiteX31856" fmla="*/ 777829 w 6884782"/>
              <a:gd name="connsiteY31856" fmla="*/ 2543110 h 5973007"/>
              <a:gd name="connsiteX31857" fmla="*/ 779688 w 6884782"/>
              <a:gd name="connsiteY31857" fmla="*/ 2543574 h 5973007"/>
              <a:gd name="connsiteX31858" fmla="*/ 779998 w 6884782"/>
              <a:gd name="connsiteY31858" fmla="*/ 2544659 h 5973007"/>
              <a:gd name="connsiteX31859" fmla="*/ 777932 w 6884782"/>
              <a:gd name="connsiteY31859" fmla="*/ 2546207 h 5973007"/>
              <a:gd name="connsiteX31860" fmla="*/ 776797 w 6884782"/>
              <a:gd name="connsiteY31860" fmla="*/ 2541560 h 5973007"/>
              <a:gd name="connsiteX31861" fmla="*/ 775661 w 6884782"/>
              <a:gd name="connsiteY31861" fmla="*/ 2539857 h 5973007"/>
              <a:gd name="connsiteX31862" fmla="*/ 773183 w 6884782"/>
              <a:gd name="connsiteY31862" fmla="*/ 2538463 h 5973007"/>
              <a:gd name="connsiteX31863" fmla="*/ 771015 w 6884782"/>
              <a:gd name="connsiteY31863" fmla="*/ 2543729 h 5973007"/>
              <a:gd name="connsiteX31864" fmla="*/ 764819 w 6884782"/>
              <a:gd name="connsiteY31864" fmla="*/ 2548221 h 5973007"/>
              <a:gd name="connsiteX31865" fmla="*/ 764509 w 6884782"/>
              <a:gd name="connsiteY31865" fmla="*/ 2546982 h 5973007"/>
              <a:gd name="connsiteX31866" fmla="*/ 773183 w 6884782"/>
              <a:gd name="connsiteY31866" fmla="*/ 2538463 h 5973007"/>
              <a:gd name="connsiteX31867" fmla="*/ 670339 w 6884782"/>
              <a:gd name="connsiteY31867" fmla="*/ 2538153 h 5973007"/>
              <a:gd name="connsiteX31868" fmla="*/ 672405 w 6884782"/>
              <a:gd name="connsiteY31868" fmla="*/ 2544659 h 5973007"/>
              <a:gd name="connsiteX31869" fmla="*/ 667242 w 6884782"/>
              <a:gd name="connsiteY31869" fmla="*/ 2544504 h 5973007"/>
              <a:gd name="connsiteX31870" fmla="*/ 665487 w 6884782"/>
              <a:gd name="connsiteY31870" fmla="*/ 2542180 h 5973007"/>
              <a:gd name="connsiteX31871" fmla="*/ 666932 w 6884782"/>
              <a:gd name="connsiteY31871" fmla="*/ 2539392 h 5973007"/>
              <a:gd name="connsiteX31872" fmla="*/ 670339 w 6884782"/>
              <a:gd name="connsiteY31872" fmla="*/ 2538153 h 5973007"/>
              <a:gd name="connsiteX31873" fmla="*/ 1068496 w 6884782"/>
              <a:gd name="connsiteY31873" fmla="*/ 2537843 h 5973007"/>
              <a:gd name="connsiteX31874" fmla="*/ 1068909 w 6884782"/>
              <a:gd name="connsiteY31874" fmla="*/ 2543419 h 5973007"/>
              <a:gd name="connsiteX31875" fmla="*/ 1062610 w 6884782"/>
              <a:gd name="connsiteY31875" fmla="*/ 2547602 h 5973007"/>
              <a:gd name="connsiteX31876" fmla="*/ 1060338 w 6884782"/>
              <a:gd name="connsiteY31876" fmla="*/ 2543884 h 5973007"/>
              <a:gd name="connsiteX31877" fmla="*/ 1063436 w 6884782"/>
              <a:gd name="connsiteY31877" fmla="*/ 2540012 h 5973007"/>
              <a:gd name="connsiteX31878" fmla="*/ 1068496 w 6884782"/>
              <a:gd name="connsiteY31878" fmla="*/ 2537843 h 5973007"/>
              <a:gd name="connsiteX31879" fmla="*/ 530531 w 6884782"/>
              <a:gd name="connsiteY31879" fmla="*/ 2535984 h 5973007"/>
              <a:gd name="connsiteX31880" fmla="*/ 534248 w 6884782"/>
              <a:gd name="connsiteY31880" fmla="*/ 2537378 h 5973007"/>
              <a:gd name="connsiteX31881" fmla="*/ 535074 w 6884782"/>
              <a:gd name="connsiteY31881" fmla="*/ 2539082 h 5973007"/>
              <a:gd name="connsiteX31882" fmla="*/ 533319 w 6884782"/>
              <a:gd name="connsiteY31882" fmla="*/ 2540631 h 5973007"/>
              <a:gd name="connsiteX31883" fmla="*/ 528259 w 6884782"/>
              <a:gd name="connsiteY31883" fmla="*/ 2540012 h 5973007"/>
              <a:gd name="connsiteX31884" fmla="*/ 527433 w 6884782"/>
              <a:gd name="connsiteY31884" fmla="*/ 2538308 h 5973007"/>
              <a:gd name="connsiteX31885" fmla="*/ 530531 w 6884782"/>
              <a:gd name="connsiteY31885" fmla="*/ 2535984 h 5973007"/>
              <a:gd name="connsiteX31886" fmla="*/ 1362982 w 6884782"/>
              <a:gd name="connsiteY31886" fmla="*/ 2535829 h 5973007"/>
              <a:gd name="connsiteX31887" fmla="*/ 1365151 w 6884782"/>
              <a:gd name="connsiteY31887" fmla="*/ 2536140 h 5973007"/>
              <a:gd name="connsiteX31888" fmla="*/ 1368145 w 6884782"/>
              <a:gd name="connsiteY31888" fmla="*/ 2538308 h 5973007"/>
              <a:gd name="connsiteX31889" fmla="*/ 1369074 w 6884782"/>
              <a:gd name="connsiteY31889" fmla="*/ 2542335 h 5973007"/>
              <a:gd name="connsiteX31890" fmla="*/ 1368868 w 6884782"/>
              <a:gd name="connsiteY31890" fmla="*/ 2541560 h 5973007"/>
              <a:gd name="connsiteX31891" fmla="*/ 1367216 w 6884782"/>
              <a:gd name="connsiteY31891" fmla="*/ 2542025 h 5973007"/>
              <a:gd name="connsiteX31892" fmla="*/ 1367526 w 6884782"/>
              <a:gd name="connsiteY31892" fmla="*/ 2542800 h 5973007"/>
              <a:gd name="connsiteX31893" fmla="*/ 1365564 w 6884782"/>
              <a:gd name="connsiteY31893" fmla="*/ 2542335 h 5973007"/>
              <a:gd name="connsiteX31894" fmla="*/ 1360917 w 6884782"/>
              <a:gd name="connsiteY31894" fmla="*/ 2537378 h 5973007"/>
              <a:gd name="connsiteX31895" fmla="*/ 1362982 w 6884782"/>
              <a:gd name="connsiteY31895" fmla="*/ 2535829 h 5973007"/>
              <a:gd name="connsiteX31896" fmla="*/ 6271339 w 6884782"/>
              <a:gd name="connsiteY31896" fmla="*/ 2535231 h 5973007"/>
              <a:gd name="connsiteX31897" fmla="*/ 6255760 w 6884782"/>
              <a:gd name="connsiteY31897" fmla="*/ 2550312 h 5973007"/>
              <a:gd name="connsiteX31898" fmla="*/ 6252559 w 6884782"/>
              <a:gd name="connsiteY31898" fmla="*/ 2539214 h 5973007"/>
              <a:gd name="connsiteX31899" fmla="*/ 6271339 w 6884782"/>
              <a:gd name="connsiteY31899" fmla="*/ 2535231 h 5973007"/>
              <a:gd name="connsiteX31900" fmla="*/ 858266 w 6884782"/>
              <a:gd name="connsiteY31900" fmla="*/ 2534281 h 5973007"/>
              <a:gd name="connsiteX31901" fmla="*/ 856614 w 6884782"/>
              <a:gd name="connsiteY31901" fmla="*/ 2540321 h 5973007"/>
              <a:gd name="connsiteX31902" fmla="*/ 856614 w 6884782"/>
              <a:gd name="connsiteY31902" fmla="*/ 2536759 h 5973007"/>
              <a:gd name="connsiteX31903" fmla="*/ 858266 w 6884782"/>
              <a:gd name="connsiteY31903" fmla="*/ 2534281 h 5973007"/>
              <a:gd name="connsiteX31904" fmla="*/ 1148106 w 6884782"/>
              <a:gd name="connsiteY31904" fmla="*/ 2534126 h 5973007"/>
              <a:gd name="connsiteX31905" fmla="*/ 1148623 w 6884782"/>
              <a:gd name="connsiteY31905" fmla="*/ 2534745 h 5973007"/>
              <a:gd name="connsiteX31906" fmla="*/ 1146867 w 6884782"/>
              <a:gd name="connsiteY31906" fmla="*/ 2534745 h 5973007"/>
              <a:gd name="connsiteX31907" fmla="*/ 1147073 w 6884782"/>
              <a:gd name="connsiteY31907" fmla="*/ 2534281 h 5973007"/>
              <a:gd name="connsiteX31908" fmla="*/ 1148106 w 6884782"/>
              <a:gd name="connsiteY31908" fmla="*/ 2534126 h 5973007"/>
              <a:gd name="connsiteX31909" fmla="*/ 788155 w 6884782"/>
              <a:gd name="connsiteY31909" fmla="*/ 2533661 h 5973007"/>
              <a:gd name="connsiteX31910" fmla="*/ 794454 w 6884782"/>
              <a:gd name="connsiteY31910" fmla="*/ 2533816 h 5973007"/>
              <a:gd name="connsiteX31911" fmla="*/ 783922 w 6884782"/>
              <a:gd name="connsiteY31911" fmla="*/ 2545278 h 5973007"/>
              <a:gd name="connsiteX31912" fmla="*/ 782269 w 6884782"/>
              <a:gd name="connsiteY31912" fmla="*/ 2546052 h 5973007"/>
              <a:gd name="connsiteX31913" fmla="*/ 779998 w 6884782"/>
              <a:gd name="connsiteY31913" fmla="*/ 2544659 h 5973007"/>
              <a:gd name="connsiteX31914" fmla="*/ 786606 w 6884782"/>
              <a:gd name="connsiteY31914" fmla="*/ 2534590 h 5973007"/>
              <a:gd name="connsiteX31915" fmla="*/ 788155 w 6884782"/>
              <a:gd name="connsiteY31915" fmla="*/ 2533661 h 5973007"/>
              <a:gd name="connsiteX31916" fmla="*/ 636988 w 6884782"/>
              <a:gd name="connsiteY31916" fmla="*/ 2533196 h 5973007"/>
              <a:gd name="connsiteX31917" fmla="*/ 643390 w 6884782"/>
              <a:gd name="connsiteY31917" fmla="*/ 2538772 h 5973007"/>
              <a:gd name="connsiteX31918" fmla="*/ 636988 w 6884782"/>
              <a:gd name="connsiteY31918" fmla="*/ 2535829 h 5973007"/>
              <a:gd name="connsiteX31919" fmla="*/ 636988 w 6884782"/>
              <a:gd name="connsiteY31919" fmla="*/ 2533196 h 5973007"/>
              <a:gd name="connsiteX31920" fmla="*/ 1374960 w 6884782"/>
              <a:gd name="connsiteY31920" fmla="*/ 2532422 h 5973007"/>
              <a:gd name="connsiteX31921" fmla="*/ 1375270 w 6884782"/>
              <a:gd name="connsiteY31921" fmla="*/ 2548686 h 5973007"/>
              <a:gd name="connsiteX31922" fmla="*/ 1371863 w 6884782"/>
              <a:gd name="connsiteY31922" fmla="*/ 2553798 h 5973007"/>
              <a:gd name="connsiteX31923" fmla="*/ 1374547 w 6884782"/>
              <a:gd name="connsiteY31923" fmla="*/ 2554417 h 5973007"/>
              <a:gd name="connsiteX31924" fmla="*/ 1377438 w 6884782"/>
              <a:gd name="connsiteY31924" fmla="*/ 2566344 h 5973007"/>
              <a:gd name="connsiteX31925" fmla="*/ 1376819 w 6884782"/>
              <a:gd name="connsiteY31925" fmla="*/ 2566499 h 5973007"/>
              <a:gd name="connsiteX31926" fmla="*/ 1375683 w 6884782"/>
              <a:gd name="connsiteY31926" fmla="*/ 2572850 h 5973007"/>
              <a:gd name="connsiteX31927" fmla="*/ 1383427 w 6884782"/>
              <a:gd name="connsiteY31927" fmla="*/ 2573934 h 5973007"/>
              <a:gd name="connsiteX31928" fmla="*/ 1399638 w 6884782"/>
              <a:gd name="connsiteY31928" fmla="*/ 2580594 h 5973007"/>
              <a:gd name="connsiteX31929" fmla="*/ 1397160 w 6884782"/>
              <a:gd name="connsiteY31929" fmla="*/ 2597168 h 5973007"/>
              <a:gd name="connsiteX31930" fmla="*/ 1394682 w 6884782"/>
              <a:gd name="connsiteY31930" fmla="*/ 2598562 h 5973007"/>
              <a:gd name="connsiteX31931" fmla="*/ 1395095 w 6884782"/>
              <a:gd name="connsiteY31931" fmla="*/ 2600421 h 5973007"/>
              <a:gd name="connsiteX31932" fmla="*/ 1388797 w 6884782"/>
              <a:gd name="connsiteY31932" fmla="*/ 2604294 h 5973007"/>
              <a:gd name="connsiteX31933" fmla="*/ 1391068 w 6884782"/>
              <a:gd name="connsiteY31933" fmla="*/ 2607237 h 5973007"/>
              <a:gd name="connsiteX31934" fmla="*/ 1390655 w 6884782"/>
              <a:gd name="connsiteY31934" fmla="*/ 2608631 h 5973007"/>
              <a:gd name="connsiteX31935" fmla="*/ 1386834 w 6884782"/>
              <a:gd name="connsiteY31935" fmla="*/ 2612968 h 5973007"/>
              <a:gd name="connsiteX31936" fmla="*/ 1383014 w 6884782"/>
              <a:gd name="connsiteY31936" fmla="*/ 2613897 h 5973007"/>
              <a:gd name="connsiteX31937" fmla="*/ 1383427 w 6884782"/>
              <a:gd name="connsiteY31937" fmla="*/ 2615601 h 5973007"/>
              <a:gd name="connsiteX31938" fmla="*/ 1372998 w 6884782"/>
              <a:gd name="connsiteY31938" fmla="*/ 2611729 h 5973007"/>
              <a:gd name="connsiteX31939" fmla="*/ 1374237 w 6884782"/>
              <a:gd name="connsiteY31939" fmla="*/ 2611109 h 5973007"/>
              <a:gd name="connsiteX31940" fmla="*/ 1373721 w 6884782"/>
              <a:gd name="connsiteY31940" fmla="*/ 2610025 h 5973007"/>
              <a:gd name="connsiteX31941" fmla="*/ 1373411 w 6884782"/>
              <a:gd name="connsiteY31941" fmla="*/ 2608631 h 5973007"/>
              <a:gd name="connsiteX31942" fmla="*/ 1374960 w 6884782"/>
              <a:gd name="connsiteY31942" fmla="*/ 2606927 h 5973007"/>
              <a:gd name="connsiteX31943" fmla="*/ 1371863 w 6884782"/>
              <a:gd name="connsiteY31943" fmla="*/ 2606617 h 5973007"/>
              <a:gd name="connsiteX31944" fmla="*/ 1369281 w 6884782"/>
              <a:gd name="connsiteY31944" fmla="*/ 2604759 h 5973007"/>
              <a:gd name="connsiteX31945" fmla="*/ 1368558 w 6884782"/>
              <a:gd name="connsiteY31945" fmla="*/ 2604759 h 5973007"/>
              <a:gd name="connsiteX31946" fmla="*/ 1364841 w 6884782"/>
              <a:gd name="connsiteY31946" fmla="*/ 2603829 h 5973007"/>
              <a:gd name="connsiteX31947" fmla="*/ 1365667 w 6884782"/>
              <a:gd name="connsiteY31947" fmla="*/ 2604603 h 5973007"/>
              <a:gd name="connsiteX31948" fmla="*/ 1366183 w 6884782"/>
              <a:gd name="connsiteY31948" fmla="*/ 2605842 h 5973007"/>
              <a:gd name="connsiteX31949" fmla="*/ 1362569 w 6884782"/>
              <a:gd name="connsiteY31949" fmla="*/ 2603054 h 5973007"/>
              <a:gd name="connsiteX31950" fmla="*/ 1358749 w 6884782"/>
              <a:gd name="connsiteY31950" fmla="*/ 2601970 h 5973007"/>
              <a:gd name="connsiteX31951" fmla="*/ 1340886 w 6884782"/>
              <a:gd name="connsiteY31951" fmla="*/ 2582298 h 5973007"/>
              <a:gd name="connsiteX31952" fmla="*/ 1341092 w 6884782"/>
              <a:gd name="connsiteY31952" fmla="*/ 2576877 h 5973007"/>
              <a:gd name="connsiteX31953" fmla="*/ 1356684 w 6884782"/>
              <a:gd name="connsiteY31953" fmla="*/ 2573934 h 5973007"/>
              <a:gd name="connsiteX31954" fmla="*/ 1356271 w 6884782"/>
              <a:gd name="connsiteY31954" fmla="*/ 2572385 h 5973007"/>
              <a:gd name="connsiteX31955" fmla="*/ 1359471 w 6884782"/>
              <a:gd name="connsiteY31955" fmla="*/ 2560458 h 5973007"/>
              <a:gd name="connsiteX31956" fmla="*/ 1362879 w 6884782"/>
              <a:gd name="connsiteY31956" fmla="*/ 2557670 h 5973007"/>
              <a:gd name="connsiteX31957" fmla="*/ 1363499 w 6884782"/>
              <a:gd name="connsiteY31957" fmla="*/ 2555502 h 5973007"/>
              <a:gd name="connsiteX31958" fmla="*/ 1365357 w 6884782"/>
              <a:gd name="connsiteY31958" fmla="*/ 2556121 h 5973007"/>
              <a:gd name="connsiteX31959" fmla="*/ 1366390 w 6884782"/>
              <a:gd name="connsiteY31959" fmla="*/ 2555502 h 5973007"/>
              <a:gd name="connsiteX31960" fmla="*/ 1367423 w 6884782"/>
              <a:gd name="connsiteY31960" fmla="*/ 2556121 h 5973007"/>
              <a:gd name="connsiteX31961" fmla="*/ 1368661 w 6884782"/>
              <a:gd name="connsiteY31961" fmla="*/ 2556740 h 5973007"/>
              <a:gd name="connsiteX31962" fmla="*/ 1368868 w 6884782"/>
              <a:gd name="connsiteY31962" fmla="*/ 2555346 h 5973007"/>
              <a:gd name="connsiteX31963" fmla="*/ 1370210 w 6884782"/>
              <a:gd name="connsiteY31963" fmla="*/ 2553333 h 5973007"/>
              <a:gd name="connsiteX31964" fmla="*/ 1371553 w 6884782"/>
              <a:gd name="connsiteY31964" fmla="*/ 2553642 h 5973007"/>
              <a:gd name="connsiteX31965" fmla="*/ 1369281 w 6884782"/>
              <a:gd name="connsiteY31965" fmla="*/ 2548531 h 5973007"/>
              <a:gd name="connsiteX31966" fmla="*/ 1369384 w 6884782"/>
              <a:gd name="connsiteY31966" fmla="*/ 2544349 h 5973007"/>
              <a:gd name="connsiteX31967" fmla="*/ 1374960 w 6884782"/>
              <a:gd name="connsiteY31967" fmla="*/ 2532422 h 5973007"/>
              <a:gd name="connsiteX31968" fmla="*/ 590729 w 6884782"/>
              <a:gd name="connsiteY31968" fmla="*/ 2530098 h 5973007"/>
              <a:gd name="connsiteX31969" fmla="*/ 611794 w 6884782"/>
              <a:gd name="connsiteY31969" fmla="*/ 2539857 h 5973007"/>
              <a:gd name="connsiteX31970" fmla="*/ 584327 w 6884782"/>
              <a:gd name="connsiteY31970" fmla="*/ 2533041 h 5973007"/>
              <a:gd name="connsiteX31971" fmla="*/ 590729 w 6884782"/>
              <a:gd name="connsiteY31971" fmla="*/ 2530098 h 5973007"/>
              <a:gd name="connsiteX31972" fmla="*/ 1346358 w 6884782"/>
              <a:gd name="connsiteY31972" fmla="*/ 2529169 h 5973007"/>
              <a:gd name="connsiteX31973" fmla="*/ 1347907 w 6884782"/>
              <a:gd name="connsiteY31973" fmla="*/ 2531492 h 5973007"/>
              <a:gd name="connsiteX31974" fmla="*/ 1348836 w 6884782"/>
              <a:gd name="connsiteY31974" fmla="*/ 2531957 h 5973007"/>
              <a:gd name="connsiteX31975" fmla="*/ 1349249 w 6884782"/>
              <a:gd name="connsiteY31975" fmla="*/ 2533971 h 5973007"/>
              <a:gd name="connsiteX31976" fmla="*/ 1347907 w 6884782"/>
              <a:gd name="connsiteY31976" fmla="*/ 2535674 h 5973007"/>
              <a:gd name="connsiteX31977" fmla="*/ 1347804 w 6884782"/>
              <a:gd name="connsiteY31977" fmla="*/ 2535829 h 5973007"/>
              <a:gd name="connsiteX31978" fmla="*/ 1347494 w 6884782"/>
              <a:gd name="connsiteY31978" fmla="*/ 2537533 h 5973007"/>
              <a:gd name="connsiteX31979" fmla="*/ 1346152 w 6884782"/>
              <a:gd name="connsiteY31979" fmla="*/ 2537998 h 5973007"/>
              <a:gd name="connsiteX31980" fmla="*/ 1346565 w 6884782"/>
              <a:gd name="connsiteY31980" fmla="*/ 2540476 h 5973007"/>
              <a:gd name="connsiteX31981" fmla="*/ 1348836 w 6884782"/>
              <a:gd name="connsiteY31981" fmla="*/ 2543574 h 5973007"/>
              <a:gd name="connsiteX31982" fmla="*/ 1349146 w 6884782"/>
              <a:gd name="connsiteY31982" fmla="*/ 2544194 h 5973007"/>
              <a:gd name="connsiteX31983" fmla="*/ 1352450 w 6884782"/>
              <a:gd name="connsiteY31983" fmla="*/ 2545123 h 5973007"/>
              <a:gd name="connsiteX31984" fmla="*/ 1351934 w 6884782"/>
              <a:gd name="connsiteY31984" fmla="*/ 2548686 h 5973007"/>
              <a:gd name="connsiteX31985" fmla="*/ 1350695 w 6884782"/>
              <a:gd name="connsiteY31985" fmla="*/ 2548841 h 5973007"/>
              <a:gd name="connsiteX31986" fmla="*/ 1350592 w 6884782"/>
              <a:gd name="connsiteY31986" fmla="*/ 2552403 h 5973007"/>
              <a:gd name="connsiteX31987" fmla="*/ 1342125 w 6884782"/>
              <a:gd name="connsiteY31987" fmla="*/ 2553798 h 5973007"/>
              <a:gd name="connsiteX31988" fmla="*/ 1332625 w 6884782"/>
              <a:gd name="connsiteY31988" fmla="*/ 2540167 h 5973007"/>
              <a:gd name="connsiteX31989" fmla="*/ 1333451 w 6884782"/>
              <a:gd name="connsiteY31989" fmla="*/ 2539857 h 5973007"/>
              <a:gd name="connsiteX31990" fmla="*/ 1330043 w 6884782"/>
              <a:gd name="connsiteY31990" fmla="*/ 2535365 h 5973007"/>
              <a:gd name="connsiteX31991" fmla="*/ 1335103 w 6884782"/>
              <a:gd name="connsiteY31991" fmla="*/ 2531492 h 5973007"/>
              <a:gd name="connsiteX31992" fmla="*/ 1337272 w 6884782"/>
              <a:gd name="connsiteY31992" fmla="*/ 2531182 h 5973007"/>
              <a:gd name="connsiteX31993" fmla="*/ 1337788 w 6884782"/>
              <a:gd name="connsiteY31993" fmla="*/ 2529788 h 5973007"/>
              <a:gd name="connsiteX31994" fmla="*/ 1346358 w 6884782"/>
              <a:gd name="connsiteY31994" fmla="*/ 2529169 h 5973007"/>
              <a:gd name="connsiteX31995" fmla="*/ 1043404 w 6884782"/>
              <a:gd name="connsiteY31995" fmla="*/ 2529169 h 5973007"/>
              <a:gd name="connsiteX31996" fmla="*/ 1042165 w 6884782"/>
              <a:gd name="connsiteY31996" fmla="*/ 2530098 h 5973007"/>
              <a:gd name="connsiteX31997" fmla="*/ 1042062 w 6884782"/>
              <a:gd name="connsiteY31997" fmla="*/ 2530718 h 5973007"/>
              <a:gd name="connsiteX31998" fmla="*/ 1043611 w 6884782"/>
              <a:gd name="connsiteY31998" fmla="*/ 2529479 h 5973007"/>
              <a:gd name="connsiteX31999" fmla="*/ 1130036 w 6884782"/>
              <a:gd name="connsiteY31999" fmla="*/ 2528550 h 5973007"/>
              <a:gd name="connsiteX32000" fmla="*/ 1130553 w 6884782"/>
              <a:gd name="connsiteY32000" fmla="*/ 2532112 h 5973007"/>
              <a:gd name="connsiteX32001" fmla="*/ 1128488 w 6884782"/>
              <a:gd name="connsiteY32001" fmla="*/ 2533661 h 5973007"/>
              <a:gd name="connsiteX32002" fmla="*/ 1128178 w 6884782"/>
              <a:gd name="connsiteY32002" fmla="*/ 2532886 h 5973007"/>
              <a:gd name="connsiteX32003" fmla="*/ 1125906 w 6884782"/>
              <a:gd name="connsiteY32003" fmla="*/ 2529788 h 5973007"/>
              <a:gd name="connsiteX32004" fmla="*/ 1130036 w 6884782"/>
              <a:gd name="connsiteY32004" fmla="*/ 2528550 h 5973007"/>
              <a:gd name="connsiteX32005" fmla="*/ 1390345 w 6884782"/>
              <a:gd name="connsiteY32005" fmla="*/ 2527465 h 5973007"/>
              <a:gd name="connsiteX32006" fmla="*/ 1392101 w 6884782"/>
              <a:gd name="connsiteY32006" fmla="*/ 2527775 h 5973007"/>
              <a:gd name="connsiteX32007" fmla="*/ 1395714 w 6884782"/>
              <a:gd name="connsiteY32007" fmla="*/ 2528859 h 5973007"/>
              <a:gd name="connsiteX32008" fmla="*/ 1389313 w 6884782"/>
              <a:gd name="connsiteY32008" fmla="*/ 2528239 h 5973007"/>
              <a:gd name="connsiteX32009" fmla="*/ 1390345 w 6884782"/>
              <a:gd name="connsiteY32009" fmla="*/ 2527465 h 5973007"/>
              <a:gd name="connsiteX32010" fmla="*/ 529085 w 6884782"/>
              <a:gd name="connsiteY32010" fmla="*/ 2526846 h 5973007"/>
              <a:gd name="connsiteX32011" fmla="*/ 531666 w 6884782"/>
              <a:gd name="connsiteY32011" fmla="*/ 2529634 h 5973007"/>
              <a:gd name="connsiteX32012" fmla="*/ 528259 w 6884782"/>
              <a:gd name="connsiteY32012" fmla="*/ 2530098 h 5973007"/>
              <a:gd name="connsiteX32013" fmla="*/ 527743 w 6884782"/>
              <a:gd name="connsiteY32013" fmla="*/ 2528704 h 5973007"/>
              <a:gd name="connsiteX32014" fmla="*/ 529085 w 6884782"/>
              <a:gd name="connsiteY32014" fmla="*/ 2526846 h 5973007"/>
              <a:gd name="connsiteX32015" fmla="*/ 1053627 w 6884782"/>
              <a:gd name="connsiteY32015" fmla="*/ 2526691 h 5973007"/>
              <a:gd name="connsiteX32016" fmla="*/ 1057137 w 6884782"/>
              <a:gd name="connsiteY32016" fmla="*/ 2528550 h 5973007"/>
              <a:gd name="connsiteX32017" fmla="*/ 1058893 w 6884782"/>
              <a:gd name="connsiteY32017" fmla="*/ 2531182 h 5973007"/>
              <a:gd name="connsiteX32018" fmla="*/ 1059202 w 6884782"/>
              <a:gd name="connsiteY32018" fmla="*/ 2530718 h 5973007"/>
              <a:gd name="connsiteX32019" fmla="*/ 1064262 w 6884782"/>
              <a:gd name="connsiteY32019" fmla="*/ 2529169 h 5973007"/>
              <a:gd name="connsiteX32020" fmla="*/ 1066947 w 6884782"/>
              <a:gd name="connsiteY32020" fmla="*/ 2530098 h 5973007"/>
              <a:gd name="connsiteX32021" fmla="*/ 1067773 w 6884782"/>
              <a:gd name="connsiteY32021" fmla="*/ 2528550 h 5973007"/>
              <a:gd name="connsiteX32022" fmla="*/ 1082538 w 6884782"/>
              <a:gd name="connsiteY32022" fmla="*/ 2533041 h 5973007"/>
              <a:gd name="connsiteX32023" fmla="*/ 1067257 w 6884782"/>
              <a:gd name="connsiteY32023" fmla="*/ 2534436 h 5973007"/>
              <a:gd name="connsiteX32024" fmla="*/ 1066844 w 6884782"/>
              <a:gd name="connsiteY32024" fmla="*/ 2532267 h 5973007"/>
              <a:gd name="connsiteX32025" fmla="*/ 1060958 w 6884782"/>
              <a:gd name="connsiteY32025" fmla="*/ 2535829 h 5973007"/>
              <a:gd name="connsiteX32026" fmla="*/ 1052284 w 6884782"/>
              <a:gd name="connsiteY32026" fmla="*/ 2539237 h 5973007"/>
              <a:gd name="connsiteX32027" fmla="*/ 1054866 w 6884782"/>
              <a:gd name="connsiteY32027" fmla="*/ 2534590 h 5973007"/>
              <a:gd name="connsiteX32028" fmla="*/ 1058583 w 6884782"/>
              <a:gd name="connsiteY32028" fmla="*/ 2531338 h 5973007"/>
              <a:gd name="connsiteX32029" fmla="*/ 1054969 w 6884782"/>
              <a:gd name="connsiteY32029" fmla="*/ 2530098 h 5973007"/>
              <a:gd name="connsiteX32030" fmla="*/ 1053627 w 6884782"/>
              <a:gd name="connsiteY32030" fmla="*/ 2526691 h 5973007"/>
              <a:gd name="connsiteX32031" fmla="*/ 768949 w 6884782"/>
              <a:gd name="connsiteY32031" fmla="*/ 2525141 h 5973007"/>
              <a:gd name="connsiteX32032" fmla="*/ 771118 w 6884782"/>
              <a:gd name="connsiteY32032" fmla="*/ 2525607 h 5973007"/>
              <a:gd name="connsiteX32033" fmla="*/ 773080 w 6884782"/>
              <a:gd name="connsiteY32033" fmla="*/ 2528859 h 5973007"/>
              <a:gd name="connsiteX32034" fmla="*/ 775351 w 6884782"/>
              <a:gd name="connsiteY32034" fmla="*/ 2536914 h 5973007"/>
              <a:gd name="connsiteX32035" fmla="*/ 776384 w 6884782"/>
              <a:gd name="connsiteY32035" fmla="*/ 2538618 h 5973007"/>
              <a:gd name="connsiteX32036" fmla="*/ 768536 w 6884782"/>
              <a:gd name="connsiteY32036" fmla="*/ 2525761 h 5973007"/>
              <a:gd name="connsiteX32037" fmla="*/ 768949 w 6884782"/>
              <a:gd name="connsiteY32037" fmla="*/ 2525141 h 5973007"/>
              <a:gd name="connsiteX32038" fmla="*/ 1345222 w 6884782"/>
              <a:gd name="connsiteY32038" fmla="*/ 2524057 h 5973007"/>
              <a:gd name="connsiteX32039" fmla="*/ 1346048 w 6884782"/>
              <a:gd name="connsiteY32039" fmla="*/ 2524212 h 5973007"/>
              <a:gd name="connsiteX32040" fmla="*/ 1344706 w 6884782"/>
              <a:gd name="connsiteY32040" fmla="*/ 2527310 h 5973007"/>
              <a:gd name="connsiteX32041" fmla="*/ 1344809 w 6884782"/>
              <a:gd name="connsiteY32041" fmla="*/ 2524677 h 5973007"/>
              <a:gd name="connsiteX32042" fmla="*/ 1345222 w 6884782"/>
              <a:gd name="connsiteY32042" fmla="*/ 2524057 h 5973007"/>
              <a:gd name="connsiteX32043" fmla="*/ 1394062 w 6884782"/>
              <a:gd name="connsiteY32043" fmla="*/ 2523283 h 5973007"/>
              <a:gd name="connsiteX32044" fmla="*/ 1394062 w 6884782"/>
              <a:gd name="connsiteY32044" fmla="*/ 2524057 h 5973007"/>
              <a:gd name="connsiteX32045" fmla="*/ 1392101 w 6884782"/>
              <a:gd name="connsiteY32045" fmla="*/ 2523437 h 5973007"/>
              <a:gd name="connsiteX32046" fmla="*/ 1394062 w 6884782"/>
              <a:gd name="connsiteY32046" fmla="*/ 2523283 h 5973007"/>
              <a:gd name="connsiteX32047" fmla="*/ 1398193 w 6884782"/>
              <a:gd name="connsiteY32047" fmla="*/ 2523128 h 5973007"/>
              <a:gd name="connsiteX32048" fmla="*/ 1399019 w 6884782"/>
              <a:gd name="connsiteY32048" fmla="*/ 2525607 h 5973007"/>
              <a:gd name="connsiteX32049" fmla="*/ 1394682 w 6884782"/>
              <a:gd name="connsiteY32049" fmla="*/ 2523283 h 5973007"/>
              <a:gd name="connsiteX32050" fmla="*/ 1398193 w 6884782"/>
              <a:gd name="connsiteY32050" fmla="*/ 2523128 h 5973007"/>
              <a:gd name="connsiteX32051" fmla="*/ 1033492 w 6884782"/>
              <a:gd name="connsiteY32051" fmla="*/ 2522973 h 5973007"/>
              <a:gd name="connsiteX32052" fmla="*/ 1036486 w 6884782"/>
              <a:gd name="connsiteY32052" fmla="*/ 2523437 h 5973007"/>
              <a:gd name="connsiteX32053" fmla="*/ 1038448 w 6884782"/>
              <a:gd name="connsiteY32053" fmla="*/ 2525296 h 5973007"/>
              <a:gd name="connsiteX32054" fmla="*/ 1035763 w 6884782"/>
              <a:gd name="connsiteY32054" fmla="*/ 2529324 h 5973007"/>
              <a:gd name="connsiteX32055" fmla="*/ 1031840 w 6884782"/>
              <a:gd name="connsiteY32055" fmla="*/ 2523903 h 5973007"/>
              <a:gd name="connsiteX32056" fmla="*/ 1033492 w 6884782"/>
              <a:gd name="connsiteY32056" fmla="*/ 2522973 h 5973007"/>
              <a:gd name="connsiteX32057" fmla="*/ 692436 w 6884782"/>
              <a:gd name="connsiteY32057" fmla="*/ 2522973 h 5973007"/>
              <a:gd name="connsiteX32058" fmla="*/ 696257 w 6884782"/>
              <a:gd name="connsiteY32058" fmla="*/ 2523437 h 5973007"/>
              <a:gd name="connsiteX32059" fmla="*/ 694605 w 6884782"/>
              <a:gd name="connsiteY32059" fmla="*/ 2524367 h 5973007"/>
              <a:gd name="connsiteX32060" fmla="*/ 692333 w 6884782"/>
              <a:gd name="connsiteY32060" fmla="*/ 2524677 h 5973007"/>
              <a:gd name="connsiteX32061" fmla="*/ 691507 w 6884782"/>
              <a:gd name="connsiteY32061" fmla="*/ 2526071 h 5973007"/>
              <a:gd name="connsiteX32062" fmla="*/ 684589 w 6884782"/>
              <a:gd name="connsiteY32062" fmla="*/ 2525451 h 5973007"/>
              <a:gd name="connsiteX32063" fmla="*/ 686241 w 6884782"/>
              <a:gd name="connsiteY32063" fmla="*/ 2524677 h 5973007"/>
              <a:gd name="connsiteX32064" fmla="*/ 688513 w 6884782"/>
              <a:gd name="connsiteY32064" fmla="*/ 2524212 h 5973007"/>
              <a:gd name="connsiteX32065" fmla="*/ 690784 w 6884782"/>
              <a:gd name="connsiteY32065" fmla="*/ 2523748 h 5973007"/>
              <a:gd name="connsiteX32066" fmla="*/ 692436 w 6884782"/>
              <a:gd name="connsiteY32066" fmla="*/ 2522973 h 5973007"/>
              <a:gd name="connsiteX32067" fmla="*/ 706583 w 6884782"/>
              <a:gd name="connsiteY32067" fmla="*/ 2522663 h 5973007"/>
              <a:gd name="connsiteX32068" fmla="*/ 715566 w 6884782"/>
              <a:gd name="connsiteY32068" fmla="*/ 2531647 h 5973007"/>
              <a:gd name="connsiteX32069" fmla="*/ 710196 w 6884782"/>
              <a:gd name="connsiteY32069" fmla="*/ 2534745 h 5973007"/>
              <a:gd name="connsiteX32070" fmla="*/ 703382 w 6884782"/>
              <a:gd name="connsiteY32070" fmla="*/ 2528859 h 5973007"/>
              <a:gd name="connsiteX32071" fmla="*/ 703485 w 6884782"/>
              <a:gd name="connsiteY32071" fmla="*/ 2525916 h 5973007"/>
              <a:gd name="connsiteX32072" fmla="*/ 706583 w 6884782"/>
              <a:gd name="connsiteY32072" fmla="*/ 2522663 h 5973007"/>
              <a:gd name="connsiteX32073" fmla="*/ 1424110 w 6884782"/>
              <a:gd name="connsiteY32073" fmla="*/ 2522508 h 5973007"/>
              <a:gd name="connsiteX32074" fmla="*/ 1428860 w 6884782"/>
              <a:gd name="connsiteY32074" fmla="*/ 2532267 h 5973007"/>
              <a:gd name="connsiteX32075" fmla="*/ 1429169 w 6884782"/>
              <a:gd name="connsiteY32075" fmla="*/ 2535984 h 5973007"/>
              <a:gd name="connsiteX32076" fmla="*/ 1438050 w 6884782"/>
              <a:gd name="connsiteY32076" fmla="*/ 2539857 h 5973007"/>
              <a:gd name="connsiteX32077" fmla="*/ 1429583 w 6884782"/>
              <a:gd name="connsiteY32077" fmla="*/ 2542645 h 5973007"/>
              <a:gd name="connsiteX32078" fmla="*/ 1429686 w 6884782"/>
              <a:gd name="connsiteY32078" fmla="*/ 2543110 h 5973007"/>
              <a:gd name="connsiteX32079" fmla="*/ 1413681 w 6884782"/>
              <a:gd name="connsiteY32079" fmla="*/ 2549151 h 5973007"/>
              <a:gd name="connsiteX32080" fmla="*/ 1408622 w 6884782"/>
              <a:gd name="connsiteY32080" fmla="*/ 2548841 h 5973007"/>
              <a:gd name="connsiteX32081" fmla="*/ 1398193 w 6884782"/>
              <a:gd name="connsiteY32081" fmla="*/ 2549770 h 5973007"/>
              <a:gd name="connsiteX32082" fmla="*/ 1390758 w 6884782"/>
              <a:gd name="connsiteY32082" fmla="*/ 2548066 h 5973007"/>
              <a:gd name="connsiteX32083" fmla="*/ 1389932 w 6884782"/>
              <a:gd name="connsiteY32083" fmla="*/ 2548221 h 5973007"/>
              <a:gd name="connsiteX32084" fmla="*/ 1389726 w 6884782"/>
              <a:gd name="connsiteY32084" fmla="*/ 2547911 h 5973007"/>
              <a:gd name="connsiteX32085" fmla="*/ 1382704 w 6884782"/>
              <a:gd name="connsiteY32085" fmla="*/ 2546363 h 5973007"/>
              <a:gd name="connsiteX32086" fmla="*/ 1387351 w 6884782"/>
              <a:gd name="connsiteY32086" fmla="*/ 2541715 h 5973007"/>
              <a:gd name="connsiteX32087" fmla="*/ 1387351 w 6884782"/>
              <a:gd name="connsiteY32087" fmla="*/ 2541096 h 5973007"/>
              <a:gd name="connsiteX32088" fmla="*/ 1389313 w 6884782"/>
              <a:gd name="connsiteY32088" fmla="*/ 2539857 h 5973007"/>
              <a:gd name="connsiteX32089" fmla="*/ 1393649 w 6884782"/>
              <a:gd name="connsiteY32089" fmla="*/ 2535365 h 5973007"/>
              <a:gd name="connsiteX32090" fmla="*/ 1393649 w 6884782"/>
              <a:gd name="connsiteY32090" fmla="*/ 2534281 h 5973007"/>
              <a:gd name="connsiteX32091" fmla="*/ 1424110 w 6884782"/>
              <a:gd name="connsiteY32091" fmla="*/ 2522508 h 5973007"/>
              <a:gd name="connsiteX32092" fmla="*/ 1161323 w 6884782"/>
              <a:gd name="connsiteY32092" fmla="*/ 2522199 h 5973007"/>
              <a:gd name="connsiteX32093" fmla="*/ 1162046 w 6884782"/>
              <a:gd name="connsiteY32093" fmla="*/ 2529634 h 5973007"/>
              <a:gd name="connsiteX32094" fmla="*/ 1157812 w 6884782"/>
              <a:gd name="connsiteY32094" fmla="*/ 2533816 h 5973007"/>
              <a:gd name="connsiteX32095" fmla="*/ 1155437 w 6884782"/>
              <a:gd name="connsiteY32095" fmla="*/ 2530098 h 5973007"/>
              <a:gd name="connsiteX32096" fmla="*/ 1157812 w 6884782"/>
              <a:gd name="connsiteY32096" fmla="*/ 2526071 h 5973007"/>
              <a:gd name="connsiteX32097" fmla="*/ 1158948 w 6884782"/>
              <a:gd name="connsiteY32097" fmla="*/ 2522973 h 5973007"/>
              <a:gd name="connsiteX32098" fmla="*/ 1161323 w 6884782"/>
              <a:gd name="connsiteY32098" fmla="*/ 2522199 h 5973007"/>
              <a:gd name="connsiteX32099" fmla="*/ 1352037 w 6884782"/>
              <a:gd name="connsiteY32099" fmla="*/ 2521424 h 5973007"/>
              <a:gd name="connsiteX32100" fmla="*/ 1361950 w 6884782"/>
              <a:gd name="connsiteY32100" fmla="*/ 2524677 h 5973007"/>
              <a:gd name="connsiteX32101" fmla="*/ 1362053 w 6884782"/>
              <a:gd name="connsiteY32101" fmla="*/ 2529634 h 5973007"/>
              <a:gd name="connsiteX32102" fmla="*/ 1349353 w 6884782"/>
              <a:gd name="connsiteY32102" fmla="*/ 2524987 h 5973007"/>
              <a:gd name="connsiteX32103" fmla="*/ 1352037 w 6884782"/>
              <a:gd name="connsiteY32103" fmla="*/ 2521424 h 5973007"/>
              <a:gd name="connsiteX32104" fmla="*/ 672715 w 6884782"/>
              <a:gd name="connsiteY32104" fmla="*/ 2520340 h 5973007"/>
              <a:gd name="connsiteX32105" fmla="*/ 675399 w 6884782"/>
              <a:gd name="connsiteY32105" fmla="*/ 2520649 h 5973007"/>
              <a:gd name="connsiteX32106" fmla="*/ 676225 w 6884782"/>
              <a:gd name="connsiteY32106" fmla="*/ 2524987 h 5973007"/>
              <a:gd name="connsiteX32107" fmla="*/ 674470 w 6884782"/>
              <a:gd name="connsiteY32107" fmla="*/ 2525761 h 5973007"/>
              <a:gd name="connsiteX32108" fmla="*/ 671682 w 6884782"/>
              <a:gd name="connsiteY32108" fmla="*/ 2524522 h 5973007"/>
              <a:gd name="connsiteX32109" fmla="*/ 670856 w 6884782"/>
              <a:gd name="connsiteY32109" fmla="*/ 2520960 h 5973007"/>
              <a:gd name="connsiteX32110" fmla="*/ 672715 w 6884782"/>
              <a:gd name="connsiteY32110" fmla="*/ 2520340 h 5973007"/>
              <a:gd name="connsiteX32111" fmla="*/ 1367216 w 6884782"/>
              <a:gd name="connsiteY32111" fmla="*/ 2520185 h 5973007"/>
              <a:gd name="connsiteX32112" fmla="*/ 1368042 w 6884782"/>
              <a:gd name="connsiteY32112" fmla="*/ 2520960 h 5973007"/>
              <a:gd name="connsiteX32113" fmla="*/ 1360504 w 6884782"/>
              <a:gd name="connsiteY32113" fmla="*/ 2520495 h 5973007"/>
              <a:gd name="connsiteX32114" fmla="*/ 1367216 w 6884782"/>
              <a:gd name="connsiteY32114" fmla="*/ 2520185 h 5973007"/>
              <a:gd name="connsiteX32115" fmla="*/ 1050942 w 6884782"/>
              <a:gd name="connsiteY32115" fmla="*/ 2518791 h 5973007"/>
              <a:gd name="connsiteX32116" fmla="*/ 1051355 w 6884782"/>
              <a:gd name="connsiteY32116" fmla="*/ 2521424 h 5973007"/>
              <a:gd name="connsiteX32117" fmla="*/ 1048464 w 6884782"/>
              <a:gd name="connsiteY32117" fmla="*/ 2522818 h 5973007"/>
              <a:gd name="connsiteX32118" fmla="*/ 1047122 w 6884782"/>
              <a:gd name="connsiteY32118" fmla="*/ 2526071 h 5973007"/>
              <a:gd name="connsiteX32119" fmla="*/ 1046915 w 6884782"/>
              <a:gd name="connsiteY32119" fmla="*/ 2526226 h 5973007"/>
              <a:gd name="connsiteX32120" fmla="*/ 1046399 w 6884782"/>
              <a:gd name="connsiteY32120" fmla="*/ 2528084 h 5973007"/>
              <a:gd name="connsiteX32121" fmla="*/ 1047122 w 6884782"/>
              <a:gd name="connsiteY32121" fmla="*/ 2527775 h 5973007"/>
              <a:gd name="connsiteX32122" fmla="*/ 1049909 w 6884782"/>
              <a:gd name="connsiteY32122" fmla="*/ 2535210 h 5973007"/>
              <a:gd name="connsiteX32123" fmla="*/ 1047122 w 6884782"/>
              <a:gd name="connsiteY32123" fmla="*/ 2539237 h 5973007"/>
              <a:gd name="connsiteX32124" fmla="*/ 1046399 w 6884782"/>
              <a:gd name="connsiteY32124" fmla="*/ 2539237 h 5973007"/>
              <a:gd name="connsiteX32125" fmla="*/ 1047534 w 6884782"/>
              <a:gd name="connsiteY32125" fmla="*/ 2544039 h 5973007"/>
              <a:gd name="connsiteX32126" fmla="*/ 1046605 w 6884782"/>
              <a:gd name="connsiteY32126" fmla="*/ 2548066 h 5973007"/>
              <a:gd name="connsiteX32127" fmla="*/ 1045366 w 6884782"/>
              <a:gd name="connsiteY32127" fmla="*/ 2549151 h 5973007"/>
              <a:gd name="connsiteX32128" fmla="*/ 1047122 w 6884782"/>
              <a:gd name="connsiteY32128" fmla="*/ 2549151 h 5973007"/>
              <a:gd name="connsiteX32129" fmla="*/ 1052078 w 6884782"/>
              <a:gd name="connsiteY32129" fmla="*/ 2549305 h 5973007"/>
              <a:gd name="connsiteX32130" fmla="*/ 1053627 w 6884782"/>
              <a:gd name="connsiteY32130" fmla="*/ 2549305 h 5973007"/>
              <a:gd name="connsiteX32131" fmla="*/ 1053730 w 6884782"/>
              <a:gd name="connsiteY32131" fmla="*/ 2549305 h 5973007"/>
              <a:gd name="connsiteX32132" fmla="*/ 1054040 w 6884782"/>
              <a:gd name="connsiteY32132" fmla="*/ 2549305 h 5973007"/>
              <a:gd name="connsiteX32133" fmla="*/ 1059719 w 6884782"/>
              <a:gd name="connsiteY32133" fmla="*/ 2553023 h 5973007"/>
              <a:gd name="connsiteX32134" fmla="*/ 1054350 w 6884782"/>
              <a:gd name="connsiteY32134" fmla="*/ 2554417 h 5973007"/>
              <a:gd name="connsiteX32135" fmla="*/ 1054040 w 6884782"/>
              <a:gd name="connsiteY32135" fmla="*/ 2555966 h 5973007"/>
              <a:gd name="connsiteX32136" fmla="*/ 1047431 w 6884782"/>
              <a:gd name="connsiteY32136" fmla="*/ 2559528 h 5973007"/>
              <a:gd name="connsiteX32137" fmla="*/ 1046295 w 6884782"/>
              <a:gd name="connsiteY32137" fmla="*/ 2556276 h 5973007"/>
              <a:gd name="connsiteX32138" fmla="*/ 1040513 w 6884782"/>
              <a:gd name="connsiteY32138" fmla="*/ 2556431 h 5973007"/>
              <a:gd name="connsiteX32139" fmla="*/ 1032562 w 6884782"/>
              <a:gd name="connsiteY32139" fmla="*/ 2554417 h 5973007"/>
              <a:gd name="connsiteX32140" fmla="*/ 1031840 w 6884782"/>
              <a:gd name="connsiteY32140" fmla="*/ 2552713 h 5973007"/>
              <a:gd name="connsiteX32141" fmla="*/ 1031220 w 6884782"/>
              <a:gd name="connsiteY32141" fmla="*/ 2552558 h 5973007"/>
              <a:gd name="connsiteX32142" fmla="*/ 1027503 w 6884782"/>
              <a:gd name="connsiteY32142" fmla="*/ 2548531 h 5973007"/>
              <a:gd name="connsiteX32143" fmla="*/ 1026367 w 6884782"/>
              <a:gd name="connsiteY32143" fmla="*/ 2544659 h 5973007"/>
              <a:gd name="connsiteX32144" fmla="*/ 1027399 w 6884782"/>
              <a:gd name="connsiteY32144" fmla="*/ 2538927 h 5973007"/>
              <a:gd name="connsiteX32145" fmla="*/ 1028742 w 6884782"/>
              <a:gd name="connsiteY32145" fmla="*/ 2537378 h 5973007"/>
              <a:gd name="connsiteX32146" fmla="*/ 1028432 w 6884782"/>
              <a:gd name="connsiteY32146" fmla="*/ 2534590 h 5973007"/>
              <a:gd name="connsiteX32147" fmla="*/ 1028949 w 6884782"/>
              <a:gd name="connsiteY32147" fmla="*/ 2533506 h 5973007"/>
              <a:gd name="connsiteX32148" fmla="*/ 1029981 w 6884782"/>
              <a:gd name="connsiteY32148" fmla="*/ 2536294 h 5973007"/>
              <a:gd name="connsiteX32149" fmla="*/ 1033698 w 6884782"/>
              <a:gd name="connsiteY32149" fmla="*/ 2534126 h 5973007"/>
              <a:gd name="connsiteX32150" fmla="*/ 1036176 w 6884782"/>
              <a:gd name="connsiteY32150" fmla="*/ 2533351 h 5973007"/>
              <a:gd name="connsiteX32151" fmla="*/ 1039377 w 6884782"/>
              <a:gd name="connsiteY32151" fmla="*/ 2531027 h 5973007"/>
              <a:gd name="connsiteX32152" fmla="*/ 1039997 w 6884782"/>
              <a:gd name="connsiteY32152" fmla="*/ 2531647 h 5973007"/>
              <a:gd name="connsiteX32153" fmla="*/ 1041856 w 6884782"/>
              <a:gd name="connsiteY32153" fmla="*/ 2529788 h 5973007"/>
              <a:gd name="connsiteX32154" fmla="*/ 1043198 w 6884782"/>
              <a:gd name="connsiteY32154" fmla="*/ 2528704 h 5973007"/>
              <a:gd name="connsiteX32155" fmla="*/ 1042888 w 6884782"/>
              <a:gd name="connsiteY32155" fmla="*/ 2528084 h 5973007"/>
              <a:gd name="connsiteX32156" fmla="*/ 1044333 w 6884782"/>
              <a:gd name="connsiteY32156" fmla="*/ 2525141 h 5973007"/>
              <a:gd name="connsiteX32157" fmla="*/ 1045883 w 6884782"/>
              <a:gd name="connsiteY32157" fmla="*/ 2525451 h 5973007"/>
              <a:gd name="connsiteX32158" fmla="*/ 1046399 w 6884782"/>
              <a:gd name="connsiteY32158" fmla="*/ 2525296 h 5973007"/>
              <a:gd name="connsiteX32159" fmla="*/ 1049084 w 6884782"/>
              <a:gd name="connsiteY32159" fmla="*/ 2519565 h 5973007"/>
              <a:gd name="connsiteX32160" fmla="*/ 1050942 w 6884782"/>
              <a:gd name="connsiteY32160" fmla="*/ 2518791 h 5973007"/>
              <a:gd name="connsiteX32161" fmla="*/ 4875574 w 6884782"/>
              <a:gd name="connsiteY32161" fmla="*/ 2518586 h 5973007"/>
              <a:gd name="connsiteX32162" fmla="*/ 4877922 w 6884782"/>
              <a:gd name="connsiteY32162" fmla="*/ 2522285 h 5973007"/>
              <a:gd name="connsiteX32163" fmla="*/ 4879415 w 6884782"/>
              <a:gd name="connsiteY32163" fmla="*/ 2527549 h 5973007"/>
              <a:gd name="connsiteX32164" fmla="*/ 4870025 w 6884782"/>
              <a:gd name="connsiteY32164" fmla="*/ 2533809 h 5973007"/>
              <a:gd name="connsiteX32165" fmla="*/ 4875574 w 6884782"/>
              <a:gd name="connsiteY32165" fmla="*/ 2518586 h 5973007"/>
              <a:gd name="connsiteX32166" fmla="*/ 523613 w 6884782"/>
              <a:gd name="connsiteY32166" fmla="*/ 2518171 h 5973007"/>
              <a:gd name="connsiteX32167" fmla="*/ 524955 w 6884782"/>
              <a:gd name="connsiteY32167" fmla="*/ 2518171 h 5973007"/>
              <a:gd name="connsiteX32168" fmla="*/ 526710 w 6884782"/>
              <a:gd name="connsiteY32168" fmla="*/ 2518326 h 5973007"/>
              <a:gd name="connsiteX32169" fmla="*/ 528362 w 6884782"/>
              <a:gd name="connsiteY32169" fmla="*/ 2525916 h 5973007"/>
              <a:gd name="connsiteX32170" fmla="*/ 521341 w 6884782"/>
              <a:gd name="connsiteY32170" fmla="*/ 2527620 h 5973007"/>
              <a:gd name="connsiteX32171" fmla="*/ 520515 w 6884782"/>
              <a:gd name="connsiteY32171" fmla="*/ 2525916 h 5973007"/>
              <a:gd name="connsiteX32172" fmla="*/ 519998 w 6884782"/>
              <a:gd name="connsiteY32172" fmla="*/ 2523748 h 5973007"/>
              <a:gd name="connsiteX32173" fmla="*/ 521444 w 6884782"/>
              <a:gd name="connsiteY32173" fmla="*/ 2519410 h 5973007"/>
              <a:gd name="connsiteX32174" fmla="*/ 523613 w 6884782"/>
              <a:gd name="connsiteY32174" fmla="*/ 2518171 h 5973007"/>
              <a:gd name="connsiteX32175" fmla="*/ 5294944 w 6884782"/>
              <a:gd name="connsiteY32175" fmla="*/ 2517874 h 5973007"/>
              <a:gd name="connsiteX32176" fmla="*/ 5304548 w 6884782"/>
              <a:gd name="connsiteY32176" fmla="*/ 2517874 h 5973007"/>
              <a:gd name="connsiteX32177" fmla="*/ 5284487 w 6884782"/>
              <a:gd name="connsiteY32177" fmla="*/ 2526268 h 5973007"/>
              <a:gd name="connsiteX32178" fmla="*/ 5284700 w 6884782"/>
              <a:gd name="connsiteY32178" fmla="*/ 2521431 h 5973007"/>
              <a:gd name="connsiteX32179" fmla="*/ 5286834 w 6884782"/>
              <a:gd name="connsiteY32179" fmla="*/ 2521716 h 5973007"/>
              <a:gd name="connsiteX32180" fmla="*/ 5294944 w 6884782"/>
              <a:gd name="connsiteY32180" fmla="*/ 2517874 h 5973007"/>
              <a:gd name="connsiteX32181" fmla="*/ 1054969 w 6884782"/>
              <a:gd name="connsiteY32181" fmla="*/ 2517862 h 5973007"/>
              <a:gd name="connsiteX32182" fmla="*/ 1060235 w 6884782"/>
              <a:gd name="connsiteY32182" fmla="*/ 2521424 h 5973007"/>
              <a:gd name="connsiteX32183" fmla="*/ 1055795 w 6884782"/>
              <a:gd name="connsiteY32183" fmla="*/ 2523437 h 5973007"/>
              <a:gd name="connsiteX32184" fmla="*/ 1054660 w 6884782"/>
              <a:gd name="connsiteY32184" fmla="*/ 2522818 h 5973007"/>
              <a:gd name="connsiteX32185" fmla="*/ 1053833 w 6884782"/>
              <a:gd name="connsiteY32185" fmla="*/ 2522508 h 5973007"/>
              <a:gd name="connsiteX32186" fmla="*/ 1051562 w 6884782"/>
              <a:gd name="connsiteY32186" fmla="*/ 2521579 h 5973007"/>
              <a:gd name="connsiteX32187" fmla="*/ 1054969 w 6884782"/>
              <a:gd name="connsiteY32187" fmla="*/ 2517862 h 5973007"/>
              <a:gd name="connsiteX32188" fmla="*/ 1001689 w 6884782"/>
              <a:gd name="connsiteY32188" fmla="*/ 2516313 h 5973007"/>
              <a:gd name="connsiteX32189" fmla="*/ 1001895 w 6884782"/>
              <a:gd name="connsiteY32189" fmla="*/ 2530563 h 5973007"/>
              <a:gd name="connsiteX32190" fmla="*/ 997249 w 6884782"/>
              <a:gd name="connsiteY32190" fmla="*/ 2524212 h 5973007"/>
              <a:gd name="connsiteX32191" fmla="*/ 1001689 w 6884782"/>
              <a:gd name="connsiteY32191" fmla="*/ 2516313 h 5973007"/>
              <a:gd name="connsiteX32192" fmla="*/ 660376 w 6884782"/>
              <a:gd name="connsiteY32192" fmla="*/ 2515538 h 5973007"/>
              <a:gd name="connsiteX32193" fmla="*/ 668068 w 6884782"/>
              <a:gd name="connsiteY32193" fmla="*/ 2519720 h 5973007"/>
              <a:gd name="connsiteX32194" fmla="*/ 636781 w 6884782"/>
              <a:gd name="connsiteY32194" fmla="*/ 2528239 h 5973007"/>
              <a:gd name="connsiteX32195" fmla="*/ 650205 w 6884782"/>
              <a:gd name="connsiteY32195" fmla="*/ 2516932 h 5973007"/>
              <a:gd name="connsiteX32196" fmla="*/ 660376 w 6884782"/>
              <a:gd name="connsiteY32196" fmla="*/ 2515538 h 5973007"/>
              <a:gd name="connsiteX32197" fmla="*/ 1390965 w 6884782"/>
              <a:gd name="connsiteY32197" fmla="*/ 2515383 h 5973007"/>
              <a:gd name="connsiteX32198" fmla="*/ 1391481 w 6884782"/>
              <a:gd name="connsiteY32198" fmla="*/ 2521579 h 5973007"/>
              <a:gd name="connsiteX32199" fmla="*/ 1389623 w 6884782"/>
              <a:gd name="connsiteY32199" fmla="*/ 2524212 h 5973007"/>
              <a:gd name="connsiteX32200" fmla="*/ 1389519 w 6884782"/>
              <a:gd name="connsiteY32200" fmla="*/ 2524212 h 5973007"/>
              <a:gd name="connsiteX32201" fmla="*/ 1386834 w 6884782"/>
              <a:gd name="connsiteY32201" fmla="*/ 2525607 h 5973007"/>
              <a:gd name="connsiteX32202" fmla="*/ 1383014 w 6884782"/>
              <a:gd name="connsiteY32202" fmla="*/ 2524212 h 5973007"/>
              <a:gd name="connsiteX32203" fmla="*/ 1383014 w 6884782"/>
              <a:gd name="connsiteY32203" fmla="*/ 2523283 h 5973007"/>
              <a:gd name="connsiteX32204" fmla="*/ 1380536 w 6884782"/>
              <a:gd name="connsiteY32204" fmla="*/ 2523128 h 5973007"/>
              <a:gd name="connsiteX32205" fmla="*/ 1373928 w 6884782"/>
              <a:gd name="connsiteY32205" fmla="*/ 2521579 h 5973007"/>
              <a:gd name="connsiteX32206" fmla="*/ 1380639 w 6884782"/>
              <a:gd name="connsiteY32206" fmla="*/ 2521889 h 5973007"/>
              <a:gd name="connsiteX32207" fmla="*/ 1383014 w 6884782"/>
              <a:gd name="connsiteY32207" fmla="*/ 2522199 h 5973007"/>
              <a:gd name="connsiteX32208" fmla="*/ 1383117 w 6884782"/>
              <a:gd name="connsiteY32208" fmla="*/ 2521114 h 5973007"/>
              <a:gd name="connsiteX32209" fmla="*/ 1390965 w 6884782"/>
              <a:gd name="connsiteY32209" fmla="*/ 2515383 h 5973007"/>
              <a:gd name="connsiteX32210" fmla="*/ 1024612 w 6884782"/>
              <a:gd name="connsiteY32210" fmla="*/ 2514299 h 5973007"/>
              <a:gd name="connsiteX32211" fmla="*/ 1027503 w 6884782"/>
              <a:gd name="connsiteY32211" fmla="*/ 2527775 h 5973007"/>
              <a:gd name="connsiteX32212" fmla="*/ 1024612 w 6884782"/>
              <a:gd name="connsiteY32212" fmla="*/ 2514299 h 5973007"/>
              <a:gd name="connsiteX32213" fmla="*/ 565844 w 6884782"/>
              <a:gd name="connsiteY32213" fmla="*/ 2513834 h 5973007"/>
              <a:gd name="connsiteX32214" fmla="*/ 571214 w 6884782"/>
              <a:gd name="connsiteY32214" fmla="*/ 2516003 h 5973007"/>
              <a:gd name="connsiteX32215" fmla="*/ 572143 w 6884782"/>
              <a:gd name="connsiteY32215" fmla="*/ 2518481 h 5973007"/>
              <a:gd name="connsiteX32216" fmla="*/ 569355 w 6884782"/>
              <a:gd name="connsiteY32216" fmla="*/ 2518171 h 5973007"/>
              <a:gd name="connsiteX32217" fmla="*/ 568529 w 6884782"/>
              <a:gd name="connsiteY32217" fmla="*/ 2516467 h 5973007"/>
              <a:gd name="connsiteX32218" fmla="*/ 565741 w 6884782"/>
              <a:gd name="connsiteY32218" fmla="*/ 2515383 h 5973007"/>
              <a:gd name="connsiteX32219" fmla="*/ 565844 w 6884782"/>
              <a:gd name="connsiteY32219" fmla="*/ 2513834 h 5973007"/>
              <a:gd name="connsiteX32220" fmla="*/ 5312444 w 6884782"/>
              <a:gd name="connsiteY32220" fmla="*/ 2512468 h 5973007"/>
              <a:gd name="connsiteX32221" fmla="*/ 5313938 w 6884782"/>
              <a:gd name="connsiteY32221" fmla="*/ 2513180 h 5973007"/>
              <a:gd name="connsiteX32222" fmla="*/ 5309243 w 6884782"/>
              <a:gd name="connsiteY32222" fmla="*/ 2516309 h 5973007"/>
              <a:gd name="connsiteX32223" fmla="*/ 5307962 w 6884782"/>
              <a:gd name="connsiteY32223" fmla="*/ 2514887 h 5973007"/>
              <a:gd name="connsiteX32224" fmla="*/ 5312444 w 6884782"/>
              <a:gd name="connsiteY32224" fmla="*/ 2512468 h 5973007"/>
              <a:gd name="connsiteX32225" fmla="*/ 1280248 w 6884782"/>
              <a:gd name="connsiteY32225" fmla="*/ 2512440 h 5973007"/>
              <a:gd name="connsiteX32226" fmla="*/ 1284611 w 6884782"/>
              <a:gd name="connsiteY32226" fmla="*/ 2512595 h 5973007"/>
              <a:gd name="connsiteX32227" fmla="*/ 1286676 w 6884782"/>
              <a:gd name="connsiteY32227" fmla="*/ 2536294 h 5973007"/>
              <a:gd name="connsiteX32228" fmla="*/ 1284817 w 6884782"/>
              <a:gd name="connsiteY32228" fmla="*/ 2539237 h 5973007"/>
              <a:gd name="connsiteX32229" fmla="*/ 1286366 w 6884782"/>
              <a:gd name="connsiteY32229" fmla="*/ 2540631 h 5973007"/>
              <a:gd name="connsiteX32230" fmla="*/ 1289258 w 6884782"/>
              <a:gd name="connsiteY32230" fmla="*/ 2542490 h 5973007"/>
              <a:gd name="connsiteX32231" fmla="*/ 1289774 w 6884782"/>
              <a:gd name="connsiteY32231" fmla="*/ 2545123 h 5973007"/>
              <a:gd name="connsiteX32232" fmla="*/ 1282030 w 6884782"/>
              <a:gd name="connsiteY32232" fmla="*/ 2543574 h 5973007"/>
              <a:gd name="connsiteX32233" fmla="*/ 1281410 w 6884782"/>
              <a:gd name="connsiteY32233" fmla="*/ 2543110 h 5973007"/>
              <a:gd name="connsiteX32234" fmla="*/ 1280894 w 6884782"/>
              <a:gd name="connsiteY32234" fmla="*/ 2542645 h 5973007"/>
              <a:gd name="connsiteX32235" fmla="*/ 1278002 w 6884782"/>
              <a:gd name="connsiteY32235" fmla="*/ 2545588 h 5973007"/>
              <a:gd name="connsiteX32236" fmla="*/ 1267677 w 6884782"/>
              <a:gd name="connsiteY32236" fmla="*/ 2536914 h 5973007"/>
              <a:gd name="connsiteX32237" fmla="*/ 1273975 w 6884782"/>
              <a:gd name="connsiteY32237" fmla="*/ 2530718 h 5973007"/>
              <a:gd name="connsiteX32238" fmla="*/ 1279345 w 6884782"/>
              <a:gd name="connsiteY32238" fmla="*/ 2535365 h 5973007"/>
              <a:gd name="connsiteX32239" fmla="*/ 1280171 w 6884782"/>
              <a:gd name="connsiteY32239" fmla="*/ 2537224 h 5973007"/>
              <a:gd name="connsiteX32240" fmla="*/ 1282442 w 6884782"/>
              <a:gd name="connsiteY32240" fmla="*/ 2537224 h 5973007"/>
              <a:gd name="connsiteX32241" fmla="*/ 1284611 w 6884782"/>
              <a:gd name="connsiteY32241" fmla="*/ 2539082 h 5973007"/>
              <a:gd name="connsiteX32242" fmla="*/ 1278209 w 6884782"/>
              <a:gd name="connsiteY32242" fmla="*/ 2529014 h 5973007"/>
              <a:gd name="connsiteX32243" fmla="*/ 1276247 w 6884782"/>
              <a:gd name="connsiteY32243" fmla="*/ 2522818 h 5973007"/>
              <a:gd name="connsiteX32244" fmla="*/ 1276350 w 6884782"/>
              <a:gd name="connsiteY32244" fmla="*/ 2515074 h 5973007"/>
              <a:gd name="connsiteX32245" fmla="*/ 1280248 w 6884782"/>
              <a:gd name="connsiteY32245" fmla="*/ 2512440 h 5973007"/>
              <a:gd name="connsiteX32246" fmla="*/ 1024818 w 6884782"/>
              <a:gd name="connsiteY32246" fmla="*/ 2512285 h 5973007"/>
              <a:gd name="connsiteX32247" fmla="*/ 1024818 w 6884782"/>
              <a:gd name="connsiteY32247" fmla="*/ 2514299 h 5973007"/>
              <a:gd name="connsiteX32248" fmla="*/ 1023683 w 6884782"/>
              <a:gd name="connsiteY32248" fmla="*/ 2513679 h 5973007"/>
              <a:gd name="connsiteX32249" fmla="*/ 1024818 w 6884782"/>
              <a:gd name="connsiteY32249" fmla="*/ 2512285 h 5973007"/>
              <a:gd name="connsiteX32250" fmla="*/ 810252 w 6884782"/>
              <a:gd name="connsiteY32250" fmla="*/ 2510116 h 5973007"/>
              <a:gd name="connsiteX32251" fmla="*/ 814072 w 6884782"/>
              <a:gd name="connsiteY32251" fmla="*/ 2518171 h 5973007"/>
              <a:gd name="connsiteX32252" fmla="*/ 811697 w 6884782"/>
              <a:gd name="connsiteY32252" fmla="*/ 2524832 h 5973007"/>
              <a:gd name="connsiteX32253" fmla="*/ 814279 w 6884782"/>
              <a:gd name="connsiteY32253" fmla="*/ 2528084 h 5973007"/>
              <a:gd name="connsiteX32254" fmla="*/ 809116 w 6884782"/>
              <a:gd name="connsiteY32254" fmla="*/ 2534436 h 5973007"/>
              <a:gd name="connsiteX32255" fmla="*/ 793215 w 6884782"/>
              <a:gd name="connsiteY32255" fmla="*/ 2529014 h 5973007"/>
              <a:gd name="connsiteX32256" fmla="*/ 793627 w 6884782"/>
              <a:gd name="connsiteY32256" fmla="*/ 2528395 h 5973007"/>
              <a:gd name="connsiteX32257" fmla="*/ 788155 w 6884782"/>
              <a:gd name="connsiteY32257" fmla="*/ 2526846 h 5973007"/>
              <a:gd name="connsiteX32258" fmla="*/ 787949 w 6884782"/>
              <a:gd name="connsiteY32258" fmla="*/ 2523437 h 5973007"/>
              <a:gd name="connsiteX32259" fmla="*/ 793318 w 6884782"/>
              <a:gd name="connsiteY32259" fmla="*/ 2516003 h 5973007"/>
              <a:gd name="connsiteX32260" fmla="*/ 793834 w 6884782"/>
              <a:gd name="connsiteY32260" fmla="*/ 2515693 h 5973007"/>
              <a:gd name="connsiteX32261" fmla="*/ 794247 w 6884782"/>
              <a:gd name="connsiteY32261" fmla="*/ 2514609 h 5973007"/>
              <a:gd name="connsiteX32262" fmla="*/ 793937 w 6884782"/>
              <a:gd name="connsiteY32262" fmla="*/ 2514454 h 5973007"/>
              <a:gd name="connsiteX32263" fmla="*/ 794350 w 6884782"/>
              <a:gd name="connsiteY32263" fmla="*/ 2514299 h 5973007"/>
              <a:gd name="connsiteX32264" fmla="*/ 795073 w 6884782"/>
              <a:gd name="connsiteY32264" fmla="*/ 2512440 h 5973007"/>
              <a:gd name="connsiteX32265" fmla="*/ 796519 w 6884782"/>
              <a:gd name="connsiteY32265" fmla="*/ 2513060 h 5973007"/>
              <a:gd name="connsiteX32266" fmla="*/ 799100 w 6884782"/>
              <a:gd name="connsiteY32266" fmla="*/ 2512285 h 5973007"/>
              <a:gd name="connsiteX32267" fmla="*/ 800856 w 6884782"/>
              <a:gd name="connsiteY32267" fmla="*/ 2513834 h 5973007"/>
              <a:gd name="connsiteX32268" fmla="*/ 800959 w 6884782"/>
              <a:gd name="connsiteY32268" fmla="*/ 2518636 h 5973007"/>
              <a:gd name="connsiteX32269" fmla="*/ 806948 w 6884782"/>
              <a:gd name="connsiteY32269" fmla="*/ 2521889 h 5973007"/>
              <a:gd name="connsiteX32270" fmla="*/ 809942 w 6884782"/>
              <a:gd name="connsiteY32270" fmla="*/ 2523437 h 5973007"/>
              <a:gd name="connsiteX32271" fmla="*/ 809116 w 6884782"/>
              <a:gd name="connsiteY32271" fmla="*/ 2522508 h 5973007"/>
              <a:gd name="connsiteX32272" fmla="*/ 810252 w 6884782"/>
              <a:gd name="connsiteY32272" fmla="*/ 2510116 h 5973007"/>
              <a:gd name="connsiteX32273" fmla="*/ 1307018 w 6884782"/>
              <a:gd name="connsiteY32273" fmla="*/ 2509962 h 5973007"/>
              <a:gd name="connsiteX32274" fmla="*/ 1305778 w 6884782"/>
              <a:gd name="connsiteY32274" fmla="*/ 2514918 h 5973007"/>
              <a:gd name="connsiteX32275" fmla="*/ 1304126 w 6884782"/>
              <a:gd name="connsiteY32275" fmla="*/ 2517706 h 5973007"/>
              <a:gd name="connsiteX32276" fmla="*/ 1305985 w 6884782"/>
              <a:gd name="connsiteY32276" fmla="*/ 2517706 h 5973007"/>
              <a:gd name="connsiteX32277" fmla="*/ 1306192 w 6884782"/>
              <a:gd name="connsiteY32277" fmla="*/ 2517552 h 5973007"/>
              <a:gd name="connsiteX32278" fmla="*/ 1307740 w 6884782"/>
              <a:gd name="connsiteY32278" fmla="*/ 2517862 h 5973007"/>
              <a:gd name="connsiteX32279" fmla="*/ 1309083 w 6884782"/>
              <a:gd name="connsiteY32279" fmla="*/ 2518016 h 5973007"/>
              <a:gd name="connsiteX32280" fmla="*/ 1332419 w 6884782"/>
              <a:gd name="connsiteY32280" fmla="*/ 2526226 h 5973007"/>
              <a:gd name="connsiteX32281" fmla="*/ 1327772 w 6884782"/>
              <a:gd name="connsiteY32281" fmla="*/ 2530563 h 5973007"/>
              <a:gd name="connsiteX32282" fmla="*/ 1327462 w 6884782"/>
              <a:gd name="connsiteY32282" fmla="*/ 2531492 h 5973007"/>
              <a:gd name="connsiteX32283" fmla="*/ 1328495 w 6884782"/>
              <a:gd name="connsiteY32283" fmla="*/ 2532731 h 5973007"/>
              <a:gd name="connsiteX32284" fmla="*/ 1326326 w 6884782"/>
              <a:gd name="connsiteY32284" fmla="*/ 2540321 h 5973007"/>
              <a:gd name="connsiteX32285" fmla="*/ 1325913 w 6884782"/>
              <a:gd name="connsiteY32285" fmla="*/ 2540476 h 5973007"/>
              <a:gd name="connsiteX32286" fmla="*/ 1328804 w 6884782"/>
              <a:gd name="connsiteY32286" fmla="*/ 2542025 h 5973007"/>
              <a:gd name="connsiteX32287" fmla="*/ 1330353 w 6884782"/>
              <a:gd name="connsiteY32287" fmla="*/ 2544349 h 5973007"/>
              <a:gd name="connsiteX32288" fmla="*/ 1322506 w 6884782"/>
              <a:gd name="connsiteY32288" fmla="*/ 2547292 h 5973007"/>
              <a:gd name="connsiteX32289" fmla="*/ 1321990 w 6884782"/>
              <a:gd name="connsiteY32289" fmla="*/ 2547292 h 5973007"/>
              <a:gd name="connsiteX32290" fmla="*/ 1319925 w 6884782"/>
              <a:gd name="connsiteY32290" fmla="*/ 2549925 h 5973007"/>
              <a:gd name="connsiteX32291" fmla="*/ 1316517 w 6884782"/>
              <a:gd name="connsiteY32291" fmla="*/ 2552094 h 5973007"/>
              <a:gd name="connsiteX32292" fmla="*/ 1311870 w 6884782"/>
              <a:gd name="connsiteY32292" fmla="*/ 2552868 h 5973007"/>
              <a:gd name="connsiteX32293" fmla="*/ 1311148 w 6884782"/>
              <a:gd name="connsiteY32293" fmla="*/ 2554882 h 5973007"/>
              <a:gd name="connsiteX32294" fmla="*/ 1298964 w 6884782"/>
              <a:gd name="connsiteY32294" fmla="*/ 2550545 h 5973007"/>
              <a:gd name="connsiteX32295" fmla="*/ 1299170 w 6884782"/>
              <a:gd name="connsiteY32295" fmla="*/ 2550080 h 5973007"/>
              <a:gd name="connsiteX32296" fmla="*/ 1294937 w 6884782"/>
              <a:gd name="connsiteY32296" fmla="*/ 2546827 h 5973007"/>
              <a:gd name="connsiteX32297" fmla="*/ 1288638 w 6884782"/>
              <a:gd name="connsiteY32297" fmla="*/ 2533506 h 5973007"/>
              <a:gd name="connsiteX32298" fmla="*/ 1295350 w 6884782"/>
              <a:gd name="connsiteY32298" fmla="*/ 2520030 h 5973007"/>
              <a:gd name="connsiteX32299" fmla="*/ 1295453 w 6884782"/>
              <a:gd name="connsiteY32299" fmla="*/ 2520030 h 5973007"/>
              <a:gd name="connsiteX32300" fmla="*/ 1299583 w 6884782"/>
              <a:gd name="connsiteY32300" fmla="*/ 2515693 h 5973007"/>
              <a:gd name="connsiteX32301" fmla="*/ 1307018 w 6884782"/>
              <a:gd name="connsiteY32301" fmla="*/ 2509962 h 5973007"/>
              <a:gd name="connsiteX32302" fmla="*/ 574208 w 6884782"/>
              <a:gd name="connsiteY32302" fmla="*/ 2509962 h 5973007"/>
              <a:gd name="connsiteX32303" fmla="*/ 575447 w 6884782"/>
              <a:gd name="connsiteY32303" fmla="*/ 2510581 h 5973007"/>
              <a:gd name="connsiteX32304" fmla="*/ 577203 w 6884782"/>
              <a:gd name="connsiteY32304" fmla="*/ 2512440 h 5973007"/>
              <a:gd name="connsiteX32305" fmla="*/ 578855 w 6884782"/>
              <a:gd name="connsiteY32305" fmla="*/ 2513524 h 5973007"/>
              <a:gd name="connsiteX32306" fmla="*/ 578855 w 6884782"/>
              <a:gd name="connsiteY32306" fmla="*/ 2516158 h 5973007"/>
              <a:gd name="connsiteX32307" fmla="*/ 577099 w 6884782"/>
              <a:gd name="connsiteY32307" fmla="*/ 2515074 h 5973007"/>
              <a:gd name="connsiteX32308" fmla="*/ 572762 w 6884782"/>
              <a:gd name="connsiteY32308" fmla="*/ 2511046 h 5973007"/>
              <a:gd name="connsiteX32309" fmla="*/ 574208 w 6884782"/>
              <a:gd name="connsiteY32309" fmla="*/ 2509962 h 5973007"/>
              <a:gd name="connsiteX32310" fmla="*/ 735185 w 6884782"/>
              <a:gd name="connsiteY32310" fmla="*/ 2509187 h 5973007"/>
              <a:gd name="connsiteX32311" fmla="*/ 741587 w 6884782"/>
              <a:gd name="connsiteY32311" fmla="*/ 2526071 h 5973007"/>
              <a:gd name="connsiteX32312" fmla="*/ 732603 w 6884782"/>
              <a:gd name="connsiteY32312" fmla="*/ 2513370 h 5973007"/>
              <a:gd name="connsiteX32313" fmla="*/ 735185 w 6884782"/>
              <a:gd name="connsiteY32313" fmla="*/ 2509187 h 5973007"/>
              <a:gd name="connsiteX32314" fmla="*/ 966543 w 6884782"/>
              <a:gd name="connsiteY32314" fmla="*/ 2508800 h 5973007"/>
              <a:gd name="connsiteX32315" fmla="*/ 976391 w 6884782"/>
              <a:gd name="connsiteY32315" fmla="*/ 2512130 h 5973007"/>
              <a:gd name="connsiteX32316" fmla="*/ 976288 w 6884782"/>
              <a:gd name="connsiteY32316" fmla="*/ 2516467 h 5973007"/>
              <a:gd name="connsiteX32317" fmla="*/ 972054 w 6884782"/>
              <a:gd name="connsiteY32317" fmla="*/ 2518326 h 5973007"/>
              <a:gd name="connsiteX32318" fmla="*/ 973190 w 6884782"/>
              <a:gd name="connsiteY32318" fmla="*/ 2518481 h 5973007"/>
              <a:gd name="connsiteX32319" fmla="*/ 991466 w 6884782"/>
              <a:gd name="connsiteY32319" fmla="*/ 2531492 h 5973007"/>
              <a:gd name="connsiteX32320" fmla="*/ 991879 w 6884782"/>
              <a:gd name="connsiteY32320" fmla="*/ 2577497 h 5973007"/>
              <a:gd name="connsiteX32321" fmla="*/ 959044 w 6884782"/>
              <a:gd name="connsiteY32321" fmla="*/ 2587874 h 5973007"/>
              <a:gd name="connsiteX32322" fmla="*/ 940458 w 6884782"/>
              <a:gd name="connsiteY32322" fmla="*/ 2578116 h 5973007"/>
              <a:gd name="connsiteX32323" fmla="*/ 928480 w 6884782"/>
              <a:gd name="connsiteY32323" fmla="*/ 2554417 h 5973007"/>
              <a:gd name="connsiteX32324" fmla="*/ 933230 w 6884782"/>
              <a:gd name="connsiteY32324" fmla="*/ 2540631 h 5973007"/>
              <a:gd name="connsiteX32325" fmla="*/ 935811 w 6884782"/>
              <a:gd name="connsiteY32325" fmla="*/ 2533196 h 5973007"/>
              <a:gd name="connsiteX32326" fmla="*/ 932507 w 6884782"/>
              <a:gd name="connsiteY32326" fmla="*/ 2531492 h 5973007"/>
              <a:gd name="connsiteX32327" fmla="*/ 937051 w 6884782"/>
              <a:gd name="connsiteY32327" fmla="*/ 2529479 h 5973007"/>
              <a:gd name="connsiteX32328" fmla="*/ 937980 w 6884782"/>
              <a:gd name="connsiteY32328" fmla="*/ 2526846 h 5973007"/>
              <a:gd name="connsiteX32329" fmla="*/ 955120 w 6884782"/>
              <a:gd name="connsiteY32329" fmla="*/ 2520340 h 5973007"/>
              <a:gd name="connsiteX32330" fmla="*/ 957908 w 6884782"/>
              <a:gd name="connsiteY32330" fmla="*/ 2519410 h 5973007"/>
              <a:gd name="connsiteX32331" fmla="*/ 955843 w 6884782"/>
              <a:gd name="connsiteY32331" fmla="*/ 2518016 h 5973007"/>
              <a:gd name="connsiteX32332" fmla="*/ 966543 w 6884782"/>
              <a:gd name="connsiteY32332" fmla="*/ 2508800 h 5973007"/>
              <a:gd name="connsiteX32333" fmla="*/ 6109567 w 6884782"/>
              <a:gd name="connsiteY32333" fmla="*/ 2508627 h 5973007"/>
              <a:gd name="connsiteX32334" fmla="*/ 6106793 w 6884782"/>
              <a:gd name="connsiteY32334" fmla="*/ 2509338 h 5973007"/>
              <a:gd name="connsiteX32335" fmla="*/ 6107601 w 6884782"/>
              <a:gd name="connsiteY32335" fmla="*/ 2510631 h 5973007"/>
              <a:gd name="connsiteX32336" fmla="*/ 6113930 w 6884782"/>
              <a:gd name="connsiteY32336" fmla="*/ 2510289 h 5973007"/>
              <a:gd name="connsiteX32337" fmla="*/ 1023063 w 6884782"/>
              <a:gd name="connsiteY32337" fmla="*/ 2508258 h 5973007"/>
              <a:gd name="connsiteX32338" fmla="*/ 1023063 w 6884782"/>
              <a:gd name="connsiteY32338" fmla="*/ 2510272 h 5973007"/>
              <a:gd name="connsiteX32339" fmla="*/ 1022340 w 6884782"/>
              <a:gd name="connsiteY32339" fmla="*/ 2509807 h 5973007"/>
              <a:gd name="connsiteX32340" fmla="*/ 1022340 w 6884782"/>
              <a:gd name="connsiteY32340" fmla="*/ 2508413 h 5973007"/>
              <a:gd name="connsiteX32341" fmla="*/ 1023063 w 6884782"/>
              <a:gd name="connsiteY32341" fmla="*/ 2508258 h 5973007"/>
              <a:gd name="connsiteX32342" fmla="*/ 1079854 w 6884782"/>
              <a:gd name="connsiteY32342" fmla="*/ 2506245 h 5973007"/>
              <a:gd name="connsiteX32343" fmla="*/ 1080887 w 6884782"/>
              <a:gd name="connsiteY32343" fmla="*/ 2506554 h 5973007"/>
              <a:gd name="connsiteX32344" fmla="*/ 1080783 w 6884782"/>
              <a:gd name="connsiteY32344" fmla="*/ 2507329 h 5973007"/>
              <a:gd name="connsiteX32345" fmla="*/ 1079338 w 6884782"/>
              <a:gd name="connsiteY32345" fmla="*/ 2506399 h 5973007"/>
              <a:gd name="connsiteX32346" fmla="*/ 1079854 w 6884782"/>
              <a:gd name="connsiteY32346" fmla="*/ 2506245 h 5973007"/>
              <a:gd name="connsiteX32347" fmla="*/ 641634 w 6884782"/>
              <a:gd name="connsiteY32347" fmla="*/ 2506245 h 5973007"/>
              <a:gd name="connsiteX32348" fmla="*/ 646797 w 6884782"/>
              <a:gd name="connsiteY32348" fmla="*/ 2506864 h 5973007"/>
              <a:gd name="connsiteX32349" fmla="*/ 644113 w 6884782"/>
              <a:gd name="connsiteY32349" fmla="*/ 2512285 h 5973007"/>
              <a:gd name="connsiteX32350" fmla="*/ 642357 w 6884782"/>
              <a:gd name="connsiteY32350" fmla="*/ 2511356 h 5973007"/>
              <a:gd name="connsiteX32351" fmla="*/ 641015 w 6884782"/>
              <a:gd name="connsiteY32351" fmla="*/ 2508723 h 5973007"/>
              <a:gd name="connsiteX32352" fmla="*/ 641634 w 6884782"/>
              <a:gd name="connsiteY32352" fmla="*/ 2506245 h 5973007"/>
              <a:gd name="connsiteX32353" fmla="*/ 895438 w 6884782"/>
              <a:gd name="connsiteY32353" fmla="*/ 2505935 h 5973007"/>
              <a:gd name="connsiteX32354" fmla="*/ 907313 w 6884782"/>
              <a:gd name="connsiteY32354" fmla="*/ 2522818 h 5973007"/>
              <a:gd name="connsiteX32355" fmla="*/ 903079 w 6884782"/>
              <a:gd name="connsiteY32355" fmla="*/ 2525296 h 5973007"/>
              <a:gd name="connsiteX32356" fmla="*/ 904938 w 6884782"/>
              <a:gd name="connsiteY32356" fmla="*/ 2528859 h 5973007"/>
              <a:gd name="connsiteX32357" fmla="*/ 905351 w 6884782"/>
              <a:gd name="connsiteY32357" fmla="*/ 2531802 h 5973007"/>
              <a:gd name="connsiteX32358" fmla="*/ 909378 w 6884782"/>
              <a:gd name="connsiteY32358" fmla="*/ 2531647 h 5973007"/>
              <a:gd name="connsiteX32359" fmla="*/ 908861 w 6884782"/>
              <a:gd name="connsiteY32359" fmla="*/ 2536759 h 5973007"/>
              <a:gd name="connsiteX32360" fmla="*/ 905557 w 6884782"/>
              <a:gd name="connsiteY32360" fmla="*/ 2540631 h 5973007"/>
              <a:gd name="connsiteX32361" fmla="*/ 912475 w 6884782"/>
              <a:gd name="connsiteY32361" fmla="*/ 2541560 h 5973007"/>
              <a:gd name="connsiteX32362" fmla="*/ 919394 w 6884782"/>
              <a:gd name="connsiteY32362" fmla="*/ 2546207 h 5973007"/>
              <a:gd name="connsiteX32363" fmla="*/ 921562 w 6884782"/>
              <a:gd name="connsiteY32363" fmla="*/ 2572695 h 5973007"/>
              <a:gd name="connsiteX32364" fmla="*/ 918981 w 6884782"/>
              <a:gd name="connsiteY32364" fmla="*/ 2573779 h 5973007"/>
              <a:gd name="connsiteX32365" fmla="*/ 898949 w 6884782"/>
              <a:gd name="connsiteY32365" fmla="*/ 2550854 h 5973007"/>
              <a:gd name="connsiteX32366" fmla="*/ 900188 w 6884782"/>
              <a:gd name="connsiteY32366" fmla="*/ 2545433 h 5973007"/>
              <a:gd name="connsiteX32367" fmla="*/ 902150 w 6884782"/>
              <a:gd name="connsiteY32367" fmla="*/ 2542025 h 5973007"/>
              <a:gd name="connsiteX32368" fmla="*/ 900291 w 6884782"/>
              <a:gd name="connsiteY32368" fmla="*/ 2542955 h 5973007"/>
              <a:gd name="connsiteX32369" fmla="*/ 900085 w 6884782"/>
              <a:gd name="connsiteY32369" fmla="*/ 2543574 h 5973007"/>
              <a:gd name="connsiteX32370" fmla="*/ 892857 w 6884782"/>
              <a:gd name="connsiteY32370" fmla="*/ 2552094 h 5973007"/>
              <a:gd name="connsiteX32371" fmla="*/ 895335 w 6884782"/>
              <a:gd name="connsiteY32371" fmla="*/ 2556121 h 5973007"/>
              <a:gd name="connsiteX32372" fmla="*/ 893167 w 6884782"/>
              <a:gd name="connsiteY32372" fmla="*/ 2568667 h 5973007"/>
              <a:gd name="connsiteX32373" fmla="*/ 889759 w 6884782"/>
              <a:gd name="connsiteY32373" fmla="*/ 2560613 h 5973007"/>
              <a:gd name="connsiteX32374" fmla="*/ 884390 w 6884782"/>
              <a:gd name="connsiteY32374" fmla="*/ 2553023 h 5973007"/>
              <a:gd name="connsiteX32375" fmla="*/ 882015 w 6884782"/>
              <a:gd name="connsiteY32375" fmla="*/ 2552403 h 5973007"/>
              <a:gd name="connsiteX32376" fmla="*/ 875303 w 6884782"/>
              <a:gd name="connsiteY32376" fmla="*/ 2546982 h 5973007"/>
              <a:gd name="connsiteX32377" fmla="*/ 877678 w 6884782"/>
              <a:gd name="connsiteY32377" fmla="*/ 2537378 h 5973007"/>
              <a:gd name="connsiteX32378" fmla="*/ 878401 w 6884782"/>
              <a:gd name="connsiteY32378" fmla="*/ 2535365 h 5973007"/>
              <a:gd name="connsiteX32379" fmla="*/ 875923 w 6884782"/>
              <a:gd name="connsiteY32379" fmla="*/ 2537224 h 5973007"/>
              <a:gd name="connsiteX32380" fmla="*/ 861054 w 6884782"/>
              <a:gd name="connsiteY32380" fmla="*/ 2540476 h 5973007"/>
              <a:gd name="connsiteX32381" fmla="*/ 859402 w 6884782"/>
              <a:gd name="connsiteY32381" fmla="*/ 2538463 h 5973007"/>
              <a:gd name="connsiteX32382" fmla="*/ 858782 w 6884782"/>
              <a:gd name="connsiteY32382" fmla="*/ 2532886 h 5973007"/>
              <a:gd name="connsiteX32383" fmla="*/ 888004 w 6884782"/>
              <a:gd name="connsiteY32383" fmla="*/ 2509807 h 5973007"/>
              <a:gd name="connsiteX32384" fmla="*/ 889140 w 6884782"/>
              <a:gd name="connsiteY32384" fmla="*/ 2518791 h 5973007"/>
              <a:gd name="connsiteX32385" fmla="*/ 889036 w 6884782"/>
              <a:gd name="connsiteY32385" fmla="*/ 2518946 h 5973007"/>
              <a:gd name="connsiteX32386" fmla="*/ 891101 w 6884782"/>
              <a:gd name="connsiteY32386" fmla="*/ 2519256 h 5973007"/>
              <a:gd name="connsiteX32387" fmla="*/ 892650 w 6884782"/>
              <a:gd name="connsiteY32387" fmla="*/ 2518946 h 5973007"/>
              <a:gd name="connsiteX32388" fmla="*/ 891618 w 6884782"/>
              <a:gd name="connsiteY32388" fmla="*/ 2516932 h 5973007"/>
              <a:gd name="connsiteX32389" fmla="*/ 895438 w 6884782"/>
              <a:gd name="connsiteY32389" fmla="*/ 2505935 h 5973007"/>
              <a:gd name="connsiteX32390" fmla="*/ 817170 w 6884782"/>
              <a:gd name="connsiteY32390" fmla="*/ 2505625 h 5973007"/>
              <a:gd name="connsiteX32391" fmla="*/ 820681 w 6884782"/>
              <a:gd name="connsiteY32391" fmla="*/ 2508413 h 5973007"/>
              <a:gd name="connsiteX32392" fmla="*/ 819855 w 6884782"/>
              <a:gd name="connsiteY32392" fmla="*/ 2507793 h 5973007"/>
              <a:gd name="connsiteX32393" fmla="*/ 818925 w 6884782"/>
              <a:gd name="connsiteY32393" fmla="*/ 2509187 h 5973007"/>
              <a:gd name="connsiteX32394" fmla="*/ 819752 w 6884782"/>
              <a:gd name="connsiteY32394" fmla="*/ 2509652 h 5973007"/>
              <a:gd name="connsiteX32395" fmla="*/ 818099 w 6884782"/>
              <a:gd name="connsiteY32395" fmla="*/ 2510581 h 5973007"/>
              <a:gd name="connsiteX32396" fmla="*/ 811388 w 6884782"/>
              <a:gd name="connsiteY32396" fmla="*/ 2509187 h 5973007"/>
              <a:gd name="connsiteX32397" fmla="*/ 813556 w 6884782"/>
              <a:gd name="connsiteY32397" fmla="*/ 2505780 h 5973007"/>
              <a:gd name="connsiteX32398" fmla="*/ 817170 w 6884782"/>
              <a:gd name="connsiteY32398" fmla="*/ 2505625 h 5973007"/>
              <a:gd name="connsiteX32399" fmla="*/ 1144596 w 6884782"/>
              <a:gd name="connsiteY32399" fmla="*/ 2504695 h 5973007"/>
              <a:gd name="connsiteX32400" fmla="*/ 1148519 w 6884782"/>
              <a:gd name="connsiteY32400" fmla="*/ 2509342 h 5973007"/>
              <a:gd name="connsiteX32401" fmla="*/ 1150274 w 6884782"/>
              <a:gd name="connsiteY32401" fmla="*/ 2517087 h 5973007"/>
              <a:gd name="connsiteX32402" fmla="*/ 1149035 w 6884782"/>
              <a:gd name="connsiteY32402" fmla="*/ 2516778 h 5973007"/>
              <a:gd name="connsiteX32403" fmla="*/ 1144596 w 6884782"/>
              <a:gd name="connsiteY32403" fmla="*/ 2504695 h 5973007"/>
              <a:gd name="connsiteX32404" fmla="*/ 1043482 w 6884782"/>
              <a:gd name="connsiteY32404" fmla="*/ 2504095 h 5973007"/>
              <a:gd name="connsiteX32405" fmla="*/ 1051252 w 6884782"/>
              <a:gd name="connsiteY32405" fmla="*/ 2505780 h 5973007"/>
              <a:gd name="connsiteX32406" fmla="*/ 1042991 w 6884782"/>
              <a:gd name="connsiteY32406" fmla="*/ 2515383 h 5973007"/>
              <a:gd name="connsiteX32407" fmla="*/ 1039274 w 6884782"/>
              <a:gd name="connsiteY32407" fmla="*/ 2510891 h 5973007"/>
              <a:gd name="connsiteX32408" fmla="*/ 1043482 w 6884782"/>
              <a:gd name="connsiteY32408" fmla="*/ 2504095 h 5973007"/>
              <a:gd name="connsiteX32409" fmla="*/ 1359265 w 6884782"/>
              <a:gd name="connsiteY32409" fmla="*/ 2504076 h 5973007"/>
              <a:gd name="connsiteX32410" fmla="*/ 1365667 w 6884782"/>
              <a:gd name="connsiteY32410" fmla="*/ 2508568 h 5973007"/>
              <a:gd name="connsiteX32411" fmla="*/ 1363808 w 6884782"/>
              <a:gd name="connsiteY32411" fmla="*/ 2517242 h 5973007"/>
              <a:gd name="connsiteX32412" fmla="*/ 1357613 w 6884782"/>
              <a:gd name="connsiteY32412" fmla="*/ 2508413 h 5973007"/>
              <a:gd name="connsiteX32413" fmla="*/ 1359265 w 6884782"/>
              <a:gd name="connsiteY32413" fmla="*/ 2504076 h 5973007"/>
              <a:gd name="connsiteX32414" fmla="*/ 1260656 w 6884782"/>
              <a:gd name="connsiteY32414" fmla="*/ 2504076 h 5973007"/>
              <a:gd name="connsiteX32415" fmla="*/ 1260759 w 6884782"/>
              <a:gd name="connsiteY32415" fmla="*/ 2504850 h 5973007"/>
              <a:gd name="connsiteX32416" fmla="*/ 1258797 w 6884782"/>
              <a:gd name="connsiteY32416" fmla="*/ 2504385 h 5973007"/>
              <a:gd name="connsiteX32417" fmla="*/ 1260656 w 6884782"/>
              <a:gd name="connsiteY32417" fmla="*/ 2504076 h 5973007"/>
              <a:gd name="connsiteX32418" fmla="*/ 1255286 w 6884782"/>
              <a:gd name="connsiteY32418" fmla="*/ 2504076 h 5973007"/>
              <a:gd name="connsiteX32419" fmla="*/ 1256319 w 6884782"/>
              <a:gd name="connsiteY32419" fmla="*/ 2505470 h 5973007"/>
              <a:gd name="connsiteX32420" fmla="*/ 1254357 w 6884782"/>
              <a:gd name="connsiteY32420" fmla="*/ 2505005 h 5973007"/>
              <a:gd name="connsiteX32421" fmla="*/ 1255286 w 6884782"/>
              <a:gd name="connsiteY32421" fmla="*/ 2504076 h 5973007"/>
              <a:gd name="connsiteX32422" fmla="*/ 949544 w 6884782"/>
              <a:gd name="connsiteY32422" fmla="*/ 2503921 h 5973007"/>
              <a:gd name="connsiteX32423" fmla="*/ 946343 w 6884782"/>
              <a:gd name="connsiteY32423" fmla="*/ 2510736 h 5973007"/>
              <a:gd name="connsiteX32424" fmla="*/ 944382 w 6884782"/>
              <a:gd name="connsiteY32424" fmla="*/ 2507019 h 5973007"/>
              <a:gd name="connsiteX32425" fmla="*/ 947170 w 6884782"/>
              <a:gd name="connsiteY32425" fmla="*/ 2504385 h 5973007"/>
              <a:gd name="connsiteX32426" fmla="*/ 949544 w 6884782"/>
              <a:gd name="connsiteY32426" fmla="*/ 2503921 h 5973007"/>
              <a:gd name="connsiteX32427" fmla="*/ 608902 w 6884782"/>
              <a:gd name="connsiteY32427" fmla="*/ 2503766 h 5973007"/>
              <a:gd name="connsiteX32428" fmla="*/ 615407 w 6884782"/>
              <a:gd name="connsiteY32428" fmla="*/ 2513370 h 5973007"/>
              <a:gd name="connsiteX32429" fmla="*/ 608180 w 6884782"/>
              <a:gd name="connsiteY32429" fmla="*/ 2511511 h 5973007"/>
              <a:gd name="connsiteX32430" fmla="*/ 607560 w 6884782"/>
              <a:gd name="connsiteY32430" fmla="*/ 2507793 h 5973007"/>
              <a:gd name="connsiteX32431" fmla="*/ 608902 w 6884782"/>
              <a:gd name="connsiteY32431" fmla="*/ 2503766 h 5973007"/>
              <a:gd name="connsiteX32432" fmla="*/ 1264889 w 6884782"/>
              <a:gd name="connsiteY32432" fmla="*/ 2503611 h 5973007"/>
              <a:gd name="connsiteX32433" fmla="*/ 1265922 w 6884782"/>
              <a:gd name="connsiteY32433" fmla="*/ 2505935 h 5973007"/>
              <a:gd name="connsiteX32434" fmla="*/ 1261275 w 6884782"/>
              <a:gd name="connsiteY32434" fmla="*/ 2504076 h 5973007"/>
              <a:gd name="connsiteX32435" fmla="*/ 1264889 w 6884782"/>
              <a:gd name="connsiteY32435" fmla="*/ 2503611 h 5973007"/>
              <a:gd name="connsiteX32436" fmla="*/ 1345842 w 6884782"/>
              <a:gd name="connsiteY32436" fmla="*/ 2503146 h 5973007"/>
              <a:gd name="connsiteX32437" fmla="*/ 1340369 w 6884782"/>
              <a:gd name="connsiteY32437" fmla="*/ 2507483 h 5973007"/>
              <a:gd name="connsiteX32438" fmla="*/ 1345842 w 6884782"/>
              <a:gd name="connsiteY32438" fmla="*/ 2503146 h 5973007"/>
              <a:gd name="connsiteX32439" fmla="*/ 1022960 w 6884782"/>
              <a:gd name="connsiteY32439" fmla="*/ 2502992 h 5973007"/>
              <a:gd name="connsiteX32440" fmla="*/ 1023063 w 6884782"/>
              <a:gd name="connsiteY32440" fmla="*/ 2505625 h 5973007"/>
              <a:gd name="connsiteX32441" fmla="*/ 1022857 w 6884782"/>
              <a:gd name="connsiteY32441" fmla="*/ 2506089 h 5973007"/>
              <a:gd name="connsiteX32442" fmla="*/ 1023269 w 6884782"/>
              <a:gd name="connsiteY32442" fmla="*/ 2505935 h 5973007"/>
              <a:gd name="connsiteX32443" fmla="*/ 1022443 w 6884782"/>
              <a:gd name="connsiteY32443" fmla="*/ 2507173 h 5973007"/>
              <a:gd name="connsiteX32444" fmla="*/ 1022237 w 6884782"/>
              <a:gd name="connsiteY32444" fmla="*/ 2507948 h 5973007"/>
              <a:gd name="connsiteX32445" fmla="*/ 1022030 w 6884782"/>
              <a:gd name="connsiteY32445" fmla="*/ 2507638 h 5973007"/>
              <a:gd name="connsiteX32446" fmla="*/ 1020172 w 6884782"/>
              <a:gd name="connsiteY32446" fmla="*/ 2509187 h 5973007"/>
              <a:gd name="connsiteX32447" fmla="*/ 1019965 w 6884782"/>
              <a:gd name="connsiteY32447" fmla="*/ 2510736 h 5973007"/>
              <a:gd name="connsiteX32448" fmla="*/ 1013460 w 6884782"/>
              <a:gd name="connsiteY32448" fmla="*/ 2513679 h 5973007"/>
              <a:gd name="connsiteX32449" fmla="*/ 1016558 w 6884782"/>
              <a:gd name="connsiteY32449" fmla="*/ 2510581 h 5973007"/>
              <a:gd name="connsiteX32450" fmla="*/ 1018520 w 6884782"/>
              <a:gd name="connsiteY32450" fmla="*/ 2509032 h 5973007"/>
              <a:gd name="connsiteX32451" fmla="*/ 1019655 w 6884782"/>
              <a:gd name="connsiteY32451" fmla="*/ 2507329 h 5973007"/>
              <a:gd name="connsiteX32452" fmla="*/ 1021307 w 6884782"/>
              <a:gd name="connsiteY32452" fmla="*/ 2506399 h 5973007"/>
              <a:gd name="connsiteX32453" fmla="*/ 1021204 w 6884782"/>
              <a:gd name="connsiteY32453" fmla="*/ 2506399 h 5973007"/>
              <a:gd name="connsiteX32454" fmla="*/ 1020791 w 6884782"/>
              <a:gd name="connsiteY32454" fmla="*/ 2504541 h 5973007"/>
              <a:gd name="connsiteX32455" fmla="*/ 1021514 w 6884782"/>
              <a:gd name="connsiteY32455" fmla="*/ 2503611 h 5973007"/>
              <a:gd name="connsiteX32456" fmla="*/ 1022960 w 6884782"/>
              <a:gd name="connsiteY32456" fmla="*/ 2502992 h 5973007"/>
              <a:gd name="connsiteX32457" fmla="*/ 1134993 w 6884782"/>
              <a:gd name="connsiteY32457" fmla="*/ 2502217 h 5973007"/>
              <a:gd name="connsiteX32458" fmla="*/ 1135922 w 6884782"/>
              <a:gd name="connsiteY32458" fmla="*/ 2502527 h 5973007"/>
              <a:gd name="connsiteX32459" fmla="*/ 1135715 w 6884782"/>
              <a:gd name="connsiteY32459" fmla="*/ 2502372 h 5973007"/>
              <a:gd name="connsiteX32460" fmla="*/ 1175108 w 6884782"/>
              <a:gd name="connsiteY32460" fmla="*/ 2500959 h 5973007"/>
              <a:gd name="connsiteX32461" fmla="*/ 1181974 w 6884782"/>
              <a:gd name="connsiteY32461" fmla="*/ 2501752 h 5973007"/>
              <a:gd name="connsiteX32462" fmla="*/ 1183833 w 6884782"/>
              <a:gd name="connsiteY32462" fmla="*/ 2502837 h 5973007"/>
              <a:gd name="connsiteX32463" fmla="*/ 1184039 w 6884782"/>
              <a:gd name="connsiteY32463" fmla="*/ 2504850 h 5973007"/>
              <a:gd name="connsiteX32464" fmla="*/ 1172991 w 6884782"/>
              <a:gd name="connsiteY32464" fmla="*/ 2506864 h 5973007"/>
              <a:gd name="connsiteX32465" fmla="*/ 1170719 w 6884782"/>
              <a:gd name="connsiteY32465" fmla="*/ 2505625 h 5973007"/>
              <a:gd name="connsiteX32466" fmla="*/ 1168757 w 6884782"/>
              <a:gd name="connsiteY32466" fmla="*/ 2505315 h 5973007"/>
              <a:gd name="connsiteX32467" fmla="*/ 1164524 w 6884782"/>
              <a:gd name="connsiteY32467" fmla="*/ 2500978 h 5973007"/>
              <a:gd name="connsiteX32468" fmla="*/ 1175108 w 6884782"/>
              <a:gd name="connsiteY32468" fmla="*/ 2500959 h 5973007"/>
              <a:gd name="connsiteX32469" fmla="*/ 590523 w 6884782"/>
              <a:gd name="connsiteY32469" fmla="*/ 2500513 h 5973007"/>
              <a:gd name="connsiteX32470" fmla="*/ 593104 w 6884782"/>
              <a:gd name="connsiteY32470" fmla="*/ 2500823 h 5973007"/>
              <a:gd name="connsiteX32471" fmla="*/ 596408 w 6884782"/>
              <a:gd name="connsiteY32471" fmla="*/ 2508413 h 5973007"/>
              <a:gd name="connsiteX32472" fmla="*/ 590316 w 6884782"/>
              <a:gd name="connsiteY32472" fmla="*/ 2502527 h 5973007"/>
              <a:gd name="connsiteX32473" fmla="*/ 590523 w 6884782"/>
              <a:gd name="connsiteY32473" fmla="*/ 2500513 h 5973007"/>
              <a:gd name="connsiteX32474" fmla="*/ 5107348 w 6884782"/>
              <a:gd name="connsiteY32474" fmla="*/ 2500375 h 5973007"/>
              <a:gd name="connsiteX32475" fmla="*/ 5132105 w 6884782"/>
              <a:gd name="connsiteY32475" fmla="*/ 2553015 h 5973007"/>
              <a:gd name="connsiteX32476" fmla="*/ 5093049 w 6884782"/>
              <a:gd name="connsiteY32476" fmla="*/ 2549885 h 5973007"/>
              <a:gd name="connsiteX32477" fmla="*/ 5091982 w 6884782"/>
              <a:gd name="connsiteY32477" fmla="*/ 2547466 h 5973007"/>
              <a:gd name="connsiteX32478" fmla="*/ 5091342 w 6884782"/>
              <a:gd name="connsiteY32478" fmla="*/ 2549600 h 5973007"/>
              <a:gd name="connsiteX32479" fmla="*/ 5088140 w 6884782"/>
              <a:gd name="connsiteY32479" fmla="*/ 2557994 h 5973007"/>
              <a:gd name="connsiteX32480" fmla="*/ 5084939 w 6884782"/>
              <a:gd name="connsiteY32480" fmla="*/ 2563116 h 5973007"/>
              <a:gd name="connsiteX32481" fmla="*/ 5090274 w 6884782"/>
              <a:gd name="connsiteY32481" fmla="*/ 2565250 h 5973007"/>
              <a:gd name="connsiteX32482" fmla="*/ 5095397 w 6884782"/>
              <a:gd name="connsiteY32482" fmla="*/ 2573074 h 5973007"/>
              <a:gd name="connsiteX32483" fmla="*/ 5087286 w 6884782"/>
              <a:gd name="connsiteY32483" fmla="*/ 2584883 h 5973007"/>
              <a:gd name="connsiteX32484" fmla="*/ 5078963 w 6884782"/>
              <a:gd name="connsiteY32484" fmla="*/ 2588297 h 5973007"/>
              <a:gd name="connsiteX32485" fmla="*/ 5075335 w 6884782"/>
              <a:gd name="connsiteY32485" fmla="*/ 2595126 h 5973007"/>
              <a:gd name="connsiteX32486" fmla="*/ 5066158 w 6884782"/>
              <a:gd name="connsiteY32486" fmla="*/ 2600533 h 5973007"/>
              <a:gd name="connsiteX32487" fmla="*/ 5053993 w 6884782"/>
              <a:gd name="connsiteY32487" fmla="*/ 2599253 h 5973007"/>
              <a:gd name="connsiteX32488" fmla="*/ 5051432 w 6884782"/>
              <a:gd name="connsiteY32488" fmla="*/ 2597971 h 5973007"/>
              <a:gd name="connsiteX32489" fmla="*/ 5050792 w 6884782"/>
              <a:gd name="connsiteY32489" fmla="*/ 2598398 h 5973007"/>
              <a:gd name="connsiteX32490" fmla="*/ 5039907 w 6884782"/>
              <a:gd name="connsiteY32490" fmla="*/ 2600533 h 5973007"/>
              <a:gd name="connsiteX32491" fmla="*/ 5043535 w 6884782"/>
              <a:gd name="connsiteY32491" fmla="*/ 2574782 h 5973007"/>
              <a:gd name="connsiteX32492" fmla="*/ 5048658 w 6884782"/>
              <a:gd name="connsiteY32492" fmla="*/ 2584456 h 5973007"/>
              <a:gd name="connsiteX32493" fmla="*/ 5051646 w 6884782"/>
              <a:gd name="connsiteY32493" fmla="*/ 2587728 h 5973007"/>
              <a:gd name="connsiteX32494" fmla="*/ 5061463 w 6884782"/>
              <a:gd name="connsiteY32494" fmla="*/ 2581611 h 5973007"/>
              <a:gd name="connsiteX32495" fmla="*/ 5068292 w 6884782"/>
              <a:gd name="connsiteY32495" fmla="*/ 2579761 h 5973007"/>
              <a:gd name="connsiteX32496" fmla="*/ 5067225 w 6884782"/>
              <a:gd name="connsiteY32496" fmla="*/ 2577343 h 5973007"/>
              <a:gd name="connsiteX32497" fmla="*/ 5072347 w 6884782"/>
              <a:gd name="connsiteY32497" fmla="*/ 2561551 h 5973007"/>
              <a:gd name="connsiteX32498" fmla="*/ 5079603 w 6884782"/>
              <a:gd name="connsiteY32498" fmla="*/ 2560839 h 5973007"/>
              <a:gd name="connsiteX32499" fmla="*/ 5081311 w 6884782"/>
              <a:gd name="connsiteY32499" fmla="*/ 2561551 h 5973007"/>
              <a:gd name="connsiteX32500" fmla="*/ 5080030 w 6884782"/>
              <a:gd name="connsiteY32500" fmla="*/ 2556714 h 5973007"/>
              <a:gd name="connsiteX32501" fmla="*/ 5082378 w 6884782"/>
              <a:gd name="connsiteY32501" fmla="*/ 2544763 h 5973007"/>
              <a:gd name="connsiteX32502" fmla="*/ 5085793 w 6884782"/>
              <a:gd name="connsiteY32502" fmla="*/ 2539499 h 5973007"/>
              <a:gd name="connsiteX32503" fmla="*/ 5083872 w 6884782"/>
              <a:gd name="connsiteY32503" fmla="*/ 2539214 h 5973007"/>
              <a:gd name="connsiteX32504" fmla="*/ 5080671 w 6884782"/>
              <a:gd name="connsiteY32504" fmla="*/ 2505782 h 5973007"/>
              <a:gd name="connsiteX32505" fmla="*/ 5086433 w 6884782"/>
              <a:gd name="connsiteY32505" fmla="*/ 2504643 h 5973007"/>
              <a:gd name="connsiteX32506" fmla="*/ 5094116 w 6884782"/>
              <a:gd name="connsiteY32506" fmla="*/ 2510334 h 5973007"/>
              <a:gd name="connsiteX32507" fmla="*/ 5096037 w 6884782"/>
              <a:gd name="connsiteY32507" fmla="*/ 2508200 h 5973007"/>
              <a:gd name="connsiteX32508" fmla="*/ 5107348 w 6884782"/>
              <a:gd name="connsiteY32508" fmla="*/ 2500375 h 5973007"/>
              <a:gd name="connsiteX32509" fmla="*/ 808393 w 6884782"/>
              <a:gd name="connsiteY32509" fmla="*/ 2500358 h 5973007"/>
              <a:gd name="connsiteX32510" fmla="*/ 809839 w 6884782"/>
              <a:gd name="connsiteY32510" fmla="*/ 2507173 h 5973007"/>
              <a:gd name="connsiteX32511" fmla="*/ 804676 w 6884782"/>
              <a:gd name="connsiteY32511" fmla="*/ 2506554 h 5973007"/>
              <a:gd name="connsiteX32512" fmla="*/ 803231 w 6884782"/>
              <a:gd name="connsiteY32512" fmla="*/ 2504076 h 5973007"/>
              <a:gd name="connsiteX32513" fmla="*/ 804986 w 6884782"/>
              <a:gd name="connsiteY32513" fmla="*/ 2501442 h 5973007"/>
              <a:gd name="connsiteX32514" fmla="*/ 808393 w 6884782"/>
              <a:gd name="connsiteY32514" fmla="*/ 2500358 h 5973007"/>
              <a:gd name="connsiteX32515" fmla="*/ 561818 w 6884782"/>
              <a:gd name="connsiteY32515" fmla="*/ 2499893 h 5973007"/>
              <a:gd name="connsiteX32516" fmla="*/ 566154 w 6884782"/>
              <a:gd name="connsiteY32516" fmla="*/ 2501288 h 5973007"/>
              <a:gd name="connsiteX32517" fmla="*/ 568632 w 6884782"/>
              <a:gd name="connsiteY32517" fmla="*/ 2509032 h 5973007"/>
              <a:gd name="connsiteX32518" fmla="*/ 565122 w 6884782"/>
              <a:gd name="connsiteY32518" fmla="*/ 2508568 h 5973007"/>
              <a:gd name="connsiteX32519" fmla="*/ 561198 w 6884782"/>
              <a:gd name="connsiteY32519" fmla="*/ 2501907 h 5973007"/>
              <a:gd name="connsiteX32520" fmla="*/ 561818 w 6884782"/>
              <a:gd name="connsiteY32520" fmla="*/ 2499893 h 5973007"/>
              <a:gd name="connsiteX32521" fmla="*/ 722897 w 6884782"/>
              <a:gd name="connsiteY32521" fmla="*/ 2499584 h 5973007"/>
              <a:gd name="connsiteX32522" fmla="*/ 723929 w 6884782"/>
              <a:gd name="connsiteY32522" fmla="*/ 2501133 h 5973007"/>
              <a:gd name="connsiteX32523" fmla="*/ 722278 w 6884782"/>
              <a:gd name="connsiteY32523" fmla="*/ 2502992 h 5973007"/>
              <a:gd name="connsiteX32524" fmla="*/ 717115 w 6884782"/>
              <a:gd name="connsiteY32524" fmla="*/ 2503766 h 5973007"/>
              <a:gd name="connsiteX32525" fmla="*/ 716185 w 6884782"/>
              <a:gd name="connsiteY32525" fmla="*/ 2502217 h 5973007"/>
              <a:gd name="connsiteX32526" fmla="*/ 722897 w 6884782"/>
              <a:gd name="connsiteY32526" fmla="*/ 2499584 h 5973007"/>
              <a:gd name="connsiteX32527" fmla="*/ 1027503 w 6884782"/>
              <a:gd name="connsiteY32527" fmla="*/ 2499274 h 5973007"/>
              <a:gd name="connsiteX32528" fmla="*/ 1033905 w 6884782"/>
              <a:gd name="connsiteY32528" fmla="*/ 2504850 h 5973007"/>
              <a:gd name="connsiteX32529" fmla="*/ 1033595 w 6884782"/>
              <a:gd name="connsiteY32529" fmla="*/ 2505935 h 5973007"/>
              <a:gd name="connsiteX32530" fmla="*/ 1027813 w 6884782"/>
              <a:gd name="connsiteY32530" fmla="*/ 2513834 h 5973007"/>
              <a:gd name="connsiteX32531" fmla="*/ 1023579 w 6884782"/>
              <a:gd name="connsiteY32531" fmla="*/ 2509497 h 5973007"/>
              <a:gd name="connsiteX32532" fmla="*/ 1023579 w 6884782"/>
              <a:gd name="connsiteY32532" fmla="*/ 2507173 h 5973007"/>
              <a:gd name="connsiteX32533" fmla="*/ 1027503 w 6884782"/>
              <a:gd name="connsiteY32533" fmla="*/ 2499274 h 5973007"/>
              <a:gd name="connsiteX32534" fmla="*/ 6334725 w 6884782"/>
              <a:gd name="connsiteY32534" fmla="*/ 2498668 h 5973007"/>
              <a:gd name="connsiteX32535" fmla="*/ 6338780 w 6884782"/>
              <a:gd name="connsiteY32535" fmla="*/ 2499095 h 5973007"/>
              <a:gd name="connsiteX32536" fmla="*/ 6339847 w 6884782"/>
              <a:gd name="connsiteY32536" fmla="*/ 2501798 h 5973007"/>
              <a:gd name="connsiteX32537" fmla="*/ 6340701 w 6884782"/>
              <a:gd name="connsiteY32537" fmla="*/ 2505497 h 5973007"/>
              <a:gd name="connsiteX32538" fmla="*/ 6328536 w 6884782"/>
              <a:gd name="connsiteY32538" fmla="*/ 2508911 h 5973007"/>
              <a:gd name="connsiteX32539" fmla="*/ 6334725 w 6884782"/>
              <a:gd name="connsiteY32539" fmla="*/ 2498668 h 5973007"/>
              <a:gd name="connsiteX32540" fmla="*/ 925383 w 6884782"/>
              <a:gd name="connsiteY32540" fmla="*/ 2498035 h 5973007"/>
              <a:gd name="connsiteX32541" fmla="*/ 924556 w 6884782"/>
              <a:gd name="connsiteY32541" fmla="*/ 2509187 h 5973007"/>
              <a:gd name="connsiteX32542" fmla="*/ 919806 w 6884782"/>
              <a:gd name="connsiteY32542" fmla="*/ 2504231 h 5973007"/>
              <a:gd name="connsiteX32543" fmla="*/ 925383 w 6884782"/>
              <a:gd name="connsiteY32543" fmla="*/ 2498035 h 5973007"/>
              <a:gd name="connsiteX32544" fmla="*/ 5184393 w 6884782"/>
              <a:gd name="connsiteY32544" fmla="*/ 2497103 h 5973007"/>
              <a:gd name="connsiteX32545" fmla="*/ 5195277 w 6884782"/>
              <a:gd name="connsiteY32545" fmla="*/ 2509053 h 5973007"/>
              <a:gd name="connsiteX32546" fmla="*/ 5168173 w 6884782"/>
              <a:gd name="connsiteY32546" fmla="*/ 2524988 h 5973007"/>
              <a:gd name="connsiteX32547" fmla="*/ 5184393 w 6884782"/>
              <a:gd name="connsiteY32547" fmla="*/ 2497103 h 5973007"/>
              <a:gd name="connsiteX32548" fmla="*/ 1461282 w 6884782"/>
              <a:gd name="connsiteY32548" fmla="*/ 2496950 h 5973007"/>
              <a:gd name="connsiteX32549" fmla="*/ 1457978 w 6884782"/>
              <a:gd name="connsiteY32549" fmla="*/ 2500203 h 5973007"/>
              <a:gd name="connsiteX32550" fmla="*/ 1458701 w 6884782"/>
              <a:gd name="connsiteY32550" fmla="*/ 2500978 h 5973007"/>
              <a:gd name="connsiteX32551" fmla="*/ 1459527 w 6884782"/>
              <a:gd name="connsiteY32551" fmla="*/ 2501752 h 5973007"/>
              <a:gd name="connsiteX32552" fmla="*/ 1395095 w 6884782"/>
              <a:gd name="connsiteY32552" fmla="*/ 2496021 h 5973007"/>
              <a:gd name="connsiteX32553" fmla="*/ 1396954 w 6884782"/>
              <a:gd name="connsiteY32553" fmla="*/ 2497570 h 5973007"/>
              <a:gd name="connsiteX32554" fmla="*/ 1392307 w 6884782"/>
              <a:gd name="connsiteY32554" fmla="*/ 2505470 h 5973007"/>
              <a:gd name="connsiteX32555" fmla="*/ 1390139 w 6884782"/>
              <a:gd name="connsiteY32555" fmla="*/ 2500049 h 5973007"/>
              <a:gd name="connsiteX32556" fmla="*/ 1395095 w 6884782"/>
              <a:gd name="connsiteY32556" fmla="*/ 2496021 h 5973007"/>
              <a:gd name="connsiteX32557" fmla="*/ 6406861 w 6884782"/>
              <a:gd name="connsiteY32557" fmla="*/ 2495396 h 5973007"/>
              <a:gd name="connsiteX32558" fmla="*/ 6413264 w 6884782"/>
              <a:gd name="connsiteY32558" fmla="*/ 2497530 h 5973007"/>
              <a:gd name="connsiteX32559" fmla="*/ 6396830 w 6884782"/>
              <a:gd name="connsiteY32559" fmla="*/ 2532528 h 5973007"/>
              <a:gd name="connsiteX32560" fmla="*/ 6384025 w 6884782"/>
              <a:gd name="connsiteY32560" fmla="*/ 2525557 h 5973007"/>
              <a:gd name="connsiteX32561" fmla="*/ 6389574 w 6884782"/>
              <a:gd name="connsiteY32561" fmla="*/ 2499379 h 5973007"/>
              <a:gd name="connsiteX32562" fmla="*/ 6406861 w 6884782"/>
              <a:gd name="connsiteY32562" fmla="*/ 2495396 h 5973007"/>
              <a:gd name="connsiteX32563" fmla="*/ 1065295 w 6884782"/>
              <a:gd name="connsiteY32563" fmla="*/ 2494627 h 5973007"/>
              <a:gd name="connsiteX32564" fmla="*/ 1074175 w 6884782"/>
              <a:gd name="connsiteY32564" fmla="*/ 2495712 h 5973007"/>
              <a:gd name="connsiteX32565" fmla="*/ 1063642 w 6884782"/>
              <a:gd name="connsiteY32565" fmla="*/ 2502527 h 5973007"/>
              <a:gd name="connsiteX32566" fmla="*/ 1063333 w 6884782"/>
              <a:gd name="connsiteY32566" fmla="*/ 2497880 h 5973007"/>
              <a:gd name="connsiteX32567" fmla="*/ 1065295 w 6884782"/>
              <a:gd name="connsiteY32567" fmla="*/ 2494627 h 5973007"/>
              <a:gd name="connsiteX32568" fmla="*/ 1353173 w 6884782"/>
              <a:gd name="connsiteY32568" fmla="*/ 2493698 h 5973007"/>
              <a:gd name="connsiteX32569" fmla="*/ 1359368 w 6884782"/>
              <a:gd name="connsiteY32569" fmla="*/ 2497570 h 5973007"/>
              <a:gd name="connsiteX32570" fmla="*/ 1359678 w 6884782"/>
              <a:gd name="connsiteY32570" fmla="*/ 2499119 h 5973007"/>
              <a:gd name="connsiteX32571" fmla="*/ 1353173 w 6884782"/>
              <a:gd name="connsiteY32571" fmla="*/ 2493698 h 5973007"/>
              <a:gd name="connsiteX32572" fmla="*/ 969112 w 6884782"/>
              <a:gd name="connsiteY32572" fmla="*/ 2493078 h 5973007"/>
              <a:gd name="connsiteX32573" fmla="*/ 972158 w 6884782"/>
              <a:gd name="connsiteY32573" fmla="*/ 2493543 h 5973007"/>
              <a:gd name="connsiteX32574" fmla="*/ 970093 w 6884782"/>
              <a:gd name="connsiteY32574" fmla="*/ 2499584 h 5973007"/>
              <a:gd name="connsiteX32575" fmla="*/ 965756 w 6884782"/>
              <a:gd name="connsiteY32575" fmla="*/ 2494008 h 5973007"/>
              <a:gd name="connsiteX32576" fmla="*/ 969112 w 6884782"/>
              <a:gd name="connsiteY32576" fmla="*/ 2493078 h 5973007"/>
              <a:gd name="connsiteX32577" fmla="*/ 680665 w 6884782"/>
              <a:gd name="connsiteY32577" fmla="*/ 2493078 h 5973007"/>
              <a:gd name="connsiteX32578" fmla="*/ 683556 w 6884782"/>
              <a:gd name="connsiteY32578" fmla="*/ 2494627 h 5973007"/>
              <a:gd name="connsiteX32579" fmla="*/ 686964 w 6884782"/>
              <a:gd name="connsiteY32579" fmla="*/ 2498345 h 5973007"/>
              <a:gd name="connsiteX32580" fmla="*/ 689649 w 6884782"/>
              <a:gd name="connsiteY32580" fmla="*/ 2499429 h 5973007"/>
              <a:gd name="connsiteX32581" fmla="*/ 689649 w 6884782"/>
              <a:gd name="connsiteY32581" fmla="*/ 2500203 h 5973007"/>
              <a:gd name="connsiteX32582" fmla="*/ 679117 w 6884782"/>
              <a:gd name="connsiteY32582" fmla="*/ 2497570 h 5973007"/>
              <a:gd name="connsiteX32583" fmla="*/ 678084 w 6884782"/>
              <a:gd name="connsiteY32583" fmla="*/ 2496021 h 5973007"/>
              <a:gd name="connsiteX32584" fmla="*/ 679117 w 6884782"/>
              <a:gd name="connsiteY32584" fmla="*/ 2494162 h 5973007"/>
              <a:gd name="connsiteX32585" fmla="*/ 680665 w 6884782"/>
              <a:gd name="connsiteY32585" fmla="*/ 2493078 h 5973007"/>
              <a:gd name="connsiteX32586" fmla="*/ 1258487 w 6884782"/>
              <a:gd name="connsiteY32586" fmla="*/ 2492613 h 5973007"/>
              <a:gd name="connsiteX32587" fmla="*/ 1267987 w 6884782"/>
              <a:gd name="connsiteY32587" fmla="*/ 2501752 h 5973007"/>
              <a:gd name="connsiteX32588" fmla="*/ 1255905 w 6884782"/>
              <a:gd name="connsiteY32588" fmla="*/ 2498035 h 5973007"/>
              <a:gd name="connsiteX32589" fmla="*/ 1258487 w 6884782"/>
              <a:gd name="connsiteY32589" fmla="*/ 2492613 h 5973007"/>
              <a:gd name="connsiteX32590" fmla="*/ 836375 w 6884782"/>
              <a:gd name="connsiteY32590" fmla="*/ 2491684 h 5973007"/>
              <a:gd name="connsiteX32591" fmla="*/ 839061 w 6884782"/>
              <a:gd name="connsiteY32591" fmla="*/ 2491839 h 5973007"/>
              <a:gd name="connsiteX32592" fmla="*/ 841332 w 6884782"/>
              <a:gd name="connsiteY32592" fmla="*/ 2494008 h 5973007"/>
              <a:gd name="connsiteX32593" fmla="*/ 841952 w 6884782"/>
              <a:gd name="connsiteY32593" fmla="*/ 2496331 h 5973007"/>
              <a:gd name="connsiteX32594" fmla="*/ 839370 w 6884782"/>
              <a:gd name="connsiteY32594" fmla="*/ 2500358 h 5973007"/>
              <a:gd name="connsiteX32595" fmla="*/ 832659 w 6884782"/>
              <a:gd name="connsiteY32595" fmla="*/ 2496021 h 5973007"/>
              <a:gd name="connsiteX32596" fmla="*/ 836375 w 6884782"/>
              <a:gd name="connsiteY32596" fmla="*/ 2491684 h 5973007"/>
              <a:gd name="connsiteX32597" fmla="*/ 717115 w 6884782"/>
              <a:gd name="connsiteY32597" fmla="*/ 2490290 h 5973007"/>
              <a:gd name="connsiteX32598" fmla="*/ 719799 w 6884782"/>
              <a:gd name="connsiteY32598" fmla="*/ 2492459 h 5973007"/>
              <a:gd name="connsiteX32599" fmla="*/ 716495 w 6884782"/>
              <a:gd name="connsiteY32599" fmla="*/ 2493852 h 5973007"/>
              <a:gd name="connsiteX32600" fmla="*/ 715876 w 6884782"/>
              <a:gd name="connsiteY32600" fmla="*/ 2492459 h 5973007"/>
              <a:gd name="connsiteX32601" fmla="*/ 717115 w 6884782"/>
              <a:gd name="connsiteY32601" fmla="*/ 2490290 h 5973007"/>
              <a:gd name="connsiteX32602" fmla="*/ 719283 w 6884782"/>
              <a:gd name="connsiteY32602" fmla="*/ 2489980 h 5973007"/>
              <a:gd name="connsiteX32603" fmla="*/ 719283 w 6884782"/>
              <a:gd name="connsiteY32603" fmla="*/ 2491374 h 5973007"/>
              <a:gd name="connsiteX32604" fmla="*/ 718561 w 6884782"/>
              <a:gd name="connsiteY32604" fmla="*/ 2490600 h 5973007"/>
              <a:gd name="connsiteX32605" fmla="*/ 719283 w 6884782"/>
              <a:gd name="connsiteY32605" fmla="*/ 2489980 h 5973007"/>
              <a:gd name="connsiteX32606" fmla="*/ 1201076 w 6884782"/>
              <a:gd name="connsiteY32606" fmla="*/ 2489670 h 5973007"/>
              <a:gd name="connsiteX32607" fmla="*/ 1197463 w 6884782"/>
              <a:gd name="connsiteY32607" fmla="*/ 2497880 h 5973007"/>
              <a:gd name="connsiteX32608" fmla="*/ 1195294 w 6884782"/>
              <a:gd name="connsiteY32608" fmla="*/ 2495092 h 5973007"/>
              <a:gd name="connsiteX32609" fmla="*/ 1201076 w 6884782"/>
              <a:gd name="connsiteY32609" fmla="*/ 2489670 h 5973007"/>
              <a:gd name="connsiteX32610" fmla="*/ 4879629 w 6884782"/>
              <a:gd name="connsiteY32610" fmla="*/ 2487571 h 5973007"/>
              <a:gd name="connsiteX32611" fmla="*/ 4880270 w 6884782"/>
              <a:gd name="connsiteY32611" fmla="*/ 2489705 h 5973007"/>
              <a:gd name="connsiteX32612" fmla="*/ 4881336 w 6884782"/>
              <a:gd name="connsiteY32612" fmla="*/ 2489278 h 5973007"/>
              <a:gd name="connsiteX32613" fmla="*/ 4880910 w 6884782"/>
              <a:gd name="connsiteY32613" fmla="*/ 2491839 h 5973007"/>
              <a:gd name="connsiteX32614" fmla="*/ 4879629 w 6884782"/>
              <a:gd name="connsiteY32614" fmla="*/ 2492266 h 5973007"/>
              <a:gd name="connsiteX32615" fmla="*/ 4879415 w 6884782"/>
              <a:gd name="connsiteY32615" fmla="*/ 2492551 h 5973007"/>
              <a:gd name="connsiteX32616" fmla="*/ 4877282 w 6884782"/>
              <a:gd name="connsiteY32616" fmla="*/ 2491981 h 5973007"/>
              <a:gd name="connsiteX32617" fmla="*/ 4875787 w 6884782"/>
              <a:gd name="connsiteY32617" fmla="*/ 2490132 h 5973007"/>
              <a:gd name="connsiteX32618" fmla="*/ 4879629 w 6884782"/>
              <a:gd name="connsiteY32618" fmla="*/ 2487571 h 5973007"/>
              <a:gd name="connsiteX32619" fmla="*/ 5246711 w 6884782"/>
              <a:gd name="connsiteY32619" fmla="*/ 2486148 h 5973007"/>
              <a:gd name="connsiteX32620" fmla="*/ 5249912 w 6884782"/>
              <a:gd name="connsiteY32620" fmla="*/ 2486433 h 5973007"/>
              <a:gd name="connsiteX32621" fmla="*/ 5251619 w 6884782"/>
              <a:gd name="connsiteY32621" fmla="*/ 2487571 h 5973007"/>
              <a:gd name="connsiteX32622" fmla="*/ 5252047 w 6884782"/>
              <a:gd name="connsiteY32622" fmla="*/ 2489278 h 5973007"/>
              <a:gd name="connsiteX32623" fmla="*/ 5249059 w 6884782"/>
              <a:gd name="connsiteY32623" fmla="*/ 2491839 h 5973007"/>
              <a:gd name="connsiteX32624" fmla="*/ 5245431 w 6884782"/>
              <a:gd name="connsiteY32624" fmla="*/ 2492124 h 5973007"/>
              <a:gd name="connsiteX32625" fmla="*/ 5244363 w 6884782"/>
              <a:gd name="connsiteY32625" fmla="*/ 2490416 h 5973007"/>
              <a:gd name="connsiteX32626" fmla="*/ 5243936 w 6884782"/>
              <a:gd name="connsiteY32626" fmla="*/ 2487571 h 5973007"/>
              <a:gd name="connsiteX32627" fmla="*/ 5246711 w 6884782"/>
              <a:gd name="connsiteY32627" fmla="*/ 2486148 h 5973007"/>
              <a:gd name="connsiteX32628" fmla="*/ 1062920 w 6884782"/>
              <a:gd name="connsiteY32628" fmla="*/ 2484404 h 5973007"/>
              <a:gd name="connsiteX32629" fmla="*/ 1064675 w 6884782"/>
              <a:gd name="connsiteY32629" fmla="*/ 2485643 h 5973007"/>
              <a:gd name="connsiteX32630" fmla="*/ 1063333 w 6884782"/>
              <a:gd name="connsiteY32630" fmla="*/ 2487657 h 5973007"/>
              <a:gd name="connsiteX32631" fmla="*/ 1055072 w 6884782"/>
              <a:gd name="connsiteY32631" fmla="*/ 2485953 h 5973007"/>
              <a:gd name="connsiteX32632" fmla="*/ 1062920 w 6884782"/>
              <a:gd name="connsiteY32632" fmla="*/ 2484404 h 5973007"/>
              <a:gd name="connsiteX32633" fmla="*/ 1148416 w 6884782"/>
              <a:gd name="connsiteY32633" fmla="*/ 2483939 h 5973007"/>
              <a:gd name="connsiteX32634" fmla="*/ 1154508 w 6884782"/>
              <a:gd name="connsiteY32634" fmla="*/ 2495866 h 5973007"/>
              <a:gd name="connsiteX32635" fmla="*/ 1154818 w 6884782"/>
              <a:gd name="connsiteY32635" fmla="*/ 2498809 h 5973007"/>
              <a:gd name="connsiteX32636" fmla="*/ 1157399 w 6884782"/>
              <a:gd name="connsiteY32636" fmla="*/ 2499893 h 5973007"/>
              <a:gd name="connsiteX32637" fmla="*/ 1155437 w 6884782"/>
              <a:gd name="connsiteY32637" fmla="*/ 2503766 h 5973007"/>
              <a:gd name="connsiteX32638" fmla="*/ 1153269 w 6884782"/>
              <a:gd name="connsiteY32638" fmla="*/ 2503146 h 5973007"/>
              <a:gd name="connsiteX32639" fmla="*/ 1153372 w 6884782"/>
              <a:gd name="connsiteY32639" fmla="*/ 2504695 h 5973007"/>
              <a:gd name="connsiteX32640" fmla="*/ 1148623 w 6884782"/>
              <a:gd name="connsiteY32640" fmla="*/ 2503301 h 5973007"/>
              <a:gd name="connsiteX32641" fmla="*/ 1146764 w 6884782"/>
              <a:gd name="connsiteY32641" fmla="*/ 2503301 h 5973007"/>
              <a:gd name="connsiteX32642" fmla="*/ 1147796 w 6884782"/>
              <a:gd name="connsiteY32642" fmla="*/ 2501752 h 5973007"/>
              <a:gd name="connsiteX32643" fmla="*/ 1150584 w 6884782"/>
              <a:gd name="connsiteY32643" fmla="*/ 2503301 h 5973007"/>
              <a:gd name="connsiteX32644" fmla="*/ 1151617 w 6884782"/>
              <a:gd name="connsiteY32644" fmla="*/ 2501752 h 5973007"/>
              <a:gd name="connsiteX32645" fmla="*/ 1152856 w 6884782"/>
              <a:gd name="connsiteY32645" fmla="*/ 2502217 h 5973007"/>
              <a:gd name="connsiteX32646" fmla="*/ 1153062 w 6884782"/>
              <a:gd name="connsiteY32646" fmla="*/ 2502217 h 5973007"/>
              <a:gd name="connsiteX32647" fmla="*/ 1153166 w 6884782"/>
              <a:gd name="connsiteY32647" fmla="*/ 2502062 h 5973007"/>
              <a:gd name="connsiteX32648" fmla="*/ 1152856 w 6884782"/>
              <a:gd name="connsiteY32648" fmla="*/ 2502217 h 5973007"/>
              <a:gd name="connsiteX32649" fmla="*/ 1148829 w 6884782"/>
              <a:gd name="connsiteY32649" fmla="*/ 2494627 h 5973007"/>
              <a:gd name="connsiteX32650" fmla="*/ 1147796 w 6884782"/>
              <a:gd name="connsiteY32650" fmla="*/ 2494472 h 5973007"/>
              <a:gd name="connsiteX32651" fmla="*/ 1147280 w 6884782"/>
              <a:gd name="connsiteY32651" fmla="*/ 2495247 h 5973007"/>
              <a:gd name="connsiteX32652" fmla="*/ 1147900 w 6884782"/>
              <a:gd name="connsiteY32652" fmla="*/ 2497570 h 5973007"/>
              <a:gd name="connsiteX32653" fmla="*/ 1143563 w 6884782"/>
              <a:gd name="connsiteY32653" fmla="*/ 2504385 h 5973007"/>
              <a:gd name="connsiteX32654" fmla="*/ 1140981 w 6884782"/>
              <a:gd name="connsiteY32654" fmla="*/ 2503611 h 5973007"/>
              <a:gd name="connsiteX32655" fmla="*/ 1138503 w 6884782"/>
              <a:gd name="connsiteY32655" fmla="*/ 2503146 h 5973007"/>
              <a:gd name="connsiteX32656" fmla="*/ 1139536 w 6884782"/>
              <a:gd name="connsiteY32656" fmla="*/ 2503456 h 5973007"/>
              <a:gd name="connsiteX32657" fmla="*/ 1141188 w 6884782"/>
              <a:gd name="connsiteY32657" fmla="*/ 2507173 h 5973007"/>
              <a:gd name="connsiteX32658" fmla="*/ 1134476 w 6884782"/>
              <a:gd name="connsiteY32658" fmla="*/ 2505625 h 5973007"/>
              <a:gd name="connsiteX32659" fmla="*/ 1134683 w 6884782"/>
              <a:gd name="connsiteY32659" fmla="*/ 2502217 h 5973007"/>
              <a:gd name="connsiteX32660" fmla="*/ 1130862 w 6884782"/>
              <a:gd name="connsiteY32660" fmla="*/ 2501752 h 5973007"/>
              <a:gd name="connsiteX32661" fmla="*/ 1130449 w 6884782"/>
              <a:gd name="connsiteY32661" fmla="*/ 2500978 h 5973007"/>
              <a:gd name="connsiteX32662" fmla="*/ 1131689 w 6884782"/>
              <a:gd name="connsiteY32662" fmla="*/ 2499429 h 5973007"/>
              <a:gd name="connsiteX32663" fmla="*/ 1133031 w 6884782"/>
              <a:gd name="connsiteY32663" fmla="*/ 2499429 h 5973007"/>
              <a:gd name="connsiteX32664" fmla="*/ 1131379 w 6884782"/>
              <a:gd name="connsiteY32664" fmla="*/ 2496486 h 5973007"/>
              <a:gd name="connsiteX32665" fmla="*/ 1137471 w 6884782"/>
              <a:gd name="connsiteY32665" fmla="*/ 2488896 h 5973007"/>
              <a:gd name="connsiteX32666" fmla="*/ 1146661 w 6884782"/>
              <a:gd name="connsiteY32666" fmla="*/ 2492923 h 5973007"/>
              <a:gd name="connsiteX32667" fmla="*/ 1147383 w 6884782"/>
              <a:gd name="connsiteY32667" fmla="*/ 2492768 h 5973007"/>
              <a:gd name="connsiteX32668" fmla="*/ 1146764 w 6884782"/>
              <a:gd name="connsiteY32668" fmla="*/ 2491839 h 5973007"/>
              <a:gd name="connsiteX32669" fmla="*/ 1145938 w 6884782"/>
              <a:gd name="connsiteY32669" fmla="*/ 2491064 h 5973007"/>
              <a:gd name="connsiteX32670" fmla="*/ 1145731 w 6884782"/>
              <a:gd name="connsiteY32670" fmla="*/ 2489205 h 5973007"/>
              <a:gd name="connsiteX32671" fmla="*/ 1148416 w 6884782"/>
              <a:gd name="connsiteY32671" fmla="*/ 2483939 h 5973007"/>
              <a:gd name="connsiteX32672" fmla="*/ 841538 w 6884782"/>
              <a:gd name="connsiteY32672" fmla="*/ 2483165 h 5973007"/>
              <a:gd name="connsiteX32673" fmla="*/ 849490 w 6884782"/>
              <a:gd name="connsiteY32673" fmla="*/ 2484559 h 5973007"/>
              <a:gd name="connsiteX32674" fmla="*/ 841538 w 6884782"/>
              <a:gd name="connsiteY32674" fmla="*/ 2483165 h 5973007"/>
              <a:gd name="connsiteX32675" fmla="*/ 950680 w 6884782"/>
              <a:gd name="connsiteY32675" fmla="*/ 2482545 h 5973007"/>
              <a:gd name="connsiteX32676" fmla="*/ 964930 w 6884782"/>
              <a:gd name="connsiteY32676" fmla="*/ 2502217 h 5973007"/>
              <a:gd name="connsiteX32677" fmla="*/ 949751 w 6884782"/>
              <a:gd name="connsiteY32677" fmla="*/ 2484714 h 5973007"/>
              <a:gd name="connsiteX32678" fmla="*/ 950680 w 6884782"/>
              <a:gd name="connsiteY32678" fmla="*/ 2482545 h 5973007"/>
              <a:gd name="connsiteX32679" fmla="*/ 714120 w 6884782"/>
              <a:gd name="connsiteY32679" fmla="*/ 2482545 h 5973007"/>
              <a:gd name="connsiteX32680" fmla="*/ 716185 w 6884782"/>
              <a:gd name="connsiteY32680" fmla="*/ 2489670 h 5973007"/>
              <a:gd name="connsiteX32681" fmla="*/ 709370 w 6884782"/>
              <a:gd name="connsiteY32681" fmla="*/ 2493078 h 5973007"/>
              <a:gd name="connsiteX32682" fmla="*/ 708441 w 6884782"/>
              <a:gd name="connsiteY32682" fmla="*/ 2491529 h 5973007"/>
              <a:gd name="connsiteX32683" fmla="*/ 707822 w 6884782"/>
              <a:gd name="connsiteY32683" fmla="*/ 2489670 h 5973007"/>
              <a:gd name="connsiteX32684" fmla="*/ 707822 w 6884782"/>
              <a:gd name="connsiteY32684" fmla="*/ 2487502 h 5973007"/>
              <a:gd name="connsiteX32685" fmla="*/ 708957 w 6884782"/>
              <a:gd name="connsiteY32685" fmla="*/ 2484869 h 5973007"/>
              <a:gd name="connsiteX32686" fmla="*/ 712262 w 6884782"/>
              <a:gd name="connsiteY32686" fmla="*/ 2482700 h 5973007"/>
              <a:gd name="connsiteX32687" fmla="*/ 714120 w 6884782"/>
              <a:gd name="connsiteY32687" fmla="*/ 2482545 h 5973007"/>
              <a:gd name="connsiteX32688" fmla="*/ 835859 w 6884782"/>
              <a:gd name="connsiteY32688" fmla="*/ 2482390 h 5973007"/>
              <a:gd name="connsiteX32689" fmla="*/ 839164 w 6884782"/>
              <a:gd name="connsiteY32689" fmla="*/ 2483629 h 5973007"/>
              <a:gd name="connsiteX32690" fmla="*/ 835859 w 6884782"/>
              <a:gd name="connsiteY32690" fmla="*/ 2483320 h 5973007"/>
              <a:gd name="connsiteX32691" fmla="*/ 835240 w 6884782"/>
              <a:gd name="connsiteY32691" fmla="*/ 2482855 h 5973007"/>
              <a:gd name="connsiteX32692" fmla="*/ 835859 w 6884782"/>
              <a:gd name="connsiteY32692" fmla="*/ 2482390 h 5973007"/>
              <a:gd name="connsiteX32693" fmla="*/ 691094 w 6884782"/>
              <a:gd name="connsiteY32693" fmla="*/ 2481925 h 5973007"/>
              <a:gd name="connsiteX32694" fmla="*/ 694398 w 6884782"/>
              <a:gd name="connsiteY32694" fmla="*/ 2482545 h 5973007"/>
              <a:gd name="connsiteX32695" fmla="*/ 695225 w 6884782"/>
              <a:gd name="connsiteY32695" fmla="*/ 2482235 h 5973007"/>
              <a:gd name="connsiteX32696" fmla="*/ 697702 w 6884782"/>
              <a:gd name="connsiteY32696" fmla="*/ 2483474 h 5973007"/>
              <a:gd name="connsiteX32697" fmla="*/ 698219 w 6884782"/>
              <a:gd name="connsiteY32697" fmla="*/ 2484404 h 5973007"/>
              <a:gd name="connsiteX32698" fmla="*/ 701110 w 6884782"/>
              <a:gd name="connsiteY32698" fmla="*/ 2486417 h 5973007"/>
              <a:gd name="connsiteX32699" fmla="*/ 699767 w 6884782"/>
              <a:gd name="connsiteY32699" fmla="*/ 2487193 h 5973007"/>
              <a:gd name="connsiteX32700" fmla="*/ 699252 w 6884782"/>
              <a:gd name="connsiteY32700" fmla="*/ 2490290 h 5973007"/>
              <a:gd name="connsiteX32701" fmla="*/ 700903 w 6884782"/>
              <a:gd name="connsiteY32701" fmla="*/ 2494782 h 5973007"/>
              <a:gd name="connsiteX32702" fmla="*/ 697599 w 6884782"/>
              <a:gd name="connsiteY32702" fmla="*/ 2489360 h 5973007"/>
              <a:gd name="connsiteX32703" fmla="*/ 696464 w 6884782"/>
              <a:gd name="connsiteY32703" fmla="*/ 2488896 h 5973007"/>
              <a:gd name="connsiteX32704" fmla="*/ 696257 w 6884782"/>
              <a:gd name="connsiteY32704" fmla="*/ 2488896 h 5973007"/>
              <a:gd name="connsiteX32705" fmla="*/ 695947 w 6884782"/>
              <a:gd name="connsiteY32705" fmla="*/ 2488586 h 5973007"/>
              <a:gd name="connsiteX32706" fmla="*/ 695018 w 6884782"/>
              <a:gd name="connsiteY32706" fmla="*/ 2488276 h 5973007"/>
              <a:gd name="connsiteX32707" fmla="*/ 694915 w 6884782"/>
              <a:gd name="connsiteY32707" fmla="*/ 2487812 h 5973007"/>
              <a:gd name="connsiteX32708" fmla="*/ 692746 w 6884782"/>
              <a:gd name="connsiteY32708" fmla="*/ 2486728 h 5973007"/>
              <a:gd name="connsiteX32709" fmla="*/ 689029 w 6884782"/>
              <a:gd name="connsiteY32709" fmla="*/ 2485179 h 5973007"/>
              <a:gd name="connsiteX32710" fmla="*/ 688720 w 6884782"/>
              <a:gd name="connsiteY32710" fmla="*/ 2483010 h 5973007"/>
              <a:gd name="connsiteX32711" fmla="*/ 691094 w 6884782"/>
              <a:gd name="connsiteY32711" fmla="*/ 2481925 h 5973007"/>
              <a:gd name="connsiteX32712" fmla="*/ 1218114 w 6884782"/>
              <a:gd name="connsiteY32712" fmla="*/ 2481461 h 5973007"/>
              <a:gd name="connsiteX32713" fmla="*/ 1227923 w 6884782"/>
              <a:gd name="connsiteY32713" fmla="*/ 2487037 h 5973007"/>
              <a:gd name="connsiteX32714" fmla="*/ 1226477 w 6884782"/>
              <a:gd name="connsiteY32714" fmla="*/ 2499893 h 5973007"/>
              <a:gd name="connsiteX32715" fmla="*/ 1223277 w 6884782"/>
              <a:gd name="connsiteY32715" fmla="*/ 2504385 h 5973007"/>
              <a:gd name="connsiteX32716" fmla="*/ 1228439 w 6884782"/>
              <a:gd name="connsiteY32716" fmla="*/ 2502837 h 5973007"/>
              <a:gd name="connsiteX32717" fmla="*/ 1237732 w 6884782"/>
              <a:gd name="connsiteY32717" fmla="*/ 2503146 h 5973007"/>
              <a:gd name="connsiteX32718" fmla="*/ 1240624 w 6884782"/>
              <a:gd name="connsiteY32718" fmla="*/ 2504385 h 5973007"/>
              <a:gd name="connsiteX32719" fmla="*/ 1242895 w 6884782"/>
              <a:gd name="connsiteY32719" fmla="*/ 2504231 h 5973007"/>
              <a:gd name="connsiteX32720" fmla="*/ 1244031 w 6884782"/>
              <a:gd name="connsiteY32720" fmla="*/ 2504076 h 5973007"/>
              <a:gd name="connsiteX32721" fmla="*/ 1242173 w 6884782"/>
              <a:gd name="connsiteY32721" fmla="*/ 2503146 h 5973007"/>
              <a:gd name="connsiteX32722" fmla="*/ 1240417 w 6884782"/>
              <a:gd name="connsiteY32722" fmla="*/ 2503611 h 5973007"/>
              <a:gd name="connsiteX32723" fmla="*/ 1238765 w 6884782"/>
              <a:gd name="connsiteY32723" fmla="*/ 2501442 h 5973007"/>
              <a:gd name="connsiteX32724" fmla="*/ 1243928 w 6884782"/>
              <a:gd name="connsiteY32724" fmla="*/ 2503611 h 5973007"/>
              <a:gd name="connsiteX32725" fmla="*/ 1244238 w 6884782"/>
              <a:gd name="connsiteY32725" fmla="*/ 2504076 h 5973007"/>
              <a:gd name="connsiteX32726" fmla="*/ 1245270 w 6884782"/>
              <a:gd name="connsiteY32726" fmla="*/ 2504076 h 5973007"/>
              <a:gd name="connsiteX32727" fmla="*/ 1245993 w 6884782"/>
              <a:gd name="connsiteY32727" fmla="*/ 2503921 h 5973007"/>
              <a:gd name="connsiteX32728" fmla="*/ 1246819 w 6884782"/>
              <a:gd name="connsiteY32728" fmla="*/ 2504076 h 5973007"/>
              <a:gd name="connsiteX32729" fmla="*/ 1249194 w 6884782"/>
              <a:gd name="connsiteY32729" fmla="*/ 2504076 h 5973007"/>
              <a:gd name="connsiteX32730" fmla="*/ 1254357 w 6884782"/>
              <a:gd name="connsiteY32730" fmla="*/ 2504850 h 5973007"/>
              <a:gd name="connsiteX32731" fmla="*/ 1248781 w 6884782"/>
              <a:gd name="connsiteY32731" fmla="*/ 2505160 h 5973007"/>
              <a:gd name="connsiteX32732" fmla="*/ 1251672 w 6884782"/>
              <a:gd name="connsiteY32732" fmla="*/ 2505780 h 5973007"/>
              <a:gd name="connsiteX32733" fmla="*/ 1254563 w 6884782"/>
              <a:gd name="connsiteY32733" fmla="*/ 2505160 h 5973007"/>
              <a:gd name="connsiteX32734" fmla="*/ 1255905 w 6884782"/>
              <a:gd name="connsiteY32734" fmla="*/ 2506554 h 5973007"/>
              <a:gd name="connsiteX32735" fmla="*/ 1253840 w 6884782"/>
              <a:gd name="connsiteY32735" fmla="*/ 2508103 h 5973007"/>
              <a:gd name="connsiteX32736" fmla="*/ 1251259 w 6884782"/>
              <a:gd name="connsiteY32736" fmla="*/ 2506089 h 5973007"/>
              <a:gd name="connsiteX32737" fmla="*/ 1247748 w 6884782"/>
              <a:gd name="connsiteY32737" fmla="*/ 2506089 h 5973007"/>
              <a:gd name="connsiteX32738" fmla="*/ 1246509 w 6884782"/>
              <a:gd name="connsiteY32738" fmla="*/ 2505160 h 5973007"/>
              <a:gd name="connsiteX32739" fmla="*/ 1240830 w 6884782"/>
              <a:gd name="connsiteY32739" fmla="*/ 2504541 h 5973007"/>
              <a:gd name="connsiteX32740" fmla="*/ 1245167 w 6884782"/>
              <a:gd name="connsiteY32740" fmla="*/ 2506245 h 5973007"/>
              <a:gd name="connsiteX32741" fmla="*/ 1260242 w 6884782"/>
              <a:gd name="connsiteY32741" fmla="*/ 2515074 h 5973007"/>
              <a:gd name="connsiteX32742" fmla="*/ 1266025 w 6884782"/>
              <a:gd name="connsiteY32742" fmla="*/ 2533351 h 5973007"/>
              <a:gd name="connsiteX32743" fmla="*/ 1256112 w 6884782"/>
              <a:gd name="connsiteY32743" fmla="*/ 2557825 h 5973007"/>
              <a:gd name="connsiteX32744" fmla="*/ 1245167 w 6884782"/>
              <a:gd name="connsiteY32744" fmla="*/ 2563246 h 5973007"/>
              <a:gd name="connsiteX32745" fmla="*/ 1245064 w 6884782"/>
              <a:gd name="connsiteY32745" fmla="*/ 2564175 h 5973007"/>
              <a:gd name="connsiteX32746" fmla="*/ 1243412 w 6884782"/>
              <a:gd name="connsiteY32746" fmla="*/ 2564021 h 5973007"/>
              <a:gd name="connsiteX32747" fmla="*/ 1241863 w 6884782"/>
              <a:gd name="connsiteY32747" fmla="*/ 2564950 h 5973007"/>
              <a:gd name="connsiteX32748" fmla="*/ 1240417 w 6884782"/>
              <a:gd name="connsiteY32748" fmla="*/ 2565570 h 5973007"/>
              <a:gd name="connsiteX32749" fmla="*/ 1242586 w 6884782"/>
              <a:gd name="connsiteY32749" fmla="*/ 2566963 h 5973007"/>
              <a:gd name="connsiteX32750" fmla="*/ 1244031 w 6884782"/>
              <a:gd name="connsiteY32750" fmla="*/ 2571765 h 5973007"/>
              <a:gd name="connsiteX32751" fmla="*/ 1242999 w 6884782"/>
              <a:gd name="connsiteY32751" fmla="*/ 2577187 h 5973007"/>
              <a:gd name="connsiteX32752" fmla="*/ 1238352 w 6884782"/>
              <a:gd name="connsiteY32752" fmla="*/ 2574399 h 5973007"/>
              <a:gd name="connsiteX32753" fmla="*/ 1238352 w 6884782"/>
              <a:gd name="connsiteY32753" fmla="*/ 2566809 h 5973007"/>
              <a:gd name="connsiteX32754" fmla="*/ 1239901 w 6884782"/>
              <a:gd name="connsiteY32754" fmla="*/ 2565879 h 5973007"/>
              <a:gd name="connsiteX32755" fmla="*/ 1234119 w 6884782"/>
              <a:gd name="connsiteY32755" fmla="*/ 2568667 h 5973007"/>
              <a:gd name="connsiteX32756" fmla="*/ 1234841 w 6884782"/>
              <a:gd name="connsiteY32756" fmla="*/ 2569442 h 5973007"/>
              <a:gd name="connsiteX32757" fmla="*/ 1231331 w 6884782"/>
              <a:gd name="connsiteY32757" fmla="*/ 2577187 h 5973007"/>
              <a:gd name="connsiteX32758" fmla="*/ 1225342 w 6884782"/>
              <a:gd name="connsiteY32758" fmla="*/ 2575793 h 5973007"/>
              <a:gd name="connsiteX32759" fmla="*/ 1226994 w 6884782"/>
              <a:gd name="connsiteY32759" fmla="*/ 2571765 h 5973007"/>
              <a:gd name="connsiteX32760" fmla="*/ 1219456 w 6884782"/>
              <a:gd name="connsiteY32760" fmla="*/ 2568513 h 5973007"/>
              <a:gd name="connsiteX32761" fmla="*/ 1195397 w 6884782"/>
              <a:gd name="connsiteY32761" fmla="*/ 2556896 h 5973007"/>
              <a:gd name="connsiteX32762" fmla="*/ 1195810 w 6884782"/>
              <a:gd name="connsiteY32762" fmla="*/ 2553952 h 5973007"/>
              <a:gd name="connsiteX32763" fmla="*/ 1195501 w 6884782"/>
              <a:gd name="connsiteY32763" fmla="*/ 2553642 h 5973007"/>
              <a:gd name="connsiteX32764" fmla="*/ 1194674 w 6884782"/>
              <a:gd name="connsiteY32764" fmla="*/ 2551009 h 5973007"/>
              <a:gd name="connsiteX32765" fmla="*/ 1195707 w 6884782"/>
              <a:gd name="connsiteY32765" fmla="*/ 2549305 h 5973007"/>
              <a:gd name="connsiteX32766" fmla="*/ 1194674 w 6884782"/>
              <a:gd name="connsiteY32766" fmla="*/ 2544659 h 5973007"/>
              <a:gd name="connsiteX32767" fmla="*/ 1194881 w 6884782"/>
              <a:gd name="connsiteY32767" fmla="*/ 2543574 h 5973007"/>
              <a:gd name="connsiteX32768" fmla="*/ 1194365 w 6884782"/>
              <a:gd name="connsiteY32768" fmla="*/ 2542025 h 5973007"/>
              <a:gd name="connsiteX32769" fmla="*/ 1190958 w 6884782"/>
              <a:gd name="connsiteY32769" fmla="*/ 2542335 h 5973007"/>
              <a:gd name="connsiteX32770" fmla="*/ 1188892 w 6884782"/>
              <a:gd name="connsiteY32770" fmla="*/ 2540012 h 5973007"/>
              <a:gd name="connsiteX32771" fmla="*/ 1189099 w 6884782"/>
              <a:gd name="connsiteY32771" fmla="*/ 2536759 h 5973007"/>
              <a:gd name="connsiteX32772" fmla="*/ 1190544 w 6884782"/>
              <a:gd name="connsiteY32772" fmla="*/ 2534590 h 5973007"/>
              <a:gd name="connsiteX32773" fmla="*/ 1193333 w 6884782"/>
              <a:gd name="connsiteY32773" fmla="*/ 2534126 h 5973007"/>
              <a:gd name="connsiteX32774" fmla="*/ 1193539 w 6884782"/>
              <a:gd name="connsiteY32774" fmla="*/ 2534281 h 5973007"/>
              <a:gd name="connsiteX32775" fmla="*/ 1198082 w 6884782"/>
              <a:gd name="connsiteY32775" fmla="*/ 2525607 h 5973007"/>
              <a:gd name="connsiteX32776" fmla="*/ 1210886 w 6884782"/>
              <a:gd name="connsiteY32776" fmla="*/ 2510891 h 5973007"/>
              <a:gd name="connsiteX32777" fmla="*/ 1217598 w 6884782"/>
              <a:gd name="connsiteY32777" fmla="*/ 2506554 h 5973007"/>
              <a:gd name="connsiteX32778" fmla="*/ 1215120 w 6884782"/>
              <a:gd name="connsiteY32778" fmla="*/ 2495247 h 5973007"/>
              <a:gd name="connsiteX32779" fmla="*/ 1218114 w 6884782"/>
              <a:gd name="connsiteY32779" fmla="*/ 2481461 h 5973007"/>
              <a:gd name="connsiteX32780" fmla="*/ 1382498 w 6884782"/>
              <a:gd name="connsiteY32780" fmla="*/ 2480841 h 5973007"/>
              <a:gd name="connsiteX32781" fmla="*/ 1383014 w 6884782"/>
              <a:gd name="connsiteY32781" fmla="*/ 2481616 h 5973007"/>
              <a:gd name="connsiteX32782" fmla="*/ 1379194 w 6884782"/>
              <a:gd name="connsiteY32782" fmla="*/ 2483474 h 5973007"/>
              <a:gd name="connsiteX32783" fmla="*/ 1379607 w 6884782"/>
              <a:gd name="connsiteY32783" fmla="*/ 2481306 h 5973007"/>
              <a:gd name="connsiteX32784" fmla="*/ 1382498 w 6884782"/>
              <a:gd name="connsiteY32784" fmla="*/ 2480841 h 5973007"/>
              <a:gd name="connsiteX32785" fmla="*/ 935399 w 6884782"/>
              <a:gd name="connsiteY32785" fmla="*/ 2480841 h 5973007"/>
              <a:gd name="connsiteX32786" fmla="*/ 937360 w 6884782"/>
              <a:gd name="connsiteY32786" fmla="*/ 2480841 h 5973007"/>
              <a:gd name="connsiteX32787" fmla="*/ 937980 w 6884782"/>
              <a:gd name="connsiteY32787" fmla="*/ 2483010 h 5973007"/>
              <a:gd name="connsiteX32788" fmla="*/ 935502 w 6884782"/>
              <a:gd name="connsiteY32788" fmla="*/ 2487502 h 5973007"/>
              <a:gd name="connsiteX32789" fmla="*/ 933540 w 6884782"/>
              <a:gd name="connsiteY32789" fmla="*/ 2487502 h 5973007"/>
              <a:gd name="connsiteX32790" fmla="*/ 932610 w 6884782"/>
              <a:gd name="connsiteY32790" fmla="*/ 2483784 h 5973007"/>
              <a:gd name="connsiteX32791" fmla="*/ 935399 w 6884782"/>
              <a:gd name="connsiteY32791" fmla="*/ 2480841 h 5973007"/>
              <a:gd name="connsiteX32792" fmla="*/ 1310425 w 6884782"/>
              <a:gd name="connsiteY32792" fmla="*/ 2480686 h 5973007"/>
              <a:gd name="connsiteX32793" fmla="*/ 1311974 w 6884782"/>
              <a:gd name="connsiteY32793" fmla="*/ 2481461 h 5973007"/>
              <a:gd name="connsiteX32794" fmla="*/ 1310941 w 6884782"/>
              <a:gd name="connsiteY32794" fmla="*/ 2485953 h 5973007"/>
              <a:gd name="connsiteX32795" fmla="*/ 1310218 w 6884782"/>
              <a:gd name="connsiteY32795" fmla="*/ 2485024 h 5973007"/>
              <a:gd name="connsiteX32796" fmla="*/ 1309908 w 6884782"/>
              <a:gd name="connsiteY32796" fmla="*/ 2485333 h 5973007"/>
              <a:gd name="connsiteX32797" fmla="*/ 1309289 w 6884782"/>
              <a:gd name="connsiteY32797" fmla="*/ 2483320 h 5973007"/>
              <a:gd name="connsiteX32798" fmla="*/ 1310425 w 6884782"/>
              <a:gd name="connsiteY32798" fmla="*/ 2480686 h 5973007"/>
              <a:gd name="connsiteX32799" fmla="*/ 927241 w 6884782"/>
              <a:gd name="connsiteY32799" fmla="*/ 2480067 h 5973007"/>
              <a:gd name="connsiteX32800" fmla="*/ 926415 w 6884782"/>
              <a:gd name="connsiteY32800" fmla="*/ 2483474 h 5973007"/>
              <a:gd name="connsiteX32801" fmla="*/ 924866 w 6884782"/>
              <a:gd name="connsiteY32801" fmla="*/ 2483320 h 5973007"/>
              <a:gd name="connsiteX32802" fmla="*/ 923731 w 6884782"/>
              <a:gd name="connsiteY32802" fmla="*/ 2481306 h 5973007"/>
              <a:gd name="connsiteX32803" fmla="*/ 914954 w 6884782"/>
              <a:gd name="connsiteY32803" fmla="*/ 2480067 h 5973007"/>
              <a:gd name="connsiteX32804" fmla="*/ 922595 w 6884782"/>
              <a:gd name="connsiteY32804" fmla="*/ 2481616 h 5973007"/>
              <a:gd name="connsiteX32805" fmla="*/ 921356 w 6884782"/>
              <a:gd name="connsiteY32805" fmla="*/ 2488741 h 5973007"/>
              <a:gd name="connsiteX32806" fmla="*/ 919394 w 6884782"/>
              <a:gd name="connsiteY32806" fmla="*/ 2488896 h 5973007"/>
              <a:gd name="connsiteX32807" fmla="*/ 917329 w 6884782"/>
              <a:gd name="connsiteY32807" fmla="*/ 2488431 h 5973007"/>
              <a:gd name="connsiteX32808" fmla="*/ 913818 w 6884782"/>
              <a:gd name="connsiteY32808" fmla="*/ 2485333 h 5973007"/>
              <a:gd name="connsiteX32809" fmla="*/ 913508 w 6884782"/>
              <a:gd name="connsiteY32809" fmla="*/ 2482855 h 5973007"/>
              <a:gd name="connsiteX32810" fmla="*/ 914024 w 6884782"/>
              <a:gd name="connsiteY32810" fmla="*/ 2481616 h 5973007"/>
              <a:gd name="connsiteX32811" fmla="*/ 914954 w 6884782"/>
              <a:gd name="connsiteY32811" fmla="*/ 2480067 h 5973007"/>
              <a:gd name="connsiteX32812" fmla="*/ 583811 w 6884782"/>
              <a:gd name="connsiteY32812" fmla="*/ 2478673 h 5973007"/>
              <a:gd name="connsiteX32813" fmla="*/ 585463 w 6884782"/>
              <a:gd name="connsiteY32813" fmla="*/ 2483165 h 5973007"/>
              <a:gd name="connsiteX32814" fmla="*/ 582882 w 6884782"/>
              <a:gd name="connsiteY32814" fmla="*/ 2479447 h 5973007"/>
              <a:gd name="connsiteX32815" fmla="*/ 583811 w 6884782"/>
              <a:gd name="connsiteY32815" fmla="*/ 2478673 h 5973007"/>
              <a:gd name="connsiteX32816" fmla="*/ 783612 w 6884782"/>
              <a:gd name="connsiteY32816" fmla="*/ 2477588 h 5973007"/>
              <a:gd name="connsiteX32817" fmla="*/ 784851 w 6884782"/>
              <a:gd name="connsiteY32817" fmla="*/ 2478673 h 5973007"/>
              <a:gd name="connsiteX32818" fmla="*/ 776590 w 6884782"/>
              <a:gd name="connsiteY32818" fmla="*/ 2478208 h 5973007"/>
              <a:gd name="connsiteX32819" fmla="*/ 783612 w 6884782"/>
              <a:gd name="connsiteY32819" fmla="*/ 2477588 h 5973007"/>
              <a:gd name="connsiteX32820" fmla="*/ 1181974 w 6884782"/>
              <a:gd name="connsiteY32820" fmla="*/ 2474800 h 5973007"/>
              <a:gd name="connsiteX32821" fmla="*/ 1181251 w 6884782"/>
              <a:gd name="connsiteY32821" fmla="*/ 2476659 h 5973007"/>
              <a:gd name="connsiteX32822" fmla="*/ 1180735 w 6884782"/>
              <a:gd name="connsiteY32822" fmla="*/ 2477279 h 5973007"/>
              <a:gd name="connsiteX32823" fmla="*/ 1182491 w 6884782"/>
              <a:gd name="connsiteY32823" fmla="*/ 2477743 h 5973007"/>
              <a:gd name="connsiteX32824" fmla="*/ 1185795 w 6884782"/>
              <a:gd name="connsiteY32824" fmla="*/ 2480841 h 5973007"/>
              <a:gd name="connsiteX32825" fmla="*/ 1180941 w 6884782"/>
              <a:gd name="connsiteY32825" fmla="*/ 2488276 h 5973007"/>
              <a:gd name="connsiteX32826" fmla="*/ 1173404 w 6884782"/>
              <a:gd name="connsiteY32826" fmla="*/ 2482855 h 5973007"/>
              <a:gd name="connsiteX32827" fmla="*/ 1173507 w 6884782"/>
              <a:gd name="connsiteY32827" fmla="*/ 2480531 h 5973007"/>
              <a:gd name="connsiteX32828" fmla="*/ 1175263 w 6884782"/>
              <a:gd name="connsiteY32828" fmla="*/ 2478208 h 5973007"/>
              <a:gd name="connsiteX32829" fmla="*/ 1179186 w 6884782"/>
              <a:gd name="connsiteY32829" fmla="*/ 2476659 h 5973007"/>
              <a:gd name="connsiteX32830" fmla="*/ 1180529 w 6884782"/>
              <a:gd name="connsiteY32830" fmla="*/ 2477124 h 5973007"/>
              <a:gd name="connsiteX32831" fmla="*/ 1180425 w 6884782"/>
              <a:gd name="connsiteY32831" fmla="*/ 2475110 h 5973007"/>
              <a:gd name="connsiteX32832" fmla="*/ 1181974 w 6884782"/>
              <a:gd name="connsiteY32832" fmla="*/ 2474800 h 5973007"/>
              <a:gd name="connsiteX32833" fmla="*/ 5184179 w 6884782"/>
              <a:gd name="connsiteY32833" fmla="*/ 2474767 h 5973007"/>
              <a:gd name="connsiteX32834" fmla="*/ 5187807 w 6884782"/>
              <a:gd name="connsiteY32834" fmla="*/ 2476474 h 5973007"/>
              <a:gd name="connsiteX32835" fmla="*/ 5184606 w 6884782"/>
              <a:gd name="connsiteY32835" fmla="*/ 2484868 h 5973007"/>
              <a:gd name="connsiteX32836" fmla="*/ 5184179 w 6884782"/>
              <a:gd name="connsiteY32836" fmla="*/ 2474767 h 5973007"/>
              <a:gd name="connsiteX32837" fmla="*/ 1461592 w 6884782"/>
              <a:gd name="connsiteY32837" fmla="*/ 2474181 h 5973007"/>
              <a:gd name="connsiteX32838" fmla="*/ 1460250 w 6884782"/>
              <a:gd name="connsiteY32838" fmla="*/ 2475420 h 5973007"/>
              <a:gd name="connsiteX32839" fmla="*/ 1461282 w 6884782"/>
              <a:gd name="connsiteY32839" fmla="*/ 2475110 h 5973007"/>
              <a:gd name="connsiteX32840" fmla="*/ 5114177 w 6884782"/>
              <a:gd name="connsiteY32840" fmla="*/ 2473629 h 5973007"/>
              <a:gd name="connsiteX32841" fmla="*/ 5117592 w 6884782"/>
              <a:gd name="connsiteY32841" fmla="*/ 2489278 h 5973007"/>
              <a:gd name="connsiteX32842" fmla="*/ 5107348 w 6884782"/>
              <a:gd name="connsiteY32842" fmla="*/ 2484015 h 5973007"/>
              <a:gd name="connsiteX32843" fmla="*/ 5114177 w 6884782"/>
              <a:gd name="connsiteY32843" fmla="*/ 2473629 h 5973007"/>
              <a:gd name="connsiteX32844" fmla="*/ 1355135 w 6884782"/>
              <a:gd name="connsiteY32844" fmla="*/ 2471392 h 5973007"/>
              <a:gd name="connsiteX32845" fmla="*/ 1359162 w 6884782"/>
              <a:gd name="connsiteY32845" fmla="*/ 2472787 h 5973007"/>
              <a:gd name="connsiteX32846" fmla="*/ 1356167 w 6884782"/>
              <a:gd name="connsiteY32846" fmla="*/ 2476814 h 5973007"/>
              <a:gd name="connsiteX32847" fmla="*/ 1353999 w 6884782"/>
              <a:gd name="connsiteY32847" fmla="*/ 2474336 h 5973007"/>
              <a:gd name="connsiteX32848" fmla="*/ 1355135 w 6884782"/>
              <a:gd name="connsiteY32848" fmla="*/ 2471392 h 5973007"/>
              <a:gd name="connsiteX32849" fmla="*/ 5397599 w 6884782"/>
              <a:gd name="connsiteY32849" fmla="*/ 2470499 h 5973007"/>
              <a:gd name="connsiteX32850" fmla="*/ 5400587 w 6884782"/>
              <a:gd name="connsiteY32850" fmla="*/ 2471495 h 5973007"/>
              <a:gd name="connsiteX32851" fmla="*/ 5396318 w 6884782"/>
              <a:gd name="connsiteY32851" fmla="*/ 2473629 h 5973007"/>
              <a:gd name="connsiteX32852" fmla="*/ 5393971 w 6884782"/>
              <a:gd name="connsiteY32852" fmla="*/ 2470925 h 5973007"/>
              <a:gd name="connsiteX32853" fmla="*/ 5397599 w 6884782"/>
              <a:gd name="connsiteY32853" fmla="*/ 2470499 h 5973007"/>
              <a:gd name="connsiteX32854" fmla="*/ 1172165 w 6884782"/>
              <a:gd name="connsiteY32854" fmla="*/ 2470308 h 5973007"/>
              <a:gd name="connsiteX32855" fmla="*/ 1173920 w 6884782"/>
              <a:gd name="connsiteY32855" fmla="*/ 2470928 h 5973007"/>
              <a:gd name="connsiteX32856" fmla="*/ 1173404 w 6884782"/>
              <a:gd name="connsiteY32856" fmla="*/ 2475265 h 5973007"/>
              <a:gd name="connsiteX32857" fmla="*/ 1172474 w 6884782"/>
              <a:gd name="connsiteY32857" fmla="*/ 2474491 h 5973007"/>
              <a:gd name="connsiteX32858" fmla="*/ 1172268 w 6884782"/>
              <a:gd name="connsiteY32858" fmla="*/ 2474800 h 5973007"/>
              <a:gd name="connsiteX32859" fmla="*/ 1171442 w 6884782"/>
              <a:gd name="connsiteY32859" fmla="*/ 2472941 h 5973007"/>
              <a:gd name="connsiteX32860" fmla="*/ 1172165 w 6884782"/>
              <a:gd name="connsiteY32860" fmla="*/ 2470308 h 5973007"/>
              <a:gd name="connsiteX32861" fmla="*/ 5402721 w 6884782"/>
              <a:gd name="connsiteY32861" fmla="*/ 2469503 h 5973007"/>
              <a:gd name="connsiteX32862" fmla="*/ 5403788 w 6884782"/>
              <a:gd name="connsiteY32862" fmla="*/ 2470072 h 5973007"/>
              <a:gd name="connsiteX32863" fmla="*/ 5401440 w 6884782"/>
              <a:gd name="connsiteY32863" fmla="*/ 2471210 h 5973007"/>
              <a:gd name="connsiteX32864" fmla="*/ 5401013 w 6884782"/>
              <a:gd name="connsiteY32864" fmla="*/ 2470214 h 5973007"/>
              <a:gd name="connsiteX32865" fmla="*/ 5402721 w 6884782"/>
              <a:gd name="connsiteY32865" fmla="*/ 2469503 h 5973007"/>
              <a:gd name="connsiteX32866" fmla="*/ 993635 w 6884782"/>
              <a:gd name="connsiteY32866" fmla="*/ 2468760 h 5973007"/>
              <a:gd name="connsiteX32867" fmla="*/ 1001895 w 6884782"/>
              <a:gd name="connsiteY32867" fmla="*/ 2472632 h 5973007"/>
              <a:gd name="connsiteX32868" fmla="*/ 1003031 w 6884782"/>
              <a:gd name="connsiteY32868" fmla="*/ 2471083 h 5973007"/>
              <a:gd name="connsiteX32869" fmla="*/ 1008194 w 6884782"/>
              <a:gd name="connsiteY32869" fmla="*/ 2469379 h 5973007"/>
              <a:gd name="connsiteX32870" fmla="*/ 1013667 w 6884782"/>
              <a:gd name="connsiteY32870" fmla="*/ 2470153 h 5973007"/>
              <a:gd name="connsiteX32871" fmla="*/ 1010362 w 6884782"/>
              <a:gd name="connsiteY32871" fmla="*/ 2474800 h 5973007"/>
              <a:gd name="connsiteX32872" fmla="*/ 1006335 w 6884782"/>
              <a:gd name="connsiteY32872" fmla="*/ 2474646 h 5973007"/>
              <a:gd name="connsiteX32873" fmla="*/ 1010465 w 6884782"/>
              <a:gd name="connsiteY32873" fmla="*/ 2476659 h 5973007"/>
              <a:gd name="connsiteX32874" fmla="*/ 1010982 w 6884782"/>
              <a:gd name="connsiteY32874" fmla="*/ 2489825 h 5973007"/>
              <a:gd name="connsiteX32875" fmla="*/ 993635 w 6884782"/>
              <a:gd name="connsiteY32875" fmla="*/ 2468760 h 5973007"/>
              <a:gd name="connsiteX32876" fmla="*/ 752428 w 6884782"/>
              <a:gd name="connsiteY32876" fmla="*/ 2468760 h 5973007"/>
              <a:gd name="connsiteX32877" fmla="*/ 757901 w 6884782"/>
              <a:gd name="connsiteY32877" fmla="*/ 2469534 h 5973007"/>
              <a:gd name="connsiteX32878" fmla="*/ 758933 w 6884782"/>
              <a:gd name="connsiteY32878" fmla="*/ 2471857 h 5973007"/>
              <a:gd name="connsiteX32879" fmla="*/ 756249 w 6884782"/>
              <a:gd name="connsiteY32879" fmla="*/ 2472167 h 5973007"/>
              <a:gd name="connsiteX32880" fmla="*/ 755320 w 6884782"/>
              <a:gd name="connsiteY32880" fmla="*/ 2470773 h 5973007"/>
              <a:gd name="connsiteX32881" fmla="*/ 752531 w 6884782"/>
              <a:gd name="connsiteY32881" fmla="*/ 2470308 h 5973007"/>
              <a:gd name="connsiteX32882" fmla="*/ 752428 w 6884782"/>
              <a:gd name="connsiteY32882" fmla="*/ 2468760 h 5973007"/>
              <a:gd name="connsiteX32883" fmla="*/ 1221831 w 6884782"/>
              <a:gd name="connsiteY32883" fmla="*/ 2467985 h 5973007"/>
              <a:gd name="connsiteX32884" fmla="*/ 1225238 w 6884782"/>
              <a:gd name="connsiteY32884" fmla="*/ 2470618 h 5973007"/>
              <a:gd name="connsiteX32885" fmla="*/ 1221315 w 6884782"/>
              <a:gd name="connsiteY32885" fmla="*/ 2470773 h 5973007"/>
              <a:gd name="connsiteX32886" fmla="*/ 1221831 w 6884782"/>
              <a:gd name="connsiteY32886" fmla="*/ 2467985 h 5973007"/>
              <a:gd name="connsiteX32887" fmla="*/ 5409337 w 6884782"/>
              <a:gd name="connsiteY32887" fmla="*/ 2467226 h 5973007"/>
              <a:gd name="connsiteX32888" fmla="*/ 5408483 w 6884782"/>
              <a:gd name="connsiteY32888" fmla="*/ 2468791 h 5973007"/>
              <a:gd name="connsiteX32889" fmla="*/ 5406563 w 6884782"/>
              <a:gd name="connsiteY32889" fmla="*/ 2467369 h 5973007"/>
              <a:gd name="connsiteX32890" fmla="*/ 5409337 w 6884782"/>
              <a:gd name="connsiteY32890" fmla="*/ 2467226 h 5973007"/>
              <a:gd name="connsiteX32891" fmla="*/ 1201283 w 6884782"/>
              <a:gd name="connsiteY32891" fmla="*/ 2467056 h 5973007"/>
              <a:gd name="connsiteX32892" fmla="*/ 1205104 w 6884782"/>
              <a:gd name="connsiteY32892" fmla="*/ 2477743 h 5973007"/>
              <a:gd name="connsiteX32893" fmla="*/ 1204794 w 6884782"/>
              <a:gd name="connsiteY32893" fmla="*/ 2490290 h 5973007"/>
              <a:gd name="connsiteX32894" fmla="*/ 1198495 w 6884782"/>
              <a:gd name="connsiteY32894" fmla="*/ 2479602 h 5973007"/>
              <a:gd name="connsiteX32895" fmla="*/ 1201283 w 6884782"/>
              <a:gd name="connsiteY32895" fmla="*/ 2467056 h 5973007"/>
              <a:gd name="connsiteX32896" fmla="*/ 1279448 w 6884782"/>
              <a:gd name="connsiteY32896" fmla="*/ 2466281 h 5973007"/>
              <a:gd name="connsiteX32897" fmla="*/ 1271704 w 6884782"/>
              <a:gd name="connsiteY32897" fmla="*/ 2470618 h 5973007"/>
              <a:gd name="connsiteX32898" fmla="*/ 1271807 w 6884782"/>
              <a:gd name="connsiteY32898" fmla="*/ 2466901 h 5973007"/>
              <a:gd name="connsiteX32899" fmla="*/ 1279448 w 6884782"/>
              <a:gd name="connsiteY32899" fmla="*/ 2466281 h 5973007"/>
              <a:gd name="connsiteX32900" fmla="*/ 1307224 w 6884782"/>
              <a:gd name="connsiteY32900" fmla="*/ 2465817 h 5973007"/>
              <a:gd name="connsiteX32901" fmla="*/ 1309908 w 6884782"/>
              <a:gd name="connsiteY32901" fmla="*/ 2476194 h 5973007"/>
              <a:gd name="connsiteX32902" fmla="*/ 1301648 w 6884782"/>
              <a:gd name="connsiteY32902" fmla="*/ 2474336 h 5973007"/>
              <a:gd name="connsiteX32903" fmla="*/ 1307224 w 6884782"/>
              <a:gd name="connsiteY32903" fmla="*/ 2465817 h 5973007"/>
              <a:gd name="connsiteX32904" fmla="*/ 1243928 w 6884782"/>
              <a:gd name="connsiteY32904" fmla="*/ 2464732 h 5973007"/>
              <a:gd name="connsiteX32905" fmla="*/ 1249813 w 6884782"/>
              <a:gd name="connsiteY32905" fmla="*/ 2469379 h 5973007"/>
              <a:gd name="connsiteX32906" fmla="*/ 1248678 w 6884782"/>
              <a:gd name="connsiteY32906" fmla="*/ 2471238 h 5973007"/>
              <a:gd name="connsiteX32907" fmla="*/ 1248574 w 6884782"/>
              <a:gd name="connsiteY32907" fmla="*/ 2471392 h 5973007"/>
              <a:gd name="connsiteX32908" fmla="*/ 1249607 w 6884782"/>
              <a:gd name="connsiteY32908" fmla="*/ 2471857 h 5973007"/>
              <a:gd name="connsiteX32909" fmla="*/ 1251775 w 6884782"/>
              <a:gd name="connsiteY32909" fmla="*/ 2473096 h 5973007"/>
              <a:gd name="connsiteX32910" fmla="*/ 1253737 w 6884782"/>
              <a:gd name="connsiteY32910" fmla="*/ 2473406 h 5973007"/>
              <a:gd name="connsiteX32911" fmla="*/ 1256525 w 6884782"/>
              <a:gd name="connsiteY32911" fmla="*/ 2476194 h 5973007"/>
              <a:gd name="connsiteX32912" fmla="*/ 1254563 w 6884782"/>
              <a:gd name="connsiteY32912" fmla="*/ 2475730 h 5973007"/>
              <a:gd name="connsiteX32913" fmla="*/ 1252395 w 6884782"/>
              <a:gd name="connsiteY32913" fmla="*/ 2474646 h 5973007"/>
              <a:gd name="connsiteX32914" fmla="*/ 1250743 w 6884782"/>
              <a:gd name="connsiteY32914" fmla="*/ 2475110 h 5973007"/>
              <a:gd name="connsiteX32915" fmla="*/ 1247129 w 6884782"/>
              <a:gd name="connsiteY32915" fmla="*/ 2473561 h 5973007"/>
              <a:gd name="connsiteX32916" fmla="*/ 1246819 w 6884782"/>
              <a:gd name="connsiteY32916" fmla="*/ 2472941 h 5973007"/>
              <a:gd name="connsiteX32917" fmla="*/ 1241140 w 6884782"/>
              <a:gd name="connsiteY32917" fmla="*/ 2473716 h 5973007"/>
              <a:gd name="connsiteX32918" fmla="*/ 1234015 w 6884782"/>
              <a:gd name="connsiteY32918" fmla="*/ 2471857 h 5973007"/>
              <a:gd name="connsiteX32919" fmla="*/ 1233912 w 6884782"/>
              <a:gd name="connsiteY32919" fmla="*/ 2469689 h 5973007"/>
              <a:gd name="connsiteX32920" fmla="*/ 1238765 w 6884782"/>
              <a:gd name="connsiteY32920" fmla="*/ 2465197 h 5973007"/>
              <a:gd name="connsiteX32921" fmla="*/ 1243928 w 6884782"/>
              <a:gd name="connsiteY32921" fmla="*/ 2464732 h 5973007"/>
              <a:gd name="connsiteX32922" fmla="*/ 1062300 w 6884782"/>
              <a:gd name="connsiteY32922" fmla="*/ 2464732 h 5973007"/>
              <a:gd name="connsiteX32923" fmla="*/ 1061784 w 6884782"/>
              <a:gd name="connsiteY32923" fmla="*/ 2467210 h 5973007"/>
              <a:gd name="connsiteX32924" fmla="*/ 1059306 w 6884782"/>
              <a:gd name="connsiteY32924" fmla="*/ 2467520 h 5973007"/>
              <a:gd name="connsiteX32925" fmla="*/ 1057654 w 6884782"/>
              <a:gd name="connsiteY32925" fmla="*/ 2468450 h 5973007"/>
              <a:gd name="connsiteX32926" fmla="*/ 1055279 w 6884782"/>
              <a:gd name="connsiteY32926" fmla="*/ 2466901 h 5973007"/>
              <a:gd name="connsiteX32927" fmla="*/ 1056931 w 6884782"/>
              <a:gd name="connsiteY32927" fmla="*/ 2466126 h 5973007"/>
              <a:gd name="connsiteX32928" fmla="*/ 1062300 w 6884782"/>
              <a:gd name="connsiteY32928" fmla="*/ 2464732 h 5973007"/>
              <a:gd name="connsiteX32929" fmla="*/ 1150688 w 6884782"/>
              <a:gd name="connsiteY32929" fmla="*/ 2463958 h 5973007"/>
              <a:gd name="connsiteX32930" fmla="*/ 1154611 w 6884782"/>
              <a:gd name="connsiteY32930" fmla="*/ 2471857 h 5973007"/>
              <a:gd name="connsiteX32931" fmla="*/ 1143460 w 6884782"/>
              <a:gd name="connsiteY32931" fmla="*/ 2482390 h 5973007"/>
              <a:gd name="connsiteX32932" fmla="*/ 1143047 w 6884782"/>
              <a:gd name="connsiteY32932" fmla="*/ 2481616 h 5973007"/>
              <a:gd name="connsiteX32933" fmla="*/ 1139536 w 6884782"/>
              <a:gd name="connsiteY32933" fmla="*/ 2485489 h 5973007"/>
              <a:gd name="connsiteX32934" fmla="*/ 1133857 w 6884782"/>
              <a:gd name="connsiteY32934" fmla="*/ 2481151 h 5973007"/>
              <a:gd name="connsiteX32935" fmla="*/ 1131792 w 6884782"/>
              <a:gd name="connsiteY32935" fmla="*/ 2476349 h 5973007"/>
              <a:gd name="connsiteX32936" fmla="*/ 1128797 w 6884782"/>
              <a:gd name="connsiteY32936" fmla="*/ 2479757 h 5973007"/>
              <a:gd name="connsiteX32937" fmla="*/ 1120124 w 6884782"/>
              <a:gd name="connsiteY32937" fmla="*/ 2480841 h 5973007"/>
              <a:gd name="connsiteX32938" fmla="*/ 1118678 w 6884782"/>
              <a:gd name="connsiteY32938" fmla="*/ 2478673 h 5973007"/>
              <a:gd name="connsiteX32939" fmla="*/ 1130553 w 6884782"/>
              <a:gd name="connsiteY32939" fmla="*/ 2467520 h 5973007"/>
              <a:gd name="connsiteX32940" fmla="*/ 1131379 w 6884782"/>
              <a:gd name="connsiteY32940" fmla="*/ 2467830 h 5973007"/>
              <a:gd name="connsiteX32941" fmla="*/ 1132308 w 6884782"/>
              <a:gd name="connsiteY32941" fmla="*/ 2467675 h 5973007"/>
              <a:gd name="connsiteX32942" fmla="*/ 1136851 w 6884782"/>
              <a:gd name="connsiteY32942" fmla="*/ 2470153 h 5973007"/>
              <a:gd name="connsiteX32943" fmla="*/ 1150688 w 6884782"/>
              <a:gd name="connsiteY32943" fmla="*/ 2463958 h 5973007"/>
              <a:gd name="connsiteX32944" fmla="*/ 761721 w 6884782"/>
              <a:gd name="connsiteY32944" fmla="*/ 2463183 h 5973007"/>
              <a:gd name="connsiteX32945" fmla="*/ 763580 w 6884782"/>
              <a:gd name="connsiteY32945" fmla="*/ 2464577 h 5973007"/>
              <a:gd name="connsiteX32946" fmla="*/ 765335 w 6884782"/>
              <a:gd name="connsiteY32946" fmla="*/ 2465197 h 5973007"/>
              <a:gd name="connsiteX32947" fmla="*/ 765438 w 6884782"/>
              <a:gd name="connsiteY32947" fmla="*/ 2467830 h 5973007"/>
              <a:gd name="connsiteX32948" fmla="*/ 763683 w 6884782"/>
              <a:gd name="connsiteY32948" fmla="*/ 2467210 h 5973007"/>
              <a:gd name="connsiteX32949" fmla="*/ 759140 w 6884782"/>
              <a:gd name="connsiteY32949" fmla="*/ 2464267 h 5973007"/>
              <a:gd name="connsiteX32950" fmla="*/ 761721 w 6884782"/>
              <a:gd name="connsiteY32950" fmla="*/ 2463183 h 5973007"/>
              <a:gd name="connsiteX32951" fmla="*/ 6156093 w 6884782"/>
              <a:gd name="connsiteY32951" fmla="*/ 2462959 h 5973007"/>
              <a:gd name="connsiteX32952" fmla="*/ 6144781 w 6884782"/>
              <a:gd name="connsiteY32952" fmla="*/ 2475194 h 5973007"/>
              <a:gd name="connsiteX32953" fmla="*/ 6140940 w 6884782"/>
              <a:gd name="connsiteY32953" fmla="*/ 2471922 h 5973007"/>
              <a:gd name="connsiteX32954" fmla="*/ 6156093 w 6884782"/>
              <a:gd name="connsiteY32954" fmla="*/ 2462959 h 5973007"/>
              <a:gd name="connsiteX32955" fmla="*/ 583295 w 6884782"/>
              <a:gd name="connsiteY32955" fmla="*/ 2462718 h 5973007"/>
              <a:gd name="connsiteX32956" fmla="*/ 583295 w 6884782"/>
              <a:gd name="connsiteY32956" fmla="*/ 2463493 h 5973007"/>
              <a:gd name="connsiteX32957" fmla="*/ 584121 w 6884782"/>
              <a:gd name="connsiteY32957" fmla="*/ 2462718 h 5973007"/>
              <a:gd name="connsiteX32958" fmla="*/ 585566 w 6884782"/>
              <a:gd name="connsiteY32958" fmla="*/ 2474646 h 5973007"/>
              <a:gd name="connsiteX32959" fmla="*/ 584740 w 6884782"/>
              <a:gd name="connsiteY32959" fmla="*/ 2474646 h 5973007"/>
              <a:gd name="connsiteX32960" fmla="*/ 582882 w 6884782"/>
              <a:gd name="connsiteY32960" fmla="*/ 2465817 h 5973007"/>
              <a:gd name="connsiteX32961" fmla="*/ 583295 w 6884782"/>
              <a:gd name="connsiteY32961" fmla="*/ 2462718 h 5973007"/>
              <a:gd name="connsiteX32962" fmla="*/ 5427691 w 6884782"/>
              <a:gd name="connsiteY32962" fmla="*/ 2462105 h 5973007"/>
              <a:gd name="connsiteX32963" fmla="*/ 5409337 w 6884782"/>
              <a:gd name="connsiteY32963" fmla="*/ 2467369 h 5973007"/>
              <a:gd name="connsiteX32964" fmla="*/ 5427691 w 6884782"/>
              <a:gd name="connsiteY32964" fmla="*/ 2462105 h 5973007"/>
              <a:gd name="connsiteX32965" fmla="*/ 1411616 w 6884782"/>
              <a:gd name="connsiteY32965" fmla="*/ 2462099 h 5973007"/>
              <a:gd name="connsiteX32966" fmla="*/ 1411203 w 6884782"/>
              <a:gd name="connsiteY32966" fmla="*/ 2462409 h 5973007"/>
              <a:gd name="connsiteX32967" fmla="*/ 1408105 w 6884782"/>
              <a:gd name="connsiteY32967" fmla="*/ 2466746 h 5973007"/>
              <a:gd name="connsiteX32968" fmla="*/ 1408002 w 6884782"/>
              <a:gd name="connsiteY32968" fmla="*/ 2467056 h 5973007"/>
              <a:gd name="connsiteX32969" fmla="*/ 1410377 w 6884782"/>
              <a:gd name="connsiteY32969" fmla="*/ 2465352 h 5973007"/>
              <a:gd name="connsiteX32970" fmla="*/ 1414404 w 6884782"/>
              <a:gd name="connsiteY32970" fmla="*/ 2464732 h 5973007"/>
              <a:gd name="connsiteX32971" fmla="*/ 1413578 w 6884782"/>
              <a:gd name="connsiteY32971" fmla="*/ 2464732 h 5973007"/>
              <a:gd name="connsiteX32972" fmla="*/ 573692 w 6884782"/>
              <a:gd name="connsiteY32972" fmla="*/ 2461014 h 5973007"/>
              <a:gd name="connsiteX32973" fmla="*/ 577203 w 6884782"/>
              <a:gd name="connsiteY32973" fmla="*/ 2461324 h 5973007"/>
              <a:gd name="connsiteX32974" fmla="*/ 577203 w 6884782"/>
              <a:gd name="connsiteY32974" fmla="*/ 2463028 h 5973007"/>
              <a:gd name="connsiteX32975" fmla="*/ 581436 w 6884782"/>
              <a:gd name="connsiteY32975" fmla="*/ 2476039 h 5973007"/>
              <a:gd name="connsiteX32976" fmla="*/ 573692 w 6884782"/>
              <a:gd name="connsiteY32976" fmla="*/ 2461014 h 5973007"/>
              <a:gd name="connsiteX32977" fmla="*/ 6278596 w 6884782"/>
              <a:gd name="connsiteY32977" fmla="*/ 2460540 h 5973007"/>
              <a:gd name="connsiteX32978" fmla="*/ 6287559 w 6884782"/>
              <a:gd name="connsiteY32978" fmla="*/ 2476190 h 5973007"/>
              <a:gd name="connsiteX32979" fmla="*/ 6281370 w 6884782"/>
              <a:gd name="connsiteY32979" fmla="*/ 2478750 h 5973007"/>
              <a:gd name="connsiteX32980" fmla="*/ 6278596 w 6884782"/>
              <a:gd name="connsiteY32980" fmla="*/ 2460540 h 5973007"/>
              <a:gd name="connsiteX32981" fmla="*/ 4839079 w 6884782"/>
              <a:gd name="connsiteY32981" fmla="*/ 2460540 h 5973007"/>
              <a:gd name="connsiteX32982" fmla="*/ 4874720 w 6884782"/>
              <a:gd name="connsiteY32982" fmla="*/ 2484015 h 5973007"/>
              <a:gd name="connsiteX32983" fmla="*/ 4850604 w 6884782"/>
              <a:gd name="connsiteY32983" fmla="*/ 2480885 h 5973007"/>
              <a:gd name="connsiteX32984" fmla="*/ 4839079 w 6884782"/>
              <a:gd name="connsiteY32984" fmla="*/ 2460540 h 5973007"/>
              <a:gd name="connsiteX32985" fmla="*/ 1332005 w 6884782"/>
              <a:gd name="connsiteY32985" fmla="*/ 2460085 h 5973007"/>
              <a:gd name="connsiteX32986" fmla="*/ 1318892 w 6884782"/>
              <a:gd name="connsiteY32986" fmla="*/ 2500049 h 5973007"/>
              <a:gd name="connsiteX32987" fmla="*/ 1310528 w 6884782"/>
              <a:gd name="connsiteY32987" fmla="*/ 2494627 h 5973007"/>
              <a:gd name="connsiteX32988" fmla="*/ 1325191 w 6884782"/>
              <a:gd name="connsiteY32988" fmla="*/ 2470153 h 5973007"/>
              <a:gd name="connsiteX32989" fmla="*/ 1316001 w 6884782"/>
              <a:gd name="connsiteY32989" fmla="*/ 2472941 h 5973007"/>
              <a:gd name="connsiteX32990" fmla="*/ 1325294 w 6884782"/>
              <a:gd name="connsiteY32990" fmla="*/ 2469999 h 5973007"/>
              <a:gd name="connsiteX32991" fmla="*/ 1332005 w 6884782"/>
              <a:gd name="connsiteY32991" fmla="*/ 2460085 h 5973007"/>
              <a:gd name="connsiteX32992" fmla="*/ 851309 w 6884782"/>
              <a:gd name="connsiteY32992" fmla="*/ 2460047 h 5973007"/>
              <a:gd name="connsiteX32993" fmla="*/ 875200 w 6884782"/>
              <a:gd name="connsiteY32993" fmla="*/ 2464113 h 5973007"/>
              <a:gd name="connsiteX32994" fmla="*/ 873445 w 6884782"/>
              <a:gd name="connsiteY32994" fmla="*/ 2473096 h 5973007"/>
              <a:gd name="connsiteX32995" fmla="*/ 861983 w 6884782"/>
              <a:gd name="connsiteY32995" fmla="*/ 2470618 h 5973007"/>
              <a:gd name="connsiteX32996" fmla="*/ 860434 w 6884782"/>
              <a:gd name="connsiteY32996" fmla="*/ 2470928 h 5973007"/>
              <a:gd name="connsiteX32997" fmla="*/ 858266 w 6884782"/>
              <a:gd name="connsiteY32997" fmla="*/ 2470463 h 5973007"/>
              <a:gd name="connsiteX32998" fmla="*/ 857853 w 6884782"/>
              <a:gd name="connsiteY32998" fmla="*/ 2469689 h 5973007"/>
              <a:gd name="connsiteX32999" fmla="*/ 850832 w 6884782"/>
              <a:gd name="connsiteY32999" fmla="*/ 2468140 h 5973007"/>
              <a:gd name="connsiteX33000" fmla="*/ 830284 w 6884782"/>
              <a:gd name="connsiteY33000" fmla="*/ 2463183 h 5973007"/>
              <a:gd name="connsiteX33001" fmla="*/ 851309 w 6884782"/>
              <a:gd name="connsiteY33001" fmla="*/ 2460047 h 5973007"/>
              <a:gd name="connsiteX33002" fmla="*/ 1229265 w 6884782"/>
              <a:gd name="connsiteY33002" fmla="*/ 2459775 h 5973007"/>
              <a:gd name="connsiteX33003" fmla="*/ 1238249 w 6884782"/>
              <a:gd name="connsiteY33003" fmla="*/ 2460550 h 5973007"/>
              <a:gd name="connsiteX33004" fmla="*/ 1225342 w 6884782"/>
              <a:gd name="connsiteY33004" fmla="*/ 2466591 h 5973007"/>
              <a:gd name="connsiteX33005" fmla="*/ 1225032 w 6884782"/>
              <a:gd name="connsiteY33005" fmla="*/ 2464267 h 5973007"/>
              <a:gd name="connsiteX33006" fmla="*/ 1229265 w 6884782"/>
              <a:gd name="connsiteY33006" fmla="*/ 2459775 h 5973007"/>
              <a:gd name="connsiteX33007" fmla="*/ 859505 w 6884782"/>
              <a:gd name="connsiteY33007" fmla="*/ 2456988 h 5973007"/>
              <a:gd name="connsiteX33008" fmla="*/ 861983 w 6884782"/>
              <a:gd name="connsiteY33008" fmla="*/ 2459466 h 5973007"/>
              <a:gd name="connsiteX33009" fmla="*/ 858576 w 6884782"/>
              <a:gd name="connsiteY33009" fmla="*/ 2460395 h 5973007"/>
              <a:gd name="connsiteX33010" fmla="*/ 858163 w 6884782"/>
              <a:gd name="connsiteY33010" fmla="*/ 2459001 h 5973007"/>
              <a:gd name="connsiteX33011" fmla="*/ 859505 w 6884782"/>
              <a:gd name="connsiteY33011" fmla="*/ 2456988 h 5973007"/>
              <a:gd name="connsiteX33012" fmla="*/ 1099886 w 6884782"/>
              <a:gd name="connsiteY33012" fmla="*/ 2456832 h 5973007"/>
              <a:gd name="connsiteX33013" fmla="*/ 1105978 w 6884782"/>
              <a:gd name="connsiteY33013" fmla="*/ 2467056 h 5973007"/>
              <a:gd name="connsiteX33014" fmla="*/ 1109385 w 6884782"/>
              <a:gd name="connsiteY33014" fmla="*/ 2469844 h 5973007"/>
              <a:gd name="connsiteX33015" fmla="*/ 1110005 w 6884782"/>
              <a:gd name="connsiteY33015" fmla="*/ 2469224 h 5973007"/>
              <a:gd name="connsiteX33016" fmla="*/ 1109798 w 6884782"/>
              <a:gd name="connsiteY33016" fmla="*/ 2468914 h 5973007"/>
              <a:gd name="connsiteX33017" fmla="*/ 1115477 w 6884782"/>
              <a:gd name="connsiteY33017" fmla="*/ 2465971 h 5973007"/>
              <a:gd name="connsiteX33018" fmla="*/ 1115064 w 6884782"/>
              <a:gd name="connsiteY33018" fmla="*/ 2474491 h 5973007"/>
              <a:gd name="connsiteX33019" fmla="*/ 1114858 w 6884782"/>
              <a:gd name="connsiteY33019" fmla="*/ 2474955 h 5973007"/>
              <a:gd name="connsiteX33020" fmla="*/ 1116406 w 6884782"/>
              <a:gd name="connsiteY33020" fmla="*/ 2477898 h 5973007"/>
              <a:gd name="connsiteX33021" fmla="*/ 1116923 w 6884782"/>
              <a:gd name="connsiteY33021" fmla="*/ 2481771 h 5973007"/>
              <a:gd name="connsiteX33022" fmla="*/ 1115580 w 6884782"/>
              <a:gd name="connsiteY33022" fmla="*/ 2487812 h 5973007"/>
              <a:gd name="connsiteX33023" fmla="*/ 1117439 w 6884782"/>
              <a:gd name="connsiteY33023" fmla="*/ 2488121 h 5973007"/>
              <a:gd name="connsiteX33024" fmla="*/ 1113515 w 6884782"/>
              <a:gd name="connsiteY33024" fmla="*/ 2491994 h 5973007"/>
              <a:gd name="connsiteX33025" fmla="*/ 1113309 w 6884782"/>
              <a:gd name="connsiteY33025" fmla="*/ 2491994 h 5973007"/>
              <a:gd name="connsiteX33026" fmla="*/ 1111450 w 6884782"/>
              <a:gd name="connsiteY33026" fmla="*/ 2494162 h 5973007"/>
              <a:gd name="connsiteX33027" fmla="*/ 1111760 w 6884782"/>
              <a:gd name="connsiteY33027" fmla="*/ 2494162 h 5973007"/>
              <a:gd name="connsiteX33028" fmla="*/ 1113722 w 6884782"/>
              <a:gd name="connsiteY33028" fmla="*/ 2494937 h 5973007"/>
              <a:gd name="connsiteX33029" fmla="*/ 1114341 w 6884782"/>
              <a:gd name="connsiteY33029" fmla="*/ 2496331 h 5973007"/>
              <a:gd name="connsiteX33030" fmla="*/ 1116716 w 6884782"/>
              <a:gd name="connsiteY33030" fmla="*/ 2496795 h 5973007"/>
              <a:gd name="connsiteX33031" fmla="*/ 1122912 w 6884782"/>
              <a:gd name="connsiteY33031" fmla="*/ 2499429 h 5973007"/>
              <a:gd name="connsiteX33032" fmla="*/ 1132204 w 6884782"/>
              <a:gd name="connsiteY33032" fmla="*/ 2505780 h 5973007"/>
              <a:gd name="connsiteX33033" fmla="*/ 1132204 w 6884782"/>
              <a:gd name="connsiteY33033" fmla="*/ 2506089 h 5973007"/>
              <a:gd name="connsiteX33034" fmla="*/ 1134373 w 6884782"/>
              <a:gd name="connsiteY33034" fmla="*/ 2507483 h 5973007"/>
              <a:gd name="connsiteX33035" fmla="*/ 1134373 w 6884782"/>
              <a:gd name="connsiteY33035" fmla="*/ 2514609 h 5973007"/>
              <a:gd name="connsiteX33036" fmla="*/ 1129830 w 6884782"/>
              <a:gd name="connsiteY33036" fmla="*/ 2511511 h 5973007"/>
              <a:gd name="connsiteX33037" fmla="*/ 1128384 w 6884782"/>
              <a:gd name="connsiteY33037" fmla="*/ 2513370 h 5973007"/>
              <a:gd name="connsiteX33038" fmla="*/ 1121053 w 6884782"/>
              <a:gd name="connsiteY33038" fmla="*/ 2514609 h 5973007"/>
              <a:gd name="connsiteX33039" fmla="*/ 1120021 w 6884782"/>
              <a:gd name="connsiteY33039" fmla="*/ 2514299 h 5973007"/>
              <a:gd name="connsiteX33040" fmla="*/ 1120330 w 6884782"/>
              <a:gd name="connsiteY33040" fmla="*/ 2524522 h 5973007"/>
              <a:gd name="connsiteX33041" fmla="*/ 1120640 w 6884782"/>
              <a:gd name="connsiteY33041" fmla="*/ 2527465 h 5973007"/>
              <a:gd name="connsiteX33042" fmla="*/ 1121569 w 6884782"/>
              <a:gd name="connsiteY33042" fmla="*/ 2528084 h 5973007"/>
              <a:gd name="connsiteX33043" fmla="*/ 1124254 w 6884782"/>
              <a:gd name="connsiteY33043" fmla="*/ 2530253 h 5973007"/>
              <a:gd name="connsiteX33044" fmla="*/ 1121776 w 6884782"/>
              <a:gd name="connsiteY33044" fmla="*/ 2532577 h 5973007"/>
              <a:gd name="connsiteX33045" fmla="*/ 1121260 w 6884782"/>
              <a:gd name="connsiteY33045" fmla="*/ 2532731 h 5973007"/>
              <a:gd name="connsiteX33046" fmla="*/ 1121260 w 6884782"/>
              <a:gd name="connsiteY33046" fmla="*/ 2533196 h 5973007"/>
              <a:gd name="connsiteX33047" fmla="*/ 1120950 w 6884782"/>
              <a:gd name="connsiteY33047" fmla="*/ 2532886 h 5973007"/>
              <a:gd name="connsiteX33048" fmla="*/ 1119814 w 6884782"/>
              <a:gd name="connsiteY33048" fmla="*/ 2533351 h 5973007"/>
              <a:gd name="connsiteX33049" fmla="*/ 1117026 w 6884782"/>
              <a:gd name="connsiteY33049" fmla="*/ 2533041 h 5973007"/>
              <a:gd name="connsiteX33050" fmla="*/ 1115374 w 6884782"/>
              <a:gd name="connsiteY33050" fmla="*/ 2531802 h 5973007"/>
              <a:gd name="connsiteX33051" fmla="*/ 1113515 w 6884782"/>
              <a:gd name="connsiteY33051" fmla="*/ 2530253 h 5973007"/>
              <a:gd name="connsiteX33052" fmla="*/ 1113309 w 6884782"/>
              <a:gd name="connsiteY33052" fmla="*/ 2529788 h 5973007"/>
              <a:gd name="connsiteX33053" fmla="*/ 1111966 w 6884782"/>
              <a:gd name="connsiteY33053" fmla="*/ 2529479 h 5973007"/>
              <a:gd name="connsiteX33054" fmla="*/ 1102467 w 6884782"/>
              <a:gd name="connsiteY33054" fmla="*/ 2529479 h 5973007"/>
              <a:gd name="connsiteX33055" fmla="*/ 1102364 w 6884782"/>
              <a:gd name="connsiteY33055" fmla="*/ 2531182 h 5973007"/>
              <a:gd name="connsiteX33056" fmla="*/ 1100505 w 6884782"/>
              <a:gd name="connsiteY33056" fmla="*/ 2535365 h 5973007"/>
              <a:gd name="connsiteX33057" fmla="*/ 1094310 w 6884782"/>
              <a:gd name="connsiteY33057" fmla="*/ 2530408 h 5973007"/>
              <a:gd name="connsiteX33058" fmla="*/ 1094413 w 6884782"/>
              <a:gd name="connsiteY33058" fmla="*/ 2528395 h 5973007"/>
              <a:gd name="connsiteX33059" fmla="*/ 1092761 w 6884782"/>
              <a:gd name="connsiteY33059" fmla="*/ 2527930 h 5973007"/>
              <a:gd name="connsiteX33060" fmla="*/ 1089250 w 6884782"/>
              <a:gd name="connsiteY33060" fmla="*/ 2525296 h 5973007"/>
              <a:gd name="connsiteX33061" fmla="*/ 1088218 w 6884782"/>
              <a:gd name="connsiteY33061" fmla="*/ 2500203 h 5973007"/>
              <a:gd name="connsiteX33062" fmla="*/ 1088734 w 6884782"/>
              <a:gd name="connsiteY33062" fmla="*/ 2499893 h 5973007"/>
              <a:gd name="connsiteX33063" fmla="*/ 1086565 w 6884782"/>
              <a:gd name="connsiteY33063" fmla="*/ 2498499 h 5973007"/>
              <a:gd name="connsiteX33064" fmla="*/ 1086359 w 6884782"/>
              <a:gd name="connsiteY33064" fmla="*/ 2500203 h 5973007"/>
              <a:gd name="connsiteX33065" fmla="*/ 1080990 w 6884782"/>
              <a:gd name="connsiteY33065" fmla="*/ 2501442 h 5973007"/>
              <a:gd name="connsiteX33066" fmla="*/ 1080887 w 6884782"/>
              <a:gd name="connsiteY33066" fmla="*/ 2496795 h 5973007"/>
              <a:gd name="connsiteX33067" fmla="*/ 1082125 w 6884782"/>
              <a:gd name="connsiteY33067" fmla="*/ 2494937 h 5973007"/>
              <a:gd name="connsiteX33068" fmla="*/ 1079441 w 6884782"/>
              <a:gd name="connsiteY33068" fmla="*/ 2490135 h 5973007"/>
              <a:gd name="connsiteX33069" fmla="*/ 1078925 w 6884782"/>
              <a:gd name="connsiteY33069" fmla="*/ 2485953 h 5973007"/>
              <a:gd name="connsiteX33070" fmla="*/ 1079647 w 6884782"/>
              <a:gd name="connsiteY33070" fmla="*/ 2481151 h 5973007"/>
              <a:gd name="connsiteX33071" fmla="*/ 1087908 w 6884782"/>
              <a:gd name="connsiteY33071" fmla="*/ 2469379 h 5973007"/>
              <a:gd name="connsiteX33072" fmla="*/ 1090489 w 6884782"/>
              <a:gd name="connsiteY33072" fmla="*/ 2466901 h 5973007"/>
              <a:gd name="connsiteX33073" fmla="*/ 1090696 w 6884782"/>
              <a:gd name="connsiteY33073" fmla="*/ 2465661 h 5973007"/>
              <a:gd name="connsiteX33074" fmla="*/ 1092038 w 6884782"/>
              <a:gd name="connsiteY33074" fmla="*/ 2462563 h 5973007"/>
              <a:gd name="connsiteX33075" fmla="*/ 1093587 w 6884782"/>
              <a:gd name="connsiteY33075" fmla="*/ 2462099 h 5973007"/>
              <a:gd name="connsiteX33076" fmla="*/ 1093174 w 6884782"/>
              <a:gd name="connsiteY33076" fmla="*/ 2464267 h 5973007"/>
              <a:gd name="connsiteX33077" fmla="*/ 1093897 w 6884782"/>
              <a:gd name="connsiteY33077" fmla="*/ 2463648 h 5973007"/>
              <a:gd name="connsiteX33078" fmla="*/ 1099886 w 6884782"/>
              <a:gd name="connsiteY33078" fmla="*/ 2456832 h 5973007"/>
              <a:gd name="connsiteX33079" fmla="*/ 4916978 w 6884782"/>
              <a:gd name="connsiteY33079" fmla="*/ 2455987 h 5973007"/>
              <a:gd name="connsiteX33080" fmla="*/ 4918898 w 6884782"/>
              <a:gd name="connsiteY33080" fmla="*/ 2456699 h 5973007"/>
              <a:gd name="connsiteX33081" fmla="*/ 4919966 w 6884782"/>
              <a:gd name="connsiteY33081" fmla="*/ 2456272 h 5973007"/>
              <a:gd name="connsiteX33082" fmla="*/ 4919966 w 6884782"/>
              <a:gd name="connsiteY33082" fmla="*/ 2456983 h 5973007"/>
              <a:gd name="connsiteX33083" fmla="*/ 4921032 w 6884782"/>
              <a:gd name="connsiteY33083" fmla="*/ 2457410 h 5973007"/>
              <a:gd name="connsiteX33084" fmla="*/ 4925301 w 6884782"/>
              <a:gd name="connsiteY33084" fmla="*/ 2461678 h 5973007"/>
              <a:gd name="connsiteX33085" fmla="*/ 4914416 w 6884782"/>
              <a:gd name="connsiteY33085" fmla="*/ 2475479 h 5973007"/>
              <a:gd name="connsiteX33086" fmla="*/ 4916978 w 6884782"/>
              <a:gd name="connsiteY33086" fmla="*/ 2455987 h 5973007"/>
              <a:gd name="connsiteX33087" fmla="*/ 747369 w 6884782"/>
              <a:gd name="connsiteY33087" fmla="*/ 2455903 h 5973007"/>
              <a:gd name="connsiteX33088" fmla="*/ 751809 w 6884782"/>
              <a:gd name="connsiteY33088" fmla="*/ 2456213 h 5973007"/>
              <a:gd name="connsiteX33089" fmla="*/ 754906 w 6884782"/>
              <a:gd name="connsiteY33089" fmla="*/ 2463183 h 5973007"/>
              <a:gd name="connsiteX33090" fmla="*/ 751396 w 6884782"/>
              <a:gd name="connsiteY33090" fmla="*/ 2463648 h 5973007"/>
              <a:gd name="connsiteX33091" fmla="*/ 746956 w 6884782"/>
              <a:gd name="connsiteY33091" fmla="*/ 2458071 h 5973007"/>
              <a:gd name="connsiteX33092" fmla="*/ 747369 w 6884782"/>
              <a:gd name="connsiteY33092" fmla="*/ 2455903 h 5973007"/>
              <a:gd name="connsiteX33093" fmla="*/ 5083872 w 6884782"/>
              <a:gd name="connsiteY33093" fmla="*/ 2455134 h 5973007"/>
              <a:gd name="connsiteX33094" fmla="*/ 5093049 w 6884782"/>
              <a:gd name="connsiteY33094" fmla="*/ 2463243 h 5973007"/>
              <a:gd name="connsiteX33095" fmla="*/ 5082805 w 6884782"/>
              <a:gd name="connsiteY33095" fmla="*/ 2462390 h 5973007"/>
              <a:gd name="connsiteX33096" fmla="*/ 5083872 w 6884782"/>
              <a:gd name="connsiteY33096" fmla="*/ 2455134 h 5973007"/>
              <a:gd name="connsiteX33097" fmla="*/ 6146489 w 6884782"/>
              <a:gd name="connsiteY33097" fmla="*/ 2454992 h 5973007"/>
              <a:gd name="connsiteX33098" fmla="*/ 6146275 w 6884782"/>
              <a:gd name="connsiteY33098" fmla="*/ 2456130 h 5973007"/>
              <a:gd name="connsiteX33099" fmla="*/ 6146434 w 6884782"/>
              <a:gd name="connsiteY33099" fmla="*/ 2455034 h 5973007"/>
              <a:gd name="connsiteX33100" fmla="*/ 6203258 w 6884782"/>
              <a:gd name="connsiteY33100" fmla="*/ 2453427 h 5973007"/>
              <a:gd name="connsiteX33101" fmla="*/ 6178928 w 6884782"/>
              <a:gd name="connsiteY33101" fmla="*/ 2489563 h 5973007"/>
              <a:gd name="connsiteX33102" fmla="*/ 6178288 w 6884782"/>
              <a:gd name="connsiteY33102" fmla="*/ 2489990 h 5973007"/>
              <a:gd name="connsiteX33103" fmla="*/ 6181276 w 6884782"/>
              <a:gd name="connsiteY33103" fmla="*/ 2490559 h 5973007"/>
              <a:gd name="connsiteX33104" fmla="*/ 6185545 w 6884782"/>
              <a:gd name="connsiteY33104" fmla="*/ 2493546 h 5973007"/>
              <a:gd name="connsiteX33105" fmla="*/ 6187039 w 6884782"/>
              <a:gd name="connsiteY33105" fmla="*/ 2507062 h 5973007"/>
              <a:gd name="connsiteX33106" fmla="*/ 6189173 w 6884782"/>
              <a:gd name="connsiteY33106" fmla="*/ 2508627 h 5973007"/>
              <a:gd name="connsiteX33107" fmla="*/ 6191094 w 6884782"/>
              <a:gd name="connsiteY33107" fmla="*/ 2513891 h 5973007"/>
              <a:gd name="connsiteX33108" fmla="*/ 6188959 w 6884782"/>
              <a:gd name="connsiteY33108" fmla="*/ 2514602 h 5973007"/>
              <a:gd name="connsiteX33109" fmla="*/ 6185758 w 6884782"/>
              <a:gd name="connsiteY33109" fmla="*/ 2509338 h 5973007"/>
              <a:gd name="connsiteX33110" fmla="*/ 6184691 w 6884782"/>
              <a:gd name="connsiteY33110" fmla="*/ 2509053 h 5973007"/>
              <a:gd name="connsiteX33111" fmla="*/ 6182130 w 6884782"/>
              <a:gd name="connsiteY33111" fmla="*/ 2511046 h 5973007"/>
              <a:gd name="connsiteX33112" fmla="*/ 6170605 w 6884782"/>
              <a:gd name="connsiteY33112" fmla="*/ 2509196 h 5973007"/>
              <a:gd name="connsiteX33113" fmla="*/ 6167617 w 6884782"/>
              <a:gd name="connsiteY33113" fmla="*/ 2499379 h 5973007"/>
              <a:gd name="connsiteX33114" fmla="*/ 6167831 w 6884782"/>
              <a:gd name="connsiteY33114" fmla="*/ 2496961 h 5973007"/>
              <a:gd name="connsiteX33115" fmla="*/ 6165483 w 6884782"/>
              <a:gd name="connsiteY33115" fmla="*/ 2491128 h 5973007"/>
              <a:gd name="connsiteX33116" fmla="*/ 6203258 w 6884782"/>
              <a:gd name="connsiteY33116" fmla="*/ 2453427 h 5973007"/>
              <a:gd name="connsiteX33117" fmla="*/ 1348204 w 6884782"/>
              <a:gd name="connsiteY33117" fmla="*/ 2452069 h 5973007"/>
              <a:gd name="connsiteX33118" fmla="*/ 1353586 w 6884782"/>
              <a:gd name="connsiteY33118" fmla="*/ 2454199 h 5973007"/>
              <a:gd name="connsiteX33119" fmla="*/ 1354515 w 6884782"/>
              <a:gd name="connsiteY33119" fmla="*/ 2458381 h 5973007"/>
              <a:gd name="connsiteX33120" fmla="*/ 1349456 w 6884782"/>
              <a:gd name="connsiteY33120" fmla="*/ 2464113 h 5973007"/>
              <a:gd name="connsiteX33121" fmla="*/ 1342434 w 6884782"/>
              <a:gd name="connsiteY33121" fmla="*/ 2458536 h 5973007"/>
              <a:gd name="connsiteX33122" fmla="*/ 1348204 w 6884782"/>
              <a:gd name="connsiteY33122" fmla="*/ 2452069 h 5973007"/>
              <a:gd name="connsiteX33123" fmla="*/ 1277486 w 6884782"/>
              <a:gd name="connsiteY33123" fmla="*/ 2451566 h 5973007"/>
              <a:gd name="connsiteX33124" fmla="*/ 1263133 w 6884782"/>
              <a:gd name="connsiteY33124" fmla="*/ 2458846 h 5973007"/>
              <a:gd name="connsiteX33125" fmla="*/ 1277486 w 6884782"/>
              <a:gd name="connsiteY33125" fmla="*/ 2451566 h 5973007"/>
              <a:gd name="connsiteX33126" fmla="*/ 4821152 w 6884782"/>
              <a:gd name="connsiteY33126" fmla="*/ 2450866 h 5973007"/>
              <a:gd name="connsiteX33127" fmla="*/ 4828835 w 6884782"/>
              <a:gd name="connsiteY33127" fmla="*/ 2465519 h 5973007"/>
              <a:gd name="connsiteX33128" fmla="*/ 4815176 w 6884782"/>
              <a:gd name="connsiteY33128" fmla="*/ 2455703 h 5973007"/>
              <a:gd name="connsiteX33129" fmla="*/ 4821152 w 6884782"/>
              <a:gd name="connsiteY33129" fmla="*/ 2450866 h 5973007"/>
              <a:gd name="connsiteX33130" fmla="*/ 5200826 w 6884782"/>
              <a:gd name="connsiteY33130" fmla="*/ 2450581 h 5973007"/>
              <a:gd name="connsiteX33131" fmla="*/ 5200186 w 6884782"/>
              <a:gd name="connsiteY33131" fmla="*/ 2481454 h 5973007"/>
              <a:gd name="connsiteX33132" fmla="*/ 5193569 w 6884782"/>
              <a:gd name="connsiteY33132" fmla="*/ 2477327 h 5973007"/>
              <a:gd name="connsiteX33133" fmla="*/ 5200826 w 6884782"/>
              <a:gd name="connsiteY33133" fmla="*/ 2450581 h 5973007"/>
              <a:gd name="connsiteX33134" fmla="*/ 639053 w 6884782"/>
              <a:gd name="connsiteY33134" fmla="*/ 2450017 h 5973007"/>
              <a:gd name="connsiteX33135" fmla="*/ 639879 w 6884782"/>
              <a:gd name="connsiteY33135" fmla="*/ 2457762 h 5973007"/>
              <a:gd name="connsiteX33136" fmla="*/ 639776 w 6884782"/>
              <a:gd name="connsiteY33136" fmla="*/ 2461789 h 5973007"/>
              <a:gd name="connsiteX33137" fmla="*/ 638020 w 6884782"/>
              <a:gd name="connsiteY33137" fmla="*/ 2463338 h 5973007"/>
              <a:gd name="connsiteX33138" fmla="*/ 637091 w 6884782"/>
              <a:gd name="connsiteY33138" fmla="*/ 2463183 h 5973007"/>
              <a:gd name="connsiteX33139" fmla="*/ 636472 w 6884782"/>
              <a:gd name="connsiteY33139" fmla="*/ 2461324 h 5973007"/>
              <a:gd name="connsiteX33140" fmla="*/ 637297 w 6884782"/>
              <a:gd name="connsiteY33140" fmla="*/ 2453270 h 5973007"/>
              <a:gd name="connsiteX33141" fmla="*/ 637297 w 6884782"/>
              <a:gd name="connsiteY33141" fmla="*/ 2451566 h 5973007"/>
              <a:gd name="connsiteX33142" fmla="*/ 639053 w 6884782"/>
              <a:gd name="connsiteY33142" fmla="*/ 2450017 h 5973007"/>
              <a:gd name="connsiteX33143" fmla="*/ 6160361 w 6884782"/>
              <a:gd name="connsiteY33143" fmla="*/ 2448874 h 5973007"/>
              <a:gd name="connsiteX33144" fmla="*/ 6165483 w 6884782"/>
              <a:gd name="connsiteY33144" fmla="*/ 2453712 h 5973007"/>
              <a:gd name="connsiteX33145" fmla="*/ 6162495 w 6884782"/>
              <a:gd name="connsiteY33145" fmla="*/ 2458264 h 5973007"/>
              <a:gd name="connsiteX33146" fmla="*/ 6157373 w 6884782"/>
              <a:gd name="connsiteY33146" fmla="*/ 2453427 h 5973007"/>
              <a:gd name="connsiteX33147" fmla="*/ 6160361 w 6884782"/>
              <a:gd name="connsiteY33147" fmla="*/ 2448874 h 5973007"/>
              <a:gd name="connsiteX33148" fmla="*/ 855685 w 6884782"/>
              <a:gd name="connsiteY33148" fmla="*/ 2448778 h 5973007"/>
              <a:gd name="connsiteX33149" fmla="*/ 857440 w 6884782"/>
              <a:gd name="connsiteY33149" fmla="*/ 2448778 h 5973007"/>
              <a:gd name="connsiteX33150" fmla="*/ 858163 w 6884782"/>
              <a:gd name="connsiteY33150" fmla="*/ 2450017 h 5973007"/>
              <a:gd name="connsiteX33151" fmla="*/ 858679 w 6884782"/>
              <a:gd name="connsiteY33151" fmla="*/ 2449552 h 5973007"/>
              <a:gd name="connsiteX33152" fmla="*/ 861363 w 6884782"/>
              <a:gd name="connsiteY33152" fmla="*/ 2449242 h 5973007"/>
              <a:gd name="connsiteX33153" fmla="*/ 862602 w 6884782"/>
              <a:gd name="connsiteY33153" fmla="*/ 2453270 h 5973007"/>
              <a:gd name="connsiteX33154" fmla="*/ 860847 w 6884782"/>
              <a:gd name="connsiteY33154" fmla="*/ 2454509 h 5973007"/>
              <a:gd name="connsiteX33155" fmla="*/ 859298 w 6884782"/>
              <a:gd name="connsiteY33155" fmla="*/ 2454199 h 5973007"/>
              <a:gd name="connsiteX33156" fmla="*/ 858782 w 6884782"/>
              <a:gd name="connsiteY33156" fmla="*/ 2456213 h 5973007"/>
              <a:gd name="connsiteX33157" fmla="*/ 851658 w 6884782"/>
              <a:gd name="connsiteY33157" fmla="*/ 2459001 h 5973007"/>
              <a:gd name="connsiteX33158" fmla="*/ 850935 w 6884782"/>
              <a:gd name="connsiteY33158" fmla="*/ 2457297 h 5973007"/>
              <a:gd name="connsiteX33159" fmla="*/ 850419 w 6884782"/>
              <a:gd name="connsiteY33159" fmla="*/ 2455284 h 5973007"/>
              <a:gd name="connsiteX33160" fmla="*/ 852071 w 6884782"/>
              <a:gd name="connsiteY33160" fmla="*/ 2450791 h 5973007"/>
              <a:gd name="connsiteX33161" fmla="*/ 855685 w 6884782"/>
              <a:gd name="connsiteY33161" fmla="*/ 2448778 h 5973007"/>
              <a:gd name="connsiteX33162" fmla="*/ 4938320 w 6884782"/>
              <a:gd name="connsiteY33162" fmla="*/ 2447736 h 5973007"/>
              <a:gd name="connsiteX33163" fmla="*/ 4943228 w 6884782"/>
              <a:gd name="connsiteY33163" fmla="*/ 2474909 h 5973007"/>
              <a:gd name="connsiteX33164" fmla="*/ 4937679 w 6884782"/>
              <a:gd name="connsiteY33164" fmla="*/ 2480457 h 5973007"/>
              <a:gd name="connsiteX33165" fmla="*/ 4938320 w 6884782"/>
              <a:gd name="connsiteY33165" fmla="*/ 2447736 h 5973007"/>
              <a:gd name="connsiteX33166" fmla="*/ 816396 w 6884782"/>
              <a:gd name="connsiteY33166" fmla="*/ 2447151 h 5973007"/>
              <a:gd name="connsiteX33167" fmla="*/ 827496 w 6884782"/>
              <a:gd name="connsiteY33167" fmla="*/ 2454664 h 5973007"/>
              <a:gd name="connsiteX33168" fmla="*/ 815518 w 6884782"/>
              <a:gd name="connsiteY33168" fmla="*/ 2453425 h 5973007"/>
              <a:gd name="connsiteX33169" fmla="*/ 803127 w 6884782"/>
              <a:gd name="connsiteY33169" fmla="*/ 2448003 h 5973007"/>
              <a:gd name="connsiteX33170" fmla="*/ 816396 w 6884782"/>
              <a:gd name="connsiteY33170" fmla="*/ 2447151 h 5973007"/>
              <a:gd name="connsiteX33171" fmla="*/ 1014596 w 6884782"/>
              <a:gd name="connsiteY33171" fmla="*/ 2445370 h 5973007"/>
              <a:gd name="connsiteX33172" fmla="*/ 1015009 w 6884782"/>
              <a:gd name="connsiteY33172" fmla="*/ 2446145 h 5973007"/>
              <a:gd name="connsiteX33173" fmla="*/ 1016764 w 6884782"/>
              <a:gd name="connsiteY33173" fmla="*/ 2448778 h 5973007"/>
              <a:gd name="connsiteX33174" fmla="*/ 1013976 w 6884782"/>
              <a:gd name="connsiteY33174" fmla="*/ 2452650 h 5973007"/>
              <a:gd name="connsiteX33175" fmla="*/ 1009846 w 6884782"/>
              <a:gd name="connsiteY33175" fmla="*/ 2449552 h 5973007"/>
              <a:gd name="connsiteX33176" fmla="*/ 1012428 w 6884782"/>
              <a:gd name="connsiteY33176" fmla="*/ 2445525 h 5973007"/>
              <a:gd name="connsiteX33177" fmla="*/ 1014596 w 6884782"/>
              <a:gd name="connsiteY33177" fmla="*/ 2445370 h 5973007"/>
              <a:gd name="connsiteX33178" fmla="*/ 1111657 w 6884782"/>
              <a:gd name="connsiteY33178" fmla="*/ 2444131 h 5973007"/>
              <a:gd name="connsiteX33179" fmla="*/ 1113722 w 6884782"/>
              <a:gd name="connsiteY33179" fmla="*/ 2444595 h 5973007"/>
              <a:gd name="connsiteX33180" fmla="*/ 1115684 w 6884782"/>
              <a:gd name="connsiteY33180" fmla="*/ 2448933 h 5973007"/>
              <a:gd name="connsiteX33181" fmla="*/ 1126629 w 6884782"/>
              <a:gd name="connsiteY33181" fmla="*/ 2448623 h 5973007"/>
              <a:gd name="connsiteX33182" fmla="*/ 1130553 w 6884782"/>
              <a:gd name="connsiteY33182" fmla="*/ 2450482 h 5973007"/>
              <a:gd name="connsiteX33183" fmla="*/ 1131069 w 6884782"/>
              <a:gd name="connsiteY33183" fmla="*/ 2449242 h 5973007"/>
              <a:gd name="connsiteX33184" fmla="*/ 1134889 w 6884782"/>
              <a:gd name="connsiteY33184" fmla="*/ 2447848 h 5973007"/>
              <a:gd name="connsiteX33185" fmla="*/ 1134166 w 6884782"/>
              <a:gd name="connsiteY33185" fmla="*/ 2448158 h 5973007"/>
              <a:gd name="connsiteX33186" fmla="*/ 1134993 w 6884782"/>
              <a:gd name="connsiteY33186" fmla="*/ 2449707 h 5973007"/>
              <a:gd name="connsiteX33187" fmla="*/ 1135819 w 6884782"/>
              <a:gd name="connsiteY33187" fmla="*/ 2449242 h 5973007"/>
              <a:gd name="connsiteX33188" fmla="*/ 1136025 w 6884782"/>
              <a:gd name="connsiteY33188" fmla="*/ 2451101 h 5973007"/>
              <a:gd name="connsiteX33189" fmla="*/ 1134580 w 6884782"/>
              <a:gd name="connsiteY33189" fmla="*/ 2454509 h 5973007"/>
              <a:gd name="connsiteX33190" fmla="*/ 1134166 w 6884782"/>
              <a:gd name="connsiteY33190" fmla="*/ 2454819 h 5973007"/>
              <a:gd name="connsiteX33191" fmla="*/ 1134683 w 6884782"/>
              <a:gd name="connsiteY33191" fmla="*/ 2455593 h 5973007"/>
              <a:gd name="connsiteX33192" fmla="*/ 1133857 w 6884782"/>
              <a:gd name="connsiteY33192" fmla="*/ 2460859 h 5973007"/>
              <a:gd name="connsiteX33193" fmla="*/ 1128488 w 6884782"/>
              <a:gd name="connsiteY33193" fmla="*/ 2460240 h 5973007"/>
              <a:gd name="connsiteX33194" fmla="*/ 1127971 w 6884782"/>
              <a:gd name="connsiteY33194" fmla="*/ 2459930 h 5973007"/>
              <a:gd name="connsiteX33195" fmla="*/ 1125699 w 6884782"/>
              <a:gd name="connsiteY33195" fmla="*/ 2461789 h 5973007"/>
              <a:gd name="connsiteX33196" fmla="*/ 1127248 w 6884782"/>
              <a:gd name="connsiteY33196" fmla="*/ 2462718 h 5973007"/>
              <a:gd name="connsiteX33197" fmla="*/ 1128384 w 6884782"/>
              <a:gd name="connsiteY33197" fmla="*/ 2464887 h 5973007"/>
              <a:gd name="connsiteX33198" fmla="*/ 1127868 w 6884782"/>
              <a:gd name="connsiteY33198" fmla="*/ 2466746 h 5973007"/>
              <a:gd name="connsiteX33199" fmla="*/ 1127145 w 6884782"/>
              <a:gd name="connsiteY33199" fmla="*/ 2467056 h 5973007"/>
              <a:gd name="connsiteX33200" fmla="*/ 1123841 w 6884782"/>
              <a:gd name="connsiteY33200" fmla="*/ 2467830 h 5973007"/>
              <a:gd name="connsiteX33201" fmla="*/ 1121673 w 6884782"/>
              <a:gd name="connsiteY33201" fmla="*/ 2466281 h 5973007"/>
              <a:gd name="connsiteX33202" fmla="*/ 1120743 w 6884782"/>
              <a:gd name="connsiteY33202" fmla="*/ 2464422 h 5973007"/>
              <a:gd name="connsiteX33203" fmla="*/ 1119814 w 6884782"/>
              <a:gd name="connsiteY33203" fmla="*/ 2464732 h 5973007"/>
              <a:gd name="connsiteX33204" fmla="*/ 1112690 w 6884782"/>
              <a:gd name="connsiteY33204" fmla="*/ 2462254 h 5973007"/>
              <a:gd name="connsiteX33205" fmla="*/ 1112793 w 6884782"/>
              <a:gd name="connsiteY33205" fmla="*/ 2461479 h 5973007"/>
              <a:gd name="connsiteX33206" fmla="*/ 1107320 w 6884782"/>
              <a:gd name="connsiteY33206" fmla="*/ 2462718 h 5973007"/>
              <a:gd name="connsiteX33207" fmla="*/ 1105668 w 6884782"/>
              <a:gd name="connsiteY33207" fmla="*/ 2459775 h 5973007"/>
              <a:gd name="connsiteX33208" fmla="*/ 1105668 w 6884782"/>
              <a:gd name="connsiteY33208" fmla="*/ 2456523 h 5973007"/>
              <a:gd name="connsiteX33209" fmla="*/ 1107836 w 6884782"/>
              <a:gd name="connsiteY33209" fmla="*/ 2450482 h 5973007"/>
              <a:gd name="connsiteX33210" fmla="*/ 1108559 w 6884782"/>
              <a:gd name="connsiteY33210" fmla="*/ 2448778 h 5973007"/>
              <a:gd name="connsiteX33211" fmla="*/ 1107733 w 6884782"/>
              <a:gd name="connsiteY33211" fmla="*/ 2448623 h 5973007"/>
              <a:gd name="connsiteX33212" fmla="*/ 1108869 w 6884782"/>
              <a:gd name="connsiteY33212" fmla="*/ 2447848 h 5973007"/>
              <a:gd name="connsiteX33213" fmla="*/ 1108869 w 6884782"/>
              <a:gd name="connsiteY33213" fmla="*/ 2447694 h 5973007"/>
              <a:gd name="connsiteX33214" fmla="*/ 1108972 w 6884782"/>
              <a:gd name="connsiteY33214" fmla="*/ 2446919 h 5973007"/>
              <a:gd name="connsiteX33215" fmla="*/ 1111657 w 6884782"/>
              <a:gd name="connsiteY33215" fmla="*/ 2444131 h 5973007"/>
              <a:gd name="connsiteX33216" fmla="*/ 1277383 w 6884782"/>
              <a:gd name="connsiteY33216" fmla="*/ 2442892 h 5973007"/>
              <a:gd name="connsiteX33217" fmla="*/ 1280171 w 6884782"/>
              <a:gd name="connsiteY33217" fmla="*/ 2443356 h 5973007"/>
              <a:gd name="connsiteX33218" fmla="*/ 1283785 w 6884782"/>
              <a:gd name="connsiteY33218" fmla="*/ 2447538 h 5973007"/>
              <a:gd name="connsiteX33219" fmla="*/ 1285334 w 6884782"/>
              <a:gd name="connsiteY33219" fmla="*/ 2452805 h 5973007"/>
              <a:gd name="connsiteX33220" fmla="*/ 1279655 w 6884782"/>
              <a:gd name="connsiteY33220" fmla="*/ 2451566 h 5973007"/>
              <a:gd name="connsiteX33221" fmla="*/ 1276247 w 6884782"/>
              <a:gd name="connsiteY33221" fmla="*/ 2444441 h 5973007"/>
              <a:gd name="connsiteX33222" fmla="*/ 1277383 w 6884782"/>
              <a:gd name="connsiteY33222" fmla="*/ 2442892 h 5973007"/>
              <a:gd name="connsiteX33223" fmla="*/ 723103 w 6884782"/>
              <a:gd name="connsiteY33223" fmla="*/ 2442892 h 5973007"/>
              <a:gd name="connsiteX33224" fmla="*/ 726614 w 6884782"/>
              <a:gd name="connsiteY33224" fmla="*/ 2445525 h 5973007"/>
              <a:gd name="connsiteX33225" fmla="*/ 717218 w 6884782"/>
              <a:gd name="connsiteY33225" fmla="*/ 2453425 h 5973007"/>
              <a:gd name="connsiteX33226" fmla="*/ 713604 w 6884782"/>
              <a:gd name="connsiteY33226" fmla="*/ 2451721 h 5973007"/>
              <a:gd name="connsiteX33227" fmla="*/ 720109 w 6884782"/>
              <a:gd name="connsiteY33227" fmla="*/ 2443976 h 5973007"/>
              <a:gd name="connsiteX33228" fmla="*/ 723103 w 6884782"/>
              <a:gd name="connsiteY33228" fmla="*/ 2442892 h 5973007"/>
              <a:gd name="connsiteX33229" fmla="*/ 832039 w 6884782"/>
              <a:gd name="connsiteY33229" fmla="*/ 2442272 h 5973007"/>
              <a:gd name="connsiteX33230" fmla="*/ 829767 w 6884782"/>
              <a:gd name="connsiteY33230" fmla="*/ 2448468 h 5973007"/>
              <a:gd name="connsiteX33231" fmla="*/ 828012 w 6884782"/>
              <a:gd name="connsiteY33231" fmla="*/ 2447848 h 5973007"/>
              <a:gd name="connsiteX33232" fmla="*/ 826463 w 6884782"/>
              <a:gd name="connsiteY33232" fmla="*/ 2445680 h 5973007"/>
              <a:gd name="connsiteX33233" fmla="*/ 826876 w 6884782"/>
              <a:gd name="connsiteY33233" fmla="*/ 2443047 h 5973007"/>
              <a:gd name="connsiteX33234" fmla="*/ 832039 w 6884782"/>
              <a:gd name="connsiteY33234" fmla="*/ 2442272 h 5973007"/>
              <a:gd name="connsiteX33235" fmla="*/ 1032769 w 6884782"/>
              <a:gd name="connsiteY33235" fmla="*/ 2440568 h 5973007"/>
              <a:gd name="connsiteX33236" fmla="*/ 1035144 w 6884782"/>
              <a:gd name="connsiteY33236" fmla="*/ 2447074 h 5973007"/>
              <a:gd name="connsiteX33237" fmla="*/ 1031117 w 6884782"/>
              <a:gd name="connsiteY33237" fmla="*/ 2444595 h 5973007"/>
              <a:gd name="connsiteX33238" fmla="*/ 1032769 w 6884782"/>
              <a:gd name="connsiteY33238" fmla="*/ 2440568 h 5973007"/>
              <a:gd name="connsiteX33239" fmla="*/ 5455435 w 6884782"/>
              <a:gd name="connsiteY33239" fmla="*/ 2440195 h 5973007"/>
              <a:gd name="connsiteX33240" fmla="*/ 5441350 w 6884782"/>
              <a:gd name="connsiteY33240" fmla="*/ 2446028 h 5973007"/>
              <a:gd name="connsiteX33241" fmla="*/ 5429398 w 6884782"/>
              <a:gd name="connsiteY33241" fmla="*/ 2455134 h 5973007"/>
              <a:gd name="connsiteX33242" fmla="*/ 5419368 w 6884782"/>
              <a:gd name="connsiteY33242" fmla="*/ 2455134 h 5973007"/>
              <a:gd name="connsiteX33243" fmla="*/ 5425557 w 6884782"/>
              <a:gd name="connsiteY33243" fmla="*/ 2456557 h 5973007"/>
              <a:gd name="connsiteX33244" fmla="*/ 5418301 w 6884782"/>
              <a:gd name="connsiteY33244" fmla="*/ 2460255 h 5973007"/>
              <a:gd name="connsiteX33245" fmla="*/ 5419368 w 6884782"/>
              <a:gd name="connsiteY33245" fmla="*/ 2462390 h 5973007"/>
              <a:gd name="connsiteX33246" fmla="*/ 5407843 w 6884782"/>
              <a:gd name="connsiteY33246" fmla="*/ 2462105 h 5973007"/>
              <a:gd name="connsiteX33247" fmla="*/ 5408270 w 6884782"/>
              <a:gd name="connsiteY33247" fmla="*/ 2460967 h 5973007"/>
              <a:gd name="connsiteX33248" fmla="*/ 5407416 w 6884782"/>
              <a:gd name="connsiteY33248" fmla="*/ 2460967 h 5973007"/>
              <a:gd name="connsiteX33249" fmla="*/ 5390983 w 6884782"/>
              <a:gd name="connsiteY33249" fmla="*/ 2465519 h 5973007"/>
              <a:gd name="connsiteX33250" fmla="*/ 5388635 w 6884782"/>
              <a:gd name="connsiteY33250" fmla="*/ 2459544 h 5973007"/>
              <a:gd name="connsiteX33251" fmla="*/ 5380525 w 6884782"/>
              <a:gd name="connsiteY33251" fmla="*/ 2465235 h 5973007"/>
              <a:gd name="connsiteX33252" fmla="*/ 5383086 w 6884782"/>
              <a:gd name="connsiteY33252" fmla="*/ 2465946 h 5973007"/>
              <a:gd name="connsiteX33253" fmla="*/ 5383726 w 6884782"/>
              <a:gd name="connsiteY33253" fmla="*/ 2468365 h 5973007"/>
              <a:gd name="connsiteX33254" fmla="*/ 5391837 w 6884782"/>
              <a:gd name="connsiteY33254" fmla="*/ 2466942 h 5973007"/>
              <a:gd name="connsiteX33255" fmla="*/ 5386288 w 6884782"/>
              <a:gd name="connsiteY33255" fmla="*/ 2470784 h 5973007"/>
              <a:gd name="connsiteX33256" fmla="*/ 5384580 w 6884782"/>
              <a:gd name="connsiteY33256" fmla="*/ 2471210 h 5973007"/>
              <a:gd name="connsiteX33257" fmla="*/ 5385007 w 6884782"/>
              <a:gd name="connsiteY33257" fmla="*/ 2473344 h 5973007"/>
              <a:gd name="connsiteX33258" fmla="*/ 5382446 w 6884782"/>
              <a:gd name="connsiteY33258" fmla="*/ 2477044 h 5973007"/>
              <a:gd name="connsiteX33259" fmla="*/ 5381806 w 6884782"/>
              <a:gd name="connsiteY33259" fmla="*/ 2479746 h 5973007"/>
              <a:gd name="connsiteX33260" fmla="*/ 5382019 w 6884782"/>
              <a:gd name="connsiteY33260" fmla="*/ 2480031 h 5973007"/>
              <a:gd name="connsiteX33261" fmla="*/ 5381593 w 6884782"/>
              <a:gd name="connsiteY33261" fmla="*/ 2480173 h 5973007"/>
              <a:gd name="connsiteX33262" fmla="*/ 5380098 w 6884782"/>
              <a:gd name="connsiteY33262" fmla="*/ 2485721 h 5973007"/>
              <a:gd name="connsiteX33263" fmla="*/ 5375403 w 6884782"/>
              <a:gd name="connsiteY33263" fmla="*/ 2482307 h 5973007"/>
              <a:gd name="connsiteX33264" fmla="*/ 5371135 w 6884782"/>
              <a:gd name="connsiteY33264" fmla="*/ 2484441 h 5973007"/>
              <a:gd name="connsiteX33265" fmla="*/ 5368147 w 6884782"/>
              <a:gd name="connsiteY33265" fmla="*/ 2476617 h 5973007"/>
              <a:gd name="connsiteX33266" fmla="*/ 5363452 w 6884782"/>
              <a:gd name="connsiteY33266" fmla="*/ 2479604 h 5973007"/>
              <a:gd name="connsiteX33267" fmla="*/ 5367507 w 6884782"/>
              <a:gd name="connsiteY33267" fmla="*/ 2475194 h 5973007"/>
              <a:gd name="connsiteX33268" fmla="*/ 5367293 w 6884782"/>
              <a:gd name="connsiteY33268" fmla="*/ 2474767 h 5973007"/>
              <a:gd name="connsiteX33269" fmla="*/ 5360891 w 6884782"/>
              <a:gd name="connsiteY33269" fmla="*/ 2476617 h 5973007"/>
              <a:gd name="connsiteX33270" fmla="*/ 5348512 w 6884782"/>
              <a:gd name="connsiteY33270" fmla="*/ 2475905 h 5973007"/>
              <a:gd name="connsiteX33271" fmla="*/ 5342963 w 6884782"/>
              <a:gd name="connsiteY33271" fmla="*/ 2479604 h 5973007"/>
              <a:gd name="connsiteX33272" fmla="*/ 5340189 w 6884782"/>
              <a:gd name="connsiteY33272" fmla="*/ 2482876 h 5973007"/>
              <a:gd name="connsiteX33273" fmla="*/ 5341042 w 6884782"/>
              <a:gd name="connsiteY33273" fmla="*/ 2483588 h 5973007"/>
              <a:gd name="connsiteX33274" fmla="*/ 5342963 w 6884782"/>
              <a:gd name="connsiteY33274" fmla="*/ 2483872 h 5973007"/>
              <a:gd name="connsiteX33275" fmla="*/ 5352354 w 6884782"/>
              <a:gd name="connsiteY33275" fmla="*/ 2478039 h 5973007"/>
              <a:gd name="connsiteX33276" fmla="*/ 5347658 w 6884782"/>
              <a:gd name="connsiteY33276" fmla="*/ 2488567 h 5973007"/>
              <a:gd name="connsiteX33277" fmla="*/ 5342110 w 6884782"/>
              <a:gd name="connsiteY33277" fmla="*/ 2487856 h 5973007"/>
              <a:gd name="connsiteX33278" fmla="*/ 5342323 w 6884782"/>
              <a:gd name="connsiteY33278" fmla="*/ 2490843 h 5973007"/>
              <a:gd name="connsiteX33279" fmla="*/ 5337628 w 6884782"/>
              <a:gd name="connsiteY33279" fmla="*/ 2492551 h 5973007"/>
              <a:gd name="connsiteX33280" fmla="*/ 5334213 w 6884782"/>
              <a:gd name="connsiteY33280" fmla="*/ 2487286 h 5973007"/>
              <a:gd name="connsiteX33281" fmla="*/ 5329731 w 6884782"/>
              <a:gd name="connsiteY33281" fmla="*/ 2487856 h 5973007"/>
              <a:gd name="connsiteX33282" fmla="*/ 5328024 w 6884782"/>
              <a:gd name="connsiteY33282" fmla="*/ 2488567 h 5973007"/>
              <a:gd name="connsiteX33283" fmla="*/ 5327384 w 6884782"/>
              <a:gd name="connsiteY33283" fmla="*/ 2488567 h 5973007"/>
              <a:gd name="connsiteX33284" fmla="*/ 5326530 w 6884782"/>
              <a:gd name="connsiteY33284" fmla="*/ 2488567 h 5973007"/>
              <a:gd name="connsiteX33285" fmla="*/ 5325036 w 6884782"/>
              <a:gd name="connsiteY33285" fmla="*/ 2489278 h 5973007"/>
              <a:gd name="connsiteX33286" fmla="*/ 5326530 w 6884782"/>
              <a:gd name="connsiteY33286" fmla="*/ 2494542 h 5973007"/>
              <a:gd name="connsiteX33287" fmla="*/ 5322475 w 6884782"/>
              <a:gd name="connsiteY33287" fmla="*/ 2491555 h 5973007"/>
              <a:gd name="connsiteX33288" fmla="*/ 5315645 w 6884782"/>
              <a:gd name="connsiteY33288" fmla="*/ 2499664 h 5973007"/>
              <a:gd name="connsiteX33289" fmla="*/ 5313085 w 6884782"/>
              <a:gd name="connsiteY33289" fmla="*/ 2501229 h 5973007"/>
              <a:gd name="connsiteX33290" fmla="*/ 5311591 w 6884782"/>
              <a:gd name="connsiteY33290" fmla="*/ 2501941 h 5973007"/>
              <a:gd name="connsiteX33291" fmla="*/ 5311591 w 6884782"/>
              <a:gd name="connsiteY33291" fmla="*/ 2502652 h 5973007"/>
              <a:gd name="connsiteX33292" fmla="*/ 5310737 w 6884782"/>
              <a:gd name="connsiteY33292" fmla="*/ 2502652 h 5973007"/>
              <a:gd name="connsiteX33293" fmla="*/ 5302841 w 6884782"/>
              <a:gd name="connsiteY33293" fmla="*/ 2506493 h 5973007"/>
              <a:gd name="connsiteX33294" fmla="*/ 5294517 w 6884782"/>
              <a:gd name="connsiteY33294" fmla="*/ 2511046 h 5973007"/>
              <a:gd name="connsiteX33295" fmla="*/ 5295798 w 6884782"/>
              <a:gd name="connsiteY33295" fmla="*/ 2510903 h 5973007"/>
              <a:gd name="connsiteX33296" fmla="*/ 5302200 w 6884782"/>
              <a:gd name="connsiteY33296" fmla="*/ 2511757 h 5973007"/>
              <a:gd name="connsiteX33297" fmla="*/ 5302200 w 6884782"/>
              <a:gd name="connsiteY33297" fmla="*/ 2512895 h 5973007"/>
              <a:gd name="connsiteX33298" fmla="*/ 5290035 w 6884782"/>
              <a:gd name="connsiteY33298" fmla="*/ 2514318 h 5973007"/>
              <a:gd name="connsiteX33299" fmla="*/ 5289182 w 6884782"/>
              <a:gd name="connsiteY33299" fmla="*/ 2514033 h 5973007"/>
              <a:gd name="connsiteX33300" fmla="*/ 5274669 w 6884782"/>
              <a:gd name="connsiteY33300" fmla="*/ 2522000 h 5973007"/>
              <a:gd name="connsiteX33301" fmla="*/ 5256529 w 6884782"/>
              <a:gd name="connsiteY33301" fmla="*/ 2534662 h 5973007"/>
              <a:gd name="connsiteX33302" fmla="*/ 5253967 w 6884782"/>
              <a:gd name="connsiteY33302" fmla="*/ 2536654 h 5973007"/>
              <a:gd name="connsiteX33303" fmla="*/ 5256315 w 6884782"/>
              <a:gd name="connsiteY33303" fmla="*/ 2538361 h 5973007"/>
              <a:gd name="connsiteX33304" fmla="*/ 5257382 w 6884782"/>
              <a:gd name="connsiteY33304" fmla="*/ 2544194 h 5973007"/>
              <a:gd name="connsiteX33305" fmla="*/ 5255888 w 6884782"/>
              <a:gd name="connsiteY33305" fmla="*/ 2548889 h 5973007"/>
              <a:gd name="connsiteX33306" fmla="*/ 5259730 w 6884782"/>
              <a:gd name="connsiteY33306" fmla="*/ 2547893 h 5973007"/>
              <a:gd name="connsiteX33307" fmla="*/ 5263571 w 6884782"/>
              <a:gd name="connsiteY33307" fmla="*/ 2544478 h 5973007"/>
              <a:gd name="connsiteX33308" fmla="*/ 5264425 w 6884782"/>
              <a:gd name="connsiteY33308" fmla="*/ 2548889 h 5973007"/>
              <a:gd name="connsiteX33309" fmla="*/ 5270828 w 6884782"/>
              <a:gd name="connsiteY33309" fmla="*/ 2545190 h 5973007"/>
              <a:gd name="connsiteX33310" fmla="*/ 5266132 w 6884782"/>
              <a:gd name="connsiteY33310" fmla="*/ 2545190 h 5973007"/>
              <a:gd name="connsiteX33311" fmla="*/ 5305401 w 6884782"/>
              <a:gd name="connsiteY33311" fmla="*/ 2523565 h 5973007"/>
              <a:gd name="connsiteX33312" fmla="*/ 5310737 w 6884782"/>
              <a:gd name="connsiteY33312" fmla="*/ 2520578 h 5973007"/>
              <a:gd name="connsiteX33313" fmla="*/ 5318633 w 6884782"/>
              <a:gd name="connsiteY33313" fmla="*/ 2516879 h 5973007"/>
              <a:gd name="connsiteX33314" fmla="*/ 5319487 w 6884782"/>
              <a:gd name="connsiteY33314" fmla="*/ 2516879 h 5973007"/>
              <a:gd name="connsiteX33315" fmla="*/ 5319487 w 6884782"/>
              <a:gd name="connsiteY33315" fmla="*/ 2516025 h 5973007"/>
              <a:gd name="connsiteX33316" fmla="*/ 5320981 w 6884782"/>
              <a:gd name="connsiteY33316" fmla="*/ 2515314 h 5973007"/>
              <a:gd name="connsiteX33317" fmla="*/ 5327384 w 6884782"/>
              <a:gd name="connsiteY33317" fmla="*/ 2513180 h 5973007"/>
              <a:gd name="connsiteX33318" fmla="*/ 5332719 w 6884782"/>
              <a:gd name="connsiteY33318" fmla="*/ 2511615 h 5973007"/>
              <a:gd name="connsiteX33319" fmla="*/ 5335921 w 6884782"/>
              <a:gd name="connsiteY33319" fmla="*/ 2510903 h 5973007"/>
              <a:gd name="connsiteX33320" fmla="*/ 5337414 w 6884782"/>
              <a:gd name="connsiteY33320" fmla="*/ 2510903 h 5973007"/>
              <a:gd name="connsiteX33321" fmla="*/ 5339975 w 6884782"/>
              <a:gd name="connsiteY33321" fmla="*/ 2510903 h 5973007"/>
              <a:gd name="connsiteX33322" fmla="*/ 5341256 w 6884782"/>
              <a:gd name="connsiteY33322" fmla="*/ 2509196 h 5973007"/>
              <a:gd name="connsiteX33323" fmla="*/ 5340616 w 6884782"/>
              <a:gd name="connsiteY33323" fmla="*/ 2508911 h 5973007"/>
              <a:gd name="connsiteX33324" fmla="*/ 5340189 w 6884782"/>
              <a:gd name="connsiteY33324" fmla="*/ 2509196 h 5973007"/>
              <a:gd name="connsiteX33325" fmla="*/ 5337414 w 6884782"/>
              <a:gd name="connsiteY33325" fmla="*/ 2508627 h 5973007"/>
              <a:gd name="connsiteX33326" fmla="*/ 5336774 w 6884782"/>
              <a:gd name="connsiteY33326" fmla="*/ 2508627 h 5973007"/>
              <a:gd name="connsiteX33327" fmla="*/ 5335921 w 6884782"/>
              <a:gd name="connsiteY33327" fmla="*/ 2509338 h 5973007"/>
              <a:gd name="connsiteX33328" fmla="*/ 5336774 w 6884782"/>
              <a:gd name="connsiteY33328" fmla="*/ 2507205 h 5973007"/>
              <a:gd name="connsiteX33329" fmla="*/ 5336987 w 6884782"/>
              <a:gd name="connsiteY33329" fmla="*/ 2506920 h 5973007"/>
              <a:gd name="connsiteX33330" fmla="*/ 5337414 w 6884782"/>
              <a:gd name="connsiteY33330" fmla="*/ 2505213 h 5973007"/>
              <a:gd name="connsiteX33331" fmla="*/ 5345951 w 6884782"/>
              <a:gd name="connsiteY33331" fmla="*/ 2501513 h 5973007"/>
              <a:gd name="connsiteX33332" fmla="*/ 5347872 w 6884782"/>
              <a:gd name="connsiteY33332" fmla="*/ 2501798 h 5973007"/>
              <a:gd name="connsiteX33333" fmla="*/ 5345951 w 6884782"/>
              <a:gd name="connsiteY33333" fmla="*/ 2504074 h 5973007"/>
              <a:gd name="connsiteX33334" fmla="*/ 5348512 w 6884782"/>
              <a:gd name="connsiteY33334" fmla="*/ 2504928 h 5973007"/>
              <a:gd name="connsiteX33335" fmla="*/ 5367293 w 6884782"/>
              <a:gd name="connsiteY33335" fmla="*/ 2492977 h 5973007"/>
              <a:gd name="connsiteX33336" fmla="*/ 5377538 w 6884782"/>
              <a:gd name="connsiteY33336" fmla="*/ 2489278 h 5973007"/>
              <a:gd name="connsiteX33337" fmla="*/ 5380098 w 6884782"/>
              <a:gd name="connsiteY33337" fmla="*/ 2487856 h 5973007"/>
              <a:gd name="connsiteX33338" fmla="*/ 5382233 w 6884782"/>
              <a:gd name="connsiteY33338" fmla="*/ 2486291 h 5973007"/>
              <a:gd name="connsiteX33339" fmla="*/ 5386928 w 6884782"/>
              <a:gd name="connsiteY33339" fmla="*/ 2483303 h 5973007"/>
              <a:gd name="connsiteX33340" fmla="*/ 5400373 w 6884782"/>
              <a:gd name="connsiteY33340" fmla="*/ 2483303 h 5973007"/>
              <a:gd name="connsiteX33341" fmla="*/ 5410618 w 6884782"/>
              <a:gd name="connsiteY33341" fmla="*/ 2482591 h 5973007"/>
              <a:gd name="connsiteX33342" fmla="*/ 5411471 w 6884782"/>
              <a:gd name="connsiteY33342" fmla="*/ 2475905 h 5973007"/>
              <a:gd name="connsiteX33343" fmla="*/ 5425343 w 6884782"/>
              <a:gd name="connsiteY33343" fmla="*/ 2470214 h 5973007"/>
              <a:gd name="connsiteX33344" fmla="*/ 5431106 w 6884782"/>
              <a:gd name="connsiteY33344" fmla="*/ 2467938 h 5973007"/>
              <a:gd name="connsiteX33345" fmla="*/ 5436655 w 6884782"/>
              <a:gd name="connsiteY33345" fmla="*/ 2460113 h 5973007"/>
              <a:gd name="connsiteX33346" fmla="*/ 5439002 w 6884782"/>
              <a:gd name="connsiteY33346" fmla="*/ 2460824 h 5973007"/>
              <a:gd name="connsiteX33347" fmla="*/ 5438576 w 6884782"/>
              <a:gd name="connsiteY33347" fmla="*/ 2459829 h 5973007"/>
              <a:gd name="connsiteX33348" fmla="*/ 5437081 w 6884782"/>
              <a:gd name="connsiteY33348" fmla="*/ 2460113 h 5973007"/>
              <a:gd name="connsiteX33349" fmla="*/ 5435588 w 6884782"/>
              <a:gd name="connsiteY33349" fmla="*/ 2459544 h 5973007"/>
              <a:gd name="connsiteX33350" fmla="*/ 5445405 w 6884782"/>
              <a:gd name="connsiteY33350" fmla="*/ 2455987 h 5973007"/>
              <a:gd name="connsiteX33351" fmla="*/ 5441563 w 6884782"/>
              <a:gd name="connsiteY33351" fmla="*/ 2459117 h 5973007"/>
              <a:gd name="connsiteX33352" fmla="*/ 5441350 w 6884782"/>
              <a:gd name="connsiteY33352" fmla="*/ 2459259 h 5973007"/>
              <a:gd name="connsiteX33353" fmla="*/ 5441350 w 6884782"/>
              <a:gd name="connsiteY33353" fmla="*/ 2460540 h 5973007"/>
              <a:gd name="connsiteX33354" fmla="*/ 5443697 w 6884782"/>
              <a:gd name="connsiteY33354" fmla="*/ 2461678 h 5973007"/>
              <a:gd name="connsiteX33355" fmla="*/ 5446685 w 6884782"/>
              <a:gd name="connsiteY33355" fmla="*/ 2458833 h 5973007"/>
              <a:gd name="connsiteX33356" fmla="*/ 5451381 w 6884782"/>
              <a:gd name="connsiteY33356" fmla="*/ 2457979 h 5973007"/>
              <a:gd name="connsiteX33357" fmla="*/ 5459277 w 6884782"/>
              <a:gd name="connsiteY33357" fmla="*/ 2452004 h 5973007"/>
              <a:gd name="connsiteX33358" fmla="*/ 5462478 w 6884782"/>
              <a:gd name="connsiteY33358" fmla="*/ 2455845 h 5973007"/>
              <a:gd name="connsiteX33359" fmla="*/ 5467174 w 6884782"/>
              <a:gd name="connsiteY33359" fmla="*/ 2452004 h 5973007"/>
              <a:gd name="connsiteX33360" fmla="*/ 5465893 w 6884782"/>
              <a:gd name="connsiteY33360" fmla="*/ 2442899 h 5973007"/>
              <a:gd name="connsiteX33361" fmla="*/ 5466106 w 6884782"/>
              <a:gd name="connsiteY33361" fmla="*/ 2441049 h 5973007"/>
              <a:gd name="connsiteX33362" fmla="*/ 5463332 w 6884782"/>
              <a:gd name="connsiteY33362" fmla="*/ 2444606 h 5973007"/>
              <a:gd name="connsiteX33363" fmla="*/ 5461625 w 6884782"/>
              <a:gd name="connsiteY33363" fmla="*/ 2443183 h 5973007"/>
              <a:gd name="connsiteX33364" fmla="*/ 5461411 w 6884782"/>
              <a:gd name="connsiteY33364" fmla="*/ 2443183 h 5973007"/>
              <a:gd name="connsiteX33365" fmla="*/ 5460985 w 6884782"/>
              <a:gd name="connsiteY33365" fmla="*/ 2442472 h 5973007"/>
              <a:gd name="connsiteX33366" fmla="*/ 5460558 w 6884782"/>
              <a:gd name="connsiteY33366" fmla="*/ 2442045 h 5973007"/>
              <a:gd name="connsiteX33367" fmla="*/ 5455435 w 6884782"/>
              <a:gd name="connsiteY33367" fmla="*/ 2440195 h 5973007"/>
              <a:gd name="connsiteX33368" fmla="*/ 896677 w 6884782"/>
              <a:gd name="connsiteY33368" fmla="*/ 2438709 h 5973007"/>
              <a:gd name="connsiteX33369" fmla="*/ 901943 w 6884782"/>
              <a:gd name="connsiteY33369" fmla="*/ 2440103 h 5973007"/>
              <a:gd name="connsiteX33370" fmla="*/ 902769 w 6884782"/>
              <a:gd name="connsiteY33370" fmla="*/ 2442427 h 5973007"/>
              <a:gd name="connsiteX33371" fmla="*/ 900085 w 6884782"/>
              <a:gd name="connsiteY33371" fmla="*/ 2442582 h 5973007"/>
              <a:gd name="connsiteX33372" fmla="*/ 899259 w 6884782"/>
              <a:gd name="connsiteY33372" fmla="*/ 2441033 h 5973007"/>
              <a:gd name="connsiteX33373" fmla="*/ 896574 w 6884782"/>
              <a:gd name="connsiteY33373" fmla="*/ 2440258 h 5973007"/>
              <a:gd name="connsiteX33374" fmla="*/ 896677 w 6884782"/>
              <a:gd name="connsiteY33374" fmla="*/ 2438709 h 5973007"/>
              <a:gd name="connsiteX33375" fmla="*/ 930855 w 6884782"/>
              <a:gd name="connsiteY33375" fmla="*/ 2438400 h 5973007"/>
              <a:gd name="connsiteX33376" fmla="*/ 933436 w 6884782"/>
              <a:gd name="connsiteY33376" fmla="*/ 2438709 h 5973007"/>
              <a:gd name="connsiteX33377" fmla="*/ 932197 w 6884782"/>
              <a:gd name="connsiteY33377" fmla="*/ 2441033 h 5973007"/>
              <a:gd name="connsiteX33378" fmla="*/ 930236 w 6884782"/>
              <a:gd name="connsiteY33378" fmla="*/ 2441188 h 5973007"/>
              <a:gd name="connsiteX33379" fmla="*/ 928170 w 6884782"/>
              <a:gd name="connsiteY33379" fmla="*/ 2443202 h 5973007"/>
              <a:gd name="connsiteX33380" fmla="*/ 926725 w 6884782"/>
              <a:gd name="connsiteY33380" fmla="*/ 2442582 h 5973007"/>
              <a:gd name="connsiteX33381" fmla="*/ 930855 w 6884782"/>
              <a:gd name="connsiteY33381" fmla="*/ 2438400 h 5973007"/>
              <a:gd name="connsiteX33382" fmla="*/ 915366 w 6884782"/>
              <a:gd name="connsiteY33382" fmla="*/ 2437160 h 5973007"/>
              <a:gd name="connsiteX33383" fmla="*/ 923421 w 6884782"/>
              <a:gd name="connsiteY33383" fmla="*/ 2437935 h 5973007"/>
              <a:gd name="connsiteX33384" fmla="*/ 921665 w 6884782"/>
              <a:gd name="connsiteY33384" fmla="*/ 2441033 h 5973007"/>
              <a:gd name="connsiteX33385" fmla="*/ 913921 w 6884782"/>
              <a:gd name="connsiteY33385" fmla="*/ 2441962 h 5973007"/>
              <a:gd name="connsiteX33386" fmla="*/ 912372 w 6884782"/>
              <a:gd name="connsiteY33386" fmla="*/ 2440568 h 5973007"/>
              <a:gd name="connsiteX33387" fmla="*/ 915366 w 6884782"/>
              <a:gd name="connsiteY33387" fmla="*/ 2437160 h 5973007"/>
              <a:gd name="connsiteX33388" fmla="*/ 705240 w 6884782"/>
              <a:gd name="connsiteY33388" fmla="*/ 2436231 h 5973007"/>
              <a:gd name="connsiteX33389" fmla="*/ 714637 w 6884782"/>
              <a:gd name="connsiteY33389" fmla="*/ 2436541 h 5973007"/>
              <a:gd name="connsiteX33390" fmla="*/ 715876 w 6884782"/>
              <a:gd name="connsiteY33390" fmla="*/ 2440878 h 5973007"/>
              <a:gd name="connsiteX33391" fmla="*/ 715462 w 6884782"/>
              <a:gd name="connsiteY33391" fmla="*/ 2441343 h 5973007"/>
              <a:gd name="connsiteX33392" fmla="*/ 711126 w 6884782"/>
              <a:gd name="connsiteY33392" fmla="*/ 2449707 h 5973007"/>
              <a:gd name="connsiteX33393" fmla="*/ 705963 w 6884782"/>
              <a:gd name="connsiteY33393" fmla="*/ 2450791 h 5973007"/>
              <a:gd name="connsiteX33394" fmla="*/ 705033 w 6884782"/>
              <a:gd name="connsiteY33394" fmla="*/ 2448313 h 5973007"/>
              <a:gd name="connsiteX33395" fmla="*/ 707305 w 6884782"/>
              <a:gd name="connsiteY33395" fmla="*/ 2444441 h 5973007"/>
              <a:gd name="connsiteX33396" fmla="*/ 705447 w 6884782"/>
              <a:gd name="connsiteY33396" fmla="*/ 2444441 h 5973007"/>
              <a:gd name="connsiteX33397" fmla="*/ 701317 w 6884782"/>
              <a:gd name="connsiteY33397" fmla="*/ 2442427 h 5973007"/>
              <a:gd name="connsiteX33398" fmla="*/ 705240 w 6884782"/>
              <a:gd name="connsiteY33398" fmla="*/ 2436231 h 5973007"/>
              <a:gd name="connsiteX33399" fmla="*/ 1119814 w 6884782"/>
              <a:gd name="connsiteY33399" fmla="*/ 2435457 h 5973007"/>
              <a:gd name="connsiteX33400" fmla="*/ 1122292 w 6884782"/>
              <a:gd name="connsiteY33400" fmla="*/ 2438709 h 5973007"/>
              <a:gd name="connsiteX33401" fmla="*/ 1119711 w 6884782"/>
              <a:gd name="connsiteY33401" fmla="*/ 2436541 h 5973007"/>
              <a:gd name="connsiteX33402" fmla="*/ 1119814 w 6884782"/>
              <a:gd name="connsiteY33402" fmla="*/ 2435457 h 5973007"/>
              <a:gd name="connsiteX33403" fmla="*/ 830800 w 6884782"/>
              <a:gd name="connsiteY33403" fmla="*/ 2435302 h 5973007"/>
              <a:gd name="connsiteX33404" fmla="*/ 835962 w 6884782"/>
              <a:gd name="connsiteY33404" fmla="*/ 2436851 h 5973007"/>
              <a:gd name="connsiteX33405" fmla="*/ 830800 w 6884782"/>
              <a:gd name="connsiteY33405" fmla="*/ 2435302 h 5973007"/>
              <a:gd name="connsiteX33406" fmla="*/ 1173197 w 6884782"/>
              <a:gd name="connsiteY33406" fmla="*/ 2434218 h 5973007"/>
              <a:gd name="connsiteX33407" fmla="*/ 1173920 w 6884782"/>
              <a:gd name="connsiteY33407" fmla="*/ 2440413 h 5973007"/>
              <a:gd name="connsiteX33408" fmla="*/ 1172474 w 6884782"/>
              <a:gd name="connsiteY33408" fmla="*/ 2437315 h 5973007"/>
              <a:gd name="connsiteX33409" fmla="*/ 1173197 w 6884782"/>
              <a:gd name="connsiteY33409" fmla="*/ 2434218 h 5973007"/>
              <a:gd name="connsiteX33410" fmla="*/ 906383 w 6884782"/>
              <a:gd name="connsiteY33410" fmla="*/ 2433908 h 5973007"/>
              <a:gd name="connsiteX33411" fmla="*/ 908035 w 6884782"/>
              <a:gd name="connsiteY33411" fmla="*/ 2435612 h 5973007"/>
              <a:gd name="connsiteX33412" fmla="*/ 909688 w 6884782"/>
              <a:gd name="connsiteY33412" fmla="*/ 2436386 h 5973007"/>
              <a:gd name="connsiteX33413" fmla="*/ 909584 w 6884782"/>
              <a:gd name="connsiteY33413" fmla="*/ 2439019 h 5973007"/>
              <a:gd name="connsiteX33414" fmla="*/ 907932 w 6884782"/>
              <a:gd name="connsiteY33414" fmla="*/ 2438245 h 5973007"/>
              <a:gd name="connsiteX33415" fmla="*/ 903699 w 6884782"/>
              <a:gd name="connsiteY33415" fmla="*/ 2434992 h 5973007"/>
              <a:gd name="connsiteX33416" fmla="*/ 906383 w 6884782"/>
              <a:gd name="connsiteY33416" fmla="*/ 2433908 h 5973007"/>
              <a:gd name="connsiteX33417" fmla="*/ 5116525 w 6884782"/>
              <a:gd name="connsiteY33417" fmla="*/ 2433082 h 5973007"/>
              <a:gd name="connsiteX33418" fmla="*/ 5122074 w 6884782"/>
              <a:gd name="connsiteY33418" fmla="*/ 2437777 h 5973007"/>
              <a:gd name="connsiteX33419" fmla="*/ 5123355 w 6884782"/>
              <a:gd name="connsiteY33419" fmla="*/ 2436923 h 5973007"/>
              <a:gd name="connsiteX33420" fmla="*/ 5128263 w 6884782"/>
              <a:gd name="connsiteY33420" fmla="*/ 2436354 h 5973007"/>
              <a:gd name="connsiteX33421" fmla="*/ 5130824 w 6884782"/>
              <a:gd name="connsiteY33421" fmla="*/ 2446456 h 5973007"/>
              <a:gd name="connsiteX33422" fmla="*/ 5127410 w 6884782"/>
              <a:gd name="connsiteY33422" fmla="*/ 2446882 h 5973007"/>
              <a:gd name="connsiteX33423" fmla="*/ 5126983 w 6884782"/>
              <a:gd name="connsiteY33423" fmla="*/ 2447024 h 5973007"/>
              <a:gd name="connsiteX33424" fmla="*/ 5128477 w 6884782"/>
              <a:gd name="connsiteY33424" fmla="*/ 2462390 h 5973007"/>
              <a:gd name="connsiteX33425" fmla="*/ 5116525 w 6884782"/>
              <a:gd name="connsiteY33425" fmla="*/ 2433082 h 5973007"/>
              <a:gd name="connsiteX33426" fmla="*/ 5484460 w 6884782"/>
              <a:gd name="connsiteY33426" fmla="*/ 2432655 h 5973007"/>
              <a:gd name="connsiteX33427" fmla="*/ 5483393 w 6884782"/>
              <a:gd name="connsiteY33427" fmla="*/ 2432940 h 5973007"/>
              <a:gd name="connsiteX33428" fmla="*/ 5484460 w 6884782"/>
              <a:gd name="connsiteY33428" fmla="*/ 2433509 h 5973007"/>
              <a:gd name="connsiteX33429" fmla="*/ 4971613 w 6884782"/>
              <a:gd name="connsiteY33429" fmla="*/ 2430948 h 5973007"/>
              <a:gd name="connsiteX33430" fmla="*/ 4981430 w 6884782"/>
              <a:gd name="connsiteY33430" fmla="*/ 2439484 h 5973007"/>
              <a:gd name="connsiteX33431" fmla="*/ 4975454 w 6884782"/>
              <a:gd name="connsiteY33431" fmla="*/ 2445459 h 5973007"/>
              <a:gd name="connsiteX33432" fmla="*/ 4966704 w 6884782"/>
              <a:gd name="connsiteY33432" fmla="*/ 2444748 h 5973007"/>
              <a:gd name="connsiteX33433" fmla="*/ 4971613 w 6884782"/>
              <a:gd name="connsiteY33433" fmla="*/ 2430948 h 5973007"/>
              <a:gd name="connsiteX33434" fmla="*/ 931681 w 6884782"/>
              <a:gd name="connsiteY33434" fmla="*/ 2430345 h 5973007"/>
              <a:gd name="connsiteX33435" fmla="*/ 933953 w 6884782"/>
              <a:gd name="connsiteY33435" fmla="*/ 2431429 h 5973007"/>
              <a:gd name="connsiteX33436" fmla="*/ 932404 w 6884782"/>
              <a:gd name="connsiteY33436" fmla="*/ 2432669 h 5973007"/>
              <a:gd name="connsiteX33437" fmla="*/ 927138 w 6884782"/>
              <a:gd name="connsiteY33437" fmla="*/ 2434992 h 5973007"/>
              <a:gd name="connsiteX33438" fmla="*/ 926415 w 6884782"/>
              <a:gd name="connsiteY33438" fmla="*/ 2433288 h 5973007"/>
              <a:gd name="connsiteX33439" fmla="*/ 927654 w 6884782"/>
              <a:gd name="connsiteY33439" fmla="*/ 2432359 h 5973007"/>
              <a:gd name="connsiteX33440" fmla="*/ 930029 w 6884782"/>
              <a:gd name="connsiteY33440" fmla="*/ 2431584 h 5973007"/>
              <a:gd name="connsiteX33441" fmla="*/ 931681 w 6884782"/>
              <a:gd name="connsiteY33441" fmla="*/ 2430345 h 5973007"/>
              <a:gd name="connsiteX33442" fmla="*/ 1056105 w 6884782"/>
              <a:gd name="connsiteY33442" fmla="*/ 2429725 h 5973007"/>
              <a:gd name="connsiteX33443" fmla="*/ 1065398 w 6884782"/>
              <a:gd name="connsiteY33443" fmla="*/ 2443666 h 5973007"/>
              <a:gd name="connsiteX33444" fmla="*/ 1063642 w 6884782"/>
              <a:gd name="connsiteY33444" fmla="*/ 2450017 h 5973007"/>
              <a:gd name="connsiteX33445" fmla="*/ 1070458 w 6884782"/>
              <a:gd name="connsiteY33445" fmla="*/ 2458691 h 5973007"/>
              <a:gd name="connsiteX33446" fmla="*/ 1069425 w 6884782"/>
              <a:gd name="connsiteY33446" fmla="*/ 2459466 h 5973007"/>
              <a:gd name="connsiteX33447" fmla="*/ 1071903 w 6884782"/>
              <a:gd name="connsiteY33447" fmla="*/ 2459311 h 5973007"/>
              <a:gd name="connsiteX33448" fmla="*/ 1075517 w 6884782"/>
              <a:gd name="connsiteY33448" fmla="*/ 2460085 h 5973007"/>
              <a:gd name="connsiteX33449" fmla="*/ 1076963 w 6884782"/>
              <a:gd name="connsiteY33449" fmla="*/ 2461634 h 5973007"/>
              <a:gd name="connsiteX33450" fmla="*/ 1074071 w 6884782"/>
              <a:gd name="connsiteY33450" fmla="*/ 2464732 h 5973007"/>
              <a:gd name="connsiteX33451" fmla="*/ 1065914 w 6884782"/>
              <a:gd name="connsiteY33451" fmla="*/ 2462409 h 5973007"/>
              <a:gd name="connsiteX33452" fmla="*/ 1066740 w 6884782"/>
              <a:gd name="connsiteY33452" fmla="*/ 2461479 h 5973007"/>
              <a:gd name="connsiteX33453" fmla="*/ 1062094 w 6884782"/>
              <a:gd name="connsiteY33453" fmla="*/ 2463958 h 5973007"/>
              <a:gd name="connsiteX33454" fmla="*/ 1059202 w 6884782"/>
              <a:gd name="connsiteY33454" fmla="*/ 2459930 h 5973007"/>
              <a:gd name="connsiteX33455" fmla="*/ 1058480 w 6884782"/>
              <a:gd name="connsiteY33455" fmla="*/ 2460550 h 5973007"/>
              <a:gd name="connsiteX33456" fmla="*/ 1057551 w 6884782"/>
              <a:gd name="connsiteY33456" fmla="*/ 2460240 h 5973007"/>
              <a:gd name="connsiteX33457" fmla="*/ 1057241 w 6884782"/>
              <a:gd name="connsiteY33457" fmla="*/ 2460705 h 5973007"/>
              <a:gd name="connsiteX33458" fmla="*/ 1048464 w 6884782"/>
              <a:gd name="connsiteY33458" fmla="*/ 2451876 h 5973007"/>
              <a:gd name="connsiteX33459" fmla="*/ 1048464 w 6884782"/>
              <a:gd name="connsiteY33459" fmla="*/ 2447384 h 5973007"/>
              <a:gd name="connsiteX33460" fmla="*/ 1045056 w 6884782"/>
              <a:gd name="connsiteY33460" fmla="*/ 2446455 h 5973007"/>
              <a:gd name="connsiteX33461" fmla="*/ 1043817 w 6884782"/>
              <a:gd name="connsiteY33461" fmla="*/ 2441807 h 5973007"/>
              <a:gd name="connsiteX33462" fmla="*/ 1045883 w 6884782"/>
              <a:gd name="connsiteY33462" fmla="*/ 2440568 h 5973007"/>
              <a:gd name="connsiteX33463" fmla="*/ 1039171 w 6884782"/>
              <a:gd name="connsiteY33463" fmla="*/ 2430345 h 5973007"/>
              <a:gd name="connsiteX33464" fmla="*/ 1048877 w 6884782"/>
              <a:gd name="connsiteY33464" fmla="*/ 2434063 h 5973007"/>
              <a:gd name="connsiteX33465" fmla="*/ 1050529 w 6884782"/>
              <a:gd name="connsiteY33465" fmla="*/ 2435767 h 5973007"/>
              <a:gd name="connsiteX33466" fmla="*/ 1050735 w 6884782"/>
              <a:gd name="connsiteY33466" fmla="*/ 2434992 h 5973007"/>
              <a:gd name="connsiteX33467" fmla="*/ 1053317 w 6884782"/>
              <a:gd name="connsiteY33467" fmla="*/ 2430655 h 5973007"/>
              <a:gd name="connsiteX33468" fmla="*/ 1056105 w 6884782"/>
              <a:gd name="connsiteY33468" fmla="*/ 2429725 h 5973007"/>
              <a:gd name="connsiteX33469" fmla="*/ 1006129 w 6884782"/>
              <a:gd name="connsiteY33469" fmla="*/ 2429570 h 5973007"/>
              <a:gd name="connsiteX33470" fmla="*/ 1006852 w 6884782"/>
              <a:gd name="connsiteY33470" fmla="*/ 2433753 h 5973007"/>
              <a:gd name="connsiteX33471" fmla="*/ 1004993 w 6884782"/>
              <a:gd name="connsiteY33471" fmla="*/ 2434837 h 5973007"/>
              <a:gd name="connsiteX33472" fmla="*/ 1002308 w 6884782"/>
              <a:gd name="connsiteY33472" fmla="*/ 2434063 h 5973007"/>
              <a:gd name="connsiteX33473" fmla="*/ 1001586 w 6884782"/>
              <a:gd name="connsiteY33473" fmla="*/ 2430655 h 5973007"/>
              <a:gd name="connsiteX33474" fmla="*/ 1003444 w 6884782"/>
              <a:gd name="connsiteY33474" fmla="*/ 2429725 h 5973007"/>
              <a:gd name="connsiteX33475" fmla="*/ 1006129 w 6884782"/>
              <a:gd name="connsiteY33475" fmla="*/ 2429570 h 5973007"/>
              <a:gd name="connsiteX33476" fmla="*/ 767504 w 6884782"/>
              <a:gd name="connsiteY33476" fmla="*/ 2429570 h 5973007"/>
              <a:gd name="connsiteX33477" fmla="*/ 769569 w 6884782"/>
              <a:gd name="connsiteY33477" fmla="*/ 2433598 h 5973007"/>
              <a:gd name="connsiteX33478" fmla="*/ 766781 w 6884782"/>
              <a:gd name="connsiteY33478" fmla="*/ 2430500 h 5973007"/>
              <a:gd name="connsiteX33479" fmla="*/ 767504 w 6884782"/>
              <a:gd name="connsiteY33479" fmla="*/ 2429570 h 5973007"/>
              <a:gd name="connsiteX33480" fmla="*/ 1110418 w 6884782"/>
              <a:gd name="connsiteY33480" fmla="*/ 2429261 h 5973007"/>
              <a:gd name="connsiteX33481" fmla="*/ 1114858 w 6884782"/>
              <a:gd name="connsiteY33481" fmla="*/ 2431120 h 5973007"/>
              <a:gd name="connsiteX33482" fmla="*/ 1105565 w 6884782"/>
              <a:gd name="connsiteY33482" fmla="*/ 2440878 h 5973007"/>
              <a:gd name="connsiteX33483" fmla="*/ 1103293 w 6884782"/>
              <a:gd name="connsiteY33483" fmla="*/ 2436851 h 5973007"/>
              <a:gd name="connsiteX33484" fmla="*/ 1110418 w 6884782"/>
              <a:gd name="connsiteY33484" fmla="*/ 2429261 h 5973007"/>
              <a:gd name="connsiteX33485" fmla="*/ 672147 w 6884782"/>
              <a:gd name="connsiteY33485" fmla="*/ 2429242 h 5973007"/>
              <a:gd name="connsiteX33486" fmla="*/ 680355 w 6884782"/>
              <a:gd name="connsiteY33486" fmla="*/ 2430500 h 5973007"/>
              <a:gd name="connsiteX33487" fmla="*/ 680768 w 6884782"/>
              <a:gd name="connsiteY33487" fmla="*/ 2437470 h 5973007"/>
              <a:gd name="connsiteX33488" fmla="*/ 667345 w 6884782"/>
              <a:gd name="connsiteY33488" fmla="*/ 2437625 h 5973007"/>
              <a:gd name="connsiteX33489" fmla="*/ 672147 w 6884782"/>
              <a:gd name="connsiteY33489" fmla="*/ 2429242 h 5973007"/>
              <a:gd name="connsiteX33490" fmla="*/ 4855940 w 6884782"/>
              <a:gd name="connsiteY33490" fmla="*/ 2428245 h 5973007"/>
              <a:gd name="connsiteX33491" fmla="*/ 4873013 w 6884782"/>
              <a:gd name="connsiteY33491" fmla="*/ 2447451 h 5973007"/>
              <a:gd name="connsiteX33492" fmla="*/ 4847616 w 6884782"/>
              <a:gd name="connsiteY33492" fmla="*/ 2439911 h 5973007"/>
              <a:gd name="connsiteX33493" fmla="*/ 4846976 w 6884782"/>
              <a:gd name="connsiteY33493" fmla="*/ 2431090 h 5973007"/>
              <a:gd name="connsiteX33494" fmla="*/ 4855940 w 6884782"/>
              <a:gd name="connsiteY33494" fmla="*/ 2428245 h 5973007"/>
              <a:gd name="connsiteX33495" fmla="*/ 1078511 w 6884782"/>
              <a:gd name="connsiteY33495" fmla="*/ 2427247 h 5973007"/>
              <a:gd name="connsiteX33496" fmla="*/ 1083674 w 6884782"/>
              <a:gd name="connsiteY33496" fmla="*/ 2429725 h 5973007"/>
              <a:gd name="connsiteX33497" fmla="*/ 1082022 w 6884782"/>
              <a:gd name="connsiteY33497" fmla="*/ 2438400 h 5973007"/>
              <a:gd name="connsiteX33498" fmla="*/ 1076240 w 6884782"/>
              <a:gd name="connsiteY33498" fmla="*/ 2432824 h 5973007"/>
              <a:gd name="connsiteX33499" fmla="*/ 1076343 w 6884782"/>
              <a:gd name="connsiteY33499" fmla="*/ 2430345 h 5973007"/>
              <a:gd name="connsiteX33500" fmla="*/ 1078511 w 6884782"/>
              <a:gd name="connsiteY33500" fmla="*/ 2427247 h 5973007"/>
              <a:gd name="connsiteX33501" fmla="*/ 796002 w 6884782"/>
              <a:gd name="connsiteY33501" fmla="*/ 2426163 h 5973007"/>
              <a:gd name="connsiteX33502" fmla="*/ 799307 w 6884782"/>
              <a:gd name="connsiteY33502" fmla="*/ 2426473 h 5973007"/>
              <a:gd name="connsiteX33503" fmla="*/ 801475 w 6884782"/>
              <a:gd name="connsiteY33503" fmla="*/ 2429725 h 5973007"/>
              <a:gd name="connsiteX33504" fmla="*/ 801475 w 6884782"/>
              <a:gd name="connsiteY33504" fmla="*/ 2436541 h 5973007"/>
              <a:gd name="connsiteX33505" fmla="*/ 799926 w 6884782"/>
              <a:gd name="connsiteY33505" fmla="*/ 2436076 h 5973007"/>
              <a:gd name="connsiteX33506" fmla="*/ 798997 w 6884782"/>
              <a:gd name="connsiteY33506" fmla="*/ 2444441 h 5973007"/>
              <a:gd name="connsiteX33507" fmla="*/ 794454 w 6884782"/>
              <a:gd name="connsiteY33507" fmla="*/ 2451256 h 5973007"/>
              <a:gd name="connsiteX33508" fmla="*/ 790427 w 6884782"/>
              <a:gd name="connsiteY33508" fmla="*/ 2453889 h 5973007"/>
              <a:gd name="connsiteX33509" fmla="*/ 794041 w 6884782"/>
              <a:gd name="connsiteY33509" fmla="*/ 2454664 h 5973007"/>
              <a:gd name="connsiteX33510" fmla="*/ 806431 w 6884782"/>
              <a:gd name="connsiteY33510" fmla="*/ 2462873 h 5973007"/>
              <a:gd name="connsiteX33511" fmla="*/ 796829 w 6884782"/>
              <a:gd name="connsiteY33511" fmla="*/ 2468914 h 5973007"/>
              <a:gd name="connsiteX33512" fmla="*/ 781340 w 6884782"/>
              <a:gd name="connsiteY33512" fmla="*/ 2457297 h 5973007"/>
              <a:gd name="connsiteX33513" fmla="*/ 781443 w 6884782"/>
              <a:gd name="connsiteY33513" fmla="*/ 2456832 h 5973007"/>
              <a:gd name="connsiteX33514" fmla="*/ 774525 w 6884782"/>
              <a:gd name="connsiteY33514" fmla="*/ 2456677 h 5973007"/>
              <a:gd name="connsiteX33515" fmla="*/ 766987 w 6884782"/>
              <a:gd name="connsiteY33515" fmla="*/ 2454199 h 5973007"/>
              <a:gd name="connsiteX33516" fmla="*/ 765852 w 6884782"/>
              <a:gd name="connsiteY33516" fmla="*/ 2451876 h 5973007"/>
              <a:gd name="connsiteX33517" fmla="*/ 777829 w 6884782"/>
              <a:gd name="connsiteY33517" fmla="*/ 2434218 h 5973007"/>
              <a:gd name="connsiteX33518" fmla="*/ 794660 w 6884782"/>
              <a:gd name="connsiteY33518" fmla="*/ 2432669 h 5973007"/>
              <a:gd name="connsiteX33519" fmla="*/ 795486 w 6884782"/>
              <a:gd name="connsiteY33519" fmla="*/ 2433133 h 5973007"/>
              <a:gd name="connsiteX33520" fmla="*/ 794454 w 6884782"/>
              <a:gd name="connsiteY33520" fmla="*/ 2432049 h 5973007"/>
              <a:gd name="connsiteX33521" fmla="*/ 794660 w 6884782"/>
              <a:gd name="connsiteY33521" fmla="*/ 2430190 h 5973007"/>
              <a:gd name="connsiteX33522" fmla="*/ 796002 w 6884782"/>
              <a:gd name="connsiteY33522" fmla="*/ 2426163 h 5973007"/>
              <a:gd name="connsiteX33523" fmla="*/ 893063 w 6884782"/>
              <a:gd name="connsiteY33523" fmla="*/ 2425234 h 5973007"/>
              <a:gd name="connsiteX33524" fmla="*/ 897297 w 6884782"/>
              <a:gd name="connsiteY33524" fmla="*/ 2426008 h 5973007"/>
              <a:gd name="connsiteX33525" fmla="*/ 899569 w 6884782"/>
              <a:gd name="connsiteY33525" fmla="*/ 2433443 h 5973007"/>
              <a:gd name="connsiteX33526" fmla="*/ 896161 w 6884782"/>
              <a:gd name="connsiteY33526" fmla="*/ 2433598 h 5973007"/>
              <a:gd name="connsiteX33527" fmla="*/ 892340 w 6884782"/>
              <a:gd name="connsiteY33527" fmla="*/ 2427403 h 5973007"/>
              <a:gd name="connsiteX33528" fmla="*/ 893063 w 6884782"/>
              <a:gd name="connsiteY33528" fmla="*/ 2425234 h 5973007"/>
              <a:gd name="connsiteX33529" fmla="*/ 549117 w 6884782"/>
              <a:gd name="connsiteY33529" fmla="*/ 2423375 h 5973007"/>
              <a:gd name="connsiteX33530" fmla="*/ 551595 w 6884782"/>
              <a:gd name="connsiteY33530" fmla="*/ 2426938 h 5973007"/>
              <a:gd name="connsiteX33531" fmla="*/ 552524 w 6884782"/>
              <a:gd name="connsiteY33531" fmla="*/ 2427093 h 5973007"/>
              <a:gd name="connsiteX33532" fmla="*/ 554280 w 6884782"/>
              <a:gd name="connsiteY33532" fmla="*/ 2425543 h 5973007"/>
              <a:gd name="connsiteX33533" fmla="*/ 562954 w 6884782"/>
              <a:gd name="connsiteY33533" fmla="*/ 2426473 h 5973007"/>
              <a:gd name="connsiteX33534" fmla="*/ 565431 w 6884782"/>
              <a:gd name="connsiteY33534" fmla="*/ 2435922 h 5973007"/>
              <a:gd name="connsiteX33535" fmla="*/ 562747 w 6884782"/>
              <a:gd name="connsiteY33535" fmla="*/ 2439949 h 5973007"/>
              <a:gd name="connsiteX33536" fmla="*/ 552318 w 6884782"/>
              <a:gd name="connsiteY33536" fmla="*/ 2437935 h 5973007"/>
              <a:gd name="connsiteX33537" fmla="*/ 550769 w 6884782"/>
              <a:gd name="connsiteY33537" fmla="*/ 2428641 h 5973007"/>
              <a:gd name="connsiteX33538" fmla="*/ 549014 w 6884782"/>
              <a:gd name="connsiteY33538" fmla="*/ 2427557 h 5973007"/>
              <a:gd name="connsiteX33539" fmla="*/ 547361 w 6884782"/>
              <a:gd name="connsiteY33539" fmla="*/ 2423994 h 5973007"/>
              <a:gd name="connsiteX33540" fmla="*/ 549117 w 6884782"/>
              <a:gd name="connsiteY33540" fmla="*/ 2423375 h 5973007"/>
              <a:gd name="connsiteX33541" fmla="*/ 5267626 w 6884782"/>
              <a:gd name="connsiteY33541" fmla="*/ 2422839 h 5973007"/>
              <a:gd name="connsiteX33542" fmla="*/ 5276376 w 6884782"/>
              <a:gd name="connsiteY33542" fmla="*/ 2431090 h 5973007"/>
              <a:gd name="connsiteX33543" fmla="*/ 5272748 w 6884782"/>
              <a:gd name="connsiteY33543" fmla="*/ 2434362 h 5973007"/>
              <a:gd name="connsiteX33544" fmla="*/ 5272961 w 6884782"/>
              <a:gd name="connsiteY33544" fmla="*/ 2434505 h 5973007"/>
              <a:gd name="connsiteX33545" fmla="*/ 5278937 w 6884782"/>
              <a:gd name="connsiteY33545" fmla="*/ 2435074 h 5973007"/>
              <a:gd name="connsiteX33546" fmla="*/ 5281072 w 6884782"/>
              <a:gd name="connsiteY33546" fmla="*/ 2437777 h 5973007"/>
              <a:gd name="connsiteX33547" fmla="*/ 5281072 w 6884782"/>
              <a:gd name="connsiteY33547" fmla="*/ 2438915 h 5973007"/>
              <a:gd name="connsiteX33548" fmla="*/ 5278511 w 6884782"/>
              <a:gd name="connsiteY33548" fmla="*/ 2439627 h 5973007"/>
              <a:gd name="connsiteX33549" fmla="*/ 5267200 w 6884782"/>
              <a:gd name="connsiteY33549" fmla="*/ 2437208 h 5973007"/>
              <a:gd name="connsiteX33550" fmla="*/ 5265919 w 6884782"/>
              <a:gd name="connsiteY33550" fmla="*/ 2437065 h 5973007"/>
              <a:gd name="connsiteX33551" fmla="*/ 5260797 w 6884782"/>
              <a:gd name="connsiteY33551" fmla="*/ 2436781 h 5973007"/>
              <a:gd name="connsiteX33552" fmla="*/ 5267626 w 6884782"/>
              <a:gd name="connsiteY33552" fmla="*/ 2422839 h 5973007"/>
              <a:gd name="connsiteX33553" fmla="*/ 1129520 w 6884782"/>
              <a:gd name="connsiteY33553" fmla="*/ 2422291 h 5973007"/>
              <a:gd name="connsiteX33554" fmla="*/ 1131895 w 6884782"/>
              <a:gd name="connsiteY33554" fmla="*/ 2422910 h 5973007"/>
              <a:gd name="connsiteX33555" fmla="*/ 1134683 w 6884782"/>
              <a:gd name="connsiteY33555" fmla="*/ 2427403 h 5973007"/>
              <a:gd name="connsiteX33556" fmla="*/ 1132721 w 6884782"/>
              <a:gd name="connsiteY33556" fmla="*/ 2429106 h 5973007"/>
              <a:gd name="connsiteX33557" fmla="*/ 1133960 w 6884782"/>
              <a:gd name="connsiteY33557" fmla="*/ 2430035 h 5973007"/>
              <a:gd name="connsiteX33558" fmla="*/ 1134786 w 6884782"/>
              <a:gd name="connsiteY33558" fmla="*/ 2431120 h 5973007"/>
              <a:gd name="connsiteX33559" fmla="*/ 1130966 w 6884782"/>
              <a:gd name="connsiteY33559" fmla="*/ 2433598 h 5973007"/>
              <a:gd name="connsiteX33560" fmla="*/ 1130346 w 6884782"/>
              <a:gd name="connsiteY33560" fmla="*/ 2431894 h 5973007"/>
              <a:gd name="connsiteX33561" fmla="*/ 1129933 w 6884782"/>
              <a:gd name="connsiteY33561" fmla="*/ 2430345 h 5973007"/>
              <a:gd name="connsiteX33562" fmla="*/ 1128178 w 6884782"/>
              <a:gd name="connsiteY33562" fmla="*/ 2430810 h 5973007"/>
              <a:gd name="connsiteX33563" fmla="*/ 1128281 w 6884782"/>
              <a:gd name="connsiteY33563" fmla="*/ 2431429 h 5973007"/>
              <a:gd name="connsiteX33564" fmla="*/ 1129210 w 6884782"/>
              <a:gd name="connsiteY33564" fmla="*/ 2431429 h 5973007"/>
              <a:gd name="connsiteX33565" fmla="*/ 1128074 w 6884782"/>
              <a:gd name="connsiteY33565" fmla="*/ 2433133 h 5973007"/>
              <a:gd name="connsiteX33566" fmla="*/ 1121466 w 6884782"/>
              <a:gd name="connsiteY33566" fmla="*/ 2435302 h 5973007"/>
              <a:gd name="connsiteX33567" fmla="*/ 1120950 w 6884782"/>
              <a:gd name="connsiteY33567" fmla="*/ 2432824 h 5973007"/>
              <a:gd name="connsiteX33568" fmla="*/ 1122189 w 6884782"/>
              <a:gd name="connsiteY33568" fmla="*/ 2431120 h 5973007"/>
              <a:gd name="connsiteX33569" fmla="*/ 1125390 w 6884782"/>
              <a:gd name="connsiteY33569" fmla="*/ 2429106 h 5973007"/>
              <a:gd name="connsiteX33570" fmla="*/ 1126422 w 6884782"/>
              <a:gd name="connsiteY33570" fmla="*/ 2429261 h 5973007"/>
              <a:gd name="connsiteX33571" fmla="*/ 1125699 w 6884782"/>
              <a:gd name="connsiteY33571" fmla="*/ 2428641 h 5973007"/>
              <a:gd name="connsiteX33572" fmla="*/ 1125596 w 6884782"/>
              <a:gd name="connsiteY33572" fmla="*/ 2425234 h 5973007"/>
              <a:gd name="connsiteX33573" fmla="*/ 1126732 w 6884782"/>
              <a:gd name="connsiteY33573" fmla="*/ 2423065 h 5973007"/>
              <a:gd name="connsiteX33574" fmla="*/ 1129520 w 6884782"/>
              <a:gd name="connsiteY33574" fmla="*/ 2422291 h 5973007"/>
              <a:gd name="connsiteX33575" fmla="*/ 1176811 w 6884782"/>
              <a:gd name="connsiteY33575" fmla="*/ 2422136 h 5973007"/>
              <a:gd name="connsiteX33576" fmla="*/ 1183833 w 6884782"/>
              <a:gd name="connsiteY33576" fmla="*/ 2427712 h 5973007"/>
              <a:gd name="connsiteX33577" fmla="*/ 1175985 w 6884782"/>
              <a:gd name="connsiteY33577" fmla="*/ 2427247 h 5973007"/>
              <a:gd name="connsiteX33578" fmla="*/ 1176811 w 6884782"/>
              <a:gd name="connsiteY33578" fmla="*/ 2422136 h 5973007"/>
              <a:gd name="connsiteX33579" fmla="*/ 924350 w 6884782"/>
              <a:gd name="connsiteY33579" fmla="*/ 2421516 h 5973007"/>
              <a:gd name="connsiteX33580" fmla="*/ 927448 w 6884782"/>
              <a:gd name="connsiteY33580" fmla="*/ 2428796 h 5973007"/>
              <a:gd name="connsiteX33581" fmla="*/ 921562 w 6884782"/>
              <a:gd name="connsiteY33581" fmla="*/ 2423684 h 5973007"/>
              <a:gd name="connsiteX33582" fmla="*/ 921768 w 6884782"/>
              <a:gd name="connsiteY33582" fmla="*/ 2421671 h 5973007"/>
              <a:gd name="connsiteX33583" fmla="*/ 924350 w 6884782"/>
              <a:gd name="connsiteY33583" fmla="*/ 2421516 h 5973007"/>
              <a:gd name="connsiteX33584" fmla="*/ 867559 w 6884782"/>
              <a:gd name="connsiteY33584" fmla="*/ 2421516 h 5973007"/>
              <a:gd name="connsiteX33585" fmla="*/ 871173 w 6884782"/>
              <a:gd name="connsiteY33585" fmla="*/ 2424304 h 5973007"/>
              <a:gd name="connsiteX33586" fmla="*/ 873961 w 6884782"/>
              <a:gd name="connsiteY33586" fmla="*/ 2424769 h 5973007"/>
              <a:gd name="connsiteX33587" fmla="*/ 873961 w 6884782"/>
              <a:gd name="connsiteY33587" fmla="*/ 2425699 h 5973007"/>
              <a:gd name="connsiteX33588" fmla="*/ 863325 w 6884782"/>
              <a:gd name="connsiteY33588" fmla="*/ 2425389 h 5973007"/>
              <a:gd name="connsiteX33589" fmla="*/ 862293 w 6884782"/>
              <a:gd name="connsiteY33589" fmla="*/ 2424149 h 5973007"/>
              <a:gd name="connsiteX33590" fmla="*/ 863119 w 6884782"/>
              <a:gd name="connsiteY33590" fmla="*/ 2422136 h 5973007"/>
              <a:gd name="connsiteX33591" fmla="*/ 867559 w 6884782"/>
              <a:gd name="connsiteY33591" fmla="*/ 2421516 h 5973007"/>
              <a:gd name="connsiteX33592" fmla="*/ 1054660 w 6884782"/>
              <a:gd name="connsiteY33592" fmla="*/ 2421361 h 5973007"/>
              <a:gd name="connsiteX33593" fmla="*/ 1060958 w 6884782"/>
              <a:gd name="connsiteY33593" fmla="*/ 2425079 h 5973007"/>
              <a:gd name="connsiteX33594" fmla="*/ 1054143 w 6884782"/>
              <a:gd name="connsiteY33594" fmla="*/ 2428641 h 5973007"/>
              <a:gd name="connsiteX33595" fmla="*/ 1052491 w 6884782"/>
              <a:gd name="connsiteY33595" fmla="*/ 2427557 h 5973007"/>
              <a:gd name="connsiteX33596" fmla="*/ 1049393 w 6884782"/>
              <a:gd name="connsiteY33596" fmla="*/ 2424149 h 5973007"/>
              <a:gd name="connsiteX33597" fmla="*/ 1050839 w 6884782"/>
              <a:gd name="connsiteY33597" fmla="*/ 2421516 h 5973007"/>
              <a:gd name="connsiteX33598" fmla="*/ 1054660 w 6884782"/>
              <a:gd name="connsiteY33598" fmla="*/ 2421361 h 5973007"/>
              <a:gd name="connsiteX33599" fmla="*/ 1026987 w 6884782"/>
              <a:gd name="connsiteY33599" fmla="*/ 2421051 h 5973007"/>
              <a:gd name="connsiteX33600" fmla="*/ 1029774 w 6884782"/>
              <a:gd name="connsiteY33600" fmla="*/ 2421516 h 5973007"/>
              <a:gd name="connsiteX33601" fmla="*/ 1032562 w 6884782"/>
              <a:gd name="connsiteY33601" fmla="*/ 2425234 h 5973007"/>
              <a:gd name="connsiteX33602" fmla="*/ 1025644 w 6884782"/>
              <a:gd name="connsiteY33602" fmla="*/ 2427867 h 5973007"/>
              <a:gd name="connsiteX33603" fmla="*/ 1023683 w 6884782"/>
              <a:gd name="connsiteY33603" fmla="*/ 2425853 h 5973007"/>
              <a:gd name="connsiteX33604" fmla="*/ 1026987 w 6884782"/>
              <a:gd name="connsiteY33604" fmla="*/ 2421051 h 5973007"/>
              <a:gd name="connsiteX33605" fmla="*/ 655161 w 6884782"/>
              <a:gd name="connsiteY33605" fmla="*/ 2421051 h 5973007"/>
              <a:gd name="connsiteX33606" fmla="*/ 658775 w 6884782"/>
              <a:gd name="connsiteY33606" fmla="*/ 2430965 h 5973007"/>
              <a:gd name="connsiteX33607" fmla="*/ 655471 w 6884782"/>
              <a:gd name="connsiteY33607" fmla="*/ 2432359 h 5973007"/>
              <a:gd name="connsiteX33608" fmla="*/ 650205 w 6884782"/>
              <a:gd name="connsiteY33608" fmla="*/ 2422910 h 5973007"/>
              <a:gd name="connsiteX33609" fmla="*/ 655161 w 6884782"/>
              <a:gd name="connsiteY33609" fmla="*/ 2421051 h 5973007"/>
              <a:gd name="connsiteX33610" fmla="*/ 1084604 w 6884782"/>
              <a:gd name="connsiteY33610" fmla="*/ 2420587 h 5973007"/>
              <a:gd name="connsiteX33611" fmla="*/ 1086153 w 6884782"/>
              <a:gd name="connsiteY33611" fmla="*/ 2421051 h 5973007"/>
              <a:gd name="connsiteX33612" fmla="*/ 1078615 w 6884782"/>
              <a:gd name="connsiteY33612" fmla="*/ 2424769 h 5973007"/>
              <a:gd name="connsiteX33613" fmla="*/ 1084604 w 6884782"/>
              <a:gd name="connsiteY33613" fmla="*/ 2420587 h 5973007"/>
              <a:gd name="connsiteX33614" fmla="*/ 5226863 w 6884782"/>
              <a:gd name="connsiteY33614" fmla="*/ 2420278 h 5973007"/>
              <a:gd name="connsiteX33615" fmla="*/ 5236680 w 6884782"/>
              <a:gd name="connsiteY33615" fmla="*/ 2421843 h 5973007"/>
              <a:gd name="connsiteX33616" fmla="*/ 5236253 w 6884782"/>
              <a:gd name="connsiteY33616" fmla="*/ 2428672 h 5973007"/>
              <a:gd name="connsiteX33617" fmla="*/ 5227290 w 6884782"/>
              <a:gd name="connsiteY33617" fmla="*/ 2429668 h 5973007"/>
              <a:gd name="connsiteX33618" fmla="*/ 5226863 w 6884782"/>
              <a:gd name="connsiteY33618" fmla="*/ 2420278 h 5973007"/>
              <a:gd name="connsiteX33619" fmla="*/ 981141 w 6884782"/>
              <a:gd name="connsiteY33619" fmla="*/ 2419502 h 5973007"/>
              <a:gd name="connsiteX33620" fmla="*/ 982277 w 6884782"/>
              <a:gd name="connsiteY33620" fmla="*/ 2423684 h 5973007"/>
              <a:gd name="connsiteX33621" fmla="*/ 980315 w 6884782"/>
              <a:gd name="connsiteY33621" fmla="*/ 2425389 h 5973007"/>
              <a:gd name="connsiteX33622" fmla="*/ 978353 w 6884782"/>
              <a:gd name="connsiteY33622" fmla="*/ 2423375 h 5973007"/>
              <a:gd name="connsiteX33623" fmla="*/ 978043 w 6884782"/>
              <a:gd name="connsiteY33623" fmla="*/ 2420741 h 5973007"/>
              <a:gd name="connsiteX33624" fmla="*/ 979076 w 6884782"/>
              <a:gd name="connsiteY33624" fmla="*/ 2419967 h 5973007"/>
              <a:gd name="connsiteX33625" fmla="*/ 981141 w 6884782"/>
              <a:gd name="connsiteY33625" fmla="*/ 2419502 h 5973007"/>
              <a:gd name="connsiteX33626" fmla="*/ 1007058 w 6884782"/>
              <a:gd name="connsiteY33626" fmla="*/ 2418418 h 5973007"/>
              <a:gd name="connsiteX33627" fmla="*/ 1008400 w 6884782"/>
              <a:gd name="connsiteY33627" fmla="*/ 2426008 h 5973007"/>
              <a:gd name="connsiteX33628" fmla="*/ 1007471 w 6884782"/>
              <a:gd name="connsiteY33628" fmla="*/ 2426782 h 5973007"/>
              <a:gd name="connsiteX33629" fmla="*/ 997249 w 6884782"/>
              <a:gd name="connsiteY33629" fmla="*/ 2430345 h 5973007"/>
              <a:gd name="connsiteX33630" fmla="*/ 996216 w 6884782"/>
              <a:gd name="connsiteY33630" fmla="*/ 2426782 h 5973007"/>
              <a:gd name="connsiteX33631" fmla="*/ 998488 w 6884782"/>
              <a:gd name="connsiteY33631" fmla="*/ 2422910 h 5973007"/>
              <a:gd name="connsiteX33632" fmla="*/ 1007058 w 6884782"/>
              <a:gd name="connsiteY33632" fmla="*/ 2418418 h 5973007"/>
              <a:gd name="connsiteX33633" fmla="*/ 5256742 w 6884782"/>
              <a:gd name="connsiteY33633" fmla="*/ 2417006 h 5973007"/>
              <a:gd name="connsiteX33634" fmla="*/ 5258876 w 6884782"/>
              <a:gd name="connsiteY33634" fmla="*/ 2418286 h 5973007"/>
              <a:gd name="connsiteX33635" fmla="*/ 5259730 w 6884782"/>
              <a:gd name="connsiteY33635" fmla="*/ 2426964 h 5973007"/>
              <a:gd name="connsiteX33636" fmla="*/ 5256742 w 6884782"/>
              <a:gd name="connsiteY33636" fmla="*/ 2429383 h 5973007"/>
              <a:gd name="connsiteX33637" fmla="*/ 5250766 w 6884782"/>
              <a:gd name="connsiteY33637" fmla="*/ 2424261 h 5973007"/>
              <a:gd name="connsiteX33638" fmla="*/ 5251619 w 6884782"/>
              <a:gd name="connsiteY33638" fmla="*/ 2420420 h 5973007"/>
              <a:gd name="connsiteX33639" fmla="*/ 5256742 w 6884782"/>
              <a:gd name="connsiteY33639" fmla="*/ 2417006 h 5973007"/>
              <a:gd name="connsiteX33640" fmla="*/ 1187653 w 6884782"/>
              <a:gd name="connsiteY33640" fmla="*/ 2416714 h 5973007"/>
              <a:gd name="connsiteX33641" fmla="*/ 1194571 w 6884782"/>
              <a:gd name="connsiteY33641" fmla="*/ 2419967 h 5973007"/>
              <a:gd name="connsiteX33642" fmla="*/ 1194571 w 6884782"/>
              <a:gd name="connsiteY33642" fmla="*/ 2421980 h 5973007"/>
              <a:gd name="connsiteX33643" fmla="*/ 1193126 w 6884782"/>
              <a:gd name="connsiteY33643" fmla="*/ 2426163 h 5973007"/>
              <a:gd name="connsiteX33644" fmla="*/ 1189925 w 6884782"/>
              <a:gd name="connsiteY33644" fmla="*/ 2426473 h 5973007"/>
              <a:gd name="connsiteX33645" fmla="*/ 1187653 w 6884782"/>
              <a:gd name="connsiteY33645" fmla="*/ 2423684 h 5973007"/>
              <a:gd name="connsiteX33646" fmla="*/ 1187343 w 6884782"/>
              <a:gd name="connsiteY33646" fmla="*/ 2420122 h 5973007"/>
              <a:gd name="connsiteX33647" fmla="*/ 1187653 w 6884782"/>
              <a:gd name="connsiteY33647" fmla="*/ 2416714 h 5973007"/>
              <a:gd name="connsiteX33648" fmla="*/ 1063333 w 6884782"/>
              <a:gd name="connsiteY33648" fmla="*/ 2416405 h 5973007"/>
              <a:gd name="connsiteX33649" fmla="*/ 1064882 w 6884782"/>
              <a:gd name="connsiteY33649" fmla="*/ 2416870 h 5973007"/>
              <a:gd name="connsiteX33650" fmla="*/ 1065914 w 6884782"/>
              <a:gd name="connsiteY33650" fmla="*/ 2419037 h 5973007"/>
              <a:gd name="connsiteX33651" fmla="*/ 1062404 w 6884782"/>
              <a:gd name="connsiteY33651" fmla="*/ 2419502 h 5973007"/>
              <a:gd name="connsiteX33652" fmla="*/ 1062300 w 6884782"/>
              <a:gd name="connsiteY33652" fmla="*/ 2417644 h 5973007"/>
              <a:gd name="connsiteX33653" fmla="*/ 1063333 w 6884782"/>
              <a:gd name="connsiteY33653" fmla="*/ 2416405 h 5973007"/>
              <a:gd name="connsiteX33654" fmla="*/ 1041649 w 6884782"/>
              <a:gd name="connsiteY33654" fmla="*/ 2416094 h 5973007"/>
              <a:gd name="connsiteX33655" fmla="*/ 1047638 w 6884782"/>
              <a:gd name="connsiteY33655" fmla="*/ 2423684 h 5973007"/>
              <a:gd name="connsiteX33656" fmla="*/ 1047431 w 6884782"/>
              <a:gd name="connsiteY33656" fmla="*/ 2424614 h 5973007"/>
              <a:gd name="connsiteX33657" fmla="*/ 1048361 w 6884782"/>
              <a:gd name="connsiteY33657" fmla="*/ 2426782 h 5973007"/>
              <a:gd name="connsiteX33658" fmla="*/ 1045986 w 6884782"/>
              <a:gd name="connsiteY33658" fmla="*/ 2429416 h 5973007"/>
              <a:gd name="connsiteX33659" fmla="*/ 1037519 w 6884782"/>
              <a:gd name="connsiteY33659" fmla="*/ 2422136 h 5973007"/>
              <a:gd name="connsiteX33660" fmla="*/ 1041339 w 6884782"/>
              <a:gd name="connsiteY33660" fmla="*/ 2418728 h 5973007"/>
              <a:gd name="connsiteX33661" fmla="*/ 5129970 w 6884782"/>
              <a:gd name="connsiteY33661" fmla="*/ 2415440 h 5973007"/>
              <a:gd name="connsiteX33662" fmla="*/ 5133812 w 6884782"/>
              <a:gd name="connsiteY33662" fmla="*/ 2416295 h 5973007"/>
              <a:gd name="connsiteX33663" fmla="*/ 5139574 w 6884782"/>
              <a:gd name="connsiteY33663" fmla="*/ 2416863 h 5973007"/>
              <a:gd name="connsiteX33664" fmla="*/ 5157928 w 6884782"/>
              <a:gd name="connsiteY33664" fmla="*/ 2423977 h 5973007"/>
              <a:gd name="connsiteX33665" fmla="*/ 5149819 w 6884782"/>
              <a:gd name="connsiteY33665" fmla="*/ 2424261 h 5973007"/>
              <a:gd name="connsiteX33666" fmla="*/ 5131464 w 6884782"/>
              <a:gd name="connsiteY33666" fmla="*/ 2421843 h 5973007"/>
              <a:gd name="connsiteX33667" fmla="*/ 5129117 w 6884782"/>
              <a:gd name="connsiteY33667" fmla="*/ 2419282 h 5973007"/>
              <a:gd name="connsiteX33668" fmla="*/ 5128050 w 6884782"/>
              <a:gd name="connsiteY33668" fmla="*/ 2419140 h 5973007"/>
              <a:gd name="connsiteX33669" fmla="*/ 5126983 w 6884782"/>
              <a:gd name="connsiteY33669" fmla="*/ 2416579 h 5973007"/>
              <a:gd name="connsiteX33670" fmla="*/ 5129970 w 6884782"/>
              <a:gd name="connsiteY33670" fmla="*/ 2415440 h 5973007"/>
              <a:gd name="connsiteX33671" fmla="*/ 4845695 w 6884782"/>
              <a:gd name="connsiteY33671" fmla="*/ 2415440 h 5973007"/>
              <a:gd name="connsiteX33672" fmla="*/ 4850177 w 6884782"/>
              <a:gd name="connsiteY33672" fmla="*/ 2415583 h 5973007"/>
              <a:gd name="connsiteX33673" fmla="*/ 4852098 w 6884782"/>
              <a:gd name="connsiteY33673" fmla="*/ 2418571 h 5973007"/>
              <a:gd name="connsiteX33674" fmla="*/ 4853378 w 6884782"/>
              <a:gd name="connsiteY33674" fmla="*/ 2420704 h 5973007"/>
              <a:gd name="connsiteX33675" fmla="*/ 4852738 w 6884782"/>
              <a:gd name="connsiteY33675" fmla="*/ 2425684 h 5973007"/>
              <a:gd name="connsiteX33676" fmla="*/ 4853805 w 6884782"/>
              <a:gd name="connsiteY33676" fmla="*/ 2425257 h 5973007"/>
              <a:gd name="connsiteX33677" fmla="*/ 4847402 w 6884782"/>
              <a:gd name="connsiteY33677" fmla="*/ 2428814 h 5973007"/>
              <a:gd name="connsiteX33678" fmla="*/ 4841640 w 6884782"/>
              <a:gd name="connsiteY33678" fmla="*/ 2416152 h 5973007"/>
              <a:gd name="connsiteX33679" fmla="*/ 4845695 w 6884782"/>
              <a:gd name="connsiteY33679" fmla="*/ 2415440 h 5973007"/>
              <a:gd name="connsiteX33680" fmla="*/ 5118232 w 6884782"/>
              <a:gd name="connsiteY33680" fmla="*/ 2413591 h 5973007"/>
              <a:gd name="connsiteX33681" fmla="*/ 5125062 w 6884782"/>
              <a:gd name="connsiteY33681" fmla="*/ 2426964 h 5973007"/>
              <a:gd name="connsiteX33682" fmla="*/ 5107988 w 6884782"/>
              <a:gd name="connsiteY33682" fmla="*/ 2425257 h 5973007"/>
              <a:gd name="connsiteX33683" fmla="*/ 5118232 w 6884782"/>
              <a:gd name="connsiteY33683" fmla="*/ 2413591 h 5973007"/>
              <a:gd name="connsiteX33684" fmla="*/ 5532267 w 6884782"/>
              <a:gd name="connsiteY33684" fmla="*/ 2413449 h 5973007"/>
              <a:gd name="connsiteX33685" fmla="*/ 5513913 w 6884782"/>
              <a:gd name="connsiteY33685" fmla="*/ 2421843 h 5973007"/>
              <a:gd name="connsiteX33686" fmla="*/ 5514126 w 6884782"/>
              <a:gd name="connsiteY33686" fmla="*/ 2424688 h 5973007"/>
              <a:gd name="connsiteX33687" fmla="*/ 5516047 w 6884782"/>
              <a:gd name="connsiteY33687" fmla="*/ 2423834 h 5973007"/>
              <a:gd name="connsiteX33688" fmla="*/ 5510711 w 6884782"/>
              <a:gd name="connsiteY33688" fmla="*/ 2430379 h 5973007"/>
              <a:gd name="connsiteX33689" fmla="*/ 5509217 w 6884782"/>
              <a:gd name="connsiteY33689" fmla="*/ 2427107 h 5973007"/>
              <a:gd name="connsiteX33690" fmla="*/ 5513059 w 6884782"/>
              <a:gd name="connsiteY33690" fmla="*/ 2425399 h 5973007"/>
              <a:gd name="connsiteX33691" fmla="*/ 5510711 w 6884782"/>
              <a:gd name="connsiteY33691" fmla="*/ 2424261 h 5973007"/>
              <a:gd name="connsiteX33692" fmla="*/ 5507297 w 6884782"/>
              <a:gd name="connsiteY33692" fmla="*/ 2423123 h 5973007"/>
              <a:gd name="connsiteX33693" fmla="*/ 5487875 w 6884782"/>
              <a:gd name="connsiteY33693" fmla="*/ 2435216 h 5973007"/>
              <a:gd name="connsiteX33694" fmla="*/ 5487022 w 6884782"/>
              <a:gd name="connsiteY33694" fmla="*/ 2435643 h 5973007"/>
              <a:gd name="connsiteX33695" fmla="*/ 5489156 w 6884782"/>
              <a:gd name="connsiteY33695" fmla="*/ 2438630 h 5973007"/>
              <a:gd name="connsiteX33696" fmla="*/ 5489156 w 6884782"/>
              <a:gd name="connsiteY33696" fmla="*/ 2439769 h 5973007"/>
              <a:gd name="connsiteX33697" fmla="*/ 5493851 w 6884782"/>
              <a:gd name="connsiteY33697" fmla="*/ 2438630 h 5973007"/>
              <a:gd name="connsiteX33698" fmla="*/ 5515193 w 6884782"/>
              <a:gd name="connsiteY33698" fmla="*/ 2431944 h 5973007"/>
              <a:gd name="connsiteX33699" fmla="*/ 5518181 w 6884782"/>
              <a:gd name="connsiteY33699" fmla="*/ 2436354 h 5973007"/>
              <a:gd name="connsiteX33700" fmla="*/ 5521382 w 6884782"/>
              <a:gd name="connsiteY33700" fmla="*/ 2425969 h 5973007"/>
              <a:gd name="connsiteX33701" fmla="*/ 5532267 w 6884782"/>
              <a:gd name="connsiteY33701" fmla="*/ 2422269 h 5973007"/>
              <a:gd name="connsiteX33702" fmla="*/ 5532267 w 6884782"/>
              <a:gd name="connsiteY33702" fmla="*/ 2413449 h 5973007"/>
              <a:gd name="connsiteX33703" fmla="*/ 1122086 w 6884782"/>
              <a:gd name="connsiteY33703" fmla="*/ 2413306 h 5973007"/>
              <a:gd name="connsiteX33704" fmla="*/ 1126732 w 6884782"/>
              <a:gd name="connsiteY33704" fmla="*/ 2418883 h 5973007"/>
              <a:gd name="connsiteX33705" fmla="*/ 1120950 w 6884782"/>
              <a:gd name="connsiteY33705" fmla="*/ 2418263 h 5973007"/>
              <a:gd name="connsiteX33706" fmla="*/ 1122086 w 6884782"/>
              <a:gd name="connsiteY33706" fmla="*/ 2413306 h 5973007"/>
              <a:gd name="connsiteX33707" fmla="*/ 779520 w 6884782"/>
              <a:gd name="connsiteY33707" fmla="*/ 2413036 h 5973007"/>
              <a:gd name="connsiteX33708" fmla="*/ 785677 w 6884782"/>
              <a:gd name="connsiteY33708" fmla="*/ 2416870 h 5973007"/>
              <a:gd name="connsiteX33709" fmla="*/ 788258 w 6884782"/>
              <a:gd name="connsiteY33709" fmla="*/ 2421361 h 5973007"/>
              <a:gd name="connsiteX33710" fmla="*/ 786400 w 6884782"/>
              <a:gd name="connsiteY33710" fmla="*/ 2427093 h 5973007"/>
              <a:gd name="connsiteX33711" fmla="*/ 775145 w 6884782"/>
              <a:gd name="connsiteY33711" fmla="*/ 2427712 h 5973007"/>
              <a:gd name="connsiteX33712" fmla="*/ 770911 w 6884782"/>
              <a:gd name="connsiteY33712" fmla="*/ 2419657 h 5973007"/>
              <a:gd name="connsiteX33713" fmla="*/ 770911 w 6884782"/>
              <a:gd name="connsiteY33713" fmla="*/ 2420587 h 5973007"/>
              <a:gd name="connsiteX33714" fmla="*/ 768949 w 6884782"/>
              <a:gd name="connsiteY33714" fmla="*/ 2421980 h 5973007"/>
              <a:gd name="connsiteX33715" fmla="*/ 769053 w 6884782"/>
              <a:gd name="connsiteY33715" fmla="*/ 2423530 h 5973007"/>
              <a:gd name="connsiteX33716" fmla="*/ 769053 w 6884782"/>
              <a:gd name="connsiteY33716" fmla="*/ 2425079 h 5973007"/>
              <a:gd name="connsiteX33717" fmla="*/ 768226 w 6884782"/>
              <a:gd name="connsiteY33717" fmla="*/ 2425234 h 5973007"/>
              <a:gd name="connsiteX33718" fmla="*/ 767710 w 6884782"/>
              <a:gd name="connsiteY33718" fmla="*/ 2423065 h 5973007"/>
              <a:gd name="connsiteX33719" fmla="*/ 764613 w 6884782"/>
              <a:gd name="connsiteY33719" fmla="*/ 2425543 h 5973007"/>
              <a:gd name="connsiteX33720" fmla="*/ 765026 w 6884782"/>
              <a:gd name="connsiteY33720" fmla="*/ 2427557 h 5973007"/>
              <a:gd name="connsiteX33721" fmla="*/ 763477 w 6884782"/>
              <a:gd name="connsiteY33721" fmla="*/ 2426163 h 5973007"/>
              <a:gd name="connsiteX33722" fmla="*/ 761102 w 6884782"/>
              <a:gd name="connsiteY33722" fmla="*/ 2427403 h 5973007"/>
              <a:gd name="connsiteX33723" fmla="*/ 758624 w 6884782"/>
              <a:gd name="connsiteY33723" fmla="*/ 2427712 h 5973007"/>
              <a:gd name="connsiteX33724" fmla="*/ 759553 w 6884782"/>
              <a:gd name="connsiteY33724" fmla="*/ 2425234 h 5973007"/>
              <a:gd name="connsiteX33725" fmla="*/ 760482 w 6884782"/>
              <a:gd name="connsiteY33725" fmla="*/ 2424459 h 5973007"/>
              <a:gd name="connsiteX33726" fmla="*/ 760482 w 6884782"/>
              <a:gd name="connsiteY33726" fmla="*/ 2423684 h 5973007"/>
              <a:gd name="connsiteX33727" fmla="*/ 760792 w 6884782"/>
              <a:gd name="connsiteY33727" fmla="*/ 2423684 h 5973007"/>
              <a:gd name="connsiteX33728" fmla="*/ 759243 w 6884782"/>
              <a:gd name="connsiteY33728" fmla="*/ 2420277 h 5973007"/>
              <a:gd name="connsiteX33729" fmla="*/ 756249 w 6884782"/>
              <a:gd name="connsiteY33729" fmla="*/ 2414391 h 5973007"/>
              <a:gd name="connsiteX33730" fmla="*/ 759759 w 6884782"/>
              <a:gd name="connsiteY33730" fmla="*/ 2413926 h 5973007"/>
              <a:gd name="connsiteX33731" fmla="*/ 759863 w 6884782"/>
              <a:gd name="connsiteY33731" fmla="*/ 2415630 h 5973007"/>
              <a:gd name="connsiteX33732" fmla="*/ 763683 w 6884782"/>
              <a:gd name="connsiteY33732" fmla="*/ 2420741 h 5973007"/>
              <a:gd name="connsiteX33733" fmla="*/ 763787 w 6884782"/>
              <a:gd name="connsiteY33733" fmla="*/ 2421051 h 5973007"/>
              <a:gd name="connsiteX33734" fmla="*/ 764716 w 6884782"/>
              <a:gd name="connsiteY33734" fmla="*/ 2419502 h 5973007"/>
              <a:gd name="connsiteX33735" fmla="*/ 765749 w 6884782"/>
              <a:gd name="connsiteY33735" fmla="*/ 2417489 h 5973007"/>
              <a:gd name="connsiteX33736" fmla="*/ 765852 w 6884782"/>
              <a:gd name="connsiteY33736" fmla="*/ 2417334 h 5973007"/>
              <a:gd name="connsiteX33737" fmla="*/ 765749 w 6884782"/>
              <a:gd name="connsiteY33737" fmla="*/ 2416870 h 5973007"/>
              <a:gd name="connsiteX33738" fmla="*/ 765852 w 6884782"/>
              <a:gd name="connsiteY33738" fmla="*/ 2413771 h 5973007"/>
              <a:gd name="connsiteX33739" fmla="*/ 765955 w 6884782"/>
              <a:gd name="connsiteY33739" fmla="*/ 2414546 h 5973007"/>
              <a:gd name="connsiteX33740" fmla="*/ 766678 w 6884782"/>
              <a:gd name="connsiteY33740" fmla="*/ 2413616 h 5973007"/>
              <a:gd name="connsiteX33741" fmla="*/ 767504 w 6884782"/>
              <a:gd name="connsiteY33741" fmla="*/ 2416405 h 5973007"/>
              <a:gd name="connsiteX33742" fmla="*/ 768020 w 6884782"/>
              <a:gd name="connsiteY33742" fmla="*/ 2415940 h 5973007"/>
              <a:gd name="connsiteX33743" fmla="*/ 771015 w 6884782"/>
              <a:gd name="connsiteY33743" fmla="*/ 2414546 h 5973007"/>
              <a:gd name="connsiteX33744" fmla="*/ 772666 w 6884782"/>
              <a:gd name="connsiteY33744" fmla="*/ 2416405 h 5973007"/>
              <a:gd name="connsiteX33745" fmla="*/ 774525 w 6884782"/>
              <a:gd name="connsiteY33745" fmla="*/ 2415010 h 5973007"/>
              <a:gd name="connsiteX33746" fmla="*/ 779520 w 6884782"/>
              <a:gd name="connsiteY33746" fmla="*/ 2413036 h 5973007"/>
              <a:gd name="connsiteX33747" fmla="*/ 6249571 w 6884782"/>
              <a:gd name="connsiteY33747" fmla="*/ 2412453 h 5973007"/>
              <a:gd name="connsiteX33748" fmla="*/ 6254266 w 6884782"/>
              <a:gd name="connsiteY33748" fmla="*/ 2418855 h 5973007"/>
              <a:gd name="connsiteX33749" fmla="*/ 6262589 w 6884782"/>
              <a:gd name="connsiteY33749" fmla="*/ 2435074 h 5973007"/>
              <a:gd name="connsiteX33750" fmla="*/ 6261522 w 6884782"/>
              <a:gd name="connsiteY33750" fmla="*/ 2438346 h 5973007"/>
              <a:gd name="connsiteX33751" fmla="*/ 6261949 w 6884782"/>
              <a:gd name="connsiteY33751" fmla="*/ 2439484 h 5973007"/>
              <a:gd name="connsiteX33752" fmla="*/ 6260455 w 6884782"/>
              <a:gd name="connsiteY33752" fmla="*/ 2441761 h 5973007"/>
              <a:gd name="connsiteX33753" fmla="*/ 6256400 w 6884782"/>
              <a:gd name="connsiteY33753" fmla="*/ 2436212 h 5973007"/>
              <a:gd name="connsiteX33754" fmla="*/ 6253839 w 6884782"/>
              <a:gd name="connsiteY33754" fmla="*/ 2431233 h 5973007"/>
              <a:gd name="connsiteX33755" fmla="*/ 6249571 w 6884782"/>
              <a:gd name="connsiteY33755" fmla="*/ 2412453 h 5973007"/>
              <a:gd name="connsiteX33756" fmla="*/ 4930850 w 6884782"/>
              <a:gd name="connsiteY33756" fmla="*/ 2412453 h 5973007"/>
              <a:gd name="connsiteX33757" fmla="*/ 4933838 w 6884782"/>
              <a:gd name="connsiteY33757" fmla="*/ 2413449 h 5973007"/>
              <a:gd name="connsiteX33758" fmla="*/ 4932557 w 6884782"/>
              <a:gd name="connsiteY33758" fmla="*/ 2424261 h 5973007"/>
              <a:gd name="connsiteX33759" fmla="*/ 4928502 w 6884782"/>
              <a:gd name="connsiteY33759" fmla="*/ 2413022 h 5973007"/>
              <a:gd name="connsiteX33760" fmla="*/ 4930850 w 6884782"/>
              <a:gd name="connsiteY33760" fmla="*/ 2412453 h 5973007"/>
              <a:gd name="connsiteX33761" fmla="*/ 1011189 w 6884782"/>
              <a:gd name="connsiteY33761" fmla="*/ 2412377 h 5973007"/>
              <a:gd name="connsiteX33762" fmla="*/ 1016351 w 6884782"/>
              <a:gd name="connsiteY33762" fmla="*/ 2420896 h 5973007"/>
              <a:gd name="connsiteX33763" fmla="*/ 1010879 w 6884782"/>
              <a:gd name="connsiteY33763" fmla="*/ 2414701 h 5973007"/>
              <a:gd name="connsiteX33764" fmla="*/ 1011189 w 6884782"/>
              <a:gd name="connsiteY33764" fmla="*/ 2412377 h 5973007"/>
              <a:gd name="connsiteX33765" fmla="*/ 1068392 w 6884782"/>
              <a:gd name="connsiteY33765" fmla="*/ 2411913 h 5973007"/>
              <a:gd name="connsiteX33766" fmla="*/ 1070354 w 6884782"/>
              <a:gd name="connsiteY33766" fmla="*/ 2412222 h 5973007"/>
              <a:gd name="connsiteX33767" fmla="*/ 1072420 w 6884782"/>
              <a:gd name="connsiteY33767" fmla="*/ 2412997 h 5973007"/>
              <a:gd name="connsiteX33768" fmla="*/ 1075827 w 6884782"/>
              <a:gd name="connsiteY33768" fmla="*/ 2416714 h 5973007"/>
              <a:gd name="connsiteX33769" fmla="*/ 1075517 w 6884782"/>
              <a:gd name="connsiteY33769" fmla="*/ 2420432 h 5973007"/>
              <a:gd name="connsiteX33770" fmla="*/ 1074691 w 6884782"/>
              <a:gd name="connsiteY33770" fmla="*/ 2421826 h 5973007"/>
              <a:gd name="connsiteX33771" fmla="*/ 1067050 w 6884782"/>
              <a:gd name="connsiteY33771" fmla="*/ 2418883 h 5973007"/>
              <a:gd name="connsiteX33772" fmla="*/ 1066431 w 6884782"/>
              <a:gd name="connsiteY33772" fmla="*/ 2415010 h 5973007"/>
              <a:gd name="connsiteX33773" fmla="*/ 1068392 w 6884782"/>
              <a:gd name="connsiteY33773" fmla="*/ 2411913 h 5973007"/>
              <a:gd name="connsiteX33774" fmla="*/ 901840 w 6884782"/>
              <a:gd name="connsiteY33774" fmla="*/ 2411913 h 5973007"/>
              <a:gd name="connsiteX33775" fmla="*/ 906590 w 6884782"/>
              <a:gd name="connsiteY33775" fmla="*/ 2412067 h 5973007"/>
              <a:gd name="connsiteX33776" fmla="*/ 902150 w 6884782"/>
              <a:gd name="connsiteY33776" fmla="*/ 2412997 h 5973007"/>
              <a:gd name="connsiteX33777" fmla="*/ 901840 w 6884782"/>
              <a:gd name="connsiteY33777" fmla="*/ 2411913 h 5973007"/>
              <a:gd name="connsiteX33778" fmla="*/ 930442 w 6884782"/>
              <a:gd name="connsiteY33778" fmla="*/ 2411487 h 5973007"/>
              <a:gd name="connsiteX33779" fmla="*/ 934160 w 6884782"/>
              <a:gd name="connsiteY33779" fmla="*/ 2412377 h 5973007"/>
              <a:gd name="connsiteX33780" fmla="*/ 926208 w 6884782"/>
              <a:gd name="connsiteY33780" fmla="*/ 2415475 h 5973007"/>
              <a:gd name="connsiteX33781" fmla="*/ 924556 w 6884782"/>
              <a:gd name="connsiteY33781" fmla="*/ 2414391 h 5973007"/>
              <a:gd name="connsiteX33782" fmla="*/ 925795 w 6884782"/>
              <a:gd name="connsiteY33782" fmla="*/ 2412222 h 5973007"/>
              <a:gd name="connsiteX33783" fmla="*/ 930442 w 6884782"/>
              <a:gd name="connsiteY33783" fmla="*/ 2411487 h 5973007"/>
              <a:gd name="connsiteX33784" fmla="*/ 1010362 w 6884782"/>
              <a:gd name="connsiteY33784" fmla="*/ 2410983 h 5973007"/>
              <a:gd name="connsiteX33785" fmla="*/ 994151 w 6884782"/>
              <a:gd name="connsiteY33785" fmla="*/ 2424304 h 5973007"/>
              <a:gd name="connsiteX33786" fmla="*/ 993428 w 6884782"/>
              <a:gd name="connsiteY33786" fmla="*/ 2424149 h 5973007"/>
              <a:gd name="connsiteX33787" fmla="*/ 992705 w 6884782"/>
              <a:gd name="connsiteY33787" fmla="*/ 2424614 h 5973007"/>
              <a:gd name="connsiteX33788" fmla="*/ 990640 w 6884782"/>
              <a:gd name="connsiteY33788" fmla="*/ 2424149 h 5973007"/>
              <a:gd name="connsiteX33789" fmla="*/ 991054 w 6884782"/>
              <a:gd name="connsiteY33789" fmla="*/ 2423684 h 5973007"/>
              <a:gd name="connsiteX33790" fmla="*/ 988988 w 6884782"/>
              <a:gd name="connsiteY33790" fmla="*/ 2422755 h 5973007"/>
              <a:gd name="connsiteX33791" fmla="*/ 1010362 w 6884782"/>
              <a:gd name="connsiteY33791" fmla="*/ 2410983 h 5973007"/>
              <a:gd name="connsiteX33792" fmla="*/ 1061887 w 6884782"/>
              <a:gd name="connsiteY33792" fmla="*/ 2410828 h 5973007"/>
              <a:gd name="connsiteX33793" fmla="*/ 1064365 w 6884782"/>
              <a:gd name="connsiteY33793" fmla="*/ 2415165 h 5973007"/>
              <a:gd name="connsiteX33794" fmla="*/ 1058893 w 6884782"/>
              <a:gd name="connsiteY33794" fmla="*/ 2413771 h 5973007"/>
              <a:gd name="connsiteX33795" fmla="*/ 1061887 w 6884782"/>
              <a:gd name="connsiteY33795" fmla="*/ 2410828 h 5973007"/>
              <a:gd name="connsiteX33796" fmla="*/ 1054143 w 6884782"/>
              <a:gd name="connsiteY33796" fmla="*/ 2410673 h 5973007"/>
              <a:gd name="connsiteX33797" fmla="*/ 1056105 w 6884782"/>
              <a:gd name="connsiteY33797" fmla="*/ 2410983 h 5973007"/>
              <a:gd name="connsiteX33798" fmla="*/ 1054143 w 6884782"/>
              <a:gd name="connsiteY33798" fmla="*/ 2417334 h 5973007"/>
              <a:gd name="connsiteX33799" fmla="*/ 1052284 w 6884782"/>
              <a:gd name="connsiteY33799" fmla="*/ 2417024 h 5973007"/>
              <a:gd name="connsiteX33800" fmla="*/ 1051562 w 6884782"/>
              <a:gd name="connsiteY33800" fmla="*/ 2414701 h 5973007"/>
              <a:gd name="connsiteX33801" fmla="*/ 1054143 w 6884782"/>
              <a:gd name="connsiteY33801" fmla="*/ 2410673 h 5973007"/>
              <a:gd name="connsiteX33802" fmla="*/ 845566 w 6884782"/>
              <a:gd name="connsiteY33802" fmla="*/ 2409744 h 5973007"/>
              <a:gd name="connsiteX33803" fmla="*/ 855271 w 6884782"/>
              <a:gd name="connsiteY33803" fmla="*/ 2411293 h 5973007"/>
              <a:gd name="connsiteX33804" fmla="*/ 857853 w 6884782"/>
              <a:gd name="connsiteY33804" fmla="*/ 2415475 h 5973007"/>
              <a:gd name="connsiteX33805" fmla="*/ 851967 w 6884782"/>
              <a:gd name="connsiteY33805" fmla="*/ 2424149 h 5973007"/>
              <a:gd name="connsiteX33806" fmla="*/ 842674 w 6884782"/>
              <a:gd name="connsiteY33806" fmla="*/ 2421826 h 5973007"/>
              <a:gd name="connsiteX33807" fmla="*/ 841022 w 6884782"/>
              <a:gd name="connsiteY33807" fmla="*/ 2422910 h 5973007"/>
              <a:gd name="connsiteX33808" fmla="*/ 837098 w 6884782"/>
              <a:gd name="connsiteY33808" fmla="*/ 2423065 h 5973007"/>
              <a:gd name="connsiteX33809" fmla="*/ 837201 w 6884782"/>
              <a:gd name="connsiteY33809" fmla="*/ 2421206 h 5973007"/>
              <a:gd name="connsiteX33810" fmla="*/ 841538 w 6884782"/>
              <a:gd name="connsiteY33810" fmla="*/ 2420277 h 5973007"/>
              <a:gd name="connsiteX33811" fmla="*/ 841952 w 6884782"/>
              <a:gd name="connsiteY33811" fmla="*/ 2419502 h 5973007"/>
              <a:gd name="connsiteX33812" fmla="*/ 841332 w 6884782"/>
              <a:gd name="connsiteY33812" fmla="*/ 2417334 h 5973007"/>
              <a:gd name="connsiteX33813" fmla="*/ 845566 w 6884782"/>
              <a:gd name="connsiteY33813" fmla="*/ 2409744 h 5973007"/>
              <a:gd name="connsiteX33814" fmla="*/ 704930 w 6884782"/>
              <a:gd name="connsiteY33814" fmla="*/ 2409744 h 5973007"/>
              <a:gd name="connsiteX33815" fmla="*/ 699664 w 6884782"/>
              <a:gd name="connsiteY33815" fmla="*/ 2420741 h 5973007"/>
              <a:gd name="connsiteX33816" fmla="*/ 699355 w 6884782"/>
              <a:gd name="connsiteY33816" fmla="*/ 2418263 h 5973007"/>
              <a:gd name="connsiteX33817" fmla="*/ 704930 w 6884782"/>
              <a:gd name="connsiteY33817" fmla="*/ 2409744 h 5973007"/>
              <a:gd name="connsiteX33818" fmla="*/ 902460 w 6884782"/>
              <a:gd name="connsiteY33818" fmla="*/ 2408195 h 5973007"/>
              <a:gd name="connsiteX33819" fmla="*/ 902666 w 6884782"/>
              <a:gd name="connsiteY33819" fmla="*/ 2409744 h 5973007"/>
              <a:gd name="connsiteX33820" fmla="*/ 901840 w 6884782"/>
              <a:gd name="connsiteY33820" fmla="*/ 2409124 h 5973007"/>
              <a:gd name="connsiteX33821" fmla="*/ 902460 w 6884782"/>
              <a:gd name="connsiteY33821" fmla="*/ 2408195 h 5973007"/>
              <a:gd name="connsiteX33822" fmla="*/ 989401 w 6884782"/>
              <a:gd name="connsiteY33822" fmla="*/ 2407575 h 5973007"/>
              <a:gd name="connsiteX33823" fmla="*/ 990744 w 6884782"/>
              <a:gd name="connsiteY33823" fmla="*/ 2412687 h 5973007"/>
              <a:gd name="connsiteX33824" fmla="*/ 985891 w 6884782"/>
              <a:gd name="connsiteY33824" fmla="*/ 2409434 h 5973007"/>
              <a:gd name="connsiteX33825" fmla="*/ 989401 w 6884782"/>
              <a:gd name="connsiteY33825" fmla="*/ 2407575 h 5973007"/>
              <a:gd name="connsiteX33826" fmla="*/ 880672 w 6884782"/>
              <a:gd name="connsiteY33826" fmla="*/ 2406956 h 5973007"/>
              <a:gd name="connsiteX33827" fmla="*/ 882944 w 6884782"/>
              <a:gd name="connsiteY33827" fmla="*/ 2409744 h 5973007"/>
              <a:gd name="connsiteX33828" fmla="*/ 882841 w 6884782"/>
              <a:gd name="connsiteY33828" fmla="*/ 2411293 h 5973007"/>
              <a:gd name="connsiteX33829" fmla="*/ 883357 w 6884782"/>
              <a:gd name="connsiteY33829" fmla="*/ 2410828 h 5973007"/>
              <a:gd name="connsiteX33830" fmla="*/ 884803 w 6884782"/>
              <a:gd name="connsiteY33830" fmla="*/ 2411603 h 5973007"/>
              <a:gd name="connsiteX33831" fmla="*/ 898536 w 6884782"/>
              <a:gd name="connsiteY33831" fmla="*/ 2412997 h 5973007"/>
              <a:gd name="connsiteX33832" fmla="*/ 885113 w 6884782"/>
              <a:gd name="connsiteY33832" fmla="*/ 2413306 h 5973007"/>
              <a:gd name="connsiteX33833" fmla="*/ 883047 w 6884782"/>
              <a:gd name="connsiteY33833" fmla="*/ 2413616 h 5973007"/>
              <a:gd name="connsiteX33834" fmla="*/ 884390 w 6884782"/>
              <a:gd name="connsiteY33834" fmla="*/ 2415320 h 5973007"/>
              <a:gd name="connsiteX33835" fmla="*/ 884699 w 6884782"/>
              <a:gd name="connsiteY33835" fmla="*/ 2417489 h 5973007"/>
              <a:gd name="connsiteX33836" fmla="*/ 881808 w 6884782"/>
              <a:gd name="connsiteY33836" fmla="*/ 2413926 h 5973007"/>
              <a:gd name="connsiteX33837" fmla="*/ 881602 w 6884782"/>
              <a:gd name="connsiteY33837" fmla="*/ 2413926 h 5973007"/>
              <a:gd name="connsiteX33838" fmla="*/ 881602 w 6884782"/>
              <a:gd name="connsiteY33838" fmla="*/ 2413616 h 5973007"/>
              <a:gd name="connsiteX33839" fmla="*/ 880982 w 6884782"/>
              <a:gd name="connsiteY33839" fmla="*/ 2412842 h 5973007"/>
              <a:gd name="connsiteX33840" fmla="*/ 878401 w 6884782"/>
              <a:gd name="connsiteY33840" fmla="*/ 2412377 h 5973007"/>
              <a:gd name="connsiteX33841" fmla="*/ 876336 w 6884782"/>
              <a:gd name="connsiteY33841" fmla="*/ 2407575 h 5973007"/>
              <a:gd name="connsiteX33842" fmla="*/ 880672 w 6884782"/>
              <a:gd name="connsiteY33842" fmla="*/ 2406956 h 5973007"/>
              <a:gd name="connsiteX33843" fmla="*/ 1273975 w 6884782"/>
              <a:gd name="connsiteY33843" fmla="*/ 2406027 h 5973007"/>
              <a:gd name="connsiteX33844" fmla="*/ 1273562 w 6884782"/>
              <a:gd name="connsiteY33844" fmla="*/ 2406646 h 5973007"/>
              <a:gd name="connsiteX33845" fmla="*/ 1270258 w 6884782"/>
              <a:gd name="connsiteY33845" fmla="*/ 2411293 h 5973007"/>
              <a:gd name="connsiteX33846" fmla="*/ 1270052 w 6884782"/>
              <a:gd name="connsiteY33846" fmla="*/ 2409899 h 5973007"/>
              <a:gd name="connsiteX33847" fmla="*/ 1271291 w 6884782"/>
              <a:gd name="connsiteY33847" fmla="*/ 2408659 h 5973007"/>
              <a:gd name="connsiteX33848" fmla="*/ 5326103 w 6884782"/>
              <a:gd name="connsiteY33848" fmla="*/ 2405766 h 5973007"/>
              <a:gd name="connsiteX33849" fmla="*/ 5325250 w 6884782"/>
              <a:gd name="connsiteY33849" fmla="*/ 2422127 h 5973007"/>
              <a:gd name="connsiteX33850" fmla="*/ 5318420 w 6884782"/>
              <a:gd name="connsiteY33850" fmla="*/ 2438062 h 5973007"/>
              <a:gd name="connsiteX33851" fmla="*/ 5326103 w 6884782"/>
              <a:gd name="connsiteY33851" fmla="*/ 2405766 h 5973007"/>
              <a:gd name="connsiteX33852" fmla="*/ 1139846 w 6884782"/>
              <a:gd name="connsiteY33852" fmla="*/ 2405716 h 5973007"/>
              <a:gd name="connsiteX33853" fmla="*/ 1142737 w 6884782"/>
              <a:gd name="connsiteY33853" fmla="*/ 2406491 h 5973007"/>
              <a:gd name="connsiteX33854" fmla="*/ 1144182 w 6884782"/>
              <a:gd name="connsiteY33854" fmla="*/ 2408195 h 5973007"/>
              <a:gd name="connsiteX33855" fmla="*/ 1143253 w 6884782"/>
              <a:gd name="connsiteY33855" fmla="*/ 2413152 h 5973007"/>
              <a:gd name="connsiteX33856" fmla="*/ 1135612 w 6884782"/>
              <a:gd name="connsiteY33856" fmla="*/ 2412687 h 5973007"/>
              <a:gd name="connsiteX33857" fmla="*/ 1135199 w 6884782"/>
              <a:gd name="connsiteY33857" fmla="*/ 2409744 h 5973007"/>
              <a:gd name="connsiteX33858" fmla="*/ 1137471 w 6884782"/>
              <a:gd name="connsiteY33858" fmla="*/ 2406956 h 5973007"/>
              <a:gd name="connsiteX33859" fmla="*/ 1139846 w 6884782"/>
              <a:gd name="connsiteY33859" fmla="*/ 2405716 h 5973007"/>
              <a:gd name="connsiteX33860" fmla="*/ 887384 w 6884782"/>
              <a:gd name="connsiteY33860" fmla="*/ 2405097 h 5973007"/>
              <a:gd name="connsiteX33861" fmla="*/ 898846 w 6884782"/>
              <a:gd name="connsiteY33861" fmla="*/ 2408659 h 5973007"/>
              <a:gd name="connsiteX33862" fmla="*/ 898536 w 6884782"/>
              <a:gd name="connsiteY33862" fmla="*/ 2409279 h 5973007"/>
              <a:gd name="connsiteX33863" fmla="*/ 889656 w 6884782"/>
              <a:gd name="connsiteY33863" fmla="*/ 2407420 h 5973007"/>
              <a:gd name="connsiteX33864" fmla="*/ 886971 w 6884782"/>
              <a:gd name="connsiteY33864" fmla="*/ 2405871 h 5973007"/>
              <a:gd name="connsiteX33865" fmla="*/ 887694 w 6884782"/>
              <a:gd name="connsiteY33865" fmla="*/ 2406181 h 5973007"/>
              <a:gd name="connsiteX33866" fmla="*/ 887384 w 6884782"/>
              <a:gd name="connsiteY33866" fmla="*/ 2405097 h 5973007"/>
              <a:gd name="connsiteX33867" fmla="*/ 950577 w 6884782"/>
              <a:gd name="connsiteY33867" fmla="*/ 2403548 h 5973007"/>
              <a:gd name="connsiteX33868" fmla="*/ 958425 w 6884782"/>
              <a:gd name="connsiteY33868" fmla="*/ 2408815 h 5973007"/>
              <a:gd name="connsiteX33869" fmla="*/ 961625 w 6884782"/>
              <a:gd name="connsiteY33869" fmla="*/ 2412842 h 5973007"/>
              <a:gd name="connsiteX33870" fmla="*/ 963897 w 6884782"/>
              <a:gd name="connsiteY33870" fmla="*/ 2411293 h 5973007"/>
              <a:gd name="connsiteX33871" fmla="*/ 969163 w 6884782"/>
              <a:gd name="connsiteY33871" fmla="*/ 2410983 h 5973007"/>
              <a:gd name="connsiteX33872" fmla="*/ 964827 w 6884782"/>
              <a:gd name="connsiteY33872" fmla="*/ 2416714 h 5973007"/>
              <a:gd name="connsiteX33873" fmla="*/ 964620 w 6884782"/>
              <a:gd name="connsiteY33873" fmla="*/ 2416870 h 5973007"/>
              <a:gd name="connsiteX33874" fmla="*/ 965136 w 6884782"/>
              <a:gd name="connsiteY33874" fmla="*/ 2417489 h 5973007"/>
              <a:gd name="connsiteX33875" fmla="*/ 972571 w 6884782"/>
              <a:gd name="connsiteY33875" fmla="*/ 2418883 h 5973007"/>
              <a:gd name="connsiteX33876" fmla="*/ 973706 w 6884782"/>
              <a:gd name="connsiteY33876" fmla="*/ 2419967 h 5973007"/>
              <a:gd name="connsiteX33877" fmla="*/ 977940 w 6884782"/>
              <a:gd name="connsiteY33877" fmla="*/ 2419812 h 5973007"/>
              <a:gd name="connsiteX33878" fmla="*/ 975049 w 6884782"/>
              <a:gd name="connsiteY33878" fmla="*/ 2425853 h 5973007"/>
              <a:gd name="connsiteX33879" fmla="*/ 973397 w 6884782"/>
              <a:gd name="connsiteY33879" fmla="*/ 2425079 h 5973007"/>
              <a:gd name="connsiteX33880" fmla="*/ 972364 w 6884782"/>
              <a:gd name="connsiteY33880" fmla="*/ 2423065 h 5973007"/>
              <a:gd name="connsiteX33881" fmla="*/ 970402 w 6884782"/>
              <a:gd name="connsiteY33881" fmla="*/ 2423994 h 5973007"/>
              <a:gd name="connsiteX33882" fmla="*/ 971435 w 6884782"/>
              <a:gd name="connsiteY33882" fmla="*/ 2424924 h 5973007"/>
              <a:gd name="connsiteX33883" fmla="*/ 975978 w 6884782"/>
              <a:gd name="connsiteY33883" fmla="*/ 2431894 h 5973007"/>
              <a:gd name="connsiteX33884" fmla="*/ 978043 w 6884782"/>
              <a:gd name="connsiteY33884" fmla="*/ 2436386 h 5973007"/>
              <a:gd name="connsiteX33885" fmla="*/ 978972 w 6884782"/>
              <a:gd name="connsiteY33885" fmla="*/ 2434372 h 5973007"/>
              <a:gd name="connsiteX33886" fmla="*/ 984755 w 6884782"/>
              <a:gd name="connsiteY33886" fmla="*/ 2430035 h 5973007"/>
              <a:gd name="connsiteX33887" fmla="*/ 988162 w 6884782"/>
              <a:gd name="connsiteY33887" fmla="*/ 2437160 h 5973007"/>
              <a:gd name="connsiteX33888" fmla="*/ 985891 w 6884782"/>
              <a:gd name="connsiteY33888" fmla="*/ 2441498 h 5973007"/>
              <a:gd name="connsiteX33889" fmla="*/ 982483 w 6884782"/>
              <a:gd name="connsiteY33889" fmla="*/ 2442582 h 5973007"/>
              <a:gd name="connsiteX33890" fmla="*/ 980934 w 6884782"/>
              <a:gd name="connsiteY33890" fmla="*/ 2443202 h 5973007"/>
              <a:gd name="connsiteX33891" fmla="*/ 986303 w 6884782"/>
              <a:gd name="connsiteY33891" fmla="*/ 2456523 h 5973007"/>
              <a:gd name="connsiteX33892" fmla="*/ 977011 w 6884782"/>
              <a:gd name="connsiteY33892" fmla="*/ 2458381 h 5973007"/>
              <a:gd name="connsiteX33893" fmla="*/ 969576 w 6884782"/>
              <a:gd name="connsiteY33893" fmla="*/ 2437160 h 5973007"/>
              <a:gd name="connsiteX33894" fmla="*/ 965962 w 6884782"/>
              <a:gd name="connsiteY33894" fmla="*/ 2426163 h 5973007"/>
              <a:gd name="connsiteX33895" fmla="*/ 962968 w 6884782"/>
              <a:gd name="connsiteY33895" fmla="*/ 2427557 h 5973007"/>
              <a:gd name="connsiteX33896" fmla="*/ 957186 w 6884782"/>
              <a:gd name="connsiteY33896" fmla="*/ 2428177 h 5973007"/>
              <a:gd name="connsiteX33897" fmla="*/ 951713 w 6884782"/>
              <a:gd name="connsiteY33897" fmla="*/ 2433443 h 5973007"/>
              <a:gd name="connsiteX33898" fmla="*/ 951713 w 6884782"/>
              <a:gd name="connsiteY33898" fmla="*/ 2428641 h 5973007"/>
              <a:gd name="connsiteX33899" fmla="*/ 950990 w 6884782"/>
              <a:gd name="connsiteY33899" fmla="*/ 2428796 h 5973007"/>
              <a:gd name="connsiteX33900" fmla="*/ 943246 w 6884782"/>
              <a:gd name="connsiteY33900" fmla="*/ 2427247 h 5973007"/>
              <a:gd name="connsiteX33901" fmla="*/ 948409 w 6884782"/>
              <a:gd name="connsiteY33901" fmla="*/ 2421051 h 5973007"/>
              <a:gd name="connsiteX33902" fmla="*/ 955327 w 6884782"/>
              <a:gd name="connsiteY33902" fmla="*/ 2419192 h 5973007"/>
              <a:gd name="connsiteX33903" fmla="*/ 956359 w 6884782"/>
              <a:gd name="connsiteY33903" fmla="*/ 2417953 h 5973007"/>
              <a:gd name="connsiteX33904" fmla="*/ 953778 w 6884782"/>
              <a:gd name="connsiteY33904" fmla="*/ 2414856 h 5973007"/>
              <a:gd name="connsiteX33905" fmla="*/ 950577 w 6884782"/>
              <a:gd name="connsiteY33905" fmla="*/ 2403548 h 5973007"/>
              <a:gd name="connsiteX33906" fmla="*/ 1196430 w 6884782"/>
              <a:gd name="connsiteY33906" fmla="*/ 2403393 h 5973007"/>
              <a:gd name="connsiteX33907" fmla="*/ 1201799 w 6884782"/>
              <a:gd name="connsiteY33907" fmla="*/ 2408505 h 5973007"/>
              <a:gd name="connsiteX33908" fmla="*/ 1203865 w 6884782"/>
              <a:gd name="connsiteY33908" fmla="*/ 2408659 h 5973007"/>
              <a:gd name="connsiteX33909" fmla="*/ 1205723 w 6884782"/>
              <a:gd name="connsiteY33909" fmla="*/ 2411293 h 5973007"/>
              <a:gd name="connsiteX33910" fmla="*/ 1203452 w 6884782"/>
              <a:gd name="connsiteY33910" fmla="*/ 2410983 h 5973007"/>
              <a:gd name="connsiteX33911" fmla="*/ 1206962 w 6884782"/>
              <a:gd name="connsiteY33911" fmla="*/ 2419348 h 5973007"/>
              <a:gd name="connsiteX33912" fmla="*/ 1202419 w 6884782"/>
              <a:gd name="connsiteY33912" fmla="*/ 2435302 h 5973007"/>
              <a:gd name="connsiteX33913" fmla="*/ 1201902 w 6884782"/>
              <a:gd name="connsiteY33913" fmla="*/ 2430345 h 5973007"/>
              <a:gd name="connsiteX33914" fmla="*/ 1199941 w 6884782"/>
              <a:gd name="connsiteY33914" fmla="*/ 2428022 h 5973007"/>
              <a:gd name="connsiteX33915" fmla="*/ 1197256 w 6884782"/>
              <a:gd name="connsiteY33915" fmla="*/ 2420741 h 5973007"/>
              <a:gd name="connsiteX33916" fmla="*/ 1198392 w 6884782"/>
              <a:gd name="connsiteY33916" fmla="*/ 2419348 h 5973007"/>
              <a:gd name="connsiteX33917" fmla="*/ 1195810 w 6884782"/>
              <a:gd name="connsiteY33917" fmla="*/ 2411913 h 5973007"/>
              <a:gd name="connsiteX33918" fmla="*/ 1196120 w 6884782"/>
              <a:gd name="connsiteY33918" fmla="*/ 2407730 h 5973007"/>
              <a:gd name="connsiteX33919" fmla="*/ 1196224 w 6884782"/>
              <a:gd name="connsiteY33919" fmla="*/ 2407575 h 5973007"/>
              <a:gd name="connsiteX33920" fmla="*/ 4977162 w 6884782"/>
              <a:gd name="connsiteY33920" fmla="*/ 2402921 h 5973007"/>
              <a:gd name="connsiteX33921" fmla="*/ 4982711 w 6884782"/>
              <a:gd name="connsiteY33921" fmla="*/ 2403348 h 5973007"/>
              <a:gd name="connsiteX33922" fmla="*/ 4991675 w 6884782"/>
              <a:gd name="connsiteY33922" fmla="*/ 2419851 h 5973007"/>
              <a:gd name="connsiteX33923" fmla="*/ 4985272 w 6884782"/>
              <a:gd name="connsiteY33923" fmla="*/ 2428672 h 5973007"/>
              <a:gd name="connsiteX33924" fmla="*/ 4981217 w 6884782"/>
              <a:gd name="connsiteY33924" fmla="*/ 2429952 h 5973007"/>
              <a:gd name="connsiteX33925" fmla="*/ 4973747 w 6884782"/>
              <a:gd name="connsiteY33925" fmla="*/ 2404344 h 5973007"/>
              <a:gd name="connsiteX33926" fmla="*/ 4977162 w 6884782"/>
              <a:gd name="connsiteY33926" fmla="*/ 2402921 h 5973007"/>
              <a:gd name="connsiteX33927" fmla="*/ 1015009 w 6884782"/>
              <a:gd name="connsiteY33927" fmla="*/ 2402309 h 5973007"/>
              <a:gd name="connsiteX33928" fmla="*/ 1018416 w 6884782"/>
              <a:gd name="connsiteY33928" fmla="*/ 2405562 h 5973007"/>
              <a:gd name="connsiteX33929" fmla="*/ 1020998 w 6884782"/>
              <a:gd name="connsiteY33929" fmla="*/ 2406337 h 5973007"/>
              <a:gd name="connsiteX33930" fmla="*/ 1020998 w 6884782"/>
              <a:gd name="connsiteY33930" fmla="*/ 2407111 h 5973007"/>
              <a:gd name="connsiteX33931" fmla="*/ 1010465 w 6884782"/>
              <a:gd name="connsiteY33931" fmla="*/ 2405871 h 5973007"/>
              <a:gd name="connsiteX33932" fmla="*/ 1009536 w 6884782"/>
              <a:gd name="connsiteY33932" fmla="*/ 2404632 h 5973007"/>
              <a:gd name="connsiteX33933" fmla="*/ 1010672 w 6884782"/>
              <a:gd name="connsiteY33933" fmla="*/ 2402464 h 5973007"/>
              <a:gd name="connsiteX33934" fmla="*/ 1015009 w 6884782"/>
              <a:gd name="connsiteY33934" fmla="*/ 2402309 h 5973007"/>
              <a:gd name="connsiteX33935" fmla="*/ 915676 w 6884782"/>
              <a:gd name="connsiteY33935" fmla="*/ 2400915 h 5973007"/>
              <a:gd name="connsiteX33936" fmla="*/ 917226 w 6884782"/>
              <a:gd name="connsiteY33936" fmla="*/ 2405097 h 5973007"/>
              <a:gd name="connsiteX33937" fmla="*/ 914747 w 6884782"/>
              <a:gd name="connsiteY33937" fmla="*/ 2401689 h 5973007"/>
              <a:gd name="connsiteX33938" fmla="*/ 915676 w 6884782"/>
              <a:gd name="connsiteY33938" fmla="*/ 2400915 h 5973007"/>
              <a:gd name="connsiteX33939" fmla="*/ 1127971 w 6884782"/>
              <a:gd name="connsiteY33939" fmla="*/ 2399985 h 5973007"/>
              <a:gd name="connsiteX33940" fmla="*/ 1124667 w 6884782"/>
              <a:gd name="connsiteY33940" fmla="*/ 2405562 h 5973007"/>
              <a:gd name="connsiteX33941" fmla="*/ 1124357 w 6884782"/>
              <a:gd name="connsiteY33941" fmla="*/ 2404323 h 5973007"/>
              <a:gd name="connsiteX33942" fmla="*/ 1125390 w 6884782"/>
              <a:gd name="connsiteY33942" fmla="*/ 2402928 h 5973007"/>
              <a:gd name="connsiteX33943" fmla="*/ 1127971 w 6884782"/>
              <a:gd name="connsiteY33943" fmla="*/ 2399985 h 5973007"/>
              <a:gd name="connsiteX33944" fmla="*/ 4815390 w 6884782"/>
              <a:gd name="connsiteY33944" fmla="*/ 2399934 h 5973007"/>
              <a:gd name="connsiteX33945" fmla="*/ 4816670 w 6884782"/>
              <a:gd name="connsiteY33945" fmla="*/ 2401072 h 5973007"/>
              <a:gd name="connsiteX33946" fmla="*/ 4814322 w 6884782"/>
              <a:gd name="connsiteY33946" fmla="*/ 2400645 h 5973007"/>
              <a:gd name="connsiteX33947" fmla="*/ 4815390 w 6884782"/>
              <a:gd name="connsiteY33947" fmla="*/ 2399934 h 5973007"/>
              <a:gd name="connsiteX33948" fmla="*/ 997042 w 6884782"/>
              <a:gd name="connsiteY33948" fmla="*/ 2399830 h 5973007"/>
              <a:gd name="connsiteX33949" fmla="*/ 999521 w 6884782"/>
              <a:gd name="connsiteY33949" fmla="*/ 2402154 h 5973007"/>
              <a:gd name="connsiteX33950" fmla="*/ 994358 w 6884782"/>
              <a:gd name="connsiteY33950" fmla="*/ 2404013 h 5973007"/>
              <a:gd name="connsiteX33951" fmla="*/ 997042 w 6884782"/>
              <a:gd name="connsiteY33951" fmla="*/ 2399830 h 5973007"/>
              <a:gd name="connsiteX33952" fmla="*/ 617834 w 6884782"/>
              <a:gd name="connsiteY33952" fmla="*/ 2399753 h 5973007"/>
              <a:gd name="connsiteX33953" fmla="*/ 622532 w 6884782"/>
              <a:gd name="connsiteY33953" fmla="*/ 2404323 h 5973007"/>
              <a:gd name="connsiteX33954" fmla="*/ 620467 w 6884782"/>
              <a:gd name="connsiteY33954" fmla="*/ 2410983 h 5973007"/>
              <a:gd name="connsiteX33955" fmla="*/ 608076 w 6884782"/>
              <a:gd name="connsiteY33955" fmla="*/ 2404632 h 5973007"/>
              <a:gd name="connsiteX33956" fmla="*/ 610967 w 6884782"/>
              <a:gd name="connsiteY33956" fmla="*/ 2400295 h 5973007"/>
              <a:gd name="connsiteX33957" fmla="*/ 617834 w 6884782"/>
              <a:gd name="connsiteY33957" fmla="*/ 2399753 h 5973007"/>
              <a:gd name="connsiteX33958" fmla="*/ 5227717 w 6884782"/>
              <a:gd name="connsiteY33958" fmla="*/ 2399507 h 5973007"/>
              <a:gd name="connsiteX33959" fmla="*/ 5231558 w 6884782"/>
              <a:gd name="connsiteY33959" fmla="*/ 2410603 h 5973007"/>
              <a:gd name="connsiteX33960" fmla="*/ 5231345 w 6884782"/>
              <a:gd name="connsiteY33960" fmla="*/ 2410319 h 5973007"/>
              <a:gd name="connsiteX33961" fmla="*/ 5230491 w 6884782"/>
              <a:gd name="connsiteY33961" fmla="*/ 2413733 h 5973007"/>
              <a:gd name="connsiteX33962" fmla="*/ 5228997 w 6884782"/>
              <a:gd name="connsiteY33962" fmla="*/ 2419424 h 5973007"/>
              <a:gd name="connsiteX33963" fmla="*/ 5218326 w 6884782"/>
              <a:gd name="connsiteY33963" fmla="*/ 2414303 h 5973007"/>
              <a:gd name="connsiteX33964" fmla="*/ 5223449 w 6884782"/>
              <a:gd name="connsiteY33964" fmla="*/ 2406762 h 5973007"/>
              <a:gd name="connsiteX33965" fmla="*/ 5227290 w 6884782"/>
              <a:gd name="connsiteY33965" fmla="*/ 2406193 h 5973007"/>
              <a:gd name="connsiteX33966" fmla="*/ 5228357 w 6884782"/>
              <a:gd name="connsiteY33966" fmla="*/ 2406478 h 5973007"/>
              <a:gd name="connsiteX33967" fmla="*/ 5227077 w 6884782"/>
              <a:gd name="connsiteY33967" fmla="*/ 2404913 h 5973007"/>
              <a:gd name="connsiteX33968" fmla="*/ 5227717 w 6884782"/>
              <a:gd name="connsiteY33968" fmla="*/ 2399507 h 5973007"/>
              <a:gd name="connsiteX33969" fmla="*/ 1113619 w 6884782"/>
              <a:gd name="connsiteY33969" fmla="*/ 2398901 h 5973007"/>
              <a:gd name="connsiteX33970" fmla="*/ 1121260 w 6884782"/>
              <a:gd name="connsiteY33970" fmla="*/ 2406801 h 5973007"/>
              <a:gd name="connsiteX33971" fmla="*/ 1118368 w 6884782"/>
              <a:gd name="connsiteY33971" fmla="*/ 2409744 h 5973007"/>
              <a:gd name="connsiteX33972" fmla="*/ 1113619 w 6884782"/>
              <a:gd name="connsiteY33972" fmla="*/ 2398901 h 5973007"/>
              <a:gd name="connsiteX33973" fmla="*/ 1058790 w 6884782"/>
              <a:gd name="connsiteY33973" fmla="*/ 2396423 h 5973007"/>
              <a:gd name="connsiteX33974" fmla="*/ 1062920 w 6884782"/>
              <a:gd name="connsiteY33974" fmla="*/ 2396578 h 5973007"/>
              <a:gd name="connsiteX33975" fmla="*/ 1062094 w 6884782"/>
              <a:gd name="connsiteY33975" fmla="*/ 2404168 h 5973007"/>
              <a:gd name="connsiteX33976" fmla="*/ 1057447 w 6884782"/>
              <a:gd name="connsiteY33976" fmla="*/ 2398436 h 5973007"/>
              <a:gd name="connsiteX33977" fmla="*/ 1058790 w 6884782"/>
              <a:gd name="connsiteY33977" fmla="*/ 2396423 h 5973007"/>
              <a:gd name="connsiteX33978" fmla="*/ 940458 w 6884782"/>
              <a:gd name="connsiteY33978" fmla="*/ 2396268 h 5973007"/>
              <a:gd name="connsiteX33979" fmla="*/ 946447 w 6884782"/>
              <a:gd name="connsiteY33979" fmla="*/ 2397042 h 5973007"/>
              <a:gd name="connsiteX33980" fmla="*/ 941800 w 6884782"/>
              <a:gd name="connsiteY33980" fmla="*/ 2402773 h 5973007"/>
              <a:gd name="connsiteX33981" fmla="*/ 934985 w 6884782"/>
              <a:gd name="connsiteY33981" fmla="*/ 2399211 h 5973007"/>
              <a:gd name="connsiteX33982" fmla="*/ 935915 w 6884782"/>
              <a:gd name="connsiteY33982" fmla="*/ 2400760 h 5973007"/>
              <a:gd name="connsiteX33983" fmla="*/ 935708 w 6884782"/>
              <a:gd name="connsiteY33983" fmla="*/ 2403548 h 5973007"/>
              <a:gd name="connsiteX33984" fmla="*/ 928480 w 6884782"/>
              <a:gd name="connsiteY33984" fmla="*/ 2397817 h 5973007"/>
              <a:gd name="connsiteX33985" fmla="*/ 934469 w 6884782"/>
              <a:gd name="connsiteY33985" fmla="*/ 2398126 h 5973007"/>
              <a:gd name="connsiteX33986" fmla="*/ 934985 w 6884782"/>
              <a:gd name="connsiteY33986" fmla="*/ 2399056 h 5973007"/>
              <a:gd name="connsiteX33987" fmla="*/ 806844 w 6884782"/>
              <a:gd name="connsiteY33987" fmla="*/ 2396268 h 5973007"/>
              <a:gd name="connsiteX33988" fmla="*/ 815621 w 6884782"/>
              <a:gd name="connsiteY33988" fmla="*/ 2399985 h 5973007"/>
              <a:gd name="connsiteX33989" fmla="*/ 810252 w 6884782"/>
              <a:gd name="connsiteY33989" fmla="*/ 2407730 h 5973007"/>
              <a:gd name="connsiteX33990" fmla="*/ 804160 w 6884782"/>
              <a:gd name="connsiteY33990" fmla="*/ 2401999 h 5973007"/>
              <a:gd name="connsiteX33991" fmla="*/ 806844 w 6884782"/>
              <a:gd name="connsiteY33991" fmla="*/ 2396268 h 5973007"/>
              <a:gd name="connsiteX33992" fmla="*/ 6196429 w 6884782"/>
              <a:gd name="connsiteY33992" fmla="*/ 2395665 h 5973007"/>
              <a:gd name="connsiteX33993" fmla="*/ 6199630 w 6884782"/>
              <a:gd name="connsiteY33993" fmla="*/ 2404201 h 5973007"/>
              <a:gd name="connsiteX33994" fmla="*/ 6188319 w 6884782"/>
              <a:gd name="connsiteY33994" fmla="*/ 2410461 h 5973007"/>
              <a:gd name="connsiteX33995" fmla="*/ 6185545 w 6884782"/>
              <a:gd name="connsiteY33995" fmla="*/ 2397088 h 5973007"/>
              <a:gd name="connsiteX33996" fmla="*/ 6196429 w 6884782"/>
              <a:gd name="connsiteY33996" fmla="*/ 2395665 h 5973007"/>
              <a:gd name="connsiteX33997" fmla="*/ 6378903 w 6884782"/>
              <a:gd name="connsiteY33997" fmla="*/ 2393958 h 5973007"/>
              <a:gd name="connsiteX33998" fmla="*/ 6387653 w 6884782"/>
              <a:gd name="connsiteY33998" fmla="*/ 2394100 h 5973007"/>
              <a:gd name="connsiteX33999" fmla="*/ 6392989 w 6884782"/>
              <a:gd name="connsiteY33999" fmla="*/ 2397088 h 5973007"/>
              <a:gd name="connsiteX34000" fmla="*/ 6378903 w 6884782"/>
              <a:gd name="connsiteY34000" fmla="*/ 2393958 h 5973007"/>
              <a:gd name="connsiteX34001" fmla="*/ 5362598 w 6884782"/>
              <a:gd name="connsiteY34001" fmla="*/ 2393958 h 5973007"/>
              <a:gd name="connsiteX34002" fmla="*/ 5363665 w 6884782"/>
              <a:gd name="connsiteY34002" fmla="*/ 2396519 h 5973007"/>
              <a:gd name="connsiteX34003" fmla="*/ 5362384 w 6884782"/>
              <a:gd name="connsiteY34003" fmla="*/ 2400076 h 5973007"/>
              <a:gd name="connsiteX34004" fmla="*/ 5357476 w 6884782"/>
              <a:gd name="connsiteY34004" fmla="*/ 2400787 h 5973007"/>
              <a:gd name="connsiteX34005" fmla="*/ 5356409 w 6884782"/>
              <a:gd name="connsiteY34005" fmla="*/ 2398084 h 5973007"/>
              <a:gd name="connsiteX34006" fmla="*/ 5356622 w 6884782"/>
              <a:gd name="connsiteY34006" fmla="*/ 2394385 h 5973007"/>
              <a:gd name="connsiteX34007" fmla="*/ 5362598 w 6884782"/>
              <a:gd name="connsiteY34007" fmla="*/ 2393958 h 5973007"/>
              <a:gd name="connsiteX34008" fmla="*/ 860744 w 6884782"/>
              <a:gd name="connsiteY34008" fmla="*/ 2393170 h 5973007"/>
              <a:gd name="connsiteX34009" fmla="*/ 865907 w 6884782"/>
              <a:gd name="connsiteY34009" fmla="*/ 2393170 h 5973007"/>
              <a:gd name="connsiteX34010" fmla="*/ 867972 w 6884782"/>
              <a:gd name="connsiteY34010" fmla="*/ 2394564 h 5973007"/>
              <a:gd name="connsiteX34011" fmla="*/ 869108 w 6884782"/>
              <a:gd name="connsiteY34011" fmla="*/ 2394099 h 5973007"/>
              <a:gd name="connsiteX34012" fmla="*/ 866320 w 6884782"/>
              <a:gd name="connsiteY34012" fmla="*/ 2403238 h 5973007"/>
              <a:gd name="connsiteX34013" fmla="*/ 861467 w 6884782"/>
              <a:gd name="connsiteY34013" fmla="*/ 2400295 h 5973007"/>
              <a:gd name="connsiteX34014" fmla="*/ 862396 w 6884782"/>
              <a:gd name="connsiteY34014" fmla="*/ 2398282 h 5973007"/>
              <a:gd name="connsiteX34015" fmla="*/ 862602 w 6884782"/>
              <a:gd name="connsiteY34015" fmla="*/ 2397972 h 5973007"/>
              <a:gd name="connsiteX34016" fmla="*/ 858266 w 6884782"/>
              <a:gd name="connsiteY34016" fmla="*/ 2395029 h 5973007"/>
              <a:gd name="connsiteX34017" fmla="*/ 860744 w 6884782"/>
              <a:gd name="connsiteY34017" fmla="*/ 2393170 h 5973007"/>
              <a:gd name="connsiteX34018" fmla="*/ 1079441 w 6884782"/>
              <a:gd name="connsiteY34018" fmla="*/ 2392550 h 5973007"/>
              <a:gd name="connsiteX34019" fmla="*/ 1079647 w 6884782"/>
              <a:gd name="connsiteY34019" fmla="*/ 2396733 h 5973007"/>
              <a:gd name="connsiteX34020" fmla="*/ 1077892 w 6884782"/>
              <a:gd name="connsiteY34020" fmla="*/ 2395494 h 5973007"/>
              <a:gd name="connsiteX34021" fmla="*/ 1078615 w 6884782"/>
              <a:gd name="connsiteY34021" fmla="*/ 2392705 h 5973007"/>
              <a:gd name="connsiteX34022" fmla="*/ 1079441 w 6884782"/>
              <a:gd name="connsiteY34022" fmla="*/ 2392550 h 5973007"/>
              <a:gd name="connsiteX34023" fmla="*/ 623771 w 6884782"/>
              <a:gd name="connsiteY34023" fmla="*/ 2392550 h 5973007"/>
              <a:gd name="connsiteX34024" fmla="*/ 633684 w 6884782"/>
              <a:gd name="connsiteY34024" fmla="*/ 2397198 h 5973007"/>
              <a:gd name="connsiteX34025" fmla="*/ 623771 w 6884782"/>
              <a:gd name="connsiteY34025" fmla="*/ 2392550 h 5973007"/>
              <a:gd name="connsiteX34026" fmla="*/ 1050942 w 6884782"/>
              <a:gd name="connsiteY34026" fmla="*/ 2392395 h 5973007"/>
              <a:gd name="connsiteX34027" fmla="*/ 1050942 w 6884782"/>
              <a:gd name="connsiteY34027" fmla="*/ 2393945 h 5973007"/>
              <a:gd name="connsiteX34028" fmla="*/ 1050219 w 6884782"/>
              <a:gd name="connsiteY34028" fmla="*/ 2393170 h 5973007"/>
              <a:gd name="connsiteX34029" fmla="*/ 1050942 w 6884782"/>
              <a:gd name="connsiteY34029" fmla="*/ 2392395 h 5973007"/>
              <a:gd name="connsiteX34030" fmla="*/ 4909935 w 6884782"/>
              <a:gd name="connsiteY34030" fmla="*/ 2392108 h 5973007"/>
              <a:gd name="connsiteX34031" fmla="*/ 4913563 w 6884782"/>
              <a:gd name="connsiteY34031" fmla="*/ 2409323 h 5973007"/>
              <a:gd name="connsiteX34032" fmla="*/ 4908654 w 6884782"/>
              <a:gd name="connsiteY34032" fmla="*/ 2412168 h 5973007"/>
              <a:gd name="connsiteX34033" fmla="*/ 4909935 w 6884782"/>
              <a:gd name="connsiteY34033" fmla="*/ 2392108 h 5973007"/>
              <a:gd name="connsiteX34034" fmla="*/ 5391196 w 6884782"/>
              <a:gd name="connsiteY34034" fmla="*/ 2391824 h 5973007"/>
              <a:gd name="connsiteX34035" fmla="*/ 5392904 w 6884782"/>
              <a:gd name="connsiteY34035" fmla="*/ 2395239 h 5973007"/>
              <a:gd name="connsiteX34036" fmla="*/ 5391837 w 6884782"/>
              <a:gd name="connsiteY34036" fmla="*/ 2397942 h 5973007"/>
              <a:gd name="connsiteX34037" fmla="*/ 5388209 w 6884782"/>
              <a:gd name="connsiteY34037" fmla="*/ 2394385 h 5973007"/>
              <a:gd name="connsiteX34038" fmla="*/ 5391196 w 6884782"/>
              <a:gd name="connsiteY34038" fmla="*/ 2391824 h 5973007"/>
              <a:gd name="connsiteX34039" fmla="*/ 5102653 w 6884782"/>
              <a:gd name="connsiteY34039" fmla="*/ 2391540 h 5973007"/>
              <a:gd name="connsiteX34040" fmla="*/ 5107775 w 6884782"/>
              <a:gd name="connsiteY34040" fmla="*/ 2409750 h 5973007"/>
              <a:gd name="connsiteX34041" fmla="*/ 5097104 w 6884782"/>
              <a:gd name="connsiteY34041" fmla="*/ 2406762 h 5973007"/>
              <a:gd name="connsiteX34042" fmla="*/ 5102653 w 6884782"/>
              <a:gd name="connsiteY34042" fmla="*/ 2391540 h 5973007"/>
              <a:gd name="connsiteX34043" fmla="*/ 6169112 w 6884782"/>
              <a:gd name="connsiteY34043" fmla="*/ 2391255 h 5973007"/>
              <a:gd name="connsiteX34044" fmla="*/ 6173593 w 6884782"/>
              <a:gd name="connsiteY34044" fmla="*/ 2391966 h 5973007"/>
              <a:gd name="connsiteX34045" fmla="*/ 6178502 w 6884782"/>
              <a:gd name="connsiteY34045" fmla="*/ 2401783 h 5973007"/>
              <a:gd name="connsiteX34046" fmla="*/ 6177435 w 6884782"/>
              <a:gd name="connsiteY34046" fmla="*/ 2404628 h 5973007"/>
              <a:gd name="connsiteX34047" fmla="*/ 6171886 w 6884782"/>
              <a:gd name="connsiteY34047" fmla="*/ 2402494 h 5973007"/>
              <a:gd name="connsiteX34048" fmla="*/ 6169112 w 6884782"/>
              <a:gd name="connsiteY34048" fmla="*/ 2391255 h 5973007"/>
              <a:gd name="connsiteX34049" fmla="*/ 1225445 w 6884782"/>
              <a:gd name="connsiteY34049" fmla="*/ 2390537 h 5973007"/>
              <a:gd name="connsiteX34050" fmla="*/ 1228956 w 6884782"/>
              <a:gd name="connsiteY34050" fmla="*/ 2395804 h 5973007"/>
              <a:gd name="connsiteX34051" fmla="*/ 1228646 w 6884782"/>
              <a:gd name="connsiteY34051" fmla="*/ 2397042 h 5973007"/>
              <a:gd name="connsiteX34052" fmla="*/ 1228233 w 6884782"/>
              <a:gd name="connsiteY34052" fmla="*/ 2396268 h 5973007"/>
              <a:gd name="connsiteX34053" fmla="*/ 1226891 w 6884782"/>
              <a:gd name="connsiteY34053" fmla="*/ 2397972 h 5973007"/>
              <a:gd name="connsiteX34054" fmla="*/ 1225238 w 6884782"/>
              <a:gd name="connsiteY34054" fmla="*/ 2396578 h 5973007"/>
              <a:gd name="connsiteX34055" fmla="*/ 1226168 w 6884782"/>
              <a:gd name="connsiteY34055" fmla="*/ 2393790 h 5973007"/>
              <a:gd name="connsiteX34056" fmla="*/ 1226684 w 6884782"/>
              <a:gd name="connsiteY34056" fmla="*/ 2393790 h 5973007"/>
              <a:gd name="connsiteX34057" fmla="*/ 1226581 w 6884782"/>
              <a:gd name="connsiteY34057" fmla="*/ 2393634 h 5973007"/>
              <a:gd name="connsiteX34058" fmla="*/ 1225445 w 6884782"/>
              <a:gd name="connsiteY34058" fmla="*/ 2390537 h 5973007"/>
              <a:gd name="connsiteX34059" fmla="*/ 1095136 w 6884782"/>
              <a:gd name="connsiteY34059" fmla="*/ 2388213 h 5973007"/>
              <a:gd name="connsiteX34060" fmla="*/ 1099369 w 6884782"/>
              <a:gd name="connsiteY34060" fmla="*/ 2388368 h 5973007"/>
              <a:gd name="connsiteX34061" fmla="*/ 1106494 w 6884782"/>
              <a:gd name="connsiteY34061" fmla="*/ 2399676 h 5973007"/>
              <a:gd name="connsiteX34062" fmla="*/ 1104429 w 6884782"/>
              <a:gd name="connsiteY34062" fmla="*/ 2403083 h 5973007"/>
              <a:gd name="connsiteX34063" fmla="*/ 1102364 w 6884782"/>
              <a:gd name="connsiteY34063" fmla="*/ 2405562 h 5973007"/>
              <a:gd name="connsiteX34064" fmla="*/ 1103087 w 6884782"/>
              <a:gd name="connsiteY34064" fmla="*/ 2406027 h 5973007"/>
              <a:gd name="connsiteX34065" fmla="*/ 1103500 w 6884782"/>
              <a:gd name="connsiteY34065" fmla="*/ 2407885 h 5973007"/>
              <a:gd name="connsiteX34066" fmla="*/ 1091831 w 6884782"/>
              <a:gd name="connsiteY34066" fmla="*/ 2417953 h 5973007"/>
              <a:gd name="connsiteX34067" fmla="*/ 1089147 w 6884782"/>
              <a:gd name="connsiteY34067" fmla="*/ 2413926 h 5973007"/>
              <a:gd name="connsiteX34068" fmla="*/ 1089766 w 6884782"/>
              <a:gd name="connsiteY34068" fmla="*/ 2411293 h 5973007"/>
              <a:gd name="connsiteX34069" fmla="*/ 1087701 w 6884782"/>
              <a:gd name="connsiteY34069" fmla="*/ 2410209 h 5973007"/>
              <a:gd name="connsiteX34070" fmla="*/ 1088940 w 6884782"/>
              <a:gd name="connsiteY34070" fmla="*/ 2406801 h 5973007"/>
              <a:gd name="connsiteX34071" fmla="*/ 1092967 w 6884782"/>
              <a:gd name="connsiteY34071" fmla="*/ 2407266 h 5973007"/>
              <a:gd name="connsiteX34072" fmla="*/ 1095342 w 6884782"/>
              <a:gd name="connsiteY34072" fmla="*/ 2406491 h 5973007"/>
              <a:gd name="connsiteX34073" fmla="*/ 1097717 w 6884782"/>
              <a:gd name="connsiteY34073" fmla="*/ 2404787 h 5973007"/>
              <a:gd name="connsiteX34074" fmla="*/ 1098130 w 6884782"/>
              <a:gd name="connsiteY34074" fmla="*/ 2404787 h 5973007"/>
              <a:gd name="connsiteX34075" fmla="*/ 1096168 w 6884782"/>
              <a:gd name="connsiteY34075" fmla="*/ 2397817 h 5973007"/>
              <a:gd name="connsiteX34076" fmla="*/ 1092658 w 6884782"/>
              <a:gd name="connsiteY34076" fmla="*/ 2389298 h 5973007"/>
              <a:gd name="connsiteX34077" fmla="*/ 1095136 w 6884782"/>
              <a:gd name="connsiteY34077" fmla="*/ 2388213 h 5973007"/>
              <a:gd name="connsiteX34078" fmla="*/ 820164 w 6884782"/>
              <a:gd name="connsiteY34078" fmla="*/ 2387903 h 5973007"/>
              <a:gd name="connsiteX34079" fmla="*/ 821507 w 6884782"/>
              <a:gd name="connsiteY34079" fmla="*/ 2395184 h 5973007"/>
              <a:gd name="connsiteX34080" fmla="*/ 821713 w 6884782"/>
              <a:gd name="connsiteY34080" fmla="*/ 2399366 h 5973007"/>
              <a:gd name="connsiteX34081" fmla="*/ 820164 w 6884782"/>
              <a:gd name="connsiteY34081" fmla="*/ 2401224 h 5973007"/>
              <a:gd name="connsiteX34082" fmla="*/ 819235 w 6884782"/>
              <a:gd name="connsiteY34082" fmla="*/ 2401379 h 5973007"/>
              <a:gd name="connsiteX34083" fmla="*/ 818409 w 6884782"/>
              <a:gd name="connsiteY34083" fmla="*/ 2399676 h 5973007"/>
              <a:gd name="connsiteX34084" fmla="*/ 818409 w 6884782"/>
              <a:gd name="connsiteY34084" fmla="*/ 2394874 h 5973007"/>
              <a:gd name="connsiteX34085" fmla="*/ 818616 w 6884782"/>
              <a:gd name="connsiteY34085" fmla="*/ 2391466 h 5973007"/>
              <a:gd name="connsiteX34086" fmla="*/ 818616 w 6884782"/>
              <a:gd name="connsiteY34086" fmla="*/ 2389762 h 5973007"/>
              <a:gd name="connsiteX34087" fmla="*/ 820164 w 6884782"/>
              <a:gd name="connsiteY34087" fmla="*/ 2387903 h 5973007"/>
              <a:gd name="connsiteX34088" fmla="*/ 787665 w 6884782"/>
              <a:gd name="connsiteY34088" fmla="*/ 2386684 h 5973007"/>
              <a:gd name="connsiteX34089" fmla="*/ 792079 w 6884782"/>
              <a:gd name="connsiteY34089" fmla="*/ 2389607 h 5973007"/>
              <a:gd name="connsiteX34090" fmla="*/ 783095 w 6884782"/>
              <a:gd name="connsiteY34090" fmla="*/ 2390847 h 5973007"/>
              <a:gd name="connsiteX34091" fmla="*/ 787665 w 6884782"/>
              <a:gd name="connsiteY34091" fmla="*/ 2386684 h 5973007"/>
              <a:gd name="connsiteX34092" fmla="*/ 709577 w 6884782"/>
              <a:gd name="connsiteY34092" fmla="*/ 2386665 h 5973007"/>
              <a:gd name="connsiteX34093" fmla="*/ 711229 w 6884782"/>
              <a:gd name="connsiteY34093" fmla="*/ 2391776 h 5973007"/>
              <a:gd name="connsiteX34094" fmla="*/ 707718 w 6884782"/>
              <a:gd name="connsiteY34094" fmla="*/ 2393170 h 5973007"/>
              <a:gd name="connsiteX34095" fmla="*/ 706066 w 6884782"/>
              <a:gd name="connsiteY34095" fmla="*/ 2388059 h 5973007"/>
              <a:gd name="connsiteX34096" fmla="*/ 709577 w 6884782"/>
              <a:gd name="connsiteY34096" fmla="*/ 2386665 h 5973007"/>
              <a:gd name="connsiteX34097" fmla="*/ 4863409 w 6884782"/>
              <a:gd name="connsiteY34097" fmla="*/ 2385849 h 5973007"/>
              <a:gd name="connsiteX34098" fmla="*/ 4868318 w 6884782"/>
              <a:gd name="connsiteY34098" fmla="*/ 2386987 h 5973007"/>
              <a:gd name="connsiteX34099" fmla="*/ 4877282 w 6884782"/>
              <a:gd name="connsiteY34099" fmla="*/ 2395096 h 5973007"/>
              <a:gd name="connsiteX34100" fmla="*/ 4876641 w 6884782"/>
              <a:gd name="connsiteY34100" fmla="*/ 2404913 h 5973007"/>
              <a:gd name="connsiteX34101" fmla="*/ 4865970 w 6884782"/>
              <a:gd name="connsiteY34101" fmla="*/ 2414303 h 5973007"/>
              <a:gd name="connsiteX34102" fmla="*/ 4858073 w 6884782"/>
              <a:gd name="connsiteY34102" fmla="*/ 2414160 h 5973007"/>
              <a:gd name="connsiteX34103" fmla="*/ 4850604 w 6884782"/>
              <a:gd name="connsiteY34103" fmla="*/ 2394670 h 5973007"/>
              <a:gd name="connsiteX34104" fmla="*/ 4852311 w 6884782"/>
              <a:gd name="connsiteY34104" fmla="*/ 2391540 h 5973007"/>
              <a:gd name="connsiteX34105" fmla="*/ 4853378 w 6884782"/>
              <a:gd name="connsiteY34105" fmla="*/ 2386276 h 5973007"/>
              <a:gd name="connsiteX34106" fmla="*/ 4863409 w 6884782"/>
              <a:gd name="connsiteY34106" fmla="*/ 2385849 h 5973007"/>
              <a:gd name="connsiteX34107" fmla="*/ 916399 w 6884782"/>
              <a:gd name="connsiteY34107" fmla="*/ 2384651 h 5973007"/>
              <a:gd name="connsiteX34108" fmla="*/ 917638 w 6884782"/>
              <a:gd name="connsiteY34108" fmla="*/ 2396578 h 5973007"/>
              <a:gd name="connsiteX34109" fmla="*/ 916812 w 6884782"/>
              <a:gd name="connsiteY34109" fmla="*/ 2396578 h 5973007"/>
              <a:gd name="connsiteX34110" fmla="*/ 915160 w 6884782"/>
              <a:gd name="connsiteY34110" fmla="*/ 2387903 h 5973007"/>
              <a:gd name="connsiteX34111" fmla="*/ 915573 w 6884782"/>
              <a:gd name="connsiteY34111" fmla="*/ 2384805 h 5973007"/>
              <a:gd name="connsiteX34112" fmla="*/ 915573 w 6884782"/>
              <a:gd name="connsiteY34112" fmla="*/ 2385580 h 5973007"/>
              <a:gd name="connsiteX34113" fmla="*/ 916399 w 6884782"/>
              <a:gd name="connsiteY34113" fmla="*/ 2384651 h 5973007"/>
              <a:gd name="connsiteX34114" fmla="*/ 909584 w 6884782"/>
              <a:gd name="connsiteY34114" fmla="*/ 2384341 h 5973007"/>
              <a:gd name="connsiteX34115" fmla="*/ 909584 w 6884782"/>
              <a:gd name="connsiteY34115" fmla="*/ 2386045 h 5973007"/>
              <a:gd name="connsiteX34116" fmla="*/ 913301 w 6884782"/>
              <a:gd name="connsiteY34116" fmla="*/ 2398592 h 5973007"/>
              <a:gd name="connsiteX34117" fmla="*/ 906074 w 6884782"/>
              <a:gd name="connsiteY34117" fmla="*/ 2384496 h 5973007"/>
              <a:gd name="connsiteX34118" fmla="*/ 909584 w 6884782"/>
              <a:gd name="connsiteY34118" fmla="*/ 2384341 h 5973007"/>
              <a:gd name="connsiteX34119" fmla="*/ 5297505 w 6884782"/>
              <a:gd name="connsiteY34119" fmla="*/ 2384141 h 5973007"/>
              <a:gd name="connsiteX34120" fmla="*/ 5303908 w 6884782"/>
              <a:gd name="connsiteY34120" fmla="*/ 2385422 h 5973007"/>
              <a:gd name="connsiteX34121" fmla="*/ 5305615 w 6884782"/>
              <a:gd name="connsiteY34121" fmla="*/ 2394100 h 5973007"/>
              <a:gd name="connsiteX34122" fmla="*/ 5272961 w 6884782"/>
              <a:gd name="connsiteY34122" fmla="*/ 2404628 h 5973007"/>
              <a:gd name="connsiteX34123" fmla="*/ 5276590 w 6884782"/>
              <a:gd name="connsiteY34123" fmla="*/ 2388836 h 5973007"/>
              <a:gd name="connsiteX34124" fmla="*/ 5283206 w 6884782"/>
              <a:gd name="connsiteY34124" fmla="*/ 2385137 h 5973007"/>
              <a:gd name="connsiteX34125" fmla="*/ 5291102 w 6884782"/>
              <a:gd name="connsiteY34125" fmla="*/ 2385422 h 5973007"/>
              <a:gd name="connsiteX34126" fmla="*/ 5297505 w 6884782"/>
              <a:gd name="connsiteY34126" fmla="*/ 2384141 h 5973007"/>
              <a:gd name="connsiteX34127" fmla="*/ 5250553 w 6884782"/>
              <a:gd name="connsiteY34127" fmla="*/ 2383999 h 5973007"/>
              <a:gd name="connsiteX34128" fmla="*/ 5265919 w 6884782"/>
              <a:gd name="connsiteY34128" fmla="*/ 2392251 h 5973007"/>
              <a:gd name="connsiteX34129" fmla="*/ 5234760 w 6884782"/>
              <a:gd name="connsiteY34129" fmla="*/ 2392678 h 5973007"/>
              <a:gd name="connsiteX34130" fmla="*/ 5250553 w 6884782"/>
              <a:gd name="connsiteY34130" fmla="*/ 2383999 h 5973007"/>
              <a:gd name="connsiteX34131" fmla="*/ 736992 w 6884782"/>
              <a:gd name="connsiteY34131" fmla="*/ 2382289 h 5973007"/>
              <a:gd name="connsiteX34132" fmla="*/ 743032 w 6884782"/>
              <a:gd name="connsiteY34132" fmla="*/ 2382792 h 5973007"/>
              <a:gd name="connsiteX34133" fmla="*/ 746130 w 6884782"/>
              <a:gd name="connsiteY34133" fmla="*/ 2391621 h 5973007"/>
              <a:gd name="connsiteX34134" fmla="*/ 743755 w 6884782"/>
              <a:gd name="connsiteY34134" fmla="*/ 2396113 h 5973007"/>
              <a:gd name="connsiteX34135" fmla="*/ 733429 w 6884782"/>
              <a:gd name="connsiteY34135" fmla="*/ 2396733 h 5973007"/>
              <a:gd name="connsiteX34136" fmla="*/ 731158 w 6884782"/>
              <a:gd name="connsiteY34136" fmla="*/ 2387748 h 5973007"/>
              <a:gd name="connsiteX34137" fmla="*/ 729299 w 6884782"/>
              <a:gd name="connsiteY34137" fmla="*/ 2387129 h 5973007"/>
              <a:gd name="connsiteX34138" fmla="*/ 727440 w 6884782"/>
              <a:gd name="connsiteY34138" fmla="*/ 2384031 h 5973007"/>
              <a:gd name="connsiteX34139" fmla="*/ 729092 w 6884782"/>
              <a:gd name="connsiteY34139" fmla="*/ 2382947 h 5973007"/>
              <a:gd name="connsiteX34140" fmla="*/ 731880 w 6884782"/>
              <a:gd name="connsiteY34140" fmla="*/ 2385890 h 5973007"/>
              <a:gd name="connsiteX34141" fmla="*/ 732706 w 6884782"/>
              <a:gd name="connsiteY34141" fmla="*/ 2385890 h 5973007"/>
              <a:gd name="connsiteX34142" fmla="*/ 734358 w 6884782"/>
              <a:gd name="connsiteY34142" fmla="*/ 2383876 h 5973007"/>
              <a:gd name="connsiteX34143" fmla="*/ 736992 w 6884782"/>
              <a:gd name="connsiteY34143" fmla="*/ 2382289 h 5973007"/>
              <a:gd name="connsiteX34144" fmla="*/ 1191577 w 6884782"/>
              <a:gd name="connsiteY34144" fmla="*/ 2382017 h 5973007"/>
              <a:gd name="connsiteX34145" fmla="*/ 1194985 w 6884782"/>
              <a:gd name="connsiteY34145" fmla="*/ 2383566 h 5973007"/>
              <a:gd name="connsiteX34146" fmla="*/ 1190131 w 6884782"/>
              <a:gd name="connsiteY34146" fmla="*/ 2393170 h 5973007"/>
              <a:gd name="connsiteX34147" fmla="*/ 1185485 w 6884782"/>
              <a:gd name="connsiteY34147" fmla="*/ 2390847 h 5973007"/>
              <a:gd name="connsiteX34148" fmla="*/ 1191577 w 6884782"/>
              <a:gd name="connsiteY34148" fmla="*/ 2382017 h 5973007"/>
              <a:gd name="connsiteX34149" fmla="*/ 850109 w 6884782"/>
              <a:gd name="connsiteY34149" fmla="*/ 2380314 h 5973007"/>
              <a:gd name="connsiteX34150" fmla="*/ 852896 w 6884782"/>
              <a:gd name="connsiteY34150" fmla="*/ 2397507 h 5973007"/>
              <a:gd name="connsiteX34151" fmla="*/ 849490 w 6884782"/>
              <a:gd name="connsiteY34151" fmla="*/ 2396733 h 5973007"/>
              <a:gd name="connsiteX34152" fmla="*/ 846495 w 6884782"/>
              <a:gd name="connsiteY34152" fmla="*/ 2392395 h 5973007"/>
              <a:gd name="connsiteX34153" fmla="*/ 844843 w 6884782"/>
              <a:gd name="connsiteY34153" fmla="*/ 2388523 h 5973007"/>
              <a:gd name="connsiteX34154" fmla="*/ 838647 w 6884782"/>
              <a:gd name="connsiteY34154" fmla="*/ 2388833 h 5973007"/>
              <a:gd name="connsiteX34155" fmla="*/ 833691 w 6884782"/>
              <a:gd name="connsiteY34155" fmla="*/ 2385425 h 5973007"/>
              <a:gd name="connsiteX34156" fmla="*/ 839370 w 6884782"/>
              <a:gd name="connsiteY34156" fmla="*/ 2383257 h 5973007"/>
              <a:gd name="connsiteX34157" fmla="*/ 845978 w 6884782"/>
              <a:gd name="connsiteY34157" fmla="*/ 2383101 h 5973007"/>
              <a:gd name="connsiteX34158" fmla="*/ 847424 w 6884782"/>
              <a:gd name="connsiteY34158" fmla="*/ 2380778 h 5973007"/>
              <a:gd name="connsiteX34159" fmla="*/ 850109 w 6884782"/>
              <a:gd name="connsiteY34159" fmla="*/ 2380314 h 5973007"/>
              <a:gd name="connsiteX34160" fmla="*/ 5312231 w 6884782"/>
              <a:gd name="connsiteY34160" fmla="*/ 2378877 h 5973007"/>
              <a:gd name="connsiteX34161" fmla="*/ 5318847 w 6884782"/>
              <a:gd name="connsiteY34161" fmla="*/ 2399364 h 5973007"/>
              <a:gd name="connsiteX34162" fmla="*/ 5312444 w 6884782"/>
              <a:gd name="connsiteY34162" fmla="*/ 2403490 h 5973007"/>
              <a:gd name="connsiteX34163" fmla="*/ 5312231 w 6884782"/>
              <a:gd name="connsiteY34163" fmla="*/ 2378877 h 5973007"/>
              <a:gd name="connsiteX34164" fmla="*/ 5274029 w 6884782"/>
              <a:gd name="connsiteY34164" fmla="*/ 2378024 h 5973007"/>
              <a:gd name="connsiteX34165" fmla="*/ 5270828 w 6884782"/>
              <a:gd name="connsiteY34165" fmla="*/ 2387698 h 5973007"/>
              <a:gd name="connsiteX34166" fmla="*/ 5274029 w 6884782"/>
              <a:gd name="connsiteY34166" fmla="*/ 2378024 h 5973007"/>
              <a:gd name="connsiteX34167" fmla="*/ 1184039 w 6884782"/>
              <a:gd name="connsiteY34167" fmla="*/ 2376751 h 5973007"/>
              <a:gd name="connsiteX34168" fmla="*/ 1186931 w 6884782"/>
              <a:gd name="connsiteY34168" fmla="*/ 2382327 h 5973007"/>
              <a:gd name="connsiteX34169" fmla="*/ 1181974 w 6884782"/>
              <a:gd name="connsiteY34169" fmla="*/ 2383876 h 5973007"/>
              <a:gd name="connsiteX34170" fmla="*/ 1177121 w 6884782"/>
              <a:gd name="connsiteY34170" fmla="*/ 2382637 h 5973007"/>
              <a:gd name="connsiteX34171" fmla="*/ 1178980 w 6884782"/>
              <a:gd name="connsiteY34171" fmla="*/ 2389298 h 5973007"/>
              <a:gd name="connsiteX34172" fmla="*/ 1177637 w 6884782"/>
              <a:gd name="connsiteY34172" fmla="*/ 2397352 h 5973007"/>
              <a:gd name="connsiteX34173" fmla="*/ 1154301 w 6884782"/>
              <a:gd name="connsiteY34173" fmla="*/ 2410209 h 5973007"/>
              <a:gd name="connsiteX34174" fmla="*/ 1152340 w 6884782"/>
              <a:gd name="connsiteY34174" fmla="*/ 2408195 h 5973007"/>
              <a:gd name="connsiteX34175" fmla="*/ 1150791 w 6884782"/>
              <a:gd name="connsiteY34175" fmla="*/ 2399830 h 5973007"/>
              <a:gd name="connsiteX34176" fmla="*/ 1165143 w 6884782"/>
              <a:gd name="connsiteY34176" fmla="*/ 2380623 h 5973007"/>
              <a:gd name="connsiteX34177" fmla="*/ 1170616 w 6884782"/>
              <a:gd name="connsiteY34177" fmla="*/ 2379539 h 5973007"/>
              <a:gd name="connsiteX34178" fmla="*/ 1175985 w 6884782"/>
              <a:gd name="connsiteY34178" fmla="*/ 2380158 h 5973007"/>
              <a:gd name="connsiteX34179" fmla="*/ 1176089 w 6884782"/>
              <a:gd name="connsiteY34179" fmla="*/ 2378920 h 5973007"/>
              <a:gd name="connsiteX34180" fmla="*/ 1184039 w 6884782"/>
              <a:gd name="connsiteY34180" fmla="*/ 2376751 h 5973007"/>
              <a:gd name="connsiteX34181" fmla="*/ 5039694 w 6884782"/>
              <a:gd name="connsiteY34181" fmla="*/ 2376744 h 5973007"/>
              <a:gd name="connsiteX34182" fmla="*/ 5046310 w 6884782"/>
              <a:gd name="connsiteY34182" fmla="*/ 2379162 h 5973007"/>
              <a:gd name="connsiteX34183" fmla="*/ 5043749 w 6884782"/>
              <a:gd name="connsiteY34183" fmla="*/ 2385991 h 5973007"/>
              <a:gd name="connsiteX34184" fmla="*/ 5036492 w 6884782"/>
              <a:gd name="connsiteY34184" fmla="*/ 2381865 h 5973007"/>
              <a:gd name="connsiteX34185" fmla="*/ 5039694 w 6884782"/>
              <a:gd name="connsiteY34185" fmla="*/ 2376744 h 5973007"/>
              <a:gd name="connsiteX34186" fmla="*/ 5451381 w 6884782"/>
              <a:gd name="connsiteY34186" fmla="*/ 2376175 h 5973007"/>
              <a:gd name="connsiteX34187" fmla="*/ 5459064 w 6884782"/>
              <a:gd name="connsiteY34187" fmla="*/ 2379304 h 5973007"/>
              <a:gd name="connsiteX34188" fmla="*/ 5435588 w 6884782"/>
              <a:gd name="connsiteY34188" fmla="*/ 2395665 h 5973007"/>
              <a:gd name="connsiteX34189" fmla="*/ 5429185 w 6884782"/>
              <a:gd name="connsiteY34189" fmla="*/ 2392678 h 5973007"/>
              <a:gd name="connsiteX34190" fmla="*/ 5451381 w 6884782"/>
              <a:gd name="connsiteY34190" fmla="*/ 2376175 h 5973007"/>
              <a:gd name="connsiteX34191" fmla="*/ 770098 w 6884782"/>
              <a:gd name="connsiteY34191" fmla="*/ 2374311 h 5973007"/>
              <a:gd name="connsiteX34192" fmla="*/ 776590 w 6884782"/>
              <a:gd name="connsiteY34192" fmla="*/ 2376596 h 5973007"/>
              <a:gd name="connsiteX34193" fmla="*/ 766987 w 6884782"/>
              <a:gd name="connsiteY34193" fmla="*/ 2379849 h 5973007"/>
              <a:gd name="connsiteX34194" fmla="*/ 756662 w 6884782"/>
              <a:gd name="connsiteY34194" fmla="*/ 2377061 h 5973007"/>
              <a:gd name="connsiteX34195" fmla="*/ 760896 w 6884782"/>
              <a:gd name="connsiteY34195" fmla="*/ 2374582 h 5973007"/>
              <a:gd name="connsiteX34196" fmla="*/ 770098 w 6884782"/>
              <a:gd name="connsiteY34196" fmla="*/ 2374311 h 5973007"/>
              <a:gd name="connsiteX34197" fmla="*/ 5729253 w 6884782"/>
              <a:gd name="connsiteY34197" fmla="*/ 2372333 h 5973007"/>
              <a:gd name="connsiteX34198" fmla="*/ 5728826 w 6884782"/>
              <a:gd name="connsiteY34198" fmla="*/ 2373045 h 5973007"/>
              <a:gd name="connsiteX34199" fmla="*/ 5727972 w 6884782"/>
              <a:gd name="connsiteY34199" fmla="*/ 2373756 h 5973007"/>
              <a:gd name="connsiteX34200" fmla="*/ 5732028 w 6884782"/>
              <a:gd name="connsiteY34200" fmla="*/ 2375463 h 5973007"/>
              <a:gd name="connsiteX34201" fmla="*/ 5325676 w 6884782"/>
              <a:gd name="connsiteY34201" fmla="*/ 2371622 h 5973007"/>
              <a:gd name="connsiteX34202" fmla="*/ 5326957 w 6884782"/>
              <a:gd name="connsiteY34202" fmla="*/ 2371764 h 5973007"/>
              <a:gd name="connsiteX34203" fmla="*/ 5324183 w 6884782"/>
              <a:gd name="connsiteY34203" fmla="*/ 2385991 h 5973007"/>
              <a:gd name="connsiteX34204" fmla="*/ 5322262 w 6884782"/>
              <a:gd name="connsiteY34204" fmla="*/ 2387129 h 5973007"/>
              <a:gd name="connsiteX34205" fmla="*/ 5319700 w 6884782"/>
              <a:gd name="connsiteY34205" fmla="*/ 2385422 h 5973007"/>
              <a:gd name="connsiteX34206" fmla="*/ 5319914 w 6884782"/>
              <a:gd name="connsiteY34206" fmla="*/ 2379447 h 5973007"/>
              <a:gd name="connsiteX34207" fmla="*/ 5324609 w 6884782"/>
              <a:gd name="connsiteY34207" fmla="*/ 2375178 h 5973007"/>
              <a:gd name="connsiteX34208" fmla="*/ 5325676 w 6884782"/>
              <a:gd name="connsiteY34208" fmla="*/ 2371622 h 5973007"/>
              <a:gd name="connsiteX34209" fmla="*/ 742516 w 6884782"/>
              <a:gd name="connsiteY34209" fmla="*/ 2369935 h 5973007"/>
              <a:gd name="connsiteX34210" fmla="*/ 755423 w 6884782"/>
              <a:gd name="connsiteY34210" fmla="*/ 2373343 h 5973007"/>
              <a:gd name="connsiteX34211" fmla="*/ 750673 w 6884782"/>
              <a:gd name="connsiteY34211" fmla="*/ 2379074 h 5973007"/>
              <a:gd name="connsiteX34212" fmla="*/ 745510 w 6884782"/>
              <a:gd name="connsiteY34212" fmla="*/ 2378765 h 5973007"/>
              <a:gd name="connsiteX34213" fmla="*/ 739625 w 6884782"/>
              <a:gd name="connsiteY34213" fmla="*/ 2373034 h 5973007"/>
              <a:gd name="connsiteX34214" fmla="*/ 742516 w 6884782"/>
              <a:gd name="connsiteY34214" fmla="*/ 2369935 h 5973007"/>
              <a:gd name="connsiteX34215" fmla="*/ 1139020 w 6884782"/>
              <a:gd name="connsiteY34215" fmla="*/ 2369316 h 5973007"/>
              <a:gd name="connsiteX34216" fmla="*/ 1142221 w 6884782"/>
              <a:gd name="connsiteY34216" fmla="*/ 2375667 h 5973007"/>
              <a:gd name="connsiteX34217" fmla="*/ 1138813 w 6884782"/>
              <a:gd name="connsiteY34217" fmla="*/ 2373343 h 5973007"/>
              <a:gd name="connsiteX34218" fmla="*/ 1139020 w 6884782"/>
              <a:gd name="connsiteY34218" fmla="*/ 2369316 h 5973007"/>
              <a:gd name="connsiteX34219" fmla="*/ 1207478 w 6884782"/>
              <a:gd name="connsiteY34219" fmla="*/ 2368387 h 5973007"/>
              <a:gd name="connsiteX34220" fmla="*/ 1207272 w 6884782"/>
              <a:gd name="connsiteY34220" fmla="*/ 2370400 h 5973007"/>
              <a:gd name="connsiteX34221" fmla="*/ 1207892 w 6884782"/>
              <a:gd name="connsiteY34221" fmla="*/ 2370090 h 5973007"/>
              <a:gd name="connsiteX34222" fmla="*/ 1212125 w 6884782"/>
              <a:gd name="connsiteY34222" fmla="*/ 2370710 h 5973007"/>
              <a:gd name="connsiteX34223" fmla="*/ 1208614 w 6884782"/>
              <a:gd name="connsiteY34223" fmla="*/ 2371949 h 5973007"/>
              <a:gd name="connsiteX34224" fmla="*/ 1207065 w 6884782"/>
              <a:gd name="connsiteY34224" fmla="*/ 2372259 h 5973007"/>
              <a:gd name="connsiteX34225" fmla="*/ 1206756 w 6884782"/>
              <a:gd name="connsiteY34225" fmla="*/ 2374582 h 5973007"/>
              <a:gd name="connsiteX34226" fmla="*/ 1201490 w 6884782"/>
              <a:gd name="connsiteY34226" fmla="*/ 2379074 h 5973007"/>
              <a:gd name="connsiteX34227" fmla="*/ 1198186 w 6884782"/>
              <a:gd name="connsiteY34227" fmla="*/ 2369161 h 5973007"/>
              <a:gd name="connsiteX34228" fmla="*/ 1207478 w 6884782"/>
              <a:gd name="connsiteY34228" fmla="*/ 2368387 h 5973007"/>
              <a:gd name="connsiteX34229" fmla="*/ 5555956 w 6884782"/>
              <a:gd name="connsiteY34229" fmla="*/ 2368350 h 5973007"/>
              <a:gd name="connsiteX34230" fmla="*/ 5555529 w 6884782"/>
              <a:gd name="connsiteY34230" fmla="*/ 2373329 h 5973007"/>
              <a:gd name="connsiteX34231" fmla="*/ 5558090 w 6884782"/>
              <a:gd name="connsiteY34231" fmla="*/ 2375890 h 5973007"/>
              <a:gd name="connsiteX34232" fmla="*/ 5557664 w 6884782"/>
              <a:gd name="connsiteY34232" fmla="*/ 2369488 h 5973007"/>
              <a:gd name="connsiteX34233" fmla="*/ 1167828 w 6884782"/>
              <a:gd name="connsiteY34233" fmla="*/ 2368077 h 5973007"/>
              <a:gd name="connsiteX34234" fmla="*/ 1171132 w 6884782"/>
              <a:gd name="connsiteY34234" fmla="*/ 2368696 h 5973007"/>
              <a:gd name="connsiteX34235" fmla="*/ 1167828 w 6884782"/>
              <a:gd name="connsiteY34235" fmla="*/ 2368851 h 5973007"/>
              <a:gd name="connsiteX34236" fmla="*/ 1167208 w 6884782"/>
              <a:gd name="connsiteY34236" fmla="*/ 2368387 h 5973007"/>
              <a:gd name="connsiteX34237" fmla="*/ 1167828 w 6884782"/>
              <a:gd name="connsiteY34237" fmla="*/ 2368077 h 5973007"/>
              <a:gd name="connsiteX34238" fmla="*/ 1015525 w 6884782"/>
              <a:gd name="connsiteY34238" fmla="*/ 2367767 h 5973007"/>
              <a:gd name="connsiteX34239" fmla="*/ 1027503 w 6884782"/>
              <a:gd name="connsiteY34239" fmla="*/ 2382172 h 5973007"/>
              <a:gd name="connsiteX34240" fmla="*/ 1025025 w 6884782"/>
              <a:gd name="connsiteY34240" fmla="*/ 2383876 h 5973007"/>
              <a:gd name="connsiteX34241" fmla="*/ 1025541 w 6884782"/>
              <a:gd name="connsiteY34241" fmla="*/ 2384651 h 5973007"/>
              <a:gd name="connsiteX34242" fmla="*/ 1026677 w 6884782"/>
              <a:gd name="connsiteY34242" fmla="*/ 2388368 h 5973007"/>
              <a:gd name="connsiteX34243" fmla="*/ 1027090 w 6884782"/>
              <a:gd name="connsiteY34243" fmla="*/ 2388213 h 5973007"/>
              <a:gd name="connsiteX34244" fmla="*/ 1029568 w 6884782"/>
              <a:gd name="connsiteY34244" fmla="*/ 2388988 h 5973007"/>
              <a:gd name="connsiteX34245" fmla="*/ 1030910 w 6884782"/>
              <a:gd name="connsiteY34245" fmla="*/ 2395804 h 5973007"/>
              <a:gd name="connsiteX34246" fmla="*/ 1032459 w 6884782"/>
              <a:gd name="connsiteY34246" fmla="*/ 2399985 h 5973007"/>
              <a:gd name="connsiteX34247" fmla="*/ 1029259 w 6884782"/>
              <a:gd name="connsiteY34247" fmla="*/ 2395029 h 5973007"/>
              <a:gd name="connsiteX34248" fmla="*/ 1026677 w 6884782"/>
              <a:gd name="connsiteY34248" fmla="*/ 2394254 h 5973007"/>
              <a:gd name="connsiteX34249" fmla="*/ 1025954 w 6884782"/>
              <a:gd name="connsiteY34249" fmla="*/ 2392550 h 5973007"/>
              <a:gd name="connsiteX34250" fmla="*/ 1024922 w 6884782"/>
              <a:gd name="connsiteY34250" fmla="*/ 2392860 h 5973007"/>
              <a:gd name="connsiteX34251" fmla="*/ 1022547 w 6884782"/>
              <a:gd name="connsiteY34251" fmla="*/ 2394099 h 5973007"/>
              <a:gd name="connsiteX34252" fmla="*/ 1020482 w 6884782"/>
              <a:gd name="connsiteY34252" fmla="*/ 2388059 h 5973007"/>
              <a:gd name="connsiteX34253" fmla="*/ 1020069 w 6884782"/>
              <a:gd name="connsiteY34253" fmla="*/ 2385270 h 5973007"/>
              <a:gd name="connsiteX34254" fmla="*/ 1019759 w 6884782"/>
              <a:gd name="connsiteY34254" fmla="*/ 2385270 h 5973007"/>
              <a:gd name="connsiteX34255" fmla="*/ 1015112 w 6884782"/>
              <a:gd name="connsiteY34255" fmla="*/ 2382792 h 5973007"/>
              <a:gd name="connsiteX34256" fmla="*/ 1014286 w 6884782"/>
              <a:gd name="connsiteY34256" fmla="*/ 2381398 h 5973007"/>
              <a:gd name="connsiteX34257" fmla="*/ 1004167 w 6884782"/>
              <a:gd name="connsiteY34257" fmla="*/ 2379694 h 5973007"/>
              <a:gd name="connsiteX34258" fmla="*/ 1006232 w 6884782"/>
              <a:gd name="connsiteY34258" fmla="*/ 2372259 h 5973007"/>
              <a:gd name="connsiteX34259" fmla="*/ 1012221 w 6884782"/>
              <a:gd name="connsiteY34259" fmla="*/ 2372414 h 5973007"/>
              <a:gd name="connsiteX34260" fmla="*/ 1157916 w 6884782"/>
              <a:gd name="connsiteY34260" fmla="*/ 2367302 h 5973007"/>
              <a:gd name="connsiteX34261" fmla="*/ 1163388 w 6884782"/>
              <a:gd name="connsiteY34261" fmla="*/ 2368077 h 5973007"/>
              <a:gd name="connsiteX34262" fmla="*/ 1146454 w 6884782"/>
              <a:gd name="connsiteY34262" fmla="*/ 2382637 h 5973007"/>
              <a:gd name="connsiteX34263" fmla="*/ 1157916 w 6884782"/>
              <a:gd name="connsiteY34263" fmla="*/ 2367302 h 5973007"/>
              <a:gd name="connsiteX34264" fmla="*/ 6230790 w 6884782"/>
              <a:gd name="connsiteY34264" fmla="*/ 2366785 h 5973007"/>
              <a:gd name="connsiteX34265" fmla="*/ 6233351 w 6884782"/>
              <a:gd name="connsiteY34265" fmla="*/ 2368065 h 5973007"/>
              <a:gd name="connsiteX34266" fmla="*/ 6234204 w 6884782"/>
              <a:gd name="connsiteY34266" fmla="*/ 2370626 h 5973007"/>
              <a:gd name="connsiteX34267" fmla="*/ 6234845 w 6884782"/>
              <a:gd name="connsiteY34267" fmla="*/ 2373614 h 5973007"/>
              <a:gd name="connsiteX34268" fmla="*/ 6233138 w 6884782"/>
              <a:gd name="connsiteY34268" fmla="*/ 2378024 h 5973007"/>
              <a:gd name="connsiteX34269" fmla="*/ 6240394 w 6884782"/>
              <a:gd name="connsiteY34269" fmla="*/ 2382150 h 5973007"/>
              <a:gd name="connsiteX34270" fmla="*/ 6247650 w 6884782"/>
              <a:gd name="connsiteY34270" fmla="*/ 2388978 h 5973007"/>
              <a:gd name="connsiteX34271" fmla="*/ 6217771 w 6884782"/>
              <a:gd name="connsiteY34271" fmla="*/ 2369346 h 5973007"/>
              <a:gd name="connsiteX34272" fmla="*/ 6223107 w 6884782"/>
              <a:gd name="connsiteY34272" fmla="*/ 2372902 h 5973007"/>
              <a:gd name="connsiteX34273" fmla="*/ 6223747 w 6884782"/>
              <a:gd name="connsiteY34273" fmla="*/ 2370057 h 5973007"/>
              <a:gd name="connsiteX34274" fmla="*/ 6230790 w 6884782"/>
              <a:gd name="connsiteY34274" fmla="*/ 2366785 h 5973007"/>
              <a:gd name="connsiteX34275" fmla="*/ 5117592 w 6884782"/>
              <a:gd name="connsiteY34275" fmla="*/ 2366358 h 5973007"/>
              <a:gd name="connsiteX34276" fmla="*/ 5124848 w 6884782"/>
              <a:gd name="connsiteY34276" fmla="*/ 2375890 h 5973007"/>
              <a:gd name="connsiteX34277" fmla="*/ 5112684 w 6884782"/>
              <a:gd name="connsiteY34277" fmla="*/ 2381439 h 5973007"/>
              <a:gd name="connsiteX34278" fmla="*/ 5115458 w 6884782"/>
              <a:gd name="connsiteY34278" fmla="*/ 2366642 h 5973007"/>
              <a:gd name="connsiteX34279" fmla="*/ 5117592 w 6884782"/>
              <a:gd name="connsiteY34279" fmla="*/ 2366358 h 5973007"/>
              <a:gd name="connsiteX34280" fmla="*/ 5343604 w 6884782"/>
              <a:gd name="connsiteY34280" fmla="*/ 2366073 h 5973007"/>
              <a:gd name="connsiteX34281" fmla="*/ 5349793 w 6884782"/>
              <a:gd name="connsiteY34281" fmla="*/ 2368350 h 5973007"/>
              <a:gd name="connsiteX34282" fmla="*/ 5346378 w 6884782"/>
              <a:gd name="connsiteY34282" fmla="*/ 2375321 h 5973007"/>
              <a:gd name="connsiteX34283" fmla="*/ 5339549 w 6884782"/>
              <a:gd name="connsiteY34283" fmla="*/ 2371338 h 5973007"/>
              <a:gd name="connsiteX34284" fmla="*/ 5343604 w 6884782"/>
              <a:gd name="connsiteY34284" fmla="*/ 2366073 h 5973007"/>
              <a:gd name="connsiteX34285" fmla="*/ 5077469 w 6884782"/>
              <a:gd name="connsiteY34285" fmla="*/ 2365646 h 5973007"/>
              <a:gd name="connsiteX34286" fmla="*/ 5086646 w 6884782"/>
              <a:gd name="connsiteY34286" fmla="*/ 2367923 h 5973007"/>
              <a:gd name="connsiteX34287" fmla="*/ 5079176 w 6884782"/>
              <a:gd name="connsiteY34287" fmla="*/ 2398226 h 5973007"/>
              <a:gd name="connsiteX34288" fmla="*/ 5054420 w 6884782"/>
              <a:gd name="connsiteY34288" fmla="*/ 2385564 h 5973007"/>
              <a:gd name="connsiteX34289" fmla="*/ 5077469 w 6884782"/>
              <a:gd name="connsiteY34289" fmla="*/ 2365646 h 5973007"/>
              <a:gd name="connsiteX34290" fmla="*/ 5475924 w 6884782"/>
              <a:gd name="connsiteY34290" fmla="*/ 2365078 h 5973007"/>
              <a:gd name="connsiteX34291" fmla="*/ 5467174 w 6884782"/>
              <a:gd name="connsiteY34291" fmla="*/ 2378024 h 5973007"/>
              <a:gd name="connsiteX34292" fmla="*/ 5463759 w 6884782"/>
              <a:gd name="connsiteY34292" fmla="*/ 2371195 h 5973007"/>
              <a:gd name="connsiteX34293" fmla="*/ 5475924 w 6884782"/>
              <a:gd name="connsiteY34293" fmla="*/ 2365078 h 5973007"/>
              <a:gd name="connsiteX34294" fmla="*/ 5694679 w 6884782"/>
              <a:gd name="connsiteY34294" fmla="*/ 2364509 h 5973007"/>
              <a:gd name="connsiteX34295" fmla="*/ 5704070 w 6884782"/>
              <a:gd name="connsiteY34295" fmla="*/ 2369346 h 5973007"/>
              <a:gd name="connsiteX34296" fmla="*/ 5692118 w 6884782"/>
              <a:gd name="connsiteY34296" fmla="*/ 2366500 h 5973007"/>
              <a:gd name="connsiteX34297" fmla="*/ 5694679 w 6884782"/>
              <a:gd name="connsiteY34297" fmla="*/ 2364509 h 5973007"/>
              <a:gd name="connsiteX34298" fmla="*/ 958425 w 6884782"/>
              <a:gd name="connsiteY34298" fmla="*/ 2363585 h 5973007"/>
              <a:gd name="connsiteX34299" fmla="*/ 961419 w 6884782"/>
              <a:gd name="connsiteY34299" fmla="*/ 2376751 h 5973007"/>
              <a:gd name="connsiteX34300" fmla="*/ 955843 w 6884782"/>
              <a:gd name="connsiteY34300" fmla="*/ 2376751 h 5973007"/>
              <a:gd name="connsiteX34301" fmla="*/ 955430 w 6884782"/>
              <a:gd name="connsiteY34301" fmla="*/ 2371484 h 5973007"/>
              <a:gd name="connsiteX34302" fmla="*/ 952436 w 6884782"/>
              <a:gd name="connsiteY34302" fmla="*/ 2371639 h 5973007"/>
              <a:gd name="connsiteX34303" fmla="*/ 950474 w 6884782"/>
              <a:gd name="connsiteY34303" fmla="*/ 2370090 h 5973007"/>
              <a:gd name="connsiteX34304" fmla="*/ 953055 w 6884782"/>
              <a:gd name="connsiteY34304" fmla="*/ 2365599 h 5973007"/>
              <a:gd name="connsiteX34305" fmla="*/ 955327 w 6884782"/>
              <a:gd name="connsiteY34305" fmla="*/ 2367302 h 5973007"/>
              <a:gd name="connsiteX34306" fmla="*/ 955636 w 6884782"/>
              <a:gd name="connsiteY34306" fmla="*/ 2365599 h 5973007"/>
              <a:gd name="connsiteX34307" fmla="*/ 958425 w 6884782"/>
              <a:gd name="connsiteY34307" fmla="*/ 2363585 h 5973007"/>
              <a:gd name="connsiteX34308" fmla="*/ 6222040 w 6884782"/>
              <a:gd name="connsiteY34308" fmla="*/ 2363370 h 5973007"/>
              <a:gd name="connsiteX34309" fmla="*/ 6224174 w 6884782"/>
              <a:gd name="connsiteY34309" fmla="*/ 2364082 h 5973007"/>
              <a:gd name="connsiteX34310" fmla="*/ 6224814 w 6884782"/>
              <a:gd name="connsiteY34310" fmla="*/ 2366216 h 5973007"/>
              <a:gd name="connsiteX34311" fmla="*/ 6222893 w 6884782"/>
              <a:gd name="connsiteY34311" fmla="*/ 2368777 h 5973007"/>
              <a:gd name="connsiteX34312" fmla="*/ 6219692 w 6884782"/>
              <a:gd name="connsiteY34312" fmla="*/ 2364509 h 5973007"/>
              <a:gd name="connsiteX34313" fmla="*/ 6222040 w 6884782"/>
              <a:gd name="connsiteY34313" fmla="*/ 2363370 h 5973007"/>
              <a:gd name="connsiteX34314" fmla="*/ 1057628 w 6884782"/>
              <a:gd name="connsiteY34314" fmla="*/ 2362849 h 5973007"/>
              <a:gd name="connsiteX34315" fmla="*/ 1067773 w 6884782"/>
              <a:gd name="connsiteY34315" fmla="*/ 2369781 h 5973007"/>
              <a:gd name="connsiteX34316" fmla="*/ 1052491 w 6884782"/>
              <a:gd name="connsiteY34316" fmla="*/ 2385890 h 5973007"/>
              <a:gd name="connsiteX34317" fmla="*/ 1046708 w 6884782"/>
              <a:gd name="connsiteY34317" fmla="*/ 2385115 h 5973007"/>
              <a:gd name="connsiteX34318" fmla="*/ 1048670 w 6884782"/>
              <a:gd name="connsiteY34318" fmla="*/ 2387594 h 5973007"/>
              <a:gd name="connsiteX34319" fmla="*/ 1047431 w 6884782"/>
              <a:gd name="connsiteY34319" fmla="*/ 2394254 h 5973007"/>
              <a:gd name="connsiteX34320" fmla="*/ 1043817 w 6884782"/>
              <a:gd name="connsiteY34320" fmla="*/ 2396268 h 5973007"/>
              <a:gd name="connsiteX34321" fmla="*/ 1042682 w 6884782"/>
              <a:gd name="connsiteY34321" fmla="*/ 2395184 h 5973007"/>
              <a:gd name="connsiteX34322" fmla="*/ 1042475 w 6884782"/>
              <a:gd name="connsiteY34322" fmla="*/ 2395958 h 5973007"/>
              <a:gd name="connsiteX34323" fmla="*/ 1042682 w 6884782"/>
              <a:gd name="connsiteY34323" fmla="*/ 2397817 h 5973007"/>
              <a:gd name="connsiteX34324" fmla="*/ 1039481 w 6884782"/>
              <a:gd name="connsiteY34324" fmla="*/ 2402928 h 5973007"/>
              <a:gd name="connsiteX34325" fmla="*/ 1035454 w 6884782"/>
              <a:gd name="connsiteY34325" fmla="*/ 2386974 h 5973007"/>
              <a:gd name="connsiteX34326" fmla="*/ 1035970 w 6884782"/>
              <a:gd name="connsiteY34326" fmla="*/ 2385115 h 5973007"/>
              <a:gd name="connsiteX34327" fmla="*/ 1038035 w 6884782"/>
              <a:gd name="connsiteY34327" fmla="*/ 2384341 h 5973007"/>
              <a:gd name="connsiteX34328" fmla="*/ 1040410 w 6884782"/>
              <a:gd name="connsiteY34328" fmla="*/ 2386974 h 5973007"/>
              <a:gd name="connsiteX34329" fmla="*/ 1041236 w 6884782"/>
              <a:gd name="connsiteY34329" fmla="*/ 2384805 h 5973007"/>
              <a:gd name="connsiteX34330" fmla="*/ 1043404 w 6884782"/>
              <a:gd name="connsiteY34330" fmla="*/ 2383101 h 5973007"/>
              <a:gd name="connsiteX34331" fmla="*/ 1039790 w 6884782"/>
              <a:gd name="connsiteY34331" fmla="*/ 2379539 h 5973007"/>
              <a:gd name="connsiteX34332" fmla="*/ 1039067 w 6884782"/>
              <a:gd name="connsiteY34332" fmla="*/ 2373034 h 5973007"/>
              <a:gd name="connsiteX34333" fmla="*/ 1048258 w 6884782"/>
              <a:gd name="connsiteY34333" fmla="*/ 2363120 h 5973007"/>
              <a:gd name="connsiteX34334" fmla="*/ 1057628 w 6884782"/>
              <a:gd name="connsiteY34334" fmla="*/ 2362849 h 5973007"/>
              <a:gd name="connsiteX34335" fmla="*/ 938909 w 6884782"/>
              <a:gd name="connsiteY34335" fmla="*/ 2362345 h 5973007"/>
              <a:gd name="connsiteX34336" fmla="*/ 946240 w 6884782"/>
              <a:gd name="connsiteY34336" fmla="*/ 2363740 h 5973007"/>
              <a:gd name="connsiteX34337" fmla="*/ 942936 w 6884782"/>
              <a:gd name="connsiteY34337" fmla="*/ 2375977 h 5973007"/>
              <a:gd name="connsiteX34338" fmla="*/ 935502 w 6884782"/>
              <a:gd name="connsiteY34338" fmla="*/ 2369471 h 5973007"/>
              <a:gd name="connsiteX34339" fmla="*/ 938909 w 6884782"/>
              <a:gd name="connsiteY34339" fmla="*/ 2362345 h 5973007"/>
              <a:gd name="connsiteX34340" fmla="*/ 931061 w 6884782"/>
              <a:gd name="connsiteY34340" fmla="*/ 2361571 h 5973007"/>
              <a:gd name="connsiteX34341" fmla="*/ 932714 w 6884782"/>
              <a:gd name="connsiteY34341" fmla="*/ 2370555 h 5973007"/>
              <a:gd name="connsiteX34342" fmla="*/ 889965 w 6884782"/>
              <a:gd name="connsiteY34342" fmla="*/ 2382637 h 5973007"/>
              <a:gd name="connsiteX34343" fmla="*/ 931061 w 6884782"/>
              <a:gd name="connsiteY34343" fmla="*/ 2361571 h 5973007"/>
              <a:gd name="connsiteX34344" fmla="*/ 554899 w 6884782"/>
              <a:gd name="connsiteY34344" fmla="*/ 2361571 h 5973007"/>
              <a:gd name="connsiteX34345" fmla="*/ 559649 w 6884782"/>
              <a:gd name="connsiteY34345" fmla="*/ 2369316 h 5973007"/>
              <a:gd name="connsiteX34346" fmla="*/ 554176 w 6884782"/>
              <a:gd name="connsiteY34346" fmla="*/ 2364049 h 5973007"/>
              <a:gd name="connsiteX34347" fmla="*/ 554899 w 6884782"/>
              <a:gd name="connsiteY34347" fmla="*/ 2361571 h 5973007"/>
              <a:gd name="connsiteX34348" fmla="*/ 5443697 w 6884782"/>
              <a:gd name="connsiteY34348" fmla="*/ 2360952 h 5973007"/>
              <a:gd name="connsiteX34349" fmla="*/ 5446472 w 6884782"/>
              <a:gd name="connsiteY34349" fmla="*/ 2364793 h 5973007"/>
              <a:gd name="connsiteX34350" fmla="*/ 5439429 w 6884782"/>
              <a:gd name="connsiteY34350" fmla="*/ 2366642 h 5973007"/>
              <a:gd name="connsiteX34351" fmla="*/ 5443697 w 6884782"/>
              <a:gd name="connsiteY34351" fmla="*/ 2360952 h 5973007"/>
              <a:gd name="connsiteX34352" fmla="*/ 5270828 w 6884782"/>
              <a:gd name="connsiteY34352" fmla="*/ 2360667 h 5973007"/>
              <a:gd name="connsiteX34353" fmla="*/ 5274669 w 6884782"/>
              <a:gd name="connsiteY34353" fmla="*/ 2363797 h 5973007"/>
              <a:gd name="connsiteX34354" fmla="*/ 5268693 w 6884782"/>
              <a:gd name="connsiteY34354" fmla="*/ 2370483 h 5973007"/>
              <a:gd name="connsiteX34355" fmla="*/ 5264852 w 6884782"/>
              <a:gd name="connsiteY34355" fmla="*/ 2362944 h 5973007"/>
              <a:gd name="connsiteX34356" fmla="*/ 5270828 w 6884782"/>
              <a:gd name="connsiteY34356" fmla="*/ 2360667 h 5973007"/>
              <a:gd name="connsiteX34357" fmla="*/ 1081196 w 6884782"/>
              <a:gd name="connsiteY34357" fmla="*/ 2360177 h 5973007"/>
              <a:gd name="connsiteX34358" fmla="*/ 1081299 w 6884782"/>
              <a:gd name="connsiteY34358" fmla="*/ 2366992 h 5973007"/>
              <a:gd name="connsiteX34359" fmla="*/ 1081402 w 6884782"/>
              <a:gd name="connsiteY34359" fmla="*/ 2367922 h 5973007"/>
              <a:gd name="connsiteX34360" fmla="*/ 1082538 w 6884782"/>
              <a:gd name="connsiteY34360" fmla="*/ 2368541 h 5973007"/>
              <a:gd name="connsiteX34361" fmla="*/ 1085120 w 6884782"/>
              <a:gd name="connsiteY34361" fmla="*/ 2374737 h 5973007"/>
              <a:gd name="connsiteX34362" fmla="*/ 1082332 w 6884782"/>
              <a:gd name="connsiteY34362" fmla="*/ 2375512 h 5973007"/>
              <a:gd name="connsiteX34363" fmla="*/ 1082538 w 6884782"/>
              <a:gd name="connsiteY34363" fmla="*/ 2379694 h 5973007"/>
              <a:gd name="connsiteX34364" fmla="*/ 1081402 w 6884782"/>
              <a:gd name="connsiteY34364" fmla="*/ 2386974 h 5973007"/>
              <a:gd name="connsiteX34365" fmla="*/ 1081196 w 6884782"/>
              <a:gd name="connsiteY34365" fmla="*/ 2386665 h 5973007"/>
              <a:gd name="connsiteX34366" fmla="*/ 1080887 w 6884782"/>
              <a:gd name="connsiteY34366" fmla="*/ 2387439 h 5973007"/>
              <a:gd name="connsiteX34367" fmla="*/ 1078202 w 6884782"/>
              <a:gd name="connsiteY34367" fmla="*/ 2386974 h 5973007"/>
              <a:gd name="connsiteX34368" fmla="*/ 1078821 w 6884782"/>
              <a:gd name="connsiteY34368" fmla="*/ 2383721 h 5973007"/>
              <a:gd name="connsiteX34369" fmla="*/ 1076756 w 6884782"/>
              <a:gd name="connsiteY34369" fmla="*/ 2381243 h 5973007"/>
              <a:gd name="connsiteX34370" fmla="*/ 1076240 w 6884782"/>
              <a:gd name="connsiteY34370" fmla="*/ 2378455 h 5973007"/>
              <a:gd name="connsiteX34371" fmla="*/ 1075104 w 6884782"/>
              <a:gd name="connsiteY34371" fmla="*/ 2379229 h 5973007"/>
              <a:gd name="connsiteX34372" fmla="*/ 1069322 w 6884782"/>
              <a:gd name="connsiteY34372" fmla="*/ 2378455 h 5973007"/>
              <a:gd name="connsiteX34373" fmla="*/ 1069012 w 6884782"/>
              <a:gd name="connsiteY34373" fmla="*/ 2373963 h 5973007"/>
              <a:gd name="connsiteX34374" fmla="*/ 1069528 w 6884782"/>
              <a:gd name="connsiteY34374" fmla="*/ 2370555 h 5973007"/>
              <a:gd name="connsiteX34375" fmla="*/ 1075517 w 6884782"/>
              <a:gd name="connsiteY34375" fmla="*/ 2368387 h 5973007"/>
              <a:gd name="connsiteX34376" fmla="*/ 1076240 w 6884782"/>
              <a:gd name="connsiteY34376" fmla="*/ 2364514 h 5973007"/>
              <a:gd name="connsiteX34377" fmla="*/ 1081196 w 6884782"/>
              <a:gd name="connsiteY34377" fmla="*/ 2360177 h 5973007"/>
              <a:gd name="connsiteX34378" fmla="*/ 722484 w 6884782"/>
              <a:gd name="connsiteY34378" fmla="*/ 2359867 h 5973007"/>
              <a:gd name="connsiteX34379" fmla="*/ 721245 w 6884782"/>
              <a:gd name="connsiteY34379" fmla="*/ 2372259 h 5973007"/>
              <a:gd name="connsiteX34380" fmla="*/ 714946 w 6884782"/>
              <a:gd name="connsiteY34380" fmla="*/ 2366683 h 5973007"/>
              <a:gd name="connsiteX34381" fmla="*/ 717528 w 6884782"/>
              <a:gd name="connsiteY34381" fmla="*/ 2360332 h 5973007"/>
              <a:gd name="connsiteX34382" fmla="*/ 722484 w 6884782"/>
              <a:gd name="connsiteY34382" fmla="*/ 2359867 h 5973007"/>
              <a:gd name="connsiteX34383" fmla="*/ 6302926 w 6884782"/>
              <a:gd name="connsiteY34383" fmla="*/ 2359814 h 5973007"/>
              <a:gd name="connsiteX34384" fmla="*/ 6315304 w 6884782"/>
              <a:gd name="connsiteY34384" fmla="*/ 2370057 h 5973007"/>
              <a:gd name="connsiteX34385" fmla="*/ 6306340 w 6884782"/>
              <a:gd name="connsiteY34385" fmla="*/ 2377028 h 5973007"/>
              <a:gd name="connsiteX34386" fmla="*/ 6302926 w 6884782"/>
              <a:gd name="connsiteY34386" fmla="*/ 2359814 h 5973007"/>
              <a:gd name="connsiteX34387" fmla="*/ 1149345 w 6884782"/>
              <a:gd name="connsiteY34387" fmla="*/ 2359713 h 5973007"/>
              <a:gd name="connsiteX34388" fmla="*/ 1156160 w 6884782"/>
              <a:gd name="connsiteY34388" fmla="*/ 2362810 h 5973007"/>
              <a:gd name="connsiteX34389" fmla="*/ 1152443 w 6884782"/>
              <a:gd name="connsiteY34389" fmla="*/ 2367767 h 5973007"/>
              <a:gd name="connsiteX34390" fmla="*/ 1149655 w 6884782"/>
              <a:gd name="connsiteY34390" fmla="*/ 2368077 h 5973007"/>
              <a:gd name="connsiteX34391" fmla="*/ 1147383 w 6884782"/>
              <a:gd name="connsiteY34391" fmla="*/ 2366373 h 5973007"/>
              <a:gd name="connsiteX34392" fmla="*/ 1146764 w 6884782"/>
              <a:gd name="connsiteY34392" fmla="*/ 2364204 h 5973007"/>
              <a:gd name="connsiteX34393" fmla="*/ 1149345 w 6884782"/>
              <a:gd name="connsiteY34393" fmla="*/ 2359713 h 5973007"/>
              <a:gd name="connsiteX34394" fmla="*/ 1026057 w 6884782"/>
              <a:gd name="connsiteY34394" fmla="*/ 2357544 h 5973007"/>
              <a:gd name="connsiteX34395" fmla="*/ 1034215 w 6884782"/>
              <a:gd name="connsiteY34395" fmla="*/ 2358783 h 5973007"/>
              <a:gd name="connsiteX34396" fmla="*/ 1031427 w 6884782"/>
              <a:gd name="connsiteY34396" fmla="*/ 2369935 h 5973007"/>
              <a:gd name="connsiteX34397" fmla="*/ 1022030 w 6884782"/>
              <a:gd name="connsiteY34397" fmla="*/ 2363430 h 5973007"/>
              <a:gd name="connsiteX34398" fmla="*/ 1026057 w 6884782"/>
              <a:gd name="connsiteY34398" fmla="*/ 2357544 h 5973007"/>
              <a:gd name="connsiteX34399" fmla="*/ 5129757 w 6884782"/>
              <a:gd name="connsiteY34399" fmla="*/ 2357395 h 5973007"/>
              <a:gd name="connsiteX34400" fmla="*/ 5139574 w 6884782"/>
              <a:gd name="connsiteY34400" fmla="*/ 2358818 h 5973007"/>
              <a:gd name="connsiteX34401" fmla="*/ 5141922 w 6884782"/>
              <a:gd name="connsiteY34401" fmla="*/ 2362944 h 5973007"/>
              <a:gd name="connsiteX34402" fmla="*/ 5147257 w 6884782"/>
              <a:gd name="connsiteY34402" fmla="*/ 2365789 h 5973007"/>
              <a:gd name="connsiteX34403" fmla="*/ 5148965 w 6884782"/>
              <a:gd name="connsiteY34403" fmla="*/ 2374467 h 5973007"/>
              <a:gd name="connsiteX34404" fmla="*/ 5142135 w 6884782"/>
              <a:gd name="connsiteY34404" fmla="*/ 2377170 h 5973007"/>
              <a:gd name="connsiteX34405" fmla="*/ 5138721 w 6884782"/>
              <a:gd name="connsiteY34405" fmla="*/ 2376175 h 5973007"/>
              <a:gd name="connsiteX34406" fmla="*/ 5138294 w 6884782"/>
              <a:gd name="connsiteY34406" fmla="*/ 2376601 h 5973007"/>
              <a:gd name="connsiteX34407" fmla="*/ 5129330 w 6884782"/>
              <a:gd name="connsiteY34407" fmla="*/ 2376744 h 5973007"/>
              <a:gd name="connsiteX34408" fmla="*/ 5129757 w 6884782"/>
              <a:gd name="connsiteY34408" fmla="*/ 2357395 h 5973007"/>
              <a:gd name="connsiteX34409" fmla="*/ 1108146 w 6884782"/>
              <a:gd name="connsiteY34409" fmla="*/ 2356305 h 5973007"/>
              <a:gd name="connsiteX34410" fmla="*/ 1118988 w 6884782"/>
              <a:gd name="connsiteY34410" fmla="*/ 2364359 h 5973007"/>
              <a:gd name="connsiteX34411" fmla="*/ 1122189 w 6884782"/>
              <a:gd name="connsiteY34411" fmla="*/ 2369316 h 5973007"/>
              <a:gd name="connsiteX34412" fmla="*/ 1122189 w 6884782"/>
              <a:gd name="connsiteY34412" fmla="*/ 2366218 h 5973007"/>
              <a:gd name="connsiteX34413" fmla="*/ 1124770 w 6884782"/>
              <a:gd name="connsiteY34413" fmla="*/ 2360177 h 5973007"/>
              <a:gd name="connsiteX34414" fmla="*/ 1130862 w 6884782"/>
              <a:gd name="connsiteY34414" fmla="*/ 2374273 h 5973007"/>
              <a:gd name="connsiteX34415" fmla="*/ 1126526 w 6884782"/>
              <a:gd name="connsiteY34415" fmla="*/ 2374737 h 5973007"/>
              <a:gd name="connsiteX34416" fmla="*/ 1125183 w 6884782"/>
              <a:gd name="connsiteY34416" fmla="*/ 2374428 h 5973007"/>
              <a:gd name="connsiteX34417" fmla="*/ 1126732 w 6884782"/>
              <a:gd name="connsiteY34417" fmla="*/ 2381088 h 5973007"/>
              <a:gd name="connsiteX34418" fmla="*/ 1112690 w 6884782"/>
              <a:gd name="connsiteY34418" fmla="*/ 2372878 h 5973007"/>
              <a:gd name="connsiteX34419" fmla="*/ 1100402 w 6884782"/>
              <a:gd name="connsiteY34419" fmla="*/ 2384651 h 5973007"/>
              <a:gd name="connsiteX34420" fmla="*/ 1100092 w 6884782"/>
              <a:gd name="connsiteY34420" fmla="*/ 2380158 h 5973007"/>
              <a:gd name="connsiteX34421" fmla="*/ 1108146 w 6884782"/>
              <a:gd name="connsiteY34421" fmla="*/ 2366528 h 5973007"/>
              <a:gd name="connsiteX34422" fmla="*/ 1108146 w 6884782"/>
              <a:gd name="connsiteY34422" fmla="*/ 2356305 h 5973007"/>
              <a:gd name="connsiteX34423" fmla="*/ 5315219 w 6884782"/>
              <a:gd name="connsiteY34423" fmla="*/ 2355261 h 5973007"/>
              <a:gd name="connsiteX34424" fmla="*/ 5318207 w 6884782"/>
              <a:gd name="connsiteY34424" fmla="*/ 2355403 h 5973007"/>
              <a:gd name="connsiteX34425" fmla="*/ 5310950 w 6884782"/>
              <a:gd name="connsiteY34425" fmla="*/ 2359244 h 5973007"/>
              <a:gd name="connsiteX34426" fmla="*/ 5309670 w 6884782"/>
              <a:gd name="connsiteY34426" fmla="*/ 2362659 h 5973007"/>
              <a:gd name="connsiteX34427" fmla="*/ 5302627 w 6884782"/>
              <a:gd name="connsiteY34427" fmla="*/ 2364082 h 5973007"/>
              <a:gd name="connsiteX34428" fmla="*/ 5302841 w 6884782"/>
              <a:gd name="connsiteY34428" fmla="*/ 2358249 h 5973007"/>
              <a:gd name="connsiteX34429" fmla="*/ 5312231 w 6884782"/>
              <a:gd name="connsiteY34429" fmla="*/ 2356968 h 5973007"/>
              <a:gd name="connsiteX34430" fmla="*/ 5315219 w 6884782"/>
              <a:gd name="connsiteY34430" fmla="*/ 2355261 h 5973007"/>
              <a:gd name="connsiteX34431" fmla="*/ 5028596 w 6884782"/>
              <a:gd name="connsiteY34431" fmla="*/ 2354834 h 5973007"/>
              <a:gd name="connsiteX34432" fmla="*/ 5043109 w 6884782"/>
              <a:gd name="connsiteY34432" fmla="*/ 2365362 h 5973007"/>
              <a:gd name="connsiteX34433" fmla="*/ 5029450 w 6884782"/>
              <a:gd name="connsiteY34433" fmla="*/ 2378877 h 5973007"/>
              <a:gd name="connsiteX34434" fmla="*/ 5020700 w 6884782"/>
              <a:gd name="connsiteY34434" fmla="*/ 2368777 h 5973007"/>
              <a:gd name="connsiteX34435" fmla="*/ 5022407 w 6884782"/>
              <a:gd name="connsiteY34435" fmla="*/ 2355261 h 5973007"/>
              <a:gd name="connsiteX34436" fmla="*/ 5028596 w 6884782"/>
              <a:gd name="connsiteY34436" fmla="*/ 2354834 h 5973007"/>
              <a:gd name="connsiteX34437" fmla="*/ 5382873 w 6884782"/>
              <a:gd name="connsiteY34437" fmla="*/ 2353696 h 5973007"/>
              <a:gd name="connsiteX34438" fmla="*/ 5391837 w 6884782"/>
              <a:gd name="connsiteY34438" fmla="*/ 2355688 h 5973007"/>
              <a:gd name="connsiteX34439" fmla="*/ 5395465 w 6884782"/>
              <a:gd name="connsiteY34439" fmla="*/ 2359672 h 5973007"/>
              <a:gd name="connsiteX34440" fmla="*/ 5380098 w 6884782"/>
              <a:gd name="connsiteY34440" fmla="*/ 2386276 h 5973007"/>
              <a:gd name="connsiteX34441" fmla="*/ 5357049 w 6884782"/>
              <a:gd name="connsiteY34441" fmla="*/ 2374467 h 5973007"/>
              <a:gd name="connsiteX34442" fmla="*/ 5382873 w 6884782"/>
              <a:gd name="connsiteY34442" fmla="*/ 2353696 h 5973007"/>
              <a:gd name="connsiteX34443" fmla="*/ 1125493 w 6884782"/>
              <a:gd name="connsiteY34443" fmla="*/ 2352432 h 5973007"/>
              <a:gd name="connsiteX34444" fmla="*/ 1133754 w 6884782"/>
              <a:gd name="connsiteY34444" fmla="*/ 2354136 h 5973007"/>
              <a:gd name="connsiteX34445" fmla="*/ 1125493 w 6884782"/>
              <a:gd name="connsiteY34445" fmla="*/ 2352432 h 5973007"/>
              <a:gd name="connsiteX34446" fmla="*/ 5234760 w 6884782"/>
              <a:gd name="connsiteY34446" fmla="*/ 2352416 h 5973007"/>
              <a:gd name="connsiteX34447" fmla="*/ 5245858 w 6884782"/>
              <a:gd name="connsiteY34447" fmla="*/ 2359387 h 5973007"/>
              <a:gd name="connsiteX34448" fmla="*/ 5245004 w 6884782"/>
              <a:gd name="connsiteY34448" fmla="*/ 2363797 h 5973007"/>
              <a:gd name="connsiteX34449" fmla="*/ 5223021 w 6884782"/>
              <a:gd name="connsiteY34449" fmla="*/ 2363513 h 5973007"/>
              <a:gd name="connsiteX34450" fmla="*/ 5222381 w 6884782"/>
              <a:gd name="connsiteY34450" fmla="*/ 2359814 h 5973007"/>
              <a:gd name="connsiteX34451" fmla="*/ 5234760 w 6884782"/>
              <a:gd name="connsiteY34451" fmla="*/ 2352416 h 5973007"/>
              <a:gd name="connsiteX34452" fmla="*/ 640705 w 6884782"/>
              <a:gd name="connsiteY34452" fmla="*/ 2352277 h 5973007"/>
              <a:gd name="connsiteX34453" fmla="*/ 641634 w 6884782"/>
              <a:gd name="connsiteY34453" fmla="*/ 2352277 h 5973007"/>
              <a:gd name="connsiteX34454" fmla="*/ 642460 w 6884782"/>
              <a:gd name="connsiteY34454" fmla="*/ 2357389 h 5973007"/>
              <a:gd name="connsiteX34455" fmla="*/ 642357 w 6884782"/>
              <a:gd name="connsiteY34455" fmla="*/ 2361416 h 5973007"/>
              <a:gd name="connsiteX34456" fmla="*/ 638640 w 6884782"/>
              <a:gd name="connsiteY34456" fmla="*/ 2374428 h 5973007"/>
              <a:gd name="connsiteX34457" fmla="*/ 637711 w 6884782"/>
              <a:gd name="connsiteY34457" fmla="*/ 2368541 h 5973007"/>
              <a:gd name="connsiteX34458" fmla="*/ 638020 w 6884782"/>
              <a:gd name="connsiteY34458" fmla="*/ 2355220 h 5973007"/>
              <a:gd name="connsiteX34459" fmla="*/ 639879 w 6884782"/>
              <a:gd name="connsiteY34459" fmla="*/ 2353826 h 5973007"/>
              <a:gd name="connsiteX34460" fmla="*/ 639879 w 6884782"/>
              <a:gd name="connsiteY34460" fmla="*/ 2353052 h 5973007"/>
              <a:gd name="connsiteX34461" fmla="*/ 640705 w 6884782"/>
              <a:gd name="connsiteY34461" fmla="*/ 2352277 h 5973007"/>
              <a:gd name="connsiteX34462" fmla="*/ 973500 w 6884782"/>
              <a:gd name="connsiteY34462" fmla="*/ 2351503 h 5973007"/>
              <a:gd name="connsiteX34463" fmla="*/ 971538 w 6884782"/>
              <a:gd name="connsiteY34463" fmla="*/ 2359557 h 5973007"/>
              <a:gd name="connsiteX34464" fmla="*/ 971848 w 6884782"/>
              <a:gd name="connsiteY34464" fmla="*/ 2364204 h 5973007"/>
              <a:gd name="connsiteX34465" fmla="*/ 971848 w 6884782"/>
              <a:gd name="connsiteY34465" fmla="*/ 2364049 h 5973007"/>
              <a:gd name="connsiteX34466" fmla="*/ 972364 w 6884782"/>
              <a:gd name="connsiteY34466" fmla="*/ 2371484 h 5973007"/>
              <a:gd name="connsiteX34467" fmla="*/ 972158 w 6884782"/>
              <a:gd name="connsiteY34467" fmla="*/ 2375822 h 5973007"/>
              <a:gd name="connsiteX34468" fmla="*/ 971951 w 6884782"/>
              <a:gd name="connsiteY34468" fmla="*/ 2375977 h 5973007"/>
              <a:gd name="connsiteX34469" fmla="*/ 971641 w 6884782"/>
              <a:gd name="connsiteY34469" fmla="*/ 2376286 h 5973007"/>
              <a:gd name="connsiteX34470" fmla="*/ 968544 w 6884782"/>
              <a:gd name="connsiteY34470" fmla="*/ 2383566 h 5973007"/>
              <a:gd name="connsiteX34471" fmla="*/ 963691 w 6884782"/>
              <a:gd name="connsiteY34471" fmla="*/ 2366528 h 5973007"/>
              <a:gd name="connsiteX34472" fmla="*/ 973500 w 6884782"/>
              <a:gd name="connsiteY34472" fmla="*/ 2351503 h 5973007"/>
              <a:gd name="connsiteX34473" fmla="*/ 5471869 w 6884782"/>
              <a:gd name="connsiteY34473" fmla="*/ 2350993 h 5973007"/>
              <a:gd name="connsiteX34474" fmla="*/ 5471656 w 6884782"/>
              <a:gd name="connsiteY34474" fmla="*/ 2354977 h 5973007"/>
              <a:gd name="connsiteX34475" fmla="*/ 5466747 w 6884782"/>
              <a:gd name="connsiteY34475" fmla="*/ 2355546 h 5973007"/>
              <a:gd name="connsiteX34476" fmla="*/ 5465893 w 6884782"/>
              <a:gd name="connsiteY34476" fmla="*/ 2351988 h 5973007"/>
              <a:gd name="connsiteX34477" fmla="*/ 5471869 w 6884782"/>
              <a:gd name="connsiteY34477" fmla="*/ 2350993 h 5973007"/>
              <a:gd name="connsiteX34478" fmla="*/ 1050013 w 6884782"/>
              <a:gd name="connsiteY34478" fmla="*/ 2350419 h 5973007"/>
              <a:gd name="connsiteX34479" fmla="*/ 1053110 w 6884782"/>
              <a:gd name="connsiteY34479" fmla="*/ 2350728 h 5973007"/>
              <a:gd name="connsiteX34480" fmla="*/ 1054556 w 6884782"/>
              <a:gd name="connsiteY34480" fmla="*/ 2353362 h 5973007"/>
              <a:gd name="connsiteX34481" fmla="*/ 1053627 w 6884782"/>
              <a:gd name="connsiteY34481" fmla="*/ 2356614 h 5973007"/>
              <a:gd name="connsiteX34482" fmla="*/ 1046605 w 6884782"/>
              <a:gd name="connsiteY34482" fmla="*/ 2353981 h 5973007"/>
              <a:gd name="connsiteX34483" fmla="*/ 1050013 w 6884782"/>
              <a:gd name="connsiteY34483" fmla="*/ 2350419 h 5973007"/>
              <a:gd name="connsiteX34484" fmla="*/ 882531 w 6884782"/>
              <a:gd name="connsiteY34484" fmla="*/ 2350264 h 5973007"/>
              <a:gd name="connsiteX34485" fmla="*/ 883873 w 6884782"/>
              <a:gd name="connsiteY34485" fmla="*/ 2351968 h 5973007"/>
              <a:gd name="connsiteX34486" fmla="*/ 884596 w 6884782"/>
              <a:gd name="connsiteY34486" fmla="*/ 2351812 h 5973007"/>
              <a:gd name="connsiteX34487" fmla="*/ 887384 w 6884782"/>
              <a:gd name="connsiteY34487" fmla="*/ 2351968 h 5973007"/>
              <a:gd name="connsiteX34488" fmla="*/ 887694 w 6884782"/>
              <a:gd name="connsiteY34488" fmla="*/ 2351812 h 5973007"/>
              <a:gd name="connsiteX34489" fmla="*/ 896264 w 6884782"/>
              <a:gd name="connsiteY34489" fmla="*/ 2351503 h 5973007"/>
              <a:gd name="connsiteX34490" fmla="*/ 898536 w 6884782"/>
              <a:gd name="connsiteY34490" fmla="*/ 2360642 h 5973007"/>
              <a:gd name="connsiteX34491" fmla="*/ 895748 w 6884782"/>
              <a:gd name="connsiteY34491" fmla="*/ 2364979 h 5973007"/>
              <a:gd name="connsiteX34492" fmla="*/ 893373 w 6884782"/>
              <a:gd name="connsiteY34492" fmla="*/ 2365444 h 5973007"/>
              <a:gd name="connsiteX34493" fmla="*/ 891515 w 6884782"/>
              <a:gd name="connsiteY34493" fmla="*/ 2370245 h 5973007"/>
              <a:gd name="connsiteX34494" fmla="*/ 886352 w 6884782"/>
              <a:gd name="connsiteY34494" fmla="*/ 2372724 h 5973007"/>
              <a:gd name="connsiteX34495" fmla="*/ 885319 w 6884782"/>
              <a:gd name="connsiteY34495" fmla="*/ 2370400 h 5973007"/>
              <a:gd name="connsiteX34496" fmla="*/ 887488 w 6884782"/>
              <a:gd name="connsiteY34496" fmla="*/ 2365444 h 5973007"/>
              <a:gd name="connsiteX34497" fmla="*/ 885319 w 6884782"/>
              <a:gd name="connsiteY34497" fmla="*/ 2364514 h 5973007"/>
              <a:gd name="connsiteX34498" fmla="*/ 883151 w 6884782"/>
              <a:gd name="connsiteY34498" fmla="*/ 2361416 h 5973007"/>
              <a:gd name="connsiteX34499" fmla="*/ 883151 w 6884782"/>
              <a:gd name="connsiteY34499" fmla="*/ 2360332 h 5973007"/>
              <a:gd name="connsiteX34500" fmla="*/ 882221 w 6884782"/>
              <a:gd name="connsiteY34500" fmla="*/ 2360487 h 5973007"/>
              <a:gd name="connsiteX34501" fmla="*/ 880776 w 6884782"/>
              <a:gd name="connsiteY34501" fmla="*/ 2357854 h 5973007"/>
              <a:gd name="connsiteX34502" fmla="*/ 879227 w 6884782"/>
              <a:gd name="connsiteY34502" fmla="*/ 2356924 h 5973007"/>
              <a:gd name="connsiteX34503" fmla="*/ 878917 w 6884782"/>
              <a:gd name="connsiteY34503" fmla="*/ 2354136 h 5973007"/>
              <a:gd name="connsiteX34504" fmla="*/ 880982 w 6884782"/>
              <a:gd name="connsiteY34504" fmla="*/ 2352897 h 5973007"/>
              <a:gd name="connsiteX34505" fmla="*/ 881499 w 6884782"/>
              <a:gd name="connsiteY34505" fmla="*/ 2352742 h 5973007"/>
              <a:gd name="connsiteX34506" fmla="*/ 880776 w 6884782"/>
              <a:gd name="connsiteY34506" fmla="*/ 2351193 h 5973007"/>
              <a:gd name="connsiteX34507" fmla="*/ 882531 w 6884782"/>
              <a:gd name="connsiteY34507" fmla="*/ 2350264 h 5973007"/>
              <a:gd name="connsiteX34508" fmla="*/ 898123 w 6884782"/>
              <a:gd name="connsiteY34508" fmla="*/ 2349644 h 5973007"/>
              <a:gd name="connsiteX34509" fmla="*/ 905248 w 6884782"/>
              <a:gd name="connsiteY34509" fmla="*/ 2352123 h 5973007"/>
              <a:gd name="connsiteX34510" fmla="*/ 909068 w 6884782"/>
              <a:gd name="connsiteY34510" fmla="*/ 2353826 h 5973007"/>
              <a:gd name="connsiteX34511" fmla="*/ 909688 w 6884782"/>
              <a:gd name="connsiteY34511" fmla="*/ 2355995 h 5973007"/>
              <a:gd name="connsiteX34512" fmla="*/ 909275 w 6884782"/>
              <a:gd name="connsiteY34512" fmla="*/ 2356770 h 5973007"/>
              <a:gd name="connsiteX34513" fmla="*/ 907313 w 6884782"/>
              <a:gd name="connsiteY34513" fmla="*/ 2356614 h 5973007"/>
              <a:gd name="connsiteX34514" fmla="*/ 900291 w 6884782"/>
              <a:gd name="connsiteY34514" fmla="*/ 2352587 h 5973007"/>
              <a:gd name="connsiteX34515" fmla="*/ 898742 w 6884782"/>
              <a:gd name="connsiteY34515" fmla="*/ 2351812 h 5973007"/>
              <a:gd name="connsiteX34516" fmla="*/ 898123 w 6884782"/>
              <a:gd name="connsiteY34516" fmla="*/ 2349644 h 5973007"/>
              <a:gd name="connsiteX34517" fmla="*/ 1088114 w 6884782"/>
              <a:gd name="connsiteY34517" fmla="*/ 2349489 h 5973007"/>
              <a:gd name="connsiteX34518" fmla="*/ 1091315 w 6884782"/>
              <a:gd name="connsiteY34518" fmla="*/ 2354911 h 5973007"/>
              <a:gd name="connsiteX34519" fmla="*/ 1084500 w 6884782"/>
              <a:gd name="connsiteY34519" fmla="*/ 2353981 h 5973007"/>
              <a:gd name="connsiteX34520" fmla="*/ 1088114 w 6884782"/>
              <a:gd name="connsiteY34520" fmla="*/ 2349489 h 5973007"/>
              <a:gd name="connsiteX34521" fmla="*/ 6222040 w 6884782"/>
              <a:gd name="connsiteY34521" fmla="*/ 2348432 h 5973007"/>
              <a:gd name="connsiteX34522" fmla="*/ 6225027 w 6884782"/>
              <a:gd name="connsiteY34522" fmla="*/ 2349855 h 5973007"/>
              <a:gd name="connsiteX34523" fmla="*/ 6226095 w 6884782"/>
              <a:gd name="connsiteY34523" fmla="*/ 2352416 h 5973007"/>
              <a:gd name="connsiteX34524" fmla="*/ 6216704 w 6884782"/>
              <a:gd name="connsiteY34524" fmla="*/ 2353269 h 5973007"/>
              <a:gd name="connsiteX34525" fmla="*/ 6215850 w 6884782"/>
              <a:gd name="connsiteY34525" fmla="*/ 2350708 h 5973007"/>
              <a:gd name="connsiteX34526" fmla="*/ 6218198 w 6884782"/>
              <a:gd name="connsiteY34526" fmla="*/ 2348716 h 5973007"/>
              <a:gd name="connsiteX34527" fmla="*/ 6222040 w 6884782"/>
              <a:gd name="connsiteY34527" fmla="*/ 2348432 h 5973007"/>
              <a:gd name="connsiteX34528" fmla="*/ 5481260 w 6884782"/>
              <a:gd name="connsiteY34528" fmla="*/ 2347863 h 5973007"/>
              <a:gd name="connsiteX34529" fmla="*/ 5484460 w 6884782"/>
              <a:gd name="connsiteY34529" fmla="*/ 2348859 h 5973007"/>
              <a:gd name="connsiteX34530" fmla="*/ 5483180 w 6884782"/>
              <a:gd name="connsiteY34530" fmla="*/ 2351704 h 5973007"/>
              <a:gd name="connsiteX34531" fmla="*/ 5479125 w 6884782"/>
              <a:gd name="connsiteY34531" fmla="*/ 2351988 h 5973007"/>
              <a:gd name="connsiteX34532" fmla="*/ 5478912 w 6884782"/>
              <a:gd name="connsiteY34532" fmla="*/ 2350993 h 5973007"/>
              <a:gd name="connsiteX34533" fmla="*/ 5481260 w 6884782"/>
              <a:gd name="connsiteY34533" fmla="*/ 2347863 h 5973007"/>
              <a:gd name="connsiteX34534" fmla="*/ 849593 w 6884782"/>
              <a:gd name="connsiteY34534" fmla="*/ 2346391 h 5973007"/>
              <a:gd name="connsiteX34535" fmla="*/ 854755 w 6884782"/>
              <a:gd name="connsiteY34535" fmla="*/ 2350883 h 5973007"/>
              <a:gd name="connsiteX34536" fmla="*/ 843913 w 6884782"/>
              <a:gd name="connsiteY34536" fmla="*/ 2359557 h 5973007"/>
              <a:gd name="connsiteX34537" fmla="*/ 841229 w 6884782"/>
              <a:gd name="connsiteY34537" fmla="*/ 2355220 h 5973007"/>
              <a:gd name="connsiteX34538" fmla="*/ 849593 w 6884782"/>
              <a:gd name="connsiteY34538" fmla="*/ 2346391 h 5973007"/>
              <a:gd name="connsiteX34539" fmla="*/ 5733735 w 6884782"/>
              <a:gd name="connsiteY34539" fmla="*/ 2346298 h 5973007"/>
              <a:gd name="connsiteX34540" fmla="*/ 5738217 w 6884782"/>
              <a:gd name="connsiteY34540" fmla="*/ 2348432 h 5973007"/>
              <a:gd name="connsiteX34541" fmla="*/ 5739924 w 6884782"/>
              <a:gd name="connsiteY34541" fmla="*/ 2352985 h 5973007"/>
              <a:gd name="connsiteX34542" fmla="*/ 5736936 w 6884782"/>
              <a:gd name="connsiteY34542" fmla="*/ 2353411 h 5973007"/>
              <a:gd name="connsiteX34543" fmla="*/ 5735869 w 6884782"/>
              <a:gd name="connsiteY34543" fmla="*/ 2356257 h 5973007"/>
              <a:gd name="connsiteX34544" fmla="*/ 5734802 w 6884782"/>
              <a:gd name="connsiteY34544" fmla="*/ 2356115 h 5973007"/>
              <a:gd name="connsiteX34545" fmla="*/ 5733522 w 6884782"/>
              <a:gd name="connsiteY34545" fmla="*/ 2353980 h 5973007"/>
              <a:gd name="connsiteX34546" fmla="*/ 5733095 w 6884782"/>
              <a:gd name="connsiteY34546" fmla="*/ 2354123 h 5973007"/>
              <a:gd name="connsiteX34547" fmla="*/ 5728826 w 6884782"/>
              <a:gd name="connsiteY34547" fmla="*/ 2350282 h 5973007"/>
              <a:gd name="connsiteX34548" fmla="*/ 5733735 w 6884782"/>
              <a:gd name="connsiteY34548" fmla="*/ 2346298 h 5973007"/>
              <a:gd name="connsiteX34549" fmla="*/ 5370922 w 6884782"/>
              <a:gd name="connsiteY34549" fmla="*/ 2345729 h 5973007"/>
              <a:gd name="connsiteX34550" fmla="*/ 5378391 w 6884782"/>
              <a:gd name="connsiteY34550" fmla="*/ 2347863 h 5973007"/>
              <a:gd name="connsiteX34551" fmla="*/ 5371562 w 6884782"/>
              <a:gd name="connsiteY34551" fmla="*/ 2355546 h 5973007"/>
              <a:gd name="connsiteX34552" fmla="*/ 5363238 w 6884782"/>
              <a:gd name="connsiteY34552" fmla="*/ 2348859 h 5973007"/>
              <a:gd name="connsiteX34553" fmla="*/ 5370922 w 6884782"/>
              <a:gd name="connsiteY34553" fmla="*/ 2345729 h 5973007"/>
              <a:gd name="connsiteX34554" fmla="*/ 977217 w 6884782"/>
              <a:gd name="connsiteY34554" fmla="*/ 2344997 h 5973007"/>
              <a:gd name="connsiteX34555" fmla="*/ 981657 w 6884782"/>
              <a:gd name="connsiteY34555" fmla="*/ 2346081 h 5973007"/>
              <a:gd name="connsiteX34556" fmla="*/ 981451 w 6884782"/>
              <a:gd name="connsiteY34556" fmla="*/ 2347940 h 5973007"/>
              <a:gd name="connsiteX34557" fmla="*/ 979386 w 6884782"/>
              <a:gd name="connsiteY34557" fmla="*/ 2349954 h 5973007"/>
              <a:gd name="connsiteX34558" fmla="*/ 975771 w 6884782"/>
              <a:gd name="connsiteY34558" fmla="*/ 2349334 h 5973007"/>
              <a:gd name="connsiteX34559" fmla="*/ 975978 w 6884782"/>
              <a:gd name="connsiteY34559" fmla="*/ 2347476 h 5973007"/>
              <a:gd name="connsiteX34560" fmla="*/ 977217 w 6884782"/>
              <a:gd name="connsiteY34560" fmla="*/ 2344997 h 5973007"/>
              <a:gd name="connsiteX34561" fmla="*/ 4905453 w 6884782"/>
              <a:gd name="connsiteY34561" fmla="*/ 2344591 h 5973007"/>
              <a:gd name="connsiteX34562" fmla="*/ 4939600 w 6884782"/>
              <a:gd name="connsiteY34562" fmla="*/ 2390686 h 5973007"/>
              <a:gd name="connsiteX34563" fmla="*/ 4905453 w 6884782"/>
              <a:gd name="connsiteY34563" fmla="*/ 2344591 h 5973007"/>
              <a:gd name="connsiteX34564" fmla="*/ 1204187 w 6884782"/>
              <a:gd name="connsiteY34564" fmla="*/ 2341396 h 5973007"/>
              <a:gd name="connsiteX34565" fmla="*/ 1207892 w 6884782"/>
              <a:gd name="connsiteY34565" fmla="*/ 2344068 h 5973007"/>
              <a:gd name="connsiteX34566" fmla="*/ 1199941 w 6884782"/>
              <a:gd name="connsiteY34566" fmla="*/ 2344068 h 5973007"/>
              <a:gd name="connsiteX34567" fmla="*/ 1204187 w 6884782"/>
              <a:gd name="connsiteY34567" fmla="*/ 2341396 h 5973007"/>
              <a:gd name="connsiteX34568" fmla="*/ 5498333 w 6884782"/>
              <a:gd name="connsiteY34568" fmla="*/ 2339612 h 5973007"/>
              <a:gd name="connsiteX34569" fmla="*/ 5503669 w 6884782"/>
              <a:gd name="connsiteY34569" fmla="*/ 2340322 h 5973007"/>
              <a:gd name="connsiteX34570" fmla="*/ 5493851 w 6884782"/>
              <a:gd name="connsiteY34570" fmla="*/ 2344022 h 5973007"/>
              <a:gd name="connsiteX34571" fmla="*/ 5498333 w 6884782"/>
              <a:gd name="connsiteY34571" fmla="*/ 2339612 h 5973007"/>
              <a:gd name="connsiteX34572" fmla="*/ 1032666 w 6884782"/>
              <a:gd name="connsiteY34572" fmla="*/ 2337562 h 5973007"/>
              <a:gd name="connsiteX34573" fmla="*/ 1033079 w 6884782"/>
              <a:gd name="connsiteY34573" fmla="*/ 2340195 h 5973007"/>
              <a:gd name="connsiteX34574" fmla="*/ 1028949 w 6884782"/>
              <a:gd name="connsiteY34574" fmla="*/ 2339111 h 5973007"/>
              <a:gd name="connsiteX34575" fmla="*/ 1032666 w 6884782"/>
              <a:gd name="connsiteY34575" fmla="*/ 2337562 h 5973007"/>
              <a:gd name="connsiteX34576" fmla="*/ 5199972 w 6884782"/>
              <a:gd name="connsiteY34576" fmla="*/ 2337477 h 5973007"/>
              <a:gd name="connsiteX34577" fmla="*/ 5203600 w 6884782"/>
              <a:gd name="connsiteY34577" fmla="*/ 2337477 h 5973007"/>
              <a:gd name="connsiteX34578" fmla="*/ 5215765 w 6884782"/>
              <a:gd name="connsiteY34578" fmla="*/ 2346298 h 5973007"/>
              <a:gd name="connsiteX34579" fmla="*/ 5212350 w 6884782"/>
              <a:gd name="connsiteY34579" fmla="*/ 2346298 h 5973007"/>
              <a:gd name="connsiteX34580" fmla="*/ 5199972 w 6884782"/>
              <a:gd name="connsiteY34580" fmla="*/ 2337477 h 5973007"/>
              <a:gd name="connsiteX34581" fmla="*/ 1105152 w 6884782"/>
              <a:gd name="connsiteY34581" fmla="*/ 2336323 h 5973007"/>
              <a:gd name="connsiteX34582" fmla="*/ 1111140 w 6884782"/>
              <a:gd name="connsiteY34582" fmla="*/ 2336323 h 5973007"/>
              <a:gd name="connsiteX34583" fmla="*/ 1119607 w 6884782"/>
              <a:gd name="connsiteY34583" fmla="*/ 2349644 h 5973007"/>
              <a:gd name="connsiteX34584" fmla="*/ 1118781 w 6884782"/>
              <a:gd name="connsiteY34584" fmla="*/ 2351812 h 5973007"/>
              <a:gd name="connsiteX34585" fmla="*/ 1118781 w 6884782"/>
              <a:gd name="connsiteY34585" fmla="*/ 2355530 h 5973007"/>
              <a:gd name="connsiteX34586" fmla="*/ 1107424 w 6884782"/>
              <a:gd name="connsiteY34586" fmla="*/ 2355220 h 5973007"/>
              <a:gd name="connsiteX34587" fmla="*/ 1098336 w 6884782"/>
              <a:gd name="connsiteY34587" fmla="*/ 2346391 h 5973007"/>
              <a:gd name="connsiteX34588" fmla="*/ 1098543 w 6884782"/>
              <a:gd name="connsiteY34588" fmla="*/ 2342984 h 5973007"/>
              <a:gd name="connsiteX34589" fmla="*/ 1105152 w 6884782"/>
              <a:gd name="connsiteY34589" fmla="*/ 2336323 h 5973007"/>
              <a:gd name="connsiteX34590" fmla="*/ 4993808 w 6884782"/>
              <a:gd name="connsiteY34590" fmla="*/ 2333778 h 5973007"/>
              <a:gd name="connsiteX34591" fmla="*/ 4996156 w 6884782"/>
              <a:gd name="connsiteY34591" fmla="*/ 2335343 h 5973007"/>
              <a:gd name="connsiteX34592" fmla="*/ 4996583 w 6884782"/>
              <a:gd name="connsiteY34592" fmla="*/ 2338758 h 5973007"/>
              <a:gd name="connsiteX34593" fmla="*/ 4992741 w 6884782"/>
              <a:gd name="connsiteY34593" fmla="*/ 2349286 h 5973007"/>
              <a:gd name="connsiteX34594" fmla="*/ 4991461 w 6884782"/>
              <a:gd name="connsiteY34594" fmla="*/ 2351562 h 5973007"/>
              <a:gd name="connsiteX34595" fmla="*/ 4990180 w 6884782"/>
              <a:gd name="connsiteY34595" fmla="*/ 2353696 h 5973007"/>
              <a:gd name="connsiteX34596" fmla="*/ 4985485 w 6884782"/>
              <a:gd name="connsiteY34596" fmla="*/ 2354123 h 5973007"/>
              <a:gd name="connsiteX34597" fmla="*/ 4993808 w 6884782"/>
              <a:gd name="connsiteY34597" fmla="*/ 2333778 h 5973007"/>
              <a:gd name="connsiteX34598" fmla="*/ 854032 w 6884782"/>
              <a:gd name="connsiteY34598" fmla="*/ 2332296 h 5973007"/>
              <a:gd name="connsiteX34599" fmla="*/ 851967 w 6884782"/>
              <a:gd name="connsiteY34599" fmla="*/ 2341899 h 5973007"/>
              <a:gd name="connsiteX34600" fmla="*/ 844223 w 6884782"/>
              <a:gd name="connsiteY34600" fmla="*/ 2339731 h 5973007"/>
              <a:gd name="connsiteX34601" fmla="*/ 844430 w 6884782"/>
              <a:gd name="connsiteY34601" fmla="*/ 2336788 h 5973007"/>
              <a:gd name="connsiteX34602" fmla="*/ 843397 w 6884782"/>
              <a:gd name="connsiteY34602" fmla="*/ 2338492 h 5973007"/>
              <a:gd name="connsiteX34603" fmla="*/ 839370 w 6884782"/>
              <a:gd name="connsiteY34603" fmla="*/ 2340505 h 5973007"/>
              <a:gd name="connsiteX34604" fmla="*/ 841848 w 6884782"/>
              <a:gd name="connsiteY34604" fmla="*/ 2335394 h 5973007"/>
              <a:gd name="connsiteX34605" fmla="*/ 844636 w 6884782"/>
              <a:gd name="connsiteY34605" fmla="*/ 2334309 h 5973007"/>
              <a:gd name="connsiteX34606" fmla="*/ 844739 w 6884782"/>
              <a:gd name="connsiteY34606" fmla="*/ 2333070 h 5973007"/>
              <a:gd name="connsiteX34607" fmla="*/ 854032 w 6884782"/>
              <a:gd name="connsiteY34607" fmla="*/ 2332296 h 5973007"/>
              <a:gd name="connsiteX34608" fmla="*/ 882325 w 6884782"/>
              <a:gd name="connsiteY34608" fmla="*/ 2332141 h 5973007"/>
              <a:gd name="connsiteX34609" fmla="*/ 877885 w 6884782"/>
              <a:gd name="connsiteY34609" fmla="*/ 2344378 h 5973007"/>
              <a:gd name="connsiteX34610" fmla="*/ 877471 w 6884782"/>
              <a:gd name="connsiteY34610" fmla="*/ 2341899 h 5973007"/>
              <a:gd name="connsiteX34611" fmla="*/ 882325 w 6884782"/>
              <a:gd name="connsiteY34611" fmla="*/ 2332141 h 5973007"/>
              <a:gd name="connsiteX34612" fmla="*/ 1020688 w 6884782"/>
              <a:gd name="connsiteY34612" fmla="*/ 2330127 h 5973007"/>
              <a:gd name="connsiteX34613" fmla="*/ 1020069 w 6884782"/>
              <a:gd name="connsiteY34613" fmla="*/ 2332451 h 5973007"/>
              <a:gd name="connsiteX34614" fmla="*/ 1020998 w 6884782"/>
              <a:gd name="connsiteY34614" fmla="*/ 2334000 h 5973007"/>
              <a:gd name="connsiteX34615" fmla="*/ 1019139 w 6884782"/>
              <a:gd name="connsiteY34615" fmla="*/ 2336168 h 5973007"/>
              <a:gd name="connsiteX34616" fmla="*/ 1020688 w 6884782"/>
              <a:gd name="connsiteY34616" fmla="*/ 2330127 h 5973007"/>
              <a:gd name="connsiteX34617" fmla="*/ 967821 w 6884782"/>
              <a:gd name="connsiteY34617" fmla="*/ 2329662 h 5973007"/>
              <a:gd name="connsiteX34618" fmla="*/ 976804 w 6884782"/>
              <a:gd name="connsiteY34618" fmla="*/ 2332451 h 5973007"/>
              <a:gd name="connsiteX34619" fmla="*/ 975978 w 6884782"/>
              <a:gd name="connsiteY34619" fmla="*/ 2334929 h 5973007"/>
              <a:gd name="connsiteX34620" fmla="*/ 976804 w 6884782"/>
              <a:gd name="connsiteY34620" fmla="*/ 2337872 h 5973007"/>
              <a:gd name="connsiteX34621" fmla="*/ 971641 w 6884782"/>
              <a:gd name="connsiteY34621" fmla="*/ 2342519 h 5973007"/>
              <a:gd name="connsiteX34622" fmla="*/ 969266 w 6884782"/>
              <a:gd name="connsiteY34622" fmla="*/ 2340350 h 5973007"/>
              <a:gd name="connsiteX34623" fmla="*/ 969163 w 6884782"/>
              <a:gd name="connsiteY34623" fmla="*/ 2340195 h 5973007"/>
              <a:gd name="connsiteX34624" fmla="*/ 968647 w 6884782"/>
              <a:gd name="connsiteY34624" fmla="*/ 2340350 h 5973007"/>
              <a:gd name="connsiteX34625" fmla="*/ 966582 w 6884782"/>
              <a:gd name="connsiteY34625" fmla="*/ 2335084 h 5973007"/>
              <a:gd name="connsiteX34626" fmla="*/ 967821 w 6884782"/>
              <a:gd name="connsiteY34626" fmla="*/ 2329662 h 5973007"/>
              <a:gd name="connsiteX34627" fmla="*/ 5735015 w 6884782"/>
              <a:gd name="connsiteY34627" fmla="*/ 2329226 h 5973007"/>
              <a:gd name="connsiteX34628" fmla="*/ 5736296 w 6884782"/>
              <a:gd name="connsiteY34628" fmla="*/ 2334063 h 5973007"/>
              <a:gd name="connsiteX34629" fmla="*/ 5735229 w 6884782"/>
              <a:gd name="connsiteY34629" fmla="*/ 2337477 h 5973007"/>
              <a:gd name="connsiteX34630" fmla="*/ 5743126 w 6884782"/>
              <a:gd name="connsiteY34630" fmla="*/ 2339042 h 5973007"/>
              <a:gd name="connsiteX34631" fmla="*/ 5749742 w 6884782"/>
              <a:gd name="connsiteY34631" fmla="*/ 2341603 h 5973007"/>
              <a:gd name="connsiteX34632" fmla="*/ 5749955 w 6884782"/>
              <a:gd name="connsiteY34632" fmla="*/ 2347009 h 5973007"/>
              <a:gd name="connsiteX34633" fmla="*/ 5733308 w 6884782"/>
              <a:gd name="connsiteY34633" fmla="*/ 2337051 h 5973007"/>
              <a:gd name="connsiteX34634" fmla="*/ 5732028 w 6884782"/>
              <a:gd name="connsiteY34634" fmla="*/ 2333778 h 5973007"/>
              <a:gd name="connsiteX34635" fmla="*/ 5735015 w 6884782"/>
              <a:gd name="connsiteY34635" fmla="*/ 2329226 h 5973007"/>
              <a:gd name="connsiteX34636" fmla="*/ 5310737 w 6884782"/>
              <a:gd name="connsiteY34636" fmla="*/ 2329083 h 5973007"/>
              <a:gd name="connsiteX34637" fmla="*/ 5311591 w 6884782"/>
              <a:gd name="connsiteY34637" fmla="*/ 2329653 h 5973007"/>
              <a:gd name="connsiteX34638" fmla="*/ 5309670 w 6884782"/>
              <a:gd name="connsiteY34638" fmla="*/ 2329368 h 5973007"/>
              <a:gd name="connsiteX34639" fmla="*/ 5310737 w 6884782"/>
              <a:gd name="connsiteY34639" fmla="*/ 2329083 h 5973007"/>
              <a:gd name="connsiteX34640" fmla="*/ 808290 w 6884782"/>
              <a:gd name="connsiteY34640" fmla="*/ 2329043 h 5973007"/>
              <a:gd name="connsiteX34641" fmla="*/ 822539 w 6884782"/>
              <a:gd name="connsiteY34641" fmla="*/ 2350883 h 5973007"/>
              <a:gd name="connsiteX34642" fmla="*/ 808290 w 6884782"/>
              <a:gd name="connsiteY34642" fmla="*/ 2329043 h 5973007"/>
              <a:gd name="connsiteX34643" fmla="*/ 1047638 w 6884782"/>
              <a:gd name="connsiteY34643" fmla="*/ 2328733 h 5973007"/>
              <a:gd name="connsiteX34644" fmla="*/ 1054040 w 6884782"/>
              <a:gd name="connsiteY34644" fmla="*/ 2333844 h 5973007"/>
              <a:gd name="connsiteX34645" fmla="*/ 1049909 w 6884782"/>
              <a:gd name="connsiteY34645" fmla="*/ 2343138 h 5973007"/>
              <a:gd name="connsiteX34646" fmla="*/ 1048154 w 6884782"/>
              <a:gd name="connsiteY34646" fmla="*/ 2343913 h 5973007"/>
              <a:gd name="connsiteX34647" fmla="*/ 1048774 w 6884782"/>
              <a:gd name="connsiteY34647" fmla="*/ 2343913 h 5973007"/>
              <a:gd name="connsiteX34648" fmla="*/ 1044024 w 6884782"/>
              <a:gd name="connsiteY34648" fmla="*/ 2353207 h 5973007"/>
              <a:gd name="connsiteX34649" fmla="*/ 1038758 w 6884782"/>
              <a:gd name="connsiteY34649" fmla="*/ 2355220 h 5973007"/>
              <a:gd name="connsiteX34650" fmla="*/ 1037932 w 6884782"/>
              <a:gd name="connsiteY34650" fmla="*/ 2352742 h 5973007"/>
              <a:gd name="connsiteX34651" fmla="*/ 1040823 w 6884782"/>
              <a:gd name="connsiteY34651" fmla="*/ 2347630 h 5973007"/>
              <a:gd name="connsiteX34652" fmla="*/ 1043301 w 6884782"/>
              <a:gd name="connsiteY34652" fmla="*/ 2345462 h 5973007"/>
              <a:gd name="connsiteX34653" fmla="*/ 1038448 w 6884782"/>
              <a:gd name="connsiteY34653" fmla="*/ 2344688 h 5973007"/>
              <a:gd name="connsiteX34654" fmla="*/ 1038242 w 6884782"/>
              <a:gd name="connsiteY34654" fmla="*/ 2340195 h 5973007"/>
              <a:gd name="connsiteX34655" fmla="*/ 1047638 w 6884782"/>
              <a:gd name="connsiteY34655" fmla="*/ 2328733 h 5973007"/>
              <a:gd name="connsiteX34656" fmla="*/ 5015791 w 6884782"/>
              <a:gd name="connsiteY34656" fmla="*/ 2328515 h 5973007"/>
              <a:gd name="connsiteX34657" fmla="*/ 5018138 w 6884782"/>
              <a:gd name="connsiteY34657" fmla="*/ 2328799 h 5973007"/>
              <a:gd name="connsiteX34658" fmla="*/ 5020273 w 6884782"/>
              <a:gd name="connsiteY34658" fmla="*/ 2330221 h 5973007"/>
              <a:gd name="connsiteX34659" fmla="*/ 5020913 w 6884782"/>
              <a:gd name="connsiteY34659" fmla="*/ 2332498 h 5973007"/>
              <a:gd name="connsiteX34660" fmla="*/ 5018992 w 6884782"/>
              <a:gd name="connsiteY34660" fmla="*/ 2334632 h 5973007"/>
              <a:gd name="connsiteX34661" fmla="*/ 5014724 w 6884782"/>
              <a:gd name="connsiteY34661" fmla="*/ 2336766 h 5973007"/>
              <a:gd name="connsiteX34662" fmla="*/ 5011736 w 6884782"/>
              <a:gd name="connsiteY34662" fmla="*/ 2335628 h 5973007"/>
              <a:gd name="connsiteX34663" fmla="*/ 5011949 w 6884782"/>
              <a:gd name="connsiteY34663" fmla="*/ 2333067 h 5973007"/>
              <a:gd name="connsiteX34664" fmla="*/ 5011096 w 6884782"/>
              <a:gd name="connsiteY34664" fmla="*/ 2330933 h 5973007"/>
              <a:gd name="connsiteX34665" fmla="*/ 5012162 w 6884782"/>
              <a:gd name="connsiteY34665" fmla="*/ 2330364 h 5973007"/>
              <a:gd name="connsiteX34666" fmla="*/ 5012803 w 6884782"/>
              <a:gd name="connsiteY34666" fmla="*/ 2328799 h 5973007"/>
              <a:gd name="connsiteX34667" fmla="*/ 5015791 w 6884782"/>
              <a:gd name="connsiteY34667" fmla="*/ 2328515 h 5973007"/>
              <a:gd name="connsiteX34668" fmla="*/ 5657971 w 6884782"/>
              <a:gd name="connsiteY34668" fmla="*/ 2328088 h 5973007"/>
              <a:gd name="connsiteX34669" fmla="*/ 5660959 w 6884782"/>
              <a:gd name="connsiteY34669" fmla="*/ 2328372 h 5973007"/>
              <a:gd name="connsiteX34670" fmla="*/ 5653703 w 6884782"/>
              <a:gd name="connsiteY34670" fmla="*/ 2333778 h 5973007"/>
              <a:gd name="connsiteX34671" fmla="*/ 5651568 w 6884782"/>
              <a:gd name="connsiteY34671" fmla="*/ 2333067 h 5973007"/>
              <a:gd name="connsiteX34672" fmla="*/ 5657971 w 6884782"/>
              <a:gd name="connsiteY34672" fmla="*/ 2328088 h 5973007"/>
              <a:gd name="connsiteX34673" fmla="*/ 5544005 w 6884782"/>
              <a:gd name="connsiteY34673" fmla="*/ 2327803 h 5973007"/>
              <a:gd name="connsiteX34674" fmla="*/ 5548273 w 6884782"/>
              <a:gd name="connsiteY34674" fmla="*/ 2328941 h 5973007"/>
              <a:gd name="connsiteX34675" fmla="*/ 5531627 w 6884782"/>
              <a:gd name="connsiteY34675" fmla="*/ 2335912 h 5973007"/>
              <a:gd name="connsiteX34676" fmla="*/ 5539736 w 6884782"/>
              <a:gd name="connsiteY34676" fmla="*/ 2328515 h 5973007"/>
              <a:gd name="connsiteX34677" fmla="*/ 5544005 w 6884782"/>
              <a:gd name="connsiteY34677" fmla="*/ 2327803 h 5973007"/>
              <a:gd name="connsiteX34678" fmla="*/ 908242 w 6884782"/>
              <a:gd name="connsiteY34678" fmla="*/ 2327649 h 5973007"/>
              <a:gd name="connsiteX34679" fmla="*/ 909791 w 6884782"/>
              <a:gd name="connsiteY34679" fmla="*/ 2331676 h 5973007"/>
              <a:gd name="connsiteX34680" fmla="*/ 908035 w 6884782"/>
              <a:gd name="connsiteY34680" fmla="*/ 2333690 h 5973007"/>
              <a:gd name="connsiteX34681" fmla="*/ 905970 w 6884782"/>
              <a:gd name="connsiteY34681" fmla="*/ 2331676 h 5973007"/>
              <a:gd name="connsiteX34682" fmla="*/ 905248 w 6884782"/>
              <a:gd name="connsiteY34682" fmla="*/ 2329198 h 5973007"/>
              <a:gd name="connsiteX34683" fmla="*/ 906280 w 6884782"/>
              <a:gd name="connsiteY34683" fmla="*/ 2328268 h 5973007"/>
              <a:gd name="connsiteX34684" fmla="*/ 908242 w 6884782"/>
              <a:gd name="connsiteY34684" fmla="*/ 2327649 h 5973007"/>
              <a:gd name="connsiteX34685" fmla="*/ 1092038 w 6884782"/>
              <a:gd name="connsiteY34685" fmla="*/ 2327494 h 5973007"/>
              <a:gd name="connsiteX34686" fmla="*/ 1092864 w 6884782"/>
              <a:gd name="connsiteY34686" fmla="*/ 2335394 h 5973007"/>
              <a:gd name="connsiteX34687" fmla="*/ 1090696 w 6884782"/>
              <a:gd name="connsiteY34687" fmla="*/ 2329198 h 5973007"/>
              <a:gd name="connsiteX34688" fmla="*/ 1092038 w 6884782"/>
              <a:gd name="connsiteY34688" fmla="*/ 2327494 h 5973007"/>
              <a:gd name="connsiteX34689" fmla="*/ 5354701 w 6884782"/>
              <a:gd name="connsiteY34689" fmla="*/ 2327376 h 5973007"/>
              <a:gd name="connsiteX34690" fmla="*/ 5347872 w 6884782"/>
              <a:gd name="connsiteY34690" fmla="*/ 2342314 h 5973007"/>
              <a:gd name="connsiteX34691" fmla="*/ 5342963 w 6884782"/>
              <a:gd name="connsiteY34691" fmla="*/ 2339469 h 5973007"/>
              <a:gd name="connsiteX34692" fmla="*/ 5342323 w 6884782"/>
              <a:gd name="connsiteY34692" fmla="*/ 2329226 h 5973007"/>
              <a:gd name="connsiteX34693" fmla="*/ 5354701 w 6884782"/>
              <a:gd name="connsiteY34693" fmla="*/ 2327376 h 5973007"/>
              <a:gd name="connsiteX34694" fmla="*/ 988266 w 6884782"/>
              <a:gd name="connsiteY34694" fmla="*/ 2327184 h 5973007"/>
              <a:gd name="connsiteX34695" fmla="*/ 988472 w 6884782"/>
              <a:gd name="connsiteY34695" fmla="*/ 2329043 h 5973007"/>
              <a:gd name="connsiteX34696" fmla="*/ 987853 w 6884782"/>
              <a:gd name="connsiteY34696" fmla="*/ 2331366 h 5973007"/>
              <a:gd name="connsiteX34697" fmla="*/ 988782 w 6884782"/>
              <a:gd name="connsiteY34697" fmla="*/ 2332605 h 5973007"/>
              <a:gd name="connsiteX34698" fmla="*/ 985374 w 6884782"/>
              <a:gd name="connsiteY34698" fmla="*/ 2338647 h 5973007"/>
              <a:gd name="connsiteX34699" fmla="*/ 985374 w 6884782"/>
              <a:gd name="connsiteY34699" fmla="*/ 2336788 h 5973007"/>
              <a:gd name="connsiteX34700" fmla="*/ 985891 w 6884782"/>
              <a:gd name="connsiteY34700" fmla="*/ 2334619 h 5973007"/>
              <a:gd name="connsiteX34701" fmla="*/ 986407 w 6884782"/>
              <a:gd name="connsiteY34701" fmla="*/ 2332296 h 5973007"/>
              <a:gd name="connsiteX34702" fmla="*/ 986303 w 6884782"/>
              <a:gd name="connsiteY34702" fmla="*/ 2330437 h 5973007"/>
              <a:gd name="connsiteX34703" fmla="*/ 988266 w 6884782"/>
              <a:gd name="connsiteY34703" fmla="*/ 2327184 h 5973007"/>
              <a:gd name="connsiteX34704" fmla="*/ 5068932 w 6884782"/>
              <a:gd name="connsiteY34704" fmla="*/ 2327092 h 5973007"/>
              <a:gd name="connsiteX34705" fmla="*/ 5070213 w 6884782"/>
              <a:gd name="connsiteY34705" fmla="*/ 2328088 h 5973007"/>
              <a:gd name="connsiteX34706" fmla="*/ 5071280 w 6884782"/>
              <a:gd name="connsiteY34706" fmla="*/ 2330933 h 5973007"/>
              <a:gd name="connsiteX34707" fmla="*/ 5069146 w 6884782"/>
              <a:gd name="connsiteY34707" fmla="*/ 2331929 h 5973007"/>
              <a:gd name="connsiteX34708" fmla="*/ 5069573 w 6884782"/>
              <a:gd name="connsiteY34708" fmla="*/ 2332925 h 5973007"/>
              <a:gd name="connsiteX34709" fmla="*/ 5067225 w 6884782"/>
              <a:gd name="connsiteY34709" fmla="*/ 2332640 h 5973007"/>
              <a:gd name="connsiteX34710" fmla="*/ 5066798 w 6884782"/>
              <a:gd name="connsiteY34710" fmla="*/ 2331644 h 5973007"/>
              <a:gd name="connsiteX34711" fmla="*/ 5066372 w 6884782"/>
              <a:gd name="connsiteY34711" fmla="*/ 2331360 h 5973007"/>
              <a:gd name="connsiteX34712" fmla="*/ 5067225 w 6884782"/>
              <a:gd name="connsiteY34712" fmla="*/ 2329083 h 5973007"/>
              <a:gd name="connsiteX34713" fmla="*/ 5068932 w 6884782"/>
              <a:gd name="connsiteY34713" fmla="*/ 2327092 h 5973007"/>
              <a:gd name="connsiteX34714" fmla="*/ 948409 w 6884782"/>
              <a:gd name="connsiteY34714" fmla="*/ 2326100 h 5973007"/>
              <a:gd name="connsiteX34715" fmla="*/ 948409 w 6884782"/>
              <a:gd name="connsiteY34715" fmla="*/ 2326875 h 5973007"/>
              <a:gd name="connsiteX34716" fmla="*/ 948615 w 6884782"/>
              <a:gd name="connsiteY34716" fmla="*/ 2326720 h 5973007"/>
              <a:gd name="connsiteX34717" fmla="*/ 5512845 w 6884782"/>
              <a:gd name="connsiteY34717" fmla="*/ 2325527 h 5973007"/>
              <a:gd name="connsiteX34718" fmla="*/ 5524584 w 6884782"/>
              <a:gd name="connsiteY34718" fmla="*/ 2332640 h 5973007"/>
              <a:gd name="connsiteX34719" fmla="*/ 5509858 w 6884782"/>
              <a:gd name="connsiteY34719" fmla="*/ 2345587 h 5973007"/>
              <a:gd name="connsiteX34720" fmla="*/ 5507297 w 6884782"/>
              <a:gd name="connsiteY34720" fmla="*/ 2325811 h 5973007"/>
              <a:gd name="connsiteX34721" fmla="*/ 5512845 w 6884782"/>
              <a:gd name="connsiteY34721" fmla="*/ 2325527 h 5973007"/>
              <a:gd name="connsiteX34722" fmla="*/ 5048871 w 6884782"/>
              <a:gd name="connsiteY34722" fmla="*/ 2325527 h 5973007"/>
              <a:gd name="connsiteX34723" fmla="*/ 5053139 w 6884782"/>
              <a:gd name="connsiteY34723" fmla="*/ 2326238 h 5973007"/>
              <a:gd name="connsiteX34724" fmla="*/ 5051218 w 6884782"/>
              <a:gd name="connsiteY34724" fmla="*/ 2334916 h 5973007"/>
              <a:gd name="connsiteX34725" fmla="*/ 5050578 w 6884782"/>
              <a:gd name="connsiteY34725" fmla="*/ 2335485 h 5973007"/>
              <a:gd name="connsiteX34726" fmla="*/ 5051646 w 6884782"/>
              <a:gd name="connsiteY34726" fmla="*/ 2341177 h 5973007"/>
              <a:gd name="connsiteX34727" fmla="*/ 5051432 w 6884782"/>
              <a:gd name="connsiteY34727" fmla="*/ 2345587 h 5973007"/>
              <a:gd name="connsiteX34728" fmla="*/ 5051005 w 6884782"/>
              <a:gd name="connsiteY34728" fmla="*/ 2348432 h 5973007"/>
              <a:gd name="connsiteX34729" fmla="*/ 5050792 w 6884782"/>
              <a:gd name="connsiteY34729" fmla="*/ 2350993 h 5973007"/>
              <a:gd name="connsiteX34730" fmla="*/ 5046950 w 6884782"/>
              <a:gd name="connsiteY34730" fmla="*/ 2354407 h 5973007"/>
              <a:gd name="connsiteX34731" fmla="*/ 5046096 w 6884782"/>
              <a:gd name="connsiteY34731" fmla="*/ 2342030 h 5973007"/>
              <a:gd name="connsiteX34732" fmla="*/ 5045883 w 6884782"/>
              <a:gd name="connsiteY34732" fmla="*/ 2336624 h 5973007"/>
              <a:gd name="connsiteX34733" fmla="*/ 5043962 w 6884782"/>
              <a:gd name="connsiteY34733" fmla="*/ 2331360 h 5973007"/>
              <a:gd name="connsiteX34734" fmla="*/ 5045883 w 6884782"/>
              <a:gd name="connsiteY34734" fmla="*/ 2326238 h 5973007"/>
              <a:gd name="connsiteX34735" fmla="*/ 5048871 w 6884782"/>
              <a:gd name="connsiteY34735" fmla="*/ 2325527 h 5973007"/>
              <a:gd name="connsiteX34736" fmla="*/ 5172868 w 6884782"/>
              <a:gd name="connsiteY34736" fmla="*/ 2324958 h 5973007"/>
              <a:gd name="connsiteX34737" fmla="*/ 5174575 w 6884782"/>
              <a:gd name="connsiteY34737" fmla="*/ 2326096 h 5973007"/>
              <a:gd name="connsiteX34738" fmla="*/ 5176709 w 6884782"/>
              <a:gd name="connsiteY34738" fmla="*/ 2331218 h 5973007"/>
              <a:gd name="connsiteX34739" fmla="*/ 5169666 w 6884782"/>
              <a:gd name="connsiteY34739" fmla="*/ 2332640 h 5973007"/>
              <a:gd name="connsiteX34740" fmla="*/ 5167532 w 6884782"/>
              <a:gd name="connsiteY34740" fmla="*/ 2327661 h 5973007"/>
              <a:gd name="connsiteX34741" fmla="*/ 5171161 w 6884782"/>
              <a:gd name="connsiteY34741" fmla="*/ 2325100 h 5973007"/>
              <a:gd name="connsiteX34742" fmla="*/ 5172868 w 6884782"/>
              <a:gd name="connsiteY34742" fmla="*/ 2324958 h 5973007"/>
              <a:gd name="connsiteX34743" fmla="*/ 878091 w 6884782"/>
              <a:gd name="connsiteY34743" fmla="*/ 2323311 h 5973007"/>
              <a:gd name="connsiteX34744" fmla="*/ 888520 w 6884782"/>
              <a:gd name="connsiteY34744" fmla="*/ 2323931 h 5973007"/>
              <a:gd name="connsiteX34745" fmla="*/ 888417 w 6884782"/>
              <a:gd name="connsiteY34745" fmla="*/ 2327494 h 5973007"/>
              <a:gd name="connsiteX34746" fmla="*/ 877678 w 6884782"/>
              <a:gd name="connsiteY34746" fmla="*/ 2328578 h 5973007"/>
              <a:gd name="connsiteX34747" fmla="*/ 878091 w 6884782"/>
              <a:gd name="connsiteY34747" fmla="*/ 2323311 h 5973007"/>
              <a:gd name="connsiteX34748" fmla="*/ 5139148 w 6884782"/>
              <a:gd name="connsiteY34748" fmla="*/ 2323108 h 5973007"/>
              <a:gd name="connsiteX34749" fmla="*/ 5143629 w 6884782"/>
              <a:gd name="connsiteY34749" fmla="*/ 2324958 h 5973007"/>
              <a:gd name="connsiteX34750" fmla="*/ 5146617 w 6884782"/>
              <a:gd name="connsiteY34750" fmla="*/ 2334916 h 5973007"/>
              <a:gd name="connsiteX34751" fmla="*/ 5141709 w 6884782"/>
              <a:gd name="connsiteY34751" fmla="*/ 2341034 h 5973007"/>
              <a:gd name="connsiteX34752" fmla="*/ 5137226 w 6884782"/>
              <a:gd name="connsiteY34752" fmla="*/ 2341319 h 5973007"/>
              <a:gd name="connsiteX34753" fmla="*/ 5137654 w 6884782"/>
              <a:gd name="connsiteY34753" fmla="*/ 2343026 h 5973007"/>
              <a:gd name="connsiteX34754" fmla="*/ 5106281 w 6884782"/>
              <a:gd name="connsiteY34754" fmla="*/ 2363939 h 5973007"/>
              <a:gd name="connsiteX34755" fmla="*/ 5102866 w 6884782"/>
              <a:gd name="connsiteY34755" fmla="*/ 2363513 h 5973007"/>
              <a:gd name="connsiteX34756" fmla="*/ 5102653 w 6884782"/>
              <a:gd name="connsiteY34756" fmla="*/ 2364793 h 5973007"/>
              <a:gd name="connsiteX34757" fmla="*/ 5099451 w 6884782"/>
              <a:gd name="connsiteY34757" fmla="*/ 2373187 h 5973007"/>
              <a:gd name="connsiteX34758" fmla="*/ 5096677 w 6884782"/>
              <a:gd name="connsiteY34758" fmla="*/ 2335485 h 5973007"/>
              <a:gd name="connsiteX34759" fmla="*/ 5102013 w 6884782"/>
              <a:gd name="connsiteY34759" fmla="*/ 2340465 h 5973007"/>
              <a:gd name="connsiteX34760" fmla="*/ 5109056 w 6884782"/>
              <a:gd name="connsiteY34760" fmla="*/ 2333636 h 5973007"/>
              <a:gd name="connsiteX34761" fmla="*/ 5120153 w 6884782"/>
              <a:gd name="connsiteY34761" fmla="*/ 2329083 h 5973007"/>
              <a:gd name="connsiteX34762" fmla="*/ 5126769 w 6884782"/>
              <a:gd name="connsiteY34762" fmla="*/ 2328799 h 5973007"/>
              <a:gd name="connsiteX34763" fmla="*/ 5130824 w 6884782"/>
              <a:gd name="connsiteY34763" fmla="*/ 2324246 h 5973007"/>
              <a:gd name="connsiteX34764" fmla="*/ 5139148 w 6884782"/>
              <a:gd name="connsiteY34764" fmla="*/ 2323108 h 5973007"/>
              <a:gd name="connsiteX34765" fmla="*/ 1131895 w 6884782"/>
              <a:gd name="connsiteY34765" fmla="*/ 2322847 h 5973007"/>
              <a:gd name="connsiteX34766" fmla="*/ 1130243 w 6884782"/>
              <a:gd name="connsiteY34766" fmla="*/ 2329043 h 5973007"/>
              <a:gd name="connsiteX34767" fmla="*/ 1130036 w 6884782"/>
              <a:gd name="connsiteY34767" fmla="*/ 2325790 h 5973007"/>
              <a:gd name="connsiteX34768" fmla="*/ 1131895 w 6884782"/>
              <a:gd name="connsiteY34768" fmla="*/ 2322847 h 5973007"/>
              <a:gd name="connsiteX34769" fmla="*/ 1006026 w 6884782"/>
              <a:gd name="connsiteY34769" fmla="*/ 2322692 h 5973007"/>
              <a:gd name="connsiteX34770" fmla="*/ 1015112 w 6884782"/>
              <a:gd name="connsiteY34770" fmla="*/ 2329662 h 5973007"/>
              <a:gd name="connsiteX34771" fmla="*/ 1017384 w 6884782"/>
              <a:gd name="connsiteY34771" fmla="*/ 2340970 h 5973007"/>
              <a:gd name="connsiteX34772" fmla="*/ 1019965 w 6884782"/>
              <a:gd name="connsiteY34772" fmla="*/ 2340970 h 5973007"/>
              <a:gd name="connsiteX34773" fmla="*/ 1020585 w 6884782"/>
              <a:gd name="connsiteY34773" fmla="*/ 2344533 h 5973007"/>
              <a:gd name="connsiteX34774" fmla="*/ 1019243 w 6884782"/>
              <a:gd name="connsiteY34774" fmla="*/ 2346391 h 5973007"/>
              <a:gd name="connsiteX34775" fmla="*/ 1024508 w 6884782"/>
              <a:gd name="connsiteY34775" fmla="*/ 2346856 h 5973007"/>
              <a:gd name="connsiteX34776" fmla="*/ 1018726 w 6884782"/>
              <a:gd name="connsiteY34776" fmla="*/ 2351968 h 5973007"/>
              <a:gd name="connsiteX34777" fmla="*/ 1018520 w 6884782"/>
              <a:gd name="connsiteY34777" fmla="*/ 2353207 h 5973007"/>
              <a:gd name="connsiteX34778" fmla="*/ 1019449 w 6884782"/>
              <a:gd name="connsiteY34778" fmla="*/ 2352587 h 5973007"/>
              <a:gd name="connsiteX34779" fmla="*/ 1024612 w 6884782"/>
              <a:gd name="connsiteY34779" fmla="*/ 2350883 h 5973007"/>
              <a:gd name="connsiteX34780" fmla="*/ 1008297 w 6884782"/>
              <a:gd name="connsiteY34780" fmla="*/ 2368387 h 5973007"/>
              <a:gd name="connsiteX34781" fmla="*/ 1014183 w 6884782"/>
              <a:gd name="connsiteY34781" fmla="*/ 2356459 h 5973007"/>
              <a:gd name="connsiteX34782" fmla="*/ 1016661 w 6884782"/>
              <a:gd name="connsiteY34782" fmla="*/ 2354601 h 5973007"/>
              <a:gd name="connsiteX34783" fmla="*/ 1015112 w 6884782"/>
              <a:gd name="connsiteY34783" fmla="*/ 2353052 h 5973007"/>
              <a:gd name="connsiteX34784" fmla="*/ 1015112 w 6884782"/>
              <a:gd name="connsiteY34784" fmla="*/ 2353671 h 5973007"/>
              <a:gd name="connsiteX34785" fmla="*/ 1010879 w 6884782"/>
              <a:gd name="connsiteY34785" fmla="*/ 2350264 h 5973007"/>
              <a:gd name="connsiteX34786" fmla="*/ 1009640 w 6884782"/>
              <a:gd name="connsiteY34786" fmla="*/ 2349954 h 5973007"/>
              <a:gd name="connsiteX34787" fmla="*/ 1005509 w 6884782"/>
              <a:gd name="connsiteY34787" fmla="*/ 2348560 h 5973007"/>
              <a:gd name="connsiteX34788" fmla="*/ 1007058 w 6884782"/>
              <a:gd name="connsiteY34788" fmla="*/ 2344688 h 5973007"/>
              <a:gd name="connsiteX34789" fmla="*/ 1006542 w 6884782"/>
              <a:gd name="connsiteY34789" fmla="*/ 2343913 h 5973007"/>
              <a:gd name="connsiteX34790" fmla="*/ 1004683 w 6884782"/>
              <a:gd name="connsiteY34790" fmla="*/ 2332760 h 5973007"/>
              <a:gd name="connsiteX34791" fmla="*/ 1010156 w 6884782"/>
              <a:gd name="connsiteY34791" fmla="*/ 2336788 h 5973007"/>
              <a:gd name="connsiteX34792" fmla="*/ 1013150 w 6884782"/>
              <a:gd name="connsiteY34792" fmla="*/ 2341435 h 5973007"/>
              <a:gd name="connsiteX34793" fmla="*/ 1015732 w 6884782"/>
              <a:gd name="connsiteY34793" fmla="*/ 2340970 h 5973007"/>
              <a:gd name="connsiteX34794" fmla="*/ 1011911 w 6884782"/>
              <a:gd name="connsiteY34794" fmla="*/ 2338647 h 5973007"/>
              <a:gd name="connsiteX34795" fmla="*/ 1006026 w 6884782"/>
              <a:gd name="connsiteY34795" fmla="*/ 2322692 h 5973007"/>
              <a:gd name="connsiteX34796" fmla="*/ 5023688 w 6884782"/>
              <a:gd name="connsiteY34796" fmla="*/ 2320547 h 5973007"/>
              <a:gd name="connsiteX34797" fmla="*/ 5034572 w 6884782"/>
              <a:gd name="connsiteY34797" fmla="*/ 2325527 h 5973007"/>
              <a:gd name="connsiteX34798" fmla="*/ 5032438 w 6884782"/>
              <a:gd name="connsiteY34798" fmla="*/ 2329795 h 5973007"/>
              <a:gd name="connsiteX34799" fmla="*/ 5014510 w 6884782"/>
              <a:gd name="connsiteY34799" fmla="*/ 2325811 h 5973007"/>
              <a:gd name="connsiteX34800" fmla="*/ 5023688 w 6884782"/>
              <a:gd name="connsiteY34800" fmla="*/ 2320547 h 5973007"/>
              <a:gd name="connsiteX34801" fmla="*/ 1127558 w 6884782"/>
              <a:gd name="connsiteY34801" fmla="*/ 2320523 h 5973007"/>
              <a:gd name="connsiteX34802" fmla="*/ 1125183 w 6884782"/>
              <a:gd name="connsiteY34802" fmla="*/ 2330592 h 5973007"/>
              <a:gd name="connsiteX34803" fmla="*/ 1123634 w 6884782"/>
              <a:gd name="connsiteY34803" fmla="*/ 2329972 h 5973007"/>
              <a:gd name="connsiteX34804" fmla="*/ 1123841 w 6884782"/>
              <a:gd name="connsiteY34804" fmla="*/ 2331831 h 5973007"/>
              <a:gd name="connsiteX34805" fmla="*/ 1123222 w 6884782"/>
              <a:gd name="connsiteY34805" fmla="*/ 2334464 h 5973007"/>
              <a:gd name="connsiteX34806" fmla="*/ 1117026 w 6884782"/>
              <a:gd name="connsiteY34806" fmla="*/ 2335084 h 5973007"/>
              <a:gd name="connsiteX34807" fmla="*/ 1115064 w 6884782"/>
              <a:gd name="connsiteY34807" fmla="*/ 2333070 h 5973007"/>
              <a:gd name="connsiteX34808" fmla="*/ 1113515 w 6884782"/>
              <a:gd name="connsiteY34808" fmla="*/ 2328113 h 5973007"/>
              <a:gd name="connsiteX34809" fmla="*/ 1112793 w 6884782"/>
              <a:gd name="connsiteY34809" fmla="*/ 2328424 h 5973007"/>
              <a:gd name="connsiteX34810" fmla="*/ 1117026 w 6884782"/>
              <a:gd name="connsiteY34810" fmla="*/ 2325790 h 5973007"/>
              <a:gd name="connsiteX34811" fmla="*/ 1117646 w 6884782"/>
              <a:gd name="connsiteY34811" fmla="*/ 2326100 h 5973007"/>
              <a:gd name="connsiteX34812" fmla="*/ 1117129 w 6884782"/>
              <a:gd name="connsiteY34812" fmla="*/ 2325481 h 5973007"/>
              <a:gd name="connsiteX34813" fmla="*/ 1120950 w 6884782"/>
              <a:gd name="connsiteY34813" fmla="*/ 2320833 h 5973007"/>
              <a:gd name="connsiteX34814" fmla="*/ 1127558 w 6884782"/>
              <a:gd name="connsiteY34814" fmla="*/ 2320523 h 5973007"/>
              <a:gd name="connsiteX34815" fmla="*/ 1045056 w 6884782"/>
              <a:gd name="connsiteY34815" fmla="*/ 2319749 h 5973007"/>
              <a:gd name="connsiteX34816" fmla="*/ 1045469 w 6884782"/>
              <a:gd name="connsiteY34816" fmla="*/ 2327804 h 5973007"/>
              <a:gd name="connsiteX34817" fmla="*/ 1037622 w 6884782"/>
              <a:gd name="connsiteY34817" fmla="*/ 2332760 h 5973007"/>
              <a:gd name="connsiteX34818" fmla="*/ 1037519 w 6884782"/>
              <a:gd name="connsiteY34818" fmla="*/ 2328268 h 5973007"/>
              <a:gd name="connsiteX34819" fmla="*/ 1045056 w 6884782"/>
              <a:gd name="connsiteY34819" fmla="*/ 2319749 h 5973007"/>
              <a:gd name="connsiteX34820" fmla="*/ 1019759 w 6884782"/>
              <a:gd name="connsiteY34820" fmla="*/ 2319130 h 5973007"/>
              <a:gd name="connsiteX34821" fmla="*/ 1021824 w 6884782"/>
              <a:gd name="connsiteY34821" fmla="*/ 2320679 h 5973007"/>
              <a:gd name="connsiteX34822" fmla="*/ 1020482 w 6884782"/>
              <a:gd name="connsiteY34822" fmla="*/ 2323466 h 5973007"/>
              <a:gd name="connsiteX34823" fmla="*/ 1021514 w 6884782"/>
              <a:gd name="connsiteY34823" fmla="*/ 2326720 h 5973007"/>
              <a:gd name="connsiteX34824" fmla="*/ 1020172 w 6884782"/>
              <a:gd name="connsiteY34824" fmla="*/ 2329508 h 5973007"/>
              <a:gd name="connsiteX34825" fmla="*/ 1019655 w 6884782"/>
              <a:gd name="connsiteY34825" fmla="*/ 2328733 h 5973007"/>
              <a:gd name="connsiteX34826" fmla="*/ 1020275 w 6884782"/>
              <a:gd name="connsiteY34826" fmla="*/ 2326410 h 5973007"/>
              <a:gd name="connsiteX34827" fmla="*/ 1018726 w 6884782"/>
              <a:gd name="connsiteY34827" fmla="*/ 2320833 h 5973007"/>
              <a:gd name="connsiteX34828" fmla="*/ 1019759 w 6884782"/>
              <a:gd name="connsiteY34828" fmla="*/ 2319130 h 5973007"/>
              <a:gd name="connsiteX34829" fmla="*/ 5678033 w 6884782"/>
              <a:gd name="connsiteY34829" fmla="*/ 2319125 h 5973007"/>
              <a:gd name="connsiteX34830" fmla="*/ 5678246 w 6884782"/>
              <a:gd name="connsiteY34830" fmla="*/ 2320974 h 5973007"/>
              <a:gd name="connsiteX34831" fmla="*/ 5676752 w 6884782"/>
              <a:gd name="connsiteY34831" fmla="*/ 2322539 h 5973007"/>
              <a:gd name="connsiteX34832" fmla="*/ 5672910 w 6884782"/>
              <a:gd name="connsiteY34832" fmla="*/ 2325527 h 5973007"/>
              <a:gd name="connsiteX34833" fmla="*/ 5678033 w 6884782"/>
              <a:gd name="connsiteY34833" fmla="*/ 2319125 h 5973007"/>
              <a:gd name="connsiteX34834" fmla="*/ 956372 w 6884782"/>
              <a:gd name="connsiteY34834" fmla="*/ 2317561 h 5973007"/>
              <a:gd name="connsiteX34835" fmla="*/ 962864 w 6884782"/>
              <a:gd name="connsiteY34835" fmla="*/ 2319904 h 5973007"/>
              <a:gd name="connsiteX34836" fmla="*/ 965653 w 6884782"/>
              <a:gd name="connsiteY34836" fmla="*/ 2323777 h 5973007"/>
              <a:gd name="connsiteX34837" fmla="*/ 964207 w 6884782"/>
              <a:gd name="connsiteY34837" fmla="*/ 2329817 h 5973007"/>
              <a:gd name="connsiteX34838" fmla="*/ 961212 w 6884782"/>
              <a:gd name="connsiteY34838" fmla="*/ 2331831 h 5973007"/>
              <a:gd name="connsiteX34839" fmla="*/ 962555 w 6884782"/>
              <a:gd name="connsiteY34839" fmla="*/ 2333535 h 5973007"/>
              <a:gd name="connsiteX34840" fmla="*/ 956153 w 6884782"/>
              <a:gd name="connsiteY34840" fmla="*/ 2346701 h 5973007"/>
              <a:gd name="connsiteX34841" fmla="*/ 953778 w 6884782"/>
              <a:gd name="connsiteY34841" fmla="*/ 2347166 h 5973007"/>
              <a:gd name="connsiteX34842" fmla="*/ 950577 w 6884782"/>
              <a:gd name="connsiteY34842" fmla="*/ 2348869 h 5973007"/>
              <a:gd name="connsiteX34843" fmla="*/ 943659 w 6884782"/>
              <a:gd name="connsiteY34843" fmla="*/ 2339576 h 5973007"/>
              <a:gd name="connsiteX34844" fmla="*/ 942420 w 6884782"/>
              <a:gd name="connsiteY34844" fmla="*/ 2334464 h 5973007"/>
              <a:gd name="connsiteX34845" fmla="*/ 942729 w 6884782"/>
              <a:gd name="connsiteY34845" fmla="*/ 2333225 h 5973007"/>
              <a:gd name="connsiteX34846" fmla="*/ 942420 w 6884782"/>
              <a:gd name="connsiteY34846" fmla="*/ 2333690 h 5973007"/>
              <a:gd name="connsiteX34847" fmla="*/ 936844 w 6884782"/>
              <a:gd name="connsiteY34847" fmla="*/ 2337098 h 5973007"/>
              <a:gd name="connsiteX34848" fmla="*/ 937567 w 6884782"/>
              <a:gd name="connsiteY34848" fmla="*/ 2334464 h 5973007"/>
              <a:gd name="connsiteX34849" fmla="*/ 938393 w 6884782"/>
              <a:gd name="connsiteY34849" fmla="*/ 2333535 h 5973007"/>
              <a:gd name="connsiteX34850" fmla="*/ 938290 w 6884782"/>
              <a:gd name="connsiteY34850" fmla="*/ 2332605 h 5973007"/>
              <a:gd name="connsiteX34851" fmla="*/ 939219 w 6884782"/>
              <a:gd name="connsiteY34851" fmla="*/ 2332451 h 5973007"/>
              <a:gd name="connsiteX34852" fmla="*/ 940871 w 6884782"/>
              <a:gd name="connsiteY34852" fmla="*/ 2330592 h 5973007"/>
              <a:gd name="connsiteX34853" fmla="*/ 943039 w 6884782"/>
              <a:gd name="connsiteY34853" fmla="*/ 2325171 h 5973007"/>
              <a:gd name="connsiteX34854" fmla="*/ 948099 w 6884782"/>
              <a:gd name="connsiteY34854" fmla="*/ 2321143 h 5973007"/>
              <a:gd name="connsiteX34855" fmla="*/ 949957 w 6884782"/>
              <a:gd name="connsiteY34855" fmla="*/ 2322537 h 5973007"/>
              <a:gd name="connsiteX34856" fmla="*/ 951506 w 6884782"/>
              <a:gd name="connsiteY34856" fmla="*/ 2320679 h 5973007"/>
              <a:gd name="connsiteX34857" fmla="*/ 956372 w 6884782"/>
              <a:gd name="connsiteY34857" fmla="*/ 2317561 h 5973007"/>
              <a:gd name="connsiteX34858" fmla="*/ 5240095 w 6884782"/>
              <a:gd name="connsiteY34858" fmla="*/ 2317133 h 5973007"/>
              <a:gd name="connsiteX34859" fmla="*/ 5246924 w 6884782"/>
              <a:gd name="connsiteY34859" fmla="*/ 2321117 h 5973007"/>
              <a:gd name="connsiteX34860" fmla="*/ 5247778 w 6884782"/>
              <a:gd name="connsiteY34860" fmla="*/ 2322397 h 5973007"/>
              <a:gd name="connsiteX34861" fmla="*/ 5249486 w 6884782"/>
              <a:gd name="connsiteY34861" fmla="*/ 2321970 h 5973007"/>
              <a:gd name="connsiteX34862" fmla="*/ 5281925 w 6884782"/>
              <a:gd name="connsiteY34862" fmla="*/ 2343595 h 5973007"/>
              <a:gd name="connsiteX34863" fmla="*/ 5281072 w 6884782"/>
              <a:gd name="connsiteY34863" fmla="*/ 2347152 h 5973007"/>
              <a:gd name="connsiteX34864" fmla="*/ 5229211 w 6884782"/>
              <a:gd name="connsiteY34864" fmla="*/ 2332925 h 5973007"/>
              <a:gd name="connsiteX34865" fmla="*/ 5236894 w 6884782"/>
              <a:gd name="connsiteY34865" fmla="*/ 2326380 h 5973007"/>
              <a:gd name="connsiteX34866" fmla="*/ 5234973 w 6884782"/>
              <a:gd name="connsiteY34866" fmla="*/ 2320547 h 5973007"/>
              <a:gd name="connsiteX34867" fmla="*/ 5240095 w 6884782"/>
              <a:gd name="connsiteY34867" fmla="*/ 2317133 h 5973007"/>
              <a:gd name="connsiteX34868" fmla="*/ 5452021 w 6884782"/>
              <a:gd name="connsiteY34868" fmla="*/ 2316137 h 5973007"/>
              <a:gd name="connsiteX34869" fmla="*/ 5454795 w 6884782"/>
              <a:gd name="connsiteY34869" fmla="*/ 2317702 h 5973007"/>
              <a:gd name="connsiteX34870" fmla="*/ 5454582 w 6884782"/>
              <a:gd name="connsiteY34870" fmla="*/ 2328372 h 5973007"/>
              <a:gd name="connsiteX34871" fmla="*/ 5452021 w 6884782"/>
              <a:gd name="connsiteY34871" fmla="*/ 2316137 h 5973007"/>
              <a:gd name="connsiteX34872" fmla="*/ 5378605 w 6884782"/>
              <a:gd name="connsiteY34872" fmla="*/ 2314288 h 5973007"/>
              <a:gd name="connsiteX34873" fmla="*/ 5383940 w 6884782"/>
              <a:gd name="connsiteY34873" fmla="*/ 2318840 h 5973007"/>
              <a:gd name="connsiteX34874" fmla="*/ 5384367 w 6884782"/>
              <a:gd name="connsiteY34874" fmla="*/ 2322397 h 5973007"/>
              <a:gd name="connsiteX34875" fmla="*/ 5398666 w 6884782"/>
              <a:gd name="connsiteY34875" fmla="*/ 2335912 h 5973007"/>
              <a:gd name="connsiteX34876" fmla="*/ 5394824 w 6884782"/>
              <a:gd name="connsiteY34876" fmla="*/ 2341603 h 5973007"/>
              <a:gd name="connsiteX34877" fmla="*/ 5395038 w 6884782"/>
              <a:gd name="connsiteY34877" fmla="*/ 2342172 h 5973007"/>
              <a:gd name="connsiteX34878" fmla="*/ 5394184 w 6884782"/>
              <a:gd name="connsiteY34878" fmla="*/ 2342599 h 5973007"/>
              <a:gd name="connsiteX34879" fmla="*/ 5392690 w 6884782"/>
              <a:gd name="connsiteY34879" fmla="*/ 2345017 h 5973007"/>
              <a:gd name="connsiteX34880" fmla="*/ 5374976 w 6884782"/>
              <a:gd name="connsiteY34880" fmla="*/ 2342030 h 5973007"/>
              <a:gd name="connsiteX34881" fmla="*/ 5373482 w 6884782"/>
              <a:gd name="connsiteY34881" fmla="*/ 2333351 h 5973007"/>
              <a:gd name="connsiteX34882" fmla="*/ 5374336 w 6884782"/>
              <a:gd name="connsiteY34882" fmla="*/ 2331786 h 5973007"/>
              <a:gd name="connsiteX34883" fmla="*/ 5371775 w 6884782"/>
              <a:gd name="connsiteY34883" fmla="*/ 2333210 h 5973007"/>
              <a:gd name="connsiteX34884" fmla="*/ 5357689 w 6884782"/>
              <a:gd name="connsiteY34884" fmla="*/ 2330648 h 5973007"/>
              <a:gd name="connsiteX34885" fmla="*/ 5378605 w 6884782"/>
              <a:gd name="connsiteY34885" fmla="*/ 2314288 h 5973007"/>
              <a:gd name="connsiteX34886" fmla="*/ 1038964 w 6884782"/>
              <a:gd name="connsiteY34886" fmla="*/ 2314173 h 5973007"/>
              <a:gd name="connsiteX34887" fmla="*/ 1033389 w 6884782"/>
              <a:gd name="connsiteY34887" fmla="*/ 2325945 h 5973007"/>
              <a:gd name="connsiteX34888" fmla="*/ 1033182 w 6884782"/>
              <a:gd name="connsiteY34888" fmla="*/ 2323466 h 5973007"/>
              <a:gd name="connsiteX34889" fmla="*/ 1038964 w 6884782"/>
              <a:gd name="connsiteY34889" fmla="*/ 2314173 h 5973007"/>
              <a:gd name="connsiteX34890" fmla="*/ 4810481 w 6884782"/>
              <a:gd name="connsiteY34890" fmla="*/ 2313718 h 5973007"/>
              <a:gd name="connsiteX34891" fmla="*/ 4822432 w 6884782"/>
              <a:gd name="connsiteY34891" fmla="*/ 2318129 h 5973007"/>
              <a:gd name="connsiteX34892" fmla="*/ 4819445 w 6884782"/>
              <a:gd name="connsiteY34892" fmla="*/ 2326096 h 5973007"/>
              <a:gd name="connsiteX34893" fmla="*/ 4811335 w 6884782"/>
              <a:gd name="connsiteY34893" fmla="*/ 2328799 h 5973007"/>
              <a:gd name="connsiteX34894" fmla="*/ 4810481 w 6884782"/>
              <a:gd name="connsiteY34894" fmla="*/ 2313718 h 5973007"/>
              <a:gd name="connsiteX34895" fmla="*/ 1003651 w 6884782"/>
              <a:gd name="connsiteY34895" fmla="*/ 2312934 h 5973007"/>
              <a:gd name="connsiteX34896" fmla="*/ 1004270 w 6884782"/>
              <a:gd name="connsiteY34896" fmla="*/ 2318975 h 5973007"/>
              <a:gd name="connsiteX34897" fmla="*/ 991776 w 6884782"/>
              <a:gd name="connsiteY34897" fmla="*/ 2317426 h 5973007"/>
              <a:gd name="connsiteX34898" fmla="*/ 1003651 w 6884782"/>
              <a:gd name="connsiteY34898" fmla="*/ 2312934 h 5973007"/>
              <a:gd name="connsiteX34899" fmla="*/ 962452 w 6884782"/>
              <a:gd name="connsiteY34899" fmla="*/ 2311849 h 5973007"/>
              <a:gd name="connsiteX34900" fmla="*/ 960799 w 6884782"/>
              <a:gd name="connsiteY34900" fmla="*/ 2318045 h 5973007"/>
              <a:gd name="connsiteX34901" fmla="*/ 962452 w 6884782"/>
              <a:gd name="connsiteY34901" fmla="*/ 2311849 h 5973007"/>
              <a:gd name="connsiteX34902" fmla="*/ 4966278 w 6884782"/>
              <a:gd name="connsiteY34902" fmla="*/ 2311443 h 5973007"/>
              <a:gd name="connsiteX34903" fmla="*/ 4970759 w 6884782"/>
              <a:gd name="connsiteY34903" fmla="*/ 2314572 h 5973007"/>
              <a:gd name="connsiteX34904" fmla="*/ 4972040 w 6884782"/>
              <a:gd name="connsiteY34904" fmla="*/ 2317133 h 5973007"/>
              <a:gd name="connsiteX34905" fmla="*/ 4971613 w 6884782"/>
              <a:gd name="connsiteY34905" fmla="*/ 2319409 h 5973007"/>
              <a:gd name="connsiteX34906" fmla="*/ 4969266 w 6884782"/>
              <a:gd name="connsiteY34906" fmla="*/ 2320263 h 5973007"/>
              <a:gd name="connsiteX34907" fmla="*/ 4964570 w 6884782"/>
              <a:gd name="connsiteY34907" fmla="*/ 2319552 h 5973007"/>
              <a:gd name="connsiteX34908" fmla="*/ 4962436 w 6884782"/>
              <a:gd name="connsiteY34908" fmla="*/ 2316706 h 5973007"/>
              <a:gd name="connsiteX34909" fmla="*/ 4963716 w 6884782"/>
              <a:gd name="connsiteY34909" fmla="*/ 2314572 h 5973007"/>
              <a:gd name="connsiteX34910" fmla="*/ 4963930 w 6884782"/>
              <a:gd name="connsiteY34910" fmla="*/ 2312153 h 5973007"/>
              <a:gd name="connsiteX34911" fmla="*/ 4965210 w 6884782"/>
              <a:gd name="connsiteY34911" fmla="*/ 2312438 h 5973007"/>
              <a:gd name="connsiteX34912" fmla="*/ 4966278 w 6884782"/>
              <a:gd name="connsiteY34912" fmla="*/ 2311443 h 5973007"/>
              <a:gd name="connsiteX34913" fmla="*/ 6290121 w 6884782"/>
              <a:gd name="connsiteY34913" fmla="*/ 2311016 h 5973007"/>
              <a:gd name="connsiteX34914" fmla="*/ 6296950 w 6884782"/>
              <a:gd name="connsiteY34914" fmla="*/ 2313291 h 5973007"/>
              <a:gd name="connsiteX34915" fmla="*/ 6298871 w 6884782"/>
              <a:gd name="connsiteY34915" fmla="*/ 2317275 h 5973007"/>
              <a:gd name="connsiteX34916" fmla="*/ 6296523 w 6884782"/>
              <a:gd name="connsiteY34916" fmla="*/ 2320547 h 5973007"/>
              <a:gd name="connsiteX34917" fmla="*/ 6291828 w 6884782"/>
              <a:gd name="connsiteY34917" fmla="*/ 2320974 h 5973007"/>
              <a:gd name="connsiteX34918" fmla="*/ 6290121 w 6884782"/>
              <a:gd name="connsiteY34918" fmla="*/ 2311016 h 5973007"/>
              <a:gd name="connsiteX34919" fmla="*/ 5335494 w 6884782"/>
              <a:gd name="connsiteY34919" fmla="*/ 2310304 h 5973007"/>
              <a:gd name="connsiteX34920" fmla="*/ 5345738 w 6884782"/>
              <a:gd name="connsiteY34920" fmla="*/ 2314856 h 5973007"/>
              <a:gd name="connsiteX34921" fmla="*/ 5342963 w 6884782"/>
              <a:gd name="connsiteY34921" fmla="*/ 2319267 h 5973007"/>
              <a:gd name="connsiteX34922" fmla="*/ 5325463 w 6884782"/>
              <a:gd name="connsiteY34922" fmla="*/ 2315853 h 5973007"/>
              <a:gd name="connsiteX34923" fmla="*/ 5335494 w 6884782"/>
              <a:gd name="connsiteY34923" fmla="*/ 2310304 h 5973007"/>
              <a:gd name="connsiteX34924" fmla="*/ 4851671 w 6884782"/>
              <a:gd name="connsiteY34924" fmla="*/ 2308597 h 5973007"/>
              <a:gd name="connsiteX34925" fmla="*/ 4854873 w 6884782"/>
              <a:gd name="connsiteY34925" fmla="*/ 2308597 h 5973007"/>
              <a:gd name="connsiteX34926" fmla="*/ 4859568 w 6884782"/>
              <a:gd name="connsiteY34926" fmla="*/ 2312153 h 5973007"/>
              <a:gd name="connsiteX34927" fmla="*/ 4860208 w 6884782"/>
              <a:gd name="connsiteY34927" fmla="*/ 2316422 h 5973007"/>
              <a:gd name="connsiteX34928" fmla="*/ 4854873 w 6884782"/>
              <a:gd name="connsiteY34928" fmla="*/ 2320832 h 5973007"/>
              <a:gd name="connsiteX34929" fmla="*/ 4848470 w 6884782"/>
              <a:gd name="connsiteY34929" fmla="*/ 2310304 h 5973007"/>
              <a:gd name="connsiteX34930" fmla="*/ 4851671 w 6884782"/>
              <a:gd name="connsiteY34930" fmla="*/ 2308597 h 5973007"/>
              <a:gd name="connsiteX34931" fmla="*/ 885216 w 6884782"/>
              <a:gd name="connsiteY34931" fmla="*/ 2308132 h 5973007"/>
              <a:gd name="connsiteX34932" fmla="*/ 887178 w 6884782"/>
              <a:gd name="connsiteY34932" fmla="*/ 2312779 h 5973007"/>
              <a:gd name="connsiteX34933" fmla="*/ 883873 w 6884782"/>
              <a:gd name="connsiteY34933" fmla="*/ 2314947 h 5973007"/>
              <a:gd name="connsiteX34934" fmla="*/ 881808 w 6884782"/>
              <a:gd name="connsiteY34934" fmla="*/ 2310300 h 5973007"/>
              <a:gd name="connsiteX34935" fmla="*/ 885216 w 6884782"/>
              <a:gd name="connsiteY34935" fmla="*/ 2308132 h 5973007"/>
              <a:gd name="connsiteX34936" fmla="*/ 956463 w 6884782"/>
              <a:gd name="connsiteY34936" fmla="*/ 2307823 h 5973007"/>
              <a:gd name="connsiteX34937" fmla="*/ 956463 w 6884782"/>
              <a:gd name="connsiteY34937" fmla="*/ 2309371 h 5973007"/>
              <a:gd name="connsiteX34938" fmla="*/ 959251 w 6884782"/>
              <a:gd name="connsiteY34938" fmla="*/ 2310920 h 5973007"/>
              <a:gd name="connsiteX34939" fmla="*/ 963897 w 6884782"/>
              <a:gd name="connsiteY34939" fmla="*/ 2311230 h 5973007"/>
              <a:gd name="connsiteX34940" fmla="*/ 957701 w 6884782"/>
              <a:gd name="connsiteY34940" fmla="*/ 2312159 h 5973007"/>
              <a:gd name="connsiteX34941" fmla="*/ 956772 w 6884782"/>
              <a:gd name="connsiteY34941" fmla="*/ 2312934 h 5973007"/>
              <a:gd name="connsiteX34942" fmla="*/ 956772 w 6884782"/>
              <a:gd name="connsiteY34942" fmla="*/ 2313089 h 5973007"/>
              <a:gd name="connsiteX34943" fmla="*/ 956359 w 6884782"/>
              <a:gd name="connsiteY34943" fmla="*/ 2313398 h 5973007"/>
              <a:gd name="connsiteX34944" fmla="*/ 955636 w 6884782"/>
              <a:gd name="connsiteY34944" fmla="*/ 2314018 h 5973007"/>
              <a:gd name="connsiteX34945" fmla="*/ 955224 w 6884782"/>
              <a:gd name="connsiteY34945" fmla="*/ 2314018 h 5973007"/>
              <a:gd name="connsiteX34946" fmla="*/ 953365 w 6884782"/>
              <a:gd name="connsiteY34946" fmla="*/ 2315412 h 5973007"/>
              <a:gd name="connsiteX34947" fmla="*/ 950370 w 6884782"/>
              <a:gd name="connsiteY34947" fmla="*/ 2318356 h 5973007"/>
              <a:gd name="connsiteX34948" fmla="*/ 948202 w 6884782"/>
              <a:gd name="connsiteY34948" fmla="*/ 2315102 h 5973007"/>
              <a:gd name="connsiteX34949" fmla="*/ 950164 w 6884782"/>
              <a:gd name="connsiteY34949" fmla="*/ 2312314 h 5973007"/>
              <a:gd name="connsiteX34950" fmla="*/ 950164 w 6884782"/>
              <a:gd name="connsiteY34950" fmla="*/ 2311385 h 5973007"/>
              <a:gd name="connsiteX34951" fmla="*/ 952229 w 6884782"/>
              <a:gd name="connsiteY34951" fmla="*/ 2309681 h 5973007"/>
              <a:gd name="connsiteX34952" fmla="*/ 953365 w 6884782"/>
              <a:gd name="connsiteY34952" fmla="*/ 2309526 h 5973007"/>
              <a:gd name="connsiteX34953" fmla="*/ 784438 w 6884782"/>
              <a:gd name="connsiteY34953" fmla="*/ 2307202 h 5973007"/>
              <a:gd name="connsiteX34954" fmla="*/ 799100 w 6884782"/>
              <a:gd name="connsiteY34954" fmla="*/ 2318045 h 5973007"/>
              <a:gd name="connsiteX34955" fmla="*/ 784334 w 6884782"/>
              <a:gd name="connsiteY34955" fmla="*/ 2312779 h 5973007"/>
              <a:gd name="connsiteX34956" fmla="*/ 784438 w 6884782"/>
              <a:gd name="connsiteY34956" fmla="*/ 2307202 h 5973007"/>
              <a:gd name="connsiteX34957" fmla="*/ 4984205 w 6884782"/>
              <a:gd name="connsiteY34957" fmla="*/ 2306605 h 5973007"/>
              <a:gd name="connsiteX34958" fmla="*/ 4991888 w 6884782"/>
              <a:gd name="connsiteY34958" fmla="*/ 2308313 h 5973007"/>
              <a:gd name="connsiteX34959" fmla="*/ 4989327 w 6884782"/>
              <a:gd name="connsiteY34959" fmla="*/ 2315284 h 5973007"/>
              <a:gd name="connsiteX34960" fmla="*/ 4984205 w 6884782"/>
              <a:gd name="connsiteY34960" fmla="*/ 2306605 h 5973007"/>
              <a:gd name="connsiteX34961" fmla="*/ 1113515 w 6884782"/>
              <a:gd name="connsiteY34961" fmla="*/ 2306583 h 5973007"/>
              <a:gd name="connsiteX34962" fmla="*/ 1117852 w 6884782"/>
              <a:gd name="connsiteY34962" fmla="*/ 2308751 h 5973007"/>
              <a:gd name="connsiteX34963" fmla="*/ 1118781 w 6884782"/>
              <a:gd name="connsiteY34963" fmla="*/ 2307047 h 5973007"/>
              <a:gd name="connsiteX34964" fmla="*/ 1123737 w 6884782"/>
              <a:gd name="connsiteY34964" fmla="*/ 2307512 h 5973007"/>
              <a:gd name="connsiteX34965" fmla="*/ 1122602 w 6884782"/>
              <a:gd name="connsiteY34965" fmla="*/ 2316342 h 5973007"/>
              <a:gd name="connsiteX34966" fmla="*/ 1121776 w 6884782"/>
              <a:gd name="connsiteY34966" fmla="*/ 2315877 h 5973007"/>
              <a:gd name="connsiteX34967" fmla="*/ 1121569 w 6884782"/>
              <a:gd name="connsiteY34967" fmla="*/ 2316961 h 5973007"/>
              <a:gd name="connsiteX34968" fmla="*/ 1120021 w 6884782"/>
              <a:gd name="connsiteY34968" fmla="*/ 2319749 h 5973007"/>
              <a:gd name="connsiteX34969" fmla="*/ 1108662 w 6884782"/>
              <a:gd name="connsiteY34969" fmla="*/ 2321918 h 5973007"/>
              <a:gd name="connsiteX34970" fmla="*/ 1104738 w 6884782"/>
              <a:gd name="connsiteY34970" fmla="*/ 2314483 h 5973007"/>
              <a:gd name="connsiteX34971" fmla="*/ 1104635 w 6884782"/>
              <a:gd name="connsiteY34971" fmla="*/ 2315257 h 5973007"/>
              <a:gd name="connsiteX34972" fmla="*/ 1092244 w 6884782"/>
              <a:gd name="connsiteY34972" fmla="*/ 2324241 h 5973007"/>
              <a:gd name="connsiteX34973" fmla="*/ 1093174 w 6884782"/>
              <a:gd name="connsiteY34973" fmla="*/ 2321608 h 5973007"/>
              <a:gd name="connsiteX34974" fmla="*/ 1094103 w 6884782"/>
              <a:gd name="connsiteY34974" fmla="*/ 2320833 h 5973007"/>
              <a:gd name="connsiteX34975" fmla="*/ 1094103 w 6884782"/>
              <a:gd name="connsiteY34975" fmla="*/ 2320059 h 5973007"/>
              <a:gd name="connsiteX34976" fmla="*/ 1094929 w 6884782"/>
              <a:gd name="connsiteY34976" fmla="*/ 2319904 h 5973007"/>
              <a:gd name="connsiteX34977" fmla="*/ 1096788 w 6884782"/>
              <a:gd name="connsiteY34977" fmla="*/ 2318200 h 5973007"/>
              <a:gd name="connsiteX34978" fmla="*/ 1099576 w 6884782"/>
              <a:gd name="connsiteY34978" fmla="*/ 2312934 h 5973007"/>
              <a:gd name="connsiteX34979" fmla="*/ 1104945 w 6884782"/>
              <a:gd name="connsiteY34979" fmla="*/ 2309371 h 5973007"/>
              <a:gd name="connsiteX34980" fmla="*/ 1106597 w 6884782"/>
              <a:gd name="connsiteY34980" fmla="*/ 2310920 h 5973007"/>
              <a:gd name="connsiteX34981" fmla="*/ 1108353 w 6884782"/>
              <a:gd name="connsiteY34981" fmla="*/ 2309216 h 5973007"/>
              <a:gd name="connsiteX34982" fmla="*/ 1113515 w 6884782"/>
              <a:gd name="connsiteY34982" fmla="*/ 2306583 h 5973007"/>
              <a:gd name="connsiteX34983" fmla="*/ 829767 w 6884782"/>
              <a:gd name="connsiteY34983" fmla="*/ 2305809 h 5973007"/>
              <a:gd name="connsiteX34984" fmla="*/ 835962 w 6884782"/>
              <a:gd name="connsiteY34984" fmla="*/ 2306273 h 5973007"/>
              <a:gd name="connsiteX34985" fmla="*/ 837305 w 6884782"/>
              <a:gd name="connsiteY34985" fmla="*/ 2308751 h 5973007"/>
              <a:gd name="connsiteX34986" fmla="*/ 835962 w 6884782"/>
              <a:gd name="connsiteY34986" fmla="*/ 2312624 h 5973007"/>
              <a:gd name="connsiteX34987" fmla="*/ 829251 w 6884782"/>
              <a:gd name="connsiteY34987" fmla="*/ 2308287 h 5973007"/>
              <a:gd name="connsiteX34988" fmla="*/ 829767 w 6884782"/>
              <a:gd name="connsiteY34988" fmla="*/ 2305809 h 5973007"/>
              <a:gd name="connsiteX34989" fmla="*/ 5035425 w 6884782"/>
              <a:gd name="connsiteY34989" fmla="*/ 2305324 h 5973007"/>
              <a:gd name="connsiteX34990" fmla="*/ 5036066 w 6884782"/>
              <a:gd name="connsiteY34990" fmla="*/ 2312011 h 5973007"/>
              <a:gd name="connsiteX34991" fmla="*/ 5032864 w 6884782"/>
              <a:gd name="connsiteY34991" fmla="*/ 2315425 h 5973007"/>
              <a:gd name="connsiteX34992" fmla="*/ 5033932 w 6884782"/>
              <a:gd name="connsiteY34992" fmla="*/ 2315853 h 5973007"/>
              <a:gd name="connsiteX34993" fmla="*/ 5043322 w 6884782"/>
              <a:gd name="connsiteY34993" fmla="*/ 2320690 h 5973007"/>
              <a:gd name="connsiteX34994" fmla="*/ 5042042 w 6884782"/>
              <a:gd name="connsiteY34994" fmla="*/ 2322966 h 5973007"/>
              <a:gd name="connsiteX34995" fmla="*/ 5038840 w 6884782"/>
              <a:gd name="connsiteY34995" fmla="*/ 2323392 h 5973007"/>
              <a:gd name="connsiteX34996" fmla="*/ 5028169 w 6884782"/>
              <a:gd name="connsiteY34996" fmla="*/ 2318840 h 5973007"/>
              <a:gd name="connsiteX34997" fmla="*/ 5025821 w 6884782"/>
              <a:gd name="connsiteY34997" fmla="*/ 2317275 h 5973007"/>
              <a:gd name="connsiteX34998" fmla="*/ 5023688 w 6884782"/>
              <a:gd name="connsiteY34998" fmla="*/ 2315710 h 5973007"/>
              <a:gd name="connsiteX34999" fmla="*/ 5022620 w 6884782"/>
              <a:gd name="connsiteY34999" fmla="*/ 2310731 h 5973007"/>
              <a:gd name="connsiteX35000" fmla="*/ 5030517 w 6884782"/>
              <a:gd name="connsiteY35000" fmla="*/ 2314288 h 5973007"/>
              <a:gd name="connsiteX35001" fmla="*/ 5028596 w 6884782"/>
              <a:gd name="connsiteY35001" fmla="*/ 2311726 h 5973007"/>
              <a:gd name="connsiteX35002" fmla="*/ 5028383 w 6884782"/>
              <a:gd name="connsiteY35002" fmla="*/ 2306036 h 5973007"/>
              <a:gd name="connsiteX35003" fmla="*/ 5035425 w 6884782"/>
              <a:gd name="connsiteY35003" fmla="*/ 2305324 h 5973007"/>
              <a:gd name="connsiteX35004" fmla="*/ 724033 w 6884782"/>
              <a:gd name="connsiteY35004" fmla="*/ 2305189 h 5973007"/>
              <a:gd name="connsiteX35005" fmla="*/ 727543 w 6884782"/>
              <a:gd name="connsiteY35005" fmla="*/ 2305499 h 5973007"/>
              <a:gd name="connsiteX35006" fmla="*/ 729299 w 6884782"/>
              <a:gd name="connsiteY35006" fmla="*/ 2307358 h 5973007"/>
              <a:gd name="connsiteX35007" fmla="*/ 728369 w 6884782"/>
              <a:gd name="connsiteY35007" fmla="*/ 2308906 h 5973007"/>
              <a:gd name="connsiteX35008" fmla="*/ 728369 w 6884782"/>
              <a:gd name="connsiteY35008" fmla="*/ 2310610 h 5973007"/>
              <a:gd name="connsiteX35009" fmla="*/ 727440 w 6884782"/>
              <a:gd name="connsiteY35009" fmla="*/ 2310455 h 5973007"/>
              <a:gd name="connsiteX35010" fmla="*/ 726511 w 6884782"/>
              <a:gd name="connsiteY35010" fmla="*/ 2311230 h 5973007"/>
              <a:gd name="connsiteX35011" fmla="*/ 723103 w 6884782"/>
              <a:gd name="connsiteY35011" fmla="*/ 2309216 h 5973007"/>
              <a:gd name="connsiteX35012" fmla="*/ 722071 w 6884782"/>
              <a:gd name="connsiteY35012" fmla="*/ 2307358 h 5973007"/>
              <a:gd name="connsiteX35013" fmla="*/ 722278 w 6884782"/>
              <a:gd name="connsiteY35013" fmla="*/ 2305809 h 5973007"/>
              <a:gd name="connsiteX35014" fmla="*/ 724033 w 6884782"/>
              <a:gd name="connsiteY35014" fmla="*/ 2305189 h 5973007"/>
              <a:gd name="connsiteX35015" fmla="*/ 5690624 w 6884782"/>
              <a:gd name="connsiteY35015" fmla="*/ 2304755 h 5973007"/>
              <a:gd name="connsiteX35016" fmla="*/ 5699801 w 6884782"/>
              <a:gd name="connsiteY35016" fmla="*/ 2314572 h 5973007"/>
              <a:gd name="connsiteX35017" fmla="*/ 5700655 w 6884782"/>
              <a:gd name="connsiteY35017" fmla="*/ 2314572 h 5973007"/>
              <a:gd name="connsiteX35018" fmla="*/ 5710686 w 6884782"/>
              <a:gd name="connsiteY35018" fmla="*/ 2341887 h 5973007"/>
              <a:gd name="connsiteX35019" fmla="*/ 5702362 w 6884782"/>
              <a:gd name="connsiteY35019" fmla="*/ 2346156 h 5973007"/>
              <a:gd name="connsiteX35020" fmla="*/ 5699374 w 6884782"/>
              <a:gd name="connsiteY35020" fmla="*/ 2346441 h 5973007"/>
              <a:gd name="connsiteX35021" fmla="*/ 5696173 w 6884782"/>
              <a:gd name="connsiteY35021" fmla="*/ 2354407 h 5973007"/>
              <a:gd name="connsiteX35022" fmla="*/ 5693826 w 6884782"/>
              <a:gd name="connsiteY35022" fmla="*/ 2346867 h 5973007"/>
              <a:gd name="connsiteX35023" fmla="*/ 5693185 w 6884782"/>
              <a:gd name="connsiteY35023" fmla="*/ 2347009 h 5973007"/>
              <a:gd name="connsiteX35024" fmla="*/ 5688276 w 6884782"/>
              <a:gd name="connsiteY35024" fmla="*/ 2332640 h 5973007"/>
              <a:gd name="connsiteX35025" fmla="*/ 5688490 w 6884782"/>
              <a:gd name="connsiteY35025" fmla="*/ 2328088 h 5973007"/>
              <a:gd name="connsiteX35026" fmla="*/ 5687850 w 6884782"/>
              <a:gd name="connsiteY35026" fmla="*/ 2318555 h 5973007"/>
              <a:gd name="connsiteX35027" fmla="*/ 5690624 w 6884782"/>
              <a:gd name="connsiteY35027" fmla="*/ 2304755 h 5973007"/>
              <a:gd name="connsiteX35028" fmla="*/ 646384 w 6884782"/>
              <a:gd name="connsiteY35028" fmla="*/ 2304414 h 5973007"/>
              <a:gd name="connsiteX35029" fmla="*/ 652580 w 6884782"/>
              <a:gd name="connsiteY35029" fmla="*/ 2307512 h 5973007"/>
              <a:gd name="connsiteX35030" fmla="*/ 646384 w 6884782"/>
              <a:gd name="connsiteY35030" fmla="*/ 2309990 h 5973007"/>
              <a:gd name="connsiteX35031" fmla="*/ 645764 w 6884782"/>
              <a:gd name="connsiteY35031" fmla="*/ 2307358 h 5973007"/>
              <a:gd name="connsiteX35032" fmla="*/ 646384 w 6884782"/>
              <a:gd name="connsiteY35032" fmla="*/ 2304414 h 5973007"/>
              <a:gd name="connsiteX35033" fmla="*/ 5538670 w 6884782"/>
              <a:gd name="connsiteY35033" fmla="*/ 2304187 h 5973007"/>
              <a:gd name="connsiteX35034" fmla="*/ 5543578 w 6884782"/>
              <a:gd name="connsiteY35034" fmla="*/ 2309024 h 5973007"/>
              <a:gd name="connsiteX35035" fmla="*/ 5541230 w 6884782"/>
              <a:gd name="connsiteY35035" fmla="*/ 2311726 h 5973007"/>
              <a:gd name="connsiteX35036" fmla="*/ 5536108 w 6884782"/>
              <a:gd name="connsiteY35036" fmla="*/ 2305609 h 5973007"/>
              <a:gd name="connsiteX35037" fmla="*/ 5538670 w 6884782"/>
              <a:gd name="connsiteY35037" fmla="*/ 2304187 h 5973007"/>
              <a:gd name="connsiteX35038" fmla="*/ 6183197 w 6884782"/>
              <a:gd name="connsiteY35038" fmla="*/ 2302195 h 5973007"/>
              <a:gd name="connsiteX35039" fmla="*/ 6179569 w 6884782"/>
              <a:gd name="connsiteY35039" fmla="*/ 2304187 h 5973007"/>
              <a:gd name="connsiteX35040" fmla="*/ 6177008 w 6884782"/>
              <a:gd name="connsiteY35040" fmla="*/ 2307174 h 5973007"/>
              <a:gd name="connsiteX35041" fmla="*/ 6182984 w 6884782"/>
              <a:gd name="connsiteY35041" fmla="*/ 2304898 h 5973007"/>
              <a:gd name="connsiteX35042" fmla="*/ 6190027 w 6884782"/>
              <a:gd name="connsiteY35042" fmla="*/ 2302906 h 5973007"/>
              <a:gd name="connsiteX35043" fmla="*/ 6187679 w 6884782"/>
              <a:gd name="connsiteY35043" fmla="*/ 2302195 h 5973007"/>
              <a:gd name="connsiteX35044" fmla="*/ 6183197 w 6884782"/>
              <a:gd name="connsiteY35044" fmla="*/ 2302195 h 5973007"/>
              <a:gd name="connsiteX35045" fmla="*/ 901840 w 6884782"/>
              <a:gd name="connsiteY35045" fmla="*/ 2302091 h 5973007"/>
              <a:gd name="connsiteX35046" fmla="*/ 903595 w 6884782"/>
              <a:gd name="connsiteY35046" fmla="*/ 2305499 h 5973007"/>
              <a:gd name="connsiteX35047" fmla="*/ 890998 w 6884782"/>
              <a:gd name="connsiteY35047" fmla="*/ 2307047 h 5973007"/>
              <a:gd name="connsiteX35048" fmla="*/ 901840 w 6884782"/>
              <a:gd name="connsiteY35048" fmla="*/ 2302091 h 5973007"/>
              <a:gd name="connsiteX35049" fmla="*/ 5466961 w 6884782"/>
              <a:gd name="connsiteY35049" fmla="*/ 2301057 h 5973007"/>
              <a:gd name="connsiteX35050" fmla="*/ 5484460 w 6884782"/>
              <a:gd name="connsiteY35050" fmla="*/ 2329226 h 5973007"/>
              <a:gd name="connsiteX35051" fmla="*/ 5466961 w 6884782"/>
              <a:gd name="connsiteY35051" fmla="*/ 2301057 h 5973007"/>
              <a:gd name="connsiteX35052" fmla="*/ 1024612 w 6884782"/>
              <a:gd name="connsiteY35052" fmla="*/ 2300852 h 5973007"/>
              <a:gd name="connsiteX35053" fmla="*/ 1027710 w 6884782"/>
              <a:gd name="connsiteY35053" fmla="*/ 2304259 h 5973007"/>
              <a:gd name="connsiteX35054" fmla="*/ 1025851 w 6884782"/>
              <a:gd name="connsiteY35054" fmla="*/ 2309681 h 5973007"/>
              <a:gd name="connsiteX35055" fmla="*/ 1026264 w 6884782"/>
              <a:gd name="connsiteY35055" fmla="*/ 2310146 h 5973007"/>
              <a:gd name="connsiteX35056" fmla="*/ 1019655 w 6884782"/>
              <a:gd name="connsiteY35056" fmla="*/ 2315722 h 5973007"/>
              <a:gd name="connsiteX35057" fmla="*/ 1017487 w 6884782"/>
              <a:gd name="connsiteY35057" fmla="*/ 2315257 h 5973007"/>
              <a:gd name="connsiteX35058" fmla="*/ 1017281 w 6884782"/>
              <a:gd name="connsiteY35058" fmla="*/ 2315412 h 5973007"/>
              <a:gd name="connsiteX35059" fmla="*/ 1014080 w 6884782"/>
              <a:gd name="connsiteY35059" fmla="*/ 2311694 h 5973007"/>
              <a:gd name="connsiteX35060" fmla="*/ 1014596 w 6884782"/>
              <a:gd name="connsiteY35060" fmla="*/ 2308132 h 5973007"/>
              <a:gd name="connsiteX35061" fmla="*/ 1016248 w 6884782"/>
              <a:gd name="connsiteY35061" fmla="*/ 2305034 h 5973007"/>
              <a:gd name="connsiteX35062" fmla="*/ 1019552 w 6884782"/>
              <a:gd name="connsiteY35062" fmla="*/ 2303485 h 5973007"/>
              <a:gd name="connsiteX35063" fmla="*/ 1024612 w 6884782"/>
              <a:gd name="connsiteY35063" fmla="*/ 2300852 h 5973007"/>
              <a:gd name="connsiteX35064" fmla="*/ 5254394 w 6884782"/>
              <a:gd name="connsiteY35064" fmla="*/ 2299492 h 5973007"/>
              <a:gd name="connsiteX35065" fmla="*/ 5255888 w 6884782"/>
              <a:gd name="connsiteY35065" fmla="*/ 2301057 h 5973007"/>
              <a:gd name="connsiteX35066" fmla="*/ 5257169 w 6884782"/>
              <a:gd name="connsiteY35066" fmla="*/ 2306605 h 5973007"/>
              <a:gd name="connsiteX35067" fmla="*/ 5249699 w 6884782"/>
              <a:gd name="connsiteY35067" fmla="*/ 2308881 h 5973007"/>
              <a:gd name="connsiteX35068" fmla="*/ 5251406 w 6884782"/>
              <a:gd name="connsiteY35068" fmla="*/ 2299634 h 5973007"/>
              <a:gd name="connsiteX35069" fmla="*/ 5254394 w 6884782"/>
              <a:gd name="connsiteY35069" fmla="*/ 2299492 h 5973007"/>
              <a:gd name="connsiteX35070" fmla="*/ 905557 w 6884782"/>
              <a:gd name="connsiteY35070" fmla="*/ 2298838 h 5973007"/>
              <a:gd name="connsiteX35071" fmla="*/ 914850 w 6884782"/>
              <a:gd name="connsiteY35071" fmla="*/ 2306273 h 5973007"/>
              <a:gd name="connsiteX35072" fmla="*/ 906590 w 6884782"/>
              <a:gd name="connsiteY35072" fmla="*/ 2308597 h 5973007"/>
              <a:gd name="connsiteX35073" fmla="*/ 904628 w 6884782"/>
              <a:gd name="connsiteY35073" fmla="*/ 2304259 h 5973007"/>
              <a:gd name="connsiteX35074" fmla="*/ 905557 w 6884782"/>
              <a:gd name="connsiteY35074" fmla="*/ 2298838 h 5973007"/>
              <a:gd name="connsiteX35075" fmla="*/ 4906307 w 6884782"/>
              <a:gd name="connsiteY35075" fmla="*/ 2297785 h 5973007"/>
              <a:gd name="connsiteX35076" fmla="*/ 4909508 w 6884782"/>
              <a:gd name="connsiteY35076" fmla="*/ 2300772 h 5973007"/>
              <a:gd name="connsiteX35077" fmla="*/ 4906733 w 6884782"/>
              <a:gd name="connsiteY35077" fmla="*/ 2308739 h 5973007"/>
              <a:gd name="connsiteX35078" fmla="*/ 4903319 w 6884782"/>
              <a:gd name="connsiteY35078" fmla="*/ 2312580 h 5973007"/>
              <a:gd name="connsiteX35079" fmla="*/ 4898624 w 6884782"/>
              <a:gd name="connsiteY35079" fmla="*/ 2314288 h 5973007"/>
              <a:gd name="connsiteX35080" fmla="*/ 4890727 w 6884782"/>
              <a:gd name="connsiteY35080" fmla="*/ 2316990 h 5973007"/>
              <a:gd name="connsiteX35081" fmla="*/ 4888166 w 6884782"/>
              <a:gd name="connsiteY35081" fmla="*/ 2311869 h 5973007"/>
              <a:gd name="connsiteX35082" fmla="*/ 4906307 w 6884782"/>
              <a:gd name="connsiteY35082" fmla="*/ 2297785 h 5973007"/>
              <a:gd name="connsiteX35083" fmla="*/ 5297932 w 6884782"/>
              <a:gd name="connsiteY35083" fmla="*/ 2297500 h 5973007"/>
              <a:gd name="connsiteX35084" fmla="*/ 5305401 w 6884782"/>
              <a:gd name="connsiteY35084" fmla="*/ 2299065 h 5973007"/>
              <a:gd name="connsiteX35085" fmla="*/ 5301773 w 6884782"/>
              <a:gd name="connsiteY35085" fmla="*/ 2306036 h 5973007"/>
              <a:gd name="connsiteX35086" fmla="*/ 5297932 w 6884782"/>
              <a:gd name="connsiteY35086" fmla="*/ 2297500 h 5973007"/>
              <a:gd name="connsiteX35087" fmla="*/ 1155954 w 6884782"/>
              <a:gd name="connsiteY35087" fmla="*/ 2294501 h 5973007"/>
              <a:gd name="connsiteX35088" fmla="*/ 1156986 w 6884782"/>
              <a:gd name="connsiteY35088" fmla="*/ 2297599 h 5973007"/>
              <a:gd name="connsiteX35089" fmla="*/ 1160806 w 6884782"/>
              <a:gd name="connsiteY35089" fmla="*/ 2298219 h 5973007"/>
              <a:gd name="connsiteX35090" fmla="*/ 1147073 w 6884782"/>
              <a:gd name="connsiteY35090" fmla="*/ 2321608 h 5973007"/>
              <a:gd name="connsiteX35091" fmla="*/ 1147487 w 6884782"/>
              <a:gd name="connsiteY35091" fmla="*/ 2310610 h 5973007"/>
              <a:gd name="connsiteX35092" fmla="*/ 1149138 w 6884782"/>
              <a:gd name="connsiteY35092" fmla="*/ 2300542 h 5973007"/>
              <a:gd name="connsiteX35093" fmla="*/ 1151410 w 6884782"/>
              <a:gd name="connsiteY35093" fmla="*/ 2298219 h 5973007"/>
              <a:gd name="connsiteX35094" fmla="*/ 1150894 w 6884782"/>
              <a:gd name="connsiteY35094" fmla="*/ 2297754 h 5973007"/>
              <a:gd name="connsiteX35095" fmla="*/ 1155954 w 6884782"/>
              <a:gd name="connsiteY35095" fmla="*/ 2294501 h 5973007"/>
              <a:gd name="connsiteX35096" fmla="*/ 5281285 w 6884782"/>
              <a:gd name="connsiteY35096" fmla="*/ 2294085 h 5973007"/>
              <a:gd name="connsiteX35097" fmla="*/ 5286407 w 6884782"/>
              <a:gd name="connsiteY35097" fmla="*/ 2294654 h 5973007"/>
              <a:gd name="connsiteX35098" fmla="*/ 5292810 w 6884782"/>
              <a:gd name="connsiteY35098" fmla="*/ 2302764 h 5973007"/>
              <a:gd name="connsiteX35099" fmla="*/ 5281712 w 6884782"/>
              <a:gd name="connsiteY35099" fmla="*/ 2305040 h 5973007"/>
              <a:gd name="connsiteX35100" fmla="*/ 5275096 w 6884782"/>
              <a:gd name="connsiteY35100" fmla="*/ 2295223 h 5973007"/>
              <a:gd name="connsiteX35101" fmla="*/ 5281285 w 6884782"/>
              <a:gd name="connsiteY35101" fmla="*/ 2294085 h 5973007"/>
              <a:gd name="connsiteX35102" fmla="*/ 4741333 w 6884782"/>
              <a:gd name="connsiteY35102" fmla="*/ 2293659 h 5973007"/>
              <a:gd name="connsiteX35103" fmla="*/ 4743894 w 6884782"/>
              <a:gd name="connsiteY35103" fmla="*/ 2297500 h 5973007"/>
              <a:gd name="connsiteX35104" fmla="*/ 4737918 w 6884782"/>
              <a:gd name="connsiteY35104" fmla="*/ 2307886 h 5973007"/>
              <a:gd name="connsiteX35105" fmla="*/ 4730235 w 6884782"/>
              <a:gd name="connsiteY35105" fmla="*/ 2304898 h 5973007"/>
              <a:gd name="connsiteX35106" fmla="*/ 4741333 w 6884782"/>
              <a:gd name="connsiteY35106" fmla="*/ 2293659 h 5973007"/>
              <a:gd name="connsiteX35107" fmla="*/ 1036280 w 6884782"/>
              <a:gd name="connsiteY35107" fmla="*/ 2291868 h 5973007"/>
              <a:gd name="connsiteX35108" fmla="*/ 1036693 w 6884782"/>
              <a:gd name="connsiteY35108" fmla="*/ 2292487 h 5973007"/>
              <a:gd name="connsiteX35109" fmla="*/ 1034937 w 6884782"/>
              <a:gd name="connsiteY35109" fmla="*/ 2292642 h 5973007"/>
              <a:gd name="connsiteX35110" fmla="*/ 1035144 w 6884782"/>
              <a:gd name="connsiteY35110" fmla="*/ 2292178 h 5973007"/>
              <a:gd name="connsiteX35111" fmla="*/ 1036280 w 6884782"/>
              <a:gd name="connsiteY35111" fmla="*/ 2291868 h 5973007"/>
              <a:gd name="connsiteX35112" fmla="*/ 1044333 w 6884782"/>
              <a:gd name="connsiteY35112" fmla="*/ 2290319 h 5973007"/>
              <a:gd name="connsiteX35113" fmla="*/ 1045779 w 6884782"/>
              <a:gd name="connsiteY35113" fmla="*/ 2295121 h 5973007"/>
              <a:gd name="connsiteX35114" fmla="*/ 1042268 w 6884782"/>
              <a:gd name="connsiteY35114" fmla="*/ 2296980 h 5973007"/>
              <a:gd name="connsiteX35115" fmla="*/ 1040823 w 6884782"/>
              <a:gd name="connsiteY35115" fmla="*/ 2292023 h 5973007"/>
              <a:gd name="connsiteX35116" fmla="*/ 1044333 w 6884782"/>
              <a:gd name="connsiteY35116" fmla="*/ 2290319 h 5973007"/>
              <a:gd name="connsiteX35117" fmla="*/ 809632 w 6884782"/>
              <a:gd name="connsiteY35117" fmla="*/ 2289390 h 5973007"/>
              <a:gd name="connsiteX35118" fmla="*/ 816757 w 6884782"/>
              <a:gd name="connsiteY35118" fmla="*/ 2291248 h 5973007"/>
              <a:gd name="connsiteX35119" fmla="*/ 816344 w 6884782"/>
              <a:gd name="connsiteY35119" fmla="*/ 2291868 h 5973007"/>
              <a:gd name="connsiteX35120" fmla="*/ 816551 w 6884782"/>
              <a:gd name="connsiteY35120" fmla="*/ 2292333 h 5973007"/>
              <a:gd name="connsiteX35121" fmla="*/ 816551 w 6884782"/>
              <a:gd name="connsiteY35121" fmla="*/ 2295121 h 5973007"/>
              <a:gd name="connsiteX35122" fmla="*/ 816757 w 6884782"/>
              <a:gd name="connsiteY35122" fmla="*/ 2299303 h 5973007"/>
              <a:gd name="connsiteX35123" fmla="*/ 815621 w 6884782"/>
              <a:gd name="connsiteY35123" fmla="*/ 2308597 h 5973007"/>
              <a:gd name="connsiteX35124" fmla="*/ 815311 w 6884782"/>
              <a:gd name="connsiteY35124" fmla="*/ 2309371 h 5973007"/>
              <a:gd name="connsiteX35125" fmla="*/ 816551 w 6884782"/>
              <a:gd name="connsiteY35125" fmla="*/ 2309990 h 5973007"/>
              <a:gd name="connsiteX35126" fmla="*/ 818409 w 6884782"/>
              <a:gd name="connsiteY35126" fmla="*/ 2310920 h 5973007"/>
              <a:gd name="connsiteX35127" fmla="*/ 828734 w 6884782"/>
              <a:gd name="connsiteY35127" fmla="*/ 2319439 h 5973007"/>
              <a:gd name="connsiteX35128" fmla="*/ 822952 w 6884782"/>
              <a:gd name="connsiteY35128" fmla="*/ 2317891 h 5973007"/>
              <a:gd name="connsiteX35129" fmla="*/ 810975 w 6884782"/>
              <a:gd name="connsiteY35129" fmla="*/ 2312314 h 5973007"/>
              <a:gd name="connsiteX35130" fmla="*/ 810355 w 6884782"/>
              <a:gd name="connsiteY35130" fmla="*/ 2309990 h 5973007"/>
              <a:gd name="connsiteX35131" fmla="*/ 809632 w 6884782"/>
              <a:gd name="connsiteY35131" fmla="*/ 2309681 h 5973007"/>
              <a:gd name="connsiteX35132" fmla="*/ 809323 w 6884782"/>
              <a:gd name="connsiteY35132" fmla="*/ 2308597 h 5973007"/>
              <a:gd name="connsiteX35133" fmla="*/ 809736 w 6884782"/>
              <a:gd name="connsiteY35133" fmla="*/ 2307823 h 5973007"/>
              <a:gd name="connsiteX35134" fmla="*/ 812214 w 6884782"/>
              <a:gd name="connsiteY35134" fmla="*/ 2307823 h 5973007"/>
              <a:gd name="connsiteX35135" fmla="*/ 812833 w 6884782"/>
              <a:gd name="connsiteY35135" fmla="*/ 2308132 h 5973007"/>
              <a:gd name="connsiteX35136" fmla="*/ 812730 w 6884782"/>
              <a:gd name="connsiteY35136" fmla="*/ 2307358 h 5973007"/>
              <a:gd name="connsiteX35137" fmla="*/ 812730 w 6884782"/>
              <a:gd name="connsiteY35137" fmla="*/ 2300077 h 5973007"/>
              <a:gd name="connsiteX35138" fmla="*/ 812007 w 6884782"/>
              <a:gd name="connsiteY35138" fmla="*/ 2294501 h 5973007"/>
              <a:gd name="connsiteX35139" fmla="*/ 810458 w 6884782"/>
              <a:gd name="connsiteY35139" fmla="*/ 2293726 h 5973007"/>
              <a:gd name="connsiteX35140" fmla="*/ 808806 w 6884782"/>
              <a:gd name="connsiteY35140" fmla="*/ 2291868 h 5973007"/>
              <a:gd name="connsiteX35141" fmla="*/ 808600 w 6884782"/>
              <a:gd name="connsiteY35141" fmla="*/ 2290474 h 5973007"/>
              <a:gd name="connsiteX35142" fmla="*/ 809632 w 6884782"/>
              <a:gd name="connsiteY35142" fmla="*/ 2289390 h 5973007"/>
              <a:gd name="connsiteX35143" fmla="*/ 839886 w 6884782"/>
              <a:gd name="connsiteY35143" fmla="*/ 2289079 h 5973007"/>
              <a:gd name="connsiteX35144" fmla="*/ 852896 w 6884782"/>
              <a:gd name="connsiteY35144" fmla="*/ 2296050 h 5973007"/>
              <a:gd name="connsiteX35145" fmla="*/ 848869 w 6884782"/>
              <a:gd name="connsiteY35145" fmla="*/ 2303020 h 5973007"/>
              <a:gd name="connsiteX35146" fmla="*/ 837408 w 6884782"/>
              <a:gd name="connsiteY35146" fmla="*/ 2293726 h 5973007"/>
              <a:gd name="connsiteX35147" fmla="*/ 839886 w 6884782"/>
              <a:gd name="connsiteY35147" fmla="*/ 2289079 h 5973007"/>
              <a:gd name="connsiteX35148" fmla="*/ 5055701 w 6884782"/>
              <a:gd name="connsiteY35148" fmla="*/ 2288821 h 5973007"/>
              <a:gd name="connsiteX35149" fmla="*/ 5057834 w 6884782"/>
              <a:gd name="connsiteY35149" fmla="*/ 2290386 h 5973007"/>
              <a:gd name="connsiteX35150" fmla="*/ 5060182 w 6884782"/>
              <a:gd name="connsiteY35150" fmla="*/ 2290671 h 5973007"/>
              <a:gd name="connsiteX35151" fmla="*/ 5060182 w 6884782"/>
              <a:gd name="connsiteY35151" fmla="*/ 2291809 h 5973007"/>
              <a:gd name="connsiteX35152" fmla="*/ 5061249 w 6884782"/>
              <a:gd name="connsiteY35152" fmla="*/ 2293089 h 5973007"/>
              <a:gd name="connsiteX35153" fmla="*/ 5058902 w 6884782"/>
              <a:gd name="connsiteY35153" fmla="*/ 2297642 h 5973007"/>
              <a:gd name="connsiteX35154" fmla="*/ 5056554 w 6884782"/>
              <a:gd name="connsiteY35154" fmla="*/ 2298922 h 5973007"/>
              <a:gd name="connsiteX35155" fmla="*/ 5055914 w 6884782"/>
              <a:gd name="connsiteY35155" fmla="*/ 2298638 h 5973007"/>
              <a:gd name="connsiteX35156" fmla="*/ 5055701 w 6884782"/>
              <a:gd name="connsiteY35156" fmla="*/ 2298922 h 5973007"/>
              <a:gd name="connsiteX35157" fmla="*/ 5052926 w 6884782"/>
              <a:gd name="connsiteY35157" fmla="*/ 2299492 h 5973007"/>
              <a:gd name="connsiteX35158" fmla="*/ 5052499 w 6884782"/>
              <a:gd name="connsiteY35158" fmla="*/ 2293516 h 5973007"/>
              <a:gd name="connsiteX35159" fmla="*/ 5053353 w 6884782"/>
              <a:gd name="connsiteY35159" fmla="*/ 2292236 h 5973007"/>
              <a:gd name="connsiteX35160" fmla="*/ 5053353 w 6884782"/>
              <a:gd name="connsiteY35160" fmla="*/ 2290956 h 5973007"/>
              <a:gd name="connsiteX35161" fmla="*/ 5055701 w 6884782"/>
              <a:gd name="connsiteY35161" fmla="*/ 2288821 h 5973007"/>
              <a:gd name="connsiteX35162" fmla="*/ 5421715 w 6884782"/>
              <a:gd name="connsiteY35162" fmla="*/ 2287256 h 5973007"/>
              <a:gd name="connsiteX35163" fmla="*/ 5417020 w 6884782"/>
              <a:gd name="connsiteY35163" fmla="*/ 2309877 h 5973007"/>
              <a:gd name="connsiteX35164" fmla="*/ 5416807 w 6884782"/>
              <a:gd name="connsiteY35164" fmla="*/ 2310446 h 5973007"/>
              <a:gd name="connsiteX35165" fmla="*/ 5420008 w 6884782"/>
              <a:gd name="connsiteY35165" fmla="*/ 2315710 h 5973007"/>
              <a:gd name="connsiteX35166" fmla="*/ 5420435 w 6884782"/>
              <a:gd name="connsiteY35166" fmla="*/ 2321259 h 5973007"/>
              <a:gd name="connsiteX35167" fmla="*/ 5420222 w 6884782"/>
              <a:gd name="connsiteY35167" fmla="*/ 2321685 h 5973007"/>
              <a:gd name="connsiteX35168" fmla="*/ 5421075 w 6884782"/>
              <a:gd name="connsiteY35168" fmla="*/ 2321401 h 5973007"/>
              <a:gd name="connsiteX35169" fmla="*/ 5423636 w 6884782"/>
              <a:gd name="connsiteY35169" fmla="*/ 2320974 h 5973007"/>
              <a:gd name="connsiteX35170" fmla="*/ 5425984 w 6884782"/>
              <a:gd name="connsiteY35170" fmla="*/ 2323677 h 5973007"/>
              <a:gd name="connsiteX35171" fmla="*/ 5424917 w 6884782"/>
              <a:gd name="connsiteY35171" fmla="*/ 2324246 h 5973007"/>
              <a:gd name="connsiteX35172" fmla="*/ 5420862 w 6884782"/>
              <a:gd name="connsiteY35172" fmla="*/ 2327519 h 5973007"/>
              <a:gd name="connsiteX35173" fmla="*/ 5419154 w 6884782"/>
              <a:gd name="connsiteY35173" fmla="*/ 2323108 h 5973007"/>
              <a:gd name="connsiteX35174" fmla="*/ 5416380 w 6884782"/>
              <a:gd name="connsiteY35174" fmla="*/ 2327092 h 5973007"/>
              <a:gd name="connsiteX35175" fmla="*/ 5411471 w 6884782"/>
              <a:gd name="connsiteY35175" fmla="*/ 2328941 h 5973007"/>
              <a:gd name="connsiteX35176" fmla="*/ 5409764 w 6884782"/>
              <a:gd name="connsiteY35176" fmla="*/ 2332356 h 5973007"/>
              <a:gd name="connsiteX35177" fmla="*/ 5407843 w 6884782"/>
              <a:gd name="connsiteY35177" fmla="*/ 2329653 h 5973007"/>
              <a:gd name="connsiteX35178" fmla="*/ 5400587 w 6884782"/>
              <a:gd name="connsiteY35178" fmla="*/ 2328372 h 5973007"/>
              <a:gd name="connsiteX35179" fmla="*/ 5393544 w 6884782"/>
              <a:gd name="connsiteY35179" fmla="*/ 2322254 h 5973007"/>
              <a:gd name="connsiteX35180" fmla="*/ 5402080 w 6884782"/>
              <a:gd name="connsiteY35180" fmla="*/ 2311016 h 5973007"/>
              <a:gd name="connsiteX35181" fmla="*/ 5402508 w 6884782"/>
              <a:gd name="connsiteY35181" fmla="*/ 2310873 h 5973007"/>
              <a:gd name="connsiteX35182" fmla="*/ 5402935 w 6884782"/>
              <a:gd name="connsiteY35182" fmla="*/ 2309166 h 5973007"/>
              <a:gd name="connsiteX35183" fmla="*/ 5405922 w 6884782"/>
              <a:gd name="connsiteY35183" fmla="*/ 2304755 h 5973007"/>
              <a:gd name="connsiteX35184" fmla="*/ 5408270 w 6884782"/>
              <a:gd name="connsiteY35184" fmla="*/ 2302337 h 5973007"/>
              <a:gd name="connsiteX35185" fmla="*/ 5411684 w 6884782"/>
              <a:gd name="connsiteY35185" fmla="*/ 2293516 h 5973007"/>
              <a:gd name="connsiteX35186" fmla="*/ 5421715 w 6884782"/>
              <a:gd name="connsiteY35186" fmla="*/ 2287256 h 5973007"/>
              <a:gd name="connsiteX35187" fmla="*/ 1073349 w 6884782"/>
              <a:gd name="connsiteY35187" fmla="*/ 2287221 h 5973007"/>
              <a:gd name="connsiteX35188" fmla="*/ 1078099 w 6884782"/>
              <a:gd name="connsiteY35188" fmla="*/ 2293107 h 5973007"/>
              <a:gd name="connsiteX35189" fmla="*/ 1075827 w 6884782"/>
              <a:gd name="connsiteY35189" fmla="*/ 2294501 h 5973007"/>
              <a:gd name="connsiteX35190" fmla="*/ 1075724 w 6884782"/>
              <a:gd name="connsiteY35190" fmla="*/ 2294656 h 5973007"/>
              <a:gd name="connsiteX35191" fmla="*/ 1081196 w 6884782"/>
              <a:gd name="connsiteY35191" fmla="*/ 2304414 h 5973007"/>
              <a:gd name="connsiteX35192" fmla="*/ 1064572 w 6884782"/>
              <a:gd name="connsiteY35192" fmla="*/ 2288460 h 5973007"/>
              <a:gd name="connsiteX35193" fmla="*/ 1069735 w 6884782"/>
              <a:gd name="connsiteY35193" fmla="*/ 2290009 h 5973007"/>
              <a:gd name="connsiteX35194" fmla="*/ 1070354 w 6884782"/>
              <a:gd name="connsiteY35194" fmla="*/ 2288925 h 5973007"/>
              <a:gd name="connsiteX35195" fmla="*/ 1073349 w 6884782"/>
              <a:gd name="connsiteY35195" fmla="*/ 2287221 h 5973007"/>
              <a:gd name="connsiteX35196" fmla="*/ 4996583 w 6884782"/>
              <a:gd name="connsiteY35196" fmla="*/ 2285976 h 5973007"/>
              <a:gd name="connsiteX35197" fmla="*/ 4998504 w 6884782"/>
              <a:gd name="connsiteY35197" fmla="*/ 2288964 h 5973007"/>
              <a:gd name="connsiteX35198" fmla="*/ 4992741 w 6884782"/>
              <a:gd name="connsiteY35198" fmla="*/ 2295650 h 5973007"/>
              <a:gd name="connsiteX35199" fmla="*/ 4989113 w 6884782"/>
              <a:gd name="connsiteY35199" fmla="*/ 2294939 h 5973007"/>
              <a:gd name="connsiteX35200" fmla="*/ 4986552 w 6884782"/>
              <a:gd name="connsiteY35200" fmla="*/ 2289675 h 5973007"/>
              <a:gd name="connsiteX35201" fmla="*/ 4996583 w 6884782"/>
              <a:gd name="connsiteY35201" fmla="*/ 2285976 h 5973007"/>
              <a:gd name="connsiteX35202" fmla="*/ 5016858 w 6884782"/>
              <a:gd name="connsiteY35202" fmla="*/ 2285834 h 5973007"/>
              <a:gd name="connsiteX35203" fmla="*/ 5026462 w 6884782"/>
              <a:gd name="connsiteY35203" fmla="*/ 2286118 h 5973007"/>
              <a:gd name="connsiteX35204" fmla="*/ 5036279 w 6884782"/>
              <a:gd name="connsiteY35204" fmla="*/ 2297500 h 5973007"/>
              <a:gd name="connsiteX35205" fmla="*/ 5034145 w 6884782"/>
              <a:gd name="connsiteY35205" fmla="*/ 2303049 h 5973007"/>
              <a:gd name="connsiteX35206" fmla="*/ 5008962 w 6884782"/>
              <a:gd name="connsiteY35206" fmla="*/ 2289959 h 5973007"/>
              <a:gd name="connsiteX35207" fmla="*/ 5016858 w 6884782"/>
              <a:gd name="connsiteY35207" fmla="*/ 2285834 h 5973007"/>
              <a:gd name="connsiteX35208" fmla="*/ 991570 w 6884782"/>
              <a:gd name="connsiteY35208" fmla="*/ 2285052 h 5973007"/>
              <a:gd name="connsiteX35209" fmla="*/ 992292 w 6884782"/>
              <a:gd name="connsiteY35209" fmla="*/ 2285517 h 5973007"/>
              <a:gd name="connsiteX35210" fmla="*/ 992602 w 6884782"/>
              <a:gd name="connsiteY35210" fmla="*/ 2285517 h 5973007"/>
              <a:gd name="connsiteX35211" fmla="*/ 992705 w 6884782"/>
              <a:gd name="connsiteY35211" fmla="*/ 2285672 h 5973007"/>
              <a:gd name="connsiteX35212" fmla="*/ 1000140 w 6884782"/>
              <a:gd name="connsiteY35212" fmla="*/ 2285517 h 5973007"/>
              <a:gd name="connsiteX35213" fmla="*/ 1009020 w 6884782"/>
              <a:gd name="connsiteY35213" fmla="*/ 2286757 h 5973007"/>
              <a:gd name="connsiteX35214" fmla="*/ 993841 w 6884782"/>
              <a:gd name="connsiteY35214" fmla="*/ 2289854 h 5973007"/>
              <a:gd name="connsiteX35215" fmla="*/ 993119 w 6884782"/>
              <a:gd name="connsiteY35215" fmla="*/ 2288925 h 5973007"/>
              <a:gd name="connsiteX35216" fmla="*/ 991983 w 6884782"/>
              <a:gd name="connsiteY35216" fmla="*/ 2288770 h 5973007"/>
              <a:gd name="connsiteX35217" fmla="*/ 989918 w 6884782"/>
              <a:gd name="connsiteY35217" fmla="*/ 2287686 h 5973007"/>
              <a:gd name="connsiteX35218" fmla="*/ 990744 w 6884782"/>
              <a:gd name="connsiteY35218" fmla="*/ 2286447 h 5973007"/>
              <a:gd name="connsiteX35219" fmla="*/ 990021 w 6884782"/>
              <a:gd name="connsiteY35219" fmla="*/ 2285827 h 5973007"/>
              <a:gd name="connsiteX35220" fmla="*/ 991570 w 6884782"/>
              <a:gd name="connsiteY35220" fmla="*/ 2285052 h 5973007"/>
              <a:gd name="connsiteX35221" fmla="*/ 5481686 w 6884782"/>
              <a:gd name="connsiteY35221" fmla="*/ 2282135 h 5973007"/>
              <a:gd name="connsiteX35222" fmla="*/ 5489796 w 6884782"/>
              <a:gd name="connsiteY35222" fmla="*/ 2284127 h 5973007"/>
              <a:gd name="connsiteX35223" fmla="*/ 5488089 w 6884782"/>
              <a:gd name="connsiteY35223" fmla="*/ 2285123 h 5973007"/>
              <a:gd name="connsiteX35224" fmla="*/ 5486168 w 6884782"/>
              <a:gd name="connsiteY35224" fmla="*/ 2284269 h 5973007"/>
              <a:gd name="connsiteX35225" fmla="*/ 5481686 w 6884782"/>
              <a:gd name="connsiteY35225" fmla="*/ 2282135 h 5973007"/>
              <a:gd name="connsiteX35226" fmla="*/ 1083468 w 6884782"/>
              <a:gd name="connsiteY35226" fmla="*/ 2282109 h 5973007"/>
              <a:gd name="connsiteX35227" fmla="*/ 1085326 w 6884782"/>
              <a:gd name="connsiteY35227" fmla="*/ 2282574 h 5973007"/>
              <a:gd name="connsiteX35228" fmla="*/ 1086772 w 6884782"/>
              <a:gd name="connsiteY35228" fmla="*/ 2283658 h 5973007"/>
              <a:gd name="connsiteX35229" fmla="*/ 1084087 w 6884782"/>
              <a:gd name="connsiteY35229" fmla="*/ 2285672 h 5973007"/>
              <a:gd name="connsiteX35230" fmla="*/ 1083364 w 6884782"/>
              <a:gd name="connsiteY35230" fmla="*/ 2284123 h 5973007"/>
              <a:gd name="connsiteX35231" fmla="*/ 1082538 w 6884782"/>
              <a:gd name="connsiteY35231" fmla="*/ 2284433 h 5973007"/>
              <a:gd name="connsiteX35232" fmla="*/ 1082642 w 6884782"/>
              <a:gd name="connsiteY35232" fmla="*/ 2282574 h 5973007"/>
              <a:gd name="connsiteX35233" fmla="*/ 1083468 w 6884782"/>
              <a:gd name="connsiteY35233" fmla="*/ 2282419 h 5973007"/>
              <a:gd name="connsiteX35234" fmla="*/ 1083468 w 6884782"/>
              <a:gd name="connsiteY35234" fmla="*/ 2282109 h 5973007"/>
              <a:gd name="connsiteX35235" fmla="*/ 941077 w 6884782"/>
              <a:gd name="connsiteY35235" fmla="*/ 2281839 h 5973007"/>
              <a:gd name="connsiteX35236" fmla="*/ 950784 w 6884782"/>
              <a:gd name="connsiteY35236" fmla="*/ 2282109 h 5973007"/>
              <a:gd name="connsiteX35237" fmla="*/ 941490 w 6884782"/>
              <a:gd name="connsiteY35237" fmla="*/ 2287531 h 5973007"/>
              <a:gd name="connsiteX35238" fmla="*/ 931061 w 6884782"/>
              <a:gd name="connsiteY35238" fmla="*/ 2287376 h 5973007"/>
              <a:gd name="connsiteX35239" fmla="*/ 941077 w 6884782"/>
              <a:gd name="connsiteY35239" fmla="*/ 2281839 h 5973007"/>
              <a:gd name="connsiteX35240" fmla="*/ 708648 w 6884782"/>
              <a:gd name="connsiteY35240" fmla="*/ 2281645 h 5973007"/>
              <a:gd name="connsiteX35241" fmla="*/ 710713 w 6884782"/>
              <a:gd name="connsiteY35241" fmla="*/ 2281955 h 5973007"/>
              <a:gd name="connsiteX35242" fmla="*/ 705137 w 6884782"/>
              <a:gd name="connsiteY35242" fmla="*/ 2296669 h 5973007"/>
              <a:gd name="connsiteX35243" fmla="*/ 703382 w 6884782"/>
              <a:gd name="connsiteY35243" fmla="*/ 2295585 h 5973007"/>
              <a:gd name="connsiteX35244" fmla="*/ 702865 w 6884782"/>
              <a:gd name="connsiteY35244" fmla="*/ 2293262 h 5973007"/>
              <a:gd name="connsiteX35245" fmla="*/ 705344 w 6884782"/>
              <a:gd name="connsiteY35245" fmla="*/ 2285672 h 5973007"/>
              <a:gd name="connsiteX35246" fmla="*/ 706273 w 6884782"/>
              <a:gd name="connsiteY35246" fmla="*/ 2284123 h 5973007"/>
              <a:gd name="connsiteX35247" fmla="*/ 707099 w 6884782"/>
              <a:gd name="connsiteY35247" fmla="*/ 2282574 h 5973007"/>
              <a:gd name="connsiteX35248" fmla="*/ 708648 w 6884782"/>
              <a:gd name="connsiteY35248" fmla="*/ 2281645 h 5973007"/>
              <a:gd name="connsiteX35249" fmla="*/ 5135093 w 6884782"/>
              <a:gd name="connsiteY35249" fmla="*/ 2280855 h 5973007"/>
              <a:gd name="connsiteX35250" fmla="*/ 5141922 w 6884782"/>
              <a:gd name="connsiteY35250" fmla="*/ 2281992 h 5973007"/>
              <a:gd name="connsiteX35251" fmla="*/ 5142349 w 6884782"/>
              <a:gd name="connsiteY35251" fmla="*/ 2286118 h 5973007"/>
              <a:gd name="connsiteX35252" fmla="*/ 5142349 w 6884782"/>
              <a:gd name="connsiteY35252" fmla="*/ 2287541 h 5973007"/>
              <a:gd name="connsiteX35253" fmla="*/ 5149605 w 6884782"/>
              <a:gd name="connsiteY35253" fmla="*/ 2286972 h 5973007"/>
              <a:gd name="connsiteX35254" fmla="*/ 5149414 w 6884782"/>
              <a:gd name="connsiteY35254" fmla="*/ 2289389 h 5973007"/>
              <a:gd name="connsiteX35255" fmla="*/ 5149392 w 6884782"/>
              <a:gd name="connsiteY35255" fmla="*/ 2289391 h 5973007"/>
              <a:gd name="connsiteX35256" fmla="*/ 5149392 w 6884782"/>
              <a:gd name="connsiteY35256" fmla="*/ 2289675 h 5973007"/>
              <a:gd name="connsiteX35257" fmla="*/ 5149414 w 6884782"/>
              <a:gd name="connsiteY35257" fmla="*/ 2289389 h 5973007"/>
              <a:gd name="connsiteX35258" fmla="*/ 5162197 w 6884782"/>
              <a:gd name="connsiteY35258" fmla="*/ 2288679 h 5973007"/>
              <a:gd name="connsiteX35259" fmla="*/ 5164971 w 6884782"/>
              <a:gd name="connsiteY35259" fmla="*/ 2289959 h 5973007"/>
              <a:gd name="connsiteX35260" fmla="*/ 5170094 w 6884782"/>
              <a:gd name="connsiteY35260" fmla="*/ 2290386 h 5973007"/>
              <a:gd name="connsiteX35261" fmla="*/ 5168813 w 6884782"/>
              <a:gd name="connsiteY35261" fmla="*/ 2306036 h 5973007"/>
              <a:gd name="connsiteX35262" fmla="*/ 5151099 w 6884782"/>
              <a:gd name="connsiteY35262" fmla="*/ 2317133 h 5973007"/>
              <a:gd name="connsiteX35263" fmla="*/ 5142562 w 6884782"/>
              <a:gd name="connsiteY35263" fmla="*/ 2307174 h 5973007"/>
              <a:gd name="connsiteX35264" fmla="*/ 5142989 w 6884782"/>
              <a:gd name="connsiteY35264" fmla="*/ 2298922 h 5973007"/>
              <a:gd name="connsiteX35265" fmla="*/ 5145337 w 6884782"/>
              <a:gd name="connsiteY35265" fmla="*/ 2295508 h 5973007"/>
              <a:gd name="connsiteX35266" fmla="*/ 5136800 w 6884782"/>
              <a:gd name="connsiteY35266" fmla="*/ 2299350 h 5973007"/>
              <a:gd name="connsiteX35267" fmla="*/ 5116525 w 6884782"/>
              <a:gd name="connsiteY35267" fmla="*/ 2299350 h 5973007"/>
              <a:gd name="connsiteX35268" fmla="*/ 5130398 w 6884782"/>
              <a:gd name="connsiteY35268" fmla="*/ 2291666 h 5973007"/>
              <a:gd name="connsiteX35269" fmla="*/ 5129330 w 6884782"/>
              <a:gd name="connsiteY35269" fmla="*/ 2289675 h 5973007"/>
              <a:gd name="connsiteX35270" fmla="*/ 5135093 w 6884782"/>
              <a:gd name="connsiteY35270" fmla="*/ 2280855 h 5973007"/>
              <a:gd name="connsiteX35271" fmla="*/ 773183 w 6884782"/>
              <a:gd name="connsiteY35271" fmla="*/ 2279631 h 5973007"/>
              <a:gd name="connsiteX35272" fmla="*/ 772976 w 6884782"/>
              <a:gd name="connsiteY35272" fmla="*/ 2286291 h 5973007"/>
              <a:gd name="connsiteX35273" fmla="*/ 767917 w 6884782"/>
              <a:gd name="connsiteY35273" fmla="*/ 2283968 h 5973007"/>
              <a:gd name="connsiteX35274" fmla="*/ 773183 w 6884782"/>
              <a:gd name="connsiteY35274" fmla="*/ 2279631 h 5973007"/>
              <a:gd name="connsiteX35275" fmla="*/ 1049703 w 6884782"/>
              <a:gd name="connsiteY35275" fmla="*/ 2277927 h 5973007"/>
              <a:gd name="connsiteX35276" fmla="*/ 1050219 w 6884782"/>
              <a:gd name="connsiteY35276" fmla="*/ 2285362 h 5973007"/>
              <a:gd name="connsiteX35277" fmla="*/ 1045883 w 6884782"/>
              <a:gd name="connsiteY35277" fmla="*/ 2290009 h 5973007"/>
              <a:gd name="connsiteX35278" fmla="*/ 1043714 w 6884782"/>
              <a:gd name="connsiteY35278" fmla="*/ 2286757 h 5973007"/>
              <a:gd name="connsiteX35279" fmla="*/ 1046089 w 6884782"/>
              <a:gd name="connsiteY35279" fmla="*/ 2282264 h 5973007"/>
              <a:gd name="connsiteX35280" fmla="*/ 1047225 w 6884782"/>
              <a:gd name="connsiteY35280" fmla="*/ 2279166 h 5973007"/>
              <a:gd name="connsiteX35281" fmla="*/ 1049703 w 6884782"/>
              <a:gd name="connsiteY35281" fmla="*/ 2277927 h 5973007"/>
              <a:gd name="connsiteX35282" fmla="*/ 5581994 w 6884782"/>
              <a:gd name="connsiteY35282" fmla="*/ 2277582 h 5973007"/>
              <a:gd name="connsiteX35283" fmla="*/ 5570896 w 6884782"/>
              <a:gd name="connsiteY35283" fmla="*/ 2288537 h 5973007"/>
              <a:gd name="connsiteX35284" fmla="*/ 5555316 w 6884782"/>
              <a:gd name="connsiteY35284" fmla="*/ 2294797 h 5973007"/>
              <a:gd name="connsiteX35285" fmla="*/ 5581994 w 6884782"/>
              <a:gd name="connsiteY35285" fmla="*/ 2277582 h 5973007"/>
              <a:gd name="connsiteX35286" fmla="*/ 1123325 w 6884782"/>
              <a:gd name="connsiteY35286" fmla="*/ 2275449 h 5973007"/>
              <a:gd name="connsiteX35287" fmla="*/ 1143357 w 6884782"/>
              <a:gd name="connsiteY35287" fmla="*/ 2292487 h 5973007"/>
              <a:gd name="connsiteX35288" fmla="*/ 1141911 w 6884782"/>
              <a:gd name="connsiteY35288" fmla="*/ 2294811 h 5973007"/>
              <a:gd name="connsiteX35289" fmla="*/ 1130862 w 6884782"/>
              <a:gd name="connsiteY35289" fmla="*/ 2299303 h 5973007"/>
              <a:gd name="connsiteX35290" fmla="*/ 1124770 w 6884782"/>
              <a:gd name="connsiteY35290" fmla="*/ 2298528 h 5973007"/>
              <a:gd name="connsiteX35291" fmla="*/ 1125080 w 6884782"/>
              <a:gd name="connsiteY35291" fmla="*/ 2302866 h 5973007"/>
              <a:gd name="connsiteX35292" fmla="*/ 1120950 w 6884782"/>
              <a:gd name="connsiteY35292" fmla="*/ 2300697 h 5973007"/>
              <a:gd name="connsiteX35293" fmla="*/ 1121466 w 6884782"/>
              <a:gd name="connsiteY35293" fmla="*/ 2298064 h 5973007"/>
              <a:gd name="connsiteX35294" fmla="*/ 1119195 w 6884782"/>
              <a:gd name="connsiteY35294" fmla="*/ 2297754 h 5973007"/>
              <a:gd name="connsiteX35295" fmla="*/ 1106081 w 6884782"/>
              <a:gd name="connsiteY35295" fmla="*/ 2281645 h 5973007"/>
              <a:gd name="connsiteX35296" fmla="*/ 1123325 w 6884782"/>
              <a:gd name="connsiteY35296" fmla="*/ 2275449 h 5973007"/>
              <a:gd name="connsiteX35297" fmla="*/ 916296 w 6884782"/>
              <a:gd name="connsiteY35297" fmla="*/ 2275139 h 5973007"/>
              <a:gd name="connsiteX35298" fmla="*/ 920736 w 6884782"/>
              <a:gd name="connsiteY35298" fmla="*/ 2275758 h 5973007"/>
              <a:gd name="connsiteX35299" fmla="*/ 921046 w 6884782"/>
              <a:gd name="connsiteY35299" fmla="*/ 2276378 h 5973007"/>
              <a:gd name="connsiteX35300" fmla="*/ 926931 w 6884782"/>
              <a:gd name="connsiteY35300" fmla="*/ 2283658 h 5973007"/>
              <a:gd name="connsiteX35301" fmla="*/ 925899 w 6884782"/>
              <a:gd name="connsiteY35301" fmla="*/ 2288925 h 5973007"/>
              <a:gd name="connsiteX35302" fmla="*/ 923111 w 6884782"/>
              <a:gd name="connsiteY35302" fmla="*/ 2288615 h 5973007"/>
              <a:gd name="connsiteX35303" fmla="*/ 920529 w 6884782"/>
              <a:gd name="connsiteY35303" fmla="*/ 2285052 h 5973007"/>
              <a:gd name="connsiteX35304" fmla="*/ 919806 w 6884782"/>
              <a:gd name="connsiteY35304" fmla="*/ 2286757 h 5973007"/>
              <a:gd name="connsiteX35305" fmla="*/ 916296 w 6884782"/>
              <a:gd name="connsiteY35305" fmla="*/ 2289699 h 5973007"/>
              <a:gd name="connsiteX35306" fmla="*/ 912166 w 6884782"/>
              <a:gd name="connsiteY35306" fmla="*/ 2285982 h 5973007"/>
              <a:gd name="connsiteX35307" fmla="*/ 912269 w 6884782"/>
              <a:gd name="connsiteY35307" fmla="*/ 2283658 h 5973007"/>
              <a:gd name="connsiteX35308" fmla="*/ 916296 w 6884782"/>
              <a:gd name="connsiteY35308" fmla="*/ 2275139 h 5973007"/>
              <a:gd name="connsiteX35309" fmla="*/ 1060132 w 6884782"/>
              <a:gd name="connsiteY35309" fmla="*/ 2274984 h 5973007"/>
              <a:gd name="connsiteX35310" fmla="*/ 1068496 w 6884782"/>
              <a:gd name="connsiteY35310" fmla="*/ 2281955 h 5973007"/>
              <a:gd name="connsiteX35311" fmla="*/ 1056724 w 6884782"/>
              <a:gd name="connsiteY35311" fmla="*/ 2285827 h 5973007"/>
              <a:gd name="connsiteX35312" fmla="*/ 1060132 w 6884782"/>
              <a:gd name="connsiteY35312" fmla="*/ 2274984 h 5973007"/>
              <a:gd name="connsiteX35313" fmla="*/ 1169170 w 6884782"/>
              <a:gd name="connsiteY35313" fmla="*/ 2274055 h 5973007"/>
              <a:gd name="connsiteX35314" fmla="*/ 1172268 w 6884782"/>
              <a:gd name="connsiteY35314" fmla="*/ 2274674 h 5973007"/>
              <a:gd name="connsiteX35315" fmla="*/ 1174540 w 6884782"/>
              <a:gd name="connsiteY35315" fmla="*/ 2277462 h 5973007"/>
              <a:gd name="connsiteX35316" fmla="*/ 1168964 w 6884782"/>
              <a:gd name="connsiteY35316" fmla="*/ 2281490 h 5973007"/>
              <a:gd name="connsiteX35317" fmla="*/ 1167518 w 6884782"/>
              <a:gd name="connsiteY35317" fmla="*/ 2276533 h 5973007"/>
              <a:gd name="connsiteX35318" fmla="*/ 1169170 w 6884782"/>
              <a:gd name="connsiteY35318" fmla="*/ 2274055 h 5973007"/>
              <a:gd name="connsiteX35319" fmla="*/ 1002205 w 6884782"/>
              <a:gd name="connsiteY35319" fmla="*/ 2273280 h 5973007"/>
              <a:gd name="connsiteX35320" fmla="*/ 1002618 w 6884782"/>
              <a:gd name="connsiteY35320" fmla="*/ 2278701 h 5973007"/>
              <a:gd name="connsiteX35321" fmla="*/ 996423 w 6884782"/>
              <a:gd name="connsiteY35321" fmla="*/ 2277927 h 5973007"/>
              <a:gd name="connsiteX35322" fmla="*/ 996010 w 6884782"/>
              <a:gd name="connsiteY35322" fmla="*/ 2275294 h 5973007"/>
              <a:gd name="connsiteX35323" fmla="*/ 997042 w 6884782"/>
              <a:gd name="connsiteY35323" fmla="*/ 2273745 h 5973007"/>
              <a:gd name="connsiteX35324" fmla="*/ 1002205 w 6884782"/>
              <a:gd name="connsiteY35324" fmla="*/ 2273280 h 5973007"/>
              <a:gd name="connsiteX35325" fmla="*/ 5543365 w 6884782"/>
              <a:gd name="connsiteY35325" fmla="*/ 2273172 h 5973007"/>
              <a:gd name="connsiteX35326" fmla="*/ 5548700 w 6884782"/>
              <a:gd name="connsiteY35326" fmla="*/ 2277867 h 5973007"/>
              <a:gd name="connsiteX35327" fmla="*/ 5548060 w 6884782"/>
              <a:gd name="connsiteY35327" fmla="*/ 2300345 h 5973007"/>
              <a:gd name="connsiteX35328" fmla="*/ 5536322 w 6884782"/>
              <a:gd name="connsiteY35328" fmla="*/ 2301057 h 5973007"/>
              <a:gd name="connsiteX35329" fmla="*/ 5543365 w 6884782"/>
              <a:gd name="connsiteY35329" fmla="*/ 2273172 h 5973007"/>
              <a:gd name="connsiteX35330" fmla="*/ 887901 w 6884782"/>
              <a:gd name="connsiteY35330" fmla="*/ 2273125 h 5973007"/>
              <a:gd name="connsiteX35331" fmla="*/ 895748 w 6884782"/>
              <a:gd name="connsiteY35331" fmla="*/ 2282419 h 5973007"/>
              <a:gd name="connsiteX35332" fmla="*/ 893373 w 6884782"/>
              <a:gd name="connsiteY35332" fmla="*/ 2281645 h 5973007"/>
              <a:gd name="connsiteX35333" fmla="*/ 887901 w 6884782"/>
              <a:gd name="connsiteY35333" fmla="*/ 2273125 h 5973007"/>
              <a:gd name="connsiteX35334" fmla="*/ 5018138 w 6884782"/>
              <a:gd name="connsiteY35334" fmla="*/ 2272176 h 5973007"/>
              <a:gd name="connsiteX35335" fmla="*/ 5020273 w 6884782"/>
              <a:gd name="connsiteY35335" fmla="*/ 2272887 h 5973007"/>
              <a:gd name="connsiteX35336" fmla="*/ 5020486 w 6884782"/>
              <a:gd name="connsiteY35336" fmla="*/ 2282277 h 5973007"/>
              <a:gd name="connsiteX35337" fmla="*/ 5016431 w 6884782"/>
              <a:gd name="connsiteY35337" fmla="*/ 2272887 h 5973007"/>
              <a:gd name="connsiteX35338" fmla="*/ 5018138 w 6884782"/>
              <a:gd name="connsiteY35338" fmla="*/ 2272176 h 5973007"/>
              <a:gd name="connsiteX35339" fmla="*/ 1089457 w 6884782"/>
              <a:gd name="connsiteY35339" fmla="*/ 2270182 h 5973007"/>
              <a:gd name="connsiteX35340" fmla="*/ 1084191 w 6884782"/>
              <a:gd name="connsiteY35340" fmla="*/ 2272970 h 5973007"/>
              <a:gd name="connsiteX35341" fmla="*/ 1078925 w 6884782"/>
              <a:gd name="connsiteY35341" fmla="*/ 2274055 h 5973007"/>
              <a:gd name="connsiteX35342" fmla="*/ 1080267 w 6884782"/>
              <a:gd name="connsiteY35342" fmla="*/ 2279012 h 5973007"/>
              <a:gd name="connsiteX35343" fmla="*/ 1077686 w 6884782"/>
              <a:gd name="connsiteY35343" fmla="*/ 2282729 h 5973007"/>
              <a:gd name="connsiteX35344" fmla="*/ 1070148 w 6884782"/>
              <a:gd name="connsiteY35344" fmla="*/ 2283348 h 5973007"/>
              <a:gd name="connsiteX35345" fmla="*/ 1069631 w 6884782"/>
              <a:gd name="connsiteY35345" fmla="*/ 2278547 h 5973007"/>
              <a:gd name="connsiteX35346" fmla="*/ 1070044 w 6884782"/>
              <a:gd name="connsiteY35346" fmla="*/ 2276068 h 5973007"/>
              <a:gd name="connsiteX35347" fmla="*/ 1069012 w 6884782"/>
              <a:gd name="connsiteY35347" fmla="*/ 2275604 h 5973007"/>
              <a:gd name="connsiteX35348" fmla="*/ 1068186 w 6884782"/>
              <a:gd name="connsiteY35348" fmla="*/ 2275758 h 5973007"/>
              <a:gd name="connsiteX35349" fmla="*/ 1066740 w 6884782"/>
              <a:gd name="connsiteY35349" fmla="*/ 2274519 h 5973007"/>
              <a:gd name="connsiteX35350" fmla="*/ 1068392 w 6884782"/>
              <a:gd name="connsiteY35350" fmla="*/ 2272815 h 5973007"/>
              <a:gd name="connsiteX35351" fmla="*/ 1071180 w 6884782"/>
              <a:gd name="connsiteY35351" fmla="*/ 2272196 h 5973007"/>
              <a:gd name="connsiteX35352" fmla="*/ 1075207 w 6884782"/>
              <a:gd name="connsiteY35352" fmla="*/ 2270957 h 5973007"/>
              <a:gd name="connsiteX35353" fmla="*/ 1089457 w 6884782"/>
              <a:gd name="connsiteY35353" fmla="*/ 2270182 h 5973007"/>
              <a:gd name="connsiteX35354" fmla="*/ 1102118 w 6884782"/>
              <a:gd name="connsiteY35354" fmla="*/ 2269253 h 5973007"/>
              <a:gd name="connsiteX35355" fmla="*/ 1111657 w 6884782"/>
              <a:gd name="connsiteY35355" fmla="*/ 2270337 h 5973007"/>
              <a:gd name="connsiteX35356" fmla="*/ 1101951 w 6884782"/>
              <a:gd name="connsiteY35356" fmla="*/ 2274984 h 5973007"/>
              <a:gd name="connsiteX35357" fmla="*/ 1091728 w 6884782"/>
              <a:gd name="connsiteY35357" fmla="*/ 2273745 h 5973007"/>
              <a:gd name="connsiteX35358" fmla="*/ 1102118 w 6884782"/>
              <a:gd name="connsiteY35358" fmla="*/ 2269253 h 5973007"/>
              <a:gd name="connsiteX35359" fmla="*/ 4788926 w 6884782"/>
              <a:gd name="connsiteY35359" fmla="*/ 2269046 h 5973007"/>
              <a:gd name="connsiteX35360" fmla="*/ 4790633 w 6884782"/>
              <a:gd name="connsiteY35360" fmla="*/ 2269615 h 5973007"/>
              <a:gd name="connsiteX35361" fmla="*/ 4791700 w 6884782"/>
              <a:gd name="connsiteY35361" fmla="*/ 2273314 h 5973007"/>
              <a:gd name="connsiteX35362" fmla="*/ 4790420 w 6884782"/>
              <a:gd name="connsiteY35362" fmla="*/ 2276728 h 5973007"/>
              <a:gd name="connsiteX35363" fmla="*/ 4788712 w 6884782"/>
              <a:gd name="connsiteY35363" fmla="*/ 2276871 h 5973007"/>
              <a:gd name="connsiteX35364" fmla="*/ 4785938 w 6884782"/>
              <a:gd name="connsiteY35364" fmla="*/ 2276160 h 5973007"/>
              <a:gd name="connsiteX35365" fmla="*/ 4787219 w 6884782"/>
              <a:gd name="connsiteY35365" fmla="*/ 2270326 h 5973007"/>
              <a:gd name="connsiteX35366" fmla="*/ 4788926 w 6884782"/>
              <a:gd name="connsiteY35366" fmla="*/ 2269046 h 5973007"/>
              <a:gd name="connsiteX35367" fmla="*/ 5517541 w 6884782"/>
              <a:gd name="connsiteY35367" fmla="*/ 2268904 h 5973007"/>
              <a:gd name="connsiteX35368" fmla="*/ 5527144 w 6884782"/>
              <a:gd name="connsiteY35368" fmla="*/ 2275875 h 5973007"/>
              <a:gd name="connsiteX35369" fmla="*/ 5501748 w 6884782"/>
              <a:gd name="connsiteY35369" fmla="*/ 2301199 h 5973007"/>
              <a:gd name="connsiteX35370" fmla="*/ 5517541 w 6884782"/>
              <a:gd name="connsiteY35370" fmla="*/ 2268904 h 5973007"/>
              <a:gd name="connsiteX35371" fmla="*/ 929306 w 6884782"/>
              <a:gd name="connsiteY35371" fmla="*/ 2267859 h 5973007"/>
              <a:gd name="connsiteX35372" fmla="*/ 932817 w 6884782"/>
              <a:gd name="connsiteY35372" fmla="*/ 2279476 h 5973007"/>
              <a:gd name="connsiteX35373" fmla="*/ 929719 w 6884782"/>
              <a:gd name="connsiteY35373" fmla="*/ 2282264 h 5973007"/>
              <a:gd name="connsiteX35374" fmla="*/ 925279 w 6884782"/>
              <a:gd name="connsiteY35374" fmla="*/ 2273125 h 5973007"/>
              <a:gd name="connsiteX35375" fmla="*/ 925589 w 6884782"/>
              <a:gd name="connsiteY35375" fmla="*/ 2269873 h 5973007"/>
              <a:gd name="connsiteX35376" fmla="*/ 929306 w 6884782"/>
              <a:gd name="connsiteY35376" fmla="*/ 2267859 h 5973007"/>
              <a:gd name="connsiteX35377" fmla="*/ 5665014 w 6884782"/>
              <a:gd name="connsiteY35377" fmla="*/ 2267197 h 5973007"/>
              <a:gd name="connsiteX35378" fmla="*/ 5667362 w 6884782"/>
              <a:gd name="connsiteY35378" fmla="*/ 2281139 h 5973007"/>
              <a:gd name="connsiteX35379" fmla="*/ 5668002 w 6884782"/>
              <a:gd name="connsiteY35379" fmla="*/ 2281139 h 5973007"/>
              <a:gd name="connsiteX35380" fmla="*/ 5668642 w 6884782"/>
              <a:gd name="connsiteY35380" fmla="*/ 2280855 h 5973007"/>
              <a:gd name="connsiteX35381" fmla="*/ 5678886 w 6884782"/>
              <a:gd name="connsiteY35381" fmla="*/ 2283700 h 5973007"/>
              <a:gd name="connsiteX35382" fmla="*/ 5682514 w 6884782"/>
              <a:gd name="connsiteY35382" fmla="*/ 2290813 h 5973007"/>
              <a:gd name="connsiteX35383" fmla="*/ 5682514 w 6884782"/>
              <a:gd name="connsiteY35383" fmla="*/ 2294370 h 5973007"/>
              <a:gd name="connsiteX35384" fmla="*/ 5674191 w 6884782"/>
              <a:gd name="connsiteY35384" fmla="*/ 2299350 h 5973007"/>
              <a:gd name="connsiteX35385" fmla="*/ 5668429 w 6884782"/>
              <a:gd name="connsiteY35385" fmla="*/ 2298354 h 5973007"/>
              <a:gd name="connsiteX35386" fmla="*/ 5667575 w 6884782"/>
              <a:gd name="connsiteY35386" fmla="*/ 2305324 h 5973007"/>
              <a:gd name="connsiteX35387" fmla="*/ 5661813 w 6884782"/>
              <a:gd name="connsiteY35387" fmla="*/ 2319836 h 5973007"/>
              <a:gd name="connsiteX35388" fmla="*/ 5647940 w 6884782"/>
              <a:gd name="connsiteY35388" fmla="*/ 2317702 h 5973007"/>
              <a:gd name="connsiteX35389" fmla="*/ 5643245 w 6884782"/>
              <a:gd name="connsiteY35389" fmla="*/ 2308454 h 5973007"/>
              <a:gd name="connsiteX35390" fmla="*/ 5642178 w 6884782"/>
              <a:gd name="connsiteY35390" fmla="*/ 2310019 h 5973007"/>
              <a:gd name="connsiteX35391" fmla="*/ 5638336 w 6884782"/>
              <a:gd name="connsiteY35391" fmla="*/ 2311869 h 5973007"/>
              <a:gd name="connsiteX35392" fmla="*/ 5634708 w 6884782"/>
              <a:gd name="connsiteY35392" fmla="*/ 2308454 h 5973007"/>
              <a:gd name="connsiteX35393" fmla="*/ 5634708 w 6884782"/>
              <a:gd name="connsiteY35393" fmla="*/ 2298069 h 5973007"/>
              <a:gd name="connsiteX35394" fmla="*/ 5638336 w 6884782"/>
              <a:gd name="connsiteY35394" fmla="*/ 2296362 h 5973007"/>
              <a:gd name="connsiteX35395" fmla="*/ 5641537 w 6884782"/>
              <a:gd name="connsiteY35395" fmla="*/ 2299776 h 5973007"/>
              <a:gd name="connsiteX35396" fmla="*/ 5641537 w 6884782"/>
              <a:gd name="connsiteY35396" fmla="*/ 2291951 h 5973007"/>
              <a:gd name="connsiteX35397" fmla="*/ 5665014 w 6884782"/>
              <a:gd name="connsiteY35397" fmla="*/ 2267197 h 5973007"/>
              <a:gd name="connsiteX35398" fmla="*/ 5091342 w 6884782"/>
              <a:gd name="connsiteY35398" fmla="*/ 2267054 h 5973007"/>
              <a:gd name="connsiteX35399" fmla="*/ 5096250 w 6884782"/>
              <a:gd name="connsiteY35399" fmla="*/ 2280427 h 5973007"/>
              <a:gd name="connsiteX35400" fmla="*/ 5095183 w 6884782"/>
              <a:gd name="connsiteY35400" fmla="*/ 2280427 h 5973007"/>
              <a:gd name="connsiteX35401" fmla="*/ 5097530 w 6884782"/>
              <a:gd name="connsiteY35401" fmla="*/ 2281423 h 5973007"/>
              <a:gd name="connsiteX35402" fmla="*/ 5097744 w 6884782"/>
              <a:gd name="connsiteY35402" fmla="*/ 2282135 h 5973007"/>
              <a:gd name="connsiteX35403" fmla="*/ 5104787 w 6884782"/>
              <a:gd name="connsiteY35403" fmla="*/ 2277582 h 5973007"/>
              <a:gd name="connsiteX35404" fmla="*/ 5109696 w 6884782"/>
              <a:gd name="connsiteY35404" fmla="*/ 2282277 h 5973007"/>
              <a:gd name="connsiteX35405" fmla="*/ 5110122 w 6884782"/>
              <a:gd name="connsiteY35405" fmla="*/ 2284411 h 5973007"/>
              <a:gd name="connsiteX35406" fmla="*/ 5110763 w 6884782"/>
              <a:gd name="connsiteY35406" fmla="*/ 2282277 h 5973007"/>
              <a:gd name="connsiteX35407" fmla="*/ 5112684 w 6884782"/>
              <a:gd name="connsiteY35407" fmla="*/ 2291809 h 5973007"/>
              <a:gd name="connsiteX35408" fmla="*/ 5110336 w 6884782"/>
              <a:gd name="connsiteY35408" fmla="*/ 2288964 h 5973007"/>
              <a:gd name="connsiteX35409" fmla="*/ 5105641 w 6884782"/>
              <a:gd name="connsiteY35409" fmla="*/ 2297927 h 5973007"/>
              <a:gd name="connsiteX35410" fmla="*/ 5083658 w 6884782"/>
              <a:gd name="connsiteY35410" fmla="*/ 2293801 h 5973007"/>
              <a:gd name="connsiteX35411" fmla="*/ 5091128 w 6884782"/>
              <a:gd name="connsiteY35411" fmla="*/ 2287399 h 5973007"/>
              <a:gd name="connsiteX35412" fmla="*/ 5088780 w 6884782"/>
              <a:gd name="connsiteY35412" fmla="*/ 2286261 h 5973007"/>
              <a:gd name="connsiteX35413" fmla="*/ 5087500 w 6884782"/>
              <a:gd name="connsiteY35413" fmla="*/ 2281139 h 5973007"/>
              <a:gd name="connsiteX35414" fmla="*/ 5087073 w 6884782"/>
              <a:gd name="connsiteY35414" fmla="*/ 2281282 h 5973007"/>
              <a:gd name="connsiteX35415" fmla="*/ 5081951 w 6884782"/>
              <a:gd name="connsiteY35415" fmla="*/ 2273172 h 5973007"/>
              <a:gd name="connsiteX35416" fmla="*/ 5091342 w 6884782"/>
              <a:gd name="connsiteY35416" fmla="*/ 2267054 h 5973007"/>
              <a:gd name="connsiteX35417" fmla="*/ 4943015 w 6884782"/>
              <a:gd name="connsiteY35417" fmla="*/ 2266769 h 5973007"/>
              <a:gd name="connsiteX35418" fmla="*/ 4919752 w 6884782"/>
              <a:gd name="connsiteY35418" fmla="*/ 2282135 h 5973007"/>
              <a:gd name="connsiteX35419" fmla="*/ 4929356 w 6884782"/>
              <a:gd name="connsiteY35419" fmla="*/ 2270896 h 5973007"/>
              <a:gd name="connsiteX35420" fmla="*/ 4943015 w 6884782"/>
              <a:gd name="connsiteY35420" fmla="*/ 2266769 h 5973007"/>
              <a:gd name="connsiteX35421" fmla="*/ 805708 w 6884782"/>
              <a:gd name="connsiteY35421" fmla="*/ 2266620 h 5973007"/>
              <a:gd name="connsiteX35422" fmla="*/ 807051 w 6884782"/>
              <a:gd name="connsiteY35422" fmla="*/ 2267239 h 5973007"/>
              <a:gd name="connsiteX35423" fmla="*/ 808703 w 6884782"/>
              <a:gd name="connsiteY35423" fmla="*/ 2268634 h 5973007"/>
              <a:gd name="connsiteX35424" fmla="*/ 805708 w 6884782"/>
              <a:gd name="connsiteY35424" fmla="*/ 2271422 h 5973007"/>
              <a:gd name="connsiteX35425" fmla="*/ 803024 w 6884782"/>
              <a:gd name="connsiteY35425" fmla="*/ 2270647 h 5973007"/>
              <a:gd name="connsiteX35426" fmla="*/ 802611 w 6884782"/>
              <a:gd name="connsiteY35426" fmla="*/ 2269408 h 5973007"/>
              <a:gd name="connsiteX35427" fmla="*/ 803643 w 6884782"/>
              <a:gd name="connsiteY35427" fmla="*/ 2268169 h 5973007"/>
              <a:gd name="connsiteX35428" fmla="*/ 805708 w 6884782"/>
              <a:gd name="connsiteY35428" fmla="*/ 2266620 h 5973007"/>
              <a:gd name="connsiteX35429" fmla="*/ 787949 w 6884782"/>
              <a:gd name="connsiteY35429" fmla="*/ 2266465 h 5973007"/>
              <a:gd name="connsiteX35430" fmla="*/ 795693 w 6884782"/>
              <a:gd name="connsiteY35430" fmla="*/ 2272196 h 5973007"/>
              <a:gd name="connsiteX35431" fmla="*/ 785573 w 6884782"/>
              <a:gd name="connsiteY35431" fmla="*/ 2270492 h 5973007"/>
              <a:gd name="connsiteX35432" fmla="*/ 787949 w 6884782"/>
              <a:gd name="connsiteY35432" fmla="*/ 2266465 h 5973007"/>
              <a:gd name="connsiteX35433" fmla="*/ 977320 w 6884782"/>
              <a:gd name="connsiteY35433" fmla="*/ 2265690 h 5973007"/>
              <a:gd name="connsiteX35434" fmla="*/ 977940 w 6884782"/>
              <a:gd name="connsiteY35434" fmla="*/ 2270647 h 5973007"/>
              <a:gd name="connsiteX35435" fmla="*/ 977734 w 6884782"/>
              <a:gd name="connsiteY35435" fmla="*/ 2274674 h 5973007"/>
              <a:gd name="connsiteX35436" fmla="*/ 973603 w 6884782"/>
              <a:gd name="connsiteY35436" fmla="*/ 2288150 h 5973007"/>
              <a:gd name="connsiteX35437" fmla="*/ 972880 w 6884782"/>
              <a:gd name="connsiteY35437" fmla="*/ 2282419 h 5973007"/>
              <a:gd name="connsiteX35438" fmla="*/ 973603 w 6884782"/>
              <a:gd name="connsiteY35438" fmla="*/ 2269099 h 5973007"/>
              <a:gd name="connsiteX35439" fmla="*/ 975462 w 6884782"/>
              <a:gd name="connsiteY35439" fmla="*/ 2267395 h 5973007"/>
              <a:gd name="connsiteX35440" fmla="*/ 975462 w 6884782"/>
              <a:gd name="connsiteY35440" fmla="*/ 2266465 h 5973007"/>
              <a:gd name="connsiteX35441" fmla="*/ 977320 w 6884782"/>
              <a:gd name="connsiteY35441" fmla="*/ 2265690 h 5973007"/>
              <a:gd name="connsiteX35442" fmla="*/ 1043301 w 6884782"/>
              <a:gd name="connsiteY35442" fmla="*/ 2264916 h 5973007"/>
              <a:gd name="connsiteX35443" fmla="*/ 1051974 w 6884782"/>
              <a:gd name="connsiteY35443" fmla="*/ 2275604 h 5973007"/>
              <a:gd name="connsiteX35444" fmla="*/ 1044024 w 6884782"/>
              <a:gd name="connsiteY35444" fmla="*/ 2276688 h 5973007"/>
              <a:gd name="connsiteX35445" fmla="*/ 1041133 w 6884782"/>
              <a:gd name="connsiteY35445" fmla="*/ 2270337 h 5973007"/>
              <a:gd name="connsiteX35446" fmla="*/ 1043301 w 6884782"/>
              <a:gd name="connsiteY35446" fmla="*/ 2264916 h 5973007"/>
              <a:gd name="connsiteX35447" fmla="*/ 5250126 w 6884782"/>
              <a:gd name="connsiteY35447" fmla="*/ 2263640 h 5973007"/>
              <a:gd name="connsiteX35448" fmla="*/ 5251193 w 6884782"/>
              <a:gd name="connsiteY35448" fmla="*/ 2264351 h 5973007"/>
              <a:gd name="connsiteX35449" fmla="*/ 5255248 w 6884782"/>
              <a:gd name="connsiteY35449" fmla="*/ 2266769 h 5973007"/>
              <a:gd name="connsiteX35450" fmla="*/ 5254821 w 6884782"/>
              <a:gd name="connsiteY35450" fmla="*/ 2273029 h 5973007"/>
              <a:gd name="connsiteX35451" fmla="*/ 5247778 w 6884782"/>
              <a:gd name="connsiteY35451" fmla="*/ 2271607 h 5973007"/>
              <a:gd name="connsiteX35452" fmla="*/ 5247565 w 6884782"/>
              <a:gd name="connsiteY35452" fmla="*/ 2265062 h 5973007"/>
              <a:gd name="connsiteX35453" fmla="*/ 5250126 w 6884782"/>
              <a:gd name="connsiteY35453" fmla="*/ 2263640 h 5973007"/>
              <a:gd name="connsiteX35454" fmla="*/ 6304420 w 6884782"/>
              <a:gd name="connsiteY35454" fmla="*/ 2261932 h 5973007"/>
              <a:gd name="connsiteX35455" fmla="*/ 6312316 w 6884782"/>
              <a:gd name="connsiteY35455" fmla="*/ 2271891 h 5973007"/>
              <a:gd name="connsiteX35456" fmla="*/ 6314877 w 6884782"/>
              <a:gd name="connsiteY35456" fmla="*/ 2271607 h 5973007"/>
              <a:gd name="connsiteX35457" fmla="*/ 6318932 w 6884782"/>
              <a:gd name="connsiteY35457" fmla="*/ 2274452 h 5973007"/>
              <a:gd name="connsiteX35458" fmla="*/ 6317438 w 6884782"/>
              <a:gd name="connsiteY35458" fmla="*/ 2276871 h 5973007"/>
              <a:gd name="connsiteX35459" fmla="*/ 6312316 w 6884782"/>
              <a:gd name="connsiteY35459" fmla="*/ 2274594 h 5973007"/>
              <a:gd name="connsiteX35460" fmla="*/ 6311249 w 6884782"/>
              <a:gd name="connsiteY35460" fmla="*/ 2275306 h 5973007"/>
              <a:gd name="connsiteX35461" fmla="*/ 6310182 w 6884782"/>
              <a:gd name="connsiteY35461" fmla="*/ 2278578 h 5973007"/>
              <a:gd name="connsiteX35462" fmla="*/ 6300151 w 6884782"/>
              <a:gd name="connsiteY35462" fmla="*/ 2284980 h 5973007"/>
              <a:gd name="connsiteX35463" fmla="*/ 6291188 w 6884782"/>
              <a:gd name="connsiteY35463" fmla="*/ 2275590 h 5973007"/>
              <a:gd name="connsiteX35464" fmla="*/ 6291614 w 6884782"/>
              <a:gd name="connsiteY35464" fmla="*/ 2268477 h 5973007"/>
              <a:gd name="connsiteX35465" fmla="*/ 6304420 w 6884782"/>
              <a:gd name="connsiteY35465" fmla="*/ 2261932 h 5973007"/>
              <a:gd name="connsiteX35466" fmla="*/ 5544645 w 6884782"/>
              <a:gd name="connsiteY35466" fmla="*/ 2261648 h 5973007"/>
              <a:gd name="connsiteX35467" fmla="*/ 5544858 w 6884782"/>
              <a:gd name="connsiteY35467" fmla="*/ 2271607 h 5973007"/>
              <a:gd name="connsiteX35468" fmla="*/ 5534187 w 6884782"/>
              <a:gd name="connsiteY35468" fmla="*/ 2274026 h 5973007"/>
              <a:gd name="connsiteX35469" fmla="*/ 5544645 w 6884782"/>
              <a:gd name="connsiteY35469" fmla="*/ 2261648 h 5973007"/>
              <a:gd name="connsiteX35470" fmla="*/ 5625958 w 6884782"/>
              <a:gd name="connsiteY35470" fmla="*/ 2261506 h 5973007"/>
              <a:gd name="connsiteX35471" fmla="*/ 5634708 w 6884782"/>
              <a:gd name="connsiteY35471" fmla="*/ 2277155 h 5973007"/>
              <a:gd name="connsiteX35472" fmla="*/ 5632147 w 6884782"/>
              <a:gd name="connsiteY35472" fmla="*/ 2293089 h 5973007"/>
              <a:gd name="connsiteX35473" fmla="*/ 5625958 w 6884782"/>
              <a:gd name="connsiteY35473" fmla="*/ 2261506 h 5973007"/>
              <a:gd name="connsiteX35474" fmla="*/ 5379245 w 6884782"/>
              <a:gd name="connsiteY35474" fmla="*/ 2260225 h 5973007"/>
              <a:gd name="connsiteX35475" fmla="*/ 5390769 w 6884782"/>
              <a:gd name="connsiteY35475" fmla="*/ 2264636 h 5973007"/>
              <a:gd name="connsiteX35476" fmla="*/ 5394611 w 6884782"/>
              <a:gd name="connsiteY35476" fmla="*/ 2296077 h 5973007"/>
              <a:gd name="connsiteX35477" fmla="*/ 5390769 w 6884782"/>
              <a:gd name="connsiteY35477" fmla="*/ 2299492 h 5973007"/>
              <a:gd name="connsiteX35478" fmla="*/ 5387141 w 6884782"/>
              <a:gd name="connsiteY35478" fmla="*/ 2306463 h 5973007"/>
              <a:gd name="connsiteX35479" fmla="*/ 5364946 w 6884782"/>
              <a:gd name="connsiteY35479" fmla="*/ 2297785 h 5973007"/>
              <a:gd name="connsiteX35480" fmla="*/ 5359397 w 6884782"/>
              <a:gd name="connsiteY35480" fmla="*/ 2268192 h 5973007"/>
              <a:gd name="connsiteX35481" fmla="*/ 5379245 w 6884782"/>
              <a:gd name="connsiteY35481" fmla="*/ 2260225 h 5973007"/>
              <a:gd name="connsiteX35482" fmla="*/ 868592 w 6884782"/>
              <a:gd name="connsiteY35482" fmla="*/ 2259494 h 5973007"/>
              <a:gd name="connsiteX35483" fmla="*/ 874064 w 6884782"/>
              <a:gd name="connsiteY35483" fmla="*/ 2260114 h 5973007"/>
              <a:gd name="connsiteX35484" fmla="*/ 873858 w 6884782"/>
              <a:gd name="connsiteY35484" fmla="*/ 2263832 h 5973007"/>
              <a:gd name="connsiteX35485" fmla="*/ 868489 w 6884782"/>
              <a:gd name="connsiteY35485" fmla="*/ 2263367 h 5973007"/>
              <a:gd name="connsiteX35486" fmla="*/ 868592 w 6884782"/>
              <a:gd name="connsiteY35486" fmla="*/ 2259494 h 5973007"/>
              <a:gd name="connsiteX35487" fmla="*/ 1075853 w 6884782"/>
              <a:gd name="connsiteY35487" fmla="*/ 2259224 h 5973007"/>
              <a:gd name="connsiteX35488" fmla="*/ 1080887 w 6884782"/>
              <a:gd name="connsiteY35488" fmla="*/ 2259649 h 5973007"/>
              <a:gd name="connsiteX35489" fmla="*/ 1071284 w 6884782"/>
              <a:gd name="connsiteY35489" fmla="*/ 2267239 h 5973007"/>
              <a:gd name="connsiteX35490" fmla="*/ 1071594 w 6884782"/>
              <a:gd name="connsiteY35490" fmla="*/ 2261818 h 5973007"/>
              <a:gd name="connsiteX35491" fmla="*/ 1075853 w 6884782"/>
              <a:gd name="connsiteY35491" fmla="*/ 2259224 h 5973007"/>
              <a:gd name="connsiteX35492" fmla="*/ 4940667 w 6884782"/>
              <a:gd name="connsiteY35492" fmla="*/ 2259087 h 5973007"/>
              <a:gd name="connsiteX35493" fmla="*/ 4962223 w 6884782"/>
              <a:gd name="connsiteY35493" fmla="*/ 2282562 h 5973007"/>
              <a:gd name="connsiteX35494" fmla="*/ 4940667 w 6884782"/>
              <a:gd name="connsiteY35494" fmla="*/ 2259087 h 5973007"/>
              <a:gd name="connsiteX35495" fmla="*/ 1040410 w 6884782"/>
              <a:gd name="connsiteY35495" fmla="*/ 2258875 h 5973007"/>
              <a:gd name="connsiteX35496" fmla="*/ 1041649 w 6884782"/>
              <a:gd name="connsiteY35496" fmla="*/ 2259030 h 5973007"/>
              <a:gd name="connsiteX35497" fmla="*/ 1042165 w 6884782"/>
              <a:gd name="connsiteY35497" fmla="*/ 2261663 h 5973007"/>
              <a:gd name="connsiteX35498" fmla="*/ 1037519 w 6884782"/>
              <a:gd name="connsiteY35498" fmla="*/ 2260889 h 5973007"/>
              <a:gd name="connsiteX35499" fmla="*/ 1035557 w 6884782"/>
              <a:gd name="connsiteY35499" fmla="*/ 2261198 h 5973007"/>
              <a:gd name="connsiteX35500" fmla="*/ 1036589 w 6884782"/>
              <a:gd name="connsiteY35500" fmla="*/ 2259494 h 5973007"/>
              <a:gd name="connsiteX35501" fmla="*/ 1039377 w 6884782"/>
              <a:gd name="connsiteY35501" fmla="*/ 2260579 h 5973007"/>
              <a:gd name="connsiteX35502" fmla="*/ 1040410 w 6884782"/>
              <a:gd name="connsiteY35502" fmla="*/ 2258875 h 5973007"/>
              <a:gd name="connsiteX35503" fmla="*/ 5293663 w 6884782"/>
              <a:gd name="connsiteY35503" fmla="*/ 2258376 h 5973007"/>
              <a:gd name="connsiteX35504" fmla="*/ 5296865 w 6884782"/>
              <a:gd name="connsiteY35504" fmla="*/ 2259372 h 5973007"/>
              <a:gd name="connsiteX35505" fmla="*/ 5300493 w 6884782"/>
              <a:gd name="connsiteY35505" fmla="*/ 2266912 h 5973007"/>
              <a:gd name="connsiteX35506" fmla="*/ 5294303 w 6884782"/>
              <a:gd name="connsiteY35506" fmla="*/ 2273598 h 5973007"/>
              <a:gd name="connsiteX35507" fmla="*/ 5288968 w 6884782"/>
              <a:gd name="connsiteY35507" fmla="*/ 2259798 h 5973007"/>
              <a:gd name="connsiteX35508" fmla="*/ 5293663 w 6884782"/>
              <a:gd name="connsiteY35508" fmla="*/ 2258376 h 5973007"/>
              <a:gd name="connsiteX35509" fmla="*/ 5199545 w 6884782"/>
              <a:gd name="connsiteY35509" fmla="*/ 2256384 h 5973007"/>
              <a:gd name="connsiteX35510" fmla="*/ 5209149 w 6884782"/>
              <a:gd name="connsiteY35510" fmla="*/ 2264067 h 5973007"/>
              <a:gd name="connsiteX35511" fmla="*/ 5199119 w 6884782"/>
              <a:gd name="connsiteY35511" fmla="*/ 2272176 h 5973007"/>
              <a:gd name="connsiteX35512" fmla="*/ 5199545 w 6884782"/>
              <a:gd name="connsiteY35512" fmla="*/ 2256384 h 5973007"/>
              <a:gd name="connsiteX35513" fmla="*/ 1131482 w 6884782"/>
              <a:gd name="connsiteY35513" fmla="*/ 2255002 h 5973007"/>
              <a:gd name="connsiteX35514" fmla="*/ 1135199 w 6884782"/>
              <a:gd name="connsiteY35514" fmla="*/ 2255312 h 5973007"/>
              <a:gd name="connsiteX35515" fmla="*/ 1141085 w 6884782"/>
              <a:gd name="connsiteY35515" fmla="*/ 2255777 h 5973007"/>
              <a:gd name="connsiteX35516" fmla="*/ 1141291 w 6884782"/>
              <a:gd name="connsiteY35516" fmla="*/ 2259959 h 5973007"/>
              <a:gd name="connsiteX35517" fmla="*/ 1125183 w 6884782"/>
              <a:gd name="connsiteY35517" fmla="*/ 2263832 h 5973007"/>
              <a:gd name="connsiteX35518" fmla="*/ 1123944 w 6884782"/>
              <a:gd name="connsiteY35518" fmla="*/ 2261044 h 5973007"/>
              <a:gd name="connsiteX35519" fmla="*/ 1128074 w 6884782"/>
              <a:gd name="connsiteY35519" fmla="*/ 2256552 h 5973007"/>
              <a:gd name="connsiteX35520" fmla="*/ 1131482 w 6884782"/>
              <a:gd name="connsiteY35520" fmla="*/ 2255002 h 5973007"/>
              <a:gd name="connsiteX35521" fmla="*/ 1025644 w 6884782"/>
              <a:gd name="connsiteY35521" fmla="*/ 2254073 h 5973007"/>
              <a:gd name="connsiteX35522" fmla="*/ 1032562 w 6884782"/>
              <a:gd name="connsiteY35522" fmla="*/ 2257946 h 5973007"/>
              <a:gd name="connsiteX35523" fmla="*/ 1033595 w 6884782"/>
              <a:gd name="connsiteY35523" fmla="*/ 2260269 h 5973007"/>
              <a:gd name="connsiteX35524" fmla="*/ 1034731 w 6884782"/>
              <a:gd name="connsiteY35524" fmla="*/ 2259959 h 5973007"/>
              <a:gd name="connsiteX35525" fmla="*/ 1033698 w 6884782"/>
              <a:gd name="connsiteY35525" fmla="*/ 2260579 h 5973007"/>
              <a:gd name="connsiteX35526" fmla="*/ 1034937 w 6884782"/>
              <a:gd name="connsiteY35526" fmla="*/ 2263522 h 5973007"/>
              <a:gd name="connsiteX35527" fmla="*/ 1035763 w 6884782"/>
              <a:gd name="connsiteY35527" fmla="*/ 2263832 h 5973007"/>
              <a:gd name="connsiteX35528" fmla="*/ 1037209 w 6884782"/>
              <a:gd name="connsiteY35528" fmla="*/ 2266930 h 5973007"/>
              <a:gd name="connsiteX35529" fmla="*/ 1038758 w 6884782"/>
              <a:gd name="connsiteY35529" fmla="*/ 2274519 h 5973007"/>
              <a:gd name="connsiteX35530" fmla="*/ 1037519 w 6884782"/>
              <a:gd name="connsiteY35530" fmla="*/ 2274365 h 5973007"/>
              <a:gd name="connsiteX35531" fmla="*/ 1035144 w 6884782"/>
              <a:gd name="connsiteY35531" fmla="*/ 2268788 h 5973007"/>
              <a:gd name="connsiteX35532" fmla="*/ 1034628 w 6884782"/>
              <a:gd name="connsiteY35532" fmla="*/ 2267085 h 5973007"/>
              <a:gd name="connsiteX35533" fmla="*/ 1034008 w 6884782"/>
              <a:gd name="connsiteY35533" fmla="*/ 2270647 h 5973007"/>
              <a:gd name="connsiteX35534" fmla="*/ 1029568 w 6884782"/>
              <a:gd name="connsiteY35534" fmla="*/ 2276224 h 5973007"/>
              <a:gd name="connsiteX35535" fmla="*/ 1009433 w 6884782"/>
              <a:gd name="connsiteY35535" fmla="*/ 2275294 h 5973007"/>
              <a:gd name="connsiteX35536" fmla="*/ 1018933 w 6884782"/>
              <a:gd name="connsiteY35536" fmla="*/ 2255157 h 5973007"/>
              <a:gd name="connsiteX35537" fmla="*/ 1025644 w 6884782"/>
              <a:gd name="connsiteY35537" fmla="*/ 2254073 h 5973007"/>
              <a:gd name="connsiteX35538" fmla="*/ 927758 w 6884782"/>
              <a:gd name="connsiteY35538" fmla="*/ 2251905 h 5973007"/>
              <a:gd name="connsiteX35539" fmla="*/ 938186 w 6884782"/>
              <a:gd name="connsiteY35539" fmla="*/ 2260579 h 5973007"/>
              <a:gd name="connsiteX35540" fmla="*/ 931475 w 6884782"/>
              <a:gd name="connsiteY35540" fmla="*/ 2264141 h 5973007"/>
              <a:gd name="connsiteX35541" fmla="*/ 927551 w 6884782"/>
              <a:gd name="connsiteY35541" fmla="*/ 2255157 h 5973007"/>
              <a:gd name="connsiteX35542" fmla="*/ 927758 w 6884782"/>
              <a:gd name="connsiteY35542" fmla="*/ 2251905 h 5973007"/>
              <a:gd name="connsiteX35543" fmla="*/ 874994 w 6884782"/>
              <a:gd name="connsiteY35543" fmla="*/ 2251750 h 5973007"/>
              <a:gd name="connsiteX35544" fmla="*/ 881292 w 6884782"/>
              <a:gd name="connsiteY35544" fmla="*/ 2252214 h 5973007"/>
              <a:gd name="connsiteX35545" fmla="*/ 877059 w 6884782"/>
              <a:gd name="connsiteY35545" fmla="*/ 2261818 h 5973007"/>
              <a:gd name="connsiteX35546" fmla="*/ 872825 w 6884782"/>
              <a:gd name="connsiteY35546" fmla="*/ 2257326 h 5973007"/>
              <a:gd name="connsiteX35547" fmla="*/ 874994 w 6884782"/>
              <a:gd name="connsiteY35547" fmla="*/ 2251750 h 5973007"/>
              <a:gd name="connsiteX35548" fmla="*/ 5158355 w 6884782"/>
              <a:gd name="connsiteY35548" fmla="*/ 2251404 h 5973007"/>
              <a:gd name="connsiteX35549" fmla="*/ 5158996 w 6884782"/>
              <a:gd name="connsiteY35549" fmla="*/ 2252258 h 5973007"/>
              <a:gd name="connsiteX35550" fmla="*/ 5157715 w 6884782"/>
              <a:gd name="connsiteY35550" fmla="*/ 2253966 h 5973007"/>
              <a:gd name="connsiteX35551" fmla="*/ 5158355 w 6884782"/>
              <a:gd name="connsiteY35551" fmla="*/ 2251404 h 5973007"/>
              <a:gd name="connsiteX35552" fmla="*/ 4801518 w 6884782"/>
              <a:gd name="connsiteY35552" fmla="*/ 2248702 h 5973007"/>
              <a:gd name="connsiteX35553" fmla="*/ 4807493 w 6884782"/>
              <a:gd name="connsiteY35553" fmla="*/ 2256384 h 5973007"/>
              <a:gd name="connsiteX35554" fmla="*/ 4810054 w 6884782"/>
              <a:gd name="connsiteY35554" fmla="*/ 2265489 h 5973007"/>
              <a:gd name="connsiteX35555" fmla="*/ 4792127 w 6884782"/>
              <a:gd name="connsiteY35555" fmla="*/ 2256526 h 5973007"/>
              <a:gd name="connsiteX35556" fmla="*/ 4801518 w 6884782"/>
              <a:gd name="connsiteY35556" fmla="*/ 2248702 h 5973007"/>
              <a:gd name="connsiteX35557" fmla="*/ 1070561 w 6884782"/>
              <a:gd name="connsiteY35557" fmla="*/ 2247412 h 5973007"/>
              <a:gd name="connsiteX35558" fmla="*/ 1065811 w 6884782"/>
              <a:gd name="connsiteY35558" fmla="*/ 2260424 h 5973007"/>
              <a:gd name="connsiteX35559" fmla="*/ 1063126 w 6884782"/>
              <a:gd name="connsiteY35559" fmla="*/ 2254073 h 5973007"/>
              <a:gd name="connsiteX35560" fmla="*/ 1066431 w 6884782"/>
              <a:gd name="connsiteY35560" fmla="*/ 2248342 h 5973007"/>
              <a:gd name="connsiteX35561" fmla="*/ 1070561 w 6884782"/>
              <a:gd name="connsiteY35561" fmla="*/ 2247412 h 5973007"/>
              <a:gd name="connsiteX35562" fmla="*/ 5001492 w 6884782"/>
              <a:gd name="connsiteY35562" fmla="*/ 2246710 h 5973007"/>
              <a:gd name="connsiteX35563" fmla="*/ 5007681 w 6884782"/>
              <a:gd name="connsiteY35563" fmla="*/ 2251689 h 5973007"/>
              <a:gd name="connsiteX35564" fmla="*/ 4992955 w 6884782"/>
              <a:gd name="connsiteY35564" fmla="*/ 2262644 h 5973007"/>
              <a:gd name="connsiteX35565" fmla="*/ 5001492 w 6884782"/>
              <a:gd name="connsiteY35565" fmla="*/ 2246710 h 5973007"/>
              <a:gd name="connsiteX35566" fmla="*/ 6244449 w 6884782"/>
              <a:gd name="connsiteY35566" fmla="*/ 2245429 h 5973007"/>
              <a:gd name="connsiteX35567" fmla="*/ 6252345 w 6884782"/>
              <a:gd name="connsiteY35567" fmla="*/ 2254535 h 5973007"/>
              <a:gd name="connsiteX35568" fmla="*/ 6254052 w 6884782"/>
              <a:gd name="connsiteY35568" fmla="*/ 2258660 h 5973007"/>
              <a:gd name="connsiteX35569" fmla="*/ 6253412 w 6884782"/>
              <a:gd name="connsiteY35569" fmla="*/ 2257522 h 5973007"/>
              <a:gd name="connsiteX35570" fmla="*/ 6252985 w 6884782"/>
              <a:gd name="connsiteY35570" fmla="*/ 2259230 h 5973007"/>
              <a:gd name="connsiteX35571" fmla="*/ 6243595 w 6884782"/>
              <a:gd name="connsiteY35571" fmla="*/ 2246141 h 5973007"/>
              <a:gd name="connsiteX35572" fmla="*/ 6244449 w 6884782"/>
              <a:gd name="connsiteY35572" fmla="*/ 2245429 h 5973007"/>
              <a:gd name="connsiteX35573" fmla="*/ 5391409 w 6884782"/>
              <a:gd name="connsiteY35573" fmla="*/ 2245429 h 5973007"/>
              <a:gd name="connsiteX35574" fmla="*/ 5397599 w 6884782"/>
              <a:gd name="connsiteY35574" fmla="*/ 2253112 h 5973007"/>
              <a:gd name="connsiteX35575" fmla="*/ 5387995 w 6884782"/>
              <a:gd name="connsiteY35575" fmla="*/ 2247279 h 5973007"/>
              <a:gd name="connsiteX35576" fmla="*/ 5391409 w 6884782"/>
              <a:gd name="connsiteY35576" fmla="*/ 2245429 h 5973007"/>
              <a:gd name="connsiteX35577" fmla="*/ 1085636 w 6884782"/>
              <a:gd name="connsiteY35577" fmla="*/ 2244624 h 5973007"/>
              <a:gd name="connsiteX35578" fmla="*/ 1086669 w 6884782"/>
              <a:gd name="connsiteY35578" fmla="*/ 2249116 h 5973007"/>
              <a:gd name="connsiteX35579" fmla="*/ 1082435 w 6884782"/>
              <a:gd name="connsiteY35579" fmla="*/ 2248187 h 5973007"/>
              <a:gd name="connsiteX35580" fmla="*/ 1085636 w 6884782"/>
              <a:gd name="connsiteY35580" fmla="*/ 2244624 h 5973007"/>
              <a:gd name="connsiteX35581" fmla="*/ 945311 w 6884782"/>
              <a:gd name="connsiteY35581" fmla="*/ 2242301 h 5973007"/>
              <a:gd name="connsiteX35582" fmla="*/ 945621 w 6884782"/>
              <a:gd name="connsiteY35582" fmla="*/ 2247723 h 5973007"/>
              <a:gd name="connsiteX35583" fmla="*/ 939632 w 6884782"/>
              <a:gd name="connsiteY35583" fmla="*/ 2243540 h 5973007"/>
              <a:gd name="connsiteX35584" fmla="*/ 945311 w 6884782"/>
              <a:gd name="connsiteY35584" fmla="*/ 2242301 h 5973007"/>
              <a:gd name="connsiteX35585" fmla="*/ 970093 w 6884782"/>
              <a:gd name="connsiteY35585" fmla="*/ 2241062 h 5973007"/>
              <a:gd name="connsiteX35586" fmla="*/ 978663 w 6884782"/>
              <a:gd name="connsiteY35586" fmla="*/ 2241217 h 5973007"/>
              <a:gd name="connsiteX35587" fmla="*/ 978559 w 6884782"/>
              <a:gd name="connsiteY35587" fmla="*/ 2244624 h 5973007"/>
              <a:gd name="connsiteX35588" fmla="*/ 965446 w 6884782"/>
              <a:gd name="connsiteY35588" fmla="*/ 2247258 h 5973007"/>
              <a:gd name="connsiteX35589" fmla="*/ 970093 w 6884782"/>
              <a:gd name="connsiteY35589" fmla="*/ 2241062 h 5973007"/>
              <a:gd name="connsiteX35590" fmla="*/ 6247223 w 6884782"/>
              <a:gd name="connsiteY35590" fmla="*/ 2240735 h 5973007"/>
              <a:gd name="connsiteX35591" fmla="*/ 6265791 w 6884782"/>
              <a:gd name="connsiteY35591" fmla="*/ 2252401 h 5973007"/>
              <a:gd name="connsiteX35592" fmla="*/ 6261522 w 6884782"/>
              <a:gd name="connsiteY35592" fmla="*/ 2254961 h 5973007"/>
              <a:gd name="connsiteX35593" fmla="*/ 6260455 w 6884782"/>
              <a:gd name="connsiteY35593" fmla="*/ 2252970 h 5973007"/>
              <a:gd name="connsiteX35594" fmla="*/ 6247223 w 6884782"/>
              <a:gd name="connsiteY35594" fmla="*/ 2240735 h 5973007"/>
              <a:gd name="connsiteX35595" fmla="*/ 1067153 w 6884782"/>
              <a:gd name="connsiteY35595" fmla="*/ 2239978 h 5973007"/>
              <a:gd name="connsiteX35596" fmla="*/ 1069322 w 6884782"/>
              <a:gd name="connsiteY35596" fmla="*/ 2241526 h 5973007"/>
              <a:gd name="connsiteX35597" fmla="*/ 1069528 w 6884782"/>
              <a:gd name="connsiteY35597" fmla="*/ 2245864 h 5973007"/>
              <a:gd name="connsiteX35598" fmla="*/ 1061784 w 6884782"/>
              <a:gd name="connsiteY35598" fmla="*/ 2245244 h 5973007"/>
              <a:gd name="connsiteX35599" fmla="*/ 1061371 w 6884782"/>
              <a:gd name="connsiteY35599" fmla="*/ 2242766 h 5973007"/>
              <a:gd name="connsiteX35600" fmla="*/ 1067153 w 6884782"/>
              <a:gd name="connsiteY35600" fmla="*/ 2239978 h 5973007"/>
              <a:gd name="connsiteX35601" fmla="*/ 4935332 w 6884782"/>
              <a:gd name="connsiteY35601" fmla="*/ 2239739 h 5973007"/>
              <a:gd name="connsiteX35602" fmla="*/ 4946429 w 6884782"/>
              <a:gd name="connsiteY35602" fmla="*/ 2249839 h 5973007"/>
              <a:gd name="connsiteX35603" fmla="*/ 4930637 w 6884782"/>
              <a:gd name="connsiteY35603" fmla="*/ 2254819 h 5973007"/>
              <a:gd name="connsiteX35604" fmla="*/ 4935332 w 6884782"/>
              <a:gd name="connsiteY35604" fmla="*/ 2239739 h 5973007"/>
              <a:gd name="connsiteX35605" fmla="*/ 6360976 w 6884782"/>
              <a:gd name="connsiteY35605" fmla="*/ 2239454 h 5973007"/>
              <a:gd name="connsiteX35606" fmla="*/ 6352226 w 6884782"/>
              <a:gd name="connsiteY35606" fmla="*/ 2267481 h 5973007"/>
              <a:gd name="connsiteX35607" fmla="*/ 6340274 w 6884782"/>
              <a:gd name="connsiteY35607" fmla="*/ 2258091 h 5973007"/>
              <a:gd name="connsiteX35608" fmla="*/ 6360976 w 6884782"/>
              <a:gd name="connsiteY35608" fmla="*/ 2239454 h 5973007"/>
              <a:gd name="connsiteX35609" fmla="*/ 5621690 w 6884782"/>
              <a:gd name="connsiteY35609" fmla="*/ 2239170 h 5973007"/>
              <a:gd name="connsiteX35610" fmla="*/ 5621263 w 6884782"/>
              <a:gd name="connsiteY35610" fmla="*/ 2241588 h 5973007"/>
              <a:gd name="connsiteX35611" fmla="*/ 5623183 w 6884782"/>
              <a:gd name="connsiteY35611" fmla="*/ 2240877 h 5973007"/>
              <a:gd name="connsiteX35612" fmla="*/ 5623397 w 6884782"/>
              <a:gd name="connsiteY35612" fmla="*/ 2239881 h 5973007"/>
              <a:gd name="connsiteX35613" fmla="*/ 5622330 w 6884782"/>
              <a:gd name="connsiteY35613" fmla="*/ 2239596 h 5973007"/>
              <a:gd name="connsiteX35614" fmla="*/ 1097717 w 6884782"/>
              <a:gd name="connsiteY35614" fmla="*/ 2239048 h 5973007"/>
              <a:gd name="connsiteX35615" fmla="*/ 1102777 w 6884782"/>
              <a:gd name="connsiteY35615" fmla="*/ 2241681 h 5973007"/>
              <a:gd name="connsiteX35616" fmla="*/ 1097821 w 6884782"/>
              <a:gd name="connsiteY35616" fmla="*/ 2250201 h 5973007"/>
              <a:gd name="connsiteX35617" fmla="*/ 1094310 w 6884782"/>
              <a:gd name="connsiteY35617" fmla="*/ 2248652 h 5973007"/>
              <a:gd name="connsiteX35618" fmla="*/ 1092967 w 6884782"/>
              <a:gd name="connsiteY35618" fmla="*/ 2245864 h 5973007"/>
              <a:gd name="connsiteX35619" fmla="*/ 1097717 w 6884782"/>
              <a:gd name="connsiteY35619" fmla="*/ 2239048 h 5973007"/>
              <a:gd name="connsiteX35620" fmla="*/ 5257595 w 6884782"/>
              <a:gd name="connsiteY35620" fmla="*/ 2238600 h 5973007"/>
              <a:gd name="connsiteX35621" fmla="*/ 5261437 w 6884782"/>
              <a:gd name="connsiteY35621" fmla="*/ 2238600 h 5973007"/>
              <a:gd name="connsiteX35622" fmla="*/ 5249486 w 6884782"/>
              <a:gd name="connsiteY35622" fmla="*/ 2247421 h 5973007"/>
              <a:gd name="connsiteX35623" fmla="*/ 5257595 w 6884782"/>
              <a:gd name="connsiteY35623" fmla="*/ 2238600 h 5973007"/>
              <a:gd name="connsiteX35624" fmla="*/ 920736 w 6884782"/>
              <a:gd name="connsiteY35624" fmla="*/ 2237345 h 5973007"/>
              <a:gd name="connsiteX35625" fmla="*/ 915470 w 6884782"/>
              <a:gd name="connsiteY35625" fmla="*/ 2262592 h 5973007"/>
              <a:gd name="connsiteX35626" fmla="*/ 911856 w 6884782"/>
              <a:gd name="connsiteY35626" fmla="*/ 2257171 h 5973007"/>
              <a:gd name="connsiteX35627" fmla="*/ 920736 w 6884782"/>
              <a:gd name="connsiteY35627" fmla="*/ 2237345 h 5973007"/>
              <a:gd name="connsiteX35628" fmla="*/ 849283 w 6884782"/>
              <a:gd name="connsiteY35628" fmla="*/ 2236879 h 5973007"/>
              <a:gd name="connsiteX35629" fmla="*/ 860228 w 6884782"/>
              <a:gd name="connsiteY35629" fmla="*/ 2243076 h 5973007"/>
              <a:gd name="connsiteX35630" fmla="*/ 847837 w 6884782"/>
              <a:gd name="connsiteY35630" fmla="*/ 2241681 h 5973007"/>
              <a:gd name="connsiteX35631" fmla="*/ 849283 w 6884782"/>
              <a:gd name="connsiteY35631" fmla="*/ 2236879 h 5973007"/>
              <a:gd name="connsiteX35632" fmla="*/ 6238259 w 6884782"/>
              <a:gd name="connsiteY35632" fmla="*/ 2235755 h 5973007"/>
              <a:gd name="connsiteX35633" fmla="*/ 6243381 w 6884782"/>
              <a:gd name="connsiteY35633" fmla="*/ 2237889 h 5973007"/>
              <a:gd name="connsiteX35634" fmla="*/ 6242954 w 6884782"/>
              <a:gd name="connsiteY35634" fmla="*/ 2239596 h 5973007"/>
              <a:gd name="connsiteX35635" fmla="*/ 6238259 w 6884782"/>
              <a:gd name="connsiteY35635" fmla="*/ 2235755 h 5973007"/>
              <a:gd name="connsiteX35636" fmla="*/ 1055072 w 6884782"/>
              <a:gd name="connsiteY35636" fmla="*/ 2235021 h 5973007"/>
              <a:gd name="connsiteX35637" fmla="*/ 1051871 w 6884782"/>
              <a:gd name="connsiteY35637" fmla="*/ 2241836 h 5973007"/>
              <a:gd name="connsiteX35638" fmla="*/ 1055072 w 6884782"/>
              <a:gd name="connsiteY35638" fmla="*/ 2235021 h 5973007"/>
              <a:gd name="connsiteX35639" fmla="*/ 4728528 w 6884782"/>
              <a:gd name="connsiteY35639" fmla="*/ 2234475 h 5973007"/>
              <a:gd name="connsiteX35640" fmla="*/ 4736851 w 6884782"/>
              <a:gd name="connsiteY35640" fmla="*/ 2237178 h 5973007"/>
              <a:gd name="connsiteX35641" fmla="*/ 4737918 w 6884782"/>
              <a:gd name="connsiteY35641" fmla="*/ 2240877 h 5973007"/>
              <a:gd name="connsiteX35642" fmla="*/ 4730876 w 6884782"/>
              <a:gd name="connsiteY35642" fmla="*/ 2244434 h 5973007"/>
              <a:gd name="connsiteX35643" fmla="*/ 4727674 w 6884782"/>
              <a:gd name="connsiteY35643" fmla="*/ 2242015 h 5973007"/>
              <a:gd name="connsiteX35644" fmla="*/ 4726607 w 6884782"/>
              <a:gd name="connsiteY35644" fmla="*/ 2235898 h 5973007"/>
              <a:gd name="connsiteX35645" fmla="*/ 4728528 w 6884782"/>
              <a:gd name="connsiteY35645" fmla="*/ 2234475 h 5973007"/>
              <a:gd name="connsiteX35646" fmla="*/ 5704923 w 6884782"/>
              <a:gd name="connsiteY35646" fmla="*/ 2233479 h 5973007"/>
              <a:gd name="connsiteX35647" fmla="*/ 5714101 w 6884782"/>
              <a:gd name="connsiteY35647" fmla="*/ 2241303 h 5973007"/>
              <a:gd name="connsiteX35648" fmla="*/ 5710259 w 6884782"/>
              <a:gd name="connsiteY35648" fmla="*/ 2267197 h 5973007"/>
              <a:gd name="connsiteX35649" fmla="*/ 5710259 w 6884782"/>
              <a:gd name="connsiteY35649" fmla="*/ 2267339 h 5973007"/>
              <a:gd name="connsiteX35650" fmla="*/ 5716448 w 6884782"/>
              <a:gd name="connsiteY35650" fmla="*/ 2272318 h 5973007"/>
              <a:gd name="connsiteX35651" fmla="*/ 5712393 w 6884782"/>
              <a:gd name="connsiteY35651" fmla="*/ 2283273 h 5973007"/>
              <a:gd name="connsiteX35652" fmla="*/ 5705563 w 6884782"/>
              <a:gd name="connsiteY35652" fmla="*/ 2284696 h 5973007"/>
              <a:gd name="connsiteX35653" fmla="*/ 5705350 w 6884782"/>
              <a:gd name="connsiteY35653" fmla="*/ 2285692 h 5973007"/>
              <a:gd name="connsiteX35654" fmla="*/ 5697027 w 6884782"/>
              <a:gd name="connsiteY35654" fmla="*/ 2292805 h 5973007"/>
              <a:gd name="connsiteX35655" fmla="*/ 5690411 w 6884782"/>
              <a:gd name="connsiteY35655" fmla="*/ 2274452 h 5973007"/>
              <a:gd name="connsiteX35656" fmla="*/ 5688704 w 6884782"/>
              <a:gd name="connsiteY35656" fmla="*/ 2270184 h 5973007"/>
              <a:gd name="connsiteX35657" fmla="*/ 5686783 w 6884782"/>
              <a:gd name="connsiteY35657" fmla="*/ 2274452 h 5973007"/>
              <a:gd name="connsiteX35658" fmla="*/ 5679740 w 6884782"/>
              <a:gd name="connsiteY35658" fmla="*/ 2259798 h 5973007"/>
              <a:gd name="connsiteX35659" fmla="*/ 5684008 w 6884782"/>
              <a:gd name="connsiteY35659" fmla="*/ 2260937 h 5973007"/>
              <a:gd name="connsiteX35660" fmla="*/ 5687423 w 6884782"/>
              <a:gd name="connsiteY35660" fmla="*/ 2262644 h 5973007"/>
              <a:gd name="connsiteX35661" fmla="*/ 5687636 w 6884782"/>
              <a:gd name="connsiteY35661" fmla="*/ 2257949 h 5973007"/>
              <a:gd name="connsiteX35662" fmla="*/ 5692332 w 6884782"/>
              <a:gd name="connsiteY35662" fmla="*/ 2263213 h 5973007"/>
              <a:gd name="connsiteX35663" fmla="*/ 5693185 w 6884782"/>
              <a:gd name="connsiteY35663" fmla="*/ 2263924 h 5973007"/>
              <a:gd name="connsiteX35664" fmla="*/ 5696173 w 6884782"/>
              <a:gd name="connsiteY35664" fmla="*/ 2262644 h 5973007"/>
              <a:gd name="connsiteX35665" fmla="*/ 5701295 w 6884782"/>
              <a:gd name="connsiteY35665" fmla="*/ 2263924 h 5973007"/>
              <a:gd name="connsiteX35666" fmla="*/ 5698307 w 6884782"/>
              <a:gd name="connsiteY35666" fmla="*/ 2255103 h 5973007"/>
              <a:gd name="connsiteX35667" fmla="*/ 5700015 w 6884782"/>
              <a:gd name="connsiteY35667" fmla="*/ 2235186 h 5973007"/>
              <a:gd name="connsiteX35668" fmla="*/ 5704923 w 6884782"/>
              <a:gd name="connsiteY35668" fmla="*/ 2233479 h 5973007"/>
              <a:gd name="connsiteX35669" fmla="*/ 5146831 w 6884782"/>
              <a:gd name="connsiteY35669" fmla="*/ 2233479 h 5973007"/>
              <a:gd name="connsiteX35670" fmla="*/ 5152166 w 6884782"/>
              <a:gd name="connsiteY35670" fmla="*/ 2247279 h 5973007"/>
              <a:gd name="connsiteX35671" fmla="*/ 5149392 w 6884782"/>
              <a:gd name="connsiteY35671" fmla="*/ 2261221 h 5973007"/>
              <a:gd name="connsiteX35672" fmla="*/ 5146831 w 6884782"/>
              <a:gd name="connsiteY35672" fmla="*/ 2233479 h 5973007"/>
              <a:gd name="connsiteX35673" fmla="*/ 1128488 w 6884782"/>
              <a:gd name="connsiteY35673" fmla="*/ 2233472 h 5973007"/>
              <a:gd name="connsiteX35674" fmla="*/ 1134373 w 6884782"/>
              <a:gd name="connsiteY35674" fmla="*/ 2239668 h 5973007"/>
              <a:gd name="connsiteX35675" fmla="*/ 1128488 w 6884782"/>
              <a:gd name="connsiteY35675" fmla="*/ 2235641 h 5973007"/>
              <a:gd name="connsiteX35676" fmla="*/ 1128488 w 6884782"/>
              <a:gd name="connsiteY35676" fmla="*/ 2233472 h 5973007"/>
              <a:gd name="connsiteX35677" fmla="*/ 766781 w 6884782"/>
              <a:gd name="connsiteY35677" fmla="*/ 2232698 h 5973007"/>
              <a:gd name="connsiteX35678" fmla="*/ 775145 w 6884782"/>
              <a:gd name="connsiteY35678" fmla="*/ 2258875 h 5973007"/>
              <a:gd name="connsiteX35679" fmla="*/ 766781 w 6884782"/>
              <a:gd name="connsiteY35679" fmla="*/ 2232698 h 5973007"/>
              <a:gd name="connsiteX35680" fmla="*/ 5581354 w 6884782"/>
              <a:gd name="connsiteY35680" fmla="*/ 2230207 h 5973007"/>
              <a:gd name="connsiteX35681" fmla="*/ 5586902 w 6884782"/>
              <a:gd name="connsiteY35681" fmla="*/ 2232056 h 5973007"/>
              <a:gd name="connsiteX35682" fmla="*/ 5588182 w 6884782"/>
              <a:gd name="connsiteY35682" fmla="*/ 2236324 h 5973007"/>
              <a:gd name="connsiteX35683" fmla="*/ 5569828 w 6884782"/>
              <a:gd name="connsiteY35683" fmla="*/ 2250693 h 5973007"/>
              <a:gd name="connsiteX35684" fmla="*/ 5567481 w 6884782"/>
              <a:gd name="connsiteY35684" fmla="*/ 2247990 h 5973007"/>
              <a:gd name="connsiteX35685" fmla="*/ 5581354 w 6884782"/>
              <a:gd name="connsiteY35685" fmla="*/ 2230207 h 5973007"/>
              <a:gd name="connsiteX35686" fmla="*/ 983206 w 6884782"/>
              <a:gd name="connsiteY35686" fmla="*/ 2228051 h 5973007"/>
              <a:gd name="connsiteX35687" fmla="*/ 982483 w 6884782"/>
              <a:gd name="connsiteY35687" fmla="*/ 2232078 h 5973007"/>
              <a:gd name="connsiteX35688" fmla="*/ 979592 w 6884782"/>
              <a:gd name="connsiteY35688" fmla="*/ 2235176 h 5973007"/>
              <a:gd name="connsiteX35689" fmla="*/ 980315 w 6884782"/>
              <a:gd name="connsiteY35689" fmla="*/ 2231923 h 5973007"/>
              <a:gd name="connsiteX35690" fmla="*/ 981761 w 6884782"/>
              <a:gd name="connsiteY35690" fmla="*/ 2228670 h 5973007"/>
              <a:gd name="connsiteX35691" fmla="*/ 983206 w 6884782"/>
              <a:gd name="connsiteY35691" fmla="*/ 2228051 h 5973007"/>
              <a:gd name="connsiteX35692" fmla="*/ 5087714 w 6884782"/>
              <a:gd name="connsiteY35692" fmla="*/ 2227788 h 5973007"/>
              <a:gd name="connsiteX35693" fmla="*/ 5088567 w 6884782"/>
              <a:gd name="connsiteY35693" fmla="*/ 2236324 h 5973007"/>
              <a:gd name="connsiteX35694" fmla="*/ 5087073 w 6884782"/>
              <a:gd name="connsiteY35694" fmla="*/ 2255103 h 5973007"/>
              <a:gd name="connsiteX35695" fmla="*/ 5084726 w 6884782"/>
              <a:gd name="connsiteY35695" fmla="*/ 2257095 h 5973007"/>
              <a:gd name="connsiteX35696" fmla="*/ 5084512 w 6884782"/>
              <a:gd name="connsiteY35696" fmla="*/ 2258233 h 5973007"/>
              <a:gd name="connsiteX35697" fmla="*/ 5082164 w 6884782"/>
              <a:gd name="connsiteY35697" fmla="*/ 2259087 h 5973007"/>
              <a:gd name="connsiteX35698" fmla="*/ 5081524 w 6884782"/>
              <a:gd name="connsiteY35698" fmla="*/ 2251831 h 5973007"/>
              <a:gd name="connsiteX35699" fmla="*/ 5081951 w 6884782"/>
              <a:gd name="connsiteY35699" fmla="*/ 2245856 h 5973007"/>
              <a:gd name="connsiteX35700" fmla="*/ 5087714 w 6884782"/>
              <a:gd name="connsiteY35700" fmla="*/ 2227788 h 5973007"/>
              <a:gd name="connsiteX35701" fmla="*/ 973293 w 6884782"/>
              <a:gd name="connsiteY35701" fmla="*/ 2227586 h 5973007"/>
              <a:gd name="connsiteX35702" fmla="*/ 975771 w 6884782"/>
              <a:gd name="connsiteY35702" fmla="*/ 2231768 h 5973007"/>
              <a:gd name="connsiteX35703" fmla="*/ 974532 w 6884782"/>
              <a:gd name="connsiteY35703" fmla="*/ 2235021 h 5973007"/>
              <a:gd name="connsiteX35704" fmla="*/ 975359 w 6884782"/>
              <a:gd name="connsiteY35704" fmla="*/ 2235021 h 5973007"/>
              <a:gd name="connsiteX35705" fmla="*/ 979592 w 6884782"/>
              <a:gd name="connsiteY35705" fmla="*/ 2235176 h 5973007"/>
              <a:gd name="connsiteX35706" fmla="*/ 983103 w 6884782"/>
              <a:gd name="connsiteY35706" fmla="*/ 2235486 h 5973007"/>
              <a:gd name="connsiteX35707" fmla="*/ 982896 w 6884782"/>
              <a:gd name="connsiteY35707" fmla="*/ 2237345 h 5973007"/>
              <a:gd name="connsiteX35708" fmla="*/ 980934 w 6884782"/>
              <a:gd name="connsiteY35708" fmla="*/ 2238583 h 5973007"/>
              <a:gd name="connsiteX35709" fmla="*/ 972467 w 6884782"/>
              <a:gd name="connsiteY35709" fmla="*/ 2238583 h 5973007"/>
              <a:gd name="connsiteX35710" fmla="*/ 970402 w 6884782"/>
              <a:gd name="connsiteY35710" fmla="*/ 2238274 h 5973007"/>
              <a:gd name="connsiteX35711" fmla="*/ 968544 w 6884782"/>
              <a:gd name="connsiteY35711" fmla="*/ 2237964 h 5973007"/>
              <a:gd name="connsiteX35712" fmla="*/ 966375 w 6884782"/>
              <a:gd name="connsiteY35712" fmla="*/ 2235021 h 5973007"/>
              <a:gd name="connsiteX35713" fmla="*/ 972674 w 6884782"/>
              <a:gd name="connsiteY35713" fmla="*/ 2235021 h 5973007"/>
              <a:gd name="connsiteX35714" fmla="*/ 970505 w 6884782"/>
              <a:gd name="connsiteY35714" fmla="*/ 2233782 h 5973007"/>
              <a:gd name="connsiteX35715" fmla="*/ 968854 w 6884782"/>
              <a:gd name="connsiteY35715" fmla="*/ 2230064 h 5973007"/>
              <a:gd name="connsiteX35716" fmla="*/ 973293 w 6884782"/>
              <a:gd name="connsiteY35716" fmla="*/ 2227586 h 5973007"/>
              <a:gd name="connsiteX35717" fmla="*/ 878401 w 6884782"/>
              <a:gd name="connsiteY35717" fmla="*/ 2227121 h 5973007"/>
              <a:gd name="connsiteX35718" fmla="*/ 875820 w 6884782"/>
              <a:gd name="connsiteY35718" fmla="*/ 2246948 h 5973007"/>
              <a:gd name="connsiteX35719" fmla="*/ 871586 w 6884782"/>
              <a:gd name="connsiteY35719" fmla="*/ 2245089 h 5973007"/>
              <a:gd name="connsiteX35720" fmla="*/ 871069 w 6884782"/>
              <a:gd name="connsiteY35720" fmla="*/ 2240133 h 5973007"/>
              <a:gd name="connsiteX35721" fmla="*/ 871069 w 6884782"/>
              <a:gd name="connsiteY35721" fmla="*/ 2235795 h 5973007"/>
              <a:gd name="connsiteX35722" fmla="*/ 878401 w 6884782"/>
              <a:gd name="connsiteY35722" fmla="*/ 2227121 h 5973007"/>
              <a:gd name="connsiteX35723" fmla="*/ 4557365 w 6884782"/>
              <a:gd name="connsiteY35723" fmla="*/ 2227077 h 5973007"/>
              <a:gd name="connsiteX35724" fmla="*/ 4565475 w 6884782"/>
              <a:gd name="connsiteY35724" fmla="*/ 2232056 h 5973007"/>
              <a:gd name="connsiteX35725" fmla="*/ 4560993 w 6884782"/>
              <a:gd name="connsiteY35725" fmla="*/ 2246283 h 5973007"/>
              <a:gd name="connsiteX35726" fmla="*/ 4555658 w 6884782"/>
              <a:gd name="connsiteY35726" fmla="*/ 2247706 h 5973007"/>
              <a:gd name="connsiteX35727" fmla="*/ 4547548 w 6884782"/>
              <a:gd name="connsiteY35727" fmla="*/ 2244576 h 5973007"/>
              <a:gd name="connsiteX35728" fmla="*/ 4549042 w 6884782"/>
              <a:gd name="connsiteY35728" fmla="*/ 2234190 h 5973007"/>
              <a:gd name="connsiteX35729" fmla="*/ 4547761 w 6884782"/>
              <a:gd name="connsiteY35729" fmla="*/ 2234617 h 5973007"/>
              <a:gd name="connsiteX35730" fmla="*/ 4548615 w 6884782"/>
              <a:gd name="connsiteY35730" fmla="*/ 2233763 h 5973007"/>
              <a:gd name="connsiteX35731" fmla="*/ 4549255 w 6884782"/>
              <a:gd name="connsiteY35731" fmla="*/ 2233763 h 5973007"/>
              <a:gd name="connsiteX35732" fmla="*/ 4552883 w 6884782"/>
              <a:gd name="connsiteY35732" fmla="*/ 2229353 h 5973007"/>
              <a:gd name="connsiteX35733" fmla="*/ 4557365 w 6884782"/>
              <a:gd name="connsiteY35733" fmla="*/ 2227077 h 5973007"/>
              <a:gd name="connsiteX35734" fmla="*/ 1129520 w 6884782"/>
              <a:gd name="connsiteY35734" fmla="*/ 2225572 h 5973007"/>
              <a:gd name="connsiteX35735" fmla="*/ 1128900 w 6884782"/>
              <a:gd name="connsiteY35735" fmla="*/ 2231458 h 5973007"/>
              <a:gd name="connsiteX35736" fmla="*/ 1122499 w 6884782"/>
              <a:gd name="connsiteY35736" fmla="*/ 2234711 h 5973007"/>
              <a:gd name="connsiteX35737" fmla="*/ 1122086 w 6884782"/>
              <a:gd name="connsiteY35737" fmla="*/ 2231458 h 5973007"/>
              <a:gd name="connsiteX35738" fmla="*/ 1129520 w 6884782"/>
              <a:gd name="connsiteY35738" fmla="*/ 2225572 h 5973007"/>
              <a:gd name="connsiteX35739" fmla="*/ 4913563 w 6884782"/>
              <a:gd name="connsiteY35739" fmla="*/ 2224516 h 5973007"/>
              <a:gd name="connsiteX35740" fmla="*/ 4924661 w 6884782"/>
              <a:gd name="connsiteY35740" fmla="*/ 2240165 h 5973007"/>
              <a:gd name="connsiteX35741" fmla="*/ 4913990 w 6884782"/>
              <a:gd name="connsiteY35741" fmla="*/ 2241303 h 5973007"/>
              <a:gd name="connsiteX35742" fmla="*/ 4913563 w 6884782"/>
              <a:gd name="connsiteY35742" fmla="*/ 2224516 h 5973007"/>
              <a:gd name="connsiteX35743" fmla="*/ 5207655 w 6884782"/>
              <a:gd name="connsiteY35743" fmla="*/ 2224089 h 5973007"/>
              <a:gd name="connsiteX35744" fmla="*/ 5215765 w 6884782"/>
              <a:gd name="connsiteY35744" fmla="*/ 2227361 h 5973007"/>
              <a:gd name="connsiteX35745" fmla="*/ 5217686 w 6884782"/>
              <a:gd name="connsiteY35745" fmla="*/ 2243011 h 5973007"/>
              <a:gd name="connsiteX35746" fmla="*/ 5207015 w 6884782"/>
              <a:gd name="connsiteY35746" fmla="*/ 2247706 h 5973007"/>
              <a:gd name="connsiteX35747" fmla="*/ 5208082 w 6884782"/>
              <a:gd name="connsiteY35747" fmla="*/ 2247848 h 5973007"/>
              <a:gd name="connsiteX35748" fmla="*/ 5211710 w 6884782"/>
              <a:gd name="connsiteY35748" fmla="*/ 2252543 h 5973007"/>
              <a:gd name="connsiteX35749" fmla="*/ 5219393 w 6884782"/>
              <a:gd name="connsiteY35749" fmla="*/ 2255815 h 5973007"/>
              <a:gd name="connsiteX35750" fmla="*/ 5219393 w 6884782"/>
              <a:gd name="connsiteY35750" fmla="*/ 2259656 h 5973007"/>
              <a:gd name="connsiteX35751" fmla="*/ 5217899 w 6884782"/>
              <a:gd name="connsiteY35751" fmla="*/ 2260795 h 5973007"/>
              <a:gd name="connsiteX35752" fmla="*/ 5218753 w 6884782"/>
              <a:gd name="connsiteY35752" fmla="*/ 2262359 h 5973007"/>
              <a:gd name="connsiteX35753" fmla="*/ 5219393 w 6884782"/>
              <a:gd name="connsiteY35753" fmla="*/ 2265774 h 5973007"/>
              <a:gd name="connsiteX35754" fmla="*/ 5215978 w 6884782"/>
              <a:gd name="connsiteY35754" fmla="*/ 2264209 h 5973007"/>
              <a:gd name="connsiteX35755" fmla="*/ 5214698 w 6884782"/>
              <a:gd name="connsiteY35755" fmla="*/ 2262928 h 5973007"/>
              <a:gd name="connsiteX35756" fmla="*/ 5213631 w 6884782"/>
              <a:gd name="connsiteY35756" fmla="*/ 2262786 h 5973007"/>
              <a:gd name="connsiteX35757" fmla="*/ 5213631 w 6884782"/>
              <a:gd name="connsiteY35757" fmla="*/ 2262217 h 5973007"/>
              <a:gd name="connsiteX35758" fmla="*/ 5211923 w 6884782"/>
              <a:gd name="connsiteY35758" fmla="*/ 2262359 h 5973007"/>
              <a:gd name="connsiteX35759" fmla="*/ 5209790 w 6884782"/>
              <a:gd name="connsiteY35759" fmla="*/ 2259514 h 5973007"/>
              <a:gd name="connsiteX35760" fmla="*/ 5210216 w 6884782"/>
              <a:gd name="connsiteY35760" fmla="*/ 2258091 h 5973007"/>
              <a:gd name="connsiteX35761" fmla="*/ 5207442 w 6884782"/>
              <a:gd name="connsiteY35761" fmla="*/ 2256242 h 5973007"/>
              <a:gd name="connsiteX35762" fmla="*/ 5204454 w 6884782"/>
              <a:gd name="connsiteY35762" fmla="*/ 2254535 h 5973007"/>
              <a:gd name="connsiteX35763" fmla="*/ 5199972 w 6884782"/>
              <a:gd name="connsiteY35763" fmla="*/ 2246852 h 5973007"/>
              <a:gd name="connsiteX35764" fmla="*/ 5202320 w 6884782"/>
              <a:gd name="connsiteY35764" fmla="*/ 2244860 h 5973007"/>
              <a:gd name="connsiteX35765" fmla="*/ 5199972 w 6884782"/>
              <a:gd name="connsiteY35765" fmla="*/ 2242157 h 5973007"/>
              <a:gd name="connsiteX35766" fmla="*/ 5201679 w 6884782"/>
              <a:gd name="connsiteY35766" fmla="*/ 2226934 h 5973007"/>
              <a:gd name="connsiteX35767" fmla="*/ 5207655 w 6884782"/>
              <a:gd name="connsiteY35767" fmla="*/ 2224089 h 5973007"/>
              <a:gd name="connsiteX35768" fmla="*/ 833381 w 6884782"/>
              <a:gd name="connsiteY35768" fmla="*/ 2224023 h 5973007"/>
              <a:gd name="connsiteX35769" fmla="*/ 831832 w 6884782"/>
              <a:gd name="connsiteY35769" fmla="*/ 2231768 h 5973007"/>
              <a:gd name="connsiteX35770" fmla="*/ 823159 w 6884782"/>
              <a:gd name="connsiteY35770" fmla="*/ 2233472 h 5973007"/>
              <a:gd name="connsiteX35771" fmla="*/ 828838 w 6884782"/>
              <a:gd name="connsiteY35771" fmla="*/ 2224333 h 5973007"/>
              <a:gd name="connsiteX35772" fmla="*/ 833381 w 6884782"/>
              <a:gd name="connsiteY35772" fmla="*/ 2224023 h 5973007"/>
              <a:gd name="connsiteX35773" fmla="*/ 4747309 w 6884782"/>
              <a:gd name="connsiteY35773" fmla="*/ 2223805 h 5973007"/>
              <a:gd name="connsiteX35774" fmla="*/ 4750296 w 6884782"/>
              <a:gd name="connsiteY35774" fmla="*/ 2232341 h 5973007"/>
              <a:gd name="connsiteX35775" fmla="*/ 4746242 w 6884782"/>
              <a:gd name="connsiteY35775" fmla="*/ 2240165 h 5973007"/>
              <a:gd name="connsiteX35776" fmla="*/ 4736211 w 6884782"/>
              <a:gd name="connsiteY35776" fmla="*/ 2228357 h 5973007"/>
              <a:gd name="connsiteX35777" fmla="*/ 4747309 w 6884782"/>
              <a:gd name="connsiteY35777" fmla="*/ 2223805 h 5973007"/>
              <a:gd name="connsiteX35778" fmla="*/ 896884 w 6884782"/>
              <a:gd name="connsiteY35778" fmla="*/ 2223249 h 5973007"/>
              <a:gd name="connsiteX35779" fmla="*/ 898742 w 6884782"/>
              <a:gd name="connsiteY35779" fmla="*/ 2224643 h 5973007"/>
              <a:gd name="connsiteX35780" fmla="*/ 898020 w 6884782"/>
              <a:gd name="connsiteY35780" fmla="*/ 2226501 h 5973007"/>
              <a:gd name="connsiteX35781" fmla="*/ 898020 w 6884782"/>
              <a:gd name="connsiteY35781" fmla="*/ 2228051 h 5973007"/>
              <a:gd name="connsiteX35782" fmla="*/ 897193 w 6884782"/>
              <a:gd name="connsiteY35782" fmla="*/ 2228205 h 5973007"/>
              <a:gd name="connsiteX35783" fmla="*/ 897090 w 6884782"/>
              <a:gd name="connsiteY35783" fmla="*/ 2228051 h 5973007"/>
              <a:gd name="connsiteX35784" fmla="*/ 896677 w 6884782"/>
              <a:gd name="connsiteY35784" fmla="*/ 2228670 h 5973007"/>
              <a:gd name="connsiteX35785" fmla="*/ 899052 w 6884782"/>
              <a:gd name="connsiteY35785" fmla="*/ 2229290 h 5973007"/>
              <a:gd name="connsiteX35786" fmla="*/ 895025 w 6884782"/>
              <a:gd name="connsiteY35786" fmla="*/ 2241991 h 5973007"/>
              <a:gd name="connsiteX35787" fmla="*/ 888004 w 6884782"/>
              <a:gd name="connsiteY35787" fmla="*/ 2239048 h 5973007"/>
              <a:gd name="connsiteX35788" fmla="*/ 886145 w 6884782"/>
              <a:gd name="connsiteY35788" fmla="*/ 2233472 h 5973007"/>
              <a:gd name="connsiteX35789" fmla="*/ 888726 w 6884782"/>
              <a:gd name="connsiteY35789" fmla="*/ 2228980 h 5973007"/>
              <a:gd name="connsiteX35790" fmla="*/ 892340 w 6884782"/>
              <a:gd name="connsiteY35790" fmla="*/ 2227741 h 5973007"/>
              <a:gd name="connsiteX35791" fmla="*/ 892547 w 6884782"/>
              <a:gd name="connsiteY35791" fmla="*/ 2227741 h 5973007"/>
              <a:gd name="connsiteX35792" fmla="*/ 891618 w 6884782"/>
              <a:gd name="connsiteY35792" fmla="*/ 2226501 h 5973007"/>
              <a:gd name="connsiteX35793" fmla="*/ 891618 w 6884782"/>
              <a:gd name="connsiteY35793" fmla="*/ 2224798 h 5973007"/>
              <a:gd name="connsiteX35794" fmla="*/ 893373 w 6884782"/>
              <a:gd name="connsiteY35794" fmla="*/ 2223868 h 5973007"/>
              <a:gd name="connsiteX35795" fmla="*/ 896884 w 6884782"/>
              <a:gd name="connsiteY35795" fmla="*/ 2223249 h 5973007"/>
              <a:gd name="connsiteX35796" fmla="*/ 6364177 w 6884782"/>
              <a:gd name="connsiteY35796" fmla="*/ 2221955 h 5973007"/>
              <a:gd name="connsiteX35797" fmla="*/ 6369726 w 6884782"/>
              <a:gd name="connsiteY35797" fmla="*/ 2222667 h 5973007"/>
              <a:gd name="connsiteX35798" fmla="*/ 6371647 w 6884782"/>
              <a:gd name="connsiteY35798" fmla="*/ 2233906 h 5973007"/>
              <a:gd name="connsiteX35799" fmla="*/ 6359909 w 6884782"/>
              <a:gd name="connsiteY35799" fmla="*/ 2222667 h 5973007"/>
              <a:gd name="connsiteX35800" fmla="*/ 6364177 w 6884782"/>
              <a:gd name="connsiteY35800" fmla="*/ 2221955 h 5973007"/>
              <a:gd name="connsiteX35801" fmla="*/ 5341469 w 6884782"/>
              <a:gd name="connsiteY35801" fmla="*/ 2220532 h 5973007"/>
              <a:gd name="connsiteX35802" fmla="*/ 5339549 w 6884782"/>
              <a:gd name="connsiteY35802" fmla="*/ 2245572 h 5973007"/>
              <a:gd name="connsiteX35803" fmla="*/ 5341469 w 6884782"/>
              <a:gd name="connsiteY35803" fmla="*/ 2220532 h 5973007"/>
              <a:gd name="connsiteX35804" fmla="*/ 5602055 w 6884782"/>
              <a:gd name="connsiteY35804" fmla="*/ 2218825 h 5973007"/>
              <a:gd name="connsiteX35805" fmla="*/ 5606750 w 6884782"/>
              <a:gd name="connsiteY35805" fmla="*/ 2219110 h 5973007"/>
              <a:gd name="connsiteX35806" fmla="*/ 5602695 w 6884782"/>
              <a:gd name="connsiteY35806" fmla="*/ 2225654 h 5973007"/>
              <a:gd name="connsiteX35807" fmla="*/ 5602055 w 6884782"/>
              <a:gd name="connsiteY35807" fmla="*/ 2218825 h 5973007"/>
              <a:gd name="connsiteX35808" fmla="*/ 841177 w 6884782"/>
              <a:gd name="connsiteY35808" fmla="*/ 2218138 h 5973007"/>
              <a:gd name="connsiteX35809" fmla="*/ 850419 w 6884782"/>
              <a:gd name="connsiteY35809" fmla="*/ 2219686 h 5973007"/>
              <a:gd name="connsiteX35810" fmla="*/ 849283 w 6884782"/>
              <a:gd name="connsiteY35810" fmla="*/ 2227896 h 5973007"/>
              <a:gd name="connsiteX35811" fmla="*/ 835550 w 6884782"/>
              <a:gd name="connsiteY35811" fmla="*/ 2225108 h 5973007"/>
              <a:gd name="connsiteX35812" fmla="*/ 835343 w 6884782"/>
              <a:gd name="connsiteY35812" fmla="*/ 2221700 h 5973007"/>
              <a:gd name="connsiteX35813" fmla="*/ 841177 w 6884782"/>
              <a:gd name="connsiteY35813" fmla="*/ 2218138 h 5973007"/>
              <a:gd name="connsiteX35814" fmla="*/ 1031117 w 6884782"/>
              <a:gd name="connsiteY35814" fmla="*/ 2217208 h 5973007"/>
              <a:gd name="connsiteX35815" fmla="*/ 1035454 w 6884782"/>
              <a:gd name="connsiteY35815" fmla="*/ 2221235 h 5973007"/>
              <a:gd name="connsiteX35816" fmla="*/ 1037312 w 6884782"/>
              <a:gd name="connsiteY35816" fmla="*/ 2221855 h 5973007"/>
              <a:gd name="connsiteX35817" fmla="*/ 1040410 w 6884782"/>
              <a:gd name="connsiteY35817" fmla="*/ 2221235 h 5973007"/>
              <a:gd name="connsiteX35818" fmla="*/ 1044024 w 6884782"/>
              <a:gd name="connsiteY35818" fmla="*/ 2228360 h 5973007"/>
              <a:gd name="connsiteX35819" fmla="*/ 1040306 w 6884782"/>
              <a:gd name="connsiteY35819" fmla="*/ 2238119 h 5973007"/>
              <a:gd name="connsiteX35820" fmla="*/ 1037416 w 6884782"/>
              <a:gd name="connsiteY35820" fmla="*/ 2239048 h 5973007"/>
              <a:gd name="connsiteX35821" fmla="*/ 1037519 w 6884782"/>
              <a:gd name="connsiteY35821" fmla="*/ 2241681 h 5973007"/>
              <a:gd name="connsiteX35822" fmla="*/ 1043714 w 6884782"/>
              <a:gd name="connsiteY35822" fmla="*/ 2255777 h 5973007"/>
              <a:gd name="connsiteX35823" fmla="*/ 1043817 w 6884782"/>
              <a:gd name="connsiteY35823" fmla="*/ 2257636 h 5973007"/>
              <a:gd name="connsiteX35824" fmla="*/ 1041649 w 6884782"/>
              <a:gd name="connsiteY35824" fmla="*/ 2259030 h 5973007"/>
              <a:gd name="connsiteX35825" fmla="*/ 1037519 w 6884782"/>
              <a:gd name="connsiteY35825" fmla="*/ 2251750 h 5973007"/>
              <a:gd name="connsiteX35826" fmla="*/ 1036280 w 6884782"/>
              <a:gd name="connsiteY35826" fmla="*/ 2250356 h 5973007"/>
              <a:gd name="connsiteX35827" fmla="*/ 1032562 w 6884782"/>
              <a:gd name="connsiteY35827" fmla="*/ 2250975 h 5973007"/>
              <a:gd name="connsiteX35828" fmla="*/ 1026057 w 6884782"/>
              <a:gd name="connsiteY35828" fmla="*/ 2251130 h 5973007"/>
              <a:gd name="connsiteX35829" fmla="*/ 1016145 w 6884782"/>
              <a:gd name="connsiteY35829" fmla="*/ 2242921 h 5973007"/>
              <a:gd name="connsiteX35830" fmla="*/ 1016041 w 6884782"/>
              <a:gd name="connsiteY35830" fmla="*/ 2240133 h 5973007"/>
              <a:gd name="connsiteX35831" fmla="*/ 1013460 w 6884782"/>
              <a:gd name="connsiteY35831" fmla="*/ 2239358 h 5973007"/>
              <a:gd name="connsiteX35832" fmla="*/ 1009949 w 6884782"/>
              <a:gd name="connsiteY35832" fmla="*/ 2230219 h 5973007"/>
              <a:gd name="connsiteX35833" fmla="*/ 1009949 w 6884782"/>
              <a:gd name="connsiteY35833" fmla="*/ 2226812 h 5973007"/>
              <a:gd name="connsiteX35834" fmla="*/ 1016455 w 6884782"/>
              <a:gd name="connsiteY35834" fmla="*/ 2222165 h 5973007"/>
              <a:gd name="connsiteX35835" fmla="*/ 1019759 w 6884782"/>
              <a:gd name="connsiteY35835" fmla="*/ 2222165 h 5973007"/>
              <a:gd name="connsiteX35836" fmla="*/ 1019552 w 6884782"/>
              <a:gd name="connsiteY35836" fmla="*/ 2230839 h 5973007"/>
              <a:gd name="connsiteX35837" fmla="*/ 1019759 w 6884782"/>
              <a:gd name="connsiteY35837" fmla="*/ 2228515 h 5973007"/>
              <a:gd name="connsiteX35838" fmla="*/ 1021824 w 6884782"/>
              <a:gd name="connsiteY35838" fmla="*/ 2227586 h 5973007"/>
              <a:gd name="connsiteX35839" fmla="*/ 1026367 w 6884782"/>
              <a:gd name="connsiteY35839" fmla="*/ 2229445 h 5973007"/>
              <a:gd name="connsiteX35840" fmla="*/ 1029155 w 6884782"/>
              <a:gd name="connsiteY35840" fmla="*/ 2228205 h 5973007"/>
              <a:gd name="connsiteX35841" fmla="*/ 1030394 w 6884782"/>
              <a:gd name="connsiteY35841" fmla="*/ 2226812 h 5973007"/>
              <a:gd name="connsiteX35842" fmla="*/ 1029259 w 6884782"/>
              <a:gd name="connsiteY35842" fmla="*/ 2225108 h 5973007"/>
              <a:gd name="connsiteX35843" fmla="*/ 1029259 w 6884782"/>
              <a:gd name="connsiteY35843" fmla="*/ 2223094 h 5973007"/>
              <a:gd name="connsiteX35844" fmla="*/ 1028535 w 6884782"/>
              <a:gd name="connsiteY35844" fmla="*/ 2223558 h 5973007"/>
              <a:gd name="connsiteX35845" fmla="*/ 1029259 w 6884782"/>
              <a:gd name="connsiteY35845" fmla="*/ 2222939 h 5973007"/>
              <a:gd name="connsiteX35846" fmla="*/ 1027710 w 6884782"/>
              <a:gd name="connsiteY35846" fmla="*/ 2222784 h 5973007"/>
              <a:gd name="connsiteX35847" fmla="*/ 1026883 w 6884782"/>
              <a:gd name="connsiteY35847" fmla="*/ 2223868 h 5973007"/>
              <a:gd name="connsiteX35848" fmla="*/ 1024096 w 6884782"/>
              <a:gd name="connsiteY35848" fmla="*/ 2224488 h 5973007"/>
              <a:gd name="connsiteX35849" fmla="*/ 1023269 w 6884782"/>
              <a:gd name="connsiteY35849" fmla="*/ 2223558 h 5973007"/>
              <a:gd name="connsiteX35850" fmla="*/ 1023683 w 6884782"/>
              <a:gd name="connsiteY35850" fmla="*/ 2222010 h 5973007"/>
              <a:gd name="connsiteX35851" fmla="*/ 1024302 w 6884782"/>
              <a:gd name="connsiteY35851" fmla="*/ 2220925 h 5973007"/>
              <a:gd name="connsiteX35852" fmla="*/ 1023786 w 6884782"/>
              <a:gd name="connsiteY35852" fmla="*/ 2220615 h 5973007"/>
              <a:gd name="connsiteX35853" fmla="*/ 1022237 w 6884782"/>
              <a:gd name="connsiteY35853" fmla="*/ 2217518 h 5973007"/>
              <a:gd name="connsiteX35854" fmla="*/ 1031117 w 6884782"/>
              <a:gd name="connsiteY35854" fmla="*/ 2217208 h 5973007"/>
              <a:gd name="connsiteX35855" fmla="*/ 773389 w 6884782"/>
              <a:gd name="connsiteY35855" fmla="*/ 2216124 h 5973007"/>
              <a:gd name="connsiteX35856" fmla="*/ 779585 w 6884782"/>
              <a:gd name="connsiteY35856" fmla="*/ 2222010 h 5973007"/>
              <a:gd name="connsiteX35857" fmla="*/ 781753 w 6884782"/>
              <a:gd name="connsiteY35857" fmla="*/ 2224333 h 5973007"/>
              <a:gd name="connsiteX35858" fmla="*/ 786193 w 6884782"/>
              <a:gd name="connsiteY35858" fmla="*/ 2223404 h 5973007"/>
              <a:gd name="connsiteX35859" fmla="*/ 790014 w 6884782"/>
              <a:gd name="connsiteY35859" fmla="*/ 2225727 h 5973007"/>
              <a:gd name="connsiteX35860" fmla="*/ 780204 w 6884782"/>
              <a:gd name="connsiteY35860" fmla="*/ 2229290 h 5973007"/>
              <a:gd name="connsiteX35861" fmla="*/ 780307 w 6884782"/>
              <a:gd name="connsiteY35861" fmla="*/ 2227741 h 5973007"/>
              <a:gd name="connsiteX35862" fmla="*/ 776384 w 6884782"/>
              <a:gd name="connsiteY35862" fmla="*/ 2224953 h 5973007"/>
              <a:gd name="connsiteX35863" fmla="*/ 774628 w 6884782"/>
              <a:gd name="connsiteY35863" fmla="*/ 2222629 h 5973007"/>
              <a:gd name="connsiteX35864" fmla="*/ 773493 w 6884782"/>
              <a:gd name="connsiteY35864" fmla="*/ 2221080 h 5973007"/>
              <a:gd name="connsiteX35865" fmla="*/ 772460 w 6884782"/>
              <a:gd name="connsiteY35865" fmla="*/ 2219686 h 5973007"/>
              <a:gd name="connsiteX35866" fmla="*/ 772150 w 6884782"/>
              <a:gd name="connsiteY35866" fmla="*/ 2217982 h 5973007"/>
              <a:gd name="connsiteX35867" fmla="*/ 773389 w 6884782"/>
              <a:gd name="connsiteY35867" fmla="*/ 2216124 h 5973007"/>
              <a:gd name="connsiteX35868" fmla="*/ 5180978 w 6884782"/>
              <a:gd name="connsiteY35868" fmla="*/ 2215695 h 5973007"/>
              <a:gd name="connsiteX35869" fmla="*/ 5186527 w 6884782"/>
              <a:gd name="connsiteY35869" fmla="*/ 2217687 h 5973007"/>
              <a:gd name="connsiteX35870" fmla="*/ 5178844 w 6884782"/>
              <a:gd name="connsiteY35870" fmla="*/ 2226934 h 5973007"/>
              <a:gd name="connsiteX35871" fmla="*/ 5167532 w 6884782"/>
              <a:gd name="connsiteY35871" fmla="*/ 2224516 h 5973007"/>
              <a:gd name="connsiteX35872" fmla="*/ 5180978 w 6884782"/>
              <a:gd name="connsiteY35872" fmla="*/ 2215695 h 5973007"/>
              <a:gd name="connsiteX35873" fmla="*/ 6209661 w 6884782"/>
              <a:gd name="connsiteY35873" fmla="*/ 2214557 h 5973007"/>
              <a:gd name="connsiteX35874" fmla="*/ 6220332 w 6884782"/>
              <a:gd name="connsiteY35874" fmla="*/ 2216691 h 5973007"/>
              <a:gd name="connsiteX35875" fmla="*/ 6221399 w 6884782"/>
              <a:gd name="connsiteY35875" fmla="*/ 2219110 h 5973007"/>
              <a:gd name="connsiteX35876" fmla="*/ 6218412 w 6884782"/>
              <a:gd name="connsiteY35876" fmla="*/ 2220959 h 5973007"/>
              <a:gd name="connsiteX35877" fmla="*/ 6209661 w 6884782"/>
              <a:gd name="connsiteY35877" fmla="*/ 2214557 h 5973007"/>
              <a:gd name="connsiteX35878" fmla="*/ 5219180 w 6884782"/>
              <a:gd name="connsiteY35878" fmla="*/ 2213419 h 5973007"/>
              <a:gd name="connsiteX35879" fmla="*/ 5221528 w 6884782"/>
              <a:gd name="connsiteY35879" fmla="*/ 2214557 h 5973007"/>
              <a:gd name="connsiteX35880" fmla="*/ 5222168 w 6884782"/>
              <a:gd name="connsiteY35880" fmla="*/ 2216691 h 5973007"/>
              <a:gd name="connsiteX35881" fmla="*/ 5220674 w 6884782"/>
              <a:gd name="connsiteY35881" fmla="*/ 2219110 h 5973007"/>
              <a:gd name="connsiteX35882" fmla="*/ 5216619 w 6884782"/>
              <a:gd name="connsiteY35882" fmla="*/ 2221670 h 5973007"/>
              <a:gd name="connsiteX35883" fmla="*/ 5213418 w 6884782"/>
              <a:gd name="connsiteY35883" fmla="*/ 2220959 h 5973007"/>
              <a:gd name="connsiteX35884" fmla="*/ 5213418 w 6884782"/>
              <a:gd name="connsiteY35884" fmla="*/ 2218256 h 5973007"/>
              <a:gd name="connsiteX35885" fmla="*/ 5212350 w 6884782"/>
              <a:gd name="connsiteY35885" fmla="*/ 2216264 h 5973007"/>
              <a:gd name="connsiteX35886" fmla="*/ 5213418 w 6884782"/>
              <a:gd name="connsiteY35886" fmla="*/ 2215553 h 5973007"/>
              <a:gd name="connsiteX35887" fmla="*/ 5213845 w 6884782"/>
              <a:gd name="connsiteY35887" fmla="*/ 2213846 h 5973007"/>
              <a:gd name="connsiteX35888" fmla="*/ 5219180 w 6884782"/>
              <a:gd name="connsiteY35888" fmla="*/ 2213419 h 5973007"/>
              <a:gd name="connsiteX35889" fmla="*/ 5226436 w 6884782"/>
              <a:gd name="connsiteY35889" fmla="*/ 2212850 h 5973007"/>
              <a:gd name="connsiteX35890" fmla="*/ 5231985 w 6884782"/>
              <a:gd name="connsiteY35890" fmla="*/ 2213134 h 5973007"/>
              <a:gd name="connsiteX35891" fmla="*/ 5242443 w 6884782"/>
              <a:gd name="connsiteY35891" fmla="*/ 2217545 h 5973007"/>
              <a:gd name="connsiteX35892" fmla="*/ 5244363 w 6884782"/>
              <a:gd name="connsiteY35892" fmla="*/ 2225369 h 5973007"/>
              <a:gd name="connsiteX35893" fmla="*/ 5222168 w 6884782"/>
              <a:gd name="connsiteY35893" fmla="*/ 2215126 h 5973007"/>
              <a:gd name="connsiteX35894" fmla="*/ 5226436 w 6884782"/>
              <a:gd name="connsiteY35894" fmla="*/ 2212850 h 5973007"/>
              <a:gd name="connsiteX35895" fmla="*/ 5702575 w 6884782"/>
              <a:gd name="connsiteY35895" fmla="*/ 2211996 h 5973007"/>
              <a:gd name="connsiteX35896" fmla="*/ 5705137 w 6884782"/>
              <a:gd name="connsiteY35896" fmla="*/ 2211996 h 5973007"/>
              <a:gd name="connsiteX35897" fmla="*/ 5711966 w 6884782"/>
              <a:gd name="connsiteY35897" fmla="*/ 2216264 h 5973007"/>
              <a:gd name="connsiteX35898" fmla="*/ 5690624 w 6884782"/>
              <a:gd name="connsiteY35898" fmla="*/ 2223093 h 5973007"/>
              <a:gd name="connsiteX35899" fmla="*/ 5687850 w 6884782"/>
              <a:gd name="connsiteY35899" fmla="*/ 2223093 h 5973007"/>
              <a:gd name="connsiteX35900" fmla="*/ 5686783 w 6884782"/>
              <a:gd name="connsiteY35900" fmla="*/ 2219821 h 5973007"/>
              <a:gd name="connsiteX35901" fmla="*/ 5702575 w 6884782"/>
              <a:gd name="connsiteY35901" fmla="*/ 2211996 h 5973007"/>
              <a:gd name="connsiteX35902" fmla="*/ 5685929 w 6884782"/>
              <a:gd name="connsiteY35902" fmla="*/ 2211285 h 5973007"/>
              <a:gd name="connsiteX35903" fmla="*/ 5687850 w 6884782"/>
              <a:gd name="connsiteY35903" fmla="*/ 2212850 h 5973007"/>
              <a:gd name="connsiteX35904" fmla="*/ 5685502 w 6884782"/>
              <a:gd name="connsiteY35904" fmla="*/ 2216549 h 5973007"/>
              <a:gd name="connsiteX35905" fmla="*/ 5687423 w 6884782"/>
              <a:gd name="connsiteY35905" fmla="*/ 2218114 h 5973007"/>
              <a:gd name="connsiteX35906" fmla="*/ 5686783 w 6884782"/>
              <a:gd name="connsiteY35906" fmla="*/ 2219821 h 5973007"/>
              <a:gd name="connsiteX35907" fmla="*/ 5683155 w 6884782"/>
              <a:gd name="connsiteY35907" fmla="*/ 2220248 h 5973007"/>
              <a:gd name="connsiteX35908" fmla="*/ 5685716 w 6884782"/>
              <a:gd name="connsiteY35908" fmla="*/ 2213846 h 5973007"/>
              <a:gd name="connsiteX35909" fmla="*/ 5685929 w 6884782"/>
              <a:gd name="connsiteY35909" fmla="*/ 2211285 h 5973007"/>
              <a:gd name="connsiteX35910" fmla="*/ 985374 w 6884782"/>
              <a:gd name="connsiteY35910" fmla="*/ 2210547 h 5973007"/>
              <a:gd name="connsiteX35911" fmla="*/ 985787 w 6884782"/>
              <a:gd name="connsiteY35911" fmla="*/ 2211322 h 5973007"/>
              <a:gd name="connsiteX35912" fmla="*/ 986923 w 6884782"/>
              <a:gd name="connsiteY35912" fmla="*/ 2211941 h 5973007"/>
              <a:gd name="connsiteX35913" fmla="*/ 986613 w 6884782"/>
              <a:gd name="connsiteY35913" fmla="*/ 2215504 h 5973007"/>
              <a:gd name="connsiteX35914" fmla="*/ 985374 w 6884782"/>
              <a:gd name="connsiteY35914" fmla="*/ 2217053 h 5973007"/>
              <a:gd name="connsiteX35915" fmla="*/ 983722 w 6884782"/>
              <a:gd name="connsiteY35915" fmla="*/ 2217363 h 5973007"/>
              <a:gd name="connsiteX35916" fmla="*/ 982277 w 6884782"/>
              <a:gd name="connsiteY35916" fmla="*/ 2215969 h 5973007"/>
              <a:gd name="connsiteX35917" fmla="*/ 980934 w 6884782"/>
              <a:gd name="connsiteY35917" fmla="*/ 2214265 h 5973007"/>
              <a:gd name="connsiteX35918" fmla="*/ 980934 w 6884782"/>
              <a:gd name="connsiteY35918" fmla="*/ 2212716 h 5973007"/>
              <a:gd name="connsiteX35919" fmla="*/ 981864 w 6884782"/>
              <a:gd name="connsiteY35919" fmla="*/ 2210702 h 5973007"/>
              <a:gd name="connsiteX35920" fmla="*/ 983825 w 6884782"/>
              <a:gd name="connsiteY35920" fmla="*/ 2211012 h 5973007"/>
              <a:gd name="connsiteX35921" fmla="*/ 985374 w 6884782"/>
              <a:gd name="connsiteY35921" fmla="*/ 2210547 h 5973007"/>
              <a:gd name="connsiteX35922" fmla="*/ 756868 w 6884782"/>
              <a:gd name="connsiteY35922" fmla="*/ 2209928 h 5973007"/>
              <a:gd name="connsiteX35923" fmla="*/ 757797 w 6884782"/>
              <a:gd name="connsiteY35923" fmla="*/ 2219686 h 5973007"/>
              <a:gd name="connsiteX35924" fmla="*/ 753048 w 6884782"/>
              <a:gd name="connsiteY35924" fmla="*/ 2217827 h 5973007"/>
              <a:gd name="connsiteX35925" fmla="*/ 756868 w 6884782"/>
              <a:gd name="connsiteY35925" fmla="*/ 2209928 h 5973007"/>
              <a:gd name="connsiteX35926" fmla="*/ 804160 w 6884782"/>
              <a:gd name="connsiteY35926" fmla="*/ 2209463 h 5973007"/>
              <a:gd name="connsiteX35927" fmla="*/ 805192 w 6884782"/>
              <a:gd name="connsiteY35927" fmla="*/ 2210857 h 5973007"/>
              <a:gd name="connsiteX35928" fmla="*/ 806741 w 6884782"/>
              <a:gd name="connsiteY35928" fmla="*/ 2211632 h 5973007"/>
              <a:gd name="connsiteX35929" fmla="*/ 806225 w 6884782"/>
              <a:gd name="connsiteY35929" fmla="*/ 2212251 h 5973007"/>
              <a:gd name="connsiteX35930" fmla="*/ 806534 w 6884782"/>
              <a:gd name="connsiteY35930" fmla="*/ 2213490 h 5973007"/>
              <a:gd name="connsiteX35931" fmla="*/ 803231 w 6884782"/>
              <a:gd name="connsiteY35931" fmla="*/ 2215814 h 5973007"/>
              <a:gd name="connsiteX35932" fmla="*/ 801268 w 6884782"/>
              <a:gd name="connsiteY35932" fmla="*/ 2216124 h 5973007"/>
              <a:gd name="connsiteX35933" fmla="*/ 799823 w 6884782"/>
              <a:gd name="connsiteY35933" fmla="*/ 2215194 h 5973007"/>
              <a:gd name="connsiteX35934" fmla="*/ 800029 w 6884782"/>
              <a:gd name="connsiteY35934" fmla="*/ 2213335 h 5973007"/>
              <a:gd name="connsiteX35935" fmla="*/ 801682 w 6884782"/>
              <a:gd name="connsiteY35935" fmla="*/ 2210237 h 5973007"/>
              <a:gd name="connsiteX35936" fmla="*/ 804160 w 6884782"/>
              <a:gd name="connsiteY35936" fmla="*/ 2209463 h 5973007"/>
              <a:gd name="connsiteX35937" fmla="*/ 6328109 w 6884782"/>
              <a:gd name="connsiteY35937" fmla="*/ 2209293 h 5973007"/>
              <a:gd name="connsiteX35938" fmla="*/ 6315304 w 6884782"/>
              <a:gd name="connsiteY35938" fmla="*/ 2230207 h 5973007"/>
              <a:gd name="connsiteX35939" fmla="*/ 6292041 w 6884782"/>
              <a:gd name="connsiteY35939" fmla="*/ 2232483 h 5973007"/>
              <a:gd name="connsiteX35940" fmla="*/ 6328109 w 6884782"/>
              <a:gd name="connsiteY35940" fmla="*/ 2209293 h 5973007"/>
              <a:gd name="connsiteX35941" fmla="*/ 1047328 w 6884782"/>
              <a:gd name="connsiteY35941" fmla="*/ 2208844 h 5973007"/>
              <a:gd name="connsiteX35942" fmla="*/ 1050942 w 6884782"/>
              <a:gd name="connsiteY35942" fmla="*/ 2208844 h 5973007"/>
              <a:gd name="connsiteX35943" fmla="*/ 1055692 w 6884782"/>
              <a:gd name="connsiteY35943" fmla="*/ 2214575 h 5973007"/>
              <a:gd name="connsiteX35944" fmla="*/ 1049703 w 6884782"/>
              <a:gd name="connsiteY35944" fmla="*/ 2222319 h 5973007"/>
              <a:gd name="connsiteX35945" fmla="*/ 1045676 w 6884782"/>
              <a:gd name="connsiteY35945" fmla="*/ 2221700 h 5973007"/>
              <a:gd name="connsiteX35946" fmla="*/ 1040513 w 6884782"/>
              <a:gd name="connsiteY35946" fmla="*/ 2217053 h 5973007"/>
              <a:gd name="connsiteX35947" fmla="*/ 1047328 w 6884782"/>
              <a:gd name="connsiteY35947" fmla="*/ 2208844 h 5973007"/>
              <a:gd name="connsiteX35948" fmla="*/ 5684435 w 6884782"/>
              <a:gd name="connsiteY35948" fmla="*/ 2208013 h 5973007"/>
              <a:gd name="connsiteX35949" fmla="*/ 5677392 w 6884782"/>
              <a:gd name="connsiteY35949" fmla="*/ 2212708 h 5973007"/>
              <a:gd name="connsiteX35950" fmla="*/ 5676752 w 6884782"/>
              <a:gd name="connsiteY35950" fmla="*/ 2212850 h 5973007"/>
              <a:gd name="connsiteX35951" fmla="*/ 5678886 w 6884782"/>
              <a:gd name="connsiteY35951" fmla="*/ 2215268 h 5973007"/>
              <a:gd name="connsiteX35952" fmla="*/ 5682301 w 6884782"/>
              <a:gd name="connsiteY35952" fmla="*/ 2226508 h 5973007"/>
              <a:gd name="connsiteX35953" fmla="*/ 5681020 w 6884782"/>
              <a:gd name="connsiteY35953" fmla="*/ 2229495 h 5973007"/>
              <a:gd name="connsiteX35954" fmla="*/ 5682088 w 6884782"/>
              <a:gd name="connsiteY35954" fmla="*/ 2232056 h 5973007"/>
              <a:gd name="connsiteX35955" fmla="*/ 5683795 w 6884782"/>
              <a:gd name="connsiteY35955" fmla="*/ 2249839 h 5973007"/>
              <a:gd name="connsiteX35956" fmla="*/ 5673550 w 6884782"/>
              <a:gd name="connsiteY35956" fmla="*/ 2235755 h 5973007"/>
              <a:gd name="connsiteX35957" fmla="*/ 5673550 w 6884782"/>
              <a:gd name="connsiteY35957" fmla="*/ 2231629 h 5973007"/>
              <a:gd name="connsiteX35958" fmla="*/ 5669922 w 6884782"/>
              <a:gd name="connsiteY35958" fmla="*/ 2229211 h 5973007"/>
              <a:gd name="connsiteX35959" fmla="*/ 5669709 w 6884782"/>
              <a:gd name="connsiteY35959" fmla="*/ 2209151 h 5973007"/>
              <a:gd name="connsiteX35960" fmla="*/ 5674191 w 6884782"/>
              <a:gd name="connsiteY35960" fmla="*/ 2209862 h 5973007"/>
              <a:gd name="connsiteX35961" fmla="*/ 5674618 w 6884782"/>
              <a:gd name="connsiteY35961" fmla="*/ 2210289 h 5973007"/>
              <a:gd name="connsiteX35962" fmla="*/ 5675685 w 6884782"/>
              <a:gd name="connsiteY35962" fmla="*/ 2209862 h 5973007"/>
              <a:gd name="connsiteX35963" fmla="*/ 5684435 w 6884782"/>
              <a:gd name="connsiteY35963" fmla="*/ 2208013 h 5973007"/>
              <a:gd name="connsiteX35964" fmla="*/ 1024818 w 6884782"/>
              <a:gd name="connsiteY35964" fmla="*/ 2207295 h 5973007"/>
              <a:gd name="connsiteX35965" fmla="*/ 1024096 w 6884782"/>
              <a:gd name="connsiteY35965" fmla="*/ 2207759 h 5973007"/>
              <a:gd name="connsiteX35966" fmla="*/ 1025025 w 6884782"/>
              <a:gd name="connsiteY35966" fmla="*/ 2209153 h 5973007"/>
              <a:gd name="connsiteX35967" fmla="*/ 1025748 w 6884782"/>
              <a:gd name="connsiteY35967" fmla="*/ 2208689 h 5973007"/>
              <a:gd name="connsiteX35968" fmla="*/ 1025954 w 6884782"/>
              <a:gd name="connsiteY35968" fmla="*/ 2210547 h 5973007"/>
              <a:gd name="connsiteX35969" fmla="*/ 1021927 w 6884782"/>
              <a:gd name="connsiteY35969" fmla="*/ 2216124 h 5973007"/>
              <a:gd name="connsiteX35970" fmla="*/ 1019655 w 6884782"/>
              <a:gd name="connsiteY35970" fmla="*/ 2212716 h 5973007"/>
              <a:gd name="connsiteX35971" fmla="*/ 1020998 w 6884782"/>
              <a:gd name="connsiteY35971" fmla="*/ 2209309 h 5973007"/>
              <a:gd name="connsiteX35972" fmla="*/ 1024818 w 6884782"/>
              <a:gd name="connsiteY35972" fmla="*/ 2207295 h 5973007"/>
              <a:gd name="connsiteX35973" fmla="*/ 5358756 w 6884782"/>
              <a:gd name="connsiteY35973" fmla="*/ 2207017 h 5973007"/>
              <a:gd name="connsiteX35974" fmla="*/ 5370281 w 6884782"/>
              <a:gd name="connsiteY35974" fmla="*/ 2219963 h 5973007"/>
              <a:gd name="connsiteX35975" fmla="*/ 5370922 w 6884782"/>
              <a:gd name="connsiteY35975" fmla="*/ 2227077 h 5973007"/>
              <a:gd name="connsiteX35976" fmla="*/ 5374336 w 6884782"/>
              <a:gd name="connsiteY35976" fmla="*/ 2224374 h 5973007"/>
              <a:gd name="connsiteX35977" fmla="*/ 5380952 w 6884782"/>
              <a:gd name="connsiteY35977" fmla="*/ 2223378 h 5973007"/>
              <a:gd name="connsiteX35978" fmla="*/ 5384794 w 6884782"/>
              <a:gd name="connsiteY35978" fmla="*/ 2225796 h 5973007"/>
              <a:gd name="connsiteX35979" fmla="*/ 5358543 w 6884782"/>
              <a:gd name="connsiteY35979" fmla="*/ 2241303 h 5973007"/>
              <a:gd name="connsiteX35980" fmla="*/ 5362811 w 6884782"/>
              <a:gd name="connsiteY35980" fmla="*/ 2235898 h 5973007"/>
              <a:gd name="connsiteX35981" fmla="*/ 5363025 w 6884782"/>
              <a:gd name="connsiteY35981" fmla="*/ 2235471 h 5973007"/>
              <a:gd name="connsiteX35982" fmla="*/ 5362171 w 6884782"/>
              <a:gd name="connsiteY35982" fmla="*/ 2235471 h 5973007"/>
              <a:gd name="connsiteX35983" fmla="*/ 5354061 w 6884782"/>
              <a:gd name="connsiteY35983" fmla="*/ 2224800 h 5973007"/>
              <a:gd name="connsiteX35984" fmla="*/ 5358756 w 6884782"/>
              <a:gd name="connsiteY35984" fmla="*/ 2207017 h 5973007"/>
              <a:gd name="connsiteX35985" fmla="*/ 1064675 w 6884782"/>
              <a:gd name="connsiteY35985" fmla="*/ 2206210 h 5973007"/>
              <a:gd name="connsiteX35986" fmla="*/ 1066327 w 6884782"/>
              <a:gd name="connsiteY35986" fmla="*/ 2207759 h 5973007"/>
              <a:gd name="connsiteX35987" fmla="*/ 1065398 w 6884782"/>
              <a:gd name="connsiteY35987" fmla="*/ 2209463 h 5973007"/>
              <a:gd name="connsiteX35988" fmla="*/ 1065295 w 6884782"/>
              <a:gd name="connsiteY35988" fmla="*/ 2211167 h 5973007"/>
              <a:gd name="connsiteX35989" fmla="*/ 1064468 w 6884782"/>
              <a:gd name="connsiteY35989" fmla="*/ 2211167 h 5973007"/>
              <a:gd name="connsiteX35990" fmla="*/ 1063539 w 6884782"/>
              <a:gd name="connsiteY35990" fmla="*/ 2212096 h 5973007"/>
              <a:gd name="connsiteX35991" fmla="*/ 1060029 w 6884782"/>
              <a:gd name="connsiteY35991" fmla="*/ 2210547 h 5973007"/>
              <a:gd name="connsiteX35992" fmla="*/ 1059099 w 6884782"/>
              <a:gd name="connsiteY35992" fmla="*/ 2208998 h 5973007"/>
              <a:gd name="connsiteX35993" fmla="*/ 1059306 w 6884782"/>
              <a:gd name="connsiteY35993" fmla="*/ 2207295 h 5973007"/>
              <a:gd name="connsiteX35994" fmla="*/ 1061165 w 6884782"/>
              <a:gd name="connsiteY35994" fmla="*/ 2206365 h 5973007"/>
              <a:gd name="connsiteX35995" fmla="*/ 1064675 w 6884782"/>
              <a:gd name="connsiteY35995" fmla="*/ 2206210 h 5973007"/>
              <a:gd name="connsiteX35996" fmla="*/ 5014083 w 6884782"/>
              <a:gd name="connsiteY35996" fmla="*/ 2205879 h 5973007"/>
              <a:gd name="connsiteX35997" fmla="*/ 5022833 w 6884782"/>
              <a:gd name="connsiteY35997" fmla="*/ 2207870 h 5973007"/>
              <a:gd name="connsiteX35998" fmla="*/ 5017498 w 6884782"/>
              <a:gd name="connsiteY35998" fmla="*/ 2213419 h 5973007"/>
              <a:gd name="connsiteX35999" fmla="*/ 5008321 w 6884782"/>
              <a:gd name="connsiteY35999" fmla="*/ 2210574 h 5973007"/>
              <a:gd name="connsiteX36000" fmla="*/ 5014083 w 6884782"/>
              <a:gd name="connsiteY36000" fmla="*/ 2205879 h 5973007"/>
              <a:gd name="connsiteX36001" fmla="*/ 6335579 w 6884782"/>
              <a:gd name="connsiteY36001" fmla="*/ 2205594 h 5973007"/>
              <a:gd name="connsiteX36002" fmla="*/ 6337713 w 6884782"/>
              <a:gd name="connsiteY36002" fmla="*/ 2207017 h 5973007"/>
              <a:gd name="connsiteX36003" fmla="*/ 6337713 w 6884782"/>
              <a:gd name="connsiteY36003" fmla="*/ 2208155 h 5973007"/>
              <a:gd name="connsiteX36004" fmla="*/ 6337713 w 6884782"/>
              <a:gd name="connsiteY36004" fmla="*/ 2208439 h 5973007"/>
              <a:gd name="connsiteX36005" fmla="*/ 6336432 w 6884782"/>
              <a:gd name="connsiteY36005" fmla="*/ 2210289 h 5973007"/>
              <a:gd name="connsiteX36006" fmla="*/ 6334085 w 6884782"/>
              <a:gd name="connsiteY36006" fmla="*/ 2211000 h 5973007"/>
              <a:gd name="connsiteX36007" fmla="*/ 6333231 w 6884782"/>
              <a:gd name="connsiteY36007" fmla="*/ 2206305 h 5973007"/>
              <a:gd name="connsiteX36008" fmla="*/ 6335579 w 6884782"/>
              <a:gd name="connsiteY36008" fmla="*/ 2206590 h 5973007"/>
              <a:gd name="connsiteX36009" fmla="*/ 6335579 w 6884782"/>
              <a:gd name="connsiteY36009" fmla="*/ 2205594 h 5973007"/>
              <a:gd name="connsiteX36010" fmla="*/ 4641239 w 6884782"/>
              <a:gd name="connsiteY36010" fmla="*/ 2205025 h 5973007"/>
              <a:gd name="connsiteX36011" fmla="*/ 4649349 w 6884782"/>
              <a:gd name="connsiteY36011" fmla="*/ 2206163 h 5973007"/>
              <a:gd name="connsiteX36012" fmla="*/ 4646788 w 6884782"/>
              <a:gd name="connsiteY36012" fmla="*/ 2216406 h 5973007"/>
              <a:gd name="connsiteX36013" fmla="*/ 4642520 w 6884782"/>
              <a:gd name="connsiteY36013" fmla="*/ 2218541 h 5973007"/>
              <a:gd name="connsiteX36014" fmla="*/ 4637611 w 6884782"/>
              <a:gd name="connsiteY36014" fmla="*/ 2217687 h 5973007"/>
              <a:gd name="connsiteX36015" fmla="*/ 4629501 w 6884782"/>
              <a:gd name="connsiteY36015" fmla="*/ 2216691 h 5973007"/>
              <a:gd name="connsiteX36016" fmla="*/ 4628647 w 6884782"/>
              <a:gd name="connsiteY36016" fmla="*/ 2210716 h 5973007"/>
              <a:gd name="connsiteX36017" fmla="*/ 4641239 w 6884782"/>
              <a:gd name="connsiteY36017" fmla="*/ 2205025 h 5973007"/>
              <a:gd name="connsiteX36018" fmla="*/ 899052 w 6884782"/>
              <a:gd name="connsiteY36018" fmla="*/ 2204971 h 5973007"/>
              <a:gd name="connsiteX36019" fmla="*/ 907003 w 6884782"/>
              <a:gd name="connsiteY36019" fmla="*/ 2217363 h 5973007"/>
              <a:gd name="connsiteX36020" fmla="*/ 899775 w 6884782"/>
              <a:gd name="connsiteY36020" fmla="*/ 2217982 h 5973007"/>
              <a:gd name="connsiteX36021" fmla="*/ 899259 w 6884782"/>
              <a:gd name="connsiteY36021" fmla="*/ 2214575 h 5973007"/>
              <a:gd name="connsiteX36022" fmla="*/ 898020 w 6884782"/>
              <a:gd name="connsiteY36022" fmla="*/ 2214884 h 5973007"/>
              <a:gd name="connsiteX36023" fmla="*/ 894922 w 6884782"/>
              <a:gd name="connsiteY36023" fmla="*/ 2213955 h 5973007"/>
              <a:gd name="connsiteX36024" fmla="*/ 898020 w 6884782"/>
              <a:gd name="connsiteY36024" fmla="*/ 2209773 h 5973007"/>
              <a:gd name="connsiteX36025" fmla="*/ 898433 w 6884782"/>
              <a:gd name="connsiteY36025" fmla="*/ 2209618 h 5973007"/>
              <a:gd name="connsiteX36026" fmla="*/ 898123 w 6884782"/>
              <a:gd name="connsiteY36026" fmla="*/ 2208069 h 5973007"/>
              <a:gd name="connsiteX36027" fmla="*/ 899052 w 6884782"/>
              <a:gd name="connsiteY36027" fmla="*/ 2204971 h 5973007"/>
              <a:gd name="connsiteX36028" fmla="*/ 878401 w 6884782"/>
              <a:gd name="connsiteY36028" fmla="*/ 2204042 h 5973007"/>
              <a:gd name="connsiteX36029" fmla="*/ 876336 w 6884782"/>
              <a:gd name="connsiteY36029" fmla="*/ 2212561 h 5973007"/>
              <a:gd name="connsiteX36030" fmla="*/ 876129 w 6884782"/>
              <a:gd name="connsiteY36030" fmla="*/ 2213026 h 5973007"/>
              <a:gd name="connsiteX36031" fmla="*/ 877885 w 6884782"/>
              <a:gd name="connsiteY36031" fmla="*/ 2214420 h 5973007"/>
              <a:gd name="connsiteX36032" fmla="*/ 878297 w 6884782"/>
              <a:gd name="connsiteY36032" fmla="*/ 2218911 h 5973007"/>
              <a:gd name="connsiteX36033" fmla="*/ 875923 w 6884782"/>
              <a:gd name="connsiteY36033" fmla="*/ 2223558 h 5973007"/>
              <a:gd name="connsiteX36034" fmla="*/ 868282 w 6884782"/>
              <a:gd name="connsiteY36034" fmla="*/ 2226657 h 5973007"/>
              <a:gd name="connsiteX36035" fmla="*/ 866733 w 6884782"/>
              <a:gd name="connsiteY36035" fmla="*/ 2222629 h 5973007"/>
              <a:gd name="connsiteX36036" fmla="*/ 869108 w 6884782"/>
              <a:gd name="connsiteY36036" fmla="*/ 2217518 h 5973007"/>
              <a:gd name="connsiteX36037" fmla="*/ 871792 w 6884782"/>
              <a:gd name="connsiteY36037" fmla="*/ 2214575 h 5973007"/>
              <a:gd name="connsiteX36038" fmla="*/ 872102 w 6884782"/>
              <a:gd name="connsiteY36038" fmla="*/ 2211941 h 5973007"/>
              <a:gd name="connsiteX36039" fmla="*/ 873445 w 6884782"/>
              <a:gd name="connsiteY36039" fmla="*/ 2208998 h 5973007"/>
              <a:gd name="connsiteX36040" fmla="*/ 874167 w 6884782"/>
              <a:gd name="connsiteY36040" fmla="*/ 2207140 h 5973007"/>
              <a:gd name="connsiteX36041" fmla="*/ 874994 w 6884782"/>
              <a:gd name="connsiteY36041" fmla="*/ 2205281 h 5973007"/>
              <a:gd name="connsiteX36042" fmla="*/ 878401 w 6884782"/>
              <a:gd name="connsiteY36042" fmla="*/ 2204042 h 5973007"/>
              <a:gd name="connsiteX36043" fmla="*/ 6261522 w 6884782"/>
              <a:gd name="connsiteY36043" fmla="*/ 2203175 h 5973007"/>
              <a:gd name="connsiteX36044" fmla="*/ 6265791 w 6884782"/>
              <a:gd name="connsiteY36044" fmla="*/ 2205879 h 5973007"/>
              <a:gd name="connsiteX36045" fmla="*/ 6265791 w 6884782"/>
              <a:gd name="connsiteY36045" fmla="*/ 2204741 h 5973007"/>
              <a:gd name="connsiteX36046" fmla="*/ 6266644 w 6884782"/>
              <a:gd name="connsiteY36046" fmla="*/ 2211996 h 5973007"/>
              <a:gd name="connsiteX36047" fmla="*/ 6252559 w 6884782"/>
              <a:gd name="connsiteY36047" fmla="*/ 2212139 h 5973007"/>
              <a:gd name="connsiteX36048" fmla="*/ 6255546 w 6884782"/>
              <a:gd name="connsiteY36048" fmla="*/ 2204172 h 5973007"/>
              <a:gd name="connsiteX36049" fmla="*/ 6258961 w 6884782"/>
              <a:gd name="connsiteY36049" fmla="*/ 2203602 h 5973007"/>
              <a:gd name="connsiteX36050" fmla="*/ 6261522 w 6884782"/>
              <a:gd name="connsiteY36050" fmla="*/ 2203175 h 5973007"/>
              <a:gd name="connsiteX36051" fmla="*/ 5626598 w 6884782"/>
              <a:gd name="connsiteY36051" fmla="*/ 2201042 h 5973007"/>
              <a:gd name="connsiteX36052" fmla="*/ 5627665 w 6884782"/>
              <a:gd name="connsiteY36052" fmla="*/ 2202464 h 5973007"/>
              <a:gd name="connsiteX36053" fmla="*/ 5628092 w 6884782"/>
              <a:gd name="connsiteY36053" fmla="*/ 2202180 h 5973007"/>
              <a:gd name="connsiteX36054" fmla="*/ 5628306 w 6884782"/>
              <a:gd name="connsiteY36054" fmla="*/ 2202749 h 5973007"/>
              <a:gd name="connsiteX36055" fmla="*/ 5628946 w 6884782"/>
              <a:gd name="connsiteY36055" fmla="*/ 2202606 h 5973007"/>
              <a:gd name="connsiteX36056" fmla="*/ 5631507 w 6884782"/>
              <a:gd name="connsiteY36056" fmla="*/ 2203460 h 5973007"/>
              <a:gd name="connsiteX36057" fmla="*/ 5631507 w 6884782"/>
              <a:gd name="connsiteY36057" fmla="*/ 2209293 h 5973007"/>
              <a:gd name="connsiteX36058" fmla="*/ 5625531 w 6884782"/>
              <a:gd name="connsiteY36058" fmla="*/ 2212139 h 5973007"/>
              <a:gd name="connsiteX36059" fmla="*/ 5622116 w 6884782"/>
              <a:gd name="connsiteY36059" fmla="*/ 2214699 h 5973007"/>
              <a:gd name="connsiteX36060" fmla="*/ 5619342 w 6884782"/>
              <a:gd name="connsiteY36060" fmla="*/ 2213988 h 5973007"/>
              <a:gd name="connsiteX36061" fmla="*/ 5621050 w 6884782"/>
              <a:gd name="connsiteY36061" fmla="*/ 2214841 h 5973007"/>
              <a:gd name="connsiteX36062" fmla="*/ 5622330 w 6884782"/>
              <a:gd name="connsiteY36062" fmla="*/ 2216976 h 5973007"/>
              <a:gd name="connsiteX36063" fmla="*/ 5621050 w 6884782"/>
              <a:gd name="connsiteY36063" fmla="*/ 2219252 h 5973007"/>
              <a:gd name="connsiteX36064" fmla="*/ 5619769 w 6884782"/>
              <a:gd name="connsiteY36064" fmla="*/ 2221101 h 5973007"/>
              <a:gd name="connsiteX36065" fmla="*/ 5626385 w 6884782"/>
              <a:gd name="connsiteY36065" fmla="*/ 2217972 h 5973007"/>
              <a:gd name="connsiteX36066" fmla="*/ 5622543 w 6884782"/>
              <a:gd name="connsiteY36066" fmla="*/ 2230634 h 5973007"/>
              <a:gd name="connsiteX36067" fmla="*/ 5621690 w 6884782"/>
              <a:gd name="connsiteY36067" fmla="*/ 2238458 h 5973007"/>
              <a:gd name="connsiteX36068" fmla="*/ 5622330 w 6884782"/>
              <a:gd name="connsiteY36068" fmla="*/ 2238885 h 5973007"/>
              <a:gd name="connsiteX36069" fmla="*/ 5623610 w 6884782"/>
              <a:gd name="connsiteY36069" fmla="*/ 2238316 h 5973007"/>
              <a:gd name="connsiteX36070" fmla="*/ 5623610 w 6884782"/>
              <a:gd name="connsiteY36070" fmla="*/ 2238031 h 5973007"/>
              <a:gd name="connsiteX36071" fmla="*/ 5627665 w 6884782"/>
              <a:gd name="connsiteY36071" fmla="*/ 2228072 h 5973007"/>
              <a:gd name="connsiteX36072" fmla="*/ 5628733 w 6884782"/>
              <a:gd name="connsiteY36072" fmla="*/ 2229211 h 5973007"/>
              <a:gd name="connsiteX36073" fmla="*/ 5627238 w 6884782"/>
              <a:gd name="connsiteY36073" fmla="*/ 2237889 h 5973007"/>
              <a:gd name="connsiteX36074" fmla="*/ 5626598 w 6884782"/>
              <a:gd name="connsiteY36074" fmla="*/ 2239596 h 5973007"/>
              <a:gd name="connsiteX36075" fmla="*/ 5629373 w 6884782"/>
              <a:gd name="connsiteY36075" fmla="*/ 2238458 h 5973007"/>
              <a:gd name="connsiteX36076" fmla="*/ 5647513 w 6884782"/>
              <a:gd name="connsiteY36076" fmla="*/ 2234048 h 5973007"/>
              <a:gd name="connsiteX36077" fmla="*/ 5653063 w 6884782"/>
              <a:gd name="connsiteY36077" fmla="*/ 2235186 h 5973007"/>
              <a:gd name="connsiteX36078" fmla="*/ 5652208 w 6884782"/>
              <a:gd name="connsiteY36078" fmla="*/ 2231914 h 5973007"/>
              <a:gd name="connsiteX36079" fmla="*/ 5648367 w 6884782"/>
              <a:gd name="connsiteY36079" fmla="*/ 2231914 h 5973007"/>
              <a:gd name="connsiteX36080" fmla="*/ 5641537 w 6884782"/>
              <a:gd name="connsiteY36080" fmla="*/ 2216406 h 5973007"/>
              <a:gd name="connsiteX36081" fmla="*/ 5646020 w 6884782"/>
              <a:gd name="connsiteY36081" fmla="*/ 2214557 h 5973007"/>
              <a:gd name="connsiteX36082" fmla="*/ 5646873 w 6884782"/>
              <a:gd name="connsiteY36082" fmla="*/ 2214415 h 5973007"/>
              <a:gd name="connsiteX36083" fmla="*/ 5644525 w 6884782"/>
              <a:gd name="connsiteY36083" fmla="*/ 2211996 h 5973007"/>
              <a:gd name="connsiteX36084" fmla="*/ 5644312 w 6884782"/>
              <a:gd name="connsiteY36084" fmla="*/ 2211000 h 5973007"/>
              <a:gd name="connsiteX36085" fmla="*/ 5643032 w 6884782"/>
              <a:gd name="connsiteY36085" fmla="*/ 2210574 h 5973007"/>
              <a:gd name="connsiteX36086" fmla="*/ 5643032 w 6884782"/>
              <a:gd name="connsiteY36086" fmla="*/ 2209578 h 5973007"/>
              <a:gd name="connsiteX36087" fmla="*/ 5644099 w 6884782"/>
              <a:gd name="connsiteY36087" fmla="*/ 2210147 h 5973007"/>
              <a:gd name="connsiteX36088" fmla="*/ 5643885 w 6884782"/>
              <a:gd name="connsiteY36088" fmla="*/ 2208866 h 5973007"/>
              <a:gd name="connsiteX36089" fmla="*/ 5643032 w 6884782"/>
              <a:gd name="connsiteY36089" fmla="*/ 2209293 h 5973007"/>
              <a:gd name="connsiteX36090" fmla="*/ 5643245 w 6884782"/>
              <a:gd name="connsiteY36090" fmla="*/ 2206732 h 5973007"/>
              <a:gd name="connsiteX36091" fmla="*/ 5643672 w 6884782"/>
              <a:gd name="connsiteY36091" fmla="*/ 2207159 h 5973007"/>
              <a:gd name="connsiteX36092" fmla="*/ 5643885 w 6884782"/>
              <a:gd name="connsiteY36092" fmla="*/ 2208297 h 5973007"/>
              <a:gd name="connsiteX36093" fmla="*/ 5646233 w 6884782"/>
              <a:gd name="connsiteY36093" fmla="*/ 2204598 h 5973007"/>
              <a:gd name="connsiteX36094" fmla="*/ 5651355 w 6884782"/>
              <a:gd name="connsiteY36094" fmla="*/ 2203318 h 5973007"/>
              <a:gd name="connsiteX36095" fmla="*/ 5658184 w 6884782"/>
              <a:gd name="connsiteY36095" fmla="*/ 2206590 h 5973007"/>
              <a:gd name="connsiteX36096" fmla="*/ 5656263 w 6884782"/>
              <a:gd name="connsiteY36096" fmla="*/ 2211427 h 5973007"/>
              <a:gd name="connsiteX36097" fmla="*/ 5652849 w 6884782"/>
              <a:gd name="connsiteY36097" fmla="*/ 2215268 h 5973007"/>
              <a:gd name="connsiteX36098" fmla="*/ 5657544 w 6884782"/>
              <a:gd name="connsiteY36098" fmla="*/ 2222382 h 5973007"/>
              <a:gd name="connsiteX36099" fmla="*/ 5656904 w 6884782"/>
              <a:gd name="connsiteY36099" fmla="*/ 2224942 h 5973007"/>
              <a:gd name="connsiteX36100" fmla="*/ 5657544 w 6884782"/>
              <a:gd name="connsiteY36100" fmla="*/ 2225227 h 5973007"/>
              <a:gd name="connsiteX36101" fmla="*/ 5658184 w 6884782"/>
              <a:gd name="connsiteY36101" fmla="*/ 2228784 h 5973007"/>
              <a:gd name="connsiteX36102" fmla="*/ 5656263 w 6884782"/>
              <a:gd name="connsiteY36102" fmla="*/ 2228642 h 5973007"/>
              <a:gd name="connsiteX36103" fmla="*/ 5656050 w 6884782"/>
              <a:gd name="connsiteY36103" fmla="*/ 2229495 h 5973007"/>
              <a:gd name="connsiteX36104" fmla="*/ 5656050 w 6884782"/>
              <a:gd name="connsiteY36104" fmla="*/ 2230207 h 5973007"/>
              <a:gd name="connsiteX36105" fmla="*/ 5656477 w 6884782"/>
              <a:gd name="connsiteY36105" fmla="*/ 2232910 h 5973007"/>
              <a:gd name="connsiteX36106" fmla="*/ 5653489 w 6884782"/>
              <a:gd name="connsiteY36106" fmla="*/ 2236466 h 5973007"/>
              <a:gd name="connsiteX36107" fmla="*/ 5653276 w 6884782"/>
              <a:gd name="connsiteY36107" fmla="*/ 2236182 h 5973007"/>
              <a:gd name="connsiteX36108" fmla="*/ 5651355 w 6884782"/>
              <a:gd name="connsiteY36108" fmla="*/ 2239881 h 5973007"/>
              <a:gd name="connsiteX36109" fmla="*/ 5633854 w 6884782"/>
              <a:gd name="connsiteY36109" fmla="*/ 2249129 h 5973007"/>
              <a:gd name="connsiteX36110" fmla="*/ 5624464 w 6884782"/>
              <a:gd name="connsiteY36110" fmla="*/ 2249271 h 5973007"/>
              <a:gd name="connsiteX36111" fmla="*/ 5628946 w 6884782"/>
              <a:gd name="connsiteY36111" fmla="*/ 2252258 h 5973007"/>
              <a:gd name="connsiteX36112" fmla="*/ 5638336 w 6884782"/>
              <a:gd name="connsiteY36112" fmla="*/ 2260083 h 5973007"/>
              <a:gd name="connsiteX36113" fmla="*/ 5638336 w 6884782"/>
              <a:gd name="connsiteY36113" fmla="*/ 2261221 h 5973007"/>
              <a:gd name="connsiteX36114" fmla="*/ 5635775 w 6884782"/>
              <a:gd name="connsiteY36114" fmla="*/ 2262075 h 5973007"/>
              <a:gd name="connsiteX36115" fmla="*/ 5631293 w 6884782"/>
              <a:gd name="connsiteY36115" fmla="*/ 2259087 h 5973007"/>
              <a:gd name="connsiteX36116" fmla="*/ 5623397 w 6884782"/>
              <a:gd name="connsiteY36116" fmla="*/ 2249697 h 5973007"/>
              <a:gd name="connsiteX36117" fmla="*/ 5622543 w 6884782"/>
              <a:gd name="connsiteY36117" fmla="*/ 2249271 h 5973007"/>
              <a:gd name="connsiteX36118" fmla="*/ 5620195 w 6884782"/>
              <a:gd name="connsiteY36118" fmla="*/ 2249271 h 5973007"/>
              <a:gd name="connsiteX36119" fmla="*/ 5617421 w 6884782"/>
              <a:gd name="connsiteY36119" fmla="*/ 2247990 h 5973007"/>
              <a:gd name="connsiteX36120" fmla="*/ 5614007 w 6884782"/>
              <a:gd name="connsiteY36120" fmla="*/ 2249129 h 5973007"/>
              <a:gd name="connsiteX36121" fmla="*/ 5612726 w 6884782"/>
              <a:gd name="connsiteY36121" fmla="*/ 2245287 h 5973007"/>
              <a:gd name="connsiteX36122" fmla="*/ 5611872 w 6884782"/>
              <a:gd name="connsiteY36122" fmla="*/ 2255103 h 5973007"/>
              <a:gd name="connsiteX36123" fmla="*/ 5612299 w 6884782"/>
              <a:gd name="connsiteY36123" fmla="*/ 2258945 h 5973007"/>
              <a:gd name="connsiteX36124" fmla="*/ 5612512 w 6884782"/>
              <a:gd name="connsiteY36124" fmla="*/ 2259940 h 5973007"/>
              <a:gd name="connsiteX36125" fmla="*/ 5612939 w 6884782"/>
              <a:gd name="connsiteY36125" fmla="*/ 2260083 h 5973007"/>
              <a:gd name="connsiteX36126" fmla="*/ 5614433 w 6884782"/>
              <a:gd name="connsiteY36126" fmla="*/ 2267481 h 5973007"/>
              <a:gd name="connsiteX36127" fmla="*/ 5613580 w 6884782"/>
              <a:gd name="connsiteY36127" fmla="*/ 2271180 h 5973007"/>
              <a:gd name="connsiteX36128" fmla="*/ 5613793 w 6884782"/>
              <a:gd name="connsiteY36128" fmla="*/ 2271180 h 5973007"/>
              <a:gd name="connsiteX36129" fmla="*/ 5615927 w 6884782"/>
              <a:gd name="connsiteY36129" fmla="*/ 2271607 h 5973007"/>
              <a:gd name="connsiteX36130" fmla="*/ 5617421 w 6884782"/>
              <a:gd name="connsiteY36130" fmla="*/ 2289391 h 5973007"/>
              <a:gd name="connsiteX36131" fmla="*/ 5616567 w 6884782"/>
              <a:gd name="connsiteY36131" fmla="*/ 2291809 h 5973007"/>
              <a:gd name="connsiteX36132" fmla="*/ 5617848 w 6884782"/>
              <a:gd name="connsiteY36132" fmla="*/ 2291809 h 5973007"/>
              <a:gd name="connsiteX36133" fmla="*/ 5616567 w 6884782"/>
              <a:gd name="connsiteY36133" fmla="*/ 2292947 h 5973007"/>
              <a:gd name="connsiteX36134" fmla="*/ 5616567 w 6884782"/>
              <a:gd name="connsiteY36134" fmla="*/ 2293232 h 5973007"/>
              <a:gd name="connsiteX36135" fmla="*/ 5616567 w 6884782"/>
              <a:gd name="connsiteY36135" fmla="*/ 2294370 h 5973007"/>
              <a:gd name="connsiteX36136" fmla="*/ 5613366 w 6884782"/>
              <a:gd name="connsiteY36136" fmla="*/ 2298069 h 5973007"/>
              <a:gd name="connsiteX36137" fmla="*/ 5610592 w 6884782"/>
              <a:gd name="connsiteY36137" fmla="*/ 2297215 h 5973007"/>
              <a:gd name="connsiteX36138" fmla="*/ 5610165 w 6884782"/>
              <a:gd name="connsiteY36138" fmla="*/ 2296646 h 5973007"/>
              <a:gd name="connsiteX36139" fmla="*/ 5603976 w 6884782"/>
              <a:gd name="connsiteY36139" fmla="*/ 2297927 h 5973007"/>
              <a:gd name="connsiteX36140" fmla="*/ 5605256 w 6884782"/>
              <a:gd name="connsiteY36140" fmla="*/ 2291098 h 5973007"/>
              <a:gd name="connsiteX36141" fmla="*/ 5606323 w 6884782"/>
              <a:gd name="connsiteY36141" fmla="*/ 2290671 h 5973007"/>
              <a:gd name="connsiteX36142" fmla="*/ 5603336 w 6884782"/>
              <a:gd name="connsiteY36142" fmla="*/ 2289675 h 5973007"/>
              <a:gd name="connsiteX36143" fmla="*/ 5586262 w 6884782"/>
              <a:gd name="connsiteY36143" fmla="*/ 2287114 h 5973007"/>
              <a:gd name="connsiteX36144" fmla="*/ 5586262 w 6884782"/>
              <a:gd name="connsiteY36144" fmla="*/ 2278293 h 5973007"/>
              <a:gd name="connsiteX36145" fmla="*/ 5587329 w 6884782"/>
              <a:gd name="connsiteY36145" fmla="*/ 2276017 h 5973007"/>
              <a:gd name="connsiteX36146" fmla="*/ 5585835 w 6884782"/>
              <a:gd name="connsiteY36146" fmla="*/ 2277155 h 5973007"/>
              <a:gd name="connsiteX36147" fmla="*/ 5583274 w 6884782"/>
              <a:gd name="connsiteY36147" fmla="*/ 2272034 h 5973007"/>
              <a:gd name="connsiteX36148" fmla="*/ 5587969 w 6884782"/>
              <a:gd name="connsiteY36148" fmla="*/ 2270469 h 5973007"/>
              <a:gd name="connsiteX36149" fmla="*/ 5589250 w 6884782"/>
              <a:gd name="connsiteY36149" fmla="*/ 2271607 h 5973007"/>
              <a:gd name="connsiteX36150" fmla="*/ 5590317 w 6884782"/>
              <a:gd name="connsiteY36150" fmla="*/ 2272745 h 5973007"/>
              <a:gd name="connsiteX36151" fmla="*/ 5592451 w 6884782"/>
              <a:gd name="connsiteY36151" fmla="*/ 2270753 h 5973007"/>
              <a:gd name="connsiteX36152" fmla="*/ 5603549 w 6884782"/>
              <a:gd name="connsiteY36152" fmla="*/ 2269046 h 5973007"/>
              <a:gd name="connsiteX36153" fmla="*/ 5605256 w 6884782"/>
              <a:gd name="connsiteY36153" fmla="*/ 2270042 h 5973007"/>
              <a:gd name="connsiteX36154" fmla="*/ 5605256 w 6884782"/>
              <a:gd name="connsiteY36154" fmla="*/ 2269615 h 5973007"/>
              <a:gd name="connsiteX36155" fmla="*/ 5606323 w 6884782"/>
              <a:gd name="connsiteY36155" fmla="*/ 2266201 h 5973007"/>
              <a:gd name="connsiteX36156" fmla="*/ 5604403 w 6884782"/>
              <a:gd name="connsiteY36156" fmla="*/ 2266485 h 5973007"/>
              <a:gd name="connsiteX36157" fmla="*/ 5608458 w 6884782"/>
              <a:gd name="connsiteY36157" fmla="*/ 2244576 h 5973007"/>
              <a:gd name="connsiteX36158" fmla="*/ 5609524 w 6884782"/>
              <a:gd name="connsiteY36158" fmla="*/ 2242300 h 5973007"/>
              <a:gd name="connsiteX36159" fmla="*/ 5610592 w 6884782"/>
              <a:gd name="connsiteY36159" fmla="*/ 2241588 h 5973007"/>
              <a:gd name="connsiteX36160" fmla="*/ 5611232 w 6884782"/>
              <a:gd name="connsiteY36160" fmla="*/ 2242015 h 5973007"/>
              <a:gd name="connsiteX36161" fmla="*/ 5611872 w 6884782"/>
              <a:gd name="connsiteY36161" fmla="*/ 2242015 h 5973007"/>
              <a:gd name="connsiteX36162" fmla="*/ 5611659 w 6884782"/>
              <a:gd name="connsiteY36162" fmla="*/ 2241303 h 5973007"/>
              <a:gd name="connsiteX36163" fmla="*/ 5612512 w 6884782"/>
              <a:gd name="connsiteY36163" fmla="*/ 2237036 h 5973007"/>
              <a:gd name="connsiteX36164" fmla="*/ 5609952 w 6884782"/>
              <a:gd name="connsiteY36164" fmla="*/ 2236893 h 5973007"/>
              <a:gd name="connsiteX36165" fmla="*/ 5606110 w 6884782"/>
              <a:gd name="connsiteY36165" fmla="*/ 2238173 h 5973007"/>
              <a:gd name="connsiteX36166" fmla="*/ 5604189 w 6884782"/>
              <a:gd name="connsiteY36166" fmla="*/ 2236324 h 5973007"/>
              <a:gd name="connsiteX36167" fmla="*/ 5607177 w 6884782"/>
              <a:gd name="connsiteY36167" fmla="*/ 2234048 h 5973007"/>
              <a:gd name="connsiteX36168" fmla="*/ 5610379 w 6884782"/>
              <a:gd name="connsiteY36168" fmla="*/ 2236324 h 5973007"/>
              <a:gd name="connsiteX36169" fmla="*/ 5612726 w 6884782"/>
              <a:gd name="connsiteY36169" fmla="*/ 2236040 h 5973007"/>
              <a:gd name="connsiteX36170" fmla="*/ 5613366 w 6884782"/>
              <a:gd name="connsiteY36170" fmla="*/ 2231060 h 5973007"/>
              <a:gd name="connsiteX36171" fmla="*/ 5619129 w 6884782"/>
              <a:gd name="connsiteY36171" fmla="*/ 2221528 h 5973007"/>
              <a:gd name="connsiteX36172" fmla="*/ 5617208 w 6884782"/>
              <a:gd name="connsiteY36172" fmla="*/ 2221813 h 5973007"/>
              <a:gd name="connsiteX36173" fmla="*/ 5614007 w 6884782"/>
              <a:gd name="connsiteY36173" fmla="*/ 2220959 h 5973007"/>
              <a:gd name="connsiteX36174" fmla="*/ 5613793 w 6884782"/>
              <a:gd name="connsiteY36174" fmla="*/ 2219678 h 5973007"/>
              <a:gd name="connsiteX36175" fmla="*/ 5612299 w 6884782"/>
              <a:gd name="connsiteY36175" fmla="*/ 2219963 h 5973007"/>
              <a:gd name="connsiteX36176" fmla="*/ 5606750 w 6884782"/>
              <a:gd name="connsiteY36176" fmla="*/ 2219678 h 5973007"/>
              <a:gd name="connsiteX36177" fmla="*/ 5613366 w 6884782"/>
              <a:gd name="connsiteY36177" fmla="*/ 2217972 h 5973007"/>
              <a:gd name="connsiteX36178" fmla="*/ 5613580 w 6884782"/>
              <a:gd name="connsiteY36178" fmla="*/ 2217972 h 5973007"/>
              <a:gd name="connsiteX36179" fmla="*/ 5613580 w 6884782"/>
              <a:gd name="connsiteY36179" fmla="*/ 2216833 h 5973007"/>
              <a:gd name="connsiteX36180" fmla="*/ 5612299 w 6884782"/>
              <a:gd name="connsiteY36180" fmla="*/ 2216264 h 5973007"/>
              <a:gd name="connsiteX36181" fmla="*/ 5613153 w 6884782"/>
              <a:gd name="connsiteY36181" fmla="*/ 2215553 h 5973007"/>
              <a:gd name="connsiteX36182" fmla="*/ 5613366 w 6884782"/>
              <a:gd name="connsiteY36182" fmla="*/ 2213988 h 5973007"/>
              <a:gd name="connsiteX36183" fmla="*/ 5618702 w 6884782"/>
              <a:gd name="connsiteY36183" fmla="*/ 2213561 h 5973007"/>
              <a:gd name="connsiteX36184" fmla="*/ 5623397 w 6884782"/>
              <a:gd name="connsiteY36184" fmla="*/ 2204883 h 5973007"/>
              <a:gd name="connsiteX36185" fmla="*/ 5625958 w 6884782"/>
              <a:gd name="connsiteY36185" fmla="*/ 2203460 h 5973007"/>
              <a:gd name="connsiteX36186" fmla="*/ 1119401 w 6884782"/>
              <a:gd name="connsiteY36186" fmla="*/ 2200324 h 5973007"/>
              <a:gd name="connsiteX36187" fmla="*/ 1128797 w 6884782"/>
              <a:gd name="connsiteY36187" fmla="*/ 2201563 h 5973007"/>
              <a:gd name="connsiteX36188" fmla="*/ 1129520 w 6884782"/>
              <a:gd name="connsiteY36188" fmla="*/ 2204816 h 5973007"/>
              <a:gd name="connsiteX36189" fmla="*/ 1114858 w 6884782"/>
              <a:gd name="connsiteY36189" fmla="*/ 2211012 h 5973007"/>
              <a:gd name="connsiteX36190" fmla="*/ 1113309 w 6884782"/>
              <a:gd name="connsiteY36190" fmla="*/ 2208689 h 5973007"/>
              <a:gd name="connsiteX36191" fmla="*/ 1119401 w 6884782"/>
              <a:gd name="connsiteY36191" fmla="*/ 2200324 h 5973007"/>
              <a:gd name="connsiteX36192" fmla="*/ 785677 w 6884782"/>
              <a:gd name="connsiteY36192" fmla="*/ 2200324 h 5973007"/>
              <a:gd name="connsiteX36193" fmla="*/ 795486 w 6884782"/>
              <a:gd name="connsiteY36193" fmla="*/ 2201563 h 5973007"/>
              <a:gd name="connsiteX36194" fmla="*/ 794660 w 6884782"/>
              <a:gd name="connsiteY36194" fmla="*/ 2207605 h 5973007"/>
              <a:gd name="connsiteX36195" fmla="*/ 783095 w 6884782"/>
              <a:gd name="connsiteY36195" fmla="*/ 2201254 h 5973007"/>
              <a:gd name="connsiteX36196" fmla="*/ 785677 w 6884782"/>
              <a:gd name="connsiteY36196" fmla="*/ 2200324 h 5973007"/>
              <a:gd name="connsiteX36197" fmla="*/ 1094310 w 6884782"/>
              <a:gd name="connsiteY36197" fmla="*/ 2199550 h 5973007"/>
              <a:gd name="connsiteX36198" fmla="*/ 1105048 w 6884782"/>
              <a:gd name="connsiteY36198" fmla="*/ 2201718 h 5973007"/>
              <a:gd name="connsiteX36199" fmla="*/ 1102777 w 6884782"/>
              <a:gd name="connsiteY36199" fmla="*/ 2202802 h 5973007"/>
              <a:gd name="connsiteX36200" fmla="*/ 1092038 w 6884782"/>
              <a:gd name="connsiteY36200" fmla="*/ 2200479 h 5973007"/>
              <a:gd name="connsiteX36201" fmla="*/ 1094310 w 6884782"/>
              <a:gd name="connsiteY36201" fmla="*/ 2199550 h 5973007"/>
              <a:gd name="connsiteX36202" fmla="*/ 933643 w 6884782"/>
              <a:gd name="connsiteY36202" fmla="*/ 2198620 h 5973007"/>
              <a:gd name="connsiteX36203" fmla="*/ 939012 w 6884782"/>
              <a:gd name="connsiteY36203" fmla="*/ 2200169 h 5973007"/>
              <a:gd name="connsiteX36204" fmla="*/ 937257 w 6884782"/>
              <a:gd name="connsiteY36204" fmla="*/ 2208069 h 5973007"/>
              <a:gd name="connsiteX36205" fmla="*/ 936534 w 6884782"/>
              <a:gd name="connsiteY36205" fmla="*/ 2209309 h 5973007"/>
              <a:gd name="connsiteX36206" fmla="*/ 936431 w 6884782"/>
              <a:gd name="connsiteY36206" fmla="*/ 2211787 h 5973007"/>
              <a:gd name="connsiteX36207" fmla="*/ 932714 w 6884782"/>
              <a:gd name="connsiteY36207" fmla="*/ 2216278 h 5973007"/>
              <a:gd name="connsiteX36208" fmla="*/ 923627 w 6884782"/>
              <a:gd name="connsiteY36208" fmla="*/ 2216898 h 5973007"/>
              <a:gd name="connsiteX36209" fmla="*/ 924453 w 6884782"/>
              <a:gd name="connsiteY36209" fmla="*/ 2217208 h 5973007"/>
              <a:gd name="connsiteX36210" fmla="*/ 926105 w 6884782"/>
              <a:gd name="connsiteY36210" fmla="*/ 2231303 h 5973007"/>
              <a:gd name="connsiteX36211" fmla="*/ 924143 w 6884782"/>
              <a:gd name="connsiteY36211" fmla="*/ 2229445 h 5973007"/>
              <a:gd name="connsiteX36212" fmla="*/ 923834 w 6884782"/>
              <a:gd name="connsiteY36212" fmla="*/ 2228360 h 5973007"/>
              <a:gd name="connsiteX36213" fmla="*/ 923111 w 6884782"/>
              <a:gd name="connsiteY36213" fmla="*/ 2228051 h 5973007"/>
              <a:gd name="connsiteX36214" fmla="*/ 923524 w 6884782"/>
              <a:gd name="connsiteY36214" fmla="*/ 2227276 h 5973007"/>
              <a:gd name="connsiteX36215" fmla="*/ 922801 w 6884782"/>
              <a:gd name="connsiteY36215" fmla="*/ 2225108 h 5973007"/>
              <a:gd name="connsiteX36216" fmla="*/ 919497 w 6884782"/>
              <a:gd name="connsiteY36216" fmla="*/ 2220615 h 5973007"/>
              <a:gd name="connsiteX36217" fmla="*/ 919084 w 6884782"/>
              <a:gd name="connsiteY36217" fmla="*/ 2214730 h 5973007"/>
              <a:gd name="connsiteX36218" fmla="*/ 921459 w 6884782"/>
              <a:gd name="connsiteY36218" fmla="*/ 2213955 h 5973007"/>
              <a:gd name="connsiteX36219" fmla="*/ 920839 w 6884782"/>
              <a:gd name="connsiteY36219" fmla="*/ 2211632 h 5973007"/>
              <a:gd name="connsiteX36220" fmla="*/ 927138 w 6884782"/>
              <a:gd name="connsiteY36220" fmla="*/ 2202183 h 5973007"/>
              <a:gd name="connsiteX36221" fmla="*/ 932300 w 6884782"/>
              <a:gd name="connsiteY36221" fmla="*/ 2201718 h 5973007"/>
              <a:gd name="connsiteX36222" fmla="*/ 932817 w 6884782"/>
              <a:gd name="connsiteY36222" fmla="*/ 2202028 h 5973007"/>
              <a:gd name="connsiteX36223" fmla="*/ 4709534 w 6884782"/>
              <a:gd name="connsiteY36223" fmla="*/ 2197911 h 5973007"/>
              <a:gd name="connsiteX36224" fmla="*/ 4710174 w 6884782"/>
              <a:gd name="connsiteY36224" fmla="*/ 2202891 h 5973007"/>
              <a:gd name="connsiteX36225" fmla="*/ 4706972 w 6884782"/>
              <a:gd name="connsiteY36225" fmla="*/ 2204456 h 5973007"/>
              <a:gd name="connsiteX36226" fmla="*/ 4705905 w 6884782"/>
              <a:gd name="connsiteY36226" fmla="*/ 2198481 h 5973007"/>
              <a:gd name="connsiteX36227" fmla="*/ 4709534 w 6884782"/>
              <a:gd name="connsiteY36227" fmla="*/ 2197911 h 5973007"/>
              <a:gd name="connsiteX36228" fmla="*/ 1067360 w 6884782"/>
              <a:gd name="connsiteY36228" fmla="*/ 2197381 h 5973007"/>
              <a:gd name="connsiteX36229" fmla="*/ 1074485 w 6884782"/>
              <a:gd name="connsiteY36229" fmla="*/ 2199550 h 5973007"/>
              <a:gd name="connsiteX36230" fmla="*/ 1076550 w 6884782"/>
              <a:gd name="connsiteY36230" fmla="*/ 2201254 h 5973007"/>
              <a:gd name="connsiteX36231" fmla="*/ 1079338 w 6884782"/>
              <a:gd name="connsiteY36231" fmla="*/ 2200634 h 5973007"/>
              <a:gd name="connsiteX36232" fmla="*/ 1082538 w 6884782"/>
              <a:gd name="connsiteY36232" fmla="*/ 2201718 h 5973007"/>
              <a:gd name="connsiteX36233" fmla="*/ 1081609 w 6884782"/>
              <a:gd name="connsiteY36233" fmla="*/ 2202957 h 5973007"/>
              <a:gd name="connsiteX36234" fmla="*/ 1079854 w 6884782"/>
              <a:gd name="connsiteY36234" fmla="*/ 2204042 h 5973007"/>
              <a:gd name="connsiteX36235" fmla="*/ 1081506 w 6884782"/>
              <a:gd name="connsiteY36235" fmla="*/ 2205436 h 5973007"/>
              <a:gd name="connsiteX36236" fmla="*/ 1085120 w 6884782"/>
              <a:gd name="connsiteY36236" fmla="*/ 2219686 h 5973007"/>
              <a:gd name="connsiteX36237" fmla="*/ 1075827 w 6884782"/>
              <a:gd name="connsiteY36237" fmla="*/ 2209309 h 5973007"/>
              <a:gd name="connsiteX36238" fmla="*/ 1072109 w 6884782"/>
              <a:gd name="connsiteY36238" fmla="*/ 2205281 h 5973007"/>
              <a:gd name="connsiteX36239" fmla="*/ 1070458 w 6884782"/>
              <a:gd name="connsiteY36239" fmla="*/ 2206210 h 5973007"/>
              <a:gd name="connsiteX36240" fmla="*/ 1067566 w 6884782"/>
              <a:gd name="connsiteY36240" fmla="*/ 2203577 h 5973007"/>
              <a:gd name="connsiteX36241" fmla="*/ 1069115 w 6884782"/>
              <a:gd name="connsiteY36241" fmla="*/ 2200789 h 5973007"/>
              <a:gd name="connsiteX36242" fmla="*/ 1069322 w 6884782"/>
              <a:gd name="connsiteY36242" fmla="*/ 2200789 h 5973007"/>
              <a:gd name="connsiteX36243" fmla="*/ 5054420 w 6884782"/>
              <a:gd name="connsiteY36243" fmla="*/ 2197200 h 5973007"/>
              <a:gd name="connsiteX36244" fmla="*/ 5058902 w 6884782"/>
              <a:gd name="connsiteY36244" fmla="*/ 2197911 h 5973007"/>
              <a:gd name="connsiteX36245" fmla="*/ 5054420 w 6884782"/>
              <a:gd name="connsiteY36245" fmla="*/ 2209293 h 5973007"/>
              <a:gd name="connsiteX36246" fmla="*/ 5050151 w 6884782"/>
              <a:gd name="connsiteY36246" fmla="*/ 2206732 h 5973007"/>
              <a:gd name="connsiteX36247" fmla="*/ 5054420 w 6884782"/>
              <a:gd name="connsiteY36247" fmla="*/ 2197200 h 5973007"/>
              <a:gd name="connsiteX36248" fmla="*/ 4997223 w 6884782"/>
              <a:gd name="connsiteY36248" fmla="*/ 2196062 h 5973007"/>
              <a:gd name="connsiteX36249" fmla="*/ 4997650 w 6884782"/>
              <a:gd name="connsiteY36249" fmla="*/ 2197343 h 5973007"/>
              <a:gd name="connsiteX36250" fmla="*/ 5000638 w 6884782"/>
              <a:gd name="connsiteY36250" fmla="*/ 2197200 h 5973007"/>
              <a:gd name="connsiteX36251" fmla="*/ 5011309 w 6884782"/>
              <a:gd name="connsiteY36251" fmla="*/ 2200615 h 5973007"/>
              <a:gd name="connsiteX36252" fmla="*/ 4984418 w 6884782"/>
              <a:gd name="connsiteY36252" fmla="*/ 2254108 h 5973007"/>
              <a:gd name="connsiteX36253" fmla="*/ 4963503 w 6884782"/>
              <a:gd name="connsiteY36253" fmla="*/ 2243437 h 5973007"/>
              <a:gd name="connsiteX36254" fmla="*/ 4972466 w 6884782"/>
              <a:gd name="connsiteY36254" fmla="*/ 2203318 h 5973007"/>
              <a:gd name="connsiteX36255" fmla="*/ 4986125 w 6884782"/>
              <a:gd name="connsiteY36255" fmla="*/ 2199192 h 5973007"/>
              <a:gd name="connsiteX36256" fmla="*/ 4992741 w 6884782"/>
              <a:gd name="connsiteY36256" fmla="*/ 2197627 h 5973007"/>
              <a:gd name="connsiteX36257" fmla="*/ 5341896 w 6884782"/>
              <a:gd name="connsiteY36257" fmla="*/ 2195493 h 5973007"/>
              <a:gd name="connsiteX36258" fmla="*/ 5350433 w 6884782"/>
              <a:gd name="connsiteY36258" fmla="*/ 2197200 h 5973007"/>
              <a:gd name="connsiteX36259" fmla="*/ 5344244 w 6884782"/>
              <a:gd name="connsiteY36259" fmla="*/ 2203033 h 5973007"/>
              <a:gd name="connsiteX36260" fmla="*/ 5335494 w 6884782"/>
              <a:gd name="connsiteY36260" fmla="*/ 2200473 h 5973007"/>
              <a:gd name="connsiteX36261" fmla="*/ 5341896 w 6884782"/>
              <a:gd name="connsiteY36261" fmla="*/ 2195493 h 5973007"/>
              <a:gd name="connsiteX36262" fmla="*/ 5272961 w 6884782"/>
              <a:gd name="connsiteY36262" fmla="*/ 2195208 h 5973007"/>
              <a:gd name="connsiteX36263" fmla="*/ 5281499 w 6884782"/>
              <a:gd name="connsiteY36263" fmla="*/ 2213419 h 5973007"/>
              <a:gd name="connsiteX36264" fmla="*/ 5283632 w 6884782"/>
              <a:gd name="connsiteY36264" fmla="*/ 2228784 h 5973007"/>
              <a:gd name="connsiteX36265" fmla="*/ 5283419 w 6884782"/>
              <a:gd name="connsiteY36265" fmla="*/ 2223235 h 5973007"/>
              <a:gd name="connsiteX36266" fmla="*/ 5285980 w 6884782"/>
              <a:gd name="connsiteY36266" fmla="*/ 2220532 h 5973007"/>
              <a:gd name="connsiteX36267" fmla="*/ 5307749 w 6884782"/>
              <a:gd name="connsiteY36267" fmla="*/ 2232767 h 5973007"/>
              <a:gd name="connsiteX36268" fmla="*/ 5311377 w 6884782"/>
              <a:gd name="connsiteY36268" fmla="*/ 2258660 h 5973007"/>
              <a:gd name="connsiteX36269" fmla="*/ 5286834 w 6884782"/>
              <a:gd name="connsiteY36269" fmla="*/ 2238173 h 5973007"/>
              <a:gd name="connsiteX36270" fmla="*/ 5283846 w 6884782"/>
              <a:gd name="connsiteY36270" fmla="*/ 2230349 h 5973007"/>
              <a:gd name="connsiteX36271" fmla="*/ 5282139 w 6884782"/>
              <a:gd name="connsiteY36271" fmla="*/ 2240592 h 5973007"/>
              <a:gd name="connsiteX36272" fmla="*/ 5269760 w 6884782"/>
              <a:gd name="connsiteY36272" fmla="*/ 2219678 h 5973007"/>
              <a:gd name="connsiteX36273" fmla="*/ 5259303 w 6884782"/>
              <a:gd name="connsiteY36273" fmla="*/ 2227219 h 5973007"/>
              <a:gd name="connsiteX36274" fmla="*/ 5254181 w 6884782"/>
              <a:gd name="connsiteY36274" fmla="*/ 2228499 h 5973007"/>
              <a:gd name="connsiteX36275" fmla="*/ 5254181 w 6884782"/>
              <a:gd name="connsiteY36275" fmla="*/ 2229211 h 5973007"/>
              <a:gd name="connsiteX36276" fmla="*/ 5254181 w 6884782"/>
              <a:gd name="connsiteY36276" fmla="*/ 2231914 h 5973007"/>
              <a:gd name="connsiteX36277" fmla="*/ 5250553 w 6884782"/>
              <a:gd name="connsiteY36277" fmla="*/ 2235613 h 5973007"/>
              <a:gd name="connsiteX36278" fmla="*/ 5247351 w 6884782"/>
              <a:gd name="connsiteY36278" fmla="*/ 2213134 h 5973007"/>
              <a:gd name="connsiteX36279" fmla="*/ 5249912 w 6884782"/>
              <a:gd name="connsiteY36279" fmla="*/ 2212850 h 5973007"/>
              <a:gd name="connsiteX36280" fmla="*/ 5252047 w 6884782"/>
              <a:gd name="connsiteY36280" fmla="*/ 2215268 h 5973007"/>
              <a:gd name="connsiteX36281" fmla="*/ 5252900 w 6884782"/>
              <a:gd name="connsiteY36281" fmla="*/ 2218398 h 5973007"/>
              <a:gd name="connsiteX36282" fmla="*/ 5255888 w 6884782"/>
              <a:gd name="connsiteY36282" fmla="*/ 2215980 h 5973007"/>
              <a:gd name="connsiteX36283" fmla="*/ 5267626 w 6884782"/>
              <a:gd name="connsiteY36283" fmla="*/ 2208439 h 5973007"/>
              <a:gd name="connsiteX36284" fmla="*/ 5272961 w 6884782"/>
              <a:gd name="connsiteY36284" fmla="*/ 2195208 h 5973007"/>
              <a:gd name="connsiteX36285" fmla="*/ 5073414 w 6884782"/>
              <a:gd name="connsiteY36285" fmla="*/ 2194924 h 5973007"/>
              <a:gd name="connsiteX36286" fmla="*/ 5076615 w 6884782"/>
              <a:gd name="connsiteY36286" fmla="*/ 2195066 h 5973007"/>
              <a:gd name="connsiteX36287" fmla="*/ 5082164 w 6884782"/>
              <a:gd name="connsiteY36287" fmla="*/ 2199334 h 5973007"/>
              <a:gd name="connsiteX36288" fmla="*/ 5078536 w 6884782"/>
              <a:gd name="connsiteY36288" fmla="*/ 2210289 h 5973007"/>
              <a:gd name="connsiteX36289" fmla="*/ 5073841 w 6884782"/>
              <a:gd name="connsiteY36289" fmla="*/ 2211285 h 5973007"/>
              <a:gd name="connsiteX36290" fmla="*/ 5073841 w 6884782"/>
              <a:gd name="connsiteY36290" fmla="*/ 2213134 h 5973007"/>
              <a:gd name="connsiteX36291" fmla="*/ 5067012 w 6884782"/>
              <a:gd name="connsiteY36291" fmla="*/ 2214699 h 5973007"/>
              <a:gd name="connsiteX36292" fmla="*/ 5064024 w 6884782"/>
              <a:gd name="connsiteY36292" fmla="*/ 2212139 h 5973007"/>
              <a:gd name="connsiteX36293" fmla="*/ 5064877 w 6884782"/>
              <a:gd name="connsiteY36293" fmla="*/ 2207870 h 5973007"/>
              <a:gd name="connsiteX36294" fmla="*/ 5067012 w 6884782"/>
              <a:gd name="connsiteY36294" fmla="*/ 2205737 h 5973007"/>
              <a:gd name="connsiteX36295" fmla="*/ 5067012 w 6884782"/>
              <a:gd name="connsiteY36295" fmla="*/ 2201753 h 5973007"/>
              <a:gd name="connsiteX36296" fmla="*/ 5073414 w 6884782"/>
              <a:gd name="connsiteY36296" fmla="*/ 2194924 h 5973007"/>
              <a:gd name="connsiteX36297" fmla="*/ 4948564 w 6884782"/>
              <a:gd name="connsiteY36297" fmla="*/ 2194497 h 5973007"/>
              <a:gd name="connsiteX36298" fmla="*/ 4957954 w 6884782"/>
              <a:gd name="connsiteY36298" fmla="*/ 2205310 h 5973007"/>
              <a:gd name="connsiteX36299" fmla="*/ 4948991 w 6884782"/>
              <a:gd name="connsiteY36299" fmla="*/ 2210858 h 5973007"/>
              <a:gd name="connsiteX36300" fmla="*/ 4941734 w 6884782"/>
              <a:gd name="connsiteY36300" fmla="*/ 2204598 h 5973007"/>
              <a:gd name="connsiteX36301" fmla="*/ 4948564 w 6884782"/>
              <a:gd name="connsiteY36301" fmla="*/ 2194497 h 5973007"/>
              <a:gd name="connsiteX36302" fmla="*/ 886558 w 6884782"/>
              <a:gd name="connsiteY36302" fmla="*/ 2194128 h 5973007"/>
              <a:gd name="connsiteX36303" fmla="*/ 885629 w 6884782"/>
              <a:gd name="connsiteY36303" fmla="*/ 2204197 h 5973007"/>
              <a:gd name="connsiteX36304" fmla="*/ 878917 w 6884782"/>
              <a:gd name="connsiteY36304" fmla="*/ 2212716 h 5973007"/>
              <a:gd name="connsiteX36305" fmla="*/ 878401 w 6884782"/>
              <a:gd name="connsiteY36305" fmla="*/ 2207759 h 5973007"/>
              <a:gd name="connsiteX36306" fmla="*/ 886558 w 6884782"/>
              <a:gd name="connsiteY36306" fmla="*/ 2194128 h 5973007"/>
              <a:gd name="connsiteX36307" fmla="*/ 1007381 w 6884782"/>
              <a:gd name="connsiteY36307" fmla="*/ 2193490 h 5973007"/>
              <a:gd name="connsiteX36308" fmla="*/ 1009949 w 6884782"/>
              <a:gd name="connsiteY36308" fmla="*/ 2197846 h 5973007"/>
              <a:gd name="connsiteX36309" fmla="*/ 1008400 w 6884782"/>
              <a:gd name="connsiteY36309" fmla="*/ 2199550 h 5973007"/>
              <a:gd name="connsiteX36310" fmla="*/ 1000140 w 6884782"/>
              <a:gd name="connsiteY36310" fmla="*/ 2195367 h 5973007"/>
              <a:gd name="connsiteX36311" fmla="*/ 1002102 w 6884782"/>
              <a:gd name="connsiteY36311" fmla="*/ 2193664 h 5973007"/>
              <a:gd name="connsiteX36312" fmla="*/ 1007381 w 6884782"/>
              <a:gd name="connsiteY36312" fmla="*/ 2193490 h 5973007"/>
              <a:gd name="connsiteX36313" fmla="*/ 4641453 w 6884782"/>
              <a:gd name="connsiteY36313" fmla="*/ 2193217 h 5973007"/>
              <a:gd name="connsiteX36314" fmla="*/ 4642306 w 6884782"/>
              <a:gd name="connsiteY36314" fmla="*/ 2194639 h 5973007"/>
              <a:gd name="connsiteX36315" fmla="*/ 4641453 w 6884782"/>
              <a:gd name="connsiteY36315" fmla="*/ 2197058 h 5973007"/>
              <a:gd name="connsiteX36316" fmla="*/ 4639532 w 6884782"/>
              <a:gd name="connsiteY36316" fmla="*/ 2202037 h 5973007"/>
              <a:gd name="connsiteX36317" fmla="*/ 4641453 w 6884782"/>
              <a:gd name="connsiteY36317" fmla="*/ 2193217 h 5973007"/>
              <a:gd name="connsiteX36318" fmla="*/ 945208 w 6884782"/>
              <a:gd name="connsiteY36318" fmla="*/ 2192889 h 5973007"/>
              <a:gd name="connsiteX36319" fmla="*/ 951403 w 6884782"/>
              <a:gd name="connsiteY36319" fmla="*/ 2195677 h 5973007"/>
              <a:gd name="connsiteX36320" fmla="*/ 950474 w 6884782"/>
              <a:gd name="connsiteY36320" fmla="*/ 2197072 h 5973007"/>
              <a:gd name="connsiteX36321" fmla="*/ 957701 w 6884782"/>
              <a:gd name="connsiteY36321" fmla="*/ 2201254 h 5973007"/>
              <a:gd name="connsiteX36322" fmla="*/ 962038 w 6884782"/>
              <a:gd name="connsiteY36322" fmla="*/ 2208069 h 5973007"/>
              <a:gd name="connsiteX36323" fmla="*/ 962864 w 6884782"/>
              <a:gd name="connsiteY36323" fmla="*/ 2212871 h 5973007"/>
              <a:gd name="connsiteX36324" fmla="*/ 965033 w 6884782"/>
              <a:gd name="connsiteY36324" fmla="*/ 2209928 h 5973007"/>
              <a:gd name="connsiteX36325" fmla="*/ 977527 w 6884782"/>
              <a:gd name="connsiteY36325" fmla="*/ 2201873 h 5973007"/>
              <a:gd name="connsiteX36326" fmla="*/ 979076 w 6884782"/>
              <a:gd name="connsiteY36326" fmla="*/ 2213026 h 5973007"/>
              <a:gd name="connsiteX36327" fmla="*/ 971332 w 6884782"/>
              <a:gd name="connsiteY36327" fmla="*/ 2219996 h 5973007"/>
              <a:gd name="connsiteX36328" fmla="*/ 970196 w 6884782"/>
              <a:gd name="connsiteY36328" fmla="*/ 2220461 h 5973007"/>
              <a:gd name="connsiteX36329" fmla="*/ 971641 w 6884782"/>
              <a:gd name="connsiteY36329" fmla="*/ 2222165 h 5973007"/>
              <a:gd name="connsiteX36330" fmla="*/ 971744 w 6884782"/>
              <a:gd name="connsiteY36330" fmla="*/ 2226501 h 5973007"/>
              <a:gd name="connsiteX36331" fmla="*/ 961625 w 6884782"/>
              <a:gd name="connsiteY36331" fmla="*/ 2229600 h 5973007"/>
              <a:gd name="connsiteX36332" fmla="*/ 958218 w 6884782"/>
              <a:gd name="connsiteY36332" fmla="*/ 2229445 h 5973007"/>
              <a:gd name="connsiteX36333" fmla="*/ 953778 w 6884782"/>
              <a:gd name="connsiteY36333" fmla="*/ 2234401 h 5973007"/>
              <a:gd name="connsiteX36334" fmla="*/ 950990 w 6884782"/>
              <a:gd name="connsiteY36334" fmla="*/ 2234401 h 5973007"/>
              <a:gd name="connsiteX36335" fmla="*/ 942729 w 6884782"/>
              <a:gd name="connsiteY36335" fmla="*/ 2227276 h 5973007"/>
              <a:gd name="connsiteX36336" fmla="*/ 942523 w 6884782"/>
              <a:gd name="connsiteY36336" fmla="*/ 2226501 h 5973007"/>
              <a:gd name="connsiteX36337" fmla="*/ 941181 w 6884782"/>
              <a:gd name="connsiteY36337" fmla="*/ 2228670 h 5973007"/>
              <a:gd name="connsiteX36338" fmla="*/ 936637 w 6884782"/>
              <a:gd name="connsiteY36338" fmla="*/ 2222474 h 5973007"/>
              <a:gd name="connsiteX36339" fmla="*/ 939941 w 6884782"/>
              <a:gd name="connsiteY36339" fmla="*/ 2222010 h 5973007"/>
              <a:gd name="connsiteX36340" fmla="*/ 941181 w 6884782"/>
              <a:gd name="connsiteY36340" fmla="*/ 2221855 h 5973007"/>
              <a:gd name="connsiteX36341" fmla="*/ 939735 w 6884782"/>
              <a:gd name="connsiteY36341" fmla="*/ 2216434 h 5973007"/>
              <a:gd name="connsiteX36342" fmla="*/ 945208 w 6884782"/>
              <a:gd name="connsiteY36342" fmla="*/ 2200324 h 5973007"/>
              <a:gd name="connsiteX36343" fmla="*/ 945930 w 6884782"/>
              <a:gd name="connsiteY36343" fmla="*/ 2199859 h 5973007"/>
              <a:gd name="connsiteX36344" fmla="*/ 944485 w 6884782"/>
              <a:gd name="connsiteY36344" fmla="*/ 2200324 h 5973007"/>
              <a:gd name="connsiteX36345" fmla="*/ 942833 w 6884782"/>
              <a:gd name="connsiteY36345" fmla="*/ 2199395 h 5973007"/>
              <a:gd name="connsiteX36346" fmla="*/ 939838 w 6884782"/>
              <a:gd name="connsiteY36346" fmla="*/ 2196452 h 5973007"/>
              <a:gd name="connsiteX36347" fmla="*/ 941387 w 6884782"/>
              <a:gd name="connsiteY36347" fmla="*/ 2193664 h 5973007"/>
              <a:gd name="connsiteX36348" fmla="*/ 945208 w 6884782"/>
              <a:gd name="connsiteY36348" fmla="*/ 2192889 h 5973007"/>
              <a:gd name="connsiteX36349" fmla="*/ 5728613 w 6884782"/>
              <a:gd name="connsiteY36349" fmla="*/ 2192790 h 5973007"/>
              <a:gd name="connsiteX36350" fmla="*/ 5729680 w 6884782"/>
              <a:gd name="connsiteY36350" fmla="*/ 2193217 h 5973007"/>
              <a:gd name="connsiteX36351" fmla="*/ 5729893 w 6884782"/>
              <a:gd name="connsiteY36351" fmla="*/ 2193074 h 5973007"/>
              <a:gd name="connsiteX36352" fmla="*/ 5730747 w 6884782"/>
              <a:gd name="connsiteY36352" fmla="*/ 2193644 h 5973007"/>
              <a:gd name="connsiteX36353" fmla="*/ 5730960 w 6884782"/>
              <a:gd name="connsiteY36353" fmla="*/ 2192790 h 5973007"/>
              <a:gd name="connsiteX36354" fmla="*/ 5252474 w 6884782"/>
              <a:gd name="connsiteY36354" fmla="*/ 2192363 h 5973007"/>
              <a:gd name="connsiteX36355" fmla="*/ 5260370 w 6884782"/>
              <a:gd name="connsiteY36355" fmla="*/ 2200046 h 5973007"/>
              <a:gd name="connsiteX36356" fmla="*/ 5256315 w 6884782"/>
              <a:gd name="connsiteY36356" fmla="*/ 2207444 h 5973007"/>
              <a:gd name="connsiteX36357" fmla="*/ 5250553 w 6884782"/>
              <a:gd name="connsiteY36357" fmla="*/ 2208866 h 5973007"/>
              <a:gd name="connsiteX36358" fmla="*/ 5243510 w 6884782"/>
              <a:gd name="connsiteY36358" fmla="*/ 2202322 h 5973007"/>
              <a:gd name="connsiteX36359" fmla="*/ 5252474 w 6884782"/>
              <a:gd name="connsiteY36359" fmla="*/ 2192363 h 5973007"/>
              <a:gd name="connsiteX36360" fmla="*/ 5364946 w 6884782"/>
              <a:gd name="connsiteY36360" fmla="*/ 2190941 h 5973007"/>
              <a:gd name="connsiteX36361" fmla="*/ 5371562 w 6884782"/>
              <a:gd name="connsiteY36361" fmla="*/ 2206447 h 5973007"/>
              <a:gd name="connsiteX36362" fmla="*/ 5364519 w 6884782"/>
              <a:gd name="connsiteY36362" fmla="*/ 2203745 h 5973007"/>
              <a:gd name="connsiteX36363" fmla="*/ 5364946 w 6884782"/>
              <a:gd name="connsiteY36363" fmla="*/ 2190941 h 5973007"/>
              <a:gd name="connsiteX36364" fmla="*/ 868179 w 6884782"/>
              <a:gd name="connsiteY36364" fmla="*/ 2190256 h 5973007"/>
              <a:gd name="connsiteX36365" fmla="*/ 876542 w 6884782"/>
              <a:gd name="connsiteY36365" fmla="*/ 2198620 h 5973007"/>
              <a:gd name="connsiteX36366" fmla="*/ 873238 w 6884782"/>
              <a:gd name="connsiteY36366" fmla="*/ 2201099 h 5973007"/>
              <a:gd name="connsiteX36367" fmla="*/ 865907 w 6884782"/>
              <a:gd name="connsiteY36367" fmla="*/ 2198930 h 5973007"/>
              <a:gd name="connsiteX36368" fmla="*/ 868179 w 6884782"/>
              <a:gd name="connsiteY36368" fmla="*/ 2190256 h 5973007"/>
              <a:gd name="connsiteX36369" fmla="*/ 4794048 w 6884782"/>
              <a:gd name="connsiteY36369" fmla="*/ 2189518 h 5973007"/>
              <a:gd name="connsiteX36370" fmla="*/ 4794475 w 6884782"/>
              <a:gd name="connsiteY36370" fmla="*/ 2190514 h 5973007"/>
              <a:gd name="connsiteX36371" fmla="*/ 4789993 w 6884782"/>
              <a:gd name="connsiteY36371" fmla="*/ 2191510 h 5973007"/>
              <a:gd name="connsiteX36372" fmla="*/ 4794048 w 6884782"/>
              <a:gd name="connsiteY36372" fmla="*/ 2189518 h 5973007"/>
              <a:gd name="connsiteX36373" fmla="*/ 4784444 w 6884782"/>
              <a:gd name="connsiteY36373" fmla="*/ 2187811 h 5973007"/>
              <a:gd name="connsiteX36374" fmla="*/ 4784657 w 6884782"/>
              <a:gd name="connsiteY36374" fmla="*/ 2195493 h 5973007"/>
              <a:gd name="connsiteX36375" fmla="*/ 4776974 w 6884782"/>
              <a:gd name="connsiteY36375" fmla="*/ 2189233 h 5973007"/>
              <a:gd name="connsiteX36376" fmla="*/ 4784444 w 6884782"/>
              <a:gd name="connsiteY36376" fmla="*/ 2187811 h 5973007"/>
              <a:gd name="connsiteX36377" fmla="*/ 4703344 w 6884782"/>
              <a:gd name="connsiteY36377" fmla="*/ 2185677 h 5973007"/>
              <a:gd name="connsiteX36378" fmla="*/ 4706332 w 6884782"/>
              <a:gd name="connsiteY36378" fmla="*/ 2186530 h 5973007"/>
              <a:gd name="connsiteX36379" fmla="*/ 4706546 w 6884782"/>
              <a:gd name="connsiteY36379" fmla="*/ 2190656 h 5973007"/>
              <a:gd name="connsiteX36380" fmla="*/ 4705479 w 6884782"/>
              <a:gd name="connsiteY36380" fmla="*/ 2191083 h 5973007"/>
              <a:gd name="connsiteX36381" fmla="*/ 4703344 w 6884782"/>
              <a:gd name="connsiteY36381" fmla="*/ 2185677 h 5973007"/>
              <a:gd name="connsiteX36382" fmla="*/ 5383726 w 6884782"/>
              <a:gd name="connsiteY36382" fmla="*/ 2185392 h 5973007"/>
              <a:gd name="connsiteX36383" fmla="*/ 5387995 w 6884782"/>
              <a:gd name="connsiteY36383" fmla="*/ 2186103 h 5973007"/>
              <a:gd name="connsiteX36384" fmla="*/ 5381806 w 6884782"/>
              <a:gd name="connsiteY36384" fmla="*/ 2197627 h 5973007"/>
              <a:gd name="connsiteX36385" fmla="*/ 5377964 w 6884782"/>
              <a:gd name="connsiteY36385" fmla="*/ 2195066 h 5973007"/>
              <a:gd name="connsiteX36386" fmla="*/ 5383726 w 6884782"/>
              <a:gd name="connsiteY36386" fmla="*/ 2185392 h 5973007"/>
              <a:gd name="connsiteX36387" fmla="*/ 4822432 w 6884782"/>
              <a:gd name="connsiteY36387" fmla="*/ 2185392 h 5973007"/>
              <a:gd name="connsiteX36388" fmla="*/ 4828835 w 6884782"/>
              <a:gd name="connsiteY36388" fmla="*/ 2187669 h 5973007"/>
              <a:gd name="connsiteX36389" fmla="*/ 4828408 w 6884782"/>
              <a:gd name="connsiteY36389" fmla="*/ 2192648 h 5973007"/>
              <a:gd name="connsiteX36390" fmla="*/ 4810908 w 6884782"/>
              <a:gd name="connsiteY36390" fmla="*/ 2195778 h 5973007"/>
              <a:gd name="connsiteX36391" fmla="*/ 4822432 w 6884782"/>
              <a:gd name="connsiteY36391" fmla="*/ 2185392 h 5973007"/>
              <a:gd name="connsiteX36392" fmla="*/ 5283419 w 6884782"/>
              <a:gd name="connsiteY36392" fmla="*/ 2185250 h 5973007"/>
              <a:gd name="connsiteX36393" fmla="*/ 5292810 w 6884782"/>
              <a:gd name="connsiteY36393" fmla="*/ 2185250 h 5973007"/>
              <a:gd name="connsiteX36394" fmla="*/ 5277230 w 6884782"/>
              <a:gd name="connsiteY36394" fmla="*/ 2200330 h 5973007"/>
              <a:gd name="connsiteX36395" fmla="*/ 5274029 w 6884782"/>
              <a:gd name="connsiteY36395" fmla="*/ 2189233 h 5973007"/>
              <a:gd name="connsiteX36396" fmla="*/ 5283419 w 6884782"/>
              <a:gd name="connsiteY36396" fmla="*/ 2185250 h 5973007"/>
              <a:gd name="connsiteX36397" fmla="*/ 5002132 w 6884782"/>
              <a:gd name="connsiteY36397" fmla="*/ 2184254 h 5973007"/>
              <a:gd name="connsiteX36398" fmla="*/ 4999144 w 6884782"/>
              <a:gd name="connsiteY36398" fmla="*/ 2190514 h 5973007"/>
              <a:gd name="connsiteX36399" fmla="*/ 5002132 w 6884782"/>
              <a:gd name="connsiteY36399" fmla="*/ 2184254 h 5973007"/>
              <a:gd name="connsiteX36400" fmla="*/ 5730320 w 6884782"/>
              <a:gd name="connsiteY36400" fmla="*/ 2183685 h 5973007"/>
              <a:gd name="connsiteX36401" fmla="*/ 5743766 w 6884782"/>
              <a:gd name="connsiteY36401" fmla="*/ 2192506 h 5973007"/>
              <a:gd name="connsiteX36402" fmla="*/ 5735869 w 6884782"/>
              <a:gd name="connsiteY36402" fmla="*/ 2192790 h 5973007"/>
              <a:gd name="connsiteX36403" fmla="*/ 5732241 w 6884782"/>
              <a:gd name="connsiteY36403" fmla="*/ 2192790 h 5973007"/>
              <a:gd name="connsiteX36404" fmla="*/ 5735656 w 6884782"/>
              <a:gd name="connsiteY36404" fmla="*/ 2193501 h 5973007"/>
              <a:gd name="connsiteX36405" fmla="*/ 5736296 w 6884782"/>
              <a:gd name="connsiteY36405" fmla="*/ 2196347 h 5973007"/>
              <a:gd name="connsiteX36406" fmla="*/ 5732241 w 6884782"/>
              <a:gd name="connsiteY36406" fmla="*/ 2202180 h 5973007"/>
              <a:gd name="connsiteX36407" fmla="*/ 5736083 w 6884782"/>
              <a:gd name="connsiteY36407" fmla="*/ 2210004 h 5973007"/>
              <a:gd name="connsiteX36408" fmla="*/ 5736510 w 6884782"/>
              <a:gd name="connsiteY36408" fmla="*/ 2210716 h 5973007"/>
              <a:gd name="connsiteX36409" fmla="*/ 5738217 w 6884782"/>
              <a:gd name="connsiteY36409" fmla="*/ 2213846 h 5973007"/>
              <a:gd name="connsiteX36410" fmla="*/ 5738217 w 6884782"/>
              <a:gd name="connsiteY36410" fmla="*/ 2214131 h 5973007"/>
              <a:gd name="connsiteX36411" fmla="*/ 5738857 w 6884782"/>
              <a:gd name="connsiteY36411" fmla="*/ 2214984 h 5973007"/>
              <a:gd name="connsiteX36412" fmla="*/ 5738857 w 6884782"/>
              <a:gd name="connsiteY36412" fmla="*/ 2222382 h 5973007"/>
              <a:gd name="connsiteX36413" fmla="*/ 5727759 w 6884782"/>
              <a:gd name="connsiteY36413" fmla="*/ 2226650 h 5973007"/>
              <a:gd name="connsiteX36414" fmla="*/ 5724558 w 6884782"/>
              <a:gd name="connsiteY36414" fmla="*/ 2225512 h 5973007"/>
              <a:gd name="connsiteX36415" fmla="*/ 5725198 w 6884782"/>
              <a:gd name="connsiteY36415" fmla="*/ 2228072 h 5973007"/>
              <a:gd name="connsiteX36416" fmla="*/ 5702149 w 6884782"/>
              <a:gd name="connsiteY36416" fmla="*/ 2230064 h 5973007"/>
              <a:gd name="connsiteX36417" fmla="*/ 5699801 w 6884782"/>
              <a:gd name="connsiteY36417" fmla="*/ 2229069 h 5973007"/>
              <a:gd name="connsiteX36418" fmla="*/ 5699588 w 6884782"/>
              <a:gd name="connsiteY36418" fmla="*/ 2226081 h 5973007"/>
              <a:gd name="connsiteX36419" fmla="*/ 5714527 w 6884782"/>
              <a:gd name="connsiteY36419" fmla="*/ 2221244 h 5973007"/>
              <a:gd name="connsiteX36420" fmla="*/ 5717302 w 6884782"/>
              <a:gd name="connsiteY36420" fmla="*/ 2222667 h 5973007"/>
              <a:gd name="connsiteX36421" fmla="*/ 5718796 w 6884782"/>
              <a:gd name="connsiteY36421" fmla="*/ 2223235 h 5973007"/>
              <a:gd name="connsiteX36422" fmla="*/ 5715808 w 6884782"/>
              <a:gd name="connsiteY36422" fmla="*/ 2220390 h 5973007"/>
              <a:gd name="connsiteX36423" fmla="*/ 5714741 w 6884782"/>
              <a:gd name="connsiteY36423" fmla="*/ 2209720 h 5973007"/>
              <a:gd name="connsiteX36424" fmla="*/ 5715808 w 6884782"/>
              <a:gd name="connsiteY36424" fmla="*/ 2209151 h 5973007"/>
              <a:gd name="connsiteX36425" fmla="*/ 5711113 w 6884782"/>
              <a:gd name="connsiteY36425" fmla="*/ 2203745 h 5973007"/>
              <a:gd name="connsiteX36426" fmla="*/ 5726052 w 6884782"/>
              <a:gd name="connsiteY36426" fmla="*/ 2194070 h 5973007"/>
              <a:gd name="connsiteX36427" fmla="*/ 5728613 w 6884782"/>
              <a:gd name="connsiteY36427" fmla="*/ 2193644 h 5973007"/>
              <a:gd name="connsiteX36428" fmla="*/ 5728186 w 6884782"/>
              <a:gd name="connsiteY36428" fmla="*/ 2192790 h 5973007"/>
              <a:gd name="connsiteX36429" fmla="*/ 5725625 w 6884782"/>
              <a:gd name="connsiteY36429" fmla="*/ 2192790 h 5973007"/>
              <a:gd name="connsiteX36430" fmla="*/ 5712393 w 6884782"/>
              <a:gd name="connsiteY36430" fmla="*/ 2185392 h 5973007"/>
              <a:gd name="connsiteX36431" fmla="*/ 5730320 w 6884782"/>
              <a:gd name="connsiteY36431" fmla="*/ 2183685 h 5973007"/>
              <a:gd name="connsiteX36432" fmla="*/ 4912923 w 6884782"/>
              <a:gd name="connsiteY36432" fmla="*/ 2183542 h 5973007"/>
              <a:gd name="connsiteX36433" fmla="*/ 4929569 w 6884782"/>
              <a:gd name="connsiteY36433" fmla="*/ 2190941 h 5973007"/>
              <a:gd name="connsiteX36434" fmla="*/ 4930637 w 6884782"/>
              <a:gd name="connsiteY36434" fmla="*/ 2202464 h 5973007"/>
              <a:gd name="connsiteX36435" fmla="*/ 4930210 w 6884782"/>
              <a:gd name="connsiteY36435" fmla="*/ 2203318 h 5973007"/>
              <a:gd name="connsiteX36436" fmla="*/ 4932770 w 6884782"/>
              <a:gd name="connsiteY36436" fmla="*/ 2207586 h 5973007"/>
              <a:gd name="connsiteX36437" fmla="*/ 4929996 w 6884782"/>
              <a:gd name="connsiteY36437" fmla="*/ 2214557 h 5973007"/>
              <a:gd name="connsiteX36438" fmla="*/ 4931063 w 6884782"/>
              <a:gd name="connsiteY36438" fmla="*/ 2215268 h 5973007"/>
              <a:gd name="connsiteX36439" fmla="*/ 4917191 w 6884782"/>
              <a:gd name="connsiteY36439" fmla="*/ 2218968 h 5973007"/>
              <a:gd name="connsiteX36440" fmla="*/ 4911428 w 6884782"/>
              <a:gd name="connsiteY36440" fmla="*/ 2217829 h 5973007"/>
              <a:gd name="connsiteX36441" fmla="*/ 4911215 w 6884782"/>
              <a:gd name="connsiteY36441" fmla="*/ 2218398 h 5973007"/>
              <a:gd name="connsiteX36442" fmla="*/ 4911215 w 6884782"/>
              <a:gd name="connsiteY36442" fmla="*/ 2221813 h 5973007"/>
              <a:gd name="connsiteX36443" fmla="*/ 4906520 w 6884782"/>
              <a:gd name="connsiteY36443" fmla="*/ 2229211 h 5973007"/>
              <a:gd name="connsiteX36444" fmla="*/ 4903319 w 6884782"/>
              <a:gd name="connsiteY36444" fmla="*/ 2228215 h 5973007"/>
              <a:gd name="connsiteX36445" fmla="*/ 4902252 w 6884782"/>
              <a:gd name="connsiteY36445" fmla="*/ 2231345 h 5973007"/>
              <a:gd name="connsiteX36446" fmla="*/ 4897129 w 6884782"/>
              <a:gd name="connsiteY36446" fmla="*/ 2237605 h 5973007"/>
              <a:gd name="connsiteX36447" fmla="*/ 4896916 w 6884782"/>
              <a:gd name="connsiteY36447" fmla="*/ 2237605 h 5973007"/>
              <a:gd name="connsiteX36448" fmla="*/ 4894995 w 6884782"/>
              <a:gd name="connsiteY36448" fmla="*/ 2240165 h 5973007"/>
              <a:gd name="connsiteX36449" fmla="*/ 4868318 w 6884782"/>
              <a:gd name="connsiteY36449" fmla="*/ 2237747 h 5973007"/>
              <a:gd name="connsiteX36450" fmla="*/ 4868318 w 6884782"/>
              <a:gd name="connsiteY36450" fmla="*/ 2236182 h 5973007"/>
              <a:gd name="connsiteX36451" fmla="*/ 4866824 w 6884782"/>
              <a:gd name="connsiteY36451" fmla="*/ 2241303 h 5973007"/>
              <a:gd name="connsiteX36452" fmla="*/ 4861061 w 6884782"/>
              <a:gd name="connsiteY36452" fmla="*/ 2240877 h 5973007"/>
              <a:gd name="connsiteX36453" fmla="*/ 4859354 w 6884782"/>
              <a:gd name="connsiteY36453" fmla="*/ 2239027 h 5973007"/>
              <a:gd name="connsiteX36454" fmla="*/ 4858928 w 6884782"/>
              <a:gd name="connsiteY36454" fmla="*/ 2242300 h 5973007"/>
              <a:gd name="connsiteX36455" fmla="*/ 4850817 w 6884782"/>
              <a:gd name="connsiteY36455" fmla="*/ 2241161 h 5973007"/>
              <a:gd name="connsiteX36456" fmla="*/ 4851885 w 6884782"/>
              <a:gd name="connsiteY36456" fmla="*/ 2234901 h 5973007"/>
              <a:gd name="connsiteX36457" fmla="*/ 4856153 w 6884782"/>
              <a:gd name="connsiteY36457" fmla="*/ 2234759 h 5973007"/>
              <a:gd name="connsiteX36458" fmla="*/ 4854873 w 6884782"/>
              <a:gd name="connsiteY36458" fmla="*/ 2231629 h 5973007"/>
              <a:gd name="connsiteX36459" fmla="*/ 4842921 w 6884782"/>
              <a:gd name="connsiteY36459" fmla="*/ 2229069 h 5973007"/>
              <a:gd name="connsiteX36460" fmla="*/ 4855299 w 6884782"/>
              <a:gd name="connsiteY36460" fmla="*/ 2220532 h 5973007"/>
              <a:gd name="connsiteX36461" fmla="*/ 4861275 w 6884782"/>
              <a:gd name="connsiteY36461" fmla="*/ 2222809 h 5973007"/>
              <a:gd name="connsiteX36462" fmla="*/ 4860848 w 6884782"/>
              <a:gd name="connsiteY36462" fmla="*/ 2224800 h 5973007"/>
              <a:gd name="connsiteX36463" fmla="*/ 4864049 w 6884782"/>
              <a:gd name="connsiteY36463" fmla="*/ 2226934 h 5973007"/>
              <a:gd name="connsiteX36464" fmla="*/ 4868531 w 6884782"/>
              <a:gd name="connsiteY36464" fmla="*/ 2235613 h 5973007"/>
              <a:gd name="connsiteX36465" fmla="*/ 4869599 w 6884782"/>
              <a:gd name="connsiteY36465" fmla="*/ 2225654 h 5973007"/>
              <a:gd name="connsiteX36466" fmla="*/ 4890727 w 6884782"/>
              <a:gd name="connsiteY36466" fmla="*/ 2208155 h 5973007"/>
              <a:gd name="connsiteX36467" fmla="*/ 4899690 w 6884782"/>
              <a:gd name="connsiteY36467" fmla="*/ 2213988 h 5973007"/>
              <a:gd name="connsiteX36468" fmla="*/ 4901612 w 6884782"/>
              <a:gd name="connsiteY36468" fmla="*/ 2219252 h 5973007"/>
              <a:gd name="connsiteX36469" fmla="*/ 4903959 w 6884782"/>
              <a:gd name="connsiteY36469" fmla="*/ 2222809 h 5973007"/>
              <a:gd name="connsiteX36470" fmla="*/ 4903532 w 6884782"/>
              <a:gd name="connsiteY36470" fmla="*/ 2221670 h 5973007"/>
              <a:gd name="connsiteX36471" fmla="*/ 4906093 w 6884782"/>
              <a:gd name="connsiteY36471" fmla="*/ 2215553 h 5973007"/>
              <a:gd name="connsiteX36472" fmla="*/ 4904599 w 6884782"/>
              <a:gd name="connsiteY36472" fmla="*/ 2214557 h 5973007"/>
              <a:gd name="connsiteX36473" fmla="*/ 4906947 w 6884782"/>
              <a:gd name="connsiteY36473" fmla="*/ 2213846 h 5973007"/>
              <a:gd name="connsiteX36474" fmla="*/ 4908441 w 6884782"/>
              <a:gd name="connsiteY36474" fmla="*/ 2210289 h 5973007"/>
              <a:gd name="connsiteX36475" fmla="*/ 4914203 w 6884782"/>
              <a:gd name="connsiteY36475" fmla="*/ 2203460 h 5973007"/>
              <a:gd name="connsiteX36476" fmla="*/ 4914416 w 6884782"/>
              <a:gd name="connsiteY36476" fmla="*/ 2207159 h 5973007"/>
              <a:gd name="connsiteX36477" fmla="*/ 4913776 w 6884782"/>
              <a:gd name="connsiteY36477" fmla="*/ 2208866 h 5973007"/>
              <a:gd name="connsiteX36478" fmla="*/ 4914203 w 6884782"/>
              <a:gd name="connsiteY36478" fmla="*/ 2209862 h 5973007"/>
              <a:gd name="connsiteX36479" fmla="*/ 4913136 w 6884782"/>
              <a:gd name="connsiteY36479" fmla="*/ 2210431 h 5973007"/>
              <a:gd name="connsiteX36480" fmla="*/ 4912923 w 6884782"/>
              <a:gd name="connsiteY36480" fmla="*/ 2210716 h 5973007"/>
              <a:gd name="connsiteX36481" fmla="*/ 4912496 w 6884782"/>
              <a:gd name="connsiteY36481" fmla="*/ 2212139 h 5973007"/>
              <a:gd name="connsiteX36482" fmla="*/ 4917191 w 6884782"/>
              <a:gd name="connsiteY36482" fmla="*/ 2210716 h 5973007"/>
              <a:gd name="connsiteX36483" fmla="*/ 4916124 w 6884782"/>
              <a:gd name="connsiteY36483" fmla="*/ 2209293 h 5973007"/>
              <a:gd name="connsiteX36484" fmla="*/ 4919752 w 6884782"/>
              <a:gd name="connsiteY36484" fmla="*/ 2203602 h 5973007"/>
              <a:gd name="connsiteX36485" fmla="*/ 4922313 w 6884782"/>
              <a:gd name="connsiteY36485" fmla="*/ 2201042 h 5973007"/>
              <a:gd name="connsiteX36486" fmla="*/ 4918045 w 6884782"/>
              <a:gd name="connsiteY36486" fmla="*/ 2197485 h 5973007"/>
              <a:gd name="connsiteX36487" fmla="*/ 4907374 w 6884782"/>
              <a:gd name="connsiteY36487" fmla="*/ 2190514 h 5973007"/>
              <a:gd name="connsiteX36488" fmla="*/ 4912923 w 6884782"/>
              <a:gd name="connsiteY36488" fmla="*/ 2183542 h 5973007"/>
              <a:gd name="connsiteX36489" fmla="*/ 5773858 w 6884782"/>
              <a:gd name="connsiteY36489" fmla="*/ 2182974 h 5973007"/>
              <a:gd name="connsiteX36490" fmla="*/ 5762547 w 6884782"/>
              <a:gd name="connsiteY36490" fmla="*/ 2195778 h 5973007"/>
              <a:gd name="connsiteX36491" fmla="*/ 5758492 w 6884782"/>
              <a:gd name="connsiteY36491" fmla="*/ 2195636 h 5973007"/>
              <a:gd name="connsiteX36492" fmla="*/ 5761480 w 6884782"/>
              <a:gd name="connsiteY36492" fmla="*/ 2197343 h 5973007"/>
              <a:gd name="connsiteX36493" fmla="*/ 5762973 w 6884782"/>
              <a:gd name="connsiteY36493" fmla="*/ 2202749 h 5973007"/>
              <a:gd name="connsiteX36494" fmla="*/ 5762547 w 6884782"/>
              <a:gd name="connsiteY36494" fmla="*/ 2201753 h 5973007"/>
              <a:gd name="connsiteX36495" fmla="*/ 5760413 w 6884782"/>
              <a:gd name="connsiteY36495" fmla="*/ 2202749 h 5973007"/>
              <a:gd name="connsiteX36496" fmla="*/ 5760839 w 6884782"/>
              <a:gd name="connsiteY36496" fmla="*/ 2203887 h 5973007"/>
              <a:gd name="connsiteX36497" fmla="*/ 5758278 w 6884782"/>
              <a:gd name="connsiteY36497" fmla="*/ 2203887 h 5973007"/>
              <a:gd name="connsiteX36498" fmla="*/ 5751876 w 6884782"/>
              <a:gd name="connsiteY36498" fmla="*/ 2197769 h 5973007"/>
              <a:gd name="connsiteX36499" fmla="*/ 5754650 w 6884782"/>
              <a:gd name="connsiteY36499" fmla="*/ 2195066 h 5973007"/>
              <a:gd name="connsiteX36500" fmla="*/ 5756357 w 6884782"/>
              <a:gd name="connsiteY36500" fmla="*/ 2195066 h 5973007"/>
              <a:gd name="connsiteX36501" fmla="*/ 5759132 w 6884782"/>
              <a:gd name="connsiteY36501" fmla="*/ 2188949 h 5973007"/>
              <a:gd name="connsiteX36502" fmla="*/ 5773858 w 6884782"/>
              <a:gd name="connsiteY36502" fmla="*/ 2182974 h 5973007"/>
              <a:gd name="connsiteX36503" fmla="*/ 5083658 w 6884782"/>
              <a:gd name="connsiteY36503" fmla="*/ 2182689 h 5973007"/>
              <a:gd name="connsiteX36504" fmla="*/ 5087927 w 6884782"/>
              <a:gd name="connsiteY36504" fmla="*/ 2189518 h 5973007"/>
              <a:gd name="connsiteX36505" fmla="*/ 5094329 w 6884782"/>
              <a:gd name="connsiteY36505" fmla="*/ 2206732 h 5973007"/>
              <a:gd name="connsiteX36506" fmla="*/ 5093049 w 6884782"/>
              <a:gd name="connsiteY36506" fmla="*/ 2210004 h 5973007"/>
              <a:gd name="connsiteX36507" fmla="*/ 5093476 w 6884782"/>
              <a:gd name="connsiteY36507" fmla="*/ 2211000 h 5973007"/>
              <a:gd name="connsiteX36508" fmla="*/ 5091768 w 6884782"/>
              <a:gd name="connsiteY36508" fmla="*/ 2213134 h 5973007"/>
              <a:gd name="connsiteX36509" fmla="*/ 5088140 w 6884782"/>
              <a:gd name="connsiteY36509" fmla="*/ 2207302 h 5973007"/>
              <a:gd name="connsiteX36510" fmla="*/ 5086006 w 6884782"/>
              <a:gd name="connsiteY36510" fmla="*/ 2201895 h 5973007"/>
              <a:gd name="connsiteX36511" fmla="*/ 5083658 w 6884782"/>
              <a:gd name="connsiteY36511" fmla="*/ 2182689 h 5973007"/>
              <a:gd name="connsiteX36512" fmla="*/ 5406136 w 6884782"/>
              <a:gd name="connsiteY36512" fmla="*/ 2182547 h 5973007"/>
              <a:gd name="connsiteX36513" fmla="*/ 5411044 w 6884782"/>
              <a:gd name="connsiteY36513" fmla="*/ 2186672 h 5973007"/>
              <a:gd name="connsiteX36514" fmla="*/ 5406136 w 6884782"/>
              <a:gd name="connsiteY36514" fmla="*/ 2197769 h 5973007"/>
              <a:gd name="connsiteX36515" fmla="*/ 5394824 w 6884782"/>
              <a:gd name="connsiteY36515" fmla="*/ 2195066 h 5973007"/>
              <a:gd name="connsiteX36516" fmla="*/ 5406136 w 6884782"/>
              <a:gd name="connsiteY36516" fmla="*/ 2182547 h 5973007"/>
              <a:gd name="connsiteX36517" fmla="*/ 1020172 w 6884782"/>
              <a:gd name="connsiteY36517" fmla="*/ 2182511 h 5973007"/>
              <a:gd name="connsiteX36518" fmla="*/ 1022547 w 6884782"/>
              <a:gd name="connsiteY36518" fmla="*/ 2182976 h 5973007"/>
              <a:gd name="connsiteX36519" fmla="*/ 1025128 w 6884782"/>
              <a:gd name="connsiteY36519" fmla="*/ 2186848 h 5973007"/>
              <a:gd name="connsiteX36520" fmla="*/ 1022237 w 6884782"/>
              <a:gd name="connsiteY36520" fmla="*/ 2189946 h 5973007"/>
              <a:gd name="connsiteX36521" fmla="*/ 1020069 w 6884782"/>
              <a:gd name="connsiteY36521" fmla="*/ 2190721 h 5973007"/>
              <a:gd name="connsiteX36522" fmla="*/ 1020998 w 6884782"/>
              <a:gd name="connsiteY36522" fmla="*/ 2191495 h 5973007"/>
              <a:gd name="connsiteX36523" fmla="*/ 1020688 w 6884782"/>
              <a:gd name="connsiteY36523" fmla="*/ 2195832 h 5973007"/>
              <a:gd name="connsiteX36524" fmla="*/ 1016558 w 6884782"/>
              <a:gd name="connsiteY36524" fmla="*/ 2190101 h 5973007"/>
              <a:gd name="connsiteX36525" fmla="*/ 1016970 w 6884782"/>
              <a:gd name="connsiteY36525" fmla="*/ 2190256 h 5973007"/>
              <a:gd name="connsiteX36526" fmla="*/ 1016145 w 6884782"/>
              <a:gd name="connsiteY36526" fmla="*/ 2189481 h 5973007"/>
              <a:gd name="connsiteX36527" fmla="*/ 1016041 w 6884782"/>
              <a:gd name="connsiteY36527" fmla="*/ 2186229 h 5973007"/>
              <a:gd name="connsiteX36528" fmla="*/ 1017281 w 6884782"/>
              <a:gd name="connsiteY36528" fmla="*/ 2183750 h 5973007"/>
              <a:gd name="connsiteX36529" fmla="*/ 1020172 w 6884782"/>
              <a:gd name="connsiteY36529" fmla="*/ 2182511 h 5973007"/>
              <a:gd name="connsiteX36530" fmla="*/ 4960302 w 6884782"/>
              <a:gd name="connsiteY36530" fmla="*/ 2182262 h 5973007"/>
              <a:gd name="connsiteX36531" fmla="*/ 4963716 w 6884782"/>
              <a:gd name="connsiteY36531" fmla="*/ 2183827 h 5973007"/>
              <a:gd name="connsiteX36532" fmla="*/ 4960942 w 6884782"/>
              <a:gd name="connsiteY36532" fmla="*/ 2189660 h 5973007"/>
              <a:gd name="connsiteX36533" fmla="*/ 4960302 w 6884782"/>
              <a:gd name="connsiteY36533" fmla="*/ 2182262 h 5973007"/>
              <a:gd name="connsiteX36534" fmla="*/ 5308816 w 6884782"/>
              <a:gd name="connsiteY36534" fmla="*/ 2181978 h 5973007"/>
              <a:gd name="connsiteX36535" fmla="*/ 5312871 w 6884782"/>
              <a:gd name="connsiteY36535" fmla="*/ 2184538 h 5973007"/>
              <a:gd name="connsiteX36536" fmla="*/ 5298145 w 6884782"/>
              <a:gd name="connsiteY36536" fmla="*/ 2194355 h 5973007"/>
              <a:gd name="connsiteX36537" fmla="*/ 5295371 w 6884782"/>
              <a:gd name="connsiteY36537" fmla="*/ 2188095 h 5973007"/>
              <a:gd name="connsiteX36538" fmla="*/ 5308816 w 6884782"/>
              <a:gd name="connsiteY36538" fmla="*/ 2181978 h 5973007"/>
              <a:gd name="connsiteX36539" fmla="*/ 1043714 w 6884782"/>
              <a:gd name="connsiteY36539" fmla="*/ 2181891 h 5973007"/>
              <a:gd name="connsiteX36540" fmla="*/ 1044747 w 6884782"/>
              <a:gd name="connsiteY36540" fmla="*/ 2184989 h 5973007"/>
              <a:gd name="connsiteX36541" fmla="*/ 1044024 w 6884782"/>
              <a:gd name="connsiteY36541" fmla="*/ 2187622 h 5973007"/>
              <a:gd name="connsiteX36542" fmla="*/ 1044850 w 6884782"/>
              <a:gd name="connsiteY36542" fmla="*/ 2186074 h 5973007"/>
              <a:gd name="connsiteX36543" fmla="*/ 1048464 w 6884782"/>
              <a:gd name="connsiteY36543" fmla="*/ 2185144 h 5973007"/>
              <a:gd name="connsiteX36544" fmla="*/ 1042475 w 6884782"/>
              <a:gd name="connsiteY36544" fmla="*/ 2200634 h 5973007"/>
              <a:gd name="connsiteX36545" fmla="*/ 1040823 w 6884782"/>
              <a:gd name="connsiteY36545" fmla="*/ 2199859 h 5973007"/>
              <a:gd name="connsiteX36546" fmla="*/ 1040306 w 6884782"/>
              <a:gd name="connsiteY36546" fmla="*/ 2197536 h 5973007"/>
              <a:gd name="connsiteX36547" fmla="*/ 1042991 w 6884782"/>
              <a:gd name="connsiteY36547" fmla="*/ 2189481 h 5973007"/>
              <a:gd name="connsiteX36548" fmla="*/ 1043508 w 6884782"/>
              <a:gd name="connsiteY36548" fmla="*/ 2188552 h 5973007"/>
              <a:gd name="connsiteX36549" fmla="*/ 1038861 w 6884782"/>
              <a:gd name="connsiteY36549" fmla="*/ 2193664 h 5973007"/>
              <a:gd name="connsiteX36550" fmla="*/ 1025231 w 6884782"/>
              <a:gd name="connsiteY36550" fmla="*/ 2199704 h 5973007"/>
              <a:gd name="connsiteX36551" fmla="*/ 1043714 w 6884782"/>
              <a:gd name="connsiteY36551" fmla="*/ 2181891 h 5973007"/>
              <a:gd name="connsiteX36552" fmla="*/ 1009743 w 6884782"/>
              <a:gd name="connsiteY36552" fmla="*/ 2180343 h 5973007"/>
              <a:gd name="connsiteX36553" fmla="*/ 1008091 w 6884782"/>
              <a:gd name="connsiteY36553" fmla="*/ 2183286 h 5973007"/>
              <a:gd name="connsiteX36554" fmla="*/ 1007368 w 6884782"/>
              <a:gd name="connsiteY36554" fmla="*/ 2182976 h 5973007"/>
              <a:gd name="connsiteX36555" fmla="*/ 1009743 w 6884782"/>
              <a:gd name="connsiteY36555" fmla="*/ 2180343 h 5973007"/>
              <a:gd name="connsiteX36556" fmla="*/ 994874 w 6884782"/>
              <a:gd name="connsiteY36556" fmla="*/ 2179878 h 5973007"/>
              <a:gd name="connsiteX36557" fmla="*/ 996629 w 6884782"/>
              <a:gd name="connsiteY36557" fmla="*/ 2180188 h 5973007"/>
              <a:gd name="connsiteX36558" fmla="*/ 998178 w 6884782"/>
              <a:gd name="connsiteY36558" fmla="*/ 2181117 h 5973007"/>
              <a:gd name="connsiteX36559" fmla="*/ 995803 w 6884782"/>
              <a:gd name="connsiteY36559" fmla="*/ 2183286 h 5973007"/>
              <a:gd name="connsiteX36560" fmla="*/ 994874 w 6884782"/>
              <a:gd name="connsiteY36560" fmla="*/ 2181891 h 5973007"/>
              <a:gd name="connsiteX36561" fmla="*/ 994151 w 6884782"/>
              <a:gd name="connsiteY36561" fmla="*/ 2182201 h 5973007"/>
              <a:gd name="connsiteX36562" fmla="*/ 994048 w 6884782"/>
              <a:gd name="connsiteY36562" fmla="*/ 2180498 h 5973007"/>
              <a:gd name="connsiteX36563" fmla="*/ 994770 w 6884782"/>
              <a:gd name="connsiteY36563" fmla="*/ 2180188 h 5973007"/>
              <a:gd name="connsiteX36564" fmla="*/ 994874 w 6884782"/>
              <a:gd name="connsiteY36564" fmla="*/ 2179878 h 5973007"/>
              <a:gd name="connsiteX36565" fmla="*/ 883047 w 6884782"/>
              <a:gd name="connsiteY36565" fmla="*/ 2179568 h 5973007"/>
              <a:gd name="connsiteX36566" fmla="*/ 892444 w 6884782"/>
              <a:gd name="connsiteY36566" fmla="*/ 2183905 h 5973007"/>
              <a:gd name="connsiteX36567" fmla="*/ 888210 w 6884782"/>
              <a:gd name="connsiteY36567" fmla="*/ 2190256 h 5973007"/>
              <a:gd name="connsiteX36568" fmla="*/ 881499 w 6884782"/>
              <a:gd name="connsiteY36568" fmla="*/ 2188243 h 5973007"/>
              <a:gd name="connsiteX36569" fmla="*/ 880053 w 6884782"/>
              <a:gd name="connsiteY36569" fmla="*/ 2185144 h 5973007"/>
              <a:gd name="connsiteX36570" fmla="*/ 880053 w 6884782"/>
              <a:gd name="connsiteY36570" fmla="*/ 2182666 h 5973007"/>
              <a:gd name="connsiteX36571" fmla="*/ 883047 w 6884782"/>
              <a:gd name="connsiteY36571" fmla="*/ 2179568 h 5973007"/>
              <a:gd name="connsiteX36572" fmla="*/ 978559 w 6884782"/>
              <a:gd name="connsiteY36572" fmla="*/ 2179258 h 5973007"/>
              <a:gd name="connsiteX36573" fmla="*/ 972674 w 6884782"/>
              <a:gd name="connsiteY36573" fmla="*/ 2189791 h 5973007"/>
              <a:gd name="connsiteX36574" fmla="*/ 962658 w 6884782"/>
              <a:gd name="connsiteY36574" fmla="*/ 2198776 h 5973007"/>
              <a:gd name="connsiteX36575" fmla="*/ 962348 w 6884782"/>
              <a:gd name="connsiteY36575" fmla="*/ 2195367 h 5973007"/>
              <a:gd name="connsiteX36576" fmla="*/ 978559 w 6884782"/>
              <a:gd name="connsiteY36576" fmla="*/ 2179258 h 5973007"/>
              <a:gd name="connsiteX36577" fmla="*/ 942420 w 6884782"/>
              <a:gd name="connsiteY36577" fmla="*/ 2179103 h 5973007"/>
              <a:gd name="connsiteX36578" fmla="*/ 949957 w 6884782"/>
              <a:gd name="connsiteY36578" fmla="*/ 2181736 h 5973007"/>
              <a:gd name="connsiteX36579" fmla="*/ 947686 w 6884782"/>
              <a:gd name="connsiteY36579" fmla="*/ 2186229 h 5973007"/>
              <a:gd name="connsiteX36580" fmla="*/ 942420 w 6884782"/>
              <a:gd name="connsiteY36580" fmla="*/ 2179103 h 5973007"/>
              <a:gd name="connsiteX36581" fmla="*/ 5157928 w 6884782"/>
              <a:gd name="connsiteY36581" fmla="*/ 2178990 h 5973007"/>
              <a:gd name="connsiteX36582" fmla="*/ 5160916 w 6884782"/>
              <a:gd name="connsiteY36582" fmla="*/ 2183970 h 5973007"/>
              <a:gd name="connsiteX36583" fmla="*/ 5163051 w 6884782"/>
              <a:gd name="connsiteY36583" fmla="*/ 2184823 h 5973007"/>
              <a:gd name="connsiteX36584" fmla="*/ 5167959 w 6884782"/>
              <a:gd name="connsiteY36584" fmla="*/ 2191652 h 5973007"/>
              <a:gd name="connsiteX36585" fmla="*/ 5172014 w 6884782"/>
              <a:gd name="connsiteY36585" fmla="*/ 2192079 h 5973007"/>
              <a:gd name="connsiteX36586" fmla="*/ 5173508 w 6884782"/>
              <a:gd name="connsiteY36586" fmla="*/ 2195778 h 5973007"/>
              <a:gd name="connsiteX36587" fmla="*/ 5168813 w 6884782"/>
              <a:gd name="connsiteY36587" fmla="*/ 2197343 h 5973007"/>
              <a:gd name="connsiteX36588" fmla="*/ 5168386 w 6884782"/>
              <a:gd name="connsiteY36588" fmla="*/ 2203175 h 5973007"/>
              <a:gd name="connsiteX36589" fmla="*/ 5166679 w 6884782"/>
              <a:gd name="connsiteY36589" fmla="*/ 2204741 h 5973007"/>
              <a:gd name="connsiteX36590" fmla="*/ 5166679 w 6884782"/>
              <a:gd name="connsiteY36590" fmla="*/ 2205594 h 5973007"/>
              <a:gd name="connsiteX36591" fmla="*/ 5150672 w 6884782"/>
              <a:gd name="connsiteY36591" fmla="*/ 2220817 h 5973007"/>
              <a:gd name="connsiteX36592" fmla="*/ 5141922 w 6884782"/>
              <a:gd name="connsiteY36592" fmla="*/ 2217545 h 5973007"/>
              <a:gd name="connsiteX36593" fmla="*/ 5141922 w 6884782"/>
              <a:gd name="connsiteY36593" fmla="*/ 2195351 h 5973007"/>
              <a:gd name="connsiteX36594" fmla="*/ 5144697 w 6884782"/>
              <a:gd name="connsiteY36594" fmla="*/ 2188949 h 5973007"/>
              <a:gd name="connsiteX36595" fmla="*/ 5144697 w 6884782"/>
              <a:gd name="connsiteY36595" fmla="*/ 2184680 h 5973007"/>
              <a:gd name="connsiteX36596" fmla="*/ 5149392 w 6884782"/>
              <a:gd name="connsiteY36596" fmla="*/ 2183542 h 5973007"/>
              <a:gd name="connsiteX36597" fmla="*/ 5373696 w 6884782"/>
              <a:gd name="connsiteY36597" fmla="*/ 2175433 h 5973007"/>
              <a:gd name="connsiteX36598" fmla="*/ 5373482 w 6884782"/>
              <a:gd name="connsiteY36598" fmla="*/ 2176429 h 5973007"/>
              <a:gd name="connsiteX36599" fmla="*/ 5378391 w 6884782"/>
              <a:gd name="connsiteY36599" fmla="*/ 2177851 h 5973007"/>
              <a:gd name="connsiteX36600" fmla="*/ 5375830 w 6884782"/>
              <a:gd name="connsiteY36600" fmla="*/ 2183116 h 5973007"/>
              <a:gd name="connsiteX36601" fmla="*/ 5371988 w 6884782"/>
              <a:gd name="connsiteY36601" fmla="*/ 2179559 h 5973007"/>
              <a:gd name="connsiteX36602" fmla="*/ 5372415 w 6884782"/>
              <a:gd name="connsiteY36602" fmla="*/ 2175718 h 5973007"/>
              <a:gd name="connsiteX36603" fmla="*/ 5373696 w 6884782"/>
              <a:gd name="connsiteY36603" fmla="*/ 2175433 h 5973007"/>
              <a:gd name="connsiteX36604" fmla="*/ 828838 w 6884782"/>
              <a:gd name="connsiteY36604" fmla="*/ 2175076 h 5973007"/>
              <a:gd name="connsiteX36605" fmla="*/ 835859 w 6884782"/>
              <a:gd name="connsiteY36605" fmla="*/ 2176160 h 5973007"/>
              <a:gd name="connsiteX36606" fmla="*/ 834414 w 6884782"/>
              <a:gd name="connsiteY36606" fmla="*/ 2182356 h 5973007"/>
              <a:gd name="connsiteX36607" fmla="*/ 827393 w 6884782"/>
              <a:gd name="connsiteY36607" fmla="*/ 2179413 h 5973007"/>
              <a:gd name="connsiteX36608" fmla="*/ 828838 w 6884782"/>
              <a:gd name="connsiteY36608" fmla="*/ 2175076 h 5973007"/>
              <a:gd name="connsiteX36609" fmla="*/ 5229424 w 6884782"/>
              <a:gd name="connsiteY36609" fmla="*/ 2173868 h 5973007"/>
              <a:gd name="connsiteX36610" fmla="*/ 5242656 w 6884782"/>
              <a:gd name="connsiteY36610" fmla="*/ 2182689 h 5973007"/>
              <a:gd name="connsiteX36611" fmla="*/ 5243723 w 6884782"/>
              <a:gd name="connsiteY36611" fmla="*/ 2185961 h 5973007"/>
              <a:gd name="connsiteX36612" fmla="*/ 5245431 w 6884782"/>
              <a:gd name="connsiteY36612" fmla="*/ 2188237 h 5973007"/>
              <a:gd name="connsiteX36613" fmla="*/ 5245644 w 6884782"/>
              <a:gd name="connsiteY36613" fmla="*/ 2196347 h 5973007"/>
              <a:gd name="connsiteX36614" fmla="*/ 5228570 w 6884782"/>
              <a:gd name="connsiteY36614" fmla="*/ 2178563 h 5973007"/>
              <a:gd name="connsiteX36615" fmla="*/ 5227503 w 6884782"/>
              <a:gd name="connsiteY36615" fmla="*/ 2176002 h 5973007"/>
              <a:gd name="connsiteX36616" fmla="*/ 5229424 w 6884782"/>
              <a:gd name="connsiteY36616" fmla="*/ 2173868 h 5973007"/>
              <a:gd name="connsiteX36617" fmla="*/ 5291529 w 6884782"/>
              <a:gd name="connsiteY36617" fmla="*/ 2173584 h 5973007"/>
              <a:gd name="connsiteX36618" fmla="*/ 5294730 w 6884782"/>
              <a:gd name="connsiteY36618" fmla="*/ 2175006 h 5973007"/>
              <a:gd name="connsiteX36619" fmla="*/ 5291102 w 6884782"/>
              <a:gd name="connsiteY36619" fmla="*/ 2180982 h 5973007"/>
              <a:gd name="connsiteX36620" fmla="*/ 5291529 w 6884782"/>
              <a:gd name="connsiteY36620" fmla="*/ 2173584 h 5973007"/>
              <a:gd name="connsiteX36621" fmla="*/ 6364817 w 6884782"/>
              <a:gd name="connsiteY36621" fmla="*/ 2173441 h 5973007"/>
              <a:gd name="connsiteX36622" fmla="*/ 6352226 w 6884782"/>
              <a:gd name="connsiteY36622" fmla="*/ 2189802 h 5973007"/>
              <a:gd name="connsiteX36623" fmla="*/ 6347744 w 6884782"/>
              <a:gd name="connsiteY36623" fmla="*/ 2181266 h 5973007"/>
              <a:gd name="connsiteX36624" fmla="*/ 6364817 w 6884782"/>
              <a:gd name="connsiteY36624" fmla="*/ 2173441 h 5973007"/>
              <a:gd name="connsiteX36625" fmla="*/ 5415739 w 6884782"/>
              <a:gd name="connsiteY36625" fmla="*/ 2172161 h 5973007"/>
              <a:gd name="connsiteX36626" fmla="*/ 5417660 w 6884782"/>
              <a:gd name="connsiteY36626" fmla="*/ 2179986 h 5973007"/>
              <a:gd name="connsiteX36627" fmla="*/ 5408910 w 6884782"/>
              <a:gd name="connsiteY36627" fmla="*/ 2177851 h 5973007"/>
              <a:gd name="connsiteX36628" fmla="*/ 5415739 w 6884782"/>
              <a:gd name="connsiteY36628" fmla="*/ 2172161 h 5973007"/>
              <a:gd name="connsiteX36629" fmla="*/ 6247650 w 6884782"/>
              <a:gd name="connsiteY36629" fmla="*/ 2171023 h 5973007"/>
              <a:gd name="connsiteX36630" fmla="*/ 6256400 w 6884782"/>
              <a:gd name="connsiteY36630" fmla="*/ 2175433 h 5973007"/>
              <a:gd name="connsiteX36631" fmla="*/ 6260882 w 6884782"/>
              <a:gd name="connsiteY36631" fmla="*/ 2189091 h 5973007"/>
              <a:gd name="connsiteX36632" fmla="*/ 6257467 w 6884782"/>
              <a:gd name="connsiteY36632" fmla="*/ 2196205 h 5973007"/>
              <a:gd name="connsiteX36633" fmla="*/ 6236552 w 6884782"/>
              <a:gd name="connsiteY36633" fmla="*/ 2195208 h 5973007"/>
              <a:gd name="connsiteX36634" fmla="*/ 6234418 w 6884782"/>
              <a:gd name="connsiteY36634" fmla="*/ 2192363 h 5973007"/>
              <a:gd name="connsiteX36635" fmla="*/ 6233991 w 6884782"/>
              <a:gd name="connsiteY36635" fmla="*/ 2192079 h 5973007"/>
              <a:gd name="connsiteX36636" fmla="*/ 6233564 w 6884782"/>
              <a:gd name="connsiteY36636" fmla="*/ 2193786 h 5973007"/>
              <a:gd name="connsiteX36637" fmla="*/ 6231643 w 6884782"/>
              <a:gd name="connsiteY36637" fmla="*/ 2194070 h 5973007"/>
              <a:gd name="connsiteX36638" fmla="*/ 6228442 w 6884782"/>
              <a:gd name="connsiteY36638" fmla="*/ 2193217 h 5973007"/>
              <a:gd name="connsiteX36639" fmla="*/ 6225881 w 6884782"/>
              <a:gd name="connsiteY36639" fmla="*/ 2193501 h 5973007"/>
              <a:gd name="connsiteX36640" fmla="*/ 6224174 w 6884782"/>
              <a:gd name="connsiteY36640" fmla="*/ 2190371 h 5973007"/>
              <a:gd name="connsiteX36641" fmla="*/ 6226735 w 6884782"/>
              <a:gd name="connsiteY36641" fmla="*/ 2190087 h 5973007"/>
              <a:gd name="connsiteX36642" fmla="*/ 6230576 w 6884782"/>
              <a:gd name="connsiteY36642" fmla="*/ 2190941 h 5973007"/>
              <a:gd name="connsiteX36643" fmla="*/ 6232497 w 6884782"/>
              <a:gd name="connsiteY36643" fmla="*/ 2191083 h 5973007"/>
              <a:gd name="connsiteX36644" fmla="*/ 6229936 w 6884782"/>
              <a:gd name="connsiteY36644" fmla="*/ 2189233 h 5973007"/>
              <a:gd name="connsiteX36645" fmla="*/ 6231857 w 6884782"/>
              <a:gd name="connsiteY36645" fmla="*/ 2186388 h 5973007"/>
              <a:gd name="connsiteX36646" fmla="*/ 6232497 w 6884782"/>
              <a:gd name="connsiteY36646" fmla="*/ 2183542 h 5973007"/>
              <a:gd name="connsiteX36647" fmla="*/ 6230150 w 6884782"/>
              <a:gd name="connsiteY36647" fmla="*/ 2181551 h 5973007"/>
              <a:gd name="connsiteX36648" fmla="*/ 6233351 w 6884782"/>
              <a:gd name="connsiteY36648" fmla="*/ 2179559 h 5973007"/>
              <a:gd name="connsiteX36649" fmla="*/ 6233778 w 6884782"/>
              <a:gd name="connsiteY36649" fmla="*/ 2179701 h 5973007"/>
              <a:gd name="connsiteX36650" fmla="*/ 6236766 w 6884782"/>
              <a:gd name="connsiteY36650" fmla="*/ 2176002 h 5973007"/>
              <a:gd name="connsiteX36651" fmla="*/ 6247650 w 6884782"/>
              <a:gd name="connsiteY36651" fmla="*/ 2171023 h 5973007"/>
              <a:gd name="connsiteX36652" fmla="*/ 789807 w 6884782"/>
              <a:gd name="connsiteY36652" fmla="*/ 2170894 h 5973007"/>
              <a:gd name="connsiteX36653" fmla="*/ 806844 w 6884782"/>
              <a:gd name="connsiteY36653" fmla="*/ 2178639 h 5973007"/>
              <a:gd name="connsiteX36654" fmla="*/ 789807 w 6884782"/>
              <a:gd name="connsiteY36654" fmla="*/ 2170894 h 5973007"/>
              <a:gd name="connsiteX36655" fmla="*/ 4987406 w 6884782"/>
              <a:gd name="connsiteY36655" fmla="*/ 2168462 h 5973007"/>
              <a:gd name="connsiteX36656" fmla="*/ 4989113 w 6884782"/>
              <a:gd name="connsiteY36656" fmla="*/ 2171592 h 5973007"/>
              <a:gd name="connsiteX36657" fmla="*/ 4986979 w 6884782"/>
              <a:gd name="connsiteY36657" fmla="*/ 2186530 h 5973007"/>
              <a:gd name="connsiteX36658" fmla="*/ 4987406 w 6884782"/>
              <a:gd name="connsiteY36658" fmla="*/ 2168462 h 5973007"/>
              <a:gd name="connsiteX36659" fmla="*/ 887281 w 6884782"/>
              <a:gd name="connsiteY36659" fmla="*/ 2167951 h 5973007"/>
              <a:gd name="connsiteX36660" fmla="*/ 889965 w 6884782"/>
              <a:gd name="connsiteY36660" fmla="*/ 2167951 h 5973007"/>
              <a:gd name="connsiteX36661" fmla="*/ 889862 w 6884782"/>
              <a:gd name="connsiteY36661" fmla="*/ 2172753 h 5973007"/>
              <a:gd name="connsiteX36662" fmla="*/ 886042 w 6884782"/>
              <a:gd name="connsiteY36662" fmla="*/ 2171358 h 5973007"/>
              <a:gd name="connsiteX36663" fmla="*/ 887281 w 6884782"/>
              <a:gd name="connsiteY36663" fmla="*/ 2167951 h 5973007"/>
              <a:gd name="connsiteX36664" fmla="*/ 4596634 w 6884782"/>
              <a:gd name="connsiteY36664" fmla="*/ 2167039 h 5973007"/>
              <a:gd name="connsiteX36665" fmla="*/ 4599836 w 6884782"/>
              <a:gd name="connsiteY36665" fmla="*/ 2168604 h 5973007"/>
              <a:gd name="connsiteX36666" fmla="*/ 4593647 w 6884782"/>
              <a:gd name="connsiteY36666" fmla="*/ 2181835 h 5973007"/>
              <a:gd name="connsiteX36667" fmla="*/ 4585750 w 6884782"/>
              <a:gd name="connsiteY36667" fmla="*/ 2172303 h 5973007"/>
              <a:gd name="connsiteX36668" fmla="*/ 4596634 w 6884782"/>
              <a:gd name="connsiteY36668" fmla="*/ 2167039 h 5973007"/>
              <a:gd name="connsiteX36669" fmla="*/ 5614860 w 6884782"/>
              <a:gd name="connsiteY36669" fmla="*/ 2166755 h 5973007"/>
              <a:gd name="connsiteX36670" fmla="*/ 5618702 w 6884782"/>
              <a:gd name="connsiteY36670" fmla="*/ 2167608 h 5973007"/>
              <a:gd name="connsiteX36671" fmla="*/ 5625318 w 6884782"/>
              <a:gd name="connsiteY36671" fmla="*/ 2178421 h 5973007"/>
              <a:gd name="connsiteX36672" fmla="*/ 5625104 w 6884782"/>
              <a:gd name="connsiteY36672" fmla="*/ 2182405 h 5973007"/>
              <a:gd name="connsiteX36673" fmla="*/ 5625318 w 6884782"/>
              <a:gd name="connsiteY36673" fmla="*/ 2182405 h 5973007"/>
              <a:gd name="connsiteX36674" fmla="*/ 5625958 w 6884782"/>
              <a:gd name="connsiteY36674" fmla="*/ 2182689 h 5973007"/>
              <a:gd name="connsiteX36675" fmla="*/ 5626385 w 6884782"/>
              <a:gd name="connsiteY36675" fmla="*/ 2182120 h 5973007"/>
              <a:gd name="connsiteX36676" fmla="*/ 5629159 w 6884782"/>
              <a:gd name="connsiteY36676" fmla="*/ 2180128 h 5973007"/>
              <a:gd name="connsiteX36677" fmla="*/ 5626812 w 6884782"/>
              <a:gd name="connsiteY36677" fmla="*/ 2182405 h 5973007"/>
              <a:gd name="connsiteX36678" fmla="*/ 5627025 w 6884782"/>
              <a:gd name="connsiteY36678" fmla="*/ 2183116 h 5973007"/>
              <a:gd name="connsiteX36679" fmla="*/ 5630440 w 6884782"/>
              <a:gd name="connsiteY36679" fmla="*/ 2184680 h 5973007"/>
              <a:gd name="connsiteX36680" fmla="*/ 5619555 w 6884782"/>
              <a:gd name="connsiteY36680" fmla="*/ 2203175 h 5973007"/>
              <a:gd name="connsiteX36681" fmla="*/ 5615927 w 6884782"/>
              <a:gd name="connsiteY36681" fmla="*/ 2202891 h 5973007"/>
              <a:gd name="connsiteX36682" fmla="*/ 5614007 w 6884782"/>
              <a:gd name="connsiteY36682" fmla="*/ 2201753 h 5973007"/>
              <a:gd name="connsiteX36683" fmla="*/ 5607177 w 6884782"/>
              <a:gd name="connsiteY36683" fmla="*/ 2206590 h 5973007"/>
              <a:gd name="connsiteX36684" fmla="*/ 5603549 w 6884782"/>
              <a:gd name="connsiteY36684" fmla="*/ 2207870 h 5973007"/>
              <a:gd name="connsiteX36685" fmla="*/ 5600561 w 6884782"/>
              <a:gd name="connsiteY36685" fmla="*/ 2184112 h 5973007"/>
              <a:gd name="connsiteX36686" fmla="*/ 5599281 w 6884782"/>
              <a:gd name="connsiteY36686" fmla="*/ 2183400 h 5973007"/>
              <a:gd name="connsiteX36687" fmla="*/ 5598213 w 6884782"/>
              <a:gd name="connsiteY36687" fmla="*/ 2182547 h 5973007"/>
              <a:gd name="connsiteX36688" fmla="*/ 5599281 w 6884782"/>
              <a:gd name="connsiteY36688" fmla="*/ 2181978 h 5973007"/>
              <a:gd name="connsiteX36689" fmla="*/ 5600988 w 6884782"/>
              <a:gd name="connsiteY36689" fmla="*/ 2182405 h 5973007"/>
              <a:gd name="connsiteX36690" fmla="*/ 5601415 w 6884782"/>
              <a:gd name="connsiteY36690" fmla="*/ 2182547 h 5973007"/>
              <a:gd name="connsiteX36691" fmla="*/ 5604829 w 6884782"/>
              <a:gd name="connsiteY36691" fmla="*/ 2176856 h 5973007"/>
              <a:gd name="connsiteX36692" fmla="*/ 5614860 w 6884782"/>
              <a:gd name="connsiteY36692" fmla="*/ 2166755 h 5973007"/>
              <a:gd name="connsiteX36693" fmla="*/ 936328 w 6884782"/>
              <a:gd name="connsiteY36693" fmla="*/ 2166557 h 5973007"/>
              <a:gd name="connsiteX36694" fmla="*/ 934366 w 6884782"/>
              <a:gd name="connsiteY36694" fmla="*/ 2171823 h 5973007"/>
              <a:gd name="connsiteX36695" fmla="*/ 928170 w 6884782"/>
              <a:gd name="connsiteY36695" fmla="*/ 2172598 h 5973007"/>
              <a:gd name="connsiteX36696" fmla="*/ 928687 w 6884782"/>
              <a:gd name="connsiteY36696" fmla="*/ 2176005 h 5973007"/>
              <a:gd name="connsiteX36697" fmla="*/ 920942 w 6884782"/>
              <a:gd name="connsiteY36697" fmla="*/ 2179258 h 5973007"/>
              <a:gd name="connsiteX36698" fmla="*/ 916812 w 6884782"/>
              <a:gd name="connsiteY36698" fmla="*/ 2174456 h 5973007"/>
              <a:gd name="connsiteX36699" fmla="*/ 923834 w 6884782"/>
              <a:gd name="connsiteY36699" fmla="*/ 2167951 h 5973007"/>
              <a:gd name="connsiteX36700" fmla="*/ 927654 w 6884782"/>
              <a:gd name="connsiteY36700" fmla="*/ 2170429 h 5973007"/>
              <a:gd name="connsiteX36701" fmla="*/ 927758 w 6884782"/>
              <a:gd name="connsiteY36701" fmla="*/ 2169345 h 5973007"/>
              <a:gd name="connsiteX36702" fmla="*/ 929823 w 6884782"/>
              <a:gd name="connsiteY36702" fmla="*/ 2167796 h 5973007"/>
              <a:gd name="connsiteX36703" fmla="*/ 936328 w 6884782"/>
              <a:gd name="connsiteY36703" fmla="*/ 2166557 h 5973007"/>
              <a:gd name="connsiteX36704" fmla="*/ 5635349 w 6884782"/>
              <a:gd name="connsiteY36704" fmla="*/ 2166185 h 5973007"/>
              <a:gd name="connsiteX36705" fmla="*/ 5636629 w 6884782"/>
              <a:gd name="connsiteY36705" fmla="*/ 2169742 h 5973007"/>
              <a:gd name="connsiteX36706" fmla="*/ 5633214 w 6884782"/>
              <a:gd name="connsiteY36706" fmla="*/ 2171876 h 5973007"/>
              <a:gd name="connsiteX36707" fmla="*/ 5632361 w 6884782"/>
              <a:gd name="connsiteY36707" fmla="*/ 2176713 h 5973007"/>
              <a:gd name="connsiteX36708" fmla="*/ 5628946 w 6884782"/>
              <a:gd name="connsiteY36708" fmla="*/ 2178848 h 5973007"/>
              <a:gd name="connsiteX36709" fmla="*/ 5628946 w 6884782"/>
              <a:gd name="connsiteY36709" fmla="*/ 2177710 h 5973007"/>
              <a:gd name="connsiteX36710" fmla="*/ 5631080 w 6884782"/>
              <a:gd name="connsiteY36710" fmla="*/ 2175433 h 5973007"/>
              <a:gd name="connsiteX36711" fmla="*/ 5633001 w 6884782"/>
              <a:gd name="connsiteY36711" fmla="*/ 2167182 h 5973007"/>
              <a:gd name="connsiteX36712" fmla="*/ 5635349 w 6884782"/>
              <a:gd name="connsiteY36712" fmla="*/ 2166185 h 5973007"/>
              <a:gd name="connsiteX36713" fmla="*/ 4810481 w 6884782"/>
              <a:gd name="connsiteY36713" fmla="*/ 2166185 h 5973007"/>
              <a:gd name="connsiteX36714" fmla="*/ 4814322 w 6884782"/>
              <a:gd name="connsiteY36714" fmla="*/ 2166328 h 5973007"/>
              <a:gd name="connsiteX36715" fmla="*/ 4825847 w 6884782"/>
              <a:gd name="connsiteY36715" fmla="*/ 2173299 h 5973007"/>
              <a:gd name="connsiteX36716" fmla="*/ 4821579 w 6884782"/>
              <a:gd name="connsiteY36716" fmla="*/ 2180413 h 5973007"/>
              <a:gd name="connsiteX36717" fmla="*/ 4810481 w 6884782"/>
              <a:gd name="connsiteY36717" fmla="*/ 2166185 h 5973007"/>
              <a:gd name="connsiteX36718" fmla="*/ 860537 w 6884782"/>
              <a:gd name="connsiteY36718" fmla="*/ 2165937 h 5973007"/>
              <a:gd name="connsiteX36719" fmla="*/ 860021 w 6884782"/>
              <a:gd name="connsiteY36719" fmla="*/ 2176625 h 5973007"/>
              <a:gd name="connsiteX36720" fmla="*/ 854032 w 6884782"/>
              <a:gd name="connsiteY36720" fmla="*/ 2172133 h 5973007"/>
              <a:gd name="connsiteX36721" fmla="*/ 854549 w 6884782"/>
              <a:gd name="connsiteY36721" fmla="*/ 2168570 h 5973007"/>
              <a:gd name="connsiteX36722" fmla="*/ 860537 w 6884782"/>
              <a:gd name="connsiteY36722" fmla="*/ 2165937 h 5973007"/>
              <a:gd name="connsiteX36723" fmla="*/ 965756 w 6884782"/>
              <a:gd name="connsiteY36723" fmla="*/ 2164388 h 5973007"/>
              <a:gd name="connsiteX36724" fmla="*/ 962142 w 6884782"/>
              <a:gd name="connsiteY36724" fmla="*/ 2168415 h 5973007"/>
              <a:gd name="connsiteX36725" fmla="*/ 965756 w 6884782"/>
              <a:gd name="connsiteY36725" fmla="*/ 2164388 h 5973007"/>
              <a:gd name="connsiteX36726" fmla="*/ 1078408 w 6884782"/>
              <a:gd name="connsiteY36726" fmla="*/ 2163614 h 5973007"/>
              <a:gd name="connsiteX36727" fmla="*/ 1081609 w 6884782"/>
              <a:gd name="connsiteY36727" fmla="*/ 2163923 h 5973007"/>
              <a:gd name="connsiteX36728" fmla="*/ 1084191 w 6884782"/>
              <a:gd name="connsiteY36728" fmla="*/ 2166402 h 5973007"/>
              <a:gd name="connsiteX36729" fmla="*/ 1079131 w 6884782"/>
              <a:gd name="connsiteY36729" fmla="*/ 2170894 h 5973007"/>
              <a:gd name="connsiteX36730" fmla="*/ 1077066 w 6884782"/>
              <a:gd name="connsiteY36730" fmla="*/ 2166247 h 5973007"/>
              <a:gd name="connsiteX36731" fmla="*/ 1078408 w 6884782"/>
              <a:gd name="connsiteY36731" fmla="*/ 2163614 h 5973007"/>
              <a:gd name="connsiteX36732" fmla="*/ 6153318 w 6884782"/>
              <a:gd name="connsiteY36732" fmla="*/ 2163340 h 5973007"/>
              <a:gd name="connsiteX36733" fmla="*/ 6156520 w 6884782"/>
              <a:gd name="connsiteY36733" fmla="*/ 2165759 h 5973007"/>
              <a:gd name="connsiteX36734" fmla="*/ 6155879 w 6884782"/>
              <a:gd name="connsiteY36734" fmla="*/ 2170027 h 5973007"/>
              <a:gd name="connsiteX36735" fmla="*/ 6152038 w 6884782"/>
              <a:gd name="connsiteY36735" fmla="*/ 2173157 h 5973007"/>
              <a:gd name="connsiteX36736" fmla="*/ 6146489 w 6884782"/>
              <a:gd name="connsiteY36736" fmla="*/ 2165475 h 5973007"/>
              <a:gd name="connsiteX36737" fmla="*/ 6153318 w 6884782"/>
              <a:gd name="connsiteY36737" fmla="*/ 2163340 h 5973007"/>
              <a:gd name="connsiteX36738" fmla="*/ 5288542 w 6884782"/>
              <a:gd name="connsiteY36738" fmla="*/ 2162771 h 5973007"/>
              <a:gd name="connsiteX36739" fmla="*/ 5288328 w 6884782"/>
              <a:gd name="connsiteY36739" fmla="*/ 2167324 h 5973007"/>
              <a:gd name="connsiteX36740" fmla="*/ 5287261 w 6884782"/>
              <a:gd name="connsiteY36740" fmla="*/ 2167182 h 5973007"/>
              <a:gd name="connsiteX36741" fmla="*/ 5288542 w 6884782"/>
              <a:gd name="connsiteY36741" fmla="*/ 2162771 h 5973007"/>
              <a:gd name="connsiteX36742" fmla="*/ 5110549 w 6884782"/>
              <a:gd name="connsiteY36742" fmla="*/ 2162771 h 5973007"/>
              <a:gd name="connsiteX36743" fmla="*/ 5111616 w 6884782"/>
              <a:gd name="connsiteY36743" fmla="*/ 2171023 h 5973007"/>
              <a:gd name="connsiteX36744" fmla="*/ 5107988 w 6884782"/>
              <a:gd name="connsiteY36744" fmla="*/ 2169742 h 5973007"/>
              <a:gd name="connsiteX36745" fmla="*/ 5110549 w 6884782"/>
              <a:gd name="connsiteY36745" fmla="*/ 2162771 h 5973007"/>
              <a:gd name="connsiteX36746" fmla="*/ 5143629 w 6884782"/>
              <a:gd name="connsiteY36746" fmla="*/ 2162629 h 5973007"/>
              <a:gd name="connsiteX36747" fmla="*/ 5158142 w 6884782"/>
              <a:gd name="connsiteY36747" fmla="*/ 2169315 h 5973007"/>
              <a:gd name="connsiteX36748" fmla="*/ 5152806 w 6884782"/>
              <a:gd name="connsiteY36748" fmla="*/ 2176571 h 5973007"/>
              <a:gd name="connsiteX36749" fmla="*/ 5143629 w 6884782"/>
              <a:gd name="connsiteY36749" fmla="*/ 2162629 h 5973007"/>
              <a:gd name="connsiteX36750" fmla="*/ 4772493 w 6884782"/>
              <a:gd name="connsiteY36750" fmla="*/ 2162487 h 5973007"/>
              <a:gd name="connsiteX36751" fmla="*/ 4768437 w 6884782"/>
              <a:gd name="connsiteY36751" fmla="*/ 2175291 h 5973007"/>
              <a:gd name="connsiteX36752" fmla="*/ 4763315 w 6884782"/>
              <a:gd name="connsiteY36752" fmla="*/ 2170312 h 5973007"/>
              <a:gd name="connsiteX36753" fmla="*/ 4772493 w 6884782"/>
              <a:gd name="connsiteY36753" fmla="*/ 2162487 h 5973007"/>
              <a:gd name="connsiteX36754" fmla="*/ 1162872 w 6884782"/>
              <a:gd name="connsiteY36754" fmla="*/ 2162375 h 5973007"/>
              <a:gd name="connsiteX36755" fmla="*/ 1163698 w 6884782"/>
              <a:gd name="connsiteY36755" fmla="*/ 2162375 h 5973007"/>
              <a:gd name="connsiteX36756" fmla="*/ 1162252 w 6884782"/>
              <a:gd name="connsiteY36756" fmla="*/ 2162839 h 5973007"/>
              <a:gd name="connsiteX36757" fmla="*/ 1162872 w 6884782"/>
              <a:gd name="connsiteY36757" fmla="*/ 2162375 h 5973007"/>
              <a:gd name="connsiteX36758" fmla="*/ 4682856 w 6884782"/>
              <a:gd name="connsiteY36758" fmla="*/ 2161064 h 5973007"/>
              <a:gd name="connsiteX36759" fmla="*/ 4688405 w 6884782"/>
              <a:gd name="connsiteY36759" fmla="*/ 2167039 h 5973007"/>
              <a:gd name="connsiteX36760" fmla="*/ 4686271 w 6884782"/>
              <a:gd name="connsiteY36760" fmla="*/ 2170596 h 5973007"/>
              <a:gd name="connsiteX36761" fmla="*/ 4682856 w 6884782"/>
              <a:gd name="connsiteY36761" fmla="*/ 2161064 h 5973007"/>
              <a:gd name="connsiteX36762" fmla="*/ 5466961 w 6884782"/>
              <a:gd name="connsiteY36762" fmla="*/ 2160779 h 5973007"/>
              <a:gd name="connsiteX36763" fmla="*/ 5471442 w 6884782"/>
              <a:gd name="connsiteY36763" fmla="*/ 2161206 h 5973007"/>
              <a:gd name="connsiteX36764" fmla="*/ 5488729 w 6884782"/>
              <a:gd name="connsiteY36764" fmla="*/ 2179559 h 5973007"/>
              <a:gd name="connsiteX36765" fmla="*/ 5474430 w 6884782"/>
              <a:gd name="connsiteY36765" fmla="*/ 2173868 h 5973007"/>
              <a:gd name="connsiteX36766" fmla="*/ 5462265 w 6884782"/>
              <a:gd name="connsiteY36766" fmla="*/ 2161918 h 5973007"/>
              <a:gd name="connsiteX36767" fmla="*/ 5466961 w 6884782"/>
              <a:gd name="connsiteY36767" fmla="*/ 2160779 h 5973007"/>
              <a:gd name="connsiteX36768" fmla="*/ 5137654 w 6884782"/>
              <a:gd name="connsiteY36768" fmla="*/ 2160068 h 5973007"/>
              <a:gd name="connsiteX36769" fmla="*/ 5121220 w 6884782"/>
              <a:gd name="connsiteY36769" fmla="*/ 2176713 h 5973007"/>
              <a:gd name="connsiteX36770" fmla="*/ 5118232 w 6884782"/>
              <a:gd name="connsiteY36770" fmla="*/ 2177283 h 5973007"/>
              <a:gd name="connsiteX36771" fmla="*/ 5118446 w 6884782"/>
              <a:gd name="connsiteY36771" fmla="*/ 2177425 h 5973007"/>
              <a:gd name="connsiteX36772" fmla="*/ 5106708 w 6884782"/>
              <a:gd name="connsiteY36772" fmla="*/ 2180697 h 5973007"/>
              <a:gd name="connsiteX36773" fmla="*/ 5112043 w 6884782"/>
              <a:gd name="connsiteY36773" fmla="*/ 2174011 h 5973007"/>
              <a:gd name="connsiteX36774" fmla="*/ 5115884 w 6884782"/>
              <a:gd name="connsiteY36774" fmla="*/ 2174864 h 5973007"/>
              <a:gd name="connsiteX36775" fmla="*/ 5116952 w 6884782"/>
              <a:gd name="connsiteY36775" fmla="*/ 2176002 h 5973007"/>
              <a:gd name="connsiteX36776" fmla="*/ 5119727 w 6884782"/>
              <a:gd name="connsiteY36776" fmla="*/ 2171876 h 5973007"/>
              <a:gd name="connsiteX36777" fmla="*/ 5124422 w 6884782"/>
              <a:gd name="connsiteY36777" fmla="*/ 2165617 h 5973007"/>
              <a:gd name="connsiteX36778" fmla="*/ 5137654 w 6884782"/>
              <a:gd name="connsiteY36778" fmla="*/ 2160068 h 5973007"/>
              <a:gd name="connsiteX36779" fmla="*/ 4565262 w 6884782"/>
              <a:gd name="connsiteY36779" fmla="*/ 2159357 h 5973007"/>
              <a:gd name="connsiteX36780" fmla="*/ 4568463 w 6884782"/>
              <a:gd name="connsiteY36780" fmla="*/ 2173868 h 5973007"/>
              <a:gd name="connsiteX36781" fmla="*/ 4565262 w 6884782"/>
              <a:gd name="connsiteY36781" fmla="*/ 2159357 h 5973007"/>
              <a:gd name="connsiteX36782" fmla="*/ 5528852 w 6884782"/>
              <a:gd name="connsiteY36782" fmla="*/ 2158361 h 5973007"/>
              <a:gd name="connsiteX36783" fmla="*/ 5509644 w 6884782"/>
              <a:gd name="connsiteY36783" fmla="*/ 2175576 h 5973007"/>
              <a:gd name="connsiteX36784" fmla="*/ 5516473 w 6884782"/>
              <a:gd name="connsiteY36784" fmla="*/ 2163625 h 5973007"/>
              <a:gd name="connsiteX36785" fmla="*/ 5528852 w 6884782"/>
              <a:gd name="connsiteY36785" fmla="*/ 2158361 h 5973007"/>
              <a:gd name="connsiteX36786" fmla="*/ 5010029 w 6884782"/>
              <a:gd name="connsiteY36786" fmla="*/ 2157223 h 5973007"/>
              <a:gd name="connsiteX36787" fmla="*/ 5010242 w 6884782"/>
              <a:gd name="connsiteY36787" fmla="*/ 2160922 h 5973007"/>
              <a:gd name="connsiteX36788" fmla="*/ 5002132 w 6884782"/>
              <a:gd name="connsiteY36788" fmla="*/ 2172446 h 5973007"/>
              <a:gd name="connsiteX36789" fmla="*/ 5010029 w 6884782"/>
              <a:gd name="connsiteY36789" fmla="*/ 2157223 h 5973007"/>
              <a:gd name="connsiteX36790" fmla="*/ 915573 w 6884782"/>
              <a:gd name="connsiteY36790" fmla="*/ 2156953 h 5973007"/>
              <a:gd name="connsiteX36791" fmla="*/ 915366 w 6884782"/>
              <a:gd name="connsiteY36791" fmla="*/ 2162064 h 5973007"/>
              <a:gd name="connsiteX36792" fmla="*/ 914850 w 6884782"/>
              <a:gd name="connsiteY36792" fmla="*/ 2158502 h 5973007"/>
              <a:gd name="connsiteX36793" fmla="*/ 915573 w 6884782"/>
              <a:gd name="connsiteY36793" fmla="*/ 2156953 h 5973007"/>
              <a:gd name="connsiteX36794" fmla="*/ 6321066 w 6884782"/>
              <a:gd name="connsiteY36794" fmla="*/ 2156938 h 5973007"/>
              <a:gd name="connsiteX36795" fmla="*/ 6327042 w 6884782"/>
              <a:gd name="connsiteY36795" fmla="*/ 2161206 h 5973007"/>
              <a:gd name="connsiteX36796" fmla="*/ 6320639 w 6884782"/>
              <a:gd name="connsiteY36796" fmla="*/ 2161775 h 5973007"/>
              <a:gd name="connsiteX36797" fmla="*/ 6321066 w 6884782"/>
              <a:gd name="connsiteY36797" fmla="*/ 2156938 h 5973007"/>
              <a:gd name="connsiteX36798" fmla="*/ 1159155 w 6884782"/>
              <a:gd name="connsiteY36798" fmla="*/ 2155249 h 5973007"/>
              <a:gd name="connsiteX36799" fmla="*/ 1163182 w 6884782"/>
              <a:gd name="connsiteY36799" fmla="*/ 2158967 h 5973007"/>
              <a:gd name="connsiteX36800" fmla="*/ 1160806 w 6884782"/>
              <a:gd name="connsiteY36800" fmla="*/ 2160206 h 5973007"/>
              <a:gd name="connsiteX36801" fmla="*/ 1159155 w 6884782"/>
              <a:gd name="connsiteY36801" fmla="*/ 2155249 h 5973007"/>
              <a:gd name="connsiteX36802" fmla="*/ 5558731 w 6884782"/>
              <a:gd name="connsiteY36802" fmla="*/ 2155089 h 5973007"/>
              <a:gd name="connsiteX36803" fmla="*/ 5561292 w 6884782"/>
              <a:gd name="connsiteY36803" fmla="*/ 2156511 h 5973007"/>
              <a:gd name="connsiteX36804" fmla="*/ 5561505 w 6884782"/>
              <a:gd name="connsiteY36804" fmla="*/ 2157649 h 5973007"/>
              <a:gd name="connsiteX36805" fmla="*/ 5562145 w 6884782"/>
              <a:gd name="connsiteY36805" fmla="*/ 2162487 h 5973007"/>
              <a:gd name="connsiteX36806" fmla="*/ 5556810 w 6884782"/>
              <a:gd name="connsiteY36806" fmla="*/ 2165190 h 5973007"/>
              <a:gd name="connsiteX36807" fmla="*/ 5553609 w 6884782"/>
              <a:gd name="connsiteY36807" fmla="*/ 2158218 h 5973007"/>
              <a:gd name="connsiteX36808" fmla="*/ 5558731 w 6884782"/>
              <a:gd name="connsiteY36808" fmla="*/ 2155089 h 5973007"/>
              <a:gd name="connsiteX36809" fmla="*/ 5438149 w 6884782"/>
              <a:gd name="connsiteY36809" fmla="*/ 2154804 h 5973007"/>
              <a:gd name="connsiteX36810" fmla="*/ 5442631 w 6884782"/>
              <a:gd name="connsiteY36810" fmla="*/ 2158930 h 5973007"/>
              <a:gd name="connsiteX36811" fmla="*/ 5441990 w 6884782"/>
              <a:gd name="connsiteY36811" fmla="*/ 2161775 h 5973007"/>
              <a:gd name="connsiteX36812" fmla="*/ 5440923 w 6884782"/>
              <a:gd name="connsiteY36812" fmla="*/ 2162344 h 5973007"/>
              <a:gd name="connsiteX36813" fmla="*/ 5439002 w 6884782"/>
              <a:gd name="connsiteY36813" fmla="*/ 2163340 h 5973007"/>
              <a:gd name="connsiteX36814" fmla="*/ 5444124 w 6884782"/>
              <a:gd name="connsiteY36814" fmla="*/ 2166185 h 5973007"/>
              <a:gd name="connsiteX36815" fmla="*/ 5447326 w 6884782"/>
              <a:gd name="connsiteY36815" fmla="*/ 2165332 h 5973007"/>
              <a:gd name="connsiteX36816" fmla="*/ 5456716 w 6884782"/>
              <a:gd name="connsiteY36816" fmla="*/ 2169174 h 5973007"/>
              <a:gd name="connsiteX36817" fmla="*/ 5456290 w 6884782"/>
              <a:gd name="connsiteY36817" fmla="*/ 2175149 h 5973007"/>
              <a:gd name="connsiteX36818" fmla="*/ 5454795 w 6884782"/>
              <a:gd name="connsiteY36818" fmla="*/ 2178136 h 5973007"/>
              <a:gd name="connsiteX36819" fmla="*/ 5457570 w 6884782"/>
              <a:gd name="connsiteY36819" fmla="*/ 2183258 h 5973007"/>
              <a:gd name="connsiteX36820" fmla="*/ 5450740 w 6884782"/>
              <a:gd name="connsiteY36820" fmla="*/ 2189518 h 5973007"/>
              <a:gd name="connsiteX36821" fmla="*/ 5447539 w 6884782"/>
              <a:gd name="connsiteY36821" fmla="*/ 2188949 h 5973007"/>
              <a:gd name="connsiteX36822" fmla="*/ 5445619 w 6884782"/>
              <a:gd name="connsiteY36822" fmla="*/ 2190656 h 5973007"/>
              <a:gd name="connsiteX36823" fmla="*/ 5456076 w 6884782"/>
              <a:gd name="connsiteY36823" fmla="*/ 2190229 h 5973007"/>
              <a:gd name="connsiteX36824" fmla="*/ 5472722 w 6884782"/>
              <a:gd name="connsiteY36824" fmla="*/ 2193928 h 5973007"/>
              <a:gd name="connsiteX36825" fmla="*/ 5484888 w 6884782"/>
              <a:gd name="connsiteY36825" fmla="*/ 2202037 h 5973007"/>
              <a:gd name="connsiteX36826" fmla="*/ 5483607 w 6884782"/>
              <a:gd name="connsiteY36826" fmla="*/ 2199761 h 5973007"/>
              <a:gd name="connsiteX36827" fmla="*/ 5481686 w 6884782"/>
              <a:gd name="connsiteY36827" fmla="*/ 2187242 h 5973007"/>
              <a:gd name="connsiteX36828" fmla="*/ 5492998 w 6884782"/>
              <a:gd name="connsiteY36828" fmla="*/ 2183827 h 5973007"/>
              <a:gd name="connsiteX36829" fmla="*/ 5505162 w 6884782"/>
              <a:gd name="connsiteY36829" fmla="*/ 2195778 h 5973007"/>
              <a:gd name="connsiteX36830" fmla="*/ 5505162 w 6884782"/>
              <a:gd name="connsiteY36830" fmla="*/ 2197627 h 5973007"/>
              <a:gd name="connsiteX36831" fmla="*/ 5505589 w 6884782"/>
              <a:gd name="connsiteY36831" fmla="*/ 2197485 h 5973007"/>
              <a:gd name="connsiteX36832" fmla="*/ 5507937 w 6884782"/>
              <a:gd name="connsiteY36832" fmla="*/ 2197343 h 5973007"/>
              <a:gd name="connsiteX36833" fmla="*/ 5506443 w 6884782"/>
              <a:gd name="connsiteY36833" fmla="*/ 2196062 h 5973007"/>
              <a:gd name="connsiteX36834" fmla="*/ 5509644 w 6884782"/>
              <a:gd name="connsiteY36834" fmla="*/ 2193928 h 5973007"/>
              <a:gd name="connsiteX36835" fmla="*/ 5512419 w 6884782"/>
              <a:gd name="connsiteY36835" fmla="*/ 2190941 h 5973007"/>
              <a:gd name="connsiteX36836" fmla="*/ 5514340 w 6884782"/>
              <a:gd name="connsiteY36836" fmla="*/ 2190656 h 5973007"/>
              <a:gd name="connsiteX36837" fmla="*/ 5521596 w 6884782"/>
              <a:gd name="connsiteY36837" fmla="*/ 2185534 h 5973007"/>
              <a:gd name="connsiteX36838" fmla="*/ 5526504 w 6884782"/>
              <a:gd name="connsiteY36838" fmla="*/ 2184254 h 5973007"/>
              <a:gd name="connsiteX36839" fmla="*/ 5526504 w 6884782"/>
              <a:gd name="connsiteY36839" fmla="*/ 2184112 h 5973007"/>
              <a:gd name="connsiteX36840" fmla="*/ 5524797 w 6884782"/>
              <a:gd name="connsiteY36840" fmla="*/ 2177567 h 5973007"/>
              <a:gd name="connsiteX36841" fmla="*/ 5526504 w 6884782"/>
              <a:gd name="connsiteY36841" fmla="*/ 2174580 h 5973007"/>
              <a:gd name="connsiteX36842" fmla="*/ 5533761 w 6884782"/>
              <a:gd name="connsiteY36842" fmla="*/ 2173868 h 5973007"/>
              <a:gd name="connsiteX36843" fmla="*/ 5541230 w 6884782"/>
              <a:gd name="connsiteY36843" fmla="*/ 2177851 h 5973007"/>
              <a:gd name="connsiteX36844" fmla="*/ 5544645 w 6884782"/>
              <a:gd name="connsiteY36844" fmla="*/ 2182405 h 5973007"/>
              <a:gd name="connsiteX36845" fmla="*/ 5547206 w 6884782"/>
              <a:gd name="connsiteY36845" fmla="*/ 2182547 h 5973007"/>
              <a:gd name="connsiteX36846" fmla="*/ 5546139 w 6884782"/>
              <a:gd name="connsiteY36846" fmla="*/ 2186672 h 5973007"/>
              <a:gd name="connsiteX36847" fmla="*/ 5545926 w 6884782"/>
              <a:gd name="connsiteY36847" fmla="*/ 2190371 h 5973007"/>
              <a:gd name="connsiteX36848" fmla="*/ 5542511 w 6884782"/>
              <a:gd name="connsiteY36848" fmla="*/ 2192790 h 5973007"/>
              <a:gd name="connsiteX36849" fmla="*/ 5541230 w 6884782"/>
              <a:gd name="connsiteY36849" fmla="*/ 2192363 h 5973007"/>
              <a:gd name="connsiteX36850" fmla="*/ 5536322 w 6884782"/>
              <a:gd name="connsiteY36850" fmla="*/ 2194497 h 5973007"/>
              <a:gd name="connsiteX36851" fmla="*/ 5535468 w 6884782"/>
              <a:gd name="connsiteY36851" fmla="*/ 2196489 h 5973007"/>
              <a:gd name="connsiteX36852" fmla="*/ 5537175 w 6884782"/>
              <a:gd name="connsiteY36852" fmla="*/ 2200330 h 5973007"/>
              <a:gd name="connsiteX36853" fmla="*/ 5539096 w 6884782"/>
              <a:gd name="connsiteY36853" fmla="*/ 2202322 h 5973007"/>
              <a:gd name="connsiteX36854" fmla="*/ 5541870 w 6884782"/>
              <a:gd name="connsiteY36854" fmla="*/ 2201610 h 5973007"/>
              <a:gd name="connsiteX36855" fmla="*/ 5552541 w 6884782"/>
              <a:gd name="connsiteY36855" fmla="*/ 2201042 h 5973007"/>
              <a:gd name="connsiteX36856" fmla="*/ 5551901 w 6884782"/>
              <a:gd name="connsiteY36856" fmla="*/ 2202749 h 5973007"/>
              <a:gd name="connsiteX36857" fmla="*/ 5543365 w 6884782"/>
              <a:gd name="connsiteY36857" fmla="*/ 2204741 h 5973007"/>
              <a:gd name="connsiteX36858" fmla="*/ 5541657 w 6884782"/>
              <a:gd name="connsiteY36858" fmla="*/ 2204883 h 5973007"/>
              <a:gd name="connsiteX36859" fmla="*/ 5543791 w 6884782"/>
              <a:gd name="connsiteY36859" fmla="*/ 2207017 h 5973007"/>
              <a:gd name="connsiteX36860" fmla="*/ 5555316 w 6884782"/>
              <a:gd name="connsiteY36860" fmla="*/ 2221813 h 5973007"/>
              <a:gd name="connsiteX36861" fmla="*/ 5556383 w 6884782"/>
              <a:gd name="connsiteY36861" fmla="*/ 2227361 h 5973007"/>
              <a:gd name="connsiteX36862" fmla="*/ 5560652 w 6884782"/>
              <a:gd name="connsiteY36862" fmla="*/ 2223662 h 5973007"/>
              <a:gd name="connsiteX36863" fmla="*/ 5564920 w 6884782"/>
              <a:gd name="connsiteY36863" fmla="*/ 2219821 h 5973007"/>
              <a:gd name="connsiteX36864" fmla="*/ 5572816 w 6884782"/>
              <a:gd name="connsiteY36864" fmla="*/ 2213419 h 5973007"/>
              <a:gd name="connsiteX36865" fmla="*/ 5574097 w 6884782"/>
              <a:gd name="connsiteY36865" fmla="*/ 2210004 h 5973007"/>
              <a:gd name="connsiteX36866" fmla="*/ 5574951 w 6884782"/>
              <a:gd name="connsiteY36866" fmla="*/ 2209578 h 5973007"/>
              <a:gd name="connsiteX36867" fmla="*/ 5574737 w 6884782"/>
              <a:gd name="connsiteY36867" fmla="*/ 2208155 h 5973007"/>
              <a:gd name="connsiteX36868" fmla="*/ 5575804 w 6884782"/>
              <a:gd name="connsiteY36868" fmla="*/ 2207870 h 5973007"/>
              <a:gd name="connsiteX36869" fmla="*/ 5575591 w 6884782"/>
              <a:gd name="connsiteY36869" fmla="*/ 2209009 h 5973007"/>
              <a:gd name="connsiteX36870" fmla="*/ 5577085 w 6884782"/>
              <a:gd name="connsiteY36870" fmla="*/ 2208013 h 5973007"/>
              <a:gd name="connsiteX36871" fmla="*/ 5584768 w 6884782"/>
              <a:gd name="connsiteY36871" fmla="*/ 2212850 h 5973007"/>
              <a:gd name="connsiteX36872" fmla="*/ 5584554 w 6884782"/>
              <a:gd name="connsiteY36872" fmla="*/ 2220390 h 5973007"/>
              <a:gd name="connsiteX36873" fmla="*/ 5573670 w 6884782"/>
              <a:gd name="connsiteY36873" fmla="*/ 2218683 h 5973007"/>
              <a:gd name="connsiteX36874" fmla="*/ 5573457 w 6884782"/>
              <a:gd name="connsiteY36874" fmla="*/ 2218398 h 5973007"/>
              <a:gd name="connsiteX36875" fmla="*/ 5573243 w 6884782"/>
              <a:gd name="connsiteY36875" fmla="*/ 2218541 h 5973007"/>
              <a:gd name="connsiteX36876" fmla="*/ 5564493 w 6884782"/>
              <a:gd name="connsiteY36876" fmla="*/ 2226650 h 5973007"/>
              <a:gd name="connsiteX36877" fmla="*/ 5562145 w 6884782"/>
              <a:gd name="connsiteY36877" fmla="*/ 2228072 h 5973007"/>
              <a:gd name="connsiteX36878" fmla="*/ 5559798 w 6884782"/>
              <a:gd name="connsiteY36878" fmla="*/ 2229637 h 5973007"/>
              <a:gd name="connsiteX36879" fmla="*/ 5555316 w 6884782"/>
              <a:gd name="connsiteY36879" fmla="*/ 2228215 h 5973007"/>
              <a:gd name="connsiteX36880" fmla="*/ 5555529 w 6884782"/>
              <a:gd name="connsiteY36880" fmla="*/ 2228072 h 5973007"/>
              <a:gd name="connsiteX36881" fmla="*/ 5551474 w 6884782"/>
              <a:gd name="connsiteY36881" fmla="*/ 2227646 h 5973007"/>
              <a:gd name="connsiteX36882" fmla="*/ 5543151 w 6884782"/>
              <a:gd name="connsiteY36882" fmla="*/ 2223093 h 5973007"/>
              <a:gd name="connsiteX36883" fmla="*/ 5536748 w 6884782"/>
              <a:gd name="connsiteY36883" fmla="*/ 2216549 h 5973007"/>
              <a:gd name="connsiteX36884" fmla="*/ 5535895 w 6884782"/>
              <a:gd name="connsiteY36884" fmla="*/ 2216264 h 5973007"/>
              <a:gd name="connsiteX36885" fmla="*/ 5530986 w 6884782"/>
              <a:gd name="connsiteY36885" fmla="*/ 2211854 h 5973007"/>
              <a:gd name="connsiteX36886" fmla="*/ 5530986 w 6884782"/>
              <a:gd name="connsiteY36886" fmla="*/ 2212139 h 5973007"/>
              <a:gd name="connsiteX36887" fmla="*/ 5527785 w 6884782"/>
              <a:gd name="connsiteY36887" fmla="*/ 2223947 h 5973007"/>
              <a:gd name="connsiteX36888" fmla="*/ 5526504 w 6884782"/>
              <a:gd name="connsiteY36888" fmla="*/ 2224374 h 5973007"/>
              <a:gd name="connsiteX36889" fmla="*/ 5524797 w 6884782"/>
              <a:gd name="connsiteY36889" fmla="*/ 2222382 h 5973007"/>
              <a:gd name="connsiteX36890" fmla="*/ 5525651 w 6884782"/>
              <a:gd name="connsiteY36890" fmla="*/ 2217118 h 5973007"/>
              <a:gd name="connsiteX36891" fmla="*/ 5528639 w 6884782"/>
              <a:gd name="connsiteY36891" fmla="*/ 2210574 h 5973007"/>
              <a:gd name="connsiteX36892" fmla="*/ 5529065 w 6884782"/>
              <a:gd name="connsiteY36892" fmla="*/ 2209720 h 5973007"/>
              <a:gd name="connsiteX36893" fmla="*/ 5520315 w 6884782"/>
              <a:gd name="connsiteY36893" fmla="*/ 2200188 h 5973007"/>
              <a:gd name="connsiteX36894" fmla="*/ 5517328 w 6884782"/>
              <a:gd name="connsiteY36894" fmla="*/ 2200330 h 5973007"/>
              <a:gd name="connsiteX36895" fmla="*/ 5517328 w 6884782"/>
              <a:gd name="connsiteY36895" fmla="*/ 2200615 h 5973007"/>
              <a:gd name="connsiteX36896" fmla="*/ 5511138 w 6884782"/>
              <a:gd name="connsiteY36896" fmla="*/ 2205025 h 5973007"/>
              <a:gd name="connsiteX36897" fmla="*/ 5507297 w 6884782"/>
              <a:gd name="connsiteY36897" fmla="*/ 2205737 h 5973007"/>
              <a:gd name="connsiteX36898" fmla="*/ 5507510 w 6884782"/>
              <a:gd name="connsiteY36898" fmla="*/ 2205879 h 5973007"/>
              <a:gd name="connsiteX36899" fmla="*/ 5507937 w 6884782"/>
              <a:gd name="connsiteY36899" fmla="*/ 2208155 h 5973007"/>
              <a:gd name="connsiteX36900" fmla="*/ 5503028 w 6884782"/>
              <a:gd name="connsiteY36900" fmla="*/ 2212708 h 5973007"/>
              <a:gd name="connsiteX36901" fmla="*/ 5507723 w 6884782"/>
              <a:gd name="connsiteY36901" fmla="*/ 2214557 h 5973007"/>
              <a:gd name="connsiteX36902" fmla="*/ 5497906 w 6884782"/>
              <a:gd name="connsiteY36902" fmla="*/ 2223093 h 5973007"/>
              <a:gd name="connsiteX36903" fmla="*/ 5498760 w 6884782"/>
              <a:gd name="connsiteY36903" fmla="*/ 2225654 h 5973007"/>
              <a:gd name="connsiteX36904" fmla="*/ 5503669 w 6884782"/>
              <a:gd name="connsiteY36904" fmla="*/ 2250836 h 5973007"/>
              <a:gd name="connsiteX36905" fmla="*/ 5491077 w 6884782"/>
              <a:gd name="connsiteY36905" fmla="*/ 2274452 h 5973007"/>
              <a:gd name="connsiteX36906" fmla="*/ 5458850 w 6884782"/>
              <a:gd name="connsiteY36906" fmla="*/ 2286403 h 5973007"/>
              <a:gd name="connsiteX36907" fmla="*/ 5439643 w 6884782"/>
              <a:gd name="connsiteY36907" fmla="*/ 2277155 h 5973007"/>
              <a:gd name="connsiteX36908" fmla="*/ 5431960 w 6884782"/>
              <a:gd name="connsiteY36908" fmla="*/ 2273456 h 5973007"/>
              <a:gd name="connsiteX36909" fmla="*/ 5428758 w 6884782"/>
              <a:gd name="connsiteY36909" fmla="*/ 2278435 h 5973007"/>
              <a:gd name="connsiteX36910" fmla="*/ 5425770 w 6884782"/>
              <a:gd name="connsiteY36910" fmla="*/ 2274452 h 5973007"/>
              <a:gd name="connsiteX36911" fmla="*/ 5427264 w 6884782"/>
              <a:gd name="connsiteY36911" fmla="*/ 2271180 h 5973007"/>
              <a:gd name="connsiteX36912" fmla="*/ 5420222 w 6884782"/>
              <a:gd name="connsiteY36912" fmla="*/ 2267908 h 5973007"/>
              <a:gd name="connsiteX36913" fmla="*/ 5419794 w 6884782"/>
              <a:gd name="connsiteY36913" fmla="*/ 2266058 h 5973007"/>
              <a:gd name="connsiteX36914" fmla="*/ 5416593 w 6884782"/>
              <a:gd name="connsiteY36914" fmla="*/ 2270184 h 5973007"/>
              <a:gd name="connsiteX36915" fmla="*/ 5415739 w 6884782"/>
              <a:gd name="connsiteY36915" fmla="*/ 2270042 h 5973007"/>
              <a:gd name="connsiteX36916" fmla="*/ 5415953 w 6884782"/>
              <a:gd name="connsiteY36916" fmla="*/ 2270326 h 5973007"/>
              <a:gd name="connsiteX36917" fmla="*/ 5414672 w 6884782"/>
              <a:gd name="connsiteY36917" fmla="*/ 2275306 h 5973007"/>
              <a:gd name="connsiteX36918" fmla="*/ 5411471 w 6884782"/>
              <a:gd name="connsiteY36918" fmla="*/ 2276871 h 5973007"/>
              <a:gd name="connsiteX36919" fmla="*/ 5404642 w 6884782"/>
              <a:gd name="connsiteY36919" fmla="*/ 2267197 h 5973007"/>
              <a:gd name="connsiteX36920" fmla="*/ 5404855 w 6884782"/>
              <a:gd name="connsiteY36920" fmla="*/ 2267197 h 5973007"/>
              <a:gd name="connsiteX36921" fmla="*/ 5403575 w 6884782"/>
              <a:gd name="connsiteY36921" fmla="*/ 2266769 h 5973007"/>
              <a:gd name="connsiteX36922" fmla="*/ 5401867 w 6884782"/>
              <a:gd name="connsiteY36922" fmla="*/ 2261506 h 5973007"/>
              <a:gd name="connsiteX36923" fmla="*/ 5403575 w 6884782"/>
              <a:gd name="connsiteY36923" fmla="*/ 2250978 h 5973007"/>
              <a:gd name="connsiteX36924" fmla="*/ 5401867 w 6884782"/>
              <a:gd name="connsiteY36924" fmla="*/ 2250978 h 5973007"/>
              <a:gd name="connsiteX36925" fmla="*/ 5407416 w 6884782"/>
              <a:gd name="connsiteY36925" fmla="*/ 2250124 h 5973007"/>
              <a:gd name="connsiteX36926" fmla="*/ 5411471 w 6884782"/>
              <a:gd name="connsiteY36926" fmla="*/ 2249413 h 5973007"/>
              <a:gd name="connsiteX36927" fmla="*/ 5412965 w 6884782"/>
              <a:gd name="connsiteY36927" fmla="*/ 2247706 h 5973007"/>
              <a:gd name="connsiteX36928" fmla="*/ 5410404 w 6884782"/>
              <a:gd name="connsiteY36928" fmla="*/ 2242868 h 5973007"/>
              <a:gd name="connsiteX36929" fmla="*/ 5406989 w 6884782"/>
              <a:gd name="connsiteY36929" fmla="*/ 2217545 h 5973007"/>
              <a:gd name="connsiteX36930" fmla="*/ 5407630 w 6884782"/>
              <a:gd name="connsiteY36930" fmla="*/ 2216976 h 5973007"/>
              <a:gd name="connsiteX36931" fmla="*/ 5411898 w 6884782"/>
              <a:gd name="connsiteY36931" fmla="*/ 2210289 h 5973007"/>
              <a:gd name="connsiteX36932" fmla="*/ 5416593 w 6884782"/>
              <a:gd name="connsiteY36932" fmla="*/ 2208582 h 5973007"/>
              <a:gd name="connsiteX36933" fmla="*/ 5418087 w 6884782"/>
              <a:gd name="connsiteY36933" fmla="*/ 2206305 h 5973007"/>
              <a:gd name="connsiteX36934" fmla="*/ 5424063 w 6884782"/>
              <a:gd name="connsiteY36934" fmla="*/ 2194924 h 5973007"/>
              <a:gd name="connsiteX36935" fmla="*/ 5439216 w 6884782"/>
              <a:gd name="connsiteY36935" fmla="*/ 2190941 h 5973007"/>
              <a:gd name="connsiteX36936" fmla="*/ 5443271 w 6884782"/>
              <a:gd name="connsiteY36936" fmla="*/ 2190798 h 5973007"/>
              <a:gd name="connsiteX36937" fmla="*/ 5437722 w 6884782"/>
              <a:gd name="connsiteY36937" fmla="*/ 2188237 h 5973007"/>
              <a:gd name="connsiteX36938" fmla="*/ 5434093 w 6884782"/>
              <a:gd name="connsiteY36938" fmla="*/ 2183400 h 5973007"/>
              <a:gd name="connsiteX36939" fmla="*/ 5433880 w 6884782"/>
              <a:gd name="connsiteY36939" fmla="*/ 2179986 h 5973007"/>
              <a:gd name="connsiteX36940" fmla="*/ 5432813 w 6884782"/>
              <a:gd name="connsiteY36940" fmla="*/ 2178705 h 5973007"/>
              <a:gd name="connsiteX36941" fmla="*/ 5429612 w 6884782"/>
              <a:gd name="connsiteY36941" fmla="*/ 2166755 h 5973007"/>
              <a:gd name="connsiteX36942" fmla="*/ 5432813 w 6884782"/>
              <a:gd name="connsiteY36942" fmla="*/ 2160779 h 5973007"/>
              <a:gd name="connsiteX36943" fmla="*/ 5432386 w 6884782"/>
              <a:gd name="connsiteY36943" fmla="*/ 2160210 h 5973007"/>
              <a:gd name="connsiteX36944" fmla="*/ 5438149 w 6884782"/>
              <a:gd name="connsiteY36944" fmla="*/ 2154804 h 5973007"/>
              <a:gd name="connsiteX36945" fmla="*/ 5021767 w 6884782"/>
              <a:gd name="connsiteY36945" fmla="*/ 2153951 h 5973007"/>
              <a:gd name="connsiteX36946" fmla="*/ 5027742 w 6884782"/>
              <a:gd name="connsiteY36946" fmla="*/ 2156796 h 5973007"/>
              <a:gd name="connsiteX36947" fmla="*/ 5020059 w 6884782"/>
              <a:gd name="connsiteY36947" fmla="*/ 2163198 h 5973007"/>
              <a:gd name="connsiteX36948" fmla="*/ 5016218 w 6884782"/>
              <a:gd name="connsiteY36948" fmla="*/ 2156369 h 5973007"/>
              <a:gd name="connsiteX36949" fmla="*/ 5021767 w 6884782"/>
              <a:gd name="connsiteY36949" fmla="*/ 2153951 h 5973007"/>
              <a:gd name="connsiteX36950" fmla="*/ 6164843 w 6884782"/>
              <a:gd name="connsiteY36950" fmla="*/ 2153666 h 5973007"/>
              <a:gd name="connsiteX36951" fmla="*/ 6168685 w 6884782"/>
              <a:gd name="connsiteY36951" fmla="*/ 2154804 h 5973007"/>
              <a:gd name="connsiteX36952" fmla="*/ 6170819 w 6884782"/>
              <a:gd name="connsiteY36952" fmla="*/ 2161491 h 5973007"/>
              <a:gd name="connsiteX36953" fmla="*/ 6158654 w 6884782"/>
              <a:gd name="connsiteY36953" fmla="*/ 2162913 h 5973007"/>
              <a:gd name="connsiteX36954" fmla="*/ 6164843 w 6884782"/>
              <a:gd name="connsiteY36954" fmla="*/ 2153666 h 5973007"/>
              <a:gd name="connsiteX36955" fmla="*/ 766264 w 6884782"/>
              <a:gd name="connsiteY36955" fmla="*/ 2153545 h 5973007"/>
              <a:gd name="connsiteX36956" fmla="*/ 774525 w 6884782"/>
              <a:gd name="connsiteY36956" fmla="*/ 2156798 h 5973007"/>
              <a:gd name="connsiteX36957" fmla="*/ 768020 w 6884782"/>
              <a:gd name="connsiteY36957" fmla="*/ 2168570 h 5973007"/>
              <a:gd name="connsiteX36958" fmla="*/ 761721 w 6884782"/>
              <a:gd name="connsiteY36958" fmla="*/ 2164853 h 5973007"/>
              <a:gd name="connsiteX36959" fmla="*/ 761928 w 6884782"/>
              <a:gd name="connsiteY36959" fmla="*/ 2162839 h 5973007"/>
              <a:gd name="connsiteX36960" fmla="*/ 766264 w 6884782"/>
              <a:gd name="connsiteY36960" fmla="*/ 2153545 h 5973007"/>
              <a:gd name="connsiteX36961" fmla="*/ 5711113 w 6884782"/>
              <a:gd name="connsiteY36961" fmla="*/ 2152954 h 5973007"/>
              <a:gd name="connsiteX36962" fmla="*/ 5707698 w 6884782"/>
              <a:gd name="connsiteY36962" fmla="*/ 2160353 h 5973007"/>
              <a:gd name="connsiteX36963" fmla="*/ 5709405 w 6884782"/>
              <a:gd name="connsiteY36963" fmla="*/ 2162771 h 5973007"/>
              <a:gd name="connsiteX36964" fmla="*/ 5707698 w 6884782"/>
              <a:gd name="connsiteY36964" fmla="*/ 2168320 h 5973007"/>
              <a:gd name="connsiteX36965" fmla="*/ 5705350 w 6884782"/>
              <a:gd name="connsiteY36965" fmla="*/ 2164336 h 5973007"/>
              <a:gd name="connsiteX36966" fmla="*/ 5705350 w 6884782"/>
              <a:gd name="connsiteY36966" fmla="*/ 2163625 h 5973007"/>
              <a:gd name="connsiteX36967" fmla="*/ 5701295 w 6884782"/>
              <a:gd name="connsiteY36967" fmla="*/ 2169600 h 5973007"/>
              <a:gd name="connsiteX36968" fmla="*/ 5696813 w 6884782"/>
              <a:gd name="connsiteY36968" fmla="*/ 2177425 h 5973007"/>
              <a:gd name="connsiteX36969" fmla="*/ 5693399 w 6884782"/>
              <a:gd name="connsiteY36969" fmla="*/ 2178278 h 5973007"/>
              <a:gd name="connsiteX36970" fmla="*/ 5692759 w 6884782"/>
              <a:gd name="connsiteY36970" fmla="*/ 2179275 h 5973007"/>
              <a:gd name="connsiteX36971" fmla="*/ 5691264 w 6884782"/>
              <a:gd name="connsiteY36971" fmla="*/ 2179559 h 5973007"/>
              <a:gd name="connsiteX36972" fmla="*/ 5691051 w 6884782"/>
              <a:gd name="connsiteY36972" fmla="*/ 2179843 h 5973007"/>
              <a:gd name="connsiteX36973" fmla="*/ 5690411 w 6884782"/>
              <a:gd name="connsiteY36973" fmla="*/ 2180413 h 5973007"/>
              <a:gd name="connsiteX36974" fmla="*/ 5696387 w 6884782"/>
              <a:gd name="connsiteY36974" fmla="*/ 2183827 h 5973007"/>
              <a:gd name="connsiteX36975" fmla="*/ 5696387 w 6884782"/>
              <a:gd name="connsiteY36975" fmla="*/ 2191367 h 5973007"/>
              <a:gd name="connsiteX36976" fmla="*/ 5693185 w 6884782"/>
              <a:gd name="connsiteY36976" fmla="*/ 2190941 h 5973007"/>
              <a:gd name="connsiteX36977" fmla="*/ 5692759 w 6884782"/>
              <a:gd name="connsiteY36977" fmla="*/ 2196062 h 5973007"/>
              <a:gd name="connsiteX36978" fmla="*/ 5688063 w 6884782"/>
              <a:gd name="connsiteY36978" fmla="*/ 2207586 h 5973007"/>
              <a:gd name="connsiteX36979" fmla="*/ 5687850 w 6884782"/>
              <a:gd name="connsiteY36979" fmla="*/ 2210289 h 5973007"/>
              <a:gd name="connsiteX36980" fmla="*/ 5688917 w 6884782"/>
              <a:gd name="connsiteY36980" fmla="*/ 2194639 h 5973007"/>
              <a:gd name="connsiteX36981" fmla="*/ 5689984 w 6884782"/>
              <a:gd name="connsiteY36981" fmla="*/ 2190371 h 5973007"/>
              <a:gd name="connsiteX36982" fmla="*/ 5688490 w 6884782"/>
              <a:gd name="connsiteY36982" fmla="*/ 2190229 h 5973007"/>
              <a:gd name="connsiteX36983" fmla="*/ 5686356 w 6884782"/>
              <a:gd name="connsiteY36983" fmla="*/ 2188949 h 5973007"/>
              <a:gd name="connsiteX36984" fmla="*/ 5683795 w 6884782"/>
              <a:gd name="connsiteY36984" fmla="*/ 2189518 h 5973007"/>
              <a:gd name="connsiteX36985" fmla="*/ 5683581 w 6884782"/>
              <a:gd name="connsiteY36985" fmla="*/ 2189944 h 5973007"/>
              <a:gd name="connsiteX36986" fmla="*/ 5683155 w 6884782"/>
              <a:gd name="connsiteY36986" fmla="*/ 2194213 h 5973007"/>
              <a:gd name="connsiteX36987" fmla="*/ 5680807 w 6884782"/>
              <a:gd name="connsiteY36987" fmla="*/ 2195066 h 5973007"/>
              <a:gd name="connsiteX36988" fmla="*/ 5679740 w 6884782"/>
              <a:gd name="connsiteY36988" fmla="*/ 2191367 h 5973007"/>
              <a:gd name="connsiteX36989" fmla="*/ 5682941 w 6884782"/>
              <a:gd name="connsiteY36989" fmla="*/ 2189518 h 5973007"/>
              <a:gd name="connsiteX36990" fmla="*/ 5673550 w 6884782"/>
              <a:gd name="connsiteY36990" fmla="*/ 2191225 h 5973007"/>
              <a:gd name="connsiteX36991" fmla="*/ 5670136 w 6884782"/>
              <a:gd name="connsiteY36991" fmla="*/ 2190656 h 5973007"/>
              <a:gd name="connsiteX36992" fmla="*/ 5670349 w 6884782"/>
              <a:gd name="connsiteY36992" fmla="*/ 2192079 h 5973007"/>
              <a:gd name="connsiteX36993" fmla="*/ 5663947 w 6884782"/>
              <a:gd name="connsiteY36993" fmla="*/ 2190087 h 5973007"/>
              <a:gd name="connsiteX36994" fmla="*/ 5663947 w 6884782"/>
              <a:gd name="connsiteY36994" fmla="*/ 2189660 h 5973007"/>
              <a:gd name="connsiteX36995" fmla="*/ 5657971 w 6884782"/>
              <a:gd name="connsiteY36995" fmla="*/ 2188664 h 5973007"/>
              <a:gd name="connsiteX36996" fmla="*/ 5649220 w 6884782"/>
              <a:gd name="connsiteY36996" fmla="*/ 2183827 h 5973007"/>
              <a:gd name="connsiteX36997" fmla="*/ 5671630 w 6884782"/>
              <a:gd name="connsiteY36997" fmla="*/ 2177283 h 5973007"/>
              <a:gd name="connsiteX36998" fmla="*/ 5672270 w 6884782"/>
              <a:gd name="connsiteY36998" fmla="*/ 2154377 h 5973007"/>
              <a:gd name="connsiteX36999" fmla="*/ 5680167 w 6884782"/>
              <a:gd name="connsiteY36999" fmla="*/ 2171449 h 5973007"/>
              <a:gd name="connsiteX37000" fmla="*/ 5681020 w 6884782"/>
              <a:gd name="connsiteY37000" fmla="*/ 2174438 h 5973007"/>
              <a:gd name="connsiteX37001" fmla="*/ 5682941 w 6884782"/>
              <a:gd name="connsiteY37001" fmla="*/ 2176002 h 5973007"/>
              <a:gd name="connsiteX37002" fmla="*/ 5689771 w 6884782"/>
              <a:gd name="connsiteY37002" fmla="*/ 2179986 h 5973007"/>
              <a:gd name="connsiteX37003" fmla="*/ 5690411 w 6884782"/>
              <a:gd name="connsiteY37003" fmla="*/ 2179559 h 5973007"/>
              <a:gd name="connsiteX37004" fmla="*/ 5690411 w 6884782"/>
              <a:gd name="connsiteY37004" fmla="*/ 2179132 h 5973007"/>
              <a:gd name="connsiteX37005" fmla="*/ 5690197 w 6884782"/>
              <a:gd name="connsiteY37005" fmla="*/ 2178990 h 5973007"/>
              <a:gd name="connsiteX37006" fmla="*/ 5690411 w 6884782"/>
              <a:gd name="connsiteY37006" fmla="*/ 2178136 h 5973007"/>
              <a:gd name="connsiteX37007" fmla="*/ 5690411 w 6884782"/>
              <a:gd name="connsiteY37007" fmla="*/ 2176998 h 5973007"/>
              <a:gd name="connsiteX37008" fmla="*/ 5690624 w 6884782"/>
              <a:gd name="connsiteY37008" fmla="*/ 2176856 h 5973007"/>
              <a:gd name="connsiteX37009" fmla="*/ 5690838 w 6884782"/>
              <a:gd name="connsiteY37009" fmla="*/ 2175576 h 5973007"/>
              <a:gd name="connsiteX37010" fmla="*/ 5693185 w 6884782"/>
              <a:gd name="connsiteY37010" fmla="*/ 2172303 h 5973007"/>
              <a:gd name="connsiteX37011" fmla="*/ 5696600 w 6884782"/>
              <a:gd name="connsiteY37011" fmla="*/ 2167039 h 5973007"/>
              <a:gd name="connsiteX37012" fmla="*/ 5711113 w 6884782"/>
              <a:gd name="connsiteY37012" fmla="*/ 2152954 h 5973007"/>
              <a:gd name="connsiteX37013" fmla="*/ 1165866 w 6884782"/>
              <a:gd name="connsiteY37013" fmla="*/ 2150293 h 5973007"/>
              <a:gd name="connsiteX37014" fmla="*/ 1166279 w 6884782"/>
              <a:gd name="connsiteY37014" fmla="*/ 2155094 h 5973007"/>
              <a:gd name="connsiteX37015" fmla="*/ 1162769 w 6884782"/>
              <a:gd name="connsiteY37015" fmla="*/ 2154785 h 5973007"/>
              <a:gd name="connsiteX37016" fmla="*/ 1165866 w 6884782"/>
              <a:gd name="connsiteY37016" fmla="*/ 2150293 h 5973007"/>
              <a:gd name="connsiteX37017" fmla="*/ 842261 w 6884782"/>
              <a:gd name="connsiteY37017" fmla="*/ 2149983 h 5973007"/>
              <a:gd name="connsiteX37018" fmla="*/ 831316 w 6884782"/>
              <a:gd name="connsiteY37018" fmla="*/ 2161290 h 5973007"/>
              <a:gd name="connsiteX37019" fmla="*/ 826257 w 6884782"/>
              <a:gd name="connsiteY37019" fmla="*/ 2158967 h 5973007"/>
              <a:gd name="connsiteX37020" fmla="*/ 842261 w 6884782"/>
              <a:gd name="connsiteY37020" fmla="*/ 2149983 h 5973007"/>
              <a:gd name="connsiteX37021" fmla="*/ 957289 w 6884782"/>
              <a:gd name="connsiteY37021" fmla="*/ 2149518 h 5973007"/>
              <a:gd name="connsiteX37022" fmla="*/ 957701 w 6884782"/>
              <a:gd name="connsiteY37022" fmla="*/ 2158192 h 5973007"/>
              <a:gd name="connsiteX37023" fmla="*/ 953985 w 6884782"/>
              <a:gd name="connsiteY37023" fmla="*/ 2157728 h 5973007"/>
              <a:gd name="connsiteX37024" fmla="*/ 952539 w 6884782"/>
              <a:gd name="connsiteY37024" fmla="*/ 2153545 h 5973007"/>
              <a:gd name="connsiteX37025" fmla="*/ 954088 w 6884782"/>
              <a:gd name="connsiteY37025" fmla="*/ 2150138 h 5973007"/>
              <a:gd name="connsiteX37026" fmla="*/ 957289 w 6884782"/>
              <a:gd name="connsiteY37026" fmla="*/ 2149518 h 5973007"/>
              <a:gd name="connsiteX37027" fmla="*/ 5444551 w 6884782"/>
              <a:gd name="connsiteY37027" fmla="*/ 2148971 h 5973007"/>
              <a:gd name="connsiteX37028" fmla="*/ 5447112 w 6884782"/>
              <a:gd name="connsiteY37028" fmla="*/ 2150678 h 5973007"/>
              <a:gd name="connsiteX37029" fmla="*/ 5444551 w 6884782"/>
              <a:gd name="connsiteY37029" fmla="*/ 2157081 h 5973007"/>
              <a:gd name="connsiteX37030" fmla="*/ 5441136 w 6884782"/>
              <a:gd name="connsiteY37030" fmla="*/ 2156084 h 5973007"/>
              <a:gd name="connsiteX37031" fmla="*/ 5444551 w 6884782"/>
              <a:gd name="connsiteY37031" fmla="*/ 2148971 h 5973007"/>
              <a:gd name="connsiteX37032" fmla="*/ 5595225 w 6884782"/>
              <a:gd name="connsiteY37032" fmla="*/ 2148687 h 5973007"/>
              <a:gd name="connsiteX37033" fmla="*/ 5594158 w 6884782"/>
              <a:gd name="connsiteY37033" fmla="*/ 2150963 h 5973007"/>
              <a:gd name="connsiteX37034" fmla="*/ 5592025 w 6884782"/>
              <a:gd name="connsiteY37034" fmla="*/ 2153239 h 5973007"/>
              <a:gd name="connsiteX37035" fmla="*/ 5592025 w 6884782"/>
              <a:gd name="connsiteY37035" fmla="*/ 2155516 h 5973007"/>
              <a:gd name="connsiteX37036" fmla="*/ 5589250 w 6884782"/>
              <a:gd name="connsiteY37036" fmla="*/ 2159499 h 5973007"/>
              <a:gd name="connsiteX37037" fmla="*/ 5590317 w 6884782"/>
              <a:gd name="connsiteY37037" fmla="*/ 2159641 h 5973007"/>
              <a:gd name="connsiteX37038" fmla="*/ 5603336 w 6884782"/>
              <a:gd name="connsiteY37038" fmla="*/ 2164763 h 5973007"/>
              <a:gd name="connsiteX37039" fmla="*/ 5604189 w 6884782"/>
              <a:gd name="connsiteY37039" fmla="*/ 2168462 h 5973007"/>
              <a:gd name="connsiteX37040" fmla="*/ 5596933 w 6884782"/>
              <a:gd name="connsiteY37040" fmla="*/ 2178990 h 5973007"/>
              <a:gd name="connsiteX37041" fmla="*/ 5592025 w 6884782"/>
              <a:gd name="connsiteY37041" fmla="*/ 2180982 h 5973007"/>
              <a:gd name="connsiteX37042" fmla="*/ 5594158 w 6884782"/>
              <a:gd name="connsiteY37042" fmla="*/ 2181408 h 5973007"/>
              <a:gd name="connsiteX37043" fmla="*/ 5597146 w 6884782"/>
              <a:gd name="connsiteY37043" fmla="*/ 2183116 h 5973007"/>
              <a:gd name="connsiteX37044" fmla="*/ 5593945 w 6884782"/>
              <a:gd name="connsiteY37044" fmla="*/ 2182120 h 5973007"/>
              <a:gd name="connsiteX37045" fmla="*/ 5591811 w 6884782"/>
              <a:gd name="connsiteY37045" fmla="*/ 2183116 h 5973007"/>
              <a:gd name="connsiteX37046" fmla="*/ 5590317 w 6884782"/>
              <a:gd name="connsiteY37046" fmla="*/ 2182405 h 5973007"/>
              <a:gd name="connsiteX37047" fmla="*/ 5589890 w 6884782"/>
              <a:gd name="connsiteY37047" fmla="*/ 2181693 h 5973007"/>
              <a:gd name="connsiteX37048" fmla="*/ 5582847 w 6884782"/>
              <a:gd name="connsiteY37048" fmla="*/ 2181693 h 5973007"/>
              <a:gd name="connsiteX37049" fmla="*/ 5575804 w 6884782"/>
              <a:gd name="connsiteY37049" fmla="*/ 2179843 h 5973007"/>
              <a:gd name="connsiteX37050" fmla="*/ 5575591 w 6884782"/>
              <a:gd name="connsiteY37050" fmla="*/ 2179843 h 5973007"/>
              <a:gd name="connsiteX37051" fmla="*/ 5572816 w 6884782"/>
              <a:gd name="connsiteY37051" fmla="*/ 2179132 h 5973007"/>
              <a:gd name="connsiteX37052" fmla="*/ 5565347 w 6884782"/>
              <a:gd name="connsiteY37052" fmla="*/ 2174580 h 5973007"/>
              <a:gd name="connsiteX37053" fmla="*/ 5565774 w 6884782"/>
              <a:gd name="connsiteY37053" fmla="*/ 2175006 h 5973007"/>
              <a:gd name="connsiteX37054" fmla="*/ 5562999 w 6884782"/>
              <a:gd name="connsiteY37054" fmla="*/ 2183258 h 5973007"/>
              <a:gd name="connsiteX37055" fmla="*/ 5560438 w 6884782"/>
              <a:gd name="connsiteY37055" fmla="*/ 2183970 h 5973007"/>
              <a:gd name="connsiteX37056" fmla="*/ 5562145 w 6884782"/>
              <a:gd name="connsiteY37056" fmla="*/ 2187099 h 5973007"/>
              <a:gd name="connsiteX37057" fmla="*/ 5572176 w 6884782"/>
              <a:gd name="connsiteY37057" fmla="*/ 2188095 h 5973007"/>
              <a:gd name="connsiteX37058" fmla="*/ 5574524 w 6884782"/>
              <a:gd name="connsiteY37058" fmla="*/ 2189660 h 5973007"/>
              <a:gd name="connsiteX37059" fmla="*/ 5576871 w 6884782"/>
              <a:gd name="connsiteY37059" fmla="*/ 2189518 h 5973007"/>
              <a:gd name="connsiteX37060" fmla="*/ 5576018 w 6884782"/>
              <a:gd name="connsiteY37060" fmla="*/ 2190941 h 5973007"/>
              <a:gd name="connsiteX37061" fmla="*/ 5576445 w 6884782"/>
              <a:gd name="connsiteY37061" fmla="*/ 2191083 h 5973007"/>
              <a:gd name="connsiteX37062" fmla="*/ 5576018 w 6884782"/>
              <a:gd name="connsiteY37062" fmla="*/ 2191367 h 5973007"/>
              <a:gd name="connsiteX37063" fmla="*/ 5576445 w 6884782"/>
              <a:gd name="connsiteY37063" fmla="*/ 2192079 h 5973007"/>
              <a:gd name="connsiteX37064" fmla="*/ 5576658 w 6884782"/>
              <a:gd name="connsiteY37064" fmla="*/ 2194924 h 5973007"/>
              <a:gd name="connsiteX37065" fmla="*/ 5574524 w 6884782"/>
              <a:gd name="connsiteY37065" fmla="*/ 2196631 h 5973007"/>
              <a:gd name="connsiteX37066" fmla="*/ 5573457 w 6884782"/>
              <a:gd name="connsiteY37066" fmla="*/ 2196773 h 5973007"/>
              <a:gd name="connsiteX37067" fmla="*/ 5574097 w 6884782"/>
              <a:gd name="connsiteY37067" fmla="*/ 2197911 h 5973007"/>
              <a:gd name="connsiteX37068" fmla="*/ 5573670 w 6884782"/>
              <a:gd name="connsiteY37068" fmla="*/ 2200046 h 5973007"/>
              <a:gd name="connsiteX37069" fmla="*/ 5558731 w 6884782"/>
              <a:gd name="connsiteY37069" fmla="*/ 2203602 h 5973007"/>
              <a:gd name="connsiteX37070" fmla="*/ 5560652 w 6884782"/>
              <a:gd name="connsiteY37070" fmla="*/ 2193217 h 5973007"/>
              <a:gd name="connsiteX37071" fmla="*/ 5562999 w 6884782"/>
              <a:gd name="connsiteY37071" fmla="*/ 2190941 h 5973007"/>
              <a:gd name="connsiteX37072" fmla="*/ 5562572 w 6884782"/>
              <a:gd name="connsiteY37072" fmla="*/ 2190656 h 5973007"/>
              <a:gd name="connsiteX37073" fmla="*/ 5562145 w 6884782"/>
              <a:gd name="connsiteY37073" fmla="*/ 2187952 h 5973007"/>
              <a:gd name="connsiteX37074" fmla="*/ 5562145 w 6884782"/>
              <a:gd name="connsiteY37074" fmla="*/ 2189944 h 5973007"/>
              <a:gd name="connsiteX37075" fmla="*/ 5560438 w 6884782"/>
              <a:gd name="connsiteY37075" fmla="*/ 2191794 h 5973007"/>
              <a:gd name="connsiteX37076" fmla="*/ 5557877 w 6884782"/>
              <a:gd name="connsiteY37076" fmla="*/ 2191652 h 5973007"/>
              <a:gd name="connsiteX37077" fmla="*/ 5554249 w 6884782"/>
              <a:gd name="connsiteY37077" fmla="*/ 2189233 h 5973007"/>
              <a:gd name="connsiteX37078" fmla="*/ 5553609 w 6884782"/>
              <a:gd name="connsiteY37078" fmla="*/ 2185961 h 5973007"/>
              <a:gd name="connsiteX37079" fmla="*/ 5554676 w 6884782"/>
              <a:gd name="connsiteY37079" fmla="*/ 2184965 h 5973007"/>
              <a:gd name="connsiteX37080" fmla="*/ 5553609 w 6884782"/>
              <a:gd name="connsiteY37080" fmla="*/ 2183827 h 5973007"/>
              <a:gd name="connsiteX37081" fmla="*/ 5551901 w 6884782"/>
              <a:gd name="connsiteY37081" fmla="*/ 2178848 h 5973007"/>
              <a:gd name="connsiteX37082" fmla="*/ 5555743 w 6884782"/>
              <a:gd name="connsiteY37082" fmla="*/ 2183542 h 5973007"/>
              <a:gd name="connsiteX37083" fmla="*/ 5554249 w 6884782"/>
              <a:gd name="connsiteY37083" fmla="*/ 2177567 h 5973007"/>
              <a:gd name="connsiteX37084" fmla="*/ 5556169 w 6884782"/>
              <a:gd name="connsiteY37084" fmla="*/ 2170596 h 5973007"/>
              <a:gd name="connsiteX37085" fmla="*/ 5561719 w 6884782"/>
              <a:gd name="connsiteY37085" fmla="*/ 2171449 h 5973007"/>
              <a:gd name="connsiteX37086" fmla="*/ 5561292 w 6884782"/>
              <a:gd name="connsiteY37086" fmla="*/ 2171023 h 5973007"/>
              <a:gd name="connsiteX37087" fmla="*/ 5581780 w 6884782"/>
              <a:gd name="connsiteY37087" fmla="*/ 2158503 h 5973007"/>
              <a:gd name="connsiteX37088" fmla="*/ 5584982 w 6884782"/>
              <a:gd name="connsiteY37088" fmla="*/ 2158930 h 5973007"/>
              <a:gd name="connsiteX37089" fmla="*/ 5585622 w 6884782"/>
              <a:gd name="connsiteY37089" fmla="*/ 2157649 h 5973007"/>
              <a:gd name="connsiteX37090" fmla="*/ 5587542 w 6884782"/>
              <a:gd name="connsiteY37090" fmla="*/ 2155373 h 5973007"/>
              <a:gd name="connsiteX37091" fmla="*/ 5589677 w 6884782"/>
              <a:gd name="connsiteY37091" fmla="*/ 2153239 h 5973007"/>
              <a:gd name="connsiteX37092" fmla="*/ 5590744 w 6884782"/>
              <a:gd name="connsiteY37092" fmla="*/ 2150821 h 5973007"/>
              <a:gd name="connsiteX37093" fmla="*/ 5595225 w 6884782"/>
              <a:gd name="connsiteY37093" fmla="*/ 2148687 h 5973007"/>
              <a:gd name="connsiteX37094" fmla="*/ 5356196 w 6884782"/>
              <a:gd name="connsiteY37094" fmla="*/ 2148687 h 5973007"/>
              <a:gd name="connsiteX37095" fmla="*/ 5360251 w 6884782"/>
              <a:gd name="connsiteY37095" fmla="*/ 2149113 h 5973007"/>
              <a:gd name="connsiteX37096" fmla="*/ 5361317 w 6884782"/>
              <a:gd name="connsiteY37096" fmla="*/ 2151817 h 5973007"/>
              <a:gd name="connsiteX37097" fmla="*/ 5361958 w 6884782"/>
              <a:gd name="connsiteY37097" fmla="*/ 2155516 h 5973007"/>
              <a:gd name="connsiteX37098" fmla="*/ 5361317 w 6884782"/>
              <a:gd name="connsiteY37098" fmla="*/ 2156084 h 5973007"/>
              <a:gd name="connsiteX37099" fmla="*/ 5365372 w 6884782"/>
              <a:gd name="connsiteY37099" fmla="*/ 2159641 h 5973007"/>
              <a:gd name="connsiteX37100" fmla="*/ 5336987 w 6884782"/>
              <a:gd name="connsiteY37100" fmla="*/ 2179416 h 5973007"/>
              <a:gd name="connsiteX37101" fmla="*/ 5348512 w 6884782"/>
              <a:gd name="connsiteY37101" fmla="*/ 2155658 h 5973007"/>
              <a:gd name="connsiteX37102" fmla="*/ 5350646 w 6884782"/>
              <a:gd name="connsiteY37102" fmla="*/ 2154662 h 5973007"/>
              <a:gd name="connsiteX37103" fmla="*/ 5351073 w 6884782"/>
              <a:gd name="connsiteY37103" fmla="*/ 2152244 h 5973007"/>
              <a:gd name="connsiteX37104" fmla="*/ 5356196 w 6884782"/>
              <a:gd name="connsiteY37104" fmla="*/ 2148687 h 5973007"/>
              <a:gd name="connsiteX37105" fmla="*/ 4983351 w 6884782"/>
              <a:gd name="connsiteY37105" fmla="*/ 2148260 h 5973007"/>
              <a:gd name="connsiteX37106" fmla="*/ 4985699 w 6884782"/>
              <a:gd name="connsiteY37106" fmla="*/ 2149398 h 5973007"/>
              <a:gd name="connsiteX37107" fmla="*/ 4981644 w 6884782"/>
              <a:gd name="connsiteY37107" fmla="*/ 2153381 h 5973007"/>
              <a:gd name="connsiteX37108" fmla="*/ 4979723 w 6884782"/>
              <a:gd name="connsiteY37108" fmla="*/ 2150394 h 5973007"/>
              <a:gd name="connsiteX37109" fmla="*/ 4983351 w 6884782"/>
              <a:gd name="connsiteY37109" fmla="*/ 2148260 h 5973007"/>
              <a:gd name="connsiteX37110" fmla="*/ 5174575 w 6884782"/>
              <a:gd name="connsiteY37110" fmla="*/ 2148118 h 5973007"/>
              <a:gd name="connsiteX37111" fmla="*/ 5176282 w 6884782"/>
              <a:gd name="connsiteY37111" fmla="*/ 2150394 h 5973007"/>
              <a:gd name="connsiteX37112" fmla="*/ 5172868 w 6884782"/>
              <a:gd name="connsiteY37112" fmla="*/ 2157649 h 5973007"/>
              <a:gd name="connsiteX37113" fmla="*/ 5166892 w 6884782"/>
              <a:gd name="connsiteY37113" fmla="*/ 2153524 h 5973007"/>
              <a:gd name="connsiteX37114" fmla="*/ 5174575 w 6884782"/>
              <a:gd name="connsiteY37114" fmla="*/ 2148118 h 5973007"/>
              <a:gd name="connsiteX37115" fmla="*/ 1026057 w 6884782"/>
              <a:gd name="connsiteY37115" fmla="*/ 2147195 h 5973007"/>
              <a:gd name="connsiteX37116" fmla="*/ 1033698 w 6884782"/>
              <a:gd name="connsiteY37116" fmla="*/ 2154630 h 5973007"/>
              <a:gd name="connsiteX37117" fmla="*/ 1035970 w 6884782"/>
              <a:gd name="connsiteY37117" fmla="*/ 2164698 h 5973007"/>
              <a:gd name="connsiteX37118" fmla="*/ 1026057 w 6884782"/>
              <a:gd name="connsiteY37118" fmla="*/ 2147195 h 5973007"/>
              <a:gd name="connsiteX37119" fmla="*/ 5670136 w 6884782"/>
              <a:gd name="connsiteY37119" fmla="*/ 2147122 h 5973007"/>
              <a:gd name="connsiteX37120" fmla="*/ 5671630 w 6884782"/>
              <a:gd name="connsiteY37120" fmla="*/ 2147549 h 5973007"/>
              <a:gd name="connsiteX37121" fmla="*/ 5671630 w 6884782"/>
              <a:gd name="connsiteY37121" fmla="*/ 2148687 h 5973007"/>
              <a:gd name="connsiteX37122" fmla="*/ 5669496 w 6884782"/>
              <a:gd name="connsiteY37122" fmla="*/ 2147549 h 5973007"/>
              <a:gd name="connsiteX37123" fmla="*/ 5670136 w 6884782"/>
              <a:gd name="connsiteY37123" fmla="*/ 2147122 h 5973007"/>
              <a:gd name="connsiteX37124" fmla="*/ 5803950 w 6884782"/>
              <a:gd name="connsiteY37124" fmla="*/ 2146980 h 5973007"/>
              <a:gd name="connsiteX37125" fmla="*/ 5809499 w 6884782"/>
              <a:gd name="connsiteY37125" fmla="*/ 2150109 h 5973007"/>
              <a:gd name="connsiteX37126" fmla="*/ 5813554 w 6884782"/>
              <a:gd name="connsiteY37126" fmla="*/ 2151532 h 5973007"/>
              <a:gd name="connsiteX37127" fmla="*/ 5814621 w 6884782"/>
              <a:gd name="connsiteY37127" fmla="*/ 2154946 h 5973007"/>
              <a:gd name="connsiteX37128" fmla="*/ 5804590 w 6884782"/>
              <a:gd name="connsiteY37128" fmla="*/ 2155943 h 5973007"/>
              <a:gd name="connsiteX37129" fmla="*/ 5798828 w 6884782"/>
              <a:gd name="connsiteY37129" fmla="*/ 2150109 h 5973007"/>
              <a:gd name="connsiteX37130" fmla="*/ 5803950 w 6884782"/>
              <a:gd name="connsiteY37130" fmla="*/ 2146980 h 5973007"/>
              <a:gd name="connsiteX37131" fmla="*/ 1067876 w 6884782"/>
              <a:gd name="connsiteY37131" fmla="*/ 2146885 h 5973007"/>
              <a:gd name="connsiteX37132" fmla="*/ 1076550 w 6884782"/>
              <a:gd name="connsiteY37132" fmla="*/ 2149053 h 5973007"/>
              <a:gd name="connsiteX37133" fmla="*/ 1072213 w 6884782"/>
              <a:gd name="connsiteY37133" fmla="*/ 2157418 h 5973007"/>
              <a:gd name="connsiteX37134" fmla="*/ 1066018 w 6884782"/>
              <a:gd name="connsiteY37134" fmla="*/ 2149828 h 5973007"/>
              <a:gd name="connsiteX37135" fmla="*/ 1067876 w 6884782"/>
              <a:gd name="connsiteY37135" fmla="*/ 2146885 h 5973007"/>
              <a:gd name="connsiteX37136" fmla="*/ 5046523 w 6884782"/>
              <a:gd name="connsiteY37136" fmla="*/ 2144134 h 5973007"/>
              <a:gd name="connsiteX37137" fmla="*/ 5058261 w 6884782"/>
              <a:gd name="connsiteY37137" fmla="*/ 2150536 h 5973007"/>
              <a:gd name="connsiteX37138" fmla="*/ 5036492 w 6884782"/>
              <a:gd name="connsiteY37138" fmla="*/ 2204029 h 5973007"/>
              <a:gd name="connsiteX37139" fmla="*/ 5034999 w 6884782"/>
              <a:gd name="connsiteY37139" fmla="*/ 2194497 h 5973007"/>
              <a:gd name="connsiteX37140" fmla="*/ 5033932 w 6884782"/>
              <a:gd name="connsiteY37140" fmla="*/ 2194924 h 5973007"/>
              <a:gd name="connsiteX37141" fmla="*/ 5027956 w 6884782"/>
              <a:gd name="connsiteY37141" fmla="*/ 2205737 h 5973007"/>
              <a:gd name="connsiteX37142" fmla="*/ 5017285 w 6884782"/>
              <a:gd name="connsiteY37142" fmla="*/ 2201753 h 5973007"/>
              <a:gd name="connsiteX37143" fmla="*/ 5014297 w 6884782"/>
              <a:gd name="connsiteY37143" fmla="*/ 2198054 h 5973007"/>
              <a:gd name="connsiteX37144" fmla="*/ 5034359 w 6884782"/>
              <a:gd name="connsiteY37144" fmla="*/ 2184254 h 5973007"/>
              <a:gd name="connsiteX37145" fmla="*/ 5034785 w 6884782"/>
              <a:gd name="connsiteY37145" fmla="*/ 2184680 h 5973007"/>
              <a:gd name="connsiteX37146" fmla="*/ 5036492 w 6884782"/>
              <a:gd name="connsiteY37146" fmla="*/ 2174295 h 5973007"/>
              <a:gd name="connsiteX37147" fmla="*/ 5040547 w 6884782"/>
              <a:gd name="connsiteY37147" fmla="*/ 2161918 h 5973007"/>
              <a:gd name="connsiteX37148" fmla="*/ 5038413 w 6884782"/>
              <a:gd name="connsiteY37148" fmla="*/ 2161775 h 5973007"/>
              <a:gd name="connsiteX37149" fmla="*/ 5034359 w 6884782"/>
              <a:gd name="connsiteY37149" fmla="*/ 2159357 h 5973007"/>
              <a:gd name="connsiteX37150" fmla="*/ 5038627 w 6884782"/>
              <a:gd name="connsiteY37150" fmla="*/ 2146980 h 5973007"/>
              <a:gd name="connsiteX37151" fmla="*/ 5044175 w 6884782"/>
              <a:gd name="connsiteY37151" fmla="*/ 2150394 h 5973007"/>
              <a:gd name="connsiteX37152" fmla="*/ 5044389 w 6884782"/>
              <a:gd name="connsiteY37152" fmla="*/ 2150678 h 5973007"/>
              <a:gd name="connsiteX37153" fmla="*/ 968234 w 6884782"/>
              <a:gd name="connsiteY37153" fmla="*/ 2142393 h 5973007"/>
              <a:gd name="connsiteX37154" fmla="*/ 973190 w 6884782"/>
              <a:gd name="connsiteY37154" fmla="*/ 2143477 h 5973007"/>
              <a:gd name="connsiteX37155" fmla="*/ 974016 w 6884782"/>
              <a:gd name="connsiteY37155" fmla="*/ 2151842 h 5973007"/>
              <a:gd name="connsiteX37156" fmla="*/ 965446 w 6884782"/>
              <a:gd name="connsiteY37156" fmla="*/ 2153236 h 5973007"/>
              <a:gd name="connsiteX37157" fmla="*/ 963794 w 6884782"/>
              <a:gd name="connsiteY37157" fmla="*/ 2149518 h 5973007"/>
              <a:gd name="connsiteX37158" fmla="*/ 968234 w 6884782"/>
              <a:gd name="connsiteY37158" fmla="*/ 2142393 h 5973007"/>
              <a:gd name="connsiteX37159" fmla="*/ 5389489 w 6884782"/>
              <a:gd name="connsiteY37159" fmla="*/ 2142000 h 5973007"/>
              <a:gd name="connsiteX37160" fmla="*/ 5392690 w 6884782"/>
              <a:gd name="connsiteY37160" fmla="*/ 2144134 h 5973007"/>
              <a:gd name="connsiteX37161" fmla="*/ 5394397 w 6884782"/>
              <a:gd name="connsiteY37161" fmla="*/ 2147549 h 5973007"/>
              <a:gd name="connsiteX37162" fmla="*/ 5387355 w 6884782"/>
              <a:gd name="connsiteY37162" fmla="*/ 2149113 h 5973007"/>
              <a:gd name="connsiteX37163" fmla="*/ 5387355 w 6884782"/>
              <a:gd name="connsiteY37163" fmla="*/ 2145841 h 5973007"/>
              <a:gd name="connsiteX37164" fmla="*/ 5385434 w 6884782"/>
              <a:gd name="connsiteY37164" fmla="*/ 2145841 h 5973007"/>
              <a:gd name="connsiteX37165" fmla="*/ 5387355 w 6884782"/>
              <a:gd name="connsiteY37165" fmla="*/ 2142569 h 5973007"/>
              <a:gd name="connsiteX37166" fmla="*/ 5389062 w 6884782"/>
              <a:gd name="connsiteY37166" fmla="*/ 2142569 h 5973007"/>
              <a:gd name="connsiteX37167" fmla="*/ 5389489 w 6884782"/>
              <a:gd name="connsiteY37167" fmla="*/ 2142000 h 5973007"/>
              <a:gd name="connsiteX37168" fmla="*/ 5693826 w 6884782"/>
              <a:gd name="connsiteY37168" fmla="*/ 2141573 h 5973007"/>
              <a:gd name="connsiteX37169" fmla="*/ 5695533 w 6884782"/>
              <a:gd name="connsiteY37169" fmla="*/ 2142569 h 5973007"/>
              <a:gd name="connsiteX37170" fmla="*/ 5691478 w 6884782"/>
              <a:gd name="connsiteY37170" fmla="*/ 2151817 h 5973007"/>
              <a:gd name="connsiteX37171" fmla="*/ 5683368 w 6884782"/>
              <a:gd name="connsiteY37171" fmla="*/ 2153808 h 5973007"/>
              <a:gd name="connsiteX37172" fmla="*/ 5683155 w 6884782"/>
              <a:gd name="connsiteY37172" fmla="*/ 2147975 h 5973007"/>
              <a:gd name="connsiteX37173" fmla="*/ 5688704 w 6884782"/>
              <a:gd name="connsiteY37173" fmla="*/ 2144703 h 5973007"/>
              <a:gd name="connsiteX37174" fmla="*/ 5692118 w 6884782"/>
              <a:gd name="connsiteY37174" fmla="*/ 2141858 h 5973007"/>
              <a:gd name="connsiteX37175" fmla="*/ 5693826 w 6884782"/>
              <a:gd name="connsiteY37175" fmla="*/ 2141573 h 5973007"/>
              <a:gd name="connsiteX37176" fmla="*/ 5002559 w 6884782"/>
              <a:gd name="connsiteY37176" fmla="*/ 2141146 h 5973007"/>
              <a:gd name="connsiteX37177" fmla="*/ 5009175 w 6884782"/>
              <a:gd name="connsiteY37177" fmla="*/ 2147549 h 5973007"/>
              <a:gd name="connsiteX37178" fmla="*/ 4998717 w 6884782"/>
              <a:gd name="connsiteY37178" fmla="*/ 2148971 h 5973007"/>
              <a:gd name="connsiteX37179" fmla="*/ 5002559 w 6884782"/>
              <a:gd name="connsiteY37179" fmla="*/ 2141146 h 5973007"/>
              <a:gd name="connsiteX37180" fmla="*/ 4549255 w 6884782"/>
              <a:gd name="connsiteY37180" fmla="*/ 2141004 h 5973007"/>
              <a:gd name="connsiteX37181" fmla="*/ 4538798 w 6884782"/>
              <a:gd name="connsiteY37181" fmla="*/ 2150109 h 5973007"/>
              <a:gd name="connsiteX37182" fmla="*/ 4549255 w 6884782"/>
              <a:gd name="connsiteY37182" fmla="*/ 2141004 h 5973007"/>
              <a:gd name="connsiteX37183" fmla="*/ 766484 w 6884782"/>
              <a:gd name="connsiteY37183" fmla="*/ 2140321 h 5973007"/>
              <a:gd name="connsiteX37184" fmla="*/ 778346 w 6884782"/>
              <a:gd name="connsiteY37184" fmla="*/ 2147969 h 5973007"/>
              <a:gd name="connsiteX37185" fmla="*/ 750983 w 6884782"/>
              <a:gd name="connsiteY37185" fmla="*/ 2144871 h 5973007"/>
              <a:gd name="connsiteX37186" fmla="*/ 766484 w 6884782"/>
              <a:gd name="connsiteY37186" fmla="*/ 2140321 h 5973007"/>
              <a:gd name="connsiteX37187" fmla="*/ 5198905 w 6884782"/>
              <a:gd name="connsiteY37187" fmla="*/ 2139866 h 5973007"/>
              <a:gd name="connsiteX37188" fmla="*/ 5207015 w 6884782"/>
              <a:gd name="connsiteY37188" fmla="*/ 2143565 h 5973007"/>
              <a:gd name="connsiteX37189" fmla="*/ 5208509 w 6884782"/>
              <a:gd name="connsiteY37189" fmla="*/ 2157081 h 5973007"/>
              <a:gd name="connsiteX37190" fmla="*/ 5210643 w 6884782"/>
              <a:gd name="connsiteY37190" fmla="*/ 2158646 h 5973007"/>
              <a:gd name="connsiteX37191" fmla="*/ 5212564 w 6884782"/>
              <a:gd name="connsiteY37191" fmla="*/ 2163910 h 5973007"/>
              <a:gd name="connsiteX37192" fmla="*/ 5210216 w 6884782"/>
              <a:gd name="connsiteY37192" fmla="*/ 2164620 h 5973007"/>
              <a:gd name="connsiteX37193" fmla="*/ 5207228 w 6884782"/>
              <a:gd name="connsiteY37193" fmla="*/ 2159357 h 5973007"/>
              <a:gd name="connsiteX37194" fmla="*/ 5205948 w 6884782"/>
              <a:gd name="connsiteY37194" fmla="*/ 2159072 h 5973007"/>
              <a:gd name="connsiteX37195" fmla="*/ 5203600 w 6884782"/>
              <a:gd name="connsiteY37195" fmla="*/ 2161064 h 5973007"/>
              <a:gd name="connsiteX37196" fmla="*/ 5192076 w 6884782"/>
              <a:gd name="connsiteY37196" fmla="*/ 2159214 h 5973007"/>
              <a:gd name="connsiteX37197" fmla="*/ 5189515 w 6884782"/>
              <a:gd name="connsiteY37197" fmla="*/ 2145557 h 5973007"/>
              <a:gd name="connsiteX37198" fmla="*/ 5193356 w 6884782"/>
              <a:gd name="connsiteY37198" fmla="*/ 2140151 h 5973007"/>
              <a:gd name="connsiteX37199" fmla="*/ 5198905 w 6884782"/>
              <a:gd name="connsiteY37199" fmla="*/ 2139866 h 5973007"/>
              <a:gd name="connsiteX37200" fmla="*/ 1006542 w 6884782"/>
              <a:gd name="connsiteY37200" fmla="*/ 2139605 h 5973007"/>
              <a:gd name="connsiteX37201" fmla="*/ 1014080 w 6884782"/>
              <a:gd name="connsiteY37201" fmla="*/ 2144716 h 5973007"/>
              <a:gd name="connsiteX37202" fmla="*/ 1012014 w 6884782"/>
              <a:gd name="connsiteY37202" fmla="*/ 2147505 h 5973007"/>
              <a:gd name="connsiteX37203" fmla="*/ 1012737 w 6884782"/>
              <a:gd name="connsiteY37203" fmla="*/ 2147815 h 5973007"/>
              <a:gd name="connsiteX37204" fmla="*/ 1008814 w 6884782"/>
              <a:gd name="connsiteY37204" fmla="*/ 2156179 h 5973007"/>
              <a:gd name="connsiteX37205" fmla="*/ 1005716 w 6884782"/>
              <a:gd name="connsiteY37205" fmla="*/ 2156024 h 5973007"/>
              <a:gd name="connsiteX37206" fmla="*/ 1000243 w 6884782"/>
              <a:gd name="connsiteY37206" fmla="*/ 2163459 h 5973007"/>
              <a:gd name="connsiteX37207" fmla="*/ 987543 w 6884782"/>
              <a:gd name="connsiteY37207" fmla="*/ 2180188 h 5973007"/>
              <a:gd name="connsiteX37208" fmla="*/ 987439 w 6884782"/>
              <a:gd name="connsiteY37208" fmla="*/ 2175076 h 5973007"/>
              <a:gd name="connsiteX37209" fmla="*/ 1006542 w 6884782"/>
              <a:gd name="connsiteY37209" fmla="*/ 2139605 h 5973007"/>
              <a:gd name="connsiteX37210" fmla="*/ 5667362 w 6884782"/>
              <a:gd name="connsiteY37210" fmla="*/ 2138586 h 5973007"/>
              <a:gd name="connsiteX37211" fmla="*/ 5669922 w 6884782"/>
              <a:gd name="connsiteY37211" fmla="*/ 2139154 h 5973007"/>
              <a:gd name="connsiteX37212" fmla="*/ 5670562 w 6884782"/>
              <a:gd name="connsiteY37212" fmla="*/ 2142000 h 5973007"/>
              <a:gd name="connsiteX37213" fmla="*/ 5656477 w 6884782"/>
              <a:gd name="connsiteY37213" fmla="*/ 2149398 h 5973007"/>
              <a:gd name="connsiteX37214" fmla="*/ 5653489 w 6884782"/>
              <a:gd name="connsiteY37214" fmla="*/ 2148687 h 5973007"/>
              <a:gd name="connsiteX37215" fmla="*/ 5650715 w 6884782"/>
              <a:gd name="connsiteY37215" fmla="*/ 2148971 h 5973007"/>
              <a:gd name="connsiteX37216" fmla="*/ 5644525 w 6884782"/>
              <a:gd name="connsiteY37216" fmla="*/ 2144703 h 5973007"/>
              <a:gd name="connsiteX37217" fmla="*/ 5667362 w 6884782"/>
              <a:gd name="connsiteY37217" fmla="*/ 2138586 h 5973007"/>
              <a:gd name="connsiteX37218" fmla="*/ 5740138 w 6884782"/>
              <a:gd name="connsiteY37218" fmla="*/ 2137732 h 5973007"/>
              <a:gd name="connsiteX37219" fmla="*/ 5748461 w 6884782"/>
              <a:gd name="connsiteY37219" fmla="*/ 2141431 h 5973007"/>
              <a:gd name="connsiteX37220" fmla="*/ 5748888 w 6884782"/>
              <a:gd name="connsiteY37220" fmla="*/ 2143565 h 5973007"/>
              <a:gd name="connsiteX37221" fmla="*/ 5740138 w 6884782"/>
              <a:gd name="connsiteY37221" fmla="*/ 2137732 h 5973007"/>
              <a:gd name="connsiteX37222" fmla="*/ 1103500 w 6884782"/>
              <a:gd name="connsiteY37222" fmla="*/ 2136817 h 5973007"/>
              <a:gd name="connsiteX37223" fmla="*/ 1104326 w 6884782"/>
              <a:gd name="connsiteY37223" fmla="*/ 2136972 h 5973007"/>
              <a:gd name="connsiteX37224" fmla="*/ 1107836 w 6884782"/>
              <a:gd name="connsiteY37224" fmla="*/ 2137282 h 5973007"/>
              <a:gd name="connsiteX37225" fmla="*/ 1109385 w 6884782"/>
              <a:gd name="connsiteY37225" fmla="*/ 2141619 h 5973007"/>
              <a:gd name="connsiteX37226" fmla="*/ 1104222 w 6884782"/>
              <a:gd name="connsiteY37226" fmla="*/ 2142703 h 5973007"/>
              <a:gd name="connsiteX37227" fmla="*/ 1102261 w 6884782"/>
              <a:gd name="connsiteY37227" fmla="*/ 2138520 h 5973007"/>
              <a:gd name="connsiteX37228" fmla="*/ 1103500 w 6884782"/>
              <a:gd name="connsiteY37228" fmla="*/ 2136817 h 5973007"/>
              <a:gd name="connsiteX37229" fmla="*/ 6320639 w 6884782"/>
              <a:gd name="connsiteY37229" fmla="*/ 2136451 h 5973007"/>
              <a:gd name="connsiteX37230" fmla="*/ 6347317 w 6884782"/>
              <a:gd name="connsiteY37230" fmla="*/ 2143138 h 5973007"/>
              <a:gd name="connsiteX37231" fmla="*/ 6350305 w 6884782"/>
              <a:gd name="connsiteY37231" fmla="*/ 2150394 h 5973007"/>
              <a:gd name="connsiteX37232" fmla="*/ 6320639 w 6884782"/>
              <a:gd name="connsiteY37232" fmla="*/ 2136451 h 5973007"/>
              <a:gd name="connsiteX37233" fmla="*/ 5374763 w 6884782"/>
              <a:gd name="connsiteY37233" fmla="*/ 2135456 h 5973007"/>
              <a:gd name="connsiteX37234" fmla="*/ 5379885 w 6884782"/>
              <a:gd name="connsiteY37234" fmla="*/ 2138728 h 5973007"/>
              <a:gd name="connsiteX37235" fmla="*/ 5375830 w 6884782"/>
              <a:gd name="connsiteY37235" fmla="*/ 2150536 h 5973007"/>
              <a:gd name="connsiteX37236" fmla="*/ 5368787 w 6884782"/>
              <a:gd name="connsiteY37236" fmla="*/ 2148260 h 5973007"/>
              <a:gd name="connsiteX37237" fmla="*/ 5374763 w 6884782"/>
              <a:gd name="connsiteY37237" fmla="*/ 2135456 h 5973007"/>
              <a:gd name="connsiteX37238" fmla="*/ 5797334 w 6884782"/>
              <a:gd name="connsiteY37238" fmla="*/ 2134886 h 5973007"/>
              <a:gd name="connsiteX37239" fmla="*/ 5798188 w 6884782"/>
              <a:gd name="connsiteY37239" fmla="*/ 2135313 h 5973007"/>
              <a:gd name="connsiteX37240" fmla="*/ 5798401 w 6884782"/>
              <a:gd name="connsiteY37240" fmla="*/ 2136878 h 5973007"/>
              <a:gd name="connsiteX37241" fmla="*/ 5797548 w 6884782"/>
              <a:gd name="connsiteY37241" fmla="*/ 2137305 h 5973007"/>
              <a:gd name="connsiteX37242" fmla="*/ 5797334 w 6884782"/>
              <a:gd name="connsiteY37242" fmla="*/ 2134886 h 5973007"/>
              <a:gd name="connsiteX37243" fmla="*/ 5552328 w 6884782"/>
              <a:gd name="connsiteY37243" fmla="*/ 2134886 h 5973007"/>
              <a:gd name="connsiteX37244" fmla="*/ 5562359 w 6884782"/>
              <a:gd name="connsiteY37244" fmla="*/ 2137732 h 5973007"/>
              <a:gd name="connsiteX37245" fmla="*/ 5553395 w 6884782"/>
              <a:gd name="connsiteY37245" fmla="*/ 2136309 h 5973007"/>
              <a:gd name="connsiteX37246" fmla="*/ 5552328 w 6884782"/>
              <a:gd name="connsiteY37246" fmla="*/ 2134886 h 5973007"/>
              <a:gd name="connsiteX37247" fmla="*/ 4964357 w 6884782"/>
              <a:gd name="connsiteY37247" fmla="*/ 2134744 h 5973007"/>
              <a:gd name="connsiteX37248" fmla="*/ 4966704 w 6884782"/>
              <a:gd name="connsiteY37248" fmla="*/ 2137305 h 5973007"/>
              <a:gd name="connsiteX37249" fmla="*/ 4965851 w 6884782"/>
              <a:gd name="connsiteY37249" fmla="*/ 2145415 h 5973007"/>
              <a:gd name="connsiteX37250" fmla="*/ 4957954 w 6884782"/>
              <a:gd name="connsiteY37250" fmla="*/ 2154519 h 5973007"/>
              <a:gd name="connsiteX37251" fmla="*/ 4958808 w 6884782"/>
              <a:gd name="connsiteY37251" fmla="*/ 2140008 h 5973007"/>
              <a:gd name="connsiteX37252" fmla="*/ 4964357 w 6884782"/>
              <a:gd name="connsiteY37252" fmla="*/ 2134744 h 5973007"/>
              <a:gd name="connsiteX37253" fmla="*/ 798790 w 6884782"/>
              <a:gd name="connsiteY37253" fmla="*/ 2134493 h 5973007"/>
              <a:gd name="connsiteX37254" fmla="*/ 793215 w 6884782"/>
              <a:gd name="connsiteY37254" fmla="*/ 2143012 h 5973007"/>
              <a:gd name="connsiteX37255" fmla="*/ 790530 w 6884782"/>
              <a:gd name="connsiteY37255" fmla="*/ 2139295 h 5973007"/>
              <a:gd name="connsiteX37256" fmla="*/ 798790 w 6884782"/>
              <a:gd name="connsiteY37256" fmla="*/ 2134493 h 5973007"/>
              <a:gd name="connsiteX37257" fmla="*/ 5597360 w 6884782"/>
              <a:gd name="connsiteY37257" fmla="*/ 2134033 h 5973007"/>
              <a:gd name="connsiteX37258" fmla="*/ 5602695 w 6884782"/>
              <a:gd name="connsiteY37258" fmla="*/ 2135171 h 5973007"/>
              <a:gd name="connsiteX37259" fmla="*/ 5605683 w 6884782"/>
              <a:gd name="connsiteY37259" fmla="*/ 2136167 h 5973007"/>
              <a:gd name="connsiteX37260" fmla="*/ 5608244 w 6884782"/>
              <a:gd name="connsiteY37260" fmla="*/ 2136167 h 5973007"/>
              <a:gd name="connsiteX37261" fmla="*/ 5611232 w 6884782"/>
              <a:gd name="connsiteY37261" fmla="*/ 2137732 h 5973007"/>
              <a:gd name="connsiteX37262" fmla="*/ 5611872 w 6884782"/>
              <a:gd name="connsiteY37262" fmla="*/ 2139154 h 5973007"/>
              <a:gd name="connsiteX37263" fmla="*/ 5612086 w 6884782"/>
              <a:gd name="connsiteY37263" fmla="*/ 2139013 h 5973007"/>
              <a:gd name="connsiteX37264" fmla="*/ 5635349 w 6884782"/>
              <a:gd name="connsiteY37264" fmla="*/ 2159641 h 5973007"/>
              <a:gd name="connsiteX37265" fmla="*/ 5611232 w 6884782"/>
              <a:gd name="connsiteY37265" fmla="*/ 2146837 h 5973007"/>
              <a:gd name="connsiteX37266" fmla="*/ 5611872 w 6884782"/>
              <a:gd name="connsiteY37266" fmla="*/ 2139297 h 5973007"/>
              <a:gd name="connsiteX37267" fmla="*/ 5609524 w 6884782"/>
              <a:gd name="connsiteY37267" fmla="*/ 2139297 h 5973007"/>
              <a:gd name="connsiteX37268" fmla="*/ 5606537 w 6884782"/>
              <a:gd name="connsiteY37268" fmla="*/ 2138301 h 5973007"/>
              <a:gd name="connsiteX37269" fmla="*/ 5604403 w 6884782"/>
              <a:gd name="connsiteY37269" fmla="*/ 2139297 h 5973007"/>
              <a:gd name="connsiteX37270" fmla="*/ 5597360 w 6884782"/>
              <a:gd name="connsiteY37270" fmla="*/ 2134033 h 5973007"/>
              <a:gd name="connsiteX37271" fmla="*/ 4666423 w 6884782"/>
              <a:gd name="connsiteY37271" fmla="*/ 2133037 h 5973007"/>
              <a:gd name="connsiteX37272" fmla="*/ 4626300 w 6884782"/>
              <a:gd name="connsiteY37272" fmla="*/ 2188379 h 5973007"/>
              <a:gd name="connsiteX37273" fmla="*/ 4623739 w 6884782"/>
              <a:gd name="connsiteY37273" fmla="*/ 2190371 h 5973007"/>
              <a:gd name="connsiteX37274" fmla="*/ 4625873 w 6884782"/>
              <a:gd name="connsiteY37274" fmla="*/ 2190941 h 5973007"/>
              <a:gd name="connsiteX37275" fmla="*/ 4624806 w 6884782"/>
              <a:gd name="connsiteY37275" fmla="*/ 2198623 h 5973007"/>
              <a:gd name="connsiteX37276" fmla="*/ 4618830 w 6884782"/>
              <a:gd name="connsiteY37276" fmla="*/ 2194355 h 5973007"/>
              <a:gd name="connsiteX37277" fmla="*/ 4617763 w 6884782"/>
              <a:gd name="connsiteY37277" fmla="*/ 2195351 h 5973007"/>
              <a:gd name="connsiteX37278" fmla="*/ 4608799 w 6884782"/>
              <a:gd name="connsiteY37278" fmla="*/ 2200330 h 5973007"/>
              <a:gd name="connsiteX37279" fmla="*/ 4621604 w 6884782"/>
              <a:gd name="connsiteY37279" fmla="*/ 2159641 h 5973007"/>
              <a:gd name="connsiteX37280" fmla="*/ 4634410 w 6884782"/>
              <a:gd name="connsiteY37280" fmla="*/ 2150394 h 5973007"/>
              <a:gd name="connsiteX37281" fmla="*/ 4633983 w 6884782"/>
              <a:gd name="connsiteY37281" fmla="*/ 2150109 h 5973007"/>
              <a:gd name="connsiteX37282" fmla="*/ 4638251 w 6884782"/>
              <a:gd name="connsiteY37282" fmla="*/ 2143707 h 5973007"/>
              <a:gd name="connsiteX37283" fmla="*/ 4640386 w 6884782"/>
              <a:gd name="connsiteY37283" fmla="*/ 2146125 h 5973007"/>
              <a:gd name="connsiteX37284" fmla="*/ 4645508 w 6884782"/>
              <a:gd name="connsiteY37284" fmla="*/ 2142427 h 5973007"/>
              <a:gd name="connsiteX37285" fmla="*/ 4666423 w 6884782"/>
              <a:gd name="connsiteY37285" fmla="*/ 2133037 h 5973007"/>
              <a:gd name="connsiteX37286" fmla="*/ 5838951 w 6884782"/>
              <a:gd name="connsiteY37286" fmla="*/ 2131899 h 5973007"/>
              <a:gd name="connsiteX37287" fmla="*/ 5832335 w 6884782"/>
              <a:gd name="connsiteY37287" fmla="*/ 2137305 h 5973007"/>
              <a:gd name="connsiteX37288" fmla="*/ 5821664 w 6884782"/>
              <a:gd name="connsiteY37288" fmla="*/ 2139723 h 5973007"/>
              <a:gd name="connsiteX37289" fmla="*/ 5822304 w 6884782"/>
              <a:gd name="connsiteY37289" fmla="*/ 2138016 h 5973007"/>
              <a:gd name="connsiteX37290" fmla="*/ 5838951 w 6884782"/>
              <a:gd name="connsiteY37290" fmla="*/ 2131899 h 5973007"/>
              <a:gd name="connsiteX37291" fmla="*/ 4835878 w 6884782"/>
              <a:gd name="connsiteY37291" fmla="*/ 2131614 h 5973007"/>
              <a:gd name="connsiteX37292" fmla="*/ 4852952 w 6884782"/>
              <a:gd name="connsiteY37292" fmla="*/ 2150821 h 5973007"/>
              <a:gd name="connsiteX37293" fmla="*/ 4835878 w 6884782"/>
              <a:gd name="connsiteY37293" fmla="*/ 2131614 h 5973007"/>
              <a:gd name="connsiteX37294" fmla="*/ 4560140 w 6884782"/>
              <a:gd name="connsiteY37294" fmla="*/ 2130761 h 5973007"/>
              <a:gd name="connsiteX37295" fmla="*/ 4566542 w 6884782"/>
              <a:gd name="connsiteY37295" fmla="*/ 2131330 h 5973007"/>
              <a:gd name="connsiteX37296" fmla="*/ 4564408 w 6884782"/>
              <a:gd name="connsiteY37296" fmla="*/ 2145130 h 5973007"/>
              <a:gd name="connsiteX37297" fmla="*/ 4555018 w 6884782"/>
              <a:gd name="connsiteY37297" fmla="*/ 2133464 h 5973007"/>
              <a:gd name="connsiteX37298" fmla="*/ 4560140 w 6884782"/>
              <a:gd name="connsiteY37298" fmla="*/ 2130761 h 5973007"/>
              <a:gd name="connsiteX37299" fmla="*/ 713604 w 6884782"/>
              <a:gd name="connsiteY37299" fmla="*/ 2130621 h 5973007"/>
              <a:gd name="connsiteX37300" fmla="*/ 724446 w 6884782"/>
              <a:gd name="connsiteY37300" fmla="*/ 2133874 h 5973007"/>
              <a:gd name="connsiteX37301" fmla="*/ 714740 w 6884782"/>
              <a:gd name="connsiteY37301" fmla="*/ 2136662 h 5973007"/>
              <a:gd name="connsiteX37302" fmla="*/ 713604 w 6884782"/>
              <a:gd name="connsiteY37302" fmla="*/ 2130621 h 5973007"/>
              <a:gd name="connsiteX37303" fmla="*/ 4715509 w 6884782"/>
              <a:gd name="connsiteY37303" fmla="*/ 2130476 h 5973007"/>
              <a:gd name="connsiteX37304" fmla="*/ 4718924 w 6884782"/>
              <a:gd name="connsiteY37304" fmla="*/ 2132041 h 5973007"/>
              <a:gd name="connsiteX37305" fmla="*/ 4719778 w 6884782"/>
              <a:gd name="connsiteY37305" fmla="*/ 2131187 h 5973007"/>
              <a:gd name="connsiteX37306" fmla="*/ 4724686 w 6884782"/>
              <a:gd name="connsiteY37306" fmla="*/ 2137163 h 5973007"/>
              <a:gd name="connsiteX37307" fmla="*/ 4727888 w 6884782"/>
              <a:gd name="connsiteY37307" fmla="*/ 2140577 h 5973007"/>
              <a:gd name="connsiteX37308" fmla="*/ 4725967 w 6884782"/>
              <a:gd name="connsiteY37308" fmla="*/ 2148402 h 5973007"/>
              <a:gd name="connsiteX37309" fmla="*/ 4710600 w 6884782"/>
              <a:gd name="connsiteY37309" fmla="*/ 2131187 h 5973007"/>
              <a:gd name="connsiteX37310" fmla="*/ 4715509 w 6884782"/>
              <a:gd name="connsiteY37310" fmla="*/ 2130476 h 5973007"/>
              <a:gd name="connsiteX37311" fmla="*/ 6271553 w 6884782"/>
              <a:gd name="connsiteY37311" fmla="*/ 2130192 h 5973007"/>
              <a:gd name="connsiteX37312" fmla="*/ 6273047 w 6884782"/>
              <a:gd name="connsiteY37312" fmla="*/ 2131330 h 5973007"/>
              <a:gd name="connsiteX37313" fmla="*/ 6272620 w 6884782"/>
              <a:gd name="connsiteY37313" fmla="*/ 2134886 h 5973007"/>
              <a:gd name="connsiteX37314" fmla="*/ 6268138 w 6884782"/>
              <a:gd name="connsiteY37314" fmla="*/ 2133606 h 5973007"/>
              <a:gd name="connsiteX37315" fmla="*/ 6271553 w 6884782"/>
              <a:gd name="connsiteY37315" fmla="*/ 2130192 h 5973007"/>
              <a:gd name="connsiteX37316" fmla="*/ 732706 w 6884782"/>
              <a:gd name="connsiteY37316" fmla="*/ 2129846 h 5973007"/>
              <a:gd name="connsiteX37317" fmla="*/ 735185 w 6884782"/>
              <a:gd name="connsiteY37317" fmla="*/ 2130156 h 5973007"/>
              <a:gd name="connsiteX37318" fmla="*/ 735701 w 6884782"/>
              <a:gd name="connsiteY37318" fmla="*/ 2142703 h 5973007"/>
              <a:gd name="connsiteX37319" fmla="*/ 732190 w 6884782"/>
              <a:gd name="connsiteY37319" fmla="*/ 2143942 h 5973007"/>
              <a:gd name="connsiteX37320" fmla="*/ 730125 w 6884782"/>
              <a:gd name="connsiteY37320" fmla="*/ 2136197 h 5973007"/>
              <a:gd name="connsiteX37321" fmla="*/ 732706 w 6884782"/>
              <a:gd name="connsiteY37321" fmla="*/ 2129846 h 5973007"/>
              <a:gd name="connsiteX37322" fmla="*/ 831935 w 6884782"/>
              <a:gd name="connsiteY37322" fmla="*/ 2129072 h 5973007"/>
              <a:gd name="connsiteX37323" fmla="*/ 835550 w 6884782"/>
              <a:gd name="connsiteY37323" fmla="*/ 2135732 h 5973007"/>
              <a:gd name="connsiteX37324" fmla="*/ 828528 w 6884782"/>
              <a:gd name="connsiteY37324" fmla="*/ 2130311 h 5973007"/>
              <a:gd name="connsiteX37325" fmla="*/ 831935 w 6884782"/>
              <a:gd name="connsiteY37325" fmla="*/ 2129072 h 5973007"/>
              <a:gd name="connsiteX37326" fmla="*/ 903286 w 6884782"/>
              <a:gd name="connsiteY37326" fmla="*/ 2128297 h 5973007"/>
              <a:gd name="connsiteX37327" fmla="*/ 909481 w 6884782"/>
              <a:gd name="connsiteY37327" fmla="*/ 2130621 h 5973007"/>
              <a:gd name="connsiteX37328" fmla="*/ 902872 w 6884782"/>
              <a:gd name="connsiteY37328" fmla="*/ 2134648 h 5973007"/>
              <a:gd name="connsiteX37329" fmla="*/ 901427 w 6884782"/>
              <a:gd name="connsiteY37329" fmla="*/ 2131086 h 5973007"/>
              <a:gd name="connsiteX37330" fmla="*/ 903286 w 6884782"/>
              <a:gd name="connsiteY37330" fmla="*/ 2128297 h 5973007"/>
              <a:gd name="connsiteX37331" fmla="*/ 5406776 w 6884782"/>
              <a:gd name="connsiteY37331" fmla="*/ 2127773 h 5973007"/>
              <a:gd name="connsiteX37332" fmla="*/ 5414459 w 6884782"/>
              <a:gd name="connsiteY37332" fmla="*/ 2130903 h 5973007"/>
              <a:gd name="connsiteX37333" fmla="*/ 5415313 w 6884782"/>
              <a:gd name="connsiteY37333" fmla="*/ 2149255 h 5973007"/>
              <a:gd name="connsiteX37334" fmla="*/ 5397599 w 6884782"/>
              <a:gd name="connsiteY37334" fmla="*/ 2141146 h 5973007"/>
              <a:gd name="connsiteX37335" fmla="*/ 5406776 w 6884782"/>
              <a:gd name="connsiteY37335" fmla="*/ 2127773 h 5973007"/>
              <a:gd name="connsiteX37336" fmla="*/ 868385 w 6884782"/>
              <a:gd name="connsiteY37336" fmla="*/ 2127678 h 5973007"/>
              <a:gd name="connsiteX37337" fmla="*/ 866733 w 6884782"/>
              <a:gd name="connsiteY37337" fmla="*/ 2139605 h 5973007"/>
              <a:gd name="connsiteX37338" fmla="*/ 862809 w 6884782"/>
              <a:gd name="connsiteY37338" fmla="*/ 2134183 h 5973007"/>
              <a:gd name="connsiteX37339" fmla="*/ 864461 w 6884782"/>
              <a:gd name="connsiteY37339" fmla="*/ 2128297 h 5973007"/>
              <a:gd name="connsiteX37340" fmla="*/ 868385 w 6884782"/>
              <a:gd name="connsiteY37340" fmla="*/ 2127678 h 5973007"/>
              <a:gd name="connsiteX37341" fmla="*/ 1157812 w 6884782"/>
              <a:gd name="connsiteY37341" fmla="*/ 2127523 h 5973007"/>
              <a:gd name="connsiteX37342" fmla="*/ 1162356 w 6884782"/>
              <a:gd name="connsiteY37342" fmla="*/ 2134029 h 5973007"/>
              <a:gd name="connsiteX37343" fmla="*/ 1158432 w 6884782"/>
              <a:gd name="connsiteY37343" fmla="*/ 2135113 h 5973007"/>
              <a:gd name="connsiteX37344" fmla="*/ 1159464 w 6884782"/>
              <a:gd name="connsiteY37344" fmla="*/ 2139140 h 5973007"/>
              <a:gd name="connsiteX37345" fmla="*/ 1147900 w 6884782"/>
              <a:gd name="connsiteY37345" fmla="*/ 2155094 h 5973007"/>
              <a:gd name="connsiteX37346" fmla="*/ 1151101 w 6884782"/>
              <a:gd name="connsiteY37346" fmla="*/ 2146265 h 5973007"/>
              <a:gd name="connsiteX37347" fmla="*/ 1152443 w 6884782"/>
              <a:gd name="connsiteY37347" fmla="*/ 2137901 h 5973007"/>
              <a:gd name="connsiteX37348" fmla="*/ 1148519 w 6884782"/>
              <a:gd name="connsiteY37348" fmla="*/ 2140844 h 5973007"/>
              <a:gd name="connsiteX37349" fmla="*/ 1136232 w 6884782"/>
              <a:gd name="connsiteY37349" fmla="*/ 2145491 h 5973007"/>
              <a:gd name="connsiteX37350" fmla="*/ 1157812 w 6884782"/>
              <a:gd name="connsiteY37350" fmla="*/ 2127523 h 5973007"/>
              <a:gd name="connsiteX37351" fmla="*/ 6280730 w 6884782"/>
              <a:gd name="connsiteY37351" fmla="*/ 2127062 h 5973007"/>
              <a:gd name="connsiteX37352" fmla="*/ 6282864 w 6884782"/>
              <a:gd name="connsiteY37352" fmla="*/ 2128484 h 5973007"/>
              <a:gd name="connsiteX37353" fmla="*/ 6284785 w 6884782"/>
              <a:gd name="connsiteY37353" fmla="*/ 2130618 h 5973007"/>
              <a:gd name="connsiteX37354" fmla="*/ 6285852 w 6884782"/>
              <a:gd name="connsiteY37354" fmla="*/ 2133322 h 5973007"/>
              <a:gd name="connsiteX37355" fmla="*/ 6285852 w 6884782"/>
              <a:gd name="connsiteY37355" fmla="*/ 2137163 h 5973007"/>
              <a:gd name="connsiteX37356" fmla="*/ 6282864 w 6884782"/>
              <a:gd name="connsiteY37356" fmla="*/ 2141858 h 5973007"/>
              <a:gd name="connsiteX37357" fmla="*/ 6280730 w 6884782"/>
              <a:gd name="connsiteY37357" fmla="*/ 2142996 h 5973007"/>
              <a:gd name="connsiteX37358" fmla="*/ 6274114 w 6884782"/>
              <a:gd name="connsiteY37358" fmla="*/ 2135313 h 5973007"/>
              <a:gd name="connsiteX37359" fmla="*/ 6280730 w 6884782"/>
              <a:gd name="connsiteY37359" fmla="*/ 2127062 h 5973007"/>
              <a:gd name="connsiteX37360" fmla="*/ 5363238 w 6884782"/>
              <a:gd name="connsiteY37360" fmla="*/ 2126350 h 5973007"/>
              <a:gd name="connsiteX37361" fmla="*/ 5367293 w 6884782"/>
              <a:gd name="connsiteY37361" fmla="*/ 2128057 h 5973007"/>
              <a:gd name="connsiteX37362" fmla="*/ 5368147 w 6884782"/>
              <a:gd name="connsiteY37362" fmla="*/ 2131187 h 5973007"/>
              <a:gd name="connsiteX37363" fmla="*/ 5351927 w 6884782"/>
              <a:gd name="connsiteY37363" fmla="*/ 2138586 h 5973007"/>
              <a:gd name="connsiteX37364" fmla="*/ 5348299 w 6884782"/>
              <a:gd name="connsiteY37364" fmla="*/ 2134886 h 5973007"/>
              <a:gd name="connsiteX37365" fmla="*/ 5363238 w 6884782"/>
              <a:gd name="connsiteY37365" fmla="*/ 2126350 h 5973007"/>
              <a:gd name="connsiteX37366" fmla="*/ 4834598 w 6884782"/>
              <a:gd name="connsiteY37366" fmla="*/ 2126350 h 5973007"/>
              <a:gd name="connsiteX37367" fmla="*/ 4834811 w 6884782"/>
              <a:gd name="connsiteY37367" fmla="*/ 2131330 h 5973007"/>
              <a:gd name="connsiteX37368" fmla="*/ 4831396 w 6884782"/>
              <a:gd name="connsiteY37368" fmla="*/ 2132326 h 5973007"/>
              <a:gd name="connsiteX37369" fmla="*/ 4834598 w 6884782"/>
              <a:gd name="connsiteY37369" fmla="*/ 2126350 h 5973007"/>
              <a:gd name="connsiteX37370" fmla="*/ 5526504 w 6884782"/>
              <a:gd name="connsiteY37370" fmla="*/ 2125923 h 5973007"/>
              <a:gd name="connsiteX37371" fmla="*/ 5544645 w 6884782"/>
              <a:gd name="connsiteY37371" fmla="*/ 2132326 h 5973007"/>
              <a:gd name="connsiteX37372" fmla="*/ 5526504 w 6884782"/>
              <a:gd name="connsiteY37372" fmla="*/ 2125923 h 5973007"/>
              <a:gd name="connsiteX37373" fmla="*/ 5169666 w 6884782"/>
              <a:gd name="connsiteY37373" fmla="*/ 2124928 h 5973007"/>
              <a:gd name="connsiteX37374" fmla="*/ 5176709 w 6884782"/>
              <a:gd name="connsiteY37374" fmla="*/ 2126635 h 5973007"/>
              <a:gd name="connsiteX37375" fmla="*/ 5175215 w 6884782"/>
              <a:gd name="connsiteY37375" fmla="*/ 2128342 h 5973007"/>
              <a:gd name="connsiteX37376" fmla="*/ 5182045 w 6884782"/>
              <a:gd name="connsiteY37376" fmla="*/ 2135740 h 5973007"/>
              <a:gd name="connsiteX37377" fmla="*/ 5188234 w 6884782"/>
              <a:gd name="connsiteY37377" fmla="*/ 2145841 h 5973007"/>
              <a:gd name="connsiteX37378" fmla="*/ 5172441 w 6884782"/>
              <a:gd name="connsiteY37378" fmla="*/ 2134318 h 5973007"/>
              <a:gd name="connsiteX37379" fmla="*/ 5173295 w 6884782"/>
              <a:gd name="connsiteY37379" fmla="*/ 2130761 h 5973007"/>
              <a:gd name="connsiteX37380" fmla="*/ 5171374 w 6884782"/>
              <a:gd name="connsiteY37380" fmla="*/ 2133179 h 5973007"/>
              <a:gd name="connsiteX37381" fmla="*/ 5148325 w 6884782"/>
              <a:gd name="connsiteY37381" fmla="*/ 2137021 h 5973007"/>
              <a:gd name="connsiteX37382" fmla="*/ 5169666 w 6884782"/>
              <a:gd name="connsiteY37382" fmla="*/ 2124928 h 5973007"/>
              <a:gd name="connsiteX37383" fmla="*/ 5523943 w 6884782"/>
              <a:gd name="connsiteY37383" fmla="*/ 2124217 h 5973007"/>
              <a:gd name="connsiteX37384" fmla="*/ 5526504 w 6884782"/>
              <a:gd name="connsiteY37384" fmla="*/ 2125639 h 5973007"/>
              <a:gd name="connsiteX37385" fmla="*/ 5525011 w 6884782"/>
              <a:gd name="connsiteY37385" fmla="*/ 2126635 h 5973007"/>
              <a:gd name="connsiteX37386" fmla="*/ 5523943 w 6884782"/>
              <a:gd name="connsiteY37386" fmla="*/ 2124217 h 5973007"/>
              <a:gd name="connsiteX37387" fmla="*/ 5517968 w 6884782"/>
              <a:gd name="connsiteY37387" fmla="*/ 2123363 h 5973007"/>
              <a:gd name="connsiteX37388" fmla="*/ 5520529 w 6884782"/>
              <a:gd name="connsiteY37388" fmla="*/ 2124785 h 5973007"/>
              <a:gd name="connsiteX37389" fmla="*/ 5517968 w 6884782"/>
              <a:gd name="connsiteY37389" fmla="*/ 2124358 h 5973007"/>
              <a:gd name="connsiteX37390" fmla="*/ 5517968 w 6884782"/>
              <a:gd name="connsiteY37390" fmla="*/ 2123363 h 5973007"/>
              <a:gd name="connsiteX37391" fmla="*/ 822268 w 6884782"/>
              <a:gd name="connsiteY37391" fmla="*/ 2123050 h 5973007"/>
              <a:gd name="connsiteX37392" fmla="*/ 827702 w 6884782"/>
              <a:gd name="connsiteY37392" fmla="*/ 2127213 h 5973007"/>
              <a:gd name="connsiteX37393" fmla="*/ 820164 w 6884782"/>
              <a:gd name="connsiteY37393" fmla="*/ 2128762 h 5973007"/>
              <a:gd name="connsiteX37394" fmla="*/ 822268 w 6884782"/>
              <a:gd name="connsiteY37394" fmla="*/ 2123050 h 5973007"/>
              <a:gd name="connsiteX37395" fmla="*/ 4834598 w 6884782"/>
              <a:gd name="connsiteY37395" fmla="*/ 2122936 h 5973007"/>
              <a:gd name="connsiteX37396" fmla="*/ 4834811 w 6884782"/>
              <a:gd name="connsiteY37396" fmla="*/ 2125639 h 5973007"/>
              <a:gd name="connsiteX37397" fmla="*/ 4833744 w 6884782"/>
              <a:gd name="connsiteY37397" fmla="*/ 2125497 h 5973007"/>
              <a:gd name="connsiteX37398" fmla="*/ 4834598 w 6884782"/>
              <a:gd name="connsiteY37398" fmla="*/ 2122936 h 5973007"/>
              <a:gd name="connsiteX37399" fmla="*/ 1070044 w 6884782"/>
              <a:gd name="connsiteY37399" fmla="*/ 2122876 h 5973007"/>
              <a:gd name="connsiteX37400" fmla="*/ 1075827 w 6884782"/>
              <a:gd name="connsiteY37400" fmla="*/ 2132634 h 5973007"/>
              <a:gd name="connsiteX37401" fmla="*/ 1075207 w 6884782"/>
              <a:gd name="connsiteY37401" fmla="*/ 2134029 h 5973007"/>
              <a:gd name="connsiteX37402" fmla="*/ 1077789 w 6884782"/>
              <a:gd name="connsiteY37402" fmla="*/ 2136817 h 5973007"/>
              <a:gd name="connsiteX37403" fmla="*/ 1077375 w 6884782"/>
              <a:gd name="connsiteY37403" fmla="*/ 2139605 h 5973007"/>
              <a:gd name="connsiteX37404" fmla="*/ 1075827 w 6884782"/>
              <a:gd name="connsiteY37404" fmla="*/ 2141154 h 5973007"/>
              <a:gd name="connsiteX37405" fmla="*/ 1079028 w 6884782"/>
              <a:gd name="connsiteY37405" fmla="*/ 2142858 h 5973007"/>
              <a:gd name="connsiteX37406" fmla="*/ 1083777 w 6884782"/>
              <a:gd name="connsiteY37406" fmla="*/ 2147350 h 5973007"/>
              <a:gd name="connsiteX37407" fmla="*/ 1080990 w 6884782"/>
              <a:gd name="connsiteY37407" fmla="*/ 2147195 h 5973007"/>
              <a:gd name="connsiteX37408" fmla="*/ 1079854 w 6884782"/>
              <a:gd name="connsiteY37408" fmla="*/ 2146730 h 5973007"/>
              <a:gd name="connsiteX37409" fmla="*/ 1078925 w 6884782"/>
              <a:gd name="connsiteY37409" fmla="*/ 2146885 h 5973007"/>
              <a:gd name="connsiteX37410" fmla="*/ 1078615 w 6884782"/>
              <a:gd name="connsiteY37410" fmla="*/ 2146111 h 5973007"/>
              <a:gd name="connsiteX37411" fmla="*/ 1076343 w 6884782"/>
              <a:gd name="connsiteY37411" fmla="*/ 2145026 h 5973007"/>
              <a:gd name="connsiteX37412" fmla="*/ 1070561 w 6884782"/>
              <a:gd name="connsiteY37412" fmla="*/ 2144252 h 5973007"/>
              <a:gd name="connsiteX37413" fmla="*/ 1070148 w 6884782"/>
              <a:gd name="connsiteY37413" fmla="*/ 2143942 h 5973007"/>
              <a:gd name="connsiteX37414" fmla="*/ 1067566 w 6884782"/>
              <a:gd name="connsiteY37414" fmla="*/ 2145646 h 5973007"/>
              <a:gd name="connsiteX37415" fmla="*/ 1052904 w 6884782"/>
              <a:gd name="connsiteY37415" fmla="*/ 2137901 h 5973007"/>
              <a:gd name="connsiteX37416" fmla="*/ 1056931 w 6884782"/>
              <a:gd name="connsiteY37416" fmla="*/ 2133874 h 5973007"/>
              <a:gd name="connsiteX37417" fmla="*/ 1059822 w 6884782"/>
              <a:gd name="connsiteY37417" fmla="*/ 2133099 h 5973007"/>
              <a:gd name="connsiteX37418" fmla="*/ 1060545 w 6884782"/>
              <a:gd name="connsiteY37418" fmla="*/ 2126594 h 5973007"/>
              <a:gd name="connsiteX37419" fmla="*/ 1063642 w 6884782"/>
              <a:gd name="connsiteY37419" fmla="*/ 2123031 h 5973007"/>
              <a:gd name="connsiteX37420" fmla="*/ 1070044 w 6884782"/>
              <a:gd name="connsiteY37420" fmla="*/ 2122876 h 5973007"/>
              <a:gd name="connsiteX37421" fmla="*/ 889862 w 6884782"/>
              <a:gd name="connsiteY37421" fmla="*/ 2122721 h 5973007"/>
              <a:gd name="connsiteX37422" fmla="*/ 897193 w 6884782"/>
              <a:gd name="connsiteY37422" fmla="*/ 2125819 h 5973007"/>
              <a:gd name="connsiteX37423" fmla="*/ 888004 w 6884782"/>
              <a:gd name="connsiteY37423" fmla="*/ 2124115 h 5973007"/>
              <a:gd name="connsiteX37424" fmla="*/ 889862 w 6884782"/>
              <a:gd name="connsiteY37424" fmla="*/ 2122721 h 5973007"/>
              <a:gd name="connsiteX37425" fmla="*/ 4912923 w 6884782"/>
              <a:gd name="connsiteY37425" fmla="*/ 2122367 h 5973007"/>
              <a:gd name="connsiteX37426" fmla="*/ 4915697 w 6884782"/>
              <a:gd name="connsiteY37426" fmla="*/ 2127915 h 5973007"/>
              <a:gd name="connsiteX37427" fmla="*/ 4916978 w 6884782"/>
              <a:gd name="connsiteY37427" fmla="*/ 2132468 h 5973007"/>
              <a:gd name="connsiteX37428" fmla="*/ 4909935 w 6884782"/>
              <a:gd name="connsiteY37428" fmla="*/ 2139154 h 5973007"/>
              <a:gd name="connsiteX37429" fmla="*/ 4909508 w 6884782"/>
              <a:gd name="connsiteY37429" fmla="*/ 2139013 h 5973007"/>
              <a:gd name="connsiteX37430" fmla="*/ 4909508 w 6884782"/>
              <a:gd name="connsiteY37430" fmla="*/ 2139297 h 5973007"/>
              <a:gd name="connsiteX37431" fmla="*/ 4908014 w 6884782"/>
              <a:gd name="connsiteY37431" fmla="*/ 2141146 h 5973007"/>
              <a:gd name="connsiteX37432" fmla="*/ 4910361 w 6884782"/>
              <a:gd name="connsiteY37432" fmla="*/ 2142000 h 5973007"/>
              <a:gd name="connsiteX37433" fmla="*/ 4915270 w 6884782"/>
              <a:gd name="connsiteY37433" fmla="*/ 2153666 h 5973007"/>
              <a:gd name="connsiteX37434" fmla="*/ 4915270 w 6884782"/>
              <a:gd name="connsiteY37434" fmla="*/ 2152528 h 5973007"/>
              <a:gd name="connsiteX37435" fmla="*/ 4932130 w 6884782"/>
              <a:gd name="connsiteY37435" fmla="*/ 2143138 h 5973007"/>
              <a:gd name="connsiteX37436" fmla="*/ 4930850 w 6884782"/>
              <a:gd name="connsiteY37436" fmla="*/ 2146552 h 5973007"/>
              <a:gd name="connsiteX37437" fmla="*/ 4929569 w 6884782"/>
              <a:gd name="connsiteY37437" fmla="*/ 2147549 h 5973007"/>
              <a:gd name="connsiteX37438" fmla="*/ 4929569 w 6884782"/>
              <a:gd name="connsiteY37438" fmla="*/ 2148687 h 5973007"/>
              <a:gd name="connsiteX37439" fmla="*/ 4928289 w 6884782"/>
              <a:gd name="connsiteY37439" fmla="*/ 2148544 h 5973007"/>
              <a:gd name="connsiteX37440" fmla="*/ 4925941 w 6884782"/>
              <a:gd name="connsiteY37440" fmla="*/ 2150536 h 5973007"/>
              <a:gd name="connsiteX37441" fmla="*/ 4922099 w 6884782"/>
              <a:gd name="connsiteY37441" fmla="*/ 2157223 h 5973007"/>
              <a:gd name="connsiteX37442" fmla="*/ 4914843 w 6884782"/>
              <a:gd name="connsiteY37442" fmla="*/ 2160779 h 5973007"/>
              <a:gd name="connsiteX37443" fmla="*/ 4912709 w 6884782"/>
              <a:gd name="connsiteY37443" fmla="*/ 2158076 h 5973007"/>
              <a:gd name="connsiteX37444" fmla="*/ 4910148 w 6884782"/>
              <a:gd name="connsiteY37444" fmla="*/ 2160068 h 5973007"/>
              <a:gd name="connsiteX37445" fmla="*/ 4907160 w 6884782"/>
              <a:gd name="connsiteY37445" fmla="*/ 2162487 h 5973007"/>
              <a:gd name="connsiteX37446" fmla="*/ 4907160 w 6884782"/>
              <a:gd name="connsiteY37446" fmla="*/ 2165332 h 5973007"/>
              <a:gd name="connsiteX37447" fmla="*/ 4905240 w 6884782"/>
              <a:gd name="connsiteY37447" fmla="*/ 2169315 h 5973007"/>
              <a:gd name="connsiteX37448" fmla="*/ 4898197 w 6884782"/>
              <a:gd name="connsiteY37448" fmla="*/ 2164336 h 5973007"/>
              <a:gd name="connsiteX37449" fmla="*/ 4901398 w 6884782"/>
              <a:gd name="connsiteY37449" fmla="*/ 2161064 h 5973007"/>
              <a:gd name="connsiteX37450" fmla="*/ 4895422 w 6884782"/>
              <a:gd name="connsiteY37450" fmla="*/ 2156511 h 5973007"/>
              <a:gd name="connsiteX37451" fmla="*/ 4892434 w 6884782"/>
              <a:gd name="connsiteY37451" fmla="*/ 2149825 h 5973007"/>
              <a:gd name="connsiteX37452" fmla="*/ 4895209 w 6884782"/>
              <a:gd name="connsiteY37452" fmla="*/ 2141858 h 5973007"/>
              <a:gd name="connsiteX37453" fmla="*/ 4899264 w 6884782"/>
              <a:gd name="connsiteY37453" fmla="*/ 2140435 h 5973007"/>
              <a:gd name="connsiteX37454" fmla="*/ 4897770 w 6884782"/>
              <a:gd name="connsiteY37454" fmla="*/ 2139154 h 5973007"/>
              <a:gd name="connsiteX37455" fmla="*/ 4894995 w 6884782"/>
              <a:gd name="connsiteY37455" fmla="*/ 2135882 h 5973007"/>
              <a:gd name="connsiteX37456" fmla="*/ 4898624 w 6884782"/>
              <a:gd name="connsiteY37456" fmla="*/ 2132610 h 5973007"/>
              <a:gd name="connsiteX37457" fmla="*/ 4901825 w 6884782"/>
              <a:gd name="connsiteY37457" fmla="*/ 2132468 h 5973007"/>
              <a:gd name="connsiteX37458" fmla="*/ 4901398 w 6884782"/>
              <a:gd name="connsiteY37458" fmla="*/ 2130761 h 5973007"/>
              <a:gd name="connsiteX37459" fmla="*/ 4912923 w 6884782"/>
              <a:gd name="connsiteY37459" fmla="*/ 2122367 h 5973007"/>
              <a:gd name="connsiteX37460" fmla="*/ 5708338 w 6884782"/>
              <a:gd name="connsiteY37460" fmla="*/ 2122082 h 5973007"/>
              <a:gd name="connsiteX37461" fmla="*/ 5725198 w 6884782"/>
              <a:gd name="connsiteY37461" fmla="*/ 2127773 h 5973007"/>
              <a:gd name="connsiteX37462" fmla="*/ 5692545 w 6884782"/>
              <a:gd name="connsiteY37462" fmla="*/ 2122651 h 5973007"/>
              <a:gd name="connsiteX37463" fmla="*/ 5708338 w 6884782"/>
              <a:gd name="connsiteY37463" fmla="*/ 2122082 h 5973007"/>
              <a:gd name="connsiteX37464" fmla="*/ 4548402 w 6884782"/>
              <a:gd name="connsiteY37464" fmla="*/ 2121940 h 5973007"/>
              <a:gd name="connsiteX37465" fmla="*/ 4549895 w 6884782"/>
              <a:gd name="connsiteY37465" fmla="*/ 2122509 h 5973007"/>
              <a:gd name="connsiteX37466" fmla="*/ 4549895 w 6884782"/>
              <a:gd name="connsiteY37466" fmla="*/ 2122082 h 5973007"/>
              <a:gd name="connsiteX37467" fmla="*/ 4551816 w 6884782"/>
              <a:gd name="connsiteY37467" fmla="*/ 2124217 h 5973007"/>
              <a:gd name="connsiteX37468" fmla="*/ 4552030 w 6884782"/>
              <a:gd name="connsiteY37468" fmla="*/ 2128057 h 5973007"/>
              <a:gd name="connsiteX37469" fmla="*/ 4549469 w 6884782"/>
              <a:gd name="connsiteY37469" fmla="*/ 2127915 h 5973007"/>
              <a:gd name="connsiteX37470" fmla="*/ 4548402 w 6884782"/>
              <a:gd name="connsiteY37470" fmla="*/ 2121940 h 5973007"/>
              <a:gd name="connsiteX37471" fmla="*/ 4538157 w 6884782"/>
              <a:gd name="connsiteY37471" fmla="*/ 2121940 h 5973007"/>
              <a:gd name="connsiteX37472" fmla="*/ 4539438 w 6884782"/>
              <a:gd name="connsiteY37472" fmla="*/ 2125212 h 5973007"/>
              <a:gd name="connsiteX37473" fmla="*/ 4537517 w 6884782"/>
              <a:gd name="connsiteY37473" fmla="*/ 2126065 h 5973007"/>
              <a:gd name="connsiteX37474" fmla="*/ 4537517 w 6884782"/>
              <a:gd name="connsiteY37474" fmla="*/ 2123505 h 5973007"/>
              <a:gd name="connsiteX37475" fmla="*/ 4538157 w 6884782"/>
              <a:gd name="connsiteY37475" fmla="*/ 2121940 h 5973007"/>
              <a:gd name="connsiteX37476" fmla="*/ 4550322 w 6884782"/>
              <a:gd name="connsiteY37476" fmla="*/ 2121228 h 5973007"/>
              <a:gd name="connsiteX37477" fmla="*/ 4549895 w 6884782"/>
              <a:gd name="connsiteY37477" fmla="*/ 2122082 h 5973007"/>
              <a:gd name="connsiteX37478" fmla="*/ 4549469 w 6884782"/>
              <a:gd name="connsiteY37478" fmla="*/ 2121371 h 5973007"/>
              <a:gd name="connsiteX37479" fmla="*/ 4550322 w 6884782"/>
              <a:gd name="connsiteY37479" fmla="*/ 2121228 h 5973007"/>
              <a:gd name="connsiteX37480" fmla="*/ 800856 w 6884782"/>
              <a:gd name="connsiteY37480" fmla="*/ 2121172 h 5973007"/>
              <a:gd name="connsiteX37481" fmla="*/ 802301 w 6884782"/>
              <a:gd name="connsiteY37481" fmla="*/ 2125044 h 5973007"/>
              <a:gd name="connsiteX37482" fmla="*/ 800546 w 6884782"/>
              <a:gd name="connsiteY37482" fmla="*/ 2127213 h 5973007"/>
              <a:gd name="connsiteX37483" fmla="*/ 798481 w 6884782"/>
              <a:gd name="connsiteY37483" fmla="*/ 2125664 h 5973007"/>
              <a:gd name="connsiteX37484" fmla="*/ 797758 w 6884782"/>
              <a:gd name="connsiteY37484" fmla="*/ 2123031 h 5973007"/>
              <a:gd name="connsiteX37485" fmla="*/ 798894 w 6884782"/>
              <a:gd name="connsiteY37485" fmla="*/ 2122101 h 5973007"/>
              <a:gd name="connsiteX37486" fmla="*/ 800856 w 6884782"/>
              <a:gd name="connsiteY37486" fmla="*/ 2121172 h 5973007"/>
              <a:gd name="connsiteX37487" fmla="*/ 4579134 w 6884782"/>
              <a:gd name="connsiteY37487" fmla="*/ 2120660 h 5973007"/>
              <a:gd name="connsiteX37488" fmla="*/ 4587244 w 6884782"/>
              <a:gd name="connsiteY37488" fmla="*/ 2122936 h 5973007"/>
              <a:gd name="connsiteX37489" fmla="*/ 4585963 w 6884782"/>
              <a:gd name="connsiteY37489" fmla="*/ 2131472 h 5973007"/>
              <a:gd name="connsiteX37490" fmla="*/ 4570811 w 6884782"/>
              <a:gd name="connsiteY37490" fmla="*/ 2122082 h 5973007"/>
              <a:gd name="connsiteX37491" fmla="*/ 4579134 w 6884782"/>
              <a:gd name="connsiteY37491" fmla="*/ 2120660 h 5973007"/>
              <a:gd name="connsiteX37492" fmla="*/ 4866611 w 6884782"/>
              <a:gd name="connsiteY37492" fmla="*/ 2120233 h 5973007"/>
              <a:gd name="connsiteX37493" fmla="*/ 4872159 w 6884782"/>
              <a:gd name="connsiteY37493" fmla="*/ 2127062 h 5973007"/>
              <a:gd name="connsiteX37494" fmla="*/ 4870025 w 6884782"/>
              <a:gd name="connsiteY37494" fmla="*/ 2129480 h 5973007"/>
              <a:gd name="connsiteX37495" fmla="*/ 4859141 w 6884782"/>
              <a:gd name="connsiteY37495" fmla="*/ 2123220 h 5973007"/>
              <a:gd name="connsiteX37496" fmla="*/ 4866611 w 6884782"/>
              <a:gd name="connsiteY37496" fmla="*/ 2120233 h 5973007"/>
              <a:gd name="connsiteX37497" fmla="*/ 5511565 w 6884782"/>
              <a:gd name="connsiteY37497" fmla="*/ 2119522 h 5973007"/>
              <a:gd name="connsiteX37498" fmla="*/ 5517114 w 6884782"/>
              <a:gd name="connsiteY37498" fmla="*/ 2124074 h 5973007"/>
              <a:gd name="connsiteX37499" fmla="*/ 5512632 w 6884782"/>
              <a:gd name="connsiteY37499" fmla="*/ 2123363 h 5973007"/>
              <a:gd name="connsiteX37500" fmla="*/ 5511565 w 6884782"/>
              <a:gd name="connsiteY37500" fmla="*/ 2119522 h 5973007"/>
              <a:gd name="connsiteX37501" fmla="*/ 4953686 w 6884782"/>
              <a:gd name="connsiteY37501" fmla="*/ 2119522 h 5973007"/>
              <a:gd name="connsiteX37502" fmla="*/ 4956247 w 6884782"/>
              <a:gd name="connsiteY37502" fmla="*/ 2119522 h 5973007"/>
              <a:gd name="connsiteX37503" fmla="*/ 4959021 w 6884782"/>
              <a:gd name="connsiteY37503" fmla="*/ 2120944 h 5973007"/>
              <a:gd name="connsiteX37504" fmla="*/ 4950271 w 6884782"/>
              <a:gd name="connsiteY37504" fmla="*/ 2134886 h 5973007"/>
              <a:gd name="connsiteX37505" fmla="*/ 4953686 w 6884782"/>
              <a:gd name="connsiteY37505" fmla="*/ 2119522 h 5973007"/>
              <a:gd name="connsiteX37506" fmla="*/ 4827768 w 6884782"/>
              <a:gd name="connsiteY37506" fmla="*/ 2119095 h 5973007"/>
              <a:gd name="connsiteX37507" fmla="*/ 4828835 w 6884782"/>
              <a:gd name="connsiteY37507" fmla="*/ 2120517 h 5973007"/>
              <a:gd name="connsiteX37508" fmla="*/ 4828408 w 6884782"/>
              <a:gd name="connsiteY37508" fmla="*/ 2122793 h 5973007"/>
              <a:gd name="connsiteX37509" fmla="*/ 4826915 w 6884782"/>
              <a:gd name="connsiteY37509" fmla="*/ 2127915 h 5973007"/>
              <a:gd name="connsiteX37510" fmla="*/ 4827768 w 6884782"/>
              <a:gd name="connsiteY37510" fmla="*/ 2119095 h 5973007"/>
              <a:gd name="connsiteX37511" fmla="*/ 5761053 w 6884782"/>
              <a:gd name="connsiteY37511" fmla="*/ 2118952 h 5973007"/>
              <a:gd name="connsiteX37512" fmla="*/ 5766815 w 6884782"/>
              <a:gd name="connsiteY37512" fmla="*/ 2122651 h 5973007"/>
              <a:gd name="connsiteX37513" fmla="*/ 5769803 w 6884782"/>
              <a:gd name="connsiteY37513" fmla="*/ 2132610 h 5973007"/>
              <a:gd name="connsiteX37514" fmla="*/ 5774284 w 6884782"/>
              <a:gd name="connsiteY37514" fmla="*/ 2129196 h 5973007"/>
              <a:gd name="connsiteX37515" fmla="*/ 5781541 w 6884782"/>
              <a:gd name="connsiteY37515" fmla="*/ 2139582 h 5973007"/>
              <a:gd name="connsiteX37516" fmla="*/ 5780687 w 6884782"/>
              <a:gd name="connsiteY37516" fmla="*/ 2152954 h 5973007"/>
              <a:gd name="connsiteX37517" fmla="*/ 5769376 w 6884782"/>
              <a:gd name="connsiteY37517" fmla="*/ 2154377 h 5973007"/>
              <a:gd name="connsiteX37518" fmla="*/ 5767242 w 6884782"/>
              <a:gd name="connsiteY37518" fmla="*/ 2134459 h 5973007"/>
              <a:gd name="connsiteX37519" fmla="*/ 5769163 w 6884782"/>
              <a:gd name="connsiteY37519" fmla="*/ 2133037 h 5973007"/>
              <a:gd name="connsiteX37520" fmla="*/ 5760199 w 6884782"/>
              <a:gd name="connsiteY37520" fmla="*/ 2131187 h 5973007"/>
              <a:gd name="connsiteX37521" fmla="*/ 5734162 w 6884782"/>
              <a:gd name="connsiteY37521" fmla="*/ 2127631 h 5973007"/>
              <a:gd name="connsiteX37522" fmla="*/ 5761053 w 6884782"/>
              <a:gd name="connsiteY37522" fmla="*/ 2118952 h 5973007"/>
              <a:gd name="connsiteX37523" fmla="*/ 5094116 w 6884782"/>
              <a:gd name="connsiteY37523" fmla="*/ 2118810 h 5973007"/>
              <a:gd name="connsiteX37524" fmla="*/ 5093262 w 6884782"/>
              <a:gd name="connsiteY37524" fmla="*/ 2119522 h 5973007"/>
              <a:gd name="connsiteX37525" fmla="*/ 5094329 w 6884782"/>
              <a:gd name="connsiteY37525" fmla="*/ 2120802 h 5973007"/>
              <a:gd name="connsiteX37526" fmla="*/ 5093689 w 6884782"/>
              <a:gd name="connsiteY37526" fmla="*/ 2119806 h 5973007"/>
              <a:gd name="connsiteX37527" fmla="*/ 5842152 w 6884782"/>
              <a:gd name="connsiteY37527" fmla="*/ 2118526 h 5973007"/>
              <a:gd name="connsiteX37528" fmla="*/ 5841725 w 6884782"/>
              <a:gd name="connsiteY37528" fmla="*/ 2119948 h 5973007"/>
              <a:gd name="connsiteX37529" fmla="*/ 5842152 w 6884782"/>
              <a:gd name="connsiteY37529" fmla="*/ 2119522 h 5973007"/>
              <a:gd name="connsiteX37530" fmla="*/ 6265151 w 6884782"/>
              <a:gd name="connsiteY37530" fmla="*/ 2117956 h 5973007"/>
              <a:gd name="connsiteX37531" fmla="*/ 6267071 w 6884782"/>
              <a:gd name="connsiteY37531" fmla="*/ 2119379 h 5973007"/>
              <a:gd name="connsiteX37532" fmla="*/ 6260028 w 6884782"/>
              <a:gd name="connsiteY37532" fmla="*/ 2126350 h 5973007"/>
              <a:gd name="connsiteX37533" fmla="*/ 6258108 w 6884782"/>
              <a:gd name="connsiteY37533" fmla="*/ 2125070 h 5973007"/>
              <a:gd name="connsiteX37534" fmla="*/ 6258961 w 6884782"/>
              <a:gd name="connsiteY37534" fmla="*/ 2121798 h 5973007"/>
              <a:gd name="connsiteX37535" fmla="*/ 6265151 w 6884782"/>
              <a:gd name="connsiteY37535" fmla="*/ 2117956 h 5973007"/>
              <a:gd name="connsiteX37536" fmla="*/ 835859 w 6884782"/>
              <a:gd name="connsiteY37536" fmla="*/ 2117764 h 5973007"/>
              <a:gd name="connsiteX37537" fmla="*/ 848353 w 6884782"/>
              <a:gd name="connsiteY37537" fmla="*/ 2127987 h 5973007"/>
              <a:gd name="connsiteX37538" fmla="*/ 835859 w 6884782"/>
              <a:gd name="connsiteY37538" fmla="*/ 2117764 h 5973007"/>
              <a:gd name="connsiteX37539" fmla="*/ 5326957 w 6884782"/>
              <a:gd name="connsiteY37539" fmla="*/ 2116961 h 5973007"/>
              <a:gd name="connsiteX37540" fmla="*/ 5329518 w 6884782"/>
              <a:gd name="connsiteY37540" fmla="*/ 2117672 h 5973007"/>
              <a:gd name="connsiteX37541" fmla="*/ 5333573 w 6884782"/>
              <a:gd name="connsiteY37541" fmla="*/ 2121940 h 5973007"/>
              <a:gd name="connsiteX37542" fmla="*/ 5334213 w 6884782"/>
              <a:gd name="connsiteY37542" fmla="*/ 2124643 h 5973007"/>
              <a:gd name="connsiteX37543" fmla="*/ 5324396 w 6884782"/>
              <a:gd name="connsiteY37543" fmla="*/ 2117814 h 5973007"/>
              <a:gd name="connsiteX37544" fmla="*/ 5326957 w 6884782"/>
              <a:gd name="connsiteY37544" fmla="*/ 2116961 h 5973007"/>
              <a:gd name="connsiteX37545" fmla="*/ 4896916 w 6884782"/>
              <a:gd name="connsiteY37545" fmla="*/ 2116534 h 5973007"/>
              <a:gd name="connsiteX37546" fmla="*/ 4897983 w 6884782"/>
              <a:gd name="connsiteY37546" fmla="*/ 2121371 h 5973007"/>
              <a:gd name="connsiteX37547" fmla="*/ 4894782 w 6884782"/>
              <a:gd name="connsiteY37547" fmla="*/ 2123363 h 5973007"/>
              <a:gd name="connsiteX37548" fmla="*/ 4893288 w 6884782"/>
              <a:gd name="connsiteY37548" fmla="*/ 2117387 h 5973007"/>
              <a:gd name="connsiteX37549" fmla="*/ 4896916 w 6884782"/>
              <a:gd name="connsiteY37549" fmla="*/ 2116534 h 5973007"/>
              <a:gd name="connsiteX37550" fmla="*/ 4881336 w 6884782"/>
              <a:gd name="connsiteY37550" fmla="*/ 2116534 h 5973007"/>
              <a:gd name="connsiteX37551" fmla="*/ 4886458 w 6884782"/>
              <a:gd name="connsiteY37551" fmla="*/ 2124785 h 5973007"/>
              <a:gd name="connsiteX37552" fmla="*/ 4881336 w 6884782"/>
              <a:gd name="connsiteY37552" fmla="*/ 2116534 h 5973007"/>
              <a:gd name="connsiteX37553" fmla="*/ 5789864 w 6884782"/>
              <a:gd name="connsiteY37553" fmla="*/ 2115965 h 5973007"/>
              <a:gd name="connsiteX37554" fmla="*/ 5784315 w 6884782"/>
              <a:gd name="connsiteY37554" fmla="*/ 2127631 h 5973007"/>
              <a:gd name="connsiteX37555" fmla="*/ 5789864 w 6884782"/>
              <a:gd name="connsiteY37555" fmla="*/ 2115965 h 5973007"/>
              <a:gd name="connsiteX37556" fmla="*/ 4588638 w 6884782"/>
              <a:gd name="connsiteY37556" fmla="*/ 2115391 h 5973007"/>
              <a:gd name="connsiteX37557" fmla="*/ 4587671 w 6884782"/>
              <a:gd name="connsiteY37557" fmla="*/ 2118099 h 5973007"/>
              <a:gd name="connsiteX37558" fmla="*/ 4585323 w 6884782"/>
              <a:gd name="connsiteY37558" fmla="*/ 2119948 h 5973007"/>
              <a:gd name="connsiteX37559" fmla="*/ 4588738 w 6884782"/>
              <a:gd name="connsiteY37559" fmla="*/ 2115254 h 5973007"/>
              <a:gd name="connsiteX37560" fmla="*/ 4588638 w 6884782"/>
              <a:gd name="connsiteY37560" fmla="*/ 2115391 h 5973007"/>
              <a:gd name="connsiteX37561" fmla="*/ 4588671 w 6884782"/>
              <a:gd name="connsiteY37561" fmla="*/ 2115298 h 5973007"/>
              <a:gd name="connsiteX37562" fmla="*/ 5107988 w 6884782"/>
              <a:gd name="connsiteY37562" fmla="*/ 2114827 h 5973007"/>
              <a:gd name="connsiteX37563" fmla="*/ 5112684 w 6884782"/>
              <a:gd name="connsiteY37563" fmla="*/ 2118383 h 5973007"/>
              <a:gd name="connsiteX37564" fmla="*/ 5113324 w 6884782"/>
              <a:gd name="connsiteY37564" fmla="*/ 2123790 h 5973007"/>
              <a:gd name="connsiteX37565" fmla="*/ 5111616 w 6884782"/>
              <a:gd name="connsiteY37565" fmla="*/ 2126635 h 5973007"/>
              <a:gd name="connsiteX37566" fmla="*/ 5112684 w 6884782"/>
              <a:gd name="connsiteY37566" fmla="*/ 2126493 h 5973007"/>
              <a:gd name="connsiteX37567" fmla="*/ 5114177 w 6884782"/>
              <a:gd name="connsiteY37567" fmla="*/ 2126635 h 5973007"/>
              <a:gd name="connsiteX37568" fmla="*/ 5114604 w 6884782"/>
              <a:gd name="connsiteY37568" fmla="*/ 2124501 h 5973007"/>
              <a:gd name="connsiteX37569" fmla="*/ 5118872 w 6884782"/>
              <a:gd name="connsiteY37569" fmla="*/ 2126635 h 5973007"/>
              <a:gd name="connsiteX37570" fmla="*/ 5118446 w 6884782"/>
              <a:gd name="connsiteY37570" fmla="*/ 2127062 h 5973007"/>
              <a:gd name="connsiteX37571" fmla="*/ 5121860 w 6884782"/>
              <a:gd name="connsiteY37571" fmla="*/ 2127488 h 5973007"/>
              <a:gd name="connsiteX37572" fmla="*/ 5132318 w 6884782"/>
              <a:gd name="connsiteY37572" fmla="*/ 2131899 h 5973007"/>
              <a:gd name="connsiteX37573" fmla="*/ 5133598 w 6884782"/>
              <a:gd name="connsiteY37573" fmla="*/ 2138016 h 5973007"/>
              <a:gd name="connsiteX37574" fmla="*/ 5133598 w 6884782"/>
              <a:gd name="connsiteY37574" fmla="*/ 2140577 h 5973007"/>
              <a:gd name="connsiteX37575" fmla="*/ 5134239 w 6884782"/>
              <a:gd name="connsiteY37575" fmla="*/ 2141715 h 5973007"/>
              <a:gd name="connsiteX37576" fmla="*/ 5132745 w 6884782"/>
              <a:gd name="connsiteY37576" fmla="*/ 2146268 h 5973007"/>
              <a:gd name="connsiteX37577" fmla="*/ 5131038 w 6884782"/>
              <a:gd name="connsiteY37577" fmla="*/ 2143992 h 5973007"/>
              <a:gd name="connsiteX37578" fmla="*/ 5130611 w 6884782"/>
              <a:gd name="connsiteY37578" fmla="*/ 2142854 h 5973007"/>
              <a:gd name="connsiteX37579" fmla="*/ 5126983 w 6884782"/>
              <a:gd name="connsiteY37579" fmla="*/ 2139866 h 5973007"/>
              <a:gd name="connsiteX37580" fmla="*/ 5125915 w 6884782"/>
              <a:gd name="connsiteY37580" fmla="*/ 2139439 h 5973007"/>
              <a:gd name="connsiteX37581" fmla="*/ 5125702 w 6884782"/>
              <a:gd name="connsiteY37581" fmla="*/ 2140008 h 5973007"/>
              <a:gd name="connsiteX37582" fmla="*/ 5119086 w 6884782"/>
              <a:gd name="connsiteY37582" fmla="*/ 2142712 h 5973007"/>
              <a:gd name="connsiteX37583" fmla="*/ 5117379 w 6884782"/>
              <a:gd name="connsiteY37583" fmla="*/ 2140862 h 5973007"/>
              <a:gd name="connsiteX37584" fmla="*/ 5119299 w 6884782"/>
              <a:gd name="connsiteY37584" fmla="*/ 2137447 h 5973007"/>
              <a:gd name="connsiteX37585" fmla="*/ 5118232 w 6884782"/>
              <a:gd name="connsiteY37585" fmla="*/ 2137163 h 5973007"/>
              <a:gd name="connsiteX37586" fmla="*/ 5095823 w 6884782"/>
              <a:gd name="connsiteY37586" fmla="*/ 2129053 h 5973007"/>
              <a:gd name="connsiteX37587" fmla="*/ 5103080 w 6884782"/>
              <a:gd name="connsiteY37587" fmla="*/ 2128057 h 5973007"/>
              <a:gd name="connsiteX37588" fmla="*/ 5102013 w 6884782"/>
              <a:gd name="connsiteY37588" fmla="*/ 2126493 h 5973007"/>
              <a:gd name="connsiteX37589" fmla="*/ 5102013 w 6884782"/>
              <a:gd name="connsiteY37589" fmla="*/ 2119806 h 5973007"/>
              <a:gd name="connsiteX37590" fmla="*/ 5105854 w 6884782"/>
              <a:gd name="connsiteY37590" fmla="*/ 2115822 h 5973007"/>
              <a:gd name="connsiteX37591" fmla="*/ 5107988 w 6884782"/>
              <a:gd name="connsiteY37591" fmla="*/ 2114827 h 5973007"/>
              <a:gd name="connsiteX37592" fmla="*/ 5152166 w 6884782"/>
              <a:gd name="connsiteY37592" fmla="*/ 2114399 h 5973007"/>
              <a:gd name="connsiteX37593" fmla="*/ 5140001 w 6884782"/>
              <a:gd name="connsiteY37593" fmla="*/ 2141573 h 5973007"/>
              <a:gd name="connsiteX37594" fmla="*/ 5152166 w 6884782"/>
              <a:gd name="connsiteY37594" fmla="*/ 2114399 h 5973007"/>
              <a:gd name="connsiteX37595" fmla="*/ 4668984 w 6884782"/>
              <a:gd name="connsiteY37595" fmla="*/ 2113262 h 5973007"/>
              <a:gd name="connsiteX37596" fmla="*/ 4672185 w 6884782"/>
              <a:gd name="connsiteY37596" fmla="*/ 2117529 h 5973007"/>
              <a:gd name="connsiteX37597" fmla="*/ 4661941 w 6884782"/>
              <a:gd name="connsiteY37597" fmla="*/ 2132041 h 5973007"/>
              <a:gd name="connsiteX37598" fmla="*/ 4668984 w 6884782"/>
              <a:gd name="connsiteY37598" fmla="*/ 2113262 h 5973007"/>
              <a:gd name="connsiteX37599" fmla="*/ 1027710 w 6884782"/>
              <a:gd name="connsiteY37599" fmla="*/ 2113118 h 5973007"/>
              <a:gd name="connsiteX37600" fmla="*/ 1032769 w 6884782"/>
              <a:gd name="connsiteY37600" fmla="*/ 2114357 h 5973007"/>
              <a:gd name="connsiteX37601" fmla="*/ 1028019 w 6884782"/>
              <a:gd name="connsiteY37601" fmla="*/ 2118539 h 5973007"/>
              <a:gd name="connsiteX37602" fmla="*/ 1026161 w 6884782"/>
              <a:gd name="connsiteY37602" fmla="*/ 2115596 h 5973007"/>
              <a:gd name="connsiteX37603" fmla="*/ 1027710 w 6884782"/>
              <a:gd name="connsiteY37603" fmla="*/ 2113118 h 5973007"/>
              <a:gd name="connsiteX37604" fmla="*/ 5177350 w 6884782"/>
              <a:gd name="connsiteY37604" fmla="*/ 2112977 h 5973007"/>
              <a:gd name="connsiteX37605" fmla="*/ 5166252 w 6884782"/>
              <a:gd name="connsiteY37605" fmla="*/ 2125212 h 5973007"/>
              <a:gd name="connsiteX37606" fmla="*/ 5162197 w 6884782"/>
              <a:gd name="connsiteY37606" fmla="*/ 2121940 h 5973007"/>
              <a:gd name="connsiteX37607" fmla="*/ 5164331 w 6884782"/>
              <a:gd name="connsiteY37607" fmla="*/ 2117814 h 5973007"/>
              <a:gd name="connsiteX37608" fmla="*/ 5167106 w 6884782"/>
              <a:gd name="connsiteY37608" fmla="*/ 2116249 h 5973007"/>
              <a:gd name="connsiteX37609" fmla="*/ 5167746 w 6884782"/>
              <a:gd name="connsiteY37609" fmla="*/ 2115822 h 5973007"/>
              <a:gd name="connsiteX37610" fmla="*/ 5177350 w 6884782"/>
              <a:gd name="connsiteY37610" fmla="*/ 2112977 h 5973007"/>
              <a:gd name="connsiteX37611" fmla="*/ 5843860 w 6884782"/>
              <a:gd name="connsiteY37611" fmla="*/ 2112408 h 5973007"/>
              <a:gd name="connsiteX37612" fmla="*/ 5845994 w 6884782"/>
              <a:gd name="connsiteY37612" fmla="*/ 2114115 h 5973007"/>
              <a:gd name="connsiteX37613" fmla="*/ 5845994 w 6884782"/>
              <a:gd name="connsiteY37613" fmla="*/ 2115965 h 5973007"/>
              <a:gd name="connsiteX37614" fmla="*/ 5850049 w 6884782"/>
              <a:gd name="connsiteY37614" fmla="*/ 2113689 h 5973007"/>
              <a:gd name="connsiteX37615" fmla="*/ 5860720 w 6884782"/>
              <a:gd name="connsiteY37615" fmla="*/ 2121940 h 5973007"/>
              <a:gd name="connsiteX37616" fmla="*/ 5855171 w 6884782"/>
              <a:gd name="connsiteY37616" fmla="*/ 2134744 h 5973007"/>
              <a:gd name="connsiteX37617" fmla="*/ 5855384 w 6884782"/>
              <a:gd name="connsiteY37617" fmla="*/ 2135740 h 5973007"/>
              <a:gd name="connsiteX37618" fmla="*/ 5856451 w 6884782"/>
              <a:gd name="connsiteY37618" fmla="*/ 2134744 h 5973007"/>
              <a:gd name="connsiteX37619" fmla="*/ 5857519 w 6884782"/>
              <a:gd name="connsiteY37619" fmla="*/ 2133749 h 5973007"/>
              <a:gd name="connsiteX37620" fmla="*/ 5860079 w 6884782"/>
              <a:gd name="connsiteY37620" fmla="*/ 2133464 h 5973007"/>
              <a:gd name="connsiteX37621" fmla="*/ 5867336 w 6884782"/>
              <a:gd name="connsiteY37621" fmla="*/ 2137021 h 5973007"/>
              <a:gd name="connsiteX37622" fmla="*/ 5850903 w 6884782"/>
              <a:gd name="connsiteY37622" fmla="*/ 2145557 h 5973007"/>
              <a:gd name="connsiteX37623" fmla="*/ 5847061 w 6884782"/>
              <a:gd name="connsiteY37623" fmla="*/ 2145983 h 5973007"/>
              <a:gd name="connsiteX37624" fmla="*/ 5845567 w 6884782"/>
              <a:gd name="connsiteY37624" fmla="*/ 2149540 h 5973007"/>
              <a:gd name="connsiteX37625" fmla="*/ 5840232 w 6884782"/>
              <a:gd name="connsiteY37625" fmla="*/ 2146837 h 5973007"/>
              <a:gd name="connsiteX37626" fmla="*/ 5841085 w 6884782"/>
              <a:gd name="connsiteY37626" fmla="*/ 2143850 h 5973007"/>
              <a:gd name="connsiteX37627" fmla="*/ 5838737 w 6884782"/>
              <a:gd name="connsiteY37627" fmla="*/ 2144134 h 5973007"/>
              <a:gd name="connsiteX37628" fmla="*/ 5840658 w 6884782"/>
              <a:gd name="connsiteY37628" fmla="*/ 2137447 h 5973007"/>
              <a:gd name="connsiteX37629" fmla="*/ 5840658 w 6884782"/>
              <a:gd name="connsiteY37629" fmla="*/ 2134886 h 5973007"/>
              <a:gd name="connsiteX37630" fmla="*/ 5842793 w 6884782"/>
              <a:gd name="connsiteY37630" fmla="*/ 2136167 h 5973007"/>
              <a:gd name="connsiteX37631" fmla="*/ 5840658 w 6884782"/>
              <a:gd name="connsiteY37631" fmla="*/ 2140151 h 5973007"/>
              <a:gd name="connsiteX37632" fmla="*/ 5842793 w 6884782"/>
              <a:gd name="connsiteY37632" fmla="*/ 2141573 h 5973007"/>
              <a:gd name="connsiteX37633" fmla="*/ 5842365 w 6884782"/>
              <a:gd name="connsiteY37633" fmla="*/ 2143280 h 5973007"/>
              <a:gd name="connsiteX37634" fmla="*/ 5842152 w 6884782"/>
              <a:gd name="connsiteY37634" fmla="*/ 2143565 h 5973007"/>
              <a:gd name="connsiteX37635" fmla="*/ 5842365 w 6884782"/>
              <a:gd name="connsiteY37635" fmla="*/ 2143707 h 5973007"/>
              <a:gd name="connsiteX37636" fmla="*/ 5842365 w 6884782"/>
              <a:gd name="connsiteY37636" fmla="*/ 2143280 h 5973007"/>
              <a:gd name="connsiteX37637" fmla="*/ 5852823 w 6884782"/>
              <a:gd name="connsiteY37637" fmla="*/ 2137589 h 5973007"/>
              <a:gd name="connsiteX37638" fmla="*/ 5852823 w 6884782"/>
              <a:gd name="connsiteY37638" fmla="*/ 2136167 h 5973007"/>
              <a:gd name="connsiteX37639" fmla="*/ 5851969 w 6884782"/>
              <a:gd name="connsiteY37639" fmla="*/ 2135598 h 5973007"/>
              <a:gd name="connsiteX37640" fmla="*/ 5848768 w 6884782"/>
              <a:gd name="connsiteY37640" fmla="*/ 2136451 h 5973007"/>
              <a:gd name="connsiteX37641" fmla="*/ 5839378 w 6884782"/>
              <a:gd name="connsiteY37641" fmla="*/ 2130476 h 5973007"/>
              <a:gd name="connsiteX37642" fmla="*/ 5840232 w 6884782"/>
              <a:gd name="connsiteY37642" fmla="*/ 2126920 h 5973007"/>
              <a:gd name="connsiteX37643" fmla="*/ 5840872 w 6884782"/>
              <a:gd name="connsiteY37643" fmla="*/ 2123363 h 5973007"/>
              <a:gd name="connsiteX37644" fmla="*/ 5840445 w 6884782"/>
              <a:gd name="connsiteY37644" fmla="*/ 2124928 h 5973007"/>
              <a:gd name="connsiteX37645" fmla="*/ 5835323 w 6884782"/>
              <a:gd name="connsiteY37645" fmla="*/ 2127062 h 5973007"/>
              <a:gd name="connsiteX37646" fmla="*/ 5837457 w 6884782"/>
              <a:gd name="connsiteY37646" fmla="*/ 2117956 h 5973007"/>
              <a:gd name="connsiteX37647" fmla="*/ 5842152 w 6884782"/>
              <a:gd name="connsiteY37647" fmla="*/ 2118241 h 5973007"/>
              <a:gd name="connsiteX37648" fmla="*/ 5842365 w 6884782"/>
              <a:gd name="connsiteY37648" fmla="*/ 2118099 h 5973007"/>
              <a:gd name="connsiteX37649" fmla="*/ 5842793 w 6884782"/>
              <a:gd name="connsiteY37649" fmla="*/ 2112977 h 5973007"/>
              <a:gd name="connsiteX37650" fmla="*/ 5843860 w 6884782"/>
              <a:gd name="connsiteY37650" fmla="*/ 2112408 h 5973007"/>
              <a:gd name="connsiteX37651" fmla="*/ 5573030 w 6884782"/>
              <a:gd name="connsiteY37651" fmla="*/ 2112408 h 5973007"/>
              <a:gd name="connsiteX37652" fmla="*/ 5576231 w 6884782"/>
              <a:gd name="connsiteY37652" fmla="*/ 2112551 h 5973007"/>
              <a:gd name="connsiteX37653" fmla="*/ 5567268 w 6884782"/>
              <a:gd name="connsiteY37653" fmla="*/ 2123932 h 5973007"/>
              <a:gd name="connsiteX37654" fmla="*/ 5562999 w 6884782"/>
              <a:gd name="connsiteY37654" fmla="*/ 2118241 h 5973007"/>
              <a:gd name="connsiteX37655" fmla="*/ 5573030 w 6884782"/>
              <a:gd name="connsiteY37655" fmla="*/ 2112408 h 5973007"/>
              <a:gd name="connsiteX37656" fmla="*/ 5434307 w 6884782"/>
              <a:gd name="connsiteY37656" fmla="*/ 2111697 h 5973007"/>
              <a:gd name="connsiteX37657" fmla="*/ 5435801 w 6884782"/>
              <a:gd name="connsiteY37657" fmla="*/ 2112977 h 5973007"/>
              <a:gd name="connsiteX37658" fmla="*/ 5432173 w 6884782"/>
              <a:gd name="connsiteY37658" fmla="*/ 2114827 h 5973007"/>
              <a:gd name="connsiteX37659" fmla="*/ 5431533 w 6884782"/>
              <a:gd name="connsiteY37659" fmla="*/ 2113262 h 5973007"/>
              <a:gd name="connsiteX37660" fmla="*/ 5431106 w 6884782"/>
              <a:gd name="connsiteY37660" fmla="*/ 2114257 h 5973007"/>
              <a:gd name="connsiteX37661" fmla="*/ 5431319 w 6884782"/>
              <a:gd name="connsiteY37661" fmla="*/ 2112692 h 5973007"/>
              <a:gd name="connsiteX37662" fmla="*/ 5432173 w 6884782"/>
              <a:gd name="connsiteY37662" fmla="*/ 2112266 h 5973007"/>
              <a:gd name="connsiteX37663" fmla="*/ 5434307 w 6884782"/>
              <a:gd name="connsiteY37663" fmla="*/ 2111697 h 5973007"/>
              <a:gd name="connsiteX37664" fmla="*/ 849179 w 6884782"/>
              <a:gd name="connsiteY37664" fmla="*/ 2111259 h 5973007"/>
              <a:gd name="connsiteX37665" fmla="*/ 852071 w 6884782"/>
              <a:gd name="connsiteY37665" fmla="*/ 2114047 h 5973007"/>
              <a:gd name="connsiteX37666" fmla="*/ 845462 w 6884782"/>
              <a:gd name="connsiteY37666" fmla="*/ 2118539 h 5973007"/>
              <a:gd name="connsiteX37667" fmla="*/ 843397 w 6884782"/>
              <a:gd name="connsiteY37667" fmla="*/ 2116990 h 5973007"/>
              <a:gd name="connsiteX37668" fmla="*/ 846288 w 6884782"/>
              <a:gd name="connsiteY37668" fmla="*/ 2111414 h 5973007"/>
              <a:gd name="connsiteX37669" fmla="*/ 849179 w 6884782"/>
              <a:gd name="connsiteY37669" fmla="*/ 2111259 h 5973007"/>
              <a:gd name="connsiteX37670" fmla="*/ 981244 w 6884782"/>
              <a:gd name="connsiteY37670" fmla="*/ 2110949 h 5973007"/>
              <a:gd name="connsiteX37671" fmla="*/ 984342 w 6884782"/>
              <a:gd name="connsiteY37671" fmla="*/ 2116061 h 5973007"/>
              <a:gd name="connsiteX37672" fmla="*/ 981657 w 6884782"/>
              <a:gd name="connsiteY37672" fmla="*/ 2116216 h 5973007"/>
              <a:gd name="connsiteX37673" fmla="*/ 981244 w 6884782"/>
              <a:gd name="connsiteY37673" fmla="*/ 2113737 h 5973007"/>
              <a:gd name="connsiteX37674" fmla="*/ 981244 w 6884782"/>
              <a:gd name="connsiteY37674" fmla="*/ 2110949 h 5973007"/>
              <a:gd name="connsiteX37675" fmla="*/ 5300066 w 6884782"/>
              <a:gd name="connsiteY37675" fmla="*/ 2110559 h 5973007"/>
              <a:gd name="connsiteX37676" fmla="*/ 5308816 w 6884782"/>
              <a:gd name="connsiteY37676" fmla="*/ 2126208 h 5973007"/>
              <a:gd name="connsiteX37677" fmla="*/ 5302841 w 6884782"/>
              <a:gd name="connsiteY37677" fmla="*/ 2128769 h 5973007"/>
              <a:gd name="connsiteX37678" fmla="*/ 5300066 w 6884782"/>
              <a:gd name="connsiteY37678" fmla="*/ 2110559 h 5973007"/>
              <a:gd name="connsiteX37679" fmla="*/ 5687209 w 6884782"/>
              <a:gd name="connsiteY37679" fmla="*/ 2110274 h 5973007"/>
              <a:gd name="connsiteX37680" fmla="*/ 5688917 w 6884782"/>
              <a:gd name="connsiteY37680" fmla="*/ 2118526 h 5973007"/>
              <a:gd name="connsiteX37681" fmla="*/ 5685716 w 6884782"/>
              <a:gd name="connsiteY37681" fmla="*/ 2128912 h 5973007"/>
              <a:gd name="connsiteX37682" fmla="*/ 5684435 w 6884782"/>
              <a:gd name="connsiteY37682" fmla="*/ 2127773 h 5973007"/>
              <a:gd name="connsiteX37683" fmla="*/ 5687209 w 6884782"/>
              <a:gd name="connsiteY37683" fmla="*/ 2110274 h 5973007"/>
              <a:gd name="connsiteX37684" fmla="*/ 4684350 w 6884782"/>
              <a:gd name="connsiteY37684" fmla="*/ 2110132 h 5973007"/>
              <a:gd name="connsiteX37685" fmla="*/ 4695234 w 6884782"/>
              <a:gd name="connsiteY37685" fmla="*/ 2122367 h 5973007"/>
              <a:gd name="connsiteX37686" fmla="*/ 4690539 w 6884782"/>
              <a:gd name="connsiteY37686" fmla="*/ 2125782 h 5973007"/>
              <a:gd name="connsiteX37687" fmla="*/ 4680935 w 6884782"/>
              <a:gd name="connsiteY37687" fmla="*/ 2122367 h 5973007"/>
              <a:gd name="connsiteX37688" fmla="*/ 4684350 w 6884782"/>
              <a:gd name="connsiteY37688" fmla="*/ 2110132 h 5973007"/>
              <a:gd name="connsiteX37689" fmla="*/ 5940539 w 6884782"/>
              <a:gd name="connsiteY37689" fmla="*/ 2109278 h 5973007"/>
              <a:gd name="connsiteX37690" fmla="*/ 5940112 w 6884782"/>
              <a:gd name="connsiteY37690" fmla="*/ 2109420 h 5973007"/>
              <a:gd name="connsiteX37691" fmla="*/ 5940539 w 6884782"/>
              <a:gd name="connsiteY37691" fmla="*/ 2109989 h 5973007"/>
              <a:gd name="connsiteX37692" fmla="*/ 5940966 w 6884782"/>
              <a:gd name="connsiteY37692" fmla="*/ 2110559 h 5973007"/>
              <a:gd name="connsiteX37693" fmla="*/ 5692972 w 6884782"/>
              <a:gd name="connsiteY37693" fmla="*/ 2109136 h 5973007"/>
              <a:gd name="connsiteX37694" fmla="*/ 5695533 w 6884782"/>
              <a:gd name="connsiteY37694" fmla="*/ 2112835 h 5973007"/>
              <a:gd name="connsiteX37695" fmla="*/ 5697667 w 6884782"/>
              <a:gd name="connsiteY37695" fmla="*/ 2111697 h 5973007"/>
              <a:gd name="connsiteX37696" fmla="*/ 5698947 w 6884782"/>
              <a:gd name="connsiteY37696" fmla="*/ 2112977 h 5973007"/>
              <a:gd name="connsiteX37697" fmla="*/ 5698094 w 6884782"/>
              <a:gd name="connsiteY37697" fmla="*/ 2116534 h 5973007"/>
              <a:gd name="connsiteX37698" fmla="*/ 5693185 w 6884782"/>
              <a:gd name="connsiteY37698" fmla="*/ 2111554 h 5973007"/>
              <a:gd name="connsiteX37699" fmla="*/ 5690838 w 6884782"/>
              <a:gd name="connsiteY37699" fmla="*/ 2110274 h 5973007"/>
              <a:gd name="connsiteX37700" fmla="*/ 5692972 w 6884782"/>
              <a:gd name="connsiteY37700" fmla="*/ 2109136 h 5973007"/>
              <a:gd name="connsiteX37701" fmla="*/ 5209576 w 6884782"/>
              <a:gd name="connsiteY37701" fmla="*/ 2107144 h 5973007"/>
              <a:gd name="connsiteX37702" fmla="*/ 5211923 w 6884782"/>
              <a:gd name="connsiteY37702" fmla="*/ 2111554 h 5973007"/>
              <a:gd name="connsiteX37703" fmla="*/ 5211497 w 6884782"/>
              <a:gd name="connsiteY37703" fmla="*/ 2115538 h 5973007"/>
              <a:gd name="connsiteX37704" fmla="*/ 5212137 w 6884782"/>
              <a:gd name="connsiteY37704" fmla="*/ 2115538 h 5973007"/>
              <a:gd name="connsiteX37705" fmla="*/ 5211923 w 6884782"/>
              <a:gd name="connsiteY37705" fmla="*/ 2110416 h 5973007"/>
              <a:gd name="connsiteX37706" fmla="*/ 5213204 w 6884782"/>
              <a:gd name="connsiteY37706" fmla="*/ 2111839 h 5973007"/>
              <a:gd name="connsiteX37707" fmla="*/ 5212991 w 6884782"/>
              <a:gd name="connsiteY37707" fmla="*/ 2114257 h 5973007"/>
              <a:gd name="connsiteX37708" fmla="*/ 5212778 w 6884782"/>
              <a:gd name="connsiteY37708" fmla="*/ 2115538 h 5973007"/>
              <a:gd name="connsiteX37709" fmla="*/ 5215552 w 6884782"/>
              <a:gd name="connsiteY37709" fmla="*/ 2115396 h 5973007"/>
              <a:gd name="connsiteX37710" fmla="*/ 5220247 w 6884782"/>
              <a:gd name="connsiteY37710" fmla="*/ 2126635 h 5973007"/>
              <a:gd name="connsiteX37711" fmla="*/ 5196344 w 6884782"/>
              <a:gd name="connsiteY37711" fmla="*/ 2129053 h 5973007"/>
              <a:gd name="connsiteX37712" fmla="*/ 5200612 w 6884782"/>
              <a:gd name="connsiteY37712" fmla="*/ 2120517 h 5973007"/>
              <a:gd name="connsiteX37713" fmla="*/ 5201893 w 6884782"/>
              <a:gd name="connsiteY37713" fmla="*/ 2119806 h 5973007"/>
              <a:gd name="connsiteX37714" fmla="*/ 5202533 w 6884782"/>
              <a:gd name="connsiteY37714" fmla="*/ 2115965 h 5973007"/>
              <a:gd name="connsiteX37715" fmla="*/ 5209576 w 6884782"/>
              <a:gd name="connsiteY37715" fmla="*/ 2107144 h 5973007"/>
              <a:gd name="connsiteX37716" fmla="*/ 5804164 w 6884782"/>
              <a:gd name="connsiteY37716" fmla="*/ 2106148 h 5973007"/>
              <a:gd name="connsiteX37717" fmla="*/ 5806084 w 6884782"/>
              <a:gd name="connsiteY37717" fmla="*/ 2111697 h 5973007"/>
              <a:gd name="connsiteX37718" fmla="*/ 5801176 w 6884782"/>
              <a:gd name="connsiteY37718" fmla="*/ 2112551 h 5973007"/>
              <a:gd name="connsiteX37719" fmla="*/ 5798828 w 6884782"/>
              <a:gd name="connsiteY37719" fmla="*/ 2109562 h 5973007"/>
              <a:gd name="connsiteX37720" fmla="*/ 5800109 w 6884782"/>
              <a:gd name="connsiteY37720" fmla="*/ 2109136 h 5973007"/>
              <a:gd name="connsiteX37721" fmla="*/ 5804164 w 6884782"/>
              <a:gd name="connsiteY37721" fmla="*/ 2106148 h 5973007"/>
              <a:gd name="connsiteX37722" fmla="*/ 5586475 w 6884782"/>
              <a:gd name="connsiteY37722" fmla="*/ 2105152 h 5973007"/>
              <a:gd name="connsiteX37723" fmla="*/ 5591384 w 6884782"/>
              <a:gd name="connsiteY37723" fmla="*/ 2108709 h 5973007"/>
              <a:gd name="connsiteX37724" fmla="*/ 5591170 w 6884782"/>
              <a:gd name="connsiteY37724" fmla="*/ 2111554 h 5973007"/>
              <a:gd name="connsiteX37725" fmla="*/ 5590103 w 6884782"/>
              <a:gd name="connsiteY37725" fmla="*/ 2112266 h 5973007"/>
              <a:gd name="connsiteX37726" fmla="*/ 5586049 w 6884782"/>
              <a:gd name="connsiteY37726" fmla="*/ 2114827 h 5973007"/>
              <a:gd name="connsiteX37727" fmla="*/ 5581354 w 6884782"/>
              <a:gd name="connsiteY37727" fmla="*/ 2110986 h 5973007"/>
              <a:gd name="connsiteX37728" fmla="*/ 5586475 w 6884782"/>
              <a:gd name="connsiteY37728" fmla="*/ 2105152 h 5973007"/>
              <a:gd name="connsiteX37729" fmla="*/ 4889446 w 6884782"/>
              <a:gd name="connsiteY37729" fmla="*/ 2105152 h 5973007"/>
              <a:gd name="connsiteX37730" fmla="*/ 4892434 w 6884782"/>
              <a:gd name="connsiteY37730" fmla="*/ 2105721 h 5973007"/>
              <a:gd name="connsiteX37731" fmla="*/ 4893074 w 6884782"/>
              <a:gd name="connsiteY37731" fmla="*/ 2109705 h 5973007"/>
              <a:gd name="connsiteX37732" fmla="*/ 4892221 w 6884782"/>
              <a:gd name="connsiteY37732" fmla="*/ 2110274 h 5973007"/>
              <a:gd name="connsiteX37733" fmla="*/ 4889446 w 6884782"/>
              <a:gd name="connsiteY37733" fmla="*/ 2105152 h 5973007"/>
              <a:gd name="connsiteX37734" fmla="*/ 5490863 w 6884782"/>
              <a:gd name="connsiteY37734" fmla="*/ 2104725 h 5973007"/>
              <a:gd name="connsiteX37735" fmla="*/ 5495131 w 6884782"/>
              <a:gd name="connsiteY37735" fmla="*/ 2107286 h 5973007"/>
              <a:gd name="connsiteX37736" fmla="*/ 5494918 w 6884782"/>
              <a:gd name="connsiteY37736" fmla="*/ 2110843 h 5973007"/>
              <a:gd name="connsiteX37737" fmla="*/ 5490863 w 6884782"/>
              <a:gd name="connsiteY37737" fmla="*/ 2104725 h 5973007"/>
              <a:gd name="connsiteX37738" fmla="*/ 5008321 w 6884782"/>
              <a:gd name="connsiteY37738" fmla="*/ 2104156 h 5973007"/>
              <a:gd name="connsiteX37739" fmla="*/ 5013657 w 6884782"/>
              <a:gd name="connsiteY37739" fmla="*/ 2107998 h 5973007"/>
              <a:gd name="connsiteX37740" fmla="*/ 5014083 w 6884782"/>
              <a:gd name="connsiteY37740" fmla="*/ 2109562 h 5973007"/>
              <a:gd name="connsiteX37741" fmla="*/ 5015577 w 6884782"/>
              <a:gd name="connsiteY37741" fmla="*/ 2116818 h 5973007"/>
              <a:gd name="connsiteX37742" fmla="*/ 5018138 w 6884782"/>
              <a:gd name="connsiteY37742" fmla="*/ 2118526 h 5973007"/>
              <a:gd name="connsiteX37743" fmla="*/ 5013443 w 6884782"/>
              <a:gd name="connsiteY37743" fmla="*/ 2126065 h 5973007"/>
              <a:gd name="connsiteX37744" fmla="*/ 5011096 w 6884782"/>
              <a:gd name="connsiteY37744" fmla="*/ 2126208 h 5973007"/>
              <a:gd name="connsiteX37745" fmla="*/ 5010882 w 6884782"/>
              <a:gd name="connsiteY37745" fmla="*/ 2128627 h 5973007"/>
              <a:gd name="connsiteX37746" fmla="*/ 5010242 w 6884782"/>
              <a:gd name="connsiteY37746" fmla="*/ 2128484 h 5973007"/>
              <a:gd name="connsiteX37747" fmla="*/ 5010242 w 6884782"/>
              <a:gd name="connsiteY37747" fmla="*/ 2130618 h 5973007"/>
              <a:gd name="connsiteX37748" fmla="*/ 4995943 w 6884782"/>
              <a:gd name="connsiteY37748" fmla="*/ 2142142 h 5973007"/>
              <a:gd name="connsiteX37749" fmla="*/ 4993168 w 6884782"/>
              <a:gd name="connsiteY37749" fmla="*/ 2138016 h 5973007"/>
              <a:gd name="connsiteX37750" fmla="*/ 4993808 w 6884782"/>
              <a:gd name="connsiteY37750" fmla="*/ 2134886 h 5973007"/>
              <a:gd name="connsiteX37751" fmla="*/ 4993382 w 6884782"/>
              <a:gd name="connsiteY37751" fmla="*/ 2134886 h 5973007"/>
              <a:gd name="connsiteX37752" fmla="*/ 4985485 w 6884782"/>
              <a:gd name="connsiteY37752" fmla="*/ 2127488 h 5973007"/>
              <a:gd name="connsiteX37753" fmla="*/ 4988900 w 6884782"/>
              <a:gd name="connsiteY37753" fmla="*/ 2126777 h 5973007"/>
              <a:gd name="connsiteX37754" fmla="*/ 4994022 w 6884782"/>
              <a:gd name="connsiteY37754" fmla="*/ 2130334 h 5973007"/>
              <a:gd name="connsiteX37755" fmla="*/ 4994449 w 6884782"/>
              <a:gd name="connsiteY37755" fmla="*/ 2131330 h 5973007"/>
              <a:gd name="connsiteX37756" fmla="*/ 4997010 w 6884782"/>
              <a:gd name="connsiteY37756" fmla="*/ 2129480 h 5973007"/>
              <a:gd name="connsiteX37757" fmla="*/ 4999144 w 6884782"/>
              <a:gd name="connsiteY37757" fmla="*/ 2125923 h 5973007"/>
              <a:gd name="connsiteX37758" fmla="*/ 5002559 w 6884782"/>
              <a:gd name="connsiteY37758" fmla="*/ 2125497 h 5973007"/>
              <a:gd name="connsiteX37759" fmla="*/ 5002772 w 6884782"/>
              <a:gd name="connsiteY37759" fmla="*/ 2125497 h 5973007"/>
              <a:gd name="connsiteX37760" fmla="*/ 5002772 w 6884782"/>
              <a:gd name="connsiteY37760" fmla="*/ 2125355 h 5973007"/>
              <a:gd name="connsiteX37761" fmla="*/ 5001065 w 6884782"/>
              <a:gd name="connsiteY37761" fmla="*/ 2123790 h 5973007"/>
              <a:gd name="connsiteX37762" fmla="*/ 5000851 w 6884782"/>
              <a:gd name="connsiteY37762" fmla="*/ 2124217 h 5973007"/>
              <a:gd name="connsiteX37763" fmla="*/ 4990180 w 6884782"/>
              <a:gd name="connsiteY37763" fmla="*/ 2127346 h 5973007"/>
              <a:gd name="connsiteX37764" fmla="*/ 4996796 w 6884782"/>
              <a:gd name="connsiteY37764" fmla="*/ 2115254 h 5973007"/>
              <a:gd name="connsiteX37765" fmla="*/ 5000425 w 6884782"/>
              <a:gd name="connsiteY37765" fmla="*/ 2113689 h 5973007"/>
              <a:gd name="connsiteX37766" fmla="*/ 5003626 w 6884782"/>
              <a:gd name="connsiteY37766" fmla="*/ 2113973 h 5973007"/>
              <a:gd name="connsiteX37767" fmla="*/ 5003626 w 6884782"/>
              <a:gd name="connsiteY37767" fmla="*/ 2112692 h 5973007"/>
              <a:gd name="connsiteX37768" fmla="*/ 5002772 w 6884782"/>
              <a:gd name="connsiteY37768" fmla="*/ 2105863 h 5973007"/>
              <a:gd name="connsiteX37769" fmla="*/ 5008321 w 6884782"/>
              <a:gd name="connsiteY37769" fmla="*/ 2104156 h 5973007"/>
              <a:gd name="connsiteX37770" fmla="*/ 5977033 w 6884782"/>
              <a:gd name="connsiteY37770" fmla="*/ 2104015 h 5973007"/>
              <a:gd name="connsiteX37771" fmla="*/ 5979168 w 6884782"/>
              <a:gd name="connsiteY37771" fmla="*/ 2105437 h 5973007"/>
              <a:gd name="connsiteX37772" fmla="*/ 5983009 w 6884782"/>
              <a:gd name="connsiteY37772" fmla="*/ 2108851 h 5973007"/>
              <a:gd name="connsiteX37773" fmla="*/ 5975326 w 6884782"/>
              <a:gd name="connsiteY37773" fmla="*/ 2104441 h 5973007"/>
              <a:gd name="connsiteX37774" fmla="*/ 5977033 w 6884782"/>
              <a:gd name="connsiteY37774" fmla="*/ 2104015 h 5973007"/>
              <a:gd name="connsiteX37775" fmla="*/ 6174660 w 6884782"/>
              <a:gd name="connsiteY37775" fmla="*/ 2103445 h 5973007"/>
              <a:gd name="connsiteX37776" fmla="*/ 6180636 w 6884782"/>
              <a:gd name="connsiteY37776" fmla="*/ 2109136 h 5973007"/>
              <a:gd name="connsiteX37777" fmla="*/ 6182984 w 6884782"/>
              <a:gd name="connsiteY37777" fmla="*/ 2113831 h 5973007"/>
              <a:gd name="connsiteX37778" fmla="*/ 6182343 w 6884782"/>
              <a:gd name="connsiteY37778" fmla="*/ 2118810 h 5973007"/>
              <a:gd name="connsiteX37779" fmla="*/ 6181916 w 6884782"/>
              <a:gd name="connsiteY37779" fmla="*/ 2127062 h 5973007"/>
              <a:gd name="connsiteX37780" fmla="*/ 6176154 w 6884782"/>
              <a:gd name="connsiteY37780" fmla="*/ 2127346 h 5973007"/>
              <a:gd name="connsiteX37781" fmla="*/ 6170605 w 6884782"/>
              <a:gd name="connsiteY37781" fmla="*/ 2105152 h 5973007"/>
              <a:gd name="connsiteX37782" fmla="*/ 6174660 w 6884782"/>
              <a:gd name="connsiteY37782" fmla="*/ 2103445 h 5973007"/>
              <a:gd name="connsiteX37783" fmla="*/ 5488943 w 6884782"/>
              <a:gd name="connsiteY37783" fmla="*/ 2102591 h 5973007"/>
              <a:gd name="connsiteX37784" fmla="*/ 5490223 w 6884782"/>
              <a:gd name="connsiteY37784" fmla="*/ 2104156 h 5973007"/>
              <a:gd name="connsiteX37785" fmla="*/ 5489796 w 6884782"/>
              <a:gd name="connsiteY37785" fmla="*/ 2105152 h 5973007"/>
              <a:gd name="connsiteX37786" fmla="*/ 5487875 w 6884782"/>
              <a:gd name="connsiteY37786" fmla="*/ 2103018 h 5973007"/>
              <a:gd name="connsiteX37787" fmla="*/ 5488943 w 6884782"/>
              <a:gd name="connsiteY37787" fmla="*/ 2102591 h 5973007"/>
              <a:gd name="connsiteX37788" fmla="*/ 4907160 w 6884782"/>
              <a:gd name="connsiteY37788" fmla="*/ 2102165 h 5973007"/>
              <a:gd name="connsiteX37789" fmla="*/ 4912283 w 6884782"/>
              <a:gd name="connsiteY37789" fmla="*/ 2102307 h 5973007"/>
              <a:gd name="connsiteX37790" fmla="*/ 4913136 w 6884782"/>
              <a:gd name="connsiteY37790" fmla="*/ 2112977 h 5973007"/>
              <a:gd name="connsiteX37791" fmla="*/ 4907160 w 6884782"/>
              <a:gd name="connsiteY37791" fmla="*/ 2102165 h 5973007"/>
              <a:gd name="connsiteX37792" fmla="*/ 4759901 w 6884782"/>
              <a:gd name="connsiteY37792" fmla="*/ 2102023 h 5973007"/>
              <a:gd name="connsiteX37793" fmla="*/ 4761822 w 6884782"/>
              <a:gd name="connsiteY37793" fmla="*/ 2102591 h 5973007"/>
              <a:gd name="connsiteX37794" fmla="*/ 4763955 w 6884782"/>
              <a:gd name="connsiteY37794" fmla="*/ 2104868 h 5973007"/>
              <a:gd name="connsiteX37795" fmla="*/ 4759047 w 6884782"/>
              <a:gd name="connsiteY37795" fmla="*/ 2106575 h 5973007"/>
              <a:gd name="connsiteX37796" fmla="*/ 4757980 w 6884782"/>
              <a:gd name="connsiteY37796" fmla="*/ 2102876 h 5973007"/>
              <a:gd name="connsiteX37797" fmla="*/ 4759901 w 6884782"/>
              <a:gd name="connsiteY37797" fmla="*/ 2102023 h 5973007"/>
              <a:gd name="connsiteX37798" fmla="*/ 896264 w 6884782"/>
              <a:gd name="connsiteY37798" fmla="*/ 2101965 h 5973007"/>
              <a:gd name="connsiteX37799" fmla="*/ 900808 w 6884782"/>
              <a:gd name="connsiteY37799" fmla="*/ 2103049 h 5973007"/>
              <a:gd name="connsiteX37800" fmla="*/ 901633 w 6884782"/>
              <a:gd name="connsiteY37800" fmla="*/ 2103979 h 5973007"/>
              <a:gd name="connsiteX37801" fmla="*/ 904731 w 6884782"/>
              <a:gd name="connsiteY37801" fmla="*/ 2108316 h 5973007"/>
              <a:gd name="connsiteX37802" fmla="*/ 907003 w 6884782"/>
              <a:gd name="connsiteY37802" fmla="*/ 2108626 h 5973007"/>
              <a:gd name="connsiteX37803" fmla="*/ 907416 w 6884782"/>
              <a:gd name="connsiteY37803" fmla="*/ 2112033 h 5973007"/>
              <a:gd name="connsiteX37804" fmla="*/ 906590 w 6884782"/>
              <a:gd name="connsiteY37804" fmla="*/ 2113737 h 5973007"/>
              <a:gd name="connsiteX37805" fmla="*/ 906280 w 6884782"/>
              <a:gd name="connsiteY37805" fmla="*/ 2115286 h 5973007"/>
              <a:gd name="connsiteX37806" fmla="*/ 905557 w 6884782"/>
              <a:gd name="connsiteY37806" fmla="*/ 2115286 h 5973007"/>
              <a:gd name="connsiteX37807" fmla="*/ 899878 w 6884782"/>
              <a:gd name="connsiteY37807" fmla="*/ 2118074 h 5973007"/>
              <a:gd name="connsiteX37808" fmla="*/ 895645 w 6884782"/>
              <a:gd name="connsiteY37808" fmla="*/ 2116680 h 5973007"/>
              <a:gd name="connsiteX37809" fmla="*/ 895438 w 6884782"/>
              <a:gd name="connsiteY37809" fmla="*/ 2112498 h 5973007"/>
              <a:gd name="connsiteX37810" fmla="*/ 896781 w 6884782"/>
              <a:gd name="connsiteY37810" fmla="*/ 2110949 h 5973007"/>
              <a:gd name="connsiteX37811" fmla="*/ 895438 w 6884782"/>
              <a:gd name="connsiteY37811" fmla="*/ 2109090 h 5973007"/>
              <a:gd name="connsiteX37812" fmla="*/ 892857 w 6884782"/>
              <a:gd name="connsiteY37812" fmla="*/ 2104753 h 5973007"/>
              <a:gd name="connsiteX37813" fmla="*/ 896264 w 6884782"/>
              <a:gd name="connsiteY37813" fmla="*/ 2101965 h 5973007"/>
              <a:gd name="connsiteX37814" fmla="*/ 5102653 w 6884782"/>
              <a:gd name="connsiteY37814" fmla="*/ 2100600 h 5973007"/>
              <a:gd name="connsiteX37815" fmla="*/ 5103293 w 6884782"/>
              <a:gd name="connsiteY37815" fmla="*/ 2104441 h 5973007"/>
              <a:gd name="connsiteX37816" fmla="*/ 5102866 w 6884782"/>
              <a:gd name="connsiteY37816" fmla="*/ 2106006 h 5973007"/>
              <a:gd name="connsiteX37817" fmla="*/ 5103293 w 6884782"/>
              <a:gd name="connsiteY37817" fmla="*/ 2107002 h 5973007"/>
              <a:gd name="connsiteX37818" fmla="*/ 5102439 w 6884782"/>
              <a:gd name="connsiteY37818" fmla="*/ 2107713 h 5973007"/>
              <a:gd name="connsiteX37819" fmla="*/ 5101372 w 6884782"/>
              <a:gd name="connsiteY37819" fmla="*/ 2110986 h 5973007"/>
              <a:gd name="connsiteX37820" fmla="*/ 5101585 w 6884782"/>
              <a:gd name="connsiteY37820" fmla="*/ 2119095 h 5973007"/>
              <a:gd name="connsiteX37821" fmla="*/ 5097530 w 6884782"/>
              <a:gd name="connsiteY37821" fmla="*/ 2126920 h 5973007"/>
              <a:gd name="connsiteX37822" fmla="*/ 5094329 w 6884782"/>
              <a:gd name="connsiteY37822" fmla="*/ 2126208 h 5973007"/>
              <a:gd name="connsiteX37823" fmla="*/ 5093476 w 6884782"/>
              <a:gd name="connsiteY37823" fmla="*/ 2129480 h 5973007"/>
              <a:gd name="connsiteX37824" fmla="*/ 5079603 w 6884782"/>
              <a:gd name="connsiteY37824" fmla="*/ 2136736 h 5973007"/>
              <a:gd name="connsiteX37825" fmla="*/ 5077683 w 6884782"/>
              <a:gd name="connsiteY37825" fmla="*/ 2135029 h 5973007"/>
              <a:gd name="connsiteX37826" fmla="*/ 5077469 w 6884782"/>
              <a:gd name="connsiteY37826" fmla="*/ 2134886 h 5973007"/>
              <a:gd name="connsiteX37827" fmla="*/ 5077256 w 6884782"/>
              <a:gd name="connsiteY37827" fmla="*/ 2135456 h 5973007"/>
              <a:gd name="connsiteX37828" fmla="*/ 5075975 w 6884782"/>
              <a:gd name="connsiteY37828" fmla="*/ 2140577 h 5973007"/>
              <a:gd name="connsiteX37829" fmla="*/ 5073841 w 6884782"/>
              <a:gd name="connsiteY37829" fmla="*/ 2140862 h 5973007"/>
              <a:gd name="connsiteX37830" fmla="*/ 5078109 w 6884782"/>
              <a:gd name="connsiteY37830" fmla="*/ 2143850 h 5973007"/>
              <a:gd name="connsiteX37831" fmla="*/ 5081097 w 6884782"/>
              <a:gd name="connsiteY37831" fmla="*/ 2162060 h 5973007"/>
              <a:gd name="connsiteX37832" fmla="*/ 5062103 w 6884782"/>
              <a:gd name="connsiteY37832" fmla="*/ 2153239 h 5973007"/>
              <a:gd name="connsiteX37833" fmla="*/ 5069573 w 6884782"/>
              <a:gd name="connsiteY37833" fmla="*/ 2140293 h 5973007"/>
              <a:gd name="connsiteX37834" fmla="*/ 5072560 w 6884782"/>
              <a:gd name="connsiteY37834" fmla="*/ 2140151 h 5973007"/>
              <a:gd name="connsiteX37835" fmla="*/ 5071067 w 6884782"/>
              <a:gd name="connsiteY37835" fmla="*/ 2137732 h 5973007"/>
              <a:gd name="connsiteX37836" fmla="*/ 5071067 w 6884782"/>
              <a:gd name="connsiteY37836" fmla="*/ 2130334 h 5973007"/>
              <a:gd name="connsiteX37837" fmla="*/ 5072560 w 6884782"/>
              <a:gd name="connsiteY37837" fmla="*/ 2126493 h 5973007"/>
              <a:gd name="connsiteX37838" fmla="*/ 5072134 w 6884782"/>
              <a:gd name="connsiteY37838" fmla="*/ 2124928 h 5973007"/>
              <a:gd name="connsiteX37839" fmla="*/ 5084512 w 6884782"/>
              <a:gd name="connsiteY37839" fmla="*/ 2114684 h 5973007"/>
              <a:gd name="connsiteX37840" fmla="*/ 5090914 w 6884782"/>
              <a:gd name="connsiteY37840" fmla="*/ 2116818 h 5973007"/>
              <a:gd name="connsiteX37841" fmla="*/ 5091982 w 6884782"/>
              <a:gd name="connsiteY37841" fmla="*/ 2118099 h 5973007"/>
              <a:gd name="connsiteX37842" fmla="*/ 5090701 w 6884782"/>
              <a:gd name="connsiteY37842" fmla="*/ 2114257 h 5973007"/>
              <a:gd name="connsiteX37843" fmla="*/ 5092195 w 6884782"/>
              <a:gd name="connsiteY37843" fmla="*/ 2109136 h 5973007"/>
              <a:gd name="connsiteX37844" fmla="*/ 5092622 w 6884782"/>
              <a:gd name="connsiteY37844" fmla="*/ 2103161 h 5973007"/>
              <a:gd name="connsiteX37845" fmla="*/ 5094970 w 6884782"/>
              <a:gd name="connsiteY37845" fmla="*/ 2101169 h 5973007"/>
              <a:gd name="connsiteX37846" fmla="*/ 5096250 w 6884782"/>
              <a:gd name="connsiteY37846" fmla="*/ 2101453 h 5973007"/>
              <a:gd name="connsiteX37847" fmla="*/ 5096890 w 6884782"/>
              <a:gd name="connsiteY37847" fmla="*/ 2104156 h 5973007"/>
              <a:gd name="connsiteX37848" fmla="*/ 5096250 w 6884782"/>
              <a:gd name="connsiteY37848" fmla="*/ 2110986 h 5973007"/>
              <a:gd name="connsiteX37849" fmla="*/ 5095397 w 6884782"/>
              <a:gd name="connsiteY37849" fmla="*/ 2115111 h 5973007"/>
              <a:gd name="connsiteX37850" fmla="*/ 5097744 w 6884782"/>
              <a:gd name="connsiteY37850" fmla="*/ 2107998 h 5973007"/>
              <a:gd name="connsiteX37851" fmla="*/ 5102653 w 6884782"/>
              <a:gd name="connsiteY37851" fmla="*/ 2100600 h 5973007"/>
              <a:gd name="connsiteX37852" fmla="*/ 6024839 w 6884782"/>
              <a:gd name="connsiteY37852" fmla="*/ 2100315 h 5973007"/>
              <a:gd name="connsiteX37853" fmla="*/ 6029535 w 6884782"/>
              <a:gd name="connsiteY37853" fmla="*/ 2101026 h 5973007"/>
              <a:gd name="connsiteX37854" fmla="*/ 6037858 w 6884782"/>
              <a:gd name="connsiteY37854" fmla="*/ 2104583 h 5973007"/>
              <a:gd name="connsiteX37855" fmla="*/ 6018437 w 6884782"/>
              <a:gd name="connsiteY37855" fmla="*/ 2112977 h 5973007"/>
              <a:gd name="connsiteX37856" fmla="*/ 6019717 w 6884782"/>
              <a:gd name="connsiteY37856" fmla="*/ 2101026 h 5973007"/>
              <a:gd name="connsiteX37857" fmla="*/ 6024839 w 6884782"/>
              <a:gd name="connsiteY37857" fmla="*/ 2100315 h 5973007"/>
              <a:gd name="connsiteX37858" fmla="*/ 5280858 w 6884782"/>
              <a:gd name="connsiteY37858" fmla="*/ 2100173 h 5973007"/>
              <a:gd name="connsiteX37859" fmla="*/ 5293237 w 6884782"/>
              <a:gd name="connsiteY37859" fmla="*/ 2106148 h 5973007"/>
              <a:gd name="connsiteX37860" fmla="*/ 5293877 w 6884782"/>
              <a:gd name="connsiteY37860" fmla="*/ 2111270 h 5973007"/>
              <a:gd name="connsiteX37861" fmla="*/ 5283206 w 6884782"/>
              <a:gd name="connsiteY37861" fmla="*/ 2114827 h 5973007"/>
              <a:gd name="connsiteX37862" fmla="*/ 5282566 w 6884782"/>
              <a:gd name="connsiteY37862" fmla="*/ 2114257 h 5973007"/>
              <a:gd name="connsiteX37863" fmla="*/ 5282566 w 6884782"/>
              <a:gd name="connsiteY37863" fmla="*/ 2114399 h 5973007"/>
              <a:gd name="connsiteX37864" fmla="*/ 5279791 w 6884782"/>
              <a:gd name="connsiteY37864" fmla="*/ 2116249 h 5973007"/>
              <a:gd name="connsiteX37865" fmla="*/ 5277230 w 6884782"/>
              <a:gd name="connsiteY37865" fmla="*/ 2110274 h 5973007"/>
              <a:gd name="connsiteX37866" fmla="*/ 5278937 w 6884782"/>
              <a:gd name="connsiteY37866" fmla="*/ 2109847 h 5973007"/>
              <a:gd name="connsiteX37867" fmla="*/ 5278084 w 6884782"/>
              <a:gd name="connsiteY37867" fmla="*/ 2106860 h 5973007"/>
              <a:gd name="connsiteX37868" fmla="*/ 5280858 w 6884782"/>
              <a:gd name="connsiteY37868" fmla="*/ 2100173 h 5973007"/>
              <a:gd name="connsiteX37869" fmla="*/ 4980790 w 6884782"/>
              <a:gd name="connsiteY37869" fmla="*/ 2099461 h 5973007"/>
              <a:gd name="connsiteX37870" fmla="*/ 4981217 w 6884782"/>
              <a:gd name="connsiteY37870" fmla="*/ 2100457 h 5973007"/>
              <a:gd name="connsiteX37871" fmla="*/ 4976949 w 6884782"/>
              <a:gd name="connsiteY37871" fmla="*/ 2101738 h 5973007"/>
              <a:gd name="connsiteX37872" fmla="*/ 4980790 w 6884782"/>
              <a:gd name="connsiteY37872" fmla="*/ 2099461 h 5973007"/>
              <a:gd name="connsiteX37873" fmla="*/ 5957826 w 6884782"/>
              <a:gd name="connsiteY37873" fmla="*/ 2099177 h 5973007"/>
              <a:gd name="connsiteX37874" fmla="*/ 5964869 w 6884782"/>
              <a:gd name="connsiteY37874" fmla="*/ 2100884 h 5973007"/>
              <a:gd name="connsiteX37875" fmla="*/ 5957186 w 6884782"/>
              <a:gd name="connsiteY37875" fmla="*/ 2107429 h 5973007"/>
              <a:gd name="connsiteX37876" fmla="*/ 5957826 w 6884782"/>
              <a:gd name="connsiteY37876" fmla="*/ 2099177 h 5973007"/>
              <a:gd name="connsiteX37877" fmla="*/ 5181832 w 6884782"/>
              <a:gd name="connsiteY37877" fmla="*/ 2098893 h 5973007"/>
              <a:gd name="connsiteX37878" fmla="*/ 5186953 w 6884782"/>
              <a:gd name="connsiteY37878" fmla="*/ 2103730 h 5973007"/>
              <a:gd name="connsiteX37879" fmla="*/ 5183965 w 6884782"/>
              <a:gd name="connsiteY37879" fmla="*/ 2108282 h 5973007"/>
              <a:gd name="connsiteX37880" fmla="*/ 5178844 w 6884782"/>
              <a:gd name="connsiteY37880" fmla="*/ 2103445 h 5973007"/>
              <a:gd name="connsiteX37881" fmla="*/ 5181832 w 6884782"/>
              <a:gd name="connsiteY37881" fmla="*/ 2098893 h 5973007"/>
              <a:gd name="connsiteX37882" fmla="*/ 5484888 w 6884782"/>
              <a:gd name="connsiteY37882" fmla="*/ 2098181 h 5973007"/>
              <a:gd name="connsiteX37883" fmla="*/ 5485955 w 6884782"/>
              <a:gd name="connsiteY37883" fmla="*/ 2101880 h 5973007"/>
              <a:gd name="connsiteX37884" fmla="*/ 5485741 w 6884782"/>
              <a:gd name="connsiteY37884" fmla="*/ 2103445 h 5973007"/>
              <a:gd name="connsiteX37885" fmla="*/ 5486381 w 6884782"/>
              <a:gd name="connsiteY37885" fmla="*/ 2104583 h 5973007"/>
              <a:gd name="connsiteX37886" fmla="*/ 5485528 w 6884782"/>
              <a:gd name="connsiteY37886" fmla="*/ 2105152 h 5973007"/>
              <a:gd name="connsiteX37887" fmla="*/ 5484888 w 6884782"/>
              <a:gd name="connsiteY37887" fmla="*/ 2108425 h 5973007"/>
              <a:gd name="connsiteX37888" fmla="*/ 5486381 w 6884782"/>
              <a:gd name="connsiteY37888" fmla="*/ 2116534 h 5973007"/>
              <a:gd name="connsiteX37889" fmla="*/ 5483393 w 6884782"/>
              <a:gd name="connsiteY37889" fmla="*/ 2124358 h 5973007"/>
              <a:gd name="connsiteX37890" fmla="*/ 5480192 w 6884782"/>
              <a:gd name="connsiteY37890" fmla="*/ 2123505 h 5973007"/>
              <a:gd name="connsiteX37891" fmla="*/ 5479765 w 6884782"/>
              <a:gd name="connsiteY37891" fmla="*/ 2126777 h 5973007"/>
              <a:gd name="connsiteX37892" fmla="*/ 5467174 w 6884782"/>
              <a:gd name="connsiteY37892" fmla="*/ 2133749 h 5973007"/>
              <a:gd name="connsiteX37893" fmla="*/ 5460985 w 6884782"/>
              <a:gd name="connsiteY37893" fmla="*/ 2130334 h 5973007"/>
              <a:gd name="connsiteX37894" fmla="*/ 5458423 w 6884782"/>
              <a:gd name="connsiteY37894" fmla="*/ 2126208 h 5973007"/>
              <a:gd name="connsiteX37895" fmla="*/ 5458423 w 6884782"/>
              <a:gd name="connsiteY37895" fmla="*/ 2125923 h 5973007"/>
              <a:gd name="connsiteX37896" fmla="*/ 5450954 w 6884782"/>
              <a:gd name="connsiteY37896" fmla="*/ 2123363 h 5973007"/>
              <a:gd name="connsiteX37897" fmla="*/ 5450314 w 6884782"/>
              <a:gd name="connsiteY37897" fmla="*/ 2122793 h 5973007"/>
              <a:gd name="connsiteX37898" fmla="*/ 5449887 w 6884782"/>
              <a:gd name="connsiteY37898" fmla="*/ 2122651 h 5973007"/>
              <a:gd name="connsiteX37899" fmla="*/ 5434734 w 6884782"/>
              <a:gd name="connsiteY37899" fmla="*/ 2115681 h 5973007"/>
              <a:gd name="connsiteX37900" fmla="*/ 5444551 w 6884782"/>
              <a:gd name="connsiteY37900" fmla="*/ 2113831 h 5973007"/>
              <a:gd name="connsiteX37901" fmla="*/ 5444551 w 6884782"/>
              <a:gd name="connsiteY37901" fmla="*/ 2113119 h 5973007"/>
              <a:gd name="connsiteX37902" fmla="*/ 5440496 w 6884782"/>
              <a:gd name="connsiteY37902" fmla="*/ 2114257 h 5973007"/>
              <a:gd name="connsiteX37903" fmla="*/ 5435801 w 6884782"/>
              <a:gd name="connsiteY37903" fmla="*/ 2112692 h 5973007"/>
              <a:gd name="connsiteX37904" fmla="*/ 5440923 w 6884782"/>
              <a:gd name="connsiteY37904" fmla="*/ 2110559 h 5973007"/>
              <a:gd name="connsiteX37905" fmla="*/ 5443484 w 6884782"/>
              <a:gd name="connsiteY37905" fmla="*/ 2109989 h 5973007"/>
              <a:gd name="connsiteX37906" fmla="*/ 5444551 w 6884782"/>
              <a:gd name="connsiteY37906" fmla="*/ 2111697 h 5973007"/>
              <a:gd name="connsiteX37907" fmla="*/ 5444551 w 6884782"/>
              <a:gd name="connsiteY37907" fmla="*/ 2111270 h 5973007"/>
              <a:gd name="connsiteX37908" fmla="*/ 5447966 w 6884782"/>
              <a:gd name="connsiteY37908" fmla="*/ 2104441 h 5973007"/>
              <a:gd name="connsiteX37909" fmla="*/ 5455009 w 6884782"/>
              <a:gd name="connsiteY37909" fmla="*/ 2112124 h 5973007"/>
              <a:gd name="connsiteX37910" fmla="*/ 5455862 w 6884782"/>
              <a:gd name="connsiteY37910" fmla="*/ 2112835 h 5973007"/>
              <a:gd name="connsiteX37911" fmla="*/ 5460985 w 6884782"/>
              <a:gd name="connsiteY37911" fmla="*/ 2113119 h 5973007"/>
              <a:gd name="connsiteX37912" fmla="*/ 5462692 w 6884782"/>
              <a:gd name="connsiteY37912" fmla="*/ 2113831 h 5973007"/>
              <a:gd name="connsiteX37913" fmla="*/ 5465039 w 6884782"/>
              <a:gd name="connsiteY37913" fmla="*/ 2112124 h 5973007"/>
              <a:gd name="connsiteX37914" fmla="*/ 5468668 w 6884782"/>
              <a:gd name="connsiteY37914" fmla="*/ 2111839 h 5973007"/>
              <a:gd name="connsiteX37915" fmla="*/ 5479339 w 6884782"/>
              <a:gd name="connsiteY37915" fmla="*/ 2118099 h 5973007"/>
              <a:gd name="connsiteX37916" fmla="*/ 5478698 w 6884782"/>
              <a:gd name="connsiteY37916" fmla="*/ 2117103 h 5973007"/>
              <a:gd name="connsiteX37917" fmla="*/ 5482540 w 6884782"/>
              <a:gd name="connsiteY37917" fmla="*/ 2100457 h 5973007"/>
              <a:gd name="connsiteX37918" fmla="*/ 5482967 w 6884782"/>
              <a:gd name="connsiteY37918" fmla="*/ 2100173 h 5973007"/>
              <a:gd name="connsiteX37919" fmla="*/ 5482753 w 6884782"/>
              <a:gd name="connsiteY37919" fmla="*/ 2099888 h 5973007"/>
              <a:gd name="connsiteX37920" fmla="*/ 5483180 w 6884782"/>
              <a:gd name="connsiteY37920" fmla="*/ 2099746 h 5973007"/>
              <a:gd name="connsiteX37921" fmla="*/ 4836945 w 6884782"/>
              <a:gd name="connsiteY37921" fmla="*/ 2097896 h 5973007"/>
              <a:gd name="connsiteX37922" fmla="*/ 4836518 w 6884782"/>
              <a:gd name="connsiteY37922" fmla="*/ 2107002 h 5973007"/>
              <a:gd name="connsiteX37923" fmla="*/ 4836091 w 6884782"/>
              <a:gd name="connsiteY37923" fmla="*/ 2110416 h 5973007"/>
              <a:gd name="connsiteX37924" fmla="*/ 4837799 w 6884782"/>
              <a:gd name="connsiteY37924" fmla="*/ 2110559 h 5973007"/>
              <a:gd name="connsiteX37925" fmla="*/ 4845482 w 6884782"/>
              <a:gd name="connsiteY37925" fmla="*/ 2121228 h 5973007"/>
              <a:gd name="connsiteX37926" fmla="*/ 4836945 w 6884782"/>
              <a:gd name="connsiteY37926" fmla="*/ 2122082 h 5973007"/>
              <a:gd name="connsiteX37927" fmla="*/ 4833317 w 6884782"/>
              <a:gd name="connsiteY37927" fmla="*/ 2119522 h 5973007"/>
              <a:gd name="connsiteX37928" fmla="*/ 4833317 w 6884782"/>
              <a:gd name="connsiteY37928" fmla="*/ 2119379 h 5973007"/>
              <a:gd name="connsiteX37929" fmla="*/ 4831610 w 6884782"/>
              <a:gd name="connsiteY37929" fmla="*/ 2115681 h 5973007"/>
              <a:gd name="connsiteX37930" fmla="*/ 4833531 w 6884782"/>
              <a:gd name="connsiteY37930" fmla="*/ 2110274 h 5973007"/>
              <a:gd name="connsiteX37931" fmla="*/ 4834811 w 6884782"/>
              <a:gd name="connsiteY37931" fmla="*/ 2110416 h 5973007"/>
              <a:gd name="connsiteX37932" fmla="*/ 4834811 w 6884782"/>
              <a:gd name="connsiteY37932" fmla="*/ 2107002 h 5973007"/>
              <a:gd name="connsiteX37933" fmla="*/ 4836945 w 6884782"/>
              <a:gd name="connsiteY37933" fmla="*/ 2097896 h 5973007"/>
              <a:gd name="connsiteX37934" fmla="*/ 5729893 w 6884782"/>
              <a:gd name="connsiteY37934" fmla="*/ 2096759 h 5973007"/>
              <a:gd name="connsiteX37935" fmla="*/ 5751876 w 6884782"/>
              <a:gd name="connsiteY37935" fmla="*/ 2110559 h 5973007"/>
              <a:gd name="connsiteX37936" fmla="*/ 5752089 w 6884782"/>
              <a:gd name="connsiteY37936" fmla="*/ 2115111 h 5973007"/>
              <a:gd name="connsiteX37937" fmla="*/ 5752729 w 6884782"/>
              <a:gd name="connsiteY37937" fmla="*/ 2115111 h 5973007"/>
              <a:gd name="connsiteX37938" fmla="*/ 5754010 w 6884782"/>
              <a:gd name="connsiteY37938" fmla="*/ 2115822 h 5973007"/>
              <a:gd name="connsiteX37939" fmla="*/ 5762120 w 6884782"/>
              <a:gd name="connsiteY37939" fmla="*/ 2113404 h 5973007"/>
              <a:gd name="connsiteX37940" fmla="*/ 5764041 w 6884782"/>
              <a:gd name="connsiteY37940" fmla="*/ 2114827 h 5973007"/>
              <a:gd name="connsiteX37941" fmla="*/ 5761693 w 6884782"/>
              <a:gd name="connsiteY37941" fmla="*/ 2117672 h 5973007"/>
              <a:gd name="connsiteX37942" fmla="*/ 5758065 w 6884782"/>
              <a:gd name="connsiteY37942" fmla="*/ 2115965 h 5973007"/>
              <a:gd name="connsiteX37943" fmla="*/ 5753370 w 6884782"/>
              <a:gd name="connsiteY37943" fmla="*/ 2117387 h 5973007"/>
              <a:gd name="connsiteX37944" fmla="*/ 5752089 w 6884782"/>
              <a:gd name="connsiteY37944" fmla="*/ 2116961 h 5973007"/>
              <a:gd name="connsiteX37945" fmla="*/ 5752302 w 6884782"/>
              <a:gd name="connsiteY37945" fmla="*/ 2118099 h 5973007"/>
              <a:gd name="connsiteX37946" fmla="*/ 5718369 w 6884782"/>
              <a:gd name="connsiteY37946" fmla="*/ 2107002 h 5973007"/>
              <a:gd name="connsiteX37947" fmla="*/ 5729893 w 6884782"/>
              <a:gd name="connsiteY37947" fmla="*/ 2096759 h 5973007"/>
              <a:gd name="connsiteX37948" fmla="*/ 5641537 w 6884782"/>
              <a:gd name="connsiteY37948" fmla="*/ 2096759 h 5973007"/>
              <a:gd name="connsiteX37949" fmla="*/ 5639404 w 6884782"/>
              <a:gd name="connsiteY37949" fmla="*/ 2097043 h 5973007"/>
              <a:gd name="connsiteX37950" fmla="*/ 5641751 w 6884782"/>
              <a:gd name="connsiteY37950" fmla="*/ 2097327 h 5973007"/>
              <a:gd name="connsiteX37951" fmla="*/ 4712735 w 6884782"/>
              <a:gd name="connsiteY37951" fmla="*/ 2096616 h 5973007"/>
              <a:gd name="connsiteX37952" fmla="*/ 4716790 w 6884782"/>
              <a:gd name="connsiteY37952" fmla="*/ 2106148 h 5973007"/>
              <a:gd name="connsiteX37953" fmla="*/ 4707399 w 6884782"/>
              <a:gd name="connsiteY37953" fmla="*/ 2110986 h 5973007"/>
              <a:gd name="connsiteX37954" fmla="*/ 4712735 w 6884782"/>
              <a:gd name="connsiteY37954" fmla="*/ 2096616 h 5973007"/>
              <a:gd name="connsiteX37955" fmla="*/ 812110 w 6884782"/>
              <a:gd name="connsiteY37955" fmla="*/ 2096389 h 5973007"/>
              <a:gd name="connsiteX37956" fmla="*/ 820061 w 6884782"/>
              <a:gd name="connsiteY37956" fmla="*/ 2098093 h 5973007"/>
              <a:gd name="connsiteX37957" fmla="*/ 822643 w 6884782"/>
              <a:gd name="connsiteY37957" fmla="*/ 2102585 h 5973007"/>
              <a:gd name="connsiteX37958" fmla="*/ 820784 w 6884782"/>
              <a:gd name="connsiteY37958" fmla="*/ 2109864 h 5973007"/>
              <a:gd name="connsiteX37959" fmla="*/ 816344 w 6884782"/>
              <a:gd name="connsiteY37959" fmla="*/ 2108626 h 5973007"/>
              <a:gd name="connsiteX37960" fmla="*/ 812110 w 6884782"/>
              <a:gd name="connsiteY37960" fmla="*/ 2096389 h 5973007"/>
              <a:gd name="connsiteX37961" fmla="*/ 5618488 w 6884782"/>
              <a:gd name="connsiteY37961" fmla="*/ 2095762 h 5973007"/>
              <a:gd name="connsiteX37962" fmla="*/ 5621263 w 6884782"/>
              <a:gd name="connsiteY37962" fmla="*/ 2096332 h 5973007"/>
              <a:gd name="connsiteX37963" fmla="*/ 5622330 w 6884782"/>
              <a:gd name="connsiteY37963" fmla="*/ 2111981 h 5973007"/>
              <a:gd name="connsiteX37964" fmla="*/ 5620409 w 6884782"/>
              <a:gd name="connsiteY37964" fmla="*/ 2114542 h 5973007"/>
              <a:gd name="connsiteX37965" fmla="*/ 5619555 w 6884782"/>
              <a:gd name="connsiteY37965" fmla="*/ 2117103 h 5973007"/>
              <a:gd name="connsiteX37966" fmla="*/ 5613153 w 6884782"/>
              <a:gd name="connsiteY37966" fmla="*/ 2121087 h 5973007"/>
              <a:gd name="connsiteX37967" fmla="*/ 5616781 w 6884782"/>
              <a:gd name="connsiteY37967" fmla="*/ 2097754 h 5973007"/>
              <a:gd name="connsiteX37968" fmla="*/ 5618488 w 6884782"/>
              <a:gd name="connsiteY37968" fmla="*/ 2095762 h 5973007"/>
              <a:gd name="connsiteX37969" fmla="*/ 946034 w 6884782"/>
              <a:gd name="connsiteY37969" fmla="*/ 2095614 h 5973007"/>
              <a:gd name="connsiteX37970" fmla="*/ 951093 w 6884782"/>
              <a:gd name="connsiteY37970" fmla="*/ 2098712 h 5973007"/>
              <a:gd name="connsiteX37971" fmla="*/ 951816 w 6884782"/>
              <a:gd name="connsiteY37971" fmla="*/ 2106302 h 5973007"/>
              <a:gd name="connsiteX37972" fmla="*/ 950474 w 6884782"/>
              <a:gd name="connsiteY37972" fmla="*/ 2107077 h 5973007"/>
              <a:gd name="connsiteX37973" fmla="*/ 954088 w 6884782"/>
              <a:gd name="connsiteY37973" fmla="*/ 2107851 h 5973007"/>
              <a:gd name="connsiteX37974" fmla="*/ 961522 w 6884782"/>
              <a:gd name="connsiteY37974" fmla="*/ 2119158 h 5973007"/>
              <a:gd name="connsiteX37975" fmla="*/ 952539 w 6884782"/>
              <a:gd name="connsiteY37975" fmla="*/ 2120243 h 5973007"/>
              <a:gd name="connsiteX37976" fmla="*/ 948409 w 6884782"/>
              <a:gd name="connsiteY37976" fmla="*/ 2119313 h 5973007"/>
              <a:gd name="connsiteX37977" fmla="*/ 948512 w 6884782"/>
              <a:gd name="connsiteY37977" fmla="*/ 2119623 h 5973007"/>
              <a:gd name="connsiteX37978" fmla="*/ 947273 w 6884782"/>
              <a:gd name="connsiteY37978" fmla="*/ 2123031 h 5973007"/>
              <a:gd name="connsiteX37979" fmla="*/ 943246 w 6884782"/>
              <a:gd name="connsiteY37979" fmla="*/ 2125819 h 5973007"/>
              <a:gd name="connsiteX37980" fmla="*/ 943762 w 6884782"/>
              <a:gd name="connsiteY37980" fmla="*/ 2140069 h 5973007"/>
              <a:gd name="connsiteX37981" fmla="*/ 944278 w 6884782"/>
              <a:gd name="connsiteY37981" fmla="*/ 2160051 h 5973007"/>
              <a:gd name="connsiteX37982" fmla="*/ 940355 w 6884782"/>
              <a:gd name="connsiteY37982" fmla="*/ 2154165 h 5973007"/>
              <a:gd name="connsiteX37983" fmla="*/ 939838 w 6884782"/>
              <a:gd name="connsiteY37983" fmla="*/ 2154785 h 5973007"/>
              <a:gd name="connsiteX37984" fmla="*/ 939012 w 6884782"/>
              <a:gd name="connsiteY37984" fmla="*/ 2163614 h 5973007"/>
              <a:gd name="connsiteX37985" fmla="*/ 930752 w 6884782"/>
              <a:gd name="connsiteY37985" fmla="*/ 2164078 h 5973007"/>
              <a:gd name="connsiteX37986" fmla="*/ 927758 w 6884782"/>
              <a:gd name="connsiteY37986" fmla="*/ 2162530 h 5973007"/>
              <a:gd name="connsiteX37987" fmla="*/ 936947 w 6884782"/>
              <a:gd name="connsiteY37987" fmla="*/ 2147505 h 5973007"/>
              <a:gd name="connsiteX37988" fmla="*/ 937360 w 6884782"/>
              <a:gd name="connsiteY37988" fmla="*/ 2147659 h 5973007"/>
              <a:gd name="connsiteX37989" fmla="*/ 935502 w 6884782"/>
              <a:gd name="connsiteY37989" fmla="*/ 2140379 h 5973007"/>
              <a:gd name="connsiteX37990" fmla="*/ 934882 w 6884782"/>
              <a:gd name="connsiteY37990" fmla="*/ 2135113 h 5973007"/>
              <a:gd name="connsiteX37991" fmla="*/ 934469 w 6884782"/>
              <a:gd name="connsiteY37991" fmla="*/ 2135577 h 5973007"/>
              <a:gd name="connsiteX37992" fmla="*/ 918981 w 6884782"/>
              <a:gd name="connsiteY37992" fmla="*/ 2131086 h 5973007"/>
              <a:gd name="connsiteX37993" fmla="*/ 919806 w 6884782"/>
              <a:gd name="connsiteY37993" fmla="*/ 2128453 h 5973007"/>
              <a:gd name="connsiteX37994" fmla="*/ 924763 w 6884782"/>
              <a:gd name="connsiteY37994" fmla="*/ 2125664 h 5973007"/>
              <a:gd name="connsiteX37995" fmla="*/ 928377 w 6884782"/>
              <a:gd name="connsiteY37995" fmla="*/ 2125974 h 5973007"/>
              <a:gd name="connsiteX37996" fmla="*/ 928893 w 6884782"/>
              <a:gd name="connsiteY37996" fmla="*/ 2121482 h 5973007"/>
              <a:gd name="connsiteX37997" fmla="*/ 933540 w 6884782"/>
              <a:gd name="connsiteY37997" fmla="*/ 2122101 h 5973007"/>
              <a:gd name="connsiteX37998" fmla="*/ 933746 w 6884782"/>
              <a:gd name="connsiteY37998" fmla="*/ 2122256 h 5973007"/>
              <a:gd name="connsiteX37999" fmla="*/ 933333 w 6884782"/>
              <a:gd name="connsiteY37999" fmla="*/ 2117300 h 5973007"/>
              <a:gd name="connsiteX38000" fmla="*/ 937567 w 6884782"/>
              <a:gd name="connsiteY38000" fmla="*/ 2117300 h 5973007"/>
              <a:gd name="connsiteX38001" fmla="*/ 940045 w 6884782"/>
              <a:gd name="connsiteY38001" fmla="*/ 2117610 h 5973007"/>
              <a:gd name="connsiteX38002" fmla="*/ 940045 w 6884782"/>
              <a:gd name="connsiteY38002" fmla="*/ 2116680 h 5973007"/>
              <a:gd name="connsiteX38003" fmla="*/ 944898 w 6884782"/>
              <a:gd name="connsiteY38003" fmla="*/ 2115286 h 5973007"/>
              <a:gd name="connsiteX38004" fmla="*/ 946137 w 6884782"/>
              <a:gd name="connsiteY38004" fmla="*/ 2116061 h 5973007"/>
              <a:gd name="connsiteX38005" fmla="*/ 945930 w 6884782"/>
              <a:gd name="connsiteY38005" fmla="*/ 2111723 h 5973007"/>
              <a:gd name="connsiteX38006" fmla="*/ 947479 w 6884782"/>
              <a:gd name="connsiteY38006" fmla="*/ 2107851 h 5973007"/>
              <a:gd name="connsiteX38007" fmla="*/ 949338 w 6884782"/>
              <a:gd name="connsiteY38007" fmla="*/ 2107077 h 5973007"/>
              <a:gd name="connsiteX38008" fmla="*/ 947583 w 6884782"/>
              <a:gd name="connsiteY38008" fmla="*/ 2105837 h 5973007"/>
              <a:gd name="connsiteX38009" fmla="*/ 945518 w 6884782"/>
              <a:gd name="connsiteY38009" fmla="*/ 2101036 h 5973007"/>
              <a:gd name="connsiteX38010" fmla="*/ 946034 w 6884782"/>
              <a:gd name="connsiteY38010" fmla="*/ 2095614 h 5973007"/>
              <a:gd name="connsiteX38011" fmla="*/ 5675258 w 6884782"/>
              <a:gd name="connsiteY38011" fmla="*/ 2095336 h 5973007"/>
              <a:gd name="connsiteX38012" fmla="*/ 5679740 w 6884782"/>
              <a:gd name="connsiteY38012" fmla="*/ 2098039 h 5973007"/>
              <a:gd name="connsiteX38013" fmla="*/ 5688276 w 6884782"/>
              <a:gd name="connsiteY38013" fmla="*/ 2106717 h 5973007"/>
              <a:gd name="connsiteX38014" fmla="*/ 5690624 w 6884782"/>
              <a:gd name="connsiteY38014" fmla="*/ 2108140 h 5973007"/>
              <a:gd name="connsiteX38015" fmla="*/ 5672697 w 6884782"/>
              <a:gd name="connsiteY38015" fmla="*/ 2097612 h 5973007"/>
              <a:gd name="connsiteX38016" fmla="*/ 5672697 w 6884782"/>
              <a:gd name="connsiteY38016" fmla="*/ 2096474 h 5973007"/>
              <a:gd name="connsiteX38017" fmla="*/ 5675258 w 6884782"/>
              <a:gd name="connsiteY38017" fmla="*/ 2095336 h 5973007"/>
              <a:gd name="connsiteX38018" fmla="*/ 5249486 w 6884782"/>
              <a:gd name="connsiteY38018" fmla="*/ 2095051 h 5973007"/>
              <a:gd name="connsiteX38019" fmla="*/ 5257595 w 6884782"/>
              <a:gd name="connsiteY38019" fmla="*/ 2097754 h 5973007"/>
              <a:gd name="connsiteX38020" fmla="*/ 5253967 w 6884782"/>
              <a:gd name="connsiteY38020" fmla="*/ 2105721 h 5973007"/>
              <a:gd name="connsiteX38021" fmla="*/ 5249486 w 6884782"/>
              <a:gd name="connsiteY38021" fmla="*/ 2095051 h 5973007"/>
              <a:gd name="connsiteX38022" fmla="*/ 5607177 w 6884782"/>
              <a:gd name="connsiteY38022" fmla="*/ 2094625 h 5973007"/>
              <a:gd name="connsiteX38023" fmla="*/ 5608671 w 6884782"/>
              <a:gd name="connsiteY38023" fmla="*/ 2104868 h 5973007"/>
              <a:gd name="connsiteX38024" fmla="*/ 5606323 w 6884782"/>
              <a:gd name="connsiteY38024" fmla="*/ 2096189 h 5973007"/>
              <a:gd name="connsiteX38025" fmla="*/ 5607177 w 6884782"/>
              <a:gd name="connsiteY38025" fmla="*/ 2094625 h 5973007"/>
              <a:gd name="connsiteX38026" fmla="*/ 5171374 w 6884782"/>
              <a:gd name="connsiteY38026" fmla="*/ 2094625 h 5973007"/>
              <a:gd name="connsiteX38027" fmla="*/ 5168386 w 6884782"/>
              <a:gd name="connsiteY38027" fmla="*/ 2095904 h 5973007"/>
              <a:gd name="connsiteX38028" fmla="*/ 5167746 w 6884782"/>
              <a:gd name="connsiteY38028" fmla="*/ 2095620 h 5973007"/>
              <a:gd name="connsiteX38029" fmla="*/ 5167319 w 6884782"/>
              <a:gd name="connsiteY38029" fmla="*/ 2095762 h 5973007"/>
              <a:gd name="connsiteX38030" fmla="*/ 5167106 w 6884782"/>
              <a:gd name="connsiteY38030" fmla="*/ 2095620 h 5973007"/>
              <a:gd name="connsiteX38031" fmla="*/ 5167106 w 6884782"/>
              <a:gd name="connsiteY38031" fmla="*/ 2095762 h 5973007"/>
              <a:gd name="connsiteX38032" fmla="*/ 5167319 w 6884782"/>
              <a:gd name="connsiteY38032" fmla="*/ 2095762 h 5973007"/>
              <a:gd name="connsiteX38033" fmla="*/ 5167959 w 6884782"/>
              <a:gd name="connsiteY38033" fmla="*/ 2096047 h 5973007"/>
              <a:gd name="connsiteX38034" fmla="*/ 5168386 w 6884782"/>
              <a:gd name="connsiteY38034" fmla="*/ 2095904 h 5973007"/>
              <a:gd name="connsiteX38035" fmla="*/ 5171587 w 6884782"/>
              <a:gd name="connsiteY38035" fmla="*/ 2096759 h 5973007"/>
              <a:gd name="connsiteX38036" fmla="*/ 687377 w 6884782"/>
              <a:gd name="connsiteY38036" fmla="*/ 2094220 h 5973007"/>
              <a:gd name="connsiteX38037" fmla="*/ 690784 w 6884782"/>
              <a:gd name="connsiteY38037" fmla="*/ 2096079 h 5973007"/>
              <a:gd name="connsiteX38038" fmla="*/ 691507 w 6884782"/>
              <a:gd name="connsiteY38038" fmla="*/ 2098712 h 5973007"/>
              <a:gd name="connsiteX38039" fmla="*/ 688926 w 6884782"/>
              <a:gd name="connsiteY38039" fmla="*/ 2099177 h 5973007"/>
              <a:gd name="connsiteX38040" fmla="*/ 686344 w 6884782"/>
              <a:gd name="connsiteY38040" fmla="*/ 2098093 h 5973007"/>
              <a:gd name="connsiteX38041" fmla="*/ 686034 w 6884782"/>
              <a:gd name="connsiteY38041" fmla="*/ 2096698 h 5973007"/>
              <a:gd name="connsiteX38042" fmla="*/ 686344 w 6884782"/>
              <a:gd name="connsiteY38042" fmla="*/ 2094840 h 5973007"/>
              <a:gd name="connsiteX38043" fmla="*/ 687377 w 6884782"/>
              <a:gd name="connsiteY38043" fmla="*/ 2094220 h 5973007"/>
              <a:gd name="connsiteX38044" fmla="*/ 5362384 w 6884782"/>
              <a:gd name="connsiteY38044" fmla="*/ 2094198 h 5973007"/>
              <a:gd name="connsiteX38045" fmla="*/ 5363025 w 6884782"/>
              <a:gd name="connsiteY38045" fmla="*/ 2095194 h 5973007"/>
              <a:gd name="connsiteX38046" fmla="*/ 5358756 w 6884782"/>
              <a:gd name="connsiteY38046" fmla="*/ 2096616 h 5973007"/>
              <a:gd name="connsiteX38047" fmla="*/ 5362384 w 6884782"/>
              <a:gd name="connsiteY38047" fmla="*/ 2094198 h 5973007"/>
              <a:gd name="connsiteX38048" fmla="*/ 5566840 w 6884782"/>
              <a:gd name="connsiteY38048" fmla="*/ 2092490 h 5973007"/>
              <a:gd name="connsiteX38049" fmla="*/ 5567908 w 6884782"/>
              <a:gd name="connsiteY38049" fmla="*/ 2093914 h 5973007"/>
              <a:gd name="connsiteX38050" fmla="*/ 5568121 w 6884782"/>
              <a:gd name="connsiteY38050" fmla="*/ 2092775 h 5973007"/>
              <a:gd name="connsiteX38051" fmla="*/ 5568335 w 6884782"/>
              <a:gd name="connsiteY38051" fmla="*/ 2094482 h 5973007"/>
              <a:gd name="connsiteX38052" fmla="*/ 5567908 w 6884782"/>
              <a:gd name="connsiteY38052" fmla="*/ 2095194 h 5973007"/>
              <a:gd name="connsiteX38053" fmla="*/ 5564280 w 6884782"/>
              <a:gd name="connsiteY38053" fmla="*/ 2095762 h 5973007"/>
              <a:gd name="connsiteX38054" fmla="*/ 5566840 w 6884782"/>
              <a:gd name="connsiteY38054" fmla="*/ 2092490 h 5973007"/>
              <a:gd name="connsiteX38055" fmla="*/ 843810 w 6884782"/>
              <a:gd name="connsiteY38055" fmla="*/ 2091896 h 5973007"/>
              <a:gd name="connsiteX38056" fmla="*/ 848560 w 6884782"/>
              <a:gd name="connsiteY38056" fmla="*/ 2098402 h 5973007"/>
              <a:gd name="connsiteX38057" fmla="*/ 835446 w 6884782"/>
              <a:gd name="connsiteY38057" fmla="*/ 2105063 h 5973007"/>
              <a:gd name="connsiteX38058" fmla="*/ 832142 w 6884782"/>
              <a:gd name="connsiteY38058" fmla="*/ 2100881 h 5973007"/>
              <a:gd name="connsiteX38059" fmla="*/ 843810 w 6884782"/>
              <a:gd name="connsiteY38059" fmla="*/ 2091896 h 5973007"/>
              <a:gd name="connsiteX38060" fmla="*/ 5917916 w 6884782"/>
              <a:gd name="connsiteY38060" fmla="*/ 2091210 h 5973007"/>
              <a:gd name="connsiteX38061" fmla="*/ 5915569 w 6884782"/>
              <a:gd name="connsiteY38061" fmla="*/ 2092064 h 5973007"/>
              <a:gd name="connsiteX38062" fmla="*/ 5915142 w 6884782"/>
              <a:gd name="connsiteY38062" fmla="*/ 2098466 h 5973007"/>
              <a:gd name="connsiteX38063" fmla="*/ 5915569 w 6884782"/>
              <a:gd name="connsiteY38063" fmla="*/ 2102307 h 5973007"/>
              <a:gd name="connsiteX38064" fmla="*/ 5916209 w 6884782"/>
              <a:gd name="connsiteY38064" fmla="*/ 2102307 h 5973007"/>
              <a:gd name="connsiteX38065" fmla="*/ 5920477 w 6884782"/>
              <a:gd name="connsiteY38065" fmla="*/ 2101026 h 5973007"/>
              <a:gd name="connsiteX38066" fmla="*/ 5917916 w 6884782"/>
              <a:gd name="connsiteY38066" fmla="*/ 2092490 h 5973007"/>
              <a:gd name="connsiteX38067" fmla="*/ 4923594 w 6884782"/>
              <a:gd name="connsiteY38067" fmla="*/ 2090357 h 5973007"/>
              <a:gd name="connsiteX38068" fmla="*/ 4927435 w 6884782"/>
              <a:gd name="connsiteY38068" fmla="*/ 2092775 h 5973007"/>
              <a:gd name="connsiteX38069" fmla="*/ 4927435 w 6884782"/>
              <a:gd name="connsiteY38069" fmla="*/ 2092490 h 5973007"/>
              <a:gd name="connsiteX38070" fmla="*/ 4928502 w 6884782"/>
              <a:gd name="connsiteY38070" fmla="*/ 2093059 h 5973007"/>
              <a:gd name="connsiteX38071" fmla="*/ 4928502 w 6884782"/>
              <a:gd name="connsiteY38071" fmla="*/ 2093486 h 5973007"/>
              <a:gd name="connsiteX38072" fmla="*/ 4929569 w 6884782"/>
              <a:gd name="connsiteY38072" fmla="*/ 2094340 h 5973007"/>
              <a:gd name="connsiteX38073" fmla="*/ 4933625 w 6884782"/>
              <a:gd name="connsiteY38073" fmla="*/ 2110132 h 5973007"/>
              <a:gd name="connsiteX38074" fmla="*/ 4923594 w 6884782"/>
              <a:gd name="connsiteY38074" fmla="*/ 2090357 h 5973007"/>
              <a:gd name="connsiteX38075" fmla="*/ 5647940 w 6884782"/>
              <a:gd name="connsiteY38075" fmla="*/ 2089645 h 5973007"/>
              <a:gd name="connsiteX38076" fmla="*/ 5648794 w 6884782"/>
              <a:gd name="connsiteY38076" fmla="*/ 2089645 h 5973007"/>
              <a:gd name="connsiteX38077" fmla="*/ 5651782 w 6884782"/>
              <a:gd name="connsiteY38077" fmla="*/ 2090784 h 5973007"/>
              <a:gd name="connsiteX38078" fmla="*/ 5651142 w 6884782"/>
              <a:gd name="connsiteY38078" fmla="*/ 2092348 h 5973007"/>
              <a:gd name="connsiteX38079" fmla="*/ 5652208 w 6884782"/>
              <a:gd name="connsiteY38079" fmla="*/ 2091779 h 5973007"/>
              <a:gd name="connsiteX38080" fmla="*/ 5650715 w 6884782"/>
              <a:gd name="connsiteY38080" fmla="*/ 2092775 h 5973007"/>
              <a:gd name="connsiteX38081" fmla="*/ 5649861 w 6884782"/>
              <a:gd name="connsiteY38081" fmla="*/ 2092632 h 5973007"/>
              <a:gd name="connsiteX38082" fmla="*/ 5647940 w 6884782"/>
              <a:gd name="connsiteY38082" fmla="*/ 2089645 h 5973007"/>
              <a:gd name="connsiteX38083" fmla="*/ 5984503 w 6884782"/>
              <a:gd name="connsiteY38083" fmla="*/ 2089219 h 5973007"/>
              <a:gd name="connsiteX38084" fmla="*/ 5973832 w 6884782"/>
              <a:gd name="connsiteY38084" fmla="*/ 2099746 h 5973007"/>
              <a:gd name="connsiteX38085" fmla="*/ 5969564 w 6884782"/>
              <a:gd name="connsiteY38085" fmla="*/ 2095762 h 5973007"/>
              <a:gd name="connsiteX38086" fmla="*/ 5984503 w 6884782"/>
              <a:gd name="connsiteY38086" fmla="*/ 2089219 h 5973007"/>
              <a:gd name="connsiteX38087" fmla="*/ 6081822 w 6884782"/>
              <a:gd name="connsiteY38087" fmla="*/ 2088080 h 5973007"/>
              <a:gd name="connsiteX38088" fmla="*/ 6085237 w 6884782"/>
              <a:gd name="connsiteY38088" fmla="*/ 2093914 h 5973007"/>
              <a:gd name="connsiteX38089" fmla="*/ 6085024 w 6884782"/>
              <a:gd name="connsiteY38089" fmla="*/ 2094767 h 5973007"/>
              <a:gd name="connsiteX38090" fmla="*/ 6085664 w 6884782"/>
              <a:gd name="connsiteY38090" fmla="*/ 2093914 h 5973007"/>
              <a:gd name="connsiteX38091" fmla="*/ 6092067 w 6884782"/>
              <a:gd name="connsiteY38091" fmla="*/ 2099177 h 5973007"/>
              <a:gd name="connsiteX38092" fmla="*/ 6092707 w 6884782"/>
              <a:gd name="connsiteY38092" fmla="*/ 2108425 h 5973007"/>
              <a:gd name="connsiteX38093" fmla="*/ 6078621 w 6884782"/>
              <a:gd name="connsiteY38093" fmla="*/ 2105152 h 5973007"/>
              <a:gd name="connsiteX38094" fmla="*/ 6079689 w 6884782"/>
              <a:gd name="connsiteY38094" fmla="*/ 2103018 h 5973007"/>
              <a:gd name="connsiteX38095" fmla="*/ 6077127 w 6884782"/>
              <a:gd name="connsiteY38095" fmla="*/ 2103161 h 5973007"/>
              <a:gd name="connsiteX38096" fmla="*/ 6073286 w 6884782"/>
              <a:gd name="connsiteY38096" fmla="*/ 2102450 h 5973007"/>
              <a:gd name="connsiteX38097" fmla="*/ 6072432 w 6884782"/>
              <a:gd name="connsiteY38097" fmla="*/ 2093914 h 5973007"/>
              <a:gd name="connsiteX38098" fmla="*/ 6075207 w 6884782"/>
              <a:gd name="connsiteY38098" fmla="*/ 2091210 h 5973007"/>
              <a:gd name="connsiteX38099" fmla="*/ 6082036 w 6884782"/>
              <a:gd name="connsiteY38099" fmla="*/ 2089076 h 5973007"/>
              <a:gd name="connsiteX38100" fmla="*/ 6081822 w 6884782"/>
              <a:gd name="connsiteY38100" fmla="*/ 2088080 h 5973007"/>
              <a:gd name="connsiteX38101" fmla="*/ 1186931 w 6884782"/>
              <a:gd name="connsiteY38101" fmla="*/ 2086011 h 5973007"/>
              <a:gd name="connsiteX38102" fmla="*/ 1184556 w 6884782"/>
              <a:gd name="connsiteY38102" fmla="*/ 2095459 h 5973007"/>
              <a:gd name="connsiteX38103" fmla="*/ 1186931 w 6884782"/>
              <a:gd name="connsiteY38103" fmla="*/ 2086011 h 5973007"/>
              <a:gd name="connsiteX38104" fmla="*/ 4730235 w 6884782"/>
              <a:gd name="connsiteY38104" fmla="*/ 2085946 h 5973007"/>
              <a:gd name="connsiteX38105" fmla="*/ 4747949 w 6884782"/>
              <a:gd name="connsiteY38105" fmla="*/ 2101596 h 5973007"/>
              <a:gd name="connsiteX38106" fmla="*/ 4748163 w 6884782"/>
              <a:gd name="connsiteY38106" fmla="*/ 2104156 h 5973007"/>
              <a:gd name="connsiteX38107" fmla="*/ 4749870 w 6884782"/>
              <a:gd name="connsiteY38107" fmla="*/ 2105863 h 5973007"/>
              <a:gd name="connsiteX38108" fmla="*/ 4750723 w 6884782"/>
              <a:gd name="connsiteY38108" fmla="*/ 2109989 h 5973007"/>
              <a:gd name="connsiteX38109" fmla="*/ 4748376 w 6884782"/>
              <a:gd name="connsiteY38109" fmla="*/ 2107855 h 5973007"/>
              <a:gd name="connsiteX38110" fmla="*/ 4748376 w 6884782"/>
              <a:gd name="connsiteY38110" fmla="*/ 2110701 h 5973007"/>
              <a:gd name="connsiteX38111" fmla="*/ 4728314 w 6884782"/>
              <a:gd name="connsiteY38111" fmla="*/ 2126920 h 5973007"/>
              <a:gd name="connsiteX38112" fmla="*/ 4725113 w 6884782"/>
              <a:gd name="connsiteY38112" fmla="*/ 2087511 h 5973007"/>
              <a:gd name="connsiteX38113" fmla="*/ 4730235 w 6884782"/>
              <a:gd name="connsiteY38113" fmla="*/ 2085946 h 5973007"/>
              <a:gd name="connsiteX38114" fmla="*/ 796932 w 6884782"/>
              <a:gd name="connsiteY38114" fmla="*/ 2085856 h 5973007"/>
              <a:gd name="connsiteX38115" fmla="*/ 795693 w 6884782"/>
              <a:gd name="connsiteY38115" fmla="*/ 2097163 h 5973007"/>
              <a:gd name="connsiteX38116" fmla="*/ 773699 w 6884782"/>
              <a:gd name="connsiteY38116" fmla="*/ 2095614 h 5973007"/>
              <a:gd name="connsiteX38117" fmla="*/ 782992 w 6884782"/>
              <a:gd name="connsiteY38117" fmla="*/ 2088644 h 5973007"/>
              <a:gd name="connsiteX38118" fmla="*/ 796932 w 6884782"/>
              <a:gd name="connsiteY38118" fmla="*/ 2085856 h 5973007"/>
              <a:gd name="connsiteX38119" fmla="*/ 5715168 w 6884782"/>
              <a:gd name="connsiteY38119" fmla="*/ 2084950 h 5973007"/>
              <a:gd name="connsiteX38120" fmla="*/ 5714101 w 6884782"/>
              <a:gd name="connsiteY38120" fmla="*/ 2085377 h 5973007"/>
              <a:gd name="connsiteX38121" fmla="*/ 5714101 w 6884782"/>
              <a:gd name="connsiteY38121" fmla="*/ 2085946 h 5973007"/>
              <a:gd name="connsiteX38122" fmla="*/ 5727332 w 6884782"/>
              <a:gd name="connsiteY38122" fmla="*/ 2084096 h 5973007"/>
              <a:gd name="connsiteX38123" fmla="*/ 5733095 w 6884782"/>
              <a:gd name="connsiteY38123" fmla="*/ 2084096 h 5973007"/>
              <a:gd name="connsiteX38124" fmla="*/ 5723064 w 6884782"/>
              <a:gd name="connsiteY38124" fmla="*/ 2086942 h 5973007"/>
              <a:gd name="connsiteX38125" fmla="*/ 5727332 w 6884782"/>
              <a:gd name="connsiteY38125" fmla="*/ 2084096 h 5973007"/>
              <a:gd name="connsiteX38126" fmla="*/ 986510 w 6884782"/>
              <a:gd name="connsiteY38126" fmla="*/ 2083997 h 5973007"/>
              <a:gd name="connsiteX38127" fmla="*/ 989298 w 6884782"/>
              <a:gd name="connsiteY38127" fmla="*/ 2087715 h 5973007"/>
              <a:gd name="connsiteX38128" fmla="*/ 990021 w 6884782"/>
              <a:gd name="connsiteY38128" fmla="*/ 2089419 h 5973007"/>
              <a:gd name="connsiteX38129" fmla="*/ 990744 w 6884782"/>
              <a:gd name="connsiteY38129" fmla="*/ 2090038 h 5973007"/>
              <a:gd name="connsiteX38130" fmla="*/ 991054 w 6884782"/>
              <a:gd name="connsiteY38130" fmla="*/ 2093446 h 5973007"/>
              <a:gd name="connsiteX38131" fmla="*/ 989401 w 6884782"/>
              <a:gd name="connsiteY38131" fmla="*/ 2092361 h 5973007"/>
              <a:gd name="connsiteX38132" fmla="*/ 988679 w 6884782"/>
              <a:gd name="connsiteY38132" fmla="*/ 2091742 h 5973007"/>
              <a:gd name="connsiteX38133" fmla="*/ 985374 w 6884782"/>
              <a:gd name="connsiteY38133" fmla="*/ 2090812 h 5973007"/>
              <a:gd name="connsiteX38134" fmla="*/ 961625 w 6884782"/>
              <a:gd name="connsiteY38134" fmla="*/ 2092826 h 5973007"/>
              <a:gd name="connsiteX38135" fmla="*/ 972054 w 6884782"/>
              <a:gd name="connsiteY38135" fmla="*/ 2086165 h 5973007"/>
              <a:gd name="connsiteX38136" fmla="*/ 986510 w 6884782"/>
              <a:gd name="connsiteY38136" fmla="*/ 2083997 h 5973007"/>
              <a:gd name="connsiteX38137" fmla="*/ 5420862 w 6884782"/>
              <a:gd name="connsiteY38137" fmla="*/ 2083954 h 5973007"/>
              <a:gd name="connsiteX38138" fmla="*/ 5408270 w 6884782"/>
              <a:gd name="connsiteY38138" fmla="*/ 2107002 h 5973007"/>
              <a:gd name="connsiteX38139" fmla="*/ 5407203 w 6884782"/>
              <a:gd name="connsiteY38139" fmla="*/ 2109847 h 5973007"/>
              <a:gd name="connsiteX38140" fmla="*/ 5405282 w 6884782"/>
              <a:gd name="connsiteY38140" fmla="*/ 2108993 h 5973007"/>
              <a:gd name="connsiteX38141" fmla="*/ 5402080 w 6884782"/>
              <a:gd name="connsiteY38141" fmla="*/ 2111127 h 5973007"/>
              <a:gd name="connsiteX38142" fmla="*/ 5402721 w 6884782"/>
              <a:gd name="connsiteY38142" fmla="*/ 2106717 h 5973007"/>
              <a:gd name="connsiteX38143" fmla="*/ 5401654 w 6884782"/>
              <a:gd name="connsiteY38143" fmla="*/ 2104583 h 5973007"/>
              <a:gd name="connsiteX38144" fmla="*/ 5402721 w 6884782"/>
              <a:gd name="connsiteY38144" fmla="*/ 2100884 h 5973007"/>
              <a:gd name="connsiteX38145" fmla="*/ 5404855 w 6884782"/>
              <a:gd name="connsiteY38145" fmla="*/ 2099177 h 5973007"/>
              <a:gd name="connsiteX38146" fmla="*/ 5407843 w 6884782"/>
              <a:gd name="connsiteY38146" fmla="*/ 2093486 h 5973007"/>
              <a:gd name="connsiteX38147" fmla="*/ 5420862 w 6884782"/>
              <a:gd name="connsiteY38147" fmla="*/ 2083954 h 5973007"/>
              <a:gd name="connsiteX38148" fmla="*/ 810665 w 6884782"/>
              <a:gd name="connsiteY38148" fmla="*/ 2083842 h 5973007"/>
              <a:gd name="connsiteX38149" fmla="*/ 809736 w 6884782"/>
              <a:gd name="connsiteY38149" fmla="*/ 2087869 h 5973007"/>
              <a:gd name="connsiteX38150" fmla="*/ 807980 w 6884782"/>
              <a:gd name="connsiteY38150" fmla="*/ 2084307 h 5973007"/>
              <a:gd name="connsiteX38151" fmla="*/ 810665 w 6884782"/>
              <a:gd name="connsiteY38151" fmla="*/ 2083842 h 5973007"/>
              <a:gd name="connsiteX38152" fmla="*/ 5641111 w 6884782"/>
              <a:gd name="connsiteY38152" fmla="*/ 2083243 h 5973007"/>
              <a:gd name="connsiteX38153" fmla="*/ 5647727 w 6884782"/>
              <a:gd name="connsiteY38153" fmla="*/ 2089787 h 5973007"/>
              <a:gd name="connsiteX38154" fmla="*/ 5645166 w 6884782"/>
              <a:gd name="connsiteY38154" fmla="*/ 2088791 h 5973007"/>
              <a:gd name="connsiteX38155" fmla="*/ 5647087 w 6884782"/>
              <a:gd name="connsiteY38155" fmla="*/ 2090784 h 5973007"/>
              <a:gd name="connsiteX38156" fmla="*/ 5649220 w 6884782"/>
              <a:gd name="connsiteY38156" fmla="*/ 2098039 h 5973007"/>
              <a:gd name="connsiteX38157" fmla="*/ 5646446 w 6884782"/>
              <a:gd name="connsiteY38157" fmla="*/ 2098039 h 5973007"/>
              <a:gd name="connsiteX38158" fmla="*/ 5652208 w 6884782"/>
              <a:gd name="connsiteY38158" fmla="*/ 2099461 h 5973007"/>
              <a:gd name="connsiteX38159" fmla="*/ 5659465 w 6884782"/>
              <a:gd name="connsiteY38159" fmla="*/ 2100315 h 5973007"/>
              <a:gd name="connsiteX38160" fmla="*/ 5666934 w 6884782"/>
              <a:gd name="connsiteY38160" fmla="*/ 2094482 h 5973007"/>
              <a:gd name="connsiteX38161" fmla="*/ 5672057 w 6884782"/>
              <a:gd name="connsiteY38161" fmla="*/ 2094767 h 5973007"/>
              <a:gd name="connsiteX38162" fmla="*/ 5658825 w 6884782"/>
              <a:gd name="connsiteY38162" fmla="*/ 2126635 h 5973007"/>
              <a:gd name="connsiteX38163" fmla="*/ 5650715 w 6884782"/>
              <a:gd name="connsiteY38163" fmla="*/ 2132610 h 5973007"/>
              <a:gd name="connsiteX38164" fmla="*/ 5653916 w 6884782"/>
              <a:gd name="connsiteY38164" fmla="*/ 2109562 h 5973007"/>
              <a:gd name="connsiteX38165" fmla="*/ 5633214 w 6884782"/>
              <a:gd name="connsiteY38165" fmla="*/ 2099604 h 5973007"/>
              <a:gd name="connsiteX38166" fmla="*/ 5638336 w 6884782"/>
              <a:gd name="connsiteY38166" fmla="*/ 2097185 h 5973007"/>
              <a:gd name="connsiteX38167" fmla="*/ 5637909 w 6884782"/>
              <a:gd name="connsiteY38167" fmla="*/ 2092775 h 5973007"/>
              <a:gd name="connsiteX38168" fmla="*/ 5638977 w 6884782"/>
              <a:gd name="connsiteY38168" fmla="*/ 2091637 h 5973007"/>
              <a:gd name="connsiteX38169" fmla="*/ 5637909 w 6884782"/>
              <a:gd name="connsiteY38169" fmla="*/ 2089930 h 5973007"/>
              <a:gd name="connsiteX38170" fmla="*/ 5636842 w 6884782"/>
              <a:gd name="connsiteY38170" fmla="*/ 2088507 h 5973007"/>
              <a:gd name="connsiteX38171" fmla="*/ 5638550 w 6884782"/>
              <a:gd name="connsiteY38171" fmla="*/ 2085803 h 5973007"/>
              <a:gd name="connsiteX38172" fmla="*/ 5640471 w 6884782"/>
              <a:gd name="connsiteY38172" fmla="*/ 2085946 h 5973007"/>
              <a:gd name="connsiteX38173" fmla="*/ 1068754 w 6884782"/>
              <a:gd name="connsiteY38173" fmla="*/ 2082951 h 5973007"/>
              <a:gd name="connsiteX38174" fmla="*/ 1074794 w 6884782"/>
              <a:gd name="connsiteY38174" fmla="*/ 2085236 h 5973007"/>
              <a:gd name="connsiteX38175" fmla="*/ 1076446 w 6884782"/>
              <a:gd name="connsiteY38175" fmla="*/ 2087095 h 5973007"/>
              <a:gd name="connsiteX38176" fmla="*/ 1078202 w 6884782"/>
              <a:gd name="connsiteY38176" fmla="*/ 2088179 h 5973007"/>
              <a:gd name="connsiteX38177" fmla="*/ 1080783 w 6884782"/>
              <a:gd name="connsiteY38177" fmla="*/ 2093446 h 5973007"/>
              <a:gd name="connsiteX38178" fmla="*/ 1077892 w 6884782"/>
              <a:gd name="connsiteY38178" fmla="*/ 2092516 h 5973007"/>
              <a:gd name="connsiteX38179" fmla="*/ 1077892 w 6884782"/>
              <a:gd name="connsiteY38179" fmla="*/ 2093291 h 5973007"/>
              <a:gd name="connsiteX38180" fmla="*/ 1073762 w 6884782"/>
              <a:gd name="connsiteY38180" fmla="*/ 2093600 h 5973007"/>
              <a:gd name="connsiteX38181" fmla="*/ 1072729 w 6884782"/>
              <a:gd name="connsiteY38181" fmla="*/ 2090657 h 5973007"/>
              <a:gd name="connsiteX38182" fmla="*/ 1070561 w 6884782"/>
              <a:gd name="connsiteY38182" fmla="*/ 2089883 h 5973007"/>
              <a:gd name="connsiteX38183" fmla="*/ 1064159 w 6884782"/>
              <a:gd name="connsiteY38183" fmla="*/ 2086630 h 5973007"/>
              <a:gd name="connsiteX38184" fmla="*/ 1062817 w 6884782"/>
              <a:gd name="connsiteY38184" fmla="*/ 2085236 h 5973007"/>
              <a:gd name="connsiteX38185" fmla="*/ 1063333 w 6884782"/>
              <a:gd name="connsiteY38185" fmla="*/ 2083222 h 5973007"/>
              <a:gd name="connsiteX38186" fmla="*/ 1068754 w 6884782"/>
              <a:gd name="connsiteY38186" fmla="*/ 2082951 h 5973007"/>
              <a:gd name="connsiteX38187" fmla="*/ 5267626 w 6884782"/>
              <a:gd name="connsiteY38187" fmla="*/ 2082674 h 5973007"/>
              <a:gd name="connsiteX38188" fmla="*/ 5275309 w 6884782"/>
              <a:gd name="connsiteY38188" fmla="*/ 2091210 h 5973007"/>
              <a:gd name="connsiteX38189" fmla="*/ 5274883 w 6884782"/>
              <a:gd name="connsiteY38189" fmla="*/ 2099461 h 5973007"/>
              <a:gd name="connsiteX38190" fmla="*/ 5275949 w 6884782"/>
              <a:gd name="connsiteY38190" fmla="*/ 2102450 h 5973007"/>
              <a:gd name="connsiteX38191" fmla="*/ 5275096 w 6884782"/>
              <a:gd name="connsiteY38191" fmla="*/ 2103018 h 5973007"/>
              <a:gd name="connsiteX38192" fmla="*/ 5271681 w 6884782"/>
              <a:gd name="connsiteY38192" fmla="*/ 2101596 h 5973007"/>
              <a:gd name="connsiteX38193" fmla="*/ 5271681 w 6884782"/>
              <a:gd name="connsiteY38193" fmla="*/ 2100457 h 5973007"/>
              <a:gd name="connsiteX38194" fmla="*/ 5270828 w 6884782"/>
              <a:gd name="connsiteY38194" fmla="*/ 2100031 h 5973007"/>
              <a:gd name="connsiteX38195" fmla="*/ 5267626 w 6884782"/>
              <a:gd name="connsiteY38195" fmla="*/ 2082674 h 5973007"/>
              <a:gd name="connsiteX38196" fmla="*/ 4783590 w 6884782"/>
              <a:gd name="connsiteY38196" fmla="*/ 2081820 h 5973007"/>
              <a:gd name="connsiteX38197" fmla="*/ 4790420 w 6884782"/>
              <a:gd name="connsiteY38197" fmla="*/ 2083528 h 5973007"/>
              <a:gd name="connsiteX38198" fmla="*/ 4787645 w 6884782"/>
              <a:gd name="connsiteY38198" fmla="*/ 2090357 h 5973007"/>
              <a:gd name="connsiteX38199" fmla="*/ 4790420 w 6884782"/>
              <a:gd name="connsiteY38199" fmla="*/ 2090925 h 5973007"/>
              <a:gd name="connsiteX38200" fmla="*/ 4793194 w 6884782"/>
              <a:gd name="connsiteY38200" fmla="*/ 2092775 h 5973007"/>
              <a:gd name="connsiteX38201" fmla="*/ 4792767 w 6884782"/>
              <a:gd name="connsiteY38201" fmla="*/ 2094625 h 5973007"/>
              <a:gd name="connsiteX38202" fmla="*/ 4800023 w 6884782"/>
              <a:gd name="connsiteY38202" fmla="*/ 2091494 h 5973007"/>
              <a:gd name="connsiteX38203" fmla="*/ 4805573 w 6884782"/>
              <a:gd name="connsiteY38203" fmla="*/ 2091637 h 5973007"/>
              <a:gd name="connsiteX38204" fmla="*/ 4822006 w 6884782"/>
              <a:gd name="connsiteY38204" fmla="*/ 2099177 h 5973007"/>
              <a:gd name="connsiteX38205" fmla="*/ 4820939 w 6884782"/>
              <a:gd name="connsiteY38205" fmla="*/ 2100173 h 5973007"/>
              <a:gd name="connsiteX38206" fmla="*/ 4824567 w 6884782"/>
              <a:gd name="connsiteY38206" fmla="*/ 2105295 h 5973007"/>
              <a:gd name="connsiteX38207" fmla="*/ 4818164 w 6884782"/>
              <a:gd name="connsiteY38207" fmla="*/ 2112692 h 5973007"/>
              <a:gd name="connsiteX38208" fmla="*/ 4809841 w 6884782"/>
              <a:gd name="connsiteY38208" fmla="*/ 2116249 h 5973007"/>
              <a:gd name="connsiteX38209" fmla="*/ 4810268 w 6884782"/>
              <a:gd name="connsiteY38209" fmla="*/ 2116249 h 5973007"/>
              <a:gd name="connsiteX38210" fmla="*/ 4812402 w 6884782"/>
              <a:gd name="connsiteY38210" fmla="*/ 2119806 h 5973007"/>
              <a:gd name="connsiteX38211" fmla="*/ 4811121 w 6884782"/>
              <a:gd name="connsiteY38211" fmla="*/ 2124501 h 5973007"/>
              <a:gd name="connsiteX38212" fmla="*/ 4808561 w 6884782"/>
              <a:gd name="connsiteY38212" fmla="*/ 2127346 h 5973007"/>
              <a:gd name="connsiteX38213" fmla="*/ 4804719 w 6884782"/>
              <a:gd name="connsiteY38213" fmla="*/ 2128057 h 5973007"/>
              <a:gd name="connsiteX38214" fmla="*/ 4801944 w 6884782"/>
              <a:gd name="connsiteY38214" fmla="*/ 2126635 h 5973007"/>
              <a:gd name="connsiteX38215" fmla="*/ 4800237 w 6884782"/>
              <a:gd name="connsiteY38215" fmla="*/ 2119948 h 5973007"/>
              <a:gd name="connsiteX38216" fmla="*/ 4804932 w 6884782"/>
              <a:gd name="connsiteY38216" fmla="*/ 2116818 h 5973007"/>
              <a:gd name="connsiteX38217" fmla="*/ 4809627 w 6884782"/>
              <a:gd name="connsiteY38217" fmla="*/ 2116391 h 5973007"/>
              <a:gd name="connsiteX38218" fmla="*/ 4803865 w 6884782"/>
              <a:gd name="connsiteY38218" fmla="*/ 2110843 h 5973007"/>
              <a:gd name="connsiteX38219" fmla="*/ 4805359 w 6884782"/>
              <a:gd name="connsiteY38219" fmla="*/ 2105721 h 5973007"/>
              <a:gd name="connsiteX38220" fmla="*/ 4808774 w 6884782"/>
              <a:gd name="connsiteY38220" fmla="*/ 2102734 h 5973007"/>
              <a:gd name="connsiteX38221" fmla="*/ 4799597 w 6884782"/>
              <a:gd name="connsiteY38221" fmla="*/ 2099604 h 5973007"/>
              <a:gd name="connsiteX38222" fmla="*/ 4792554 w 6884782"/>
              <a:gd name="connsiteY38222" fmla="*/ 2094909 h 5973007"/>
              <a:gd name="connsiteX38223" fmla="*/ 4791914 w 6884782"/>
              <a:gd name="connsiteY38223" fmla="*/ 2098750 h 5973007"/>
              <a:gd name="connsiteX38224" fmla="*/ 4775480 w 6884782"/>
              <a:gd name="connsiteY38224" fmla="*/ 2102734 h 5973007"/>
              <a:gd name="connsiteX38225" fmla="*/ 4776761 w 6884782"/>
              <a:gd name="connsiteY38225" fmla="*/ 2091921 h 5973007"/>
              <a:gd name="connsiteX38226" fmla="*/ 4779749 w 6884782"/>
              <a:gd name="connsiteY38226" fmla="*/ 2091352 h 5973007"/>
              <a:gd name="connsiteX38227" fmla="*/ 4781243 w 6884782"/>
              <a:gd name="connsiteY38227" fmla="*/ 2090214 h 5973007"/>
              <a:gd name="connsiteX38228" fmla="*/ 4780176 w 6884782"/>
              <a:gd name="connsiteY38228" fmla="*/ 2087084 h 5973007"/>
              <a:gd name="connsiteX38229" fmla="*/ 4776334 w 6884782"/>
              <a:gd name="connsiteY38229" fmla="*/ 2082674 h 5973007"/>
              <a:gd name="connsiteX38230" fmla="*/ 4783590 w 6884782"/>
              <a:gd name="connsiteY38230" fmla="*/ 2081820 h 5973007"/>
              <a:gd name="connsiteX38231" fmla="*/ 5742271 w 6884782"/>
              <a:gd name="connsiteY38231" fmla="*/ 2080683 h 5973007"/>
              <a:gd name="connsiteX38232" fmla="*/ 5742271 w 6884782"/>
              <a:gd name="connsiteY38232" fmla="*/ 2085662 h 5973007"/>
              <a:gd name="connsiteX38233" fmla="*/ 5739284 w 6884782"/>
              <a:gd name="connsiteY38233" fmla="*/ 2088080 h 5973007"/>
              <a:gd name="connsiteX38234" fmla="*/ 5739071 w 6884782"/>
              <a:gd name="connsiteY38234" fmla="*/ 2086942 h 5973007"/>
              <a:gd name="connsiteX38235" fmla="*/ 5736723 w 6884782"/>
              <a:gd name="connsiteY38235" fmla="*/ 2082816 h 5973007"/>
              <a:gd name="connsiteX38236" fmla="*/ 5742271 w 6884782"/>
              <a:gd name="connsiteY38236" fmla="*/ 2080683 h 5973007"/>
              <a:gd name="connsiteX38237" fmla="*/ 861673 w 6884782"/>
              <a:gd name="connsiteY38237" fmla="*/ 2080279 h 5973007"/>
              <a:gd name="connsiteX38238" fmla="*/ 859815 w 6884782"/>
              <a:gd name="connsiteY38238" fmla="*/ 2083068 h 5973007"/>
              <a:gd name="connsiteX38239" fmla="*/ 857233 w 6884782"/>
              <a:gd name="connsiteY38239" fmla="*/ 2082293 h 5973007"/>
              <a:gd name="connsiteX38240" fmla="*/ 859298 w 6884782"/>
              <a:gd name="connsiteY38240" fmla="*/ 2080899 h 5973007"/>
              <a:gd name="connsiteX38241" fmla="*/ 861673 w 6884782"/>
              <a:gd name="connsiteY38241" fmla="*/ 2080279 h 5973007"/>
              <a:gd name="connsiteX38242" fmla="*/ 4815390 w 6884782"/>
              <a:gd name="connsiteY38242" fmla="*/ 2079971 h 5973007"/>
              <a:gd name="connsiteX38243" fmla="*/ 4817524 w 6884782"/>
              <a:gd name="connsiteY38243" fmla="*/ 2082816 h 5973007"/>
              <a:gd name="connsiteX38244" fmla="*/ 4816884 w 6884782"/>
              <a:gd name="connsiteY38244" fmla="*/ 2085662 h 5973007"/>
              <a:gd name="connsiteX38245" fmla="*/ 4813896 w 6884782"/>
              <a:gd name="connsiteY38245" fmla="*/ 2089930 h 5973007"/>
              <a:gd name="connsiteX38246" fmla="*/ 4808347 w 6884782"/>
              <a:gd name="connsiteY38246" fmla="*/ 2091210 h 5973007"/>
              <a:gd name="connsiteX38247" fmla="*/ 4809414 w 6884782"/>
              <a:gd name="connsiteY38247" fmla="*/ 2090925 h 5973007"/>
              <a:gd name="connsiteX38248" fmla="*/ 4808774 w 6884782"/>
              <a:gd name="connsiteY38248" fmla="*/ 2088507 h 5973007"/>
              <a:gd name="connsiteX38249" fmla="*/ 4807706 w 6884782"/>
              <a:gd name="connsiteY38249" fmla="*/ 2088934 h 5973007"/>
              <a:gd name="connsiteX38250" fmla="*/ 4808347 w 6884782"/>
              <a:gd name="connsiteY38250" fmla="*/ 2086373 h 5973007"/>
              <a:gd name="connsiteX38251" fmla="*/ 4815390 w 6884782"/>
              <a:gd name="connsiteY38251" fmla="*/ 2079971 h 5973007"/>
              <a:gd name="connsiteX38252" fmla="*/ 4688405 w 6884782"/>
              <a:gd name="connsiteY38252" fmla="*/ 2079971 h 5973007"/>
              <a:gd name="connsiteX38253" fmla="*/ 4694167 w 6884782"/>
              <a:gd name="connsiteY38253" fmla="*/ 2081678 h 5973007"/>
              <a:gd name="connsiteX38254" fmla="*/ 4688405 w 6884782"/>
              <a:gd name="connsiteY38254" fmla="*/ 2108709 h 5973007"/>
              <a:gd name="connsiteX38255" fmla="*/ 4688405 w 6884782"/>
              <a:gd name="connsiteY38255" fmla="*/ 2079971 h 5973007"/>
              <a:gd name="connsiteX38256" fmla="*/ 4838439 w 6884782"/>
              <a:gd name="connsiteY38256" fmla="*/ 2079259 h 5973007"/>
              <a:gd name="connsiteX38257" fmla="*/ 4839079 w 6884782"/>
              <a:gd name="connsiteY38257" fmla="*/ 2088649 h 5973007"/>
              <a:gd name="connsiteX38258" fmla="*/ 4838012 w 6884782"/>
              <a:gd name="connsiteY38258" fmla="*/ 2089645 h 5973007"/>
              <a:gd name="connsiteX38259" fmla="*/ 4838439 w 6884782"/>
              <a:gd name="connsiteY38259" fmla="*/ 2079259 h 5973007"/>
              <a:gd name="connsiteX38260" fmla="*/ 4775907 w 6884782"/>
              <a:gd name="connsiteY38260" fmla="*/ 2079259 h 5973007"/>
              <a:gd name="connsiteX38261" fmla="*/ 4772919 w 6884782"/>
              <a:gd name="connsiteY38261" fmla="*/ 2086800 h 5973007"/>
              <a:gd name="connsiteX38262" fmla="*/ 4768864 w 6884782"/>
              <a:gd name="connsiteY38262" fmla="*/ 2087084 h 5973007"/>
              <a:gd name="connsiteX38263" fmla="*/ 4769078 w 6884782"/>
              <a:gd name="connsiteY38263" fmla="*/ 2090357 h 5973007"/>
              <a:gd name="connsiteX38264" fmla="*/ 4762462 w 6884782"/>
              <a:gd name="connsiteY38264" fmla="*/ 2098750 h 5973007"/>
              <a:gd name="connsiteX38265" fmla="*/ 4751577 w 6884782"/>
              <a:gd name="connsiteY38265" fmla="*/ 2085235 h 5973007"/>
              <a:gd name="connsiteX38266" fmla="*/ 4765022 w 6884782"/>
              <a:gd name="connsiteY38266" fmla="*/ 2080398 h 5973007"/>
              <a:gd name="connsiteX38267" fmla="*/ 4766090 w 6884782"/>
              <a:gd name="connsiteY38267" fmla="*/ 2081536 h 5973007"/>
              <a:gd name="connsiteX38268" fmla="*/ 4767157 w 6884782"/>
              <a:gd name="connsiteY38268" fmla="*/ 2080683 h 5973007"/>
              <a:gd name="connsiteX38269" fmla="*/ 4775907 w 6884782"/>
              <a:gd name="connsiteY38269" fmla="*/ 2079259 h 5973007"/>
              <a:gd name="connsiteX38270" fmla="*/ 4710600 w 6884782"/>
              <a:gd name="connsiteY38270" fmla="*/ 2078975 h 5973007"/>
              <a:gd name="connsiteX38271" fmla="*/ 4714229 w 6884782"/>
              <a:gd name="connsiteY38271" fmla="*/ 2079259 h 5973007"/>
              <a:gd name="connsiteX38272" fmla="*/ 4713802 w 6884782"/>
              <a:gd name="connsiteY38272" fmla="*/ 2085946 h 5973007"/>
              <a:gd name="connsiteX38273" fmla="*/ 4710600 w 6884782"/>
              <a:gd name="connsiteY38273" fmla="*/ 2078975 h 5973007"/>
              <a:gd name="connsiteX38274" fmla="*/ 863016 w 6884782"/>
              <a:gd name="connsiteY38274" fmla="*/ 2078266 h 5973007"/>
              <a:gd name="connsiteX38275" fmla="*/ 862087 w 6884782"/>
              <a:gd name="connsiteY38275" fmla="*/ 2079815 h 5973007"/>
              <a:gd name="connsiteX38276" fmla="*/ 861363 w 6884782"/>
              <a:gd name="connsiteY38276" fmla="*/ 2079350 h 5973007"/>
              <a:gd name="connsiteX38277" fmla="*/ 862087 w 6884782"/>
              <a:gd name="connsiteY38277" fmla="*/ 2078421 h 5973007"/>
              <a:gd name="connsiteX38278" fmla="*/ 863016 w 6884782"/>
              <a:gd name="connsiteY38278" fmla="*/ 2078266 h 5973007"/>
              <a:gd name="connsiteX38279" fmla="*/ 4797890 w 6884782"/>
              <a:gd name="connsiteY38279" fmla="*/ 2078264 h 5973007"/>
              <a:gd name="connsiteX38280" fmla="*/ 4802798 w 6884782"/>
              <a:gd name="connsiteY38280" fmla="*/ 2082247 h 5973007"/>
              <a:gd name="connsiteX38281" fmla="*/ 4802798 w 6884782"/>
              <a:gd name="connsiteY38281" fmla="*/ 2087226 h 5973007"/>
              <a:gd name="connsiteX38282" fmla="*/ 4797890 w 6884782"/>
              <a:gd name="connsiteY38282" fmla="*/ 2078264 h 5973007"/>
              <a:gd name="connsiteX38283" fmla="*/ 5781327 w 6884782"/>
              <a:gd name="connsiteY38283" fmla="*/ 2077837 h 5973007"/>
              <a:gd name="connsiteX38284" fmla="*/ 5785810 w 6884782"/>
              <a:gd name="connsiteY38284" fmla="*/ 2085377 h 5973007"/>
              <a:gd name="connsiteX38285" fmla="*/ 5782181 w 6884782"/>
              <a:gd name="connsiteY38285" fmla="*/ 2109847 h 5973007"/>
              <a:gd name="connsiteX38286" fmla="*/ 5781327 w 6884782"/>
              <a:gd name="connsiteY38286" fmla="*/ 2077837 h 5973007"/>
              <a:gd name="connsiteX38287" fmla="*/ 5532907 w 6884782"/>
              <a:gd name="connsiteY38287" fmla="*/ 2077409 h 5973007"/>
              <a:gd name="connsiteX38288" fmla="*/ 5548486 w 6884782"/>
              <a:gd name="connsiteY38288" fmla="*/ 2086942 h 5973007"/>
              <a:gd name="connsiteX38289" fmla="*/ 5551688 w 6884782"/>
              <a:gd name="connsiteY38289" fmla="*/ 2091067 h 5973007"/>
              <a:gd name="connsiteX38290" fmla="*/ 5551901 w 6884782"/>
              <a:gd name="connsiteY38290" fmla="*/ 2090925 h 5973007"/>
              <a:gd name="connsiteX38291" fmla="*/ 5557024 w 6884782"/>
              <a:gd name="connsiteY38291" fmla="*/ 2086657 h 5973007"/>
              <a:gd name="connsiteX38292" fmla="*/ 5560652 w 6884782"/>
              <a:gd name="connsiteY38292" fmla="*/ 2087084 h 5973007"/>
              <a:gd name="connsiteX38293" fmla="*/ 5564280 w 6884782"/>
              <a:gd name="connsiteY38293" fmla="*/ 2093486 h 5973007"/>
              <a:gd name="connsiteX38294" fmla="*/ 5564066 w 6884782"/>
              <a:gd name="connsiteY38294" fmla="*/ 2095904 h 5973007"/>
              <a:gd name="connsiteX38295" fmla="*/ 5564280 w 6884782"/>
              <a:gd name="connsiteY38295" fmla="*/ 2095904 h 5973007"/>
              <a:gd name="connsiteX38296" fmla="*/ 5563853 w 6884782"/>
              <a:gd name="connsiteY38296" fmla="*/ 2096332 h 5973007"/>
              <a:gd name="connsiteX38297" fmla="*/ 5563853 w 6884782"/>
              <a:gd name="connsiteY38297" fmla="*/ 2097327 h 5973007"/>
              <a:gd name="connsiteX38298" fmla="*/ 5564920 w 6884782"/>
              <a:gd name="connsiteY38298" fmla="*/ 2096901 h 5973007"/>
              <a:gd name="connsiteX38299" fmla="*/ 5572390 w 6884782"/>
              <a:gd name="connsiteY38299" fmla="*/ 2097754 h 5973007"/>
              <a:gd name="connsiteX38300" fmla="*/ 5569188 w 6884782"/>
              <a:gd name="connsiteY38300" fmla="*/ 2104583 h 5973007"/>
              <a:gd name="connsiteX38301" fmla="*/ 5568335 w 6884782"/>
              <a:gd name="connsiteY38301" fmla="*/ 2104441 h 5973007"/>
              <a:gd name="connsiteX38302" fmla="*/ 5568121 w 6884782"/>
              <a:gd name="connsiteY38302" fmla="*/ 2104583 h 5973007"/>
              <a:gd name="connsiteX38303" fmla="*/ 5567481 w 6884782"/>
              <a:gd name="connsiteY38303" fmla="*/ 2107571 h 5973007"/>
              <a:gd name="connsiteX38304" fmla="*/ 5562999 w 6884782"/>
              <a:gd name="connsiteY38304" fmla="*/ 2106006 h 5973007"/>
              <a:gd name="connsiteX38305" fmla="*/ 5562572 w 6884782"/>
              <a:gd name="connsiteY38305" fmla="*/ 2104725 h 5973007"/>
              <a:gd name="connsiteX38306" fmla="*/ 5561932 w 6884782"/>
              <a:gd name="connsiteY38306" fmla="*/ 2104868 h 5973007"/>
              <a:gd name="connsiteX38307" fmla="*/ 5560865 w 6884782"/>
              <a:gd name="connsiteY38307" fmla="*/ 2106860 h 5973007"/>
              <a:gd name="connsiteX38308" fmla="*/ 5561719 w 6884782"/>
              <a:gd name="connsiteY38308" fmla="*/ 2109136 h 5973007"/>
              <a:gd name="connsiteX38309" fmla="*/ 5557450 w 6884782"/>
              <a:gd name="connsiteY38309" fmla="*/ 2109989 h 5973007"/>
              <a:gd name="connsiteX38310" fmla="*/ 5553822 w 6884782"/>
              <a:gd name="connsiteY38310" fmla="*/ 2111270 h 5973007"/>
              <a:gd name="connsiteX38311" fmla="*/ 5550194 w 6884782"/>
              <a:gd name="connsiteY38311" fmla="*/ 2109136 h 5973007"/>
              <a:gd name="connsiteX38312" fmla="*/ 5550194 w 6884782"/>
              <a:gd name="connsiteY38312" fmla="*/ 2107713 h 5973007"/>
              <a:gd name="connsiteX38313" fmla="*/ 5541444 w 6884782"/>
              <a:gd name="connsiteY38313" fmla="*/ 2099888 h 5973007"/>
              <a:gd name="connsiteX38314" fmla="*/ 5527144 w 6884782"/>
              <a:gd name="connsiteY38314" fmla="*/ 2118526 h 5973007"/>
              <a:gd name="connsiteX38315" fmla="*/ 5534614 w 6884782"/>
              <a:gd name="connsiteY38315" fmla="*/ 2091921 h 5973007"/>
              <a:gd name="connsiteX38316" fmla="*/ 5532907 w 6884782"/>
              <a:gd name="connsiteY38316" fmla="*/ 2077409 h 5973007"/>
              <a:gd name="connsiteX38317" fmla="*/ 4730235 w 6884782"/>
              <a:gd name="connsiteY38317" fmla="*/ 2077126 h 5973007"/>
              <a:gd name="connsiteX38318" fmla="*/ 4720845 w 6884782"/>
              <a:gd name="connsiteY38318" fmla="*/ 2087226 h 5973007"/>
              <a:gd name="connsiteX38319" fmla="*/ 4730235 w 6884782"/>
              <a:gd name="connsiteY38319" fmla="*/ 2077126 h 5973007"/>
              <a:gd name="connsiteX38320" fmla="*/ 917845 w 6884782"/>
              <a:gd name="connsiteY38320" fmla="*/ 2076717 h 5973007"/>
              <a:gd name="connsiteX38321" fmla="*/ 920839 w 6884782"/>
              <a:gd name="connsiteY38321" fmla="*/ 2079660 h 5973007"/>
              <a:gd name="connsiteX38322" fmla="*/ 910204 w 6884782"/>
              <a:gd name="connsiteY38322" fmla="*/ 2092361 h 5973007"/>
              <a:gd name="connsiteX38323" fmla="*/ 907106 w 6884782"/>
              <a:gd name="connsiteY38323" fmla="*/ 2089108 h 5973007"/>
              <a:gd name="connsiteX38324" fmla="*/ 907622 w 6884782"/>
              <a:gd name="connsiteY38324" fmla="*/ 2085391 h 5973007"/>
              <a:gd name="connsiteX38325" fmla="*/ 909378 w 6884782"/>
              <a:gd name="connsiteY38325" fmla="*/ 2082138 h 5973007"/>
              <a:gd name="connsiteX38326" fmla="*/ 912682 w 6884782"/>
              <a:gd name="connsiteY38326" fmla="*/ 2080125 h 5973007"/>
              <a:gd name="connsiteX38327" fmla="*/ 917845 w 6884782"/>
              <a:gd name="connsiteY38327" fmla="*/ 2076717 h 5973007"/>
              <a:gd name="connsiteX38328" fmla="*/ 5932216 w 6884782"/>
              <a:gd name="connsiteY38328" fmla="*/ 2074991 h 5973007"/>
              <a:gd name="connsiteX38329" fmla="*/ 5942887 w 6884782"/>
              <a:gd name="connsiteY38329" fmla="*/ 2084666 h 5973007"/>
              <a:gd name="connsiteX38330" fmla="*/ 5940325 w 6884782"/>
              <a:gd name="connsiteY38330" fmla="*/ 2090925 h 5973007"/>
              <a:gd name="connsiteX38331" fmla="*/ 5926666 w 6884782"/>
              <a:gd name="connsiteY38331" fmla="*/ 2078121 h 5973007"/>
              <a:gd name="connsiteX38332" fmla="*/ 5932216 w 6884782"/>
              <a:gd name="connsiteY38332" fmla="*/ 2074991 h 5973007"/>
              <a:gd name="connsiteX38333" fmla="*/ 865184 w 6884782"/>
              <a:gd name="connsiteY38333" fmla="*/ 2074858 h 5973007"/>
              <a:gd name="connsiteX38334" fmla="*/ 865494 w 6884782"/>
              <a:gd name="connsiteY38334" fmla="*/ 2075942 h 5973007"/>
              <a:gd name="connsiteX38335" fmla="*/ 863635 w 6884782"/>
              <a:gd name="connsiteY38335" fmla="*/ 2075787 h 5973007"/>
              <a:gd name="connsiteX38336" fmla="*/ 865184 w 6884782"/>
              <a:gd name="connsiteY38336" fmla="*/ 2074858 h 5973007"/>
              <a:gd name="connsiteX38337" fmla="*/ 4947283 w 6884782"/>
              <a:gd name="connsiteY38337" fmla="*/ 2074707 h 5973007"/>
              <a:gd name="connsiteX38338" fmla="*/ 4954112 w 6884782"/>
              <a:gd name="connsiteY38338" fmla="*/ 2079259 h 5973007"/>
              <a:gd name="connsiteX38339" fmla="*/ 4957741 w 6884782"/>
              <a:gd name="connsiteY38339" fmla="*/ 2078832 h 5973007"/>
              <a:gd name="connsiteX38340" fmla="*/ 4959448 w 6884782"/>
              <a:gd name="connsiteY38340" fmla="*/ 2080398 h 5973007"/>
              <a:gd name="connsiteX38341" fmla="*/ 4960515 w 6884782"/>
              <a:gd name="connsiteY38341" fmla="*/ 2079401 h 5973007"/>
              <a:gd name="connsiteX38342" fmla="*/ 4962863 w 6884782"/>
              <a:gd name="connsiteY38342" fmla="*/ 2076556 h 5973007"/>
              <a:gd name="connsiteX38343" fmla="*/ 4972253 w 6884782"/>
              <a:gd name="connsiteY38343" fmla="*/ 2088222 h 5973007"/>
              <a:gd name="connsiteX38344" fmla="*/ 4971400 w 6884782"/>
              <a:gd name="connsiteY38344" fmla="*/ 2093202 h 5973007"/>
              <a:gd name="connsiteX38345" fmla="*/ 4964357 w 6884782"/>
              <a:gd name="connsiteY38345" fmla="*/ 2090072 h 5973007"/>
              <a:gd name="connsiteX38346" fmla="*/ 4960942 w 6884782"/>
              <a:gd name="connsiteY38346" fmla="*/ 2086089 h 5973007"/>
              <a:gd name="connsiteX38347" fmla="*/ 4960515 w 6884782"/>
              <a:gd name="connsiteY38347" fmla="*/ 2086657 h 5973007"/>
              <a:gd name="connsiteX38348" fmla="*/ 4957100 w 6884782"/>
              <a:gd name="connsiteY38348" fmla="*/ 2086800 h 5973007"/>
              <a:gd name="connsiteX38349" fmla="*/ 4951552 w 6884782"/>
              <a:gd name="connsiteY38349" fmla="*/ 2079259 h 5973007"/>
              <a:gd name="connsiteX38350" fmla="*/ 4947283 w 6884782"/>
              <a:gd name="connsiteY38350" fmla="*/ 2074707 h 5973007"/>
              <a:gd name="connsiteX38351" fmla="*/ 667139 w 6884782"/>
              <a:gd name="connsiteY38351" fmla="*/ 2074703 h 5973007"/>
              <a:gd name="connsiteX38352" fmla="*/ 673437 w 6884782"/>
              <a:gd name="connsiteY38352" fmla="*/ 2075942 h 5973007"/>
              <a:gd name="connsiteX38353" fmla="*/ 668274 w 6884782"/>
              <a:gd name="connsiteY38353" fmla="*/ 2080744 h 5973007"/>
              <a:gd name="connsiteX38354" fmla="*/ 666313 w 6884782"/>
              <a:gd name="connsiteY38354" fmla="*/ 2076407 h 5973007"/>
              <a:gd name="connsiteX38355" fmla="*/ 667139 w 6884782"/>
              <a:gd name="connsiteY38355" fmla="*/ 2074703 h 5973007"/>
              <a:gd name="connsiteX38356" fmla="*/ 4795755 w 6884782"/>
              <a:gd name="connsiteY38356" fmla="*/ 2074280 h 5973007"/>
              <a:gd name="connsiteX38357" fmla="*/ 4796395 w 6884782"/>
              <a:gd name="connsiteY38357" fmla="*/ 2074707 h 5973007"/>
              <a:gd name="connsiteX38358" fmla="*/ 4797890 w 6884782"/>
              <a:gd name="connsiteY38358" fmla="*/ 2078264 h 5973007"/>
              <a:gd name="connsiteX38359" fmla="*/ 4794261 w 6884782"/>
              <a:gd name="connsiteY38359" fmla="*/ 2075703 h 5973007"/>
              <a:gd name="connsiteX38360" fmla="*/ 4795328 w 6884782"/>
              <a:gd name="connsiteY38360" fmla="*/ 2074564 h 5973007"/>
              <a:gd name="connsiteX38361" fmla="*/ 4794261 w 6884782"/>
              <a:gd name="connsiteY38361" fmla="*/ 2074564 h 5973007"/>
              <a:gd name="connsiteX38362" fmla="*/ 4795755 w 6884782"/>
              <a:gd name="connsiteY38362" fmla="*/ 2074280 h 5973007"/>
              <a:gd name="connsiteX38363" fmla="*/ 5552768 w 6884782"/>
              <a:gd name="connsiteY38363" fmla="*/ 2072005 h 5973007"/>
              <a:gd name="connsiteX38364" fmla="*/ 5559264 w 6884782"/>
              <a:gd name="connsiteY38364" fmla="*/ 2072502 h 5973007"/>
              <a:gd name="connsiteX38365" fmla="*/ 5566414 w 6884782"/>
              <a:gd name="connsiteY38365" fmla="*/ 2073426 h 5973007"/>
              <a:gd name="connsiteX38366" fmla="*/ 5576445 w 6884782"/>
              <a:gd name="connsiteY38366" fmla="*/ 2082674 h 5973007"/>
              <a:gd name="connsiteX38367" fmla="*/ 5561959 w 6884782"/>
              <a:gd name="connsiteY38367" fmla="*/ 2080646 h 5973007"/>
              <a:gd name="connsiteX38368" fmla="*/ 5552768 w 6884782"/>
              <a:gd name="connsiteY38368" fmla="*/ 2072016 h 5973007"/>
              <a:gd name="connsiteX38369" fmla="*/ 1066456 w 6884782"/>
              <a:gd name="connsiteY38369" fmla="*/ 2071237 h 5973007"/>
              <a:gd name="connsiteX38370" fmla="*/ 1077789 w 6884782"/>
              <a:gd name="connsiteY38370" fmla="*/ 2072999 h 5973007"/>
              <a:gd name="connsiteX38371" fmla="*/ 1054040 w 6884782"/>
              <a:gd name="connsiteY38371" fmla="*/ 2077956 h 5973007"/>
              <a:gd name="connsiteX38372" fmla="*/ 1066456 w 6884782"/>
              <a:gd name="connsiteY38372" fmla="*/ 2071237 h 5973007"/>
              <a:gd name="connsiteX38373" fmla="*/ 4597702 w 6884782"/>
              <a:gd name="connsiteY38373" fmla="*/ 2070723 h 5973007"/>
              <a:gd name="connsiteX38374" fmla="*/ 4600903 w 6884782"/>
              <a:gd name="connsiteY38374" fmla="*/ 2071150 h 5973007"/>
              <a:gd name="connsiteX38375" fmla="*/ 4596634 w 6884782"/>
              <a:gd name="connsiteY38375" fmla="*/ 2073853 h 5973007"/>
              <a:gd name="connsiteX38376" fmla="*/ 4594074 w 6884782"/>
              <a:gd name="connsiteY38376" fmla="*/ 2071435 h 5973007"/>
              <a:gd name="connsiteX38377" fmla="*/ 4597702 w 6884782"/>
              <a:gd name="connsiteY38377" fmla="*/ 2070723 h 5973007"/>
              <a:gd name="connsiteX38378" fmla="*/ 775145 w 6884782"/>
              <a:gd name="connsiteY38378" fmla="*/ 2070366 h 5973007"/>
              <a:gd name="connsiteX38379" fmla="*/ 782579 w 6884782"/>
              <a:gd name="connsiteY38379" fmla="*/ 2073619 h 5973007"/>
              <a:gd name="connsiteX38380" fmla="*/ 773493 w 6884782"/>
              <a:gd name="connsiteY38380" fmla="*/ 2073464 h 5973007"/>
              <a:gd name="connsiteX38381" fmla="*/ 775145 w 6884782"/>
              <a:gd name="connsiteY38381" fmla="*/ 2070366 h 5973007"/>
              <a:gd name="connsiteX38382" fmla="*/ 4902038 w 6884782"/>
              <a:gd name="connsiteY38382" fmla="*/ 2070296 h 5973007"/>
              <a:gd name="connsiteX38383" fmla="*/ 4906093 w 6884782"/>
              <a:gd name="connsiteY38383" fmla="*/ 2072004 h 5973007"/>
              <a:gd name="connsiteX38384" fmla="*/ 4904172 w 6884782"/>
              <a:gd name="connsiteY38384" fmla="*/ 2077553 h 5973007"/>
              <a:gd name="connsiteX38385" fmla="*/ 4898624 w 6884782"/>
              <a:gd name="connsiteY38385" fmla="*/ 2073426 h 5973007"/>
              <a:gd name="connsiteX38386" fmla="*/ 4902038 w 6884782"/>
              <a:gd name="connsiteY38386" fmla="*/ 2070296 h 5973007"/>
              <a:gd name="connsiteX38387" fmla="*/ 4657459 w 6884782"/>
              <a:gd name="connsiteY38387" fmla="*/ 2070296 h 5973007"/>
              <a:gd name="connsiteX38388" fmla="*/ 4669624 w 6884782"/>
              <a:gd name="connsiteY38388" fmla="*/ 2078548 h 5973007"/>
              <a:gd name="connsiteX38389" fmla="*/ 4657459 w 6884782"/>
              <a:gd name="connsiteY38389" fmla="*/ 2070296 h 5973007"/>
              <a:gd name="connsiteX38390" fmla="*/ 4875361 w 6884782"/>
              <a:gd name="connsiteY38390" fmla="*/ 2069300 h 5973007"/>
              <a:gd name="connsiteX38391" fmla="*/ 4870025 w 6884782"/>
              <a:gd name="connsiteY38391" fmla="*/ 2077837 h 5973007"/>
              <a:gd name="connsiteX38392" fmla="*/ 4867891 w 6884782"/>
              <a:gd name="connsiteY38392" fmla="*/ 2078121 h 5973007"/>
              <a:gd name="connsiteX38393" fmla="*/ 4875361 w 6884782"/>
              <a:gd name="connsiteY38393" fmla="*/ 2069300 h 5973007"/>
              <a:gd name="connsiteX38394" fmla="*/ 4602610 w 6884782"/>
              <a:gd name="connsiteY38394" fmla="*/ 2069017 h 5973007"/>
              <a:gd name="connsiteX38395" fmla="*/ 4603890 w 6884782"/>
              <a:gd name="connsiteY38395" fmla="*/ 2069443 h 5973007"/>
              <a:gd name="connsiteX38396" fmla="*/ 4601543 w 6884782"/>
              <a:gd name="connsiteY38396" fmla="*/ 2070865 h 5973007"/>
              <a:gd name="connsiteX38397" fmla="*/ 4601116 w 6884782"/>
              <a:gd name="connsiteY38397" fmla="*/ 2069870 h 5973007"/>
              <a:gd name="connsiteX38398" fmla="*/ 4602610 w 6884782"/>
              <a:gd name="connsiteY38398" fmla="*/ 2069017 h 5973007"/>
              <a:gd name="connsiteX38399" fmla="*/ 6057066 w 6884782"/>
              <a:gd name="connsiteY38399" fmla="*/ 2068162 h 5973007"/>
              <a:gd name="connsiteX38400" fmla="*/ 6061548 w 6884782"/>
              <a:gd name="connsiteY38400" fmla="*/ 2068305 h 5973007"/>
              <a:gd name="connsiteX38401" fmla="*/ 6070938 w 6884782"/>
              <a:gd name="connsiteY38401" fmla="*/ 2077553 h 5973007"/>
              <a:gd name="connsiteX38402" fmla="*/ 6070725 w 6884782"/>
              <a:gd name="connsiteY38402" fmla="*/ 2085662 h 5973007"/>
              <a:gd name="connsiteX38403" fmla="*/ 6052371 w 6884782"/>
              <a:gd name="connsiteY38403" fmla="*/ 2097470 h 5973007"/>
              <a:gd name="connsiteX38404" fmla="*/ 6049596 w 6884782"/>
              <a:gd name="connsiteY38404" fmla="*/ 2096332 h 5973007"/>
              <a:gd name="connsiteX38405" fmla="*/ 6044261 w 6884782"/>
              <a:gd name="connsiteY38405" fmla="*/ 2096332 h 5973007"/>
              <a:gd name="connsiteX38406" fmla="*/ 6044688 w 6884782"/>
              <a:gd name="connsiteY38406" fmla="*/ 2080683 h 5973007"/>
              <a:gd name="connsiteX38407" fmla="*/ 6057066 w 6884782"/>
              <a:gd name="connsiteY38407" fmla="*/ 2068162 h 5973007"/>
              <a:gd name="connsiteX38408" fmla="*/ 5746967 w 6884782"/>
              <a:gd name="connsiteY38408" fmla="*/ 2067878 h 5973007"/>
              <a:gd name="connsiteX38409" fmla="*/ 5749955 w 6884782"/>
              <a:gd name="connsiteY38409" fmla="*/ 2068447 h 5973007"/>
              <a:gd name="connsiteX38410" fmla="*/ 5752942 w 6884782"/>
              <a:gd name="connsiteY38410" fmla="*/ 2069158 h 5973007"/>
              <a:gd name="connsiteX38411" fmla="*/ 5755504 w 6884782"/>
              <a:gd name="connsiteY38411" fmla="*/ 2068873 h 5973007"/>
              <a:gd name="connsiteX38412" fmla="*/ 5759772 w 6884782"/>
              <a:gd name="connsiteY38412" fmla="*/ 2071719 h 5973007"/>
              <a:gd name="connsiteX38413" fmla="*/ 5757211 w 6884782"/>
              <a:gd name="connsiteY38413" fmla="*/ 2071862 h 5973007"/>
              <a:gd name="connsiteX38414" fmla="*/ 5754010 w 6884782"/>
              <a:gd name="connsiteY38414" fmla="*/ 2071150 h 5973007"/>
              <a:gd name="connsiteX38415" fmla="*/ 5752089 w 6884782"/>
              <a:gd name="connsiteY38415" fmla="*/ 2072431 h 5973007"/>
              <a:gd name="connsiteX38416" fmla="*/ 5744406 w 6884782"/>
              <a:gd name="connsiteY38416" fmla="*/ 2068020 h 5973007"/>
              <a:gd name="connsiteX38417" fmla="*/ 5746967 w 6884782"/>
              <a:gd name="connsiteY38417" fmla="*/ 2067878 h 5973007"/>
              <a:gd name="connsiteX38418" fmla="*/ 5039054 w 6884782"/>
              <a:gd name="connsiteY38418" fmla="*/ 2067878 h 5973007"/>
              <a:gd name="connsiteX38419" fmla="*/ 5040761 w 6884782"/>
              <a:gd name="connsiteY38419" fmla="*/ 2069727 h 5973007"/>
              <a:gd name="connsiteX38420" fmla="*/ 5043962 w 6884782"/>
              <a:gd name="connsiteY38420" fmla="*/ 2080683 h 5973007"/>
              <a:gd name="connsiteX38421" fmla="*/ 5044816 w 6884782"/>
              <a:gd name="connsiteY38421" fmla="*/ 2082816 h 5973007"/>
              <a:gd name="connsiteX38422" fmla="*/ 5043535 w 6884782"/>
              <a:gd name="connsiteY38422" fmla="*/ 2086089 h 5973007"/>
              <a:gd name="connsiteX38423" fmla="*/ 5038627 w 6884782"/>
              <a:gd name="connsiteY38423" fmla="*/ 2076983 h 5973007"/>
              <a:gd name="connsiteX38424" fmla="*/ 5036706 w 6884782"/>
              <a:gd name="connsiteY38424" fmla="*/ 2071577 h 5973007"/>
              <a:gd name="connsiteX38425" fmla="*/ 5037987 w 6884782"/>
              <a:gd name="connsiteY38425" fmla="*/ 2068305 h 5973007"/>
              <a:gd name="connsiteX38426" fmla="*/ 1014493 w 6884782"/>
              <a:gd name="connsiteY38426" fmla="*/ 2067423 h 5973007"/>
              <a:gd name="connsiteX38427" fmla="*/ 998694 w 6884782"/>
              <a:gd name="connsiteY38427" fmla="*/ 2082603 h 5973007"/>
              <a:gd name="connsiteX38428" fmla="*/ 1009330 w 6884782"/>
              <a:gd name="connsiteY38428" fmla="*/ 2068507 h 5973007"/>
              <a:gd name="connsiteX38429" fmla="*/ 1014493 w 6884782"/>
              <a:gd name="connsiteY38429" fmla="*/ 2067423 h 5973007"/>
              <a:gd name="connsiteX38430" fmla="*/ 5604829 w 6884782"/>
              <a:gd name="connsiteY38430" fmla="*/ 2067167 h 5973007"/>
              <a:gd name="connsiteX38431" fmla="*/ 5606323 w 6884782"/>
              <a:gd name="connsiteY38431" fmla="*/ 2086515 h 5973007"/>
              <a:gd name="connsiteX38432" fmla="*/ 5604829 w 6884782"/>
              <a:gd name="connsiteY38432" fmla="*/ 2067167 h 5973007"/>
              <a:gd name="connsiteX38433" fmla="*/ 5228357 w 6884782"/>
              <a:gd name="connsiteY38433" fmla="*/ 2066740 h 5973007"/>
              <a:gd name="connsiteX38434" fmla="*/ 5235400 w 6884782"/>
              <a:gd name="connsiteY38434" fmla="*/ 2068873 h 5973007"/>
              <a:gd name="connsiteX38435" fmla="*/ 5236040 w 6884782"/>
              <a:gd name="connsiteY38435" fmla="*/ 2073995 h 5973007"/>
              <a:gd name="connsiteX38436" fmla="*/ 5221741 w 6884782"/>
              <a:gd name="connsiteY38436" fmla="*/ 2077126 h 5973007"/>
              <a:gd name="connsiteX38437" fmla="*/ 5221314 w 6884782"/>
              <a:gd name="connsiteY38437" fmla="*/ 2069727 h 5973007"/>
              <a:gd name="connsiteX38438" fmla="*/ 5228357 w 6884782"/>
              <a:gd name="connsiteY38438" fmla="*/ 2066740 h 5973007"/>
              <a:gd name="connsiteX38439" fmla="*/ 994668 w 6884782"/>
              <a:gd name="connsiteY38439" fmla="*/ 2066494 h 5973007"/>
              <a:gd name="connsiteX38440" fmla="*/ 994461 w 6884782"/>
              <a:gd name="connsiteY38440" fmla="*/ 2088179 h 5973007"/>
              <a:gd name="connsiteX38441" fmla="*/ 990227 w 6884782"/>
              <a:gd name="connsiteY38441" fmla="*/ 2077801 h 5973007"/>
              <a:gd name="connsiteX38442" fmla="*/ 994668 w 6884782"/>
              <a:gd name="connsiteY38442" fmla="*/ 2066494 h 5973007"/>
              <a:gd name="connsiteX38443" fmla="*/ 4609013 w 6884782"/>
              <a:gd name="connsiteY38443" fmla="*/ 2066170 h 5973007"/>
              <a:gd name="connsiteX38444" fmla="*/ 4608373 w 6884782"/>
              <a:gd name="connsiteY38444" fmla="*/ 2067878 h 5973007"/>
              <a:gd name="connsiteX38445" fmla="*/ 4606238 w 6884782"/>
              <a:gd name="connsiteY38445" fmla="*/ 2066740 h 5973007"/>
              <a:gd name="connsiteX38446" fmla="*/ 4609013 w 6884782"/>
              <a:gd name="connsiteY38446" fmla="*/ 2066170 h 5973007"/>
              <a:gd name="connsiteX38447" fmla="*/ 874580 w 6884782"/>
              <a:gd name="connsiteY38447" fmla="*/ 2065409 h 5973007"/>
              <a:gd name="connsiteX38448" fmla="*/ 865391 w 6884782"/>
              <a:gd name="connsiteY38448" fmla="*/ 2074858 h 5973007"/>
              <a:gd name="connsiteX38449" fmla="*/ 874580 w 6884782"/>
              <a:gd name="connsiteY38449" fmla="*/ 2065409 h 5973007"/>
              <a:gd name="connsiteX38450" fmla="*/ 803127 w 6884782"/>
              <a:gd name="connsiteY38450" fmla="*/ 2064635 h 5973007"/>
              <a:gd name="connsiteX38451" fmla="*/ 795073 w 6884782"/>
              <a:gd name="connsiteY38451" fmla="*/ 2072380 h 5973007"/>
              <a:gd name="connsiteX38452" fmla="*/ 783405 w 6884782"/>
              <a:gd name="connsiteY38452" fmla="*/ 2077182 h 5973007"/>
              <a:gd name="connsiteX38453" fmla="*/ 790633 w 6884782"/>
              <a:gd name="connsiteY38453" fmla="*/ 2067113 h 5973007"/>
              <a:gd name="connsiteX38454" fmla="*/ 803127 w 6884782"/>
              <a:gd name="connsiteY38454" fmla="*/ 2064635 h 5973007"/>
              <a:gd name="connsiteX38455" fmla="*/ 5605470 w 6884782"/>
              <a:gd name="connsiteY38455" fmla="*/ 2064321 h 5973007"/>
              <a:gd name="connsiteX38456" fmla="*/ 5605256 w 6884782"/>
              <a:gd name="connsiteY38456" fmla="*/ 2067167 h 5973007"/>
              <a:gd name="connsiteX38457" fmla="*/ 5603762 w 6884782"/>
              <a:gd name="connsiteY38457" fmla="*/ 2066313 h 5973007"/>
              <a:gd name="connsiteX38458" fmla="*/ 5605470 w 6884782"/>
              <a:gd name="connsiteY38458" fmla="*/ 2064321 h 5973007"/>
              <a:gd name="connsiteX38459" fmla="*/ 5383726 w 6884782"/>
              <a:gd name="connsiteY38459" fmla="*/ 2064179 h 5973007"/>
              <a:gd name="connsiteX38460" fmla="*/ 5389702 w 6884782"/>
              <a:gd name="connsiteY38460" fmla="*/ 2066028 h 5973007"/>
              <a:gd name="connsiteX38461" fmla="*/ 5378391 w 6884782"/>
              <a:gd name="connsiteY38461" fmla="*/ 2067878 h 5973007"/>
              <a:gd name="connsiteX38462" fmla="*/ 5383726 w 6884782"/>
              <a:gd name="connsiteY38462" fmla="*/ 2064179 h 5973007"/>
              <a:gd name="connsiteX38463" fmla="*/ 4832250 w 6884782"/>
              <a:gd name="connsiteY38463" fmla="*/ 2063894 h 5973007"/>
              <a:gd name="connsiteX38464" fmla="*/ 4837372 w 6884782"/>
              <a:gd name="connsiteY38464" fmla="*/ 2067593 h 5973007"/>
              <a:gd name="connsiteX38465" fmla="*/ 4832677 w 6884782"/>
              <a:gd name="connsiteY38465" fmla="*/ 2081393 h 5973007"/>
              <a:gd name="connsiteX38466" fmla="*/ 4826060 w 6884782"/>
              <a:gd name="connsiteY38466" fmla="*/ 2081536 h 5973007"/>
              <a:gd name="connsiteX38467" fmla="*/ 4832250 w 6884782"/>
              <a:gd name="connsiteY38467" fmla="*/ 2063894 h 5973007"/>
              <a:gd name="connsiteX38468" fmla="*/ 5647727 w 6884782"/>
              <a:gd name="connsiteY38468" fmla="*/ 2063610 h 5973007"/>
              <a:gd name="connsiteX38469" fmla="*/ 5653063 w 6884782"/>
              <a:gd name="connsiteY38469" fmla="*/ 2069727 h 5973007"/>
              <a:gd name="connsiteX38470" fmla="*/ 5656050 w 6884782"/>
              <a:gd name="connsiteY38470" fmla="*/ 2069017 h 5973007"/>
              <a:gd name="connsiteX38471" fmla="*/ 5660532 w 6884782"/>
              <a:gd name="connsiteY38471" fmla="*/ 2072999 h 5973007"/>
              <a:gd name="connsiteX38472" fmla="*/ 5655837 w 6884782"/>
              <a:gd name="connsiteY38472" fmla="*/ 2073426 h 5973007"/>
              <a:gd name="connsiteX38473" fmla="*/ 5655196 w 6884782"/>
              <a:gd name="connsiteY38473" fmla="*/ 2073142 h 5973007"/>
              <a:gd name="connsiteX38474" fmla="*/ 5658825 w 6884782"/>
              <a:gd name="connsiteY38474" fmla="*/ 2079401 h 5973007"/>
              <a:gd name="connsiteX38475" fmla="*/ 5664160 w 6884782"/>
              <a:gd name="connsiteY38475" fmla="*/ 2086657 h 5973007"/>
              <a:gd name="connsiteX38476" fmla="*/ 5663734 w 6884782"/>
              <a:gd name="connsiteY38476" fmla="*/ 2089930 h 5973007"/>
              <a:gd name="connsiteX38477" fmla="*/ 5664374 w 6884782"/>
              <a:gd name="connsiteY38477" fmla="*/ 2090925 h 5973007"/>
              <a:gd name="connsiteX38478" fmla="*/ 5663093 w 6884782"/>
              <a:gd name="connsiteY38478" fmla="*/ 2093202 h 5973007"/>
              <a:gd name="connsiteX38479" fmla="*/ 5658184 w 6884782"/>
              <a:gd name="connsiteY38479" fmla="*/ 2087653 h 5973007"/>
              <a:gd name="connsiteX38480" fmla="*/ 5654770 w 6884782"/>
              <a:gd name="connsiteY38480" fmla="*/ 2082531 h 5973007"/>
              <a:gd name="connsiteX38481" fmla="*/ 5647727 w 6884782"/>
              <a:gd name="connsiteY38481" fmla="*/ 2063610 h 5973007"/>
              <a:gd name="connsiteX38482" fmla="*/ 1004787 w 6884782"/>
              <a:gd name="connsiteY38482" fmla="*/ 2063086 h 5973007"/>
              <a:gd name="connsiteX38483" fmla="*/ 1006542 w 6884782"/>
              <a:gd name="connsiteY38483" fmla="*/ 2064945 h 5973007"/>
              <a:gd name="connsiteX38484" fmla="*/ 1008297 w 6884782"/>
              <a:gd name="connsiteY38484" fmla="*/ 2065100 h 5973007"/>
              <a:gd name="connsiteX38485" fmla="*/ 1009123 w 6884782"/>
              <a:gd name="connsiteY38485" fmla="*/ 2067733 h 5973007"/>
              <a:gd name="connsiteX38486" fmla="*/ 1004787 w 6884782"/>
              <a:gd name="connsiteY38486" fmla="*/ 2063086 h 5973007"/>
              <a:gd name="connsiteX38487" fmla="*/ 5528212 w 6884782"/>
              <a:gd name="connsiteY38487" fmla="*/ 2062898 h 5973007"/>
              <a:gd name="connsiteX38488" fmla="*/ 5525224 w 6884782"/>
              <a:gd name="connsiteY38488" fmla="*/ 2073284 h 5973007"/>
              <a:gd name="connsiteX38489" fmla="*/ 5528212 w 6884782"/>
              <a:gd name="connsiteY38489" fmla="*/ 2062898 h 5973007"/>
              <a:gd name="connsiteX38490" fmla="*/ 5270828 w 6884782"/>
              <a:gd name="connsiteY38490" fmla="*/ 2062472 h 5973007"/>
              <a:gd name="connsiteX38491" fmla="*/ 5275736 w 6884782"/>
              <a:gd name="connsiteY38491" fmla="*/ 2068731 h 5973007"/>
              <a:gd name="connsiteX38492" fmla="*/ 5284059 w 6884782"/>
              <a:gd name="connsiteY38492" fmla="*/ 2085093 h 5973007"/>
              <a:gd name="connsiteX38493" fmla="*/ 5282992 w 6884782"/>
              <a:gd name="connsiteY38493" fmla="*/ 2088365 h 5973007"/>
              <a:gd name="connsiteX38494" fmla="*/ 5283419 w 6884782"/>
              <a:gd name="connsiteY38494" fmla="*/ 2089503 h 5973007"/>
              <a:gd name="connsiteX38495" fmla="*/ 5281925 w 6884782"/>
              <a:gd name="connsiteY38495" fmla="*/ 2091637 h 5973007"/>
              <a:gd name="connsiteX38496" fmla="*/ 5277871 w 6884782"/>
              <a:gd name="connsiteY38496" fmla="*/ 2086230 h 5973007"/>
              <a:gd name="connsiteX38497" fmla="*/ 5275096 w 6884782"/>
              <a:gd name="connsiteY38497" fmla="*/ 2081109 h 5973007"/>
              <a:gd name="connsiteX38498" fmla="*/ 5270828 w 6884782"/>
              <a:gd name="connsiteY38498" fmla="*/ 2062472 h 5973007"/>
              <a:gd name="connsiteX38499" fmla="*/ 5297078 w 6884782"/>
              <a:gd name="connsiteY38499" fmla="*/ 2061618 h 5973007"/>
              <a:gd name="connsiteX38500" fmla="*/ 5329945 w 6884782"/>
              <a:gd name="connsiteY38500" fmla="*/ 2062898 h 5973007"/>
              <a:gd name="connsiteX38501" fmla="*/ 5340189 w 6884782"/>
              <a:gd name="connsiteY38501" fmla="*/ 2067167 h 5973007"/>
              <a:gd name="connsiteX38502" fmla="*/ 5308176 w 6884782"/>
              <a:gd name="connsiteY38502" fmla="*/ 2103872 h 5973007"/>
              <a:gd name="connsiteX38503" fmla="*/ 5297078 w 6884782"/>
              <a:gd name="connsiteY38503" fmla="*/ 2061618 h 5973007"/>
              <a:gd name="connsiteX38504" fmla="*/ 6195362 w 6884782"/>
              <a:gd name="connsiteY38504" fmla="*/ 2060764 h 5973007"/>
              <a:gd name="connsiteX38505" fmla="*/ 6204753 w 6884782"/>
              <a:gd name="connsiteY38505" fmla="*/ 2067309 h 5973007"/>
              <a:gd name="connsiteX38506" fmla="*/ 6201338 w 6884782"/>
              <a:gd name="connsiteY38506" fmla="*/ 2074280 h 5973007"/>
              <a:gd name="connsiteX38507" fmla="*/ 6189599 w 6884782"/>
              <a:gd name="connsiteY38507" fmla="*/ 2067451 h 5973007"/>
              <a:gd name="connsiteX38508" fmla="*/ 6191734 w 6884782"/>
              <a:gd name="connsiteY38508" fmla="*/ 2062472 h 5973007"/>
              <a:gd name="connsiteX38509" fmla="*/ 6195362 w 6884782"/>
              <a:gd name="connsiteY38509" fmla="*/ 2060764 h 5973007"/>
              <a:gd name="connsiteX38510" fmla="*/ 1115271 w 6884782"/>
              <a:gd name="connsiteY38510" fmla="*/ 2060453 h 5973007"/>
              <a:gd name="connsiteX38511" fmla="*/ 1157399 w 6884782"/>
              <a:gd name="connsiteY38511" fmla="*/ 2078730 h 5973007"/>
              <a:gd name="connsiteX38512" fmla="*/ 1153579 w 6884782"/>
              <a:gd name="connsiteY38512" fmla="*/ 2112963 h 5973007"/>
              <a:gd name="connsiteX38513" fmla="*/ 1137161 w 6884782"/>
              <a:gd name="connsiteY38513" fmla="*/ 2125974 h 5973007"/>
              <a:gd name="connsiteX38514" fmla="*/ 1110624 w 6884782"/>
              <a:gd name="connsiteY38514" fmla="*/ 2127368 h 5973007"/>
              <a:gd name="connsiteX38515" fmla="*/ 1099989 w 6884782"/>
              <a:gd name="connsiteY38515" fmla="*/ 2117454 h 5973007"/>
              <a:gd name="connsiteX38516" fmla="*/ 1094413 w 6884782"/>
              <a:gd name="connsiteY38516" fmla="*/ 2112188 h 5973007"/>
              <a:gd name="connsiteX38517" fmla="*/ 1091728 w 6884782"/>
              <a:gd name="connsiteY38517" fmla="*/ 2111878 h 5973007"/>
              <a:gd name="connsiteX38518" fmla="*/ 1091522 w 6884782"/>
              <a:gd name="connsiteY38518" fmla="*/ 2109555 h 5973007"/>
              <a:gd name="connsiteX38519" fmla="*/ 1089250 w 6884782"/>
              <a:gd name="connsiteY38519" fmla="*/ 2107541 h 5973007"/>
              <a:gd name="connsiteX38520" fmla="*/ 1095962 w 6884782"/>
              <a:gd name="connsiteY38520" fmla="*/ 2071915 h 5973007"/>
              <a:gd name="connsiteX38521" fmla="*/ 1115271 w 6884782"/>
              <a:gd name="connsiteY38521" fmla="*/ 2060453 h 5973007"/>
              <a:gd name="connsiteX38522" fmla="*/ 5676538 w 6884782"/>
              <a:gd name="connsiteY38522" fmla="*/ 2060053 h 5973007"/>
              <a:gd name="connsiteX38523" fmla="*/ 5674831 w 6884782"/>
              <a:gd name="connsiteY38523" fmla="*/ 2063325 h 5973007"/>
              <a:gd name="connsiteX38524" fmla="*/ 5661813 w 6884782"/>
              <a:gd name="connsiteY38524" fmla="*/ 2070865 h 5973007"/>
              <a:gd name="connsiteX38525" fmla="*/ 5676538 w 6884782"/>
              <a:gd name="connsiteY38525" fmla="*/ 2060053 h 5973007"/>
              <a:gd name="connsiteX38526" fmla="*/ 4717430 w 6884782"/>
              <a:gd name="connsiteY38526" fmla="*/ 2059626 h 5973007"/>
              <a:gd name="connsiteX38527" fmla="*/ 4718924 w 6884782"/>
              <a:gd name="connsiteY38527" fmla="*/ 2062614 h 5973007"/>
              <a:gd name="connsiteX38528" fmla="*/ 4717003 w 6884782"/>
              <a:gd name="connsiteY38528" fmla="*/ 2063752 h 5973007"/>
              <a:gd name="connsiteX38529" fmla="*/ 4717003 w 6884782"/>
              <a:gd name="connsiteY38529" fmla="*/ 2061191 h 5973007"/>
              <a:gd name="connsiteX38530" fmla="*/ 4717430 w 6884782"/>
              <a:gd name="connsiteY38530" fmla="*/ 2059626 h 5973007"/>
              <a:gd name="connsiteX38531" fmla="*/ 6156946 w 6884782"/>
              <a:gd name="connsiteY38531" fmla="*/ 2058915 h 5973007"/>
              <a:gd name="connsiteX38532" fmla="*/ 6161642 w 6884782"/>
              <a:gd name="connsiteY38532" fmla="*/ 2086515 h 5973007"/>
              <a:gd name="connsiteX38533" fmla="*/ 6155239 w 6884782"/>
              <a:gd name="connsiteY38533" fmla="*/ 2073142 h 5973007"/>
              <a:gd name="connsiteX38534" fmla="*/ 6156946 w 6884782"/>
              <a:gd name="connsiteY38534" fmla="*/ 2058915 h 5973007"/>
              <a:gd name="connsiteX38535" fmla="*/ 727234 w 6884782"/>
              <a:gd name="connsiteY38535" fmla="*/ 2058904 h 5973007"/>
              <a:gd name="connsiteX38536" fmla="*/ 732396 w 6884782"/>
              <a:gd name="connsiteY38536" fmla="*/ 2062621 h 5973007"/>
              <a:gd name="connsiteX38537" fmla="*/ 726924 w 6884782"/>
              <a:gd name="connsiteY38537" fmla="*/ 2067888 h 5973007"/>
              <a:gd name="connsiteX38538" fmla="*/ 723413 w 6884782"/>
              <a:gd name="connsiteY38538" fmla="*/ 2064790 h 5973007"/>
              <a:gd name="connsiteX38539" fmla="*/ 727234 w 6884782"/>
              <a:gd name="connsiteY38539" fmla="*/ 2058904 h 5973007"/>
              <a:gd name="connsiteX38540" fmla="*/ 5603976 w 6884782"/>
              <a:gd name="connsiteY38540" fmla="*/ 2058631 h 5973007"/>
              <a:gd name="connsiteX38541" fmla="*/ 5603762 w 6884782"/>
              <a:gd name="connsiteY38541" fmla="*/ 2061476 h 5973007"/>
              <a:gd name="connsiteX38542" fmla="*/ 5603122 w 6884782"/>
              <a:gd name="connsiteY38542" fmla="*/ 2058915 h 5973007"/>
              <a:gd name="connsiteX38543" fmla="*/ 5603976 w 6884782"/>
              <a:gd name="connsiteY38543" fmla="*/ 2058631 h 5973007"/>
              <a:gd name="connsiteX38544" fmla="*/ 1099369 w 6884782"/>
              <a:gd name="connsiteY38544" fmla="*/ 2058594 h 5973007"/>
              <a:gd name="connsiteX38545" fmla="*/ 1100608 w 6884782"/>
              <a:gd name="connsiteY38545" fmla="*/ 2061537 h 5973007"/>
              <a:gd name="connsiteX38546" fmla="*/ 1099782 w 6884782"/>
              <a:gd name="connsiteY38546" fmla="*/ 2061847 h 5973007"/>
              <a:gd name="connsiteX38547" fmla="*/ 1098646 w 6884782"/>
              <a:gd name="connsiteY38547" fmla="*/ 2060453 h 5973007"/>
              <a:gd name="connsiteX38548" fmla="*/ 1099369 w 6884782"/>
              <a:gd name="connsiteY38548" fmla="*/ 2058594 h 5973007"/>
              <a:gd name="connsiteX38549" fmla="*/ 4729381 w 6884782"/>
              <a:gd name="connsiteY38549" fmla="*/ 2058346 h 5973007"/>
              <a:gd name="connsiteX38550" fmla="*/ 4731302 w 6884782"/>
              <a:gd name="connsiteY38550" fmla="*/ 2060337 h 5973007"/>
              <a:gd name="connsiteX38551" fmla="*/ 4731942 w 6884782"/>
              <a:gd name="connsiteY38551" fmla="*/ 2064036 h 5973007"/>
              <a:gd name="connsiteX38552" fmla="*/ 4729381 w 6884782"/>
              <a:gd name="connsiteY38552" fmla="*/ 2064321 h 5973007"/>
              <a:gd name="connsiteX38553" fmla="*/ 4727674 w 6884782"/>
              <a:gd name="connsiteY38553" fmla="*/ 2058488 h 5973007"/>
              <a:gd name="connsiteX38554" fmla="*/ 4729168 w 6884782"/>
              <a:gd name="connsiteY38554" fmla="*/ 2058915 h 5973007"/>
              <a:gd name="connsiteX38555" fmla="*/ 5548913 w 6884782"/>
              <a:gd name="connsiteY38555" fmla="*/ 2057634 h 5973007"/>
              <a:gd name="connsiteX38556" fmla="*/ 5551048 w 6884782"/>
              <a:gd name="connsiteY38556" fmla="*/ 2060480 h 5973007"/>
              <a:gd name="connsiteX38557" fmla="*/ 5552782 w 6884782"/>
              <a:gd name="connsiteY38557" fmla="*/ 2068109 h 5973007"/>
              <a:gd name="connsiteX38558" fmla="*/ 5552768 w 6884782"/>
              <a:gd name="connsiteY38558" fmla="*/ 2072005 h 5973007"/>
              <a:gd name="connsiteX38559" fmla="*/ 5552755 w 6884782"/>
              <a:gd name="connsiteY38559" fmla="*/ 2072004 h 5973007"/>
              <a:gd name="connsiteX38560" fmla="*/ 5552768 w 6884782"/>
              <a:gd name="connsiteY38560" fmla="*/ 2072016 h 5973007"/>
              <a:gd name="connsiteX38561" fmla="*/ 5552755 w 6884782"/>
              <a:gd name="connsiteY38561" fmla="*/ 2075418 h 5973007"/>
              <a:gd name="connsiteX38562" fmla="*/ 5548913 w 6884782"/>
              <a:gd name="connsiteY38562" fmla="*/ 2057634 h 5973007"/>
              <a:gd name="connsiteX38563" fmla="*/ 4829262 w 6884782"/>
              <a:gd name="connsiteY38563" fmla="*/ 2057492 h 5973007"/>
              <a:gd name="connsiteX38564" fmla="*/ 4832677 w 6884782"/>
              <a:gd name="connsiteY38564" fmla="*/ 2057634 h 5973007"/>
              <a:gd name="connsiteX38565" fmla="*/ 4833531 w 6884782"/>
              <a:gd name="connsiteY38565" fmla="*/ 2058204 h 5973007"/>
              <a:gd name="connsiteX38566" fmla="*/ 4833531 w 6884782"/>
              <a:gd name="connsiteY38566" fmla="*/ 2059484 h 5973007"/>
              <a:gd name="connsiteX38567" fmla="*/ 4829262 w 6884782"/>
              <a:gd name="connsiteY38567" fmla="*/ 2057492 h 5973007"/>
              <a:gd name="connsiteX38568" fmla="*/ 4729381 w 6884782"/>
              <a:gd name="connsiteY38568" fmla="*/ 2057492 h 5973007"/>
              <a:gd name="connsiteX38569" fmla="*/ 4729381 w 6884782"/>
              <a:gd name="connsiteY38569" fmla="*/ 2058346 h 5973007"/>
              <a:gd name="connsiteX38570" fmla="*/ 4728741 w 6884782"/>
              <a:gd name="connsiteY38570" fmla="*/ 2057919 h 5973007"/>
              <a:gd name="connsiteX38571" fmla="*/ 4729381 w 6884782"/>
              <a:gd name="connsiteY38571" fmla="*/ 2057492 h 5973007"/>
              <a:gd name="connsiteX38572" fmla="*/ 5695960 w 6884782"/>
              <a:gd name="connsiteY38572" fmla="*/ 2057065 h 5973007"/>
              <a:gd name="connsiteX38573" fmla="*/ 5697667 w 6884782"/>
              <a:gd name="connsiteY38573" fmla="*/ 2058061 h 5973007"/>
              <a:gd name="connsiteX38574" fmla="*/ 5701295 w 6884782"/>
              <a:gd name="connsiteY38574" fmla="*/ 2064179 h 5973007"/>
              <a:gd name="connsiteX38575" fmla="*/ 5722424 w 6884782"/>
              <a:gd name="connsiteY38575" fmla="*/ 2066313 h 5973007"/>
              <a:gd name="connsiteX38576" fmla="*/ 5721784 w 6884782"/>
              <a:gd name="connsiteY38576" fmla="*/ 2078264 h 5973007"/>
              <a:gd name="connsiteX38577" fmla="*/ 5719436 w 6884782"/>
              <a:gd name="connsiteY38577" fmla="*/ 2080683 h 5973007"/>
              <a:gd name="connsiteX38578" fmla="*/ 5722210 w 6884782"/>
              <a:gd name="connsiteY38578" fmla="*/ 2081109 h 5973007"/>
              <a:gd name="connsiteX38579" fmla="*/ 5714527 w 6884782"/>
              <a:gd name="connsiteY38579" fmla="*/ 2103018 h 5973007"/>
              <a:gd name="connsiteX38580" fmla="*/ 5712606 w 6884782"/>
              <a:gd name="connsiteY38580" fmla="*/ 2104725 h 5973007"/>
              <a:gd name="connsiteX38581" fmla="*/ 5709832 w 6884782"/>
              <a:gd name="connsiteY38581" fmla="*/ 2103730 h 5973007"/>
              <a:gd name="connsiteX38582" fmla="*/ 5708551 w 6884782"/>
              <a:gd name="connsiteY38582" fmla="*/ 2099888 h 5973007"/>
              <a:gd name="connsiteX38583" fmla="*/ 5707698 w 6884782"/>
              <a:gd name="connsiteY38583" fmla="*/ 2100315 h 5973007"/>
              <a:gd name="connsiteX38584" fmla="*/ 5707698 w 6884782"/>
              <a:gd name="connsiteY38584" fmla="*/ 2100742 h 5973007"/>
              <a:gd name="connsiteX38585" fmla="*/ 5703430 w 6884782"/>
              <a:gd name="connsiteY38585" fmla="*/ 2110843 h 5973007"/>
              <a:gd name="connsiteX38586" fmla="*/ 5702362 w 6884782"/>
              <a:gd name="connsiteY38586" fmla="*/ 2113119 h 5973007"/>
              <a:gd name="connsiteX38587" fmla="*/ 5698947 w 6884782"/>
              <a:gd name="connsiteY38587" fmla="*/ 2112977 h 5973007"/>
              <a:gd name="connsiteX38588" fmla="*/ 5699161 w 6884782"/>
              <a:gd name="connsiteY38588" fmla="*/ 2104156 h 5973007"/>
              <a:gd name="connsiteX38589" fmla="*/ 5692118 w 6884782"/>
              <a:gd name="connsiteY38589" fmla="*/ 2103730 h 5973007"/>
              <a:gd name="connsiteX38590" fmla="*/ 5699374 w 6884782"/>
              <a:gd name="connsiteY38590" fmla="*/ 2082389 h 5973007"/>
              <a:gd name="connsiteX38591" fmla="*/ 5700015 w 6884782"/>
              <a:gd name="connsiteY38591" fmla="*/ 2081820 h 5973007"/>
              <a:gd name="connsiteX38592" fmla="*/ 5699374 w 6884782"/>
              <a:gd name="connsiteY38592" fmla="*/ 2081678 h 5973007"/>
              <a:gd name="connsiteX38593" fmla="*/ 5694252 w 6884782"/>
              <a:gd name="connsiteY38593" fmla="*/ 2084239 h 5973007"/>
              <a:gd name="connsiteX38594" fmla="*/ 5691478 w 6884782"/>
              <a:gd name="connsiteY38594" fmla="*/ 2066598 h 5973007"/>
              <a:gd name="connsiteX38595" fmla="*/ 5692118 w 6884782"/>
              <a:gd name="connsiteY38595" fmla="*/ 2064036 h 5973007"/>
              <a:gd name="connsiteX38596" fmla="*/ 5690838 w 6884782"/>
              <a:gd name="connsiteY38596" fmla="*/ 2064036 h 5973007"/>
              <a:gd name="connsiteX38597" fmla="*/ 5692118 w 6884782"/>
              <a:gd name="connsiteY38597" fmla="*/ 2062898 h 5973007"/>
              <a:gd name="connsiteX38598" fmla="*/ 5692118 w 6884782"/>
              <a:gd name="connsiteY38598" fmla="*/ 2062614 h 5973007"/>
              <a:gd name="connsiteX38599" fmla="*/ 5691904 w 6884782"/>
              <a:gd name="connsiteY38599" fmla="*/ 2061333 h 5973007"/>
              <a:gd name="connsiteX38600" fmla="*/ 5694679 w 6884782"/>
              <a:gd name="connsiteY38600" fmla="*/ 2057492 h 5973007"/>
              <a:gd name="connsiteX38601" fmla="*/ 5695960 w 6884782"/>
              <a:gd name="connsiteY38601" fmla="*/ 2057065 h 5973007"/>
              <a:gd name="connsiteX38602" fmla="*/ 882944 w 6884782"/>
              <a:gd name="connsiteY38602" fmla="*/ 2055806 h 5973007"/>
              <a:gd name="connsiteX38603" fmla="*/ 879536 w 6884782"/>
              <a:gd name="connsiteY38603" fmla="*/ 2061072 h 5973007"/>
              <a:gd name="connsiteX38604" fmla="*/ 878401 w 6884782"/>
              <a:gd name="connsiteY38604" fmla="*/ 2061227 h 5973007"/>
              <a:gd name="connsiteX38605" fmla="*/ 882944 w 6884782"/>
              <a:gd name="connsiteY38605" fmla="*/ 2055806 h 5973007"/>
              <a:gd name="connsiteX38606" fmla="*/ 4978656 w 6884782"/>
              <a:gd name="connsiteY38606" fmla="*/ 2055358 h 5973007"/>
              <a:gd name="connsiteX38607" fmla="*/ 4979723 w 6884782"/>
              <a:gd name="connsiteY38607" fmla="*/ 2055785 h 5973007"/>
              <a:gd name="connsiteX38608" fmla="*/ 4977802 w 6884782"/>
              <a:gd name="connsiteY38608" fmla="*/ 2057065 h 5973007"/>
              <a:gd name="connsiteX38609" fmla="*/ 4977162 w 6884782"/>
              <a:gd name="connsiteY38609" fmla="*/ 2056212 h 5973007"/>
              <a:gd name="connsiteX38610" fmla="*/ 4978656 w 6884782"/>
              <a:gd name="connsiteY38610" fmla="*/ 2055358 h 5973007"/>
              <a:gd name="connsiteX38611" fmla="*/ 5969137 w 6884782"/>
              <a:gd name="connsiteY38611" fmla="*/ 2053509 h 5973007"/>
              <a:gd name="connsiteX38612" fmla="*/ 5973619 w 6884782"/>
              <a:gd name="connsiteY38612" fmla="*/ 2055216 h 5973007"/>
              <a:gd name="connsiteX38613" fmla="*/ 5972979 w 6884782"/>
              <a:gd name="connsiteY38613" fmla="*/ 2060764 h 5973007"/>
              <a:gd name="connsiteX38614" fmla="*/ 5974259 w 6884782"/>
              <a:gd name="connsiteY38614" fmla="*/ 2064036 h 5973007"/>
              <a:gd name="connsiteX38615" fmla="*/ 5977033 w 6884782"/>
              <a:gd name="connsiteY38615" fmla="*/ 2071435 h 5973007"/>
              <a:gd name="connsiteX38616" fmla="*/ 5972338 w 6884782"/>
              <a:gd name="connsiteY38616" fmla="*/ 2075276 h 5973007"/>
              <a:gd name="connsiteX38617" fmla="*/ 5958466 w 6884782"/>
              <a:gd name="connsiteY38617" fmla="*/ 2059199 h 5973007"/>
              <a:gd name="connsiteX38618" fmla="*/ 5963801 w 6884782"/>
              <a:gd name="connsiteY38618" fmla="*/ 2055358 h 5973007"/>
              <a:gd name="connsiteX38619" fmla="*/ 5967429 w 6884782"/>
              <a:gd name="connsiteY38619" fmla="*/ 2056212 h 5973007"/>
              <a:gd name="connsiteX38620" fmla="*/ 708648 w 6884782"/>
              <a:gd name="connsiteY38620" fmla="*/ 2053328 h 5973007"/>
              <a:gd name="connsiteX38621" fmla="*/ 711126 w 6884782"/>
              <a:gd name="connsiteY38621" fmla="*/ 2053792 h 5973007"/>
              <a:gd name="connsiteX38622" fmla="*/ 711023 w 6884782"/>
              <a:gd name="connsiteY38622" fmla="*/ 2061072 h 5973007"/>
              <a:gd name="connsiteX38623" fmla="*/ 708441 w 6884782"/>
              <a:gd name="connsiteY38623" fmla="*/ 2061692 h 5973007"/>
              <a:gd name="connsiteX38624" fmla="*/ 705344 w 6884782"/>
              <a:gd name="connsiteY38624" fmla="*/ 2056271 h 5973007"/>
              <a:gd name="connsiteX38625" fmla="*/ 706789 w 6884782"/>
              <a:gd name="connsiteY38625" fmla="*/ 2054102 h 5973007"/>
              <a:gd name="connsiteX38626" fmla="*/ 708648 w 6884782"/>
              <a:gd name="connsiteY38626" fmla="*/ 2053328 h 5973007"/>
              <a:gd name="connsiteX38627" fmla="*/ 4984418 w 6884782"/>
              <a:gd name="connsiteY38627" fmla="*/ 2052655 h 5973007"/>
              <a:gd name="connsiteX38628" fmla="*/ 4984205 w 6884782"/>
              <a:gd name="connsiteY38628" fmla="*/ 2054220 h 5973007"/>
              <a:gd name="connsiteX38629" fmla="*/ 4981857 w 6884782"/>
              <a:gd name="connsiteY38629" fmla="*/ 2053082 h 5973007"/>
              <a:gd name="connsiteX38630" fmla="*/ 4984418 w 6884782"/>
              <a:gd name="connsiteY38630" fmla="*/ 2052655 h 5973007"/>
              <a:gd name="connsiteX38631" fmla="*/ 5013657 w 6884782"/>
              <a:gd name="connsiteY38631" fmla="*/ 2051802 h 5973007"/>
              <a:gd name="connsiteX38632" fmla="*/ 5017712 w 6884782"/>
              <a:gd name="connsiteY38632" fmla="*/ 2059769 h 5973007"/>
              <a:gd name="connsiteX38633" fmla="*/ 5021126 w 6884782"/>
              <a:gd name="connsiteY38633" fmla="*/ 2061476 h 5973007"/>
              <a:gd name="connsiteX38634" fmla="*/ 5022833 w 6884782"/>
              <a:gd name="connsiteY38634" fmla="*/ 2069158 h 5973007"/>
              <a:gd name="connsiteX38635" fmla="*/ 5017285 w 6884782"/>
              <a:gd name="connsiteY38635" fmla="*/ 2068162 h 5973007"/>
              <a:gd name="connsiteX38636" fmla="*/ 5015577 w 6884782"/>
              <a:gd name="connsiteY38636" fmla="*/ 2058204 h 5973007"/>
              <a:gd name="connsiteX38637" fmla="*/ 5013657 w 6884782"/>
              <a:gd name="connsiteY38637" fmla="*/ 2051802 h 5973007"/>
              <a:gd name="connsiteX38638" fmla="*/ 4856366 w 6884782"/>
              <a:gd name="connsiteY38638" fmla="*/ 2051659 h 5973007"/>
              <a:gd name="connsiteX38639" fmla="*/ 4862342 w 6884782"/>
              <a:gd name="connsiteY38639" fmla="*/ 2059057 h 5973007"/>
              <a:gd name="connsiteX38640" fmla="*/ 4856366 w 6884782"/>
              <a:gd name="connsiteY38640" fmla="*/ 2051659 h 5973007"/>
              <a:gd name="connsiteX38641" fmla="*/ 888726 w 6884782"/>
              <a:gd name="connsiteY38641" fmla="*/ 2051469 h 5973007"/>
              <a:gd name="connsiteX38642" fmla="*/ 897297 w 6884782"/>
              <a:gd name="connsiteY38642" fmla="*/ 2053017 h 5973007"/>
              <a:gd name="connsiteX38643" fmla="*/ 898846 w 6884782"/>
              <a:gd name="connsiteY38643" fmla="*/ 2054102 h 5973007"/>
              <a:gd name="connsiteX38644" fmla="*/ 899569 w 6884782"/>
              <a:gd name="connsiteY38644" fmla="*/ 2054257 h 5973007"/>
              <a:gd name="connsiteX38645" fmla="*/ 900394 w 6884782"/>
              <a:gd name="connsiteY38645" fmla="*/ 2055186 h 5973007"/>
              <a:gd name="connsiteX38646" fmla="*/ 904215 w 6884782"/>
              <a:gd name="connsiteY38646" fmla="*/ 2057664 h 5973007"/>
              <a:gd name="connsiteX38647" fmla="*/ 901427 w 6884782"/>
              <a:gd name="connsiteY38647" fmla="*/ 2065564 h 5973007"/>
              <a:gd name="connsiteX38648" fmla="*/ 883977 w 6884782"/>
              <a:gd name="connsiteY38648" fmla="*/ 2053792 h 5973007"/>
              <a:gd name="connsiteX38649" fmla="*/ 888726 w 6884782"/>
              <a:gd name="connsiteY38649" fmla="*/ 2051469 h 5973007"/>
              <a:gd name="connsiteX38650" fmla="*/ 5604829 w 6884782"/>
              <a:gd name="connsiteY38650" fmla="*/ 2051090 h 5973007"/>
              <a:gd name="connsiteX38651" fmla="*/ 5602909 w 6884782"/>
              <a:gd name="connsiteY38651" fmla="*/ 2058204 h 5973007"/>
              <a:gd name="connsiteX38652" fmla="*/ 5601628 w 6884782"/>
              <a:gd name="connsiteY38652" fmla="*/ 2053509 h 5973007"/>
              <a:gd name="connsiteX38653" fmla="*/ 5604829 w 6884782"/>
              <a:gd name="connsiteY38653" fmla="*/ 2051090 h 5973007"/>
              <a:gd name="connsiteX38654" fmla="*/ 4908441 w 6884782"/>
              <a:gd name="connsiteY38654" fmla="*/ 2050095 h 5973007"/>
              <a:gd name="connsiteX38655" fmla="*/ 4914630 w 6884782"/>
              <a:gd name="connsiteY38655" fmla="*/ 2056781 h 5973007"/>
              <a:gd name="connsiteX38656" fmla="*/ 4915483 w 6884782"/>
              <a:gd name="connsiteY38656" fmla="*/ 2063894 h 5973007"/>
              <a:gd name="connsiteX38657" fmla="*/ 4908868 w 6884782"/>
              <a:gd name="connsiteY38657" fmla="*/ 2072004 h 5973007"/>
              <a:gd name="connsiteX38658" fmla="*/ 4903959 w 6884782"/>
              <a:gd name="connsiteY38658" fmla="*/ 2067878 h 5973007"/>
              <a:gd name="connsiteX38659" fmla="*/ 4905453 w 6884782"/>
              <a:gd name="connsiteY38659" fmla="*/ 2050237 h 5973007"/>
              <a:gd name="connsiteX38660" fmla="*/ 4908441 w 6884782"/>
              <a:gd name="connsiteY38660" fmla="*/ 2050095 h 5973007"/>
              <a:gd name="connsiteX38661" fmla="*/ 4953472 w 6884782"/>
              <a:gd name="connsiteY38661" fmla="*/ 2049383 h 5973007"/>
              <a:gd name="connsiteX38662" fmla="*/ 4960942 w 6884782"/>
              <a:gd name="connsiteY38662" fmla="*/ 2053367 h 5973007"/>
              <a:gd name="connsiteX38663" fmla="*/ 4963716 w 6884782"/>
              <a:gd name="connsiteY38663" fmla="*/ 2056923 h 5973007"/>
              <a:gd name="connsiteX38664" fmla="*/ 4964783 w 6884782"/>
              <a:gd name="connsiteY38664" fmla="*/ 2056496 h 5973007"/>
              <a:gd name="connsiteX38665" fmla="*/ 4971613 w 6884782"/>
              <a:gd name="connsiteY38665" fmla="*/ 2055074 h 5973007"/>
              <a:gd name="connsiteX38666" fmla="*/ 4973534 w 6884782"/>
              <a:gd name="connsiteY38666" fmla="*/ 2056069 h 5973007"/>
              <a:gd name="connsiteX38667" fmla="*/ 4973321 w 6884782"/>
              <a:gd name="connsiteY38667" fmla="*/ 2056923 h 5973007"/>
              <a:gd name="connsiteX38668" fmla="*/ 4973747 w 6884782"/>
              <a:gd name="connsiteY38668" fmla="*/ 2056781 h 5973007"/>
              <a:gd name="connsiteX38669" fmla="*/ 4976949 w 6884782"/>
              <a:gd name="connsiteY38669" fmla="*/ 2057492 h 5973007"/>
              <a:gd name="connsiteX38670" fmla="*/ 4973107 w 6884782"/>
              <a:gd name="connsiteY38670" fmla="*/ 2059911 h 5973007"/>
              <a:gd name="connsiteX38671" fmla="*/ 4972894 w 6884782"/>
              <a:gd name="connsiteY38671" fmla="*/ 2059769 h 5973007"/>
              <a:gd name="connsiteX38672" fmla="*/ 4972040 w 6884782"/>
              <a:gd name="connsiteY38672" fmla="*/ 2061903 h 5973007"/>
              <a:gd name="connsiteX38673" fmla="*/ 4967771 w 6884782"/>
              <a:gd name="connsiteY38673" fmla="*/ 2061903 h 5973007"/>
              <a:gd name="connsiteX38674" fmla="*/ 4972680 w 6884782"/>
              <a:gd name="connsiteY38674" fmla="*/ 2071435 h 5973007"/>
              <a:gd name="connsiteX38675" fmla="*/ 4975028 w 6884782"/>
              <a:gd name="connsiteY38675" fmla="*/ 2079259 h 5973007"/>
              <a:gd name="connsiteX38676" fmla="*/ 4949204 w 6884782"/>
              <a:gd name="connsiteY38676" fmla="*/ 2050095 h 5973007"/>
              <a:gd name="connsiteX38677" fmla="*/ 4953472 w 6884782"/>
              <a:gd name="connsiteY38677" fmla="*/ 2049383 h 5973007"/>
              <a:gd name="connsiteX38678" fmla="*/ 6046395 w 6884782"/>
              <a:gd name="connsiteY38678" fmla="*/ 2049098 h 5973007"/>
              <a:gd name="connsiteX38679" fmla="*/ 6052584 w 6884782"/>
              <a:gd name="connsiteY38679" fmla="*/ 2054078 h 5973007"/>
              <a:gd name="connsiteX38680" fmla="*/ 6045328 w 6884782"/>
              <a:gd name="connsiteY38680" fmla="*/ 2058346 h 5973007"/>
              <a:gd name="connsiteX38681" fmla="*/ 6046395 w 6884782"/>
              <a:gd name="connsiteY38681" fmla="*/ 2049098 h 5973007"/>
              <a:gd name="connsiteX38682" fmla="*/ 5783035 w 6884782"/>
              <a:gd name="connsiteY38682" fmla="*/ 2048387 h 5973007"/>
              <a:gd name="connsiteX38683" fmla="*/ 5786023 w 6884782"/>
              <a:gd name="connsiteY38683" fmla="*/ 2048529 h 5973007"/>
              <a:gd name="connsiteX38684" fmla="*/ 5788157 w 6884782"/>
              <a:gd name="connsiteY38684" fmla="*/ 2055785 h 5973007"/>
              <a:gd name="connsiteX38685" fmla="*/ 5782395 w 6884782"/>
              <a:gd name="connsiteY38685" fmla="*/ 2057919 h 5973007"/>
              <a:gd name="connsiteX38686" fmla="*/ 5780047 w 6884782"/>
              <a:gd name="connsiteY38686" fmla="*/ 2056069 h 5973007"/>
              <a:gd name="connsiteX38687" fmla="*/ 5780047 w 6884782"/>
              <a:gd name="connsiteY38687" fmla="*/ 2054789 h 5973007"/>
              <a:gd name="connsiteX38688" fmla="*/ 5780047 w 6884782"/>
              <a:gd name="connsiteY38688" fmla="*/ 2050095 h 5973007"/>
              <a:gd name="connsiteX38689" fmla="*/ 5783035 w 6884782"/>
              <a:gd name="connsiteY38689" fmla="*/ 2048387 h 5973007"/>
              <a:gd name="connsiteX38690" fmla="*/ 5181618 w 6884782"/>
              <a:gd name="connsiteY38690" fmla="*/ 2048245 h 5973007"/>
              <a:gd name="connsiteX38691" fmla="*/ 5188448 w 6884782"/>
              <a:gd name="connsiteY38691" fmla="*/ 2054362 h 5973007"/>
              <a:gd name="connsiteX38692" fmla="*/ 5188874 w 6884782"/>
              <a:gd name="connsiteY38692" fmla="*/ 2056212 h 5973007"/>
              <a:gd name="connsiteX38693" fmla="*/ 5179057 w 6884782"/>
              <a:gd name="connsiteY38693" fmla="*/ 2052228 h 5973007"/>
              <a:gd name="connsiteX38694" fmla="*/ 5178417 w 6884782"/>
              <a:gd name="connsiteY38694" fmla="*/ 2049525 h 5973007"/>
              <a:gd name="connsiteX38695" fmla="*/ 5181618 w 6884782"/>
              <a:gd name="connsiteY38695" fmla="*/ 2048245 h 5973007"/>
              <a:gd name="connsiteX38696" fmla="*/ 815311 w 6884782"/>
              <a:gd name="connsiteY38696" fmla="*/ 2048061 h 5973007"/>
              <a:gd name="connsiteX38697" fmla="*/ 822229 w 6884782"/>
              <a:gd name="connsiteY38697" fmla="*/ 2055806 h 5973007"/>
              <a:gd name="connsiteX38698" fmla="*/ 812214 w 6884782"/>
              <a:gd name="connsiteY38698" fmla="*/ 2053637 h 5973007"/>
              <a:gd name="connsiteX38699" fmla="*/ 815311 w 6884782"/>
              <a:gd name="connsiteY38699" fmla="*/ 2048061 h 5973007"/>
              <a:gd name="connsiteX38700" fmla="*/ 5284700 w 6884782"/>
              <a:gd name="connsiteY38700" fmla="*/ 2047106 h 5973007"/>
              <a:gd name="connsiteX38701" fmla="*/ 5290462 w 6884782"/>
              <a:gd name="connsiteY38701" fmla="*/ 2051375 h 5973007"/>
              <a:gd name="connsiteX38702" fmla="*/ 5275096 w 6884782"/>
              <a:gd name="connsiteY38702" fmla="*/ 2053936 h 5973007"/>
              <a:gd name="connsiteX38703" fmla="*/ 5278297 w 6884782"/>
              <a:gd name="connsiteY38703" fmla="*/ 2047249 h 5973007"/>
              <a:gd name="connsiteX38704" fmla="*/ 5284700 w 6884782"/>
              <a:gd name="connsiteY38704" fmla="*/ 2047106 h 5973007"/>
              <a:gd name="connsiteX38705" fmla="*/ 6142220 w 6884782"/>
              <a:gd name="connsiteY38705" fmla="*/ 2046538 h 5973007"/>
              <a:gd name="connsiteX38706" fmla="*/ 6144781 w 6884782"/>
              <a:gd name="connsiteY38706" fmla="*/ 2046538 h 5973007"/>
              <a:gd name="connsiteX38707" fmla="*/ 6145208 w 6884782"/>
              <a:gd name="connsiteY38707" fmla="*/ 2047533 h 5973007"/>
              <a:gd name="connsiteX38708" fmla="*/ 6145422 w 6884782"/>
              <a:gd name="connsiteY38708" fmla="*/ 2047675 h 5973007"/>
              <a:gd name="connsiteX38709" fmla="*/ 6144995 w 6884782"/>
              <a:gd name="connsiteY38709" fmla="*/ 2050095 h 5973007"/>
              <a:gd name="connsiteX38710" fmla="*/ 6143288 w 6884782"/>
              <a:gd name="connsiteY38710" fmla="*/ 2052228 h 5973007"/>
              <a:gd name="connsiteX38711" fmla="*/ 6140727 w 6884782"/>
              <a:gd name="connsiteY38711" fmla="*/ 2048529 h 5973007"/>
              <a:gd name="connsiteX38712" fmla="*/ 6142647 w 6884782"/>
              <a:gd name="connsiteY38712" fmla="*/ 2047533 h 5973007"/>
              <a:gd name="connsiteX38713" fmla="*/ 6142220 w 6884782"/>
              <a:gd name="connsiteY38713" fmla="*/ 2046538 h 5973007"/>
              <a:gd name="connsiteX38714" fmla="*/ 1033182 w 6884782"/>
              <a:gd name="connsiteY38714" fmla="*/ 2046357 h 5973007"/>
              <a:gd name="connsiteX38715" fmla="*/ 1034421 w 6884782"/>
              <a:gd name="connsiteY38715" fmla="*/ 2046822 h 5973007"/>
              <a:gd name="connsiteX38716" fmla="*/ 1035040 w 6884782"/>
              <a:gd name="connsiteY38716" fmla="*/ 2048526 h 5973007"/>
              <a:gd name="connsiteX38717" fmla="*/ 1035247 w 6884782"/>
              <a:gd name="connsiteY38717" fmla="*/ 2049455 h 5973007"/>
              <a:gd name="connsiteX38718" fmla="*/ 1037003 w 6884782"/>
              <a:gd name="connsiteY38718" fmla="*/ 2048526 h 5973007"/>
              <a:gd name="connsiteX38719" fmla="*/ 1043404 w 6884782"/>
              <a:gd name="connsiteY38719" fmla="*/ 2054567 h 5973007"/>
              <a:gd name="connsiteX38720" fmla="*/ 1028226 w 6884782"/>
              <a:gd name="connsiteY38720" fmla="*/ 2063241 h 5973007"/>
              <a:gd name="connsiteX38721" fmla="*/ 1027710 w 6884782"/>
              <a:gd name="connsiteY38721" fmla="*/ 2059988 h 5973007"/>
              <a:gd name="connsiteX38722" fmla="*/ 1033182 w 6884782"/>
              <a:gd name="connsiteY38722" fmla="*/ 2050384 h 5973007"/>
              <a:gd name="connsiteX38723" fmla="*/ 1034731 w 6884782"/>
              <a:gd name="connsiteY38723" fmla="*/ 2049610 h 5973007"/>
              <a:gd name="connsiteX38724" fmla="*/ 5217899 w 6884782"/>
              <a:gd name="connsiteY38724" fmla="*/ 2045684 h 5973007"/>
              <a:gd name="connsiteX38725" fmla="*/ 5221101 w 6884782"/>
              <a:gd name="connsiteY38725" fmla="*/ 2054078 h 5973007"/>
              <a:gd name="connsiteX38726" fmla="*/ 5209790 w 6884782"/>
              <a:gd name="connsiteY38726" fmla="*/ 2060480 h 5973007"/>
              <a:gd name="connsiteX38727" fmla="*/ 5207015 w 6884782"/>
              <a:gd name="connsiteY38727" fmla="*/ 2047106 h 5973007"/>
              <a:gd name="connsiteX38728" fmla="*/ 5217899 w 6884782"/>
              <a:gd name="connsiteY38728" fmla="*/ 2045684 h 5973007"/>
              <a:gd name="connsiteX38729" fmla="*/ 1133134 w 6884782"/>
              <a:gd name="connsiteY38729" fmla="*/ 2044963 h 5973007"/>
              <a:gd name="connsiteX38730" fmla="*/ 1134786 w 6884782"/>
              <a:gd name="connsiteY38730" fmla="*/ 2045738 h 5973007"/>
              <a:gd name="connsiteX38731" fmla="*/ 1136232 w 6884782"/>
              <a:gd name="connsiteY38731" fmla="*/ 2047906 h 5973007"/>
              <a:gd name="connsiteX38732" fmla="*/ 1132824 w 6884782"/>
              <a:gd name="connsiteY38732" fmla="*/ 2051159 h 5973007"/>
              <a:gd name="connsiteX38733" fmla="*/ 1131069 w 6884782"/>
              <a:gd name="connsiteY38733" fmla="*/ 2050229 h 5973007"/>
              <a:gd name="connsiteX38734" fmla="*/ 1130449 w 6884782"/>
              <a:gd name="connsiteY38734" fmla="*/ 2047597 h 5973007"/>
              <a:gd name="connsiteX38735" fmla="*/ 1133134 w 6884782"/>
              <a:gd name="connsiteY38735" fmla="*/ 2044963 h 5973007"/>
              <a:gd name="connsiteX38736" fmla="*/ 4709747 w 6884782"/>
              <a:gd name="connsiteY38736" fmla="*/ 2043408 h 5973007"/>
              <a:gd name="connsiteX38737" fmla="*/ 4709747 w 6884782"/>
              <a:gd name="connsiteY38737" fmla="*/ 2044688 h 5973007"/>
              <a:gd name="connsiteX38738" fmla="*/ 4711241 w 6884782"/>
              <a:gd name="connsiteY38738" fmla="*/ 2049667 h 5973007"/>
              <a:gd name="connsiteX38739" fmla="*/ 4705265 w 6884782"/>
              <a:gd name="connsiteY38739" fmla="*/ 2049383 h 5973007"/>
              <a:gd name="connsiteX38740" fmla="*/ 4706332 w 6884782"/>
              <a:gd name="connsiteY38740" fmla="*/ 2044546 h 5973007"/>
              <a:gd name="connsiteX38741" fmla="*/ 4709747 w 6884782"/>
              <a:gd name="connsiteY38741" fmla="*/ 2043408 h 5973007"/>
              <a:gd name="connsiteX38742" fmla="*/ 5836390 w 6884782"/>
              <a:gd name="connsiteY38742" fmla="*/ 2041985 h 5973007"/>
              <a:gd name="connsiteX38743" fmla="*/ 5836817 w 6884782"/>
              <a:gd name="connsiteY38743" fmla="*/ 2042696 h 5973007"/>
              <a:gd name="connsiteX38744" fmla="*/ 5836390 w 6884782"/>
              <a:gd name="connsiteY38744" fmla="*/ 2044119 h 5973007"/>
              <a:gd name="connsiteX38745" fmla="*/ 5835323 w 6884782"/>
              <a:gd name="connsiteY38745" fmla="*/ 2043977 h 5973007"/>
              <a:gd name="connsiteX38746" fmla="*/ 5836390 w 6884782"/>
              <a:gd name="connsiteY38746" fmla="*/ 2041985 h 5973007"/>
              <a:gd name="connsiteX38747" fmla="*/ 5864561 w 6884782"/>
              <a:gd name="connsiteY38747" fmla="*/ 2041558 h 5973007"/>
              <a:gd name="connsiteX38748" fmla="*/ 5871177 w 6884782"/>
              <a:gd name="connsiteY38748" fmla="*/ 2042269 h 5973007"/>
              <a:gd name="connsiteX38749" fmla="*/ 5887611 w 6884782"/>
              <a:gd name="connsiteY38749" fmla="*/ 2053651 h 5973007"/>
              <a:gd name="connsiteX38750" fmla="*/ 5891025 w 6884782"/>
              <a:gd name="connsiteY38750" fmla="*/ 2057208 h 5973007"/>
              <a:gd name="connsiteX38751" fmla="*/ 5892733 w 6884782"/>
              <a:gd name="connsiteY38751" fmla="*/ 2057634 h 5973007"/>
              <a:gd name="connsiteX38752" fmla="*/ 5896788 w 6884782"/>
              <a:gd name="connsiteY38752" fmla="*/ 2059484 h 5973007"/>
              <a:gd name="connsiteX38753" fmla="*/ 5897428 w 6884782"/>
              <a:gd name="connsiteY38753" fmla="*/ 2061476 h 5973007"/>
              <a:gd name="connsiteX38754" fmla="*/ 5894440 w 6884782"/>
              <a:gd name="connsiteY38754" fmla="*/ 2061049 h 5973007"/>
              <a:gd name="connsiteX38755" fmla="*/ 5895507 w 6884782"/>
              <a:gd name="connsiteY38755" fmla="*/ 2061903 h 5973007"/>
              <a:gd name="connsiteX38756" fmla="*/ 5904898 w 6884782"/>
              <a:gd name="connsiteY38756" fmla="*/ 2070296 h 5973007"/>
              <a:gd name="connsiteX38757" fmla="*/ 5890599 w 6884782"/>
              <a:gd name="connsiteY38757" fmla="*/ 2078548 h 5973007"/>
              <a:gd name="connsiteX38758" fmla="*/ 5886970 w 6884782"/>
              <a:gd name="connsiteY38758" fmla="*/ 2083243 h 5973007"/>
              <a:gd name="connsiteX38759" fmla="*/ 5887824 w 6884782"/>
              <a:gd name="connsiteY38759" fmla="*/ 2084239 h 5973007"/>
              <a:gd name="connsiteX38760" fmla="*/ 5888037 w 6884782"/>
              <a:gd name="connsiteY38760" fmla="*/ 2083954 h 5973007"/>
              <a:gd name="connsiteX38761" fmla="*/ 5892306 w 6884782"/>
              <a:gd name="connsiteY38761" fmla="*/ 2091779 h 5973007"/>
              <a:gd name="connsiteX38762" fmla="*/ 5880354 w 6884782"/>
              <a:gd name="connsiteY38762" fmla="*/ 2091210 h 5973007"/>
              <a:gd name="connsiteX38763" fmla="*/ 5879928 w 6884782"/>
              <a:gd name="connsiteY38763" fmla="*/ 2090925 h 5973007"/>
              <a:gd name="connsiteX38764" fmla="*/ 5875873 w 6884782"/>
              <a:gd name="connsiteY38764" fmla="*/ 2093059 h 5973007"/>
              <a:gd name="connsiteX38765" fmla="*/ 5870323 w 6884782"/>
              <a:gd name="connsiteY38765" fmla="*/ 2093771 h 5973007"/>
              <a:gd name="connsiteX38766" fmla="*/ 5862000 w 6884782"/>
              <a:gd name="connsiteY38766" fmla="*/ 2091779 h 5973007"/>
              <a:gd name="connsiteX38767" fmla="*/ 5861574 w 6884782"/>
              <a:gd name="connsiteY38767" fmla="*/ 2094482 h 5973007"/>
              <a:gd name="connsiteX38768" fmla="*/ 5856238 w 6884782"/>
              <a:gd name="connsiteY38768" fmla="*/ 2089076 h 5973007"/>
              <a:gd name="connsiteX38769" fmla="*/ 5856451 w 6884782"/>
              <a:gd name="connsiteY38769" fmla="*/ 2088791 h 5973007"/>
              <a:gd name="connsiteX38770" fmla="*/ 5851756 w 6884782"/>
              <a:gd name="connsiteY38770" fmla="*/ 2084950 h 5973007"/>
              <a:gd name="connsiteX38771" fmla="*/ 5849622 w 6884782"/>
              <a:gd name="connsiteY38771" fmla="*/ 2093486 h 5973007"/>
              <a:gd name="connsiteX38772" fmla="*/ 5845994 w 6884782"/>
              <a:gd name="connsiteY38772" fmla="*/ 2102023 h 5973007"/>
              <a:gd name="connsiteX38773" fmla="*/ 5837244 w 6884782"/>
              <a:gd name="connsiteY38773" fmla="*/ 2114827 h 5973007"/>
              <a:gd name="connsiteX38774" fmla="*/ 5836817 w 6884782"/>
              <a:gd name="connsiteY38774" fmla="*/ 2114827 h 5973007"/>
              <a:gd name="connsiteX38775" fmla="*/ 5834896 w 6884782"/>
              <a:gd name="connsiteY38775" fmla="*/ 2117672 h 5973007"/>
              <a:gd name="connsiteX38776" fmla="*/ 5825079 w 6884782"/>
              <a:gd name="connsiteY38776" fmla="*/ 2117956 h 5973007"/>
              <a:gd name="connsiteX38777" fmla="*/ 5829347 w 6884782"/>
              <a:gd name="connsiteY38777" fmla="*/ 2111554 h 5973007"/>
              <a:gd name="connsiteX38778" fmla="*/ 5826786 w 6884782"/>
              <a:gd name="connsiteY38778" fmla="*/ 2109562 h 5973007"/>
              <a:gd name="connsiteX38779" fmla="*/ 5825292 w 6884782"/>
              <a:gd name="connsiteY38779" fmla="*/ 2099461 h 5973007"/>
              <a:gd name="connsiteX38780" fmla="*/ 5825719 w 6884782"/>
              <a:gd name="connsiteY38780" fmla="*/ 2098039 h 5973007"/>
              <a:gd name="connsiteX38781" fmla="*/ 5811420 w 6884782"/>
              <a:gd name="connsiteY38781" fmla="*/ 2098466 h 5973007"/>
              <a:gd name="connsiteX38782" fmla="*/ 5807365 w 6884782"/>
              <a:gd name="connsiteY38782" fmla="*/ 2098893 h 5973007"/>
              <a:gd name="connsiteX38783" fmla="*/ 5806724 w 6884782"/>
              <a:gd name="connsiteY38783" fmla="*/ 2100173 h 5973007"/>
              <a:gd name="connsiteX38784" fmla="*/ 5803523 w 6884782"/>
              <a:gd name="connsiteY38784" fmla="*/ 2103872 h 5973007"/>
              <a:gd name="connsiteX38785" fmla="*/ 5800322 w 6884782"/>
              <a:gd name="connsiteY38785" fmla="*/ 2100457 h 5973007"/>
              <a:gd name="connsiteX38786" fmla="*/ 5800109 w 6884782"/>
              <a:gd name="connsiteY38786" fmla="*/ 2099746 h 5973007"/>
              <a:gd name="connsiteX38787" fmla="*/ 5799682 w 6884782"/>
              <a:gd name="connsiteY38787" fmla="*/ 2099746 h 5973007"/>
              <a:gd name="connsiteX38788" fmla="*/ 5799895 w 6884782"/>
              <a:gd name="connsiteY38788" fmla="*/ 2099177 h 5973007"/>
              <a:gd name="connsiteX38789" fmla="*/ 5799468 w 6884782"/>
              <a:gd name="connsiteY38789" fmla="*/ 2097754 h 5973007"/>
              <a:gd name="connsiteX38790" fmla="*/ 5799682 w 6884782"/>
              <a:gd name="connsiteY38790" fmla="*/ 2093914 h 5973007"/>
              <a:gd name="connsiteX38791" fmla="*/ 5801389 w 6884782"/>
              <a:gd name="connsiteY38791" fmla="*/ 2091637 h 5973007"/>
              <a:gd name="connsiteX38792" fmla="*/ 5803523 w 6884782"/>
              <a:gd name="connsiteY38792" fmla="*/ 2088934 h 5973007"/>
              <a:gd name="connsiteX38793" fmla="*/ 5804164 w 6884782"/>
              <a:gd name="connsiteY38793" fmla="*/ 2088791 h 5973007"/>
              <a:gd name="connsiteX38794" fmla="*/ 5804590 w 6884782"/>
              <a:gd name="connsiteY38794" fmla="*/ 2086800 h 5973007"/>
              <a:gd name="connsiteX38795" fmla="*/ 5804590 w 6884782"/>
              <a:gd name="connsiteY38795" fmla="*/ 2073853 h 5973007"/>
              <a:gd name="connsiteX38796" fmla="*/ 5802243 w 6884782"/>
              <a:gd name="connsiteY38796" fmla="*/ 2073711 h 5973007"/>
              <a:gd name="connsiteX38797" fmla="*/ 5796481 w 6884782"/>
              <a:gd name="connsiteY38797" fmla="*/ 2071150 h 5973007"/>
              <a:gd name="connsiteX38798" fmla="*/ 5803523 w 6884782"/>
              <a:gd name="connsiteY38798" fmla="*/ 2062472 h 5973007"/>
              <a:gd name="connsiteX38799" fmla="*/ 5806084 w 6884782"/>
              <a:gd name="connsiteY38799" fmla="*/ 2062756 h 5973007"/>
              <a:gd name="connsiteX38800" fmla="*/ 5806938 w 6884782"/>
              <a:gd name="connsiteY38800" fmla="*/ 2060480 h 5973007"/>
              <a:gd name="connsiteX38801" fmla="*/ 5810353 w 6884782"/>
              <a:gd name="connsiteY38801" fmla="*/ 2055500 h 5973007"/>
              <a:gd name="connsiteX38802" fmla="*/ 5844927 w 6884782"/>
              <a:gd name="connsiteY38802" fmla="*/ 2054078 h 5973007"/>
              <a:gd name="connsiteX38803" fmla="*/ 5845567 w 6884782"/>
              <a:gd name="connsiteY38803" fmla="*/ 2054789 h 5973007"/>
              <a:gd name="connsiteX38804" fmla="*/ 5847274 w 6884782"/>
              <a:gd name="connsiteY38804" fmla="*/ 2051802 h 5973007"/>
              <a:gd name="connsiteX38805" fmla="*/ 5844927 w 6884782"/>
              <a:gd name="connsiteY38805" fmla="*/ 2051659 h 5973007"/>
              <a:gd name="connsiteX38806" fmla="*/ 5843219 w 6884782"/>
              <a:gd name="connsiteY38806" fmla="*/ 2044403 h 5973007"/>
              <a:gd name="connsiteX38807" fmla="*/ 5849836 w 6884782"/>
              <a:gd name="connsiteY38807" fmla="*/ 2044119 h 5973007"/>
              <a:gd name="connsiteX38808" fmla="*/ 5852183 w 6884782"/>
              <a:gd name="connsiteY38808" fmla="*/ 2045826 h 5973007"/>
              <a:gd name="connsiteX38809" fmla="*/ 5858799 w 6884782"/>
              <a:gd name="connsiteY38809" fmla="*/ 2042127 h 5973007"/>
              <a:gd name="connsiteX38810" fmla="*/ 5864561 w 6884782"/>
              <a:gd name="connsiteY38810" fmla="*/ 2041558 h 5973007"/>
              <a:gd name="connsiteX38811" fmla="*/ 5773218 w 6884782"/>
              <a:gd name="connsiteY38811" fmla="*/ 2041416 h 5973007"/>
              <a:gd name="connsiteX38812" fmla="*/ 5775992 w 6884782"/>
              <a:gd name="connsiteY38812" fmla="*/ 2045400 h 5973007"/>
              <a:gd name="connsiteX38813" fmla="*/ 5775992 w 6884782"/>
              <a:gd name="connsiteY38813" fmla="*/ 2046538 h 5973007"/>
              <a:gd name="connsiteX38814" fmla="*/ 5777059 w 6884782"/>
              <a:gd name="connsiteY38814" fmla="*/ 2045542 h 5973007"/>
              <a:gd name="connsiteX38815" fmla="*/ 5777913 w 6884782"/>
              <a:gd name="connsiteY38815" fmla="*/ 2042554 h 5973007"/>
              <a:gd name="connsiteX38816" fmla="*/ 5781114 w 6884782"/>
              <a:gd name="connsiteY38816" fmla="*/ 2041558 h 5973007"/>
              <a:gd name="connsiteX38817" fmla="*/ 5782181 w 6884782"/>
              <a:gd name="connsiteY38817" fmla="*/ 2042269 h 5973007"/>
              <a:gd name="connsiteX38818" fmla="*/ 5781541 w 6884782"/>
              <a:gd name="connsiteY38818" fmla="*/ 2044830 h 5973007"/>
              <a:gd name="connsiteX38819" fmla="*/ 5774071 w 6884782"/>
              <a:gd name="connsiteY38819" fmla="*/ 2054647 h 5973007"/>
              <a:gd name="connsiteX38820" fmla="*/ 5772791 w 6884782"/>
              <a:gd name="connsiteY38820" fmla="*/ 2056781 h 5973007"/>
              <a:gd name="connsiteX38821" fmla="*/ 5769589 w 6884782"/>
              <a:gd name="connsiteY38821" fmla="*/ 2057634 h 5973007"/>
              <a:gd name="connsiteX38822" fmla="*/ 5770656 w 6884782"/>
              <a:gd name="connsiteY38822" fmla="*/ 2051802 h 5973007"/>
              <a:gd name="connsiteX38823" fmla="*/ 5774498 w 6884782"/>
              <a:gd name="connsiteY38823" fmla="*/ 2047675 h 5973007"/>
              <a:gd name="connsiteX38824" fmla="*/ 5773431 w 6884782"/>
              <a:gd name="connsiteY38824" fmla="*/ 2045684 h 5973007"/>
              <a:gd name="connsiteX38825" fmla="*/ 5773218 w 6884782"/>
              <a:gd name="connsiteY38825" fmla="*/ 2041416 h 5973007"/>
              <a:gd name="connsiteX38826" fmla="*/ 4755632 w 6884782"/>
              <a:gd name="connsiteY38826" fmla="*/ 2041416 h 5973007"/>
              <a:gd name="connsiteX38827" fmla="*/ 4754351 w 6884782"/>
              <a:gd name="connsiteY38827" fmla="*/ 2048529 h 5973007"/>
              <a:gd name="connsiteX38828" fmla="*/ 4751151 w 6884782"/>
              <a:gd name="connsiteY38828" fmla="*/ 2042269 h 5973007"/>
              <a:gd name="connsiteX38829" fmla="*/ 4755632 w 6884782"/>
              <a:gd name="connsiteY38829" fmla="*/ 2041416 h 5973007"/>
              <a:gd name="connsiteX38830" fmla="*/ 5190368 w 6884782"/>
              <a:gd name="connsiteY38830" fmla="*/ 2041274 h 5973007"/>
              <a:gd name="connsiteX38831" fmla="*/ 5195064 w 6884782"/>
              <a:gd name="connsiteY38831" fmla="*/ 2041985 h 5973007"/>
              <a:gd name="connsiteX38832" fmla="*/ 5199972 w 6884782"/>
              <a:gd name="connsiteY38832" fmla="*/ 2051802 h 5973007"/>
              <a:gd name="connsiteX38833" fmla="*/ 5198905 w 6884782"/>
              <a:gd name="connsiteY38833" fmla="*/ 2054647 h 5973007"/>
              <a:gd name="connsiteX38834" fmla="*/ 5193143 w 6884782"/>
              <a:gd name="connsiteY38834" fmla="*/ 2052513 h 5973007"/>
              <a:gd name="connsiteX38835" fmla="*/ 5190368 w 6884782"/>
              <a:gd name="connsiteY38835" fmla="*/ 2041274 h 5973007"/>
              <a:gd name="connsiteX38836" fmla="*/ 5949075 w 6884782"/>
              <a:gd name="connsiteY38836" fmla="*/ 2040847 h 5973007"/>
              <a:gd name="connsiteX38837" fmla="*/ 5954625 w 6884782"/>
              <a:gd name="connsiteY38837" fmla="*/ 2049098 h 5973007"/>
              <a:gd name="connsiteX38838" fmla="*/ 5954198 w 6884782"/>
              <a:gd name="connsiteY38838" fmla="*/ 2051232 h 5973007"/>
              <a:gd name="connsiteX38839" fmla="*/ 5949075 w 6884782"/>
              <a:gd name="connsiteY38839" fmla="*/ 2040847 h 5973007"/>
              <a:gd name="connsiteX38840" fmla="*/ 791150 w 6884782"/>
              <a:gd name="connsiteY38840" fmla="*/ 2040626 h 5973007"/>
              <a:gd name="connsiteX38841" fmla="*/ 808187 w 6884782"/>
              <a:gd name="connsiteY38841" fmla="*/ 2051004 h 5973007"/>
              <a:gd name="connsiteX38842" fmla="*/ 804779 w 6884782"/>
              <a:gd name="connsiteY38842" fmla="*/ 2054102 h 5973007"/>
              <a:gd name="connsiteX38843" fmla="*/ 790840 w 6884782"/>
              <a:gd name="connsiteY38843" fmla="*/ 2043879 h 5973007"/>
              <a:gd name="connsiteX38844" fmla="*/ 791150 w 6884782"/>
              <a:gd name="connsiteY38844" fmla="*/ 2040626 h 5973007"/>
              <a:gd name="connsiteX38845" fmla="*/ 6000937 w 6884782"/>
              <a:gd name="connsiteY38845" fmla="*/ 2040420 h 5973007"/>
              <a:gd name="connsiteX38846" fmla="*/ 6005845 w 6884782"/>
              <a:gd name="connsiteY38846" fmla="*/ 2041274 h 5973007"/>
              <a:gd name="connsiteX38847" fmla="*/ 6006272 w 6884782"/>
              <a:gd name="connsiteY38847" fmla="*/ 2044830 h 5973007"/>
              <a:gd name="connsiteX38848" fmla="*/ 6000297 w 6884782"/>
              <a:gd name="connsiteY38848" fmla="*/ 2044119 h 5973007"/>
              <a:gd name="connsiteX38849" fmla="*/ 6000937 w 6884782"/>
              <a:gd name="connsiteY38849" fmla="*/ 2040420 h 5973007"/>
              <a:gd name="connsiteX38850" fmla="*/ 5657971 w 6884782"/>
              <a:gd name="connsiteY38850" fmla="*/ 2040278 h 5973007"/>
              <a:gd name="connsiteX38851" fmla="*/ 5663306 w 6884782"/>
              <a:gd name="connsiteY38851" fmla="*/ 2043408 h 5973007"/>
              <a:gd name="connsiteX38852" fmla="*/ 5652635 w 6884782"/>
              <a:gd name="connsiteY38852" fmla="*/ 2044830 h 5973007"/>
              <a:gd name="connsiteX38853" fmla="*/ 5657971 w 6884782"/>
              <a:gd name="connsiteY38853" fmla="*/ 2040278 h 5973007"/>
              <a:gd name="connsiteX38854" fmla="*/ 5989412 w 6884782"/>
              <a:gd name="connsiteY38854" fmla="*/ 2039993 h 5973007"/>
              <a:gd name="connsiteX38855" fmla="*/ 5993254 w 6884782"/>
              <a:gd name="connsiteY38855" fmla="*/ 2040989 h 5973007"/>
              <a:gd name="connsiteX38856" fmla="*/ 5993467 w 6884782"/>
              <a:gd name="connsiteY38856" fmla="*/ 2042127 h 5973007"/>
              <a:gd name="connsiteX38857" fmla="*/ 5987491 w 6884782"/>
              <a:gd name="connsiteY38857" fmla="*/ 2042411 h 5973007"/>
              <a:gd name="connsiteX38858" fmla="*/ 5989412 w 6884782"/>
              <a:gd name="connsiteY38858" fmla="*/ 2039993 h 5973007"/>
              <a:gd name="connsiteX38859" fmla="*/ 5693826 w 6884782"/>
              <a:gd name="connsiteY38859" fmla="*/ 2039993 h 5973007"/>
              <a:gd name="connsiteX38860" fmla="*/ 5697027 w 6884782"/>
              <a:gd name="connsiteY38860" fmla="*/ 2040420 h 5973007"/>
              <a:gd name="connsiteX38861" fmla="*/ 5707271 w 6884782"/>
              <a:gd name="connsiteY38861" fmla="*/ 2046964 h 5973007"/>
              <a:gd name="connsiteX38862" fmla="*/ 5698947 w 6884782"/>
              <a:gd name="connsiteY38862" fmla="*/ 2054932 h 5973007"/>
              <a:gd name="connsiteX38863" fmla="*/ 5697454 w 6884782"/>
              <a:gd name="connsiteY38863" fmla="*/ 2054362 h 5973007"/>
              <a:gd name="connsiteX38864" fmla="*/ 5687423 w 6884782"/>
              <a:gd name="connsiteY38864" fmla="*/ 2045115 h 5973007"/>
              <a:gd name="connsiteX38865" fmla="*/ 5693826 w 6884782"/>
              <a:gd name="connsiteY38865" fmla="*/ 2039993 h 5973007"/>
              <a:gd name="connsiteX38866" fmla="*/ 4993808 w 6884782"/>
              <a:gd name="connsiteY38866" fmla="*/ 2039993 h 5973007"/>
              <a:gd name="connsiteX38867" fmla="*/ 5004906 w 6884782"/>
              <a:gd name="connsiteY38867" fmla="*/ 2049952 h 5973007"/>
              <a:gd name="connsiteX38868" fmla="*/ 5004266 w 6884782"/>
              <a:gd name="connsiteY38868" fmla="*/ 2055358 h 5973007"/>
              <a:gd name="connsiteX38869" fmla="*/ 4998077 w 6884782"/>
              <a:gd name="connsiteY38869" fmla="*/ 2061476 h 5973007"/>
              <a:gd name="connsiteX38870" fmla="*/ 4989113 w 6884782"/>
              <a:gd name="connsiteY38870" fmla="*/ 2056069 h 5973007"/>
              <a:gd name="connsiteX38871" fmla="*/ 4989113 w 6884782"/>
              <a:gd name="connsiteY38871" fmla="*/ 2055927 h 5973007"/>
              <a:gd name="connsiteX38872" fmla="*/ 4988900 w 6884782"/>
              <a:gd name="connsiteY38872" fmla="*/ 2057350 h 5973007"/>
              <a:gd name="connsiteX38873" fmla="*/ 4988687 w 6884782"/>
              <a:gd name="connsiteY38873" fmla="*/ 2056212 h 5973007"/>
              <a:gd name="connsiteX38874" fmla="*/ 4988900 w 6884782"/>
              <a:gd name="connsiteY38874" fmla="*/ 2055500 h 5973007"/>
              <a:gd name="connsiteX38875" fmla="*/ 4986979 w 6884782"/>
              <a:gd name="connsiteY38875" fmla="*/ 2051944 h 5973007"/>
              <a:gd name="connsiteX38876" fmla="*/ 4984632 w 6884782"/>
              <a:gd name="connsiteY38876" fmla="*/ 2052797 h 5973007"/>
              <a:gd name="connsiteX38877" fmla="*/ 4986979 w 6884782"/>
              <a:gd name="connsiteY38877" fmla="*/ 2051659 h 5973007"/>
              <a:gd name="connsiteX38878" fmla="*/ 4986339 w 6884782"/>
              <a:gd name="connsiteY38878" fmla="*/ 2050521 h 5973007"/>
              <a:gd name="connsiteX38879" fmla="*/ 4986125 w 6884782"/>
              <a:gd name="connsiteY38879" fmla="*/ 2045542 h 5973007"/>
              <a:gd name="connsiteX38880" fmla="*/ 4993808 w 6884782"/>
              <a:gd name="connsiteY38880" fmla="*/ 2039993 h 5973007"/>
              <a:gd name="connsiteX38881" fmla="*/ 4955820 w 6884782"/>
              <a:gd name="connsiteY38881" fmla="*/ 2039424 h 5973007"/>
              <a:gd name="connsiteX38882" fmla="*/ 4966278 w 6884782"/>
              <a:gd name="connsiteY38882" fmla="*/ 2044119 h 5973007"/>
              <a:gd name="connsiteX38883" fmla="*/ 4967131 w 6884782"/>
              <a:gd name="connsiteY38883" fmla="*/ 2047249 h 5973007"/>
              <a:gd name="connsiteX38884" fmla="*/ 4955820 w 6884782"/>
              <a:gd name="connsiteY38884" fmla="*/ 2039424 h 5973007"/>
              <a:gd name="connsiteX38885" fmla="*/ 856097 w 6884782"/>
              <a:gd name="connsiteY38885" fmla="*/ 2039232 h 5973007"/>
              <a:gd name="connsiteX38886" fmla="*/ 857750 w 6884782"/>
              <a:gd name="connsiteY38886" fmla="*/ 2043259 h 5973007"/>
              <a:gd name="connsiteX38887" fmla="*/ 855891 w 6884782"/>
              <a:gd name="connsiteY38887" fmla="*/ 2046047 h 5973007"/>
              <a:gd name="connsiteX38888" fmla="*/ 855065 w 6884782"/>
              <a:gd name="connsiteY38888" fmla="*/ 2042330 h 5973007"/>
              <a:gd name="connsiteX38889" fmla="*/ 856097 w 6884782"/>
              <a:gd name="connsiteY38889" fmla="*/ 2039232 h 5973007"/>
              <a:gd name="connsiteX38890" fmla="*/ 871560 w 6884782"/>
              <a:gd name="connsiteY38890" fmla="*/ 2039019 h 5973007"/>
              <a:gd name="connsiteX38891" fmla="*/ 878297 w 6884782"/>
              <a:gd name="connsiteY38891" fmla="*/ 2039387 h 5973007"/>
              <a:gd name="connsiteX38892" fmla="*/ 877059 w 6884782"/>
              <a:gd name="connsiteY38892" fmla="*/ 2047751 h 5973007"/>
              <a:gd name="connsiteX38893" fmla="*/ 867765 w 6884782"/>
              <a:gd name="connsiteY38893" fmla="*/ 2044808 h 5973007"/>
              <a:gd name="connsiteX38894" fmla="*/ 871560 w 6884782"/>
              <a:gd name="connsiteY38894" fmla="*/ 2039019 h 5973007"/>
              <a:gd name="connsiteX38895" fmla="*/ 6305273 w 6884782"/>
              <a:gd name="connsiteY38895" fmla="*/ 2038855 h 5973007"/>
              <a:gd name="connsiteX38896" fmla="*/ 6308901 w 6884782"/>
              <a:gd name="connsiteY38896" fmla="*/ 2040705 h 5973007"/>
              <a:gd name="connsiteX38897" fmla="*/ 6308475 w 6884782"/>
              <a:gd name="connsiteY38897" fmla="*/ 2045115 h 5973007"/>
              <a:gd name="connsiteX38898" fmla="*/ 6304847 w 6884782"/>
              <a:gd name="connsiteY38898" fmla="*/ 2048672 h 5973007"/>
              <a:gd name="connsiteX38899" fmla="*/ 6298657 w 6884782"/>
              <a:gd name="connsiteY38899" fmla="*/ 2041558 h 5973007"/>
              <a:gd name="connsiteX38900" fmla="*/ 6305273 w 6884782"/>
              <a:gd name="connsiteY38900" fmla="*/ 2038855 h 5973007"/>
              <a:gd name="connsiteX38901" fmla="*/ 5017498 w 6884782"/>
              <a:gd name="connsiteY38901" fmla="*/ 2038570 h 5973007"/>
              <a:gd name="connsiteX38902" fmla="*/ 5010242 w 6884782"/>
              <a:gd name="connsiteY38902" fmla="*/ 2043266 h 5973007"/>
              <a:gd name="connsiteX38903" fmla="*/ 5008748 w 6884782"/>
              <a:gd name="connsiteY38903" fmla="*/ 2042838 h 5973007"/>
              <a:gd name="connsiteX38904" fmla="*/ 5017498 w 6884782"/>
              <a:gd name="connsiteY38904" fmla="*/ 2038570 h 5973007"/>
              <a:gd name="connsiteX38905" fmla="*/ 5937764 w 6884782"/>
              <a:gd name="connsiteY38905" fmla="*/ 2037717 h 5973007"/>
              <a:gd name="connsiteX38906" fmla="*/ 5941392 w 6884782"/>
              <a:gd name="connsiteY38906" fmla="*/ 2037859 h 5973007"/>
              <a:gd name="connsiteX38907" fmla="*/ 5945661 w 6884782"/>
              <a:gd name="connsiteY38907" fmla="*/ 2040847 h 5973007"/>
              <a:gd name="connsiteX38908" fmla="*/ 5942032 w 6884782"/>
              <a:gd name="connsiteY38908" fmla="*/ 2047960 h 5973007"/>
              <a:gd name="connsiteX38909" fmla="*/ 5930081 w 6884782"/>
              <a:gd name="connsiteY38909" fmla="*/ 2045542 h 5973007"/>
              <a:gd name="connsiteX38910" fmla="*/ 5937764 w 6884782"/>
              <a:gd name="connsiteY38910" fmla="*/ 2037717 h 5973007"/>
              <a:gd name="connsiteX38911" fmla="*/ 4817951 w 6884782"/>
              <a:gd name="connsiteY38911" fmla="*/ 2037290 h 5973007"/>
              <a:gd name="connsiteX38912" fmla="*/ 4823500 w 6884782"/>
              <a:gd name="connsiteY38912" fmla="*/ 2044403 h 5973007"/>
              <a:gd name="connsiteX38913" fmla="*/ 4823713 w 6884782"/>
              <a:gd name="connsiteY38913" fmla="*/ 2047391 h 5973007"/>
              <a:gd name="connsiteX38914" fmla="*/ 4825634 w 6884782"/>
              <a:gd name="connsiteY38914" fmla="*/ 2047960 h 5973007"/>
              <a:gd name="connsiteX38915" fmla="*/ 4826488 w 6884782"/>
              <a:gd name="connsiteY38915" fmla="*/ 2059769 h 5973007"/>
              <a:gd name="connsiteX38916" fmla="*/ 4823286 w 6884782"/>
              <a:gd name="connsiteY38916" fmla="*/ 2062045 h 5973007"/>
              <a:gd name="connsiteX38917" fmla="*/ 4822860 w 6884782"/>
              <a:gd name="connsiteY38917" fmla="*/ 2063183 h 5973007"/>
              <a:gd name="connsiteX38918" fmla="*/ 4819872 w 6884782"/>
              <a:gd name="connsiteY38918" fmla="*/ 2063894 h 5973007"/>
              <a:gd name="connsiteX38919" fmla="*/ 4817524 w 6884782"/>
              <a:gd name="connsiteY38919" fmla="*/ 2062045 h 5973007"/>
              <a:gd name="connsiteX38920" fmla="*/ 4817310 w 6884782"/>
              <a:gd name="connsiteY38920" fmla="*/ 2061903 h 5973007"/>
              <a:gd name="connsiteX38921" fmla="*/ 4814963 w 6884782"/>
              <a:gd name="connsiteY38921" fmla="*/ 2061476 h 5973007"/>
              <a:gd name="connsiteX38922" fmla="*/ 4814322 w 6884782"/>
              <a:gd name="connsiteY38922" fmla="*/ 2059626 h 5973007"/>
              <a:gd name="connsiteX38923" fmla="*/ 4811121 w 6884782"/>
              <a:gd name="connsiteY38923" fmla="*/ 2060195 h 5973007"/>
              <a:gd name="connsiteX38924" fmla="*/ 4806639 w 6884782"/>
              <a:gd name="connsiteY38924" fmla="*/ 2063183 h 5973007"/>
              <a:gd name="connsiteX38925" fmla="*/ 4805786 w 6884782"/>
              <a:gd name="connsiteY38925" fmla="*/ 2063610 h 5973007"/>
              <a:gd name="connsiteX38926" fmla="*/ 4804505 w 6884782"/>
              <a:gd name="connsiteY38926" fmla="*/ 2068305 h 5973007"/>
              <a:gd name="connsiteX38927" fmla="*/ 4799597 w 6884782"/>
              <a:gd name="connsiteY38927" fmla="*/ 2067451 h 5973007"/>
              <a:gd name="connsiteX38928" fmla="*/ 4799383 w 6884782"/>
              <a:gd name="connsiteY38928" fmla="*/ 2065886 h 5973007"/>
              <a:gd name="connsiteX38929" fmla="*/ 4794475 w 6884782"/>
              <a:gd name="connsiteY38929" fmla="*/ 2065744 h 5973007"/>
              <a:gd name="connsiteX38930" fmla="*/ 4792554 w 6884782"/>
              <a:gd name="connsiteY38930" fmla="*/ 2054078 h 5973007"/>
              <a:gd name="connsiteX38931" fmla="*/ 4811335 w 6884782"/>
              <a:gd name="connsiteY38931" fmla="*/ 2040989 h 5973007"/>
              <a:gd name="connsiteX38932" fmla="*/ 4811761 w 6884782"/>
              <a:gd name="connsiteY38932" fmla="*/ 2042127 h 5973007"/>
              <a:gd name="connsiteX38933" fmla="*/ 4817951 w 6884782"/>
              <a:gd name="connsiteY38933" fmla="*/ 2037290 h 5973007"/>
              <a:gd name="connsiteX38934" fmla="*/ 5027102 w 6884782"/>
              <a:gd name="connsiteY38934" fmla="*/ 2036294 h 5973007"/>
              <a:gd name="connsiteX38935" fmla="*/ 5037133 w 6884782"/>
              <a:gd name="connsiteY38935" fmla="*/ 2042981 h 5973007"/>
              <a:gd name="connsiteX38936" fmla="*/ 5040334 w 6884782"/>
              <a:gd name="connsiteY38936" fmla="*/ 2048387 h 5973007"/>
              <a:gd name="connsiteX38937" fmla="*/ 5042895 w 6884782"/>
              <a:gd name="connsiteY38937" fmla="*/ 2049383 h 5973007"/>
              <a:gd name="connsiteX38938" fmla="*/ 5043962 w 6884782"/>
              <a:gd name="connsiteY38938" fmla="*/ 2051517 h 5973007"/>
              <a:gd name="connsiteX38939" fmla="*/ 5042682 w 6884782"/>
              <a:gd name="connsiteY38939" fmla="*/ 2054078 h 5973007"/>
              <a:gd name="connsiteX38940" fmla="*/ 5042255 w 6884782"/>
              <a:gd name="connsiteY38940" fmla="*/ 2054362 h 5973007"/>
              <a:gd name="connsiteX38941" fmla="*/ 5039694 w 6884782"/>
              <a:gd name="connsiteY38941" fmla="*/ 2058631 h 5973007"/>
              <a:gd name="connsiteX38942" fmla="*/ 5035212 w 6884782"/>
              <a:gd name="connsiteY38942" fmla="*/ 2061191 h 5973007"/>
              <a:gd name="connsiteX38943" fmla="*/ 5019846 w 6884782"/>
              <a:gd name="connsiteY38943" fmla="*/ 2036437 h 5973007"/>
              <a:gd name="connsiteX38944" fmla="*/ 5027102 w 6884782"/>
              <a:gd name="connsiteY38944" fmla="*/ 2036294 h 5973007"/>
              <a:gd name="connsiteX38945" fmla="*/ 5707911 w 6884782"/>
              <a:gd name="connsiteY38945" fmla="*/ 2036152 h 5973007"/>
              <a:gd name="connsiteX38946" fmla="*/ 5706417 w 6884782"/>
              <a:gd name="connsiteY38946" fmla="*/ 2036437 h 5973007"/>
              <a:gd name="connsiteX38947" fmla="*/ 5705990 w 6884782"/>
              <a:gd name="connsiteY38947" fmla="*/ 2037574 h 5973007"/>
              <a:gd name="connsiteX38948" fmla="*/ 4773986 w 6884782"/>
              <a:gd name="connsiteY38948" fmla="*/ 2035725 h 5973007"/>
              <a:gd name="connsiteX38949" fmla="*/ 4775267 w 6884782"/>
              <a:gd name="connsiteY38949" fmla="*/ 2048672 h 5973007"/>
              <a:gd name="connsiteX38950" fmla="*/ 4778681 w 6884782"/>
              <a:gd name="connsiteY38950" fmla="*/ 2060480 h 5973007"/>
              <a:gd name="connsiteX38951" fmla="*/ 4779962 w 6884782"/>
              <a:gd name="connsiteY38951" fmla="*/ 2054647 h 5973007"/>
              <a:gd name="connsiteX38952" fmla="*/ 4786792 w 6884782"/>
              <a:gd name="connsiteY38952" fmla="*/ 2047960 h 5973007"/>
              <a:gd name="connsiteX38953" fmla="*/ 4789993 w 6884782"/>
              <a:gd name="connsiteY38953" fmla="*/ 2049810 h 5973007"/>
              <a:gd name="connsiteX38954" fmla="*/ 4783590 w 6884782"/>
              <a:gd name="connsiteY38954" fmla="*/ 2065886 h 5973007"/>
              <a:gd name="connsiteX38955" fmla="*/ 4778255 w 6884782"/>
              <a:gd name="connsiteY38955" fmla="*/ 2065459 h 5973007"/>
              <a:gd name="connsiteX38956" fmla="*/ 4778255 w 6884782"/>
              <a:gd name="connsiteY38956" fmla="*/ 2065033 h 5973007"/>
              <a:gd name="connsiteX38957" fmla="*/ 4777188 w 6884782"/>
              <a:gd name="connsiteY38957" fmla="*/ 2066170 h 5973007"/>
              <a:gd name="connsiteX38958" fmla="*/ 4774200 w 6884782"/>
              <a:gd name="connsiteY38958" fmla="*/ 2068305 h 5973007"/>
              <a:gd name="connsiteX38959" fmla="*/ 4769078 w 6884782"/>
              <a:gd name="connsiteY38959" fmla="*/ 2061476 h 5973007"/>
              <a:gd name="connsiteX38960" fmla="*/ 4766730 w 6884782"/>
              <a:gd name="connsiteY38960" fmla="*/ 2051517 h 5973007"/>
              <a:gd name="connsiteX38961" fmla="*/ 4763955 w 6884782"/>
              <a:gd name="connsiteY38961" fmla="*/ 2050379 h 5973007"/>
              <a:gd name="connsiteX38962" fmla="*/ 4760541 w 6884782"/>
              <a:gd name="connsiteY38962" fmla="*/ 2046538 h 5973007"/>
              <a:gd name="connsiteX38963" fmla="*/ 4762248 w 6884782"/>
              <a:gd name="connsiteY38963" fmla="*/ 2038286 h 5973007"/>
              <a:gd name="connsiteX38964" fmla="*/ 4768651 w 6884782"/>
              <a:gd name="connsiteY38964" fmla="*/ 2040847 h 5973007"/>
              <a:gd name="connsiteX38965" fmla="*/ 855065 w 6884782"/>
              <a:gd name="connsiteY38965" fmla="*/ 2035669 h 5973007"/>
              <a:gd name="connsiteX38966" fmla="*/ 856201 w 6884782"/>
              <a:gd name="connsiteY38966" fmla="*/ 2035979 h 5973007"/>
              <a:gd name="connsiteX38967" fmla="*/ 856614 w 6884782"/>
              <a:gd name="connsiteY38967" fmla="*/ 2036599 h 5973007"/>
              <a:gd name="connsiteX38968" fmla="*/ 855994 w 6884782"/>
              <a:gd name="connsiteY38968" fmla="*/ 2039077 h 5973007"/>
              <a:gd name="connsiteX38969" fmla="*/ 854652 w 6884782"/>
              <a:gd name="connsiteY38969" fmla="*/ 2036289 h 5973007"/>
              <a:gd name="connsiteX38970" fmla="*/ 855788 w 6884782"/>
              <a:gd name="connsiteY38970" fmla="*/ 2036134 h 5973007"/>
              <a:gd name="connsiteX38971" fmla="*/ 855065 w 6884782"/>
              <a:gd name="connsiteY38971" fmla="*/ 2035669 h 5973007"/>
              <a:gd name="connsiteX38972" fmla="*/ 5586902 w 6884782"/>
              <a:gd name="connsiteY38972" fmla="*/ 2033307 h 5973007"/>
              <a:gd name="connsiteX38973" fmla="*/ 5595225 w 6884782"/>
              <a:gd name="connsiteY38973" fmla="*/ 2060906 h 5973007"/>
              <a:gd name="connsiteX38974" fmla="*/ 5576871 w 6884782"/>
              <a:gd name="connsiteY38974" fmla="*/ 2038713 h 5973007"/>
              <a:gd name="connsiteX38975" fmla="*/ 5586902 w 6884782"/>
              <a:gd name="connsiteY38975" fmla="*/ 2033307 h 5973007"/>
              <a:gd name="connsiteX38976" fmla="*/ 4674746 w 6884782"/>
              <a:gd name="connsiteY38976" fmla="*/ 2032595 h 5973007"/>
              <a:gd name="connsiteX38977" fmla="*/ 4711241 w 6884782"/>
              <a:gd name="connsiteY38977" fmla="*/ 2061903 h 5973007"/>
              <a:gd name="connsiteX38978" fmla="*/ 4699929 w 6884782"/>
              <a:gd name="connsiteY38978" fmla="*/ 2061476 h 5973007"/>
              <a:gd name="connsiteX38979" fmla="*/ 4695448 w 6884782"/>
              <a:gd name="connsiteY38979" fmla="*/ 2059199 h 5973007"/>
              <a:gd name="connsiteX38980" fmla="*/ 4695448 w 6884782"/>
              <a:gd name="connsiteY38980" fmla="*/ 2059626 h 5973007"/>
              <a:gd name="connsiteX38981" fmla="*/ 4691606 w 6884782"/>
              <a:gd name="connsiteY38981" fmla="*/ 2061476 h 5973007"/>
              <a:gd name="connsiteX38982" fmla="*/ 4687125 w 6884782"/>
              <a:gd name="connsiteY38982" fmla="*/ 2058631 h 5973007"/>
              <a:gd name="connsiteX38983" fmla="*/ 4684350 w 6884782"/>
              <a:gd name="connsiteY38983" fmla="*/ 2054078 h 5973007"/>
              <a:gd name="connsiteX38984" fmla="*/ 4683070 w 6884782"/>
              <a:gd name="connsiteY38984" fmla="*/ 2051090 h 5973007"/>
              <a:gd name="connsiteX38985" fmla="*/ 4676454 w 6884782"/>
              <a:gd name="connsiteY38985" fmla="*/ 2044119 h 5973007"/>
              <a:gd name="connsiteX38986" fmla="*/ 4674746 w 6884782"/>
              <a:gd name="connsiteY38986" fmla="*/ 2032595 h 5973007"/>
              <a:gd name="connsiteX38987" fmla="*/ 843707 w 6884782"/>
              <a:gd name="connsiteY38987" fmla="*/ 2031797 h 5973007"/>
              <a:gd name="connsiteX38988" fmla="*/ 843500 w 6884782"/>
              <a:gd name="connsiteY38988" fmla="*/ 2039542 h 5973007"/>
              <a:gd name="connsiteX38989" fmla="*/ 841745 w 6884782"/>
              <a:gd name="connsiteY38989" fmla="*/ 2040161 h 5973007"/>
              <a:gd name="connsiteX38990" fmla="*/ 837305 w 6884782"/>
              <a:gd name="connsiteY38990" fmla="*/ 2040626 h 5973007"/>
              <a:gd name="connsiteX38991" fmla="*/ 835756 w 6884782"/>
              <a:gd name="connsiteY38991" fmla="*/ 2037683 h 5973007"/>
              <a:gd name="connsiteX38992" fmla="*/ 837511 w 6884782"/>
              <a:gd name="connsiteY38992" fmla="*/ 2034585 h 5973007"/>
              <a:gd name="connsiteX38993" fmla="*/ 840609 w 6884782"/>
              <a:gd name="connsiteY38993" fmla="*/ 2032881 h 5973007"/>
              <a:gd name="connsiteX38994" fmla="*/ 843707 w 6884782"/>
              <a:gd name="connsiteY38994" fmla="*/ 2031797 h 5973007"/>
              <a:gd name="connsiteX38995" fmla="*/ 6341981 w 6884782"/>
              <a:gd name="connsiteY38995" fmla="*/ 2030746 h 5973007"/>
              <a:gd name="connsiteX38996" fmla="*/ 6349664 w 6884782"/>
              <a:gd name="connsiteY38996" fmla="*/ 2036152 h 5973007"/>
              <a:gd name="connsiteX38997" fmla="*/ 6338567 w 6884782"/>
              <a:gd name="connsiteY38997" fmla="*/ 2032880 h 5973007"/>
              <a:gd name="connsiteX38998" fmla="*/ 6341981 w 6884782"/>
              <a:gd name="connsiteY38998" fmla="*/ 2030746 h 5973007"/>
              <a:gd name="connsiteX38999" fmla="*/ 5177350 w 6884782"/>
              <a:gd name="connsiteY38999" fmla="*/ 2030461 h 5973007"/>
              <a:gd name="connsiteX39000" fmla="*/ 5179697 w 6884782"/>
              <a:gd name="connsiteY39000" fmla="*/ 2032026 h 5973007"/>
              <a:gd name="connsiteX39001" fmla="*/ 5185033 w 6884782"/>
              <a:gd name="connsiteY39001" fmla="*/ 2037859 h 5973007"/>
              <a:gd name="connsiteX39002" fmla="*/ 5181405 w 6884782"/>
              <a:gd name="connsiteY39002" fmla="*/ 2038570 h 5973007"/>
              <a:gd name="connsiteX39003" fmla="*/ 5179270 w 6884782"/>
              <a:gd name="connsiteY39003" fmla="*/ 2035725 h 5973007"/>
              <a:gd name="connsiteX39004" fmla="*/ 5177136 w 6884782"/>
              <a:gd name="connsiteY39004" fmla="*/ 2034018 h 5973007"/>
              <a:gd name="connsiteX39005" fmla="*/ 5177350 w 6884782"/>
              <a:gd name="connsiteY39005" fmla="*/ 2030461 h 5973007"/>
              <a:gd name="connsiteX39006" fmla="*/ 5640044 w 6884782"/>
              <a:gd name="connsiteY39006" fmla="*/ 2029038 h 5973007"/>
              <a:gd name="connsiteX39007" fmla="*/ 5625318 w 6884782"/>
              <a:gd name="connsiteY39007" fmla="*/ 2059484 h 5973007"/>
              <a:gd name="connsiteX39008" fmla="*/ 5640044 w 6884782"/>
              <a:gd name="connsiteY39008" fmla="*/ 2029038 h 5973007"/>
              <a:gd name="connsiteX39009" fmla="*/ 6019077 w 6884782"/>
              <a:gd name="connsiteY39009" fmla="*/ 2027758 h 5973007"/>
              <a:gd name="connsiteX39010" fmla="*/ 6023559 w 6884782"/>
              <a:gd name="connsiteY39010" fmla="*/ 2028470 h 5973007"/>
              <a:gd name="connsiteX39011" fmla="*/ 6026974 w 6884782"/>
              <a:gd name="connsiteY39011" fmla="*/ 2037432 h 5973007"/>
              <a:gd name="connsiteX39012" fmla="*/ 6026760 w 6884782"/>
              <a:gd name="connsiteY39012" fmla="*/ 2037859 h 5973007"/>
              <a:gd name="connsiteX39013" fmla="*/ 6026974 w 6884782"/>
              <a:gd name="connsiteY39013" fmla="*/ 2038001 h 5973007"/>
              <a:gd name="connsiteX39014" fmla="*/ 6028895 w 6884782"/>
              <a:gd name="connsiteY39014" fmla="*/ 2042127 h 5973007"/>
              <a:gd name="connsiteX39015" fmla="*/ 6026334 w 6884782"/>
              <a:gd name="connsiteY39015" fmla="*/ 2046395 h 5973007"/>
              <a:gd name="connsiteX39016" fmla="*/ 6018010 w 6884782"/>
              <a:gd name="connsiteY39016" fmla="*/ 2049952 h 5973007"/>
              <a:gd name="connsiteX39017" fmla="*/ 6016516 w 6884782"/>
              <a:gd name="connsiteY39017" fmla="*/ 2045115 h 5973007"/>
              <a:gd name="connsiteX39018" fmla="*/ 6017583 w 6884782"/>
              <a:gd name="connsiteY39018" fmla="*/ 2042269 h 5973007"/>
              <a:gd name="connsiteX39019" fmla="*/ 6015876 w 6884782"/>
              <a:gd name="connsiteY39019" fmla="*/ 2041843 h 5973007"/>
              <a:gd name="connsiteX39020" fmla="*/ 6012675 w 6884782"/>
              <a:gd name="connsiteY39020" fmla="*/ 2028043 h 5973007"/>
              <a:gd name="connsiteX39021" fmla="*/ 6019077 w 6884782"/>
              <a:gd name="connsiteY39021" fmla="*/ 2027758 h 5973007"/>
              <a:gd name="connsiteX39022" fmla="*/ 5186527 w 6884782"/>
              <a:gd name="connsiteY39022" fmla="*/ 2027331 h 5973007"/>
              <a:gd name="connsiteX39023" fmla="*/ 5188874 w 6884782"/>
              <a:gd name="connsiteY39023" fmla="*/ 2027331 h 5973007"/>
              <a:gd name="connsiteX39024" fmla="*/ 5190155 w 6884782"/>
              <a:gd name="connsiteY39024" fmla="*/ 2028043 h 5973007"/>
              <a:gd name="connsiteX39025" fmla="*/ 5191222 w 6884782"/>
              <a:gd name="connsiteY39025" fmla="*/ 2030461 h 5973007"/>
              <a:gd name="connsiteX39026" fmla="*/ 5194636 w 6884782"/>
              <a:gd name="connsiteY39026" fmla="*/ 2032169 h 5973007"/>
              <a:gd name="connsiteX39027" fmla="*/ 5194636 w 6884782"/>
              <a:gd name="connsiteY39027" fmla="*/ 2034445 h 5973007"/>
              <a:gd name="connsiteX39028" fmla="*/ 5187594 w 6884782"/>
              <a:gd name="connsiteY39028" fmla="*/ 2031030 h 5973007"/>
              <a:gd name="connsiteX39029" fmla="*/ 5186527 w 6884782"/>
              <a:gd name="connsiteY39029" fmla="*/ 2027331 h 5973007"/>
              <a:gd name="connsiteX39030" fmla="*/ 1542441 w 6884782"/>
              <a:gd name="connsiteY39030" fmla="*/ 2027305 h 5973007"/>
              <a:gd name="connsiteX39031" fmla="*/ 1543061 w 6884782"/>
              <a:gd name="connsiteY39031" fmla="*/ 2028699 h 5973007"/>
              <a:gd name="connsiteX39032" fmla="*/ 1541202 w 6884782"/>
              <a:gd name="connsiteY39032" fmla="*/ 2028699 h 5973007"/>
              <a:gd name="connsiteX39033" fmla="*/ 1540067 w 6884782"/>
              <a:gd name="connsiteY39033" fmla="*/ 2028235 h 5973007"/>
              <a:gd name="connsiteX39034" fmla="*/ 1542441 w 6884782"/>
              <a:gd name="connsiteY39034" fmla="*/ 2027305 h 5973007"/>
              <a:gd name="connsiteX39035" fmla="*/ 1132308 w 6884782"/>
              <a:gd name="connsiteY39035" fmla="*/ 2027150 h 5973007"/>
              <a:gd name="connsiteX39036" fmla="*/ 1139742 w 6884782"/>
              <a:gd name="connsiteY39036" fmla="*/ 2028079 h 5973007"/>
              <a:gd name="connsiteX39037" fmla="*/ 1133031 w 6884782"/>
              <a:gd name="connsiteY39037" fmla="*/ 2027925 h 5973007"/>
              <a:gd name="connsiteX39038" fmla="*/ 1132308 w 6884782"/>
              <a:gd name="connsiteY39038" fmla="*/ 2027150 h 5973007"/>
              <a:gd name="connsiteX39039" fmla="*/ 5609952 w 6884782"/>
              <a:gd name="connsiteY39039" fmla="*/ 2026335 h 5973007"/>
              <a:gd name="connsiteX39040" fmla="*/ 5609524 w 6884782"/>
              <a:gd name="connsiteY39040" fmla="*/ 2031172 h 5973007"/>
              <a:gd name="connsiteX39041" fmla="*/ 5605896 w 6884782"/>
              <a:gd name="connsiteY39041" fmla="*/ 2032311 h 5973007"/>
              <a:gd name="connsiteX39042" fmla="*/ 5609952 w 6884782"/>
              <a:gd name="connsiteY39042" fmla="*/ 2026335 h 5973007"/>
              <a:gd name="connsiteX39043" fmla="*/ 5350006 w 6884782"/>
              <a:gd name="connsiteY39043" fmla="*/ 2026193 h 5973007"/>
              <a:gd name="connsiteX39044" fmla="*/ 5357049 w 6884782"/>
              <a:gd name="connsiteY39044" fmla="*/ 2031884 h 5973007"/>
              <a:gd name="connsiteX39045" fmla="*/ 5355342 w 6884782"/>
              <a:gd name="connsiteY39045" fmla="*/ 2032026 h 5973007"/>
              <a:gd name="connsiteX39046" fmla="*/ 5353421 w 6884782"/>
              <a:gd name="connsiteY39046" fmla="*/ 2030319 h 5973007"/>
              <a:gd name="connsiteX39047" fmla="*/ 5350006 w 6884782"/>
              <a:gd name="connsiteY39047" fmla="*/ 2026193 h 5973007"/>
              <a:gd name="connsiteX39048" fmla="*/ 6262163 w 6884782"/>
              <a:gd name="connsiteY39048" fmla="*/ 2025481 h 5973007"/>
              <a:gd name="connsiteX39049" fmla="*/ 6231643 w 6884782"/>
              <a:gd name="connsiteY39049" fmla="*/ 2049810 h 5973007"/>
              <a:gd name="connsiteX39050" fmla="*/ 6262163 w 6884782"/>
              <a:gd name="connsiteY39050" fmla="*/ 2025481 h 5973007"/>
              <a:gd name="connsiteX39051" fmla="*/ 5160916 w 6884782"/>
              <a:gd name="connsiteY39051" fmla="*/ 2025055 h 5973007"/>
              <a:gd name="connsiteX39052" fmla="*/ 5164971 w 6884782"/>
              <a:gd name="connsiteY39052" fmla="*/ 2028043 h 5973007"/>
              <a:gd name="connsiteX39053" fmla="*/ 5164758 w 6884782"/>
              <a:gd name="connsiteY39053" fmla="*/ 2029750 h 5973007"/>
              <a:gd name="connsiteX39054" fmla="*/ 5160063 w 6884782"/>
              <a:gd name="connsiteY39054" fmla="*/ 2026620 h 5973007"/>
              <a:gd name="connsiteX39055" fmla="*/ 5160916 w 6884782"/>
              <a:gd name="connsiteY39055" fmla="*/ 2025055 h 5973007"/>
              <a:gd name="connsiteX39056" fmla="*/ 5652422 w 6884782"/>
              <a:gd name="connsiteY39056" fmla="*/ 2024771 h 5973007"/>
              <a:gd name="connsiteX39057" fmla="*/ 5654343 w 6884782"/>
              <a:gd name="connsiteY39057" fmla="*/ 2025197 h 5973007"/>
              <a:gd name="connsiteX39058" fmla="*/ 5645592 w 6884782"/>
              <a:gd name="connsiteY39058" fmla="*/ 2030888 h 5973007"/>
              <a:gd name="connsiteX39059" fmla="*/ 5652422 w 6884782"/>
              <a:gd name="connsiteY39059" fmla="*/ 2024771 h 5973007"/>
              <a:gd name="connsiteX39060" fmla="*/ 1008607 w 6884782"/>
              <a:gd name="connsiteY39060" fmla="*/ 2024517 h 5973007"/>
              <a:gd name="connsiteX39061" fmla="*/ 1012944 w 6884782"/>
              <a:gd name="connsiteY39061" fmla="*/ 2025136 h 5973007"/>
              <a:gd name="connsiteX39062" fmla="*/ 1013667 w 6884782"/>
              <a:gd name="connsiteY39062" fmla="*/ 2027770 h 5973007"/>
              <a:gd name="connsiteX39063" fmla="*/ 1010982 w 6884782"/>
              <a:gd name="connsiteY39063" fmla="*/ 2028699 h 5973007"/>
              <a:gd name="connsiteX39064" fmla="*/ 1008400 w 6884782"/>
              <a:gd name="connsiteY39064" fmla="*/ 2027925 h 5973007"/>
              <a:gd name="connsiteX39065" fmla="*/ 1008194 w 6884782"/>
              <a:gd name="connsiteY39065" fmla="*/ 2026531 h 5973007"/>
              <a:gd name="connsiteX39066" fmla="*/ 1008607 w 6884782"/>
              <a:gd name="connsiteY39066" fmla="*/ 2024517 h 5973007"/>
              <a:gd name="connsiteX39067" fmla="*/ 5962521 w 6884782"/>
              <a:gd name="connsiteY39067" fmla="*/ 2024201 h 5973007"/>
              <a:gd name="connsiteX39068" fmla="*/ 5966576 w 6884782"/>
              <a:gd name="connsiteY39068" fmla="*/ 2026905 h 5973007"/>
              <a:gd name="connsiteX39069" fmla="*/ 5966149 w 6884782"/>
              <a:gd name="connsiteY39069" fmla="*/ 2029465 h 5973007"/>
              <a:gd name="connsiteX39070" fmla="*/ 5965082 w 6884782"/>
              <a:gd name="connsiteY39070" fmla="*/ 2032453 h 5973007"/>
              <a:gd name="connsiteX39071" fmla="*/ 5959960 w 6884782"/>
              <a:gd name="connsiteY39071" fmla="*/ 2037147 h 5973007"/>
              <a:gd name="connsiteX39072" fmla="*/ 5954838 w 6884782"/>
              <a:gd name="connsiteY39072" fmla="*/ 2036721 h 5973007"/>
              <a:gd name="connsiteX39073" fmla="*/ 5953130 w 6884782"/>
              <a:gd name="connsiteY39073" fmla="*/ 2035582 h 5973007"/>
              <a:gd name="connsiteX39074" fmla="*/ 5956972 w 6884782"/>
              <a:gd name="connsiteY39074" fmla="*/ 2025055 h 5973007"/>
              <a:gd name="connsiteX39075" fmla="*/ 5962521 w 6884782"/>
              <a:gd name="connsiteY39075" fmla="*/ 2024201 h 5973007"/>
              <a:gd name="connsiteX39076" fmla="*/ 5549127 w 6884782"/>
              <a:gd name="connsiteY39076" fmla="*/ 2024059 h 5973007"/>
              <a:gd name="connsiteX39077" fmla="*/ 5553182 w 6884782"/>
              <a:gd name="connsiteY39077" fmla="*/ 2035014 h 5973007"/>
              <a:gd name="connsiteX39078" fmla="*/ 5552115 w 6884782"/>
              <a:gd name="connsiteY39078" fmla="*/ 2036152 h 5973007"/>
              <a:gd name="connsiteX39079" fmla="*/ 5539523 w 6884782"/>
              <a:gd name="connsiteY39079" fmla="*/ 2041558 h 5973007"/>
              <a:gd name="connsiteX39080" fmla="*/ 5539096 w 6884782"/>
              <a:gd name="connsiteY39080" fmla="*/ 2030888 h 5973007"/>
              <a:gd name="connsiteX39081" fmla="*/ 5549127 w 6884782"/>
              <a:gd name="connsiteY39081" fmla="*/ 2024059 h 5973007"/>
              <a:gd name="connsiteX39082" fmla="*/ 1112999 w 6884782"/>
              <a:gd name="connsiteY39082" fmla="*/ 2023278 h 5973007"/>
              <a:gd name="connsiteX39083" fmla="*/ 1126422 w 6884782"/>
              <a:gd name="connsiteY39083" fmla="*/ 2026066 h 5973007"/>
              <a:gd name="connsiteX39084" fmla="*/ 1112999 w 6884782"/>
              <a:gd name="connsiteY39084" fmla="*/ 2023278 h 5973007"/>
              <a:gd name="connsiteX39085" fmla="*/ 5610379 w 6884782"/>
              <a:gd name="connsiteY39085" fmla="*/ 2022921 h 5973007"/>
              <a:gd name="connsiteX39086" fmla="*/ 5611232 w 6884782"/>
              <a:gd name="connsiteY39086" fmla="*/ 2023633 h 5973007"/>
              <a:gd name="connsiteX39087" fmla="*/ 5610165 w 6884782"/>
              <a:gd name="connsiteY39087" fmla="*/ 2025481 h 5973007"/>
              <a:gd name="connsiteX39088" fmla="*/ 5609098 w 6884782"/>
              <a:gd name="connsiteY39088" fmla="*/ 2025481 h 5973007"/>
              <a:gd name="connsiteX39089" fmla="*/ 5610379 w 6884782"/>
              <a:gd name="connsiteY39089" fmla="*/ 2022921 h 5973007"/>
              <a:gd name="connsiteX39090" fmla="*/ 801475 w 6884782"/>
              <a:gd name="connsiteY39090" fmla="*/ 2022658 h 5973007"/>
              <a:gd name="connsiteX39091" fmla="*/ 811388 w 6884782"/>
              <a:gd name="connsiteY39091" fmla="*/ 2031332 h 5973007"/>
              <a:gd name="connsiteX39092" fmla="*/ 806018 w 6884782"/>
              <a:gd name="connsiteY39092" fmla="*/ 2036754 h 5973007"/>
              <a:gd name="connsiteX39093" fmla="*/ 797035 w 6884782"/>
              <a:gd name="connsiteY39093" fmla="*/ 2031952 h 5973007"/>
              <a:gd name="connsiteX39094" fmla="*/ 797241 w 6884782"/>
              <a:gd name="connsiteY39094" fmla="*/ 2028079 h 5973007"/>
              <a:gd name="connsiteX39095" fmla="*/ 801475 w 6884782"/>
              <a:gd name="connsiteY39095" fmla="*/ 2022658 h 5973007"/>
              <a:gd name="connsiteX39096" fmla="*/ 1111140 w 6884782"/>
              <a:gd name="connsiteY39096" fmla="*/ 2022193 h 5973007"/>
              <a:gd name="connsiteX39097" fmla="*/ 1112999 w 6884782"/>
              <a:gd name="connsiteY39097" fmla="*/ 2023123 h 5973007"/>
              <a:gd name="connsiteX39098" fmla="*/ 1111966 w 6884782"/>
              <a:gd name="connsiteY39098" fmla="*/ 2023742 h 5973007"/>
              <a:gd name="connsiteX39099" fmla="*/ 1111140 w 6884782"/>
              <a:gd name="connsiteY39099" fmla="*/ 2023278 h 5973007"/>
              <a:gd name="connsiteX39100" fmla="*/ 1111140 w 6884782"/>
              <a:gd name="connsiteY39100" fmla="*/ 2022193 h 5973007"/>
              <a:gd name="connsiteX39101" fmla="*/ 891411 w 6884782"/>
              <a:gd name="connsiteY39101" fmla="*/ 2022193 h 5973007"/>
              <a:gd name="connsiteX39102" fmla="*/ 895955 w 6884782"/>
              <a:gd name="connsiteY39102" fmla="*/ 2030248 h 5973007"/>
              <a:gd name="connsiteX39103" fmla="*/ 894096 w 6884782"/>
              <a:gd name="connsiteY39103" fmla="*/ 2030868 h 5973007"/>
              <a:gd name="connsiteX39104" fmla="*/ 894612 w 6884782"/>
              <a:gd name="connsiteY39104" fmla="*/ 2031332 h 5973007"/>
              <a:gd name="connsiteX39105" fmla="*/ 895748 w 6884782"/>
              <a:gd name="connsiteY39105" fmla="*/ 2035515 h 5973007"/>
              <a:gd name="connsiteX39106" fmla="*/ 893167 w 6884782"/>
              <a:gd name="connsiteY39106" fmla="*/ 2032881 h 5973007"/>
              <a:gd name="connsiteX39107" fmla="*/ 892237 w 6884782"/>
              <a:gd name="connsiteY39107" fmla="*/ 2031487 h 5973007"/>
              <a:gd name="connsiteX39108" fmla="*/ 889965 w 6884782"/>
              <a:gd name="connsiteY39108" fmla="*/ 2032261 h 5973007"/>
              <a:gd name="connsiteX39109" fmla="*/ 883770 w 6884782"/>
              <a:gd name="connsiteY39109" fmla="*/ 2029164 h 5973007"/>
              <a:gd name="connsiteX39110" fmla="*/ 891411 w 6884782"/>
              <a:gd name="connsiteY39110" fmla="*/ 2022193 h 5973007"/>
              <a:gd name="connsiteX39111" fmla="*/ 1106803 w 6884782"/>
              <a:gd name="connsiteY39111" fmla="*/ 2022039 h 5973007"/>
              <a:gd name="connsiteX39112" fmla="*/ 1108559 w 6884782"/>
              <a:gd name="connsiteY39112" fmla="*/ 2022968 h 5973007"/>
              <a:gd name="connsiteX39113" fmla="*/ 1106700 w 6884782"/>
              <a:gd name="connsiteY39113" fmla="*/ 2022813 h 5973007"/>
              <a:gd name="connsiteX39114" fmla="*/ 1106803 w 6884782"/>
              <a:gd name="connsiteY39114" fmla="*/ 2022039 h 5973007"/>
              <a:gd name="connsiteX39115" fmla="*/ 5289182 w 6884782"/>
              <a:gd name="connsiteY39115" fmla="*/ 2020360 h 5973007"/>
              <a:gd name="connsiteX39116" fmla="*/ 5290675 w 6884782"/>
              <a:gd name="connsiteY39116" fmla="*/ 2020787 h 5973007"/>
              <a:gd name="connsiteX39117" fmla="*/ 5293663 w 6884782"/>
              <a:gd name="connsiteY39117" fmla="*/ 2025908 h 5973007"/>
              <a:gd name="connsiteX39118" fmla="*/ 5291743 w 6884782"/>
              <a:gd name="connsiteY39118" fmla="*/ 2028043 h 5973007"/>
              <a:gd name="connsiteX39119" fmla="*/ 5287901 w 6884782"/>
              <a:gd name="connsiteY39119" fmla="*/ 2028327 h 5973007"/>
              <a:gd name="connsiteX39120" fmla="*/ 5285340 w 6884782"/>
              <a:gd name="connsiteY39120" fmla="*/ 2024201 h 5973007"/>
              <a:gd name="connsiteX39121" fmla="*/ 5287261 w 6884782"/>
              <a:gd name="connsiteY39121" fmla="*/ 2022067 h 5973007"/>
              <a:gd name="connsiteX39122" fmla="*/ 5289182 w 6884782"/>
              <a:gd name="connsiteY39122" fmla="*/ 2020360 h 5973007"/>
              <a:gd name="connsiteX39123" fmla="*/ 1101951 w 6884782"/>
              <a:gd name="connsiteY39123" fmla="*/ 2020180 h 5973007"/>
              <a:gd name="connsiteX39124" fmla="*/ 1106081 w 6884782"/>
              <a:gd name="connsiteY39124" fmla="*/ 2022813 h 5973007"/>
              <a:gd name="connsiteX39125" fmla="*/ 1102467 w 6884782"/>
              <a:gd name="connsiteY39125" fmla="*/ 2022658 h 5973007"/>
              <a:gd name="connsiteX39126" fmla="*/ 1101847 w 6884782"/>
              <a:gd name="connsiteY39126" fmla="*/ 2021728 h 5973007"/>
              <a:gd name="connsiteX39127" fmla="*/ 1101951 w 6884782"/>
              <a:gd name="connsiteY39127" fmla="*/ 2020180 h 5973007"/>
              <a:gd name="connsiteX39128" fmla="*/ 5848128 w 6884782"/>
              <a:gd name="connsiteY39128" fmla="*/ 2019791 h 5973007"/>
              <a:gd name="connsiteX39129" fmla="*/ 5852823 w 6884782"/>
              <a:gd name="connsiteY39129" fmla="*/ 2022636 h 5973007"/>
              <a:gd name="connsiteX39130" fmla="*/ 5851329 w 6884782"/>
              <a:gd name="connsiteY39130" fmla="*/ 2034729 h 5973007"/>
              <a:gd name="connsiteX39131" fmla="*/ 5841725 w 6884782"/>
              <a:gd name="connsiteY39131" fmla="*/ 2020360 h 5973007"/>
              <a:gd name="connsiteX39132" fmla="*/ 5848128 w 6884782"/>
              <a:gd name="connsiteY39132" fmla="*/ 2019791 h 5973007"/>
              <a:gd name="connsiteX39133" fmla="*/ 6184051 w 6884782"/>
              <a:gd name="connsiteY39133" fmla="*/ 2019506 h 5973007"/>
              <a:gd name="connsiteX39134" fmla="*/ 6191947 w 6884782"/>
              <a:gd name="connsiteY39134" fmla="*/ 2024059 h 5973007"/>
              <a:gd name="connsiteX39135" fmla="*/ 6193228 w 6884782"/>
              <a:gd name="connsiteY39135" fmla="*/ 2029892 h 5973007"/>
              <a:gd name="connsiteX39136" fmla="*/ 6175514 w 6884782"/>
              <a:gd name="connsiteY39136" fmla="*/ 2023348 h 5973007"/>
              <a:gd name="connsiteX39137" fmla="*/ 6184051 w 6884782"/>
              <a:gd name="connsiteY39137" fmla="*/ 2019506 h 5973007"/>
              <a:gd name="connsiteX39138" fmla="*/ 1539550 w 6884782"/>
              <a:gd name="connsiteY39138" fmla="*/ 2019406 h 5973007"/>
              <a:gd name="connsiteX39139" fmla="*/ 1540170 w 6884782"/>
              <a:gd name="connsiteY39139" fmla="*/ 2019715 h 5973007"/>
              <a:gd name="connsiteX39140" fmla="*/ 1539654 w 6884782"/>
              <a:gd name="connsiteY39140" fmla="*/ 2020025 h 5973007"/>
              <a:gd name="connsiteX39141" fmla="*/ 1539550 w 6884782"/>
              <a:gd name="connsiteY39141" fmla="*/ 2019406 h 5973007"/>
              <a:gd name="connsiteX39142" fmla="*/ 866526 w 6884782"/>
              <a:gd name="connsiteY39142" fmla="*/ 2019250 h 5973007"/>
              <a:gd name="connsiteX39143" fmla="*/ 877059 w 6884782"/>
              <a:gd name="connsiteY39143" fmla="*/ 2021419 h 5973007"/>
              <a:gd name="connsiteX39144" fmla="*/ 877059 w 6884782"/>
              <a:gd name="connsiteY39144" fmla="*/ 2024982 h 5973007"/>
              <a:gd name="connsiteX39145" fmla="*/ 866320 w 6884782"/>
              <a:gd name="connsiteY39145" fmla="*/ 2024517 h 5973007"/>
              <a:gd name="connsiteX39146" fmla="*/ 866526 w 6884782"/>
              <a:gd name="connsiteY39146" fmla="*/ 2019250 h 5973007"/>
              <a:gd name="connsiteX39147" fmla="*/ 1079428 w 6884782"/>
              <a:gd name="connsiteY39147" fmla="*/ 2018999 h 5973007"/>
              <a:gd name="connsiteX39148" fmla="*/ 1085120 w 6884782"/>
              <a:gd name="connsiteY39148" fmla="*/ 2025756 h 5973007"/>
              <a:gd name="connsiteX39149" fmla="*/ 1080267 w 6884782"/>
              <a:gd name="connsiteY39149" fmla="*/ 2026840 h 5973007"/>
              <a:gd name="connsiteX39150" fmla="*/ 1081196 w 6884782"/>
              <a:gd name="connsiteY39150" fmla="*/ 2028079 h 5973007"/>
              <a:gd name="connsiteX39151" fmla="*/ 1079854 w 6884782"/>
              <a:gd name="connsiteY39151" fmla="*/ 2030248 h 5973007"/>
              <a:gd name="connsiteX39152" fmla="*/ 1077892 w 6884782"/>
              <a:gd name="connsiteY39152" fmla="*/ 2028854 h 5973007"/>
              <a:gd name="connsiteX39153" fmla="*/ 1077066 w 6884782"/>
              <a:gd name="connsiteY39153" fmla="*/ 2027925 h 5973007"/>
              <a:gd name="connsiteX39154" fmla="*/ 1070974 w 6884782"/>
              <a:gd name="connsiteY39154" fmla="*/ 2030868 h 5973007"/>
              <a:gd name="connsiteX39155" fmla="*/ 1058686 w 6884782"/>
              <a:gd name="connsiteY39155" fmla="*/ 2033191 h 5973007"/>
              <a:gd name="connsiteX39156" fmla="*/ 1065604 w 6884782"/>
              <a:gd name="connsiteY39156" fmla="*/ 2027150 h 5973007"/>
              <a:gd name="connsiteX39157" fmla="*/ 1070354 w 6884782"/>
              <a:gd name="connsiteY39157" fmla="*/ 2022813 h 5973007"/>
              <a:gd name="connsiteX39158" fmla="*/ 1070148 w 6884782"/>
              <a:gd name="connsiteY39158" fmla="*/ 2022813 h 5973007"/>
              <a:gd name="connsiteX39159" fmla="*/ 1069012 w 6884782"/>
              <a:gd name="connsiteY39159" fmla="*/ 2020489 h 5973007"/>
              <a:gd name="connsiteX39160" fmla="*/ 1071180 w 6884782"/>
              <a:gd name="connsiteY39160" fmla="*/ 2020025 h 5973007"/>
              <a:gd name="connsiteX39161" fmla="*/ 1072420 w 6884782"/>
              <a:gd name="connsiteY39161" fmla="*/ 2021264 h 5973007"/>
              <a:gd name="connsiteX39162" fmla="*/ 1072729 w 6884782"/>
              <a:gd name="connsiteY39162" fmla="*/ 2020954 h 5973007"/>
              <a:gd name="connsiteX39163" fmla="*/ 1079428 w 6884782"/>
              <a:gd name="connsiteY39163" fmla="*/ 2018999 h 5973007"/>
              <a:gd name="connsiteX39164" fmla="*/ 5958893 w 6884782"/>
              <a:gd name="connsiteY39164" fmla="*/ 2018369 h 5973007"/>
              <a:gd name="connsiteX39165" fmla="*/ 5960387 w 6884782"/>
              <a:gd name="connsiteY39165" fmla="*/ 2019791 h 5973007"/>
              <a:gd name="connsiteX39166" fmla="*/ 5959960 w 6884782"/>
              <a:gd name="connsiteY39166" fmla="*/ 2021925 h 5973007"/>
              <a:gd name="connsiteX39167" fmla="*/ 5956758 w 6884782"/>
              <a:gd name="connsiteY39167" fmla="*/ 2023490 h 5973007"/>
              <a:gd name="connsiteX39168" fmla="*/ 5956118 w 6884782"/>
              <a:gd name="connsiteY39168" fmla="*/ 2018653 h 5973007"/>
              <a:gd name="connsiteX39169" fmla="*/ 5958893 w 6884782"/>
              <a:gd name="connsiteY39169" fmla="*/ 2018369 h 5973007"/>
              <a:gd name="connsiteX39170" fmla="*/ 1544507 w 6884782"/>
              <a:gd name="connsiteY39170" fmla="*/ 2018166 h 5973007"/>
              <a:gd name="connsiteX39171" fmla="*/ 1544403 w 6884782"/>
              <a:gd name="connsiteY39171" fmla="*/ 2020025 h 5973007"/>
              <a:gd name="connsiteX39172" fmla="*/ 1540067 w 6884782"/>
              <a:gd name="connsiteY39172" fmla="*/ 2020799 h 5973007"/>
              <a:gd name="connsiteX39173" fmla="*/ 1540480 w 6884782"/>
              <a:gd name="connsiteY39173" fmla="*/ 2019715 h 5973007"/>
              <a:gd name="connsiteX39174" fmla="*/ 1540170 w 6884782"/>
              <a:gd name="connsiteY39174" fmla="*/ 2019715 h 5973007"/>
              <a:gd name="connsiteX39175" fmla="*/ 1541719 w 6884782"/>
              <a:gd name="connsiteY39175" fmla="*/ 2018321 h 5973007"/>
              <a:gd name="connsiteX39176" fmla="*/ 1544507 w 6884782"/>
              <a:gd name="connsiteY39176" fmla="*/ 2018166 h 5973007"/>
              <a:gd name="connsiteX39177" fmla="*/ 6199844 w 6884782"/>
              <a:gd name="connsiteY39177" fmla="*/ 2017230 h 5973007"/>
              <a:gd name="connsiteX39178" fmla="*/ 6203472 w 6884782"/>
              <a:gd name="connsiteY39178" fmla="*/ 2025197 h 5973007"/>
              <a:gd name="connsiteX39179" fmla="*/ 6201338 w 6884782"/>
              <a:gd name="connsiteY39179" fmla="*/ 2028043 h 5973007"/>
              <a:gd name="connsiteX39180" fmla="*/ 6195575 w 6884782"/>
              <a:gd name="connsiteY39180" fmla="*/ 2028327 h 5973007"/>
              <a:gd name="connsiteX39181" fmla="*/ 6196216 w 6884782"/>
              <a:gd name="connsiteY39181" fmla="*/ 2017799 h 5973007"/>
              <a:gd name="connsiteX39182" fmla="*/ 6199844 w 6884782"/>
              <a:gd name="connsiteY39182" fmla="*/ 2017230 h 5973007"/>
              <a:gd name="connsiteX39183" fmla="*/ 5252260 w 6884782"/>
              <a:gd name="connsiteY39183" fmla="*/ 2016803 h 5973007"/>
              <a:gd name="connsiteX39184" fmla="*/ 5254821 w 6884782"/>
              <a:gd name="connsiteY39184" fmla="*/ 2018084 h 5973007"/>
              <a:gd name="connsiteX39185" fmla="*/ 5255461 w 6884782"/>
              <a:gd name="connsiteY39185" fmla="*/ 2019649 h 5973007"/>
              <a:gd name="connsiteX39186" fmla="*/ 5256102 w 6884782"/>
              <a:gd name="connsiteY39186" fmla="*/ 2019364 h 5973007"/>
              <a:gd name="connsiteX39187" fmla="*/ 5256742 w 6884782"/>
              <a:gd name="connsiteY39187" fmla="*/ 2025624 h 5973007"/>
              <a:gd name="connsiteX39188" fmla="*/ 5255461 w 6884782"/>
              <a:gd name="connsiteY39188" fmla="*/ 2025766 h 5973007"/>
              <a:gd name="connsiteX39189" fmla="*/ 5254607 w 6884782"/>
              <a:gd name="connsiteY39189" fmla="*/ 2028043 h 5973007"/>
              <a:gd name="connsiteX39190" fmla="*/ 5261864 w 6884782"/>
              <a:gd name="connsiteY39190" fmla="*/ 2032169 h 5973007"/>
              <a:gd name="connsiteX39191" fmla="*/ 5269120 w 6884782"/>
              <a:gd name="connsiteY39191" fmla="*/ 2038997 h 5973007"/>
              <a:gd name="connsiteX39192" fmla="*/ 5248632 w 6884782"/>
              <a:gd name="connsiteY39192" fmla="*/ 2036437 h 5973007"/>
              <a:gd name="connsiteX39193" fmla="*/ 5242870 w 6884782"/>
              <a:gd name="connsiteY39193" fmla="*/ 2030888 h 5973007"/>
              <a:gd name="connsiteX39194" fmla="*/ 5235187 w 6884782"/>
              <a:gd name="connsiteY39194" fmla="*/ 2035298 h 5973007"/>
              <a:gd name="connsiteX39195" fmla="*/ 5210430 w 6884782"/>
              <a:gd name="connsiteY39195" fmla="*/ 2021925 h 5973007"/>
              <a:gd name="connsiteX39196" fmla="*/ 5226649 w 6884782"/>
              <a:gd name="connsiteY39196" fmla="*/ 2017942 h 5973007"/>
              <a:gd name="connsiteX39197" fmla="*/ 5235400 w 6884782"/>
              <a:gd name="connsiteY39197" fmla="*/ 2018510 h 5973007"/>
              <a:gd name="connsiteX39198" fmla="*/ 5239241 w 6884782"/>
              <a:gd name="connsiteY39198" fmla="*/ 2019649 h 5973007"/>
              <a:gd name="connsiteX39199" fmla="*/ 5239028 w 6884782"/>
              <a:gd name="connsiteY39199" fmla="*/ 2019364 h 5973007"/>
              <a:gd name="connsiteX39200" fmla="*/ 5240095 w 6884782"/>
              <a:gd name="connsiteY39200" fmla="*/ 2019933 h 5973007"/>
              <a:gd name="connsiteX39201" fmla="*/ 5244790 w 6884782"/>
              <a:gd name="connsiteY39201" fmla="*/ 2021498 h 5973007"/>
              <a:gd name="connsiteX39202" fmla="*/ 5245217 w 6884782"/>
              <a:gd name="connsiteY39202" fmla="*/ 2020075 h 5973007"/>
              <a:gd name="connsiteX39203" fmla="*/ 5252260 w 6884782"/>
              <a:gd name="connsiteY39203" fmla="*/ 2016803 h 5973007"/>
              <a:gd name="connsiteX39204" fmla="*/ 4974601 w 6884782"/>
              <a:gd name="connsiteY39204" fmla="*/ 2016661 h 5973007"/>
              <a:gd name="connsiteX39205" fmla="*/ 4977802 w 6884782"/>
              <a:gd name="connsiteY39205" fmla="*/ 2020644 h 5973007"/>
              <a:gd name="connsiteX39206" fmla="*/ 4977162 w 6884782"/>
              <a:gd name="connsiteY39206" fmla="*/ 2026905 h 5973007"/>
              <a:gd name="connsiteX39207" fmla="*/ 4968838 w 6884782"/>
              <a:gd name="connsiteY39207" fmla="*/ 2037290 h 5973007"/>
              <a:gd name="connsiteX39208" fmla="*/ 4962863 w 6884782"/>
              <a:gd name="connsiteY39208" fmla="*/ 2028470 h 5973007"/>
              <a:gd name="connsiteX39209" fmla="*/ 4963716 w 6884782"/>
              <a:gd name="connsiteY39209" fmla="*/ 2026905 h 5973007"/>
              <a:gd name="connsiteX39210" fmla="*/ 4974601 w 6884782"/>
              <a:gd name="connsiteY39210" fmla="*/ 2016661 h 5973007"/>
              <a:gd name="connsiteX39211" fmla="*/ 5784742 w 6884782"/>
              <a:gd name="connsiteY39211" fmla="*/ 2015950 h 5973007"/>
              <a:gd name="connsiteX39212" fmla="*/ 5790078 w 6884782"/>
              <a:gd name="connsiteY39212" fmla="*/ 2020075 h 5973007"/>
              <a:gd name="connsiteX39213" fmla="*/ 5793066 w 6884782"/>
              <a:gd name="connsiteY39213" fmla="*/ 2026905 h 5973007"/>
              <a:gd name="connsiteX39214" fmla="*/ 5785596 w 6884782"/>
              <a:gd name="connsiteY39214" fmla="*/ 2027616 h 5973007"/>
              <a:gd name="connsiteX39215" fmla="*/ 5779834 w 6884782"/>
              <a:gd name="connsiteY39215" fmla="*/ 2018938 h 5973007"/>
              <a:gd name="connsiteX39216" fmla="*/ 5784742 w 6884782"/>
              <a:gd name="connsiteY39216" fmla="*/ 2015950 h 5973007"/>
              <a:gd name="connsiteX39217" fmla="*/ 4966064 w 6884782"/>
              <a:gd name="connsiteY39217" fmla="*/ 2015096 h 5973007"/>
              <a:gd name="connsiteX39218" fmla="*/ 4968838 w 6884782"/>
              <a:gd name="connsiteY39218" fmla="*/ 2018938 h 5973007"/>
              <a:gd name="connsiteX39219" fmla="*/ 4967131 w 6884782"/>
              <a:gd name="connsiteY39219" fmla="*/ 2021071 h 5973007"/>
              <a:gd name="connsiteX39220" fmla="*/ 4963930 w 6884782"/>
              <a:gd name="connsiteY39220" fmla="*/ 2022779 h 5973007"/>
              <a:gd name="connsiteX39221" fmla="*/ 4960515 w 6884782"/>
              <a:gd name="connsiteY39221" fmla="*/ 2017657 h 5973007"/>
              <a:gd name="connsiteX39222" fmla="*/ 4962436 w 6884782"/>
              <a:gd name="connsiteY39222" fmla="*/ 2015523 h 5973007"/>
              <a:gd name="connsiteX39223" fmla="*/ 4966064 w 6884782"/>
              <a:gd name="connsiteY39223" fmla="*/ 2015096 h 5973007"/>
              <a:gd name="connsiteX39224" fmla="*/ 1128488 w 6884782"/>
              <a:gd name="connsiteY39224" fmla="*/ 2015068 h 5973007"/>
              <a:gd name="connsiteX39225" fmla="*/ 1131275 w 6884782"/>
              <a:gd name="connsiteY39225" fmla="*/ 2019095 h 5973007"/>
              <a:gd name="connsiteX39226" fmla="*/ 1124667 w 6884782"/>
              <a:gd name="connsiteY39226" fmla="*/ 2020489 h 5973007"/>
              <a:gd name="connsiteX39227" fmla="*/ 1124564 w 6884782"/>
              <a:gd name="connsiteY39227" fmla="*/ 2018631 h 5973007"/>
              <a:gd name="connsiteX39228" fmla="*/ 1126009 w 6884782"/>
              <a:gd name="connsiteY39228" fmla="*/ 2015997 h 5973007"/>
              <a:gd name="connsiteX39229" fmla="*/ 1128488 w 6884782"/>
              <a:gd name="connsiteY39229" fmla="*/ 2015068 h 5973007"/>
              <a:gd name="connsiteX39230" fmla="*/ 4767797 w 6884782"/>
              <a:gd name="connsiteY39230" fmla="*/ 2014527 h 5973007"/>
              <a:gd name="connsiteX39231" fmla="*/ 4776121 w 6884782"/>
              <a:gd name="connsiteY39231" fmla="*/ 2027758 h 5973007"/>
              <a:gd name="connsiteX39232" fmla="*/ 4768651 w 6884782"/>
              <a:gd name="connsiteY39232" fmla="*/ 2028043 h 5973007"/>
              <a:gd name="connsiteX39233" fmla="*/ 4767797 w 6884782"/>
              <a:gd name="connsiteY39233" fmla="*/ 2014527 h 5973007"/>
              <a:gd name="connsiteX39234" fmla="*/ 4715936 w 6884782"/>
              <a:gd name="connsiteY39234" fmla="*/ 2014527 h 5973007"/>
              <a:gd name="connsiteX39235" fmla="*/ 4725540 w 6884782"/>
              <a:gd name="connsiteY39235" fmla="*/ 2019364 h 5973007"/>
              <a:gd name="connsiteX39236" fmla="*/ 4713375 w 6884782"/>
              <a:gd name="connsiteY39236" fmla="*/ 2016519 h 5973007"/>
              <a:gd name="connsiteX39237" fmla="*/ 4715936 w 6884782"/>
              <a:gd name="connsiteY39237" fmla="*/ 2014527 h 5973007"/>
              <a:gd name="connsiteX39238" fmla="*/ 5629586 w 6884782"/>
              <a:gd name="connsiteY39238" fmla="*/ 2014385 h 5973007"/>
              <a:gd name="connsiteX39239" fmla="*/ 5627665 w 6884782"/>
              <a:gd name="connsiteY39239" fmla="*/ 2016945 h 5973007"/>
              <a:gd name="connsiteX39240" fmla="*/ 5627879 w 6884782"/>
              <a:gd name="connsiteY39240" fmla="*/ 2019364 h 5973007"/>
              <a:gd name="connsiteX39241" fmla="*/ 5624678 w 6884782"/>
              <a:gd name="connsiteY39241" fmla="*/ 2020787 h 5973007"/>
              <a:gd name="connsiteX39242" fmla="*/ 5629586 w 6884782"/>
              <a:gd name="connsiteY39242" fmla="*/ 2014385 h 5973007"/>
              <a:gd name="connsiteX39243" fmla="*/ 6246369 w 6884782"/>
              <a:gd name="connsiteY39243" fmla="*/ 2014100 h 5973007"/>
              <a:gd name="connsiteX39244" fmla="*/ 6248717 w 6884782"/>
              <a:gd name="connsiteY39244" fmla="*/ 2014385 h 5973007"/>
              <a:gd name="connsiteX39245" fmla="*/ 6249784 w 6884782"/>
              <a:gd name="connsiteY39245" fmla="*/ 2016945 h 5973007"/>
              <a:gd name="connsiteX39246" fmla="*/ 6250211 w 6884782"/>
              <a:gd name="connsiteY39246" fmla="*/ 2021783 h 5973007"/>
              <a:gd name="connsiteX39247" fmla="*/ 6247863 w 6884782"/>
              <a:gd name="connsiteY39247" fmla="*/ 2024059 h 5973007"/>
              <a:gd name="connsiteX39248" fmla="*/ 6245516 w 6884782"/>
              <a:gd name="connsiteY39248" fmla="*/ 2022779 h 5973007"/>
              <a:gd name="connsiteX39249" fmla="*/ 6243381 w 6884782"/>
              <a:gd name="connsiteY39249" fmla="*/ 2022636 h 5973007"/>
              <a:gd name="connsiteX39250" fmla="*/ 6243168 w 6884782"/>
              <a:gd name="connsiteY39250" fmla="*/ 2021498 h 5973007"/>
              <a:gd name="connsiteX39251" fmla="*/ 6242101 w 6884782"/>
              <a:gd name="connsiteY39251" fmla="*/ 2020218 h 5973007"/>
              <a:gd name="connsiteX39252" fmla="*/ 6244022 w 6884782"/>
              <a:gd name="connsiteY39252" fmla="*/ 2015523 h 5973007"/>
              <a:gd name="connsiteX39253" fmla="*/ 6246369 w 6884782"/>
              <a:gd name="connsiteY39253" fmla="*/ 2014100 h 5973007"/>
              <a:gd name="connsiteX39254" fmla="*/ 5964015 w 6884782"/>
              <a:gd name="connsiteY39254" fmla="*/ 2013815 h 5973007"/>
              <a:gd name="connsiteX39255" fmla="*/ 5968284 w 6884782"/>
              <a:gd name="connsiteY39255" fmla="*/ 2017942 h 5973007"/>
              <a:gd name="connsiteX39256" fmla="*/ 5962308 w 6884782"/>
              <a:gd name="connsiteY39256" fmla="*/ 2021356 h 5973007"/>
              <a:gd name="connsiteX39257" fmla="*/ 5964015 w 6884782"/>
              <a:gd name="connsiteY39257" fmla="*/ 2013815 h 5973007"/>
              <a:gd name="connsiteX39258" fmla="*/ 5387141 w 6884782"/>
              <a:gd name="connsiteY39258" fmla="*/ 2013815 h 5973007"/>
              <a:gd name="connsiteX39259" fmla="*/ 5419368 w 6884782"/>
              <a:gd name="connsiteY39259" fmla="*/ 2016092 h 5973007"/>
              <a:gd name="connsiteX39260" fmla="*/ 5415313 w 6884782"/>
              <a:gd name="connsiteY39260" fmla="*/ 2049525 h 5973007"/>
              <a:gd name="connsiteX39261" fmla="*/ 5410404 w 6884782"/>
              <a:gd name="connsiteY39261" fmla="*/ 2058773 h 5973007"/>
              <a:gd name="connsiteX39262" fmla="*/ 5378391 w 6884782"/>
              <a:gd name="connsiteY39262" fmla="*/ 2016234 h 5973007"/>
              <a:gd name="connsiteX39263" fmla="*/ 5387141 w 6884782"/>
              <a:gd name="connsiteY39263" fmla="*/ 2013815 h 5973007"/>
              <a:gd name="connsiteX39264" fmla="*/ 5243510 w 6884782"/>
              <a:gd name="connsiteY39264" fmla="*/ 2013389 h 5973007"/>
              <a:gd name="connsiteX39265" fmla="*/ 5245644 w 6884782"/>
              <a:gd name="connsiteY39265" fmla="*/ 2014100 h 5973007"/>
              <a:gd name="connsiteX39266" fmla="*/ 5246284 w 6884782"/>
              <a:gd name="connsiteY39266" fmla="*/ 2016234 h 5973007"/>
              <a:gd name="connsiteX39267" fmla="*/ 5244150 w 6884782"/>
              <a:gd name="connsiteY39267" fmla="*/ 2018795 h 5973007"/>
              <a:gd name="connsiteX39268" fmla="*/ 5241162 w 6884782"/>
              <a:gd name="connsiteY39268" fmla="*/ 2014527 h 5973007"/>
              <a:gd name="connsiteX39269" fmla="*/ 5243510 w 6884782"/>
              <a:gd name="connsiteY39269" fmla="*/ 2013389 h 5973007"/>
              <a:gd name="connsiteX39270" fmla="*/ 1017384 w 6884782"/>
              <a:gd name="connsiteY39270" fmla="*/ 2013364 h 5973007"/>
              <a:gd name="connsiteX39271" fmla="*/ 1016661 w 6884782"/>
              <a:gd name="connsiteY39271" fmla="*/ 2017702 h 5973007"/>
              <a:gd name="connsiteX39272" fmla="*/ 1014802 w 6884782"/>
              <a:gd name="connsiteY39272" fmla="*/ 2014604 h 5973007"/>
              <a:gd name="connsiteX39273" fmla="*/ 1017384 w 6884782"/>
              <a:gd name="connsiteY39273" fmla="*/ 2013364 h 5973007"/>
              <a:gd name="connsiteX39274" fmla="*/ 4753284 w 6884782"/>
              <a:gd name="connsiteY39274" fmla="*/ 2012677 h 5973007"/>
              <a:gd name="connsiteX39275" fmla="*/ 4756913 w 6884782"/>
              <a:gd name="connsiteY39275" fmla="*/ 2014385 h 5973007"/>
              <a:gd name="connsiteX39276" fmla="*/ 4755419 w 6884782"/>
              <a:gd name="connsiteY39276" fmla="*/ 2019080 h 5973007"/>
              <a:gd name="connsiteX39277" fmla="*/ 4751791 w 6884782"/>
              <a:gd name="connsiteY39277" fmla="*/ 2018510 h 5973007"/>
              <a:gd name="connsiteX39278" fmla="*/ 4753284 w 6884782"/>
              <a:gd name="connsiteY39278" fmla="*/ 2012677 h 5973007"/>
              <a:gd name="connsiteX39279" fmla="*/ 1001173 w 6884782"/>
              <a:gd name="connsiteY39279" fmla="*/ 2012125 h 5973007"/>
              <a:gd name="connsiteX39280" fmla="*/ 1006335 w 6884782"/>
              <a:gd name="connsiteY39280" fmla="*/ 2013054 h 5973007"/>
              <a:gd name="connsiteX39281" fmla="*/ 1001173 w 6884782"/>
              <a:gd name="connsiteY39281" fmla="*/ 2012125 h 5973007"/>
              <a:gd name="connsiteX39282" fmla="*/ 3922015 w 6884782"/>
              <a:gd name="connsiteY39282" fmla="*/ 2011966 h 5973007"/>
              <a:gd name="connsiteX39283" fmla="*/ 3922441 w 6884782"/>
              <a:gd name="connsiteY39283" fmla="*/ 2013389 h 5973007"/>
              <a:gd name="connsiteX39284" fmla="*/ 3923722 w 6884782"/>
              <a:gd name="connsiteY39284" fmla="*/ 2013815 h 5973007"/>
              <a:gd name="connsiteX39285" fmla="*/ 4874080 w 6884782"/>
              <a:gd name="connsiteY39285" fmla="*/ 2010544 h 5973007"/>
              <a:gd name="connsiteX39286" fmla="*/ 4907800 w 6884782"/>
              <a:gd name="connsiteY39286" fmla="*/ 2030746 h 5973007"/>
              <a:gd name="connsiteX39287" fmla="*/ 4903959 w 6884782"/>
              <a:gd name="connsiteY39287" fmla="*/ 2018084 h 5973007"/>
              <a:gd name="connsiteX39288" fmla="*/ 4908014 w 6884782"/>
              <a:gd name="connsiteY39288" fmla="*/ 2030888 h 5973007"/>
              <a:gd name="connsiteX39289" fmla="*/ 4921673 w 6884782"/>
              <a:gd name="connsiteY39289" fmla="*/ 2040136 h 5973007"/>
              <a:gd name="connsiteX39290" fmla="*/ 4893715 w 6884782"/>
              <a:gd name="connsiteY39290" fmla="*/ 2036437 h 5973007"/>
              <a:gd name="connsiteX39291" fmla="*/ 4892007 w 6884782"/>
              <a:gd name="connsiteY39291" fmla="*/ 2035441 h 5973007"/>
              <a:gd name="connsiteX39292" fmla="*/ 4892007 w 6884782"/>
              <a:gd name="connsiteY39292" fmla="*/ 2037432 h 5973007"/>
              <a:gd name="connsiteX39293" fmla="*/ 4884538 w 6884782"/>
              <a:gd name="connsiteY39293" fmla="*/ 2041843 h 5973007"/>
              <a:gd name="connsiteX39294" fmla="*/ 4857647 w 6884782"/>
              <a:gd name="connsiteY39294" fmla="*/ 2027616 h 5973007"/>
              <a:gd name="connsiteX39295" fmla="*/ 4871519 w 6884782"/>
              <a:gd name="connsiteY39295" fmla="*/ 2024628 h 5973007"/>
              <a:gd name="connsiteX39296" fmla="*/ 4866611 w 6884782"/>
              <a:gd name="connsiteY39296" fmla="*/ 2021925 h 5973007"/>
              <a:gd name="connsiteX39297" fmla="*/ 4874080 w 6884782"/>
              <a:gd name="connsiteY39297" fmla="*/ 2010544 h 5973007"/>
              <a:gd name="connsiteX39298" fmla="*/ 5005120 w 6884782"/>
              <a:gd name="connsiteY39298" fmla="*/ 2010117 h 5973007"/>
              <a:gd name="connsiteX39299" fmla="*/ 5007681 w 6884782"/>
              <a:gd name="connsiteY39299" fmla="*/ 2010117 h 5973007"/>
              <a:gd name="connsiteX39300" fmla="*/ 5010669 w 6884782"/>
              <a:gd name="connsiteY39300" fmla="*/ 2012535 h 5973007"/>
              <a:gd name="connsiteX39301" fmla="*/ 5011309 w 6884782"/>
              <a:gd name="connsiteY39301" fmla="*/ 2016092 h 5973007"/>
              <a:gd name="connsiteX39302" fmla="*/ 5004906 w 6884782"/>
              <a:gd name="connsiteY39302" fmla="*/ 2019222 h 5973007"/>
              <a:gd name="connsiteX39303" fmla="*/ 5005120 w 6884782"/>
              <a:gd name="connsiteY39303" fmla="*/ 2010117 h 5973007"/>
              <a:gd name="connsiteX39304" fmla="*/ 5117165 w 6884782"/>
              <a:gd name="connsiteY39304" fmla="*/ 2009690 h 5973007"/>
              <a:gd name="connsiteX39305" fmla="*/ 5132745 w 6884782"/>
              <a:gd name="connsiteY39305" fmla="*/ 2015950 h 5973007"/>
              <a:gd name="connsiteX39306" fmla="*/ 5133385 w 6884782"/>
              <a:gd name="connsiteY39306" fmla="*/ 2015950 h 5973007"/>
              <a:gd name="connsiteX39307" fmla="*/ 5133172 w 6884782"/>
              <a:gd name="connsiteY39307" fmla="*/ 2015523 h 5973007"/>
              <a:gd name="connsiteX39308" fmla="*/ 5134026 w 6884782"/>
              <a:gd name="connsiteY39308" fmla="*/ 2015239 h 5973007"/>
              <a:gd name="connsiteX39309" fmla="*/ 5135519 w 6884782"/>
              <a:gd name="connsiteY39309" fmla="*/ 2014812 h 5973007"/>
              <a:gd name="connsiteX39310" fmla="*/ 5136160 w 6884782"/>
              <a:gd name="connsiteY39310" fmla="*/ 2014812 h 5973007"/>
              <a:gd name="connsiteX39311" fmla="*/ 5137226 w 6884782"/>
              <a:gd name="connsiteY39311" fmla="*/ 2016092 h 5973007"/>
              <a:gd name="connsiteX39312" fmla="*/ 5139361 w 6884782"/>
              <a:gd name="connsiteY39312" fmla="*/ 2016234 h 5973007"/>
              <a:gd name="connsiteX39313" fmla="*/ 5145764 w 6884782"/>
              <a:gd name="connsiteY39313" fmla="*/ 2017088 h 5973007"/>
              <a:gd name="connsiteX39314" fmla="*/ 5157288 w 6884782"/>
              <a:gd name="connsiteY39314" fmla="*/ 2029750 h 5973007"/>
              <a:gd name="connsiteX39315" fmla="*/ 5160276 w 6884782"/>
              <a:gd name="connsiteY39315" fmla="*/ 2034445 h 5973007"/>
              <a:gd name="connsiteX39316" fmla="*/ 5163264 w 6884782"/>
              <a:gd name="connsiteY39316" fmla="*/ 2038001 h 5973007"/>
              <a:gd name="connsiteX39317" fmla="*/ 5163477 w 6884782"/>
              <a:gd name="connsiteY39317" fmla="*/ 2038428 h 5973007"/>
              <a:gd name="connsiteX39318" fmla="*/ 5171801 w 6884782"/>
              <a:gd name="connsiteY39318" fmla="*/ 2043692 h 5973007"/>
              <a:gd name="connsiteX39319" fmla="*/ 5176923 w 6884782"/>
              <a:gd name="connsiteY39319" fmla="*/ 2052228 h 5973007"/>
              <a:gd name="connsiteX39320" fmla="*/ 5175429 w 6884782"/>
              <a:gd name="connsiteY39320" fmla="*/ 2062472 h 5973007"/>
              <a:gd name="connsiteX39321" fmla="*/ 5175002 w 6884782"/>
              <a:gd name="connsiteY39321" fmla="*/ 2062898 h 5973007"/>
              <a:gd name="connsiteX39322" fmla="*/ 5175429 w 6884782"/>
              <a:gd name="connsiteY39322" fmla="*/ 2069017 h 5973007"/>
              <a:gd name="connsiteX39323" fmla="*/ 5174148 w 6884782"/>
              <a:gd name="connsiteY39323" fmla="*/ 2076414 h 5973007"/>
              <a:gd name="connsiteX39324" fmla="*/ 5172441 w 6884782"/>
              <a:gd name="connsiteY39324" fmla="*/ 2073853 h 5973007"/>
              <a:gd name="connsiteX39325" fmla="*/ 5172441 w 6884782"/>
              <a:gd name="connsiteY39325" fmla="*/ 2079259 h 5973007"/>
              <a:gd name="connsiteX39326" fmla="*/ 5172227 w 6884782"/>
              <a:gd name="connsiteY39326" fmla="*/ 2079686 h 5973007"/>
              <a:gd name="connsiteX39327" fmla="*/ 5174575 w 6884782"/>
              <a:gd name="connsiteY39327" fmla="*/ 2088222 h 5973007"/>
              <a:gd name="connsiteX39328" fmla="*/ 5173722 w 6884782"/>
              <a:gd name="connsiteY39328" fmla="*/ 2090784 h 5973007"/>
              <a:gd name="connsiteX39329" fmla="*/ 5176069 w 6884782"/>
              <a:gd name="connsiteY39329" fmla="*/ 2094055 h 5973007"/>
              <a:gd name="connsiteX39330" fmla="*/ 5180337 w 6884782"/>
              <a:gd name="connsiteY39330" fmla="*/ 2109136 h 5973007"/>
              <a:gd name="connsiteX39331" fmla="*/ 5175642 w 6884782"/>
              <a:gd name="connsiteY39331" fmla="*/ 2108425 h 5973007"/>
              <a:gd name="connsiteX39332" fmla="*/ 5175856 w 6884782"/>
              <a:gd name="connsiteY39332" fmla="*/ 2106006 h 5973007"/>
              <a:gd name="connsiteX39333" fmla="*/ 5173508 w 6884782"/>
              <a:gd name="connsiteY39333" fmla="*/ 2102450 h 5973007"/>
              <a:gd name="connsiteX39334" fmla="*/ 5172654 w 6884782"/>
              <a:gd name="connsiteY39334" fmla="*/ 2100173 h 5973007"/>
              <a:gd name="connsiteX39335" fmla="*/ 5172014 w 6884782"/>
              <a:gd name="connsiteY39335" fmla="*/ 2102734 h 5973007"/>
              <a:gd name="connsiteX39336" fmla="*/ 5170307 w 6884782"/>
              <a:gd name="connsiteY39336" fmla="*/ 2105579 h 5973007"/>
              <a:gd name="connsiteX39337" fmla="*/ 5167746 w 6884782"/>
              <a:gd name="connsiteY39337" fmla="*/ 2105579 h 5973007"/>
              <a:gd name="connsiteX39338" fmla="*/ 5167106 w 6884782"/>
              <a:gd name="connsiteY39338" fmla="*/ 2105579 h 5973007"/>
              <a:gd name="connsiteX39339" fmla="*/ 5166252 w 6884782"/>
              <a:gd name="connsiteY39339" fmla="*/ 2111554 h 5973007"/>
              <a:gd name="connsiteX39340" fmla="*/ 5165398 w 6884782"/>
              <a:gd name="connsiteY39340" fmla="*/ 2112977 h 5973007"/>
              <a:gd name="connsiteX39341" fmla="*/ 5165611 w 6884782"/>
              <a:gd name="connsiteY39341" fmla="*/ 2113689 h 5973007"/>
              <a:gd name="connsiteX39342" fmla="*/ 5165825 w 6884782"/>
              <a:gd name="connsiteY39342" fmla="*/ 2115254 h 5973007"/>
              <a:gd name="connsiteX39343" fmla="*/ 5164758 w 6884782"/>
              <a:gd name="connsiteY39343" fmla="*/ 2114542 h 5973007"/>
              <a:gd name="connsiteX39344" fmla="*/ 5164544 w 6884782"/>
              <a:gd name="connsiteY39344" fmla="*/ 2114399 h 5973007"/>
              <a:gd name="connsiteX39345" fmla="*/ 5162837 w 6884782"/>
              <a:gd name="connsiteY39345" fmla="*/ 2117529 h 5973007"/>
              <a:gd name="connsiteX39346" fmla="*/ 5156435 w 6884782"/>
              <a:gd name="connsiteY39346" fmla="*/ 2110843 h 5973007"/>
              <a:gd name="connsiteX39347" fmla="*/ 5151526 w 6884782"/>
              <a:gd name="connsiteY39347" fmla="*/ 2103303 h 5973007"/>
              <a:gd name="connsiteX39348" fmla="*/ 5157502 w 6884782"/>
              <a:gd name="connsiteY39348" fmla="*/ 2105295 h 5973007"/>
              <a:gd name="connsiteX39349" fmla="*/ 5157288 w 6884782"/>
              <a:gd name="connsiteY39349" fmla="*/ 2105152 h 5973007"/>
              <a:gd name="connsiteX39350" fmla="*/ 5157288 w 6884782"/>
              <a:gd name="connsiteY39350" fmla="*/ 2102450 h 5973007"/>
              <a:gd name="connsiteX39351" fmla="*/ 5160703 w 6884782"/>
              <a:gd name="connsiteY39351" fmla="*/ 2103161 h 5973007"/>
              <a:gd name="connsiteX39352" fmla="*/ 5161130 w 6884782"/>
              <a:gd name="connsiteY39352" fmla="*/ 2105863 h 5973007"/>
              <a:gd name="connsiteX39353" fmla="*/ 5162410 w 6884782"/>
              <a:gd name="connsiteY39353" fmla="*/ 2106006 h 5973007"/>
              <a:gd name="connsiteX39354" fmla="*/ 5166038 w 6884782"/>
              <a:gd name="connsiteY39354" fmla="*/ 2104725 h 5973007"/>
              <a:gd name="connsiteX39355" fmla="*/ 5164118 w 6884782"/>
              <a:gd name="connsiteY39355" fmla="*/ 2102307 h 5973007"/>
              <a:gd name="connsiteX39356" fmla="*/ 5164544 w 6884782"/>
              <a:gd name="connsiteY39356" fmla="*/ 2096616 h 5973007"/>
              <a:gd name="connsiteX39357" fmla="*/ 5164971 w 6884782"/>
              <a:gd name="connsiteY39357" fmla="*/ 2096332 h 5973007"/>
              <a:gd name="connsiteX39358" fmla="*/ 5164971 w 6884782"/>
              <a:gd name="connsiteY39358" fmla="*/ 2095336 h 5973007"/>
              <a:gd name="connsiteX39359" fmla="*/ 5164971 w 6884782"/>
              <a:gd name="connsiteY39359" fmla="*/ 2094767 h 5973007"/>
              <a:gd name="connsiteX39360" fmla="*/ 5163477 w 6884782"/>
              <a:gd name="connsiteY39360" fmla="*/ 2094198 h 5973007"/>
              <a:gd name="connsiteX39361" fmla="*/ 5159423 w 6884782"/>
              <a:gd name="connsiteY39361" fmla="*/ 2098181 h 5973007"/>
              <a:gd name="connsiteX39362" fmla="*/ 5151526 w 6884782"/>
              <a:gd name="connsiteY39362" fmla="*/ 2103303 h 5973007"/>
              <a:gd name="connsiteX39363" fmla="*/ 5150032 w 6884782"/>
              <a:gd name="connsiteY39363" fmla="*/ 2104441 h 5973007"/>
              <a:gd name="connsiteX39364" fmla="*/ 5140214 w 6884782"/>
              <a:gd name="connsiteY39364" fmla="*/ 2111981 h 5973007"/>
              <a:gd name="connsiteX39365" fmla="*/ 5113110 w 6884782"/>
              <a:gd name="connsiteY39365" fmla="*/ 2109278 h 5973007"/>
              <a:gd name="connsiteX39366" fmla="*/ 5085793 w 6884782"/>
              <a:gd name="connsiteY39366" fmla="*/ 2083812 h 5973007"/>
              <a:gd name="connsiteX39367" fmla="*/ 5081097 w 6884782"/>
              <a:gd name="connsiteY39367" fmla="*/ 2040989 h 5973007"/>
              <a:gd name="connsiteX39368" fmla="*/ 5087500 w 6884782"/>
              <a:gd name="connsiteY39368" fmla="*/ 2035014 h 5973007"/>
              <a:gd name="connsiteX39369" fmla="*/ 5087714 w 6884782"/>
              <a:gd name="connsiteY39369" fmla="*/ 2034587 h 5973007"/>
              <a:gd name="connsiteX39370" fmla="*/ 5090488 w 6884782"/>
              <a:gd name="connsiteY39370" fmla="*/ 2030888 h 5973007"/>
              <a:gd name="connsiteX39371" fmla="*/ 5090914 w 6884782"/>
              <a:gd name="connsiteY39371" fmla="*/ 2031457 h 5973007"/>
              <a:gd name="connsiteX39372" fmla="*/ 5097317 w 6884782"/>
              <a:gd name="connsiteY39372" fmla="*/ 2022636 h 5973007"/>
              <a:gd name="connsiteX39373" fmla="*/ 5096037 w 6884782"/>
              <a:gd name="connsiteY39373" fmla="*/ 2020929 h 5973007"/>
              <a:gd name="connsiteX39374" fmla="*/ 5093902 w 6884782"/>
              <a:gd name="connsiteY39374" fmla="*/ 2014954 h 5973007"/>
              <a:gd name="connsiteX39375" fmla="*/ 5094970 w 6884782"/>
              <a:gd name="connsiteY39375" fmla="*/ 2014527 h 5973007"/>
              <a:gd name="connsiteX39376" fmla="*/ 5097744 w 6884782"/>
              <a:gd name="connsiteY39376" fmla="*/ 2019364 h 5973007"/>
              <a:gd name="connsiteX39377" fmla="*/ 5098811 w 6884782"/>
              <a:gd name="connsiteY39377" fmla="*/ 2020929 h 5973007"/>
              <a:gd name="connsiteX39378" fmla="*/ 5102013 w 6884782"/>
              <a:gd name="connsiteY39378" fmla="*/ 2017372 h 5973007"/>
              <a:gd name="connsiteX39379" fmla="*/ 5098171 w 6884782"/>
              <a:gd name="connsiteY39379" fmla="*/ 2010117 h 5973007"/>
              <a:gd name="connsiteX39380" fmla="*/ 5105213 w 6884782"/>
              <a:gd name="connsiteY39380" fmla="*/ 2013105 h 5973007"/>
              <a:gd name="connsiteX39381" fmla="*/ 5105641 w 6884782"/>
              <a:gd name="connsiteY39381" fmla="*/ 2013674 h 5973007"/>
              <a:gd name="connsiteX39382" fmla="*/ 5105854 w 6884782"/>
              <a:gd name="connsiteY39382" fmla="*/ 2013531 h 5973007"/>
              <a:gd name="connsiteX39383" fmla="*/ 5117165 w 6884782"/>
              <a:gd name="connsiteY39383" fmla="*/ 2009690 h 5973007"/>
              <a:gd name="connsiteX39384" fmla="*/ 5051218 w 6884782"/>
              <a:gd name="connsiteY39384" fmla="*/ 2009690 h 5973007"/>
              <a:gd name="connsiteX39385" fmla="*/ 5054633 w 6884782"/>
              <a:gd name="connsiteY39385" fmla="*/ 2011539 h 5973007"/>
              <a:gd name="connsiteX39386" fmla="*/ 5054846 w 6884782"/>
              <a:gd name="connsiteY39386" fmla="*/ 2012677 h 5973007"/>
              <a:gd name="connsiteX39387" fmla="*/ 5060396 w 6884782"/>
              <a:gd name="connsiteY39387" fmla="*/ 2011682 h 5973007"/>
              <a:gd name="connsiteX39388" fmla="*/ 5069573 w 6884782"/>
              <a:gd name="connsiteY39388" fmla="*/ 2015807 h 5973007"/>
              <a:gd name="connsiteX39389" fmla="*/ 5068505 w 6884782"/>
              <a:gd name="connsiteY39389" fmla="*/ 2025908 h 5973007"/>
              <a:gd name="connsiteX39390" fmla="*/ 5054420 w 6884782"/>
              <a:gd name="connsiteY39390" fmla="*/ 2029323 h 5973007"/>
              <a:gd name="connsiteX39391" fmla="*/ 5051218 w 6884782"/>
              <a:gd name="connsiteY39391" fmla="*/ 2025197 h 5973007"/>
              <a:gd name="connsiteX39392" fmla="*/ 5051005 w 6884782"/>
              <a:gd name="connsiteY39392" fmla="*/ 2017942 h 5973007"/>
              <a:gd name="connsiteX39393" fmla="*/ 5050792 w 6884782"/>
              <a:gd name="connsiteY39393" fmla="*/ 2018084 h 5973007"/>
              <a:gd name="connsiteX39394" fmla="*/ 5049511 w 6884782"/>
              <a:gd name="connsiteY39394" fmla="*/ 2016945 h 5973007"/>
              <a:gd name="connsiteX39395" fmla="*/ 5048658 w 6884782"/>
              <a:gd name="connsiteY39395" fmla="*/ 2010544 h 5973007"/>
              <a:gd name="connsiteX39396" fmla="*/ 5051218 w 6884782"/>
              <a:gd name="connsiteY39396" fmla="*/ 2009690 h 5973007"/>
              <a:gd name="connsiteX39397" fmla="*/ 5890812 w 6884782"/>
              <a:gd name="connsiteY39397" fmla="*/ 2008836 h 5973007"/>
              <a:gd name="connsiteX39398" fmla="*/ 5892092 w 6884782"/>
              <a:gd name="connsiteY39398" fmla="*/ 2011113 h 5973007"/>
              <a:gd name="connsiteX39399" fmla="*/ 5894013 w 6884782"/>
              <a:gd name="connsiteY39399" fmla="*/ 2018369 h 5973007"/>
              <a:gd name="connsiteX39400" fmla="*/ 5890385 w 6884782"/>
              <a:gd name="connsiteY39400" fmla="*/ 2017657 h 5973007"/>
              <a:gd name="connsiteX39401" fmla="*/ 5889958 w 6884782"/>
              <a:gd name="connsiteY39401" fmla="*/ 2014385 h 5973007"/>
              <a:gd name="connsiteX39402" fmla="*/ 5888678 w 6884782"/>
              <a:gd name="connsiteY39402" fmla="*/ 2012108 h 5973007"/>
              <a:gd name="connsiteX39403" fmla="*/ 5890812 w 6884782"/>
              <a:gd name="connsiteY39403" fmla="*/ 2008836 h 5973007"/>
              <a:gd name="connsiteX39404" fmla="*/ 3887867 w 6884782"/>
              <a:gd name="connsiteY39404" fmla="*/ 2008836 h 5973007"/>
              <a:gd name="connsiteX39405" fmla="*/ 3886800 w 6884782"/>
              <a:gd name="connsiteY39405" fmla="*/ 2009832 h 5973007"/>
              <a:gd name="connsiteX39406" fmla="*/ 3885733 w 6884782"/>
              <a:gd name="connsiteY39406" fmla="*/ 2010970 h 5973007"/>
              <a:gd name="connsiteX39407" fmla="*/ 3892349 w 6884782"/>
              <a:gd name="connsiteY39407" fmla="*/ 2013389 h 5973007"/>
              <a:gd name="connsiteX39408" fmla="*/ 5864561 w 6884782"/>
              <a:gd name="connsiteY39408" fmla="*/ 2008409 h 5973007"/>
              <a:gd name="connsiteX39409" fmla="*/ 5866909 w 6884782"/>
              <a:gd name="connsiteY39409" fmla="*/ 2019364 h 5973007"/>
              <a:gd name="connsiteX39410" fmla="*/ 5865202 w 6884782"/>
              <a:gd name="connsiteY39410" fmla="*/ 2021641 h 5973007"/>
              <a:gd name="connsiteX39411" fmla="*/ 5862427 w 6884782"/>
              <a:gd name="connsiteY39411" fmla="*/ 2020075 h 5973007"/>
              <a:gd name="connsiteX39412" fmla="*/ 5864561 w 6884782"/>
              <a:gd name="connsiteY39412" fmla="*/ 2008409 h 5973007"/>
              <a:gd name="connsiteX39413" fmla="*/ 1619987 w 6884782"/>
              <a:gd name="connsiteY39413" fmla="*/ 2008407 h 5973007"/>
              <a:gd name="connsiteX39414" fmla="*/ 1630313 w 6884782"/>
              <a:gd name="connsiteY39414" fmla="*/ 2011661 h 5973007"/>
              <a:gd name="connsiteX39415" fmla="*/ 1631345 w 6884782"/>
              <a:gd name="connsiteY39415" fmla="*/ 2015533 h 5973007"/>
              <a:gd name="connsiteX39416" fmla="*/ 1629073 w 6884782"/>
              <a:gd name="connsiteY39416" fmla="*/ 2021419 h 5973007"/>
              <a:gd name="connsiteX39417" fmla="*/ 1621536 w 6884782"/>
              <a:gd name="connsiteY39417" fmla="*/ 2020335 h 5973007"/>
              <a:gd name="connsiteX39418" fmla="*/ 1621845 w 6884782"/>
              <a:gd name="connsiteY39418" fmla="*/ 2021264 h 5973007"/>
              <a:gd name="connsiteX39419" fmla="*/ 1621226 w 6884782"/>
              <a:gd name="connsiteY39419" fmla="*/ 2020644 h 5973007"/>
              <a:gd name="connsiteX39420" fmla="*/ 1621226 w 6884782"/>
              <a:gd name="connsiteY39420" fmla="*/ 2020180 h 5973007"/>
              <a:gd name="connsiteX39421" fmla="*/ 1618025 w 6884782"/>
              <a:gd name="connsiteY39421" fmla="*/ 2017547 h 5973007"/>
              <a:gd name="connsiteX39422" fmla="*/ 1616373 w 6884782"/>
              <a:gd name="connsiteY39422" fmla="*/ 2014294 h 5973007"/>
              <a:gd name="connsiteX39423" fmla="*/ 1619987 w 6884782"/>
              <a:gd name="connsiteY39423" fmla="*/ 2008407 h 5973007"/>
              <a:gd name="connsiteX39424" fmla="*/ 1546882 w 6884782"/>
              <a:gd name="connsiteY39424" fmla="*/ 2007633 h 5973007"/>
              <a:gd name="connsiteX39425" fmla="*/ 1556898 w 6884782"/>
              <a:gd name="connsiteY39425" fmla="*/ 2009183 h 5973007"/>
              <a:gd name="connsiteX39426" fmla="*/ 1548431 w 6884782"/>
              <a:gd name="connsiteY39426" fmla="*/ 2015997 h 5973007"/>
              <a:gd name="connsiteX39427" fmla="*/ 1546469 w 6884782"/>
              <a:gd name="connsiteY39427" fmla="*/ 2012280 h 5973007"/>
              <a:gd name="connsiteX39428" fmla="*/ 1546882 w 6884782"/>
              <a:gd name="connsiteY39428" fmla="*/ 2007633 h 5973007"/>
              <a:gd name="connsiteX39429" fmla="*/ 1132411 w 6884782"/>
              <a:gd name="connsiteY39429" fmla="*/ 2007323 h 5973007"/>
              <a:gd name="connsiteX39430" fmla="*/ 1134476 w 6884782"/>
              <a:gd name="connsiteY39430" fmla="*/ 2008872 h 5973007"/>
              <a:gd name="connsiteX39431" fmla="*/ 1134373 w 6884782"/>
              <a:gd name="connsiteY39431" fmla="*/ 2008098 h 5973007"/>
              <a:gd name="connsiteX39432" fmla="*/ 1142324 w 6884782"/>
              <a:gd name="connsiteY39432" fmla="*/ 2008562 h 5973007"/>
              <a:gd name="connsiteX39433" fmla="*/ 1144802 w 6884782"/>
              <a:gd name="connsiteY39433" fmla="*/ 2012745 h 5973007"/>
              <a:gd name="connsiteX39434" fmla="*/ 1142633 w 6884782"/>
              <a:gd name="connsiteY39434" fmla="*/ 2020335 h 5973007"/>
              <a:gd name="connsiteX39435" fmla="*/ 1138297 w 6884782"/>
              <a:gd name="connsiteY39435" fmla="*/ 2019715 h 5973007"/>
              <a:gd name="connsiteX39436" fmla="*/ 1135405 w 6884782"/>
              <a:gd name="connsiteY39436" fmla="*/ 2015223 h 5973007"/>
              <a:gd name="connsiteX39437" fmla="*/ 1134476 w 6884782"/>
              <a:gd name="connsiteY39437" fmla="*/ 2011970 h 5973007"/>
              <a:gd name="connsiteX39438" fmla="*/ 1132824 w 6884782"/>
              <a:gd name="connsiteY39438" fmla="*/ 2012125 h 5973007"/>
              <a:gd name="connsiteX39439" fmla="*/ 1130862 w 6884782"/>
              <a:gd name="connsiteY39439" fmla="*/ 2009492 h 5973007"/>
              <a:gd name="connsiteX39440" fmla="*/ 1132411 w 6884782"/>
              <a:gd name="connsiteY39440" fmla="*/ 2007323 h 5973007"/>
              <a:gd name="connsiteX39441" fmla="*/ 1162562 w 6884782"/>
              <a:gd name="connsiteY39441" fmla="*/ 2006859 h 5973007"/>
              <a:gd name="connsiteX39442" fmla="*/ 1152753 w 6884782"/>
              <a:gd name="connsiteY39442" fmla="*/ 2032261 h 5973007"/>
              <a:gd name="connsiteX39443" fmla="*/ 1145112 w 6884782"/>
              <a:gd name="connsiteY39443" fmla="*/ 2029164 h 5973007"/>
              <a:gd name="connsiteX39444" fmla="*/ 1162562 w 6884782"/>
              <a:gd name="connsiteY39444" fmla="*/ 2006859 h 5973007"/>
              <a:gd name="connsiteX39445" fmla="*/ 786825 w 6884782"/>
              <a:gd name="connsiteY39445" fmla="*/ 2006317 h 5973007"/>
              <a:gd name="connsiteX39446" fmla="*/ 793627 w 6884782"/>
              <a:gd name="connsiteY39446" fmla="*/ 2010576 h 5973007"/>
              <a:gd name="connsiteX39447" fmla="*/ 791356 w 6884782"/>
              <a:gd name="connsiteY39447" fmla="*/ 2017392 h 5973007"/>
              <a:gd name="connsiteX39448" fmla="*/ 779172 w 6884782"/>
              <a:gd name="connsiteY39448" fmla="*/ 2012745 h 5973007"/>
              <a:gd name="connsiteX39449" fmla="*/ 786825 w 6884782"/>
              <a:gd name="connsiteY39449" fmla="*/ 2006317 h 5973007"/>
              <a:gd name="connsiteX39450" fmla="*/ 5145337 w 6884782"/>
              <a:gd name="connsiteY39450" fmla="*/ 2006276 h 5973007"/>
              <a:gd name="connsiteX39451" fmla="*/ 5146190 w 6884782"/>
              <a:gd name="connsiteY39451" fmla="*/ 2008694 h 5973007"/>
              <a:gd name="connsiteX39452" fmla="*/ 5156861 w 6884782"/>
              <a:gd name="connsiteY39452" fmla="*/ 2023063 h 5973007"/>
              <a:gd name="connsiteX39453" fmla="*/ 5140855 w 6884782"/>
              <a:gd name="connsiteY39453" fmla="*/ 2008125 h 5973007"/>
              <a:gd name="connsiteX39454" fmla="*/ 5145337 w 6884782"/>
              <a:gd name="connsiteY39454" fmla="*/ 2006276 h 5973007"/>
              <a:gd name="connsiteX39455" fmla="*/ 1573419 w 6884782"/>
              <a:gd name="connsiteY39455" fmla="*/ 2005949 h 5973007"/>
              <a:gd name="connsiteX39456" fmla="*/ 1577755 w 6884782"/>
              <a:gd name="connsiteY39456" fmla="*/ 2006239 h 5973007"/>
              <a:gd name="connsiteX39457" fmla="*/ 1567223 w 6884782"/>
              <a:gd name="connsiteY39457" fmla="*/ 2008562 h 5973007"/>
              <a:gd name="connsiteX39458" fmla="*/ 1573419 w 6884782"/>
              <a:gd name="connsiteY39458" fmla="*/ 2005949 h 5973007"/>
              <a:gd name="connsiteX39459" fmla="*/ 817583 w 6884782"/>
              <a:gd name="connsiteY39459" fmla="*/ 2005929 h 5973007"/>
              <a:gd name="connsiteX39460" fmla="*/ 838544 w 6884782"/>
              <a:gd name="connsiteY39460" fmla="*/ 2020954 h 5973007"/>
              <a:gd name="connsiteX39461" fmla="*/ 817583 w 6884782"/>
              <a:gd name="connsiteY39461" fmla="*/ 2005929 h 5973007"/>
              <a:gd name="connsiteX39462" fmla="*/ 5791145 w 6884782"/>
              <a:gd name="connsiteY39462" fmla="*/ 2004711 h 5973007"/>
              <a:gd name="connsiteX39463" fmla="*/ 5797548 w 6884782"/>
              <a:gd name="connsiteY39463" fmla="*/ 2008409 h 5973007"/>
              <a:gd name="connsiteX39464" fmla="*/ 5802029 w 6884782"/>
              <a:gd name="connsiteY39464" fmla="*/ 2013389 h 5973007"/>
              <a:gd name="connsiteX39465" fmla="*/ 5803950 w 6884782"/>
              <a:gd name="connsiteY39465" fmla="*/ 2008409 h 5973007"/>
              <a:gd name="connsiteX39466" fmla="*/ 5808432 w 6884782"/>
              <a:gd name="connsiteY39466" fmla="*/ 2006560 h 5973007"/>
              <a:gd name="connsiteX39467" fmla="*/ 5805871 w 6884782"/>
              <a:gd name="connsiteY39467" fmla="*/ 2011397 h 5973007"/>
              <a:gd name="connsiteX39468" fmla="*/ 5802456 w 6884782"/>
              <a:gd name="connsiteY39468" fmla="*/ 2013815 h 5973007"/>
              <a:gd name="connsiteX39469" fmla="*/ 5802883 w 6884782"/>
              <a:gd name="connsiteY39469" fmla="*/ 2014243 h 5973007"/>
              <a:gd name="connsiteX39470" fmla="*/ 5805231 w 6884782"/>
              <a:gd name="connsiteY39470" fmla="*/ 2021214 h 5973007"/>
              <a:gd name="connsiteX39471" fmla="*/ 5803737 w 6884782"/>
              <a:gd name="connsiteY39471" fmla="*/ 2024913 h 5973007"/>
              <a:gd name="connsiteX39472" fmla="*/ 5805871 w 6884782"/>
              <a:gd name="connsiteY39472" fmla="*/ 2025908 h 5973007"/>
              <a:gd name="connsiteX39473" fmla="*/ 5799682 w 6884782"/>
              <a:gd name="connsiteY39473" fmla="*/ 2046395 h 5973007"/>
              <a:gd name="connsiteX39474" fmla="*/ 5797974 w 6884782"/>
              <a:gd name="connsiteY39474" fmla="*/ 2025197 h 5973007"/>
              <a:gd name="connsiteX39475" fmla="*/ 5800749 w 6884782"/>
              <a:gd name="connsiteY39475" fmla="*/ 2024771 h 5973007"/>
              <a:gd name="connsiteX39476" fmla="*/ 5796054 w 6884782"/>
              <a:gd name="connsiteY39476" fmla="*/ 2016661 h 5973007"/>
              <a:gd name="connsiteX39477" fmla="*/ 5791145 w 6884782"/>
              <a:gd name="connsiteY39477" fmla="*/ 2004711 h 5973007"/>
              <a:gd name="connsiteX39478" fmla="*/ 6200911 w 6884782"/>
              <a:gd name="connsiteY39478" fmla="*/ 2004141 h 5973007"/>
              <a:gd name="connsiteX39479" fmla="*/ 6210515 w 6884782"/>
              <a:gd name="connsiteY39479" fmla="*/ 2008409 h 5973007"/>
              <a:gd name="connsiteX39480" fmla="*/ 6200911 w 6884782"/>
              <a:gd name="connsiteY39480" fmla="*/ 2004141 h 5973007"/>
              <a:gd name="connsiteX39481" fmla="*/ 5089634 w 6884782"/>
              <a:gd name="connsiteY39481" fmla="*/ 2004141 h 5973007"/>
              <a:gd name="connsiteX39482" fmla="*/ 5094543 w 6884782"/>
              <a:gd name="connsiteY39482" fmla="*/ 2006703 h 5973007"/>
              <a:gd name="connsiteX39483" fmla="*/ 5093902 w 6884782"/>
              <a:gd name="connsiteY39483" fmla="*/ 2008409 h 5973007"/>
              <a:gd name="connsiteX39484" fmla="*/ 5089634 w 6884782"/>
              <a:gd name="connsiteY39484" fmla="*/ 2004141 h 5973007"/>
              <a:gd name="connsiteX39485" fmla="*/ 5962734 w 6884782"/>
              <a:gd name="connsiteY39485" fmla="*/ 2003714 h 5973007"/>
              <a:gd name="connsiteX39486" fmla="*/ 5968284 w 6884782"/>
              <a:gd name="connsiteY39486" fmla="*/ 2007271 h 5973007"/>
              <a:gd name="connsiteX39487" fmla="*/ 5967857 w 6884782"/>
              <a:gd name="connsiteY39487" fmla="*/ 2009974 h 5973007"/>
              <a:gd name="connsiteX39488" fmla="*/ 5959106 w 6884782"/>
              <a:gd name="connsiteY39488" fmla="*/ 2007271 h 5973007"/>
              <a:gd name="connsiteX39489" fmla="*/ 5959533 w 6884782"/>
              <a:gd name="connsiteY39489" fmla="*/ 2004568 h 5973007"/>
              <a:gd name="connsiteX39490" fmla="*/ 5962734 w 6884782"/>
              <a:gd name="connsiteY39490" fmla="*/ 2003714 h 5973007"/>
              <a:gd name="connsiteX39491" fmla="*/ 5815475 w 6884782"/>
              <a:gd name="connsiteY39491" fmla="*/ 2003714 h 5973007"/>
              <a:gd name="connsiteX39492" fmla="*/ 5820810 w 6884782"/>
              <a:gd name="connsiteY39492" fmla="*/ 2008409 h 5973007"/>
              <a:gd name="connsiteX39493" fmla="*/ 5815902 w 6884782"/>
              <a:gd name="connsiteY39493" fmla="*/ 2015807 h 5973007"/>
              <a:gd name="connsiteX39494" fmla="*/ 5813127 w 6884782"/>
              <a:gd name="connsiteY39494" fmla="*/ 2009548 h 5973007"/>
              <a:gd name="connsiteX39495" fmla="*/ 5813767 w 6884782"/>
              <a:gd name="connsiteY39495" fmla="*/ 2007983 h 5973007"/>
              <a:gd name="connsiteX39496" fmla="*/ 5814194 w 6884782"/>
              <a:gd name="connsiteY39496" fmla="*/ 2006703 h 5973007"/>
              <a:gd name="connsiteX39497" fmla="*/ 5154300 w 6884782"/>
              <a:gd name="connsiteY39497" fmla="*/ 2003714 h 5973007"/>
              <a:gd name="connsiteX39498" fmla="*/ 5159636 w 6884782"/>
              <a:gd name="connsiteY39498" fmla="*/ 2012250 h 5973007"/>
              <a:gd name="connsiteX39499" fmla="*/ 5161343 w 6884782"/>
              <a:gd name="connsiteY39499" fmla="*/ 2018510 h 5973007"/>
              <a:gd name="connsiteX39500" fmla="*/ 5160276 w 6884782"/>
              <a:gd name="connsiteY39500" fmla="*/ 2018938 h 5973007"/>
              <a:gd name="connsiteX39501" fmla="*/ 5154300 w 6884782"/>
              <a:gd name="connsiteY39501" fmla="*/ 2008409 h 5973007"/>
              <a:gd name="connsiteX39502" fmla="*/ 5153233 w 6884782"/>
              <a:gd name="connsiteY39502" fmla="*/ 2004141 h 5973007"/>
              <a:gd name="connsiteX39503" fmla="*/ 5153660 w 6884782"/>
              <a:gd name="connsiteY39503" fmla="*/ 2005279 h 5973007"/>
              <a:gd name="connsiteX39504" fmla="*/ 5154300 w 6884782"/>
              <a:gd name="connsiteY39504" fmla="*/ 2003714 h 5973007"/>
              <a:gd name="connsiteX39505" fmla="*/ 5081524 w 6884782"/>
              <a:gd name="connsiteY39505" fmla="*/ 2003288 h 5973007"/>
              <a:gd name="connsiteX39506" fmla="*/ 5081524 w 6884782"/>
              <a:gd name="connsiteY39506" fmla="*/ 2014385 h 5973007"/>
              <a:gd name="connsiteX39507" fmla="*/ 5081524 w 6884782"/>
              <a:gd name="connsiteY39507" fmla="*/ 2003288 h 5973007"/>
              <a:gd name="connsiteX39508" fmla="*/ 4992955 w 6884782"/>
              <a:gd name="connsiteY39508" fmla="*/ 2002719 h 5973007"/>
              <a:gd name="connsiteX39509" fmla="*/ 4992741 w 6884782"/>
              <a:gd name="connsiteY39509" fmla="*/ 2008694 h 5973007"/>
              <a:gd name="connsiteX39510" fmla="*/ 4988900 w 6884782"/>
              <a:gd name="connsiteY39510" fmla="*/ 2011255 h 5973007"/>
              <a:gd name="connsiteX39511" fmla="*/ 4992955 w 6884782"/>
              <a:gd name="connsiteY39511" fmla="*/ 2002719 h 5973007"/>
              <a:gd name="connsiteX39512" fmla="*/ 1222967 w 6884782"/>
              <a:gd name="connsiteY39512" fmla="*/ 2001747 h 5973007"/>
              <a:gd name="connsiteX39513" fmla="*/ 1223793 w 6884782"/>
              <a:gd name="connsiteY39513" fmla="*/ 2002676 h 5973007"/>
              <a:gd name="connsiteX39514" fmla="*/ 1227717 w 6884782"/>
              <a:gd name="connsiteY39514" fmla="*/ 2011661 h 5973007"/>
              <a:gd name="connsiteX39515" fmla="*/ 1219972 w 6884782"/>
              <a:gd name="connsiteY39515" fmla="*/ 2011970 h 5973007"/>
              <a:gd name="connsiteX39516" fmla="*/ 1215016 w 6884782"/>
              <a:gd name="connsiteY39516" fmla="*/ 2004690 h 5973007"/>
              <a:gd name="connsiteX39517" fmla="*/ 1222967 w 6884782"/>
              <a:gd name="connsiteY39517" fmla="*/ 2001747 h 5973007"/>
              <a:gd name="connsiteX39518" fmla="*/ 5992400 w 6884782"/>
              <a:gd name="connsiteY39518" fmla="*/ 2001723 h 5973007"/>
              <a:gd name="connsiteX39519" fmla="*/ 5993467 w 6884782"/>
              <a:gd name="connsiteY39519" fmla="*/ 2002861 h 5973007"/>
              <a:gd name="connsiteX39520" fmla="*/ 5991546 w 6884782"/>
              <a:gd name="connsiteY39520" fmla="*/ 2002719 h 5973007"/>
              <a:gd name="connsiteX39521" fmla="*/ 5992400 w 6884782"/>
              <a:gd name="connsiteY39521" fmla="*/ 2001723 h 5973007"/>
              <a:gd name="connsiteX39522" fmla="*/ 5046950 w 6884782"/>
              <a:gd name="connsiteY39522" fmla="*/ 2000869 h 5973007"/>
              <a:gd name="connsiteX39523" fmla="*/ 5048018 w 6884782"/>
              <a:gd name="connsiteY39523" fmla="*/ 2013674 h 5973007"/>
              <a:gd name="connsiteX39524" fmla="*/ 5045456 w 6884782"/>
              <a:gd name="connsiteY39524" fmla="*/ 2013389 h 5973007"/>
              <a:gd name="connsiteX39525" fmla="*/ 5045670 w 6884782"/>
              <a:gd name="connsiteY39525" fmla="*/ 2014385 h 5973007"/>
              <a:gd name="connsiteX39526" fmla="*/ 5044816 w 6884782"/>
              <a:gd name="connsiteY39526" fmla="*/ 2020075 h 5973007"/>
              <a:gd name="connsiteX39527" fmla="*/ 5043109 w 6884782"/>
              <a:gd name="connsiteY39527" fmla="*/ 2015239 h 5973007"/>
              <a:gd name="connsiteX39528" fmla="*/ 5042682 w 6884782"/>
              <a:gd name="connsiteY39528" fmla="*/ 2013105 h 5973007"/>
              <a:gd name="connsiteX39529" fmla="*/ 5039480 w 6884782"/>
              <a:gd name="connsiteY39529" fmla="*/ 2012677 h 5973007"/>
              <a:gd name="connsiteX39530" fmla="*/ 5033291 w 6884782"/>
              <a:gd name="connsiteY39530" fmla="*/ 2005421 h 5973007"/>
              <a:gd name="connsiteX39531" fmla="*/ 5046950 w 6884782"/>
              <a:gd name="connsiteY39531" fmla="*/ 2000869 h 5973007"/>
              <a:gd name="connsiteX39532" fmla="*/ 5949929 w 6884782"/>
              <a:gd name="connsiteY39532" fmla="*/ 2000584 h 5973007"/>
              <a:gd name="connsiteX39533" fmla="*/ 5953558 w 6884782"/>
              <a:gd name="connsiteY39533" fmla="*/ 2002719 h 5973007"/>
              <a:gd name="connsiteX39534" fmla="*/ 5953558 w 6884782"/>
              <a:gd name="connsiteY39534" fmla="*/ 2007983 h 5973007"/>
              <a:gd name="connsiteX39535" fmla="*/ 5948435 w 6884782"/>
              <a:gd name="connsiteY39535" fmla="*/ 2016661 h 5973007"/>
              <a:gd name="connsiteX39536" fmla="*/ 5943740 w 6884782"/>
              <a:gd name="connsiteY39536" fmla="*/ 2007271 h 5973007"/>
              <a:gd name="connsiteX39537" fmla="*/ 5945234 w 6884782"/>
              <a:gd name="connsiteY39537" fmla="*/ 2004853 h 5973007"/>
              <a:gd name="connsiteX39538" fmla="*/ 5949929 w 6884782"/>
              <a:gd name="connsiteY39538" fmla="*/ 2000584 h 5973007"/>
              <a:gd name="connsiteX39539" fmla="*/ 5420648 w 6884782"/>
              <a:gd name="connsiteY39539" fmla="*/ 2000300 h 5973007"/>
              <a:gd name="connsiteX39540" fmla="*/ 5421289 w 6884782"/>
              <a:gd name="connsiteY39540" fmla="*/ 2001723 h 5973007"/>
              <a:gd name="connsiteX39541" fmla="*/ 5419368 w 6884782"/>
              <a:gd name="connsiteY39541" fmla="*/ 2003146 h 5973007"/>
              <a:gd name="connsiteX39542" fmla="*/ 5417874 w 6884782"/>
              <a:gd name="connsiteY39542" fmla="*/ 2003714 h 5973007"/>
              <a:gd name="connsiteX39543" fmla="*/ 5419368 w 6884782"/>
              <a:gd name="connsiteY39543" fmla="*/ 2000584 h 5973007"/>
              <a:gd name="connsiteX39544" fmla="*/ 5420648 w 6884782"/>
              <a:gd name="connsiteY39544" fmla="*/ 2000300 h 5973007"/>
              <a:gd name="connsiteX39545" fmla="*/ 5634281 w 6884782"/>
              <a:gd name="connsiteY39545" fmla="*/ 1999589 h 5973007"/>
              <a:gd name="connsiteX39546" fmla="*/ 5635989 w 6884782"/>
              <a:gd name="connsiteY39546" fmla="*/ 2003146 h 5973007"/>
              <a:gd name="connsiteX39547" fmla="*/ 5632787 w 6884782"/>
              <a:gd name="connsiteY39547" fmla="*/ 2005707 h 5973007"/>
              <a:gd name="connsiteX39548" fmla="*/ 5632361 w 6884782"/>
              <a:gd name="connsiteY39548" fmla="*/ 2010544 h 5973007"/>
              <a:gd name="connsiteX39549" fmla="*/ 5629373 w 6884782"/>
              <a:gd name="connsiteY39549" fmla="*/ 2013105 h 5973007"/>
              <a:gd name="connsiteX39550" fmla="*/ 5629159 w 6884782"/>
              <a:gd name="connsiteY39550" fmla="*/ 2011966 h 5973007"/>
              <a:gd name="connsiteX39551" fmla="*/ 5631080 w 6884782"/>
              <a:gd name="connsiteY39551" fmla="*/ 2009405 h 5973007"/>
              <a:gd name="connsiteX39552" fmla="*/ 5632147 w 6884782"/>
              <a:gd name="connsiteY39552" fmla="*/ 2001012 h 5973007"/>
              <a:gd name="connsiteX39553" fmla="*/ 5634281 w 6884782"/>
              <a:gd name="connsiteY39553" fmla="*/ 1999589 h 5973007"/>
              <a:gd name="connsiteX39554" fmla="*/ 1142737 w 6884782"/>
              <a:gd name="connsiteY39554" fmla="*/ 1998650 h 5973007"/>
              <a:gd name="connsiteX39555" fmla="*/ 1139639 w 6884782"/>
              <a:gd name="connsiteY39555" fmla="*/ 2001902 h 5973007"/>
              <a:gd name="connsiteX39556" fmla="*/ 1136025 w 6884782"/>
              <a:gd name="connsiteY39556" fmla="*/ 2001747 h 5973007"/>
              <a:gd name="connsiteX39557" fmla="*/ 1142737 w 6884782"/>
              <a:gd name="connsiteY39557" fmla="*/ 1998650 h 5973007"/>
              <a:gd name="connsiteX39558" fmla="*/ 4902252 w 6884782"/>
              <a:gd name="connsiteY39558" fmla="*/ 1998308 h 5973007"/>
              <a:gd name="connsiteX39559" fmla="*/ 4913990 w 6884782"/>
              <a:gd name="connsiteY39559" fmla="*/ 2005849 h 5973007"/>
              <a:gd name="connsiteX39560" fmla="*/ 4899477 w 6884782"/>
              <a:gd name="connsiteY39560" fmla="*/ 2009690 h 5973007"/>
              <a:gd name="connsiteX39561" fmla="*/ 4897556 w 6884782"/>
              <a:gd name="connsiteY39561" fmla="*/ 2010544 h 5973007"/>
              <a:gd name="connsiteX39562" fmla="*/ 4892861 w 6884782"/>
              <a:gd name="connsiteY39562" fmla="*/ 2010970 h 5973007"/>
              <a:gd name="connsiteX39563" fmla="*/ 4892221 w 6884782"/>
              <a:gd name="connsiteY39563" fmla="*/ 2012393 h 5973007"/>
              <a:gd name="connsiteX39564" fmla="*/ 4886245 w 6884782"/>
              <a:gd name="connsiteY39564" fmla="*/ 2011113 h 5973007"/>
              <a:gd name="connsiteX39565" fmla="*/ 4886458 w 6884782"/>
              <a:gd name="connsiteY39565" fmla="*/ 2010970 h 5973007"/>
              <a:gd name="connsiteX39566" fmla="*/ 4880056 w 6884782"/>
              <a:gd name="connsiteY39566" fmla="*/ 2009974 h 5973007"/>
              <a:gd name="connsiteX39567" fmla="*/ 4894995 w 6884782"/>
              <a:gd name="connsiteY39567" fmla="*/ 2001296 h 5973007"/>
              <a:gd name="connsiteX39568" fmla="*/ 4900117 w 6884782"/>
              <a:gd name="connsiteY39568" fmla="*/ 2001866 h 5973007"/>
              <a:gd name="connsiteX39569" fmla="*/ 5616567 w 6884782"/>
              <a:gd name="connsiteY39569" fmla="*/ 1997597 h 5973007"/>
              <a:gd name="connsiteX39570" fmla="*/ 5611232 w 6884782"/>
              <a:gd name="connsiteY39570" fmla="*/ 2016661 h 5973007"/>
              <a:gd name="connsiteX39571" fmla="*/ 5616567 w 6884782"/>
              <a:gd name="connsiteY39571" fmla="*/ 1997597 h 5973007"/>
              <a:gd name="connsiteX39572" fmla="*/ 4993595 w 6884782"/>
              <a:gd name="connsiteY39572" fmla="*/ 1997597 h 5973007"/>
              <a:gd name="connsiteX39573" fmla="*/ 4994876 w 6884782"/>
              <a:gd name="connsiteY39573" fmla="*/ 1998735 h 5973007"/>
              <a:gd name="connsiteX39574" fmla="*/ 4994876 w 6884782"/>
              <a:gd name="connsiteY39574" fmla="*/ 1999589 h 5973007"/>
              <a:gd name="connsiteX39575" fmla="*/ 4992741 w 6884782"/>
              <a:gd name="connsiteY39575" fmla="*/ 2002434 h 5973007"/>
              <a:gd name="connsiteX39576" fmla="*/ 4992741 w 6884782"/>
              <a:gd name="connsiteY39576" fmla="*/ 1998166 h 5973007"/>
              <a:gd name="connsiteX39577" fmla="*/ 4994235 w 6884782"/>
              <a:gd name="connsiteY39577" fmla="*/ 1998593 h 5973007"/>
              <a:gd name="connsiteX39578" fmla="*/ 4993595 w 6884782"/>
              <a:gd name="connsiteY39578" fmla="*/ 1997597 h 5973007"/>
              <a:gd name="connsiteX39579" fmla="*/ 945285 w 6884782"/>
              <a:gd name="connsiteY39579" fmla="*/ 1997584 h 5973007"/>
              <a:gd name="connsiteX39580" fmla="*/ 952745 w 6884782"/>
              <a:gd name="connsiteY39580" fmla="*/ 2001747 h 5973007"/>
              <a:gd name="connsiteX39581" fmla="*/ 954397 w 6884782"/>
              <a:gd name="connsiteY39581" fmla="*/ 2002831 h 5973007"/>
              <a:gd name="connsiteX39582" fmla="*/ 954397 w 6884782"/>
              <a:gd name="connsiteY39582" fmla="*/ 2005310 h 5973007"/>
              <a:gd name="connsiteX39583" fmla="*/ 941490 w 6884782"/>
              <a:gd name="connsiteY39583" fmla="*/ 2003916 h 5973007"/>
              <a:gd name="connsiteX39584" fmla="*/ 939838 w 6884782"/>
              <a:gd name="connsiteY39584" fmla="*/ 2002986 h 5973007"/>
              <a:gd name="connsiteX39585" fmla="*/ 936431 w 6884782"/>
              <a:gd name="connsiteY39585" fmla="*/ 1997720 h 5973007"/>
              <a:gd name="connsiteX39586" fmla="*/ 945285 w 6884782"/>
              <a:gd name="connsiteY39586" fmla="*/ 1997584 h 5973007"/>
              <a:gd name="connsiteX39587" fmla="*/ 6046395 w 6884782"/>
              <a:gd name="connsiteY39587" fmla="*/ 1996885 h 5973007"/>
              <a:gd name="connsiteX39588" fmla="*/ 6051304 w 6884782"/>
              <a:gd name="connsiteY39588" fmla="*/ 2001581 h 5973007"/>
              <a:gd name="connsiteX39589" fmla="*/ 6051090 w 6884782"/>
              <a:gd name="connsiteY39589" fmla="*/ 2005849 h 5973007"/>
              <a:gd name="connsiteX39590" fmla="*/ 6047462 w 6884782"/>
              <a:gd name="connsiteY39590" fmla="*/ 2007840 h 5973007"/>
              <a:gd name="connsiteX39591" fmla="*/ 6042981 w 6884782"/>
              <a:gd name="connsiteY39591" fmla="*/ 2006560 h 5973007"/>
              <a:gd name="connsiteX39592" fmla="*/ 6046395 w 6884782"/>
              <a:gd name="connsiteY39592" fmla="*/ 1996885 h 5973007"/>
              <a:gd name="connsiteX39593" fmla="*/ 4873440 w 6884782"/>
              <a:gd name="connsiteY39593" fmla="*/ 1996885 h 5973007"/>
              <a:gd name="connsiteX39594" fmla="*/ 4881123 w 6884782"/>
              <a:gd name="connsiteY39594" fmla="*/ 2004853 h 5973007"/>
              <a:gd name="connsiteX39595" fmla="*/ 4869812 w 6884782"/>
              <a:gd name="connsiteY39595" fmla="*/ 1999874 h 5973007"/>
              <a:gd name="connsiteX39596" fmla="*/ 4873440 w 6884782"/>
              <a:gd name="connsiteY39596" fmla="*/ 1996885 h 5973007"/>
              <a:gd name="connsiteX39597" fmla="*/ 4755206 w 6884782"/>
              <a:gd name="connsiteY39597" fmla="*/ 1996174 h 5973007"/>
              <a:gd name="connsiteX39598" fmla="*/ 4759687 w 6884782"/>
              <a:gd name="connsiteY39598" fmla="*/ 1998451 h 5973007"/>
              <a:gd name="connsiteX39599" fmla="*/ 4761394 w 6884782"/>
              <a:gd name="connsiteY39599" fmla="*/ 2003003 h 5973007"/>
              <a:gd name="connsiteX39600" fmla="*/ 4758193 w 6884782"/>
              <a:gd name="connsiteY39600" fmla="*/ 2003430 h 5973007"/>
              <a:gd name="connsiteX39601" fmla="*/ 4757126 w 6884782"/>
              <a:gd name="connsiteY39601" fmla="*/ 2006276 h 5973007"/>
              <a:gd name="connsiteX39602" fmla="*/ 4756059 w 6884782"/>
              <a:gd name="connsiteY39602" fmla="*/ 2006133 h 5973007"/>
              <a:gd name="connsiteX39603" fmla="*/ 4754779 w 6884782"/>
              <a:gd name="connsiteY39603" fmla="*/ 2003999 h 5973007"/>
              <a:gd name="connsiteX39604" fmla="*/ 4754565 w 6884782"/>
              <a:gd name="connsiteY39604" fmla="*/ 2004141 h 5973007"/>
              <a:gd name="connsiteX39605" fmla="*/ 4750296 w 6884782"/>
              <a:gd name="connsiteY39605" fmla="*/ 2000158 h 5973007"/>
              <a:gd name="connsiteX39606" fmla="*/ 4755206 w 6884782"/>
              <a:gd name="connsiteY39606" fmla="*/ 1996174 h 5973007"/>
              <a:gd name="connsiteX39607" fmla="*/ 1144802 w 6884782"/>
              <a:gd name="connsiteY39607" fmla="*/ 1996016 h 5973007"/>
              <a:gd name="connsiteX39608" fmla="*/ 1145525 w 6884782"/>
              <a:gd name="connsiteY39608" fmla="*/ 1996945 h 5973007"/>
              <a:gd name="connsiteX39609" fmla="*/ 1145628 w 6884782"/>
              <a:gd name="connsiteY39609" fmla="*/ 1996016 h 5973007"/>
              <a:gd name="connsiteX39610" fmla="*/ 1145834 w 6884782"/>
              <a:gd name="connsiteY39610" fmla="*/ 1997255 h 5973007"/>
              <a:gd name="connsiteX39611" fmla="*/ 1145422 w 6884782"/>
              <a:gd name="connsiteY39611" fmla="*/ 1997720 h 5973007"/>
              <a:gd name="connsiteX39612" fmla="*/ 1142737 w 6884782"/>
              <a:gd name="connsiteY39612" fmla="*/ 1998494 h 5973007"/>
              <a:gd name="connsiteX39613" fmla="*/ 1144802 w 6884782"/>
              <a:gd name="connsiteY39613" fmla="*/ 1996016 h 5973007"/>
              <a:gd name="connsiteX39614" fmla="*/ 5120153 w 6884782"/>
              <a:gd name="connsiteY39614" fmla="*/ 1994609 h 5973007"/>
              <a:gd name="connsiteX39615" fmla="*/ 5135519 w 6884782"/>
              <a:gd name="connsiteY39615" fmla="*/ 2009405 h 5973007"/>
              <a:gd name="connsiteX39616" fmla="*/ 5137226 w 6884782"/>
              <a:gd name="connsiteY39616" fmla="*/ 2011682 h 5973007"/>
              <a:gd name="connsiteX39617" fmla="*/ 5135519 w 6884782"/>
              <a:gd name="connsiteY39617" fmla="*/ 2014812 h 5973007"/>
              <a:gd name="connsiteX39618" fmla="*/ 5120153 w 6884782"/>
              <a:gd name="connsiteY39618" fmla="*/ 2005991 h 5973007"/>
              <a:gd name="connsiteX39619" fmla="*/ 5118659 w 6884782"/>
              <a:gd name="connsiteY39619" fmla="*/ 2003714 h 5973007"/>
              <a:gd name="connsiteX39620" fmla="*/ 5117379 w 6884782"/>
              <a:gd name="connsiteY39620" fmla="*/ 1995179 h 5973007"/>
              <a:gd name="connsiteX39621" fmla="*/ 5120153 w 6884782"/>
              <a:gd name="connsiteY39621" fmla="*/ 1994609 h 5973007"/>
              <a:gd name="connsiteX39622" fmla="*/ 5251406 w 6884782"/>
              <a:gd name="connsiteY39622" fmla="*/ 1994182 h 5973007"/>
              <a:gd name="connsiteX39623" fmla="*/ 5268053 w 6884782"/>
              <a:gd name="connsiteY39623" fmla="*/ 1997455 h 5973007"/>
              <a:gd name="connsiteX39624" fmla="*/ 5252687 w 6884782"/>
              <a:gd name="connsiteY39624" fmla="*/ 2003430 h 5973007"/>
              <a:gd name="connsiteX39625" fmla="*/ 5245644 w 6884782"/>
              <a:gd name="connsiteY39625" fmla="*/ 2004426 h 5973007"/>
              <a:gd name="connsiteX39626" fmla="*/ 5246498 w 6884782"/>
              <a:gd name="connsiteY39626" fmla="*/ 2005849 h 5973007"/>
              <a:gd name="connsiteX39627" fmla="*/ 5242656 w 6884782"/>
              <a:gd name="connsiteY39627" fmla="*/ 2013105 h 5973007"/>
              <a:gd name="connsiteX39628" fmla="*/ 5239455 w 6884782"/>
              <a:gd name="connsiteY39628" fmla="*/ 2011682 h 5973007"/>
              <a:gd name="connsiteX39629" fmla="*/ 5237320 w 6884782"/>
              <a:gd name="connsiteY39629" fmla="*/ 2004568 h 5973007"/>
              <a:gd name="connsiteX39630" fmla="*/ 5237320 w 6884782"/>
              <a:gd name="connsiteY39630" fmla="*/ 2003714 h 5973007"/>
              <a:gd name="connsiteX39631" fmla="*/ 5235400 w 6884782"/>
              <a:gd name="connsiteY39631" fmla="*/ 2003430 h 5973007"/>
              <a:gd name="connsiteX39632" fmla="*/ 5237107 w 6884782"/>
              <a:gd name="connsiteY39632" fmla="*/ 2001723 h 5973007"/>
              <a:gd name="connsiteX39633" fmla="*/ 5236894 w 6884782"/>
              <a:gd name="connsiteY39633" fmla="*/ 2001438 h 5973007"/>
              <a:gd name="connsiteX39634" fmla="*/ 5237320 w 6884782"/>
              <a:gd name="connsiteY39634" fmla="*/ 2000727 h 5973007"/>
              <a:gd name="connsiteX39635" fmla="*/ 5239668 w 6884782"/>
              <a:gd name="connsiteY39635" fmla="*/ 1998735 h 5973007"/>
              <a:gd name="connsiteX39636" fmla="*/ 5240095 w 6884782"/>
              <a:gd name="connsiteY39636" fmla="*/ 1998735 h 5973007"/>
              <a:gd name="connsiteX39637" fmla="*/ 5242443 w 6884782"/>
              <a:gd name="connsiteY39637" fmla="*/ 1996601 h 5973007"/>
              <a:gd name="connsiteX39638" fmla="*/ 5251406 w 6884782"/>
              <a:gd name="connsiteY39638" fmla="*/ 1994182 h 5973007"/>
              <a:gd name="connsiteX39639" fmla="*/ 759140 w 6884782"/>
              <a:gd name="connsiteY39639" fmla="*/ 1993847 h 5973007"/>
              <a:gd name="connsiteX39640" fmla="*/ 774112 w 6884782"/>
              <a:gd name="connsiteY39640" fmla="*/ 2004535 h 5973007"/>
              <a:gd name="connsiteX39641" fmla="*/ 771427 w 6884782"/>
              <a:gd name="connsiteY39641" fmla="*/ 2006239 h 5973007"/>
              <a:gd name="connsiteX39642" fmla="*/ 757797 w 6884782"/>
              <a:gd name="connsiteY39642" fmla="*/ 1996016 h 5973007"/>
              <a:gd name="connsiteX39643" fmla="*/ 759140 w 6884782"/>
              <a:gd name="connsiteY39643" fmla="*/ 1993847 h 5973007"/>
              <a:gd name="connsiteX39644" fmla="*/ 1133857 w 6884782"/>
              <a:gd name="connsiteY39644" fmla="*/ 1993538 h 5973007"/>
              <a:gd name="connsiteX39645" fmla="*/ 1133857 w 6884782"/>
              <a:gd name="connsiteY39645" fmla="*/ 1998339 h 5973007"/>
              <a:gd name="connsiteX39646" fmla="*/ 1132928 w 6884782"/>
              <a:gd name="connsiteY39646" fmla="*/ 1999269 h 5973007"/>
              <a:gd name="connsiteX39647" fmla="*/ 1132308 w 6884782"/>
              <a:gd name="connsiteY39647" fmla="*/ 1999888 h 5973007"/>
              <a:gd name="connsiteX39648" fmla="*/ 1130553 w 6884782"/>
              <a:gd name="connsiteY39648" fmla="*/ 2001437 h 5973007"/>
              <a:gd name="connsiteX39649" fmla="*/ 1128384 w 6884782"/>
              <a:gd name="connsiteY39649" fmla="*/ 1999269 h 5973007"/>
              <a:gd name="connsiteX39650" fmla="*/ 1128488 w 6884782"/>
              <a:gd name="connsiteY39650" fmla="*/ 1996945 h 5973007"/>
              <a:gd name="connsiteX39651" fmla="*/ 1133857 w 6884782"/>
              <a:gd name="connsiteY39651" fmla="*/ 1993538 h 5973007"/>
              <a:gd name="connsiteX39652" fmla="*/ 1152236 w 6884782"/>
              <a:gd name="connsiteY39652" fmla="*/ 1992763 h 5973007"/>
              <a:gd name="connsiteX39653" fmla="*/ 1157503 w 6884782"/>
              <a:gd name="connsiteY39653" fmla="*/ 1994467 h 5973007"/>
              <a:gd name="connsiteX39654" fmla="*/ 1158741 w 6884782"/>
              <a:gd name="connsiteY39654" fmla="*/ 2001902 h 5973007"/>
              <a:gd name="connsiteX39655" fmla="*/ 1154508 w 6884782"/>
              <a:gd name="connsiteY39655" fmla="*/ 2002521 h 5973007"/>
              <a:gd name="connsiteX39656" fmla="*/ 1152133 w 6884782"/>
              <a:gd name="connsiteY39656" fmla="*/ 1998030 h 5973007"/>
              <a:gd name="connsiteX39657" fmla="*/ 1151720 w 6884782"/>
              <a:gd name="connsiteY39657" fmla="*/ 1995086 h 5973007"/>
              <a:gd name="connsiteX39658" fmla="*/ 1152236 w 6884782"/>
              <a:gd name="connsiteY39658" fmla="*/ 1992763 h 5973007"/>
              <a:gd name="connsiteX39659" fmla="*/ 1540790 w 6884782"/>
              <a:gd name="connsiteY39659" fmla="*/ 1992608 h 5973007"/>
              <a:gd name="connsiteX39660" fmla="*/ 1546985 w 6884782"/>
              <a:gd name="connsiteY39660" fmla="*/ 1993538 h 5973007"/>
              <a:gd name="connsiteX39661" fmla="*/ 1540170 w 6884782"/>
              <a:gd name="connsiteY39661" fmla="*/ 2004535 h 5973007"/>
              <a:gd name="connsiteX39662" fmla="*/ 1539137 w 6884782"/>
              <a:gd name="connsiteY39662" fmla="*/ 1998494 h 5973007"/>
              <a:gd name="connsiteX39663" fmla="*/ 1540790 w 6884782"/>
              <a:gd name="connsiteY39663" fmla="*/ 1992608 h 5973007"/>
              <a:gd name="connsiteX39664" fmla="*/ 1535313 w 6884782"/>
              <a:gd name="connsiteY39664" fmla="*/ 1991597 h 5973007"/>
              <a:gd name="connsiteX39665" fmla="*/ 1537279 w 6884782"/>
              <a:gd name="connsiteY39665" fmla="*/ 1992298 h 5973007"/>
              <a:gd name="connsiteX39666" fmla="*/ 1538621 w 6884782"/>
              <a:gd name="connsiteY39666" fmla="*/ 1994002 h 5973007"/>
              <a:gd name="connsiteX39667" fmla="*/ 1535214 w 6884782"/>
              <a:gd name="connsiteY39667" fmla="*/ 1991524 h 5973007"/>
              <a:gd name="connsiteX39668" fmla="*/ 1535313 w 6884782"/>
              <a:gd name="connsiteY39668" fmla="*/ 1991597 h 5973007"/>
              <a:gd name="connsiteX39669" fmla="*/ 1535246 w 6884782"/>
              <a:gd name="connsiteY39669" fmla="*/ 1991572 h 5973007"/>
              <a:gd name="connsiteX39670" fmla="*/ 1128178 w 6884782"/>
              <a:gd name="connsiteY39670" fmla="*/ 1991369 h 5973007"/>
              <a:gd name="connsiteX39671" fmla="*/ 1128900 w 6884782"/>
              <a:gd name="connsiteY39671" fmla="*/ 1991834 h 5973007"/>
              <a:gd name="connsiteX39672" fmla="*/ 1126526 w 6884782"/>
              <a:gd name="connsiteY39672" fmla="*/ 1993847 h 5973007"/>
              <a:gd name="connsiteX39673" fmla="*/ 1128178 w 6884782"/>
              <a:gd name="connsiteY39673" fmla="*/ 1991369 h 5973007"/>
              <a:gd name="connsiteX39674" fmla="*/ 1266025 w 6884782"/>
              <a:gd name="connsiteY39674" fmla="*/ 1990750 h 5973007"/>
              <a:gd name="connsiteX39675" fmla="*/ 1266541 w 6884782"/>
              <a:gd name="connsiteY39675" fmla="*/ 1991214 h 5973007"/>
              <a:gd name="connsiteX39676" fmla="*/ 1267057 w 6884782"/>
              <a:gd name="connsiteY39676" fmla="*/ 1993693 h 5973007"/>
              <a:gd name="connsiteX39677" fmla="*/ 1264682 w 6884782"/>
              <a:gd name="connsiteY39677" fmla="*/ 1991834 h 5973007"/>
              <a:gd name="connsiteX39678" fmla="*/ 1265715 w 6884782"/>
              <a:gd name="connsiteY39678" fmla="*/ 1991059 h 5973007"/>
              <a:gd name="connsiteX39679" fmla="*/ 1264889 w 6884782"/>
              <a:gd name="connsiteY39679" fmla="*/ 1991059 h 5973007"/>
              <a:gd name="connsiteX39680" fmla="*/ 1266025 w 6884782"/>
              <a:gd name="connsiteY39680" fmla="*/ 1990750 h 5973007"/>
              <a:gd name="connsiteX39681" fmla="*/ 5802883 w 6884782"/>
              <a:gd name="connsiteY39681" fmla="*/ 1990626 h 5973007"/>
              <a:gd name="connsiteX39682" fmla="*/ 5804590 w 6884782"/>
              <a:gd name="connsiteY39682" fmla="*/ 1992760 h 5973007"/>
              <a:gd name="connsiteX39683" fmla="*/ 5805231 w 6884782"/>
              <a:gd name="connsiteY39683" fmla="*/ 1992476 h 5973007"/>
              <a:gd name="connsiteX39684" fmla="*/ 5803950 w 6884782"/>
              <a:gd name="connsiteY39684" fmla="*/ 1990768 h 5973007"/>
              <a:gd name="connsiteX39685" fmla="*/ 781237 w 6884782"/>
              <a:gd name="connsiteY39685" fmla="*/ 1990285 h 5973007"/>
              <a:gd name="connsiteX39686" fmla="*/ 786709 w 6884782"/>
              <a:gd name="connsiteY39686" fmla="*/ 1999114 h 5973007"/>
              <a:gd name="connsiteX39687" fmla="*/ 781443 w 6884782"/>
              <a:gd name="connsiteY39687" fmla="*/ 2000508 h 5973007"/>
              <a:gd name="connsiteX39688" fmla="*/ 779998 w 6884782"/>
              <a:gd name="connsiteY39688" fmla="*/ 1995241 h 5973007"/>
              <a:gd name="connsiteX39689" fmla="*/ 781237 w 6884782"/>
              <a:gd name="connsiteY39689" fmla="*/ 1990285 h 5973007"/>
              <a:gd name="connsiteX39690" fmla="*/ 5438149 w 6884782"/>
              <a:gd name="connsiteY39690" fmla="*/ 1989915 h 5973007"/>
              <a:gd name="connsiteX39691" fmla="*/ 5440923 w 6884782"/>
              <a:gd name="connsiteY39691" fmla="*/ 1992190 h 5973007"/>
              <a:gd name="connsiteX39692" fmla="*/ 5436441 w 6884782"/>
              <a:gd name="connsiteY39692" fmla="*/ 2001012 h 5973007"/>
              <a:gd name="connsiteX39693" fmla="*/ 5438149 w 6884782"/>
              <a:gd name="connsiteY39693" fmla="*/ 1989915 h 5973007"/>
              <a:gd name="connsiteX39694" fmla="*/ 6131763 w 6884782"/>
              <a:gd name="connsiteY39694" fmla="*/ 1988777 h 5973007"/>
              <a:gd name="connsiteX39695" fmla="*/ 6134324 w 6884782"/>
              <a:gd name="connsiteY39695" fmla="*/ 1993755 h 5973007"/>
              <a:gd name="connsiteX39696" fmla="*/ 6127494 w 6884782"/>
              <a:gd name="connsiteY39696" fmla="*/ 1995748 h 5973007"/>
              <a:gd name="connsiteX39697" fmla="*/ 6124933 w 6884782"/>
              <a:gd name="connsiteY39697" fmla="*/ 1990910 h 5973007"/>
              <a:gd name="connsiteX39698" fmla="*/ 6131763 w 6884782"/>
              <a:gd name="connsiteY39698" fmla="*/ 1988777 h 5973007"/>
              <a:gd name="connsiteX39699" fmla="*/ 6261949 w 6884782"/>
              <a:gd name="connsiteY39699" fmla="*/ 1988065 h 5973007"/>
              <a:gd name="connsiteX39700" fmla="*/ 6273047 w 6884782"/>
              <a:gd name="connsiteY39700" fmla="*/ 1991764 h 5973007"/>
              <a:gd name="connsiteX39701" fmla="*/ 6275394 w 6884782"/>
              <a:gd name="connsiteY39701" fmla="*/ 1993187 h 5973007"/>
              <a:gd name="connsiteX39702" fmla="*/ 6277742 w 6884782"/>
              <a:gd name="connsiteY39702" fmla="*/ 1994467 h 5973007"/>
              <a:gd name="connsiteX39703" fmla="*/ 6279236 w 6884782"/>
              <a:gd name="connsiteY39703" fmla="*/ 1999447 h 5973007"/>
              <a:gd name="connsiteX39704" fmla="*/ 6257894 w 6884782"/>
              <a:gd name="connsiteY39704" fmla="*/ 1991195 h 5973007"/>
              <a:gd name="connsiteX39705" fmla="*/ 6258961 w 6884782"/>
              <a:gd name="connsiteY39705" fmla="*/ 1988777 h 5973007"/>
              <a:gd name="connsiteX39706" fmla="*/ 6261949 w 6884782"/>
              <a:gd name="connsiteY39706" fmla="*/ 1988065 h 5973007"/>
              <a:gd name="connsiteX39707" fmla="*/ 734668 w 6884782"/>
              <a:gd name="connsiteY39707" fmla="*/ 1987961 h 5973007"/>
              <a:gd name="connsiteX39708" fmla="*/ 732087 w 6884782"/>
              <a:gd name="connsiteY39708" fmla="*/ 1996636 h 5973007"/>
              <a:gd name="connsiteX39709" fmla="*/ 734668 w 6884782"/>
              <a:gd name="connsiteY39709" fmla="*/ 1987961 h 5973007"/>
              <a:gd name="connsiteX39710" fmla="*/ 5941179 w 6884782"/>
              <a:gd name="connsiteY39710" fmla="*/ 1986643 h 5973007"/>
              <a:gd name="connsiteX39711" fmla="*/ 5902336 w 6884782"/>
              <a:gd name="connsiteY39711" fmla="*/ 2029750 h 5973007"/>
              <a:gd name="connsiteX39712" fmla="*/ 5901056 w 6884782"/>
              <a:gd name="connsiteY39712" fmla="*/ 2028327 h 5973007"/>
              <a:gd name="connsiteX39713" fmla="*/ 5901483 w 6884782"/>
              <a:gd name="connsiteY39713" fmla="*/ 2031600 h 5973007"/>
              <a:gd name="connsiteX39714" fmla="*/ 5900416 w 6884782"/>
              <a:gd name="connsiteY39714" fmla="*/ 2036579 h 5973007"/>
              <a:gd name="connsiteX39715" fmla="*/ 5898068 w 6884782"/>
              <a:gd name="connsiteY39715" fmla="*/ 2038713 h 5973007"/>
              <a:gd name="connsiteX39716" fmla="*/ 5894013 w 6884782"/>
              <a:gd name="connsiteY39716" fmla="*/ 2034729 h 5973007"/>
              <a:gd name="connsiteX39717" fmla="*/ 5897215 w 6884782"/>
              <a:gd name="connsiteY39717" fmla="*/ 2023490 h 5973007"/>
              <a:gd name="connsiteX39718" fmla="*/ 5898495 w 6884782"/>
              <a:gd name="connsiteY39718" fmla="*/ 2024628 h 5973007"/>
              <a:gd name="connsiteX39719" fmla="*/ 5894867 w 6884782"/>
              <a:gd name="connsiteY39719" fmla="*/ 2018084 h 5973007"/>
              <a:gd name="connsiteX39720" fmla="*/ 5900416 w 6884782"/>
              <a:gd name="connsiteY39720" fmla="*/ 2014243 h 5973007"/>
              <a:gd name="connsiteX39721" fmla="*/ 5899775 w 6884782"/>
              <a:gd name="connsiteY39721" fmla="*/ 2013247 h 5973007"/>
              <a:gd name="connsiteX39722" fmla="*/ 5900629 w 6884782"/>
              <a:gd name="connsiteY39722" fmla="*/ 2009548 h 5973007"/>
              <a:gd name="connsiteX39723" fmla="*/ 5903617 w 6884782"/>
              <a:gd name="connsiteY39723" fmla="*/ 2011539 h 5973007"/>
              <a:gd name="connsiteX39724" fmla="*/ 5903617 w 6884782"/>
              <a:gd name="connsiteY39724" fmla="*/ 2012108 h 5973007"/>
              <a:gd name="connsiteX39725" fmla="*/ 5917489 w 6884782"/>
              <a:gd name="connsiteY39725" fmla="*/ 2002576 h 5973007"/>
              <a:gd name="connsiteX39726" fmla="*/ 5917276 w 6884782"/>
              <a:gd name="connsiteY39726" fmla="*/ 2002008 h 5973007"/>
              <a:gd name="connsiteX39727" fmla="*/ 5925600 w 6884782"/>
              <a:gd name="connsiteY39727" fmla="*/ 1993045 h 5973007"/>
              <a:gd name="connsiteX39728" fmla="*/ 5927307 w 6884782"/>
              <a:gd name="connsiteY39728" fmla="*/ 1995890 h 5973007"/>
              <a:gd name="connsiteX39729" fmla="*/ 5830414 w 6884782"/>
              <a:gd name="connsiteY39729" fmla="*/ 1986643 h 5973007"/>
              <a:gd name="connsiteX39730" fmla="*/ 5837244 w 6884782"/>
              <a:gd name="connsiteY39730" fmla="*/ 2003288 h 5973007"/>
              <a:gd name="connsiteX39731" fmla="*/ 5824225 w 6884782"/>
              <a:gd name="connsiteY39731" fmla="*/ 1991907 h 5973007"/>
              <a:gd name="connsiteX39732" fmla="*/ 5830414 w 6884782"/>
              <a:gd name="connsiteY39732" fmla="*/ 1986643 h 5973007"/>
              <a:gd name="connsiteX39733" fmla="*/ 6015663 w 6884782"/>
              <a:gd name="connsiteY39733" fmla="*/ 1986216 h 5973007"/>
              <a:gd name="connsiteX39734" fmla="*/ 6020144 w 6884782"/>
              <a:gd name="connsiteY39734" fmla="*/ 1986500 h 5973007"/>
              <a:gd name="connsiteX39735" fmla="*/ 6033803 w 6884782"/>
              <a:gd name="connsiteY39735" fmla="*/ 1999162 h 5973007"/>
              <a:gd name="connsiteX39736" fmla="*/ 6024626 w 6884782"/>
              <a:gd name="connsiteY39736" fmla="*/ 2025908 h 5973007"/>
              <a:gd name="connsiteX39737" fmla="*/ 6003711 w 6884782"/>
              <a:gd name="connsiteY39737" fmla="*/ 1995179 h 5973007"/>
              <a:gd name="connsiteX39738" fmla="*/ 6015663 w 6884782"/>
              <a:gd name="connsiteY39738" fmla="*/ 1986216 h 5973007"/>
              <a:gd name="connsiteX39739" fmla="*/ 898330 w 6884782"/>
              <a:gd name="connsiteY39739" fmla="*/ 1986103 h 5973007"/>
              <a:gd name="connsiteX39740" fmla="*/ 898330 w 6884782"/>
              <a:gd name="connsiteY39740" fmla="*/ 1986877 h 5973007"/>
              <a:gd name="connsiteX39741" fmla="*/ 900085 w 6884782"/>
              <a:gd name="connsiteY39741" fmla="*/ 1987187 h 5973007"/>
              <a:gd name="connsiteX39742" fmla="*/ 900085 w 6884782"/>
              <a:gd name="connsiteY39742" fmla="*/ 1986257 h 5973007"/>
              <a:gd name="connsiteX39743" fmla="*/ 901840 w 6884782"/>
              <a:gd name="connsiteY39743" fmla="*/ 1987342 h 5973007"/>
              <a:gd name="connsiteX39744" fmla="*/ 904318 w 6884782"/>
              <a:gd name="connsiteY39744" fmla="*/ 1993538 h 5973007"/>
              <a:gd name="connsiteX39745" fmla="*/ 899878 w 6884782"/>
              <a:gd name="connsiteY39745" fmla="*/ 1993073 h 5973007"/>
              <a:gd name="connsiteX39746" fmla="*/ 897813 w 6884782"/>
              <a:gd name="connsiteY39746" fmla="*/ 1989975 h 5973007"/>
              <a:gd name="connsiteX39747" fmla="*/ 898330 w 6884782"/>
              <a:gd name="connsiteY39747" fmla="*/ 1986103 h 5973007"/>
              <a:gd name="connsiteX39748" fmla="*/ 1048774 w 6884782"/>
              <a:gd name="connsiteY39748" fmla="*/ 1985948 h 5973007"/>
              <a:gd name="connsiteX39749" fmla="*/ 1055692 w 6884782"/>
              <a:gd name="connsiteY39749" fmla="*/ 1986412 h 5973007"/>
              <a:gd name="connsiteX39750" fmla="*/ 1048774 w 6884782"/>
              <a:gd name="connsiteY39750" fmla="*/ 1985948 h 5973007"/>
              <a:gd name="connsiteX39751" fmla="*/ 4976949 w 6884782"/>
              <a:gd name="connsiteY39751" fmla="*/ 1985931 h 5973007"/>
              <a:gd name="connsiteX39752" fmla="*/ 4981430 w 6884782"/>
              <a:gd name="connsiteY39752" fmla="*/ 1986358 h 5973007"/>
              <a:gd name="connsiteX39753" fmla="*/ 4976949 w 6884782"/>
              <a:gd name="connsiteY39753" fmla="*/ 1995890 h 5973007"/>
              <a:gd name="connsiteX39754" fmla="*/ 4974174 w 6884782"/>
              <a:gd name="connsiteY39754" fmla="*/ 1995890 h 5973007"/>
              <a:gd name="connsiteX39755" fmla="*/ 4968412 w 6884782"/>
              <a:gd name="connsiteY39755" fmla="*/ 1993898 h 5973007"/>
              <a:gd name="connsiteX39756" fmla="*/ 4968198 w 6884782"/>
              <a:gd name="connsiteY39756" fmla="*/ 1989488 h 5973007"/>
              <a:gd name="connsiteX39757" fmla="*/ 4972040 w 6884782"/>
              <a:gd name="connsiteY39757" fmla="*/ 1986358 h 5973007"/>
              <a:gd name="connsiteX39758" fmla="*/ 4976949 w 6884782"/>
              <a:gd name="connsiteY39758" fmla="*/ 1985931 h 5973007"/>
              <a:gd name="connsiteX39759" fmla="*/ 5795626 w 6884782"/>
              <a:gd name="connsiteY39759" fmla="*/ 1985219 h 5973007"/>
              <a:gd name="connsiteX39760" fmla="*/ 5800535 w 6884782"/>
              <a:gd name="connsiteY39760" fmla="*/ 1988208 h 5973007"/>
              <a:gd name="connsiteX39761" fmla="*/ 5800535 w 6884782"/>
              <a:gd name="connsiteY39761" fmla="*/ 1986643 h 5973007"/>
              <a:gd name="connsiteX39762" fmla="*/ 5804164 w 6884782"/>
              <a:gd name="connsiteY39762" fmla="*/ 1990199 h 5973007"/>
              <a:gd name="connsiteX39763" fmla="*/ 5805871 w 6884782"/>
              <a:gd name="connsiteY39763" fmla="*/ 1992049 h 5973007"/>
              <a:gd name="connsiteX39764" fmla="*/ 5806724 w 6884782"/>
              <a:gd name="connsiteY39764" fmla="*/ 1991764 h 5973007"/>
              <a:gd name="connsiteX39765" fmla="*/ 5810780 w 6884782"/>
              <a:gd name="connsiteY39765" fmla="*/ 1993755 h 5973007"/>
              <a:gd name="connsiteX39766" fmla="*/ 5810353 w 6884782"/>
              <a:gd name="connsiteY39766" fmla="*/ 1995890 h 5973007"/>
              <a:gd name="connsiteX39767" fmla="*/ 5810566 w 6884782"/>
              <a:gd name="connsiteY39767" fmla="*/ 1996601 h 5973007"/>
              <a:gd name="connsiteX39768" fmla="*/ 5818463 w 6884782"/>
              <a:gd name="connsiteY39768" fmla="*/ 2000300 h 5973007"/>
              <a:gd name="connsiteX39769" fmla="*/ 5819316 w 6884782"/>
              <a:gd name="connsiteY39769" fmla="*/ 2002719 h 5973007"/>
              <a:gd name="connsiteX39770" fmla="*/ 5815902 w 6884782"/>
              <a:gd name="connsiteY39770" fmla="*/ 2003430 h 5973007"/>
              <a:gd name="connsiteX39771" fmla="*/ 5813767 w 6884782"/>
              <a:gd name="connsiteY39771" fmla="*/ 1999447 h 5973007"/>
              <a:gd name="connsiteX39772" fmla="*/ 5809285 w 6884782"/>
              <a:gd name="connsiteY39772" fmla="*/ 1997455 h 5973007"/>
              <a:gd name="connsiteX39773" fmla="*/ 5809285 w 6884782"/>
              <a:gd name="connsiteY39773" fmla="*/ 1997313 h 5973007"/>
              <a:gd name="connsiteX39774" fmla="*/ 5806511 w 6884782"/>
              <a:gd name="connsiteY39774" fmla="*/ 1996601 h 5973007"/>
              <a:gd name="connsiteX39775" fmla="*/ 5806938 w 6884782"/>
              <a:gd name="connsiteY39775" fmla="*/ 1997597 h 5973007"/>
              <a:gd name="connsiteX39776" fmla="*/ 5796694 w 6884782"/>
              <a:gd name="connsiteY39776" fmla="*/ 2001438 h 5973007"/>
              <a:gd name="connsiteX39777" fmla="*/ 5791358 w 6884782"/>
              <a:gd name="connsiteY39777" fmla="*/ 1997597 h 5973007"/>
              <a:gd name="connsiteX39778" fmla="*/ 5789651 w 6884782"/>
              <a:gd name="connsiteY39778" fmla="*/ 1986784 h 5973007"/>
              <a:gd name="connsiteX39779" fmla="*/ 5795626 w 6884782"/>
              <a:gd name="connsiteY39779" fmla="*/ 1985219 h 5973007"/>
              <a:gd name="connsiteX39780" fmla="*/ 6048316 w 6884782"/>
              <a:gd name="connsiteY39780" fmla="*/ 1984935 h 5973007"/>
              <a:gd name="connsiteX39781" fmla="*/ 6055359 w 6884782"/>
              <a:gd name="connsiteY39781" fmla="*/ 1988777 h 5973007"/>
              <a:gd name="connsiteX39782" fmla="*/ 6060480 w 6884782"/>
              <a:gd name="connsiteY39782" fmla="*/ 1999874 h 5973007"/>
              <a:gd name="connsiteX39783" fmla="*/ 6047462 w 6884782"/>
              <a:gd name="connsiteY39783" fmla="*/ 1993187 h 5973007"/>
              <a:gd name="connsiteX39784" fmla="*/ 6044901 w 6884782"/>
              <a:gd name="connsiteY39784" fmla="*/ 1985931 h 5973007"/>
              <a:gd name="connsiteX39785" fmla="*/ 6048316 w 6884782"/>
              <a:gd name="connsiteY39785" fmla="*/ 1984935 h 5973007"/>
              <a:gd name="connsiteX39786" fmla="*/ 3641581 w 6884782"/>
              <a:gd name="connsiteY39786" fmla="*/ 1984793 h 5973007"/>
              <a:gd name="connsiteX39787" fmla="*/ 3647130 w 6884782"/>
              <a:gd name="connsiteY39787" fmla="*/ 1986073 h 5973007"/>
              <a:gd name="connsiteX39788" fmla="*/ 3646276 w 6884782"/>
              <a:gd name="connsiteY39788" fmla="*/ 1993898 h 5973007"/>
              <a:gd name="connsiteX39789" fmla="*/ 3638593 w 6884782"/>
              <a:gd name="connsiteY39789" fmla="*/ 1988492 h 5973007"/>
              <a:gd name="connsiteX39790" fmla="*/ 3641581 w 6884782"/>
              <a:gd name="connsiteY39790" fmla="*/ 1984793 h 5973007"/>
              <a:gd name="connsiteX39791" fmla="*/ 5952490 w 6884782"/>
              <a:gd name="connsiteY39791" fmla="*/ 1984366 h 5973007"/>
              <a:gd name="connsiteX39792" fmla="*/ 5957399 w 6884782"/>
              <a:gd name="connsiteY39792" fmla="*/ 1989488 h 5973007"/>
              <a:gd name="connsiteX39793" fmla="*/ 5957399 w 6884782"/>
              <a:gd name="connsiteY39793" fmla="*/ 1989630 h 5973007"/>
              <a:gd name="connsiteX39794" fmla="*/ 5960814 w 6884782"/>
              <a:gd name="connsiteY39794" fmla="*/ 1989915 h 5973007"/>
              <a:gd name="connsiteX39795" fmla="*/ 5950570 w 6884782"/>
              <a:gd name="connsiteY39795" fmla="*/ 1998308 h 5973007"/>
              <a:gd name="connsiteX39796" fmla="*/ 5949075 w 6884782"/>
              <a:gd name="connsiteY39796" fmla="*/ 1998024 h 5973007"/>
              <a:gd name="connsiteX39797" fmla="*/ 5946087 w 6884782"/>
              <a:gd name="connsiteY39797" fmla="*/ 1999304 h 5973007"/>
              <a:gd name="connsiteX39798" fmla="*/ 5942673 w 6884782"/>
              <a:gd name="connsiteY39798" fmla="*/ 1996032 h 5973007"/>
              <a:gd name="connsiteX39799" fmla="*/ 5952490 w 6884782"/>
              <a:gd name="connsiteY39799" fmla="*/ 1984366 h 5973007"/>
              <a:gd name="connsiteX39800" fmla="*/ 1573935 w 6884782"/>
              <a:gd name="connsiteY39800" fmla="*/ 1983469 h 5973007"/>
              <a:gd name="connsiteX39801" fmla="*/ 1583537 w 6884782"/>
              <a:gd name="connsiteY39801" fmla="*/ 1987961 h 5973007"/>
              <a:gd name="connsiteX39802" fmla="*/ 1576619 w 6884782"/>
              <a:gd name="connsiteY39802" fmla="*/ 1993693 h 5973007"/>
              <a:gd name="connsiteX39803" fmla="*/ 1572799 w 6884782"/>
              <a:gd name="connsiteY39803" fmla="*/ 1985793 h 5973007"/>
              <a:gd name="connsiteX39804" fmla="*/ 1573935 w 6884782"/>
              <a:gd name="connsiteY39804" fmla="*/ 1983469 h 5973007"/>
              <a:gd name="connsiteX39805" fmla="*/ 5017071 w 6884782"/>
              <a:gd name="connsiteY39805" fmla="*/ 1983370 h 5973007"/>
              <a:gd name="connsiteX39806" fmla="*/ 5029236 w 6884782"/>
              <a:gd name="connsiteY39806" fmla="*/ 1991764 h 5973007"/>
              <a:gd name="connsiteX39807" fmla="*/ 5027316 w 6884782"/>
              <a:gd name="connsiteY39807" fmla="*/ 1996459 h 5973007"/>
              <a:gd name="connsiteX39808" fmla="*/ 5013870 w 6884782"/>
              <a:gd name="connsiteY39808" fmla="*/ 1989772 h 5973007"/>
              <a:gd name="connsiteX39809" fmla="*/ 5017071 w 6884782"/>
              <a:gd name="connsiteY39809" fmla="*/ 1983370 h 5973007"/>
              <a:gd name="connsiteX39810" fmla="*/ 920013 w 6884782"/>
              <a:gd name="connsiteY39810" fmla="*/ 1983314 h 5973007"/>
              <a:gd name="connsiteX39811" fmla="*/ 928687 w 6884782"/>
              <a:gd name="connsiteY39811" fmla="*/ 1985018 h 5973007"/>
              <a:gd name="connsiteX39812" fmla="*/ 934469 w 6884782"/>
              <a:gd name="connsiteY39812" fmla="*/ 1996945 h 5973007"/>
              <a:gd name="connsiteX39813" fmla="*/ 934366 w 6884782"/>
              <a:gd name="connsiteY39813" fmla="*/ 1997100 h 5973007"/>
              <a:gd name="connsiteX39814" fmla="*/ 934366 w 6884782"/>
              <a:gd name="connsiteY39814" fmla="*/ 2002057 h 5973007"/>
              <a:gd name="connsiteX39815" fmla="*/ 932714 w 6884782"/>
              <a:gd name="connsiteY39815" fmla="*/ 2002831 h 5973007"/>
              <a:gd name="connsiteX39816" fmla="*/ 933540 w 6884782"/>
              <a:gd name="connsiteY39816" fmla="*/ 2005774 h 5973007"/>
              <a:gd name="connsiteX39817" fmla="*/ 927138 w 6884782"/>
              <a:gd name="connsiteY39817" fmla="*/ 2007633 h 5973007"/>
              <a:gd name="connsiteX39818" fmla="*/ 931991 w 6884782"/>
              <a:gd name="connsiteY39818" fmla="*/ 2017856 h 5973007"/>
              <a:gd name="connsiteX39819" fmla="*/ 931371 w 6884782"/>
              <a:gd name="connsiteY39819" fmla="*/ 2020180 h 5973007"/>
              <a:gd name="connsiteX39820" fmla="*/ 931371 w 6884782"/>
              <a:gd name="connsiteY39820" fmla="*/ 2021419 h 5973007"/>
              <a:gd name="connsiteX39821" fmla="*/ 934263 w 6884782"/>
              <a:gd name="connsiteY39821" fmla="*/ 2013209 h 5973007"/>
              <a:gd name="connsiteX39822" fmla="*/ 940665 w 6884782"/>
              <a:gd name="connsiteY39822" fmla="*/ 2007323 h 5973007"/>
              <a:gd name="connsiteX39823" fmla="*/ 952849 w 6884782"/>
              <a:gd name="connsiteY39823" fmla="*/ 2006859 h 5973007"/>
              <a:gd name="connsiteX39824" fmla="*/ 953262 w 6884782"/>
              <a:gd name="connsiteY39824" fmla="*/ 2006704 h 5973007"/>
              <a:gd name="connsiteX39825" fmla="*/ 952952 w 6884782"/>
              <a:gd name="connsiteY39825" fmla="*/ 2006549 h 5973007"/>
              <a:gd name="connsiteX39826" fmla="*/ 953571 w 6884782"/>
              <a:gd name="connsiteY39826" fmla="*/ 2006084 h 5973007"/>
              <a:gd name="connsiteX39827" fmla="*/ 954397 w 6884782"/>
              <a:gd name="connsiteY39827" fmla="*/ 2005310 h 5973007"/>
              <a:gd name="connsiteX39828" fmla="*/ 954707 w 6884782"/>
              <a:gd name="connsiteY39828" fmla="*/ 2005155 h 5973007"/>
              <a:gd name="connsiteX39829" fmla="*/ 955740 w 6884782"/>
              <a:gd name="connsiteY39829" fmla="*/ 2005774 h 5973007"/>
              <a:gd name="connsiteX39830" fmla="*/ 957186 w 6884782"/>
              <a:gd name="connsiteY39830" fmla="*/ 2005155 h 5973007"/>
              <a:gd name="connsiteX39831" fmla="*/ 961832 w 6884782"/>
              <a:gd name="connsiteY39831" fmla="*/ 2003761 h 5973007"/>
              <a:gd name="connsiteX39832" fmla="*/ 973190 w 6884782"/>
              <a:gd name="connsiteY39832" fmla="*/ 2008872 h 5973007"/>
              <a:gd name="connsiteX39833" fmla="*/ 976495 w 6884782"/>
              <a:gd name="connsiteY39833" fmla="*/ 2011041 h 5973007"/>
              <a:gd name="connsiteX39834" fmla="*/ 979489 w 6884782"/>
              <a:gd name="connsiteY39834" fmla="*/ 2012590 h 5973007"/>
              <a:gd name="connsiteX39835" fmla="*/ 979798 w 6884782"/>
              <a:gd name="connsiteY39835" fmla="*/ 2012745 h 5973007"/>
              <a:gd name="connsiteX39836" fmla="*/ 986923 w 6884782"/>
              <a:gd name="connsiteY39836" fmla="*/ 2013829 h 5973007"/>
              <a:gd name="connsiteX39837" fmla="*/ 992809 w 6884782"/>
              <a:gd name="connsiteY39837" fmla="*/ 2018011 h 5973007"/>
              <a:gd name="connsiteX39838" fmla="*/ 994874 w 6884782"/>
              <a:gd name="connsiteY39838" fmla="*/ 2025136 h 5973007"/>
              <a:gd name="connsiteX39839" fmla="*/ 993635 w 6884782"/>
              <a:gd name="connsiteY39839" fmla="*/ 2027615 h 5973007"/>
              <a:gd name="connsiteX39840" fmla="*/ 997662 w 6884782"/>
              <a:gd name="connsiteY39840" fmla="*/ 2037373 h 5973007"/>
              <a:gd name="connsiteX39841" fmla="*/ 997662 w 6884782"/>
              <a:gd name="connsiteY39841" fmla="*/ 2037683 h 5973007"/>
              <a:gd name="connsiteX39842" fmla="*/ 998694 w 6884782"/>
              <a:gd name="connsiteY39842" fmla="*/ 2038922 h 5973007"/>
              <a:gd name="connsiteX39843" fmla="*/ 1000346 w 6884782"/>
              <a:gd name="connsiteY39843" fmla="*/ 2038303 h 5973007"/>
              <a:gd name="connsiteX39844" fmla="*/ 1008297 w 6884782"/>
              <a:gd name="connsiteY39844" fmla="*/ 2030713 h 5973007"/>
              <a:gd name="connsiteX39845" fmla="*/ 1008400 w 6884782"/>
              <a:gd name="connsiteY39845" fmla="*/ 2036134 h 5973007"/>
              <a:gd name="connsiteX39846" fmla="*/ 1009640 w 6884782"/>
              <a:gd name="connsiteY39846" fmla="*/ 2035669 h 5973007"/>
              <a:gd name="connsiteX39847" fmla="*/ 1017900 w 6884782"/>
              <a:gd name="connsiteY39847" fmla="*/ 2034275 h 5973007"/>
              <a:gd name="connsiteX39848" fmla="*/ 1022753 w 6884782"/>
              <a:gd name="connsiteY39848" fmla="*/ 2034275 h 5973007"/>
              <a:gd name="connsiteX39849" fmla="*/ 1021307 w 6884782"/>
              <a:gd name="connsiteY39849" fmla="*/ 2032572 h 5973007"/>
              <a:gd name="connsiteX39850" fmla="*/ 1019759 w 6884782"/>
              <a:gd name="connsiteY39850" fmla="*/ 2025601 h 5973007"/>
              <a:gd name="connsiteX39851" fmla="*/ 1027710 w 6884782"/>
              <a:gd name="connsiteY39851" fmla="*/ 2025291 h 5973007"/>
              <a:gd name="connsiteX39852" fmla="*/ 1030601 w 6884782"/>
              <a:gd name="connsiteY39852" fmla="*/ 2029164 h 5973007"/>
              <a:gd name="connsiteX39853" fmla="*/ 1030291 w 6884782"/>
              <a:gd name="connsiteY39853" fmla="*/ 2032572 h 5973007"/>
              <a:gd name="connsiteX39854" fmla="*/ 1030291 w 6884782"/>
              <a:gd name="connsiteY39854" fmla="*/ 2034430 h 5973007"/>
              <a:gd name="connsiteX39855" fmla="*/ 1044540 w 6884782"/>
              <a:gd name="connsiteY39855" fmla="*/ 2034895 h 5973007"/>
              <a:gd name="connsiteX39856" fmla="*/ 1042475 w 6884782"/>
              <a:gd name="connsiteY39856" fmla="*/ 2044189 h 5973007"/>
              <a:gd name="connsiteX39857" fmla="*/ 1020069 w 6884782"/>
              <a:gd name="connsiteY39857" fmla="*/ 2042175 h 5973007"/>
              <a:gd name="connsiteX39858" fmla="*/ 1008607 w 6884782"/>
              <a:gd name="connsiteY39858" fmla="*/ 2041091 h 5973007"/>
              <a:gd name="connsiteX39859" fmla="*/ 1008607 w 6884782"/>
              <a:gd name="connsiteY39859" fmla="*/ 2044498 h 5973007"/>
              <a:gd name="connsiteX39860" fmla="*/ 1004890 w 6884782"/>
              <a:gd name="connsiteY39860" fmla="*/ 2055961 h 5973007"/>
              <a:gd name="connsiteX39861" fmla="*/ 1002721 w 6884782"/>
              <a:gd name="connsiteY39861" fmla="*/ 2058904 h 5973007"/>
              <a:gd name="connsiteX39862" fmla="*/ 1003134 w 6884782"/>
              <a:gd name="connsiteY39862" fmla="*/ 2060453 h 5973007"/>
              <a:gd name="connsiteX39863" fmla="*/ 1003031 w 6884782"/>
              <a:gd name="connsiteY39863" fmla="*/ 2061692 h 5973007"/>
              <a:gd name="connsiteX39864" fmla="*/ 1003341 w 6884782"/>
              <a:gd name="connsiteY39864" fmla="*/ 2062002 h 5973007"/>
              <a:gd name="connsiteX39865" fmla="*/ 1003857 w 6884782"/>
              <a:gd name="connsiteY39865" fmla="*/ 2063086 h 5973007"/>
              <a:gd name="connsiteX39866" fmla="*/ 1003031 w 6884782"/>
              <a:gd name="connsiteY39866" fmla="*/ 2062931 h 5973007"/>
              <a:gd name="connsiteX39867" fmla="*/ 1002928 w 6884782"/>
              <a:gd name="connsiteY39867" fmla="*/ 2062931 h 5973007"/>
              <a:gd name="connsiteX39868" fmla="*/ 1002618 w 6884782"/>
              <a:gd name="connsiteY39868" fmla="*/ 2065409 h 5973007"/>
              <a:gd name="connsiteX39869" fmla="*/ 996423 w 6884782"/>
              <a:gd name="connsiteY39869" fmla="*/ 2062931 h 5973007"/>
              <a:gd name="connsiteX39870" fmla="*/ 990950 w 6884782"/>
              <a:gd name="connsiteY39870" fmla="*/ 2059368 h 5973007"/>
              <a:gd name="connsiteX39871" fmla="*/ 995287 w 6884782"/>
              <a:gd name="connsiteY39871" fmla="*/ 2058904 h 5973007"/>
              <a:gd name="connsiteX39872" fmla="*/ 994461 w 6884782"/>
              <a:gd name="connsiteY39872" fmla="*/ 2057200 h 5973007"/>
              <a:gd name="connsiteX39873" fmla="*/ 997042 w 6884782"/>
              <a:gd name="connsiteY39873" fmla="*/ 2056580 h 5973007"/>
              <a:gd name="connsiteX39874" fmla="*/ 996836 w 6884782"/>
              <a:gd name="connsiteY39874" fmla="*/ 2055186 h 5973007"/>
              <a:gd name="connsiteX39875" fmla="*/ 997662 w 6884782"/>
              <a:gd name="connsiteY39875" fmla="*/ 2049765 h 5973007"/>
              <a:gd name="connsiteX39876" fmla="*/ 996216 w 6884782"/>
              <a:gd name="connsiteY39876" fmla="*/ 2049765 h 5973007"/>
              <a:gd name="connsiteX39877" fmla="*/ 994668 w 6884782"/>
              <a:gd name="connsiteY39877" fmla="*/ 2053637 h 5973007"/>
              <a:gd name="connsiteX39878" fmla="*/ 990950 w 6884782"/>
              <a:gd name="connsiteY39878" fmla="*/ 2059368 h 5973007"/>
              <a:gd name="connsiteX39879" fmla="*/ 990227 w 6884782"/>
              <a:gd name="connsiteY39879" fmla="*/ 2060453 h 5973007"/>
              <a:gd name="connsiteX39880" fmla="*/ 985994 w 6884782"/>
              <a:gd name="connsiteY39880" fmla="*/ 2068507 h 5973007"/>
              <a:gd name="connsiteX39881" fmla="*/ 967201 w 6884782"/>
              <a:gd name="connsiteY39881" fmla="*/ 2074548 h 5973007"/>
              <a:gd name="connsiteX39882" fmla="*/ 941594 w 6884782"/>
              <a:gd name="connsiteY39882" fmla="*/ 2065719 h 5973007"/>
              <a:gd name="connsiteX39883" fmla="*/ 925899 w 6884782"/>
              <a:gd name="connsiteY39883" fmla="*/ 2038768 h 5973007"/>
              <a:gd name="connsiteX39884" fmla="*/ 929306 w 6884782"/>
              <a:gd name="connsiteY39884" fmla="*/ 2030868 h 5973007"/>
              <a:gd name="connsiteX39885" fmla="*/ 930752 w 6884782"/>
              <a:gd name="connsiteY39885" fmla="*/ 2024207 h 5973007"/>
              <a:gd name="connsiteX39886" fmla="*/ 926931 w 6884782"/>
              <a:gd name="connsiteY39886" fmla="*/ 2025291 h 5973007"/>
              <a:gd name="connsiteX39887" fmla="*/ 920426 w 6884782"/>
              <a:gd name="connsiteY39887" fmla="*/ 2026531 h 5973007"/>
              <a:gd name="connsiteX39888" fmla="*/ 910617 w 6884782"/>
              <a:gd name="connsiteY39888" fmla="*/ 2016617 h 5973007"/>
              <a:gd name="connsiteX39889" fmla="*/ 911236 w 6884782"/>
              <a:gd name="connsiteY39889" fmla="*/ 2015688 h 5973007"/>
              <a:gd name="connsiteX39890" fmla="*/ 912062 w 6884782"/>
              <a:gd name="connsiteY39890" fmla="*/ 2013984 h 5973007"/>
              <a:gd name="connsiteX39891" fmla="*/ 910927 w 6884782"/>
              <a:gd name="connsiteY39891" fmla="*/ 2011350 h 5973007"/>
              <a:gd name="connsiteX39892" fmla="*/ 912269 w 6884782"/>
              <a:gd name="connsiteY39892" fmla="*/ 2008872 h 5973007"/>
              <a:gd name="connsiteX39893" fmla="*/ 916606 w 6884782"/>
              <a:gd name="connsiteY39893" fmla="*/ 2007478 h 5973007"/>
              <a:gd name="connsiteX39894" fmla="*/ 917329 w 6884782"/>
              <a:gd name="connsiteY39894" fmla="*/ 2008098 h 5973007"/>
              <a:gd name="connsiteX39895" fmla="*/ 922492 w 6884782"/>
              <a:gd name="connsiteY39895" fmla="*/ 2006704 h 5973007"/>
              <a:gd name="connsiteX39896" fmla="*/ 925692 w 6884782"/>
              <a:gd name="connsiteY39896" fmla="*/ 2007169 h 5973007"/>
              <a:gd name="connsiteX39897" fmla="*/ 920736 w 6884782"/>
              <a:gd name="connsiteY39897" fmla="*/ 2005929 h 5973007"/>
              <a:gd name="connsiteX39898" fmla="*/ 918981 w 6884782"/>
              <a:gd name="connsiteY39898" fmla="*/ 2005155 h 5973007"/>
              <a:gd name="connsiteX39899" fmla="*/ 918981 w 6884782"/>
              <a:gd name="connsiteY39899" fmla="*/ 2006084 h 5973007"/>
              <a:gd name="connsiteX39900" fmla="*/ 918051 w 6884782"/>
              <a:gd name="connsiteY39900" fmla="*/ 2005155 h 5973007"/>
              <a:gd name="connsiteX39901" fmla="*/ 917845 w 6884782"/>
              <a:gd name="connsiteY39901" fmla="*/ 2005000 h 5973007"/>
              <a:gd name="connsiteX39902" fmla="*/ 917019 w 6884782"/>
              <a:gd name="connsiteY39902" fmla="*/ 2005000 h 5973007"/>
              <a:gd name="connsiteX39903" fmla="*/ 914127 w 6884782"/>
              <a:gd name="connsiteY39903" fmla="*/ 2002521 h 5973007"/>
              <a:gd name="connsiteX39904" fmla="*/ 914231 w 6884782"/>
              <a:gd name="connsiteY39904" fmla="*/ 2001747 h 5973007"/>
              <a:gd name="connsiteX39905" fmla="*/ 909378 w 6884782"/>
              <a:gd name="connsiteY39905" fmla="*/ 2001902 h 5973007"/>
              <a:gd name="connsiteX39906" fmla="*/ 908035 w 6884782"/>
              <a:gd name="connsiteY39906" fmla="*/ 2001592 h 5973007"/>
              <a:gd name="connsiteX39907" fmla="*/ 907622 w 6884782"/>
              <a:gd name="connsiteY39907" fmla="*/ 2002057 h 5973007"/>
              <a:gd name="connsiteX39908" fmla="*/ 906899 w 6884782"/>
              <a:gd name="connsiteY39908" fmla="*/ 2001437 h 5973007"/>
              <a:gd name="connsiteX39909" fmla="*/ 902563 w 6884782"/>
              <a:gd name="connsiteY39909" fmla="*/ 2000663 h 5973007"/>
              <a:gd name="connsiteX39910" fmla="*/ 899259 w 6884782"/>
              <a:gd name="connsiteY39910" fmla="*/ 1996945 h 5973007"/>
              <a:gd name="connsiteX39911" fmla="*/ 905041 w 6884782"/>
              <a:gd name="connsiteY39911" fmla="*/ 1996171 h 5973007"/>
              <a:gd name="connsiteX39912" fmla="*/ 905454 w 6884782"/>
              <a:gd name="connsiteY39912" fmla="*/ 1995861 h 5973007"/>
              <a:gd name="connsiteX39913" fmla="*/ 905764 w 6884782"/>
              <a:gd name="connsiteY39913" fmla="*/ 1996016 h 5973007"/>
              <a:gd name="connsiteX39914" fmla="*/ 912682 w 6884782"/>
              <a:gd name="connsiteY39914" fmla="*/ 1995396 h 5973007"/>
              <a:gd name="connsiteX39915" fmla="*/ 919187 w 6884782"/>
              <a:gd name="connsiteY39915" fmla="*/ 1996481 h 5973007"/>
              <a:gd name="connsiteX39916" fmla="*/ 919394 w 6884782"/>
              <a:gd name="connsiteY39916" fmla="*/ 1995551 h 5973007"/>
              <a:gd name="connsiteX39917" fmla="*/ 920013 w 6884782"/>
              <a:gd name="connsiteY39917" fmla="*/ 1983314 h 5973007"/>
              <a:gd name="connsiteX39918" fmla="*/ 4949844 w 6884782"/>
              <a:gd name="connsiteY39918" fmla="*/ 1983086 h 5973007"/>
              <a:gd name="connsiteX39919" fmla="*/ 4959448 w 6884782"/>
              <a:gd name="connsiteY39919" fmla="*/ 1993898 h 5973007"/>
              <a:gd name="connsiteX39920" fmla="*/ 4947283 w 6884782"/>
              <a:gd name="connsiteY39920" fmla="*/ 1997455 h 5973007"/>
              <a:gd name="connsiteX39921" fmla="*/ 4949844 w 6884782"/>
              <a:gd name="connsiteY39921" fmla="*/ 1983086 h 5973007"/>
              <a:gd name="connsiteX39922" fmla="*/ 1062817 w 6884782"/>
              <a:gd name="connsiteY39922" fmla="*/ 1983005 h 5973007"/>
              <a:gd name="connsiteX39923" fmla="*/ 1067876 w 6884782"/>
              <a:gd name="connsiteY39923" fmla="*/ 1984089 h 5973007"/>
              <a:gd name="connsiteX39924" fmla="*/ 1058480 w 6884782"/>
              <a:gd name="connsiteY39924" fmla="*/ 1990285 h 5973007"/>
              <a:gd name="connsiteX39925" fmla="*/ 1058686 w 6884782"/>
              <a:gd name="connsiteY39925" fmla="*/ 1985018 h 5973007"/>
              <a:gd name="connsiteX39926" fmla="*/ 1062817 w 6884782"/>
              <a:gd name="connsiteY39926" fmla="*/ 1983005 h 5973007"/>
              <a:gd name="connsiteX39927" fmla="*/ 720212 w 6884782"/>
              <a:gd name="connsiteY39927" fmla="*/ 1983005 h 5973007"/>
              <a:gd name="connsiteX39928" fmla="*/ 722071 w 6884782"/>
              <a:gd name="connsiteY39928" fmla="*/ 1983779 h 5973007"/>
              <a:gd name="connsiteX39929" fmla="*/ 727027 w 6884782"/>
              <a:gd name="connsiteY39929" fmla="*/ 1999114 h 5973007"/>
              <a:gd name="connsiteX39930" fmla="*/ 719180 w 6884782"/>
              <a:gd name="connsiteY39930" fmla="*/ 1996636 h 5973007"/>
              <a:gd name="connsiteX39931" fmla="*/ 717424 w 6884782"/>
              <a:gd name="connsiteY39931" fmla="*/ 1993538 h 5973007"/>
              <a:gd name="connsiteX39932" fmla="*/ 717631 w 6884782"/>
              <a:gd name="connsiteY39932" fmla="*/ 1989820 h 5973007"/>
              <a:gd name="connsiteX39933" fmla="*/ 717012 w 6884782"/>
              <a:gd name="connsiteY39933" fmla="*/ 1986877 h 5973007"/>
              <a:gd name="connsiteX39934" fmla="*/ 717734 w 6884782"/>
              <a:gd name="connsiteY39934" fmla="*/ 1984089 h 5973007"/>
              <a:gd name="connsiteX39935" fmla="*/ 720212 w 6884782"/>
              <a:gd name="connsiteY39935" fmla="*/ 1983005 h 5973007"/>
              <a:gd name="connsiteX39936" fmla="*/ 1503204 w 6884782"/>
              <a:gd name="connsiteY39936" fmla="*/ 1982695 h 5973007"/>
              <a:gd name="connsiteX39937" fmla="*/ 1505166 w 6884782"/>
              <a:gd name="connsiteY39937" fmla="*/ 1985793 h 5973007"/>
              <a:gd name="connsiteX39938" fmla="*/ 1503411 w 6884782"/>
              <a:gd name="connsiteY39938" fmla="*/ 1987651 h 5973007"/>
              <a:gd name="connsiteX39939" fmla="*/ 1502895 w 6884782"/>
              <a:gd name="connsiteY39939" fmla="*/ 1985018 h 5973007"/>
              <a:gd name="connsiteX39940" fmla="*/ 1503204 w 6884782"/>
              <a:gd name="connsiteY39940" fmla="*/ 1982695 h 5973007"/>
              <a:gd name="connsiteX39941" fmla="*/ 5424277 w 6884782"/>
              <a:gd name="connsiteY39941" fmla="*/ 1982089 h 5973007"/>
              <a:gd name="connsiteX39942" fmla="*/ 5437081 w 6884782"/>
              <a:gd name="connsiteY39942" fmla="*/ 1985362 h 5973007"/>
              <a:gd name="connsiteX39943" fmla="*/ 5424277 w 6884782"/>
              <a:gd name="connsiteY39943" fmla="*/ 1982089 h 5973007"/>
              <a:gd name="connsiteX39944" fmla="*/ 1181045 w 6884782"/>
              <a:gd name="connsiteY39944" fmla="*/ 1981920 h 5973007"/>
              <a:gd name="connsiteX39945" fmla="*/ 1182387 w 6884782"/>
              <a:gd name="connsiteY39945" fmla="*/ 1982230 h 5973007"/>
              <a:gd name="connsiteX39946" fmla="*/ 1180632 w 6884782"/>
              <a:gd name="connsiteY39946" fmla="*/ 1984553 h 5973007"/>
              <a:gd name="connsiteX39947" fmla="*/ 1179702 w 6884782"/>
              <a:gd name="connsiteY39947" fmla="*/ 1983624 h 5973007"/>
              <a:gd name="connsiteX39948" fmla="*/ 1179702 w 6884782"/>
              <a:gd name="connsiteY39948" fmla="*/ 1984399 h 5973007"/>
              <a:gd name="connsiteX39949" fmla="*/ 1179393 w 6884782"/>
              <a:gd name="connsiteY39949" fmla="*/ 1983314 h 5973007"/>
              <a:gd name="connsiteX39950" fmla="*/ 1179702 w 6884782"/>
              <a:gd name="connsiteY39950" fmla="*/ 1982849 h 5973007"/>
              <a:gd name="connsiteX39951" fmla="*/ 1181045 w 6884782"/>
              <a:gd name="connsiteY39951" fmla="*/ 1981920 h 5973007"/>
              <a:gd name="connsiteX39952" fmla="*/ 5285340 w 6884782"/>
              <a:gd name="connsiteY39952" fmla="*/ 1980809 h 5973007"/>
              <a:gd name="connsiteX39953" fmla="*/ 5289608 w 6884782"/>
              <a:gd name="connsiteY39953" fmla="*/ 1980952 h 5973007"/>
              <a:gd name="connsiteX39954" fmla="*/ 5295371 w 6884782"/>
              <a:gd name="connsiteY39954" fmla="*/ 1983654 h 5973007"/>
              <a:gd name="connsiteX39955" fmla="*/ 5298999 w 6884782"/>
              <a:gd name="connsiteY39955" fmla="*/ 1983370 h 5973007"/>
              <a:gd name="connsiteX39956" fmla="*/ 5299426 w 6884782"/>
              <a:gd name="connsiteY39956" fmla="*/ 1984508 h 5973007"/>
              <a:gd name="connsiteX39957" fmla="*/ 5285340 w 6884782"/>
              <a:gd name="connsiteY39957" fmla="*/ 1987781 h 5973007"/>
              <a:gd name="connsiteX39958" fmla="*/ 5283632 w 6884782"/>
              <a:gd name="connsiteY39958" fmla="*/ 1986500 h 5973007"/>
              <a:gd name="connsiteX39959" fmla="*/ 5284059 w 6884782"/>
              <a:gd name="connsiteY39959" fmla="*/ 1983228 h 5973007"/>
              <a:gd name="connsiteX39960" fmla="*/ 5285340 w 6884782"/>
              <a:gd name="connsiteY39960" fmla="*/ 1980809 h 5973007"/>
              <a:gd name="connsiteX39961" fmla="*/ 1501965 w 6884782"/>
              <a:gd name="connsiteY39961" fmla="*/ 1980526 h 5973007"/>
              <a:gd name="connsiteX39962" fmla="*/ 1502998 w 6884782"/>
              <a:gd name="connsiteY39962" fmla="*/ 1982230 h 5973007"/>
              <a:gd name="connsiteX39963" fmla="*/ 1502275 w 6884782"/>
              <a:gd name="connsiteY39963" fmla="*/ 1982540 h 5973007"/>
              <a:gd name="connsiteX39964" fmla="*/ 1501656 w 6884782"/>
              <a:gd name="connsiteY39964" fmla="*/ 1981456 h 5973007"/>
              <a:gd name="connsiteX39965" fmla="*/ 1501965 w 6884782"/>
              <a:gd name="connsiteY39965" fmla="*/ 1980526 h 5973007"/>
              <a:gd name="connsiteX39966" fmla="*/ 4820512 w 6884782"/>
              <a:gd name="connsiteY39966" fmla="*/ 1980240 h 5973007"/>
              <a:gd name="connsiteX39967" fmla="*/ 4839293 w 6884782"/>
              <a:gd name="connsiteY39967" fmla="*/ 1989630 h 5973007"/>
              <a:gd name="connsiteX39968" fmla="*/ 4840360 w 6884782"/>
              <a:gd name="connsiteY39968" fmla="*/ 1992760 h 5973007"/>
              <a:gd name="connsiteX39969" fmla="*/ 4843348 w 6884782"/>
              <a:gd name="connsiteY39969" fmla="*/ 1994467 h 5973007"/>
              <a:gd name="connsiteX39970" fmla="*/ 4850390 w 6884782"/>
              <a:gd name="connsiteY39970" fmla="*/ 2005279 h 5973007"/>
              <a:gd name="connsiteX39971" fmla="*/ 4842067 w 6884782"/>
              <a:gd name="connsiteY39971" fmla="*/ 2011682 h 5973007"/>
              <a:gd name="connsiteX39972" fmla="*/ 4840573 w 6884782"/>
              <a:gd name="connsiteY39972" fmla="*/ 2012250 h 5973007"/>
              <a:gd name="connsiteX39973" fmla="*/ 4836518 w 6884782"/>
              <a:gd name="connsiteY39973" fmla="*/ 2023348 h 5973007"/>
              <a:gd name="connsiteX39974" fmla="*/ 4830543 w 6884782"/>
              <a:gd name="connsiteY39974" fmla="*/ 2040705 h 5973007"/>
              <a:gd name="connsiteX39975" fmla="*/ 4817097 w 6884782"/>
              <a:gd name="connsiteY39975" fmla="*/ 2031172 h 5973007"/>
              <a:gd name="connsiteX39976" fmla="*/ 4811335 w 6884782"/>
              <a:gd name="connsiteY39976" fmla="*/ 2029750 h 5973007"/>
              <a:gd name="connsiteX39977" fmla="*/ 4810908 w 6884782"/>
              <a:gd name="connsiteY39977" fmla="*/ 2030888 h 5973007"/>
              <a:gd name="connsiteX39978" fmla="*/ 4811335 w 6884782"/>
              <a:gd name="connsiteY39978" fmla="*/ 2031030 h 5973007"/>
              <a:gd name="connsiteX39979" fmla="*/ 4805786 w 6884782"/>
              <a:gd name="connsiteY39979" fmla="*/ 2037859 h 5973007"/>
              <a:gd name="connsiteX39980" fmla="*/ 4801518 w 6884782"/>
              <a:gd name="connsiteY39980" fmla="*/ 2026905 h 5973007"/>
              <a:gd name="connsiteX39981" fmla="*/ 4801731 w 6884782"/>
              <a:gd name="connsiteY39981" fmla="*/ 2026335 h 5973007"/>
              <a:gd name="connsiteX39982" fmla="*/ 4797890 w 6884782"/>
              <a:gd name="connsiteY39982" fmla="*/ 2023490 h 5973007"/>
              <a:gd name="connsiteX39983" fmla="*/ 4795115 w 6884782"/>
              <a:gd name="connsiteY39983" fmla="*/ 2018795 h 5973007"/>
              <a:gd name="connsiteX39984" fmla="*/ 4793834 w 6884782"/>
              <a:gd name="connsiteY39984" fmla="*/ 2012250 h 5973007"/>
              <a:gd name="connsiteX39985" fmla="*/ 4791060 w 6884782"/>
              <a:gd name="connsiteY39985" fmla="*/ 2011397 h 5973007"/>
              <a:gd name="connsiteX39986" fmla="*/ 4797035 w 6884782"/>
              <a:gd name="connsiteY39986" fmla="*/ 1994467 h 5973007"/>
              <a:gd name="connsiteX39987" fmla="*/ 4797890 w 6884782"/>
              <a:gd name="connsiteY39987" fmla="*/ 1994894 h 5973007"/>
              <a:gd name="connsiteX39988" fmla="*/ 4802158 w 6884782"/>
              <a:gd name="connsiteY39988" fmla="*/ 1989061 h 5973007"/>
              <a:gd name="connsiteX39989" fmla="*/ 4820512 w 6884782"/>
              <a:gd name="connsiteY39989" fmla="*/ 1980240 h 5973007"/>
              <a:gd name="connsiteX39990" fmla="*/ 5396959 w 6884782"/>
              <a:gd name="connsiteY39990" fmla="*/ 1979956 h 5973007"/>
              <a:gd name="connsiteX39991" fmla="*/ 5406136 w 6884782"/>
              <a:gd name="connsiteY39991" fmla="*/ 1982659 h 5973007"/>
              <a:gd name="connsiteX39992" fmla="*/ 5412751 w 6884782"/>
              <a:gd name="connsiteY39992" fmla="*/ 1988492 h 5973007"/>
              <a:gd name="connsiteX39993" fmla="*/ 5413392 w 6884782"/>
              <a:gd name="connsiteY39993" fmla="*/ 1987781 h 5973007"/>
              <a:gd name="connsiteX39994" fmla="*/ 5414886 w 6884782"/>
              <a:gd name="connsiteY39994" fmla="*/ 1989915 h 5973007"/>
              <a:gd name="connsiteX39995" fmla="*/ 5414459 w 6884782"/>
              <a:gd name="connsiteY39995" fmla="*/ 1990910 h 5973007"/>
              <a:gd name="connsiteX39996" fmla="*/ 5417234 w 6884782"/>
              <a:gd name="connsiteY39996" fmla="*/ 1997313 h 5973007"/>
              <a:gd name="connsiteX39997" fmla="*/ 5414672 w 6884782"/>
              <a:gd name="connsiteY39997" fmla="*/ 2004141 h 5973007"/>
              <a:gd name="connsiteX39998" fmla="*/ 5409337 w 6884782"/>
              <a:gd name="connsiteY39998" fmla="*/ 2006418 h 5973007"/>
              <a:gd name="connsiteX39999" fmla="*/ 5396959 w 6884782"/>
              <a:gd name="connsiteY39999" fmla="*/ 1979956 h 5973007"/>
              <a:gd name="connsiteX40000" fmla="*/ 1034628 w 6884782"/>
              <a:gd name="connsiteY40000" fmla="*/ 1979906 h 5973007"/>
              <a:gd name="connsiteX40001" fmla="*/ 1034215 w 6884782"/>
              <a:gd name="connsiteY40001" fmla="*/ 1987342 h 5973007"/>
              <a:gd name="connsiteX40002" fmla="*/ 1031633 w 6884782"/>
              <a:gd name="connsiteY40002" fmla="*/ 1988271 h 5973007"/>
              <a:gd name="connsiteX40003" fmla="*/ 1028742 w 6884782"/>
              <a:gd name="connsiteY40003" fmla="*/ 1983314 h 5973007"/>
              <a:gd name="connsiteX40004" fmla="*/ 1030291 w 6884782"/>
              <a:gd name="connsiteY40004" fmla="*/ 1980836 h 5973007"/>
              <a:gd name="connsiteX40005" fmla="*/ 1034628 w 6884782"/>
              <a:gd name="connsiteY40005" fmla="*/ 1979906 h 5973007"/>
              <a:gd name="connsiteX40006" fmla="*/ 813556 w 6884782"/>
              <a:gd name="connsiteY40006" fmla="*/ 1979906 h 5973007"/>
              <a:gd name="connsiteX40007" fmla="*/ 817996 w 6884782"/>
              <a:gd name="connsiteY40007" fmla="*/ 1983779 h 5973007"/>
              <a:gd name="connsiteX40008" fmla="*/ 814072 w 6884782"/>
              <a:gd name="connsiteY40008" fmla="*/ 1986567 h 5973007"/>
              <a:gd name="connsiteX40009" fmla="*/ 810768 w 6884782"/>
              <a:gd name="connsiteY40009" fmla="*/ 1985483 h 5973007"/>
              <a:gd name="connsiteX40010" fmla="*/ 810871 w 6884782"/>
              <a:gd name="connsiteY40010" fmla="*/ 1986103 h 5973007"/>
              <a:gd name="connsiteX40011" fmla="*/ 810252 w 6884782"/>
              <a:gd name="connsiteY40011" fmla="*/ 1985948 h 5973007"/>
              <a:gd name="connsiteX40012" fmla="*/ 809219 w 6884782"/>
              <a:gd name="connsiteY40012" fmla="*/ 1989200 h 5973007"/>
              <a:gd name="connsiteX40013" fmla="*/ 805295 w 6884782"/>
              <a:gd name="connsiteY40013" fmla="*/ 1986722 h 5973007"/>
              <a:gd name="connsiteX40014" fmla="*/ 807877 w 6884782"/>
              <a:gd name="connsiteY40014" fmla="*/ 1984399 h 5973007"/>
              <a:gd name="connsiteX40015" fmla="*/ 809323 w 6884782"/>
              <a:gd name="connsiteY40015" fmla="*/ 1984863 h 5973007"/>
              <a:gd name="connsiteX40016" fmla="*/ 810665 w 6884782"/>
              <a:gd name="connsiteY40016" fmla="*/ 1985173 h 5973007"/>
              <a:gd name="connsiteX40017" fmla="*/ 811388 w 6884782"/>
              <a:gd name="connsiteY40017" fmla="*/ 1983779 h 5973007"/>
              <a:gd name="connsiteX40018" fmla="*/ 813556 w 6884782"/>
              <a:gd name="connsiteY40018" fmla="*/ 1979906 h 5973007"/>
              <a:gd name="connsiteX40019" fmla="*/ 5201679 w 6884782"/>
              <a:gd name="connsiteY40019" fmla="*/ 1979813 h 5973007"/>
              <a:gd name="connsiteX40020" fmla="*/ 5205735 w 6884782"/>
              <a:gd name="connsiteY40020" fmla="*/ 1982089 h 5973007"/>
              <a:gd name="connsiteX40021" fmla="*/ 5189728 w 6884782"/>
              <a:gd name="connsiteY40021" fmla="*/ 1992760 h 5973007"/>
              <a:gd name="connsiteX40022" fmla="*/ 5186953 w 6884782"/>
              <a:gd name="connsiteY40022" fmla="*/ 1986073 h 5973007"/>
              <a:gd name="connsiteX40023" fmla="*/ 5201679 w 6884782"/>
              <a:gd name="connsiteY40023" fmla="*/ 1979813 h 5973007"/>
              <a:gd name="connsiteX40024" fmla="*/ 4756486 w 6884782"/>
              <a:gd name="connsiteY40024" fmla="*/ 1979244 h 5973007"/>
              <a:gd name="connsiteX40025" fmla="*/ 4757766 w 6884782"/>
              <a:gd name="connsiteY40025" fmla="*/ 1983940 h 5973007"/>
              <a:gd name="connsiteX40026" fmla="*/ 4756486 w 6884782"/>
              <a:gd name="connsiteY40026" fmla="*/ 1987354 h 5973007"/>
              <a:gd name="connsiteX40027" fmla="*/ 4764596 w 6884782"/>
              <a:gd name="connsiteY40027" fmla="*/ 1988918 h 5973007"/>
              <a:gd name="connsiteX40028" fmla="*/ 4770998 w 6884782"/>
              <a:gd name="connsiteY40028" fmla="*/ 1991622 h 5973007"/>
              <a:gd name="connsiteX40029" fmla="*/ 4771425 w 6884782"/>
              <a:gd name="connsiteY40029" fmla="*/ 1997028 h 5973007"/>
              <a:gd name="connsiteX40030" fmla="*/ 4754779 w 6884782"/>
              <a:gd name="connsiteY40030" fmla="*/ 1987069 h 5973007"/>
              <a:gd name="connsiteX40031" fmla="*/ 4753498 w 6884782"/>
              <a:gd name="connsiteY40031" fmla="*/ 1983797 h 5973007"/>
              <a:gd name="connsiteX40032" fmla="*/ 4756486 w 6884782"/>
              <a:gd name="connsiteY40032" fmla="*/ 1979244 h 5973007"/>
              <a:gd name="connsiteX40033" fmla="*/ 5580286 w 6884782"/>
              <a:gd name="connsiteY40033" fmla="*/ 1979102 h 5973007"/>
              <a:gd name="connsiteX40034" fmla="*/ 5584554 w 6884782"/>
              <a:gd name="connsiteY40034" fmla="*/ 1982943 h 5973007"/>
              <a:gd name="connsiteX40035" fmla="*/ 5586049 w 6884782"/>
              <a:gd name="connsiteY40035" fmla="*/ 1984935 h 5973007"/>
              <a:gd name="connsiteX40036" fmla="*/ 5584768 w 6884782"/>
              <a:gd name="connsiteY40036" fmla="*/ 1986643 h 5973007"/>
              <a:gd name="connsiteX40037" fmla="*/ 5585195 w 6884782"/>
              <a:gd name="connsiteY40037" fmla="*/ 1986500 h 5973007"/>
              <a:gd name="connsiteX40038" fmla="*/ 5591170 w 6884782"/>
              <a:gd name="connsiteY40038" fmla="*/ 1986784 h 5973007"/>
              <a:gd name="connsiteX40039" fmla="*/ 5591384 w 6884782"/>
              <a:gd name="connsiteY40039" fmla="*/ 1986643 h 5973007"/>
              <a:gd name="connsiteX40040" fmla="*/ 5593091 w 6884782"/>
              <a:gd name="connsiteY40040" fmla="*/ 1986358 h 5973007"/>
              <a:gd name="connsiteX40041" fmla="*/ 5592878 w 6884782"/>
              <a:gd name="connsiteY40041" fmla="*/ 1986784 h 5973007"/>
              <a:gd name="connsiteX40042" fmla="*/ 5592878 w 6884782"/>
              <a:gd name="connsiteY40042" fmla="*/ 1986927 h 5973007"/>
              <a:gd name="connsiteX40043" fmla="*/ 5592238 w 6884782"/>
              <a:gd name="connsiteY40043" fmla="*/ 1988777 h 5973007"/>
              <a:gd name="connsiteX40044" fmla="*/ 5591811 w 6884782"/>
              <a:gd name="connsiteY40044" fmla="*/ 1989488 h 5973007"/>
              <a:gd name="connsiteX40045" fmla="*/ 5590530 w 6884782"/>
              <a:gd name="connsiteY40045" fmla="*/ 1992190 h 5973007"/>
              <a:gd name="connsiteX40046" fmla="*/ 5590744 w 6884782"/>
              <a:gd name="connsiteY40046" fmla="*/ 1993613 h 5973007"/>
              <a:gd name="connsiteX40047" fmla="*/ 5588396 w 6884782"/>
              <a:gd name="connsiteY40047" fmla="*/ 1997455 h 5973007"/>
              <a:gd name="connsiteX40048" fmla="*/ 5587329 w 6884782"/>
              <a:gd name="connsiteY40048" fmla="*/ 2003430 h 5973007"/>
              <a:gd name="connsiteX40049" fmla="*/ 5589250 w 6884782"/>
              <a:gd name="connsiteY40049" fmla="*/ 2003430 h 5973007"/>
              <a:gd name="connsiteX40050" fmla="*/ 5592665 w 6884782"/>
              <a:gd name="connsiteY40050" fmla="*/ 2005564 h 5973007"/>
              <a:gd name="connsiteX40051" fmla="*/ 5594158 w 6884782"/>
              <a:gd name="connsiteY40051" fmla="*/ 2008125 h 5973007"/>
              <a:gd name="connsiteX40052" fmla="*/ 5594158 w 6884782"/>
              <a:gd name="connsiteY40052" fmla="*/ 2005849 h 5973007"/>
              <a:gd name="connsiteX40053" fmla="*/ 5598853 w 6884782"/>
              <a:gd name="connsiteY40053" fmla="*/ 2007698 h 5973007"/>
              <a:gd name="connsiteX40054" fmla="*/ 5599921 w 6884782"/>
              <a:gd name="connsiteY40054" fmla="*/ 2011539 h 5973007"/>
              <a:gd name="connsiteX40055" fmla="*/ 5598640 w 6884782"/>
              <a:gd name="connsiteY40055" fmla="*/ 2011397 h 5973007"/>
              <a:gd name="connsiteX40056" fmla="*/ 5594799 w 6884782"/>
              <a:gd name="connsiteY40056" fmla="*/ 2011682 h 5973007"/>
              <a:gd name="connsiteX40057" fmla="*/ 5595225 w 6884782"/>
              <a:gd name="connsiteY40057" fmla="*/ 2015807 h 5973007"/>
              <a:gd name="connsiteX40058" fmla="*/ 5594372 w 6884782"/>
              <a:gd name="connsiteY40058" fmla="*/ 2017942 h 5973007"/>
              <a:gd name="connsiteX40059" fmla="*/ 5595012 w 6884782"/>
              <a:gd name="connsiteY40059" fmla="*/ 2019791 h 5973007"/>
              <a:gd name="connsiteX40060" fmla="*/ 5602268 w 6884782"/>
              <a:gd name="connsiteY40060" fmla="*/ 2017942 h 5973007"/>
              <a:gd name="connsiteX40061" fmla="*/ 5610592 w 6884782"/>
              <a:gd name="connsiteY40061" fmla="*/ 2016945 h 5973007"/>
              <a:gd name="connsiteX40062" fmla="*/ 5611019 w 6884782"/>
              <a:gd name="connsiteY40062" fmla="*/ 2017088 h 5973007"/>
              <a:gd name="connsiteX40063" fmla="*/ 5611019 w 6884782"/>
              <a:gd name="connsiteY40063" fmla="*/ 2016661 h 5973007"/>
              <a:gd name="connsiteX40064" fmla="*/ 5611445 w 6884782"/>
              <a:gd name="connsiteY40064" fmla="*/ 2017230 h 5973007"/>
              <a:gd name="connsiteX40065" fmla="*/ 5613580 w 6884782"/>
              <a:gd name="connsiteY40065" fmla="*/ 2017942 h 5973007"/>
              <a:gd name="connsiteX40066" fmla="*/ 5610592 w 6884782"/>
              <a:gd name="connsiteY40066" fmla="*/ 2020502 h 5973007"/>
              <a:gd name="connsiteX40067" fmla="*/ 5609098 w 6884782"/>
              <a:gd name="connsiteY40067" fmla="*/ 2020929 h 5973007"/>
              <a:gd name="connsiteX40068" fmla="*/ 5608244 w 6884782"/>
              <a:gd name="connsiteY40068" fmla="*/ 2022067 h 5973007"/>
              <a:gd name="connsiteX40069" fmla="*/ 5607391 w 6884782"/>
              <a:gd name="connsiteY40069" fmla="*/ 2021498 h 5973007"/>
              <a:gd name="connsiteX40070" fmla="*/ 5604189 w 6884782"/>
              <a:gd name="connsiteY40070" fmla="*/ 2022352 h 5973007"/>
              <a:gd name="connsiteX40071" fmla="*/ 5597360 w 6884782"/>
              <a:gd name="connsiteY40071" fmla="*/ 2026905 h 5973007"/>
              <a:gd name="connsiteX40072" fmla="*/ 5589037 w 6884782"/>
              <a:gd name="connsiteY40072" fmla="*/ 2027331 h 5973007"/>
              <a:gd name="connsiteX40073" fmla="*/ 5588610 w 6884782"/>
              <a:gd name="connsiteY40073" fmla="*/ 2024059 h 5973007"/>
              <a:gd name="connsiteX40074" fmla="*/ 5585195 w 6884782"/>
              <a:gd name="connsiteY40074" fmla="*/ 2025055 h 5973007"/>
              <a:gd name="connsiteX40075" fmla="*/ 5573883 w 6884782"/>
              <a:gd name="connsiteY40075" fmla="*/ 2016234 h 5973007"/>
              <a:gd name="connsiteX40076" fmla="*/ 5574524 w 6884782"/>
              <a:gd name="connsiteY40076" fmla="*/ 2009121 h 5973007"/>
              <a:gd name="connsiteX40077" fmla="*/ 5577298 w 6884782"/>
              <a:gd name="connsiteY40077" fmla="*/ 2005279 h 5973007"/>
              <a:gd name="connsiteX40078" fmla="*/ 5577298 w 6884782"/>
              <a:gd name="connsiteY40078" fmla="*/ 2005138 h 5973007"/>
              <a:gd name="connsiteX40079" fmla="*/ 5576871 w 6884782"/>
              <a:gd name="connsiteY40079" fmla="*/ 1997313 h 5973007"/>
              <a:gd name="connsiteX40080" fmla="*/ 5580286 w 6884782"/>
              <a:gd name="connsiteY40080" fmla="*/ 1988492 h 5973007"/>
              <a:gd name="connsiteX40081" fmla="*/ 5583487 w 6884782"/>
              <a:gd name="connsiteY40081" fmla="*/ 1987212 h 5973007"/>
              <a:gd name="connsiteX40082" fmla="*/ 5580926 w 6884782"/>
              <a:gd name="connsiteY40082" fmla="*/ 1983940 h 5973007"/>
              <a:gd name="connsiteX40083" fmla="*/ 5580286 w 6884782"/>
              <a:gd name="connsiteY40083" fmla="*/ 1979102 h 5973007"/>
              <a:gd name="connsiteX40084" fmla="*/ 1174540 w 6884782"/>
              <a:gd name="connsiteY40084" fmla="*/ 1978822 h 5973007"/>
              <a:gd name="connsiteX40085" fmla="*/ 1176811 w 6884782"/>
              <a:gd name="connsiteY40085" fmla="*/ 1979287 h 5973007"/>
              <a:gd name="connsiteX40086" fmla="*/ 1170616 w 6884782"/>
              <a:gd name="connsiteY40086" fmla="*/ 1984399 h 5973007"/>
              <a:gd name="connsiteX40087" fmla="*/ 1166796 w 6884782"/>
              <a:gd name="connsiteY40087" fmla="*/ 1986877 h 5973007"/>
              <a:gd name="connsiteX40088" fmla="*/ 1164524 w 6884782"/>
              <a:gd name="connsiteY40088" fmla="*/ 1986567 h 5973007"/>
              <a:gd name="connsiteX40089" fmla="*/ 1164111 w 6884782"/>
              <a:gd name="connsiteY40089" fmla="*/ 1985793 h 5973007"/>
              <a:gd name="connsiteX40090" fmla="*/ 1165247 w 6884782"/>
              <a:gd name="connsiteY40090" fmla="*/ 1984244 h 5973007"/>
              <a:gd name="connsiteX40091" fmla="*/ 1172991 w 6884782"/>
              <a:gd name="connsiteY40091" fmla="*/ 1979906 h 5973007"/>
              <a:gd name="connsiteX40092" fmla="*/ 1174540 w 6884782"/>
              <a:gd name="connsiteY40092" fmla="*/ 1978822 h 5973007"/>
              <a:gd name="connsiteX40093" fmla="*/ 6088652 w 6884782"/>
              <a:gd name="connsiteY40093" fmla="*/ 1978248 h 5973007"/>
              <a:gd name="connsiteX40094" fmla="*/ 6101457 w 6884782"/>
              <a:gd name="connsiteY40094" fmla="*/ 1986358 h 5973007"/>
              <a:gd name="connsiteX40095" fmla="*/ 6085237 w 6884782"/>
              <a:gd name="connsiteY40095" fmla="*/ 1978533 h 5973007"/>
              <a:gd name="connsiteX40096" fmla="*/ 6088652 w 6884782"/>
              <a:gd name="connsiteY40096" fmla="*/ 1978248 h 5973007"/>
              <a:gd name="connsiteX40097" fmla="*/ 4679228 w 6884782"/>
              <a:gd name="connsiteY40097" fmla="*/ 1977964 h 5973007"/>
              <a:gd name="connsiteX40098" fmla="*/ 4682429 w 6884782"/>
              <a:gd name="connsiteY40098" fmla="*/ 1978248 h 5973007"/>
              <a:gd name="connsiteX40099" fmla="*/ 4674959 w 6884782"/>
              <a:gd name="connsiteY40099" fmla="*/ 1983797 h 5973007"/>
              <a:gd name="connsiteX40100" fmla="*/ 4673039 w 6884782"/>
              <a:gd name="connsiteY40100" fmla="*/ 1983086 h 5973007"/>
              <a:gd name="connsiteX40101" fmla="*/ 4679228 w 6884782"/>
              <a:gd name="connsiteY40101" fmla="*/ 1977964 h 5973007"/>
              <a:gd name="connsiteX40102" fmla="*/ 1153579 w 6884782"/>
              <a:gd name="connsiteY40102" fmla="*/ 1977893 h 5973007"/>
              <a:gd name="connsiteX40103" fmla="*/ 1158122 w 6884782"/>
              <a:gd name="connsiteY40103" fmla="*/ 1981456 h 5973007"/>
              <a:gd name="connsiteX40104" fmla="*/ 1158432 w 6884782"/>
              <a:gd name="connsiteY40104" fmla="*/ 1980836 h 5973007"/>
              <a:gd name="connsiteX40105" fmla="*/ 1162356 w 6884782"/>
              <a:gd name="connsiteY40105" fmla="*/ 1984399 h 5973007"/>
              <a:gd name="connsiteX40106" fmla="*/ 1162562 w 6884782"/>
              <a:gd name="connsiteY40106" fmla="*/ 1988581 h 5973007"/>
              <a:gd name="connsiteX40107" fmla="*/ 1159774 w 6884782"/>
              <a:gd name="connsiteY40107" fmla="*/ 1988426 h 5973007"/>
              <a:gd name="connsiteX40108" fmla="*/ 1159671 w 6884782"/>
              <a:gd name="connsiteY40108" fmla="*/ 1988891 h 5973007"/>
              <a:gd name="connsiteX40109" fmla="*/ 1143460 w 6884782"/>
              <a:gd name="connsiteY40109" fmla="*/ 1989665 h 5973007"/>
              <a:gd name="connsiteX40110" fmla="*/ 1153579 w 6884782"/>
              <a:gd name="connsiteY40110" fmla="*/ 1977893 h 5973007"/>
              <a:gd name="connsiteX40111" fmla="*/ 4749443 w 6884782"/>
              <a:gd name="connsiteY40111" fmla="*/ 1977822 h 5973007"/>
              <a:gd name="connsiteX40112" fmla="*/ 4752858 w 6884782"/>
              <a:gd name="connsiteY40112" fmla="*/ 1981948 h 5973007"/>
              <a:gd name="connsiteX40113" fmla="*/ 4752431 w 6884782"/>
              <a:gd name="connsiteY40113" fmla="*/ 1985646 h 5973007"/>
              <a:gd name="connsiteX40114" fmla="*/ 4748803 w 6884782"/>
              <a:gd name="connsiteY40114" fmla="*/ 1984935 h 5973007"/>
              <a:gd name="connsiteX40115" fmla="*/ 4746242 w 6884782"/>
              <a:gd name="connsiteY40115" fmla="*/ 1982089 h 5973007"/>
              <a:gd name="connsiteX40116" fmla="*/ 4746455 w 6884782"/>
              <a:gd name="connsiteY40116" fmla="*/ 1980240 h 5973007"/>
              <a:gd name="connsiteX40117" fmla="*/ 4748163 w 6884782"/>
              <a:gd name="connsiteY40117" fmla="*/ 1977964 h 5973007"/>
              <a:gd name="connsiteX40118" fmla="*/ 4749443 w 6884782"/>
              <a:gd name="connsiteY40118" fmla="*/ 1977822 h 5973007"/>
              <a:gd name="connsiteX40119" fmla="*/ 1499590 w 6884782"/>
              <a:gd name="connsiteY40119" fmla="*/ 1976809 h 5973007"/>
              <a:gd name="connsiteX40120" fmla="*/ 1500829 w 6884782"/>
              <a:gd name="connsiteY40120" fmla="*/ 1977274 h 5973007"/>
              <a:gd name="connsiteX40121" fmla="*/ 1500003 w 6884782"/>
              <a:gd name="connsiteY40121" fmla="*/ 1978822 h 5973007"/>
              <a:gd name="connsiteX40122" fmla="*/ 1499590 w 6884782"/>
              <a:gd name="connsiteY40122" fmla="*/ 1976809 h 5973007"/>
              <a:gd name="connsiteX40123" fmla="*/ 5645806 w 6884782"/>
              <a:gd name="connsiteY40123" fmla="*/ 1976683 h 5973007"/>
              <a:gd name="connsiteX40124" fmla="*/ 5654343 w 6884782"/>
              <a:gd name="connsiteY40124" fmla="*/ 1986500 h 5973007"/>
              <a:gd name="connsiteX40125" fmla="*/ 5645806 w 6884782"/>
              <a:gd name="connsiteY40125" fmla="*/ 1976683 h 5973007"/>
              <a:gd name="connsiteX40126" fmla="*/ 5812487 w 6884782"/>
              <a:gd name="connsiteY40126" fmla="*/ 1976541 h 5973007"/>
              <a:gd name="connsiteX40127" fmla="*/ 5813554 w 6884782"/>
              <a:gd name="connsiteY40127" fmla="*/ 1978818 h 5973007"/>
              <a:gd name="connsiteX40128" fmla="*/ 5813127 w 6884782"/>
              <a:gd name="connsiteY40128" fmla="*/ 1982801 h 5973007"/>
              <a:gd name="connsiteX40129" fmla="*/ 5810566 w 6884782"/>
              <a:gd name="connsiteY40129" fmla="*/ 1985646 h 5973007"/>
              <a:gd name="connsiteX40130" fmla="*/ 5805017 w 6884782"/>
              <a:gd name="connsiteY40130" fmla="*/ 1981948 h 5973007"/>
              <a:gd name="connsiteX40131" fmla="*/ 5812487 w 6884782"/>
              <a:gd name="connsiteY40131" fmla="*/ 1976541 h 5973007"/>
              <a:gd name="connsiteX40132" fmla="*/ 4783590 w 6884782"/>
              <a:gd name="connsiteY40132" fmla="*/ 1975687 h 5973007"/>
              <a:gd name="connsiteX40133" fmla="*/ 4789352 w 6884782"/>
              <a:gd name="connsiteY40133" fmla="*/ 1975687 h 5973007"/>
              <a:gd name="connsiteX40134" fmla="*/ 4789139 w 6884782"/>
              <a:gd name="connsiteY40134" fmla="*/ 1986358 h 5973007"/>
              <a:gd name="connsiteX40135" fmla="*/ 4778468 w 6884782"/>
              <a:gd name="connsiteY40135" fmla="*/ 1992333 h 5973007"/>
              <a:gd name="connsiteX40136" fmla="*/ 4775267 w 6884782"/>
              <a:gd name="connsiteY40136" fmla="*/ 1981094 h 5973007"/>
              <a:gd name="connsiteX40137" fmla="*/ 4776548 w 6884782"/>
              <a:gd name="connsiteY40137" fmla="*/ 1980098 h 5973007"/>
              <a:gd name="connsiteX40138" fmla="*/ 4783590 w 6884782"/>
              <a:gd name="connsiteY40138" fmla="*/ 1975687 h 5973007"/>
              <a:gd name="connsiteX40139" fmla="*/ 5921758 w 6884782"/>
              <a:gd name="connsiteY40139" fmla="*/ 1975404 h 5973007"/>
              <a:gd name="connsiteX40140" fmla="*/ 5927307 w 6884782"/>
              <a:gd name="connsiteY40140" fmla="*/ 1977822 h 5973007"/>
              <a:gd name="connsiteX40141" fmla="*/ 5918130 w 6884782"/>
              <a:gd name="connsiteY40141" fmla="*/ 1980952 h 5973007"/>
              <a:gd name="connsiteX40142" fmla="*/ 5921758 w 6884782"/>
              <a:gd name="connsiteY40142" fmla="*/ 1975404 h 5973007"/>
              <a:gd name="connsiteX40143" fmla="*/ 5779193 w 6884782"/>
              <a:gd name="connsiteY40143" fmla="*/ 1974977 h 5973007"/>
              <a:gd name="connsiteX40144" fmla="*/ 5781755 w 6884782"/>
              <a:gd name="connsiteY40144" fmla="*/ 1976826 h 5973007"/>
              <a:gd name="connsiteX40145" fmla="*/ 5777486 w 6884782"/>
              <a:gd name="connsiteY40145" fmla="*/ 1997455 h 5973007"/>
              <a:gd name="connsiteX40146" fmla="*/ 5777272 w 6884782"/>
              <a:gd name="connsiteY40146" fmla="*/ 2004426 h 5973007"/>
              <a:gd name="connsiteX40147" fmla="*/ 5777486 w 6884782"/>
              <a:gd name="connsiteY40147" fmla="*/ 2006560 h 5973007"/>
              <a:gd name="connsiteX40148" fmla="*/ 5777272 w 6884782"/>
              <a:gd name="connsiteY40148" fmla="*/ 2006703 h 5973007"/>
              <a:gd name="connsiteX40149" fmla="*/ 5777272 w 6884782"/>
              <a:gd name="connsiteY40149" fmla="*/ 2007129 h 5973007"/>
              <a:gd name="connsiteX40150" fmla="*/ 5772151 w 6884782"/>
              <a:gd name="connsiteY40150" fmla="*/ 2014812 h 5973007"/>
              <a:gd name="connsiteX40151" fmla="*/ 5770443 w 6884782"/>
              <a:gd name="connsiteY40151" fmla="*/ 2007556 h 5973007"/>
              <a:gd name="connsiteX40152" fmla="*/ 5768309 w 6884782"/>
              <a:gd name="connsiteY40152" fmla="*/ 2006987 h 5973007"/>
              <a:gd name="connsiteX40153" fmla="*/ 5763400 w 6884782"/>
              <a:gd name="connsiteY40153" fmla="*/ 1998024 h 5973007"/>
              <a:gd name="connsiteX40154" fmla="*/ 5767669 w 6884782"/>
              <a:gd name="connsiteY40154" fmla="*/ 1996317 h 5973007"/>
              <a:gd name="connsiteX40155" fmla="*/ 5767456 w 6884782"/>
              <a:gd name="connsiteY40155" fmla="*/ 1988492 h 5973007"/>
              <a:gd name="connsiteX40156" fmla="*/ 5770443 w 6884782"/>
              <a:gd name="connsiteY40156" fmla="*/ 1977395 h 5973007"/>
              <a:gd name="connsiteX40157" fmla="*/ 5779193 w 6884782"/>
              <a:gd name="connsiteY40157" fmla="*/ 1974977 h 5973007"/>
              <a:gd name="connsiteX40158" fmla="*/ 1102880 w 6884782"/>
              <a:gd name="connsiteY40158" fmla="*/ 1974950 h 5973007"/>
              <a:gd name="connsiteX40159" fmla="*/ 1104222 w 6884782"/>
              <a:gd name="connsiteY40159" fmla="*/ 1976964 h 5973007"/>
              <a:gd name="connsiteX40160" fmla="*/ 1102983 w 6884782"/>
              <a:gd name="connsiteY40160" fmla="*/ 1979597 h 5973007"/>
              <a:gd name="connsiteX40161" fmla="*/ 1105461 w 6884782"/>
              <a:gd name="connsiteY40161" fmla="*/ 1979906 h 5973007"/>
              <a:gd name="connsiteX40162" fmla="*/ 1116613 w 6884782"/>
              <a:gd name="connsiteY40162" fmla="*/ 2010266 h 5973007"/>
              <a:gd name="connsiteX40163" fmla="*/ 1111657 w 6884782"/>
              <a:gd name="connsiteY40163" fmla="*/ 2014449 h 5973007"/>
              <a:gd name="connsiteX40164" fmla="*/ 1112999 w 6884782"/>
              <a:gd name="connsiteY40164" fmla="*/ 2015997 h 5973007"/>
              <a:gd name="connsiteX40165" fmla="*/ 1113722 w 6884782"/>
              <a:gd name="connsiteY40165" fmla="*/ 2020180 h 5973007"/>
              <a:gd name="connsiteX40166" fmla="*/ 1105978 w 6884782"/>
              <a:gd name="connsiteY40166" fmla="*/ 2021264 h 5973007"/>
              <a:gd name="connsiteX40167" fmla="*/ 1103190 w 6884782"/>
              <a:gd name="connsiteY40167" fmla="*/ 2018166 h 5973007"/>
              <a:gd name="connsiteX40168" fmla="*/ 1100918 w 6884782"/>
              <a:gd name="connsiteY40168" fmla="*/ 2015223 h 5973007"/>
              <a:gd name="connsiteX40169" fmla="*/ 1095032 w 6884782"/>
              <a:gd name="connsiteY40169" fmla="*/ 2013674 h 5973007"/>
              <a:gd name="connsiteX40170" fmla="*/ 1075311 w 6884782"/>
              <a:gd name="connsiteY40170" fmla="*/ 1988891 h 5973007"/>
              <a:gd name="connsiteX40171" fmla="*/ 1097510 w 6884782"/>
              <a:gd name="connsiteY40171" fmla="*/ 1980216 h 5973007"/>
              <a:gd name="connsiteX40172" fmla="*/ 1099782 w 6884782"/>
              <a:gd name="connsiteY40172" fmla="*/ 1979752 h 5973007"/>
              <a:gd name="connsiteX40173" fmla="*/ 1101125 w 6884782"/>
              <a:gd name="connsiteY40173" fmla="*/ 1976034 h 5973007"/>
              <a:gd name="connsiteX40174" fmla="*/ 1102880 w 6884782"/>
              <a:gd name="connsiteY40174" fmla="*/ 1974950 h 5973007"/>
              <a:gd name="connsiteX40175" fmla="*/ 1276350 w 6884782"/>
              <a:gd name="connsiteY40175" fmla="*/ 1974021 h 5973007"/>
              <a:gd name="connsiteX40176" fmla="*/ 1278519 w 6884782"/>
              <a:gd name="connsiteY40176" fmla="*/ 1974175 h 5973007"/>
              <a:gd name="connsiteX40177" fmla="*/ 1278932 w 6884782"/>
              <a:gd name="connsiteY40177" fmla="*/ 1974950 h 5973007"/>
              <a:gd name="connsiteX40178" fmla="*/ 1280894 w 6884782"/>
              <a:gd name="connsiteY40178" fmla="*/ 1977893 h 5973007"/>
              <a:gd name="connsiteX40179" fmla="*/ 1278106 w 6884782"/>
              <a:gd name="connsiteY40179" fmla="*/ 1981301 h 5973007"/>
              <a:gd name="connsiteX40180" fmla="*/ 1273769 w 6884782"/>
              <a:gd name="connsiteY40180" fmla="*/ 1977583 h 5973007"/>
              <a:gd name="connsiteX40181" fmla="*/ 1276350 w 6884782"/>
              <a:gd name="connsiteY40181" fmla="*/ 1974021 h 5973007"/>
              <a:gd name="connsiteX40182" fmla="*/ 875200 w 6884782"/>
              <a:gd name="connsiteY40182" fmla="*/ 1973091 h 5973007"/>
              <a:gd name="connsiteX40183" fmla="*/ 880363 w 6884782"/>
              <a:gd name="connsiteY40183" fmla="*/ 1973711 h 5973007"/>
              <a:gd name="connsiteX40184" fmla="*/ 880260 w 6884782"/>
              <a:gd name="connsiteY40184" fmla="*/ 1981146 h 5973007"/>
              <a:gd name="connsiteX40185" fmla="*/ 874270 w 6884782"/>
              <a:gd name="connsiteY40185" fmla="*/ 1979597 h 5973007"/>
              <a:gd name="connsiteX40186" fmla="*/ 872928 w 6884782"/>
              <a:gd name="connsiteY40186" fmla="*/ 1977274 h 5973007"/>
              <a:gd name="connsiteX40187" fmla="*/ 873445 w 6884782"/>
              <a:gd name="connsiteY40187" fmla="*/ 1974640 h 5973007"/>
              <a:gd name="connsiteX40188" fmla="*/ 875200 w 6884782"/>
              <a:gd name="connsiteY40188" fmla="*/ 1973091 h 5973007"/>
              <a:gd name="connsiteX40189" fmla="*/ 5282139 w 6884782"/>
              <a:gd name="connsiteY40189" fmla="*/ 1972842 h 5973007"/>
              <a:gd name="connsiteX40190" fmla="*/ 5287047 w 6884782"/>
              <a:gd name="connsiteY40190" fmla="*/ 1973980 h 5973007"/>
              <a:gd name="connsiteX40191" fmla="*/ 5270828 w 6884782"/>
              <a:gd name="connsiteY40191" fmla="*/ 1988208 h 5973007"/>
              <a:gd name="connsiteX40192" fmla="*/ 5264638 w 6884782"/>
              <a:gd name="connsiteY40192" fmla="*/ 1984082 h 5973007"/>
              <a:gd name="connsiteX40193" fmla="*/ 5282139 w 6884782"/>
              <a:gd name="connsiteY40193" fmla="*/ 1972842 h 5973007"/>
              <a:gd name="connsiteX40194" fmla="*/ 6067097 w 6884782"/>
              <a:gd name="connsiteY40194" fmla="*/ 1972415 h 5973007"/>
              <a:gd name="connsiteX40195" fmla="*/ 6069231 w 6884782"/>
              <a:gd name="connsiteY40195" fmla="*/ 1977537 h 5973007"/>
              <a:gd name="connsiteX40196" fmla="*/ 6065389 w 6884782"/>
              <a:gd name="connsiteY40196" fmla="*/ 1978248 h 5973007"/>
              <a:gd name="connsiteX40197" fmla="*/ 6067097 w 6884782"/>
              <a:gd name="connsiteY40197" fmla="*/ 1972415 h 5973007"/>
              <a:gd name="connsiteX40198" fmla="*/ 6226308 w 6884782"/>
              <a:gd name="connsiteY40198" fmla="*/ 1971846 h 5973007"/>
              <a:gd name="connsiteX40199" fmla="*/ 6230363 w 6884782"/>
              <a:gd name="connsiteY40199" fmla="*/ 1977395 h 5973007"/>
              <a:gd name="connsiteX40200" fmla="*/ 6219052 w 6884782"/>
              <a:gd name="connsiteY40200" fmla="*/ 1987069 h 5973007"/>
              <a:gd name="connsiteX40201" fmla="*/ 6217558 w 6884782"/>
              <a:gd name="connsiteY40201" fmla="*/ 1978675 h 5973007"/>
              <a:gd name="connsiteX40202" fmla="*/ 6220119 w 6884782"/>
              <a:gd name="connsiteY40202" fmla="*/ 1975687 h 5973007"/>
              <a:gd name="connsiteX40203" fmla="*/ 6226735 w 6884782"/>
              <a:gd name="connsiteY40203" fmla="*/ 1972985 h 5973007"/>
              <a:gd name="connsiteX40204" fmla="*/ 6226308 w 6884782"/>
              <a:gd name="connsiteY40204" fmla="*/ 1971846 h 5973007"/>
              <a:gd name="connsiteX40205" fmla="*/ 5797548 w 6884782"/>
              <a:gd name="connsiteY40205" fmla="*/ 1971846 h 5973007"/>
              <a:gd name="connsiteX40206" fmla="*/ 5799041 w 6884782"/>
              <a:gd name="connsiteY40206" fmla="*/ 1972415 h 5973007"/>
              <a:gd name="connsiteX40207" fmla="*/ 5789011 w 6884782"/>
              <a:gd name="connsiteY40207" fmla="*/ 1975404 h 5973007"/>
              <a:gd name="connsiteX40208" fmla="*/ 5797548 w 6884782"/>
              <a:gd name="connsiteY40208" fmla="*/ 1971846 h 5973007"/>
              <a:gd name="connsiteX40209" fmla="*/ 961922 w 6884782"/>
              <a:gd name="connsiteY40209" fmla="*/ 1970323 h 5973007"/>
              <a:gd name="connsiteX40210" fmla="*/ 968234 w 6884782"/>
              <a:gd name="connsiteY40210" fmla="*/ 1976499 h 5973007"/>
              <a:gd name="connsiteX40211" fmla="*/ 965343 w 6884782"/>
              <a:gd name="connsiteY40211" fmla="*/ 1978513 h 5973007"/>
              <a:gd name="connsiteX40212" fmla="*/ 953675 w 6884782"/>
              <a:gd name="connsiteY40212" fmla="*/ 1970768 h 5973007"/>
              <a:gd name="connsiteX40213" fmla="*/ 961922 w 6884782"/>
              <a:gd name="connsiteY40213" fmla="*/ 1970323 h 5973007"/>
              <a:gd name="connsiteX40214" fmla="*/ 1115890 w 6884782"/>
              <a:gd name="connsiteY40214" fmla="*/ 1970303 h 5973007"/>
              <a:gd name="connsiteX40215" fmla="*/ 1117955 w 6884782"/>
              <a:gd name="connsiteY40215" fmla="*/ 1982695 h 5973007"/>
              <a:gd name="connsiteX40216" fmla="*/ 1111347 w 6884782"/>
              <a:gd name="connsiteY40216" fmla="*/ 1978048 h 5973007"/>
              <a:gd name="connsiteX40217" fmla="*/ 1115890 w 6884782"/>
              <a:gd name="connsiteY40217" fmla="*/ 1970303 h 5973007"/>
              <a:gd name="connsiteX40218" fmla="*/ 5123568 w 6884782"/>
              <a:gd name="connsiteY40218" fmla="*/ 1970282 h 5973007"/>
              <a:gd name="connsiteX40219" fmla="*/ 5130824 w 6884782"/>
              <a:gd name="connsiteY40219" fmla="*/ 1973980 h 5973007"/>
              <a:gd name="connsiteX40220" fmla="*/ 5134452 w 6884782"/>
              <a:gd name="connsiteY40220" fmla="*/ 1973127 h 5973007"/>
              <a:gd name="connsiteX40221" fmla="*/ 5139574 w 6884782"/>
              <a:gd name="connsiteY40221" fmla="*/ 1978106 h 5973007"/>
              <a:gd name="connsiteX40222" fmla="*/ 5134452 w 6884782"/>
              <a:gd name="connsiteY40222" fmla="*/ 1981236 h 5973007"/>
              <a:gd name="connsiteX40223" fmla="*/ 5128263 w 6884782"/>
              <a:gd name="connsiteY40223" fmla="*/ 1974265 h 5973007"/>
              <a:gd name="connsiteX40224" fmla="*/ 5123568 w 6884782"/>
              <a:gd name="connsiteY40224" fmla="*/ 1970282 h 5973007"/>
              <a:gd name="connsiteX40225" fmla="*/ 4966918 w 6884782"/>
              <a:gd name="connsiteY40225" fmla="*/ 1970282 h 5973007"/>
              <a:gd name="connsiteX40226" fmla="*/ 4973961 w 6884782"/>
              <a:gd name="connsiteY40226" fmla="*/ 1971420 h 5973007"/>
              <a:gd name="connsiteX40227" fmla="*/ 4966278 w 6884782"/>
              <a:gd name="connsiteY40227" fmla="*/ 1981094 h 5973007"/>
              <a:gd name="connsiteX40228" fmla="*/ 4966918 w 6884782"/>
              <a:gd name="connsiteY40228" fmla="*/ 1970282 h 5973007"/>
              <a:gd name="connsiteX40229" fmla="*/ 1062610 w 6884782"/>
              <a:gd name="connsiteY40229" fmla="*/ 1969993 h 5973007"/>
              <a:gd name="connsiteX40230" fmla="*/ 1054350 w 6884782"/>
              <a:gd name="connsiteY40230" fmla="*/ 1976344 h 5973007"/>
              <a:gd name="connsiteX40231" fmla="*/ 1054143 w 6884782"/>
              <a:gd name="connsiteY40231" fmla="*/ 1973866 h 5973007"/>
              <a:gd name="connsiteX40232" fmla="*/ 1062610 w 6884782"/>
              <a:gd name="connsiteY40232" fmla="*/ 1969993 h 5973007"/>
              <a:gd name="connsiteX40233" fmla="*/ 1229730 w 6884782"/>
              <a:gd name="connsiteY40233" fmla="*/ 1969161 h 5973007"/>
              <a:gd name="connsiteX40234" fmla="*/ 1241760 w 6884782"/>
              <a:gd name="connsiteY40234" fmla="*/ 1971387 h 5973007"/>
              <a:gd name="connsiteX40235" fmla="*/ 1225652 w 6884782"/>
              <a:gd name="connsiteY40235" fmla="*/ 1984553 h 5973007"/>
              <a:gd name="connsiteX40236" fmla="*/ 1221728 w 6884782"/>
              <a:gd name="connsiteY40236" fmla="*/ 1977274 h 5973007"/>
              <a:gd name="connsiteX40237" fmla="*/ 1229730 w 6884782"/>
              <a:gd name="connsiteY40237" fmla="*/ 1969161 h 5973007"/>
              <a:gd name="connsiteX40238" fmla="*/ 4699503 w 6884782"/>
              <a:gd name="connsiteY40238" fmla="*/ 1969001 h 5973007"/>
              <a:gd name="connsiteX40239" fmla="*/ 4699716 w 6884782"/>
              <a:gd name="connsiteY40239" fmla="*/ 1970993 h 5973007"/>
              <a:gd name="connsiteX40240" fmla="*/ 4698009 w 6884782"/>
              <a:gd name="connsiteY40240" fmla="*/ 1972415 h 5973007"/>
              <a:gd name="connsiteX40241" fmla="*/ 4694381 w 6884782"/>
              <a:gd name="connsiteY40241" fmla="*/ 1975545 h 5973007"/>
              <a:gd name="connsiteX40242" fmla="*/ 4699503 w 6884782"/>
              <a:gd name="connsiteY40242" fmla="*/ 1969001 h 5973007"/>
              <a:gd name="connsiteX40243" fmla="*/ 1082745 w 6884782"/>
              <a:gd name="connsiteY40243" fmla="*/ 1968754 h 5973007"/>
              <a:gd name="connsiteX40244" fmla="*/ 1084914 w 6884782"/>
              <a:gd name="connsiteY40244" fmla="*/ 1970148 h 5973007"/>
              <a:gd name="connsiteX40245" fmla="*/ 1084294 w 6884782"/>
              <a:gd name="connsiteY40245" fmla="*/ 1972627 h 5973007"/>
              <a:gd name="connsiteX40246" fmla="*/ 1084397 w 6884782"/>
              <a:gd name="connsiteY40246" fmla="*/ 1974485 h 5973007"/>
              <a:gd name="connsiteX40247" fmla="*/ 1082022 w 6884782"/>
              <a:gd name="connsiteY40247" fmla="*/ 1976034 h 5973007"/>
              <a:gd name="connsiteX40248" fmla="*/ 1081919 w 6884782"/>
              <a:gd name="connsiteY40248" fmla="*/ 1974175 h 5973007"/>
              <a:gd name="connsiteX40249" fmla="*/ 1082745 w 6884782"/>
              <a:gd name="connsiteY40249" fmla="*/ 1968754 h 5973007"/>
              <a:gd name="connsiteX40250" fmla="*/ 867456 w 6884782"/>
              <a:gd name="connsiteY40250" fmla="*/ 1967980 h 5973007"/>
              <a:gd name="connsiteX40251" fmla="*/ 862913 w 6884782"/>
              <a:gd name="connsiteY40251" fmla="*/ 1973556 h 5973007"/>
              <a:gd name="connsiteX40252" fmla="*/ 863635 w 6884782"/>
              <a:gd name="connsiteY40252" fmla="*/ 1969528 h 5973007"/>
              <a:gd name="connsiteX40253" fmla="*/ 867456 w 6884782"/>
              <a:gd name="connsiteY40253" fmla="*/ 1967980 h 5973007"/>
              <a:gd name="connsiteX40254" fmla="*/ 5616141 w 6884782"/>
              <a:gd name="connsiteY40254" fmla="*/ 1967863 h 5973007"/>
              <a:gd name="connsiteX40255" fmla="*/ 5637056 w 6884782"/>
              <a:gd name="connsiteY40255" fmla="*/ 1981094 h 5973007"/>
              <a:gd name="connsiteX40256" fmla="*/ 5628519 w 6884782"/>
              <a:gd name="connsiteY40256" fmla="*/ 1981948 h 5973007"/>
              <a:gd name="connsiteX40257" fmla="*/ 5620836 w 6884782"/>
              <a:gd name="connsiteY40257" fmla="*/ 1979387 h 5973007"/>
              <a:gd name="connsiteX40258" fmla="*/ 5621476 w 6884782"/>
              <a:gd name="connsiteY40258" fmla="*/ 1983513 h 5973007"/>
              <a:gd name="connsiteX40259" fmla="*/ 5619769 w 6884782"/>
              <a:gd name="connsiteY40259" fmla="*/ 1988208 h 5973007"/>
              <a:gd name="connsiteX40260" fmla="*/ 5618702 w 6884782"/>
              <a:gd name="connsiteY40260" fmla="*/ 1989345 h 5973007"/>
              <a:gd name="connsiteX40261" fmla="*/ 5619342 w 6884782"/>
              <a:gd name="connsiteY40261" fmla="*/ 1983654 h 5973007"/>
              <a:gd name="connsiteX40262" fmla="*/ 5620622 w 6884782"/>
              <a:gd name="connsiteY40262" fmla="*/ 1979244 h 5973007"/>
              <a:gd name="connsiteX40263" fmla="*/ 5620195 w 6884782"/>
              <a:gd name="connsiteY40263" fmla="*/ 1979102 h 5973007"/>
              <a:gd name="connsiteX40264" fmla="*/ 5607391 w 6884782"/>
              <a:gd name="connsiteY40264" fmla="*/ 1968858 h 5973007"/>
              <a:gd name="connsiteX40265" fmla="*/ 5616141 w 6884782"/>
              <a:gd name="connsiteY40265" fmla="*/ 1967863 h 5973007"/>
              <a:gd name="connsiteX40266" fmla="*/ 5104573 w 6884782"/>
              <a:gd name="connsiteY40266" fmla="*/ 1967863 h 5973007"/>
              <a:gd name="connsiteX40267" fmla="*/ 5106281 w 6884782"/>
              <a:gd name="connsiteY40267" fmla="*/ 1969712 h 5973007"/>
              <a:gd name="connsiteX40268" fmla="*/ 5106921 w 6884782"/>
              <a:gd name="connsiteY40268" fmla="*/ 1969855 h 5973007"/>
              <a:gd name="connsiteX40269" fmla="*/ 5108415 w 6884782"/>
              <a:gd name="connsiteY40269" fmla="*/ 1969143 h 5973007"/>
              <a:gd name="connsiteX40270" fmla="*/ 5113110 w 6884782"/>
              <a:gd name="connsiteY40270" fmla="*/ 1969428 h 5973007"/>
              <a:gd name="connsiteX40271" fmla="*/ 5119299 w 6884782"/>
              <a:gd name="connsiteY40271" fmla="*/ 1976683 h 5973007"/>
              <a:gd name="connsiteX40272" fmla="*/ 5120153 w 6884782"/>
              <a:gd name="connsiteY40272" fmla="*/ 1980382 h 5973007"/>
              <a:gd name="connsiteX40273" fmla="*/ 5118659 w 6884782"/>
              <a:gd name="connsiteY40273" fmla="*/ 1987354 h 5973007"/>
              <a:gd name="connsiteX40274" fmla="*/ 5117592 w 6884782"/>
              <a:gd name="connsiteY40274" fmla="*/ 1987923 h 5973007"/>
              <a:gd name="connsiteX40275" fmla="*/ 5117592 w 6884782"/>
              <a:gd name="connsiteY40275" fmla="*/ 1989203 h 5973007"/>
              <a:gd name="connsiteX40276" fmla="*/ 5110976 w 6884782"/>
              <a:gd name="connsiteY40276" fmla="*/ 1996744 h 5973007"/>
              <a:gd name="connsiteX40277" fmla="*/ 5109909 w 6884782"/>
              <a:gd name="connsiteY40277" fmla="*/ 1996317 h 5973007"/>
              <a:gd name="connsiteX40278" fmla="*/ 5109056 w 6884782"/>
              <a:gd name="connsiteY40278" fmla="*/ 2003714 h 5973007"/>
              <a:gd name="connsiteX40279" fmla="*/ 5107561 w 6884782"/>
              <a:gd name="connsiteY40279" fmla="*/ 2003856 h 5973007"/>
              <a:gd name="connsiteX40280" fmla="*/ 5109482 w 6884782"/>
              <a:gd name="connsiteY40280" fmla="*/ 2005849 h 5973007"/>
              <a:gd name="connsiteX40281" fmla="*/ 5103720 w 6884782"/>
              <a:gd name="connsiteY40281" fmla="*/ 2011539 h 5973007"/>
              <a:gd name="connsiteX40282" fmla="*/ 5099665 w 6884782"/>
              <a:gd name="connsiteY40282" fmla="*/ 2003430 h 5973007"/>
              <a:gd name="connsiteX40283" fmla="*/ 5100945 w 6884782"/>
              <a:gd name="connsiteY40283" fmla="*/ 2002861 h 5973007"/>
              <a:gd name="connsiteX40284" fmla="*/ 5099878 w 6884782"/>
              <a:gd name="connsiteY40284" fmla="*/ 2002434 h 5973007"/>
              <a:gd name="connsiteX40285" fmla="*/ 5093049 w 6884782"/>
              <a:gd name="connsiteY40285" fmla="*/ 1996744 h 5973007"/>
              <a:gd name="connsiteX40286" fmla="*/ 5091128 w 6884782"/>
              <a:gd name="connsiteY40286" fmla="*/ 1994894 h 5973007"/>
              <a:gd name="connsiteX40287" fmla="*/ 5090488 w 6884782"/>
              <a:gd name="connsiteY40287" fmla="*/ 1995890 h 5973007"/>
              <a:gd name="connsiteX40288" fmla="*/ 5090061 w 6884782"/>
              <a:gd name="connsiteY40288" fmla="*/ 1994182 h 5973007"/>
              <a:gd name="connsiteX40289" fmla="*/ 5089847 w 6884782"/>
              <a:gd name="connsiteY40289" fmla="*/ 1994040 h 5973007"/>
              <a:gd name="connsiteX40290" fmla="*/ 5088780 w 6884782"/>
              <a:gd name="connsiteY40290" fmla="*/ 1993472 h 5973007"/>
              <a:gd name="connsiteX40291" fmla="*/ 5086433 w 6884782"/>
              <a:gd name="connsiteY40291" fmla="*/ 1988777 h 5973007"/>
              <a:gd name="connsiteX40292" fmla="*/ 5087073 w 6884782"/>
              <a:gd name="connsiteY40292" fmla="*/ 1987923 h 5973007"/>
              <a:gd name="connsiteX40293" fmla="*/ 5084512 w 6884782"/>
              <a:gd name="connsiteY40293" fmla="*/ 1986784 h 5973007"/>
              <a:gd name="connsiteX40294" fmla="*/ 5083658 w 6884782"/>
              <a:gd name="connsiteY40294" fmla="*/ 1987781 h 5973007"/>
              <a:gd name="connsiteX40295" fmla="*/ 5053353 w 6884782"/>
              <a:gd name="connsiteY40295" fmla="*/ 1984651 h 5973007"/>
              <a:gd name="connsiteX40296" fmla="*/ 5064877 w 6884782"/>
              <a:gd name="connsiteY40296" fmla="*/ 1981948 h 5973007"/>
              <a:gd name="connsiteX40297" fmla="*/ 5063384 w 6884782"/>
              <a:gd name="connsiteY40297" fmla="*/ 1979671 h 5973007"/>
              <a:gd name="connsiteX40298" fmla="*/ 5068932 w 6884782"/>
              <a:gd name="connsiteY40298" fmla="*/ 1980667 h 5973007"/>
              <a:gd name="connsiteX40299" fmla="*/ 5069146 w 6884782"/>
              <a:gd name="connsiteY40299" fmla="*/ 1980952 h 5973007"/>
              <a:gd name="connsiteX40300" fmla="*/ 5071707 w 6884782"/>
              <a:gd name="connsiteY40300" fmla="*/ 1980240 h 5973007"/>
              <a:gd name="connsiteX40301" fmla="*/ 5072987 w 6884782"/>
              <a:gd name="connsiteY40301" fmla="*/ 1980240 h 5973007"/>
              <a:gd name="connsiteX40302" fmla="*/ 5072987 w 6884782"/>
              <a:gd name="connsiteY40302" fmla="*/ 1980098 h 5973007"/>
              <a:gd name="connsiteX40303" fmla="*/ 5070640 w 6884782"/>
              <a:gd name="connsiteY40303" fmla="*/ 1973553 h 5973007"/>
              <a:gd name="connsiteX40304" fmla="*/ 5088567 w 6884782"/>
              <a:gd name="connsiteY40304" fmla="*/ 1978960 h 5973007"/>
              <a:gd name="connsiteX40305" fmla="*/ 5096250 w 6884782"/>
              <a:gd name="connsiteY40305" fmla="*/ 1984082 h 5973007"/>
              <a:gd name="connsiteX40306" fmla="*/ 5096890 w 6884782"/>
              <a:gd name="connsiteY40306" fmla="*/ 1983086 h 5973007"/>
              <a:gd name="connsiteX40307" fmla="*/ 5097530 w 6884782"/>
              <a:gd name="connsiteY40307" fmla="*/ 1980098 h 5973007"/>
              <a:gd name="connsiteX40308" fmla="*/ 5096464 w 6884782"/>
              <a:gd name="connsiteY40308" fmla="*/ 1979956 h 5973007"/>
              <a:gd name="connsiteX40309" fmla="*/ 5093049 w 6884782"/>
              <a:gd name="connsiteY40309" fmla="*/ 1976399 h 5973007"/>
              <a:gd name="connsiteX40310" fmla="*/ 5094756 w 6884782"/>
              <a:gd name="connsiteY40310" fmla="*/ 1974407 h 5973007"/>
              <a:gd name="connsiteX40311" fmla="*/ 5097744 w 6884782"/>
              <a:gd name="connsiteY40311" fmla="*/ 1976114 h 5973007"/>
              <a:gd name="connsiteX40312" fmla="*/ 5098171 w 6884782"/>
              <a:gd name="connsiteY40312" fmla="*/ 1976399 h 5973007"/>
              <a:gd name="connsiteX40313" fmla="*/ 5098385 w 6884782"/>
              <a:gd name="connsiteY40313" fmla="*/ 1975261 h 5973007"/>
              <a:gd name="connsiteX40314" fmla="*/ 5104573 w 6884782"/>
              <a:gd name="connsiteY40314" fmla="*/ 1967863 h 5973007"/>
              <a:gd name="connsiteX40315" fmla="*/ 983671 w 6884782"/>
              <a:gd name="connsiteY40315" fmla="*/ 1966721 h 5973007"/>
              <a:gd name="connsiteX40316" fmla="*/ 993325 w 6884782"/>
              <a:gd name="connsiteY40316" fmla="*/ 1967050 h 5973007"/>
              <a:gd name="connsiteX40317" fmla="*/ 993015 w 6884782"/>
              <a:gd name="connsiteY40317" fmla="*/ 1975415 h 5973007"/>
              <a:gd name="connsiteX40318" fmla="*/ 988885 w 6884782"/>
              <a:gd name="connsiteY40318" fmla="*/ 1978668 h 5973007"/>
              <a:gd name="connsiteX40319" fmla="*/ 987130 w 6884782"/>
              <a:gd name="connsiteY40319" fmla="*/ 1978822 h 5973007"/>
              <a:gd name="connsiteX40320" fmla="*/ 987233 w 6884782"/>
              <a:gd name="connsiteY40320" fmla="*/ 1978822 h 5973007"/>
              <a:gd name="connsiteX40321" fmla="*/ 981554 w 6884782"/>
              <a:gd name="connsiteY40321" fmla="*/ 1987342 h 5973007"/>
              <a:gd name="connsiteX40322" fmla="*/ 975565 w 6884782"/>
              <a:gd name="connsiteY40322" fmla="*/ 1982540 h 5973007"/>
              <a:gd name="connsiteX40323" fmla="*/ 978250 w 6884782"/>
              <a:gd name="connsiteY40323" fmla="*/ 1977118 h 5973007"/>
              <a:gd name="connsiteX40324" fmla="*/ 975256 w 6884782"/>
              <a:gd name="connsiteY40324" fmla="*/ 1972317 h 5973007"/>
              <a:gd name="connsiteX40325" fmla="*/ 983671 w 6884782"/>
              <a:gd name="connsiteY40325" fmla="*/ 1966721 h 5973007"/>
              <a:gd name="connsiteX40326" fmla="*/ 5825506 w 6884782"/>
              <a:gd name="connsiteY40326" fmla="*/ 1966582 h 5973007"/>
              <a:gd name="connsiteX40327" fmla="*/ 5806938 w 6884782"/>
              <a:gd name="connsiteY40327" fmla="*/ 1970566 h 5973007"/>
              <a:gd name="connsiteX40328" fmla="*/ 5825506 w 6884782"/>
              <a:gd name="connsiteY40328" fmla="*/ 1966582 h 5973007"/>
              <a:gd name="connsiteX40329" fmla="*/ 1384976 w 6884782"/>
              <a:gd name="connsiteY40329" fmla="*/ 1965966 h 5973007"/>
              <a:gd name="connsiteX40330" fmla="*/ 1385389 w 6884782"/>
              <a:gd name="connsiteY40330" fmla="*/ 1966431 h 5973007"/>
              <a:gd name="connsiteX40331" fmla="*/ 1385286 w 6884782"/>
              <a:gd name="connsiteY40331" fmla="*/ 1966121 h 5973007"/>
              <a:gd name="connsiteX40332" fmla="*/ 5750168 w 6884782"/>
              <a:gd name="connsiteY40332" fmla="*/ 1965871 h 5973007"/>
              <a:gd name="connsiteX40333" fmla="*/ 5760413 w 6884782"/>
              <a:gd name="connsiteY40333" fmla="*/ 1975261 h 5973007"/>
              <a:gd name="connsiteX40334" fmla="*/ 5760413 w 6884782"/>
              <a:gd name="connsiteY40334" fmla="*/ 1977679 h 5973007"/>
              <a:gd name="connsiteX40335" fmla="*/ 5757638 w 6884782"/>
              <a:gd name="connsiteY40335" fmla="*/ 1979529 h 5973007"/>
              <a:gd name="connsiteX40336" fmla="*/ 5752942 w 6884782"/>
              <a:gd name="connsiteY40336" fmla="*/ 1976399 h 5973007"/>
              <a:gd name="connsiteX40337" fmla="*/ 5751876 w 6884782"/>
              <a:gd name="connsiteY40337" fmla="*/ 1969712 h 5973007"/>
              <a:gd name="connsiteX40338" fmla="*/ 5749528 w 6884782"/>
              <a:gd name="connsiteY40338" fmla="*/ 1966867 h 5973007"/>
              <a:gd name="connsiteX40339" fmla="*/ 5750168 w 6884782"/>
              <a:gd name="connsiteY40339" fmla="*/ 1965871 h 5973007"/>
              <a:gd name="connsiteX40340" fmla="*/ 1039377 w 6884782"/>
              <a:gd name="connsiteY40340" fmla="*/ 1965501 h 5973007"/>
              <a:gd name="connsiteX40341" fmla="*/ 1040203 w 6884782"/>
              <a:gd name="connsiteY40341" fmla="*/ 1966121 h 5973007"/>
              <a:gd name="connsiteX40342" fmla="*/ 1042578 w 6884782"/>
              <a:gd name="connsiteY40342" fmla="*/ 1966121 h 5973007"/>
              <a:gd name="connsiteX40343" fmla="*/ 1043921 w 6884782"/>
              <a:gd name="connsiteY40343" fmla="*/ 1969219 h 5973007"/>
              <a:gd name="connsiteX40344" fmla="*/ 1040410 w 6884782"/>
              <a:gd name="connsiteY40344" fmla="*/ 1973556 h 5973007"/>
              <a:gd name="connsiteX40345" fmla="*/ 1036589 w 6884782"/>
              <a:gd name="connsiteY40345" fmla="*/ 1973866 h 5973007"/>
              <a:gd name="connsiteX40346" fmla="*/ 1037725 w 6884782"/>
              <a:gd name="connsiteY40346" fmla="*/ 1975260 h 5973007"/>
              <a:gd name="connsiteX40347" fmla="*/ 1034215 w 6884782"/>
              <a:gd name="connsiteY40347" fmla="*/ 1979287 h 5973007"/>
              <a:gd name="connsiteX40348" fmla="*/ 1033079 w 6884782"/>
              <a:gd name="connsiteY40348" fmla="*/ 1975725 h 5973007"/>
              <a:gd name="connsiteX40349" fmla="*/ 1034628 w 6884782"/>
              <a:gd name="connsiteY40349" fmla="*/ 1974021 h 5973007"/>
              <a:gd name="connsiteX40350" fmla="*/ 1033905 w 6884782"/>
              <a:gd name="connsiteY40350" fmla="*/ 1974175 h 5973007"/>
              <a:gd name="connsiteX40351" fmla="*/ 1032356 w 6884782"/>
              <a:gd name="connsiteY40351" fmla="*/ 1969219 h 5973007"/>
              <a:gd name="connsiteX40352" fmla="*/ 1030084 w 6884782"/>
              <a:gd name="connsiteY40352" fmla="*/ 1967980 h 5973007"/>
              <a:gd name="connsiteX40353" fmla="*/ 1039377 w 6884782"/>
              <a:gd name="connsiteY40353" fmla="*/ 1965501 h 5973007"/>
              <a:gd name="connsiteX40354" fmla="*/ 1076240 w 6884782"/>
              <a:gd name="connsiteY40354" fmla="*/ 1965346 h 5973007"/>
              <a:gd name="connsiteX40355" fmla="*/ 1077479 w 6884782"/>
              <a:gd name="connsiteY40355" fmla="*/ 1970458 h 5973007"/>
              <a:gd name="connsiteX40356" fmla="*/ 1075827 w 6884782"/>
              <a:gd name="connsiteY40356" fmla="*/ 1972627 h 5973007"/>
              <a:gd name="connsiteX40357" fmla="*/ 1074381 w 6884782"/>
              <a:gd name="connsiteY40357" fmla="*/ 1970458 h 5973007"/>
              <a:gd name="connsiteX40358" fmla="*/ 1075311 w 6884782"/>
              <a:gd name="connsiteY40358" fmla="*/ 1968754 h 5973007"/>
              <a:gd name="connsiteX40359" fmla="*/ 1074691 w 6884782"/>
              <a:gd name="connsiteY40359" fmla="*/ 1966276 h 5973007"/>
              <a:gd name="connsiteX40360" fmla="*/ 1076240 w 6884782"/>
              <a:gd name="connsiteY40360" fmla="*/ 1965346 h 5973007"/>
              <a:gd name="connsiteX40361" fmla="*/ 5947582 w 6884782"/>
              <a:gd name="connsiteY40361" fmla="*/ 1965302 h 5973007"/>
              <a:gd name="connsiteX40362" fmla="*/ 5953984 w 6884782"/>
              <a:gd name="connsiteY40362" fmla="*/ 1969855 h 5973007"/>
              <a:gd name="connsiteX40363" fmla="*/ 5953344 w 6884782"/>
              <a:gd name="connsiteY40363" fmla="*/ 1973838 h 5973007"/>
              <a:gd name="connsiteX40364" fmla="*/ 5948435 w 6884782"/>
              <a:gd name="connsiteY40364" fmla="*/ 1977537 h 5973007"/>
              <a:gd name="connsiteX40365" fmla="*/ 5944594 w 6884782"/>
              <a:gd name="connsiteY40365" fmla="*/ 1967863 h 5973007"/>
              <a:gd name="connsiteX40366" fmla="*/ 5947582 w 6884782"/>
              <a:gd name="connsiteY40366" fmla="*/ 1965302 h 5973007"/>
              <a:gd name="connsiteX40367" fmla="*/ 5826573 w 6884782"/>
              <a:gd name="connsiteY40367" fmla="*/ 1965302 h 5973007"/>
              <a:gd name="connsiteX40368" fmla="*/ 5828280 w 6884782"/>
              <a:gd name="connsiteY40368" fmla="*/ 1966725 h 5973007"/>
              <a:gd name="connsiteX40369" fmla="*/ 5825719 w 6884782"/>
              <a:gd name="connsiteY40369" fmla="*/ 1966725 h 5973007"/>
              <a:gd name="connsiteX40370" fmla="*/ 5826573 w 6884782"/>
              <a:gd name="connsiteY40370" fmla="*/ 1965302 h 5973007"/>
              <a:gd name="connsiteX40371" fmla="*/ 5832122 w 6884782"/>
              <a:gd name="connsiteY40371" fmla="*/ 1965160 h 5973007"/>
              <a:gd name="connsiteX40372" fmla="*/ 5835536 w 6884782"/>
              <a:gd name="connsiteY40372" fmla="*/ 1965160 h 5973007"/>
              <a:gd name="connsiteX40373" fmla="*/ 5846421 w 6884782"/>
              <a:gd name="connsiteY40373" fmla="*/ 1970566 h 5973007"/>
              <a:gd name="connsiteX40374" fmla="*/ 5838737 w 6884782"/>
              <a:gd name="connsiteY40374" fmla="*/ 1979387 h 5973007"/>
              <a:gd name="connsiteX40375" fmla="*/ 5837244 w 6884782"/>
              <a:gd name="connsiteY40375" fmla="*/ 1978960 h 5973007"/>
              <a:gd name="connsiteX40376" fmla="*/ 5826359 w 6884782"/>
              <a:gd name="connsiteY40376" fmla="*/ 1970993 h 5973007"/>
              <a:gd name="connsiteX40377" fmla="*/ 5832122 w 6884782"/>
              <a:gd name="connsiteY40377" fmla="*/ 1965160 h 5973007"/>
              <a:gd name="connsiteX40378" fmla="*/ 1240107 w 6884782"/>
              <a:gd name="connsiteY40378" fmla="*/ 1964882 h 5973007"/>
              <a:gd name="connsiteX40379" fmla="*/ 1242173 w 6884782"/>
              <a:gd name="connsiteY40379" fmla="*/ 1965192 h 5973007"/>
              <a:gd name="connsiteX40380" fmla="*/ 1240314 w 6884782"/>
              <a:gd name="connsiteY40380" fmla="*/ 1965656 h 5973007"/>
              <a:gd name="connsiteX40381" fmla="*/ 1240107 w 6884782"/>
              <a:gd name="connsiteY40381" fmla="*/ 1964882 h 5973007"/>
              <a:gd name="connsiteX40382" fmla="*/ 6226308 w 6884782"/>
              <a:gd name="connsiteY40382" fmla="*/ 1964591 h 5973007"/>
              <a:gd name="connsiteX40383" fmla="*/ 6228442 w 6884782"/>
              <a:gd name="connsiteY40383" fmla="*/ 1965302 h 5973007"/>
              <a:gd name="connsiteX40384" fmla="*/ 6231643 w 6884782"/>
              <a:gd name="connsiteY40384" fmla="*/ 1967009 h 5973007"/>
              <a:gd name="connsiteX40385" fmla="*/ 6232070 w 6884782"/>
              <a:gd name="connsiteY40385" fmla="*/ 1969001 h 5973007"/>
              <a:gd name="connsiteX40386" fmla="*/ 6231430 w 6884782"/>
              <a:gd name="connsiteY40386" fmla="*/ 1971704 h 5973007"/>
              <a:gd name="connsiteX40387" fmla="*/ 6225668 w 6884782"/>
              <a:gd name="connsiteY40387" fmla="*/ 1969570 h 5973007"/>
              <a:gd name="connsiteX40388" fmla="*/ 6224814 w 6884782"/>
              <a:gd name="connsiteY40388" fmla="*/ 1965871 h 5973007"/>
              <a:gd name="connsiteX40389" fmla="*/ 6226308 w 6884782"/>
              <a:gd name="connsiteY40389" fmla="*/ 1964591 h 5973007"/>
              <a:gd name="connsiteX40390" fmla="*/ 1234635 w 6884782"/>
              <a:gd name="connsiteY40390" fmla="*/ 1964417 h 5973007"/>
              <a:gd name="connsiteX40391" fmla="*/ 1239798 w 6884782"/>
              <a:gd name="connsiteY40391" fmla="*/ 1965656 h 5973007"/>
              <a:gd name="connsiteX40392" fmla="*/ 1236390 w 6884782"/>
              <a:gd name="connsiteY40392" fmla="*/ 1966585 h 5973007"/>
              <a:gd name="connsiteX40393" fmla="*/ 1234635 w 6884782"/>
              <a:gd name="connsiteY40393" fmla="*/ 1964417 h 5973007"/>
              <a:gd name="connsiteX40394" fmla="*/ 1019449 w 6884782"/>
              <a:gd name="connsiteY40394" fmla="*/ 1964262 h 5973007"/>
              <a:gd name="connsiteX40395" fmla="*/ 1024922 w 6884782"/>
              <a:gd name="connsiteY40395" fmla="*/ 1972782 h 5973007"/>
              <a:gd name="connsiteX40396" fmla="*/ 1022340 w 6884782"/>
              <a:gd name="connsiteY40396" fmla="*/ 1972627 h 5973007"/>
              <a:gd name="connsiteX40397" fmla="*/ 1018416 w 6884782"/>
              <a:gd name="connsiteY40397" fmla="*/ 1966276 h 5973007"/>
              <a:gd name="connsiteX40398" fmla="*/ 1019449 w 6884782"/>
              <a:gd name="connsiteY40398" fmla="*/ 1964262 h 5973007"/>
              <a:gd name="connsiteX40399" fmla="*/ 1244238 w 6884782"/>
              <a:gd name="connsiteY40399" fmla="*/ 1963797 h 5973007"/>
              <a:gd name="connsiteX40400" fmla="*/ 1246303 w 6884782"/>
              <a:gd name="connsiteY40400" fmla="*/ 1964107 h 5973007"/>
              <a:gd name="connsiteX40401" fmla="*/ 1245683 w 6884782"/>
              <a:gd name="connsiteY40401" fmla="*/ 1965037 h 5973007"/>
              <a:gd name="connsiteX40402" fmla="*/ 1244238 w 6884782"/>
              <a:gd name="connsiteY40402" fmla="*/ 1963797 h 5973007"/>
              <a:gd name="connsiteX40403" fmla="*/ 5148965 w 6884782"/>
              <a:gd name="connsiteY40403" fmla="*/ 1963594 h 5973007"/>
              <a:gd name="connsiteX40404" fmla="*/ 5153233 w 6884782"/>
              <a:gd name="connsiteY40404" fmla="*/ 1966725 h 5973007"/>
              <a:gd name="connsiteX40405" fmla="*/ 5154727 w 6884782"/>
              <a:gd name="connsiteY40405" fmla="*/ 1971135 h 5973007"/>
              <a:gd name="connsiteX40406" fmla="*/ 5164544 w 6884782"/>
              <a:gd name="connsiteY40406" fmla="*/ 1974977 h 5973007"/>
              <a:gd name="connsiteX40407" fmla="*/ 5169026 w 6884782"/>
              <a:gd name="connsiteY40407" fmla="*/ 1986073 h 5973007"/>
              <a:gd name="connsiteX40408" fmla="*/ 5164331 w 6884782"/>
              <a:gd name="connsiteY40408" fmla="*/ 1987212 h 5973007"/>
              <a:gd name="connsiteX40409" fmla="*/ 5158996 w 6884782"/>
              <a:gd name="connsiteY40409" fmla="*/ 1978391 h 5973007"/>
              <a:gd name="connsiteX40410" fmla="*/ 5155154 w 6884782"/>
              <a:gd name="connsiteY40410" fmla="*/ 1972415 h 5973007"/>
              <a:gd name="connsiteX40411" fmla="*/ 5155368 w 6884782"/>
              <a:gd name="connsiteY40411" fmla="*/ 1973127 h 5973007"/>
              <a:gd name="connsiteX40412" fmla="*/ 5142562 w 6884782"/>
              <a:gd name="connsiteY40412" fmla="*/ 1978533 h 5973007"/>
              <a:gd name="connsiteX40413" fmla="*/ 5148965 w 6884782"/>
              <a:gd name="connsiteY40413" fmla="*/ 1963594 h 5973007"/>
              <a:gd name="connsiteX40414" fmla="*/ 5831694 w 6884782"/>
              <a:gd name="connsiteY40414" fmla="*/ 1963452 h 5973007"/>
              <a:gd name="connsiteX40415" fmla="*/ 5833615 w 6884782"/>
              <a:gd name="connsiteY40415" fmla="*/ 1963452 h 5973007"/>
              <a:gd name="connsiteX40416" fmla="*/ 5833829 w 6884782"/>
              <a:gd name="connsiteY40416" fmla="*/ 1964448 h 5973007"/>
              <a:gd name="connsiteX40417" fmla="*/ 5831268 w 6884782"/>
              <a:gd name="connsiteY40417" fmla="*/ 1964448 h 5973007"/>
              <a:gd name="connsiteX40418" fmla="*/ 5831694 w 6884782"/>
              <a:gd name="connsiteY40418" fmla="*/ 1963452 h 5973007"/>
              <a:gd name="connsiteX40419" fmla="*/ 4835238 w 6884782"/>
              <a:gd name="connsiteY40419" fmla="*/ 1963310 h 5973007"/>
              <a:gd name="connsiteX40420" fmla="*/ 4845909 w 6884782"/>
              <a:gd name="connsiteY40420" fmla="*/ 1963452 h 5973007"/>
              <a:gd name="connsiteX40421" fmla="*/ 4849323 w 6884782"/>
              <a:gd name="connsiteY40421" fmla="*/ 1974834 h 5973007"/>
              <a:gd name="connsiteX40422" fmla="*/ 4816670 w 6884782"/>
              <a:gd name="connsiteY40422" fmla="*/ 1977537 h 5973007"/>
              <a:gd name="connsiteX40423" fmla="*/ 4812615 w 6884782"/>
              <a:gd name="connsiteY40423" fmla="*/ 1974977 h 5973007"/>
              <a:gd name="connsiteX40424" fmla="*/ 4810694 w 6884782"/>
              <a:gd name="connsiteY40424" fmla="*/ 1977110 h 5973007"/>
              <a:gd name="connsiteX40425" fmla="*/ 4808133 w 6884782"/>
              <a:gd name="connsiteY40425" fmla="*/ 1981094 h 5973007"/>
              <a:gd name="connsiteX40426" fmla="*/ 4804719 w 6884782"/>
              <a:gd name="connsiteY40426" fmla="*/ 1981805 h 5973007"/>
              <a:gd name="connsiteX40427" fmla="*/ 4806853 w 6884782"/>
              <a:gd name="connsiteY40427" fmla="*/ 1971277 h 5973007"/>
              <a:gd name="connsiteX40428" fmla="*/ 4814109 w 6884782"/>
              <a:gd name="connsiteY40428" fmla="*/ 1966298 h 5973007"/>
              <a:gd name="connsiteX40429" fmla="*/ 4815603 w 6884782"/>
              <a:gd name="connsiteY40429" fmla="*/ 1968290 h 5973007"/>
              <a:gd name="connsiteX40430" fmla="*/ 4815603 w 6884782"/>
              <a:gd name="connsiteY40430" fmla="*/ 1971846 h 5973007"/>
              <a:gd name="connsiteX40431" fmla="*/ 4812829 w 6884782"/>
              <a:gd name="connsiteY40431" fmla="*/ 1974692 h 5973007"/>
              <a:gd name="connsiteX40432" fmla="*/ 4826701 w 6884782"/>
              <a:gd name="connsiteY40432" fmla="*/ 1966013 h 5973007"/>
              <a:gd name="connsiteX40433" fmla="*/ 4835238 w 6884782"/>
              <a:gd name="connsiteY40433" fmla="*/ 1963310 h 5973007"/>
              <a:gd name="connsiteX40434" fmla="*/ 1260346 w 6884782"/>
              <a:gd name="connsiteY40434" fmla="*/ 1963178 h 5973007"/>
              <a:gd name="connsiteX40435" fmla="*/ 1246303 w 6884782"/>
              <a:gd name="connsiteY40435" fmla="*/ 1964262 h 5973007"/>
              <a:gd name="connsiteX40436" fmla="*/ 1260346 w 6884782"/>
              <a:gd name="connsiteY40436" fmla="*/ 1963178 h 5973007"/>
              <a:gd name="connsiteX40437" fmla="*/ 4943228 w 6884782"/>
              <a:gd name="connsiteY40437" fmla="*/ 1963168 h 5973007"/>
              <a:gd name="connsiteX40438" fmla="*/ 4945576 w 6884782"/>
              <a:gd name="connsiteY40438" fmla="*/ 1964876 h 5973007"/>
              <a:gd name="connsiteX40439" fmla="*/ 4944722 w 6884782"/>
              <a:gd name="connsiteY40439" fmla="*/ 1968717 h 5973007"/>
              <a:gd name="connsiteX40440" fmla="*/ 4938960 w 6884782"/>
              <a:gd name="connsiteY40440" fmla="*/ 1973696 h 5973007"/>
              <a:gd name="connsiteX40441" fmla="*/ 4931703 w 6884782"/>
              <a:gd name="connsiteY40441" fmla="*/ 1975830 h 5973007"/>
              <a:gd name="connsiteX40442" fmla="*/ 4933411 w 6884782"/>
              <a:gd name="connsiteY40442" fmla="*/ 1968005 h 5973007"/>
              <a:gd name="connsiteX40443" fmla="*/ 4943228 w 6884782"/>
              <a:gd name="connsiteY40443" fmla="*/ 1963168 h 5973007"/>
              <a:gd name="connsiteX40444" fmla="*/ 6033376 w 6884782"/>
              <a:gd name="connsiteY40444" fmla="*/ 1962884 h 5973007"/>
              <a:gd name="connsiteX40445" fmla="*/ 6041486 w 6884782"/>
              <a:gd name="connsiteY40445" fmla="*/ 1968574 h 5973007"/>
              <a:gd name="connsiteX40446" fmla="*/ 6039993 w 6884782"/>
              <a:gd name="connsiteY40446" fmla="*/ 1979813 h 5973007"/>
              <a:gd name="connsiteX40447" fmla="*/ 6024413 w 6884782"/>
              <a:gd name="connsiteY40447" fmla="*/ 1975972 h 5973007"/>
              <a:gd name="connsiteX40448" fmla="*/ 6033376 w 6884782"/>
              <a:gd name="connsiteY40448" fmla="*/ 1962884 h 5973007"/>
              <a:gd name="connsiteX40449" fmla="*/ 3617891 w 6884782"/>
              <a:gd name="connsiteY40449" fmla="*/ 1962172 h 5973007"/>
              <a:gd name="connsiteX40450" fmla="*/ 3621093 w 6884782"/>
              <a:gd name="connsiteY40450" fmla="*/ 1963879 h 5973007"/>
              <a:gd name="connsiteX40451" fmla="*/ 3615117 w 6884782"/>
              <a:gd name="connsiteY40451" fmla="*/ 1977110 h 5973007"/>
              <a:gd name="connsiteX40452" fmla="*/ 3607220 w 6884782"/>
              <a:gd name="connsiteY40452" fmla="*/ 1967436 h 5973007"/>
              <a:gd name="connsiteX40453" fmla="*/ 3617891 w 6884782"/>
              <a:gd name="connsiteY40453" fmla="*/ 1962172 h 5973007"/>
              <a:gd name="connsiteX40454" fmla="*/ 1273666 w 6884782"/>
              <a:gd name="connsiteY40454" fmla="*/ 1961474 h 5973007"/>
              <a:gd name="connsiteX40455" fmla="*/ 1267367 w 6884782"/>
              <a:gd name="connsiteY40455" fmla="*/ 1963178 h 5973007"/>
              <a:gd name="connsiteX40456" fmla="*/ 1266231 w 6884782"/>
              <a:gd name="connsiteY40456" fmla="*/ 1962558 h 5973007"/>
              <a:gd name="connsiteX40457" fmla="*/ 1273666 w 6884782"/>
              <a:gd name="connsiteY40457" fmla="*/ 1961474 h 5973007"/>
              <a:gd name="connsiteX40458" fmla="*/ 5311591 w 6884782"/>
              <a:gd name="connsiteY40458" fmla="*/ 1961034 h 5973007"/>
              <a:gd name="connsiteX40459" fmla="*/ 5318420 w 6884782"/>
              <a:gd name="connsiteY40459" fmla="*/ 1963310 h 5973007"/>
              <a:gd name="connsiteX40460" fmla="*/ 5320341 w 6884782"/>
              <a:gd name="connsiteY40460" fmla="*/ 1967294 h 5973007"/>
              <a:gd name="connsiteX40461" fmla="*/ 5317993 w 6884782"/>
              <a:gd name="connsiteY40461" fmla="*/ 1970566 h 5973007"/>
              <a:gd name="connsiteX40462" fmla="*/ 5313298 w 6884782"/>
              <a:gd name="connsiteY40462" fmla="*/ 1970993 h 5973007"/>
              <a:gd name="connsiteX40463" fmla="*/ 5311591 w 6884782"/>
              <a:gd name="connsiteY40463" fmla="*/ 1961034 h 5973007"/>
              <a:gd name="connsiteX40464" fmla="*/ 1216668 w 6884782"/>
              <a:gd name="connsiteY40464" fmla="*/ 1960545 h 5973007"/>
              <a:gd name="connsiteX40465" fmla="*/ 1220179 w 6884782"/>
              <a:gd name="connsiteY40465" fmla="*/ 1960854 h 5973007"/>
              <a:gd name="connsiteX40466" fmla="*/ 1221005 w 6884782"/>
              <a:gd name="connsiteY40466" fmla="*/ 1963488 h 5973007"/>
              <a:gd name="connsiteX40467" fmla="*/ 1216668 w 6884782"/>
              <a:gd name="connsiteY40467" fmla="*/ 1960545 h 5973007"/>
              <a:gd name="connsiteX40468" fmla="*/ 5075126 w 6884782"/>
              <a:gd name="connsiteY40468" fmla="*/ 1960325 h 5973007"/>
              <a:gd name="connsiteX40469" fmla="*/ 5077256 w 6884782"/>
              <a:gd name="connsiteY40469" fmla="*/ 1961603 h 5973007"/>
              <a:gd name="connsiteX40470" fmla="*/ 5077896 w 6884782"/>
              <a:gd name="connsiteY40470" fmla="*/ 1960607 h 5973007"/>
              <a:gd name="connsiteX40471" fmla="*/ 5079390 w 6884782"/>
              <a:gd name="connsiteY40471" fmla="*/ 1962741 h 5973007"/>
              <a:gd name="connsiteX40472" fmla="*/ 5079176 w 6884782"/>
              <a:gd name="connsiteY40472" fmla="*/ 1971988 h 5973007"/>
              <a:gd name="connsiteX40473" fmla="*/ 5073841 w 6884782"/>
              <a:gd name="connsiteY40473" fmla="*/ 1969001 h 5973007"/>
              <a:gd name="connsiteX40474" fmla="*/ 5072774 w 6884782"/>
              <a:gd name="connsiteY40474" fmla="*/ 1964022 h 5973007"/>
              <a:gd name="connsiteX40475" fmla="*/ 1214706 w 6884782"/>
              <a:gd name="connsiteY40475" fmla="*/ 1959770 h 5973007"/>
              <a:gd name="connsiteX40476" fmla="*/ 1216049 w 6884782"/>
              <a:gd name="connsiteY40476" fmla="*/ 1960390 h 5973007"/>
              <a:gd name="connsiteX40477" fmla="*/ 1216049 w 6884782"/>
              <a:gd name="connsiteY40477" fmla="*/ 1961164 h 5973007"/>
              <a:gd name="connsiteX40478" fmla="*/ 1214087 w 6884782"/>
              <a:gd name="connsiteY40478" fmla="*/ 1960235 h 5973007"/>
              <a:gd name="connsiteX40479" fmla="*/ 1214706 w 6884782"/>
              <a:gd name="connsiteY40479" fmla="*/ 1959770 h 5973007"/>
              <a:gd name="connsiteX40480" fmla="*/ 892547 w 6884782"/>
              <a:gd name="connsiteY40480" fmla="*/ 1959770 h 5973007"/>
              <a:gd name="connsiteX40481" fmla="*/ 894096 w 6884782"/>
              <a:gd name="connsiteY40481" fmla="*/ 1960700 h 5973007"/>
              <a:gd name="connsiteX40482" fmla="*/ 891618 w 6884782"/>
              <a:gd name="connsiteY40482" fmla="*/ 1963178 h 5973007"/>
              <a:gd name="connsiteX40483" fmla="*/ 890792 w 6884782"/>
              <a:gd name="connsiteY40483" fmla="*/ 1961784 h 5973007"/>
              <a:gd name="connsiteX40484" fmla="*/ 890069 w 6884782"/>
              <a:gd name="connsiteY40484" fmla="*/ 1962404 h 5973007"/>
              <a:gd name="connsiteX40485" fmla="*/ 889965 w 6884782"/>
              <a:gd name="connsiteY40485" fmla="*/ 1960700 h 5973007"/>
              <a:gd name="connsiteX40486" fmla="*/ 890688 w 6884782"/>
              <a:gd name="connsiteY40486" fmla="*/ 1960080 h 5973007"/>
              <a:gd name="connsiteX40487" fmla="*/ 890792 w 6884782"/>
              <a:gd name="connsiteY40487" fmla="*/ 1959926 h 5973007"/>
              <a:gd name="connsiteX40488" fmla="*/ 892547 w 6884782"/>
              <a:gd name="connsiteY40488" fmla="*/ 1959770 h 5973007"/>
              <a:gd name="connsiteX40489" fmla="*/ 5075762 w 6884782"/>
              <a:gd name="connsiteY40489" fmla="*/ 1959327 h 5973007"/>
              <a:gd name="connsiteX40490" fmla="*/ 5075126 w 6884782"/>
              <a:gd name="connsiteY40490" fmla="*/ 1960325 h 5973007"/>
              <a:gd name="connsiteX40491" fmla="*/ 5075122 w 6884782"/>
              <a:gd name="connsiteY40491" fmla="*/ 1960322 h 5973007"/>
              <a:gd name="connsiteX40492" fmla="*/ 5075762 w 6884782"/>
              <a:gd name="connsiteY40492" fmla="*/ 1959327 h 5973007"/>
              <a:gd name="connsiteX40493" fmla="*/ 1298654 w 6884782"/>
              <a:gd name="connsiteY40493" fmla="*/ 1959150 h 5973007"/>
              <a:gd name="connsiteX40494" fmla="*/ 1298654 w 6884782"/>
              <a:gd name="connsiteY40494" fmla="*/ 1960854 h 5973007"/>
              <a:gd name="connsiteX40495" fmla="*/ 1297931 w 6884782"/>
              <a:gd name="connsiteY40495" fmla="*/ 1963023 h 5973007"/>
              <a:gd name="connsiteX40496" fmla="*/ 1298654 w 6884782"/>
              <a:gd name="connsiteY40496" fmla="*/ 1964572 h 5973007"/>
              <a:gd name="connsiteX40497" fmla="*/ 1294833 w 6884782"/>
              <a:gd name="connsiteY40497" fmla="*/ 1969838 h 5973007"/>
              <a:gd name="connsiteX40498" fmla="*/ 1295659 w 6884782"/>
              <a:gd name="connsiteY40498" fmla="*/ 1965811 h 5973007"/>
              <a:gd name="connsiteX40499" fmla="*/ 1296382 w 6884782"/>
              <a:gd name="connsiteY40499" fmla="*/ 1963642 h 5973007"/>
              <a:gd name="connsiteX40500" fmla="*/ 1296382 w 6884782"/>
              <a:gd name="connsiteY40500" fmla="*/ 1961784 h 5973007"/>
              <a:gd name="connsiteX40501" fmla="*/ 1298654 w 6884782"/>
              <a:gd name="connsiteY40501" fmla="*/ 1959150 h 5973007"/>
              <a:gd name="connsiteX40502" fmla="*/ 5645166 w 6884782"/>
              <a:gd name="connsiteY40502" fmla="*/ 1958900 h 5973007"/>
              <a:gd name="connsiteX40503" fmla="*/ 5648367 w 6884782"/>
              <a:gd name="connsiteY40503" fmla="*/ 1960181 h 5973007"/>
              <a:gd name="connsiteX40504" fmla="*/ 5647300 w 6884782"/>
              <a:gd name="connsiteY40504" fmla="*/ 1965017 h 5973007"/>
              <a:gd name="connsiteX40505" fmla="*/ 5643672 w 6884782"/>
              <a:gd name="connsiteY40505" fmla="*/ 1965729 h 5973007"/>
              <a:gd name="connsiteX40506" fmla="*/ 5643672 w 6884782"/>
              <a:gd name="connsiteY40506" fmla="*/ 1964591 h 5973007"/>
              <a:gd name="connsiteX40507" fmla="*/ 5642605 w 6884782"/>
              <a:gd name="connsiteY40507" fmla="*/ 1959469 h 5973007"/>
              <a:gd name="connsiteX40508" fmla="*/ 5645166 w 6884782"/>
              <a:gd name="connsiteY40508" fmla="*/ 1958900 h 5973007"/>
              <a:gd name="connsiteX40509" fmla="*/ 1210576 w 6884782"/>
              <a:gd name="connsiteY40509" fmla="*/ 1957912 h 5973007"/>
              <a:gd name="connsiteX40510" fmla="*/ 1212435 w 6884782"/>
              <a:gd name="connsiteY40510" fmla="*/ 1960080 h 5973007"/>
              <a:gd name="connsiteX40511" fmla="*/ 1212744 w 6884782"/>
              <a:gd name="connsiteY40511" fmla="*/ 1961319 h 5973007"/>
              <a:gd name="connsiteX40512" fmla="*/ 1213570 w 6884782"/>
              <a:gd name="connsiteY40512" fmla="*/ 1961784 h 5973007"/>
              <a:gd name="connsiteX40513" fmla="*/ 1213054 w 6884782"/>
              <a:gd name="connsiteY40513" fmla="*/ 1962404 h 5973007"/>
              <a:gd name="connsiteX40514" fmla="*/ 1213777 w 6884782"/>
              <a:gd name="connsiteY40514" fmla="*/ 1964727 h 5973007"/>
              <a:gd name="connsiteX40515" fmla="*/ 1217081 w 6884782"/>
              <a:gd name="connsiteY40515" fmla="*/ 1969683 h 5973007"/>
              <a:gd name="connsiteX40516" fmla="*/ 1217391 w 6884782"/>
              <a:gd name="connsiteY40516" fmla="*/ 1975725 h 5973007"/>
              <a:gd name="connsiteX40517" fmla="*/ 1215016 w 6884782"/>
              <a:gd name="connsiteY40517" fmla="*/ 1976189 h 5973007"/>
              <a:gd name="connsiteX40518" fmla="*/ 1215636 w 6884782"/>
              <a:gd name="connsiteY40518" fmla="*/ 1978513 h 5973007"/>
              <a:gd name="connsiteX40519" fmla="*/ 1209337 w 6884782"/>
              <a:gd name="connsiteY40519" fmla="*/ 1986877 h 5973007"/>
              <a:gd name="connsiteX40520" fmla="*/ 1204174 w 6884782"/>
              <a:gd name="connsiteY40520" fmla="*/ 1986412 h 5973007"/>
              <a:gd name="connsiteX40521" fmla="*/ 1201386 w 6884782"/>
              <a:gd name="connsiteY40521" fmla="*/ 1984244 h 5973007"/>
              <a:gd name="connsiteX40522" fmla="*/ 1201283 w 6884782"/>
              <a:gd name="connsiteY40522" fmla="*/ 1984244 h 5973007"/>
              <a:gd name="connsiteX40523" fmla="*/ 1195604 w 6884782"/>
              <a:gd name="connsiteY40523" fmla="*/ 1984553 h 5973007"/>
              <a:gd name="connsiteX40524" fmla="*/ 1189202 w 6884782"/>
              <a:gd name="connsiteY40524" fmla="*/ 1982075 h 5973007"/>
              <a:gd name="connsiteX40525" fmla="*/ 1188273 w 6884782"/>
              <a:gd name="connsiteY40525" fmla="*/ 1979906 h 5973007"/>
              <a:gd name="connsiteX40526" fmla="*/ 1185898 w 6884782"/>
              <a:gd name="connsiteY40526" fmla="*/ 1981765 h 5973007"/>
              <a:gd name="connsiteX40527" fmla="*/ 1182387 w 6884782"/>
              <a:gd name="connsiteY40527" fmla="*/ 1982075 h 5973007"/>
              <a:gd name="connsiteX40528" fmla="*/ 1185072 w 6884782"/>
              <a:gd name="connsiteY40528" fmla="*/ 1979132 h 5973007"/>
              <a:gd name="connsiteX40529" fmla="*/ 1186621 w 6884782"/>
              <a:gd name="connsiteY40529" fmla="*/ 1978048 h 5973007"/>
              <a:gd name="connsiteX40530" fmla="*/ 1187860 w 6884782"/>
              <a:gd name="connsiteY40530" fmla="*/ 1978822 h 5973007"/>
              <a:gd name="connsiteX40531" fmla="*/ 1187757 w 6884782"/>
              <a:gd name="connsiteY40531" fmla="*/ 1978513 h 5973007"/>
              <a:gd name="connsiteX40532" fmla="*/ 1187963 w 6884782"/>
              <a:gd name="connsiteY40532" fmla="*/ 1974175 h 5973007"/>
              <a:gd name="connsiteX40533" fmla="*/ 1187860 w 6884782"/>
              <a:gd name="connsiteY40533" fmla="*/ 1974175 h 5973007"/>
              <a:gd name="connsiteX40534" fmla="*/ 1187653 w 6884782"/>
              <a:gd name="connsiteY40534" fmla="*/ 1972936 h 5973007"/>
              <a:gd name="connsiteX40535" fmla="*/ 1187963 w 6884782"/>
              <a:gd name="connsiteY40535" fmla="*/ 1972936 h 5973007"/>
              <a:gd name="connsiteX40536" fmla="*/ 1188066 w 6884782"/>
              <a:gd name="connsiteY40536" fmla="*/ 1973091 h 5973007"/>
              <a:gd name="connsiteX40537" fmla="*/ 1189408 w 6884782"/>
              <a:gd name="connsiteY40537" fmla="*/ 1973401 h 5973007"/>
              <a:gd name="connsiteX40538" fmla="*/ 1189822 w 6884782"/>
              <a:gd name="connsiteY40538" fmla="*/ 1973866 h 5973007"/>
              <a:gd name="connsiteX40539" fmla="*/ 1191887 w 6884782"/>
              <a:gd name="connsiteY40539" fmla="*/ 1974640 h 5973007"/>
              <a:gd name="connsiteX40540" fmla="*/ 1192919 w 6884782"/>
              <a:gd name="connsiteY40540" fmla="*/ 1974640 h 5973007"/>
              <a:gd name="connsiteX40541" fmla="*/ 1195707 w 6884782"/>
              <a:gd name="connsiteY40541" fmla="*/ 1976189 h 5973007"/>
              <a:gd name="connsiteX40542" fmla="*/ 1200044 w 6884782"/>
              <a:gd name="connsiteY40542" fmla="*/ 1977118 h 5973007"/>
              <a:gd name="connsiteX40543" fmla="*/ 1200044 w 6884782"/>
              <a:gd name="connsiteY40543" fmla="*/ 1975570 h 5973007"/>
              <a:gd name="connsiteX40544" fmla="*/ 1201593 w 6884782"/>
              <a:gd name="connsiteY40544" fmla="*/ 1973091 h 5973007"/>
              <a:gd name="connsiteX40545" fmla="*/ 1203452 w 6884782"/>
              <a:gd name="connsiteY40545" fmla="*/ 1972007 h 5973007"/>
              <a:gd name="connsiteX40546" fmla="*/ 1201799 w 6884782"/>
              <a:gd name="connsiteY40546" fmla="*/ 1972007 h 5973007"/>
              <a:gd name="connsiteX40547" fmla="*/ 1203142 w 6884782"/>
              <a:gd name="connsiteY40547" fmla="*/ 1968599 h 5973007"/>
              <a:gd name="connsiteX40548" fmla="*/ 1205930 w 6884782"/>
              <a:gd name="connsiteY40548" fmla="*/ 1967980 h 5973007"/>
              <a:gd name="connsiteX40549" fmla="*/ 1205826 w 6884782"/>
              <a:gd name="connsiteY40549" fmla="*/ 1968754 h 5973007"/>
              <a:gd name="connsiteX40550" fmla="*/ 1206033 w 6884782"/>
              <a:gd name="connsiteY40550" fmla="*/ 1971542 h 5973007"/>
              <a:gd name="connsiteX40551" fmla="*/ 1209028 w 6884782"/>
              <a:gd name="connsiteY40551" fmla="*/ 1971387 h 5973007"/>
              <a:gd name="connsiteX40552" fmla="*/ 1210473 w 6884782"/>
              <a:gd name="connsiteY40552" fmla="*/ 1971852 h 5973007"/>
              <a:gd name="connsiteX40553" fmla="*/ 1211919 w 6884782"/>
              <a:gd name="connsiteY40553" fmla="*/ 1971542 h 5973007"/>
              <a:gd name="connsiteX40554" fmla="*/ 1210473 w 6884782"/>
              <a:gd name="connsiteY40554" fmla="*/ 1966121 h 5973007"/>
              <a:gd name="connsiteX40555" fmla="*/ 1209854 w 6884782"/>
              <a:gd name="connsiteY40555" fmla="*/ 1960235 h 5973007"/>
              <a:gd name="connsiteX40556" fmla="*/ 1209957 w 6884782"/>
              <a:gd name="connsiteY40556" fmla="*/ 1959926 h 5973007"/>
              <a:gd name="connsiteX40557" fmla="*/ 1209647 w 6884782"/>
              <a:gd name="connsiteY40557" fmla="*/ 1959770 h 5973007"/>
              <a:gd name="connsiteX40558" fmla="*/ 1209957 w 6884782"/>
              <a:gd name="connsiteY40558" fmla="*/ 1959460 h 5973007"/>
              <a:gd name="connsiteX40559" fmla="*/ 5080244 w 6884782"/>
              <a:gd name="connsiteY40559" fmla="*/ 1957051 h 5973007"/>
              <a:gd name="connsiteX40560" fmla="*/ 5082805 w 6884782"/>
              <a:gd name="connsiteY40560" fmla="*/ 1957051 h 5973007"/>
              <a:gd name="connsiteX40561" fmla="*/ 5089847 w 6884782"/>
              <a:gd name="connsiteY40561" fmla="*/ 1958900 h 5973007"/>
              <a:gd name="connsiteX40562" fmla="*/ 5087073 w 6884782"/>
              <a:gd name="connsiteY40562" fmla="*/ 1961603 h 5973007"/>
              <a:gd name="connsiteX40563" fmla="*/ 5084085 w 6884782"/>
              <a:gd name="connsiteY40563" fmla="*/ 1960322 h 5973007"/>
              <a:gd name="connsiteX40564" fmla="*/ 5081524 w 6884782"/>
              <a:gd name="connsiteY40564" fmla="*/ 1960322 h 5973007"/>
              <a:gd name="connsiteX40565" fmla="*/ 5080244 w 6884782"/>
              <a:gd name="connsiteY40565" fmla="*/ 1957051 h 5973007"/>
              <a:gd name="connsiteX40566" fmla="*/ 5298572 w 6884782"/>
              <a:gd name="connsiteY40566" fmla="*/ 1956908 h 5973007"/>
              <a:gd name="connsiteX40567" fmla="*/ 5301987 w 6884782"/>
              <a:gd name="connsiteY40567" fmla="*/ 1956908 h 5973007"/>
              <a:gd name="connsiteX40568" fmla="*/ 5306896 w 6884782"/>
              <a:gd name="connsiteY40568" fmla="*/ 1965017 h 5973007"/>
              <a:gd name="connsiteX40569" fmla="*/ 5310737 w 6884782"/>
              <a:gd name="connsiteY40569" fmla="*/ 1969712 h 5973007"/>
              <a:gd name="connsiteX40570" fmla="*/ 5304334 w 6884782"/>
              <a:gd name="connsiteY40570" fmla="*/ 1964876 h 5973007"/>
              <a:gd name="connsiteX40571" fmla="*/ 5300706 w 6884782"/>
              <a:gd name="connsiteY40571" fmla="*/ 1965017 h 5973007"/>
              <a:gd name="connsiteX40572" fmla="*/ 5296651 w 6884782"/>
              <a:gd name="connsiteY40572" fmla="*/ 1959184 h 5973007"/>
              <a:gd name="connsiteX40573" fmla="*/ 5298572 w 6884782"/>
              <a:gd name="connsiteY40573" fmla="*/ 1956908 h 5973007"/>
              <a:gd name="connsiteX40574" fmla="*/ 1116923 w 6884782"/>
              <a:gd name="connsiteY40574" fmla="*/ 1956827 h 5973007"/>
              <a:gd name="connsiteX40575" fmla="*/ 1118162 w 6884782"/>
              <a:gd name="connsiteY40575" fmla="*/ 1956982 h 5973007"/>
              <a:gd name="connsiteX40576" fmla="*/ 1115271 w 6884782"/>
              <a:gd name="connsiteY40576" fmla="*/ 1960854 h 5973007"/>
              <a:gd name="connsiteX40577" fmla="*/ 1116923 w 6884782"/>
              <a:gd name="connsiteY40577" fmla="*/ 1956827 h 5973007"/>
              <a:gd name="connsiteX40578" fmla="*/ 778552 w 6884782"/>
              <a:gd name="connsiteY40578" fmla="*/ 1956827 h 5973007"/>
              <a:gd name="connsiteX40579" fmla="*/ 781753 w 6884782"/>
              <a:gd name="connsiteY40579" fmla="*/ 1960700 h 5973007"/>
              <a:gd name="connsiteX40580" fmla="*/ 773183 w 6884782"/>
              <a:gd name="connsiteY40580" fmla="*/ 1962713 h 5973007"/>
              <a:gd name="connsiteX40581" fmla="*/ 778552 w 6884782"/>
              <a:gd name="connsiteY40581" fmla="*/ 1956827 h 5973007"/>
              <a:gd name="connsiteX40582" fmla="*/ 5100305 w 6884782"/>
              <a:gd name="connsiteY40582" fmla="*/ 1956339 h 5973007"/>
              <a:gd name="connsiteX40583" fmla="*/ 5108415 w 6884782"/>
              <a:gd name="connsiteY40583" fmla="*/ 1962029 h 5973007"/>
              <a:gd name="connsiteX40584" fmla="*/ 5108628 w 6884782"/>
              <a:gd name="connsiteY40584" fmla="*/ 1965017 h 5973007"/>
              <a:gd name="connsiteX40585" fmla="*/ 5102866 w 6884782"/>
              <a:gd name="connsiteY40585" fmla="*/ 1966582 h 5973007"/>
              <a:gd name="connsiteX40586" fmla="*/ 5095823 w 6884782"/>
              <a:gd name="connsiteY40586" fmla="*/ 1958473 h 5973007"/>
              <a:gd name="connsiteX40587" fmla="*/ 5100305 w 6884782"/>
              <a:gd name="connsiteY40587" fmla="*/ 1956339 h 5973007"/>
              <a:gd name="connsiteX40588" fmla="*/ 3704326 w 6884782"/>
              <a:gd name="connsiteY40588" fmla="*/ 1956339 h 5973007"/>
              <a:gd name="connsiteX40589" fmla="*/ 3709876 w 6884782"/>
              <a:gd name="connsiteY40589" fmla="*/ 1962172 h 5973007"/>
              <a:gd name="connsiteX40590" fmla="*/ 3707741 w 6884782"/>
              <a:gd name="connsiteY40590" fmla="*/ 1965729 h 5973007"/>
              <a:gd name="connsiteX40591" fmla="*/ 3704326 w 6884782"/>
              <a:gd name="connsiteY40591" fmla="*/ 1956339 h 5973007"/>
              <a:gd name="connsiteX40592" fmla="*/ 1195810 w 6884782"/>
              <a:gd name="connsiteY40592" fmla="*/ 1955743 h 5973007"/>
              <a:gd name="connsiteX40593" fmla="*/ 1209647 w 6884782"/>
              <a:gd name="connsiteY40593" fmla="*/ 1959616 h 5973007"/>
              <a:gd name="connsiteX40594" fmla="*/ 1195810 w 6884782"/>
              <a:gd name="connsiteY40594" fmla="*/ 1955743 h 5973007"/>
              <a:gd name="connsiteX40595" fmla="*/ 959663 w 6884782"/>
              <a:gd name="connsiteY40595" fmla="*/ 1955433 h 5973007"/>
              <a:gd name="connsiteX40596" fmla="*/ 965239 w 6884782"/>
              <a:gd name="connsiteY40596" fmla="*/ 1965192 h 5973007"/>
              <a:gd name="connsiteX40597" fmla="*/ 961625 w 6884782"/>
              <a:gd name="connsiteY40597" fmla="*/ 1966585 h 5973007"/>
              <a:gd name="connsiteX40598" fmla="*/ 962142 w 6884782"/>
              <a:gd name="connsiteY40598" fmla="*/ 1966895 h 5973007"/>
              <a:gd name="connsiteX40599" fmla="*/ 938806 w 6884782"/>
              <a:gd name="connsiteY40599" fmla="*/ 1967980 h 5973007"/>
              <a:gd name="connsiteX40600" fmla="*/ 951506 w 6884782"/>
              <a:gd name="connsiteY40600" fmla="*/ 1963488 h 5973007"/>
              <a:gd name="connsiteX40601" fmla="*/ 955740 w 6884782"/>
              <a:gd name="connsiteY40601" fmla="*/ 1964107 h 5973007"/>
              <a:gd name="connsiteX40602" fmla="*/ 956669 w 6884782"/>
              <a:gd name="connsiteY40602" fmla="*/ 1961009 h 5973007"/>
              <a:gd name="connsiteX40603" fmla="*/ 959663 w 6884782"/>
              <a:gd name="connsiteY40603" fmla="*/ 1955433 h 5973007"/>
              <a:gd name="connsiteX40604" fmla="*/ 4990821 w 6884782"/>
              <a:gd name="connsiteY40604" fmla="*/ 1954774 h 5973007"/>
              <a:gd name="connsiteX40605" fmla="*/ 4992528 w 6884782"/>
              <a:gd name="connsiteY40605" fmla="*/ 1956481 h 5973007"/>
              <a:gd name="connsiteX40606" fmla="*/ 4996370 w 6884782"/>
              <a:gd name="connsiteY40606" fmla="*/ 1960181 h 5973007"/>
              <a:gd name="connsiteX40607" fmla="*/ 4989113 w 6884782"/>
              <a:gd name="connsiteY40607" fmla="*/ 1955058 h 5973007"/>
              <a:gd name="connsiteX40608" fmla="*/ 4990821 w 6884782"/>
              <a:gd name="connsiteY40608" fmla="*/ 1954774 h 5973007"/>
              <a:gd name="connsiteX40609" fmla="*/ 5497693 w 6884782"/>
              <a:gd name="connsiteY40609" fmla="*/ 1954347 h 5973007"/>
              <a:gd name="connsiteX40610" fmla="*/ 5523730 w 6884782"/>
              <a:gd name="connsiteY40610" fmla="*/ 1965017 h 5973007"/>
              <a:gd name="connsiteX40611" fmla="*/ 5543578 w 6884782"/>
              <a:gd name="connsiteY40611" fmla="*/ 1996885 h 5973007"/>
              <a:gd name="connsiteX40612" fmla="*/ 5536108 w 6884782"/>
              <a:gd name="connsiteY40612" fmla="*/ 2038286 h 5973007"/>
              <a:gd name="connsiteX40613" fmla="*/ 5525437 w 6884782"/>
              <a:gd name="connsiteY40613" fmla="*/ 2043123 h 5973007"/>
              <a:gd name="connsiteX40614" fmla="*/ 5520956 w 6884782"/>
              <a:gd name="connsiteY40614" fmla="*/ 2046395 h 5973007"/>
              <a:gd name="connsiteX40615" fmla="*/ 5518181 w 6884782"/>
              <a:gd name="connsiteY40615" fmla="*/ 2063183 h 5973007"/>
              <a:gd name="connsiteX40616" fmla="*/ 5511565 w 6884782"/>
              <a:gd name="connsiteY40616" fmla="*/ 2074707 h 5973007"/>
              <a:gd name="connsiteX40617" fmla="*/ 5506443 w 6884782"/>
              <a:gd name="connsiteY40617" fmla="*/ 2078975 h 5973007"/>
              <a:gd name="connsiteX40618" fmla="*/ 5512419 w 6884782"/>
              <a:gd name="connsiteY40618" fmla="*/ 2083385 h 5973007"/>
              <a:gd name="connsiteX40619" fmla="*/ 5527571 w 6884782"/>
              <a:gd name="connsiteY40619" fmla="*/ 2104156 h 5973007"/>
              <a:gd name="connsiteX40620" fmla="*/ 5504522 w 6884782"/>
              <a:gd name="connsiteY40620" fmla="*/ 2082531 h 5973007"/>
              <a:gd name="connsiteX40621" fmla="*/ 5505162 w 6884782"/>
              <a:gd name="connsiteY40621" fmla="*/ 2080255 h 5973007"/>
              <a:gd name="connsiteX40622" fmla="*/ 5502602 w 6884782"/>
              <a:gd name="connsiteY40622" fmla="*/ 2082389 h 5973007"/>
              <a:gd name="connsiteX40623" fmla="*/ 5481473 w 6884782"/>
              <a:gd name="connsiteY40623" fmla="*/ 2097043 h 5973007"/>
              <a:gd name="connsiteX40624" fmla="*/ 5478698 w 6884782"/>
              <a:gd name="connsiteY40624" fmla="*/ 2095478 h 5973007"/>
              <a:gd name="connsiteX40625" fmla="*/ 5479552 w 6884782"/>
              <a:gd name="connsiteY40625" fmla="*/ 2096332 h 5973007"/>
              <a:gd name="connsiteX40626" fmla="*/ 5482753 w 6884782"/>
              <a:gd name="connsiteY40626" fmla="*/ 2099604 h 5973007"/>
              <a:gd name="connsiteX40627" fmla="*/ 5474217 w 6884782"/>
              <a:gd name="connsiteY40627" fmla="*/ 2093914 h 5973007"/>
              <a:gd name="connsiteX40628" fmla="*/ 5473149 w 6884782"/>
              <a:gd name="connsiteY40628" fmla="*/ 2092775 h 5973007"/>
              <a:gd name="connsiteX40629" fmla="*/ 5466961 w 6884782"/>
              <a:gd name="connsiteY40629" fmla="*/ 2092348 h 5973007"/>
              <a:gd name="connsiteX40630" fmla="*/ 5454795 w 6884782"/>
              <a:gd name="connsiteY40630" fmla="*/ 2095194 h 5973007"/>
              <a:gd name="connsiteX40631" fmla="*/ 5430892 w 6884782"/>
              <a:gd name="connsiteY40631" fmla="*/ 2070723 h 5973007"/>
              <a:gd name="connsiteX40632" fmla="*/ 5432173 w 6884782"/>
              <a:gd name="connsiteY40632" fmla="*/ 2027758 h 5973007"/>
              <a:gd name="connsiteX40633" fmla="*/ 5451167 w 6884782"/>
              <a:gd name="connsiteY40633" fmla="*/ 2008694 h 5973007"/>
              <a:gd name="connsiteX40634" fmla="*/ 5452875 w 6884782"/>
              <a:gd name="connsiteY40634" fmla="*/ 2006987 h 5973007"/>
              <a:gd name="connsiteX40635" fmla="*/ 5452021 w 6884782"/>
              <a:gd name="connsiteY40635" fmla="*/ 1991053 h 5973007"/>
              <a:gd name="connsiteX40636" fmla="*/ 5456290 w 6884782"/>
              <a:gd name="connsiteY40636" fmla="*/ 1978248 h 5973007"/>
              <a:gd name="connsiteX40637" fmla="*/ 5449247 w 6884782"/>
              <a:gd name="connsiteY40637" fmla="*/ 1975687 h 5973007"/>
              <a:gd name="connsiteX40638" fmla="*/ 5446685 w 6884782"/>
              <a:gd name="connsiteY40638" fmla="*/ 1974692 h 5973007"/>
              <a:gd name="connsiteX40639" fmla="*/ 5446899 w 6884782"/>
              <a:gd name="connsiteY40639" fmla="*/ 1975972 h 5973007"/>
              <a:gd name="connsiteX40640" fmla="*/ 5446259 w 6884782"/>
              <a:gd name="connsiteY40640" fmla="*/ 1974550 h 5973007"/>
              <a:gd name="connsiteX40641" fmla="*/ 5439856 w 6884782"/>
              <a:gd name="connsiteY40641" fmla="*/ 1971846 h 5973007"/>
              <a:gd name="connsiteX40642" fmla="*/ 5431319 w 6884782"/>
              <a:gd name="connsiteY40642" fmla="*/ 1960465 h 5973007"/>
              <a:gd name="connsiteX40643" fmla="*/ 5438149 w 6884782"/>
              <a:gd name="connsiteY40643" fmla="*/ 1962172 h 5973007"/>
              <a:gd name="connsiteX40644" fmla="*/ 5443484 w 6884782"/>
              <a:gd name="connsiteY40644" fmla="*/ 1963737 h 5973007"/>
              <a:gd name="connsiteX40645" fmla="*/ 5443697 w 6884782"/>
              <a:gd name="connsiteY40645" fmla="*/ 1962599 h 5973007"/>
              <a:gd name="connsiteX40646" fmla="*/ 5444124 w 6884782"/>
              <a:gd name="connsiteY40646" fmla="*/ 1963879 h 5973007"/>
              <a:gd name="connsiteX40647" fmla="*/ 5446259 w 6884782"/>
              <a:gd name="connsiteY40647" fmla="*/ 1964448 h 5973007"/>
              <a:gd name="connsiteX40648" fmla="*/ 5456930 w 6884782"/>
              <a:gd name="connsiteY40648" fmla="*/ 1973838 h 5973007"/>
              <a:gd name="connsiteX40649" fmla="*/ 5456503 w 6884782"/>
              <a:gd name="connsiteY40649" fmla="*/ 1976968 h 5973007"/>
              <a:gd name="connsiteX40650" fmla="*/ 5457143 w 6884782"/>
              <a:gd name="connsiteY40650" fmla="*/ 1975118 h 5973007"/>
              <a:gd name="connsiteX40651" fmla="*/ 5497693 w 6884782"/>
              <a:gd name="connsiteY40651" fmla="*/ 1954347 h 5973007"/>
              <a:gd name="connsiteX40652" fmla="*/ 1358336 w 6884782"/>
              <a:gd name="connsiteY40652" fmla="*/ 1954039 h 5973007"/>
              <a:gd name="connsiteX40653" fmla="*/ 1358542 w 6884782"/>
              <a:gd name="connsiteY40653" fmla="*/ 1955278 h 5973007"/>
              <a:gd name="connsiteX40654" fmla="*/ 1357923 w 6884782"/>
              <a:gd name="connsiteY40654" fmla="*/ 1957602 h 5973007"/>
              <a:gd name="connsiteX40655" fmla="*/ 1356994 w 6884782"/>
              <a:gd name="connsiteY40655" fmla="*/ 1957912 h 5973007"/>
              <a:gd name="connsiteX40656" fmla="*/ 1357200 w 6884782"/>
              <a:gd name="connsiteY40656" fmla="*/ 1958841 h 5973007"/>
              <a:gd name="connsiteX40657" fmla="*/ 1357200 w 6884782"/>
              <a:gd name="connsiteY40657" fmla="*/ 1958996 h 5973007"/>
              <a:gd name="connsiteX40658" fmla="*/ 1359162 w 6884782"/>
              <a:gd name="connsiteY40658" fmla="*/ 1957137 h 5973007"/>
              <a:gd name="connsiteX40659" fmla="*/ 1360194 w 6884782"/>
              <a:gd name="connsiteY40659" fmla="*/ 1955278 h 5973007"/>
              <a:gd name="connsiteX40660" fmla="*/ 1358749 w 6884782"/>
              <a:gd name="connsiteY40660" fmla="*/ 1954504 h 5973007"/>
              <a:gd name="connsiteX40661" fmla="*/ 1358336 w 6884782"/>
              <a:gd name="connsiteY40661" fmla="*/ 1954039 h 5973007"/>
              <a:gd name="connsiteX40662" fmla="*/ 1086049 w 6884782"/>
              <a:gd name="connsiteY40662" fmla="*/ 1954039 h 5973007"/>
              <a:gd name="connsiteX40663" fmla="*/ 1087598 w 6884782"/>
              <a:gd name="connsiteY40663" fmla="*/ 1957912 h 5973007"/>
              <a:gd name="connsiteX40664" fmla="*/ 1082229 w 6884782"/>
              <a:gd name="connsiteY40664" fmla="*/ 1964417 h 5973007"/>
              <a:gd name="connsiteX40665" fmla="*/ 1080370 w 6884782"/>
              <a:gd name="connsiteY40665" fmla="*/ 1961629 h 5973007"/>
              <a:gd name="connsiteX40666" fmla="*/ 1083984 w 6884782"/>
              <a:gd name="connsiteY40666" fmla="*/ 1954814 h 5973007"/>
              <a:gd name="connsiteX40667" fmla="*/ 1086049 w 6884782"/>
              <a:gd name="connsiteY40667" fmla="*/ 1954039 h 5973007"/>
              <a:gd name="connsiteX40668" fmla="*/ 5575164 w 6884782"/>
              <a:gd name="connsiteY40668" fmla="*/ 1953920 h 5973007"/>
              <a:gd name="connsiteX40669" fmla="*/ 5577511 w 6884782"/>
              <a:gd name="connsiteY40669" fmla="*/ 1955628 h 5973007"/>
              <a:gd name="connsiteX40670" fmla="*/ 5581140 w 6884782"/>
              <a:gd name="connsiteY40670" fmla="*/ 1961746 h 5973007"/>
              <a:gd name="connsiteX40671" fmla="*/ 5581354 w 6884782"/>
              <a:gd name="connsiteY40671" fmla="*/ 1962029 h 5973007"/>
              <a:gd name="connsiteX40672" fmla="*/ 5585622 w 6884782"/>
              <a:gd name="connsiteY40672" fmla="*/ 1966867 h 5973007"/>
              <a:gd name="connsiteX40673" fmla="*/ 5584768 w 6884782"/>
              <a:gd name="connsiteY40673" fmla="*/ 1972558 h 5973007"/>
              <a:gd name="connsiteX40674" fmla="*/ 5580286 w 6884782"/>
              <a:gd name="connsiteY40674" fmla="*/ 1976968 h 5973007"/>
              <a:gd name="connsiteX40675" fmla="*/ 5580713 w 6884782"/>
              <a:gd name="connsiteY40675" fmla="*/ 1977253 h 5973007"/>
              <a:gd name="connsiteX40676" fmla="*/ 5580073 w 6884782"/>
              <a:gd name="connsiteY40676" fmla="*/ 1979102 h 5973007"/>
              <a:gd name="connsiteX40677" fmla="*/ 5579219 w 6884782"/>
              <a:gd name="connsiteY40677" fmla="*/ 1978818 h 5973007"/>
              <a:gd name="connsiteX40678" fmla="*/ 5578152 w 6884782"/>
              <a:gd name="connsiteY40678" fmla="*/ 1977537 h 5973007"/>
              <a:gd name="connsiteX40679" fmla="*/ 5574524 w 6884782"/>
              <a:gd name="connsiteY40679" fmla="*/ 1978533 h 5973007"/>
              <a:gd name="connsiteX40680" fmla="*/ 5575378 w 6884782"/>
              <a:gd name="connsiteY40680" fmla="*/ 1963452 h 5973007"/>
              <a:gd name="connsiteX40681" fmla="*/ 5577085 w 6884782"/>
              <a:gd name="connsiteY40681" fmla="*/ 1962599 h 5973007"/>
              <a:gd name="connsiteX40682" fmla="*/ 5576231 w 6884782"/>
              <a:gd name="connsiteY40682" fmla="*/ 1959896 h 5973007"/>
              <a:gd name="connsiteX40683" fmla="*/ 5573883 w 6884782"/>
              <a:gd name="connsiteY40683" fmla="*/ 1957762 h 5973007"/>
              <a:gd name="connsiteX40684" fmla="*/ 5574311 w 6884782"/>
              <a:gd name="connsiteY40684" fmla="*/ 1954490 h 5973007"/>
              <a:gd name="connsiteX40685" fmla="*/ 1046089 w 6884782"/>
              <a:gd name="connsiteY40685" fmla="*/ 1953884 h 5973007"/>
              <a:gd name="connsiteX40686" fmla="*/ 1046502 w 6884782"/>
              <a:gd name="connsiteY40686" fmla="*/ 1961474 h 5973007"/>
              <a:gd name="connsiteX40687" fmla="*/ 1044850 w 6884782"/>
              <a:gd name="connsiteY40687" fmla="*/ 1962558 h 5973007"/>
              <a:gd name="connsiteX40688" fmla="*/ 1040513 w 6884782"/>
              <a:gd name="connsiteY40688" fmla="*/ 1964107 h 5973007"/>
              <a:gd name="connsiteX40689" fmla="*/ 1038758 w 6884782"/>
              <a:gd name="connsiteY40689" fmla="*/ 1961629 h 5973007"/>
              <a:gd name="connsiteX40690" fmla="*/ 1040100 w 6884782"/>
              <a:gd name="connsiteY40690" fmla="*/ 1958066 h 5973007"/>
              <a:gd name="connsiteX40691" fmla="*/ 1046089 w 6884782"/>
              <a:gd name="connsiteY40691" fmla="*/ 1953884 h 5973007"/>
              <a:gd name="connsiteX40692" fmla="*/ 1592831 w 6884782"/>
              <a:gd name="connsiteY40692" fmla="*/ 1952645 h 5973007"/>
              <a:gd name="connsiteX40693" fmla="*/ 1594586 w 6884782"/>
              <a:gd name="connsiteY40693" fmla="*/ 1953264 h 5973007"/>
              <a:gd name="connsiteX40694" fmla="*/ 1598200 w 6884782"/>
              <a:gd name="connsiteY40694" fmla="*/ 1954659 h 5973007"/>
              <a:gd name="connsiteX40695" fmla="*/ 1591798 w 6884782"/>
              <a:gd name="connsiteY40695" fmla="*/ 1953264 h 5973007"/>
              <a:gd name="connsiteX40696" fmla="*/ 1592831 w 6884782"/>
              <a:gd name="connsiteY40696" fmla="*/ 1952645 h 5973007"/>
              <a:gd name="connsiteX40697" fmla="*/ 1031323 w 6884782"/>
              <a:gd name="connsiteY40697" fmla="*/ 1952490 h 5973007"/>
              <a:gd name="connsiteX40698" fmla="*/ 1036280 w 6884782"/>
              <a:gd name="connsiteY40698" fmla="*/ 1956827 h 5973007"/>
              <a:gd name="connsiteX40699" fmla="*/ 1035247 w 6884782"/>
              <a:gd name="connsiteY40699" fmla="*/ 1958531 h 5973007"/>
              <a:gd name="connsiteX40700" fmla="*/ 1032872 w 6884782"/>
              <a:gd name="connsiteY40700" fmla="*/ 1958222 h 5973007"/>
              <a:gd name="connsiteX40701" fmla="*/ 1030188 w 6884782"/>
              <a:gd name="connsiteY40701" fmla="*/ 1954194 h 5973007"/>
              <a:gd name="connsiteX40702" fmla="*/ 1031323 w 6884782"/>
              <a:gd name="connsiteY40702" fmla="*/ 1952490 h 5973007"/>
              <a:gd name="connsiteX40703" fmla="*/ 6104872 w 6884782"/>
              <a:gd name="connsiteY40703" fmla="*/ 1952071 h 5973007"/>
              <a:gd name="connsiteX40704" fmla="*/ 6109781 w 6884782"/>
              <a:gd name="connsiteY40704" fmla="*/ 1952782 h 5973007"/>
              <a:gd name="connsiteX40705" fmla="*/ 6113835 w 6884782"/>
              <a:gd name="connsiteY40705" fmla="*/ 1955058 h 5973007"/>
              <a:gd name="connsiteX40706" fmla="*/ 6115970 w 6884782"/>
              <a:gd name="connsiteY40706" fmla="*/ 1959611 h 5973007"/>
              <a:gd name="connsiteX40707" fmla="*/ 6119598 w 6884782"/>
              <a:gd name="connsiteY40707" fmla="*/ 1966582 h 5973007"/>
              <a:gd name="connsiteX40708" fmla="*/ 6114903 w 6884782"/>
              <a:gd name="connsiteY40708" fmla="*/ 1970708 h 5973007"/>
              <a:gd name="connsiteX40709" fmla="*/ 6107647 w 6884782"/>
              <a:gd name="connsiteY40709" fmla="*/ 1968147 h 5973007"/>
              <a:gd name="connsiteX40710" fmla="*/ 6107006 w 6884782"/>
              <a:gd name="connsiteY40710" fmla="*/ 1968858 h 5973007"/>
              <a:gd name="connsiteX40711" fmla="*/ 6099110 w 6884782"/>
              <a:gd name="connsiteY40711" fmla="*/ 1959611 h 5973007"/>
              <a:gd name="connsiteX40712" fmla="*/ 6099750 w 6884782"/>
              <a:gd name="connsiteY40712" fmla="*/ 1956766 h 5973007"/>
              <a:gd name="connsiteX40713" fmla="*/ 6099536 w 6884782"/>
              <a:gd name="connsiteY40713" fmla="*/ 1956481 h 5973007"/>
              <a:gd name="connsiteX40714" fmla="*/ 6104872 w 6884782"/>
              <a:gd name="connsiteY40714" fmla="*/ 1952071 h 5973007"/>
              <a:gd name="connsiteX40715" fmla="*/ 3658228 w 6884782"/>
              <a:gd name="connsiteY40715" fmla="*/ 1951929 h 5973007"/>
              <a:gd name="connsiteX40716" fmla="*/ 3655667 w 6884782"/>
              <a:gd name="connsiteY40716" fmla="*/ 1962884 h 5973007"/>
              <a:gd name="connsiteX40717" fmla="*/ 3644142 w 6884782"/>
              <a:gd name="connsiteY40717" fmla="*/ 1965017 h 5973007"/>
              <a:gd name="connsiteX40718" fmla="*/ 3658228 w 6884782"/>
              <a:gd name="connsiteY40718" fmla="*/ 1951929 h 5973007"/>
              <a:gd name="connsiteX40719" fmla="*/ 1278829 w 6884782"/>
              <a:gd name="connsiteY40719" fmla="*/ 1951560 h 5973007"/>
              <a:gd name="connsiteX40720" fmla="*/ 1280687 w 6884782"/>
              <a:gd name="connsiteY40720" fmla="*/ 1952955 h 5973007"/>
              <a:gd name="connsiteX40721" fmla="*/ 1282546 w 6884782"/>
              <a:gd name="connsiteY40721" fmla="*/ 1953574 h 5973007"/>
              <a:gd name="connsiteX40722" fmla="*/ 1285437 w 6884782"/>
              <a:gd name="connsiteY40722" fmla="*/ 1958222 h 5973007"/>
              <a:gd name="connsiteX40723" fmla="*/ 1268503 w 6884782"/>
              <a:gd name="connsiteY40723" fmla="*/ 1955588 h 5973007"/>
              <a:gd name="connsiteX40724" fmla="*/ 1266954 w 6884782"/>
              <a:gd name="connsiteY40724" fmla="*/ 1954504 h 5973007"/>
              <a:gd name="connsiteX40725" fmla="*/ 1267470 w 6884782"/>
              <a:gd name="connsiteY40725" fmla="*/ 1952335 h 5973007"/>
              <a:gd name="connsiteX40726" fmla="*/ 1278829 w 6884782"/>
              <a:gd name="connsiteY40726" fmla="*/ 1951560 h 5973007"/>
              <a:gd name="connsiteX40727" fmla="*/ 974532 w 6884782"/>
              <a:gd name="connsiteY40727" fmla="*/ 1951406 h 5973007"/>
              <a:gd name="connsiteX40728" fmla="*/ 983722 w 6884782"/>
              <a:gd name="connsiteY40728" fmla="*/ 1958531 h 5973007"/>
              <a:gd name="connsiteX40729" fmla="*/ 970299 w 6884782"/>
              <a:gd name="connsiteY40729" fmla="*/ 1958376 h 5973007"/>
              <a:gd name="connsiteX40730" fmla="*/ 974532 w 6884782"/>
              <a:gd name="connsiteY40730" fmla="*/ 1951406 h 5973007"/>
              <a:gd name="connsiteX40731" fmla="*/ 5826359 w 6884782"/>
              <a:gd name="connsiteY40731" fmla="*/ 1951360 h 5973007"/>
              <a:gd name="connsiteX40732" fmla="*/ 5830841 w 6884782"/>
              <a:gd name="connsiteY40732" fmla="*/ 1955486 h 5973007"/>
              <a:gd name="connsiteX40733" fmla="*/ 5832975 w 6884782"/>
              <a:gd name="connsiteY40733" fmla="*/ 1958189 h 5973007"/>
              <a:gd name="connsiteX40734" fmla="*/ 5835109 w 6884782"/>
              <a:gd name="connsiteY40734" fmla="*/ 1959754 h 5973007"/>
              <a:gd name="connsiteX40735" fmla="*/ 5836390 w 6884782"/>
              <a:gd name="connsiteY40735" fmla="*/ 1962029 h 5973007"/>
              <a:gd name="connsiteX40736" fmla="*/ 5836603 w 6884782"/>
              <a:gd name="connsiteY40736" fmla="*/ 1961887 h 5973007"/>
              <a:gd name="connsiteX40737" fmla="*/ 5838951 w 6884782"/>
              <a:gd name="connsiteY40737" fmla="*/ 1961461 h 5973007"/>
              <a:gd name="connsiteX40738" fmla="*/ 5840232 w 6884782"/>
              <a:gd name="connsiteY40738" fmla="*/ 1962172 h 5973007"/>
              <a:gd name="connsiteX40739" fmla="*/ 5841085 w 6884782"/>
              <a:gd name="connsiteY40739" fmla="*/ 1964306 h 5973007"/>
              <a:gd name="connsiteX40740" fmla="*/ 5837457 w 6884782"/>
              <a:gd name="connsiteY40740" fmla="*/ 1964306 h 5973007"/>
              <a:gd name="connsiteX40741" fmla="*/ 5837030 w 6884782"/>
              <a:gd name="connsiteY40741" fmla="*/ 1964164 h 5973007"/>
              <a:gd name="connsiteX40742" fmla="*/ 5837030 w 6884782"/>
              <a:gd name="connsiteY40742" fmla="*/ 1964733 h 5973007"/>
              <a:gd name="connsiteX40743" fmla="*/ 5835323 w 6884782"/>
              <a:gd name="connsiteY40743" fmla="*/ 1963594 h 5973007"/>
              <a:gd name="connsiteX40744" fmla="*/ 5834469 w 6884782"/>
              <a:gd name="connsiteY40744" fmla="*/ 1963168 h 5973007"/>
              <a:gd name="connsiteX40745" fmla="*/ 5834896 w 6884782"/>
              <a:gd name="connsiteY40745" fmla="*/ 1963026 h 5973007"/>
              <a:gd name="connsiteX40746" fmla="*/ 5832762 w 6884782"/>
              <a:gd name="connsiteY40746" fmla="*/ 1960607 h 5973007"/>
              <a:gd name="connsiteX40747" fmla="*/ 5830414 w 6884782"/>
              <a:gd name="connsiteY40747" fmla="*/ 1960038 h 5973007"/>
              <a:gd name="connsiteX40748" fmla="*/ 5826359 w 6884782"/>
              <a:gd name="connsiteY40748" fmla="*/ 1951360 h 5973007"/>
              <a:gd name="connsiteX40749" fmla="*/ 5331225 w 6884782"/>
              <a:gd name="connsiteY40749" fmla="*/ 1951360 h 5973007"/>
              <a:gd name="connsiteX40750" fmla="*/ 5331866 w 6884782"/>
              <a:gd name="connsiteY40750" fmla="*/ 1952213 h 5973007"/>
              <a:gd name="connsiteX40751" fmla="*/ 5331866 w 6884782"/>
              <a:gd name="connsiteY40751" fmla="*/ 1953493 h 5973007"/>
              <a:gd name="connsiteX40752" fmla="*/ 5331225 w 6884782"/>
              <a:gd name="connsiteY40752" fmla="*/ 1951360 h 5973007"/>
              <a:gd name="connsiteX40753" fmla="*/ 5216192 w 6884782"/>
              <a:gd name="connsiteY40753" fmla="*/ 1951075 h 5973007"/>
              <a:gd name="connsiteX40754" fmla="*/ 5219820 w 6884782"/>
              <a:gd name="connsiteY40754" fmla="*/ 1955058 h 5973007"/>
              <a:gd name="connsiteX40755" fmla="*/ 5220247 w 6884782"/>
              <a:gd name="connsiteY40755" fmla="*/ 1960607 h 5973007"/>
              <a:gd name="connsiteX40756" fmla="*/ 5220247 w 6884782"/>
              <a:gd name="connsiteY40756" fmla="*/ 1963452 h 5973007"/>
              <a:gd name="connsiteX40757" fmla="*/ 5220461 w 6884782"/>
              <a:gd name="connsiteY40757" fmla="*/ 1963879 h 5973007"/>
              <a:gd name="connsiteX40758" fmla="*/ 5221954 w 6884782"/>
              <a:gd name="connsiteY40758" fmla="*/ 1966156 h 5973007"/>
              <a:gd name="connsiteX40759" fmla="*/ 5221954 w 6884782"/>
              <a:gd name="connsiteY40759" fmla="*/ 1966440 h 5973007"/>
              <a:gd name="connsiteX40760" fmla="*/ 5221741 w 6884782"/>
              <a:gd name="connsiteY40760" fmla="*/ 1966867 h 5973007"/>
              <a:gd name="connsiteX40761" fmla="*/ 5222381 w 6884782"/>
              <a:gd name="connsiteY40761" fmla="*/ 1968147 h 5973007"/>
              <a:gd name="connsiteX40762" fmla="*/ 5221314 w 6884782"/>
              <a:gd name="connsiteY40762" fmla="*/ 1971420 h 5973007"/>
              <a:gd name="connsiteX40763" fmla="*/ 5217046 w 6884782"/>
              <a:gd name="connsiteY40763" fmla="*/ 1968147 h 5973007"/>
              <a:gd name="connsiteX40764" fmla="*/ 5215765 w 6884782"/>
              <a:gd name="connsiteY40764" fmla="*/ 1969570 h 5973007"/>
              <a:gd name="connsiteX40765" fmla="*/ 5210003 w 6884782"/>
              <a:gd name="connsiteY40765" fmla="*/ 1969570 h 5973007"/>
              <a:gd name="connsiteX40766" fmla="*/ 5215338 w 6884782"/>
              <a:gd name="connsiteY40766" fmla="*/ 1962172 h 5973007"/>
              <a:gd name="connsiteX40767" fmla="*/ 5215552 w 6884782"/>
              <a:gd name="connsiteY40767" fmla="*/ 1962314 h 5973007"/>
              <a:gd name="connsiteX40768" fmla="*/ 5215125 w 6884782"/>
              <a:gd name="connsiteY40768" fmla="*/ 1959896 h 5973007"/>
              <a:gd name="connsiteX40769" fmla="*/ 5212991 w 6884782"/>
              <a:gd name="connsiteY40769" fmla="*/ 1957904 h 5973007"/>
              <a:gd name="connsiteX40770" fmla="*/ 5214058 w 6884782"/>
              <a:gd name="connsiteY40770" fmla="*/ 1954632 h 5973007"/>
              <a:gd name="connsiteX40771" fmla="*/ 5214698 w 6884782"/>
              <a:gd name="connsiteY40771" fmla="*/ 1954205 h 5973007"/>
              <a:gd name="connsiteX40772" fmla="*/ 5216192 w 6884782"/>
              <a:gd name="connsiteY40772" fmla="*/ 1951075 h 5973007"/>
              <a:gd name="connsiteX40773" fmla="*/ 1380639 w 6884782"/>
              <a:gd name="connsiteY40773" fmla="*/ 1950786 h 5973007"/>
              <a:gd name="connsiteX40774" fmla="*/ 1379916 w 6884782"/>
              <a:gd name="connsiteY40774" fmla="*/ 1953729 h 5973007"/>
              <a:gd name="connsiteX40775" fmla="*/ 1379916 w 6884782"/>
              <a:gd name="connsiteY40775" fmla="*/ 1958841 h 5973007"/>
              <a:gd name="connsiteX40776" fmla="*/ 1382704 w 6884782"/>
              <a:gd name="connsiteY40776" fmla="*/ 1959150 h 5973007"/>
              <a:gd name="connsiteX40777" fmla="*/ 1382807 w 6884782"/>
              <a:gd name="connsiteY40777" fmla="*/ 1959150 h 5973007"/>
              <a:gd name="connsiteX40778" fmla="*/ 1100092 w 6884782"/>
              <a:gd name="connsiteY40778" fmla="*/ 1949857 h 5973007"/>
              <a:gd name="connsiteX40779" fmla="*/ 1106391 w 6884782"/>
              <a:gd name="connsiteY40779" fmla="*/ 1951560 h 5973007"/>
              <a:gd name="connsiteX40780" fmla="*/ 1105255 w 6884782"/>
              <a:gd name="connsiteY40780" fmla="*/ 1952180 h 5973007"/>
              <a:gd name="connsiteX40781" fmla="*/ 1103500 w 6884782"/>
              <a:gd name="connsiteY40781" fmla="*/ 1951560 h 5973007"/>
              <a:gd name="connsiteX40782" fmla="*/ 1100092 w 6884782"/>
              <a:gd name="connsiteY40782" fmla="*/ 1949857 h 5973007"/>
              <a:gd name="connsiteX40783" fmla="*/ 934263 w 6884782"/>
              <a:gd name="connsiteY40783" fmla="*/ 1949393 h 5973007"/>
              <a:gd name="connsiteX40784" fmla="*/ 937360 w 6884782"/>
              <a:gd name="connsiteY40784" fmla="*/ 1950631 h 5973007"/>
              <a:gd name="connsiteX40785" fmla="*/ 937670 w 6884782"/>
              <a:gd name="connsiteY40785" fmla="*/ 1950012 h 5973007"/>
              <a:gd name="connsiteX40786" fmla="*/ 942729 w 6884782"/>
              <a:gd name="connsiteY40786" fmla="*/ 1953264 h 5973007"/>
              <a:gd name="connsiteX40787" fmla="*/ 940355 w 6884782"/>
              <a:gd name="connsiteY40787" fmla="*/ 1955588 h 5973007"/>
              <a:gd name="connsiteX40788" fmla="*/ 940768 w 6884782"/>
              <a:gd name="connsiteY40788" fmla="*/ 1957137 h 5973007"/>
              <a:gd name="connsiteX40789" fmla="*/ 946860 w 6884782"/>
              <a:gd name="connsiteY40789" fmla="*/ 1957912 h 5973007"/>
              <a:gd name="connsiteX40790" fmla="*/ 952642 w 6884782"/>
              <a:gd name="connsiteY40790" fmla="*/ 1959926 h 5973007"/>
              <a:gd name="connsiteX40791" fmla="*/ 930132 w 6884782"/>
              <a:gd name="connsiteY40791" fmla="*/ 1962558 h 5973007"/>
              <a:gd name="connsiteX40792" fmla="*/ 934263 w 6884782"/>
              <a:gd name="connsiteY40792" fmla="*/ 1958376 h 5973007"/>
              <a:gd name="connsiteX40793" fmla="*/ 935192 w 6884782"/>
              <a:gd name="connsiteY40793" fmla="*/ 1958222 h 5973007"/>
              <a:gd name="connsiteX40794" fmla="*/ 933850 w 6884782"/>
              <a:gd name="connsiteY40794" fmla="*/ 1958066 h 5973007"/>
              <a:gd name="connsiteX40795" fmla="*/ 914334 w 6884782"/>
              <a:gd name="connsiteY40795" fmla="*/ 1956053 h 5973007"/>
              <a:gd name="connsiteX40796" fmla="*/ 924556 w 6884782"/>
              <a:gd name="connsiteY40796" fmla="*/ 1952025 h 5973007"/>
              <a:gd name="connsiteX40797" fmla="*/ 934263 w 6884782"/>
              <a:gd name="connsiteY40797" fmla="*/ 1949393 h 5973007"/>
              <a:gd name="connsiteX40798" fmla="*/ 5962734 w 6884782"/>
              <a:gd name="connsiteY40798" fmla="*/ 1947661 h 5973007"/>
              <a:gd name="connsiteX40799" fmla="*/ 5966149 w 6884782"/>
              <a:gd name="connsiteY40799" fmla="*/ 1948088 h 5973007"/>
              <a:gd name="connsiteX40800" fmla="*/ 5954411 w 6884782"/>
              <a:gd name="connsiteY40800" fmla="*/ 1955058 h 5973007"/>
              <a:gd name="connsiteX40801" fmla="*/ 5962734 w 6884782"/>
              <a:gd name="connsiteY40801" fmla="*/ 1947661 h 5973007"/>
              <a:gd name="connsiteX40802" fmla="*/ 1601195 w 6884782"/>
              <a:gd name="connsiteY40802" fmla="*/ 1947533 h 5973007"/>
              <a:gd name="connsiteX40803" fmla="*/ 1608629 w 6884782"/>
              <a:gd name="connsiteY40803" fmla="*/ 1949393 h 5973007"/>
              <a:gd name="connsiteX40804" fmla="*/ 1610178 w 6884782"/>
              <a:gd name="connsiteY40804" fmla="*/ 1952490 h 5973007"/>
              <a:gd name="connsiteX40805" fmla="*/ 1609558 w 6884782"/>
              <a:gd name="connsiteY40805" fmla="*/ 1956053 h 5973007"/>
              <a:gd name="connsiteX40806" fmla="*/ 1608835 w 6884782"/>
              <a:gd name="connsiteY40806" fmla="*/ 1961938 h 5973007"/>
              <a:gd name="connsiteX40807" fmla="*/ 1604499 w 6884782"/>
              <a:gd name="connsiteY40807" fmla="*/ 1962558 h 5973007"/>
              <a:gd name="connsiteX40808" fmla="*/ 1600369 w 6884782"/>
              <a:gd name="connsiteY40808" fmla="*/ 1953419 h 5973007"/>
              <a:gd name="connsiteX40809" fmla="*/ 1601195 w 6884782"/>
              <a:gd name="connsiteY40809" fmla="*/ 1947533 h 5973007"/>
              <a:gd name="connsiteX40810" fmla="*/ 1211609 w 6884782"/>
              <a:gd name="connsiteY40810" fmla="*/ 1947533 h 5973007"/>
              <a:gd name="connsiteX40811" fmla="*/ 1212641 w 6884782"/>
              <a:gd name="connsiteY40811" fmla="*/ 1949857 h 5973007"/>
              <a:gd name="connsiteX40812" fmla="*/ 1209937 w 6884782"/>
              <a:gd name="connsiteY40812" fmla="*/ 1947828 h 5973007"/>
              <a:gd name="connsiteX40813" fmla="*/ 5090274 w 6884782"/>
              <a:gd name="connsiteY40813" fmla="*/ 1947234 h 5973007"/>
              <a:gd name="connsiteX40814" fmla="*/ 5092195 w 6884782"/>
              <a:gd name="connsiteY40814" fmla="*/ 1948656 h 5973007"/>
              <a:gd name="connsiteX40815" fmla="*/ 5095823 w 6884782"/>
              <a:gd name="connsiteY40815" fmla="*/ 1948088 h 5973007"/>
              <a:gd name="connsiteX40816" fmla="*/ 5096677 w 6884782"/>
              <a:gd name="connsiteY40816" fmla="*/ 1950079 h 5973007"/>
              <a:gd name="connsiteX40817" fmla="*/ 5089207 w 6884782"/>
              <a:gd name="connsiteY40817" fmla="*/ 1951360 h 5973007"/>
              <a:gd name="connsiteX40818" fmla="*/ 5086859 w 6884782"/>
              <a:gd name="connsiteY40818" fmla="*/ 1948799 h 5973007"/>
              <a:gd name="connsiteX40819" fmla="*/ 5090274 w 6884782"/>
              <a:gd name="connsiteY40819" fmla="*/ 1947234 h 5973007"/>
              <a:gd name="connsiteX40820" fmla="*/ 5341683 w 6884782"/>
              <a:gd name="connsiteY40820" fmla="*/ 1947091 h 5973007"/>
              <a:gd name="connsiteX40821" fmla="*/ 5336561 w 6884782"/>
              <a:gd name="connsiteY40821" fmla="*/ 1952782 h 5973007"/>
              <a:gd name="connsiteX40822" fmla="*/ 5334854 w 6884782"/>
              <a:gd name="connsiteY40822" fmla="*/ 1949368 h 5973007"/>
              <a:gd name="connsiteX40823" fmla="*/ 5341683 w 6884782"/>
              <a:gd name="connsiteY40823" fmla="*/ 1947091 h 5973007"/>
              <a:gd name="connsiteX40824" fmla="*/ 1040100 w 6884782"/>
              <a:gd name="connsiteY40824" fmla="*/ 1946914 h 5973007"/>
              <a:gd name="connsiteX40825" fmla="*/ 1042578 w 6884782"/>
              <a:gd name="connsiteY40825" fmla="*/ 1946914 h 5973007"/>
              <a:gd name="connsiteX40826" fmla="*/ 1041649 w 6884782"/>
              <a:gd name="connsiteY40826" fmla="*/ 1950321 h 5973007"/>
              <a:gd name="connsiteX40827" fmla="*/ 1039067 w 6884782"/>
              <a:gd name="connsiteY40827" fmla="*/ 1948153 h 5973007"/>
              <a:gd name="connsiteX40828" fmla="*/ 1040100 w 6884782"/>
              <a:gd name="connsiteY40828" fmla="*/ 1946914 h 5973007"/>
              <a:gd name="connsiteX40829" fmla="*/ 5497052 w 6884782"/>
              <a:gd name="connsiteY40829" fmla="*/ 1946665 h 5973007"/>
              <a:gd name="connsiteX40830" fmla="*/ 5497693 w 6884782"/>
              <a:gd name="connsiteY40830" fmla="*/ 1947803 h 5973007"/>
              <a:gd name="connsiteX40831" fmla="*/ 5496839 w 6884782"/>
              <a:gd name="connsiteY40831" fmla="*/ 1947945 h 5973007"/>
              <a:gd name="connsiteX40832" fmla="*/ 5497266 w 6884782"/>
              <a:gd name="connsiteY40832" fmla="*/ 1949653 h 5973007"/>
              <a:gd name="connsiteX40833" fmla="*/ 5498974 w 6884782"/>
              <a:gd name="connsiteY40833" fmla="*/ 1948656 h 5973007"/>
              <a:gd name="connsiteX40834" fmla="*/ 5505162 w 6884782"/>
              <a:gd name="connsiteY40834" fmla="*/ 1946665 h 5973007"/>
              <a:gd name="connsiteX40835" fmla="*/ 5507297 w 6884782"/>
              <a:gd name="connsiteY40835" fmla="*/ 1947661 h 5973007"/>
              <a:gd name="connsiteX40836" fmla="*/ 5507937 w 6884782"/>
              <a:gd name="connsiteY40836" fmla="*/ 1950791 h 5973007"/>
              <a:gd name="connsiteX40837" fmla="*/ 5503242 w 6884782"/>
              <a:gd name="connsiteY40837" fmla="*/ 1953920 h 5973007"/>
              <a:gd name="connsiteX40838" fmla="*/ 5498974 w 6884782"/>
              <a:gd name="connsiteY40838" fmla="*/ 1953210 h 5973007"/>
              <a:gd name="connsiteX40839" fmla="*/ 5497693 w 6884782"/>
              <a:gd name="connsiteY40839" fmla="*/ 1952640 h 5973007"/>
              <a:gd name="connsiteX40840" fmla="*/ 5497693 w 6884782"/>
              <a:gd name="connsiteY40840" fmla="*/ 1952925 h 5973007"/>
              <a:gd name="connsiteX40841" fmla="*/ 5494278 w 6884782"/>
              <a:gd name="connsiteY40841" fmla="*/ 1952782 h 5973007"/>
              <a:gd name="connsiteX40842" fmla="*/ 5493211 w 6884782"/>
              <a:gd name="connsiteY40842" fmla="*/ 1953067 h 5973007"/>
              <a:gd name="connsiteX40843" fmla="*/ 5492998 w 6884782"/>
              <a:gd name="connsiteY40843" fmla="*/ 1952782 h 5973007"/>
              <a:gd name="connsiteX40844" fmla="*/ 5491717 w 6884782"/>
              <a:gd name="connsiteY40844" fmla="*/ 1952782 h 5973007"/>
              <a:gd name="connsiteX40845" fmla="*/ 5493424 w 6884782"/>
              <a:gd name="connsiteY40845" fmla="*/ 1947945 h 5973007"/>
              <a:gd name="connsiteX40846" fmla="*/ 5497052 w 6884782"/>
              <a:gd name="connsiteY40846" fmla="*/ 1946665 h 5973007"/>
              <a:gd name="connsiteX40847" fmla="*/ 6217131 w 6884782"/>
              <a:gd name="connsiteY40847" fmla="*/ 1946380 h 5973007"/>
              <a:gd name="connsiteX40848" fmla="*/ 6221612 w 6884782"/>
              <a:gd name="connsiteY40848" fmla="*/ 1946522 h 5973007"/>
              <a:gd name="connsiteX40849" fmla="*/ 6228015 w 6884782"/>
              <a:gd name="connsiteY40849" fmla="*/ 1955343 h 5973007"/>
              <a:gd name="connsiteX40850" fmla="*/ 6228229 w 6884782"/>
              <a:gd name="connsiteY40850" fmla="*/ 1959896 h 5973007"/>
              <a:gd name="connsiteX40851" fmla="*/ 6215424 w 6884782"/>
              <a:gd name="connsiteY40851" fmla="*/ 1959469 h 5973007"/>
              <a:gd name="connsiteX40852" fmla="*/ 6212009 w 6884782"/>
              <a:gd name="connsiteY40852" fmla="*/ 1959896 h 5973007"/>
              <a:gd name="connsiteX40853" fmla="*/ 6214356 w 6884782"/>
              <a:gd name="connsiteY40853" fmla="*/ 1962741 h 5973007"/>
              <a:gd name="connsiteX40854" fmla="*/ 6215210 w 6884782"/>
              <a:gd name="connsiteY40854" fmla="*/ 1970850 h 5973007"/>
              <a:gd name="connsiteX40855" fmla="*/ 6197710 w 6884782"/>
              <a:gd name="connsiteY40855" fmla="*/ 1984224 h 5973007"/>
              <a:gd name="connsiteX40856" fmla="*/ 6194722 w 6884782"/>
              <a:gd name="connsiteY40856" fmla="*/ 1983513 h 5973007"/>
              <a:gd name="connsiteX40857" fmla="*/ 6189599 w 6884782"/>
              <a:gd name="connsiteY40857" fmla="*/ 1983940 h 5973007"/>
              <a:gd name="connsiteX40858" fmla="*/ 6188319 w 6884782"/>
              <a:gd name="connsiteY40858" fmla="*/ 1968574 h 5973007"/>
              <a:gd name="connsiteX40859" fmla="*/ 6199417 w 6884782"/>
              <a:gd name="connsiteY40859" fmla="*/ 1954916 h 5973007"/>
              <a:gd name="connsiteX40860" fmla="*/ 6203472 w 6884782"/>
              <a:gd name="connsiteY40860" fmla="*/ 1954774 h 5973007"/>
              <a:gd name="connsiteX40861" fmla="*/ 6204539 w 6884782"/>
              <a:gd name="connsiteY40861" fmla="*/ 1951218 h 5973007"/>
              <a:gd name="connsiteX40862" fmla="*/ 6217131 w 6884782"/>
              <a:gd name="connsiteY40862" fmla="*/ 1946380 h 5973007"/>
              <a:gd name="connsiteX40863" fmla="*/ 1207892 w 6884782"/>
              <a:gd name="connsiteY40863" fmla="*/ 1946294 h 5973007"/>
              <a:gd name="connsiteX40864" fmla="*/ 1209937 w 6884782"/>
              <a:gd name="connsiteY40864" fmla="*/ 1947828 h 5973007"/>
              <a:gd name="connsiteX40865" fmla="*/ 1209854 w 6884782"/>
              <a:gd name="connsiteY40865" fmla="*/ 1947843 h 5973007"/>
              <a:gd name="connsiteX40866" fmla="*/ 1207892 w 6884782"/>
              <a:gd name="connsiteY40866" fmla="*/ 1946294 h 5973007"/>
              <a:gd name="connsiteX40867" fmla="*/ 5976820 w 6884782"/>
              <a:gd name="connsiteY40867" fmla="*/ 1945811 h 5973007"/>
              <a:gd name="connsiteX40868" fmla="*/ 5979595 w 6884782"/>
              <a:gd name="connsiteY40868" fmla="*/ 1947234 h 5973007"/>
              <a:gd name="connsiteX40869" fmla="*/ 5979808 w 6884782"/>
              <a:gd name="connsiteY40869" fmla="*/ 1953351 h 5973007"/>
              <a:gd name="connsiteX40870" fmla="*/ 5975540 w 6884782"/>
              <a:gd name="connsiteY40870" fmla="*/ 1957904 h 5973007"/>
              <a:gd name="connsiteX40871" fmla="*/ 5974472 w 6884782"/>
              <a:gd name="connsiteY40871" fmla="*/ 1961603 h 5973007"/>
              <a:gd name="connsiteX40872" fmla="*/ 5973405 w 6884782"/>
              <a:gd name="connsiteY40872" fmla="*/ 1961461 h 5973007"/>
              <a:gd name="connsiteX40873" fmla="*/ 5974899 w 6884782"/>
              <a:gd name="connsiteY40873" fmla="*/ 1947091 h 5973007"/>
              <a:gd name="connsiteX40874" fmla="*/ 5976820 w 6884782"/>
              <a:gd name="connsiteY40874" fmla="*/ 1945811 h 5973007"/>
              <a:gd name="connsiteX40875" fmla="*/ 5476351 w 6884782"/>
              <a:gd name="connsiteY40875" fmla="*/ 1945100 h 5973007"/>
              <a:gd name="connsiteX40876" fmla="*/ 5480192 w 6884782"/>
              <a:gd name="connsiteY40876" fmla="*/ 1946096 h 5973007"/>
              <a:gd name="connsiteX40877" fmla="*/ 5468668 w 6884782"/>
              <a:gd name="connsiteY40877" fmla="*/ 1958331 h 5973007"/>
              <a:gd name="connsiteX40878" fmla="*/ 5468241 w 6884782"/>
              <a:gd name="connsiteY40878" fmla="*/ 1950648 h 5973007"/>
              <a:gd name="connsiteX40879" fmla="*/ 5476351 w 6884782"/>
              <a:gd name="connsiteY40879" fmla="*/ 1945100 h 5973007"/>
              <a:gd name="connsiteX40880" fmla="*/ 4861061 w 6884782"/>
              <a:gd name="connsiteY40880" fmla="*/ 1942681 h 5973007"/>
              <a:gd name="connsiteX40881" fmla="*/ 4861702 w 6884782"/>
              <a:gd name="connsiteY40881" fmla="*/ 1947518 h 5973007"/>
              <a:gd name="connsiteX40882" fmla="*/ 4858501 w 6884782"/>
              <a:gd name="connsiteY40882" fmla="*/ 1948941 h 5973007"/>
              <a:gd name="connsiteX40883" fmla="*/ 4861061 w 6884782"/>
              <a:gd name="connsiteY40883" fmla="*/ 1942681 h 5973007"/>
              <a:gd name="connsiteX40884" fmla="*/ 5784955 w 6884782"/>
              <a:gd name="connsiteY40884" fmla="*/ 1942397 h 5973007"/>
              <a:gd name="connsiteX40885" fmla="*/ 5787730 w 6884782"/>
              <a:gd name="connsiteY40885" fmla="*/ 1942539 h 5973007"/>
              <a:gd name="connsiteX40886" fmla="*/ 5789864 w 6884782"/>
              <a:gd name="connsiteY40886" fmla="*/ 1945526 h 5973007"/>
              <a:gd name="connsiteX40887" fmla="*/ 5788157 w 6884782"/>
              <a:gd name="connsiteY40887" fmla="*/ 1950506 h 5973007"/>
              <a:gd name="connsiteX40888" fmla="*/ 5785383 w 6884782"/>
              <a:gd name="connsiteY40888" fmla="*/ 1950363 h 5973007"/>
              <a:gd name="connsiteX40889" fmla="*/ 5782608 w 6884782"/>
              <a:gd name="connsiteY40889" fmla="*/ 1948515 h 5973007"/>
              <a:gd name="connsiteX40890" fmla="*/ 5784955 w 6884782"/>
              <a:gd name="connsiteY40890" fmla="*/ 1942397 h 5973007"/>
              <a:gd name="connsiteX40891" fmla="*/ 903492 w 6884782"/>
              <a:gd name="connsiteY40891" fmla="*/ 1942267 h 5973007"/>
              <a:gd name="connsiteX40892" fmla="*/ 907003 w 6884782"/>
              <a:gd name="connsiteY40892" fmla="*/ 1942732 h 5973007"/>
              <a:gd name="connsiteX40893" fmla="*/ 900704 w 6884782"/>
              <a:gd name="connsiteY40893" fmla="*/ 1943661 h 5973007"/>
              <a:gd name="connsiteX40894" fmla="*/ 903492 w 6884782"/>
              <a:gd name="connsiteY40894" fmla="*/ 1942267 h 5973007"/>
              <a:gd name="connsiteX40895" fmla="*/ 4735144 w 6884782"/>
              <a:gd name="connsiteY40895" fmla="*/ 1941827 h 5973007"/>
              <a:gd name="connsiteX40896" fmla="*/ 4742187 w 6884782"/>
              <a:gd name="connsiteY40896" fmla="*/ 1947091 h 5973007"/>
              <a:gd name="connsiteX40897" fmla="*/ 4733009 w 6884782"/>
              <a:gd name="connsiteY40897" fmla="*/ 1950221 h 5973007"/>
              <a:gd name="connsiteX40898" fmla="*/ 4735144 w 6884782"/>
              <a:gd name="connsiteY40898" fmla="*/ 1941827 h 5973007"/>
              <a:gd name="connsiteX40899" fmla="*/ 1199838 w 6884782"/>
              <a:gd name="connsiteY40899" fmla="*/ 1941647 h 5973007"/>
              <a:gd name="connsiteX40900" fmla="*/ 1201696 w 6884782"/>
              <a:gd name="connsiteY40900" fmla="*/ 1943971 h 5973007"/>
              <a:gd name="connsiteX40901" fmla="*/ 1205207 w 6884782"/>
              <a:gd name="connsiteY40901" fmla="*/ 1944281 h 5973007"/>
              <a:gd name="connsiteX40902" fmla="*/ 1207065 w 6884782"/>
              <a:gd name="connsiteY40902" fmla="*/ 1946604 h 5973007"/>
              <a:gd name="connsiteX40903" fmla="*/ 1206239 w 6884782"/>
              <a:gd name="connsiteY40903" fmla="*/ 1946759 h 5973007"/>
              <a:gd name="connsiteX40904" fmla="*/ 1204381 w 6884782"/>
              <a:gd name="connsiteY40904" fmla="*/ 1945210 h 5973007"/>
              <a:gd name="connsiteX40905" fmla="*/ 1198289 w 6884782"/>
              <a:gd name="connsiteY40905" fmla="*/ 1944436 h 5973007"/>
              <a:gd name="connsiteX40906" fmla="*/ 1197256 w 6884782"/>
              <a:gd name="connsiteY40906" fmla="*/ 1942886 h 5973007"/>
              <a:gd name="connsiteX40907" fmla="*/ 1199838 w 6884782"/>
              <a:gd name="connsiteY40907" fmla="*/ 1941647 h 5973007"/>
              <a:gd name="connsiteX40908" fmla="*/ 1320751 w 6884782"/>
              <a:gd name="connsiteY40908" fmla="*/ 1941182 h 5973007"/>
              <a:gd name="connsiteX40909" fmla="*/ 1322299 w 6884782"/>
              <a:gd name="connsiteY40909" fmla="*/ 1943661 h 5973007"/>
              <a:gd name="connsiteX40910" fmla="*/ 1325707 w 6884782"/>
              <a:gd name="connsiteY40910" fmla="*/ 1944436 h 5973007"/>
              <a:gd name="connsiteX40911" fmla="*/ 1327359 w 6884782"/>
              <a:gd name="connsiteY40911" fmla="*/ 1946759 h 5973007"/>
              <a:gd name="connsiteX40912" fmla="*/ 1326430 w 6884782"/>
              <a:gd name="connsiteY40912" fmla="*/ 1946759 h 5973007"/>
              <a:gd name="connsiteX40913" fmla="*/ 1324881 w 6884782"/>
              <a:gd name="connsiteY40913" fmla="*/ 1945210 h 5973007"/>
              <a:gd name="connsiteX40914" fmla="*/ 1318892 w 6884782"/>
              <a:gd name="connsiteY40914" fmla="*/ 1943816 h 5973007"/>
              <a:gd name="connsiteX40915" fmla="*/ 1318169 w 6884782"/>
              <a:gd name="connsiteY40915" fmla="*/ 1942112 h 5973007"/>
              <a:gd name="connsiteX40916" fmla="*/ 1320751 w 6884782"/>
              <a:gd name="connsiteY40916" fmla="*/ 1941182 h 5973007"/>
              <a:gd name="connsiteX40917" fmla="*/ 1183833 w 6884782"/>
              <a:gd name="connsiteY40917" fmla="*/ 1940873 h 5973007"/>
              <a:gd name="connsiteX40918" fmla="*/ 1184452 w 6884782"/>
              <a:gd name="connsiteY40918" fmla="*/ 1947069 h 5973007"/>
              <a:gd name="connsiteX40919" fmla="*/ 1182594 w 6884782"/>
              <a:gd name="connsiteY40919" fmla="*/ 1952645 h 5973007"/>
              <a:gd name="connsiteX40920" fmla="*/ 1185588 w 6884782"/>
              <a:gd name="connsiteY40920" fmla="*/ 1952180 h 5973007"/>
              <a:gd name="connsiteX40921" fmla="*/ 1188996 w 6884782"/>
              <a:gd name="connsiteY40921" fmla="*/ 1953419 h 5973007"/>
              <a:gd name="connsiteX40922" fmla="*/ 1189822 w 6884782"/>
              <a:gd name="connsiteY40922" fmla="*/ 1954349 h 5973007"/>
              <a:gd name="connsiteX40923" fmla="*/ 1185692 w 6884782"/>
              <a:gd name="connsiteY40923" fmla="*/ 1953729 h 5973007"/>
              <a:gd name="connsiteX40924" fmla="*/ 1182491 w 6884782"/>
              <a:gd name="connsiteY40924" fmla="*/ 1952800 h 5973007"/>
              <a:gd name="connsiteX40925" fmla="*/ 1182387 w 6884782"/>
              <a:gd name="connsiteY40925" fmla="*/ 1953110 h 5973007"/>
              <a:gd name="connsiteX40926" fmla="*/ 1174953 w 6884782"/>
              <a:gd name="connsiteY40926" fmla="*/ 1962404 h 5973007"/>
              <a:gd name="connsiteX40927" fmla="*/ 1174230 w 6884782"/>
              <a:gd name="connsiteY40927" fmla="*/ 1956053 h 5973007"/>
              <a:gd name="connsiteX40928" fmla="*/ 1183833 w 6884782"/>
              <a:gd name="connsiteY40928" fmla="*/ 1940873 h 5973007"/>
              <a:gd name="connsiteX40929" fmla="*/ 3583531 w 6884782"/>
              <a:gd name="connsiteY40929" fmla="*/ 1940689 h 5973007"/>
              <a:gd name="connsiteX40930" fmla="*/ 3590574 w 6884782"/>
              <a:gd name="connsiteY40930" fmla="*/ 1942255 h 5973007"/>
              <a:gd name="connsiteX40931" fmla="*/ 3589720 w 6884782"/>
              <a:gd name="connsiteY40931" fmla="*/ 1954063 h 5973007"/>
              <a:gd name="connsiteX40932" fmla="*/ 3587373 w 6884782"/>
              <a:gd name="connsiteY40932" fmla="*/ 1956055 h 5973007"/>
              <a:gd name="connsiteX40933" fmla="*/ 3590360 w 6884782"/>
              <a:gd name="connsiteY40933" fmla="*/ 1963168 h 5973007"/>
              <a:gd name="connsiteX40934" fmla="*/ 3589933 w 6884782"/>
              <a:gd name="connsiteY40934" fmla="*/ 1969001 h 5973007"/>
              <a:gd name="connsiteX40935" fmla="*/ 3585452 w 6884782"/>
              <a:gd name="connsiteY40935" fmla="*/ 1962457 h 5973007"/>
              <a:gd name="connsiteX40936" fmla="*/ 3585238 w 6884782"/>
              <a:gd name="connsiteY40936" fmla="*/ 1958189 h 5973007"/>
              <a:gd name="connsiteX40937" fmla="*/ 3582250 w 6884782"/>
              <a:gd name="connsiteY40937" fmla="*/ 1960892 h 5973007"/>
              <a:gd name="connsiteX40938" fmla="*/ 3563043 w 6884782"/>
              <a:gd name="connsiteY40938" fmla="*/ 1952925 h 5973007"/>
              <a:gd name="connsiteX40939" fmla="*/ 3576488 w 6884782"/>
              <a:gd name="connsiteY40939" fmla="*/ 1941543 h 5973007"/>
              <a:gd name="connsiteX40940" fmla="*/ 3583531 w 6884782"/>
              <a:gd name="connsiteY40940" fmla="*/ 1940689 h 5973007"/>
              <a:gd name="connsiteX40941" fmla="*/ 3933539 w 6884782"/>
              <a:gd name="connsiteY40941" fmla="*/ 1939979 h 5973007"/>
              <a:gd name="connsiteX40942" fmla="*/ 3935887 w 6884782"/>
              <a:gd name="connsiteY40942" fmla="*/ 1943250 h 5973007"/>
              <a:gd name="connsiteX40943" fmla="*/ 3936741 w 6884782"/>
              <a:gd name="connsiteY40943" fmla="*/ 1948799 h 5973007"/>
              <a:gd name="connsiteX40944" fmla="*/ 3936741 w 6884782"/>
              <a:gd name="connsiteY40944" fmla="*/ 1947661 h 5973007"/>
              <a:gd name="connsiteX40945" fmla="*/ 3940369 w 6884782"/>
              <a:gd name="connsiteY40945" fmla="*/ 1944957 h 5973007"/>
              <a:gd name="connsiteX40946" fmla="*/ 3939942 w 6884782"/>
              <a:gd name="connsiteY40946" fmla="*/ 1944389 h 5973007"/>
              <a:gd name="connsiteX40947" fmla="*/ 3933966 w 6884782"/>
              <a:gd name="connsiteY40947" fmla="*/ 1940120 h 5973007"/>
              <a:gd name="connsiteX40948" fmla="*/ 4860635 w 6884782"/>
              <a:gd name="connsiteY40948" fmla="*/ 1939267 h 5973007"/>
              <a:gd name="connsiteX40949" fmla="*/ 4861061 w 6884782"/>
              <a:gd name="connsiteY40949" fmla="*/ 1941827 h 5973007"/>
              <a:gd name="connsiteX40950" fmla="*/ 4859994 w 6884782"/>
              <a:gd name="connsiteY40950" fmla="*/ 1941827 h 5973007"/>
              <a:gd name="connsiteX40951" fmla="*/ 4860635 w 6884782"/>
              <a:gd name="connsiteY40951" fmla="*/ 1939267 h 5973007"/>
              <a:gd name="connsiteX40952" fmla="*/ 1093174 w 6884782"/>
              <a:gd name="connsiteY40952" fmla="*/ 1939014 h 5973007"/>
              <a:gd name="connsiteX40953" fmla="*/ 1097924 w 6884782"/>
              <a:gd name="connsiteY40953" fmla="*/ 1945055 h 5973007"/>
              <a:gd name="connsiteX40954" fmla="*/ 1092967 w 6884782"/>
              <a:gd name="connsiteY40954" fmla="*/ 1940563 h 5973007"/>
              <a:gd name="connsiteX40955" fmla="*/ 1093174 w 6884782"/>
              <a:gd name="connsiteY40955" fmla="*/ 1939014 h 5973007"/>
              <a:gd name="connsiteX40956" fmla="*/ 6075847 w 6884782"/>
              <a:gd name="connsiteY40956" fmla="*/ 1938982 h 5973007"/>
              <a:gd name="connsiteX40957" fmla="*/ 6070084 w 6884782"/>
              <a:gd name="connsiteY40957" fmla="*/ 1946665 h 5973007"/>
              <a:gd name="connsiteX40958" fmla="*/ 6063895 w 6884782"/>
              <a:gd name="connsiteY40958" fmla="*/ 1950791 h 5973007"/>
              <a:gd name="connsiteX40959" fmla="*/ 6064322 w 6884782"/>
              <a:gd name="connsiteY40959" fmla="*/ 1954347 h 5973007"/>
              <a:gd name="connsiteX40960" fmla="*/ 6067737 w 6884782"/>
              <a:gd name="connsiteY40960" fmla="*/ 1949083 h 5973007"/>
              <a:gd name="connsiteX40961" fmla="*/ 6089719 w 6884782"/>
              <a:gd name="connsiteY40961" fmla="*/ 1940832 h 5973007"/>
              <a:gd name="connsiteX40962" fmla="*/ 6079902 w 6884782"/>
              <a:gd name="connsiteY40962" fmla="*/ 1953493 h 5973007"/>
              <a:gd name="connsiteX40963" fmla="*/ 6064536 w 6884782"/>
              <a:gd name="connsiteY40963" fmla="*/ 1956481 h 5973007"/>
              <a:gd name="connsiteX40964" fmla="*/ 6064536 w 6884782"/>
              <a:gd name="connsiteY40964" fmla="*/ 1960038 h 5973007"/>
              <a:gd name="connsiteX40965" fmla="*/ 6059627 w 6884782"/>
              <a:gd name="connsiteY40965" fmla="*/ 1961034 h 5973007"/>
              <a:gd name="connsiteX40966" fmla="*/ 6057066 w 6884782"/>
              <a:gd name="connsiteY40966" fmla="*/ 1959184 h 5973007"/>
              <a:gd name="connsiteX40967" fmla="*/ 6056426 w 6884782"/>
              <a:gd name="connsiteY40967" fmla="*/ 1966440 h 5973007"/>
              <a:gd name="connsiteX40968" fmla="*/ 6044047 w 6884782"/>
              <a:gd name="connsiteY40968" fmla="*/ 1957335 h 5973007"/>
              <a:gd name="connsiteX40969" fmla="*/ 6047889 w 6884782"/>
              <a:gd name="connsiteY40969" fmla="*/ 1953493 h 5973007"/>
              <a:gd name="connsiteX40970" fmla="*/ 6047035 w 6884782"/>
              <a:gd name="connsiteY40970" fmla="*/ 1953493 h 5973007"/>
              <a:gd name="connsiteX40971" fmla="*/ 6051517 w 6884782"/>
              <a:gd name="connsiteY40971" fmla="*/ 1947518 h 5973007"/>
              <a:gd name="connsiteX40972" fmla="*/ 6051944 w 6884782"/>
              <a:gd name="connsiteY40972" fmla="*/ 1945811 h 5973007"/>
              <a:gd name="connsiteX40973" fmla="*/ 6054078 w 6884782"/>
              <a:gd name="connsiteY40973" fmla="*/ 1940262 h 5973007"/>
              <a:gd name="connsiteX40974" fmla="*/ 6059413 w 6884782"/>
              <a:gd name="connsiteY40974" fmla="*/ 1942255 h 5973007"/>
              <a:gd name="connsiteX40975" fmla="*/ 6060480 w 6884782"/>
              <a:gd name="connsiteY40975" fmla="*/ 1941543 h 5973007"/>
              <a:gd name="connsiteX40976" fmla="*/ 6075847 w 6884782"/>
              <a:gd name="connsiteY40976" fmla="*/ 1938982 h 5973007"/>
              <a:gd name="connsiteX40977" fmla="*/ 3659722 w 6884782"/>
              <a:gd name="connsiteY40977" fmla="*/ 1938982 h 5973007"/>
              <a:gd name="connsiteX40978" fmla="*/ 3664844 w 6884782"/>
              <a:gd name="connsiteY40978" fmla="*/ 1944957 h 5973007"/>
              <a:gd name="connsiteX40979" fmla="*/ 3655453 w 6884782"/>
              <a:gd name="connsiteY40979" fmla="*/ 1945242 h 5973007"/>
              <a:gd name="connsiteX40980" fmla="*/ 3659722 w 6884782"/>
              <a:gd name="connsiteY40980" fmla="*/ 1938982 h 5973007"/>
              <a:gd name="connsiteX40981" fmla="*/ 1218630 w 6884782"/>
              <a:gd name="connsiteY40981" fmla="*/ 1938704 h 5973007"/>
              <a:gd name="connsiteX40982" fmla="*/ 1240727 w 6884782"/>
              <a:gd name="connsiteY40982" fmla="*/ 1949393 h 5973007"/>
              <a:gd name="connsiteX40983" fmla="*/ 1218630 w 6884782"/>
              <a:gd name="connsiteY40983" fmla="*/ 1938704 h 5973007"/>
              <a:gd name="connsiteX40984" fmla="*/ 6011181 w 6884782"/>
              <a:gd name="connsiteY40984" fmla="*/ 1938414 h 5973007"/>
              <a:gd name="connsiteX40985" fmla="*/ 6021211 w 6884782"/>
              <a:gd name="connsiteY40985" fmla="*/ 1941259 h 5973007"/>
              <a:gd name="connsiteX40986" fmla="*/ 6020998 w 6884782"/>
              <a:gd name="connsiteY40986" fmla="*/ 1949510 h 5973007"/>
              <a:gd name="connsiteX40987" fmla="*/ 6027400 w 6884782"/>
              <a:gd name="connsiteY40987" fmla="*/ 1953920 h 5973007"/>
              <a:gd name="connsiteX40988" fmla="*/ 6007766 w 6884782"/>
              <a:gd name="connsiteY40988" fmla="*/ 1970423 h 5973007"/>
              <a:gd name="connsiteX40989" fmla="*/ 6005418 w 6884782"/>
              <a:gd name="connsiteY40989" fmla="*/ 1967151 h 5973007"/>
              <a:gd name="connsiteX40990" fmla="*/ 6004138 w 6884782"/>
              <a:gd name="connsiteY40990" fmla="*/ 1967863 h 5973007"/>
              <a:gd name="connsiteX40991" fmla="*/ 5999016 w 6884782"/>
              <a:gd name="connsiteY40991" fmla="*/ 1969428 h 5973007"/>
              <a:gd name="connsiteX40992" fmla="*/ 5999442 w 6884782"/>
              <a:gd name="connsiteY40992" fmla="*/ 1969997 h 5973007"/>
              <a:gd name="connsiteX40993" fmla="*/ 5998162 w 6884782"/>
              <a:gd name="connsiteY40993" fmla="*/ 1973269 h 5973007"/>
              <a:gd name="connsiteX40994" fmla="*/ 5988985 w 6884782"/>
              <a:gd name="connsiteY40994" fmla="*/ 1975261 h 5973007"/>
              <a:gd name="connsiteX40995" fmla="*/ 5983223 w 6884782"/>
              <a:gd name="connsiteY40995" fmla="*/ 1977395 h 5973007"/>
              <a:gd name="connsiteX40996" fmla="*/ 5990052 w 6884782"/>
              <a:gd name="connsiteY40996" fmla="*/ 1972842 h 5973007"/>
              <a:gd name="connsiteX40997" fmla="*/ 5991119 w 6884782"/>
              <a:gd name="connsiteY40997" fmla="*/ 1969428 h 5973007"/>
              <a:gd name="connsiteX40998" fmla="*/ 5993254 w 6884782"/>
              <a:gd name="connsiteY40998" fmla="*/ 1968574 h 5973007"/>
              <a:gd name="connsiteX40999" fmla="*/ 5992826 w 6884782"/>
              <a:gd name="connsiteY40999" fmla="*/ 1967009 h 5973007"/>
              <a:gd name="connsiteX41000" fmla="*/ 5991119 w 6884782"/>
              <a:gd name="connsiteY41000" fmla="*/ 1963737 h 5973007"/>
              <a:gd name="connsiteX41001" fmla="*/ 5999656 w 6884782"/>
              <a:gd name="connsiteY41001" fmla="*/ 1960892 h 5973007"/>
              <a:gd name="connsiteX41002" fmla="*/ 6003284 w 6884782"/>
              <a:gd name="connsiteY41002" fmla="*/ 1960322 h 5973007"/>
              <a:gd name="connsiteX41003" fmla="*/ 6003284 w 6884782"/>
              <a:gd name="connsiteY41003" fmla="*/ 1959896 h 5973007"/>
              <a:gd name="connsiteX41004" fmla="*/ 6006699 w 6884782"/>
              <a:gd name="connsiteY41004" fmla="*/ 1953493 h 5973007"/>
              <a:gd name="connsiteX41005" fmla="*/ 6008620 w 6884782"/>
              <a:gd name="connsiteY41005" fmla="*/ 1952213 h 5973007"/>
              <a:gd name="connsiteX41006" fmla="*/ 6011181 w 6884782"/>
              <a:gd name="connsiteY41006" fmla="*/ 1938414 h 5973007"/>
              <a:gd name="connsiteX41007" fmla="*/ 5680167 w 6884782"/>
              <a:gd name="connsiteY41007" fmla="*/ 1938271 h 5973007"/>
              <a:gd name="connsiteX41008" fmla="*/ 5682514 w 6884782"/>
              <a:gd name="connsiteY41008" fmla="*/ 1946380 h 5973007"/>
              <a:gd name="connsiteX41009" fmla="*/ 5681447 w 6884782"/>
              <a:gd name="connsiteY41009" fmla="*/ 1951645 h 5973007"/>
              <a:gd name="connsiteX41010" fmla="*/ 5681020 w 6884782"/>
              <a:gd name="connsiteY41010" fmla="*/ 1953778 h 5973007"/>
              <a:gd name="connsiteX41011" fmla="*/ 5682514 w 6884782"/>
              <a:gd name="connsiteY41011" fmla="*/ 1952498 h 5973007"/>
              <a:gd name="connsiteX41012" fmla="*/ 5714954 w 6884782"/>
              <a:gd name="connsiteY41012" fmla="*/ 1942824 h 5973007"/>
              <a:gd name="connsiteX41013" fmla="*/ 5750382 w 6884782"/>
              <a:gd name="connsiteY41013" fmla="*/ 1971704 h 5973007"/>
              <a:gd name="connsiteX41014" fmla="*/ 5747181 w 6884782"/>
              <a:gd name="connsiteY41014" fmla="*/ 1987781 h 5973007"/>
              <a:gd name="connsiteX41015" fmla="*/ 5748034 w 6884782"/>
              <a:gd name="connsiteY41015" fmla="*/ 1990768 h 5973007"/>
              <a:gd name="connsiteX41016" fmla="*/ 5754650 w 6884782"/>
              <a:gd name="connsiteY41016" fmla="*/ 1993045 h 5973007"/>
              <a:gd name="connsiteX41017" fmla="*/ 5753156 w 6884782"/>
              <a:gd name="connsiteY41017" fmla="*/ 2001866 h 5973007"/>
              <a:gd name="connsiteX41018" fmla="*/ 5749955 w 6884782"/>
              <a:gd name="connsiteY41018" fmla="*/ 2004853 h 5973007"/>
              <a:gd name="connsiteX41019" fmla="*/ 5751235 w 6884782"/>
              <a:gd name="connsiteY41019" fmla="*/ 2006844 h 5973007"/>
              <a:gd name="connsiteX41020" fmla="*/ 5739711 w 6884782"/>
              <a:gd name="connsiteY41020" fmla="*/ 2028611 h 5973007"/>
              <a:gd name="connsiteX41021" fmla="*/ 5728186 w 6884782"/>
              <a:gd name="connsiteY41021" fmla="*/ 2036437 h 5973007"/>
              <a:gd name="connsiteX41022" fmla="*/ 5724558 w 6884782"/>
              <a:gd name="connsiteY41022" fmla="*/ 2035014 h 5973007"/>
              <a:gd name="connsiteX41023" fmla="*/ 5723277 w 6884782"/>
              <a:gd name="connsiteY41023" fmla="*/ 2033449 h 5973007"/>
              <a:gd name="connsiteX41024" fmla="*/ 5721570 w 6884782"/>
              <a:gd name="connsiteY41024" fmla="*/ 2032880 h 5973007"/>
              <a:gd name="connsiteX41025" fmla="*/ 5709618 w 6884782"/>
              <a:gd name="connsiteY41025" fmla="*/ 2035725 h 5973007"/>
              <a:gd name="connsiteX41026" fmla="*/ 5714314 w 6884782"/>
              <a:gd name="connsiteY41026" fmla="*/ 2036437 h 5973007"/>
              <a:gd name="connsiteX41027" fmla="*/ 5713033 w 6884782"/>
              <a:gd name="connsiteY41027" fmla="*/ 2036294 h 5973007"/>
              <a:gd name="connsiteX41028" fmla="*/ 5713246 w 6884782"/>
              <a:gd name="connsiteY41028" fmla="*/ 2038713 h 5973007"/>
              <a:gd name="connsiteX41029" fmla="*/ 5714314 w 6884782"/>
              <a:gd name="connsiteY41029" fmla="*/ 2038713 h 5973007"/>
              <a:gd name="connsiteX41030" fmla="*/ 5713246 w 6884782"/>
              <a:gd name="connsiteY41030" fmla="*/ 2041131 h 5973007"/>
              <a:gd name="connsiteX41031" fmla="*/ 5705350 w 6884782"/>
              <a:gd name="connsiteY41031" fmla="*/ 2044403 h 5973007"/>
              <a:gd name="connsiteX41032" fmla="*/ 5703856 w 6884782"/>
              <a:gd name="connsiteY41032" fmla="*/ 2040847 h 5973007"/>
              <a:gd name="connsiteX41033" fmla="*/ 5704497 w 6884782"/>
              <a:gd name="connsiteY41033" fmla="*/ 2039282 h 5973007"/>
              <a:gd name="connsiteX41034" fmla="*/ 5702789 w 6884782"/>
              <a:gd name="connsiteY41034" fmla="*/ 2037290 h 5973007"/>
              <a:gd name="connsiteX41035" fmla="*/ 5689130 w 6884782"/>
              <a:gd name="connsiteY41035" fmla="*/ 2040705 h 5973007"/>
              <a:gd name="connsiteX41036" fmla="*/ 5654556 w 6884782"/>
              <a:gd name="connsiteY41036" fmla="*/ 2007698 h 5973007"/>
              <a:gd name="connsiteX41037" fmla="*/ 5654983 w 6884782"/>
              <a:gd name="connsiteY41037" fmla="*/ 2006276 h 5973007"/>
              <a:gd name="connsiteX41038" fmla="*/ 5653489 w 6884782"/>
              <a:gd name="connsiteY41038" fmla="*/ 2004568 h 5973007"/>
              <a:gd name="connsiteX41039" fmla="*/ 5651568 w 6884782"/>
              <a:gd name="connsiteY41039" fmla="*/ 1996317 h 5973007"/>
              <a:gd name="connsiteX41040" fmla="*/ 5656904 w 6884782"/>
              <a:gd name="connsiteY41040" fmla="*/ 1993472 h 5973007"/>
              <a:gd name="connsiteX41041" fmla="*/ 5658398 w 6884782"/>
              <a:gd name="connsiteY41041" fmla="*/ 1993472 h 5973007"/>
              <a:gd name="connsiteX41042" fmla="*/ 5658611 w 6884782"/>
              <a:gd name="connsiteY41042" fmla="*/ 1991053 h 5973007"/>
              <a:gd name="connsiteX41043" fmla="*/ 5657971 w 6884782"/>
              <a:gd name="connsiteY41043" fmla="*/ 1977537 h 5973007"/>
              <a:gd name="connsiteX41044" fmla="*/ 5668855 w 6884782"/>
              <a:gd name="connsiteY41044" fmla="*/ 1964306 h 5973007"/>
              <a:gd name="connsiteX41045" fmla="*/ 5679100 w 6884782"/>
              <a:gd name="connsiteY41045" fmla="*/ 1955486 h 5973007"/>
              <a:gd name="connsiteX41046" fmla="*/ 5679100 w 6884782"/>
              <a:gd name="connsiteY41046" fmla="*/ 1947091 h 5973007"/>
              <a:gd name="connsiteX41047" fmla="*/ 5680167 w 6884782"/>
              <a:gd name="connsiteY41047" fmla="*/ 1938271 h 5973007"/>
              <a:gd name="connsiteX41048" fmla="*/ 1268090 w 6884782"/>
              <a:gd name="connsiteY41048" fmla="*/ 1937465 h 5973007"/>
              <a:gd name="connsiteX41049" fmla="*/ 1267780 w 6884782"/>
              <a:gd name="connsiteY41049" fmla="*/ 1937620 h 5973007"/>
              <a:gd name="connsiteX41050" fmla="*/ 1267780 w 6884782"/>
              <a:gd name="connsiteY41050" fmla="*/ 1937775 h 5973007"/>
              <a:gd name="connsiteX41051" fmla="*/ 1267987 w 6884782"/>
              <a:gd name="connsiteY41051" fmla="*/ 1939169 h 5973007"/>
              <a:gd name="connsiteX41052" fmla="*/ 6330457 w 6884782"/>
              <a:gd name="connsiteY41052" fmla="*/ 1936990 h 5973007"/>
              <a:gd name="connsiteX41053" fmla="*/ 6330670 w 6884782"/>
              <a:gd name="connsiteY41053" fmla="*/ 1950363 h 5973007"/>
              <a:gd name="connsiteX41054" fmla="*/ 6330457 w 6884782"/>
              <a:gd name="connsiteY41054" fmla="*/ 1936990 h 5973007"/>
              <a:gd name="connsiteX41055" fmla="*/ 5562359 w 6884782"/>
              <a:gd name="connsiteY41055" fmla="*/ 1936848 h 5973007"/>
              <a:gd name="connsiteX41056" fmla="*/ 5565774 w 6884782"/>
              <a:gd name="connsiteY41056" fmla="*/ 1937560 h 5973007"/>
              <a:gd name="connsiteX41057" fmla="*/ 5563212 w 6884782"/>
              <a:gd name="connsiteY41057" fmla="*/ 1944815 h 5973007"/>
              <a:gd name="connsiteX41058" fmla="*/ 5552969 w 6884782"/>
              <a:gd name="connsiteY41058" fmla="*/ 1946522 h 5973007"/>
              <a:gd name="connsiteX41059" fmla="*/ 5552115 w 6884782"/>
              <a:gd name="connsiteY41059" fmla="*/ 1940689 h 5973007"/>
              <a:gd name="connsiteX41060" fmla="*/ 5558304 w 6884782"/>
              <a:gd name="connsiteY41060" fmla="*/ 1937560 h 5973007"/>
              <a:gd name="connsiteX41061" fmla="*/ 5562359 w 6884782"/>
              <a:gd name="connsiteY41061" fmla="*/ 1936848 h 5973007"/>
              <a:gd name="connsiteX41062" fmla="*/ 1044540 w 6884782"/>
              <a:gd name="connsiteY41062" fmla="*/ 1936846 h 5973007"/>
              <a:gd name="connsiteX41063" fmla="*/ 1047741 w 6884782"/>
              <a:gd name="connsiteY41063" fmla="*/ 1938550 h 5973007"/>
              <a:gd name="connsiteX41064" fmla="*/ 1048670 w 6884782"/>
              <a:gd name="connsiteY41064" fmla="*/ 1939943 h 5973007"/>
              <a:gd name="connsiteX41065" fmla="*/ 1042888 w 6884782"/>
              <a:gd name="connsiteY41065" fmla="*/ 1945674 h 5973007"/>
              <a:gd name="connsiteX41066" fmla="*/ 1037106 w 6884782"/>
              <a:gd name="connsiteY41066" fmla="*/ 1941802 h 5973007"/>
              <a:gd name="connsiteX41067" fmla="*/ 1038138 w 6884782"/>
              <a:gd name="connsiteY41067" fmla="*/ 1940098 h 5973007"/>
              <a:gd name="connsiteX41068" fmla="*/ 1039687 w 6884782"/>
              <a:gd name="connsiteY41068" fmla="*/ 1938550 h 5973007"/>
              <a:gd name="connsiteX41069" fmla="*/ 1044540 w 6884782"/>
              <a:gd name="connsiteY41069" fmla="*/ 1936846 h 5973007"/>
              <a:gd name="connsiteX41070" fmla="*/ 3570726 w 6884782"/>
              <a:gd name="connsiteY41070" fmla="*/ 1936137 h 5973007"/>
              <a:gd name="connsiteX41071" fmla="*/ 3560268 w 6884782"/>
              <a:gd name="connsiteY41071" fmla="*/ 1945242 h 5973007"/>
              <a:gd name="connsiteX41072" fmla="*/ 3570726 w 6884782"/>
              <a:gd name="connsiteY41072" fmla="*/ 1936137 h 5973007"/>
              <a:gd name="connsiteX41073" fmla="*/ 922078 w 6884782"/>
              <a:gd name="connsiteY41073" fmla="*/ 1935296 h 5973007"/>
              <a:gd name="connsiteX41074" fmla="*/ 926208 w 6884782"/>
              <a:gd name="connsiteY41074" fmla="*/ 1939169 h 5973007"/>
              <a:gd name="connsiteX41075" fmla="*/ 926931 w 6884782"/>
              <a:gd name="connsiteY41075" fmla="*/ 1939014 h 5973007"/>
              <a:gd name="connsiteX41076" fmla="*/ 929306 w 6884782"/>
              <a:gd name="connsiteY41076" fmla="*/ 1947379 h 5973007"/>
              <a:gd name="connsiteX41077" fmla="*/ 928170 w 6884782"/>
              <a:gd name="connsiteY41077" fmla="*/ 1949082 h 5973007"/>
              <a:gd name="connsiteX41078" fmla="*/ 928170 w 6884782"/>
              <a:gd name="connsiteY41078" fmla="*/ 1949393 h 5973007"/>
              <a:gd name="connsiteX41079" fmla="*/ 920220 w 6884782"/>
              <a:gd name="connsiteY41079" fmla="*/ 1948772 h 5973007"/>
              <a:gd name="connsiteX41080" fmla="*/ 918258 w 6884782"/>
              <a:gd name="connsiteY41080" fmla="*/ 1946139 h 5973007"/>
              <a:gd name="connsiteX41081" fmla="*/ 918155 w 6884782"/>
              <a:gd name="connsiteY41081" fmla="*/ 1942422 h 5973007"/>
              <a:gd name="connsiteX41082" fmla="*/ 917329 w 6884782"/>
              <a:gd name="connsiteY41082" fmla="*/ 1939789 h 5973007"/>
              <a:gd name="connsiteX41083" fmla="*/ 917845 w 6884782"/>
              <a:gd name="connsiteY41083" fmla="*/ 1936691 h 5973007"/>
              <a:gd name="connsiteX41084" fmla="*/ 922078 w 6884782"/>
              <a:gd name="connsiteY41084" fmla="*/ 1935296 h 5973007"/>
              <a:gd name="connsiteX41085" fmla="*/ 1548121 w 6884782"/>
              <a:gd name="connsiteY41085" fmla="*/ 1935142 h 5973007"/>
              <a:gd name="connsiteX41086" fmla="*/ 1588287 w 6884782"/>
              <a:gd name="connsiteY41086" fmla="*/ 1964262 h 5973007"/>
              <a:gd name="connsiteX41087" fmla="*/ 1589733 w 6884782"/>
              <a:gd name="connsiteY41087" fmla="*/ 1966121 h 5973007"/>
              <a:gd name="connsiteX41088" fmla="*/ 1590146 w 6884782"/>
              <a:gd name="connsiteY41088" fmla="*/ 1964572 h 5973007"/>
              <a:gd name="connsiteX41089" fmla="*/ 1595722 w 6884782"/>
              <a:gd name="connsiteY41089" fmla="*/ 1965346 h 5973007"/>
              <a:gd name="connsiteX41090" fmla="*/ 1592624 w 6884782"/>
              <a:gd name="connsiteY41090" fmla="*/ 1969683 h 5973007"/>
              <a:gd name="connsiteX41091" fmla="*/ 1593347 w 6884782"/>
              <a:gd name="connsiteY41091" fmla="*/ 1970458 h 5973007"/>
              <a:gd name="connsiteX41092" fmla="*/ 1596961 w 6884782"/>
              <a:gd name="connsiteY41092" fmla="*/ 1976964 h 5973007"/>
              <a:gd name="connsiteX41093" fmla="*/ 1567430 w 6884782"/>
              <a:gd name="connsiteY41093" fmla="*/ 1967670 h 5973007"/>
              <a:gd name="connsiteX41094" fmla="*/ 1560718 w 6884782"/>
              <a:gd name="connsiteY41094" fmla="*/ 1958376 h 5973007"/>
              <a:gd name="connsiteX41095" fmla="*/ 1560511 w 6884782"/>
              <a:gd name="connsiteY41095" fmla="*/ 1958686 h 5973007"/>
              <a:gd name="connsiteX41096" fmla="*/ 1555865 w 6884782"/>
              <a:gd name="connsiteY41096" fmla="*/ 1955588 h 5973007"/>
              <a:gd name="connsiteX41097" fmla="*/ 1557620 w 6884782"/>
              <a:gd name="connsiteY41097" fmla="*/ 1954039 h 5973007"/>
              <a:gd name="connsiteX41098" fmla="*/ 1554936 w 6884782"/>
              <a:gd name="connsiteY41098" fmla="*/ 1950321 h 5973007"/>
              <a:gd name="connsiteX41099" fmla="*/ 1548121 w 6884782"/>
              <a:gd name="connsiteY41099" fmla="*/ 1935142 h 5973007"/>
              <a:gd name="connsiteX41100" fmla="*/ 4869385 w 6884782"/>
              <a:gd name="connsiteY41100" fmla="*/ 1935141 h 5973007"/>
              <a:gd name="connsiteX41101" fmla="*/ 4876855 w 6884782"/>
              <a:gd name="connsiteY41101" fmla="*/ 1938840 h 5973007"/>
              <a:gd name="connsiteX41102" fmla="*/ 4864476 w 6884782"/>
              <a:gd name="connsiteY41102" fmla="*/ 1951929 h 5973007"/>
              <a:gd name="connsiteX41103" fmla="*/ 4869385 w 6884782"/>
              <a:gd name="connsiteY41103" fmla="*/ 1935141 h 5973007"/>
              <a:gd name="connsiteX41104" fmla="*/ 1059512 w 6884782"/>
              <a:gd name="connsiteY41104" fmla="*/ 1934987 h 5973007"/>
              <a:gd name="connsiteX41105" fmla="*/ 1066740 w 6884782"/>
              <a:gd name="connsiteY41105" fmla="*/ 1940098 h 5973007"/>
              <a:gd name="connsiteX41106" fmla="*/ 1055175 w 6884782"/>
              <a:gd name="connsiteY41106" fmla="*/ 1938704 h 5973007"/>
              <a:gd name="connsiteX41107" fmla="*/ 1059512 w 6884782"/>
              <a:gd name="connsiteY41107" fmla="*/ 1934987 h 5973007"/>
              <a:gd name="connsiteX41108" fmla="*/ 5940966 w 6884782"/>
              <a:gd name="connsiteY41108" fmla="*/ 1934857 h 5973007"/>
              <a:gd name="connsiteX41109" fmla="*/ 5942246 w 6884782"/>
              <a:gd name="connsiteY41109" fmla="*/ 1937417 h 5973007"/>
              <a:gd name="connsiteX41110" fmla="*/ 5942459 w 6884782"/>
              <a:gd name="connsiteY41110" fmla="*/ 1941116 h 5973007"/>
              <a:gd name="connsiteX41111" fmla="*/ 5936484 w 6884782"/>
              <a:gd name="connsiteY41111" fmla="*/ 1942112 h 5973007"/>
              <a:gd name="connsiteX41112" fmla="*/ 5935203 w 6884782"/>
              <a:gd name="connsiteY41112" fmla="*/ 1939552 h 5973007"/>
              <a:gd name="connsiteX41113" fmla="*/ 5936271 w 6884782"/>
              <a:gd name="connsiteY41113" fmla="*/ 1935852 h 5973007"/>
              <a:gd name="connsiteX41114" fmla="*/ 5940966 w 6884782"/>
              <a:gd name="connsiteY41114" fmla="*/ 1934857 h 5973007"/>
              <a:gd name="connsiteX41115" fmla="*/ 667010 w 6884782"/>
              <a:gd name="connsiteY41115" fmla="*/ 1934696 h 5973007"/>
              <a:gd name="connsiteX41116" fmla="*/ 674057 w 6884782"/>
              <a:gd name="connsiteY41116" fmla="*/ 1938550 h 5973007"/>
              <a:gd name="connsiteX41117" fmla="*/ 675812 w 6884782"/>
              <a:gd name="connsiteY41117" fmla="*/ 1940408 h 5973007"/>
              <a:gd name="connsiteX41118" fmla="*/ 679220 w 6884782"/>
              <a:gd name="connsiteY41118" fmla="*/ 1942422 h 5973007"/>
              <a:gd name="connsiteX41119" fmla="*/ 674676 w 6884782"/>
              <a:gd name="connsiteY41119" fmla="*/ 1952025 h 5973007"/>
              <a:gd name="connsiteX41120" fmla="*/ 659911 w 6884782"/>
              <a:gd name="connsiteY41120" fmla="*/ 1953110 h 5973007"/>
              <a:gd name="connsiteX41121" fmla="*/ 656193 w 6884782"/>
              <a:gd name="connsiteY41121" fmla="*/ 1943661 h 5973007"/>
              <a:gd name="connsiteX41122" fmla="*/ 658465 w 6884782"/>
              <a:gd name="connsiteY41122" fmla="*/ 1938704 h 5973007"/>
              <a:gd name="connsiteX41123" fmla="*/ 661356 w 6884782"/>
              <a:gd name="connsiteY41123" fmla="*/ 1936071 h 5973007"/>
              <a:gd name="connsiteX41124" fmla="*/ 667010 w 6884782"/>
              <a:gd name="connsiteY41124" fmla="*/ 1934696 h 5973007"/>
              <a:gd name="connsiteX41125" fmla="*/ 866836 w 6884782"/>
              <a:gd name="connsiteY41125" fmla="*/ 1934522 h 5973007"/>
              <a:gd name="connsiteX41126" fmla="*/ 857646 w 6884782"/>
              <a:gd name="connsiteY41126" fmla="*/ 1957137 h 5973007"/>
              <a:gd name="connsiteX41127" fmla="*/ 851658 w 6884782"/>
              <a:gd name="connsiteY41127" fmla="*/ 1961629 h 5973007"/>
              <a:gd name="connsiteX41128" fmla="*/ 853516 w 6884782"/>
              <a:gd name="connsiteY41128" fmla="*/ 1945365 h 5973007"/>
              <a:gd name="connsiteX41129" fmla="*/ 837718 w 6884782"/>
              <a:gd name="connsiteY41129" fmla="*/ 1939014 h 5973007"/>
              <a:gd name="connsiteX41130" fmla="*/ 841642 w 6884782"/>
              <a:gd name="connsiteY41130" fmla="*/ 1937000 h 5973007"/>
              <a:gd name="connsiteX41131" fmla="*/ 857440 w 6884782"/>
              <a:gd name="connsiteY41131" fmla="*/ 1938860 h 5973007"/>
              <a:gd name="connsiteX41132" fmla="*/ 866836 w 6884782"/>
              <a:gd name="connsiteY41132" fmla="*/ 1934522 h 5973007"/>
              <a:gd name="connsiteX41133" fmla="*/ 4859781 w 6884782"/>
              <a:gd name="connsiteY41133" fmla="*/ 1933007 h 5973007"/>
              <a:gd name="connsiteX41134" fmla="*/ 4861061 w 6884782"/>
              <a:gd name="connsiteY41134" fmla="*/ 1934287 h 5973007"/>
              <a:gd name="connsiteX41135" fmla="*/ 4859141 w 6884782"/>
              <a:gd name="connsiteY41135" fmla="*/ 1935710 h 5973007"/>
              <a:gd name="connsiteX41136" fmla="*/ 4859781 w 6884782"/>
              <a:gd name="connsiteY41136" fmla="*/ 1933007 h 5973007"/>
              <a:gd name="connsiteX41137" fmla="*/ 1508573 w 6884782"/>
              <a:gd name="connsiteY41137" fmla="*/ 1932818 h 5973007"/>
              <a:gd name="connsiteX41138" fmla="*/ 1502585 w 6884782"/>
              <a:gd name="connsiteY41138" fmla="*/ 1941647 h 5973007"/>
              <a:gd name="connsiteX41139" fmla="*/ 1508573 w 6884782"/>
              <a:gd name="connsiteY41139" fmla="*/ 1932818 h 5973007"/>
              <a:gd name="connsiteX41140" fmla="*/ 1168654 w 6884782"/>
              <a:gd name="connsiteY41140" fmla="*/ 1932663 h 5973007"/>
              <a:gd name="connsiteX41141" fmla="*/ 1172165 w 6884782"/>
              <a:gd name="connsiteY41141" fmla="*/ 1933593 h 5973007"/>
              <a:gd name="connsiteX41142" fmla="*/ 1172681 w 6884782"/>
              <a:gd name="connsiteY41142" fmla="*/ 1936071 h 5973007"/>
              <a:gd name="connsiteX41143" fmla="*/ 1171855 w 6884782"/>
              <a:gd name="connsiteY41143" fmla="*/ 1936071 h 5973007"/>
              <a:gd name="connsiteX41144" fmla="*/ 1168138 w 6884782"/>
              <a:gd name="connsiteY41144" fmla="*/ 1936846 h 5973007"/>
              <a:gd name="connsiteX41145" fmla="*/ 1167725 w 6884782"/>
              <a:gd name="connsiteY41145" fmla="*/ 1934987 h 5973007"/>
              <a:gd name="connsiteX41146" fmla="*/ 1168654 w 6884782"/>
              <a:gd name="connsiteY41146" fmla="*/ 1932663 h 5973007"/>
              <a:gd name="connsiteX41147" fmla="*/ 4686057 w 6884782"/>
              <a:gd name="connsiteY41147" fmla="*/ 1931015 h 5973007"/>
              <a:gd name="connsiteX41148" fmla="*/ 4691606 w 6884782"/>
              <a:gd name="connsiteY41148" fmla="*/ 1931158 h 5973007"/>
              <a:gd name="connsiteX41149" fmla="*/ 4682216 w 6884782"/>
              <a:gd name="connsiteY41149" fmla="*/ 1935710 h 5973007"/>
              <a:gd name="connsiteX41150" fmla="*/ 4686057 w 6884782"/>
              <a:gd name="connsiteY41150" fmla="*/ 1931015 h 5973007"/>
              <a:gd name="connsiteX41151" fmla="*/ 1536866 w 6884782"/>
              <a:gd name="connsiteY41151" fmla="*/ 1930959 h 5973007"/>
              <a:gd name="connsiteX41152" fmla="*/ 1547398 w 6884782"/>
              <a:gd name="connsiteY41152" fmla="*/ 1938394 h 5973007"/>
              <a:gd name="connsiteX41153" fmla="*/ 1533768 w 6884782"/>
              <a:gd name="connsiteY41153" fmla="*/ 1933283 h 5973007"/>
              <a:gd name="connsiteX41154" fmla="*/ 1536866 w 6884782"/>
              <a:gd name="connsiteY41154" fmla="*/ 1930959 h 5973007"/>
              <a:gd name="connsiteX41155" fmla="*/ 599506 w 6884782"/>
              <a:gd name="connsiteY41155" fmla="*/ 1930959 h 5973007"/>
              <a:gd name="connsiteX41156" fmla="*/ 600332 w 6884782"/>
              <a:gd name="connsiteY41156" fmla="*/ 1931269 h 5973007"/>
              <a:gd name="connsiteX41157" fmla="*/ 601055 w 6884782"/>
              <a:gd name="connsiteY41157" fmla="*/ 1934522 h 5973007"/>
              <a:gd name="connsiteX41158" fmla="*/ 599402 w 6884782"/>
              <a:gd name="connsiteY41158" fmla="*/ 1934367 h 5973007"/>
              <a:gd name="connsiteX41159" fmla="*/ 599402 w 6884782"/>
              <a:gd name="connsiteY41159" fmla="*/ 1935142 h 5973007"/>
              <a:gd name="connsiteX41160" fmla="*/ 597751 w 6884782"/>
              <a:gd name="connsiteY41160" fmla="*/ 1934212 h 5973007"/>
              <a:gd name="connsiteX41161" fmla="*/ 597751 w 6884782"/>
              <a:gd name="connsiteY41161" fmla="*/ 1933438 h 5973007"/>
              <a:gd name="connsiteX41162" fmla="*/ 597544 w 6884782"/>
              <a:gd name="connsiteY41162" fmla="*/ 1933128 h 5973007"/>
              <a:gd name="connsiteX41163" fmla="*/ 598577 w 6884782"/>
              <a:gd name="connsiteY41163" fmla="*/ 1931889 h 5973007"/>
              <a:gd name="connsiteX41164" fmla="*/ 599506 w 6884782"/>
              <a:gd name="connsiteY41164" fmla="*/ 1930959 h 5973007"/>
              <a:gd name="connsiteX41165" fmla="*/ 977940 w 6884782"/>
              <a:gd name="connsiteY41165" fmla="*/ 1930649 h 5973007"/>
              <a:gd name="connsiteX41166" fmla="*/ 980418 w 6884782"/>
              <a:gd name="connsiteY41166" fmla="*/ 1932818 h 5973007"/>
              <a:gd name="connsiteX41167" fmla="*/ 975256 w 6884782"/>
              <a:gd name="connsiteY41167" fmla="*/ 1938239 h 5973007"/>
              <a:gd name="connsiteX41168" fmla="*/ 973397 w 6884782"/>
              <a:gd name="connsiteY41168" fmla="*/ 1933593 h 5973007"/>
              <a:gd name="connsiteX41169" fmla="*/ 974842 w 6884782"/>
              <a:gd name="connsiteY41169" fmla="*/ 1930959 h 5973007"/>
              <a:gd name="connsiteX41170" fmla="*/ 977940 w 6884782"/>
              <a:gd name="connsiteY41170" fmla="*/ 1930649 h 5973007"/>
              <a:gd name="connsiteX41171" fmla="*/ 5112684 w 6884782"/>
              <a:gd name="connsiteY41171" fmla="*/ 1930446 h 5973007"/>
              <a:gd name="connsiteX41172" fmla="*/ 5127623 w 6884782"/>
              <a:gd name="connsiteY41172" fmla="*/ 1931015 h 5973007"/>
              <a:gd name="connsiteX41173" fmla="*/ 5141495 w 6884782"/>
              <a:gd name="connsiteY41173" fmla="*/ 1933291 h 5973007"/>
              <a:gd name="connsiteX41174" fmla="*/ 5144697 w 6884782"/>
              <a:gd name="connsiteY41174" fmla="*/ 1936421 h 5973007"/>
              <a:gd name="connsiteX41175" fmla="*/ 5145550 w 6884782"/>
              <a:gd name="connsiteY41175" fmla="*/ 1935710 h 5973007"/>
              <a:gd name="connsiteX41176" fmla="*/ 5150032 w 6884782"/>
              <a:gd name="connsiteY41176" fmla="*/ 1942824 h 5973007"/>
              <a:gd name="connsiteX41177" fmla="*/ 5145764 w 6884782"/>
              <a:gd name="connsiteY41177" fmla="*/ 1944246 h 5973007"/>
              <a:gd name="connsiteX41178" fmla="*/ 5144910 w 6884782"/>
              <a:gd name="connsiteY41178" fmla="*/ 1948656 h 5973007"/>
              <a:gd name="connsiteX41179" fmla="*/ 5146190 w 6884782"/>
              <a:gd name="connsiteY41179" fmla="*/ 1948230 h 5973007"/>
              <a:gd name="connsiteX41180" fmla="*/ 5148111 w 6884782"/>
              <a:gd name="connsiteY41180" fmla="*/ 1949226 h 5973007"/>
              <a:gd name="connsiteX41181" fmla="*/ 5148111 w 6884782"/>
              <a:gd name="connsiteY41181" fmla="*/ 1952356 h 5973007"/>
              <a:gd name="connsiteX41182" fmla="*/ 5142989 w 6884782"/>
              <a:gd name="connsiteY41182" fmla="*/ 1955628 h 5973007"/>
              <a:gd name="connsiteX41183" fmla="*/ 5136586 w 6884782"/>
              <a:gd name="connsiteY41183" fmla="*/ 1954063 h 5973007"/>
              <a:gd name="connsiteX41184" fmla="*/ 5133172 w 6884782"/>
              <a:gd name="connsiteY41184" fmla="*/ 1955058 h 5973007"/>
              <a:gd name="connsiteX41185" fmla="*/ 5132531 w 6884782"/>
              <a:gd name="connsiteY41185" fmla="*/ 1953920 h 5973007"/>
              <a:gd name="connsiteX41186" fmla="*/ 5139574 w 6884782"/>
              <a:gd name="connsiteY41186" fmla="*/ 1950506 h 5973007"/>
              <a:gd name="connsiteX41187" fmla="*/ 5144056 w 6884782"/>
              <a:gd name="connsiteY41187" fmla="*/ 1948941 h 5973007"/>
              <a:gd name="connsiteX41188" fmla="*/ 5136160 w 6884782"/>
              <a:gd name="connsiteY41188" fmla="*/ 1943820 h 5973007"/>
              <a:gd name="connsiteX41189" fmla="*/ 5112684 w 6884782"/>
              <a:gd name="connsiteY41189" fmla="*/ 1930446 h 5973007"/>
              <a:gd name="connsiteX41190" fmla="*/ 1264166 w 6884782"/>
              <a:gd name="connsiteY41190" fmla="*/ 1930030 h 5973007"/>
              <a:gd name="connsiteX41191" fmla="*/ 1264889 w 6884782"/>
              <a:gd name="connsiteY41191" fmla="*/ 1930959 h 5973007"/>
              <a:gd name="connsiteX41192" fmla="*/ 1264786 w 6884782"/>
              <a:gd name="connsiteY41192" fmla="*/ 1931579 h 5973007"/>
              <a:gd name="connsiteX41193" fmla="*/ 1262617 w 6884782"/>
              <a:gd name="connsiteY41193" fmla="*/ 1932973 h 5973007"/>
              <a:gd name="connsiteX41194" fmla="*/ 1262617 w 6884782"/>
              <a:gd name="connsiteY41194" fmla="*/ 1932353 h 5973007"/>
              <a:gd name="connsiteX41195" fmla="*/ 1263340 w 6884782"/>
              <a:gd name="connsiteY41195" fmla="*/ 1930185 h 5973007"/>
              <a:gd name="connsiteX41196" fmla="*/ 1264476 w 6884782"/>
              <a:gd name="connsiteY41196" fmla="*/ 1930804 h 5973007"/>
              <a:gd name="connsiteX41197" fmla="*/ 1264166 w 6884782"/>
              <a:gd name="connsiteY41197" fmla="*/ 1930030 h 5973007"/>
              <a:gd name="connsiteX41198" fmla="*/ 5053780 w 6884782"/>
              <a:gd name="connsiteY41198" fmla="*/ 1930019 h 5973007"/>
              <a:gd name="connsiteX41199" fmla="*/ 5059969 w 6884782"/>
              <a:gd name="connsiteY41199" fmla="*/ 1933576 h 5973007"/>
              <a:gd name="connsiteX41200" fmla="*/ 5055701 w 6884782"/>
              <a:gd name="connsiteY41200" fmla="*/ 1942966 h 5973007"/>
              <a:gd name="connsiteX41201" fmla="*/ 5048871 w 6884782"/>
              <a:gd name="connsiteY41201" fmla="*/ 1937844 h 5973007"/>
              <a:gd name="connsiteX41202" fmla="*/ 5048444 w 6884782"/>
              <a:gd name="connsiteY41202" fmla="*/ 1934145 h 5973007"/>
              <a:gd name="connsiteX41203" fmla="*/ 5050792 w 6884782"/>
              <a:gd name="connsiteY41203" fmla="*/ 1930873 h 5973007"/>
              <a:gd name="connsiteX41204" fmla="*/ 5053780 w 6884782"/>
              <a:gd name="connsiteY41204" fmla="*/ 1930019 h 5973007"/>
              <a:gd name="connsiteX41205" fmla="*/ 5811847 w 6884782"/>
              <a:gd name="connsiteY41205" fmla="*/ 1928739 h 5973007"/>
              <a:gd name="connsiteX41206" fmla="*/ 5822731 w 6884782"/>
              <a:gd name="connsiteY41206" fmla="*/ 1934999 h 5973007"/>
              <a:gd name="connsiteX41207" fmla="*/ 5803310 w 6884782"/>
              <a:gd name="connsiteY41207" fmla="*/ 1935141 h 5973007"/>
              <a:gd name="connsiteX41208" fmla="*/ 5811847 w 6884782"/>
              <a:gd name="connsiteY41208" fmla="*/ 1928739 h 5973007"/>
              <a:gd name="connsiteX41209" fmla="*/ 1187757 w 6884782"/>
              <a:gd name="connsiteY41209" fmla="*/ 1928481 h 5973007"/>
              <a:gd name="connsiteX41210" fmla="*/ 1180632 w 6884782"/>
              <a:gd name="connsiteY41210" fmla="*/ 1934522 h 5973007"/>
              <a:gd name="connsiteX41211" fmla="*/ 1187757 w 6884782"/>
              <a:gd name="connsiteY41211" fmla="*/ 1928481 h 5973007"/>
              <a:gd name="connsiteX41212" fmla="*/ 1215842 w 6884782"/>
              <a:gd name="connsiteY41212" fmla="*/ 1928326 h 5973007"/>
              <a:gd name="connsiteX41213" fmla="*/ 1219972 w 6884782"/>
              <a:gd name="connsiteY41213" fmla="*/ 1934832 h 5973007"/>
              <a:gd name="connsiteX41214" fmla="*/ 1215532 w 6884782"/>
              <a:gd name="connsiteY41214" fmla="*/ 1929721 h 5973007"/>
              <a:gd name="connsiteX41215" fmla="*/ 1215842 w 6884782"/>
              <a:gd name="connsiteY41215" fmla="*/ 1928326 h 5973007"/>
              <a:gd name="connsiteX41216" fmla="*/ 5515406 w 6884782"/>
              <a:gd name="connsiteY41216" fmla="*/ 1927743 h 5973007"/>
              <a:gd name="connsiteX41217" fmla="*/ 5546139 w 6884782"/>
              <a:gd name="connsiteY41217" fmla="*/ 1951786 h 5973007"/>
              <a:gd name="connsiteX41218" fmla="*/ 5511138 w 6884782"/>
              <a:gd name="connsiteY41218" fmla="*/ 1938271 h 5973007"/>
              <a:gd name="connsiteX41219" fmla="*/ 5515406 w 6884782"/>
              <a:gd name="connsiteY41219" fmla="*/ 1927743 h 5973007"/>
              <a:gd name="connsiteX41220" fmla="*/ 5946087 w 6884782"/>
              <a:gd name="connsiteY41220" fmla="*/ 1927458 h 5973007"/>
              <a:gd name="connsiteX41221" fmla="*/ 5951423 w 6884782"/>
              <a:gd name="connsiteY41221" fmla="*/ 1930589 h 5973007"/>
              <a:gd name="connsiteX41222" fmla="*/ 5957826 w 6884782"/>
              <a:gd name="connsiteY41222" fmla="*/ 1942397 h 5973007"/>
              <a:gd name="connsiteX41223" fmla="*/ 5947155 w 6884782"/>
              <a:gd name="connsiteY41223" fmla="*/ 1944246 h 5973007"/>
              <a:gd name="connsiteX41224" fmla="*/ 5946087 w 6884782"/>
              <a:gd name="connsiteY41224" fmla="*/ 1942966 h 5973007"/>
              <a:gd name="connsiteX41225" fmla="*/ 5941179 w 6884782"/>
              <a:gd name="connsiteY41225" fmla="*/ 1928881 h 5973007"/>
              <a:gd name="connsiteX41226" fmla="*/ 5946087 w 6884782"/>
              <a:gd name="connsiteY41226" fmla="*/ 1927458 h 5973007"/>
              <a:gd name="connsiteX41227" fmla="*/ 3581610 w 6884782"/>
              <a:gd name="connsiteY41227" fmla="*/ 1925894 h 5973007"/>
              <a:gd name="connsiteX41228" fmla="*/ 3588013 w 6884782"/>
              <a:gd name="connsiteY41228" fmla="*/ 1926463 h 5973007"/>
              <a:gd name="connsiteX41229" fmla="*/ 3585878 w 6884782"/>
              <a:gd name="connsiteY41229" fmla="*/ 1940405 h 5973007"/>
              <a:gd name="connsiteX41230" fmla="*/ 3576488 w 6884782"/>
              <a:gd name="connsiteY41230" fmla="*/ 1928739 h 5973007"/>
              <a:gd name="connsiteX41231" fmla="*/ 3581610 w 6884782"/>
              <a:gd name="connsiteY41231" fmla="*/ 1925894 h 5973007"/>
              <a:gd name="connsiteX41232" fmla="*/ 3736980 w 6884782"/>
              <a:gd name="connsiteY41232" fmla="*/ 1925751 h 5973007"/>
              <a:gd name="connsiteX41233" fmla="*/ 3740394 w 6884782"/>
              <a:gd name="connsiteY41233" fmla="*/ 1927174 h 5973007"/>
              <a:gd name="connsiteX41234" fmla="*/ 3741248 w 6884782"/>
              <a:gd name="connsiteY41234" fmla="*/ 1926321 h 5973007"/>
              <a:gd name="connsiteX41235" fmla="*/ 3746157 w 6884782"/>
              <a:gd name="connsiteY41235" fmla="*/ 1932295 h 5973007"/>
              <a:gd name="connsiteX41236" fmla="*/ 3749358 w 6884782"/>
              <a:gd name="connsiteY41236" fmla="*/ 1935710 h 5973007"/>
              <a:gd name="connsiteX41237" fmla="*/ 3747224 w 6884782"/>
              <a:gd name="connsiteY41237" fmla="*/ 1943535 h 5973007"/>
              <a:gd name="connsiteX41238" fmla="*/ 3732071 w 6884782"/>
              <a:gd name="connsiteY41238" fmla="*/ 1926321 h 5973007"/>
              <a:gd name="connsiteX41239" fmla="*/ 3736980 w 6884782"/>
              <a:gd name="connsiteY41239" fmla="*/ 1925751 h 5973007"/>
              <a:gd name="connsiteX41240" fmla="*/ 5720930 w 6884782"/>
              <a:gd name="connsiteY41240" fmla="*/ 1925467 h 5973007"/>
              <a:gd name="connsiteX41241" fmla="*/ 5709832 w 6884782"/>
              <a:gd name="connsiteY41241" fmla="*/ 1933860 h 5973007"/>
              <a:gd name="connsiteX41242" fmla="*/ 5720930 w 6884782"/>
              <a:gd name="connsiteY41242" fmla="*/ 1925467 h 5973007"/>
              <a:gd name="connsiteX41243" fmla="*/ 5570042 w 6884782"/>
              <a:gd name="connsiteY41243" fmla="*/ 1925467 h 5973007"/>
              <a:gd name="connsiteX41244" fmla="*/ 5586262 w 6884782"/>
              <a:gd name="connsiteY41244" fmla="*/ 1939409 h 5973007"/>
              <a:gd name="connsiteX41245" fmla="*/ 5581140 w 6884782"/>
              <a:gd name="connsiteY41245" fmla="*/ 1945669 h 5973007"/>
              <a:gd name="connsiteX41246" fmla="*/ 5581994 w 6884782"/>
              <a:gd name="connsiteY41246" fmla="*/ 1946096 h 5973007"/>
              <a:gd name="connsiteX41247" fmla="*/ 5577085 w 6884782"/>
              <a:gd name="connsiteY41247" fmla="*/ 1951502 h 5973007"/>
              <a:gd name="connsiteX41248" fmla="*/ 5571323 w 6884782"/>
              <a:gd name="connsiteY41248" fmla="*/ 1951786 h 5973007"/>
              <a:gd name="connsiteX41249" fmla="*/ 5571536 w 6884782"/>
              <a:gd name="connsiteY41249" fmla="*/ 1947945 h 5973007"/>
              <a:gd name="connsiteX41250" fmla="*/ 5571109 w 6884782"/>
              <a:gd name="connsiteY41250" fmla="*/ 1947803 h 5973007"/>
              <a:gd name="connsiteX41251" fmla="*/ 5570042 w 6884782"/>
              <a:gd name="connsiteY41251" fmla="*/ 1925467 h 5973007"/>
              <a:gd name="connsiteX41252" fmla="*/ 998281 w 6884782"/>
              <a:gd name="connsiteY41252" fmla="*/ 1925228 h 5973007"/>
              <a:gd name="connsiteX41253" fmla="*/ 1003134 w 6884782"/>
              <a:gd name="connsiteY41253" fmla="*/ 1951871 h 5973007"/>
              <a:gd name="connsiteX41254" fmla="*/ 995803 w 6884782"/>
              <a:gd name="connsiteY41254" fmla="*/ 1954814 h 5973007"/>
              <a:gd name="connsiteX41255" fmla="*/ 991054 w 6884782"/>
              <a:gd name="connsiteY41255" fmla="*/ 1953264 h 5973007"/>
              <a:gd name="connsiteX41256" fmla="*/ 990331 w 6884782"/>
              <a:gd name="connsiteY41256" fmla="*/ 1953419 h 5973007"/>
              <a:gd name="connsiteX41257" fmla="*/ 990227 w 6884782"/>
              <a:gd name="connsiteY41257" fmla="*/ 1952955 h 5973007"/>
              <a:gd name="connsiteX41258" fmla="*/ 989711 w 6884782"/>
              <a:gd name="connsiteY41258" fmla="*/ 1952800 h 5973007"/>
              <a:gd name="connsiteX41259" fmla="*/ 984342 w 6884782"/>
              <a:gd name="connsiteY41259" fmla="*/ 1940408 h 5973007"/>
              <a:gd name="connsiteX41260" fmla="*/ 998281 w 6884782"/>
              <a:gd name="connsiteY41260" fmla="*/ 1925228 h 5973007"/>
              <a:gd name="connsiteX41261" fmla="*/ 654335 w 6884782"/>
              <a:gd name="connsiteY41261" fmla="*/ 1924918 h 5973007"/>
              <a:gd name="connsiteX41262" fmla="*/ 661356 w 6884782"/>
              <a:gd name="connsiteY41262" fmla="*/ 1927397 h 5973007"/>
              <a:gd name="connsiteX41263" fmla="*/ 659498 w 6884782"/>
              <a:gd name="connsiteY41263" fmla="*/ 1932973 h 5973007"/>
              <a:gd name="connsiteX41264" fmla="*/ 656917 w 6884782"/>
              <a:gd name="connsiteY41264" fmla="*/ 1933593 h 5973007"/>
              <a:gd name="connsiteX41265" fmla="*/ 651754 w 6884782"/>
              <a:gd name="connsiteY41265" fmla="*/ 1932199 h 5973007"/>
              <a:gd name="connsiteX41266" fmla="*/ 651754 w 6884782"/>
              <a:gd name="connsiteY41266" fmla="*/ 1932973 h 5973007"/>
              <a:gd name="connsiteX41267" fmla="*/ 650927 w 6884782"/>
              <a:gd name="connsiteY41267" fmla="*/ 1927861 h 5973007"/>
              <a:gd name="connsiteX41268" fmla="*/ 654335 w 6884782"/>
              <a:gd name="connsiteY41268" fmla="*/ 1924918 h 5973007"/>
              <a:gd name="connsiteX41269" fmla="*/ 6285425 w 6884782"/>
              <a:gd name="connsiteY41269" fmla="*/ 1924471 h 5973007"/>
              <a:gd name="connsiteX41270" fmla="*/ 6286065 w 6884782"/>
              <a:gd name="connsiteY41270" fmla="*/ 1925467 h 5973007"/>
              <a:gd name="connsiteX41271" fmla="*/ 6286493 w 6884782"/>
              <a:gd name="connsiteY41271" fmla="*/ 1925467 h 5973007"/>
              <a:gd name="connsiteX41272" fmla="*/ 6286065 w 6884782"/>
              <a:gd name="connsiteY41272" fmla="*/ 1928028 h 5973007"/>
              <a:gd name="connsiteX41273" fmla="*/ 6284572 w 6884782"/>
              <a:gd name="connsiteY41273" fmla="*/ 1930162 h 5973007"/>
              <a:gd name="connsiteX41274" fmla="*/ 6281584 w 6884782"/>
              <a:gd name="connsiteY41274" fmla="*/ 1926889 h 5973007"/>
              <a:gd name="connsiteX41275" fmla="*/ 6283505 w 6884782"/>
              <a:gd name="connsiteY41275" fmla="*/ 1925609 h 5973007"/>
              <a:gd name="connsiteX41276" fmla="*/ 6283078 w 6884782"/>
              <a:gd name="connsiteY41276" fmla="*/ 1924613 h 5973007"/>
              <a:gd name="connsiteX41277" fmla="*/ 6285425 w 6884782"/>
              <a:gd name="connsiteY41277" fmla="*/ 1924471 h 5973007"/>
              <a:gd name="connsiteX41278" fmla="*/ 5557664 w 6884782"/>
              <a:gd name="connsiteY41278" fmla="*/ 1924471 h 5973007"/>
              <a:gd name="connsiteX41279" fmla="*/ 5561078 w 6884782"/>
              <a:gd name="connsiteY41279" fmla="*/ 1927316 h 5973007"/>
              <a:gd name="connsiteX41280" fmla="*/ 5560012 w 6884782"/>
              <a:gd name="connsiteY41280" fmla="*/ 1928312 h 5973007"/>
              <a:gd name="connsiteX41281" fmla="*/ 5561078 w 6884782"/>
              <a:gd name="connsiteY41281" fmla="*/ 1928454 h 5973007"/>
              <a:gd name="connsiteX41282" fmla="*/ 5559584 w 6884782"/>
              <a:gd name="connsiteY41282" fmla="*/ 1928739 h 5973007"/>
              <a:gd name="connsiteX41283" fmla="*/ 5558731 w 6884782"/>
              <a:gd name="connsiteY41283" fmla="*/ 1928170 h 5973007"/>
              <a:gd name="connsiteX41284" fmla="*/ 5557664 w 6884782"/>
              <a:gd name="connsiteY41284" fmla="*/ 1924471 h 5973007"/>
              <a:gd name="connsiteX41285" fmla="*/ 5888464 w 6884782"/>
              <a:gd name="connsiteY41285" fmla="*/ 1923759 h 5973007"/>
              <a:gd name="connsiteX41286" fmla="*/ 5883129 w 6884782"/>
              <a:gd name="connsiteY41286" fmla="*/ 1935141 h 5973007"/>
              <a:gd name="connsiteX41287" fmla="*/ 5885049 w 6884782"/>
              <a:gd name="connsiteY41287" fmla="*/ 1936848 h 5973007"/>
              <a:gd name="connsiteX41288" fmla="*/ 5887611 w 6884782"/>
              <a:gd name="connsiteY41288" fmla="*/ 1943962 h 5973007"/>
              <a:gd name="connsiteX41289" fmla="*/ 5886544 w 6884782"/>
              <a:gd name="connsiteY41289" fmla="*/ 1951502 h 5973007"/>
              <a:gd name="connsiteX41290" fmla="*/ 5879928 w 6884782"/>
              <a:gd name="connsiteY41290" fmla="*/ 1946807 h 5973007"/>
              <a:gd name="connsiteX41291" fmla="*/ 5880141 w 6884782"/>
              <a:gd name="connsiteY41291" fmla="*/ 1941401 h 5973007"/>
              <a:gd name="connsiteX41292" fmla="*/ 5877580 w 6884782"/>
              <a:gd name="connsiteY41292" fmla="*/ 1947091 h 5973007"/>
              <a:gd name="connsiteX41293" fmla="*/ 5859439 w 6884782"/>
              <a:gd name="connsiteY41293" fmla="*/ 1947803 h 5973007"/>
              <a:gd name="connsiteX41294" fmla="*/ 5888464 w 6884782"/>
              <a:gd name="connsiteY41294" fmla="*/ 1923759 h 5973007"/>
              <a:gd name="connsiteX41295" fmla="*/ 1435778 w 6884782"/>
              <a:gd name="connsiteY41295" fmla="*/ 1923525 h 5973007"/>
              <a:gd name="connsiteX41296" fmla="*/ 1439805 w 6884782"/>
              <a:gd name="connsiteY41296" fmla="*/ 1928946 h 5973007"/>
              <a:gd name="connsiteX41297" fmla="*/ 1439289 w 6884782"/>
              <a:gd name="connsiteY41297" fmla="*/ 1930340 h 5973007"/>
              <a:gd name="connsiteX41298" fmla="*/ 1435571 w 6884782"/>
              <a:gd name="connsiteY41298" fmla="*/ 1925848 h 5973007"/>
              <a:gd name="connsiteX41299" fmla="*/ 1435778 w 6884782"/>
              <a:gd name="connsiteY41299" fmla="*/ 1923525 h 5973007"/>
              <a:gd name="connsiteX41300" fmla="*/ 5733735 w 6884782"/>
              <a:gd name="connsiteY41300" fmla="*/ 1921910 h 5973007"/>
              <a:gd name="connsiteX41301" fmla="*/ 5739497 w 6884782"/>
              <a:gd name="connsiteY41301" fmla="*/ 1922337 h 5973007"/>
              <a:gd name="connsiteX41302" fmla="*/ 5745473 w 6884782"/>
              <a:gd name="connsiteY41302" fmla="*/ 1931158 h 5973007"/>
              <a:gd name="connsiteX41303" fmla="*/ 5735229 w 6884782"/>
              <a:gd name="connsiteY41303" fmla="*/ 1937844 h 5973007"/>
              <a:gd name="connsiteX41304" fmla="*/ 5733735 w 6884782"/>
              <a:gd name="connsiteY41304" fmla="*/ 1921910 h 5973007"/>
              <a:gd name="connsiteX41305" fmla="*/ 1229059 w 6884782"/>
              <a:gd name="connsiteY41305" fmla="*/ 1921821 h 5973007"/>
              <a:gd name="connsiteX41306" fmla="*/ 1230092 w 6884782"/>
              <a:gd name="connsiteY41306" fmla="*/ 1929565 h 5973007"/>
              <a:gd name="connsiteX41307" fmla="*/ 1226788 w 6884782"/>
              <a:gd name="connsiteY41307" fmla="*/ 1925848 h 5973007"/>
              <a:gd name="connsiteX41308" fmla="*/ 1229059 w 6884782"/>
              <a:gd name="connsiteY41308" fmla="*/ 1921821 h 5973007"/>
              <a:gd name="connsiteX41309" fmla="*/ 3856068 w 6884782"/>
              <a:gd name="connsiteY41309" fmla="*/ 1921626 h 5973007"/>
              <a:gd name="connsiteX41310" fmla="*/ 3856281 w 6884782"/>
              <a:gd name="connsiteY41310" fmla="*/ 1926463 h 5973007"/>
              <a:gd name="connsiteX41311" fmla="*/ 3852866 w 6884782"/>
              <a:gd name="connsiteY41311" fmla="*/ 1927601 h 5973007"/>
              <a:gd name="connsiteX41312" fmla="*/ 3856068 w 6884782"/>
              <a:gd name="connsiteY41312" fmla="*/ 1921626 h 5973007"/>
              <a:gd name="connsiteX41313" fmla="*/ 1148726 w 6884782"/>
              <a:gd name="connsiteY41313" fmla="*/ 1921356 h 5973007"/>
              <a:gd name="connsiteX41314" fmla="*/ 1151410 w 6884782"/>
              <a:gd name="connsiteY41314" fmla="*/ 1922285 h 5973007"/>
              <a:gd name="connsiteX41315" fmla="*/ 1152236 w 6884782"/>
              <a:gd name="connsiteY41315" fmla="*/ 1935142 h 5973007"/>
              <a:gd name="connsiteX41316" fmla="*/ 1151514 w 6884782"/>
              <a:gd name="connsiteY41316" fmla="*/ 1935916 h 5973007"/>
              <a:gd name="connsiteX41317" fmla="*/ 1161116 w 6884782"/>
              <a:gd name="connsiteY41317" fmla="*/ 1939789 h 5973007"/>
              <a:gd name="connsiteX41318" fmla="*/ 1163904 w 6884782"/>
              <a:gd name="connsiteY41318" fmla="*/ 1940718 h 5973007"/>
              <a:gd name="connsiteX41319" fmla="*/ 1164730 w 6884782"/>
              <a:gd name="connsiteY41319" fmla="*/ 1940098 h 5973007"/>
              <a:gd name="connsiteX41320" fmla="*/ 1167828 w 6884782"/>
              <a:gd name="connsiteY41320" fmla="*/ 1938550 h 5973007"/>
              <a:gd name="connsiteX41321" fmla="*/ 1169067 w 6884782"/>
              <a:gd name="connsiteY41321" fmla="*/ 1941647 h 5973007"/>
              <a:gd name="connsiteX41322" fmla="*/ 1168964 w 6884782"/>
              <a:gd name="connsiteY41322" fmla="*/ 1942422 h 5973007"/>
              <a:gd name="connsiteX41323" fmla="*/ 1169274 w 6884782"/>
              <a:gd name="connsiteY41323" fmla="*/ 1942422 h 5973007"/>
              <a:gd name="connsiteX41324" fmla="*/ 1168964 w 6884782"/>
              <a:gd name="connsiteY41324" fmla="*/ 1942732 h 5973007"/>
              <a:gd name="connsiteX41325" fmla="*/ 1168861 w 6884782"/>
              <a:gd name="connsiteY41325" fmla="*/ 1943816 h 5973007"/>
              <a:gd name="connsiteX41326" fmla="*/ 1167518 w 6884782"/>
              <a:gd name="connsiteY41326" fmla="*/ 1946294 h 5973007"/>
              <a:gd name="connsiteX41327" fmla="*/ 1165763 w 6884782"/>
              <a:gd name="connsiteY41327" fmla="*/ 1947224 h 5973007"/>
              <a:gd name="connsiteX41328" fmla="*/ 1163491 w 6884782"/>
              <a:gd name="connsiteY41328" fmla="*/ 1948463 h 5973007"/>
              <a:gd name="connsiteX41329" fmla="*/ 1163078 w 6884782"/>
              <a:gd name="connsiteY41329" fmla="*/ 1948463 h 5973007"/>
              <a:gd name="connsiteX41330" fmla="*/ 1162149 w 6884782"/>
              <a:gd name="connsiteY41330" fmla="*/ 1949547 h 5973007"/>
              <a:gd name="connsiteX41331" fmla="*/ 1158432 w 6884782"/>
              <a:gd name="connsiteY41331" fmla="*/ 1958222 h 5973007"/>
              <a:gd name="connsiteX41332" fmla="*/ 1159981 w 6884782"/>
              <a:gd name="connsiteY41332" fmla="*/ 1958996 h 5973007"/>
              <a:gd name="connsiteX41333" fmla="*/ 1162975 w 6884782"/>
              <a:gd name="connsiteY41333" fmla="*/ 1962404 h 5973007"/>
              <a:gd name="connsiteX41334" fmla="*/ 1155850 w 6884782"/>
              <a:gd name="connsiteY41334" fmla="*/ 1966121 h 5973007"/>
              <a:gd name="connsiteX41335" fmla="*/ 1154198 w 6884782"/>
              <a:gd name="connsiteY41335" fmla="*/ 1965192 h 5973007"/>
              <a:gd name="connsiteX41336" fmla="*/ 1152959 w 6884782"/>
              <a:gd name="connsiteY41336" fmla="*/ 1966431 h 5973007"/>
              <a:gd name="connsiteX41337" fmla="*/ 1149242 w 6884782"/>
              <a:gd name="connsiteY41337" fmla="*/ 1968599 h 5973007"/>
              <a:gd name="connsiteX41338" fmla="*/ 1141395 w 6884782"/>
              <a:gd name="connsiteY41338" fmla="*/ 1970303 h 5973007"/>
              <a:gd name="connsiteX41339" fmla="*/ 1137471 w 6884782"/>
              <a:gd name="connsiteY41339" fmla="*/ 1969528 h 5973007"/>
              <a:gd name="connsiteX41340" fmla="*/ 1137264 w 6884782"/>
              <a:gd name="connsiteY41340" fmla="*/ 1969683 h 5973007"/>
              <a:gd name="connsiteX41341" fmla="*/ 1131069 w 6884782"/>
              <a:gd name="connsiteY41341" fmla="*/ 1969219 h 5973007"/>
              <a:gd name="connsiteX41342" fmla="*/ 1132308 w 6884782"/>
              <a:gd name="connsiteY41342" fmla="*/ 1967205 h 5973007"/>
              <a:gd name="connsiteX41343" fmla="*/ 1129313 w 6884782"/>
              <a:gd name="connsiteY41343" fmla="*/ 1964882 h 5973007"/>
              <a:gd name="connsiteX41344" fmla="*/ 1127455 w 6884782"/>
              <a:gd name="connsiteY41344" fmla="*/ 1961938 h 5973007"/>
              <a:gd name="connsiteX41345" fmla="*/ 1125080 w 6884782"/>
              <a:gd name="connsiteY41345" fmla="*/ 1961164 h 5973007"/>
              <a:gd name="connsiteX41346" fmla="*/ 1125596 w 6884782"/>
              <a:gd name="connsiteY41346" fmla="*/ 1963488 h 5973007"/>
              <a:gd name="connsiteX41347" fmla="*/ 1124047 w 6884782"/>
              <a:gd name="connsiteY41347" fmla="*/ 1966431 h 5973007"/>
              <a:gd name="connsiteX41348" fmla="*/ 1117336 w 6884782"/>
              <a:gd name="connsiteY41348" fmla="*/ 1961009 h 5973007"/>
              <a:gd name="connsiteX41349" fmla="*/ 1120021 w 6884782"/>
              <a:gd name="connsiteY41349" fmla="*/ 1958376 h 5973007"/>
              <a:gd name="connsiteX41350" fmla="*/ 1121260 w 6884782"/>
              <a:gd name="connsiteY41350" fmla="*/ 1958996 h 5973007"/>
              <a:gd name="connsiteX41351" fmla="*/ 1117439 w 6884782"/>
              <a:gd name="connsiteY41351" fmla="*/ 1956362 h 5973007"/>
              <a:gd name="connsiteX41352" fmla="*/ 1112483 w 6884782"/>
              <a:gd name="connsiteY41352" fmla="*/ 1942886 h 5973007"/>
              <a:gd name="connsiteX41353" fmla="*/ 1115890 w 6884782"/>
              <a:gd name="connsiteY41353" fmla="*/ 1934832 h 5973007"/>
              <a:gd name="connsiteX41354" fmla="*/ 1121053 w 6884782"/>
              <a:gd name="connsiteY41354" fmla="*/ 1930804 h 5973007"/>
              <a:gd name="connsiteX41355" fmla="*/ 1125699 w 6884782"/>
              <a:gd name="connsiteY41355" fmla="*/ 1929101 h 5973007"/>
              <a:gd name="connsiteX41356" fmla="*/ 1126629 w 6884782"/>
              <a:gd name="connsiteY41356" fmla="*/ 1927861 h 5973007"/>
              <a:gd name="connsiteX41357" fmla="*/ 1127248 w 6884782"/>
              <a:gd name="connsiteY41357" fmla="*/ 1928636 h 5973007"/>
              <a:gd name="connsiteX41358" fmla="*/ 1131275 w 6884782"/>
              <a:gd name="connsiteY41358" fmla="*/ 1927087 h 5973007"/>
              <a:gd name="connsiteX41359" fmla="*/ 1143150 w 6884782"/>
              <a:gd name="connsiteY41359" fmla="*/ 1922750 h 5973007"/>
              <a:gd name="connsiteX41360" fmla="*/ 1143047 w 6884782"/>
              <a:gd name="connsiteY41360" fmla="*/ 1924144 h 5973007"/>
              <a:gd name="connsiteX41361" fmla="*/ 1143976 w 6884782"/>
              <a:gd name="connsiteY41361" fmla="*/ 1923370 h 5973007"/>
              <a:gd name="connsiteX41362" fmla="*/ 1148726 w 6884782"/>
              <a:gd name="connsiteY41362" fmla="*/ 1921356 h 5973007"/>
              <a:gd name="connsiteX41363" fmla="*/ 1263547 w 6884782"/>
              <a:gd name="connsiteY41363" fmla="*/ 1921046 h 5973007"/>
              <a:gd name="connsiteX41364" fmla="*/ 1265199 w 6884782"/>
              <a:gd name="connsiteY41364" fmla="*/ 1921975 h 5973007"/>
              <a:gd name="connsiteX41365" fmla="*/ 1261172 w 6884782"/>
              <a:gd name="connsiteY41365" fmla="*/ 1925538 h 5973007"/>
              <a:gd name="connsiteX41366" fmla="*/ 1257455 w 6884782"/>
              <a:gd name="connsiteY41366" fmla="*/ 1928017 h 5973007"/>
              <a:gd name="connsiteX41367" fmla="*/ 1243722 w 6884782"/>
              <a:gd name="connsiteY41367" fmla="*/ 1933128 h 5973007"/>
              <a:gd name="connsiteX41368" fmla="*/ 1248161 w 6884782"/>
              <a:gd name="connsiteY41368" fmla="*/ 1929256 h 5973007"/>
              <a:gd name="connsiteX41369" fmla="*/ 1247645 w 6884782"/>
              <a:gd name="connsiteY41369" fmla="*/ 1927087 h 5973007"/>
              <a:gd name="connsiteX41370" fmla="*/ 1250536 w 6884782"/>
              <a:gd name="connsiteY41370" fmla="*/ 1923989 h 5973007"/>
              <a:gd name="connsiteX41371" fmla="*/ 1250743 w 6884782"/>
              <a:gd name="connsiteY41371" fmla="*/ 1927397 h 5973007"/>
              <a:gd name="connsiteX41372" fmla="*/ 1250639 w 6884782"/>
              <a:gd name="connsiteY41372" fmla="*/ 1927707 h 5973007"/>
              <a:gd name="connsiteX41373" fmla="*/ 1255183 w 6884782"/>
              <a:gd name="connsiteY41373" fmla="*/ 1925073 h 5973007"/>
              <a:gd name="connsiteX41374" fmla="*/ 1260449 w 6884782"/>
              <a:gd name="connsiteY41374" fmla="*/ 1921201 h 5973007"/>
              <a:gd name="connsiteX41375" fmla="*/ 1262824 w 6884782"/>
              <a:gd name="connsiteY41375" fmla="*/ 1921666 h 5973007"/>
              <a:gd name="connsiteX41376" fmla="*/ 1263547 w 6884782"/>
              <a:gd name="connsiteY41376" fmla="*/ 1921046 h 5973007"/>
              <a:gd name="connsiteX41377" fmla="*/ 4907587 w 6884782"/>
              <a:gd name="connsiteY41377" fmla="*/ 1920914 h 5973007"/>
              <a:gd name="connsiteX41378" fmla="*/ 4905453 w 6884782"/>
              <a:gd name="connsiteY41378" fmla="*/ 1926605 h 5973007"/>
              <a:gd name="connsiteX41379" fmla="*/ 4903959 w 6884782"/>
              <a:gd name="connsiteY41379" fmla="*/ 1929593 h 5973007"/>
              <a:gd name="connsiteX41380" fmla="*/ 4903319 w 6884782"/>
              <a:gd name="connsiteY41380" fmla="*/ 1932295 h 5973007"/>
              <a:gd name="connsiteX41381" fmla="*/ 4899690 w 6884782"/>
              <a:gd name="connsiteY41381" fmla="*/ 1936137 h 5973007"/>
              <a:gd name="connsiteX41382" fmla="*/ 4900117 w 6884782"/>
              <a:gd name="connsiteY41382" fmla="*/ 1933433 h 5973007"/>
              <a:gd name="connsiteX41383" fmla="*/ 4901825 w 6884782"/>
              <a:gd name="connsiteY41383" fmla="*/ 1930446 h 5973007"/>
              <a:gd name="connsiteX41384" fmla="*/ 4901184 w 6884782"/>
              <a:gd name="connsiteY41384" fmla="*/ 1928170 h 5973007"/>
              <a:gd name="connsiteX41385" fmla="*/ 4907587 w 6884782"/>
              <a:gd name="connsiteY41385" fmla="*/ 1920914 h 5973007"/>
              <a:gd name="connsiteX41386" fmla="*/ 5949929 w 6884782"/>
              <a:gd name="connsiteY41386" fmla="*/ 1919776 h 5973007"/>
              <a:gd name="connsiteX41387" fmla="*/ 5954198 w 6884782"/>
              <a:gd name="connsiteY41387" fmla="*/ 1922621 h 5973007"/>
              <a:gd name="connsiteX41388" fmla="*/ 5951423 w 6884782"/>
              <a:gd name="connsiteY41388" fmla="*/ 1925609 h 5973007"/>
              <a:gd name="connsiteX41389" fmla="*/ 5949929 w 6884782"/>
              <a:gd name="connsiteY41389" fmla="*/ 1919776 h 5973007"/>
              <a:gd name="connsiteX41390" fmla="*/ 1572799 w 6884782"/>
              <a:gd name="connsiteY41390" fmla="*/ 1919188 h 5973007"/>
              <a:gd name="connsiteX41391" fmla="*/ 1575380 w 6884782"/>
              <a:gd name="connsiteY41391" fmla="*/ 1920736 h 5973007"/>
              <a:gd name="connsiteX41392" fmla="*/ 1568462 w 6884782"/>
              <a:gd name="connsiteY41392" fmla="*/ 1923215 h 5973007"/>
              <a:gd name="connsiteX41393" fmla="*/ 1572799 w 6884782"/>
              <a:gd name="connsiteY41393" fmla="*/ 1919188 h 5973007"/>
              <a:gd name="connsiteX41394" fmla="*/ 5041401 w 6884782"/>
              <a:gd name="connsiteY41394" fmla="*/ 1919065 h 5973007"/>
              <a:gd name="connsiteX41395" fmla="*/ 5046737 w 6884782"/>
              <a:gd name="connsiteY41395" fmla="*/ 1919349 h 5973007"/>
              <a:gd name="connsiteX41396" fmla="*/ 5038200 w 6884782"/>
              <a:gd name="connsiteY41396" fmla="*/ 1923759 h 5973007"/>
              <a:gd name="connsiteX41397" fmla="*/ 5041401 w 6884782"/>
              <a:gd name="connsiteY41397" fmla="*/ 1919065 h 5973007"/>
              <a:gd name="connsiteX41398" fmla="*/ 6137952 w 6884782"/>
              <a:gd name="connsiteY41398" fmla="*/ 1918780 h 5973007"/>
              <a:gd name="connsiteX41399" fmla="*/ 6139660 w 6884782"/>
              <a:gd name="connsiteY41399" fmla="*/ 1919918 h 5973007"/>
              <a:gd name="connsiteX41400" fmla="*/ 6140300 w 6884782"/>
              <a:gd name="connsiteY41400" fmla="*/ 1918780 h 5973007"/>
              <a:gd name="connsiteX41401" fmla="*/ 6141367 w 6884782"/>
              <a:gd name="connsiteY41401" fmla="*/ 1921057 h 5973007"/>
              <a:gd name="connsiteX41402" fmla="*/ 6140727 w 6884782"/>
              <a:gd name="connsiteY41402" fmla="*/ 1922053 h 5973007"/>
              <a:gd name="connsiteX41403" fmla="*/ 6140940 w 6884782"/>
              <a:gd name="connsiteY41403" fmla="*/ 1922337 h 5973007"/>
              <a:gd name="connsiteX41404" fmla="*/ 6138592 w 6884782"/>
              <a:gd name="connsiteY41404" fmla="*/ 1923475 h 5973007"/>
              <a:gd name="connsiteX41405" fmla="*/ 6136245 w 6884782"/>
              <a:gd name="connsiteY41405" fmla="*/ 1923332 h 5973007"/>
              <a:gd name="connsiteX41406" fmla="*/ 6137952 w 6884782"/>
              <a:gd name="connsiteY41406" fmla="*/ 1918780 h 5973007"/>
              <a:gd name="connsiteX41407" fmla="*/ 3855855 w 6884782"/>
              <a:gd name="connsiteY41407" fmla="*/ 1918069 h 5973007"/>
              <a:gd name="connsiteX41408" fmla="*/ 3856068 w 6884782"/>
              <a:gd name="connsiteY41408" fmla="*/ 1920772 h 5973007"/>
              <a:gd name="connsiteX41409" fmla="*/ 3855001 w 6884782"/>
              <a:gd name="connsiteY41409" fmla="*/ 1920772 h 5973007"/>
              <a:gd name="connsiteX41410" fmla="*/ 3855855 w 6884782"/>
              <a:gd name="connsiteY41410" fmla="*/ 1918069 h 5973007"/>
              <a:gd name="connsiteX41411" fmla="*/ 3569872 w 6884782"/>
              <a:gd name="connsiteY41411" fmla="*/ 1917073 h 5973007"/>
              <a:gd name="connsiteX41412" fmla="*/ 3571366 w 6884782"/>
              <a:gd name="connsiteY41412" fmla="*/ 1917642 h 5973007"/>
              <a:gd name="connsiteX41413" fmla="*/ 3571366 w 6884782"/>
              <a:gd name="connsiteY41413" fmla="*/ 1917215 h 5973007"/>
              <a:gd name="connsiteX41414" fmla="*/ 3573286 w 6884782"/>
              <a:gd name="connsiteY41414" fmla="*/ 1919349 h 5973007"/>
              <a:gd name="connsiteX41415" fmla="*/ 3573500 w 6884782"/>
              <a:gd name="connsiteY41415" fmla="*/ 1923190 h 5973007"/>
              <a:gd name="connsiteX41416" fmla="*/ 3570939 w 6884782"/>
              <a:gd name="connsiteY41416" fmla="*/ 1923048 h 5973007"/>
              <a:gd name="connsiteX41417" fmla="*/ 3569872 w 6884782"/>
              <a:gd name="connsiteY41417" fmla="*/ 1917073 h 5973007"/>
              <a:gd name="connsiteX41418" fmla="*/ 3559414 w 6884782"/>
              <a:gd name="connsiteY41418" fmla="*/ 1917073 h 5973007"/>
              <a:gd name="connsiteX41419" fmla="*/ 3560908 w 6884782"/>
              <a:gd name="connsiteY41419" fmla="*/ 1920345 h 5973007"/>
              <a:gd name="connsiteX41420" fmla="*/ 3558774 w 6884782"/>
              <a:gd name="connsiteY41420" fmla="*/ 1921199 h 5973007"/>
              <a:gd name="connsiteX41421" fmla="*/ 3558988 w 6884782"/>
              <a:gd name="connsiteY41421" fmla="*/ 1918638 h 5973007"/>
              <a:gd name="connsiteX41422" fmla="*/ 3559414 w 6884782"/>
              <a:gd name="connsiteY41422" fmla="*/ 1917073 h 5973007"/>
              <a:gd name="connsiteX41423" fmla="*/ 1401600 w 6884782"/>
              <a:gd name="connsiteY41423" fmla="*/ 1916864 h 5973007"/>
              <a:gd name="connsiteX41424" fmla="*/ 1404904 w 6884782"/>
              <a:gd name="connsiteY41424" fmla="*/ 1923679 h 5973007"/>
              <a:gd name="connsiteX41425" fmla="*/ 1401497 w 6884782"/>
              <a:gd name="connsiteY41425" fmla="*/ 1920891 h 5973007"/>
              <a:gd name="connsiteX41426" fmla="*/ 1401600 w 6884782"/>
              <a:gd name="connsiteY41426" fmla="*/ 1916864 h 5973007"/>
              <a:gd name="connsiteX41427" fmla="*/ 1300616 w 6884782"/>
              <a:gd name="connsiteY41427" fmla="*/ 1916554 h 5973007"/>
              <a:gd name="connsiteX41428" fmla="*/ 1305985 w 6884782"/>
              <a:gd name="connsiteY41428" fmla="*/ 1926777 h 5973007"/>
              <a:gd name="connsiteX41429" fmla="*/ 1305366 w 6884782"/>
              <a:gd name="connsiteY41429" fmla="*/ 1928946 h 5973007"/>
              <a:gd name="connsiteX41430" fmla="*/ 1305572 w 6884782"/>
              <a:gd name="connsiteY41430" fmla="*/ 1930959 h 5973007"/>
              <a:gd name="connsiteX41431" fmla="*/ 1302577 w 6884782"/>
              <a:gd name="connsiteY41431" fmla="*/ 1935451 h 5973007"/>
              <a:gd name="connsiteX41432" fmla="*/ 1298137 w 6884782"/>
              <a:gd name="connsiteY41432" fmla="*/ 1918878 h 5973007"/>
              <a:gd name="connsiteX41433" fmla="*/ 1298550 w 6884782"/>
              <a:gd name="connsiteY41433" fmla="*/ 1917019 h 5973007"/>
              <a:gd name="connsiteX41434" fmla="*/ 1300616 w 6884782"/>
              <a:gd name="connsiteY41434" fmla="*/ 1916554 h 5973007"/>
              <a:gd name="connsiteX41435" fmla="*/ 3571579 w 6884782"/>
              <a:gd name="connsiteY41435" fmla="*/ 1916361 h 5973007"/>
              <a:gd name="connsiteX41436" fmla="*/ 3571366 w 6884782"/>
              <a:gd name="connsiteY41436" fmla="*/ 1917215 h 5973007"/>
              <a:gd name="connsiteX41437" fmla="*/ 3570939 w 6884782"/>
              <a:gd name="connsiteY41437" fmla="*/ 1916647 h 5973007"/>
              <a:gd name="connsiteX41438" fmla="*/ 3571579 w 6884782"/>
              <a:gd name="connsiteY41438" fmla="*/ 1916361 h 5973007"/>
              <a:gd name="connsiteX41439" fmla="*/ 5479339 w 6884782"/>
              <a:gd name="connsiteY41439" fmla="*/ 1915792 h 5973007"/>
              <a:gd name="connsiteX41440" fmla="*/ 5497479 w 6884782"/>
              <a:gd name="connsiteY41440" fmla="*/ 1915792 h 5973007"/>
              <a:gd name="connsiteX41441" fmla="*/ 5510711 w 6884782"/>
              <a:gd name="connsiteY41441" fmla="*/ 1920629 h 5973007"/>
              <a:gd name="connsiteX41442" fmla="*/ 5509004 w 6884782"/>
              <a:gd name="connsiteY41442" fmla="*/ 1933576 h 5973007"/>
              <a:gd name="connsiteX41443" fmla="*/ 5479339 w 6884782"/>
              <a:gd name="connsiteY41443" fmla="*/ 1915792 h 5973007"/>
              <a:gd name="connsiteX41444" fmla="*/ 3600604 w 6884782"/>
              <a:gd name="connsiteY41444" fmla="*/ 1915792 h 5973007"/>
              <a:gd name="connsiteX41445" fmla="*/ 3608714 w 6884782"/>
              <a:gd name="connsiteY41445" fmla="*/ 1918069 h 5973007"/>
              <a:gd name="connsiteX41446" fmla="*/ 3607434 w 6884782"/>
              <a:gd name="connsiteY41446" fmla="*/ 1926605 h 5973007"/>
              <a:gd name="connsiteX41447" fmla="*/ 3592281 w 6884782"/>
              <a:gd name="connsiteY41447" fmla="*/ 1917215 h 5973007"/>
              <a:gd name="connsiteX41448" fmla="*/ 3600604 w 6884782"/>
              <a:gd name="connsiteY41448" fmla="*/ 1915792 h 5973007"/>
              <a:gd name="connsiteX41449" fmla="*/ 1304642 w 6884782"/>
              <a:gd name="connsiteY41449" fmla="*/ 1915780 h 5973007"/>
              <a:gd name="connsiteX41450" fmla="*/ 1305469 w 6884782"/>
              <a:gd name="connsiteY41450" fmla="*/ 1915780 h 5973007"/>
              <a:gd name="connsiteX41451" fmla="*/ 1304642 w 6884782"/>
              <a:gd name="connsiteY41451" fmla="*/ 1917328 h 5973007"/>
              <a:gd name="connsiteX41452" fmla="*/ 1304333 w 6884782"/>
              <a:gd name="connsiteY41452" fmla="*/ 1917019 h 5973007"/>
              <a:gd name="connsiteX41453" fmla="*/ 1304642 w 6884782"/>
              <a:gd name="connsiteY41453" fmla="*/ 1915780 h 5973007"/>
              <a:gd name="connsiteX41454" fmla="*/ 5355128 w 6884782"/>
              <a:gd name="connsiteY41454" fmla="*/ 1915508 h 5973007"/>
              <a:gd name="connsiteX41455" fmla="*/ 5380098 w 6884782"/>
              <a:gd name="connsiteY41455" fmla="*/ 1945242 h 5973007"/>
              <a:gd name="connsiteX41456" fmla="*/ 5370922 w 6884782"/>
              <a:gd name="connsiteY41456" fmla="*/ 1951502 h 5973007"/>
              <a:gd name="connsiteX41457" fmla="*/ 5355128 w 6884782"/>
              <a:gd name="connsiteY41457" fmla="*/ 1915508 h 5973007"/>
              <a:gd name="connsiteX41458" fmla="*/ 5315005 w 6884782"/>
              <a:gd name="connsiteY41458" fmla="*/ 1915508 h 5973007"/>
              <a:gd name="connsiteX41459" fmla="*/ 5314579 w 6884782"/>
              <a:gd name="connsiteY41459" fmla="*/ 1916931 h 5973007"/>
              <a:gd name="connsiteX41460" fmla="*/ 5315432 w 6884782"/>
              <a:gd name="connsiteY41460" fmla="*/ 1916361 h 5973007"/>
              <a:gd name="connsiteX41461" fmla="*/ 1266231 w 6884782"/>
              <a:gd name="connsiteY41461" fmla="*/ 1915470 h 5973007"/>
              <a:gd name="connsiteX41462" fmla="*/ 1289464 w 6884782"/>
              <a:gd name="connsiteY41462" fmla="*/ 1925073 h 5973007"/>
              <a:gd name="connsiteX41463" fmla="*/ 1293801 w 6884782"/>
              <a:gd name="connsiteY41463" fmla="*/ 1930959 h 5973007"/>
              <a:gd name="connsiteX41464" fmla="*/ 1277073 w 6884782"/>
              <a:gd name="connsiteY41464" fmla="*/ 1928636 h 5973007"/>
              <a:gd name="connsiteX41465" fmla="*/ 1269845 w 6884782"/>
              <a:gd name="connsiteY41465" fmla="*/ 1943661 h 5973007"/>
              <a:gd name="connsiteX41466" fmla="*/ 1268090 w 6884782"/>
              <a:gd name="connsiteY41466" fmla="*/ 1939943 h 5973007"/>
              <a:gd name="connsiteX41467" fmla="*/ 1264889 w 6884782"/>
              <a:gd name="connsiteY41467" fmla="*/ 1940253 h 5973007"/>
              <a:gd name="connsiteX41468" fmla="*/ 1264063 w 6884782"/>
              <a:gd name="connsiteY41468" fmla="*/ 1939479 h 5973007"/>
              <a:gd name="connsiteX41469" fmla="*/ 1262824 w 6884782"/>
              <a:gd name="connsiteY41469" fmla="*/ 1940253 h 5973007"/>
              <a:gd name="connsiteX41470" fmla="*/ 1261791 w 6884782"/>
              <a:gd name="connsiteY41470" fmla="*/ 1941028 h 5973007"/>
              <a:gd name="connsiteX41471" fmla="*/ 1259829 w 6884782"/>
              <a:gd name="connsiteY41471" fmla="*/ 1939789 h 5973007"/>
              <a:gd name="connsiteX41472" fmla="*/ 1259933 w 6884782"/>
              <a:gd name="connsiteY41472" fmla="*/ 1938394 h 5973007"/>
              <a:gd name="connsiteX41473" fmla="*/ 1257868 w 6884782"/>
              <a:gd name="connsiteY41473" fmla="*/ 1937930 h 5973007"/>
              <a:gd name="connsiteX41474" fmla="*/ 1262721 w 6884782"/>
              <a:gd name="connsiteY41474" fmla="*/ 1933128 h 5973007"/>
              <a:gd name="connsiteX41475" fmla="*/ 1261998 w 6884782"/>
              <a:gd name="connsiteY41475" fmla="*/ 1935142 h 5973007"/>
              <a:gd name="connsiteX41476" fmla="*/ 1263443 w 6884782"/>
              <a:gd name="connsiteY41476" fmla="*/ 1933593 h 5973007"/>
              <a:gd name="connsiteX41477" fmla="*/ 1268606 w 6884782"/>
              <a:gd name="connsiteY41477" fmla="*/ 1932044 h 5973007"/>
              <a:gd name="connsiteX41478" fmla="*/ 1268606 w 6884782"/>
              <a:gd name="connsiteY41478" fmla="*/ 1934212 h 5973007"/>
              <a:gd name="connsiteX41479" fmla="*/ 1269639 w 6884782"/>
              <a:gd name="connsiteY41479" fmla="*/ 1930030 h 5973007"/>
              <a:gd name="connsiteX41480" fmla="*/ 1270362 w 6884782"/>
              <a:gd name="connsiteY41480" fmla="*/ 1924764 h 5973007"/>
              <a:gd name="connsiteX41481" fmla="*/ 1266025 w 6884782"/>
              <a:gd name="connsiteY41481" fmla="*/ 1919188 h 5973007"/>
              <a:gd name="connsiteX41482" fmla="*/ 1266231 w 6884782"/>
              <a:gd name="connsiteY41482" fmla="*/ 1915470 h 5973007"/>
              <a:gd name="connsiteX41483" fmla="*/ 3888081 w 6884782"/>
              <a:gd name="connsiteY41483" fmla="*/ 1915365 h 5973007"/>
              <a:gd name="connsiteX41484" fmla="*/ 3893630 w 6884782"/>
              <a:gd name="connsiteY41484" fmla="*/ 1922194 h 5973007"/>
              <a:gd name="connsiteX41485" fmla="*/ 3891496 w 6884782"/>
              <a:gd name="connsiteY41485" fmla="*/ 1924755 h 5973007"/>
              <a:gd name="connsiteX41486" fmla="*/ 3880611 w 6884782"/>
              <a:gd name="connsiteY41486" fmla="*/ 1918353 h 5973007"/>
              <a:gd name="connsiteX41487" fmla="*/ 3888081 w 6884782"/>
              <a:gd name="connsiteY41487" fmla="*/ 1915365 h 5973007"/>
              <a:gd name="connsiteX41488" fmla="*/ 5553182 w 6884782"/>
              <a:gd name="connsiteY41488" fmla="*/ 1915223 h 5973007"/>
              <a:gd name="connsiteX41489" fmla="*/ 5557450 w 6884782"/>
              <a:gd name="connsiteY41489" fmla="*/ 1924471 h 5973007"/>
              <a:gd name="connsiteX41490" fmla="*/ 5553182 w 6884782"/>
              <a:gd name="connsiteY41490" fmla="*/ 1920202 h 5973007"/>
              <a:gd name="connsiteX41491" fmla="*/ 5553182 w 6884782"/>
              <a:gd name="connsiteY41491" fmla="*/ 1915223 h 5973007"/>
              <a:gd name="connsiteX41492" fmla="*/ 776590 w 6884782"/>
              <a:gd name="connsiteY41492" fmla="*/ 1914695 h 5973007"/>
              <a:gd name="connsiteX41493" fmla="*/ 778656 w 6884782"/>
              <a:gd name="connsiteY41493" fmla="*/ 1916709 h 5973007"/>
              <a:gd name="connsiteX41494" fmla="*/ 769569 w 6884782"/>
              <a:gd name="connsiteY41494" fmla="*/ 1930959 h 5973007"/>
              <a:gd name="connsiteX41495" fmla="*/ 750776 w 6884782"/>
              <a:gd name="connsiteY41495" fmla="*/ 1930340 h 5973007"/>
              <a:gd name="connsiteX41496" fmla="*/ 749950 w 6884782"/>
              <a:gd name="connsiteY41496" fmla="*/ 1925228 h 5973007"/>
              <a:gd name="connsiteX41497" fmla="*/ 759657 w 6884782"/>
              <a:gd name="connsiteY41497" fmla="*/ 1916864 h 5973007"/>
              <a:gd name="connsiteX41498" fmla="*/ 765749 w 6884782"/>
              <a:gd name="connsiteY41498" fmla="*/ 1915160 h 5973007"/>
              <a:gd name="connsiteX41499" fmla="*/ 776590 w 6884782"/>
              <a:gd name="connsiteY41499" fmla="*/ 1914695 h 5973007"/>
              <a:gd name="connsiteX41500" fmla="*/ 1534426 w 6884782"/>
              <a:gd name="connsiteY41500" fmla="*/ 1914231 h 5973007"/>
              <a:gd name="connsiteX41501" fmla="*/ 1540376 w 6884782"/>
              <a:gd name="connsiteY41501" fmla="*/ 1914231 h 5973007"/>
              <a:gd name="connsiteX41502" fmla="*/ 1542855 w 6884782"/>
              <a:gd name="connsiteY41502" fmla="*/ 1917638 h 5973007"/>
              <a:gd name="connsiteX41503" fmla="*/ 1540376 w 6884782"/>
              <a:gd name="connsiteY41503" fmla="*/ 1924609 h 5973007"/>
              <a:gd name="connsiteX41504" fmla="*/ 1531497 w 6884782"/>
              <a:gd name="connsiteY41504" fmla="*/ 1922130 h 5973007"/>
              <a:gd name="connsiteX41505" fmla="*/ 1534426 w 6884782"/>
              <a:gd name="connsiteY41505" fmla="*/ 1914231 h 5973007"/>
              <a:gd name="connsiteX41506" fmla="*/ 3849239 w 6884782"/>
              <a:gd name="connsiteY41506" fmla="*/ 1914228 h 5973007"/>
              <a:gd name="connsiteX41507" fmla="*/ 3850306 w 6884782"/>
              <a:gd name="connsiteY41507" fmla="*/ 1915650 h 5973007"/>
              <a:gd name="connsiteX41508" fmla="*/ 3849879 w 6884782"/>
              <a:gd name="connsiteY41508" fmla="*/ 1918069 h 5973007"/>
              <a:gd name="connsiteX41509" fmla="*/ 3848385 w 6884782"/>
              <a:gd name="connsiteY41509" fmla="*/ 1923048 h 5973007"/>
              <a:gd name="connsiteX41510" fmla="*/ 3849239 w 6884782"/>
              <a:gd name="connsiteY41510" fmla="*/ 1914228 h 5973007"/>
              <a:gd name="connsiteX41511" fmla="*/ 4973961 w 6884782"/>
              <a:gd name="connsiteY41511" fmla="*/ 1913658 h 5973007"/>
              <a:gd name="connsiteX41512" fmla="*/ 4978869 w 6884782"/>
              <a:gd name="connsiteY41512" fmla="*/ 1919065 h 5973007"/>
              <a:gd name="connsiteX41513" fmla="*/ 4970973 w 6884782"/>
              <a:gd name="connsiteY41513" fmla="*/ 1923048 h 5973007"/>
              <a:gd name="connsiteX41514" fmla="*/ 4970333 w 6884782"/>
              <a:gd name="connsiteY41514" fmla="*/ 1914512 h 5973007"/>
              <a:gd name="connsiteX41515" fmla="*/ 4973961 w 6884782"/>
              <a:gd name="connsiteY41515" fmla="*/ 1913658 h 5973007"/>
              <a:gd name="connsiteX41516" fmla="*/ 1521816 w 6884782"/>
              <a:gd name="connsiteY41516" fmla="*/ 1913263 h 5973007"/>
              <a:gd name="connsiteX41517" fmla="*/ 1530464 w 6884782"/>
              <a:gd name="connsiteY41517" fmla="*/ 1919188 h 5973007"/>
              <a:gd name="connsiteX41518" fmla="*/ 1509606 w 6884782"/>
              <a:gd name="connsiteY41518" fmla="*/ 1919188 h 5973007"/>
              <a:gd name="connsiteX41519" fmla="*/ 1510845 w 6884782"/>
              <a:gd name="connsiteY41519" fmla="*/ 1915005 h 5973007"/>
              <a:gd name="connsiteX41520" fmla="*/ 1521816 w 6884782"/>
              <a:gd name="connsiteY41520" fmla="*/ 1913263 h 5973007"/>
              <a:gd name="connsiteX41521" fmla="*/ 5970204 w 6884782"/>
              <a:gd name="connsiteY41521" fmla="*/ 1913090 h 5973007"/>
              <a:gd name="connsiteX41522" fmla="*/ 5972552 w 6884782"/>
              <a:gd name="connsiteY41522" fmla="*/ 1918069 h 5973007"/>
              <a:gd name="connsiteX41523" fmla="*/ 5965509 w 6884782"/>
              <a:gd name="connsiteY41523" fmla="*/ 1919918 h 5973007"/>
              <a:gd name="connsiteX41524" fmla="*/ 5970204 w 6884782"/>
              <a:gd name="connsiteY41524" fmla="*/ 1913090 h 5973007"/>
              <a:gd name="connsiteX41525" fmla="*/ 797551 w 6884782"/>
              <a:gd name="connsiteY41525" fmla="*/ 1912372 h 5973007"/>
              <a:gd name="connsiteX41526" fmla="*/ 798584 w 6884782"/>
              <a:gd name="connsiteY41526" fmla="*/ 1915470 h 5973007"/>
              <a:gd name="connsiteX41527" fmla="*/ 797035 w 6884782"/>
              <a:gd name="connsiteY41527" fmla="*/ 1915780 h 5973007"/>
              <a:gd name="connsiteX41528" fmla="*/ 797035 w 6884782"/>
              <a:gd name="connsiteY41528" fmla="*/ 1916554 h 5973007"/>
              <a:gd name="connsiteX41529" fmla="*/ 795383 w 6884782"/>
              <a:gd name="connsiteY41529" fmla="*/ 1915935 h 5973007"/>
              <a:gd name="connsiteX41530" fmla="*/ 795280 w 6884782"/>
              <a:gd name="connsiteY41530" fmla="*/ 1915160 h 5973007"/>
              <a:gd name="connsiteX41531" fmla="*/ 795073 w 6884782"/>
              <a:gd name="connsiteY41531" fmla="*/ 1915005 h 5973007"/>
              <a:gd name="connsiteX41532" fmla="*/ 796002 w 6884782"/>
              <a:gd name="connsiteY41532" fmla="*/ 1913456 h 5973007"/>
              <a:gd name="connsiteX41533" fmla="*/ 797551 w 6884782"/>
              <a:gd name="connsiteY41533" fmla="*/ 1912372 h 5973007"/>
              <a:gd name="connsiteX41534" fmla="*/ 1241140 w 6884782"/>
              <a:gd name="connsiteY41534" fmla="*/ 1912217 h 5973007"/>
              <a:gd name="connsiteX41535" fmla="*/ 1243515 w 6884782"/>
              <a:gd name="connsiteY41535" fmla="*/ 1913456 h 5973007"/>
              <a:gd name="connsiteX41536" fmla="*/ 1248988 w 6884782"/>
              <a:gd name="connsiteY41536" fmla="*/ 1922905 h 5973007"/>
              <a:gd name="connsiteX41537" fmla="*/ 1241140 w 6884782"/>
              <a:gd name="connsiteY41537" fmla="*/ 1912217 h 5973007"/>
              <a:gd name="connsiteX41538" fmla="*/ 1430512 w 6884782"/>
              <a:gd name="connsiteY41538" fmla="*/ 1910978 h 5973007"/>
              <a:gd name="connsiteX41539" fmla="*/ 1431544 w 6884782"/>
              <a:gd name="connsiteY41539" fmla="*/ 1912217 h 5973007"/>
              <a:gd name="connsiteX41540" fmla="*/ 1433816 w 6884782"/>
              <a:gd name="connsiteY41540" fmla="*/ 1914850 h 5973007"/>
              <a:gd name="connsiteX41541" fmla="*/ 1429066 w 6884782"/>
              <a:gd name="connsiteY41541" fmla="*/ 1911133 h 5973007"/>
              <a:gd name="connsiteX41542" fmla="*/ 1430512 w 6884782"/>
              <a:gd name="connsiteY41542" fmla="*/ 1910978 h 5973007"/>
              <a:gd name="connsiteX41543" fmla="*/ 5518394 w 6884782"/>
              <a:gd name="connsiteY41543" fmla="*/ 1910101 h 5973007"/>
              <a:gd name="connsiteX41544" fmla="*/ 5516901 w 6884782"/>
              <a:gd name="connsiteY41544" fmla="*/ 1920345 h 5973007"/>
              <a:gd name="connsiteX41545" fmla="*/ 5517114 w 6884782"/>
              <a:gd name="connsiteY41545" fmla="*/ 1911098 h 5973007"/>
              <a:gd name="connsiteX41546" fmla="*/ 5518394 w 6884782"/>
              <a:gd name="connsiteY41546" fmla="*/ 1910101 h 5973007"/>
              <a:gd name="connsiteX41547" fmla="*/ 3690454 w 6884782"/>
              <a:gd name="connsiteY41547" fmla="*/ 1908395 h 5973007"/>
              <a:gd name="connsiteX41548" fmla="*/ 3693442 w 6884782"/>
              <a:gd name="connsiteY41548" fmla="*/ 1912663 h 5973007"/>
              <a:gd name="connsiteX41549" fmla="*/ 3683411 w 6884782"/>
              <a:gd name="connsiteY41549" fmla="*/ 1927316 h 5973007"/>
              <a:gd name="connsiteX41550" fmla="*/ 3690454 w 6884782"/>
              <a:gd name="connsiteY41550" fmla="*/ 1908395 h 5973007"/>
              <a:gd name="connsiteX41551" fmla="*/ 1109695 w 6884782"/>
              <a:gd name="connsiteY41551" fmla="*/ 1908345 h 5973007"/>
              <a:gd name="connsiteX41552" fmla="*/ 1111347 w 6884782"/>
              <a:gd name="connsiteY41552" fmla="*/ 1909584 h 5973007"/>
              <a:gd name="connsiteX41553" fmla="*/ 1111244 w 6884782"/>
              <a:gd name="connsiteY41553" fmla="*/ 1910358 h 5973007"/>
              <a:gd name="connsiteX41554" fmla="*/ 1110624 w 6884782"/>
              <a:gd name="connsiteY41554" fmla="*/ 1913611 h 5973007"/>
              <a:gd name="connsiteX41555" fmla="*/ 1106081 w 6884782"/>
              <a:gd name="connsiteY41555" fmla="*/ 1915005 h 5973007"/>
              <a:gd name="connsiteX41556" fmla="*/ 1104738 w 6884782"/>
              <a:gd name="connsiteY41556" fmla="*/ 1912217 h 5973007"/>
              <a:gd name="connsiteX41557" fmla="*/ 1105152 w 6884782"/>
              <a:gd name="connsiteY41557" fmla="*/ 1910048 h 5973007"/>
              <a:gd name="connsiteX41558" fmla="*/ 1109695 w 6884782"/>
              <a:gd name="connsiteY41558" fmla="*/ 1908345 h 5973007"/>
              <a:gd name="connsiteX41559" fmla="*/ 4623952 w 6884782"/>
              <a:gd name="connsiteY41559" fmla="*/ 1908252 h 5973007"/>
              <a:gd name="connsiteX41560" fmla="*/ 4623312 w 6884782"/>
              <a:gd name="connsiteY41560" fmla="*/ 1908821 h 5973007"/>
              <a:gd name="connsiteX41561" fmla="*/ 4623739 w 6884782"/>
              <a:gd name="connsiteY41561" fmla="*/ 1908679 h 5973007"/>
              <a:gd name="connsiteX41562" fmla="*/ 5542511 w 6884782"/>
              <a:gd name="connsiteY41562" fmla="*/ 1908110 h 5973007"/>
              <a:gd name="connsiteX41563" fmla="*/ 5545712 w 6884782"/>
              <a:gd name="connsiteY41563" fmla="*/ 1910244 h 5973007"/>
              <a:gd name="connsiteX41564" fmla="*/ 5543578 w 6884782"/>
              <a:gd name="connsiteY41564" fmla="*/ 1913090 h 5973007"/>
              <a:gd name="connsiteX41565" fmla="*/ 5544645 w 6884782"/>
              <a:gd name="connsiteY41565" fmla="*/ 1913090 h 5973007"/>
              <a:gd name="connsiteX41566" fmla="*/ 5543791 w 6884782"/>
              <a:gd name="connsiteY41566" fmla="*/ 1923902 h 5973007"/>
              <a:gd name="connsiteX41567" fmla="*/ 5538242 w 6884782"/>
              <a:gd name="connsiteY41567" fmla="*/ 1927316 h 5973007"/>
              <a:gd name="connsiteX41568" fmla="*/ 5527571 w 6884782"/>
              <a:gd name="connsiteY41568" fmla="*/ 1924471 h 5973007"/>
              <a:gd name="connsiteX41569" fmla="*/ 5528639 w 6884782"/>
              <a:gd name="connsiteY41569" fmla="*/ 1918353 h 5973007"/>
              <a:gd name="connsiteX41570" fmla="*/ 5534614 w 6884782"/>
              <a:gd name="connsiteY41570" fmla="*/ 1914370 h 5973007"/>
              <a:gd name="connsiteX41571" fmla="*/ 5539096 w 6884782"/>
              <a:gd name="connsiteY41571" fmla="*/ 1913090 h 5973007"/>
              <a:gd name="connsiteX41572" fmla="*/ 5539096 w 6884782"/>
              <a:gd name="connsiteY41572" fmla="*/ 1910813 h 5973007"/>
              <a:gd name="connsiteX41573" fmla="*/ 5542511 w 6884782"/>
              <a:gd name="connsiteY41573" fmla="*/ 1908110 h 5973007"/>
              <a:gd name="connsiteX41574" fmla="*/ 1047534 w 6884782"/>
              <a:gd name="connsiteY41574" fmla="*/ 1908035 h 5973007"/>
              <a:gd name="connsiteX41575" fmla="*/ 1052078 w 6884782"/>
              <a:gd name="connsiteY41575" fmla="*/ 1922750 h 5973007"/>
              <a:gd name="connsiteX41576" fmla="*/ 1047328 w 6884782"/>
              <a:gd name="connsiteY41576" fmla="*/ 1923679 h 5973007"/>
              <a:gd name="connsiteX41577" fmla="*/ 1045160 w 6884782"/>
              <a:gd name="connsiteY41577" fmla="*/ 1921975 h 5973007"/>
              <a:gd name="connsiteX41578" fmla="*/ 1043198 w 6884782"/>
              <a:gd name="connsiteY41578" fmla="*/ 1923215 h 5973007"/>
              <a:gd name="connsiteX41579" fmla="*/ 1040823 w 6884782"/>
              <a:gd name="connsiteY41579" fmla="*/ 1920891 h 5973007"/>
              <a:gd name="connsiteX41580" fmla="*/ 1042785 w 6884782"/>
              <a:gd name="connsiteY41580" fmla="*/ 1917328 h 5973007"/>
              <a:gd name="connsiteX41581" fmla="*/ 1042991 w 6884782"/>
              <a:gd name="connsiteY41581" fmla="*/ 1914850 h 5973007"/>
              <a:gd name="connsiteX41582" fmla="*/ 1043198 w 6884782"/>
              <a:gd name="connsiteY41582" fmla="*/ 1909119 h 5973007"/>
              <a:gd name="connsiteX41583" fmla="*/ 1047534 w 6884782"/>
              <a:gd name="connsiteY41583" fmla="*/ 1908035 h 5973007"/>
              <a:gd name="connsiteX41584" fmla="*/ 884390 w 6884782"/>
              <a:gd name="connsiteY41584" fmla="*/ 1907570 h 5973007"/>
              <a:gd name="connsiteX41585" fmla="*/ 886662 w 6884782"/>
              <a:gd name="connsiteY41585" fmla="*/ 1908190 h 5973007"/>
              <a:gd name="connsiteX41586" fmla="*/ 879743 w 6884782"/>
              <a:gd name="connsiteY41586" fmla="*/ 1912062 h 5973007"/>
              <a:gd name="connsiteX41587" fmla="*/ 884390 w 6884782"/>
              <a:gd name="connsiteY41587" fmla="*/ 1907570 h 5973007"/>
              <a:gd name="connsiteX41588" fmla="*/ 5490010 w 6884782"/>
              <a:gd name="connsiteY41588" fmla="*/ 1907541 h 5973007"/>
              <a:gd name="connsiteX41589" fmla="*/ 5493851 w 6884782"/>
              <a:gd name="connsiteY41589" fmla="*/ 1911240 h 5973007"/>
              <a:gd name="connsiteX41590" fmla="*/ 5492571 w 6884782"/>
              <a:gd name="connsiteY41590" fmla="*/ 1913517 h 5973007"/>
              <a:gd name="connsiteX41591" fmla="*/ 5489796 w 6884782"/>
              <a:gd name="connsiteY41591" fmla="*/ 1915508 h 5973007"/>
              <a:gd name="connsiteX41592" fmla="*/ 5485101 w 6884782"/>
              <a:gd name="connsiteY41592" fmla="*/ 1910813 h 5973007"/>
              <a:gd name="connsiteX41593" fmla="*/ 5486381 w 6884782"/>
              <a:gd name="connsiteY41593" fmla="*/ 1908395 h 5973007"/>
              <a:gd name="connsiteX41594" fmla="*/ 5490010 w 6884782"/>
              <a:gd name="connsiteY41594" fmla="*/ 1907541 h 5973007"/>
              <a:gd name="connsiteX41595" fmla="*/ 5106708 w 6884782"/>
              <a:gd name="connsiteY41595" fmla="*/ 1906972 h 5973007"/>
              <a:gd name="connsiteX41596" fmla="*/ 5110976 w 6884782"/>
              <a:gd name="connsiteY41596" fmla="*/ 1909533 h 5973007"/>
              <a:gd name="connsiteX41597" fmla="*/ 5102226 w 6884782"/>
              <a:gd name="connsiteY41597" fmla="*/ 1907256 h 5973007"/>
              <a:gd name="connsiteX41598" fmla="*/ 5106708 w 6884782"/>
              <a:gd name="connsiteY41598" fmla="*/ 1906972 h 5973007"/>
              <a:gd name="connsiteX41599" fmla="*/ 4962863 w 6884782"/>
              <a:gd name="connsiteY41599" fmla="*/ 1906687 h 5973007"/>
              <a:gd name="connsiteX41600" fmla="*/ 4965851 w 6884782"/>
              <a:gd name="connsiteY41600" fmla="*/ 1909248 h 5973007"/>
              <a:gd name="connsiteX41601" fmla="*/ 4964783 w 6884782"/>
              <a:gd name="connsiteY41601" fmla="*/ 1909817 h 5973007"/>
              <a:gd name="connsiteX41602" fmla="*/ 4961795 w 6884782"/>
              <a:gd name="connsiteY41602" fmla="*/ 1913517 h 5973007"/>
              <a:gd name="connsiteX41603" fmla="*/ 4958167 w 6884782"/>
              <a:gd name="connsiteY41603" fmla="*/ 1908252 h 5973007"/>
              <a:gd name="connsiteX41604" fmla="*/ 4962863 w 6884782"/>
              <a:gd name="connsiteY41604" fmla="*/ 1906687 h 5973007"/>
              <a:gd name="connsiteX41605" fmla="*/ 1348527 w 6884782"/>
              <a:gd name="connsiteY41605" fmla="*/ 1906486 h 5973007"/>
              <a:gd name="connsiteX41606" fmla="*/ 1351934 w 6884782"/>
              <a:gd name="connsiteY41606" fmla="*/ 1911597 h 5973007"/>
              <a:gd name="connsiteX41607" fmla="*/ 1352037 w 6884782"/>
              <a:gd name="connsiteY41607" fmla="*/ 1912062 h 5973007"/>
              <a:gd name="connsiteX41608" fmla="*/ 1353793 w 6884782"/>
              <a:gd name="connsiteY41608" fmla="*/ 1910513 h 5973007"/>
              <a:gd name="connsiteX41609" fmla="*/ 1361950 w 6884782"/>
              <a:gd name="connsiteY41609" fmla="*/ 1908035 h 5973007"/>
              <a:gd name="connsiteX41610" fmla="*/ 1364118 w 6884782"/>
              <a:gd name="connsiteY41610" fmla="*/ 1908964 h 5973007"/>
              <a:gd name="connsiteX41611" fmla="*/ 1365873 w 6884782"/>
              <a:gd name="connsiteY41611" fmla="*/ 1908190 h 5973007"/>
              <a:gd name="connsiteX41612" fmla="*/ 1378884 w 6884782"/>
              <a:gd name="connsiteY41612" fmla="*/ 1906951 h 5973007"/>
              <a:gd name="connsiteX41613" fmla="*/ 1368661 w 6884782"/>
              <a:gd name="connsiteY41613" fmla="*/ 1914385 h 5973007"/>
              <a:gd name="connsiteX41614" fmla="*/ 1365667 w 6884782"/>
              <a:gd name="connsiteY41614" fmla="*/ 1914385 h 5973007"/>
              <a:gd name="connsiteX41615" fmla="*/ 1363912 w 6884782"/>
              <a:gd name="connsiteY41615" fmla="*/ 1917019 h 5973007"/>
              <a:gd name="connsiteX41616" fmla="*/ 1349353 w 6884782"/>
              <a:gd name="connsiteY41616" fmla="*/ 1917174 h 5973007"/>
              <a:gd name="connsiteX41617" fmla="*/ 1349869 w 6884782"/>
              <a:gd name="connsiteY41617" fmla="*/ 1913921 h 5973007"/>
              <a:gd name="connsiteX41618" fmla="*/ 1350178 w 6884782"/>
              <a:gd name="connsiteY41618" fmla="*/ 1913611 h 5973007"/>
              <a:gd name="connsiteX41619" fmla="*/ 1349869 w 6884782"/>
              <a:gd name="connsiteY41619" fmla="*/ 1912837 h 5973007"/>
              <a:gd name="connsiteX41620" fmla="*/ 1348527 w 6884782"/>
              <a:gd name="connsiteY41620" fmla="*/ 1906486 h 5973007"/>
              <a:gd name="connsiteX41621" fmla="*/ 1589939 w 6884782"/>
              <a:gd name="connsiteY41621" fmla="*/ 1906021 h 5973007"/>
              <a:gd name="connsiteX41622" fmla="*/ 1590249 w 6884782"/>
              <a:gd name="connsiteY41622" fmla="*/ 1906796 h 5973007"/>
              <a:gd name="connsiteX41623" fmla="*/ 1586326 w 6884782"/>
              <a:gd name="connsiteY41623" fmla="*/ 1908345 h 5973007"/>
              <a:gd name="connsiteX41624" fmla="*/ 1586945 w 6884782"/>
              <a:gd name="connsiteY41624" fmla="*/ 1906176 h 5973007"/>
              <a:gd name="connsiteX41625" fmla="*/ 1589939 w 6884782"/>
              <a:gd name="connsiteY41625" fmla="*/ 1906021 h 5973007"/>
              <a:gd name="connsiteX41626" fmla="*/ 3705607 w 6884782"/>
              <a:gd name="connsiteY41626" fmla="*/ 1905264 h 5973007"/>
              <a:gd name="connsiteX41627" fmla="*/ 3716491 w 6884782"/>
              <a:gd name="connsiteY41627" fmla="*/ 1917642 h 5973007"/>
              <a:gd name="connsiteX41628" fmla="*/ 3712009 w 6884782"/>
              <a:gd name="connsiteY41628" fmla="*/ 1920914 h 5973007"/>
              <a:gd name="connsiteX41629" fmla="*/ 3702405 w 6884782"/>
              <a:gd name="connsiteY41629" fmla="*/ 1917500 h 5973007"/>
              <a:gd name="connsiteX41630" fmla="*/ 3705607 w 6884782"/>
              <a:gd name="connsiteY41630" fmla="*/ 1905264 h 5973007"/>
              <a:gd name="connsiteX41631" fmla="*/ 3824268 w 6884782"/>
              <a:gd name="connsiteY41631" fmla="*/ 1905122 h 5973007"/>
              <a:gd name="connsiteX41632" fmla="*/ 3830671 w 6884782"/>
              <a:gd name="connsiteY41632" fmla="*/ 1911524 h 5973007"/>
              <a:gd name="connsiteX41633" fmla="*/ 3831524 w 6884782"/>
              <a:gd name="connsiteY41633" fmla="*/ 1911524 h 5973007"/>
              <a:gd name="connsiteX41634" fmla="*/ 3833232 w 6884782"/>
              <a:gd name="connsiteY41634" fmla="*/ 1914228 h 5973007"/>
              <a:gd name="connsiteX41635" fmla="*/ 3839421 w 6884782"/>
              <a:gd name="connsiteY41635" fmla="*/ 1920202 h 5973007"/>
              <a:gd name="connsiteX41636" fmla="*/ 3840915 w 6884782"/>
              <a:gd name="connsiteY41636" fmla="*/ 1920202 h 5973007"/>
              <a:gd name="connsiteX41637" fmla="*/ 3857135 w 6884782"/>
              <a:gd name="connsiteY41637" fmla="*/ 1962172 h 5973007"/>
              <a:gd name="connsiteX41638" fmla="*/ 3843690 w 6884782"/>
              <a:gd name="connsiteY41638" fmla="*/ 1968717 h 5973007"/>
              <a:gd name="connsiteX41639" fmla="*/ 3838568 w 6884782"/>
              <a:gd name="connsiteY41639" fmla="*/ 1969143 h 5973007"/>
              <a:gd name="connsiteX41640" fmla="*/ 3833232 w 6884782"/>
              <a:gd name="connsiteY41640" fmla="*/ 1981379 h 5973007"/>
              <a:gd name="connsiteX41641" fmla="*/ 3829390 w 6884782"/>
              <a:gd name="connsiteY41641" fmla="*/ 1969712 h 5973007"/>
              <a:gd name="connsiteX41642" fmla="*/ 3828750 w 6884782"/>
              <a:gd name="connsiteY41642" fmla="*/ 1969855 h 5973007"/>
              <a:gd name="connsiteX41643" fmla="*/ 3820427 w 6884782"/>
              <a:gd name="connsiteY41643" fmla="*/ 1947803 h 5973007"/>
              <a:gd name="connsiteX41644" fmla="*/ 3820854 w 6884782"/>
              <a:gd name="connsiteY41644" fmla="*/ 1940832 h 5973007"/>
              <a:gd name="connsiteX41645" fmla="*/ 3819573 w 6884782"/>
              <a:gd name="connsiteY41645" fmla="*/ 1926463 h 5973007"/>
              <a:gd name="connsiteX41646" fmla="*/ 3821921 w 6884782"/>
              <a:gd name="connsiteY41646" fmla="*/ 1916219 h 5973007"/>
              <a:gd name="connsiteX41647" fmla="*/ 3821707 w 6884782"/>
              <a:gd name="connsiteY41647" fmla="*/ 1915081 h 5973007"/>
              <a:gd name="connsiteX41648" fmla="*/ 3822134 w 6884782"/>
              <a:gd name="connsiteY41648" fmla="*/ 1914796 h 5973007"/>
              <a:gd name="connsiteX41649" fmla="*/ 5556597 w 6884782"/>
              <a:gd name="connsiteY41649" fmla="*/ 1904838 h 5973007"/>
              <a:gd name="connsiteX41650" fmla="*/ 5560012 w 6884782"/>
              <a:gd name="connsiteY41650" fmla="*/ 1904838 h 5973007"/>
              <a:gd name="connsiteX41651" fmla="*/ 5564707 w 6884782"/>
              <a:gd name="connsiteY41651" fmla="*/ 1912236 h 5973007"/>
              <a:gd name="connsiteX41652" fmla="*/ 5557877 w 6884782"/>
              <a:gd name="connsiteY41652" fmla="*/ 1912236 h 5973007"/>
              <a:gd name="connsiteX41653" fmla="*/ 5556810 w 6884782"/>
              <a:gd name="connsiteY41653" fmla="*/ 1910955 h 5973007"/>
              <a:gd name="connsiteX41654" fmla="*/ 5555743 w 6884782"/>
              <a:gd name="connsiteY41654" fmla="*/ 1910101 h 5973007"/>
              <a:gd name="connsiteX41655" fmla="*/ 5553609 w 6884782"/>
              <a:gd name="connsiteY41655" fmla="*/ 1907683 h 5973007"/>
              <a:gd name="connsiteX41656" fmla="*/ 5556597 w 6884782"/>
              <a:gd name="connsiteY41656" fmla="*/ 1904838 h 5973007"/>
              <a:gd name="connsiteX41657" fmla="*/ 5230918 w 6884782"/>
              <a:gd name="connsiteY41657" fmla="*/ 1904838 h 5973007"/>
              <a:gd name="connsiteX41658" fmla="*/ 5233906 w 6884782"/>
              <a:gd name="connsiteY41658" fmla="*/ 1904838 h 5973007"/>
              <a:gd name="connsiteX41659" fmla="*/ 5225369 w 6884782"/>
              <a:gd name="connsiteY41659" fmla="*/ 1912947 h 5973007"/>
              <a:gd name="connsiteX41660" fmla="*/ 5230918 w 6884782"/>
              <a:gd name="connsiteY41660" fmla="*/ 1904838 h 5973007"/>
              <a:gd name="connsiteX41661" fmla="*/ 3517157 w 6884782"/>
              <a:gd name="connsiteY41661" fmla="*/ 1904838 h 5973007"/>
              <a:gd name="connsiteX41662" fmla="*/ 3520572 w 6884782"/>
              <a:gd name="connsiteY41662" fmla="*/ 1906260 h 5973007"/>
              <a:gd name="connsiteX41663" fmla="*/ 3516303 w 6884782"/>
              <a:gd name="connsiteY41663" fmla="*/ 1914796 h 5973007"/>
              <a:gd name="connsiteX41664" fmla="*/ 3517157 w 6884782"/>
              <a:gd name="connsiteY41664" fmla="*/ 1904838 h 5973007"/>
              <a:gd name="connsiteX41665" fmla="*/ 1352037 w 6884782"/>
              <a:gd name="connsiteY41665" fmla="*/ 1904162 h 5973007"/>
              <a:gd name="connsiteX41666" fmla="*/ 1354722 w 6884782"/>
              <a:gd name="connsiteY41666" fmla="*/ 1905711 h 5973007"/>
              <a:gd name="connsiteX41667" fmla="*/ 1355858 w 6884782"/>
              <a:gd name="connsiteY41667" fmla="*/ 1904472 h 5973007"/>
              <a:gd name="connsiteX41668" fmla="*/ 1357097 w 6884782"/>
              <a:gd name="connsiteY41668" fmla="*/ 1904937 h 5973007"/>
              <a:gd name="connsiteX41669" fmla="*/ 1357406 w 6884782"/>
              <a:gd name="connsiteY41669" fmla="*/ 1907415 h 5973007"/>
              <a:gd name="connsiteX41670" fmla="*/ 1352760 w 6884782"/>
              <a:gd name="connsiteY41670" fmla="*/ 1905711 h 5973007"/>
              <a:gd name="connsiteX41671" fmla="*/ 1350901 w 6884782"/>
              <a:gd name="connsiteY41671" fmla="*/ 1905402 h 5973007"/>
              <a:gd name="connsiteX41672" fmla="*/ 1352037 w 6884782"/>
              <a:gd name="connsiteY41672" fmla="*/ 1904162 h 5973007"/>
              <a:gd name="connsiteX41673" fmla="*/ 1598820 w 6884782"/>
              <a:gd name="connsiteY41673" fmla="*/ 1903388 h 5973007"/>
              <a:gd name="connsiteX41674" fmla="*/ 1599955 w 6884782"/>
              <a:gd name="connsiteY41674" fmla="*/ 1905711 h 5973007"/>
              <a:gd name="connsiteX41675" fmla="*/ 1595619 w 6884782"/>
              <a:gd name="connsiteY41675" fmla="*/ 1906486 h 5973007"/>
              <a:gd name="connsiteX41676" fmla="*/ 1595205 w 6884782"/>
              <a:gd name="connsiteY41676" fmla="*/ 1903853 h 5973007"/>
              <a:gd name="connsiteX41677" fmla="*/ 1598820 w 6884782"/>
              <a:gd name="connsiteY41677" fmla="*/ 1903388 h 5973007"/>
              <a:gd name="connsiteX41678" fmla="*/ 1283578 w 6884782"/>
              <a:gd name="connsiteY41678" fmla="*/ 1903388 h 5973007"/>
              <a:gd name="connsiteX41679" fmla="*/ 1291116 w 6884782"/>
              <a:gd name="connsiteY41679" fmla="*/ 1905557 h 5973007"/>
              <a:gd name="connsiteX41680" fmla="*/ 1290187 w 6884782"/>
              <a:gd name="connsiteY41680" fmla="*/ 1906486 h 5973007"/>
              <a:gd name="connsiteX41681" fmla="*/ 1277590 w 6884782"/>
              <a:gd name="connsiteY41681" fmla="*/ 1904472 h 5973007"/>
              <a:gd name="connsiteX41682" fmla="*/ 1283578 w 6884782"/>
              <a:gd name="connsiteY41682" fmla="*/ 1903388 h 5973007"/>
              <a:gd name="connsiteX41683" fmla="*/ 1496493 w 6884782"/>
              <a:gd name="connsiteY41683" fmla="*/ 1902614 h 5973007"/>
              <a:gd name="connsiteX41684" fmla="*/ 1496183 w 6884782"/>
              <a:gd name="connsiteY41684" fmla="*/ 1910823 h 5973007"/>
              <a:gd name="connsiteX41685" fmla="*/ 1494531 w 6884782"/>
              <a:gd name="connsiteY41685" fmla="*/ 1914076 h 5973007"/>
              <a:gd name="connsiteX41686" fmla="*/ 1494840 w 6884782"/>
              <a:gd name="connsiteY41686" fmla="*/ 1914076 h 5973007"/>
              <a:gd name="connsiteX41687" fmla="*/ 1496183 w 6884782"/>
              <a:gd name="connsiteY41687" fmla="*/ 1916864 h 5973007"/>
              <a:gd name="connsiteX41688" fmla="*/ 1494118 w 6884782"/>
              <a:gd name="connsiteY41688" fmla="*/ 1920117 h 5973007"/>
              <a:gd name="connsiteX41689" fmla="*/ 1490813 w 6884782"/>
              <a:gd name="connsiteY41689" fmla="*/ 1922130 h 5973007"/>
              <a:gd name="connsiteX41690" fmla="*/ 1488645 w 6884782"/>
              <a:gd name="connsiteY41690" fmla="*/ 1923060 h 5973007"/>
              <a:gd name="connsiteX41691" fmla="*/ 1483586 w 6884782"/>
              <a:gd name="connsiteY41691" fmla="*/ 1927861 h 5973007"/>
              <a:gd name="connsiteX41692" fmla="*/ 1475222 w 6884782"/>
              <a:gd name="connsiteY41692" fmla="*/ 1929101 h 5973007"/>
              <a:gd name="connsiteX41693" fmla="*/ 1496493 w 6884782"/>
              <a:gd name="connsiteY41693" fmla="*/ 1902614 h 5973007"/>
              <a:gd name="connsiteX41694" fmla="*/ 1487612 w 6884782"/>
              <a:gd name="connsiteY41694" fmla="*/ 1902614 h 5973007"/>
              <a:gd name="connsiteX41695" fmla="*/ 1487406 w 6884782"/>
              <a:gd name="connsiteY41695" fmla="*/ 1906951 h 5973007"/>
              <a:gd name="connsiteX41696" fmla="*/ 1483895 w 6884782"/>
              <a:gd name="connsiteY41696" fmla="*/ 1906176 h 5973007"/>
              <a:gd name="connsiteX41697" fmla="*/ 1483069 w 6884782"/>
              <a:gd name="connsiteY41697" fmla="*/ 1903698 h 5973007"/>
              <a:gd name="connsiteX41698" fmla="*/ 1483999 w 6884782"/>
              <a:gd name="connsiteY41698" fmla="*/ 1903698 h 5973007"/>
              <a:gd name="connsiteX41699" fmla="*/ 1487612 w 6884782"/>
              <a:gd name="connsiteY41699" fmla="*/ 1902614 h 5973007"/>
              <a:gd name="connsiteX41700" fmla="*/ 934263 w 6884782"/>
              <a:gd name="connsiteY41700" fmla="*/ 1902614 h 5973007"/>
              <a:gd name="connsiteX41701" fmla="*/ 946860 w 6884782"/>
              <a:gd name="connsiteY41701" fmla="*/ 1915780 h 5973007"/>
              <a:gd name="connsiteX41702" fmla="*/ 939426 w 6884782"/>
              <a:gd name="connsiteY41702" fmla="*/ 1940873 h 5973007"/>
              <a:gd name="connsiteX41703" fmla="*/ 936741 w 6884782"/>
              <a:gd name="connsiteY41703" fmla="*/ 1940563 h 5973007"/>
              <a:gd name="connsiteX41704" fmla="*/ 924763 w 6884782"/>
              <a:gd name="connsiteY41704" fmla="*/ 1920891 h 5973007"/>
              <a:gd name="connsiteX41705" fmla="*/ 934263 w 6884782"/>
              <a:gd name="connsiteY41705" fmla="*/ 1902614 h 5973007"/>
              <a:gd name="connsiteX41706" fmla="*/ 5954625 w 6884782"/>
              <a:gd name="connsiteY41706" fmla="*/ 1902277 h 5973007"/>
              <a:gd name="connsiteX41707" fmla="*/ 5955691 w 6884782"/>
              <a:gd name="connsiteY41707" fmla="*/ 1903842 h 5973007"/>
              <a:gd name="connsiteX41708" fmla="*/ 5956332 w 6884782"/>
              <a:gd name="connsiteY41708" fmla="*/ 1906545 h 5973007"/>
              <a:gd name="connsiteX41709" fmla="*/ 5950356 w 6884782"/>
              <a:gd name="connsiteY41709" fmla="*/ 1908110 h 5973007"/>
              <a:gd name="connsiteX41710" fmla="*/ 5948222 w 6884782"/>
              <a:gd name="connsiteY41710" fmla="*/ 1905549 h 5973007"/>
              <a:gd name="connsiteX41711" fmla="*/ 5950996 w 6884782"/>
              <a:gd name="connsiteY41711" fmla="*/ 1902846 h 5973007"/>
              <a:gd name="connsiteX41712" fmla="*/ 5954625 w 6884782"/>
              <a:gd name="connsiteY41712" fmla="*/ 1902277 h 5973007"/>
              <a:gd name="connsiteX41713" fmla="*/ 5564066 w 6884782"/>
              <a:gd name="connsiteY41713" fmla="*/ 1902134 h 5973007"/>
              <a:gd name="connsiteX41714" fmla="*/ 5567481 w 6884782"/>
              <a:gd name="connsiteY41714" fmla="*/ 1904411 h 5973007"/>
              <a:gd name="connsiteX41715" fmla="*/ 5566840 w 6884782"/>
              <a:gd name="connsiteY41715" fmla="*/ 1905407 h 5973007"/>
              <a:gd name="connsiteX41716" fmla="*/ 5564066 w 6884782"/>
              <a:gd name="connsiteY41716" fmla="*/ 1902134 h 5973007"/>
              <a:gd name="connsiteX41717" fmla="*/ 1276040 w 6884782"/>
              <a:gd name="connsiteY41717" fmla="*/ 1901994 h 5973007"/>
              <a:gd name="connsiteX41718" fmla="*/ 1268400 w 6884782"/>
              <a:gd name="connsiteY41718" fmla="*/ 1915005 h 5973007"/>
              <a:gd name="connsiteX41719" fmla="*/ 1267573 w 6884782"/>
              <a:gd name="connsiteY41719" fmla="*/ 1915005 h 5973007"/>
              <a:gd name="connsiteX41720" fmla="*/ 1266748 w 6884782"/>
              <a:gd name="connsiteY41720" fmla="*/ 1913146 h 5973007"/>
              <a:gd name="connsiteX41721" fmla="*/ 1268606 w 6884782"/>
              <a:gd name="connsiteY41721" fmla="*/ 1909893 h 5973007"/>
              <a:gd name="connsiteX41722" fmla="*/ 1275008 w 6884782"/>
              <a:gd name="connsiteY41722" fmla="*/ 1903698 h 5973007"/>
              <a:gd name="connsiteX41723" fmla="*/ 1276040 w 6884782"/>
              <a:gd name="connsiteY41723" fmla="*/ 1901994 h 5973007"/>
              <a:gd name="connsiteX41724" fmla="*/ 5132531 w 6884782"/>
              <a:gd name="connsiteY41724" fmla="*/ 1901565 h 5973007"/>
              <a:gd name="connsiteX41725" fmla="*/ 5133812 w 6884782"/>
              <a:gd name="connsiteY41725" fmla="*/ 1902988 h 5973007"/>
              <a:gd name="connsiteX41726" fmla="*/ 5133172 w 6884782"/>
              <a:gd name="connsiteY41726" fmla="*/ 1906403 h 5973007"/>
              <a:gd name="connsiteX41727" fmla="*/ 5128690 w 6884782"/>
              <a:gd name="connsiteY41727" fmla="*/ 1904695 h 5973007"/>
              <a:gd name="connsiteX41728" fmla="*/ 5132531 w 6884782"/>
              <a:gd name="connsiteY41728" fmla="*/ 1901565 h 5973007"/>
              <a:gd name="connsiteX41729" fmla="*/ 4984205 w 6884782"/>
              <a:gd name="connsiteY41729" fmla="*/ 1901281 h 5973007"/>
              <a:gd name="connsiteX41730" fmla="*/ 4986552 w 6884782"/>
              <a:gd name="connsiteY41730" fmla="*/ 1904695 h 5973007"/>
              <a:gd name="connsiteX41731" fmla="*/ 4976522 w 6884782"/>
              <a:gd name="connsiteY41731" fmla="*/ 1903984 h 5973007"/>
              <a:gd name="connsiteX41732" fmla="*/ 4984205 w 6884782"/>
              <a:gd name="connsiteY41732" fmla="*/ 1901281 h 5973007"/>
              <a:gd name="connsiteX41733" fmla="*/ 4633770 w 6884782"/>
              <a:gd name="connsiteY41733" fmla="*/ 1901281 h 5973007"/>
              <a:gd name="connsiteX41734" fmla="*/ 4633343 w 6884782"/>
              <a:gd name="connsiteY41734" fmla="*/ 1905122 h 5973007"/>
              <a:gd name="connsiteX41735" fmla="*/ 4633343 w 6884782"/>
              <a:gd name="connsiteY41735" fmla="*/ 1905264 h 5973007"/>
              <a:gd name="connsiteX41736" fmla="*/ 4644867 w 6884782"/>
              <a:gd name="connsiteY41736" fmla="*/ 1902277 h 5973007"/>
              <a:gd name="connsiteX41737" fmla="*/ 4640812 w 6884782"/>
              <a:gd name="connsiteY41737" fmla="*/ 1901281 h 5973007"/>
              <a:gd name="connsiteX41738" fmla="*/ 3488132 w 6884782"/>
              <a:gd name="connsiteY41738" fmla="*/ 1901139 h 5973007"/>
              <a:gd name="connsiteX41739" fmla="*/ 3479809 w 6884782"/>
              <a:gd name="connsiteY41739" fmla="*/ 1905264 h 5973007"/>
              <a:gd name="connsiteX41740" fmla="*/ 3478315 w 6884782"/>
              <a:gd name="connsiteY41740" fmla="*/ 1904695 h 5973007"/>
              <a:gd name="connsiteX41741" fmla="*/ 3488132 w 6884782"/>
              <a:gd name="connsiteY41741" fmla="*/ 1901139 h 5973007"/>
              <a:gd name="connsiteX41742" fmla="*/ 1509090 w 6884782"/>
              <a:gd name="connsiteY41742" fmla="*/ 1900445 h 5973007"/>
              <a:gd name="connsiteX41743" fmla="*/ 1513943 w 6884782"/>
              <a:gd name="connsiteY41743" fmla="*/ 1900755 h 5973007"/>
              <a:gd name="connsiteX41744" fmla="*/ 1508883 w 6884782"/>
              <a:gd name="connsiteY41744" fmla="*/ 1903078 h 5973007"/>
              <a:gd name="connsiteX41745" fmla="*/ 1509090 w 6884782"/>
              <a:gd name="connsiteY41745" fmla="*/ 1900445 h 5973007"/>
              <a:gd name="connsiteX41746" fmla="*/ 861957 w 6884782"/>
              <a:gd name="connsiteY41746" fmla="*/ 1900387 h 5973007"/>
              <a:gd name="connsiteX41747" fmla="*/ 871173 w 6884782"/>
              <a:gd name="connsiteY41747" fmla="*/ 1901994 h 5973007"/>
              <a:gd name="connsiteX41748" fmla="*/ 873031 w 6884782"/>
              <a:gd name="connsiteY41748" fmla="*/ 1903388 h 5973007"/>
              <a:gd name="connsiteX41749" fmla="*/ 876542 w 6884782"/>
              <a:gd name="connsiteY41749" fmla="*/ 1904627 h 5973007"/>
              <a:gd name="connsiteX41750" fmla="*/ 872825 w 6884782"/>
              <a:gd name="connsiteY41750" fmla="*/ 1915315 h 5973007"/>
              <a:gd name="connsiteX41751" fmla="*/ 861363 w 6884782"/>
              <a:gd name="connsiteY41751" fmla="*/ 1921046 h 5973007"/>
              <a:gd name="connsiteX41752" fmla="*/ 858782 w 6884782"/>
              <a:gd name="connsiteY41752" fmla="*/ 1920117 h 5973007"/>
              <a:gd name="connsiteX41753" fmla="*/ 857027 w 6884782"/>
              <a:gd name="connsiteY41753" fmla="*/ 1921975 h 5973007"/>
              <a:gd name="connsiteX41754" fmla="*/ 844223 w 6884782"/>
              <a:gd name="connsiteY41754" fmla="*/ 1920117 h 5973007"/>
              <a:gd name="connsiteX41755" fmla="*/ 842571 w 6884782"/>
              <a:gd name="connsiteY41755" fmla="*/ 1912372 h 5973007"/>
              <a:gd name="connsiteX41756" fmla="*/ 843810 w 6884782"/>
              <a:gd name="connsiteY41756" fmla="*/ 1909274 h 5973007"/>
              <a:gd name="connsiteX41757" fmla="*/ 852277 w 6884782"/>
              <a:gd name="connsiteY41757" fmla="*/ 1913301 h 5973007"/>
              <a:gd name="connsiteX41758" fmla="*/ 854549 w 6884782"/>
              <a:gd name="connsiteY41758" fmla="*/ 1914076 h 5973007"/>
              <a:gd name="connsiteX41759" fmla="*/ 853826 w 6884782"/>
              <a:gd name="connsiteY41759" fmla="*/ 1911442 h 5973007"/>
              <a:gd name="connsiteX41760" fmla="*/ 855685 w 6884782"/>
              <a:gd name="connsiteY41760" fmla="*/ 1905866 h 5973007"/>
              <a:gd name="connsiteX41761" fmla="*/ 861957 w 6884782"/>
              <a:gd name="connsiteY41761" fmla="*/ 1900387 h 5973007"/>
              <a:gd name="connsiteX41762" fmla="*/ 3910917 w 6884782"/>
              <a:gd name="connsiteY41762" fmla="*/ 1900285 h 5973007"/>
              <a:gd name="connsiteX41763" fmla="*/ 3913905 w 6884782"/>
              <a:gd name="connsiteY41763" fmla="*/ 1900854 h 5973007"/>
              <a:gd name="connsiteX41764" fmla="*/ 3914545 w 6884782"/>
              <a:gd name="connsiteY41764" fmla="*/ 1904838 h 5973007"/>
              <a:gd name="connsiteX41765" fmla="*/ 3913478 w 6884782"/>
              <a:gd name="connsiteY41765" fmla="*/ 1905549 h 5973007"/>
              <a:gd name="connsiteX41766" fmla="*/ 3910917 w 6884782"/>
              <a:gd name="connsiteY41766" fmla="*/ 1900285 h 5973007"/>
              <a:gd name="connsiteX41767" fmla="*/ 1071284 w 6884782"/>
              <a:gd name="connsiteY41767" fmla="*/ 1899826 h 5973007"/>
              <a:gd name="connsiteX41768" fmla="*/ 1069528 w 6884782"/>
              <a:gd name="connsiteY41768" fmla="*/ 1904937 h 5973007"/>
              <a:gd name="connsiteX41769" fmla="*/ 1067463 w 6884782"/>
              <a:gd name="connsiteY41769" fmla="*/ 1903233 h 5973007"/>
              <a:gd name="connsiteX41770" fmla="*/ 1071284 w 6884782"/>
              <a:gd name="connsiteY41770" fmla="*/ 1899826 h 5973007"/>
              <a:gd name="connsiteX41771" fmla="*/ 5144483 w 6884782"/>
              <a:gd name="connsiteY41771" fmla="*/ 1899716 h 5973007"/>
              <a:gd name="connsiteX41772" fmla="*/ 5142562 w 6884782"/>
              <a:gd name="connsiteY41772" fmla="*/ 1899859 h 5973007"/>
              <a:gd name="connsiteX41773" fmla="*/ 5142989 w 6884782"/>
              <a:gd name="connsiteY41773" fmla="*/ 1900285 h 5973007"/>
              <a:gd name="connsiteX41774" fmla="*/ 5143843 w 6884782"/>
              <a:gd name="connsiteY41774" fmla="*/ 1900997 h 5973007"/>
              <a:gd name="connsiteX41775" fmla="*/ 5144056 w 6884782"/>
              <a:gd name="connsiteY41775" fmla="*/ 1901565 h 5973007"/>
              <a:gd name="connsiteX41776" fmla="*/ 5529919 w 6884782"/>
              <a:gd name="connsiteY41776" fmla="*/ 1899432 h 5973007"/>
              <a:gd name="connsiteX41777" fmla="*/ 5533547 w 6884782"/>
              <a:gd name="connsiteY41777" fmla="*/ 1901423 h 5973007"/>
              <a:gd name="connsiteX41778" fmla="*/ 5535041 w 6884782"/>
              <a:gd name="connsiteY41778" fmla="*/ 1904838 h 5973007"/>
              <a:gd name="connsiteX41779" fmla="*/ 5529279 w 6884782"/>
              <a:gd name="connsiteY41779" fmla="*/ 1908679 h 5973007"/>
              <a:gd name="connsiteX41780" fmla="*/ 5527358 w 6884782"/>
              <a:gd name="connsiteY41780" fmla="*/ 1899574 h 5973007"/>
              <a:gd name="connsiteX41781" fmla="*/ 5529919 w 6884782"/>
              <a:gd name="connsiteY41781" fmla="*/ 1899432 h 5973007"/>
              <a:gd name="connsiteX41782" fmla="*/ 1528605 w 6884782"/>
              <a:gd name="connsiteY41782" fmla="*/ 1898586 h 5973007"/>
              <a:gd name="connsiteX41783" fmla="*/ 1532116 w 6884782"/>
              <a:gd name="connsiteY41783" fmla="*/ 1905402 h 5973007"/>
              <a:gd name="connsiteX41784" fmla="*/ 1521687 w 6884782"/>
              <a:gd name="connsiteY41784" fmla="*/ 1901529 h 5973007"/>
              <a:gd name="connsiteX41785" fmla="*/ 1528605 w 6884782"/>
              <a:gd name="connsiteY41785" fmla="*/ 1898586 h 5973007"/>
              <a:gd name="connsiteX41786" fmla="*/ 3542128 w 6884782"/>
              <a:gd name="connsiteY41786" fmla="*/ 1898435 h 5973007"/>
              <a:gd name="connsiteX41787" fmla="*/ 3546182 w 6884782"/>
              <a:gd name="connsiteY41787" fmla="*/ 1904126 h 5973007"/>
              <a:gd name="connsiteX41788" fmla="*/ 3542128 w 6884782"/>
              <a:gd name="connsiteY41788" fmla="*/ 1898435 h 5973007"/>
              <a:gd name="connsiteX41789" fmla="*/ 1301029 w 6884782"/>
              <a:gd name="connsiteY41789" fmla="*/ 1898432 h 5973007"/>
              <a:gd name="connsiteX41790" fmla="*/ 1307740 w 6884782"/>
              <a:gd name="connsiteY41790" fmla="*/ 1901529 h 5973007"/>
              <a:gd name="connsiteX41791" fmla="*/ 1309186 w 6884782"/>
              <a:gd name="connsiteY41791" fmla="*/ 1907260 h 5973007"/>
              <a:gd name="connsiteX41792" fmla="*/ 1304952 w 6884782"/>
              <a:gd name="connsiteY41792" fmla="*/ 1907415 h 5973007"/>
              <a:gd name="connsiteX41793" fmla="*/ 1302577 w 6884782"/>
              <a:gd name="connsiteY41793" fmla="*/ 1903388 h 5973007"/>
              <a:gd name="connsiteX41794" fmla="*/ 1300512 w 6884782"/>
              <a:gd name="connsiteY41794" fmla="*/ 1900910 h 5973007"/>
              <a:gd name="connsiteX41795" fmla="*/ 1300306 w 6884782"/>
              <a:gd name="connsiteY41795" fmla="*/ 1899670 h 5973007"/>
              <a:gd name="connsiteX41796" fmla="*/ 1301029 w 6884782"/>
              <a:gd name="connsiteY41796" fmla="*/ 1898432 h 5973007"/>
              <a:gd name="connsiteX41797" fmla="*/ 1497009 w 6884782"/>
              <a:gd name="connsiteY41797" fmla="*/ 1897037 h 5973007"/>
              <a:gd name="connsiteX41798" fmla="*/ 1497835 w 6884782"/>
              <a:gd name="connsiteY41798" fmla="*/ 1898432 h 5973007"/>
              <a:gd name="connsiteX41799" fmla="*/ 1495976 w 6884782"/>
              <a:gd name="connsiteY41799" fmla="*/ 1898432 h 5973007"/>
              <a:gd name="connsiteX41800" fmla="*/ 1494840 w 6884782"/>
              <a:gd name="connsiteY41800" fmla="*/ 1898122 h 5973007"/>
              <a:gd name="connsiteX41801" fmla="*/ 1497009 w 6884782"/>
              <a:gd name="connsiteY41801" fmla="*/ 1897037 h 5973007"/>
              <a:gd name="connsiteX41802" fmla="*/ 986510 w 6884782"/>
              <a:gd name="connsiteY41802" fmla="*/ 1896727 h 5973007"/>
              <a:gd name="connsiteX41803" fmla="*/ 994977 w 6884782"/>
              <a:gd name="connsiteY41803" fmla="*/ 1901219 h 5973007"/>
              <a:gd name="connsiteX41804" fmla="*/ 989401 w 6884782"/>
              <a:gd name="connsiteY41804" fmla="*/ 1903078 h 5973007"/>
              <a:gd name="connsiteX41805" fmla="*/ 983722 w 6884782"/>
              <a:gd name="connsiteY41805" fmla="*/ 1898432 h 5973007"/>
              <a:gd name="connsiteX41806" fmla="*/ 986510 w 6884782"/>
              <a:gd name="connsiteY41806" fmla="*/ 1896727 h 5973007"/>
              <a:gd name="connsiteX41807" fmla="*/ 5236680 w 6884782"/>
              <a:gd name="connsiteY41807" fmla="*/ 1896017 h 5973007"/>
              <a:gd name="connsiteX41808" fmla="*/ 5244790 w 6884782"/>
              <a:gd name="connsiteY41808" fmla="*/ 1906260 h 5973007"/>
              <a:gd name="connsiteX41809" fmla="*/ 5236894 w 6884782"/>
              <a:gd name="connsiteY41809" fmla="*/ 1905407 h 5973007"/>
              <a:gd name="connsiteX41810" fmla="*/ 5232199 w 6884782"/>
              <a:gd name="connsiteY41810" fmla="*/ 1896586 h 5973007"/>
              <a:gd name="connsiteX41811" fmla="*/ 5236680 w 6884782"/>
              <a:gd name="connsiteY41811" fmla="*/ 1896017 h 5973007"/>
              <a:gd name="connsiteX41812" fmla="*/ 1279551 w 6884782"/>
              <a:gd name="connsiteY41812" fmla="*/ 1895953 h 5973007"/>
              <a:gd name="connsiteX41813" fmla="*/ 1282030 w 6884782"/>
              <a:gd name="connsiteY41813" fmla="*/ 1896727 h 5973007"/>
              <a:gd name="connsiteX41814" fmla="*/ 1278415 w 6884782"/>
              <a:gd name="connsiteY41814" fmla="*/ 1900136 h 5973007"/>
              <a:gd name="connsiteX41815" fmla="*/ 1277590 w 6884782"/>
              <a:gd name="connsiteY41815" fmla="*/ 1901839 h 5973007"/>
              <a:gd name="connsiteX41816" fmla="*/ 1276763 w 6884782"/>
              <a:gd name="connsiteY41816" fmla="*/ 1900290 h 5973007"/>
              <a:gd name="connsiteX41817" fmla="*/ 1279448 w 6884782"/>
              <a:gd name="connsiteY41817" fmla="*/ 1898432 h 5973007"/>
              <a:gd name="connsiteX41818" fmla="*/ 1278622 w 6884782"/>
              <a:gd name="connsiteY41818" fmla="*/ 1896882 h 5973007"/>
              <a:gd name="connsiteX41819" fmla="*/ 1279551 w 6884782"/>
              <a:gd name="connsiteY41819" fmla="*/ 1895953 h 5973007"/>
              <a:gd name="connsiteX41820" fmla="*/ 1098543 w 6884782"/>
              <a:gd name="connsiteY41820" fmla="*/ 1895333 h 5973007"/>
              <a:gd name="connsiteX41821" fmla="*/ 1100298 w 6884782"/>
              <a:gd name="connsiteY41821" fmla="*/ 1895798 h 5973007"/>
              <a:gd name="connsiteX41822" fmla="*/ 1103293 w 6884782"/>
              <a:gd name="connsiteY41822" fmla="*/ 1901374 h 5973007"/>
              <a:gd name="connsiteX41823" fmla="*/ 1098853 w 6884782"/>
              <a:gd name="connsiteY41823" fmla="*/ 1901994 h 5973007"/>
              <a:gd name="connsiteX41824" fmla="*/ 1096581 w 6884782"/>
              <a:gd name="connsiteY41824" fmla="*/ 1899515 h 5973007"/>
              <a:gd name="connsiteX41825" fmla="*/ 1096788 w 6884782"/>
              <a:gd name="connsiteY41825" fmla="*/ 1895488 h 5973007"/>
              <a:gd name="connsiteX41826" fmla="*/ 1096788 w 6884782"/>
              <a:gd name="connsiteY41826" fmla="*/ 1896263 h 5973007"/>
              <a:gd name="connsiteX41827" fmla="*/ 1098543 w 6884782"/>
              <a:gd name="connsiteY41827" fmla="*/ 1896108 h 5973007"/>
              <a:gd name="connsiteX41828" fmla="*/ 1098543 w 6884782"/>
              <a:gd name="connsiteY41828" fmla="*/ 1895333 h 5973007"/>
              <a:gd name="connsiteX41829" fmla="*/ 6144995 w 6884782"/>
              <a:gd name="connsiteY41829" fmla="*/ 1895164 h 5973007"/>
              <a:gd name="connsiteX41830" fmla="*/ 6163562 w 6884782"/>
              <a:gd name="connsiteY41830" fmla="*/ 1896302 h 5973007"/>
              <a:gd name="connsiteX41831" fmla="*/ 6165910 w 6884782"/>
              <a:gd name="connsiteY41831" fmla="*/ 1898720 h 5973007"/>
              <a:gd name="connsiteX41832" fmla="*/ 6166977 w 6884782"/>
              <a:gd name="connsiteY41832" fmla="*/ 1898862 h 5973007"/>
              <a:gd name="connsiteX41833" fmla="*/ 6168258 w 6884782"/>
              <a:gd name="connsiteY41833" fmla="*/ 1901281 h 5973007"/>
              <a:gd name="connsiteX41834" fmla="*/ 6161429 w 6884782"/>
              <a:gd name="connsiteY41834" fmla="*/ 1902277 h 5973007"/>
              <a:gd name="connsiteX41835" fmla="*/ 6155666 w 6884782"/>
              <a:gd name="connsiteY41835" fmla="*/ 1901992 h 5973007"/>
              <a:gd name="connsiteX41836" fmla="*/ 6137098 w 6884782"/>
              <a:gd name="connsiteY41836" fmla="*/ 1896302 h 5973007"/>
              <a:gd name="connsiteX41837" fmla="*/ 6144995 w 6884782"/>
              <a:gd name="connsiteY41837" fmla="*/ 1895164 h 5973007"/>
              <a:gd name="connsiteX41838" fmla="*/ 5020913 w 6884782"/>
              <a:gd name="connsiteY41838" fmla="*/ 1894452 h 5973007"/>
              <a:gd name="connsiteX41839" fmla="*/ 5025821 w 6884782"/>
              <a:gd name="connsiteY41839" fmla="*/ 1895875 h 5973007"/>
              <a:gd name="connsiteX41840" fmla="*/ 5025821 w 6884782"/>
              <a:gd name="connsiteY41840" fmla="*/ 1899574 h 5973007"/>
              <a:gd name="connsiteX41841" fmla="*/ 5019846 w 6884782"/>
              <a:gd name="connsiteY41841" fmla="*/ 1898151 h 5973007"/>
              <a:gd name="connsiteX41842" fmla="*/ 5020913 w 6884782"/>
              <a:gd name="connsiteY41842" fmla="*/ 1894452 h 5973007"/>
              <a:gd name="connsiteX41843" fmla="*/ 1006232 w 6884782"/>
              <a:gd name="connsiteY41843" fmla="*/ 1893320 h 5973007"/>
              <a:gd name="connsiteX41844" fmla="*/ 1015525 w 6884782"/>
              <a:gd name="connsiteY41844" fmla="*/ 1893320 h 5973007"/>
              <a:gd name="connsiteX41845" fmla="*/ 1041442 w 6884782"/>
              <a:gd name="connsiteY41845" fmla="*/ 1912062 h 5973007"/>
              <a:gd name="connsiteX41846" fmla="*/ 1039377 w 6884782"/>
              <a:gd name="connsiteY41846" fmla="*/ 1912837 h 5973007"/>
              <a:gd name="connsiteX41847" fmla="*/ 1039894 w 6884782"/>
              <a:gd name="connsiteY41847" fmla="*/ 1913766 h 5973007"/>
              <a:gd name="connsiteX41848" fmla="*/ 1034215 w 6884782"/>
              <a:gd name="connsiteY41848" fmla="*/ 1919342 h 5973007"/>
              <a:gd name="connsiteX41849" fmla="*/ 1030704 w 6884782"/>
              <a:gd name="connsiteY41849" fmla="*/ 1918413 h 5973007"/>
              <a:gd name="connsiteX41850" fmla="*/ 1027296 w 6884782"/>
              <a:gd name="connsiteY41850" fmla="*/ 1922905 h 5973007"/>
              <a:gd name="connsiteX41851" fmla="*/ 1023372 w 6884782"/>
              <a:gd name="connsiteY41851" fmla="*/ 1926932 h 5973007"/>
              <a:gd name="connsiteX41852" fmla="*/ 1016041 w 6884782"/>
              <a:gd name="connsiteY41852" fmla="*/ 1929256 h 5973007"/>
              <a:gd name="connsiteX41853" fmla="*/ 995597 w 6884782"/>
              <a:gd name="connsiteY41853" fmla="*/ 1906951 h 5973007"/>
              <a:gd name="connsiteX41854" fmla="*/ 1006232 w 6884782"/>
              <a:gd name="connsiteY41854" fmla="*/ 1893320 h 5973007"/>
              <a:gd name="connsiteX41855" fmla="*/ 5009175 w 6884782"/>
              <a:gd name="connsiteY41855" fmla="*/ 1893029 h 5973007"/>
              <a:gd name="connsiteX41856" fmla="*/ 5013017 w 6884782"/>
              <a:gd name="connsiteY41856" fmla="*/ 1894310 h 5973007"/>
              <a:gd name="connsiteX41857" fmla="*/ 5013017 w 6884782"/>
              <a:gd name="connsiteY41857" fmla="*/ 1895448 h 5973007"/>
              <a:gd name="connsiteX41858" fmla="*/ 5007254 w 6884782"/>
              <a:gd name="connsiteY41858" fmla="*/ 1895164 h 5973007"/>
              <a:gd name="connsiteX41859" fmla="*/ 5009175 w 6884782"/>
              <a:gd name="connsiteY41859" fmla="*/ 1893029 h 5973007"/>
              <a:gd name="connsiteX41860" fmla="*/ 3858415 w 6884782"/>
              <a:gd name="connsiteY41860" fmla="*/ 1893029 h 5973007"/>
              <a:gd name="connsiteX41861" fmla="*/ 3857989 w 6884782"/>
              <a:gd name="connsiteY41861" fmla="*/ 1902277 h 5973007"/>
              <a:gd name="connsiteX41862" fmla="*/ 3857562 w 6884782"/>
              <a:gd name="connsiteY41862" fmla="*/ 1905549 h 5973007"/>
              <a:gd name="connsiteX41863" fmla="*/ 3859056 w 6884782"/>
              <a:gd name="connsiteY41863" fmla="*/ 1905691 h 5973007"/>
              <a:gd name="connsiteX41864" fmla="*/ 3866953 w 6884782"/>
              <a:gd name="connsiteY41864" fmla="*/ 1916504 h 5973007"/>
              <a:gd name="connsiteX41865" fmla="*/ 3858415 w 6884782"/>
              <a:gd name="connsiteY41865" fmla="*/ 1917215 h 5973007"/>
              <a:gd name="connsiteX41866" fmla="*/ 3854787 w 6884782"/>
              <a:gd name="connsiteY41866" fmla="*/ 1914654 h 5973007"/>
              <a:gd name="connsiteX41867" fmla="*/ 3854787 w 6884782"/>
              <a:gd name="connsiteY41867" fmla="*/ 1914512 h 5973007"/>
              <a:gd name="connsiteX41868" fmla="*/ 3852866 w 6884782"/>
              <a:gd name="connsiteY41868" fmla="*/ 1910813 h 5973007"/>
              <a:gd name="connsiteX41869" fmla="*/ 3854787 w 6884782"/>
              <a:gd name="connsiteY41869" fmla="*/ 1905549 h 5973007"/>
              <a:gd name="connsiteX41870" fmla="*/ 3856068 w 6884782"/>
              <a:gd name="connsiteY41870" fmla="*/ 1905549 h 5973007"/>
              <a:gd name="connsiteX41871" fmla="*/ 3856281 w 6884782"/>
              <a:gd name="connsiteY41871" fmla="*/ 1902134 h 5973007"/>
              <a:gd name="connsiteX41872" fmla="*/ 3858415 w 6884782"/>
              <a:gd name="connsiteY41872" fmla="*/ 1893029 h 5973007"/>
              <a:gd name="connsiteX41873" fmla="*/ 4915911 w 6884782"/>
              <a:gd name="connsiteY41873" fmla="*/ 1892745 h 5973007"/>
              <a:gd name="connsiteX41874" fmla="*/ 4922099 w 6884782"/>
              <a:gd name="connsiteY41874" fmla="*/ 1898435 h 5973007"/>
              <a:gd name="connsiteX41875" fmla="*/ 4922740 w 6884782"/>
              <a:gd name="connsiteY41875" fmla="*/ 1902419 h 5973007"/>
              <a:gd name="connsiteX41876" fmla="*/ 4923594 w 6884782"/>
              <a:gd name="connsiteY41876" fmla="*/ 1901281 h 5973007"/>
              <a:gd name="connsiteX41877" fmla="*/ 4925941 w 6884782"/>
              <a:gd name="connsiteY41877" fmla="*/ 1899289 h 5973007"/>
              <a:gd name="connsiteX41878" fmla="*/ 4927862 w 6884782"/>
              <a:gd name="connsiteY41878" fmla="*/ 1913374 h 5973007"/>
              <a:gd name="connsiteX41879" fmla="*/ 4920606 w 6884782"/>
              <a:gd name="connsiteY41879" fmla="*/ 1912236 h 5973007"/>
              <a:gd name="connsiteX41880" fmla="*/ 4920819 w 6884782"/>
              <a:gd name="connsiteY41880" fmla="*/ 1910671 h 5973007"/>
              <a:gd name="connsiteX41881" fmla="*/ 4912496 w 6884782"/>
              <a:gd name="connsiteY41881" fmla="*/ 1904269 h 5973007"/>
              <a:gd name="connsiteX41882" fmla="*/ 4912923 w 6884782"/>
              <a:gd name="connsiteY41882" fmla="*/ 1893172 h 5973007"/>
              <a:gd name="connsiteX41883" fmla="*/ 4915911 w 6884782"/>
              <a:gd name="connsiteY41883" fmla="*/ 1892745 h 5973007"/>
              <a:gd name="connsiteX41884" fmla="*/ 1465619 w 6884782"/>
              <a:gd name="connsiteY41884" fmla="*/ 1892236 h 5973007"/>
              <a:gd name="connsiteX41885" fmla="*/ 1463554 w 6884782"/>
              <a:gd name="connsiteY41885" fmla="*/ 1901064 h 5973007"/>
              <a:gd name="connsiteX41886" fmla="*/ 1462108 w 6884782"/>
              <a:gd name="connsiteY41886" fmla="*/ 1899206 h 5973007"/>
              <a:gd name="connsiteX41887" fmla="*/ 1465619 w 6884782"/>
              <a:gd name="connsiteY41887" fmla="*/ 1892236 h 5973007"/>
              <a:gd name="connsiteX41888" fmla="*/ 853051 w 6884782"/>
              <a:gd name="connsiteY41888" fmla="*/ 1892003 h 5973007"/>
              <a:gd name="connsiteX41889" fmla="*/ 857750 w 6884782"/>
              <a:gd name="connsiteY41889" fmla="*/ 1893939 h 5973007"/>
              <a:gd name="connsiteX41890" fmla="*/ 856407 w 6884782"/>
              <a:gd name="connsiteY41890" fmla="*/ 1899980 h 5973007"/>
              <a:gd name="connsiteX41891" fmla="*/ 853826 w 6884782"/>
              <a:gd name="connsiteY41891" fmla="*/ 1901064 h 5973007"/>
              <a:gd name="connsiteX41892" fmla="*/ 848663 w 6884782"/>
              <a:gd name="connsiteY41892" fmla="*/ 1901064 h 5973007"/>
              <a:gd name="connsiteX41893" fmla="*/ 848663 w 6884782"/>
              <a:gd name="connsiteY41893" fmla="*/ 1901839 h 5973007"/>
              <a:gd name="connsiteX41894" fmla="*/ 847424 w 6884782"/>
              <a:gd name="connsiteY41894" fmla="*/ 1897037 h 5973007"/>
              <a:gd name="connsiteX41895" fmla="*/ 853051 w 6884782"/>
              <a:gd name="connsiteY41895" fmla="*/ 1892003 h 5973007"/>
              <a:gd name="connsiteX41896" fmla="*/ 4896062 w 6884782"/>
              <a:gd name="connsiteY41896" fmla="*/ 1891323 h 5973007"/>
              <a:gd name="connsiteX41897" fmla="*/ 4908868 w 6884782"/>
              <a:gd name="connsiteY41897" fmla="*/ 1913090 h 5973007"/>
              <a:gd name="connsiteX41898" fmla="*/ 4904599 w 6884782"/>
              <a:gd name="connsiteY41898" fmla="*/ 1913800 h 5973007"/>
              <a:gd name="connsiteX41899" fmla="*/ 4893074 w 6884782"/>
              <a:gd name="connsiteY41899" fmla="*/ 1893314 h 5973007"/>
              <a:gd name="connsiteX41900" fmla="*/ 4896062 w 6884782"/>
              <a:gd name="connsiteY41900" fmla="*/ 1891323 h 5973007"/>
              <a:gd name="connsiteX41901" fmla="*/ 1067050 w 6884782"/>
              <a:gd name="connsiteY41901" fmla="*/ 1891151 h 5973007"/>
              <a:gd name="connsiteX41902" fmla="*/ 1064159 w 6884782"/>
              <a:gd name="connsiteY41902" fmla="*/ 1896263 h 5973007"/>
              <a:gd name="connsiteX41903" fmla="*/ 1060029 w 6884782"/>
              <a:gd name="connsiteY41903" fmla="*/ 1893010 h 5973007"/>
              <a:gd name="connsiteX41904" fmla="*/ 1067050 w 6884782"/>
              <a:gd name="connsiteY41904" fmla="*/ 1891151 h 5973007"/>
              <a:gd name="connsiteX41905" fmla="*/ 1553593 w 6884782"/>
              <a:gd name="connsiteY41905" fmla="*/ 1890531 h 5973007"/>
              <a:gd name="connsiteX41906" fmla="*/ 1559272 w 6884782"/>
              <a:gd name="connsiteY41906" fmla="*/ 1891925 h 5973007"/>
              <a:gd name="connsiteX41907" fmla="*/ 1546778 w 6884782"/>
              <a:gd name="connsiteY41907" fmla="*/ 1903078 h 5973007"/>
              <a:gd name="connsiteX41908" fmla="*/ 1546262 w 6884782"/>
              <a:gd name="connsiteY41908" fmla="*/ 1899515 h 5973007"/>
              <a:gd name="connsiteX41909" fmla="*/ 1547398 w 6884782"/>
              <a:gd name="connsiteY41909" fmla="*/ 1897037 h 5973007"/>
              <a:gd name="connsiteX41910" fmla="*/ 1546778 w 6884782"/>
              <a:gd name="connsiteY41910" fmla="*/ 1896417 h 5973007"/>
              <a:gd name="connsiteX41911" fmla="*/ 1551115 w 6884782"/>
              <a:gd name="connsiteY41911" fmla="*/ 1892855 h 5973007"/>
              <a:gd name="connsiteX41912" fmla="*/ 1231537 w 6884782"/>
              <a:gd name="connsiteY41912" fmla="*/ 1889912 h 5973007"/>
              <a:gd name="connsiteX41913" fmla="*/ 1237423 w 6884782"/>
              <a:gd name="connsiteY41913" fmla="*/ 1896108 h 5973007"/>
              <a:gd name="connsiteX41914" fmla="*/ 1237010 w 6884782"/>
              <a:gd name="connsiteY41914" fmla="*/ 1897037 h 5973007"/>
              <a:gd name="connsiteX41915" fmla="*/ 1230298 w 6884782"/>
              <a:gd name="connsiteY41915" fmla="*/ 1904317 h 5973007"/>
              <a:gd name="connsiteX41916" fmla="*/ 1226581 w 6884782"/>
              <a:gd name="connsiteY41916" fmla="*/ 1899670 h 5973007"/>
              <a:gd name="connsiteX41917" fmla="*/ 1226891 w 6884782"/>
              <a:gd name="connsiteY41917" fmla="*/ 1897347 h 5973007"/>
              <a:gd name="connsiteX41918" fmla="*/ 1231537 w 6884782"/>
              <a:gd name="connsiteY41918" fmla="*/ 1889912 h 5973007"/>
              <a:gd name="connsiteX41919" fmla="*/ 6016516 w 6884782"/>
              <a:gd name="connsiteY41919" fmla="*/ 1889757 h 5973007"/>
              <a:gd name="connsiteX41920" fmla="*/ 6027827 w 6884782"/>
              <a:gd name="connsiteY41920" fmla="*/ 1891323 h 5973007"/>
              <a:gd name="connsiteX41921" fmla="*/ 6030175 w 6884782"/>
              <a:gd name="connsiteY41921" fmla="*/ 1891323 h 5973007"/>
              <a:gd name="connsiteX41922" fmla="*/ 6032523 w 6884782"/>
              <a:gd name="connsiteY41922" fmla="*/ 1893883 h 5973007"/>
              <a:gd name="connsiteX41923" fmla="*/ 6022279 w 6884782"/>
              <a:gd name="connsiteY41923" fmla="*/ 1894594 h 5973007"/>
              <a:gd name="connsiteX41924" fmla="*/ 6016516 w 6884782"/>
              <a:gd name="connsiteY41924" fmla="*/ 1894310 h 5973007"/>
              <a:gd name="connsiteX41925" fmla="*/ 6014168 w 6884782"/>
              <a:gd name="connsiteY41925" fmla="*/ 1891749 h 5973007"/>
              <a:gd name="connsiteX41926" fmla="*/ 6013955 w 6884782"/>
              <a:gd name="connsiteY41926" fmla="*/ 1890611 h 5973007"/>
              <a:gd name="connsiteX41927" fmla="*/ 6016516 w 6884782"/>
              <a:gd name="connsiteY41927" fmla="*/ 1889757 h 5973007"/>
              <a:gd name="connsiteX41928" fmla="*/ 1223793 w 6884782"/>
              <a:gd name="connsiteY41928" fmla="*/ 1889603 h 5973007"/>
              <a:gd name="connsiteX41929" fmla="*/ 1223999 w 6884782"/>
              <a:gd name="connsiteY41929" fmla="*/ 1890531 h 5973007"/>
              <a:gd name="connsiteX41930" fmla="*/ 1224826 w 6884782"/>
              <a:gd name="connsiteY41930" fmla="*/ 1890841 h 5973007"/>
              <a:gd name="connsiteX41931" fmla="*/ 1493292 w 6884782"/>
              <a:gd name="connsiteY41931" fmla="*/ 1889447 h 5973007"/>
              <a:gd name="connsiteX41932" fmla="*/ 1493911 w 6884782"/>
              <a:gd name="connsiteY41932" fmla="*/ 1889447 h 5973007"/>
              <a:gd name="connsiteX41933" fmla="*/ 1493601 w 6884782"/>
              <a:gd name="connsiteY41933" fmla="*/ 1889912 h 5973007"/>
              <a:gd name="connsiteX41934" fmla="*/ 1493292 w 6884782"/>
              <a:gd name="connsiteY41934" fmla="*/ 1889447 h 5973007"/>
              <a:gd name="connsiteX41935" fmla="*/ 5127410 w 6884782"/>
              <a:gd name="connsiteY41935" fmla="*/ 1888761 h 5973007"/>
              <a:gd name="connsiteX41936" fmla="*/ 5129330 w 6884782"/>
              <a:gd name="connsiteY41936" fmla="*/ 1890326 h 5973007"/>
              <a:gd name="connsiteX41937" fmla="*/ 5121647 w 6884782"/>
              <a:gd name="connsiteY41937" fmla="*/ 1896586 h 5973007"/>
              <a:gd name="connsiteX41938" fmla="*/ 5119727 w 6884782"/>
              <a:gd name="connsiteY41938" fmla="*/ 1895021 h 5973007"/>
              <a:gd name="connsiteX41939" fmla="*/ 5121007 w 6884782"/>
              <a:gd name="connsiteY41939" fmla="*/ 1891749 h 5973007"/>
              <a:gd name="connsiteX41940" fmla="*/ 5127410 w 6884782"/>
              <a:gd name="connsiteY41940" fmla="*/ 1888761 h 5973007"/>
              <a:gd name="connsiteX41941" fmla="*/ 1498041 w 6884782"/>
              <a:gd name="connsiteY41941" fmla="*/ 1887589 h 5973007"/>
              <a:gd name="connsiteX41942" fmla="*/ 1498248 w 6884782"/>
              <a:gd name="connsiteY41942" fmla="*/ 1889447 h 5973007"/>
              <a:gd name="connsiteX41943" fmla="*/ 1494014 w 6884782"/>
              <a:gd name="connsiteY41943" fmla="*/ 1890686 h 5973007"/>
              <a:gd name="connsiteX41944" fmla="*/ 1494324 w 6884782"/>
              <a:gd name="connsiteY41944" fmla="*/ 1889603 h 5973007"/>
              <a:gd name="connsiteX41945" fmla="*/ 1493911 w 6884782"/>
              <a:gd name="connsiteY41945" fmla="*/ 1889447 h 5973007"/>
              <a:gd name="connsiteX41946" fmla="*/ 1495357 w 6884782"/>
              <a:gd name="connsiteY41946" fmla="*/ 1888053 h 5973007"/>
              <a:gd name="connsiteX41947" fmla="*/ 1498041 w 6884782"/>
              <a:gd name="connsiteY41947" fmla="*/ 1887589 h 5973007"/>
              <a:gd name="connsiteX41948" fmla="*/ 6069871 w 6884782"/>
              <a:gd name="connsiteY41948" fmla="*/ 1887481 h 5973007"/>
              <a:gd name="connsiteX41949" fmla="*/ 6072432 w 6884782"/>
              <a:gd name="connsiteY41949" fmla="*/ 1888334 h 5973007"/>
              <a:gd name="connsiteX41950" fmla="*/ 6077341 w 6884782"/>
              <a:gd name="connsiteY41950" fmla="*/ 1893029 h 5973007"/>
              <a:gd name="connsiteX41951" fmla="*/ 6077981 w 6884782"/>
              <a:gd name="connsiteY41951" fmla="*/ 1891891 h 5973007"/>
              <a:gd name="connsiteX41952" fmla="*/ 6074993 w 6884782"/>
              <a:gd name="connsiteY41952" fmla="*/ 1898720 h 5973007"/>
              <a:gd name="connsiteX41953" fmla="*/ 6062401 w 6884782"/>
              <a:gd name="connsiteY41953" fmla="*/ 1893598 h 5973007"/>
              <a:gd name="connsiteX41954" fmla="*/ 6068804 w 6884782"/>
              <a:gd name="connsiteY41954" fmla="*/ 1887623 h 5973007"/>
              <a:gd name="connsiteX41955" fmla="*/ 6069871 w 6884782"/>
              <a:gd name="connsiteY41955" fmla="*/ 1887481 h 5973007"/>
              <a:gd name="connsiteX41956" fmla="*/ 1078099 w 6884782"/>
              <a:gd name="connsiteY41956" fmla="*/ 1887434 h 5973007"/>
              <a:gd name="connsiteX41957" fmla="*/ 1078511 w 6884782"/>
              <a:gd name="connsiteY41957" fmla="*/ 1894869 h 5973007"/>
              <a:gd name="connsiteX41958" fmla="*/ 1072420 w 6884782"/>
              <a:gd name="connsiteY41958" fmla="*/ 1894869 h 5973007"/>
              <a:gd name="connsiteX41959" fmla="*/ 1070870 w 6884782"/>
              <a:gd name="connsiteY41959" fmla="*/ 1892855 h 5973007"/>
              <a:gd name="connsiteX41960" fmla="*/ 1071284 w 6884782"/>
              <a:gd name="connsiteY41960" fmla="*/ 1890067 h 5973007"/>
              <a:gd name="connsiteX41961" fmla="*/ 1072936 w 6884782"/>
              <a:gd name="connsiteY41961" fmla="*/ 1888053 h 5973007"/>
              <a:gd name="connsiteX41962" fmla="*/ 1078099 w 6884782"/>
              <a:gd name="connsiteY41962" fmla="*/ 1887434 h 5973007"/>
              <a:gd name="connsiteX41963" fmla="*/ 1308566 w 6884782"/>
              <a:gd name="connsiteY41963" fmla="*/ 1887279 h 5973007"/>
              <a:gd name="connsiteX41964" fmla="*/ 1313936 w 6884782"/>
              <a:gd name="connsiteY41964" fmla="*/ 1889603 h 5973007"/>
              <a:gd name="connsiteX41965" fmla="*/ 1315691 w 6884782"/>
              <a:gd name="connsiteY41965" fmla="*/ 1888363 h 5973007"/>
              <a:gd name="connsiteX41966" fmla="*/ 1319718 w 6884782"/>
              <a:gd name="connsiteY41966" fmla="*/ 1889603 h 5973007"/>
              <a:gd name="connsiteX41967" fmla="*/ 1316827 w 6884782"/>
              <a:gd name="connsiteY41967" fmla="*/ 1891306 h 5973007"/>
              <a:gd name="connsiteX41968" fmla="*/ 1316310 w 6884782"/>
              <a:gd name="connsiteY41968" fmla="*/ 1891306 h 5973007"/>
              <a:gd name="connsiteX41969" fmla="*/ 1320647 w 6884782"/>
              <a:gd name="connsiteY41969" fmla="*/ 1894404 h 5973007"/>
              <a:gd name="connsiteX41970" fmla="*/ 1326223 w 6884782"/>
              <a:gd name="connsiteY41970" fmla="*/ 1897657 h 5973007"/>
              <a:gd name="connsiteX41971" fmla="*/ 1326842 w 6884782"/>
              <a:gd name="connsiteY41971" fmla="*/ 1899980 h 5973007"/>
              <a:gd name="connsiteX41972" fmla="*/ 1327669 w 6884782"/>
              <a:gd name="connsiteY41972" fmla="*/ 1900445 h 5973007"/>
              <a:gd name="connsiteX41973" fmla="*/ 1327772 w 6884782"/>
              <a:gd name="connsiteY41973" fmla="*/ 1901529 h 5973007"/>
              <a:gd name="connsiteX41974" fmla="*/ 1328082 w 6884782"/>
              <a:gd name="connsiteY41974" fmla="*/ 1901839 h 5973007"/>
              <a:gd name="connsiteX41975" fmla="*/ 1328495 w 6884782"/>
              <a:gd name="connsiteY41975" fmla="*/ 1902149 h 5973007"/>
              <a:gd name="connsiteX41976" fmla="*/ 1330973 w 6884782"/>
              <a:gd name="connsiteY41976" fmla="*/ 1897967 h 5973007"/>
              <a:gd name="connsiteX41977" fmla="*/ 1336445 w 6884782"/>
              <a:gd name="connsiteY41977" fmla="*/ 1897812 h 5973007"/>
              <a:gd name="connsiteX41978" fmla="*/ 1336136 w 6884782"/>
              <a:gd name="connsiteY41978" fmla="*/ 1900136 h 5973007"/>
              <a:gd name="connsiteX41979" fmla="*/ 1339853 w 6884782"/>
              <a:gd name="connsiteY41979" fmla="*/ 1900600 h 5973007"/>
              <a:gd name="connsiteX41980" fmla="*/ 1348217 w 6884782"/>
              <a:gd name="connsiteY41980" fmla="*/ 1903853 h 5973007"/>
              <a:gd name="connsiteX41981" fmla="*/ 1350178 w 6884782"/>
              <a:gd name="connsiteY41981" fmla="*/ 1904007 h 5973007"/>
              <a:gd name="connsiteX41982" fmla="*/ 1338821 w 6884782"/>
              <a:gd name="connsiteY41982" fmla="*/ 1903233 h 5973007"/>
              <a:gd name="connsiteX41983" fmla="*/ 1335723 w 6884782"/>
              <a:gd name="connsiteY41983" fmla="*/ 1902614 h 5973007"/>
              <a:gd name="connsiteX41984" fmla="*/ 1335620 w 6884782"/>
              <a:gd name="connsiteY41984" fmla="*/ 1903698 h 5973007"/>
              <a:gd name="connsiteX41985" fmla="*/ 1334690 w 6884782"/>
              <a:gd name="connsiteY41985" fmla="*/ 1905092 h 5973007"/>
              <a:gd name="connsiteX41986" fmla="*/ 1335000 w 6884782"/>
              <a:gd name="connsiteY41986" fmla="*/ 1906951 h 5973007"/>
              <a:gd name="connsiteX41987" fmla="*/ 1335413 w 6884782"/>
              <a:gd name="connsiteY41987" fmla="*/ 1907260 h 5973007"/>
              <a:gd name="connsiteX41988" fmla="*/ 1338407 w 6884782"/>
              <a:gd name="connsiteY41988" fmla="*/ 1907415 h 5973007"/>
              <a:gd name="connsiteX41989" fmla="*/ 1339130 w 6884782"/>
              <a:gd name="connsiteY41989" fmla="*/ 1909274 h 5973007"/>
              <a:gd name="connsiteX41990" fmla="*/ 1336445 w 6884782"/>
              <a:gd name="connsiteY41990" fmla="*/ 1910048 h 5973007"/>
              <a:gd name="connsiteX41991" fmla="*/ 1335103 w 6884782"/>
              <a:gd name="connsiteY41991" fmla="*/ 1907725 h 5973007"/>
              <a:gd name="connsiteX41992" fmla="*/ 1336342 w 6884782"/>
              <a:gd name="connsiteY41992" fmla="*/ 1914385 h 5973007"/>
              <a:gd name="connsiteX41993" fmla="*/ 1335929 w 6884782"/>
              <a:gd name="connsiteY41993" fmla="*/ 1917019 h 5973007"/>
              <a:gd name="connsiteX41994" fmla="*/ 1336962 w 6884782"/>
              <a:gd name="connsiteY41994" fmla="*/ 1916864 h 5973007"/>
              <a:gd name="connsiteX41995" fmla="*/ 1335516 w 6884782"/>
              <a:gd name="connsiteY41995" fmla="*/ 1921511 h 5973007"/>
              <a:gd name="connsiteX41996" fmla="*/ 1335206 w 6884782"/>
              <a:gd name="connsiteY41996" fmla="*/ 1921356 h 5973007"/>
              <a:gd name="connsiteX41997" fmla="*/ 1334484 w 6884782"/>
              <a:gd name="connsiteY41997" fmla="*/ 1925693 h 5973007"/>
              <a:gd name="connsiteX41998" fmla="*/ 1330870 w 6884782"/>
              <a:gd name="connsiteY41998" fmla="*/ 1932044 h 5973007"/>
              <a:gd name="connsiteX41999" fmla="*/ 1326223 w 6884782"/>
              <a:gd name="connsiteY41999" fmla="*/ 1915780 h 5973007"/>
              <a:gd name="connsiteX42000" fmla="*/ 1309599 w 6884782"/>
              <a:gd name="connsiteY42000" fmla="*/ 1915315 h 5973007"/>
              <a:gd name="connsiteX42001" fmla="*/ 1321990 w 6884782"/>
              <a:gd name="connsiteY42001" fmla="*/ 1909584 h 5973007"/>
              <a:gd name="connsiteX42002" fmla="*/ 1324158 w 6884782"/>
              <a:gd name="connsiteY42002" fmla="*/ 1908964 h 5973007"/>
              <a:gd name="connsiteX42003" fmla="*/ 1325294 w 6884782"/>
              <a:gd name="connsiteY42003" fmla="*/ 1907570 h 5973007"/>
              <a:gd name="connsiteX42004" fmla="*/ 1328185 w 6884782"/>
              <a:gd name="connsiteY42004" fmla="*/ 1902614 h 5973007"/>
              <a:gd name="connsiteX42005" fmla="*/ 1327772 w 6884782"/>
              <a:gd name="connsiteY42005" fmla="*/ 1902303 h 5973007"/>
              <a:gd name="connsiteX42006" fmla="*/ 1327565 w 6884782"/>
              <a:gd name="connsiteY42006" fmla="*/ 1902303 h 5973007"/>
              <a:gd name="connsiteX42007" fmla="*/ 1327462 w 6884782"/>
              <a:gd name="connsiteY42007" fmla="*/ 1902303 h 5973007"/>
              <a:gd name="connsiteX42008" fmla="*/ 1326842 w 6884782"/>
              <a:gd name="connsiteY42008" fmla="*/ 1902149 h 5973007"/>
              <a:gd name="connsiteX42009" fmla="*/ 1326017 w 6884782"/>
              <a:gd name="connsiteY42009" fmla="*/ 1902149 h 5973007"/>
              <a:gd name="connsiteX42010" fmla="*/ 1325913 w 6884782"/>
              <a:gd name="connsiteY42010" fmla="*/ 1901994 h 5973007"/>
              <a:gd name="connsiteX42011" fmla="*/ 1324984 w 6884782"/>
              <a:gd name="connsiteY42011" fmla="*/ 1901839 h 5973007"/>
              <a:gd name="connsiteX42012" fmla="*/ 1322506 w 6884782"/>
              <a:gd name="connsiteY42012" fmla="*/ 1900136 h 5973007"/>
              <a:gd name="connsiteX42013" fmla="*/ 1318789 w 6884782"/>
              <a:gd name="connsiteY42013" fmla="*/ 1897657 h 5973007"/>
              <a:gd name="connsiteX42014" fmla="*/ 1308566 w 6884782"/>
              <a:gd name="connsiteY42014" fmla="*/ 1887279 h 5973007"/>
              <a:gd name="connsiteX42015" fmla="*/ 1121995 w 6884782"/>
              <a:gd name="connsiteY42015" fmla="*/ 1887066 h 5973007"/>
              <a:gd name="connsiteX42016" fmla="*/ 1126732 w 6884782"/>
              <a:gd name="connsiteY42016" fmla="*/ 1887124 h 5973007"/>
              <a:gd name="connsiteX42017" fmla="*/ 1131895 w 6884782"/>
              <a:gd name="connsiteY42017" fmla="*/ 1901684 h 5973007"/>
              <a:gd name="connsiteX42018" fmla="*/ 1131069 w 6884782"/>
              <a:gd name="connsiteY42018" fmla="*/ 1901839 h 5973007"/>
              <a:gd name="connsiteX42019" fmla="*/ 1133134 w 6884782"/>
              <a:gd name="connsiteY42019" fmla="*/ 1906486 h 5973007"/>
              <a:gd name="connsiteX42020" fmla="*/ 1132411 w 6884782"/>
              <a:gd name="connsiteY42020" fmla="*/ 1907105 h 5973007"/>
              <a:gd name="connsiteX42021" fmla="*/ 1132411 w 6884782"/>
              <a:gd name="connsiteY42021" fmla="*/ 1907415 h 5973007"/>
              <a:gd name="connsiteX42022" fmla="*/ 1135405 w 6884782"/>
              <a:gd name="connsiteY42022" fmla="*/ 1910204 h 5973007"/>
              <a:gd name="connsiteX42023" fmla="*/ 1135405 w 6884782"/>
              <a:gd name="connsiteY42023" fmla="*/ 1909738 h 5973007"/>
              <a:gd name="connsiteX42024" fmla="*/ 1142737 w 6884782"/>
              <a:gd name="connsiteY42024" fmla="*/ 1902923 h 5973007"/>
              <a:gd name="connsiteX42025" fmla="*/ 1142943 w 6884782"/>
              <a:gd name="connsiteY42025" fmla="*/ 1902303 h 5973007"/>
              <a:gd name="connsiteX42026" fmla="*/ 1141911 w 6884782"/>
              <a:gd name="connsiteY42026" fmla="*/ 1902459 h 5973007"/>
              <a:gd name="connsiteX42027" fmla="*/ 1140878 w 6884782"/>
              <a:gd name="connsiteY42027" fmla="*/ 1902923 h 5973007"/>
              <a:gd name="connsiteX42028" fmla="*/ 1139123 w 6884782"/>
              <a:gd name="connsiteY42028" fmla="*/ 1902303 h 5973007"/>
              <a:gd name="connsiteX42029" fmla="*/ 1135405 w 6884782"/>
              <a:gd name="connsiteY42029" fmla="*/ 1897812 h 5973007"/>
              <a:gd name="connsiteX42030" fmla="*/ 1148726 w 6884782"/>
              <a:gd name="connsiteY42030" fmla="*/ 1897037 h 5973007"/>
              <a:gd name="connsiteX42031" fmla="*/ 1151514 w 6884782"/>
              <a:gd name="connsiteY42031" fmla="*/ 1897967 h 5973007"/>
              <a:gd name="connsiteX42032" fmla="*/ 1153475 w 6884782"/>
              <a:gd name="connsiteY42032" fmla="*/ 1895953 h 5973007"/>
              <a:gd name="connsiteX42033" fmla="*/ 1156264 w 6884782"/>
              <a:gd name="connsiteY42033" fmla="*/ 1899206 h 5973007"/>
              <a:gd name="connsiteX42034" fmla="*/ 1154818 w 6884782"/>
              <a:gd name="connsiteY42034" fmla="*/ 1901064 h 5973007"/>
              <a:gd name="connsiteX42035" fmla="*/ 1156367 w 6884782"/>
              <a:gd name="connsiteY42035" fmla="*/ 1901529 h 5973007"/>
              <a:gd name="connsiteX42036" fmla="*/ 1153062 w 6884782"/>
              <a:gd name="connsiteY42036" fmla="*/ 1905402 h 5973007"/>
              <a:gd name="connsiteX42037" fmla="*/ 1152340 w 6884782"/>
              <a:gd name="connsiteY42037" fmla="*/ 1907105 h 5973007"/>
              <a:gd name="connsiteX42038" fmla="*/ 1151410 w 6884782"/>
              <a:gd name="connsiteY42038" fmla="*/ 1905557 h 5973007"/>
              <a:gd name="connsiteX42039" fmla="*/ 1153889 w 6884782"/>
              <a:gd name="connsiteY42039" fmla="*/ 1903543 h 5973007"/>
              <a:gd name="connsiteX42040" fmla="*/ 1152856 w 6884782"/>
              <a:gd name="connsiteY42040" fmla="*/ 1901994 h 5973007"/>
              <a:gd name="connsiteX42041" fmla="*/ 1153785 w 6884782"/>
              <a:gd name="connsiteY42041" fmla="*/ 1901064 h 5973007"/>
              <a:gd name="connsiteX42042" fmla="*/ 1153889 w 6884782"/>
              <a:gd name="connsiteY42042" fmla="*/ 1900910 h 5973007"/>
              <a:gd name="connsiteX42043" fmla="*/ 1153785 w 6884782"/>
              <a:gd name="connsiteY42043" fmla="*/ 1900755 h 5973007"/>
              <a:gd name="connsiteX42044" fmla="*/ 1153785 w 6884782"/>
              <a:gd name="connsiteY42044" fmla="*/ 1901064 h 5973007"/>
              <a:gd name="connsiteX42045" fmla="*/ 1145215 w 6884782"/>
              <a:gd name="connsiteY42045" fmla="*/ 1901684 h 5973007"/>
              <a:gd name="connsiteX42046" fmla="*/ 1144699 w 6884782"/>
              <a:gd name="connsiteY42046" fmla="*/ 1902614 h 5973007"/>
              <a:gd name="connsiteX42047" fmla="*/ 1145215 w 6884782"/>
              <a:gd name="connsiteY42047" fmla="*/ 1903388 h 5973007"/>
              <a:gd name="connsiteX42048" fmla="*/ 1147590 w 6884782"/>
              <a:gd name="connsiteY42048" fmla="*/ 1903698 h 5973007"/>
              <a:gd name="connsiteX42049" fmla="*/ 1152030 w 6884782"/>
              <a:gd name="connsiteY42049" fmla="*/ 1910358 h 5973007"/>
              <a:gd name="connsiteX42050" fmla="*/ 1147590 w 6884782"/>
              <a:gd name="connsiteY42050" fmla="*/ 1916399 h 5973007"/>
              <a:gd name="connsiteX42051" fmla="*/ 1146970 w 6884782"/>
              <a:gd name="connsiteY42051" fmla="*/ 1916864 h 5973007"/>
              <a:gd name="connsiteX42052" fmla="*/ 1146454 w 6884782"/>
              <a:gd name="connsiteY42052" fmla="*/ 1917793 h 5973007"/>
              <a:gd name="connsiteX42053" fmla="*/ 1144492 w 6884782"/>
              <a:gd name="connsiteY42053" fmla="*/ 1920891 h 5973007"/>
              <a:gd name="connsiteX42054" fmla="*/ 1143666 w 6884782"/>
              <a:gd name="connsiteY42054" fmla="*/ 1921046 h 5973007"/>
              <a:gd name="connsiteX42055" fmla="*/ 1142737 w 6884782"/>
              <a:gd name="connsiteY42055" fmla="*/ 1919342 h 5973007"/>
              <a:gd name="connsiteX42056" fmla="*/ 1143253 w 6884782"/>
              <a:gd name="connsiteY42056" fmla="*/ 1918103 h 5973007"/>
              <a:gd name="connsiteX42057" fmla="*/ 1139949 w 6884782"/>
              <a:gd name="connsiteY42057" fmla="*/ 1918413 h 5973007"/>
              <a:gd name="connsiteX42058" fmla="*/ 1137058 w 6884782"/>
              <a:gd name="connsiteY42058" fmla="*/ 1915625 h 5973007"/>
              <a:gd name="connsiteX42059" fmla="*/ 1136232 w 6884782"/>
              <a:gd name="connsiteY42059" fmla="*/ 1914231 h 5973007"/>
              <a:gd name="connsiteX42060" fmla="*/ 1136335 w 6884782"/>
              <a:gd name="connsiteY42060" fmla="*/ 1916244 h 5973007"/>
              <a:gd name="connsiteX42061" fmla="*/ 1133444 w 6884782"/>
              <a:gd name="connsiteY42061" fmla="*/ 1919342 h 5973007"/>
              <a:gd name="connsiteX42062" fmla="*/ 1118885 w 6884782"/>
              <a:gd name="connsiteY42062" fmla="*/ 1911288 h 5973007"/>
              <a:gd name="connsiteX42063" fmla="*/ 1118678 w 6884782"/>
              <a:gd name="connsiteY42063" fmla="*/ 1910358 h 5973007"/>
              <a:gd name="connsiteX42064" fmla="*/ 1117749 w 6884782"/>
              <a:gd name="connsiteY42064" fmla="*/ 1909584 h 5973007"/>
              <a:gd name="connsiteX42065" fmla="*/ 1117542 w 6884782"/>
              <a:gd name="connsiteY42065" fmla="*/ 1909584 h 5973007"/>
              <a:gd name="connsiteX42066" fmla="*/ 1116613 w 6884782"/>
              <a:gd name="connsiteY42066" fmla="*/ 1909738 h 5973007"/>
              <a:gd name="connsiteX42067" fmla="*/ 1113619 w 6884782"/>
              <a:gd name="connsiteY42067" fmla="*/ 1908035 h 5973007"/>
              <a:gd name="connsiteX42068" fmla="*/ 1113205 w 6884782"/>
              <a:gd name="connsiteY42068" fmla="*/ 1907105 h 5973007"/>
              <a:gd name="connsiteX42069" fmla="*/ 1113825 w 6884782"/>
              <a:gd name="connsiteY42069" fmla="*/ 1905866 h 5973007"/>
              <a:gd name="connsiteX42070" fmla="*/ 1117955 w 6884782"/>
              <a:gd name="connsiteY42070" fmla="*/ 1902768 h 5973007"/>
              <a:gd name="connsiteX42071" fmla="*/ 1117955 w 6884782"/>
              <a:gd name="connsiteY42071" fmla="*/ 1887589 h 5973007"/>
              <a:gd name="connsiteX42072" fmla="*/ 1121995 w 6884782"/>
              <a:gd name="connsiteY42072" fmla="*/ 1887066 h 5973007"/>
              <a:gd name="connsiteX42073" fmla="*/ 5609524 w 6884782"/>
              <a:gd name="connsiteY42073" fmla="*/ 1886628 h 5973007"/>
              <a:gd name="connsiteX42074" fmla="*/ 5615287 w 6884782"/>
              <a:gd name="connsiteY42074" fmla="*/ 1888904 h 5973007"/>
              <a:gd name="connsiteX42075" fmla="*/ 5614860 w 6884782"/>
              <a:gd name="connsiteY42075" fmla="*/ 1890611 h 5973007"/>
              <a:gd name="connsiteX42076" fmla="*/ 5609524 w 6884782"/>
              <a:gd name="connsiteY42076" fmla="*/ 1886628 h 5973007"/>
              <a:gd name="connsiteX42077" fmla="*/ 1354515 w 6884782"/>
              <a:gd name="connsiteY42077" fmla="*/ 1886504 h 5973007"/>
              <a:gd name="connsiteX42078" fmla="*/ 1359471 w 6884782"/>
              <a:gd name="connsiteY42078" fmla="*/ 1902149 h 5973007"/>
              <a:gd name="connsiteX42079" fmla="*/ 1359471 w 6884782"/>
              <a:gd name="connsiteY42079" fmla="*/ 1904007 h 5973007"/>
              <a:gd name="connsiteX42080" fmla="*/ 1357097 w 6884782"/>
              <a:gd name="connsiteY42080" fmla="*/ 1904937 h 5973007"/>
              <a:gd name="connsiteX42081" fmla="*/ 1351314 w 6884782"/>
              <a:gd name="connsiteY42081" fmla="*/ 1893320 h 5973007"/>
              <a:gd name="connsiteX42082" fmla="*/ 1351418 w 6884782"/>
              <a:gd name="connsiteY42082" fmla="*/ 1891461 h 5973007"/>
              <a:gd name="connsiteX42083" fmla="*/ 1354515 w 6884782"/>
              <a:gd name="connsiteY42083" fmla="*/ 1886504 h 5973007"/>
              <a:gd name="connsiteX42084" fmla="*/ 3558134 w 6884782"/>
              <a:gd name="connsiteY42084" fmla="*/ 1885774 h 5973007"/>
              <a:gd name="connsiteX42085" fmla="*/ 3561122 w 6884782"/>
              <a:gd name="connsiteY42085" fmla="*/ 1903130 h 5973007"/>
              <a:gd name="connsiteX42086" fmla="*/ 3554506 w 6884782"/>
              <a:gd name="connsiteY42086" fmla="*/ 1903130 h 5973007"/>
              <a:gd name="connsiteX42087" fmla="*/ 3558134 w 6884782"/>
              <a:gd name="connsiteY42087" fmla="*/ 1885774 h 5973007"/>
              <a:gd name="connsiteX42088" fmla="*/ 5853677 w 6884782"/>
              <a:gd name="connsiteY42088" fmla="*/ 1885489 h 5973007"/>
              <a:gd name="connsiteX42089" fmla="*/ 5854104 w 6884782"/>
              <a:gd name="connsiteY42089" fmla="*/ 1894168 h 5973007"/>
              <a:gd name="connsiteX42090" fmla="*/ 5845994 w 6884782"/>
              <a:gd name="connsiteY42090" fmla="*/ 1891323 h 5973007"/>
              <a:gd name="connsiteX42091" fmla="*/ 5853677 w 6884782"/>
              <a:gd name="connsiteY42091" fmla="*/ 1885489 h 5973007"/>
              <a:gd name="connsiteX42092" fmla="*/ 1259210 w 6884782"/>
              <a:gd name="connsiteY42092" fmla="*/ 1884181 h 5973007"/>
              <a:gd name="connsiteX42093" fmla="*/ 1259520 w 6884782"/>
              <a:gd name="connsiteY42093" fmla="*/ 1884955 h 5973007"/>
              <a:gd name="connsiteX42094" fmla="*/ 1259933 w 6884782"/>
              <a:gd name="connsiteY42094" fmla="*/ 1884955 h 5973007"/>
              <a:gd name="connsiteX42095" fmla="*/ 5683581 w 6884782"/>
              <a:gd name="connsiteY42095" fmla="*/ 1883782 h 5973007"/>
              <a:gd name="connsiteX42096" fmla="*/ 5685289 w 6884782"/>
              <a:gd name="connsiteY42096" fmla="*/ 1884636 h 5973007"/>
              <a:gd name="connsiteX42097" fmla="*/ 5689557 w 6884782"/>
              <a:gd name="connsiteY42097" fmla="*/ 1890469 h 5973007"/>
              <a:gd name="connsiteX42098" fmla="*/ 5710686 w 6884782"/>
              <a:gd name="connsiteY42098" fmla="*/ 1890469 h 5973007"/>
              <a:gd name="connsiteX42099" fmla="*/ 5711113 w 6884782"/>
              <a:gd name="connsiteY42099" fmla="*/ 1902419 h 5973007"/>
              <a:gd name="connsiteX42100" fmla="*/ 5691051 w 6884782"/>
              <a:gd name="connsiteY42100" fmla="*/ 1909533 h 5973007"/>
              <a:gd name="connsiteX42101" fmla="*/ 5691051 w 6884782"/>
              <a:gd name="connsiteY42101" fmla="*/ 1908395 h 5973007"/>
              <a:gd name="connsiteX42102" fmla="*/ 5684435 w 6884782"/>
              <a:gd name="connsiteY42102" fmla="*/ 1911240 h 5973007"/>
              <a:gd name="connsiteX42103" fmla="*/ 5683581 w 6884782"/>
              <a:gd name="connsiteY42103" fmla="*/ 1910244 h 5973007"/>
              <a:gd name="connsiteX42104" fmla="*/ 5683155 w 6884782"/>
              <a:gd name="connsiteY42104" fmla="*/ 1910244 h 5973007"/>
              <a:gd name="connsiteX42105" fmla="*/ 5679313 w 6884782"/>
              <a:gd name="connsiteY42105" fmla="*/ 1914370 h 5973007"/>
              <a:gd name="connsiteX42106" fmla="*/ 5679953 w 6884782"/>
              <a:gd name="connsiteY42106" fmla="*/ 1914370 h 5973007"/>
              <a:gd name="connsiteX42107" fmla="*/ 5689344 w 6884782"/>
              <a:gd name="connsiteY42107" fmla="*/ 1924471 h 5973007"/>
              <a:gd name="connsiteX42108" fmla="*/ 5690411 w 6884782"/>
              <a:gd name="connsiteY42108" fmla="*/ 1924755 h 5973007"/>
              <a:gd name="connsiteX42109" fmla="*/ 5689984 w 6884782"/>
              <a:gd name="connsiteY42109" fmla="*/ 1923332 h 5973007"/>
              <a:gd name="connsiteX42110" fmla="*/ 5689557 w 6884782"/>
              <a:gd name="connsiteY42110" fmla="*/ 1921910 h 5973007"/>
              <a:gd name="connsiteX42111" fmla="*/ 5690197 w 6884782"/>
              <a:gd name="connsiteY42111" fmla="*/ 1919492 h 5973007"/>
              <a:gd name="connsiteX42112" fmla="*/ 5696387 w 6884782"/>
              <a:gd name="connsiteY42112" fmla="*/ 1914370 h 5973007"/>
              <a:gd name="connsiteX42113" fmla="*/ 5697454 w 6884782"/>
              <a:gd name="connsiteY42113" fmla="*/ 1932723 h 5973007"/>
              <a:gd name="connsiteX42114" fmla="*/ 5696387 w 6884782"/>
              <a:gd name="connsiteY42114" fmla="*/ 1936564 h 5973007"/>
              <a:gd name="connsiteX42115" fmla="*/ 5698947 w 6884782"/>
              <a:gd name="connsiteY42115" fmla="*/ 1939267 h 5973007"/>
              <a:gd name="connsiteX42116" fmla="*/ 5694466 w 6884782"/>
              <a:gd name="connsiteY42116" fmla="*/ 1943108 h 5973007"/>
              <a:gd name="connsiteX42117" fmla="*/ 5691904 w 6884782"/>
              <a:gd name="connsiteY42117" fmla="*/ 1941116 h 5973007"/>
              <a:gd name="connsiteX42118" fmla="*/ 5691264 w 6884782"/>
              <a:gd name="connsiteY42118" fmla="*/ 1943250 h 5973007"/>
              <a:gd name="connsiteX42119" fmla="*/ 5686142 w 6884782"/>
              <a:gd name="connsiteY42119" fmla="*/ 1938698 h 5973007"/>
              <a:gd name="connsiteX42120" fmla="*/ 5683581 w 6884782"/>
              <a:gd name="connsiteY42120" fmla="*/ 1937844 h 5973007"/>
              <a:gd name="connsiteX42121" fmla="*/ 5685716 w 6884782"/>
              <a:gd name="connsiteY42121" fmla="*/ 1936421 h 5973007"/>
              <a:gd name="connsiteX42122" fmla="*/ 5688490 w 6884782"/>
              <a:gd name="connsiteY42122" fmla="*/ 1939836 h 5973007"/>
              <a:gd name="connsiteX42123" fmla="*/ 5690624 w 6884782"/>
              <a:gd name="connsiteY42123" fmla="*/ 1938555 h 5973007"/>
              <a:gd name="connsiteX42124" fmla="*/ 5691904 w 6884782"/>
              <a:gd name="connsiteY42124" fmla="*/ 1939694 h 5973007"/>
              <a:gd name="connsiteX42125" fmla="*/ 5692118 w 6884782"/>
              <a:gd name="connsiteY42125" fmla="*/ 1939979 h 5973007"/>
              <a:gd name="connsiteX42126" fmla="*/ 5692332 w 6884782"/>
              <a:gd name="connsiteY42126" fmla="*/ 1939694 h 5973007"/>
              <a:gd name="connsiteX42127" fmla="*/ 5691904 w 6884782"/>
              <a:gd name="connsiteY42127" fmla="*/ 1939694 h 5973007"/>
              <a:gd name="connsiteX42128" fmla="*/ 5691051 w 6884782"/>
              <a:gd name="connsiteY42128" fmla="*/ 1927885 h 5973007"/>
              <a:gd name="connsiteX42129" fmla="*/ 5689771 w 6884782"/>
              <a:gd name="connsiteY42129" fmla="*/ 1927174 h 5973007"/>
              <a:gd name="connsiteX42130" fmla="*/ 5688917 w 6884782"/>
              <a:gd name="connsiteY42130" fmla="*/ 1927885 h 5973007"/>
              <a:gd name="connsiteX42131" fmla="*/ 5688490 w 6884782"/>
              <a:gd name="connsiteY42131" fmla="*/ 1931158 h 5973007"/>
              <a:gd name="connsiteX42132" fmla="*/ 5679100 w 6884782"/>
              <a:gd name="connsiteY42132" fmla="*/ 1937275 h 5973007"/>
              <a:gd name="connsiteX42133" fmla="*/ 5670776 w 6884782"/>
              <a:gd name="connsiteY42133" fmla="*/ 1931158 h 5973007"/>
              <a:gd name="connsiteX42134" fmla="*/ 5670349 w 6884782"/>
              <a:gd name="connsiteY42134" fmla="*/ 1930304 h 5973007"/>
              <a:gd name="connsiteX42135" fmla="*/ 5669069 w 6884782"/>
              <a:gd name="connsiteY42135" fmla="*/ 1929593 h 5973007"/>
              <a:gd name="connsiteX42136" fmla="*/ 5664587 w 6884782"/>
              <a:gd name="connsiteY42136" fmla="*/ 1927031 h 5973007"/>
              <a:gd name="connsiteX42137" fmla="*/ 5664374 w 6884782"/>
              <a:gd name="connsiteY42137" fmla="*/ 1925751 h 5973007"/>
              <a:gd name="connsiteX42138" fmla="*/ 5666934 w 6884782"/>
              <a:gd name="connsiteY42138" fmla="*/ 1924471 h 5973007"/>
              <a:gd name="connsiteX42139" fmla="*/ 5668642 w 6884782"/>
              <a:gd name="connsiteY42139" fmla="*/ 1925183 h 5973007"/>
              <a:gd name="connsiteX42140" fmla="*/ 5668215 w 6884782"/>
              <a:gd name="connsiteY42140" fmla="*/ 1920629 h 5973007"/>
              <a:gd name="connsiteX42141" fmla="*/ 5671843 w 6884782"/>
              <a:gd name="connsiteY42141" fmla="*/ 1916647 h 5973007"/>
              <a:gd name="connsiteX42142" fmla="*/ 5673764 w 6884782"/>
              <a:gd name="connsiteY42142" fmla="*/ 1915508 h 5973007"/>
              <a:gd name="connsiteX42143" fmla="*/ 5670990 w 6884782"/>
              <a:gd name="connsiteY42143" fmla="*/ 1915650 h 5973007"/>
              <a:gd name="connsiteX42144" fmla="*/ 5666934 w 6884782"/>
              <a:gd name="connsiteY42144" fmla="*/ 1911666 h 5973007"/>
              <a:gd name="connsiteX42145" fmla="*/ 5677819 w 6884782"/>
              <a:gd name="connsiteY42145" fmla="*/ 1891606 h 5973007"/>
              <a:gd name="connsiteX42146" fmla="*/ 5679313 w 6884782"/>
              <a:gd name="connsiteY42146" fmla="*/ 1891323 h 5973007"/>
              <a:gd name="connsiteX42147" fmla="*/ 5680380 w 6884782"/>
              <a:gd name="connsiteY42147" fmla="*/ 1890042 h 5973007"/>
              <a:gd name="connsiteX42148" fmla="*/ 5680167 w 6884782"/>
              <a:gd name="connsiteY42148" fmla="*/ 1889757 h 5973007"/>
              <a:gd name="connsiteX42149" fmla="*/ 5679953 w 6884782"/>
              <a:gd name="connsiteY42149" fmla="*/ 1888477 h 5973007"/>
              <a:gd name="connsiteX42150" fmla="*/ 5682301 w 6884782"/>
              <a:gd name="connsiteY42150" fmla="*/ 1884351 h 5973007"/>
              <a:gd name="connsiteX42151" fmla="*/ 5683581 w 6884782"/>
              <a:gd name="connsiteY42151" fmla="*/ 1883782 h 5973007"/>
              <a:gd name="connsiteX42152" fmla="*/ 3504352 w 6884782"/>
              <a:gd name="connsiteY42152" fmla="*/ 1883782 h 5973007"/>
              <a:gd name="connsiteX42153" fmla="*/ 3505420 w 6884782"/>
              <a:gd name="connsiteY42153" fmla="*/ 1886912 h 5973007"/>
              <a:gd name="connsiteX42154" fmla="*/ 3505420 w 6884782"/>
              <a:gd name="connsiteY42154" fmla="*/ 1888050 h 5973007"/>
              <a:gd name="connsiteX42155" fmla="*/ 3504352 w 6884782"/>
              <a:gd name="connsiteY42155" fmla="*/ 1888477 h 5973007"/>
              <a:gd name="connsiteX42156" fmla="*/ 3504352 w 6884782"/>
              <a:gd name="connsiteY42156" fmla="*/ 1883782 h 5973007"/>
              <a:gd name="connsiteX42157" fmla="*/ 5523730 w 6884782"/>
              <a:gd name="connsiteY42157" fmla="*/ 1883497 h 5973007"/>
              <a:gd name="connsiteX42158" fmla="*/ 5519675 w 6884782"/>
              <a:gd name="connsiteY42158" fmla="*/ 1901992 h 5973007"/>
              <a:gd name="connsiteX42159" fmla="*/ 5523730 w 6884782"/>
              <a:gd name="connsiteY42159" fmla="*/ 1883497 h 5973007"/>
              <a:gd name="connsiteX42160" fmla="*/ 4726394 w 6884782"/>
              <a:gd name="connsiteY42160" fmla="*/ 1883497 h 5973007"/>
              <a:gd name="connsiteX42161" fmla="*/ 4735571 w 6884782"/>
              <a:gd name="connsiteY42161" fmla="*/ 1891323 h 5973007"/>
              <a:gd name="connsiteX42162" fmla="*/ 4731729 w 6884782"/>
              <a:gd name="connsiteY42162" fmla="*/ 1917215 h 5973007"/>
              <a:gd name="connsiteX42163" fmla="*/ 4731516 w 6884782"/>
              <a:gd name="connsiteY42163" fmla="*/ 1917357 h 5973007"/>
              <a:gd name="connsiteX42164" fmla="*/ 4737918 w 6884782"/>
              <a:gd name="connsiteY42164" fmla="*/ 1922194 h 5973007"/>
              <a:gd name="connsiteX42165" fmla="*/ 4733864 w 6884782"/>
              <a:gd name="connsiteY42165" fmla="*/ 1933291 h 5973007"/>
              <a:gd name="connsiteX42166" fmla="*/ 4727034 w 6884782"/>
              <a:gd name="connsiteY42166" fmla="*/ 1934714 h 5973007"/>
              <a:gd name="connsiteX42167" fmla="*/ 4726821 w 6884782"/>
              <a:gd name="connsiteY42167" fmla="*/ 1935710 h 5973007"/>
              <a:gd name="connsiteX42168" fmla="*/ 4718497 w 6884782"/>
              <a:gd name="connsiteY42168" fmla="*/ 1942824 h 5973007"/>
              <a:gd name="connsiteX42169" fmla="*/ 4711881 w 6884782"/>
              <a:gd name="connsiteY42169" fmla="*/ 1924471 h 5973007"/>
              <a:gd name="connsiteX42170" fmla="*/ 4710174 w 6884782"/>
              <a:gd name="connsiteY42170" fmla="*/ 1920202 h 5973007"/>
              <a:gd name="connsiteX42171" fmla="*/ 4708253 w 6884782"/>
              <a:gd name="connsiteY42171" fmla="*/ 1924471 h 5973007"/>
              <a:gd name="connsiteX42172" fmla="*/ 4700997 w 6884782"/>
              <a:gd name="connsiteY42172" fmla="*/ 1909817 h 5973007"/>
              <a:gd name="connsiteX42173" fmla="*/ 4705479 w 6884782"/>
              <a:gd name="connsiteY42173" fmla="*/ 1910955 h 5973007"/>
              <a:gd name="connsiteX42174" fmla="*/ 4708680 w 6884782"/>
              <a:gd name="connsiteY42174" fmla="*/ 1912663 h 5973007"/>
              <a:gd name="connsiteX42175" fmla="*/ 4709107 w 6884782"/>
              <a:gd name="connsiteY42175" fmla="*/ 1907968 h 5973007"/>
              <a:gd name="connsiteX42176" fmla="*/ 4713802 w 6884782"/>
              <a:gd name="connsiteY42176" fmla="*/ 1913090 h 5973007"/>
              <a:gd name="connsiteX42177" fmla="*/ 4714655 w 6884782"/>
              <a:gd name="connsiteY42177" fmla="*/ 1913943 h 5973007"/>
              <a:gd name="connsiteX42178" fmla="*/ 4717643 w 6884782"/>
              <a:gd name="connsiteY42178" fmla="*/ 1912663 h 5973007"/>
              <a:gd name="connsiteX42179" fmla="*/ 4722766 w 6884782"/>
              <a:gd name="connsiteY42179" fmla="*/ 1913800 h 5973007"/>
              <a:gd name="connsiteX42180" fmla="*/ 4719778 w 6884782"/>
              <a:gd name="connsiteY42180" fmla="*/ 1904981 h 5973007"/>
              <a:gd name="connsiteX42181" fmla="*/ 4721485 w 6884782"/>
              <a:gd name="connsiteY42181" fmla="*/ 1885204 h 5973007"/>
              <a:gd name="connsiteX42182" fmla="*/ 4726394 w 6884782"/>
              <a:gd name="connsiteY42182" fmla="*/ 1883497 h 5973007"/>
              <a:gd name="connsiteX42183" fmla="*/ 1626389 w 6884782"/>
              <a:gd name="connsiteY42183" fmla="*/ 1883251 h 5973007"/>
              <a:gd name="connsiteX42184" fmla="*/ 1628970 w 6884782"/>
              <a:gd name="connsiteY42184" fmla="*/ 1888363 h 5973007"/>
              <a:gd name="connsiteX42185" fmla="*/ 1627215 w 6884782"/>
              <a:gd name="connsiteY42185" fmla="*/ 1890686 h 5973007"/>
              <a:gd name="connsiteX42186" fmla="*/ 1622775 w 6884782"/>
              <a:gd name="connsiteY42186" fmla="*/ 1891461 h 5973007"/>
              <a:gd name="connsiteX42187" fmla="*/ 1621742 w 6884782"/>
              <a:gd name="connsiteY42187" fmla="*/ 1890067 h 5973007"/>
              <a:gd name="connsiteX42188" fmla="*/ 1623704 w 6884782"/>
              <a:gd name="connsiteY42188" fmla="*/ 1884026 h 5973007"/>
              <a:gd name="connsiteX42189" fmla="*/ 1626389 w 6884782"/>
              <a:gd name="connsiteY42189" fmla="*/ 1883251 h 5973007"/>
              <a:gd name="connsiteX42190" fmla="*/ 1395095 w 6884782"/>
              <a:gd name="connsiteY42190" fmla="*/ 1883251 h 5973007"/>
              <a:gd name="connsiteX42191" fmla="*/ 1403149 w 6884782"/>
              <a:gd name="connsiteY42191" fmla="*/ 1886194 h 5973007"/>
              <a:gd name="connsiteX42192" fmla="*/ 1404182 w 6884782"/>
              <a:gd name="connsiteY42192" fmla="*/ 1891151 h 5973007"/>
              <a:gd name="connsiteX42193" fmla="*/ 1404904 w 6884782"/>
              <a:gd name="connsiteY42193" fmla="*/ 1891306 h 5973007"/>
              <a:gd name="connsiteX42194" fmla="*/ 1410067 w 6884782"/>
              <a:gd name="connsiteY42194" fmla="*/ 1897347 h 5973007"/>
              <a:gd name="connsiteX42195" fmla="*/ 1396747 w 6884782"/>
              <a:gd name="connsiteY42195" fmla="*/ 1902149 h 5973007"/>
              <a:gd name="connsiteX42196" fmla="*/ 1393649 w 6884782"/>
              <a:gd name="connsiteY42196" fmla="*/ 1903388 h 5973007"/>
              <a:gd name="connsiteX42197" fmla="*/ 1396747 w 6884782"/>
              <a:gd name="connsiteY42197" fmla="*/ 1904782 h 5973007"/>
              <a:gd name="connsiteX42198" fmla="*/ 1386112 w 6884782"/>
              <a:gd name="connsiteY42198" fmla="*/ 1910048 h 5973007"/>
              <a:gd name="connsiteX42199" fmla="*/ 1386938 w 6884782"/>
              <a:gd name="connsiteY42199" fmla="*/ 1906796 h 5973007"/>
              <a:gd name="connsiteX42200" fmla="*/ 1388177 w 6884782"/>
              <a:gd name="connsiteY42200" fmla="*/ 1904472 h 5973007"/>
              <a:gd name="connsiteX42201" fmla="*/ 1384769 w 6884782"/>
              <a:gd name="connsiteY42201" fmla="*/ 1904162 h 5973007"/>
              <a:gd name="connsiteX42202" fmla="*/ 1388487 w 6884782"/>
              <a:gd name="connsiteY42202" fmla="*/ 1900755 h 5973007"/>
              <a:gd name="connsiteX42203" fmla="*/ 1389106 w 6884782"/>
              <a:gd name="connsiteY42203" fmla="*/ 1900136 h 5973007"/>
              <a:gd name="connsiteX42204" fmla="*/ 1388177 w 6884782"/>
              <a:gd name="connsiteY42204" fmla="*/ 1897967 h 5973007"/>
              <a:gd name="connsiteX42205" fmla="*/ 1389003 w 6884782"/>
              <a:gd name="connsiteY42205" fmla="*/ 1894249 h 5973007"/>
              <a:gd name="connsiteX42206" fmla="*/ 1382601 w 6884782"/>
              <a:gd name="connsiteY42206" fmla="*/ 1896417 h 5973007"/>
              <a:gd name="connsiteX42207" fmla="*/ 1368248 w 6884782"/>
              <a:gd name="connsiteY42207" fmla="*/ 1895178 h 5973007"/>
              <a:gd name="connsiteX42208" fmla="*/ 1367009 w 6884782"/>
              <a:gd name="connsiteY42208" fmla="*/ 1891616 h 5973007"/>
              <a:gd name="connsiteX42209" fmla="*/ 1372689 w 6884782"/>
              <a:gd name="connsiteY42209" fmla="*/ 1884955 h 5973007"/>
              <a:gd name="connsiteX42210" fmla="*/ 1391481 w 6884782"/>
              <a:gd name="connsiteY42210" fmla="*/ 1887743 h 5973007"/>
              <a:gd name="connsiteX42211" fmla="*/ 1391584 w 6884782"/>
              <a:gd name="connsiteY42211" fmla="*/ 1887898 h 5973007"/>
              <a:gd name="connsiteX42212" fmla="*/ 5634281 w 6884782"/>
              <a:gd name="connsiteY42212" fmla="*/ 1882786 h 5973007"/>
              <a:gd name="connsiteX42213" fmla="*/ 5645379 w 6884782"/>
              <a:gd name="connsiteY42213" fmla="*/ 1887481 h 5973007"/>
              <a:gd name="connsiteX42214" fmla="*/ 5651142 w 6884782"/>
              <a:gd name="connsiteY42214" fmla="*/ 1894594 h 5973007"/>
              <a:gd name="connsiteX42215" fmla="*/ 5653276 w 6884782"/>
              <a:gd name="connsiteY42215" fmla="*/ 1900997 h 5973007"/>
              <a:gd name="connsiteX42216" fmla="*/ 5655196 w 6884782"/>
              <a:gd name="connsiteY42216" fmla="*/ 1902277 h 5973007"/>
              <a:gd name="connsiteX42217" fmla="*/ 5654129 w 6884782"/>
              <a:gd name="connsiteY42217" fmla="*/ 1903130 h 5973007"/>
              <a:gd name="connsiteX42218" fmla="*/ 5656050 w 6884782"/>
              <a:gd name="connsiteY42218" fmla="*/ 1908679 h 5973007"/>
              <a:gd name="connsiteX42219" fmla="*/ 5662026 w 6884782"/>
              <a:gd name="connsiteY42219" fmla="*/ 1925040 h 5973007"/>
              <a:gd name="connsiteX42220" fmla="*/ 5660105 w 6884782"/>
              <a:gd name="connsiteY42220" fmla="*/ 1924897 h 5973007"/>
              <a:gd name="connsiteX42221" fmla="*/ 5661172 w 6884782"/>
              <a:gd name="connsiteY42221" fmla="*/ 1926178 h 5973007"/>
              <a:gd name="connsiteX42222" fmla="*/ 5663947 w 6884782"/>
              <a:gd name="connsiteY42222" fmla="*/ 1932723 h 5973007"/>
              <a:gd name="connsiteX42223" fmla="*/ 5662666 w 6884782"/>
              <a:gd name="connsiteY42223" fmla="*/ 1936421 h 5973007"/>
              <a:gd name="connsiteX42224" fmla="*/ 5644952 w 6884782"/>
              <a:gd name="connsiteY42224" fmla="*/ 1937560 h 5973007"/>
              <a:gd name="connsiteX42225" fmla="*/ 5643885 w 6884782"/>
              <a:gd name="connsiteY42225" fmla="*/ 1936564 h 5973007"/>
              <a:gd name="connsiteX42226" fmla="*/ 5638550 w 6884782"/>
              <a:gd name="connsiteY42226" fmla="*/ 1949795 h 5973007"/>
              <a:gd name="connsiteX42227" fmla="*/ 5637269 w 6884782"/>
              <a:gd name="connsiteY42227" fmla="*/ 1953636 h 5973007"/>
              <a:gd name="connsiteX42228" fmla="*/ 5638123 w 6884782"/>
              <a:gd name="connsiteY42228" fmla="*/ 1954916 h 5973007"/>
              <a:gd name="connsiteX42229" fmla="*/ 5640257 w 6884782"/>
              <a:gd name="connsiteY42229" fmla="*/ 1959184 h 5973007"/>
              <a:gd name="connsiteX42230" fmla="*/ 5635989 w 6884782"/>
              <a:gd name="connsiteY42230" fmla="*/ 1960749 h 5973007"/>
              <a:gd name="connsiteX42231" fmla="*/ 5635135 w 6884782"/>
              <a:gd name="connsiteY42231" fmla="*/ 1960607 h 5973007"/>
              <a:gd name="connsiteX42232" fmla="*/ 5634921 w 6884782"/>
              <a:gd name="connsiteY42232" fmla="*/ 1961034 h 5973007"/>
              <a:gd name="connsiteX42233" fmla="*/ 5634708 w 6884782"/>
              <a:gd name="connsiteY42233" fmla="*/ 1960607 h 5973007"/>
              <a:gd name="connsiteX42234" fmla="*/ 5633001 w 6884782"/>
              <a:gd name="connsiteY42234" fmla="*/ 1960607 h 5973007"/>
              <a:gd name="connsiteX42235" fmla="*/ 5629586 w 6884782"/>
              <a:gd name="connsiteY42235" fmla="*/ 1958615 h 5973007"/>
              <a:gd name="connsiteX42236" fmla="*/ 5628306 w 6884782"/>
              <a:gd name="connsiteY42236" fmla="*/ 1956197 h 5973007"/>
              <a:gd name="connsiteX42237" fmla="*/ 5626598 w 6884782"/>
              <a:gd name="connsiteY42237" fmla="*/ 1953067 h 5973007"/>
              <a:gd name="connsiteX42238" fmla="*/ 5626598 w 6884782"/>
              <a:gd name="connsiteY42238" fmla="*/ 1952498 h 5973007"/>
              <a:gd name="connsiteX42239" fmla="*/ 5625104 w 6884782"/>
              <a:gd name="connsiteY42239" fmla="*/ 1951360 h 5973007"/>
              <a:gd name="connsiteX42240" fmla="*/ 5613366 w 6884782"/>
              <a:gd name="connsiteY42240" fmla="*/ 1946096 h 5973007"/>
              <a:gd name="connsiteX42241" fmla="*/ 5612299 w 6884782"/>
              <a:gd name="connsiteY42241" fmla="*/ 1948230 h 5973007"/>
              <a:gd name="connsiteX42242" fmla="*/ 5607391 w 6884782"/>
              <a:gd name="connsiteY42242" fmla="*/ 1952356 h 5973007"/>
              <a:gd name="connsiteX42243" fmla="*/ 5602482 w 6884782"/>
              <a:gd name="connsiteY42243" fmla="*/ 1942539 h 5973007"/>
              <a:gd name="connsiteX42244" fmla="*/ 5603762 w 6884782"/>
              <a:gd name="connsiteY42244" fmla="*/ 1940262 h 5973007"/>
              <a:gd name="connsiteX42245" fmla="*/ 5601841 w 6884782"/>
              <a:gd name="connsiteY42245" fmla="*/ 1938555 h 5973007"/>
              <a:gd name="connsiteX42246" fmla="*/ 5598853 w 6884782"/>
              <a:gd name="connsiteY42246" fmla="*/ 1933433 h 5973007"/>
              <a:gd name="connsiteX42247" fmla="*/ 5596506 w 6884782"/>
              <a:gd name="connsiteY42247" fmla="*/ 1922621 h 5973007"/>
              <a:gd name="connsiteX42248" fmla="*/ 5597787 w 6884782"/>
              <a:gd name="connsiteY42248" fmla="*/ 1917215 h 5973007"/>
              <a:gd name="connsiteX42249" fmla="*/ 5597360 w 6884782"/>
              <a:gd name="connsiteY42249" fmla="*/ 1916931 h 5973007"/>
              <a:gd name="connsiteX42250" fmla="*/ 5598213 w 6884782"/>
              <a:gd name="connsiteY42250" fmla="*/ 1908395 h 5973007"/>
              <a:gd name="connsiteX42251" fmla="*/ 5600988 w 6884782"/>
              <a:gd name="connsiteY42251" fmla="*/ 1910101 h 5973007"/>
              <a:gd name="connsiteX42252" fmla="*/ 5603976 w 6884782"/>
              <a:gd name="connsiteY42252" fmla="*/ 1905976 h 5973007"/>
              <a:gd name="connsiteX42253" fmla="*/ 5608031 w 6884782"/>
              <a:gd name="connsiteY42253" fmla="*/ 1903416 h 5973007"/>
              <a:gd name="connsiteX42254" fmla="*/ 5609098 w 6884782"/>
              <a:gd name="connsiteY42254" fmla="*/ 1900143 h 5973007"/>
              <a:gd name="connsiteX42255" fmla="*/ 5605896 w 6884782"/>
              <a:gd name="connsiteY42255" fmla="*/ 1900854 h 5973007"/>
              <a:gd name="connsiteX42256" fmla="*/ 5601841 w 6884782"/>
              <a:gd name="connsiteY42256" fmla="*/ 1898720 h 5973007"/>
              <a:gd name="connsiteX42257" fmla="*/ 5609524 w 6884782"/>
              <a:gd name="connsiteY42257" fmla="*/ 1889473 h 5973007"/>
              <a:gd name="connsiteX42258" fmla="*/ 5612939 w 6884782"/>
              <a:gd name="connsiteY42258" fmla="*/ 1893172 h 5973007"/>
              <a:gd name="connsiteX42259" fmla="*/ 5612086 w 6884782"/>
              <a:gd name="connsiteY42259" fmla="*/ 1894879 h 5973007"/>
              <a:gd name="connsiteX42260" fmla="*/ 5615927 w 6884782"/>
              <a:gd name="connsiteY42260" fmla="*/ 1889757 h 5973007"/>
              <a:gd name="connsiteX42261" fmla="*/ 5634281 w 6884782"/>
              <a:gd name="connsiteY42261" fmla="*/ 1882786 h 5973007"/>
              <a:gd name="connsiteX42262" fmla="*/ 741690 w 6884782"/>
              <a:gd name="connsiteY42262" fmla="*/ 1882477 h 5973007"/>
              <a:gd name="connsiteX42263" fmla="*/ 746439 w 6884782"/>
              <a:gd name="connsiteY42263" fmla="*/ 1883251 h 5973007"/>
              <a:gd name="connsiteX42264" fmla="*/ 747369 w 6884782"/>
              <a:gd name="connsiteY42264" fmla="*/ 1885110 h 5973007"/>
              <a:gd name="connsiteX42265" fmla="*/ 746956 w 6884782"/>
              <a:gd name="connsiteY42265" fmla="*/ 1885730 h 5973007"/>
              <a:gd name="connsiteX42266" fmla="*/ 745200 w 6884782"/>
              <a:gd name="connsiteY42266" fmla="*/ 1888518 h 5973007"/>
              <a:gd name="connsiteX42267" fmla="*/ 740657 w 6884782"/>
              <a:gd name="connsiteY42267" fmla="*/ 1887434 h 5973007"/>
              <a:gd name="connsiteX42268" fmla="*/ 740451 w 6884782"/>
              <a:gd name="connsiteY42268" fmla="*/ 1884181 h 5973007"/>
              <a:gd name="connsiteX42269" fmla="*/ 741690 w 6884782"/>
              <a:gd name="connsiteY42269" fmla="*/ 1882477 h 5973007"/>
              <a:gd name="connsiteX42270" fmla="*/ 876452 w 6884782"/>
              <a:gd name="connsiteY42270" fmla="*/ 1881819 h 5973007"/>
              <a:gd name="connsiteX42271" fmla="*/ 874787 w 6884782"/>
              <a:gd name="connsiteY42271" fmla="*/ 1888053 h 5973007"/>
              <a:gd name="connsiteX42272" fmla="*/ 869830 w 6884782"/>
              <a:gd name="connsiteY42272" fmla="*/ 1882322 h 5973007"/>
              <a:gd name="connsiteX42273" fmla="*/ 876452 w 6884782"/>
              <a:gd name="connsiteY42273" fmla="*/ 1881819 h 5973007"/>
              <a:gd name="connsiteX42274" fmla="*/ 5585835 w 6884782"/>
              <a:gd name="connsiteY42274" fmla="*/ 1881221 h 5973007"/>
              <a:gd name="connsiteX42275" fmla="*/ 5596506 w 6884782"/>
              <a:gd name="connsiteY42275" fmla="*/ 1887623 h 5973007"/>
              <a:gd name="connsiteX42276" fmla="*/ 5579432 w 6884782"/>
              <a:gd name="connsiteY42276" fmla="*/ 1890469 h 5973007"/>
              <a:gd name="connsiteX42277" fmla="*/ 5585835 w 6884782"/>
              <a:gd name="connsiteY42277" fmla="*/ 1881221 h 5973007"/>
              <a:gd name="connsiteX42278" fmla="*/ 5523516 w 6884782"/>
              <a:gd name="connsiteY42278" fmla="*/ 1880937 h 5973007"/>
              <a:gd name="connsiteX42279" fmla="*/ 5525011 w 6884782"/>
              <a:gd name="connsiteY42279" fmla="*/ 1880937 h 5973007"/>
              <a:gd name="connsiteX42280" fmla="*/ 5523943 w 6884782"/>
              <a:gd name="connsiteY42280" fmla="*/ 1883497 h 5973007"/>
              <a:gd name="connsiteX42281" fmla="*/ 5522876 w 6884782"/>
              <a:gd name="connsiteY42281" fmla="*/ 1882075 h 5973007"/>
              <a:gd name="connsiteX42282" fmla="*/ 5523516 w 6884782"/>
              <a:gd name="connsiteY42282" fmla="*/ 1880937 h 5973007"/>
              <a:gd name="connsiteX42283" fmla="*/ 1413165 w 6884782"/>
              <a:gd name="connsiteY42283" fmla="*/ 1880153 h 5973007"/>
              <a:gd name="connsiteX42284" fmla="*/ 1415436 w 6884782"/>
              <a:gd name="connsiteY42284" fmla="*/ 1886814 h 5973007"/>
              <a:gd name="connsiteX42285" fmla="*/ 1409344 w 6884782"/>
              <a:gd name="connsiteY42285" fmla="*/ 1885265 h 5973007"/>
              <a:gd name="connsiteX42286" fmla="*/ 1413165 w 6884782"/>
              <a:gd name="connsiteY42286" fmla="*/ 1880153 h 5973007"/>
              <a:gd name="connsiteX42287" fmla="*/ 811181 w 6884782"/>
              <a:gd name="connsiteY42287" fmla="*/ 1880153 h 5973007"/>
              <a:gd name="connsiteX42288" fmla="*/ 812730 w 6884782"/>
              <a:gd name="connsiteY42288" fmla="*/ 1881857 h 5973007"/>
              <a:gd name="connsiteX42289" fmla="*/ 806225 w 6884782"/>
              <a:gd name="connsiteY42289" fmla="*/ 1890222 h 5973007"/>
              <a:gd name="connsiteX42290" fmla="*/ 803850 w 6884782"/>
              <a:gd name="connsiteY42290" fmla="*/ 1890686 h 5973007"/>
              <a:gd name="connsiteX42291" fmla="*/ 802198 w 6884782"/>
              <a:gd name="connsiteY42291" fmla="*/ 1891461 h 5973007"/>
              <a:gd name="connsiteX42292" fmla="*/ 796416 w 6884782"/>
              <a:gd name="connsiteY42292" fmla="*/ 1890686 h 5973007"/>
              <a:gd name="connsiteX42293" fmla="*/ 809323 w 6884782"/>
              <a:gd name="connsiteY42293" fmla="*/ 1880463 h 5973007"/>
              <a:gd name="connsiteX42294" fmla="*/ 811181 w 6884782"/>
              <a:gd name="connsiteY42294" fmla="*/ 1880153 h 5973007"/>
              <a:gd name="connsiteX42295" fmla="*/ 1958339 w 6884782"/>
              <a:gd name="connsiteY42295" fmla="*/ 1880058 h 5973007"/>
              <a:gd name="connsiteX42296" fmla="*/ 1957015 w 6884782"/>
              <a:gd name="connsiteY42296" fmla="*/ 1881547 h 5973007"/>
              <a:gd name="connsiteX42297" fmla="*/ 1955054 w 6884782"/>
              <a:gd name="connsiteY42297" fmla="*/ 1887589 h 5973007"/>
              <a:gd name="connsiteX42298" fmla="*/ 1958339 w 6884782"/>
              <a:gd name="connsiteY42298" fmla="*/ 1889343 h 5973007"/>
              <a:gd name="connsiteX42299" fmla="*/ 5295371 w 6884782"/>
              <a:gd name="connsiteY42299" fmla="*/ 1879372 h 5973007"/>
              <a:gd name="connsiteX42300" fmla="*/ 5313512 w 6884782"/>
              <a:gd name="connsiteY42300" fmla="*/ 1893456 h 5973007"/>
              <a:gd name="connsiteX42301" fmla="*/ 5316286 w 6884782"/>
              <a:gd name="connsiteY42301" fmla="*/ 1902704 h 5973007"/>
              <a:gd name="connsiteX42302" fmla="*/ 5316286 w 6884782"/>
              <a:gd name="connsiteY42302" fmla="*/ 1902846 h 5973007"/>
              <a:gd name="connsiteX42303" fmla="*/ 5322048 w 6884782"/>
              <a:gd name="connsiteY42303" fmla="*/ 1900997 h 5973007"/>
              <a:gd name="connsiteX42304" fmla="*/ 5331012 w 6884782"/>
              <a:gd name="connsiteY42304" fmla="*/ 1912805 h 5973007"/>
              <a:gd name="connsiteX42305" fmla="*/ 5330371 w 6884782"/>
              <a:gd name="connsiteY42305" fmla="*/ 1914085 h 5973007"/>
              <a:gd name="connsiteX42306" fmla="*/ 5330585 w 6884782"/>
              <a:gd name="connsiteY42306" fmla="*/ 1914085 h 5973007"/>
              <a:gd name="connsiteX42307" fmla="*/ 5333786 w 6884782"/>
              <a:gd name="connsiteY42307" fmla="*/ 1921910 h 5973007"/>
              <a:gd name="connsiteX42308" fmla="*/ 5336347 w 6884782"/>
              <a:gd name="connsiteY42308" fmla="*/ 1921626 h 5973007"/>
              <a:gd name="connsiteX42309" fmla="*/ 5340402 w 6884782"/>
              <a:gd name="connsiteY42309" fmla="*/ 1924471 h 5973007"/>
              <a:gd name="connsiteX42310" fmla="*/ 5338909 w 6884782"/>
              <a:gd name="connsiteY42310" fmla="*/ 1926889 h 5973007"/>
              <a:gd name="connsiteX42311" fmla="*/ 5333786 w 6884782"/>
              <a:gd name="connsiteY42311" fmla="*/ 1924613 h 5973007"/>
              <a:gd name="connsiteX42312" fmla="*/ 5332719 w 6884782"/>
              <a:gd name="connsiteY42312" fmla="*/ 1925183 h 5973007"/>
              <a:gd name="connsiteX42313" fmla="*/ 5331652 w 6884782"/>
              <a:gd name="connsiteY42313" fmla="*/ 1928596 h 5973007"/>
              <a:gd name="connsiteX42314" fmla="*/ 5321408 w 6884782"/>
              <a:gd name="connsiteY42314" fmla="*/ 1934999 h 5973007"/>
              <a:gd name="connsiteX42315" fmla="*/ 5312658 w 6884782"/>
              <a:gd name="connsiteY42315" fmla="*/ 1925609 h 5973007"/>
              <a:gd name="connsiteX42316" fmla="*/ 5312658 w 6884782"/>
              <a:gd name="connsiteY42316" fmla="*/ 1922906 h 5973007"/>
              <a:gd name="connsiteX42317" fmla="*/ 5306896 w 6884782"/>
              <a:gd name="connsiteY42317" fmla="*/ 1931868 h 5973007"/>
              <a:gd name="connsiteX42318" fmla="*/ 5303267 w 6884782"/>
              <a:gd name="connsiteY42318" fmla="*/ 1932438 h 5973007"/>
              <a:gd name="connsiteX42319" fmla="*/ 5284913 w 6884782"/>
              <a:gd name="connsiteY42319" fmla="*/ 1904838 h 5973007"/>
              <a:gd name="connsiteX42320" fmla="*/ 5284913 w 6884782"/>
              <a:gd name="connsiteY42320" fmla="*/ 1904553 h 5973007"/>
              <a:gd name="connsiteX42321" fmla="*/ 5282992 w 6884782"/>
              <a:gd name="connsiteY42321" fmla="*/ 1904981 h 5973007"/>
              <a:gd name="connsiteX42322" fmla="*/ 5281925 w 6884782"/>
              <a:gd name="connsiteY42322" fmla="*/ 1902988 h 5973007"/>
              <a:gd name="connsiteX42323" fmla="*/ 5279791 w 6884782"/>
              <a:gd name="connsiteY42323" fmla="*/ 1902277 h 5973007"/>
              <a:gd name="connsiteX42324" fmla="*/ 5277871 w 6884782"/>
              <a:gd name="connsiteY42324" fmla="*/ 1905264 h 5973007"/>
              <a:gd name="connsiteX42325" fmla="*/ 5274456 w 6884782"/>
              <a:gd name="connsiteY42325" fmla="*/ 1905976 h 5973007"/>
              <a:gd name="connsiteX42326" fmla="*/ 5275096 w 6884782"/>
              <a:gd name="connsiteY42326" fmla="*/ 1907683 h 5973007"/>
              <a:gd name="connsiteX42327" fmla="*/ 5297291 w 6884782"/>
              <a:gd name="connsiteY42327" fmla="*/ 1945811 h 5973007"/>
              <a:gd name="connsiteX42328" fmla="*/ 5294303 w 6884782"/>
              <a:gd name="connsiteY42328" fmla="*/ 1945669 h 5973007"/>
              <a:gd name="connsiteX42329" fmla="*/ 5294517 w 6884782"/>
              <a:gd name="connsiteY42329" fmla="*/ 1947091 h 5973007"/>
              <a:gd name="connsiteX42330" fmla="*/ 5284273 w 6884782"/>
              <a:gd name="connsiteY42330" fmla="*/ 1951075 h 5973007"/>
              <a:gd name="connsiteX42331" fmla="*/ 5280218 w 6884782"/>
              <a:gd name="connsiteY42331" fmla="*/ 1947945 h 5973007"/>
              <a:gd name="connsiteX42332" fmla="*/ 5273388 w 6884782"/>
              <a:gd name="connsiteY42332" fmla="*/ 1951502 h 5973007"/>
              <a:gd name="connsiteX42333" fmla="*/ 5266346 w 6884782"/>
              <a:gd name="connsiteY42333" fmla="*/ 1954490 h 5973007"/>
              <a:gd name="connsiteX42334" fmla="*/ 5255675 w 6884782"/>
              <a:gd name="connsiteY42334" fmla="*/ 1953493 h 5973007"/>
              <a:gd name="connsiteX42335" fmla="*/ 5263358 w 6884782"/>
              <a:gd name="connsiteY42335" fmla="*/ 1902704 h 5973007"/>
              <a:gd name="connsiteX42336" fmla="*/ 5271895 w 6884782"/>
              <a:gd name="connsiteY42336" fmla="*/ 1906403 h 5973007"/>
              <a:gd name="connsiteX42337" fmla="*/ 5267840 w 6884782"/>
              <a:gd name="connsiteY42337" fmla="*/ 1901708 h 5973007"/>
              <a:gd name="connsiteX42338" fmla="*/ 5266986 w 6884782"/>
              <a:gd name="connsiteY42338" fmla="*/ 1900143 h 5973007"/>
              <a:gd name="connsiteX42339" fmla="*/ 5264638 w 6884782"/>
              <a:gd name="connsiteY42339" fmla="*/ 1898009 h 5973007"/>
              <a:gd name="connsiteX42340" fmla="*/ 5264852 w 6884782"/>
              <a:gd name="connsiteY42340" fmla="*/ 1888334 h 5973007"/>
              <a:gd name="connsiteX42341" fmla="*/ 5264425 w 6884782"/>
              <a:gd name="connsiteY42341" fmla="*/ 1889615 h 5973007"/>
              <a:gd name="connsiteX42342" fmla="*/ 5259730 w 6884782"/>
              <a:gd name="connsiteY42342" fmla="*/ 1885631 h 5973007"/>
              <a:gd name="connsiteX42343" fmla="*/ 5264852 w 6884782"/>
              <a:gd name="connsiteY42343" fmla="*/ 1887908 h 5973007"/>
              <a:gd name="connsiteX42344" fmla="*/ 5264852 w 6884782"/>
              <a:gd name="connsiteY42344" fmla="*/ 1886058 h 5973007"/>
              <a:gd name="connsiteX42345" fmla="*/ 5268053 w 6884782"/>
              <a:gd name="connsiteY42345" fmla="*/ 1883924 h 5973007"/>
              <a:gd name="connsiteX42346" fmla="*/ 5279791 w 6884782"/>
              <a:gd name="connsiteY42346" fmla="*/ 1892318 h 5973007"/>
              <a:gd name="connsiteX42347" fmla="*/ 5280645 w 6884782"/>
              <a:gd name="connsiteY42347" fmla="*/ 1897440 h 5973007"/>
              <a:gd name="connsiteX42348" fmla="*/ 5282992 w 6884782"/>
              <a:gd name="connsiteY42348" fmla="*/ 1900285 h 5973007"/>
              <a:gd name="connsiteX42349" fmla="*/ 5285340 w 6884782"/>
              <a:gd name="connsiteY42349" fmla="*/ 1901565 h 5973007"/>
              <a:gd name="connsiteX42350" fmla="*/ 5286407 w 6884782"/>
              <a:gd name="connsiteY42350" fmla="*/ 1892745 h 5973007"/>
              <a:gd name="connsiteX42351" fmla="*/ 5289395 w 6884782"/>
              <a:gd name="connsiteY42351" fmla="*/ 1888477 h 5973007"/>
              <a:gd name="connsiteX42352" fmla="*/ 5288115 w 6884782"/>
              <a:gd name="connsiteY42352" fmla="*/ 1886058 h 5973007"/>
              <a:gd name="connsiteX42353" fmla="*/ 5290675 w 6884782"/>
              <a:gd name="connsiteY42353" fmla="*/ 1883497 h 5973007"/>
              <a:gd name="connsiteX42354" fmla="*/ 5293023 w 6884782"/>
              <a:gd name="connsiteY42354" fmla="*/ 1882928 h 5973007"/>
              <a:gd name="connsiteX42355" fmla="*/ 1667485 w 6884782"/>
              <a:gd name="connsiteY42355" fmla="*/ 1878914 h 5973007"/>
              <a:gd name="connsiteX42356" fmla="*/ 1675023 w 6884782"/>
              <a:gd name="connsiteY42356" fmla="*/ 1883251 h 5973007"/>
              <a:gd name="connsiteX42357" fmla="*/ 1672854 w 6884782"/>
              <a:gd name="connsiteY42357" fmla="*/ 1888827 h 5973007"/>
              <a:gd name="connsiteX42358" fmla="*/ 1664697 w 6884782"/>
              <a:gd name="connsiteY42358" fmla="*/ 1880773 h 5973007"/>
              <a:gd name="connsiteX42359" fmla="*/ 1667485 w 6884782"/>
              <a:gd name="connsiteY42359" fmla="*/ 1878914 h 5973007"/>
              <a:gd name="connsiteX42360" fmla="*/ 1249710 w 6884782"/>
              <a:gd name="connsiteY42360" fmla="*/ 1878856 h 5973007"/>
              <a:gd name="connsiteX42361" fmla="*/ 1254357 w 6884782"/>
              <a:gd name="connsiteY42361" fmla="*/ 1879379 h 5973007"/>
              <a:gd name="connsiteX42362" fmla="*/ 1256112 w 6884782"/>
              <a:gd name="connsiteY42362" fmla="*/ 1881083 h 5973007"/>
              <a:gd name="connsiteX42363" fmla="*/ 1256422 w 6884782"/>
              <a:gd name="connsiteY42363" fmla="*/ 1879070 h 5973007"/>
              <a:gd name="connsiteX42364" fmla="*/ 1272324 w 6884782"/>
              <a:gd name="connsiteY42364" fmla="*/ 1884646 h 5973007"/>
              <a:gd name="connsiteX42365" fmla="*/ 1273562 w 6884782"/>
              <a:gd name="connsiteY42365" fmla="*/ 1886039 h 5973007"/>
              <a:gd name="connsiteX42366" fmla="*/ 1272736 w 6884782"/>
              <a:gd name="connsiteY42366" fmla="*/ 1888053 h 5973007"/>
              <a:gd name="connsiteX42367" fmla="*/ 1270052 w 6884782"/>
              <a:gd name="connsiteY42367" fmla="*/ 1888982 h 5973007"/>
              <a:gd name="connsiteX42368" fmla="*/ 1270362 w 6884782"/>
              <a:gd name="connsiteY42368" fmla="*/ 1889603 h 5973007"/>
              <a:gd name="connsiteX42369" fmla="*/ 1270568 w 6884782"/>
              <a:gd name="connsiteY42369" fmla="*/ 1889603 h 5973007"/>
              <a:gd name="connsiteX42370" fmla="*/ 1277899 w 6884782"/>
              <a:gd name="connsiteY42370" fmla="*/ 1892700 h 5973007"/>
              <a:gd name="connsiteX42371" fmla="*/ 1279655 w 6884782"/>
              <a:gd name="connsiteY42371" fmla="*/ 1893474 h 5973007"/>
              <a:gd name="connsiteX42372" fmla="*/ 1279551 w 6884782"/>
              <a:gd name="connsiteY42372" fmla="*/ 1895953 h 5973007"/>
              <a:gd name="connsiteX42373" fmla="*/ 1273149 w 6884782"/>
              <a:gd name="connsiteY42373" fmla="*/ 1895798 h 5973007"/>
              <a:gd name="connsiteX42374" fmla="*/ 1272839 w 6884782"/>
              <a:gd name="connsiteY42374" fmla="*/ 1900910 h 5973007"/>
              <a:gd name="connsiteX42375" fmla="*/ 1257351 w 6884782"/>
              <a:gd name="connsiteY42375" fmla="*/ 1895643 h 5973007"/>
              <a:gd name="connsiteX42376" fmla="*/ 1256938 w 6884782"/>
              <a:gd name="connsiteY42376" fmla="*/ 1895333 h 5973007"/>
              <a:gd name="connsiteX42377" fmla="*/ 1256835 w 6884782"/>
              <a:gd name="connsiteY42377" fmla="*/ 1895643 h 5973007"/>
              <a:gd name="connsiteX42378" fmla="*/ 1258694 w 6884782"/>
              <a:gd name="connsiteY42378" fmla="*/ 1899515 h 5973007"/>
              <a:gd name="connsiteX42379" fmla="*/ 1245890 w 6884782"/>
              <a:gd name="connsiteY42379" fmla="*/ 1901529 h 5973007"/>
              <a:gd name="connsiteX42380" fmla="*/ 1244031 w 6884782"/>
              <a:gd name="connsiteY42380" fmla="*/ 1901064 h 5973007"/>
              <a:gd name="connsiteX42381" fmla="*/ 1244031 w 6884782"/>
              <a:gd name="connsiteY42381" fmla="*/ 1901839 h 5973007"/>
              <a:gd name="connsiteX42382" fmla="*/ 1243205 w 6884782"/>
              <a:gd name="connsiteY42382" fmla="*/ 1901064 h 5973007"/>
              <a:gd name="connsiteX42383" fmla="*/ 1242999 w 6884782"/>
              <a:gd name="connsiteY42383" fmla="*/ 1901064 h 5973007"/>
              <a:gd name="connsiteX42384" fmla="*/ 1242069 w 6884782"/>
              <a:gd name="connsiteY42384" fmla="*/ 1901064 h 5973007"/>
              <a:gd name="connsiteX42385" fmla="*/ 1239281 w 6884782"/>
              <a:gd name="connsiteY42385" fmla="*/ 1899051 h 5973007"/>
              <a:gd name="connsiteX42386" fmla="*/ 1238868 w 6884782"/>
              <a:gd name="connsiteY42386" fmla="*/ 1898122 h 5973007"/>
              <a:gd name="connsiteX42387" fmla="*/ 1239695 w 6884782"/>
              <a:gd name="connsiteY42387" fmla="*/ 1896882 h 5973007"/>
              <a:gd name="connsiteX42388" fmla="*/ 1244134 w 6884782"/>
              <a:gd name="connsiteY42388" fmla="*/ 1894249 h 5973007"/>
              <a:gd name="connsiteX42389" fmla="*/ 1245683 w 6884782"/>
              <a:gd name="connsiteY42389" fmla="*/ 1878914 h 5973007"/>
              <a:gd name="connsiteX42390" fmla="*/ 1249710 w 6884782"/>
              <a:gd name="connsiteY42390" fmla="*/ 1878856 h 5973007"/>
              <a:gd name="connsiteX42391" fmla="*/ 6095908 w 6884782"/>
              <a:gd name="connsiteY42391" fmla="*/ 1878802 h 5973007"/>
              <a:gd name="connsiteX42392" fmla="*/ 6104445 w 6884782"/>
              <a:gd name="connsiteY42392" fmla="*/ 1880937 h 5973007"/>
              <a:gd name="connsiteX42393" fmla="*/ 6095908 w 6884782"/>
              <a:gd name="connsiteY42393" fmla="*/ 1878802 h 5973007"/>
              <a:gd name="connsiteX42394" fmla="*/ 5022193 w 6884782"/>
              <a:gd name="connsiteY42394" fmla="*/ 1876953 h 5973007"/>
              <a:gd name="connsiteX42395" fmla="*/ 5030944 w 6884782"/>
              <a:gd name="connsiteY42395" fmla="*/ 1880510 h 5973007"/>
              <a:gd name="connsiteX42396" fmla="*/ 5027316 w 6884782"/>
              <a:gd name="connsiteY42396" fmla="*/ 1891323 h 5973007"/>
              <a:gd name="connsiteX42397" fmla="*/ 5022193 w 6884782"/>
              <a:gd name="connsiteY42397" fmla="*/ 1876953 h 5973007"/>
              <a:gd name="connsiteX42398" fmla="*/ 1290290 w 6884782"/>
              <a:gd name="connsiteY42398" fmla="*/ 1876901 h 5973007"/>
              <a:gd name="connsiteX42399" fmla="*/ 1286573 w 6884782"/>
              <a:gd name="connsiteY42399" fmla="*/ 1900755 h 5973007"/>
              <a:gd name="connsiteX42400" fmla="*/ 1286160 w 6884782"/>
              <a:gd name="connsiteY42400" fmla="*/ 1889137 h 5973007"/>
              <a:gd name="connsiteX42401" fmla="*/ 1290290 w 6884782"/>
              <a:gd name="connsiteY42401" fmla="*/ 1876901 h 5973007"/>
              <a:gd name="connsiteX42402" fmla="*/ 3836647 w 6884782"/>
              <a:gd name="connsiteY42402" fmla="*/ 1875103 h 5973007"/>
              <a:gd name="connsiteX42403" fmla="*/ 3838781 w 6884782"/>
              <a:gd name="connsiteY42403" fmla="*/ 1877949 h 5973007"/>
              <a:gd name="connsiteX42404" fmla="*/ 3838354 w 6884782"/>
              <a:gd name="connsiteY42404" fmla="*/ 1880937 h 5973007"/>
              <a:gd name="connsiteX42405" fmla="*/ 3835366 w 6884782"/>
              <a:gd name="connsiteY42405" fmla="*/ 1885062 h 5973007"/>
              <a:gd name="connsiteX42406" fmla="*/ 3829817 w 6884782"/>
              <a:gd name="connsiteY42406" fmla="*/ 1886343 h 5973007"/>
              <a:gd name="connsiteX42407" fmla="*/ 3830885 w 6884782"/>
              <a:gd name="connsiteY42407" fmla="*/ 1886058 h 5973007"/>
              <a:gd name="connsiteX42408" fmla="*/ 3830244 w 6884782"/>
              <a:gd name="connsiteY42408" fmla="*/ 1883782 h 5973007"/>
              <a:gd name="connsiteX42409" fmla="*/ 3829177 w 6884782"/>
              <a:gd name="connsiteY42409" fmla="*/ 1884209 h 5973007"/>
              <a:gd name="connsiteX42410" fmla="*/ 3829817 w 6884782"/>
              <a:gd name="connsiteY42410" fmla="*/ 1881506 h 5973007"/>
              <a:gd name="connsiteX42411" fmla="*/ 3836647 w 6884782"/>
              <a:gd name="connsiteY42411" fmla="*/ 1875103 h 5973007"/>
              <a:gd name="connsiteX42412" fmla="*/ 3709876 w 6884782"/>
              <a:gd name="connsiteY42412" fmla="*/ 1875103 h 5973007"/>
              <a:gd name="connsiteX42413" fmla="*/ 3715638 w 6884782"/>
              <a:gd name="connsiteY42413" fmla="*/ 1876953 h 5973007"/>
              <a:gd name="connsiteX42414" fmla="*/ 3709876 w 6884782"/>
              <a:gd name="connsiteY42414" fmla="*/ 1903842 h 5973007"/>
              <a:gd name="connsiteX42415" fmla="*/ 3709876 w 6884782"/>
              <a:gd name="connsiteY42415" fmla="*/ 1875103 h 5973007"/>
              <a:gd name="connsiteX42416" fmla="*/ 1070870 w 6884782"/>
              <a:gd name="connsiteY42416" fmla="*/ 1874887 h 5973007"/>
              <a:gd name="connsiteX42417" fmla="*/ 1096065 w 6884782"/>
              <a:gd name="connsiteY42417" fmla="*/ 1887279 h 5973007"/>
              <a:gd name="connsiteX42418" fmla="*/ 1092038 w 6884782"/>
              <a:gd name="connsiteY42418" fmla="*/ 1894094 h 5973007"/>
              <a:gd name="connsiteX42419" fmla="*/ 1070870 w 6884782"/>
              <a:gd name="connsiteY42419" fmla="*/ 1874887 h 5973007"/>
              <a:gd name="connsiteX42420" fmla="*/ 5524157 w 6884782"/>
              <a:gd name="connsiteY42420" fmla="*/ 1874819 h 5973007"/>
              <a:gd name="connsiteX42421" fmla="*/ 5525224 w 6884782"/>
              <a:gd name="connsiteY42421" fmla="*/ 1874961 h 5973007"/>
              <a:gd name="connsiteX42422" fmla="*/ 5523943 w 6884782"/>
              <a:gd name="connsiteY42422" fmla="*/ 1877380 h 5973007"/>
              <a:gd name="connsiteX42423" fmla="*/ 5524157 w 6884782"/>
              <a:gd name="connsiteY42423" fmla="*/ 1874819 h 5973007"/>
              <a:gd name="connsiteX42424" fmla="*/ 1051035 w 6884782"/>
              <a:gd name="connsiteY42424" fmla="*/ 1874720 h 5973007"/>
              <a:gd name="connsiteX42425" fmla="*/ 1050426 w 6884782"/>
              <a:gd name="connsiteY42425" fmla="*/ 1890686 h 5973007"/>
              <a:gd name="connsiteX42426" fmla="*/ 1039377 w 6884782"/>
              <a:gd name="connsiteY42426" fmla="*/ 1879534 h 5973007"/>
              <a:gd name="connsiteX42427" fmla="*/ 1044643 w 6884782"/>
              <a:gd name="connsiteY42427" fmla="*/ 1875042 h 5973007"/>
              <a:gd name="connsiteX42428" fmla="*/ 1051035 w 6884782"/>
              <a:gd name="connsiteY42428" fmla="*/ 1874720 h 5973007"/>
              <a:gd name="connsiteX42429" fmla="*/ 3859910 w 6884782"/>
              <a:gd name="connsiteY42429" fmla="*/ 1874534 h 5973007"/>
              <a:gd name="connsiteX42430" fmla="*/ 3860336 w 6884782"/>
              <a:gd name="connsiteY42430" fmla="*/ 1883782 h 5973007"/>
              <a:gd name="connsiteX42431" fmla="*/ 3859269 w 6884782"/>
              <a:gd name="connsiteY42431" fmla="*/ 1884921 h 5973007"/>
              <a:gd name="connsiteX42432" fmla="*/ 3859910 w 6884782"/>
              <a:gd name="connsiteY42432" fmla="*/ 1874534 h 5973007"/>
              <a:gd name="connsiteX42433" fmla="*/ 1620194 w 6884782"/>
              <a:gd name="connsiteY42433" fmla="*/ 1874267 h 5973007"/>
              <a:gd name="connsiteX42434" fmla="*/ 1625873 w 6884782"/>
              <a:gd name="connsiteY42434" fmla="*/ 1877210 h 5973007"/>
              <a:gd name="connsiteX42435" fmla="*/ 1617303 w 6884782"/>
              <a:gd name="connsiteY42435" fmla="*/ 1884491 h 5973007"/>
              <a:gd name="connsiteX42436" fmla="*/ 1613998 w 6884782"/>
              <a:gd name="connsiteY42436" fmla="*/ 1876436 h 5973007"/>
              <a:gd name="connsiteX42437" fmla="*/ 1620194 w 6884782"/>
              <a:gd name="connsiteY42437" fmla="*/ 1874267 h 5973007"/>
              <a:gd name="connsiteX42438" fmla="*/ 3732071 w 6884782"/>
              <a:gd name="connsiteY42438" fmla="*/ 1874250 h 5973007"/>
              <a:gd name="connsiteX42439" fmla="*/ 3735699 w 6884782"/>
              <a:gd name="connsiteY42439" fmla="*/ 1874392 h 5973007"/>
              <a:gd name="connsiteX42440" fmla="*/ 3735272 w 6884782"/>
              <a:gd name="connsiteY42440" fmla="*/ 1881079 h 5973007"/>
              <a:gd name="connsiteX42441" fmla="*/ 3732071 w 6884782"/>
              <a:gd name="connsiteY42441" fmla="*/ 1874250 h 5973007"/>
              <a:gd name="connsiteX42442" fmla="*/ 5167532 w 6884782"/>
              <a:gd name="connsiteY42442" fmla="*/ 1874108 h 5973007"/>
              <a:gd name="connsiteX42443" fmla="*/ 5176069 w 6884782"/>
              <a:gd name="connsiteY42443" fmla="*/ 1897724 h 5973007"/>
              <a:gd name="connsiteX42444" fmla="*/ 5175642 w 6884782"/>
              <a:gd name="connsiteY42444" fmla="*/ 1900570 h 5973007"/>
              <a:gd name="connsiteX42445" fmla="*/ 5177990 w 6884782"/>
              <a:gd name="connsiteY42445" fmla="*/ 1900285 h 5973007"/>
              <a:gd name="connsiteX42446" fmla="*/ 5181191 w 6884782"/>
              <a:gd name="connsiteY42446" fmla="*/ 1902277 h 5973007"/>
              <a:gd name="connsiteX42447" fmla="*/ 5182258 w 6884782"/>
              <a:gd name="connsiteY42447" fmla="*/ 1905834 h 5973007"/>
              <a:gd name="connsiteX42448" fmla="*/ 5176069 w 6884782"/>
              <a:gd name="connsiteY42448" fmla="*/ 1909533 h 5973007"/>
              <a:gd name="connsiteX42449" fmla="*/ 5175429 w 6884782"/>
              <a:gd name="connsiteY42449" fmla="*/ 1901565 h 5973007"/>
              <a:gd name="connsiteX42450" fmla="*/ 5152593 w 6884782"/>
              <a:gd name="connsiteY42450" fmla="*/ 1925324 h 5973007"/>
              <a:gd name="connsiteX42451" fmla="*/ 5149392 w 6884782"/>
              <a:gd name="connsiteY42451" fmla="*/ 1923332 h 5973007"/>
              <a:gd name="connsiteX42452" fmla="*/ 5144910 w 6884782"/>
              <a:gd name="connsiteY42452" fmla="*/ 1912236 h 5973007"/>
              <a:gd name="connsiteX42453" fmla="*/ 5144269 w 6884782"/>
              <a:gd name="connsiteY42453" fmla="*/ 1913374 h 5973007"/>
              <a:gd name="connsiteX42454" fmla="*/ 5142562 w 6884782"/>
              <a:gd name="connsiteY42454" fmla="*/ 1914370 h 5973007"/>
              <a:gd name="connsiteX42455" fmla="*/ 5140428 w 6884782"/>
              <a:gd name="connsiteY42455" fmla="*/ 1915508 h 5973007"/>
              <a:gd name="connsiteX42456" fmla="*/ 5138934 w 6884782"/>
              <a:gd name="connsiteY42456" fmla="*/ 1914512 h 5973007"/>
              <a:gd name="connsiteX42457" fmla="*/ 5138294 w 6884782"/>
              <a:gd name="connsiteY42457" fmla="*/ 1915365 h 5973007"/>
              <a:gd name="connsiteX42458" fmla="*/ 5135306 w 6884782"/>
              <a:gd name="connsiteY42458" fmla="*/ 1917357 h 5973007"/>
              <a:gd name="connsiteX42459" fmla="*/ 5133385 w 6884782"/>
              <a:gd name="connsiteY42459" fmla="*/ 1915081 h 5973007"/>
              <a:gd name="connsiteX42460" fmla="*/ 5132318 w 6884782"/>
              <a:gd name="connsiteY42460" fmla="*/ 1913800 h 5973007"/>
              <a:gd name="connsiteX42461" fmla="*/ 5130184 w 6884782"/>
              <a:gd name="connsiteY42461" fmla="*/ 1915650 h 5973007"/>
              <a:gd name="connsiteX42462" fmla="*/ 5127196 w 6884782"/>
              <a:gd name="connsiteY42462" fmla="*/ 1918780 h 5973007"/>
              <a:gd name="connsiteX42463" fmla="*/ 5121434 w 6884782"/>
              <a:gd name="connsiteY42463" fmla="*/ 1904126 h 5973007"/>
              <a:gd name="connsiteX42464" fmla="*/ 5125915 w 6884782"/>
              <a:gd name="connsiteY42464" fmla="*/ 1903557 h 5973007"/>
              <a:gd name="connsiteX42465" fmla="*/ 5130611 w 6884782"/>
              <a:gd name="connsiteY42465" fmla="*/ 1906403 h 5973007"/>
              <a:gd name="connsiteX42466" fmla="*/ 5132318 w 6884782"/>
              <a:gd name="connsiteY42466" fmla="*/ 1911382 h 5973007"/>
              <a:gd name="connsiteX42467" fmla="*/ 5132958 w 6884782"/>
              <a:gd name="connsiteY42467" fmla="*/ 1910244 h 5973007"/>
              <a:gd name="connsiteX42468" fmla="*/ 5135093 w 6884782"/>
              <a:gd name="connsiteY42468" fmla="*/ 1909817 h 5973007"/>
              <a:gd name="connsiteX42469" fmla="*/ 5134666 w 6884782"/>
              <a:gd name="connsiteY42469" fmla="*/ 1906972 h 5973007"/>
              <a:gd name="connsiteX42470" fmla="*/ 5137226 w 6884782"/>
              <a:gd name="connsiteY42470" fmla="*/ 1901850 h 5973007"/>
              <a:gd name="connsiteX42471" fmla="*/ 5141069 w 6884782"/>
              <a:gd name="connsiteY42471" fmla="*/ 1900000 h 5973007"/>
              <a:gd name="connsiteX42472" fmla="*/ 5138294 w 6884782"/>
              <a:gd name="connsiteY42472" fmla="*/ 1900143 h 5973007"/>
              <a:gd name="connsiteX42473" fmla="*/ 5141282 w 6884782"/>
              <a:gd name="connsiteY42473" fmla="*/ 1894452 h 5973007"/>
              <a:gd name="connsiteX42474" fmla="*/ 5144910 w 6884782"/>
              <a:gd name="connsiteY42474" fmla="*/ 1895164 h 5973007"/>
              <a:gd name="connsiteX42475" fmla="*/ 5145337 w 6884782"/>
              <a:gd name="connsiteY42475" fmla="*/ 1892033 h 5973007"/>
              <a:gd name="connsiteX42476" fmla="*/ 5167532 w 6884782"/>
              <a:gd name="connsiteY42476" fmla="*/ 1874108 h 5973007"/>
              <a:gd name="connsiteX42477" fmla="*/ 3602525 w 6884782"/>
              <a:gd name="connsiteY42477" fmla="*/ 1874108 h 5973007"/>
              <a:gd name="connsiteX42478" fmla="*/ 3624721 w 6884782"/>
              <a:gd name="connsiteY42478" fmla="*/ 1886058 h 5973007"/>
              <a:gd name="connsiteX42479" fmla="*/ 3602525 w 6884782"/>
              <a:gd name="connsiteY42479" fmla="*/ 1874108 h 5973007"/>
              <a:gd name="connsiteX42480" fmla="*/ 1531393 w 6884782"/>
              <a:gd name="connsiteY42480" fmla="*/ 1873958 h 5973007"/>
              <a:gd name="connsiteX42481" fmla="*/ 1529844 w 6884782"/>
              <a:gd name="connsiteY42481" fmla="*/ 1875661 h 5973007"/>
              <a:gd name="connsiteX42482" fmla="*/ 1531909 w 6884782"/>
              <a:gd name="connsiteY42482" fmla="*/ 1875661 h 5973007"/>
              <a:gd name="connsiteX42483" fmla="*/ 1543681 w 6884782"/>
              <a:gd name="connsiteY42483" fmla="*/ 1890222 h 5973007"/>
              <a:gd name="connsiteX42484" fmla="*/ 1515079 w 6884782"/>
              <a:gd name="connsiteY42484" fmla="*/ 1892545 h 5973007"/>
              <a:gd name="connsiteX42485" fmla="*/ 1513943 w 6884782"/>
              <a:gd name="connsiteY42485" fmla="*/ 1888827 h 5973007"/>
              <a:gd name="connsiteX42486" fmla="*/ 1525301 w 6884782"/>
              <a:gd name="connsiteY42486" fmla="*/ 1875971 h 5973007"/>
              <a:gd name="connsiteX42487" fmla="*/ 1527160 w 6884782"/>
              <a:gd name="connsiteY42487" fmla="*/ 1875816 h 5973007"/>
              <a:gd name="connsiteX42488" fmla="*/ 1528399 w 6884782"/>
              <a:gd name="connsiteY42488" fmla="*/ 1874577 h 5973007"/>
              <a:gd name="connsiteX42489" fmla="*/ 1531393 w 6884782"/>
              <a:gd name="connsiteY42489" fmla="*/ 1873958 h 5973007"/>
              <a:gd name="connsiteX42490" fmla="*/ 3819360 w 6884782"/>
              <a:gd name="connsiteY42490" fmla="*/ 1873538 h 5973007"/>
              <a:gd name="connsiteX42491" fmla="*/ 3824055 w 6884782"/>
              <a:gd name="connsiteY42491" fmla="*/ 1877380 h 5973007"/>
              <a:gd name="connsiteX42492" fmla="*/ 3824268 w 6884782"/>
              <a:gd name="connsiteY42492" fmla="*/ 1882359 h 5973007"/>
              <a:gd name="connsiteX42493" fmla="*/ 3819360 w 6884782"/>
              <a:gd name="connsiteY42493" fmla="*/ 1873538 h 5973007"/>
              <a:gd name="connsiteX42494" fmla="*/ 887488 w 6884782"/>
              <a:gd name="connsiteY42494" fmla="*/ 1873183 h 5973007"/>
              <a:gd name="connsiteX42495" fmla="*/ 897400 w 6884782"/>
              <a:gd name="connsiteY42495" fmla="*/ 1882787 h 5973007"/>
              <a:gd name="connsiteX42496" fmla="*/ 886662 w 6884782"/>
              <a:gd name="connsiteY42496" fmla="*/ 1877365 h 5973007"/>
              <a:gd name="connsiteX42497" fmla="*/ 887488 w 6884782"/>
              <a:gd name="connsiteY42497" fmla="*/ 1873183 h 5973007"/>
              <a:gd name="connsiteX42498" fmla="*/ 1337478 w 6884782"/>
              <a:gd name="connsiteY42498" fmla="*/ 1872718 h 5973007"/>
              <a:gd name="connsiteX42499" fmla="*/ 1337478 w 6884782"/>
              <a:gd name="connsiteY42499" fmla="*/ 1874422 h 5973007"/>
              <a:gd name="connsiteX42500" fmla="*/ 1337788 w 6884782"/>
              <a:gd name="connsiteY42500" fmla="*/ 1873648 h 5973007"/>
              <a:gd name="connsiteX42501" fmla="*/ 1337581 w 6884782"/>
              <a:gd name="connsiteY42501" fmla="*/ 1873493 h 5973007"/>
              <a:gd name="connsiteX42502" fmla="*/ 1338098 w 6884782"/>
              <a:gd name="connsiteY42502" fmla="*/ 1872873 h 5973007"/>
              <a:gd name="connsiteX42503" fmla="*/ 1438463 w 6884782"/>
              <a:gd name="connsiteY42503" fmla="*/ 1872409 h 5973007"/>
              <a:gd name="connsiteX42504" fmla="*/ 1441147 w 6884782"/>
              <a:gd name="connsiteY42504" fmla="*/ 1872718 h 5973007"/>
              <a:gd name="connsiteX42505" fmla="*/ 1440631 w 6884782"/>
              <a:gd name="connsiteY42505" fmla="*/ 1875352 h 5973007"/>
              <a:gd name="connsiteX42506" fmla="*/ 1438566 w 6884782"/>
              <a:gd name="connsiteY42506" fmla="*/ 1877210 h 5973007"/>
              <a:gd name="connsiteX42507" fmla="*/ 1437224 w 6884782"/>
              <a:gd name="connsiteY42507" fmla="*/ 1877056 h 5973007"/>
              <a:gd name="connsiteX42508" fmla="*/ 1435571 w 6884782"/>
              <a:gd name="connsiteY42508" fmla="*/ 1875816 h 5973007"/>
              <a:gd name="connsiteX42509" fmla="*/ 1435468 w 6884782"/>
              <a:gd name="connsiteY42509" fmla="*/ 1874887 h 5973007"/>
              <a:gd name="connsiteX42510" fmla="*/ 1438463 w 6884782"/>
              <a:gd name="connsiteY42510" fmla="*/ 1872409 h 5973007"/>
              <a:gd name="connsiteX42511" fmla="*/ 5676752 w 6884782"/>
              <a:gd name="connsiteY42511" fmla="*/ 1872116 h 5973007"/>
              <a:gd name="connsiteX42512" fmla="*/ 5679740 w 6884782"/>
              <a:gd name="connsiteY42512" fmla="*/ 1872827 h 5973007"/>
              <a:gd name="connsiteX42513" fmla="*/ 5682088 w 6884782"/>
              <a:gd name="connsiteY42513" fmla="*/ 1879087 h 5973007"/>
              <a:gd name="connsiteX42514" fmla="*/ 5680380 w 6884782"/>
              <a:gd name="connsiteY42514" fmla="*/ 1881221 h 5973007"/>
              <a:gd name="connsiteX42515" fmla="*/ 5679100 w 6884782"/>
              <a:gd name="connsiteY42515" fmla="*/ 1881079 h 5973007"/>
              <a:gd name="connsiteX42516" fmla="*/ 5674618 w 6884782"/>
              <a:gd name="connsiteY42516" fmla="*/ 1880226 h 5973007"/>
              <a:gd name="connsiteX42517" fmla="*/ 5672697 w 6884782"/>
              <a:gd name="connsiteY42517" fmla="*/ 1874108 h 5973007"/>
              <a:gd name="connsiteX42518" fmla="*/ 5676752 w 6884782"/>
              <a:gd name="connsiteY42518" fmla="*/ 1872116 h 5973007"/>
              <a:gd name="connsiteX42519" fmla="*/ 3478528 w 6884782"/>
              <a:gd name="connsiteY42519" fmla="*/ 1871831 h 5973007"/>
              <a:gd name="connsiteX42520" fmla="*/ 3483437 w 6884782"/>
              <a:gd name="connsiteY42520" fmla="*/ 1873397 h 5973007"/>
              <a:gd name="connsiteX42521" fmla="*/ 3472980 w 6884782"/>
              <a:gd name="connsiteY42521" fmla="*/ 1886201 h 5973007"/>
              <a:gd name="connsiteX42522" fmla="*/ 3468071 w 6884782"/>
              <a:gd name="connsiteY42522" fmla="*/ 1880937 h 5973007"/>
              <a:gd name="connsiteX42523" fmla="*/ 3478528 w 6884782"/>
              <a:gd name="connsiteY42523" fmla="*/ 1871831 h 5973007"/>
              <a:gd name="connsiteX42524" fmla="*/ 1258590 w 6884782"/>
              <a:gd name="connsiteY42524" fmla="*/ 1871169 h 5973007"/>
              <a:gd name="connsiteX42525" fmla="*/ 1260656 w 6884782"/>
              <a:gd name="connsiteY42525" fmla="*/ 1878449 h 5973007"/>
              <a:gd name="connsiteX42526" fmla="*/ 1258590 w 6884782"/>
              <a:gd name="connsiteY42526" fmla="*/ 1875506 h 5973007"/>
              <a:gd name="connsiteX42527" fmla="*/ 1258590 w 6884782"/>
              <a:gd name="connsiteY42527" fmla="*/ 1871169 h 5973007"/>
              <a:gd name="connsiteX42528" fmla="*/ 6026547 w 6884782"/>
              <a:gd name="connsiteY42528" fmla="*/ 1870836 h 5973007"/>
              <a:gd name="connsiteX42529" fmla="*/ 6033376 w 6884782"/>
              <a:gd name="connsiteY42529" fmla="*/ 1875246 h 5973007"/>
              <a:gd name="connsiteX42530" fmla="*/ 6015236 w 6884782"/>
              <a:gd name="connsiteY42530" fmla="*/ 1879514 h 5973007"/>
              <a:gd name="connsiteX42531" fmla="*/ 6015022 w 6884782"/>
              <a:gd name="connsiteY42531" fmla="*/ 1871831 h 5973007"/>
              <a:gd name="connsiteX42532" fmla="*/ 6026547 w 6884782"/>
              <a:gd name="connsiteY42532" fmla="*/ 1870836 h 5973007"/>
              <a:gd name="connsiteX42533" fmla="*/ 3876556 w 6884782"/>
              <a:gd name="connsiteY42533" fmla="*/ 1870551 h 5973007"/>
              <a:gd name="connsiteX42534" fmla="*/ 3882532 w 6884782"/>
              <a:gd name="connsiteY42534" fmla="*/ 1872827 h 5973007"/>
              <a:gd name="connsiteX42535" fmla="*/ 3876343 w 6884782"/>
              <a:gd name="connsiteY42535" fmla="*/ 1881648 h 5973007"/>
              <a:gd name="connsiteX42536" fmla="*/ 3864391 w 6884782"/>
              <a:gd name="connsiteY42536" fmla="*/ 1879087 h 5973007"/>
              <a:gd name="connsiteX42537" fmla="*/ 3876556 w 6884782"/>
              <a:gd name="connsiteY42537" fmla="*/ 1870551 h 5973007"/>
              <a:gd name="connsiteX42538" fmla="*/ 1481624 w 6884782"/>
              <a:gd name="connsiteY42538" fmla="*/ 1870395 h 5973007"/>
              <a:gd name="connsiteX42539" fmla="*/ 1486787 w 6884782"/>
              <a:gd name="connsiteY42539" fmla="*/ 1871325 h 5973007"/>
              <a:gd name="connsiteX42540" fmla="*/ 1482243 w 6884782"/>
              <a:gd name="connsiteY42540" fmla="*/ 1873648 h 5973007"/>
              <a:gd name="connsiteX42541" fmla="*/ 1481624 w 6884782"/>
              <a:gd name="connsiteY42541" fmla="*/ 1870395 h 5973007"/>
              <a:gd name="connsiteX42542" fmla="*/ 4868531 w 6884782"/>
              <a:gd name="connsiteY42542" fmla="*/ 1870266 h 5973007"/>
              <a:gd name="connsiteX42543" fmla="*/ 4860421 w 6884782"/>
              <a:gd name="connsiteY42543" fmla="*/ 1879941 h 5973007"/>
              <a:gd name="connsiteX42544" fmla="*/ 4868531 w 6884782"/>
              <a:gd name="connsiteY42544" fmla="*/ 1870266 h 5973007"/>
              <a:gd name="connsiteX42545" fmla="*/ 4635050 w 6884782"/>
              <a:gd name="connsiteY42545" fmla="*/ 1869697 h 5973007"/>
              <a:gd name="connsiteX42546" fmla="*/ 4633770 w 6884782"/>
              <a:gd name="connsiteY42546" fmla="*/ 1869982 h 5973007"/>
              <a:gd name="connsiteX42547" fmla="*/ 4633556 w 6884782"/>
              <a:gd name="connsiteY42547" fmla="*/ 1869982 h 5973007"/>
              <a:gd name="connsiteX42548" fmla="*/ 4636117 w 6884782"/>
              <a:gd name="connsiteY42548" fmla="*/ 1872685 h 5973007"/>
              <a:gd name="connsiteX42549" fmla="*/ 4638678 w 6884782"/>
              <a:gd name="connsiteY42549" fmla="*/ 1874108 h 5973007"/>
              <a:gd name="connsiteX42550" fmla="*/ 4639745 w 6884782"/>
              <a:gd name="connsiteY42550" fmla="*/ 1872116 h 5973007"/>
              <a:gd name="connsiteX42551" fmla="*/ 4640386 w 6884782"/>
              <a:gd name="connsiteY42551" fmla="*/ 1871546 h 5973007"/>
              <a:gd name="connsiteX42552" fmla="*/ 4638678 w 6884782"/>
              <a:gd name="connsiteY42552" fmla="*/ 1871831 h 5973007"/>
              <a:gd name="connsiteX42553" fmla="*/ 4635477 w 6884782"/>
              <a:gd name="connsiteY42553" fmla="*/ 1870978 h 5973007"/>
              <a:gd name="connsiteX42554" fmla="*/ 1462005 w 6884782"/>
              <a:gd name="connsiteY42554" fmla="*/ 1869466 h 5973007"/>
              <a:gd name="connsiteX42555" fmla="*/ 1465412 w 6884782"/>
              <a:gd name="connsiteY42555" fmla="*/ 1870550 h 5973007"/>
              <a:gd name="connsiteX42556" fmla="*/ 1464999 w 6884782"/>
              <a:gd name="connsiteY42556" fmla="*/ 1873183 h 5973007"/>
              <a:gd name="connsiteX42557" fmla="*/ 1460766 w 6884782"/>
              <a:gd name="connsiteY42557" fmla="*/ 1872099 h 5973007"/>
              <a:gd name="connsiteX42558" fmla="*/ 1462005 w 6884782"/>
              <a:gd name="connsiteY42558" fmla="*/ 1869466 h 5973007"/>
              <a:gd name="connsiteX42559" fmla="*/ 3817226 w 6884782"/>
              <a:gd name="connsiteY42559" fmla="*/ 1869413 h 5973007"/>
              <a:gd name="connsiteX42560" fmla="*/ 3817866 w 6884782"/>
              <a:gd name="connsiteY42560" fmla="*/ 1869839 h 5973007"/>
              <a:gd name="connsiteX42561" fmla="*/ 3819146 w 6884782"/>
              <a:gd name="connsiteY42561" fmla="*/ 1873538 h 5973007"/>
              <a:gd name="connsiteX42562" fmla="*/ 3815731 w 6884782"/>
              <a:gd name="connsiteY42562" fmla="*/ 1870978 h 5973007"/>
              <a:gd name="connsiteX42563" fmla="*/ 3816799 w 6884782"/>
              <a:gd name="connsiteY42563" fmla="*/ 1869839 h 5973007"/>
              <a:gd name="connsiteX42564" fmla="*/ 3815518 w 6884782"/>
              <a:gd name="connsiteY42564" fmla="*/ 1869839 h 5973007"/>
              <a:gd name="connsiteX42565" fmla="*/ 3817226 w 6884782"/>
              <a:gd name="connsiteY42565" fmla="*/ 1869413 h 5973007"/>
              <a:gd name="connsiteX42566" fmla="*/ 3558774 w 6884782"/>
              <a:gd name="connsiteY42566" fmla="*/ 1869128 h 5973007"/>
              <a:gd name="connsiteX42567" fmla="*/ 3553652 w 6884782"/>
              <a:gd name="connsiteY42567" fmla="*/ 1875530 h 5973007"/>
              <a:gd name="connsiteX42568" fmla="*/ 3551944 w 6884782"/>
              <a:gd name="connsiteY42568" fmla="*/ 1872401 h 5973007"/>
              <a:gd name="connsiteX42569" fmla="*/ 3558774 w 6884782"/>
              <a:gd name="connsiteY42569" fmla="*/ 1869128 h 5973007"/>
              <a:gd name="connsiteX42570" fmla="*/ 5364946 w 6884782"/>
              <a:gd name="connsiteY42570" fmla="*/ 1868702 h 5973007"/>
              <a:gd name="connsiteX42571" fmla="*/ 5367080 w 6884782"/>
              <a:gd name="connsiteY42571" fmla="*/ 1870409 h 5973007"/>
              <a:gd name="connsiteX42572" fmla="*/ 5366867 w 6884782"/>
              <a:gd name="connsiteY42572" fmla="*/ 1871546 h 5973007"/>
              <a:gd name="connsiteX42573" fmla="*/ 5366439 w 6884782"/>
              <a:gd name="connsiteY42573" fmla="*/ 1876384 h 5973007"/>
              <a:gd name="connsiteX42574" fmla="*/ 5360464 w 6884782"/>
              <a:gd name="connsiteY42574" fmla="*/ 1878518 h 5973007"/>
              <a:gd name="connsiteX42575" fmla="*/ 5358970 w 6884782"/>
              <a:gd name="connsiteY42575" fmla="*/ 1871405 h 5973007"/>
              <a:gd name="connsiteX42576" fmla="*/ 5364946 w 6884782"/>
              <a:gd name="connsiteY42576" fmla="*/ 1868702 h 5973007"/>
              <a:gd name="connsiteX42577" fmla="*/ 5525651 w 6884782"/>
              <a:gd name="connsiteY42577" fmla="*/ 1868132 h 5973007"/>
              <a:gd name="connsiteX42578" fmla="*/ 5527785 w 6884782"/>
              <a:gd name="connsiteY42578" fmla="*/ 1868417 h 5973007"/>
              <a:gd name="connsiteX42579" fmla="*/ 5524157 w 6884782"/>
              <a:gd name="connsiteY42579" fmla="*/ 1873965 h 5973007"/>
              <a:gd name="connsiteX42580" fmla="*/ 5524370 w 6884782"/>
              <a:gd name="connsiteY42580" fmla="*/ 1869128 h 5973007"/>
              <a:gd name="connsiteX42581" fmla="*/ 5525651 w 6884782"/>
              <a:gd name="connsiteY42581" fmla="*/ 1868132 h 5973007"/>
              <a:gd name="connsiteX42582" fmla="*/ 955224 w 6884782"/>
              <a:gd name="connsiteY42582" fmla="*/ 1867297 h 5973007"/>
              <a:gd name="connsiteX42583" fmla="*/ 959767 w 6884782"/>
              <a:gd name="connsiteY42583" fmla="*/ 1868846 h 5973007"/>
              <a:gd name="connsiteX42584" fmla="*/ 956050 w 6884782"/>
              <a:gd name="connsiteY42584" fmla="*/ 1871634 h 5973007"/>
              <a:gd name="connsiteX42585" fmla="*/ 953985 w 6884782"/>
              <a:gd name="connsiteY42585" fmla="*/ 1869001 h 5973007"/>
              <a:gd name="connsiteX42586" fmla="*/ 955224 w 6884782"/>
              <a:gd name="connsiteY42586" fmla="*/ 1867297 h 5973007"/>
              <a:gd name="connsiteX42587" fmla="*/ 991905 w 6884782"/>
              <a:gd name="connsiteY42587" fmla="*/ 1867084 h 5973007"/>
              <a:gd name="connsiteX42588" fmla="*/ 1000863 w 6884782"/>
              <a:gd name="connsiteY42588" fmla="*/ 1869621 h 5973007"/>
              <a:gd name="connsiteX42589" fmla="*/ 1002515 w 6884782"/>
              <a:gd name="connsiteY42589" fmla="*/ 1871325 h 5973007"/>
              <a:gd name="connsiteX42590" fmla="*/ 1005819 w 6884782"/>
              <a:gd name="connsiteY42590" fmla="*/ 1872873 h 5973007"/>
              <a:gd name="connsiteX42591" fmla="*/ 1001069 w 6884782"/>
              <a:gd name="connsiteY42591" fmla="*/ 1883096 h 5973007"/>
              <a:gd name="connsiteX42592" fmla="*/ 986303 w 6884782"/>
              <a:gd name="connsiteY42592" fmla="*/ 1886349 h 5973007"/>
              <a:gd name="connsiteX42593" fmla="*/ 982793 w 6884782"/>
              <a:gd name="connsiteY42593" fmla="*/ 1877520 h 5973007"/>
              <a:gd name="connsiteX42594" fmla="*/ 985271 w 6884782"/>
              <a:gd name="connsiteY42594" fmla="*/ 1872099 h 5973007"/>
              <a:gd name="connsiteX42595" fmla="*/ 991905 w 6884782"/>
              <a:gd name="connsiteY42595" fmla="*/ 1867084 h 5973007"/>
              <a:gd name="connsiteX42596" fmla="*/ 3503498 w 6884782"/>
              <a:gd name="connsiteY42596" fmla="*/ 1866710 h 5973007"/>
              <a:gd name="connsiteX42597" fmla="*/ 3510755 w 6884782"/>
              <a:gd name="connsiteY42597" fmla="*/ 1869982 h 5973007"/>
              <a:gd name="connsiteX42598" fmla="*/ 3511608 w 6884782"/>
              <a:gd name="connsiteY42598" fmla="*/ 1876668 h 5973007"/>
              <a:gd name="connsiteX42599" fmla="*/ 3501151 w 6884782"/>
              <a:gd name="connsiteY42599" fmla="*/ 1882359 h 5973007"/>
              <a:gd name="connsiteX42600" fmla="*/ 3494961 w 6884782"/>
              <a:gd name="connsiteY42600" fmla="*/ 1872401 h 5973007"/>
              <a:gd name="connsiteX42601" fmla="*/ 3503498 w 6884782"/>
              <a:gd name="connsiteY42601" fmla="*/ 1866710 h 5973007"/>
              <a:gd name="connsiteX42602" fmla="*/ 926415 w 6884782"/>
              <a:gd name="connsiteY42602" fmla="*/ 1866678 h 5973007"/>
              <a:gd name="connsiteX42603" fmla="*/ 926105 w 6884782"/>
              <a:gd name="connsiteY42603" fmla="*/ 1877830 h 5973007"/>
              <a:gd name="connsiteX42604" fmla="*/ 921768 w 6884782"/>
              <a:gd name="connsiteY42604" fmla="*/ 1876901 h 5973007"/>
              <a:gd name="connsiteX42605" fmla="*/ 918051 w 6884782"/>
              <a:gd name="connsiteY42605" fmla="*/ 1870240 h 5973007"/>
              <a:gd name="connsiteX42606" fmla="*/ 922285 w 6884782"/>
              <a:gd name="connsiteY42606" fmla="*/ 1867917 h 5973007"/>
              <a:gd name="connsiteX42607" fmla="*/ 926415 w 6884782"/>
              <a:gd name="connsiteY42607" fmla="*/ 1866678 h 5973007"/>
              <a:gd name="connsiteX42608" fmla="*/ 1453744 w 6884782"/>
              <a:gd name="connsiteY42608" fmla="*/ 1866213 h 5973007"/>
              <a:gd name="connsiteX42609" fmla="*/ 1454054 w 6884782"/>
              <a:gd name="connsiteY42609" fmla="*/ 1868536 h 5973007"/>
              <a:gd name="connsiteX42610" fmla="*/ 1456120 w 6884782"/>
              <a:gd name="connsiteY42610" fmla="*/ 1869311 h 5973007"/>
              <a:gd name="connsiteX42611" fmla="*/ 1456016 w 6884782"/>
              <a:gd name="connsiteY42611" fmla="*/ 1870085 h 5973007"/>
              <a:gd name="connsiteX42612" fmla="*/ 1454467 w 6884782"/>
              <a:gd name="connsiteY42612" fmla="*/ 1871014 h 5973007"/>
              <a:gd name="connsiteX42613" fmla="*/ 1454570 w 6884782"/>
              <a:gd name="connsiteY42613" fmla="*/ 1871169 h 5973007"/>
              <a:gd name="connsiteX42614" fmla="*/ 1451679 w 6884782"/>
              <a:gd name="connsiteY42614" fmla="*/ 1874267 h 5973007"/>
              <a:gd name="connsiteX42615" fmla="*/ 1448788 w 6884782"/>
              <a:gd name="connsiteY42615" fmla="*/ 1870705 h 5973007"/>
              <a:gd name="connsiteX42616" fmla="*/ 1450440 w 6884782"/>
              <a:gd name="connsiteY42616" fmla="*/ 1867452 h 5973007"/>
              <a:gd name="connsiteX42617" fmla="*/ 1453744 w 6884782"/>
              <a:gd name="connsiteY42617" fmla="*/ 1866213 h 5973007"/>
              <a:gd name="connsiteX42618" fmla="*/ 5031797 w 6884782"/>
              <a:gd name="connsiteY42618" fmla="*/ 1865856 h 5973007"/>
              <a:gd name="connsiteX42619" fmla="*/ 5050578 w 6884782"/>
              <a:gd name="connsiteY42619" fmla="*/ 1876953 h 5973007"/>
              <a:gd name="connsiteX42620" fmla="*/ 5064877 w 6884782"/>
              <a:gd name="connsiteY42620" fmla="*/ 1876953 h 5973007"/>
              <a:gd name="connsiteX42621" fmla="*/ 5040547 w 6884782"/>
              <a:gd name="connsiteY42621" fmla="*/ 1900143 h 5973007"/>
              <a:gd name="connsiteX42622" fmla="*/ 5030517 w 6884782"/>
              <a:gd name="connsiteY42622" fmla="*/ 1902419 h 5973007"/>
              <a:gd name="connsiteX42623" fmla="*/ 5041828 w 6884782"/>
              <a:gd name="connsiteY42623" fmla="*/ 1883070 h 5973007"/>
              <a:gd name="connsiteX42624" fmla="*/ 5025608 w 6884782"/>
              <a:gd name="connsiteY42624" fmla="*/ 1866141 h 5973007"/>
              <a:gd name="connsiteX42625" fmla="*/ 5031797 w 6884782"/>
              <a:gd name="connsiteY42625" fmla="*/ 1865856 h 5973007"/>
              <a:gd name="connsiteX42626" fmla="*/ 3618958 w 6884782"/>
              <a:gd name="connsiteY42626" fmla="*/ 1865856 h 5973007"/>
              <a:gd name="connsiteX42627" fmla="*/ 3622160 w 6884782"/>
              <a:gd name="connsiteY42627" fmla="*/ 1866425 h 5973007"/>
              <a:gd name="connsiteX42628" fmla="*/ 3618105 w 6884782"/>
              <a:gd name="connsiteY42628" fmla="*/ 1868986 h 5973007"/>
              <a:gd name="connsiteX42629" fmla="*/ 3615330 w 6884782"/>
              <a:gd name="connsiteY42629" fmla="*/ 1866567 h 5973007"/>
              <a:gd name="connsiteX42630" fmla="*/ 3618958 w 6884782"/>
              <a:gd name="connsiteY42630" fmla="*/ 1865856 h 5973007"/>
              <a:gd name="connsiteX42631" fmla="*/ 5624678 w 6884782"/>
              <a:gd name="connsiteY42631" fmla="*/ 1865714 h 5973007"/>
              <a:gd name="connsiteX42632" fmla="*/ 5622330 w 6884782"/>
              <a:gd name="connsiteY42632" fmla="*/ 1874392 h 5973007"/>
              <a:gd name="connsiteX42633" fmla="*/ 5621476 w 6884782"/>
              <a:gd name="connsiteY42633" fmla="*/ 1872827 h 5973007"/>
              <a:gd name="connsiteX42634" fmla="*/ 5622330 w 6884782"/>
              <a:gd name="connsiteY42634" fmla="*/ 1870551 h 5973007"/>
              <a:gd name="connsiteX42635" fmla="*/ 5624678 w 6884782"/>
              <a:gd name="connsiteY42635" fmla="*/ 1865714 h 5973007"/>
              <a:gd name="connsiteX42636" fmla="*/ 3923508 w 6884782"/>
              <a:gd name="connsiteY42636" fmla="*/ 1865572 h 5973007"/>
              <a:gd name="connsiteX42637" fmla="*/ 3927564 w 6884782"/>
              <a:gd name="connsiteY42637" fmla="*/ 1867136 h 5973007"/>
              <a:gd name="connsiteX42638" fmla="*/ 3925643 w 6884782"/>
              <a:gd name="connsiteY42638" fmla="*/ 1872685 h 5973007"/>
              <a:gd name="connsiteX42639" fmla="*/ 3920094 w 6884782"/>
              <a:gd name="connsiteY42639" fmla="*/ 1868559 h 5973007"/>
              <a:gd name="connsiteX42640" fmla="*/ 3923508 w 6884782"/>
              <a:gd name="connsiteY42640" fmla="*/ 1865572 h 5973007"/>
              <a:gd name="connsiteX42641" fmla="*/ 3678716 w 6884782"/>
              <a:gd name="connsiteY42641" fmla="*/ 1865429 h 5973007"/>
              <a:gd name="connsiteX42642" fmla="*/ 3691095 w 6884782"/>
              <a:gd name="connsiteY42642" fmla="*/ 1873681 h 5973007"/>
              <a:gd name="connsiteX42643" fmla="*/ 3678716 w 6884782"/>
              <a:gd name="connsiteY42643" fmla="*/ 1865429 h 5973007"/>
              <a:gd name="connsiteX42644" fmla="*/ 5230918 w 6884782"/>
              <a:gd name="connsiteY42644" fmla="*/ 1864576 h 5973007"/>
              <a:gd name="connsiteX42645" fmla="*/ 5241589 w 6884782"/>
              <a:gd name="connsiteY42645" fmla="*/ 1866567 h 5973007"/>
              <a:gd name="connsiteX42646" fmla="*/ 5242656 w 6884782"/>
              <a:gd name="connsiteY42646" fmla="*/ 1869128 h 5973007"/>
              <a:gd name="connsiteX42647" fmla="*/ 5239668 w 6884782"/>
              <a:gd name="connsiteY42647" fmla="*/ 1870978 h 5973007"/>
              <a:gd name="connsiteX42648" fmla="*/ 5230918 w 6884782"/>
              <a:gd name="connsiteY42648" fmla="*/ 1864576 h 5973007"/>
              <a:gd name="connsiteX42649" fmla="*/ 1256112 w 6884782"/>
              <a:gd name="connsiteY42649" fmla="*/ 1864509 h 5973007"/>
              <a:gd name="connsiteX42650" fmla="*/ 1259726 w 6884782"/>
              <a:gd name="connsiteY42650" fmla="*/ 1864509 h 5973007"/>
              <a:gd name="connsiteX42651" fmla="*/ 1261481 w 6884782"/>
              <a:gd name="connsiteY42651" fmla="*/ 1866678 h 5973007"/>
              <a:gd name="connsiteX42652" fmla="*/ 1260656 w 6884782"/>
              <a:gd name="connsiteY42652" fmla="*/ 1866987 h 5973007"/>
              <a:gd name="connsiteX42653" fmla="*/ 1257661 w 6884782"/>
              <a:gd name="connsiteY42653" fmla="*/ 1868691 h 5973007"/>
              <a:gd name="connsiteX42654" fmla="*/ 1256112 w 6884782"/>
              <a:gd name="connsiteY42654" fmla="*/ 1864509 h 5973007"/>
              <a:gd name="connsiteX42655" fmla="*/ 3896831 w 6884782"/>
              <a:gd name="connsiteY42655" fmla="*/ 1864434 h 5973007"/>
              <a:gd name="connsiteX42656" fmla="*/ 3891496 w 6884782"/>
              <a:gd name="connsiteY42656" fmla="*/ 1872970 h 5973007"/>
              <a:gd name="connsiteX42657" fmla="*/ 3889362 w 6884782"/>
              <a:gd name="connsiteY42657" fmla="*/ 1873397 h 5973007"/>
              <a:gd name="connsiteX42658" fmla="*/ 3896831 w 6884782"/>
              <a:gd name="connsiteY42658" fmla="*/ 1864434 h 5973007"/>
              <a:gd name="connsiteX42659" fmla="*/ 1527676 w 6884782"/>
              <a:gd name="connsiteY42659" fmla="*/ 1864354 h 5973007"/>
              <a:gd name="connsiteX42660" fmla="*/ 1528915 w 6884782"/>
              <a:gd name="connsiteY42660" fmla="*/ 1867917 h 5973007"/>
              <a:gd name="connsiteX42661" fmla="*/ 1526230 w 6884782"/>
              <a:gd name="connsiteY42661" fmla="*/ 1868691 h 5973007"/>
              <a:gd name="connsiteX42662" fmla="*/ 1525611 w 6884782"/>
              <a:gd name="connsiteY42662" fmla="*/ 1867297 h 5973007"/>
              <a:gd name="connsiteX42663" fmla="*/ 1526024 w 6884782"/>
              <a:gd name="connsiteY42663" fmla="*/ 1865903 h 5973007"/>
              <a:gd name="connsiteX42664" fmla="*/ 1527676 w 6884782"/>
              <a:gd name="connsiteY42664" fmla="*/ 1864354 h 5973007"/>
              <a:gd name="connsiteX42665" fmla="*/ 3624081 w 6884782"/>
              <a:gd name="connsiteY42665" fmla="*/ 1864291 h 5973007"/>
              <a:gd name="connsiteX42666" fmla="*/ 3625361 w 6884782"/>
              <a:gd name="connsiteY42666" fmla="*/ 1864576 h 5973007"/>
              <a:gd name="connsiteX42667" fmla="*/ 3623013 w 6884782"/>
              <a:gd name="connsiteY42667" fmla="*/ 1865998 h 5973007"/>
              <a:gd name="connsiteX42668" fmla="*/ 3622587 w 6884782"/>
              <a:gd name="connsiteY42668" fmla="*/ 1865002 h 5973007"/>
              <a:gd name="connsiteX42669" fmla="*/ 3624081 w 6884782"/>
              <a:gd name="connsiteY42669" fmla="*/ 1864291 h 5973007"/>
              <a:gd name="connsiteX42670" fmla="*/ 853103 w 6884782"/>
              <a:gd name="connsiteY42670" fmla="*/ 1864199 h 5973007"/>
              <a:gd name="connsiteX42671" fmla="*/ 867559 w 6884782"/>
              <a:gd name="connsiteY42671" fmla="*/ 1868227 h 5973007"/>
              <a:gd name="connsiteX42672" fmla="*/ 865391 w 6884782"/>
              <a:gd name="connsiteY42672" fmla="*/ 1875971 h 5973007"/>
              <a:gd name="connsiteX42673" fmla="*/ 849179 w 6884782"/>
              <a:gd name="connsiteY42673" fmla="*/ 1866213 h 5973007"/>
              <a:gd name="connsiteX42674" fmla="*/ 853103 w 6884782"/>
              <a:gd name="connsiteY42674" fmla="*/ 1864199 h 5973007"/>
              <a:gd name="connsiteX42675" fmla="*/ 1019191 w 6884782"/>
              <a:gd name="connsiteY42675" fmla="*/ 1864025 h 5973007"/>
              <a:gd name="connsiteX42676" fmla="*/ 1028019 w 6884782"/>
              <a:gd name="connsiteY42676" fmla="*/ 1869466 h 5973007"/>
              <a:gd name="connsiteX42677" fmla="*/ 1027193 w 6884782"/>
              <a:gd name="connsiteY42677" fmla="*/ 1872099 h 5973007"/>
              <a:gd name="connsiteX42678" fmla="*/ 1027399 w 6884782"/>
              <a:gd name="connsiteY42678" fmla="*/ 1872409 h 5973007"/>
              <a:gd name="connsiteX42679" fmla="*/ 1022237 w 6884782"/>
              <a:gd name="connsiteY42679" fmla="*/ 1878760 h 5973007"/>
              <a:gd name="connsiteX42680" fmla="*/ 1017694 w 6884782"/>
              <a:gd name="connsiteY42680" fmla="*/ 1875042 h 5973007"/>
              <a:gd name="connsiteX42681" fmla="*/ 1018106 w 6884782"/>
              <a:gd name="connsiteY42681" fmla="*/ 1874422 h 5973007"/>
              <a:gd name="connsiteX42682" fmla="*/ 1017074 w 6884782"/>
              <a:gd name="connsiteY42682" fmla="*/ 1874113 h 5973007"/>
              <a:gd name="connsiteX42683" fmla="*/ 1012531 w 6884782"/>
              <a:gd name="connsiteY42683" fmla="*/ 1869156 h 5973007"/>
              <a:gd name="connsiteX42684" fmla="*/ 1019191 w 6884782"/>
              <a:gd name="connsiteY42684" fmla="*/ 1864025 h 5973007"/>
              <a:gd name="connsiteX42685" fmla="*/ 5472296 w 6884782"/>
              <a:gd name="connsiteY42685" fmla="*/ 1863722 h 5973007"/>
              <a:gd name="connsiteX42686" fmla="*/ 5474857 w 6884782"/>
              <a:gd name="connsiteY42686" fmla="*/ 1864718 h 5973007"/>
              <a:gd name="connsiteX42687" fmla="*/ 5470802 w 6884782"/>
              <a:gd name="connsiteY42687" fmla="*/ 1866425 h 5973007"/>
              <a:gd name="connsiteX42688" fmla="*/ 5470375 w 6884782"/>
              <a:gd name="connsiteY42688" fmla="*/ 1865287 h 5973007"/>
              <a:gd name="connsiteX42689" fmla="*/ 5472296 w 6884782"/>
              <a:gd name="connsiteY42689" fmla="*/ 1863722 h 5973007"/>
              <a:gd name="connsiteX42690" fmla="*/ 3472552 w 6884782"/>
              <a:gd name="connsiteY42690" fmla="*/ 1863580 h 5973007"/>
              <a:gd name="connsiteX42691" fmla="*/ 3470845 w 6884782"/>
              <a:gd name="connsiteY42691" fmla="*/ 1869555 h 5973007"/>
              <a:gd name="connsiteX42692" fmla="*/ 3466577 w 6884782"/>
              <a:gd name="connsiteY42692" fmla="*/ 1871831 h 5973007"/>
              <a:gd name="connsiteX42693" fmla="*/ 3472552 w 6884782"/>
              <a:gd name="connsiteY42693" fmla="*/ 1863580 h 5973007"/>
              <a:gd name="connsiteX42694" fmla="*/ 5866269 w 6884782"/>
              <a:gd name="connsiteY42694" fmla="*/ 1863437 h 5973007"/>
              <a:gd name="connsiteX42695" fmla="*/ 5869257 w 6884782"/>
              <a:gd name="connsiteY42695" fmla="*/ 1864718 h 5973007"/>
              <a:gd name="connsiteX42696" fmla="*/ 5842152 w 6884782"/>
              <a:gd name="connsiteY42696" fmla="*/ 1884209 h 5973007"/>
              <a:gd name="connsiteX42697" fmla="*/ 5866269 w 6884782"/>
              <a:gd name="connsiteY42697" fmla="*/ 1863437 h 5973007"/>
              <a:gd name="connsiteX42698" fmla="*/ 1337272 w 6884782"/>
              <a:gd name="connsiteY42698" fmla="*/ 1863425 h 5973007"/>
              <a:gd name="connsiteX42699" fmla="*/ 1337478 w 6884782"/>
              <a:gd name="connsiteY42699" fmla="*/ 1869156 h 5973007"/>
              <a:gd name="connsiteX42700" fmla="*/ 1337478 w 6884782"/>
              <a:gd name="connsiteY42700" fmla="*/ 1871789 h 5973007"/>
              <a:gd name="connsiteX42701" fmla="*/ 1337994 w 6884782"/>
              <a:gd name="connsiteY42701" fmla="*/ 1869311 h 5973007"/>
              <a:gd name="connsiteX42702" fmla="*/ 1340060 w 6884782"/>
              <a:gd name="connsiteY42702" fmla="*/ 1868846 h 5973007"/>
              <a:gd name="connsiteX42703" fmla="*/ 1344293 w 6884782"/>
              <a:gd name="connsiteY42703" fmla="*/ 1871789 h 5973007"/>
              <a:gd name="connsiteX42704" fmla="*/ 1349972 w 6884782"/>
              <a:gd name="connsiteY42704" fmla="*/ 1869001 h 5973007"/>
              <a:gd name="connsiteX42705" fmla="*/ 1350488 w 6884782"/>
              <a:gd name="connsiteY42705" fmla="*/ 1868691 h 5973007"/>
              <a:gd name="connsiteX42706" fmla="*/ 1352760 w 6884782"/>
              <a:gd name="connsiteY42706" fmla="*/ 1867452 h 5973007"/>
              <a:gd name="connsiteX42707" fmla="*/ 1352863 w 6884782"/>
              <a:gd name="connsiteY42707" fmla="*/ 1867452 h 5973007"/>
              <a:gd name="connsiteX42708" fmla="*/ 1353586 w 6884782"/>
              <a:gd name="connsiteY42708" fmla="*/ 1866987 h 5973007"/>
              <a:gd name="connsiteX42709" fmla="*/ 1358956 w 6884782"/>
              <a:gd name="connsiteY42709" fmla="*/ 1867142 h 5973007"/>
              <a:gd name="connsiteX42710" fmla="*/ 1362053 w 6884782"/>
              <a:gd name="connsiteY42710" fmla="*/ 1875197 h 5973007"/>
              <a:gd name="connsiteX42711" fmla="*/ 1361227 w 6884782"/>
              <a:gd name="connsiteY42711" fmla="*/ 1877520 h 5973007"/>
              <a:gd name="connsiteX42712" fmla="*/ 1363086 w 6884782"/>
              <a:gd name="connsiteY42712" fmla="*/ 1876901 h 5973007"/>
              <a:gd name="connsiteX42713" fmla="*/ 1364531 w 6884782"/>
              <a:gd name="connsiteY42713" fmla="*/ 1893629 h 5973007"/>
              <a:gd name="connsiteX42714" fmla="*/ 1363808 w 6884782"/>
              <a:gd name="connsiteY42714" fmla="*/ 1895333 h 5973007"/>
              <a:gd name="connsiteX42715" fmla="*/ 1361640 w 6884782"/>
              <a:gd name="connsiteY42715" fmla="*/ 1895488 h 5973007"/>
              <a:gd name="connsiteX42716" fmla="*/ 1358129 w 6884782"/>
              <a:gd name="connsiteY42716" fmla="*/ 1884800 h 5973007"/>
              <a:gd name="connsiteX42717" fmla="*/ 1359059 w 6884782"/>
              <a:gd name="connsiteY42717" fmla="*/ 1882632 h 5973007"/>
              <a:gd name="connsiteX42718" fmla="*/ 1359575 w 6884782"/>
              <a:gd name="connsiteY42718" fmla="*/ 1881547 h 5973007"/>
              <a:gd name="connsiteX42719" fmla="*/ 1357510 w 6884782"/>
              <a:gd name="connsiteY42719" fmla="*/ 1883716 h 5973007"/>
              <a:gd name="connsiteX42720" fmla="*/ 1349765 w 6884782"/>
              <a:gd name="connsiteY42720" fmla="*/ 1884491 h 5973007"/>
              <a:gd name="connsiteX42721" fmla="*/ 1349353 w 6884782"/>
              <a:gd name="connsiteY42721" fmla="*/ 1883716 h 5973007"/>
              <a:gd name="connsiteX42722" fmla="*/ 1345326 w 6884782"/>
              <a:gd name="connsiteY42722" fmla="*/ 1887279 h 5973007"/>
              <a:gd name="connsiteX42723" fmla="*/ 1338407 w 6884782"/>
              <a:gd name="connsiteY42723" fmla="*/ 1876281 h 5973007"/>
              <a:gd name="connsiteX42724" fmla="*/ 1338098 w 6884782"/>
              <a:gd name="connsiteY42724" fmla="*/ 1874422 h 5973007"/>
              <a:gd name="connsiteX42725" fmla="*/ 1337478 w 6884782"/>
              <a:gd name="connsiteY42725" fmla="*/ 1874732 h 5973007"/>
              <a:gd name="connsiteX42726" fmla="*/ 1337478 w 6884782"/>
              <a:gd name="connsiteY42726" fmla="*/ 1876591 h 5973007"/>
              <a:gd name="connsiteX42727" fmla="*/ 1332109 w 6884782"/>
              <a:gd name="connsiteY42727" fmla="*/ 1886194 h 5973007"/>
              <a:gd name="connsiteX42728" fmla="*/ 1330767 w 6884782"/>
              <a:gd name="connsiteY42728" fmla="*/ 1873183 h 5973007"/>
              <a:gd name="connsiteX42729" fmla="*/ 1337272 w 6884782"/>
              <a:gd name="connsiteY42729" fmla="*/ 1863425 h 5973007"/>
              <a:gd name="connsiteX42730" fmla="*/ 938393 w 6884782"/>
              <a:gd name="connsiteY42730" fmla="*/ 1862960 h 5973007"/>
              <a:gd name="connsiteX42731" fmla="*/ 944072 w 6884782"/>
              <a:gd name="connsiteY42731" fmla="*/ 1870550 h 5973007"/>
              <a:gd name="connsiteX42732" fmla="*/ 933333 w 6884782"/>
              <a:gd name="connsiteY42732" fmla="*/ 1864819 h 5973007"/>
              <a:gd name="connsiteX42733" fmla="*/ 938393 w 6884782"/>
              <a:gd name="connsiteY42733" fmla="*/ 1862960 h 5973007"/>
              <a:gd name="connsiteX42734" fmla="*/ 1147590 w 6884782"/>
              <a:gd name="connsiteY42734" fmla="*/ 1862340 h 5973007"/>
              <a:gd name="connsiteX42735" fmla="*/ 1152443 w 6884782"/>
              <a:gd name="connsiteY42735" fmla="*/ 1869621 h 5973007"/>
              <a:gd name="connsiteX42736" fmla="*/ 1140878 w 6884782"/>
              <a:gd name="connsiteY42736" fmla="*/ 1870859 h 5973007"/>
              <a:gd name="connsiteX42737" fmla="*/ 1141188 w 6884782"/>
              <a:gd name="connsiteY42737" fmla="*/ 1866678 h 5973007"/>
              <a:gd name="connsiteX42738" fmla="*/ 1147590 w 6884782"/>
              <a:gd name="connsiteY42738" fmla="*/ 1862340 h 5973007"/>
              <a:gd name="connsiteX42739" fmla="*/ 4724046 w 6884782"/>
              <a:gd name="connsiteY42739" fmla="*/ 1861872 h 5973007"/>
              <a:gd name="connsiteX42740" fmla="*/ 4726607 w 6884782"/>
              <a:gd name="connsiteY42740" fmla="*/ 1862015 h 5973007"/>
              <a:gd name="connsiteX42741" fmla="*/ 4733437 w 6884782"/>
              <a:gd name="connsiteY42741" fmla="*/ 1866283 h 5973007"/>
              <a:gd name="connsiteX42742" fmla="*/ 4711881 w 6884782"/>
              <a:gd name="connsiteY42742" fmla="*/ 1873112 h 5973007"/>
              <a:gd name="connsiteX42743" fmla="*/ 4709320 w 6884782"/>
              <a:gd name="connsiteY42743" fmla="*/ 1873112 h 5973007"/>
              <a:gd name="connsiteX42744" fmla="*/ 4708040 w 6884782"/>
              <a:gd name="connsiteY42744" fmla="*/ 1869839 h 5973007"/>
              <a:gd name="connsiteX42745" fmla="*/ 4724046 w 6884782"/>
              <a:gd name="connsiteY42745" fmla="*/ 1861872 h 5973007"/>
              <a:gd name="connsiteX42746" fmla="*/ 6084810 w 6884782"/>
              <a:gd name="connsiteY42746" fmla="*/ 1861446 h 5973007"/>
              <a:gd name="connsiteX42747" fmla="*/ 6083957 w 6884782"/>
              <a:gd name="connsiteY42747" fmla="*/ 1861588 h 5973007"/>
              <a:gd name="connsiteX42748" fmla="*/ 6083957 w 6884782"/>
              <a:gd name="connsiteY42748" fmla="*/ 1861730 h 5973007"/>
              <a:gd name="connsiteX42749" fmla="*/ 3630484 w 6884782"/>
              <a:gd name="connsiteY42749" fmla="*/ 1861446 h 5973007"/>
              <a:gd name="connsiteX42750" fmla="*/ 3629843 w 6884782"/>
              <a:gd name="connsiteY42750" fmla="*/ 1863010 h 5973007"/>
              <a:gd name="connsiteX42751" fmla="*/ 3627709 w 6884782"/>
              <a:gd name="connsiteY42751" fmla="*/ 1861872 h 5973007"/>
              <a:gd name="connsiteX42752" fmla="*/ 3630484 w 6884782"/>
              <a:gd name="connsiteY42752" fmla="*/ 1861446 h 5973007"/>
              <a:gd name="connsiteX42753" fmla="*/ 4707399 w 6884782"/>
              <a:gd name="connsiteY42753" fmla="*/ 1861303 h 5973007"/>
              <a:gd name="connsiteX42754" fmla="*/ 4709107 w 6884782"/>
              <a:gd name="connsiteY42754" fmla="*/ 1862868 h 5973007"/>
              <a:gd name="connsiteX42755" fmla="*/ 4706972 w 6884782"/>
              <a:gd name="connsiteY42755" fmla="*/ 1866567 h 5973007"/>
              <a:gd name="connsiteX42756" fmla="*/ 4708680 w 6884782"/>
              <a:gd name="connsiteY42756" fmla="*/ 1868132 h 5973007"/>
              <a:gd name="connsiteX42757" fmla="*/ 4708040 w 6884782"/>
              <a:gd name="connsiteY42757" fmla="*/ 1869839 h 5973007"/>
              <a:gd name="connsiteX42758" fmla="*/ 4704625 w 6884782"/>
              <a:gd name="connsiteY42758" fmla="*/ 1870266 h 5973007"/>
              <a:gd name="connsiteX42759" fmla="*/ 4706972 w 6884782"/>
              <a:gd name="connsiteY42759" fmla="*/ 1863864 h 5973007"/>
              <a:gd name="connsiteX42760" fmla="*/ 4707399 w 6884782"/>
              <a:gd name="connsiteY42760" fmla="*/ 1861303 h 5973007"/>
              <a:gd name="connsiteX42761" fmla="*/ 5694039 w 6884782"/>
              <a:gd name="connsiteY42761" fmla="*/ 1860877 h 5973007"/>
              <a:gd name="connsiteX42762" fmla="*/ 5699588 w 6884782"/>
              <a:gd name="connsiteY42762" fmla="*/ 1861161 h 5973007"/>
              <a:gd name="connsiteX42763" fmla="*/ 5698521 w 6884782"/>
              <a:gd name="connsiteY42763" fmla="*/ 1861303 h 5973007"/>
              <a:gd name="connsiteX42764" fmla="*/ 5698734 w 6884782"/>
              <a:gd name="connsiteY42764" fmla="*/ 1863580 h 5973007"/>
              <a:gd name="connsiteX42765" fmla="*/ 5700015 w 6884782"/>
              <a:gd name="connsiteY42765" fmla="*/ 1863580 h 5973007"/>
              <a:gd name="connsiteX42766" fmla="*/ 5699161 w 6884782"/>
              <a:gd name="connsiteY42766" fmla="*/ 1865998 h 5973007"/>
              <a:gd name="connsiteX42767" fmla="*/ 5691691 w 6884782"/>
              <a:gd name="connsiteY42767" fmla="*/ 1870124 h 5973007"/>
              <a:gd name="connsiteX42768" fmla="*/ 5690624 w 6884782"/>
              <a:gd name="connsiteY42768" fmla="*/ 1864149 h 5973007"/>
              <a:gd name="connsiteX42769" fmla="*/ 5694039 w 6884782"/>
              <a:gd name="connsiteY42769" fmla="*/ 1860877 h 5973007"/>
              <a:gd name="connsiteX42770" fmla="*/ 657226 w 6884782"/>
              <a:gd name="connsiteY42770" fmla="*/ 1860791 h 5973007"/>
              <a:gd name="connsiteX42771" fmla="*/ 670959 w 6884782"/>
              <a:gd name="connsiteY42771" fmla="*/ 1877210 h 5973007"/>
              <a:gd name="connsiteX42772" fmla="*/ 667035 w 6884782"/>
              <a:gd name="connsiteY42772" fmla="*/ 1878914 h 5973007"/>
              <a:gd name="connsiteX42773" fmla="*/ 656090 w 6884782"/>
              <a:gd name="connsiteY42773" fmla="*/ 1866523 h 5973007"/>
              <a:gd name="connsiteX42774" fmla="*/ 657226 w 6884782"/>
              <a:gd name="connsiteY42774" fmla="*/ 1860791 h 5973007"/>
              <a:gd name="connsiteX42775" fmla="*/ 5134879 w 6884782"/>
              <a:gd name="connsiteY42775" fmla="*/ 1860023 h 5973007"/>
              <a:gd name="connsiteX42776" fmla="*/ 5141282 w 6884782"/>
              <a:gd name="connsiteY42776" fmla="*/ 1863437 h 5973007"/>
              <a:gd name="connsiteX42777" fmla="*/ 5130398 w 6884782"/>
              <a:gd name="connsiteY42777" fmla="*/ 1865998 h 5973007"/>
              <a:gd name="connsiteX42778" fmla="*/ 5134879 w 6884782"/>
              <a:gd name="connsiteY42778" fmla="*/ 1860023 h 5973007"/>
              <a:gd name="connsiteX42779" fmla="*/ 1301751 w 6884782"/>
              <a:gd name="connsiteY42779" fmla="*/ 1859707 h 5973007"/>
              <a:gd name="connsiteX42780" fmla="*/ 1297415 w 6884782"/>
              <a:gd name="connsiteY42780" fmla="*/ 1866058 h 5973007"/>
              <a:gd name="connsiteX42781" fmla="*/ 1300203 w 6884782"/>
              <a:gd name="connsiteY42781" fmla="*/ 1860017 h 5973007"/>
              <a:gd name="connsiteX42782" fmla="*/ 1301751 w 6884782"/>
              <a:gd name="connsiteY42782" fmla="*/ 1859707 h 5973007"/>
              <a:gd name="connsiteX42783" fmla="*/ 5349580 w 6884782"/>
              <a:gd name="connsiteY42783" fmla="*/ 1859312 h 5973007"/>
              <a:gd name="connsiteX42784" fmla="*/ 5336774 w 6884782"/>
              <a:gd name="connsiteY42784" fmla="*/ 1880226 h 5973007"/>
              <a:gd name="connsiteX42785" fmla="*/ 5313512 w 6884782"/>
              <a:gd name="connsiteY42785" fmla="*/ 1882502 h 5973007"/>
              <a:gd name="connsiteX42786" fmla="*/ 5349580 w 6884782"/>
              <a:gd name="connsiteY42786" fmla="*/ 1859312 h 5973007"/>
              <a:gd name="connsiteX42787" fmla="*/ 3853720 w 6884782"/>
              <a:gd name="connsiteY42787" fmla="*/ 1859170 h 5973007"/>
              <a:gd name="connsiteX42788" fmla="*/ 3858629 w 6884782"/>
              <a:gd name="connsiteY42788" fmla="*/ 1862868 h 5973007"/>
              <a:gd name="connsiteX42789" fmla="*/ 3854147 w 6884782"/>
              <a:gd name="connsiteY42789" fmla="*/ 1876526 h 5973007"/>
              <a:gd name="connsiteX42790" fmla="*/ 3847318 w 6884782"/>
              <a:gd name="connsiteY42790" fmla="*/ 1876668 h 5973007"/>
              <a:gd name="connsiteX42791" fmla="*/ 3853720 w 6884782"/>
              <a:gd name="connsiteY42791" fmla="*/ 1859170 h 5973007"/>
              <a:gd name="connsiteX42792" fmla="*/ 1449408 w 6884782"/>
              <a:gd name="connsiteY42792" fmla="*/ 1858933 h 5973007"/>
              <a:gd name="connsiteX42793" fmla="*/ 1442180 w 6884782"/>
              <a:gd name="connsiteY42793" fmla="*/ 1871014 h 5973007"/>
              <a:gd name="connsiteX42794" fmla="*/ 1439805 w 6884782"/>
              <a:gd name="connsiteY42794" fmla="*/ 1871944 h 5973007"/>
              <a:gd name="connsiteX42795" fmla="*/ 1436501 w 6884782"/>
              <a:gd name="connsiteY42795" fmla="*/ 1869775 h 5973007"/>
              <a:gd name="connsiteX42796" fmla="*/ 1439908 w 6884782"/>
              <a:gd name="connsiteY42796" fmla="*/ 1868846 h 5973007"/>
              <a:gd name="connsiteX42797" fmla="*/ 1442386 w 6884782"/>
              <a:gd name="connsiteY42797" fmla="*/ 1869775 h 5973007"/>
              <a:gd name="connsiteX42798" fmla="*/ 1443522 w 6884782"/>
              <a:gd name="connsiteY42798" fmla="*/ 1863889 h 5973007"/>
              <a:gd name="connsiteX42799" fmla="*/ 1445484 w 6884782"/>
              <a:gd name="connsiteY42799" fmla="*/ 1859242 h 5973007"/>
              <a:gd name="connsiteX42800" fmla="*/ 1449408 w 6884782"/>
              <a:gd name="connsiteY42800" fmla="*/ 1858933 h 5973007"/>
              <a:gd name="connsiteX42801" fmla="*/ 1010672 w 6884782"/>
              <a:gd name="connsiteY42801" fmla="*/ 1858623 h 5973007"/>
              <a:gd name="connsiteX42802" fmla="*/ 1005819 w 6884782"/>
              <a:gd name="connsiteY42802" fmla="*/ 1865438 h 5973007"/>
              <a:gd name="connsiteX42803" fmla="*/ 1010672 w 6884782"/>
              <a:gd name="connsiteY42803" fmla="*/ 1858623 h 5973007"/>
              <a:gd name="connsiteX42804" fmla="*/ 863739 w 6884782"/>
              <a:gd name="connsiteY42804" fmla="*/ 1858623 h 5973007"/>
              <a:gd name="connsiteX42805" fmla="*/ 874684 w 6884782"/>
              <a:gd name="connsiteY42805" fmla="*/ 1862185 h 5973007"/>
              <a:gd name="connsiteX42806" fmla="*/ 867456 w 6884782"/>
              <a:gd name="connsiteY42806" fmla="*/ 1865748 h 5973007"/>
              <a:gd name="connsiteX42807" fmla="*/ 859712 w 6884782"/>
              <a:gd name="connsiteY42807" fmla="*/ 1860481 h 5973007"/>
              <a:gd name="connsiteX42808" fmla="*/ 863739 w 6884782"/>
              <a:gd name="connsiteY42808" fmla="*/ 1858623 h 5973007"/>
              <a:gd name="connsiteX42809" fmla="*/ 3474473 w 6884782"/>
              <a:gd name="connsiteY42809" fmla="*/ 1858600 h 5973007"/>
              <a:gd name="connsiteX42810" fmla="*/ 3475540 w 6884782"/>
              <a:gd name="connsiteY42810" fmla="*/ 1859880 h 5973007"/>
              <a:gd name="connsiteX42811" fmla="*/ 3475327 w 6884782"/>
              <a:gd name="connsiteY42811" fmla="*/ 1860734 h 5973007"/>
              <a:gd name="connsiteX42812" fmla="*/ 3472552 w 6884782"/>
              <a:gd name="connsiteY42812" fmla="*/ 1863437 h 5973007"/>
              <a:gd name="connsiteX42813" fmla="*/ 3473407 w 6884782"/>
              <a:gd name="connsiteY42813" fmla="*/ 1859170 h 5973007"/>
              <a:gd name="connsiteX42814" fmla="*/ 3474900 w 6884782"/>
              <a:gd name="connsiteY42814" fmla="*/ 1859739 h 5973007"/>
              <a:gd name="connsiteX42815" fmla="*/ 3474473 w 6884782"/>
              <a:gd name="connsiteY42815" fmla="*/ 1858600 h 5973007"/>
              <a:gd name="connsiteX42816" fmla="*/ 4705905 w 6884782"/>
              <a:gd name="connsiteY42816" fmla="*/ 1858031 h 5973007"/>
              <a:gd name="connsiteX42817" fmla="*/ 4698863 w 6884782"/>
              <a:gd name="connsiteY42817" fmla="*/ 1862726 h 5973007"/>
              <a:gd name="connsiteX42818" fmla="*/ 4698222 w 6884782"/>
              <a:gd name="connsiteY42818" fmla="*/ 1862868 h 5973007"/>
              <a:gd name="connsiteX42819" fmla="*/ 4700356 w 6884782"/>
              <a:gd name="connsiteY42819" fmla="*/ 1865287 h 5973007"/>
              <a:gd name="connsiteX42820" fmla="*/ 4703771 w 6884782"/>
              <a:gd name="connsiteY42820" fmla="*/ 1876526 h 5973007"/>
              <a:gd name="connsiteX42821" fmla="*/ 4702491 w 6884782"/>
              <a:gd name="connsiteY42821" fmla="*/ 1879514 h 5973007"/>
              <a:gd name="connsiteX42822" fmla="*/ 4703558 w 6884782"/>
              <a:gd name="connsiteY42822" fmla="*/ 1881933 h 5973007"/>
              <a:gd name="connsiteX42823" fmla="*/ 4705265 w 6884782"/>
              <a:gd name="connsiteY42823" fmla="*/ 1899859 h 5973007"/>
              <a:gd name="connsiteX42824" fmla="*/ 4695021 w 6884782"/>
              <a:gd name="connsiteY42824" fmla="*/ 1885774 h 5973007"/>
              <a:gd name="connsiteX42825" fmla="*/ 4695021 w 6884782"/>
              <a:gd name="connsiteY42825" fmla="*/ 1881648 h 5973007"/>
              <a:gd name="connsiteX42826" fmla="*/ 4691393 w 6884782"/>
              <a:gd name="connsiteY42826" fmla="*/ 1879230 h 5973007"/>
              <a:gd name="connsiteX42827" fmla="*/ 4691180 w 6884782"/>
              <a:gd name="connsiteY42827" fmla="*/ 1859170 h 5973007"/>
              <a:gd name="connsiteX42828" fmla="*/ 4695661 w 6884782"/>
              <a:gd name="connsiteY42828" fmla="*/ 1859880 h 5973007"/>
              <a:gd name="connsiteX42829" fmla="*/ 4696088 w 6884782"/>
              <a:gd name="connsiteY42829" fmla="*/ 1860307 h 5973007"/>
              <a:gd name="connsiteX42830" fmla="*/ 4697155 w 6884782"/>
              <a:gd name="connsiteY42830" fmla="*/ 1859880 h 5973007"/>
              <a:gd name="connsiteX42831" fmla="*/ 4705905 w 6884782"/>
              <a:gd name="connsiteY42831" fmla="*/ 1858031 h 5973007"/>
              <a:gd name="connsiteX42832" fmla="*/ 1575496 w 6884782"/>
              <a:gd name="connsiteY42832" fmla="*/ 1856667 h 5973007"/>
              <a:gd name="connsiteX42833" fmla="*/ 1578788 w 6884782"/>
              <a:gd name="connsiteY42833" fmla="*/ 1861101 h 5973007"/>
              <a:gd name="connsiteX42834" fmla="*/ 1575174 w 6884782"/>
              <a:gd name="connsiteY42834" fmla="*/ 1864819 h 5973007"/>
              <a:gd name="connsiteX42835" fmla="*/ 1569495 w 6884782"/>
              <a:gd name="connsiteY42835" fmla="*/ 1858158 h 5973007"/>
              <a:gd name="connsiteX42836" fmla="*/ 1575496 w 6884782"/>
              <a:gd name="connsiteY42836" fmla="*/ 1856667 h 5973007"/>
              <a:gd name="connsiteX42837" fmla="*/ 3490053 w 6884782"/>
              <a:gd name="connsiteY42837" fmla="*/ 1856182 h 5973007"/>
              <a:gd name="connsiteX42838" fmla="*/ 3495815 w 6884782"/>
              <a:gd name="connsiteY42838" fmla="*/ 1860307 h 5973007"/>
              <a:gd name="connsiteX42839" fmla="*/ 3484504 w 6884782"/>
              <a:gd name="connsiteY42839" fmla="*/ 1865572 h 5973007"/>
              <a:gd name="connsiteX42840" fmla="*/ 3483223 w 6884782"/>
              <a:gd name="connsiteY42840" fmla="*/ 1860734 h 5973007"/>
              <a:gd name="connsiteX42841" fmla="*/ 3490053 w 6884782"/>
              <a:gd name="connsiteY42841" fmla="*/ 1856182 h 5973007"/>
              <a:gd name="connsiteX42842" fmla="*/ 5835536 w 6884782"/>
              <a:gd name="connsiteY42842" fmla="*/ 1856040 h 5973007"/>
              <a:gd name="connsiteX42843" fmla="*/ 5839165 w 6884782"/>
              <a:gd name="connsiteY42843" fmla="*/ 1859880 h 5973007"/>
              <a:gd name="connsiteX42844" fmla="*/ 5839805 w 6884782"/>
              <a:gd name="connsiteY42844" fmla="*/ 1863154 h 5973007"/>
              <a:gd name="connsiteX42845" fmla="*/ 5830627 w 6884782"/>
              <a:gd name="connsiteY42845" fmla="*/ 1858600 h 5973007"/>
              <a:gd name="connsiteX42846" fmla="*/ 5835536 w 6884782"/>
              <a:gd name="connsiteY42846" fmla="*/ 1856040 h 5973007"/>
              <a:gd name="connsiteX42847" fmla="*/ 5637483 w 6884782"/>
              <a:gd name="connsiteY42847" fmla="*/ 1855897 h 5973007"/>
              <a:gd name="connsiteX42848" fmla="*/ 5639617 w 6884782"/>
              <a:gd name="connsiteY42848" fmla="*/ 1856182 h 5973007"/>
              <a:gd name="connsiteX42849" fmla="*/ 5631293 w 6884782"/>
              <a:gd name="connsiteY42849" fmla="*/ 1862726 h 5973007"/>
              <a:gd name="connsiteX42850" fmla="*/ 5637483 w 6884782"/>
              <a:gd name="connsiteY42850" fmla="*/ 1855897 h 5973007"/>
              <a:gd name="connsiteX42851" fmla="*/ 1509090 w 6884782"/>
              <a:gd name="connsiteY42851" fmla="*/ 1855680 h 5973007"/>
              <a:gd name="connsiteX42852" fmla="*/ 1514563 w 6884782"/>
              <a:gd name="connsiteY42852" fmla="*/ 1857848 h 5973007"/>
              <a:gd name="connsiteX42853" fmla="*/ 1514769 w 6884782"/>
              <a:gd name="connsiteY42853" fmla="*/ 1860791 h 5973007"/>
              <a:gd name="connsiteX42854" fmla="*/ 1517144 w 6884782"/>
              <a:gd name="connsiteY42854" fmla="*/ 1860636 h 5973007"/>
              <a:gd name="connsiteX42855" fmla="*/ 1523236 w 6884782"/>
              <a:gd name="connsiteY42855" fmla="*/ 1865438 h 5973007"/>
              <a:gd name="connsiteX42856" fmla="*/ 1513427 w 6884782"/>
              <a:gd name="connsiteY42856" fmla="*/ 1873338 h 5973007"/>
              <a:gd name="connsiteX42857" fmla="*/ 1509916 w 6884782"/>
              <a:gd name="connsiteY42857" fmla="*/ 1863580 h 5973007"/>
              <a:gd name="connsiteX42858" fmla="*/ 1510742 w 6884782"/>
              <a:gd name="connsiteY42858" fmla="*/ 1862805 h 5973007"/>
              <a:gd name="connsiteX42859" fmla="*/ 1510123 w 6884782"/>
              <a:gd name="connsiteY42859" fmla="*/ 1862031 h 5973007"/>
              <a:gd name="connsiteX42860" fmla="*/ 1509090 w 6884782"/>
              <a:gd name="connsiteY42860" fmla="*/ 1855680 h 5973007"/>
              <a:gd name="connsiteX42861" fmla="*/ 1192506 w 6884782"/>
              <a:gd name="connsiteY42861" fmla="*/ 1855525 h 5973007"/>
              <a:gd name="connsiteX42862" fmla="*/ 1198908 w 6884782"/>
              <a:gd name="connsiteY42862" fmla="*/ 1856609 h 5973007"/>
              <a:gd name="connsiteX42863" fmla="*/ 1201076 w 6884782"/>
              <a:gd name="connsiteY42863" fmla="*/ 1858933 h 5973007"/>
              <a:gd name="connsiteX42864" fmla="*/ 1202522 w 6884782"/>
              <a:gd name="connsiteY42864" fmla="*/ 1858158 h 5973007"/>
              <a:gd name="connsiteX42865" fmla="*/ 1218217 w 6884782"/>
              <a:gd name="connsiteY42865" fmla="*/ 1866368 h 5973007"/>
              <a:gd name="connsiteX42866" fmla="*/ 1223999 w 6884782"/>
              <a:gd name="connsiteY42866" fmla="*/ 1874887 h 5973007"/>
              <a:gd name="connsiteX42867" fmla="*/ 1222864 w 6884782"/>
              <a:gd name="connsiteY42867" fmla="*/ 1877520 h 5973007"/>
              <a:gd name="connsiteX42868" fmla="*/ 1221831 w 6884782"/>
              <a:gd name="connsiteY42868" fmla="*/ 1878295 h 5973007"/>
              <a:gd name="connsiteX42869" fmla="*/ 1221315 w 6884782"/>
              <a:gd name="connsiteY42869" fmla="*/ 1879534 h 5973007"/>
              <a:gd name="connsiteX42870" fmla="*/ 1223380 w 6884782"/>
              <a:gd name="connsiteY42870" fmla="*/ 1888208 h 5973007"/>
              <a:gd name="connsiteX42871" fmla="*/ 1223896 w 6884782"/>
              <a:gd name="connsiteY42871" fmla="*/ 1884955 h 5973007"/>
              <a:gd name="connsiteX42872" fmla="*/ 1223896 w 6884782"/>
              <a:gd name="connsiteY42872" fmla="*/ 1885730 h 5973007"/>
              <a:gd name="connsiteX42873" fmla="*/ 1225652 w 6884782"/>
              <a:gd name="connsiteY42873" fmla="*/ 1885730 h 5973007"/>
              <a:gd name="connsiteX42874" fmla="*/ 1225652 w 6884782"/>
              <a:gd name="connsiteY42874" fmla="*/ 1884800 h 5973007"/>
              <a:gd name="connsiteX42875" fmla="*/ 1227407 w 6884782"/>
              <a:gd name="connsiteY42875" fmla="*/ 1885575 h 5973007"/>
              <a:gd name="connsiteX42876" fmla="*/ 1229782 w 6884782"/>
              <a:gd name="connsiteY42876" fmla="*/ 1891461 h 5973007"/>
              <a:gd name="connsiteX42877" fmla="*/ 1227200 w 6884782"/>
              <a:gd name="connsiteY42877" fmla="*/ 1892545 h 5973007"/>
              <a:gd name="connsiteX42878" fmla="*/ 1226065 w 6884782"/>
              <a:gd name="connsiteY42878" fmla="*/ 1891925 h 5973007"/>
              <a:gd name="connsiteX42879" fmla="*/ 1224619 w 6884782"/>
              <a:gd name="connsiteY42879" fmla="*/ 1893165 h 5973007"/>
              <a:gd name="connsiteX42880" fmla="*/ 1227097 w 6884782"/>
              <a:gd name="connsiteY42880" fmla="*/ 1903078 h 5973007"/>
              <a:gd name="connsiteX42881" fmla="*/ 1203142 w 6884782"/>
              <a:gd name="connsiteY42881" fmla="*/ 1928171 h 5973007"/>
              <a:gd name="connsiteX42882" fmla="*/ 1202006 w 6884782"/>
              <a:gd name="connsiteY42882" fmla="*/ 1927861 h 5973007"/>
              <a:gd name="connsiteX42883" fmla="*/ 1200870 w 6884782"/>
              <a:gd name="connsiteY42883" fmla="*/ 1928946 h 5973007"/>
              <a:gd name="connsiteX42884" fmla="*/ 1194778 w 6884782"/>
              <a:gd name="connsiteY42884" fmla="*/ 1930340 h 5973007"/>
              <a:gd name="connsiteX42885" fmla="*/ 1192816 w 6884782"/>
              <a:gd name="connsiteY42885" fmla="*/ 1926468 h 5973007"/>
              <a:gd name="connsiteX42886" fmla="*/ 1192816 w 6884782"/>
              <a:gd name="connsiteY42886" fmla="*/ 1925538 h 5973007"/>
              <a:gd name="connsiteX42887" fmla="*/ 1191061 w 6884782"/>
              <a:gd name="connsiteY42887" fmla="*/ 1925383 h 5973007"/>
              <a:gd name="connsiteX42888" fmla="*/ 1181251 w 6884782"/>
              <a:gd name="connsiteY42888" fmla="*/ 1925693 h 5973007"/>
              <a:gd name="connsiteX42889" fmla="*/ 1171649 w 6884782"/>
              <a:gd name="connsiteY42889" fmla="*/ 1917793 h 5973007"/>
              <a:gd name="connsiteX42890" fmla="*/ 1165247 w 6884782"/>
              <a:gd name="connsiteY42890" fmla="*/ 1910358 h 5973007"/>
              <a:gd name="connsiteX42891" fmla="*/ 1159155 w 6884782"/>
              <a:gd name="connsiteY42891" fmla="*/ 1910358 h 5973007"/>
              <a:gd name="connsiteX42892" fmla="*/ 1152753 w 6884782"/>
              <a:gd name="connsiteY42892" fmla="*/ 1909584 h 5973007"/>
              <a:gd name="connsiteX42893" fmla="*/ 1158535 w 6884782"/>
              <a:gd name="connsiteY42893" fmla="*/ 1908035 h 5973007"/>
              <a:gd name="connsiteX42894" fmla="*/ 1162459 w 6884782"/>
              <a:gd name="connsiteY42894" fmla="*/ 1908655 h 5973007"/>
              <a:gd name="connsiteX42895" fmla="*/ 1164008 w 6884782"/>
              <a:gd name="connsiteY42895" fmla="*/ 1908964 h 5973007"/>
              <a:gd name="connsiteX42896" fmla="*/ 1163078 w 6884782"/>
              <a:gd name="connsiteY42896" fmla="*/ 1907880 h 5973007"/>
              <a:gd name="connsiteX42897" fmla="*/ 1156057 w 6884782"/>
              <a:gd name="connsiteY42897" fmla="*/ 1884491 h 5973007"/>
              <a:gd name="connsiteX42898" fmla="*/ 1177018 w 6884782"/>
              <a:gd name="connsiteY42898" fmla="*/ 1858623 h 5973007"/>
              <a:gd name="connsiteX42899" fmla="*/ 1188686 w 6884782"/>
              <a:gd name="connsiteY42899" fmla="*/ 1860946 h 5973007"/>
              <a:gd name="connsiteX42900" fmla="*/ 1190854 w 6884782"/>
              <a:gd name="connsiteY42900" fmla="*/ 1860327 h 5973007"/>
              <a:gd name="connsiteX42901" fmla="*/ 5357049 w 6884782"/>
              <a:gd name="connsiteY42901" fmla="*/ 1855470 h 5973007"/>
              <a:gd name="connsiteX42902" fmla="*/ 5358970 w 6884782"/>
              <a:gd name="connsiteY42902" fmla="*/ 1857035 h 5973007"/>
              <a:gd name="connsiteX42903" fmla="*/ 5358970 w 6884782"/>
              <a:gd name="connsiteY42903" fmla="*/ 1858173 h 5973007"/>
              <a:gd name="connsiteX42904" fmla="*/ 5359183 w 6884782"/>
              <a:gd name="connsiteY42904" fmla="*/ 1858458 h 5973007"/>
              <a:gd name="connsiteX42905" fmla="*/ 5357689 w 6884782"/>
              <a:gd name="connsiteY42905" fmla="*/ 1860307 h 5973007"/>
              <a:gd name="connsiteX42906" fmla="*/ 5355555 w 6884782"/>
              <a:gd name="connsiteY42906" fmla="*/ 1861019 h 5973007"/>
              <a:gd name="connsiteX42907" fmla="*/ 5354701 w 6884782"/>
              <a:gd name="connsiteY42907" fmla="*/ 1856325 h 5973007"/>
              <a:gd name="connsiteX42908" fmla="*/ 5356836 w 6884782"/>
              <a:gd name="connsiteY42908" fmla="*/ 1856608 h 5973007"/>
              <a:gd name="connsiteX42909" fmla="*/ 5357049 w 6884782"/>
              <a:gd name="connsiteY42909" fmla="*/ 1855470 h 5973007"/>
              <a:gd name="connsiteX42910" fmla="*/ 5019205 w 6884782"/>
              <a:gd name="connsiteY42910" fmla="*/ 1855470 h 5973007"/>
              <a:gd name="connsiteX42911" fmla="*/ 5020700 w 6884782"/>
              <a:gd name="connsiteY42911" fmla="*/ 1858885 h 5973007"/>
              <a:gd name="connsiteX42912" fmla="*/ 5020486 w 6884782"/>
              <a:gd name="connsiteY42912" fmla="*/ 1864861 h 5973007"/>
              <a:gd name="connsiteX42913" fmla="*/ 5004906 w 6884782"/>
              <a:gd name="connsiteY42913" fmla="*/ 1874534 h 5973007"/>
              <a:gd name="connsiteX42914" fmla="*/ 4996156 w 6884782"/>
              <a:gd name="connsiteY42914" fmla="*/ 1868132 h 5973007"/>
              <a:gd name="connsiteX42915" fmla="*/ 4994876 w 6884782"/>
              <a:gd name="connsiteY42915" fmla="*/ 1864007 h 5973007"/>
              <a:gd name="connsiteX42916" fmla="*/ 5019205 w 6884782"/>
              <a:gd name="connsiteY42916" fmla="*/ 1855470 h 5973007"/>
              <a:gd name="connsiteX42917" fmla="*/ 3738687 w 6884782"/>
              <a:gd name="connsiteY42917" fmla="*/ 1854759 h 5973007"/>
              <a:gd name="connsiteX42918" fmla="*/ 3740394 w 6884782"/>
              <a:gd name="connsiteY42918" fmla="*/ 1857747 h 5973007"/>
              <a:gd name="connsiteX42919" fmla="*/ 3738474 w 6884782"/>
              <a:gd name="connsiteY42919" fmla="*/ 1858885 h 5973007"/>
              <a:gd name="connsiteX42920" fmla="*/ 3738260 w 6884782"/>
              <a:gd name="connsiteY42920" fmla="*/ 1856325 h 5973007"/>
              <a:gd name="connsiteX42921" fmla="*/ 3738687 w 6884782"/>
              <a:gd name="connsiteY42921" fmla="*/ 1854759 h 5973007"/>
              <a:gd name="connsiteX42922" fmla="*/ 1465671 w 6884782"/>
              <a:gd name="connsiteY42922" fmla="*/ 1854480 h 5973007"/>
              <a:gd name="connsiteX42923" fmla="*/ 1471711 w 6884782"/>
              <a:gd name="connsiteY42923" fmla="*/ 1855525 h 5973007"/>
              <a:gd name="connsiteX42924" fmla="*/ 1471918 w 6884782"/>
              <a:gd name="connsiteY42924" fmla="*/ 1860946 h 5973007"/>
              <a:gd name="connsiteX42925" fmla="*/ 1462108 w 6884782"/>
              <a:gd name="connsiteY42925" fmla="*/ 1861566 h 5973007"/>
              <a:gd name="connsiteX42926" fmla="*/ 1465671 w 6884782"/>
              <a:gd name="connsiteY42926" fmla="*/ 1854480 h 5973007"/>
              <a:gd name="connsiteX42927" fmla="*/ 5945661 w 6884782"/>
              <a:gd name="connsiteY42927" fmla="*/ 1854332 h 5973007"/>
              <a:gd name="connsiteX42928" fmla="*/ 5957399 w 6884782"/>
              <a:gd name="connsiteY42928" fmla="*/ 1873538 h 5973007"/>
              <a:gd name="connsiteX42929" fmla="*/ 5978100 w 6884782"/>
              <a:gd name="connsiteY42929" fmla="*/ 1864576 h 5973007"/>
              <a:gd name="connsiteX42930" fmla="*/ 5958893 w 6884782"/>
              <a:gd name="connsiteY42930" fmla="*/ 1884636 h 5973007"/>
              <a:gd name="connsiteX42931" fmla="*/ 5956972 w 6884782"/>
              <a:gd name="connsiteY42931" fmla="*/ 1894879 h 5973007"/>
              <a:gd name="connsiteX42932" fmla="*/ 5955478 w 6884782"/>
              <a:gd name="connsiteY42932" fmla="*/ 1896302 h 5973007"/>
              <a:gd name="connsiteX42933" fmla="*/ 5955691 w 6884782"/>
              <a:gd name="connsiteY42933" fmla="*/ 1902277 h 5973007"/>
              <a:gd name="connsiteX42934" fmla="*/ 5947582 w 6884782"/>
              <a:gd name="connsiteY42934" fmla="*/ 1898151 h 5973007"/>
              <a:gd name="connsiteX42935" fmla="*/ 5948649 w 6884782"/>
              <a:gd name="connsiteY42935" fmla="*/ 1895875 h 5973007"/>
              <a:gd name="connsiteX42936" fmla="*/ 5951210 w 6884782"/>
              <a:gd name="connsiteY42936" fmla="*/ 1894594 h 5973007"/>
              <a:gd name="connsiteX42937" fmla="*/ 5949929 w 6884782"/>
              <a:gd name="connsiteY42937" fmla="*/ 1891891 h 5973007"/>
              <a:gd name="connsiteX42938" fmla="*/ 5948862 w 6884782"/>
              <a:gd name="connsiteY42938" fmla="*/ 1893172 h 5973007"/>
              <a:gd name="connsiteX42939" fmla="*/ 5939045 w 6884782"/>
              <a:gd name="connsiteY42939" fmla="*/ 1899574 h 5973007"/>
              <a:gd name="connsiteX42940" fmla="*/ 5933069 w 6884782"/>
              <a:gd name="connsiteY42940" fmla="*/ 1902277 h 5973007"/>
              <a:gd name="connsiteX42941" fmla="*/ 5935630 w 6884782"/>
              <a:gd name="connsiteY42941" fmla="*/ 1903700 h 5973007"/>
              <a:gd name="connsiteX42942" fmla="*/ 5941606 w 6884782"/>
              <a:gd name="connsiteY42942" fmla="*/ 1911524 h 5973007"/>
              <a:gd name="connsiteX42943" fmla="*/ 5931788 w 6884782"/>
              <a:gd name="connsiteY42943" fmla="*/ 1916361 h 5973007"/>
              <a:gd name="connsiteX42944" fmla="*/ 5926026 w 6884782"/>
              <a:gd name="connsiteY42944" fmla="*/ 1913090 h 5973007"/>
              <a:gd name="connsiteX42945" fmla="*/ 5924532 w 6884782"/>
              <a:gd name="connsiteY42945" fmla="*/ 1908536 h 5973007"/>
              <a:gd name="connsiteX42946" fmla="*/ 5923465 w 6884782"/>
              <a:gd name="connsiteY42946" fmla="*/ 1906403 h 5973007"/>
              <a:gd name="connsiteX42947" fmla="*/ 5905111 w 6884782"/>
              <a:gd name="connsiteY42947" fmla="*/ 1913658 h 5973007"/>
              <a:gd name="connsiteX42948" fmla="*/ 5902550 w 6884782"/>
              <a:gd name="connsiteY42948" fmla="*/ 1900854 h 5973007"/>
              <a:gd name="connsiteX42949" fmla="*/ 5932002 w 6884782"/>
              <a:gd name="connsiteY42949" fmla="*/ 1890753 h 5973007"/>
              <a:gd name="connsiteX42950" fmla="*/ 5947155 w 6884782"/>
              <a:gd name="connsiteY42950" fmla="*/ 1885631 h 5973007"/>
              <a:gd name="connsiteX42951" fmla="*/ 5945234 w 6884782"/>
              <a:gd name="connsiteY42951" fmla="*/ 1881648 h 5973007"/>
              <a:gd name="connsiteX42952" fmla="*/ 5943527 w 6884782"/>
              <a:gd name="connsiteY42952" fmla="*/ 1865002 h 5973007"/>
              <a:gd name="connsiteX42953" fmla="*/ 5945661 w 6884782"/>
              <a:gd name="connsiteY42953" fmla="*/ 1854332 h 5973007"/>
              <a:gd name="connsiteX42954" fmla="*/ 3749145 w 6884782"/>
              <a:gd name="connsiteY42954" fmla="*/ 1853621 h 5973007"/>
              <a:gd name="connsiteX42955" fmla="*/ 3750639 w 6884782"/>
              <a:gd name="connsiteY42955" fmla="*/ 1854190 h 5973007"/>
              <a:gd name="connsiteX42956" fmla="*/ 3750852 w 6884782"/>
              <a:gd name="connsiteY42956" fmla="*/ 1853621 h 5973007"/>
              <a:gd name="connsiteX42957" fmla="*/ 3752772 w 6884782"/>
              <a:gd name="connsiteY42957" fmla="*/ 1855613 h 5973007"/>
              <a:gd name="connsiteX42958" fmla="*/ 3753413 w 6884782"/>
              <a:gd name="connsiteY42958" fmla="*/ 1859312 h 5973007"/>
              <a:gd name="connsiteX42959" fmla="*/ 3750852 w 6884782"/>
              <a:gd name="connsiteY42959" fmla="*/ 1859454 h 5973007"/>
              <a:gd name="connsiteX42960" fmla="*/ 3749145 w 6884782"/>
              <a:gd name="connsiteY42960" fmla="*/ 1853621 h 5973007"/>
              <a:gd name="connsiteX42961" fmla="*/ 6287346 w 6884782"/>
              <a:gd name="connsiteY42961" fmla="*/ 1853194 h 5973007"/>
              <a:gd name="connsiteX42962" fmla="*/ 6283718 w 6884782"/>
              <a:gd name="connsiteY42962" fmla="*/ 1863580 h 5973007"/>
              <a:gd name="connsiteX42963" fmla="*/ 6277529 w 6884782"/>
              <a:gd name="connsiteY42963" fmla="*/ 1860592 h 5973007"/>
              <a:gd name="connsiteX42964" fmla="*/ 6287346 w 6884782"/>
              <a:gd name="connsiteY42964" fmla="*/ 1853194 h 5973007"/>
              <a:gd name="connsiteX42965" fmla="*/ 5282992 w 6884782"/>
              <a:gd name="connsiteY42965" fmla="*/ 1853194 h 5973007"/>
              <a:gd name="connsiteX42966" fmla="*/ 5287261 w 6884782"/>
              <a:gd name="connsiteY42966" fmla="*/ 1855897 h 5973007"/>
              <a:gd name="connsiteX42967" fmla="*/ 5287261 w 6884782"/>
              <a:gd name="connsiteY42967" fmla="*/ 1854759 h 5973007"/>
              <a:gd name="connsiteX42968" fmla="*/ 5287901 w 6884782"/>
              <a:gd name="connsiteY42968" fmla="*/ 1862015 h 5973007"/>
              <a:gd name="connsiteX42969" fmla="*/ 5279791 w 6884782"/>
              <a:gd name="connsiteY42969" fmla="*/ 1866852 h 5973007"/>
              <a:gd name="connsiteX42970" fmla="*/ 5279578 w 6884782"/>
              <a:gd name="connsiteY42970" fmla="*/ 1866710 h 5973007"/>
              <a:gd name="connsiteX42971" fmla="*/ 5277657 w 6884782"/>
              <a:gd name="connsiteY42971" fmla="*/ 1872685 h 5973007"/>
              <a:gd name="connsiteX42972" fmla="*/ 5276163 w 6884782"/>
              <a:gd name="connsiteY42972" fmla="*/ 1869413 h 5973007"/>
              <a:gd name="connsiteX42973" fmla="*/ 5276803 w 6884782"/>
              <a:gd name="connsiteY42973" fmla="*/ 1864861 h 5973007"/>
              <a:gd name="connsiteX42974" fmla="*/ 5274029 w 6884782"/>
              <a:gd name="connsiteY42974" fmla="*/ 1862157 h 5973007"/>
              <a:gd name="connsiteX42975" fmla="*/ 5276803 w 6884782"/>
              <a:gd name="connsiteY42975" fmla="*/ 1854190 h 5973007"/>
              <a:gd name="connsiteX42976" fmla="*/ 5280431 w 6884782"/>
              <a:gd name="connsiteY42976" fmla="*/ 1853621 h 5973007"/>
              <a:gd name="connsiteX42977" fmla="*/ 5282992 w 6884782"/>
              <a:gd name="connsiteY42977" fmla="*/ 1853194 h 5973007"/>
              <a:gd name="connsiteX42978" fmla="*/ 5102013 w 6884782"/>
              <a:gd name="connsiteY42978" fmla="*/ 1852767 h 5973007"/>
              <a:gd name="connsiteX42979" fmla="*/ 5104360 w 6884782"/>
              <a:gd name="connsiteY42979" fmla="*/ 1854617 h 5973007"/>
              <a:gd name="connsiteX42980" fmla="*/ 5093476 w 6884782"/>
              <a:gd name="connsiteY42980" fmla="*/ 1855755 h 5973007"/>
              <a:gd name="connsiteX42981" fmla="*/ 5102013 w 6884782"/>
              <a:gd name="connsiteY42981" fmla="*/ 1852767 h 5973007"/>
              <a:gd name="connsiteX42982" fmla="*/ 3850519 w 6884782"/>
              <a:gd name="connsiteY42982" fmla="*/ 1852767 h 5973007"/>
              <a:gd name="connsiteX42983" fmla="*/ 3854147 w 6884782"/>
              <a:gd name="connsiteY42983" fmla="*/ 1852910 h 5973007"/>
              <a:gd name="connsiteX42984" fmla="*/ 3855001 w 6884782"/>
              <a:gd name="connsiteY42984" fmla="*/ 1853478 h 5973007"/>
              <a:gd name="connsiteX42985" fmla="*/ 3854787 w 6884782"/>
              <a:gd name="connsiteY42985" fmla="*/ 1854617 h 5973007"/>
              <a:gd name="connsiteX42986" fmla="*/ 3850519 w 6884782"/>
              <a:gd name="connsiteY42986" fmla="*/ 1852767 h 5973007"/>
              <a:gd name="connsiteX42987" fmla="*/ 3750852 w 6884782"/>
              <a:gd name="connsiteY42987" fmla="*/ 1852767 h 5973007"/>
              <a:gd name="connsiteX42988" fmla="*/ 3750852 w 6884782"/>
              <a:gd name="connsiteY42988" fmla="*/ 1853621 h 5973007"/>
              <a:gd name="connsiteX42989" fmla="*/ 3749998 w 6884782"/>
              <a:gd name="connsiteY42989" fmla="*/ 1853052 h 5973007"/>
              <a:gd name="connsiteX42990" fmla="*/ 3750852 w 6884782"/>
              <a:gd name="connsiteY42990" fmla="*/ 1852767 h 5973007"/>
              <a:gd name="connsiteX42991" fmla="*/ 757694 w 6884782"/>
              <a:gd name="connsiteY42991" fmla="*/ 1852582 h 5973007"/>
              <a:gd name="connsiteX42992" fmla="*/ 777313 w 6884782"/>
              <a:gd name="connsiteY42992" fmla="*/ 1867297 h 5973007"/>
              <a:gd name="connsiteX42993" fmla="*/ 758520 w 6884782"/>
              <a:gd name="connsiteY42993" fmla="*/ 1857848 h 5973007"/>
              <a:gd name="connsiteX42994" fmla="*/ 757282 w 6884782"/>
              <a:gd name="connsiteY42994" fmla="*/ 1854131 h 5973007"/>
              <a:gd name="connsiteX42995" fmla="*/ 757694 w 6884782"/>
              <a:gd name="connsiteY42995" fmla="*/ 1852582 h 5973007"/>
              <a:gd name="connsiteX42996" fmla="*/ 627798 w 6884782"/>
              <a:gd name="connsiteY42996" fmla="*/ 1852582 h 5973007"/>
              <a:gd name="connsiteX42997" fmla="*/ 629347 w 6884782"/>
              <a:gd name="connsiteY42997" fmla="*/ 1859552 h 5973007"/>
              <a:gd name="connsiteX42998" fmla="*/ 624184 w 6884782"/>
              <a:gd name="connsiteY42998" fmla="*/ 1858158 h 5973007"/>
              <a:gd name="connsiteX42999" fmla="*/ 622635 w 6884782"/>
              <a:gd name="connsiteY42999" fmla="*/ 1855525 h 5973007"/>
              <a:gd name="connsiteX43000" fmla="*/ 624391 w 6884782"/>
              <a:gd name="connsiteY43000" fmla="*/ 1853202 h 5973007"/>
              <a:gd name="connsiteX43001" fmla="*/ 627798 w 6884782"/>
              <a:gd name="connsiteY43001" fmla="*/ 1852582 h 5973007"/>
              <a:gd name="connsiteX43002" fmla="*/ 4993808 w 6884782"/>
              <a:gd name="connsiteY43002" fmla="*/ 1852056 h 5973007"/>
              <a:gd name="connsiteX43003" fmla="*/ 4999784 w 6884782"/>
              <a:gd name="connsiteY43003" fmla="*/ 1853336 h 5973007"/>
              <a:gd name="connsiteX43004" fmla="*/ 4978016 w 6884782"/>
              <a:gd name="connsiteY43004" fmla="*/ 1867848 h 5973007"/>
              <a:gd name="connsiteX43005" fmla="*/ 4955820 w 6884782"/>
              <a:gd name="connsiteY43005" fmla="*/ 1861446 h 5973007"/>
              <a:gd name="connsiteX43006" fmla="*/ 4962863 w 6884782"/>
              <a:gd name="connsiteY43006" fmla="*/ 1860877 h 5973007"/>
              <a:gd name="connsiteX43007" fmla="*/ 4965851 w 6884782"/>
              <a:gd name="connsiteY43007" fmla="*/ 1858173 h 5973007"/>
              <a:gd name="connsiteX43008" fmla="*/ 4975881 w 6884782"/>
              <a:gd name="connsiteY43008" fmla="*/ 1854474 h 5973007"/>
              <a:gd name="connsiteX43009" fmla="*/ 4977802 w 6884782"/>
              <a:gd name="connsiteY43009" fmla="*/ 1856040 h 5973007"/>
              <a:gd name="connsiteX43010" fmla="*/ 4988046 w 6884782"/>
              <a:gd name="connsiteY43010" fmla="*/ 1852483 h 5973007"/>
              <a:gd name="connsiteX43011" fmla="*/ 4993808 w 6884782"/>
              <a:gd name="connsiteY43011" fmla="*/ 1852056 h 5973007"/>
              <a:gd name="connsiteX43012" fmla="*/ 1249607 w 6884782"/>
              <a:gd name="connsiteY43012" fmla="*/ 1851962 h 5973007"/>
              <a:gd name="connsiteX43013" fmla="*/ 1249710 w 6884782"/>
              <a:gd name="connsiteY43013" fmla="*/ 1853821 h 5973007"/>
              <a:gd name="connsiteX43014" fmla="*/ 1249194 w 6884782"/>
              <a:gd name="connsiteY43014" fmla="*/ 1855990 h 5973007"/>
              <a:gd name="connsiteX43015" fmla="*/ 1250124 w 6884782"/>
              <a:gd name="connsiteY43015" fmla="*/ 1857384 h 5973007"/>
              <a:gd name="connsiteX43016" fmla="*/ 1246922 w 6884782"/>
              <a:gd name="connsiteY43016" fmla="*/ 1863115 h 5973007"/>
              <a:gd name="connsiteX43017" fmla="*/ 1246819 w 6884782"/>
              <a:gd name="connsiteY43017" fmla="*/ 1861101 h 5973007"/>
              <a:gd name="connsiteX43018" fmla="*/ 1247232 w 6884782"/>
              <a:gd name="connsiteY43018" fmla="*/ 1858933 h 5973007"/>
              <a:gd name="connsiteX43019" fmla="*/ 1247748 w 6884782"/>
              <a:gd name="connsiteY43019" fmla="*/ 1856764 h 5973007"/>
              <a:gd name="connsiteX43020" fmla="*/ 1247542 w 6884782"/>
              <a:gd name="connsiteY43020" fmla="*/ 1854905 h 5973007"/>
              <a:gd name="connsiteX43021" fmla="*/ 1249607 w 6884782"/>
              <a:gd name="connsiteY43021" fmla="*/ 1851962 h 5973007"/>
              <a:gd name="connsiteX43022" fmla="*/ 1179599 w 6884782"/>
              <a:gd name="connsiteY43022" fmla="*/ 1851498 h 5973007"/>
              <a:gd name="connsiteX43023" fmla="*/ 1181355 w 6884782"/>
              <a:gd name="connsiteY43023" fmla="*/ 1851498 h 5973007"/>
              <a:gd name="connsiteX43024" fmla="*/ 1182697 w 6884782"/>
              <a:gd name="connsiteY43024" fmla="*/ 1853357 h 5973007"/>
              <a:gd name="connsiteX43025" fmla="*/ 1180425 w 6884782"/>
              <a:gd name="connsiteY43025" fmla="*/ 1856764 h 5973007"/>
              <a:gd name="connsiteX43026" fmla="*/ 1175572 w 6884782"/>
              <a:gd name="connsiteY43026" fmla="*/ 1857694 h 5973007"/>
              <a:gd name="connsiteX43027" fmla="*/ 1173507 w 6884782"/>
              <a:gd name="connsiteY43027" fmla="*/ 1859242 h 5973007"/>
              <a:gd name="connsiteX43028" fmla="*/ 1172784 w 6884782"/>
              <a:gd name="connsiteY43028" fmla="*/ 1858778 h 5973007"/>
              <a:gd name="connsiteX43029" fmla="*/ 1179599 w 6884782"/>
              <a:gd name="connsiteY43029" fmla="*/ 1851498 h 5973007"/>
              <a:gd name="connsiteX43030" fmla="*/ 5407416 w 6884782"/>
              <a:gd name="connsiteY43030" fmla="*/ 1850776 h 5973007"/>
              <a:gd name="connsiteX43031" fmla="*/ 5456503 w 6884782"/>
              <a:gd name="connsiteY43031" fmla="*/ 1860023 h 5973007"/>
              <a:gd name="connsiteX43032" fmla="*/ 5472296 w 6884782"/>
              <a:gd name="connsiteY43032" fmla="*/ 1886628 h 5973007"/>
              <a:gd name="connsiteX43033" fmla="*/ 5447112 w 6884782"/>
              <a:gd name="connsiteY43033" fmla="*/ 1944673 h 5973007"/>
              <a:gd name="connsiteX43034" fmla="*/ 5400160 w 6884782"/>
              <a:gd name="connsiteY43034" fmla="*/ 1939409 h 5973007"/>
              <a:gd name="connsiteX43035" fmla="*/ 5382233 w 6884782"/>
              <a:gd name="connsiteY43035" fmla="*/ 1916788 h 5973007"/>
              <a:gd name="connsiteX43036" fmla="*/ 5380098 w 6884782"/>
              <a:gd name="connsiteY43036" fmla="*/ 1880226 h 5973007"/>
              <a:gd name="connsiteX43037" fmla="*/ 5383726 w 6884782"/>
              <a:gd name="connsiteY43037" fmla="*/ 1876526 h 5973007"/>
              <a:gd name="connsiteX43038" fmla="*/ 5381379 w 6884782"/>
              <a:gd name="connsiteY43038" fmla="*/ 1872685 h 5973007"/>
              <a:gd name="connsiteX43039" fmla="*/ 5385647 w 6884782"/>
              <a:gd name="connsiteY43039" fmla="*/ 1871973 h 5973007"/>
              <a:gd name="connsiteX43040" fmla="*/ 5387568 w 6884782"/>
              <a:gd name="connsiteY43040" fmla="*/ 1872258 h 5973007"/>
              <a:gd name="connsiteX43041" fmla="*/ 5393757 w 6884782"/>
              <a:gd name="connsiteY43041" fmla="*/ 1865572 h 5973007"/>
              <a:gd name="connsiteX43042" fmla="*/ 5401013 w 6884782"/>
              <a:gd name="connsiteY43042" fmla="*/ 1857889 h 5973007"/>
              <a:gd name="connsiteX43043" fmla="*/ 5401440 w 6884782"/>
              <a:gd name="connsiteY43043" fmla="*/ 1854190 h 5973007"/>
              <a:gd name="connsiteX43044" fmla="*/ 5404642 w 6884782"/>
              <a:gd name="connsiteY43044" fmla="*/ 1853906 h 5973007"/>
              <a:gd name="connsiteX43045" fmla="*/ 977527 w 6884782"/>
              <a:gd name="connsiteY43045" fmla="*/ 1850568 h 5973007"/>
              <a:gd name="connsiteX43046" fmla="*/ 985787 w 6884782"/>
              <a:gd name="connsiteY43046" fmla="*/ 1856919 h 5973007"/>
              <a:gd name="connsiteX43047" fmla="*/ 984549 w 6884782"/>
              <a:gd name="connsiteY43047" fmla="*/ 1858003 h 5973007"/>
              <a:gd name="connsiteX43048" fmla="*/ 986303 w 6884782"/>
              <a:gd name="connsiteY43048" fmla="*/ 1858623 h 5973007"/>
              <a:gd name="connsiteX43049" fmla="*/ 988472 w 6884782"/>
              <a:gd name="connsiteY43049" fmla="*/ 1860172 h 5973007"/>
              <a:gd name="connsiteX43050" fmla="*/ 986510 w 6884782"/>
              <a:gd name="connsiteY43050" fmla="*/ 1866213 h 5973007"/>
              <a:gd name="connsiteX43051" fmla="*/ 983825 w 6884782"/>
              <a:gd name="connsiteY43051" fmla="*/ 1867142 h 5973007"/>
              <a:gd name="connsiteX43052" fmla="*/ 978663 w 6884782"/>
              <a:gd name="connsiteY43052" fmla="*/ 1866523 h 5973007"/>
              <a:gd name="connsiteX43053" fmla="*/ 978663 w 6884782"/>
              <a:gd name="connsiteY43053" fmla="*/ 1867297 h 5973007"/>
              <a:gd name="connsiteX43054" fmla="*/ 978043 w 6884782"/>
              <a:gd name="connsiteY43054" fmla="*/ 1862340 h 5973007"/>
              <a:gd name="connsiteX43055" fmla="*/ 978559 w 6884782"/>
              <a:gd name="connsiteY43055" fmla="*/ 1861876 h 5973007"/>
              <a:gd name="connsiteX43056" fmla="*/ 977837 w 6884782"/>
              <a:gd name="connsiteY43056" fmla="*/ 1862185 h 5973007"/>
              <a:gd name="connsiteX43057" fmla="*/ 975049 w 6884782"/>
              <a:gd name="connsiteY43057" fmla="*/ 1856764 h 5973007"/>
              <a:gd name="connsiteX43058" fmla="*/ 977527 w 6884782"/>
              <a:gd name="connsiteY43058" fmla="*/ 1850568 h 5973007"/>
              <a:gd name="connsiteX43059" fmla="*/ 777003 w 6884782"/>
              <a:gd name="connsiteY43059" fmla="*/ 1849794 h 5973007"/>
              <a:gd name="connsiteX43060" fmla="*/ 781960 w 6884782"/>
              <a:gd name="connsiteY43060" fmla="*/ 1850568 h 5973007"/>
              <a:gd name="connsiteX43061" fmla="*/ 780824 w 6884782"/>
              <a:gd name="connsiteY43061" fmla="*/ 1853821 h 5973007"/>
              <a:gd name="connsiteX43062" fmla="*/ 777003 w 6884782"/>
              <a:gd name="connsiteY43062" fmla="*/ 1849794 h 5973007"/>
              <a:gd name="connsiteX43063" fmla="*/ 3945278 w 6884782"/>
              <a:gd name="connsiteY43063" fmla="*/ 1849637 h 5973007"/>
              <a:gd name="connsiteX43064" fmla="*/ 3951253 w 6884782"/>
              <a:gd name="connsiteY43064" fmla="*/ 1865002 h 5973007"/>
              <a:gd name="connsiteX43065" fmla="*/ 3945491 w 6884782"/>
              <a:gd name="connsiteY43065" fmla="*/ 1866283 h 5973007"/>
              <a:gd name="connsiteX43066" fmla="*/ 3937594 w 6884782"/>
              <a:gd name="connsiteY43066" fmla="*/ 1859312 h 5973007"/>
              <a:gd name="connsiteX43067" fmla="*/ 3945278 w 6884782"/>
              <a:gd name="connsiteY43067" fmla="*/ 1849637 h 5973007"/>
              <a:gd name="connsiteX43068" fmla="*/ 1593450 w 6884782"/>
              <a:gd name="connsiteY43068" fmla="*/ 1849329 h 5973007"/>
              <a:gd name="connsiteX43069" fmla="*/ 1588907 w 6884782"/>
              <a:gd name="connsiteY43069" fmla="*/ 1854905 h 5973007"/>
              <a:gd name="connsiteX43070" fmla="*/ 1587874 w 6884782"/>
              <a:gd name="connsiteY43070" fmla="*/ 1849484 h 5973007"/>
              <a:gd name="connsiteX43071" fmla="*/ 1593450 w 6884782"/>
              <a:gd name="connsiteY43071" fmla="*/ 1849329 h 5973007"/>
              <a:gd name="connsiteX43072" fmla="*/ 964000 w 6884782"/>
              <a:gd name="connsiteY43072" fmla="*/ 1848865 h 5973007"/>
              <a:gd name="connsiteX43073" fmla="*/ 971641 w 6884782"/>
              <a:gd name="connsiteY43073" fmla="*/ 1853357 h 5973007"/>
              <a:gd name="connsiteX43074" fmla="*/ 961522 w 6884782"/>
              <a:gd name="connsiteY43074" fmla="*/ 1853202 h 5973007"/>
              <a:gd name="connsiteX43075" fmla="*/ 964000 w 6884782"/>
              <a:gd name="connsiteY43075" fmla="*/ 1848865 h 5973007"/>
              <a:gd name="connsiteX43076" fmla="*/ 1280894 w 6884782"/>
              <a:gd name="connsiteY43076" fmla="*/ 1848710 h 5973007"/>
              <a:gd name="connsiteX43077" fmla="*/ 1282959 w 6884782"/>
              <a:gd name="connsiteY43077" fmla="*/ 1850568 h 5973007"/>
              <a:gd name="connsiteX43078" fmla="*/ 1281720 w 6884782"/>
              <a:gd name="connsiteY43078" fmla="*/ 1853202 h 5973007"/>
              <a:gd name="connsiteX43079" fmla="*/ 1282752 w 6884782"/>
              <a:gd name="connsiteY43079" fmla="*/ 1856454 h 5973007"/>
              <a:gd name="connsiteX43080" fmla="*/ 1282442 w 6884782"/>
              <a:gd name="connsiteY43080" fmla="*/ 1857384 h 5973007"/>
              <a:gd name="connsiteX43081" fmla="*/ 1283269 w 6884782"/>
              <a:gd name="connsiteY43081" fmla="*/ 1857384 h 5973007"/>
              <a:gd name="connsiteX43082" fmla="*/ 1275215 w 6884782"/>
              <a:gd name="connsiteY43082" fmla="*/ 1881857 h 5973007"/>
              <a:gd name="connsiteX43083" fmla="*/ 1267780 w 6884782"/>
              <a:gd name="connsiteY43083" fmla="*/ 1873648 h 5973007"/>
              <a:gd name="connsiteX43084" fmla="*/ 1277796 w 6884782"/>
              <a:gd name="connsiteY43084" fmla="*/ 1857538 h 5973007"/>
              <a:gd name="connsiteX43085" fmla="*/ 1281100 w 6884782"/>
              <a:gd name="connsiteY43085" fmla="*/ 1857384 h 5973007"/>
              <a:gd name="connsiteX43086" fmla="*/ 1281100 w 6884782"/>
              <a:gd name="connsiteY43086" fmla="*/ 1856919 h 5973007"/>
              <a:gd name="connsiteX43087" fmla="*/ 1281513 w 6884782"/>
              <a:gd name="connsiteY43087" fmla="*/ 1856145 h 5973007"/>
              <a:gd name="connsiteX43088" fmla="*/ 1279861 w 6884782"/>
              <a:gd name="connsiteY43088" fmla="*/ 1850103 h 5973007"/>
              <a:gd name="connsiteX43089" fmla="*/ 1280894 w 6884782"/>
              <a:gd name="connsiteY43089" fmla="*/ 1848710 h 5973007"/>
              <a:gd name="connsiteX43090" fmla="*/ 815311 w 6884782"/>
              <a:gd name="connsiteY43090" fmla="*/ 1848090 h 5973007"/>
              <a:gd name="connsiteX43091" fmla="*/ 837822 w 6884782"/>
              <a:gd name="connsiteY43091" fmla="*/ 1855990 h 5973007"/>
              <a:gd name="connsiteX43092" fmla="*/ 815311 w 6884782"/>
              <a:gd name="connsiteY43092" fmla="*/ 1848090 h 5973007"/>
              <a:gd name="connsiteX43093" fmla="*/ 3774755 w 6884782"/>
              <a:gd name="connsiteY43093" fmla="*/ 1847504 h 5973007"/>
              <a:gd name="connsiteX43094" fmla="*/ 3782225 w 6884782"/>
              <a:gd name="connsiteY43094" fmla="*/ 1847788 h 5973007"/>
              <a:gd name="connsiteX43095" fmla="*/ 3786280 w 6884782"/>
              <a:gd name="connsiteY43095" fmla="*/ 1869271 h 5973007"/>
              <a:gd name="connsiteX43096" fmla="*/ 3788414 w 6884782"/>
              <a:gd name="connsiteY43096" fmla="*/ 1868702 h 5973007"/>
              <a:gd name="connsiteX43097" fmla="*/ 3804847 w 6884782"/>
              <a:gd name="connsiteY43097" fmla="*/ 1873112 h 5973007"/>
              <a:gd name="connsiteX43098" fmla="*/ 3808689 w 6884782"/>
              <a:gd name="connsiteY43098" fmla="*/ 1877807 h 5973007"/>
              <a:gd name="connsiteX43099" fmla="*/ 3811677 w 6884782"/>
              <a:gd name="connsiteY43099" fmla="*/ 1878660 h 5973007"/>
              <a:gd name="connsiteX43100" fmla="*/ 3810823 w 6884782"/>
              <a:gd name="connsiteY43100" fmla="*/ 1881221 h 5973007"/>
              <a:gd name="connsiteX43101" fmla="*/ 3811677 w 6884782"/>
              <a:gd name="connsiteY43101" fmla="*/ 1882644 h 5973007"/>
              <a:gd name="connsiteX43102" fmla="*/ 3810823 w 6884782"/>
              <a:gd name="connsiteY43102" fmla="*/ 1884067 h 5973007"/>
              <a:gd name="connsiteX43103" fmla="*/ 3809969 w 6884782"/>
              <a:gd name="connsiteY43103" fmla="*/ 1885774 h 5973007"/>
              <a:gd name="connsiteX43104" fmla="*/ 3811890 w 6884782"/>
              <a:gd name="connsiteY43104" fmla="*/ 1886058 h 5973007"/>
              <a:gd name="connsiteX43105" fmla="*/ 3814665 w 6884782"/>
              <a:gd name="connsiteY43105" fmla="*/ 1887908 h 5973007"/>
              <a:gd name="connsiteX43106" fmla="*/ 3814238 w 6884782"/>
              <a:gd name="connsiteY43106" fmla="*/ 1889757 h 5973007"/>
              <a:gd name="connsiteX43107" fmla="*/ 3821281 w 6884782"/>
              <a:gd name="connsiteY43107" fmla="*/ 1886628 h 5973007"/>
              <a:gd name="connsiteX43108" fmla="*/ 3827043 w 6884782"/>
              <a:gd name="connsiteY43108" fmla="*/ 1886769 h 5973007"/>
              <a:gd name="connsiteX43109" fmla="*/ 3843476 w 6884782"/>
              <a:gd name="connsiteY43109" fmla="*/ 1894452 h 5973007"/>
              <a:gd name="connsiteX43110" fmla="*/ 3821067 w 6884782"/>
              <a:gd name="connsiteY43110" fmla="*/ 1894879 h 5973007"/>
              <a:gd name="connsiteX43111" fmla="*/ 3814024 w 6884782"/>
              <a:gd name="connsiteY43111" fmla="*/ 1890184 h 5973007"/>
              <a:gd name="connsiteX43112" fmla="*/ 3813170 w 6884782"/>
              <a:gd name="connsiteY43112" fmla="*/ 1893883 h 5973007"/>
              <a:gd name="connsiteX43113" fmla="*/ 3796737 w 6884782"/>
              <a:gd name="connsiteY43113" fmla="*/ 1897867 h 5973007"/>
              <a:gd name="connsiteX43114" fmla="*/ 3796524 w 6884782"/>
              <a:gd name="connsiteY43114" fmla="*/ 1897013 h 5973007"/>
              <a:gd name="connsiteX43115" fmla="*/ 3787774 w 6884782"/>
              <a:gd name="connsiteY43115" fmla="*/ 1895448 h 5973007"/>
              <a:gd name="connsiteX43116" fmla="*/ 3786280 w 6884782"/>
              <a:gd name="connsiteY43116" fmla="*/ 1906118 h 5973007"/>
              <a:gd name="connsiteX43117" fmla="*/ 3777103 w 6884782"/>
              <a:gd name="connsiteY43117" fmla="*/ 1928454 h 5973007"/>
              <a:gd name="connsiteX43118" fmla="*/ 3754267 w 6884782"/>
              <a:gd name="connsiteY43118" fmla="*/ 1925040 h 5973007"/>
              <a:gd name="connsiteX43119" fmla="*/ 3752346 w 6884782"/>
              <a:gd name="connsiteY43119" fmla="*/ 1921626 h 5973007"/>
              <a:gd name="connsiteX43120" fmla="*/ 3749785 w 6884782"/>
              <a:gd name="connsiteY43120" fmla="*/ 1922194 h 5973007"/>
              <a:gd name="connsiteX43121" fmla="*/ 3744449 w 6884782"/>
              <a:gd name="connsiteY43121" fmla="*/ 1913517 h 5973007"/>
              <a:gd name="connsiteX43122" fmla="*/ 3740394 w 6884782"/>
              <a:gd name="connsiteY43122" fmla="*/ 1916647 h 5973007"/>
              <a:gd name="connsiteX43123" fmla="*/ 3738474 w 6884782"/>
              <a:gd name="connsiteY43123" fmla="*/ 1916077 h 5973007"/>
              <a:gd name="connsiteX43124" fmla="*/ 3732498 w 6884782"/>
              <a:gd name="connsiteY43124" fmla="*/ 1910813 h 5973007"/>
              <a:gd name="connsiteX43125" fmla="*/ 3731218 w 6884782"/>
              <a:gd name="connsiteY43125" fmla="*/ 1905549 h 5973007"/>
              <a:gd name="connsiteX43126" fmla="*/ 3728870 w 6884782"/>
              <a:gd name="connsiteY43126" fmla="*/ 1906118 h 5973007"/>
              <a:gd name="connsiteX43127" fmla="*/ 3734205 w 6884782"/>
              <a:gd name="connsiteY43127" fmla="*/ 1891749 h 5973007"/>
              <a:gd name="connsiteX43128" fmla="*/ 3735059 w 6884782"/>
              <a:gd name="connsiteY43128" fmla="*/ 1893456 h 5973007"/>
              <a:gd name="connsiteX43129" fmla="*/ 3736553 w 6884782"/>
              <a:gd name="connsiteY43129" fmla="*/ 1892745 h 5973007"/>
              <a:gd name="connsiteX43130" fmla="*/ 3738474 w 6884782"/>
              <a:gd name="connsiteY43130" fmla="*/ 1892318 h 5973007"/>
              <a:gd name="connsiteX43131" fmla="*/ 3740821 w 6884782"/>
              <a:gd name="connsiteY43131" fmla="*/ 1894452 h 5973007"/>
              <a:gd name="connsiteX43132" fmla="*/ 3741248 w 6884782"/>
              <a:gd name="connsiteY43132" fmla="*/ 1890184 h 5973007"/>
              <a:gd name="connsiteX43133" fmla="*/ 3743809 w 6884782"/>
              <a:gd name="connsiteY43133" fmla="*/ 1886628 h 5973007"/>
              <a:gd name="connsiteX43134" fmla="*/ 3743809 w 6884782"/>
              <a:gd name="connsiteY43134" fmla="*/ 1885631 h 5973007"/>
              <a:gd name="connsiteX43135" fmla="*/ 3745090 w 6884782"/>
              <a:gd name="connsiteY43135" fmla="*/ 1880510 h 5973007"/>
              <a:gd name="connsiteX43136" fmla="*/ 3744022 w 6884782"/>
              <a:gd name="connsiteY43136" fmla="*/ 1881648 h 5973007"/>
              <a:gd name="connsiteX43137" fmla="*/ 3742315 w 6884782"/>
              <a:gd name="connsiteY43137" fmla="*/ 1882359 h 5973007"/>
              <a:gd name="connsiteX43138" fmla="*/ 3746157 w 6884782"/>
              <a:gd name="connsiteY43138" fmla="*/ 1877380 h 5973007"/>
              <a:gd name="connsiteX43139" fmla="*/ 3747651 w 6884782"/>
              <a:gd name="connsiteY43139" fmla="*/ 1872116 h 5973007"/>
              <a:gd name="connsiteX43140" fmla="*/ 3774755 w 6884782"/>
              <a:gd name="connsiteY43140" fmla="*/ 1847504 h 5973007"/>
              <a:gd name="connsiteX43141" fmla="*/ 904318 w 6884782"/>
              <a:gd name="connsiteY43141" fmla="*/ 1847470 h 5973007"/>
              <a:gd name="connsiteX43142" fmla="*/ 909378 w 6884782"/>
              <a:gd name="connsiteY43142" fmla="*/ 1847935 h 5973007"/>
              <a:gd name="connsiteX43143" fmla="*/ 912682 w 6884782"/>
              <a:gd name="connsiteY43143" fmla="*/ 1847625 h 5973007"/>
              <a:gd name="connsiteX43144" fmla="*/ 914747 w 6884782"/>
              <a:gd name="connsiteY43144" fmla="*/ 1849484 h 5973007"/>
              <a:gd name="connsiteX43145" fmla="*/ 908242 w 6884782"/>
              <a:gd name="connsiteY43145" fmla="*/ 1852891 h 5973007"/>
              <a:gd name="connsiteX43146" fmla="*/ 902150 w 6884782"/>
              <a:gd name="connsiteY43146" fmla="*/ 1850879 h 5973007"/>
              <a:gd name="connsiteX43147" fmla="*/ 904318 w 6884782"/>
              <a:gd name="connsiteY43147" fmla="*/ 1847470 h 5973007"/>
              <a:gd name="connsiteX43148" fmla="*/ 3877837 w 6884782"/>
              <a:gd name="connsiteY43148" fmla="*/ 1846792 h 5973007"/>
              <a:gd name="connsiteX43149" fmla="*/ 3883812 w 6884782"/>
              <a:gd name="connsiteY43149" fmla="*/ 1854332 h 5973007"/>
              <a:gd name="connsiteX43150" fmla="*/ 3877837 w 6884782"/>
              <a:gd name="connsiteY43150" fmla="*/ 1846792 h 5973007"/>
              <a:gd name="connsiteX43151" fmla="*/ 853632 w 6884782"/>
              <a:gd name="connsiteY43151" fmla="*/ 1846096 h 5973007"/>
              <a:gd name="connsiteX43152" fmla="*/ 867972 w 6884782"/>
              <a:gd name="connsiteY43152" fmla="*/ 1848555 h 5973007"/>
              <a:gd name="connsiteX43153" fmla="*/ 840609 w 6884782"/>
              <a:gd name="connsiteY43153" fmla="*/ 1855835 h 5973007"/>
              <a:gd name="connsiteX43154" fmla="*/ 853632 w 6884782"/>
              <a:gd name="connsiteY43154" fmla="*/ 1846096 h 5973007"/>
              <a:gd name="connsiteX43155" fmla="*/ 1433919 w 6884782"/>
              <a:gd name="connsiteY43155" fmla="*/ 1845921 h 5973007"/>
              <a:gd name="connsiteX43156" fmla="*/ 1441664 w 6884782"/>
              <a:gd name="connsiteY43156" fmla="*/ 1846076 h 5973007"/>
              <a:gd name="connsiteX43157" fmla="*/ 1446000 w 6884782"/>
              <a:gd name="connsiteY43157" fmla="*/ 1853821 h 5973007"/>
              <a:gd name="connsiteX43158" fmla="*/ 1437843 w 6884782"/>
              <a:gd name="connsiteY43158" fmla="*/ 1856145 h 5973007"/>
              <a:gd name="connsiteX43159" fmla="*/ 1437120 w 6884782"/>
              <a:gd name="connsiteY43159" fmla="*/ 1855215 h 5973007"/>
              <a:gd name="connsiteX43160" fmla="*/ 1433919 w 6884782"/>
              <a:gd name="connsiteY43160" fmla="*/ 1850103 h 5973007"/>
              <a:gd name="connsiteX43161" fmla="*/ 1433919 w 6884782"/>
              <a:gd name="connsiteY43161" fmla="*/ 1845921 h 5973007"/>
              <a:gd name="connsiteX43162" fmla="*/ 6069871 w 6884782"/>
              <a:gd name="connsiteY43162" fmla="*/ 1845654 h 5973007"/>
              <a:gd name="connsiteX43163" fmla="*/ 6073499 w 6884782"/>
              <a:gd name="connsiteY43163" fmla="*/ 1846508 h 5973007"/>
              <a:gd name="connsiteX43164" fmla="*/ 6074780 w 6884782"/>
              <a:gd name="connsiteY43164" fmla="*/ 1847788 h 5973007"/>
              <a:gd name="connsiteX43165" fmla="*/ 6075847 w 6884782"/>
              <a:gd name="connsiteY43165" fmla="*/ 1847646 h 5973007"/>
              <a:gd name="connsiteX43166" fmla="*/ 6076060 w 6884782"/>
              <a:gd name="connsiteY43166" fmla="*/ 1848926 h 5973007"/>
              <a:gd name="connsiteX43167" fmla="*/ 6078835 w 6884782"/>
              <a:gd name="connsiteY43167" fmla="*/ 1851060 h 5973007"/>
              <a:gd name="connsiteX43168" fmla="*/ 6086091 w 6884782"/>
              <a:gd name="connsiteY43168" fmla="*/ 1854190 h 5973007"/>
              <a:gd name="connsiteX43169" fmla="*/ 6091853 w 6884782"/>
              <a:gd name="connsiteY43169" fmla="*/ 1861161 h 5973007"/>
              <a:gd name="connsiteX43170" fmla="*/ 6089719 w 6884782"/>
              <a:gd name="connsiteY43170" fmla="*/ 1863580 h 5973007"/>
              <a:gd name="connsiteX43171" fmla="*/ 6092493 w 6884782"/>
              <a:gd name="connsiteY43171" fmla="*/ 1865856 h 5973007"/>
              <a:gd name="connsiteX43172" fmla="*/ 6093348 w 6884782"/>
              <a:gd name="connsiteY43172" fmla="*/ 1881363 h 5973007"/>
              <a:gd name="connsiteX43173" fmla="*/ 6088225 w 6884782"/>
              <a:gd name="connsiteY43173" fmla="*/ 1885347 h 5973007"/>
              <a:gd name="connsiteX43174" fmla="*/ 6079902 w 6884782"/>
              <a:gd name="connsiteY43174" fmla="*/ 1883355 h 5973007"/>
              <a:gd name="connsiteX43175" fmla="*/ 6077127 w 6884782"/>
              <a:gd name="connsiteY43175" fmla="*/ 1879230 h 5973007"/>
              <a:gd name="connsiteX43176" fmla="*/ 6074566 w 6884782"/>
              <a:gd name="connsiteY43176" fmla="*/ 1881079 h 5973007"/>
              <a:gd name="connsiteX43177" fmla="*/ 6056426 w 6884782"/>
              <a:gd name="connsiteY43177" fmla="*/ 1872401 h 5973007"/>
              <a:gd name="connsiteX43178" fmla="*/ 6055999 w 6884782"/>
              <a:gd name="connsiteY43178" fmla="*/ 1869128 h 5973007"/>
              <a:gd name="connsiteX43179" fmla="*/ 6053651 w 6884782"/>
              <a:gd name="connsiteY43179" fmla="*/ 1864576 h 5973007"/>
              <a:gd name="connsiteX43180" fmla="*/ 6066243 w 6884782"/>
              <a:gd name="connsiteY43180" fmla="*/ 1855044 h 5973007"/>
              <a:gd name="connsiteX43181" fmla="*/ 6073499 w 6884782"/>
              <a:gd name="connsiteY43181" fmla="*/ 1853336 h 5973007"/>
              <a:gd name="connsiteX43182" fmla="*/ 6074993 w 6884782"/>
              <a:gd name="connsiteY43182" fmla="*/ 1853621 h 5973007"/>
              <a:gd name="connsiteX43183" fmla="*/ 6074566 w 6884782"/>
              <a:gd name="connsiteY43183" fmla="*/ 1853336 h 5973007"/>
              <a:gd name="connsiteX43184" fmla="*/ 6069871 w 6884782"/>
              <a:gd name="connsiteY43184" fmla="*/ 1845654 h 5973007"/>
              <a:gd name="connsiteX43185" fmla="*/ 1487716 w 6884782"/>
              <a:gd name="connsiteY43185" fmla="*/ 1845457 h 5973007"/>
              <a:gd name="connsiteX43186" fmla="*/ 1499384 w 6884782"/>
              <a:gd name="connsiteY43186" fmla="*/ 1850103 h 5973007"/>
              <a:gd name="connsiteX43187" fmla="*/ 1499074 w 6884782"/>
              <a:gd name="connsiteY43187" fmla="*/ 1853976 h 5973007"/>
              <a:gd name="connsiteX43188" fmla="*/ 1498764 w 6884782"/>
              <a:gd name="connsiteY43188" fmla="*/ 1853976 h 5973007"/>
              <a:gd name="connsiteX43189" fmla="*/ 1499590 w 6884782"/>
              <a:gd name="connsiteY43189" fmla="*/ 1854750 h 5973007"/>
              <a:gd name="connsiteX43190" fmla="*/ 1501139 w 6884782"/>
              <a:gd name="connsiteY43190" fmla="*/ 1856919 h 5973007"/>
              <a:gd name="connsiteX43191" fmla="*/ 1496183 w 6884782"/>
              <a:gd name="connsiteY43191" fmla="*/ 1860636 h 5973007"/>
              <a:gd name="connsiteX43192" fmla="*/ 1488955 w 6884782"/>
              <a:gd name="connsiteY43192" fmla="*/ 1862340 h 5973007"/>
              <a:gd name="connsiteX43193" fmla="*/ 1488129 w 6884782"/>
              <a:gd name="connsiteY43193" fmla="*/ 1864354 h 5973007"/>
              <a:gd name="connsiteX43194" fmla="*/ 1485341 w 6884782"/>
              <a:gd name="connsiteY43194" fmla="*/ 1866832 h 5973007"/>
              <a:gd name="connsiteX43195" fmla="*/ 1479352 w 6884782"/>
              <a:gd name="connsiteY43195" fmla="*/ 1865593 h 5973007"/>
              <a:gd name="connsiteX43196" fmla="*/ 1481211 w 6884782"/>
              <a:gd name="connsiteY43196" fmla="*/ 1860946 h 5973007"/>
              <a:gd name="connsiteX43197" fmla="*/ 1477494 w 6884782"/>
              <a:gd name="connsiteY43197" fmla="*/ 1857074 h 5973007"/>
              <a:gd name="connsiteX43198" fmla="*/ 1486890 w 6884782"/>
              <a:gd name="connsiteY43198" fmla="*/ 1856145 h 5973007"/>
              <a:gd name="connsiteX43199" fmla="*/ 1495460 w 6884782"/>
              <a:gd name="connsiteY43199" fmla="*/ 1853666 h 5973007"/>
              <a:gd name="connsiteX43200" fmla="*/ 1491227 w 6884782"/>
              <a:gd name="connsiteY43200" fmla="*/ 1852737 h 5973007"/>
              <a:gd name="connsiteX43201" fmla="*/ 1486374 w 6884782"/>
              <a:gd name="connsiteY43201" fmla="*/ 1847780 h 5973007"/>
              <a:gd name="connsiteX43202" fmla="*/ 1487716 w 6884782"/>
              <a:gd name="connsiteY43202" fmla="*/ 1845457 h 5973007"/>
              <a:gd name="connsiteX43203" fmla="*/ 6227802 w 6884782"/>
              <a:gd name="connsiteY43203" fmla="*/ 1845369 h 5973007"/>
              <a:gd name="connsiteX43204" fmla="*/ 6226948 w 6884782"/>
              <a:gd name="connsiteY43204" fmla="*/ 1854190 h 5973007"/>
              <a:gd name="connsiteX43205" fmla="*/ 6219265 w 6884782"/>
              <a:gd name="connsiteY43205" fmla="*/ 1851487 h 5973007"/>
              <a:gd name="connsiteX43206" fmla="*/ 6227802 w 6884782"/>
              <a:gd name="connsiteY43206" fmla="*/ 1845369 h 5973007"/>
              <a:gd name="connsiteX43207" fmla="*/ 1649931 w 6884782"/>
              <a:gd name="connsiteY43207" fmla="*/ 1844217 h 5973007"/>
              <a:gd name="connsiteX43208" fmla="*/ 1652409 w 6884782"/>
              <a:gd name="connsiteY43208" fmla="*/ 1845147 h 5973007"/>
              <a:gd name="connsiteX43209" fmla="*/ 1652513 w 6884782"/>
              <a:gd name="connsiteY43209" fmla="*/ 1846386 h 5973007"/>
              <a:gd name="connsiteX43210" fmla="*/ 1651997 w 6884782"/>
              <a:gd name="connsiteY43210" fmla="*/ 1848400 h 5973007"/>
              <a:gd name="connsiteX43211" fmla="*/ 1647763 w 6884782"/>
              <a:gd name="connsiteY43211" fmla="*/ 1847470 h 5973007"/>
              <a:gd name="connsiteX43212" fmla="*/ 1646834 w 6884782"/>
              <a:gd name="connsiteY43212" fmla="*/ 1846231 h 5973007"/>
              <a:gd name="connsiteX43213" fmla="*/ 1647247 w 6884782"/>
              <a:gd name="connsiteY43213" fmla="*/ 1844992 h 5973007"/>
              <a:gd name="connsiteX43214" fmla="*/ 1649931 w 6884782"/>
              <a:gd name="connsiteY43214" fmla="*/ 1844217 h 5973007"/>
              <a:gd name="connsiteX43215" fmla="*/ 855271 w 6884782"/>
              <a:gd name="connsiteY43215" fmla="*/ 1843908 h 5973007"/>
              <a:gd name="connsiteX43216" fmla="*/ 852793 w 6884782"/>
              <a:gd name="connsiteY43216" fmla="*/ 1844372 h 5973007"/>
              <a:gd name="connsiteX43217" fmla="*/ 851967 w 6884782"/>
              <a:gd name="connsiteY43217" fmla="*/ 1845767 h 5973007"/>
              <a:gd name="connsiteX43218" fmla="*/ 849179 w 6884782"/>
              <a:gd name="connsiteY43218" fmla="*/ 1844992 h 5973007"/>
              <a:gd name="connsiteX43219" fmla="*/ 855271 w 6884782"/>
              <a:gd name="connsiteY43219" fmla="*/ 1843908 h 5973007"/>
              <a:gd name="connsiteX43220" fmla="*/ 4811548 w 6884782"/>
              <a:gd name="connsiteY43220" fmla="*/ 1842808 h 5973007"/>
              <a:gd name="connsiteX43221" fmla="*/ 4816030 w 6884782"/>
              <a:gd name="connsiteY43221" fmla="*/ 1843235 h 5973007"/>
              <a:gd name="connsiteX43222" fmla="*/ 4819018 w 6884782"/>
              <a:gd name="connsiteY43222" fmla="*/ 1845085 h 5973007"/>
              <a:gd name="connsiteX43223" fmla="*/ 4819658 w 6884782"/>
              <a:gd name="connsiteY43223" fmla="*/ 1849068 h 5973007"/>
              <a:gd name="connsiteX43224" fmla="*/ 4819658 w 6884782"/>
              <a:gd name="connsiteY43224" fmla="*/ 1849353 h 5973007"/>
              <a:gd name="connsiteX43225" fmla="*/ 4831610 w 6884782"/>
              <a:gd name="connsiteY43225" fmla="*/ 1855613 h 5973007"/>
              <a:gd name="connsiteX43226" fmla="*/ 4844202 w 6884782"/>
              <a:gd name="connsiteY43226" fmla="*/ 1866567 h 5973007"/>
              <a:gd name="connsiteX43227" fmla="*/ 4845909 w 6884782"/>
              <a:gd name="connsiteY43227" fmla="*/ 1863295 h 5973007"/>
              <a:gd name="connsiteX43228" fmla="*/ 4849323 w 6884782"/>
              <a:gd name="connsiteY43228" fmla="*/ 1856040 h 5973007"/>
              <a:gd name="connsiteX43229" fmla="*/ 4852952 w 6884782"/>
              <a:gd name="connsiteY43229" fmla="*/ 1856040 h 5973007"/>
              <a:gd name="connsiteX43230" fmla="*/ 4854873 w 6884782"/>
              <a:gd name="connsiteY43230" fmla="*/ 1857889 h 5973007"/>
              <a:gd name="connsiteX43231" fmla="*/ 4855940 w 6884782"/>
              <a:gd name="connsiteY43231" fmla="*/ 1872685 h 5973007"/>
              <a:gd name="connsiteX43232" fmla="*/ 4854232 w 6884782"/>
              <a:gd name="connsiteY43232" fmla="*/ 1876811 h 5973007"/>
              <a:gd name="connsiteX43233" fmla="*/ 4858928 w 6884782"/>
              <a:gd name="connsiteY43233" fmla="*/ 1884493 h 5973007"/>
              <a:gd name="connsiteX43234" fmla="*/ 4862769 w 6884782"/>
              <a:gd name="connsiteY43234" fmla="*/ 1897297 h 5973007"/>
              <a:gd name="connsiteX43235" fmla="*/ 4862342 w 6884782"/>
              <a:gd name="connsiteY43235" fmla="*/ 1910244 h 5973007"/>
              <a:gd name="connsiteX43236" fmla="*/ 4860635 w 6884782"/>
              <a:gd name="connsiteY43236" fmla="*/ 1914085 h 5973007"/>
              <a:gd name="connsiteX43237" fmla="*/ 4860848 w 6884782"/>
              <a:gd name="connsiteY43237" fmla="*/ 1917215 h 5973007"/>
              <a:gd name="connsiteX43238" fmla="*/ 4861061 w 6884782"/>
              <a:gd name="connsiteY43238" fmla="*/ 1918780 h 5973007"/>
              <a:gd name="connsiteX43239" fmla="*/ 4862342 w 6884782"/>
              <a:gd name="connsiteY43239" fmla="*/ 1916219 h 5973007"/>
              <a:gd name="connsiteX43240" fmla="*/ 4861702 w 6884782"/>
              <a:gd name="connsiteY43240" fmla="*/ 1913943 h 5973007"/>
              <a:gd name="connsiteX43241" fmla="*/ 4864903 w 6884782"/>
              <a:gd name="connsiteY43241" fmla="*/ 1911524 h 5973007"/>
              <a:gd name="connsiteX43242" fmla="*/ 4861915 w 6884782"/>
              <a:gd name="connsiteY43242" fmla="*/ 1918638 h 5973007"/>
              <a:gd name="connsiteX43243" fmla="*/ 4861061 w 6884782"/>
              <a:gd name="connsiteY43243" fmla="*/ 1919207 h 5973007"/>
              <a:gd name="connsiteX43244" fmla="*/ 4861061 w 6884782"/>
              <a:gd name="connsiteY43244" fmla="*/ 1920488 h 5973007"/>
              <a:gd name="connsiteX43245" fmla="*/ 4861275 w 6884782"/>
              <a:gd name="connsiteY43245" fmla="*/ 1921626 h 5973007"/>
              <a:gd name="connsiteX43246" fmla="*/ 4861061 w 6884782"/>
              <a:gd name="connsiteY43246" fmla="*/ 1922621 h 5973007"/>
              <a:gd name="connsiteX43247" fmla="*/ 4861061 w 6884782"/>
              <a:gd name="connsiteY43247" fmla="*/ 1925894 h 5973007"/>
              <a:gd name="connsiteX43248" fmla="*/ 4859994 w 6884782"/>
              <a:gd name="connsiteY43248" fmla="*/ 1933007 h 5973007"/>
              <a:gd name="connsiteX43249" fmla="*/ 4859568 w 6884782"/>
              <a:gd name="connsiteY43249" fmla="*/ 1925467 h 5973007"/>
              <a:gd name="connsiteX43250" fmla="*/ 4858714 w 6884782"/>
              <a:gd name="connsiteY43250" fmla="*/ 1929308 h 5973007"/>
              <a:gd name="connsiteX43251" fmla="*/ 4859568 w 6884782"/>
              <a:gd name="connsiteY43251" fmla="*/ 1933291 h 5973007"/>
              <a:gd name="connsiteX43252" fmla="*/ 4857647 w 6884782"/>
              <a:gd name="connsiteY43252" fmla="*/ 1935284 h 5973007"/>
              <a:gd name="connsiteX43253" fmla="*/ 4855513 w 6884782"/>
              <a:gd name="connsiteY43253" fmla="*/ 1932295 h 5973007"/>
              <a:gd name="connsiteX43254" fmla="*/ 4858287 w 6884782"/>
              <a:gd name="connsiteY43254" fmla="*/ 1928881 h 5973007"/>
              <a:gd name="connsiteX43255" fmla="*/ 4858287 w 6884782"/>
              <a:gd name="connsiteY43255" fmla="*/ 1924044 h 5973007"/>
              <a:gd name="connsiteX43256" fmla="*/ 4859568 w 6884782"/>
              <a:gd name="connsiteY43256" fmla="*/ 1922337 h 5973007"/>
              <a:gd name="connsiteX43257" fmla="*/ 4860635 w 6884782"/>
              <a:gd name="connsiteY43257" fmla="*/ 1914370 h 5973007"/>
              <a:gd name="connsiteX43258" fmla="*/ 4858073 w 6884782"/>
              <a:gd name="connsiteY43258" fmla="*/ 1920488 h 5973007"/>
              <a:gd name="connsiteX43259" fmla="*/ 4845909 w 6884782"/>
              <a:gd name="connsiteY43259" fmla="*/ 1941259 h 5973007"/>
              <a:gd name="connsiteX43260" fmla="*/ 4820939 w 6884782"/>
              <a:gd name="connsiteY43260" fmla="*/ 1949226 h 5973007"/>
              <a:gd name="connsiteX43261" fmla="*/ 4804932 w 6884782"/>
              <a:gd name="connsiteY43261" fmla="*/ 1941543 h 5973007"/>
              <a:gd name="connsiteX43262" fmla="*/ 4802158 w 6884782"/>
              <a:gd name="connsiteY43262" fmla="*/ 1940689 h 5973007"/>
              <a:gd name="connsiteX43263" fmla="*/ 4801944 w 6884782"/>
              <a:gd name="connsiteY43263" fmla="*/ 1944957 h 5973007"/>
              <a:gd name="connsiteX43264" fmla="*/ 4797890 w 6884782"/>
              <a:gd name="connsiteY43264" fmla="*/ 1949368 h 5973007"/>
              <a:gd name="connsiteX43265" fmla="*/ 4794261 w 6884782"/>
              <a:gd name="connsiteY43265" fmla="*/ 1948656 h 5973007"/>
              <a:gd name="connsiteX43266" fmla="*/ 4793407 w 6884782"/>
              <a:gd name="connsiteY43266" fmla="*/ 1940120 h 5973007"/>
              <a:gd name="connsiteX43267" fmla="*/ 4795968 w 6884782"/>
              <a:gd name="connsiteY43267" fmla="*/ 1938555 h 5973007"/>
              <a:gd name="connsiteX43268" fmla="*/ 4787219 w 6884782"/>
              <a:gd name="connsiteY43268" fmla="*/ 1935425 h 5973007"/>
              <a:gd name="connsiteX43269" fmla="*/ 4777188 w 6884782"/>
              <a:gd name="connsiteY43269" fmla="*/ 1915792 h 5973007"/>
              <a:gd name="connsiteX43270" fmla="*/ 4776334 w 6884782"/>
              <a:gd name="connsiteY43270" fmla="*/ 1913800 h 5973007"/>
              <a:gd name="connsiteX43271" fmla="*/ 4774626 w 6884782"/>
              <a:gd name="connsiteY43271" fmla="*/ 1916931 h 5973007"/>
              <a:gd name="connsiteX43272" fmla="*/ 4767797 w 6884782"/>
              <a:gd name="connsiteY43272" fmla="*/ 1918922 h 5973007"/>
              <a:gd name="connsiteX43273" fmla="*/ 4760541 w 6884782"/>
              <a:gd name="connsiteY43273" fmla="*/ 1917500 h 5973007"/>
              <a:gd name="connsiteX43274" fmla="*/ 4764169 w 6884782"/>
              <a:gd name="connsiteY43274" fmla="*/ 1910955 h 5973007"/>
              <a:gd name="connsiteX43275" fmla="*/ 4774626 w 6884782"/>
              <a:gd name="connsiteY43275" fmla="*/ 1911098 h 5973007"/>
              <a:gd name="connsiteX43276" fmla="*/ 4776121 w 6884782"/>
              <a:gd name="connsiteY43276" fmla="*/ 1913231 h 5973007"/>
              <a:gd name="connsiteX43277" fmla="*/ 4767370 w 6884782"/>
              <a:gd name="connsiteY43277" fmla="*/ 1896017 h 5973007"/>
              <a:gd name="connsiteX43278" fmla="*/ 4788285 w 6884782"/>
              <a:gd name="connsiteY43278" fmla="*/ 1851914 h 5973007"/>
              <a:gd name="connsiteX43279" fmla="*/ 4792340 w 6884782"/>
              <a:gd name="connsiteY43279" fmla="*/ 1852483 h 5973007"/>
              <a:gd name="connsiteX43280" fmla="*/ 4792554 w 6884782"/>
              <a:gd name="connsiteY43280" fmla="*/ 1852056 h 5973007"/>
              <a:gd name="connsiteX43281" fmla="*/ 4796395 w 6884782"/>
              <a:gd name="connsiteY43281" fmla="*/ 1850776 h 5973007"/>
              <a:gd name="connsiteX43282" fmla="*/ 4798743 w 6884782"/>
              <a:gd name="connsiteY43282" fmla="*/ 1852198 h 5973007"/>
              <a:gd name="connsiteX43283" fmla="*/ 4805359 w 6884782"/>
              <a:gd name="connsiteY43283" fmla="*/ 1850918 h 5973007"/>
              <a:gd name="connsiteX43284" fmla="*/ 4806639 w 6884782"/>
              <a:gd name="connsiteY43284" fmla="*/ 1851060 h 5973007"/>
              <a:gd name="connsiteX43285" fmla="*/ 4808774 w 6884782"/>
              <a:gd name="connsiteY43285" fmla="*/ 1850349 h 5973007"/>
              <a:gd name="connsiteX43286" fmla="*/ 4808347 w 6884782"/>
              <a:gd name="connsiteY43286" fmla="*/ 1845796 h 5973007"/>
              <a:gd name="connsiteX43287" fmla="*/ 4811548 w 6884782"/>
              <a:gd name="connsiteY43287" fmla="*/ 1842808 h 5973007"/>
              <a:gd name="connsiteX43288" fmla="*/ 4750083 w 6884782"/>
              <a:gd name="connsiteY43288" fmla="*/ 1842808 h 5973007"/>
              <a:gd name="connsiteX43289" fmla="*/ 4751151 w 6884782"/>
              <a:gd name="connsiteY43289" fmla="*/ 1843235 h 5973007"/>
              <a:gd name="connsiteX43290" fmla="*/ 4751364 w 6884782"/>
              <a:gd name="connsiteY43290" fmla="*/ 1842951 h 5973007"/>
              <a:gd name="connsiteX43291" fmla="*/ 4752218 w 6884782"/>
              <a:gd name="connsiteY43291" fmla="*/ 1843662 h 5973007"/>
              <a:gd name="connsiteX43292" fmla="*/ 4752431 w 6884782"/>
              <a:gd name="connsiteY43292" fmla="*/ 1842808 h 5973007"/>
              <a:gd name="connsiteX43293" fmla="*/ 1589836 w 6884782"/>
              <a:gd name="connsiteY43293" fmla="*/ 1842204 h 5973007"/>
              <a:gd name="connsiteX43294" fmla="*/ 1590559 w 6884782"/>
              <a:gd name="connsiteY43294" fmla="*/ 1845457 h 5973007"/>
              <a:gd name="connsiteX43295" fmla="*/ 1589113 w 6884782"/>
              <a:gd name="connsiteY43295" fmla="*/ 1842513 h 5973007"/>
              <a:gd name="connsiteX43296" fmla="*/ 1589836 w 6884782"/>
              <a:gd name="connsiteY43296" fmla="*/ 1842204 h 5973007"/>
              <a:gd name="connsiteX43297" fmla="*/ 1330353 w 6884782"/>
              <a:gd name="connsiteY43297" fmla="*/ 1841584 h 5973007"/>
              <a:gd name="connsiteX43298" fmla="*/ 1339646 w 6884782"/>
              <a:gd name="connsiteY43298" fmla="*/ 1849794 h 5973007"/>
              <a:gd name="connsiteX43299" fmla="*/ 1339543 w 6884782"/>
              <a:gd name="connsiteY43299" fmla="*/ 1852737 h 5973007"/>
              <a:gd name="connsiteX43300" fmla="*/ 1340679 w 6884782"/>
              <a:gd name="connsiteY43300" fmla="*/ 1850568 h 5973007"/>
              <a:gd name="connsiteX43301" fmla="*/ 1344706 w 6884782"/>
              <a:gd name="connsiteY43301" fmla="*/ 1849484 h 5973007"/>
              <a:gd name="connsiteX43302" fmla="*/ 1343983 w 6884782"/>
              <a:gd name="connsiteY43302" fmla="*/ 1849794 h 5973007"/>
              <a:gd name="connsiteX43303" fmla="*/ 1344706 w 6884782"/>
              <a:gd name="connsiteY43303" fmla="*/ 1851343 h 5973007"/>
              <a:gd name="connsiteX43304" fmla="*/ 1345532 w 6884782"/>
              <a:gd name="connsiteY43304" fmla="*/ 1851188 h 5973007"/>
              <a:gd name="connsiteX43305" fmla="*/ 1345532 w 6884782"/>
              <a:gd name="connsiteY43305" fmla="*/ 1853047 h 5973007"/>
              <a:gd name="connsiteX43306" fmla="*/ 1341092 w 6884782"/>
              <a:gd name="connsiteY43306" fmla="*/ 1857538 h 5973007"/>
              <a:gd name="connsiteX43307" fmla="*/ 1339130 w 6884782"/>
              <a:gd name="connsiteY43307" fmla="*/ 1855525 h 5973007"/>
              <a:gd name="connsiteX43308" fmla="*/ 1339130 w 6884782"/>
              <a:gd name="connsiteY43308" fmla="*/ 1854286 h 5973007"/>
              <a:gd name="connsiteX43309" fmla="*/ 1334690 w 6884782"/>
              <a:gd name="connsiteY43309" fmla="*/ 1852272 h 5973007"/>
              <a:gd name="connsiteX43310" fmla="*/ 1330353 w 6884782"/>
              <a:gd name="connsiteY43310" fmla="*/ 1841584 h 5973007"/>
              <a:gd name="connsiteX43311" fmla="*/ 3509261 w 6884782"/>
              <a:gd name="connsiteY43311" fmla="*/ 1841528 h 5973007"/>
              <a:gd name="connsiteX43312" fmla="*/ 3512035 w 6884782"/>
              <a:gd name="connsiteY43312" fmla="*/ 1841955 h 5973007"/>
              <a:gd name="connsiteX43313" fmla="*/ 3501791 w 6884782"/>
              <a:gd name="connsiteY43313" fmla="*/ 1848072 h 5973007"/>
              <a:gd name="connsiteX43314" fmla="*/ 3509261 w 6884782"/>
              <a:gd name="connsiteY43314" fmla="*/ 1841528 h 5973007"/>
              <a:gd name="connsiteX43315" fmla="*/ 5213631 w 6884782"/>
              <a:gd name="connsiteY43315" fmla="*/ 1841386 h 5973007"/>
              <a:gd name="connsiteX43316" fmla="*/ 5218540 w 6884782"/>
              <a:gd name="connsiteY43316" fmla="*/ 1845939 h 5973007"/>
              <a:gd name="connsiteX43317" fmla="*/ 5212350 w 6884782"/>
              <a:gd name="connsiteY43317" fmla="*/ 1847219 h 5973007"/>
              <a:gd name="connsiteX43318" fmla="*/ 5213631 w 6884782"/>
              <a:gd name="connsiteY43318" fmla="*/ 1841386 h 5973007"/>
              <a:gd name="connsiteX43319" fmla="*/ 895232 w 6884782"/>
              <a:gd name="connsiteY43319" fmla="*/ 1841274 h 5973007"/>
              <a:gd name="connsiteX43320" fmla="*/ 901014 w 6884782"/>
              <a:gd name="connsiteY43320" fmla="*/ 1849329 h 5973007"/>
              <a:gd name="connsiteX43321" fmla="*/ 898226 w 6884782"/>
              <a:gd name="connsiteY43321" fmla="*/ 1851962 h 5973007"/>
              <a:gd name="connsiteX43322" fmla="*/ 890998 w 6884782"/>
              <a:gd name="connsiteY43322" fmla="*/ 1844992 h 5973007"/>
              <a:gd name="connsiteX43323" fmla="*/ 895232 w 6884782"/>
              <a:gd name="connsiteY43323" fmla="*/ 1841274 h 5973007"/>
              <a:gd name="connsiteX43324" fmla="*/ 992292 w 6884782"/>
              <a:gd name="connsiteY43324" fmla="*/ 1840965 h 5973007"/>
              <a:gd name="connsiteX43325" fmla="*/ 997765 w 6884782"/>
              <a:gd name="connsiteY43325" fmla="*/ 1848555 h 5973007"/>
              <a:gd name="connsiteX43326" fmla="*/ 991363 w 6884782"/>
              <a:gd name="connsiteY43326" fmla="*/ 1843133 h 5973007"/>
              <a:gd name="connsiteX43327" fmla="*/ 992292 w 6884782"/>
              <a:gd name="connsiteY43327" fmla="*/ 1840965 h 5973007"/>
              <a:gd name="connsiteX43328" fmla="*/ 5591384 w 6884782"/>
              <a:gd name="connsiteY43328" fmla="*/ 1840675 h 5973007"/>
              <a:gd name="connsiteX43329" fmla="*/ 5598853 w 6884782"/>
              <a:gd name="connsiteY43329" fmla="*/ 1841813 h 5973007"/>
              <a:gd name="connsiteX43330" fmla="*/ 5596720 w 6884782"/>
              <a:gd name="connsiteY43330" fmla="*/ 1844800 h 5973007"/>
              <a:gd name="connsiteX43331" fmla="*/ 5593518 w 6884782"/>
              <a:gd name="connsiteY43331" fmla="*/ 1843947 h 5973007"/>
              <a:gd name="connsiteX43332" fmla="*/ 5590957 w 6884782"/>
              <a:gd name="connsiteY43332" fmla="*/ 1844089 h 5973007"/>
              <a:gd name="connsiteX43333" fmla="*/ 5588823 w 6884782"/>
              <a:gd name="connsiteY43333" fmla="*/ 1840817 h 5973007"/>
              <a:gd name="connsiteX43334" fmla="*/ 5591384 w 6884782"/>
              <a:gd name="connsiteY43334" fmla="*/ 1840675 h 5973007"/>
              <a:gd name="connsiteX43335" fmla="*/ 1508367 w 6884782"/>
              <a:gd name="connsiteY43335" fmla="*/ 1839725 h 5973007"/>
              <a:gd name="connsiteX43336" fmla="*/ 1506508 w 6884782"/>
              <a:gd name="connsiteY43336" fmla="*/ 1842359 h 5973007"/>
              <a:gd name="connsiteX43337" fmla="*/ 1505682 w 6884782"/>
              <a:gd name="connsiteY43337" fmla="*/ 1841584 h 5973007"/>
              <a:gd name="connsiteX43338" fmla="*/ 1505682 w 6884782"/>
              <a:gd name="connsiteY43338" fmla="*/ 1842359 h 5973007"/>
              <a:gd name="connsiteX43339" fmla="*/ 1505476 w 6884782"/>
              <a:gd name="connsiteY43339" fmla="*/ 1841274 h 5973007"/>
              <a:gd name="connsiteX43340" fmla="*/ 1505786 w 6884782"/>
              <a:gd name="connsiteY43340" fmla="*/ 1840810 h 5973007"/>
              <a:gd name="connsiteX43341" fmla="*/ 1508367 w 6884782"/>
              <a:gd name="connsiteY43341" fmla="*/ 1839725 h 5973007"/>
              <a:gd name="connsiteX43342" fmla="*/ 3731218 w 6884782"/>
              <a:gd name="connsiteY43342" fmla="*/ 1838683 h 5973007"/>
              <a:gd name="connsiteX43343" fmla="*/ 3731218 w 6884782"/>
              <a:gd name="connsiteY43343" fmla="*/ 1839963 h 5973007"/>
              <a:gd name="connsiteX43344" fmla="*/ 3732711 w 6884782"/>
              <a:gd name="connsiteY43344" fmla="*/ 1844942 h 5973007"/>
              <a:gd name="connsiteX43345" fmla="*/ 3726735 w 6884782"/>
              <a:gd name="connsiteY43345" fmla="*/ 1844658 h 5973007"/>
              <a:gd name="connsiteX43346" fmla="*/ 3727803 w 6884782"/>
              <a:gd name="connsiteY43346" fmla="*/ 1839679 h 5973007"/>
              <a:gd name="connsiteX43347" fmla="*/ 3731218 w 6884782"/>
              <a:gd name="connsiteY43347" fmla="*/ 1838683 h 5973007"/>
              <a:gd name="connsiteX43348" fmla="*/ 5608458 w 6884782"/>
              <a:gd name="connsiteY43348" fmla="*/ 1838540 h 5973007"/>
              <a:gd name="connsiteX43349" fmla="*/ 5618062 w 6884782"/>
              <a:gd name="connsiteY43349" fmla="*/ 1843520 h 5973007"/>
              <a:gd name="connsiteX43350" fmla="*/ 5618915 w 6884782"/>
              <a:gd name="connsiteY43350" fmla="*/ 1846365 h 5973007"/>
              <a:gd name="connsiteX43351" fmla="*/ 5613580 w 6884782"/>
              <a:gd name="connsiteY43351" fmla="*/ 1848499 h 5973007"/>
              <a:gd name="connsiteX43352" fmla="*/ 5604829 w 6884782"/>
              <a:gd name="connsiteY43352" fmla="*/ 1841101 h 5973007"/>
              <a:gd name="connsiteX43353" fmla="*/ 5608458 w 6884782"/>
              <a:gd name="connsiteY43353" fmla="*/ 1838540 h 5973007"/>
              <a:gd name="connsiteX43354" fmla="*/ 863016 w 6884782"/>
              <a:gd name="connsiteY43354" fmla="*/ 1838486 h 5973007"/>
              <a:gd name="connsiteX43355" fmla="*/ 864978 w 6884782"/>
              <a:gd name="connsiteY43355" fmla="*/ 1838642 h 5973007"/>
              <a:gd name="connsiteX43356" fmla="*/ 864358 w 6884782"/>
              <a:gd name="connsiteY43356" fmla="*/ 1841274 h 5973007"/>
              <a:gd name="connsiteX43357" fmla="*/ 861260 w 6884782"/>
              <a:gd name="connsiteY43357" fmla="*/ 1841120 h 5973007"/>
              <a:gd name="connsiteX43358" fmla="*/ 858782 w 6884782"/>
              <a:gd name="connsiteY43358" fmla="*/ 1843288 h 5973007"/>
              <a:gd name="connsiteX43359" fmla="*/ 855685 w 6884782"/>
              <a:gd name="connsiteY43359" fmla="*/ 1843288 h 5973007"/>
              <a:gd name="connsiteX43360" fmla="*/ 855478 w 6884782"/>
              <a:gd name="connsiteY43360" fmla="*/ 1842359 h 5973007"/>
              <a:gd name="connsiteX43361" fmla="*/ 856097 w 6884782"/>
              <a:gd name="connsiteY43361" fmla="*/ 1842513 h 5973007"/>
              <a:gd name="connsiteX43362" fmla="*/ 858472 w 6884782"/>
              <a:gd name="connsiteY43362" fmla="*/ 1842204 h 5973007"/>
              <a:gd name="connsiteX43363" fmla="*/ 863016 w 6884782"/>
              <a:gd name="connsiteY43363" fmla="*/ 1838486 h 5973007"/>
              <a:gd name="connsiteX43364" fmla="*/ 6138379 w 6884782"/>
              <a:gd name="connsiteY43364" fmla="*/ 1837687 h 5973007"/>
              <a:gd name="connsiteX43365" fmla="*/ 6145635 w 6884782"/>
              <a:gd name="connsiteY43365" fmla="*/ 1864861 h 5973007"/>
              <a:gd name="connsiteX43366" fmla="*/ 6137952 w 6884782"/>
              <a:gd name="connsiteY43366" fmla="*/ 1852056 h 5973007"/>
              <a:gd name="connsiteX43367" fmla="*/ 6138379 w 6884782"/>
              <a:gd name="connsiteY43367" fmla="*/ 1837687 h 5973007"/>
              <a:gd name="connsiteX43368" fmla="*/ 1035350 w 6884782"/>
              <a:gd name="connsiteY43368" fmla="*/ 1837092 h 5973007"/>
              <a:gd name="connsiteX43369" fmla="*/ 1041856 w 6884782"/>
              <a:gd name="connsiteY43369" fmla="*/ 1858468 h 5973007"/>
              <a:gd name="connsiteX43370" fmla="*/ 1032459 w 6884782"/>
              <a:gd name="connsiteY43370" fmla="*/ 1841894 h 5973007"/>
              <a:gd name="connsiteX43371" fmla="*/ 1035350 w 6884782"/>
              <a:gd name="connsiteY43371" fmla="*/ 1837092 h 5973007"/>
              <a:gd name="connsiteX43372" fmla="*/ 3777103 w 6884782"/>
              <a:gd name="connsiteY43372" fmla="*/ 1836549 h 5973007"/>
              <a:gd name="connsiteX43373" fmla="*/ 3775822 w 6884782"/>
              <a:gd name="connsiteY43373" fmla="*/ 1843662 h 5973007"/>
              <a:gd name="connsiteX43374" fmla="*/ 3772407 w 6884782"/>
              <a:gd name="connsiteY43374" fmla="*/ 1837545 h 5973007"/>
              <a:gd name="connsiteX43375" fmla="*/ 3777103 w 6884782"/>
              <a:gd name="connsiteY43375" fmla="*/ 1836549 h 5973007"/>
              <a:gd name="connsiteX43376" fmla="*/ 1511258 w 6884782"/>
              <a:gd name="connsiteY43376" fmla="*/ 1836163 h 5973007"/>
              <a:gd name="connsiteX43377" fmla="*/ 1514872 w 6884782"/>
              <a:gd name="connsiteY43377" fmla="*/ 1836163 h 5973007"/>
              <a:gd name="connsiteX43378" fmla="*/ 1508367 w 6884782"/>
              <a:gd name="connsiteY43378" fmla="*/ 1839725 h 5973007"/>
              <a:gd name="connsiteX43379" fmla="*/ 1511258 w 6884782"/>
              <a:gd name="connsiteY43379" fmla="*/ 1836163 h 5973007"/>
              <a:gd name="connsiteX43380" fmla="*/ 1180735 w 6884782"/>
              <a:gd name="connsiteY43380" fmla="*/ 1835853 h 5973007"/>
              <a:gd name="connsiteX43381" fmla="*/ 1195707 w 6884782"/>
              <a:gd name="connsiteY43381" fmla="*/ 1838951 h 5973007"/>
              <a:gd name="connsiteX43382" fmla="*/ 1200767 w 6884782"/>
              <a:gd name="connsiteY43382" fmla="*/ 1839106 h 5973007"/>
              <a:gd name="connsiteX43383" fmla="*/ 1202316 w 6884782"/>
              <a:gd name="connsiteY43383" fmla="*/ 1838951 h 5973007"/>
              <a:gd name="connsiteX43384" fmla="*/ 1202419 w 6884782"/>
              <a:gd name="connsiteY43384" fmla="*/ 1839106 h 5973007"/>
              <a:gd name="connsiteX43385" fmla="*/ 1202729 w 6884782"/>
              <a:gd name="connsiteY43385" fmla="*/ 1839106 h 5973007"/>
              <a:gd name="connsiteX43386" fmla="*/ 1208304 w 6884782"/>
              <a:gd name="connsiteY43386" fmla="*/ 1842824 h 5973007"/>
              <a:gd name="connsiteX43387" fmla="*/ 1203038 w 6884782"/>
              <a:gd name="connsiteY43387" fmla="*/ 1844217 h 5973007"/>
              <a:gd name="connsiteX43388" fmla="*/ 1202626 w 6884782"/>
              <a:gd name="connsiteY43388" fmla="*/ 1845767 h 5973007"/>
              <a:gd name="connsiteX43389" fmla="*/ 1196120 w 6884782"/>
              <a:gd name="connsiteY43389" fmla="*/ 1849329 h 5973007"/>
              <a:gd name="connsiteX43390" fmla="*/ 1194881 w 6884782"/>
              <a:gd name="connsiteY43390" fmla="*/ 1846076 h 5973007"/>
              <a:gd name="connsiteX43391" fmla="*/ 1189202 w 6884782"/>
              <a:gd name="connsiteY43391" fmla="*/ 1846231 h 5973007"/>
              <a:gd name="connsiteX43392" fmla="*/ 1181148 w 6884782"/>
              <a:gd name="connsiteY43392" fmla="*/ 1844063 h 5973007"/>
              <a:gd name="connsiteX43393" fmla="*/ 1179290 w 6884782"/>
              <a:gd name="connsiteY43393" fmla="*/ 1837712 h 5973007"/>
              <a:gd name="connsiteX43394" fmla="*/ 1180735 w 6884782"/>
              <a:gd name="connsiteY43394" fmla="*/ 1835853 h 5973007"/>
              <a:gd name="connsiteX43395" fmla="*/ 1228233 w 6884782"/>
              <a:gd name="connsiteY43395" fmla="*/ 1835698 h 5973007"/>
              <a:gd name="connsiteX43396" fmla="*/ 1230092 w 6884782"/>
              <a:gd name="connsiteY43396" fmla="*/ 1836163 h 5973007"/>
              <a:gd name="connsiteX43397" fmla="*/ 1237216 w 6884782"/>
              <a:gd name="connsiteY43397" fmla="*/ 1841429 h 5973007"/>
              <a:gd name="connsiteX43398" fmla="*/ 1238765 w 6884782"/>
              <a:gd name="connsiteY43398" fmla="*/ 1842359 h 5973007"/>
              <a:gd name="connsiteX43399" fmla="*/ 1239385 w 6884782"/>
              <a:gd name="connsiteY43399" fmla="*/ 1844682 h 5973007"/>
              <a:gd name="connsiteX43400" fmla="*/ 1235151 w 6884782"/>
              <a:gd name="connsiteY43400" fmla="*/ 1843908 h 5973007"/>
              <a:gd name="connsiteX43401" fmla="*/ 1232157 w 6884782"/>
              <a:gd name="connsiteY43401" fmla="*/ 1841120 h 5973007"/>
              <a:gd name="connsiteX43402" fmla="*/ 1230711 w 6884782"/>
              <a:gd name="connsiteY43402" fmla="*/ 1842049 h 5973007"/>
              <a:gd name="connsiteX43403" fmla="*/ 1227510 w 6884782"/>
              <a:gd name="connsiteY43403" fmla="*/ 1842049 h 5973007"/>
              <a:gd name="connsiteX43404" fmla="*/ 1230504 w 6884782"/>
              <a:gd name="connsiteY43404" fmla="*/ 1840035 h 5973007"/>
              <a:gd name="connsiteX43405" fmla="*/ 1231331 w 6884782"/>
              <a:gd name="connsiteY43405" fmla="*/ 1840035 h 5973007"/>
              <a:gd name="connsiteX43406" fmla="*/ 1230608 w 6884782"/>
              <a:gd name="connsiteY43406" fmla="*/ 1839261 h 5973007"/>
              <a:gd name="connsiteX43407" fmla="*/ 1228439 w 6884782"/>
              <a:gd name="connsiteY43407" fmla="*/ 1838642 h 5973007"/>
              <a:gd name="connsiteX43408" fmla="*/ 1227717 w 6884782"/>
              <a:gd name="connsiteY43408" fmla="*/ 1836318 h 5973007"/>
              <a:gd name="connsiteX43409" fmla="*/ 3573074 w 6884782"/>
              <a:gd name="connsiteY43409" fmla="*/ 1835127 h 5973007"/>
              <a:gd name="connsiteX43410" fmla="*/ 3597190 w 6884782"/>
              <a:gd name="connsiteY43410" fmla="*/ 1861019 h 5973007"/>
              <a:gd name="connsiteX43411" fmla="*/ 3588013 w 6884782"/>
              <a:gd name="connsiteY43411" fmla="*/ 1868844 h 5973007"/>
              <a:gd name="connsiteX43412" fmla="*/ 3587159 w 6884782"/>
              <a:gd name="connsiteY43412" fmla="*/ 1865287 h 5973007"/>
              <a:gd name="connsiteX43413" fmla="*/ 3581824 w 6884782"/>
              <a:gd name="connsiteY43413" fmla="*/ 1871405 h 5973007"/>
              <a:gd name="connsiteX43414" fmla="*/ 3579903 w 6884782"/>
              <a:gd name="connsiteY43414" fmla="*/ 1863580 h 5973007"/>
              <a:gd name="connsiteX43415" fmla="*/ 3584171 w 6884782"/>
              <a:gd name="connsiteY43415" fmla="*/ 1857462 h 5973007"/>
              <a:gd name="connsiteX43416" fmla="*/ 3579049 w 6884782"/>
              <a:gd name="connsiteY43416" fmla="*/ 1851203 h 5973007"/>
              <a:gd name="connsiteX43417" fmla="*/ 3573074 w 6884782"/>
              <a:gd name="connsiteY43417" fmla="*/ 1835127 h 5973007"/>
              <a:gd name="connsiteX43418" fmla="*/ 5986211 w 6884782"/>
              <a:gd name="connsiteY43418" fmla="*/ 1833988 h 5973007"/>
              <a:gd name="connsiteX43419" fmla="*/ 5978314 w 6884782"/>
              <a:gd name="connsiteY43419" fmla="*/ 1844089 h 5973007"/>
              <a:gd name="connsiteX43420" fmla="*/ 5986211 w 6884782"/>
              <a:gd name="connsiteY43420" fmla="*/ 1833988 h 5973007"/>
              <a:gd name="connsiteX43421" fmla="*/ 5770443 w 6884782"/>
              <a:gd name="connsiteY43421" fmla="*/ 1833988 h 5973007"/>
              <a:gd name="connsiteX43422" fmla="*/ 5789224 w 6884782"/>
              <a:gd name="connsiteY43422" fmla="*/ 1840675 h 5973007"/>
              <a:gd name="connsiteX43423" fmla="*/ 5799682 w 6884782"/>
              <a:gd name="connsiteY43423" fmla="*/ 1844231 h 5973007"/>
              <a:gd name="connsiteX43424" fmla="*/ 5802029 w 6884782"/>
              <a:gd name="connsiteY43424" fmla="*/ 1839679 h 5973007"/>
              <a:gd name="connsiteX43425" fmla="*/ 5804590 w 6884782"/>
              <a:gd name="connsiteY43425" fmla="*/ 1845796 h 5973007"/>
              <a:gd name="connsiteX43426" fmla="*/ 5808219 w 6884782"/>
              <a:gd name="connsiteY43426" fmla="*/ 1847219 h 5973007"/>
              <a:gd name="connsiteX43427" fmla="*/ 5819956 w 6884782"/>
              <a:gd name="connsiteY43427" fmla="*/ 1895733 h 5973007"/>
              <a:gd name="connsiteX43428" fmla="*/ 5801816 w 6884782"/>
              <a:gd name="connsiteY43428" fmla="*/ 1920914 h 5973007"/>
              <a:gd name="connsiteX43429" fmla="*/ 5738643 w 6884782"/>
              <a:gd name="connsiteY43429" fmla="*/ 1921483 h 5973007"/>
              <a:gd name="connsiteX43430" fmla="*/ 5724344 w 6884782"/>
              <a:gd name="connsiteY43430" fmla="*/ 1876242 h 5973007"/>
              <a:gd name="connsiteX43431" fmla="*/ 5737790 w 6884782"/>
              <a:gd name="connsiteY43431" fmla="*/ 1850633 h 5973007"/>
              <a:gd name="connsiteX43432" fmla="*/ 5770443 w 6884782"/>
              <a:gd name="connsiteY43432" fmla="*/ 1833988 h 5973007"/>
              <a:gd name="connsiteX43433" fmla="*/ 4751791 w 6884782"/>
              <a:gd name="connsiteY43433" fmla="*/ 1833561 h 5973007"/>
              <a:gd name="connsiteX43434" fmla="*/ 4765236 w 6884782"/>
              <a:gd name="connsiteY43434" fmla="*/ 1842524 h 5973007"/>
              <a:gd name="connsiteX43435" fmla="*/ 4757339 w 6884782"/>
              <a:gd name="connsiteY43435" fmla="*/ 1842808 h 5973007"/>
              <a:gd name="connsiteX43436" fmla="*/ 4753711 w 6884782"/>
              <a:gd name="connsiteY43436" fmla="*/ 1842808 h 5973007"/>
              <a:gd name="connsiteX43437" fmla="*/ 4757126 w 6884782"/>
              <a:gd name="connsiteY43437" fmla="*/ 1843520 h 5973007"/>
              <a:gd name="connsiteX43438" fmla="*/ 4757766 w 6884782"/>
              <a:gd name="connsiteY43438" fmla="*/ 1846365 h 5973007"/>
              <a:gd name="connsiteX43439" fmla="*/ 4753711 w 6884782"/>
              <a:gd name="connsiteY43439" fmla="*/ 1852198 h 5973007"/>
              <a:gd name="connsiteX43440" fmla="*/ 4757553 w 6884782"/>
              <a:gd name="connsiteY43440" fmla="*/ 1860023 h 5973007"/>
              <a:gd name="connsiteX43441" fmla="*/ 4757980 w 6884782"/>
              <a:gd name="connsiteY43441" fmla="*/ 1860734 h 5973007"/>
              <a:gd name="connsiteX43442" fmla="*/ 4759687 w 6884782"/>
              <a:gd name="connsiteY43442" fmla="*/ 1863864 h 5973007"/>
              <a:gd name="connsiteX43443" fmla="*/ 4759687 w 6884782"/>
              <a:gd name="connsiteY43443" fmla="*/ 1864007 h 5973007"/>
              <a:gd name="connsiteX43444" fmla="*/ 4760327 w 6884782"/>
              <a:gd name="connsiteY43444" fmla="*/ 1865002 h 5973007"/>
              <a:gd name="connsiteX43445" fmla="*/ 4760114 w 6884782"/>
              <a:gd name="connsiteY43445" fmla="*/ 1872401 h 5973007"/>
              <a:gd name="connsiteX43446" fmla="*/ 4749016 w 6884782"/>
              <a:gd name="connsiteY43446" fmla="*/ 1876668 h 5973007"/>
              <a:gd name="connsiteX43447" fmla="*/ 4745815 w 6884782"/>
              <a:gd name="connsiteY43447" fmla="*/ 1875530 h 5973007"/>
              <a:gd name="connsiteX43448" fmla="*/ 4746668 w 6884782"/>
              <a:gd name="connsiteY43448" fmla="*/ 1878092 h 5973007"/>
              <a:gd name="connsiteX43449" fmla="*/ 4723619 w 6884782"/>
              <a:gd name="connsiteY43449" fmla="*/ 1880083 h 5973007"/>
              <a:gd name="connsiteX43450" fmla="*/ 4721271 w 6884782"/>
              <a:gd name="connsiteY43450" fmla="*/ 1879087 h 5973007"/>
              <a:gd name="connsiteX43451" fmla="*/ 4721058 w 6884782"/>
              <a:gd name="connsiteY43451" fmla="*/ 1876100 h 5973007"/>
              <a:gd name="connsiteX43452" fmla="*/ 4735784 w 6884782"/>
              <a:gd name="connsiteY43452" fmla="*/ 1871262 h 5973007"/>
              <a:gd name="connsiteX43453" fmla="*/ 4738772 w 6884782"/>
              <a:gd name="connsiteY43453" fmla="*/ 1872543 h 5973007"/>
              <a:gd name="connsiteX43454" fmla="*/ 4740266 w 6884782"/>
              <a:gd name="connsiteY43454" fmla="*/ 1873254 h 5973007"/>
              <a:gd name="connsiteX43455" fmla="*/ 4737278 w 6884782"/>
              <a:gd name="connsiteY43455" fmla="*/ 1870409 h 5973007"/>
              <a:gd name="connsiteX43456" fmla="*/ 4736211 w 6884782"/>
              <a:gd name="connsiteY43456" fmla="*/ 1859739 h 5973007"/>
              <a:gd name="connsiteX43457" fmla="*/ 4737278 w 6884782"/>
              <a:gd name="connsiteY43457" fmla="*/ 1859170 h 5973007"/>
              <a:gd name="connsiteX43458" fmla="*/ 4732369 w 6884782"/>
              <a:gd name="connsiteY43458" fmla="*/ 1853621 h 5973007"/>
              <a:gd name="connsiteX43459" fmla="*/ 4747522 w 6884782"/>
              <a:gd name="connsiteY43459" fmla="*/ 1844089 h 5973007"/>
              <a:gd name="connsiteX43460" fmla="*/ 4750083 w 6884782"/>
              <a:gd name="connsiteY43460" fmla="*/ 1843662 h 5973007"/>
              <a:gd name="connsiteX43461" fmla="*/ 4749656 w 6884782"/>
              <a:gd name="connsiteY43461" fmla="*/ 1842808 h 5973007"/>
              <a:gd name="connsiteX43462" fmla="*/ 4747095 w 6884782"/>
              <a:gd name="connsiteY43462" fmla="*/ 1842808 h 5973007"/>
              <a:gd name="connsiteX43463" fmla="*/ 4733864 w 6884782"/>
              <a:gd name="connsiteY43463" fmla="*/ 1835411 h 5973007"/>
              <a:gd name="connsiteX43464" fmla="*/ 4751791 w 6884782"/>
              <a:gd name="connsiteY43464" fmla="*/ 1833561 h 5973007"/>
              <a:gd name="connsiteX43465" fmla="*/ 4795328 w 6884782"/>
              <a:gd name="connsiteY43465" fmla="*/ 1832992 h 5973007"/>
              <a:gd name="connsiteX43466" fmla="*/ 4784017 w 6884782"/>
              <a:gd name="connsiteY43466" fmla="*/ 1845796 h 5973007"/>
              <a:gd name="connsiteX43467" fmla="*/ 4779962 w 6884782"/>
              <a:gd name="connsiteY43467" fmla="*/ 1845654 h 5973007"/>
              <a:gd name="connsiteX43468" fmla="*/ 4782950 w 6884782"/>
              <a:gd name="connsiteY43468" fmla="*/ 1847219 h 5973007"/>
              <a:gd name="connsiteX43469" fmla="*/ 4784444 w 6884782"/>
              <a:gd name="connsiteY43469" fmla="*/ 1852767 h 5973007"/>
              <a:gd name="connsiteX43470" fmla="*/ 4784017 w 6884782"/>
              <a:gd name="connsiteY43470" fmla="*/ 1851771 h 5973007"/>
              <a:gd name="connsiteX43471" fmla="*/ 4781883 w 6884782"/>
              <a:gd name="connsiteY43471" fmla="*/ 1852767 h 5973007"/>
              <a:gd name="connsiteX43472" fmla="*/ 4782096 w 6884782"/>
              <a:gd name="connsiteY43472" fmla="*/ 1853906 h 5973007"/>
              <a:gd name="connsiteX43473" fmla="*/ 4779535 w 6884782"/>
              <a:gd name="connsiteY43473" fmla="*/ 1853906 h 5973007"/>
              <a:gd name="connsiteX43474" fmla="*/ 4773346 w 6884782"/>
              <a:gd name="connsiteY43474" fmla="*/ 1847788 h 5973007"/>
              <a:gd name="connsiteX43475" fmla="*/ 4776121 w 6884782"/>
              <a:gd name="connsiteY43475" fmla="*/ 1845085 h 5973007"/>
              <a:gd name="connsiteX43476" fmla="*/ 4777828 w 6884782"/>
              <a:gd name="connsiteY43476" fmla="*/ 1845085 h 5973007"/>
              <a:gd name="connsiteX43477" fmla="*/ 4780602 w 6884782"/>
              <a:gd name="connsiteY43477" fmla="*/ 1838967 h 5973007"/>
              <a:gd name="connsiteX43478" fmla="*/ 4795328 w 6884782"/>
              <a:gd name="connsiteY43478" fmla="*/ 1832992 h 5973007"/>
              <a:gd name="connsiteX43479" fmla="*/ 6182557 w 6884782"/>
              <a:gd name="connsiteY43479" fmla="*/ 1832850 h 5973007"/>
              <a:gd name="connsiteX43480" fmla="*/ 6187252 w 6884782"/>
              <a:gd name="connsiteY43480" fmla="*/ 1833135 h 5973007"/>
              <a:gd name="connsiteX43481" fmla="*/ 6175087 w 6884782"/>
              <a:gd name="connsiteY43481" fmla="*/ 1847504 h 5973007"/>
              <a:gd name="connsiteX43482" fmla="*/ 6170392 w 6884782"/>
              <a:gd name="connsiteY43482" fmla="*/ 1838256 h 5973007"/>
              <a:gd name="connsiteX43483" fmla="*/ 6182557 w 6884782"/>
              <a:gd name="connsiteY43483" fmla="*/ 1832850 h 5973007"/>
              <a:gd name="connsiteX43484" fmla="*/ 3839421 w 6884782"/>
              <a:gd name="connsiteY43484" fmla="*/ 1832565 h 5973007"/>
              <a:gd name="connsiteX43485" fmla="*/ 3844756 w 6884782"/>
              <a:gd name="connsiteY43485" fmla="*/ 1839536 h 5973007"/>
              <a:gd name="connsiteX43486" fmla="*/ 3845184 w 6884782"/>
              <a:gd name="connsiteY43486" fmla="*/ 1842524 h 5973007"/>
              <a:gd name="connsiteX43487" fmla="*/ 3847104 w 6884782"/>
              <a:gd name="connsiteY43487" fmla="*/ 1843235 h 5973007"/>
              <a:gd name="connsiteX43488" fmla="*/ 3847958 w 6884782"/>
              <a:gd name="connsiteY43488" fmla="*/ 1855044 h 5973007"/>
              <a:gd name="connsiteX43489" fmla="*/ 3844756 w 6884782"/>
              <a:gd name="connsiteY43489" fmla="*/ 1857178 h 5973007"/>
              <a:gd name="connsiteX43490" fmla="*/ 3844116 w 6884782"/>
              <a:gd name="connsiteY43490" fmla="*/ 1858458 h 5973007"/>
              <a:gd name="connsiteX43491" fmla="*/ 3841342 w 6884782"/>
              <a:gd name="connsiteY43491" fmla="*/ 1859027 h 5973007"/>
              <a:gd name="connsiteX43492" fmla="*/ 3838994 w 6884782"/>
              <a:gd name="connsiteY43492" fmla="*/ 1857178 h 5973007"/>
              <a:gd name="connsiteX43493" fmla="*/ 3838781 w 6884782"/>
              <a:gd name="connsiteY43493" fmla="*/ 1857035 h 5973007"/>
              <a:gd name="connsiteX43494" fmla="*/ 3836433 w 6884782"/>
              <a:gd name="connsiteY43494" fmla="*/ 1856608 h 5973007"/>
              <a:gd name="connsiteX43495" fmla="*/ 3835793 w 6884782"/>
              <a:gd name="connsiteY43495" fmla="*/ 1854759 h 5973007"/>
              <a:gd name="connsiteX43496" fmla="*/ 3832378 w 6884782"/>
              <a:gd name="connsiteY43496" fmla="*/ 1855328 h 5973007"/>
              <a:gd name="connsiteX43497" fmla="*/ 3828110 w 6884782"/>
              <a:gd name="connsiteY43497" fmla="*/ 1858458 h 5973007"/>
              <a:gd name="connsiteX43498" fmla="*/ 3827257 w 6884782"/>
              <a:gd name="connsiteY43498" fmla="*/ 1858885 h 5973007"/>
              <a:gd name="connsiteX43499" fmla="*/ 3825976 w 6884782"/>
              <a:gd name="connsiteY43499" fmla="*/ 1863437 h 5973007"/>
              <a:gd name="connsiteX43500" fmla="*/ 3821067 w 6884782"/>
              <a:gd name="connsiteY43500" fmla="*/ 1862726 h 5973007"/>
              <a:gd name="connsiteX43501" fmla="*/ 3820854 w 6884782"/>
              <a:gd name="connsiteY43501" fmla="*/ 1861019 h 5973007"/>
              <a:gd name="connsiteX43502" fmla="*/ 3815945 w 6884782"/>
              <a:gd name="connsiteY43502" fmla="*/ 1860877 h 5973007"/>
              <a:gd name="connsiteX43503" fmla="*/ 3814024 w 6884782"/>
              <a:gd name="connsiteY43503" fmla="*/ 1849211 h 5973007"/>
              <a:gd name="connsiteX43504" fmla="*/ 3832805 w 6884782"/>
              <a:gd name="connsiteY43504" fmla="*/ 1836122 h 5973007"/>
              <a:gd name="connsiteX43505" fmla="*/ 3833232 w 6884782"/>
              <a:gd name="connsiteY43505" fmla="*/ 1837260 h 5973007"/>
              <a:gd name="connsiteX43506" fmla="*/ 3839421 w 6884782"/>
              <a:gd name="connsiteY43506" fmla="*/ 1832565 h 5973007"/>
              <a:gd name="connsiteX43507" fmla="*/ 5570896 w 6884782"/>
              <a:gd name="connsiteY43507" fmla="*/ 1831570 h 5973007"/>
              <a:gd name="connsiteX43508" fmla="*/ 5583061 w 6884782"/>
              <a:gd name="connsiteY43508" fmla="*/ 1862157 h 5973007"/>
              <a:gd name="connsiteX43509" fmla="*/ 5583487 w 6884782"/>
              <a:gd name="connsiteY43509" fmla="*/ 1865287 h 5973007"/>
              <a:gd name="connsiteX43510" fmla="*/ 5588823 w 6884782"/>
              <a:gd name="connsiteY43510" fmla="*/ 1867136 h 5973007"/>
              <a:gd name="connsiteX43511" fmla="*/ 5590103 w 6884782"/>
              <a:gd name="connsiteY43511" fmla="*/ 1869555 h 5973007"/>
              <a:gd name="connsiteX43512" fmla="*/ 5587329 w 6884782"/>
              <a:gd name="connsiteY43512" fmla="*/ 1871405 h 5973007"/>
              <a:gd name="connsiteX43513" fmla="*/ 5583701 w 6884782"/>
              <a:gd name="connsiteY43513" fmla="*/ 1869839 h 5973007"/>
              <a:gd name="connsiteX43514" fmla="*/ 5583274 w 6884782"/>
              <a:gd name="connsiteY43514" fmla="*/ 1873112 h 5973007"/>
              <a:gd name="connsiteX43515" fmla="*/ 5541444 w 6884782"/>
              <a:gd name="connsiteY43515" fmla="*/ 1888477 h 5973007"/>
              <a:gd name="connsiteX43516" fmla="*/ 5535682 w 6884782"/>
              <a:gd name="connsiteY43516" fmla="*/ 1881648 h 5973007"/>
              <a:gd name="connsiteX43517" fmla="*/ 5533761 w 6884782"/>
              <a:gd name="connsiteY43517" fmla="*/ 1883497 h 5973007"/>
              <a:gd name="connsiteX43518" fmla="*/ 5527999 w 6884782"/>
              <a:gd name="connsiteY43518" fmla="*/ 1884493 h 5973007"/>
              <a:gd name="connsiteX43519" fmla="*/ 5526504 w 6884782"/>
              <a:gd name="connsiteY43519" fmla="*/ 1873823 h 5973007"/>
              <a:gd name="connsiteX43520" fmla="*/ 5530559 w 6884782"/>
              <a:gd name="connsiteY43520" fmla="*/ 1869982 h 5973007"/>
              <a:gd name="connsiteX43521" fmla="*/ 5534614 w 6884782"/>
              <a:gd name="connsiteY43521" fmla="*/ 1866852 h 5973007"/>
              <a:gd name="connsiteX43522" fmla="*/ 5536748 w 6884782"/>
              <a:gd name="connsiteY43522" fmla="*/ 1858743 h 5973007"/>
              <a:gd name="connsiteX43523" fmla="*/ 5570896 w 6884782"/>
              <a:gd name="connsiteY43523" fmla="*/ 1831570 h 5973007"/>
              <a:gd name="connsiteX43524" fmla="*/ 1190441 w 6884782"/>
              <a:gd name="connsiteY43524" fmla="*/ 1831361 h 5973007"/>
              <a:gd name="connsiteX43525" fmla="*/ 1197463 w 6884782"/>
              <a:gd name="connsiteY43525" fmla="*/ 1832756 h 5973007"/>
              <a:gd name="connsiteX43526" fmla="*/ 1194158 w 6884782"/>
              <a:gd name="connsiteY43526" fmla="*/ 1836937 h 5973007"/>
              <a:gd name="connsiteX43527" fmla="*/ 1190958 w 6884782"/>
              <a:gd name="connsiteY43527" fmla="*/ 1837247 h 5973007"/>
              <a:gd name="connsiteX43528" fmla="*/ 1189512 w 6884782"/>
              <a:gd name="connsiteY43528" fmla="*/ 1834769 h 5973007"/>
              <a:gd name="connsiteX43529" fmla="*/ 1190441 w 6884782"/>
              <a:gd name="connsiteY43529" fmla="*/ 1831361 h 5973007"/>
              <a:gd name="connsiteX43530" fmla="*/ 1238042 w 6884782"/>
              <a:gd name="connsiteY43530" fmla="*/ 1831206 h 5973007"/>
              <a:gd name="connsiteX43531" fmla="*/ 1239591 w 6884782"/>
              <a:gd name="connsiteY43531" fmla="*/ 1835389 h 5973007"/>
              <a:gd name="connsiteX43532" fmla="*/ 1238249 w 6884782"/>
              <a:gd name="connsiteY43532" fmla="*/ 1837247 h 5973007"/>
              <a:gd name="connsiteX43533" fmla="*/ 1237320 w 6884782"/>
              <a:gd name="connsiteY43533" fmla="*/ 1837092 h 5973007"/>
              <a:gd name="connsiteX43534" fmla="*/ 1233912 w 6884782"/>
              <a:gd name="connsiteY43534" fmla="*/ 1837092 h 5973007"/>
              <a:gd name="connsiteX43535" fmla="*/ 1232673 w 6884782"/>
              <a:gd name="connsiteY43535" fmla="*/ 1834924 h 5973007"/>
              <a:gd name="connsiteX43536" fmla="*/ 1232673 w 6884782"/>
              <a:gd name="connsiteY43536" fmla="*/ 1832756 h 5973007"/>
              <a:gd name="connsiteX43537" fmla="*/ 1238042 w 6884782"/>
              <a:gd name="connsiteY43537" fmla="*/ 1831206 h 5973007"/>
              <a:gd name="connsiteX43538" fmla="*/ 1644252 w 6884782"/>
              <a:gd name="connsiteY43538" fmla="*/ 1830897 h 5973007"/>
              <a:gd name="connsiteX43539" fmla="*/ 1637747 w 6884782"/>
              <a:gd name="connsiteY43539" fmla="*/ 1843908 h 5973007"/>
              <a:gd name="connsiteX43540" fmla="*/ 1632068 w 6884782"/>
              <a:gd name="connsiteY43540" fmla="*/ 1837092 h 5973007"/>
              <a:gd name="connsiteX43541" fmla="*/ 1637644 w 6884782"/>
              <a:gd name="connsiteY43541" fmla="*/ 1832756 h 5973007"/>
              <a:gd name="connsiteX43542" fmla="*/ 1644252 w 6884782"/>
              <a:gd name="connsiteY43542" fmla="*/ 1830897 h 5973007"/>
              <a:gd name="connsiteX43543" fmla="*/ 1272324 w 6884782"/>
              <a:gd name="connsiteY43543" fmla="*/ 1830897 h 5973007"/>
              <a:gd name="connsiteX43544" fmla="*/ 1276763 w 6884782"/>
              <a:gd name="connsiteY43544" fmla="*/ 1834924 h 5973007"/>
              <a:gd name="connsiteX43545" fmla="*/ 1276763 w 6884782"/>
              <a:gd name="connsiteY43545" fmla="*/ 1835389 h 5973007"/>
              <a:gd name="connsiteX43546" fmla="*/ 1277280 w 6884782"/>
              <a:gd name="connsiteY43546" fmla="*/ 1835543 h 5973007"/>
              <a:gd name="connsiteX43547" fmla="*/ 1276763 w 6884782"/>
              <a:gd name="connsiteY43547" fmla="*/ 1835853 h 5973007"/>
              <a:gd name="connsiteX43548" fmla="*/ 1276247 w 6884782"/>
              <a:gd name="connsiteY43548" fmla="*/ 1837557 h 5973007"/>
              <a:gd name="connsiteX43549" fmla="*/ 1272839 w 6884782"/>
              <a:gd name="connsiteY43549" fmla="*/ 1841739 h 5973007"/>
              <a:gd name="connsiteX43550" fmla="*/ 1273666 w 6884782"/>
              <a:gd name="connsiteY43550" fmla="*/ 1842049 h 5973007"/>
              <a:gd name="connsiteX43551" fmla="*/ 1268606 w 6884782"/>
              <a:gd name="connsiteY43551" fmla="*/ 1840810 h 5973007"/>
              <a:gd name="connsiteX43552" fmla="*/ 1268090 w 6884782"/>
              <a:gd name="connsiteY43552" fmla="*/ 1838951 h 5973007"/>
              <a:gd name="connsiteX43553" fmla="*/ 1265405 w 6884782"/>
              <a:gd name="connsiteY43553" fmla="*/ 1839261 h 5973007"/>
              <a:gd name="connsiteX43554" fmla="*/ 1254047 w 6884782"/>
              <a:gd name="connsiteY43554" fmla="*/ 1836163 h 5973007"/>
              <a:gd name="connsiteX43555" fmla="*/ 1259520 w 6884782"/>
              <a:gd name="connsiteY43555" fmla="*/ 1832910 h 5973007"/>
              <a:gd name="connsiteX43556" fmla="*/ 1269329 w 6884782"/>
              <a:gd name="connsiteY43556" fmla="*/ 1832291 h 5973007"/>
              <a:gd name="connsiteX43557" fmla="*/ 1269639 w 6884782"/>
              <a:gd name="connsiteY43557" fmla="*/ 1832291 h 5973007"/>
              <a:gd name="connsiteX43558" fmla="*/ 3795457 w 6884782"/>
              <a:gd name="connsiteY43558" fmla="*/ 1830858 h 5973007"/>
              <a:gd name="connsiteX43559" fmla="*/ 3801006 w 6884782"/>
              <a:gd name="connsiteY43559" fmla="*/ 1858885 h 5973007"/>
              <a:gd name="connsiteX43560" fmla="*/ 3795670 w 6884782"/>
              <a:gd name="connsiteY43560" fmla="*/ 1863580 h 5973007"/>
              <a:gd name="connsiteX43561" fmla="*/ 3795457 w 6884782"/>
              <a:gd name="connsiteY43561" fmla="*/ 1830858 h 5973007"/>
              <a:gd name="connsiteX43562" fmla="*/ 5596293 w 6884782"/>
              <a:gd name="connsiteY43562" fmla="*/ 1830289 h 5973007"/>
              <a:gd name="connsiteX43563" fmla="*/ 5598640 w 6884782"/>
              <a:gd name="connsiteY43563" fmla="*/ 1831712 h 5973007"/>
              <a:gd name="connsiteX43564" fmla="*/ 5602055 w 6884782"/>
              <a:gd name="connsiteY43564" fmla="*/ 1830716 h 5973007"/>
              <a:gd name="connsiteX43565" fmla="*/ 5603549 w 6884782"/>
              <a:gd name="connsiteY43565" fmla="*/ 1832850 h 5973007"/>
              <a:gd name="connsiteX43566" fmla="*/ 5596293 w 6884782"/>
              <a:gd name="connsiteY43566" fmla="*/ 1834557 h 5973007"/>
              <a:gd name="connsiteX43567" fmla="*/ 5593518 w 6884782"/>
              <a:gd name="connsiteY43567" fmla="*/ 1832281 h 5973007"/>
              <a:gd name="connsiteX43568" fmla="*/ 5596293 w 6884782"/>
              <a:gd name="connsiteY43568" fmla="*/ 1830289 h 5973007"/>
              <a:gd name="connsiteX43569" fmla="*/ 1158019 w 6884782"/>
              <a:gd name="connsiteY43569" fmla="*/ 1829967 h 5973007"/>
              <a:gd name="connsiteX43570" fmla="*/ 1161633 w 6884782"/>
              <a:gd name="connsiteY43570" fmla="*/ 1831206 h 5973007"/>
              <a:gd name="connsiteX43571" fmla="*/ 1161530 w 6884782"/>
              <a:gd name="connsiteY43571" fmla="*/ 1833220 h 5973007"/>
              <a:gd name="connsiteX43572" fmla="*/ 1160084 w 6884782"/>
              <a:gd name="connsiteY43572" fmla="*/ 1835389 h 5973007"/>
              <a:gd name="connsiteX43573" fmla="*/ 1155747 w 6884782"/>
              <a:gd name="connsiteY43573" fmla="*/ 1833530 h 5973007"/>
              <a:gd name="connsiteX43574" fmla="*/ 1155850 w 6884782"/>
              <a:gd name="connsiteY43574" fmla="*/ 1831516 h 5973007"/>
              <a:gd name="connsiteX43575" fmla="*/ 1158019 w 6884782"/>
              <a:gd name="connsiteY43575" fmla="*/ 1829967 h 5973007"/>
              <a:gd name="connsiteX43576" fmla="*/ 924350 w 6884782"/>
              <a:gd name="connsiteY43576" fmla="*/ 1829658 h 5973007"/>
              <a:gd name="connsiteX43577" fmla="*/ 926208 w 6884782"/>
              <a:gd name="connsiteY43577" fmla="*/ 1829967 h 5973007"/>
              <a:gd name="connsiteX43578" fmla="*/ 926415 w 6884782"/>
              <a:gd name="connsiteY43578" fmla="*/ 1832910 h 5973007"/>
              <a:gd name="connsiteX43579" fmla="*/ 928377 w 6884782"/>
              <a:gd name="connsiteY43579" fmla="*/ 1833220 h 5973007"/>
              <a:gd name="connsiteX43580" fmla="*/ 928687 w 6884782"/>
              <a:gd name="connsiteY43580" fmla="*/ 1834459 h 5973007"/>
              <a:gd name="connsiteX43581" fmla="*/ 926622 w 6884782"/>
              <a:gd name="connsiteY43581" fmla="*/ 1835853 h 5973007"/>
              <a:gd name="connsiteX43582" fmla="*/ 925383 w 6884782"/>
              <a:gd name="connsiteY43582" fmla="*/ 1831361 h 5973007"/>
              <a:gd name="connsiteX43583" fmla="*/ 924350 w 6884782"/>
              <a:gd name="connsiteY43583" fmla="*/ 1829658 h 5973007"/>
              <a:gd name="connsiteX43584" fmla="*/ 5114177 w 6884782"/>
              <a:gd name="connsiteY43584" fmla="*/ 1828582 h 5973007"/>
              <a:gd name="connsiteX43585" fmla="*/ 5123355 w 6884782"/>
              <a:gd name="connsiteY43585" fmla="*/ 1830147 h 5973007"/>
              <a:gd name="connsiteX43586" fmla="*/ 5107988 w 6884782"/>
              <a:gd name="connsiteY43586" fmla="*/ 1842667 h 5973007"/>
              <a:gd name="connsiteX43587" fmla="*/ 5104573 w 6884782"/>
              <a:gd name="connsiteY43587" fmla="*/ 1831143 h 5973007"/>
              <a:gd name="connsiteX43588" fmla="*/ 5114177 w 6884782"/>
              <a:gd name="connsiteY43588" fmla="*/ 1828582 h 5973007"/>
              <a:gd name="connsiteX43589" fmla="*/ 921872 w 6884782"/>
              <a:gd name="connsiteY43589" fmla="*/ 1828263 h 5973007"/>
              <a:gd name="connsiteX43590" fmla="*/ 919703 w 6884782"/>
              <a:gd name="connsiteY43590" fmla="*/ 1833530 h 5973007"/>
              <a:gd name="connsiteX43591" fmla="*/ 913508 w 6884782"/>
              <a:gd name="connsiteY43591" fmla="*/ 1838022 h 5973007"/>
              <a:gd name="connsiteX43592" fmla="*/ 913198 w 6884782"/>
              <a:gd name="connsiteY43592" fmla="*/ 1836782 h 5973007"/>
              <a:gd name="connsiteX43593" fmla="*/ 921872 w 6884782"/>
              <a:gd name="connsiteY43593" fmla="*/ 1828263 h 5973007"/>
              <a:gd name="connsiteX43594" fmla="*/ 818925 w 6884782"/>
              <a:gd name="connsiteY43594" fmla="*/ 1827799 h 5973007"/>
              <a:gd name="connsiteX43595" fmla="*/ 821094 w 6884782"/>
              <a:gd name="connsiteY43595" fmla="*/ 1834304 h 5973007"/>
              <a:gd name="connsiteX43596" fmla="*/ 815828 w 6884782"/>
              <a:gd name="connsiteY43596" fmla="*/ 1834304 h 5973007"/>
              <a:gd name="connsiteX43597" fmla="*/ 814072 w 6884782"/>
              <a:gd name="connsiteY43597" fmla="*/ 1831981 h 5973007"/>
              <a:gd name="connsiteX43598" fmla="*/ 815621 w 6884782"/>
              <a:gd name="connsiteY43598" fmla="*/ 1829193 h 5973007"/>
              <a:gd name="connsiteX43599" fmla="*/ 818925 w 6884782"/>
              <a:gd name="connsiteY43599" fmla="*/ 1827799 h 5973007"/>
              <a:gd name="connsiteX43600" fmla="*/ 3696003 w 6884782"/>
              <a:gd name="connsiteY43600" fmla="*/ 1827728 h 5973007"/>
              <a:gd name="connsiteX43601" fmla="*/ 3732498 w 6884782"/>
              <a:gd name="connsiteY43601" fmla="*/ 1857035 h 5973007"/>
              <a:gd name="connsiteX43602" fmla="*/ 3721400 w 6884782"/>
              <a:gd name="connsiteY43602" fmla="*/ 1856751 h 5973007"/>
              <a:gd name="connsiteX43603" fmla="*/ 3716918 w 6884782"/>
              <a:gd name="connsiteY43603" fmla="*/ 1854332 h 5973007"/>
              <a:gd name="connsiteX43604" fmla="*/ 3716918 w 6884782"/>
              <a:gd name="connsiteY43604" fmla="*/ 1854901 h 5973007"/>
              <a:gd name="connsiteX43605" fmla="*/ 3713076 w 6884782"/>
              <a:gd name="connsiteY43605" fmla="*/ 1856608 h 5973007"/>
              <a:gd name="connsiteX43606" fmla="*/ 3708381 w 6884782"/>
              <a:gd name="connsiteY43606" fmla="*/ 1853906 h 5973007"/>
              <a:gd name="connsiteX43607" fmla="*/ 3705820 w 6884782"/>
              <a:gd name="connsiteY43607" fmla="*/ 1849353 h 5973007"/>
              <a:gd name="connsiteX43608" fmla="*/ 3704540 w 6884782"/>
              <a:gd name="connsiteY43608" fmla="*/ 1846223 h 5973007"/>
              <a:gd name="connsiteX43609" fmla="*/ 3697924 w 6884782"/>
              <a:gd name="connsiteY43609" fmla="*/ 1839394 h 5973007"/>
              <a:gd name="connsiteX43610" fmla="*/ 3696003 w 6884782"/>
              <a:gd name="connsiteY43610" fmla="*/ 1827728 h 5973007"/>
              <a:gd name="connsiteX43611" fmla="*/ 1217081 w 6884782"/>
              <a:gd name="connsiteY43611" fmla="*/ 1827644 h 5973007"/>
              <a:gd name="connsiteX43612" fmla="*/ 1217598 w 6884782"/>
              <a:gd name="connsiteY43612" fmla="*/ 1833065 h 5973007"/>
              <a:gd name="connsiteX43613" fmla="*/ 1211299 w 6884782"/>
              <a:gd name="connsiteY43613" fmla="*/ 1837402 h 5973007"/>
              <a:gd name="connsiteX43614" fmla="*/ 1209028 w 6884782"/>
              <a:gd name="connsiteY43614" fmla="*/ 1833685 h 5973007"/>
              <a:gd name="connsiteX43615" fmla="*/ 1212125 w 6884782"/>
              <a:gd name="connsiteY43615" fmla="*/ 1829813 h 5973007"/>
              <a:gd name="connsiteX43616" fmla="*/ 1217081 w 6884782"/>
              <a:gd name="connsiteY43616" fmla="*/ 1827644 h 5973007"/>
              <a:gd name="connsiteX43617" fmla="*/ 1742656 w 6884782"/>
              <a:gd name="connsiteY43617" fmla="*/ 1826095 h 5973007"/>
              <a:gd name="connsiteX43618" fmla="*/ 1742346 w 6884782"/>
              <a:gd name="connsiteY43618" fmla="*/ 1827799 h 5973007"/>
              <a:gd name="connsiteX43619" fmla="*/ 1741830 w 6884782"/>
              <a:gd name="connsiteY43619" fmla="*/ 1827024 h 5973007"/>
              <a:gd name="connsiteX43620" fmla="*/ 1742656 w 6884782"/>
              <a:gd name="connsiteY43620" fmla="*/ 1826095 h 5973007"/>
              <a:gd name="connsiteX43621" fmla="*/ 5187594 w 6884782"/>
              <a:gd name="connsiteY43621" fmla="*/ 1826021 h 5973007"/>
              <a:gd name="connsiteX43622" fmla="*/ 5194850 w 6884782"/>
              <a:gd name="connsiteY43622" fmla="*/ 1826448 h 5973007"/>
              <a:gd name="connsiteX43623" fmla="*/ 5197838 w 6884782"/>
              <a:gd name="connsiteY43623" fmla="*/ 1839252 h 5973007"/>
              <a:gd name="connsiteX43624" fmla="*/ 5187594 w 6884782"/>
              <a:gd name="connsiteY43624" fmla="*/ 1826021 h 5973007"/>
              <a:gd name="connsiteX43625" fmla="*/ 679220 w 6884782"/>
              <a:gd name="connsiteY43625" fmla="*/ 1825785 h 5973007"/>
              <a:gd name="connsiteX43626" fmla="*/ 682833 w 6884782"/>
              <a:gd name="connsiteY43626" fmla="*/ 1827179 h 5973007"/>
              <a:gd name="connsiteX43627" fmla="*/ 683763 w 6884782"/>
              <a:gd name="connsiteY43627" fmla="*/ 1828883 h 5973007"/>
              <a:gd name="connsiteX43628" fmla="*/ 682008 w 6884782"/>
              <a:gd name="connsiteY43628" fmla="*/ 1830432 h 5973007"/>
              <a:gd name="connsiteX43629" fmla="*/ 676845 w 6884782"/>
              <a:gd name="connsiteY43629" fmla="*/ 1829813 h 5973007"/>
              <a:gd name="connsiteX43630" fmla="*/ 676019 w 6884782"/>
              <a:gd name="connsiteY43630" fmla="*/ 1828108 h 5973007"/>
              <a:gd name="connsiteX43631" fmla="*/ 679220 w 6884782"/>
              <a:gd name="connsiteY43631" fmla="*/ 1825785 h 5973007"/>
              <a:gd name="connsiteX43632" fmla="*/ 1511671 w 6884782"/>
              <a:gd name="connsiteY43632" fmla="*/ 1825475 h 5973007"/>
              <a:gd name="connsiteX43633" fmla="*/ 1513736 w 6884782"/>
              <a:gd name="connsiteY43633" fmla="*/ 1825940 h 5973007"/>
              <a:gd name="connsiteX43634" fmla="*/ 1516834 w 6884782"/>
              <a:gd name="connsiteY43634" fmla="*/ 1828108 h 5973007"/>
              <a:gd name="connsiteX43635" fmla="*/ 1517763 w 6884782"/>
              <a:gd name="connsiteY43635" fmla="*/ 1832136 h 5973007"/>
              <a:gd name="connsiteX43636" fmla="*/ 1517557 w 6884782"/>
              <a:gd name="connsiteY43636" fmla="*/ 1831361 h 5973007"/>
              <a:gd name="connsiteX43637" fmla="*/ 1515802 w 6884782"/>
              <a:gd name="connsiteY43637" fmla="*/ 1831826 h 5973007"/>
              <a:gd name="connsiteX43638" fmla="*/ 1516111 w 6884782"/>
              <a:gd name="connsiteY43638" fmla="*/ 1832601 h 5973007"/>
              <a:gd name="connsiteX43639" fmla="*/ 1514253 w 6884782"/>
              <a:gd name="connsiteY43639" fmla="*/ 1832136 h 5973007"/>
              <a:gd name="connsiteX43640" fmla="*/ 1509606 w 6884782"/>
              <a:gd name="connsiteY43640" fmla="*/ 1827024 h 5973007"/>
              <a:gd name="connsiteX43641" fmla="*/ 1511671 w 6884782"/>
              <a:gd name="connsiteY43641" fmla="*/ 1825475 h 5973007"/>
              <a:gd name="connsiteX43642" fmla="*/ 5728186 w 6884782"/>
              <a:gd name="connsiteY43642" fmla="*/ 1825452 h 5973007"/>
              <a:gd name="connsiteX43643" fmla="*/ 5710899 w 6884782"/>
              <a:gd name="connsiteY43643" fmla="*/ 1860307 h 5973007"/>
              <a:gd name="connsiteX43644" fmla="*/ 5701509 w 6884782"/>
              <a:gd name="connsiteY43644" fmla="*/ 1854617 h 5973007"/>
              <a:gd name="connsiteX43645" fmla="*/ 5728186 w 6884782"/>
              <a:gd name="connsiteY43645" fmla="*/ 1825452 h 5973007"/>
              <a:gd name="connsiteX43646" fmla="*/ 5703216 w 6884782"/>
              <a:gd name="connsiteY43646" fmla="*/ 1825452 h 5973007"/>
              <a:gd name="connsiteX43647" fmla="*/ 5707058 w 6884782"/>
              <a:gd name="connsiteY43647" fmla="*/ 1826021 h 5973007"/>
              <a:gd name="connsiteX43648" fmla="*/ 5709832 w 6884782"/>
              <a:gd name="connsiteY43648" fmla="*/ 1828297 h 5973007"/>
              <a:gd name="connsiteX43649" fmla="*/ 5710686 w 6884782"/>
              <a:gd name="connsiteY43649" fmla="*/ 1835411 h 5973007"/>
              <a:gd name="connsiteX43650" fmla="*/ 5700442 w 6884782"/>
              <a:gd name="connsiteY43650" fmla="*/ 1835980 h 5973007"/>
              <a:gd name="connsiteX43651" fmla="*/ 5700442 w 6884782"/>
              <a:gd name="connsiteY43651" fmla="*/ 1827586 h 5973007"/>
              <a:gd name="connsiteX43652" fmla="*/ 5703216 w 6884782"/>
              <a:gd name="connsiteY43652" fmla="*/ 1825452 h 5973007"/>
              <a:gd name="connsiteX43653" fmla="*/ 5950356 w 6884782"/>
              <a:gd name="connsiteY43653" fmla="*/ 1824456 h 5973007"/>
              <a:gd name="connsiteX43654" fmla="*/ 5953130 w 6884782"/>
              <a:gd name="connsiteY43654" fmla="*/ 1824883 h 5973007"/>
              <a:gd name="connsiteX43655" fmla="*/ 5953344 w 6884782"/>
              <a:gd name="connsiteY43655" fmla="*/ 1828440 h 5973007"/>
              <a:gd name="connsiteX43656" fmla="*/ 5943527 w 6884782"/>
              <a:gd name="connsiteY43656" fmla="*/ 1832565 h 5973007"/>
              <a:gd name="connsiteX43657" fmla="*/ 5950356 w 6884782"/>
              <a:gd name="connsiteY43657" fmla="*/ 1824456 h 5973007"/>
              <a:gd name="connsiteX43658" fmla="*/ 1006955 w 6884782"/>
              <a:gd name="connsiteY43658" fmla="*/ 1824081 h 5973007"/>
              <a:gd name="connsiteX43659" fmla="*/ 1005303 w 6884782"/>
              <a:gd name="connsiteY43659" fmla="*/ 1829967 h 5973007"/>
              <a:gd name="connsiteX43660" fmla="*/ 1005199 w 6884782"/>
              <a:gd name="connsiteY43660" fmla="*/ 1826559 h 5973007"/>
              <a:gd name="connsiteX43661" fmla="*/ 1006955 w 6884782"/>
              <a:gd name="connsiteY43661" fmla="*/ 1824081 h 5973007"/>
              <a:gd name="connsiteX43662" fmla="*/ 936844 w 6884782"/>
              <a:gd name="connsiteY43662" fmla="*/ 1823462 h 5973007"/>
              <a:gd name="connsiteX43663" fmla="*/ 943039 w 6884782"/>
              <a:gd name="connsiteY43663" fmla="*/ 1823616 h 5973007"/>
              <a:gd name="connsiteX43664" fmla="*/ 932610 w 6884782"/>
              <a:gd name="connsiteY43664" fmla="*/ 1835079 h 5973007"/>
              <a:gd name="connsiteX43665" fmla="*/ 930958 w 6884782"/>
              <a:gd name="connsiteY43665" fmla="*/ 1835853 h 5973007"/>
              <a:gd name="connsiteX43666" fmla="*/ 928687 w 6884782"/>
              <a:gd name="connsiteY43666" fmla="*/ 1834459 h 5973007"/>
              <a:gd name="connsiteX43667" fmla="*/ 935192 w 6884782"/>
              <a:gd name="connsiteY43667" fmla="*/ 1824236 h 5973007"/>
              <a:gd name="connsiteX43668" fmla="*/ 936844 w 6884782"/>
              <a:gd name="connsiteY43668" fmla="*/ 1823462 h 5973007"/>
              <a:gd name="connsiteX43669" fmla="*/ 1177534 w 6884782"/>
              <a:gd name="connsiteY43669" fmla="*/ 1823307 h 5973007"/>
              <a:gd name="connsiteX43670" fmla="*/ 1179702 w 6884782"/>
              <a:gd name="connsiteY43670" fmla="*/ 1830587 h 5973007"/>
              <a:gd name="connsiteX43671" fmla="*/ 1177121 w 6884782"/>
              <a:gd name="connsiteY43671" fmla="*/ 1824391 h 5973007"/>
              <a:gd name="connsiteX43672" fmla="*/ 1177534 w 6884782"/>
              <a:gd name="connsiteY43672" fmla="*/ 1823307 h 5973007"/>
              <a:gd name="connsiteX43673" fmla="*/ 785677 w 6884782"/>
              <a:gd name="connsiteY43673" fmla="*/ 1822997 h 5973007"/>
              <a:gd name="connsiteX43674" fmla="*/ 792079 w 6884782"/>
              <a:gd name="connsiteY43674" fmla="*/ 1828418 h 5973007"/>
              <a:gd name="connsiteX43675" fmla="*/ 785573 w 6884782"/>
              <a:gd name="connsiteY43675" fmla="*/ 1825475 h 5973007"/>
              <a:gd name="connsiteX43676" fmla="*/ 785677 w 6884782"/>
              <a:gd name="connsiteY43676" fmla="*/ 1822997 h 5973007"/>
              <a:gd name="connsiteX43677" fmla="*/ 5839591 w 6884782"/>
              <a:gd name="connsiteY43677" fmla="*/ 1822180 h 5973007"/>
              <a:gd name="connsiteX43678" fmla="*/ 5847915 w 6884782"/>
              <a:gd name="connsiteY43678" fmla="*/ 1829862 h 5973007"/>
              <a:gd name="connsiteX43679" fmla="*/ 5832762 w 6884782"/>
              <a:gd name="connsiteY43679" fmla="*/ 1828724 h 5973007"/>
              <a:gd name="connsiteX43680" fmla="*/ 5839591 w 6884782"/>
              <a:gd name="connsiteY43680" fmla="*/ 1822180 h 5973007"/>
              <a:gd name="connsiteX43681" fmla="*/ 1682457 w 6884782"/>
              <a:gd name="connsiteY43681" fmla="*/ 1821913 h 5973007"/>
              <a:gd name="connsiteX43682" fmla="*/ 1688239 w 6884782"/>
              <a:gd name="connsiteY43682" fmla="*/ 1824081 h 5973007"/>
              <a:gd name="connsiteX43683" fmla="*/ 1690201 w 6884782"/>
              <a:gd name="connsiteY43683" fmla="*/ 1829967 h 5973007"/>
              <a:gd name="connsiteX43684" fmla="*/ 1679256 w 6884782"/>
              <a:gd name="connsiteY43684" fmla="*/ 1830587 h 5973007"/>
              <a:gd name="connsiteX43685" fmla="*/ 1682457 w 6884782"/>
              <a:gd name="connsiteY43685" fmla="*/ 1821913 h 5973007"/>
              <a:gd name="connsiteX43686" fmla="*/ 1057963 w 6884782"/>
              <a:gd name="connsiteY43686" fmla="*/ 1821448 h 5973007"/>
              <a:gd name="connsiteX43687" fmla="*/ 1057447 w 6884782"/>
              <a:gd name="connsiteY43687" fmla="*/ 1826559 h 5973007"/>
              <a:gd name="connsiteX43688" fmla="*/ 1054246 w 6884782"/>
              <a:gd name="connsiteY43688" fmla="*/ 1830432 h 5973007"/>
              <a:gd name="connsiteX43689" fmla="*/ 1061061 w 6884782"/>
              <a:gd name="connsiteY43689" fmla="*/ 1831361 h 5973007"/>
              <a:gd name="connsiteX43690" fmla="*/ 1067979 w 6884782"/>
              <a:gd name="connsiteY43690" fmla="*/ 1835853 h 5973007"/>
              <a:gd name="connsiteX43691" fmla="*/ 1070251 w 6884782"/>
              <a:gd name="connsiteY43691" fmla="*/ 1862495 h 5973007"/>
              <a:gd name="connsiteX43692" fmla="*/ 1067670 w 6884782"/>
              <a:gd name="connsiteY43692" fmla="*/ 1863580 h 5973007"/>
              <a:gd name="connsiteX43693" fmla="*/ 1047638 w 6884782"/>
              <a:gd name="connsiteY43693" fmla="*/ 1840500 h 5973007"/>
              <a:gd name="connsiteX43694" fmla="*/ 1048877 w 6884782"/>
              <a:gd name="connsiteY43694" fmla="*/ 1835079 h 5973007"/>
              <a:gd name="connsiteX43695" fmla="*/ 1051562 w 6884782"/>
              <a:gd name="connsiteY43695" fmla="*/ 1830432 h 5973007"/>
              <a:gd name="connsiteX43696" fmla="*/ 1050529 w 6884782"/>
              <a:gd name="connsiteY43696" fmla="*/ 1829813 h 5973007"/>
              <a:gd name="connsiteX43697" fmla="*/ 1051665 w 6884782"/>
              <a:gd name="connsiteY43697" fmla="*/ 1821758 h 5973007"/>
              <a:gd name="connsiteX43698" fmla="*/ 1057963 w 6884782"/>
              <a:gd name="connsiteY43698" fmla="*/ 1821448 h 5973007"/>
              <a:gd name="connsiteX43699" fmla="*/ 5269120 w 6884782"/>
              <a:gd name="connsiteY43699" fmla="*/ 1820899 h 5973007"/>
              <a:gd name="connsiteX43700" fmla="*/ 5274029 w 6884782"/>
              <a:gd name="connsiteY43700" fmla="*/ 1822607 h 5973007"/>
              <a:gd name="connsiteX43701" fmla="*/ 5274242 w 6884782"/>
              <a:gd name="connsiteY43701" fmla="*/ 1822749 h 5973007"/>
              <a:gd name="connsiteX43702" fmla="*/ 5275096 w 6884782"/>
              <a:gd name="connsiteY43702" fmla="*/ 1820899 h 5973007"/>
              <a:gd name="connsiteX43703" fmla="*/ 5278937 w 6884782"/>
              <a:gd name="connsiteY43703" fmla="*/ 1823034 h 5973007"/>
              <a:gd name="connsiteX43704" fmla="*/ 5279364 w 6884782"/>
              <a:gd name="connsiteY43704" fmla="*/ 1826591 h 5973007"/>
              <a:gd name="connsiteX43705" fmla="*/ 5278724 w 6884782"/>
              <a:gd name="connsiteY43705" fmla="*/ 1827444 h 5973007"/>
              <a:gd name="connsiteX43706" fmla="*/ 5280004 w 6884782"/>
              <a:gd name="connsiteY43706" fmla="*/ 1830005 h 5973007"/>
              <a:gd name="connsiteX43707" fmla="*/ 5282139 w 6884782"/>
              <a:gd name="connsiteY43707" fmla="*/ 1839110 h 5973007"/>
              <a:gd name="connsiteX43708" fmla="*/ 5278937 w 6884782"/>
              <a:gd name="connsiteY43708" fmla="*/ 1846223 h 5973007"/>
              <a:gd name="connsiteX43709" fmla="*/ 5258022 w 6884782"/>
              <a:gd name="connsiteY43709" fmla="*/ 1845085 h 5973007"/>
              <a:gd name="connsiteX43710" fmla="*/ 5255888 w 6884782"/>
              <a:gd name="connsiteY43710" fmla="*/ 1842382 h 5973007"/>
              <a:gd name="connsiteX43711" fmla="*/ 5255461 w 6884782"/>
              <a:gd name="connsiteY43711" fmla="*/ 1842097 h 5973007"/>
              <a:gd name="connsiteX43712" fmla="*/ 5254821 w 6884782"/>
              <a:gd name="connsiteY43712" fmla="*/ 1843804 h 5973007"/>
              <a:gd name="connsiteX43713" fmla="*/ 5253114 w 6884782"/>
              <a:gd name="connsiteY43713" fmla="*/ 1844089 h 5973007"/>
              <a:gd name="connsiteX43714" fmla="*/ 5249912 w 6884782"/>
              <a:gd name="connsiteY43714" fmla="*/ 1843235 h 5973007"/>
              <a:gd name="connsiteX43715" fmla="*/ 5247351 w 6884782"/>
              <a:gd name="connsiteY43715" fmla="*/ 1843520 h 5973007"/>
              <a:gd name="connsiteX43716" fmla="*/ 5245644 w 6884782"/>
              <a:gd name="connsiteY43716" fmla="*/ 1840390 h 5973007"/>
              <a:gd name="connsiteX43717" fmla="*/ 5248205 w 6884782"/>
              <a:gd name="connsiteY43717" fmla="*/ 1840105 h 5973007"/>
              <a:gd name="connsiteX43718" fmla="*/ 5252047 w 6884782"/>
              <a:gd name="connsiteY43718" fmla="*/ 1840959 h 5973007"/>
              <a:gd name="connsiteX43719" fmla="*/ 5253967 w 6884782"/>
              <a:gd name="connsiteY43719" fmla="*/ 1841101 h 5973007"/>
              <a:gd name="connsiteX43720" fmla="*/ 5251406 w 6884782"/>
              <a:gd name="connsiteY43720" fmla="*/ 1839252 h 5973007"/>
              <a:gd name="connsiteX43721" fmla="*/ 5253327 w 6884782"/>
              <a:gd name="connsiteY43721" fmla="*/ 1836264 h 5973007"/>
              <a:gd name="connsiteX43722" fmla="*/ 5253754 w 6884782"/>
              <a:gd name="connsiteY43722" fmla="*/ 1833561 h 5973007"/>
              <a:gd name="connsiteX43723" fmla="*/ 5251619 w 6884782"/>
              <a:gd name="connsiteY43723" fmla="*/ 1831570 h 5973007"/>
              <a:gd name="connsiteX43724" fmla="*/ 5254821 w 6884782"/>
              <a:gd name="connsiteY43724" fmla="*/ 1829578 h 5973007"/>
              <a:gd name="connsiteX43725" fmla="*/ 5255248 w 6884782"/>
              <a:gd name="connsiteY43725" fmla="*/ 1829720 h 5973007"/>
              <a:gd name="connsiteX43726" fmla="*/ 5258022 w 6884782"/>
              <a:gd name="connsiteY43726" fmla="*/ 1825879 h 5973007"/>
              <a:gd name="connsiteX43727" fmla="*/ 5269120 w 6884782"/>
              <a:gd name="connsiteY43727" fmla="*/ 1820899 h 5973007"/>
              <a:gd name="connsiteX43728" fmla="*/ 5688917 w 6884782"/>
              <a:gd name="connsiteY43728" fmla="*/ 1820757 h 5973007"/>
              <a:gd name="connsiteX43729" fmla="*/ 5693826 w 6884782"/>
              <a:gd name="connsiteY43729" fmla="*/ 1826021 h 5973007"/>
              <a:gd name="connsiteX43730" fmla="*/ 5686569 w 6884782"/>
              <a:gd name="connsiteY43730" fmla="*/ 1823602 h 5973007"/>
              <a:gd name="connsiteX43731" fmla="*/ 5688917 w 6884782"/>
              <a:gd name="connsiteY43731" fmla="*/ 1820757 h 5973007"/>
              <a:gd name="connsiteX43732" fmla="*/ 1293388 w 6884782"/>
              <a:gd name="connsiteY43732" fmla="*/ 1820673 h 5973007"/>
              <a:gd name="connsiteX43733" fmla="*/ 1296589 w 6884782"/>
              <a:gd name="connsiteY43733" fmla="*/ 1823926 h 5973007"/>
              <a:gd name="connsiteX43734" fmla="*/ 1296795 w 6884782"/>
              <a:gd name="connsiteY43734" fmla="*/ 1823771 h 5973007"/>
              <a:gd name="connsiteX43735" fmla="*/ 1297208 w 6884782"/>
              <a:gd name="connsiteY43735" fmla="*/ 1824391 h 5973007"/>
              <a:gd name="connsiteX43736" fmla="*/ 1298447 w 6884782"/>
              <a:gd name="connsiteY43736" fmla="*/ 1825475 h 5973007"/>
              <a:gd name="connsiteX43737" fmla="*/ 1300306 w 6884782"/>
              <a:gd name="connsiteY43737" fmla="*/ 1828728 h 5973007"/>
              <a:gd name="connsiteX43738" fmla="*/ 1301648 w 6884782"/>
              <a:gd name="connsiteY43738" fmla="*/ 1833840 h 5973007"/>
              <a:gd name="connsiteX43739" fmla="*/ 1301132 w 6884782"/>
              <a:gd name="connsiteY43739" fmla="*/ 1835853 h 5973007"/>
              <a:gd name="connsiteX43740" fmla="*/ 1304126 w 6884782"/>
              <a:gd name="connsiteY43740" fmla="*/ 1835543 h 5973007"/>
              <a:gd name="connsiteX43741" fmla="*/ 1308566 w 6884782"/>
              <a:gd name="connsiteY43741" fmla="*/ 1836627 h 5973007"/>
              <a:gd name="connsiteX43742" fmla="*/ 1309599 w 6884782"/>
              <a:gd name="connsiteY43742" fmla="*/ 1844837 h 5973007"/>
              <a:gd name="connsiteX43743" fmla="*/ 1295143 w 6884782"/>
              <a:gd name="connsiteY43743" fmla="*/ 1846386 h 5973007"/>
              <a:gd name="connsiteX43744" fmla="*/ 1294110 w 6884782"/>
              <a:gd name="connsiteY43744" fmla="*/ 1844992 h 5973007"/>
              <a:gd name="connsiteX43745" fmla="*/ 1292768 w 6884782"/>
              <a:gd name="connsiteY43745" fmla="*/ 1851653 h 5973007"/>
              <a:gd name="connsiteX43746" fmla="*/ 1290187 w 6884782"/>
              <a:gd name="connsiteY43746" fmla="*/ 1870395 h 5973007"/>
              <a:gd name="connsiteX43747" fmla="*/ 1283888 w 6884782"/>
              <a:gd name="connsiteY43747" fmla="*/ 1850879 h 5973007"/>
              <a:gd name="connsiteX43748" fmla="*/ 1286469 w 6884782"/>
              <a:gd name="connsiteY43748" fmla="*/ 1846696 h 5973007"/>
              <a:gd name="connsiteX43749" fmla="*/ 1293801 w 6884782"/>
              <a:gd name="connsiteY43749" fmla="*/ 1844682 h 5973007"/>
              <a:gd name="connsiteX43750" fmla="*/ 1292562 w 6884782"/>
              <a:gd name="connsiteY43750" fmla="*/ 1842978 h 5973007"/>
              <a:gd name="connsiteX43751" fmla="*/ 1291839 w 6884782"/>
              <a:gd name="connsiteY43751" fmla="*/ 1843133 h 5973007"/>
              <a:gd name="connsiteX43752" fmla="*/ 1285230 w 6884782"/>
              <a:gd name="connsiteY43752" fmla="*/ 1842359 h 5973007"/>
              <a:gd name="connsiteX43753" fmla="*/ 1281513 w 6884782"/>
              <a:gd name="connsiteY43753" fmla="*/ 1838177 h 5973007"/>
              <a:gd name="connsiteX43754" fmla="*/ 1280377 w 6884782"/>
              <a:gd name="connsiteY43754" fmla="*/ 1834459 h 5973007"/>
              <a:gd name="connsiteX43755" fmla="*/ 1280377 w 6884782"/>
              <a:gd name="connsiteY43755" fmla="*/ 1831516 h 5973007"/>
              <a:gd name="connsiteX43756" fmla="*/ 1287708 w 6884782"/>
              <a:gd name="connsiteY43756" fmla="*/ 1823926 h 5973007"/>
              <a:gd name="connsiteX43757" fmla="*/ 1290187 w 6884782"/>
              <a:gd name="connsiteY43757" fmla="*/ 1822997 h 5973007"/>
              <a:gd name="connsiteX43758" fmla="*/ 1293388 w 6884782"/>
              <a:gd name="connsiteY43758" fmla="*/ 1820673 h 5973007"/>
              <a:gd name="connsiteX43759" fmla="*/ 1527986 w 6884782"/>
              <a:gd name="connsiteY43759" fmla="*/ 1820364 h 5973007"/>
              <a:gd name="connsiteX43760" fmla="*/ 1533355 w 6884782"/>
              <a:gd name="connsiteY43760" fmla="*/ 1825011 h 5973007"/>
              <a:gd name="connsiteX43761" fmla="*/ 1535936 w 6884782"/>
              <a:gd name="connsiteY43761" fmla="*/ 1831052 h 5973007"/>
              <a:gd name="connsiteX43762" fmla="*/ 1535936 w 6884782"/>
              <a:gd name="connsiteY43762" fmla="*/ 1830742 h 5973007"/>
              <a:gd name="connsiteX43763" fmla="*/ 1538518 w 6884782"/>
              <a:gd name="connsiteY43763" fmla="*/ 1829193 h 5973007"/>
              <a:gd name="connsiteX43764" fmla="*/ 1541925 w 6884782"/>
              <a:gd name="connsiteY43764" fmla="*/ 1830122 h 5973007"/>
              <a:gd name="connsiteX43765" fmla="*/ 1543991 w 6884782"/>
              <a:gd name="connsiteY43765" fmla="*/ 1831981 h 5973007"/>
              <a:gd name="connsiteX43766" fmla="*/ 1544507 w 6884782"/>
              <a:gd name="connsiteY43766" fmla="*/ 1834769 h 5973007"/>
              <a:gd name="connsiteX43767" fmla="*/ 1543474 w 6884782"/>
              <a:gd name="connsiteY43767" fmla="*/ 1836782 h 5973007"/>
              <a:gd name="connsiteX43768" fmla="*/ 1538621 w 6884782"/>
              <a:gd name="connsiteY43768" fmla="*/ 1838022 h 5973007"/>
              <a:gd name="connsiteX43769" fmla="*/ 1536349 w 6884782"/>
              <a:gd name="connsiteY43769" fmla="*/ 1834614 h 5973007"/>
              <a:gd name="connsiteX43770" fmla="*/ 1536040 w 6884782"/>
              <a:gd name="connsiteY43770" fmla="*/ 1831206 h 5973007"/>
              <a:gd name="connsiteX43771" fmla="*/ 1532013 w 6884782"/>
              <a:gd name="connsiteY43771" fmla="*/ 1835389 h 5973007"/>
              <a:gd name="connsiteX43772" fmla="*/ 1528296 w 6884782"/>
              <a:gd name="connsiteY43772" fmla="*/ 1834304 h 5973007"/>
              <a:gd name="connsiteX43773" fmla="*/ 1526127 w 6884782"/>
              <a:gd name="connsiteY43773" fmla="*/ 1831826 h 5973007"/>
              <a:gd name="connsiteX43774" fmla="*/ 1523856 w 6884782"/>
              <a:gd name="connsiteY43774" fmla="*/ 1838486 h 5973007"/>
              <a:gd name="connsiteX43775" fmla="*/ 1520448 w 6884782"/>
              <a:gd name="connsiteY43775" fmla="*/ 1843598 h 5973007"/>
              <a:gd name="connsiteX43776" fmla="*/ 1523236 w 6884782"/>
              <a:gd name="connsiteY43776" fmla="*/ 1844063 h 5973007"/>
              <a:gd name="connsiteX43777" fmla="*/ 1526127 w 6884782"/>
              <a:gd name="connsiteY43777" fmla="*/ 1855990 h 5973007"/>
              <a:gd name="connsiteX43778" fmla="*/ 1518280 w 6884782"/>
              <a:gd name="connsiteY43778" fmla="*/ 1855060 h 5973007"/>
              <a:gd name="connsiteX43779" fmla="*/ 1517867 w 6884782"/>
              <a:gd name="connsiteY43779" fmla="*/ 1852891 h 5973007"/>
              <a:gd name="connsiteX43780" fmla="*/ 1517041 w 6884782"/>
              <a:gd name="connsiteY43780" fmla="*/ 1851807 h 5973007"/>
              <a:gd name="connsiteX43781" fmla="*/ 1514769 w 6884782"/>
              <a:gd name="connsiteY43781" fmla="*/ 1852582 h 5973007"/>
              <a:gd name="connsiteX43782" fmla="*/ 1511568 w 6884782"/>
              <a:gd name="connsiteY43782" fmla="*/ 1855370 h 5973007"/>
              <a:gd name="connsiteX43783" fmla="*/ 1510948 w 6884782"/>
              <a:gd name="connsiteY43783" fmla="*/ 1850103 h 5973007"/>
              <a:gd name="connsiteX43784" fmla="*/ 1512188 w 6884782"/>
              <a:gd name="connsiteY43784" fmla="*/ 1845147 h 5973007"/>
              <a:gd name="connsiteX43785" fmla="*/ 1517144 w 6884782"/>
              <a:gd name="connsiteY43785" fmla="*/ 1847161 h 5973007"/>
              <a:gd name="connsiteX43786" fmla="*/ 1517557 w 6884782"/>
              <a:gd name="connsiteY43786" fmla="*/ 1845147 h 5973007"/>
              <a:gd name="connsiteX43787" fmla="*/ 1518899 w 6884782"/>
              <a:gd name="connsiteY43787" fmla="*/ 1843133 h 5973007"/>
              <a:gd name="connsiteX43788" fmla="*/ 1520241 w 6884782"/>
              <a:gd name="connsiteY43788" fmla="*/ 1843443 h 5973007"/>
              <a:gd name="connsiteX43789" fmla="*/ 1517970 w 6884782"/>
              <a:gd name="connsiteY43789" fmla="*/ 1838177 h 5973007"/>
              <a:gd name="connsiteX43790" fmla="*/ 1518073 w 6884782"/>
              <a:gd name="connsiteY43790" fmla="*/ 1834149 h 5973007"/>
              <a:gd name="connsiteX43791" fmla="*/ 1523546 w 6884782"/>
              <a:gd name="connsiteY43791" fmla="*/ 1822223 h 5973007"/>
              <a:gd name="connsiteX43792" fmla="*/ 1524268 w 6884782"/>
              <a:gd name="connsiteY43792" fmla="*/ 1822997 h 5973007"/>
              <a:gd name="connsiteX43793" fmla="*/ 4953045 w 6884782"/>
              <a:gd name="connsiteY43793" fmla="*/ 1820330 h 5973007"/>
              <a:gd name="connsiteX43794" fmla="*/ 4957314 w 6884782"/>
              <a:gd name="connsiteY43794" fmla="*/ 1821184 h 5973007"/>
              <a:gd name="connsiteX43795" fmla="*/ 4948777 w 6884782"/>
              <a:gd name="connsiteY43795" fmla="*/ 1822180 h 5973007"/>
              <a:gd name="connsiteX43796" fmla="*/ 4953045 w 6884782"/>
              <a:gd name="connsiteY43796" fmla="*/ 1820330 h 5973007"/>
              <a:gd name="connsiteX43797" fmla="*/ 739315 w 6884782"/>
              <a:gd name="connsiteY43797" fmla="*/ 1819899 h 5973007"/>
              <a:gd name="connsiteX43798" fmla="*/ 760482 w 6884782"/>
              <a:gd name="connsiteY43798" fmla="*/ 1829658 h 5973007"/>
              <a:gd name="connsiteX43799" fmla="*/ 732913 w 6884782"/>
              <a:gd name="connsiteY43799" fmla="*/ 1822687 h 5973007"/>
              <a:gd name="connsiteX43800" fmla="*/ 739315 w 6884782"/>
              <a:gd name="connsiteY43800" fmla="*/ 1819899 h 5973007"/>
              <a:gd name="connsiteX43801" fmla="*/ 1577342 w 6884782"/>
              <a:gd name="connsiteY43801" fmla="*/ 1819435 h 5973007"/>
              <a:gd name="connsiteX43802" fmla="*/ 1582505 w 6884782"/>
              <a:gd name="connsiteY43802" fmla="*/ 1822532 h 5973007"/>
              <a:gd name="connsiteX43803" fmla="*/ 1572179 w 6884782"/>
              <a:gd name="connsiteY43803" fmla="*/ 1830587 h 5973007"/>
              <a:gd name="connsiteX43804" fmla="*/ 1572283 w 6884782"/>
              <a:gd name="connsiteY43804" fmla="*/ 1827799 h 5973007"/>
              <a:gd name="connsiteX43805" fmla="*/ 1577342 w 6884782"/>
              <a:gd name="connsiteY43805" fmla="*/ 1819435 h 5973007"/>
              <a:gd name="connsiteX43806" fmla="*/ 1494944 w 6884782"/>
              <a:gd name="connsiteY43806" fmla="*/ 1818969 h 5973007"/>
              <a:gd name="connsiteX43807" fmla="*/ 1496596 w 6884782"/>
              <a:gd name="connsiteY43807" fmla="*/ 1821293 h 5973007"/>
              <a:gd name="connsiteX43808" fmla="*/ 1497422 w 6884782"/>
              <a:gd name="connsiteY43808" fmla="*/ 1821603 h 5973007"/>
              <a:gd name="connsiteX43809" fmla="*/ 1497938 w 6884782"/>
              <a:gd name="connsiteY43809" fmla="*/ 1823771 h 5973007"/>
              <a:gd name="connsiteX43810" fmla="*/ 1496596 w 6884782"/>
              <a:gd name="connsiteY43810" fmla="*/ 1825475 h 5973007"/>
              <a:gd name="connsiteX43811" fmla="*/ 1496493 w 6884782"/>
              <a:gd name="connsiteY43811" fmla="*/ 1825630 h 5973007"/>
              <a:gd name="connsiteX43812" fmla="*/ 1496183 w 6884782"/>
              <a:gd name="connsiteY43812" fmla="*/ 1827334 h 5973007"/>
              <a:gd name="connsiteX43813" fmla="*/ 1494840 w 6884782"/>
              <a:gd name="connsiteY43813" fmla="*/ 1827799 h 5973007"/>
              <a:gd name="connsiteX43814" fmla="*/ 1495254 w 6884782"/>
              <a:gd name="connsiteY43814" fmla="*/ 1830122 h 5973007"/>
              <a:gd name="connsiteX43815" fmla="*/ 1497422 w 6884782"/>
              <a:gd name="connsiteY43815" fmla="*/ 1833375 h 5973007"/>
              <a:gd name="connsiteX43816" fmla="*/ 1497732 w 6884782"/>
              <a:gd name="connsiteY43816" fmla="*/ 1833995 h 5973007"/>
              <a:gd name="connsiteX43817" fmla="*/ 1501139 w 6884782"/>
              <a:gd name="connsiteY43817" fmla="*/ 1834924 h 5973007"/>
              <a:gd name="connsiteX43818" fmla="*/ 1500520 w 6884782"/>
              <a:gd name="connsiteY43818" fmla="*/ 1838486 h 5973007"/>
              <a:gd name="connsiteX43819" fmla="*/ 1499384 w 6884782"/>
              <a:gd name="connsiteY43819" fmla="*/ 1838642 h 5973007"/>
              <a:gd name="connsiteX43820" fmla="*/ 1499280 w 6884782"/>
              <a:gd name="connsiteY43820" fmla="*/ 1842204 h 5973007"/>
              <a:gd name="connsiteX43821" fmla="*/ 1490813 w 6884782"/>
              <a:gd name="connsiteY43821" fmla="*/ 1843598 h 5973007"/>
              <a:gd name="connsiteX43822" fmla="*/ 1481314 w 6884782"/>
              <a:gd name="connsiteY43822" fmla="*/ 1829967 h 5973007"/>
              <a:gd name="connsiteX43823" fmla="*/ 1482140 w 6884782"/>
              <a:gd name="connsiteY43823" fmla="*/ 1829658 h 5973007"/>
              <a:gd name="connsiteX43824" fmla="*/ 1478630 w 6884782"/>
              <a:gd name="connsiteY43824" fmla="*/ 1825166 h 5973007"/>
              <a:gd name="connsiteX43825" fmla="*/ 1483792 w 6884782"/>
              <a:gd name="connsiteY43825" fmla="*/ 1821138 h 5973007"/>
              <a:gd name="connsiteX43826" fmla="*/ 1485961 w 6884782"/>
              <a:gd name="connsiteY43826" fmla="*/ 1820983 h 5973007"/>
              <a:gd name="connsiteX43827" fmla="*/ 1486374 w 6884782"/>
              <a:gd name="connsiteY43827" fmla="*/ 1819589 h 5973007"/>
              <a:gd name="connsiteX43828" fmla="*/ 1494944 w 6884782"/>
              <a:gd name="connsiteY43828" fmla="*/ 1818969 h 5973007"/>
              <a:gd name="connsiteX43829" fmla="*/ 1192094 w 6884782"/>
              <a:gd name="connsiteY43829" fmla="*/ 1818815 h 5973007"/>
              <a:gd name="connsiteX43830" fmla="*/ 1190854 w 6884782"/>
              <a:gd name="connsiteY43830" fmla="*/ 1819899 h 5973007"/>
              <a:gd name="connsiteX43831" fmla="*/ 1190751 w 6884782"/>
              <a:gd name="connsiteY43831" fmla="*/ 1820519 h 5973007"/>
              <a:gd name="connsiteX43832" fmla="*/ 1192300 w 6884782"/>
              <a:gd name="connsiteY43832" fmla="*/ 1819280 h 5973007"/>
              <a:gd name="connsiteX43833" fmla="*/ 5349153 w 6884782"/>
              <a:gd name="connsiteY43833" fmla="*/ 1818765 h 5973007"/>
              <a:gd name="connsiteX43834" fmla="*/ 5353421 w 6884782"/>
              <a:gd name="connsiteY43834" fmla="*/ 1821469 h 5973007"/>
              <a:gd name="connsiteX43835" fmla="*/ 5350220 w 6884782"/>
              <a:gd name="connsiteY43835" fmla="*/ 1833277 h 5973007"/>
              <a:gd name="connsiteX43836" fmla="*/ 5338695 w 6884782"/>
              <a:gd name="connsiteY43836" fmla="*/ 1827301 h 5973007"/>
              <a:gd name="connsiteX43837" fmla="*/ 5349153 w 6884782"/>
              <a:gd name="connsiteY43837" fmla="*/ 1818765 h 5973007"/>
              <a:gd name="connsiteX43838" fmla="*/ 1278622 w 6884782"/>
              <a:gd name="connsiteY43838" fmla="*/ 1818350 h 5973007"/>
              <a:gd name="connsiteX43839" fmla="*/ 1279241 w 6884782"/>
              <a:gd name="connsiteY43839" fmla="*/ 1821913 h 5973007"/>
              <a:gd name="connsiteX43840" fmla="*/ 1277073 w 6884782"/>
              <a:gd name="connsiteY43840" fmla="*/ 1823462 h 5973007"/>
              <a:gd name="connsiteX43841" fmla="*/ 1276763 w 6884782"/>
              <a:gd name="connsiteY43841" fmla="*/ 1822687 h 5973007"/>
              <a:gd name="connsiteX43842" fmla="*/ 1274595 w 6884782"/>
              <a:gd name="connsiteY43842" fmla="*/ 1819589 h 5973007"/>
              <a:gd name="connsiteX43843" fmla="*/ 1278622 w 6884782"/>
              <a:gd name="connsiteY43843" fmla="*/ 1818350 h 5973007"/>
              <a:gd name="connsiteX43844" fmla="*/ 3589933 w 6884782"/>
              <a:gd name="connsiteY43844" fmla="*/ 1817770 h 5973007"/>
              <a:gd name="connsiteX43845" fmla="*/ 3598044 w 6884782"/>
              <a:gd name="connsiteY43845" fmla="*/ 1827871 h 5973007"/>
              <a:gd name="connsiteX43846" fmla="*/ 3594202 w 6884782"/>
              <a:gd name="connsiteY43846" fmla="*/ 1830431 h 5973007"/>
              <a:gd name="connsiteX43847" fmla="*/ 3589933 w 6884782"/>
              <a:gd name="connsiteY43847" fmla="*/ 1817770 h 5973007"/>
              <a:gd name="connsiteX43848" fmla="*/ 1587771 w 6884782"/>
              <a:gd name="connsiteY43848" fmla="*/ 1817266 h 5973007"/>
              <a:gd name="connsiteX43849" fmla="*/ 1591385 w 6884782"/>
              <a:gd name="connsiteY43849" fmla="*/ 1817576 h 5973007"/>
              <a:gd name="connsiteX43850" fmla="*/ 1593657 w 6884782"/>
              <a:gd name="connsiteY43850" fmla="*/ 1830277 h 5973007"/>
              <a:gd name="connsiteX43851" fmla="*/ 1586119 w 6884782"/>
              <a:gd name="connsiteY43851" fmla="*/ 1821913 h 5973007"/>
              <a:gd name="connsiteX43852" fmla="*/ 1587771 w 6884782"/>
              <a:gd name="connsiteY43852" fmla="*/ 1817266 h 5973007"/>
              <a:gd name="connsiteX43853" fmla="*/ 1539034 w 6884782"/>
              <a:gd name="connsiteY43853" fmla="*/ 1817266 h 5973007"/>
              <a:gd name="connsiteX43854" fmla="*/ 1540686 w 6884782"/>
              <a:gd name="connsiteY43854" fmla="*/ 1817576 h 5973007"/>
              <a:gd name="connsiteX43855" fmla="*/ 1544403 w 6884782"/>
              <a:gd name="connsiteY43855" fmla="*/ 1818660 h 5973007"/>
              <a:gd name="connsiteX43856" fmla="*/ 1538002 w 6884782"/>
              <a:gd name="connsiteY43856" fmla="*/ 1818040 h 5973007"/>
              <a:gd name="connsiteX43857" fmla="*/ 1539034 w 6884782"/>
              <a:gd name="connsiteY43857" fmla="*/ 1817266 h 5973007"/>
              <a:gd name="connsiteX43858" fmla="*/ 5158142 w 6884782"/>
              <a:gd name="connsiteY43858" fmla="*/ 1816774 h 5973007"/>
              <a:gd name="connsiteX43859" fmla="*/ 5156008 w 6884782"/>
              <a:gd name="connsiteY43859" fmla="*/ 1823887 h 5973007"/>
              <a:gd name="connsiteX43860" fmla="*/ 5157502 w 6884782"/>
              <a:gd name="connsiteY43860" fmla="*/ 1824741 h 5973007"/>
              <a:gd name="connsiteX43861" fmla="*/ 5159849 w 6884782"/>
              <a:gd name="connsiteY43861" fmla="*/ 1828866 h 5973007"/>
              <a:gd name="connsiteX43862" fmla="*/ 5151739 w 6884782"/>
              <a:gd name="connsiteY43862" fmla="*/ 1835411 h 5973007"/>
              <a:gd name="connsiteX43863" fmla="*/ 5150032 w 6884782"/>
              <a:gd name="connsiteY43863" fmla="*/ 1832423 h 5973007"/>
              <a:gd name="connsiteX43864" fmla="*/ 5149605 w 6884782"/>
              <a:gd name="connsiteY43864" fmla="*/ 1832138 h 5973007"/>
              <a:gd name="connsiteX43865" fmla="*/ 5136160 w 6884782"/>
              <a:gd name="connsiteY43865" fmla="*/ 1839679 h 5973007"/>
              <a:gd name="connsiteX43866" fmla="*/ 5158142 w 6884782"/>
              <a:gd name="connsiteY43866" fmla="*/ 1816774 h 5973007"/>
              <a:gd name="connsiteX43867" fmla="*/ 1202316 w 6884782"/>
              <a:gd name="connsiteY43867" fmla="*/ 1816491 h 5973007"/>
              <a:gd name="connsiteX43868" fmla="*/ 1205826 w 6884782"/>
              <a:gd name="connsiteY43868" fmla="*/ 1818350 h 5973007"/>
              <a:gd name="connsiteX43869" fmla="*/ 1207582 w 6884782"/>
              <a:gd name="connsiteY43869" fmla="*/ 1820828 h 5973007"/>
              <a:gd name="connsiteX43870" fmla="*/ 1207892 w 6884782"/>
              <a:gd name="connsiteY43870" fmla="*/ 1820519 h 5973007"/>
              <a:gd name="connsiteX43871" fmla="*/ 1212951 w 6884782"/>
              <a:gd name="connsiteY43871" fmla="*/ 1818815 h 5973007"/>
              <a:gd name="connsiteX43872" fmla="*/ 1215636 w 6884782"/>
              <a:gd name="connsiteY43872" fmla="*/ 1819899 h 5973007"/>
              <a:gd name="connsiteX43873" fmla="*/ 1216359 w 6884782"/>
              <a:gd name="connsiteY43873" fmla="*/ 1818350 h 5973007"/>
              <a:gd name="connsiteX43874" fmla="*/ 1231227 w 6884782"/>
              <a:gd name="connsiteY43874" fmla="*/ 1822842 h 5973007"/>
              <a:gd name="connsiteX43875" fmla="*/ 1215842 w 6884782"/>
              <a:gd name="connsiteY43875" fmla="*/ 1824236 h 5973007"/>
              <a:gd name="connsiteX43876" fmla="*/ 1215532 w 6884782"/>
              <a:gd name="connsiteY43876" fmla="*/ 1822068 h 5973007"/>
              <a:gd name="connsiteX43877" fmla="*/ 1209647 w 6884782"/>
              <a:gd name="connsiteY43877" fmla="*/ 1825475 h 5973007"/>
              <a:gd name="connsiteX43878" fmla="*/ 1200870 w 6884782"/>
              <a:gd name="connsiteY43878" fmla="*/ 1829038 h 5973007"/>
              <a:gd name="connsiteX43879" fmla="*/ 1203555 w 6884782"/>
              <a:gd name="connsiteY43879" fmla="*/ 1824391 h 5973007"/>
              <a:gd name="connsiteX43880" fmla="*/ 1207272 w 6884782"/>
              <a:gd name="connsiteY43880" fmla="*/ 1821138 h 5973007"/>
              <a:gd name="connsiteX43881" fmla="*/ 1203658 w 6884782"/>
              <a:gd name="connsiteY43881" fmla="*/ 1819899 h 5973007"/>
              <a:gd name="connsiteX43882" fmla="*/ 1202316 w 6884782"/>
              <a:gd name="connsiteY43882" fmla="*/ 1816491 h 5973007"/>
              <a:gd name="connsiteX43883" fmla="*/ 677774 w 6884782"/>
              <a:gd name="connsiteY43883" fmla="*/ 1816491 h 5973007"/>
              <a:gd name="connsiteX43884" fmla="*/ 680252 w 6884782"/>
              <a:gd name="connsiteY43884" fmla="*/ 1819280 h 5973007"/>
              <a:gd name="connsiteX43885" fmla="*/ 676948 w 6884782"/>
              <a:gd name="connsiteY43885" fmla="*/ 1819899 h 5973007"/>
              <a:gd name="connsiteX43886" fmla="*/ 676432 w 6884782"/>
              <a:gd name="connsiteY43886" fmla="*/ 1818350 h 5973007"/>
              <a:gd name="connsiteX43887" fmla="*/ 677774 w 6884782"/>
              <a:gd name="connsiteY43887" fmla="*/ 1816491 h 5973007"/>
              <a:gd name="connsiteX43888" fmla="*/ 4656819 w 6884782"/>
              <a:gd name="connsiteY43888" fmla="*/ 1816205 h 5973007"/>
              <a:gd name="connsiteX43889" fmla="*/ 4658100 w 6884782"/>
              <a:gd name="connsiteY43889" fmla="*/ 1819761 h 5973007"/>
              <a:gd name="connsiteX43890" fmla="*/ 4654685 w 6884782"/>
              <a:gd name="connsiteY43890" fmla="*/ 1821895 h 5973007"/>
              <a:gd name="connsiteX43891" fmla="*/ 4653617 w 6884782"/>
              <a:gd name="connsiteY43891" fmla="*/ 1826591 h 5973007"/>
              <a:gd name="connsiteX43892" fmla="*/ 4650416 w 6884782"/>
              <a:gd name="connsiteY43892" fmla="*/ 1828866 h 5973007"/>
              <a:gd name="connsiteX43893" fmla="*/ 4650416 w 6884782"/>
              <a:gd name="connsiteY43893" fmla="*/ 1827586 h 5973007"/>
              <a:gd name="connsiteX43894" fmla="*/ 4652550 w 6884782"/>
              <a:gd name="connsiteY43894" fmla="*/ 1825452 h 5973007"/>
              <a:gd name="connsiteX43895" fmla="*/ 4654471 w 6884782"/>
              <a:gd name="connsiteY43895" fmla="*/ 1817200 h 5973007"/>
              <a:gd name="connsiteX43896" fmla="*/ 4656819 w 6884782"/>
              <a:gd name="connsiteY43896" fmla="*/ 1816205 h 5973007"/>
              <a:gd name="connsiteX43897" fmla="*/ 5999656 w 6884782"/>
              <a:gd name="connsiteY43897" fmla="*/ 1815778 h 5973007"/>
              <a:gd name="connsiteX43898" fmla="*/ 6004138 w 6884782"/>
              <a:gd name="connsiteY43898" fmla="*/ 1816347 h 5973007"/>
              <a:gd name="connsiteX43899" fmla="*/ 6002857 w 6884782"/>
              <a:gd name="connsiteY43899" fmla="*/ 1816205 h 5973007"/>
              <a:gd name="connsiteX43900" fmla="*/ 6004138 w 6884782"/>
              <a:gd name="connsiteY43900" fmla="*/ 1817485 h 5973007"/>
              <a:gd name="connsiteX43901" fmla="*/ 5987918 w 6884782"/>
              <a:gd name="connsiteY43901" fmla="*/ 1819050 h 5973007"/>
              <a:gd name="connsiteX43902" fmla="*/ 5987918 w 6884782"/>
              <a:gd name="connsiteY43902" fmla="*/ 1817912 h 5973007"/>
              <a:gd name="connsiteX43903" fmla="*/ 5999656 w 6884782"/>
              <a:gd name="connsiteY43903" fmla="*/ 1815778 h 5973007"/>
              <a:gd name="connsiteX43904" fmla="*/ 1781790 w 6884782"/>
              <a:gd name="connsiteY43904" fmla="*/ 1815349 h 5973007"/>
              <a:gd name="connsiteX43905" fmla="*/ 1789431 w 6884782"/>
              <a:gd name="connsiteY43905" fmla="*/ 1817266 h 5973007"/>
              <a:gd name="connsiteX43906" fmla="*/ 1782306 w 6884782"/>
              <a:gd name="connsiteY43906" fmla="*/ 1827179 h 5973007"/>
              <a:gd name="connsiteX43907" fmla="*/ 1778795 w 6884782"/>
              <a:gd name="connsiteY43907" fmla="*/ 1822842 h 5973007"/>
              <a:gd name="connsiteX43908" fmla="*/ 1781790 w 6884782"/>
              <a:gd name="connsiteY43908" fmla="*/ 1815349 h 5973007"/>
              <a:gd name="connsiteX43909" fmla="*/ 5980662 w 6884782"/>
              <a:gd name="connsiteY43909" fmla="*/ 1815066 h 5973007"/>
              <a:gd name="connsiteX43910" fmla="*/ 5981942 w 6884782"/>
              <a:gd name="connsiteY43910" fmla="*/ 1816489 h 5973007"/>
              <a:gd name="connsiteX43911" fmla="*/ 5976180 w 6884782"/>
              <a:gd name="connsiteY43911" fmla="*/ 1818623 h 5973007"/>
              <a:gd name="connsiteX43912" fmla="*/ 5980662 w 6884782"/>
              <a:gd name="connsiteY43912" fmla="*/ 1815066 h 5973007"/>
              <a:gd name="connsiteX43913" fmla="*/ 917638 w 6884782"/>
              <a:gd name="connsiteY43913" fmla="*/ 1814942 h 5973007"/>
              <a:gd name="connsiteX43914" fmla="*/ 919703 w 6884782"/>
              <a:gd name="connsiteY43914" fmla="*/ 1815252 h 5973007"/>
              <a:gd name="connsiteX43915" fmla="*/ 921768 w 6884782"/>
              <a:gd name="connsiteY43915" fmla="*/ 1818505 h 5973007"/>
              <a:gd name="connsiteX43916" fmla="*/ 924040 w 6884782"/>
              <a:gd name="connsiteY43916" fmla="*/ 1826714 h 5973007"/>
              <a:gd name="connsiteX43917" fmla="*/ 925073 w 6884782"/>
              <a:gd name="connsiteY43917" fmla="*/ 1828418 h 5973007"/>
              <a:gd name="connsiteX43918" fmla="*/ 917122 w 6884782"/>
              <a:gd name="connsiteY43918" fmla="*/ 1815562 h 5973007"/>
              <a:gd name="connsiteX43919" fmla="*/ 917638 w 6884782"/>
              <a:gd name="connsiteY43919" fmla="*/ 1814942 h 5973007"/>
              <a:gd name="connsiteX43920" fmla="*/ 5438149 w 6884782"/>
              <a:gd name="connsiteY43920" fmla="*/ 1814355 h 5973007"/>
              <a:gd name="connsiteX43921" fmla="*/ 5440923 w 6884782"/>
              <a:gd name="connsiteY43921" fmla="*/ 1815066 h 5973007"/>
              <a:gd name="connsiteX43922" fmla="*/ 5438149 w 6884782"/>
              <a:gd name="connsiteY43922" fmla="*/ 1830858 h 5973007"/>
              <a:gd name="connsiteX43923" fmla="*/ 5435588 w 6884782"/>
              <a:gd name="connsiteY43923" fmla="*/ 1833135 h 5973007"/>
              <a:gd name="connsiteX43924" fmla="*/ 5434307 w 6884782"/>
              <a:gd name="connsiteY43924" fmla="*/ 1835553 h 5973007"/>
              <a:gd name="connsiteX43925" fmla="*/ 5426837 w 6884782"/>
              <a:gd name="connsiteY43925" fmla="*/ 1839110 h 5973007"/>
              <a:gd name="connsiteX43926" fmla="*/ 5428331 w 6884782"/>
              <a:gd name="connsiteY43926" fmla="*/ 1835127 h 5973007"/>
              <a:gd name="connsiteX43927" fmla="*/ 5427051 w 6884782"/>
              <a:gd name="connsiteY43927" fmla="*/ 1835127 h 5973007"/>
              <a:gd name="connsiteX43928" fmla="*/ 5426624 w 6884782"/>
              <a:gd name="connsiteY43928" fmla="*/ 1829436 h 5973007"/>
              <a:gd name="connsiteX43929" fmla="*/ 5430679 w 6884782"/>
              <a:gd name="connsiteY43929" fmla="*/ 1828013 h 5973007"/>
              <a:gd name="connsiteX43930" fmla="*/ 5431746 w 6884782"/>
              <a:gd name="connsiteY43930" fmla="*/ 1825025 h 5973007"/>
              <a:gd name="connsiteX43931" fmla="*/ 5436228 w 6884782"/>
              <a:gd name="connsiteY43931" fmla="*/ 1816205 h 5973007"/>
              <a:gd name="connsiteX43932" fmla="*/ 5438149 w 6884782"/>
              <a:gd name="connsiteY43932" fmla="*/ 1814355 h 5973007"/>
              <a:gd name="connsiteX43933" fmla="*/ 1493808 w 6884782"/>
              <a:gd name="connsiteY43933" fmla="*/ 1813858 h 5973007"/>
              <a:gd name="connsiteX43934" fmla="*/ 1494737 w 6884782"/>
              <a:gd name="connsiteY43934" fmla="*/ 1813858 h 5973007"/>
              <a:gd name="connsiteX43935" fmla="*/ 1493292 w 6884782"/>
              <a:gd name="connsiteY43935" fmla="*/ 1816956 h 5973007"/>
              <a:gd name="connsiteX43936" fmla="*/ 1493395 w 6884782"/>
              <a:gd name="connsiteY43936" fmla="*/ 1814478 h 5973007"/>
              <a:gd name="connsiteX43937" fmla="*/ 1493808 w 6884782"/>
              <a:gd name="connsiteY43937" fmla="*/ 1813858 h 5973007"/>
              <a:gd name="connsiteX43938" fmla="*/ 5048018 w 6884782"/>
              <a:gd name="connsiteY43938" fmla="*/ 1813075 h 5973007"/>
              <a:gd name="connsiteX43939" fmla="*/ 5048658 w 6884782"/>
              <a:gd name="connsiteY43939" fmla="*/ 1813928 h 5973007"/>
              <a:gd name="connsiteX43940" fmla="*/ 5047590 w 6884782"/>
              <a:gd name="connsiteY43940" fmla="*/ 1818481 h 5973007"/>
              <a:gd name="connsiteX43941" fmla="*/ 5047377 w 6884782"/>
              <a:gd name="connsiteY43941" fmla="*/ 1813928 h 5973007"/>
              <a:gd name="connsiteX43942" fmla="*/ 5048018 w 6884782"/>
              <a:gd name="connsiteY43942" fmla="*/ 1813075 h 5973007"/>
              <a:gd name="connsiteX43943" fmla="*/ 1546882 w 6884782"/>
              <a:gd name="connsiteY43943" fmla="*/ 1812929 h 5973007"/>
              <a:gd name="connsiteX43944" fmla="*/ 1547604 w 6884782"/>
              <a:gd name="connsiteY43944" fmla="*/ 1815407 h 5973007"/>
              <a:gd name="connsiteX43945" fmla="*/ 1543268 w 6884782"/>
              <a:gd name="connsiteY43945" fmla="*/ 1813084 h 5973007"/>
              <a:gd name="connsiteX43946" fmla="*/ 1546882 w 6884782"/>
              <a:gd name="connsiteY43946" fmla="*/ 1812929 h 5973007"/>
              <a:gd name="connsiteX43947" fmla="*/ 1542751 w 6884782"/>
              <a:gd name="connsiteY43947" fmla="*/ 1812929 h 5973007"/>
              <a:gd name="connsiteX43948" fmla="*/ 1542648 w 6884782"/>
              <a:gd name="connsiteY43948" fmla="*/ 1813703 h 5973007"/>
              <a:gd name="connsiteX43949" fmla="*/ 1540790 w 6884782"/>
              <a:gd name="connsiteY43949" fmla="*/ 1813084 h 5973007"/>
              <a:gd name="connsiteX43950" fmla="*/ 1542751 w 6884782"/>
              <a:gd name="connsiteY43950" fmla="*/ 1812929 h 5973007"/>
              <a:gd name="connsiteX43951" fmla="*/ 1182181 w 6884782"/>
              <a:gd name="connsiteY43951" fmla="*/ 1812774 h 5973007"/>
              <a:gd name="connsiteX43952" fmla="*/ 1185072 w 6884782"/>
              <a:gd name="connsiteY43952" fmla="*/ 1813084 h 5973007"/>
              <a:gd name="connsiteX43953" fmla="*/ 1187137 w 6884782"/>
              <a:gd name="connsiteY43953" fmla="*/ 1814942 h 5973007"/>
              <a:gd name="connsiteX43954" fmla="*/ 1184452 w 6884782"/>
              <a:gd name="connsiteY43954" fmla="*/ 1819124 h 5973007"/>
              <a:gd name="connsiteX43955" fmla="*/ 1180529 w 6884782"/>
              <a:gd name="connsiteY43955" fmla="*/ 1813703 h 5973007"/>
              <a:gd name="connsiteX43956" fmla="*/ 1182181 w 6884782"/>
              <a:gd name="connsiteY43956" fmla="*/ 1812774 h 5973007"/>
              <a:gd name="connsiteX43957" fmla="*/ 841125 w 6884782"/>
              <a:gd name="connsiteY43957" fmla="*/ 1812619 h 5973007"/>
              <a:gd name="connsiteX43958" fmla="*/ 844843 w 6884782"/>
              <a:gd name="connsiteY43958" fmla="*/ 1813238 h 5973007"/>
              <a:gd name="connsiteX43959" fmla="*/ 843294 w 6884782"/>
              <a:gd name="connsiteY43959" fmla="*/ 1814168 h 5973007"/>
              <a:gd name="connsiteX43960" fmla="*/ 840919 w 6884782"/>
              <a:gd name="connsiteY43960" fmla="*/ 1814478 h 5973007"/>
              <a:gd name="connsiteX43961" fmla="*/ 840093 w 6884782"/>
              <a:gd name="connsiteY43961" fmla="*/ 1815872 h 5973007"/>
              <a:gd name="connsiteX43962" fmla="*/ 833175 w 6884782"/>
              <a:gd name="connsiteY43962" fmla="*/ 1815252 h 5973007"/>
              <a:gd name="connsiteX43963" fmla="*/ 834930 w 6884782"/>
              <a:gd name="connsiteY43963" fmla="*/ 1814478 h 5973007"/>
              <a:gd name="connsiteX43964" fmla="*/ 837098 w 6884782"/>
              <a:gd name="connsiteY43964" fmla="*/ 1814013 h 5973007"/>
              <a:gd name="connsiteX43965" fmla="*/ 839473 w 6884782"/>
              <a:gd name="connsiteY43965" fmla="*/ 1813548 h 5973007"/>
              <a:gd name="connsiteX43966" fmla="*/ 841125 w 6884782"/>
              <a:gd name="connsiteY43966" fmla="*/ 1812619 h 5973007"/>
              <a:gd name="connsiteX43967" fmla="*/ 855168 w 6884782"/>
              <a:gd name="connsiteY43967" fmla="*/ 1812464 h 5973007"/>
              <a:gd name="connsiteX43968" fmla="*/ 864152 w 6884782"/>
              <a:gd name="connsiteY43968" fmla="*/ 1821448 h 5973007"/>
              <a:gd name="connsiteX43969" fmla="*/ 858886 w 6884782"/>
              <a:gd name="connsiteY43969" fmla="*/ 1824546 h 5973007"/>
              <a:gd name="connsiteX43970" fmla="*/ 852071 w 6884782"/>
              <a:gd name="connsiteY43970" fmla="*/ 1818660 h 5973007"/>
              <a:gd name="connsiteX43971" fmla="*/ 852071 w 6884782"/>
              <a:gd name="connsiteY43971" fmla="*/ 1815717 h 5973007"/>
              <a:gd name="connsiteX43972" fmla="*/ 855168 w 6884782"/>
              <a:gd name="connsiteY43972" fmla="*/ 1812464 h 5973007"/>
              <a:gd name="connsiteX43973" fmla="*/ 1310012 w 6884782"/>
              <a:gd name="connsiteY43973" fmla="*/ 1811999 h 5973007"/>
              <a:gd name="connsiteX43974" fmla="*/ 1310735 w 6884782"/>
              <a:gd name="connsiteY43974" fmla="*/ 1819435 h 5973007"/>
              <a:gd name="connsiteX43975" fmla="*/ 1306501 w 6884782"/>
              <a:gd name="connsiteY43975" fmla="*/ 1823462 h 5973007"/>
              <a:gd name="connsiteX43976" fmla="*/ 1304126 w 6884782"/>
              <a:gd name="connsiteY43976" fmla="*/ 1819899 h 5973007"/>
              <a:gd name="connsiteX43977" fmla="*/ 1306501 w 6884782"/>
              <a:gd name="connsiteY43977" fmla="*/ 1815717 h 5973007"/>
              <a:gd name="connsiteX43978" fmla="*/ 1307534 w 6884782"/>
              <a:gd name="connsiteY43978" fmla="*/ 1812774 h 5973007"/>
              <a:gd name="connsiteX43979" fmla="*/ 1310012 w 6884782"/>
              <a:gd name="connsiteY43979" fmla="*/ 1811999 h 5973007"/>
              <a:gd name="connsiteX43980" fmla="*/ 6179996 w 6884782"/>
              <a:gd name="connsiteY43980" fmla="*/ 1811225 h 5973007"/>
              <a:gd name="connsiteX43981" fmla="*/ 6207313 w 6884782"/>
              <a:gd name="connsiteY43981" fmla="*/ 1823318 h 5973007"/>
              <a:gd name="connsiteX43982" fmla="*/ 6172526 w 6884782"/>
              <a:gd name="connsiteY43982" fmla="*/ 1816205 h 5973007"/>
              <a:gd name="connsiteX43983" fmla="*/ 6179996 w 6884782"/>
              <a:gd name="connsiteY43983" fmla="*/ 1811225 h 5973007"/>
              <a:gd name="connsiteX43984" fmla="*/ 1500623 w 6884782"/>
              <a:gd name="connsiteY43984" fmla="*/ 1811070 h 5973007"/>
              <a:gd name="connsiteX43985" fmla="*/ 1510639 w 6884782"/>
              <a:gd name="connsiteY43985" fmla="*/ 1814478 h 5973007"/>
              <a:gd name="connsiteX43986" fmla="*/ 1510742 w 6884782"/>
              <a:gd name="connsiteY43986" fmla="*/ 1819280 h 5973007"/>
              <a:gd name="connsiteX43987" fmla="*/ 1497938 w 6884782"/>
              <a:gd name="connsiteY43987" fmla="*/ 1814788 h 5973007"/>
              <a:gd name="connsiteX43988" fmla="*/ 1500623 w 6884782"/>
              <a:gd name="connsiteY43988" fmla="*/ 1811070 h 5973007"/>
              <a:gd name="connsiteX43989" fmla="*/ 5703003 w 6884782"/>
              <a:gd name="connsiteY43989" fmla="*/ 1810514 h 5973007"/>
              <a:gd name="connsiteX43990" fmla="*/ 5705777 w 6884782"/>
              <a:gd name="connsiteY43990" fmla="*/ 1820188 h 5973007"/>
              <a:gd name="connsiteX43991" fmla="*/ 5698521 w 6884782"/>
              <a:gd name="connsiteY43991" fmla="*/ 1816205 h 5973007"/>
              <a:gd name="connsiteX43992" fmla="*/ 5703003 w 6884782"/>
              <a:gd name="connsiteY43992" fmla="*/ 1810514 h 5973007"/>
              <a:gd name="connsiteX43993" fmla="*/ 821300 w 6884782"/>
              <a:gd name="connsiteY43993" fmla="*/ 1810141 h 5973007"/>
              <a:gd name="connsiteX43994" fmla="*/ 824088 w 6884782"/>
              <a:gd name="connsiteY43994" fmla="*/ 1810295 h 5973007"/>
              <a:gd name="connsiteX43995" fmla="*/ 824914 w 6884782"/>
              <a:gd name="connsiteY43995" fmla="*/ 1814788 h 5973007"/>
              <a:gd name="connsiteX43996" fmla="*/ 823056 w 6884782"/>
              <a:gd name="connsiteY43996" fmla="*/ 1815407 h 5973007"/>
              <a:gd name="connsiteX43997" fmla="*/ 820371 w 6884782"/>
              <a:gd name="connsiteY43997" fmla="*/ 1814323 h 5973007"/>
              <a:gd name="connsiteX43998" fmla="*/ 819545 w 6884782"/>
              <a:gd name="connsiteY43998" fmla="*/ 1810760 h 5973007"/>
              <a:gd name="connsiteX43999" fmla="*/ 821300 w 6884782"/>
              <a:gd name="connsiteY43999" fmla="*/ 1810141 h 5973007"/>
              <a:gd name="connsiteX44000" fmla="*/ 1515905 w 6884782"/>
              <a:gd name="connsiteY44000" fmla="*/ 1809831 h 5973007"/>
              <a:gd name="connsiteX44001" fmla="*/ 1516628 w 6884782"/>
              <a:gd name="connsiteY44001" fmla="*/ 1810605 h 5973007"/>
              <a:gd name="connsiteX44002" fmla="*/ 1509090 w 6884782"/>
              <a:gd name="connsiteY44002" fmla="*/ 1810295 h 5973007"/>
              <a:gd name="connsiteX44003" fmla="*/ 1515905 w 6884782"/>
              <a:gd name="connsiteY44003" fmla="*/ 1809831 h 5973007"/>
              <a:gd name="connsiteX44004" fmla="*/ 3737406 w 6884782"/>
              <a:gd name="connsiteY44004" fmla="*/ 1809803 h 5973007"/>
              <a:gd name="connsiteX44005" fmla="*/ 3747010 w 6884782"/>
              <a:gd name="connsiteY44005" fmla="*/ 1814497 h 5973007"/>
              <a:gd name="connsiteX44006" fmla="*/ 3734845 w 6884782"/>
              <a:gd name="connsiteY44006" fmla="*/ 1811794 h 5973007"/>
              <a:gd name="connsiteX44007" fmla="*/ 3737406 w 6884782"/>
              <a:gd name="connsiteY44007" fmla="*/ 1809803 h 5973007"/>
              <a:gd name="connsiteX44008" fmla="*/ 3789268 w 6884782"/>
              <a:gd name="connsiteY44008" fmla="*/ 1809660 h 5973007"/>
              <a:gd name="connsiteX44009" fmla="*/ 3797591 w 6884782"/>
              <a:gd name="connsiteY44009" fmla="*/ 1822891 h 5973007"/>
              <a:gd name="connsiteX44010" fmla="*/ 3794389 w 6884782"/>
              <a:gd name="connsiteY44010" fmla="*/ 1824029 h 5973007"/>
              <a:gd name="connsiteX44011" fmla="*/ 3793749 w 6884782"/>
              <a:gd name="connsiteY44011" fmla="*/ 1823887 h 5973007"/>
              <a:gd name="connsiteX44012" fmla="*/ 3793536 w 6884782"/>
              <a:gd name="connsiteY44012" fmla="*/ 1824029 h 5973007"/>
              <a:gd name="connsiteX44013" fmla="*/ 3789908 w 6884782"/>
              <a:gd name="connsiteY44013" fmla="*/ 1825167 h 5973007"/>
              <a:gd name="connsiteX44014" fmla="*/ 3784786 w 6884782"/>
              <a:gd name="connsiteY44014" fmla="*/ 1820188 h 5973007"/>
              <a:gd name="connsiteX44015" fmla="*/ 3787987 w 6884782"/>
              <a:gd name="connsiteY44015" fmla="*/ 1814070 h 5973007"/>
              <a:gd name="connsiteX44016" fmla="*/ 3788841 w 6884782"/>
              <a:gd name="connsiteY44016" fmla="*/ 1813928 h 5973007"/>
              <a:gd name="connsiteX44017" fmla="*/ 4865330 w 6884782"/>
              <a:gd name="connsiteY44017" fmla="*/ 1809376 h 5973007"/>
              <a:gd name="connsiteX44018" fmla="*/ 4864263 w 6884782"/>
              <a:gd name="connsiteY44018" fmla="*/ 1833419 h 5973007"/>
              <a:gd name="connsiteX44019" fmla="*/ 4862982 w 6884782"/>
              <a:gd name="connsiteY44019" fmla="*/ 1835838 h 5973007"/>
              <a:gd name="connsiteX44020" fmla="*/ 4859994 w 6884782"/>
              <a:gd name="connsiteY44020" fmla="*/ 1836122 h 5973007"/>
              <a:gd name="connsiteX44021" fmla="*/ 4857220 w 6884782"/>
              <a:gd name="connsiteY44021" fmla="*/ 1820899 h 5973007"/>
              <a:gd name="connsiteX44022" fmla="*/ 4858928 w 6884782"/>
              <a:gd name="connsiteY44022" fmla="*/ 1817912 h 5973007"/>
              <a:gd name="connsiteX44023" fmla="*/ 4859354 w 6884782"/>
              <a:gd name="connsiteY44023" fmla="*/ 1815208 h 5973007"/>
              <a:gd name="connsiteX44024" fmla="*/ 4865330 w 6884782"/>
              <a:gd name="connsiteY44024" fmla="*/ 1809376 h 5973007"/>
              <a:gd name="connsiteX44025" fmla="*/ 5510071 w 6884782"/>
              <a:gd name="connsiteY44025" fmla="*/ 1808664 h 5973007"/>
              <a:gd name="connsiteX44026" fmla="*/ 5518394 w 6884782"/>
              <a:gd name="connsiteY44026" fmla="*/ 1818339 h 5973007"/>
              <a:gd name="connsiteX44027" fmla="*/ 5524157 w 6884782"/>
              <a:gd name="connsiteY44027" fmla="*/ 1824883 h 5973007"/>
              <a:gd name="connsiteX44028" fmla="*/ 5524157 w 6884782"/>
              <a:gd name="connsiteY44028" fmla="*/ 1824456 h 5973007"/>
              <a:gd name="connsiteX44029" fmla="*/ 5527571 w 6884782"/>
              <a:gd name="connsiteY44029" fmla="*/ 1822891 h 5973007"/>
              <a:gd name="connsiteX44030" fmla="*/ 5528212 w 6884782"/>
              <a:gd name="connsiteY44030" fmla="*/ 1825879 h 5973007"/>
              <a:gd name="connsiteX44031" fmla="*/ 5526504 w 6884782"/>
              <a:gd name="connsiteY44031" fmla="*/ 1827586 h 5973007"/>
              <a:gd name="connsiteX44032" fmla="*/ 5526931 w 6884782"/>
              <a:gd name="connsiteY44032" fmla="*/ 1828013 h 5973007"/>
              <a:gd name="connsiteX44033" fmla="*/ 5520102 w 6884782"/>
              <a:gd name="connsiteY44033" fmla="*/ 1845085 h 5973007"/>
              <a:gd name="connsiteX44034" fmla="*/ 5518608 w 6884782"/>
              <a:gd name="connsiteY44034" fmla="*/ 1838398 h 5973007"/>
              <a:gd name="connsiteX44035" fmla="*/ 5516901 w 6884782"/>
              <a:gd name="connsiteY44035" fmla="*/ 1839679 h 5973007"/>
              <a:gd name="connsiteX44036" fmla="*/ 5513913 w 6884782"/>
              <a:gd name="connsiteY44036" fmla="*/ 1837830 h 5973007"/>
              <a:gd name="connsiteX44037" fmla="*/ 5515833 w 6884782"/>
              <a:gd name="connsiteY44037" fmla="*/ 1835127 h 5973007"/>
              <a:gd name="connsiteX44038" fmla="*/ 5517328 w 6884782"/>
              <a:gd name="connsiteY44038" fmla="*/ 1833988 h 5973007"/>
              <a:gd name="connsiteX44039" fmla="*/ 5513273 w 6884782"/>
              <a:gd name="connsiteY44039" fmla="*/ 1825594 h 5973007"/>
              <a:gd name="connsiteX44040" fmla="*/ 5510071 w 6884782"/>
              <a:gd name="connsiteY44040" fmla="*/ 1808664 h 5973007"/>
              <a:gd name="connsiteX44041" fmla="*/ 1199528 w 6884782"/>
              <a:gd name="connsiteY44041" fmla="*/ 1808591 h 5973007"/>
              <a:gd name="connsiteX44042" fmla="*/ 1200044 w 6884782"/>
              <a:gd name="connsiteY44042" fmla="*/ 1811070 h 5973007"/>
              <a:gd name="connsiteX44043" fmla="*/ 1197153 w 6884782"/>
              <a:gd name="connsiteY44043" fmla="*/ 1812619 h 5973007"/>
              <a:gd name="connsiteX44044" fmla="*/ 1195707 w 6884782"/>
              <a:gd name="connsiteY44044" fmla="*/ 1815872 h 5973007"/>
              <a:gd name="connsiteX44045" fmla="*/ 1195604 w 6884782"/>
              <a:gd name="connsiteY44045" fmla="*/ 1816026 h 5973007"/>
              <a:gd name="connsiteX44046" fmla="*/ 1195088 w 6884782"/>
              <a:gd name="connsiteY44046" fmla="*/ 1817885 h 5973007"/>
              <a:gd name="connsiteX44047" fmla="*/ 1195810 w 6884782"/>
              <a:gd name="connsiteY44047" fmla="*/ 1817576 h 5973007"/>
              <a:gd name="connsiteX44048" fmla="*/ 1198599 w 6884782"/>
              <a:gd name="connsiteY44048" fmla="*/ 1825011 h 5973007"/>
              <a:gd name="connsiteX44049" fmla="*/ 1195810 w 6884782"/>
              <a:gd name="connsiteY44049" fmla="*/ 1828883 h 5973007"/>
              <a:gd name="connsiteX44050" fmla="*/ 1187963 w 6884782"/>
              <a:gd name="connsiteY44050" fmla="*/ 1830122 h 5973007"/>
              <a:gd name="connsiteX44051" fmla="*/ 1186827 w 6884782"/>
              <a:gd name="connsiteY44051" fmla="*/ 1825785 h 5973007"/>
              <a:gd name="connsiteX44052" fmla="*/ 1188996 w 6884782"/>
              <a:gd name="connsiteY44052" fmla="*/ 1822223 h 5973007"/>
              <a:gd name="connsiteX44053" fmla="*/ 1187860 w 6884782"/>
              <a:gd name="connsiteY44053" fmla="*/ 1822223 h 5973007"/>
              <a:gd name="connsiteX44054" fmla="*/ 1190441 w 6884782"/>
              <a:gd name="connsiteY44054" fmla="*/ 1819589 h 5973007"/>
              <a:gd name="connsiteX44055" fmla="*/ 1191784 w 6884782"/>
              <a:gd name="connsiteY44055" fmla="*/ 1818350 h 5973007"/>
              <a:gd name="connsiteX44056" fmla="*/ 1191577 w 6884782"/>
              <a:gd name="connsiteY44056" fmla="*/ 1817730 h 5973007"/>
              <a:gd name="connsiteX44057" fmla="*/ 1193023 w 6884782"/>
              <a:gd name="connsiteY44057" fmla="*/ 1814942 h 5973007"/>
              <a:gd name="connsiteX44058" fmla="*/ 1194571 w 6884782"/>
              <a:gd name="connsiteY44058" fmla="*/ 1815252 h 5973007"/>
              <a:gd name="connsiteX44059" fmla="*/ 1195088 w 6884782"/>
              <a:gd name="connsiteY44059" fmla="*/ 1814942 h 5973007"/>
              <a:gd name="connsiteX44060" fmla="*/ 1197772 w 6884782"/>
              <a:gd name="connsiteY44060" fmla="*/ 1809366 h 5973007"/>
              <a:gd name="connsiteX44061" fmla="*/ 1199528 w 6884782"/>
              <a:gd name="connsiteY44061" fmla="*/ 1808591 h 5973007"/>
              <a:gd name="connsiteX44062" fmla="*/ 5569188 w 6884782"/>
              <a:gd name="connsiteY44062" fmla="*/ 1808380 h 5973007"/>
              <a:gd name="connsiteX44063" fmla="*/ 5576445 w 6884782"/>
              <a:gd name="connsiteY44063" fmla="*/ 1808664 h 5973007"/>
              <a:gd name="connsiteX44064" fmla="*/ 5579219 w 6884782"/>
              <a:gd name="connsiteY44064" fmla="*/ 1814355 h 5973007"/>
              <a:gd name="connsiteX44065" fmla="*/ 5577725 w 6884782"/>
              <a:gd name="connsiteY44065" fmla="*/ 1821326 h 5973007"/>
              <a:gd name="connsiteX44066" fmla="*/ 5569188 w 6884782"/>
              <a:gd name="connsiteY44066" fmla="*/ 1808380 h 5973007"/>
              <a:gd name="connsiteX44067" fmla="*/ 1121879 w 6884782"/>
              <a:gd name="connsiteY44067" fmla="*/ 1808282 h 5973007"/>
              <a:gd name="connsiteX44068" fmla="*/ 1140156 w 6884782"/>
              <a:gd name="connsiteY44068" fmla="*/ 1821293 h 5973007"/>
              <a:gd name="connsiteX44069" fmla="*/ 1140568 w 6884782"/>
              <a:gd name="connsiteY44069" fmla="*/ 1867142 h 5973007"/>
              <a:gd name="connsiteX44070" fmla="*/ 1107733 w 6884782"/>
              <a:gd name="connsiteY44070" fmla="*/ 1877520 h 5973007"/>
              <a:gd name="connsiteX44071" fmla="*/ 1089147 w 6884782"/>
              <a:gd name="connsiteY44071" fmla="*/ 1867917 h 5973007"/>
              <a:gd name="connsiteX44072" fmla="*/ 1077066 w 6884782"/>
              <a:gd name="connsiteY44072" fmla="*/ 1844217 h 5973007"/>
              <a:gd name="connsiteX44073" fmla="*/ 1081919 w 6884782"/>
              <a:gd name="connsiteY44073" fmla="*/ 1830432 h 5973007"/>
              <a:gd name="connsiteX44074" fmla="*/ 1084500 w 6884782"/>
              <a:gd name="connsiteY44074" fmla="*/ 1822997 h 5973007"/>
              <a:gd name="connsiteX44075" fmla="*/ 1081196 w 6884782"/>
              <a:gd name="connsiteY44075" fmla="*/ 1821138 h 5973007"/>
              <a:gd name="connsiteX44076" fmla="*/ 1085636 w 6884782"/>
              <a:gd name="connsiteY44076" fmla="*/ 1819280 h 5973007"/>
              <a:gd name="connsiteX44077" fmla="*/ 1086669 w 6884782"/>
              <a:gd name="connsiteY44077" fmla="*/ 1816646 h 5973007"/>
              <a:gd name="connsiteX44078" fmla="*/ 1121879 w 6884782"/>
              <a:gd name="connsiteY44078" fmla="*/ 1808282 h 5973007"/>
              <a:gd name="connsiteX44079" fmla="*/ 672198 w 6884782"/>
              <a:gd name="connsiteY44079" fmla="*/ 1807972 h 5973007"/>
              <a:gd name="connsiteX44080" fmla="*/ 673644 w 6884782"/>
              <a:gd name="connsiteY44080" fmla="*/ 1807972 h 5973007"/>
              <a:gd name="connsiteX44081" fmla="*/ 675399 w 6884782"/>
              <a:gd name="connsiteY44081" fmla="*/ 1807972 h 5973007"/>
              <a:gd name="connsiteX44082" fmla="*/ 677051 w 6884782"/>
              <a:gd name="connsiteY44082" fmla="*/ 1815717 h 5973007"/>
              <a:gd name="connsiteX44083" fmla="*/ 669927 w 6884782"/>
              <a:gd name="connsiteY44083" fmla="*/ 1817421 h 5973007"/>
              <a:gd name="connsiteX44084" fmla="*/ 669100 w 6884782"/>
              <a:gd name="connsiteY44084" fmla="*/ 1815717 h 5973007"/>
              <a:gd name="connsiteX44085" fmla="*/ 668584 w 6884782"/>
              <a:gd name="connsiteY44085" fmla="*/ 1813548 h 5973007"/>
              <a:gd name="connsiteX44086" fmla="*/ 670133 w 6884782"/>
              <a:gd name="connsiteY44086" fmla="*/ 1809211 h 5973007"/>
              <a:gd name="connsiteX44087" fmla="*/ 672198 w 6884782"/>
              <a:gd name="connsiteY44087" fmla="*/ 1807972 h 5973007"/>
              <a:gd name="connsiteX44088" fmla="*/ 3774755 w 6884782"/>
              <a:gd name="connsiteY44088" fmla="*/ 1807811 h 5973007"/>
              <a:gd name="connsiteX44089" fmla="*/ 3778170 w 6884782"/>
              <a:gd name="connsiteY44089" fmla="*/ 1809660 h 5973007"/>
              <a:gd name="connsiteX44090" fmla="*/ 3776676 w 6884782"/>
              <a:gd name="connsiteY44090" fmla="*/ 1814355 h 5973007"/>
              <a:gd name="connsiteX44091" fmla="*/ 3773261 w 6884782"/>
              <a:gd name="connsiteY44091" fmla="*/ 1813643 h 5973007"/>
              <a:gd name="connsiteX44092" fmla="*/ 3774755 w 6884782"/>
              <a:gd name="connsiteY44092" fmla="*/ 1807811 h 5973007"/>
              <a:gd name="connsiteX44093" fmla="*/ 1203658 w 6884782"/>
              <a:gd name="connsiteY44093" fmla="*/ 1807662 h 5973007"/>
              <a:gd name="connsiteX44094" fmla="*/ 1208924 w 6884782"/>
              <a:gd name="connsiteY44094" fmla="*/ 1811070 h 5973007"/>
              <a:gd name="connsiteX44095" fmla="*/ 1204484 w 6884782"/>
              <a:gd name="connsiteY44095" fmla="*/ 1813084 h 5973007"/>
              <a:gd name="connsiteX44096" fmla="*/ 1203348 w 6884782"/>
              <a:gd name="connsiteY44096" fmla="*/ 1812619 h 5973007"/>
              <a:gd name="connsiteX44097" fmla="*/ 1202419 w 6884782"/>
              <a:gd name="connsiteY44097" fmla="*/ 1812309 h 5973007"/>
              <a:gd name="connsiteX44098" fmla="*/ 1200251 w 6884782"/>
              <a:gd name="connsiteY44098" fmla="*/ 1811380 h 5973007"/>
              <a:gd name="connsiteX44099" fmla="*/ 1203658 w 6884782"/>
              <a:gd name="connsiteY44099" fmla="*/ 1807662 h 5973007"/>
              <a:gd name="connsiteX44100" fmla="*/ 5342323 w 6884782"/>
              <a:gd name="connsiteY44100" fmla="*/ 1806957 h 5973007"/>
              <a:gd name="connsiteX44101" fmla="*/ 5348512 w 6884782"/>
              <a:gd name="connsiteY44101" fmla="*/ 1811225 h 5973007"/>
              <a:gd name="connsiteX44102" fmla="*/ 5342110 w 6884782"/>
              <a:gd name="connsiteY44102" fmla="*/ 1811794 h 5973007"/>
              <a:gd name="connsiteX44103" fmla="*/ 5342323 w 6884782"/>
              <a:gd name="connsiteY44103" fmla="*/ 1806957 h 5973007"/>
              <a:gd name="connsiteX44104" fmla="*/ 798894 w 6884782"/>
              <a:gd name="connsiteY44104" fmla="*/ 1806578 h 5973007"/>
              <a:gd name="connsiteX44105" fmla="*/ 816654 w 6884782"/>
              <a:gd name="connsiteY44105" fmla="*/ 1809521 h 5973007"/>
              <a:gd name="connsiteX44106" fmla="*/ 785367 w 6884782"/>
              <a:gd name="connsiteY44106" fmla="*/ 1818040 h 5973007"/>
              <a:gd name="connsiteX44107" fmla="*/ 798894 w 6884782"/>
              <a:gd name="connsiteY44107" fmla="*/ 1806578 h 5973007"/>
              <a:gd name="connsiteX44108" fmla="*/ 3486638 w 6884782"/>
              <a:gd name="connsiteY44108" fmla="*/ 1806246 h 5973007"/>
              <a:gd name="connsiteX44109" fmla="*/ 3489199 w 6884782"/>
              <a:gd name="connsiteY44109" fmla="*/ 1810087 h 5973007"/>
              <a:gd name="connsiteX44110" fmla="*/ 3482370 w 6884782"/>
              <a:gd name="connsiteY44110" fmla="*/ 1811794 h 5973007"/>
              <a:gd name="connsiteX44111" fmla="*/ 3486638 w 6884782"/>
              <a:gd name="connsiteY44111" fmla="*/ 1806246 h 5973007"/>
              <a:gd name="connsiteX44112" fmla="*/ 1150378 w 6884782"/>
              <a:gd name="connsiteY44112" fmla="*/ 1806113 h 5973007"/>
              <a:gd name="connsiteX44113" fmla="*/ 1150481 w 6884782"/>
              <a:gd name="connsiteY44113" fmla="*/ 1820364 h 5973007"/>
              <a:gd name="connsiteX44114" fmla="*/ 1145834 w 6884782"/>
              <a:gd name="connsiteY44114" fmla="*/ 1814013 h 5973007"/>
              <a:gd name="connsiteX44115" fmla="*/ 1150378 w 6884782"/>
              <a:gd name="connsiteY44115" fmla="*/ 1806113 h 5973007"/>
              <a:gd name="connsiteX44116" fmla="*/ 5161770 w 6884782"/>
              <a:gd name="connsiteY44116" fmla="*/ 1805961 h 5973007"/>
              <a:gd name="connsiteX44117" fmla="*/ 5176709 w 6884782"/>
              <a:gd name="connsiteY44117" fmla="*/ 1810656 h 5973007"/>
              <a:gd name="connsiteX44118" fmla="*/ 5175002 w 6884782"/>
              <a:gd name="connsiteY44118" fmla="*/ 1813643 h 5973007"/>
              <a:gd name="connsiteX44119" fmla="*/ 5177990 w 6884782"/>
              <a:gd name="connsiteY44119" fmla="*/ 1815778 h 5973007"/>
              <a:gd name="connsiteX44120" fmla="*/ 5177136 w 6884782"/>
              <a:gd name="connsiteY44120" fmla="*/ 1819904 h 5973007"/>
              <a:gd name="connsiteX44121" fmla="*/ 5177563 w 6884782"/>
              <a:gd name="connsiteY44121" fmla="*/ 1819761 h 5973007"/>
              <a:gd name="connsiteX44122" fmla="*/ 5179697 w 6884782"/>
              <a:gd name="connsiteY44122" fmla="*/ 1822038 h 5973007"/>
              <a:gd name="connsiteX44123" fmla="*/ 5180551 w 6884782"/>
              <a:gd name="connsiteY44123" fmla="*/ 1825879 h 5973007"/>
              <a:gd name="connsiteX44124" fmla="*/ 5182258 w 6884782"/>
              <a:gd name="connsiteY44124" fmla="*/ 1831428 h 5973007"/>
              <a:gd name="connsiteX44125" fmla="*/ 5183325 w 6884782"/>
              <a:gd name="connsiteY44125" fmla="*/ 1851060 h 5973007"/>
              <a:gd name="connsiteX44126" fmla="*/ 5179697 w 6884782"/>
              <a:gd name="connsiteY44126" fmla="*/ 1843804 h 5973007"/>
              <a:gd name="connsiteX44127" fmla="*/ 5177990 w 6884782"/>
              <a:gd name="connsiteY44127" fmla="*/ 1836549 h 5973007"/>
              <a:gd name="connsiteX44128" fmla="*/ 5171161 w 6884782"/>
              <a:gd name="connsiteY44128" fmla="*/ 1838398 h 5973007"/>
              <a:gd name="connsiteX44129" fmla="*/ 5166038 w 6884782"/>
              <a:gd name="connsiteY44129" fmla="*/ 1834842 h 5973007"/>
              <a:gd name="connsiteX44130" fmla="*/ 5165185 w 6884782"/>
              <a:gd name="connsiteY44130" fmla="*/ 1824456 h 5973007"/>
              <a:gd name="connsiteX44131" fmla="*/ 5171801 w 6884782"/>
              <a:gd name="connsiteY44131" fmla="*/ 1823744 h 5973007"/>
              <a:gd name="connsiteX44132" fmla="*/ 5175215 w 6884782"/>
              <a:gd name="connsiteY44132" fmla="*/ 1824314 h 5973007"/>
              <a:gd name="connsiteX44133" fmla="*/ 5175856 w 6884782"/>
              <a:gd name="connsiteY44133" fmla="*/ 1822891 h 5973007"/>
              <a:gd name="connsiteX44134" fmla="*/ 5175642 w 6884782"/>
              <a:gd name="connsiteY44134" fmla="*/ 1821895 h 5973007"/>
              <a:gd name="connsiteX44135" fmla="*/ 5174789 w 6884782"/>
              <a:gd name="connsiteY44135" fmla="*/ 1822891 h 5973007"/>
              <a:gd name="connsiteX44136" fmla="*/ 5173508 w 6884782"/>
              <a:gd name="connsiteY44136" fmla="*/ 1823176 h 5973007"/>
              <a:gd name="connsiteX44137" fmla="*/ 5168813 w 6884782"/>
              <a:gd name="connsiteY44137" fmla="*/ 1820757 h 5973007"/>
              <a:gd name="connsiteX44138" fmla="*/ 5167106 w 6884782"/>
              <a:gd name="connsiteY44138" fmla="*/ 1822180 h 5973007"/>
              <a:gd name="connsiteX44139" fmla="*/ 5161770 w 6884782"/>
              <a:gd name="connsiteY44139" fmla="*/ 1805961 h 5973007"/>
              <a:gd name="connsiteX44140" fmla="*/ 3895551 w 6884782"/>
              <a:gd name="connsiteY44140" fmla="*/ 1805677 h 5973007"/>
              <a:gd name="connsiteX44141" fmla="*/ 3929271 w 6884782"/>
              <a:gd name="connsiteY44141" fmla="*/ 1825879 h 5973007"/>
              <a:gd name="connsiteX44142" fmla="*/ 3925429 w 6884782"/>
              <a:gd name="connsiteY44142" fmla="*/ 1813217 h 5973007"/>
              <a:gd name="connsiteX44143" fmla="*/ 3929484 w 6884782"/>
              <a:gd name="connsiteY44143" fmla="*/ 1826021 h 5973007"/>
              <a:gd name="connsiteX44144" fmla="*/ 3943143 w 6884782"/>
              <a:gd name="connsiteY44144" fmla="*/ 1835269 h 5973007"/>
              <a:gd name="connsiteX44145" fmla="*/ 3888081 w 6884782"/>
              <a:gd name="connsiteY44145" fmla="*/ 1817200 h 5973007"/>
              <a:gd name="connsiteX44146" fmla="*/ 3895551 w 6884782"/>
              <a:gd name="connsiteY44146" fmla="*/ 1805677 h 5973007"/>
              <a:gd name="connsiteX44147" fmla="*/ 1539550 w 6884782"/>
              <a:gd name="connsiteY44147" fmla="*/ 1805184 h 5973007"/>
              <a:gd name="connsiteX44148" fmla="*/ 1540170 w 6884782"/>
              <a:gd name="connsiteY44148" fmla="*/ 1811380 h 5973007"/>
              <a:gd name="connsiteX44149" fmla="*/ 1538311 w 6884782"/>
              <a:gd name="connsiteY44149" fmla="*/ 1814013 h 5973007"/>
              <a:gd name="connsiteX44150" fmla="*/ 1538208 w 6884782"/>
              <a:gd name="connsiteY44150" fmla="*/ 1814013 h 5973007"/>
              <a:gd name="connsiteX44151" fmla="*/ 1535524 w 6884782"/>
              <a:gd name="connsiteY44151" fmla="*/ 1815252 h 5973007"/>
              <a:gd name="connsiteX44152" fmla="*/ 1531600 w 6884782"/>
              <a:gd name="connsiteY44152" fmla="*/ 1813858 h 5973007"/>
              <a:gd name="connsiteX44153" fmla="*/ 1531703 w 6884782"/>
              <a:gd name="connsiteY44153" fmla="*/ 1812929 h 5973007"/>
              <a:gd name="connsiteX44154" fmla="*/ 1529225 w 6884782"/>
              <a:gd name="connsiteY44154" fmla="*/ 1812929 h 5973007"/>
              <a:gd name="connsiteX44155" fmla="*/ 1522616 w 6884782"/>
              <a:gd name="connsiteY44155" fmla="*/ 1811380 h 5973007"/>
              <a:gd name="connsiteX44156" fmla="*/ 1529225 w 6884782"/>
              <a:gd name="connsiteY44156" fmla="*/ 1811690 h 5973007"/>
              <a:gd name="connsiteX44157" fmla="*/ 1531703 w 6884782"/>
              <a:gd name="connsiteY44157" fmla="*/ 1811999 h 5973007"/>
              <a:gd name="connsiteX44158" fmla="*/ 1531806 w 6884782"/>
              <a:gd name="connsiteY44158" fmla="*/ 1810760 h 5973007"/>
              <a:gd name="connsiteX44159" fmla="*/ 1539550 w 6884782"/>
              <a:gd name="connsiteY44159" fmla="*/ 1805184 h 5973007"/>
              <a:gd name="connsiteX44160" fmla="*/ 1173301 w 6884782"/>
              <a:gd name="connsiteY44160" fmla="*/ 1804100 h 5973007"/>
              <a:gd name="connsiteX44161" fmla="*/ 1176192 w 6884782"/>
              <a:gd name="connsiteY44161" fmla="*/ 1817576 h 5973007"/>
              <a:gd name="connsiteX44162" fmla="*/ 1173301 w 6884782"/>
              <a:gd name="connsiteY44162" fmla="*/ 1804100 h 5973007"/>
              <a:gd name="connsiteX44163" fmla="*/ 3911130 w 6884782"/>
              <a:gd name="connsiteY44163" fmla="*/ 1803969 h 5973007"/>
              <a:gd name="connsiteX44164" fmla="*/ 3914758 w 6884782"/>
              <a:gd name="connsiteY44164" fmla="*/ 1805534 h 5973007"/>
              <a:gd name="connsiteX44165" fmla="*/ 3913691 w 6884782"/>
              <a:gd name="connsiteY44165" fmla="*/ 1807669 h 5973007"/>
              <a:gd name="connsiteX44166" fmla="*/ 3907502 w 6884782"/>
              <a:gd name="connsiteY44166" fmla="*/ 1806246 h 5973007"/>
              <a:gd name="connsiteX44167" fmla="*/ 3908782 w 6884782"/>
              <a:gd name="connsiteY44167" fmla="*/ 1805250 h 5973007"/>
              <a:gd name="connsiteX44168" fmla="*/ 3908356 w 6884782"/>
              <a:gd name="connsiteY44168" fmla="*/ 1804823 h 5973007"/>
              <a:gd name="connsiteX44169" fmla="*/ 3911130 w 6884782"/>
              <a:gd name="connsiteY44169" fmla="*/ 1803969 h 5973007"/>
              <a:gd name="connsiteX44170" fmla="*/ 5640044 w 6884782"/>
              <a:gd name="connsiteY44170" fmla="*/ 1803827 h 5973007"/>
              <a:gd name="connsiteX44171" fmla="*/ 5645379 w 6884782"/>
              <a:gd name="connsiteY44171" fmla="*/ 1809803 h 5973007"/>
              <a:gd name="connsiteX44172" fmla="*/ 5638336 w 6884782"/>
              <a:gd name="connsiteY44172" fmla="*/ 1819904 h 5973007"/>
              <a:gd name="connsiteX44173" fmla="*/ 5640044 w 6884782"/>
              <a:gd name="connsiteY44173" fmla="*/ 1803827 h 5973007"/>
              <a:gd name="connsiteX44174" fmla="*/ 5186100 w 6884782"/>
              <a:gd name="connsiteY44174" fmla="*/ 1803685 h 5973007"/>
              <a:gd name="connsiteX44175" fmla="*/ 5190155 w 6884782"/>
              <a:gd name="connsiteY44175" fmla="*/ 1804823 h 5973007"/>
              <a:gd name="connsiteX44176" fmla="*/ 5192289 w 6884782"/>
              <a:gd name="connsiteY44176" fmla="*/ 1811510 h 5973007"/>
              <a:gd name="connsiteX44177" fmla="*/ 5180124 w 6884782"/>
              <a:gd name="connsiteY44177" fmla="*/ 1812933 h 5973007"/>
              <a:gd name="connsiteX44178" fmla="*/ 5186100 w 6884782"/>
              <a:gd name="connsiteY44178" fmla="*/ 1803685 h 5973007"/>
              <a:gd name="connsiteX44179" fmla="*/ 714533 w 6884782"/>
              <a:gd name="connsiteY44179" fmla="*/ 1803635 h 5973007"/>
              <a:gd name="connsiteX44180" fmla="*/ 719799 w 6884782"/>
              <a:gd name="connsiteY44180" fmla="*/ 1805803 h 5973007"/>
              <a:gd name="connsiteX44181" fmla="*/ 720729 w 6884782"/>
              <a:gd name="connsiteY44181" fmla="*/ 1808282 h 5973007"/>
              <a:gd name="connsiteX44182" fmla="*/ 718044 w 6884782"/>
              <a:gd name="connsiteY44182" fmla="*/ 1807972 h 5973007"/>
              <a:gd name="connsiteX44183" fmla="*/ 717115 w 6884782"/>
              <a:gd name="connsiteY44183" fmla="*/ 1806268 h 5973007"/>
              <a:gd name="connsiteX44184" fmla="*/ 714430 w 6884782"/>
              <a:gd name="connsiteY44184" fmla="*/ 1805184 h 5973007"/>
              <a:gd name="connsiteX44185" fmla="*/ 714533 w 6884782"/>
              <a:gd name="connsiteY44185" fmla="*/ 1803635 h 5973007"/>
              <a:gd name="connsiteX44186" fmla="*/ 6004351 w 6884782"/>
              <a:gd name="connsiteY44186" fmla="*/ 1803258 h 5973007"/>
              <a:gd name="connsiteX44187" fmla="*/ 6004778 w 6884782"/>
              <a:gd name="connsiteY44187" fmla="*/ 1808096 h 5973007"/>
              <a:gd name="connsiteX44188" fmla="*/ 6002217 w 6884782"/>
              <a:gd name="connsiteY44188" fmla="*/ 1807953 h 5973007"/>
              <a:gd name="connsiteX44189" fmla="*/ 5985143 w 6884782"/>
              <a:gd name="connsiteY44189" fmla="*/ 1813217 h 5973007"/>
              <a:gd name="connsiteX44190" fmla="*/ 6004351 w 6884782"/>
              <a:gd name="connsiteY44190" fmla="*/ 1803258 h 5973007"/>
              <a:gd name="connsiteX44191" fmla="*/ 4732369 w 6884782"/>
              <a:gd name="connsiteY44191" fmla="*/ 1802974 h 5973007"/>
              <a:gd name="connsiteX44192" fmla="*/ 4729168 w 6884782"/>
              <a:gd name="connsiteY44192" fmla="*/ 1810371 h 5973007"/>
              <a:gd name="connsiteX44193" fmla="*/ 4730876 w 6884782"/>
              <a:gd name="connsiteY44193" fmla="*/ 1812790 h 5973007"/>
              <a:gd name="connsiteX44194" fmla="*/ 4729168 w 6884782"/>
              <a:gd name="connsiteY44194" fmla="*/ 1818339 h 5973007"/>
              <a:gd name="connsiteX44195" fmla="*/ 4726821 w 6884782"/>
              <a:gd name="connsiteY44195" fmla="*/ 1814355 h 5973007"/>
              <a:gd name="connsiteX44196" fmla="*/ 4726821 w 6884782"/>
              <a:gd name="connsiteY44196" fmla="*/ 1813643 h 5973007"/>
              <a:gd name="connsiteX44197" fmla="*/ 4722552 w 6884782"/>
              <a:gd name="connsiteY44197" fmla="*/ 1819619 h 5973007"/>
              <a:gd name="connsiteX44198" fmla="*/ 4718070 w 6884782"/>
              <a:gd name="connsiteY44198" fmla="*/ 1827301 h 5973007"/>
              <a:gd name="connsiteX44199" fmla="*/ 4714869 w 6884782"/>
              <a:gd name="connsiteY44199" fmla="*/ 1828155 h 5973007"/>
              <a:gd name="connsiteX44200" fmla="*/ 4714229 w 6884782"/>
              <a:gd name="connsiteY44200" fmla="*/ 1829293 h 5973007"/>
              <a:gd name="connsiteX44201" fmla="*/ 4712735 w 6884782"/>
              <a:gd name="connsiteY44201" fmla="*/ 1829436 h 5973007"/>
              <a:gd name="connsiteX44202" fmla="*/ 4712308 w 6884782"/>
              <a:gd name="connsiteY44202" fmla="*/ 1829862 h 5973007"/>
              <a:gd name="connsiteX44203" fmla="*/ 4711881 w 6884782"/>
              <a:gd name="connsiteY44203" fmla="*/ 1830431 h 5973007"/>
              <a:gd name="connsiteX44204" fmla="*/ 4717643 w 6884782"/>
              <a:gd name="connsiteY44204" fmla="*/ 1833846 h 5973007"/>
              <a:gd name="connsiteX44205" fmla="*/ 4717857 w 6884782"/>
              <a:gd name="connsiteY44205" fmla="*/ 1841386 h 5973007"/>
              <a:gd name="connsiteX44206" fmla="*/ 4714655 w 6884782"/>
              <a:gd name="connsiteY44206" fmla="*/ 1840959 h 5973007"/>
              <a:gd name="connsiteX44207" fmla="*/ 4714015 w 6884782"/>
              <a:gd name="connsiteY44207" fmla="*/ 1846081 h 5973007"/>
              <a:gd name="connsiteX44208" fmla="*/ 4709534 w 6884782"/>
              <a:gd name="connsiteY44208" fmla="*/ 1857605 h 5973007"/>
              <a:gd name="connsiteX44209" fmla="*/ 4709320 w 6884782"/>
              <a:gd name="connsiteY44209" fmla="*/ 1860307 h 5973007"/>
              <a:gd name="connsiteX44210" fmla="*/ 4710387 w 6884782"/>
              <a:gd name="connsiteY44210" fmla="*/ 1844658 h 5973007"/>
              <a:gd name="connsiteX44211" fmla="*/ 4711241 w 6884782"/>
              <a:gd name="connsiteY44211" fmla="*/ 1840390 h 5973007"/>
              <a:gd name="connsiteX44212" fmla="*/ 4709747 w 6884782"/>
              <a:gd name="connsiteY44212" fmla="*/ 1840248 h 5973007"/>
              <a:gd name="connsiteX44213" fmla="*/ 4707826 w 6884782"/>
              <a:gd name="connsiteY44213" fmla="*/ 1838967 h 5973007"/>
              <a:gd name="connsiteX44214" fmla="*/ 4705265 w 6884782"/>
              <a:gd name="connsiteY44214" fmla="*/ 1839394 h 5973007"/>
              <a:gd name="connsiteX44215" fmla="*/ 4704838 w 6884782"/>
              <a:gd name="connsiteY44215" fmla="*/ 1839963 h 5973007"/>
              <a:gd name="connsiteX44216" fmla="*/ 4704625 w 6884782"/>
              <a:gd name="connsiteY44216" fmla="*/ 1844089 h 5973007"/>
              <a:gd name="connsiteX44217" fmla="*/ 4702064 w 6884782"/>
              <a:gd name="connsiteY44217" fmla="*/ 1845085 h 5973007"/>
              <a:gd name="connsiteX44218" fmla="*/ 4700997 w 6884782"/>
              <a:gd name="connsiteY44218" fmla="*/ 1841386 h 5973007"/>
              <a:gd name="connsiteX44219" fmla="*/ 4704198 w 6884782"/>
              <a:gd name="connsiteY44219" fmla="*/ 1839536 h 5973007"/>
              <a:gd name="connsiteX44220" fmla="*/ 4695021 w 6884782"/>
              <a:gd name="connsiteY44220" fmla="*/ 1841244 h 5973007"/>
              <a:gd name="connsiteX44221" fmla="*/ 4691393 w 6884782"/>
              <a:gd name="connsiteY44221" fmla="*/ 1840675 h 5973007"/>
              <a:gd name="connsiteX44222" fmla="*/ 4691606 w 6884782"/>
              <a:gd name="connsiteY44222" fmla="*/ 1842097 h 5973007"/>
              <a:gd name="connsiteX44223" fmla="*/ 4685204 w 6884782"/>
              <a:gd name="connsiteY44223" fmla="*/ 1840105 h 5973007"/>
              <a:gd name="connsiteX44224" fmla="*/ 4685417 w 6884782"/>
              <a:gd name="connsiteY44224" fmla="*/ 1839679 h 5973007"/>
              <a:gd name="connsiteX44225" fmla="*/ 4679442 w 6884782"/>
              <a:gd name="connsiteY44225" fmla="*/ 1838683 h 5973007"/>
              <a:gd name="connsiteX44226" fmla="*/ 4670691 w 6884782"/>
              <a:gd name="connsiteY44226" fmla="*/ 1833703 h 5973007"/>
              <a:gd name="connsiteX44227" fmla="*/ 4693100 w 6884782"/>
              <a:gd name="connsiteY44227" fmla="*/ 1827301 h 5973007"/>
              <a:gd name="connsiteX44228" fmla="*/ 4693741 w 6884782"/>
              <a:gd name="connsiteY44228" fmla="*/ 1804396 h 5973007"/>
              <a:gd name="connsiteX44229" fmla="*/ 4701637 w 6884782"/>
              <a:gd name="connsiteY44229" fmla="*/ 1821469 h 5973007"/>
              <a:gd name="connsiteX44230" fmla="*/ 4702491 w 6884782"/>
              <a:gd name="connsiteY44230" fmla="*/ 1824456 h 5973007"/>
              <a:gd name="connsiteX44231" fmla="*/ 4704412 w 6884782"/>
              <a:gd name="connsiteY44231" fmla="*/ 1826021 h 5973007"/>
              <a:gd name="connsiteX44232" fmla="*/ 4711241 w 6884782"/>
              <a:gd name="connsiteY44232" fmla="*/ 1830005 h 5973007"/>
              <a:gd name="connsiteX44233" fmla="*/ 4711668 w 6884782"/>
              <a:gd name="connsiteY44233" fmla="*/ 1829436 h 5973007"/>
              <a:gd name="connsiteX44234" fmla="*/ 4711668 w 6884782"/>
              <a:gd name="connsiteY44234" fmla="*/ 1829151 h 5973007"/>
              <a:gd name="connsiteX44235" fmla="*/ 4711668 w 6884782"/>
              <a:gd name="connsiteY44235" fmla="*/ 1829009 h 5973007"/>
              <a:gd name="connsiteX44236" fmla="*/ 4711881 w 6884782"/>
              <a:gd name="connsiteY44236" fmla="*/ 1828155 h 5973007"/>
              <a:gd name="connsiteX44237" fmla="*/ 4711881 w 6884782"/>
              <a:gd name="connsiteY44237" fmla="*/ 1827017 h 5973007"/>
              <a:gd name="connsiteX44238" fmla="*/ 4712095 w 6884782"/>
              <a:gd name="connsiteY44238" fmla="*/ 1826875 h 5973007"/>
              <a:gd name="connsiteX44239" fmla="*/ 4712308 w 6884782"/>
              <a:gd name="connsiteY44239" fmla="*/ 1825594 h 5973007"/>
              <a:gd name="connsiteX44240" fmla="*/ 4714655 w 6884782"/>
              <a:gd name="connsiteY44240" fmla="*/ 1822180 h 5973007"/>
              <a:gd name="connsiteX44241" fmla="*/ 4718070 w 6884782"/>
              <a:gd name="connsiteY44241" fmla="*/ 1817058 h 5973007"/>
              <a:gd name="connsiteX44242" fmla="*/ 4732369 w 6884782"/>
              <a:gd name="connsiteY44242" fmla="*/ 1802974 h 5973007"/>
              <a:gd name="connsiteX44243" fmla="*/ 5591597 w 6884782"/>
              <a:gd name="connsiteY44243" fmla="*/ 1802404 h 5973007"/>
              <a:gd name="connsiteX44244" fmla="*/ 5596933 w 6884782"/>
              <a:gd name="connsiteY44244" fmla="*/ 1814070 h 5973007"/>
              <a:gd name="connsiteX44245" fmla="*/ 5588396 w 6884782"/>
              <a:gd name="connsiteY44245" fmla="*/ 1802689 h 5973007"/>
              <a:gd name="connsiteX44246" fmla="*/ 5591597 w 6884782"/>
              <a:gd name="connsiteY44246" fmla="*/ 1802404 h 5973007"/>
              <a:gd name="connsiteX44247" fmla="*/ 5448179 w 6884782"/>
              <a:gd name="connsiteY44247" fmla="*/ 1802262 h 5973007"/>
              <a:gd name="connsiteX44248" fmla="*/ 5455222 w 6884782"/>
              <a:gd name="connsiteY44248" fmla="*/ 1834984 h 5973007"/>
              <a:gd name="connsiteX44249" fmla="*/ 5448179 w 6884782"/>
              <a:gd name="connsiteY44249" fmla="*/ 1802262 h 5973007"/>
              <a:gd name="connsiteX44250" fmla="*/ 1428937 w 6884782"/>
              <a:gd name="connsiteY44250" fmla="*/ 1802241 h 5973007"/>
              <a:gd name="connsiteX44251" fmla="*/ 1433300 w 6884782"/>
              <a:gd name="connsiteY44251" fmla="*/ 1802396 h 5973007"/>
              <a:gd name="connsiteX44252" fmla="*/ 1435262 w 6884782"/>
              <a:gd name="connsiteY44252" fmla="*/ 1826095 h 5973007"/>
              <a:gd name="connsiteX44253" fmla="*/ 1433403 w 6884782"/>
              <a:gd name="connsiteY44253" fmla="*/ 1829038 h 5973007"/>
              <a:gd name="connsiteX44254" fmla="*/ 1434952 w 6884782"/>
              <a:gd name="connsiteY44254" fmla="*/ 1830432 h 5973007"/>
              <a:gd name="connsiteX44255" fmla="*/ 1437843 w 6884782"/>
              <a:gd name="connsiteY44255" fmla="*/ 1832291 h 5973007"/>
              <a:gd name="connsiteX44256" fmla="*/ 1438359 w 6884782"/>
              <a:gd name="connsiteY44256" fmla="*/ 1834769 h 5973007"/>
              <a:gd name="connsiteX44257" fmla="*/ 1430718 w 6884782"/>
              <a:gd name="connsiteY44257" fmla="*/ 1833220 h 5973007"/>
              <a:gd name="connsiteX44258" fmla="*/ 1427105 w 6884782"/>
              <a:gd name="connsiteY44258" fmla="*/ 1827954 h 5973007"/>
              <a:gd name="connsiteX44259" fmla="*/ 1428550 w 6884782"/>
              <a:gd name="connsiteY44259" fmla="*/ 1826869 h 5973007"/>
              <a:gd name="connsiteX44260" fmla="*/ 1431132 w 6884782"/>
              <a:gd name="connsiteY44260" fmla="*/ 1826869 h 5973007"/>
              <a:gd name="connsiteX44261" fmla="*/ 1433197 w 6884782"/>
              <a:gd name="connsiteY44261" fmla="*/ 1828883 h 5973007"/>
              <a:gd name="connsiteX44262" fmla="*/ 1426898 w 6884782"/>
              <a:gd name="connsiteY44262" fmla="*/ 1818815 h 5973007"/>
              <a:gd name="connsiteX44263" fmla="*/ 1424936 w 6884782"/>
              <a:gd name="connsiteY44263" fmla="*/ 1812619 h 5973007"/>
              <a:gd name="connsiteX44264" fmla="*/ 1425039 w 6884782"/>
              <a:gd name="connsiteY44264" fmla="*/ 1804874 h 5973007"/>
              <a:gd name="connsiteX44265" fmla="*/ 1428937 w 6884782"/>
              <a:gd name="connsiteY44265" fmla="*/ 1802241 h 5973007"/>
              <a:gd name="connsiteX44266" fmla="*/ 6080755 w 6884782"/>
              <a:gd name="connsiteY44266" fmla="*/ 1802120 h 5973007"/>
              <a:gd name="connsiteX44267" fmla="*/ 6082036 w 6884782"/>
              <a:gd name="connsiteY44267" fmla="*/ 1803543 h 5973007"/>
              <a:gd name="connsiteX44268" fmla="*/ 6082890 w 6884782"/>
              <a:gd name="connsiteY44268" fmla="*/ 1806246 h 5973007"/>
              <a:gd name="connsiteX44269" fmla="*/ 6077127 w 6884782"/>
              <a:gd name="connsiteY44269" fmla="*/ 1808380 h 5973007"/>
              <a:gd name="connsiteX44270" fmla="*/ 6074566 w 6884782"/>
              <a:gd name="connsiteY44270" fmla="*/ 1805961 h 5973007"/>
              <a:gd name="connsiteX44271" fmla="*/ 6077127 w 6884782"/>
              <a:gd name="connsiteY44271" fmla="*/ 1802974 h 5973007"/>
              <a:gd name="connsiteX44272" fmla="*/ 6080755 w 6884782"/>
              <a:gd name="connsiteY44272" fmla="*/ 1802120 h 5973007"/>
              <a:gd name="connsiteX44273" fmla="*/ 5084726 w 6884782"/>
              <a:gd name="connsiteY44273" fmla="*/ 1802120 h 5973007"/>
              <a:gd name="connsiteX44274" fmla="*/ 5087927 w 6884782"/>
              <a:gd name="connsiteY44274" fmla="*/ 1803685 h 5973007"/>
              <a:gd name="connsiteX44275" fmla="*/ 5091768 w 6884782"/>
              <a:gd name="connsiteY44275" fmla="*/ 1810371 h 5973007"/>
              <a:gd name="connsiteX44276" fmla="*/ 5067865 w 6884782"/>
              <a:gd name="connsiteY44276" fmla="*/ 1855755 h 5973007"/>
              <a:gd name="connsiteX44277" fmla="*/ 5060182 w 6884782"/>
              <a:gd name="connsiteY44277" fmla="*/ 1833277 h 5973007"/>
              <a:gd name="connsiteX44278" fmla="*/ 5084726 w 6884782"/>
              <a:gd name="connsiteY44278" fmla="*/ 1802120 h 5973007"/>
              <a:gd name="connsiteX44279" fmla="*/ 1173404 w 6884782"/>
              <a:gd name="connsiteY44279" fmla="*/ 1802086 h 5973007"/>
              <a:gd name="connsiteX44280" fmla="*/ 1173404 w 6884782"/>
              <a:gd name="connsiteY44280" fmla="*/ 1804100 h 5973007"/>
              <a:gd name="connsiteX44281" fmla="*/ 1172371 w 6884782"/>
              <a:gd name="connsiteY44281" fmla="*/ 1803325 h 5973007"/>
              <a:gd name="connsiteX44282" fmla="*/ 1173404 w 6884782"/>
              <a:gd name="connsiteY44282" fmla="*/ 1802086 h 5973007"/>
              <a:gd name="connsiteX44283" fmla="*/ 1455397 w 6884782"/>
              <a:gd name="connsiteY44283" fmla="*/ 1801621 h 5973007"/>
              <a:gd name="connsiteX44284" fmla="*/ 1460043 w 6884782"/>
              <a:gd name="connsiteY44284" fmla="*/ 1807662 h 5973007"/>
              <a:gd name="connsiteX44285" fmla="*/ 1460456 w 6884782"/>
              <a:gd name="connsiteY44285" fmla="*/ 1808746 h 5973007"/>
              <a:gd name="connsiteX44286" fmla="*/ 1468510 w 6884782"/>
              <a:gd name="connsiteY44286" fmla="*/ 1811690 h 5973007"/>
              <a:gd name="connsiteX44287" fmla="*/ 1481107 w 6884782"/>
              <a:gd name="connsiteY44287" fmla="*/ 1816026 h 5973007"/>
              <a:gd name="connsiteX44288" fmla="*/ 1474189 w 6884782"/>
              <a:gd name="connsiteY44288" fmla="*/ 1825785 h 5973007"/>
              <a:gd name="connsiteX44289" fmla="*/ 1473157 w 6884782"/>
              <a:gd name="connsiteY44289" fmla="*/ 1829967 h 5973007"/>
              <a:gd name="connsiteX44290" fmla="*/ 1473983 w 6884782"/>
              <a:gd name="connsiteY44290" fmla="*/ 1830277 h 5973007"/>
              <a:gd name="connsiteX44291" fmla="*/ 1474086 w 6884782"/>
              <a:gd name="connsiteY44291" fmla="*/ 1829967 h 5973007"/>
              <a:gd name="connsiteX44292" fmla="*/ 1479042 w 6884782"/>
              <a:gd name="connsiteY44292" fmla="*/ 1833995 h 5973007"/>
              <a:gd name="connsiteX44293" fmla="*/ 1471092 w 6884782"/>
              <a:gd name="connsiteY44293" fmla="*/ 1837092 h 5973007"/>
              <a:gd name="connsiteX44294" fmla="*/ 1470678 w 6884782"/>
              <a:gd name="connsiteY44294" fmla="*/ 1836937 h 5973007"/>
              <a:gd name="connsiteX44295" fmla="*/ 1468613 w 6884782"/>
              <a:gd name="connsiteY44295" fmla="*/ 1839725 h 5973007"/>
              <a:gd name="connsiteX44296" fmla="*/ 1465206 w 6884782"/>
              <a:gd name="connsiteY44296" fmla="*/ 1841739 h 5973007"/>
              <a:gd name="connsiteX44297" fmla="*/ 1460456 w 6884782"/>
              <a:gd name="connsiteY44297" fmla="*/ 1842669 h 5973007"/>
              <a:gd name="connsiteX44298" fmla="*/ 1459837 w 6884782"/>
              <a:gd name="connsiteY44298" fmla="*/ 1844682 h 5973007"/>
              <a:gd name="connsiteX44299" fmla="*/ 1447549 w 6884782"/>
              <a:gd name="connsiteY44299" fmla="*/ 1840346 h 5973007"/>
              <a:gd name="connsiteX44300" fmla="*/ 1447859 w 6884782"/>
              <a:gd name="connsiteY44300" fmla="*/ 1839725 h 5973007"/>
              <a:gd name="connsiteX44301" fmla="*/ 1443626 w 6884782"/>
              <a:gd name="connsiteY44301" fmla="*/ 1836627 h 5973007"/>
              <a:gd name="connsiteX44302" fmla="*/ 1437224 w 6884782"/>
              <a:gd name="connsiteY44302" fmla="*/ 1823307 h 5973007"/>
              <a:gd name="connsiteX44303" fmla="*/ 1444039 w 6884782"/>
              <a:gd name="connsiteY44303" fmla="*/ 1809676 h 5973007"/>
              <a:gd name="connsiteX44304" fmla="*/ 1446310 w 6884782"/>
              <a:gd name="connsiteY44304" fmla="*/ 1808902 h 5973007"/>
              <a:gd name="connsiteX44305" fmla="*/ 1447549 w 6884782"/>
              <a:gd name="connsiteY44305" fmla="*/ 1806733 h 5973007"/>
              <a:gd name="connsiteX44306" fmla="*/ 1455397 w 6884782"/>
              <a:gd name="connsiteY44306" fmla="*/ 1801621 h 5973007"/>
              <a:gd name="connsiteX44307" fmla="*/ 6114903 w 6884782"/>
              <a:gd name="connsiteY44307" fmla="*/ 1801267 h 5973007"/>
              <a:gd name="connsiteX44308" fmla="*/ 6122373 w 6884782"/>
              <a:gd name="connsiteY44308" fmla="*/ 1802547 h 5973007"/>
              <a:gd name="connsiteX44309" fmla="*/ 6112342 w 6884782"/>
              <a:gd name="connsiteY44309" fmla="*/ 1815351 h 5973007"/>
              <a:gd name="connsiteX44310" fmla="*/ 6109140 w 6884782"/>
              <a:gd name="connsiteY44310" fmla="*/ 1804112 h 5973007"/>
              <a:gd name="connsiteX44311" fmla="*/ 6114903 w 6884782"/>
              <a:gd name="connsiteY44311" fmla="*/ 1801267 h 5973007"/>
              <a:gd name="connsiteX44312" fmla="*/ 5934990 w 6884782"/>
              <a:gd name="connsiteY44312" fmla="*/ 1799986 h 5973007"/>
              <a:gd name="connsiteX44313" fmla="*/ 5936271 w 6884782"/>
              <a:gd name="connsiteY44313" fmla="*/ 1803685 h 5973007"/>
              <a:gd name="connsiteX44314" fmla="*/ 5933923 w 6884782"/>
              <a:gd name="connsiteY44314" fmla="*/ 1805961 h 5973007"/>
              <a:gd name="connsiteX44315" fmla="*/ 5932856 w 6884782"/>
              <a:gd name="connsiteY44315" fmla="*/ 1808238 h 5973007"/>
              <a:gd name="connsiteX44316" fmla="*/ 5929441 w 6884782"/>
              <a:gd name="connsiteY44316" fmla="*/ 1808096 h 5973007"/>
              <a:gd name="connsiteX44317" fmla="*/ 5930508 w 6884782"/>
              <a:gd name="connsiteY44317" fmla="*/ 1805819 h 5973007"/>
              <a:gd name="connsiteX44318" fmla="*/ 5934990 w 6884782"/>
              <a:gd name="connsiteY44318" fmla="*/ 1799986 h 5973007"/>
              <a:gd name="connsiteX44319" fmla="*/ 958941 w 6884782"/>
              <a:gd name="connsiteY44319" fmla="*/ 1799917 h 5973007"/>
              <a:gd name="connsiteX44320" fmla="*/ 962761 w 6884782"/>
              <a:gd name="connsiteY44320" fmla="*/ 1807972 h 5973007"/>
              <a:gd name="connsiteX44321" fmla="*/ 960283 w 6884782"/>
              <a:gd name="connsiteY44321" fmla="*/ 1814478 h 5973007"/>
              <a:gd name="connsiteX44322" fmla="*/ 962864 w 6884782"/>
              <a:gd name="connsiteY44322" fmla="*/ 1817885 h 5973007"/>
              <a:gd name="connsiteX44323" fmla="*/ 957805 w 6884782"/>
              <a:gd name="connsiteY44323" fmla="*/ 1824236 h 5973007"/>
              <a:gd name="connsiteX44324" fmla="*/ 941904 w 6884782"/>
              <a:gd name="connsiteY44324" fmla="*/ 1818815 h 5973007"/>
              <a:gd name="connsiteX44325" fmla="*/ 942317 w 6884782"/>
              <a:gd name="connsiteY44325" fmla="*/ 1818195 h 5973007"/>
              <a:gd name="connsiteX44326" fmla="*/ 936844 w 6884782"/>
              <a:gd name="connsiteY44326" fmla="*/ 1816491 h 5973007"/>
              <a:gd name="connsiteX44327" fmla="*/ 936534 w 6884782"/>
              <a:gd name="connsiteY44327" fmla="*/ 1813084 h 5973007"/>
              <a:gd name="connsiteX44328" fmla="*/ 942007 w 6884782"/>
              <a:gd name="connsiteY44328" fmla="*/ 1805803 h 5973007"/>
              <a:gd name="connsiteX44329" fmla="*/ 942420 w 6884782"/>
              <a:gd name="connsiteY44329" fmla="*/ 1805339 h 5973007"/>
              <a:gd name="connsiteX44330" fmla="*/ 942936 w 6884782"/>
              <a:gd name="connsiteY44330" fmla="*/ 1804409 h 5973007"/>
              <a:gd name="connsiteX44331" fmla="*/ 942626 w 6884782"/>
              <a:gd name="connsiteY44331" fmla="*/ 1804100 h 5973007"/>
              <a:gd name="connsiteX44332" fmla="*/ 942936 w 6884782"/>
              <a:gd name="connsiteY44332" fmla="*/ 1804100 h 5973007"/>
              <a:gd name="connsiteX44333" fmla="*/ 943762 w 6884782"/>
              <a:gd name="connsiteY44333" fmla="*/ 1802241 h 5973007"/>
              <a:gd name="connsiteX44334" fmla="*/ 945208 w 6884782"/>
              <a:gd name="connsiteY44334" fmla="*/ 1802860 h 5973007"/>
              <a:gd name="connsiteX44335" fmla="*/ 947789 w 6884782"/>
              <a:gd name="connsiteY44335" fmla="*/ 1802086 h 5973007"/>
              <a:gd name="connsiteX44336" fmla="*/ 949544 w 6884782"/>
              <a:gd name="connsiteY44336" fmla="*/ 1803480 h 5973007"/>
              <a:gd name="connsiteX44337" fmla="*/ 949648 w 6884782"/>
              <a:gd name="connsiteY44337" fmla="*/ 1808437 h 5973007"/>
              <a:gd name="connsiteX44338" fmla="*/ 955636 w 6884782"/>
              <a:gd name="connsiteY44338" fmla="*/ 1811690 h 5973007"/>
              <a:gd name="connsiteX44339" fmla="*/ 958631 w 6884782"/>
              <a:gd name="connsiteY44339" fmla="*/ 1813084 h 5973007"/>
              <a:gd name="connsiteX44340" fmla="*/ 957805 w 6884782"/>
              <a:gd name="connsiteY44340" fmla="*/ 1812154 h 5973007"/>
              <a:gd name="connsiteX44341" fmla="*/ 958941 w 6884782"/>
              <a:gd name="connsiteY44341" fmla="*/ 1799917 h 5973007"/>
              <a:gd name="connsiteX44342" fmla="*/ 1561028 w 6884782"/>
              <a:gd name="connsiteY44342" fmla="*/ 1799763 h 5973007"/>
              <a:gd name="connsiteX44343" fmla="*/ 1547088 w 6884782"/>
              <a:gd name="connsiteY44343" fmla="*/ 1812154 h 5973007"/>
              <a:gd name="connsiteX44344" fmla="*/ 1561028 w 6884782"/>
              <a:gd name="connsiteY44344" fmla="*/ 1799763 h 5973007"/>
              <a:gd name="connsiteX44345" fmla="*/ 1036693 w 6884782"/>
              <a:gd name="connsiteY44345" fmla="*/ 1799608 h 5973007"/>
              <a:gd name="connsiteX44346" fmla="*/ 1035144 w 6884782"/>
              <a:gd name="connsiteY44346" fmla="*/ 1816801 h 5973007"/>
              <a:gd name="connsiteX44347" fmla="*/ 1009743 w 6884782"/>
              <a:gd name="connsiteY44347" fmla="*/ 1830122 h 5973007"/>
              <a:gd name="connsiteX44348" fmla="*/ 1008091 w 6884782"/>
              <a:gd name="connsiteY44348" fmla="*/ 1828263 h 5973007"/>
              <a:gd name="connsiteX44349" fmla="*/ 1007471 w 6884782"/>
              <a:gd name="connsiteY44349" fmla="*/ 1822687 h 5973007"/>
              <a:gd name="connsiteX44350" fmla="*/ 1036693 w 6884782"/>
              <a:gd name="connsiteY44350" fmla="*/ 1799608 h 5973007"/>
              <a:gd name="connsiteX44351" fmla="*/ 722794 w 6884782"/>
              <a:gd name="connsiteY44351" fmla="*/ 1799608 h 5973007"/>
              <a:gd name="connsiteX44352" fmla="*/ 724136 w 6884782"/>
              <a:gd name="connsiteY44352" fmla="*/ 1800227 h 5973007"/>
              <a:gd name="connsiteX44353" fmla="*/ 725891 w 6884782"/>
              <a:gd name="connsiteY44353" fmla="*/ 1802241 h 5973007"/>
              <a:gd name="connsiteX44354" fmla="*/ 727543 w 6884782"/>
              <a:gd name="connsiteY44354" fmla="*/ 1803325 h 5973007"/>
              <a:gd name="connsiteX44355" fmla="*/ 727543 w 6884782"/>
              <a:gd name="connsiteY44355" fmla="*/ 1805803 h 5973007"/>
              <a:gd name="connsiteX44356" fmla="*/ 725788 w 6884782"/>
              <a:gd name="connsiteY44356" fmla="*/ 1804874 h 5973007"/>
              <a:gd name="connsiteX44357" fmla="*/ 721452 w 6884782"/>
              <a:gd name="connsiteY44357" fmla="*/ 1800847 h 5973007"/>
              <a:gd name="connsiteX44358" fmla="*/ 722794 w 6884782"/>
              <a:gd name="connsiteY44358" fmla="*/ 1799608 h 5973007"/>
              <a:gd name="connsiteX44359" fmla="*/ 1760209 w 6884782"/>
              <a:gd name="connsiteY44359" fmla="*/ 1799143 h 5973007"/>
              <a:gd name="connsiteX44360" fmla="*/ 1762791 w 6884782"/>
              <a:gd name="connsiteY44360" fmla="*/ 1803790 h 5973007"/>
              <a:gd name="connsiteX44361" fmla="*/ 1753601 w 6884782"/>
              <a:gd name="connsiteY44361" fmla="*/ 1807972 h 5973007"/>
              <a:gd name="connsiteX44362" fmla="*/ 1753084 w 6884782"/>
              <a:gd name="connsiteY44362" fmla="*/ 1805029 h 5973007"/>
              <a:gd name="connsiteX44363" fmla="*/ 1753188 w 6884782"/>
              <a:gd name="connsiteY44363" fmla="*/ 1801776 h 5973007"/>
              <a:gd name="connsiteX44364" fmla="*/ 1755356 w 6884782"/>
              <a:gd name="connsiteY44364" fmla="*/ 1800382 h 5973007"/>
              <a:gd name="connsiteX44365" fmla="*/ 1756905 w 6884782"/>
              <a:gd name="connsiteY44365" fmla="*/ 1799453 h 5973007"/>
              <a:gd name="connsiteX44366" fmla="*/ 1760519 w 6884782"/>
              <a:gd name="connsiteY44366" fmla="*/ 1799917 h 5973007"/>
              <a:gd name="connsiteX44367" fmla="*/ 1760209 w 6884782"/>
              <a:gd name="connsiteY44367" fmla="*/ 1799143 h 5973007"/>
              <a:gd name="connsiteX44368" fmla="*/ 883770 w 6884782"/>
              <a:gd name="connsiteY44368" fmla="*/ 1798988 h 5973007"/>
              <a:gd name="connsiteX44369" fmla="*/ 890275 w 6884782"/>
              <a:gd name="connsiteY44369" fmla="*/ 1815717 h 5973007"/>
              <a:gd name="connsiteX44370" fmla="*/ 881189 w 6884782"/>
              <a:gd name="connsiteY44370" fmla="*/ 1803170 h 5973007"/>
              <a:gd name="connsiteX44371" fmla="*/ 883770 w 6884782"/>
              <a:gd name="connsiteY44371" fmla="*/ 1798988 h 5973007"/>
              <a:gd name="connsiteX44372" fmla="*/ 1220553 w 6884782"/>
              <a:gd name="connsiteY44372" fmla="*/ 1798601 h 5973007"/>
              <a:gd name="connsiteX44373" fmla="*/ 1230401 w 6884782"/>
              <a:gd name="connsiteY44373" fmla="*/ 1801931 h 5973007"/>
              <a:gd name="connsiteX44374" fmla="*/ 1230401 w 6884782"/>
              <a:gd name="connsiteY44374" fmla="*/ 1806113 h 5973007"/>
              <a:gd name="connsiteX44375" fmla="*/ 1209854 w 6884782"/>
              <a:gd name="connsiteY44375" fmla="*/ 1807817 h 5973007"/>
              <a:gd name="connsiteX44376" fmla="*/ 1220553 w 6884782"/>
              <a:gd name="connsiteY44376" fmla="*/ 1798601 h 5973007"/>
              <a:gd name="connsiteX44377" fmla="*/ 1171752 w 6884782"/>
              <a:gd name="connsiteY44377" fmla="*/ 1798059 h 5973007"/>
              <a:gd name="connsiteX44378" fmla="*/ 1171752 w 6884782"/>
              <a:gd name="connsiteY44378" fmla="*/ 1799917 h 5973007"/>
              <a:gd name="connsiteX44379" fmla="*/ 1170926 w 6884782"/>
              <a:gd name="connsiteY44379" fmla="*/ 1799608 h 5973007"/>
              <a:gd name="connsiteX44380" fmla="*/ 1171029 w 6884782"/>
              <a:gd name="connsiteY44380" fmla="*/ 1798213 h 5973007"/>
              <a:gd name="connsiteX44381" fmla="*/ 1171752 w 6884782"/>
              <a:gd name="connsiteY44381" fmla="*/ 1798059 h 5973007"/>
              <a:gd name="connsiteX44382" fmla="*/ 5970631 w 6884782"/>
              <a:gd name="connsiteY44382" fmla="*/ 1797425 h 5973007"/>
              <a:gd name="connsiteX44383" fmla="*/ 5971698 w 6884782"/>
              <a:gd name="connsiteY44383" fmla="*/ 1798421 h 5973007"/>
              <a:gd name="connsiteX44384" fmla="*/ 5969564 w 6884782"/>
              <a:gd name="connsiteY44384" fmla="*/ 1798421 h 5973007"/>
              <a:gd name="connsiteX44385" fmla="*/ 5970631 w 6884782"/>
              <a:gd name="connsiteY44385" fmla="*/ 1797425 h 5973007"/>
              <a:gd name="connsiteX44386" fmla="*/ 4691393 w 6884782"/>
              <a:gd name="connsiteY44386" fmla="*/ 1797140 h 5973007"/>
              <a:gd name="connsiteX44387" fmla="*/ 4693100 w 6884782"/>
              <a:gd name="connsiteY44387" fmla="*/ 1797567 h 5973007"/>
              <a:gd name="connsiteX44388" fmla="*/ 4693100 w 6884782"/>
              <a:gd name="connsiteY44388" fmla="*/ 1798705 h 5973007"/>
              <a:gd name="connsiteX44389" fmla="*/ 4690966 w 6884782"/>
              <a:gd name="connsiteY44389" fmla="*/ 1797567 h 5973007"/>
              <a:gd name="connsiteX44390" fmla="*/ 4691393 w 6884782"/>
              <a:gd name="connsiteY44390" fmla="*/ 1797140 h 5973007"/>
              <a:gd name="connsiteX44391" fmla="*/ 4825207 w 6884782"/>
              <a:gd name="connsiteY44391" fmla="*/ 1796856 h 5973007"/>
              <a:gd name="connsiteX44392" fmla="*/ 4830969 w 6884782"/>
              <a:gd name="connsiteY44392" fmla="*/ 1800128 h 5973007"/>
              <a:gd name="connsiteX44393" fmla="*/ 4835024 w 6884782"/>
              <a:gd name="connsiteY44393" fmla="*/ 1801551 h 5973007"/>
              <a:gd name="connsiteX44394" fmla="*/ 4836091 w 6884782"/>
              <a:gd name="connsiteY44394" fmla="*/ 1804966 h 5973007"/>
              <a:gd name="connsiteX44395" fmla="*/ 4825847 w 6884782"/>
              <a:gd name="connsiteY44395" fmla="*/ 1805961 h 5973007"/>
              <a:gd name="connsiteX44396" fmla="*/ 4820298 w 6884782"/>
              <a:gd name="connsiteY44396" fmla="*/ 1800128 h 5973007"/>
              <a:gd name="connsiteX44397" fmla="*/ 4825207 w 6884782"/>
              <a:gd name="connsiteY44397" fmla="*/ 1796856 h 5973007"/>
              <a:gd name="connsiteX44398" fmla="*/ 1228543 w 6884782"/>
              <a:gd name="connsiteY44398" fmla="*/ 1796045 h 5973007"/>
              <a:gd name="connsiteX44399" fmla="*/ 1229575 w 6884782"/>
              <a:gd name="connsiteY44399" fmla="*/ 1796355 h 5973007"/>
              <a:gd name="connsiteX44400" fmla="*/ 1229472 w 6884782"/>
              <a:gd name="connsiteY44400" fmla="*/ 1797129 h 5973007"/>
              <a:gd name="connsiteX44401" fmla="*/ 1228027 w 6884782"/>
              <a:gd name="connsiteY44401" fmla="*/ 1796200 h 5973007"/>
              <a:gd name="connsiteX44402" fmla="*/ 1228543 w 6884782"/>
              <a:gd name="connsiteY44402" fmla="*/ 1796045 h 5973007"/>
              <a:gd name="connsiteX44403" fmla="*/ 790220 w 6884782"/>
              <a:gd name="connsiteY44403" fmla="*/ 1796045 h 5973007"/>
              <a:gd name="connsiteX44404" fmla="*/ 795486 w 6884782"/>
              <a:gd name="connsiteY44404" fmla="*/ 1796510 h 5973007"/>
              <a:gd name="connsiteX44405" fmla="*/ 792802 w 6884782"/>
              <a:gd name="connsiteY44405" fmla="*/ 1802086 h 5973007"/>
              <a:gd name="connsiteX44406" fmla="*/ 791046 w 6884782"/>
              <a:gd name="connsiteY44406" fmla="*/ 1801002 h 5973007"/>
              <a:gd name="connsiteX44407" fmla="*/ 789704 w 6884782"/>
              <a:gd name="connsiteY44407" fmla="*/ 1798523 h 5973007"/>
              <a:gd name="connsiteX44408" fmla="*/ 790220 w 6884782"/>
              <a:gd name="connsiteY44408" fmla="*/ 1796045 h 5973007"/>
              <a:gd name="connsiteX44409" fmla="*/ 1044127 w 6884782"/>
              <a:gd name="connsiteY44409" fmla="*/ 1795580 h 5973007"/>
              <a:gd name="connsiteX44410" fmla="*/ 1055898 w 6884782"/>
              <a:gd name="connsiteY44410" fmla="*/ 1812619 h 5973007"/>
              <a:gd name="connsiteX44411" fmla="*/ 1047741 w 6884782"/>
              <a:gd name="connsiteY44411" fmla="*/ 1815252 h 5973007"/>
              <a:gd name="connsiteX44412" fmla="*/ 1040306 w 6884782"/>
              <a:gd name="connsiteY44412" fmla="*/ 1806733 h 5973007"/>
              <a:gd name="connsiteX44413" fmla="*/ 1044127 w 6884782"/>
              <a:gd name="connsiteY44413" fmla="*/ 1795580 h 5973007"/>
              <a:gd name="connsiteX44414" fmla="*/ 965859 w 6884782"/>
              <a:gd name="connsiteY44414" fmla="*/ 1795425 h 5973007"/>
              <a:gd name="connsiteX44415" fmla="*/ 969266 w 6884782"/>
              <a:gd name="connsiteY44415" fmla="*/ 1798059 h 5973007"/>
              <a:gd name="connsiteX44416" fmla="*/ 968544 w 6884782"/>
              <a:gd name="connsiteY44416" fmla="*/ 1797594 h 5973007"/>
              <a:gd name="connsiteX44417" fmla="*/ 967614 w 6884782"/>
              <a:gd name="connsiteY44417" fmla="*/ 1798988 h 5973007"/>
              <a:gd name="connsiteX44418" fmla="*/ 968337 w 6884782"/>
              <a:gd name="connsiteY44418" fmla="*/ 1799453 h 5973007"/>
              <a:gd name="connsiteX44419" fmla="*/ 966788 w 6884782"/>
              <a:gd name="connsiteY44419" fmla="*/ 1800382 h 5973007"/>
              <a:gd name="connsiteX44420" fmla="*/ 960076 w 6884782"/>
              <a:gd name="connsiteY44420" fmla="*/ 1798988 h 5973007"/>
              <a:gd name="connsiteX44421" fmla="*/ 962245 w 6884782"/>
              <a:gd name="connsiteY44421" fmla="*/ 1795580 h 5973007"/>
              <a:gd name="connsiteX44422" fmla="*/ 965859 w 6884782"/>
              <a:gd name="connsiteY44422" fmla="*/ 1795425 h 5973007"/>
              <a:gd name="connsiteX44423" fmla="*/ 5574951 w 6884782"/>
              <a:gd name="connsiteY44423" fmla="*/ 1795007 h 5973007"/>
              <a:gd name="connsiteX44424" fmla="*/ 5574311 w 6884782"/>
              <a:gd name="connsiteY44424" fmla="*/ 1804681 h 5973007"/>
              <a:gd name="connsiteX44425" fmla="*/ 5574951 w 6884782"/>
              <a:gd name="connsiteY44425" fmla="*/ 1795007 h 5973007"/>
              <a:gd name="connsiteX44426" fmla="*/ 6380184 w 6884782"/>
              <a:gd name="connsiteY44426" fmla="*/ 1794865 h 5973007"/>
              <a:gd name="connsiteX44427" fmla="*/ 6383812 w 6884782"/>
              <a:gd name="connsiteY44427" fmla="*/ 1803258 h 5973007"/>
              <a:gd name="connsiteX44428" fmla="*/ 6375488 w 6884782"/>
              <a:gd name="connsiteY44428" fmla="*/ 1803685 h 5973007"/>
              <a:gd name="connsiteX44429" fmla="*/ 6380184 w 6884782"/>
              <a:gd name="connsiteY44429" fmla="*/ 1794865 h 5973007"/>
              <a:gd name="connsiteX44430" fmla="*/ 4932984 w 6884782"/>
              <a:gd name="connsiteY44430" fmla="*/ 1794580 h 5973007"/>
              <a:gd name="connsiteX44431" fmla="*/ 4939600 w 6884782"/>
              <a:gd name="connsiteY44431" fmla="*/ 1794722 h 5973007"/>
              <a:gd name="connsiteX44432" fmla="*/ 4948350 w 6884782"/>
              <a:gd name="connsiteY44432" fmla="*/ 1796002 h 5973007"/>
              <a:gd name="connsiteX44433" fmla="*/ 4962223 w 6884782"/>
              <a:gd name="connsiteY44433" fmla="*/ 1801267 h 5973007"/>
              <a:gd name="connsiteX44434" fmla="*/ 4963503 w 6884782"/>
              <a:gd name="connsiteY44434" fmla="*/ 1805107 h 5973007"/>
              <a:gd name="connsiteX44435" fmla="*/ 4944296 w 6884782"/>
              <a:gd name="connsiteY44435" fmla="*/ 1817912 h 5973007"/>
              <a:gd name="connsiteX44436" fmla="*/ 4934905 w 6884782"/>
              <a:gd name="connsiteY44436" fmla="*/ 1815351 h 5973007"/>
              <a:gd name="connsiteX44437" fmla="*/ 4937039 w 6884782"/>
              <a:gd name="connsiteY44437" fmla="*/ 1819477 h 5973007"/>
              <a:gd name="connsiteX44438" fmla="*/ 4911002 w 6884782"/>
              <a:gd name="connsiteY44438" fmla="*/ 1848215 h 5973007"/>
              <a:gd name="connsiteX44439" fmla="*/ 4900757 w 6884782"/>
              <a:gd name="connsiteY44439" fmla="*/ 1844231 h 5973007"/>
              <a:gd name="connsiteX44440" fmla="*/ 4894355 w 6884782"/>
              <a:gd name="connsiteY44440" fmla="*/ 1837260 h 5973007"/>
              <a:gd name="connsiteX44441" fmla="*/ 4893074 w 6884782"/>
              <a:gd name="connsiteY44441" fmla="*/ 1838683 h 5973007"/>
              <a:gd name="connsiteX44442" fmla="*/ 4882830 w 6884782"/>
              <a:gd name="connsiteY44442" fmla="*/ 1831996 h 5973007"/>
              <a:gd name="connsiteX44443" fmla="*/ 4893501 w 6884782"/>
              <a:gd name="connsiteY44443" fmla="*/ 1821753 h 5973007"/>
              <a:gd name="connsiteX44444" fmla="*/ 4896916 w 6884782"/>
              <a:gd name="connsiteY44444" fmla="*/ 1824029 h 5973007"/>
              <a:gd name="connsiteX44445" fmla="*/ 4897983 w 6884782"/>
              <a:gd name="connsiteY44445" fmla="*/ 1827728 h 5973007"/>
              <a:gd name="connsiteX44446" fmla="*/ 4901184 w 6884782"/>
              <a:gd name="connsiteY44446" fmla="*/ 1825025 h 5973007"/>
              <a:gd name="connsiteX44447" fmla="*/ 4903319 w 6884782"/>
              <a:gd name="connsiteY44447" fmla="*/ 1822038 h 5973007"/>
              <a:gd name="connsiteX44448" fmla="*/ 4900757 w 6884782"/>
              <a:gd name="connsiteY44448" fmla="*/ 1821469 h 5973007"/>
              <a:gd name="connsiteX44449" fmla="*/ 4901825 w 6884782"/>
              <a:gd name="connsiteY44449" fmla="*/ 1820188 h 5973007"/>
              <a:gd name="connsiteX44450" fmla="*/ 4901398 w 6884782"/>
              <a:gd name="connsiteY44450" fmla="*/ 1820046 h 5973007"/>
              <a:gd name="connsiteX44451" fmla="*/ 4903959 w 6884782"/>
              <a:gd name="connsiteY44451" fmla="*/ 1818765 h 5973007"/>
              <a:gd name="connsiteX44452" fmla="*/ 4905453 w 6884782"/>
              <a:gd name="connsiteY44452" fmla="*/ 1819335 h 5973007"/>
              <a:gd name="connsiteX44453" fmla="*/ 4907800 w 6884782"/>
              <a:gd name="connsiteY44453" fmla="*/ 1816489 h 5973007"/>
              <a:gd name="connsiteX44454" fmla="*/ 4914843 w 6884782"/>
              <a:gd name="connsiteY44454" fmla="*/ 1809660 h 5973007"/>
              <a:gd name="connsiteX44455" fmla="*/ 4921246 w 6884782"/>
              <a:gd name="connsiteY44455" fmla="*/ 1806957 h 5973007"/>
              <a:gd name="connsiteX44456" fmla="*/ 4921032 w 6884782"/>
              <a:gd name="connsiteY44456" fmla="*/ 1806672 h 5973007"/>
              <a:gd name="connsiteX44457" fmla="*/ 4932984 w 6884782"/>
              <a:gd name="connsiteY44457" fmla="*/ 1794580 h 5973007"/>
              <a:gd name="connsiteX44458" fmla="*/ 1681218 w 6884782"/>
              <a:gd name="connsiteY44458" fmla="*/ 1794496 h 5973007"/>
              <a:gd name="connsiteX44459" fmla="*/ 1684419 w 6884782"/>
              <a:gd name="connsiteY44459" fmla="*/ 1798368 h 5973007"/>
              <a:gd name="connsiteX44460" fmla="*/ 1676778 w 6884782"/>
              <a:gd name="connsiteY44460" fmla="*/ 1803015 h 5973007"/>
              <a:gd name="connsiteX44461" fmla="*/ 1675539 w 6884782"/>
              <a:gd name="connsiteY44461" fmla="*/ 1800692 h 5973007"/>
              <a:gd name="connsiteX44462" fmla="*/ 1675539 w 6884782"/>
              <a:gd name="connsiteY44462" fmla="*/ 1798368 h 5973007"/>
              <a:gd name="connsiteX44463" fmla="*/ 1678120 w 6884782"/>
              <a:gd name="connsiteY44463" fmla="*/ 1794961 h 5973007"/>
              <a:gd name="connsiteX44464" fmla="*/ 1681218 w 6884782"/>
              <a:gd name="connsiteY44464" fmla="*/ 1794496 h 5973007"/>
              <a:gd name="connsiteX44465" fmla="*/ 1293284 w 6884782"/>
              <a:gd name="connsiteY44465" fmla="*/ 1794496 h 5973007"/>
              <a:gd name="connsiteX44466" fmla="*/ 1297208 w 6884782"/>
              <a:gd name="connsiteY44466" fmla="*/ 1799143 h 5973007"/>
              <a:gd name="connsiteX44467" fmla="*/ 1298964 w 6884782"/>
              <a:gd name="connsiteY44467" fmla="*/ 1806888 h 5973007"/>
              <a:gd name="connsiteX44468" fmla="*/ 1297725 w 6884782"/>
              <a:gd name="connsiteY44468" fmla="*/ 1806423 h 5973007"/>
              <a:gd name="connsiteX44469" fmla="*/ 1293284 w 6884782"/>
              <a:gd name="connsiteY44469" fmla="*/ 1794496 h 5973007"/>
              <a:gd name="connsiteX44470" fmla="*/ 1192119 w 6884782"/>
              <a:gd name="connsiteY44470" fmla="*/ 1793896 h 5973007"/>
              <a:gd name="connsiteX44471" fmla="*/ 1199941 w 6884782"/>
              <a:gd name="connsiteY44471" fmla="*/ 1795580 h 5973007"/>
              <a:gd name="connsiteX44472" fmla="*/ 1191680 w 6884782"/>
              <a:gd name="connsiteY44472" fmla="*/ 1805184 h 5973007"/>
              <a:gd name="connsiteX44473" fmla="*/ 1187860 w 6884782"/>
              <a:gd name="connsiteY44473" fmla="*/ 1800692 h 5973007"/>
              <a:gd name="connsiteX44474" fmla="*/ 1192119 w 6884782"/>
              <a:gd name="connsiteY44474" fmla="*/ 1793896 h 5973007"/>
              <a:gd name="connsiteX44475" fmla="*/ 1409344 w 6884782"/>
              <a:gd name="connsiteY44475" fmla="*/ 1793877 h 5973007"/>
              <a:gd name="connsiteX44476" fmla="*/ 1409344 w 6884782"/>
              <a:gd name="connsiteY44476" fmla="*/ 1794651 h 5973007"/>
              <a:gd name="connsiteX44477" fmla="*/ 1407486 w 6884782"/>
              <a:gd name="connsiteY44477" fmla="*/ 1794186 h 5973007"/>
              <a:gd name="connsiteX44478" fmla="*/ 1409344 w 6884782"/>
              <a:gd name="connsiteY44478" fmla="*/ 1793877 h 5973007"/>
              <a:gd name="connsiteX44479" fmla="*/ 1403872 w 6884782"/>
              <a:gd name="connsiteY44479" fmla="*/ 1793877 h 5973007"/>
              <a:gd name="connsiteX44480" fmla="*/ 1404904 w 6884782"/>
              <a:gd name="connsiteY44480" fmla="*/ 1795270 h 5973007"/>
              <a:gd name="connsiteX44481" fmla="*/ 1402942 w 6884782"/>
              <a:gd name="connsiteY44481" fmla="*/ 1794806 h 5973007"/>
              <a:gd name="connsiteX44482" fmla="*/ 1403872 w 6884782"/>
              <a:gd name="connsiteY44482" fmla="*/ 1793877 h 5973007"/>
              <a:gd name="connsiteX44483" fmla="*/ 1098233 w 6884782"/>
              <a:gd name="connsiteY44483" fmla="*/ 1793722 h 5973007"/>
              <a:gd name="connsiteX44484" fmla="*/ 1094929 w 6884782"/>
              <a:gd name="connsiteY44484" fmla="*/ 1800537 h 5973007"/>
              <a:gd name="connsiteX44485" fmla="*/ 1093070 w 6884782"/>
              <a:gd name="connsiteY44485" fmla="*/ 1796819 h 5973007"/>
              <a:gd name="connsiteX44486" fmla="*/ 1095859 w 6884782"/>
              <a:gd name="connsiteY44486" fmla="*/ 1794186 h 5973007"/>
              <a:gd name="connsiteX44487" fmla="*/ 1098233 w 6884782"/>
              <a:gd name="connsiteY44487" fmla="*/ 1793722 h 5973007"/>
              <a:gd name="connsiteX44488" fmla="*/ 757488 w 6884782"/>
              <a:gd name="connsiteY44488" fmla="*/ 1793567 h 5973007"/>
              <a:gd name="connsiteX44489" fmla="*/ 764096 w 6884782"/>
              <a:gd name="connsiteY44489" fmla="*/ 1803170 h 5973007"/>
              <a:gd name="connsiteX44490" fmla="*/ 756868 w 6884782"/>
              <a:gd name="connsiteY44490" fmla="*/ 1801312 h 5973007"/>
              <a:gd name="connsiteX44491" fmla="*/ 756146 w 6884782"/>
              <a:gd name="connsiteY44491" fmla="*/ 1797594 h 5973007"/>
              <a:gd name="connsiteX44492" fmla="*/ 757488 w 6884782"/>
              <a:gd name="connsiteY44492" fmla="*/ 1793567 h 5973007"/>
              <a:gd name="connsiteX44493" fmla="*/ 5775352 w 6884782"/>
              <a:gd name="connsiteY44493" fmla="*/ 1793441 h 5973007"/>
              <a:gd name="connsiteX44494" fmla="*/ 5782822 w 6884782"/>
              <a:gd name="connsiteY44494" fmla="*/ 1795149 h 5973007"/>
              <a:gd name="connsiteX44495" fmla="*/ 5789224 w 6884782"/>
              <a:gd name="connsiteY44495" fmla="*/ 1798990 h 5973007"/>
              <a:gd name="connsiteX44496" fmla="*/ 5790078 w 6884782"/>
              <a:gd name="connsiteY44496" fmla="*/ 1797425 h 5973007"/>
              <a:gd name="connsiteX44497" fmla="*/ 5801389 w 6884782"/>
              <a:gd name="connsiteY44497" fmla="*/ 1798990 h 5973007"/>
              <a:gd name="connsiteX44498" fmla="*/ 5801816 w 6884782"/>
              <a:gd name="connsiteY44498" fmla="*/ 1807669 h 5973007"/>
              <a:gd name="connsiteX44499" fmla="*/ 5794773 w 6884782"/>
              <a:gd name="connsiteY44499" fmla="*/ 1806957 h 5973007"/>
              <a:gd name="connsiteX44500" fmla="*/ 5789224 w 6884782"/>
              <a:gd name="connsiteY44500" fmla="*/ 1802547 h 5973007"/>
              <a:gd name="connsiteX44501" fmla="*/ 5787943 w 6884782"/>
              <a:gd name="connsiteY44501" fmla="*/ 1811936 h 5973007"/>
              <a:gd name="connsiteX44502" fmla="*/ 5781755 w 6884782"/>
              <a:gd name="connsiteY44502" fmla="*/ 1821469 h 5973007"/>
              <a:gd name="connsiteX44503" fmla="*/ 5745046 w 6884782"/>
              <a:gd name="connsiteY44503" fmla="*/ 1824599 h 5973007"/>
              <a:gd name="connsiteX44504" fmla="*/ 5743766 w 6884782"/>
              <a:gd name="connsiteY44504" fmla="*/ 1821042 h 5973007"/>
              <a:gd name="connsiteX44505" fmla="*/ 5775352 w 6884782"/>
              <a:gd name="connsiteY44505" fmla="*/ 1793441 h 5973007"/>
              <a:gd name="connsiteX44506" fmla="*/ 3923508 w 6884782"/>
              <a:gd name="connsiteY44506" fmla="*/ 1793441 h 5973007"/>
              <a:gd name="connsiteX44507" fmla="*/ 3935247 w 6884782"/>
              <a:gd name="connsiteY44507" fmla="*/ 1801124 h 5973007"/>
              <a:gd name="connsiteX44508" fmla="*/ 3920948 w 6884782"/>
              <a:gd name="connsiteY44508" fmla="*/ 1804823 h 5973007"/>
              <a:gd name="connsiteX44509" fmla="*/ 3923508 w 6884782"/>
              <a:gd name="connsiteY44509" fmla="*/ 1793441 h 5973007"/>
              <a:gd name="connsiteX44510" fmla="*/ 1413474 w 6884782"/>
              <a:gd name="connsiteY44510" fmla="*/ 1793412 h 5973007"/>
              <a:gd name="connsiteX44511" fmla="*/ 1414507 w 6884782"/>
              <a:gd name="connsiteY44511" fmla="*/ 1795735 h 5973007"/>
              <a:gd name="connsiteX44512" fmla="*/ 1409964 w 6884782"/>
              <a:gd name="connsiteY44512" fmla="*/ 1793877 h 5973007"/>
              <a:gd name="connsiteX44513" fmla="*/ 1413474 w 6884782"/>
              <a:gd name="connsiteY44513" fmla="*/ 1793412 h 5973007"/>
              <a:gd name="connsiteX44514" fmla="*/ 3717772 w 6884782"/>
              <a:gd name="connsiteY44514" fmla="*/ 1793157 h 5973007"/>
              <a:gd name="connsiteX44515" fmla="*/ 3727163 w 6884782"/>
              <a:gd name="connsiteY44515" fmla="*/ 1796998 h 5973007"/>
              <a:gd name="connsiteX44516" fmla="*/ 3692588 w 6884782"/>
              <a:gd name="connsiteY44516" fmla="*/ 1817200 h 5973007"/>
              <a:gd name="connsiteX44517" fmla="*/ 3717772 w 6884782"/>
              <a:gd name="connsiteY44517" fmla="*/ 1793157 h 5973007"/>
              <a:gd name="connsiteX44518" fmla="*/ 1494428 w 6884782"/>
              <a:gd name="connsiteY44518" fmla="*/ 1792947 h 5973007"/>
              <a:gd name="connsiteX44519" fmla="*/ 1489058 w 6884782"/>
              <a:gd name="connsiteY44519" fmla="*/ 1797284 h 5973007"/>
              <a:gd name="connsiteX44520" fmla="*/ 1494428 w 6884782"/>
              <a:gd name="connsiteY44520" fmla="*/ 1792947 h 5973007"/>
              <a:gd name="connsiteX44521" fmla="*/ 1171649 w 6884782"/>
              <a:gd name="connsiteY44521" fmla="*/ 1792792 h 5973007"/>
              <a:gd name="connsiteX44522" fmla="*/ 1171649 w 6884782"/>
              <a:gd name="connsiteY44522" fmla="*/ 1795425 h 5973007"/>
              <a:gd name="connsiteX44523" fmla="*/ 1171545 w 6884782"/>
              <a:gd name="connsiteY44523" fmla="*/ 1795735 h 5973007"/>
              <a:gd name="connsiteX44524" fmla="*/ 1171958 w 6884782"/>
              <a:gd name="connsiteY44524" fmla="*/ 1795735 h 5973007"/>
              <a:gd name="connsiteX44525" fmla="*/ 1171132 w 6884782"/>
              <a:gd name="connsiteY44525" fmla="*/ 1796974 h 5973007"/>
              <a:gd name="connsiteX44526" fmla="*/ 1170823 w 6884782"/>
              <a:gd name="connsiteY44526" fmla="*/ 1797594 h 5973007"/>
              <a:gd name="connsiteX44527" fmla="*/ 1170719 w 6884782"/>
              <a:gd name="connsiteY44527" fmla="*/ 1797439 h 5973007"/>
              <a:gd name="connsiteX44528" fmla="*/ 1168861 w 6884782"/>
              <a:gd name="connsiteY44528" fmla="*/ 1798833 h 5973007"/>
              <a:gd name="connsiteX44529" fmla="*/ 1168551 w 6884782"/>
              <a:gd name="connsiteY44529" fmla="*/ 1800537 h 5973007"/>
              <a:gd name="connsiteX44530" fmla="*/ 1162149 w 6884782"/>
              <a:gd name="connsiteY44530" fmla="*/ 1803480 h 5973007"/>
              <a:gd name="connsiteX44531" fmla="*/ 1165247 w 6884782"/>
              <a:gd name="connsiteY44531" fmla="*/ 1800227 h 5973007"/>
              <a:gd name="connsiteX44532" fmla="*/ 1167208 w 6884782"/>
              <a:gd name="connsiteY44532" fmla="*/ 1798678 h 5973007"/>
              <a:gd name="connsiteX44533" fmla="*/ 1168344 w 6884782"/>
              <a:gd name="connsiteY44533" fmla="*/ 1797129 h 5973007"/>
              <a:gd name="connsiteX44534" fmla="*/ 1169893 w 6884782"/>
              <a:gd name="connsiteY44534" fmla="*/ 1796200 h 5973007"/>
              <a:gd name="connsiteX44535" fmla="*/ 1169893 w 6884782"/>
              <a:gd name="connsiteY44535" fmla="*/ 1796045 h 5973007"/>
              <a:gd name="connsiteX44536" fmla="*/ 1169480 w 6884782"/>
              <a:gd name="connsiteY44536" fmla="*/ 1794341 h 5973007"/>
              <a:gd name="connsiteX44537" fmla="*/ 1170100 w 6884782"/>
              <a:gd name="connsiteY44537" fmla="*/ 1793412 h 5973007"/>
              <a:gd name="connsiteX44538" fmla="*/ 1171649 w 6884782"/>
              <a:gd name="connsiteY44538" fmla="*/ 1792792 h 5973007"/>
              <a:gd name="connsiteX44539" fmla="*/ 6247650 w 6884782"/>
              <a:gd name="connsiteY44539" fmla="*/ 1792303 h 5973007"/>
              <a:gd name="connsiteX44540" fmla="*/ 6251918 w 6884782"/>
              <a:gd name="connsiteY44540" fmla="*/ 1793584 h 5973007"/>
              <a:gd name="connsiteX44541" fmla="*/ 6234845 w 6884782"/>
              <a:gd name="connsiteY44541" fmla="*/ 1804396 h 5973007"/>
              <a:gd name="connsiteX44542" fmla="*/ 6233991 w 6884782"/>
              <a:gd name="connsiteY44542" fmla="*/ 1794438 h 5973007"/>
              <a:gd name="connsiteX44543" fmla="*/ 6247650 w 6884782"/>
              <a:gd name="connsiteY44543" fmla="*/ 1792303 h 5973007"/>
              <a:gd name="connsiteX44544" fmla="*/ 1283578 w 6884782"/>
              <a:gd name="connsiteY44544" fmla="*/ 1792018 h 5973007"/>
              <a:gd name="connsiteX44545" fmla="*/ 1284611 w 6884782"/>
              <a:gd name="connsiteY44545" fmla="*/ 1792327 h 5973007"/>
              <a:gd name="connsiteX44546" fmla="*/ 1284301 w 6884782"/>
              <a:gd name="connsiteY44546" fmla="*/ 1792173 h 5973007"/>
              <a:gd name="connsiteX44547" fmla="*/ 4715296 w 6884782"/>
              <a:gd name="connsiteY44547" fmla="*/ 1791592 h 5973007"/>
              <a:gd name="connsiteX44548" fmla="*/ 4717003 w 6884782"/>
              <a:gd name="connsiteY44548" fmla="*/ 1792588 h 5973007"/>
              <a:gd name="connsiteX44549" fmla="*/ 4712735 w 6884782"/>
              <a:gd name="connsiteY44549" fmla="*/ 1801835 h 5973007"/>
              <a:gd name="connsiteX44550" fmla="*/ 4704838 w 6884782"/>
              <a:gd name="connsiteY44550" fmla="*/ 1803827 h 5973007"/>
              <a:gd name="connsiteX44551" fmla="*/ 4704625 w 6884782"/>
              <a:gd name="connsiteY44551" fmla="*/ 1797994 h 5973007"/>
              <a:gd name="connsiteX44552" fmla="*/ 4710174 w 6884782"/>
              <a:gd name="connsiteY44552" fmla="*/ 1794722 h 5973007"/>
              <a:gd name="connsiteX44553" fmla="*/ 4713588 w 6884782"/>
              <a:gd name="connsiteY44553" fmla="*/ 1791876 h 5973007"/>
              <a:gd name="connsiteX44554" fmla="*/ 4715296 w 6884782"/>
              <a:gd name="connsiteY44554" fmla="*/ 1791592 h 5973007"/>
              <a:gd name="connsiteX44555" fmla="*/ 3776462 w 6884782"/>
              <a:gd name="connsiteY44555" fmla="*/ 1791308 h 5973007"/>
              <a:gd name="connsiteX44556" fmla="*/ 3781158 w 6884782"/>
              <a:gd name="connsiteY44556" fmla="*/ 1793726 h 5973007"/>
              <a:gd name="connsiteX44557" fmla="*/ 3782865 w 6884782"/>
              <a:gd name="connsiteY44557" fmla="*/ 1798136 h 5973007"/>
              <a:gd name="connsiteX44558" fmla="*/ 3779664 w 6884782"/>
              <a:gd name="connsiteY44558" fmla="*/ 1798705 h 5973007"/>
              <a:gd name="connsiteX44559" fmla="*/ 3778597 w 6884782"/>
              <a:gd name="connsiteY44559" fmla="*/ 1801551 h 5973007"/>
              <a:gd name="connsiteX44560" fmla="*/ 3777530 w 6884782"/>
              <a:gd name="connsiteY44560" fmla="*/ 1801267 h 5973007"/>
              <a:gd name="connsiteX44561" fmla="*/ 3776249 w 6884782"/>
              <a:gd name="connsiteY44561" fmla="*/ 1799132 h 5973007"/>
              <a:gd name="connsiteX44562" fmla="*/ 3776035 w 6884782"/>
              <a:gd name="connsiteY44562" fmla="*/ 1799275 h 5973007"/>
              <a:gd name="connsiteX44563" fmla="*/ 3771767 w 6884782"/>
              <a:gd name="connsiteY44563" fmla="*/ 1795433 h 5973007"/>
              <a:gd name="connsiteX44564" fmla="*/ 3776462 w 6884782"/>
              <a:gd name="connsiteY44564" fmla="*/ 1791308 h 5973007"/>
              <a:gd name="connsiteX44565" fmla="*/ 1387351 w 6884782"/>
              <a:gd name="connsiteY44565" fmla="*/ 1791089 h 5973007"/>
              <a:gd name="connsiteX44566" fmla="*/ 1392514 w 6884782"/>
              <a:gd name="connsiteY44566" fmla="*/ 1793257 h 5973007"/>
              <a:gd name="connsiteX44567" fmla="*/ 1392927 w 6884782"/>
              <a:gd name="connsiteY44567" fmla="*/ 1793877 h 5973007"/>
              <a:gd name="connsiteX44568" fmla="*/ 1393856 w 6884782"/>
              <a:gd name="connsiteY44568" fmla="*/ 1793877 h 5973007"/>
              <a:gd name="connsiteX44569" fmla="*/ 1394682 w 6884782"/>
              <a:gd name="connsiteY44569" fmla="*/ 1793722 h 5973007"/>
              <a:gd name="connsiteX44570" fmla="*/ 1395405 w 6884782"/>
              <a:gd name="connsiteY44570" fmla="*/ 1793877 h 5973007"/>
              <a:gd name="connsiteX44571" fmla="*/ 1397780 w 6884782"/>
              <a:gd name="connsiteY44571" fmla="*/ 1793877 h 5973007"/>
              <a:gd name="connsiteX44572" fmla="*/ 1402942 w 6884782"/>
              <a:gd name="connsiteY44572" fmla="*/ 1794651 h 5973007"/>
              <a:gd name="connsiteX44573" fmla="*/ 1397470 w 6884782"/>
              <a:gd name="connsiteY44573" fmla="*/ 1794961 h 5973007"/>
              <a:gd name="connsiteX44574" fmla="*/ 1400258 w 6884782"/>
              <a:gd name="connsiteY44574" fmla="*/ 1795580 h 5973007"/>
              <a:gd name="connsiteX44575" fmla="*/ 1403149 w 6884782"/>
              <a:gd name="connsiteY44575" fmla="*/ 1794961 h 5973007"/>
              <a:gd name="connsiteX44576" fmla="*/ 1404595 w 6884782"/>
              <a:gd name="connsiteY44576" fmla="*/ 1796355 h 5973007"/>
              <a:gd name="connsiteX44577" fmla="*/ 1402426 w 6884782"/>
              <a:gd name="connsiteY44577" fmla="*/ 1797904 h 5973007"/>
              <a:gd name="connsiteX44578" fmla="*/ 1399948 w 6884782"/>
              <a:gd name="connsiteY44578" fmla="*/ 1795890 h 5973007"/>
              <a:gd name="connsiteX44579" fmla="*/ 1396437 w 6884782"/>
              <a:gd name="connsiteY44579" fmla="*/ 1795890 h 5973007"/>
              <a:gd name="connsiteX44580" fmla="*/ 1395198 w 6884782"/>
              <a:gd name="connsiteY44580" fmla="*/ 1794961 h 5973007"/>
              <a:gd name="connsiteX44581" fmla="*/ 1389416 w 6884782"/>
              <a:gd name="connsiteY44581" fmla="*/ 1794186 h 5973007"/>
              <a:gd name="connsiteX44582" fmla="*/ 1393856 w 6884782"/>
              <a:gd name="connsiteY44582" fmla="*/ 1796045 h 5973007"/>
              <a:gd name="connsiteX44583" fmla="*/ 1408931 w 6884782"/>
              <a:gd name="connsiteY44583" fmla="*/ 1804874 h 5973007"/>
              <a:gd name="connsiteX44584" fmla="*/ 1414714 w 6884782"/>
              <a:gd name="connsiteY44584" fmla="*/ 1822997 h 5973007"/>
              <a:gd name="connsiteX44585" fmla="*/ 1409138 w 6884782"/>
              <a:gd name="connsiteY44585" fmla="*/ 1834614 h 5973007"/>
              <a:gd name="connsiteX44586" fmla="*/ 1408518 w 6884782"/>
              <a:gd name="connsiteY44586" fmla="*/ 1836627 h 5973007"/>
              <a:gd name="connsiteX44587" fmla="*/ 1411616 w 6884782"/>
              <a:gd name="connsiteY44587" fmla="*/ 1836782 h 5973007"/>
              <a:gd name="connsiteX44588" fmla="*/ 1414817 w 6884782"/>
              <a:gd name="connsiteY44588" fmla="*/ 1839725 h 5973007"/>
              <a:gd name="connsiteX44589" fmla="*/ 1414301 w 6884782"/>
              <a:gd name="connsiteY44589" fmla="*/ 1842359 h 5973007"/>
              <a:gd name="connsiteX44590" fmla="*/ 1408105 w 6884782"/>
              <a:gd name="connsiteY44590" fmla="*/ 1842978 h 5973007"/>
              <a:gd name="connsiteX44591" fmla="*/ 1406969 w 6884782"/>
              <a:gd name="connsiteY44591" fmla="*/ 1841120 h 5973007"/>
              <a:gd name="connsiteX44592" fmla="*/ 1404698 w 6884782"/>
              <a:gd name="connsiteY44592" fmla="*/ 1847470 h 5973007"/>
              <a:gd name="connsiteX44593" fmla="*/ 1390448 w 6884782"/>
              <a:gd name="connsiteY44593" fmla="*/ 1854750 h 5973007"/>
              <a:gd name="connsiteX44594" fmla="*/ 1389003 w 6884782"/>
              <a:gd name="connsiteY44594" fmla="*/ 1855370 h 5973007"/>
              <a:gd name="connsiteX44595" fmla="*/ 1391275 w 6884782"/>
              <a:gd name="connsiteY44595" fmla="*/ 1856609 h 5973007"/>
              <a:gd name="connsiteX44596" fmla="*/ 1392720 w 6884782"/>
              <a:gd name="connsiteY44596" fmla="*/ 1861566 h 5973007"/>
              <a:gd name="connsiteX44597" fmla="*/ 1391688 w 6884782"/>
              <a:gd name="connsiteY44597" fmla="*/ 1866832 h 5973007"/>
              <a:gd name="connsiteX44598" fmla="*/ 1386938 w 6884782"/>
              <a:gd name="connsiteY44598" fmla="*/ 1864199 h 5973007"/>
              <a:gd name="connsiteX44599" fmla="*/ 1387041 w 6884782"/>
              <a:gd name="connsiteY44599" fmla="*/ 1856609 h 5973007"/>
              <a:gd name="connsiteX44600" fmla="*/ 1388590 w 6884782"/>
              <a:gd name="connsiteY44600" fmla="*/ 1855525 h 5973007"/>
              <a:gd name="connsiteX44601" fmla="*/ 1376096 w 6884782"/>
              <a:gd name="connsiteY44601" fmla="*/ 1861876 h 5973007"/>
              <a:gd name="connsiteX44602" fmla="*/ 1344087 w 6884782"/>
              <a:gd name="connsiteY44602" fmla="*/ 1846696 h 5973007"/>
              <a:gd name="connsiteX44603" fmla="*/ 1344499 w 6884782"/>
              <a:gd name="connsiteY44603" fmla="*/ 1843753 h 5973007"/>
              <a:gd name="connsiteX44604" fmla="*/ 1344190 w 6884782"/>
              <a:gd name="connsiteY44604" fmla="*/ 1843598 h 5973007"/>
              <a:gd name="connsiteX44605" fmla="*/ 1343260 w 6884782"/>
              <a:gd name="connsiteY44605" fmla="*/ 1840810 h 5973007"/>
              <a:gd name="connsiteX44606" fmla="*/ 1344293 w 6884782"/>
              <a:gd name="connsiteY44606" fmla="*/ 1839106 h 5973007"/>
              <a:gd name="connsiteX44607" fmla="*/ 1343364 w 6884782"/>
              <a:gd name="connsiteY44607" fmla="*/ 1834304 h 5973007"/>
              <a:gd name="connsiteX44608" fmla="*/ 1343467 w 6884782"/>
              <a:gd name="connsiteY44608" fmla="*/ 1833375 h 5973007"/>
              <a:gd name="connsiteX44609" fmla="*/ 1342951 w 6884782"/>
              <a:gd name="connsiteY44609" fmla="*/ 1831826 h 5973007"/>
              <a:gd name="connsiteX44610" fmla="*/ 1339646 w 6884782"/>
              <a:gd name="connsiteY44610" fmla="*/ 1832136 h 5973007"/>
              <a:gd name="connsiteX44611" fmla="*/ 1337478 w 6884782"/>
              <a:gd name="connsiteY44611" fmla="*/ 1829813 h 5973007"/>
              <a:gd name="connsiteX44612" fmla="*/ 1337788 w 6884782"/>
              <a:gd name="connsiteY44612" fmla="*/ 1826559 h 5973007"/>
              <a:gd name="connsiteX44613" fmla="*/ 1339130 w 6884782"/>
              <a:gd name="connsiteY44613" fmla="*/ 1824391 h 5973007"/>
              <a:gd name="connsiteX44614" fmla="*/ 1342021 w 6884782"/>
              <a:gd name="connsiteY44614" fmla="*/ 1823926 h 5973007"/>
              <a:gd name="connsiteX44615" fmla="*/ 1342228 w 6884782"/>
              <a:gd name="connsiteY44615" fmla="*/ 1823926 h 5973007"/>
              <a:gd name="connsiteX44616" fmla="*/ 1346771 w 6884782"/>
              <a:gd name="connsiteY44616" fmla="*/ 1815252 h 5973007"/>
              <a:gd name="connsiteX44617" fmla="*/ 1354722 w 6884782"/>
              <a:gd name="connsiteY44617" fmla="*/ 1806113 h 5973007"/>
              <a:gd name="connsiteX44618" fmla="*/ 1352347 w 6884782"/>
              <a:gd name="connsiteY44618" fmla="*/ 1804874 h 5973007"/>
              <a:gd name="connsiteX44619" fmla="*/ 1347081 w 6884782"/>
              <a:gd name="connsiteY44619" fmla="*/ 1802396 h 5973007"/>
              <a:gd name="connsiteX44620" fmla="*/ 1347081 w 6884782"/>
              <a:gd name="connsiteY44620" fmla="*/ 1799763 h 5973007"/>
              <a:gd name="connsiteX44621" fmla="*/ 1348423 w 6884782"/>
              <a:gd name="connsiteY44621" fmla="*/ 1798368 h 5973007"/>
              <a:gd name="connsiteX44622" fmla="*/ 1359162 w 6884782"/>
              <a:gd name="connsiteY44622" fmla="*/ 1797594 h 5973007"/>
              <a:gd name="connsiteX44623" fmla="*/ 1362156 w 6884782"/>
              <a:gd name="connsiteY44623" fmla="*/ 1798833 h 5973007"/>
              <a:gd name="connsiteX44624" fmla="*/ 1367732 w 6884782"/>
              <a:gd name="connsiteY44624" fmla="*/ 1795425 h 5973007"/>
              <a:gd name="connsiteX44625" fmla="*/ 1377025 w 6884782"/>
              <a:gd name="connsiteY44625" fmla="*/ 1792637 h 5973007"/>
              <a:gd name="connsiteX44626" fmla="*/ 1386422 w 6884782"/>
              <a:gd name="connsiteY44626" fmla="*/ 1792947 h 5973007"/>
              <a:gd name="connsiteX44627" fmla="*/ 1389209 w 6884782"/>
              <a:gd name="connsiteY44627" fmla="*/ 1794186 h 5973007"/>
              <a:gd name="connsiteX44628" fmla="*/ 1391481 w 6884782"/>
              <a:gd name="connsiteY44628" fmla="*/ 1794031 h 5973007"/>
              <a:gd name="connsiteX44629" fmla="*/ 1392617 w 6884782"/>
              <a:gd name="connsiteY44629" fmla="*/ 1793877 h 5973007"/>
              <a:gd name="connsiteX44630" fmla="*/ 1390758 w 6884782"/>
              <a:gd name="connsiteY44630" fmla="*/ 1792947 h 5973007"/>
              <a:gd name="connsiteX44631" fmla="*/ 1389106 w 6884782"/>
              <a:gd name="connsiteY44631" fmla="*/ 1793412 h 5973007"/>
              <a:gd name="connsiteX44632" fmla="*/ 1387351 w 6884782"/>
              <a:gd name="connsiteY44632" fmla="*/ 1791089 h 5973007"/>
              <a:gd name="connsiteX44633" fmla="*/ 1323758 w 6884782"/>
              <a:gd name="connsiteY44633" fmla="*/ 1790701 h 5973007"/>
              <a:gd name="connsiteX44634" fmla="*/ 1330663 w 6884782"/>
              <a:gd name="connsiteY44634" fmla="*/ 1791553 h 5973007"/>
              <a:gd name="connsiteX44635" fmla="*/ 1332419 w 6884782"/>
              <a:gd name="connsiteY44635" fmla="*/ 1792482 h 5973007"/>
              <a:gd name="connsiteX44636" fmla="*/ 1332625 w 6884782"/>
              <a:gd name="connsiteY44636" fmla="*/ 1794651 h 5973007"/>
              <a:gd name="connsiteX44637" fmla="*/ 1321576 w 6884782"/>
              <a:gd name="connsiteY44637" fmla="*/ 1796665 h 5973007"/>
              <a:gd name="connsiteX44638" fmla="*/ 1319408 w 6884782"/>
              <a:gd name="connsiteY44638" fmla="*/ 1795425 h 5973007"/>
              <a:gd name="connsiteX44639" fmla="*/ 1317446 w 6884782"/>
              <a:gd name="connsiteY44639" fmla="*/ 1795115 h 5973007"/>
              <a:gd name="connsiteX44640" fmla="*/ 1313213 w 6884782"/>
              <a:gd name="connsiteY44640" fmla="*/ 1790779 h 5973007"/>
              <a:gd name="connsiteX44641" fmla="*/ 1323758 w 6884782"/>
              <a:gd name="connsiteY44641" fmla="*/ 1790701 h 5973007"/>
              <a:gd name="connsiteX44642" fmla="*/ 739212 w 6884782"/>
              <a:gd name="connsiteY44642" fmla="*/ 1790314 h 5973007"/>
              <a:gd name="connsiteX44643" fmla="*/ 741793 w 6884782"/>
              <a:gd name="connsiteY44643" fmla="*/ 1790623 h 5973007"/>
              <a:gd name="connsiteX44644" fmla="*/ 745097 w 6884782"/>
              <a:gd name="connsiteY44644" fmla="*/ 1798213 h 5973007"/>
              <a:gd name="connsiteX44645" fmla="*/ 739005 w 6884782"/>
              <a:gd name="connsiteY44645" fmla="*/ 1792173 h 5973007"/>
              <a:gd name="connsiteX44646" fmla="*/ 739212 w 6884782"/>
              <a:gd name="connsiteY44646" fmla="*/ 1790314 h 5973007"/>
              <a:gd name="connsiteX44647" fmla="*/ 5927520 w 6884782"/>
              <a:gd name="connsiteY44647" fmla="*/ 1790169 h 5973007"/>
              <a:gd name="connsiteX44648" fmla="*/ 5929868 w 6884782"/>
              <a:gd name="connsiteY44648" fmla="*/ 1790169 h 5973007"/>
              <a:gd name="connsiteX44649" fmla="*/ 5927947 w 6884782"/>
              <a:gd name="connsiteY44649" fmla="*/ 1797567 h 5973007"/>
              <a:gd name="connsiteX44650" fmla="*/ 5924532 w 6884782"/>
              <a:gd name="connsiteY44650" fmla="*/ 1798705 h 5973007"/>
              <a:gd name="connsiteX44651" fmla="*/ 5924532 w 6884782"/>
              <a:gd name="connsiteY44651" fmla="*/ 1794865 h 5973007"/>
              <a:gd name="connsiteX44652" fmla="*/ 5926666 w 6884782"/>
              <a:gd name="connsiteY44652" fmla="*/ 1793726 h 5973007"/>
              <a:gd name="connsiteX44653" fmla="*/ 5927520 w 6884782"/>
              <a:gd name="connsiteY44653" fmla="*/ 1790169 h 5973007"/>
              <a:gd name="connsiteX44654" fmla="*/ 957082 w 6884782"/>
              <a:gd name="connsiteY44654" fmla="*/ 1790159 h 5973007"/>
              <a:gd name="connsiteX44655" fmla="*/ 958528 w 6884782"/>
              <a:gd name="connsiteY44655" fmla="*/ 1796819 h 5973007"/>
              <a:gd name="connsiteX44656" fmla="*/ 953365 w 6884782"/>
              <a:gd name="connsiteY44656" fmla="*/ 1796355 h 5973007"/>
              <a:gd name="connsiteX44657" fmla="*/ 951816 w 6884782"/>
              <a:gd name="connsiteY44657" fmla="*/ 1793722 h 5973007"/>
              <a:gd name="connsiteX44658" fmla="*/ 953571 w 6884782"/>
              <a:gd name="connsiteY44658" fmla="*/ 1791243 h 5973007"/>
              <a:gd name="connsiteX44659" fmla="*/ 957082 w 6884782"/>
              <a:gd name="connsiteY44659" fmla="*/ 1790159 h 5973007"/>
              <a:gd name="connsiteX44660" fmla="*/ 710403 w 6884782"/>
              <a:gd name="connsiteY44660" fmla="*/ 1789694 h 5973007"/>
              <a:gd name="connsiteX44661" fmla="*/ 714843 w 6884782"/>
              <a:gd name="connsiteY44661" fmla="*/ 1790934 h 5973007"/>
              <a:gd name="connsiteX44662" fmla="*/ 717321 w 6884782"/>
              <a:gd name="connsiteY44662" fmla="*/ 1798678 h 5973007"/>
              <a:gd name="connsiteX44663" fmla="*/ 713811 w 6884782"/>
              <a:gd name="connsiteY44663" fmla="*/ 1798368 h 5973007"/>
              <a:gd name="connsiteX44664" fmla="*/ 709887 w 6884782"/>
              <a:gd name="connsiteY44664" fmla="*/ 1791708 h 5973007"/>
              <a:gd name="connsiteX44665" fmla="*/ 710403 w 6884782"/>
              <a:gd name="connsiteY44665" fmla="*/ 1789694 h 5973007"/>
              <a:gd name="connsiteX44666" fmla="*/ 871586 w 6884782"/>
              <a:gd name="connsiteY44666" fmla="*/ 1789385 h 5973007"/>
              <a:gd name="connsiteX44667" fmla="*/ 872619 w 6884782"/>
              <a:gd name="connsiteY44667" fmla="*/ 1790934 h 5973007"/>
              <a:gd name="connsiteX44668" fmla="*/ 870966 w 6884782"/>
              <a:gd name="connsiteY44668" fmla="*/ 1792792 h 5973007"/>
              <a:gd name="connsiteX44669" fmla="*/ 865803 w 6884782"/>
              <a:gd name="connsiteY44669" fmla="*/ 1793567 h 5973007"/>
              <a:gd name="connsiteX44670" fmla="*/ 864874 w 6884782"/>
              <a:gd name="connsiteY44670" fmla="*/ 1792018 h 5973007"/>
              <a:gd name="connsiteX44671" fmla="*/ 871586 w 6884782"/>
              <a:gd name="connsiteY44671" fmla="*/ 1789385 h 5973007"/>
              <a:gd name="connsiteX44672" fmla="*/ 1176089 w 6884782"/>
              <a:gd name="connsiteY44672" fmla="*/ 1789075 h 5973007"/>
              <a:gd name="connsiteX44673" fmla="*/ 1182491 w 6884782"/>
              <a:gd name="connsiteY44673" fmla="*/ 1794496 h 5973007"/>
              <a:gd name="connsiteX44674" fmla="*/ 1182284 w 6884782"/>
              <a:gd name="connsiteY44674" fmla="*/ 1795580 h 5973007"/>
              <a:gd name="connsiteX44675" fmla="*/ 1176501 w 6884782"/>
              <a:gd name="connsiteY44675" fmla="*/ 1803635 h 5973007"/>
              <a:gd name="connsiteX44676" fmla="*/ 1172268 w 6884782"/>
              <a:gd name="connsiteY44676" fmla="*/ 1799298 h 5973007"/>
              <a:gd name="connsiteX44677" fmla="*/ 1172268 w 6884782"/>
              <a:gd name="connsiteY44677" fmla="*/ 1796819 h 5973007"/>
              <a:gd name="connsiteX44678" fmla="*/ 1176089 w 6884782"/>
              <a:gd name="connsiteY44678" fmla="*/ 1789075 h 5973007"/>
              <a:gd name="connsiteX44679" fmla="*/ 4688832 w 6884782"/>
              <a:gd name="connsiteY44679" fmla="*/ 1788604 h 5973007"/>
              <a:gd name="connsiteX44680" fmla="*/ 4691393 w 6884782"/>
              <a:gd name="connsiteY44680" fmla="*/ 1789173 h 5973007"/>
              <a:gd name="connsiteX44681" fmla="*/ 4692033 w 6884782"/>
              <a:gd name="connsiteY44681" fmla="*/ 1792019 h 5973007"/>
              <a:gd name="connsiteX44682" fmla="*/ 4677947 w 6884782"/>
              <a:gd name="connsiteY44682" fmla="*/ 1799417 h 5973007"/>
              <a:gd name="connsiteX44683" fmla="*/ 4674959 w 6884782"/>
              <a:gd name="connsiteY44683" fmla="*/ 1798563 h 5973007"/>
              <a:gd name="connsiteX44684" fmla="*/ 4672185 w 6884782"/>
              <a:gd name="connsiteY44684" fmla="*/ 1798848 h 5973007"/>
              <a:gd name="connsiteX44685" fmla="*/ 4665996 w 6884782"/>
              <a:gd name="connsiteY44685" fmla="*/ 1794722 h 5973007"/>
              <a:gd name="connsiteX44686" fmla="*/ 4688832 w 6884782"/>
              <a:gd name="connsiteY44686" fmla="*/ 1788604 h 5973007"/>
              <a:gd name="connsiteX44687" fmla="*/ 5160703 w 6884782"/>
              <a:gd name="connsiteY44687" fmla="*/ 1788035 h 5973007"/>
              <a:gd name="connsiteX44688" fmla="*/ 5166679 w 6884782"/>
              <a:gd name="connsiteY44688" fmla="*/ 1791308 h 5973007"/>
              <a:gd name="connsiteX44689" fmla="*/ 5171161 w 6884782"/>
              <a:gd name="connsiteY44689" fmla="*/ 1792873 h 5973007"/>
              <a:gd name="connsiteX44690" fmla="*/ 5172654 w 6884782"/>
              <a:gd name="connsiteY44690" fmla="*/ 1796287 h 5973007"/>
              <a:gd name="connsiteX44691" fmla="*/ 5162624 w 6884782"/>
              <a:gd name="connsiteY44691" fmla="*/ 1796998 h 5973007"/>
              <a:gd name="connsiteX44692" fmla="*/ 5156008 w 6884782"/>
              <a:gd name="connsiteY44692" fmla="*/ 1791165 h 5973007"/>
              <a:gd name="connsiteX44693" fmla="*/ 5160703 w 6884782"/>
              <a:gd name="connsiteY44693" fmla="*/ 1788035 h 5973007"/>
              <a:gd name="connsiteX44694" fmla="*/ 1074071 w 6884782"/>
              <a:gd name="connsiteY44694" fmla="*/ 1787835 h 5973007"/>
              <a:gd name="connsiteX44695" fmla="*/ 1073245 w 6884782"/>
              <a:gd name="connsiteY44695" fmla="*/ 1798833 h 5973007"/>
              <a:gd name="connsiteX44696" fmla="*/ 1068496 w 6884782"/>
              <a:gd name="connsiteY44696" fmla="*/ 1794031 h 5973007"/>
              <a:gd name="connsiteX44697" fmla="*/ 1074071 w 6884782"/>
              <a:gd name="connsiteY44697" fmla="*/ 1787835 h 5973007"/>
              <a:gd name="connsiteX44698" fmla="*/ 4761608 w 6884782"/>
              <a:gd name="connsiteY44698" fmla="*/ 1787609 h 5973007"/>
              <a:gd name="connsiteX44699" fmla="*/ 4769931 w 6884782"/>
              <a:gd name="connsiteY44699" fmla="*/ 1791450 h 5973007"/>
              <a:gd name="connsiteX44700" fmla="*/ 4770358 w 6884782"/>
              <a:gd name="connsiteY44700" fmla="*/ 1793584 h 5973007"/>
              <a:gd name="connsiteX44701" fmla="*/ 4761608 w 6884782"/>
              <a:gd name="connsiteY44701" fmla="*/ 1787609 h 5973007"/>
              <a:gd name="connsiteX44702" fmla="*/ 5341896 w 6884782"/>
              <a:gd name="connsiteY44702" fmla="*/ 1786471 h 5973007"/>
              <a:gd name="connsiteX44703" fmla="*/ 5368787 w 6884782"/>
              <a:gd name="connsiteY44703" fmla="*/ 1793157 h 5973007"/>
              <a:gd name="connsiteX44704" fmla="*/ 5371562 w 6884782"/>
              <a:gd name="connsiteY44704" fmla="*/ 1800412 h 5973007"/>
              <a:gd name="connsiteX44705" fmla="*/ 5366653 w 6884782"/>
              <a:gd name="connsiteY44705" fmla="*/ 1801693 h 5973007"/>
              <a:gd name="connsiteX44706" fmla="*/ 5371135 w 6884782"/>
              <a:gd name="connsiteY44706" fmla="*/ 1806246 h 5973007"/>
              <a:gd name="connsiteX44707" fmla="*/ 5372415 w 6884782"/>
              <a:gd name="connsiteY44707" fmla="*/ 1810229 h 5973007"/>
              <a:gd name="connsiteX44708" fmla="*/ 5381166 w 6884782"/>
              <a:gd name="connsiteY44708" fmla="*/ 1811225 h 5973007"/>
              <a:gd name="connsiteX44709" fmla="*/ 5386074 w 6884782"/>
              <a:gd name="connsiteY44709" fmla="*/ 1815493 h 5973007"/>
              <a:gd name="connsiteX44710" fmla="*/ 5386288 w 6884782"/>
              <a:gd name="connsiteY44710" fmla="*/ 1824314 h 5973007"/>
              <a:gd name="connsiteX44711" fmla="*/ 5387781 w 6884782"/>
              <a:gd name="connsiteY44711" fmla="*/ 1830858 h 5973007"/>
              <a:gd name="connsiteX44712" fmla="*/ 5373696 w 6884782"/>
              <a:gd name="connsiteY44712" fmla="*/ 1839820 h 5973007"/>
              <a:gd name="connsiteX44713" fmla="*/ 5369214 w 6884782"/>
              <a:gd name="connsiteY44713" fmla="*/ 1831285 h 5973007"/>
              <a:gd name="connsiteX44714" fmla="*/ 5369854 w 6884782"/>
              <a:gd name="connsiteY44714" fmla="*/ 1830858 h 5973007"/>
              <a:gd name="connsiteX44715" fmla="*/ 5366867 w 6884782"/>
              <a:gd name="connsiteY44715" fmla="*/ 1829151 h 5973007"/>
              <a:gd name="connsiteX44716" fmla="*/ 5364305 w 6884782"/>
              <a:gd name="connsiteY44716" fmla="*/ 1829436 h 5973007"/>
              <a:gd name="connsiteX44717" fmla="*/ 5363025 w 6884782"/>
              <a:gd name="connsiteY44717" fmla="*/ 1828866 h 5973007"/>
              <a:gd name="connsiteX44718" fmla="*/ 5358756 w 6884782"/>
              <a:gd name="connsiteY44718" fmla="*/ 1836691 h 5973007"/>
              <a:gd name="connsiteX44719" fmla="*/ 5352781 w 6884782"/>
              <a:gd name="connsiteY44719" fmla="*/ 1843235 h 5973007"/>
              <a:gd name="connsiteX44720" fmla="*/ 5352781 w 6884782"/>
              <a:gd name="connsiteY44720" fmla="*/ 1839394 h 5973007"/>
              <a:gd name="connsiteX44721" fmla="*/ 5353421 w 6884782"/>
              <a:gd name="connsiteY44721" fmla="*/ 1837830 h 5973007"/>
              <a:gd name="connsiteX44722" fmla="*/ 5353208 w 6884782"/>
              <a:gd name="connsiteY44722" fmla="*/ 1836549 h 5973007"/>
              <a:gd name="connsiteX44723" fmla="*/ 5354275 w 6884782"/>
              <a:gd name="connsiteY44723" fmla="*/ 1836122 h 5973007"/>
              <a:gd name="connsiteX44724" fmla="*/ 5355768 w 6884782"/>
              <a:gd name="connsiteY44724" fmla="*/ 1832992 h 5973007"/>
              <a:gd name="connsiteX44725" fmla="*/ 5357049 w 6884782"/>
              <a:gd name="connsiteY44725" fmla="*/ 1825025 h 5973007"/>
              <a:gd name="connsiteX44726" fmla="*/ 5357263 w 6884782"/>
              <a:gd name="connsiteY44726" fmla="*/ 1824456 h 5973007"/>
              <a:gd name="connsiteX44727" fmla="*/ 5355128 w 6884782"/>
              <a:gd name="connsiteY44727" fmla="*/ 1820899 h 5973007"/>
              <a:gd name="connsiteX44728" fmla="*/ 5359824 w 6884782"/>
              <a:gd name="connsiteY44728" fmla="*/ 1803401 h 5973007"/>
              <a:gd name="connsiteX44729" fmla="*/ 5362598 w 6884782"/>
              <a:gd name="connsiteY44729" fmla="*/ 1802120 h 5973007"/>
              <a:gd name="connsiteX44730" fmla="*/ 5354061 w 6884782"/>
              <a:gd name="connsiteY44730" fmla="*/ 1800412 h 5973007"/>
              <a:gd name="connsiteX44731" fmla="*/ 5341896 w 6884782"/>
              <a:gd name="connsiteY44731" fmla="*/ 1786471 h 5973007"/>
              <a:gd name="connsiteX44732" fmla="*/ 1543784 w 6884782"/>
              <a:gd name="connsiteY44732" fmla="*/ 1785822 h 5973007"/>
              <a:gd name="connsiteX44733" fmla="*/ 1545539 w 6884782"/>
              <a:gd name="connsiteY44733" fmla="*/ 1787371 h 5973007"/>
              <a:gd name="connsiteX44734" fmla="*/ 1540996 w 6884782"/>
              <a:gd name="connsiteY44734" fmla="*/ 1795270 h 5973007"/>
              <a:gd name="connsiteX44735" fmla="*/ 1538828 w 6884782"/>
              <a:gd name="connsiteY44735" fmla="*/ 1789849 h 5973007"/>
              <a:gd name="connsiteX44736" fmla="*/ 1543784 w 6884782"/>
              <a:gd name="connsiteY44736" fmla="*/ 1785822 h 5973007"/>
              <a:gd name="connsiteX44737" fmla="*/ 1776317 w 6884782"/>
              <a:gd name="connsiteY44737" fmla="*/ 1785202 h 5973007"/>
              <a:gd name="connsiteX44738" fmla="*/ 1770844 w 6884782"/>
              <a:gd name="connsiteY44738" fmla="*/ 1803635 h 5973007"/>
              <a:gd name="connsiteX44739" fmla="*/ 1764442 w 6884782"/>
              <a:gd name="connsiteY44739" fmla="*/ 1804100 h 5973007"/>
              <a:gd name="connsiteX44740" fmla="*/ 1762377 w 6884782"/>
              <a:gd name="connsiteY44740" fmla="*/ 1797594 h 5973007"/>
              <a:gd name="connsiteX44741" fmla="*/ 1776317 w 6884782"/>
              <a:gd name="connsiteY44741" fmla="*/ 1785202 h 5973007"/>
              <a:gd name="connsiteX44742" fmla="*/ 5183112 w 6884782"/>
              <a:gd name="connsiteY44742" fmla="*/ 1784479 h 5973007"/>
              <a:gd name="connsiteX44743" fmla="*/ 5190581 w 6884782"/>
              <a:gd name="connsiteY44743" fmla="*/ 1787466 h 5973007"/>
              <a:gd name="connsiteX44744" fmla="*/ 5175856 w 6884782"/>
              <a:gd name="connsiteY44744" fmla="*/ 1799417 h 5973007"/>
              <a:gd name="connsiteX44745" fmla="*/ 5174362 w 6884782"/>
              <a:gd name="connsiteY44745" fmla="*/ 1788462 h 5973007"/>
              <a:gd name="connsiteX44746" fmla="*/ 5183112 w 6884782"/>
              <a:gd name="connsiteY44746" fmla="*/ 1784479 h 5973007"/>
              <a:gd name="connsiteX44747" fmla="*/ 1213984 w 6884782"/>
              <a:gd name="connsiteY44747" fmla="*/ 1784428 h 5973007"/>
              <a:gd name="connsiteX44748" fmla="*/ 1222760 w 6884782"/>
              <a:gd name="connsiteY44748" fmla="*/ 1785512 h 5973007"/>
              <a:gd name="connsiteX44749" fmla="*/ 1212331 w 6884782"/>
              <a:gd name="connsiteY44749" fmla="*/ 1792327 h 5973007"/>
              <a:gd name="connsiteX44750" fmla="*/ 1211919 w 6884782"/>
              <a:gd name="connsiteY44750" fmla="*/ 1787680 h 5973007"/>
              <a:gd name="connsiteX44751" fmla="*/ 1213984 w 6884782"/>
              <a:gd name="connsiteY44751" fmla="*/ 1784428 h 5973007"/>
              <a:gd name="connsiteX44752" fmla="*/ 5945447 w 6884782"/>
              <a:gd name="connsiteY44752" fmla="*/ 1784336 h 5973007"/>
              <a:gd name="connsiteX44753" fmla="*/ 5948222 w 6884782"/>
              <a:gd name="connsiteY44753" fmla="*/ 1785190 h 5973007"/>
              <a:gd name="connsiteX44754" fmla="*/ 5947368 w 6884782"/>
              <a:gd name="connsiteY44754" fmla="*/ 1791165 h 5973007"/>
              <a:gd name="connsiteX44755" fmla="*/ 5937124 w 6884782"/>
              <a:gd name="connsiteY44755" fmla="*/ 1794295 h 5973007"/>
              <a:gd name="connsiteX44756" fmla="*/ 5936911 w 6884782"/>
              <a:gd name="connsiteY44756" fmla="*/ 1789458 h 5973007"/>
              <a:gd name="connsiteX44757" fmla="*/ 5945447 w 6884782"/>
              <a:gd name="connsiteY44757" fmla="*/ 1784336 h 5973007"/>
              <a:gd name="connsiteX44758" fmla="*/ 5664587 w 6884782"/>
              <a:gd name="connsiteY44758" fmla="*/ 1784052 h 5973007"/>
              <a:gd name="connsiteX44759" fmla="*/ 5669496 w 6884782"/>
              <a:gd name="connsiteY44759" fmla="*/ 1786755 h 5973007"/>
              <a:gd name="connsiteX44760" fmla="*/ 5672910 w 6884782"/>
              <a:gd name="connsiteY44760" fmla="*/ 1787039 h 5973007"/>
              <a:gd name="connsiteX44761" fmla="*/ 5681020 w 6884782"/>
              <a:gd name="connsiteY44761" fmla="*/ 1787324 h 5973007"/>
              <a:gd name="connsiteX44762" fmla="*/ 5682301 w 6884782"/>
              <a:gd name="connsiteY44762" fmla="*/ 1793299 h 5973007"/>
              <a:gd name="connsiteX44763" fmla="*/ 5662239 w 6884782"/>
              <a:gd name="connsiteY44763" fmla="*/ 1799559 h 5973007"/>
              <a:gd name="connsiteX44764" fmla="*/ 5660746 w 6884782"/>
              <a:gd name="connsiteY44764" fmla="*/ 1793015 h 5973007"/>
              <a:gd name="connsiteX44765" fmla="*/ 5663093 w 6884782"/>
              <a:gd name="connsiteY44765" fmla="*/ 1790027 h 5973007"/>
              <a:gd name="connsiteX44766" fmla="*/ 5661386 w 6884782"/>
              <a:gd name="connsiteY44766" fmla="*/ 1787324 h 5973007"/>
              <a:gd name="connsiteX44767" fmla="*/ 5664587 w 6884782"/>
              <a:gd name="connsiteY44767" fmla="*/ 1784052 h 5973007"/>
              <a:gd name="connsiteX44768" fmla="*/ 4618617 w 6884782"/>
              <a:gd name="connsiteY44768" fmla="*/ 1784052 h 5973007"/>
              <a:gd name="connsiteX44769" fmla="*/ 4624166 w 6884782"/>
              <a:gd name="connsiteY44769" fmla="*/ 1785190 h 5973007"/>
              <a:gd name="connsiteX44770" fmla="*/ 4627154 w 6884782"/>
              <a:gd name="connsiteY44770" fmla="*/ 1786186 h 5973007"/>
              <a:gd name="connsiteX44771" fmla="*/ 4629715 w 6884782"/>
              <a:gd name="connsiteY44771" fmla="*/ 1786186 h 5973007"/>
              <a:gd name="connsiteX44772" fmla="*/ 4633343 w 6884782"/>
              <a:gd name="connsiteY44772" fmla="*/ 1789316 h 5973007"/>
              <a:gd name="connsiteX44773" fmla="*/ 4630995 w 6884782"/>
              <a:gd name="connsiteY44773" fmla="*/ 1789316 h 5973007"/>
              <a:gd name="connsiteX44774" fmla="*/ 4628007 w 6884782"/>
              <a:gd name="connsiteY44774" fmla="*/ 1788320 h 5973007"/>
              <a:gd name="connsiteX44775" fmla="*/ 4625873 w 6884782"/>
              <a:gd name="connsiteY44775" fmla="*/ 1789316 h 5973007"/>
              <a:gd name="connsiteX44776" fmla="*/ 4618617 w 6884782"/>
              <a:gd name="connsiteY44776" fmla="*/ 1784052 h 5973007"/>
              <a:gd name="connsiteX44777" fmla="*/ 1802854 w 6884782"/>
              <a:gd name="connsiteY44777" fmla="*/ 1783963 h 5973007"/>
              <a:gd name="connsiteX44778" fmla="*/ 1800582 w 6884782"/>
              <a:gd name="connsiteY44778" fmla="*/ 1801467 h 5973007"/>
              <a:gd name="connsiteX44779" fmla="*/ 1785817 w 6884782"/>
              <a:gd name="connsiteY44779" fmla="*/ 1809831 h 5973007"/>
              <a:gd name="connsiteX44780" fmla="*/ 1802854 w 6884782"/>
              <a:gd name="connsiteY44780" fmla="*/ 1783963 h 5973007"/>
              <a:gd name="connsiteX44781" fmla="*/ 1365796 w 6884782"/>
              <a:gd name="connsiteY44781" fmla="*/ 1783905 h 5973007"/>
              <a:gd name="connsiteX44782" fmla="*/ 1364428 w 6884782"/>
              <a:gd name="connsiteY44782" fmla="*/ 1794341 h 5973007"/>
              <a:gd name="connsiteX44783" fmla="*/ 1357406 w 6884782"/>
              <a:gd name="connsiteY44783" fmla="*/ 1788455 h 5973007"/>
              <a:gd name="connsiteX44784" fmla="*/ 1365796 w 6884782"/>
              <a:gd name="connsiteY44784" fmla="*/ 1783905 h 5973007"/>
              <a:gd name="connsiteX44785" fmla="*/ 5256529 w 6884782"/>
              <a:gd name="connsiteY44785" fmla="*/ 1783625 h 5973007"/>
              <a:gd name="connsiteX44786" fmla="*/ 5267840 w 6884782"/>
              <a:gd name="connsiteY44786" fmla="*/ 1793015 h 5973007"/>
              <a:gd name="connsiteX44787" fmla="*/ 5268053 w 6884782"/>
              <a:gd name="connsiteY44787" fmla="*/ 1797994 h 5973007"/>
              <a:gd name="connsiteX44788" fmla="*/ 5259943 w 6884782"/>
              <a:gd name="connsiteY44788" fmla="*/ 1804681 h 5973007"/>
              <a:gd name="connsiteX44789" fmla="*/ 5249272 w 6884782"/>
              <a:gd name="connsiteY44789" fmla="*/ 1796287 h 5973007"/>
              <a:gd name="connsiteX44790" fmla="*/ 5250126 w 6884782"/>
              <a:gd name="connsiteY44790" fmla="*/ 1790738 h 5973007"/>
              <a:gd name="connsiteX44791" fmla="*/ 5256529 w 6884782"/>
              <a:gd name="connsiteY44791" fmla="*/ 1783625 h 5973007"/>
              <a:gd name="connsiteX44792" fmla="*/ 1501862 w 6884782"/>
              <a:gd name="connsiteY44792" fmla="*/ 1783499 h 5973007"/>
              <a:gd name="connsiteX44793" fmla="*/ 1508058 w 6884782"/>
              <a:gd name="connsiteY44793" fmla="*/ 1787371 h 5973007"/>
              <a:gd name="connsiteX44794" fmla="*/ 1508264 w 6884782"/>
              <a:gd name="connsiteY44794" fmla="*/ 1788920 h 5973007"/>
              <a:gd name="connsiteX44795" fmla="*/ 1501862 w 6884782"/>
              <a:gd name="connsiteY44795" fmla="*/ 1783499 h 5973007"/>
              <a:gd name="connsiteX44796" fmla="*/ 5822091 w 6884782"/>
              <a:gd name="connsiteY44796" fmla="*/ 1783340 h 5973007"/>
              <a:gd name="connsiteX44797" fmla="*/ 5837244 w 6884782"/>
              <a:gd name="connsiteY44797" fmla="*/ 1788604 h 5973007"/>
              <a:gd name="connsiteX44798" fmla="*/ 5813981 w 6884782"/>
              <a:gd name="connsiteY44798" fmla="*/ 1804823 h 5973007"/>
              <a:gd name="connsiteX44799" fmla="*/ 5810139 w 6884782"/>
              <a:gd name="connsiteY44799" fmla="*/ 1793584 h 5973007"/>
              <a:gd name="connsiteX44800" fmla="*/ 5822091 w 6884782"/>
              <a:gd name="connsiteY44800" fmla="*/ 1783340 h 5973007"/>
              <a:gd name="connsiteX44801" fmla="*/ 829354 w 6884782"/>
              <a:gd name="connsiteY44801" fmla="*/ 1782879 h 5973007"/>
              <a:gd name="connsiteX44802" fmla="*/ 832142 w 6884782"/>
              <a:gd name="connsiteY44802" fmla="*/ 1784428 h 5973007"/>
              <a:gd name="connsiteX44803" fmla="*/ 835653 w 6884782"/>
              <a:gd name="connsiteY44803" fmla="*/ 1788146 h 5973007"/>
              <a:gd name="connsiteX44804" fmla="*/ 838337 w 6884782"/>
              <a:gd name="connsiteY44804" fmla="*/ 1789230 h 5973007"/>
              <a:gd name="connsiteX44805" fmla="*/ 838337 w 6884782"/>
              <a:gd name="connsiteY44805" fmla="*/ 1790004 h 5973007"/>
              <a:gd name="connsiteX44806" fmla="*/ 827702 w 6884782"/>
              <a:gd name="connsiteY44806" fmla="*/ 1787371 h 5973007"/>
              <a:gd name="connsiteX44807" fmla="*/ 826773 w 6884782"/>
              <a:gd name="connsiteY44807" fmla="*/ 1785822 h 5973007"/>
              <a:gd name="connsiteX44808" fmla="*/ 827805 w 6884782"/>
              <a:gd name="connsiteY44808" fmla="*/ 1783963 h 5973007"/>
              <a:gd name="connsiteX44809" fmla="*/ 829354 w 6884782"/>
              <a:gd name="connsiteY44809" fmla="*/ 1782879 h 5973007"/>
              <a:gd name="connsiteX44810" fmla="*/ 1117697 w 6884782"/>
              <a:gd name="connsiteY44810" fmla="*/ 1782801 h 5973007"/>
              <a:gd name="connsiteX44811" fmla="*/ 1120743 w 6884782"/>
              <a:gd name="connsiteY44811" fmla="*/ 1783344 h 5973007"/>
              <a:gd name="connsiteX44812" fmla="*/ 1118678 w 6884782"/>
              <a:gd name="connsiteY44812" fmla="*/ 1789385 h 5973007"/>
              <a:gd name="connsiteX44813" fmla="*/ 1114341 w 6884782"/>
              <a:gd name="connsiteY44813" fmla="*/ 1783653 h 5973007"/>
              <a:gd name="connsiteX44814" fmla="*/ 1117697 w 6884782"/>
              <a:gd name="connsiteY44814" fmla="*/ 1782801 h 5973007"/>
              <a:gd name="connsiteX44815" fmla="*/ 1407176 w 6884782"/>
              <a:gd name="connsiteY44815" fmla="*/ 1782414 h 5973007"/>
              <a:gd name="connsiteX44816" fmla="*/ 1416675 w 6884782"/>
              <a:gd name="connsiteY44816" fmla="*/ 1791398 h 5973007"/>
              <a:gd name="connsiteX44817" fmla="*/ 1404491 w 6884782"/>
              <a:gd name="connsiteY44817" fmla="*/ 1787835 h 5973007"/>
              <a:gd name="connsiteX44818" fmla="*/ 1407176 w 6884782"/>
              <a:gd name="connsiteY44818" fmla="*/ 1782414 h 5973007"/>
              <a:gd name="connsiteX44819" fmla="*/ 6111275 w 6884782"/>
              <a:gd name="connsiteY44819" fmla="*/ 1782345 h 5973007"/>
              <a:gd name="connsiteX44820" fmla="*/ 6118104 w 6884782"/>
              <a:gd name="connsiteY44820" fmla="*/ 1797425 h 5973007"/>
              <a:gd name="connsiteX44821" fmla="*/ 6113409 w 6884782"/>
              <a:gd name="connsiteY44821" fmla="*/ 1799844 h 5973007"/>
              <a:gd name="connsiteX44822" fmla="*/ 6111275 w 6884782"/>
              <a:gd name="connsiteY44822" fmla="*/ 1782345 h 5973007"/>
              <a:gd name="connsiteX44823" fmla="*/ 1738319 w 6884782"/>
              <a:gd name="connsiteY44823" fmla="*/ 1782104 h 5973007"/>
              <a:gd name="connsiteX44824" fmla="*/ 1745443 w 6884782"/>
              <a:gd name="connsiteY44824" fmla="*/ 1782569 h 5973007"/>
              <a:gd name="connsiteX44825" fmla="*/ 1752258 w 6884782"/>
              <a:gd name="connsiteY44825" fmla="*/ 1790314 h 5973007"/>
              <a:gd name="connsiteX44826" fmla="*/ 1752155 w 6884782"/>
              <a:gd name="connsiteY44826" fmla="*/ 1796045 h 5973007"/>
              <a:gd name="connsiteX44827" fmla="*/ 1738009 w 6884782"/>
              <a:gd name="connsiteY44827" fmla="*/ 1801467 h 5973007"/>
              <a:gd name="connsiteX44828" fmla="*/ 1735737 w 6884782"/>
              <a:gd name="connsiteY44828" fmla="*/ 1800227 h 5973007"/>
              <a:gd name="connsiteX44829" fmla="*/ 1731917 w 6884782"/>
              <a:gd name="connsiteY44829" fmla="*/ 1799453 h 5973007"/>
              <a:gd name="connsiteX44830" fmla="*/ 1731607 w 6884782"/>
              <a:gd name="connsiteY44830" fmla="*/ 1792173 h 5973007"/>
              <a:gd name="connsiteX44831" fmla="*/ 1732433 w 6884782"/>
              <a:gd name="connsiteY44831" fmla="*/ 1788610 h 5973007"/>
              <a:gd name="connsiteX44832" fmla="*/ 1738319 w 6884782"/>
              <a:gd name="connsiteY44832" fmla="*/ 1782104 h 5973007"/>
              <a:gd name="connsiteX44833" fmla="*/ 5721570 w 6884782"/>
              <a:gd name="connsiteY44833" fmla="*/ 1782060 h 5973007"/>
              <a:gd name="connsiteX44834" fmla="*/ 5727759 w 6884782"/>
              <a:gd name="connsiteY44834" fmla="*/ 1789316 h 5973007"/>
              <a:gd name="connsiteX44835" fmla="*/ 5706417 w 6884782"/>
              <a:gd name="connsiteY44835" fmla="*/ 1797283 h 5973007"/>
              <a:gd name="connsiteX44836" fmla="*/ 5721570 w 6884782"/>
              <a:gd name="connsiteY44836" fmla="*/ 1782060 h 5973007"/>
              <a:gd name="connsiteX44837" fmla="*/ 4860208 w 6884782"/>
              <a:gd name="connsiteY44837" fmla="*/ 1781917 h 5973007"/>
              <a:gd name="connsiteX44838" fmla="*/ 4853805 w 6884782"/>
              <a:gd name="connsiteY44838" fmla="*/ 1787324 h 5973007"/>
              <a:gd name="connsiteX44839" fmla="*/ 4843134 w 6884782"/>
              <a:gd name="connsiteY44839" fmla="*/ 1789743 h 5973007"/>
              <a:gd name="connsiteX44840" fmla="*/ 4843774 w 6884782"/>
              <a:gd name="connsiteY44840" fmla="*/ 1788035 h 5973007"/>
              <a:gd name="connsiteX44841" fmla="*/ 4860208 w 6884782"/>
              <a:gd name="connsiteY44841" fmla="*/ 1781917 h 5973007"/>
              <a:gd name="connsiteX44842" fmla="*/ 5627025 w 6884782"/>
              <a:gd name="connsiteY44842" fmla="*/ 1781633 h 5973007"/>
              <a:gd name="connsiteX44843" fmla="*/ 5628733 w 6884782"/>
              <a:gd name="connsiteY44843" fmla="*/ 1783056 h 5973007"/>
              <a:gd name="connsiteX44844" fmla="*/ 5628733 w 6884782"/>
              <a:gd name="connsiteY44844" fmla="*/ 1786471 h 5973007"/>
              <a:gd name="connsiteX44845" fmla="*/ 5624037 w 6884782"/>
              <a:gd name="connsiteY44845" fmla="*/ 1785190 h 5973007"/>
              <a:gd name="connsiteX44846" fmla="*/ 5627025 w 6884782"/>
              <a:gd name="connsiteY44846" fmla="*/ 1781633 h 5973007"/>
              <a:gd name="connsiteX44847" fmla="*/ 985064 w 6884782"/>
              <a:gd name="connsiteY44847" fmla="*/ 1781485 h 5973007"/>
              <a:gd name="connsiteX44848" fmla="*/ 987749 w 6884782"/>
              <a:gd name="connsiteY44848" fmla="*/ 1781640 h 5973007"/>
              <a:gd name="connsiteX44849" fmla="*/ 990021 w 6884782"/>
              <a:gd name="connsiteY44849" fmla="*/ 1783653 h 5973007"/>
              <a:gd name="connsiteX44850" fmla="*/ 990640 w 6884782"/>
              <a:gd name="connsiteY44850" fmla="*/ 1785977 h 5973007"/>
              <a:gd name="connsiteX44851" fmla="*/ 987956 w 6884782"/>
              <a:gd name="connsiteY44851" fmla="*/ 1790159 h 5973007"/>
              <a:gd name="connsiteX44852" fmla="*/ 981244 w 6884782"/>
              <a:gd name="connsiteY44852" fmla="*/ 1785822 h 5973007"/>
              <a:gd name="connsiteX44853" fmla="*/ 985064 w 6884782"/>
              <a:gd name="connsiteY44853" fmla="*/ 1781485 h 5973007"/>
              <a:gd name="connsiteX44854" fmla="*/ 5608458 w 6884782"/>
              <a:gd name="connsiteY44854" fmla="*/ 1781207 h 5973007"/>
              <a:gd name="connsiteX44855" fmla="*/ 5613366 w 6884782"/>
              <a:gd name="connsiteY44855" fmla="*/ 1783198 h 5973007"/>
              <a:gd name="connsiteX44856" fmla="*/ 5619129 w 6884782"/>
              <a:gd name="connsiteY44856" fmla="*/ 1791308 h 5973007"/>
              <a:gd name="connsiteX44857" fmla="*/ 5608671 w 6884782"/>
              <a:gd name="connsiteY44857" fmla="*/ 1791876 h 5973007"/>
              <a:gd name="connsiteX44858" fmla="*/ 5607177 w 6884782"/>
              <a:gd name="connsiteY44858" fmla="*/ 1789600 h 5973007"/>
              <a:gd name="connsiteX44859" fmla="*/ 5605043 w 6884782"/>
              <a:gd name="connsiteY44859" fmla="*/ 1783625 h 5973007"/>
              <a:gd name="connsiteX44860" fmla="*/ 5608458 w 6884782"/>
              <a:gd name="connsiteY44860" fmla="*/ 1781207 h 5973007"/>
              <a:gd name="connsiteX44861" fmla="*/ 6006912 w 6884782"/>
              <a:gd name="connsiteY44861" fmla="*/ 1781064 h 5973007"/>
              <a:gd name="connsiteX44862" fmla="*/ 6036151 w 6884782"/>
              <a:gd name="connsiteY44862" fmla="*/ 1837545 h 5973007"/>
              <a:gd name="connsiteX44863" fmla="*/ 6023559 w 6884782"/>
              <a:gd name="connsiteY44863" fmla="*/ 1839963 h 5973007"/>
              <a:gd name="connsiteX44864" fmla="*/ 6006912 w 6884782"/>
              <a:gd name="connsiteY44864" fmla="*/ 1781064 h 5973007"/>
              <a:gd name="connsiteX44865" fmla="*/ 1834450 w 6884782"/>
              <a:gd name="connsiteY44865" fmla="*/ 1780556 h 5973007"/>
              <a:gd name="connsiteX44866" fmla="*/ 1838994 w 6884782"/>
              <a:gd name="connsiteY44866" fmla="*/ 1787371 h 5973007"/>
              <a:gd name="connsiteX44867" fmla="*/ 1827945 w 6884782"/>
              <a:gd name="connsiteY44867" fmla="*/ 1783344 h 5973007"/>
              <a:gd name="connsiteX44868" fmla="*/ 1830630 w 6884782"/>
              <a:gd name="connsiteY44868" fmla="*/ 1781640 h 5973007"/>
              <a:gd name="connsiteX44869" fmla="*/ 1834450 w 6884782"/>
              <a:gd name="connsiteY44869" fmla="*/ 1780556 h 5973007"/>
              <a:gd name="connsiteX44870" fmla="*/ 5086859 w 6884782"/>
              <a:gd name="connsiteY44870" fmla="*/ 1780495 h 5973007"/>
              <a:gd name="connsiteX44871" fmla="*/ 5102653 w 6884782"/>
              <a:gd name="connsiteY44871" fmla="*/ 1793584 h 5973007"/>
              <a:gd name="connsiteX44872" fmla="*/ 5095610 w 6884782"/>
              <a:gd name="connsiteY44872" fmla="*/ 1802262 h 5973007"/>
              <a:gd name="connsiteX44873" fmla="*/ 5079603 w 6884782"/>
              <a:gd name="connsiteY44873" fmla="*/ 1789173 h 5973007"/>
              <a:gd name="connsiteX44874" fmla="*/ 5080244 w 6884782"/>
              <a:gd name="connsiteY44874" fmla="*/ 1783767 h 5973007"/>
              <a:gd name="connsiteX44875" fmla="*/ 5079817 w 6884782"/>
              <a:gd name="connsiteY44875" fmla="*/ 1783198 h 5973007"/>
              <a:gd name="connsiteX44876" fmla="*/ 5080457 w 6884782"/>
              <a:gd name="connsiteY44876" fmla="*/ 1781917 h 5973007"/>
              <a:gd name="connsiteX44877" fmla="*/ 5080671 w 6884782"/>
              <a:gd name="connsiteY44877" fmla="*/ 1780922 h 5973007"/>
              <a:gd name="connsiteX44878" fmla="*/ 5086859 w 6884782"/>
              <a:gd name="connsiteY44878" fmla="*/ 1780495 h 5973007"/>
              <a:gd name="connsiteX44879" fmla="*/ 865700 w 6884782"/>
              <a:gd name="connsiteY44879" fmla="*/ 1780091 h 5973007"/>
              <a:gd name="connsiteX44880" fmla="*/ 868489 w 6884782"/>
              <a:gd name="connsiteY44880" fmla="*/ 1782259 h 5973007"/>
              <a:gd name="connsiteX44881" fmla="*/ 865184 w 6884782"/>
              <a:gd name="connsiteY44881" fmla="*/ 1783653 h 5973007"/>
              <a:gd name="connsiteX44882" fmla="*/ 864461 w 6884782"/>
              <a:gd name="connsiteY44882" fmla="*/ 1782259 h 5973007"/>
              <a:gd name="connsiteX44883" fmla="*/ 865700 w 6884782"/>
              <a:gd name="connsiteY44883" fmla="*/ 1780091 h 5973007"/>
              <a:gd name="connsiteX44884" fmla="*/ 867972 w 6884782"/>
              <a:gd name="connsiteY44884" fmla="*/ 1779781 h 5973007"/>
              <a:gd name="connsiteX44885" fmla="*/ 867972 w 6884782"/>
              <a:gd name="connsiteY44885" fmla="*/ 1781175 h 5973007"/>
              <a:gd name="connsiteX44886" fmla="*/ 867249 w 6884782"/>
              <a:gd name="connsiteY44886" fmla="*/ 1780401 h 5973007"/>
              <a:gd name="connsiteX44887" fmla="*/ 867972 w 6884782"/>
              <a:gd name="connsiteY44887" fmla="*/ 1779781 h 5973007"/>
              <a:gd name="connsiteX44888" fmla="*/ 5103293 w 6884782"/>
              <a:gd name="connsiteY44888" fmla="*/ 1779499 h 5973007"/>
              <a:gd name="connsiteX44889" fmla="*/ 5115031 w 6884782"/>
              <a:gd name="connsiteY44889" fmla="*/ 1790027 h 5973007"/>
              <a:gd name="connsiteX44890" fmla="*/ 5103933 w 6884782"/>
              <a:gd name="connsiteY44890" fmla="*/ 1790454 h 5973007"/>
              <a:gd name="connsiteX44891" fmla="*/ 5097104 w 6884782"/>
              <a:gd name="connsiteY44891" fmla="*/ 1779642 h 5973007"/>
              <a:gd name="connsiteX44892" fmla="*/ 5103293 w 6884782"/>
              <a:gd name="connsiteY44892" fmla="*/ 1779499 h 5973007"/>
              <a:gd name="connsiteX44893" fmla="*/ 1455087 w 6884782"/>
              <a:gd name="connsiteY44893" fmla="*/ 1779316 h 5973007"/>
              <a:gd name="connsiteX44894" fmla="*/ 1451473 w 6884782"/>
              <a:gd name="connsiteY44894" fmla="*/ 1787526 h 5973007"/>
              <a:gd name="connsiteX44895" fmla="*/ 1449304 w 6884782"/>
              <a:gd name="connsiteY44895" fmla="*/ 1784892 h 5973007"/>
              <a:gd name="connsiteX44896" fmla="*/ 1455087 w 6884782"/>
              <a:gd name="connsiteY44896" fmla="*/ 1779316 h 5973007"/>
              <a:gd name="connsiteX44897" fmla="*/ 1806674 w 6884782"/>
              <a:gd name="connsiteY44897" fmla="*/ 1779161 h 5973007"/>
              <a:gd name="connsiteX44898" fmla="*/ 1808533 w 6884782"/>
              <a:gd name="connsiteY44898" fmla="*/ 1779471 h 5973007"/>
              <a:gd name="connsiteX44899" fmla="*/ 1808842 w 6884782"/>
              <a:gd name="connsiteY44899" fmla="*/ 1780401 h 5973007"/>
              <a:gd name="connsiteX44900" fmla="*/ 1809049 w 6884782"/>
              <a:gd name="connsiteY44900" fmla="*/ 1780556 h 5973007"/>
              <a:gd name="connsiteX44901" fmla="*/ 1808636 w 6884782"/>
              <a:gd name="connsiteY44901" fmla="*/ 1782104 h 5973007"/>
              <a:gd name="connsiteX44902" fmla="*/ 1807294 w 6884782"/>
              <a:gd name="connsiteY44902" fmla="*/ 1783189 h 5973007"/>
              <a:gd name="connsiteX44903" fmla="*/ 1805435 w 6884782"/>
              <a:gd name="connsiteY44903" fmla="*/ 1780401 h 5973007"/>
              <a:gd name="connsiteX44904" fmla="*/ 1806984 w 6884782"/>
              <a:gd name="connsiteY44904" fmla="*/ 1779936 h 5973007"/>
              <a:gd name="connsiteX44905" fmla="*/ 1806674 w 6884782"/>
              <a:gd name="connsiteY44905" fmla="*/ 1779161 h 5973007"/>
              <a:gd name="connsiteX44906" fmla="*/ 5635775 w 6884782"/>
              <a:gd name="connsiteY44906" fmla="*/ 1778930 h 5973007"/>
              <a:gd name="connsiteX44907" fmla="*/ 5638123 w 6884782"/>
              <a:gd name="connsiteY44907" fmla="*/ 1780353 h 5973007"/>
              <a:gd name="connsiteX44908" fmla="*/ 5640471 w 6884782"/>
              <a:gd name="connsiteY44908" fmla="*/ 1782487 h 5973007"/>
              <a:gd name="connsiteX44909" fmla="*/ 5642605 w 6884782"/>
              <a:gd name="connsiteY44909" fmla="*/ 1789173 h 5973007"/>
              <a:gd name="connsiteX44910" fmla="*/ 5640257 w 6884782"/>
              <a:gd name="connsiteY44910" fmla="*/ 1793726 h 5973007"/>
              <a:gd name="connsiteX44911" fmla="*/ 5638336 w 6884782"/>
              <a:gd name="connsiteY44911" fmla="*/ 1794865 h 5973007"/>
              <a:gd name="connsiteX44912" fmla="*/ 5630440 w 6884782"/>
              <a:gd name="connsiteY44912" fmla="*/ 1786897 h 5973007"/>
              <a:gd name="connsiteX44913" fmla="*/ 5635775 w 6884782"/>
              <a:gd name="connsiteY44913" fmla="*/ 1778930 h 5973007"/>
              <a:gd name="connsiteX44914" fmla="*/ 5195704 w 6884782"/>
              <a:gd name="connsiteY44914" fmla="*/ 1776796 h 5973007"/>
              <a:gd name="connsiteX44915" fmla="*/ 5198051 w 6884782"/>
              <a:gd name="connsiteY44915" fmla="*/ 1778219 h 5973007"/>
              <a:gd name="connsiteX44916" fmla="*/ 5196557 w 6884782"/>
              <a:gd name="connsiteY44916" fmla="*/ 1782060 h 5973007"/>
              <a:gd name="connsiteX44917" fmla="*/ 5198905 w 6884782"/>
              <a:gd name="connsiteY44917" fmla="*/ 1783482 h 5973007"/>
              <a:gd name="connsiteX44918" fmla="*/ 5198692 w 6884782"/>
              <a:gd name="connsiteY44918" fmla="*/ 1785190 h 5973007"/>
              <a:gd name="connsiteX44919" fmla="*/ 5195277 w 6884782"/>
              <a:gd name="connsiteY44919" fmla="*/ 1785901 h 5973007"/>
              <a:gd name="connsiteX44920" fmla="*/ 5196131 w 6884782"/>
              <a:gd name="connsiteY44920" fmla="*/ 1779499 h 5973007"/>
              <a:gd name="connsiteX44921" fmla="*/ 5195704 w 6884782"/>
              <a:gd name="connsiteY44921" fmla="*/ 1776796 h 5973007"/>
              <a:gd name="connsiteX44922" fmla="*/ 5022407 w 6884782"/>
              <a:gd name="connsiteY44922" fmla="*/ 1776654 h 5973007"/>
              <a:gd name="connsiteX44923" fmla="*/ 5025181 w 6884782"/>
              <a:gd name="connsiteY44923" fmla="*/ 1777365 h 5973007"/>
              <a:gd name="connsiteX44924" fmla="*/ 5026035 w 6884782"/>
              <a:gd name="connsiteY44924" fmla="*/ 1780210 h 5973007"/>
              <a:gd name="connsiteX44925" fmla="*/ 5022620 w 6884782"/>
              <a:gd name="connsiteY44925" fmla="*/ 1783482 h 5973007"/>
              <a:gd name="connsiteX44926" fmla="*/ 5025395 w 6884782"/>
              <a:gd name="connsiteY44926" fmla="*/ 1784621 h 5973007"/>
              <a:gd name="connsiteX44927" fmla="*/ 5028169 w 6884782"/>
              <a:gd name="connsiteY44927" fmla="*/ 1787893 h 5973007"/>
              <a:gd name="connsiteX44928" fmla="*/ 5028383 w 6884782"/>
              <a:gd name="connsiteY44928" fmla="*/ 1784479 h 5973007"/>
              <a:gd name="connsiteX44929" fmla="*/ 5049511 w 6884782"/>
              <a:gd name="connsiteY44929" fmla="*/ 1800128 h 5973007"/>
              <a:gd name="connsiteX44930" fmla="*/ 5048658 w 6884782"/>
              <a:gd name="connsiteY44930" fmla="*/ 1807669 h 5973007"/>
              <a:gd name="connsiteX44931" fmla="*/ 5027742 w 6884782"/>
              <a:gd name="connsiteY44931" fmla="*/ 1793299 h 5973007"/>
              <a:gd name="connsiteX44932" fmla="*/ 5027956 w 6884782"/>
              <a:gd name="connsiteY44932" fmla="*/ 1789743 h 5973007"/>
              <a:gd name="connsiteX44933" fmla="*/ 5021553 w 6884782"/>
              <a:gd name="connsiteY44933" fmla="*/ 1794865 h 5973007"/>
              <a:gd name="connsiteX44934" fmla="*/ 5016218 w 6884782"/>
              <a:gd name="connsiteY44934" fmla="*/ 1793868 h 5973007"/>
              <a:gd name="connsiteX44935" fmla="*/ 5020913 w 6884782"/>
              <a:gd name="connsiteY44935" fmla="*/ 1796430 h 5973007"/>
              <a:gd name="connsiteX44936" fmla="*/ 5031157 w 6884782"/>
              <a:gd name="connsiteY44936" fmla="*/ 1810229 h 5973007"/>
              <a:gd name="connsiteX44937" fmla="*/ 5032864 w 6884782"/>
              <a:gd name="connsiteY44937" fmla="*/ 1817770 h 5973007"/>
              <a:gd name="connsiteX44938" fmla="*/ 5031797 w 6884782"/>
              <a:gd name="connsiteY44938" fmla="*/ 1825167 h 5973007"/>
              <a:gd name="connsiteX44939" fmla="*/ 5033504 w 6884782"/>
              <a:gd name="connsiteY44939" fmla="*/ 1825310 h 5973007"/>
              <a:gd name="connsiteX44940" fmla="*/ 5036919 w 6884782"/>
              <a:gd name="connsiteY44940" fmla="*/ 1829009 h 5973007"/>
              <a:gd name="connsiteX44941" fmla="*/ 5036706 w 6884782"/>
              <a:gd name="connsiteY44941" fmla="*/ 1832138 h 5973007"/>
              <a:gd name="connsiteX44942" fmla="*/ 5042255 w 6884782"/>
              <a:gd name="connsiteY44942" fmla="*/ 1831001 h 5973007"/>
              <a:gd name="connsiteX44943" fmla="*/ 5059329 w 6884782"/>
              <a:gd name="connsiteY44943" fmla="*/ 1839679 h 5973007"/>
              <a:gd name="connsiteX44944" fmla="*/ 5022407 w 6884782"/>
              <a:gd name="connsiteY44944" fmla="*/ 1839963 h 5973007"/>
              <a:gd name="connsiteX44945" fmla="*/ 5027529 w 6884782"/>
              <a:gd name="connsiteY44945" fmla="*/ 1835980 h 5973007"/>
              <a:gd name="connsiteX44946" fmla="*/ 5026676 w 6884782"/>
              <a:gd name="connsiteY44946" fmla="*/ 1833419 h 5973007"/>
              <a:gd name="connsiteX44947" fmla="*/ 5028596 w 6884782"/>
              <a:gd name="connsiteY44947" fmla="*/ 1826591 h 5973007"/>
              <a:gd name="connsiteX44948" fmla="*/ 5019419 w 6884782"/>
              <a:gd name="connsiteY44948" fmla="*/ 1829293 h 5973007"/>
              <a:gd name="connsiteX44949" fmla="*/ 5008108 w 6884782"/>
              <a:gd name="connsiteY44949" fmla="*/ 1827444 h 5973007"/>
              <a:gd name="connsiteX44950" fmla="*/ 4990394 w 6884782"/>
              <a:gd name="connsiteY44950" fmla="*/ 1795291 h 5973007"/>
              <a:gd name="connsiteX44951" fmla="*/ 4993168 w 6884782"/>
              <a:gd name="connsiteY44951" fmla="*/ 1792588 h 5973007"/>
              <a:gd name="connsiteX44952" fmla="*/ 5004693 w 6884782"/>
              <a:gd name="connsiteY44952" fmla="*/ 1790454 h 5973007"/>
              <a:gd name="connsiteX44953" fmla="*/ 5011736 w 6884782"/>
              <a:gd name="connsiteY44953" fmla="*/ 1791876 h 5973007"/>
              <a:gd name="connsiteX44954" fmla="*/ 5009602 w 6884782"/>
              <a:gd name="connsiteY44954" fmla="*/ 1788178 h 5973007"/>
              <a:gd name="connsiteX44955" fmla="*/ 5011096 w 6884782"/>
              <a:gd name="connsiteY44955" fmla="*/ 1786613 h 5973007"/>
              <a:gd name="connsiteX44956" fmla="*/ 5010029 w 6884782"/>
              <a:gd name="connsiteY44956" fmla="*/ 1786328 h 5973007"/>
              <a:gd name="connsiteX44957" fmla="*/ 5007467 w 6884782"/>
              <a:gd name="connsiteY44957" fmla="*/ 1786613 h 5973007"/>
              <a:gd name="connsiteX44958" fmla="*/ 5000425 w 6884782"/>
              <a:gd name="connsiteY44958" fmla="*/ 1782202 h 5973007"/>
              <a:gd name="connsiteX44959" fmla="*/ 5022407 w 6884782"/>
              <a:gd name="connsiteY44959" fmla="*/ 1776654 h 5973007"/>
              <a:gd name="connsiteX44960" fmla="*/ 5152380 w 6884782"/>
              <a:gd name="connsiteY44960" fmla="*/ 1775943 h 5973007"/>
              <a:gd name="connsiteX44961" fmla="*/ 5153020 w 6884782"/>
              <a:gd name="connsiteY44961" fmla="*/ 1776227 h 5973007"/>
              <a:gd name="connsiteX44962" fmla="*/ 5153660 w 6884782"/>
              <a:gd name="connsiteY44962" fmla="*/ 1777792 h 5973007"/>
              <a:gd name="connsiteX44963" fmla="*/ 5152593 w 6884782"/>
              <a:gd name="connsiteY44963" fmla="*/ 1778361 h 5973007"/>
              <a:gd name="connsiteX44964" fmla="*/ 5152380 w 6884782"/>
              <a:gd name="connsiteY44964" fmla="*/ 1775943 h 5973007"/>
              <a:gd name="connsiteX44965" fmla="*/ 6212436 w 6884782"/>
              <a:gd name="connsiteY44965" fmla="*/ 1775800 h 5973007"/>
              <a:gd name="connsiteX44966" fmla="*/ 6218625 w 6884782"/>
              <a:gd name="connsiteY44966" fmla="*/ 1779215 h 5973007"/>
              <a:gd name="connsiteX44967" fmla="*/ 6220546 w 6884782"/>
              <a:gd name="connsiteY44967" fmla="*/ 1784194 h 5973007"/>
              <a:gd name="connsiteX44968" fmla="*/ 6220546 w 6884782"/>
              <a:gd name="connsiteY44968" fmla="*/ 1784479 h 5973007"/>
              <a:gd name="connsiteX44969" fmla="*/ 6222040 w 6884782"/>
              <a:gd name="connsiteY44969" fmla="*/ 1783340 h 5973007"/>
              <a:gd name="connsiteX44970" fmla="*/ 6224387 w 6884782"/>
              <a:gd name="connsiteY44970" fmla="*/ 1783482 h 5973007"/>
              <a:gd name="connsiteX44971" fmla="*/ 6225881 w 6884782"/>
              <a:gd name="connsiteY44971" fmla="*/ 1785759 h 5973007"/>
              <a:gd name="connsiteX44972" fmla="*/ 6226521 w 6884782"/>
              <a:gd name="connsiteY44972" fmla="*/ 1790596 h 5973007"/>
              <a:gd name="connsiteX44973" fmla="*/ 6224600 w 6884782"/>
              <a:gd name="connsiteY44973" fmla="*/ 1793157 h 5973007"/>
              <a:gd name="connsiteX44974" fmla="*/ 6222253 w 6884782"/>
              <a:gd name="connsiteY44974" fmla="*/ 1792019 h 5973007"/>
              <a:gd name="connsiteX44975" fmla="*/ 6219905 w 6884782"/>
              <a:gd name="connsiteY44975" fmla="*/ 1792161 h 5973007"/>
              <a:gd name="connsiteX44976" fmla="*/ 6219692 w 6884782"/>
              <a:gd name="connsiteY44976" fmla="*/ 1791023 h 5973007"/>
              <a:gd name="connsiteX44977" fmla="*/ 6219905 w 6884782"/>
              <a:gd name="connsiteY44977" fmla="*/ 1790881 h 5973007"/>
              <a:gd name="connsiteX44978" fmla="*/ 6219052 w 6884782"/>
              <a:gd name="connsiteY44978" fmla="*/ 1790169 h 5973007"/>
              <a:gd name="connsiteX44979" fmla="*/ 6218412 w 6884782"/>
              <a:gd name="connsiteY44979" fmla="*/ 1793441 h 5973007"/>
              <a:gd name="connsiteX44980" fmla="*/ 6200911 w 6884782"/>
              <a:gd name="connsiteY44980" fmla="*/ 1788035 h 5973007"/>
              <a:gd name="connsiteX44981" fmla="*/ 6204753 w 6884782"/>
              <a:gd name="connsiteY44981" fmla="*/ 1778361 h 5973007"/>
              <a:gd name="connsiteX44982" fmla="*/ 6212436 w 6884782"/>
              <a:gd name="connsiteY44982" fmla="*/ 1775800 h 5973007"/>
              <a:gd name="connsiteX44983" fmla="*/ 5214911 w 6884782"/>
              <a:gd name="connsiteY44983" fmla="*/ 1775800 h 5973007"/>
              <a:gd name="connsiteX44984" fmla="*/ 5222808 w 6884782"/>
              <a:gd name="connsiteY44984" fmla="*/ 1779499 h 5973007"/>
              <a:gd name="connsiteX44985" fmla="*/ 5203174 w 6884782"/>
              <a:gd name="connsiteY44985" fmla="*/ 1788035 h 5973007"/>
              <a:gd name="connsiteX44986" fmla="*/ 5200612 w 6884782"/>
              <a:gd name="connsiteY44986" fmla="*/ 1788320 h 5973007"/>
              <a:gd name="connsiteX44987" fmla="*/ 5198692 w 6884782"/>
              <a:gd name="connsiteY44987" fmla="*/ 1785190 h 5973007"/>
              <a:gd name="connsiteX44988" fmla="*/ 5212350 w 6884782"/>
              <a:gd name="connsiteY44988" fmla="*/ 1776085 h 5973007"/>
              <a:gd name="connsiteX44989" fmla="*/ 5214911 w 6884782"/>
              <a:gd name="connsiteY44989" fmla="*/ 1775800 h 5973007"/>
              <a:gd name="connsiteX44990" fmla="*/ 3841982 w 6884782"/>
              <a:gd name="connsiteY44990" fmla="*/ 1775516 h 5973007"/>
              <a:gd name="connsiteX44991" fmla="*/ 3860550 w 6884782"/>
              <a:gd name="connsiteY44991" fmla="*/ 1784763 h 5973007"/>
              <a:gd name="connsiteX44992" fmla="*/ 3860550 w 6884782"/>
              <a:gd name="connsiteY44992" fmla="*/ 1784905 h 5973007"/>
              <a:gd name="connsiteX44993" fmla="*/ 3866526 w 6884782"/>
              <a:gd name="connsiteY44993" fmla="*/ 1790596 h 5973007"/>
              <a:gd name="connsiteX44994" fmla="*/ 3874422 w 6884782"/>
              <a:gd name="connsiteY44994" fmla="*/ 1800840 h 5973007"/>
              <a:gd name="connsiteX44995" fmla="*/ 3867593 w 6884782"/>
              <a:gd name="connsiteY44995" fmla="*/ 1799132 h 5973007"/>
              <a:gd name="connsiteX44996" fmla="*/ 3863751 w 6884782"/>
              <a:gd name="connsiteY44996" fmla="*/ 1796856 h 5973007"/>
              <a:gd name="connsiteX44997" fmla="*/ 3863751 w 6884782"/>
              <a:gd name="connsiteY44997" fmla="*/ 1799417 h 5973007"/>
              <a:gd name="connsiteX44998" fmla="*/ 3863965 w 6884782"/>
              <a:gd name="connsiteY44998" fmla="*/ 1799702 h 5973007"/>
              <a:gd name="connsiteX44999" fmla="*/ 3863537 w 6884782"/>
              <a:gd name="connsiteY44999" fmla="*/ 1801835 h 5973007"/>
              <a:gd name="connsiteX45000" fmla="*/ 3863324 w 6884782"/>
              <a:gd name="connsiteY45000" fmla="*/ 1803685 h 5973007"/>
              <a:gd name="connsiteX45001" fmla="*/ 3852013 w 6884782"/>
              <a:gd name="connsiteY45001" fmla="*/ 1835838 h 5973007"/>
              <a:gd name="connsiteX45002" fmla="*/ 3846037 w 6884782"/>
              <a:gd name="connsiteY45002" fmla="*/ 1829436 h 5973007"/>
              <a:gd name="connsiteX45003" fmla="*/ 3844756 w 6884782"/>
              <a:gd name="connsiteY45003" fmla="*/ 1829009 h 5973007"/>
              <a:gd name="connsiteX45004" fmla="*/ 3843049 w 6884782"/>
              <a:gd name="connsiteY45004" fmla="*/ 1830431 h 5973007"/>
              <a:gd name="connsiteX45005" fmla="*/ 3832592 w 6884782"/>
              <a:gd name="connsiteY45005" fmla="*/ 1827444 h 5973007"/>
              <a:gd name="connsiteX45006" fmla="*/ 3832378 w 6884782"/>
              <a:gd name="connsiteY45006" fmla="*/ 1826875 h 5973007"/>
              <a:gd name="connsiteX45007" fmla="*/ 3830244 w 6884782"/>
              <a:gd name="connsiteY45007" fmla="*/ 1830858 h 5973007"/>
              <a:gd name="connsiteX45008" fmla="*/ 3827043 w 6884782"/>
              <a:gd name="connsiteY45008" fmla="*/ 1832992 h 5973007"/>
              <a:gd name="connsiteX45009" fmla="*/ 3822988 w 6884782"/>
              <a:gd name="connsiteY45009" fmla="*/ 1822180 h 5973007"/>
              <a:gd name="connsiteX45010" fmla="*/ 3822988 w 6884782"/>
              <a:gd name="connsiteY45010" fmla="*/ 1821469 h 5973007"/>
              <a:gd name="connsiteX45011" fmla="*/ 3819360 w 6884782"/>
              <a:gd name="connsiteY45011" fmla="*/ 1818623 h 5973007"/>
              <a:gd name="connsiteX45012" fmla="*/ 3816372 w 6884782"/>
              <a:gd name="connsiteY45012" fmla="*/ 1813928 h 5973007"/>
              <a:gd name="connsiteX45013" fmla="*/ 3815305 w 6884782"/>
              <a:gd name="connsiteY45013" fmla="*/ 1807526 h 5973007"/>
              <a:gd name="connsiteX45014" fmla="*/ 3812530 w 6884782"/>
              <a:gd name="connsiteY45014" fmla="*/ 1806530 h 5973007"/>
              <a:gd name="connsiteX45015" fmla="*/ 3818506 w 6884782"/>
              <a:gd name="connsiteY45015" fmla="*/ 1789743 h 5973007"/>
              <a:gd name="connsiteX45016" fmla="*/ 3819146 w 6884782"/>
              <a:gd name="connsiteY45016" fmla="*/ 1790027 h 5973007"/>
              <a:gd name="connsiteX45017" fmla="*/ 3823628 w 6884782"/>
              <a:gd name="connsiteY45017" fmla="*/ 1784194 h 5973007"/>
              <a:gd name="connsiteX45018" fmla="*/ 3841982 w 6884782"/>
              <a:gd name="connsiteY45018" fmla="*/ 1775516 h 5973007"/>
              <a:gd name="connsiteX45019" fmla="*/ 1537666 w 6884782"/>
              <a:gd name="connsiteY45019" fmla="*/ 1774921 h 5973007"/>
              <a:gd name="connsiteX45020" fmla="*/ 1542132 w 6884782"/>
              <a:gd name="connsiteY45020" fmla="*/ 1775444 h 5973007"/>
              <a:gd name="connsiteX45021" fmla="*/ 1536143 w 6884782"/>
              <a:gd name="connsiteY45021" fmla="*/ 1779161 h 5973007"/>
              <a:gd name="connsiteX45022" fmla="*/ 1537666 w 6884782"/>
              <a:gd name="connsiteY45022" fmla="*/ 1774921 h 5973007"/>
              <a:gd name="connsiteX45023" fmla="*/ 3777743 w 6884782"/>
              <a:gd name="connsiteY45023" fmla="*/ 1774378 h 5973007"/>
              <a:gd name="connsiteX45024" fmla="*/ 3779237 w 6884782"/>
              <a:gd name="connsiteY45024" fmla="*/ 1779215 h 5973007"/>
              <a:gd name="connsiteX45025" fmla="*/ 3777956 w 6884782"/>
              <a:gd name="connsiteY45025" fmla="*/ 1782629 h 5973007"/>
              <a:gd name="connsiteX45026" fmla="*/ 3786066 w 6884782"/>
              <a:gd name="connsiteY45026" fmla="*/ 1784194 h 5973007"/>
              <a:gd name="connsiteX45027" fmla="*/ 3792469 w 6884782"/>
              <a:gd name="connsiteY45027" fmla="*/ 1786755 h 5973007"/>
              <a:gd name="connsiteX45028" fmla="*/ 3792682 w 6884782"/>
              <a:gd name="connsiteY45028" fmla="*/ 1792161 h 5973007"/>
              <a:gd name="connsiteX45029" fmla="*/ 3776035 w 6884782"/>
              <a:gd name="connsiteY45029" fmla="*/ 1782345 h 5973007"/>
              <a:gd name="connsiteX45030" fmla="*/ 3776249 w 6884782"/>
              <a:gd name="connsiteY45030" fmla="*/ 1782345 h 5973007"/>
              <a:gd name="connsiteX45031" fmla="*/ 3774969 w 6884782"/>
              <a:gd name="connsiteY45031" fmla="*/ 1779072 h 5973007"/>
              <a:gd name="connsiteX45032" fmla="*/ 3777743 w 6884782"/>
              <a:gd name="connsiteY45032" fmla="*/ 1774378 h 5973007"/>
              <a:gd name="connsiteX45033" fmla="*/ 1211609 w 6884782"/>
              <a:gd name="connsiteY45033" fmla="*/ 1774049 h 5973007"/>
              <a:gd name="connsiteX45034" fmla="*/ 1213261 w 6884782"/>
              <a:gd name="connsiteY45034" fmla="*/ 1775444 h 5973007"/>
              <a:gd name="connsiteX45035" fmla="*/ 1212022 w 6884782"/>
              <a:gd name="connsiteY45035" fmla="*/ 1777457 h 5973007"/>
              <a:gd name="connsiteX45036" fmla="*/ 1203658 w 6884782"/>
              <a:gd name="connsiteY45036" fmla="*/ 1775753 h 5973007"/>
              <a:gd name="connsiteX45037" fmla="*/ 1211609 w 6884782"/>
              <a:gd name="connsiteY45037" fmla="*/ 1774049 h 5973007"/>
              <a:gd name="connsiteX45038" fmla="*/ 1297001 w 6884782"/>
              <a:gd name="connsiteY45038" fmla="*/ 1773740 h 5973007"/>
              <a:gd name="connsiteX45039" fmla="*/ 1303197 w 6884782"/>
              <a:gd name="connsiteY45039" fmla="*/ 1785667 h 5973007"/>
              <a:gd name="connsiteX45040" fmla="*/ 1303403 w 6884782"/>
              <a:gd name="connsiteY45040" fmla="*/ 1788610 h 5973007"/>
              <a:gd name="connsiteX45041" fmla="*/ 1305985 w 6884782"/>
              <a:gd name="connsiteY45041" fmla="*/ 1789694 h 5973007"/>
              <a:gd name="connsiteX45042" fmla="*/ 1304126 w 6884782"/>
              <a:gd name="connsiteY45042" fmla="*/ 1793567 h 5973007"/>
              <a:gd name="connsiteX45043" fmla="*/ 1301855 w 6884782"/>
              <a:gd name="connsiteY45043" fmla="*/ 1792947 h 5973007"/>
              <a:gd name="connsiteX45044" fmla="*/ 1302061 w 6884782"/>
              <a:gd name="connsiteY45044" fmla="*/ 1794496 h 5973007"/>
              <a:gd name="connsiteX45045" fmla="*/ 1297311 w 6884782"/>
              <a:gd name="connsiteY45045" fmla="*/ 1793102 h 5973007"/>
              <a:gd name="connsiteX45046" fmla="*/ 1295350 w 6884782"/>
              <a:gd name="connsiteY45046" fmla="*/ 1793102 h 5973007"/>
              <a:gd name="connsiteX45047" fmla="*/ 1296382 w 6884782"/>
              <a:gd name="connsiteY45047" fmla="*/ 1791553 h 5973007"/>
              <a:gd name="connsiteX45048" fmla="*/ 1299273 w 6884782"/>
              <a:gd name="connsiteY45048" fmla="*/ 1793102 h 5973007"/>
              <a:gd name="connsiteX45049" fmla="*/ 1300306 w 6884782"/>
              <a:gd name="connsiteY45049" fmla="*/ 1791553 h 5973007"/>
              <a:gd name="connsiteX45050" fmla="*/ 1301545 w 6884782"/>
              <a:gd name="connsiteY45050" fmla="*/ 1791863 h 5973007"/>
              <a:gd name="connsiteX45051" fmla="*/ 1301648 w 6884782"/>
              <a:gd name="connsiteY45051" fmla="*/ 1792018 h 5973007"/>
              <a:gd name="connsiteX45052" fmla="*/ 1301855 w 6884782"/>
              <a:gd name="connsiteY45052" fmla="*/ 1791863 h 5973007"/>
              <a:gd name="connsiteX45053" fmla="*/ 1301545 w 6884782"/>
              <a:gd name="connsiteY45053" fmla="*/ 1791863 h 5973007"/>
              <a:gd name="connsiteX45054" fmla="*/ 1297415 w 6884782"/>
              <a:gd name="connsiteY45054" fmla="*/ 1784428 h 5973007"/>
              <a:gd name="connsiteX45055" fmla="*/ 1296382 w 6884782"/>
              <a:gd name="connsiteY45055" fmla="*/ 1784273 h 5973007"/>
              <a:gd name="connsiteX45056" fmla="*/ 1295969 w 6884782"/>
              <a:gd name="connsiteY45056" fmla="*/ 1785047 h 5973007"/>
              <a:gd name="connsiteX45057" fmla="*/ 1296589 w 6884782"/>
              <a:gd name="connsiteY45057" fmla="*/ 1787371 h 5973007"/>
              <a:gd name="connsiteX45058" fmla="*/ 1292252 w 6884782"/>
              <a:gd name="connsiteY45058" fmla="*/ 1794031 h 5973007"/>
              <a:gd name="connsiteX45059" fmla="*/ 1289670 w 6884782"/>
              <a:gd name="connsiteY45059" fmla="*/ 1793412 h 5973007"/>
              <a:gd name="connsiteX45060" fmla="*/ 1287089 w 6884782"/>
              <a:gd name="connsiteY45060" fmla="*/ 1792947 h 5973007"/>
              <a:gd name="connsiteX45061" fmla="*/ 1288225 w 6884782"/>
              <a:gd name="connsiteY45061" fmla="*/ 1793257 h 5973007"/>
              <a:gd name="connsiteX45062" fmla="*/ 1289774 w 6884782"/>
              <a:gd name="connsiteY45062" fmla="*/ 1796974 h 5973007"/>
              <a:gd name="connsiteX45063" fmla="*/ 1283165 w 6884782"/>
              <a:gd name="connsiteY45063" fmla="*/ 1795425 h 5973007"/>
              <a:gd name="connsiteX45064" fmla="*/ 1283372 w 6884782"/>
              <a:gd name="connsiteY45064" fmla="*/ 1792018 h 5973007"/>
              <a:gd name="connsiteX45065" fmla="*/ 1283269 w 6884782"/>
              <a:gd name="connsiteY45065" fmla="*/ 1792018 h 5973007"/>
              <a:gd name="connsiteX45066" fmla="*/ 1279551 w 6884782"/>
              <a:gd name="connsiteY45066" fmla="*/ 1791553 h 5973007"/>
              <a:gd name="connsiteX45067" fmla="*/ 1279138 w 6884782"/>
              <a:gd name="connsiteY45067" fmla="*/ 1790779 h 5973007"/>
              <a:gd name="connsiteX45068" fmla="*/ 1280377 w 6884782"/>
              <a:gd name="connsiteY45068" fmla="*/ 1789230 h 5973007"/>
              <a:gd name="connsiteX45069" fmla="*/ 1281720 w 6884782"/>
              <a:gd name="connsiteY45069" fmla="*/ 1789230 h 5973007"/>
              <a:gd name="connsiteX45070" fmla="*/ 1280067 w 6884782"/>
              <a:gd name="connsiteY45070" fmla="*/ 1786286 h 5973007"/>
              <a:gd name="connsiteX45071" fmla="*/ 1286057 w 6884782"/>
              <a:gd name="connsiteY45071" fmla="*/ 1778542 h 5973007"/>
              <a:gd name="connsiteX45072" fmla="*/ 1295350 w 6884782"/>
              <a:gd name="connsiteY45072" fmla="*/ 1782724 h 5973007"/>
              <a:gd name="connsiteX45073" fmla="*/ 1296072 w 6884782"/>
              <a:gd name="connsiteY45073" fmla="*/ 1782414 h 5973007"/>
              <a:gd name="connsiteX45074" fmla="*/ 1295350 w 6884782"/>
              <a:gd name="connsiteY45074" fmla="*/ 1781640 h 5973007"/>
              <a:gd name="connsiteX45075" fmla="*/ 1294627 w 6884782"/>
              <a:gd name="connsiteY45075" fmla="*/ 1780865 h 5973007"/>
              <a:gd name="connsiteX45076" fmla="*/ 1294420 w 6884782"/>
              <a:gd name="connsiteY45076" fmla="*/ 1779006 h 5973007"/>
              <a:gd name="connsiteX45077" fmla="*/ 1297001 w 6884782"/>
              <a:gd name="connsiteY45077" fmla="*/ 1773740 h 5973007"/>
              <a:gd name="connsiteX45078" fmla="*/ 3700698 w 6884782"/>
              <a:gd name="connsiteY45078" fmla="*/ 1773097 h 5973007"/>
              <a:gd name="connsiteX45079" fmla="*/ 3703686 w 6884782"/>
              <a:gd name="connsiteY45079" fmla="*/ 1773524 h 5973007"/>
              <a:gd name="connsiteX45080" fmla="*/ 3696430 w 6884782"/>
              <a:gd name="connsiteY45080" fmla="*/ 1778930 h 5973007"/>
              <a:gd name="connsiteX45081" fmla="*/ 3694509 w 6884782"/>
              <a:gd name="connsiteY45081" fmla="*/ 1778361 h 5973007"/>
              <a:gd name="connsiteX45082" fmla="*/ 3700698 w 6884782"/>
              <a:gd name="connsiteY45082" fmla="*/ 1773097 h 5973007"/>
              <a:gd name="connsiteX45083" fmla="*/ 990227 w 6884782"/>
              <a:gd name="connsiteY45083" fmla="*/ 1772811 h 5973007"/>
              <a:gd name="connsiteX45084" fmla="*/ 998178 w 6884782"/>
              <a:gd name="connsiteY45084" fmla="*/ 1774359 h 5973007"/>
              <a:gd name="connsiteX45085" fmla="*/ 990227 w 6884782"/>
              <a:gd name="connsiteY45085" fmla="*/ 1772811 h 5973007"/>
              <a:gd name="connsiteX45086" fmla="*/ 5773644 w 6884782"/>
              <a:gd name="connsiteY45086" fmla="*/ 1772528 h 5973007"/>
              <a:gd name="connsiteX45087" fmla="*/ 5780047 w 6884782"/>
              <a:gd name="connsiteY45087" fmla="*/ 1776512 h 5973007"/>
              <a:gd name="connsiteX45088" fmla="*/ 5750595 w 6884782"/>
              <a:gd name="connsiteY45088" fmla="*/ 1785474 h 5973007"/>
              <a:gd name="connsiteX45089" fmla="*/ 5773644 w 6884782"/>
              <a:gd name="connsiteY45089" fmla="*/ 1772528 h 5973007"/>
              <a:gd name="connsiteX45090" fmla="*/ 1099369 w 6884782"/>
              <a:gd name="connsiteY45090" fmla="*/ 1772346 h 5973007"/>
              <a:gd name="connsiteX45091" fmla="*/ 1113515 w 6884782"/>
              <a:gd name="connsiteY45091" fmla="*/ 1792018 h 5973007"/>
              <a:gd name="connsiteX45092" fmla="*/ 1098440 w 6884782"/>
              <a:gd name="connsiteY45092" fmla="*/ 1774514 h 5973007"/>
              <a:gd name="connsiteX45093" fmla="*/ 1099369 w 6884782"/>
              <a:gd name="connsiteY45093" fmla="*/ 1772346 h 5973007"/>
              <a:gd name="connsiteX45094" fmla="*/ 862809 w 6884782"/>
              <a:gd name="connsiteY45094" fmla="*/ 1772346 h 5973007"/>
              <a:gd name="connsiteX45095" fmla="*/ 864874 w 6884782"/>
              <a:gd name="connsiteY45095" fmla="*/ 1779471 h 5973007"/>
              <a:gd name="connsiteX45096" fmla="*/ 858059 w 6884782"/>
              <a:gd name="connsiteY45096" fmla="*/ 1782879 h 5973007"/>
              <a:gd name="connsiteX45097" fmla="*/ 857130 w 6884782"/>
              <a:gd name="connsiteY45097" fmla="*/ 1781330 h 5973007"/>
              <a:gd name="connsiteX45098" fmla="*/ 856407 w 6884782"/>
              <a:gd name="connsiteY45098" fmla="*/ 1779316 h 5973007"/>
              <a:gd name="connsiteX45099" fmla="*/ 856511 w 6884782"/>
              <a:gd name="connsiteY45099" fmla="*/ 1777302 h 5973007"/>
              <a:gd name="connsiteX45100" fmla="*/ 857646 w 6884782"/>
              <a:gd name="connsiteY45100" fmla="*/ 1774669 h 5973007"/>
              <a:gd name="connsiteX45101" fmla="*/ 860951 w 6884782"/>
              <a:gd name="connsiteY45101" fmla="*/ 1772501 h 5973007"/>
              <a:gd name="connsiteX45102" fmla="*/ 862809 w 6884782"/>
              <a:gd name="connsiteY45102" fmla="*/ 1772346 h 5973007"/>
              <a:gd name="connsiteX45103" fmla="*/ 984549 w 6884782"/>
              <a:gd name="connsiteY45103" fmla="*/ 1772191 h 5973007"/>
              <a:gd name="connsiteX45104" fmla="*/ 987853 w 6884782"/>
              <a:gd name="connsiteY45104" fmla="*/ 1773430 h 5973007"/>
              <a:gd name="connsiteX45105" fmla="*/ 984549 w 6884782"/>
              <a:gd name="connsiteY45105" fmla="*/ 1773121 h 5973007"/>
              <a:gd name="connsiteX45106" fmla="*/ 983929 w 6884782"/>
              <a:gd name="connsiteY45106" fmla="*/ 1772501 h 5973007"/>
              <a:gd name="connsiteX45107" fmla="*/ 984549 w 6884782"/>
              <a:gd name="connsiteY45107" fmla="*/ 1772191 h 5973007"/>
              <a:gd name="connsiteX45108" fmla="*/ 4729809 w 6884782"/>
              <a:gd name="connsiteY45108" fmla="*/ 1772101 h 5973007"/>
              <a:gd name="connsiteX45109" fmla="*/ 4746668 w 6884782"/>
              <a:gd name="connsiteY45109" fmla="*/ 1777792 h 5973007"/>
              <a:gd name="connsiteX45110" fmla="*/ 4713802 w 6884782"/>
              <a:gd name="connsiteY45110" fmla="*/ 1772670 h 5973007"/>
              <a:gd name="connsiteX45111" fmla="*/ 4729809 w 6884782"/>
              <a:gd name="connsiteY45111" fmla="*/ 1772101 h 5973007"/>
              <a:gd name="connsiteX45112" fmla="*/ 839680 w 6884782"/>
              <a:gd name="connsiteY45112" fmla="*/ 1771571 h 5973007"/>
              <a:gd name="connsiteX45113" fmla="*/ 842984 w 6884782"/>
              <a:gd name="connsiteY45113" fmla="*/ 1772346 h 5973007"/>
              <a:gd name="connsiteX45114" fmla="*/ 843810 w 6884782"/>
              <a:gd name="connsiteY45114" fmla="*/ 1772036 h 5973007"/>
              <a:gd name="connsiteX45115" fmla="*/ 846288 w 6884782"/>
              <a:gd name="connsiteY45115" fmla="*/ 1773121 h 5973007"/>
              <a:gd name="connsiteX45116" fmla="*/ 846908 w 6884782"/>
              <a:gd name="connsiteY45116" fmla="*/ 1774049 h 5973007"/>
              <a:gd name="connsiteX45117" fmla="*/ 849696 w 6884782"/>
              <a:gd name="connsiteY45117" fmla="*/ 1776218 h 5973007"/>
              <a:gd name="connsiteX45118" fmla="*/ 848353 w 6884782"/>
              <a:gd name="connsiteY45118" fmla="*/ 1776993 h 5973007"/>
              <a:gd name="connsiteX45119" fmla="*/ 847940 w 6884782"/>
              <a:gd name="connsiteY45119" fmla="*/ 1780091 h 5973007"/>
              <a:gd name="connsiteX45120" fmla="*/ 849490 w 6884782"/>
              <a:gd name="connsiteY45120" fmla="*/ 1784428 h 5973007"/>
              <a:gd name="connsiteX45121" fmla="*/ 846288 w 6884782"/>
              <a:gd name="connsiteY45121" fmla="*/ 1779006 h 5973007"/>
              <a:gd name="connsiteX45122" fmla="*/ 845049 w 6884782"/>
              <a:gd name="connsiteY45122" fmla="*/ 1778542 h 5973007"/>
              <a:gd name="connsiteX45123" fmla="*/ 844843 w 6884782"/>
              <a:gd name="connsiteY45123" fmla="*/ 1778697 h 5973007"/>
              <a:gd name="connsiteX45124" fmla="*/ 844533 w 6884782"/>
              <a:gd name="connsiteY45124" fmla="*/ 1778387 h 5973007"/>
              <a:gd name="connsiteX45125" fmla="*/ 843707 w 6884782"/>
              <a:gd name="connsiteY45125" fmla="*/ 1777922 h 5973007"/>
              <a:gd name="connsiteX45126" fmla="*/ 843500 w 6884782"/>
              <a:gd name="connsiteY45126" fmla="*/ 1777612 h 5973007"/>
              <a:gd name="connsiteX45127" fmla="*/ 841435 w 6884782"/>
              <a:gd name="connsiteY45127" fmla="*/ 1776528 h 5973007"/>
              <a:gd name="connsiteX45128" fmla="*/ 837615 w 6884782"/>
              <a:gd name="connsiteY45128" fmla="*/ 1774979 h 5973007"/>
              <a:gd name="connsiteX45129" fmla="*/ 837408 w 6884782"/>
              <a:gd name="connsiteY45129" fmla="*/ 1772811 h 5973007"/>
              <a:gd name="connsiteX45130" fmla="*/ 839680 w 6884782"/>
              <a:gd name="connsiteY45130" fmla="*/ 1771571 h 5973007"/>
              <a:gd name="connsiteX45131" fmla="*/ 3804847 w 6884782"/>
              <a:gd name="connsiteY45131" fmla="*/ 1770963 h 5973007"/>
              <a:gd name="connsiteX45132" fmla="*/ 3810823 w 6884782"/>
              <a:gd name="connsiteY45132" fmla="*/ 1770963 h 5973007"/>
              <a:gd name="connsiteX45133" fmla="*/ 3810610 w 6884782"/>
              <a:gd name="connsiteY45133" fmla="*/ 1781633 h 5973007"/>
              <a:gd name="connsiteX45134" fmla="*/ 3799939 w 6884782"/>
              <a:gd name="connsiteY45134" fmla="*/ 1787466 h 5973007"/>
              <a:gd name="connsiteX45135" fmla="*/ 3796737 w 6884782"/>
              <a:gd name="connsiteY45135" fmla="*/ 1776369 h 5973007"/>
              <a:gd name="connsiteX45136" fmla="*/ 3798018 w 6884782"/>
              <a:gd name="connsiteY45136" fmla="*/ 1775231 h 5973007"/>
              <a:gd name="connsiteX45137" fmla="*/ 3804847 w 6884782"/>
              <a:gd name="connsiteY45137" fmla="*/ 1770963 h 5973007"/>
              <a:gd name="connsiteX45138" fmla="*/ 3555573 w 6884782"/>
              <a:gd name="connsiteY45138" fmla="*/ 1770678 h 5973007"/>
              <a:gd name="connsiteX45139" fmla="*/ 3567311 w 6884782"/>
              <a:gd name="connsiteY45139" fmla="*/ 1777792 h 5973007"/>
              <a:gd name="connsiteX45140" fmla="*/ 3552799 w 6884782"/>
              <a:gd name="connsiteY45140" fmla="*/ 1790738 h 5973007"/>
              <a:gd name="connsiteX45141" fmla="*/ 3550237 w 6884782"/>
              <a:gd name="connsiteY45141" fmla="*/ 1770963 h 5973007"/>
              <a:gd name="connsiteX45142" fmla="*/ 3555573 w 6884782"/>
              <a:gd name="connsiteY45142" fmla="*/ 1770678 h 5973007"/>
              <a:gd name="connsiteX45143" fmla="*/ 1531187 w 6884782"/>
              <a:gd name="connsiteY45143" fmla="*/ 1770642 h 5973007"/>
              <a:gd name="connsiteX45144" fmla="*/ 1531600 w 6884782"/>
              <a:gd name="connsiteY45144" fmla="*/ 1771262 h 5973007"/>
              <a:gd name="connsiteX45145" fmla="*/ 1527882 w 6884782"/>
              <a:gd name="connsiteY45145" fmla="*/ 1773275 h 5973007"/>
              <a:gd name="connsiteX45146" fmla="*/ 1528296 w 6884782"/>
              <a:gd name="connsiteY45146" fmla="*/ 1771107 h 5973007"/>
              <a:gd name="connsiteX45147" fmla="*/ 1531187 w 6884782"/>
              <a:gd name="connsiteY45147" fmla="*/ 1770642 h 5973007"/>
              <a:gd name="connsiteX45148" fmla="*/ 1189408 w 6884782"/>
              <a:gd name="connsiteY45148" fmla="*/ 1770642 h 5973007"/>
              <a:gd name="connsiteX45149" fmla="*/ 1191370 w 6884782"/>
              <a:gd name="connsiteY45149" fmla="*/ 1770642 h 5973007"/>
              <a:gd name="connsiteX45150" fmla="*/ 1192094 w 6884782"/>
              <a:gd name="connsiteY45150" fmla="*/ 1772811 h 5973007"/>
              <a:gd name="connsiteX45151" fmla="*/ 1189512 w 6884782"/>
              <a:gd name="connsiteY45151" fmla="*/ 1777302 h 5973007"/>
              <a:gd name="connsiteX45152" fmla="*/ 1187550 w 6884782"/>
              <a:gd name="connsiteY45152" fmla="*/ 1777302 h 5973007"/>
              <a:gd name="connsiteX45153" fmla="*/ 1186621 w 6884782"/>
              <a:gd name="connsiteY45153" fmla="*/ 1773585 h 5973007"/>
              <a:gd name="connsiteX45154" fmla="*/ 1189408 w 6884782"/>
              <a:gd name="connsiteY45154" fmla="*/ 1770642 h 5973007"/>
              <a:gd name="connsiteX45155" fmla="*/ 1181251 w 6884782"/>
              <a:gd name="connsiteY45155" fmla="*/ 1769867 h 5973007"/>
              <a:gd name="connsiteX45156" fmla="*/ 1180425 w 6884782"/>
              <a:gd name="connsiteY45156" fmla="*/ 1773121 h 5973007"/>
              <a:gd name="connsiteX45157" fmla="*/ 1178876 w 6884782"/>
              <a:gd name="connsiteY45157" fmla="*/ 1773121 h 5973007"/>
              <a:gd name="connsiteX45158" fmla="*/ 1177740 w 6884782"/>
              <a:gd name="connsiteY45158" fmla="*/ 1771107 h 5973007"/>
              <a:gd name="connsiteX45159" fmla="*/ 1168964 w 6884782"/>
              <a:gd name="connsiteY45159" fmla="*/ 1769867 h 5973007"/>
              <a:gd name="connsiteX45160" fmla="*/ 1176605 w 6884782"/>
              <a:gd name="connsiteY45160" fmla="*/ 1771416 h 5973007"/>
              <a:gd name="connsiteX45161" fmla="*/ 1175366 w 6884782"/>
              <a:gd name="connsiteY45161" fmla="*/ 1778542 h 5973007"/>
              <a:gd name="connsiteX45162" fmla="*/ 1173404 w 6884782"/>
              <a:gd name="connsiteY45162" fmla="*/ 1778542 h 5973007"/>
              <a:gd name="connsiteX45163" fmla="*/ 1171339 w 6884782"/>
              <a:gd name="connsiteY45163" fmla="*/ 1778232 h 5973007"/>
              <a:gd name="connsiteX45164" fmla="*/ 1167828 w 6884782"/>
              <a:gd name="connsiteY45164" fmla="*/ 1775134 h 5973007"/>
              <a:gd name="connsiteX45165" fmla="*/ 1167622 w 6884782"/>
              <a:gd name="connsiteY45165" fmla="*/ 1772656 h 5973007"/>
              <a:gd name="connsiteX45166" fmla="*/ 1168138 w 6884782"/>
              <a:gd name="connsiteY45166" fmla="*/ 1771262 h 5973007"/>
              <a:gd name="connsiteX45167" fmla="*/ 1168964 w 6884782"/>
              <a:gd name="connsiteY45167" fmla="*/ 1769867 h 5973007"/>
              <a:gd name="connsiteX45168" fmla="*/ 6106793 w 6884782"/>
              <a:gd name="connsiteY45168" fmla="*/ 1769825 h 5973007"/>
              <a:gd name="connsiteX45169" fmla="*/ 6109567 w 6884782"/>
              <a:gd name="connsiteY45169" fmla="*/ 1774520 h 5973007"/>
              <a:gd name="connsiteX45170" fmla="*/ 6103164 w 6884782"/>
              <a:gd name="connsiteY45170" fmla="*/ 1777223 h 5973007"/>
              <a:gd name="connsiteX45171" fmla="*/ 6100176 w 6884782"/>
              <a:gd name="connsiteY45171" fmla="*/ 1772670 h 5973007"/>
              <a:gd name="connsiteX45172" fmla="*/ 6106793 w 6884782"/>
              <a:gd name="connsiteY45172" fmla="*/ 1769825 h 5973007"/>
              <a:gd name="connsiteX45173" fmla="*/ 5618702 w 6884782"/>
              <a:gd name="connsiteY45173" fmla="*/ 1769398 h 5973007"/>
              <a:gd name="connsiteX45174" fmla="*/ 5621050 w 6884782"/>
              <a:gd name="connsiteY45174" fmla="*/ 1770963 h 5973007"/>
              <a:gd name="connsiteX45175" fmla="*/ 5615074 w 6884782"/>
              <a:gd name="connsiteY45175" fmla="*/ 1777792 h 5973007"/>
              <a:gd name="connsiteX45176" fmla="*/ 5612726 w 6884782"/>
              <a:gd name="connsiteY45176" fmla="*/ 1776369 h 5973007"/>
              <a:gd name="connsiteX45177" fmla="*/ 5613366 w 6884782"/>
              <a:gd name="connsiteY45177" fmla="*/ 1773097 h 5973007"/>
              <a:gd name="connsiteX45178" fmla="*/ 5618702 w 6884782"/>
              <a:gd name="connsiteY45178" fmla="*/ 1769398 h 5973007"/>
              <a:gd name="connsiteX45179" fmla="*/ 5599921 w 6884782"/>
              <a:gd name="connsiteY45179" fmla="*/ 1769256 h 5973007"/>
              <a:gd name="connsiteX45180" fmla="*/ 5603122 w 6884782"/>
              <a:gd name="connsiteY45180" fmla="*/ 1782060 h 5973007"/>
              <a:gd name="connsiteX45181" fmla="*/ 5602482 w 6884782"/>
              <a:gd name="connsiteY45181" fmla="*/ 1783198 h 5973007"/>
              <a:gd name="connsiteX45182" fmla="*/ 5602482 w 6884782"/>
              <a:gd name="connsiteY45182" fmla="*/ 1786471 h 5973007"/>
              <a:gd name="connsiteX45183" fmla="*/ 5598000 w 6884782"/>
              <a:gd name="connsiteY45183" fmla="*/ 1788320 h 5973007"/>
              <a:gd name="connsiteX45184" fmla="*/ 5592025 w 6884782"/>
              <a:gd name="connsiteY45184" fmla="*/ 1783625 h 5973007"/>
              <a:gd name="connsiteX45185" fmla="*/ 5591597 w 6884782"/>
              <a:gd name="connsiteY45185" fmla="*/ 1778219 h 5973007"/>
              <a:gd name="connsiteX45186" fmla="*/ 5589677 w 6884782"/>
              <a:gd name="connsiteY45186" fmla="*/ 1779784 h 5973007"/>
              <a:gd name="connsiteX45187" fmla="*/ 5584128 w 6884782"/>
              <a:gd name="connsiteY45187" fmla="*/ 1774946 h 5973007"/>
              <a:gd name="connsiteX45188" fmla="*/ 5589037 w 6884782"/>
              <a:gd name="connsiteY45188" fmla="*/ 1773381 h 5973007"/>
              <a:gd name="connsiteX45189" fmla="*/ 5591384 w 6884782"/>
              <a:gd name="connsiteY45189" fmla="*/ 1775516 h 5973007"/>
              <a:gd name="connsiteX45190" fmla="*/ 5591384 w 6884782"/>
              <a:gd name="connsiteY45190" fmla="*/ 1774520 h 5973007"/>
              <a:gd name="connsiteX45191" fmla="*/ 5598000 w 6884782"/>
              <a:gd name="connsiteY45191" fmla="*/ 1772386 h 5973007"/>
              <a:gd name="connsiteX45192" fmla="*/ 4991248 w 6884782"/>
              <a:gd name="connsiteY45192" fmla="*/ 1768971 h 5973007"/>
              <a:gd name="connsiteX45193" fmla="*/ 4995089 w 6884782"/>
              <a:gd name="connsiteY45193" fmla="*/ 1771959 h 5973007"/>
              <a:gd name="connsiteX45194" fmla="*/ 4996583 w 6884782"/>
              <a:gd name="connsiteY45194" fmla="*/ 1775373 h 5973007"/>
              <a:gd name="connsiteX45195" fmla="*/ 4995516 w 6884782"/>
              <a:gd name="connsiteY45195" fmla="*/ 1779215 h 5973007"/>
              <a:gd name="connsiteX45196" fmla="*/ 4993168 w 6884782"/>
              <a:gd name="connsiteY45196" fmla="*/ 1781207 h 5973007"/>
              <a:gd name="connsiteX45197" fmla="*/ 4986339 w 6884782"/>
              <a:gd name="connsiteY45197" fmla="*/ 1780068 h 5973007"/>
              <a:gd name="connsiteX45198" fmla="*/ 4986979 w 6884782"/>
              <a:gd name="connsiteY45198" fmla="*/ 1769541 h 5973007"/>
              <a:gd name="connsiteX45199" fmla="*/ 4991248 w 6884782"/>
              <a:gd name="connsiteY45199" fmla="*/ 1768971 h 5973007"/>
              <a:gd name="connsiteX45200" fmla="*/ 4863623 w 6884782"/>
              <a:gd name="connsiteY45200" fmla="*/ 1768544 h 5973007"/>
              <a:gd name="connsiteX45201" fmla="*/ 4863196 w 6884782"/>
              <a:gd name="connsiteY45201" fmla="*/ 1769967 h 5973007"/>
              <a:gd name="connsiteX45202" fmla="*/ 4863409 w 6884782"/>
              <a:gd name="connsiteY45202" fmla="*/ 1769541 h 5973007"/>
              <a:gd name="connsiteX45203" fmla="*/ 732396 w 6884782"/>
              <a:gd name="connsiteY45203" fmla="*/ 1768474 h 5973007"/>
              <a:gd name="connsiteX45204" fmla="*/ 734152 w 6884782"/>
              <a:gd name="connsiteY45204" fmla="*/ 1772811 h 5973007"/>
              <a:gd name="connsiteX45205" fmla="*/ 731570 w 6884782"/>
              <a:gd name="connsiteY45205" fmla="*/ 1769248 h 5973007"/>
              <a:gd name="connsiteX45206" fmla="*/ 732396 w 6884782"/>
              <a:gd name="connsiteY45206" fmla="*/ 1768474 h 5973007"/>
              <a:gd name="connsiteX45207" fmla="*/ 5578792 w 6884782"/>
              <a:gd name="connsiteY45207" fmla="*/ 1767406 h 5973007"/>
              <a:gd name="connsiteX45208" fmla="*/ 5581994 w 6884782"/>
              <a:gd name="connsiteY45208" fmla="*/ 1769541 h 5973007"/>
              <a:gd name="connsiteX45209" fmla="*/ 5583487 w 6884782"/>
              <a:gd name="connsiteY45209" fmla="*/ 1775516 h 5973007"/>
              <a:gd name="connsiteX45210" fmla="*/ 5573030 w 6884782"/>
              <a:gd name="connsiteY45210" fmla="*/ 1774946 h 5973007"/>
              <a:gd name="connsiteX45211" fmla="*/ 5571749 w 6884782"/>
              <a:gd name="connsiteY45211" fmla="*/ 1771390 h 5973007"/>
              <a:gd name="connsiteX45212" fmla="*/ 5578792 w 6884782"/>
              <a:gd name="connsiteY45212" fmla="*/ 1767406 h 5973007"/>
              <a:gd name="connsiteX45213" fmla="*/ 932300 w 6884782"/>
              <a:gd name="connsiteY45213" fmla="*/ 1767389 h 5973007"/>
              <a:gd name="connsiteX45214" fmla="*/ 933540 w 6884782"/>
              <a:gd name="connsiteY45214" fmla="*/ 1768474 h 5973007"/>
              <a:gd name="connsiteX45215" fmla="*/ 925279 w 6884782"/>
              <a:gd name="connsiteY45215" fmla="*/ 1768009 h 5973007"/>
              <a:gd name="connsiteX45216" fmla="*/ 932300 w 6884782"/>
              <a:gd name="connsiteY45216" fmla="*/ 1767389 h 5973007"/>
              <a:gd name="connsiteX45217" fmla="*/ 1539654 w 6884782"/>
              <a:gd name="connsiteY45217" fmla="*/ 1767079 h 5973007"/>
              <a:gd name="connsiteX45218" fmla="*/ 1541099 w 6884782"/>
              <a:gd name="connsiteY45218" fmla="*/ 1769403 h 5973007"/>
              <a:gd name="connsiteX45219" fmla="*/ 1536763 w 6884782"/>
              <a:gd name="connsiteY45219" fmla="*/ 1770487 h 5973007"/>
              <a:gd name="connsiteX45220" fmla="*/ 1536143 w 6884782"/>
              <a:gd name="connsiteY45220" fmla="*/ 1767854 h 5973007"/>
              <a:gd name="connsiteX45221" fmla="*/ 1539654 w 6884782"/>
              <a:gd name="connsiteY45221" fmla="*/ 1767079 h 5973007"/>
              <a:gd name="connsiteX45222" fmla="*/ 5473149 w 6884782"/>
              <a:gd name="connsiteY45222" fmla="*/ 1765984 h 5973007"/>
              <a:gd name="connsiteX45223" fmla="*/ 5486168 w 6884782"/>
              <a:gd name="connsiteY45223" fmla="*/ 1773524 h 5973007"/>
              <a:gd name="connsiteX45224" fmla="*/ 5487235 w 6884782"/>
              <a:gd name="connsiteY45224" fmla="*/ 1775658 h 5973007"/>
              <a:gd name="connsiteX45225" fmla="*/ 5491931 w 6884782"/>
              <a:gd name="connsiteY45225" fmla="*/ 1773524 h 5973007"/>
              <a:gd name="connsiteX45226" fmla="*/ 5491077 w 6884782"/>
              <a:gd name="connsiteY45226" fmla="*/ 1775231 h 5973007"/>
              <a:gd name="connsiteX45227" fmla="*/ 5488729 w 6884782"/>
              <a:gd name="connsiteY45227" fmla="*/ 1776085 h 5973007"/>
              <a:gd name="connsiteX45228" fmla="*/ 5487662 w 6884782"/>
              <a:gd name="connsiteY45228" fmla="*/ 1776369 h 5973007"/>
              <a:gd name="connsiteX45229" fmla="*/ 5488729 w 6884782"/>
              <a:gd name="connsiteY45229" fmla="*/ 1778788 h 5973007"/>
              <a:gd name="connsiteX45230" fmla="*/ 5480406 w 6884782"/>
              <a:gd name="connsiteY45230" fmla="*/ 1787609 h 5973007"/>
              <a:gd name="connsiteX45231" fmla="*/ 5468454 w 6884782"/>
              <a:gd name="connsiteY45231" fmla="*/ 1766695 h 5973007"/>
              <a:gd name="connsiteX45232" fmla="*/ 5473149 w 6884782"/>
              <a:gd name="connsiteY45232" fmla="*/ 1765984 h 5973007"/>
              <a:gd name="connsiteX45233" fmla="*/ 6046181 w 6884782"/>
              <a:gd name="connsiteY45233" fmla="*/ 1765699 h 5973007"/>
              <a:gd name="connsiteX45234" fmla="*/ 6048102 w 6884782"/>
              <a:gd name="connsiteY45234" fmla="*/ 1768687 h 5973007"/>
              <a:gd name="connsiteX45235" fmla="*/ 6048316 w 6884782"/>
              <a:gd name="connsiteY45235" fmla="*/ 1769256 h 5973007"/>
              <a:gd name="connsiteX45236" fmla="*/ 6050237 w 6884782"/>
              <a:gd name="connsiteY45236" fmla="*/ 1768402 h 5973007"/>
              <a:gd name="connsiteX45237" fmla="*/ 6051517 w 6884782"/>
              <a:gd name="connsiteY45237" fmla="*/ 1770821 h 5973007"/>
              <a:gd name="connsiteX45238" fmla="*/ 6049169 w 6884782"/>
              <a:gd name="connsiteY45238" fmla="*/ 1772670 h 5973007"/>
              <a:gd name="connsiteX45239" fmla="*/ 6049596 w 6884782"/>
              <a:gd name="connsiteY45239" fmla="*/ 1773666 h 5973007"/>
              <a:gd name="connsiteX45240" fmla="*/ 6049169 w 6884782"/>
              <a:gd name="connsiteY45240" fmla="*/ 1777507 h 5973007"/>
              <a:gd name="connsiteX45241" fmla="*/ 6049596 w 6884782"/>
              <a:gd name="connsiteY45241" fmla="*/ 1777792 h 5973007"/>
              <a:gd name="connsiteX45242" fmla="*/ 6050023 w 6884782"/>
              <a:gd name="connsiteY45242" fmla="*/ 1789743 h 5973007"/>
              <a:gd name="connsiteX45243" fmla="*/ 6037431 w 6884782"/>
              <a:gd name="connsiteY45243" fmla="*/ 1792730 h 5973007"/>
              <a:gd name="connsiteX45244" fmla="*/ 6031455 w 6884782"/>
              <a:gd name="connsiteY45244" fmla="*/ 1789031 h 5973007"/>
              <a:gd name="connsiteX45245" fmla="*/ 6030602 w 6884782"/>
              <a:gd name="connsiteY45245" fmla="*/ 1785617 h 5973007"/>
              <a:gd name="connsiteX45246" fmla="*/ 6023986 w 6884782"/>
              <a:gd name="connsiteY45246" fmla="*/ 1783056 h 5973007"/>
              <a:gd name="connsiteX45247" fmla="*/ 6020784 w 6884782"/>
              <a:gd name="connsiteY45247" fmla="*/ 1776085 h 5973007"/>
              <a:gd name="connsiteX45248" fmla="*/ 6023986 w 6884782"/>
              <a:gd name="connsiteY45248" fmla="*/ 1774662 h 5973007"/>
              <a:gd name="connsiteX45249" fmla="*/ 6030815 w 6884782"/>
              <a:gd name="connsiteY45249" fmla="*/ 1777650 h 5973007"/>
              <a:gd name="connsiteX45250" fmla="*/ 6031882 w 6884782"/>
              <a:gd name="connsiteY45250" fmla="*/ 1774662 h 5973007"/>
              <a:gd name="connsiteX45251" fmla="*/ 6036151 w 6884782"/>
              <a:gd name="connsiteY45251" fmla="*/ 1771674 h 5973007"/>
              <a:gd name="connsiteX45252" fmla="*/ 6037858 w 6884782"/>
              <a:gd name="connsiteY45252" fmla="*/ 1771674 h 5973007"/>
              <a:gd name="connsiteX45253" fmla="*/ 6037645 w 6884782"/>
              <a:gd name="connsiteY45253" fmla="*/ 1770251 h 5973007"/>
              <a:gd name="connsiteX45254" fmla="*/ 6041059 w 6884782"/>
              <a:gd name="connsiteY45254" fmla="*/ 1768544 h 5973007"/>
              <a:gd name="connsiteX45255" fmla="*/ 6042553 w 6884782"/>
              <a:gd name="connsiteY45255" fmla="*/ 1766268 h 5973007"/>
              <a:gd name="connsiteX45256" fmla="*/ 6046181 w 6884782"/>
              <a:gd name="connsiteY45256" fmla="*/ 1765699 h 5973007"/>
              <a:gd name="connsiteX45257" fmla="*/ 3760243 w 6884782"/>
              <a:gd name="connsiteY45257" fmla="*/ 1765272 h 5973007"/>
              <a:gd name="connsiteX45258" fmla="*/ 3766645 w 6884782"/>
              <a:gd name="connsiteY45258" fmla="*/ 1793726 h 5973007"/>
              <a:gd name="connsiteX45259" fmla="*/ 3743809 w 6884782"/>
              <a:gd name="connsiteY45259" fmla="*/ 1769825 h 5973007"/>
              <a:gd name="connsiteX45260" fmla="*/ 3760243 w 6884782"/>
              <a:gd name="connsiteY45260" fmla="*/ 1765272 h 5973007"/>
              <a:gd name="connsiteX45261" fmla="*/ 3720973 w 6884782"/>
              <a:gd name="connsiteY45261" fmla="*/ 1764277 h 5973007"/>
              <a:gd name="connsiteX45262" fmla="*/ 3721187 w 6884782"/>
              <a:gd name="connsiteY45262" fmla="*/ 1766126 h 5973007"/>
              <a:gd name="connsiteX45263" fmla="*/ 3719479 w 6884782"/>
              <a:gd name="connsiteY45263" fmla="*/ 1767691 h 5973007"/>
              <a:gd name="connsiteX45264" fmla="*/ 3715851 w 6884782"/>
              <a:gd name="connsiteY45264" fmla="*/ 1770678 h 5973007"/>
              <a:gd name="connsiteX45265" fmla="*/ 3720973 w 6884782"/>
              <a:gd name="connsiteY45265" fmla="*/ 1764277 h 5973007"/>
              <a:gd name="connsiteX45266" fmla="*/ 4805146 w 6884782"/>
              <a:gd name="connsiteY45266" fmla="*/ 1764134 h 5973007"/>
              <a:gd name="connsiteX45267" fmla="*/ 4809201 w 6884782"/>
              <a:gd name="connsiteY45267" fmla="*/ 1764134 h 5973007"/>
              <a:gd name="connsiteX45268" fmla="*/ 4819658 w 6884782"/>
              <a:gd name="connsiteY45268" fmla="*/ 1774235 h 5973007"/>
              <a:gd name="connsiteX45269" fmla="*/ 4820939 w 6884782"/>
              <a:gd name="connsiteY45269" fmla="*/ 1777650 h 5973007"/>
              <a:gd name="connsiteX45270" fmla="*/ 4824140 w 6884782"/>
              <a:gd name="connsiteY45270" fmla="*/ 1782060 h 5973007"/>
              <a:gd name="connsiteX45271" fmla="*/ 4819658 w 6884782"/>
              <a:gd name="connsiteY45271" fmla="*/ 1786471 h 5973007"/>
              <a:gd name="connsiteX45272" fmla="*/ 4819872 w 6884782"/>
              <a:gd name="connsiteY45272" fmla="*/ 1786755 h 5973007"/>
              <a:gd name="connsiteX45273" fmla="*/ 4819018 w 6884782"/>
              <a:gd name="connsiteY45273" fmla="*/ 1787324 h 5973007"/>
              <a:gd name="connsiteX45274" fmla="*/ 4817524 w 6884782"/>
              <a:gd name="connsiteY45274" fmla="*/ 1789031 h 5973007"/>
              <a:gd name="connsiteX45275" fmla="*/ 4813042 w 6884782"/>
              <a:gd name="connsiteY45275" fmla="*/ 1791592 h 5973007"/>
              <a:gd name="connsiteX45276" fmla="*/ 4805999 w 6884782"/>
              <a:gd name="connsiteY45276" fmla="*/ 1793441 h 5973007"/>
              <a:gd name="connsiteX45277" fmla="*/ 4803225 w 6884782"/>
              <a:gd name="connsiteY45277" fmla="*/ 1792730 h 5973007"/>
              <a:gd name="connsiteX45278" fmla="*/ 4803651 w 6884782"/>
              <a:gd name="connsiteY45278" fmla="*/ 1796856 h 5973007"/>
              <a:gd name="connsiteX45279" fmla="*/ 4802158 w 6884782"/>
              <a:gd name="connsiteY45279" fmla="*/ 1802974 h 5973007"/>
              <a:gd name="connsiteX45280" fmla="*/ 4790847 w 6884782"/>
              <a:gd name="connsiteY45280" fmla="*/ 1804396 h 5973007"/>
              <a:gd name="connsiteX45281" fmla="*/ 4788712 w 6884782"/>
              <a:gd name="connsiteY45281" fmla="*/ 1784479 h 5973007"/>
              <a:gd name="connsiteX45282" fmla="*/ 4790633 w 6884782"/>
              <a:gd name="connsiteY45282" fmla="*/ 1783056 h 5973007"/>
              <a:gd name="connsiteX45283" fmla="*/ 4781456 w 6884782"/>
              <a:gd name="connsiteY45283" fmla="*/ 1781207 h 5973007"/>
              <a:gd name="connsiteX45284" fmla="*/ 4755632 w 6884782"/>
              <a:gd name="connsiteY45284" fmla="*/ 1777650 h 5973007"/>
              <a:gd name="connsiteX45285" fmla="*/ 4782523 w 6884782"/>
              <a:gd name="connsiteY45285" fmla="*/ 1768971 h 5973007"/>
              <a:gd name="connsiteX45286" fmla="*/ 4788285 w 6884782"/>
              <a:gd name="connsiteY45286" fmla="*/ 1772528 h 5973007"/>
              <a:gd name="connsiteX45287" fmla="*/ 4791060 w 6884782"/>
              <a:gd name="connsiteY45287" fmla="*/ 1782629 h 5973007"/>
              <a:gd name="connsiteX45288" fmla="*/ 4793407 w 6884782"/>
              <a:gd name="connsiteY45288" fmla="*/ 1780922 h 5973007"/>
              <a:gd name="connsiteX45289" fmla="*/ 4793194 w 6884782"/>
              <a:gd name="connsiteY45289" fmla="*/ 1779926 h 5973007"/>
              <a:gd name="connsiteX45290" fmla="*/ 4794261 w 6884782"/>
              <a:gd name="connsiteY45290" fmla="*/ 1770821 h 5973007"/>
              <a:gd name="connsiteX45291" fmla="*/ 4800023 w 6884782"/>
              <a:gd name="connsiteY45291" fmla="*/ 1765699 h 5973007"/>
              <a:gd name="connsiteX45292" fmla="*/ 4805146 w 6884782"/>
              <a:gd name="connsiteY45292" fmla="*/ 1764134 h 5973007"/>
              <a:gd name="connsiteX45293" fmla="*/ 6063255 w 6884782"/>
              <a:gd name="connsiteY45293" fmla="*/ 1763850 h 5973007"/>
              <a:gd name="connsiteX45294" fmla="*/ 6076487 w 6884782"/>
              <a:gd name="connsiteY45294" fmla="*/ 1770536 h 5973007"/>
              <a:gd name="connsiteX45295" fmla="*/ 6059840 w 6884782"/>
              <a:gd name="connsiteY45295" fmla="*/ 1764419 h 5973007"/>
              <a:gd name="connsiteX45296" fmla="*/ 6063255 w 6884782"/>
              <a:gd name="connsiteY45296" fmla="*/ 1763850 h 5973007"/>
              <a:gd name="connsiteX45297" fmla="*/ 5396318 w 6884782"/>
              <a:gd name="connsiteY45297" fmla="*/ 1763850 h 5973007"/>
              <a:gd name="connsiteX45298" fmla="*/ 5399733 w 6884782"/>
              <a:gd name="connsiteY45298" fmla="*/ 1765984 h 5973007"/>
              <a:gd name="connsiteX45299" fmla="*/ 5398239 w 6884782"/>
              <a:gd name="connsiteY45299" fmla="*/ 1772955 h 5973007"/>
              <a:gd name="connsiteX45300" fmla="*/ 5392264 w 6884782"/>
              <a:gd name="connsiteY45300" fmla="*/ 1766410 h 5973007"/>
              <a:gd name="connsiteX45301" fmla="*/ 5396318 w 6884782"/>
              <a:gd name="connsiteY45301" fmla="*/ 1763850 h 5973007"/>
              <a:gd name="connsiteX45302" fmla="*/ 5352781 w 6884782"/>
              <a:gd name="connsiteY45302" fmla="*/ 1763707 h 5973007"/>
              <a:gd name="connsiteX45303" fmla="*/ 5342537 w 6884782"/>
              <a:gd name="connsiteY45303" fmla="*/ 1774235 h 5973007"/>
              <a:gd name="connsiteX45304" fmla="*/ 5328664 w 6884782"/>
              <a:gd name="connsiteY45304" fmla="*/ 1777365 h 5973007"/>
              <a:gd name="connsiteX45305" fmla="*/ 5352781 w 6884782"/>
              <a:gd name="connsiteY45305" fmla="*/ 1763707 h 5973007"/>
              <a:gd name="connsiteX45306" fmla="*/ 5280431 w 6884782"/>
              <a:gd name="connsiteY45306" fmla="*/ 1762569 h 5973007"/>
              <a:gd name="connsiteX45307" fmla="*/ 5294730 w 6884782"/>
              <a:gd name="connsiteY45307" fmla="*/ 1773524 h 5973007"/>
              <a:gd name="connsiteX45308" fmla="*/ 5299639 w 6884782"/>
              <a:gd name="connsiteY45308" fmla="*/ 1778788 h 5973007"/>
              <a:gd name="connsiteX45309" fmla="*/ 5302200 w 6884782"/>
              <a:gd name="connsiteY45309" fmla="*/ 1777080 h 5973007"/>
              <a:gd name="connsiteX45310" fmla="*/ 5304334 w 6884782"/>
              <a:gd name="connsiteY45310" fmla="*/ 1778503 h 5973007"/>
              <a:gd name="connsiteX45311" fmla="*/ 5306255 w 6884782"/>
              <a:gd name="connsiteY45311" fmla="*/ 1780637 h 5973007"/>
              <a:gd name="connsiteX45312" fmla="*/ 5307322 w 6884782"/>
              <a:gd name="connsiteY45312" fmla="*/ 1783340 h 5973007"/>
              <a:gd name="connsiteX45313" fmla="*/ 5307322 w 6884782"/>
              <a:gd name="connsiteY45313" fmla="*/ 1787182 h 5973007"/>
              <a:gd name="connsiteX45314" fmla="*/ 5304334 w 6884782"/>
              <a:gd name="connsiteY45314" fmla="*/ 1791876 h 5973007"/>
              <a:gd name="connsiteX45315" fmla="*/ 5302200 w 6884782"/>
              <a:gd name="connsiteY45315" fmla="*/ 1793015 h 5973007"/>
              <a:gd name="connsiteX45316" fmla="*/ 5297078 w 6884782"/>
              <a:gd name="connsiteY45316" fmla="*/ 1790454 h 5973007"/>
              <a:gd name="connsiteX45317" fmla="*/ 5296438 w 6884782"/>
              <a:gd name="connsiteY45317" fmla="*/ 1788320 h 5973007"/>
              <a:gd name="connsiteX45318" fmla="*/ 5291956 w 6884782"/>
              <a:gd name="connsiteY45318" fmla="*/ 1784336 h 5973007"/>
              <a:gd name="connsiteX45319" fmla="*/ 5289608 w 6884782"/>
              <a:gd name="connsiteY45319" fmla="*/ 1783625 h 5973007"/>
              <a:gd name="connsiteX45320" fmla="*/ 5290035 w 6884782"/>
              <a:gd name="connsiteY45320" fmla="*/ 1782629 h 5973007"/>
              <a:gd name="connsiteX45321" fmla="*/ 5288755 w 6884782"/>
              <a:gd name="connsiteY45321" fmla="*/ 1781349 h 5973007"/>
              <a:gd name="connsiteX45322" fmla="*/ 5285340 w 6884782"/>
              <a:gd name="connsiteY45322" fmla="*/ 1775373 h 5973007"/>
              <a:gd name="connsiteX45323" fmla="*/ 5281499 w 6884782"/>
              <a:gd name="connsiteY45323" fmla="*/ 1776369 h 5973007"/>
              <a:gd name="connsiteX45324" fmla="*/ 5279364 w 6884782"/>
              <a:gd name="connsiteY45324" fmla="*/ 1775089 h 5973007"/>
              <a:gd name="connsiteX45325" fmla="*/ 5280431 w 6884782"/>
              <a:gd name="connsiteY45325" fmla="*/ 1771817 h 5973007"/>
              <a:gd name="connsiteX45326" fmla="*/ 5282566 w 6884782"/>
              <a:gd name="connsiteY45326" fmla="*/ 1769825 h 5973007"/>
              <a:gd name="connsiteX45327" fmla="*/ 5972765 w 6884782"/>
              <a:gd name="connsiteY45327" fmla="*/ 1762427 h 5973007"/>
              <a:gd name="connsiteX45328" fmla="*/ 5973619 w 6884782"/>
              <a:gd name="connsiteY45328" fmla="*/ 1768260 h 5973007"/>
              <a:gd name="connsiteX45329" fmla="*/ 5964655 w 6884782"/>
              <a:gd name="connsiteY45329" fmla="*/ 1771106 h 5973007"/>
              <a:gd name="connsiteX45330" fmla="*/ 5959106 w 6884782"/>
              <a:gd name="connsiteY45330" fmla="*/ 1773808 h 5973007"/>
              <a:gd name="connsiteX45331" fmla="*/ 5965296 w 6884782"/>
              <a:gd name="connsiteY45331" fmla="*/ 1768687 h 5973007"/>
              <a:gd name="connsiteX45332" fmla="*/ 5966149 w 6884782"/>
              <a:gd name="connsiteY45332" fmla="*/ 1765130 h 5973007"/>
              <a:gd name="connsiteX45333" fmla="*/ 5972765 w 6884782"/>
              <a:gd name="connsiteY45333" fmla="*/ 1762427 h 5973007"/>
              <a:gd name="connsiteX45334" fmla="*/ 4865330 w 6884782"/>
              <a:gd name="connsiteY45334" fmla="*/ 1762427 h 5973007"/>
              <a:gd name="connsiteX45335" fmla="*/ 4867464 w 6884782"/>
              <a:gd name="connsiteY45335" fmla="*/ 1764134 h 5973007"/>
              <a:gd name="connsiteX45336" fmla="*/ 4867464 w 6884782"/>
              <a:gd name="connsiteY45336" fmla="*/ 1765984 h 5973007"/>
              <a:gd name="connsiteX45337" fmla="*/ 4871519 w 6884782"/>
              <a:gd name="connsiteY45337" fmla="*/ 1763707 h 5973007"/>
              <a:gd name="connsiteX45338" fmla="*/ 4882190 w 6884782"/>
              <a:gd name="connsiteY45338" fmla="*/ 1771959 h 5973007"/>
              <a:gd name="connsiteX45339" fmla="*/ 4876428 w 6884782"/>
              <a:gd name="connsiteY45339" fmla="*/ 1784763 h 5973007"/>
              <a:gd name="connsiteX45340" fmla="*/ 4876855 w 6884782"/>
              <a:gd name="connsiteY45340" fmla="*/ 1785759 h 5973007"/>
              <a:gd name="connsiteX45341" fmla="*/ 4877922 w 6884782"/>
              <a:gd name="connsiteY45341" fmla="*/ 1784763 h 5973007"/>
              <a:gd name="connsiteX45342" fmla="*/ 4878989 w 6884782"/>
              <a:gd name="connsiteY45342" fmla="*/ 1783767 h 5973007"/>
              <a:gd name="connsiteX45343" fmla="*/ 4881550 w 6884782"/>
              <a:gd name="connsiteY45343" fmla="*/ 1783482 h 5973007"/>
              <a:gd name="connsiteX45344" fmla="*/ 4888806 w 6884782"/>
              <a:gd name="connsiteY45344" fmla="*/ 1787039 h 5973007"/>
              <a:gd name="connsiteX45345" fmla="*/ 4872373 w 6884782"/>
              <a:gd name="connsiteY45345" fmla="*/ 1795575 h 5973007"/>
              <a:gd name="connsiteX45346" fmla="*/ 4868318 w 6884782"/>
              <a:gd name="connsiteY45346" fmla="*/ 1795860 h 5973007"/>
              <a:gd name="connsiteX45347" fmla="*/ 4866824 w 6884782"/>
              <a:gd name="connsiteY45347" fmla="*/ 1799417 h 5973007"/>
              <a:gd name="connsiteX45348" fmla="*/ 4861488 w 6884782"/>
              <a:gd name="connsiteY45348" fmla="*/ 1796856 h 5973007"/>
              <a:gd name="connsiteX45349" fmla="*/ 4862342 w 6884782"/>
              <a:gd name="connsiteY45349" fmla="*/ 1793726 h 5973007"/>
              <a:gd name="connsiteX45350" fmla="*/ 4860208 w 6884782"/>
              <a:gd name="connsiteY45350" fmla="*/ 1794011 h 5973007"/>
              <a:gd name="connsiteX45351" fmla="*/ 4862129 w 6884782"/>
              <a:gd name="connsiteY45351" fmla="*/ 1787466 h 5973007"/>
              <a:gd name="connsiteX45352" fmla="*/ 4862129 w 6884782"/>
              <a:gd name="connsiteY45352" fmla="*/ 1784763 h 5973007"/>
              <a:gd name="connsiteX45353" fmla="*/ 4864263 w 6884782"/>
              <a:gd name="connsiteY45353" fmla="*/ 1786186 h 5973007"/>
              <a:gd name="connsiteX45354" fmla="*/ 4862129 w 6884782"/>
              <a:gd name="connsiteY45354" fmla="*/ 1790169 h 5973007"/>
              <a:gd name="connsiteX45355" fmla="*/ 4864263 w 6884782"/>
              <a:gd name="connsiteY45355" fmla="*/ 1791592 h 5973007"/>
              <a:gd name="connsiteX45356" fmla="*/ 4863836 w 6884782"/>
              <a:gd name="connsiteY45356" fmla="*/ 1793299 h 5973007"/>
              <a:gd name="connsiteX45357" fmla="*/ 4863623 w 6884782"/>
              <a:gd name="connsiteY45357" fmla="*/ 1793441 h 5973007"/>
              <a:gd name="connsiteX45358" fmla="*/ 4863836 w 6884782"/>
              <a:gd name="connsiteY45358" fmla="*/ 1793726 h 5973007"/>
              <a:gd name="connsiteX45359" fmla="*/ 4863836 w 6884782"/>
              <a:gd name="connsiteY45359" fmla="*/ 1793299 h 5973007"/>
              <a:gd name="connsiteX45360" fmla="*/ 4874080 w 6884782"/>
              <a:gd name="connsiteY45360" fmla="*/ 1787609 h 5973007"/>
              <a:gd name="connsiteX45361" fmla="*/ 4874294 w 6884782"/>
              <a:gd name="connsiteY45361" fmla="*/ 1786186 h 5973007"/>
              <a:gd name="connsiteX45362" fmla="*/ 4873227 w 6884782"/>
              <a:gd name="connsiteY45362" fmla="*/ 1785617 h 5973007"/>
              <a:gd name="connsiteX45363" fmla="*/ 4870025 w 6884782"/>
              <a:gd name="connsiteY45363" fmla="*/ 1786471 h 5973007"/>
              <a:gd name="connsiteX45364" fmla="*/ 4860848 w 6884782"/>
              <a:gd name="connsiteY45364" fmla="*/ 1780495 h 5973007"/>
              <a:gd name="connsiteX45365" fmla="*/ 4861702 w 6884782"/>
              <a:gd name="connsiteY45365" fmla="*/ 1776938 h 5973007"/>
              <a:gd name="connsiteX45366" fmla="*/ 4862342 w 6884782"/>
              <a:gd name="connsiteY45366" fmla="*/ 1773381 h 5973007"/>
              <a:gd name="connsiteX45367" fmla="*/ 4861915 w 6884782"/>
              <a:gd name="connsiteY45367" fmla="*/ 1774946 h 5973007"/>
              <a:gd name="connsiteX45368" fmla="*/ 4856793 w 6884782"/>
              <a:gd name="connsiteY45368" fmla="*/ 1777080 h 5973007"/>
              <a:gd name="connsiteX45369" fmla="*/ 4858928 w 6884782"/>
              <a:gd name="connsiteY45369" fmla="*/ 1767976 h 5973007"/>
              <a:gd name="connsiteX45370" fmla="*/ 4863623 w 6884782"/>
              <a:gd name="connsiteY45370" fmla="*/ 1768260 h 5973007"/>
              <a:gd name="connsiteX45371" fmla="*/ 4863623 w 6884782"/>
              <a:gd name="connsiteY45371" fmla="*/ 1768118 h 5973007"/>
              <a:gd name="connsiteX45372" fmla="*/ 4864263 w 6884782"/>
              <a:gd name="connsiteY45372" fmla="*/ 1762996 h 5973007"/>
              <a:gd name="connsiteX45373" fmla="*/ 4865330 w 6884782"/>
              <a:gd name="connsiteY45373" fmla="*/ 1762427 h 5973007"/>
              <a:gd name="connsiteX45374" fmla="*/ 4905666 w 6884782"/>
              <a:gd name="connsiteY45374" fmla="*/ 1761715 h 5973007"/>
              <a:gd name="connsiteX45375" fmla="*/ 4910361 w 6884782"/>
              <a:gd name="connsiteY45375" fmla="*/ 1762000 h 5973007"/>
              <a:gd name="connsiteX45376" fmla="*/ 4911428 w 6884782"/>
              <a:gd name="connsiteY45376" fmla="*/ 1764845 h 5973007"/>
              <a:gd name="connsiteX45377" fmla="*/ 4907800 w 6884782"/>
              <a:gd name="connsiteY45377" fmla="*/ 1771248 h 5973007"/>
              <a:gd name="connsiteX45378" fmla="*/ 4916337 w 6884782"/>
              <a:gd name="connsiteY45378" fmla="*/ 1790312 h 5973007"/>
              <a:gd name="connsiteX45379" fmla="*/ 4905453 w 6884782"/>
              <a:gd name="connsiteY45379" fmla="*/ 1795575 h 5973007"/>
              <a:gd name="connsiteX45380" fmla="*/ 4890941 w 6884782"/>
              <a:gd name="connsiteY45380" fmla="*/ 1780353 h 5973007"/>
              <a:gd name="connsiteX45381" fmla="*/ 4892007 w 6884782"/>
              <a:gd name="connsiteY45381" fmla="*/ 1779784 h 5973007"/>
              <a:gd name="connsiteX45382" fmla="*/ 4886672 w 6884782"/>
              <a:gd name="connsiteY45382" fmla="*/ 1774804 h 5973007"/>
              <a:gd name="connsiteX45383" fmla="*/ 4900757 w 6884782"/>
              <a:gd name="connsiteY45383" fmla="*/ 1763707 h 5973007"/>
              <a:gd name="connsiteX45384" fmla="*/ 4903319 w 6884782"/>
              <a:gd name="connsiteY45384" fmla="*/ 1762996 h 5973007"/>
              <a:gd name="connsiteX45385" fmla="*/ 4902678 w 6884782"/>
              <a:gd name="connsiteY45385" fmla="*/ 1762000 h 5973007"/>
              <a:gd name="connsiteX45386" fmla="*/ 4904386 w 6884782"/>
              <a:gd name="connsiteY45386" fmla="*/ 1762427 h 5973007"/>
              <a:gd name="connsiteX45387" fmla="*/ 4904599 w 6884782"/>
              <a:gd name="connsiteY45387" fmla="*/ 1762285 h 5973007"/>
              <a:gd name="connsiteX45388" fmla="*/ 4905666 w 6884782"/>
              <a:gd name="connsiteY45388" fmla="*/ 1761715 h 5973007"/>
              <a:gd name="connsiteX45389" fmla="*/ 1503824 w 6884782"/>
              <a:gd name="connsiteY45389" fmla="*/ 1761193 h 5973007"/>
              <a:gd name="connsiteX45390" fmla="*/ 1507851 w 6884782"/>
              <a:gd name="connsiteY45390" fmla="*/ 1762588 h 5973007"/>
              <a:gd name="connsiteX45391" fmla="*/ 1504857 w 6884782"/>
              <a:gd name="connsiteY45391" fmla="*/ 1766614 h 5973007"/>
              <a:gd name="connsiteX45392" fmla="*/ 1502585 w 6884782"/>
              <a:gd name="connsiteY45392" fmla="*/ 1764136 h 5973007"/>
              <a:gd name="connsiteX45393" fmla="*/ 1503824 w 6884782"/>
              <a:gd name="connsiteY45393" fmla="*/ 1761193 h 5973007"/>
              <a:gd name="connsiteX45394" fmla="*/ 4708680 w 6884782"/>
              <a:gd name="connsiteY45394" fmla="*/ 1760293 h 5973007"/>
              <a:gd name="connsiteX45395" fmla="*/ 4710174 w 6884782"/>
              <a:gd name="connsiteY45395" fmla="*/ 1768544 h 5973007"/>
              <a:gd name="connsiteX45396" fmla="*/ 4707186 w 6884782"/>
              <a:gd name="connsiteY45396" fmla="*/ 1778930 h 5973007"/>
              <a:gd name="connsiteX45397" fmla="*/ 4705905 w 6884782"/>
              <a:gd name="connsiteY45397" fmla="*/ 1777650 h 5973007"/>
              <a:gd name="connsiteX45398" fmla="*/ 4708680 w 6884782"/>
              <a:gd name="connsiteY45398" fmla="*/ 1760293 h 5973007"/>
              <a:gd name="connsiteX45399" fmla="*/ 1394166 w 6884782"/>
              <a:gd name="connsiteY45399" fmla="*/ 1760109 h 5973007"/>
              <a:gd name="connsiteX45400" fmla="*/ 1398296 w 6884782"/>
              <a:gd name="connsiteY45400" fmla="*/ 1761658 h 5973007"/>
              <a:gd name="connsiteX45401" fmla="*/ 1400464 w 6884782"/>
              <a:gd name="connsiteY45401" fmla="*/ 1762742 h 5973007"/>
              <a:gd name="connsiteX45402" fmla="*/ 1402426 w 6884782"/>
              <a:gd name="connsiteY45402" fmla="*/ 1763207 h 5973007"/>
              <a:gd name="connsiteX45403" fmla="*/ 1405214 w 6884782"/>
              <a:gd name="connsiteY45403" fmla="*/ 1765840 h 5973007"/>
              <a:gd name="connsiteX45404" fmla="*/ 1403252 w 6884782"/>
              <a:gd name="connsiteY45404" fmla="*/ 1765530 h 5973007"/>
              <a:gd name="connsiteX45405" fmla="*/ 1401084 w 6884782"/>
              <a:gd name="connsiteY45405" fmla="*/ 1764291 h 5973007"/>
              <a:gd name="connsiteX45406" fmla="*/ 1399432 w 6884782"/>
              <a:gd name="connsiteY45406" fmla="*/ 1764756 h 5973007"/>
              <a:gd name="connsiteX45407" fmla="*/ 1394166 w 6884782"/>
              <a:gd name="connsiteY45407" fmla="*/ 1760109 h 5973007"/>
              <a:gd name="connsiteX45408" fmla="*/ 4714442 w 6884782"/>
              <a:gd name="connsiteY45408" fmla="*/ 1759155 h 5973007"/>
              <a:gd name="connsiteX45409" fmla="*/ 4717003 w 6884782"/>
              <a:gd name="connsiteY45409" fmla="*/ 1762854 h 5973007"/>
              <a:gd name="connsiteX45410" fmla="*/ 4719138 w 6884782"/>
              <a:gd name="connsiteY45410" fmla="*/ 1761715 h 5973007"/>
              <a:gd name="connsiteX45411" fmla="*/ 4720418 w 6884782"/>
              <a:gd name="connsiteY45411" fmla="*/ 1762996 h 5973007"/>
              <a:gd name="connsiteX45412" fmla="*/ 4719351 w 6884782"/>
              <a:gd name="connsiteY45412" fmla="*/ 1766410 h 5973007"/>
              <a:gd name="connsiteX45413" fmla="*/ 4714655 w 6884782"/>
              <a:gd name="connsiteY45413" fmla="*/ 1761431 h 5973007"/>
              <a:gd name="connsiteX45414" fmla="*/ 4712308 w 6884782"/>
              <a:gd name="connsiteY45414" fmla="*/ 1760293 h 5973007"/>
              <a:gd name="connsiteX45415" fmla="*/ 4714442 w 6884782"/>
              <a:gd name="connsiteY45415" fmla="*/ 1759155 h 5973007"/>
              <a:gd name="connsiteX45416" fmla="*/ 1379039 w 6884782"/>
              <a:gd name="connsiteY45416" fmla="*/ 1759121 h 5973007"/>
              <a:gd name="connsiteX45417" fmla="*/ 1388487 w 6884782"/>
              <a:gd name="connsiteY45417" fmla="*/ 1759180 h 5973007"/>
              <a:gd name="connsiteX45418" fmla="*/ 1389003 w 6884782"/>
              <a:gd name="connsiteY45418" fmla="*/ 1762278 h 5973007"/>
              <a:gd name="connsiteX45419" fmla="*/ 1374134 w 6884782"/>
              <a:gd name="connsiteY45419" fmla="*/ 1770642 h 5973007"/>
              <a:gd name="connsiteX45420" fmla="*/ 1372689 w 6884782"/>
              <a:gd name="connsiteY45420" fmla="*/ 1768474 h 5973007"/>
              <a:gd name="connsiteX45421" fmla="*/ 1379039 w 6884782"/>
              <a:gd name="connsiteY45421" fmla="*/ 1759121 h 5973007"/>
              <a:gd name="connsiteX45422" fmla="*/ 1669860 w 6884782"/>
              <a:gd name="connsiteY45422" fmla="*/ 1758715 h 5973007"/>
              <a:gd name="connsiteX45423" fmla="*/ 1675642 w 6884782"/>
              <a:gd name="connsiteY45423" fmla="*/ 1760729 h 5973007"/>
              <a:gd name="connsiteX45424" fmla="*/ 1678430 w 6884782"/>
              <a:gd name="connsiteY45424" fmla="*/ 1763207 h 5973007"/>
              <a:gd name="connsiteX45425" fmla="*/ 1679669 w 6884782"/>
              <a:gd name="connsiteY45425" fmla="*/ 1766614 h 5973007"/>
              <a:gd name="connsiteX45426" fmla="*/ 1681631 w 6884782"/>
              <a:gd name="connsiteY45426" fmla="*/ 1772346 h 5973007"/>
              <a:gd name="connsiteX45427" fmla="*/ 1677914 w 6884782"/>
              <a:gd name="connsiteY45427" fmla="*/ 1774205 h 5973007"/>
              <a:gd name="connsiteX45428" fmla="*/ 1667692 w 6884782"/>
              <a:gd name="connsiteY45428" fmla="*/ 1761038 h 5973007"/>
              <a:gd name="connsiteX45429" fmla="*/ 1669860 w 6884782"/>
              <a:gd name="connsiteY45429" fmla="*/ 1758715 h 5973007"/>
              <a:gd name="connsiteX45430" fmla="*/ 1142221 w 6884782"/>
              <a:gd name="connsiteY45430" fmla="*/ 1758560 h 5973007"/>
              <a:gd name="connsiteX45431" fmla="*/ 1150481 w 6884782"/>
              <a:gd name="connsiteY45431" fmla="*/ 1762433 h 5973007"/>
              <a:gd name="connsiteX45432" fmla="*/ 1151720 w 6884782"/>
              <a:gd name="connsiteY45432" fmla="*/ 1760884 h 5973007"/>
              <a:gd name="connsiteX45433" fmla="*/ 1156883 w 6884782"/>
              <a:gd name="connsiteY45433" fmla="*/ 1759180 h 5973007"/>
              <a:gd name="connsiteX45434" fmla="*/ 1162356 w 6884782"/>
              <a:gd name="connsiteY45434" fmla="*/ 1759954 h 5973007"/>
              <a:gd name="connsiteX45435" fmla="*/ 1158948 w 6884782"/>
              <a:gd name="connsiteY45435" fmla="*/ 1764601 h 5973007"/>
              <a:gd name="connsiteX45436" fmla="*/ 1155025 w 6884782"/>
              <a:gd name="connsiteY45436" fmla="*/ 1764446 h 5973007"/>
              <a:gd name="connsiteX45437" fmla="*/ 1159051 w 6884782"/>
              <a:gd name="connsiteY45437" fmla="*/ 1766305 h 5973007"/>
              <a:gd name="connsiteX45438" fmla="*/ 1159671 w 6884782"/>
              <a:gd name="connsiteY45438" fmla="*/ 1779626 h 5973007"/>
              <a:gd name="connsiteX45439" fmla="*/ 1142221 w 6884782"/>
              <a:gd name="connsiteY45439" fmla="*/ 1758560 h 5973007"/>
              <a:gd name="connsiteX45440" fmla="*/ 901117 w 6884782"/>
              <a:gd name="connsiteY45440" fmla="*/ 1758560 h 5973007"/>
              <a:gd name="connsiteX45441" fmla="*/ 906590 w 6884782"/>
              <a:gd name="connsiteY45441" fmla="*/ 1759334 h 5973007"/>
              <a:gd name="connsiteX45442" fmla="*/ 907622 w 6884782"/>
              <a:gd name="connsiteY45442" fmla="*/ 1761658 h 5973007"/>
              <a:gd name="connsiteX45443" fmla="*/ 904938 w 6884782"/>
              <a:gd name="connsiteY45443" fmla="*/ 1761968 h 5973007"/>
              <a:gd name="connsiteX45444" fmla="*/ 903905 w 6884782"/>
              <a:gd name="connsiteY45444" fmla="*/ 1760419 h 5973007"/>
              <a:gd name="connsiteX45445" fmla="*/ 901117 w 6884782"/>
              <a:gd name="connsiteY45445" fmla="*/ 1760109 h 5973007"/>
              <a:gd name="connsiteX45446" fmla="*/ 901117 w 6884782"/>
              <a:gd name="connsiteY45446" fmla="*/ 1758560 h 5973007"/>
              <a:gd name="connsiteX45447" fmla="*/ 3964699 w 6884782"/>
              <a:gd name="connsiteY45447" fmla="*/ 1758443 h 5973007"/>
              <a:gd name="connsiteX45448" fmla="*/ 3966833 w 6884782"/>
              <a:gd name="connsiteY45448" fmla="*/ 1760008 h 5973007"/>
              <a:gd name="connsiteX45449" fmla="*/ 3966192 w 6884782"/>
              <a:gd name="connsiteY45449" fmla="*/ 1763850 h 5973007"/>
              <a:gd name="connsiteX45450" fmla="*/ 3960430 w 6884782"/>
              <a:gd name="connsiteY45450" fmla="*/ 1768829 h 5973007"/>
              <a:gd name="connsiteX45451" fmla="*/ 3953174 w 6884782"/>
              <a:gd name="connsiteY45451" fmla="*/ 1770963 h 5973007"/>
              <a:gd name="connsiteX45452" fmla="*/ 3954881 w 6884782"/>
              <a:gd name="connsiteY45452" fmla="*/ 1763138 h 5973007"/>
              <a:gd name="connsiteX45453" fmla="*/ 3964699 w 6884782"/>
              <a:gd name="connsiteY45453" fmla="*/ 1758443 h 5973007"/>
              <a:gd name="connsiteX45454" fmla="*/ 6179569 w 6884782"/>
              <a:gd name="connsiteY45454" fmla="*/ 1757448 h 5973007"/>
              <a:gd name="connsiteX45455" fmla="*/ 6187466 w 6884782"/>
              <a:gd name="connsiteY45455" fmla="*/ 1760293 h 5973007"/>
              <a:gd name="connsiteX45456" fmla="*/ 6186612 w 6884782"/>
              <a:gd name="connsiteY45456" fmla="*/ 1769114 h 5973007"/>
              <a:gd name="connsiteX45457" fmla="*/ 6173593 w 6884782"/>
              <a:gd name="connsiteY45457" fmla="*/ 1763138 h 5973007"/>
              <a:gd name="connsiteX45458" fmla="*/ 6179569 w 6884782"/>
              <a:gd name="connsiteY45458" fmla="*/ 1757448 h 5973007"/>
              <a:gd name="connsiteX45459" fmla="*/ 4825634 w 6884782"/>
              <a:gd name="connsiteY45459" fmla="*/ 1756167 h 5973007"/>
              <a:gd name="connsiteX45460" fmla="*/ 4827341 w 6884782"/>
              <a:gd name="connsiteY45460" fmla="*/ 1761715 h 5973007"/>
              <a:gd name="connsiteX45461" fmla="*/ 4822432 w 6884782"/>
              <a:gd name="connsiteY45461" fmla="*/ 1762569 h 5973007"/>
              <a:gd name="connsiteX45462" fmla="*/ 4820298 w 6884782"/>
              <a:gd name="connsiteY45462" fmla="*/ 1759582 h 5973007"/>
              <a:gd name="connsiteX45463" fmla="*/ 4821365 w 6884782"/>
              <a:gd name="connsiteY45463" fmla="*/ 1759155 h 5973007"/>
              <a:gd name="connsiteX45464" fmla="*/ 4825634 w 6884782"/>
              <a:gd name="connsiteY45464" fmla="*/ 1756167 h 5973007"/>
              <a:gd name="connsiteX45465" fmla="*/ 1533562 w 6884782"/>
              <a:gd name="connsiteY45465" fmla="*/ 1756081 h 5973007"/>
              <a:gd name="connsiteX45466" fmla="*/ 1525714 w 6884782"/>
              <a:gd name="connsiteY45466" fmla="*/ 1760419 h 5973007"/>
              <a:gd name="connsiteX45467" fmla="*/ 1525817 w 6884782"/>
              <a:gd name="connsiteY45467" fmla="*/ 1756701 h 5973007"/>
              <a:gd name="connsiteX45468" fmla="*/ 1533562 w 6884782"/>
              <a:gd name="connsiteY45468" fmla="*/ 1756081 h 5973007"/>
              <a:gd name="connsiteX45469" fmla="*/ 1748644 w 6884782"/>
              <a:gd name="connsiteY45469" fmla="*/ 1755772 h 5973007"/>
              <a:gd name="connsiteX45470" fmla="*/ 1750709 w 6884782"/>
              <a:gd name="connsiteY45470" fmla="*/ 1759334 h 5973007"/>
              <a:gd name="connsiteX45471" fmla="*/ 1736150 w 6884782"/>
              <a:gd name="connsiteY45471" fmla="*/ 1758405 h 5973007"/>
              <a:gd name="connsiteX45472" fmla="*/ 1748644 w 6884782"/>
              <a:gd name="connsiteY45472" fmla="*/ 1755772 h 5973007"/>
              <a:gd name="connsiteX45473" fmla="*/ 6235058 w 6884782"/>
              <a:gd name="connsiteY45473" fmla="*/ 1755598 h 5973007"/>
              <a:gd name="connsiteX45474" fmla="*/ 6246369 w 6884782"/>
              <a:gd name="connsiteY45474" fmla="*/ 1758159 h 5973007"/>
              <a:gd name="connsiteX45475" fmla="*/ 6248717 w 6884782"/>
              <a:gd name="connsiteY45475" fmla="*/ 1759297 h 5973007"/>
              <a:gd name="connsiteX45476" fmla="*/ 6251278 w 6884782"/>
              <a:gd name="connsiteY45476" fmla="*/ 1760293 h 5973007"/>
              <a:gd name="connsiteX45477" fmla="*/ 6252985 w 6884782"/>
              <a:gd name="connsiteY45477" fmla="*/ 1765130 h 5973007"/>
              <a:gd name="connsiteX45478" fmla="*/ 6231217 w 6884782"/>
              <a:gd name="connsiteY45478" fmla="*/ 1759155 h 5973007"/>
              <a:gd name="connsiteX45479" fmla="*/ 6232070 w 6884782"/>
              <a:gd name="connsiteY45479" fmla="*/ 1756594 h 5973007"/>
              <a:gd name="connsiteX45480" fmla="*/ 6235058 w 6884782"/>
              <a:gd name="connsiteY45480" fmla="*/ 1755598 h 5973007"/>
              <a:gd name="connsiteX45481" fmla="*/ 1455809 w 6884782"/>
              <a:gd name="connsiteY45481" fmla="*/ 1755462 h 5973007"/>
              <a:gd name="connsiteX45482" fmla="*/ 1458598 w 6884782"/>
              <a:gd name="connsiteY45482" fmla="*/ 1765995 h 5973007"/>
              <a:gd name="connsiteX45483" fmla="*/ 1459217 w 6884782"/>
              <a:gd name="connsiteY45483" fmla="*/ 1767389 h 5973007"/>
              <a:gd name="connsiteX45484" fmla="*/ 1459527 w 6884782"/>
              <a:gd name="connsiteY45484" fmla="*/ 1770797 h 5973007"/>
              <a:gd name="connsiteX45485" fmla="*/ 1460560 w 6884782"/>
              <a:gd name="connsiteY45485" fmla="*/ 1771262 h 5973007"/>
              <a:gd name="connsiteX45486" fmla="*/ 1459630 w 6884782"/>
              <a:gd name="connsiteY45486" fmla="*/ 1775599 h 5973007"/>
              <a:gd name="connsiteX45487" fmla="*/ 1459527 w 6884782"/>
              <a:gd name="connsiteY45487" fmla="*/ 1775444 h 5973007"/>
              <a:gd name="connsiteX45488" fmla="*/ 1458804 w 6884782"/>
              <a:gd name="connsiteY45488" fmla="*/ 1780091 h 5973007"/>
              <a:gd name="connsiteX45489" fmla="*/ 1452505 w 6884782"/>
              <a:gd name="connsiteY45489" fmla="*/ 1769248 h 5973007"/>
              <a:gd name="connsiteX45490" fmla="*/ 1452919 w 6884782"/>
              <a:gd name="connsiteY45490" fmla="*/ 1765530 h 5973007"/>
              <a:gd name="connsiteX45491" fmla="*/ 1450337 w 6884782"/>
              <a:gd name="connsiteY45491" fmla="*/ 1763981 h 5973007"/>
              <a:gd name="connsiteX45492" fmla="*/ 1455809 w 6884782"/>
              <a:gd name="connsiteY45492" fmla="*/ 1755462 h 5973007"/>
              <a:gd name="connsiteX45493" fmla="*/ 4607946 w 6884782"/>
              <a:gd name="connsiteY45493" fmla="*/ 1755029 h 5973007"/>
              <a:gd name="connsiteX45494" fmla="*/ 4612854 w 6884782"/>
              <a:gd name="connsiteY45494" fmla="*/ 1758586 h 5973007"/>
              <a:gd name="connsiteX45495" fmla="*/ 4612641 w 6884782"/>
              <a:gd name="connsiteY45495" fmla="*/ 1761573 h 5973007"/>
              <a:gd name="connsiteX45496" fmla="*/ 4611574 w 6884782"/>
              <a:gd name="connsiteY45496" fmla="*/ 1762142 h 5973007"/>
              <a:gd name="connsiteX45497" fmla="*/ 4607519 w 6884782"/>
              <a:gd name="connsiteY45497" fmla="*/ 1764845 h 5973007"/>
              <a:gd name="connsiteX45498" fmla="*/ 4602824 w 6884782"/>
              <a:gd name="connsiteY45498" fmla="*/ 1761004 h 5973007"/>
              <a:gd name="connsiteX45499" fmla="*/ 4607946 w 6884782"/>
              <a:gd name="connsiteY45499" fmla="*/ 1755029 h 5973007"/>
              <a:gd name="connsiteX45500" fmla="*/ 6209234 w 6884782"/>
              <a:gd name="connsiteY45500" fmla="*/ 1754887 h 5973007"/>
              <a:gd name="connsiteX45501" fmla="*/ 6221186 w 6884782"/>
              <a:gd name="connsiteY45501" fmla="*/ 1765130 h 5973007"/>
              <a:gd name="connsiteX45502" fmla="*/ 6194082 w 6884782"/>
              <a:gd name="connsiteY45502" fmla="*/ 1761431 h 5973007"/>
              <a:gd name="connsiteX45503" fmla="*/ 6196429 w 6884782"/>
              <a:gd name="connsiteY45503" fmla="*/ 1755740 h 5973007"/>
              <a:gd name="connsiteX45504" fmla="*/ 6203472 w 6884782"/>
              <a:gd name="connsiteY45504" fmla="*/ 1755029 h 5973007"/>
              <a:gd name="connsiteX45505" fmla="*/ 6209234 w 6884782"/>
              <a:gd name="connsiteY45505" fmla="*/ 1754887 h 5973007"/>
              <a:gd name="connsiteX45506" fmla="*/ 5262504 w 6884782"/>
              <a:gd name="connsiteY45506" fmla="*/ 1754887 h 5973007"/>
              <a:gd name="connsiteX45507" fmla="*/ 5267200 w 6884782"/>
              <a:gd name="connsiteY45507" fmla="*/ 1756736 h 5973007"/>
              <a:gd name="connsiteX45508" fmla="*/ 5269974 w 6884782"/>
              <a:gd name="connsiteY45508" fmla="*/ 1762142 h 5973007"/>
              <a:gd name="connsiteX45509" fmla="*/ 5269333 w 6884782"/>
              <a:gd name="connsiteY45509" fmla="*/ 1761004 h 5973007"/>
              <a:gd name="connsiteX45510" fmla="*/ 5267413 w 6884782"/>
              <a:gd name="connsiteY45510" fmla="*/ 1762285 h 5973007"/>
              <a:gd name="connsiteX45511" fmla="*/ 5268053 w 6884782"/>
              <a:gd name="connsiteY45511" fmla="*/ 1763281 h 5973007"/>
              <a:gd name="connsiteX45512" fmla="*/ 5265492 w 6884782"/>
              <a:gd name="connsiteY45512" fmla="*/ 1763565 h 5973007"/>
              <a:gd name="connsiteX45513" fmla="*/ 5257809 w 6884782"/>
              <a:gd name="connsiteY45513" fmla="*/ 1758017 h 5973007"/>
              <a:gd name="connsiteX45514" fmla="*/ 5262504 w 6884782"/>
              <a:gd name="connsiteY45514" fmla="*/ 1754887 h 5973007"/>
              <a:gd name="connsiteX45515" fmla="*/ 1497938 w 6884782"/>
              <a:gd name="connsiteY45515" fmla="*/ 1754378 h 5973007"/>
              <a:gd name="connsiteX45516" fmla="*/ 1503824 w 6884782"/>
              <a:gd name="connsiteY45516" fmla="*/ 1759180 h 5973007"/>
              <a:gd name="connsiteX45517" fmla="*/ 1500829 w 6884782"/>
              <a:gd name="connsiteY45517" fmla="*/ 1762742 h 5973007"/>
              <a:gd name="connsiteX45518" fmla="*/ 1488026 w 6884782"/>
              <a:gd name="connsiteY45518" fmla="*/ 1761658 h 5973007"/>
              <a:gd name="connsiteX45519" fmla="*/ 1487923 w 6884782"/>
              <a:gd name="connsiteY45519" fmla="*/ 1759489 h 5973007"/>
              <a:gd name="connsiteX45520" fmla="*/ 1492775 w 6884782"/>
              <a:gd name="connsiteY45520" fmla="*/ 1754997 h 5973007"/>
              <a:gd name="connsiteX45521" fmla="*/ 1497938 w 6884782"/>
              <a:gd name="connsiteY45521" fmla="*/ 1754378 h 5973007"/>
              <a:gd name="connsiteX45522" fmla="*/ 1210886 w 6884782"/>
              <a:gd name="connsiteY45522" fmla="*/ 1754378 h 5973007"/>
              <a:gd name="connsiteX45523" fmla="*/ 1210370 w 6884782"/>
              <a:gd name="connsiteY45523" fmla="*/ 1757011 h 5973007"/>
              <a:gd name="connsiteX45524" fmla="*/ 1207892 w 6884782"/>
              <a:gd name="connsiteY45524" fmla="*/ 1757321 h 5973007"/>
              <a:gd name="connsiteX45525" fmla="*/ 1206239 w 6884782"/>
              <a:gd name="connsiteY45525" fmla="*/ 1758250 h 5973007"/>
              <a:gd name="connsiteX45526" fmla="*/ 1203968 w 6884782"/>
              <a:gd name="connsiteY45526" fmla="*/ 1756701 h 5973007"/>
              <a:gd name="connsiteX45527" fmla="*/ 1205620 w 6884782"/>
              <a:gd name="connsiteY45527" fmla="*/ 1755772 h 5973007"/>
              <a:gd name="connsiteX45528" fmla="*/ 1210886 w 6884782"/>
              <a:gd name="connsiteY45528" fmla="*/ 1754378 h 5973007"/>
              <a:gd name="connsiteX45529" fmla="*/ 5092409 w 6884782"/>
              <a:gd name="connsiteY45529" fmla="*/ 1754175 h 5973007"/>
              <a:gd name="connsiteX45530" fmla="*/ 5100732 w 6884782"/>
              <a:gd name="connsiteY45530" fmla="*/ 1756309 h 5973007"/>
              <a:gd name="connsiteX45531" fmla="*/ 5097530 w 6884782"/>
              <a:gd name="connsiteY45531" fmla="*/ 1755456 h 5973007"/>
              <a:gd name="connsiteX45532" fmla="*/ 5095610 w 6884782"/>
              <a:gd name="connsiteY45532" fmla="*/ 1756736 h 5973007"/>
              <a:gd name="connsiteX45533" fmla="*/ 5092409 w 6884782"/>
              <a:gd name="connsiteY45533" fmla="*/ 1754175 h 5973007"/>
              <a:gd name="connsiteX45534" fmla="*/ 4998504 w 6884782"/>
              <a:gd name="connsiteY45534" fmla="*/ 1754033 h 5973007"/>
              <a:gd name="connsiteX45535" fmla="*/ 5000425 w 6884782"/>
              <a:gd name="connsiteY45535" fmla="*/ 1755456 h 5973007"/>
              <a:gd name="connsiteX45536" fmla="*/ 5004479 w 6884782"/>
              <a:gd name="connsiteY45536" fmla="*/ 1758870 h 5973007"/>
              <a:gd name="connsiteX45537" fmla="*/ 4996796 w 6884782"/>
              <a:gd name="connsiteY45537" fmla="*/ 1754460 h 5973007"/>
              <a:gd name="connsiteX45538" fmla="*/ 4998504 w 6884782"/>
              <a:gd name="connsiteY45538" fmla="*/ 1754033 h 5973007"/>
              <a:gd name="connsiteX45539" fmla="*/ 1299376 w 6884782"/>
              <a:gd name="connsiteY45539" fmla="*/ 1753758 h 5973007"/>
              <a:gd name="connsiteX45540" fmla="*/ 1303197 w 6884782"/>
              <a:gd name="connsiteY45540" fmla="*/ 1761658 h 5973007"/>
              <a:gd name="connsiteX45541" fmla="*/ 1292149 w 6884782"/>
              <a:gd name="connsiteY45541" fmla="*/ 1772191 h 5973007"/>
              <a:gd name="connsiteX45542" fmla="*/ 1291735 w 6884782"/>
              <a:gd name="connsiteY45542" fmla="*/ 1771416 h 5973007"/>
              <a:gd name="connsiteX45543" fmla="*/ 1288122 w 6884782"/>
              <a:gd name="connsiteY45543" fmla="*/ 1775289 h 5973007"/>
              <a:gd name="connsiteX45544" fmla="*/ 1280067 w 6884782"/>
              <a:gd name="connsiteY45544" fmla="*/ 1765066 h 5973007"/>
              <a:gd name="connsiteX45545" fmla="*/ 1279551 w 6884782"/>
              <a:gd name="connsiteY45545" fmla="*/ 1763207 h 5973007"/>
              <a:gd name="connsiteX45546" fmla="*/ 1278829 w 6884782"/>
              <a:gd name="connsiteY45546" fmla="*/ 1763672 h 5973007"/>
              <a:gd name="connsiteX45547" fmla="*/ 1279138 w 6884782"/>
              <a:gd name="connsiteY45547" fmla="*/ 1762433 h 5973007"/>
              <a:gd name="connsiteX45548" fmla="*/ 1279035 w 6884782"/>
              <a:gd name="connsiteY45548" fmla="*/ 1762278 h 5973007"/>
              <a:gd name="connsiteX45549" fmla="*/ 1278622 w 6884782"/>
              <a:gd name="connsiteY45549" fmla="*/ 1761503 h 5973007"/>
              <a:gd name="connsiteX45550" fmla="*/ 1278829 w 6884782"/>
              <a:gd name="connsiteY45550" fmla="*/ 1758095 h 5973007"/>
              <a:gd name="connsiteX45551" fmla="*/ 1280894 w 6884782"/>
              <a:gd name="connsiteY45551" fmla="*/ 1757321 h 5973007"/>
              <a:gd name="connsiteX45552" fmla="*/ 1285540 w 6884782"/>
              <a:gd name="connsiteY45552" fmla="*/ 1759954 h 5973007"/>
              <a:gd name="connsiteX45553" fmla="*/ 1299376 w 6884782"/>
              <a:gd name="connsiteY45553" fmla="*/ 1753758 h 5973007"/>
              <a:gd name="connsiteX45554" fmla="*/ 5602055 w 6884782"/>
              <a:gd name="connsiteY45554" fmla="*/ 1753179 h 5973007"/>
              <a:gd name="connsiteX45555" fmla="*/ 5604829 w 6884782"/>
              <a:gd name="connsiteY45555" fmla="*/ 1754602 h 5973007"/>
              <a:gd name="connsiteX45556" fmla="*/ 5593091 w 6884782"/>
              <a:gd name="connsiteY45556" fmla="*/ 1762142 h 5973007"/>
              <a:gd name="connsiteX45557" fmla="*/ 5593305 w 6884782"/>
              <a:gd name="connsiteY45557" fmla="*/ 1758586 h 5973007"/>
              <a:gd name="connsiteX45558" fmla="*/ 5602055 w 6884782"/>
              <a:gd name="connsiteY45558" fmla="*/ 1753179 h 5973007"/>
              <a:gd name="connsiteX45559" fmla="*/ 5235613 w 6884782"/>
              <a:gd name="connsiteY45559" fmla="*/ 1752895 h 5973007"/>
              <a:gd name="connsiteX45560" fmla="*/ 5237107 w 6884782"/>
              <a:gd name="connsiteY45560" fmla="*/ 1754602 h 5973007"/>
              <a:gd name="connsiteX45561" fmla="*/ 5240735 w 6884782"/>
              <a:gd name="connsiteY45561" fmla="*/ 1755029 h 5973007"/>
              <a:gd name="connsiteX45562" fmla="*/ 5242229 w 6884782"/>
              <a:gd name="connsiteY45562" fmla="*/ 1757874 h 5973007"/>
              <a:gd name="connsiteX45563" fmla="*/ 5239455 w 6884782"/>
              <a:gd name="connsiteY45563" fmla="*/ 1764134 h 5973007"/>
              <a:gd name="connsiteX45564" fmla="*/ 5245217 w 6884782"/>
              <a:gd name="connsiteY45564" fmla="*/ 1771532 h 5973007"/>
              <a:gd name="connsiteX45565" fmla="*/ 5248205 w 6884782"/>
              <a:gd name="connsiteY45565" fmla="*/ 1774946 h 5973007"/>
              <a:gd name="connsiteX45566" fmla="*/ 5247778 w 6884782"/>
              <a:gd name="connsiteY45566" fmla="*/ 1773381 h 5973007"/>
              <a:gd name="connsiteX45567" fmla="*/ 5255888 w 6884782"/>
              <a:gd name="connsiteY45567" fmla="*/ 1758443 h 5973007"/>
              <a:gd name="connsiteX45568" fmla="*/ 5256315 w 6884782"/>
              <a:gd name="connsiteY45568" fmla="*/ 1770821 h 5973007"/>
              <a:gd name="connsiteX45569" fmla="*/ 5249486 w 6884782"/>
              <a:gd name="connsiteY45569" fmla="*/ 1777792 h 5973007"/>
              <a:gd name="connsiteX45570" fmla="*/ 5250979 w 6884782"/>
              <a:gd name="connsiteY45570" fmla="*/ 1783482 h 5973007"/>
              <a:gd name="connsiteX45571" fmla="*/ 5240948 w 6884782"/>
              <a:gd name="connsiteY45571" fmla="*/ 1788604 h 5973007"/>
              <a:gd name="connsiteX45572" fmla="*/ 5223875 w 6884782"/>
              <a:gd name="connsiteY45572" fmla="*/ 1772813 h 5973007"/>
              <a:gd name="connsiteX45573" fmla="*/ 5224942 w 6884782"/>
              <a:gd name="connsiteY45573" fmla="*/ 1772243 h 5973007"/>
              <a:gd name="connsiteX45574" fmla="*/ 5218753 w 6884782"/>
              <a:gd name="connsiteY45574" fmla="*/ 1767264 h 5973007"/>
              <a:gd name="connsiteX45575" fmla="*/ 5231345 w 6884782"/>
              <a:gd name="connsiteY45575" fmla="*/ 1756452 h 5973007"/>
              <a:gd name="connsiteX45576" fmla="*/ 5232199 w 6884782"/>
              <a:gd name="connsiteY45576" fmla="*/ 1756309 h 5973007"/>
              <a:gd name="connsiteX45577" fmla="*/ 5233265 w 6884782"/>
              <a:gd name="connsiteY45577" fmla="*/ 1755171 h 5973007"/>
              <a:gd name="connsiteX45578" fmla="*/ 5233052 w 6884782"/>
              <a:gd name="connsiteY45578" fmla="*/ 1754887 h 5973007"/>
              <a:gd name="connsiteX45579" fmla="*/ 5233479 w 6884782"/>
              <a:gd name="connsiteY45579" fmla="*/ 1754887 h 5973007"/>
              <a:gd name="connsiteX45580" fmla="*/ 3615544 w 6884782"/>
              <a:gd name="connsiteY45580" fmla="*/ 1752895 h 5973007"/>
              <a:gd name="connsiteX45581" fmla="*/ 3613623 w 6884782"/>
              <a:gd name="connsiteY45581" fmla="*/ 1768829 h 5973007"/>
              <a:gd name="connsiteX45582" fmla="*/ 3613196 w 6884782"/>
              <a:gd name="connsiteY45582" fmla="*/ 1769114 h 5973007"/>
              <a:gd name="connsiteX45583" fmla="*/ 3613623 w 6884782"/>
              <a:gd name="connsiteY45583" fmla="*/ 1769967 h 5973007"/>
              <a:gd name="connsiteX45584" fmla="*/ 3616184 w 6884782"/>
              <a:gd name="connsiteY45584" fmla="*/ 1774662 h 5973007"/>
              <a:gd name="connsiteX45585" fmla="*/ 3614690 w 6884782"/>
              <a:gd name="connsiteY45585" fmla="*/ 1776654 h 5973007"/>
              <a:gd name="connsiteX45586" fmla="*/ 3626855 w 6884782"/>
              <a:gd name="connsiteY45586" fmla="*/ 1762000 h 5973007"/>
              <a:gd name="connsiteX45587" fmla="*/ 3636672 w 6884782"/>
              <a:gd name="connsiteY45587" fmla="*/ 1761858 h 5973007"/>
              <a:gd name="connsiteX45588" fmla="*/ 3636886 w 6884782"/>
              <a:gd name="connsiteY45588" fmla="*/ 1761715 h 5973007"/>
              <a:gd name="connsiteX45589" fmla="*/ 3636459 w 6884782"/>
              <a:gd name="connsiteY45589" fmla="*/ 1760435 h 5973007"/>
              <a:gd name="connsiteX45590" fmla="*/ 3635179 w 6884782"/>
              <a:gd name="connsiteY45590" fmla="*/ 1760293 h 5973007"/>
              <a:gd name="connsiteX45591" fmla="*/ 3636459 w 6884782"/>
              <a:gd name="connsiteY45591" fmla="*/ 1758017 h 5973007"/>
              <a:gd name="connsiteX45592" fmla="*/ 3644782 w 6884782"/>
              <a:gd name="connsiteY45592" fmla="*/ 1755456 h 5973007"/>
              <a:gd name="connsiteX45593" fmla="*/ 3646063 w 6884782"/>
              <a:gd name="connsiteY45593" fmla="*/ 1759012 h 5973007"/>
              <a:gd name="connsiteX45594" fmla="*/ 3644996 w 6884782"/>
              <a:gd name="connsiteY45594" fmla="*/ 1760720 h 5973007"/>
              <a:gd name="connsiteX45595" fmla="*/ 3652038 w 6884782"/>
              <a:gd name="connsiteY45595" fmla="*/ 1759297 h 5973007"/>
              <a:gd name="connsiteX45596" fmla="*/ 3675728 w 6884782"/>
              <a:gd name="connsiteY45596" fmla="*/ 1763138 h 5973007"/>
              <a:gd name="connsiteX45597" fmla="*/ 3690881 w 6884782"/>
              <a:gd name="connsiteY45597" fmla="*/ 1787324 h 5973007"/>
              <a:gd name="connsiteX45598" fmla="*/ 3689814 w 6884782"/>
              <a:gd name="connsiteY45598" fmla="*/ 1804112 h 5973007"/>
              <a:gd name="connsiteX45599" fmla="*/ 3687680 w 6884782"/>
              <a:gd name="connsiteY45599" fmla="*/ 1812790 h 5973007"/>
              <a:gd name="connsiteX45600" fmla="*/ 3690881 w 6884782"/>
              <a:gd name="connsiteY45600" fmla="*/ 1817770 h 5973007"/>
              <a:gd name="connsiteX45601" fmla="*/ 3686399 w 6884782"/>
              <a:gd name="connsiteY45601" fmla="*/ 1818765 h 5973007"/>
              <a:gd name="connsiteX45602" fmla="*/ 3685546 w 6884782"/>
              <a:gd name="connsiteY45602" fmla="*/ 1821469 h 5973007"/>
              <a:gd name="connsiteX45603" fmla="*/ 3681704 w 6884782"/>
              <a:gd name="connsiteY45603" fmla="*/ 1828866 h 5973007"/>
              <a:gd name="connsiteX45604" fmla="*/ 3682344 w 6884782"/>
              <a:gd name="connsiteY45604" fmla="*/ 1829293 h 5973007"/>
              <a:gd name="connsiteX45605" fmla="*/ 3682558 w 6884782"/>
              <a:gd name="connsiteY45605" fmla="*/ 1832850 h 5973007"/>
              <a:gd name="connsiteX45606" fmla="*/ 3677863 w 6884782"/>
              <a:gd name="connsiteY45606" fmla="*/ 1836406 h 5973007"/>
              <a:gd name="connsiteX45607" fmla="*/ 3677436 w 6884782"/>
              <a:gd name="connsiteY45607" fmla="*/ 1837402 h 5973007"/>
              <a:gd name="connsiteX45608" fmla="*/ 3664417 w 6884782"/>
              <a:gd name="connsiteY45608" fmla="*/ 1849637 h 5973007"/>
              <a:gd name="connsiteX45609" fmla="*/ 3652466 w 6884782"/>
              <a:gd name="connsiteY45609" fmla="*/ 1854332 h 5973007"/>
              <a:gd name="connsiteX45610" fmla="*/ 3648197 w 6884782"/>
              <a:gd name="connsiteY45610" fmla="*/ 1854474 h 5973007"/>
              <a:gd name="connsiteX45611" fmla="*/ 3645422 w 6884782"/>
              <a:gd name="connsiteY45611" fmla="*/ 1856040 h 5973007"/>
              <a:gd name="connsiteX45612" fmla="*/ 3630484 w 6884782"/>
              <a:gd name="connsiteY45612" fmla="*/ 1861588 h 5973007"/>
              <a:gd name="connsiteX45613" fmla="*/ 3639660 w 6884782"/>
              <a:gd name="connsiteY45613" fmla="*/ 1857035 h 5973007"/>
              <a:gd name="connsiteX45614" fmla="*/ 3647770 w 6884782"/>
              <a:gd name="connsiteY45614" fmla="*/ 1854474 h 5973007"/>
              <a:gd name="connsiteX45615" fmla="*/ 3641155 w 6884782"/>
              <a:gd name="connsiteY45615" fmla="*/ 1854617 h 5973007"/>
              <a:gd name="connsiteX45616" fmla="*/ 3617465 w 6884782"/>
              <a:gd name="connsiteY45616" fmla="*/ 1852056 h 5973007"/>
              <a:gd name="connsiteX45617" fmla="*/ 3599964 w 6884782"/>
              <a:gd name="connsiteY45617" fmla="*/ 1832138 h 5973007"/>
              <a:gd name="connsiteX45618" fmla="*/ 3601031 w 6884782"/>
              <a:gd name="connsiteY45618" fmla="*/ 1823744 h 5973007"/>
              <a:gd name="connsiteX45619" fmla="*/ 3600818 w 6884782"/>
              <a:gd name="connsiteY45619" fmla="*/ 1817627 h 5973007"/>
              <a:gd name="connsiteX45620" fmla="*/ 3596549 w 6884782"/>
              <a:gd name="connsiteY45620" fmla="*/ 1814070 h 5973007"/>
              <a:gd name="connsiteX45621" fmla="*/ 3597403 w 6884782"/>
              <a:gd name="connsiteY45621" fmla="*/ 1812506 h 5973007"/>
              <a:gd name="connsiteX45622" fmla="*/ 3595055 w 6884782"/>
              <a:gd name="connsiteY45622" fmla="*/ 1810798 h 5973007"/>
              <a:gd name="connsiteX45623" fmla="*/ 3594202 w 6884782"/>
              <a:gd name="connsiteY45623" fmla="*/ 1799702 h 5973007"/>
              <a:gd name="connsiteX45624" fmla="*/ 3598897 w 6884782"/>
              <a:gd name="connsiteY45624" fmla="*/ 1797283 h 5973007"/>
              <a:gd name="connsiteX45625" fmla="*/ 3598897 w 6884782"/>
              <a:gd name="connsiteY45625" fmla="*/ 1795860 h 5973007"/>
              <a:gd name="connsiteX45626" fmla="*/ 3612982 w 6884782"/>
              <a:gd name="connsiteY45626" fmla="*/ 1778930 h 5973007"/>
              <a:gd name="connsiteX45627" fmla="*/ 3614263 w 6884782"/>
              <a:gd name="connsiteY45627" fmla="*/ 1777223 h 5973007"/>
              <a:gd name="connsiteX45628" fmla="*/ 3610849 w 6884782"/>
              <a:gd name="connsiteY45628" fmla="*/ 1776796 h 5973007"/>
              <a:gd name="connsiteX45629" fmla="*/ 3606367 w 6884782"/>
              <a:gd name="connsiteY45629" fmla="*/ 1771817 h 5973007"/>
              <a:gd name="connsiteX45630" fmla="*/ 3601458 w 6884782"/>
              <a:gd name="connsiteY45630" fmla="*/ 1773666 h 5973007"/>
              <a:gd name="connsiteX45631" fmla="*/ 3589080 w 6884782"/>
              <a:gd name="connsiteY45631" fmla="*/ 1771817 h 5973007"/>
              <a:gd name="connsiteX45632" fmla="*/ 3585025 w 6884782"/>
              <a:gd name="connsiteY45632" fmla="*/ 1766410 h 5973007"/>
              <a:gd name="connsiteX45633" fmla="*/ 3584171 w 6884782"/>
              <a:gd name="connsiteY45633" fmla="*/ 1766410 h 5973007"/>
              <a:gd name="connsiteX45634" fmla="*/ 3581610 w 6884782"/>
              <a:gd name="connsiteY45634" fmla="*/ 1759297 h 5973007"/>
              <a:gd name="connsiteX45635" fmla="*/ 3587159 w 6884782"/>
              <a:gd name="connsiteY45635" fmla="*/ 1756736 h 5973007"/>
              <a:gd name="connsiteX45636" fmla="*/ 3589720 w 6884782"/>
              <a:gd name="connsiteY45636" fmla="*/ 1758443 h 5973007"/>
              <a:gd name="connsiteX45637" fmla="*/ 3589720 w 6884782"/>
              <a:gd name="connsiteY45637" fmla="*/ 1759582 h 5973007"/>
              <a:gd name="connsiteX45638" fmla="*/ 3589933 w 6884782"/>
              <a:gd name="connsiteY45638" fmla="*/ 1761715 h 5973007"/>
              <a:gd name="connsiteX45639" fmla="*/ 3596976 w 6884782"/>
              <a:gd name="connsiteY45639" fmla="*/ 1756309 h 5973007"/>
              <a:gd name="connsiteX45640" fmla="*/ 3615544 w 6884782"/>
              <a:gd name="connsiteY45640" fmla="*/ 1752895 h 5973007"/>
              <a:gd name="connsiteX45641" fmla="*/ 910410 w 6884782"/>
              <a:gd name="connsiteY45641" fmla="*/ 1752829 h 5973007"/>
              <a:gd name="connsiteX45642" fmla="*/ 912166 w 6884782"/>
              <a:gd name="connsiteY45642" fmla="*/ 1754378 h 5973007"/>
              <a:gd name="connsiteX45643" fmla="*/ 914024 w 6884782"/>
              <a:gd name="connsiteY45643" fmla="*/ 1754997 h 5973007"/>
              <a:gd name="connsiteX45644" fmla="*/ 914127 w 6884782"/>
              <a:gd name="connsiteY45644" fmla="*/ 1757631 h 5973007"/>
              <a:gd name="connsiteX45645" fmla="*/ 912372 w 6884782"/>
              <a:gd name="connsiteY45645" fmla="*/ 1757011 h 5973007"/>
              <a:gd name="connsiteX45646" fmla="*/ 907829 w 6884782"/>
              <a:gd name="connsiteY45646" fmla="*/ 1754068 h 5973007"/>
              <a:gd name="connsiteX45647" fmla="*/ 910410 w 6884782"/>
              <a:gd name="connsiteY45647" fmla="*/ 1752829 h 5973007"/>
              <a:gd name="connsiteX45648" fmla="*/ 731880 w 6884782"/>
              <a:gd name="connsiteY45648" fmla="*/ 1752364 h 5973007"/>
              <a:gd name="connsiteX45649" fmla="*/ 731880 w 6884782"/>
              <a:gd name="connsiteY45649" fmla="*/ 1753294 h 5973007"/>
              <a:gd name="connsiteX45650" fmla="*/ 732706 w 6884782"/>
              <a:gd name="connsiteY45650" fmla="*/ 1752519 h 5973007"/>
              <a:gd name="connsiteX45651" fmla="*/ 734255 w 6884782"/>
              <a:gd name="connsiteY45651" fmla="*/ 1764446 h 5973007"/>
              <a:gd name="connsiteX45652" fmla="*/ 733429 w 6884782"/>
              <a:gd name="connsiteY45652" fmla="*/ 1764291 h 5973007"/>
              <a:gd name="connsiteX45653" fmla="*/ 731570 w 6884782"/>
              <a:gd name="connsiteY45653" fmla="*/ 1755462 h 5973007"/>
              <a:gd name="connsiteX45654" fmla="*/ 731880 w 6884782"/>
              <a:gd name="connsiteY45654" fmla="*/ 1752364 h 5973007"/>
              <a:gd name="connsiteX45655" fmla="*/ 3928631 w 6884782"/>
              <a:gd name="connsiteY45655" fmla="*/ 1752183 h 5973007"/>
              <a:gd name="connsiteX45656" fmla="*/ 3933753 w 6884782"/>
              <a:gd name="connsiteY45656" fmla="*/ 1752326 h 5973007"/>
              <a:gd name="connsiteX45657" fmla="*/ 3934607 w 6884782"/>
              <a:gd name="connsiteY45657" fmla="*/ 1762854 h 5973007"/>
              <a:gd name="connsiteX45658" fmla="*/ 3928631 w 6884782"/>
              <a:gd name="connsiteY45658" fmla="*/ 1752183 h 5973007"/>
              <a:gd name="connsiteX45659" fmla="*/ 722278 w 6884782"/>
              <a:gd name="connsiteY45659" fmla="*/ 1750815 h 5973007"/>
              <a:gd name="connsiteX45660" fmla="*/ 725891 w 6884782"/>
              <a:gd name="connsiteY45660" fmla="*/ 1751125 h 5973007"/>
              <a:gd name="connsiteX45661" fmla="*/ 725891 w 6884782"/>
              <a:gd name="connsiteY45661" fmla="*/ 1752829 h 5973007"/>
              <a:gd name="connsiteX45662" fmla="*/ 730022 w 6884782"/>
              <a:gd name="connsiteY45662" fmla="*/ 1765840 h 5973007"/>
              <a:gd name="connsiteX45663" fmla="*/ 722278 w 6884782"/>
              <a:gd name="connsiteY45663" fmla="*/ 1750815 h 5973007"/>
              <a:gd name="connsiteX45664" fmla="*/ 5299212 w 6884782"/>
              <a:gd name="connsiteY45664" fmla="*/ 1749907 h 5973007"/>
              <a:gd name="connsiteX45665" fmla="*/ 5302414 w 6884782"/>
              <a:gd name="connsiteY45665" fmla="*/ 1751614 h 5973007"/>
              <a:gd name="connsiteX45666" fmla="*/ 5304121 w 6884782"/>
              <a:gd name="connsiteY45666" fmla="*/ 1755598 h 5973007"/>
              <a:gd name="connsiteX45667" fmla="*/ 5303694 w 6884782"/>
              <a:gd name="connsiteY45667" fmla="*/ 1758870 h 5973007"/>
              <a:gd name="connsiteX45668" fmla="*/ 5298145 w 6884782"/>
              <a:gd name="connsiteY45668" fmla="*/ 1762427 h 5973007"/>
              <a:gd name="connsiteX45669" fmla="*/ 5293877 w 6884782"/>
              <a:gd name="connsiteY45669" fmla="*/ 1758443 h 5973007"/>
              <a:gd name="connsiteX45670" fmla="*/ 5292810 w 6884782"/>
              <a:gd name="connsiteY45670" fmla="*/ 1755456 h 5973007"/>
              <a:gd name="connsiteX45671" fmla="*/ 5291743 w 6884782"/>
              <a:gd name="connsiteY45671" fmla="*/ 1756736 h 5973007"/>
              <a:gd name="connsiteX45672" fmla="*/ 5285767 w 6884782"/>
              <a:gd name="connsiteY45672" fmla="*/ 1756309 h 5973007"/>
              <a:gd name="connsiteX45673" fmla="*/ 5293663 w 6884782"/>
              <a:gd name="connsiteY45673" fmla="*/ 1750619 h 5973007"/>
              <a:gd name="connsiteX45674" fmla="*/ 5293663 w 6884782"/>
              <a:gd name="connsiteY45674" fmla="*/ 1751188 h 5973007"/>
              <a:gd name="connsiteX45675" fmla="*/ 5294517 w 6884782"/>
              <a:gd name="connsiteY45675" fmla="*/ 1750050 h 5973007"/>
              <a:gd name="connsiteX45676" fmla="*/ 5299212 w 6884782"/>
              <a:gd name="connsiteY45676" fmla="*/ 1749907 h 5973007"/>
              <a:gd name="connsiteX45677" fmla="*/ 4012291 w 6884782"/>
              <a:gd name="connsiteY45677" fmla="*/ 1749907 h 5973007"/>
              <a:gd name="connsiteX45678" fmla="*/ 4013999 w 6884782"/>
              <a:gd name="connsiteY45678" fmla="*/ 1751614 h 5973007"/>
              <a:gd name="connsiteX45679" fmla="*/ 4017627 w 6884782"/>
              <a:gd name="connsiteY45679" fmla="*/ 1755313 h 5973007"/>
              <a:gd name="connsiteX45680" fmla="*/ 4016773 w 6884782"/>
              <a:gd name="connsiteY45680" fmla="*/ 1754745 h 5973007"/>
              <a:gd name="connsiteX45681" fmla="*/ 4010371 w 6884782"/>
              <a:gd name="connsiteY45681" fmla="*/ 1750192 h 5973007"/>
              <a:gd name="connsiteX45682" fmla="*/ 4012291 w 6884782"/>
              <a:gd name="connsiteY45682" fmla="*/ 1749907 h 5973007"/>
              <a:gd name="connsiteX45683" fmla="*/ 1480694 w 6884782"/>
              <a:gd name="connsiteY45683" fmla="*/ 1749886 h 5973007"/>
              <a:gd name="connsiteX45684" fmla="*/ 1478010 w 6884782"/>
              <a:gd name="connsiteY45684" fmla="*/ 1770178 h 5973007"/>
              <a:gd name="connsiteX45685" fmla="*/ 1477287 w 6884782"/>
              <a:gd name="connsiteY45685" fmla="*/ 1771416 h 5973007"/>
              <a:gd name="connsiteX45686" fmla="*/ 1478733 w 6884782"/>
              <a:gd name="connsiteY45686" fmla="*/ 1771416 h 5973007"/>
              <a:gd name="connsiteX45687" fmla="*/ 1481933 w 6884782"/>
              <a:gd name="connsiteY45687" fmla="*/ 1776838 h 5973007"/>
              <a:gd name="connsiteX45688" fmla="*/ 1471608 w 6884782"/>
              <a:gd name="connsiteY45688" fmla="*/ 1796355 h 5973007"/>
              <a:gd name="connsiteX45689" fmla="*/ 1469440 w 6884782"/>
              <a:gd name="connsiteY45689" fmla="*/ 1786286 h 5973007"/>
              <a:gd name="connsiteX45690" fmla="*/ 1467477 w 6884782"/>
              <a:gd name="connsiteY45690" fmla="*/ 1789849 h 5973007"/>
              <a:gd name="connsiteX45691" fmla="*/ 1459217 w 6884782"/>
              <a:gd name="connsiteY45691" fmla="*/ 1784428 h 5973007"/>
              <a:gd name="connsiteX45692" fmla="*/ 1473879 w 6884782"/>
              <a:gd name="connsiteY45692" fmla="*/ 1759954 h 5973007"/>
              <a:gd name="connsiteX45693" fmla="*/ 1464690 w 6884782"/>
              <a:gd name="connsiteY45693" fmla="*/ 1762742 h 5973007"/>
              <a:gd name="connsiteX45694" fmla="*/ 1473983 w 6884782"/>
              <a:gd name="connsiteY45694" fmla="*/ 1759799 h 5973007"/>
              <a:gd name="connsiteX45695" fmla="*/ 1480694 w 6884782"/>
              <a:gd name="connsiteY45695" fmla="*/ 1749886 h 5973007"/>
              <a:gd name="connsiteX45696" fmla="*/ 999972 w 6884782"/>
              <a:gd name="connsiteY45696" fmla="*/ 1749847 h 5973007"/>
              <a:gd name="connsiteX45697" fmla="*/ 1023786 w 6884782"/>
              <a:gd name="connsiteY45697" fmla="*/ 1753913 h 5973007"/>
              <a:gd name="connsiteX45698" fmla="*/ 1022030 w 6884782"/>
              <a:gd name="connsiteY45698" fmla="*/ 1762897 h 5973007"/>
              <a:gd name="connsiteX45699" fmla="*/ 1010672 w 6884782"/>
              <a:gd name="connsiteY45699" fmla="*/ 1760419 h 5973007"/>
              <a:gd name="connsiteX45700" fmla="*/ 1009123 w 6884782"/>
              <a:gd name="connsiteY45700" fmla="*/ 1760729 h 5973007"/>
              <a:gd name="connsiteX45701" fmla="*/ 1006852 w 6884782"/>
              <a:gd name="connsiteY45701" fmla="*/ 1760264 h 5973007"/>
              <a:gd name="connsiteX45702" fmla="*/ 1006542 w 6884782"/>
              <a:gd name="connsiteY45702" fmla="*/ 1759334 h 5973007"/>
              <a:gd name="connsiteX45703" fmla="*/ 999521 w 6884782"/>
              <a:gd name="connsiteY45703" fmla="*/ 1757785 h 5973007"/>
              <a:gd name="connsiteX45704" fmla="*/ 978869 w 6884782"/>
              <a:gd name="connsiteY45704" fmla="*/ 1752984 h 5973007"/>
              <a:gd name="connsiteX45705" fmla="*/ 999972 w 6884782"/>
              <a:gd name="connsiteY45705" fmla="*/ 1749847 h 5973007"/>
              <a:gd name="connsiteX45706" fmla="*/ 3581610 w 6884782"/>
              <a:gd name="connsiteY45706" fmla="*/ 1749338 h 5973007"/>
              <a:gd name="connsiteX45707" fmla="*/ 3586305 w 6884782"/>
              <a:gd name="connsiteY45707" fmla="*/ 1754175 h 5973007"/>
              <a:gd name="connsiteX45708" fmla="*/ 3583957 w 6884782"/>
              <a:gd name="connsiteY45708" fmla="*/ 1756878 h 5973007"/>
              <a:gd name="connsiteX45709" fmla="*/ 3579049 w 6884782"/>
              <a:gd name="connsiteY45709" fmla="*/ 1750761 h 5973007"/>
              <a:gd name="connsiteX45710" fmla="*/ 3581610 w 6884782"/>
              <a:gd name="connsiteY45710" fmla="*/ 1749338 h 5973007"/>
              <a:gd name="connsiteX45711" fmla="*/ 4979296 w 6884782"/>
              <a:gd name="connsiteY45711" fmla="*/ 1749196 h 5973007"/>
              <a:gd name="connsiteX45712" fmla="*/ 4986339 w 6884782"/>
              <a:gd name="connsiteY45712" fmla="*/ 1750903 h 5973007"/>
              <a:gd name="connsiteX45713" fmla="*/ 4978442 w 6884782"/>
              <a:gd name="connsiteY45713" fmla="*/ 1757305 h 5973007"/>
              <a:gd name="connsiteX45714" fmla="*/ 4979296 w 6884782"/>
              <a:gd name="connsiteY45714" fmla="*/ 1749196 h 5973007"/>
              <a:gd name="connsiteX45715" fmla="*/ 4959235 w 6884782"/>
              <a:gd name="connsiteY45715" fmla="*/ 1749196 h 5973007"/>
              <a:gd name="connsiteX45716" fmla="*/ 4961795 w 6884782"/>
              <a:gd name="connsiteY45716" fmla="*/ 1751046 h 5973007"/>
              <a:gd name="connsiteX45717" fmla="*/ 4964357 w 6884782"/>
              <a:gd name="connsiteY45717" fmla="*/ 1755313 h 5973007"/>
              <a:gd name="connsiteX45718" fmla="*/ 4964143 w 6884782"/>
              <a:gd name="connsiteY45718" fmla="*/ 1756736 h 5973007"/>
              <a:gd name="connsiteX45719" fmla="*/ 4964997 w 6884782"/>
              <a:gd name="connsiteY45719" fmla="*/ 1755740 h 5973007"/>
              <a:gd name="connsiteX45720" fmla="*/ 4969692 w 6884782"/>
              <a:gd name="connsiteY45720" fmla="*/ 1755598 h 5973007"/>
              <a:gd name="connsiteX45721" fmla="*/ 4972680 w 6884782"/>
              <a:gd name="connsiteY45721" fmla="*/ 1757305 h 5973007"/>
              <a:gd name="connsiteX45722" fmla="*/ 4973747 w 6884782"/>
              <a:gd name="connsiteY45722" fmla="*/ 1761147 h 5973007"/>
              <a:gd name="connsiteX45723" fmla="*/ 4972894 w 6884782"/>
              <a:gd name="connsiteY45723" fmla="*/ 1764419 h 5973007"/>
              <a:gd name="connsiteX45724" fmla="*/ 4966704 w 6884782"/>
              <a:gd name="connsiteY45724" fmla="*/ 1768118 h 5973007"/>
              <a:gd name="connsiteX45725" fmla="*/ 4963290 w 6884782"/>
              <a:gd name="connsiteY45725" fmla="*/ 1764277 h 5973007"/>
              <a:gd name="connsiteX45726" fmla="*/ 4962009 w 6884782"/>
              <a:gd name="connsiteY45726" fmla="*/ 1759297 h 5973007"/>
              <a:gd name="connsiteX45727" fmla="*/ 4961155 w 6884782"/>
              <a:gd name="connsiteY45727" fmla="*/ 1759440 h 5973007"/>
              <a:gd name="connsiteX45728" fmla="*/ 4961155 w 6884782"/>
              <a:gd name="connsiteY45728" fmla="*/ 1760577 h 5973007"/>
              <a:gd name="connsiteX45729" fmla="*/ 4958808 w 6884782"/>
              <a:gd name="connsiteY45729" fmla="*/ 1759155 h 5973007"/>
              <a:gd name="connsiteX45730" fmla="*/ 4956033 w 6884782"/>
              <a:gd name="connsiteY45730" fmla="*/ 1750050 h 5973007"/>
              <a:gd name="connsiteX45731" fmla="*/ 4959235 w 6884782"/>
              <a:gd name="connsiteY45731" fmla="*/ 1749196 h 5973007"/>
              <a:gd name="connsiteX45732" fmla="*/ 3432003 w 6884782"/>
              <a:gd name="connsiteY45732" fmla="*/ 1749196 h 5973007"/>
              <a:gd name="connsiteX45733" fmla="*/ 3424747 w 6884782"/>
              <a:gd name="connsiteY45733" fmla="*/ 1761573 h 5973007"/>
              <a:gd name="connsiteX45734" fmla="*/ 3424747 w 6884782"/>
              <a:gd name="connsiteY45734" fmla="*/ 1762142 h 5973007"/>
              <a:gd name="connsiteX45735" fmla="*/ 3426880 w 6884782"/>
              <a:gd name="connsiteY45735" fmla="*/ 1764134 h 5973007"/>
              <a:gd name="connsiteX45736" fmla="*/ 3427521 w 6884782"/>
              <a:gd name="connsiteY45736" fmla="*/ 1770109 h 5973007"/>
              <a:gd name="connsiteX45737" fmla="*/ 3421545 w 6884782"/>
              <a:gd name="connsiteY45737" fmla="*/ 1774378 h 5973007"/>
              <a:gd name="connsiteX45738" fmla="*/ 3421069 w 6884782"/>
              <a:gd name="connsiteY45738" fmla="*/ 1774672 h 5973007"/>
              <a:gd name="connsiteX45739" fmla="*/ 3426390 w 6884782"/>
              <a:gd name="connsiteY45739" fmla="*/ 1787214 h 5973007"/>
              <a:gd name="connsiteX45740" fmla="*/ 3427948 w 6884782"/>
              <a:gd name="connsiteY45740" fmla="*/ 1785759 h 5973007"/>
              <a:gd name="connsiteX45741" fmla="*/ 3428161 w 6884782"/>
              <a:gd name="connsiteY45741" fmla="*/ 1775089 h 5973007"/>
              <a:gd name="connsiteX45742" fmla="*/ 3432003 w 6884782"/>
              <a:gd name="connsiteY45742" fmla="*/ 1749196 h 5973007"/>
              <a:gd name="connsiteX45743" fmla="*/ 5535468 w 6884782"/>
              <a:gd name="connsiteY45743" fmla="*/ 1748200 h 5973007"/>
              <a:gd name="connsiteX45744" fmla="*/ 5537175 w 6884782"/>
              <a:gd name="connsiteY45744" fmla="*/ 1751757 h 5973007"/>
              <a:gd name="connsiteX45745" fmla="*/ 5531200 w 6884782"/>
              <a:gd name="connsiteY45745" fmla="*/ 1750761 h 5973007"/>
              <a:gd name="connsiteX45746" fmla="*/ 5535468 w 6884782"/>
              <a:gd name="connsiteY45746" fmla="*/ 1748200 h 5973007"/>
              <a:gd name="connsiteX45747" fmla="*/ 4954112 w 6884782"/>
              <a:gd name="connsiteY45747" fmla="*/ 1747489 h 5973007"/>
              <a:gd name="connsiteX45748" fmla="*/ 4955607 w 6884782"/>
              <a:gd name="connsiteY45748" fmla="*/ 1747773 h 5973007"/>
              <a:gd name="connsiteX45749" fmla="*/ 4951124 w 6884782"/>
              <a:gd name="connsiteY45749" fmla="*/ 1751046 h 5973007"/>
              <a:gd name="connsiteX45750" fmla="*/ 4954112 w 6884782"/>
              <a:gd name="connsiteY45750" fmla="*/ 1747489 h 5973007"/>
              <a:gd name="connsiteX45751" fmla="*/ 1786643 w 6884782"/>
              <a:gd name="connsiteY45751" fmla="*/ 1747253 h 5973007"/>
              <a:gd name="connsiteX45752" fmla="*/ 1796659 w 6884782"/>
              <a:gd name="connsiteY45752" fmla="*/ 1755152 h 5973007"/>
              <a:gd name="connsiteX45753" fmla="*/ 1782512 w 6884782"/>
              <a:gd name="connsiteY45753" fmla="*/ 1753294 h 5973007"/>
              <a:gd name="connsiteX45754" fmla="*/ 1783029 w 6884782"/>
              <a:gd name="connsiteY45754" fmla="*/ 1751900 h 5973007"/>
              <a:gd name="connsiteX45755" fmla="*/ 1782719 w 6884782"/>
              <a:gd name="connsiteY45755" fmla="*/ 1751125 h 5973007"/>
              <a:gd name="connsiteX45756" fmla="*/ 1783235 w 6884782"/>
              <a:gd name="connsiteY45756" fmla="*/ 1751125 h 5973007"/>
              <a:gd name="connsiteX45757" fmla="*/ 1783545 w 6884782"/>
              <a:gd name="connsiteY45757" fmla="*/ 1750351 h 5973007"/>
              <a:gd name="connsiteX45758" fmla="*/ 1786643 w 6884782"/>
              <a:gd name="connsiteY45758" fmla="*/ 1747253 h 5973007"/>
              <a:gd name="connsiteX45759" fmla="*/ 1008194 w 6884782"/>
              <a:gd name="connsiteY45759" fmla="*/ 1746788 h 5973007"/>
              <a:gd name="connsiteX45760" fmla="*/ 1010672 w 6884782"/>
              <a:gd name="connsiteY45760" fmla="*/ 1749266 h 5973007"/>
              <a:gd name="connsiteX45761" fmla="*/ 1007265 w 6884782"/>
              <a:gd name="connsiteY45761" fmla="*/ 1750196 h 5973007"/>
              <a:gd name="connsiteX45762" fmla="*/ 1006748 w 6884782"/>
              <a:gd name="connsiteY45762" fmla="*/ 1748802 h 5973007"/>
              <a:gd name="connsiteX45763" fmla="*/ 1008194 w 6884782"/>
              <a:gd name="connsiteY45763" fmla="*/ 1746788 h 5973007"/>
              <a:gd name="connsiteX45764" fmla="*/ 4751151 w 6884782"/>
              <a:gd name="connsiteY45764" fmla="*/ 1746777 h 5973007"/>
              <a:gd name="connsiteX45765" fmla="*/ 4773346 w 6884782"/>
              <a:gd name="connsiteY45765" fmla="*/ 1760577 h 5973007"/>
              <a:gd name="connsiteX45766" fmla="*/ 4773560 w 6884782"/>
              <a:gd name="connsiteY45766" fmla="*/ 1765130 h 5973007"/>
              <a:gd name="connsiteX45767" fmla="*/ 4774200 w 6884782"/>
              <a:gd name="connsiteY45767" fmla="*/ 1765130 h 5973007"/>
              <a:gd name="connsiteX45768" fmla="*/ 4775267 w 6884782"/>
              <a:gd name="connsiteY45768" fmla="*/ 1765699 h 5973007"/>
              <a:gd name="connsiteX45769" fmla="*/ 4783590 w 6884782"/>
              <a:gd name="connsiteY45769" fmla="*/ 1763423 h 5973007"/>
              <a:gd name="connsiteX45770" fmla="*/ 4785511 w 6884782"/>
              <a:gd name="connsiteY45770" fmla="*/ 1764845 h 5973007"/>
              <a:gd name="connsiteX45771" fmla="*/ 4782950 w 6884782"/>
              <a:gd name="connsiteY45771" fmla="*/ 1767691 h 5973007"/>
              <a:gd name="connsiteX45772" fmla="*/ 4779322 w 6884782"/>
              <a:gd name="connsiteY45772" fmla="*/ 1765984 h 5973007"/>
              <a:gd name="connsiteX45773" fmla="*/ 4774840 w 6884782"/>
              <a:gd name="connsiteY45773" fmla="*/ 1767406 h 5973007"/>
              <a:gd name="connsiteX45774" fmla="*/ 4773560 w 6884782"/>
              <a:gd name="connsiteY45774" fmla="*/ 1766979 h 5973007"/>
              <a:gd name="connsiteX45775" fmla="*/ 4773560 w 6884782"/>
              <a:gd name="connsiteY45775" fmla="*/ 1768118 h 5973007"/>
              <a:gd name="connsiteX45776" fmla="*/ 4739839 w 6884782"/>
              <a:gd name="connsiteY45776" fmla="*/ 1757021 h 5973007"/>
              <a:gd name="connsiteX45777" fmla="*/ 4751151 w 6884782"/>
              <a:gd name="connsiteY45777" fmla="*/ 1746777 h 5973007"/>
              <a:gd name="connsiteX45778" fmla="*/ 4662795 w 6884782"/>
              <a:gd name="connsiteY45778" fmla="*/ 1746777 h 5973007"/>
              <a:gd name="connsiteX45779" fmla="*/ 4660874 w 6884782"/>
              <a:gd name="connsiteY45779" fmla="*/ 1747062 h 5973007"/>
              <a:gd name="connsiteX45780" fmla="*/ 4663221 w 6884782"/>
              <a:gd name="connsiteY45780" fmla="*/ 1747204 h 5973007"/>
              <a:gd name="connsiteX45781" fmla="*/ 4663008 w 6884782"/>
              <a:gd name="connsiteY45781" fmla="*/ 1746777 h 5973007"/>
              <a:gd name="connsiteX45782" fmla="*/ 3837287 w 6884782"/>
              <a:gd name="connsiteY45782" fmla="*/ 1746635 h 5973007"/>
              <a:gd name="connsiteX45783" fmla="*/ 3845824 w 6884782"/>
              <a:gd name="connsiteY45783" fmla="*/ 1755313 h 5973007"/>
              <a:gd name="connsiteX45784" fmla="*/ 3839421 w 6884782"/>
              <a:gd name="connsiteY45784" fmla="*/ 1762712 h 5973007"/>
              <a:gd name="connsiteX45785" fmla="*/ 3836860 w 6884782"/>
              <a:gd name="connsiteY45785" fmla="*/ 1763850 h 5973007"/>
              <a:gd name="connsiteX45786" fmla="*/ 3836860 w 6884782"/>
              <a:gd name="connsiteY45786" fmla="*/ 1766979 h 5973007"/>
              <a:gd name="connsiteX45787" fmla="*/ 3834299 w 6884782"/>
              <a:gd name="connsiteY45787" fmla="*/ 1769967 h 5973007"/>
              <a:gd name="connsiteX45788" fmla="*/ 3848171 w 6884782"/>
              <a:gd name="connsiteY45788" fmla="*/ 1761147 h 5973007"/>
              <a:gd name="connsiteX45789" fmla="*/ 3856708 w 6884782"/>
              <a:gd name="connsiteY45789" fmla="*/ 1758443 h 5973007"/>
              <a:gd name="connsiteX45790" fmla="*/ 3867379 w 6884782"/>
              <a:gd name="connsiteY45790" fmla="*/ 1758586 h 5973007"/>
              <a:gd name="connsiteX45791" fmla="*/ 3870794 w 6884782"/>
              <a:gd name="connsiteY45791" fmla="*/ 1769967 h 5973007"/>
              <a:gd name="connsiteX45792" fmla="*/ 3838141 w 6884782"/>
              <a:gd name="connsiteY45792" fmla="*/ 1772813 h 5973007"/>
              <a:gd name="connsiteX45793" fmla="*/ 3834085 w 6884782"/>
              <a:gd name="connsiteY45793" fmla="*/ 1770251 h 5973007"/>
              <a:gd name="connsiteX45794" fmla="*/ 3832165 w 6884782"/>
              <a:gd name="connsiteY45794" fmla="*/ 1772386 h 5973007"/>
              <a:gd name="connsiteX45795" fmla="*/ 3829604 w 6884782"/>
              <a:gd name="connsiteY45795" fmla="*/ 1776369 h 5973007"/>
              <a:gd name="connsiteX45796" fmla="*/ 3825976 w 6884782"/>
              <a:gd name="connsiteY45796" fmla="*/ 1777080 h 5973007"/>
              <a:gd name="connsiteX45797" fmla="*/ 3828110 w 6884782"/>
              <a:gd name="connsiteY45797" fmla="*/ 1766410 h 5973007"/>
              <a:gd name="connsiteX45798" fmla="*/ 3828750 w 6884782"/>
              <a:gd name="connsiteY45798" fmla="*/ 1765557 h 5973007"/>
              <a:gd name="connsiteX45799" fmla="*/ 3829390 w 6884782"/>
              <a:gd name="connsiteY45799" fmla="*/ 1764845 h 5973007"/>
              <a:gd name="connsiteX45800" fmla="*/ 3825336 w 6884782"/>
              <a:gd name="connsiteY45800" fmla="*/ 1760862 h 5973007"/>
              <a:gd name="connsiteX45801" fmla="*/ 3837287 w 6884782"/>
              <a:gd name="connsiteY45801" fmla="*/ 1746635 h 5973007"/>
              <a:gd name="connsiteX45802" fmla="*/ 1248574 w 6884782"/>
              <a:gd name="connsiteY45802" fmla="*/ 1746478 h 5973007"/>
              <a:gd name="connsiteX45803" fmla="*/ 1254563 w 6884782"/>
              <a:gd name="connsiteY45803" fmla="*/ 1756856 h 5973007"/>
              <a:gd name="connsiteX45804" fmla="*/ 1257971 w 6884782"/>
              <a:gd name="connsiteY45804" fmla="*/ 1759645 h 5973007"/>
              <a:gd name="connsiteX45805" fmla="*/ 1258694 w 6884782"/>
              <a:gd name="connsiteY45805" fmla="*/ 1758870 h 5973007"/>
              <a:gd name="connsiteX45806" fmla="*/ 1258487 w 6884782"/>
              <a:gd name="connsiteY45806" fmla="*/ 1758715 h 5973007"/>
              <a:gd name="connsiteX45807" fmla="*/ 1264166 w 6884782"/>
              <a:gd name="connsiteY45807" fmla="*/ 1755772 h 5973007"/>
              <a:gd name="connsiteX45808" fmla="*/ 1263753 w 6884782"/>
              <a:gd name="connsiteY45808" fmla="*/ 1764291 h 5973007"/>
              <a:gd name="connsiteX45809" fmla="*/ 1263443 w 6884782"/>
              <a:gd name="connsiteY45809" fmla="*/ 1764756 h 5973007"/>
              <a:gd name="connsiteX45810" fmla="*/ 1265095 w 6884782"/>
              <a:gd name="connsiteY45810" fmla="*/ 1767544 h 5973007"/>
              <a:gd name="connsiteX45811" fmla="*/ 1265612 w 6884782"/>
              <a:gd name="connsiteY45811" fmla="*/ 1771571 h 5973007"/>
              <a:gd name="connsiteX45812" fmla="*/ 1264166 w 6884782"/>
              <a:gd name="connsiteY45812" fmla="*/ 1777612 h 5973007"/>
              <a:gd name="connsiteX45813" fmla="*/ 1266025 w 6884782"/>
              <a:gd name="connsiteY45813" fmla="*/ 1777922 h 5973007"/>
              <a:gd name="connsiteX45814" fmla="*/ 1262204 w 6884782"/>
              <a:gd name="connsiteY45814" fmla="*/ 1781795 h 5973007"/>
              <a:gd name="connsiteX45815" fmla="*/ 1261998 w 6884782"/>
              <a:gd name="connsiteY45815" fmla="*/ 1781640 h 5973007"/>
              <a:gd name="connsiteX45816" fmla="*/ 1259210 w 6884782"/>
              <a:gd name="connsiteY45816" fmla="*/ 1785047 h 5973007"/>
              <a:gd name="connsiteX45817" fmla="*/ 1265405 w 6884782"/>
              <a:gd name="connsiteY45817" fmla="*/ 1786596 h 5973007"/>
              <a:gd name="connsiteX45818" fmla="*/ 1271600 w 6884782"/>
              <a:gd name="connsiteY45818" fmla="*/ 1789230 h 5973007"/>
              <a:gd name="connsiteX45819" fmla="*/ 1280894 w 6884782"/>
              <a:gd name="connsiteY45819" fmla="*/ 1795580 h 5973007"/>
              <a:gd name="connsiteX45820" fmla="*/ 1280894 w 6884782"/>
              <a:gd name="connsiteY45820" fmla="*/ 1795890 h 5973007"/>
              <a:gd name="connsiteX45821" fmla="*/ 1282959 w 6884782"/>
              <a:gd name="connsiteY45821" fmla="*/ 1797284 h 5973007"/>
              <a:gd name="connsiteX45822" fmla="*/ 1283062 w 6884782"/>
              <a:gd name="connsiteY45822" fmla="*/ 1804409 h 5973007"/>
              <a:gd name="connsiteX45823" fmla="*/ 1278519 w 6884782"/>
              <a:gd name="connsiteY45823" fmla="*/ 1801312 h 5973007"/>
              <a:gd name="connsiteX45824" fmla="*/ 1277073 w 6884782"/>
              <a:gd name="connsiteY45824" fmla="*/ 1803170 h 5973007"/>
              <a:gd name="connsiteX45825" fmla="*/ 1269639 w 6884782"/>
              <a:gd name="connsiteY45825" fmla="*/ 1804255 h 5973007"/>
              <a:gd name="connsiteX45826" fmla="*/ 1268709 w 6884782"/>
              <a:gd name="connsiteY45826" fmla="*/ 1804100 h 5973007"/>
              <a:gd name="connsiteX45827" fmla="*/ 1269019 w 6884782"/>
              <a:gd name="connsiteY45827" fmla="*/ 1814323 h 5973007"/>
              <a:gd name="connsiteX45828" fmla="*/ 1269329 w 6884782"/>
              <a:gd name="connsiteY45828" fmla="*/ 1817266 h 5973007"/>
              <a:gd name="connsiteX45829" fmla="*/ 1270258 w 6884782"/>
              <a:gd name="connsiteY45829" fmla="*/ 1817730 h 5973007"/>
              <a:gd name="connsiteX45830" fmla="*/ 1272943 w 6884782"/>
              <a:gd name="connsiteY45830" fmla="*/ 1820054 h 5973007"/>
              <a:gd name="connsiteX45831" fmla="*/ 1270465 w 6884782"/>
              <a:gd name="connsiteY45831" fmla="*/ 1822377 h 5973007"/>
              <a:gd name="connsiteX45832" fmla="*/ 1269948 w 6884782"/>
              <a:gd name="connsiteY45832" fmla="*/ 1822532 h 5973007"/>
              <a:gd name="connsiteX45833" fmla="*/ 1269948 w 6884782"/>
              <a:gd name="connsiteY45833" fmla="*/ 1822997 h 5973007"/>
              <a:gd name="connsiteX45834" fmla="*/ 1269535 w 6884782"/>
              <a:gd name="connsiteY45834" fmla="*/ 1822687 h 5973007"/>
              <a:gd name="connsiteX45835" fmla="*/ 1268503 w 6884782"/>
              <a:gd name="connsiteY45835" fmla="*/ 1822997 h 5973007"/>
              <a:gd name="connsiteX45836" fmla="*/ 1265715 w 6884782"/>
              <a:gd name="connsiteY45836" fmla="*/ 1822842 h 5973007"/>
              <a:gd name="connsiteX45837" fmla="*/ 1264063 w 6884782"/>
              <a:gd name="connsiteY45837" fmla="*/ 1821603 h 5973007"/>
              <a:gd name="connsiteX45838" fmla="*/ 1262101 w 6884782"/>
              <a:gd name="connsiteY45838" fmla="*/ 1820054 h 5973007"/>
              <a:gd name="connsiteX45839" fmla="*/ 1261998 w 6884782"/>
              <a:gd name="connsiteY45839" fmla="*/ 1819589 h 5973007"/>
              <a:gd name="connsiteX45840" fmla="*/ 1260552 w 6884782"/>
              <a:gd name="connsiteY45840" fmla="*/ 1819280 h 5973007"/>
              <a:gd name="connsiteX45841" fmla="*/ 1251156 w 6884782"/>
              <a:gd name="connsiteY45841" fmla="*/ 1819280 h 5973007"/>
              <a:gd name="connsiteX45842" fmla="*/ 1251053 w 6884782"/>
              <a:gd name="connsiteY45842" fmla="*/ 1820983 h 5973007"/>
              <a:gd name="connsiteX45843" fmla="*/ 1249194 w 6884782"/>
              <a:gd name="connsiteY45843" fmla="*/ 1825166 h 5973007"/>
              <a:gd name="connsiteX45844" fmla="*/ 1242895 w 6884782"/>
              <a:gd name="connsiteY45844" fmla="*/ 1820209 h 5973007"/>
              <a:gd name="connsiteX45845" fmla="*/ 1243102 w 6884782"/>
              <a:gd name="connsiteY45845" fmla="*/ 1818195 h 5973007"/>
              <a:gd name="connsiteX45846" fmla="*/ 1241450 w 6884782"/>
              <a:gd name="connsiteY45846" fmla="*/ 1817576 h 5973007"/>
              <a:gd name="connsiteX45847" fmla="*/ 1237836 w 6884782"/>
              <a:gd name="connsiteY45847" fmla="*/ 1815097 h 5973007"/>
              <a:gd name="connsiteX45848" fmla="*/ 1236803 w 6884782"/>
              <a:gd name="connsiteY45848" fmla="*/ 1790004 h 5973007"/>
              <a:gd name="connsiteX45849" fmla="*/ 1237320 w 6884782"/>
              <a:gd name="connsiteY45849" fmla="*/ 1789539 h 5973007"/>
              <a:gd name="connsiteX45850" fmla="*/ 1235151 w 6884782"/>
              <a:gd name="connsiteY45850" fmla="*/ 1788300 h 5973007"/>
              <a:gd name="connsiteX45851" fmla="*/ 1235048 w 6884782"/>
              <a:gd name="connsiteY45851" fmla="*/ 1790004 h 5973007"/>
              <a:gd name="connsiteX45852" fmla="*/ 1229678 w 6884782"/>
              <a:gd name="connsiteY45852" fmla="*/ 1791243 h 5973007"/>
              <a:gd name="connsiteX45853" fmla="*/ 1229575 w 6884782"/>
              <a:gd name="connsiteY45853" fmla="*/ 1786596 h 5973007"/>
              <a:gd name="connsiteX45854" fmla="*/ 1230814 w 6884782"/>
              <a:gd name="connsiteY45854" fmla="*/ 1784738 h 5973007"/>
              <a:gd name="connsiteX45855" fmla="*/ 1228027 w 6884782"/>
              <a:gd name="connsiteY45855" fmla="*/ 1779936 h 5973007"/>
              <a:gd name="connsiteX45856" fmla="*/ 1227613 w 6884782"/>
              <a:gd name="connsiteY45856" fmla="*/ 1775753 h 5973007"/>
              <a:gd name="connsiteX45857" fmla="*/ 1228233 w 6884782"/>
              <a:gd name="connsiteY45857" fmla="*/ 1770952 h 5973007"/>
              <a:gd name="connsiteX45858" fmla="*/ 1236494 w 6884782"/>
              <a:gd name="connsiteY45858" fmla="*/ 1759025 h 5973007"/>
              <a:gd name="connsiteX45859" fmla="*/ 1239075 w 6884782"/>
              <a:gd name="connsiteY45859" fmla="*/ 1756546 h 5973007"/>
              <a:gd name="connsiteX45860" fmla="*/ 1239385 w 6884782"/>
              <a:gd name="connsiteY45860" fmla="*/ 1755462 h 5973007"/>
              <a:gd name="connsiteX45861" fmla="*/ 1240727 w 6884782"/>
              <a:gd name="connsiteY45861" fmla="*/ 1752364 h 5973007"/>
              <a:gd name="connsiteX45862" fmla="*/ 1242173 w 6884782"/>
              <a:gd name="connsiteY45862" fmla="*/ 1751900 h 5973007"/>
              <a:gd name="connsiteX45863" fmla="*/ 1241863 w 6884782"/>
              <a:gd name="connsiteY45863" fmla="*/ 1754068 h 5973007"/>
              <a:gd name="connsiteX45864" fmla="*/ 1242482 w 6884782"/>
              <a:gd name="connsiteY45864" fmla="*/ 1753448 h 5973007"/>
              <a:gd name="connsiteX45865" fmla="*/ 1248574 w 6884782"/>
              <a:gd name="connsiteY45865" fmla="*/ 1746478 h 5973007"/>
              <a:gd name="connsiteX45866" fmla="*/ 3509901 w 6884782"/>
              <a:gd name="connsiteY45866" fmla="*/ 1746351 h 5973007"/>
              <a:gd name="connsiteX45867" fmla="*/ 3527188 w 6884782"/>
              <a:gd name="connsiteY45867" fmla="*/ 1774378 h 5973007"/>
              <a:gd name="connsiteX45868" fmla="*/ 3521852 w 6884782"/>
              <a:gd name="connsiteY45868" fmla="*/ 1771106 h 5973007"/>
              <a:gd name="connsiteX45869" fmla="*/ 3519718 w 6884782"/>
              <a:gd name="connsiteY45869" fmla="*/ 1772101 h 5973007"/>
              <a:gd name="connsiteX45870" fmla="*/ 3529109 w 6884782"/>
              <a:gd name="connsiteY45870" fmla="*/ 1775089 h 5973007"/>
              <a:gd name="connsiteX45871" fmla="*/ 3540207 w 6884782"/>
              <a:gd name="connsiteY45871" fmla="*/ 1782060 h 5973007"/>
              <a:gd name="connsiteX45872" fmla="*/ 3542768 w 6884782"/>
              <a:gd name="connsiteY45872" fmla="*/ 1784905 h 5973007"/>
              <a:gd name="connsiteX45873" fmla="*/ 3546396 w 6884782"/>
              <a:gd name="connsiteY45873" fmla="*/ 1785474 h 5973007"/>
              <a:gd name="connsiteX45874" fmla="*/ 3544688 w 6884782"/>
              <a:gd name="connsiteY45874" fmla="*/ 1786897 h 5973007"/>
              <a:gd name="connsiteX45875" fmla="*/ 3548530 w 6884782"/>
              <a:gd name="connsiteY45875" fmla="*/ 1791165 h 5973007"/>
              <a:gd name="connsiteX45876" fmla="*/ 3552158 w 6884782"/>
              <a:gd name="connsiteY45876" fmla="*/ 1801551 h 5973007"/>
              <a:gd name="connsiteX45877" fmla="*/ 3551732 w 6884782"/>
              <a:gd name="connsiteY45877" fmla="*/ 1803827 h 5973007"/>
              <a:gd name="connsiteX45878" fmla="*/ 3552372 w 6884782"/>
              <a:gd name="connsiteY45878" fmla="*/ 1803685 h 5973007"/>
              <a:gd name="connsiteX45879" fmla="*/ 3553865 w 6884782"/>
              <a:gd name="connsiteY45879" fmla="*/ 1804254 h 5973007"/>
              <a:gd name="connsiteX45880" fmla="*/ 3563043 w 6884782"/>
              <a:gd name="connsiteY45880" fmla="*/ 1814355 h 5973007"/>
              <a:gd name="connsiteX45881" fmla="*/ 3553012 w 6884782"/>
              <a:gd name="connsiteY45881" fmla="*/ 1818339 h 5973007"/>
              <a:gd name="connsiteX45882" fmla="*/ 3551304 w 6884782"/>
              <a:gd name="connsiteY45882" fmla="*/ 1817058 h 5973007"/>
              <a:gd name="connsiteX45883" fmla="*/ 3551091 w 6884782"/>
              <a:gd name="connsiteY45883" fmla="*/ 1817200 h 5973007"/>
              <a:gd name="connsiteX45884" fmla="*/ 3547463 w 6884782"/>
              <a:gd name="connsiteY45884" fmla="*/ 1819761 h 5973007"/>
              <a:gd name="connsiteX45885" fmla="*/ 3542128 w 6884782"/>
              <a:gd name="connsiteY45885" fmla="*/ 1815066 h 5973007"/>
              <a:gd name="connsiteX45886" fmla="*/ 3539566 w 6884782"/>
              <a:gd name="connsiteY45886" fmla="*/ 1811083 h 5973007"/>
              <a:gd name="connsiteX45887" fmla="*/ 3531670 w 6884782"/>
              <a:gd name="connsiteY45887" fmla="*/ 1810087 h 5973007"/>
              <a:gd name="connsiteX45888" fmla="*/ 3531457 w 6884782"/>
              <a:gd name="connsiteY45888" fmla="*/ 1811652 h 5973007"/>
              <a:gd name="connsiteX45889" fmla="*/ 3530816 w 6884782"/>
              <a:gd name="connsiteY45889" fmla="*/ 1813359 h 5973007"/>
              <a:gd name="connsiteX45890" fmla="*/ 3531883 w 6884782"/>
              <a:gd name="connsiteY45890" fmla="*/ 1813502 h 5973007"/>
              <a:gd name="connsiteX45891" fmla="*/ 3532737 w 6884782"/>
              <a:gd name="connsiteY45891" fmla="*/ 1824029 h 5973007"/>
              <a:gd name="connsiteX45892" fmla="*/ 3532097 w 6884782"/>
              <a:gd name="connsiteY45892" fmla="*/ 1829720 h 5973007"/>
              <a:gd name="connsiteX45893" fmla="*/ 3538286 w 6884782"/>
              <a:gd name="connsiteY45893" fmla="*/ 1826591 h 5973007"/>
              <a:gd name="connsiteX45894" fmla="*/ 3548743 w 6884782"/>
              <a:gd name="connsiteY45894" fmla="*/ 1828724 h 5973007"/>
              <a:gd name="connsiteX45895" fmla="*/ 3538286 w 6884782"/>
              <a:gd name="connsiteY45895" fmla="*/ 1849211 h 5973007"/>
              <a:gd name="connsiteX45896" fmla="*/ 3532097 w 6884782"/>
              <a:gd name="connsiteY45896" fmla="*/ 1838683 h 5973007"/>
              <a:gd name="connsiteX45897" fmla="*/ 3531243 w 6884782"/>
              <a:gd name="connsiteY45897" fmla="*/ 1831712 h 5973007"/>
              <a:gd name="connsiteX45898" fmla="*/ 3527188 w 6884782"/>
              <a:gd name="connsiteY45898" fmla="*/ 1833135 h 5973007"/>
              <a:gd name="connsiteX45899" fmla="*/ 3524840 w 6884782"/>
              <a:gd name="connsiteY45899" fmla="*/ 1821895 h 5973007"/>
              <a:gd name="connsiteX45900" fmla="*/ 3524840 w 6884782"/>
              <a:gd name="connsiteY45900" fmla="*/ 1821611 h 5973007"/>
              <a:gd name="connsiteX45901" fmla="*/ 3523987 w 6884782"/>
              <a:gd name="connsiteY45901" fmla="*/ 1822464 h 5973007"/>
              <a:gd name="connsiteX45902" fmla="*/ 3513956 w 6884782"/>
              <a:gd name="connsiteY45902" fmla="*/ 1824314 h 5973007"/>
              <a:gd name="connsiteX45903" fmla="*/ 3512889 w 6884782"/>
              <a:gd name="connsiteY45903" fmla="*/ 1823460 h 5973007"/>
              <a:gd name="connsiteX45904" fmla="*/ 3510115 w 6884782"/>
              <a:gd name="connsiteY45904" fmla="*/ 1823176 h 5973007"/>
              <a:gd name="connsiteX45905" fmla="*/ 3509901 w 6884782"/>
              <a:gd name="connsiteY45905" fmla="*/ 1822891 h 5973007"/>
              <a:gd name="connsiteX45906" fmla="*/ 3509688 w 6884782"/>
              <a:gd name="connsiteY45906" fmla="*/ 1822891 h 5973007"/>
              <a:gd name="connsiteX45907" fmla="*/ 3509261 w 6884782"/>
              <a:gd name="connsiteY45907" fmla="*/ 1821753 h 5973007"/>
              <a:gd name="connsiteX45908" fmla="*/ 3506700 w 6884782"/>
              <a:gd name="connsiteY45908" fmla="*/ 1816489 h 5973007"/>
              <a:gd name="connsiteX45909" fmla="*/ 3507767 w 6884782"/>
              <a:gd name="connsiteY45909" fmla="*/ 1815208 h 5973007"/>
              <a:gd name="connsiteX45910" fmla="*/ 3506700 w 6884782"/>
              <a:gd name="connsiteY45910" fmla="*/ 1811225 h 5973007"/>
              <a:gd name="connsiteX45911" fmla="*/ 3510541 w 6884782"/>
              <a:gd name="connsiteY45911" fmla="*/ 1804681 h 5973007"/>
              <a:gd name="connsiteX45912" fmla="*/ 3502432 w 6884782"/>
              <a:gd name="connsiteY45912" fmla="*/ 1800982 h 5973007"/>
              <a:gd name="connsiteX45913" fmla="*/ 3490694 w 6884782"/>
              <a:gd name="connsiteY45913" fmla="*/ 1791734 h 5973007"/>
              <a:gd name="connsiteX45914" fmla="*/ 3474047 w 6884782"/>
              <a:gd name="connsiteY45914" fmla="*/ 1801267 h 5973007"/>
              <a:gd name="connsiteX45915" fmla="*/ 3483864 w 6884782"/>
              <a:gd name="connsiteY45915" fmla="*/ 1778077 h 5973007"/>
              <a:gd name="connsiteX45916" fmla="*/ 3493468 w 6884782"/>
              <a:gd name="connsiteY45916" fmla="*/ 1768971 h 5973007"/>
              <a:gd name="connsiteX45917" fmla="*/ 3493041 w 6884782"/>
              <a:gd name="connsiteY45917" fmla="*/ 1767833 h 5973007"/>
              <a:gd name="connsiteX45918" fmla="*/ 3494749 w 6884782"/>
              <a:gd name="connsiteY45918" fmla="*/ 1761289 h 5973007"/>
              <a:gd name="connsiteX45919" fmla="*/ 3497736 w 6884782"/>
              <a:gd name="connsiteY45919" fmla="*/ 1762854 h 5973007"/>
              <a:gd name="connsiteX45920" fmla="*/ 3498376 w 6884782"/>
              <a:gd name="connsiteY45920" fmla="*/ 1766695 h 5973007"/>
              <a:gd name="connsiteX45921" fmla="*/ 3505846 w 6884782"/>
              <a:gd name="connsiteY45921" fmla="*/ 1763565 h 5973007"/>
              <a:gd name="connsiteX45922" fmla="*/ 3506486 w 6884782"/>
              <a:gd name="connsiteY45922" fmla="*/ 1763707 h 5973007"/>
              <a:gd name="connsiteX45923" fmla="*/ 3512035 w 6884782"/>
              <a:gd name="connsiteY45923" fmla="*/ 1760720 h 5973007"/>
              <a:gd name="connsiteX45924" fmla="*/ 3512889 w 6884782"/>
              <a:gd name="connsiteY45924" fmla="*/ 1760720 h 5973007"/>
              <a:gd name="connsiteX45925" fmla="*/ 3510115 w 6884782"/>
              <a:gd name="connsiteY45925" fmla="*/ 1753606 h 5973007"/>
              <a:gd name="connsiteX45926" fmla="*/ 3509901 w 6884782"/>
              <a:gd name="connsiteY45926" fmla="*/ 1746351 h 5973007"/>
              <a:gd name="connsiteX45927" fmla="*/ 896058 w 6884782"/>
              <a:gd name="connsiteY45927" fmla="*/ 1745704 h 5973007"/>
              <a:gd name="connsiteX45928" fmla="*/ 900394 w 6884782"/>
              <a:gd name="connsiteY45928" fmla="*/ 1745858 h 5973007"/>
              <a:gd name="connsiteX45929" fmla="*/ 903492 w 6884782"/>
              <a:gd name="connsiteY45929" fmla="*/ 1752984 h 5973007"/>
              <a:gd name="connsiteX45930" fmla="*/ 900085 w 6884782"/>
              <a:gd name="connsiteY45930" fmla="*/ 1753448 h 5973007"/>
              <a:gd name="connsiteX45931" fmla="*/ 895645 w 6884782"/>
              <a:gd name="connsiteY45931" fmla="*/ 1747717 h 5973007"/>
              <a:gd name="connsiteX45932" fmla="*/ 896058 w 6884782"/>
              <a:gd name="connsiteY45932" fmla="*/ 1745704 h 5973007"/>
              <a:gd name="connsiteX45933" fmla="*/ 4639745 w 6884782"/>
              <a:gd name="connsiteY45933" fmla="*/ 1745639 h 5973007"/>
              <a:gd name="connsiteX45934" fmla="*/ 4642733 w 6884782"/>
              <a:gd name="connsiteY45934" fmla="*/ 1746351 h 5973007"/>
              <a:gd name="connsiteX45935" fmla="*/ 4643800 w 6884782"/>
              <a:gd name="connsiteY45935" fmla="*/ 1762000 h 5973007"/>
              <a:gd name="connsiteX45936" fmla="*/ 4641879 w 6884782"/>
              <a:gd name="connsiteY45936" fmla="*/ 1764561 h 5973007"/>
              <a:gd name="connsiteX45937" fmla="*/ 4641026 w 6884782"/>
              <a:gd name="connsiteY45937" fmla="*/ 1767122 h 5973007"/>
              <a:gd name="connsiteX45938" fmla="*/ 4634623 w 6884782"/>
              <a:gd name="connsiteY45938" fmla="*/ 1771106 h 5973007"/>
              <a:gd name="connsiteX45939" fmla="*/ 4638251 w 6884782"/>
              <a:gd name="connsiteY45939" fmla="*/ 1747773 h 5973007"/>
              <a:gd name="connsiteX45940" fmla="*/ 4639745 w 6884782"/>
              <a:gd name="connsiteY45940" fmla="*/ 1745639 h 5973007"/>
              <a:gd name="connsiteX45941" fmla="*/ 1618722 w 6884782"/>
              <a:gd name="connsiteY45941" fmla="*/ 1745587 h 5973007"/>
              <a:gd name="connsiteX45942" fmla="*/ 1625873 w 6884782"/>
              <a:gd name="connsiteY45942" fmla="*/ 1747717 h 5973007"/>
              <a:gd name="connsiteX45943" fmla="*/ 1626699 w 6884782"/>
              <a:gd name="connsiteY45943" fmla="*/ 1755462 h 5973007"/>
              <a:gd name="connsiteX45944" fmla="*/ 1614514 w 6884782"/>
              <a:gd name="connsiteY45944" fmla="*/ 1755772 h 5973007"/>
              <a:gd name="connsiteX45945" fmla="*/ 1618722 w 6884782"/>
              <a:gd name="connsiteY45945" fmla="*/ 1745587 h 5973007"/>
              <a:gd name="connsiteX45946" fmla="*/ 4696728 w 6884782"/>
              <a:gd name="connsiteY45946" fmla="*/ 1745355 h 5973007"/>
              <a:gd name="connsiteX45947" fmla="*/ 4701210 w 6884782"/>
              <a:gd name="connsiteY45947" fmla="*/ 1747916 h 5973007"/>
              <a:gd name="connsiteX45948" fmla="*/ 4709747 w 6884782"/>
              <a:gd name="connsiteY45948" fmla="*/ 1756736 h 5973007"/>
              <a:gd name="connsiteX45949" fmla="*/ 4712095 w 6884782"/>
              <a:gd name="connsiteY45949" fmla="*/ 1758159 h 5973007"/>
              <a:gd name="connsiteX45950" fmla="*/ 4694167 w 6884782"/>
              <a:gd name="connsiteY45950" fmla="*/ 1747631 h 5973007"/>
              <a:gd name="connsiteX45951" fmla="*/ 4694167 w 6884782"/>
              <a:gd name="connsiteY45951" fmla="*/ 1746493 h 5973007"/>
              <a:gd name="connsiteX45952" fmla="*/ 4696728 w 6884782"/>
              <a:gd name="connsiteY45952" fmla="*/ 1745355 h 5973007"/>
              <a:gd name="connsiteX45953" fmla="*/ 5735869 w 6884782"/>
              <a:gd name="connsiteY45953" fmla="*/ 1745212 h 5973007"/>
              <a:gd name="connsiteX45954" fmla="*/ 5735656 w 6884782"/>
              <a:gd name="connsiteY45954" fmla="*/ 1766410 h 5973007"/>
              <a:gd name="connsiteX45955" fmla="*/ 5732028 w 6884782"/>
              <a:gd name="connsiteY45955" fmla="*/ 1765272 h 5973007"/>
              <a:gd name="connsiteX45956" fmla="*/ 5731387 w 6884782"/>
              <a:gd name="connsiteY45956" fmla="*/ 1765557 h 5973007"/>
              <a:gd name="connsiteX45957" fmla="*/ 5722637 w 6884782"/>
              <a:gd name="connsiteY45957" fmla="*/ 1758443 h 5973007"/>
              <a:gd name="connsiteX45958" fmla="*/ 5727759 w 6884782"/>
              <a:gd name="connsiteY45958" fmla="*/ 1752183 h 5973007"/>
              <a:gd name="connsiteX45959" fmla="*/ 5728613 w 6884782"/>
              <a:gd name="connsiteY45959" fmla="*/ 1752753 h 5973007"/>
              <a:gd name="connsiteX45960" fmla="*/ 5729253 w 6884782"/>
              <a:gd name="connsiteY45960" fmla="*/ 1751330 h 5973007"/>
              <a:gd name="connsiteX45961" fmla="*/ 5735869 w 6884782"/>
              <a:gd name="connsiteY45961" fmla="*/ 1745212 h 5973007"/>
              <a:gd name="connsiteX45962" fmla="*/ 4628647 w 6884782"/>
              <a:gd name="connsiteY45962" fmla="*/ 1744643 h 5973007"/>
              <a:gd name="connsiteX45963" fmla="*/ 4630141 w 6884782"/>
              <a:gd name="connsiteY45963" fmla="*/ 1754887 h 5973007"/>
              <a:gd name="connsiteX45964" fmla="*/ 4627794 w 6884782"/>
              <a:gd name="connsiteY45964" fmla="*/ 1746209 h 5973007"/>
              <a:gd name="connsiteX45965" fmla="*/ 4628647 w 6884782"/>
              <a:gd name="connsiteY45965" fmla="*/ 1744643 h 5973007"/>
              <a:gd name="connsiteX45966" fmla="*/ 5949716 w 6884782"/>
              <a:gd name="connsiteY45966" fmla="*/ 1742794 h 5973007"/>
              <a:gd name="connsiteX45967" fmla="*/ 5952703 w 6884782"/>
              <a:gd name="connsiteY45967" fmla="*/ 1744074 h 5973007"/>
              <a:gd name="connsiteX45968" fmla="*/ 5953558 w 6884782"/>
              <a:gd name="connsiteY45968" fmla="*/ 1750050 h 5973007"/>
              <a:gd name="connsiteX45969" fmla="*/ 5949502 w 6884782"/>
              <a:gd name="connsiteY45969" fmla="*/ 1755171 h 5973007"/>
              <a:gd name="connsiteX45970" fmla="*/ 5948862 w 6884782"/>
              <a:gd name="connsiteY45970" fmla="*/ 1758870 h 5973007"/>
              <a:gd name="connsiteX45971" fmla="*/ 5947795 w 6884782"/>
              <a:gd name="connsiteY45971" fmla="*/ 1759012 h 5973007"/>
              <a:gd name="connsiteX45972" fmla="*/ 5948008 w 6884782"/>
              <a:gd name="connsiteY45972" fmla="*/ 1744359 h 5973007"/>
              <a:gd name="connsiteX45973" fmla="*/ 5949716 w 6884782"/>
              <a:gd name="connsiteY45973" fmla="*/ 1742794 h 5973007"/>
              <a:gd name="connsiteX45974" fmla="*/ 4588311 w 6884782"/>
              <a:gd name="connsiteY45974" fmla="*/ 1742509 h 5973007"/>
              <a:gd name="connsiteX45975" fmla="*/ 4589378 w 6884782"/>
              <a:gd name="connsiteY45975" fmla="*/ 1743932 h 5973007"/>
              <a:gd name="connsiteX45976" fmla="*/ 4589378 w 6884782"/>
              <a:gd name="connsiteY45976" fmla="*/ 1742794 h 5973007"/>
              <a:gd name="connsiteX45977" fmla="*/ 4589805 w 6884782"/>
              <a:gd name="connsiteY45977" fmla="*/ 1744359 h 5973007"/>
              <a:gd name="connsiteX45978" fmla="*/ 4589165 w 6884782"/>
              <a:gd name="connsiteY45978" fmla="*/ 1745070 h 5973007"/>
              <a:gd name="connsiteX45979" fmla="*/ 4585750 w 6884782"/>
              <a:gd name="connsiteY45979" fmla="*/ 1745782 h 5973007"/>
              <a:gd name="connsiteX45980" fmla="*/ 4588311 w 6884782"/>
              <a:gd name="connsiteY45980" fmla="*/ 1742509 h 5973007"/>
              <a:gd name="connsiteX45981" fmla="*/ 1555452 w 6884782"/>
              <a:gd name="connsiteY45981" fmla="*/ 1742296 h 5973007"/>
              <a:gd name="connsiteX45982" fmla="*/ 1557930 w 6884782"/>
              <a:gd name="connsiteY45982" fmla="*/ 1743225 h 5973007"/>
              <a:gd name="connsiteX45983" fmla="*/ 1558653 w 6884782"/>
              <a:gd name="connsiteY45983" fmla="*/ 1744155 h 5973007"/>
              <a:gd name="connsiteX45984" fmla="*/ 1559479 w 6884782"/>
              <a:gd name="connsiteY45984" fmla="*/ 1744155 h 5973007"/>
              <a:gd name="connsiteX45985" fmla="*/ 1559376 w 6884782"/>
              <a:gd name="connsiteY45985" fmla="*/ 1745084 h 5973007"/>
              <a:gd name="connsiteX45986" fmla="*/ 1560821 w 6884782"/>
              <a:gd name="connsiteY45986" fmla="*/ 1746788 h 5973007"/>
              <a:gd name="connsiteX45987" fmla="*/ 1565674 w 6884782"/>
              <a:gd name="connsiteY45987" fmla="*/ 1749576 h 5973007"/>
              <a:gd name="connsiteX45988" fmla="*/ 1568256 w 6884782"/>
              <a:gd name="connsiteY45988" fmla="*/ 1754843 h 5973007"/>
              <a:gd name="connsiteX45989" fmla="*/ 1566294 w 6884782"/>
              <a:gd name="connsiteY45989" fmla="*/ 1756391 h 5973007"/>
              <a:gd name="connsiteX45990" fmla="*/ 1567739 w 6884782"/>
              <a:gd name="connsiteY45990" fmla="*/ 1758250 h 5973007"/>
              <a:gd name="connsiteX45991" fmla="*/ 1569495 w 6884782"/>
              <a:gd name="connsiteY45991" fmla="*/ 1760419 h 5973007"/>
              <a:gd name="connsiteX45992" fmla="*/ 1571560 w 6884782"/>
              <a:gd name="connsiteY45992" fmla="*/ 1760419 h 5973007"/>
              <a:gd name="connsiteX45993" fmla="*/ 1574451 w 6884782"/>
              <a:gd name="connsiteY45993" fmla="*/ 1761813 h 5973007"/>
              <a:gd name="connsiteX45994" fmla="*/ 1570837 w 6884782"/>
              <a:gd name="connsiteY45994" fmla="*/ 1766924 h 5973007"/>
              <a:gd name="connsiteX45995" fmla="*/ 1568462 w 6884782"/>
              <a:gd name="connsiteY45995" fmla="*/ 1764601 h 5973007"/>
              <a:gd name="connsiteX45996" fmla="*/ 1565158 w 6884782"/>
              <a:gd name="connsiteY45996" fmla="*/ 1768938 h 5973007"/>
              <a:gd name="connsiteX45997" fmla="*/ 1560305 w 6884782"/>
              <a:gd name="connsiteY45997" fmla="*/ 1771107 h 5973007"/>
              <a:gd name="connsiteX45998" fmla="*/ 1554523 w 6884782"/>
              <a:gd name="connsiteY45998" fmla="*/ 1769093 h 5973007"/>
              <a:gd name="connsiteX45999" fmla="*/ 1553490 w 6884782"/>
              <a:gd name="connsiteY45999" fmla="*/ 1766150 h 5973007"/>
              <a:gd name="connsiteX46000" fmla="*/ 1552561 w 6884782"/>
              <a:gd name="connsiteY46000" fmla="*/ 1767234 h 5973007"/>
              <a:gd name="connsiteX46001" fmla="*/ 1550186 w 6884782"/>
              <a:gd name="connsiteY46001" fmla="*/ 1769248 h 5973007"/>
              <a:gd name="connsiteX46002" fmla="*/ 1547811 w 6884782"/>
              <a:gd name="connsiteY46002" fmla="*/ 1766614 h 5973007"/>
              <a:gd name="connsiteX46003" fmla="*/ 1547708 w 6884782"/>
              <a:gd name="connsiteY46003" fmla="*/ 1764291 h 5973007"/>
              <a:gd name="connsiteX46004" fmla="*/ 1546469 w 6884782"/>
              <a:gd name="connsiteY46004" fmla="*/ 1764601 h 5973007"/>
              <a:gd name="connsiteX46005" fmla="*/ 1540376 w 6884782"/>
              <a:gd name="connsiteY46005" fmla="*/ 1756237 h 5973007"/>
              <a:gd name="connsiteX46006" fmla="*/ 1544403 w 6884782"/>
              <a:gd name="connsiteY46006" fmla="*/ 1754223 h 5973007"/>
              <a:gd name="connsiteX46007" fmla="*/ 1547708 w 6884782"/>
              <a:gd name="connsiteY46007" fmla="*/ 1753294 h 5973007"/>
              <a:gd name="connsiteX46008" fmla="*/ 1552561 w 6884782"/>
              <a:gd name="connsiteY46008" fmla="*/ 1758405 h 5973007"/>
              <a:gd name="connsiteX46009" fmla="*/ 1552458 w 6884782"/>
              <a:gd name="connsiteY46009" fmla="*/ 1758715 h 5973007"/>
              <a:gd name="connsiteX46010" fmla="*/ 1552664 w 6884782"/>
              <a:gd name="connsiteY46010" fmla="*/ 1758715 h 5973007"/>
              <a:gd name="connsiteX46011" fmla="*/ 1554006 w 6884782"/>
              <a:gd name="connsiteY46011" fmla="*/ 1759799 h 5973007"/>
              <a:gd name="connsiteX46012" fmla="*/ 1554626 w 6884782"/>
              <a:gd name="connsiteY46012" fmla="*/ 1758095 h 5973007"/>
              <a:gd name="connsiteX46013" fmla="*/ 1563093 w 6884782"/>
              <a:gd name="connsiteY46013" fmla="*/ 1754533 h 5973007"/>
              <a:gd name="connsiteX46014" fmla="*/ 1562267 w 6884782"/>
              <a:gd name="connsiteY46014" fmla="*/ 1754533 h 5973007"/>
              <a:gd name="connsiteX46015" fmla="*/ 1555452 w 6884782"/>
              <a:gd name="connsiteY46015" fmla="*/ 1742296 h 5973007"/>
              <a:gd name="connsiteX46016" fmla="*/ 1602227 w 6884782"/>
              <a:gd name="connsiteY46016" fmla="*/ 1741831 h 5973007"/>
              <a:gd name="connsiteX46017" fmla="*/ 1607287 w 6884782"/>
              <a:gd name="connsiteY46017" fmla="*/ 1743845 h 5973007"/>
              <a:gd name="connsiteX46018" fmla="*/ 1607803 w 6884782"/>
              <a:gd name="connsiteY46018" fmla="*/ 1743070 h 5973007"/>
              <a:gd name="connsiteX46019" fmla="*/ 1610488 w 6884782"/>
              <a:gd name="connsiteY46019" fmla="*/ 1753139 h 5973007"/>
              <a:gd name="connsiteX46020" fmla="*/ 1609662 w 6884782"/>
              <a:gd name="connsiteY46020" fmla="*/ 1757321 h 5973007"/>
              <a:gd name="connsiteX46021" fmla="*/ 1610074 w 6884782"/>
              <a:gd name="connsiteY46021" fmla="*/ 1757476 h 5973007"/>
              <a:gd name="connsiteX46022" fmla="*/ 1612553 w 6884782"/>
              <a:gd name="connsiteY46022" fmla="*/ 1757476 h 5973007"/>
              <a:gd name="connsiteX46023" fmla="*/ 1617922 w 6884782"/>
              <a:gd name="connsiteY46023" fmla="*/ 1760884 h 5973007"/>
              <a:gd name="connsiteX46024" fmla="*/ 1617199 w 6884782"/>
              <a:gd name="connsiteY46024" fmla="*/ 1763207 h 5973007"/>
              <a:gd name="connsiteX46025" fmla="*/ 1619471 w 6884782"/>
              <a:gd name="connsiteY46025" fmla="*/ 1763981 h 5973007"/>
              <a:gd name="connsiteX46026" fmla="*/ 1624014 w 6884782"/>
              <a:gd name="connsiteY46026" fmla="*/ 1767699 h 5973007"/>
              <a:gd name="connsiteX46027" fmla="*/ 1624014 w 6884782"/>
              <a:gd name="connsiteY46027" fmla="*/ 1767854 h 5973007"/>
              <a:gd name="connsiteX46028" fmla="*/ 1625873 w 6884782"/>
              <a:gd name="connsiteY46028" fmla="*/ 1769248 h 5973007"/>
              <a:gd name="connsiteX46029" fmla="*/ 1624117 w 6884782"/>
              <a:gd name="connsiteY46029" fmla="*/ 1788610 h 5973007"/>
              <a:gd name="connsiteX46030" fmla="*/ 1622981 w 6884782"/>
              <a:gd name="connsiteY46030" fmla="*/ 1788610 h 5973007"/>
              <a:gd name="connsiteX46031" fmla="*/ 1626699 w 6884782"/>
              <a:gd name="connsiteY46031" fmla="*/ 1789694 h 5973007"/>
              <a:gd name="connsiteX46032" fmla="*/ 1626389 w 6884782"/>
              <a:gd name="connsiteY46032" fmla="*/ 1793877 h 5973007"/>
              <a:gd name="connsiteX46033" fmla="*/ 1625047 w 6884782"/>
              <a:gd name="connsiteY46033" fmla="*/ 1795115 h 5973007"/>
              <a:gd name="connsiteX46034" fmla="*/ 1627422 w 6884782"/>
              <a:gd name="connsiteY46034" fmla="*/ 1795425 h 5973007"/>
              <a:gd name="connsiteX46035" fmla="*/ 1626596 w 6884782"/>
              <a:gd name="connsiteY46035" fmla="*/ 1801312 h 5973007"/>
              <a:gd name="connsiteX46036" fmla="*/ 1622052 w 6884782"/>
              <a:gd name="connsiteY46036" fmla="*/ 1800537 h 5973007"/>
              <a:gd name="connsiteX46037" fmla="*/ 1621949 w 6884782"/>
              <a:gd name="connsiteY46037" fmla="*/ 1797439 h 5973007"/>
              <a:gd name="connsiteX46038" fmla="*/ 1619677 w 6884782"/>
              <a:gd name="connsiteY46038" fmla="*/ 1798368 h 5973007"/>
              <a:gd name="connsiteX46039" fmla="*/ 1617819 w 6884782"/>
              <a:gd name="connsiteY46039" fmla="*/ 1807043 h 5973007"/>
              <a:gd name="connsiteX46040" fmla="*/ 1611623 w 6884782"/>
              <a:gd name="connsiteY46040" fmla="*/ 1798059 h 5973007"/>
              <a:gd name="connsiteX46041" fmla="*/ 1613275 w 6884782"/>
              <a:gd name="connsiteY46041" fmla="*/ 1793722 h 5973007"/>
              <a:gd name="connsiteX46042" fmla="*/ 1614721 w 6884782"/>
              <a:gd name="connsiteY46042" fmla="*/ 1794031 h 5973007"/>
              <a:gd name="connsiteX46043" fmla="*/ 1616270 w 6884782"/>
              <a:gd name="connsiteY46043" fmla="*/ 1791708 h 5973007"/>
              <a:gd name="connsiteX46044" fmla="*/ 1622568 w 6884782"/>
              <a:gd name="connsiteY46044" fmla="*/ 1788455 h 5973007"/>
              <a:gd name="connsiteX46045" fmla="*/ 1615340 w 6884782"/>
              <a:gd name="connsiteY46045" fmla="*/ 1787680 h 5973007"/>
              <a:gd name="connsiteX46046" fmla="*/ 1602640 w 6884782"/>
              <a:gd name="connsiteY46046" fmla="*/ 1772346 h 5973007"/>
              <a:gd name="connsiteX46047" fmla="*/ 1606874 w 6884782"/>
              <a:gd name="connsiteY46047" fmla="*/ 1765840 h 5973007"/>
              <a:gd name="connsiteX46048" fmla="*/ 1610694 w 6884782"/>
              <a:gd name="connsiteY46048" fmla="*/ 1764446 h 5973007"/>
              <a:gd name="connsiteX46049" fmla="*/ 1613275 w 6884782"/>
              <a:gd name="connsiteY46049" fmla="*/ 1762742 h 5973007"/>
              <a:gd name="connsiteX46050" fmla="*/ 1612449 w 6884782"/>
              <a:gd name="connsiteY46050" fmla="*/ 1763052 h 5973007"/>
              <a:gd name="connsiteX46051" fmla="*/ 1608009 w 6884782"/>
              <a:gd name="connsiteY46051" fmla="*/ 1761193 h 5973007"/>
              <a:gd name="connsiteX46052" fmla="*/ 1607287 w 6884782"/>
              <a:gd name="connsiteY46052" fmla="*/ 1762278 h 5973007"/>
              <a:gd name="connsiteX46053" fmla="*/ 1606770 w 6884782"/>
              <a:gd name="connsiteY46053" fmla="*/ 1760574 h 5973007"/>
              <a:gd name="connsiteX46054" fmla="*/ 1604189 w 6884782"/>
              <a:gd name="connsiteY46054" fmla="*/ 1759489 h 5973007"/>
              <a:gd name="connsiteX46055" fmla="*/ 1599233 w 6884782"/>
              <a:gd name="connsiteY46055" fmla="*/ 1755307 h 5973007"/>
              <a:gd name="connsiteX46056" fmla="*/ 1601917 w 6884782"/>
              <a:gd name="connsiteY46056" fmla="*/ 1755152 h 5973007"/>
              <a:gd name="connsiteX46057" fmla="*/ 1603156 w 6884782"/>
              <a:gd name="connsiteY46057" fmla="*/ 1755617 h 5973007"/>
              <a:gd name="connsiteX46058" fmla="*/ 1603879 w 6884782"/>
              <a:gd name="connsiteY46058" fmla="*/ 1755307 h 5973007"/>
              <a:gd name="connsiteX46059" fmla="*/ 1604292 w 6884782"/>
              <a:gd name="connsiteY46059" fmla="*/ 1756081 h 5973007"/>
              <a:gd name="connsiteX46060" fmla="*/ 1604499 w 6884782"/>
              <a:gd name="connsiteY46060" fmla="*/ 1756237 h 5973007"/>
              <a:gd name="connsiteX46061" fmla="*/ 1605531 w 6884782"/>
              <a:gd name="connsiteY46061" fmla="*/ 1756546 h 5973007"/>
              <a:gd name="connsiteX46062" fmla="*/ 1604499 w 6884782"/>
              <a:gd name="connsiteY46062" fmla="*/ 1753139 h 5973007"/>
              <a:gd name="connsiteX46063" fmla="*/ 1603466 w 6884782"/>
              <a:gd name="connsiteY46063" fmla="*/ 1753913 h 5973007"/>
              <a:gd name="connsiteX46064" fmla="*/ 1599336 w 6884782"/>
              <a:gd name="connsiteY46064" fmla="*/ 1751280 h 5973007"/>
              <a:gd name="connsiteX46065" fmla="*/ 1597477 w 6884782"/>
              <a:gd name="connsiteY46065" fmla="*/ 1749421 h 5973007"/>
              <a:gd name="connsiteX46066" fmla="*/ 1594896 w 6884782"/>
              <a:gd name="connsiteY46066" fmla="*/ 1752519 h 5973007"/>
              <a:gd name="connsiteX46067" fmla="*/ 1589836 w 6884782"/>
              <a:gd name="connsiteY46067" fmla="*/ 1760264 h 5973007"/>
              <a:gd name="connsiteX46068" fmla="*/ 1584776 w 6884782"/>
              <a:gd name="connsiteY46068" fmla="*/ 1756237 h 5973007"/>
              <a:gd name="connsiteX46069" fmla="*/ 1590146 w 6884782"/>
              <a:gd name="connsiteY46069" fmla="*/ 1744155 h 5973007"/>
              <a:gd name="connsiteX46070" fmla="*/ 1598510 w 6884782"/>
              <a:gd name="connsiteY46070" fmla="*/ 1743380 h 5973007"/>
              <a:gd name="connsiteX46071" fmla="*/ 1599130 w 6884782"/>
              <a:gd name="connsiteY46071" fmla="*/ 1743690 h 5973007"/>
              <a:gd name="connsiteX46072" fmla="*/ 1602227 w 6884782"/>
              <a:gd name="connsiteY46072" fmla="*/ 1741831 h 5973007"/>
              <a:gd name="connsiteX46073" fmla="*/ 1384124 w 6884782"/>
              <a:gd name="connsiteY46073" fmla="*/ 1741328 h 5973007"/>
              <a:gd name="connsiteX46074" fmla="*/ 1388693 w 6884782"/>
              <a:gd name="connsiteY46074" fmla="*/ 1745394 h 5973007"/>
              <a:gd name="connsiteX46075" fmla="*/ 1387867 w 6884782"/>
              <a:gd name="connsiteY46075" fmla="*/ 1750660 h 5973007"/>
              <a:gd name="connsiteX46076" fmla="*/ 1386731 w 6884782"/>
              <a:gd name="connsiteY46076" fmla="*/ 1750506 h 5973007"/>
              <a:gd name="connsiteX46077" fmla="*/ 1382085 w 6884782"/>
              <a:gd name="connsiteY46077" fmla="*/ 1756546 h 5973007"/>
              <a:gd name="connsiteX46078" fmla="*/ 1374031 w 6884782"/>
              <a:gd name="connsiteY46078" fmla="*/ 1756237 h 5973007"/>
              <a:gd name="connsiteX46079" fmla="*/ 1373721 w 6884782"/>
              <a:gd name="connsiteY46079" fmla="*/ 1754068 h 5973007"/>
              <a:gd name="connsiteX46080" fmla="*/ 1377851 w 6884782"/>
              <a:gd name="connsiteY46080" fmla="*/ 1749576 h 5973007"/>
              <a:gd name="connsiteX46081" fmla="*/ 1380742 w 6884782"/>
              <a:gd name="connsiteY46081" fmla="*/ 1749111 h 5973007"/>
              <a:gd name="connsiteX46082" fmla="*/ 1379916 w 6884782"/>
              <a:gd name="connsiteY46082" fmla="*/ 1748492 h 5973007"/>
              <a:gd name="connsiteX46083" fmla="*/ 1378471 w 6884782"/>
              <a:gd name="connsiteY46083" fmla="*/ 1746788 h 5973007"/>
              <a:gd name="connsiteX46084" fmla="*/ 1384124 w 6884782"/>
              <a:gd name="connsiteY46084" fmla="*/ 1741328 h 5973007"/>
              <a:gd name="connsiteX46085" fmla="*/ 1531497 w 6884782"/>
              <a:gd name="connsiteY46085" fmla="*/ 1741212 h 5973007"/>
              <a:gd name="connsiteX46086" fmla="*/ 1517144 w 6884782"/>
              <a:gd name="connsiteY46086" fmla="*/ 1748492 h 5973007"/>
              <a:gd name="connsiteX46087" fmla="*/ 1518899 w 6884782"/>
              <a:gd name="connsiteY46087" fmla="*/ 1745704 h 5973007"/>
              <a:gd name="connsiteX46088" fmla="*/ 1518693 w 6884782"/>
              <a:gd name="connsiteY46088" fmla="*/ 1745704 h 5973007"/>
              <a:gd name="connsiteX46089" fmla="*/ 1519106 w 6884782"/>
              <a:gd name="connsiteY46089" fmla="*/ 1744929 h 5973007"/>
              <a:gd name="connsiteX46090" fmla="*/ 1519415 w 6884782"/>
              <a:gd name="connsiteY46090" fmla="*/ 1744929 h 5973007"/>
              <a:gd name="connsiteX46091" fmla="*/ 1520035 w 6884782"/>
              <a:gd name="connsiteY46091" fmla="*/ 1744155 h 5973007"/>
              <a:gd name="connsiteX46092" fmla="*/ 1531497 w 6884782"/>
              <a:gd name="connsiteY46092" fmla="*/ 1741212 h 5973007"/>
              <a:gd name="connsiteX46093" fmla="*/ 1751639 w 6884782"/>
              <a:gd name="connsiteY46093" fmla="*/ 1741057 h 5973007"/>
              <a:gd name="connsiteX46094" fmla="*/ 1759486 w 6884782"/>
              <a:gd name="connsiteY46094" fmla="*/ 1741986 h 5973007"/>
              <a:gd name="connsiteX46095" fmla="*/ 1751329 w 6884782"/>
              <a:gd name="connsiteY46095" fmla="*/ 1744929 h 5973007"/>
              <a:gd name="connsiteX46096" fmla="*/ 1750916 w 6884782"/>
              <a:gd name="connsiteY46096" fmla="*/ 1743225 h 5973007"/>
              <a:gd name="connsiteX46097" fmla="*/ 1751639 w 6884782"/>
              <a:gd name="connsiteY46097" fmla="*/ 1741057 h 5973007"/>
              <a:gd name="connsiteX46098" fmla="*/ 5176496 w 6884782"/>
              <a:gd name="connsiteY46098" fmla="*/ 1740802 h 5973007"/>
              <a:gd name="connsiteX46099" fmla="*/ 5204027 w 6884782"/>
              <a:gd name="connsiteY46099" fmla="*/ 1753891 h 5973007"/>
              <a:gd name="connsiteX46100" fmla="*/ 5205521 w 6884782"/>
              <a:gd name="connsiteY46100" fmla="*/ 1763138 h 5973007"/>
              <a:gd name="connsiteX46101" fmla="*/ 5204027 w 6884782"/>
              <a:gd name="connsiteY46101" fmla="*/ 1765841 h 5973007"/>
              <a:gd name="connsiteX46102" fmla="*/ 5203814 w 6884782"/>
              <a:gd name="connsiteY46102" fmla="*/ 1768829 h 5973007"/>
              <a:gd name="connsiteX46103" fmla="*/ 5203174 w 6884782"/>
              <a:gd name="connsiteY46103" fmla="*/ 1777080 h 5973007"/>
              <a:gd name="connsiteX46104" fmla="*/ 5197411 w 6884782"/>
              <a:gd name="connsiteY46104" fmla="*/ 1777365 h 5973007"/>
              <a:gd name="connsiteX46105" fmla="*/ 5195704 w 6884782"/>
              <a:gd name="connsiteY46105" fmla="*/ 1774662 h 5973007"/>
              <a:gd name="connsiteX46106" fmla="*/ 5192503 w 6884782"/>
              <a:gd name="connsiteY46106" fmla="*/ 1775943 h 5973007"/>
              <a:gd name="connsiteX46107" fmla="*/ 5192076 w 6884782"/>
              <a:gd name="connsiteY46107" fmla="*/ 1777080 h 5973007"/>
              <a:gd name="connsiteX46108" fmla="*/ 5187807 w 6884782"/>
              <a:gd name="connsiteY46108" fmla="*/ 1779072 h 5973007"/>
              <a:gd name="connsiteX46109" fmla="*/ 5177563 w 6884782"/>
              <a:gd name="connsiteY46109" fmla="*/ 1781207 h 5973007"/>
              <a:gd name="connsiteX46110" fmla="*/ 5177777 w 6884782"/>
              <a:gd name="connsiteY46110" fmla="*/ 1779499 h 5973007"/>
              <a:gd name="connsiteX46111" fmla="*/ 5185246 w 6884782"/>
              <a:gd name="connsiteY46111" fmla="*/ 1776227 h 5973007"/>
              <a:gd name="connsiteX46112" fmla="*/ 5187807 w 6884782"/>
              <a:gd name="connsiteY46112" fmla="*/ 1775516 h 5973007"/>
              <a:gd name="connsiteX46113" fmla="*/ 5182685 w 6884782"/>
              <a:gd name="connsiteY46113" fmla="*/ 1774662 h 5973007"/>
              <a:gd name="connsiteX46114" fmla="*/ 5175002 w 6884782"/>
              <a:gd name="connsiteY46114" fmla="*/ 1768544 h 5973007"/>
              <a:gd name="connsiteX46115" fmla="*/ 5176496 w 6884782"/>
              <a:gd name="connsiteY46115" fmla="*/ 1740802 h 5973007"/>
              <a:gd name="connsiteX46116" fmla="*/ 3944850 w 6884782"/>
              <a:gd name="connsiteY46116" fmla="*/ 1740375 h 5973007"/>
              <a:gd name="connsiteX46117" fmla="*/ 3954881 w 6884782"/>
              <a:gd name="connsiteY46117" fmla="*/ 1760150 h 5973007"/>
              <a:gd name="connsiteX46118" fmla="*/ 3944850 w 6884782"/>
              <a:gd name="connsiteY46118" fmla="*/ 1740375 h 5973007"/>
              <a:gd name="connsiteX46119" fmla="*/ 787742 w 6884782"/>
              <a:gd name="connsiteY46119" fmla="*/ 1739818 h 5973007"/>
              <a:gd name="connsiteX46120" fmla="*/ 788465 w 6884782"/>
              <a:gd name="connsiteY46120" fmla="*/ 1747408 h 5973007"/>
              <a:gd name="connsiteX46121" fmla="*/ 788465 w 6884782"/>
              <a:gd name="connsiteY46121" fmla="*/ 1751590 h 5973007"/>
              <a:gd name="connsiteX46122" fmla="*/ 786606 w 6884782"/>
              <a:gd name="connsiteY46122" fmla="*/ 1753139 h 5973007"/>
              <a:gd name="connsiteX46123" fmla="*/ 785780 w 6884782"/>
              <a:gd name="connsiteY46123" fmla="*/ 1752984 h 5973007"/>
              <a:gd name="connsiteX46124" fmla="*/ 785058 w 6884782"/>
              <a:gd name="connsiteY46124" fmla="*/ 1751125 h 5973007"/>
              <a:gd name="connsiteX46125" fmla="*/ 785987 w 6884782"/>
              <a:gd name="connsiteY46125" fmla="*/ 1743070 h 5973007"/>
              <a:gd name="connsiteX46126" fmla="*/ 785987 w 6884782"/>
              <a:gd name="connsiteY46126" fmla="*/ 1741367 h 5973007"/>
              <a:gd name="connsiteX46127" fmla="*/ 787742 w 6884782"/>
              <a:gd name="connsiteY46127" fmla="*/ 1739818 h 5973007"/>
              <a:gd name="connsiteX46128" fmla="*/ 4669411 w 6884782"/>
              <a:gd name="connsiteY46128" fmla="*/ 1739664 h 5973007"/>
              <a:gd name="connsiteX46129" fmla="*/ 4670264 w 6884782"/>
              <a:gd name="connsiteY46129" fmla="*/ 1739664 h 5973007"/>
              <a:gd name="connsiteX46130" fmla="*/ 4673252 w 6884782"/>
              <a:gd name="connsiteY46130" fmla="*/ 1740660 h 5973007"/>
              <a:gd name="connsiteX46131" fmla="*/ 4672399 w 6884782"/>
              <a:gd name="connsiteY46131" fmla="*/ 1742225 h 5973007"/>
              <a:gd name="connsiteX46132" fmla="*/ 4673466 w 6884782"/>
              <a:gd name="connsiteY46132" fmla="*/ 1741798 h 5973007"/>
              <a:gd name="connsiteX46133" fmla="*/ 4672185 w 6884782"/>
              <a:gd name="connsiteY46133" fmla="*/ 1742794 h 5973007"/>
              <a:gd name="connsiteX46134" fmla="*/ 4671331 w 6884782"/>
              <a:gd name="connsiteY46134" fmla="*/ 1742652 h 5973007"/>
              <a:gd name="connsiteX46135" fmla="*/ 4669411 w 6884782"/>
              <a:gd name="connsiteY46135" fmla="*/ 1739664 h 5973007"/>
              <a:gd name="connsiteX46136" fmla="*/ 5048231 w 6884782"/>
              <a:gd name="connsiteY46136" fmla="*/ 1739237 h 5973007"/>
              <a:gd name="connsiteX46137" fmla="*/ 5072134 w 6884782"/>
              <a:gd name="connsiteY46137" fmla="*/ 1761715 h 5973007"/>
              <a:gd name="connsiteX46138" fmla="*/ 5071067 w 6884782"/>
              <a:gd name="connsiteY46138" fmla="*/ 1761289 h 5973007"/>
              <a:gd name="connsiteX46139" fmla="*/ 5071067 w 6884782"/>
              <a:gd name="connsiteY46139" fmla="*/ 1762427 h 5973007"/>
              <a:gd name="connsiteX46140" fmla="*/ 5067865 w 6884782"/>
              <a:gd name="connsiteY46140" fmla="*/ 1766979 h 5973007"/>
              <a:gd name="connsiteX46141" fmla="*/ 5064237 w 6884782"/>
              <a:gd name="connsiteY46141" fmla="*/ 1761004 h 5973007"/>
              <a:gd name="connsiteX46142" fmla="*/ 5065731 w 6884782"/>
              <a:gd name="connsiteY46142" fmla="*/ 1759724 h 5973007"/>
              <a:gd name="connsiteX46143" fmla="*/ 5063810 w 6884782"/>
              <a:gd name="connsiteY46143" fmla="*/ 1759155 h 5973007"/>
              <a:gd name="connsiteX46144" fmla="*/ 5059329 w 6884782"/>
              <a:gd name="connsiteY46144" fmla="*/ 1755456 h 5973007"/>
              <a:gd name="connsiteX46145" fmla="*/ 5058902 w 6884782"/>
              <a:gd name="connsiteY46145" fmla="*/ 1762427 h 5973007"/>
              <a:gd name="connsiteX46146" fmla="*/ 5039907 w 6884782"/>
              <a:gd name="connsiteY46146" fmla="*/ 1762996 h 5973007"/>
              <a:gd name="connsiteX46147" fmla="*/ 5040975 w 6884782"/>
              <a:gd name="connsiteY46147" fmla="*/ 1751046 h 5973007"/>
              <a:gd name="connsiteX46148" fmla="*/ 5051005 w 6884782"/>
              <a:gd name="connsiteY46148" fmla="*/ 1751046 h 5973007"/>
              <a:gd name="connsiteX46149" fmla="*/ 5056981 w 6884782"/>
              <a:gd name="connsiteY46149" fmla="*/ 1753606 h 5973007"/>
              <a:gd name="connsiteX46150" fmla="*/ 5056767 w 6884782"/>
              <a:gd name="connsiteY46150" fmla="*/ 1753322 h 5973007"/>
              <a:gd name="connsiteX46151" fmla="*/ 5048231 w 6884782"/>
              <a:gd name="connsiteY46151" fmla="*/ 1739237 h 5973007"/>
              <a:gd name="connsiteX46152" fmla="*/ 5005974 w 6884782"/>
              <a:gd name="connsiteY46152" fmla="*/ 1739237 h 5973007"/>
              <a:gd name="connsiteX46153" fmla="*/ 4995089 w 6884782"/>
              <a:gd name="connsiteY46153" fmla="*/ 1749765 h 5973007"/>
              <a:gd name="connsiteX46154" fmla="*/ 4991034 w 6884782"/>
              <a:gd name="connsiteY46154" fmla="*/ 1745782 h 5973007"/>
              <a:gd name="connsiteX46155" fmla="*/ 5005974 w 6884782"/>
              <a:gd name="connsiteY46155" fmla="*/ 1739237 h 5973007"/>
              <a:gd name="connsiteX46156" fmla="*/ 5519035 w 6884782"/>
              <a:gd name="connsiteY46156" fmla="*/ 1739095 h 5973007"/>
              <a:gd name="connsiteX46157" fmla="*/ 5521809 w 6884782"/>
              <a:gd name="connsiteY46157" fmla="*/ 1739664 h 5973007"/>
              <a:gd name="connsiteX46158" fmla="*/ 5520956 w 6884782"/>
              <a:gd name="connsiteY46158" fmla="*/ 1745639 h 5973007"/>
              <a:gd name="connsiteX46159" fmla="*/ 5517541 w 6884782"/>
              <a:gd name="connsiteY46159" fmla="*/ 1746635 h 5973007"/>
              <a:gd name="connsiteX46160" fmla="*/ 5516260 w 6884782"/>
              <a:gd name="connsiteY46160" fmla="*/ 1742936 h 5973007"/>
              <a:gd name="connsiteX46161" fmla="*/ 5517114 w 6884782"/>
              <a:gd name="connsiteY46161" fmla="*/ 1739522 h 5973007"/>
              <a:gd name="connsiteX46162" fmla="*/ 5519035 w 6884782"/>
              <a:gd name="connsiteY46162" fmla="*/ 1739095 h 5973007"/>
              <a:gd name="connsiteX46163" fmla="*/ 1004270 w 6884782"/>
              <a:gd name="connsiteY46163" fmla="*/ 1738578 h 5973007"/>
              <a:gd name="connsiteX46164" fmla="*/ 1006026 w 6884782"/>
              <a:gd name="connsiteY46164" fmla="*/ 1738578 h 5973007"/>
              <a:gd name="connsiteX46165" fmla="*/ 1006748 w 6884782"/>
              <a:gd name="connsiteY46165" fmla="*/ 1739663 h 5973007"/>
              <a:gd name="connsiteX46166" fmla="*/ 1007368 w 6884782"/>
              <a:gd name="connsiteY46166" fmla="*/ 1739198 h 5973007"/>
              <a:gd name="connsiteX46167" fmla="*/ 1010053 w 6884782"/>
              <a:gd name="connsiteY46167" fmla="*/ 1738888 h 5973007"/>
              <a:gd name="connsiteX46168" fmla="*/ 1011189 w 6884782"/>
              <a:gd name="connsiteY46168" fmla="*/ 1743070 h 5973007"/>
              <a:gd name="connsiteX46169" fmla="*/ 1009433 w 6884782"/>
              <a:gd name="connsiteY46169" fmla="*/ 1744155 h 5973007"/>
              <a:gd name="connsiteX46170" fmla="*/ 1007884 w 6884782"/>
              <a:gd name="connsiteY46170" fmla="*/ 1743845 h 5973007"/>
              <a:gd name="connsiteX46171" fmla="*/ 1007471 w 6884782"/>
              <a:gd name="connsiteY46171" fmla="*/ 1746013 h 5973007"/>
              <a:gd name="connsiteX46172" fmla="*/ 1000346 w 6884782"/>
              <a:gd name="connsiteY46172" fmla="*/ 1748802 h 5973007"/>
              <a:gd name="connsiteX46173" fmla="*/ 999521 w 6884782"/>
              <a:gd name="connsiteY46173" fmla="*/ 1747098 h 5973007"/>
              <a:gd name="connsiteX46174" fmla="*/ 999107 w 6884782"/>
              <a:gd name="connsiteY46174" fmla="*/ 1745084 h 5973007"/>
              <a:gd name="connsiteX46175" fmla="*/ 1000656 w 6884782"/>
              <a:gd name="connsiteY46175" fmla="*/ 1740437 h 5973007"/>
              <a:gd name="connsiteX46176" fmla="*/ 1004270 w 6884782"/>
              <a:gd name="connsiteY46176" fmla="*/ 1738578 h 5973007"/>
              <a:gd name="connsiteX46177" fmla="*/ 5799895 w 6884782"/>
              <a:gd name="connsiteY46177" fmla="*/ 1738099 h 5973007"/>
              <a:gd name="connsiteX46178" fmla="*/ 5831694 w 6884782"/>
              <a:gd name="connsiteY46178" fmla="*/ 1778361 h 5973007"/>
              <a:gd name="connsiteX46179" fmla="*/ 5808219 w 6884782"/>
              <a:gd name="connsiteY46179" fmla="*/ 1776227 h 5973007"/>
              <a:gd name="connsiteX46180" fmla="*/ 5789651 w 6884782"/>
              <a:gd name="connsiteY46180" fmla="*/ 1741229 h 5973007"/>
              <a:gd name="connsiteX46181" fmla="*/ 5792212 w 6884782"/>
              <a:gd name="connsiteY46181" fmla="*/ 1738953 h 5973007"/>
              <a:gd name="connsiteX46182" fmla="*/ 5799895 w 6884782"/>
              <a:gd name="connsiteY46182" fmla="*/ 1738099 h 5973007"/>
              <a:gd name="connsiteX46183" fmla="*/ 5103080 w 6884782"/>
              <a:gd name="connsiteY46183" fmla="*/ 1738099 h 5973007"/>
              <a:gd name="connsiteX46184" fmla="*/ 5106708 w 6884782"/>
              <a:gd name="connsiteY46184" fmla="*/ 1743932 h 5973007"/>
              <a:gd name="connsiteX46185" fmla="*/ 5106281 w 6884782"/>
              <a:gd name="connsiteY46185" fmla="*/ 1744786 h 5973007"/>
              <a:gd name="connsiteX46186" fmla="*/ 5107135 w 6884782"/>
              <a:gd name="connsiteY46186" fmla="*/ 1743932 h 5973007"/>
              <a:gd name="connsiteX46187" fmla="*/ 5113537 w 6884782"/>
              <a:gd name="connsiteY46187" fmla="*/ 1749196 h 5973007"/>
              <a:gd name="connsiteX46188" fmla="*/ 5113751 w 6884782"/>
              <a:gd name="connsiteY46188" fmla="*/ 1753606 h 5973007"/>
              <a:gd name="connsiteX46189" fmla="*/ 5115884 w 6884782"/>
              <a:gd name="connsiteY46189" fmla="*/ 1755029 h 5973007"/>
              <a:gd name="connsiteX46190" fmla="*/ 5113964 w 6884782"/>
              <a:gd name="connsiteY46190" fmla="*/ 1757732 h 5973007"/>
              <a:gd name="connsiteX46191" fmla="*/ 5113964 w 6884782"/>
              <a:gd name="connsiteY46191" fmla="*/ 1758443 h 5973007"/>
              <a:gd name="connsiteX46192" fmla="*/ 5100092 w 6884782"/>
              <a:gd name="connsiteY46192" fmla="*/ 1755029 h 5973007"/>
              <a:gd name="connsiteX46193" fmla="*/ 5100945 w 6884782"/>
              <a:gd name="connsiteY46193" fmla="*/ 1753037 h 5973007"/>
              <a:gd name="connsiteX46194" fmla="*/ 5098385 w 6884782"/>
              <a:gd name="connsiteY46194" fmla="*/ 1753179 h 5973007"/>
              <a:gd name="connsiteX46195" fmla="*/ 5094756 w 6884782"/>
              <a:gd name="connsiteY46195" fmla="*/ 1752468 h 5973007"/>
              <a:gd name="connsiteX46196" fmla="*/ 5093902 w 6884782"/>
              <a:gd name="connsiteY46196" fmla="*/ 1743932 h 5973007"/>
              <a:gd name="connsiteX46197" fmla="*/ 5096677 w 6884782"/>
              <a:gd name="connsiteY46197" fmla="*/ 1741087 h 5973007"/>
              <a:gd name="connsiteX46198" fmla="*/ 5103506 w 6884782"/>
              <a:gd name="connsiteY46198" fmla="*/ 1739095 h 5973007"/>
              <a:gd name="connsiteX46199" fmla="*/ 5103080 w 6884782"/>
              <a:gd name="connsiteY46199" fmla="*/ 1738099 h 5973007"/>
              <a:gd name="connsiteX46200" fmla="*/ 5303694 w 6884782"/>
              <a:gd name="connsiteY46200" fmla="*/ 1737957 h 5973007"/>
              <a:gd name="connsiteX46201" fmla="*/ 5307109 w 6884782"/>
              <a:gd name="connsiteY46201" fmla="*/ 1741229 h 5973007"/>
              <a:gd name="connsiteX46202" fmla="*/ 5303267 w 6884782"/>
              <a:gd name="connsiteY46202" fmla="*/ 1738953 h 5973007"/>
              <a:gd name="connsiteX46203" fmla="*/ 5303694 w 6884782"/>
              <a:gd name="connsiteY46203" fmla="*/ 1737957 h 5973007"/>
              <a:gd name="connsiteX46204" fmla="*/ 3882532 w 6884782"/>
              <a:gd name="connsiteY46204" fmla="*/ 1737815 h 5973007"/>
              <a:gd name="connsiteX46205" fmla="*/ 3883172 w 6884782"/>
              <a:gd name="connsiteY46205" fmla="*/ 1742794 h 5973007"/>
              <a:gd name="connsiteX46206" fmla="*/ 3879971 w 6884782"/>
              <a:gd name="connsiteY46206" fmla="*/ 1744217 h 5973007"/>
              <a:gd name="connsiteX46207" fmla="*/ 3882532 w 6884782"/>
              <a:gd name="connsiteY46207" fmla="*/ 1737815 h 5973007"/>
              <a:gd name="connsiteX46208" fmla="*/ 5989839 w 6884782"/>
              <a:gd name="connsiteY46208" fmla="*/ 1737388 h 5973007"/>
              <a:gd name="connsiteX46209" fmla="*/ 5992400 w 6884782"/>
              <a:gd name="connsiteY46209" fmla="*/ 1740802 h 5973007"/>
              <a:gd name="connsiteX46210" fmla="*/ 5992400 w 6884782"/>
              <a:gd name="connsiteY46210" fmla="*/ 1747916 h 5973007"/>
              <a:gd name="connsiteX46211" fmla="*/ 5990479 w 6884782"/>
              <a:gd name="connsiteY46211" fmla="*/ 1750761 h 5973007"/>
              <a:gd name="connsiteX46212" fmla="*/ 5991119 w 6884782"/>
              <a:gd name="connsiteY46212" fmla="*/ 1752326 h 5973007"/>
              <a:gd name="connsiteX46213" fmla="*/ 5978527 w 6884782"/>
              <a:gd name="connsiteY46213" fmla="*/ 1748484 h 5973007"/>
              <a:gd name="connsiteX46214" fmla="*/ 5982583 w 6884782"/>
              <a:gd name="connsiteY46214" fmla="*/ 1741798 h 5973007"/>
              <a:gd name="connsiteX46215" fmla="*/ 5985570 w 6884782"/>
              <a:gd name="connsiteY46215" fmla="*/ 1742936 h 5973007"/>
              <a:gd name="connsiteX46216" fmla="*/ 5985784 w 6884782"/>
              <a:gd name="connsiteY46216" fmla="*/ 1743220 h 5973007"/>
              <a:gd name="connsiteX46217" fmla="*/ 5901696 w 6884782"/>
              <a:gd name="connsiteY46217" fmla="*/ 1737103 h 5973007"/>
              <a:gd name="connsiteX46218" fmla="*/ 5904684 w 6884782"/>
              <a:gd name="connsiteY46218" fmla="*/ 1739095 h 5973007"/>
              <a:gd name="connsiteX46219" fmla="*/ 5901270 w 6884782"/>
              <a:gd name="connsiteY46219" fmla="*/ 1742509 h 5973007"/>
              <a:gd name="connsiteX46220" fmla="*/ 5899775 w 6884782"/>
              <a:gd name="connsiteY46220" fmla="*/ 1737815 h 5973007"/>
              <a:gd name="connsiteX46221" fmla="*/ 5901696 w 6884782"/>
              <a:gd name="connsiteY46221" fmla="*/ 1737103 h 5973007"/>
              <a:gd name="connsiteX46222" fmla="*/ 965007 w 6884782"/>
              <a:gd name="connsiteY46222" fmla="*/ 1736875 h 5973007"/>
              <a:gd name="connsiteX46223" fmla="*/ 976185 w 6884782"/>
              <a:gd name="connsiteY46223" fmla="*/ 1744310 h 5973007"/>
              <a:gd name="connsiteX46224" fmla="*/ 964103 w 6884782"/>
              <a:gd name="connsiteY46224" fmla="*/ 1743225 h 5973007"/>
              <a:gd name="connsiteX46225" fmla="*/ 951816 w 6884782"/>
              <a:gd name="connsiteY46225" fmla="*/ 1737804 h 5973007"/>
              <a:gd name="connsiteX46226" fmla="*/ 965007 w 6884782"/>
              <a:gd name="connsiteY46226" fmla="*/ 1736875 h 5973007"/>
              <a:gd name="connsiteX46227" fmla="*/ 5740991 w 6884782"/>
              <a:gd name="connsiteY46227" fmla="*/ 1735823 h 5973007"/>
              <a:gd name="connsiteX46228" fmla="*/ 5750595 w 6884782"/>
              <a:gd name="connsiteY46228" fmla="*/ 1742509 h 5973007"/>
              <a:gd name="connsiteX46229" fmla="*/ 5740991 w 6884782"/>
              <a:gd name="connsiteY46229" fmla="*/ 1735823 h 5973007"/>
              <a:gd name="connsiteX46230" fmla="*/ 5789864 w 6884782"/>
              <a:gd name="connsiteY46230" fmla="*/ 1735111 h 5973007"/>
              <a:gd name="connsiteX46231" fmla="*/ 5794773 w 6884782"/>
              <a:gd name="connsiteY46231" fmla="*/ 1735111 h 5973007"/>
              <a:gd name="connsiteX46232" fmla="*/ 5797974 w 6884782"/>
              <a:gd name="connsiteY46232" fmla="*/ 1737388 h 5973007"/>
              <a:gd name="connsiteX46233" fmla="*/ 5789864 w 6884782"/>
              <a:gd name="connsiteY46233" fmla="*/ 1735111 h 5973007"/>
              <a:gd name="connsiteX46234" fmla="*/ 1724982 w 6884782"/>
              <a:gd name="connsiteY46234" fmla="*/ 1734975 h 5973007"/>
              <a:gd name="connsiteX46235" fmla="*/ 1735118 w 6884782"/>
              <a:gd name="connsiteY46235" fmla="*/ 1736875 h 5973007"/>
              <a:gd name="connsiteX46236" fmla="*/ 1701663 w 6884782"/>
              <a:gd name="connsiteY46236" fmla="*/ 1761658 h 5973007"/>
              <a:gd name="connsiteX46237" fmla="*/ 1724982 w 6884782"/>
              <a:gd name="connsiteY46237" fmla="*/ 1734975 h 5973007"/>
              <a:gd name="connsiteX46238" fmla="*/ 4736638 w 6884782"/>
              <a:gd name="connsiteY46238" fmla="*/ 1734969 h 5973007"/>
              <a:gd name="connsiteX46239" fmla="*/ 4735571 w 6884782"/>
              <a:gd name="connsiteY46239" fmla="*/ 1735396 h 5973007"/>
              <a:gd name="connsiteX46240" fmla="*/ 4735571 w 6884782"/>
              <a:gd name="connsiteY46240" fmla="*/ 1735965 h 5973007"/>
              <a:gd name="connsiteX46241" fmla="*/ 5468668 w 6884782"/>
              <a:gd name="connsiteY46241" fmla="*/ 1734400 h 5973007"/>
              <a:gd name="connsiteX46242" fmla="*/ 5466106 w 6884782"/>
              <a:gd name="connsiteY46242" fmla="*/ 1736818 h 5973007"/>
              <a:gd name="connsiteX46243" fmla="*/ 5465893 w 6884782"/>
              <a:gd name="connsiteY46243" fmla="*/ 1739237 h 5973007"/>
              <a:gd name="connsiteX46244" fmla="*/ 5462265 w 6884782"/>
              <a:gd name="connsiteY46244" fmla="*/ 1740517 h 5973007"/>
              <a:gd name="connsiteX46245" fmla="*/ 5468668 w 6884782"/>
              <a:gd name="connsiteY46245" fmla="*/ 1734400 h 5973007"/>
              <a:gd name="connsiteX46246" fmla="*/ 3882105 w 6884782"/>
              <a:gd name="connsiteY46246" fmla="*/ 1734400 h 5973007"/>
              <a:gd name="connsiteX46247" fmla="*/ 3882532 w 6884782"/>
              <a:gd name="connsiteY46247" fmla="*/ 1736961 h 5973007"/>
              <a:gd name="connsiteX46248" fmla="*/ 3881465 w 6884782"/>
              <a:gd name="connsiteY46248" fmla="*/ 1737103 h 5973007"/>
              <a:gd name="connsiteX46249" fmla="*/ 3882105 w 6884782"/>
              <a:gd name="connsiteY46249" fmla="*/ 1734400 h 5973007"/>
              <a:gd name="connsiteX46250" fmla="*/ 1645181 w 6884782"/>
              <a:gd name="connsiteY46250" fmla="*/ 1734396 h 5973007"/>
              <a:gd name="connsiteX46251" fmla="*/ 1656333 w 6884782"/>
              <a:gd name="connsiteY46251" fmla="*/ 1751280 h 5973007"/>
              <a:gd name="connsiteX46252" fmla="*/ 1648176 w 6884782"/>
              <a:gd name="connsiteY46252" fmla="*/ 1744310 h 5973007"/>
              <a:gd name="connsiteX46253" fmla="*/ 1645181 w 6884782"/>
              <a:gd name="connsiteY46253" fmla="*/ 1734396 h 5973007"/>
              <a:gd name="connsiteX46254" fmla="*/ 1796245 w 6884782"/>
              <a:gd name="connsiteY46254" fmla="*/ 1734242 h 5973007"/>
              <a:gd name="connsiteX46255" fmla="*/ 1800272 w 6884782"/>
              <a:gd name="connsiteY46255" fmla="*/ 1738269 h 5973007"/>
              <a:gd name="connsiteX46256" fmla="*/ 1776524 w 6884782"/>
              <a:gd name="connsiteY46256" fmla="*/ 1737804 h 5973007"/>
              <a:gd name="connsiteX46257" fmla="*/ 1796245 w 6884782"/>
              <a:gd name="connsiteY46257" fmla="*/ 1734242 h 5973007"/>
              <a:gd name="connsiteX46258" fmla="*/ 4748589 w 6884782"/>
              <a:gd name="connsiteY46258" fmla="*/ 1734116 h 5973007"/>
              <a:gd name="connsiteX46259" fmla="*/ 4754565 w 6884782"/>
              <a:gd name="connsiteY46259" fmla="*/ 1734116 h 5973007"/>
              <a:gd name="connsiteX46260" fmla="*/ 4744535 w 6884782"/>
              <a:gd name="connsiteY46260" fmla="*/ 1736961 h 5973007"/>
              <a:gd name="connsiteX46261" fmla="*/ 4748589 w 6884782"/>
              <a:gd name="connsiteY46261" fmla="*/ 1734116 h 5973007"/>
              <a:gd name="connsiteX46262" fmla="*/ 1260242 w 6884782"/>
              <a:gd name="connsiteY46262" fmla="*/ 1733932 h 5973007"/>
              <a:gd name="connsiteX46263" fmla="*/ 1262411 w 6884782"/>
              <a:gd name="connsiteY46263" fmla="*/ 1734396 h 5973007"/>
              <a:gd name="connsiteX46264" fmla="*/ 1263443 w 6884782"/>
              <a:gd name="connsiteY46264" fmla="*/ 1736255 h 5973007"/>
              <a:gd name="connsiteX46265" fmla="*/ 1264166 w 6884782"/>
              <a:gd name="connsiteY46265" fmla="*/ 1738269 h 5973007"/>
              <a:gd name="connsiteX46266" fmla="*/ 1264682 w 6884782"/>
              <a:gd name="connsiteY46266" fmla="*/ 1736875 h 5973007"/>
              <a:gd name="connsiteX46267" fmla="*/ 1266438 w 6884782"/>
              <a:gd name="connsiteY46267" fmla="*/ 1735325 h 5973007"/>
              <a:gd name="connsiteX46268" fmla="*/ 1268606 w 6884782"/>
              <a:gd name="connsiteY46268" fmla="*/ 1735171 h 5973007"/>
              <a:gd name="connsiteX46269" fmla="*/ 1269019 w 6884782"/>
              <a:gd name="connsiteY46269" fmla="*/ 1735790 h 5973007"/>
              <a:gd name="connsiteX46270" fmla="*/ 1270878 w 6884782"/>
              <a:gd name="connsiteY46270" fmla="*/ 1738578 h 5973007"/>
              <a:gd name="connsiteX46271" fmla="*/ 1270671 w 6884782"/>
              <a:gd name="connsiteY46271" fmla="*/ 1738888 h 5973007"/>
              <a:gd name="connsiteX46272" fmla="*/ 1275318 w 6884782"/>
              <a:gd name="connsiteY46272" fmla="*/ 1738423 h 5973007"/>
              <a:gd name="connsiteX46273" fmla="*/ 1279138 w 6884782"/>
              <a:gd name="connsiteY46273" fmla="*/ 1740282 h 5973007"/>
              <a:gd name="connsiteX46274" fmla="*/ 1279655 w 6884782"/>
              <a:gd name="connsiteY46274" fmla="*/ 1739043 h 5973007"/>
              <a:gd name="connsiteX46275" fmla="*/ 1283475 w 6884782"/>
              <a:gd name="connsiteY46275" fmla="*/ 1737649 h 5973007"/>
              <a:gd name="connsiteX46276" fmla="*/ 1282752 w 6884782"/>
              <a:gd name="connsiteY46276" fmla="*/ 1737959 h 5973007"/>
              <a:gd name="connsiteX46277" fmla="*/ 1283682 w 6884782"/>
              <a:gd name="connsiteY46277" fmla="*/ 1739508 h 5973007"/>
              <a:gd name="connsiteX46278" fmla="*/ 1284507 w 6884782"/>
              <a:gd name="connsiteY46278" fmla="*/ 1739043 h 5973007"/>
              <a:gd name="connsiteX46279" fmla="*/ 1284611 w 6884782"/>
              <a:gd name="connsiteY46279" fmla="*/ 1740902 h 5973007"/>
              <a:gd name="connsiteX46280" fmla="*/ 1280791 w 6884782"/>
              <a:gd name="connsiteY46280" fmla="*/ 1745858 h 5973007"/>
              <a:gd name="connsiteX46281" fmla="*/ 1279138 w 6884782"/>
              <a:gd name="connsiteY46281" fmla="*/ 1744620 h 5973007"/>
              <a:gd name="connsiteX46282" fmla="*/ 1278932 w 6884782"/>
              <a:gd name="connsiteY46282" fmla="*/ 1746788 h 5973007"/>
              <a:gd name="connsiteX46283" fmla="*/ 1277590 w 6884782"/>
              <a:gd name="connsiteY46283" fmla="*/ 1748802 h 5973007"/>
              <a:gd name="connsiteX46284" fmla="*/ 1274285 w 6884782"/>
              <a:gd name="connsiteY46284" fmla="*/ 1751590 h 5973007"/>
              <a:gd name="connsiteX46285" fmla="*/ 1275937 w 6884782"/>
              <a:gd name="connsiteY46285" fmla="*/ 1752519 h 5973007"/>
              <a:gd name="connsiteX46286" fmla="*/ 1277073 w 6884782"/>
              <a:gd name="connsiteY46286" fmla="*/ 1754688 h 5973007"/>
              <a:gd name="connsiteX46287" fmla="*/ 1276557 w 6884782"/>
              <a:gd name="connsiteY46287" fmla="*/ 1756546 h 5973007"/>
              <a:gd name="connsiteX46288" fmla="*/ 1275731 w 6884782"/>
              <a:gd name="connsiteY46288" fmla="*/ 1756856 h 5973007"/>
              <a:gd name="connsiteX46289" fmla="*/ 1272427 w 6884782"/>
              <a:gd name="connsiteY46289" fmla="*/ 1757631 h 5973007"/>
              <a:gd name="connsiteX46290" fmla="*/ 1270362 w 6884782"/>
              <a:gd name="connsiteY46290" fmla="*/ 1755927 h 5973007"/>
              <a:gd name="connsiteX46291" fmla="*/ 1269432 w 6884782"/>
              <a:gd name="connsiteY46291" fmla="*/ 1754223 h 5973007"/>
              <a:gd name="connsiteX46292" fmla="*/ 1268503 w 6884782"/>
              <a:gd name="connsiteY46292" fmla="*/ 1754533 h 5973007"/>
              <a:gd name="connsiteX46293" fmla="*/ 1261275 w 6884782"/>
              <a:gd name="connsiteY46293" fmla="*/ 1752055 h 5973007"/>
              <a:gd name="connsiteX46294" fmla="*/ 1261481 w 6884782"/>
              <a:gd name="connsiteY46294" fmla="*/ 1751125 h 5973007"/>
              <a:gd name="connsiteX46295" fmla="*/ 1255905 w 6884782"/>
              <a:gd name="connsiteY46295" fmla="*/ 1752519 h 5973007"/>
              <a:gd name="connsiteX46296" fmla="*/ 1254357 w 6884782"/>
              <a:gd name="connsiteY46296" fmla="*/ 1749576 h 5973007"/>
              <a:gd name="connsiteX46297" fmla="*/ 1254357 w 6884782"/>
              <a:gd name="connsiteY46297" fmla="*/ 1746168 h 5973007"/>
              <a:gd name="connsiteX46298" fmla="*/ 1256422 w 6884782"/>
              <a:gd name="connsiteY46298" fmla="*/ 1740282 h 5973007"/>
              <a:gd name="connsiteX46299" fmla="*/ 1257248 w 6884782"/>
              <a:gd name="connsiteY46299" fmla="*/ 1738423 h 5973007"/>
              <a:gd name="connsiteX46300" fmla="*/ 1256422 w 6884782"/>
              <a:gd name="connsiteY46300" fmla="*/ 1738423 h 5973007"/>
              <a:gd name="connsiteX46301" fmla="*/ 1257455 w 6884782"/>
              <a:gd name="connsiteY46301" fmla="*/ 1737649 h 5973007"/>
              <a:gd name="connsiteX46302" fmla="*/ 1257455 w 6884782"/>
              <a:gd name="connsiteY46302" fmla="*/ 1737494 h 5973007"/>
              <a:gd name="connsiteX46303" fmla="*/ 1257661 w 6884782"/>
              <a:gd name="connsiteY46303" fmla="*/ 1736565 h 5973007"/>
              <a:gd name="connsiteX46304" fmla="*/ 1260242 w 6884782"/>
              <a:gd name="connsiteY46304" fmla="*/ 1733932 h 5973007"/>
              <a:gd name="connsiteX46305" fmla="*/ 4662581 w 6884782"/>
              <a:gd name="connsiteY46305" fmla="*/ 1733119 h 5973007"/>
              <a:gd name="connsiteX46306" fmla="*/ 4669197 w 6884782"/>
              <a:gd name="connsiteY46306" fmla="*/ 1739806 h 5973007"/>
              <a:gd name="connsiteX46307" fmla="*/ 4666423 w 6884782"/>
              <a:gd name="connsiteY46307" fmla="*/ 1738810 h 5973007"/>
              <a:gd name="connsiteX46308" fmla="*/ 4668557 w 6884782"/>
              <a:gd name="connsiteY46308" fmla="*/ 1740802 h 5973007"/>
              <a:gd name="connsiteX46309" fmla="*/ 4670691 w 6884782"/>
              <a:gd name="connsiteY46309" fmla="*/ 1747916 h 5973007"/>
              <a:gd name="connsiteX46310" fmla="*/ 4667703 w 6884782"/>
              <a:gd name="connsiteY46310" fmla="*/ 1747916 h 5973007"/>
              <a:gd name="connsiteX46311" fmla="*/ 4673466 w 6884782"/>
              <a:gd name="connsiteY46311" fmla="*/ 1749338 h 5973007"/>
              <a:gd name="connsiteX46312" fmla="*/ 4680722 w 6884782"/>
              <a:gd name="connsiteY46312" fmla="*/ 1750334 h 5973007"/>
              <a:gd name="connsiteX46313" fmla="*/ 4688405 w 6884782"/>
              <a:gd name="connsiteY46313" fmla="*/ 1744359 h 5973007"/>
              <a:gd name="connsiteX46314" fmla="*/ 4693527 w 6884782"/>
              <a:gd name="connsiteY46314" fmla="*/ 1744643 h 5973007"/>
              <a:gd name="connsiteX46315" fmla="*/ 4680295 w 6884782"/>
              <a:gd name="connsiteY46315" fmla="*/ 1776654 h 5973007"/>
              <a:gd name="connsiteX46316" fmla="*/ 4672185 w 6884782"/>
              <a:gd name="connsiteY46316" fmla="*/ 1782629 h 5973007"/>
              <a:gd name="connsiteX46317" fmla="*/ 4675386 w 6884782"/>
              <a:gd name="connsiteY46317" fmla="*/ 1759582 h 5973007"/>
              <a:gd name="connsiteX46318" fmla="*/ 4654685 w 6884782"/>
              <a:gd name="connsiteY46318" fmla="*/ 1749623 h 5973007"/>
              <a:gd name="connsiteX46319" fmla="*/ 4659807 w 6884782"/>
              <a:gd name="connsiteY46319" fmla="*/ 1747204 h 5973007"/>
              <a:gd name="connsiteX46320" fmla="*/ 4659380 w 6884782"/>
              <a:gd name="connsiteY46320" fmla="*/ 1742794 h 5973007"/>
              <a:gd name="connsiteX46321" fmla="*/ 4660447 w 6884782"/>
              <a:gd name="connsiteY46321" fmla="*/ 1741655 h 5973007"/>
              <a:gd name="connsiteX46322" fmla="*/ 4659380 w 6884782"/>
              <a:gd name="connsiteY46322" fmla="*/ 1739948 h 5973007"/>
              <a:gd name="connsiteX46323" fmla="*/ 4658313 w 6884782"/>
              <a:gd name="connsiteY46323" fmla="*/ 1738526 h 5973007"/>
              <a:gd name="connsiteX46324" fmla="*/ 4660020 w 6884782"/>
              <a:gd name="connsiteY46324" fmla="*/ 1735823 h 5973007"/>
              <a:gd name="connsiteX46325" fmla="*/ 4661941 w 6884782"/>
              <a:gd name="connsiteY46325" fmla="*/ 1735965 h 5973007"/>
              <a:gd name="connsiteX46326" fmla="*/ 871792 w 6884782"/>
              <a:gd name="connsiteY46326" fmla="*/ 1732692 h 5973007"/>
              <a:gd name="connsiteX46327" fmla="*/ 875303 w 6884782"/>
              <a:gd name="connsiteY46327" fmla="*/ 1735325 h 5973007"/>
              <a:gd name="connsiteX46328" fmla="*/ 865907 w 6884782"/>
              <a:gd name="connsiteY46328" fmla="*/ 1743225 h 5973007"/>
              <a:gd name="connsiteX46329" fmla="*/ 862293 w 6884782"/>
              <a:gd name="connsiteY46329" fmla="*/ 1741522 h 5973007"/>
              <a:gd name="connsiteX46330" fmla="*/ 868798 w 6884782"/>
              <a:gd name="connsiteY46330" fmla="*/ 1733777 h 5973007"/>
              <a:gd name="connsiteX46331" fmla="*/ 871792 w 6884782"/>
              <a:gd name="connsiteY46331" fmla="*/ 1732692 h 5973007"/>
              <a:gd name="connsiteX46332" fmla="*/ 1426072 w 6884782"/>
              <a:gd name="connsiteY46332" fmla="*/ 1732538 h 5973007"/>
              <a:gd name="connsiteX46333" fmla="*/ 1428860 w 6884782"/>
              <a:gd name="connsiteY46333" fmla="*/ 1733157 h 5973007"/>
              <a:gd name="connsiteX46334" fmla="*/ 1432474 w 6884782"/>
              <a:gd name="connsiteY46334" fmla="*/ 1737339 h 5973007"/>
              <a:gd name="connsiteX46335" fmla="*/ 1434023 w 6884782"/>
              <a:gd name="connsiteY46335" fmla="*/ 1742606 h 5973007"/>
              <a:gd name="connsiteX46336" fmla="*/ 1428343 w 6884782"/>
              <a:gd name="connsiteY46336" fmla="*/ 1741367 h 5973007"/>
              <a:gd name="connsiteX46337" fmla="*/ 1424833 w 6884782"/>
              <a:gd name="connsiteY46337" fmla="*/ 1734242 h 5973007"/>
              <a:gd name="connsiteX46338" fmla="*/ 1426072 w 6884782"/>
              <a:gd name="connsiteY46338" fmla="*/ 1732538 h 5973007"/>
              <a:gd name="connsiteX46339" fmla="*/ 980728 w 6884782"/>
              <a:gd name="connsiteY46339" fmla="*/ 1732073 h 5973007"/>
              <a:gd name="connsiteX46340" fmla="*/ 978456 w 6884782"/>
              <a:gd name="connsiteY46340" fmla="*/ 1738269 h 5973007"/>
              <a:gd name="connsiteX46341" fmla="*/ 976701 w 6884782"/>
              <a:gd name="connsiteY46341" fmla="*/ 1737649 h 5973007"/>
              <a:gd name="connsiteX46342" fmla="*/ 975152 w 6884782"/>
              <a:gd name="connsiteY46342" fmla="*/ 1735325 h 5973007"/>
              <a:gd name="connsiteX46343" fmla="*/ 975565 w 6884782"/>
              <a:gd name="connsiteY46343" fmla="*/ 1732847 h 5973007"/>
              <a:gd name="connsiteX46344" fmla="*/ 980728 w 6884782"/>
              <a:gd name="connsiteY46344" fmla="*/ 1732073 h 5973007"/>
              <a:gd name="connsiteX46345" fmla="*/ 1632894 w 6884782"/>
              <a:gd name="connsiteY46345" fmla="*/ 1731918 h 5973007"/>
              <a:gd name="connsiteX46346" fmla="*/ 1636508 w 6884782"/>
              <a:gd name="connsiteY46346" fmla="*/ 1743380 h 5973007"/>
              <a:gd name="connsiteX46347" fmla="*/ 1625563 w 6884782"/>
              <a:gd name="connsiteY46347" fmla="*/ 1739973 h 5973007"/>
              <a:gd name="connsiteX46348" fmla="*/ 1632894 w 6884782"/>
              <a:gd name="connsiteY46348" fmla="*/ 1731918 h 5973007"/>
              <a:gd name="connsiteX46349" fmla="*/ 6297164 w 6884782"/>
              <a:gd name="connsiteY46349" fmla="*/ 1731555 h 5973007"/>
              <a:gd name="connsiteX46350" fmla="*/ 6301859 w 6884782"/>
              <a:gd name="connsiteY46350" fmla="*/ 1732266 h 5973007"/>
              <a:gd name="connsiteX46351" fmla="*/ 6305700 w 6884782"/>
              <a:gd name="connsiteY46351" fmla="*/ 1740517 h 5973007"/>
              <a:gd name="connsiteX46352" fmla="*/ 6290761 w 6884782"/>
              <a:gd name="connsiteY46352" fmla="*/ 1739806 h 5973007"/>
              <a:gd name="connsiteX46353" fmla="*/ 6297164 w 6884782"/>
              <a:gd name="connsiteY46353" fmla="*/ 1731555 h 5973007"/>
              <a:gd name="connsiteX46354" fmla="*/ 4763742 w 6884782"/>
              <a:gd name="connsiteY46354" fmla="*/ 1730701 h 5973007"/>
              <a:gd name="connsiteX46355" fmla="*/ 4763742 w 6884782"/>
              <a:gd name="connsiteY46355" fmla="*/ 1735680 h 5973007"/>
              <a:gd name="connsiteX46356" fmla="*/ 4760754 w 6884782"/>
              <a:gd name="connsiteY46356" fmla="*/ 1738099 h 5973007"/>
              <a:gd name="connsiteX46357" fmla="*/ 4760327 w 6884782"/>
              <a:gd name="connsiteY46357" fmla="*/ 1736961 h 5973007"/>
              <a:gd name="connsiteX46358" fmla="*/ 4757980 w 6884782"/>
              <a:gd name="connsiteY46358" fmla="*/ 1732835 h 5973007"/>
              <a:gd name="connsiteX46359" fmla="*/ 4763742 w 6884782"/>
              <a:gd name="connsiteY46359" fmla="*/ 1730701 h 5973007"/>
              <a:gd name="connsiteX46360" fmla="*/ 3890855 w 6884782"/>
              <a:gd name="connsiteY46360" fmla="*/ 1730416 h 5973007"/>
              <a:gd name="connsiteX46361" fmla="*/ 3898325 w 6884782"/>
              <a:gd name="connsiteY46361" fmla="*/ 1733973 h 5973007"/>
              <a:gd name="connsiteX46362" fmla="*/ 3885733 w 6884782"/>
              <a:gd name="connsiteY46362" fmla="*/ 1747062 h 5973007"/>
              <a:gd name="connsiteX46363" fmla="*/ 3890855 w 6884782"/>
              <a:gd name="connsiteY46363" fmla="*/ 1730416 h 5973007"/>
              <a:gd name="connsiteX46364" fmla="*/ 5538883 w 6884782"/>
              <a:gd name="connsiteY46364" fmla="*/ 1729421 h 5973007"/>
              <a:gd name="connsiteX46365" fmla="*/ 5537602 w 6884782"/>
              <a:gd name="connsiteY46365" fmla="*/ 1736534 h 5973007"/>
              <a:gd name="connsiteX46366" fmla="*/ 5538883 w 6884782"/>
              <a:gd name="connsiteY46366" fmla="*/ 1729421 h 5973007"/>
              <a:gd name="connsiteX46367" fmla="*/ 1045263 w 6884782"/>
              <a:gd name="connsiteY46367" fmla="*/ 1728356 h 5973007"/>
              <a:gd name="connsiteX46368" fmla="*/ 1050632 w 6884782"/>
              <a:gd name="connsiteY46368" fmla="*/ 1729904 h 5973007"/>
              <a:gd name="connsiteX46369" fmla="*/ 1051458 w 6884782"/>
              <a:gd name="connsiteY46369" fmla="*/ 1732228 h 5973007"/>
              <a:gd name="connsiteX46370" fmla="*/ 1048670 w 6884782"/>
              <a:gd name="connsiteY46370" fmla="*/ 1732228 h 5973007"/>
              <a:gd name="connsiteX46371" fmla="*/ 1047844 w 6884782"/>
              <a:gd name="connsiteY46371" fmla="*/ 1730679 h 5973007"/>
              <a:gd name="connsiteX46372" fmla="*/ 1045263 w 6884782"/>
              <a:gd name="connsiteY46372" fmla="*/ 1730059 h 5973007"/>
              <a:gd name="connsiteX46373" fmla="*/ 1045263 w 6884782"/>
              <a:gd name="connsiteY46373" fmla="*/ 1728356 h 5973007"/>
              <a:gd name="connsiteX46374" fmla="*/ 4922099 w 6884782"/>
              <a:gd name="connsiteY46374" fmla="*/ 1728282 h 5973007"/>
              <a:gd name="connsiteX46375" fmla="*/ 4926795 w 6884782"/>
              <a:gd name="connsiteY46375" fmla="*/ 1728282 h 5973007"/>
              <a:gd name="connsiteX46376" fmla="*/ 4934905 w 6884782"/>
              <a:gd name="connsiteY46376" fmla="*/ 1731128 h 5973007"/>
              <a:gd name="connsiteX46377" fmla="*/ 4937466 w 6884782"/>
              <a:gd name="connsiteY46377" fmla="*/ 1732266 h 5973007"/>
              <a:gd name="connsiteX46378" fmla="*/ 4937466 w 6884782"/>
              <a:gd name="connsiteY46378" fmla="*/ 1731128 h 5973007"/>
              <a:gd name="connsiteX46379" fmla="*/ 4938533 w 6884782"/>
              <a:gd name="connsiteY46379" fmla="*/ 1732551 h 5973007"/>
              <a:gd name="connsiteX46380" fmla="*/ 4938746 w 6884782"/>
              <a:gd name="connsiteY46380" fmla="*/ 1732551 h 5973007"/>
              <a:gd name="connsiteX46381" fmla="*/ 4940027 w 6884782"/>
              <a:gd name="connsiteY46381" fmla="*/ 1732835 h 5973007"/>
              <a:gd name="connsiteX46382" fmla="*/ 4943655 w 6884782"/>
              <a:gd name="connsiteY46382" fmla="*/ 1736392 h 5973007"/>
              <a:gd name="connsiteX46383" fmla="*/ 4943015 w 6884782"/>
              <a:gd name="connsiteY46383" fmla="*/ 1739379 h 5973007"/>
              <a:gd name="connsiteX46384" fmla="*/ 4940453 w 6884782"/>
              <a:gd name="connsiteY46384" fmla="*/ 1740802 h 5973007"/>
              <a:gd name="connsiteX46385" fmla="*/ 4937679 w 6884782"/>
              <a:gd name="connsiteY46385" fmla="*/ 1741798 h 5973007"/>
              <a:gd name="connsiteX46386" fmla="*/ 4939600 w 6884782"/>
              <a:gd name="connsiteY46386" fmla="*/ 1742509 h 5973007"/>
              <a:gd name="connsiteX46387" fmla="*/ 4941734 w 6884782"/>
              <a:gd name="connsiteY46387" fmla="*/ 1744928 h 5973007"/>
              <a:gd name="connsiteX46388" fmla="*/ 4941948 w 6884782"/>
              <a:gd name="connsiteY46388" fmla="*/ 1747916 h 5973007"/>
              <a:gd name="connsiteX46389" fmla="*/ 4941094 w 6884782"/>
              <a:gd name="connsiteY46389" fmla="*/ 1748484 h 5973007"/>
              <a:gd name="connsiteX46390" fmla="*/ 4937253 w 6884782"/>
              <a:gd name="connsiteY46390" fmla="*/ 1751046 h 5973007"/>
              <a:gd name="connsiteX46391" fmla="*/ 4936825 w 6884782"/>
              <a:gd name="connsiteY46391" fmla="*/ 1750761 h 5973007"/>
              <a:gd name="connsiteX46392" fmla="*/ 4937466 w 6884782"/>
              <a:gd name="connsiteY46392" fmla="*/ 1757163 h 5973007"/>
              <a:gd name="connsiteX46393" fmla="*/ 4934905 w 6884782"/>
              <a:gd name="connsiteY46393" fmla="*/ 1762427 h 5973007"/>
              <a:gd name="connsiteX46394" fmla="*/ 4936612 w 6884782"/>
              <a:gd name="connsiteY46394" fmla="*/ 1763138 h 5973007"/>
              <a:gd name="connsiteX46395" fmla="*/ 4938533 w 6884782"/>
              <a:gd name="connsiteY46395" fmla="*/ 1768402 h 5973007"/>
              <a:gd name="connsiteX46396" fmla="*/ 4938106 w 6884782"/>
              <a:gd name="connsiteY46396" fmla="*/ 1767406 h 5973007"/>
              <a:gd name="connsiteX46397" fmla="*/ 4935972 w 6884782"/>
              <a:gd name="connsiteY46397" fmla="*/ 1768687 h 5973007"/>
              <a:gd name="connsiteX46398" fmla="*/ 4936612 w 6884782"/>
              <a:gd name="connsiteY46398" fmla="*/ 1769825 h 5973007"/>
              <a:gd name="connsiteX46399" fmla="*/ 4934051 w 6884782"/>
              <a:gd name="connsiteY46399" fmla="*/ 1769967 h 5973007"/>
              <a:gd name="connsiteX46400" fmla="*/ 4927222 w 6884782"/>
              <a:gd name="connsiteY46400" fmla="*/ 1764704 h 5973007"/>
              <a:gd name="connsiteX46401" fmla="*/ 4928929 w 6884782"/>
              <a:gd name="connsiteY46401" fmla="*/ 1762427 h 5973007"/>
              <a:gd name="connsiteX46402" fmla="*/ 4925941 w 6884782"/>
              <a:gd name="connsiteY46402" fmla="*/ 1762142 h 5973007"/>
              <a:gd name="connsiteX46403" fmla="*/ 4923167 w 6884782"/>
              <a:gd name="connsiteY46403" fmla="*/ 1760293 h 5973007"/>
              <a:gd name="connsiteX46404" fmla="*/ 4919325 w 6884782"/>
              <a:gd name="connsiteY46404" fmla="*/ 1755740 h 5973007"/>
              <a:gd name="connsiteX46405" fmla="*/ 4918045 w 6884782"/>
              <a:gd name="connsiteY46405" fmla="*/ 1758017 h 5973007"/>
              <a:gd name="connsiteX46406" fmla="*/ 4915057 w 6884782"/>
              <a:gd name="connsiteY46406" fmla="*/ 1759582 h 5973007"/>
              <a:gd name="connsiteX46407" fmla="*/ 4912496 w 6884782"/>
              <a:gd name="connsiteY46407" fmla="*/ 1758870 h 5973007"/>
              <a:gd name="connsiteX46408" fmla="*/ 4912069 w 6884782"/>
              <a:gd name="connsiteY46408" fmla="*/ 1757732 h 5973007"/>
              <a:gd name="connsiteX46409" fmla="*/ 4911002 w 6884782"/>
              <a:gd name="connsiteY46409" fmla="*/ 1753179 h 5973007"/>
              <a:gd name="connsiteX46410" fmla="*/ 4913349 w 6884782"/>
              <a:gd name="connsiteY46410" fmla="*/ 1750334 h 5973007"/>
              <a:gd name="connsiteX46411" fmla="*/ 4915697 w 6884782"/>
              <a:gd name="connsiteY46411" fmla="*/ 1749054 h 5973007"/>
              <a:gd name="connsiteX46412" fmla="*/ 4915270 w 6884782"/>
              <a:gd name="connsiteY46412" fmla="*/ 1747773 h 5973007"/>
              <a:gd name="connsiteX46413" fmla="*/ 4918685 w 6884782"/>
              <a:gd name="connsiteY46413" fmla="*/ 1737815 h 5973007"/>
              <a:gd name="connsiteX46414" fmla="*/ 4919966 w 6884782"/>
              <a:gd name="connsiteY46414" fmla="*/ 1738099 h 5973007"/>
              <a:gd name="connsiteX46415" fmla="*/ 4918045 w 6884782"/>
              <a:gd name="connsiteY46415" fmla="*/ 1730416 h 5973007"/>
              <a:gd name="connsiteX46416" fmla="*/ 4922099 w 6884782"/>
              <a:gd name="connsiteY46416" fmla="*/ 1728282 h 5973007"/>
              <a:gd name="connsiteX46417" fmla="*/ 3881251 w 6884782"/>
              <a:gd name="connsiteY46417" fmla="*/ 1728282 h 5973007"/>
              <a:gd name="connsiteX46418" fmla="*/ 3882532 w 6884782"/>
              <a:gd name="connsiteY46418" fmla="*/ 1729563 h 5973007"/>
              <a:gd name="connsiteX46419" fmla="*/ 3880611 w 6884782"/>
              <a:gd name="connsiteY46419" fmla="*/ 1730986 h 5973007"/>
              <a:gd name="connsiteX46420" fmla="*/ 3881251 w 6884782"/>
              <a:gd name="connsiteY46420" fmla="*/ 1728282 h 5973007"/>
              <a:gd name="connsiteX46421" fmla="*/ 1184865 w 6884782"/>
              <a:gd name="connsiteY46421" fmla="*/ 1728200 h 5973007"/>
              <a:gd name="connsiteX46422" fmla="*/ 1187550 w 6884782"/>
              <a:gd name="connsiteY46422" fmla="*/ 1728356 h 5973007"/>
              <a:gd name="connsiteX46423" fmla="*/ 1186207 w 6884782"/>
              <a:gd name="connsiteY46423" fmla="*/ 1730834 h 5973007"/>
              <a:gd name="connsiteX46424" fmla="*/ 1184246 w 6884782"/>
              <a:gd name="connsiteY46424" fmla="*/ 1730989 h 5973007"/>
              <a:gd name="connsiteX46425" fmla="*/ 1183213 w 6884782"/>
              <a:gd name="connsiteY46425" fmla="*/ 1731918 h 5973007"/>
              <a:gd name="connsiteX46426" fmla="*/ 1184349 w 6884782"/>
              <a:gd name="connsiteY46426" fmla="*/ 1732847 h 5973007"/>
              <a:gd name="connsiteX46427" fmla="*/ 1183730 w 6884782"/>
              <a:gd name="connsiteY46427" fmla="*/ 1736875 h 5973007"/>
              <a:gd name="connsiteX46428" fmla="*/ 1179702 w 6884782"/>
              <a:gd name="connsiteY46428" fmla="*/ 1734396 h 5973007"/>
              <a:gd name="connsiteX46429" fmla="*/ 1181458 w 6884782"/>
              <a:gd name="connsiteY46429" fmla="*/ 1730214 h 5973007"/>
              <a:gd name="connsiteX46430" fmla="*/ 1182181 w 6884782"/>
              <a:gd name="connsiteY46430" fmla="*/ 1730989 h 5973007"/>
              <a:gd name="connsiteX46431" fmla="*/ 1182697 w 6884782"/>
              <a:gd name="connsiteY46431" fmla="*/ 1730524 h 5973007"/>
              <a:gd name="connsiteX46432" fmla="*/ 1184865 w 6884782"/>
              <a:gd name="connsiteY46432" fmla="*/ 1728200 h 5973007"/>
              <a:gd name="connsiteX46433" fmla="*/ 5286407 w 6884782"/>
              <a:gd name="connsiteY46433" fmla="*/ 1727998 h 5973007"/>
              <a:gd name="connsiteX46434" fmla="*/ 5288755 w 6884782"/>
              <a:gd name="connsiteY46434" fmla="*/ 1730701 h 5973007"/>
              <a:gd name="connsiteX46435" fmla="*/ 5283206 w 6884782"/>
              <a:gd name="connsiteY46435" fmla="*/ 1741514 h 5973007"/>
              <a:gd name="connsiteX46436" fmla="*/ 5280645 w 6884782"/>
              <a:gd name="connsiteY46436" fmla="*/ 1739379 h 5973007"/>
              <a:gd name="connsiteX46437" fmla="*/ 5286407 w 6884782"/>
              <a:gd name="connsiteY46437" fmla="*/ 1727998 h 5973007"/>
              <a:gd name="connsiteX46438" fmla="*/ 4802798 w 6884782"/>
              <a:gd name="connsiteY46438" fmla="*/ 1727856 h 5973007"/>
              <a:gd name="connsiteX46439" fmla="*/ 4807280 w 6884782"/>
              <a:gd name="connsiteY46439" fmla="*/ 1735396 h 5973007"/>
              <a:gd name="connsiteX46440" fmla="*/ 4808133 w 6884782"/>
              <a:gd name="connsiteY46440" fmla="*/ 1748911 h 5973007"/>
              <a:gd name="connsiteX46441" fmla="*/ 4808133 w 6884782"/>
              <a:gd name="connsiteY46441" fmla="*/ 1749338 h 5973007"/>
              <a:gd name="connsiteX46442" fmla="*/ 4810054 w 6884782"/>
              <a:gd name="connsiteY46442" fmla="*/ 1753037 h 5973007"/>
              <a:gd name="connsiteX46443" fmla="*/ 4804505 w 6884782"/>
              <a:gd name="connsiteY46443" fmla="*/ 1759155 h 5973007"/>
              <a:gd name="connsiteX46444" fmla="*/ 4803865 w 6884782"/>
              <a:gd name="connsiteY46444" fmla="*/ 1759155 h 5973007"/>
              <a:gd name="connsiteX46445" fmla="*/ 4803651 w 6884782"/>
              <a:gd name="connsiteY46445" fmla="*/ 1759866 h 5973007"/>
              <a:gd name="connsiteX46446" fmla="*/ 4803225 w 6884782"/>
              <a:gd name="connsiteY46446" fmla="*/ 1759155 h 5973007"/>
              <a:gd name="connsiteX46447" fmla="*/ 4800877 w 6884782"/>
              <a:gd name="connsiteY46447" fmla="*/ 1758443 h 5973007"/>
              <a:gd name="connsiteX46448" fmla="*/ 4795115 w 6884782"/>
              <a:gd name="connsiteY46448" fmla="*/ 1753748 h 5973007"/>
              <a:gd name="connsiteX46449" fmla="*/ 4794688 w 6884782"/>
              <a:gd name="connsiteY46449" fmla="*/ 1754887 h 5973007"/>
              <a:gd name="connsiteX46450" fmla="*/ 4796395 w 6884782"/>
              <a:gd name="connsiteY46450" fmla="*/ 1747916 h 5973007"/>
              <a:gd name="connsiteX46451" fmla="*/ 4798956 w 6884782"/>
              <a:gd name="connsiteY46451" fmla="*/ 1747204 h 5973007"/>
              <a:gd name="connsiteX46452" fmla="*/ 4798530 w 6884782"/>
              <a:gd name="connsiteY46452" fmla="*/ 1743505 h 5973007"/>
              <a:gd name="connsiteX46453" fmla="*/ 4802798 w 6884782"/>
              <a:gd name="connsiteY46453" fmla="*/ 1727856 h 5973007"/>
              <a:gd name="connsiteX46454" fmla="*/ 3524627 w 6884782"/>
              <a:gd name="connsiteY46454" fmla="*/ 1727287 h 5973007"/>
              <a:gd name="connsiteX46455" fmla="*/ 3532737 w 6884782"/>
              <a:gd name="connsiteY46455" fmla="*/ 1729279 h 5973007"/>
              <a:gd name="connsiteX46456" fmla="*/ 3531030 w 6884782"/>
              <a:gd name="connsiteY46456" fmla="*/ 1730274 h 5973007"/>
              <a:gd name="connsiteX46457" fmla="*/ 3528895 w 6884782"/>
              <a:gd name="connsiteY46457" fmla="*/ 1729421 h 5973007"/>
              <a:gd name="connsiteX46458" fmla="*/ 3524627 w 6884782"/>
              <a:gd name="connsiteY46458" fmla="*/ 1727287 h 5973007"/>
              <a:gd name="connsiteX46459" fmla="*/ 1169377 w 6884782"/>
              <a:gd name="connsiteY46459" fmla="*/ 1726806 h 5973007"/>
              <a:gd name="connsiteX46460" fmla="*/ 1177431 w 6884782"/>
              <a:gd name="connsiteY46460" fmla="*/ 1727736 h 5973007"/>
              <a:gd name="connsiteX46461" fmla="*/ 1175675 w 6884782"/>
              <a:gd name="connsiteY46461" fmla="*/ 1730834 h 5973007"/>
              <a:gd name="connsiteX46462" fmla="*/ 1167931 w 6884782"/>
              <a:gd name="connsiteY46462" fmla="*/ 1731763 h 5973007"/>
              <a:gd name="connsiteX46463" fmla="*/ 1166383 w 6884782"/>
              <a:gd name="connsiteY46463" fmla="*/ 1730369 h 5973007"/>
              <a:gd name="connsiteX46464" fmla="*/ 1169377 w 6884782"/>
              <a:gd name="connsiteY46464" fmla="*/ 1726806 h 5973007"/>
              <a:gd name="connsiteX46465" fmla="*/ 5906818 w 6884782"/>
              <a:gd name="connsiteY46465" fmla="*/ 1726575 h 5973007"/>
              <a:gd name="connsiteX46466" fmla="*/ 5913221 w 6884782"/>
              <a:gd name="connsiteY46466" fmla="*/ 1728851 h 5973007"/>
              <a:gd name="connsiteX46467" fmla="*/ 5915782 w 6884782"/>
              <a:gd name="connsiteY46467" fmla="*/ 1733831 h 5973007"/>
              <a:gd name="connsiteX46468" fmla="*/ 5915782 w 6884782"/>
              <a:gd name="connsiteY46468" fmla="*/ 1736107 h 5973007"/>
              <a:gd name="connsiteX46469" fmla="*/ 5914288 w 6884782"/>
              <a:gd name="connsiteY46469" fmla="*/ 1737103 h 5973007"/>
              <a:gd name="connsiteX46470" fmla="*/ 5914929 w 6884782"/>
              <a:gd name="connsiteY46470" fmla="*/ 1737957 h 5973007"/>
              <a:gd name="connsiteX46471" fmla="*/ 5915355 w 6884782"/>
              <a:gd name="connsiteY46471" fmla="*/ 1741655 h 5973007"/>
              <a:gd name="connsiteX46472" fmla="*/ 5909593 w 6884782"/>
              <a:gd name="connsiteY46472" fmla="*/ 1743220 h 5973007"/>
              <a:gd name="connsiteX46473" fmla="*/ 5908099 w 6884782"/>
              <a:gd name="connsiteY46473" fmla="*/ 1740802 h 5973007"/>
              <a:gd name="connsiteX46474" fmla="*/ 5908526 w 6884782"/>
              <a:gd name="connsiteY46474" fmla="*/ 1738810 h 5973007"/>
              <a:gd name="connsiteX46475" fmla="*/ 5905751 w 6884782"/>
              <a:gd name="connsiteY46475" fmla="*/ 1738099 h 5973007"/>
              <a:gd name="connsiteX46476" fmla="*/ 5901910 w 6884782"/>
              <a:gd name="connsiteY46476" fmla="*/ 1728282 h 5973007"/>
              <a:gd name="connsiteX46477" fmla="*/ 5904044 w 6884782"/>
              <a:gd name="connsiteY46477" fmla="*/ 1727144 h 5973007"/>
              <a:gd name="connsiteX46478" fmla="*/ 5906818 w 6884782"/>
              <a:gd name="connsiteY46478" fmla="*/ 1726575 h 5973007"/>
              <a:gd name="connsiteX46479" fmla="*/ 853826 w 6884782"/>
              <a:gd name="connsiteY46479" fmla="*/ 1726032 h 5973007"/>
              <a:gd name="connsiteX46480" fmla="*/ 863325 w 6884782"/>
              <a:gd name="connsiteY46480" fmla="*/ 1726342 h 5973007"/>
              <a:gd name="connsiteX46481" fmla="*/ 864461 w 6884782"/>
              <a:gd name="connsiteY46481" fmla="*/ 1730679 h 5973007"/>
              <a:gd name="connsiteX46482" fmla="*/ 864152 w 6884782"/>
              <a:gd name="connsiteY46482" fmla="*/ 1730989 h 5973007"/>
              <a:gd name="connsiteX46483" fmla="*/ 859815 w 6884782"/>
              <a:gd name="connsiteY46483" fmla="*/ 1739508 h 5973007"/>
              <a:gd name="connsiteX46484" fmla="*/ 854549 w 6884782"/>
              <a:gd name="connsiteY46484" fmla="*/ 1740592 h 5973007"/>
              <a:gd name="connsiteX46485" fmla="*/ 853723 w 6884782"/>
              <a:gd name="connsiteY46485" fmla="*/ 1737959 h 5973007"/>
              <a:gd name="connsiteX46486" fmla="*/ 855891 w 6884782"/>
              <a:gd name="connsiteY46486" fmla="*/ 1734242 h 5973007"/>
              <a:gd name="connsiteX46487" fmla="*/ 854032 w 6884782"/>
              <a:gd name="connsiteY46487" fmla="*/ 1734242 h 5973007"/>
              <a:gd name="connsiteX46488" fmla="*/ 849902 w 6884782"/>
              <a:gd name="connsiteY46488" fmla="*/ 1732228 h 5973007"/>
              <a:gd name="connsiteX46489" fmla="*/ 853826 w 6884782"/>
              <a:gd name="connsiteY46489" fmla="*/ 1726032 h 5973007"/>
              <a:gd name="connsiteX46490" fmla="*/ 5441777 w 6884782"/>
              <a:gd name="connsiteY46490" fmla="*/ 1726006 h 5973007"/>
              <a:gd name="connsiteX46491" fmla="*/ 5461411 w 6884782"/>
              <a:gd name="connsiteY46491" fmla="*/ 1740660 h 5973007"/>
              <a:gd name="connsiteX46492" fmla="*/ 5462692 w 6884782"/>
              <a:gd name="connsiteY46492" fmla="*/ 1747773 h 5973007"/>
              <a:gd name="connsiteX46493" fmla="*/ 5441777 w 6884782"/>
              <a:gd name="connsiteY46493" fmla="*/ 1726006 h 5973007"/>
              <a:gd name="connsiteX46494" fmla="*/ 1268503 w 6884782"/>
              <a:gd name="connsiteY46494" fmla="*/ 1725257 h 5973007"/>
              <a:gd name="connsiteX46495" fmla="*/ 1270878 w 6884782"/>
              <a:gd name="connsiteY46495" fmla="*/ 1728510 h 5973007"/>
              <a:gd name="connsiteX46496" fmla="*/ 1268296 w 6884782"/>
              <a:gd name="connsiteY46496" fmla="*/ 1726342 h 5973007"/>
              <a:gd name="connsiteX46497" fmla="*/ 1268503 w 6884782"/>
              <a:gd name="connsiteY46497" fmla="*/ 1725257 h 5973007"/>
              <a:gd name="connsiteX46498" fmla="*/ 979386 w 6884782"/>
              <a:gd name="connsiteY46498" fmla="*/ 1725102 h 5973007"/>
              <a:gd name="connsiteX46499" fmla="*/ 984652 w 6884782"/>
              <a:gd name="connsiteY46499" fmla="*/ 1726652 h 5973007"/>
              <a:gd name="connsiteX46500" fmla="*/ 979386 w 6884782"/>
              <a:gd name="connsiteY46500" fmla="*/ 1725102 h 5973007"/>
              <a:gd name="connsiteX46501" fmla="*/ 4953686 w 6884782"/>
              <a:gd name="connsiteY46501" fmla="*/ 1725010 h 5973007"/>
              <a:gd name="connsiteX46502" fmla="*/ 4964143 w 6884782"/>
              <a:gd name="connsiteY46502" fmla="*/ 1734684 h 5973007"/>
              <a:gd name="connsiteX46503" fmla="*/ 4961795 w 6884782"/>
              <a:gd name="connsiteY46503" fmla="*/ 1740945 h 5973007"/>
              <a:gd name="connsiteX46504" fmla="*/ 4948137 w 6884782"/>
              <a:gd name="connsiteY46504" fmla="*/ 1728140 h 5973007"/>
              <a:gd name="connsiteX46505" fmla="*/ 4953686 w 6884782"/>
              <a:gd name="connsiteY46505" fmla="*/ 1725010 h 5973007"/>
              <a:gd name="connsiteX46506" fmla="*/ 1321783 w 6884782"/>
              <a:gd name="connsiteY46506" fmla="*/ 1724018 h 5973007"/>
              <a:gd name="connsiteX46507" fmla="*/ 1322506 w 6884782"/>
              <a:gd name="connsiteY46507" fmla="*/ 1730214 h 5973007"/>
              <a:gd name="connsiteX46508" fmla="*/ 1321164 w 6884782"/>
              <a:gd name="connsiteY46508" fmla="*/ 1727116 h 5973007"/>
              <a:gd name="connsiteX46509" fmla="*/ 1321783 w 6884782"/>
              <a:gd name="connsiteY46509" fmla="*/ 1724018 h 5973007"/>
              <a:gd name="connsiteX46510" fmla="*/ 1055072 w 6884782"/>
              <a:gd name="connsiteY46510" fmla="*/ 1723709 h 5973007"/>
              <a:gd name="connsiteX46511" fmla="*/ 1056724 w 6884782"/>
              <a:gd name="connsiteY46511" fmla="*/ 1725412 h 5973007"/>
              <a:gd name="connsiteX46512" fmla="*/ 1058376 w 6884782"/>
              <a:gd name="connsiteY46512" fmla="*/ 1726187 h 5973007"/>
              <a:gd name="connsiteX46513" fmla="*/ 1058273 w 6884782"/>
              <a:gd name="connsiteY46513" fmla="*/ 1728665 h 5973007"/>
              <a:gd name="connsiteX46514" fmla="*/ 1056621 w 6884782"/>
              <a:gd name="connsiteY46514" fmla="*/ 1727890 h 5973007"/>
              <a:gd name="connsiteX46515" fmla="*/ 1052388 w 6884782"/>
              <a:gd name="connsiteY46515" fmla="*/ 1724638 h 5973007"/>
              <a:gd name="connsiteX46516" fmla="*/ 1055072 w 6884782"/>
              <a:gd name="connsiteY46516" fmla="*/ 1723709 h 5973007"/>
              <a:gd name="connsiteX46517" fmla="*/ 1600575 w 6884782"/>
              <a:gd name="connsiteY46517" fmla="*/ 1723554 h 5973007"/>
              <a:gd name="connsiteX46518" fmla="*/ 1604602 w 6884782"/>
              <a:gd name="connsiteY46518" fmla="*/ 1730059 h 5973007"/>
              <a:gd name="connsiteX46519" fmla="*/ 1600059 w 6884782"/>
              <a:gd name="connsiteY46519" fmla="*/ 1735325 h 5973007"/>
              <a:gd name="connsiteX46520" fmla="*/ 1592728 w 6884782"/>
              <a:gd name="connsiteY46520" fmla="*/ 1730369 h 5973007"/>
              <a:gd name="connsiteX46521" fmla="*/ 1600575 w 6884782"/>
              <a:gd name="connsiteY46521" fmla="*/ 1723554 h 5973007"/>
              <a:gd name="connsiteX46522" fmla="*/ 3624721 w 6884782"/>
              <a:gd name="connsiteY46522" fmla="*/ 1722876 h 5973007"/>
              <a:gd name="connsiteX46523" fmla="*/ 3617678 w 6884782"/>
              <a:gd name="connsiteY46523" fmla="*/ 1729847 h 5973007"/>
              <a:gd name="connsiteX46524" fmla="*/ 3620026 w 6884782"/>
              <a:gd name="connsiteY46524" fmla="*/ 1729421 h 5973007"/>
              <a:gd name="connsiteX46525" fmla="*/ 3629203 w 6884782"/>
              <a:gd name="connsiteY46525" fmla="*/ 1734400 h 5973007"/>
              <a:gd name="connsiteX46526" fmla="*/ 3632191 w 6884782"/>
              <a:gd name="connsiteY46526" fmla="*/ 1745070 h 5973007"/>
              <a:gd name="connsiteX46527" fmla="*/ 3615544 w 6884782"/>
              <a:gd name="connsiteY46527" fmla="*/ 1752895 h 5973007"/>
              <a:gd name="connsiteX46528" fmla="*/ 3607647 w 6884782"/>
              <a:gd name="connsiteY46528" fmla="*/ 1750334 h 5973007"/>
              <a:gd name="connsiteX46529" fmla="*/ 3607007 w 6884782"/>
              <a:gd name="connsiteY46529" fmla="*/ 1742367 h 5973007"/>
              <a:gd name="connsiteX46530" fmla="*/ 3609995 w 6884782"/>
              <a:gd name="connsiteY46530" fmla="*/ 1735965 h 5973007"/>
              <a:gd name="connsiteX46531" fmla="*/ 3606794 w 6884782"/>
              <a:gd name="connsiteY46531" fmla="*/ 1737815 h 5973007"/>
              <a:gd name="connsiteX46532" fmla="*/ 3598044 w 6884782"/>
              <a:gd name="connsiteY46532" fmla="*/ 1739948 h 5973007"/>
              <a:gd name="connsiteX46533" fmla="*/ 3624721 w 6884782"/>
              <a:gd name="connsiteY46533" fmla="*/ 1722876 h 5973007"/>
              <a:gd name="connsiteX46534" fmla="*/ 1539344 w 6884782"/>
              <a:gd name="connsiteY46534" fmla="*/ 1722779 h 5973007"/>
              <a:gd name="connsiteX46535" fmla="*/ 1549463 w 6884782"/>
              <a:gd name="connsiteY46535" fmla="*/ 1729130 h 5973007"/>
              <a:gd name="connsiteX46536" fmla="*/ 1538311 w 6884782"/>
              <a:gd name="connsiteY46536" fmla="*/ 1726652 h 5973007"/>
              <a:gd name="connsiteX46537" fmla="*/ 1538311 w 6884782"/>
              <a:gd name="connsiteY46537" fmla="*/ 1724792 h 5973007"/>
              <a:gd name="connsiteX46538" fmla="*/ 1539344 w 6884782"/>
              <a:gd name="connsiteY46538" fmla="*/ 1722779 h 5973007"/>
              <a:gd name="connsiteX46539" fmla="*/ 1447136 w 6884782"/>
              <a:gd name="connsiteY46539" fmla="*/ 1722469 h 5973007"/>
              <a:gd name="connsiteX46540" fmla="*/ 1449718 w 6884782"/>
              <a:gd name="connsiteY46540" fmla="*/ 1731299 h 5973007"/>
              <a:gd name="connsiteX46541" fmla="*/ 1439289 w 6884782"/>
              <a:gd name="connsiteY46541" fmla="*/ 1729440 h 5973007"/>
              <a:gd name="connsiteX46542" fmla="*/ 1447136 w 6884782"/>
              <a:gd name="connsiteY46542" fmla="*/ 1722469 h 5973007"/>
              <a:gd name="connsiteX46543" fmla="*/ 5683795 w 6884782"/>
              <a:gd name="connsiteY46543" fmla="*/ 1721880 h 5973007"/>
              <a:gd name="connsiteX46544" fmla="*/ 5702575 w 6884782"/>
              <a:gd name="connsiteY46544" fmla="*/ 1736392 h 5973007"/>
              <a:gd name="connsiteX46545" fmla="*/ 5702789 w 6884782"/>
              <a:gd name="connsiteY46545" fmla="*/ 1749196 h 5973007"/>
              <a:gd name="connsiteX46546" fmla="*/ 5676752 w 6884782"/>
              <a:gd name="connsiteY46546" fmla="*/ 1784905 h 5973007"/>
              <a:gd name="connsiteX46547" fmla="*/ 5675685 w 6884782"/>
              <a:gd name="connsiteY46547" fmla="*/ 1782060 h 5973007"/>
              <a:gd name="connsiteX46548" fmla="*/ 5674618 w 6884782"/>
              <a:gd name="connsiteY46548" fmla="*/ 1782772 h 5973007"/>
              <a:gd name="connsiteX46549" fmla="*/ 5666721 w 6884782"/>
              <a:gd name="connsiteY46549" fmla="*/ 1774946 h 5973007"/>
              <a:gd name="connsiteX46550" fmla="*/ 5668002 w 6884782"/>
              <a:gd name="connsiteY46550" fmla="*/ 1770109 h 5973007"/>
              <a:gd name="connsiteX46551" fmla="*/ 5661813 w 6884782"/>
              <a:gd name="connsiteY46551" fmla="*/ 1765414 h 5973007"/>
              <a:gd name="connsiteX46552" fmla="*/ 5656477 w 6884782"/>
              <a:gd name="connsiteY46552" fmla="*/ 1760008 h 5973007"/>
              <a:gd name="connsiteX46553" fmla="*/ 5653063 w 6884782"/>
              <a:gd name="connsiteY46553" fmla="*/ 1749907 h 5973007"/>
              <a:gd name="connsiteX46554" fmla="*/ 5683795 w 6884782"/>
              <a:gd name="connsiteY46554" fmla="*/ 1721880 h 5973007"/>
              <a:gd name="connsiteX46555" fmla="*/ 1656643 w 6884782"/>
              <a:gd name="connsiteY46555" fmla="*/ 1720455 h 5973007"/>
              <a:gd name="connsiteX46556" fmla="*/ 1639606 w 6884782"/>
              <a:gd name="connsiteY46556" fmla="*/ 1736100 h 5973007"/>
              <a:gd name="connsiteX46557" fmla="*/ 1656643 w 6884782"/>
              <a:gd name="connsiteY46557" fmla="*/ 1720455 h 5973007"/>
              <a:gd name="connsiteX46558" fmla="*/ 1187860 w 6884782"/>
              <a:gd name="connsiteY46558" fmla="*/ 1720146 h 5973007"/>
              <a:gd name="connsiteX46559" fmla="*/ 1219146 w 6884782"/>
              <a:gd name="connsiteY46559" fmla="*/ 1748492 h 5973007"/>
              <a:gd name="connsiteX46560" fmla="*/ 1218114 w 6884782"/>
              <a:gd name="connsiteY46560" fmla="*/ 1749266 h 5973007"/>
              <a:gd name="connsiteX46561" fmla="*/ 1220489 w 6884782"/>
              <a:gd name="connsiteY46561" fmla="*/ 1748956 h 5973007"/>
              <a:gd name="connsiteX46562" fmla="*/ 1224103 w 6884782"/>
              <a:gd name="connsiteY46562" fmla="*/ 1749886 h 5973007"/>
              <a:gd name="connsiteX46563" fmla="*/ 1225652 w 6884782"/>
              <a:gd name="connsiteY46563" fmla="*/ 1751435 h 5973007"/>
              <a:gd name="connsiteX46564" fmla="*/ 1222760 w 6884782"/>
              <a:gd name="connsiteY46564" fmla="*/ 1754378 h 5973007"/>
              <a:gd name="connsiteX46565" fmla="*/ 1214603 w 6884782"/>
              <a:gd name="connsiteY46565" fmla="*/ 1752210 h 5973007"/>
              <a:gd name="connsiteX46566" fmla="*/ 1215429 w 6884782"/>
              <a:gd name="connsiteY46566" fmla="*/ 1751125 h 5973007"/>
              <a:gd name="connsiteX46567" fmla="*/ 1210679 w 6884782"/>
              <a:gd name="connsiteY46567" fmla="*/ 1753758 h 5973007"/>
              <a:gd name="connsiteX46568" fmla="*/ 1207892 w 6884782"/>
              <a:gd name="connsiteY46568" fmla="*/ 1749731 h 5973007"/>
              <a:gd name="connsiteX46569" fmla="*/ 1207169 w 6884782"/>
              <a:gd name="connsiteY46569" fmla="*/ 1750351 h 5973007"/>
              <a:gd name="connsiteX46570" fmla="*/ 1204484 w 6884782"/>
              <a:gd name="connsiteY46570" fmla="*/ 1749576 h 5973007"/>
              <a:gd name="connsiteX46571" fmla="*/ 1205930 w 6884782"/>
              <a:gd name="connsiteY46571" fmla="*/ 1747562 h 5973007"/>
              <a:gd name="connsiteX46572" fmla="*/ 1206343 w 6884782"/>
              <a:gd name="connsiteY46572" fmla="*/ 1747408 h 5973007"/>
              <a:gd name="connsiteX46573" fmla="*/ 1199425 w 6884782"/>
              <a:gd name="connsiteY46573" fmla="*/ 1737339 h 5973007"/>
              <a:gd name="connsiteX46574" fmla="*/ 1199011 w 6884782"/>
              <a:gd name="connsiteY46574" fmla="*/ 1737649 h 5973007"/>
              <a:gd name="connsiteX46575" fmla="*/ 1192506 w 6884782"/>
              <a:gd name="connsiteY46575" fmla="*/ 1731453 h 5973007"/>
              <a:gd name="connsiteX46576" fmla="*/ 1194571 w 6884782"/>
              <a:gd name="connsiteY46576" fmla="*/ 1730214 h 5973007"/>
              <a:gd name="connsiteX46577" fmla="*/ 1185692 w 6884782"/>
              <a:gd name="connsiteY46577" fmla="*/ 1720146 h 5973007"/>
              <a:gd name="connsiteX46578" fmla="*/ 1187963 w 6884782"/>
              <a:gd name="connsiteY46578" fmla="*/ 1721230 h 5973007"/>
              <a:gd name="connsiteX46579" fmla="*/ 1186414 w 6884782"/>
              <a:gd name="connsiteY46579" fmla="*/ 1722469 h 5973007"/>
              <a:gd name="connsiteX46580" fmla="*/ 1181148 w 6884782"/>
              <a:gd name="connsiteY46580" fmla="*/ 1724792 h 5973007"/>
              <a:gd name="connsiteX46581" fmla="*/ 1180425 w 6884782"/>
              <a:gd name="connsiteY46581" fmla="*/ 1723089 h 5973007"/>
              <a:gd name="connsiteX46582" fmla="*/ 1181664 w 6884782"/>
              <a:gd name="connsiteY46582" fmla="*/ 1722159 h 5973007"/>
              <a:gd name="connsiteX46583" fmla="*/ 1184039 w 6884782"/>
              <a:gd name="connsiteY46583" fmla="*/ 1721385 h 5973007"/>
              <a:gd name="connsiteX46584" fmla="*/ 1185692 w 6884782"/>
              <a:gd name="connsiteY46584" fmla="*/ 1720146 h 5973007"/>
              <a:gd name="connsiteX46585" fmla="*/ 4998931 w 6884782"/>
              <a:gd name="connsiteY46585" fmla="*/ 1720031 h 5973007"/>
              <a:gd name="connsiteX46586" fmla="*/ 5004693 w 6884782"/>
              <a:gd name="connsiteY46586" fmla="*/ 1723730 h 5973007"/>
              <a:gd name="connsiteX46587" fmla="*/ 5001492 w 6884782"/>
              <a:gd name="connsiteY46587" fmla="*/ 1727144 h 5973007"/>
              <a:gd name="connsiteX46588" fmla="*/ 4998931 w 6884782"/>
              <a:gd name="connsiteY46588" fmla="*/ 1720031 h 5973007"/>
              <a:gd name="connsiteX46589" fmla="*/ 1310115 w 6884782"/>
              <a:gd name="connsiteY46589" fmla="*/ 1719526 h 5973007"/>
              <a:gd name="connsiteX46590" fmla="*/ 1319408 w 6884782"/>
              <a:gd name="connsiteY46590" fmla="*/ 1733467 h 5973007"/>
              <a:gd name="connsiteX46591" fmla="*/ 1317550 w 6884782"/>
              <a:gd name="connsiteY46591" fmla="*/ 1740282 h 5973007"/>
              <a:gd name="connsiteX46592" fmla="*/ 1320544 w 6884782"/>
              <a:gd name="connsiteY46592" fmla="*/ 1738733 h 5973007"/>
              <a:gd name="connsiteX46593" fmla="*/ 1341402 w 6884782"/>
              <a:gd name="connsiteY46593" fmla="*/ 1757631 h 5973007"/>
              <a:gd name="connsiteX46594" fmla="*/ 1338511 w 6884782"/>
              <a:gd name="connsiteY46594" fmla="*/ 1765066 h 5973007"/>
              <a:gd name="connsiteX46595" fmla="*/ 1333451 w 6884782"/>
              <a:gd name="connsiteY46595" fmla="*/ 1769712 h 5973007"/>
              <a:gd name="connsiteX46596" fmla="*/ 1334484 w 6884782"/>
              <a:gd name="connsiteY46596" fmla="*/ 1770642 h 5973007"/>
              <a:gd name="connsiteX46597" fmla="*/ 1329631 w 6884782"/>
              <a:gd name="connsiteY46597" fmla="*/ 1778077 h 5973007"/>
              <a:gd name="connsiteX46598" fmla="*/ 1322196 w 6884782"/>
              <a:gd name="connsiteY46598" fmla="*/ 1770332 h 5973007"/>
              <a:gd name="connsiteX46599" fmla="*/ 1323848 w 6884782"/>
              <a:gd name="connsiteY46599" fmla="*/ 1767854 h 5973007"/>
              <a:gd name="connsiteX46600" fmla="*/ 1326533 w 6884782"/>
              <a:gd name="connsiteY46600" fmla="*/ 1767079 h 5973007"/>
              <a:gd name="connsiteX46601" fmla="*/ 1324571 w 6884782"/>
              <a:gd name="connsiteY46601" fmla="*/ 1764756 h 5973007"/>
              <a:gd name="connsiteX46602" fmla="*/ 1322403 w 6884782"/>
              <a:gd name="connsiteY46602" fmla="*/ 1763207 h 5973007"/>
              <a:gd name="connsiteX46603" fmla="*/ 1321990 w 6884782"/>
              <a:gd name="connsiteY46603" fmla="*/ 1765066 h 5973007"/>
              <a:gd name="connsiteX46604" fmla="*/ 1321060 w 6884782"/>
              <a:gd name="connsiteY46604" fmla="*/ 1764291 h 5973007"/>
              <a:gd name="connsiteX46605" fmla="*/ 1320957 w 6884782"/>
              <a:gd name="connsiteY46605" fmla="*/ 1764601 h 5973007"/>
              <a:gd name="connsiteX46606" fmla="*/ 1320028 w 6884782"/>
              <a:gd name="connsiteY46606" fmla="*/ 1762742 h 5973007"/>
              <a:gd name="connsiteX46607" fmla="*/ 1320441 w 6884782"/>
              <a:gd name="connsiteY46607" fmla="*/ 1761658 h 5973007"/>
              <a:gd name="connsiteX46608" fmla="*/ 1318375 w 6884782"/>
              <a:gd name="connsiteY46608" fmla="*/ 1759954 h 5973007"/>
              <a:gd name="connsiteX46609" fmla="*/ 1313419 w 6884782"/>
              <a:gd name="connsiteY46609" fmla="*/ 1754843 h 5973007"/>
              <a:gd name="connsiteX46610" fmla="*/ 1311458 w 6884782"/>
              <a:gd name="connsiteY46610" fmla="*/ 1750196 h 5973007"/>
              <a:gd name="connsiteX46611" fmla="*/ 1311251 w 6884782"/>
              <a:gd name="connsiteY46611" fmla="*/ 1750351 h 5973007"/>
              <a:gd name="connsiteX46612" fmla="*/ 1302474 w 6884782"/>
              <a:gd name="connsiteY46612" fmla="*/ 1741677 h 5973007"/>
              <a:gd name="connsiteX46613" fmla="*/ 1302577 w 6884782"/>
              <a:gd name="connsiteY46613" fmla="*/ 1736875 h 5973007"/>
              <a:gd name="connsiteX46614" fmla="*/ 1303507 w 6884782"/>
              <a:gd name="connsiteY46614" fmla="*/ 1730524 h 5973007"/>
              <a:gd name="connsiteX46615" fmla="*/ 1307327 w 6884782"/>
              <a:gd name="connsiteY46615" fmla="*/ 1720455 h 5973007"/>
              <a:gd name="connsiteX46616" fmla="*/ 1310115 w 6884782"/>
              <a:gd name="connsiteY46616" fmla="*/ 1719526 h 5973007"/>
              <a:gd name="connsiteX46617" fmla="*/ 1584983 w 6884782"/>
              <a:gd name="connsiteY46617" fmla="*/ 1719371 h 5973007"/>
              <a:gd name="connsiteX46618" fmla="*/ 1589217 w 6884782"/>
              <a:gd name="connsiteY46618" fmla="*/ 1721385 h 5973007"/>
              <a:gd name="connsiteX46619" fmla="*/ 1583847 w 6884782"/>
              <a:gd name="connsiteY46619" fmla="*/ 1721850 h 5973007"/>
              <a:gd name="connsiteX46620" fmla="*/ 1584983 w 6884782"/>
              <a:gd name="connsiteY46620" fmla="*/ 1719371 h 5973007"/>
              <a:gd name="connsiteX46621" fmla="*/ 1154818 w 6884782"/>
              <a:gd name="connsiteY46621" fmla="*/ 1719371 h 5973007"/>
              <a:gd name="connsiteX46622" fmla="*/ 1155437 w 6884782"/>
              <a:gd name="connsiteY46622" fmla="*/ 1723554 h 5973007"/>
              <a:gd name="connsiteX46623" fmla="*/ 1153579 w 6884782"/>
              <a:gd name="connsiteY46623" fmla="*/ 1724483 h 5973007"/>
              <a:gd name="connsiteX46624" fmla="*/ 1150997 w 6884782"/>
              <a:gd name="connsiteY46624" fmla="*/ 1723709 h 5973007"/>
              <a:gd name="connsiteX46625" fmla="*/ 1150274 w 6884782"/>
              <a:gd name="connsiteY46625" fmla="*/ 1720301 h 5973007"/>
              <a:gd name="connsiteX46626" fmla="*/ 1152030 w 6884782"/>
              <a:gd name="connsiteY46626" fmla="*/ 1719526 h 5973007"/>
              <a:gd name="connsiteX46627" fmla="*/ 1154818 w 6884782"/>
              <a:gd name="connsiteY46627" fmla="*/ 1719371 h 5973007"/>
              <a:gd name="connsiteX46628" fmla="*/ 916193 w 6884782"/>
              <a:gd name="connsiteY46628" fmla="*/ 1719371 h 5973007"/>
              <a:gd name="connsiteX46629" fmla="*/ 918258 w 6884782"/>
              <a:gd name="connsiteY46629" fmla="*/ 1723399 h 5973007"/>
              <a:gd name="connsiteX46630" fmla="*/ 915366 w 6884782"/>
              <a:gd name="connsiteY46630" fmla="*/ 1720301 h 5973007"/>
              <a:gd name="connsiteX46631" fmla="*/ 916193 w 6884782"/>
              <a:gd name="connsiteY46631" fmla="*/ 1719371 h 5973007"/>
              <a:gd name="connsiteX46632" fmla="*/ 1259003 w 6884782"/>
              <a:gd name="connsiteY46632" fmla="*/ 1719062 h 5973007"/>
              <a:gd name="connsiteX46633" fmla="*/ 1263547 w 6884782"/>
              <a:gd name="connsiteY46633" fmla="*/ 1720766 h 5973007"/>
              <a:gd name="connsiteX46634" fmla="*/ 1254254 w 6884782"/>
              <a:gd name="connsiteY46634" fmla="*/ 1730679 h 5973007"/>
              <a:gd name="connsiteX46635" fmla="*/ 1251982 w 6884782"/>
              <a:gd name="connsiteY46635" fmla="*/ 1726652 h 5973007"/>
              <a:gd name="connsiteX46636" fmla="*/ 1259003 w 6884782"/>
              <a:gd name="connsiteY46636" fmla="*/ 1719062 h 5973007"/>
              <a:gd name="connsiteX46637" fmla="*/ 820835 w 6884782"/>
              <a:gd name="connsiteY46637" fmla="*/ 1718984 h 5973007"/>
              <a:gd name="connsiteX46638" fmla="*/ 829044 w 6884782"/>
              <a:gd name="connsiteY46638" fmla="*/ 1720301 h 5973007"/>
              <a:gd name="connsiteX46639" fmla="*/ 829457 w 6884782"/>
              <a:gd name="connsiteY46639" fmla="*/ 1727271 h 5973007"/>
              <a:gd name="connsiteX46640" fmla="*/ 816034 w 6884782"/>
              <a:gd name="connsiteY46640" fmla="*/ 1727426 h 5973007"/>
              <a:gd name="connsiteX46641" fmla="*/ 820835 w 6884782"/>
              <a:gd name="connsiteY46641" fmla="*/ 1718984 h 5973007"/>
              <a:gd name="connsiteX46642" fmla="*/ 3586305 w 6884782"/>
              <a:gd name="connsiteY46642" fmla="*/ 1718324 h 5973007"/>
              <a:gd name="connsiteX46643" fmla="*/ 3591641 w 6884782"/>
              <a:gd name="connsiteY46643" fmla="*/ 1723019 h 5973007"/>
              <a:gd name="connsiteX46644" fmla="*/ 3591001 w 6884782"/>
              <a:gd name="connsiteY46644" fmla="*/ 1745497 h 5973007"/>
              <a:gd name="connsiteX46645" fmla="*/ 3579262 w 6884782"/>
              <a:gd name="connsiteY46645" fmla="*/ 1746351 h 5973007"/>
              <a:gd name="connsiteX46646" fmla="*/ 3586305 w 6884782"/>
              <a:gd name="connsiteY46646" fmla="*/ 1718324 h 5973007"/>
              <a:gd name="connsiteX46647" fmla="*/ 6066243 w 6884782"/>
              <a:gd name="connsiteY46647" fmla="*/ 1718181 h 5973007"/>
              <a:gd name="connsiteX46648" fmla="*/ 6075207 w 6884782"/>
              <a:gd name="connsiteY46648" fmla="*/ 1718608 h 5973007"/>
              <a:gd name="connsiteX46649" fmla="*/ 6076487 w 6884782"/>
              <a:gd name="connsiteY46649" fmla="*/ 1731412 h 5973007"/>
              <a:gd name="connsiteX46650" fmla="*/ 6063042 w 6884782"/>
              <a:gd name="connsiteY46650" fmla="*/ 1728567 h 5973007"/>
              <a:gd name="connsiteX46651" fmla="*/ 6066243 w 6884782"/>
              <a:gd name="connsiteY46651" fmla="*/ 1718181 h 5973007"/>
              <a:gd name="connsiteX46652" fmla="*/ 5078536 w 6884782"/>
              <a:gd name="connsiteY46652" fmla="*/ 1718181 h 5973007"/>
              <a:gd name="connsiteX46653" fmla="*/ 5083018 w 6884782"/>
              <a:gd name="connsiteY46653" fmla="*/ 1718324 h 5973007"/>
              <a:gd name="connsiteX46654" fmla="*/ 5092409 w 6884782"/>
              <a:gd name="connsiteY46654" fmla="*/ 1727571 h 5973007"/>
              <a:gd name="connsiteX46655" fmla="*/ 5092195 w 6884782"/>
              <a:gd name="connsiteY46655" fmla="*/ 1735680 h 5973007"/>
              <a:gd name="connsiteX46656" fmla="*/ 5073841 w 6884782"/>
              <a:gd name="connsiteY46656" fmla="*/ 1747489 h 5973007"/>
              <a:gd name="connsiteX46657" fmla="*/ 5070853 w 6884782"/>
              <a:gd name="connsiteY46657" fmla="*/ 1746351 h 5973007"/>
              <a:gd name="connsiteX46658" fmla="*/ 5065731 w 6884782"/>
              <a:gd name="connsiteY46658" fmla="*/ 1746351 h 5973007"/>
              <a:gd name="connsiteX46659" fmla="*/ 5066158 w 6884782"/>
              <a:gd name="connsiteY46659" fmla="*/ 1730701 h 5973007"/>
              <a:gd name="connsiteX46660" fmla="*/ 5078536 w 6884782"/>
              <a:gd name="connsiteY46660" fmla="*/ 1718181 h 5973007"/>
              <a:gd name="connsiteX46661" fmla="*/ 4768437 w 6884782"/>
              <a:gd name="connsiteY46661" fmla="*/ 1717897 h 5973007"/>
              <a:gd name="connsiteX46662" fmla="*/ 4771425 w 6884782"/>
              <a:gd name="connsiteY46662" fmla="*/ 1718466 h 5973007"/>
              <a:gd name="connsiteX46663" fmla="*/ 4774413 w 6884782"/>
              <a:gd name="connsiteY46663" fmla="*/ 1719177 h 5973007"/>
              <a:gd name="connsiteX46664" fmla="*/ 4776974 w 6884782"/>
              <a:gd name="connsiteY46664" fmla="*/ 1718893 h 5973007"/>
              <a:gd name="connsiteX46665" fmla="*/ 4781029 w 6884782"/>
              <a:gd name="connsiteY46665" fmla="*/ 1721738 h 5973007"/>
              <a:gd name="connsiteX46666" fmla="*/ 4778468 w 6884782"/>
              <a:gd name="connsiteY46666" fmla="*/ 1721880 h 5973007"/>
              <a:gd name="connsiteX46667" fmla="*/ 4775480 w 6884782"/>
              <a:gd name="connsiteY46667" fmla="*/ 1721169 h 5973007"/>
              <a:gd name="connsiteX46668" fmla="*/ 4773560 w 6884782"/>
              <a:gd name="connsiteY46668" fmla="*/ 1722450 h 5973007"/>
              <a:gd name="connsiteX46669" fmla="*/ 4765663 w 6884782"/>
              <a:gd name="connsiteY46669" fmla="*/ 1718039 h 5973007"/>
              <a:gd name="connsiteX46670" fmla="*/ 4768437 w 6884782"/>
              <a:gd name="connsiteY46670" fmla="*/ 1717897 h 5973007"/>
              <a:gd name="connsiteX46671" fmla="*/ 1385699 w 6884782"/>
              <a:gd name="connsiteY46671" fmla="*/ 1717822 h 5973007"/>
              <a:gd name="connsiteX46672" fmla="*/ 1386112 w 6884782"/>
              <a:gd name="connsiteY46672" fmla="*/ 1718597 h 5973007"/>
              <a:gd name="connsiteX46673" fmla="*/ 1388797 w 6884782"/>
              <a:gd name="connsiteY46673" fmla="*/ 1720766 h 5973007"/>
              <a:gd name="connsiteX46674" fmla="*/ 1384976 w 6884782"/>
              <a:gd name="connsiteY46674" fmla="*/ 1723399 h 5973007"/>
              <a:gd name="connsiteX46675" fmla="*/ 1383840 w 6884782"/>
              <a:gd name="connsiteY46675" fmla="*/ 1719991 h 5973007"/>
              <a:gd name="connsiteX46676" fmla="*/ 1385699 w 6884782"/>
              <a:gd name="connsiteY46676" fmla="*/ 1717822 h 5973007"/>
              <a:gd name="connsiteX46677" fmla="*/ 1551218 w 6884782"/>
              <a:gd name="connsiteY46677" fmla="*/ 1717203 h 5973007"/>
              <a:gd name="connsiteX46678" fmla="*/ 1557104 w 6884782"/>
              <a:gd name="connsiteY46678" fmla="*/ 1717822 h 5973007"/>
              <a:gd name="connsiteX46679" fmla="*/ 1563712 w 6884782"/>
              <a:gd name="connsiteY46679" fmla="*/ 1723554 h 5973007"/>
              <a:gd name="connsiteX46680" fmla="*/ 1553180 w 6884782"/>
              <a:gd name="connsiteY46680" fmla="*/ 1722934 h 5973007"/>
              <a:gd name="connsiteX46681" fmla="*/ 1549360 w 6884782"/>
              <a:gd name="connsiteY46681" fmla="*/ 1718907 h 5973007"/>
              <a:gd name="connsiteX46682" fmla="*/ 1551218 w 6884782"/>
              <a:gd name="connsiteY46682" fmla="*/ 1717203 h 5973007"/>
              <a:gd name="connsiteX46683" fmla="*/ 4626300 w 6884782"/>
              <a:gd name="connsiteY46683" fmla="*/ 1717185 h 5973007"/>
              <a:gd name="connsiteX46684" fmla="*/ 4627794 w 6884782"/>
              <a:gd name="connsiteY46684" fmla="*/ 1736534 h 5973007"/>
              <a:gd name="connsiteX46685" fmla="*/ 4626300 w 6884782"/>
              <a:gd name="connsiteY46685" fmla="*/ 1717185 h 5973007"/>
              <a:gd name="connsiteX46686" fmla="*/ 1227200 w 6884782"/>
              <a:gd name="connsiteY46686" fmla="*/ 1717048 h 5973007"/>
              <a:gd name="connsiteX46687" fmla="*/ 1232363 w 6884782"/>
              <a:gd name="connsiteY46687" fmla="*/ 1719526 h 5973007"/>
              <a:gd name="connsiteX46688" fmla="*/ 1230608 w 6884782"/>
              <a:gd name="connsiteY46688" fmla="*/ 1728200 h 5973007"/>
              <a:gd name="connsiteX46689" fmla="*/ 1224929 w 6884782"/>
              <a:gd name="connsiteY46689" fmla="*/ 1722624 h 5973007"/>
              <a:gd name="connsiteX46690" fmla="*/ 1224929 w 6884782"/>
              <a:gd name="connsiteY46690" fmla="*/ 1719991 h 5973007"/>
              <a:gd name="connsiteX46691" fmla="*/ 1227200 w 6884782"/>
              <a:gd name="connsiteY46691" fmla="*/ 1717048 h 5973007"/>
              <a:gd name="connsiteX46692" fmla="*/ 1485857 w 6884782"/>
              <a:gd name="connsiteY46692" fmla="*/ 1716893 h 5973007"/>
              <a:gd name="connsiteX46693" fmla="*/ 1480178 w 6884782"/>
              <a:gd name="connsiteY46693" fmla="*/ 1725102 h 5973007"/>
              <a:gd name="connsiteX46694" fmla="*/ 1483586 w 6884782"/>
              <a:gd name="connsiteY46694" fmla="*/ 1717512 h 5973007"/>
              <a:gd name="connsiteX46695" fmla="*/ 1485857 w 6884782"/>
              <a:gd name="connsiteY46695" fmla="*/ 1716893 h 5973007"/>
              <a:gd name="connsiteX46696" fmla="*/ 944691 w 6884782"/>
              <a:gd name="connsiteY46696" fmla="*/ 1715964 h 5973007"/>
              <a:gd name="connsiteX46697" fmla="*/ 947892 w 6884782"/>
              <a:gd name="connsiteY46697" fmla="*/ 1716273 h 5973007"/>
              <a:gd name="connsiteX46698" fmla="*/ 950164 w 6884782"/>
              <a:gd name="connsiteY46698" fmla="*/ 1719526 h 5973007"/>
              <a:gd name="connsiteX46699" fmla="*/ 950164 w 6884782"/>
              <a:gd name="connsiteY46699" fmla="*/ 1726342 h 5973007"/>
              <a:gd name="connsiteX46700" fmla="*/ 948615 w 6884782"/>
              <a:gd name="connsiteY46700" fmla="*/ 1725877 h 5973007"/>
              <a:gd name="connsiteX46701" fmla="*/ 947583 w 6884782"/>
              <a:gd name="connsiteY46701" fmla="*/ 1734242 h 5973007"/>
              <a:gd name="connsiteX46702" fmla="*/ 943142 w 6884782"/>
              <a:gd name="connsiteY46702" fmla="*/ 1741057 h 5973007"/>
              <a:gd name="connsiteX46703" fmla="*/ 939116 w 6884782"/>
              <a:gd name="connsiteY46703" fmla="*/ 1743690 h 5973007"/>
              <a:gd name="connsiteX46704" fmla="*/ 942729 w 6884782"/>
              <a:gd name="connsiteY46704" fmla="*/ 1744465 h 5973007"/>
              <a:gd name="connsiteX46705" fmla="*/ 955120 w 6884782"/>
              <a:gd name="connsiteY46705" fmla="*/ 1752674 h 5973007"/>
              <a:gd name="connsiteX46706" fmla="*/ 945518 w 6884782"/>
              <a:gd name="connsiteY46706" fmla="*/ 1758560 h 5973007"/>
              <a:gd name="connsiteX46707" fmla="*/ 930029 w 6884782"/>
              <a:gd name="connsiteY46707" fmla="*/ 1747098 h 5973007"/>
              <a:gd name="connsiteX46708" fmla="*/ 930029 w 6884782"/>
              <a:gd name="connsiteY46708" fmla="*/ 1746633 h 5973007"/>
              <a:gd name="connsiteX46709" fmla="*/ 923214 w 6884782"/>
              <a:gd name="connsiteY46709" fmla="*/ 1746478 h 5973007"/>
              <a:gd name="connsiteX46710" fmla="*/ 915676 w 6884782"/>
              <a:gd name="connsiteY46710" fmla="*/ 1744000 h 5973007"/>
              <a:gd name="connsiteX46711" fmla="*/ 914540 w 6884782"/>
              <a:gd name="connsiteY46711" fmla="*/ 1741522 h 5973007"/>
              <a:gd name="connsiteX46712" fmla="*/ 926415 w 6884782"/>
              <a:gd name="connsiteY46712" fmla="*/ 1724018 h 5973007"/>
              <a:gd name="connsiteX46713" fmla="*/ 943349 w 6884782"/>
              <a:gd name="connsiteY46713" fmla="*/ 1722469 h 5973007"/>
              <a:gd name="connsiteX46714" fmla="*/ 944175 w 6884782"/>
              <a:gd name="connsiteY46714" fmla="*/ 1722934 h 5973007"/>
              <a:gd name="connsiteX46715" fmla="*/ 943142 w 6884782"/>
              <a:gd name="connsiteY46715" fmla="*/ 1721850 h 5973007"/>
              <a:gd name="connsiteX46716" fmla="*/ 943246 w 6884782"/>
              <a:gd name="connsiteY46716" fmla="*/ 1719836 h 5973007"/>
              <a:gd name="connsiteX46717" fmla="*/ 944691 w 6884782"/>
              <a:gd name="connsiteY46717" fmla="*/ 1715964 h 5973007"/>
              <a:gd name="connsiteX46718" fmla="*/ 5771937 w 6884782"/>
              <a:gd name="connsiteY46718" fmla="*/ 1715905 h 5973007"/>
              <a:gd name="connsiteX46719" fmla="*/ 5774712 w 6884782"/>
              <a:gd name="connsiteY46719" fmla="*/ 1717185 h 5973007"/>
              <a:gd name="connsiteX46720" fmla="*/ 5764254 w 6884782"/>
              <a:gd name="connsiteY46720" fmla="*/ 1724726 h 5973007"/>
              <a:gd name="connsiteX46721" fmla="*/ 5771937 w 6884782"/>
              <a:gd name="connsiteY46721" fmla="*/ 1715905 h 5973007"/>
              <a:gd name="connsiteX46722" fmla="*/ 1465309 w 6884782"/>
              <a:gd name="connsiteY46722" fmla="*/ 1715654 h 5973007"/>
              <a:gd name="connsiteX46723" fmla="*/ 1466858 w 6884782"/>
              <a:gd name="connsiteY46723" fmla="*/ 1716893 h 5973007"/>
              <a:gd name="connsiteX46724" fmla="*/ 1468097 w 6884782"/>
              <a:gd name="connsiteY46724" fmla="*/ 1719216 h 5973007"/>
              <a:gd name="connsiteX46725" fmla="*/ 1464380 w 6884782"/>
              <a:gd name="connsiteY46725" fmla="*/ 1721695 h 5973007"/>
              <a:gd name="connsiteX46726" fmla="*/ 1462831 w 6884782"/>
              <a:gd name="connsiteY46726" fmla="*/ 1720301 h 5973007"/>
              <a:gd name="connsiteX46727" fmla="*/ 1462521 w 6884782"/>
              <a:gd name="connsiteY46727" fmla="*/ 1717667 h 5973007"/>
              <a:gd name="connsiteX46728" fmla="*/ 1465309 w 6884782"/>
              <a:gd name="connsiteY46728" fmla="*/ 1715654 h 5973007"/>
              <a:gd name="connsiteX46729" fmla="*/ 5161770 w 6884782"/>
              <a:gd name="connsiteY46729" fmla="*/ 1715478 h 5973007"/>
              <a:gd name="connsiteX46730" fmla="*/ 5160703 w 6884782"/>
              <a:gd name="connsiteY46730" fmla="*/ 1740233 h 5973007"/>
              <a:gd name="connsiteX46731" fmla="*/ 5161770 w 6884782"/>
              <a:gd name="connsiteY46731" fmla="*/ 1715478 h 5973007"/>
              <a:gd name="connsiteX46732" fmla="*/ 1041649 w 6884782"/>
              <a:gd name="connsiteY46732" fmla="*/ 1715034 h 5973007"/>
              <a:gd name="connsiteX46733" fmla="*/ 1045986 w 6884782"/>
              <a:gd name="connsiteY46733" fmla="*/ 1715654 h 5973007"/>
              <a:gd name="connsiteX46734" fmla="*/ 1048258 w 6884782"/>
              <a:gd name="connsiteY46734" fmla="*/ 1723089 h 5973007"/>
              <a:gd name="connsiteX46735" fmla="*/ 1044747 w 6884782"/>
              <a:gd name="connsiteY46735" fmla="*/ 1723399 h 5973007"/>
              <a:gd name="connsiteX46736" fmla="*/ 1041029 w 6884782"/>
              <a:gd name="connsiteY46736" fmla="*/ 1717203 h 5973007"/>
              <a:gd name="connsiteX46737" fmla="*/ 1041649 w 6884782"/>
              <a:gd name="connsiteY46737" fmla="*/ 1715034 h 5973007"/>
              <a:gd name="connsiteX46738" fmla="*/ 5868616 w 6884782"/>
              <a:gd name="connsiteY46738" fmla="*/ 1714340 h 5973007"/>
              <a:gd name="connsiteX46739" fmla="*/ 5866482 w 6884782"/>
              <a:gd name="connsiteY46739" fmla="*/ 1725295 h 5973007"/>
              <a:gd name="connsiteX46740" fmla="*/ 5868616 w 6884782"/>
              <a:gd name="connsiteY46740" fmla="*/ 1714340 h 5973007"/>
              <a:gd name="connsiteX46741" fmla="*/ 5448393 w 6884782"/>
              <a:gd name="connsiteY46741" fmla="*/ 1714340 h 5973007"/>
              <a:gd name="connsiteX46742" fmla="*/ 5463973 w 6884782"/>
              <a:gd name="connsiteY46742" fmla="*/ 1720458 h 5973007"/>
              <a:gd name="connsiteX46743" fmla="*/ 5434307 w 6884782"/>
              <a:gd name="connsiteY46743" fmla="*/ 1720315 h 5973007"/>
              <a:gd name="connsiteX46744" fmla="*/ 5448393 w 6884782"/>
              <a:gd name="connsiteY46744" fmla="*/ 1714340 h 5973007"/>
              <a:gd name="connsiteX46745" fmla="*/ 4626940 w 6884782"/>
              <a:gd name="connsiteY46745" fmla="*/ 1714340 h 5973007"/>
              <a:gd name="connsiteX46746" fmla="*/ 4626513 w 6884782"/>
              <a:gd name="connsiteY46746" fmla="*/ 1717185 h 5973007"/>
              <a:gd name="connsiteX46747" fmla="*/ 4625232 w 6884782"/>
              <a:gd name="connsiteY46747" fmla="*/ 1716332 h 5973007"/>
              <a:gd name="connsiteX46748" fmla="*/ 4626940 w 6884782"/>
              <a:gd name="connsiteY46748" fmla="*/ 1714340 h 5973007"/>
              <a:gd name="connsiteX46749" fmla="*/ 3708595 w 6884782"/>
              <a:gd name="connsiteY46749" fmla="*/ 1714198 h 5973007"/>
              <a:gd name="connsiteX46750" fmla="*/ 3725668 w 6884782"/>
              <a:gd name="connsiteY46750" fmla="*/ 1721453 h 5973007"/>
              <a:gd name="connsiteX46751" fmla="*/ 3707528 w 6884782"/>
              <a:gd name="connsiteY46751" fmla="*/ 1749765 h 5973007"/>
              <a:gd name="connsiteX46752" fmla="*/ 3695363 w 6884782"/>
              <a:gd name="connsiteY46752" fmla="*/ 1745355 h 5973007"/>
              <a:gd name="connsiteX46753" fmla="*/ 3708595 w 6884782"/>
              <a:gd name="connsiteY46753" fmla="*/ 1714198 h 5973007"/>
              <a:gd name="connsiteX46754" fmla="*/ 3560482 w 6884782"/>
              <a:gd name="connsiteY46754" fmla="*/ 1714056 h 5973007"/>
              <a:gd name="connsiteX46755" fmla="*/ 3570086 w 6884782"/>
              <a:gd name="connsiteY46755" fmla="*/ 1721169 h 5973007"/>
              <a:gd name="connsiteX46756" fmla="*/ 3544475 w 6884782"/>
              <a:gd name="connsiteY46756" fmla="*/ 1746351 h 5973007"/>
              <a:gd name="connsiteX46757" fmla="*/ 3560482 w 6884782"/>
              <a:gd name="connsiteY46757" fmla="*/ 1714056 h 5973007"/>
              <a:gd name="connsiteX46758" fmla="*/ 4669197 w 6884782"/>
              <a:gd name="connsiteY46758" fmla="*/ 1713629 h 5973007"/>
              <a:gd name="connsiteX46759" fmla="*/ 4674533 w 6884782"/>
              <a:gd name="connsiteY46759" fmla="*/ 1719746 h 5973007"/>
              <a:gd name="connsiteX46760" fmla="*/ 4677521 w 6884782"/>
              <a:gd name="connsiteY46760" fmla="*/ 1719035 h 5973007"/>
              <a:gd name="connsiteX46761" fmla="*/ 4681789 w 6884782"/>
              <a:gd name="connsiteY46761" fmla="*/ 1723019 h 5973007"/>
              <a:gd name="connsiteX46762" fmla="*/ 4677094 w 6884782"/>
              <a:gd name="connsiteY46762" fmla="*/ 1723303 h 5973007"/>
              <a:gd name="connsiteX46763" fmla="*/ 4676667 w 6884782"/>
              <a:gd name="connsiteY46763" fmla="*/ 1723161 h 5973007"/>
              <a:gd name="connsiteX46764" fmla="*/ 4680295 w 6884782"/>
              <a:gd name="connsiteY46764" fmla="*/ 1729421 h 5973007"/>
              <a:gd name="connsiteX46765" fmla="*/ 4685630 w 6884782"/>
              <a:gd name="connsiteY46765" fmla="*/ 1736676 h 5973007"/>
              <a:gd name="connsiteX46766" fmla="*/ 4684990 w 6884782"/>
              <a:gd name="connsiteY46766" fmla="*/ 1739948 h 5973007"/>
              <a:gd name="connsiteX46767" fmla="*/ 4685844 w 6884782"/>
              <a:gd name="connsiteY46767" fmla="*/ 1740945 h 5973007"/>
              <a:gd name="connsiteX46768" fmla="*/ 4684563 w 6884782"/>
              <a:gd name="connsiteY46768" fmla="*/ 1743220 h 5973007"/>
              <a:gd name="connsiteX46769" fmla="*/ 4679655 w 6884782"/>
              <a:gd name="connsiteY46769" fmla="*/ 1737672 h 5973007"/>
              <a:gd name="connsiteX46770" fmla="*/ 4676240 w 6884782"/>
              <a:gd name="connsiteY46770" fmla="*/ 1732551 h 5973007"/>
              <a:gd name="connsiteX46771" fmla="*/ 4669197 w 6884782"/>
              <a:gd name="connsiteY46771" fmla="*/ 1713629 h 5973007"/>
              <a:gd name="connsiteX46772" fmla="*/ 1681734 w 6884782"/>
              <a:gd name="connsiteY46772" fmla="*/ 1713331 h 5973007"/>
              <a:gd name="connsiteX46773" fmla="*/ 1683386 w 6884782"/>
              <a:gd name="connsiteY46773" fmla="*/ 1713640 h 5973007"/>
              <a:gd name="connsiteX46774" fmla="*/ 1684006 w 6884782"/>
              <a:gd name="connsiteY46774" fmla="*/ 1715344 h 5973007"/>
              <a:gd name="connsiteX46775" fmla="*/ 1683490 w 6884782"/>
              <a:gd name="connsiteY46775" fmla="*/ 1718752 h 5973007"/>
              <a:gd name="connsiteX46776" fmla="*/ 1681425 w 6884782"/>
              <a:gd name="connsiteY46776" fmla="*/ 1720301 h 5973007"/>
              <a:gd name="connsiteX46777" fmla="*/ 1679875 w 6884782"/>
              <a:gd name="connsiteY46777" fmla="*/ 1719371 h 5973007"/>
              <a:gd name="connsiteX46778" fmla="*/ 1678120 w 6884782"/>
              <a:gd name="connsiteY46778" fmla="*/ 1719216 h 5973007"/>
              <a:gd name="connsiteX46779" fmla="*/ 1678327 w 6884782"/>
              <a:gd name="connsiteY46779" fmla="*/ 1718287 h 5973007"/>
              <a:gd name="connsiteX46780" fmla="*/ 1677604 w 6884782"/>
              <a:gd name="connsiteY46780" fmla="*/ 1717512 h 5973007"/>
              <a:gd name="connsiteX46781" fmla="*/ 1679875 w 6884782"/>
              <a:gd name="connsiteY46781" fmla="*/ 1714260 h 5973007"/>
              <a:gd name="connsiteX46782" fmla="*/ 1681734 w 6884782"/>
              <a:gd name="connsiteY46782" fmla="*/ 1713331 h 5973007"/>
              <a:gd name="connsiteX46783" fmla="*/ 1515595 w 6884782"/>
              <a:gd name="connsiteY46783" fmla="*/ 1713176 h 5973007"/>
              <a:gd name="connsiteX46784" fmla="*/ 1519209 w 6884782"/>
              <a:gd name="connsiteY46784" fmla="*/ 1713795 h 5973007"/>
              <a:gd name="connsiteX46785" fmla="*/ 1516937 w 6884782"/>
              <a:gd name="connsiteY46785" fmla="*/ 1718907 h 5973007"/>
              <a:gd name="connsiteX46786" fmla="*/ 1514046 w 6884782"/>
              <a:gd name="connsiteY46786" fmla="*/ 1721385 h 5973007"/>
              <a:gd name="connsiteX46787" fmla="*/ 1514459 w 6884782"/>
              <a:gd name="connsiteY46787" fmla="*/ 1721695 h 5973007"/>
              <a:gd name="connsiteX46788" fmla="*/ 1514563 w 6884782"/>
              <a:gd name="connsiteY46788" fmla="*/ 1724173 h 5973007"/>
              <a:gd name="connsiteX46789" fmla="*/ 1509090 w 6884782"/>
              <a:gd name="connsiteY46789" fmla="*/ 1728200 h 5973007"/>
              <a:gd name="connsiteX46790" fmla="*/ 1505786 w 6884782"/>
              <a:gd name="connsiteY46790" fmla="*/ 1731299 h 5973007"/>
              <a:gd name="connsiteX46791" fmla="*/ 1509090 w 6884782"/>
              <a:gd name="connsiteY46791" fmla="*/ 1726342 h 5973007"/>
              <a:gd name="connsiteX46792" fmla="*/ 1508780 w 6884782"/>
              <a:gd name="connsiteY46792" fmla="*/ 1723709 h 5973007"/>
              <a:gd name="connsiteX46793" fmla="*/ 1509916 w 6884782"/>
              <a:gd name="connsiteY46793" fmla="*/ 1722469 h 5973007"/>
              <a:gd name="connsiteX46794" fmla="*/ 1509193 w 6884782"/>
              <a:gd name="connsiteY46794" fmla="*/ 1721695 h 5973007"/>
              <a:gd name="connsiteX46795" fmla="*/ 1507128 w 6884782"/>
              <a:gd name="connsiteY46795" fmla="*/ 1719991 h 5973007"/>
              <a:gd name="connsiteX46796" fmla="*/ 1515595 w 6884782"/>
              <a:gd name="connsiteY46796" fmla="*/ 1713176 h 5973007"/>
              <a:gd name="connsiteX46797" fmla="*/ 697806 w 6884782"/>
              <a:gd name="connsiteY46797" fmla="*/ 1713176 h 5973007"/>
              <a:gd name="connsiteX46798" fmla="*/ 700284 w 6884782"/>
              <a:gd name="connsiteY46798" fmla="*/ 1716738 h 5973007"/>
              <a:gd name="connsiteX46799" fmla="*/ 701110 w 6884782"/>
              <a:gd name="connsiteY46799" fmla="*/ 1716738 h 5973007"/>
              <a:gd name="connsiteX46800" fmla="*/ 702969 w 6884782"/>
              <a:gd name="connsiteY46800" fmla="*/ 1715344 h 5973007"/>
              <a:gd name="connsiteX46801" fmla="*/ 711642 w 6884782"/>
              <a:gd name="connsiteY46801" fmla="*/ 1716273 h 5973007"/>
              <a:gd name="connsiteX46802" fmla="*/ 714017 w 6884782"/>
              <a:gd name="connsiteY46802" fmla="*/ 1725722 h 5973007"/>
              <a:gd name="connsiteX46803" fmla="*/ 711435 w 6884782"/>
              <a:gd name="connsiteY46803" fmla="*/ 1729595 h 5973007"/>
              <a:gd name="connsiteX46804" fmla="*/ 701007 w 6884782"/>
              <a:gd name="connsiteY46804" fmla="*/ 1727736 h 5973007"/>
              <a:gd name="connsiteX46805" fmla="*/ 699355 w 6884782"/>
              <a:gd name="connsiteY46805" fmla="*/ 1718287 h 5973007"/>
              <a:gd name="connsiteX46806" fmla="*/ 697702 w 6884782"/>
              <a:gd name="connsiteY46806" fmla="*/ 1717357 h 5973007"/>
              <a:gd name="connsiteX46807" fmla="*/ 696051 w 6884782"/>
              <a:gd name="connsiteY46807" fmla="*/ 1713795 h 5973007"/>
              <a:gd name="connsiteX46808" fmla="*/ 697806 w 6884782"/>
              <a:gd name="connsiteY46808" fmla="*/ 1713176 h 5973007"/>
              <a:gd name="connsiteX46809" fmla="*/ 4973107 w 6884782"/>
              <a:gd name="connsiteY46809" fmla="*/ 1712633 h 5973007"/>
              <a:gd name="connsiteX46810" fmla="*/ 4989540 w 6884782"/>
              <a:gd name="connsiteY46810" fmla="*/ 1742082 h 5973007"/>
              <a:gd name="connsiteX46811" fmla="*/ 4970973 w 6884782"/>
              <a:gd name="connsiteY46811" fmla="*/ 1719746 h 5973007"/>
              <a:gd name="connsiteX46812" fmla="*/ 4973107 w 6884782"/>
              <a:gd name="connsiteY46812" fmla="*/ 1712633 h 5973007"/>
              <a:gd name="connsiteX46813" fmla="*/ 1278209 w 6884782"/>
              <a:gd name="connsiteY46813" fmla="*/ 1712091 h 5973007"/>
              <a:gd name="connsiteX46814" fmla="*/ 1280584 w 6884782"/>
              <a:gd name="connsiteY46814" fmla="*/ 1712711 h 5973007"/>
              <a:gd name="connsiteX46815" fmla="*/ 1283269 w 6884782"/>
              <a:gd name="connsiteY46815" fmla="*/ 1717203 h 5973007"/>
              <a:gd name="connsiteX46816" fmla="*/ 1280481 w 6884782"/>
              <a:gd name="connsiteY46816" fmla="*/ 1719681 h 5973007"/>
              <a:gd name="connsiteX46817" fmla="*/ 1276867 w 6884782"/>
              <a:gd name="connsiteY46817" fmla="*/ 1720611 h 5973007"/>
              <a:gd name="connsiteX46818" fmla="*/ 1276970 w 6884782"/>
              <a:gd name="connsiteY46818" fmla="*/ 1721230 h 5973007"/>
              <a:gd name="connsiteX46819" fmla="*/ 1277796 w 6884782"/>
              <a:gd name="connsiteY46819" fmla="*/ 1721230 h 5973007"/>
              <a:gd name="connsiteX46820" fmla="*/ 1276763 w 6884782"/>
              <a:gd name="connsiteY46820" fmla="*/ 1722934 h 5973007"/>
              <a:gd name="connsiteX46821" fmla="*/ 1270155 w 6884782"/>
              <a:gd name="connsiteY46821" fmla="*/ 1724948 h 5973007"/>
              <a:gd name="connsiteX46822" fmla="*/ 1269535 w 6884782"/>
              <a:gd name="connsiteY46822" fmla="*/ 1722624 h 5973007"/>
              <a:gd name="connsiteX46823" fmla="*/ 1270878 w 6884782"/>
              <a:gd name="connsiteY46823" fmla="*/ 1720766 h 5973007"/>
              <a:gd name="connsiteX46824" fmla="*/ 1273975 w 6884782"/>
              <a:gd name="connsiteY46824" fmla="*/ 1718907 h 5973007"/>
              <a:gd name="connsiteX46825" fmla="*/ 1275008 w 6884782"/>
              <a:gd name="connsiteY46825" fmla="*/ 1719062 h 5973007"/>
              <a:gd name="connsiteX46826" fmla="*/ 1274285 w 6884782"/>
              <a:gd name="connsiteY46826" fmla="*/ 1718442 h 5973007"/>
              <a:gd name="connsiteX46827" fmla="*/ 1274182 w 6884782"/>
              <a:gd name="connsiteY46827" fmla="*/ 1715034 h 5973007"/>
              <a:gd name="connsiteX46828" fmla="*/ 1275421 w 6884782"/>
              <a:gd name="connsiteY46828" fmla="*/ 1712866 h 5973007"/>
              <a:gd name="connsiteX46829" fmla="*/ 1278209 w 6884782"/>
              <a:gd name="connsiteY46829" fmla="*/ 1712091 h 5973007"/>
              <a:gd name="connsiteX46830" fmla="*/ 1430822 w 6884782"/>
              <a:gd name="connsiteY46830" fmla="*/ 1711936 h 5973007"/>
              <a:gd name="connsiteX46831" fmla="*/ 1437843 w 6884782"/>
              <a:gd name="connsiteY46831" fmla="*/ 1717512 h 5973007"/>
              <a:gd name="connsiteX46832" fmla="*/ 1429996 w 6884782"/>
              <a:gd name="connsiteY46832" fmla="*/ 1717048 h 5973007"/>
              <a:gd name="connsiteX46833" fmla="*/ 1430822 w 6884782"/>
              <a:gd name="connsiteY46833" fmla="*/ 1711936 h 5973007"/>
              <a:gd name="connsiteX46834" fmla="*/ 1073039 w 6884782"/>
              <a:gd name="connsiteY46834" fmla="*/ 1711317 h 5973007"/>
              <a:gd name="connsiteX46835" fmla="*/ 1076033 w 6884782"/>
              <a:gd name="connsiteY46835" fmla="*/ 1718597 h 5973007"/>
              <a:gd name="connsiteX46836" fmla="*/ 1070148 w 6884782"/>
              <a:gd name="connsiteY46836" fmla="*/ 1713485 h 5973007"/>
              <a:gd name="connsiteX46837" fmla="*/ 1070458 w 6884782"/>
              <a:gd name="connsiteY46837" fmla="*/ 1711472 h 5973007"/>
              <a:gd name="connsiteX46838" fmla="*/ 1073039 w 6884782"/>
              <a:gd name="connsiteY46838" fmla="*/ 1711317 h 5973007"/>
              <a:gd name="connsiteX46839" fmla="*/ 1016145 w 6884782"/>
              <a:gd name="connsiteY46839" fmla="*/ 1711317 h 5973007"/>
              <a:gd name="connsiteX46840" fmla="*/ 1019862 w 6884782"/>
              <a:gd name="connsiteY46840" fmla="*/ 1714105 h 5973007"/>
              <a:gd name="connsiteX46841" fmla="*/ 1022547 w 6884782"/>
              <a:gd name="connsiteY46841" fmla="*/ 1714570 h 5973007"/>
              <a:gd name="connsiteX46842" fmla="*/ 1022650 w 6884782"/>
              <a:gd name="connsiteY46842" fmla="*/ 1715344 h 5973007"/>
              <a:gd name="connsiteX46843" fmla="*/ 1012014 w 6884782"/>
              <a:gd name="connsiteY46843" fmla="*/ 1715189 h 5973007"/>
              <a:gd name="connsiteX46844" fmla="*/ 1010879 w 6884782"/>
              <a:gd name="connsiteY46844" fmla="*/ 1713950 h 5973007"/>
              <a:gd name="connsiteX46845" fmla="*/ 1011808 w 6884782"/>
              <a:gd name="connsiteY46845" fmla="*/ 1711781 h 5973007"/>
              <a:gd name="connsiteX46846" fmla="*/ 1016145 w 6884782"/>
              <a:gd name="connsiteY46846" fmla="*/ 1711317 h 5973007"/>
              <a:gd name="connsiteX46847" fmla="*/ 1175675 w 6884782"/>
              <a:gd name="connsiteY46847" fmla="*/ 1710852 h 5973007"/>
              <a:gd name="connsiteX46848" fmla="*/ 1178463 w 6884782"/>
              <a:gd name="connsiteY46848" fmla="*/ 1711317 h 5973007"/>
              <a:gd name="connsiteX46849" fmla="*/ 1181148 w 6884782"/>
              <a:gd name="connsiteY46849" fmla="*/ 1714879 h 5973007"/>
              <a:gd name="connsiteX46850" fmla="*/ 1174230 w 6884782"/>
              <a:gd name="connsiteY46850" fmla="*/ 1717667 h 5973007"/>
              <a:gd name="connsiteX46851" fmla="*/ 1172371 w 6884782"/>
              <a:gd name="connsiteY46851" fmla="*/ 1715654 h 5973007"/>
              <a:gd name="connsiteX46852" fmla="*/ 1175675 w 6884782"/>
              <a:gd name="connsiteY46852" fmla="*/ 1710852 h 5973007"/>
              <a:gd name="connsiteX46853" fmla="*/ 1141395 w 6884782"/>
              <a:gd name="connsiteY46853" fmla="*/ 1710852 h 5973007"/>
              <a:gd name="connsiteX46854" fmla="*/ 1143563 w 6884782"/>
              <a:gd name="connsiteY46854" fmla="*/ 1712711 h 5973007"/>
              <a:gd name="connsiteX46855" fmla="*/ 1139329 w 6884782"/>
              <a:gd name="connsiteY46855" fmla="*/ 1713950 h 5973007"/>
              <a:gd name="connsiteX46856" fmla="*/ 1141395 w 6884782"/>
              <a:gd name="connsiteY46856" fmla="*/ 1710852 h 5973007"/>
              <a:gd name="connsiteX46857" fmla="*/ 803747 w 6884782"/>
              <a:gd name="connsiteY46857" fmla="*/ 1710852 h 5973007"/>
              <a:gd name="connsiteX46858" fmla="*/ 807361 w 6884782"/>
              <a:gd name="connsiteY46858" fmla="*/ 1720611 h 5973007"/>
              <a:gd name="connsiteX46859" fmla="*/ 804160 w 6884782"/>
              <a:gd name="connsiteY46859" fmla="*/ 1722159 h 5973007"/>
              <a:gd name="connsiteX46860" fmla="*/ 798790 w 6884782"/>
              <a:gd name="connsiteY46860" fmla="*/ 1712556 h 5973007"/>
              <a:gd name="connsiteX46861" fmla="*/ 803747 w 6884782"/>
              <a:gd name="connsiteY46861" fmla="*/ 1710852 h 5973007"/>
              <a:gd name="connsiteX46862" fmla="*/ 5216832 w 6884782"/>
              <a:gd name="connsiteY46862" fmla="*/ 1710784 h 5973007"/>
              <a:gd name="connsiteX46863" fmla="*/ 5226223 w 6884782"/>
              <a:gd name="connsiteY46863" fmla="*/ 1717328 h 5973007"/>
              <a:gd name="connsiteX46864" fmla="*/ 5222808 w 6884782"/>
              <a:gd name="connsiteY46864" fmla="*/ 1724299 h 5973007"/>
              <a:gd name="connsiteX46865" fmla="*/ 5211070 w 6884782"/>
              <a:gd name="connsiteY46865" fmla="*/ 1717470 h 5973007"/>
              <a:gd name="connsiteX46866" fmla="*/ 5212991 w 6884782"/>
              <a:gd name="connsiteY46866" fmla="*/ 1712491 h 5973007"/>
              <a:gd name="connsiteX46867" fmla="*/ 5216832 w 6884782"/>
              <a:gd name="connsiteY46867" fmla="*/ 1710784 h 5973007"/>
              <a:gd name="connsiteX46868" fmla="*/ 5314365 w 6884782"/>
              <a:gd name="connsiteY46868" fmla="*/ 1710499 h 5973007"/>
              <a:gd name="connsiteX46869" fmla="*/ 5363238 w 6884782"/>
              <a:gd name="connsiteY46869" fmla="*/ 1736818 h 5973007"/>
              <a:gd name="connsiteX46870" fmla="*/ 5356196 w 6884782"/>
              <a:gd name="connsiteY46870" fmla="*/ 1747204 h 5973007"/>
              <a:gd name="connsiteX46871" fmla="*/ 5307322 w 6884782"/>
              <a:gd name="connsiteY46871" fmla="*/ 1710641 h 5973007"/>
              <a:gd name="connsiteX46872" fmla="*/ 5314365 w 6884782"/>
              <a:gd name="connsiteY46872" fmla="*/ 1710499 h 5973007"/>
              <a:gd name="connsiteX46873" fmla="*/ 1233189 w 6884782"/>
              <a:gd name="connsiteY46873" fmla="*/ 1710388 h 5973007"/>
              <a:gd name="connsiteX46874" fmla="*/ 1234738 w 6884782"/>
              <a:gd name="connsiteY46874" fmla="*/ 1710852 h 5973007"/>
              <a:gd name="connsiteX46875" fmla="*/ 1227200 w 6884782"/>
              <a:gd name="connsiteY46875" fmla="*/ 1714415 h 5973007"/>
              <a:gd name="connsiteX46876" fmla="*/ 1233189 w 6884782"/>
              <a:gd name="connsiteY46876" fmla="*/ 1710388 h 5973007"/>
              <a:gd name="connsiteX46877" fmla="*/ 4698009 w 6884782"/>
              <a:gd name="connsiteY46877" fmla="*/ 1710072 h 5973007"/>
              <a:gd name="connsiteX46878" fmla="*/ 4696301 w 6884782"/>
              <a:gd name="connsiteY46878" fmla="*/ 1713344 h 5973007"/>
              <a:gd name="connsiteX46879" fmla="*/ 4683283 w 6884782"/>
              <a:gd name="connsiteY46879" fmla="*/ 1720885 h 5973007"/>
              <a:gd name="connsiteX46880" fmla="*/ 4698009 w 6884782"/>
              <a:gd name="connsiteY46880" fmla="*/ 1710072 h 5973007"/>
              <a:gd name="connsiteX46881" fmla="*/ 1493292 w 6884782"/>
              <a:gd name="connsiteY46881" fmla="*/ 1709768 h 5973007"/>
              <a:gd name="connsiteX46882" fmla="*/ 1495047 w 6884782"/>
              <a:gd name="connsiteY46882" fmla="*/ 1712556 h 5973007"/>
              <a:gd name="connsiteX46883" fmla="*/ 1494944 w 6884782"/>
              <a:gd name="connsiteY46883" fmla="*/ 1712711 h 5973007"/>
              <a:gd name="connsiteX46884" fmla="*/ 1496493 w 6884782"/>
              <a:gd name="connsiteY46884" fmla="*/ 1713331 h 5973007"/>
              <a:gd name="connsiteX46885" fmla="*/ 1496493 w 6884782"/>
              <a:gd name="connsiteY46885" fmla="*/ 1716428 h 5973007"/>
              <a:gd name="connsiteX46886" fmla="*/ 1503411 w 6884782"/>
              <a:gd name="connsiteY46886" fmla="*/ 1712866 h 5973007"/>
              <a:gd name="connsiteX46887" fmla="*/ 1509090 w 6884782"/>
              <a:gd name="connsiteY46887" fmla="*/ 1711162 h 5973007"/>
              <a:gd name="connsiteX46888" fmla="*/ 1487923 w 6884782"/>
              <a:gd name="connsiteY46888" fmla="*/ 1729904 h 5973007"/>
              <a:gd name="connsiteX46889" fmla="*/ 1487406 w 6884782"/>
              <a:gd name="connsiteY46889" fmla="*/ 1726806 h 5973007"/>
              <a:gd name="connsiteX46890" fmla="*/ 1490297 w 6884782"/>
              <a:gd name="connsiteY46890" fmla="*/ 1721385 h 5973007"/>
              <a:gd name="connsiteX46891" fmla="*/ 1492879 w 6884782"/>
              <a:gd name="connsiteY46891" fmla="*/ 1719371 h 5973007"/>
              <a:gd name="connsiteX46892" fmla="*/ 1492569 w 6884782"/>
              <a:gd name="connsiteY46892" fmla="*/ 1718597 h 5973007"/>
              <a:gd name="connsiteX46893" fmla="*/ 1491536 w 6884782"/>
              <a:gd name="connsiteY46893" fmla="*/ 1713640 h 5973007"/>
              <a:gd name="connsiteX46894" fmla="*/ 1492259 w 6884782"/>
              <a:gd name="connsiteY46894" fmla="*/ 1712246 h 5973007"/>
              <a:gd name="connsiteX46895" fmla="*/ 1492879 w 6884782"/>
              <a:gd name="connsiteY46895" fmla="*/ 1712401 h 5973007"/>
              <a:gd name="connsiteX46896" fmla="*/ 1492775 w 6884782"/>
              <a:gd name="connsiteY46896" fmla="*/ 1712091 h 5973007"/>
              <a:gd name="connsiteX46897" fmla="*/ 1493292 w 6884782"/>
              <a:gd name="connsiteY46897" fmla="*/ 1709768 h 5973007"/>
              <a:gd name="connsiteX46898" fmla="*/ 5108842 w 6884782"/>
              <a:gd name="connsiteY46898" fmla="*/ 1709645 h 5973007"/>
              <a:gd name="connsiteX46899" fmla="*/ 5112470 w 6884782"/>
              <a:gd name="connsiteY46899" fmla="*/ 1711068 h 5973007"/>
              <a:gd name="connsiteX46900" fmla="*/ 5113537 w 6884782"/>
              <a:gd name="connsiteY46900" fmla="*/ 1712206 h 5973007"/>
              <a:gd name="connsiteX46901" fmla="*/ 5114818 w 6884782"/>
              <a:gd name="connsiteY46901" fmla="*/ 1712348 h 5973007"/>
              <a:gd name="connsiteX46902" fmla="*/ 5114818 w 6884782"/>
              <a:gd name="connsiteY46902" fmla="*/ 1713486 h 5973007"/>
              <a:gd name="connsiteX46903" fmla="*/ 5117165 w 6884782"/>
              <a:gd name="connsiteY46903" fmla="*/ 1716047 h 5973007"/>
              <a:gd name="connsiteX46904" fmla="*/ 5118232 w 6884782"/>
              <a:gd name="connsiteY46904" fmla="*/ 1716474 h 5973007"/>
              <a:gd name="connsiteX46905" fmla="*/ 5118659 w 6884782"/>
              <a:gd name="connsiteY46905" fmla="*/ 1716758 h 5973007"/>
              <a:gd name="connsiteX46906" fmla="*/ 5121220 w 6884782"/>
              <a:gd name="connsiteY46906" fmla="*/ 1718324 h 5973007"/>
              <a:gd name="connsiteX46907" fmla="*/ 5124422 w 6884782"/>
              <a:gd name="connsiteY46907" fmla="*/ 1719888 h 5973007"/>
              <a:gd name="connsiteX46908" fmla="*/ 5129330 w 6884782"/>
              <a:gd name="connsiteY46908" fmla="*/ 1727287 h 5973007"/>
              <a:gd name="connsiteX46909" fmla="*/ 5127196 w 6884782"/>
              <a:gd name="connsiteY46909" fmla="*/ 1729563 h 5973007"/>
              <a:gd name="connsiteX46910" fmla="*/ 5129543 w 6884782"/>
              <a:gd name="connsiteY46910" fmla="*/ 1731981 h 5973007"/>
              <a:gd name="connsiteX46911" fmla="*/ 5133172 w 6884782"/>
              <a:gd name="connsiteY46911" fmla="*/ 1738953 h 5973007"/>
              <a:gd name="connsiteX46912" fmla="*/ 5130184 w 6884782"/>
              <a:gd name="connsiteY46912" fmla="*/ 1744928 h 5973007"/>
              <a:gd name="connsiteX46913" fmla="*/ 5132531 w 6884782"/>
              <a:gd name="connsiteY46913" fmla="*/ 1746351 h 5973007"/>
              <a:gd name="connsiteX46914" fmla="*/ 5131891 w 6884782"/>
              <a:gd name="connsiteY46914" fmla="*/ 1753179 h 5973007"/>
              <a:gd name="connsiteX46915" fmla="*/ 5119727 w 6884782"/>
              <a:gd name="connsiteY46915" fmla="*/ 1751614 h 5973007"/>
              <a:gd name="connsiteX46916" fmla="*/ 5120367 w 6884782"/>
              <a:gd name="connsiteY46916" fmla="*/ 1750334 h 5973007"/>
              <a:gd name="connsiteX46917" fmla="*/ 5118872 w 6884782"/>
              <a:gd name="connsiteY46917" fmla="*/ 1750192 h 5973007"/>
              <a:gd name="connsiteX46918" fmla="*/ 5115244 w 6884782"/>
              <a:gd name="connsiteY46918" fmla="*/ 1747916 h 5973007"/>
              <a:gd name="connsiteX46919" fmla="*/ 5112256 w 6884782"/>
              <a:gd name="connsiteY46919" fmla="*/ 1732408 h 5973007"/>
              <a:gd name="connsiteX46920" fmla="*/ 5113751 w 6884782"/>
              <a:gd name="connsiteY46920" fmla="*/ 1731128 h 5973007"/>
              <a:gd name="connsiteX46921" fmla="*/ 5112256 w 6884782"/>
              <a:gd name="connsiteY46921" fmla="*/ 1729563 h 5973007"/>
              <a:gd name="connsiteX46922" fmla="*/ 5112684 w 6884782"/>
              <a:gd name="connsiteY46922" fmla="*/ 1718893 h 5973007"/>
              <a:gd name="connsiteX46923" fmla="*/ 5113537 w 6884782"/>
              <a:gd name="connsiteY46923" fmla="*/ 1718466 h 5973007"/>
              <a:gd name="connsiteX46924" fmla="*/ 5112897 w 6884782"/>
              <a:gd name="connsiteY46924" fmla="*/ 1717755 h 5973007"/>
              <a:gd name="connsiteX46925" fmla="*/ 5108842 w 6884782"/>
              <a:gd name="connsiteY46925" fmla="*/ 1709645 h 5973007"/>
              <a:gd name="connsiteX46926" fmla="*/ 1129727 w 6884782"/>
              <a:gd name="connsiteY46926" fmla="*/ 1709303 h 5973007"/>
              <a:gd name="connsiteX46927" fmla="*/ 1130862 w 6884782"/>
              <a:gd name="connsiteY46927" fmla="*/ 1713485 h 5973007"/>
              <a:gd name="connsiteX46928" fmla="*/ 1129004 w 6884782"/>
              <a:gd name="connsiteY46928" fmla="*/ 1715189 h 5973007"/>
              <a:gd name="connsiteX46929" fmla="*/ 1127042 w 6884782"/>
              <a:gd name="connsiteY46929" fmla="*/ 1713176 h 5973007"/>
              <a:gd name="connsiteX46930" fmla="*/ 1126629 w 6884782"/>
              <a:gd name="connsiteY46930" fmla="*/ 1710542 h 5973007"/>
              <a:gd name="connsiteX46931" fmla="*/ 1127765 w 6884782"/>
              <a:gd name="connsiteY46931" fmla="*/ 1709768 h 5973007"/>
              <a:gd name="connsiteX46932" fmla="*/ 1129727 w 6884782"/>
              <a:gd name="connsiteY46932" fmla="*/ 1709303 h 5973007"/>
              <a:gd name="connsiteX46933" fmla="*/ 1466548 w 6884782"/>
              <a:gd name="connsiteY46933" fmla="*/ 1709148 h 5973007"/>
              <a:gd name="connsiteX46934" fmla="*/ 1471092 w 6884782"/>
              <a:gd name="connsiteY46934" fmla="*/ 1709613 h 5973007"/>
              <a:gd name="connsiteX46935" fmla="*/ 1478630 w 6884782"/>
              <a:gd name="connsiteY46935" fmla="*/ 1715654 h 5973007"/>
              <a:gd name="connsiteX46936" fmla="*/ 1472228 w 6884782"/>
              <a:gd name="connsiteY46936" fmla="*/ 1719991 h 5973007"/>
              <a:gd name="connsiteX46937" fmla="*/ 1471092 w 6884782"/>
              <a:gd name="connsiteY46937" fmla="*/ 1719371 h 5973007"/>
              <a:gd name="connsiteX46938" fmla="*/ 1463657 w 6884782"/>
              <a:gd name="connsiteY46938" fmla="*/ 1711472 h 5973007"/>
              <a:gd name="connsiteX46939" fmla="*/ 1466548 w 6884782"/>
              <a:gd name="connsiteY46939" fmla="*/ 1709148 h 5973007"/>
              <a:gd name="connsiteX46940" fmla="*/ 5178417 w 6884782"/>
              <a:gd name="connsiteY46940" fmla="*/ 1708934 h 5973007"/>
              <a:gd name="connsiteX46941" fmla="*/ 5183112 w 6884782"/>
              <a:gd name="connsiteY46941" fmla="*/ 1736534 h 5973007"/>
              <a:gd name="connsiteX46942" fmla="*/ 5179910 w 6884782"/>
              <a:gd name="connsiteY46942" fmla="*/ 1730274 h 5973007"/>
              <a:gd name="connsiteX46943" fmla="*/ 5178844 w 6884782"/>
              <a:gd name="connsiteY46943" fmla="*/ 1727856 h 5973007"/>
              <a:gd name="connsiteX46944" fmla="*/ 5179057 w 6884782"/>
              <a:gd name="connsiteY46944" fmla="*/ 1730843 h 5973007"/>
              <a:gd name="connsiteX46945" fmla="*/ 5171801 w 6884782"/>
              <a:gd name="connsiteY46945" fmla="*/ 1731412 h 5973007"/>
              <a:gd name="connsiteX46946" fmla="*/ 5172654 w 6884782"/>
              <a:gd name="connsiteY46946" fmla="*/ 1722876 h 5973007"/>
              <a:gd name="connsiteX46947" fmla="*/ 5176282 w 6884782"/>
              <a:gd name="connsiteY46947" fmla="*/ 1722450 h 5973007"/>
              <a:gd name="connsiteX46948" fmla="*/ 5176709 w 6884782"/>
              <a:gd name="connsiteY46948" fmla="*/ 1722592 h 5973007"/>
              <a:gd name="connsiteX46949" fmla="*/ 5177136 w 6884782"/>
              <a:gd name="connsiteY46949" fmla="*/ 1716474 h 5973007"/>
              <a:gd name="connsiteX46950" fmla="*/ 5178417 w 6884782"/>
              <a:gd name="connsiteY46950" fmla="*/ 1708934 h 5973007"/>
              <a:gd name="connsiteX46951" fmla="*/ 6129415 w 6884782"/>
              <a:gd name="connsiteY46951" fmla="*/ 1708649 h 5973007"/>
              <a:gd name="connsiteX46952" fmla="*/ 6136031 w 6884782"/>
              <a:gd name="connsiteY46952" fmla="*/ 1712064 h 5973007"/>
              <a:gd name="connsiteX46953" fmla="*/ 6126214 w 6884782"/>
              <a:gd name="connsiteY46953" fmla="*/ 1729989 h 5973007"/>
              <a:gd name="connsiteX46954" fmla="*/ 6116610 w 6884782"/>
              <a:gd name="connsiteY46954" fmla="*/ 1724299 h 5973007"/>
              <a:gd name="connsiteX46955" fmla="*/ 6129415 w 6884782"/>
              <a:gd name="connsiteY46955" fmla="*/ 1708649 h 5973007"/>
              <a:gd name="connsiteX46956" fmla="*/ 4625446 w 6884782"/>
              <a:gd name="connsiteY46956" fmla="*/ 1708649 h 5973007"/>
              <a:gd name="connsiteX46957" fmla="*/ 4625019 w 6884782"/>
              <a:gd name="connsiteY46957" fmla="*/ 1711495 h 5973007"/>
              <a:gd name="connsiteX46958" fmla="*/ 4624379 w 6884782"/>
              <a:gd name="connsiteY46958" fmla="*/ 1708934 h 5973007"/>
              <a:gd name="connsiteX46959" fmla="*/ 4625446 w 6884782"/>
              <a:gd name="connsiteY46959" fmla="*/ 1708649 h 5973007"/>
              <a:gd name="connsiteX46960" fmla="*/ 1392824 w 6884782"/>
              <a:gd name="connsiteY46960" fmla="*/ 1708374 h 5973007"/>
              <a:gd name="connsiteX46961" fmla="*/ 1395714 w 6884782"/>
              <a:gd name="connsiteY46961" fmla="*/ 1714105 h 5973007"/>
              <a:gd name="connsiteX46962" fmla="*/ 1389519 w 6884782"/>
              <a:gd name="connsiteY46962" fmla="*/ 1714570 h 5973007"/>
              <a:gd name="connsiteX46963" fmla="*/ 1388900 w 6884782"/>
              <a:gd name="connsiteY46963" fmla="*/ 1711936 h 5973007"/>
              <a:gd name="connsiteX46964" fmla="*/ 1392824 w 6884782"/>
              <a:gd name="connsiteY46964" fmla="*/ 1708374 h 5973007"/>
              <a:gd name="connsiteX46965" fmla="*/ 1155747 w 6884782"/>
              <a:gd name="connsiteY46965" fmla="*/ 1708219 h 5973007"/>
              <a:gd name="connsiteX46966" fmla="*/ 1157090 w 6884782"/>
              <a:gd name="connsiteY46966" fmla="*/ 1715809 h 5973007"/>
              <a:gd name="connsiteX46967" fmla="*/ 1156160 w 6884782"/>
              <a:gd name="connsiteY46967" fmla="*/ 1716583 h 5973007"/>
              <a:gd name="connsiteX46968" fmla="*/ 1145938 w 6884782"/>
              <a:gd name="connsiteY46968" fmla="*/ 1720146 h 5973007"/>
              <a:gd name="connsiteX46969" fmla="*/ 1144802 w 6884782"/>
              <a:gd name="connsiteY46969" fmla="*/ 1716583 h 5973007"/>
              <a:gd name="connsiteX46970" fmla="*/ 1147177 w 6884782"/>
              <a:gd name="connsiteY46970" fmla="*/ 1712711 h 5973007"/>
              <a:gd name="connsiteX46971" fmla="*/ 1155747 w 6884782"/>
              <a:gd name="connsiteY46971" fmla="*/ 1708219 h 5973007"/>
              <a:gd name="connsiteX46972" fmla="*/ 1492053 w 6884782"/>
              <a:gd name="connsiteY46972" fmla="*/ 1707754 h 5973007"/>
              <a:gd name="connsiteX46973" fmla="*/ 1492982 w 6884782"/>
              <a:gd name="connsiteY46973" fmla="*/ 1709148 h 5973007"/>
              <a:gd name="connsiteX46974" fmla="*/ 1492362 w 6884782"/>
              <a:gd name="connsiteY46974" fmla="*/ 1709613 h 5973007"/>
              <a:gd name="connsiteX46975" fmla="*/ 1491743 w 6884782"/>
              <a:gd name="connsiteY46975" fmla="*/ 1708528 h 5973007"/>
              <a:gd name="connsiteX46976" fmla="*/ 1492053 w 6884782"/>
              <a:gd name="connsiteY46976" fmla="*/ 1707754 h 5973007"/>
              <a:gd name="connsiteX46977" fmla="*/ 5088994 w 6884782"/>
              <a:gd name="connsiteY46977" fmla="*/ 1707654 h 5973007"/>
              <a:gd name="connsiteX46978" fmla="*/ 5091555 w 6884782"/>
              <a:gd name="connsiteY46978" fmla="*/ 1707654 h 5973007"/>
              <a:gd name="connsiteX46979" fmla="*/ 5094543 w 6884782"/>
              <a:gd name="connsiteY46979" fmla="*/ 1708364 h 5973007"/>
              <a:gd name="connsiteX46980" fmla="*/ 5097744 w 6884782"/>
              <a:gd name="connsiteY46980" fmla="*/ 1709076 h 5973007"/>
              <a:gd name="connsiteX46981" fmla="*/ 5100305 w 6884782"/>
              <a:gd name="connsiteY46981" fmla="*/ 1708934 h 5973007"/>
              <a:gd name="connsiteX46982" fmla="*/ 5104787 w 6884782"/>
              <a:gd name="connsiteY46982" fmla="*/ 1711779 h 5973007"/>
              <a:gd name="connsiteX46983" fmla="*/ 5102439 w 6884782"/>
              <a:gd name="connsiteY46983" fmla="*/ 1711921 h 5973007"/>
              <a:gd name="connsiteX46984" fmla="*/ 5099238 w 6884782"/>
              <a:gd name="connsiteY46984" fmla="*/ 1711210 h 5973007"/>
              <a:gd name="connsiteX46985" fmla="*/ 5097317 w 6884782"/>
              <a:gd name="connsiteY46985" fmla="*/ 1712348 h 5973007"/>
              <a:gd name="connsiteX46986" fmla="*/ 5088994 w 6884782"/>
              <a:gd name="connsiteY46986" fmla="*/ 1707654 h 5973007"/>
              <a:gd name="connsiteX46987" fmla="*/ 4717430 w 6884782"/>
              <a:gd name="connsiteY46987" fmla="*/ 1706942 h 5973007"/>
              <a:gd name="connsiteX46988" fmla="*/ 4719138 w 6884782"/>
              <a:gd name="connsiteY46988" fmla="*/ 1708080 h 5973007"/>
              <a:gd name="connsiteX46989" fmla="*/ 4722766 w 6884782"/>
              <a:gd name="connsiteY46989" fmla="*/ 1714198 h 5973007"/>
              <a:gd name="connsiteX46990" fmla="*/ 4743894 w 6884782"/>
              <a:gd name="connsiteY46990" fmla="*/ 1716332 h 5973007"/>
              <a:gd name="connsiteX46991" fmla="*/ 4743254 w 6884782"/>
              <a:gd name="connsiteY46991" fmla="*/ 1728282 h 5973007"/>
              <a:gd name="connsiteX46992" fmla="*/ 4740906 w 6884782"/>
              <a:gd name="connsiteY46992" fmla="*/ 1730701 h 5973007"/>
              <a:gd name="connsiteX46993" fmla="*/ 4743680 w 6884782"/>
              <a:gd name="connsiteY46993" fmla="*/ 1731128 h 5973007"/>
              <a:gd name="connsiteX46994" fmla="*/ 4735997 w 6884782"/>
              <a:gd name="connsiteY46994" fmla="*/ 1753037 h 5973007"/>
              <a:gd name="connsiteX46995" fmla="*/ 4734077 w 6884782"/>
              <a:gd name="connsiteY46995" fmla="*/ 1754745 h 5973007"/>
              <a:gd name="connsiteX46996" fmla="*/ 4731302 w 6884782"/>
              <a:gd name="connsiteY46996" fmla="*/ 1753606 h 5973007"/>
              <a:gd name="connsiteX46997" fmla="*/ 4730022 w 6884782"/>
              <a:gd name="connsiteY46997" fmla="*/ 1749907 h 5973007"/>
              <a:gd name="connsiteX46998" fmla="*/ 4729168 w 6884782"/>
              <a:gd name="connsiteY46998" fmla="*/ 1750334 h 5973007"/>
              <a:gd name="connsiteX46999" fmla="*/ 4729168 w 6884782"/>
              <a:gd name="connsiteY46999" fmla="*/ 1750619 h 5973007"/>
              <a:gd name="connsiteX47000" fmla="*/ 4724900 w 6884782"/>
              <a:gd name="connsiteY47000" fmla="*/ 1760720 h 5973007"/>
              <a:gd name="connsiteX47001" fmla="*/ 4723833 w 6884782"/>
              <a:gd name="connsiteY47001" fmla="*/ 1763138 h 5973007"/>
              <a:gd name="connsiteX47002" fmla="*/ 4720418 w 6884782"/>
              <a:gd name="connsiteY47002" fmla="*/ 1762996 h 5973007"/>
              <a:gd name="connsiteX47003" fmla="*/ 4720631 w 6884782"/>
              <a:gd name="connsiteY47003" fmla="*/ 1754175 h 5973007"/>
              <a:gd name="connsiteX47004" fmla="*/ 4713588 w 6884782"/>
              <a:gd name="connsiteY47004" fmla="*/ 1753748 h 5973007"/>
              <a:gd name="connsiteX47005" fmla="*/ 4720845 w 6884782"/>
              <a:gd name="connsiteY47005" fmla="*/ 1732408 h 5973007"/>
              <a:gd name="connsiteX47006" fmla="*/ 4721271 w 6884782"/>
              <a:gd name="connsiteY47006" fmla="*/ 1731839 h 5973007"/>
              <a:gd name="connsiteX47007" fmla="*/ 4720845 w 6884782"/>
              <a:gd name="connsiteY47007" fmla="*/ 1731697 h 5973007"/>
              <a:gd name="connsiteX47008" fmla="*/ 4715509 w 6884782"/>
              <a:gd name="connsiteY47008" fmla="*/ 1734258 h 5973007"/>
              <a:gd name="connsiteX47009" fmla="*/ 4712735 w 6884782"/>
              <a:gd name="connsiteY47009" fmla="*/ 1716616 h 5973007"/>
              <a:gd name="connsiteX47010" fmla="*/ 4713375 w 6884782"/>
              <a:gd name="connsiteY47010" fmla="*/ 1714056 h 5973007"/>
              <a:gd name="connsiteX47011" fmla="*/ 4712308 w 6884782"/>
              <a:gd name="connsiteY47011" fmla="*/ 1714056 h 5973007"/>
              <a:gd name="connsiteX47012" fmla="*/ 4713375 w 6884782"/>
              <a:gd name="connsiteY47012" fmla="*/ 1712917 h 5973007"/>
              <a:gd name="connsiteX47013" fmla="*/ 4713375 w 6884782"/>
              <a:gd name="connsiteY47013" fmla="*/ 1712633 h 5973007"/>
              <a:gd name="connsiteX47014" fmla="*/ 4713375 w 6884782"/>
              <a:gd name="connsiteY47014" fmla="*/ 1711352 h 5973007"/>
              <a:gd name="connsiteX47015" fmla="*/ 4716150 w 6884782"/>
              <a:gd name="connsiteY47015" fmla="*/ 1707511 h 5973007"/>
              <a:gd name="connsiteX47016" fmla="*/ 4717430 w 6884782"/>
              <a:gd name="connsiteY47016" fmla="*/ 1706942 h 5973007"/>
              <a:gd name="connsiteX47017" fmla="*/ 3587373 w 6884782"/>
              <a:gd name="connsiteY47017" fmla="*/ 1706800 h 5973007"/>
              <a:gd name="connsiteX47018" fmla="*/ 3587586 w 6884782"/>
              <a:gd name="connsiteY47018" fmla="*/ 1716901 h 5973007"/>
              <a:gd name="connsiteX47019" fmla="*/ 3576915 w 6884782"/>
              <a:gd name="connsiteY47019" fmla="*/ 1719320 h 5973007"/>
              <a:gd name="connsiteX47020" fmla="*/ 3587373 w 6884782"/>
              <a:gd name="connsiteY47020" fmla="*/ 1706800 h 5973007"/>
              <a:gd name="connsiteX47021" fmla="*/ 1524475 w 6884782"/>
              <a:gd name="connsiteY47021" fmla="*/ 1706670 h 5973007"/>
              <a:gd name="connsiteX47022" fmla="*/ 1525404 w 6884782"/>
              <a:gd name="connsiteY47022" fmla="*/ 1709768 h 5973007"/>
              <a:gd name="connsiteX47023" fmla="*/ 1523752 w 6884782"/>
              <a:gd name="connsiteY47023" fmla="*/ 1706980 h 5973007"/>
              <a:gd name="connsiteX47024" fmla="*/ 1524475 w 6884782"/>
              <a:gd name="connsiteY47024" fmla="*/ 1706670 h 5973007"/>
              <a:gd name="connsiteX47025" fmla="*/ 3668899 w 6884782"/>
              <a:gd name="connsiteY47025" fmla="*/ 1706657 h 5973007"/>
              <a:gd name="connsiteX47026" fmla="*/ 3670393 w 6884782"/>
              <a:gd name="connsiteY47026" fmla="*/ 1709219 h 5973007"/>
              <a:gd name="connsiteX47027" fmla="*/ 3676795 w 6884782"/>
              <a:gd name="connsiteY47027" fmla="*/ 1710499 h 5973007"/>
              <a:gd name="connsiteX47028" fmla="*/ 3682344 w 6884782"/>
              <a:gd name="connsiteY47028" fmla="*/ 1715336 h 5973007"/>
              <a:gd name="connsiteX47029" fmla="*/ 3683838 w 6884782"/>
              <a:gd name="connsiteY47029" fmla="*/ 1723303 h 5973007"/>
              <a:gd name="connsiteX47030" fmla="*/ 3678716 w 6884782"/>
              <a:gd name="connsiteY47030" fmla="*/ 1727714 h 5973007"/>
              <a:gd name="connsiteX47031" fmla="*/ 3679356 w 6884782"/>
              <a:gd name="connsiteY47031" fmla="*/ 1731128 h 5973007"/>
              <a:gd name="connsiteX47032" fmla="*/ 3674875 w 6884782"/>
              <a:gd name="connsiteY47032" fmla="*/ 1738241 h 5973007"/>
              <a:gd name="connsiteX47033" fmla="*/ 3671673 w 6884782"/>
              <a:gd name="connsiteY47033" fmla="*/ 1731128 h 5973007"/>
              <a:gd name="connsiteX47034" fmla="*/ 3671033 w 6884782"/>
              <a:gd name="connsiteY47034" fmla="*/ 1729705 h 5973007"/>
              <a:gd name="connsiteX47035" fmla="*/ 3670820 w 6884782"/>
              <a:gd name="connsiteY47035" fmla="*/ 1729705 h 5973007"/>
              <a:gd name="connsiteX47036" fmla="*/ 3668472 w 6884782"/>
              <a:gd name="connsiteY47036" fmla="*/ 1728282 h 5973007"/>
              <a:gd name="connsiteX47037" fmla="*/ 3665057 w 6884782"/>
              <a:gd name="connsiteY47037" fmla="*/ 1718324 h 5973007"/>
              <a:gd name="connsiteX47038" fmla="*/ 3666338 w 6884782"/>
              <a:gd name="connsiteY47038" fmla="*/ 1716190 h 5973007"/>
              <a:gd name="connsiteX47039" fmla="*/ 3665697 w 6884782"/>
              <a:gd name="connsiteY47039" fmla="*/ 1712633 h 5973007"/>
              <a:gd name="connsiteX47040" fmla="*/ 3668899 w 6884782"/>
              <a:gd name="connsiteY47040" fmla="*/ 1706657 h 5973007"/>
              <a:gd name="connsiteX47041" fmla="*/ 1770535 w 6884782"/>
              <a:gd name="connsiteY47041" fmla="*/ 1706515 h 5973007"/>
              <a:gd name="connsiteX47042" fmla="*/ 1774871 w 6884782"/>
              <a:gd name="connsiteY47042" fmla="*/ 1710852 h 5973007"/>
              <a:gd name="connsiteX47043" fmla="*/ 1774355 w 6884782"/>
              <a:gd name="connsiteY47043" fmla="*/ 1717203 h 5973007"/>
              <a:gd name="connsiteX47044" fmla="*/ 1764339 w 6884782"/>
              <a:gd name="connsiteY47044" fmla="*/ 1713640 h 5973007"/>
              <a:gd name="connsiteX47045" fmla="*/ 1770535 w 6884782"/>
              <a:gd name="connsiteY47045" fmla="*/ 1706515 h 5973007"/>
              <a:gd name="connsiteX47046" fmla="*/ 1441664 w 6884782"/>
              <a:gd name="connsiteY47046" fmla="*/ 1706515 h 5973007"/>
              <a:gd name="connsiteX47047" fmla="*/ 1448582 w 6884782"/>
              <a:gd name="connsiteY47047" fmla="*/ 1709768 h 5973007"/>
              <a:gd name="connsiteX47048" fmla="*/ 1448582 w 6884782"/>
              <a:gd name="connsiteY47048" fmla="*/ 1711781 h 5973007"/>
              <a:gd name="connsiteX47049" fmla="*/ 1447136 w 6884782"/>
              <a:gd name="connsiteY47049" fmla="*/ 1715964 h 5973007"/>
              <a:gd name="connsiteX47050" fmla="*/ 1443935 w 6884782"/>
              <a:gd name="connsiteY47050" fmla="*/ 1716119 h 5973007"/>
              <a:gd name="connsiteX47051" fmla="*/ 1441664 w 6884782"/>
              <a:gd name="connsiteY47051" fmla="*/ 1713331 h 5973007"/>
              <a:gd name="connsiteX47052" fmla="*/ 1441354 w 6884782"/>
              <a:gd name="connsiteY47052" fmla="*/ 1709768 h 5973007"/>
              <a:gd name="connsiteX47053" fmla="*/ 1441664 w 6884782"/>
              <a:gd name="connsiteY47053" fmla="*/ 1706515 h 5973007"/>
              <a:gd name="connsiteX47054" fmla="*/ 5637909 w 6884782"/>
              <a:gd name="connsiteY47054" fmla="*/ 1706231 h 5973007"/>
              <a:gd name="connsiteX47055" fmla="*/ 5658611 w 6884782"/>
              <a:gd name="connsiteY47055" fmla="*/ 1725437 h 5973007"/>
              <a:gd name="connsiteX47056" fmla="*/ 5621903 w 6884782"/>
              <a:gd name="connsiteY47056" fmla="*/ 1732124 h 5973007"/>
              <a:gd name="connsiteX47057" fmla="*/ 5618062 w 6884782"/>
              <a:gd name="connsiteY47057" fmla="*/ 1722022 h 5973007"/>
              <a:gd name="connsiteX47058" fmla="*/ 5620195 w 6884782"/>
              <a:gd name="connsiteY47058" fmla="*/ 1715478 h 5973007"/>
              <a:gd name="connsiteX47059" fmla="*/ 5619769 w 6884782"/>
              <a:gd name="connsiteY47059" fmla="*/ 1714625 h 5973007"/>
              <a:gd name="connsiteX47060" fmla="*/ 5620409 w 6884782"/>
              <a:gd name="connsiteY47060" fmla="*/ 1714340 h 5973007"/>
              <a:gd name="connsiteX47061" fmla="*/ 5620836 w 6884782"/>
              <a:gd name="connsiteY47061" fmla="*/ 1713629 h 5973007"/>
              <a:gd name="connsiteX47062" fmla="*/ 5637909 w 6884782"/>
              <a:gd name="connsiteY47062" fmla="*/ 1706231 h 5973007"/>
              <a:gd name="connsiteX47063" fmla="*/ 1190235 w 6884782"/>
              <a:gd name="connsiteY47063" fmla="*/ 1705895 h 5973007"/>
              <a:gd name="connsiteX47064" fmla="*/ 1196327 w 6884782"/>
              <a:gd name="connsiteY47064" fmla="*/ 1713331 h 5973007"/>
              <a:gd name="connsiteX47065" fmla="*/ 1196120 w 6884782"/>
              <a:gd name="connsiteY47065" fmla="*/ 1714415 h 5973007"/>
              <a:gd name="connsiteX47066" fmla="*/ 1197050 w 6884782"/>
              <a:gd name="connsiteY47066" fmla="*/ 1716583 h 5973007"/>
              <a:gd name="connsiteX47067" fmla="*/ 1194674 w 6884782"/>
              <a:gd name="connsiteY47067" fmla="*/ 1719062 h 5973007"/>
              <a:gd name="connsiteX47068" fmla="*/ 1186207 w 6884782"/>
              <a:gd name="connsiteY47068" fmla="*/ 1711936 h 5973007"/>
              <a:gd name="connsiteX47069" fmla="*/ 1189925 w 6884782"/>
              <a:gd name="connsiteY47069" fmla="*/ 1708528 h 5973007"/>
              <a:gd name="connsiteX47070" fmla="*/ 1190028 w 6884782"/>
              <a:gd name="connsiteY47070" fmla="*/ 1708528 h 5973007"/>
              <a:gd name="connsiteX47071" fmla="*/ 6228869 w 6884782"/>
              <a:gd name="connsiteY47071" fmla="*/ 1705804 h 5973007"/>
              <a:gd name="connsiteX47072" fmla="*/ 6231643 w 6884782"/>
              <a:gd name="connsiteY47072" fmla="*/ 1726575 h 5973007"/>
              <a:gd name="connsiteX47073" fmla="*/ 6220119 w 6884782"/>
              <a:gd name="connsiteY47073" fmla="*/ 1725010 h 5973007"/>
              <a:gd name="connsiteX47074" fmla="*/ 6224174 w 6884782"/>
              <a:gd name="connsiteY47074" fmla="*/ 1706089 h 5973007"/>
              <a:gd name="connsiteX47075" fmla="*/ 6228869 w 6884782"/>
              <a:gd name="connsiteY47075" fmla="*/ 1705804 h 5973007"/>
              <a:gd name="connsiteX47076" fmla="*/ 5869043 w 6884782"/>
              <a:gd name="connsiteY47076" fmla="*/ 1705662 h 5973007"/>
              <a:gd name="connsiteX47077" fmla="*/ 5869470 w 6884782"/>
              <a:gd name="connsiteY47077" fmla="*/ 1706515 h 5973007"/>
              <a:gd name="connsiteX47078" fmla="*/ 5867976 w 6884782"/>
              <a:gd name="connsiteY47078" fmla="*/ 1711068 h 5973007"/>
              <a:gd name="connsiteX47079" fmla="*/ 5868403 w 6884782"/>
              <a:gd name="connsiteY47079" fmla="*/ 1706515 h 5973007"/>
              <a:gd name="connsiteX47080" fmla="*/ 5869043 w 6884782"/>
              <a:gd name="connsiteY47080" fmla="*/ 1705662 h 5973007"/>
              <a:gd name="connsiteX47081" fmla="*/ 5695533 w 6884782"/>
              <a:gd name="connsiteY47081" fmla="*/ 1705377 h 5973007"/>
              <a:gd name="connsiteX47082" fmla="*/ 5697880 w 6884782"/>
              <a:gd name="connsiteY47082" fmla="*/ 1709219 h 5973007"/>
              <a:gd name="connsiteX47083" fmla="*/ 5691691 w 6884782"/>
              <a:gd name="connsiteY47083" fmla="*/ 1720885 h 5973007"/>
              <a:gd name="connsiteX47084" fmla="*/ 5689344 w 6884782"/>
              <a:gd name="connsiteY47084" fmla="*/ 1713202 h 5973007"/>
              <a:gd name="connsiteX47085" fmla="*/ 5695533 w 6884782"/>
              <a:gd name="connsiteY47085" fmla="*/ 1705377 h 5973007"/>
              <a:gd name="connsiteX47086" fmla="*/ 1489781 w 6884782"/>
              <a:gd name="connsiteY47086" fmla="*/ 1704346 h 5973007"/>
              <a:gd name="connsiteX47087" fmla="*/ 1490917 w 6884782"/>
              <a:gd name="connsiteY47087" fmla="*/ 1704501 h 5973007"/>
              <a:gd name="connsiteX47088" fmla="*/ 1490091 w 6884782"/>
              <a:gd name="connsiteY47088" fmla="*/ 1706205 h 5973007"/>
              <a:gd name="connsiteX47089" fmla="*/ 1489781 w 6884782"/>
              <a:gd name="connsiteY47089" fmla="*/ 1704346 h 5973007"/>
              <a:gd name="connsiteX47090" fmla="*/ 5724558 w 6884782"/>
              <a:gd name="connsiteY47090" fmla="*/ 1704097 h 5973007"/>
              <a:gd name="connsiteX47091" fmla="*/ 5732028 w 6884782"/>
              <a:gd name="connsiteY47091" fmla="*/ 1707511 h 5973007"/>
              <a:gd name="connsiteX47092" fmla="*/ 5735229 w 6884782"/>
              <a:gd name="connsiteY47092" fmla="*/ 1728994 h 5973007"/>
              <a:gd name="connsiteX47093" fmla="*/ 5733095 w 6884782"/>
              <a:gd name="connsiteY47093" fmla="*/ 1731270 h 5973007"/>
              <a:gd name="connsiteX47094" fmla="*/ 5730960 w 6884782"/>
              <a:gd name="connsiteY47094" fmla="*/ 1735965 h 5973007"/>
              <a:gd name="connsiteX47095" fmla="*/ 5716661 w 6884782"/>
              <a:gd name="connsiteY47095" fmla="*/ 1729279 h 5973007"/>
              <a:gd name="connsiteX47096" fmla="*/ 5712393 w 6884782"/>
              <a:gd name="connsiteY47096" fmla="*/ 1708934 h 5973007"/>
              <a:gd name="connsiteX47097" fmla="*/ 5724558 w 6884782"/>
              <a:gd name="connsiteY47097" fmla="*/ 1704097 h 5973007"/>
              <a:gd name="connsiteX47098" fmla="*/ 6003071 w 6884782"/>
              <a:gd name="connsiteY47098" fmla="*/ 1703527 h 5973007"/>
              <a:gd name="connsiteX47099" fmla="*/ 6006272 w 6884782"/>
              <a:gd name="connsiteY47099" fmla="*/ 1711210 h 5973007"/>
              <a:gd name="connsiteX47100" fmla="*/ 6006485 w 6884782"/>
              <a:gd name="connsiteY47100" fmla="*/ 1720458 h 5973007"/>
              <a:gd name="connsiteX47101" fmla="*/ 6009687 w 6884782"/>
              <a:gd name="connsiteY47101" fmla="*/ 1722450 h 5973007"/>
              <a:gd name="connsiteX47102" fmla="*/ 6010113 w 6884782"/>
              <a:gd name="connsiteY47102" fmla="*/ 1726148 h 5973007"/>
              <a:gd name="connsiteX47103" fmla="*/ 5986638 w 6884782"/>
              <a:gd name="connsiteY47103" fmla="*/ 1729989 h 5973007"/>
              <a:gd name="connsiteX47104" fmla="*/ 5987704 w 6884782"/>
              <a:gd name="connsiteY47104" fmla="*/ 1725437 h 5973007"/>
              <a:gd name="connsiteX47105" fmla="*/ 5993467 w 6884782"/>
              <a:gd name="connsiteY47105" fmla="*/ 1721169 h 5973007"/>
              <a:gd name="connsiteX47106" fmla="*/ 5999016 w 6884782"/>
              <a:gd name="connsiteY47106" fmla="*/ 1718893 h 5973007"/>
              <a:gd name="connsiteX47107" fmla="*/ 5998589 w 6884782"/>
              <a:gd name="connsiteY47107" fmla="*/ 1710356 h 5973007"/>
              <a:gd name="connsiteX47108" fmla="*/ 6003071 w 6884782"/>
              <a:gd name="connsiteY47108" fmla="*/ 1703527 h 5973007"/>
              <a:gd name="connsiteX47109" fmla="*/ 4990607 w 6884782"/>
              <a:gd name="connsiteY47109" fmla="*/ 1703527 h 5973007"/>
              <a:gd name="connsiteX47110" fmla="*/ 4995089 w 6884782"/>
              <a:gd name="connsiteY47110" fmla="*/ 1705235 h 5973007"/>
              <a:gd name="connsiteX47111" fmla="*/ 4994449 w 6884782"/>
              <a:gd name="connsiteY47111" fmla="*/ 1710784 h 5973007"/>
              <a:gd name="connsiteX47112" fmla="*/ 4995516 w 6884782"/>
              <a:gd name="connsiteY47112" fmla="*/ 1714056 h 5973007"/>
              <a:gd name="connsiteX47113" fmla="*/ 4998504 w 6884782"/>
              <a:gd name="connsiteY47113" fmla="*/ 1721453 h 5973007"/>
              <a:gd name="connsiteX47114" fmla="*/ 4993595 w 6884782"/>
              <a:gd name="connsiteY47114" fmla="*/ 1725295 h 5973007"/>
              <a:gd name="connsiteX47115" fmla="*/ 4979723 w 6884782"/>
              <a:gd name="connsiteY47115" fmla="*/ 1709219 h 5973007"/>
              <a:gd name="connsiteX47116" fmla="*/ 4985272 w 6884782"/>
              <a:gd name="connsiteY47116" fmla="*/ 1705377 h 5973007"/>
              <a:gd name="connsiteX47117" fmla="*/ 4988900 w 6884782"/>
              <a:gd name="connsiteY47117" fmla="*/ 1706231 h 5973007"/>
              <a:gd name="connsiteX47118" fmla="*/ 1559995 w 6884782"/>
              <a:gd name="connsiteY47118" fmla="*/ 1703417 h 5973007"/>
              <a:gd name="connsiteX47119" fmla="*/ 1562886 w 6884782"/>
              <a:gd name="connsiteY47119" fmla="*/ 1706360 h 5973007"/>
              <a:gd name="connsiteX47120" fmla="*/ 1560718 w 6884782"/>
              <a:gd name="connsiteY47120" fmla="*/ 1707754 h 5973007"/>
              <a:gd name="connsiteX47121" fmla="*/ 1559169 w 6884782"/>
              <a:gd name="connsiteY47121" fmla="*/ 1705121 h 5973007"/>
              <a:gd name="connsiteX47122" fmla="*/ 1559995 w 6884782"/>
              <a:gd name="connsiteY47122" fmla="*/ 1703417 h 5973007"/>
              <a:gd name="connsiteX47123" fmla="*/ 1270774 w 6884782"/>
              <a:gd name="connsiteY47123" fmla="*/ 1702952 h 5973007"/>
              <a:gd name="connsiteX47124" fmla="*/ 1275421 w 6884782"/>
              <a:gd name="connsiteY47124" fmla="*/ 1708684 h 5973007"/>
              <a:gd name="connsiteX47125" fmla="*/ 1269535 w 6884782"/>
              <a:gd name="connsiteY47125" fmla="*/ 1708064 h 5973007"/>
              <a:gd name="connsiteX47126" fmla="*/ 1270774 w 6884782"/>
              <a:gd name="connsiteY47126" fmla="*/ 1702952 h 5973007"/>
              <a:gd name="connsiteX47127" fmla="*/ 928158 w 6884782"/>
              <a:gd name="connsiteY47127" fmla="*/ 1702836 h 5973007"/>
              <a:gd name="connsiteX47128" fmla="*/ 934366 w 6884782"/>
              <a:gd name="connsiteY47128" fmla="*/ 1706670 h 5973007"/>
              <a:gd name="connsiteX47129" fmla="*/ 936844 w 6884782"/>
              <a:gd name="connsiteY47129" fmla="*/ 1711162 h 5973007"/>
              <a:gd name="connsiteX47130" fmla="*/ 934985 w 6884782"/>
              <a:gd name="connsiteY47130" fmla="*/ 1716893 h 5973007"/>
              <a:gd name="connsiteX47131" fmla="*/ 923834 w 6884782"/>
              <a:gd name="connsiteY47131" fmla="*/ 1717512 h 5973007"/>
              <a:gd name="connsiteX47132" fmla="*/ 919600 w 6884782"/>
              <a:gd name="connsiteY47132" fmla="*/ 1709458 h 5973007"/>
              <a:gd name="connsiteX47133" fmla="*/ 919497 w 6884782"/>
              <a:gd name="connsiteY47133" fmla="*/ 1710233 h 5973007"/>
              <a:gd name="connsiteX47134" fmla="*/ 917638 w 6884782"/>
              <a:gd name="connsiteY47134" fmla="*/ 1711781 h 5973007"/>
              <a:gd name="connsiteX47135" fmla="*/ 917741 w 6884782"/>
              <a:gd name="connsiteY47135" fmla="*/ 1713331 h 5973007"/>
              <a:gd name="connsiteX47136" fmla="*/ 917741 w 6884782"/>
              <a:gd name="connsiteY47136" fmla="*/ 1714879 h 5973007"/>
              <a:gd name="connsiteX47137" fmla="*/ 916916 w 6884782"/>
              <a:gd name="connsiteY47137" fmla="*/ 1715034 h 5973007"/>
              <a:gd name="connsiteX47138" fmla="*/ 916399 w 6884782"/>
              <a:gd name="connsiteY47138" fmla="*/ 1712866 h 5973007"/>
              <a:gd name="connsiteX47139" fmla="*/ 913301 w 6884782"/>
              <a:gd name="connsiteY47139" fmla="*/ 1715189 h 5973007"/>
              <a:gd name="connsiteX47140" fmla="*/ 913715 w 6884782"/>
              <a:gd name="connsiteY47140" fmla="*/ 1717203 h 5973007"/>
              <a:gd name="connsiteX47141" fmla="*/ 912166 w 6884782"/>
              <a:gd name="connsiteY47141" fmla="*/ 1715964 h 5973007"/>
              <a:gd name="connsiteX47142" fmla="*/ 909791 w 6884782"/>
              <a:gd name="connsiteY47142" fmla="*/ 1717203 h 5973007"/>
              <a:gd name="connsiteX47143" fmla="*/ 907313 w 6884782"/>
              <a:gd name="connsiteY47143" fmla="*/ 1717512 h 5973007"/>
              <a:gd name="connsiteX47144" fmla="*/ 908138 w 6884782"/>
              <a:gd name="connsiteY47144" fmla="*/ 1715034 h 5973007"/>
              <a:gd name="connsiteX47145" fmla="*/ 909068 w 6884782"/>
              <a:gd name="connsiteY47145" fmla="*/ 1714260 h 5973007"/>
              <a:gd name="connsiteX47146" fmla="*/ 909068 w 6884782"/>
              <a:gd name="connsiteY47146" fmla="*/ 1713485 h 5973007"/>
              <a:gd name="connsiteX47147" fmla="*/ 909378 w 6884782"/>
              <a:gd name="connsiteY47147" fmla="*/ 1713485 h 5973007"/>
              <a:gd name="connsiteX47148" fmla="*/ 907932 w 6884782"/>
              <a:gd name="connsiteY47148" fmla="*/ 1709923 h 5973007"/>
              <a:gd name="connsiteX47149" fmla="*/ 904938 w 6884782"/>
              <a:gd name="connsiteY47149" fmla="*/ 1704191 h 5973007"/>
              <a:gd name="connsiteX47150" fmla="*/ 908449 w 6884782"/>
              <a:gd name="connsiteY47150" fmla="*/ 1703727 h 5973007"/>
              <a:gd name="connsiteX47151" fmla="*/ 908552 w 6884782"/>
              <a:gd name="connsiteY47151" fmla="*/ 1705431 h 5973007"/>
              <a:gd name="connsiteX47152" fmla="*/ 912372 w 6884782"/>
              <a:gd name="connsiteY47152" fmla="*/ 1710542 h 5973007"/>
              <a:gd name="connsiteX47153" fmla="*/ 912475 w 6884782"/>
              <a:gd name="connsiteY47153" fmla="*/ 1710852 h 5973007"/>
              <a:gd name="connsiteX47154" fmla="*/ 913405 w 6884782"/>
              <a:gd name="connsiteY47154" fmla="*/ 1709303 h 5973007"/>
              <a:gd name="connsiteX47155" fmla="*/ 914437 w 6884782"/>
              <a:gd name="connsiteY47155" fmla="*/ 1707289 h 5973007"/>
              <a:gd name="connsiteX47156" fmla="*/ 914540 w 6884782"/>
              <a:gd name="connsiteY47156" fmla="*/ 1707134 h 5973007"/>
              <a:gd name="connsiteX47157" fmla="*/ 914334 w 6884782"/>
              <a:gd name="connsiteY47157" fmla="*/ 1706670 h 5973007"/>
              <a:gd name="connsiteX47158" fmla="*/ 914540 w 6884782"/>
              <a:gd name="connsiteY47158" fmla="*/ 1703572 h 5973007"/>
              <a:gd name="connsiteX47159" fmla="*/ 914540 w 6884782"/>
              <a:gd name="connsiteY47159" fmla="*/ 1704346 h 5973007"/>
              <a:gd name="connsiteX47160" fmla="*/ 915366 w 6884782"/>
              <a:gd name="connsiteY47160" fmla="*/ 1703417 h 5973007"/>
              <a:gd name="connsiteX47161" fmla="*/ 916193 w 6884782"/>
              <a:gd name="connsiteY47161" fmla="*/ 1706050 h 5973007"/>
              <a:gd name="connsiteX47162" fmla="*/ 916709 w 6884782"/>
              <a:gd name="connsiteY47162" fmla="*/ 1705740 h 5973007"/>
              <a:gd name="connsiteX47163" fmla="*/ 919703 w 6884782"/>
              <a:gd name="connsiteY47163" fmla="*/ 1704346 h 5973007"/>
              <a:gd name="connsiteX47164" fmla="*/ 921356 w 6884782"/>
              <a:gd name="connsiteY47164" fmla="*/ 1706205 h 5973007"/>
              <a:gd name="connsiteX47165" fmla="*/ 923111 w 6884782"/>
              <a:gd name="connsiteY47165" fmla="*/ 1704811 h 5973007"/>
              <a:gd name="connsiteX47166" fmla="*/ 928158 w 6884782"/>
              <a:gd name="connsiteY47166" fmla="*/ 1702836 h 5973007"/>
              <a:gd name="connsiteX47167" fmla="*/ 1382395 w 6884782"/>
              <a:gd name="connsiteY47167" fmla="*/ 1702798 h 5973007"/>
              <a:gd name="connsiteX47168" fmla="*/ 1381878 w 6884782"/>
              <a:gd name="connsiteY47168" fmla="*/ 1710077 h 5973007"/>
              <a:gd name="connsiteX47169" fmla="*/ 1379916 w 6884782"/>
              <a:gd name="connsiteY47169" fmla="*/ 1704501 h 5973007"/>
              <a:gd name="connsiteX47170" fmla="*/ 1382395 w 6884782"/>
              <a:gd name="connsiteY47170" fmla="*/ 1702798 h 5973007"/>
              <a:gd name="connsiteX47171" fmla="*/ 1159877 w 6884782"/>
              <a:gd name="connsiteY47171" fmla="*/ 1702023 h 5973007"/>
              <a:gd name="connsiteX47172" fmla="*/ 1164937 w 6884782"/>
              <a:gd name="connsiteY47172" fmla="*/ 1710542 h 5973007"/>
              <a:gd name="connsiteX47173" fmla="*/ 1159567 w 6884782"/>
              <a:gd name="connsiteY47173" fmla="*/ 1704501 h 5973007"/>
              <a:gd name="connsiteX47174" fmla="*/ 1159877 w 6884782"/>
              <a:gd name="connsiteY47174" fmla="*/ 1702023 h 5973007"/>
              <a:gd name="connsiteX47175" fmla="*/ 5850903 w 6884782"/>
              <a:gd name="connsiteY47175" fmla="*/ 1701963 h 5973007"/>
              <a:gd name="connsiteX47176" fmla="*/ 5856665 w 6884782"/>
              <a:gd name="connsiteY47176" fmla="*/ 1707227 h 5973007"/>
              <a:gd name="connsiteX47177" fmla="*/ 5856451 w 6884782"/>
              <a:gd name="connsiteY47177" fmla="*/ 1710926 h 5973007"/>
              <a:gd name="connsiteX47178" fmla="*/ 5853677 w 6884782"/>
              <a:gd name="connsiteY47178" fmla="*/ 1714056 h 5973007"/>
              <a:gd name="connsiteX47179" fmla="*/ 5850476 w 6884782"/>
              <a:gd name="connsiteY47179" fmla="*/ 1714909 h 5973007"/>
              <a:gd name="connsiteX47180" fmla="*/ 5844927 w 6884782"/>
              <a:gd name="connsiteY47180" fmla="*/ 1711352 h 5973007"/>
              <a:gd name="connsiteX47181" fmla="*/ 5850903 w 6884782"/>
              <a:gd name="connsiteY47181" fmla="*/ 1701963 h 5973007"/>
              <a:gd name="connsiteX47182" fmla="*/ 5398880 w 6884782"/>
              <a:gd name="connsiteY47182" fmla="*/ 1701963 h 5973007"/>
              <a:gd name="connsiteX47183" fmla="*/ 5402935 w 6884782"/>
              <a:gd name="connsiteY47183" fmla="*/ 1701963 h 5973007"/>
              <a:gd name="connsiteX47184" fmla="*/ 5395892 w 6884782"/>
              <a:gd name="connsiteY47184" fmla="*/ 1706231 h 5973007"/>
              <a:gd name="connsiteX47185" fmla="*/ 5395465 w 6884782"/>
              <a:gd name="connsiteY47185" fmla="*/ 1702532 h 5973007"/>
              <a:gd name="connsiteX47186" fmla="*/ 5398880 w 6884782"/>
              <a:gd name="connsiteY47186" fmla="*/ 1701963 h 5973007"/>
              <a:gd name="connsiteX47187" fmla="*/ 1155850 w 6884782"/>
              <a:gd name="connsiteY47187" fmla="*/ 1701713 h 5973007"/>
              <a:gd name="connsiteX47188" fmla="*/ 1160600 w 6884782"/>
              <a:gd name="connsiteY47188" fmla="*/ 1701868 h 5973007"/>
              <a:gd name="connsiteX47189" fmla="*/ 1156160 w 6884782"/>
              <a:gd name="connsiteY47189" fmla="*/ 1702798 h 5973007"/>
              <a:gd name="connsiteX47190" fmla="*/ 1155850 w 6884782"/>
              <a:gd name="connsiteY47190" fmla="*/ 1701713 h 5973007"/>
              <a:gd name="connsiteX47191" fmla="*/ 5260370 w 6884782"/>
              <a:gd name="connsiteY47191" fmla="*/ 1701536 h 5973007"/>
              <a:gd name="connsiteX47192" fmla="*/ 5262504 w 6884782"/>
              <a:gd name="connsiteY47192" fmla="*/ 1701536 h 5973007"/>
              <a:gd name="connsiteX47193" fmla="*/ 5265492 w 6884782"/>
              <a:gd name="connsiteY47193" fmla="*/ 1702816 h 5973007"/>
              <a:gd name="connsiteX47194" fmla="*/ 5265065 w 6884782"/>
              <a:gd name="connsiteY47194" fmla="*/ 1705519 h 5973007"/>
              <a:gd name="connsiteX47195" fmla="*/ 5265492 w 6884782"/>
              <a:gd name="connsiteY47195" fmla="*/ 1707654 h 5973007"/>
              <a:gd name="connsiteX47196" fmla="*/ 5264425 w 6884782"/>
              <a:gd name="connsiteY47196" fmla="*/ 1708222 h 5973007"/>
              <a:gd name="connsiteX47197" fmla="*/ 5263785 w 6884782"/>
              <a:gd name="connsiteY47197" fmla="*/ 1709788 h 5973007"/>
              <a:gd name="connsiteX47198" fmla="*/ 5258662 w 6884782"/>
              <a:gd name="connsiteY47198" fmla="*/ 1709361 h 5973007"/>
              <a:gd name="connsiteX47199" fmla="*/ 5256529 w 6884782"/>
              <a:gd name="connsiteY47199" fmla="*/ 1707654 h 5973007"/>
              <a:gd name="connsiteX47200" fmla="*/ 5256102 w 6884782"/>
              <a:gd name="connsiteY47200" fmla="*/ 1705377 h 5973007"/>
              <a:gd name="connsiteX47201" fmla="*/ 5258022 w 6884782"/>
              <a:gd name="connsiteY47201" fmla="*/ 1703385 h 5973007"/>
              <a:gd name="connsiteX47202" fmla="*/ 5260370 w 6884782"/>
              <a:gd name="connsiteY47202" fmla="*/ 1701536 h 5973007"/>
              <a:gd name="connsiteX47203" fmla="*/ 1184452 w 6884782"/>
              <a:gd name="connsiteY47203" fmla="*/ 1701210 h 5973007"/>
              <a:gd name="connsiteX47204" fmla="*/ 1188169 w 6884782"/>
              <a:gd name="connsiteY47204" fmla="*/ 1702023 h 5973007"/>
              <a:gd name="connsiteX47205" fmla="*/ 1180219 w 6884782"/>
              <a:gd name="connsiteY47205" fmla="*/ 1705121 h 5973007"/>
              <a:gd name="connsiteX47206" fmla="*/ 1178567 w 6884782"/>
              <a:gd name="connsiteY47206" fmla="*/ 1704191 h 5973007"/>
              <a:gd name="connsiteX47207" fmla="*/ 1179806 w 6884782"/>
              <a:gd name="connsiteY47207" fmla="*/ 1702023 h 5973007"/>
              <a:gd name="connsiteX47208" fmla="*/ 1184452 w 6884782"/>
              <a:gd name="connsiteY47208" fmla="*/ 1701210 h 5973007"/>
              <a:gd name="connsiteX47209" fmla="*/ 4626087 w 6884782"/>
              <a:gd name="connsiteY47209" fmla="*/ 1701109 h 5973007"/>
              <a:gd name="connsiteX47210" fmla="*/ 4624379 w 6884782"/>
              <a:gd name="connsiteY47210" fmla="*/ 1708222 h 5973007"/>
              <a:gd name="connsiteX47211" fmla="*/ 4623099 w 6884782"/>
              <a:gd name="connsiteY47211" fmla="*/ 1703527 h 5973007"/>
              <a:gd name="connsiteX47212" fmla="*/ 4626087 w 6884782"/>
              <a:gd name="connsiteY47212" fmla="*/ 1701109 h 5973007"/>
              <a:gd name="connsiteX47213" fmla="*/ 1576103 w 6884782"/>
              <a:gd name="connsiteY47213" fmla="*/ 1700939 h 5973007"/>
              <a:gd name="connsiteX47214" fmla="*/ 1586945 w 6884782"/>
              <a:gd name="connsiteY47214" fmla="*/ 1702488 h 5973007"/>
              <a:gd name="connsiteX47215" fmla="*/ 1573832 w 6884782"/>
              <a:gd name="connsiteY47215" fmla="*/ 1702178 h 5973007"/>
              <a:gd name="connsiteX47216" fmla="*/ 1576103 w 6884782"/>
              <a:gd name="connsiteY47216" fmla="*/ 1700939 h 5973007"/>
              <a:gd name="connsiteX47217" fmla="*/ 1264373 w 6884782"/>
              <a:gd name="connsiteY47217" fmla="*/ 1700629 h 5973007"/>
              <a:gd name="connsiteX47218" fmla="*/ 1248161 w 6884782"/>
              <a:gd name="connsiteY47218" fmla="*/ 1714105 h 5973007"/>
              <a:gd name="connsiteX47219" fmla="*/ 1242999 w 6884782"/>
              <a:gd name="connsiteY47219" fmla="*/ 1712556 h 5973007"/>
              <a:gd name="connsiteX47220" fmla="*/ 1264373 w 6884782"/>
              <a:gd name="connsiteY47220" fmla="*/ 1700629 h 5973007"/>
              <a:gd name="connsiteX47221" fmla="*/ 1210473 w 6884782"/>
              <a:gd name="connsiteY47221" fmla="*/ 1700474 h 5973007"/>
              <a:gd name="connsiteX47222" fmla="*/ 1212744 w 6884782"/>
              <a:gd name="connsiteY47222" fmla="*/ 1703107 h 5973007"/>
              <a:gd name="connsiteX47223" fmla="*/ 1212951 w 6884782"/>
              <a:gd name="connsiteY47223" fmla="*/ 1704501 h 5973007"/>
              <a:gd name="connsiteX47224" fmla="*/ 1217907 w 6884782"/>
              <a:gd name="connsiteY47224" fmla="*/ 1701094 h 5973007"/>
              <a:gd name="connsiteX47225" fmla="*/ 1223173 w 6884782"/>
              <a:gd name="connsiteY47225" fmla="*/ 1700784 h 5973007"/>
              <a:gd name="connsiteX47226" fmla="*/ 1221315 w 6884782"/>
              <a:gd name="connsiteY47226" fmla="*/ 1703107 h 5973007"/>
              <a:gd name="connsiteX47227" fmla="*/ 1224412 w 6884782"/>
              <a:gd name="connsiteY47227" fmla="*/ 1706515 h 5973007"/>
              <a:gd name="connsiteX47228" fmla="*/ 1224206 w 6884782"/>
              <a:gd name="connsiteY47228" fmla="*/ 1710233 h 5973007"/>
              <a:gd name="connsiteX47229" fmla="*/ 1223380 w 6884782"/>
              <a:gd name="connsiteY47229" fmla="*/ 1711627 h 5973007"/>
              <a:gd name="connsiteX47230" fmla="*/ 1218733 w 6884782"/>
              <a:gd name="connsiteY47230" fmla="*/ 1711472 h 5973007"/>
              <a:gd name="connsiteX47231" fmla="*/ 1216875 w 6884782"/>
              <a:gd name="connsiteY47231" fmla="*/ 1709768 h 5973007"/>
              <a:gd name="connsiteX47232" fmla="*/ 1215429 w 6884782"/>
              <a:gd name="connsiteY47232" fmla="*/ 1712091 h 5973007"/>
              <a:gd name="connsiteX47233" fmla="*/ 1205723 w 6884782"/>
              <a:gd name="connsiteY47233" fmla="*/ 1723089 h 5973007"/>
              <a:gd name="connsiteX47234" fmla="*/ 1205723 w 6884782"/>
              <a:gd name="connsiteY47234" fmla="*/ 1717822 h 5973007"/>
              <a:gd name="connsiteX47235" fmla="*/ 1202832 w 6884782"/>
              <a:gd name="connsiteY47235" fmla="*/ 1718287 h 5973007"/>
              <a:gd name="connsiteX47236" fmla="*/ 1201076 w 6884782"/>
              <a:gd name="connsiteY47236" fmla="*/ 1717203 h 5973007"/>
              <a:gd name="connsiteX47237" fmla="*/ 1197979 w 6884782"/>
              <a:gd name="connsiteY47237" fmla="*/ 1713950 h 5973007"/>
              <a:gd name="connsiteX47238" fmla="*/ 1199528 w 6884782"/>
              <a:gd name="connsiteY47238" fmla="*/ 1711317 h 5973007"/>
              <a:gd name="connsiteX47239" fmla="*/ 1203348 w 6884782"/>
              <a:gd name="connsiteY47239" fmla="*/ 1711162 h 5973007"/>
              <a:gd name="connsiteX47240" fmla="*/ 1206756 w 6884782"/>
              <a:gd name="connsiteY47240" fmla="*/ 1712866 h 5973007"/>
              <a:gd name="connsiteX47241" fmla="*/ 1207065 w 6884782"/>
              <a:gd name="connsiteY47241" fmla="*/ 1713176 h 5973007"/>
              <a:gd name="connsiteX47242" fmla="*/ 1208408 w 6884782"/>
              <a:gd name="connsiteY47242" fmla="*/ 1710077 h 5973007"/>
              <a:gd name="connsiteX47243" fmla="*/ 1211919 w 6884782"/>
              <a:gd name="connsiteY47243" fmla="*/ 1705740 h 5973007"/>
              <a:gd name="connsiteX47244" fmla="*/ 1211712 w 6884782"/>
              <a:gd name="connsiteY47244" fmla="*/ 1705895 h 5973007"/>
              <a:gd name="connsiteX47245" fmla="*/ 1207582 w 6884782"/>
              <a:gd name="connsiteY47245" fmla="*/ 1703572 h 5973007"/>
              <a:gd name="connsiteX47246" fmla="*/ 1210473 w 6884782"/>
              <a:gd name="connsiteY47246" fmla="*/ 1700474 h 5973007"/>
              <a:gd name="connsiteX47247" fmla="*/ 1202832 w 6884782"/>
              <a:gd name="connsiteY47247" fmla="*/ 1700474 h 5973007"/>
              <a:gd name="connsiteX47248" fmla="*/ 1204794 w 6884782"/>
              <a:gd name="connsiteY47248" fmla="*/ 1700784 h 5973007"/>
              <a:gd name="connsiteX47249" fmla="*/ 1202832 w 6884782"/>
              <a:gd name="connsiteY47249" fmla="*/ 1707134 h 5973007"/>
              <a:gd name="connsiteX47250" fmla="*/ 1200870 w 6884782"/>
              <a:gd name="connsiteY47250" fmla="*/ 1706824 h 5973007"/>
              <a:gd name="connsiteX47251" fmla="*/ 1200251 w 6884782"/>
              <a:gd name="connsiteY47251" fmla="*/ 1704501 h 5973007"/>
              <a:gd name="connsiteX47252" fmla="*/ 1202832 w 6884782"/>
              <a:gd name="connsiteY47252" fmla="*/ 1700474 h 5973007"/>
              <a:gd name="connsiteX47253" fmla="*/ 3929911 w 6884782"/>
              <a:gd name="connsiteY47253" fmla="*/ 1700113 h 5973007"/>
              <a:gd name="connsiteX47254" fmla="*/ 3936100 w 6884782"/>
              <a:gd name="connsiteY47254" fmla="*/ 1706800 h 5973007"/>
              <a:gd name="connsiteX47255" fmla="*/ 3936741 w 6884782"/>
              <a:gd name="connsiteY47255" fmla="*/ 1713913 h 5973007"/>
              <a:gd name="connsiteX47256" fmla="*/ 3930338 w 6884782"/>
              <a:gd name="connsiteY47256" fmla="*/ 1722022 h 5973007"/>
              <a:gd name="connsiteX47257" fmla="*/ 3927777 w 6884782"/>
              <a:gd name="connsiteY47257" fmla="*/ 1720458 h 5973007"/>
              <a:gd name="connsiteX47258" fmla="*/ 3927564 w 6884782"/>
              <a:gd name="connsiteY47258" fmla="*/ 1720315 h 5973007"/>
              <a:gd name="connsiteX47259" fmla="*/ 3926923 w 6884782"/>
              <a:gd name="connsiteY47259" fmla="*/ 1721738 h 5973007"/>
              <a:gd name="connsiteX47260" fmla="*/ 3925216 w 6884782"/>
              <a:gd name="connsiteY47260" fmla="*/ 1724726 h 5973007"/>
              <a:gd name="connsiteX47261" fmla="*/ 3924789 w 6884782"/>
              <a:gd name="connsiteY47261" fmla="*/ 1727429 h 5973007"/>
              <a:gd name="connsiteX47262" fmla="*/ 3920948 w 6884782"/>
              <a:gd name="connsiteY47262" fmla="*/ 1731270 h 5973007"/>
              <a:gd name="connsiteX47263" fmla="*/ 3921588 w 6884782"/>
              <a:gd name="connsiteY47263" fmla="*/ 1728567 h 5973007"/>
              <a:gd name="connsiteX47264" fmla="*/ 3923082 w 6884782"/>
              <a:gd name="connsiteY47264" fmla="*/ 1725579 h 5973007"/>
              <a:gd name="connsiteX47265" fmla="*/ 3922441 w 6884782"/>
              <a:gd name="connsiteY47265" fmla="*/ 1723303 h 5973007"/>
              <a:gd name="connsiteX47266" fmla="*/ 3924576 w 6884782"/>
              <a:gd name="connsiteY47266" fmla="*/ 1718324 h 5973007"/>
              <a:gd name="connsiteX47267" fmla="*/ 3925429 w 6884782"/>
              <a:gd name="connsiteY47267" fmla="*/ 1717897 h 5973007"/>
              <a:gd name="connsiteX47268" fmla="*/ 3924362 w 6884782"/>
              <a:gd name="connsiteY47268" fmla="*/ 1710072 h 5973007"/>
              <a:gd name="connsiteX47269" fmla="*/ 3926923 w 6884782"/>
              <a:gd name="connsiteY47269" fmla="*/ 1700255 h 5973007"/>
              <a:gd name="connsiteX47270" fmla="*/ 3929911 w 6884782"/>
              <a:gd name="connsiteY47270" fmla="*/ 1700113 h 5973007"/>
              <a:gd name="connsiteX47271" fmla="*/ 5231558 w 6884782"/>
              <a:gd name="connsiteY47271" fmla="*/ 1699686 h 5973007"/>
              <a:gd name="connsiteX47272" fmla="*/ 5236253 w 6884782"/>
              <a:gd name="connsiteY47272" fmla="*/ 1700682 h 5973007"/>
              <a:gd name="connsiteX47273" fmla="*/ 5240522 w 6884782"/>
              <a:gd name="connsiteY47273" fmla="*/ 1702674 h 5973007"/>
              <a:gd name="connsiteX47274" fmla="*/ 5241589 w 6884782"/>
              <a:gd name="connsiteY47274" fmla="*/ 1704666 h 5973007"/>
              <a:gd name="connsiteX47275" fmla="*/ 5235827 w 6884782"/>
              <a:gd name="connsiteY47275" fmla="*/ 1703670 h 5973007"/>
              <a:gd name="connsiteX47276" fmla="*/ 853620 w 6884782"/>
              <a:gd name="connsiteY47276" fmla="*/ 1699544 h 5973007"/>
              <a:gd name="connsiteX47277" fmla="*/ 848353 w 6884782"/>
              <a:gd name="connsiteY47277" fmla="*/ 1710542 h 5973007"/>
              <a:gd name="connsiteX47278" fmla="*/ 848044 w 6884782"/>
              <a:gd name="connsiteY47278" fmla="*/ 1708064 h 5973007"/>
              <a:gd name="connsiteX47279" fmla="*/ 853620 w 6884782"/>
              <a:gd name="connsiteY47279" fmla="*/ 1699544 h 5973007"/>
              <a:gd name="connsiteX47280" fmla="*/ 5934563 w 6884782"/>
              <a:gd name="connsiteY47280" fmla="*/ 1699402 h 5973007"/>
              <a:gd name="connsiteX47281" fmla="*/ 5932429 w 6884782"/>
              <a:gd name="connsiteY47281" fmla="*/ 1706657 h 5973007"/>
              <a:gd name="connsiteX47282" fmla="*/ 5934563 w 6884782"/>
              <a:gd name="connsiteY47282" fmla="*/ 1699402 h 5973007"/>
              <a:gd name="connsiteX47283" fmla="*/ 1756285 w 6884782"/>
              <a:gd name="connsiteY47283" fmla="*/ 1699080 h 5973007"/>
              <a:gd name="connsiteX47284" fmla="*/ 1762687 w 6884782"/>
              <a:gd name="connsiteY47284" fmla="*/ 1703727 h 5973007"/>
              <a:gd name="connsiteX47285" fmla="*/ 1763616 w 6884782"/>
              <a:gd name="connsiteY47285" fmla="*/ 1706670 h 5973007"/>
              <a:gd name="connsiteX47286" fmla="*/ 1745030 w 6884782"/>
              <a:gd name="connsiteY47286" fmla="*/ 1712091 h 5973007"/>
              <a:gd name="connsiteX47287" fmla="*/ 1743998 w 6884782"/>
              <a:gd name="connsiteY47287" fmla="*/ 1709613 h 5973007"/>
              <a:gd name="connsiteX47288" fmla="*/ 1744308 w 6884782"/>
              <a:gd name="connsiteY47288" fmla="*/ 1705586 h 5973007"/>
              <a:gd name="connsiteX47289" fmla="*/ 1756285 w 6884782"/>
              <a:gd name="connsiteY47289" fmla="*/ 1699080 h 5973007"/>
              <a:gd name="connsiteX47290" fmla="*/ 5067865 w 6884782"/>
              <a:gd name="connsiteY47290" fmla="*/ 1698975 h 5973007"/>
              <a:gd name="connsiteX47291" fmla="*/ 5074055 w 6884782"/>
              <a:gd name="connsiteY47291" fmla="*/ 1704097 h 5973007"/>
              <a:gd name="connsiteX47292" fmla="*/ 5066585 w 6884782"/>
              <a:gd name="connsiteY47292" fmla="*/ 1708364 h 5973007"/>
              <a:gd name="connsiteX47293" fmla="*/ 5067865 w 6884782"/>
              <a:gd name="connsiteY47293" fmla="*/ 1698975 h 5973007"/>
              <a:gd name="connsiteX47294" fmla="*/ 1675332 w 6884782"/>
              <a:gd name="connsiteY47294" fmla="*/ 1698925 h 5973007"/>
              <a:gd name="connsiteX47295" fmla="*/ 1680392 w 6884782"/>
              <a:gd name="connsiteY47295" fmla="*/ 1700784 h 5973007"/>
              <a:gd name="connsiteX47296" fmla="*/ 1674093 w 6884782"/>
              <a:gd name="connsiteY47296" fmla="*/ 1704501 h 5973007"/>
              <a:gd name="connsiteX47297" fmla="*/ 1675332 w 6884782"/>
              <a:gd name="connsiteY47297" fmla="*/ 1698925 h 5973007"/>
              <a:gd name="connsiteX47298" fmla="*/ 5895934 w 6884782"/>
              <a:gd name="connsiteY47298" fmla="*/ 1698690 h 5973007"/>
              <a:gd name="connsiteX47299" fmla="*/ 5894653 w 6884782"/>
              <a:gd name="connsiteY47299" fmla="*/ 1760577 h 5973007"/>
              <a:gd name="connsiteX47300" fmla="*/ 5882275 w 6884782"/>
              <a:gd name="connsiteY47300" fmla="*/ 1758159 h 5973007"/>
              <a:gd name="connsiteX47301" fmla="*/ 5885903 w 6884782"/>
              <a:gd name="connsiteY47301" fmla="*/ 1742509 h 5973007"/>
              <a:gd name="connsiteX47302" fmla="*/ 5885263 w 6884782"/>
              <a:gd name="connsiteY47302" fmla="*/ 1740375 h 5973007"/>
              <a:gd name="connsiteX47303" fmla="*/ 5885903 w 6884782"/>
              <a:gd name="connsiteY47303" fmla="*/ 1737388 h 5973007"/>
              <a:gd name="connsiteX47304" fmla="*/ 5887184 w 6884782"/>
              <a:gd name="connsiteY47304" fmla="*/ 1736818 h 5973007"/>
              <a:gd name="connsiteX47305" fmla="*/ 5889318 w 6884782"/>
              <a:gd name="connsiteY47305" fmla="*/ 1727144 h 5973007"/>
              <a:gd name="connsiteX47306" fmla="*/ 5895934 w 6884782"/>
              <a:gd name="connsiteY47306" fmla="*/ 1698690 h 5973007"/>
              <a:gd name="connsiteX47307" fmla="*/ 4804505 w 6884782"/>
              <a:gd name="connsiteY47307" fmla="*/ 1698406 h 5973007"/>
              <a:gd name="connsiteX47308" fmla="*/ 4807493 w 6884782"/>
              <a:gd name="connsiteY47308" fmla="*/ 1698406 h 5973007"/>
              <a:gd name="connsiteX47309" fmla="*/ 4809627 w 6884782"/>
              <a:gd name="connsiteY47309" fmla="*/ 1705804 h 5973007"/>
              <a:gd name="connsiteX47310" fmla="*/ 4803865 w 6884782"/>
              <a:gd name="connsiteY47310" fmla="*/ 1707938 h 5973007"/>
              <a:gd name="connsiteX47311" fmla="*/ 4801304 w 6884782"/>
              <a:gd name="connsiteY47311" fmla="*/ 1706089 h 5973007"/>
              <a:gd name="connsiteX47312" fmla="*/ 4801518 w 6884782"/>
              <a:gd name="connsiteY47312" fmla="*/ 1704808 h 5973007"/>
              <a:gd name="connsiteX47313" fmla="*/ 4801518 w 6884782"/>
              <a:gd name="connsiteY47313" fmla="*/ 1700113 h 5973007"/>
              <a:gd name="connsiteX47314" fmla="*/ 4804505 w 6884782"/>
              <a:gd name="connsiteY47314" fmla="*/ 1698406 h 5973007"/>
              <a:gd name="connsiteX47315" fmla="*/ 1453538 w 6884782"/>
              <a:gd name="connsiteY47315" fmla="*/ 1698151 h 5973007"/>
              <a:gd name="connsiteX47316" fmla="*/ 1457875 w 6884782"/>
              <a:gd name="connsiteY47316" fmla="*/ 1698305 h 5973007"/>
              <a:gd name="connsiteX47317" fmla="*/ 1459733 w 6884782"/>
              <a:gd name="connsiteY47317" fmla="*/ 1701094 h 5973007"/>
              <a:gd name="connsiteX47318" fmla="*/ 1453538 w 6884782"/>
              <a:gd name="connsiteY47318" fmla="*/ 1698151 h 5973007"/>
              <a:gd name="connsiteX47319" fmla="*/ 1051149 w 6884782"/>
              <a:gd name="connsiteY47319" fmla="*/ 1697996 h 5973007"/>
              <a:gd name="connsiteX47320" fmla="*/ 1051252 w 6884782"/>
              <a:gd name="connsiteY47320" fmla="*/ 1699544 h 5973007"/>
              <a:gd name="connsiteX47321" fmla="*/ 1050529 w 6884782"/>
              <a:gd name="connsiteY47321" fmla="*/ 1698925 h 5973007"/>
              <a:gd name="connsiteX47322" fmla="*/ 1051149 w 6884782"/>
              <a:gd name="connsiteY47322" fmla="*/ 1697996 h 5973007"/>
              <a:gd name="connsiteX47323" fmla="*/ 1138091 w 6884782"/>
              <a:gd name="connsiteY47323" fmla="*/ 1697376 h 5973007"/>
              <a:gd name="connsiteX47324" fmla="*/ 1139639 w 6884782"/>
              <a:gd name="connsiteY47324" fmla="*/ 1700784 h 5973007"/>
              <a:gd name="connsiteX47325" fmla="*/ 1139536 w 6884782"/>
              <a:gd name="connsiteY47325" fmla="*/ 1701094 h 5973007"/>
              <a:gd name="connsiteX47326" fmla="*/ 1141807 w 6884782"/>
              <a:gd name="connsiteY47326" fmla="*/ 1700474 h 5973007"/>
              <a:gd name="connsiteX47327" fmla="*/ 1152546 w 6884782"/>
              <a:gd name="connsiteY47327" fmla="*/ 1702798 h 5973007"/>
              <a:gd name="connsiteX47328" fmla="*/ 1135612 w 6884782"/>
              <a:gd name="connsiteY47328" fmla="*/ 1703727 h 5973007"/>
              <a:gd name="connsiteX47329" fmla="*/ 1135922 w 6884782"/>
              <a:gd name="connsiteY47329" fmla="*/ 1702023 h 5973007"/>
              <a:gd name="connsiteX47330" fmla="*/ 1134580 w 6884782"/>
              <a:gd name="connsiteY47330" fmla="*/ 1700939 h 5973007"/>
              <a:gd name="connsiteX47331" fmla="*/ 1134476 w 6884782"/>
              <a:gd name="connsiteY47331" fmla="*/ 1699235 h 5973007"/>
              <a:gd name="connsiteX47332" fmla="*/ 1138091 w 6884782"/>
              <a:gd name="connsiteY47332" fmla="*/ 1697376 h 5973007"/>
              <a:gd name="connsiteX47333" fmla="*/ 6109354 w 6884782"/>
              <a:gd name="connsiteY47333" fmla="*/ 1697268 h 5973007"/>
              <a:gd name="connsiteX47334" fmla="*/ 6112768 w 6884782"/>
              <a:gd name="connsiteY47334" fmla="*/ 1697979 h 5973007"/>
              <a:gd name="connsiteX47335" fmla="*/ 6112342 w 6884782"/>
              <a:gd name="connsiteY47335" fmla="*/ 1706657 h 5973007"/>
              <a:gd name="connsiteX47336" fmla="*/ 6108714 w 6884782"/>
              <a:gd name="connsiteY47336" fmla="*/ 1708507 h 5973007"/>
              <a:gd name="connsiteX47337" fmla="*/ 6103378 w 6884782"/>
              <a:gd name="connsiteY47337" fmla="*/ 1706515 h 5973007"/>
              <a:gd name="connsiteX47338" fmla="*/ 6109354 w 6884782"/>
              <a:gd name="connsiteY47338" fmla="*/ 1697268 h 5973007"/>
              <a:gd name="connsiteX47339" fmla="*/ 1450647 w 6884782"/>
              <a:gd name="connsiteY47339" fmla="*/ 1696756 h 5973007"/>
              <a:gd name="connsiteX47340" fmla="*/ 1451266 w 6884782"/>
              <a:gd name="connsiteY47340" fmla="*/ 1696756 h 5973007"/>
              <a:gd name="connsiteX47341" fmla="*/ 1453332 w 6884782"/>
              <a:gd name="connsiteY47341" fmla="*/ 1698305 h 5973007"/>
              <a:gd name="connsiteX47342" fmla="*/ 1450234 w 6884782"/>
              <a:gd name="connsiteY47342" fmla="*/ 1698305 h 5973007"/>
              <a:gd name="connsiteX47343" fmla="*/ 1450543 w 6884782"/>
              <a:gd name="connsiteY47343" fmla="*/ 1697221 h 5973007"/>
              <a:gd name="connsiteX47344" fmla="*/ 1449821 w 6884782"/>
              <a:gd name="connsiteY47344" fmla="*/ 1697686 h 5973007"/>
              <a:gd name="connsiteX47345" fmla="*/ 1450647 w 6884782"/>
              <a:gd name="connsiteY47345" fmla="*/ 1696756 h 5973007"/>
              <a:gd name="connsiteX47346" fmla="*/ 1029259 w 6884782"/>
              <a:gd name="connsiteY47346" fmla="*/ 1696601 h 5973007"/>
              <a:gd name="connsiteX47347" fmla="*/ 1031427 w 6884782"/>
              <a:gd name="connsiteY47347" fmla="*/ 1703262 h 5973007"/>
              <a:gd name="connsiteX47348" fmla="*/ 1033389 w 6884782"/>
              <a:gd name="connsiteY47348" fmla="*/ 1707134 h 5973007"/>
              <a:gd name="connsiteX47349" fmla="*/ 1029671 w 6884782"/>
              <a:gd name="connsiteY47349" fmla="*/ 1702643 h 5973007"/>
              <a:gd name="connsiteX47350" fmla="*/ 1026987 w 6884782"/>
              <a:gd name="connsiteY47350" fmla="*/ 1702023 h 5973007"/>
              <a:gd name="connsiteX47351" fmla="*/ 1025025 w 6884782"/>
              <a:gd name="connsiteY47351" fmla="*/ 1697376 h 5973007"/>
              <a:gd name="connsiteX47352" fmla="*/ 1029259 w 6884782"/>
              <a:gd name="connsiteY47352" fmla="*/ 1696601 h 5973007"/>
              <a:gd name="connsiteX47353" fmla="*/ 5163691 w 6884782"/>
              <a:gd name="connsiteY47353" fmla="*/ 1696414 h 5973007"/>
              <a:gd name="connsiteX47354" fmla="*/ 5166252 w 6884782"/>
              <a:gd name="connsiteY47354" fmla="*/ 1696556 h 5973007"/>
              <a:gd name="connsiteX47355" fmla="*/ 5166465 w 6884782"/>
              <a:gd name="connsiteY47355" fmla="*/ 1697553 h 5973007"/>
              <a:gd name="connsiteX47356" fmla="*/ 5166892 w 6884782"/>
              <a:gd name="connsiteY47356" fmla="*/ 1697695 h 5973007"/>
              <a:gd name="connsiteX47357" fmla="*/ 5166465 w 6884782"/>
              <a:gd name="connsiteY47357" fmla="*/ 1700113 h 5973007"/>
              <a:gd name="connsiteX47358" fmla="*/ 5164758 w 6884782"/>
              <a:gd name="connsiteY47358" fmla="*/ 1702247 h 5973007"/>
              <a:gd name="connsiteX47359" fmla="*/ 5162197 w 6884782"/>
              <a:gd name="connsiteY47359" fmla="*/ 1698406 h 5973007"/>
              <a:gd name="connsiteX47360" fmla="*/ 5164118 w 6884782"/>
              <a:gd name="connsiteY47360" fmla="*/ 1697553 h 5973007"/>
              <a:gd name="connsiteX47361" fmla="*/ 5163691 w 6884782"/>
              <a:gd name="connsiteY47361" fmla="*/ 1696414 h 5973007"/>
              <a:gd name="connsiteX47362" fmla="*/ 1422664 w 6884782"/>
              <a:gd name="connsiteY47362" fmla="*/ 1695672 h 5973007"/>
              <a:gd name="connsiteX47363" fmla="*/ 1418947 w 6884782"/>
              <a:gd name="connsiteY47363" fmla="*/ 1700939 h 5973007"/>
              <a:gd name="connsiteX47364" fmla="*/ 1418740 w 6884782"/>
              <a:gd name="connsiteY47364" fmla="*/ 1699699 h 5973007"/>
              <a:gd name="connsiteX47365" fmla="*/ 1419980 w 6884782"/>
              <a:gd name="connsiteY47365" fmla="*/ 1698460 h 5973007"/>
              <a:gd name="connsiteX47366" fmla="*/ 1422664 w 6884782"/>
              <a:gd name="connsiteY47366" fmla="*/ 1695672 h 5973007"/>
              <a:gd name="connsiteX47367" fmla="*/ 1697429 w 6884782"/>
              <a:gd name="connsiteY47367" fmla="*/ 1695517 h 5973007"/>
              <a:gd name="connsiteX47368" fmla="*/ 1705070 w 6884782"/>
              <a:gd name="connsiteY47368" fmla="*/ 1698305 h 5973007"/>
              <a:gd name="connsiteX47369" fmla="*/ 1706722 w 6884782"/>
              <a:gd name="connsiteY47369" fmla="*/ 1699235 h 5973007"/>
              <a:gd name="connsiteX47370" fmla="*/ 1708271 w 6884782"/>
              <a:gd name="connsiteY47370" fmla="*/ 1700164 h 5973007"/>
              <a:gd name="connsiteX47371" fmla="*/ 1708581 w 6884782"/>
              <a:gd name="connsiteY47371" fmla="*/ 1703572 h 5973007"/>
              <a:gd name="connsiteX47372" fmla="*/ 1693815 w 6884782"/>
              <a:gd name="connsiteY47372" fmla="*/ 1697531 h 5973007"/>
              <a:gd name="connsiteX47373" fmla="*/ 1694951 w 6884782"/>
              <a:gd name="connsiteY47373" fmla="*/ 1695827 h 5973007"/>
              <a:gd name="connsiteX47374" fmla="*/ 1697429 w 6884782"/>
              <a:gd name="connsiteY47374" fmla="*/ 1695517 h 5973007"/>
              <a:gd name="connsiteX47375" fmla="*/ 1288535 w 6884782"/>
              <a:gd name="connsiteY47375" fmla="*/ 1695517 h 5973007"/>
              <a:gd name="connsiteX47376" fmla="*/ 1291323 w 6884782"/>
              <a:gd name="connsiteY47376" fmla="*/ 1696292 h 5973007"/>
              <a:gd name="connsiteX47377" fmla="*/ 1292768 w 6884782"/>
              <a:gd name="connsiteY47377" fmla="*/ 1697996 h 5973007"/>
              <a:gd name="connsiteX47378" fmla="*/ 1291942 w 6884782"/>
              <a:gd name="connsiteY47378" fmla="*/ 1702952 h 5973007"/>
              <a:gd name="connsiteX47379" fmla="*/ 1284301 w 6884782"/>
              <a:gd name="connsiteY47379" fmla="*/ 1702488 h 5973007"/>
              <a:gd name="connsiteX47380" fmla="*/ 1283888 w 6884782"/>
              <a:gd name="connsiteY47380" fmla="*/ 1699390 h 5973007"/>
              <a:gd name="connsiteX47381" fmla="*/ 1286057 w 6884782"/>
              <a:gd name="connsiteY47381" fmla="*/ 1696601 h 5973007"/>
              <a:gd name="connsiteX47382" fmla="*/ 1288535 w 6884782"/>
              <a:gd name="connsiteY47382" fmla="*/ 1695517 h 5973007"/>
              <a:gd name="connsiteX47383" fmla="*/ 1140981 w 6884782"/>
              <a:gd name="connsiteY47383" fmla="*/ 1695517 h 5973007"/>
              <a:gd name="connsiteX47384" fmla="*/ 1141702 w 6884782"/>
              <a:gd name="connsiteY47384" fmla="*/ 1695975 h 5973007"/>
              <a:gd name="connsiteX47385" fmla="*/ 1141704 w 6884782"/>
              <a:gd name="connsiteY47385" fmla="*/ 1695982 h 5973007"/>
              <a:gd name="connsiteX47386" fmla="*/ 1140981 w 6884782"/>
              <a:gd name="connsiteY47386" fmla="*/ 1695517 h 5973007"/>
              <a:gd name="connsiteX47387" fmla="*/ 1141395 w 6884782"/>
              <a:gd name="connsiteY47387" fmla="*/ 1694898 h 5973007"/>
              <a:gd name="connsiteX47388" fmla="*/ 1152856 w 6884782"/>
              <a:gd name="connsiteY47388" fmla="*/ 1698305 h 5973007"/>
              <a:gd name="connsiteX47389" fmla="*/ 1152546 w 6884782"/>
              <a:gd name="connsiteY47389" fmla="*/ 1699080 h 5973007"/>
              <a:gd name="connsiteX47390" fmla="*/ 1143666 w 6884782"/>
              <a:gd name="connsiteY47390" fmla="*/ 1697221 h 5973007"/>
              <a:gd name="connsiteX47391" fmla="*/ 1141702 w 6884782"/>
              <a:gd name="connsiteY47391" fmla="*/ 1695975 h 5973007"/>
              <a:gd name="connsiteX47392" fmla="*/ 6286919 w 6884782"/>
              <a:gd name="connsiteY47392" fmla="*/ 1694849 h 5973007"/>
              <a:gd name="connsiteX47393" fmla="*/ 6293108 w 6884782"/>
              <a:gd name="connsiteY47393" fmla="*/ 1696841 h 5973007"/>
              <a:gd name="connsiteX47394" fmla="*/ 6291614 w 6884782"/>
              <a:gd name="connsiteY47394" fmla="*/ 1706515 h 5973007"/>
              <a:gd name="connsiteX47395" fmla="*/ 6282864 w 6884782"/>
              <a:gd name="connsiteY47395" fmla="*/ 1704381 h 5973007"/>
              <a:gd name="connsiteX47396" fmla="*/ 6286919 w 6884782"/>
              <a:gd name="connsiteY47396" fmla="*/ 1694849 h 5973007"/>
              <a:gd name="connsiteX47397" fmla="*/ 5074268 w 6884782"/>
              <a:gd name="connsiteY47397" fmla="*/ 1694423 h 5973007"/>
              <a:gd name="connsiteX47398" fmla="*/ 5077043 w 6884782"/>
              <a:gd name="connsiteY47398" fmla="*/ 1694707 h 5973007"/>
              <a:gd name="connsiteX47399" fmla="*/ 5080244 w 6884782"/>
              <a:gd name="connsiteY47399" fmla="*/ 1696414 h 5973007"/>
              <a:gd name="connsiteX47400" fmla="*/ 5078750 w 6884782"/>
              <a:gd name="connsiteY47400" fmla="*/ 1702532 h 5973007"/>
              <a:gd name="connsiteX47401" fmla="*/ 5076188 w 6884782"/>
              <a:gd name="connsiteY47401" fmla="*/ 1702247 h 5973007"/>
              <a:gd name="connsiteX47402" fmla="*/ 5073414 w 6884782"/>
              <a:gd name="connsiteY47402" fmla="*/ 1699402 h 5973007"/>
              <a:gd name="connsiteX47403" fmla="*/ 5074268 w 6884782"/>
              <a:gd name="connsiteY47403" fmla="*/ 1694423 h 5973007"/>
              <a:gd name="connsiteX47404" fmla="*/ 1661290 w 6884782"/>
              <a:gd name="connsiteY47404" fmla="*/ 1694123 h 5973007"/>
              <a:gd name="connsiteX47405" fmla="*/ 1666143 w 6884782"/>
              <a:gd name="connsiteY47405" fmla="*/ 1698305 h 5973007"/>
              <a:gd name="connsiteX47406" fmla="*/ 1665626 w 6884782"/>
              <a:gd name="connsiteY47406" fmla="*/ 1700939 h 5973007"/>
              <a:gd name="connsiteX47407" fmla="*/ 1661806 w 6884782"/>
              <a:gd name="connsiteY47407" fmla="*/ 1702798 h 5973007"/>
              <a:gd name="connsiteX47408" fmla="*/ 1659121 w 6884782"/>
              <a:gd name="connsiteY47408" fmla="*/ 1695517 h 5973007"/>
              <a:gd name="connsiteX47409" fmla="*/ 1661290 w 6884782"/>
              <a:gd name="connsiteY47409" fmla="*/ 1694123 h 5973007"/>
              <a:gd name="connsiteX47410" fmla="*/ 1249400 w 6884782"/>
              <a:gd name="connsiteY47410" fmla="*/ 1694123 h 5973007"/>
              <a:gd name="connsiteX47411" fmla="*/ 1252189 w 6884782"/>
              <a:gd name="connsiteY47411" fmla="*/ 1697686 h 5973007"/>
              <a:gd name="connsiteX47412" fmla="*/ 1240521 w 6884782"/>
              <a:gd name="connsiteY47412" fmla="*/ 1707754 h 5973007"/>
              <a:gd name="connsiteX47413" fmla="*/ 1237732 w 6884782"/>
              <a:gd name="connsiteY47413" fmla="*/ 1703727 h 5973007"/>
              <a:gd name="connsiteX47414" fmla="*/ 1238352 w 6884782"/>
              <a:gd name="connsiteY47414" fmla="*/ 1701094 h 5973007"/>
              <a:gd name="connsiteX47415" fmla="*/ 1236390 w 6884782"/>
              <a:gd name="connsiteY47415" fmla="*/ 1699855 h 5973007"/>
              <a:gd name="connsiteX47416" fmla="*/ 1237629 w 6884782"/>
              <a:gd name="connsiteY47416" fmla="*/ 1696601 h 5973007"/>
              <a:gd name="connsiteX47417" fmla="*/ 1241656 w 6884782"/>
              <a:gd name="connsiteY47417" fmla="*/ 1697066 h 5973007"/>
              <a:gd name="connsiteX47418" fmla="*/ 1244031 w 6884782"/>
              <a:gd name="connsiteY47418" fmla="*/ 1696292 h 5973007"/>
              <a:gd name="connsiteX47419" fmla="*/ 1249400 w 6884782"/>
              <a:gd name="connsiteY47419" fmla="*/ 1694123 h 5973007"/>
              <a:gd name="connsiteX47420" fmla="*/ 5593945 w 6884782"/>
              <a:gd name="connsiteY47420" fmla="*/ 1693853 h 5973007"/>
              <a:gd name="connsiteX47421" fmla="*/ 5600988 w 6884782"/>
              <a:gd name="connsiteY47421" fmla="*/ 1718608 h 5973007"/>
              <a:gd name="connsiteX47422" fmla="*/ 5589463 w 6884782"/>
              <a:gd name="connsiteY47422" fmla="*/ 1718181 h 5973007"/>
              <a:gd name="connsiteX47423" fmla="*/ 5585195 w 6884782"/>
              <a:gd name="connsiteY47423" fmla="*/ 1712491 h 5973007"/>
              <a:gd name="connsiteX47424" fmla="*/ 5584768 w 6884782"/>
              <a:gd name="connsiteY47424" fmla="*/ 1710072 h 5973007"/>
              <a:gd name="connsiteX47425" fmla="*/ 5584768 w 6884782"/>
              <a:gd name="connsiteY47425" fmla="*/ 1710214 h 5973007"/>
              <a:gd name="connsiteX47426" fmla="*/ 5573030 w 6884782"/>
              <a:gd name="connsiteY47426" fmla="*/ 1702390 h 5973007"/>
              <a:gd name="connsiteX47427" fmla="*/ 5579859 w 6884782"/>
              <a:gd name="connsiteY47427" fmla="*/ 1694138 h 5973007"/>
              <a:gd name="connsiteX47428" fmla="*/ 5587329 w 6884782"/>
              <a:gd name="connsiteY47428" fmla="*/ 1697837 h 5973007"/>
              <a:gd name="connsiteX47429" fmla="*/ 5920264 w 6884782"/>
              <a:gd name="connsiteY47429" fmla="*/ 1693569 h 5973007"/>
              <a:gd name="connsiteX47430" fmla="*/ 5923892 w 6884782"/>
              <a:gd name="connsiteY47430" fmla="*/ 1694138 h 5973007"/>
              <a:gd name="connsiteX47431" fmla="*/ 5924745 w 6884782"/>
              <a:gd name="connsiteY47431" fmla="*/ 1701252 h 5973007"/>
              <a:gd name="connsiteX47432" fmla="*/ 5916422 w 6884782"/>
              <a:gd name="connsiteY47432" fmla="*/ 1698121 h 5973007"/>
              <a:gd name="connsiteX47433" fmla="*/ 5917062 w 6884782"/>
              <a:gd name="connsiteY47433" fmla="*/ 1695703 h 5973007"/>
              <a:gd name="connsiteX47434" fmla="*/ 5920264 w 6884782"/>
              <a:gd name="connsiteY47434" fmla="*/ 1693569 h 5973007"/>
              <a:gd name="connsiteX47435" fmla="*/ 5752942 w 6884782"/>
              <a:gd name="connsiteY47435" fmla="*/ 1693426 h 5973007"/>
              <a:gd name="connsiteX47436" fmla="*/ 5761480 w 6884782"/>
              <a:gd name="connsiteY47436" fmla="*/ 1696841 h 5973007"/>
              <a:gd name="connsiteX47437" fmla="*/ 5752942 w 6884782"/>
              <a:gd name="connsiteY47437" fmla="*/ 1708222 h 5973007"/>
              <a:gd name="connsiteX47438" fmla="*/ 5751235 w 6884782"/>
              <a:gd name="connsiteY47438" fmla="*/ 1706515 h 5973007"/>
              <a:gd name="connsiteX47439" fmla="*/ 5750382 w 6884782"/>
              <a:gd name="connsiteY47439" fmla="*/ 1708934 h 5973007"/>
              <a:gd name="connsiteX47440" fmla="*/ 5748247 w 6884782"/>
              <a:gd name="connsiteY47440" fmla="*/ 1711921 h 5973007"/>
              <a:gd name="connsiteX47441" fmla="*/ 5740138 w 6884782"/>
              <a:gd name="connsiteY47441" fmla="*/ 1709219 h 5973007"/>
              <a:gd name="connsiteX47442" fmla="*/ 5738643 w 6884782"/>
              <a:gd name="connsiteY47442" fmla="*/ 1705519 h 5973007"/>
              <a:gd name="connsiteX47443" fmla="*/ 5739497 w 6884782"/>
              <a:gd name="connsiteY47443" fmla="*/ 1698406 h 5973007"/>
              <a:gd name="connsiteX47444" fmla="*/ 5738430 w 6884782"/>
              <a:gd name="connsiteY47444" fmla="*/ 1698406 h 5973007"/>
              <a:gd name="connsiteX47445" fmla="*/ 5745259 w 6884782"/>
              <a:gd name="connsiteY47445" fmla="*/ 1697553 h 5973007"/>
              <a:gd name="connsiteX47446" fmla="*/ 5745900 w 6884782"/>
              <a:gd name="connsiteY47446" fmla="*/ 1698264 h 5973007"/>
              <a:gd name="connsiteX47447" fmla="*/ 5745473 w 6884782"/>
              <a:gd name="connsiteY47447" fmla="*/ 1697268 h 5973007"/>
              <a:gd name="connsiteX47448" fmla="*/ 5752942 w 6884782"/>
              <a:gd name="connsiteY47448" fmla="*/ 1693426 h 5973007"/>
              <a:gd name="connsiteX47449" fmla="*/ 1099266 w 6884782"/>
              <a:gd name="connsiteY47449" fmla="*/ 1693349 h 5973007"/>
              <a:gd name="connsiteX47450" fmla="*/ 1107010 w 6884782"/>
              <a:gd name="connsiteY47450" fmla="*/ 1698615 h 5973007"/>
              <a:gd name="connsiteX47451" fmla="*/ 1108766 w 6884782"/>
              <a:gd name="connsiteY47451" fmla="*/ 1700784 h 5973007"/>
              <a:gd name="connsiteX47452" fmla="*/ 1109385 w 6884782"/>
              <a:gd name="connsiteY47452" fmla="*/ 1701094 h 5973007"/>
              <a:gd name="connsiteX47453" fmla="*/ 1110624 w 6884782"/>
              <a:gd name="connsiteY47453" fmla="*/ 1703262 h 5973007"/>
              <a:gd name="connsiteX47454" fmla="*/ 1113825 w 6884782"/>
              <a:gd name="connsiteY47454" fmla="*/ 1707289 h 5973007"/>
              <a:gd name="connsiteX47455" fmla="*/ 1121260 w 6884782"/>
              <a:gd name="connsiteY47455" fmla="*/ 1708684 h 5973007"/>
              <a:gd name="connsiteX47456" fmla="*/ 1122292 w 6884782"/>
              <a:gd name="connsiteY47456" fmla="*/ 1709768 h 5973007"/>
              <a:gd name="connsiteX47457" fmla="*/ 1126629 w 6884782"/>
              <a:gd name="connsiteY47457" fmla="*/ 1709613 h 5973007"/>
              <a:gd name="connsiteX47458" fmla="*/ 1123634 w 6884782"/>
              <a:gd name="connsiteY47458" fmla="*/ 1715654 h 5973007"/>
              <a:gd name="connsiteX47459" fmla="*/ 1121982 w 6884782"/>
              <a:gd name="connsiteY47459" fmla="*/ 1714879 h 5973007"/>
              <a:gd name="connsiteX47460" fmla="*/ 1120950 w 6884782"/>
              <a:gd name="connsiteY47460" fmla="*/ 1712866 h 5973007"/>
              <a:gd name="connsiteX47461" fmla="*/ 1119091 w 6884782"/>
              <a:gd name="connsiteY47461" fmla="*/ 1713795 h 5973007"/>
              <a:gd name="connsiteX47462" fmla="*/ 1120021 w 6884782"/>
              <a:gd name="connsiteY47462" fmla="*/ 1714570 h 5973007"/>
              <a:gd name="connsiteX47463" fmla="*/ 1124667 w 6884782"/>
              <a:gd name="connsiteY47463" fmla="*/ 1721695 h 5973007"/>
              <a:gd name="connsiteX47464" fmla="*/ 1126629 w 6884782"/>
              <a:gd name="connsiteY47464" fmla="*/ 1726032 h 5973007"/>
              <a:gd name="connsiteX47465" fmla="*/ 1127661 w 6884782"/>
              <a:gd name="connsiteY47465" fmla="*/ 1724173 h 5973007"/>
              <a:gd name="connsiteX47466" fmla="*/ 1133340 w 6884782"/>
              <a:gd name="connsiteY47466" fmla="*/ 1719836 h 5973007"/>
              <a:gd name="connsiteX47467" fmla="*/ 1136851 w 6884782"/>
              <a:gd name="connsiteY47467" fmla="*/ 1726961 h 5973007"/>
              <a:gd name="connsiteX47468" fmla="*/ 1134476 w 6884782"/>
              <a:gd name="connsiteY47468" fmla="*/ 1731144 h 5973007"/>
              <a:gd name="connsiteX47469" fmla="*/ 1131172 w 6884782"/>
              <a:gd name="connsiteY47469" fmla="*/ 1732228 h 5973007"/>
              <a:gd name="connsiteX47470" fmla="*/ 1129623 w 6884782"/>
              <a:gd name="connsiteY47470" fmla="*/ 1733002 h 5973007"/>
              <a:gd name="connsiteX47471" fmla="*/ 1134889 w 6884782"/>
              <a:gd name="connsiteY47471" fmla="*/ 1746323 h 5973007"/>
              <a:gd name="connsiteX47472" fmla="*/ 1125596 w 6884782"/>
              <a:gd name="connsiteY47472" fmla="*/ 1748182 h 5973007"/>
              <a:gd name="connsiteX47473" fmla="*/ 1118265 w 6884782"/>
              <a:gd name="connsiteY47473" fmla="*/ 1726806 h 5973007"/>
              <a:gd name="connsiteX47474" fmla="*/ 1114548 w 6884782"/>
              <a:gd name="connsiteY47474" fmla="*/ 1715964 h 5973007"/>
              <a:gd name="connsiteX47475" fmla="*/ 1111657 w 6884782"/>
              <a:gd name="connsiteY47475" fmla="*/ 1717203 h 5973007"/>
              <a:gd name="connsiteX47476" fmla="*/ 1099576 w 6884782"/>
              <a:gd name="connsiteY47476" fmla="*/ 1718597 h 5973007"/>
              <a:gd name="connsiteX47477" fmla="*/ 1091831 w 6884782"/>
              <a:gd name="connsiteY47477" fmla="*/ 1716893 h 5973007"/>
              <a:gd name="connsiteX47478" fmla="*/ 1093587 w 6884782"/>
              <a:gd name="connsiteY47478" fmla="*/ 1713021 h 5973007"/>
              <a:gd name="connsiteX47479" fmla="*/ 1094310 w 6884782"/>
              <a:gd name="connsiteY47479" fmla="*/ 1712556 h 5973007"/>
              <a:gd name="connsiteX47480" fmla="*/ 1093277 w 6884782"/>
              <a:gd name="connsiteY47480" fmla="*/ 1712556 h 5973007"/>
              <a:gd name="connsiteX47481" fmla="*/ 1091212 w 6884782"/>
              <a:gd name="connsiteY47481" fmla="*/ 1712866 h 5973007"/>
              <a:gd name="connsiteX47482" fmla="*/ 1091212 w 6884782"/>
              <a:gd name="connsiteY47482" fmla="*/ 1711007 h 5973007"/>
              <a:gd name="connsiteX47483" fmla="*/ 1095549 w 6884782"/>
              <a:gd name="connsiteY47483" fmla="*/ 1710077 h 5973007"/>
              <a:gd name="connsiteX47484" fmla="*/ 1095962 w 6884782"/>
              <a:gd name="connsiteY47484" fmla="*/ 1709303 h 5973007"/>
              <a:gd name="connsiteX47485" fmla="*/ 1095342 w 6884782"/>
              <a:gd name="connsiteY47485" fmla="*/ 1707134 h 5973007"/>
              <a:gd name="connsiteX47486" fmla="*/ 1096788 w 6884782"/>
              <a:gd name="connsiteY47486" fmla="*/ 1701713 h 5973007"/>
              <a:gd name="connsiteX47487" fmla="*/ 1098956 w 6884782"/>
              <a:gd name="connsiteY47487" fmla="*/ 1700009 h 5973007"/>
              <a:gd name="connsiteX47488" fmla="*/ 1097717 w 6884782"/>
              <a:gd name="connsiteY47488" fmla="*/ 1696756 h 5973007"/>
              <a:gd name="connsiteX47489" fmla="*/ 1099266 w 6884782"/>
              <a:gd name="connsiteY47489" fmla="*/ 1693349 h 5973007"/>
              <a:gd name="connsiteX47490" fmla="*/ 1345119 w 6884782"/>
              <a:gd name="connsiteY47490" fmla="*/ 1693194 h 5973007"/>
              <a:gd name="connsiteX47491" fmla="*/ 1355651 w 6884782"/>
              <a:gd name="connsiteY47491" fmla="*/ 1708993 h 5973007"/>
              <a:gd name="connsiteX47492" fmla="*/ 1351004 w 6884782"/>
              <a:gd name="connsiteY47492" fmla="*/ 1725102 h 5973007"/>
              <a:gd name="connsiteX47493" fmla="*/ 1350592 w 6884782"/>
              <a:gd name="connsiteY47493" fmla="*/ 1719991 h 5973007"/>
              <a:gd name="connsiteX47494" fmla="*/ 1348630 w 6884782"/>
              <a:gd name="connsiteY47494" fmla="*/ 1717822 h 5973007"/>
              <a:gd name="connsiteX47495" fmla="*/ 1345945 w 6884782"/>
              <a:gd name="connsiteY47495" fmla="*/ 1710542 h 5973007"/>
              <a:gd name="connsiteX47496" fmla="*/ 1347081 w 6884782"/>
              <a:gd name="connsiteY47496" fmla="*/ 1709148 h 5973007"/>
              <a:gd name="connsiteX47497" fmla="*/ 1344499 w 6884782"/>
              <a:gd name="connsiteY47497" fmla="*/ 1701713 h 5973007"/>
              <a:gd name="connsiteX47498" fmla="*/ 1344190 w 6884782"/>
              <a:gd name="connsiteY47498" fmla="*/ 1697531 h 5973007"/>
              <a:gd name="connsiteX47499" fmla="*/ 1345119 w 6884782"/>
              <a:gd name="connsiteY47499" fmla="*/ 1693194 h 5973007"/>
              <a:gd name="connsiteX47500" fmla="*/ 1163698 w 6884782"/>
              <a:gd name="connsiteY47500" fmla="*/ 1692110 h 5973007"/>
              <a:gd name="connsiteX47501" fmla="*/ 1167002 w 6884782"/>
              <a:gd name="connsiteY47501" fmla="*/ 1695363 h 5973007"/>
              <a:gd name="connsiteX47502" fmla="*/ 1169687 w 6884782"/>
              <a:gd name="connsiteY47502" fmla="*/ 1695982 h 5973007"/>
              <a:gd name="connsiteX47503" fmla="*/ 1169584 w 6884782"/>
              <a:gd name="connsiteY47503" fmla="*/ 1696911 h 5973007"/>
              <a:gd name="connsiteX47504" fmla="*/ 1159155 w 6884782"/>
              <a:gd name="connsiteY47504" fmla="*/ 1695672 h 5973007"/>
              <a:gd name="connsiteX47505" fmla="*/ 1158225 w 6884782"/>
              <a:gd name="connsiteY47505" fmla="*/ 1694278 h 5973007"/>
              <a:gd name="connsiteX47506" fmla="*/ 1159258 w 6884782"/>
              <a:gd name="connsiteY47506" fmla="*/ 1692265 h 5973007"/>
              <a:gd name="connsiteX47507" fmla="*/ 1163698 w 6884782"/>
              <a:gd name="connsiteY47507" fmla="*/ 1692110 h 5973007"/>
              <a:gd name="connsiteX47508" fmla="*/ 4857860 w 6884782"/>
              <a:gd name="connsiteY47508" fmla="*/ 1692004 h 5973007"/>
              <a:gd name="connsiteX47509" fmla="*/ 4858073 w 6884782"/>
              <a:gd name="connsiteY47509" fmla="*/ 1692716 h 5973007"/>
              <a:gd name="connsiteX47510" fmla="*/ 4857647 w 6884782"/>
              <a:gd name="connsiteY47510" fmla="*/ 1694138 h 5973007"/>
              <a:gd name="connsiteX47511" fmla="*/ 4856580 w 6884782"/>
              <a:gd name="connsiteY47511" fmla="*/ 1693996 h 5973007"/>
              <a:gd name="connsiteX47512" fmla="*/ 4857860 w 6884782"/>
              <a:gd name="connsiteY47512" fmla="*/ 1692004 h 5973007"/>
              <a:gd name="connsiteX47513" fmla="*/ 4886032 w 6884782"/>
              <a:gd name="connsiteY47513" fmla="*/ 1691434 h 5973007"/>
              <a:gd name="connsiteX47514" fmla="*/ 4892648 w 6884782"/>
              <a:gd name="connsiteY47514" fmla="*/ 1692289 h 5973007"/>
              <a:gd name="connsiteX47515" fmla="*/ 4909081 w 6884782"/>
              <a:gd name="connsiteY47515" fmla="*/ 1703670 h 5973007"/>
              <a:gd name="connsiteX47516" fmla="*/ 4912496 w 6884782"/>
              <a:gd name="connsiteY47516" fmla="*/ 1707227 h 5973007"/>
              <a:gd name="connsiteX47517" fmla="*/ 4913990 w 6884782"/>
              <a:gd name="connsiteY47517" fmla="*/ 1707654 h 5973007"/>
              <a:gd name="connsiteX47518" fmla="*/ 4918258 w 6884782"/>
              <a:gd name="connsiteY47518" fmla="*/ 1709503 h 5973007"/>
              <a:gd name="connsiteX47519" fmla="*/ 4918898 w 6884782"/>
              <a:gd name="connsiteY47519" fmla="*/ 1711495 h 5973007"/>
              <a:gd name="connsiteX47520" fmla="*/ 4915911 w 6884782"/>
              <a:gd name="connsiteY47520" fmla="*/ 1711068 h 5973007"/>
              <a:gd name="connsiteX47521" fmla="*/ 4916764 w 6884782"/>
              <a:gd name="connsiteY47521" fmla="*/ 1711921 h 5973007"/>
              <a:gd name="connsiteX47522" fmla="*/ 4926368 w 6884782"/>
              <a:gd name="connsiteY47522" fmla="*/ 1720315 h 5973007"/>
              <a:gd name="connsiteX47523" fmla="*/ 4912069 w 6884782"/>
              <a:gd name="connsiteY47523" fmla="*/ 1728567 h 5973007"/>
              <a:gd name="connsiteX47524" fmla="*/ 4908227 w 6884782"/>
              <a:gd name="connsiteY47524" fmla="*/ 1733262 h 5973007"/>
              <a:gd name="connsiteX47525" fmla="*/ 4909295 w 6884782"/>
              <a:gd name="connsiteY47525" fmla="*/ 1734258 h 5973007"/>
              <a:gd name="connsiteX47526" fmla="*/ 4909508 w 6884782"/>
              <a:gd name="connsiteY47526" fmla="*/ 1733973 h 5973007"/>
              <a:gd name="connsiteX47527" fmla="*/ 4913563 w 6884782"/>
              <a:gd name="connsiteY47527" fmla="*/ 1741798 h 5973007"/>
              <a:gd name="connsiteX47528" fmla="*/ 4901825 w 6884782"/>
              <a:gd name="connsiteY47528" fmla="*/ 1741229 h 5973007"/>
              <a:gd name="connsiteX47529" fmla="*/ 4901184 w 6884782"/>
              <a:gd name="connsiteY47529" fmla="*/ 1740802 h 5973007"/>
              <a:gd name="connsiteX47530" fmla="*/ 4897343 w 6884782"/>
              <a:gd name="connsiteY47530" fmla="*/ 1743078 h 5973007"/>
              <a:gd name="connsiteX47531" fmla="*/ 4891794 w 6884782"/>
              <a:gd name="connsiteY47531" fmla="*/ 1743790 h 5973007"/>
              <a:gd name="connsiteX47532" fmla="*/ 4883471 w 6884782"/>
              <a:gd name="connsiteY47532" fmla="*/ 1741798 h 5973007"/>
              <a:gd name="connsiteX47533" fmla="*/ 4883044 w 6884782"/>
              <a:gd name="connsiteY47533" fmla="*/ 1744359 h 5973007"/>
              <a:gd name="connsiteX47534" fmla="*/ 4877708 w 6884782"/>
              <a:gd name="connsiteY47534" fmla="*/ 1739095 h 5973007"/>
              <a:gd name="connsiteX47535" fmla="*/ 4877922 w 6884782"/>
              <a:gd name="connsiteY47535" fmla="*/ 1738810 h 5973007"/>
              <a:gd name="connsiteX47536" fmla="*/ 4873227 w 6884782"/>
              <a:gd name="connsiteY47536" fmla="*/ 1734969 h 5973007"/>
              <a:gd name="connsiteX47537" fmla="*/ 4871092 w 6884782"/>
              <a:gd name="connsiteY47537" fmla="*/ 1743505 h 5973007"/>
              <a:gd name="connsiteX47538" fmla="*/ 4867464 w 6884782"/>
              <a:gd name="connsiteY47538" fmla="*/ 1752041 h 5973007"/>
              <a:gd name="connsiteX47539" fmla="*/ 4858714 w 6884782"/>
              <a:gd name="connsiteY47539" fmla="*/ 1764845 h 5973007"/>
              <a:gd name="connsiteX47540" fmla="*/ 4858287 w 6884782"/>
              <a:gd name="connsiteY47540" fmla="*/ 1764845 h 5973007"/>
              <a:gd name="connsiteX47541" fmla="*/ 4856366 w 6884782"/>
              <a:gd name="connsiteY47541" fmla="*/ 1767691 h 5973007"/>
              <a:gd name="connsiteX47542" fmla="*/ 4846549 w 6884782"/>
              <a:gd name="connsiteY47542" fmla="*/ 1767833 h 5973007"/>
              <a:gd name="connsiteX47543" fmla="*/ 4850817 w 6884782"/>
              <a:gd name="connsiteY47543" fmla="*/ 1761573 h 5973007"/>
              <a:gd name="connsiteX47544" fmla="*/ 4848257 w 6884782"/>
              <a:gd name="connsiteY47544" fmla="*/ 1759582 h 5973007"/>
              <a:gd name="connsiteX47545" fmla="*/ 4846762 w 6884782"/>
              <a:gd name="connsiteY47545" fmla="*/ 1749338 h 5973007"/>
              <a:gd name="connsiteX47546" fmla="*/ 4846976 w 6884782"/>
              <a:gd name="connsiteY47546" fmla="*/ 1748058 h 5973007"/>
              <a:gd name="connsiteX47547" fmla="*/ 4832890 w 6884782"/>
              <a:gd name="connsiteY47547" fmla="*/ 1748484 h 5973007"/>
              <a:gd name="connsiteX47548" fmla="*/ 4828835 w 6884782"/>
              <a:gd name="connsiteY47548" fmla="*/ 1748911 h 5973007"/>
              <a:gd name="connsiteX47549" fmla="*/ 4828195 w 6884782"/>
              <a:gd name="connsiteY47549" fmla="*/ 1750192 h 5973007"/>
              <a:gd name="connsiteX47550" fmla="*/ 4824993 w 6884782"/>
              <a:gd name="connsiteY47550" fmla="*/ 1753891 h 5973007"/>
              <a:gd name="connsiteX47551" fmla="*/ 4821792 w 6884782"/>
              <a:gd name="connsiteY47551" fmla="*/ 1750476 h 5973007"/>
              <a:gd name="connsiteX47552" fmla="*/ 4821579 w 6884782"/>
              <a:gd name="connsiteY47552" fmla="*/ 1749765 h 5973007"/>
              <a:gd name="connsiteX47553" fmla="*/ 4820939 w 6884782"/>
              <a:gd name="connsiteY47553" fmla="*/ 1749765 h 5973007"/>
              <a:gd name="connsiteX47554" fmla="*/ 4821365 w 6884782"/>
              <a:gd name="connsiteY47554" fmla="*/ 1749196 h 5973007"/>
              <a:gd name="connsiteX47555" fmla="*/ 4820939 w 6884782"/>
              <a:gd name="connsiteY47555" fmla="*/ 1747773 h 5973007"/>
              <a:gd name="connsiteX47556" fmla="*/ 4821152 w 6884782"/>
              <a:gd name="connsiteY47556" fmla="*/ 1743932 h 5973007"/>
              <a:gd name="connsiteX47557" fmla="*/ 4822860 w 6884782"/>
              <a:gd name="connsiteY47557" fmla="*/ 1741655 h 5973007"/>
              <a:gd name="connsiteX47558" fmla="*/ 4824993 w 6884782"/>
              <a:gd name="connsiteY47558" fmla="*/ 1738953 h 5973007"/>
              <a:gd name="connsiteX47559" fmla="*/ 4825634 w 6884782"/>
              <a:gd name="connsiteY47559" fmla="*/ 1738810 h 5973007"/>
              <a:gd name="connsiteX47560" fmla="*/ 4826060 w 6884782"/>
              <a:gd name="connsiteY47560" fmla="*/ 1736818 h 5973007"/>
              <a:gd name="connsiteX47561" fmla="*/ 4826060 w 6884782"/>
              <a:gd name="connsiteY47561" fmla="*/ 1723872 h 5973007"/>
              <a:gd name="connsiteX47562" fmla="*/ 4823713 w 6884782"/>
              <a:gd name="connsiteY47562" fmla="*/ 1723730 h 5973007"/>
              <a:gd name="connsiteX47563" fmla="*/ 4817951 w 6884782"/>
              <a:gd name="connsiteY47563" fmla="*/ 1721169 h 5973007"/>
              <a:gd name="connsiteX47564" fmla="*/ 4824780 w 6884782"/>
              <a:gd name="connsiteY47564" fmla="*/ 1712491 h 5973007"/>
              <a:gd name="connsiteX47565" fmla="*/ 4827555 w 6884782"/>
              <a:gd name="connsiteY47565" fmla="*/ 1712775 h 5973007"/>
              <a:gd name="connsiteX47566" fmla="*/ 4828408 w 6884782"/>
              <a:gd name="connsiteY47566" fmla="*/ 1710499 h 5973007"/>
              <a:gd name="connsiteX47567" fmla="*/ 4831823 w 6884782"/>
              <a:gd name="connsiteY47567" fmla="*/ 1705519 h 5973007"/>
              <a:gd name="connsiteX47568" fmla="*/ 4866397 w 6884782"/>
              <a:gd name="connsiteY47568" fmla="*/ 1704097 h 5973007"/>
              <a:gd name="connsiteX47569" fmla="*/ 4867037 w 6884782"/>
              <a:gd name="connsiteY47569" fmla="*/ 1704808 h 5973007"/>
              <a:gd name="connsiteX47570" fmla="*/ 4868744 w 6884782"/>
              <a:gd name="connsiteY47570" fmla="*/ 1701820 h 5973007"/>
              <a:gd name="connsiteX47571" fmla="*/ 4866397 w 6884782"/>
              <a:gd name="connsiteY47571" fmla="*/ 1701678 h 5973007"/>
              <a:gd name="connsiteX47572" fmla="*/ 4864690 w 6884782"/>
              <a:gd name="connsiteY47572" fmla="*/ 1694280 h 5973007"/>
              <a:gd name="connsiteX47573" fmla="*/ 4871092 w 6884782"/>
              <a:gd name="connsiteY47573" fmla="*/ 1694138 h 5973007"/>
              <a:gd name="connsiteX47574" fmla="*/ 4873653 w 6884782"/>
              <a:gd name="connsiteY47574" fmla="*/ 1695845 h 5973007"/>
              <a:gd name="connsiteX47575" fmla="*/ 4880270 w 6884782"/>
              <a:gd name="connsiteY47575" fmla="*/ 1692004 h 5973007"/>
              <a:gd name="connsiteX47576" fmla="*/ 4886032 w 6884782"/>
              <a:gd name="connsiteY47576" fmla="*/ 1691434 h 5973007"/>
              <a:gd name="connsiteX47577" fmla="*/ 4794688 w 6884782"/>
              <a:gd name="connsiteY47577" fmla="*/ 1691292 h 5973007"/>
              <a:gd name="connsiteX47578" fmla="*/ 4797463 w 6884782"/>
              <a:gd name="connsiteY47578" fmla="*/ 1695418 h 5973007"/>
              <a:gd name="connsiteX47579" fmla="*/ 4797463 w 6884782"/>
              <a:gd name="connsiteY47579" fmla="*/ 1696556 h 5973007"/>
              <a:gd name="connsiteX47580" fmla="*/ 4798530 w 6884782"/>
              <a:gd name="connsiteY47580" fmla="*/ 1695561 h 5973007"/>
              <a:gd name="connsiteX47581" fmla="*/ 4799383 w 6884782"/>
              <a:gd name="connsiteY47581" fmla="*/ 1692573 h 5973007"/>
              <a:gd name="connsiteX47582" fmla="*/ 4802585 w 6884782"/>
              <a:gd name="connsiteY47582" fmla="*/ 1691577 h 5973007"/>
              <a:gd name="connsiteX47583" fmla="*/ 4803438 w 6884782"/>
              <a:gd name="connsiteY47583" fmla="*/ 1692289 h 5973007"/>
              <a:gd name="connsiteX47584" fmla="*/ 4802798 w 6884782"/>
              <a:gd name="connsiteY47584" fmla="*/ 1694849 h 5973007"/>
              <a:gd name="connsiteX47585" fmla="*/ 4795542 w 6884782"/>
              <a:gd name="connsiteY47585" fmla="*/ 1704666 h 5973007"/>
              <a:gd name="connsiteX47586" fmla="*/ 4794261 w 6884782"/>
              <a:gd name="connsiteY47586" fmla="*/ 1706800 h 5973007"/>
              <a:gd name="connsiteX47587" fmla="*/ 4791060 w 6884782"/>
              <a:gd name="connsiteY47587" fmla="*/ 1707654 h 5973007"/>
              <a:gd name="connsiteX47588" fmla="*/ 4792127 w 6884782"/>
              <a:gd name="connsiteY47588" fmla="*/ 1701820 h 5973007"/>
              <a:gd name="connsiteX47589" fmla="*/ 4795968 w 6884782"/>
              <a:gd name="connsiteY47589" fmla="*/ 1697695 h 5973007"/>
              <a:gd name="connsiteX47590" fmla="*/ 4794688 w 6884782"/>
              <a:gd name="connsiteY47590" fmla="*/ 1695703 h 5973007"/>
              <a:gd name="connsiteX47591" fmla="*/ 4794688 w 6884782"/>
              <a:gd name="connsiteY47591" fmla="*/ 1691292 h 5973007"/>
              <a:gd name="connsiteX47592" fmla="*/ 5647087 w 6884782"/>
              <a:gd name="connsiteY47592" fmla="*/ 1691150 h 5973007"/>
              <a:gd name="connsiteX47593" fmla="*/ 5650928 w 6884782"/>
              <a:gd name="connsiteY47593" fmla="*/ 1693142 h 5973007"/>
              <a:gd name="connsiteX47594" fmla="*/ 5651142 w 6884782"/>
              <a:gd name="connsiteY47594" fmla="*/ 1697410 h 5973007"/>
              <a:gd name="connsiteX47595" fmla="*/ 5648154 w 6884782"/>
              <a:gd name="connsiteY47595" fmla="*/ 1700825 h 5973007"/>
              <a:gd name="connsiteX47596" fmla="*/ 5640897 w 6884782"/>
              <a:gd name="connsiteY47596" fmla="*/ 1693711 h 5973007"/>
              <a:gd name="connsiteX47597" fmla="*/ 5647087 w 6884782"/>
              <a:gd name="connsiteY47597" fmla="*/ 1691150 h 5973007"/>
              <a:gd name="connsiteX47598" fmla="*/ 4970546 w 6884782"/>
              <a:gd name="connsiteY47598" fmla="*/ 1690866 h 5973007"/>
              <a:gd name="connsiteX47599" fmla="*/ 4976095 w 6884782"/>
              <a:gd name="connsiteY47599" fmla="*/ 1699117 h 5973007"/>
              <a:gd name="connsiteX47600" fmla="*/ 4975454 w 6884782"/>
              <a:gd name="connsiteY47600" fmla="*/ 1701252 h 5973007"/>
              <a:gd name="connsiteX47601" fmla="*/ 4970546 w 6884782"/>
              <a:gd name="connsiteY47601" fmla="*/ 1690866 h 5973007"/>
              <a:gd name="connsiteX47602" fmla="*/ 1064365 w 6884782"/>
              <a:gd name="connsiteY47602" fmla="*/ 1690561 h 5973007"/>
              <a:gd name="connsiteX47603" fmla="*/ 1065914 w 6884782"/>
              <a:gd name="connsiteY47603" fmla="*/ 1694743 h 5973007"/>
              <a:gd name="connsiteX47604" fmla="*/ 1063333 w 6884782"/>
              <a:gd name="connsiteY47604" fmla="*/ 1691490 h 5973007"/>
              <a:gd name="connsiteX47605" fmla="*/ 1064365 w 6884782"/>
              <a:gd name="connsiteY47605" fmla="*/ 1690561 h 5973007"/>
              <a:gd name="connsiteX47606" fmla="*/ 5022407 w 6884782"/>
              <a:gd name="connsiteY47606" fmla="*/ 1690439 h 5973007"/>
              <a:gd name="connsiteX47607" fmla="*/ 5027316 w 6884782"/>
              <a:gd name="connsiteY47607" fmla="*/ 1691292 h 5973007"/>
              <a:gd name="connsiteX47608" fmla="*/ 5027742 w 6884782"/>
              <a:gd name="connsiteY47608" fmla="*/ 1694849 h 5973007"/>
              <a:gd name="connsiteX47609" fmla="*/ 5021767 w 6884782"/>
              <a:gd name="connsiteY47609" fmla="*/ 1694138 h 5973007"/>
              <a:gd name="connsiteX47610" fmla="*/ 5022407 w 6884782"/>
              <a:gd name="connsiteY47610" fmla="*/ 1690439 h 5973007"/>
              <a:gd name="connsiteX47611" fmla="*/ 4679228 w 6884782"/>
              <a:gd name="connsiteY47611" fmla="*/ 1690297 h 5973007"/>
              <a:gd name="connsiteX47612" fmla="*/ 4684777 w 6884782"/>
              <a:gd name="connsiteY47612" fmla="*/ 1693426 h 5973007"/>
              <a:gd name="connsiteX47613" fmla="*/ 4674106 w 6884782"/>
              <a:gd name="connsiteY47613" fmla="*/ 1694849 h 5973007"/>
              <a:gd name="connsiteX47614" fmla="*/ 4679228 w 6884782"/>
              <a:gd name="connsiteY47614" fmla="*/ 1690297 h 5973007"/>
              <a:gd name="connsiteX47615" fmla="*/ 5010669 w 6884782"/>
              <a:gd name="connsiteY47615" fmla="*/ 1690012 h 5973007"/>
              <a:gd name="connsiteX47616" fmla="*/ 5014724 w 6884782"/>
              <a:gd name="connsiteY47616" fmla="*/ 1691008 h 5973007"/>
              <a:gd name="connsiteX47617" fmla="*/ 5014724 w 6884782"/>
              <a:gd name="connsiteY47617" fmla="*/ 1692146 h 5973007"/>
              <a:gd name="connsiteX47618" fmla="*/ 5008962 w 6884782"/>
              <a:gd name="connsiteY47618" fmla="*/ 1692431 h 5973007"/>
              <a:gd name="connsiteX47619" fmla="*/ 5010669 w 6884782"/>
              <a:gd name="connsiteY47619" fmla="*/ 1690012 h 5973007"/>
              <a:gd name="connsiteX47620" fmla="*/ 4715296 w 6884782"/>
              <a:gd name="connsiteY47620" fmla="*/ 1690012 h 5973007"/>
              <a:gd name="connsiteX47621" fmla="*/ 4718497 w 6884782"/>
              <a:gd name="connsiteY47621" fmla="*/ 1690439 h 5973007"/>
              <a:gd name="connsiteX47622" fmla="*/ 4728741 w 6884782"/>
              <a:gd name="connsiteY47622" fmla="*/ 1696841 h 5973007"/>
              <a:gd name="connsiteX47623" fmla="*/ 4720205 w 6884782"/>
              <a:gd name="connsiteY47623" fmla="*/ 1704950 h 5973007"/>
              <a:gd name="connsiteX47624" fmla="*/ 4718924 w 6884782"/>
              <a:gd name="connsiteY47624" fmla="*/ 1704381 h 5973007"/>
              <a:gd name="connsiteX47625" fmla="*/ 4708893 w 6884782"/>
              <a:gd name="connsiteY47625" fmla="*/ 1695134 h 5973007"/>
              <a:gd name="connsiteX47626" fmla="*/ 4715296 w 6884782"/>
              <a:gd name="connsiteY47626" fmla="*/ 1690012 h 5973007"/>
              <a:gd name="connsiteX47627" fmla="*/ 1276557 w 6884782"/>
              <a:gd name="connsiteY47627" fmla="*/ 1689786 h 5973007"/>
              <a:gd name="connsiteX47628" fmla="*/ 1273356 w 6884782"/>
              <a:gd name="connsiteY47628" fmla="*/ 1695363 h 5973007"/>
              <a:gd name="connsiteX47629" fmla="*/ 1273046 w 6884782"/>
              <a:gd name="connsiteY47629" fmla="*/ 1694123 h 5973007"/>
              <a:gd name="connsiteX47630" fmla="*/ 1274079 w 6884782"/>
              <a:gd name="connsiteY47630" fmla="*/ 1692729 h 5973007"/>
              <a:gd name="connsiteX47631" fmla="*/ 1276557 w 6884782"/>
              <a:gd name="connsiteY47631" fmla="*/ 1689786 h 5973007"/>
              <a:gd name="connsiteX47632" fmla="*/ 1251053 w 6884782"/>
              <a:gd name="connsiteY47632" fmla="*/ 1689631 h 5973007"/>
              <a:gd name="connsiteX47633" fmla="*/ 1253531 w 6884782"/>
              <a:gd name="connsiteY47633" fmla="*/ 1691955 h 5973007"/>
              <a:gd name="connsiteX47634" fmla="*/ 1248368 w 6884782"/>
              <a:gd name="connsiteY47634" fmla="*/ 1693813 h 5973007"/>
              <a:gd name="connsiteX47635" fmla="*/ 1251053 w 6884782"/>
              <a:gd name="connsiteY47635" fmla="*/ 1689631 h 5973007"/>
              <a:gd name="connsiteX47636" fmla="*/ 766484 w 6884782"/>
              <a:gd name="connsiteY47636" fmla="*/ 1689554 h 5973007"/>
              <a:gd name="connsiteX47637" fmla="*/ 771221 w 6884782"/>
              <a:gd name="connsiteY47637" fmla="*/ 1694123 h 5973007"/>
              <a:gd name="connsiteX47638" fmla="*/ 769053 w 6884782"/>
              <a:gd name="connsiteY47638" fmla="*/ 1700784 h 5973007"/>
              <a:gd name="connsiteX47639" fmla="*/ 756765 w 6884782"/>
              <a:gd name="connsiteY47639" fmla="*/ 1694278 h 5973007"/>
              <a:gd name="connsiteX47640" fmla="*/ 759657 w 6884782"/>
              <a:gd name="connsiteY47640" fmla="*/ 1690096 h 5973007"/>
              <a:gd name="connsiteX47641" fmla="*/ 766484 w 6884782"/>
              <a:gd name="connsiteY47641" fmla="*/ 1689554 h 5973007"/>
              <a:gd name="connsiteX47642" fmla="*/ 1487819 w 6884782"/>
              <a:gd name="connsiteY47642" fmla="*/ 1689476 h 5973007"/>
              <a:gd name="connsiteX47643" fmla="*/ 1491743 w 6884782"/>
              <a:gd name="connsiteY47643" fmla="*/ 1689941 h 5973007"/>
              <a:gd name="connsiteX47644" fmla="*/ 1496183 w 6884782"/>
              <a:gd name="connsiteY47644" fmla="*/ 1694433 h 5973007"/>
              <a:gd name="connsiteX47645" fmla="*/ 1492259 w 6884782"/>
              <a:gd name="connsiteY47645" fmla="*/ 1700939 h 5973007"/>
              <a:gd name="connsiteX47646" fmla="*/ 1492156 w 6884782"/>
              <a:gd name="connsiteY47646" fmla="*/ 1700939 h 5973007"/>
              <a:gd name="connsiteX47647" fmla="*/ 1493189 w 6884782"/>
              <a:gd name="connsiteY47647" fmla="*/ 1701094 h 5973007"/>
              <a:gd name="connsiteX47648" fmla="*/ 1492362 w 6884782"/>
              <a:gd name="connsiteY47648" fmla="*/ 1701248 h 5973007"/>
              <a:gd name="connsiteX47649" fmla="*/ 1491846 w 6884782"/>
              <a:gd name="connsiteY47649" fmla="*/ 1701094 h 5973007"/>
              <a:gd name="connsiteX47650" fmla="*/ 1489265 w 6884782"/>
              <a:gd name="connsiteY47650" fmla="*/ 1702488 h 5973007"/>
              <a:gd name="connsiteX47651" fmla="*/ 1489884 w 6884782"/>
              <a:gd name="connsiteY47651" fmla="*/ 1704191 h 5973007"/>
              <a:gd name="connsiteX47652" fmla="*/ 1489058 w 6884782"/>
              <a:gd name="connsiteY47652" fmla="*/ 1702488 h 5973007"/>
              <a:gd name="connsiteX47653" fmla="*/ 1488232 w 6884782"/>
              <a:gd name="connsiteY47653" fmla="*/ 1702952 h 5973007"/>
              <a:gd name="connsiteX47654" fmla="*/ 1484618 w 6884782"/>
              <a:gd name="connsiteY47654" fmla="*/ 1703107 h 5973007"/>
              <a:gd name="connsiteX47655" fmla="*/ 1480591 w 6884782"/>
              <a:gd name="connsiteY47655" fmla="*/ 1697531 h 5973007"/>
              <a:gd name="connsiteX47656" fmla="*/ 1487819 w 6884782"/>
              <a:gd name="connsiteY47656" fmla="*/ 1689476 h 5973007"/>
              <a:gd name="connsiteX47657" fmla="*/ 5326743 w 6884782"/>
              <a:gd name="connsiteY47657" fmla="*/ 1688874 h 5973007"/>
              <a:gd name="connsiteX47658" fmla="*/ 5330158 w 6884782"/>
              <a:gd name="connsiteY47658" fmla="*/ 1690724 h 5973007"/>
              <a:gd name="connsiteX47659" fmla="*/ 5329945 w 6884782"/>
              <a:gd name="connsiteY47659" fmla="*/ 1695134 h 5973007"/>
              <a:gd name="connsiteX47660" fmla="*/ 5326316 w 6884782"/>
              <a:gd name="connsiteY47660" fmla="*/ 1698690 h 5973007"/>
              <a:gd name="connsiteX47661" fmla="*/ 5320128 w 6884782"/>
              <a:gd name="connsiteY47661" fmla="*/ 1691577 h 5973007"/>
              <a:gd name="connsiteX47662" fmla="*/ 5326743 w 6884782"/>
              <a:gd name="connsiteY47662" fmla="*/ 1688874 h 5973007"/>
              <a:gd name="connsiteX47663" fmla="*/ 1262307 w 6884782"/>
              <a:gd name="connsiteY47663" fmla="*/ 1688702 h 5973007"/>
              <a:gd name="connsiteX47664" fmla="*/ 1269948 w 6884782"/>
              <a:gd name="connsiteY47664" fmla="*/ 1696601 h 5973007"/>
              <a:gd name="connsiteX47665" fmla="*/ 1267057 w 6884782"/>
              <a:gd name="connsiteY47665" fmla="*/ 1699544 h 5973007"/>
              <a:gd name="connsiteX47666" fmla="*/ 1262307 w 6884782"/>
              <a:gd name="connsiteY47666" fmla="*/ 1688702 h 5973007"/>
              <a:gd name="connsiteX47667" fmla="*/ 1588958 w 6884782"/>
              <a:gd name="connsiteY47667" fmla="*/ 1688682 h 5973007"/>
              <a:gd name="connsiteX47668" fmla="*/ 1589836 w 6884782"/>
              <a:gd name="connsiteY47668" fmla="*/ 1693659 h 5973007"/>
              <a:gd name="connsiteX47669" fmla="*/ 1585293 w 6884782"/>
              <a:gd name="connsiteY47669" fmla="*/ 1691490 h 5973007"/>
              <a:gd name="connsiteX47670" fmla="*/ 1588958 w 6884782"/>
              <a:gd name="connsiteY47670" fmla="*/ 1688682 h 5973007"/>
              <a:gd name="connsiteX47671" fmla="*/ 4030645 w 6884782"/>
              <a:gd name="connsiteY47671" fmla="*/ 1688163 h 5973007"/>
              <a:gd name="connsiteX47672" fmla="*/ 4034487 w 6884782"/>
              <a:gd name="connsiteY47672" fmla="*/ 1689443 h 5973007"/>
              <a:gd name="connsiteX47673" fmla="*/ 4034487 w 6884782"/>
              <a:gd name="connsiteY47673" fmla="*/ 1690154 h 5973007"/>
              <a:gd name="connsiteX47674" fmla="*/ 4034701 w 6884782"/>
              <a:gd name="connsiteY47674" fmla="*/ 1690012 h 5973007"/>
              <a:gd name="connsiteX47675" fmla="*/ 4038968 w 6884782"/>
              <a:gd name="connsiteY47675" fmla="*/ 1688447 h 5973007"/>
              <a:gd name="connsiteX47676" fmla="*/ 4031712 w 6884782"/>
              <a:gd name="connsiteY47676" fmla="*/ 1693284 h 5973007"/>
              <a:gd name="connsiteX47677" fmla="*/ 4030005 w 6884782"/>
              <a:gd name="connsiteY47677" fmla="*/ 1692858 h 5973007"/>
              <a:gd name="connsiteX47678" fmla="*/ 4031072 w 6884782"/>
              <a:gd name="connsiteY47678" fmla="*/ 1692289 h 5973007"/>
              <a:gd name="connsiteX47679" fmla="*/ 4028725 w 6884782"/>
              <a:gd name="connsiteY47679" fmla="*/ 1690439 h 5973007"/>
              <a:gd name="connsiteX47680" fmla="*/ 4030645 w 6884782"/>
              <a:gd name="connsiteY47680" fmla="*/ 1688163 h 5973007"/>
              <a:gd name="connsiteX47681" fmla="*/ 3937381 w 6884782"/>
              <a:gd name="connsiteY47681" fmla="*/ 1687878 h 5973007"/>
              <a:gd name="connsiteX47682" fmla="*/ 3943570 w 6884782"/>
              <a:gd name="connsiteY47682" fmla="*/ 1693711 h 5973007"/>
              <a:gd name="connsiteX47683" fmla="*/ 3942503 w 6884782"/>
              <a:gd name="connsiteY47683" fmla="*/ 1706089 h 5973007"/>
              <a:gd name="connsiteX47684" fmla="*/ 3934179 w 6884782"/>
              <a:gd name="connsiteY47684" fmla="*/ 1688305 h 5973007"/>
              <a:gd name="connsiteX47685" fmla="*/ 3937381 w 6884782"/>
              <a:gd name="connsiteY47685" fmla="*/ 1687878 h 5973007"/>
              <a:gd name="connsiteX47686" fmla="*/ 4959235 w 6884782"/>
              <a:gd name="connsiteY47686" fmla="*/ 1687736 h 5973007"/>
              <a:gd name="connsiteX47687" fmla="*/ 4962863 w 6884782"/>
              <a:gd name="connsiteY47687" fmla="*/ 1687736 h 5973007"/>
              <a:gd name="connsiteX47688" fmla="*/ 4966918 w 6884782"/>
              <a:gd name="connsiteY47688" fmla="*/ 1690866 h 5973007"/>
              <a:gd name="connsiteX47689" fmla="*/ 4963503 w 6884782"/>
              <a:gd name="connsiteY47689" fmla="*/ 1697979 h 5973007"/>
              <a:gd name="connsiteX47690" fmla="*/ 4951552 w 6884782"/>
              <a:gd name="connsiteY47690" fmla="*/ 1695561 h 5973007"/>
              <a:gd name="connsiteX47691" fmla="*/ 4959235 w 6884782"/>
              <a:gd name="connsiteY47691" fmla="*/ 1687736 h 5973007"/>
              <a:gd name="connsiteX47692" fmla="*/ 1634236 w 6884782"/>
              <a:gd name="connsiteY47692" fmla="*/ 1687463 h 5973007"/>
              <a:gd name="connsiteX47693" fmla="*/ 1642187 w 6884782"/>
              <a:gd name="connsiteY47693" fmla="*/ 1698151 h 5973007"/>
              <a:gd name="connsiteX47694" fmla="*/ 1630623 w 6884782"/>
              <a:gd name="connsiteY47694" fmla="*/ 1691955 h 5973007"/>
              <a:gd name="connsiteX47695" fmla="*/ 1634236 w 6884782"/>
              <a:gd name="connsiteY47695" fmla="*/ 1687463 h 5973007"/>
              <a:gd name="connsiteX47696" fmla="*/ 1077066 w 6884782"/>
              <a:gd name="connsiteY47696" fmla="*/ 1687463 h 5973007"/>
              <a:gd name="connsiteX47697" fmla="*/ 1084397 w 6884782"/>
              <a:gd name="connsiteY47697" fmla="*/ 1693194 h 5973007"/>
              <a:gd name="connsiteX47698" fmla="*/ 1077066 w 6884782"/>
              <a:gd name="connsiteY47698" fmla="*/ 1687463 h 5973007"/>
              <a:gd name="connsiteX47699" fmla="*/ 5612939 w 6884782"/>
              <a:gd name="connsiteY47699" fmla="*/ 1686882 h 5973007"/>
              <a:gd name="connsiteX47700" fmla="*/ 5622543 w 6884782"/>
              <a:gd name="connsiteY47700" fmla="*/ 1692716 h 5973007"/>
              <a:gd name="connsiteX47701" fmla="*/ 5612726 w 6884782"/>
              <a:gd name="connsiteY47701" fmla="*/ 1705377 h 5973007"/>
              <a:gd name="connsiteX47702" fmla="*/ 5612939 w 6884782"/>
              <a:gd name="connsiteY47702" fmla="*/ 1686882 h 5973007"/>
              <a:gd name="connsiteX47703" fmla="*/ 1200457 w 6884782"/>
              <a:gd name="connsiteY47703" fmla="*/ 1686688 h 5973007"/>
              <a:gd name="connsiteX47704" fmla="*/ 1195810 w 6884782"/>
              <a:gd name="connsiteY47704" fmla="*/ 1692574 h 5973007"/>
              <a:gd name="connsiteX47705" fmla="*/ 1188996 w 6884782"/>
              <a:gd name="connsiteY47705" fmla="*/ 1688857 h 5973007"/>
              <a:gd name="connsiteX47706" fmla="*/ 1200457 w 6884782"/>
              <a:gd name="connsiteY47706" fmla="*/ 1686688 h 5973007"/>
              <a:gd name="connsiteX47707" fmla="*/ 1558653 w 6884782"/>
              <a:gd name="connsiteY47707" fmla="*/ 1686378 h 5973007"/>
              <a:gd name="connsiteX47708" fmla="*/ 1559685 w 6884782"/>
              <a:gd name="connsiteY47708" fmla="*/ 1693968 h 5973007"/>
              <a:gd name="connsiteX47709" fmla="*/ 1554006 w 6884782"/>
              <a:gd name="connsiteY47709" fmla="*/ 1691180 h 5973007"/>
              <a:gd name="connsiteX47710" fmla="*/ 1558653 w 6884782"/>
              <a:gd name="connsiteY47710" fmla="*/ 1686378 h 5973007"/>
              <a:gd name="connsiteX47711" fmla="*/ 4729168 w 6884782"/>
              <a:gd name="connsiteY47711" fmla="*/ 1686171 h 5973007"/>
              <a:gd name="connsiteX47712" fmla="*/ 4727888 w 6884782"/>
              <a:gd name="connsiteY47712" fmla="*/ 1686455 h 5973007"/>
              <a:gd name="connsiteX47713" fmla="*/ 4727461 w 6884782"/>
              <a:gd name="connsiteY47713" fmla="*/ 1687594 h 5973007"/>
              <a:gd name="connsiteX47714" fmla="*/ 955533 w 6884782"/>
              <a:gd name="connsiteY47714" fmla="*/ 1686068 h 5973007"/>
              <a:gd name="connsiteX47715" fmla="*/ 964310 w 6884782"/>
              <a:gd name="connsiteY47715" fmla="*/ 1689786 h 5973007"/>
              <a:gd name="connsiteX47716" fmla="*/ 958941 w 6884782"/>
              <a:gd name="connsiteY47716" fmla="*/ 1697531 h 5973007"/>
              <a:gd name="connsiteX47717" fmla="*/ 952745 w 6884782"/>
              <a:gd name="connsiteY47717" fmla="*/ 1691645 h 5973007"/>
              <a:gd name="connsiteX47718" fmla="*/ 955533 w 6884782"/>
              <a:gd name="connsiteY47718" fmla="*/ 1686068 h 5973007"/>
              <a:gd name="connsiteX47719" fmla="*/ 1568359 w 6884782"/>
              <a:gd name="connsiteY47719" fmla="*/ 1685604 h 5973007"/>
              <a:gd name="connsiteX47720" fmla="*/ 1576723 w 6884782"/>
              <a:gd name="connsiteY47720" fmla="*/ 1691490 h 5973007"/>
              <a:gd name="connsiteX47721" fmla="*/ 1565674 w 6884782"/>
              <a:gd name="connsiteY47721" fmla="*/ 1685759 h 5973007"/>
              <a:gd name="connsiteX47722" fmla="*/ 1568359 w 6884782"/>
              <a:gd name="connsiteY47722" fmla="*/ 1685604 h 5973007"/>
              <a:gd name="connsiteX47723" fmla="*/ 1597167 w 6884782"/>
              <a:gd name="connsiteY47723" fmla="*/ 1684830 h 5973007"/>
              <a:gd name="connsiteX47724" fmla="*/ 1635992 w 6884782"/>
              <a:gd name="connsiteY47724" fmla="*/ 1704346 h 5973007"/>
              <a:gd name="connsiteX47725" fmla="*/ 1628247 w 6884782"/>
              <a:gd name="connsiteY47725" fmla="*/ 1719526 h 5973007"/>
              <a:gd name="connsiteX47726" fmla="*/ 1599130 w 6884782"/>
              <a:gd name="connsiteY47726" fmla="*/ 1713021 h 5973007"/>
              <a:gd name="connsiteX47727" fmla="*/ 1596135 w 6884782"/>
              <a:gd name="connsiteY47727" fmla="*/ 1703107 h 5973007"/>
              <a:gd name="connsiteX47728" fmla="*/ 1594999 w 6884782"/>
              <a:gd name="connsiteY47728" fmla="*/ 1698305 h 5973007"/>
              <a:gd name="connsiteX47729" fmla="*/ 1593863 w 6884782"/>
              <a:gd name="connsiteY47729" fmla="*/ 1695053 h 5973007"/>
              <a:gd name="connsiteX47730" fmla="*/ 1594793 w 6884782"/>
              <a:gd name="connsiteY47730" fmla="*/ 1694743 h 5973007"/>
              <a:gd name="connsiteX47731" fmla="*/ 1594689 w 6884782"/>
              <a:gd name="connsiteY47731" fmla="*/ 1692574 h 5973007"/>
              <a:gd name="connsiteX47732" fmla="*/ 1597167 w 6884782"/>
              <a:gd name="connsiteY47732" fmla="*/ 1684830 h 5973007"/>
              <a:gd name="connsiteX47733" fmla="*/ 1463244 w 6884782"/>
              <a:gd name="connsiteY47733" fmla="*/ 1684830 h 5973007"/>
              <a:gd name="connsiteX47734" fmla="*/ 1465516 w 6884782"/>
              <a:gd name="connsiteY47734" fmla="*/ 1689476 h 5973007"/>
              <a:gd name="connsiteX47735" fmla="*/ 1458907 w 6884782"/>
              <a:gd name="connsiteY47735" fmla="*/ 1689321 h 5973007"/>
              <a:gd name="connsiteX47736" fmla="*/ 1458907 w 6884782"/>
              <a:gd name="connsiteY47736" fmla="*/ 1687463 h 5973007"/>
              <a:gd name="connsiteX47737" fmla="*/ 1460663 w 6884782"/>
              <a:gd name="connsiteY47737" fmla="*/ 1685294 h 5973007"/>
              <a:gd name="connsiteX47738" fmla="*/ 1463244 w 6884782"/>
              <a:gd name="connsiteY47738" fmla="*/ 1684830 h 5973007"/>
              <a:gd name="connsiteX47739" fmla="*/ 3664417 w 6884782"/>
              <a:gd name="connsiteY47739" fmla="*/ 1684464 h 5973007"/>
              <a:gd name="connsiteX47740" fmla="*/ 3664204 w 6884782"/>
              <a:gd name="connsiteY47740" fmla="*/ 1686740 h 5973007"/>
              <a:gd name="connsiteX47741" fmla="*/ 3666124 w 6884782"/>
              <a:gd name="connsiteY47741" fmla="*/ 1686029 h 5973007"/>
              <a:gd name="connsiteX47742" fmla="*/ 3666338 w 6884782"/>
              <a:gd name="connsiteY47742" fmla="*/ 1685032 h 5973007"/>
              <a:gd name="connsiteX47743" fmla="*/ 3665271 w 6884782"/>
              <a:gd name="connsiteY47743" fmla="*/ 1684748 h 5973007"/>
              <a:gd name="connsiteX47744" fmla="*/ 1374857 w 6884782"/>
              <a:gd name="connsiteY47744" fmla="*/ 1683590 h 5973007"/>
              <a:gd name="connsiteX47745" fmla="*/ 1375683 w 6884782"/>
              <a:gd name="connsiteY47745" fmla="*/ 1683590 h 5973007"/>
              <a:gd name="connsiteX47746" fmla="*/ 1375476 w 6884782"/>
              <a:gd name="connsiteY47746" fmla="*/ 1687772 h 5973007"/>
              <a:gd name="connsiteX47747" fmla="*/ 1373928 w 6884782"/>
              <a:gd name="connsiteY47747" fmla="*/ 1686378 h 5973007"/>
              <a:gd name="connsiteX47748" fmla="*/ 1374857 w 6884782"/>
              <a:gd name="connsiteY47748" fmla="*/ 1683590 h 5973007"/>
              <a:gd name="connsiteX47749" fmla="*/ 4608373 w 6884782"/>
              <a:gd name="connsiteY47749" fmla="*/ 1683325 h 5973007"/>
              <a:gd name="connsiteX47750" fmla="*/ 4616483 w 6884782"/>
              <a:gd name="connsiteY47750" fmla="*/ 1710926 h 5973007"/>
              <a:gd name="connsiteX47751" fmla="*/ 4598342 w 6884782"/>
              <a:gd name="connsiteY47751" fmla="*/ 1688732 h 5973007"/>
              <a:gd name="connsiteX47752" fmla="*/ 4608373 w 6884782"/>
              <a:gd name="connsiteY47752" fmla="*/ 1683325 h 5973007"/>
              <a:gd name="connsiteX47753" fmla="*/ 1009433 w 6884782"/>
              <a:gd name="connsiteY47753" fmla="*/ 1682971 h 5973007"/>
              <a:gd name="connsiteX47754" fmla="*/ 1014493 w 6884782"/>
              <a:gd name="connsiteY47754" fmla="*/ 1682971 h 5973007"/>
              <a:gd name="connsiteX47755" fmla="*/ 1016661 w 6884782"/>
              <a:gd name="connsiteY47755" fmla="*/ 1684365 h 5973007"/>
              <a:gd name="connsiteX47756" fmla="*/ 1017797 w 6884782"/>
              <a:gd name="connsiteY47756" fmla="*/ 1683900 h 5973007"/>
              <a:gd name="connsiteX47757" fmla="*/ 1015009 w 6884782"/>
              <a:gd name="connsiteY47757" fmla="*/ 1693039 h 5973007"/>
              <a:gd name="connsiteX47758" fmla="*/ 1010156 w 6884782"/>
              <a:gd name="connsiteY47758" fmla="*/ 1690096 h 5973007"/>
              <a:gd name="connsiteX47759" fmla="*/ 1010982 w 6884782"/>
              <a:gd name="connsiteY47759" fmla="*/ 1688082 h 5973007"/>
              <a:gd name="connsiteX47760" fmla="*/ 1011189 w 6884782"/>
              <a:gd name="connsiteY47760" fmla="*/ 1687772 h 5973007"/>
              <a:gd name="connsiteX47761" fmla="*/ 1006955 w 6884782"/>
              <a:gd name="connsiteY47761" fmla="*/ 1684830 h 5973007"/>
              <a:gd name="connsiteX47762" fmla="*/ 1009433 w 6884782"/>
              <a:gd name="connsiteY47762" fmla="*/ 1682971 h 5973007"/>
              <a:gd name="connsiteX47763" fmla="*/ 3928417 w 6884782"/>
              <a:gd name="connsiteY47763" fmla="*/ 1682756 h 5973007"/>
              <a:gd name="connsiteX47764" fmla="*/ 3932259 w 6884782"/>
              <a:gd name="connsiteY47764" fmla="*/ 1683468 h 5973007"/>
              <a:gd name="connsiteX47765" fmla="*/ 3928631 w 6884782"/>
              <a:gd name="connsiteY47765" fmla="*/ 1688163 h 5973007"/>
              <a:gd name="connsiteX47766" fmla="*/ 3928417 w 6884782"/>
              <a:gd name="connsiteY47766" fmla="*/ 1682756 h 5973007"/>
              <a:gd name="connsiteX47767" fmla="*/ 1227303 w 6884782"/>
              <a:gd name="connsiteY47767" fmla="*/ 1682351 h 5973007"/>
              <a:gd name="connsiteX47768" fmla="*/ 1228130 w 6884782"/>
              <a:gd name="connsiteY47768" fmla="*/ 1682351 h 5973007"/>
              <a:gd name="connsiteX47769" fmla="*/ 1228336 w 6884782"/>
              <a:gd name="connsiteY47769" fmla="*/ 1686533 h 5973007"/>
              <a:gd name="connsiteX47770" fmla="*/ 1226581 w 6884782"/>
              <a:gd name="connsiteY47770" fmla="*/ 1685294 h 5973007"/>
              <a:gd name="connsiteX47771" fmla="*/ 1227303 w 6884782"/>
              <a:gd name="connsiteY47771" fmla="*/ 1682351 h 5973007"/>
              <a:gd name="connsiteX47772" fmla="*/ 772460 w 6884782"/>
              <a:gd name="connsiteY47772" fmla="*/ 1682351 h 5973007"/>
              <a:gd name="connsiteX47773" fmla="*/ 782269 w 6884782"/>
              <a:gd name="connsiteY47773" fmla="*/ 1686998 h 5973007"/>
              <a:gd name="connsiteX47774" fmla="*/ 772460 w 6884782"/>
              <a:gd name="connsiteY47774" fmla="*/ 1682351 h 5973007"/>
              <a:gd name="connsiteX47775" fmla="*/ 5990266 w 6884782"/>
              <a:gd name="connsiteY47775" fmla="*/ 1682330 h 5973007"/>
              <a:gd name="connsiteX47776" fmla="*/ 5994747 w 6884782"/>
              <a:gd name="connsiteY47776" fmla="*/ 1682756 h 5973007"/>
              <a:gd name="connsiteX47777" fmla="*/ 5997095 w 6884782"/>
              <a:gd name="connsiteY47777" fmla="*/ 1682614 h 5973007"/>
              <a:gd name="connsiteX47778" fmla="*/ 5999656 w 6884782"/>
              <a:gd name="connsiteY47778" fmla="*/ 1684890 h 5973007"/>
              <a:gd name="connsiteX47779" fmla="*/ 5989626 w 6884782"/>
              <a:gd name="connsiteY47779" fmla="*/ 1686597 h 5973007"/>
              <a:gd name="connsiteX47780" fmla="*/ 5984076 w 6884782"/>
              <a:gd name="connsiteY47780" fmla="*/ 1687024 h 5973007"/>
              <a:gd name="connsiteX47781" fmla="*/ 5981302 w 6884782"/>
              <a:gd name="connsiteY47781" fmla="*/ 1684748 h 5973007"/>
              <a:gd name="connsiteX47782" fmla="*/ 5981088 w 6884782"/>
              <a:gd name="connsiteY47782" fmla="*/ 1683468 h 5973007"/>
              <a:gd name="connsiteX47783" fmla="*/ 5983436 w 6884782"/>
              <a:gd name="connsiteY47783" fmla="*/ 1682472 h 5973007"/>
              <a:gd name="connsiteX47784" fmla="*/ 5990266 w 6884782"/>
              <a:gd name="connsiteY47784" fmla="*/ 1682330 h 5973007"/>
              <a:gd name="connsiteX47785" fmla="*/ 1199631 w 6884782"/>
              <a:gd name="connsiteY47785" fmla="*/ 1682196 h 5973007"/>
              <a:gd name="connsiteX47786" fmla="*/ 1199528 w 6884782"/>
              <a:gd name="connsiteY47786" fmla="*/ 1683745 h 5973007"/>
              <a:gd name="connsiteX47787" fmla="*/ 1198805 w 6884782"/>
              <a:gd name="connsiteY47787" fmla="*/ 1682971 h 5973007"/>
              <a:gd name="connsiteX47788" fmla="*/ 1199631 w 6884782"/>
              <a:gd name="connsiteY47788" fmla="*/ 1682196 h 5973007"/>
              <a:gd name="connsiteX47789" fmla="*/ 5094116 w 6884782"/>
              <a:gd name="connsiteY47789" fmla="*/ 1681760 h 5973007"/>
              <a:gd name="connsiteX47790" fmla="*/ 5101372 w 6884782"/>
              <a:gd name="connsiteY47790" fmla="*/ 1683468 h 5973007"/>
              <a:gd name="connsiteX47791" fmla="*/ 5097530 w 6884782"/>
              <a:gd name="connsiteY47791" fmla="*/ 1695845 h 5973007"/>
              <a:gd name="connsiteX47792" fmla="*/ 5089847 w 6884782"/>
              <a:gd name="connsiteY47792" fmla="*/ 1693000 h 5973007"/>
              <a:gd name="connsiteX47793" fmla="*/ 5086646 w 6884782"/>
              <a:gd name="connsiteY47793" fmla="*/ 1684606 h 5973007"/>
              <a:gd name="connsiteX47794" fmla="*/ 5094116 w 6884782"/>
              <a:gd name="connsiteY47794" fmla="*/ 1681760 h 5973007"/>
              <a:gd name="connsiteX47795" fmla="*/ 5231985 w 6884782"/>
              <a:gd name="connsiteY47795" fmla="*/ 1681476 h 5973007"/>
              <a:gd name="connsiteX47796" fmla="*/ 5231985 w 6884782"/>
              <a:gd name="connsiteY47796" fmla="*/ 1690154 h 5973007"/>
              <a:gd name="connsiteX47797" fmla="*/ 5233479 w 6884782"/>
              <a:gd name="connsiteY47797" fmla="*/ 1687167 h 5973007"/>
              <a:gd name="connsiteX47798" fmla="*/ 5238601 w 6884782"/>
              <a:gd name="connsiteY47798" fmla="*/ 1684890 h 5973007"/>
              <a:gd name="connsiteX47799" fmla="*/ 5242016 w 6884782"/>
              <a:gd name="connsiteY47799" fmla="*/ 1691008 h 5973007"/>
              <a:gd name="connsiteX47800" fmla="*/ 5236253 w 6884782"/>
              <a:gd name="connsiteY47800" fmla="*/ 1694423 h 5973007"/>
              <a:gd name="connsiteX47801" fmla="*/ 5231772 w 6884782"/>
              <a:gd name="connsiteY47801" fmla="*/ 1692716 h 5973007"/>
              <a:gd name="connsiteX47802" fmla="*/ 5231772 w 6884782"/>
              <a:gd name="connsiteY47802" fmla="*/ 1693853 h 5973007"/>
              <a:gd name="connsiteX47803" fmla="*/ 5231558 w 6884782"/>
              <a:gd name="connsiteY47803" fmla="*/ 1699686 h 5973007"/>
              <a:gd name="connsiteX47804" fmla="*/ 5231345 w 6884782"/>
              <a:gd name="connsiteY47804" fmla="*/ 1704523 h 5973007"/>
              <a:gd name="connsiteX47805" fmla="*/ 5228784 w 6884782"/>
              <a:gd name="connsiteY47805" fmla="*/ 1704239 h 5973007"/>
              <a:gd name="connsiteX47806" fmla="*/ 5227077 w 6884782"/>
              <a:gd name="connsiteY47806" fmla="*/ 1701536 h 5973007"/>
              <a:gd name="connsiteX47807" fmla="*/ 5226863 w 6884782"/>
              <a:gd name="connsiteY47807" fmla="*/ 1689869 h 5973007"/>
              <a:gd name="connsiteX47808" fmla="*/ 5227290 w 6884782"/>
              <a:gd name="connsiteY47808" fmla="*/ 1687167 h 5973007"/>
              <a:gd name="connsiteX47809" fmla="*/ 5227717 w 6884782"/>
              <a:gd name="connsiteY47809" fmla="*/ 1684464 h 5973007"/>
              <a:gd name="connsiteX47810" fmla="*/ 5231985 w 6884782"/>
              <a:gd name="connsiteY47810" fmla="*/ 1681476 h 5973007"/>
              <a:gd name="connsiteX47811" fmla="*/ 5363452 w 6884782"/>
              <a:gd name="connsiteY47811" fmla="*/ 1680622 h 5973007"/>
              <a:gd name="connsiteX47812" fmla="*/ 5370922 w 6884782"/>
              <a:gd name="connsiteY47812" fmla="*/ 1686171 h 5973007"/>
              <a:gd name="connsiteX47813" fmla="*/ 5359824 w 6884782"/>
              <a:gd name="connsiteY47813" fmla="*/ 1682756 h 5973007"/>
              <a:gd name="connsiteX47814" fmla="*/ 5363452 w 6884782"/>
              <a:gd name="connsiteY47814" fmla="*/ 1680622 h 5973007"/>
              <a:gd name="connsiteX47815" fmla="*/ 1479559 w 6884782"/>
              <a:gd name="connsiteY47815" fmla="*/ 1680338 h 5973007"/>
              <a:gd name="connsiteX47816" fmla="*/ 1482966 w 6884782"/>
              <a:gd name="connsiteY47816" fmla="*/ 1685604 h 5973007"/>
              <a:gd name="connsiteX47817" fmla="*/ 1482656 w 6884782"/>
              <a:gd name="connsiteY47817" fmla="*/ 1686688 h 5973007"/>
              <a:gd name="connsiteX47818" fmla="*/ 1479559 w 6884782"/>
              <a:gd name="connsiteY47818" fmla="*/ 1680338 h 5973007"/>
              <a:gd name="connsiteX47819" fmla="*/ 5214911 w 6884782"/>
              <a:gd name="connsiteY47819" fmla="*/ 1680195 h 5973007"/>
              <a:gd name="connsiteX47820" fmla="*/ 5223449 w 6884782"/>
              <a:gd name="connsiteY47820" fmla="*/ 1686597 h 5973007"/>
              <a:gd name="connsiteX47821" fmla="*/ 5223449 w 6884782"/>
              <a:gd name="connsiteY47821" fmla="*/ 1698406 h 5973007"/>
              <a:gd name="connsiteX47822" fmla="*/ 5218540 w 6884782"/>
              <a:gd name="connsiteY47822" fmla="*/ 1698264 h 5973007"/>
              <a:gd name="connsiteX47823" fmla="*/ 5214911 w 6884782"/>
              <a:gd name="connsiteY47823" fmla="*/ 1680195 h 5973007"/>
              <a:gd name="connsiteX47824" fmla="*/ 1537589 w 6884782"/>
              <a:gd name="connsiteY47824" fmla="*/ 1679873 h 5973007"/>
              <a:gd name="connsiteX47825" fmla="*/ 1543061 w 6884782"/>
              <a:gd name="connsiteY47825" fmla="*/ 1683280 h 5973007"/>
              <a:gd name="connsiteX47826" fmla="*/ 1543164 w 6884782"/>
              <a:gd name="connsiteY47826" fmla="*/ 1684984 h 5973007"/>
              <a:gd name="connsiteX47827" fmla="*/ 1544920 w 6884782"/>
              <a:gd name="connsiteY47827" fmla="*/ 1685139 h 5973007"/>
              <a:gd name="connsiteX47828" fmla="*/ 1544816 w 6884782"/>
              <a:gd name="connsiteY47828" fmla="*/ 1685604 h 5973007"/>
              <a:gd name="connsiteX47829" fmla="*/ 1546365 w 6884782"/>
              <a:gd name="connsiteY47829" fmla="*/ 1685604 h 5973007"/>
              <a:gd name="connsiteX47830" fmla="*/ 1554729 w 6884782"/>
              <a:gd name="connsiteY47830" fmla="*/ 1695982 h 5973007"/>
              <a:gd name="connsiteX47831" fmla="*/ 1551735 w 6884782"/>
              <a:gd name="connsiteY47831" fmla="*/ 1697996 h 5973007"/>
              <a:gd name="connsiteX47832" fmla="*/ 1549463 w 6884782"/>
              <a:gd name="connsiteY47832" fmla="*/ 1697531 h 5973007"/>
              <a:gd name="connsiteX47833" fmla="*/ 1549463 w 6884782"/>
              <a:gd name="connsiteY47833" fmla="*/ 1697841 h 5973007"/>
              <a:gd name="connsiteX47834" fmla="*/ 1544094 w 6884782"/>
              <a:gd name="connsiteY47834" fmla="*/ 1703572 h 5973007"/>
              <a:gd name="connsiteX47835" fmla="*/ 1543577 w 6884782"/>
              <a:gd name="connsiteY47835" fmla="*/ 1701094 h 5973007"/>
              <a:gd name="connsiteX47836" fmla="*/ 1546159 w 6884782"/>
              <a:gd name="connsiteY47836" fmla="*/ 1697376 h 5973007"/>
              <a:gd name="connsiteX47837" fmla="*/ 1546882 w 6884782"/>
              <a:gd name="connsiteY47837" fmla="*/ 1697066 h 5973007"/>
              <a:gd name="connsiteX47838" fmla="*/ 1545539 w 6884782"/>
              <a:gd name="connsiteY47838" fmla="*/ 1695207 h 5973007"/>
              <a:gd name="connsiteX47839" fmla="*/ 1542958 w 6884782"/>
              <a:gd name="connsiteY47839" fmla="*/ 1693659 h 5973007"/>
              <a:gd name="connsiteX47840" fmla="*/ 1542648 w 6884782"/>
              <a:gd name="connsiteY47840" fmla="*/ 1691180 h 5973007"/>
              <a:gd name="connsiteX47841" fmla="*/ 1542648 w 6884782"/>
              <a:gd name="connsiteY47841" fmla="*/ 1691025 h 5973007"/>
              <a:gd name="connsiteX47842" fmla="*/ 1542545 w 6884782"/>
              <a:gd name="connsiteY47842" fmla="*/ 1691025 h 5973007"/>
              <a:gd name="connsiteX47843" fmla="*/ 1541409 w 6884782"/>
              <a:gd name="connsiteY47843" fmla="*/ 1692265 h 5973007"/>
              <a:gd name="connsiteX47844" fmla="*/ 1541719 w 6884782"/>
              <a:gd name="connsiteY47844" fmla="*/ 1692420 h 5973007"/>
              <a:gd name="connsiteX47845" fmla="*/ 1543991 w 6884782"/>
              <a:gd name="connsiteY47845" fmla="*/ 1700164 h 5973007"/>
              <a:gd name="connsiteX47846" fmla="*/ 1535214 w 6884782"/>
              <a:gd name="connsiteY47846" fmla="*/ 1695363 h 5973007"/>
              <a:gd name="connsiteX47847" fmla="*/ 1534078 w 6884782"/>
              <a:gd name="connsiteY47847" fmla="*/ 1692729 h 5973007"/>
              <a:gd name="connsiteX47848" fmla="*/ 1534284 w 6884782"/>
              <a:gd name="connsiteY47848" fmla="*/ 1690406 h 5973007"/>
              <a:gd name="connsiteX47849" fmla="*/ 1533355 w 6884782"/>
              <a:gd name="connsiteY47849" fmla="*/ 1690406 h 5973007"/>
              <a:gd name="connsiteX47850" fmla="*/ 1528399 w 6884782"/>
              <a:gd name="connsiteY47850" fmla="*/ 1691025 h 5973007"/>
              <a:gd name="connsiteX47851" fmla="*/ 1527160 w 6884782"/>
              <a:gd name="connsiteY47851" fmla="*/ 1686998 h 5973007"/>
              <a:gd name="connsiteX47852" fmla="*/ 1529948 w 6884782"/>
              <a:gd name="connsiteY47852" fmla="*/ 1683126 h 5973007"/>
              <a:gd name="connsiteX47853" fmla="*/ 1531083 w 6884782"/>
              <a:gd name="connsiteY47853" fmla="*/ 1682816 h 5973007"/>
              <a:gd name="connsiteX47854" fmla="*/ 1536349 w 6884782"/>
              <a:gd name="connsiteY47854" fmla="*/ 1681732 h 5973007"/>
              <a:gd name="connsiteX47855" fmla="*/ 4661514 w 6884782"/>
              <a:gd name="connsiteY47855" fmla="*/ 1679058 h 5973007"/>
              <a:gd name="connsiteX47856" fmla="*/ 4646788 w 6884782"/>
              <a:gd name="connsiteY47856" fmla="*/ 1709503 h 5973007"/>
              <a:gd name="connsiteX47857" fmla="*/ 4661514 w 6884782"/>
              <a:gd name="connsiteY47857" fmla="*/ 1679058 h 5973007"/>
              <a:gd name="connsiteX47858" fmla="*/ 3747651 w 6884782"/>
              <a:gd name="connsiteY47858" fmla="*/ 1678773 h 5973007"/>
              <a:gd name="connsiteX47859" fmla="*/ 3756828 w 6884782"/>
              <a:gd name="connsiteY47859" fmla="*/ 1686597 h 5973007"/>
              <a:gd name="connsiteX47860" fmla="*/ 3753200 w 6884782"/>
              <a:gd name="connsiteY47860" fmla="*/ 1712491 h 5973007"/>
              <a:gd name="connsiteX47861" fmla="*/ 3752986 w 6884782"/>
              <a:gd name="connsiteY47861" fmla="*/ 1712491 h 5973007"/>
              <a:gd name="connsiteX47862" fmla="*/ 3759388 w 6884782"/>
              <a:gd name="connsiteY47862" fmla="*/ 1717470 h 5973007"/>
              <a:gd name="connsiteX47863" fmla="*/ 3755120 w 6884782"/>
              <a:gd name="connsiteY47863" fmla="*/ 1728567 h 5973007"/>
              <a:gd name="connsiteX47864" fmla="*/ 3748291 w 6884782"/>
              <a:gd name="connsiteY47864" fmla="*/ 1729847 h 5973007"/>
              <a:gd name="connsiteX47865" fmla="*/ 3748291 w 6884782"/>
              <a:gd name="connsiteY47865" fmla="*/ 1730986 h 5973007"/>
              <a:gd name="connsiteX47866" fmla="*/ 3739754 w 6884782"/>
              <a:gd name="connsiteY47866" fmla="*/ 1737957 h 5973007"/>
              <a:gd name="connsiteX47867" fmla="*/ 3733351 w 6884782"/>
              <a:gd name="connsiteY47867" fmla="*/ 1719604 h 5973007"/>
              <a:gd name="connsiteX47868" fmla="*/ 3731644 w 6884782"/>
              <a:gd name="connsiteY47868" fmla="*/ 1715478 h 5973007"/>
              <a:gd name="connsiteX47869" fmla="*/ 3729723 w 6884782"/>
              <a:gd name="connsiteY47869" fmla="*/ 1719604 h 5973007"/>
              <a:gd name="connsiteX47870" fmla="*/ 3722467 w 6884782"/>
              <a:gd name="connsiteY47870" fmla="*/ 1705092 h 5973007"/>
              <a:gd name="connsiteX47871" fmla="*/ 3726949 w 6884782"/>
              <a:gd name="connsiteY47871" fmla="*/ 1706089 h 5973007"/>
              <a:gd name="connsiteX47872" fmla="*/ 3730150 w 6884782"/>
              <a:gd name="connsiteY47872" fmla="*/ 1707938 h 5973007"/>
              <a:gd name="connsiteX47873" fmla="*/ 3730363 w 6884782"/>
              <a:gd name="connsiteY47873" fmla="*/ 1703243 h 5973007"/>
              <a:gd name="connsiteX47874" fmla="*/ 3735272 w 6884782"/>
              <a:gd name="connsiteY47874" fmla="*/ 1708364 h 5973007"/>
              <a:gd name="connsiteX47875" fmla="*/ 3736126 w 6884782"/>
              <a:gd name="connsiteY47875" fmla="*/ 1709076 h 5973007"/>
              <a:gd name="connsiteX47876" fmla="*/ 3738901 w 6884782"/>
              <a:gd name="connsiteY47876" fmla="*/ 1707796 h 5973007"/>
              <a:gd name="connsiteX47877" fmla="*/ 3744236 w 6884782"/>
              <a:gd name="connsiteY47877" fmla="*/ 1709076 h 5973007"/>
              <a:gd name="connsiteX47878" fmla="*/ 3741248 w 6884782"/>
              <a:gd name="connsiteY47878" fmla="*/ 1700113 h 5973007"/>
              <a:gd name="connsiteX47879" fmla="*/ 3742956 w 6884782"/>
              <a:gd name="connsiteY47879" fmla="*/ 1680338 h 5973007"/>
              <a:gd name="connsiteX47880" fmla="*/ 3747651 w 6884782"/>
              <a:gd name="connsiteY47880" fmla="*/ 1678773 h 5973007"/>
              <a:gd name="connsiteX47881" fmla="*/ 1656436 w 6884782"/>
              <a:gd name="connsiteY47881" fmla="*/ 1678169 h 5973007"/>
              <a:gd name="connsiteX47882" fmla="*/ 1649622 w 6884782"/>
              <a:gd name="connsiteY47882" fmla="*/ 1681112 h 5973007"/>
              <a:gd name="connsiteX47883" fmla="*/ 1649105 w 6884782"/>
              <a:gd name="connsiteY47883" fmla="*/ 1679873 h 5973007"/>
              <a:gd name="connsiteX47884" fmla="*/ 1649622 w 6884782"/>
              <a:gd name="connsiteY47884" fmla="*/ 1678324 h 5973007"/>
              <a:gd name="connsiteX47885" fmla="*/ 1656436 w 6884782"/>
              <a:gd name="connsiteY47885" fmla="*/ 1678169 h 5973007"/>
              <a:gd name="connsiteX47886" fmla="*/ 1349146 w 6884782"/>
              <a:gd name="connsiteY47886" fmla="*/ 1678014 h 5973007"/>
              <a:gd name="connsiteX47887" fmla="*/ 1353483 w 6884782"/>
              <a:gd name="connsiteY47887" fmla="*/ 1678169 h 5973007"/>
              <a:gd name="connsiteX47888" fmla="*/ 1360504 w 6884782"/>
              <a:gd name="connsiteY47888" fmla="*/ 1689476 h 5973007"/>
              <a:gd name="connsiteX47889" fmla="*/ 1355858 w 6884782"/>
              <a:gd name="connsiteY47889" fmla="*/ 1695827 h 5973007"/>
              <a:gd name="connsiteX47890" fmla="*/ 1352863 w 6884782"/>
              <a:gd name="connsiteY47890" fmla="*/ 1696756 h 5973007"/>
              <a:gd name="connsiteX47891" fmla="*/ 1346668 w 6884782"/>
              <a:gd name="connsiteY47891" fmla="*/ 1679099 h 5973007"/>
              <a:gd name="connsiteX47892" fmla="*/ 1349146 w 6884782"/>
              <a:gd name="connsiteY47892" fmla="*/ 1678014 h 5973007"/>
              <a:gd name="connsiteX47893" fmla="*/ 5349580 w 6884782"/>
              <a:gd name="connsiteY47893" fmla="*/ 1677919 h 5973007"/>
              <a:gd name="connsiteX47894" fmla="*/ 5359610 w 6884782"/>
              <a:gd name="connsiteY47894" fmla="*/ 1684037 h 5973007"/>
              <a:gd name="connsiteX47895" fmla="*/ 5357903 w 6884782"/>
              <a:gd name="connsiteY47895" fmla="*/ 1690866 h 5973007"/>
              <a:gd name="connsiteX47896" fmla="*/ 5346378 w 6884782"/>
              <a:gd name="connsiteY47896" fmla="*/ 1692004 h 5973007"/>
              <a:gd name="connsiteX47897" fmla="*/ 5344457 w 6884782"/>
              <a:gd name="connsiteY47897" fmla="*/ 1680195 h 5973007"/>
              <a:gd name="connsiteX47898" fmla="*/ 5349580 w 6884782"/>
              <a:gd name="connsiteY47898" fmla="*/ 1677919 h 5973007"/>
              <a:gd name="connsiteX47899" fmla="*/ 1938842 w 6884782"/>
              <a:gd name="connsiteY47899" fmla="*/ 1677859 h 5973007"/>
              <a:gd name="connsiteX47900" fmla="*/ 1936674 w 6884782"/>
              <a:gd name="connsiteY47900" fmla="*/ 1690406 h 5973007"/>
              <a:gd name="connsiteX47901" fmla="*/ 1935228 w 6884782"/>
              <a:gd name="connsiteY47901" fmla="*/ 1682661 h 5973007"/>
              <a:gd name="connsiteX47902" fmla="*/ 1938842 w 6884782"/>
              <a:gd name="connsiteY47902" fmla="*/ 1677859 h 5973007"/>
              <a:gd name="connsiteX47903" fmla="*/ 1692886 w 6884782"/>
              <a:gd name="connsiteY47903" fmla="*/ 1677859 h 5973007"/>
              <a:gd name="connsiteX47904" fmla="*/ 1694435 w 6884782"/>
              <a:gd name="connsiteY47904" fmla="*/ 1679253 h 5973007"/>
              <a:gd name="connsiteX47905" fmla="*/ 1695984 w 6884782"/>
              <a:gd name="connsiteY47905" fmla="*/ 1682351 h 5973007"/>
              <a:gd name="connsiteX47906" fmla="*/ 1695158 w 6884782"/>
              <a:gd name="connsiteY47906" fmla="*/ 1684520 h 5973007"/>
              <a:gd name="connsiteX47907" fmla="*/ 1693299 w 6884782"/>
              <a:gd name="connsiteY47907" fmla="*/ 1684365 h 5973007"/>
              <a:gd name="connsiteX47908" fmla="*/ 1691750 w 6884782"/>
              <a:gd name="connsiteY47908" fmla="*/ 1684984 h 5973007"/>
              <a:gd name="connsiteX47909" fmla="*/ 1691337 w 6884782"/>
              <a:gd name="connsiteY47909" fmla="*/ 1684210 h 5973007"/>
              <a:gd name="connsiteX47910" fmla="*/ 1690201 w 6884782"/>
              <a:gd name="connsiteY47910" fmla="*/ 1683745 h 5973007"/>
              <a:gd name="connsiteX47911" fmla="*/ 1689995 w 6884782"/>
              <a:gd name="connsiteY47911" fmla="*/ 1681576 h 5973007"/>
              <a:gd name="connsiteX47912" fmla="*/ 1690201 w 6884782"/>
              <a:gd name="connsiteY47912" fmla="*/ 1679873 h 5973007"/>
              <a:gd name="connsiteX47913" fmla="*/ 1691234 w 6884782"/>
              <a:gd name="connsiteY47913" fmla="*/ 1678324 h 5973007"/>
              <a:gd name="connsiteX47914" fmla="*/ 1692886 w 6884782"/>
              <a:gd name="connsiteY47914" fmla="*/ 1677859 h 5973007"/>
              <a:gd name="connsiteX47915" fmla="*/ 5040334 w 6884782"/>
              <a:gd name="connsiteY47915" fmla="*/ 1677777 h 5973007"/>
              <a:gd name="connsiteX47916" fmla="*/ 5043962 w 6884782"/>
              <a:gd name="connsiteY47916" fmla="*/ 1678346 h 5973007"/>
              <a:gd name="connsiteX47917" fmla="*/ 5050578 w 6884782"/>
              <a:gd name="connsiteY47917" fmla="*/ 1677777 h 5973007"/>
              <a:gd name="connsiteX47918" fmla="*/ 5071493 w 6884782"/>
              <a:gd name="connsiteY47918" fmla="*/ 1691292 h 5973007"/>
              <a:gd name="connsiteX47919" fmla="*/ 5049298 w 6884782"/>
              <a:gd name="connsiteY47919" fmla="*/ 1689301 h 5973007"/>
              <a:gd name="connsiteX47920" fmla="*/ 5048871 w 6884782"/>
              <a:gd name="connsiteY47920" fmla="*/ 1689301 h 5973007"/>
              <a:gd name="connsiteX47921" fmla="*/ 5050365 w 6884782"/>
              <a:gd name="connsiteY47921" fmla="*/ 1692004 h 5973007"/>
              <a:gd name="connsiteX47922" fmla="*/ 5047804 w 6884782"/>
              <a:gd name="connsiteY47922" fmla="*/ 1696414 h 5973007"/>
              <a:gd name="connsiteX47923" fmla="*/ 5039267 w 6884782"/>
              <a:gd name="connsiteY47923" fmla="*/ 1699971 h 5973007"/>
              <a:gd name="connsiteX47924" fmla="*/ 5037987 w 6884782"/>
              <a:gd name="connsiteY47924" fmla="*/ 1695134 h 5973007"/>
              <a:gd name="connsiteX47925" fmla="*/ 5039054 w 6884782"/>
              <a:gd name="connsiteY47925" fmla="*/ 1692289 h 5973007"/>
              <a:gd name="connsiteX47926" fmla="*/ 5037347 w 6884782"/>
              <a:gd name="connsiteY47926" fmla="*/ 1691861 h 5973007"/>
              <a:gd name="connsiteX47927" fmla="*/ 5034145 w 6884782"/>
              <a:gd name="connsiteY47927" fmla="*/ 1687451 h 5973007"/>
              <a:gd name="connsiteX47928" fmla="*/ 5027316 w 6884782"/>
              <a:gd name="connsiteY47928" fmla="*/ 1684464 h 5973007"/>
              <a:gd name="connsiteX47929" fmla="*/ 5033932 w 6884782"/>
              <a:gd name="connsiteY47929" fmla="*/ 1680480 h 5973007"/>
              <a:gd name="connsiteX47930" fmla="*/ 5034145 w 6884782"/>
              <a:gd name="connsiteY47930" fmla="*/ 1678061 h 5973007"/>
              <a:gd name="connsiteX47931" fmla="*/ 5040334 w 6884782"/>
              <a:gd name="connsiteY47931" fmla="*/ 1677777 h 5973007"/>
              <a:gd name="connsiteX47932" fmla="*/ 968854 w 6884782"/>
              <a:gd name="connsiteY47932" fmla="*/ 1677704 h 5973007"/>
              <a:gd name="connsiteX47933" fmla="*/ 970093 w 6884782"/>
              <a:gd name="connsiteY47933" fmla="*/ 1684984 h 5973007"/>
              <a:gd name="connsiteX47934" fmla="*/ 970402 w 6884782"/>
              <a:gd name="connsiteY47934" fmla="*/ 1689166 h 5973007"/>
              <a:gd name="connsiteX47935" fmla="*/ 968750 w 6884782"/>
              <a:gd name="connsiteY47935" fmla="*/ 1691025 h 5973007"/>
              <a:gd name="connsiteX47936" fmla="*/ 967821 w 6884782"/>
              <a:gd name="connsiteY47936" fmla="*/ 1691180 h 5973007"/>
              <a:gd name="connsiteX47937" fmla="*/ 967098 w 6884782"/>
              <a:gd name="connsiteY47937" fmla="*/ 1689476 h 5973007"/>
              <a:gd name="connsiteX47938" fmla="*/ 966995 w 6884782"/>
              <a:gd name="connsiteY47938" fmla="*/ 1684675 h 5973007"/>
              <a:gd name="connsiteX47939" fmla="*/ 967304 w 6884782"/>
              <a:gd name="connsiteY47939" fmla="*/ 1681267 h 5973007"/>
              <a:gd name="connsiteX47940" fmla="*/ 967201 w 6884782"/>
              <a:gd name="connsiteY47940" fmla="*/ 1679563 h 5973007"/>
              <a:gd name="connsiteX47941" fmla="*/ 968854 w 6884782"/>
              <a:gd name="connsiteY47941" fmla="*/ 1677704 h 5973007"/>
              <a:gd name="connsiteX47942" fmla="*/ 1602433 w 6884782"/>
              <a:gd name="connsiteY47942" fmla="*/ 1676465 h 5973007"/>
              <a:gd name="connsiteX47943" fmla="*/ 1606461 w 6884782"/>
              <a:gd name="connsiteY47943" fmla="*/ 1680338 h 5973007"/>
              <a:gd name="connsiteX47944" fmla="*/ 1604396 w 6884782"/>
              <a:gd name="connsiteY47944" fmla="*/ 1686998 h 5973007"/>
              <a:gd name="connsiteX47945" fmla="*/ 1600988 w 6884782"/>
              <a:gd name="connsiteY47945" fmla="*/ 1682816 h 5973007"/>
              <a:gd name="connsiteX47946" fmla="*/ 1602433 w 6884782"/>
              <a:gd name="connsiteY47946" fmla="*/ 1676465 h 5973007"/>
              <a:gd name="connsiteX47947" fmla="*/ 1501759 w 6884782"/>
              <a:gd name="connsiteY47947" fmla="*/ 1676465 h 5973007"/>
              <a:gd name="connsiteX47948" fmla="*/ 1501036 w 6884782"/>
              <a:gd name="connsiteY47948" fmla="*/ 1680492 h 5973007"/>
              <a:gd name="connsiteX47949" fmla="*/ 1493808 w 6884782"/>
              <a:gd name="connsiteY47949" fmla="*/ 1681732 h 5973007"/>
              <a:gd name="connsiteX47950" fmla="*/ 1489161 w 6884782"/>
              <a:gd name="connsiteY47950" fmla="*/ 1683126 h 5973007"/>
              <a:gd name="connsiteX47951" fmla="*/ 1494944 w 6884782"/>
              <a:gd name="connsiteY47951" fmla="*/ 1680183 h 5973007"/>
              <a:gd name="connsiteX47952" fmla="*/ 1496183 w 6884782"/>
              <a:gd name="connsiteY47952" fmla="*/ 1677704 h 5973007"/>
              <a:gd name="connsiteX47953" fmla="*/ 1501759 w 6884782"/>
              <a:gd name="connsiteY47953" fmla="*/ 1676465 h 5973007"/>
              <a:gd name="connsiteX47954" fmla="*/ 858266 w 6884782"/>
              <a:gd name="connsiteY47954" fmla="*/ 1676465 h 5973007"/>
              <a:gd name="connsiteX47955" fmla="*/ 859918 w 6884782"/>
              <a:gd name="connsiteY47955" fmla="*/ 1681576 h 5973007"/>
              <a:gd name="connsiteX47956" fmla="*/ 856407 w 6884782"/>
              <a:gd name="connsiteY47956" fmla="*/ 1682971 h 5973007"/>
              <a:gd name="connsiteX47957" fmla="*/ 854755 w 6884782"/>
              <a:gd name="connsiteY47957" fmla="*/ 1677704 h 5973007"/>
              <a:gd name="connsiteX47958" fmla="*/ 858266 w 6884782"/>
              <a:gd name="connsiteY47958" fmla="*/ 1676465 h 5973007"/>
              <a:gd name="connsiteX47959" fmla="*/ 1041726 w 6884782"/>
              <a:gd name="connsiteY47959" fmla="*/ 1676426 h 5973007"/>
              <a:gd name="connsiteX47960" fmla="*/ 1046089 w 6884782"/>
              <a:gd name="connsiteY47960" fmla="*/ 1679408 h 5973007"/>
              <a:gd name="connsiteX47961" fmla="*/ 1037209 w 6884782"/>
              <a:gd name="connsiteY47961" fmla="*/ 1680647 h 5973007"/>
              <a:gd name="connsiteX47962" fmla="*/ 1041726 w 6884782"/>
              <a:gd name="connsiteY47962" fmla="*/ 1676426 h 5973007"/>
              <a:gd name="connsiteX47963" fmla="*/ 4631422 w 6884782"/>
              <a:gd name="connsiteY47963" fmla="*/ 1676354 h 5973007"/>
              <a:gd name="connsiteX47964" fmla="*/ 4630995 w 6884782"/>
              <a:gd name="connsiteY47964" fmla="*/ 1681192 h 5973007"/>
              <a:gd name="connsiteX47965" fmla="*/ 4627367 w 6884782"/>
              <a:gd name="connsiteY47965" fmla="*/ 1682330 h 5973007"/>
              <a:gd name="connsiteX47966" fmla="*/ 4631422 w 6884782"/>
              <a:gd name="connsiteY47966" fmla="*/ 1676354 h 5973007"/>
              <a:gd name="connsiteX47967" fmla="*/ 5323542 w 6884782"/>
              <a:gd name="connsiteY47967" fmla="*/ 1675643 h 5973007"/>
              <a:gd name="connsiteX47968" fmla="*/ 5329304 w 6884782"/>
              <a:gd name="connsiteY47968" fmla="*/ 1680622 h 5973007"/>
              <a:gd name="connsiteX47969" fmla="*/ 5323542 w 6884782"/>
              <a:gd name="connsiteY47969" fmla="*/ 1675643 h 5973007"/>
              <a:gd name="connsiteX47970" fmla="*/ 3624294 w 6884782"/>
              <a:gd name="connsiteY47970" fmla="*/ 1675501 h 5973007"/>
              <a:gd name="connsiteX47971" fmla="*/ 3629629 w 6884782"/>
              <a:gd name="connsiteY47971" fmla="*/ 1677350 h 5973007"/>
              <a:gd name="connsiteX47972" fmla="*/ 3630910 w 6884782"/>
              <a:gd name="connsiteY47972" fmla="*/ 1681618 h 5973007"/>
              <a:gd name="connsiteX47973" fmla="*/ 3612556 w 6884782"/>
              <a:gd name="connsiteY47973" fmla="*/ 1695845 h 5973007"/>
              <a:gd name="connsiteX47974" fmla="*/ 3610422 w 6884782"/>
              <a:gd name="connsiteY47974" fmla="*/ 1693142 h 5973007"/>
              <a:gd name="connsiteX47975" fmla="*/ 3624294 w 6884782"/>
              <a:gd name="connsiteY47975" fmla="*/ 1675501 h 5973007"/>
              <a:gd name="connsiteX47976" fmla="*/ 5427691 w 6884782"/>
              <a:gd name="connsiteY47976" fmla="*/ 1674931 h 5973007"/>
              <a:gd name="connsiteX47977" fmla="*/ 5436868 w 6884782"/>
              <a:gd name="connsiteY47977" fmla="*/ 1689301 h 5973007"/>
              <a:gd name="connsiteX47978" fmla="*/ 5440069 w 6884782"/>
              <a:gd name="connsiteY47978" fmla="*/ 1709219 h 5973007"/>
              <a:gd name="connsiteX47979" fmla="*/ 5434948 w 6884782"/>
              <a:gd name="connsiteY47979" fmla="*/ 1713202 h 5973007"/>
              <a:gd name="connsiteX47980" fmla="*/ 5432386 w 6884782"/>
              <a:gd name="connsiteY47980" fmla="*/ 1714056 h 5973007"/>
              <a:gd name="connsiteX47981" fmla="*/ 5431746 w 6884782"/>
              <a:gd name="connsiteY47981" fmla="*/ 1715051 h 5973007"/>
              <a:gd name="connsiteX47982" fmla="*/ 5426837 w 6884782"/>
              <a:gd name="connsiteY47982" fmla="*/ 1715478 h 5973007"/>
              <a:gd name="connsiteX47983" fmla="*/ 5428331 w 6884782"/>
              <a:gd name="connsiteY47983" fmla="*/ 1713202 h 5973007"/>
              <a:gd name="connsiteX47984" fmla="*/ 5429185 w 6884782"/>
              <a:gd name="connsiteY47984" fmla="*/ 1712206 h 5973007"/>
              <a:gd name="connsiteX47985" fmla="*/ 5430465 w 6884782"/>
              <a:gd name="connsiteY47985" fmla="*/ 1707654 h 5973007"/>
              <a:gd name="connsiteX47986" fmla="*/ 5427691 w 6884782"/>
              <a:gd name="connsiteY47986" fmla="*/ 1674931 h 5973007"/>
              <a:gd name="connsiteX47987" fmla="*/ 5758065 w 6884782"/>
              <a:gd name="connsiteY47987" fmla="*/ 1674789 h 5973007"/>
              <a:gd name="connsiteX47988" fmla="*/ 5764041 w 6884782"/>
              <a:gd name="connsiteY47988" fmla="*/ 1678204 h 5973007"/>
              <a:gd name="connsiteX47989" fmla="*/ 5757638 w 6884782"/>
              <a:gd name="connsiteY47989" fmla="*/ 1688732 h 5973007"/>
              <a:gd name="connsiteX47990" fmla="*/ 5758065 w 6884782"/>
              <a:gd name="connsiteY47990" fmla="*/ 1674789 h 5973007"/>
              <a:gd name="connsiteX47991" fmla="*/ 4673892 w 6884782"/>
              <a:gd name="connsiteY47991" fmla="*/ 1674789 h 5973007"/>
              <a:gd name="connsiteX47992" fmla="*/ 4675813 w 6884782"/>
              <a:gd name="connsiteY47992" fmla="*/ 1675216 h 5973007"/>
              <a:gd name="connsiteX47993" fmla="*/ 4666850 w 6884782"/>
              <a:gd name="connsiteY47993" fmla="*/ 1680907 h 5973007"/>
              <a:gd name="connsiteX47994" fmla="*/ 4673892 w 6884782"/>
              <a:gd name="connsiteY47994" fmla="*/ 1674789 h 5973007"/>
              <a:gd name="connsiteX47995" fmla="*/ 1065088 w 6884782"/>
              <a:gd name="connsiteY47995" fmla="*/ 1674452 h 5973007"/>
              <a:gd name="connsiteX47996" fmla="*/ 1066224 w 6884782"/>
              <a:gd name="connsiteY47996" fmla="*/ 1686223 h 5973007"/>
              <a:gd name="connsiteX47997" fmla="*/ 1065398 w 6884782"/>
              <a:gd name="connsiteY47997" fmla="*/ 1686223 h 5973007"/>
              <a:gd name="connsiteX47998" fmla="*/ 1063849 w 6884782"/>
              <a:gd name="connsiteY47998" fmla="*/ 1677704 h 5973007"/>
              <a:gd name="connsiteX47999" fmla="*/ 1064159 w 6884782"/>
              <a:gd name="connsiteY47999" fmla="*/ 1675381 h 5973007"/>
              <a:gd name="connsiteX48000" fmla="*/ 1375993 w 6884782"/>
              <a:gd name="connsiteY48000" fmla="*/ 1674297 h 5973007"/>
              <a:gd name="connsiteX48001" fmla="*/ 1378677 w 6884782"/>
              <a:gd name="connsiteY48001" fmla="*/ 1674297 h 5973007"/>
              <a:gd name="connsiteX48002" fmla="*/ 1377645 w 6884782"/>
              <a:gd name="connsiteY48002" fmla="*/ 1678633 h 5973007"/>
              <a:gd name="connsiteX48003" fmla="*/ 1374960 w 6884782"/>
              <a:gd name="connsiteY48003" fmla="*/ 1677859 h 5973007"/>
              <a:gd name="connsiteX48004" fmla="*/ 1375993 w 6884782"/>
              <a:gd name="connsiteY48004" fmla="*/ 1674297 h 5973007"/>
              <a:gd name="connsiteX48005" fmla="*/ 1058273 w 6884782"/>
              <a:gd name="connsiteY48005" fmla="*/ 1674142 h 5973007"/>
              <a:gd name="connsiteX48006" fmla="*/ 1058170 w 6884782"/>
              <a:gd name="connsiteY48006" fmla="*/ 1675845 h 5973007"/>
              <a:gd name="connsiteX48007" fmla="*/ 1061991 w 6884782"/>
              <a:gd name="connsiteY48007" fmla="*/ 1688237 h 5973007"/>
              <a:gd name="connsiteX48008" fmla="*/ 1054660 w 6884782"/>
              <a:gd name="connsiteY48008" fmla="*/ 1674297 h 5973007"/>
              <a:gd name="connsiteX48009" fmla="*/ 1058273 w 6884782"/>
              <a:gd name="connsiteY48009" fmla="*/ 1674142 h 5973007"/>
              <a:gd name="connsiteX48010" fmla="*/ 4570597 w 6884782"/>
              <a:gd name="connsiteY48010" fmla="*/ 1674078 h 5973007"/>
              <a:gd name="connsiteX48011" fmla="*/ 4574652 w 6884782"/>
              <a:gd name="connsiteY48011" fmla="*/ 1685032 h 5973007"/>
              <a:gd name="connsiteX48012" fmla="*/ 4573372 w 6884782"/>
              <a:gd name="connsiteY48012" fmla="*/ 1686171 h 5973007"/>
              <a:gd name="connsiteX48013" fmla="*/ 4560993 w 6884782"/>
              <a:gd name="connsiteY48013" fmla="*/ 1691577 h 5973007"/>
              <a:gd name="connsiteX48014" fmla="*/ 4560566 w 6884782"/>
              <a:gd name="connsiteY48014" fmla="*/ 1680907 h 5973007"/>
              <a:gd name="connsiteX48015" fmla="*/ 4570597 w 6884782"/>
              <a:gd name="connsiteY48015" fmla="*/ 1674078 h 5973007"/>
              <a:gd name="connsiteX48016" fmla="*/ 1565365 w 6884782"/>
              <a:gd name="connsiteY48016" fmla="*/ 1672902 h 5973007"/>
              <a:gd name="connsiteX48017" fmla="*/ 1570011 w 6884782"/>
              <a:gd name="connsiteY48017" fmla="*/ 1678479 h 5973007"/>
              <a:gd name="connsiteX48018" fmla="*/ 1565055 w 6884782"/>
              <a:gd name="connsiteY48018" fmla="*/ 1681267 h 5973007"/>
              <a:gd name="connsiteX48019" fmla="*/ 1563300 w 6884782"/>
              <a:gd name="connsiteY48019" fmla="*/ 1677239 h 5973007"/>
              <a:gd name="connsiteX48020" fmla="*/ 1565365 w 6884782"/>
              <a:gd name="connsiteY48020" fmla="*/ 1672902 h 5973007"/>
              <a:gd name="connsiteX48021" fmla="*/ 1230092 w 6884782"/>
              <a:gd name="connsiteY48021" fmla="*/ 1672902 h 5973007"/>
              <a:gd name="connsiteX48022" fmla="*/ 1229575 w 6884782"/>
              <a:gd name="connsiteY48022" fmla="*/ 1677239 h 5973007"/>
              <a:gd name="connsiteX48023" fmla="*/ 1226891 w 6884782"/>
              <a:gd name="connsiteY48023" fmla="*/ 1676775 h 5973007"/>
              <a:gd name="connsiteX48024" fmla="*/ 1227510 w 6884782"/>
              <a:gd name="connsiteY48024" fmla="*/ 1673212 h 5973007"/>
              <a:gd name="connsiteX48025" fmla="*/ 1230092 w 6884782"/>
              <a:gd name="connsiteY48025" fmla="*/ 1672902 h 5973007"/>
              <a:gd name="connsiteX48026" fmla="*/ 5832548 w 6884782"/>
              <a:gd name="connsiteY48026" fmla="*/ 1672797 h 5973007"/>
              <a:gd name="connsiteX48027" fmla="*/ 5837457 w 6884782"/>
              <a:gd name="connsiteY48027" fmla="*/ 1675785 h 5973007"/>
              <a:gd name="connsiteX48028" fmla="*/ 5837457 w 6884782"/>
              <a:gd name="connsiteY48028" fmla="*/ 1680765 h 5973007"/>
              <a:gd name="connsiteX48029" fmla="*/ 5833829 w 6884782"/>
              <a:gd name="connsiteY48029" fmla="*/ 1685460 h 5973007"/>
              <a:gd name="connsiteX48030" fmla="*/ 5834469 w 6884782"/>
              <a:gd name="connsiteY48030" fmla="*/ 1684464 h 5973007"/>
              <a:gd name="connsiteX48031" fmla="*/ 5832548 w 6884782"/>
              <a:gd name="connsiteY48031" fmla="*/ 1683183 h 5973007"/>
              <a:gd name="connsiteX48032" fmla="*/ 5831908 w 6884782"/>
              <a:gd name="connsiteY48032" fmla="*/ 1684179 h 5973007"/>
              <a:gd name="connsiteX48033" fmla="*/ 5830627 w 6884782"/>
              <a:gd name="connsiteY48033" fmla="*/ 1682045 h 5973007"/>
              <a:gd name="connsiteX48034" fmla="*/ 5832548 w 6884782"/>
              <a:gd name="connsiteY48034" fmla="*/ 1672797 h 5973007"/>
              <a:gd name="connsiteX48035" fmla="*/ 4631849 w 6884782"/>
              <a:gd name="connsiteY48035" fmla="*/ 1672797 h 5973007"/>
              <a:gd name="connsiteX48036" fmla="*/ 4632489 w 6884782"/>
              <a:gd name="connsiteY48036" fmla="*/ 1673651 h 5973007"/>
              <a:gd name="connsiteX48037" fmla="*/ 4631635 w 6884782"/>
              <a:gd name="connsiteY48037" fmla="*/ 1675501 h 5973007"/>
              <a:gd name="connsiteX48038" fmla="*/ 4630568 w 6884782"/>
              <a:gd name="connsiteY48038" fmla="*/ 1675501 h 5973007"/>
              <a:gd name="connsiteX48039" fmla="*/ 4631849 w 6884782"/>
              <a:gd name="connsiteY48039" fmla="*/ 1672797 h 5973007"/>
              <a:gd name="connsiteX48040" fmla="*/ 885668 w 6884782"/>
              <a:gd name="connsiteY48040" fmla="*/ 1672070 h 5973007"/>
              <a:gd name="connsiteX48041" fmla="*/ 891618 w 6884782"/>
              <a:gd name="connsiteY48041" fmla="*/ 1672438 h 5973007"/>
              <a:gd name="connsiteX48042" fmla="*/ 894819 w 6884782"/>
              <a:gd name="connsiteY48042" fmla="*/ 1681267 h 5973007"/>
              <a:gd name="connsiteX48043" fmla="*/ 892444 w 6884782"/>
              <a:gd name="connsiteY48043" fmla="*/ 1685759 h 5973007"/>
              <a:gd name="connsiteX48044" fmla="*/ 882015 w 6884782"/>
              <a:gd name="connsiteY48044" fmla="*/ 1686533 h 5973007"/>
              <a:gd name="connsiteX48045" fmla="*/ 879743 w 6884782"/>
              <a:gd name="connsiteY48045" fmla="*/ 1677549 h 5973007"/>
              <a:gd name="connsiteX48046" fmla="*/ 877988 w 6884782"/>
              <a:gd name="connsiteY48046" fmla="*/ 1676930 h 5973007"/>
              <a:gd name="connsiteX48047" fmla="*/ 876026 w 6884782"/>
              <a:gd name="connsiteY48047" fmla="*/ 1673832 h 5973007"/>
              <a:gd name="connsiteX48048" fmla="*/ 877781 w 6884782"/>
              <a:gd name="connsiteY48048" fmla="*/ 1672748 h 5973007"/>
              <a:gd name="connsiteX48049" fmla="*/ 880466 w 6884782"/>
              <a:gd name="connsiteY48049" fmla="*/ 1675691 h 5973007"/>
              <a:gd name="connsiteX48050" fmla="*/ 881396 w 6884782"/>
              <a:gd name="connsiteY48050" fmla="*/ 1675535 h 5973007"/>
              <a:gd name="connsiteX48051" fmla="*/ 883047 w 6884782"/>
              <a:gd name="connsiteY48051" fmla="*/ 1673677 h 5973007"/>
              <a:gd name="connsiteX48052" fmla="*/ 885668 w 6884782"/>
              <a:gd name="connsiteY48052" fmla="*/ 1672070 h 5973007"/>
              <a:gd name="connsiteX48053" fmla="*/ 1445587 w 6884782"/>
              <a:gd name="connsiteY48053" fmla="*/ 1671818 h 5973007"/>
              <a:gd name="connsiteX48054" fmla="*/ 1448995 w 6884782"/>
              <a:gd name="connsiteY48054" fmla="*/ 1673212 h 5973007"/>
              <a:gd name="connsiteX48055" fmla="*/ 1444142 w 6884782"/>
              <a:gd name="connsiteY48055" fmla="*/ 1682971 h 5973007"/>
              <a:gd name="connsiteX48056" fmla="*/ 1439495 w 6884782"/>
              <a:gd name="connsiteY48056" fmla="*/ 1680647 h 5973007"/>
              <a:gd name="connsiteX48057" fmla="*/ 1445587 w 6884782"/>
              <a:gd name="connsiteY48057" fmla="*/ 1671818 h 5973007"/>
              <a:gd name="connsiteX48058" fmla="*/ 1364841 w 6884782"/>
              <a:gd name="connsiteY48058" fmla="*/ 1670579 h 5973007"/>
              <a:gd name="connsiteX48059" fmla="*/ 1372689 w 6884782"/>
              <a:gd name="connsiteY48059" fmla="*/ 1673212 h 5973007"/>
              <a:gd name="connsiteX48060" fmla="*/ 1362260 w 6884782"/>
              <a:gd name="connsiteY48060" fmla="*/ 1676930 h 5973007"/>
              <a:gd name="connsiteX48061" fmla="*/ 1364841 w 6884782"/>
              <a:gd name="connsiteY48061" fmla="*/ 1670579 h 5973007"/>
              <a:gd name="connsiteX48062" fmla="*/ 1876992 w 6884782"/>
              <a:gd name="connsiteY48062" fmla="*/ 1670424 h 5973007"/>
              <a:gd name="connsiteX48063" fmla="*/ 1886388 w 6884782"/>
              <a:gd name="connsiteY48063" fmla="*/ 1703417 h 5973007"/>
              <a:gd name="connsiteX48064" fmla="*/ 1875443 w 6884782"/>
              <a:gd name="connsiteY48064" fmla="*/ 1680028 h 5973007"/>
              <a:gd name="connsiteX48065" fmla="*/ 1876992 w 6884782"/>
              <a:gd name="connsiteY48065" fmla="*/ 1670424 h 5973007"/>
              <a:gd name="connsiteX48066" fmla="*/ 998798 w 6884782"/>
              <a:gd name="connsiteY48066" fmla="*/ 1670114 h 5973007"/>
              <a:gd name="connsiteX48067" fmla="*/ 1001586 w 6884782"/>
              <a:gd name="connsiteY48067" fmla="*/ 1687308 h 5973007"/>
              <a:gd name="connsiteX48068" fmla="*/ 998178 w 6884782"/>
              <a:gd name="connsiteY48068" fmla="*/ 1686533 h 5973007"/>
              <a:gd name="connsiteX48069" fmla="*/ 995184 w 6884782"/>
              <a:gd name="connsiteY48069" fmla="*/ 1682196 h 5973007"/>
              <a:gd name="connsiteX48070" fmla="*/ 993531 w 6884782"/>
              <a:gd name="connsiteY48070" fmla="*/ 1678169 h 5973007"/>
              <a:gd name="connsiteX48071" fmla="*/ 987336 w 6884782"/>
              <a:gd name="connsiteY48071" fmla="*/ 1678479 h 5973007"/>
              <a:gd name="connsiteX48072" fmla="*/ 982380 w 6884782"/>
              <a:gd name="connsiteY48072" fmla="*/ 1675226 h 5973007"/>
              <a:gd name="connsiteX48073" fmla="*/ 987956 w 6884782"/>
              <a:gd name="connsiteY48073" fmla="*/ 1673057 h 5973007"/>
              <a:gd name="connsiteX48074" fmla="*/ 994668 w 6884782"/>
              <a:gd name="connsiteY48074" fmla="*/ 1672748 h 5973007"/>
              <a:gd name="connsiteX48075" fmla="*/ 996113 w 6884782"/>
              <a:gd name="connsiteY48075" fmla="*/ 1670424 h 5973007"/>
              <a:gd name="connsiteX48076" fmla="*/ 998798 w 6884782"/>
              <a:gd name="connsiteY48076" fmla="*/ 1670114 h 5973007"/>
              <a:gd name="connsiteX48077" fmla="*/ 4869599 w 6884782"/>
              <a:gd name="connsiteY48077" fmla="*/ 1669810 h 5973007"/>
              <a:gd name="connsiteX48078" fmla="*/ 4874080 w 6884782"/>
              <a:gd name="connsiteY48078" fmla="*/ 1672656 h 5973007"/>
              <a:gd name="connsiteX48079" fmla="*/ 4872586 w 6884782"/>
              <a:gd name="connsiteY48079" fmla="*/ 1684748 h 5973007"/>
              <a:gd name="connsiteX48080" fmla="*/ 4863196 w 6884782"/>
              <a:gd name="connsiteY48080" fmla="*/ 1670379 h 5973007"/>
              <a:gd name="connsiteX48081" fmla="*/ 4869599 w 6884782"/>
              <a:gd name="connsiteY48081" fmla="*/ 1669810 h 5973007"/>
              <a:gd name="connsiteX48082" fmla="*/ 5205521 w 6884782"/>
              <a:gd name="connsiteY48082" fmla="*/ 1669525 h 5973007"/>
              <a:gd name="connsiteX48083" fmla="*/ 5213418 w 6884782"/>
              <a:gd name="connsiteY48083" fmla="*/ 1674078 h 5973007"/>
              <a:gd name="connsiteX48084" fmla="*/ 5214698 w 6884782"/>
              <a:gd name="connsiteY48084" fmla="*/ 1679911 h 5973007"/>
              <a:gd name="connsiteX48085" fmla="*/ 5196771 w 6884782"/>
              <a:gd name="connsiteY48085" fmla="*/ 1673366 h 5973007"/>
              <a:gd name="connsiteX48086" fmla="*/ 5205521 w 6884782"/>
              <a:gd name="connsiteY48086" fmla="*/ 1669525 h 5973007"/>
              <a:gd name="connsiteX48087" fmla="*/ 6134110 w 6884782"/>
              <a:gd name="connsiteY48087" fmla="*/ 1668956 h 5973007"/>
              <a:gd name="connsiteX48088" fmla="*/ 6135604 w 6884782"/>
              <a:gd name="connsiteY48088" fmla="*/ 1670237 h 5973007"/>
              <a:gd name="connsiteX48089" fmla="*/ 6132830 w 6884782"/>
              <a:gd name="connsiteY48089" fmla="*/ 1680195 h 5973007"/>
              <a:gd name="connsiteX48090" fmla="*/ 6131976 w 6884782"/>
              <a:gd name="connsiteY48090" fmla="*/ 1679484 h 5973007"/>
              <a:gd name="connsiteX48091" fmla="*/ 6131549 w 6884782"/>
              <a:gd name="connsiteY48091" fmla="*/ 1679911 h 5973007"/>
              <a:gd name="connsiteX48092" fmla="*/ 6127494 w 6884782"/>
              <a:gd name="connsiteY48092" fmla="*/ 1679769 h 5973007"/>
              <a:gd name="connsiteX48093" fmla="*/ 6121946 w 6884782"/>
              <a:gd name="connsiteY48093" fmla="*/ 1680195 h 5973007"/>
              <a:gd name="connsiteX48094" fmla="*/ 6102951 w 6884782"/>
              <a:gd name="connsiteY48094" fmla="*/ 1676354 h 5973007"/>
              <a:gd name="connsiteX48095" fmla="*/ 6110634 w 6884782"/>
              <a:gd name="connsiteY48095" fmla="*/ 1674505 h 5973007"/>
              <a:gd name="connsiteX48096" fmla="*/ 6120878 w 6884782"/>
              <a:gd name="connsiteY48096" fmla="*/ 1674647 h 5973007"/>
              <a:gd name="connsiteX48097" fmla="*/ 6128348 w 6884782"/>
              <a:gd name="connsiteY48097" fmla="*/ 1673651 h 5973007"/>
              <a:gd name="connsiteX48098" fmla="*/ 6129629 w 6884782"/>
              <a:gd name="connsiteY48098" fmla="*/ 1671375 h 5973007"/>
              <a:gd name="connsiteX48099" fmla="*/ 6131976 w 6884782"/>
              <a:gd name="connsiteY48099" fmla="*/ 1669241 h 5973007"/>
              <a:gd name="connsiteX48100" fmla="*/ 6134110 w 6884782"/>
              <a:gd name="connsiteY48100" fmla="*/ 1668956 h 5973007"/>
              <a:gd name="connsiteX48101" fmla="*/ 6080969 w 6884782"/>
              <a:gd name="connsiteY48101" fmla="*/ 1668529 h 5973007"/>
              <a:gd name="connsiteX48102" fmla="*/ 6050877 w 6884782"/>
              <a:gd name="connsiteY48102" fmla="*/ 1688020 h 5973007"/>
              <a:gd name="connsiteX48103" fmla="*/ 6080969 w 6884782"/>
              <a:gd name="connsiteY48103" fmla="*/ 1668529 h 5973007"/>
              <a:gd name="connsiteX48104" fmla="*/ 1687827 w 6884782"/>
              <a:gd name="connsiteY48104" fmla="*/ 1667946 h 5973007"/>
              <a:gd name="connsiteX48105" fmla="*/ 1690924 w 6884782"/>
              <a:gd name="connsiteY48105" fmla="*/ 1669495 h 5973007"/>
              <a:gd name="connsiteX48106" fmla="*/ 1688033 w 6884782"/>
              <a:gd name="connsiteY48106" fmla="*/ 1682506 h 5973007"/>
              <a:gd name="connsiteX48107" fmla="*/ 1684212 w 6884782"/>
              <a:gd name="connsiteY48107" fmla="*/ 1675845 h 5973007"/>
              <a:gd name="connsiteX48108" fmla="*/ 1687827 w 6884782"/>
              <a:gd name="connsiteY48108" fmla="*/ 1667946 h 5973007"/>
              <a:gd name="connsiteX48109" fmla="*/ 5221314 w 6884782"/>
              <a:gd name="connsiteY48109" fmla="*/ 1667107 h 5973007"/>
              <a:gd name="connsiteX48110" fmla="*/ 5224942 w 6884782"/>
              <a:gd name="connsiteY48110" fmla="*/ 1675216 h 5973007"/>
              <a:gd name="connsiteX48111" fmla="*/ 5222808 w 6884782"/>
              <a:gd name="connsiteY48111" fmla="*/ 1678061 h 5973007"/>
              <a:gd name="connsiteX48112" fmla="*/ 5217046 w 6884782"/>
              <a:gd name="connsiteY48112" fmla="*/ 1678346 h 5973007"/>
              <a:gd name="connsiteX48113" fmla="*/ 5217686 w 6884782"/>
              <a:gd name="connsiteY48113" fmla="*/ 1667818 h 5973007"/>
              <a:gd name="connsiteX48114" fmla="*/ 5221314 w 6884782"/>
              <a:gd name="connsiteY48114" fmla="*/ 1667107 h 5973007"/>
              <a:gd name="connsiteX48115" fmla="*/ 4841854 w 6884782"/>
              <a:gd name="connsiteY48115" fmla="*/ 1666965 h 5973007"/>
              <a:gd name="connsiteX48116" fmla="*/ 4849964 w 6884782"/>
              <a:gd name="connsiteY48116" fmla="*/ 1695276 h 5973007"/>
              <a:gd name="connsiteX48117" fmla="*/ 4844202 w 6884782"/>
              <a:gd name="connsiteY48117" fmla="*/ 1695276 h 5973007"/>
              <a:gd name="connsiteX48118" fmla="*/ 4841854 w 6884782"/>
              <a:gd name="connsiteY48118" fmla="*/ 1666965 h 5973007"/>
              <a:gd name="connsiteX48119" fmla="*/ 1667485 w 6884782"/>
              <a:gd name="connsiteY48119" fmla="*/ 1666706 h 5973007"/>
              <a:gd name="connsiteX48120" fmla="*/ 1671512 w 6884782"/>
              <a:gd name="connsiteY48120" fmla="*/ 1668255 h 5973007"/>
              <a:gd name="connsiteX48121" fmla="*/ 1662012 w 6884782"/>
              <a:gd name="connsiteY48121" fmla="*/ 1686533 h 5973007"/>
              <a:gd name="connsiteX48122" fmla="*/ 1659018 w 6884782"/>
              <a:gd name="connsiteY48122" fmla="*/ 1680802 h 5973007"/>
              <a:gd name="connsiteX48123" fmla="*/ 1659225 w 6884782"/>
              <a:gd name="connsiteY48123" fmla="*/ 1673832 h 5973007"/>
              <a:gd name="connsiteX48124" fmla="*/ 1667485 w 6884782"/>
              <a:gd name="connsiteY48124" fmla="*/ 1666706 h 5973007"/>
              <a:gd name="connsiteX48125" fmla="*/ 4806213 w 6884782"/>
              <a:gd name="connsiteY48125" fmla="*/ 1665827 h 5973007"/>
              <a:gd name="connsiteX48126" fmla="*/ 4811548 w 6884782"/>
              <a:gd name="connsiteY48126" fmla="*/ 1670094 h 5973007"/>
              <a:gd name="connsiteX48127" fmla="*/ 4814536 w 6884782"/>
              <a:gd name="connsiteY48127" fmla="*/ 1676923 h 5973007"/>
              <a:gd name="connsiteX48128" fmla="*/ 4807066 w 6884782"/>
              <a:gd name="connsiteY48128" fmla="*/ 1677635 h 5973007"/>
              <a:gd name="connsiteX48129" fmla="*/ 4801091 w 6884782"/>
              <a:gd name="connsiteY48129" fmla="*/ 1668956 h 5973007"/>
              <a:gd name="connsiteX48130" fmla="*/ 4806213 w 6884782"/>
              <a:gd name="connsiteY48130" fmla="*/ 1665827 h 5973007"/>
              <a:gd name="connsiteX48131" fmla="*/ 5102226 w 6884782"/>
              <a:gd name="connsiteY48131" fmla="*/ 1664830 h 5973007"/>
              <a:gd name="connsiteX48132" fmla="*/ 5105000 w 6884782"/>
              <a:gd name="connsiteY48132" fmla="*/ 1668387 h 5973007"/>
              <a:gd name="connsiteX48133" fmla="*/ 5107348 w 6884782"/>
              <a:gd name="connsiteY48133" fmla="*/ 1674931 h 5973007"/>
              <a:gd name="connsiteX48134" fmla="*/ 5109909 w 6884782"/>
              <a:gd name="connsiteY48134" fmla="*/ 1677777 h 5973007"/>
              <a:gd name="connsiteX48135" fmla="*/ 5109482 w 6884782"/>
              <a:gd name="connsiteY48135" fmla="*/ 1678773 h 5973007"/>
              <a:gd name="connsiteX48136" fmla="*/ 5097744 w 6884782"/>
              <a:gd name="connsiteY48136" fmla="*/ 1669525 h 5973007"/>
              <a:gd name="connsiteX48137" fmla="*/ 5097317 w 6884782"/>
              <a:gd name="connsiteY48137" fmla="*/ 1667107 h 5973007"/>
              <a:gd name="connsiteX48138" fmla="*/ 5099665 w 6884782"/>
              <a:gd name="connsiteY48138" fmla="*/ 1665257 h 5973007"/>
              <a:gd name="connsiteX48139" fmla="*/ 5102226 w 6884782"/>
              <a:gd name="connsiteY48139" fmla="*/ 1664830 h 5973007"/>
              <a:gd name="connsiteX48140" fmla="*/ 5736083 w 6884782"/>
              <a:gd name="connsiteY48140" fmla="*/ 1664404 h 5973007"/>
              <a:gd name="connsiteX48141" fmla="*/ 5738430 w 6884782"/>
              <a:gd name="connsiteY48141" fmla="*/ 1666111 h 5973007"/>
              <a:gd name="connsiteX48142" fmla="*/ 5736296 w 6884782"/>
              <a:gd name="connsiteY48142" fmla="*/ 1672371 h 5973007"/>
              <a:gd name="connsiteX48143" fmla="*/ 5732668 w 6884782"/>
              <a:gd name="connsiteY48143" fmla="*/ 1667249 h 5973007"/>
              <a:gd name="connsiteX48144" fmla="*/ 5736083 w 6884782"/>
              <a:gd name="connsiteY48144" fmla="*/ 1664404 h 5973007"/>
              <a:gd name="connsiteX48145" fmla="*/ 4651057 w 6884782"/>
              <a:gd name="connsiteY48145" fmla="*/ 1664261 h 5973007"/>
              <a:gd name="connsiteX48146" fmla="*/ 4648922 w 6884782"/>
              <a:gd name="connsiteY48146" fmla="*/ 1666965 h 5973007"/>
              <a:gd name="connsiteX48147" fmla="*/ 4649349 w 6884782"/>
              <a:gd name="connsiteY48147" fmla="*/ 1669383 h 5973007"/>
              <a:gd name="connsiteX48148" fmla="*/ 4646148 w 6884782"/>
              <a:gd name="connsiteY48148" fmla="*/ 1670806 h 5973007"/>
              <a:gd name="connsiteX48149" fmla="*/ 4651057 w 6884782"/>
              <a:gd name="connsiteY48149" fmla="*/ 1664261 h 5973007"/>
              <a:gd name="connsiteX48150" fmla="*/ 3644782 w 6884782"/>
              <a:gd name="connsiteY48150" fmla="*/ 1664119 h 5973007"/>
              <a:gd name="connsiteX48151" fmla="*/ 3649478 w 6884782"/>
              <a:gd name="connsiteY48151" fmla="*/ 1664261 h 5973007"/>
              <a:gd name="connsiteX48152" fmla="*/ 3645636 w 6884782"/>
              <a:gd name="connsiteY48152" fmla="*/ 1670806 h 5973007"/>
              <a:gd name="connsiteX48153" fmla="*/ 3644782 w 6884782"/>
              <a:gd name="connsiteY48153" fmla="*/ 1664119 h 5973007"/>
              <a:gd name="connsiteX48154" fmla="*/ 918748 w 6884782"/>
              <a:gd name="connsiteY48154" fmla="*/ 1664054 h 5973007"/>
              <a:gd name="connsiteX48155" fmla="*/ 925279 w 6884782"/>
              <a:gd name="connsiteY48155" fmla="*/ 1666397 h 5973007"/>
              <a:gd name="connsiteX48156" fmla="*/ 915676 w 6884782"/>
              <a:gd name="connsiteY48156" fmla="*/ 1669650 h 5973007"/>
              <a:gd name="connsiteX48157" fmla="*/ 905248 w 6884782"/>
              <a:gd name="connsiteY48157" fmla="*/ 1666862 h 5973007"/>
              <a:gd name="connsiteX48158" fmla="*/ 909584 w 6884782"/>
              <a:gd name="connsiteY48158" fmla="*/ 1664383 h 5973007"/>
              <a:gd name="connsiteX48159" fmla="*/ 918748 w 6884782"/>
              <a:gd name="connsiteY48159" fmla="*/ 1664054 h 5973007"/>
              <a:gd name="connsiteX48160" fmla="*/ 5595866 w 6884782"/>
              <a:gd name="connsiteY48160" fmla="*/ 1663977 h 5973007"/>
              <a:gd name="connsiteX48161" fmla="*/ 5587969 w 6884782"/>
              <a:gd name="connsiteY48161" fmla="*/ 1684037 h 5973007"/>
              <a:gd name="connsiteX48162" fmla="*/ 5585195 w 6884782"/>
              <a:gd name="connsiteY48162" fmla="*/ 1680053 h 5973007"/>
              <a:gd name="connsiteX48163" fmla="*/ 5595866 w 6884782"/>
              <a:gd name="connsiteY48163" fmla="*/ 1663977 h 5973007"/>
              <a:gd name="connsiteX48164" fmla="*/ 1850093 w 6884782"/>
              <a:gd name="connsiteY48164" fmla="*/ 1663163 h 5973007"/>
              <a:gd name="connsiteX48165" fmla="*/ 1855514 w 6884782"/>
              <a:gd name="connsiteY48165" fmla="*/ 1667016 h 5973007"/>
              <a:gd name="connsiteX48166" fmla="*/ 1856031 w 6884782"/>
              <a:gd name="connsiteY48166" fmla="*/ 1671199 h 5973007"/>
              <a:gd name="connsiteX48167" fmla="*/ 1843434 w 6884782"/>
              <a:gd name="connsiteY48167" fmla="*/ 1665002 h 5973007"/>
              <a:gd name="connsiteX48168" fmla="*/ 1850093 w 6884782"/>
              <a:gd name="connsiteY48168" fmla="*/ 1663163 h 5973007"/>
              <a:gd name="connsiteX48169" fmla="*/ 5980448 w 6884782"/>
              <a:gd name="connsiteY48169" fmla="*/ 1662697 h 5973007"/>
              <a:gd name="connsiteX48170" fmla="*/ 5988345 w 6884782"/>
              <a:gd name="connsiteY48170" fmla="*/ 1666538 h 5973007"/>
              <a:gd name="connsiteX48171" fmla="*/ 5983009 w 6884782"/>
              <a:gd name="connsiteY48171" fmla="*/ 1678631 h 5973007"/>
              <a:gd name="connsiteX48172" fmla="*/ 5972338 w 6884782"/>
              <a:gd name="connsiteY48172" fmla="*/ 1671233 h 5973007"/>
              <a:gd name="connsiteX48173" fmla="*/ 5980448 w 6884782"/>
              <a:gd name="connsiteY48173" fmla="*/ 1662697 h 5973007"/>
              <a:gd name="connsiteX48174" fmla="*/ 5344244 w 6884782"/>
              <a:gd name="connsiteY48174" fmla="*/ 1662412 h 5973007"/>
              <a:gd name="connsiteX48175" fmla="*/ 5348726 w 6884782"/>
              <a:gd name="connsiteY48175" fmla="*/ 1664546 h 5973007"/>
              <a:gd name="connsiteX48176" fmla="*/ 5349793 w 6884782"/>
              <a:gd name="connsiteY48176" fmla="*/ 1668956 h 5973007"/>
              <a:gd name="connsiteX48177" fmla="*/ 5337628 w 6884782"/>
              <a:gd name="connsiteY48177" fmla="*/ 1669525 h 5973007"/>
              <a:gd name="connsiteX48178" fmla="*/ 5338268 w 6884782"/>
              <a:gd name="connsiteY48178" fmla="*/ 1664546 h 5973007"/>
              <a:gd name="connsiteX48179" fmla="*/ 5344244 w 6884782"/>
              <a:gd name="connsiteY48179" fmla="*/ 1662412 h 5973007"/>
              <a:gd name="connsiteX48180" fmla="*/ 1716738 w 6884782"/>
              <a:gd name="connsiteY48180" fmla="*/ 1661750 h 5973007"/>
              <a:gd name="connsiteX48181" fmla="*/ 1726547 w 6884782"/>
              <a:gd name="connsiteY48181" fmla="*/ 1671663 h 5973007"/>
              <a:gd name="connsiteX48182" fmla="*/ 1719216 w 6884782"/>
              <a:gd name="connsiteY48182" fmla="*/ 1678014 h 5973007"/>
              <a:gd name="connsiteX48183" fmla="*/ 1709407 w 6884782"/>
              <a:gd name="connsiteY48183" fmla="*/ 1676775 h 5973007"/>
              <a:gd name="connsiteX48184" fmla="*/ 1709097 w 6884782"/>
              <a:gd name="connsiteY48184" fmla="*/ 1672283 h 5973007"/>
              <a:gd name="connsiteX48185" fmla="*/ 1716738 w 6884782"/>
              <a:gd name="connsiteY48185" fmla="*/ 1661750 h 5973007"/>
              <a:gd name="connsiteX48186" fmla="*/ 1684316 w 6884782"/>
              <a:gd name="connsiteY48186" fmla="*/ 1661595 h 5973007"/>
              <a:gd name="connsiteX48187" fmla="*/ 1685968 w 6884782"/>
              <a:gd name="connsiteY48187" fmla="*/ 1662524 h 5973007"/>
              <a:gd name="connsiteX48188" fmla="*/ 1686277 w 6884782"/>
              <a:gd name="connsiteY48188" fmla="*/ 1664848 h 5973007"/>
              <a:gd name="connsiteX48189" fmla="*/ 1682973 w 6884782"/>
              <a:gd name="connsiteY48189" fmla="*/ 1672593 h 5973007"/>
              <a:gd name="connsiteX48190" fmla="*/ 1681837 w 6884782"/>
              <a:gd name="connsiteY48190" fmla="*/ 1674297 h 5973007"/>
              <a:gd name="connsiteX48191" fmla="*/ 1680702 w 6884782"/>
              <a:gd name="connsiteY48191" fmla="*/ 1675845 h 5973007"/>
              <a:gd name="connsiteX48192" fmla="*/ 1677088 w 6884782"/>
              <a:gd name="connsiteY48192" fmla="*/ 1676620 h 5973007"/>
              <a:gd name="connsiteX48193" fmla="*/ 1679669 w 6884782"/>
              <a:gd name="connsiteY48193" fmla="*/ 1670889 h 5973007"/>
              <a:gd name="connsiteX48194" fmla="*/ 1677810 w 6884782"/>
              <a:gd name="connsiteY48194" fmla="*/ 1672283 h 5973007"/>
              <a:gd name="connsiteX48195" fmla="*/ 1673680 w 6884782"/>
              <a:gd name="connsiteY48195" fmla="*/ 1672438 h 5973007"/>
              <a:gd name="connsiteX48196" fmla="*/ 1673164 w 6884782"/>
              <a:gd name="connsiteY48196" fmla="*/ 1667326 h 5973007"/>
              <a:gd name="connsiteX48197" fmla="*/ 1678017 w 6884782"/>
              <a:gd name="connsiteY48197" fmla="*/ 1666862 h 5973007"/>
              <a:gd name="connsiteX48198" fmla="*/ 1680495 w 6884782"/>
              <a:gd name="connsiteY48198" fmla="*/ 1669185 h 5973007"/>
              <a:gd name="connsiteX48199" fmla="*/ 1680805 w 6884782"/>
              <a:gd name="connsiteY48199" fmla="*/ 1668410 h 5973007"/>
              <a:gd name="connsiteX48200" fmla="*/ 1684316 w 6884782"/>
              <a:gd name="connsiteY48200" fmla="*/ 1661595 h 5973007"/>
              <a:gd name="connsiteX48201" fmla="*/ 5839805 w 6884782"/>
              <a:gd name="connsiteY48201" fmla="*/ 1661558 h 5973007"/>
              <a:gd name="connsiteX48202" fmla="*/ 5843433 w 6884782"/>
              <a:gd name="connsiteY48202" fmla="*/ 1663835 h 5973007"/>
              <a:gd name="connsiteX48203" fmla="*/ 5844713 w 6884782"/>
              <a:gd name="connsiteY48203" fmla="*/ 1668672 h 5973007"/>
              <a:gd name="connsiteX48204" fmla="*/ 5835536 w 6884782"/>
              <a:gd name="connsiteY48204" fmla="*/ 1670664 h 5973007"/>
              <a:gd name="connsiteX48205" fmla="*/ 5836390 w 6884782"/>
              <a:gd name="connsiteY48205" fmla="*/ 1663692 h 5973007"/>
              <a:gd name="connsiteX48206" fmla="*/ 5839805 w 6884782"/>
              <a:gd name="connsiteY48206" fmla="*/ 1661558 h 5973007"/>
              <a:gd name="connsiteX48207" fmla="*/ 5916849 w 6884782"/>
              <a:gd name="connsiteY48207" fmla="*/ 1661416 h 5973007"/>
              <a:gd name="connsiteX48208" fmla="*/ 5907886 w 6884782"/>
              <a:gd name="connsiteY48208" fmla="*/ 1694991 h 5973007"/>
              <a:gd name="connsiteX48209" fmla="*/ 5909379 w 6884782"/>
              <a:gd name="connsiteY48209" fmla="*/ 1678488 h 5973007"/>
              <a:gd name="connsiteX48210" fmla="*/ 5916849 w 6884782"/>
              <a:gd name="connsiteY48210" fmla="*/ 1661416 h 5973007"/>
              <a:gd name="connsiteX48211" fmla="*/ 1488955 w 6884782"/>
              <a:gd name="connsiteY48211" fmla="*/ 1661131 h 5973007"/>
              <a:gd name="connsiteX48212" fmla="*/ 1490813 w 6884782"/>
              <a:gd name="connsiteY48212" fmla="*/ 1662060 h 5973007"/>
              <a:gd name="connsiteX48213" fmla="*/ 1491020 w 6884782"/>
              <a:gd name="connsiteY48213" fmla="*/ 1662369 h 5973007"/>
              <a:gd name="connsiteX48214" fmla="*/ 1494118 w 6884782"/>
              <a:gd name="connsiteY48214" fmla="*/ 1664228 h 5973007"/>
              <a:gd name="connsiteX48215" fmla="*/ 1495976 w 6884782"/>
              <a:gd name="connsiteY48215" fmla="*/ 1667481 h 5973007"/>
              <a:gd name="connsiteX48216" fmla="*/ 1478010 w 6884782"/>
              <a:gd name="connsiteY48216" fmla="*/ 1678633 h 5973007"/>
              <a:gd name="connsiteX48217" fmla="*/ 1477906 w 6884782"/>
              <a:gd name="connsiteY48217" fmla="*/ 1673367 h 5973007"/>
              <a:gd name="connsiteX48218" fmla="*/ 1482760 w 6884782"/>
              <a:gd name="connsiteY48218" fmla="*/ 1666087 h 5973007"/>
              <a:gd name="connsiteX48219" fmla="*/ 1486683 w 6884782"/>
              <a:gd name="connsiteY48219" fmla="*/ 1663764 h 5973007"/>
              <a:gd name="connsiteX48220" fmla="*/ 1487406 w 6884782"/>
              <a:gd name="connsiteY48220" fmla="*/ 1661905 h 5973007"/>
              <a:gd name="connsiteX48221" fmla="*/ 1488955 w 6884782"/>
              <a:gd name="connsiteY48221" fmla="*/ 1661131 h 5973007"/>
              <a:gd name="connsiteX48222" fmla="*/ 6163136 w 6884782"/>
              <a:gd name="connsiteY48222" fmla="*/ 1660563 h 5973007"/>
              <a:gd name="connsiteX48223" fmla="*/ 6164629 w 6884782"/>
              <a:gd name="connsiteY48223" fmla="*/ 1661985 h 5973007"/>
              <a:gd name="connsiteX48224" fmla="*/ 6166764 w 6884782"/>
              <a:gd name="connsiteY48224" fmla="*/ 1664830 h 5973007"/>
              <a:gd name="connsiteX48225" fmla="*/ 6166124 w 6884782"/>
              <a:gd name="connsiteY48225" fmla="*/ 1666822 h 5973007"/>
              <a:gd name="connsiteX48226" fmla="*/ 6164203 w 6884782"/>
              <a:gd name="connsiteY48226" fmla="*/ 1669099 h 5973007"/>
              <a:gd name="connsiteX48227" fmla="*/ 6160148 w 6884782"/>
              <a:gd name="connsiteY48227" fmla="*/ 1664973 h 5973007"/>
              <a:gd name="connsiteX48228" fmla="*/ 6161215 w 6884782"/>
              <a:gd name="connsiteY48228" fmla="*/ 1661274 h 5973007"/>
              <a:gd name="connsiteX48229" fmla="*/ 6163136 w 6884782"/>
              <a:gd name="connsiteY48229" fmla="*/ 1660563 h 5973007"/>
              <a:gd name="connsiteX48230" fmla="*/ 1511671 w 6884782"/>
              <a:gd name="connsiteY48230" fmla="*/ 1660511 h 5973007"/>
              <a:gd name="connsiteX48231" fmla="*/ 1514046 w 6884782"/>
              <a:gd name="connsiteY48231" fmla="*/ 1661440 h 5973007"/>
              <a:gd name="connsiteX48232" fmla="*/ 1507438 w 6884782"/>
              <a:gd name="connsiteY48232" fmla="*/ 1665002 h 5973007"/>
              <a:gd name="connsiteX48233" fmla="*/ 1503514 w 6884782"/>
              <a:gd name="connsiteY48233" fmla="*/ 1666397 h 5973007"/>
              <a:gd name="connsiteX48234" fmla="*/ 1501139 w 6884782"/>
              <a:gd name="connsiteY48234" fmla="*/ 1665467 h 5973007"/>
              <a:gd name="connsiteX48235" fmla="*/ 1500829 w 6884782"/>
              <a:gd name="connsiteY48235" fmla="*/ 1664693 h 5973007"/>
              <a:gd name="connsiteX48236" fmla="*/ 1502172 w 6884782"/>
              <a:gd name="connsiteY48236" fmla="*/ 1663454 h 5973007"/>
              <a:gd name="connsiteX48237" fmla="*/ 1510123 w 6884782"/>
              <a:gd name="connsiteY48237" fmla="*/ 1661131 h 5973007"/>
              <a:gd name="connsiteX48238" fmla="*/ 1511671 w 6884782"/>
              <a:gd name="connsiteY48238" fmla="*/ 1660511 h 5973007"/>
              <a:gd name="connsiteX48239" fmla="*/ 891205 w 6884782"/>
              <a:gd name="connsiteY48239" fmla="*/ 1659736 h 5973007"/>
              <a:gd name="connsiteX48240" fmla="*/ 904008 w 6884782"/>
              <a:gd name="connsiteY48240" fmla="*/ 1662989 h 5973007"/>
              <a:gd name="connsiteX48241" fmla="*/ 899259 w 6884782"/>
              <a:gd name="connsiteY48241" fmla="*/ 1668875 h 5973007"/>
              <a:gd name="connsiteX48242" fmla="*/ 894199 w 6884782"/>
              <a:gd name="connsiteY48242" fmla="*/ 1668410 h 5973007"/>
              <a:gd name="connsiteX48243" fmla="*/ 888210 w 6884782"/>
              <a:gd name="connsiteY48243" fmla="*/ 1662679 h 5973007"/>
              <a:gd name="connsiteX48244" fmla="*/ 891205 w 6884782"/>
              <a:gd name="connsiteY48244" fmla="*/ 1659736 h 5973007"/>
              <a:gd name="connsiteX48245" fmla="*/ 1726754 w 6884782"/>
              <a:gd name="connsiteY48245" fmla="*/ 1659427 h 5973007"/>
              <a:gd name="connsiteX48246" fmla="*/ 1731710 w 6884782"/>
              <a:gd name="connsiteY48246" fmla="*/ 1661285 h 5973007"/>
              <a:gd name="connsiteX48247" fmla="*/ 1728716 w 6884782"/>
              <a:gd name="connsiteY48247" fmla="*/ 1666552 h 5973007"/>
              <a:gd name="connsiteX48248" fmla="*/ 1724999 w 6884782"/>
              <a:gd name="connsiteY48248" fmla="*/ 1664228 h 5973007"/>
              <a:gd name="connsiteX48249" fmla="*/ 1726754 w 6884782"/>
              <a:gd name="connsiteY48249" fmla="*/ 1659427 h 5973007"/>
              <a:gd name="connsiteX48250" fmla="*/ 1393030 w 6884782"/>
              <a:gd name="connsiteY48250" fmla="*/ 1659117 h 5973007"/>
              <a:gd name="connsiteX48251" fmla="*/ 1396231 w 6884782"/>
              <a:gd name="connsiteY48251" fmla="*/ 1665312 h 5973007"/>
              <a:gd name="connsiteX48252" fmla="*/ 1392824 w 6884782"/>
              <a:gd name="connsiteY48252" fmla="*/ 1662989 h 5973007"/>
              <a:gd name="connsiteX48253" fmla="*/ 1393030 w 6884782"/>
              <a:gd name="connsiteY48253" fmla="*/ 1659117 h 5973007"/>
              <a:gd name="connsiteX48254" fmla="*/ 4912283 w 6884782"/>
              <a:gd name="connsiteY48254" fmla="*/ 1658855 h 5973007"/>
              <a:gd name="connsiteX48255" fmla="*/ 4913563 w 6884782"/>
              <a:gd name="connsiteY48255" fmla="*/ 1661132 h 5973007"/>
              <a:gd name="connsiteX48256" fmla="*/ 4915483 w 6884782"/>
              <a:gd name="connsiteY48256" fmla="*/ 1668387 h 5973007"/>
              <a:gd name="connsiteX48257" fmla="*/ 4911855 w 6884782"/>
              <a:gd name="connsiteY48257" fmla="*/ 1667676 h 5973007"/>
              <a:gd name="connsiteX48258" fmla="*/ 4911428 w 6884782"/>
              <a:gd name="connsiteY48258" fmla="*/ 1664261 h 5973007"/>
              <a:gd name="connsiteX48259" fmla="*/ 4910148 w 6884782"/>
              <a:gd name="connsiteY48259" fmla="*/ 1661985 h 5973007"/>
              <a:gd name="connsiteX48260" fmla="*/ 4912283 w 6884782"/>
              <a:gd name="connsiteY48260" fmla="*/ 1658855 h 5973007"/>
              <a:gd name="connsiteX48261" fmla="*/ 4886032 w 6884782"/>
              <a:gd name="connsiteY48261" fmla="*/ 1658428 h 5973007"/>
              <a:gd name="connsiteX48262" fmla="*/ 4888379 w 6884782"/>
              <a:gd name="connsiteY48262" fmla="*/ 1669383 h 5973007"/>
              <a:gd name="connsiteX48263" fmla="*/ 4886458 w 6884782"/>
              <a:gd name="connsiteY48263" fmla="*/ 1671659 h 5973007"/>
              <a:gd name="connsiteX48264" fmla="*/ 4883684 w 6884782"/>
              <a:gd name="connsiteY48264" fmla="*/ 1669952 h 5973007"/>
              <a:gd name="connsiteX48265" fmla="*/ 4886032 w 6884782"/>
              <a:gd name="connsiteY48265" fmla="*/ 1658428 h 5973007"/>
              <a:gd name="connsiteX48266" fmla="*/ 1461489 w 6884782"/>
              <a:gd name="connsiteY48266" fmla="*/ 1658187 h 5973007"/>
              <a:gd name="connsiteX48267" fmla="*/ 1461282 w 6884782"/>
              <a:gd name="connsiteY48267" fmla="*/ 1660046 h 5973007"/>
              <a:gd name="connsiteX48268" fmla="*/ 1462005 w 6884782"/>
              <a:gd name="connsiteY48268" fmla="*/ 1659891 h 5973007"/>
              <a:gd name="connsiteX48269" fmla="*/ 1466135 w 6884782"/>
              <a:gd name="connsiteY48269" fmla="*/ 1660511 h 5973007"/>
              <a:gd name="connsiteX48270" fmla="*/ 1462625 w 6884782"/>
              <a:gd name="connsiteY48270" fmla="*/ 1661750 h 5973007"/>
              <a:gd name="connsiteX48271" fmla="*/ 1461076 w 6884782"/>
              <a:gd name="connsiteY48271" fmla="*/ 1662060 h 5973007"/>
              <a:gd name="connsiteX48272" fmla="*/ 1460766 w 6884782"/>
              <a:gd name="connsiteY48272" fmla="*/ 1664383 h 5973007"/>
              <a:gd name="connsiteX48273" fmla="*/ 1455500 w 6884782"/>
              <a:gd name="connsiteY48273" fmla="*/ 1668875 h 5973007"/>
              <a:gd name="connsiteX48274" fmla="*/ 1452196 w 6884782"/>
              <a:gd name="connsiteY48274" fmla="*/ 1658962 h 5973007"/>
              <a:gd name="connsiteX48275" fmla="*/ 1461489 w 6884782"/>
              <a:gd name="connsiteY48275" fmla="*/ 1658187 h 5973007"/>
              <a:gd name="connsiteX48276" fmla="*/ 1316517 w 6884782"/>
              <a:gd name="connsiteY48276" fmla="*/ 1657723 h 5973007"/>
              <a:gd name="connsiteX48277" fmla="*/ 1319821 w 6884782"/>
              <a:gd name="connsiteY48277" fmla="*/ 1658497 h 5973007"/>
              <a:gd name="connsiteX48278" fmla="*/ 1316517 w 6884782"/>
              <a:gd name="connsiteY48278" fmla="*/ 1658652 h 5973007"/>
              <a:gd name="connsiteX48279" fmla="*/ 1315897 w 6884782"/>
              <a:gd name="connsiteY48279" fmla="*/ 1658187 h 5973007"/>
              <a:gd name="connsiteX48280" fmla="*/ 1316517 w 6884782"/>
              <a:gd name="connsiteY48280" fmla="*/ 1657723 h 5973007"/>
              <a:gd name="connsiteX48281" fmla="*/ 1164111 w 6884782"/>
              <a:gd name="connsiteY48281" fmla="*/ 1657567 h 5973007"/>
              <a:gd name="connsiteX48282" fmla="*/ 1176089 w 6884782"/>
              <a:gd name="connsiteY48282" fmla="*/ 1671973 h 5973007"/>
              <a:gd name="connsiteX48283" fmla="*/ 1173714 w 6884782"/>
              <a:gd name="connsiteY48283" fmla="*/ 1673522 h 5973007"/>
              <a:gd name="connsiteX48284" fmla="*/ 1174230 w 6884782"/>
              <a:gd name="connsiteY48284" fmla="*/ 1674452 h 5973007"/>
              <a:gd name="connsiteX48285" fmla="*/ 1175366 w 6884782"/>
              <a:gd name="connsiteY48285" fmla="*/ 1678169 h 5973007"/>
              <a:gd name="connsiteX48286" fmla="*/ 1175779 w 6884782"/>
              <a:gd name="connsiteY48286" fmla="*/ 1677859 h 5973007"/>
              <a:gd name="connsiteX48287" fmla="*/ 1178154 w 6884782"/>
              <a:gd name="connsiteY48287" fmla="*/ 1678788 h 5973007"/>
              <a:gd name="connsiteX48288" fmla="*/ 1179599 w 6884782"/>
              <a:gd name="connsiteY48288" fmla="*/ 1685449 h 5973007"/>
              <a:gd name="connsiteX48289" fmla="*/ 1181148 w 6884782"/>
              <a:gd name="connsiteY48289" fmla="*/ 1689631 h 5973007"/>
              <a:gd name="connsiteX48290" fmla="*/ 1177844 w 6884782"/>
              <a:gd name="connsiteY48290" fmla="*/ 1684675 h 5973007"/>
              <a:gd name="connsiteX48291" fmla="*/ 1175366 w 6884782"/>
              <a:gd name="connsiteY48291" fmla="*/ 1683900 h 5973007"/>
              <a:gd name="connsiteX48292" fmla="*/ 1174643 w 6884782"/>
              <a:gd name="connsiteY48292" fmla="*/ 1682351 h 5973007"/>
              <a:gd name="connsiteX48293" fmla="*/ 1173610 w 6884782"/>
              <a:gd name="connsiteY48293" fmla="*/ 1682661 h 5973007"/>
              <a:gd name="connsiteX48294" fmla="*/ 1171235 w 6884782"/>
              <a:gd name="connsiteY48294" fmla="*/ 1683900 h 5973007"/>
              <a:gd name="connsiteX48295" fmla="*/ 1169170 w 6884782"/>
              <a:gd name="connsiteY48295" fmla="*/ 1677704 h 5973007"/>
              <a:gd name="connsiteX48296" fmla="*/ 1168757 w 6884782"/>
              <a:gd name="connsiteY48296" fmla="*/ 1675071 h 5973007"/>
              <a:gd name="connsiteX48297" fmla="*/ 1168448 w 6884782"/>
              <a:gd name="connsiteY48297" fmla="*/ 1675071 h 5973007"/>
              <a:gd name="connsiteX48298" fmla="*/ 1163801 w 6884782"/>
              <a:gd name="connsiteY48298" fmla="*/ 1672593 h 5973007"/>
              <a:gd name="connsiteX48299" fmla="*/ 1162872 w 6884782"/>
              <a:gd name="connsiteY48299" fmla="*/ 1671199 h 5973007"/>
              <a:gd name="connsiteX48300" fmla="*/ 1152753 w 6884782"/>
              <a:gd name="connsiteY48300" fmla="*/ 1669495 h 5973007"/>
              <a:gd name="connsiteX48301" fmla="*/ 1154921 w 6884782"/>
              <a:gd name="connsiteY48301" fmla="*/ 1662060 h 5973007"/>
              <a:gd name="connsiteX48302" fmla="*/ 1160910 w 6884782"/>
              <a:gd name="connsiteY48302" fmla="*/ 1662215 h 5973007"/>
              <a:gd name="connsiteX48303" fmla="*/ 5121647 w 6884782"/>
              <a:gd name="connsiteY48303" fmla="*/ 1656579 h 5973007"/>
              <a:gd name="connsiteX48304" fmla="*/ 5125275 w 6884782"/>
              <a:gd name="connsiteY48304" fmla="*/ 1659140 h 5973007"/>
              <a:gd name="connsiteX48305" fmla="*/ 5126555 w 6884782"/>
              <a:gd name="connsiteY48305" fmla="*/ 1659140 h 5973007"/>
              <a:gd name="connsiteX48306" fmla="*/ 5129117 w 6884782"/>
              <a:gd name="connsiteY48306" fmla="*/ 1661985 h 5973007"/>
              <a:gd name="connsiteX48307" fmla="*/ 5129117 w 6884782"/>
              <a:gd name="connsiteY48307" fmla="*/ 1663550 h 5973007"/>
              <a:gd name="connsiteX48308" fmla="*/ 5131678 w 6884782"/>
              <a:gd name="connsiteY48308" fmla="*/ 1667818 h 5973007"/>
              <a:gd name="connsiteX48309" fmla="*/ 5129543 w 6884782"/>
              <a:gd name="connsiteY48309" fmla="*/ 1667818 h 5973007"/>
              <a:gd name="connsiteX48310" fmla="*/ 5127196 w 6884782"/>
              <a:gd name="connsiteY48310" fmla="*/ 1671659 h 5973007"/>
              <a:gd name="connsiteX48311" fmla="*/ 5126769 w 6884782"/>
              <a:gd name="connsiteY48311" fmla="*/ 1678061 h 5973007"/>
              <a:gd name="connsiteX48312" fmla="*/ 5125489 w 6884782"/>
              <a:gd name="connsiteY48312" fmla="*/ 1669525 h 5973007"/>
              <a:gd name="connsiteX48313" fmla="*/ 5124422 w 6884782"/>
              <a:gd name="connsiteY48313" fmla="*/ 1668245 h 5973007"/>
              <a:gd name="connsiteX48314" fmla="*/ 5124208 w 6884782"/>
              <a:gd name="connsiteY48314" fmla="*/ 1668245 h 5973007"/>
              <a:gd name="connsiteX48315" fmla="*/ 5123995 w 6884782"/>
              <a:gd name="connsiteY48315" fmla="*/ 1667676 h 5973007"/>
              <a:gd name="connsiteX48316" fmla="*/ 5122927 w 6884782"/>
              <a:gd name="connsiteY48316" fmla="*/ 1666680 h 5973007"/>
              <a:gd name="connsiteX48317" fmla="*/ 5122927 w 6884782"/>
              <a:gd name="connsiteY48317" fmla="*/ 1666111 h 5973007"/>
              <a:gd name="connsiteX48318" fmla="*/ 5121007 w 6884782"/>
              <a:gd name="connsiteY48318" fmla="*/ 1663692 h 5973007"/>
              <a:gd name="connsiteX48319" fmla="*/ 5116952 w 6884782"/>
              <a:gd name="connsiteY48319" fmla="*/ 1659424 h 5973007"/>
              <a:gd name="connsiteX48320" fmla="*/ 5121647 w 6884782"/>
              <a:gd name="connsiteY48320" fmla="*/ 1656579 h 5973007"/>
              <a:gd name="connsiteX48321" fmla="*/ 4812615 w 6884782"/>
              <a:gd name="connsiteY48321" fmla="*/ 1654587 h 5973007"/>
              <a:gd name="connsiteX48322" fmla="*/ 4819018 w 6884782"/>
              <a:gd name="connsiteY48322" fmla="*/ 1658286 h 5973007"/>
              <a:gd name="connsiteX48323" fmla="*/ 4823500 w 6884782"/>
              <a:gd name="connsiteY48323" fmla="*/ 1663408 h 5973007"/>
              <a:gd name="connsiteX48324" fmla="*/ 4825207 w 6884782"/>
              <a:gd name="connsiteY48324" fmla="*/ 1658428 h 5973007"/>
              <a:gd name="connsiteX48325" fmla="*/ 4829903 w 6884782"/>
              <a:gd name="connsiteY48325" fmla="*/ 1656579 h 5973007"/>
              <a:gd name="connsiteX48326" fmla="*/ 4827341 w 6884782"/>
              <a:gd name="connsiteY48326" fmla="*/ 1661416 h 5973007"/>
              <a:gd name="connsiteX48327" fmla="*/ 4823927 w 6884782"/>
              <a:gd name="connsiteY48327" fmla="*/ 1663835 h 5973007"/>
              <a:gd name="connsiteX48328" fmla="*/ 4824353 w 6884782"/>
              <a:gd name="connsiteY48328" fmla="*/ 1664261 h 5973007"/>
              <a:gd name="connsiteX48329" fmla="*/ 4826701 w 6884782"/>
              <a:gd name="connsiteY48329" fmla="*/ 1671233 h 5973007"/>
              <a:gd name="connsiteX48330" fmla="*/ 4825207 w 6884782"/>
              <a:gd name="connsiteY48330" fmla="*/ 1674931 h 5973007"/>
              <a:gd name="connsiteX48331" fmla="*/ 4827341 w 6884782"/>
              <a:gd name="connsiteY48331" fmla="*/ 1675928 h 5973007"/>
              <a:gd name="connsiteX48332" fmla="*/ 4821152 w 6884782"/>
              <a:gd name="connsiteY48332" fmla="*/ 1696414 h 5973007"/>
              <a:gd name="connsiteX48333" fmla="*/ 4819232 w 6884782"/>
              <a:gd name="connsiteY48333" fmla="*/ 1675216 h 5973007"/>
              <a:gd name="connsiteX48334" fmla="*/ 4822219 w 6884782"/>
              <a:gd name="connsiteY48334" fmla="*/ 1674789 h 5973007"/>
              <a:gd name="connsiteX48335" fmla="*/ 4817524 w 6884782"/>
              <a:gd name="connsiteY48335" fmla="*/ 1666680 h 5973007"/>
              <a:gd name="connsiteX48336" fmla="*/ 4812615 w 6884782"/>
              <a:gd name="connsiteY48336" fmla="*/ 1654587 h 5973007"/>
              <a:gd name="connsiteX48337" fmla="*/ 1691453 w 6884782"/>
              <a:gd name="connsiteY48337" fmla="*/ 1654179 h 5973007"/>
              <a:gd name="connsiteX48338" fmla="*/ 1694641 w 6884782"/>
              <a:gd name="connsiteY48338" fmla="*/ 1655864 h 5973007"/>
              <a:gd name="connsiteX48339" fmla="*/ 1695054 w 6884782"/>
              <a:gd name="connsiteY48339" fmla="*/ 1656329 h 5973007"/>
              <a:gd name="connsiteX48340" fmla="*/ 1699185 w 6884782"/>
              <a:gd name="connsiteY48340" fmla="*/ 1655554 h 5973007"/>
              <a:gd name="connsiteX48341" fmla="*/ 1702386 w 6884782"/>
              <a:gd name="connsiteY48341" fmla="*/ 1655709 h 5973007"/>
              <a:gd name="connsiteX48342" fmla="*/ 1704451 w 6884782"/>
              <a:gd name="connsiteY48342" fmla="*/ 1656019 h 5973007"/>
              <a:gd name="connsiteX48343" fmla="*/ 1706309 w 6884782"/>
              <a:gd name="connsiteY48343" fmla="*/ 1656174 h 5973007"/>
              <a:gd name="connsiteX48344" fmla="*/ 1708787 w 6884782"/>
              <a:gd name="connsiteY48344" fmla="*/ 1658962 h 5973007"/>
              <a:gd name="connsiteX48345" fmla="*/ 1699804 w 6884782"/>
              <a:gd name="connsiteY48345" fmla="*/ 1659581 h 5973007"/>
              <a:gd name="connsiteX48346" fmla="*/ 1695880 w 6884782"/>
              <a:gd name="connsiteY48346" fmla="*/ 1659736 h 5973007"/>
              <a:gd name="connsiteX48347" fmla="*/ 1692060 w 6884782"/>
              <a:gd name="connsiteY48347" fmla="*/ 1661131 h 5973007"/>
              <a:gd name="connsiteX48348" fmla="*/ 1688342 w 6884782"/>
              <a:gd name="connsiteY48348" fmla="*/ 1659736 h 5973007"/>
              <a:gd name="connsiteX48349" fmla="*/ 1687827 w 6884782"/>
              <a:gd name="connsiteY48349" fmla="*/ 1657567 h 5973007"/>
              <a:gd name="connsiteX48350" fmla="*/ 1688342 w 6884782"/>
              <a:gd name="connsiteY48350" fmla="*/ 1654470 h 5973007"/>
              <a:gd name="connsiteX48351" fmla="*/ 1691453 w 6884782"/>
              <a:gd name="connsiteY48351" fmla="*/ 1654179 h 5973007"/>
              <a:gd name="connsiteX48352" fmla="*/ 5222381 w 6884782"/>
              <a:gd name="connsiteY48352" fmla="*/ 1654161 h 5973007"/>
              <a:gd name="connsiteX48353" fmla="*/ 5231985 w 6884782"/>
              <a:gd name="connsiteY48353" fmla="*/ 1658428 h 5973007"/>
              <a:gd name="connsiteX48354" fmla="*/ 5222381 w 6884782"/>
              <a:gd name="connsiteY48354" fmla="*/ 1654161 h 5973007"/>
              <a:gd name="connsiteX48355" fmla="*/ 1863981 w 6884782"/>
              <a:gd name="connsiteY48355" fmla="*/ 1653850 h 5973007"/>
              <a:gd name="connsiteX48356" fmla="*/ 1870590 w 6884782"/>
              <a:gd name="connsiteY48356" fmla="*/ 1657723 h 5973007"/>
              <a:gd name="connsiteX48357" fmla="*/ 1862226 w 6884782"/>
              <a:gd name="connsiteY48357" fmla="*/ 1657567 h 5973007"/>
              <a:gd name="connsiteX48358" fmla="*/ 1863981 w 6884782"/>
              <a:gd name="connsiteY48358" fmla="*/ 1653850 h 5973007"/>
              <a:gd name="connsiteX48359" fmla="*/ 1120537 w 6884782"/>
              <a:gd name="connsiteY48359" fmla="*/ 1653850 h 5973007"/>
              <a:gd name="connsiteX48360" fmla="*/ 1121053 w 6884782"/>
              <a:gd name="connsiteY48360" fmla="*/ 1661285 h 5973007"/>
              <a:gd name="connsiteX48361" fmla="*/ 1120846 w 6884782"/>
              <a:gd name="connsiteY48361" fmla="*/ 1665467 h 5973007"/>
              <a:gd name="connsiteX48362" fmla="*/ 1118988 w 6884782"/>
              <a:gd name="connsiteY48362" fmla="*/ 1667326 h 5973007"/>
              <a:gd name="connsiteX48363" fmla="*/ 1118162 w 6884782"/>
              <a:gd name="connsiteY48363" fmla="*/ 1667326 h 5973007"/>
              <a:gd name="connsiteX48364" fmla="*/ 1117542 w 6884782"/>
              <a:gd name="connsiteY48364" fmla="*/ 1665467 h 5973007"/>
              <a:gd name="connsiteX48365" fmla="*/ 1118678 w 6884782"/>
              <a:gd name="connsiteY48365" fmla="*/ 1657258 h 5973007"/>
              <a:gd name="connsiteX48366" fmla="*/ 1118678 w 6884782"/>
              <a:gd name="connsiteY48366" fmla="*/ 1655554 h 5973007"/>
              <a:gd name="connsiteX48367" fmla="*/ 1120537 w 6884782"/>
              <a:gd name="connsiteY48367" fmla="*/ 1653850 h 5973007"/>
              <a:gd name="connsiteX48368" fmla="*/ 4984205 w 6884782"/>
              <a:gd name="connsiteY48368" fmla="*/ 1653734 h 5973007"/>
              <a:gd name="connsiteX48369" fmla="*/ 4989754 w 6884782"/>
              <a:gd name="connsiteY48369" fmla="*/ 1657290 h 5973007"/>
              <a:gd name="connsiteX48370" fmla="*/ 4989327 w 6884782"/>
              <a:gd name="connsiteY48370" fmla="*/ 1659993 h 5973007"/>
              <a:gd name="connsiteX48371" fmla="*/ 4980577 w 6884782"/>
              <a:gd name="connsiteY48371" fmla="*/ 1657290 h 5973007"/>
              <a:gd name="connsiteX48372" fmla="*/ 4981004 w 6884782"/>
              <a:gd name="connsiteY48372" fmla="*/ 1654587 h 5973007"/>
              <a:gd name="connsiteX48373" fmla="*/ 4984205 w 6884782"/>
              <a:gd name="connsiteY48373" fmla="*/ 1653734 h 5973007"/>
              <a:gd name="connsiteX48374" fmla="*/ 4836945 w 6884782"/>
              <a:gd name="connsiteY48374" fmla="*/ 1653734 h 5973007"/>
              <a:gd name="connsiteX48375" fmla="*/ 4842067 w 6884782"/>
              <a:gd name="connsiteY48375" fmla="*/ 1658428 h 5973007"/>
              <a:gd name="connsiteX48376" fmla="*/ 4837372 w 6884782"/>
              <a:gd name="connsiteY48376" fmla="*/ 1665684 h 5973007"/>
              <a:gd name="connsiteX48377" fmla="*/ 4834598 w 6884782"/>
              <a:gd name="connsiteY48377" fmla="*/ 1659566 h 5973007"/>
              <a:gd name="connsiteX48378" fmla="*/ 4835238 w 6884782"/>
              <a:gd name="connsiteY48378" fmla="*/ 1658002 h 5973007"/>
              <a:gd name="connsiteX48379" fmla="*/ 4835664 w 6884782"/>
              <a:gd name="connsiteY48379" fmla="*/ 1656721 h 5973007"/>
              <a:gd name="connsiteX48380" fmla="*/ 1107010 w 6884782"/>
              <a:gd name="connsiteY48380" fmla="*/ 1653386 h 5973007"/>
              <a:gd name="connsiteX48381" fmla="*/ 1110108 w 6884782"/>
              <a:gd name="connsiteY48381" fmla="*/ 1666552 h 5973007"/>
              <a:gd name="connsiteX48382" fmla="*/ 1104532 w 6884782"/>
              <a:gd name="connsiteY48382" fmla="*/ 1666552 h 5973007"/>
              <a:gd name="connsiteX48383" fmla="*/ 1103809 w 6884782"/>
              <a:gd name="connsiteY48383" fmla="*/ 1658187 h 5973007"/>
              <a:gd name="connsiteX48384" fmla="*/ 1107010 w 6884782"/>
              <a:gd name="connsiteY48384" fmla="*/ 1653386 h 5973007"/>
              <a:gd name="connsiteX48385" fmla="*/ 4102995 w 6884782"/>
              <a:gd name="connsiteY48385" fmla="*/ 1653307 h 5973007"/>
              <a:gd name="connsiteX48386" fmla="*/ 4102995 w 6884782"/>
              <a:gd name="connsiteY48386" fmla="*/ 1664261 h 5973007"/>
              <a:gd name="connsiteX48387" fmla="*/ 4102995 w 6884782"/>
              <a:gd name="connsiteY48387" fmla="*/ 1653307 h 5973007"/>
              <a:gd name="connsiteX48388" fmla="*/ 1193023 w 6884782"/>
              <a:gd name="connsiteY48388" fmla="*/ 1652146 h 5973007"/>
              <a:gd name="connsiteX48389" fmla="*/ 1197360 w 6884782"/>
              <a:gd name="connsiteY48389" fmla="*/ 1652921 h 5973007"/>
              <a:gd name="connsiteX48390" fmla="*/ 1206239 w 6884782"/>
              <a:gd name="connsiteY48390" fmla="*/ 1652611 h 5973007"/>
              <a:gd name="connsiteX48391" fmla="*/ 1216359 w 6884782"/>
              <a:gd name="connsiteY48391" fmla="*/ 1659581 h 5973007"/>
              <a:gd name="connsiteX48392" fmla="*/ 1194055 w 6884782"/>
              <a:gd name="connsiteY48392" fmla="*/ 1674761 h 5973007"/>
              <a:gd name="connsiteX48393" fmla="*/ 1187550 w 6884782"/>
              <a:gd name="connsiteY48393" fmla="*/ 1666087 h 5973007"/>
              <a:gd name="connsiteX48394" fmla="*/ 1187757 w 6884782"/>
              <a:gd name="connsiteY48394" fmla="*/ 1662834 h 5973007"/>
              <a:gd name="connsiteX48395" fmla="*/ 1189615 w 6884782"/>
              <a:gd name="connsiteY48395" fmla="*/ 1659427 h 5973007"/>
              <a:gd name="connsiteX48396" fmla="*/ 1189512 w 6884782"/>
              <a:gd name="connsiteY48396" fmla="*/ 1659117 h 5973007"/>
              <a:gd name="connsiteX48397" fmla="*/ 1193023 w 6884782"/>
              <a:gd name="connsiteY48397" fmla="*/ 1652146 h 5973007"/>
              <a:gd name="connsiteX48398" fmla="*/ 5013870 w 6884782"/>
              <a:gd name="connsiteY48398" fmla="*/ 1651742 h 5973007"/>
              <a:gd name="connsiteX48399" fmla="*/ 5014937 w 6884782"/>
              <a:gd name="connsiteY48399" fmla="*/ 1652880 h 5973007"/>
              <a:gd name="connsiteX48400" fmla="*/ 5012803 w 6884782"/>
              <a:gd name="connsiteY48400" fmla="*/ 1652738 h 5973007"/>
              <a:gd name="connsiteX48401" fmla="*/ 5013870 w 6884782"/>
              <a:gd name="connsiteY48401" fmla="*/ 1651742 h 5973007"/>
              <a:gd name="connsiteX48402" fmla="*/ 1079647 w 6884782"/>
              <a:gd name="connsiteY48402" fmla="*/ 1651372 h 5973007"/>
              <a:gd name="connsiteX48403" fmla="*/ 1081402 w 6884782"/>
              <a:gd name="connsiteY48403" fmla="*/ 1660356 h 5973007"/>
              <a:gd name="connsiteX48404" fmla="*/ 1038655 w 6884782"/>
              <a:gd name="connsiteY48404" fmla="*/ 1672438 h 5973007"/>
              <a:gd name="connsiteX48405" fmla="*/ 1079647 w 6884782"/>
              <a:gd name="connsiteY48405" fmla="*/ 1651372 h 5973007"/>
              <a:gd name="connsiteX48406" fmla="*/ 703485 w 6884782"/>
              <a:gd name="connsiteY48406" fmla="*/ 1651372 h 5973007"/>
              <a:gd name="connsiteX48407" fmla="*/ 708338 w 6884782"/>
              <a:gd name="connsiteY48407" fmla="*/ 1659117 h 5973007"/>
              <a:gd name="connsiteX48408" fmla="*/ 702865 w 6884782"/>
              <a:gd name="connsiteY48408" fmla="*/ 1653695 h 5973007"/>
              <a:gd name="connsiteX48409" fmla="*/ 703485 w 6884782"/>
              <a:gd name="connsiteY48409" fmla="*/ 1651372 h 5973007"/>
              <a:gd name="connsiteX48410" fmla="*/ 3916252 w 6884782"/>
              <a:gd name="connsiteY48410" fmla="*/ 1651315 h 5973007"/>
              <a:gd name="connsiteX48411" fmla="*/ 3933539 w 6884782"/>
              <a:gd name="connsiteY48411" fmla="*/ 1655156 h 5973007"/>
              <a:gd name="connsiteX48412" fmla="*/ 3918813 w 6884782"/>
              <a:gd name="connsiteY48412" fmla="*/ 1660420 h 5973007"/>
              <a:gd name="connsiteX48413" fmla="*/ 3901526 w 6884782"/>
              <a:gd name="connsiteY48413" fmla="*/ 1659993 h 5973007"/>
              <a:gd name="connsiteX48414" fmla="*/ 3916252 w 6884782"/>
              <a:gd name="connsiteY48414" fmla="*/ 1651315 h 5973007"/>
              <a:gd name="connsiteX48415" fmla="*/ 4068421 w 6884782"/>
              <a:gd name="connsiteY48415" fmla="*/ 1650888 h 5973007"/>
              <a:gd name="connsiteX48416" fmla="*/ 4069488 w 6884782"/>
              <a:gd name="connsiteY48416" fmla="*/ 1663692 h 5973007"/>
              <a:gd name="connsiteX48417" fmla="*/ 4066713 w 6884782"/>
              <a:gd name="connsiteY48417" fmla="*/ 1663408 h 5973007"/>
              <a:gd name="connsiteX48418" fmla="*/ 4067140 w 6884782"/>
              <a:gd name="connsiteY48418" fmla="*/ 1664261 h 5973007"/>
              <a:gd name="connsiteX48419" fmla="*/ 4066286 w 6884782"/>
              <a:gd name="connsiteY48419" fmla="*/ 1670094 h 5973007"/>
              <a:gd name="connsiteX48420" fmla="*/ 4064579 w 6884782"/>
              <a:gd name="connsiteY48420" fmla="*/ 1665257 h 5973007"/>
              <a:gd name="connsiteX48421" fmla="*/ 4064152 w 6884782"/>
              <a:gd name="connsiteY48421" fmla="*/ 1663123 h 5973007"/>
              <a:gd name="connsiteX48422" fmla="*/ 4060951 w 6884782"/>
              <a:gd name="connsiteY48422" fmla="*/ 1662697 h 5973007"/>
              <a:gd name="connsiteX48423" fmla="*/ 4054762 w 6884782"/>
              <a:gd name="connsiteY48423" fmla="*/ 1655441 h 5973007"/>
              <a:gd name="connsiteX48424" fmla="*/ 4068421 w 6884782"/>
              <a:gd name="connsiteY48424" fmla="*/ 1650888 h 5973007"/>
              <a:gd name="connsiteX48425" fmla="*/ 1560821 w 6884782"/>
              <a:gd name="connsiteY48425" fmla="*/ 1650752 h 5973007"/>
              <a:gd name="connsiteX48426" fmla="*/ 1599645 w 6884782"/>
              <a:gd name="connsiteY48426" fmla="*/ 1666552 h 5973007"/>
              <a:gd name="connsiteX48427" fmla="*/ 1592728 w 6884782"/>
              <a:gd name="connsiteY48427" fmla="*/ 1667636 h 5973007"/>
              <a:gd name="connsiteX48428" fmla="*/ 1593037 w 6884782"/>
              <a:gd name="connsiteY48428" fmla="*/ 1668410 h 5973007"/>
              <a:gd name="connsiteX48429" fmla="*/ 1600885 w 6884782"/>
              <a:gd name="connsiteY48429" fmla="*/ 1672748 h 5973007"/>
              <a:gd name="connsiteX48430" fmla="*/ 1597994 w 6884782"/>
              <a:gd name="connsiteY48430" fmla="*/ 1680492 h 5973007"/>
              <a:gd name="connsiteX48431" fmla="*/ 1595309 w 6884782"/>
              <a:gd name="connsiteY48431" fmla="*/ 1682661 h 5973007"/>
              <a:gd name="connsiteX48432" fmla="*/ 1585293 w 6884782"/>
              <a:gd name="connsiteY48432" fmla="*/ 1668100 h 5973007"/>
              <a:gd name="connsiteX48433" fmla="*/ 1585603 w 6884782"/>
              <a:gd name="connsiteY48433" fmla="*/ 1667791 h 5973007"/>
              <a:gd name="connsiteX48434" fmla="*/ 1578065 w 6884782"/>
              <a:gd name="connsiteY48434" fmla="*/ 1666552 h 5973007"/>
              <a:gd name="connsiteX48435" fmla="*/ 1569082 w 6884782"/>
              <a:gd name="connsiteY48435" fmla="*/ 1663609 h 5973007"/>
              <a:gd name="connsiteX48436" fmla="*/ 1568978 w 6884782"/>
              <a:gd name="connsiteY48436" fmla="*/ 1665158 h 5973007"/>
              <a:gd name="connsiteX48437" fmla="*/ 1567223 w 6884782"/>
              <a:gd name="connsiteY48437" fmla="*/ 1668100 h 5973007"/>
              <a:gd name="connsiteX48438" fmla="*/ 1558240 w 6884782"/>
              <a:gd name="connsiteY48438" fmla="*/ 1665002 h 5973007"/>
              <a:gd name="connsiteX48439" fmla="*/ 1560718 w 6884782"/>
              <a:gd name="connsiteY48439" fmla="*/ 1660976 h 5973007"/>
              <a:gd name="connsiteX48440" fmla="*/ 1560925 w 6884782"/>
              <a:gd name="connsiteY48440" fmla="*/ 1660821 h 5973007"/>
              <a:gd name="connsiteX48441" fmla="*/ 1556175 w 6884782"/>
              <a:gd name="connsiteY48441" fmla="*/ 1659272 h 5973007"/>
              <a:gd name="connsiteX48442" fmla="*/ 1560821 w 6884782"/>
              <a:gd name="connsiteY48442" fmla="*/ 1650752 h 5973007"/>
              <a:gd name="connsiteX48443" fmla="*/ 4971186 w 6884782"/>
              <a:gd name="connsiteY48443" fmla="*/ 1650604 h 5973007"/>
              <a:gd name="connsiteX48444" fmla="*/ 4974814 w 6884782"/>
              <a:gd name="connsiteY48444" fmla="*/ 1652738 h 5973007"/>
              <a:gd name="connsiteX48445" fmla="*/ 4975028 w 6884782"/>
              <a:gd name="connsiteY48445" fmla="*/ 1658002 h 5973007"/>
              <a:gd name="connsiteX48446" fmla="*/ 4972680 w 6884782"/>
              <a:gd name="connsiteY48446" fmla="*/ 1662697 h 5973007"/>
              <a:gd name="connsiteX48447" fmla="*/ 4972253 w 6884782"/>
              <a:gd name="connsiteY48447" fmla="*/ 1663123 h 5973007"/>
              <a:gd name="connsiteX48448" fmla="*/ 4976522 w 6884782"/>
              <a:gd name="connsiteY48448" fmla="*/ 1664973 h 5973007"/>
              <a:gd name="connsiteX48449" fmla="*/ 4982497 w 6884782"/>
              <a:gd name="connsiteY48449" fmla="*/ 1669810 h 5973007"/>
              <a:gd name="connsiteX48450" fmla="*/ 4982284 w 6884782"/>
              <a:gd name="connsiteY48450" fmla="*/ 1669525 h 5973007"/>
              <a:gd name="connsiteX48451" fmla="*/ 4985485 w 6884782"/>
              <a:gd name="connsiteY48451" fmla="*/ 1663835 h 5973007"/>
              <a:gd name="connsiteX48452" fmla="*/ 4989754 w 6884782"/>
              <a:gd name="connsiteY48452" fmla="*/ 1667818 h 5973007"/>
              <a:gd name="connsiteX48453" fmla="*/ 4986125 w 6884782"/>
              <a:gd name="connsiteY48453" fmla="*/ 1670948 h 5973007"/>
              <a:gd name="connsiteX48454" fmla="*/ 4984205 w 6884782"/>
              <a:gd name="connsiteY48454" fmla="*/ 1671233 h 5973007"/>
              <a:gd name="connsiteX48455" fmla="*/ 4988900 w 6884782"/>
              <a:gd name="connsiteY48455" fmla="*/ 1678061 h 5973007"/>
              <a:gd name="connsiteX48456" fmla="*/ 4989327 w 6884782"/>
              <a:gd name="connsiteY48456" fmla="*/ 1685317 h 5973007"/>
              <a:gd name="connsiteX48457" fmla="*/ 4986125 w 6884782"/>
              <a:gd name="connsiteY48457" fmla="*/ 1682756 h 5973007"/>
              <a:gd name="connsiteX48458" fmla="*/ 4981430 w 6884782"/>
              <a:gd name="connsiteY48458" fmla="*/ 1687024 h 5973007"/>
              <a:gd name="connsiteX48459" fmla="*/ 4976308 w 6884782"/>
              <a:gd name="connsiteY48459" fmla="*/ 1686740 h 5973007"/>
              <a:gd name="connsiteX48460" fmla="*/ 4974387 w 6884782"/>
              <a:gd name="connsiteY48460" fmla="*/ 1685602 h 5973007"/>
              <a:gd name="connsiteX48461" fmla="*/ 4974601 w 6884782"/>
              <a:gd name="connsiteY48461" fmla="*/ 1679200 h 5973007"/>
              <a:gd name="connsiteX48462" fmla="*/ 4976949 w 6884782"/>
              <a:gd name="connsiteY48462" fmla="*/ 1676639 h 5973007"/>
              <a:gd name="connsiteX48463" fmla="*/ 4973747 w 6884782"/>
              <a:gd name="connsiteY48463" fmla="*/ 1674647 h 5973007"/>
              <a:gd name="connsiteX48464" fmla="*/ 4958595 w 6884782"/>
              <a:gd name="connsiteY48464" fmla="*/ 1661274 h 5973007"/>
              <a:gd name="connsiteX48465" fmla="*/ 4965851 w 6884782"/>
              <a:gd name="connsiteY48465" fmla="*/ 1661274 h 5973007"/>
              <a:gd name="connsiteX48466" fmla="*/ 4965210 w 6884782"/>
              <a:gd name="connsiteY48466" fmla="*/ 1657290 h 5973007"/>
              <a:gd name="connsiteX48467" fmla="*/ 4966704 w 6884782"/>
              <a:gd name="connsiteY48467" fmla="*/ 1654871 h 5973007"/>
              <a:gd name="connsiteX48468" fmla="*/ 4971186 w 6884782"/>
              <a:gd name="connsiteY48468" fmla="*/ 1650604 h 5973007"/>
              <a:gd name="connsiteX48469" fmla="*/ 1595205 w 6884782"/>
              <a:gd name="connsiteY48469" fmla="*/ 1650287 h 5973007"/>
              <a:gd name="connsiteX48470" fmla="*/ 1603466 w 6884782"/>
              <a:gd name="connsiteY48470" fmla="*/ 1653541 h 5973007"/>
              <a:gd name="connsiteX48471" fmla="*/ 1601607 w 6884782"/>
              <a:gd name="connsiteY48471" fmla="*/ 1656638 h 5973007"/>
              <a:gd name="connsiteX48472" fmla="*/ 1594689 w 6884782"/>
              <a:gd name="connsiteY48472" fmla="*/ 1653541 h 5973007"/>
              <a:gd name="connsiteX48473" fmla="*/ 1595205 w 6884782"/>
              <a:gd name="connsiteY48473" fmla="*/ 1650287 h 5973007"/>
              <a:gd name="connsiteX48474" fmla="*/ 1335206 w 6884782"/>
              <a:gd name="connsiteY48474" fmla="*/ 1649978 h 5973007"/>
              <a:gd name="connsiteX48475" fmla="*/ 1335413 w 6884782"/>
              <a:gd name="connsiteY48475" fmla="*/ 1676775 h 5973007"/>
              <a:gd name="connsiteX48476" fmla="*/ 1332522 w 6884782"/>
              <a:gd name="connsiteY48476" fmla="*/ 1673057 h 5973007"/>
              <a:gd name="connsiteX48477" fmla="*/ 1330663 w 6884782"/>
              <a:gd name="connsiteY48477" fmla="*/ 1673677 h 5973007"/>
              <a:gd name="connsiteX48478" fmla="*/ 1325707 w 6884782"/>
              <a:gd name="connsiteY48478" fmla="*/ 1672283 h 5973007"/>
              <a:gd name="connsiteX48479" fmla="*/ 1327669 w 6884782"/>
              <a:gd name="connsiteY48479" fmla="*/ 1678943 h 5973007"/>
              <a:gd name="connsiteX48480" fmla="*/ 1326326 w 6884782"/>
              <a:gd name="connsiteY48480" fmla="*/ 1687153 h 5973007"/>
              <a:gd name="connsiteX48481" fmla="*/ 1302991 w 6884782"/>
              <a:gd name="connsiteY48481" fmla="*/ 1700009 h 5973007"/>
              <a:gd name="connsiteX48482" fmla="*/ 1301029 w 6884782"/>
              <a:gd name="connsiteY48482" fmla="*/ 1697996 h 5973007"/>
              <a:gd name="connsiteX48483" fmla="*/ 1299480 w 6884782"/>
              <a:gd name="connsiteY48483" fmla="*/ 1689631 h 5973007"/>
              <a:gd name="connsiteX48484" fmla="*/ 1300512 w 6884782"/>
              <a:gd name="connsiteY48484" fmla="*/ 1684520 h 5973007"/>
              <a:gd name="connsiteX48485" fmla="*/ 1297828 w 6884782"/>
              <a:gd name="connsiteY48485" fmla="*/ 1686068 h 5973007"/>
              <a:gd name="connsiteX48486" fmla="*/ 1296692 w 6884782"/>
              <a:gd name="connsiteY48486" fmla="*/ 1684984 h 5973007"/>
              <a:gd name="connsiteX48487" fmla="*/ 1296485 w 6884782"/>
              <a:gd name="connsiteY48487" fmla="*/ 1685759 h 5973007"/>
              <a:gd name="connsiteX48488" fmla="*/ 1296692 w 6884782"/>
              <a:gd name="connsiteY48488" fmla="*/ 1687618 h 5973007"/>
              <a:gd name="connsiteX48489" fmla="*/ 1293491 w 6884782"/>
              <a:gd name="connsiteY48489" fmla="*/ 1692729 h 5973007"/>
              <a:gd name="connsiteX48490" fmla="*/ 1289464 w 6884782"/>
              <a:gd name="connsiteY48490" fmla="*/ 1676775 h 5973007"/>
              <a:gd name="connsiteX48491" fmla="*/ 1289980 w 6884782"/>
              <a:gd name="connsiteY48491" fmla="*/ 1674761 h 5973007"/>
              <a:gd name="connsiteX48492" fmla="*/ 1292045 w 6884782"/>
              <a:gd name="connsiteY48492" fmla="*/ 1674142 h 5973007"/>
              <a:gd name="connsiteX48493" fmla="*/ 1294420 w 6884782"/>
              <a:gd name="connsiteY48493" fmla="*/ 1676620 h 5973007"/>
              <a:gd name="connsiteX48494" fmla="*/ 1295246 w 6884782"/>
              <a:gd name="connsiteY48494" fmla="*/ 1674606 h 5973007"/>
              <a:gd name="connsiteX48495" fmla="*/ 1297621 w 6884782"/>
              <a:gd name="connsiteY48495" fmla="*/ 1672593 h 5973007"/>
              <a:gd name="connsiteX48496" fmla="*/ 1295143 w 6884782"/>
              <a:gd name="connsiteY48496" fmla="*/ 1672438 h 5973007"/>
              <a:gd name="connsiteX48497" fmla="*/ 1306501 w 6884782"/>
              <a:gd name="connsiteY48497" fmla="*/ 1657103 h 5973007"/>
              <a:gd name="connsiteX48498" fmla="*/ 1311974 w 6884782"/>
              <a:gd name="connsiteY48498" fmla="*/ 1657723 h 5973007"/>
              <a:gd name="connsiteX48499" fmla="*/ 1301545 w 6884782"/>
              <a:gd name="connsiteY48499" fmla="*/ 1672902 h 5973007"/>
              <a:gd name="connsiteX48500" fmla="*/ 1298964 w 6884782"/>
              <a:gd name="connsiteY48500" fmla="*/ 1672748 h 5973007"/>
              <a:gd name="connsiteX48501" fmla="*/ 1302681 w 6884782"/>
              <a:gd name="connsiteY48501" fmla="*/ 1677395 h 5973007"/>
              <a:gd name="connsiteX48502" fmla="*/ 1301958 w 6884782"/>
              <a:gd name="connsiteY48502" fmla="*/ 1681267 h 5973007"/>
              <a:gd name="connsiteX48503" fmla="*/ 1303817 w 6884782"/>
              <a:gd name="connsiteY48503" fmla="*/ 1677859 h 5973007"/>
              <a:gd name="connsiteX48504" fmla="*/ 1313832 w 6884782"/>
              <a:gd name="connsiteY48504" fmla="*/ 1670424 h 5973007"/>
              <a:gd name="connsiteX48505" fmla="*/ 1319305 w 6884782"/>
              <a:gd name="connsiteY48505" fmla="*/ 1669185 h 5973007"/>
              <a:gd name="connsiteX48506" fmla="*/ 1324674 w 6884782"/>
              <a:gd name="connsiteY48506" fmla="*/ 1669959 h 5973007"/>
              <a:gd name="connsiteX48507" fmla="*/ 1324777 w 6884782"/>
              <a:gd name="connsiteY48507" fmla="*/ 1668720 h 5973007"/>
              <a:gd name="connsiteX48508" fmla="*/ 1327462 w 6884782"/>
              <a:gd name="connsiteY48508" fmla="*/ 1666242 h 5973007"/>
              <a:gd name="connsiteX48509" fmla="*/ 1329734 w 6884782"/>
              <a:gd name="connsiteY48509" fmla="*/ 1666397 h 5973007"/>
              <a:gd name="connsiteX48510" fmla="*/ 1328908 w 6884782"/>
              <a:gd name="connsiteY48510" fmla="*/ 1662369 h 5973007"/>
              <a:gd name="connsiteX48511" fmla="*/ 1335206 w 6884782"/>
              <a:gd name="connsiteY48511" fmla="*/ 1649978 h 5973007"/>
              <a:gd name="connsiteX48512" fmla="*/ 4655752 w 6884782"/>
              <a:gd name="connsiteY48512" fmla="*/ 1649607 h 5973007"/>
              <a:gd name="connsiteX48513" fmla="*/ 4657459 w 6884782"/>
              <a:gd name="connsiteY48513" fmla="*/ 1653164 h 5973007"/>
              <a:gd name="connsiteX48514" fmla="*/ 4654258 w 6884782"/>
              <a:gd name="connsiteY48514" fmla="*/ 1655725 h 5973007"/>
              <a:gd name="connsiteX48515" fmla="*/ 4653831 w 6884782"/>
              <a:gd name="connsiteY48515" fmla="*/ 1660563 h 5973007"/>
              <a:gd name="connsiteX48516" fmla="*/ 4650629 w 6884782"/>
              <a:gd name="connsiteY48516" fmla="*/ 1663123 h 5973007"/>
              <a:gd name="connsiteX48517" fmla="*/ 4650416 w 6884782"/>
              <a:gd name="connsiteY48517" fmla="*/ 1661985 h 5973007"/>
              <a:gd name="connsiteX48518" fmla="*/ 4652550 w 6884782"/>
              <a:gd name="connsiteY48518" fmla="*/ 1659424 h 5973007"/>
              <a:gd name="connsiteX48519" fmla="*/ 4653617 w 6884782"/>
              <a:gd name="connsiteY48519" fmla="*/ 1651030 h 5973007"/>
              <a:gd name="connsiteX48520" fmla="*/ 4655752 w 6884782"/>
              <a:gd name="connsiteY48520" fmla="*/ 1649607 h 5973007"/>
              <a:gd name="connsiteX48521" fmla="*/ 1403356 w 6884782"/>
              <a:gd name="connsiteY48521" fmla="*/ 1649513 h 5973007"/>
              <a:gd name="connsiteX48522" fmla="*/ 1410170 w 6884782"/>
              <a:gd name="connsiteY48522" fmla="*/ 1652611 h 5973007"/>
              <a:gd name="connsiteX48523" fmla="*/ 1406453 w 6884782"/>
              <a:gd name="connsiteY48523" fmla="*/ 1657567 h 5973007"/>
              <a:gd name="connsiteX48524" fmla="*/ 1403768 w 6884782"/>
              <a:gd name="connsiteY48524" fmla="*/ 1657877 h 5973007"/>
              <a:gd name="connsiteX48525" fmla="*/ 1401394 w 6884782"/>
              <a:gd name="connsiteY48525" fmla="*/ 1656174 h 5973007"/>
              <a:gd name="connsiteX48526" fmla="*/ 1400774 w 6884782"/>
              <a:gd name="connsiteY48526" fmla="*/ 1654005 h 5973007"/>
              <a:gd name="connsiteX48527" fmla="*/ 1403356 w 6884782"/>
              <a:gd name="connsiteY48527" fmla="*/ 1649513 h 5973007"/>
              <a:gd name="connsiteX48528" fmla="*/ 871173 w 6884782"/>
              <a:gd name="connsiteY48528" fmla="*/ 1649513 h 5973007"/>
              <a:gd name="connsiteX48529" fmla="*/ 869830 w 6884782"/>
              <a:gd name="connsiteY48529" fmla="*/ 1662060 h 5973007"/>
              <a:gd name="connsiteX48530" fmla="*/ 863635 w 6884782"/>
              <a:gd name="connsiteY48530" fmla="*/ 1656483 h 5973007"/>
              <a:gd name="connsiteX48531" fmla="*/ 866217 w 6884782"/>
              <a:gd name="connsiteY48531" fmla="*/ 1650133 h 5973007"/>
              <a:gd name="connsiteX48532" fmla="*/ 871173 w 6884782"/>
              <a:gd name="connsiteY48532" fmla="*/ 1649513 h 5973007"/>
              <a:gd name="connsiteX48533" fmla="*/ 1664284 w 6884782"/>
              <a:gd name="connsiteY48533" fmla="*/ 1648584 h 5973007"/>
              <a:gd name="connsiteX48534" fmla="*/ 1667588 w 6884782"/>
              <a:gd name="connsiteY48534" fmla="*/ 1650287 h 5973007"/>
              <a:gd name="connsiteX48535" fmla="*/ 1668517 w 6884782"/>
              <a:gd name="connsiteY48535" fmla="*/ 1651991 h 5973007"/>
              <a:gd name="connsiteX48536" fmla="*/ 1668311 w 6884782"/>
              <a:gd name="connsiteY48536" fmla="*/ 1652456 h 5973007"/>
              <a:gd name="connsiteX48537" fmla="*/ 1668517 w 6884782"/>
              <a:gd name="connsiteY48537" fmla="*/ 1652611 h 5973007"/>
              <a:gd name="connsiteX48538" fmla="*/ 1668931 w 6884782"/>
              <a:gd name="connsiteY48538" fmla="*/ 1654625 h 5973007"/>
              <a:gd name="connsiteX48539" fmla="*/ 1664594 w 6884782"/>
              <a:gd name="connsiteY48539" fmla="*/ 1654934 h 5973007"/>
              <a:gd name="connsiteX48540" fmla="*/ 1663664 w 6884782"/>
              <a:gd name="connsiteY48540" fmla="*/ 1654315 h 5973007"/>
              <a:gd name="connsiteX48541" fmla="*/ 1662735 w 6884782"/>
              <a:gd name="connsiteY48541" fmla="*/ 1654315 h 5973007"/>
              <a:gd name="connsiteX48542" fmla="*/ 1661186 w 6884782"/>
              <a:gd name="connsiteY48542" fmla="*/ 1652611 h 5973007"/>
              <a:gd name="connsiteX48543" fmla="*/ 1662322 w 6884782"/>
              <a:gd name="connsiteY48543" fmla="*/ 1651062 h 5973007"/>
              <a:gd name="connsiteX48544" fmla="*/ 1662529 w 6884782"/>
              <a:gd name="connsiteY48544" fmla="*/ 1649358 h 5973007"/>
              <a:gd name="connsiteX48545" fmla="*/ 1663355 w 6884782"/>
              <a:gd name="connsiteY48545" fmla="*/ 1649358 h 5973007"/>
              <a:gd name="connsiteX48546" fmla="*/ 1664284 w 6884782"/>
              <a:gd name="connsiteY48546" fmla="*/ 1648584 h 5973007"/>
              <a:gd name="connsiteX48547" fmla="*/ 4638038 w 6884782"/>
              <a:gd name="connsiteY48547" fmla="*/ 1647616 h 5973007"/>
              <a:gd name="connsiteX48548" fmla="*/ 4632702 w 6884782"/>
              <a:gd name="connsiteY48548" fmla="*/ 1666680 h 5973007"/>
              <a:gd name="connsiteX48549" fmla="*/ 4638038 w 6884782"/>
              <a:gd name="connsiteY48549" fmla="*/ 1647616 h 5973007"/>
              <a:gd name="connsiteX48550" fmla="*/ 4009517 w 6884782"/>
              <a:gd name="connsiteY48550" fmla="*/ 1647616 h 5973007"/>
              <a:gd name="connsiteX48551" fmla="*/ 4015279 w 6884782"/>
              <a:gd name="connsiteY48551" fmla="*/ 1648043 h 5973007"/>
              <a:gd name="connsiteX48552" fmla="*/ 4015492 w 6884782"/>
              <a:gd name="connsiteY48552" fmla="*/ 1648185 h 5973007"/>
              <a:gd name="connsiteX48553" fmla="*/ 4021255 w 6884782"/>
              <a:gd name="connsiteY48553" fmla="*/ 1648470 h 5973007"/>
              <a:gd name="connsiteX48554" fmla="*/ 4014212 w 6884782"/>
              <a:gd name="connsiteY48554" fmla="*/ 1655868 h 5973007"/>
              <a:gd name="connsiteX48555" fmla="*/ 4013999 w 6884782"/>
              <a:gd name="connsiteY48555" fmla="*/ 1658713 h 5973007"/>
              <a:gd name="connsiteX48556" fmla="*/ 4010371 w 6884782"/>
              <a:gd name="connsiteY48556" fmla="*/ 1661274 h 5973007"/>
              <a:gd name="connsiteX48557" fmla="*/ 4010797 w 6884782"/>
              <a:gd name="connsiteY48557" fmla="*/ 1658144 h 5973007"/>
              <a:gd name="connsiteX48558" fmla="*/ 3999272 w 6884782"/>
              <a:gd name="connsiteY48558" fmla="*/ 1662981 h 5973007"/>
              <a:gd name="connsiteX48559" fmla="*/ 3977290 w 6884782"/>
              <a:gd name="connsiteY48559" fmla="*/ 1656721 h 5973007"/>
              <a:gd name="connsiteX48560" fmla="*/ 3984120 w 6884782"/>
              <a:gd name="connsiteY48560" fmla="*/ 1656010 h 5973007"/>
              <a:gd name="connsiteX48561" fmla="*/ 3987321 w 6884782"/>
              <a:gd name="connsiteY48561" fmla="*/ 1653307 h 5973007"/>
              <a:gd name="connsiteX48562" fmla="*/ 3997352 w 6884782"/>
              <a:gd name="connsiteY48562" fmla="*/ 1649607 h 5973007"/>
              <a:gd name="connsiteX48563" fmla="*/ 3999272 w 6884782"/>
              <a:gd name="connsiteY48563" fmla="*/ 1651172 h 5973007"/>
              <a:gd name="connsiteX48564" fmla="*/ 1174746 w 6884782"/>
              <a:gd name="connsiteY48564" fmla="*/ 1647344 h 5973007"/>
              <a:gd name="connsiteX48565" fmla="*/ 1182903 w 6884782"/>
              <a:gd name="connsiteY48565" fmla="*/ 1648429 h 5973007"/>
              <a:gd name="connsiteX48566" fmla="*/ 1180116 w 6884782"/>
              <a:gd name="connsiteY48566" fmla="*/ 1659736 h 5973007"/>
              <a:gd name="connsiteX48567" fmla="*/ 1170616 w 6884782"/>
              <a:gd name="connsiteY48567" fmla="*/ 1653231 h 5973007"/>
              <a:gd name="connsiteX48568" fmla="*/ 1174746 w 6884782"/>
              <a:gd name="connsiteY48568" fmla="*/ 1647344 h 5973007"/>
              <a:gd name="connsiteX48569" fmla="*/ 5067865 w 6884782"/>
              <a:gd name="connsiteY48569" fmla="*/ 1646905 h 5973007"/>
              <a:gd name="connsiteX48570" fmla="*/ 5072774 w 6884782"/>
              <a:gd name="connsiteY48570" fmla="*/ 1651599 h 5973007"/>
              <a:gd name="connsiteX48571" fmla="*/ 5072560 w 6884782"/>
              <a:gd name="connsiteY48571" fmla="*/ 1655868 h 5973007"/>
              <a:gd name="connsiteX48572" fmla="*/ 5068719 w 6884782"/>
              <a:gd name="connsiteY48572" fmla="*/ 1657859 h 5973007"/>
              <a:gd name="connsiteX48573" fmla="*/ 5064237 w 6884782"/>
              <a:gd name="connsiteY48573" fmla="*/ 1656579 h 5973007"/>
              <a:gd name="connsiteX48574" fmla="*/ 5067865 w 6884782"/>
              <a:gd name="connsiteY48574" fmla="*/ 1646905 h 5973007"/>
              <a:gd name="connsiteX48575" fmla="*/ 3894910 w 6884782"/>
              <a:gd name="connsiteY48575" fmla="*/ 1646905 h 5973007"/>
              <a:gd name="connsiteX48576" fmla="*/ 3902380 w 6884782"/>
              <a:gd name="connsiteY48576" fmla="*/ 1654871 h 5973007"/>
              <a:gd name="connsiteX48577" fmla="*/ 3891069 w 6884782"/>
              <a:gd name="connsiteY48577" fmla="*/ 1649892 h 5973007"/>
              <a:gd name="connsiteX48578" fmla="*/ 3894910 w 6884782"/>
              <a:gd name="connsiteY48578" fmla="*/ 1646905 h 5973007"/>
              <a:gd name="connsiteX48579" fmla="*/ 1909539 w 6884782"/>
              <a:gd name="connsiteY48579" fmla="*/ 1646672 h 5973007"/>
              <a:gd name="connsiteX48580" fmla="*/ 1926658 w 6884782"/>
              <a:gd name="connsiteY48580" fmla="*/ 1661440 h 5973007"/>
              <a:gd name="connsiteX48581" fmla="*/ 1931821 w 6884782"/>
              <a:gd name="connsiteY48581" fmla="*/ 1670734 h 5973007"/>
              <a:gd name="connsiteX48582" fmla="*/ 1933060 w 6884782"/>
              <a:gd name="connsiteY48582" fmla="*/ 1669030 h 5973007"/>
              <a:gd name="connsiteX48583" fmla="*/ 1932957 w 6884782"/>
              <a:gd name="connsiteY48583" fmla="*/ 1672748 h 5973007"/>
              <a:gd name="connsiteX48584" fmla="*/ 1933060 w 6884782"/>
              <a:gd name="connsiteY48584" fmla="*/ 1672902 h 5973007"/>
              <a:gd name="connsiteX48585" fmla="*/ 1932957 w 6884782"/>
              <a:gd name="connsiteY48585" fmla="*/ 1673057 h 5973007"/>
              <a:gd name="connsiteX48586" fmla="*/ 1932440 w 6884782"/>
              <a:gd name="connsiteY48586" fmla="*/ 1687463 h 5973007"/>
              <a:gd name="connsiteX48587" fmla="*/ 1925109 w 6884782"/>
              <a:gd name="connsiteY48587" fmla="*/ 1706050 h 5973007"/>
              <a:gd name="connsiteX48588" fmla="*/ 1921082 w 6884782"/>
              <a:gd name="connsiteY48588" fmla="*/ 1696137 h 5973007"/>
              <a:gd name="connsiteX48589" fmla="*/ 1921805 w 6884782"/>
              <a:gd name="connsiteY48589" fmla="*/ 1688237 h 5973007"/>
              <a:gd name="connsiteX48590" fmla="*/ 1923767 w 6884782"/>
              <a:gd name="connsiteY48590" fmla="*/ 1683435 h 5973007"/>
              <a:gd name="connsiteX48591" fmla="*/ 1918088 w 6884782"/>
              <a:gd name="connsiteY48591" fmla="*/ 1686533 h 5973007"/>
              <a:gd name="connsiteX48592" fmla="*/ 1902083 w 6884782"/>
              <a:gd name="connsiteY48592" fmla="*/ 1655399 h 5973007"/>
              <a:gd name="connsiteX48593" fmla="*/ 1909539 w 6884782"/>
              <a:gd name="connsiteY48593" fmla="*/ 1646672 h 5973007"/>
              <a:gd name="connsiteX48594" fmla="*/ 3669539 w 6884782"/>
              <a:gd name="connsiteY48594" fmla="*/ 1646335 h 5973007"/>
              <a:gd name="connsiteX48595" fmla="*/ 3670606 w 6884782"/>
              <a:gd name="connsiteY48595" fmla="*/ 1647616 h 5973007"/>
              <a:gd name="connsiteX48596" fmla="*/ 3670820 w 6884782"/>
              <a:gd name="connsiteY48596" fmla="*/ 1647332 h 5973007"/>
              <a:gd name="connsiteX48597" fmla="*/ 3671033 w 6884782"/>
              <a:gd name="connsiteY48597" fmla="*/ 1647901 h 5973007"/>
              <a:gd name="connsiteX48598" fmla="*/ 3671673 w 6884782"/>
              <a:gd name="connsiteY48598" fmla="*/ 1647758 h 5973007"/>
              <a:gd name="connsiteX48599" fmla="*/ 3674448 w 6884782"/>
              <a:gd name="connsiteY48599" fmla="*/ 1648754 h 5973007"/>
              <a:gd name="connsiteX48600" fmla="*/ 3674234 w 6884782"/>
              <a:gd name="connsiteY48600" fmla="*/ 1654587 h 5973007"/>
              <a:gd name="connsiteX48601" fmla="*/ 3668472 w 6884782"/>
              <a:gd name="connsiteY48601" fmla="*/ 1657433 h 5973007"/>
              <a:gd name="connsiteX48602" fmla="*/ 3664844 w 6884782"/>
              <a:gd name="connsiteY48602" fmla="*/ 1659851 h 5973007"/>
              <a:gd name="connsiteX48603" fmla="*/ 3662283 w 6884782"/>
              <a:gd name="connsiteY48603" fmla="*/ 1659140 h 5973007"/>
              <a:gd name="connsiteX48604" fmla="*/ 3663990 w 6884782"/>
              <a:gd name="connsiteY48604" fmla="*/ 1659993 h 5973007"/>
              <a:gd name="connsiteX48605" fmla="*/ 3665057 w 6884782"/>
              <a:gd name="connsiteY48605" fmla="*/ 1662270 h 5973007"/>
              <a:gd name="connsiteX48606" fmla="*/ 3663777 w 6884782"/>
              <a:gd name="connsiteY48606" fmla="*/ 1664546 h 5973007"/>
              <a:gd name="connsiteX48607" fmla="*/ 3662497 w 6884782"/>
              <a:gd name="connsiteY48607" fmla="*/ 1666253 h 5973007"/>
              <a:gd name="connsiteX48608" fmla="*/ 3669112 w 6884782"/>
              <a:gd name="connsiteY48608" fmla="*/ 1663123 h 5973007"/>
              <a:gd name="connsiteX48609" fmla="*/ 3665271 w 6884782"/>
              <a:gd name="connsiteY48609" fmla="*/ 1675928 h 5973007"/>
              <a:gd name="connsiteX48610" fmla="*/ 3664417 w 6884782"/>
              <a:gd name="connsiteY48610" fmla="*/ 1683752 h 5973007"/>
              <a:gd name="connsiteX48611" fmla="*/ 3665271 w 6884782"/>
              <a:gd name="connsiteY48611" fmla="*/ 1684037 h 5973007"/>
              <a:gd name="connsiteX48612" fmla="*/ 3666551 w 6884782"/>
              <a:gd name="connsiteY48612" fmla="*/ 1683468 h 5973007"/>
              <a:gd name="connsiteX48613" fmla="*/ 3666551 w 6884782"/>
              <a:gd name="connsiteY48613" fmla="*/ 1683183 h 5973007"/>
              <a:gd name="connsiteX48614" fmla="*/ 3670393 w 6884782"/>
              <a:gd name="connsiteY48614" fmla="*/ 1673224 h 5973007"/>
              <a:gd name="connsiteX48615" fmla="*/ 3671673 w 6884782"/>
              <a:gd name="connsiteY48615" fmla="*/ 1674505 h 5973007"/>
              <a:gd name="connsiteX48616" fmla="*/ 3669966 w 6884782"/>
              <a:gd name="connsiteY48616" fmla="*/ 1683041 h 5973007"/>
              <a:gd name="connsiteX48617" fmla="*/ 3669539 w 6884782"/>
              <a:gd name="connsiteY48617" fmla="*/ 1684748 h 5973007"/>
              <a:gd name="connsiteX48618" fmla="*/ 3672313 w 6884782"/>
              <a:gd name="connsiteY48618" fmla="*/ 1683752 h 5973007"/>
              <a:gd name="connsiteX48619" fmla="*/ 3690454 w 6884782"/>
              <a:gd name="connsiteY48619" fmla="*/ 1679200 h 5973007"/>
              <a:gd name="connsiteX48620" fmla="*/ 3696003 w 6884782"/>
              <a:gd name="connsiteY48620" fmla="*/ 1680480 h 5973007"/>
              <a:gd name="connsiteX48621" fmla="*/ 3694296 w 6884782"/>
              <a:gd name="connsiteY48621" fmla="*/ 1674931 h 5973007"/>
              <a:gd name="connsiteX48622" fmla="*/ 3693869 w 6884782"/>
              <a:gd name="connsiteY48622" fmla="*/ 1673794 h 5973007"/>
              <a:gd name="connsiteX48623" fmla="*/ 3690881 w 6884782"/>
              <a:gd name="connsiteY48623" fmla="*/ 1673794 h 5973007"/>
              <a:gd name="connsiteX48624" fmla="*/ 3685972 w 6884782"/>
              <a:gd name="connsiteY48624" fmla="*/ 1667392 h 5973007"/>
              <a:gd name="connsiteX48625" fmla="*/ 3687893 w 6884782"/>
              <a:gd name="connsiteY48625" fmla="*/ 1665400 h 5973007"/>
              <a:gd name="connsiteX48626" fmla="*/ 3691095 w 6884782"/>
              <a:gd name="connsiteY48626" fmla="*/ 1664688 h 5973007"/>
              <a:gd name="connsiteX48627" fmla="*/ 3689814 w 6884782"/>
              <a:gd name="connsiteY48627" fmla="*/ 1659708 h 5973007"/>
              <a:gd name="connsiteX48628" fmla="*/ 3687253 w 6884782"/>
              <a:gd name="connsiteY48628" fmla="*/ 1657148 h 5973007"/>
              <a:gd name="connsiteX48629" fmla="*/ 3687039 w 6884782"/>
              <a:gd name="connsiteY48629" fmla="*/ 1656294 h 5973007"/>
              <a:gd name="connsiteX48630" fmla="*/ 3685972 w 6884782"/>
              <a:gd name="connsiteY48630" fmla="*/ 1655868 h 5973007"/>
              <a:gd name="connsiteX48631" fmla="*/ 3685972 w 6884782"/>
              <a:gd name="connsiteY48631" fmla="*/ 1654729 h 5973007"/>
              <a:gd name="connsiteX48632" fmla="*/ 3687039 w 6884782"/>
              <a:gd name="connsiteY48632" fmla="*/ 1655298 h 5973007"/>
              <a:gd name="connsiteX48633" fmla="*/ 3686613 w 6884782"/>
              <a:gd name="connsiteY48633" fmla="*/ 1654018 h 5973007"/>
              <a:gd name="connsiteX48634" fmla="*/ 3685759 w 6884782"/>
              <a:gd name="connsiteY48634" fmla="*/ 1654444 h 5973007"/>
              <a:gd name="connsiteX48635" fmla="*/ 3685972 w 6884782"/>
              <a:gd name="connsiteY48635" fmla="*/ 1652026 h 5973007"/>
              <a:gd name="connsiteX48636" fmla="*/ 3686613 w 6884782"/>
              <a:gd name="connsiteY48636" fmla="*/ 1652453 h 5973007"/>
              <a:gd name="connsiteX48637" fmla="*/ 3686826 w 6884782"/>
              <a:gd name="connsiteY48637" fmla="*/ 1653449 h 5973007"/>
              <a:gd name="connsiteX48638" fmla="*/ 3689174 w 6884782"/>
              <a:gd name="connsiteY48638" fmla="*/ 1649750 h 5973007"/>
              <a:gd name="connsiteX48639" fmla="*/ 3694082 w 6884782"/>
              <a:gd name="connsiteY48639" fmla="*/ 1648470 h 5973007"/>
              <a:gd name="connsiteX48640" fmla="*/ 3700912 w 6884782"/>
              <a:gd name="connsiteY48640" fmla="*/ 1651742 h 5973007"/>
              <a:gd name="connsiteX48641" fmla="*/ 3700912 w 6884782"/>
              <a:gd name="connsiteY48641" fmla="*/ 1652311 h 5973007"/>
              <a:gd name="connsiteX48642" fmla="*/ 3709235 w 6884782"/>
              <a:gd name="connsiteY48642" fmla="*/ 1653876 h 5973007"/>
              <a:gd name="connsiteX48643" fmla="*/ 3712009 w 6884782"/>
              <a:gd name="connsiteY48643" fmla="*/ 1654871 h 5973007"/>
              <a:gd name="connsiteX48644" fmla="*/ 3712650 w 6884782"/>
              <a:gd name="connsiteY48644" fmla="*/ 1654444 h 5973007"/>
              <a:gd name="connsiteX48645" fmla="*/ 3716918 w 6884782"/>
              <a:gd name="connsiteY48645" fmla="*/ 1655014 h 5973007"/>
              <a:gd name="connsiteX48646" fmla="*/ 3717345 w 6884782"/>
              <a:gd name="connsiteY48646" fmla="*/ 1655441 h 5973007"/>
              <a:gd name="connsiteX48647" fmla="*/ 3718412 w 6884782"/>
              <a:gd name="connsiteY48647" fmla="*/ 1655156 h 5973007"/>
              <a:gd name="connsiteX48648" fmla="*/ 3727163 w 6884782"/>
              <a:gd name="connsiteY48648" fmla="*/ 1653164 h 5973007"/>
              <a:gd name="connsiteX48649" fmla="*/ 3720333 w 6884782"/>
              <a:gd name="connsiteY48649" fmla="*/ 1658002 h 5973007"/>
              <a:gd name="connsiteX48650" fmla="*/ 3719906 w 6884782"/>
              <a:gd name="connsiteY48650" fmla="*/ 1658002 h 5973007"/>
              <a:gd name="connsiteX48651" fmla="*/ 3726522 w 6884782"/>
              <a:gd name="connsiteY48651" fmla="*/ 1660563 h 5973007"/>
              <a:gd name="connsiteX48652" fmla="*/ 3727589 w 6884782"/>
              <a:gd name="connsiteY48652" fmla="*/ 1661274 h 5973007"/>
              <a:gd name="connsiteX48653" fmla="*/ 3728443 w 6884782"/>
              <a:gd name="connsiteY48653" fmla="*/ 1659140 h 5973007"/>
              <a:gd name="connsiteX48654" fmla="*/ 3728656 w 6884782"/>
              <a:gd name="connsiteY48654" fmla="*/ 1656437 h 5973007"/>
              <a:gd name="connsiteX48655" fmla="*/ 3730577 w 6884782"/>
              <a:gd name="connsiteY48655" fmla="*/ 1658002 h 5973007"/>
              <a:gd name="connsiteX48656" fmla="*/ 3728230 w 6884782"/>
              <a:gd name="connsiteY48656" fmla="*/ 1661700 h 5973007"/>
              <a:gd name="connsiteX48657" fmla="*/ 3730577 w 6884782"/>
              <a:gd name="connsiteY48657" fmla="*/ 1662412 h 5973007"/>
              <a:gd name="connsiteX48658" fmla="*/ 3730363 w 6884782"/>
              <a:gd name="connsiteY48658" fmla="*/ 1663123 h 5973007"/>
              <a:gd name="connsiteX48659" fmla="*/ 3731858 w 6884782"/>
              <a:gd name="connsiteY48659" fmla="*/ 1664119 h 5973007"/>
              <a:gd name="connsiteX48660" fmla="*/ 3741034 w 6884782"/>
              <a:gd name="connsiteY48660" fmla="*/ 1660278 h 5973007"/>
              <a:gd name="connsiteX48661" fmla="*/ 3745516 w 6884782"/>
              <a:gd name="connsiteY48661" fmla="*/ 1657006 h 5973007"/>
              <a:gd name="connsiteX48662" fmla="*/ 3748077 w 6884782"/>
              <a:gd name="connsiteY48662" fmla="*/ 1657148 h 5973007"/>
              <a:gd name="connsiteX48663" fmla="*/ 3754693 w 6884782"/>
              <a:gd name="connsiteY48663" fmla="*/ 1661416 h 5973007"/>
              <a:gd name="connsiteX48664" fmla="*/ 3737834 w 6884782"/>
              <a:gd name="connsiteY48664" fmla="*/ 1668245 h 5973007"/>
              <a:gd name="connsiteX48665" fmla="*/ 3735913 w 6884782"/>
              <a:gd name="connsiteY48665" fmla="*/ 1668245 h 5973007"/>
              <a:gd name="connsiteX48666" fmla="*/ 3737620 w 6884782"/>
              <a:gd name="connsiteY48666" fmla="*/ 1670521 h 5973007"/>
              <a:gd name="connsiteX48667" fmla="*/ 3733351 w 6884782"/>
              <a:gd name="connsiteY48667" fmla="*/ 1682899 h 5973007"/>
              <a:gd name="connsiteX48668" fmla="*/ 3725242 w 6884782"/>
              <a:gd name="connsiteY48668" fmla="*/ 1679058 h 5973007"/>
              <a:gd name="connsiteX48669" fmla="*/ 3726735 w 6884782"/>
              <a:gd name="connsiteY48669" fmla="*/ 1694991 h 5973007"/>
              <a:gd name="connsiteX48670" fmla="*/ 3716491 w 6884782"/>
              <a:gd name="connsiteY48670" fmla="*/ 1680907 h 5973007"/>
              <a:gd name="connsiteX48671" fmla="*/ 3716491 w 6884782"/>
              <a:gd name="connsiteY48671" fmla="*/ 1676781 h 5973007"/>
              <a:gd name="connsiteX48672" fmla="*/ 3712650 w 6884782"/>
              <a:gd name="connsiteY48672" fmla="*/ 1674363 h 5973007"/>
              <a:gd name="connsiteX48673" fmla="*/ 3712650 w 6884782"/>
              <a:gd name="connsiteY48673" fmla="*/ 1674220 h 5973007"/>
              <a:gd name="connsiteX48674" fmla="*/ 3709235 w 6884782"/>
              <a:gd name="connsiteY48674" fmla="*/ 1673082 h 5973007"/>
              <a:gd name="connsiteX48675" fmla="*/ 3699631 w 6884782"/>
              <a:gd name="connsiteY48675" fmla="*/ 1668956 h 5973007"/>
              <a:gd name="connsiteX48676" fmla="*/ 3697070 w 6884782"/>
              <a:gd name="connsiteY48676" fmla="*/ 1666538 h 5973007"/>
              <a:gd name="connsiteX48677" fmla="*/ 3697710 w 6884782"/>
              <a:gd name="connsiteY48677" fmla="*/ 1668387 h 5973007"/>
              <a:gd name="connsiteX48678" fmla="*/ 3697924 w 6884782"/>
              <a:gd name="connsiteY48678" fmla="*/ 1669241 h 5973007"/>
              <a:gd name="connsiteX48679" fmla="*/ 3700272 w 6884782"/>
              <a:gd name="connsiteY48679" fmla="*/ 1670379 h 5973007"/>
              <a:gd name="connsiteX48680" fmla="*/ 3701125 w 6884782"/>
              <a:gd name="connsiteY48680" fmla="*/ 1673794 h 5973007"/>
              <a:gd name="connsiteX48681" fmla="*/ 3698778 w 6884782"/>
              <a:gd name="connsiteY48681" fmla="*/ 1673794 h 5973007"/>
              <a:gd name="connsiteX48682" fmla="*/ 3698778 w 6884782"/>
              <a:gd name="connsiteY48682" fmla="*/ 1674078 h 5973007"/>
              <a:gd name="connsiteX48683" fmla="*/ 3698991 w 6884782"/>
              <a:gd name="connsiteY48683" fmla="*/ 1675501 h 5973007"/>
              <a:gd name="connsiteX48684" fmla="*/ 3699418 w 6884782"/>
              <a:gd name="connsiteY48684" fmla="*/ 1678061 h 5973007"/>
              <a:gd name="connsiteX48685" fmla="*/ 3696217 w 6884782"/>
              <a:gd name="connsiteY48685" fmla="*/ 1681618 h 5973007"/>
              <a:gd name="connsiteX48686" fmla="*/ 3696217 w 6884782"/>
              <a:gd name="connsiteY48686" fmla="*/ 1681333 h 5973007"/>
              <a:gd name="connsiteX48687" fmla="*/ 3694296 w 6884782"/>
              <a:gd name="connsiteY48687" fmla="*/ 1685032 h 5973007"/>
              <a:gd name="connsiteX48688" fmla="*/ 3676795 w 6884782"/>
              <a:gd name="connsiteY48688" fmla="*/ 1694423 h 5973007"/>
              <a:gd name="connsiteX48689" fmla="*/ 3667405 w 6884782"/>
              <a:gd name="connsiteY48689" fmla="*/ 1694423 h 5973007"/>
              <a:gd name="connsiteX48690" fmla="*/ 3671673 w 6884782"/>
              <a:gd name="connsiteY48690" fmla="*/ 1697410 h 5973007"/>
              <a:gd name="connsiteX48691" fmla="*/ 3681277 w 6884782"/>
              <a:gd name="connsiteY48691" fmla="*/ 1705092 h 5973007"/>
              <a:gd name="connsiteX48692" fmla="*/ 3681277 w 6884782"/>
              <a:gd name="connsiteY48692" fmla="*/ 1706373 h 5973007"/>
              <a:gd name="connsiteX48693" fmla="*/ 3678503 w 6884782"/>
              <a:gd name="connsiteY48693" fmla="*/ 1707227 h 5973007"/>
              <a:gd name="connsiteX48694" fmla="*/ 3674234 w 6884782"/>
              <a:gd name="connsiteY48694" fmla="*/ 1704381 h 5973007"/>
              <a:gd name="connsiteX48695" fmla="*/ 3666124 w 6884782"/>
              <a:gd name="connsiteY48695" fmla="*/ 1694849 h 5973007"/>
              <a:gd name="connsiteX48696" fmla="*/ 3665484 w 6884782"/>
              <a:gd name="connsiteY48696" fmla="*/ 1694423 h 5973007"/>
              <a:gd name="connsiteX48697" fmla="*/ 3663137 w 6884782"/>
              <a:gd name="connsiteY48697" fmla="*/ 1694423 h 5973007"/>
              <a:gd name="connsiteX48698" fmla="*/ 3660362 w 6884782"/>
              <a:gd name="connsiteY48698" fmla="*/ 1693284 h 5973007"/>
              <a:gd name="connsiteX48699" fmla="*/ 3656734 w 6884782"/>
              <a:gd name="connsiteY48699" fmla="*/ 1694423 h 5973007"/>
              <a:gd name="connsiteX48700" fmla="*/ 3655667 w 6884782"/>
              <a:gd name="connsiteY48700" fmla="*/ 1690439 h 5973007"/>
              <a:gd name="connsiteX48701" fmla="*/ 3654813 w 6884782"/>
              <a:gd name="connsiteY48701" fmla="*/ 1700255 h 5973007"/>
              <a:gd name="connsiteX48702" fmla="*/ 3655240 w 6884782"/>
              <a:gd name="connsiteY48702" fmla="*/ 1704097 h 5973007"/>
              <a:gd name="connsiteX48703" fmla="*/ 3655453 w 6884782"/>
              <a:gd name="connsiteY48703" fmla="*/ 1705092 h 5973007"/>
              <a:gd name="connsiteX48704" fmla="*/ 3655667 w 6884782"/>
              <a:gd name="connsiteY48704" fmla="*/ 1705235 h 5973007"/>
              <a:gd name="connsiteX48705" fmla="*/ 3657161 w 6884782"/>
              <a:gd name="connsiteY48705" fmla="*/ 1712633 h 5973007"/>
              <a:gd name="connsiteX48706" fmla="*/ 3656307 w 6884782"/>
              <a:gd name="connsiteY48706" fmla="*/ 1716474 h 5973007"/>
              <a:gd name="connsiteX48707" fmla="*/ 3656521 w 6884782"/>
              <a:gd name="connsiteY48707" fmla="*/ 1716332 h 5973007"/>
              <a:gd name="connsiteX48708" fmla="*/ 3658868 w 6884782"/>
              <a:gd name="connsiteY48708" fmla="*/ 1716901 h 5973007"/>
              <a:gd name="connsiteX48709" fmla="*/ 3660362 w 6884782"/>
              <a:gd name="connsiteY48709" fmla="*/ 1734542 h 5973007"/>
              <a:gd name="connsiteX48710" fmla="*/ 3659508 w 6884782"/>
              <a:gd name="connsiteY48710" fmla="*/ 1736961 h 5973007"/>
              <a:gd name="connsiteX48711" fmla="*/ 3660575 w 6884782"/>
              <a:gd name="connsiteY48711" fmla="*/ 1737103 h 5973007"/>
              <a:gd name="connsiteX48712" fmla="*/ 3659295 w 6884782"/>
              <a:gd name="connsiteY48712" fmla="*/ 1738241 h 5973007"/>
              <a:gd name="connsiteX48713" fmla="*/ 3659295 w 6884782"/>
              <a:gd name="connsiteY48713" fmla="*/ 1738526 h 5973007"/>
              <a:gd name="connsiteX48714" fmla="*/ 3659295 w 6884782"/>
              <a:gd name="connsiteY48714" fmla="*/ 1739664 h 5973007"/>
              <a:gd name="connsiteX48715" fmla="*/ 3656307 w 6884782"/>
              <a:gd name="connsiteY48715" fmla="*/ 1743220 h 5973007"/>
              <a:gd name="connsiteX48716" fmla="*/ 3653319 w 6884782"/>
              <a:gd name="connsiteY48716" fmla="*/ 1742509 h 5973007"/>
              <a:gd name="connsiteX48717" fmla="*/ 3652892 w 6884782"/>
              <a:gd name="connsiteY48717" fmla="*/ 1741798 h 5973007"/>
              <a:gd name="connsiteX48718" fmla="*/ 3646703 w 6884782"/>
              <a:gd name="connsiteY48718" fmla="*/ 1743078 h 5973007"/>
              <a:gd name="connsiteX48719" fmla="*/ 3647983 w 6884782"/>
              <a:gd name="connsiteY48719" fmla="*/ 1736107 h 5973007"/>
              <a:gd name="connsiteX48720" fmla="*/ 3649051 w 6884782"/>
              <a:gd name="connsiteY48720" fmla="*/ 1735823 h 5973007"/>
              <a:gd name="connsiteX48721" fmla="*/ 3646063 w 6884782"/>
              <a:gd name="connsiteY48721" fmla="*/ 1734969 h 5973007"/>
              <a:gd name="connsiteX48722" fmla="*/ 3628989 w 6884782"/>
              <a:gd name="connsiteY48722" fmla="*/ 1732408 h 5973007"/>
              <a:gd name="connsiteX48723" fmla="*/ 3628989 w 6884782"/>
              <a:gd name="connsiteY48723" fmla="*/ 1723445 h 5973007"/>
              <a:gd name="connsiteX48724" fmla="*/ 3630270 w 6884782"/>
              <a:gd name="connsiteY48724" fmla="*/ 1721169 h 5973007"/>
              <a:gd name="connsiteX48725" fmla="*/ 3628562 w 6884782"/>
              <a:gd name="connsiteY48725" fmla="*/ 1722450 h 5973007"/>
              <a:gd name="connsiteX48726" fmla="*/ 3626001 w 6884782"/>
              <a:gd name="connsiteY48726" fmla="*/ 1717185 h 5973007"/>
              <a:gd name="connsiteX48727" fmla="*/ 3630697 w 6884782"/>
              <a:gd name="connsiteY48727" fmla="*/ 1715621 h 5973007"/>
              <a:gd name="connsiteX48728" fmla="*/ 3632191 w 6884782"/>
              <a:gd name="connsiteY48728" fmla="*/ 1716758 h 5973007"/>
              <a:gd name="connsiteX48729" fmla="*/ 3633258 w 6884782"/>
              <a:gd name="connsiteY48729" fmla="*/ 1717897 h 5973007"/>
              <a:gd name="connsiteX48730" fmla="*/ 3635392 w 6884782"/>
              <a:gd name="connsiteY48730" fmla="*/ 1715905 h 5973007"/>
              <a:gd name="connsiteX48731" fmla="*/ 3646276 w 6884782"/>
              <a:gd name="connsiteY48731" fmla="*/ 1714340 h 5973007"/>
              <a:gd name="connsiteX48732" fmla="*/ 3647983 w 6884782"/>
              <a:gd name="connsiteY48732" fmla="*/ 1715193 h 5973007"/>
              <a:gd name="connsiteX48733" fmla="*/ 3648197 w 6884782"/>
              <a:gd name="connsiteY48733" fmla="*/ 1714767 h 5973007"/>
              <a:gd name="connsiteX48734" fmla="*/ 3649264 w 6884782"/>
              <a:gd name="connsiteY48734" fmla="*/ 1711352 h 5973007"/>
              <a:gd name="connsiteX48735" fmla="*/ 3647130 w 6884782"/>
              <a:gd name="connsiteY48735" fmla="*/ 1711779 h 5973007"/>
              <a:gd name="connsiteX48736" fmla="*/ 3651398 w 6884782"/>
              <a:gd name="connsiteY48736" fmla="*/ 1689728 h 5973007"/>
              <a:gd name="connsiteX48737" fmla="*/ 3652466 w 6884782"/>
              <a:gd name="connsiteY48737" fmla="*/ 1687594 h 5973007"/>
              <a:gd name="connsiteX48738" fmla="*/ 3653319 w 6884782"/>
              <a:gd name="connsiteY48738" fmla="*/ 1686882 h 5973007"/>
              <a:gd name="connsiteX48739" fmla="*/ 3653959 w 6884782"/>
              <a:gd name="connsiteY48739" fmla="*/ 1687309 h 5973007"/>
              <a:gd name="connsiteX48740" fmla="*/ 3654813 w 6884782"/>
              <a:gd name="connsiteY48740" fmla="*/ 1687167 h 5973007"/>
              <a:gd name="connsiteX48741" fmla="*/ 3654600 w 6884782"/>
              <a:gd name="connsiteY48741" fmla="*/ 1686597 h 5973007"/>
              <a:gd name="connsiteX48742" fmla="*/ 3655240 w 6884782"/>
              <a:gd name="connsiteY48742" fmla="*/ 1682330 h 5973007"/>
              <a:gd name="connsiteX48743" fmla="*/ 3652892 w 6884782"/>
              <a:gd name="connsiteY48743" fmla="*/ 1682045 h 5973007"/>
              <a:gd name="connsiteX48744" fmla="*/ 3648837 w 6884782"/>
              <a:gd name="connsiteY48744" fmla="*/ 1683325 h 5973007"/>
              <a:gd name="connsiteX48745" fmla="*/ 3647130 w 6884782"/>
              <a:gd name="connsiteY48745" fmla="*/ 1681618 h 5973007"/>
              <a:gd name="connsiteX48746" fmla="*/ 3650118 w 6884782"/>
              <a:gd name="connsiteY48746" fmla="*/ 1679058 h 5973007"/>
              <a:gd name="connsiteX48747" fmla="*/ 3653319 w 6884782"/>
              <a:gd name="connsiteY48747" fmla="*/ 1681618 h 5973007"/>
              <a:gd name="connsiteX48748" fmla="*/ 3655453 w 6884782"/>
              <a:gd name="connsiteY48748" fmla="*/ 1681192 h 5973007"/>
              <a:gd name="connsiteX48749" fmla="*/ 3656307 w 6884782"/>
              <a:gd name="connsiteY48749" fmla="*/ 1676212 h 5973007"/>
              <a:gd name="connsiteX48750" fmla="*/ 3661856 w 6884782"/>
              <a:gd name="connsiteY48750" fmla="*/ 1666680 h 5973007"/>
              <a:gd name="connsiteX48751" fmla="*/ 3660149 w 6884782"/>
              <a:gd name="connsiteY48751" fmla="*/ 1666965 h 5973007"/>
              <a:gd name="connsiteX48752" fmla="*/ 3656947 w 6884782"/>
              <a:gd name="connsiteY48752" fmla="*/ 1666111 h 5973007"/>
              <a:gd name="connsiteX48753" fmla="*/ 3656521 w 6884782"/>
              <a:gd name="connsiteY48753" fmla="*/ 1664830 h 5973007"/>
              <a:gd name="connsiteX48754" fmla="*/ 3655026 w 6884782"/>
              <a:gd name="connsiteY48754" fmla="*/ 1665257 h 5973007"/>
              <a:gd name="connsiteX48755" fmla="*/ 3649691 w 6884782"/>
              <a:gd name="connsiteY48755" fmla="*/ 1664830 h 5973007"/>
              <a:gd name="connsiteX48756" fmla="*/ 3656093 w 6884782"/>
              <a:gd name="connsiteY48756" fmla="*/ 1663123 h 5973007"/>
              <a:gd name="connsiteX48757" fmla="*/ 3656521 w 6884782"/>
              <a:gd name="connsiteY48757" fmla="*/ 1663123 h 5973007"/>
              <a:gd name="connsiteX48758" fmla="*/ 3656521 w 6884782"/>
              <a:gd name="connsiteY48758" fmla="*/ 1661985 h 5973007"/>
              <a:gd name="connsiteX48759" fmla="*/ 3655026 w 6884782"/>
              <a:gd name="connsiteY48759" fmla="*/ 1661416 h 5973007"/>
              <a:gd name="connsiteX48760" fmla="*/ 3656093 w 6884782"/>
              <a:gd name="connsiteY48760" fmla="*/ 1660847 h 5973007"/>
              <a:gd name="connsiteX48761" fmla="*/ 3656307 w 6884782"/>
              <a:gd name="connsiteY48761" fmla="*/ 1659140 h 5973007"/>
              <a:gd name="connsiteX48762" fmla="*/ 3661429 w 6884782"/>
              <a:gd name="connsiteY48762" fmla="*/ 1658713 h 5973007"/>
              <a:gd name="connsiteX48763" fmla="*/ 3666338 w 6884782"/>
              <a:gd name="connsiteY48763" fmla="*/ 1650177 h 5973007"/>
              <a:gd name="connsiteX48764" fmla="*/ 3668685 w 6884782"/>
              <a:gd name="connsiteY48764" fmla="*/ 1648612 h 5973007"/>
              <a:gd name="connsiteX48765" fmla="*/ 1362260 w 6884782"/>
              <a:gd name="connsiteY48765" fmla="*/ 1645950 h 5973007"/>
              <a:gd name="connsiteX48766" fmla="*/ 1379090 w 6884782"/>
              <a:gd name="connsiteY48766" fmla="*/ 1663609 h 5973007"/>
              <a:gd name="connsiteX48767" fmla="*/ 1380742 w 6884782"/>
              <a:gd name="connsiteY48767" fmla="*/ 1670889 h 5973007"/>
              <a:gd name="connsiteX48768" fmla="*/ 1366700 w 6884782"/>
              <a:gd name="connsiteY48768" fmla="*/ 1662679 h 5973007"/>
              <a:gd name="connsiteX48769" fmla="*/ 1354412 w 6884782"/>
              <a:gd name="connsiteY48769" fmla="*/ 1674452 h 5973007"/>
              <a:gd name="connsiteX48770" fmla="*/ 1354206 w 6884782"/>
              <a:gd name="connsiteY48770" fmla="*/ 1669959 h 5973007"/>
              <a:gd name="connsiteX48771" fmla="*/ 1362260 w 6884782"/>
              <a:gd name="connsiteY48771" fmla="*/ 1656329 h 5973007"/>
              <a:gd name="connsiteX48772" fmla="*/ 1362260 w 6884782"/>
              <a:gd name="connsiteY48772" fmla="*/ 1645950 h 5973007"/>
              <a:gd name="connsiteX48773" fmla="*/ 5257382 w 6884782"/>
              <a:gd name="connsiteY48773" fmla="*/ 1644770 h 5973007"/>
              <a:gd name="connsiteX48774" fmla="*/ 5279578 w 6884782"/>
              <a:gd name="connsiteY48774" fmla="*/ 1652311 h 5973007"/>
              <a:gd name="connsiteX48775" fmla="*/ 5280431 w 6884782"/>
              <a:gd name="connsiteY48775" fmla="*/ 1653307 h 5973007"/>
              <a:gd name="connsiteX48776" fmla="*/ 5279578 w 6884782"/>
              <a:gd name="connsiteY48776" fmla="*/ 1651315 h 5973007"/>
              <a:gd name="connsiteX48777" fmla="*/ 5280858 w 6884782"/>
              <a:gd name="connsiteY48777" fmla="*/ 1649039 h 5973007"/>
              <a:gd name="connsiteX48778" fmla="*/ 5284913 w 6884782"/>
              <a:gd name="connsiteY48778" fmla="*/ 1644913 h 5973007"/>
              <a:gd name="connsiteX48779" fmla="*/ 5288755 w 6884782"/>
              <a:gd name="connsiteY48779" fmla="*/ 1647047 h 5973007"/>
              <a:gd name="connsiteX48780" fmla="*/ 5289822 w 6884782"/>
              <a:gd name="connsiteY48780" fmla="*/ 1652311 h 5973007"/>
              <a:gd name="connsiteX48781" fmla="*/ 5285980 w 6884782"/>
              <a:gd name="connsiteY48781" fmla="*/ 1660847 h 5973007"/>
              <a:gd name="connsiteX48782" fmla="*/ 5284273 w 6884782"/>
              <a:gd name="connsiteY48782" fmla="*/ 1659566 h 5973007"/>
              <a:gd name="connsiteX48783" fmla="*/ 5278297 w 6884782"/>
              <a:gd name="connsiteY48783" fmla="*/ 1669525 h 5973007"/>
              <a:gd name="connsiteX48784" fmla="*/ 5268907 w 6884782"/>
              <a:gd name="connsiteY48784" fmla="*/ 1675501 h 5973007"/>
              <a:gd name="connsiteX48785" fmla="*/ 5262290 w 6884782"/>
              <a:gd name="connsiteY48785" fmla="*/ 1676639 h 5973007"/>
              <a:gd name="connsiteX48786" fmla="*/ 5266559 w 6884782"/>
              <a:gd name="connsiteY48786" fmla="*/ 1679769 h 5973007"/>
              <a:gd name="connsiteX48787" fmla="*/ 5270401 w 6884782"/>
              <a:gd name="connsiteY48787" fmla="*/ 1684464 h 5973007"/>
              <a:gd name="connsiteX48788" fmla="*/ 5274242 w 6884782"/>
              <a:gd name="connsiteY48788" fmla="*/ 1680907 h 5973007"/>
              <a:gd name="connsiteX48789" fmla="*/ 5281712 w 6884782"/>
              <a:gd name="connsiteY48789" fmla="*/ 1676496 h 5973007"/>
              <a:gd name="connsiteX48790" fmla="*/ 5281712 w 6884782"/>
              <a:gd name="connsiteY48790" fmla="*/ 1676354 h 5973007"/>
              <a:gd name="connsiteX48791" fmla="*/ 5281925 w 6884782"/>
              <a:gd name="connsiteY48791" fmla="*/ 1676354 h 5973007"/>
              <a:gd name="connsiteX48792" fmla="*/ 5283632 w 6884782"/>
              <a:gd name="connsiteY48792" fmla="*/ 1675501 h 5973007"/>
              <a:gd name="connsiteX48793" fmla="*/ 5283206 w 6884782"/>
              <a:gd name="connsiteY48793" fmla="*/ 1676496 h 5973007"/>
              <a:gd name="connsiteX48794" fmla="*/ 5290889 w 6884782"/>
              <a:gd name="connsiteY48794" fmla="*/ 1677066 h 5973007"/>
              <a:gd name="connsiteX48795" fmla="*/ 5308603 w 6884782"/>
              <a:gd name="connsiteY48795" fmla="*/ 1698264 h 5973007"/>
              <a:gd name="connsiteX48796" fmla="*/ 5294090 w 6884782"/>
              <a:gd name="connsiteY48796" fmla="*/ 1690154 h 5973007"/>
              <a:gd name="connsiteX48797" fmla="*/ 5287474 w 6884782"/>
              <a:gd name="connsiteY48797" fmla="*/ 1684464 h 5973007"/>
              <a:gd name="connsiteX48798" fmla="*/ 5282779 w 6884782"/>
              <a:gd name="connsiteY48798" fmla="*/ 1678061 h 5973007"/>
              <a:gd name="connsiteX48799" fmla="*/ 5280858 w 6884782"/>
              <a:gd name="connsiteY48799" fmla="*/ 1685317 h 5973007"/>
              <a:gd name="connsiteX48800" fmla="*/ 5275096 w 6884782"/>
              <a:gd name="connsiteY48800" fmla="*/ 1692004 h 5973007"/>
              <a:gd name="connsiteX48801" fmla="*/ 5277444 w 6884782"/>
              <a:gd name="connsiteY48801" fmla="*/ 1696841 h 5973007"/>
              <a:gd name="connsiteX48802" fmla="*/ 5270614 w 6884782"/>
              <a:gd name="connsiteY48802" fmla="*/ 1702105 h 5973007"/>
              <a:gd name="connsiteX48803" fmla="*/ 5264212 w 6884782"/>
              <a:gd name="connsiteY48803" fmla="*/ 1699828 h 5973007"/>
              <a:gd name="connsiteX48804" fmla="*/ 5262077 w 6884782"/>
              <a:gd name="connsiteY48804" fmla="*/ 1700967 h 5973007"/>
              <a:gd name="connsiteX48805" fmla="*/ 5253114 w 6884782"/>
              <a:gd name="connsiteY48805" fmla="*/ 1699828 h 5973007"/>
              <a:gd name="connsiteX48806" fmla="*/ 5258449 w 6884782"/>
              <a:gd name="connsiteY48806" fmla="*/ 1694991 h 5973007"/>
              <a:gd name="connsiteX48807" fmla="*/ 5252474 w 6884782"/>
              <a:gd name="connsiteY48807" fmla="*/ 1688305 h 5973007"/>
              <a:gd name="connsiteX48808" fmla="*/ 5251833 w 6884782"/>
              <a:gd name="connsiteY48808" fmla="*/ 1686740 h 5973007"/>
              <a:gd name="connsiteX48809" fmla="*/ 5249486 w 6884782"/>
              <a:gd name="connsiteY48809" fmla="*/ 1688732 h 5973007"/>
              <a:gd name="connsiteX48810" fmla="*/ 5243723 w 6884782"/>
              <a:gd name="connsiteY48810" fmla="*/ 1688874 h 5973007"/>
              <a:gd name="connsiteX48811" fmla="*/ 5239241 w 6884782"/>
              <a:gd name="connsiteY48811" fmla="*/ 1674931 h 5973007"/>
              <a:gd name="connsiteX48812" fmla="*/ 5239455 w 6884782"/>
              <a:gd name="connsiteY48812" fmla="*/ 1670237 h 5973007"/>
              <a:gd name="connsiteX48813" fmla="*/ 5232625 w 6884782"/>
              <a:gd name="connsiteY48813" fmla="*/ 1664119 h 5973007"/>
              <a:gd name="connsiteX48814" fmla="*/ 5232625 w 6884782"/>
              <a:gd name="connsiteY48814" fmla="*/ 1660278 h 5973007"/>
              <a:gd name="connsiteX48815" fmla="*/ 5257382 w 6884782"/>
              <a:gd name="connsiteY48815" fmla="*/ 1644770 h 5973007"/>
              <a:gd name="connsiteX48816" fmla="*/ 5220247 w 6884782"/>
              <a:gd name="connsiteY48816" fmla="*/ 1644628 h 5973007"/>
              <a:gd name="connsiteX48817" fmla="*/ 5221741 w 6884782"/>
              <a:gd name="connsiteY48817" fmla="*/ 1652453 h 5973007"/>
              <a:gd name="connsiteX48818" fmla="*/ 5214485 w 6884782"/>
              <a:gd name="connsiteY48818" fmla="*/ 1653022 h 5973007"/>
              <a:gd name="connsiteX48819" fmla="*/ 5220247 w 6884782"/>
              <a:gd name="connsiteY48819" fmla="*/ 1644628 h 5973007"/>
              <a:gd name="connsiteX48820" fmla="*/ 5599921 w 6884782"/>
              <a:gd name="connsiteY48820" fmla="*/ 1643490 h 5973007"/>
              <a:gd name="connsiteX48821" fmla="*/ 5605896 w 6884782"/>
              <a:gd name="connsiteY48821" fmla="*/ 1661132 h 5973007"/>
              <a:gd name="connsiteX48822" fmla="*/ 5605256 w 6884782"/>
              <a:gd name="connsiteY48822" fmla="*/ 1666822 h 5973007"/>
              <a:gd name="connsiteX48823" fmla="*/ 5609311 w 6884782"/>
              <a:gd name="connsiteY48823" fmla="*/ 1668102 h 5973007"/>
              <a:gd name="connsiteX48824" fmla="*/ 5616994 w 6884782"/>
              <a:gd name="connsiteY48824" fmla="*/ 1672229 h 5973007"/>
              <a:gd name="connsiteX48825" fmla="*/ 5603762 w 6884782"/>
              <a:gd name="connsiteY48825" fmla="*/ 1679911 h 5973007"/>
              <a:gd name="connsiteX48826" fmla="*/ 5601628 w 6884782"/>
              <a:gd name="connsiteY48826" fmla="*/ 1674931 h 5973007"/>
              <a:gd name="connsiteX48827" fmla="*/ 5601415 w 6884782"/>
              <a:gd name="connsiteY48827" fmla="*/ 1675643 h 5973007"/>
              <a:gd name="connsiteX48828" fmla="*/ 5599921 w 6884782"/>
              <a:gd name="connsiteY48828" fmla="*/ 1643490 h 5973007"/>
              <a:gd name="connsiteX48829" fmla="*/ 1463038 w 6884782"/>
              <a:gd name="connsiteY48829" fmla="*/ 1642543 h 5973007"/>
              <a:gd name="connsiteX48830" fmla="*/ 1470369 w 6884782"/>
              <a:gd name="connsiteY48830" fmla="*/ 1643317 h 5973007"/>
              <a:gd name="connsiteX48831" fmla="*/ 1472847 w 6884782"/>
              <a:gd name="connsiteY48831" fmla="*/ 1653541 h 5973007"/>
              <a:gd name="connsiteX48832" fmla="*/ 1469853 w 6884782"/>
              <a:gd name="connsiteY48832" fmla="*/ 1655864 h 5973007"/>
              <a:gd name="connsiteX48833" fmla="*/ 1464587 w 6884782"/>
              <a:gd name="connsiteY48833" fmla="*/ 1656019 h 5973007"/>
              <a:gd name="connsiteX48834" fmla="*/ 1464690 w 6884782"/>
              <a:gd name="connsiteY48834" fmla="*/ 1656174 h 5973007"/>
              <a:gd name="connsiteX48835" fmla="*/ 1463864 w 6884782"/>
              <a:gd name="connsiteY48835" fmla="*/ 1657103 h 5973007"/>
              <a:gd name="connsiteX48836" fmla="*/ 1459217 w 6884782"/>
              <a:gd name="connsiteY48836" fmla="*/ 1657723 h 5973007"/>
              <a:gd name="connsiteX48837" fmla="*/ 1458598 w 6884782"/>
              <a:gd name="connsiteY48837" fmla="*/ 1655864 h 5973007"/>
              <a:gd name="connsiteX48838" fmla="*/ 1459940 w 6884782"/>
              <a:gd name="connsiteY48838" fmla="*/ 1653386 h 5973007"/>
              <a:gd name="connsiteX48839" fmla="*/ 1460766 w 6884782"/>
              <a:gd name="connsiteY48839" fmla="*/ 1653231 h 5973007"/>
              <a:gd name="connsiteX48840" fmla="*/ 1460043 w 6884782"/>
              <a:gd name="connsiteY48840" fmla="*/ 1649203 h 5973007"/>
              <a:gd name="connsiteX48841" fmla="*/ 1463038 w 6884782"/>
              <a:gd name="connsiteY48841" fmla="*/ 1642543 h 5973007"/>
              <a:gd name="connsiteX48842" fmla="*/ 3525267 w 6884782"/>
              <a:gd name="connsiteY48842" fmla="*/ 1642494 h 5973007"/>
              <a:gd name="connsiteX48843" fmla="*/ 3524414 w 6884782"/>
              <a:gd name="connsiteY48843" fmla="*/ 1644913 h 5973007"/>
              <a:gd name="connsiteX48844" fmla="*/ 3527828 w 6884782"/>
              <a:gd name="connsiteY48844" fmla="*/ 1647189 h 5973007"/>
              <a:gd name="connsiteX48845" fmla="*/ 3526334 w 6884782"/>
              <a:gd name="connsiteY48845" fmla="*/ 1644913 h 5973007"/>
              <a:gd name="connsiteX48846" fmla="*/ 789394 w 6884782"/>
              <a:gd name="connsiteY48846" fmla="*/ 1642078 h 5973007"/>
              <a:gd name="connsiteX48847" fmla="*/ 790220 w 6884782"/>
              <a:gd name="connsiteY48847" fmla="*/ 1642078 h 5973007"/>
              <a:gd name="connsiteX48848" fmla="*/ 791046 w 6884782"/>
              <a:gd name="connsiteY48848" fmla="*/ 1647190 h 5973007"/>
              <a:gd name="connsiteX48849" fmla="*/ 791046 w 6884782"/>
              <a:gd name="connsiteY48849" fmla="*/ 1651217 h 5973007"/>
              <a:gd name="connsiteX48850" fmla="*/ 787226 w 6884782"/>
              <a:gd name="connsiteY48850" fmla="*/ 1664228 h 5973007"/>
              <a:gd name="connsiteX48851" fmla="*/ 786400 w 6884782"/>
              <a:gd name="connsiteY48851" fmla="*/ 1658342 h 5973007"/>
              <a:gd name="connsiteX48852" fmla="*/ 786709 w 6884782"/>
              <a:gd name="connsiteY48852" fmla="*/ 1645021 h 5973007"/>
              <a:gd name="connsiteX48853" fmla="*/ 788465 w 6884782"/>
              <a:gd name="connsiteY48853" fmla="*/ 1643627 h 5973007"/>
              <a:gd name="connsiteX48854" fmla="*/ 788465 w 6884782"/>
              <a:gd name="connsiteY48854" fmla="*/ 1642698 h 5973007"/>
              <a:gd name="connsiteX48855" fmla="*/ 789394 w 6884782"/>
              <a:gd name="connsiteY48855" fmla="*/ 1642078 h 5973007"/>
              <a:gd name="connsiteX48856" fmla="*/ 3465510 w 6884782"/>
              <a:gd name="connsiteY48856" fmla="*/ 1641783 h 5973007"/>
              <a:gd name="connsiteX48857" fmla="*/ 3459534 w 6884782"/>
              <a:gd name="connsiteY48857" fmla="*/ 1644628 h 5973007"/>
              <a:gd name="connsiteX48858" fmla="*/ 3459961 w 6884782"/>
              <a:gd name="connsiteY48858" fmla="*/ 1650888 h 5973007"/>
              <a:gd name="connsiteX48859" fmla="*/ 3461028 w 6884782"/>
              <a:gd name="connsiteY48859" fmla="*/ 1651457 h 5973007"/>
              <a:gd name="connsiteX48860" fmla="*/ 3465936 w 6884782"/>
              <a:gd name="connsiteY48860" fmla="*/ 1641783 h 5973007"/>
              <a:gd name="connsiteX48861" fmla="*/ 1691750 w 6884782"/>
              <a:gd name="connsiteY48861" fmla="*/ 1641304 h 5973007"/>
              <a:gd name="connsiteX48862" fmla="*/ 1692473 w 6884782"/>
              <a:gd name="connsiteY48862" fmla="*/ 1642853 h 5973007"/>
              <a:gd name="connsiteX48863" fmla="*/ 1693196 w 6884782"/>
              <a:gd name="connsiteY48863" fmla="*/ 1642543 h 5973007"/>
              <a:gd name="connsiteX48864" fmla="*/ 1692989 w 6884782"/>
              <a:gd name="connsiteY48864" fmla="*/ 1644247 h 5973007"/>
              <a:gd name="connsiteX48865" fmla="*/ 1692266 w 6884782"/>
              <a:gd name="connsiteY48865" fmla="*/ 1644556 h 5973007"/>
              <a:gd name="connsiteX48866" fmla="*/ 1692060 w 6884782"/>
              <a:gd name="connsiteY48866" fmla="*/ 1644866 h 5973007"/>
              <a:gd name="connsiteX48867" fmla="*/ 1690408 w 6884782"/>
              <a:gd name="connsiteY48867" fmla="*/ 1644247 h 5973007"/>
              <a:gd name="connsiteX48868" fmla="*/ 1688963 w 6884782"/>
              <a:gd name="connsiteY48868" fmla="*/ 1643008 h 5973007"/>
              <a:gd name="connsiteX48869" fmla="*/ 1689685 w 6884782"/>
              <a:gd name="connsiteY48869" fmla="*/ 1642078 h 5973007"/>
              <a:gd name="connsiteX48870" fmla="*/ 1691750 w 6884782"/>
              <a:gd name="connsiteY48870" fmla="*/ 1641304 h 5973007"/>
              <a:gd name="connsiteX48871" fmla="*/ 1227510 w 6884782"/>
              <a:gd name="connsiteY48871" fmla="*/ 1641149 h 5973007"/>
              <a:gd name="connsiteX48872" fmla="*/ 1226065 w 6884782"/>
              <a:gd name="connsiteY48872" fmla="*/ 1657258 h 5973007"/>
              <a:gd name="connsiteX48873" fmla="*/ 1226065 w 6884782"/>
              <a:gd name="connsiteY48873" fmla="*/ 1657567 h 5973007"/>
              <a:gd name="connsiteX48874" fmla="*/ 1228027 w 6884782"/>
              <a:gd name="connsiteY48874" fmla="*/ 1656483 h 5973007"/>
              <a:gd name="connsiteX48875" fmla="*/ 1231227 w 6884782"/>
              <a:gd name="connsiteY48875" fmla="*/ 1658342 h 5973007"/>
              <a:gd name="connsiteX48876" fmla="*/ 1233809 w 6884782"/>
              <a:gd name="connsiteY48876" fmla="*/ 1664538 h 5973007"/>
              <a:gd name="connsiteX48877" fmla="*/ 1230298 w 6884782"/>
              <a:gd name="connsiteY48877" fmla="*/ 1665467 h 5973007"/>
              <a:gd name="connsiteX48878" fmla="*/ 1228233 w 6884782"/>
              <a:gd name="connsiteY48878" fmla="*/ 1664693 h 5973007"/>
              <a:gd name="connsiteX48879" fmla="*/ 1227923 w 6884782"/>
              <a:gd name="connsiteY48879" fmla="*/ 1665932 h 5973007"/>
              <a:gd name="connsiteX48880" fmla="*/ 1224722 w 6884782"/>
              <a:gd name="connsiteY48880" fmla="*/ 1668255 h 5973007"/>
              <a:gd name="connsiteX48881" fmla="*/ 1222554 w 6884782"/>
              <a:gd name="connsiteY48881" fmla="*/ 1673212 h 5973007"/>
              <a:gd name="connsiteX48882" fmla="*/ 1219663 w 6884782"/>
              <a:gd name="connsiteY48882" fmla="*/ 1668410 h 5973007"/>
              <a:gd name="connsiteX48883" fmla="*/ 1217907 w 6884782"/>
              <a:gd name="connsiteY48883" fmla="*/ 1668255 h 5973007"/>
              <a:gd name="connsiteX48884" fmla="*/ 1217701 w 6884782"/>
              <a:gd name="connsiteY48884" fmla="*/ 1663764 h 5973007"/>
              <a:gd name="connsiteX48885" fmla="*/ 1218114 w 6884782"/>
              <a:gd name="connsiteY48885" fmla="*/ 1661131 h 5973007"/>
              <a:gd name="connsiteX48886" fmla="*/ 1217701 w 6884782"/>
              <a:gd name="connsiteY48886" fmla="*/ 1656329 h 5973007"/>
              <a:gd name="connsiteX48887" fmla="*/ 1227510 w 6884782"/>
              <a:gd name="connsiteY48887" fmla="*/ 1641149 h 5973007"/>
              <a:gd name="connsiteX48888" fmla="*/ 1278622 w 6884782"/>
              <a:gd name="connsiteY48888" fmla="*/ 1640684 h 5973007"/>
              <a:gd name="connsiteX48889" fmla="*/ 1278312 w 6884782"/>
              <a:gd name="connsiteY48889" fmla="*/ 1641459 h 5973007"/>
              <a:gd name="connsiteX48890" fmla="*/ 1279138 w 6884782"/>
              <a:gd name="connsiteY48890" fmla="*/ 1641459 h 5973007"/>
              <a:gd name="connsiteX48891" fmla="*/ 1282442 w 6884782"/>
              <a:gd name="connsiteY48891" fmla="*/ 1643782 h 5973007"/>
              <a:gd name="connsiteX48892" fmla="*/ 1278106 w 6884782"/>
              <a:gd name="connsiteY48892" fmla="*/ 1646415 h 5973007"/>
              <a:gd name="connsiteX48893" fmla="*/ 1277176 w 6884782"/>
              <a:gd name="connsiteY48893" fmla="*/ 1645331 h 5973007"/>
              <a:gd name="connsiteX48894" fmla="*/ 1276763 w 6884782"/>
              <a:gd name="connsiteY48894" fmla="*/ 1646725 h 5973007"/>
              <a:gd name="connsiteX48895" fmla="*/ 1274079 w 6884782"/>
              <a:gd name="connsiteY48895" fmla="*/ 1649978 h 5973007"/>
              <a:gd name="connsiteX48896" fmla="*/ 1279138 w 6884782"/>
              <a:gd name="connsiteY48896" fmla="*/ 1650287 h 5973007"/>
              <a:gd name="connsiteX48897" fmla="*/ 1279551 w 6884782"/>
              <a:gd name="connsiteY48897" fmla="*/ 1664073 h 5973007"/>
              <a:gd name="connsiteX48898" fmla="*/ 1270878 w 6884782"/>
              <a:gd name="connsiteY48898" fmla="*/ 1663299 h 5973007"/>
              <a:gd name="connsiteX48899" fmla="*/ 1270878 w 6884782"/>
              <a:gd name="connsiteY48899" fmla="*/ 1656019 h 5973007"/>
              <a:gd name="connsiteX48900" fmla="*/ 1272736 w 6884782"/>
              <a:gd name="connsiteY48900" fmla="*/ 1651682 h 5973007"/>
              <a:gd name="connsiteX48901" fmla="*/ 1272530 w 6884782"/>
              <a:gd name="connsiteY48901" fmla="*/ 1651837 h 5973007"/>
              <a:gd name="connsiteX48902" fmla="*/ 1262307 w 6884782"/>
              <a:gd name="connsiteY48902" fmla="*/ 1658032 h 5973007"/>
              <a:gd name="connsiteX48903" fmla="*/ 1278622 w 6884782"/>
              <a:gd name="connsiteY48903" fmla="*/ 1640684 h 5973007"/>
              <a:gd name="connsiteX48904" fmla="*/ 4824353 w 6884782"/>
              <a:gd name="connsiteY48904" fmla="*/ 1640645 h 5973007"/>
              <a:gd name="connsiteX48905" fmla="*/ 4826060 w 6884782"/>
              <a:gd name="connsiteY48905" fmla="*/ 1642779 h 5973007"/>
              <a:gd name="connsiteX48906" fmla="*/ 4826701 w 6884782"/>
              <a:gd name="connsiteY48906" fmla="*/ 1642494 h 5973007"/>
              <a:gd name="connsiteX48907" fmla="*/ 4825207 w 6884782"/>
              <a:gd name="connsiteY48907" fmla="*/ 1640787 h 5973007"/>
              <a:gd name="connsiteX48908" fmla="*/ 5813127 w 6884782"/>
              <a:gd name="connsiteY48908" fmla="*/ 1640360 h 5973007"/>
              <a:gd name="connsiteX48909" fmla="*/ 5823158 w 6884782"/>
              <a:gd name="connsiteY48909" fmla="*/ 1647901 h 5973007"/>
              <a:gd name="connsiteX48910" fmla="*/ 5823798 w 6884782"/>
              <a:gd name="connsiteY48910" fmla="*/ 1648470 h 5973007"/>
              <a:gd name="connsiteX48911" fmla="*/ 5825292 w 6884782"/>
              <a:gd name="connsiteY48911" fmla="*/ 1649181 h 5973007"/>
              <a:gd name="connsiteX48912" fmla="*/ 5825506 w 6884782"/>
              <a:gd name="connsiteY48912" fmla="*/ 1648754 h 5973007"/>
              <a:gd name="connsiteX48913" fmla="*/ 5825506 w 6884782"/>
              <a:gd name="connsiteY48913" fmla="*/ 1649181 h 5973007"/>
              <a:gd name="connsiteX48914" fmla="*/ 5828280 w 6884782"/>
              <a:gd name="connsiteY48914" fmla="*/ 1650319 h 5973007"/>
              <a:gd name="connsiteX48915" fmla="*/ 5827213 w 6884782"/>
              <a:gd name="connsiteY48915" fmla="*/ 1652311 h 5973007"/>
              <a:gd name="connsiteX48916" fmla="*/ 5828494 w 6884782"/>
              <a:gd name="connsiteY48916" fmla="*/ 1655868 h 5973007"/>
              <a:gd name="connsiteX48917" fmla="*/ 5826359 w 6884782"/>
              <a:gd name="connsiteY48917" fmla="*/ 1658286 h 5973007"/>
              <a:gd name="connsiteX48918" fmla="*/ 5819530 w 6884782"/>
              <a:gd name="connsiteY48918" fmla="*/ 1658428 h 5973007"/>
              <a:gd name="connsiteX48919" fmla="*/ 5815261 w 6884782"/>
              <a:gd name="connsiteY48919" fmla="*/ 1666680 h 5973007"/>
              <a:gd name="connsiteX48920" fmla="*/ 5813127 w 6884782"/>
              <a:gd name="connsiteY48920" fmla="*/ 1670806 h 5973007"/>
              <a:gd name="connsiteX48921" fmla="*/ 5814408 w 6884782"/>
              <a:gd name="connsiteY48921" fmla="*/ 1669668 h 5973007"/>
              <a:gd name="connsiteX48922" fmla="*/ 5831481 w 6884782"/>
              <a:gd name="connsiteY48922" fmla="*/ 1671233 h 5973007"/>
              <a:gd name="connsiteX48923" fmla="*/ 5820383 w 6884782"/>
              <a:gd name="connsiteY48923" fmla="*/ 1676496 h 5973007"/>
              <a:gd name="connsiteX48924" fmla="*/ 5811206 w 6884782"/>
              <a:gd name="connsiteY48924" fmla="*/ 1673082 h 5973007"/>
              <a:gd name="connsiteX48925" fmla="*/ 5806511 w 6884782"/>
              <a:gd name="connsiteY48925" fmla="*/ 1676639 h 5973007"/>
              <a:gd name="connsiteX48926" fmla="*/ 5797761 w 6884782"/>
              <a:gd name="connsiteY48926" fmla="*/ 1669668 h 5973007"/>
              <a:gd name="connsiteX48927" fmla="*/ 5805231 w 6884782"/>
              <a:gd name="connsiteY48927" fmla="*/ 1647758 h 5973007"/>
              <a:gd name="connsiteX48928" fmla="*/ 5806084 w 6884782"/>
              <a:gd name="connsiteY48928" fmla="*/ 1648327 h 5973007"/>
              <a:gd name="connsiteX48929" fmla="*/ 5808432 w 6884782"/>
              <a:gd name="connsiteY48929" fmla="*/ 1640787 h 5973007"/>
              <a:gd name="connsiteX48930" fmla="*/ 5813127 w 6884782"/>
              <a:gd name="connsiteY48930" fmla="*/ 1640360 h 5973007"/>
              <a:gd name="connsiteX48931" fmla="*/ 1198702 w 6884782"/>
              <a:gd name="connsiteY48931" fmla="*/ 1640219 h 5973007"/>
              <a:gd name="connsiteX48932" fmla="*/ 1201799 w 6884782"/>
              <a:gd name="connsiteY48932" fmla="*/ 1640374 h 5973007"/>
              <a:gd name="connsiteX48933" fmla="*/ 1203245 w 6884782"/>
              <a:gd name="connsiteY48933" fmla="*/ 1643163 h 5973007"/>
              <a:gd name="connsiteX48934" fmla="*/ 1202316 w 6884782"/>
              <a:gd name="connsiteY48934" fmla="*/ 1646415 h 5973007"/>
              <a:gd name="connsiteX48935" fmla="*/ 1195294 w 6884782"/>
              <a:gd name="connsiteY48935" fmla="*/ 1643782 h 5973007"/>
              <a:gd name="connsiteX48936" fmla="*/ 1198702 w 6884782"/>
              <a:gd name="connsiteY48936" fmla="*/ 1640219 h 5973007"/>
              <a:gd name="connsiteX48937" fmla="*/ 5558944 w 6884782"/>
              <a:gd name="connsiteY48937" fmla="*/ 1640218 h 5973007"/>
              <a:gd name="connsiteX48938" fmla="*/ 5553182 w 6884782"/>
              <a:gd name="connsiteY48938" fmla="*/ 1662697 h 5973007"/>
              <a:gd name="connsiteX48939" fmla="*/ 5551688 w 6884782"/>
              <a:gd name="connsiteY48939" fmla="*/ 1664973 h 5973007"/>
              <a:gd name="connsiteX48940" fmla="*/ 5548273 w 6884782"/>
              <a:gd name="connsiteY48940" fmla="*/ 1664973 h 5973007"/>
              <a:gd name="connsiteX48941" fmla="*/ 5550194 w 6884782"/>
              <a:gd name="connsiteY48941" fmla="*/ 1647189 h 5973007"/>
              <a:gd name="connsiteX48942" fmla="*/ 5551474 w 6884782"/>
              <a:gd name="connsiteY48942" fmla="*/ 1644913 h 5973007"/>
              <a:gd name="connsiteX48943" fmla="*/ 5558944 w 6884782"/>
              <a:gd name="connsiteY48943" fmla="*/ 1640218 h 5973007"/>
              <a:gd name="connsiteX48944" fmla="*/ 1031220 w 6884782"/>
              <a:gd name="connsiteY48944" fmla="*/ 1640065 h 5973007"/>
              <a:gd name="connsiteX48945" fmla="*/ 1032562 w 6884782"/>
              <a:gd name="connsiteY48945" fmla="*/ 1641768 h 5973007"/>
              <a:gd name="connsiteX48946" fmla="*/ 1033285 w 6884782"/>
              <a:gd name="connsiteY48946" fmla="*/ 1641613 h 5973007"/>
              <a:gd name="connsiteX48947" fmla="*/ 1036073 w 6884782"/>
              <a:gd name="connsiteY48947" fmla="*/ 1641768 h 5973007"/>
              <a:gd name="connsiteX48948" fmla="*/ 1036280 w 6884782"/>
              <a:gd name="connsiteY48948" fmla="*/ 1641459 h 5973007"/>
              <a:gd name="connsiteX48949" fmla="*/ 1044953 w 6884782"/>
              <a:gd name="connsiteY48949" fmla="*/ 1641149 h 5973007"/>
              <a:gd name="connsiteX48950" fmla="*/ 1047122 w 6884782"/>
              <a:gd name="connsiteY48950" fmla="*/ 1650287 h 5973007"/>
              <a:gd name="connsiteX48951" fmla="*/ 1044333 w 6884782"/>
              <a:gd name="connsiteY48951" fmla="*/ 1654625 h 5973007"/>
              <a:gd name="connsiteX48952" fmla="*/ 1041959 w 6884782"/>
              <a:gd name="connsiteY48952" fmla="*/ 1655244 h 5973007"/>
              <a:gd name="connsiteX48953" fmla="*/ 1040100 w 6884782"/>
              <a:gd name="connsiteY48953" fmla="*/ 1660046 h 5973007"/>
              <a:gd name="connsiteX48954" fmla="*/ 1035040 w 6884782"/>
              <a:gd name="connsiteY48954" fmla="*/ 1662369 h 5973007"/>
              <a:gd name="connsiteX48955" fmla="*/ 1034008 w 6884782"/>
              <a:gd name="connsiteY48955" fmla="*/ 1660046 h 5973007"/>
              <a:gd name="connsiteX48956" fmla="*/ 1036176 w 6884782"/>
              <a:gd name="connsiteY48956" fmla="*/ 1655244 h 5973007"/>
              <a:gd name="connsiteX48957" fmla="*/ 1034008 w 6884782"/>
              <a:gd name="connsiteY48957" fmla="*/ 1654315 h 5973007"/>
              <a:gd name="connsiteX48958" fmla="*/ 1031840 w 6884782"/>
              <a:gd name="connsiteY48958" fmla="*/ 1651217 h 5973007"/>
              <a:gd name="connsiteX48959" fmla="*/ 1031840 w 6884782"/>
              <a:gd name="connsiteY48959" fmla="*/ 1649978 h 5973007"/>
              <a:gd name="connsiteX48960" fmla="*/ 1030807 w 6884782"/>
              <a:gd name="connsiteY48960" fmla="*/ 1650287 h 5973007"/>
              <a:gd name="connsiteX48961" fmla="*/ 1029465 w 6884782"/>
              <a:gd name="connsiteY48961" fmla="*/ 1647654 h 5973007"/>
              <a:gd name="connsiteX48962" fmla="*/ 1027916 w 6884782"/>
              <a:gd name="connsiteY48962" fmla="*/ 1646725 h 5973007"/>
              <a:gd name="connsiteX48963" fmla="*/ 1027503 w 6884782"/>
              <a:gd name="connsiteY48963" fmla="*/ 1643937 h 5973007"/>
              <a:gd name="connsiteX48964" fmla="*/ 1029671 w 6884782"/>
              <a:gd name="connsiteY48964" fmla="*/ 1642543 h 5973007"/>
              <a:gd name="connsiteX48965" fmla="*/ 1030084 w 6884782"/>
              <a:gd name="connsiteY48965" fmla="*/ 1642543 h 5973007"/>
              <a:gd name="connsiteX48966" fmla="*/ 1029465 w 6884782"/>
              <a:gd name="connsiteY48966" fmla="*/ 1640994 h 5973007"/>
              <a:gd name="connsiteX48967" fmla="*/ 1031220 w 6884782"/>
              <a:gd name="connsiteY48967" fmla="*/ 1640065 h 5973007"/>
              <a:gd name="connsiteX48968" fmla="*/ 1236803 w 6884782"/>
              <a:gd name="connsiteY48968" fmla="*/ 1639290 h 5973007"/>
              <a:gd name="connsiteX48969" fmla="*/ 1239901 w 6884782"/>
              <a:gd name="connsiteY48969" fmla="*/ 1644711 h 5973007"/>
              <a:gd name="connsiteX48970" fmla="*/ 1233086 w 6884782"/>
              <a:gd name="connsiteY48970" fmla="*/ 1643782 h 5973007"/>
              <a:gd name="connsiteX48971" fmla="*/ 1236803 w 6884782"/>
              <a:gd name="connsiteY48971" fmla="*/ 1639290 h 5973007"/>
              <a:gd name="connsiteX48972" fmla="*/ 4804719 w 6884782"/>
              <a:gd name="connsiteY48972" fmla="*/ 1638938 h 5973007"/>
              <a:gd name="connsiteX48973" fmla="*/ 4809414 w 6884782"/>
              <a:gd name="connsiteY48973" fmla="*/ 1640218 h 5973007"/>
              <a:gd name="connsiteX48974" fmla="*/ 4807493 w 6884782"/>
              <a:gd name="connsiteY48974" fmla="*/ 1649892 h 5973007"/>
              <a:gd name="connsiteX48975" fmla="*/ 4801731 w 6884782"/>
              <a:gd name="connsiteY48975" fmla="*/ 1645340 h 5973007"/>
              <a:gd name="connsiteX48976" fmla="*/ 4801304 w 6884782"/>
              <a:gd name="connsiteY48976" fmla="*/ 1640930 h 5973007"/>
              <a:gd name="connsiteX48977" fmla="*/ 4804719 w 6884782"/>
              <a:gd name="connsiteY48977" fmla="*/ 1638938 h 5973007"/>
              <a:gd name="connsiteX48978" fmla="*/ 5153233 w 6884782"/>
              <a:gd name="connsiteY48978" fmla="*/ 1638795 h 5973007"/>
              <a:gd name="connsiteX48979" fmla="*/ 5155794 w 6884782"/>
              <a:gd name="connsiteY48979" fmla="*/ 1643775 h 5973007"/>
              <a:gd name="connsiteX48980" fmla="*/ 5148965 w 6884782"/>
              <a:gd name="connsiteY48980" fmla="*/ 1645767 h 5973007"/>
              <a:gd name="connsiteX48981" fmla="*/ 5146404 w 6884782"/>
              <a:gd name="connsiteY48981" fmla="*/ 1640930 h 5973007"/>
              <a:gd name="connsiteX48982" fmla="*/ 5153233 w 6884782"/>
              <a:gd name="connsiteY48982" fmla="*/ 1638795 h 5973007"/>
              <a:gd name="connsiteX48983" fmla="*/ 5005760 w 6884782"/>
              <a:gd name="connsiteY48983" fmla="*/ 1638226 h 5973007"/>
              <a:gd name="connsiteX48984" fmla="*/ 5008748 w 6884782"/>
              <a:gd name="connsiteY48984" fmla="*/ 1654018 h 5973007"/>
              <a:gd name="connsiteX48985" fmla="*/ 5000638 w 6884782"/>
              <a:gd name="connsiteY48985" fmla="*/ 1647616 h 5973007"/>
              <a:gd name="connsiteX48986" fmla="*/ 5005760 w 6884782"/>
              <a:gd name="connsiteY48986" fmla="*/ 1638226 h 5973007"/>
              <a:gd name="connsiteX48987" fmla="*/ 3833019 w 6884782"/>
              <a:gd name="connsiteY48987" fmla="*/ 1638084 h 5973007"/>
              <a:gd name="connsiteX48988" fmla="*/ 3837500 w 6884782"/>
              <a:gd name="connsiteY48988" fmla="*/ 1638368 h 5973007"/>
              <a:gd name="connsiteX48989" fmla="*/ 3840488 w 6884782"/>
              <a:gd name="connsiteY48989" fmla="*/ 1640360 h 5973007"/>
              <a:gd name="connsiteX48990" fmla="*/ 3841128 w 6884782"/>
              <a:gd name="connsiteY48990" fmla="*/ 1644202 h 5973007"/>
              <a:gd name="connsiteX48991" fmla="*/ 3840915 w 6884782"/>
              <a:gd name="connsiteY48991" fmla="*/ 1644486 h 5973007"/>
              <a:gd name="connsiteX48992" fmla="*/ 3852866 w 6884782"/>
              <a:gd name="connsiteY48992" fmla="*/ 1650746 h 5973007"/>
              <a:gd name="connsiteX48993" fmla="*/ 3873141 w 6884782"/>
              <a:gd name="connsiteY48993" fmla="*/ 1668387 h 5973007"/>
              <a:gd name="connsiteX48994" fmla="*/ 3879117 w 6884782"/>
              <a:gd name="connsiteY48994" fmla="*/ 1677635 h 5973007"/>
              <a:gd name="connsiteX48995" fmla="*/ 3894697 w 6884782"/>
              <a:gd name="connsiteY48995" fmla="*/ 1674220 h 5973007"/>
              <a:gd name="connsiteX48996" fmla="*/ 3913691 w 6884782"/>
              <a:gd name="connsiteY48996" fmla="*/ 1678346 h 5973007"/>
              <a:gd name="connsiteX48997" fmla="*/ 3906008 w 6884782"/>
              <a:gd name="connsiteY48997" fmla="*/ 1691861 h 5973007"/>
              <a:gd name="connsiteX48998" fmla="*/ 3888295 w 6884782"/>
              <a:gd name="connsiteY48998" fmla="*/ 1689869 h 5973007"/>
              <a:gd name="connsiteX48999" fmla="*/ 3882105 w 6884782"/>
              <a:gd name="connsiteY48999" fmla="*/ 1685460 h 5973007"/>
              <a:gd name="connsiteX49000" fmla="*/ 3884239 w 6884782"/>
              <a:gd name="connsiteY49000" fmla="*/ 1692573 h 5973007"/>
              <a:gd name="connsiteX49001" fmla="*/ 3883812 w 6884782"/>
              <a:gd name="connsiteY49001" fmla="*/ 1705377 h 5973007"/>
              <a:gd name="connsiteX49002" fmla="*/ 3882105 w 6884782"/>
              <a:gd name="connsiteY49002" fmla="*/ 1709361 h 5973007"/>
              <a:gd name="connsiteX49003" fmla="*/ 3882319 w 6884782"/>
              <a:gd name="connsiteY49003" fmla="*/ 1712491 h 5973007"/>
              <a:gd name="connsiteX49004" fmla="*/ 3882532 w 6884782"/>
              <a:gd name="connsiteY49004" fmla="*/ 1714056 h 5973007"/>
              <a:gd name="connsiteX49005" fmla="*/ 3883812 w 6884782"/>
              <a:gd name="connsiteY49005" fmla="*/ 1711495 h 5973007"/>
              <a:gd name="connsiteX49006" fmla="*/ 3883172 w 6884782"/>
              <a:gd name="connsiteY49006" fmla="*/ 1709076 h 5973007"/>
              <a:gd name="connsiteX49007" fmla="*/ 3886160 w 6884782"/>
              <a:gd name="connsiteY49007" fmla="*/ 1706800 h 5973007"/>
              <a:gd name="connsiteX49008" fmla="*/ 3883172 w 6884782"/>
              <a:gd name="connsiteY49008" fmla="*/ 1713913 h 5973007"/>
              <a:gd name="connsiteX49009" fmla="*/ 3882532 w 6884782"/>
              <a:gd name="connsiteY49009" fmla="*/ 1714340 h 5973007"/>
              <a:gd name="connsiteX49010" fmla="*/ 3882532 w 6884782"/>
              <a:gd name="connsiteY49010" fmla="*/ 1715763 h 5973007"/>
              <a:gd name="connsiteX49011" fmla="*/ 3882745 w 6884782"/>
              <a:gd name="connsiteY49011" fmla="*/ 1716758 h 5973007"/>
              <a:gd name="connsiteX49012" fmla="*/ 3882532 w 6884782"/>
              <a:gd name="connsiteY49012" fmla="*/ 1717897 h 5973007"/>
              <a:gd name="connsiteX49013" fmla="*/ 3882532 w 6884782"/>
              <a:gd name="connsiteY49013" fmla="*/ 1721169 h 5973007"/>
              <a:gd name="connsiteX49014" fmla="*/ 3881465 w 6884782"/>
              <a:gd name="connsiteY49014" fmla="*/ 1728282 h 5973007"/>
              <a:gd name="connsiteX49015" fmla="*/ 3881038 w 6884782"/>
              <a:gd name="connsiteY49015" fmla="*/ 1720600 h 5973007"/>
              <a:gd name="connsiteX49016" fmla="*/ 3880184 w 6884782"/>
              <a:gd name="connsiteY49016" fmla="*/ 1724583 h 5973007"/>
              <a:gd name="connsiteX49017" fmla="*/ 3881038 w 6884782"/>
              <a:gd name="connsiteY49017" fmla="*/ 1728567 h 5973007"/>
              <a:gd name="connsiteX49018" fmla="*/ 3879117 w 6884782"/>
              <a:gd name="connsiteY49018" fmla="*/ 1730416 h 5973007"/>
              <a:gd name="connsiteX49019" fmla="*/ 3876983 w 6884782"/>
              <a:gd name="connsiteY49019" fmla="*/ 1727571 h 5973007"/>
              <a:gd name="connsiteX49020" fmla="*/ 3879757 w 6884782"/>
              <a:gd name="connsiteY49020" fmla="*/ 1724014 h 5973007"/>
              <a:gd name="connsiteX49021" fmla="*/ 3879757 w 6884782"/>
              <a:gd name="connsiteY49021" fmla="*/ 1719177 h 5973007"/>
              <a:gd name="connsiteX49022" fmla="*/ 3881038 w 6884782"/>
              <a:gd name="connsiteY49022" fmla="*/ 1717470 h 5973007"/>
              <a:gd name="connsiteX49023" fmla="*/ 3881892 w 6884782"/>
              <a:gd name="connsiteY49023" fmla="*/ 1709645 h 5973007"/>
              <a:gd name="connsiteX49024" fmla="*/ 3879544 w 6884782"/>
              <a:gd name="connsiteY49024" fmla="*/ 1715621 h 5973007"/>
              <a:gd name="connsiteX49025" fmla="*/ 3867379 w 6884782"/>
              <a:gd name="connsiteY49025" fmla="*/ 1736392 h 5973007"/>
              <a:gd name="connsiteX49026" fmla="*/ 3842195 w 6884782"/>
              <a:gd name="connsiteY49026" fmla="*/ 1744359 h 5973007"/>
              <a:gd name="connsiteX49027" fmla="*/ 3808475 w 6884782"/>
              <a:gd name="connsiteY49027" fmla="*/ 1730701 h 5973007"/>
              <a:gd name="connsiteX49028" fmla="*/ 3801006 w 6884782"/>
              <a:gd name="connsiteY49028" fmla="*/ 1715621 h 5973007"/>
              <a:gd name="connsiteX49029" fmla="*/ 3799725 w 6884782"/>
              <a:gd name="connsiteY49029" fmla="*/ 1715478 h 5973007"/>
              <a:gd name="connsiteX49030" fmla="*/ 3799939 w 6884782"/>
              <a:gd name="connsiteY49030" fmla="*/ 1713202 h 5973007"/>
              <a:gd name="connsiteX49031" fmla="*/ 3798658 w 6884782"/>
              <a:gd name="connsiteY49031" fmla="*/ 1711068 h 5973007"/>
              <a:gd name="connsiteX49032" fmla="*/ 3797804 w 6884782"/>
              <a:gd name="connsiteY49032" fmla="*/ 1709076 h 5973007"/>
              <a:gd name="connsiteX49033" fmla="*/ 3795884 w 6884782"/>
              <a:gd name="connsiteY49033" fmla="*/ 1712064 h 5973007"/>
              <a:gd name="connsiteX49034" fmla="*/ 3789268 w 6884782"/>
              <a:gd name="connsiteY49034" fmla="*/ 1714056 h 5973007"/>
              <a:gd name="connsiteX49035" fmla="*/ 3781798 w 6884782"/>
              <a:gd name="connsiteY49035" fmla="*/ 1712633 h 5973007"/>
              <a:gd name="connsiteX49036" fmla="*/ 3785640 w 6884782"/>
              <a:gd name="connsiteY49036" fmla="*/ 1706231 h 5973007"/>
              <a:gd name="connsiteX49037" fmla="*/ 3796097 w 6884782"/>
              <a:gd name="connsiteY49037" fmla="*/ 1706231 h 5973007"/>
              <a:gd name="connsiteX49038" fmla="*/ 3797377 w 6884782"/>
              <a:gd name="connsiteY49038" fmla="*/ 1708364 h 5973007"/>
              <a:gd name="connsiteX49039" fmla="*/ 3793536 w 6884782"/>
              <a:gd name="connsiteY49039" fmla="*/ 1700398 h 5973007"/>
              <a:gd name="connsiteX49040" fmla="*/ 3792469 w 6884782"/>
              <a:gd name="connsiteY49040" fmla="*/ 1701394 h 5973007"/>
              <a:gd name="connsiteX49041" fmla="*/ 3781798 w 6884782"/>
              <a:gd name="connsiteY49041" fmla="*/ 1696556 h 5973007"/>
              <a:gd name="connsiteX49042" fmla="*/ 3783718 w 6884782"/>
              <a:gd name="connsiteY49042" fmla="*/ 1688305 h 5973007"/>
              <a:gd name="connsiteX49043" fmla="*/ 3789268 w 6884782"/>
              <a:gd name="connsiteY49043" fmla="*/ 1690581 h 5973007"/>
              <a:gd name="connsiteX49044" fmla="*/ 3793749 w 6884782"/>
              <a:gd name="connsiteY49044" fmla="*/ 1680195 h 5973007"/>
              <a:gd name="connsiteX49045" fmla="*/ 3809756 w 6884782"/>
              <a:gd name="connsiteY49045" fmla="*/ 1647047 h 5973007"/>
              <a:gd name="connsiteX49046" fmla="*/ 3813811 w 6884782"/>
              <a:gd name="connsiteY49046" fmla="*/ 1647616 h 5973007"/>
              <a:gd name="connsiteX49047" fmla="*/ 3814238 w 6884782"/>
              <a:gd name="connsiteY49047" fmla="*/ 1647189 h 5973007"/>
              <a:gd name="connsiteX49048" fmla="*/ 3817866 w 6884782"/>
              <a:gd name="connsiteY49048" fmla="*/ 1646051 h 5973007"/>
              <a:gd name="connsiteX49049" fmla="*/ 3820214 w 6884782"/>
              <a:gd name="connsiteY49049" fmla="*/ 1647474 h 5973007"/>
              <a:gd name="connsiteX49050" fmla="*/ 3826616 w 6884782"/>
              <a:gd name="connsiteY49050" fmla="*/ 1646051 h 5973007"/>
              <a:gd name="connsiteX49051" fmla="*/ 3828110 w 6884782"/>
              <a:gd name="connsiteY49051" fmla="*/ 1646335 h 5973007"/>
              <a:gd name="connsiteX49052" fmla="*/ 3830244 w 6884782"/>
              <a:gd name="connsiteY49052" fmla="*/ 1645624 h 5973007"/>
              <a:gd name="connsiteX49053" fmla="*/ 3829817 w 6884782"/>
              <a:gd name="connsiteY49053" fmla="*/ 1640930 h 5973007"/>
              <a:gd name="connsiteX49054" fmla="*/ 3833019 w 6884782"/>
              <a:gd name="connsiteY49054" fmla="*/ 1638084 h 5973007"/>
              <a:gd name="connsiteX49055" fmla="*/ 1422045 w 6884782"/>
              <a:gd name="connsiteY49055" fmla="*/ 1638051 h 5973007"/>
              <a:gd name="connsiteX49056" fmla="*/ 1422770 w 6884782"/>
              <a:gd name="connsiteY49056" fmla="*/ 1638512 h 5973007"/>
              <a:gd name="connsiteX49057" fmla="*/ 1422768 w 6884782"/>
              <a:gd name="connsiteY49057" fmla="*/ 1638515 h 5973007"/>
              <a:gd name="connsiteX49058" fmla="*/ 1422045 w 6884782"/>
              <a:gd name="connsiteY49058" fmla="*/ 1638051 h 5973007"/>
              <a:gd name="connsiteX49059" fmla="*/ 3771340 w 6884782"/>
              <a:gd name="connsiteY49059" fmla="*/ 1637941 h 5973007"/>
              <a:gd name="connsiteX49060" fmla="*/ 3772621 w 6884782"/>
              <a:gd name="connsiteY49060" fmla="*/ 1638368 h 5973007"/>
              <a:gd name="connsiteX49061" fmla="*/ 3772834 w 6884782"/>
              <a:gd name="connsiteY49061" fmla="*/ 1638226 h 5973007"/>
              <a:gd name="connsiteX49062" fmla="*/ 3773688 w 6884782"/>
              <a:gd name="connsiteY49062" fmla="*/ 1638795 h 5973007"/>
              <a:gd name="connsiteX49063" fmla="*/ 3773901 w 6884782"/>
              <a:gd name="connsiteY49063" fmla="*/ 1637941 h 5973007"/>
              <a:gd name="connsiteX49064" fmla="*/ 6161429 w 6884782"/>
              <a:gd name="connsiteY49064" fmla="*/ 1637231 h 5973007"/>
              <a:gd name="connsiteX49065" fmla="*/ 6166977 w 6884782"/>
              <a:gd name="connsiteY49065" fmla="*/ 1640360 h 5973007"/>
              <a:gd name="connsiteX49066" fmla="*/ 6159294 w 6884782"/>
              <a:gd name="connsiteY49066" fmla="*/ 1651172 h 5973007"/>
              <a:gd name="connsiteX49067" fmla="*/ 6161429 w 6884782"/>
              <a:gd name="connsiteY49067" fmla="*/ 1637231 h 5973007"/>
              <a:gd name="connsiteX49068" fmla="*/ 4962650 w 6884782"/>
              <a:gd name="connsiteY49068" fmla="*/ 1636661 h 5973007"/>
              <a:gd name="connsiteX49069" fmla="*/ 4923594 w 6884782"/>
              <a:gd name="connsiteY49069" fmla="*/ 1679769 h 5973007"/>
              <a:gd name="connsiteX49070" fmla="*/ 4922526 w 6884782"/>
              <a:gd name="connsiteY49070" fmla="*/ 1678346 h 5973007"/>
              <a:gd name="connsiteX49071" fmla="*/ 4922954 w 6884782"/>
              <a:gd name="connsiteY49071" fmla="*/ 1681618 h 5973007"/>
              <a:gd name="connsiteX49072" fmla="*/ 4921673 w 6884782"/>
              <a:gd name="connsiteY49072" fmla="*/ 1686597 h 5973007"/>
              <a:gd name="connsiteX49073" fmla="*/ 4919539 w 6884782"/>
              <a:gd name="connsiteY49073" fmla="*/ 1688732 h 5973007"/>
              <a:gd name="connsiteX49074" fmla="*/ 4915483 w 6884782"/>
              <a:gd name="connsiteY49074" fmla="*/ 1684748 h 5973007"/>
              <a:gd name="connsiteX49075" fmla="*/ 4918471 w 6884782"/>
              <a:gd name="connsiteY49075" fmla="*/ 1673509 h 5973007"/>
              <a:gd name="connsiteX49076" fmla="*/ 4919966 w 6884782"/>
              <a:gd name="connsiteY49076" fmla="*/ 1674647 h 5973007"/>
              <a:gd name="connsiteX49077" fmla="*/ 4916337 w 6884782"/>
              <a:gd name="connsiteY49077" fmla="*/ 1668102 h 5973007"/>
              <a:gd name="connsiteX49078" fmla="*/ 4921886 w 6884782"/>
              <a:gd name="connsiteY49078" fmla="*/ 1664261 h 5973007"/>
              <a:gd name="connsiteX49079" fmla="*/ 4921032 w 6884782"/>
              <a:gd name="connsiteY49079" fmla="*/ 1663265 h 5973007"/>
              <a:gd name="connsiteX49080" fmla="*/ 4922099 w 6884782"/>
              <a:gd name="connsiteY49080" fmla="*/ 1659566 h 5973007"/>
              <a:gd name="connsiteX49081" fmla="*/ 4924874 w 6884782"/>
              <a:gd name="connsiteY49081" fmla="*/ 1661558 h 5973007"/>
              <a:gd name="connsiteX49082" fmla="*/ 4925087 w 6884782"/>
              <a:gd name="connsiteY49082" fmla="*/ 1662127 h 5973007"/>
              <a:gd name="connsiteX49083" fmla="*/ 4938960 w 6884782"/>
              <a:gd name="connsiteY49083" fmla="*/ 1652596 h 5973007"/>
              <a:gd name="connsiteX49084" fmla="*/ 4938533 w 6884782"/>
              <a:gd name="connsiteY49084" fmla="*/ 1652026 h 5973007"/>
              <a:gd name="connsiteX49085" fmla="*/ 4947070 w 6884782"/>
              <a:gd name="connsiteY49085" fmla="*/ 1643063 h 5973007"/>
              <a:gd name="connsiteX49086" fmla="*/ 4948777 w 6884782"/>
              <a:gd name="connsiteY49086" fmla="*/ 1645908 h 5973007"/>
              <a:gd name="connsiteX49087" fmla="*/ 4851671 w 6884782"/>
              <a:gd name="connsiteY49087" fmla="*/ 1636661 h 5973007"/>
              <a:gd name="connsiteX49088" fmla="*/ 4858714 w 6884782"/>
              <a:gd name="connsiteY49088" fmla="*/ 1653307 h 5973007"/>
              <a:gd name="connsiteX49089" fmla="*/ 4845482 w 6884782"/>
              <a:gd name="connsiteY49089" fmla="*/ 1641925 h 5973007"/>
              <a:gd name="connsiteX49090" fmla="*/ 4851671 w 6884782"/>
              <a:gd name="connsiteY49090" fmla="*/ 1636661 h 5973007"/>
              <a:gd name="connsiteX49091" fmla="*/ 5037133 w 6884782"/>
              <a:gd name="connsiteY49091" fmla="*/ 1636234 h 5973007"/>
              <a:gd name="connsiteX49092" fmla="*/ 5041615 w 6884782"/>
              <a:gd name="connsiteY49092" fmla="*/ 1636519 h 5973007"/>
              <a:gd name="connsiteX49093" fmla="*/ 5046310 w 6884782"/>
              <a:gd name="connsiteY49093" fmla="*/ 1639080 h 5973007"/>
              <a:gd name="connsiteX49094" fmla="*/ 5046737 w 6884782"/>
              <a:gd name="connsiteY49094" fmla="*/ 1638938 h 5973007"/>
              <a:gd name="connsiteX49095" fmla="*/ 5056341 w 6884782"/>
              <a:gd name="connsiteY49095" fmla="*/ 1643775 h 5973007"/>
              <a:gd name="connsiteX49096" fmla="*/ 5055274 w 6884782"/>
              <a:gd name="connsiteY49096" fmla="*/ 1649750 h 5973007"/>
              <a:gd name="connsiteX49097" fmla="*/ 5055701 w 6884782"/>
              <a:gd name="connsiteY49097" fmla="*/ 1661985 h 5973007"/>
              <a:gd name="connsiteX49098" fmla="*/ 5046096 w 6884782"/>
              <a:gd name="connsiteY49098" fmla="*/ 1675928 h 5973007"/>
              <a:gd name="connsiteX49099" fmla="*/ 5025181 w 6884782"/>
              <a:gd name="connsiteY49099" fmla="*/ 1645197 h 5973007"/>
              <a:gd name="connsiteX49100" fmla="*/ 5037133 w 6884782"/>
              <a:gd name="connsiteY49100" fmla="*/ 1636234 h 5973007"/>
              <a:gd name="connsiteX49101" fmla="*/ 5742058 w 6884782"/>
              <a:gd name="connsiteY49101" fmla="*/ 1635950 h 5973007"/>
              <a:gd name="connsiteX49102" fmla="*/ 5744406 w 6884782"/>
              <a:gd name="connsiteY49102" fmla="*/ 1642921 h 5973007"/>
              <a:gd name="connsiteX49103" fmla="*/ 5734162 w 6884782"/>
              <a:gd name="connsiteY49103" fmla="*/ 1650888 h 5973007"/>
              <a:gd name="connsiteX49104" fmla="*/ 5742058 w 6884782"/>
              <a:gd name="connsiteY49104" fmla="*/ 1635950 h 5973007"/>
              <a:gd name="connsiteX49105" fmla="*/ 3998205 w 6884782"/>
              <a:gd name="connsiteY49105" fmla="*/ 1635950 h 5973007"/>
              <a:gd name="connsiteX49106" fmla="*/ 4002901 w 6884782"/>
              <a:gd name="connsiteY49106" fmla="*/ 1636376 h 5973007"/>
              <a:gd name="connsiteX49107" fmla="*/ 3998419 w 6884782"/>
              <a:gd name="connsiteY49107" fmla="*/ 1645908 h 5973007"/>
              <a:gd name="connsiteX49108" fmla="*/ 3995645 w 6884782"/>
              <a:gd name="connsiteY49108" fmla="*/ 1645908 h 5973007"/>
              <a:gd name="connsiteX49109" fmla="*/ 3989882 w 6884782"/>
              <a:gd name="connsiteY49109" fmla="*/ 1643917 h 5973007"/>
              <a:gd name="connsiteX49110" fmla="*/ 3989455 w 6884782"/>
              <a:gd name="connsiteY49110" fmla="*/ 1639507 h 5973007"/>
              <a:gd name="connsiteX49111" fmla="*/ 3993297 w 6884782"/>
              <a:gd name="connsiteY49111" fmla="*/ 1636376 h 5973007"/>
              <a:gd name="connsiteX49112" fmla="*/ 3998205 w 6884782"/>
              <a:gd name="connsiteY49112" fmla="*/ 1635950 h 5973007"/>
              <a:gd name="connsiteX49113" fmla="*/ 6103378 w 6884782"/>
              <a:gd name="connsiteY49113" fmla="*/ 1635523 h 5973007"/>
              <a:gd name="connsiteX49114" fmla="*/ 6111061 w 6884782"/>
              <a:gd name="connsiteY49114" fmla="*/ 1635666 h 5973007"/>
              <a:gd name="connsiteX49115" fmla="*/ 6095908 w 6884782"/>
              <a:gd name="connsiteY49115" fmla="*/ 1655868 h 5973007"/>
              <a:gd name="connsiteX49116" fmla="*/ 6103378 w 6884782"/>
              <a:gd name="connsiteY49116" fmla="*/ 1635523 h 5973007"/>
              <a:gd name="connsiteX49117" fmla="*/ 1424523 w 6884782"/>
              <a:gd name="connsiteY49117" fmla="*/ 1635417 h 5973007"/>
              <a:gd name="connsiteX49118" fmla="*/ 1431235 w 6884782"/>
              <a:gd name="connsiteY49118" fmla="*/ 1635573 h 5973007"/>
              <a:gd name="connsiteX49119" fmla="*/ 1429066 w 6884782"/>
              <a:gd name="connsiteY49119" fmla="*/ 1639445 h 5973007"/>
              <a:gd name="connsiteX49120" fmla="*/ 1425452 w 6884782"/>
              <a:gd name="connsiteY49120" fmla="*/ 1640219 h 5973007"/>
              <a:gd name="connsiteX49121" fmla="*/ 1422770 w 6884782"/>
              <a:gd name="connsiteY49121" fmla="*/ 1638512 h 5973007"/>
              <a:gd name="connsiteX49122" fmla="*/ 1423697 w 6884782"/>
              <a:gd name="connsiteY49122" fmla="*/ 1636966 h 5973007"/>
              <a:gd name="connsiteX49123" fmla="*/ 1422974 w 6884782"/>
              <a:gd name="connsiteY49123" fmla="*/ 1636502 h 5973007"/>
              <a:gd name="connsiteX49124" fmla="*/ 1424523 w 6884782"/>
              <a:gd name="connsiteY49124" fmla="*/ 1635417 h 5973007"/>
              <a:gd name="connsiteX49125" fmla="*/ 4817097 w 6884782"/>
              <a:gd name="connsiteY49125" fmla="*/ 1635239 h 5973007"/>
              <a:gd name="connsiteX49126" fmla="*/ 4822006 w 6884782"/>
              <a:gd name="connsiteY49126" fmla="*/ 1638226 h 5973007"/>
              <a:gd name="connsiteX49127" fmla="*/ 4822006 w 6884782"/>
              <a:gd name="connsiteY49127" fmla="*/ 1636661 h 5973007"/>
              <a:gd name="connsiteX49128" fmla="*/ 4825634 w 6884782"/>
              <a:gd name="connsiteY49128" fmla="*/ 1640218 h 5973007"/>
              <a:gd name="connsiteX49129" fmla="*/ 4827341 w 6884782"/>
              <a:gd name="connsiteY49129" fmla="*/ 1642068 h 5973007"/>
              <a:gd name="connsiteX49130" fmla="*/ 4828195 w 6884782"/>
              <a:gd name="connsiteY49130" fmla="*/ 1641783 h 5973007"/>
              <a:gd name="connsiteX49131" fmla="*/ 4832036 w 6884782"/>
              <a:gd name="connsiteY49131" fmla="*/ 1643775 h 5973007"/>
              <a:gd name="connsiteX49132" fmla="*/ 4831610 w 6884782"/>
              <a:gd name="connsiteY49132" fmla="*/ 1645908 h 5973007"/>
              <a:gd name="connsiteX49133" fmla="*/ 4832036 w 6884782"/>
              <a:gd name="connsiteY49133" fmla="*/ 1646620 h 5973007"/>
              <a:gd name="connsiteX49134" fmla="*/ 4839719 w 6884782"/>
              <a:gd name="connsiteY49134" fmla="*/ 1650319 h 5973007"/>
              <a:gd name="connsiteX49135" fmla="*/ 4840787 w 6884782"/>
              <a:gd name="connsiteY49135" fmla="*/ 1652738 h 5973007"/>
              <a:gd name="connsiteX49136" fmla="*/ 4837372 w 6884782"/>
              <a:gd name="connsiteY49136" fmla="*/ 1653449 h 5973007"/>
              <a:gd name="connsiteX49137" fmla="*/ 4835238 w 6884782"/>
              <a:gd name="connsiteY49137" fmla="*/ 1649466 h 5973007"/>
              <a:gd name="connsiteX49138" fmla="*/ 4830756 w 6884782"/>
              <a:gd name="connsiteY49138" fmla="*/ 1647474 h 5973007"/>
              <a:gd name="connsiteX49139" fmla="*/ 4830543 w 6884782"/>
              <a:gd name="connsiteY49139" fmla="*/ 1647332 h 5973007"/>
              <a:gd name="connsiteX49140" fmla="*/ 4827981 w 6884782"/>
              <a:gd name="connsiteY49140" fmla="*/ 1646620 h 5973007"/>
              <a:gd name="connsiteX49141" fmla="*/ 4828408 w 6884782"/>
              <a:gd name="connsiteY49141" fmla="*/ 1647616 h 5973007"/>
              <a:gd name="connsiteX49142" fmla="*/ 4818164 w 6884782"/>
              <a:gd name="connsiteY49142" fmla="*/ 1651457 h 5973007"/>
              <a:gd name="connsiteX49143" fmla="*/ 4812829 w 6884782"/>
              <a:gd name="connsiteY49143" fmla="*/ 1647616 h 5973007"/>
              <a:gd name="connsiteX49144" fmla="*/ 4811121 w 6884782"/>
              <a:gd name="connsiteY49144" fmla="*/ 1636803 h 5973007"/>
              <a:gd name="connsiteX49145" fmla="*/ 4817097 w 6884782"/>
              <a:gd name="connsiteY49145" fmla="*/ 1635239 h 5973007"/>
              <a:gd name="connsiteX49146" fmla="*/ 1953092 w 6884782"/>
              <a:gd name="connsiteY49146" fmla="*/ 1635108 h 5973007"/>
              <a:gd name="connsiteX49147" fmla="*/ 1958339 w 6884782"/>
              <a:gd name="connsiteY49147" fmla="*/ 1639964 h 5973007"/>
              <a:gd name="connsiteX49148" fmla="*/ 1958339 w 6884782"/>
              <a:gd name="connsiteY49148" fmla="*/ 1636773 h 5973007"/>
              <a:gd name="connsiteX49149" fmla="*/ 5069573 w 6884782"/>
              <a:gd name="connsiteY49149" fmla="*/ 1634954 h 5973007"/>
              <a:gd name="connsiteX49150" fmla="*/ 5076829 w 6884782"/>
              <a:gd name="connsiteY49150" fmla="*/ 1638795 h 5973007"/>
              <a:gd name="connsiteX49151" fmla="*/ 5081738 w 6884782"/>
              <a:gd name="connsiteY49151" fmla="*/ 1649892 h 5973007"/>
              <a:gd name="connsiteX49152" fmla="*/ 5068932 w 6884782"/>
              <a:gd name="connsiteY49152" fmla="*/ 1643205 h 5973007"/>
              <a:gd name="connsiteX49153" fmla="*/ 5066372 w 6884782"/>
              <a:gd name="connsiteY49153" fmla="*/ 1635950 h 5973007"/>
              <a:gd name="connsiteX49154" fmla="*/ 5069573 w 6884782"/>
              <a:gd name="connsiteY49154" fmla="*/ 1634954 h 5973007"/>
              <a:gd name="connsiteX49155" fmla="*/ 4889019 w 6884782"/>
              <a:gd name="connsiteY49155" fmla="*/ 1634954 h 5973007"/>
              <a:gd name="connsiteX49156" fmla="*/ 4893074 w 6884782"/>
              <a:gd name="connsiteY49156" fmla="*/ 1638795 h 5973007"/>
              <a:gd name="connsiteX49157" fmla="*/ 4893074 w 6884782"/>
              <a:gd name="connsiteY49157" fmla="*/ 1641498 h 5973007"/>
              <a:gd name="connsiteX49158" fmla="*/ 4890086 w 6884782"/>
              <a:gd name="connsiteY49158" fmla="*/ 1642494 h 5973007"/>
              <a:gd name="connsiteX49159" fmla="*/ 4883898 w 6884782"/>
              <a:gd name="connsiteY49159" fmla="*/ 1638938 h 5973007"/>
              <a:gd name="connsiteX49160" fmla="*/ 4883898 w 6884782"/>
              <a:gd name="connsiteY49160" fmla="*/ 1636234 h 5973007"/>
              <a:gd name="connsiteX49161" fmla="*/ 4889019 w 6884782"/>
              <a:gd name="connsiteY49161" fmla="*/ 1634954 h 5973007"/>
              <a:gd name="connsiteX49162" fmla="*/ 1231227 w 6884782"/>
              <a:gd name="connsiteY49162" fmla="*/ 1634798 h 5973007"/>
              <a:gd name="connsiteX49163" fmla="*/ 1235667 w 6884782"/>
              <a:gd name="connsiteY49163" fmla="*/ 1635882 h 5973007"/>
              <a:gd name="connsiteX49164" fmla="*/ 1235461 w 6884782"/>
              <a:gd name="connsiteY49164" fmla="*/ 1637741 h 5973007"/>
              <a:gd name="connsiteX49165" fmla="*/ 1233396 w 6884782"/>
              <a:gd name="connsiteY49165" fmla="*/ 1639755 h 5973007"/>
              <a:gd name="connsiteX49166" fmla="*/ 1229782 w 6884782"/>
              <a:gd name="connsiteY49166" fmla="*/ 1639135 h 5973007"/>
              <a:gd name="connsiteX49167" fmla="*/ 1229988 w 6884782"/>
              <a:gd name="connsiteY49167" fmla="*/ 1637121 h 5973007"/>
              <a:gd name="connsiteX49168" fmla="*/ 1231227 w 6884782"/>
              <a:gd name="connsiteY49168" fmla="*/ 1634798 h 5973007"/>
              <a:gd name="connsiteX49169" fmla="*/ 4973961 w 6884782"/>
              <a:gd name="connsiteY49169" fmla="*/ 1634385 h 5973007"/>
              <a:gd name="connsiteX49170" fmla="*/ 4978656 w 6884782"/>
              <a:gd name="connsiteY49170" fmla="*/ 1639507 h 5973007"/>
              <a:gd name="connsiteX49171" fmla="*/ 4978656 w 6884782"/>
              <a:gd name="connsiteY49171" fmla="*/ 1639649 h 5973007"/>
              <a:gd name="connsiteX49172" fmla="*/ 4982284 w 6884782"/>
              <a:gd name="connsiteY49172" fmla="*/ 1639933 h 5973007"/>
              <a:gd name="connsiteX49173" fmla="*/ 4972040 w 6884782"/>
              <a:gd name="connsiteY49173" fmla="*/ 1648327 h 5973007"/>
              <a:gd name="connsiteX49174" fmla="*/ 4970546 w 6884782"/>
              <a:gd name="connsiteY49174" fmla="*/ 1648043 h 5973007"/>
              <a:gd name="connsiteX49175" fmla="*/ 4967558 w 6884782"/>
              <a:gd name="connsiteY49175" fmla="*/ 1649323 h 5973007"/>
              <a:gd name="connsiteX49176" fmla="*/ 4964143 w 6884782"/>
              <a:gd name="connsiteY49176" fmla="*/ 1646051 h 5973007"/>
              <a:gd name="connsiteX49177" fmla="*/ 4973961 w 6884782"/>
              <a:gd name="connsiteY49177" fmla="*/ 1634385 h 5973007"/>
              <a:gd name="connsiteX49178" fmla="*/ 1197463 w 6884782"/>
              <a:gd name="connsiteY49178" fmla="*/ 1633714 h 5973007"/>
              <a:gd name="connsiteX49179" fmla="*/ 1192609 w 6884782"/>
              <a:gd name="connsiteY49179" fmla="*/ 1643008 h 5973007"/>
              <a:gd name="connsiteX49180" fmla="*/ 1187343 w 6884782"/>
              <a:gd name="connsiteY49180" fmla="*/ 1644866 h 5973007"/>
              <a:gd name="connsiteX49181" fmla="*/ 1186621 w 6884782"/>
              <a:gd name="connsiteY49181" fmla="*/ 1642543 h 5973007"/>
              <a:gd name="connsiteX49182" fmla="*/ 1189408 w 6884782"/>
              <a:gd name="connsiteY49182" fmla="*/ 1637276 h 5973007"/>
              <a:gd name="connsiteX49183" fmla="*/ 1197463 w 6884782"/>
              <a:gd name="connsiteY49183" fmla="*/ 1633714 h 5973007"/>
              <a:gd name="connsiteX49184" fmla="*/ 1596238 w 6884782"/>
              <a:gd name="connsiteY49184" fmla="*/ 1633404 h 5973007"/>
              <a:gd name="connsiteX49185" fmla="*/ 1604189 w 6884782"/>
              <a:gd name="connsiteY49185" fmla="*/ 1636037 h 5973007"/>
              <a:gd name="connsiteX49186" fmla="*/ 1604911 w 6884782"/>
              <a:gd name="connsiteY49186" fmla="*/ 1639445 h 5973007"/>
              <a:gd name="connsiteX49187" fmla="*/ 1606254 w 6884782"/>
              <a:gd name="connsiteY49187" fmla="*/ 1639445 h 5973007"/>
              <a:gd name="connsiteX49188" fmla="*/ 1607390 w 6884782"/>
              <a:gd name="connsiteY49188" fmla="*/ 1644401 h 5973007"/>
              <a:gd name="connsiteX49189" fmla="*/ 1605531 w 6884782"/>
              <a:gd name="connsiteY49189" fmla="*/ 1646570 h 5973007"/>
              <a:gd name="connsiteX49190" fmla="*/ 1602433 w 6884782"/>
              <a:gd name="connsiteY49190" fmla="*/ 1645950 h 5973007"/>
              <a:gd name="connsiteX49191" fmla="*/ 1600885 w 6884782"/>
              <a:gd name="connsiteY49191" fmla="*/ 1644401 h 5973007"/>
              <a:gd name="connsiteX49192" fmla="*/ 1597994 w 6884782"/>
              <a:gd name="connsiteY49192" fmla="*/ 1644401 h 5973007"/>
              <a:gd name="connsiteX49193" fmla="*/ 1593037 w 6884782"/>
              <a:gd name="connsiteY49193" fmla="*/ 1639755 h 5973007"/>
              <a:gd name="connsiteX49194" fmla="*/ 1593140 w 6884782"/>
              <a:gd name="connsiteY49194" fmla="*/ 1637431 h 5973007"/>
              <a:gd name="connsiteX49195" fmla="*/ 1596238 w 6884782"/>
              <a:gd name="connsiteY49195" fmla="*/ 1633404 h 5973007"/>
              <a:gd name="connsiteX49196" fmla="*/ 4038542 w 6884782"/>
              <a:gd name="connsiteY49196" fmla="*/ 1633389 h 5973007"/>
              <a:gd name="connsiteX49197" fmla="*/ 4050707 w 6884782"/>
              <a:gd name="connsiteY49197" fmla="*/ 1641783 h 5973007"/>
              <a:gd name="connsiteX49198" fmla="*/ 4048572 w 6884782"/>
              <a:gd name="connsiteY49198" fmla="*/ 1646478 h 5973007"/>
              <a:gd name="connsiteX49199" fmla="*/ 4035341 w 6884782"/>
              <a:gd name="connsiteY49199" fmla="*/ 1639791 h 5973007"/>
              <a:gd name="connsiteX49200" fmla="*/ 4038542 w 6884782"/>
              <a:gd name="connsiteY49200" fmla="*/ 1633389 h 5973007"/>
              <a:gd name="connsiteX49201" fmla="*/ 4445533 w 6884782"/>
              <a:gd name="connsiteY49201" fmla="*/ 1632109 h 5973007"/>
              <a:gd name="connsiteX49202" fmla="*/ 4458552 w 6884782"/>
              <a:gd name="connsiteY49202" fmla="*/ 1635381 h 5973007"/>
              <a:gd name="connsiteX49203" fmla="*/ 4445533 w 6884782"/>
              <a:gd name="connsiteY49203" fmla="*/ 1632109 h 5973007"/>
              <a:gd name="connsiteX49204" fmla="*/ 1458210 w 6884782"/>
              <a:gd name="connsiteY49204" fmla="*/ 1631138 h 5973007"/>
              <a:gd name="connsiteX49205" fmla="*/ 1462005 w 6884782"/>
              <a:gd name="connsiteY49205" fmla="*/ 1633869 h 5973007"/>
              <a:gd name="connsiteX49206" fmla="*/ 1453951 w 6884782"/>
              <a:gd name="connsiteY49206" fmla="*/ 1633869 h 5973007"/>
              <a:gd name="connsiteX49207" fmla="*/ 1458210 w 6884782"/>
              <a:gd name="connsiteY49207" fmla="*/ 1631138 h 5973007"/>
              <a:gd name="connsiteX49208" fmla="*/ 6218412 w 6884782"/>
              <a:gd name="connsiteY49208" fmla="*/ 1629832 h 5973007"/>
              <a:gd name="connsiteX49209" fmla="*/ 6221399 w 6884782"/>
              <a:gd name="connsiteY49209" fmla="*/ 1629975 h 5973007"/>
              <a:gd name="connsiteX49210" fmla="*/ 6225027 w 6884782"/>
              <a:gd name="connsiteY49210" fmla="*/ 1630686 h 5973007"/>
              <a:gd name="connsiteX49211" fmla="*/ 6223107 w 6884782"/>
              <a:gd name="connsiteY49211" fmla="*/ 1643205 h 5973007"/>
              <a:gd name="connsiteX49212" fmla="*/ 6218412 w 6884782"/>
              <a:gd name="connsiteY49212" fmla="*/ 1629832 h 5973007"/>
              <a:gd name="connsiteX49213" fmla="*/ 5783675 w 6884782"/>
              <a:gd name="connsiteY49213" fmla="*/ 1629548 h 5973007"/>
              <a:gd name="connsiteX49214" fmla="*/ 5797761 w 6884782"/>
              <a:gd name="connsiteY49214" fmla="*/ 1638511 h 5973007"/>
              <a:gd name="connsiteX49215" fmla="*/ 5799041 w 6884782"/>
              <a:gd name="connsiteY49215" fmla="*/ 1640787 h 5973007"/>
              <a:gd name="connsiteX49216" fmla="*/ 5798614 w 6884782"/>
              <a:gd name="connsiteY49216" fmla="*/ 1649466 h 5973007"/>
              <a:gd name="connsiteX49217" fmla="*/ 5783035 w 6884782"/>
              <a:gd name="connsiteY49217" fmla="*/ 1634954 h 5973007"/>
              <a:gd name="connsiteX49218" fmla="*/ 5781755 w 6884782"/>
              <a:gd name="connsiteY49218" fmla="*/ 1632678 h 5973007"/>
              <a:gd name="connsiteX49219" fmla="*/ 5783675 w 6884782"/>
              <a:gd name="connsiteY49219" fmla="*/ 1629548 h 5973007"/>
              <a:gd name="connsiteX49220" fmla="*/ 4601757 w 6884782"/>
              <a:gd name="connsiteY49220" fmla="*/ 1629121 h 5973007"/>
              <a:gd name="connsiteX49221" fmla="*/ 4605812 w 6884782"/>
              <a:gd name="connsiteY49221" fmla="*/ 1632820 h 5973007"/>
              <a:gd name="connsiteX49222" fmla="*/ 4607305 w 6884782"/>
              <a:gd name="connsiteY49222" fmla="*/ 1634954 h 5973007"/>
              <a:gd name="connsiteX49223" fmla="*/ 4606238 w 6884782"/>
              <a:gd name="connsiteY49223" fmla="*/ 1636661 h 5973007"/>
              <a:gd name="connsiteX49224" fmla="*/ 4606665 w 6884782"/>
              <a:gd name="connsiteY49224" fmla="*/ 1636519 h 5973007"/>
              <a:gd name="connsiteX49225" fmla="*/ 4612641 w 6884782"/>
              <a:gd name="connsiteY49225" fmla="*/ 1636803 h 5973007"/>
              <a:gd name="connsiteX49226" fmla="*/ 4612641 w 6884782"/>
              <a:gd name="connsiteY49226" fmla="*/ 1636661 h 5973007"/>
              <a:gd name="connsiteX49227" fmla="*/ 4614348 w 6884782"/>
              <a:gd name="connsiteY49227" fmla="*/ 1636376 h 5973007"/>
              <a:gd name="connsiteX49228" fmla="*/ 4614348 w 6884782"/>
              <a:gd name="connsiteY49228" fmla="*/ 1636803 h 5973007"/>
              <a:gd name="connsiteX49229" fmla="*/ 4614135 w 6884782"/>
              <a:gd name="connsiteY49229" fmla="*/ 1636946 h 5973007"/>
              <a:gd name="connsiteX49230" fmla="*/ 4613708 w 6884782"/>
              <a:gd name="connsiteY49230" fmla="*/ 1638795 h 5973007"/>
              <a:gd name="connsiteX49231" fmla="*/ 4613068 w 6884782"/>
              <a:gd name="connsiteY49231" fmla="*/ 1639365 h 5973007"/>
              <a:gd name="connsiteX49232" fmla="*/ 4612001 w 6884782"/>
              <a:gd name="connsiteY49232" fmla="*/ 1642210 h 5973007"/>
              <a:gd name="connsiteX49233" fmla="*/ 4612001 w 6884782"/>
              <a:gd name="connsiteY49233" fmla="*/ 1643632 h 5973007"/>
              <a:gd name="connsiteX49234" fmla="*/ 4609866 w 6884782"/>
              <a:gd name="connsiteY49234" fmla="*/ 1647474 h 5973007"/>
              <a:gd name="connsiteX49235" fmla="*/ 4608586 w 6884782"/>
              <a:gd name="connsiteY49235" fmla="*/ 1653449 h 5973007"/>
              <a:gd name="connsiteX49236" fmla="*/ 4610720 w 6884782"/>
              <a:gd name="connsiteY49236" fmla="*/ 1653449 h 5973007"/>
              <a:gd name="connsiteX49237" fmla="*/ 4614135 w 6884782"/>
              <a:gd name="connsiteY49237" fmla="*/ 1655583 h 5973007"/>
              <a:gd name="connsiteX49238" fmla="*/ 4615629 w 6884782"/>
              <a:gd name="connsiteY49238" fmla="*/ 1658144 h 5973007"/>
              <a:gd name="connsiteX49239" fmla="*/ 4615629 w 6884782"/>
              <a:gd name="connsiteY49239" fmla="*/ 1655868 h 5973007"/>
              <a:gd name="connsiteX49240" fmla="*/ 4620324 w 6884782"/>
              <a:gd name="connsiteY49240" fmla="*/ 1657717 h 5973007"/>
              <a:gd name="connsiteX49241" fmla="*/ 4621178 w 6884782"/>
              <a:gd name="connsiteY49241" fmla="*/ 1661558 h 5973007"/>
              <a:gd name="connsiteX49242" fmla="*/ 4620111 w 6884782"/>
              <a:gd name="connsiteY49242" fmla="*/ 1661416 h 5973007"/>
              <a:gd name="connsiteX49243" fmla="*/ 4616269 w 6884782"/>
              <a:gd name="connsiteY49243" fmla="*/ 1661700 h 5973007"/>
              <a:gd name="connsiteX49244" fmla="*/ 4616483 w 6884782"/>
              <a:gd name="connsiteY49244" fmla="*/ 1665827 h 5973007"/>
              <a:gd name="connsiteX49245" fmla="*/ 4615842 w 6884782"/>
              <a:gd name="connsiteY49245" fmla="*/ 1667818 h 5973007"/>
              <a:gd name="connsiteX49246" fmla="*/ 4616269 w 6884782"/>
              <a:gd name="connsiteY49246" fmla="*/ 1669810 h 5973007"/>
              <a:gd name="connsiteX49247" fmla="*/ 4623739 w 6884782"/>
              <a:gd name="connsiteY49247" fmla="*/ 1667818 h 5973007"/>
              <a:gd name="connsiteX49248" fmla="*/ 4631849 w 6884782"/>
              <a:gd name="connsiteY49248" fmla="*/ 1666965 h 5973007"/>
              <a:gd name="connsiteX49249" fmla="*/ 4632275 w 6884782"/>
              <a:gd name="connsiteY49249" fmla="*/ 1667107 h 5973007"/>
              <a:gd name="connsiteX49250" fmla="*/ 4632489 w 6884782"/>
              <a:gd name="connsiteY49250" fmla="*/ 1666680 h 5973007"/>
              <a:gd name="connsiteX49251" fmla="*/ 4632916 w 6884782"/>
              <a:gd name="connsiteY49251" fmla="*/ 1667107 h 5973007"/>
              <a:gd name="connsiteX49252" fmla="*/ 4635050 w 6884782"/>
              <a:gd name="connsiteY49252" fmla="*/ 1667960 h 5973007"/>
              <a:gd name="connsiteX49253" fmla="*/ 4632062 w 6884782"/>
              <a:gd name="connsiteY49253" fmla="*/ 1670521 h 5973007"/>
              <a:gd name="connsiteX49254" fmla="*/ 4630355 w 6884782"/>
              <a:gd name="connsiteY49254" fmla="*/ 1670948 h 5973007"/>
              <a:gd name="connsiteX49255" fmla="*/ 4629715 w 6884782"/>
              <a:gd name="connsiteY49255" fmla="*/ 1672086 h 5973007"/>
              <a:gd name="connsiteX49256" fmla="*/ 4628861 w 6884782"/>
              <a:gd name="connsiteY49256" fmla="*/ 1671375 h 5973007"/>
              <a:gd name="connsiteX49257" fmla="*/ 4625660 w 6884782"/>
              <a:gd name="connsiteY49257" fmla="*/ 1672371 h 5973007"/>
              <a:gd name="connsiteX49258" fmla="*/ 4618830 w 6884782"/>
              <a:gd name="connsiteY49258" fmla="*/ 1676923 h 5973007"/>
              <a:gd name="connsiteX49259" fmla="*/ 4610507 w 6884782"/>
              <a:gd name="connsiteY49259" fmla="*/ 1677350 h 5973007"/>
              <a:gd name="connsiteX49260" fmla="*/ 4609866 w 6884782"/>
              <a:gd name="connsiteY49260" fmla="*/ 1674078 h 5973007"/>
              <a:gd name="connsiteX49261" fmla="*/ 4606665 w 6884782"/>
              <a:gd name="connsiteY49261" fmla="*/ 1674931 h 5973007"/>
              <a:gd name="connsiteX49262" fmla="*/ 4595141 w 6884782"/>
              <a:gd name="connsiteY49262" fmla="*/ 1666253 h 5973007"/>
              <a:gd name="connsiteX49263" fmla="*/ 4595781 w 6884782"/>
              <a:gd name="connsiteY49263" fmla="*/ 1659140 h 5973007"/>
              <a:gd name="connsiteX49264" fmla="*/ 4598769 w 6884782"/>
              <a:gd name="connsiteY49264" fmla="*/ 1655298 h 5973007"/>
              <a:gd name="connsiteX49265" fmla="*/ 4598769 w 6884782"/>
              <a:gd name="connsiteY49265" fmla="*/ 1655156 h 5973007"/>
              <a:gd name="connsiteX49266" fmla="*/ 4598342 w 6884782"/>
              <a:gd name="connsiteY49266" fmla="*/ 1647332 h 5973007"/>
              <a:gd name="connsiteX49267" fmla="*/ 4601757 w 6884782"/>
              <a:gd name="connsiteY49267" fmla="*/ 1638511 h 5973007"/>
              <a:gd name="connsiteX49268" fmla="*/ 4604745 w 6884782"/>
              <a:gd name="connsiteY49268" fmla="*/ 1637231 h 5973007"/>
              <a:gd name="connsiteX49269" fmla="*/ 4602183 w 6884782"/>
              <a:gd name="connsiteY49269" fmla="*/ 1633958 h 5973007"/>
              <a:gd name="connsiteX49270" fmla="*/ 4601757 w 6884782"/>
              <a:gd name="connsiteY49270" fmla="*/ 1629121 h 5973007"/>
              <a:gd name="connsiteX49271" fmla="*/ 1623085 w 6884782"/>
              <a:gd name="connsiteY49271" fmla="*/ 1628757 h 5973007"/>
              <a:gd name="connsiteX49272" fmla="*/ 1636714 w 6884782"/>
              <a:gd name="connsiteY49272" fmla="*/ 1629841 h 5973007"/>
              <a:gd name="connsiteX49273" fmla="*/ 1638160 w 6884782"/>
              <a:gd name="connsiteY49273" fmla="*/ 1631545 h 5973007"/>
              <a:gd name="connsiteX49274" fmla="*/ 1638986 w 6884782"/>
              <a:gd name="connsiteY49274" fmla="*/ 1631700 h 5973007"/>
              <a:gd name="connsiteX49275" fmla="*/ 1639606 w 6884782"/>
              <a:gd name="connsiteY49275" fmla="*/ 1633404 h 5973007"/>
              <a:gd name="connsiteX49276" fmla="*/ 1634340 w 6884782"/>
              <a:gd name="connsiteY49276" fmla="*/ 1633869 h 5973007"/>
              <a:gd name="connsiteX49277" fmla="*/ 1630003 w 6884782"/>
              <a:gd name="connsiteY49277" fmla="*/ 1633559 h 5973007"/>
              <a:gd name="connsiteX49278" fmla="*/ 1616890 w 6884782"/>
              <a:gd name="connsiteY49278" fmla="*/ 1629376 h 5973007"/>
              <a:gd name="connsiteX49279" fmla="*/ 1623085 w 6884782"/>
              <a:gd name="connsiteY49279" fmla="*/ 1628757 h 5973007"/>
              <a:gd name="connsiteX49280" fmla="*/ 5110122 w 6884782"/>
              <a:gd name="connsiteY49280" fmla="*/ 1628267 h 5973007"/>
              <a:gd name="connsiteX49281" fmla="*/ 5122927 w 6884782"/>
              <a:gd name="connsiteY49281" fmla="*/ 1636376 h 5973007"/>
              <a:gd name="connsiteX49282" fmla="*/ 5106708 w 6884782"/>
              <a:gd name="connsiteY49282" fmla="*/ 1628552 h 5973007"/>
              <a:gd name="connsiteX49283" fmla="*/ 5110122 w 6884782"/>
              <a:gd name="connsiteY49283" fmla="*/ 1628267 h 5973007"/>
              <a:gd name="connsiteX49284" fmla="*/ 3816799 w 6884782"/>
              <a:gd name="connsiteY49284" fmla="*/ 1628125 h 5973007"/>
              <a:gd name="connsiteX49285" fmla="*/ 3805274 w 6884782"/>
              <a:gd name="connsiteY49285" fmla="*/ 1640930 h 5973007"/>
              <a:gd name="connsiteX49286" fmla="*/ 3801219 w 6884782"/>
              <a:gd name="connsiteY49286" fmla="*/ 1640930 h 5973007"/>
              <a:gd name="connsiteX49287" fmla="*/ 3804207 w 6884782"/>
              <a:gd name="connsiteY49287" fmla="*/ 1642494 h 5973007"/>
              <a:gd name="connsiteX49288" fmla="*/ 3805701 w 6884782"/>
              <a:gd name="connsiteY49288" fmla="*/ 1648043 h 5973007"/>
              <a:gd name="connsiteX49289" fmla="*/ 3805274 w 6884782"/>
              <a:gd name="connsiteY49289" fmla="*/ 1646905 h 5973007"/>
              <a:gd name="connsiteX49290" fmla="*/ 3803140 w 6884782"/>
              <a:gd name="connsiteY49290" fmla="*/ 1648043 h 5973007"/>
              <a:gd name="connsiteX49291" fmla="*/ 3803567 w 6884782"/>
              <a:gd name="connsiteY49291" fmla="*/ 1649039 h 5973007"/>
              <a:gd name="connsiteX49292" fmla="*/ 3801006 w 6884782"/>
              <a:gd name="connsiteY49292" fmla="*/ 1649039 h 5973007"/>
              <a:gd name="connsiteX49293" fmla="*/ 3794816 w 6884782"/>
              <a:gd name="connsiteY49293" fmla="*/ 1643063 h 5973007"/>
              <a:gd name="connsiteX49294" fmla="*/ 3797377 w 6884782"/>
              <a:gd name="connsiteY49294" fmla="*/ 1640218 h 5973007"/>
              <a:gd name="connsiteX49295" fmla="*/ 3799085 w 6884782"/>
              <a:gd name="connsiteY49295" fmla="*/ 1640218 h 5973007"/>
              <a:gd name="connsiteX49296" fmla="*/ 3802073 w 6884782"/>
              <a:gd name="connsiteY49296" fmla="*/ 1634100 h 5973007"/>
              <a:gd name="connsiteX49297" fmla="*/ 3816799 w 6884782"/>
              <a:gd name="connsiteY49297" fmla="*/ 1628125 h 5973007"/>
              <a:gd name="connsiteX49298" fmla="*/ 3770914 w 6884782"/>
              <a:gd name="connsiteY49298" fmla="*/ 1627840 h 5973007"/>
              <a:gd name="connsiteX49299" fmla="*/ 3771767 w 6884782"/>
              <a:gd name="connsiteY49299" fmla="*/ 1628979 h 5973007"/>
              <a:gd name="connsiteX49300" fmla="*/ 3773261 w 6884782"/>
              <a:gd name="connsiteY49300" fmla="*/ 1628837 h 5973007"/>
              <a:gd name="connsiteX49301" fmla="*/ 3786706 w 6884782"/>
              <a:gd name="connsiteY49301" fmla="*/ 1637799 h 5973007"/>
              <a:gd name="connsiteX49302" fmla="*/ 3778810 w 6884782"/>
              <a:gd name="connsiteY49302" fmla="*/ 1637941 h 5973007"/>
              <a:gd name="connsiteX49303" fmla="*/ 3775182 w 6884782"/>
              <a:gd name="connsiteY49303" fmla="*/ 1637941 h 5973007"/>
              <a:gd name="connsiteX49304" fmla="*/ 3778597 w 6884782"/>
              <a:gd name="connsiteY49304" fmla="*/ 1638653 h 5973007"/>
              <a:gd name="connsiteX49305" fmla="*/ 3779237 w 6884782"/>
              <a:gd name="connsiteY49305" fmla="*/ 1641641 h 5973007"/>
              <a:gd name="connsiteX49306" fmla="*/ 3775182 w 6884782"/>
              <a:gd name="connsiteY49306" fmla="*/ 1647474 h 5973007"/>
              <a:gd name="connsiteX49307" fmla="*/ 3779023 w 6884782"/>
              <a:gd name="connsiteY49307" fmla="*/ 1655298 h 5973007"/>
              <a:gd name="connsiteX49308" fmla="*/ 3779237 w 6884782"/>
              <a:gd name="connsiteY49308" fmla="*/ 1655868 h 5973007"/>
              <a:gd name="connsiteX49309" fmla="*/ 3779450 w 6884782"/>
              <a:gd name="connsiteY49309" fmla="*/ 1655868 h 5973007"/>
              <a:gd name="connsiteX49310" fmla="*/ 3781158 w 6884782"/>
              <a:gd name="connsiteY49310" fmla="*/ 1659140 h 5973007"/>
              <a:gd name="connsiteX49311" fmla="*/ 3781798 w 6884782"/>
              <a:gd name="connsiteY49311" fmla="*/ 1660278 h 5973007"/>
              <a:gd name="connsiteX49312" fmla="*/ 3781585 w 6884782"/>
              <a:gd name="connsiteY49312" fmla="*/ 1667676 h 5973007"/>
              <a:gd name="connsiteX49313" fmla="*/ 3770487 w 6884782"/>
              <a:gd name="connsiteY49313" fmla="*/ 1671802 h 5973007"/>
              <a:gd name="connsiteX49314" fmla="*/ 3767285 w 6884782"/>
              <a:gd name="connsiteY49314" fmla="*/ 1670664 h 5973007"/>
              <a:gd name="connsiteX49315" fmla="*/ 3768139 w 6884782"/>
              <a:gd name="connsiteY49315" fmla="*/ 1673366 h 5973007"/>
              <a:gd name="connsiteX49316" fmla="*/ 3745090 w 6884782"/>
              <a:gd name="connsiteY49316" fmla="*/ 1675216 h 5973007"/>
              <a:gd name="connsiteX49317" fmla="*/ 3742529 w 6884782"/>
              <a:gd name="connsiteY49317" fmla="*/ 1674220 h 5973007"/>
              <a:gd name="connsiteX49318" fmla="*/ 3742529 w 6884782"/>
              <a:gd name="connsiteY49318" fmla="*/ 1671233 h 5973007"/>
              <a:gd name="connsiteX49319" fmla="*/ 3757255 w 6884782"/>
              <a:gd name="connsiteY49319" fmla="*/ 1666395 h 5973007"/>
              <a:gd name="connsiteX49320" fmla="*/ 3760243 w 6884782"/>
              <a:gd name="connsiteY49320" fmla="*/ 1667676 h 5973007"/>
              <a:gd name="connsiteX49321" fmla="*/ 3761736 w 6884782"/>
              <a:gd name="connsiteY49321" fmla="*/ 1668387 h 5973007"/>
              <a:gd name="connsiteX49322" fmla="*/ 3758535 w 6884782"/>
              <a:gd name="connsiteY49322" fmla="*/ 1665542 h 5973007"/>
              <a:gd name="connsiteX49323" fmla="*/ 3757468 w 6884782"/>
              <a:gd name="connsiteY49323" fmla="*/ 1654871 h 5973007"/>
              <a:gd name="connsiteX49324" fmla="*/ 3758535 w 6884782"/>
              <a:gd name="connsiteY49324" fmla="*/ 1654444 h 5973007"/>
              <a:gd name="connsiteX49325" fmla="*/ 3753840 w 6884782"/>
              <a:gd name="connsiteY49325" fmla="*/ 1648897 h 5973007"/>
              <a:gd name="connsiteX49326" fmla="*/ 3768993 w 6884782"/>
              <a:gd name="connsiteY49326" fmla="*/ 1639222 h 5973007"/>
              <a:gd name="connsiteX49327" fmla="*/ 3771340 w 6884782"/>
              <a:gd name="connsiteY49327" fmla="*/ 1638795 h 5973007"/>
              <a:gd name="connsiteX49328" fmla="*/ 3771127 w 6884782"/>
              <a:gd name="connsiteY49328" fmla="*/ 1637941 h 5973007"/>
              <a:gd name="connsiteX49329" fmla="*/ 3768566 w 6884782"/>
              <a:gd name="connsiteY49329" fmla="*/ 1637941 h 5973007"/>
              <a:gd name="connsiteX49330" fmla="*/ 3755334 w 6884782"/>
              <a:gd name="connsiteY49330" fmla="*/ 1630544 h 5973007"/>
              <a:gd name="connsiteX49331" fmla="*/ 3763231 w 6884782"/>
              <a:gd name="connsiteY49331" fmla="*/ 1629548 h 5973007"/>
              <a:gd name="connsiteX49332" fmla="*/ 3768779 w 6884782"/>
              <a:gd name="connsiteY49332" fmla="*/ 1629121 h 5973007"/>
              <a:gd name="connsiteX49333" fmla="*/ 3769633 w 6884782"/>
              <a:gd name="connsiteY49333" fmla="*/ 1627983 h 5973007"/>
              <a:gd name="connsiteX49334" fmla="*/ 3770914 w 6884782"/>
              <a:gd name="connsiteY49334" fmla="*/ 1627840 h 5973007"/>
              <a:gd name="connsiteX49335" fmla="*/ 1421735 w 6884782"/>
              <a:gd name="connsiteY49335" fmla="*/ 1627828 h 5973007"/>
              <a:gd name="connsiteX49336" fmla="*/ 1423697 w 6884782"/>
              <a:gd name="connsiteY49336" fmla="*/ 1629841 h 5973007"/>
              <a:gd name="connsiteX49337" fmla="*/ 1422768 w 6884782"/>
              <a:gd name="connsiteY49337" fmla="*/ 1632010 h 5973007"/>
              <a:gd name="connsiteX49338" fmla="*/ 1422768 w 6884782"/>
              <a:gd name="connsiteY49338" fmla="*/ 1633869 h 5973007"/>
              <a:gd name="connsiteX49339" fmla="*/ 1420393 w 6884782"/>
              <a:gd name="connsiteY49339" fmla="*/ 1634798 h 5973007"/>
              <a:gd name="connsiteX49340" fmla="*/ 1420393 w 6884782"/>
              <a:gd name="connsiteY49340" fmla="*/ 1632939 h 5973007"/>
              <a:gd name="connsiteX49341" fmla="*/ 1421735 w 6884782"/>
              <a:gd name="connsiteY49341" fmla="*/ 1627828 h 5973007"/>
              <a:gd name="connsiteX49342" fmla="*/ 1181251 w 6884782"/>
              <a:gd name="connsiteY49342" fmla="*/ 1627363 h 5973007"/>
              <a:gd name="connsiteX49343" fmla="*/ 1181768 w 6884782"/>
              <a:gd name="connsiteY49343" fmla="*/ 1629996 h 5973007"/>
              <a:gd name="connsiteX49344" fmla="*/ 1177534 w 6884782"/>
              <a:gd name="connsiteY49344" fmla="*/ 1628757 h 5973007"/>
              <a:gd name="connsiteX49345" fmla="*/ 1181251 w 6884782"/>
              <a:gd name="connsiteY49345" fmla="*/ 1627363 h 5973007"/>
              <a:gd name="connsiteX49346" fmla="*/ 4667276 w 6884782"/>
              <a:gd name="connsiteY49346" fmla="*/ 1626702 h 5973007"/>
              <a:gd name="connsiteX49347" fmla="*/ 4675600 w 6884782"/>
              <a:gd name="connsiteY49347" fmla="*/ 1636519 h 5973007"/>
              <a:gd name="connsiteX49348" fmla="*/ 4667276 w 6884782"/>
              <a:gd name="connsiteY49348" fmla="*/ 1626702 h 5973007"/>
              <a:gd name="connsiteX49349" fmla="*/ 4833744 w 6884782"/>
              <a:gd name="connsiteY49349" fmla="*/ 1626560 h 5973007"/>
              <a:gd name="connsiteX49350" fmla="*/ 4835024 w 6884782"/>
              <a:gd name="connsiteY49350" fmla="*/ 1628837 h 5973007"/>
              <a:gd name="connsiteX49351" fmla="*/ 4834598 w 6884782"/>
              <a:gd name="connsiteY49351" fmla="*/ 1632820 h 5973007"/>
              <a:gd name="connsiteX49352" fmla="*/ 4832036 w 6884782"/>
              <a:gd name="connsiteY49352" fmla="*/ 1635666 h 5973007"/>
              <a:gd name="connsiteX49353" fmla="*/ 4826274 w 6884782"/>
              <a:gd name="connsiteY49353" fmla="*/ 1631966 h 5973007"/>
              <a:gd name="connsiteX49354" fmla="*/ 4833744 w 6884782"/>
              <a:gd name="connsiteY49354" fmla="*/ 1626560 h 5973007"/>
              <a:gd name="connsiteX49355" fmla="*/ 1313936 w 6884782"/>
              <a:gd name="connsiteY49355" fmla="*/ 1626433 h 5973007"/>
              <a:gd name="connsiteX49356" fmla="*/ 1346874 w 6884782"/>
              <a:gd name="connsiteY49356" fmla="*/ 1643782 h 5973007"/>
              <a:gd name="connsiteX49357" fmla="*/ 1330560 w 6884782"/>
              <a:gd name="connsiteY49357" fmla="*/ 1649358 h 5973007"/>
              <a:gd name="connsiteX49358" fmla="*/ 1307947 w 6884782"/>
              <a:gd name="connsiteY49358" fmla="*/ 1631545 h 5973007"/>
              <a:gd name="connsiteX49359" fmla="*/ 1309083 w 6884782"/>
              <a:gd name="connsiteY49359" fmla="*/ 1629222 h 5973007"/>
              <a:gd name="connsiteX49360" fmla="*/ 1313936 w 6884782"/>
              <a:gd name="connsiteY49360" fmla="*/ 1626433 h 5973007"/>
              <a:gd name="connsiteX49361" fmla="*/ 4958595 w 6884782"/>
              <a:gd name="connsiteY49361" fmla="*/ 1626418 h 5973007"/>
              <a:gd name="connsiteX49362" fmla="*/ 4959875 w 6884782"/>
              <a:gd name="connsiteY49362" fmla="*/ 1628125 h 5973007"/>
              <a:gd name="connsiteX49363" fmla="*/ 4960942 w 6884782"/>
              <a:gd name="connsiteY49363" fmla="*/ 1631397 h 5973007"/>
              <a:gd name="connsiteX49364" fmla="*/ 4962650 w 6884782"/>
              <a:gd name="connsiteY49364" fmla="*/ 1633674 h 5973007"/>
              <a:gd name="connsiteX49365" fmla="*/ 4961155 w 6884782"/>
              <a:gd name="connsiteY49365" fmla="*/ 1636803 h 5973007"/>
              <a:gd name="connsiteX49366" fmla="*/ 4959448 w 6884782"/>
              <a:gd name="connsiteY49366" fmla="*/ 1634669 h 5973007"/>
              <a:gd name="connsiteX49367" fmla="*/ 4956247 w 6884782"/>
              <a:gd name="connsiteY49367" fmla="*/ 1627414 h 5973007"/>
              <a:gd name="connsiteX49368" fmla="*/ 4958595 w 6884782"/>
              <a:gd name="connsiteY49368" fmla="*/ 1626418 h 5973007"/>
              <a:gd name="connsiteX49369" fmla="*/ 1253840 w 6884782"/>
              <a:gd name="connsiteY49369" fmla="*/ 1625969 h 5973007"/>
              <a:gd name="connsiteX49370" fmla="*/ 1259726 w 6884782"/>
              <a:gd name="connsiteY49370" fmla="*/ 1626124 h 5973007"/>
              <a:gd name="connsiteX49371" fmla="*/ 1268296 w 6884782"/>
              <a:gd name="connsiteY49371" fmla="*/ 1639445 h 5973007"/>
              <a:gd name="connsiteX49372" fmla="*/ 1267470 w 6884782"/>
              <a:gd name="connsiteY49372" fmla="*/ 1641613 h 5973007"/>
              <a:gd name="connsiteX49373" fmla="*/ 1267470 w 6884782"/>
              <a:gd name="connsiteY49373" fmla="*/ 1645331 h 5973007"/>
              <a:gd name="connsiteX49374" fmla="*/ 1256112 w 6884782"/>
              <a:gd name="connsiteY49374" fmla="*/ 1645021 h 5973007"/>
              <a:gd name="connsiteX49375" fmla="*/ 1247026 w 6884782"/>
              <a:gd name="connsiteY49375" fmla="*/ 1636037 h 5973007"/>
              <a:gd name="connsiteX49376" fmla="*/ 1247129 w 6884782"/>
              <a:gd name="connsiteY49376" fmla="*/ 1632784 h 5973007"/>
              <a:gd name="connsiteX49377" fmla="*/ 1253840 w 6884782"/>
              <a:gd name="connsiteY49377" fmla="*/ 1625969 h 5973007"/>
              <a:gd name="connsiteX49378" fmla="*/ 1731568 w 6884782"/>
              <a:gd name="connsiteY49378" fmla="*/ 1625543 h 5973007"/>
              <a:gd name="connsiteX49379" fmla="*/ 1740591 w 6884782"/>
              <a:gd name="connsiteY49379" fmla="*/ 1635573 h 5973007"/>
              <a:gd name="connsiteX49380" fmla="*/ 1731401 w 6884782"/>
              <a:gd name="connsiteY49380" fmla="*/ 1653541 h 5973007"/>
              <a:gd name="connsiteX49381" fmla="*/ 1716944 w 6884782"/>
              <a:gd name="connsiteY49381" fmla="*/ 1636811 h 5973007"/>
              <a:gd name="connsiteX49382" fmla="*/ 1718597 w 6884782"/>
              <a:gd name="connsiteY49382" fmla="*/ 1630151 h 5973007"/>
              <a:gd name="connsiteX49383" fmla="*/ 1731568 w 6884782"/>
              <a:gd name="connsiteY49383" fmla="*/ 1625543 h 5973007"/>
              <a:gd name="connsiteX49384" fmla="*/ 1787778 w 6884782"/>
              <a:gd name="connsiteY49384" fmla="*/ 1625504 h 5973007"/>
              <a:gd name="connsiteX49385" fmla="*/ 1787159 w 6884782"/>
              <a:gd name="connsiteY49385" fmla="*/ 1632939 h 5973007"/>
              <a:gd name="connsiteX49386" fmla="*/ 1781893 w 6884782"/>
              <a:gd name="connsiteY49386" fmla="*/ 1632165 h 5973007"/>
              <a:gd name="connsiteX49387" fmla="*/ 1787778 w 6884782"/>
              <a:gd name="connsiteY49387" fmla="*/ 1625504 h 5973007"/>
              <a:gd name="connsiteX49388" fmla="*/ 4943015 w 6884782"/>
              <a:gd name="connsiteY49388" fmla="*/ 1625422 h 5973007"/>
              <a:gd name="connsiteX49389" fmla="*/ 4948777 w 6884782"/>
              <a:gd name="connsiteY49389" fmla="*/ 1627840 h 5973007"/>
              <a:gd name="connsiteX49390" fmla="*/ 4947710 w 6884782"/>
              <a:gd name="connsiteY49390" fmla="*/ 1628837 h 5973007"/>
              <a:gd name="connsiteX49391" fmla="*/ 4948350 w 6884782"/>
              <a:gd name="connsiteY49391" fmla="*/ 1629548 h 5973007"/>
              <a:gd name="connsiteX49392" fmla="*/ 4951552 w 6884782"/>
              <a:gd name="connsiteY49392" fmla="*/ 1632535 h 5973007"/>
              <a:gd name="connsiteX49393" fmla="*/ 4951338 w 6884782"/>
              <a:gd name="connsiteY49393" fmla="*/ 1636234 h 5973007"/>
              <a:gd name="connsiteX49394" fmla="*/ 4947924 w 6884782"/>
              <a:gd name="connsiteY49394" fmla="*/ 1634385 h 5973007"/>
              <a:gd name="connsiteX49395" fmla="*/ 4947710 w 6884782"/>
              <a:gd name="connsiteY49395" fmla="*/ 1631682 h 5973007"/>
              <a:gd name="connsiteX49396" fmla="*/ 4946429 w 6884782"/>
              <a:gd name="connsiteY49396" fmla="*/ 1630259 h 5973007"/>
              <a:gd name="connsiteX49397" fmla="*/ 4945149 w 6884782"/>
              <a:gd name="connsiteY49397" fmla="*/ 1631824 h 5973007"/>
              <a:gd name="connsiteX49398" fmla="*/ 4939600 w 6884782"/>
              <a:gd name="connsiteY49398" fmla="*/ 1630971 h 5973007"/>
              <a:gd name="connsiteX49399" fmla="*/ 4943015 w 6884782"/>
              <a:gd name="connsiteY49399" fmla="*/ 1625422 h 5973007"/>
              <a:gd name="connsiteX49400" fmla="*/ 5875446 w 6884782"/>
              <a:gd name="connsiteY49400" fmla="*/ 1624995 h 5973007"/>
              <a:gd name="connsiteX49401" fmla="*/ 5876299 w 6884782"/>
              <a:gd name="connsiteY49401" fmla="*/ 1634527 h 5973007"/>
              <a:gd name="connsiteX49402" fmla="*/ 5874806 w 6884782"/>
              <a:gd name="connsiteY49402" fmla="*/ 1636234 h 5973007"/>
              <a:gd name="connsiteX49403" fmla="*/ 5875446 w 6884782"/>
              <a:gd name="connsiteY49403" fmla="*/ 1624995 h 5973007"/>
              <a:gd name="connsiteX49404" fmla="*/ 4600049 w 6884782"/>
              <a:gd name="connsiteY49404" fmla="*/ 1624995 h 5973007"/>
              <a:gd name="connsiteX49405" fmla="*/ 4600690 w 6884782"/>
              <a:gd name="connsiteY49405" fmla="*/ 1625422 h 5973007"/>
              <a:gd name="connsiteX49406" fmla="*/ 4601970 w 6884782"/>
              <a:gd name="connsiteY49406" fmla="*/ 1627272 h 5973007"/>
              <a:gd name="connsiteX49407" fmla="*/ 4601543 w 6884782"/>
              <a:gd name="connsiteY49407" fmla="*/ 1629121 h 5973007"/>
              <a:gd name="connsiteX49408" fmla="*/ 4598342 w 6884782"/>
              <a:gd name="connsiteY49408" fmla="*/ 1626702 h 5973007"/>
              <a:gd name="connsiteX49409" fmla="*/ 4599622 w 6884782"/>
              <a:gd name="connsiteY49409" fmla="*/ 1625422 h 5973007"/>
              <a:gd name="connsiteX49410" fmla="*/ 4598555 w 6884782"/>
              <a:gd name="connsiteY49410" fmla="*/ 1625422 h 5973007"/>
              <a:gd name="connsiteX49411" fmla="*/ 4600049 w 6884782"/>
              <a:gd name="connsiteY49411" fmla="*/ 1624995 h 5973007"/>
              <a:gd name="connsiteX49412" fmla="*/ 5179270 w 6884782"/>
              <a:gd name="connsiteY49412" fmla="*/ 1624853 h 5973007"/>
              <a:gd name="connsiteX49413" fmla="*/ 5183752 w 6884782"/>
              <a:gd name="connsiteY49413" fmla="*/ 1625280 h 5973007"/>
              <a:gd name="connsiteX49414" fmla="*/ 5186740 w 6884782"/>
              <a:gd name="connsiteY49414" fmla="*/ 1630402 h 5973007"/>
              <a:gd name="connsiteX49415" fmla="*/ 5170520 w 6884782"/>
              <a:gd name="connsiteY49415" fmla="*/ 1635239 h 5973007"/>
              <a:gd name="connsiteX49416" fmla="*/ 5166892 w 6884782"/>
              <a:gd name="connsiteY49416" fmla="*/ 1630971 h 5973007"/>
              <a:gd name="connsiteX49417" fmla="*/ 5179270 w 6884782"/>
              <a:gd name="connsiteY49417" fmla="*/ 1624853 h 5973007"/>
              <a:gd name="connsiteX49418" fmla="*/ 4800664 w 6884782"/>
              <a:gd name="connsiteY49418" fmla="*/ 1624853 h 5973007"/>
              <a:gd name="connsiteX49419" fmla="*/ 4803225 w 6884782"/>
              <a:gd name="connsiteY49419" fmla="*/ 1626845 h 5973007"/>
              <a:gd name="connsiteX49420" fmla="*/ 4798956 w 6884782"/>
              <a:gd name="connsiteY49420" fmla="*/ 1647474 h 5973007"/>
              <a:gd name="connsiteX49421" fmla="*/ 4798743 w 6884782"/>
              <a:gd name="connsiteY49421" fmla="*/ 1654444 h 5973007"/>
              <a:gd name="connsiteX49422" fmla="*/ 4798956 w 6884782"/>
              <a:gd name="connsiteY49422" fmla="*/ 1656579 h 5973007"/>
              <a:gd name="connsiteX49423" fmla="*/ 4798743 w 6884782"/>
              <a:gd name="connsiteY49423" fmla="*/ 1656721 h 5973007"/>
              <a:gd name="connsiteX49424" fmla="*/ 4798743 w 6884782"/>
              <a:gd name="connsiteY49424" fmla="*/ 1657148 h 5973007"/>
              <a:gd name="connsiteX49425" fmla="*/ 4793621 w 6884782"/>
              <a:gd name="connsiteY49425" fmla="*/ 1664830 h 5973007"/>
              <a:gd name="connsiteX49426" fmla="*/ 4791700 w 6884782"/>
              <a:gd name="connsiteY49426" fmla="*/ 1657575 h 5973007"/>
              <a:gd name="connsiteX49427" fmla="*/ 4789566 w 6884782"/>
              <a:gd name="connsiteY49427" fmla="*/ 1657006 h 5973007"/>
              <a:gd name="connsiteX49428" fmla="*/ 4784657 w 6884782"/>
              <a:gd name="connsiteY49428" fmla="*/ 1648043 h 5973007"/>
              <a:gd name="connsiteX49429" fmla="*/ 4789139 w 6884782"/>
              <a:gd name="connsiteY49429" fmla="*/ 1646335 h 5973007"/>
              <a:gd name="connsiteX49430" fmla="*/ 4788926 w 6884782"/>
              <a:gd name="connsiteY49430" fmla="*/ 1638511 h 5973007"/>
              <a:gd name="connsiteX49431" fmla="*/ 4791914 w 6884782"/>
              <a:gd name="connsiteY49431" fmla="*/ 1627414 h 5973007"/>
              <a:gd name="connsiteX49432" fmla="*/ 4800664 w 6884782"/>
              <a:gd name="connsiteY49432" fmla="*/ 1624853 h 5973007"/>
              <a:gd name="connsiteX49433" fmla="*/ 1601607 w 6884782"/>
              <a:gd name="connsiteY49433" fmla="*/ 1624575 h 5973007"/>
              <a:gd name="connsiteX49434" fmla="*/ 1603982 w 6884782"/>
              <a:gd name="connsiteY49434" fmla="*/ 1625504 h 5973007"/>
              <a:gd name="connsiteX49435" fmla="*/ 1604705 w 6884782"/>
              <a:gd name="connsiteY49435" fmla="*/ 1625195 h 5973007"/>
              <a:gd name="connsiteX49436" fmla="*/ 1606254 w 6884782"/>
              <a:gd name="connsiteY49436" fmla="*/ 1626433 h 5973007"/>
              <a:gd name="connsiteX49437" fmla="*/ 1602021 w 6884782"/>
              <a:gd name="connsiteY49437" fmla="*/ 1629067 h 5973007"/>
              <a:gd name="connsiteX49438" fmla="*/ 1598097 w 6884782"/>
              <a:gd name="connsiteY49438" fmla="*/ 1630616 h 5973007"/>
              <a:gd name="connsiteX49439" fmla="*/ 1584157 w 6884782"/>
              <a:gd name="connsiteY49439" fmla="*/ 1632320 h 5973007"/>
              <a:gd name="connsiteX49440" fmla="*/ 1589113 w 6884782"/>
              <a:gd name="connsiteY49440" fmla="*/ 1629222 h 5973007"/>
              <a:gd name="connsiteX49441" fmla="*/ 1601607 w 6884782"/>
              <a:gd name="connsiteY49441" fmla="*/ 1624575 h 5973007"/>
              <a:gd name="connsiteX49442" fmla="*/ 1539241 w 6884782"/>
              <a:gd name="connsiteY49442" fmla="*/ 1624575 h 5973007"/>
              <a:gd name="connsiteX49443" fmla="*/ 1538518 w 6884782"/>
              <a:gd name="connsiteY49443" fmla="*/ 1625040 h 5973007"/>
              <a:gd name="connsiteX49444" fmla="*/ 1537795 w 6884782"/>
              <a:gd name="connsiteY49444" fmla="*/ 1624730 h 5973007"/>
              <a:gd name="connsiteX49445" fmla="*/ 1538311 w 6884782"/>
              <a:gd name="connsiteY49445" fmla="*/ 1625349 h 5973007"/>
              <a:gd name="connsiteX49446" fmla="*/ 1456429 w 6884782"/>
              <a:gd name="connsiteY49446" fmla="*/ 1624420 h 5973007"/>
              <a:gd name="connsiteX49447" fmla="*/ 1457668 w 6884782"/>
              <a:gd name="connsiteY49447" fmla="*/ 1624885 h 5973007"/>
              <a:gd name="connsiteX49448" fmla="*/ 1454570 w 6884782"/>
              <a:gd name="connsiteY49448" fmla="*/ 1627982 h 5973007"/>
              <a:gd name="connsiteX49449" fmla="*/ 1456429 w 6884782"/>
              <a:gd name="connsiteY49449" fmla="*/ 1624420 h 5973007"/>
              <a:gd name="connsiteX49450" fmla="*/ 5664587 w 6884782"/>
              <a:gd name="connsiteY49450" fmla="*/ 1624142 h 5973007"/>
              <a:gd name="connsiteX49451" fmla="*/ 5689984 w 6884782"/>
              <a:gd name="connsiteY49451" fmla="*/ 1637231 h 5973007"/>
              <a:gd name="connsiteX49452" fmla="*/ 5671843 w 6884782"/>
              <a:gd name="connsiteY49452" fmla="*/ 1654587 h 5973007"/>
              <a:gd name="connsiteX49453" fmla="*/ 5637056 w 6884782"/>
              <a:gd name="connsiteY49453" fmla="*/ 1644344 h 5973007"/>
              <a:gd name="connsiteX49454" fmla="*/ 5637483 w 6884782"/>
              <a:gd name="connsiteY49454" fmla="*/ 1640645 h 5973007"/>
              <a:gd name="connsiteX49455" fmla="*/ 5664587 w 6884782"/>
              <a:gd name="connsiteY49455" fmla="*/ 1624142 h 5973007"/>
              <a:gd name="connsiteX49456" fmla="*/ 4984632 w 6884782"/>
              <a:gd name="connsiteY49456" fmla="*/ 1623857 h 5973007"/>
              <a:gd name="connsiteX49457" fmla="*/ 4987620 w 6884782"/>
              <a:gd name="connsiteY49457" fmla="*/ 1625565 h 5973007"/>
              <a:gd name="connsiteX49458" fmla="*/ 4987620 w 6884782"/>
              <a:gd name="connsiteY49458" fmla="*/ 1637088 h 5973007"/>
              <a:gd name="connsiteX49459" fmla="*/ 4983351 w 6884782"/>
              <a:gd name="connsiteY49459" fmla="*/ 1626133 h 5973007"/>
              <a:gd name="connsiteX49460" fmla="*/ 4984632 w 6884782"/>
              <a:gd name="connsiteY49460" fmla="*/ 1623857 h 5973007"/>
              <a:gd name="connsiteX49461" fmla="*/ 5790291 w 6884782"/>
              <a:gd name="connsiteY49461" fmla="*/ 1623573 h 5973007"/>
              <a:gd name="connsiteX49462" fmla="*/ 5789864 w 6884782"/>
              <a:gd name="connsiteY49462" fmla="*/ 1626133 h 5973007"/>
              <a:gd name="connsiteX49463" fmla="*/ 5785810 w 6884782"/>
              <a:gd name="connsiteY49463" fmla="*/ 1626418 h 5973007"/>
              <a:gd name="connsiteX49464" fmla="*/ 5785383 w 6884782"/>
              <a:gd name="connsiteY49464" fmla="*/ 1629121 h 5973007"/>
              <a:gd name="connsiteX49465" fmla="*/ 5783675 w 6884782"/>
              <a:gd name="connsiteY49465" fmla="*/ 1629548 h 5973007"/>
              <a:gd name="connsiteX49466" fmla="*/ 5781755 w 6884782"/>
              <a:gd name="connsiteY49466" fmla="*/ 1626702 h 5973007"/>
              <a:gd name="connsiteX49467" fmla="*/ 5787943 w 6884782"/>
              <a:gd name="connsiteY49467" fmla="*/ 1624995 h 5973007"/>
              <a:gd name="connsiteX49468" fmla="*/ 5790291 w 6884782"/>
              <a:gd name="connsiteY49468" fmla="*/ 1623573 h 5973007"/>
              <a:gd name="connsiteX49469" fmla="*/ 1415333 w 6884782"/>
              <a:gd name="connsiteY49469" fmla="*/ 1622871 h 5973007"/>
              <a:gd name="connsiteX49470" fmla="*/ 1416263 w 6884782"/>
              <a:gd name="connsiteY49470" fmla="*/ 1628292 h 5973007"/>
              <a:gd name="connsiteX49471" fmla="*/ 1414404 w 6884782"/>
              <a:gd name="connsiteY49471" fmla="*/ 1629996 h 5973007"/>
              <a:gd name="connsiteX49472" fmla="*/ 1413268 w 6884782"/>
              <a:gd name="connsiteY49472" fmla="*/ 1627518 h 5973007"/>
              <a:gd name="connsiteX49473" fmla="*/ 1414301 w 6884782"/>
              <a:gd name="connsiteY49473" fmla="*/ 1626124 h 5973007"/>
              <a:gd name="connsiteX49474" fmla="*/ 1413888 w 6884782"/>
              <a:gd name="connsiteY49474" fmla="*/ 1623491 h 5973007"/>
              <a:gd name="connsiteX49475" fmla="*/ 1415333 w 6884782"/>
              <a:gd name="connsiteY49475" fmla="*/ 1622871 h 5973007"/>
              <a:gd name="connsiteX49476" fmla="*/ 4892434 w 6884782"/>
              <a:gd name="connsiteY49476" fmla="*/ 1622719 h 5973007"/>
              <a:gd name="connsiteX49477" fmla="*/ 4894142 w 6884782"/>
              <a:gd name="connsiteY49477" fmla="*/ 1627556 h 5973007"/>
              <a:gd name="connsiteX49478" fmla="*/ 4889660 w 6884782"/>
              <a:gd name="connsiteY49478" fmla="*/ 1626418 h 5973007"/>
              <a:gd name="connsiteX49479" fmla="*/ 4889660 w 6884782"/>
              <a:gd name="connsiteY49479" fmla="*/ 1624284 h 5973007"/>
              <a:gd name="connsiteX49480" fmla="*/ 4892434 w 6884782"/>
              <a:gd name="connsiteY49480" fmla="*/ 1622719 h 5973007"/>
              <a:gd name="connsiteX49481" fmla="*/ 5088567 w 6884782"/>
              <a:gd name="connsiteY49481" fmla="*/ 1622435 h 5973007"/>
              <a:gd name="connsiteX49482" fmla="*/ 5090488 w 6884782"/>
              <a:gd name="connsiteY49482" fmla="*/ 1627556 h 5973007"/>
              <a:gd name="connsiteX49483" fmla="*/ 5086859 w 6884782"/>
              <a:gd name="connsiteY49483" fmla="*/ 1628267 h 5973007"/>
              <a:gd name="connsiteX49484" fmla="*/ 5088567 w 6884782"/>
              <a:gd name="connsiteY49484" fmla="*/ 1622435 h 5973007"/>
              <a:gd name="connsiteX49485" fmla="*/ 1002618 w 6884782"/>
              <a:gd name="connsiteY49485" fmla="*/ 1622097 h 5973007"/>
              <a:gd name="connsiteX49486" fmla="*/ 1000553 w 6884782"/>
              <a:gd name="connsiteY49486" fmla="*/ 1631700 h 5973007"/>
              <a:gd name="connsiteX49487" fmla="*/ 992912 w 6884782"/>
              <a:gd name="connsiteY49487" fmla="*/ 1629376 h 5973007"/>
              <a:gd name="connsiteX49488" fmla="*/ 993325 w 6884782"/>
              <a:gd name="connsiteY49488" fmla="*/ 1622871 h 5973007"/>
              <a:gd name="connsiteX49489" fmla="*/ 1002618 w 6884782"/>
              <a:gd name="connsiteY49489" fmla="*/ 1622097 h 5973007"/>
              <a:gd name="connsiteX49490" fmla="*/ 1031014 w 6884782"/>
              <a:gd name="connsiteY49490" fmla="*/ 1621942 h 5973007"/>
              <a:gd name="connsiteX49491" fmla="*/ 1026574 w 6884782"/>
              <a:gd name="connsiteY49491" fmla="*/ 1634023 h 5973007"/>
              <a:gd name="connsiteX49492" fmla="*/ 1026161 w 6884782"/>
              <a:gd name="connsiteY49492" fmla="*/ 1631700 h 5973007"/>
              <a:gd name="connsiteX49493" fmla="*/ 1031014 w 6884782"/>
              <a:gd name="connsiteY49493" fmla="*/ 1621942 h 5973007"/>
              <a:gd name="connsiteX49494" fmla="*/ 4819018 w 6884782"/>
              <a:gd name="connsiteY49494" fmla="*/ 1621865 h 5973007"/>
              <a:gd name="connsiteX49495" fmla="*/ 4820512 w 6884782"/>
              <a:gd name="connsiteY49495" fmla="*/ 1622435 h 5973007"/>
              <a:gd name="connsiteX49496" fmla="*/ 4810481 w 6884782"/>
              <a:gd name="connsiteY49496" fmla="*/ 1625422 h 5973007"/>
              <a:gd name="connsiteX49497" fmla="*/ 4819018 w 6884782"/>
              <a:gd name="connsiteY49497" fmla="*/ 1621865 h 5973007"/>
              <a:gd name="connsiteX49498" fmla="*/ 3940369 w 6884782"/>
              <a:gd name="connsiteY49498" fmla="*/ 1621723 h 5973007"/>
              <a:gd name="connsiteX49499" fmla="*/ 3945704 w 6884782"/>
              <a:gd name="connsiteY49499" fmla="*/ 1634669 h 5973007"/>
              <a:gd name="connsiteX49500" fmla="*/ 3940369 w 6884782"/>
              <a:gd name="connsiteY49500" fmla="*/ 1621723 h 5973007"/>
              <a:gd name="connsiteX49501" fmla="*/ 1119091 w 6884782"/>
              <a:gd name="connsiteY49501" fmla="*/ 1620857 h 5973007"/>
              <a:gd name="connsiteX49502" fmla="*/ 1124047 w 6884782"/>
              <a:gd name="connsiteY49502" fmla="*/ 1623026 h 5973007"/>
              <a:gd name="connsiteX49503" fmla="*/ 1120330 w 6884782"/>
              <a:gd name="connsiteY49503" fmla="*/ 1632165 h 5973007"/>
              <a:gd name="connsiteX49504" fmla="*/ 1115890 w 6884782"/>
              <a:gd name="connsiteY49504" fmla="*/ 1627518 h 5973007"/>
              <a:gd name="connsiteX49505" fmla="*/ 1115890 w 6884782"/>
              <a:gd name="connsiteY49505" fmla="*/ 1626743 h 5973007"/>
              <a:gd name="connsiteX49506" fmla="*/ 1116510 w 6884782"/>
              <a:gd name="connsiteY49506" fmla="*/ 1624885 h 5973007"/>
              <a:gd name="connsiteX49507" fmla="*/ 1119917 w 6884782"/>
              <a:gd name="connsiteY49507" fmla="*/ 1621322 h 5973007"/>
              <a:gd name="connsiteX49508" fmla="*/ 1119091 w 6884782"/>
              <a:gd name="connsiteY49508" fmla="*/ 1620857 h 5973007"/>
              <a:gd name="connsiteX49509" fmla="*/ 3988388 w 6884782"/>
              <a:gd name="connsiteY49509" fmla="*/ 1620300 h 5973007"/>
              <a:gd name="connsiteX49510" fmla="*/ 3995431 w 6884782"/>
              <a:gd name="connsiteY49510" fmla="*/ 1621438 h 5973007"/>
              <a:gd name="connsiteX49511" fmla="*/ 3987748 w 6884782"/>
              <a:gd name="connsiteY49511" fmla="*/ 1631113 h 5973007"/>
              <a:gd name="connsiteX49512" fmla="*/ 3988388 w 6884782"/>
              <a:gd name="connsiteY49512" fmla="*/ 1620300 h 5973007"/>
              <a:gd name="connsiteX49513" fmla="*/ 3474473 w 6884782"/>
              <a:gd name="connsiteY49513" fmla="*/ 1620016 h 5973007"/>
              <a:gd name="connsiteX49514" fmla="*/ 3472339 w 6884782"/>
              <a:gd name="connsiteY49514" fmla="*/ 1627840 h 5973007"/>
              <a:gd name="connsiteX49515" fmla="*/ 3471485 w 6884782"/>
              <a:gd name="connsiteY49515" fmla="*/ 1635523 h 5973007"/>
              <a:gd name="connsiteX49516" fmla="*/ 3471699 w 6884782"/>
              <a:gd name="connsiteY49516" fmla="*/ 1638795 h 5973007"/>
              <a:gd name="connsiteX49517" fmla="*/ 3473620 w 6884782"/>
              <a:gd name="connsiteY49517" fmla="*/ 1638368 h 5973007"/>
              <a:gd name="connsiteX49518" fmla="*/ 3476394 w 6884782"/>
              <a:gd name="connsiteY49518" fmla="*/ 1628837 h 5973007"/>
              <a:gd name="connsiteX49519" fmla="*/ 3477675 w 6884782"/>
              <a:gd name="connsiteY49519" fmla="*/ 1625991 h 5973007"/>
              <a:gd name="connsiteX49520" fmla="*/ 3475540 w 6884782"/>
              <a:gd name="connsiteY49520" fmla="*/ 1623857 h 5973007"/>
              <a:gd name="connsiteX49521" fmla="*/ 1274698 w 6884782"/>
              <a:gd name="connsiteY49521" fmla="*/ 1619928 h 5973007"/>
              <a:gd name="connsiteX49522" fmla="*/ 1274079 w 6884782"/>
              <a:gd name="connsiteY49522" fmla="*/ 1622252 h 5973007"/>
              <a:gd name="connsiteX49523" fmla="*/ 1275008 w 6884782"/>
              <a:gd name="connsiteY49523" fmla="*/ 1623645 h 5973007"/>
              <a:gd name="connsiteX49524" fmla="*/ 1273149 w 6884782"/>
              <a:gd name="connsiteY49524" fmla="*/ 1625969 h 5973007"/>
              <a:gd name="connsiteX49525" fmla="*/ 1274698 w 6884782"/>
              <a:gd name="connsiteY49525" fmla="*/ 1619928 h 5973007"/>
              <a:gd name="connsiteX49526" fmla="*/ 1221831 w 6884782"/>
              <a:gd name="connsiteY49526" fmla="*/ 1619463 h 5973007"/>
              <a:gd name="connsiteX49527" fmla="*/ 1230814 w 6884782"/>
              <a:gd name="connsiteY49527" fmla="*/ 1622252 h 5973007"/>
              <a:gd name="connsiteX49528" fmla="*/ 1228749 w 6884782"/>
              <a:gd name="connsiteY49528" fmla="*/ 1627828 h 5973007"/>
              <a:gd name="connsiteX49529" fmla="*/ 1222657 w 6884782"/>
              <a:gd name="connsiteY49529" fmla="*/ 1630151 h 5973007"/>
              <a:gd name="connsiteX49530" fmla="*/ 1220592 w 6884782"/>
              <a:gd name="connsiteY49530" fmla="*/ 1624730 h 5973007"/>
              <a:gd name="connsiteX49531" fmla="*/ 1221831 w 6884782"/>
              <a:gd name="connsiteY49531" fmla="*/ 1619463 h 5973007"/>
              <a:gd name="connsiteX49532" fmla="*/ 956979 w 6884782"/>
              <a:gd name="connsiteY49532" fmla="*/ 1618843 h 5973007"/>
              <a:gd name="connsiteX49533" fmla="*/ 971125 w 6884782"/>
              <a:gd name="connsiteY49533" fmla="*/ 1640684 h 5973007"/>
              <a:gd name="connsiteX49534" fmla="*/ 956979 w 6884782"/>
              <a:gd name="connsiteY49534" fmla="*/ 1618843 h 5973007"/>
              <a:gd name="connsiteX49535" fmla="*/ 1301751 w 6884782"/>
              <a:gd name="connsiteY49535" fmla="*/ 1618534 h 5973007"/>
              <a:gd name="connsiteX49536" fmla="*/ 1308050 w 6884782"/>
              <a:gd name="connsiteY49536" fmla="*/ 1623645 h 5973007"/>
              <a:gd name="connsiteX49537" fmla="*/ 1298550 w 6884782"/>
              <a:gd name="connsiteY49537" fmla="*/ 1635263 h 5973007"/>
              <a:gd name="connsiteX49538" fmla="*/ 1294627 w 6884782"/>
              <a:gd name="connsiteY49538" fmla="*/ 1634798 h 5973007"/>
              <a:gd name="connsiteX49539" fmla="*/ 1294214 w 6884782"/>
              <a:gd name="connsiteY49539" fmla="*/ 1635108 h 5973007"/>
              <a:gd name="connsiteX49540" fmla="*/ 1293284 w 6884782"/>
              <a:gd name="connsiteY49540" fmla="*/ 1634643 h 5973007"/>
              <a:gd name="connsiteX49541" fmla="*/ 1292562 w 6884782"/>
              <a:gd name="connsiteY49541" fmla="*/ 1634488 h 5973007"/>
              <a:gd name="connsiteX49542" fmla="*/ 1292252 w 6884782"/>
              <a:gd name="connsiteY49542" fmla="*/ 1629996 h 5973007"/>
              <a:gd name="connsiteX49543" fmla="*/ 1301751 w 6884782"/>
              <a:gd name="connsiteY49543" fmla="*/ 1618534 h 5973007"/>
              <a:gd name="connsiteX49544" fmla="*/ 1527366 w 6884782"/>
              <a:gd name="connsiteY49544" fmla="*/ 1618069 h 5973007"/>
              <a:gd name="connsiteX49545" fmla="*/ 1528502 w 6884782"/>
              <a:gd name="connsiteY49545" fmla="*/ 1618379 h 5973007"/>
              <a:gd name="connsiteX49546" fmla="*/ 1529225 w 6884782"/>
              <a:gd name="connsiteY49546" fmla="*/ 1618069 h 5973007"/>
              <a:gd name="connsiteX49547" fmla="*/ 1529741 w 6884782"/>
              <a:gd name="connsiteY49547" fmla="*/ 1618689 h 5973007"/>
              <a:gd name="connsiteX49548" fmla="*/ 1532116 w 6884782"/>
              <a:gd name="connsiteY49548" fmla="*/ 1619463 h 5973007"/>
              <a:gd name="connsiteX49549" fmla="*/ 1538002 w 6884782"/>
              <a:gd name="connsiteY49549" fmla="*/ 1619309 h 5973007"/>
              <a:gd name="connsiteX49550" fmla="*/ 1543681 w 6884782"/>
              <a:gd name="connsiteY49550" fmla="*/ 1622252 h 5973007"/>
              <a:gd name="connsiteX49551" fmla="*/ 1543164 w 6884782"/>
              <a:gd name="connsiteY49551" fmla="*/ 1624575 h 5973007"/>
              <a:gd name="connsiteX49552" fmla="*/ 1545539 w 6884782"/>
              <a:gd name="connsiteY49552" fmla="*/ 1625195 h 5973007"/>
              <a:gd name="connsiteX49553" fmla="*/ 1550805 w 6884782"/>
              <a:gd name="connsiteY49553" fmla="*/ 1635263 h 5973007"/>
              <a:gd name="connsiteX49554" fmla="*/ 1549566 w 6884782"/>
              <a:gd name="connsiteY49554" fmla="*/ 1636657 h 5973007"/>
              <a:gd name="connsiteX49555" fmla="*/ 1549463 w 6884782"/>
              <a:gd name="connsiteY49555" fmla="*/ 1636811 h 5973007"/>
              <a:gd name="connsiteX49556" fmla="*/ 1549876 w 6884782"/>
              <a:gd name="connsiteY49556" fmla="*/ 1636966 h 5973007"/>
              <a:gd name="connsiteX49557" fmla="*/ 1553593 w 6884782"/>
              <a:gd name="connsiteY49557" fmla="*/ 1637896 h 5973007"/>
              <a:gd name="connsiteX49558" fmla="*/ 1553800 w 6884782"/>
              <a:gd name="connsiteY49558" fmla="*/ 1639445 h 5973007"/>
              <a:gd name="connsiteX49559" fmla="*/ 1555968 w 6884782"/>
              <a:gd name="connsiteY49559" fmla="*/ 1636347 h 5973007"/>
              <a:gd name="connsiteX49560" fmla="*/ 1569185 w 6884782"/>
              <a:gd name="connsiteY49560" fmla="*/ 1634178 h 5973007"/>
              <a:gd name="connsiteX49561" fmla="*/ 1562783 w 6884782"/>
              <a:gd name="connsiteY49561" fmla="*/ 1647964 h 5973007"/>
              <a:gd name="connsiteX49562" fmla="*/ 1553387 w 6884782"/>
              <a:gd name="connsiteY49562" fmla="*/ 1642543 h 5973007"/>
              <a:gd name="connsiteX49563" fmla="*/ 1553284 w 6884782"/>
              <a:gd name="connsiteY49563" fmla="*/ 1640374 h 5973007"/>
              <a:gd name="connsiteX49564" fmla="*/ 1551528 w 6884782"/>
              <a:gd name="connsiteY49564" fmla="*/ 1641459 h 5973007"/>
              <a:gd name="connsiteX49565" fmla="*/ 1546159 w 6884782"/>
              <a:gd name="connsiteY49565" fmla="*/ 1641459 h 5973007"/>
              <a:gd name="connsiteX49566" fmla="*/ 1543371 w 6884782"/>
              <a:gd name="connsiteY49566" fmla="*/ 1640374 h 5973007"/>
              <a:gd name="connsiteX49567" fmla="*/ 1542235 w 6884782"/>
              <a:gd name="connsiteY49567" fmla="*/ 1640684 h 5973007"/>
              <a:gd name="connsiteX49568" fmla="*/ 1534801 w 6884782"/>
              <a:gd name="connsiteY49568" fmla="*/ 1631700 h 5973007"/>
              <a:gd name="connsiteX49569" fmla="*/ 1536349 w 6884782"/>
              <a:gd name="connsiteY49569" fmla="*/ 1627053 h 5973007"/>
              <a:gd name="connsiteX49570" fmla="*/ 1537279 w 6884782"/>
              <a:gd name="connsiteY49570" fmla="*/ 1626278 h 5973007"/>
              <a:gd name="connsiteX49571" fmla="*/ 1534491 w 6884782"/>
              <a:gd name="connsiteY49571" fmla="*/ 1627208 h 5973007"/>
              <a:gd name="connsiteX49572" fmla="*/ 1530773 w 6884782"/>
              <a:gd name="connsiteY49572" fmla="*/ 1626124 h 5973007"/>
              <a:gd name="connsiteX49573" fmla="*/ 1526437 w 6884782"/>
              <a:gd name="connsiteY49573" fmla="*/ 1625814 h 5973007"/>
              <a:gd name="connsiteX49574" fmla="*/ 1524991 w 6884782"/>
              <a:gd name="connsiteY49574" fmla="*/ 1624110 h 5973007"/>
              <a:gd name="connsiteX49575" fmla="*/ 1525198 w 6884782"/>
              <a:gd name="connsiteY49575" fmla="*/ 1623181 h 5973007"/>
              <a:gd name="connsiteX49576" fmla="*/ 1527160 w 6884782"/>
              <a:gd name="connsiteY49576" fmla="*/ 1622716 h 5973007"/>
              <a:gd name="connsiteX49577" fmla="*/ 1532116 w 6884782"/>
              <a:gd name="connsiteY49577" fmla="*/ 1623181 h 5973007"/>
              <a:gd name="connsiteX49578" fmla="*/ 1535110 w 6884782"/>
              <a:gd name="connsiteY49578" fmla="*/ 1623800 h 5973007"/>
              <a:gd name="connsiteX49579" fmla="*/ 1529948 w 6884782"/>
              <a:gd name="connsiteY49579" fmla="*/ 1622097 h 5973007"/>
              <a:gd name="connsiteX49580" fmla="*/ 1524578 w 6884782"/>
              <a:gd name="connsiteY49580" fmla="*/ 1618534 h 5973007"/>
              <a:gd name="connsiteX49581" fmla="*/ 1527366 w 6884782"/>
              <a:gd name="connsiteY49581" fmla="*/ 1618069 h 5973007"/>
              <a:gd name="connsiteX49582" fmla="*/ 4637611 w 6884782"/>
              <a:gd name="connsiteY49582" fmla="*/ 1617881 h 5973007"/>
              <a:gd name="connsiteX49583" fmla="*/ 4658526 w 6884782"/>
              <a:gd name="connsiteY49583" fmla="*/ 1631113 h 5973007"/>
              <a:gd name="connsiteX49584" fmla="*/ 4649989 w 6884782"/>
              <a:gd name="connsiteY49584" fmla="*/ 1631966 h 5973007"/>
              <a:gd name="connsiteX49585" fmla="*/ 4642306 w 6884782"/>
              <a:gd name="connsiteY49585" fmla="*/ 1629405 h 5973007"/>
              <a:gd name="connsiteX49586" fmla="*/ 4642946 w 6884782"/>
              <a:gd name="connsiteY49586" fmla="*/ 1633531 h 5973007"/>
              <a:gd name="connsiteX49587" fmla="*/ 4641239 w 6884782"/>
              <a:gd name="connsiteY49587" fmla="*/ 1638226 h 5973007"/>
              <a:gd name="connsiteX49588" fmla="*/ 4639958 w 6884782"/>
              <a:gd name="connsiteY49588" fmla="*/ 1639365 h 5973007"/>
              <a:gd name="connsiteX49589" fmla="*/ 4640812 w 6884782"/>
              <a:gd name="connsiteY49589" fmla="*/ 1633674 h 5973007"/>
              <a:gd name="connsiteX49590" fmla="*/ 4642093 w 6884782"/>
              <a:gd name="connsiteY49590" fmla="*/ 1629263 h 5973007"/>
              <a:gd name="connsiteX49591" fmla="*/ 4641666 w 6884782"/>
              <a:gd name="connsiteY49591" fmla="*/ 1629121 h 5973007"/>
              <a:gd name="connsiteX49592" fmla="*/ 4628861 w 6884782"/>
              <a:gd name="connsiteY49592" fmla="*/ 1618878 h 5973007"/>
              <a:gd name="connsiteX49593" fmla="*/ 4637611 w 6884782"/>
              <a:gd name="connsiteY49593" fmla="*/ 1617881 h 5973007"/>
              <a:gd name="connsiteX49594" fmla="*/ 1056931 w 6884782"/>
              <a:gd name="connsiteY49594" fmla="*/ 1617449 h 5973007"/>
              <a:gd name="connsiteX49595" fmla="*/ 1058480 w 6884782"/>
              <a:gd name="connsiteY49595" fmla="*/ 1621477 h 5973007"/>
              <a:gd name="connsiteX49596" fmla="*/ 1056724 w 6884782"/>
              <a:gd name="connsiteY49596" fmla="*/ 1623336 h 5973007"/>
              <a:gd name="connsiteX49597" fmla="*/ 1054556 w 6884782"/>
              <a:gd name="connsiteY49597" fmla="*/ 1621477 h 5973007"/>
              <a:gd name="connsiteX49598" fmla="*/ 1053936 w 6884782"/>
              <a:gd name="connsiteY49598" fmla="*/ 1618998 h 5973007"/>
              <a:gd name="connsiteX49599" fmla="*/ 1054969 w 6884782"/>
              <a:gd name="connsiteY49599" fmla="*/ 1618069 h 5973007"/>
              <a:gd name="connsiteX49600" fmla="*/ 1056931 w 6884782"/>
              <a:gd name="connsiteY49600" fmla="*/ 1617449 h 5973007"/>
              <a:gd name="connsiteX49601" fmla="*/ 1346048 w 6884782"/>
              <a:gd name="connsiteY49601" fmla="*/ 1617295 h 5973007"/>
              <a:gd name="connsiteX49602" fmla="*/ 1346874 w 6884782"/>
              <a:gd name="connsiteY49602" fmla="*/ 1625195 h 5973007"/>
              <a:gd name="connsiteX49603" fmla="*/ 1344706 w 6884782"/>
              <a:gd name="connsiteY49603" fmla="*/ 1618998 h 5973007"/>
              <a:gd name="connsiteX49604" fmla="*/ 1346048 w 6884782"/>
              <a:gd name="connsiteY49604" fmla="*/ 1617295 h 5973007"/>
              <a:gd name="connsiteX49605" fmla="*/ 1242379 w 6884782"/>
              <a:gd name="connsiteY49605" fmla="*/ 1616985 h 5973007"/>
              <a:gd name="connsiteX49606" fmla="*/ 1242482 w 6884782"/>
              <a:gd name="connsiteY49606" fmla="*/ 1618689 h 5973007"/>
              <a:gd name="connsiteX49607" fmla="*/ 1241966 w 6884782"/>
              <a:gd name="connsiteY49607" fmla="*/ 1621012 h 5973007"/>
              <a:gd name="connsiteX49608" fmla="*/ 1242792 w 6884782"/>
              <a:gd name="connsiteY49608" fmla="*/ 1622406 h 5973007"/>
              <a:gd name="connsiteX49609" fmla="*/ 1239385 w 6884782"/>
              <a:gd name="connsiteY49609" fmla="*/ 1628447 h 5973007"/>
              <a:gd name="connsiteX49610" fmla="*/ 1239385 w 6884782"/>
              <a:gd name="connsiteY49610" fmla="*/ 1626588 h 5973007"/>
              <a:gd name="connsiteX49611" fmla="*/ 1239901 w 6884782"/>
              <a:gd name="connsiteY49611" fmla="*/ 1624420 h 5973007"/>
              <a:gd name="connsiteX49612" fmla="*/ 1240417 w 6884782"/>
              <a:gd name="connsiteY49612" fmla="*/ 1622097 h 5973007"/>
              <a:gd name="connsiteX49613" fmla="*/ 1240314 w 6884782"/>
              <a:gd name="connsiteY49613" fmla="*/ 1620238 h 5973007"/>
              <a:gd name="connsiteX49614" fmla="*/ 1242379 w 6884782"/>
              <a:gd name="connsiteY49614" fmla="*/ 1616985 h 5973007"/>
              <a:gd name="connsiteX49615" fmla="*/ 3911770 w 6884782"/>
              <a:gd name="connsiteY49615" fmla="*/ 1616744 h 5973007"/>
              <a:gd name="connsiteX49616" fmla="*/ 3914972 w 6884782"/>
              <a:gd name="connsiteY49616" fmla="*/ 1616886 h 5973007"/>
              <a:gd name="connsiteX49617" fmla="*/ 3918173 w 6884782"/>
              <a:gd name="connsiteY49617" fmla="*/ 1619304 h 5973007"/>
              <a:gd name="connsiteX49618" fmla="*/ 3920308 w 6884782"/>
              <a:gd name="connsiteY49618" fmla="*/ 1624710 h 5973007"/>
              <a:gd name="connsiteX49619" fmla="*/ 3919667 w 6884782"/>
              <a:gd name="connsiteY49619" fmla="*/ 1626560 h 5973007"/>
              <a:gd name="connsiteX49620" fmla="*/ 3922441 w 6884782"/>
              <a:gd name="connsiteY49620" fmla="*/ 1626418 h 5973007"/>
              <a:gd name="connsiteX49621" fmla="*/ 3922868 w 6884782"/>
              <a:gd name="connsiteY49621" fmla="*/ 1628552 h 5973007"/>
              <a:gd name="connsiteX49622" fmla="*/ 3920308 w 6884782"/>
              <a:gd name="connsiteY49622" fmla="*/ 1627556 h 5973007"/>
              <a:gd name="connsiteX49623" fmla="*/ 3919453 w 6884782"/>
              <a:gd name="connsiteY49623" fmla="*/ 1626845 h 5973007"/>
              <a:gd name="connsiteX49624" fmla="*/ 3918813 w 6884782"/>
              <a:gd name="connsiteY49624" fmla="*/ 1629263 h 5973007"/>
              <a:gd name="connsiteX49625" fmla="*/ 3914545 w 6884782"/>
              <a:gd name="connsiteY49625" fmla="*/ 1633816 h 5973007"/>
              <a:gd name="connsiteX49626" fmla="*/ 3904301 w 6884782"/>
              <a:gd name="connsiteY49626" fmla="*/ 1627129 h 5973007"/>
              <a:gd name="connsiteX49627" fmla="*/ 3911770 w 6884782"/>
              <a:gd name="connsiteY49627" fmla="*/ 1616744 h 5973007"/>
              <a:gd name="connsiteX49628" fmla="*/ 4846976 w 6884782"/>
              <a:gd name="connsiteY49628" fmla="*/ 1616601 h 5973007"/>
              <a:gd name="connsiteX49629" fmla="*/ 4828408 w 6884782"/>
              <a:gd name="connsiteY49629" fmla="*/ 1620585 h 5973007"/>
              <a:gd name="connsiteX49630" fmla="*/ 4846976 w 6884782"/>
              <a:gd name="connsiteY49630" fmla="*/ 1616601 h 5973007"/>
              <a:gd name="connsiteX49631" fmla="*/ 5374976 w 6884782"/>
              <a:gd name="connsiteY49631" fmla="*/ 1616174 h 5973007"/>
              <a:gd name="connsiteX49632" fmla="*/ 5378605 w 6884782"/>
              <a:gd name="connsiteY49632" fmla="*/ 1617313 h 5973007"/>
              <a:gd name="connsiteX49633" fmla="*/ 5382446 w 6884782"/>
              <a:gd name="connsiteY49633" fmla="*/ 1624142 h 5973007"/>
              <a:gd name="connsiteX49634" fmla="*/ 5382019 w 6884782"/>
              <a:gd name="connsiteY49634" fmla="*/ 1629263 h 5973007"/>
              <a:gd name="connsiteX49635" fmla="*/ 5388209 w 6884782"/>
              <a:gd name="connsiteY49635" fmla="*/ 1629832 h 5973007"/>
              <a:gd name="connsiteX49636" fmla="*/ 5387355 w 6884782"/>
              <a:gd name="connsiteY49636" fmla="*/ 1636234 h 5973007"/>
              <a:gd name="connsiteX49637" fmla="*/ 5387141 w 6884782"/>
              <a:gd name="connsiteY49637" fmla="*/ 1636519 h 5973007"/>
              <a:gd name="connsiteX49638" fmla="*/ 5393971 w 6884782"/>
              <a:gd name="connsiteY49638" fmla="*/ 1635950 h 5973007"/>
              <a:gd name="connsiteX49639" fmla="*/ 5393971 w 6884782"/>
              <a:gd name="connsiteY49639" fmla="*/ 1641783 h 5973007"/>
              <a:gd name="connsiteX49640" fmla="*/ 5393544 w 6884782"/>
              <a:gd name="connsiteY49640" fmla="*/ 1645197 h 5973007"/>
              <a:gd name="connsiteX49641" fmla="*/ 5394824 w 6884782"/>
              <a:gd name="connsiteY49641" fmla="*/ 1645197 h 5973007"/>
              <a:gd name="connsiteX49642" fmla="*/ 5396745 w 6884782"/>
              <a:gd name="connsiteY49642" fmla="*/ 1651884 h 5973007"/>
              <a:gd name="connsiteX49643" fmla="*/ 5395892 w 6884782"/>
              <a:gd name="connsiteY49643" fmla="*/ 1653734 h 5973007"/>
              <a:gd name="connsiteX49644" fmla="*/ 5401654 w 6884782"/>
              <a:gd name="connsiteY49644" fmla="*/ 1653307 h 5973007"/>
              <a:gd name="connsiteX49645" fmla="*/ 5406989 w 6884782"/>
              <a:gd name="connsiteY49645" fmla="*/ 1655441 h 5973007"/>
              <a:gd name="connsiteX49646" fmla="*/ 5408270 w 6884782"/>
              <a:gd name="connsiteY49646" fmla="*/ 1658002 h 5973007"/>
              <a:gd name="connsiteX49647" fmla="*/ 5409764 w 6884782"/>
              <a:gd name="connsiteY49647" fmla="*/ 1655583 h 5973007"/>
              <a:gd name="connsiteX49648" fmla="*/ 5416593 w 6884782"/>
              <a:gd name="connsiteY49648" fmla="*/ 1652880 h 5973007"/>
              <a:gd name="connsiteX49649" fmla="*/ 5423850 w 6884782"/>
              <a:gd name="connsiteY49649" fmla="*/ 1653449 h 5973007"/>
              <a:gd name="connsiteX49650" fmla="*/ 5419794 w 6884782"/>
              <a:gd name="connsiteY49650" fmla="*/ 1660420 h 5973007"/>
              <a:gd name="connsiteX49651" fmla="*/ 5409123 w 6884782"/>
              <a:gd name="connsiteY49651" fmla="*/ 1661416 h 5973007"/>
              <a:gd name="connsiteX49652" fmla="*/ 5408056 w 6884782"/>
              <a:gd name="connsiteY49652" fmla="*/ 1659566 h 5973007"/>
              <a:gd name="connsiteX49653" fmla="*/ 5406989 w 6884782"/>
              <a:gd name="connsiteY49653" fmla="*/ 1664546 h 5973007"/>
              <a:gd name="connsiteX49654" fmla="*/ 5391623 w 6884782"/>
              <a:gd name="connsiteY49654" fmla="*/ 1674789 h 5973007"/>
              <a:gd name="connsiteX49655" fmla="*/ 5389916 w 6884782"/>
              <a:gd name="connsiteY49655" fmla="*/ 1662412 h 5973007"/>
              <a:gd name="connsiteX49656" fmla="*/ 5391196 w 6884782"/>
              <a:gd name="connsiteY49656" fmla="*/ 1656721 h 5973007"/>
              <a:gd name="connsiteX49657" fmla="*/ 5390769 w 6884782"/>
              <a:gd name="connsiteY49657" fmla="*/ 1656863 h 5973007"/>
              <a:gd name="connsiteX49658" fmla="*/ 5386288 w 6884782"/>
              <a:gd name="connsiteY49658" fmla="*/ 1655156 h 5973007"/>
              <a:gd name="connsiteX49659" fmla="*/ 5382233 w 6884782"/>
              <a:gd name="connsiteY49659" fmla="*/ 1649607 h 5973007"/>
              <a:gd name="connsiteX49660" fmla="*/ 5362598 w 6884782"/>
              <a:gd name="connsiteY49660" fmla="*/ 1650319 h 5973007"/>
              <a:gd name="connsiteX49661" fmla="*/ 5335280 w 6884782"/>
              <a:gd name="connsiteY49661" fmla="*/ 1651030 h 5973007"/>
              <a:gd name="connsiteX49662" fmla="*/ 5343177 w 6884782"/>
              <a:gd name="connsiteY49662" fmla="*/ 1645767 h 5973007"/>
              <a:gd name="connsiteX49663" fmla="*/ 5342323 w 6884782"/>
              <a:gd name="connsiteY49663" fmla="*/ 1644913 h 5973007"/>
              <a:gd name="connsiteX49664" fmla="*/ 5330158 w 6884782"/>
              <a:gd name="connsiteY49664" fmla="*/ 1643775 h 5973007"/>
              <a:gd name="connsiteX49665" fmla="*/ 5329518 w 6884782"/>
              <a:gd name="connsiteY49665" fmla="*/ 1632394 h 5973007"/>
              <a:gd name="connsiteX49666" fmla="*/ 5331652 w 6884782"/>
              <a:gd name="connsiteY49666" fmla="*/ 1628267 h 5973007"/>
              <a:gd name="connsiteX49667" fmla="*/ 5352354 w 6884782"/>
              <a:gd name="connsiteY49667" fmla="*/ 1640930 h 5973007"/>
              <a:gd name="connsiteX49668" fmla="*/ 5352140 w 6884782"/>
              <a:gd name="connsiteY49668" fmla="*/ 1641641 h 5973007"/>
              <a:gd name="connsiteX49669" fmla="*/ 5362384 w 6884782"/>
              <a:gd name="connsiteY49669" fmla="*/ 1638938 h 5973007"/>
              <a:gd name="connsiteX49670" fmla="*/ 5369427 w 6884782"/>
              <a:gd name="connsiteY49670" fmla="*/ 1638084 h 5973007"/>
              <a:gd name="connsiteX49671" fmla="*/ 5368787 w 6884782"/>
              <a:gd name="connsiteY49671" fmla="*/ 1637515 h 5973007"/>
              <a:gd name="connsiteX49672" fmla="*/ 5374976 w 6884782"/>
              <a:gd name="connsiteY49672" fmla="*/ 1616174 h 5973007"/>
              <a:gd name="connsiteX49673" fmla="*/ 1096994 w 6884782"/>
              <a:gd name="connsiteY49673" fmla="*/ 1615901 h 5973007"/>
              <a:gd name="connsiteX49674" fmla="*/ 1097098 w 6884782"/>
              <a:gd name="connsiteY49674" fmla="*/ 1616675 h 5973007"/>
              <a:gd name="connsiteX49675" fmla="*/ 1097201 w 6884782"/>
              <a:gd name="connsiteY49675" fmla="*/ 1616520 h 5973007"/>
              <a:gd name="connsiteX49676" fmla="*/ 4771638 w 6884782"/>
              <a:gd name="connsiteY49676" fmla="*/ 1615890 h 5973007"/>
              <a:gd name="connsiteX49677" fmla="*/ 4781669 w 6884782"/>
              <a:gd name="connsiteY49677" fmla="*/ 1625280 h 5973007"/>
              <a:gd name="connsiteX49678" fmla="*/ 4781669 w 6884782"/>
              <a:gd name="connsiteY49678" fmla="*/ 1627698 h 5973007"/>
              <a:gd name="connsiteX49679" fmla="*/ 4779108 w 6884782"/>
              <a:gd name="connsiteY49679" fmla="*/ 1629548 h 5973007"/>
              <a:gd name="connsiteX49680" fmla="*/ 4774413 w 6884782"/>
              <a:gd name="connsiteY49680" fmla="*/ 1626418 h 5973007"/>
              <a:gd name="connsiteX49681" fmla="*/ 4773133 w 6884782"/>
              <a:gd name="connsiteY49681" fmla="*/ 1619731 h 5973007"/>
              <a:gd name="connsiteX49682" fmla="*/ 4770998 w 6884782"/>
              <a:gd name="connsiteY49682" fmla="*/ 1616886 h 5973007"/>
              <a:gd name="connsiteX49683" fmla="*/ 4771638 w 6884782"/>
              <a:gd name="connsiteY49683" fmla="*/ 1615890 h 5973007"/>
              <a:gd name="connsiteX49684" fmla="*/ 3974516 w 6884782"/>
              <a:gd name="connsiteY49684" fmla="*/ 1615463 h 5973007"/>
              <a:gd name="connsiteX49685" fmla="*/ 3978784 w 6884782"/>
              <a:gd name="connsiteY49685" fmla="*/ 1616459 h 5973007"/>
              <a:gd name="connsiteX49686" fmla="*/ 3970247 w 6884782"/>
              <a:gd name="connsiteY49686" fmla="*/ 1617455 h 5973007"/>
              <a:gd name="connsiteX49687" fmla="*/ 3974516 w 6884782"/>
              <a:gd name="connsiteY49687" fmla="*/ 1615463 h 5973007"/>
              <a:gd name="connsiteX49688" fmla="*/ 4968838 w 6884782"/>
              <a:gd name="connsiteY49688" fmla="*/ 1615321 h 5973007"/>
              <a:gd name="connsiteX49689" fmla="*/ 4975454 w 6884782"/>
              <a:gd name="connsiteY49689" fmla="*/ 1619873 h 5973007"/>
              <a:gd name="connsiteX49690" fmla="*/ 4974814 w 6884782"/>
              <a:gd name="connsiteY49690" fmla="*/ 1623715 h 5973007"/>
              <a:gd name="connsiteX49691" fmla="*/ 4969906 w 6884782"/>
              <a:gd name="connsiteY49691" fmla="*/ 1627414 h 5973007"/>
              <a:gd name="connsiteX49692" fmla="*/ 4966064 w 6884782"/>
              <a:gd name="connsiteY49692" fmla="*/ 1617881 h 5973007"/>
              <a:gd name="connsiteX49693" fmla="*/ 4968838 w 6884782"/>
              <a:gd name="connsiteY49693" fmla="*/ 1615321 h 5973007"/>
              <a:gd name="connsiteX49694" fmla="*/ 4848043 w 6884782"/>
              <a:gd name="connsiteY49694" fmla="*/ 1615321 h 5973007"/>
              <a:gd name="connsiteX49695" fmla="*/ 4849750 w 6884782"/>
              <a:gd name="connsiteY49695" fmla="*/ 1616744 h 5973007"/>
              <a:gd name="connsiteX49696" fmla="*/ 4846976 w 6884782"/>
              <a:gd name="connsiteY49696" fmla="*/ 1616744 h 5973007"/>
              <a:gd name="connsiteX49697" fmla="*/ 4848043 w 6884782"/>
              <a:gd name="connsiteY49697" fmla="*/ 1615321 h 5973007"/>
              <a:gd name="connsiteX49698" fmla="*/ 1884530 w 6884782"/>
              <a:gd name="connsiteY49698" fmla="*/ 1615281 h 5973007"/>
              <a:gd name="connsiteX49699" fmla="*/ 1888350 w 6884782"/>
              <a:gd name="connsiteY49699" fmla="*/ 1622097 h 5973007"/>
              <a:gd name="connsiteX49700" fmla="*/ 1888143 w 6884782"/>
              <a:gd name="connsiteY49700" fmla="*/ 1625195 h 5973007"/>
              <a:gd name="connsiteX49701" fmla="*/ 1869351 w 6884782"/>
              <a:gd name="connsiteY49701" fmla="*/ 1623645 h 5973007"/>
              <a:gd name="connsiteX49702" fmla="*/ 1869454 w 6884782"/>
              <a:gd name="connsiteY49702" fmla="*/ 1622252 h 5973007"/>
              <a:gd name="connsiteX49703" fmla="*/ 1868215 w 6884782"/>
              <a:gd name="connsiteY49703" fmla="*/ 1623800 h 5973007"/>
              <a:gd name="connsiteX49704" fmla="*/ 1865530 w 6884782"/>
              <a:gd name="connsiteY49704" fmla="*/ 1618379 h 5973007"/>
              <a:gd name="connsiteX49705" fmla="*/ 1869454 w 6884782"/>
              <a:gd name="connsiteY49705" fmla="*/ 1616985 h 5973007"/>
              <a:gd name="connsiteX49706" fmla="*/ 1870383 w 6884782"/>
              <a:gd name="connsiteY49706" fmla="*/ 1618998 h 5973007"/>
              <a:gd name="connsiteX49707" fmla="*/ 1871313 w 6884782"/>
              <a:gd name="connsiteY49707" fmla="*/ 1617140 h 5973007"/>
              <a:gd name="connsiteX49708" fmla="*/ 1884530 w 6884782"/>
              <a:gd name="connsiteY49708" fmla="*/ 1615281 h 5973007"/>
              <a:gd name="connsiteX49709" fmla="*/ 4853592 w 6884782"/>
              <a:gd name="connsiteY49709" fmla="*/ 1615179 h 5973007"/>
              <a:gd name="connsiteX49710" fmla="*/ 4857006 w 6884782"/>
              <a:gd name="connsiteY49710" fmla="*/ 1615179 h 5973007"/>
              <a:gd name="connsiteX49711" fmla="*/ 4867677 w 6884782"/>
              <a:gd name="connsiteY49711" fmla="*/ 1620443 h 5973007"/>
              <a:gd name="connsiteX49712" fmla="*/ 4860208 w 6884782"/>
              <a:gd name="connsiteY49712" fmla="*/ 1629263 h 5973007"/>
              <a:gd name="connsiteX49713" fmla="*/ 4858714 w 6884782"/>
              <a:gd name="connsiteY49713" fmla="*/ 1628979 h 5973007"/>
              <a:gd name="connsiteX49714" fmla="*/ 4847616 w 6884782"/>
              <a:gd name="connsiteY49714" fmla="*/ 1621012 h 5973007"/>
              <a:gd name="connsiteX49715" fmla="*/ 4853592 w 6884782"/>
              <a:gd name="connsiteY49715" fmla="*/ 1615179 h 5973007"/>
              <a:gd name="connsiteX49716" fmla="*/ 5734375 w 6884782"/>
              <a:gd name="connsiteY49716" fmla="*/ 1614894 h 5973007"/>
              <a:gd name="connsiteX49717" fmla="*/ 5737576 w 6884782"/>
              <a:gd name="connsiteY49717" fmla="*/ 1620727 h 5973007"/>
              <a:gd name="connsiteX49718" fmla="*/ 5739284 w 6884782"/>
              <a:gd name="connsiteY49718" fmla="*/ 1626418 h 5973007"/>
              <a:gd name="connsiteX49719" fmla="*/ 5724131 w 6884782"/>
              <a:gd name="connsiteY49719" fmla="*/ 1625991 h 5973007"/>
              <a:gd name="connsiteX49720" fmla="*/ 5725198 w 6884782"/>
              <a:gd name="connsiteY49720" fmla="*/ 1620016 h 5973007"/>
              <a:gd name="connsiteX49721" fmla="*/ 5734375 w 6884782"/>
              <a:gd name="connsiteY49721" fmla="*/ 1614894 h 5973007"/>
              <a:gd name="connsiteX49722" fmla="*/ 5247565 w 6884782"/>
              <a:gd name="connsiteY49722" fmla="*/ 1614609 h 5973007"/>
              <a:gd name="connsiteX49723" fmla="*/ 5249699 w 6884782"/>
              <a:gd name="connsiteY49723" fmla="*/ 1615321 h 5973007"/>
              <a:gd name="connsiteX49724" fmla="*/ 5252687 w 6884782"/>
              <a:gd name="connsiteY49724" fmla="*/ 1616744 h 5973007"/>
              <a:gd name="connsiteX49725" fmla="*/ 5255248 w 6884782"/>
              <a:gd name="connsiteY49725" fmla="*/ 1616459 h 5973007"/>
              <a:gd name="connsiteX49726" fmla="*/ 5259730 w 6884782"/>
              <a:gd name="connsiteY49726" fmla="*/ 1616317 h 5973007"/>
              <a:gd name="connsiteX49727" fmla="*/ 5260797 w 6884782"/>
              <a:gd name="connsiteY49727" fmla="*/ 1619589 h 5973007"/>
              <a:gd name="connsiteX49728" fmla="*/ 5263998 w 6884782"/>
              <a:gd name="connsiteY49728" fmla="*/ 1618736 h 5973007"/>
              <a:gd name="connsiteX49729" fmla="*/ 5277016 w 6884782"/>
              <a:gd name="connsiteY49729" fmla="*/ 1627414 h 5973007"/>
              <a:gd name="connsiteX49730" fmla="*/ 5277657 w 6884782"/>
              <a:gd name="connsiteY49730" fmla="*/ 1634527 h 5973007"/>
              <a:gd name="connsiteX49731" fmla="*/ 5277230 w 6884782"/>
              <a:gd name="connsiteY49731" fmla="*/ 1635239 h 5973007"/>
              <a:gd name="connsiteX49732" fmla="*/ 5281925 w 6884782"/>
              <a:gd name="connsiteY49732" fmla="*/ 1636376 h 5973007"/>
              <a:gd name="connsiteX49733" fmla="*/ 5281072 w 6884782"/>
              <a:gd name="connsiteY49733" fmla="*/ 1638653 h 5973007"/>
              <a:gd name="connsiteX49734" fmla="*/ 5283419 w 6884782"/>
              <a:gd name="connsiteY49734" fmla="*/ 1638084 h 5973007"/>
              <a:gd name="connsiteX49735" fmla="*/ 5294517 w 6884782"/>
              <a:gd name="connsiteY49735" fmla="*/ 1641783 h 5973007"/>
              <a:gd name="connsiteX49736" fmla="*/ 5296865 w 6884782"/>
              <a:gd name="connsiteY49736" fmla="*/ 1643205 h 5973007"/>
              <a:gd name="connsiteX49737" fmla="*/ 5299212 w 6884782"/>
              <a:gd name="connsiteY49737" fmla="*/ 1644486 h 5973007"/>
              <a:gd name="connsiteX49738" fmla="*/ 5300706 w 6884782"/>
              <a:gd name="connsiteY49738" fmla="*/ 1649466 h 5973007"/>
              <a:gd name="connsiteX49739" fmla="*/ 5288968 w 6884782"/>
              <a:gd name="connsiteY49739" fmla="*/ 1645340 h 5973007"/>
              <a:gd name="connsiteX49740" fmla="*/ 5280431 w 6884782"/>
              <a:gd name="connsiteY49740" fmla="*/ 1641641 h 5973007"/>
              <a:gd name="connsiteX49741" fmla="*/ 5280004 w 6884782"/>
              <a:gd name="connsiteY49741" fmla="*/ 1643917 h 5973007"/>
              <a:gd name="connsiteX49742" fmla="*/ 5268907 w 6884782"/>
              <a:gd name="connsiteY49742" fmla="*/ 1641356 h 5973007"/>
              <a:gd name="connsiteX49743" fmla="*/ 5267200 w 6884782"/>
              <a:gd name="connsiteY49743" fmla="*/ 1640360 h 5973007"/>
              <a:gd name="connsiteX49744" fmla="*/ 5263785 w 6884782"/>
              <a:gd name="connsiteY49744" fmla="*/ 1640218 h 5973007"/>
              <a:gd name="connsiteX49745" fmla="*/ 5257595 w 6884782"/>
              <a:gd name="connsiteY49745" fmla="*/ 1635096 h 5973007"/>
              <a:gd name="connsiteX49746" fmla="*/ 5256955 w 6884782"/>
              <a:gd name="connsiteY49746" fmla="*/ 1622577 h 5973007"/>
              <a:gd name="connsiteX49747" fmla="*/ 5256315 w 6884782"/>
              <a:gd name="connsiteY49747" fmla="*/ 1623715 h 5973007"/>
              <a:gd name="connsiteX49748" fmla="*/ 5250126 w 6884782"/>
              <a:gd name="connsiteY49748" fmla="*/ 1625280 h 5973007"/>
              <a:gd name="connsiteX49749" fmla="*/ 5251833 w 6884782"/>
              <a:gd name="connsiteY49749" fmla="*/ 1627414 h 5973007"/>
              <a:gd name="connsiteX49750" fmla="*/ 5240522 w 6884782"/>
              <a:gd name="connsiteY49750" fmla="*/ 1637088 h 5973007"/>
              <a:gd name="connsiteX49751" fmla="*/ 5239028 w 6884782"/>
              <a:gd name="connsiteY49751" fmla="*/ 1628694 h 5973007"/>
              <a:gd name="connsiteX49752" fmla="*/ 5239455 w 6884782"/>
              <a:gd name="connsiteY49752" fmla="*/ 1627698 h 5973007"/>
              <a:gd name="connsiteX49753" fmla="*/ 5240095 w 6884782"/>
              <a:gd name="connsiteY49753" fmla="*/ 1626987 h 5973007"/>
              <a:gd name="connsiteX49754" fmla="*/ 5236894 w 6884782"/>
              <a:gd name="connsiteY49754" fmla="*/ 1625991 h 5973007"/>
              <a:gd name="connsiteX49755" fmla="*/ 5239455 w 6884782"/>
              <a:gd name="connsiteY49755" fmla="*/ 1623288 h 5973007"/>
              <a:gd name="connsiteX49756" fmla="*/ 5240948 w 6884782"/>
              <a:gd name="connsiteY49756" fmla="*/ 1622861 h 5973007"/>
              <a:gd name="connsiteX49757" fmla="*/ 5241376 w 6884782"/>
              <a:gd name="connsiteY49757" fmla="*/ 1621865 h 5973007"/>
              <a:gd name="connsiteX49758" fmla="*/ 5242443 w 6884782"/>
              <a:gd name="connsiteY49758" fmla="*/ 1622435 h 5973007"/>
              <a:gd name="connsiteX49759" fmla="*/ 5245644 w 6884782"/>
              <a:gd name="connsiteY49759" fmla="*/ 1621438 h 5973007"/>
              <a:gd name="connsiteX49760" fmla="*/ 5247778 w 6884782"/>
              <a:gd name="connsiteY49760" fmla="*/ 1620016 h 5973007"/>
              <a:gd name="connsiteX49761" fmla="*/ 5247138 w 6884782"/>
              <a:gd name="connsiteY49761" fmla="*/ 1619589 h 5973007"/>
              <a:gd name="connsiteX49762" fmla="*/ 5246284 w 6884782"/>
              <a:gd name="connsiteY49762" fmla="*/ 1615890 h 5973007"/>
              <a:gd name="connsiteX49763" fmla="*/ 5247565 w 6884782"/>
              <a:gd name="connsiteY49763" fmla="*/ 1614609 h 5973007"/>
              <a:gd name="connsiteX49764" fmla="*/ 1426175 w 6884782"/>
              <a:gd name="connsiteY49764" fmla="*/ 1614197 h 5973007"/>
              <a:gd name="connsiteX49765" fmla="*/ 1427311 w 6884782"/>
              <a:gd name="connsiteY49765" fmla="*/ 1618379 h 5973007"/>
              <a:gd name="connsiteX49766" fmla="*/ 1421425 w 6884782"/>
              <a:gd name="connsiteY49766" fmla="*/ 1623491 h 5973007"/>
              <a:gd name="connsiteX49767" fmla="*/ 1419876 w 6884782"/>
              <a:gd name="connsiteY49767" fmla="*/ 1620238 h 5973007"/>
              <a:gd name="connsiteX49768" fmla="*/ 1424007 w 6884782"/>
              <a:gd name="connsiteY49768" fmla="*/ 1614352 h 5973007"/>
              <a:gd name="connsiteX49769" fmla="*/ 1426175 w 6884782"/>
              <a:gd name="connsiteY49769" fmla="*/ 1614197 h 5973007"/>
              <a:gd name="connsiteX49770" fmla="*/ 3925429 w 6884782"/>
              <a:gd name="connsiteY49770" fmla="*/ 1614041 h 5973007"/>
              <a:gd name="connsiteX49771" fmla="*/ 3929058 w 6884782"/>
              <a:gd name="connsiteY49771" fmla="*/ 1615036 h 5973007"/>
              <a:gd name="connsiteX49772" fmla="*/ 3928204 w 6884782"/>
              <a:gd name="connsiteY49772" fmla="*/ 1617455 h 5973007"/>
              <a:gd name="connsiteX49773" fmla="*/ 3922228 w 6884782"/>
              <a:gd name="connsiteY49773" fmla="*/ 1616744 h 5973007"/>
              <a:gd name="connsiteX49774" fmla="*/ 3923295 w 6884782"/>
              <a:gd name="connsiteY49774" fmla="*/ 1615463 h 5973007"/>
              <a:gd name="connsiteX49775" fmla="*/ 3922868 w 6884782"/>
              <a:gd name="connsiteY49775" fmla="*/ 1615179 h 5973007"/>
              <a:gd name="connsiteX49776" fmla="*/ 3925429 w 6884782"/>
              <a:gd name="connsiteY49776" fmla="*/ 1614041 h 5973007"/>
              <a:gd name="connsiteX49777" fmla="*/ 5638763 w 6884782"/>
              <a:gd name="connsiteY49777" fmla="*/ 1613899 h 5973007"/>
              <a:gd name="connsiteX49778" fmla="*/ 5642818 w 6884782"/>
              <a:gd name="connsiteY49778" fmla="*/ 1614609 h 5973007"/>
              <a:gd name="connsiteX49779" fmla="*/ 5644739 w 6884782"/>
              <a:gd name="connsiteY49779" fmla="*/ 1620443 h 5973007"/>
              <a:gd name="connsiteX49780" fmla="*/ 5639404 w 6884782"/>
              <a:gd name="connsiteY49780" fmla="*/ 1626133 h 5973007"/>
              <a:gd name="connsiteX49781" fmla="*/ 5639617 w 6884782"/>
              <a:gd name="connsiteY49781" fmla="*/ 1627129 h 5973007"/>
              <a:gd name="connsiteX49782" fmla="*/ 5628092 w 6884782"/>
              <a:gd name="connsiteY49782" fmla="*/ 1630402 h 5973007"/>
              <a:gd name="connsiteX49783" fmla="*/ 5625745 w 6884782"/>
              <a:gd name="connsiteY49783" fmla="*/ 1628837 h 5973007"/>
              <a:gd name="connsiteX49784" fmla="*/ 5625318 w 6884782"/>
              <a:gd name="connsiteY49784" fmla="*/ 1628837 h 5973007"/>
              <a:gd name="connsiteX49785" fmla="*/ 5626171 w 6884782"/>
              <a:gd name="connsiteY49785" fmla="*/ 1617881 h 5973007"/>
              <a:gd name="connsiteX49786" fmla="*/ 5629800 w 6884782"/>
              <a:gd name="connsiteY49786" fmla="*/ 1615179 h 5973007"/>
              <a:gd name="connsiteX49787" fmla="*/ 5634921 w 6884782"/>
              <a:gd name="connsiteY49787" fmla="*/ 1615036 h 5973007"/>
              <a:gd name="connsiteX49788" fmla="*/ 5638763 w 6884782"/>
              <a:gd name="connsiteY49788" fmla="*/ 1613899 h 5973007"/>
              <a:gd name="connsiteX49789" fmla="*/ 5809712 w 6884782"/>
              <a:gd name="connsiteY49789" fmla="*/ 1613614 h 5973007"/>
              <a:gd name="connsiteX49790" fmla="*/ 5810780 w 6884782"/>
              <a:gd name="connsiteY49790" fmla="*/ 1614325 h 5973007"/>
              <a:gd name="connsiteX49791" fmla="*/ 5810139 w 6884782"/>
              <a:gd name="connsiteY49791" fmla="*/ 1617171 h 5973007"/>
              <a:gd name="connsiteX49792" fmla="*/ 5805657 w 6884782"/>
              <a:gd name="connsiteY49792" fmla="*/ 1620016 h 5973007"/>
              <a:gd name="connsiteX49793" fmla="*/ 5794346 w 6884782"/>
              <a:gd name="connsiteY49793" fmla="*/ 1623146 h 5973007"/>
              <a:gd name="connsiteX49794" fmla="*/ 5791998 w 6884782"/>
              <a:gd name="connsiteY49794" fmla="*/ 1624568 h 5973007"/>
              <a:gd name="connsiteX49795" fmla="*/ 5809712 w 6884782"/>
              <a:gd name="connsiteY49795" fmla="*/ 1613614 h 5973007"/>
              <a:gd name="connsiteX49796" fmla="*/ 4853165 w 6884782"/>
              <a:gd name="connsiteY49796" fmla="*/ 1613329 h 5973007"/>
              <a:gd name="connsiteX49797" fmla="*/ 4855086 w 6884782"/>
              <a:gd name="connsiteY49797" fmla="*/ 1613471 h 5973007"/>
              <a:gd name="connsiteX49798" fmla="*/ 4855299 w 6884782"/>
              <a:gd name="connsiteY49798" fmla="*/ 1614467 h 5973007"/>
              <a:gd name="connsiteX49799" fmla="*/ 4852738 w 6884782"/>
              <a:gd name="connsiteY49799" fmla="*/ 1614467 h 5973007"/>
              <a:gd name="connsiteX49800" fmla="*/ 4853165 w 6884782"/>
              <a:gd name="connsiteY49800" fmla="*/ 1613329 h 5973007"/>
              <a:gd name="connsiteX49801" fmla="*/ 1217701 w 6884782"/>
              <a:gd name="connsiteY49801" fmla="*/ 1613267 h 5973007"/>
              <a:gd name="connsiteX49802" fmla="*/ 1218424 w 6884782"/>
              <a:gd name="connsiteY49802" fmla="*/ 1613577 h 5973007"/>
              <a:gd name="connsiteX49803" fmla="*/ 1211712 w 6884782"/>
              <a:gd name="connsiteY49803" fmla="*/ 1622097 h 5973007"/>
              <a:gd name="connsiteX49804" fmla="*/ 1209957 w 6884782"/>
              <a:gd name="connsiteY49804" fmla="*/ 1622406 h 5973007"/>
              <a:gd name="connsiteX49805" fmla="*/ 1208614 w 6884782"/>
              <a:gd name="connsiteY49805" fmla="*/ 1620702 h 5973007"/>
              <a:gd name="connsiteX49806" fmla="*/ 1208304 w 6884782"/>
              <a:gd name="connsiteY49806" fmla="*/ 1618843 h 5973007"/>
              <a:gd name="connsiteX49807" fmla="*/ 1210886 w 6884782"/>
              <a:gd name="connsiteY49807" fmla="*/ 1616830 h 5973007"/>
              <a:gd name="connsiteX49808" fmla="*/ 1215636 w 6884782"/>
              <a:gd name="connsiteY49808" fmla="*/ 1615126 h 5973007"/>
              <a:gd name="connsiteX49809" fmla="*/ 1217701 w 6884782"/>
              <a:gd name="connsiteY49809" fmla="*/ 1613267 h 5973007"/>
              <a:gd name="connsiteX49810" fmla="*/ 5315219 w 6884782"/>
              <a:gd name="connsiteY49810" fmla="*/ 1613187 h 5973007"/>
              <a:gd name="connsiteX49811" fmla="*/ 5324183 w 6884782"/>
              <a:gd name="connsiteY49811" fmla="*/ 1622861 h 5973007"/>
              <a:gd name="connsiteX49812" fmla="*/ 5320981 w 6884782"/>
              <a:gd name="connsiteY49812" fmla="*/ 1628125 h 5973007"/>
              <a:gd name="connsiteX49813" fmla="*/ 5322262 w 6884782"/>
              <a:gd name="connsiteY49813" fmla="*/ 1628267 h 5973007"/>
              <a:gd name="connsiteX49814" fmla="*/ 5324396 w 6884782"/>
              <a:gd name="connsiteY49814" fmla="*/ 1631113 h 5973007"/>
              <a:gd name="connsiteX49815" fmla="*/ 5326103 w 6884782"/>
              <a:gd name="connsiteY49815" fmla="*/ 1640076 h 5973007"/>
              <a:gd name="connsiteX49816" fmla="*/ 5318847 w 6884782"/>
              <a:gd name="connsiteY49816" fmla="*/ 1637373 h 5973007"/>
              <a:gd name="connsiteX49817" fmla="*/ 5317780 w 6884782"/>
              <a:gd name="connsiteY49817" fmla="*/ 1628837 h 5973007"/>
              <a:gd name="connsiteX49818" fmla="*/ 5313085 w 6884782"/>
              <a:gd name="connsiteY49818" fmla="*/ 1629548 h 5973007"/>
              <a:gd name="connsiteX49819" fmla="*/ 5308603 w 6884782"/>
              <a:gd name="connsiteY49819" fmla="*/ 1618878 h 5973007"/>
              <a:gd name="connsiteX49820" fmla="*/ 5315219 w 6884782"/>
              <a:gd name="connsiteY49820" fmla="*/ 1613187 h 5973007"/>
              <a:gd name="connsiteX49821" fmla="*/ 1132101 w 6884782"/>
              <a:gd name="connsiteY49821" fmla="*/ 1613112 h 5973007"/>
              <a:gd name="connsiteX49822" fmla="*/ 1142530 w 6884782"/>
              <a:gd name="connsiteY49822" fmla="*/ 1613732 h 5973007"/>
              <a:gd name="connsiteX49823" fmla="*/ 1142427 w 6884782"/>
              <a:gd name="connsiteY49823" fmla="*/ 1617295 h 5973007"/>
              <a:gd name="connsiteX49824" fmla="*/ 1131689 w 6884782"/>
              <a:gd name="connsiteY49824" fmla="*/ 1618379 h 5973007"/>
              <a:gd name="connsiteX49825" fmla="*/ 1132101 w 6884782"/>
              <a:gd name="connsiteY49825" fmla="*/ 1613112 h 5973007"/>
              <a:gd name="connsiteX49826" fmla="*/ 5054846 w 6884782"/>
              <a:gd name="connsiteY49826" fmla="*/ 1612902 h 5973007"/>
              <a:gd name="connsiteX49827" fmla="*/ 5062957 w 6884782"/>
              <a:gd name="connsiteY49827" fmla="*/ 1618593 h 5973007"/>
              <a:gd name="connsiteX49828" fmla="*/ 5061463 w 6884782"/>
              <a:gd name="connsiteY49828" fmla="*/ 1629832 h 5973007"/>
              <a:gd name="connsiteX49829" fmla="*/ 5045883 w 6884782"/>
              <a:gd name="connsiteY49829" fmla="*/ 1625991 h 5973007"/>
              <a:gd name="connsiteX49830" fmla="*/ 5054846 w 6884782"/>
              <a:gd name="connsiteY49830" fmla="*/ 1612902 h 5973007"/>
              <a:gd name="connsiteX49831" fmla="*/ 1385905 w 6884782"/>
              <a:gd name="connsiteY49831" fmla="*/ 1612493 h 5973007"/>
              <a:gd name="connsiteX49832" fmla="*/ 1384253 w 6884782"/>
              <a:gd name="connsiteY49832" fmla="*/ 1618843 h 5973007"/>
              <a:gd name="connsiteX49833" fmla="*/ 1384047 w 6884782"/>
              <a:gd name="connsiteY49833" fmla="*/ 1615591 h 5973007"/>
              <a:gd name="connsiteX49834" fmla="*/ 1385905 w 6884782"/>
              <a:gd name="connsiteY49834" fmla="*/ 1612493 h 5973007"/>
              <a:gd name="connsiteX49835" fmla="*/ 1154611 w 6884782"/>
              <a:gd name="connsiteY49835" fmla="*/ 1612338 h 5973007"/>
              <a:gd name="connsiteX49836" fmla="*/ 1163698 w 6884782"/>
              <a:gd name="connsiteY49836" fmla="*/ 1619463 h 5973007"/>
              <a:gd name="connsiteX49837" fmla="*/ 1165969 w 6884782"/>
              <a:gd name="connsiteY49837" fmla="*/ 1630616 h 5973007"/>
              <a:gd name="connsiteX49838" fmla="*/ 1168551 w 6884782"/>
              <a:gd name="connsiteY49838" fmla="*/ 1630616 h 5973007"/>
              <a:gd name="connsiteX49839" fmla="*/ 1169274 w 6884782"/>
              <a:gd name="connsiteY49839" fmla="*/ 1634333 h 5973007"/>
              <a:gd name="connsiteX49840" fmla="*/ 1167931 w 6884782"/>
              <a:gd name="connsiteY49840" fmla="*/ 1636037 h 5973007"/>
              <a:gd name="connsiteX49841" fmla="*/ 1173197 w 6884782"/>
              <a:gd name="connsiteY49841" fmla="*/ 1636502 h 5973007"/>
              <a:gd name="connsiteX49842" fmla="*/ 1166589 w 6884782"/>
              <a:gd name="connsiteY49842" fmla="*/ 1645641 h 5973007"/>
              <a:gd name="connsiteX49843" fmla="*/ 1163801 w 6884782"/>
              <a:gd name="connsiteY49843" fmla="*/ 1642853 h 5973007"/>
              <a:gd name="connsiteX49844" fmla="*/ 1163698 w 6884782"/>
              <a:gd name="connsiteY49844" fmla="*/ 1643317 h 5973007"/>
              <a:gd name="connsiteX49845" fmla="*/ 1159464 w 6884782"/>
              <a:gd name="connsiteY49845" fmla="*/ 1640065 h 5973007"/>
              <a:gd name="connsiteX49846" fmla="*/ 1158225 w 6884782"/>
              <a:gd name="connsiteY49846" fmla="*/ 1639755 h 5973007"/>
              <a:gd name="connsiteX49847" fmla="*/ 1156470 w 6884782"/>
              <a:gd name="connsiteY49847" fmla="*/ 1639600 h 5973007"/>
              <a:gd name="connsiteX49848" fmla="*/ 1159258 w 6884782"/>
              <a:gd name="connsiteY49848" fmla="*/ 1641923 h 5973007"/>
              <a:gd name="connsiteX49849" fmla="*/ 1163078 w 6884782"/>
              <a:gd name="connsiteY49849" fmla="*/ 1643627 h 5973007"/>
              <a:gd name="connsiteX49850" fmla="*/ 1163698 w 6884782"/>
              <a:gd name="connsiteY49850" fmla="*/ 1645796 h 5973007"/>
              <a:gd name="connsiteX49851" fmla="*/ 1163285 w 6884782"/>
              <a:gd name="connsiteY49851" fmla="*/ 1646570 h 5973007"/>
              <a:gd name="connsiteX49852" fmla="*/ 1161323 w 6884782"/>
              <a:gd name="connsiteY49852" fmla="*/ 1646415 h 5973007"/>
              <a:gd name="connsiteX49853" fmla="*/ 1154301 w 6884782"/>
              <a:gd name="connsiteY49853" fmla="*/ 1642388 h 5973007"/>
              <a:gd name="connsiteX49854" fmla="*/ 1152753 w 6884782"/>
              <a:gd name="connsiteY49854" fmla="*/ 1641768 h 5973007"/>
              <a:gd name="connsiteX49855" fmla="*/ 1152133 w 6884782"/>
              <a:gd name="connsiteY49855" fmla="*/ 1639445 h 5973007"/>
              <a:gd name="connsiteX49856" fmla="*/ 1156057 w 6884782"/>
              <a:gd name="connsiteY49856" fmla="*/ 1639600 h 5973007"/>
              <a:gd name="connsiteX49857" fmla="*/ 1154198 w 6884782"/>
              <a:gd name="connsiteY49857" fmla="*/ 1638361 h 5973007"/>
              <a:gd name="connsiteX49858" fmla="*/ 1155644 w 6884782"/>
              <a:gd name="connsiteY49858" fmla="*/ 1634488 h 5973007"/>
              <a:gd name="connsiteX49859" fmla="*/ 1155128 w 6884782"/>
              <a:gd name="connsiteY49859" fmla="*/ 1633714 h 5973007"/>
              <a:gd name="connsiteX49860" fmla="*/ 1153269 w 6884782"/>
              <a:gd name="connsiteY49860" fmla="*/ 1622406 h 5973007"/>
              <a:gd name="connsiteX49861" fmla="*/ 1158845 w 6884782"/>
              <a:gd name="connsiteY49861" fmla="*/ 1626588 h 5973007"/>
              <a:gd name="connsiteX49862" fmla="*/ 1161839 w 6884782"/>
              <a:gd name="connsiteY49862" fmla="*/ 1631235 h 5973007"/>
              <a:gd name="connsiteX49863" fmla="*/ 1164421 w 6884782"/>
              <a:gd name="connsiteY49863" fmla="*/ 1630771 h 5973007"/>
              <a:gd name="connsiteX49864" fmla="*/ 1160600 w 6884782"/>
              <a:gd name="connsiteY49864" fmla="*/ 1628292 h 5973007"/>
              <a:gd name="connsiteX49865" fmla="*/ 1154611 w 6884782"/>
              <a:gd name="connsiteY49865" fmla="*/ 1612338 h 5973007"/>
              <a:gd name="connsiteX49866" fmla="*/ 1575690 w 6884782"/>
              <a:gd name="connsiteY49866" fmla="*/ 1612028 h 5973007"/>
              <a:gd name="connsiteX49867" fmla="*/ 1574761 w 6884782"/>
              <a:gd name="connsiteY49867" fmla="*/ 1614662 h 5973007"/>
              <a:gd name="connsiteX49868" fmla="*/ 1569701 w 6884782"/>
              <a:gd name="connsiteY49868" fmla="*/ 1612803 h 5973007"/>
              <a:gd name="connsiteX49869" fmla="*/ 1575690 w 6884782"/>
              <a:gd name="connsiteY49869" fmla="*/ 1612028 h 5973007"/>
              <a:gd name="connsiteX49870" fmla="*/ 6213503 w 6884782"/>
              <a:gd name="connsiteY49870" fmla="*/ 1611195 h 5973007"/>
              <a:gd name="connsiteX49871" fmla="*/ 6177435 w 6884782"/>
              <a:gd name="connsiteY49871" fmla="*/ 1622861 h 5973007"/>
              <a:gd name="connsiteX49872" fmla="*/ 6213503 w 6884782"/>
              <a:gd name="connsiteY49872" fmla="*/ 1611195 h 5973007"/>
              <a:gd name="connsiteX49873" fmla="*/ 5940966 w 6884782"/>
              <a:gd name="connsiteY49873" fmla="*/ 1611195 h 5973007"/>
              <a:gd name="connsiteX49874" fmla="*/ 5942459 w 6884782"/>
              <a:gd name="connsiteY49874" fmla="*/ 1612476 h 5973007"/>
              <a:gd name="connsiteX49875" fmla="*/ 5936911 w 6884782"/>
              <a:gd name="connsiteY49875" fmla="*/ 1615179 h 5973007"/>
              <a:gd name="connsiteX49876" fmla="*/ 5940966 w 6884782"/>
              <a:gd name="connsiteY49876" fmla="*/ 1611195 h 5973007"/>
              <a:gd name="connsiteX49877" fmla="*/ 5337201 w 6884782"/>
              <a:gd name="connsiteY49877" fmla="*/ 1610484 h 5973007"/>
              <a:gd name="connsiteX49878" fmla="*/ 5339549 w 6884782"/>
              <a:gd name="connsiteY49878" fmla="*/ 1611480 h 5973007"/>
              <a:gd name="connsiteX49879" fmla="*/ 5332292 w 6884782"/>
              <a:gd name="connsiteY49879" fmla="*/ 1611195 h 5973007"/>
              <a:gd name="connsiteX49880" fmla="*/ 5337201 w 6884782"/>
              <a:gd name="connsiteY49880" fmla="*/ 1610484 h 5973007"/>
              <a:gd name="connsiteX49881" fmla="*/ 1743468 w 6884782"/>
              <a:gd name="connsiteY49881" fmla="*/ 1610227 h 5973007"/>
              <a:gd name="connsiteX49882" fmla="*/ 1748954 w 6884782"/>
              <a:gd name="connsiteY49882" fmla="*/ 1614816 h 5973007"/>
              <a:gd name="connsiteX49883" fmla="*/ 1746786 w 6884782"/>
              <a:gd name="connsiteY49883" fmla="*/ 1622561 h 5973007"/>
              <a:gd name="connsiteX49884" fmla="*/ 1735737 w 6884782"/>
              <a:gd name="connsiteY49884" fmla="*/ 1618534 h 5973007"/>
              <a:gd name="connsiteX49885" fmla="*/ 1743468 w 6884782"/>
              <a:gd name="connsiteY49885" fmla="*/ 1610227 h 5973007"/>
              <a:gd name="connsiteX49886" fmla="*/ 5911727 w 6884782"/>
              <a:gd name="connsiteY49886" fmla="*/ 1610057 h 5973007"/>
              <a:gd name="connsiteX49887" fmla="*/ 5936057 w 6884782"/>
              <a:gd name="connsiteY49887" fmla="*/ 1626418 h 5973007"/>
              <a:gd name="connsiteX49888" fmla="*/ 5937978 w 6884782"/>
              <a:gd name="connsiteY49888" fmla="*/ 1649750 h 5973007"/>
              <a:gd name="connsiteX49889" fmla="*/ 5937551 w 6884782"/>
              <a:gd name="connsiteY49889" fmla="*/ 1650888 h 5973007"/>
              <a:gd name="connsiteX49890" fmla="*/ 5939045 w 6884782"/>
              <a:gd name="connsiteY49890" fmla="*/ 1649466 h 5973007"/>
              <a:gd name="connsiteX49891" fmla="*/ 5941606 w 6884782"/>
              <a:gd name="connsiteY49891" fmla="*/ 1649607 h 5973007"/>
              <a:gd name="connsiteX49892" fmla="*/ 5946942 w 6884782"/>
              <a:gd name="connsiteY49892" fmla="*/ 1651599 h 5973007"/>
              <a:gd name="connsiteX49893" fmla="*/ 5946515 w 6884782"/>
              <a:gd name="connsiteY49893" fmla="*/ 1656010 h 5973007"/>
              <a:gd name="connsiteX49894" fmla="*/ 5942246 w 6884782"/>
              <a:gd name="connsiteY49894" fmla="*/ 1659140 h 5973007"/>
              <a:gd name="connsiteX49895" fmla="*/ 5932856 w 6884782"/>
              <a:gd name="connsiteY49895" fmla="*/ 1659140 h 5973007"/>
              <a:gd name="connsiteX49896" fmla="*/ 5933283 w 6884782"/>
              <a:gd name="connsiteY49896" fmla="*/ 1657006 h 5973007"/>
              <a:gd name="connsiteX49897" fmla="*/ 5921758 w 6884782"/>
              <a:gd name="connsiteY49897" fmla="*/ 1655583 h 5973007"/>
              <a:gd name="connsiteX49898" fmla="*/ 5912581 w 6884782"/>
              <a:gd name="connsiteY49898" fmla="*/ 1649466 h 5973007"/>
              <a:gd name="connsiteX49899" fmla="*/ 5908739 w 6884782"/>
              <a:gd name="connsiteY49899" fmla="*/ 1643917 h 5973007"/>
              <a:gd name="connsiteX49900" fmla="*/ 5907672 w 6884782"/>
              <a:gd name="connsiteY49900" fmla="*/ 1648897 h 5973007"/>
              <a:gd name="connsiteX49901" fmla="*/ 5896574 w 6884782"/>
              <a:gd name="connsiteY49901" fmla="*/ 1665969 h 5973007"/>
              <a:gd name="connsiteX49902" fmla="*/ 5888251 w 6884782"/>
              <a:gd name="connsiteY49902" fmla="*/ 1652738 h 5973007"/>
              <a:gd name="connsiteX49903" fmla="*/ 5904044 w 6884782"/>
              <a:gd name="connsiteY49903" fmla="*/ 1631397 h 5973007"/>
              <a:gd name="connsiteX49904" fmla="*/ 5904684 w 6884782"/>
              <a:gd name="connsiteY49904" fmla="*/ 1631397 h 5973007"/>
              <a:gd name="connsiteX49905" fmla="*/ 5905111 w 6884782"/>
              <a:gd name="connsiteY49905" fmla="*/ 1622008 h 5973007"/>
              <a:gd name="connsiteX49906" fmla="*/ 5908312 w 6884782"/>
              <a:gd name="connsiteY49906" fmla="*/ 1611622 h 5973007"/>
              <a:gd name="connsiteX49907" fmla="*/ 5911727 w 6884782"/>
              <a:gd name="connsiteY49907" fmla="*/ 1610057 h 5973007"/>
              <a:gd name="connsiteX49908" fmla="*/ 5616141 w 6884782"/>
              <a:gd name="connsiteY49908" fmla="*/ 1609772 h 5973007"/>
              <a:gd name="connsiteX49909" fmla="*/ 5621690 w 6884782"/>
              <a:gd name="connsiteY49909" fmla="*/ 1623857 h 5973007"/>
              <a:gd name="connsiteX49910" fmla="*/ 5625318 w 6884782"/>
              <a:gd name="connsiteY49910" fmla="*/ 1637373 h 5973007"/>
              <a:gd name="connsiteX49911" fmla="*/ 5623824 w 6884782"/>
              <a:gd name="connsiteY49911" fmla="*/ 1641498 h 5973007"/>
              <a:gd name="connsiteX49912" fmla="*/ 5624464 w 6884782"/>
              <a:gd name="connsiteY49912" fmla="*/ 1641925 h 5973007"/>
              <a:gd name="connsiteX49913" fmla="*/ 5619982 w 6884782"/>
              <a:gd name="connsiteY49913" fmla="*/ 1648897 h 5973007"/>
              <a:gd name="connsiteX49914" fmla="*/ 5616994 w 6884782"/>
              <a:gd name="connsiteY49914" fmla="*/ 1645624 h 5973007"/>
              <a:gd name="connsiteX49915" fmla="*/ 5614647 w 6884782"/>
              <a:gd name="connsiteY49915" fmla="*/ 1646193 h 5973007"/>
              <a:gd name="connsiteX49916" fmla="*/ 5613580 w 6884782"/>
              <a:gd name="connsiteY49916" fmla="*/ 1654587 h 5973007"/>
              <a:gd name="connsiteX49917" fmla="*/ 5610805 w 6884782"/>
              <a:gd name="connsiteY49917" fmla="*/ 1662555 h 5973007"/>
              <a:gd name="connsiteX49918" fmla="*/ 5607177 w 6884782"/>
              <a:gd name="connsiteY49918" fmla="*/ 1631539 h 5973007"/>
              <a:gd name="connsiteX49919" fmla="*/ 5612939 w 6884782"/>
              <a:gd name="connsiteY49919" fmla="*/ 1637373 h 5973007"/>
              <a:gd name="connsiteX49920" fmla="*/ 5613153 w 6884782"/>
              <a:gd name="connsiteY49920" fmla="*/ 1638511 h 5973007"/>
              <a:gd name="connsiteX49921" fmla="*/ 5613366 w 6884782"/>
              <a:gd name="connsiteY49921" fmla="*/ 1636661 h 5973007"/>
              <a:gd name="connsiteX49922" fmla="*/ 5616141 w 6884782"/>
              <a:gd name="connsiteY49922" fmla="*/ 1609772 h 5973007"/>
              <a:gd name="connsiteX49923" fmla="*/ 1299170 w 6884782"/>
              <a:gd name="connsiteY49923" fmla="*/ 1609550 h 5973007"/>
              <a:gd name="connsiteX49924" fmla="*/ 1299480 w 6884782"/>
              <a:gd name="connsiteY49924" fmla="*/ 1617605 h 5973007"/>
              <a:gd name="connsiteX49925" fmla="*/ 1291632 w 6884782"/>
              <a:gd name="connsiteY49925" fmla="*/ 1622561 h 5973007"/>
              <a:gd name="connsiteX49926" fmla="*/ 1291529 w 6884782"/>
              <a:gd name="connsiteY49926" fmla="*/ 1618069 h 5973007"/>
              <a:gd name="connsiteX49927" fmla="*/ 1299170 w 6884782"/>
              <a:gd name="connsiteY49927" fmla="*/ 1609550 h 5973007"/>
              <a:gd name="connsiteX49928" fmla="*/ 1659508 w 6884782"/>
              <a:gd name="connsiteY49928" fmla="*/ 1609104 h 5973007"/>
              <a:gd name="connsiteX49929" fmla="*/ 1663355 w 6884782"/>
              <a:gd name="connsiteY49929" fmla="*/ 1611254 h 5973007"/>
              <a:gd name="connsiteX49930" fmla="*/ 1661290 w 6884782"/>
              <a:gd name="connsiteY49930" fmla="*/ 1612958 h 5973007"/>
              <a:gd name="connsiteX49931" fmla="*/ 1667795 w 6884782"/>
              <a:gd name="connsiteY49931" fmla="*/ 1616365 h 5973007"/>
              <a:gd name="connsiteX49932" fmla="*/ 1664800 w 6884782"/>
              <a:gd name="connsiteY49932" fmla="*/ 1632320 h 5973007"/>
              <a:gd name="connsiteX49933" fmla="*/ 1660154 w 6884782"/>
              <a:gd name="connsiteY49933" fmla="*/ 1626898 h 5973007"/>
              <a:gd name="connsiteX49934" fmla="*/ 1659328 w 6884782"/>
              <a:gd name="connsiteY49934" fmla="*/ 1628602 h 5973007"/>
              <a:gd name="connsiteX49935" fmla="*/ 1655610 w 6884782"/>
              <a:gd name="connsiteY49935" fmla="*/ 1629531 h 5973007"/>
              <a:gd name="connsiteX49936" fmla="*/ 1655714 w 6884782"/>
              <a:gd name="connsiteY49936" fmla="*/ 1629841 h 5973007"/>
              <a:gd name="connsiteX49937" fmla="*/ 1649828 w 6884782"/>
              <a:gd name="connsiteY49937" fmla="*/ 1633559 h 5973007"/>
              <a:gd name="connsiteX49938" fmla="*/ 1645388 w 6884782"/>
              <a:gd name="connsiteY49938" fmla="*/ 1626743 h 5973007"/>
              <a:gd name="connsiteX49939" fmla="*/ 1655094 w 6884782"/>
              <a:gd name="connsiteY49939" fmla="*/ 1623181 h 5973007"/>
              <a:gd name="connsiteX49940" fmla="*/ 1655094 w 6884782"/>
              <a:gd name="connsiteY49940" fmla="*/ 1623955 h 5973007"/>
              <a:gd name="connsiteX49941" fmla="*/ 1655817 w 6884782"/>
              <a:gd name="connsiteY49941" fmla="*/ 1622252 h 5973007"/>
              <a:gd name="connsiteX49942" fmla="*/ 1656333 w 6884782"/>
              <a:gd name="connsiteY49942" fmla="*/ 1622097 h 5973007"/>
              <a:gd name="connsiteX49943" fmla="*/ 1653029 w 6884782"/>
              <a:gd name="connsiteY49943" fmla="*/ 1616985 h 5973007"/>
              <a:gd name="connsiteX49944" fmla="*/ 1656436 w 6884782"/>
              <a:gd name="connsiteY49944" fmla="*/ 1613422 h 5973007"/>
              <a:gd name="connsiteX49945" fmla="*/ 1657985 w 6884782"/>
              <a:gd name="connsiteY49945" fmla="*/ 1613112 h 5973007"/>
              <a:gd name="connsiteX49946" fmla="*/ 1656436 w 6884782"/>
              <a:gd name="connsiteY49946" fmla="*/ 1612648 h 5973007"/>
              <a:gd name="connsiteX49947" fmla="*/ 1659508 w 6884782"/>
              <a:gd name="connsiteY49947" fmla="*/ 1609104 h 5973007"/>
              <a:gd name="connsiteX49948" fmla="*/ 1273769 w 6884782"/>
              <a:gd name="connsiteY49948" fmla="*/ 1608930 h 5973007"/>
              <a:gd name="connsiteX49949" fmla="*/ 1275731 w 6884782"/>
              <a:gd name="connsiteY49949" fmla="*/ 1610324 h 5973007"/>
              <a:gd name="connsiteX49950" fmla="*/ 1276247 w 6884782"/>
              <a:gd name="connsiteY49950" fmla="*/ 1610324 h 5973007"/>
              <a:gd name="connsiteX49951" fmla="*/ 1273769 w 6884782"/>
              <a:gd name="connsiteY49951" fmla="*/ 1620393 h 5973007"/>
              <a:gd name="connsiteX49952" fmla="*/ 1272324 w 6884782"/>
              <a:gd name="connsiteY49952" fmla="*/ 1619773 h 5973007"/>
              <a:gd name="connsiteX49953" fmla="*/ 1272427 w 6884782"/>
              <a:gd name="connsiteY49953" fmla="*/ 1621632 h 5973007"/>
              <a:gd name="connsiteX49954" fmla="*/ 1271910 w 6884782"/>
              <a:gd name="connsiteY49954" fmla="*/ 1624265 h 5973007"/>
              <a:gd name="connsiteX49955" fmla="*/ 1265715 w 6884782"/>
              <a:gd name="connsiteY49955" fmla="*/ 1624885 h 5973007"/>
              <a:gd name="connsiteX49956" fmla="*/ 1263650 w 6884782"/>
              <a:gd name="connsiteY49956" fmla="*/ 1622871 h 5973007"/>
              <a:gd name="connsiteX49957" fmla="*/ 1262204 w 6884782"/>
              <a:gd name="connsiteY49957" fmla="*/ 1617914 h 5973007"/>
              <a:gd name="connsiteX49958" fmla="*/ 1261481 w 6884782"/>
              <a:gd name="connsiteY49958" fmla="*/ 1618224 h 5973007"/>
              <a:gd name="connsiteX49959" fmla="*/ 1265715 w 6884782"/>
              <a:gd name="connsiteY49959" fmla="*/ 1615591 h 5973007"/>
              <a:gd name="connsiteX49960" fmla="*/ 1266334 w 6884782"/>
              <a:gd name="connsiteY49960" fmla="*/ 1615901 h 5973007"/>
              <a:gd name="connsiteX49961" fmla="*/ 1265715 w 6884782"/>
              <a:gd name="connsiteY49961" fmla="*/ 1615281 h 5973007"/>
              <a:gd name="connsiteX49962" fmla="*/ 1269535 w 6884782"/>
              <a:gd name="connsiteY49962" fmla="*/ 1610634 h 5973007"/>
              <a:gd name="connsiteX49963" fmla="*/ 1272736 w 6884782"/>
              <a:gd name="connsiteY49963" fmla="*/ 1610479 h 5973007"/>
              <a:gd name="connsiteX49964" fmla="*/ 4666636 w 6884782"/>
              <a:gd name="connsiteY49964" fmla="*/ 1608919 h 5973007"/>
              <a:gd name="connsiteX49965" fmla="*/ 4669838 w 6884782"/>
              <a:gd name="connsiteY49965" fmla="*/ 1610199 h 5973007"/>
              <a:gd name="connsiteX49966" fmla="*/ 4668557 w 6884782"/>
              <a:gd name="connsiteY49966" fmla="*/ 1615036 h 5973007"/>
              <a:gd name="connsiteX49967" fmla="*/ 4665142 w 6884782"/>
              <a:gd name="connsiteY49967" fmla="*/ 1615748 h 5973007"/>
              <a:gd name="connsiteX49968" fmla="*/ 4665142 w 6884782"/>
              <a:gd name="connsiteY49968" fmla="*/ 1614609 h 5973007"/>
              <a:gd name="connsiteX49969" fmla="*/ 4664075 w 6884782"/>
              <a:gd name="connsiteY49969" fmla="*/ 1609488 h 5973007"/>
              <a:gd name="connsiteX49970" fmla="*/ 4666636 w 6884782"/>
              <a:gd name="connsiteY49970" fmla="*/ 1608919 h 5973007"/>
              <a:gd name="connsiteX49971" fmla="*/ 4890300 w 6884782"/>
              <a:gd name="connsiteY49971" fmla="*/ 1608777 h 5973007"/>
              <a:gd name="connsiteX49972" fmla="*/ 4892221 w 6884782"/>
              <a:gd name="connsiteY49972" fmla="*/ 1609488 h 5973007"/>
              <a:gd name="connsiteX49973" fmla="*/ 4894142 w 6884782"/>
              <a:gd name="connsiteY49973" fmla="*/ 1610626 h 5973007"/>
              <a:gd name="connsiteX49974" fmla="*/ 4892007 w 6884782"/>
              <a:gd name="connsiteY49974" fmla="*/ 1621154 h 5973007"/>
              <a:gd name="connsiteX49975" fmla="*/ 4882190 w 6884782"/>
              <a:gd name="connsiteY49975" fmla="*/ 1619446 h 5973007"/>
              <a:gd name="connsiteX49976" fmla="*/ 4882190 w 6884782"/>
              <a:gd name="connsiteY49976" fmla="*/ 1616744 h 5973007"/>
              <a:gd name="connsiteX49977" fmla="*/ 4882617 w 6884782"/>
              <a:gd name="connsiteY49977" fmla="*/ 1613899 h 5973007"/>
              <a:gd name="connsiteX49978" fmla="*/ 4886885 w 6884782"/>
              <a:gd name="connsiteY49978" fmla="*/ 1609061 h 5973007"/>
              <a:gd name="connsiteX49979" fmla="*/ 4890300 w 6884782"/>
              <a:gd name="connsiteY49979" fmla="*/ 1608777 h 5973007"/>
              <a:gd name="connsiteX49980" fmla="*/ 4196045 w 6884782"/>
              <a:gd name="connsiteY49980" fmla="*/ 1608634 h 5973007"/>
              <a:gd name="connsiteX49981" fmla="*/ 4199460 w 6884782"/>
              <a:gd name="connsiteY49981" fmla="*/ 1610910 h 5973007"/>
              <a:gd name="connsiteX49982" fmla="*/ 4198606 w 6884782"/>
              <a:gd name="connsiteY49982" fmla="*/ 1615179 h 5973007"/>
              <a:gd name="connsiteX49983" fmla="*/ 4194765 w 6884782"/>
              <a:gd name="connsiteY49983" fmla="*/ 1618308 h 5973007"/>
              <a:gd name="connsiteX49984" fmla="*/ 4189216 w 6884782"/>
              <a:gd name="connsiteY49984" fmla="*/ 1610626 h 5973007"/>
              <a:gd name="connsiteX49985" fmla="*/ 4196045 w 6884782"/>
              <a:gd name="connsiteY49985" fmla="*/ 1608634 h 5973007"/>
              <a:gd name="connsiteX49986" fmla="*/ 5780474 w 6884782"/>
              <a:gd name="connsiteY49986" fmla="*/ 1608207 h 5973007"/>
              <a:gd name="connsiteX49987" fmla="*/ 5792212 w 6884782"/>
              <a:gd name="connsiteY49987" fmla="*/ 1620158 h 5973007"/>
              <a:gd name="connsiteX49988" fmla="*/ 5785169 w 6884782"/>
              <a:gd name="connsiteY49988" fmla="*/ 1617171 h 5973007"/>
              <a:gd name="connsiteX49989" fmla="*/ 5778980 w 6884782"/>
              <a:gd name="connsiteY49989" fmla="*/ 1608634 h 5973007"/>
              <a:gd name="connsiteX49990" fmla="*/ 5780474 w 6884782"/>
              <a:gd name="connsiteY49990" fmla="*/ 1608207 h 5973007"/>
              <a:gd name="connsiteX49991" fmla="*/ 4069488 w 6884782"/>
              <a:gd name="connsiteY49991" fmla="*/ 1608207 h 5973007"/>
              <a:gd name="connsiteX49992" fmla="*/ 4069914 w 6884782"/>
              <a:gd name="connsiteY49992" fmla="*/ 1609061 h 5973007"/>
              <a:gd name="connsiteX49993" fmla="*/ 4069061 w 6884782"/>
              <a:gd name="connsiteY49993" fmla="*/ 1613614 h 5973007"/>
              <a:gd name="connsiteX49994" fmla="*/ 4068847 w 6884782"/>
              <a:gd name="connsiteY49994" fmla="*/ 1609061 h 5973007"/>
              <a:gd name="connsiteX49995" fmla="*/ 4069488 w 6884782"/>
              <a:gd name="connsiteY49995" fmla="*/ 1608207 h 5973007"/>
              <a:gd name="connsiteX49996" fmla="*/ 1105048 w 6884782"/>
              <a:gd name="connsiteY49996" fmla="*/ 1607304 h 5973007"/>
              <a:gd name="connsiteX49997" fmla="*/ 1111450 w 6884782"/>
              <a:gd name="connsiteY49997" fmla="*/ 1609705 h 5973007"/>
              <a:gd name="connsiteX49998" fmla="*/ 1114341 w 6884782"/>
              <a:gd name="connsiteY49998" fmla="*/ 1613577 h 5973007"/>
              <a:gd name="connsiteX49999" fmla="*/ 1112896 w 6884782"/>
              <a:gd name="connsiteY49999" fmla="*/ 1619618 h 5973007"/>
              <a:gd name="connsiteX50000" fmla="*/ 1109901 w 6884782"/>
              <a:gd name="connsiteY50000" fmla="*/ 1621632 h 5973007"/>
              <a:gd name="connsiteX50001" fmla="*/ 1111244 w 6884782"/>
              <a:gd name="connsiteY50001" fmla="*/ 1623336 h 5973007"/>
              <a:gd name="connsiteX50002" fmla="*/ 1104842 w 6884782"/>
              <a:gd name="connsiteY50002" fmla="*/ 1636502 h 5973007"/>
              <a:gd name="connsiteX50003" fmla="*/ 1104326 w 6884782"/>
              <a:gd name="connsiteY50003" fmla="*/ 1636657 h 5973007"/>
              <a:gd name="connsiteX50004" fmla="*/ 1108766 w 6884782"/>
              <a:gd name="connsiteY50004" fmla="*/ 1640684 h 5973007"/>
              <a:gd name="connsiteX50005" fmla="*/ 1098027 w 6884782"/>
              <a:gd name="connsiteY50005" fmla="*/ 1649358 h 5973007"/>
              <a:gd name="connsiteX50006" fmla="*/ 1095239 w 6884782"/>
              <a:gd name="connsiteY50006" fmla="*/ 1644866 h 5973007"/>
              <a:gd name="connsiteX50007" fmla="*/ 1097510 w 6884782"/>
              <a:gd name="connsiteY50007" fmla="*/ 1638515 h 5973007"/>
              <a:gd name="connsiteX50008" fmla="*/ 1098750 w 6884782"/>
              <a:gd name="connsiteY50008" fmla="*/ 1638051 h 5973007"/>
              <a:gd name="connsiteX50009" fmla="*/ 1095962 w 6884782"/>
              <a:gd name="connsiteY50009" fmla="*/ 1634798 h 5973007"/>
              <a:gd name="connsiteX50010" fmla="*/ 1092348 w 6884782"/>
              <a:gd name="connsiteY50010" fmla="*/ 1629376 h 5973007"/>
              <a:gd name="connsiteX50011" fmla="*/ 1091109 w 6884782"/>
              <a:gd name="connsiteY50011" fmla="*/ 1624110 h 5973007"/>
              <a:gd name="connsiteX50012" fmla="*/ 1091315 w 6884782"/>
              <a:gd name="connsiteY50012" fmla="*/ 1623026 h 5973007"/>
              <a:gd name="connsiteX50013" fmla="*/ 1091109 w 6884782"/>
              <a:gd name="connsiteY50013" fmla="*/ 1623336 h 5973007"/>
              <a:gd name="connsiteX50014" fmla="*/ 1085533 w 6884782"/>
              <a:gd name="connsiteY50014" fmla="*/ 1626743 h 5973007"/>
              <a:gd name="connsiteX50015" fmla="*/ 1086153 w 6884782"/>
              <a:gd name="connsiteY50015" fmla="*/ 1624265 h 5973007"/>
              <a:gd name="connsiteX50016" fmla="*/ 1087082 w 6884782"/>
              <a:gd name="connsiteY50016" fmla="*/ 1623181 h 5973007"/>
              <a:gd name="connsiteX50017" fmla="*/ 1086978 w 6884782"/>
              <a:gd name="connsiteY50017" fmla="*/ 1622406 h 5973007"/>
              <a:gd name="connsiteX50018" fmla="*/ 1087908 w 6884782"/>
              <a:gd name="connsiteY50018" fmla="*/ 1622252 h 5973007"/>
              <a:gd name="connsiteX50019" fmla="*/ 1089457 w 6884782"/>
              <a:gd name="connsiteY50019" fmla="*/ 1620393 h 5973007"/>
              <a:gd name="connsiteX50020" fmla="*/ 1091728 w 6884782"/>
              <a:gd name="connsiteY50020" fmla="*/ 1614971 h 5973007"/>
              <a:gd name="connsiteX50021" fmla="*/ 1096788 w 6884782"/>
              <a:gd name="connsiteY50021" fmla="*/ 1610789 h 5973007"/>
              <a:gd name="connsiteX50022" fmla="*/ 1098543 w 6884782"/>
              <a:gd name="connsiteY50022" fmla="*/ 1612338 h 5973007"/>
              <a:gd name="connsiteX50023" fmla="*/ 1100195 w 6884782"/>
              <a:gd name="connsiteY50023" fmla="*/ 1610479 h 5973007"/>
              <a:gd name="connsiteX50024" fmla="*/ 1105048 w 6884782"/>
              <a:gd name="connsiteY50024" fmla="*/ 1607304 h 5973007"/>
              <a:gd name="connsiteX50025" fmla="*/ 4948564 w 6884782"/>
              <a:gd name="connsiteY50025" fmla="*/ 1607070 h 5973007"/>
              <a:gd name="connsiteX50026" fmla="*/ 4953472 w 6884782"/>
              <a:gd name="connsiteY50026" fmla="*/ 1611195 h 5973007"/>
              <a:gd name="connsiteX50027" fmla="*/ 4952192 w 6884782"/>
              <a:gd name="connsiteY50027" fmla="*/ 1622292 h 5973007"/>
              <a:gd name="connsiteX50028" fmla="*/ 4947924 w 6884782"/>
              <a:gd name="connsiteY50028" fmla="*/ 1619873 h 5973007"/>
              <a:gd name="connsiteX50029" fmla="*/ 4946643 w 6884782"/>
              <a:gd name="connsiteY50029" fmla="*/ 1609204 h 5973007"/>
              <a:gd name="connsiteX50030" fmla="*/ 4948564 w 6884782"/>
              <a:gd name="connsiteY50030" fmla="*/ 1607070 h 5973007"/>
              <a:gd name="connsiteX50031" fmla="*/ 5161556 w 6884782"/>
              <a:gd name="connsiteY50031" fmla="*/ 1606785 h 5973007"/>
              <a:gd name="connsiteX50032" fmla="*/ 5164758 w 6884782"/>
              <a:gd name="connsiteY50032" fmla="*/ 1606927 h 5973007"/>
              <a:gd name="connsiteX50033" fmla="*/ 5176496 w 6884782"/>
              <a:gd name="connsiteY50033" fmla="*/ 1612476 h 5973007"/>
              <a:gd name="connsiteX50034" fmla="*/ 5175642 w 6884782"/>
              <a:gd name="connsiteY50034" fmla="*/ 1618736 h 5973007"/>
              <a:gd name="connsiteX50035" fmla="*/ 5175002 w 6884782"/>
              <a:gd name="connsiteY50035" fmla="*/ 1619020 h 5973007"/>
              <a:gd name="connsiteX50036" fmla="*/ 5164758 w 6884782"/>
              <a:gd name="connsiteY50036" fmla="*/ 1627129 h 5973007"/>
              <a:gd name="connsiteX50037" fmla="*/ 5157502 w 6884782"/>
              <a:gd name="connsiteY50037" fmla="*/ 1625707 h 5973007"/>
              <a:gd name="connsiteX50038" fmla="*/ 5157928 w 6884782"/>
              <a:gd name="connsiteY50038" fmla="*/ 1621865 h 5973007"/>
              <a:gd name="connsiteX50039" fmla="*/ 5162837 w 6884782"/>
              <a:gd name="connsiteY50039" fmla="*/ 1618308 h 5973007"/>
              <a:gd name="connsiteX50040" fmla="*/ 5160490 w 6884782"/>
              <a:gd name="connsiteY50040" fmla="*/ 1617313 h 5973007"/>
              <a:gd name="connsiteX50041" fmla="*/ 5156435 w 6884782"/>
              <a:gd name="connsiteY50041" fmla="*/ 1612476 h 5973007"/>
              <a:gd name="connsiteX50042" fmla="*/ 5161556 w 6884782"/>
              <a:gd name="connsiteY50042" fmla="*/ 1606785 h 5973007"/>
              <a:gd name="connsiteX50043" fmla="*/ 3509901 w 6884782"/>
              <a:gd name="connsiteY50043" fmla="*/ 1606073 h 5973007"/>
              <a:gd name="connsiteX50044" fmla="*/ 3514383 w 6884782"/>
              <a:gd name="connsiteY50044" fmla="*/ 1606358 h 5973007"/>
              <a:gd name="connsiteX50045" fmla="*/ 3531670 w 6884782"/>
              <a:gd name="connsiteY50045" fmla="*/ 1624710 h 5973007"/>
              <a:gd name="connsiteX50046" fmla="*/ 3517157 w 6884782"/>
              <a:gd name="connsiteY50046" fmla="*/ 1619020 h 5973007"/>
              <a:gd name="connsiteX50047" fmla="*/ 3504992 w 6884782"/>
              <a:gd name="connsiteY50047" fmla="*/ 1607212 h 5973007"/>
              <a:gd name="connsiteX50048" fmla="*/ 3509901 w 6884782"/>
              <a:gd name="connsiteY50048" fmla="*/ 1606073 h 5973007"/>
              <a:gd name="connsiteX50049" fmla="*/ 1437327 w 6884782"/>
              <a:gd name="connsiteY50049" fmla="*/ 1605832 h 5973007"/>
              <a:gd name="connsiteX50050" fmla="*/ 1442386 w 6884782"/>
              <a:gd name="connsiteY50050" fmla="*/ 1606917 h 5973007"/>
              <a:gd name="connsiteX50051" fmla="*/ 1442799 w 6884782"/>
              <a:gd name="connsiteY50051" fmla="*/ 1607691 h 5973007"/>
              <a:gd name="connsiteX50052" fmla="*/ 1443729 w 6884782"/>
              <a:gd name="connsiteY50052" fmla="*/ 1607691 h 5973007"/>
              <a:gd name="connsiteX50053" fmla="*/ 1449201 w 6884782"/>
              <a:gd name="connsiteY50053" fmla="*/ 1612493 h 5973007"/>
              <a:gd name="connsiteX50054" fmla="*/ 1448892 w 6884782"/>
              <a:gd name="connsiteY50054" fmla="*/ 1613267 h 5973007"/>
              <a:gd name="connsiteX50055" fmla="*/ 1454261 w 6884782"/>
              <a:gd name="connsiteY50055" fmla="*/ 1613887 h 5973007"/>
              <a:gd name="connsiteX50056" fmla="*/ 1454364 w 6884782"/>
              <a:gd name="connsiteY50056" fmla="*/ 1614971 h 5973007"/>
              <a:gd name="connsiteX50057" fmla="*/ 1455809 w 6884782"/>
              <a:gd name="connsiteY50057" fmla="*/ 1613577 h 5973007"/>
              <a:gd name="connsiteX50058" fmla="*/ 1459940 w 6884782"/>
              <a:gd name="connsiteY50058" fmla="*/ 1617759 h 5973007"/>
              <a:gd name="connsiteX50059" fmla="*/ 1454054 w 6884782"/>
              <a:gd name="connsiteY50059" fmla="*/ 1620702 h 5973007"/>
              <a:gd name="connsiteX50060" fmla="*/ 1453641 w 6884782"/>
              <a:gd name="connsiteY50060" fmla="*/ 1619773 h 5973007"/>
              <a:gd name="connsiteX50061" fmla="*/ 1453332 w 6884782"/>
              <a:gd name="connsiteY50061" fmla="*/ 1620548 h 5973007"/>
              <a:gd name="connsiteX50062" fmla="*/ 1449201 w 6884782"/>
              <a:gd name="connsiteY50062" fmla="*/ 1625504 h 5973007"/>
              <a:gd name="connsiteX50063" fmla="*/ 1447859 w 6884782"/>
              <a:gd name="connsiteY50063" fmla="*/ 1626898 h 5973007"/>
              <a:gd name="connsiteX50064" fmla="*/ 1448582 w 6884782"/>
              <a:gd name="connsiteY50064" fmla="*/ 1627363 h 5973007"/>
              <a:gd name="connsiteX50065" fmla="*/ 1447342 w 6884782"/>
              <a:gd name="connsiteY50065" fmla="*/ 1627673 h 5973007"/>
              <a:gd name="connsiteX50066" fmla="*/ 1447239 w 6884782"/>
              <a:gd name="connsiteY50066" fmla="*/ 1627828 h 5973007"/>
              <a:gd name="connsiteX50067" fmla="*/ 1446826 w 6884782"/>
              <a:gd name="connsiteY50067" fmla="*/ 1628602 h 5973007"/>
              <a:gd name="connsiteX50068" fmla="*/ 1443419 w 6884782"/>
              <a:gd name="connsiteY50068" fmla="*/ 1630306 h 5973007"/>
              <a:gd name="connsiteX50069" fmla="*/ 1442799 w 6884782"/>
              <a:gd name="connsiteY50069" fmla="*/ 1629841 h 5973007"/>
              <a:gd name="connsiteX50070" fmla="*/ 1441973 w 6884782"/>
              <a:gd name="connsiteY50070" fmla="*/ 1631700 h 5973007"/>
              <a:gd name="connsiteX50071" fmla="*/ 1442696 w 6884782"/>
              <a:gd name="connsiteY50071" fmla="*/ 1632320 h 5973007"/>
              <a:gd name="connsiteX50072" fmla="*/ 1440425 w 6884782"/>
              <a:gd name="connsiteY50072" fmla="*/ 1654315 h 5973007"/>
              <a:gd name="connsiteX50073" fmla="*/ 1438463 w 6884782"/>
              <a:gd name="connsiteY50073" fmla="*/ 1645950 h 5973007"/>
              <a:gd name="connsiteX50074" fmla="*/ 1436810 w 6884782"/>
              <a:gd name="connsiteY50074" fmla="*/ 1647034 h 5973007"/>
              <a:gd name="connsiteX50075" fmla="*/ 1437533 w 6884782"/>
              <a:gd name="connsiteY50075" fmla="*/ 1643008 h 5973007"/>
              <a:gd name="connsiteX50076" fmla="*/ 1437740 w 6884782"/>
              <a:gd name="connsiteY50076" fmla="*/ 1642853 h 5973007"/>
              <a:gd name="connsiteX50077" fmla="*/ 1437224 w 6884782"/>
              <a:gd name="connsiteY50077" fmla="*/ 1640994 h 5973007"/>
              <a:gd name="connsiteX50078" fmla="*/ 1437224 w 6884782"/>
              <a:gd name="connsiteY50078" fmla="*/ 1640065 h 5973007"/>
              <a:gd name="connsiteX50079" fmla="*/ 1437120 w 6884782"/>
              <a:gd name="connsiteY50079" fmla="*/ 1640065 h 5973007"/>
              <a:gd name="connsiteX50080" fmla="*/ 1432371 w 6884782"/>
              <a:gd name="connsiteY50080" fmla="*/ 1641768 h 5973007"/>
              <a:gd name="connsiteX50081" fmla="*/ 1436295 w 6884782"/>
              <a:gd name="connsiteY50081" fmla="*/ 1628757 h 5973007"/>
              <a:gd name="connsiteX50082" fmla="*/ 1440011 w 6884782"/>
              <a:gd name="connsiteY50082" fmla="*/ 1623181 h 5973007"/>
              <a:gd name="connsiteX50083" fmla="*/ 1439289 w 6884782"/>
              <a:gd name="connsiteY50083" fmla="*/ 1622716 h 5973007"/>
              <a:gd name="connsiteX50084" fmla="*/ 1437120 w 6884782"/>
              <a:gd name="connsiteY50084" fmla="*/ 1622252 h 5973007"/>
              <a:gd name="connsiteX50085" fmla="*/ 1437017 w 6884782"/>
              <a:gd name="connsiteY50085" fmla="*/ 1623026 h 5973007"/>
              <a:gd name="connsiteX50086" fmla="*/ 1434436 w 6884782"/>
              <a:gd name="connsiteY50086" fmla="*/ 1625504 h 5973007"/>
              <a:gd name="connsiteX50087" fmla="*/ 1432990 w 6884782"/>
              <a:gd name="connsiteY50087" fmla="*/ 1624265 h 5973007"/>
              <a:gd name="connsiteX50088" fmla="*/ 1434229 w 6884782"/>
              <a:gd name="connsiteY50088" fmla="*/ 1622097 h 5973007"/>
              <a:gd name="connsiteX50089" fmla="*/ 1434436 w 6884782"/>
              <a:gd name="connsiteY50089" fmla="*/ 1621787 h 5973007"/>
              <a:gd name="connsiteX50090" fmla="*/ 1433610 w 6884782"/>
              <a:gd name="connsiteY50090" fmla="*/ 1621632 h 5973007"/>
              <a:gd name="connsiteX50091" fmla="*/ 1428240 w 6884782"/>
              <a:gd name="connsiteY50091" fmla="*/ 1617140 h 5973007"/>
              <a:gd name="connsiteX50092" fmla="*/ 1429583 w 6884782"/>
              <a:gd name="connsiteY50092" fmla="*/ 1615901 h 5973007"/>
              <a:gd name="connsiteX50093" fmla="*/ 1429686 w 6884782"/>
              <a:gd name="connsiteY50093" fmla="*/ 1615436 h 5973007"/>
              <a:gd name="connsiteX50094" fmla="*/ 1429169 w 6884782"/>
              <a:gd name="connsiteY50094" fmla="*/ 1614352 h 5973007"/>
              <a:gd name="connsiteX50095" fmla="*/ 1429376 w 6884782"/>
              <a:gd name="connsiteY50095" fmla="*/ 1610944 h 5973007"/>
              <a:gd name="connsiteX50096" fmla="*/ 1434642 w 6884782"/>
              <a:gd name="connsiteY50096" fmla="*/ 1606452 h 5973007"/>
              <a:gd name="connsiteX50097" fmla="*/ 1437327 w 6884782"/>
              <a:gd name="connsiteY50097" fmla="*/ 1605832 h 5973007"/>
              <a:gd name="connsiteX50098" fmla="*/ 1799640 w 6884782"/>
              <a:gd name="connsiteY50098" fmla="*/ 1604748 h 5973007"/>
              <a:gd name="connsiteX50099" fmla="*/ 1806674 w 6884782"/>
              <a:gd name="connsiteY50099" fmla="*/ 1607691 h 5973007"/>
              <a:gd name="connsiteX50100" fmla="*/ 1802854 w 6884782"/>
              <a:gd name="connsiteY50100" fmla="*/ 1615126 h 5973007"/>
              <a:gd name="connsiteX50101" fmla="*/ 1795316 w 6884782"/>
              <a:gd name="connsiteY50101" fmla="*/ 1610169 h 5973007"/>
              <a:gd name="connsiteX50102" fmla="*/ 1799640 w 6884782"/>
              <a:gd name="connsiteY50102" fmla="*/ 1604748 h 5973007"/>
              <a:gd name="connsiteX50103" fmla="*/ 5993894 w 6884782"/>
              <a:gd name="connsiteY50103" fmla="*/ 1604651 h 5973007"/>
              <a:gd name="connsiteX50104" fmla="*/ 5987704 w 6884782"/>
              <a:gd name="connsiteY50104" fmla="*/ 1614752 h 5973007"/>
              <a:gd name="connsiteX50105" fmla="*/ 5993894 w 6884782"/>
              <a:gd name="connsiteY50105" fmla="*/ 1604651 h 5973007"/>
              <a:gd name="connsiteX50106" fmla="*/ 3886800 w 6884782"/>
              <a:gd name="connsiteY50106" fmla="*/ 1604508 h 5973007"/>
              <a:gd name="connsiteX50107" fmla="*/ 3885733 w 6884782"/>
              <a:gd name="connsiteY50107" fmla="*/ 1628552 h 5973007"/>
              <a:gd name="connsiteX50108" fmla="*/ 3884239 w 6884782"/>
              <a:gd name="connsiteY50108" fmla="*/ 1631113 h 5973007"/>
              <a:gd name="connsiteX50109" fmla="*/ 3881465 w 6884782"/>
              <a:gd name="connsiteY50109" fmla="*/ 1631397 h 5973007"/>
              <a:gd name="connsiteX50110" fmla="*/ 3878691 w 6884782"/>
              <a:gd name="connsiteY50110" fmla="*/ 1616174 h 5973007"/>
              <a:gd name="connsiteX50111" fmla="*/ 3880398 w 6884782"/>
              <a:gd name="connsiteY50111" fmla="*/ 1613044 h 5973007"/>
              <a:gd name="connsiteX50112" fmla="*/ 3880824 w 6884782"/>
              <a:gd name="connsiteY50112" fmla="*/ 1610342 h 5973007"/>
              <a:gd name="connsiteX50113" fmla="*/ 3886800 w 6884782"/>
              <a:gd name="connsiteY50113" fmla="*/ 1604508 h 5973007"/>
              <a:gd name="connsiteX50114" fmla="*/ 4596634 w 6884782"/>
              <a:gd name="connsiteY50114" fmla="*/ 1603940 h 5973007"/>
              <a:gd name="connsiteX50115" fmla="*/ 4598769 w 6884782"/>
              <a:gd name="connsiteY50115" fmla="*/ 1605505 h 5973007"/>
              <a:gd name="connsiteX50116" fmla="*/ 4604745 w 6884782"/>
              <a:gd name="connsiteY50116" fmla="*/ 1616174 h 5973007"/>
              <a:gd name="connsiteX50117" fmla="*/ 4606238 w 6884782"/>
              <a:gd name="connsiteY50117" fmla="*/ 1618308 h 5973007"/>
              <a:gd name="connsiteX50118" fmla="*/ 4605598 w 6884782"/>
              <a:gd name="connsiteY50118" fmla="*/ 1621438 h 5973007"/>
              <a:gd name="connsiteX50119" fmla="*/ 4598555 w 6884782"/>
              <a:gd name="connsiteY50119" fmla="*/ 1612902 h 5973007"/>
              <a:gd name="connsiteX50120" fmla="*/ 4595141 w 6884782"/>
              <a:gd name="connsiteY50120" fmla="*/ 1607638 h 5973007"/>
              <a:gd name="connsiteX50121" fmla="*/ 4595567 w 6884782"/>
              <a:gd name="connsiteY50121" fmla="*/ 1604508 h 5973007"/>
              <a:gd name="connsiteX50122" fmla="*/ 1187653 w 6884782"/>
              <a:gd name="connsiteY50122" fmla="*/ 1603819 h 5973007"/>
              <a:gd name="connsiteX50123" fmla="*/ 1181974 w 6884782"/>
              <a:gd name="connsiteY50123" fmla="*/ 1615591 h 5973007"/>
              <a:gd name="connsiteX50124" fmla="*/ 1181768 w 6884782"/>
              <a:gd name="connsiteY50124" fmla="*/ 1613112 h 5973007"/>
              <a:gd name="connsiteX50125" fmla="*/ 1187653 w 6884782"/>
              <a:gd name="connsiteY50125" fmla="*/ 1603819 h 5973007"/>
              <a:gd name="connsiteX50126" fmla="*/ 3571793 w 6884782"/>
              <a:gd name="connsiteY50126" fmla="*/ 1603513 h 5973007"/>
              <a:gd name="connsiteX50127" fmla="*/ 3552372 w 6884782"/>
              <a:gd name="connsiteY50127" fmla="*/ 1620727 h 5973007"/>
              <a:gd name="connsiteX50128" fmla="*/ 3559201 w 6884782"/>
              <a:gd name="connsiteY50128" fmla="*/ 1608777 h 5973007"/>
              <a:gd name="connsiteX50129" fmla="*/ 3571793 w 6884782"/>
              <a:gd name="connsiteY50129" fmla="*/ 1603513 h 5973007"/>
              <a:gd name="connsiteX50130" fmla="*/ 1328288 w 6884782"/>
              <a:gd name="connsiteY50130" fmla="*/ 1603509 h 5973007"/>
              <a:gd name="connsiteX50131" fmla="*/ 1337375 w 6884782"/>
              <a:gd name="connsiteY50131" fmla="*/ 1614662 h 5973007"/>
              <a:gd name="connsiteX50132" fmla="*/ 1329011 w 6884782"/>
              <a:gd name="connsiteY50132" fmla="*/ 1617140 h 5973007"/>
              <a:gd name="connsiteX50133" fmla="*/ 1327153 w 6884782"/>
              <a:gd name="connsiteY50133" fmla="*/ 1610169 h 5973007"/>
              <a:gd name="connsiteX50134" fmla="*/ 1328288 w 6884782"/>
              <a:gd name="connsiteY50134" fmla="*/ 1603509 h 5973007"/>
              <a:gd name="connsiteX50135" fmla="*/ 1724379 w 6884782"/>
              <a:gd name="connsiteY50135" fmla="*/ 1602425 h 5973007"/>
              <a:gd name="connsiteX50136" fmla="*/ 1728406 w 6884782"/>
              <a:gd name="connsiteY50136" fmla="*/ 1611254 h 5973007"/>
              <a:gd name="connsiteX50137" fmla="*/ 1717667 w 6884782"/>
              <a:gd name="connsiteY50137" fmla="*/ 1609240 h 5973007"/>
              <a:gd name="connsiteX50138" fmla="*/ 1717461 w 6884782"/>
              <a:gd name="connsiteY50138" fmla="*/ 1607691 h 5973007"/>
              <a:gd name="connsiteX50139" fmla="*/ 1724379 w 6884782"/>
              <a:gd name="connsiteY50139" fmla="*/ 1602425 h 5973007"/>
              <a:gd name="connsiteX50140" fmla="*/ 1761448 w 6884782"/>
              <a:gd name="connsiteY50140" fmla="*/ 1602270 h 5973007"/>
              <a:gd name="connsiteX50141" fmla="*/ 1760209 w 6884782"/>
              <a:gd name="connsiteY50141" fmla="*/ 1614662 h 5973007"/>
              <a:gd name="connsiteX50142" fmla="*/ 1751742 w 6884782"/>
              <a:gd name="connsiteY50142" fmla="*/ 1607226 h 5973007"/>
              <a:gd name="connsiteX50143" fmla="*/ 1761448 w 6884782"/>
              <a:gd name="connsiteY50143" fmla="*/ 1602270 h 5973007"/>
              <a:gd name="connsiteX50144" fmla="*/ 5126129 w 6884782"/>
              <a:gd name="connsiteY50144" fmla="*/ 1602090 h 5973007"/>
              <a:gd name="connsiteX50145" fmla="*/ 5131251 w 6884782"/>
              <a:gd name="connsiteY50145" fmla="*/ 1602659 h 5973007"/>
              <a:gd name="connsiteX50146" fmla="*/ 5135306 w 6884782"/>
              <a:gd name="connsiteY50146" fmla="*/ 1605078 h 5973007"/>
              <a:gd name="connsiteX50147" fmla="*/ 5137440 w 6884782"/>
              <a:gd name="connsiteY50147" fmla="*/ 1609630 h 5973007"/>
              <a:gd name="connsiteX50148" fmla="*/ 5141069 w 6884782"/>
              <a:gd name="connsiteY50148" fmla="*/ 1616601 h 5973007"/>
              <a:gd name="connsiteX50149" fmla="*/ 5136373 w 6884782"/>
              <a:gd name="connsiteY50149" fmla="*/ 1620727 h 5973007"/>
              <a:gd name="connsiteX50150" fmla="*/ 5129117 w 6884782"/>
              <a:gd name="connsiteY50150" fmla="*/ 1618166 h 5973007"/>
              <a:gd name="connsiteX50151" fmla="*/ 5128263 w 6884782"/>
              <a:gd name="connsiteY50151" fmla="*/ 1618878 h 5973007"/>
              <a:gd name="connsiteX50152" fmla="*/ 5120580 w 6884782"/>
              <a:gd name="connsiteY50152" fmla="*/ 1609630 h 5973007"/>
              <a:gd name="connsiteX50153" fmla="*/ 5121220 w 6884782"/>
              <a:gd name="connsiteY50153" fmla="*/ 1606785 h 5973007"/>
              <a:gd name="connsiteX50154" fmla="*/ 5121007 w 6884782"/>
              <a:gd name="connsiteY50154" fmla="*/ 1606500 h 5973007"/>
              <a:gd name="connsiteX50155" fmla="*/ 5126129 w 6884782"/>
              <a:gd name="connsiteY50155" fmla="*/ 1602090 h 5973007"/>
              <a:gd name="connsiteX50156" fmla="*/ 4363793 w 6884782"/>
              <a:gd name="connsiteY50156" fmla="*/ 1602090 h 5973007"/>
              <a:gd name="connsiteX50157" fmla="*/ 4369983 w 6884782"/>
              <a:gd name="connsiteY50157" fmla="*/ 1606358 h 5973007"/>
              <a:gd name="connsiteX50158" fmla="*/ 4363367 w 6884782"/>
              <a:gd name="connsiteY50158" fmla="*/ 1606927 h 5973007"/>
              <a:gd name="connsiteX50159" fmla="*/ 4363793 w 6884782"/>
              <a:gd name="connsiteY50159" fmla="*/ 1602090 h 5973007"/>
              <a:gd name="connsiteX50160" fmla="*/ 1111140 w 6884782"/>
              <a:gd name="connsiteY50160" fmla="*/ 1601650 h 5973007"/>
              <a:gd name="connsiteX50161" fmla="*/ 1109488 w 6884782"/>
              <a:gd name="connsiteY50161" fmla="*/ 1607846 h 5973007"/>
              <a:gd name="connsiteX50162" fmla="*/ 1111140 w 6884782"/>
              <a:gd name="connsiteY50162" fmla="*/ 1601650 h 5973007"/>
              <a:gd name="connsiteX50163" fmla="*/ 4352696 w 6884782"/>
              <a:gd name="connsiteY50163" fmla="*/ 1601378 h 5973007"/>
              <a:gd name="connsiteX50164" fmla="*/ 4353336 w 6884782"/>
              <a:gd name="connsiteY50164" fmla="*/ 1602232 h 5973007"/>
              <a:gd name="connsiteX50165" fmla="*/ 4353336 w 6884782"/>
              <a:gd name="connsiteY50165" fmla="*/ 1603370 h 5973007"/>
              <a:gd name="connsiteX50166" fmla="*/ 4352696 w 6884782"/>
              <a:gd name="connsiteY50166" fmla="*/ 1601378 h 5973007"/>
              <a:gd name="connsiteX50167" fmla="*/ 4847830 w 6884782"/>
              <a:gd name="connsiteY50167" fmla="*/ 1601236 h 5973007"/>
              <a:gd name="connsiteX50168" fmla="*/ 4852311 w 6884782"/>
              <a:gd name="connsiteY50168" fmla="*/ 1605505 h 5973007"/>
              <a:gd name="connsiteX50169" fmla="*/ 4854445 w 6884782"/>
              <a:gd name="connsiteY50169" fmla="*/ 1608207 h 5973007"/>
              <a:gd name="connsiteX50170" fmla="*/ 4856580 w 6884782"/>
              <a:gd name="connsiteY50170" fmla="*/ 1609772 h 5973007"/>
              <a:gd name="connsiteX50171" fmla="*/ 4857860 w 6884782"/>
              <a:gd name="connsiteY50171" fmla="*/ 1611907 h 5973007"/>
              <a:gd name="connsiteX50172" fmla="*/ 4858073 w 6884782"/>
              <a:gd name="connsiteY50172" fmla="*/ 1611907 h 5973007"/>
              <a:gd name="connsiteX50173" fmla="*/ 4860421 w 6884782"/>
              <a:gd name="connsiteY50173" fmla="*/ 1611337 h 5973007"/>
              <a:gd name="connsiteX50174" fmla="*/ 4861702 w 6884782"/>
              <a:gd name="connsiteY50174" fmla="*/ 1612191 h 5973007"/>
              <a:gd name="connsiteX50175" fmla="*/ 4862556 w 6884782"/>
              <a:gd name="connsiteY50175" fmla="*/ 1614325 h 5973007"/>
              <a:gd name="connsiteX50176" fmla="*/ 4858928 w 6884782"/>
              <a:gd name="connsiteY50176" fmla="*/ 1614325 h 5973007"/>
              <a:gd name="connsiteX50177" fmla="*/ 4858501 w 6884782"/>
              <a:gd name="connsiteY50177" fmla="*/ 1614182 h 5973007"/>
              <a:gd name="connsiteX50178" fmla="*/ 4858501 w 6884782"/>
              <a:gd name="connsiteY50178" fmla="*/ 1614752 h 5973007"/>
              <a:gd name="connsiteX50179" fmla="*/ 4856793 w 6884782"/>
              <a:gd name="connsiteY50179" fmla="*/ 1613614 h 5973007"/>
              <a:gd name="connsiteX50180" fmla="*/ 4855940 w 6884782"/>
              <a:gd name="connsiteY50180" fmla="*/ 1613187 h 5973007"/>
              <a:gd name="connsiteX50181" fmla="*/ 4856153 w 6884782"/>
              <a:gd name="connsiteY50181" fmla="*/ 1613044 h 5973007"/>
              <a:gd name="connsiteX50182" fmla="*/ 4854232 w 6884782"/>
              <a:gd name="connsiteY50182" fmla="*/ 1610484 h 5973007"/>
              <a:gd name="connsiteX50183" fmla="*/ 4851885 w 6884782"/>
              <a:gd name="connsiteY50183" fmla="*/ 1610057 h 5973007"/>
              <a:gd name="connsiteX50184" fmla="*/ 4847830 w 6884782"/>
              <a:gd name="connsiteY50184" fmla="*/ 1601236 h 5973007"/>
              <a:gd name="connsiteX50185" fmla="*/ 5894440 w 6884782"/>
              <a:gd name="connsiteY50185" fmla="*/ 1600809 h 5973007"/>
              <a:gd name="connsiteX50186" fmla="*/ 5896147 w 6884782"/>
              <a:gd name="connsiteY50186" fmla="*/ 1604366 h 5973007"/>
              <a:gd name="connsiteX50187" fmla="*/ 5894013 w 6884782"/>
              <a:gd name="connsiteY50187" fmla="*/ 1606785 h 5973007"/>
              <a:gd name="connsiteX50188" fmla="*/ 5893160 w 6884782"/>
              <a:gd name="connsiteY50188" fmla="*/ 1609345 h 5973007"/>
              <a:gd name="connsiteX50189" fmla="*/ 5889745 w 6884782"/>
              <a:gd name="connsiteY50189" fmla="*/ 1609630 h 5973007"/>
              <a:gd name="connsiteX50190" fmla="*/ 5890599 w 6884782"/>
              <a:gd name="connsiteY50190" fmla="*/ 1607070 h 5973007"/>
              <a:gd name="connsiteX50191" fmla="*/ 5894440 w 6884782"/>
              <a:gd name="connsiteY50191" fmla="*/ 1600809 h 5973007"/>
              <a:gd name="connsiteX50192" fmla="*/ 3601458 w 6884782"/>
              <a:gd name="connsiteY50192" fmla="*/ 1600241 h 5973007"/>
              <a:gd name="connsiteX50193" fmla="*/ 3604233 w 6884782"/>
              <a:gd name="connsiteY50193" fmla="*/ 1601805 h 5973007"/>
              <a:gd name="connsiteX50194" fmla="*/ 3604233 w 6884782"/>
              <a:gd name="connsiteY50194" fmla="*/ 1602943 h 5973007"/>
              <a:gd name="connsiteX50195" fmla="*/ 3605086 w 6884782"/>
              <a:gd name="connsiteY50195" fmla="*/ 1607638 h 5973007"/>
              <a:gd name="connsiteX50196" fmla="*/ 3599751 w 6884782"/>
              <a:gd name="connsiteY50196" fmla="*/ 1610342 h 5973007"/>
              <a:gd name="connsiteX50197" fmla="*/ 3596336 w 6884782"/>
              <a:gd name="connsiteY50197" fmla="*/ 1603370 h 5973007"/>
              <a:gd name="connsiteX50198" fmla="*/ 3601458 w 6884782"/>
              <a:gd name="connsiteY50198" fmla="*/ 1600241 h 5973007"/>
              <a:gd name="connsiteX50199" fmla="*/ 5432813 w 6884782"/>
              <a:gd name="connsiteY50199" fmla="*/ 1599813 h 5973007"/>
              <a:gd name="connsiteX50200" fmla="*/ 5438149 w 6884782"/>
              <a:gd name="connsiteY50200" fmla="*/ 1600525 h 5973007"/>
              <a:gd name="connsiteX50201" fmla="*/ 5442417 w 6884782"/>
              <a:gd name="connsiteY50201" fmla="*/ 1602943 h 5973007"/>
              <a:gd name="connsiteX50202" fmla="*/ 5445191 w 6884782"/>
              <a:gd name="connsiteY50202" fmla="*/ 1607496 h 5973007"/>
              <a:gd name="connsiteX50203" fmla="*/ 5449887 w 6884782"/>
              <a:gd name="connsiteY50203" fmla="*/ 1614609 h 5973007"/>
              <a:gd name="connsiteX50204" fmla="*/ 5446045 w 6884782"/>
              <a:gd name="connsiteY50204" fmla="*/ 1618736 h 5973007"/>
              <a:gd name="connsiteX50205" fmla="*/ 5428331 w 6884782"/>
              <a:gd name="connsiteY50205" fmla="*/ 1604082 h 5973007"/>
              <a:gd name="connsiteX50206" fmla="*/ 5432813 w 6884782"/>
              <a:gd name="connsiteY50206" fmla="*/ 1599813 h 5973007"/>
              <a:gd name="connsiteX50207" fmla="*/ 3663137 w 6884782"/>
              <a:gd name="connsiteY50207" fmla="*/ 1599387 h 5973007"/>
              <a:gd name="connsiteX50208" fmla="*/ 3671673 w 6884782"/>
              <a:gd name="connsiteY50208" fmla="*/ 1604508 h 5973007"/>
              <a:gd name="connsiteX50209" fmla="*/ 3678076 w 6884782"/>
              <a:gd name="connsiteY50209" fmla="*/ 1611337 h 5973007"/>
              <a:gd name="connsiteX50210" fmla="*/ 3678076 w 6884782"/>
              <a:gd name="connsiteY50210" fmla="*/ 1611480 h 5973007"/>
              <a:gd name="connsiteX50211" fmla="*/ 3679143 w 6884782"/>
              <a:gd name="connsiteY50211" fmla="*/ 1612333 h 5973007"/>
              <a:gd name="connsiteX50212" fmla="*/ 3685119 w 6884782"/>
              <a:gd name="connsiteY50212" fmla="*/ 1631824 h 5973007"/>
              <a:gd name="connsiteX50213" fmla="*/ 3677863 w 6884782"/>
              <a:gd name="connsiteY50213" fmla="*/ 1644202 h 5973007"/>
              <a:gd name="connsiteX50214" fmla="*/ 3670606 w 6884782"/>
              <a:gd name="connsiteY50214" fmla="*/ 1626845 h 5973007"/>
              <a:gd name="connsiteX50215" fmla="*/ 3669753 w 6884782"/>
              <a:gd name="connsiteY50215" fmla="*/ 1627556 h 5973007"/>
              <a:gd name="connsiteX50216" fmla="*/ 3669966 w 6884782"/>
              <a:gd name="connsiteY50216" fmla="*/ 1630117 h 5973007"/>
              <a:gd name="connsiteX50217" fmla="*/ 3668472 w 6884782"/>
              <a:gd name="connsiteY50217" fmla="*/ 1631113 h 5973007"/>
              <a:gd name="connsiteX50218" fmla="*/ 3667832 w 6884782"/>
              <a:gd name="connsiteY50218" fmla="*/ 1631113 h 5973007"/>
              <a:gd name="connsiteX50219" fmla="*/ 3665057 w 6884782"/>
              <a:gd name="connsiteY50219" fmla="*/ 1637657 h 5973007"/>
              <a:gd name="connsiteX50220" fmla="*/ 3660362 w 6884782"/>
              <a:gd name="connsiteY50220" fmla="*/ 1643490 h 5973007"/>
              <a:gd name="connsiteX50221" fmla="*/ 3658441 w 6884782"/>
              <a:gd name="connsiteY50221" fmla="*/ 1645908 h 5973007"/>
              <a:gd name="connsiteX50222" fmla="*/ 3646276 w 6884782"/>
              <a:gd name="connsiteY50222" fmla="*/ 1653164 h 5973007"/>
              <a:gd name="connsiteX50223" fmla="*/ 3643288 w 6884782"/>
              <a:gd name="connsiteY50223" fmla="*/ 1629263 h 5973007"/>
              <a:gd name="connsiteX50224" fmla="*/ 3642008 w 6884782"/>
              <a:gd name="connsiteY50224" fmla="*/ 1628552 h 5973007"/>
              <a:gd name="connsiteX50225" fmla="*/ 3640941 w 6884782"/>
              <a:gd name="connsiteY50225" fmla="*/ 1627698 h 5973007"/>
              <a:gd name="connsiteX50226" fmla="*/ 3642008 w 6884782"/>
              <a:gd name="connsiteY50226" fmla="*/ 1627129 h 5973007"/>
              <a:gd name="connsiteX50227" fmla="*/ 3643929 w 6884782"/>
              <a:gd name="connsiteY50227" fmla="*/ 1627556 h 5973007"/>
              <a:gd name="connsiteX50228" fmla="*/ 3644142 w 6884782"/>
              <a:gd name="connsiteY50228" fmla="*/ 1627698 h 5973007"/>
              <a:gd name="connsiteX50229" fmla="*/ 3647770 w 6884782"/>
              <a:gd name="connsiteY50229" fmla="*/ 1622008 h 5973007"/>
              <a:gd name="connsiteX50230" fmla="*/ 3657801 w 6884782"/>
              <a:gd name="connsiteY50230" fmla="*/ 1611907 h 5973007"/>
              <a:gd name="connsiteX50231" fmla="*/ 3661429 w 6884782"/>
              <a:gd name="connsiteY50231" fmla="*/ 1612902 h 5973007"/>
              <a:gd name="connsiteX50232" fmla="*/ 3668259 w 6884782"/>
              <a:gd name="connsiteY50232" fmla="*/ 1623573 h 5973007"/>
              <a:gd name="connsiteX50233" fmla="*/ 3667832 w 6884782"/>
              <a:gd name="connsiteY50233" fmla="*/ 1628979 h 5973007"/>
              <a:gd name="connsiteX50234" fmla="*/ 3669112 w 6884782"/>
              <a:gd name="connsiteY50234" fmla="*/ 1627414 h 5973007"/>
              <a:gd name="connsiteX50235" fmla="*/ 3670180 w 6884782"/>
              <a:gd name="connsiteY50235" fmla="*/ 1626133 h 5973007"/>
              <a:gd name="connsiteX50236" fmla="*/ 3668685 w 6884782"/>
              <a:gd name="connsiteY50236" fmla="*/ 1622577 h 5973007"/>
              <a:gd name="connsiteX50237" fmla="*/ 3663137 w 6884782"/>
              <a:gd name="connsiteY50237" fmla="*/ 1599387 h 5973007"/>
              <a:gd name="connsiteX50238" fmla="*/ 1371966 w 6884782"/>
              <a:gd name="connsiteY50238" fmla="*/ 1599172 h 5973007"/>
              <a:gd name="connsiteX50239" fmla="*/ 1376509 w 6884782"/>
              <a:gd name="connsiteY50239" fmla="*/ 1604748 h 5973007"/>
              <a:gd name="connsiteX50240" fmla="*/ 1375373 w 6884782"/>
              <a:gd name="connsiteY50240" fmla="*/ 1606142 h 5973007"/>
              <a:gd name="connsiteX50241" fmla="*/ 1372998 w 6884782"/>
              <a:gd name="connsiteY50241" fmla="*/ 1605213 h 5973007"/>
              <a:gd name="connsiteX50242" fmla="*/ 1370830 w 6884782"/>
              <a:gd name="connsiteY50242" fmla="*/ 1600566 h 5973007"/>
              <a:gd name="connsiteX50243" fmla="*/ 1371966 w 6884782"/>
              <a:gd name="connsiteY50243" fmla="*/ 1599172 h 5973007"/>
              <a:gd name="connsiteX50244" fmla="*/ 1775594 w 6884782"/>
              <a:gd name="connsiteY50244" fmla="*/ 1598087 h 5973007"/>
              <a:gd name="connsiteX50245" fmla="*/ 1775904 w 6884782"/>
              <a:gd name="connsiteY50245" fmla="*/ 1600566 h 5973007"/>
              <a:gd name="connsiteX50246" fmla="*/ 1776007 w 6884782"/>
              <a:gd name="connsiteY50246" fmla="*/ 1600876 h 5973007"/>
              <a:gd name="connsiteX50247" fmla="*/ 1787159 w 6884782"/>
              <a:gd name="connsiteY50247" fmla="*/ 1599791 h 5973007"/>
              <a:gd name="connsiteX50248" fmla="*/ 1765888 w 6884782"/>
              <a:gd name="connsiteY50248" fmla="*/ 1608465 h 5973007"/>
              <a:gd name="connsiteX50249" fmla="*/ 1769296 w 6884782"/>
              <a:gd name="connsiteY50249" fmla="*/ 1604438 h 5973007"/>
              <a:gd name="connsiteX50250" fmla="*/ 1768676 w 6884782"/>
              <a:gd name="connsiteY50250" fmla="*/ 1603509 h 5973007"/>
              <a:gd name="connsiteX50251" fmla="*/ 1768263 w 6884782"/>
              <a:gd name="connsiteY50251" fmla="*/ 1599946 h 5973007"/>
              <a:gd name="connsiteX50252" fmla="*/ 1775594 w 6884782"/>
              <a:gd name="connsiteY50252" fmla="*/ 1598087 h 5973007"/>
              <a:gd name="connsiteX50253" fmla="*/ 1033905 w 6884782"/>
              <a:gd name="connsiteY50253" fmla="*/ 1597933 h 5973007"/>
              <a:gd name="connsiteX50254" fmla="*/ 1035866 w 6884782"/>
              <a:gd name="connsiteY50254" fmla="*/ 1602580 h 5973007"/>
              <a:gd name="connsiteX50255" fmla="*/ 1032562 w 6884782"/>
              <a:gd name="connsiteY50255" fmla="*/ 1604748 h 5973007"/>
              <a:gd name="connsiteX50256" fmla="*/ 1030498 w 6884782"/>
              <a:gd name="connsiteY50256" fmla="*/ 1600101 h 5973007"/>
              <a:gd name="connsiteX50257" fmla="*/ 1033905 w 6884782"/>
              <a:gd name="connsiteY50257" fmla="*/ 1597933 h 5973007"/>
              <a:gd name="connsiteX50258" fmla="*/ 4984205 w 6884782"/>
              <a:gd name="connsiteY50258" fmla="*/ 1597679 h 5973007"/>
              <a:gd name="connsiteX50259" fmla="*/ 4987620 w 6884782"/>
              <a:gd name="connsiteY50259" fmla="*/ 1598106 h 5973007"/>
              <a:gd name="connsiteX50260" fmla="*/ 4975881 w 6884782"/>
              <a:gd name="connsiteY50260" fmla="*/ 1605078 h 5973007"/>
              <a:gd name="connsiteX50261" fmla="*/ 4984205 w 6884782"/>
              <a:gd name="connsiteY50261" fmla="*/ 1597679 h 5973007"/>
              <a:gd name="connsiteX50262" fmla="*/ 1063746 w 6884782"/>
              <a:gd name="connsiteY50262" fmla="*/ 1597623 h 5973007"/>
              <a:gd name="connsiteX50263" fmla="*/ 1068599 w 6884782"/>
              <a:gd name="connsiteY50263" fmla="*/ 1598862 h 5973007"/>
              <a:gd name="connsiteX50264" fmla="*/ 1072420 w 6884782"/>
              <a:gd name="connsiteY50264" fmla="*/ 1600566 h 5973007"/>
              <a:gd name="connsiteX50265" fmla="*/ 1082745 w 6884782"/>
              <a:gd name="connsiteY50265" fmla="*/ 1609240 h 5973007"/>
              <a:gd name="connsiteX50266" fmla="*/ 1076963 w 6884782"/>
              <a:gd name="connsiteY50266" fmla="*/ 1607691 h 5973007"/>
              <a:gd name="connsiteX50267" fmla="*/ 1064985 w 6884782"/>
              <a:gd name="connsiteY50267" fmla="*/ 1601960 h 5973007"/>
              <a:gd name="connsiteX50268" fmla="*/ 1064365 w 6884782"/>
              <a:gd name="connsiteY50268" fmla="*/ 1599791 h 5973007"/>
              <a:gd name="connsiteX50269" fmla="*/ 1063642 w 6884782"/>
              <a:gd name="connsiteY50269" fmla="*/ 1599482 h 5973007"/>
              <a:gd name="connsiteX50270" fmla="*/ 1063333 w 6884782"/>
              <a:gd name="connsiteY50270" fmla="*/ 1598397 h 5973007"/>
              <a:gd name="connsiteX50271" fmla="*/ 1063746 w 6884782"/>
              <a:gd name="connsiteY50271" fmla="*/ 1597623 h 5973007"/>
              <a:gd name="connsiteX50272" fmla="*/ 1210473 w 6884782"/>
              <a:gd name="connsiteY50272" fmla="*/ 1597468 h 5973007"/>
              <a:gd name="connsiteX50273" fmla="*/ 1210473 w 6884782"/>
              <a:gd name="connsiteY50273" fmla="*/ 1599017 h 5973007"/>
              <a:gd name="connsiteX50274" fmla="*/ 1213261 w 6884782"/>
              <a:gd name="connsiteY50274" fmla="*/ 1600721 h 5973007"/>
              <a:gd name="connsiteX50275" fmla="*/ 1217907 w 6884782"/>
              <a:gd name="connsiteY50275" fmla="*/ 1601030 h 5973007"/>
              <a:gd name="connsiteX50276" fmla="*/ 1211712 w 6884782"/>
              <a:gd name="connsiteY50276" fmla="*/ 1601960 h 5973007"/>
              <a:gd name="connsiteX50277" fmla="*/ 1210783 w 6884782"/>
              <a:gd name="connsiteY50277" fmla="*/ 1602734 h 5973007"/>
              <a:gd name="connsiteX50278" fmla="*/ 1210783 w 6884782"/>
              <a:gd name="connsiteY50278" fmla="*/ 1602889 h 5973007"/>
              <a:gd name="connsiteX50279" fmla="*/ 1210370 w 6884782"/>
              <a:gd name="connsiteY50279" fmla="*/ 1603044 h 5973007"/>
              <a:gd name="connsiteX50280" fmla="*/ 1209647 w 6884782"/>
              <a:gd name="connsiteY50280" fmla="*/ 1603819 h 5973007"/>
              <a:gd name="connsiteX50281" fmla="*/ 1209234 w 6884782"/>
              <a:gd name="connsiteY50281" fmla="*/ 1603819 h 5973007"/>
              <a:gd name="connsiteX50282" fmla="*/ 1207478 w 6884782"/>
              <a:gd name="connsiteY50282" fmla="*/ 1605213 h 5973007"/>
              <a:gd name="connsiteX50283" fmla="*/ 1204381 w 6884782"/>
              <a:gd name="connsiteY50283" fmla="*/ 1608156 h 5973007"/>
              <a:gd name="connsiteX50284" fmla="*/ 1202316 w 6884782"/>
              <a:gd name="connsiteY50284" fmla="*/ 1604748 h 5973007"/>
              <a:gd name="connsiteX50285" fmla="*/ 1204174 w 6884782"/>
              <a:gd name="connsiteY50285" fmla="*/ 1602115 h 5973007"/>
              <a:gd name="connsiteX50286" fmla="*/ 1204174 w 6884782"/>
              <a:gd name="connsiteY50286" fmla="*/ 1601186 h 5973007"/>
              <a:gd name="connsiteX50287" fmla="*/ 1206239 w 6884782"/>
              <a:gd name="connsiteY50287" fmla="*/ 1599327 h 5973007"/>
              <a:gd name="connsiteX50288" fmla="*/ 1207375 w 6884782"/>
              <a:gd name="connsiteY50288" fmla="*/ 1599327 h 5973007"/>
              <a:gd name="connsiteX50289" fmla="*/ 6014596 w 6884782"/>
              <a:gd name="connsiteY50289" fmla="*/ 1597253 h 5973007"/>
              <a:gd name="connsiteX50290" fmla="*/ 6018010 w 6884782"/>
              <a:gd name="connsiteY50290" fmla="*/ 1603228 h 5973007"/>
              <a:gd name="connsiteX50291" fmla="*/ 6015449 w 6884782"/>
              <a:gd name="connsiteY50291" fmla="*/ 1624853 h 5973007"/>
              <a:gd name="connsiteX50292" fmla="*/ 6010968 w 6884782"/>
              <a:gd name="connsiteY50292" fmla="*/ 1611622 h 5973007"/>
              <a:gd name="connsiteX50293" fmla="*/ 6014596 w 6884782"/>
              <a:gd name="connsiteY50293" fmla="*/ 1597253 h 5973007"/>
              <a:gd name="connsiteX50294" fmla="*/ 4363153 w 6884782"/>
              <a:gd name="connsiteY50294" fmla="*/ 1597110 h 5973007"/>
              <a:gd name="connsiteX50295" fmla="*/ 4358031 w 6884782"/>
              <a:gd name="connsiteY50295" fmla="*/ 1602659 h 5973007"/>
              <a:gd name="connsiteX50296" fmla="*/ 4356324 w 6884782"/>
              <a:gd name="connsiteY50296" fmla="*/ 1599387 h 5973007"/>
              <a:gd name="connsiteX50297" fmla="*/ 4363153 w 6884782"/>
              <a:gd name="connsiteY50297" fmla="*/ 1597110 h 5973007"/>
              <a:gd name="connsiteX50298" fmla="*/ 933127 w 6884782"/>
              <a:gd name="connsiteY50298" fmla="*/ 1597003 h 5973007"/>
              <a:gd name="connsiteX50299" fmla="*/ 947789 w 6884782"/>
              <a:gd name="connsiteY50299" fmla="*/ 1607846 h 5973007"/>
              <a:gd name="connsiteX50300" fmla="*/ 933024 w 6884782"/>
              <a:gd name="connsiteY50300" fmla="*/ 1602425 h 5973007"/>
              <a:gd name="connsiteX50301" fmla="*/ 933127 w 6884782"/>
              <a:gd name="connsiteY50301" fmla="*/ 1597003 h 5973007"/>
              <a:gd name="connsiteX50302" fmla="*/ 5963161 w 6884782"/>
              <a:gd name="connsiteY50302" fmla="*/ 1596826 h 5973007"/>
              <a:gd name="connsiteX50303" fmla="*/ 5963801 w 6884782"/>
              <a:gd name="connsiteY50303" fmla="*/ 1601663 h 5973007"/>
              <a:gd name="connsiteX50304" fmla="*/ 5961667 w 6884782"/>
              <a:gd name="connsiteY50304" fmla="*/ 1601805 h 5973007"/>
              <a:gd name="connsiteX50305" fmla="*/ 5954625 w 6884782"/>
              <a:gd name="connsiteY50305" fmla="*/ 1607070 h 5973007"/>
              <a:gd name="connsiteX50306" fmla="*/ 5953984 w 6884782"/>
              <a:gd name="connsiteY50306" fmla="*/ 1607212 h 5973007"/>
              <a:gd name="connsiteX50307" fmla="*/ 5956118 w 6884782"/>
              <a:gd name="connsiteY50307" fmla="*/ 1608492 h 5973007"/>
              <a:gd name="connsiteX50308" fmla="*/ 5958893 w 6884782"/>
              <a:gd name="connsiteY50308" fmla="*/ 1609915 h 5973007"/>
              <a:gd name="connsiteX50309" fmla="*/ 5959106 w 6884782"/>
              <a:gd name="connsiteY50309" fmla="*/ 1610057 h 5973007"/>
              <a:gd name="connsiteX50310" fmla="*/ 5959746 w 6884782"/>
              <a:gd name="connsiteY50310" fmla="*/ 1609772 h 5973007"/>
              <a:gd name="connsiteX50311" fmla="*/ 5964228 w 6884782"/>
              <a:gd name="connsiteY50311" fmla="*/ 1610057 h 5973007"/>
              <a:gd name="connsiteX50312" fmla="*/ 5962948 w 6884782"/>
              <a:gd name="connsiteY50312" fmla="*/ 1610057 h 5973007"/>
              <a:gd name="connsiteX50313" fmla="*/ 5964228 w 6884782"/>
              <a:gd name="connsiteY50313" fmla="*/ 1611195 h 5973007"/>
              <a:gd name="connsiteX50314" fmla="*/ 5960600 w 6884782"/>
              <a:gd name="connsiteY50314" fmla="*/ 1612333 h 5973007"/>
              <a:gd name="connsiteX50315" fmla="*/ 5961027 w 6884782"/>
              <a:gd name="connsiteY50315" fmla="*/ 1613044 h 5973007"/>
              <a:gd name="connsiteX50316" fmla="*/ 5962948 w 6884782"/>
              <a:gd name="connsiteY50316" fmla="*/ 1617171 h 5973007"/>
              <a:gd name="connsiteX50317" fmla="*/ 5960387 w 6884782"/>
              <a:gd name="connsiteY50317" fmla="*/ 1619446 h 5973007"/>
              <a:gd name="connsiteX50318" fmla="*/ 5962521 w 6884782"/>
              <a:gd name="connsiteY50318" fmla="*/ 1621865 h 5973007"/>
              <a:gd name="connsiteX50319" fmla="*/ 5959746 w 6884782"/>
              <a:gd name="connsiteY50319" fmla="*/ 1637373 h 5973007"/>
              <a:gd name="connsiteX50320" fmla="*/ 5953558 w 6884782"/>
              <a:gd name="connsiteY50320" fmla="*/ 1640930 h 5973007"/>
              <a:gd name="connsiteX50321" fmla="*/ 5945661 w 6884782"/>
              <a:gd name="connsiteY50321" fmla="*/ 1638368 h 5973007"/>
              <a:gd name="connsiteX50322" fmla="*/ 5945020 w 6884782"/>
              <a:gd name="connsiteY50322" fmla="*/ 1622861 h 5973007"/>
              <a:gd name="connsiteX50323" fmla="*/ 5955905 w 6884782"/>
              <a:gd name="connsiteY50323" fmla="*/ 1617028 h 5973007"/>
              <a:gd name="connsiteX50324" fmla="*/ 5954838 w 6884782"/>
              <a:gd name="connsiteY50324" fmla="*/ 1616886 h 5973007"/>
              <a:gd name="connsiteX50325" fmla="*/ 5952703 w 6884782"/>
              <a:gd name="connsiteY50325" fmla="*/ 1614325 h 5973007"/>
              <a:gd name="connsiteX50326" fmla="*/ 5950783 w 6884782"/>
              <a:gd name="connsiteY50326" fmla="*/ 1614467 h 5973007"/>
              <a:gd name="connsiteX50327" fmla="*/ 5948435 w 6884782"/>
              <a:gd name="connsiteY50327" fmla="*/ 1614467 h 5973007"/>
              <a:gd name="connsiteX50328" fmla="*/ 5948222 w 6884782"/>
              <a:gd name="connsiteY50328" fmla="*/ 1613329 h 5973007"/>
              <a:gd name="connsiteX50329" fmla="*/ 5951423 w 6884782"/>
              <a:gd name="connsiteY50329" fmla="*/ 1612618 h 5973007"/>
              <a:gd name="connsiteX50330" fmla="*/ 5948008 w 6884782"/>
              <a:gd name="connsiteY50330" fmla="*/ 1608350 h 5973007"/>
              <a:gd name="connsiteX50331" fmla="*/ 5945234 w 6884782"/>
              <a:gd name="connsiteY50331" fmla="*/ 1608919 h 5973007"/>
              <a:gd name="connsiteX50332" fmla="*/ 5946942 w 6884782"/>
              <a:gd name="connsiteY50332" fmla="*/ 1606785 h 5973007"/>
              <a:gd name="connsiteX50333" fmla="*/ 5945234 w 6884782"/>
              <a:gd name="connsiteY50333" fmla="*/ 1603513 h 5973007"/>
              <a:gd name="connsiteX50334" fmla="*/ 5945020 w 6884782"/>
              <a:gd name="connsiteY50334" fmla="*/ 1600098 h 5973007"/>
              <a:gd name="connsiteX50335" fmla="*/ 5948222 w 6884782"/>
              <a:gd name="connsiteY50335" fmla="*/ 1601378 h 5973007"/>
              <a:gd name="connsiteX50336" fmla="*/ 5949289 w 6884782"/>
              <a:gd name="connsiteY50336" fmla="*/ 1602517 h 5973007"/>
              <a:gd name="connsiteX50337" fmla="*/ 5950356 w 6884782"/>
              <a:gd name="connsiteY50337" fmla="*/ 1602517 h 5973007"/>
              <a:gd name="connsiteX50338" fmla="*/ 5950356 w 6884782"/>
              <a:gd name="connsiteY50338" fmla="*/ 1602943 h 5973007"/>
              <a:gd name="connsiteX50339" fmla="*/ 5955265 w 6884782"/>
              <a:gd name="connsiteY50339" fmla="*/ 1600951 h 5973007"/>
              <a:gd name="connsiteX50340" fmla="*/ 5963161 w 6884782"/>
              <a:gd name="connsiteY50340" fmla="*/ 1596826 h 5973007"/>
              <a:gd name="connsiteX50341" fmla="*/ 1832398 w 6884782"/>
              <a:gd name="connsiteY50341" fmla="*/ 1596790 h 5973007"/>
              <a:gd name="connsiteX50342" fmla="*/ 1852933 w 6884782"/>
              <a:gd name="connsiteY50342" fmla="*/ 1597158 h 5973007"/>
              <a:gd name="connsiteX50343" fmla="*/ 1850662 w 6884782"/>
              <a:gd name="connsiteY50343" fmla="*/ 1625504 h 5973007"/>
              <a:gd name="connsiteX50344" fmla="*/ 1848906 w 6884782"/>
              <a:gd name="connsiteY50344" fmla="*/ 1626278 h 5973007"/>
              <a:gd name="connsiteX50345" fmla="*/ 1850455 w 6884782"/>
              <a:gd name="connsiteY50345" fmla="*/ 1626743 h 5973007"/>
              <a:gd name="connsiteX50346" fmla="*/ 1856547 w 6884782"/>
              <a:gd name="connsiteY50346" fmla="*/ 1629067 h 5973007"/>
              <a:gd name="connsiteX50347" fmla="*/ 1860264 w 6884782"/>
              <a:gd name="connsiteY50347" fmla="*/ 1631390 h 5973007"/>
              <a:gd name="connsiteX50348" fmla="*/ 1861813 w 6884782"/>
              <a:gd name="connsiteY50348" fmla="*/ 1627518 h 5973007"/>
              <a:gd name="connsiteX50349" fmla="*/ 1867492 w 6884782"/>
              <a:gd name="connsiteY50349" fmla="*/ 1623800 h 5973007"/>
              <a:gd name="connsiteX50350" fmla="*/ 1876063 w 6884782"/>
              <a:gd name="connsiteY50350" fmla="*/ 1629686 h 5973007"/>
              <a:gd name="connsiteX50351" fmla="*/ 1878540 w 6884782"/>
              <a:gd name="connsiteY50351" fmla="*/ 1635727 h 5973007"/>
              <a:gd name="connsiteX50352" fmla="*/ 1883497 w 6884782"/>
              <a:gd name="connsiteY50352" fmla="*/ 1638361 h 5973007"/>
              <a:gd name="connsiteX50353" fmla="*/ 1887421 w 6884782"/>
              <a:gd name="connsiteY50353" fmla="*/ 1645021 h 5973007"/>
              <a:gd name="connsiteX50354" fmla="*/ 1886492 w 6884782"/>
              <a:gd name="connsiteY50354" fmla="*/ 1653850 h 5973007"/>
              <a:gd name="connsiteX50355" fmla="*/ 1885562 w 6884782"/>
              <a:gd name="connsiteY50355" fmla="*/ 1655709 h 5973007"/>
              <a:gd name="connsiteX50356" fmla="*/ 1885872 w 6884782"/>
              <a:gd name="connsiteY50356" fmla="*/ 1656174 h 5973007"/>
              <a:gd name="connsiteX50357" fmla="*/ 1887421 w 6884782"/>
              <a:gd name="connsiteY50357" fmla="*/ 1664073 h 5973007"/>
              <a:gd name="connsiteX50358" fmla="*/ 1868732 w 6884782"/>
              <a:gd name="connsiteY50358" fmla="*/ 1661440 h 5973007"/>
              <a:gd name="connsiteX50359" fmla="*/ 1875753 w 6884782"/>
              <a:gd name="connsiteY50359" fmla="*/ 1657723 h 5973007"/>
              <a:gd name="connsiteX50360" fmla="*/ 1878128 w 6884782"/>
              <a:gd name="connsiteY50360" fmla="*/ 1655554 h 5973007"/>
              <a:gd name="connsiteX50361" fmla="*/ 1873688 w 6884782"/>
              <a:gd name="connsiteY50361" fmla="*/ 1648429 h 5973007"/>
              <a:gd name="connsiteX50362" fmla="*/ 1872345 w 6884782"/>
              <a:gd name="connsiteY50362" fmla="*/ 1643472 h 5973007"/>
              <a:gd name="connsiteX50363" fmla="*/ 1870590 w 6884782"/>
              <a:gd name="connsiteY50363" fmla="*/ 1644247 h 5973007"/>
              <a:gd name="connsiteX50364" fmla="*/ 1859129 w 6884782"/>
              <a:gd name="connsiteY50364" fmla="*/ 1640529 h 5973007"/>
              <a:gd name="connsiteX50365" fmla="*/ 1858612 w 6884782"/>
              <a:gd name="connsiteY50365" fmla="*/ 1635263 h 5973007"/>
              <a:gd name="connsiteX50366" fmla="*/ 1859129 w 6884782"/>
              <a:gd name="connsiteY50366" fmla="*/ 1634023 h 5973007"/>
              <a:gd name="connsiteX50367" fmla="*/ 1855618 w 6884782"/>
              <a:gd name="connsiteY50367" fmla="*/ 1634953 h 5973007"/>
              <a:gd name="connsiteX50368" fmla="*/ 1846944 w 6884782"/>
              <a:gd name="connsiteY50368" fmla="*/ 1633249 h 5973007"/>
              <a:gd name="connsiteX50369" fmla="*/ 1843124 w 6884782"/>
              <a:gd name="connsiteY50369" fmla="*/ 1630771 h 5973007"/>
              <a:gd name="connsiteX50370" fmla="*/ 1842917 w 6884782"/>
              <a:gd name="connsiteY50370" fmla="*/ 1632165 h 5973007"/>
              <a:gd name="connsiteX50371" fmla="*/ 1818652 w 6884782"/>
              <a:gd name="connsiteY50371" fmla="*/ 1634488 h 5973007"/>
              <a:gd name="connsiteX50372" fmla="*/ 1817826 w 6884782"/>
              <a:gd name="connsiteY50372" fmla="*/ 1630306 h 5973007"/>
              <a:gd name="connsiteX50373" fmla="*/ 1821956 w 6884782"/>
              <a:gd name="connsiteY50373" fmla="*/ 1624730 h 5973007"/>
              <a:gd name="connsiteX50374" fmla="*/ 1820407 w 6884782"/>
              <a:gd name="connsiteY50374" fmla="*/ 1623336 h 5973007"/>
              <a:gd name="connsiteX50375" fmla="*/ 1814729 w 6884782"/>
              <a:gd name="connsiteY50375" fmla="*/ 1615126 h 5973007"/>
              <a:gd name="connsiteX50376" fmla="*/ 1832398 w 6884782"/>
              <a:gd name="connsiteY50376" fmla="*/ 1596790 h 5973007"/>
              <a:gd name="connsiteX50377" fmla="*/ 5238388 w 6884782"/>
              <a:gd name="connsiteY50377" fmla="*/ 1596399 h 5973007"/>
              <a:gd name="connsiteX50378" fmla="*/ 5243083 w 6884782"/>
              <a:gd name="connsiteY50378" fmla="*/ 1596399 h 5973007"/>
              <a:gd name="connsiteX50379" fmla="*/ 5249486 w 6884782"/>
              <a:gd name="connsiteY50379" fmla="*/ 1605362 h 5973007"/>
              <a:gd name="connsiteX50380" fmla="*/ 5249486 w 6884782"/>
              <a:gd name="connsiteY50380" fmla="*/ 1609772 h 5973007"/>
              <a:gd name="connsiteX50381" fmla="*/ 5236894 w 6884782"/>
              <a:gd name="connsiteY50381" fmla="*/ 1609488 h 5973007"/>
              <a:gd name="connsiteX50382" fmla="*/ 5233479 w 6884782"/>
              <a:gd name="connsiteY50382" fmla="*/ 1609772 h 5973007"/>
              <a:gd name="connsiteX50383" fmla="*/ 5235827 w 6884782"/>
              <a:gd name="connsiteY50383" fmla="*/ 1612760 h 5973007"/>
              <a:gd name="connsiteX50384" fmla="*/ 5236467 w 6884782"/>
              <a:gd name="connsiteY50384" fmla="*/ 1620869 h 5973007"/>
              <a:gd name="connsiteX50385" fmla="*/ 5219180 w 6884782"/>
              <a:gd name="connsiteY50385" fmla="*/ 1634243 h 5973007"/>
              <a:gd name="connsiteX50386" fmla="*/ 5215978 w 6884782"/>
              <a:gd name="connsiteY50386" fmla="*/ 1633531 h 5973007"/>
              <a:gd name="connsiteX50387" fmla="*/ 5210857 w 6884782"/>
              <a:gd name="connsiteY50387" fmla="*/ 1633958 h 5973007"/>
              <a:gd name="connsiteX50388" fmla="*/ 5209576 w 6884782"/>
              <a:gd name="connsiteY50388" fmla="*/ 1618593 h 5973007"/>
              <a:gd name="connsiteX50389" fmla="*/ 5220887 w 6884782"/>
              <a:gd name="connsiteY50389" fmla="*/ 1604935 h 5973007"/>
              <a:gd name="connsiteX50390" fmla="*/ 5224729 w 6884782"/>
              <a:gd name="connsiteY50390" fmla="*/ 1604793 h 5973007"/>
              <a:gd name="connsiteX50391" fmla="*/ 5225796 w 6884782"/>
              <a:gd name="connsiteY50391" fmla="*/ 1601236 h 5973007"/>
              <a:gd name="connsiteX50392" fmla="*/ 5238388 w 6884782"/>
              <a:gd name="connsiteY50392" fmla="*/ 1596399 h 5973007"/>
              <a:gd name="connsiteX50393" fmla="*/ 1262101 w 6884782"/>
              <a:gd name="connsiteY50393" fmla="*/ 1596384 h 5973007"/>
              <a:gd name="connsiteX50394" fmla="*/ 1266438 w 6884782"/>
              <a:gd name="connsiteY50394" fmla="*/ 1598552 h 5973007"/>
              <a:gd name="connsiteX50395" fmla="*/ 1267470 w 6884782"/>
              <a:gd name="connsiteY50395" fmla="*/ 1596848 h 5973007"/>
              <a:gd name="connsiteX50396" fmla="*/ 1272427 w 6884782"/>
              <a:gd name="connsiteY50396" fmla="*/ 1597313 h 5973007"/>
              <a:gd name="connsiteX50397" fmla="*/ 1271291 w 6884782"/>
              <a:gd name="connsiteY50397" fmla="*/ 1606142 h 5973007"/>
              <a:gd name="connsiteX50398" fmla="*/ 1270362 w 6884782"/>
              <a:gd name="connsiteY50398" fmla="*/ 1605677 h 5973007"/>
              <a:gd name="connsiteX50399" fmla="*/ 1270258 w 6884782"/>
              <a:gd name="connsiteY50399" fmla="*/ 1606762 h 5973007"/>
              <a:gd name="connsiteX50400" fmla="*/ 1268606 w 6884782"/>
              <a:gd name="connsiteY50400" fmla="*/ 1609395 h 5973007"/>
              <a:gd name="connsiteX50401" fmla="*/ 1257351 w 6884782"/>
              <a:gd name="connsiteY50401" fmla="*/ 1611564 h 5973007"/>
              <a:gd name="connsiteX50402" fmla="*/ 1256422 w 6884782"/>
              <a:gd name="connsiteY50402" fmla="*/ 1610479 h 5973007"/>
              <a:gd name="connsiteX50403" fmla="*/ 1255286 w 6884782"/>
              <a:gd name="connsiteY50403" fmla="*/ 1611564 h 5973007"/>
              <a:gd name="connsiteX50404" fmla="*/ 1247542 w 6884782"/>
              <a:gd name="connsiteY50404" fmla="*/ 1611254 h 5973007"/>
              <a:gd name="connsiteX50405" fmla="*/ 1247232 w 6884782"/>
              <a:gd name="connsiteY50405" fmla="*/ 1610634 h 5973007"/>
              <a:gd name="connsiteX50406" fmla="*/ 1246716 w 6884782"/>
              <a:gd name="connsiteY50406" fmla="*/ 1611099 h 5973007"/>
              <a:gd name="connsiteX50407" fmla="*/ 1240830 w 6884782"/>
              <a:gd name="connsiteY50407" fmla="*/ 1614041 h 5973007"/>
              <a:gd name="connsiteX50408" fmla="*/ 1241863 w 6884782"/>
              <a:gd name="connsiteY50408" fmla="*/ 1611408 h 5973007"/>
              <a:gd name="connsiteX50409" fmla="*/ 1242689 w 6884782"/>
              <a:gd name="connsiteY50409" fmla="*/ 1610634 h 5973007"/>
              <a:gd name="connsiteX50410" fmla="*/ 1242792 w 6884782"/>
              <a:gd name="connsiteY50410" fmla="*/ 1609705 h 5973007"/>
              <a:gd name="connsiteX50411" fmla="*/ 1243618 w 6884782"/>
              <a:gd name="connsiteY50411" fmla="*/ 1609705 h 5973007"/>
              <a:gd name="connsiteX50412" fmla="*/ 1245477 w 6884782"/>
              <a:gd name="connsiteY50412" fmla="*/ 1608001 h 5973007"/>
              <a:gd name="connsiteX50413" fmla="*/ 1245787 w 6884782"/>
              <a:gd name="connsiteY50413" fmla="*/ 1607226 h 5973007"/>
              <a:gd name="connsiteX50414" fmla="*/ 1245993 w 6884782"/>
              <a:gd name="connsiteY50414" fmla="*/ 1606917 h 5973007"/>
              <a:gd name="connsiteX50415" fmla="*/ 1247129 w 6884782"/>
              <a:gd name="connsiteY50415" fmla="*/ 1605058 h 5973007"/>
              <a:gd name="connsiteX50416" fmla="*/ 1248265 w 6884782"/>
              <a:gd name="connsiteY50416" fmla="*/ 1602734 h 5973007"/>
              <a:gd name="connsiteX50417" fmla="*/ 1253634 w 6884782"/>
              <a:gd name="connsiteY50417" fmla="*/ 1599172 h 5973007"/>
              <a:gd name="connsiteX50418" fmla="*/ 1255286 w 6884782"/>
              <a:gd name="connsiteY50418" fmla="*/ 1600721 h 5973007"/>
              <a:gd name="connsiteX50419" fmla="*/ 1257041 w 6884782"/>
              <a:gd name="connsiteY50419" fmla="*/ 1599017 h 5973007"/>
              <a:gd name="connsiteX50420" fmla="*/ 1262101 w 6884782"/>
              <a:gd name="connsiteY50420" fmla="*/ 1596384 h 5973007"/>
              <a:gd name="connsiteX50421" fmla="*/ 1381156 w 6884782"/>
              <a:gd name="connsiteY50421" fmla="*/ 1595919 h 5973007"/>
              <a:gd name="connsiteX50422" fmla="*/ 1383634 w 6884782"/>
              <a:gd name="connsiteY50422" fmla="*/ 1596384 h 5973007"/>
              <a:gd name="connsiteX50423" fmla="*/ 1382395 w 6884782"/>
              <a:gd name="connsiteY50423" fmla="*/ 1599637 h 5973007"/>
              <a:gd name="connsiteX50424" fmla="*/ 1380123 w 6884782"/>
              <a:gd name="connsiteY50424" fmla="*/ 1596848 h 5973007"/>
              <a:gd name="connsiteX50425" fmla="*/ 1381156 w 6884782"/>
              <a:gd name="connsiteY50425" fmla="*/ 1595919 h 5973007"/>
              <a:gd name="connsiteX50426" fmla="*/ 4998291 w 6884782"/>
              <a:gd name="connsiteY50426" fmla="*/ 1595830 h 5973007"/>
              <a:gd name="connsiteX50427" fmla="*/ 5001065 w 6884782"/>
              <a:gd name="connsiteY50427" fmla="*/ 1597253 h 5973007"/>
              <a:gd name="connsiteX50428" fmla="*/ 5001278 w 6884782"/>
              <a:gd name="connsiteY50428" fmla="*/ 1603370 h 5973007"/>
              <a:gd name="connsiteX50429" fmla="*/ 4996796 w 6884782"/>
              <a:gd name="connsiteY50429" fmla="*/ 1607923 h 5973007"/>
              <a:gd name="connsiteX50430" fmla="*/ 4995943 w 6884782"/>
              <a:gd name="connsiteY50430" fmla="*/ 1611622 h 5973007"/>
              <a:gd name="connsiteX50431" fmla="*/ 4994663 w 6884782"/>
              <a:gd name="connsiteY50431" fmla="*/ 1611480 h 5973007"/>
              <a:gd name="connsiteX50432" fmla="*/ 4996370 w 6884782"/>
              <a:gd name="connsiteY50432" fmla="*/ 1597110 h 5973007"/>
              <a:gd name="connsiteX50433" fmla="*/ 4998291 w 6884782"/>
              <a:gd name="connsiteY50433" fmla="*/ 1595830 h 5973007"/>
              <a:gd name="connsiteX50434" fmla="*/ 1554419 w 6884782"/>
              <a:gd name="connsiteY50434" fmla="*/ 1595609 h 5973007"/>
              <a:gd name="connsiteX50435" fmla="*/ 1557724 w 6884782"/>
              <a:gd name="connsiteY50435" fmla="*/ 1596693 h 5973007"/>
              <a:gd name="connsiteX50436" fmla="*/ 1556071 w 6884782"/>
              <a:gd name="connsiteY50436" fmla="*/ 1597933 h 5973007"/>
              <a:gd name="connsiteX50437" fmla="*/ 1555245 w 6884782"/>
              <a:gd name="connsiteY50437" fmla="*/ 1598242 h 5973007"/>
              <a:gd name="connsiteX50438" fmla="*/ 1553077 w 6884782"/>
              <a:gd name="connsiteY50438" fmla="*/ 1600876 h 5973007"/>
              <a:gd name="connsiteX50439" fmla="*/ 1552767 w 6884782"/>
              <a:gd name="connsiteY50439" fmla="*/ 1601650 h 5973007"/>
              <a:gd name="connsiteX50440" fmla="*/ 1553180 w 6884782"/>
              <a:gd name="connsiteY50440" fmla="*/ 1601805 h 5973007"/>
              <a:gd name="connsiteX50441" fmla="*/ 1555142 w 6884782"/>
              <a:gd name="connsiteY50441" fmla="*/ 1606607 h 5973007"/>
              <a:gd name="connsiteX50442" fmla="*/ 1553800 w 6884782"/>
              <a:gd name="connsiteY50442" fmla="*/ 1607846 h 5973007"/>
              <a:gd name="connsiteX50443" fmla="*/ 1551322 w 6884782"/>
              <a:gd name="connsiteY50443" fmla="*/ 1606452 h 5973007"/>
              <a:gd name="connsiteX50444" fmla="*/ 1551115 w 6884782"/>
              <a:gd name="connsiteY50444" fmla="*/ 1607226 h 5973007"/>
              <a:gd name="connsiteX50445" fmla="*/ 1545230 w 6884782"/>
              <a:gd name="connsiteY50445" fmla="*/ 1623491 h 5973007"/>
              <a:gd name="connsiteX50446" fmla="*/ 1544507 w 6884782"/>
              <a:gd name="connsiteY50446" fmla="*/ 1618224 h 5973007"/>
              <a:gd name="connsiteX50447" fmla="*/ 1543371 w 6884782"/>
              <a:gd name="connsiteY50447" fmla="*/ 1618998 h 5973007"/>
              <a:gd name="connsiteX50448" fmla="*/ 1538518 w 6884782"/>
              <a:gd name="connsiteY50448" fmla="*/ 1618998 h 5973007"/>
              <a:gd name="connsiteX50449" fmla="*/ 1535627 w 6884782"/>
              <a:gd name="connsiteY50449" fmla="*/ 1616210 h 5973007"/>
              <a:gd name="connsiteX50450" fmla="*/ 1534904 w 6884782"/>
              <a:gd name="connsiteY50450" fmla="*/ 1614662 h 5973007"/>
              <a:gd name="connsiteX50451" fmla="*/ 1537485 w 6884782"/>
              <a:gd name="connsiteY50451" fmla="*/ 1611254 h 5973007"/>
              <a:gd name="connsiteX50452" fmla="*/ 1541409 w 6884782"/>
              <a:gd name="connsiteY50452" fmla="*/ 1610789 h 5973007"/>
              <a:gd name="connsiteX50453" fmla="*/ 1543474 w 6884782"/>
              <a:gd name="connsiteY50453" fmla="*/ 1612028 h 5973007"/>
              <a:gd name="connsiteX50454" fmla="*/ 1543371 w 6884782"/>
              <a:gd name="connsiteY50454" fmla="*/ 1611254 h 5973007"/>
              <a:gd name="connsiteX50455" fmla="*/ 1543474 w 6884782"/>
              <a:gd name="connsiteY50455" fmla="*/ 1610169 h 5973007"/>
              <a:gd name="connsiteX50456" fmla="*/ 1541925 w 6884782"/>
              <a:gd name="connsiteY50456" fmla="*/ 1609860 h 5973007"/>
              <a:gd name="connsiteX50457" fmla="*/ 1543474 w 6884782"/>
              <a:gd name="connsiteY50457" fmla="*/ 1606762 h 5973007"/>
              <a:gd name="connsiteX50458" fmla="*/ 1543784 w 6884782"/>
              <a:gd name="connsiteY50458" fmla="*/ 1607072 h 5973007"/>
              <a:gd name="connsiteX50459" fmla="*/ 1544094 w 6884782"/>
              <a:gd name="connsiteY50459" fmla="*/ 1604593 h 5973007"/>
              <a:gd name="connsiteX50460" fmla="*/ 1547295 w 6884782"/>
              <a:gd name="connsiteY50460" fmla="*/ 1597003 h 5973007"/>
              <a:gd name="connsiteX50461" fmla="*/ 1551735 w 6884782"/>
              <a:gd name="connsiteY50461" fmla="*/ 1596074 h 5973007"/>
              <a:gd name="connsiteX50462" fmla="*/ 1553593 w 6884782"/>
              <a:gd name="connsiteY50462" fmla="*/ 1596074 h 5973007"/>
              <a:gd name="connsiteX50463" fmla="*/ 978353 w 6884782"/>
              <a:gd name="connsiteY50463" fmla="*/ 1595609 h 5973007"/>
              <a:gd name="connsiteX50464" fmla="*/ 984652 w 6884782"/>
              <a:gd name="connsiteY50464" fmla="*/ 1596074 h 5973007"/>
              <a:gd name="connsiteX50465" fmla="*/ 985994 w 6884782"/>
              <a:gd name="connsiteY50465" fmla="*/ 1598552 h 5973007"/>
              <a:gd name="connsiteX50466" fmla="*/ 984549 w 6884782"/>
              <a:gd name="connsiteY50466" fmla="*/ 1602425 h 5973007"/>
              <a:gd name="connsiteX50467" fmla="*/ 977837 w 6884782"/>
              <a:gd name="connsiteY50467" fmla="*/ 1598087 h 5973007"/>
              <a:gd name="connsiteX50468" fmla="*/ 978353 w 6884782"/>
              <a:gd name="connsiteY50468" fmla="*/ 1595609 h 5973007"/>
              <a:gd name="connsiteX50469" fmla="*/ 872722 w 6884782"/>
              <a:gd name="connsiteY50469" fmla="*/ 1594990 h 5973007"/>
              <a:gd name="connsiteX50470" fmla="*/ 876233 w 6884782"/>
              <a:gd name="connsiteY50470" fmla="*/ 1595299 h 5973007"/>
              <a:gd name="connsiteX50471" fmla="*/ 877885 w 6884782"/>
              <a:gd name="connsiteY50471" fmla="*/ 1597158 h 5973007"/>
              <a:gd name="connsiteX50472" fmla="*/ 877059 w 6884782"/>
              <a:gd name="connsiteY50472" fmla="*/ 1598707 h 5973007"/>
              <a:gd name="connsiteX50473" fmla="*/ 877059 w 6884782"/>
              <a:gd name="connsiteY50473" fmla="*/ 1600411 h 5973007"/>
              <a:gd name="connsiteX50474" fmla="*/ 876129 w 6884782"/>
              <a:gd name="connsiteY50474" fmla="*/ 1600256 h 5973007"/>
              <a:gd name="connsiteX50475" fmla="*/ 875200 w 6884782"/>
              <a:gd name="connsiteY50475" fmla="*/ 1601030 h 5973007"/>
              <a:gd name="connsiteX50476" fmla="*/ 871689 w 6884782"/>
              <a:gd name="connsiteY50476" fmla="*/ 1599017 h 5973007"/>
              <a:gd name="connsiteX50477" fmla="*/ 870657 w 6884782"/>
              <a:gd name="connsiteY50477" fmla="*/ 1597158 h 5973007"/>
              <a:gd name="connsiteX50478" fmla="*/ 870966 w 6884782"/>
              <a:gd name="connsiteY50478" fmla="*/ 1595609 h 5973007"/>
              <a:gd name="connsiteX50479" fmla="*/ 872722 w 6884782"/>
              <a:gd name="connsiteY50479" fmla="*/ 1594990 h 5973007"/>
              <a:gd name="connsiteX50480" fmla="*/ 795073 w 6884782"/>
              <a:gd name="connsiteY50480" fmla="*/ 1594215 h 5973007"/>
              <a:gd name="connsiteX50481" fmla="*/ 801268 w 6884782"/>
              <a:gd name="connsiteY50481" fmla="*/ 1597313 h 5973007"/>
              <a:gd name="connsiteX50482" fmla="*/ 794970 w 6884782"/>
              <a:gd name="connsiteY50482" fmla="*/ 1599791 h 5973007"/>
              <a:gd name="connsiteX50483" fmla="*/ 794454 w 6884782"/>
              <a:gd name="connsiteY50483" fmla="*/ 1597158 h 5973007"/>
              <a:gd name="connsiteX50484" fmla="*/ 795073 w 6884782"/>
              <a:gd name="connsiteY50484" fmla="*/ 1594215 h 5973007"/>
              <a:gd name="connsiteX50485" fmla="*/ 3487492 w 6884782"/>
              <a:gd name="connsiteY50485" fmla="*/ 1594123 h 5973007"/>
              <a:gd name="connsiteX50486" fmla="*/ 3489840 w 6884782"/>
              <a:gd name="connsiteY50486" fmla="*/ 1595830 h 5973007"/>
              <a:gd name="connsiteX50487" fmla="*/ 3487278 w 6884782"/>
              <a:gd name="connsiteY50487" fmla="*/ 1602232 h 5973007"/>
              <a:gd name="connsiteX50488" fmla="*/ 3484078 w 6884782"/>
              <a:gd name="connsiteY50488" fmla="*/ 1601236 h 5973007"/>
              <a:gd name="connsiteX50489" fmla="*/ 3487492 w 6884782"/>
              <a:gd name="connsiteY50489" fmla="*/ 1594123 h 5973007"/>
              <a:gd name="connsiteX50490" fmla="*/ 3637953 w 6884782"/>
              <a:gd name="connsiteY50490" fmla="*/ 1593838 h 5973007"/>
              <a:gd name="connsiteX50491" fmla="*/ 3636886 w 6884782"/>
              <a:gd name="connsiteY50491" fmla="*/ 1596114 h 5973007"/>
              <a:gd name="connsiteX50492" fmla="*/ 3634752 w 6884782"/>
              <a:gd name="connsiteY50492" fmla="*/ 1598391 h 5973007"/>
              <a:gd name="connsiteX50493" fmla="*/ 3634965 w 6884782"/>
              <a:gd name="connsiteY50493" fmla="*/ 1600809 h 5973007"/>
              <a:gd name="connsiteX50494" fmla="*/ 3632191 w 6884782"/>
              <a:gd name="connsiteY50494" fmla="*/ 1604651 h 5973007"/>
              <a:gd name="connsiteX50495" fmla="*/ 3633044 w 6884782"/>
              <a:gd name="connsiteY50495" fmla="*/ 1604793 h 5973007"/>
              <a:gd name="connsiteX50496" fmla="*/ 3646276 w 6884782"/>
              <a:gd name="connsiteY50496" fmla="*/ 1609915 h 5973007"/>
              <a:gd name="connsiteX50497" fmla="*/ 3647130 w 6884782"/>
              <a:gd name="connsiteY50497" fmla="*/ 1613614 h 5973007"/>
              <a:gd name="connsiteX50498" fmla="*/ 3639874 w 6884782"/>
              <a:gd name="connsiteY50498" fmla="*/ 1624142 h 5973007"/>
              <a:gd name="connsiteX50499" fmla="*/ 3634752 w 6884782"/>
              <a:gd name="connsiteY50499" fmla="*/ 1626133 h 5973007"/>
              <a:gd name="connsiteX50500" fmla="*/ 3636886 w 6884782"/>
              <a:gd name="connsiteY50500" fmla="*/ 1626560 h 5973007"/>
              <a:gd name="connsiteX50501" fmla="*/ 3639874 w 6884782"/>
              <a:gd name="connsiteY50501" fmla="*/ 1628267 h 5973007"/>
              <a:gd name="connsiteX50502" fmla="*/ 3636886 w 6884782"/>
              <a:gd name="connsiteY50502" fmla="*/ 1627272 h 5973007"/>
              <a:gd name="connsiteX50503" fmla="*/ 3634538 w 6884782"/>
              <a:gd name="connsiteY50503" fmla="*/ 1628267 h 5973007"/>
              <a:gd name="connsiteX50504" fmla="*/ 3633258 w 6884782"/>
              <a:gd name="connsiteY50504" fmla="*/ 1627556 h 5973007"/>
              <a:gd name="connsiteX50505" fmla="*/ 3632831 w 6884782"/>
              <a:gd name="connsiteY50505" fmla="*/ 1626845 h 5973007"/>
              <a:gd name="connsiteX50506" fmla="*/ 3625788 w 6884782"/>
              <a:gd name="connsiteY50506" fmla="*/ 1626845 h 5973007"/>
              <a:gd name="connsiteX50507" fmla="*/ 3618532 w 6884782"/>
              <a:gd name="connsiteY50507" fmla="*/ 1624995 h 5973007"/>
              <a:gd name="connsiteX50508" fmla="*/ 3615757 w 6884782"/>
              <a:gd name="connsiteY50508" fmla="*/ 1624284 h 5973007"/>
              <a:gd name="connsiteX50509" fmla="*/ 3608074 w 6884782"/>
              <a:gd name="connsiteY50509" fmla="*/ 1619731 h 5973007"/>
              <a:gd name="connsiteX50510" fmla="*/ 3608501 w 6884782"/>
              <a:gd name="connsiteY50510" fmla="*/ 1620300 h 5973007"/>
              <a:gd name="connsiteX50511" fmla="*/ 3605726 w 6884782"/>
              <a:gd name="connsiteY50511" fmla="*/ 1628552 h 5973007"/>
              <a:gd name="connsiteX50512" fmla="*/ 3603379 w 6884782"/>
              <a:gd name="connsiteY50512" fmla="*/ 1629121 h 5973007"/>
              <a:gd name="connsiteX50513" fmla="*/ 3605086 w 6884782"/>
              <a:gd name="connsiteY50513" fmla="*/ 1632251 h 5973007"/>
              <a:gd name="connsiteX50514" fmla="*/ 3605086 w 6884782"/>
              <a:gd name="connsiteY50514" fmla="*/ 1632394 h 5973007"/>
              <a:gd name="connsiteX50515" fmla="*/ 3614904 w 6884782"/>
              <a:gd name="connsiteY50515" fmla="*/ 1633247 h 5973007"/>
              <a:gd name="connsiteX50516" fmla="*/ 3617251 w 6884782"/>
              <a:gd name="connsiteY50516" fmla="*/ 1634812 h 5973007"/>
              <a:gd name="connsiteX50517" fmla="*/ 3619813 w 6884782"/>
              <a:gd name="connsiteY50517" fmla="*/ 1634669 h 5973007"/>
              <a:gd name="connsiteX50518" fmla="*/ 3618958 w 6884782"/>
              <a:gd name="connsiteY50518" fmla="*/ 1636092 h 5973007"/>
              <a:gd name="connsiteX50519" fmla="*/ 3619385 w 6884782"/>
              <a:gd name="connsiteY50519" fmla="*/ 1636234 h 5973007"/>
              <a:gd name="connsiteX50520" fmla="*/ 3618745 w 6884782"/>
              <a:gd name="connsiteY50520" fmla="*/ 1636661 h 5973007"/>
              <a:gd name="connsiteX50521" fmla="*/ 3619172 w 6884782"/>
              <a:gd name="connsiteY50521" fmla="*/ 1637231 h 5973007"/>
              <a:gd name="connsiteX50522" fmla="*/ 3619385 w 6884782"/>
              <a:gd name="connsiteY50522" fmla="*/ 1640076 h 5973007"/>
              <a:gd name="connsiteX50523" fmla="*/ 3614050 w 6884782"/>
              <a:gd name="connsiteY50523" fmla="*/ 1642352 h 5973007"/>
              <a:gd name="connsiteX50524" fmla="*/ 3609141 w 6884782"/>
              <a:gd name="connsiteY50524" fmla="*/ 1638084 h 5973007"/>
              <a:gd name="connsiteX50525" fmla="*/ 3605300 w 6884782"/>
              <a:gd name="connsiteY50525" fmla="*/ 1635950 h 5973007"/>
              <a:gd name="connsiteX50526" fmla="*/ 3605086 w 6884782"/>
              <a:gd name="connsiteY50526" fmla="*/ 1633104 h 5973007"/>
              <a:gd name="connsiteX50527" fmla="*/ 3604873 w 6884782"/>
              <a:gd name="connsiteY50527" fmla="*/ 1635096 h 5973007"/>
              <a:gd name="connsiteX50528" fmla="*/ 3603379 w 6884782"/>
              <a:gd name="connsiteY50528" fmla="*/ 1636946 h 5973007"/>
              <a:gd name="connsiteX50529" fmla="*/ 3600818 w 6884782"/>
              <a:gd name="connsiteY50529" fmla="*/ 1636803 h 5973007"/>
              <a:gd name="connsiteX50530" fmla="*/ 3596976 w 6884782"/>
              <a:gd name="connsiteY50530" fmla="*/ 1634385 h 5973007"/>
              <a:gd name="connsiteX50531" fmla="*/ 3596336 w 6884782"/>
              <a:gd name="connsiteY50531" fmla="*/ 1631113 h 5973007"/>
              <a:gd name="connsiteX50532" fmla="*/ 3597403 w 6884782"/>
              <a:gd name="connsiteY50532" fmla="*/ 1630259 h 5973007"/>
              <a:gd name="connsiteX50533" fmla="*/ 3596549 w 6884782"/>
              <a:gd name="connsiteY50533" fmla="*/ 1628979 h 5973007"/>
              <a:gd name="connsiteX50534" fmla="*/ 3594628 w 6884782"/>
              <a:gd name="connsiteY50534" fmla="*/ 1623857 h 5973007"/>
              <a:gd name="connsiteX50535" fmla="*/ 3598470 w 6884782"/>
              <a:gd name="connsiteY50535" fmla="*/ 1628694 h 5973007"/>
              <a:gd name="connsiteX50536" fmla="*/ 3596976 w 6884782"/>
              <a:gd name="connsiteY50536" fmla="*/ 1622719 h 5973007"/>
              <a:gd name="connsiteX50537" fmla="*/ 3598897 w 6884782"/>
              <a:gd name="connsiteY50537" fmla="*/ 1615748 h 5973007"/>
              <a:gd name="connsiteX50538" fmla="*/ 3604446 w 6884782"/>
              <a:gd name="connsiteY50538" fmla="*/ 1616744 h 5973007"/>
              <a:gd name="connsiteX50539" fmla="*/ 3604019 w 6884782"/>
              <a:gd name="connsiteY50539" fmla="*/ 1616174 h 5973007"/>
              <a:gd name="connsiteX50540" fmla="*/ 3624721 w 6884782"/>
              <a:gd name="connsiteY50540" fmla="*/ 1603655 h 5973007"/>
              <a:gd name="connsiteX50541" fmla="*/ 3627709 w 6884782"/>
              <a:gd name="connsiteY50541" fmla="*/ 1604082 h 5973007"/>
              <a:gd name="connsiteX50542" fmla="*/ 3628349 w 6884782"/>
              <a:gd name="connsiteY50542" fmla="*/ 1602943 h 5973007"/>
              <a:gd name="connsiteX50543" fmla="*/ 3630484 w 6884782"/>
              <a:gd name="connsiteY50543" fmla="*/ 1600525 h 5973007"/>
              <a:gd name="connsiteX50544" fmla="*/ 3632617 w 6884782"/>
              <a:gd name="connsiteY50544" fmla="*/ 1598391 h 5973007"/>
              <a:gd name="connsiteX50545" fmla="*/ 3633684 w 6884782"/>
              <a:gd name="connsiteY50545" fmla="*/ 1595972 h 5973007"/>
              <a:gd name="connsiteX50546" fmla="*/ 3637953 w 6884782"/>
              <a:gd name="connsiteY50546" fmla="*/ 1593838 h 5973007"/>
              <a:gd name="connsiteX50547" fmla="*/ 1460043 w 6884782"/>
              <a:gd name="connsiteY50547" fmla="*/ 1593441 h 5973007"/>
              <a:gd name="connsiteX50548" fmla="*/ 1462315 w 6884782"/>
              <a:gd name="connsiteY50548" fmla="*/ 1594680 h 5973007"/>
              <a:gd name="connsiteX50549" fmla="*/ 1455913 w 6884782"/>
              <a:gd name="connsiteY50549" fmla="*/ 1605832 h 5973007"/>
              <a:gd name="connsiteX50550" fmla="*/ 1454261 w 6884782"/>
              <a:gd name="connsiteY50550" fmla="*/ 1606917 h 5973007"/>
              <a:gd name="connsiteX50551" fmla="*/ 1448065 w 6884782"/>
              <a:gd name="connsiteY50551" fmla="*/ 1607846 h 5973007"/>
              <a:gd name="connsiteX50552" fmla="*/ 1447652 w 6884782"/>
              <a:gd name="connsiteY50552" fmla="*/ 1605832 h 5973007"/>
              <a:gd name="connsiteX50553" fmla="*/ 1458391 w 6884782"/>
              <a:gd name="connsiteY50553" fmla="*/ 1594680 h 5973007"/>
              <a:gd name="connsiteX50554" fmla="*/ 1460043 w 6884782"/>
              <a:gd name="connsiteY50554" fmla="*/ 1593441 h 5973007"/>
              <a:gd name="connsiteX50555" fmla="*/ 1567739 w 6884782"/>
              <a:gd name="connsiteY50555" fmla="*/ 1593131 h 5973007"/>
              <a:gd name="connsiteX50556" fmla="*/ 1579820 w 6884782"/>
              <a:gd name="connsiteY50556" fmla="*/ 1605058 h 5973007"/>
              <a:gd name="connsiteX50557" fmla="*/ 1580233 w 6884782"/>
              <a:gd name="connsiteY50557" fmla="*/ 1607226 h 5973007"/>
              <a:gd name="connsiteX50558" fmla="*/ 1580337 w 6884782"/>
              <a:gd name="connsiteY50558" fmla="*/ 1607072 h 5973007"/>
              <a:gd name="connsiteX50559" fmla="*/ 1582712 w 6884782"/>
              <a:gd name="connsiteY50559" fmla="*/ 1615591 h 5973007"/>
              <a:gd name="connsiteX50560" fmla="*/ 1577859 w 6884782"/>
              <a:gd name="connsiteY50560" fmla="*/ 1611719 h 5973007"/>
              <a:gd name="connsiteX50561" fmla="*/ 1578478 w 6884782"/>
              <a:gd name="connsiteY50561" fmla="*/ 1608930 h 5973007"/>
              <a:gd name="connsiteX50562" fmla="*/ 1579304 w 6884782"/>
              <a:gd name="connsiteY50562" fmla="*/ 1608156 h 5973007"/>
              <a:gd name="connsiteX50563" fmla="*/ 1576310 w 6884782"/>
              <a:gd name="connsiteY50563" fmla="*/ 1606142 h 5973007"/>
              <a:gd name="connsiteX50564" fmla="*/ 1571766 w 6884782"/>
              <a:gd name="connsiteY50564" fmla="*/ 1602734 h 5973007"/>
              <a:gd name="connsiteX50565" fmla="*/ 1567739 w 6884782"/>
              <a:gd name="connsiteY50565" fmla="*/ 1593131 h 5973007"/>
              <a:gd name="connsiteX50566" fmla="*/ 5761053 w 6884782"/>
              <a:gd name="connsiteY50566" fmla="*/ 1592984 h 5973007"/>
              <a:gd name="connsiteX50567" fmla="*/ 5765748 w 6884782"/>
              <a:gd name="connsiteY50567" fmla="*/ 1595972 h 5973007"/>
              <a:gd name="connsiteX50568" fmla="*/ 5765108 w 6884782"/>
              <a:gd name="connsiteY50568" fmla="*/ 1602943 h 5973007"/>
              <a:gd name="connsiteX50569" fmla="*/ 5765535 w 6884782"/>
              <a:gd name="connsiteY50569" fmla="*/ 1607496 h 5973007"/>
              <a:gd name="connsiteX50570" fmla="*/ 5762973 w 6884782"/>
              <a:gd name="connsiteY50570" fmla="*/ 1610342 h 5973007"/>
              <a:gd name="connsiteX50571" fmla="*/ 5758278 w 6884782"/>
              <a:gd name="connsiteY50571" fmla="*/ 1601378 h 5973007"/>
              <a:gd name="connsiteX50572" fmla="*/ 5761053 w 6884782"/>
              <a:gd name="connsiteY50572" fmla="*/ 1592984 h 5973007"/>
              <a:gd name="connsiteX50573" fmla="*/ 3535511 w 6884782"/>
              <a:gd name="connsiteY50573" fmla="*/ 1592700 h 5973007"/>
              <a:gd name="connsiteX50574" fmla="*/ 3539566 w 6884782"/>
              <a:gd name="connsiteY50574" fmla="*/ 1595688 h 5973007"/>
              <a:gd name="connsiteX50575" fmla="*/ 3533377 w 6884782"/>
              <a:gd name="connsiteY50575" fmla="*/ 1602374 h 5973007"/>
              <a:gd name="connsiteX50576" fmla="*/ 3529536 w 6884782"/>
              <a:gd name="connsiteY50576" fmla="*/ 1594834 h 5973007"/>
              <a:gd name="connsiteX50577" fmla="*/ 3535511 w 6884782"/>
              <a:gd name="connsiteY50577" fmla="*/ 1592700 h 5973007"/>
              <a:gd name="connsiteX50578" fmla="*/ 4988046 w 6884782"/>
              <a:gd name="connsiteY50578" fmla="*/ 1592558 h 5973007"/>
              <a:gd name="connsiteX50579" fmla="*/ 4987833 w 6884782"/>
              <a:gd name="connsiteY50579" fmla="*/ 1599102 h 5973007"/>
              <a:gd name="connsiteX50580" fmla="*/ 4986552 w 6884782"/>
              <a:gd name="connsiteY50580" fmla="*/ 1592984 h 5973007"/>
              <a:gd name="connsiteX50581" fmla="*/ 4988046 w 6884782"/>
              <a:gd name="connsiteY50581" fmla="*/ 1592558 h 5973007"/>
              <a:gd name="connsiteX50582" fmla="*/ 4806426 w 6884782"/>
              <a:gd name="connsiteY50582" fmla="*/ 1592415 h 5973007"/>
              <a:gd name="connsiteX50583" fmla="*/ 4809201 w 6884782"/>
              <a:gd name="connsiteY50583" fmla="*/ 1592558 h 5973007"/>
              <a:gd name="connsiteX50584" fmla="*/ 4811335 w 6884782"/>
              <a:gd name="connsiteY50584" fmla="*/ 1595546 h 5973007"/>
              <a:gd name="connsiteX50585" fmla="*/ 4809627 w 6884782"/>
              <a:gd name="connsiteY50585" fmla="*/ 1600525 h 5973007"/>
              <a:gd name="connsiteX50586" fmla="*/ 4806853 w 6884782"/>
              <a:gd name="connsiteY50586" fmla="*/ 1600383 h 5973007"/>
              <a:gd name="connsiteX50587" fmla="*/ 4803865 w 6884782"/>
              <a:gd name="connsiteY50587" fmla="*/ 1598391 h 5973007"/>
              <a:gd name="connsiteX50588" fmla="*/ 4806426 w 6884782"/>
              <a:gd name="connsiteY50588" fmla="*/ 1592415 h 5973007"/>
              <a:gd name="connsiteX50589" fmla="*/ 3712864 w 6884782"/>
              <a:gd name="connsiteY50589" fmla="*/ 1592273 h 5973007"/>
              <a:gd name="connsiteX50590" fmla="*/ 3714357 w 6884782"/>
              <a:gd name="connsiteY50590" fmla="*/ 1592700 h 5973007"/>
              <a:gd name="connsiteX50591" fmla="*/ 3714357 w 6884782"/>
              <a:gd name="connsiteY50591" fmla="*/ 1593838 h 5973007"/>
              <a:gd name="connsiteX50592" fmla="*/ 3712223 w 6884782"/>
              <a:gd name="connsiteY50592" fmla="*/ 1592700 h 5973007"/>
              <a:gd name="connsiteX50593" fmla="*/ 3712864 w 6884782"/>
              <a:gd name="connsiteY50593" fmla="*/ 1592273 h 5973007"/>
              <a:gd name="connsiteX50594" fmla="*/ 5374976 w 6884782"/>
              <a:gd name="connsiteY50594" fmla="*/ 1591989 h 5973007"/>
              <a:gd name="connsiteX50595" fmla="*/ 5378818 w 6884782"/>
              <a:gd name="connsiteY50595" fmla="*/ 1594550 h 5973007"/>
              <a:gd name="connsiteX50596" fmla="*/ 5375830 w 6884782"/>
              <a:gd name="connsiteY50596" fmla="*/ 1603086 h 5973007"/>
              <a:gd name="connsiteX50597" fmla="*/ 5370281 w 6884782"/>
              <a:gd name="connsiteY50597" fmla="*/ 1593981 h 5973007"/>
              <a:gd name="connsiteX50598" fmla="*/ 5374976 w 6884782"/>
              <a:gd name="connsiteY50598" fmla="*/ 1591989 h 5973007"/>
              <a:gd name="connsiteX50599" fmla="*/ 3846678 w 6884782"/>
              <a:gd name="connsiteY50599" fmla="*/ 1591989 h 5973007"/>
              <a:gd name="connsiteX50600" fmla="*/ 3852226 w 6884782"/>
              <a:gd name="connsiteY50600" fmla="*/ 1595261 h 5973007"/>
              <a:gd name="connsiteX50601" fmla="*/ 3856495 w 6884782"/>
              <a:gd name="connsiteY50601" fmla="*/ 1596826 h 5973007"/>
              <a:gd name="connsiteX50602" fmla="*/ 3857562 w 6884782"/>
              <a:gd name="connsiteY50602" fmla="*/ 1600098 h 5973007"/>
              <a:gd name="connsiteX50603" fmla="*/ 3847318 w 6884782"/>
              <a:gd name="connsiteY50603" fmla="*/ 1601094 h 5973007"/>
              <a:gd name="connsiteX50604" fmla="*/ 3841555 w 6884782"/>
              <a:gd name="connsiteY50604" fmla="*/ 1595261 h 5973007"/>
              <a:gd name="connsiteX50605" fmla="*/ 3846678 w 6884782"/>
              <a:gd name="connsiteY50605" fmla="*/ 1591989 h 5973007"/>
              <a:gd name="connsiteX50606" fmla="*/ 1044088 w 6884782"/>
              <a:gd name="connsiteY50606" fmla="*/ 1591853 h 5973007"/>
              <a:gd name="connsiteX50607" fmla="*/ 1050529 w 6884782"/>
              <a:gd name="connsiteY50607" fmla="*/ 1591892 h 5973007"/>
              <a:gd name="connsiteX50608" fmla="*/ 1052284 w 6884782"/>
              <a:gd name="connsiteY50608" fmla="*/ 1595144 h 5973007"/>
              <a:gd name="connsiteX50609" fmla="*/ 1039584 w 6884782"/>
              <a:gd name="connsiteY50609" fmla="*/ 1596693 h 5973007"/>
              <a:gd name="connsiteX50610" fmla="*/ 1044088 w 6884782"/>
              <a:gd name="connsiteY50610" fmla="*/ 1591853 h 5973007"/>
              <a:gd name="connsiteX50611" fmla="*/ 1435674 w 6884782"/>
              <a:gd name="connsiteY50611" fmla="*/ 1591737 h 5973007"/>
              <a:gd name="connsiteX50612" fmla="*/ 1437946 w 6884782"/>
              <a:gd name="connsiteY50612" fmla="*/ 1595454 h 5973007"/>
              <a:gd name="connsiteX50613" fmla="*/ 1432887 w 6884782"/>
              <a:gd name="connsiteY50613" fmla="*/ 1599946 h 5973007"/>
              <a:gd name="connsiteX50614" fmla="*/ 1429996 w 6884782"/>
              <a:gd name="connsiteY50614" fmla="*/ 1603354 h 5973007"/>
              <a:gd name="connsiteX50615" fmla="*/ 1432680 w 6884782"/>
              <a:gd name="connsiteY50615" fmla="*/ 1598087 h 5973007"/>
              <a:gd name="connsiteX50616" fmla="*/ 1432061 w 6884782"/>
              <a:gd name="connsiteY50616" fmla="*/ 1595454 h 5973007"/>
              <a:gd name="connsiteX50617" fmla="*/ 1435674 w 6884782"/>
              <a:gd name="connsiteY50617" fmla="*/ 1591737 h 5973007"/>
              <a:gd name="connsiteX50618" fmla="*/ 5886117 w 6884782"/>
              <a:gd name="connsiteY50618" fmla="*/ 1591562 h 5973007"/>
              <a:gd name="connsiteX50619" fmla="*/ 5888464 w 6884782"/>
              <a:gd name="connsiteY50619" fmla="*/ 1591562 h 5973007"/>
              <a:gd name="connsiteX50620" fmla="*/ 5887184 w 6884782"/>
              <a:gd name="connsiteY50620" fmla="*/ 1599102 h 5973007"/>
              <a:gd name="connsiteX50621" fmla="*/ 5884196 w 6884782"/>
              <a:gd name="connsiteY50621" fmla="*/ 1600525 h 5973007"/>
              <a:gd name="connsiteX50622" fmla="*/ 5883556 w 6884782"/>
              <a:gd name="connsiteY50622" fmla="*/ 1596826 h 5973007"/>
              <a:gd name="connsiteX50623" fmla="*/ 5885690 w 6884782"/>
              <a:gd name="connsiteY50623" fmla="*/ 1595404 h 5973007"/>
              <a:gd name="connsiteX50624" fmla="*/ 5886117 w 6884782"/>
              <a:gd name="connsiteY50624" fmla="*/ 1591562 h 5973007"/>
              <a:gd name="connsiteX50625" fmla="*/ 5633214 w 6884782"/>
              <a:gd name="connsiteY50625" fmla="*/ 1590993 h 5973007"/>
              <a:gd name="connsiteX50626" fmla="*/ 5635135 w 6884782"/>
              <a:gd name="connsiteY50626" fmla="*/ 1594834 h 5973007"/>
              <a:gd name="connsiteX50627" fmla="*/ 5634495 w 6884782"/>
              <a:gd name="connsiteY50627" fmla="*/ 1599671 h 5973007"/>
              <a:gd name="connsiteX50628" fmla="*/ 5633214 w 6884782"/>
              <a:gd name="connsiteY50628" fmla="*/ 1590993 h 5973007"/>
              <a:gd name="connsiteX50629" fmla="*/ 1173301 w 6884782"/>
              <a:gd name="connsiteY50629" fmla="*/ 1590652 h 5973007"/>
              <a:gd name="connsiteX50630" fmla="*/ 1176295 w 6884782"/>
              <a:gd name="connsiteY50630" fmla="*/ 1594060 h 5973007"/>
              <a:gd name="connsiteX50631" fmla="*/ 1174437 w 6884782"/>
              <a:gd name="connsiteY50631" fmla="*/ 1599327 h 5973007"/>
              <a:gd name="connsiteX50632" fmla="*/ 1174953 w 6884782"/>
              <a:gd name="connsiteY50632" fmla="*/ 1599946 h 5973007"/>
              <a:gd name="connsiteX50633" fmla="*/ 1168241 w 6884782"/>
              <a:gd name="connsiteY50633" fmla="*/ 1605522 h 5973007"/>
              <a:gd name="connsiteX50634" fmla="*/ 1166176 w 6884782"/>
              <a:gd name="connsiteY50634" fmla="*/ 1605058 h 5973007"/>
              <a:gd name="connsiteX50635" fmla="*/ 1165969 w 6884782"/>
              <a:gd name="connsiteY50635" fmla="*/ 1605213 h 5973007"/>
              <a:gd name="connsiteX50636" fmla="*/ 1162769 w 6884782"/>
              <a:gd name="connsiteY50636" fmla="*/ 1601495 h 5973007"/>
              <a:gd name="connsiteX50637" fmla="*/ 1163182 w 6884782"/>
              <a:gd name="connsiteY50637" fmla="*/ 1597777 h 5973007"/>
              <a:gd name="connsiteX50638" fmla="*/ 1164937 w 6884782"/>
              <a:gd name="connsiteY50638" fmla="*/ 1594835 h 5973007"/>
              <a:gd name="connsiteX50639" fmla="*/ 1168241 w 6884782"/>
              <a:gd name="connsiteY50639" fmla="*/ 1593286 h 5973007"/>
              <a:gd name="connsiteX50640" fmla="*/ 1173301 w 6884782"/>
              <a:gd name="connsiteY50640" fmla="*/ 1590652 h 5973007"/>
              <a:gd name="connsiteX50641" fmla="*/ 1352450 w 6884782"/>
              <a:gd name="connsiteY50641" fmla="*/ 1590497 h 5973007"/>
              <a:gd name="connsiteX50642" fmla="*/ 1354309 w 6884782"/>
              <a:gd name="connsiteY50642" fmla="*/ 1598397 h 5973007"/>
              <a:gd name="connsiteX50643" fmla="*/ 1349972 w 6884782"/>
              <a:gd name="connsiteY50643" fmla="*/ 1595144 h 5973007"/>
              <a:gd name="connsiteX50644" fmla="*/ 1352450 w 6884782"/>
              <a:gd name="connsiteY50644" fmla="*/ 1590497 h 5973007"/>
              <a:gd name="connsiteX50645" fmla="*/ 5559798 w 6884782"/>
              <a:gd name="connsiteY50645" fmla="*/ 1589001 h 5973007"/>
              <a:gd name="connsiteX50646" fmla="*/ 5560865 w 6884782"/>
              <a:gd name="connsiteY50646" fmla="*/ 1596968 h 5973007"/>
              <a:gd name="connsiteX50647" fmla="*/ 5561292 w 6884782"/>
              <a:gd name="connsiteY50647" fmla="*/ 1597537 h 5973007"/>
              <a:gd name="connsiteX50648" fmla="*/ 5561078 w 6884782"/>
              <a:gd name="connsiteY50648" fmla="*/ 1597964 h 5973007"/>
              <a:gd name="connsiteX50649" fmla="*/ 5561932 w 6884782"/>
              <a:gd name="connsiteY50649" fmla="*/ 1607496 h 5973007"/>
              <a:gd name="connsiteX50650" fmla="*/ 5560438 w 6884782"/>
              <a:gd name="connsiteY50650" fmla="*/ 1616459 h 5973007"/>
              <a:gd name="connsiteX50651" fmla="*/ 5561719 w 6884782"/>
              <a:gd name="connsiteY50651" fmla="*/ 1616744 h 5973007"/>
              <a:gd name="connsiteX50652" fmla="*/ 5578579 w 6884782"/>
              <a:gd name="connsiteY50652" fmla="*/ 1617597 h 5973007"/>
              <a:gd name="connsiteX50653" fmla="*/ 5576231 w 6884782"/>
              <a:gd name="connsiteY50653" fmla="*/ 1629548 h 5973007"/>
              <a:gd name="connsiteX50654" fmla="*/ 5560012 w 6884782"/>
              <a:gd name="connsiteY50654" fmla="*/ 1637515 h 5973007"/>
              <a:gd name="connsiteX50655" fmla="*/ 5559584 w 6884782"/>
              <a:gd name="connsiteY50655" fmla="*/ 1637373 h 5973007"/>
              <a:gd name="connsiteX50656" fmla="*/ 5552755 w 6884782"/>
              <a:gd name="connsiteY50656" fmla="*/ 1637373 h 5973007"/>
              <a:gd name="connsiteX50657" fmla="*/ 5551688 w 6884782"/>
              <a:gd name="connsiteY50657" fmla="*/ 1635096 h 5973007"/>
              <a:gd name="connsiteX50658" fmla="*/ 5547633 w 6884782"/>
              <a:gd name="connsiteY50658" fmla="*/ 1636234 h 5973007"/>
              <a:gd name="connsiteX50659" fmla="*/ 5545072 w 6884782"/>
              <a:gd name="connsiteY50659" fmla="*/ 1627414 h 5973007"/>
              <a:gd name="connsiteX50660" fmla="*/ 5530986 w 6884782"/>
              <a:gd name="connsiteY50660" fmla="*/ 1634243 h 5973007"/>
              <a:gd name="connsiteX50661" fmla="*/ 5527785 w 6884782"/>
              <a:gd name="connsiteY50661" fmla="*/ 1633247 h 5973007"/>
              <a:gd name="connsiteX50662" fmla="*/ 5526077 w 6884782"/>
              <a:gd name="connsiteY50662" fmla="*/ 1633247 h 5973007"/>
              <a:gd name="connsiteX50663" fmla="*/ 5537389 w 6884782"/>
              <a:gd name="connsiteY50663" fmla="*/ 1637231 h 5973007"/>
              <a:gd name="connsiteX50664" fmla="*/ 5545499 w 6884782"/>
              <a:gd name="connsiteY50664" fmla="*/ 1646051 h 5973007"/>
              <a:gd name="connsiteX50665" fmla="*/ 5546139 w 6884782"/>
              <a:gd name="connsiteY50665" fmla="*/ 1662839 h 5973007"/>
              <a:gd name="connsiteX50666" fmla="*/ 5546353 w 6884782"/>
              <a:gd name="connsiteY50666" fmla="*/ 1663408 h 5973007"/>
              <a:gd name="connsiteX50667" fmla="*/ 5546779 w 6884782"/>
              <a:gd name="connsiteY50667" fmla="*/ 1663123 h 5973007"/>
              <a:gd name="connsiteX50668" fmla="*/ 5547206 w 6884782"/>
              <a:gd name="connsiteY50668" fmla="*/ 1663835 h 5973007"/>
              <a:gd name="connsiteX50669" fmla="*/ 5548273 w 6884782"/>
              <a:gd name="connsiteY50669" fmla="*/ 1664973 h 5973007"/>
              <a:gd name="connsiteX50670" fmla="*/ 5548486 w 6884782"/>
              <a:gd name="connsiteY50670" fmla="*/ 1665542 h 5973007"/>
              <a:gd name="connsiteX50671" fmla="*/ 5547846 w 6884782"/>
              <a:gd name="connsiteY50671" fmla="*/ 1666965 h 5973007"/>
              <a:gd name="connsiteX50672" fmla="*/ 5548486 w 6884782"/>
              <a:gd name="connsiteY50672" fmla="*/ 1668814 h 5973007"/>
              <a:gd name="connsiteX50673" fmla="*/ 5550407 w 6884782"/>
              <a:gd name="connsiteY50673" fmla="*/ 1675216 h 5973007"/>
              <a:gd name="connsiteX50674" fmla="*/ 5543365 w 6884782"/>
              <a:gd name="connsiteY50674" fmla="*/ 1690866 h 5973007"/>
              <a:gd name="connsiteX50675" fmla="*/ 5540377 w 6884782"/>
              <a:gd name="connsiteY50675" fmla="*/ 1695418 h 5973007"/>
              <a:gd name="connsiteX50676" fmla="*/ 5538242 w 6884782"/>
              <a:gd name="connsiteY50676" fmla="*/ 1699544 h 5973007"/>
              <a:gd name="connsiteX50677" fmla="*/ 5538029 w 6884782"/>
              <a:gd name="connsiteY50677" fmla="*/ 1699971 h 5973007"/>
              <a:gd name="connsiteX50678" fmla="*/ 5536535 w 6884782"/>
              <a:gd name="connsiteY50678" fmla="*/ 1709788 h 5973007"/>
              <a:gd name="connsiteX50679" fmla="*/ 5530773 w 6884782"/>
              <a:gd name="connsiteY50679" fmla="*/ 1717897 h 5973007"/>
              <a:gd name="connsiteX50680" fmla="*/ 5520956 w 6884782"/>
              <a:gd name="connsiteY50680" fmla="*/ 1720742 h 5973007"/>
              <a:gd name="connsiteX50681" fmla="*/ 5517541 w 6884782"/>
              <a:gd name="connsiteY50681" fmla="*/ 1719035 h 5973007"/>
              <a:gd name="connsiteX50682" fmla="*/ 5504095 w 6884782"/>
              <a:gd name="connsiteY50682" fmla="*/ 1724583 h 5973007"/>
              <a:gd name="connsiteX50683" fmla="*/ 5503669 w 6884782"/>
              <a:gd name="connsiteY50683" fmla="*/ 1724583 h 5973007"/>
              <a:gd name="connsiteX50684" fmla="*/ 5501961 w 6884782"/>
              <a:gd name="connsiteY50684" fmla="*/ 1726006 h 5973007"/>
              <a:gd name="connsiteX50685" fmla="*/ 5502815 w 6884782"/>
              <a:gd name="connsiteY50685" fmla="*/ 1728282 h 5973007"/>
              <a:gd name="connsiteX50686" fmla="*/ 5513273 w 6884782"/>
              <a:gd name="connsiteY50686" fmla="*/ 1739237 h 5973007"/>
              <a:gd name="connsiteX50687" fmla="*/ 5505802 w 6884782"/>
              <a:gd name="connsiteY50687" fmla="*/ 1739522 h 5973007"/>
              <a:gd name="connsiteX50688" fmla="*/ 5506657 w 6884782"/>
              <a:gd name="connsiteY50688" fmla="*/ 1741087 h 5973007"/>
              <a:gd name="connsiteX50689" fmla="*/ 5508364 w 6884782"/>
              <a:gd name="connsiteY50689" fmla="*/ 1752468 h 5973007"/>
              <a:gd name="connsiteX50690" fmla="*/ 5508364 w 6884782"/>
              <a:gd name="connsiteY50690" fmla="*/ 1759155 h 5973007"/>
              <a:gd name="connsiteX50691" fmla="*/ 5510711 w 6884782"/>
              <a:gd name="connsiteY50691" fmla="*/ 1757305 h 5973007"/>
              <a:gd name="connsiteX50692" fmla="*/ 5520315 w 6884782"/>
              <a:gd name="connsiteY50692" fmla="*/ 1755029 h 5973007"/>
              <a:gd name="connsiteX50693" fmla="*/ 5520742 w 6884782"/>
              <a:gd name="connsiteY50693" fmla="*/ 1765984 h 5973007"/>
              <a:gd name="connsiteX50694" fmla="*/ 5515406 w 6884782"/>
              <a:gd name="connsiteY50694" fmla="*/ 1769967 h 5973007"/>
              <a:gd name="connsiteX50695" fmla="*/ 5510711 w 6884782"/>
              <a:gd name="connsiteY50695" fmla="*/ 1769541 h 5973007"/>
              <a:gd name="connsiteX50696" fmla="*/ 5508364 w 6884782"/>
              <a:gd name="connsiteY50696" fmla="*/ 1769541 h 5973007"/>
              <a:gd name="connsiteX50697" fmla="*/ 5507510 w 6884782"/>
              <a:gd name="connsiteY50697" fmla="*/ 1789173 h 5973007"/>
              <a:gd name="connsiteX50698" fmla="*/ 5494705 w 6884782"/>
              <a:gd name="connsiteY50698" fmla="*/ 1786328 h 5973007"/>
              <a:gd name="connsiteX50699" fmla="*/ 5497479 w 6884782"/>
              <a:gd name="connsiteY50699" fmla="*/ 1755456 h 5973007"/>
              <a:gd name="connsiteX50700" fmla="*/ 5498974 w 6884782"/>
              <a:gd name="connsiteY50700" fmla="*/ 1739664 h 5973007"/>
              <a:gd name="connsiteX50701" fmla="*/ 5494491 w 6884782"/>
              <a:gd name="connsiteY50701" fmla="*/ 1739664 h 5973007"/>
              <a:gd name="connsiteX50702" fmla="*/ 5478485 w 6884782"/>
              <a:gd name="connsiteY50702" fmla="*/ 1734542 h 5973007"/>
              <a:gd name="connsiteX50703" fmla="*/ 5474430 w 6884782"/>
              <a:gd name="connsiteY50703" fmla="*/ 1731697 h 5973007"/>
              <a:gd name="connsiteX50704" fmla="*/ 5472296 w 6884782"/>
              <a:gd name="connsiteY50704" fmla="*/ 1732124 h 5973007"/>
              <a:gd name="connsiteX50705" fmla="*/ 5470589 w 6884782"/>
              <a:gd name="connsiteY50705" fmla="*/ 1732124 h 5973007"/>
              <a:gd name="connsiteX50706" fmla="*/ 5470161 w 6884782"/>
              <a:gd name="connsiteY50706" fmla="*/ 1732408 h 5973007"/>
              <a:gd name="connsiteX50707" fmla="*/ 5468668 w 6884782"/>
              <a:gd name="connsiteY50707" fmla="*/ 1733119 h 5973007"/>
              <a:gd name="connsiteX50708" fmla="*/ 5468881 w 6884782"/>
              <a:gd name="connsiteY50708" fmla="*/ 1731981 h 5973007"/>
              <a:gd name="connsiteX50709" fmla="*/ 5469094 w 6884782"/>
              <a:gd name="connsiteY50709" fmla="*/ 1731839 h 5973007"/>
              <a:gd name="connsiteX50710" fmla="*/ 5465466 w 6884782"/>
              <a:gd name="connsiteY50710" fmla="*/ 1731412 h 5973007"/>
              <a:gd name="connsiteX50711" fmla="*/ 5468881 w 6884782"/>
              <a:gd name="connsiteY50711" fmla="*/ 1722876 h 5973007"/>
              <a:gd name="connsiteX50712" fmla="*/ 5473789 w 6884782"/>
              <a:gd name="connsiteY50712" fmla="*/ 1715336 h 5973007"/>
              <a:gd name="connsiteX50713" fmla="*/ 5474430 w 6884782"/>
              <a:gd name="connsiteY50713" fmla="*/ 1721311 h 5973007"/>
              <a:gd name="connsiteX50714" fmla="*/ 5476991 w 6884782"/>
              <a:gd name="connsiteY50714" fmla="*/ 1720173 h 5973007"/>
              <a:gd name="connsiteX50715" fmla="*/ 5477632 w 6884782"/>
              <a:gd name="connsiteY50715" fmla="*/ 1723730 h 5973007"/>
              <a:gd name="connsiteX50716" fmla="*/ 5479552 w 6884782"/>
              <a:gd name="connsiteY50716" fmla="*/ 1723445 h 5973007"/>
              <a:gd name="connsiteX50717" fmla="*/ 5487022 w 6884782"/>
              <a:gd name="connsiteY50717" fmla="*/ 1724583 h 5973007"/>
              <a:gd name="connsiteX50718" fmla="*/ 5487022 w 6884782"/>
              <a:gd name="connsiteY50718" fmla="*/ 1722592 h 5973007"/>
              <a:gd name="connsiteX50719" fmla="*/ 5481686 w 6884782"/>
              <a:gd name="connsiteY50719" fmla="*/ 1720458 h 5973007"/>
              <a:gd name="connsiteX50720" fmla="*/ 5473789 w 6884782"/>
              <a:gd name="connsiteY50720" fmla="*/ 1715336 h 5973007"/>
              <a:gd name="connsiteX50721" fmla="*/ 5472296 w 6884782"/>
              <a:gd name="connsiteY50721" fmla="*/ 1714340 h 5973007"/>
              <a:gd name="connsiteX50722" fmla="*/ 5461411 w 6884782"/>
              <a:gd name="connsiteY50722" fmla="*/ 1708649 h 5973007"/>
              <a:gd name="connsiteX50723" fmla="*/ 5452875 w 6884782"/>
              <a:gd name="connsiteY50723" fmla="*/ 1682614 h 5973007"/>
              <a:gd name="connsiteX50724" fmla="*/ 5465039 w 6884782"/>
              <a:gd name="connsiteY50724" fmla="*/ 1647332 h 5973007"/>
              <a:gd name="connsiteX50725" fmla="*/ 5502388 w 6884782"/>
              <a:gd name="connsiteY50725" fmla="*/ 1625707 h 5973007"/>
              <a:gd name="connsiteX50726" fmla="*/ 5513273 w 6884782"/>
              <a:gd name="connsiteY50726" fmla="*/ 1630402 h 5973007"/>
              <a:gd name="connsiteX50727" fmla="*/ 5522236 w 6884782"/>
              <a:gd name="connsiteY50727" fmla="*/ 1632394 h 5973007"/>
              <a:gd name="connsiteX50728" fmla="*/ 5520742 w 6884782"/>
              <a:gd name="connsiteY50728" fmla="*/ 1627129 h 5973007"/>
              <a:gd name="connsiteX50729" fmla="*/ 5519035 w 6884782"/>
              <a:gd name="connsiteY50729" fmla="*/ 1618166 h 5973007"/>
              <a:gd name="connsiteX50730" fmla="*/ 5532907 w 6884782"/>
              <a:gd name="connsiteY50730" fmla="*/ 1604651 h 5973007"/>
              <a:gd name="connsiteX50731" fmla="*/ 5533974 w 6884782"/>
              <a:gd name="connsiteY50731" fmla="*/ 1605505 h 5973007"/>
              <a:gd name="connsiteX50732" fmla="*/ 5536322 w 6884782"/>
              <a:gd name="connsiteY50732" fmla="*/ 1606642 h 5973007"/>
              <a:gd name="connsiteX50733" fmla="*/ 5539950 w 6884782"/>
              <a:gd name="connsiteY50733" fmla="*/ 1605078 h 5973007"/>
              <a:gd name="connsiteX50734" fmla="*/ 5543578 w 6884782"/>
              <a:gd name="connsiteY50734" fmla="*/ 1606927 h 5973007"/>
              <a:gd name="connsiteX50735" fmla="*/ 5545499 w 6884782"/>
              <a:gd name="connsiteY50735" fmla="*/ 1612902 h 5973007"/>
              <a:gd name="connsiteX50736" fmla="*/ 5544645 w 6884782"/>
              <a:gd name="connsiteY50736" fmla="*/ 1613899 h 5973007"/>
              <a:gd name="connsiteX50737" fmla="*/ 5546353 w 6884782"/>
              <a:gd name="connsiteY50737" fmla="*/ 1621012 h 5973007"/>
              <a:gd name="connsiteX50738" fmla="*/ 5545712 w 6884782"/>
              <a:gd name="connsiteY50738" fmla="*/ 1625422 h 5973007"/>
              <a:gd name="connsiteX50739" fmla="*/ 5547419 w 6884782"/>
              <a:gd name="connsiteY50739" fmla="*/ 1618593 h 5973007"/>
              <a:gd name="connsiteX50740" fmla="*/ 5548486 w 6884782"/>
              <a:gd name="connsiteY50740" fmla="*/ 1616174 h 5973007"/>
              <a:gd name="connsiteX50741" fmla="*/ 5547206 w 6884782"/>
              <a:gd name="connsiteY50741" fmla="*/ 1616174 h 5973007"/>
              <a:gd name="connsiteX50742" fmla="*/ 5548700 w 6884782"/>
              <a:gd name="connsiteY50742" fmla="*/ 1614894 h 5973007"/>
              <a:gd name="connsiteX50743" fmla="*/ 5548700 w 6884782"/>
              <a:gd name="connsiteY50743" fmla="*/ 1614609 h 5973007"/>
              <a:gd name="connsiteX50744" fmla="*/ 5548913 w 6884782"/>
              <a:gd name="connsiteY50744" fmla="*/ 1613471 h 5973007"/>
              <a:gd name="connsiteX50745" fmla="*/ 5552115 w 6884782"/>
              <a:gd name="connsiteY50745" fmla="*/ 1609488 h 5973007"/>
              <a:gd name="connsiteX50746" fmla="*/ 5553182 w 6884782"/>
              <a:gd name="connsiteY50746" fmla="*/ 1609630 h 5973007"/>
              <a:gd name="connsiteX50747" fmla="*/ 5553182 w 6884782"/>
              <a:gd name="connsiteY50747" fmla="*/ 1602943 h 5973007"/>
              <a:gd name="connsiteX50748" fmla="*/ 5553395 w 6884782"/>
              <a:gd name="connsiteY50748" fmla="*/ 1601094 h 5973007"/>
              <a:gd name="connsiteX50749" fmla="*/ 5552755 w 6884782"/>
              <a:gd name="connsiteY50749" fmla="*/ 1600525 h 5973007"/>
              <a:gd name="connsiteX50750" fmla="*/ 5553609 w 6884782"/>
              <a:gd name="connsiteY50750" fmla="*/ 1599529 h 5973007"/>
              <a:gd name="connsiteX50751" fmla="*/ 5554676 w 6884782"/>
              <a:gd name="connsiteY50751" fmla="*/ 1593554 h 5973007"/>
              <a:gd name="connsiteX50752" fmla="*/ 5559798 w 6884782"/>
              <a:gd name="connsiteY50752" fmla="*/ 1589001 h 5973007"/>
              <a:gd name="connsiteX50753" fmla="*/ 1054246 w 6884782"/>
              <a:gd name="connsiteY50753" fmla="*/ 1588639 h 5973007"/>
              <a:gd name="connsiteX50754" fmla="*/ 1063436 w 6884782"/>
              <a:gd name="connsiteY50754" fmla="*/ 1596074 h 5973007"/>
              <a:gd name="connsiteX50755" fmla="*/ 1055279 w 6884782"/>
              <a:gd name="connsiteY50755" fmla="*/ 1598242 h 5973007"/>
              <a:gd name="connsiteX50756" fmla="*/ 1053317 w 6884782"/>
              <a:gd name="connsiteY50756" fmla="*/ 1594060 h 5973007"/>
              <a:gd name="connsiteX50757" fmla="*/ 1054246 w 6884782"/>
              <a:gd name="connsiteY50757" fmla="*/ 1588639 h 5973007"/>
              <a:gd name="connsiteX50758" fmla="*/ 5032438 w 6884782"/>
              <a:gd name="connsiteY50758" fmla="*/ 1588290 h 5973007"/>
              <a:gd name="connsiteX50759" fmla="*/ 5042682 w 6884782"/>
              <a:gd name="connsiteY50759" fmla="*/ 1591277 h 5973007"/>
              <a:gd name="connsiteX50760" fmla="*/ 5042468 w 6884782"/>
              <a:gd name="connsiteY50760" fmla="*/ 1599529 h 5973007"/>
              <a:gd name="connsiteX50761" fmla="*/ 5048871 w 6884782"/>
              <a:gd name="connsiteY50761" fmla="*/ 1603940 h 5973007"/>
              <a:gd name="connsiteX50762" fmla="*/ 5029023 w 6884782"/>
              <a:gd name="connsiteY50762" fmla="*/ 1620443 h 5973007"/>
              <a:gd name="connsiteX50763" fmla="*/ 5026889 w 6884782"/>
              <a:gd name="connsiteY50763" fmla="*/ 1617171 h 5973007"/>
              <a:gd name="connsiteX50764" fmla="*/ 5025608 w 6884782"/>
              <a:gd name="connsiteY50764" fmla="*/ 1617881 h 5973007"/>
              <a:gd name="connsiteX50765" fmla="*/ 5020486 w 6884782"/>
              <a:gd name="connsiteY50765" fmla="*/ 1619446 h 5973007"/>
              <a:gd name="connsiteX50766" fmla="*/ 5020913 w 6884782"/>
              <a:gd name="connsiteY50766" fmla="*/ 1620016 h 5973007"/>
              <a:gd name="connsiteX50767" fmla="*/ 5019633 w 6884782"/>
              <a:gd name="connsiteY50767" fmla="*/ 1623288 h 5973007"/>
              <a:gd name="connsiteX50768" fmla="*/ 5010455 w 6884782"/>
              <a:gd name="connsiteY50768" fmla="*/ 1625280 h 5973007"/>
              <a:gd name="connsiteX50769" fmla="*/ 5004693 w 6884782"/>
              <a:gd name="connsiteY50769" fmla="*/ 1627414 h 5973007"/>
              <a:gd name="connsiteX50770" fmla="*/ 5011522 w 6884782"/>
              <a:gd name="connsiteY50770" fmla="*/ 1622861 h 5973007"/>
              <a:gd name="connsiteX50771" fmla="*/ 5012590 w 6884782"/>
              <a:gd name="connsiteY50771" fmla="*/ 1619446 h 5973007"/>
              <a:gd name="connsiteX50772" fmla="*/ 5014724 w 6884782"/>
              <a:gd name="connsiteY50772" fmla="*/ 1618451 h 5973007"/>
              <a:gd name="connsiteX50773" fmla="*/ 5014297 w 6884782"/>
              <a:gd name="connsiteY50773" fmla="*/ 1617028 h 5973007"/>
              <a:gd name="connsiteX50774" fmla="*/ 5012590 w 6884782"/>
              <a:gd name="connsiteY50774" fmla="*/ 1613756 h 5973007"/>
              <a:gd name="connsiteX50775" fmla="*/ 5021126 w 6884782"/>
              <a:gd name="connsiteY50775" fmla="*/ 1610910 h 5973007"/>
              <a:gd name="connsiteX50776" fmla="*/ 5024754 w 6884782"/>
              <a:gd name="connsiteY50776" fmla="*/ 1610342 h 5973007"/>
              <a:gd name="connsiteX50777" fmla="*/ 5024754 w 6884782"/>
              <a:gd name="connsiteY50777" fmla="*/ 1609915 h 5973007"/>
              <a:gd name="connsiteX50778" fmla="*/ 5028169 w 6884782"/>
              <a:gd name="connsiteY50778" fmla="*/ 1603513 h 5973007"/>
              <a:gd name="connsiteX50779" fmla="*/ 5030090 w 6884782"/>
              <a:gd name="connsiteY50779" fmla="*/ 1602232 h 5973007"/>
              <a:gd name="connsiteX50780" fmla="*/ 5032438 w 6884782"/>
              <a:gd name="connsiteY50780" fmla="*/ 1588290 h 5973007"/>
              <a:gd name="connsiteX50781" fmla="*/ 4701637 w 6884782"/>
              <a:gd name="connsiteY50781" fmla="*/ 1588290 h 5973007"/>
              <a:gd name="connsiteX50782" fmla="*/ 4703771 w 6884782"/>
              <a:gd name="connsiteY50782" fmla="*/ 1596257 h 5973007"/>
              <a:gd name="connsiteX50783" fmla="*/ 4702917 w 6884782"/>
              <a:gd name="connsiteY50783" fmla="*/ 1601663 h 5973007"/>
              <a:gd name="connsiteX50784" fmla="*/ 4702491 w 6884782"/>
              <a:gd name="connsiteY50784" fmla="*/ 1603797 h 5973007"/>
              <a:gd name="connsiteX50785" fmla="*/ 4703984 w 6884782"/>
              <a:gd name="connsiteY50785" fmla="*/ 1602517 h 5973007"/>
              <a:gd name="connsiteX50786" fmla="*/ 4736211 w 6884782"/>
              <a:gd name="connsiteY50786" fmla="*/ 1592842 h 5973007"/>
              <a:gd name="connsiteX50787" fmla="*/ 4771852 w 6884782"/>
              <a:gd name="connsiteY50787" fmla="*/ 1621723 h 5973007"/>
              <a:gd name="connsiteX50788" fmla="*/ 4768651 w 6884782"/>
              <a:gd name="connsiteY50788" fmla="*/ 1637799 h 5973007"/>
              <a:gd name="connsiteX50789" fmla="*/ 4769505 w 6884782"/>
              <a:gd name="connsiteY50789" fmla="*/ 1640787 h 5973007"/>
              <a:gd name="connsiteX50790" fmla="*/ 4776121 w 6884782"/>
              <a:gd name="connsiteY50790" fmla="*/ 1643063 h 5973007"/>
              <a:gd name="connsiteX50791" fmla="*/ 4774626 w 6884782"/>
              <a:gd name="connsiteY50791" fmla="*/ 1651884 h 5973007"/>
              <a:gd name="connsiteX50792" fmla="*/ 4771425 w 6884782"/>
              <a:gd name="connsiteY50792" fmla="*/ 1654871 h 5973007"/>
              <a:gd name="connsiteX50793" fmla="*/ 4772493 w 6884782"/>
              <a:gd name="connsiteY50793" fmla="*/ 1656863 h 5973007"/>
              <a:gd name="connsiteX50794" fmla="*/ 4761181 w 6884782"/>
              <a:gd name="connsiteY50794" fmla="*/ 1678488 h 5973007"/>
              <a:gd name="connsiteX50795" fmla="*/ 4749443 w 6884782"/>
              <a:gd name="connsiteY50795" fmla="*/ 1686455 h 5973007"/>
              <a:gd name="connsiteX50796" fmla="*/ 4745815 w 6884782"/>
              <a:gd name="connsiteY50796" fmla="*/ 1684890 h 5973007"/>
              <a:gd name="connsiteX50797" fmla="*/ 4744748 w 6884782"/>
              <a:gd name="connsiteY50797" fmla="*/ 1683468 h 5973007"/>
              <a:gd name="connsiteX50798" fmla="*/ 4743040 w 6884782"/>
              <a:gd name="connsiteY50798" fmla="*/ 1682756 h 5973007"/>
              <a:gd name="connsiteX50799" fmla="*/ 4731089 w 6884782"/>
              <a:gd name="connsiteY50799" fmla="*/ 1685602 h 5973007"/>
              <a:gd name="connsiteX50800" fmla="*/ 4735571 w 6884782"/>
              <a:gd name="connsiteY50800" fmla="*/ 1686313 h 5973007"/>
              <a:gd name="connsiteX50801" fmla="*/ 4734504 w 6884782"/>
              <a:gd name="connsiteY50801" fmla="*/ 1686313 h 5973007"/>
              <a:gd name="connsiteX50802" fmla="*/ 4734504 w 6884782"/>
              <a:gd name="connsiteY50802" fmla="*/ 1688732 h 5973007"/>
              <a:gd name="connsiteX50803" fmla="*/ 4735784 w 6884782"/>
              <a:gd name="connsiteY50803" fmla="*/ 1688732 h 5973007"/>
              <a:gd name="connsiteX50804" fmla="*/ 4734717 w 6884782"/>
              <a:gd name="connsiteY50804" fmla="*/ 1691150 h 5973007"/>
              <a:gd name="connsiteX50805" fmla="*/ 4726607 w 6884782"/>
              <a:gd name="connsiteY50805" fmla="*/ 1694423 h 5973007"/>
              <a:gd name="connsiteX50806" fmla="*/ 4725113 w 6884782"/>
              <a:gd name="connsiteY50806" fmla="*/ 1690866 h 5973007"/>
              <a:gd name="connsiteX50807" fmla="*/ 4725967 w 6884782"/>
              <a:gd name="connsiteY50807" fmla="*/ 1689301 h 5973007"/>
              <a:gd name="connsiteX50808" fmla="*/ 4724259 w 6884782"/>
              <a:gd name="connsiteY50808" fmla="*/ 1687309 h 5973007"/>
              <a:gd name="connsiteX50809" fmla="*/ 4710600 w 6884782"/>
              <a:gd name="connsiteY50809" fmla="*/ 1690724 h 5973007"/>
              <a:gd name="connsiteX50810" fmla="*/ 4676027 w 6884782"/>
              <a:gd name="connsiteY50810" fmla="*/ 1657717 h 5973007"/>
              <a:gd name="connsiteX50811" fmla="*/ 4676454 w 6884782"/>
              <a:gd name="connsiteY50811" fmla="*/ 1656152 h 5973007"/>
              <a:gd name="connsiteX50812" fmla="*/ 4674959 w 6884782"/>
              <a:gd name="connsiteY50812" fmla="*/ 1654587 h 5973007"/>
              <a:gd name="connsiteX50813" fmla="*/ 4673039 w 6884782"/>
              <a:gd name="connsiteY50813" fmla="*/ 1646193 h 5973007"/>
              <a:gd name="connsiteX50814" fmla="*/ 4678374 w 6884782"/>
              <a:gd name="connsiteY50814" fmla="*/ 1643490 h 5973007"/>
              <a:gd name="connsiteX50815" fmla="*/ 4679655 w 6884782"/>
              <a:gd name="connsiteY50815" fmla="*/ 1643490 h 5973007"/>
              <a:gd name="connsiteX50816" fmla="*/ 4679868 w 6884782"/>
              <a:gd name="connsiteY50816" fmla="*/ 1641071 h 5973007"/>
              <a:gd name="connsiteX50817" fmla="*/ 4679442 w 6884782"/>
              <a:gd name="connsiteY50817" fmla="*/ 1627556 h 5973007"/>
              <a:gd name="connsiteX50818" fmla="*/ 4690326 w 6884782"/>
              <a:gd name="connsiteY50818" fmla="*/ 1614325 h 5973007"/>
              <a:gd name="connsiteX50819" fmla="*/ 4700570 w 6884782"/>
              <a:gd name="connsiteY50819" fmla="*/ 1605505 h 5973007"/>
              <a:gd name="connsiteX50820" fmla="*/ 4700570 w 6884782"/>
              <a:gd name="connsiteY50820" fmla="*/ 1597110 h 5973007"/>
              <a:gd name="connsiteX50821" fmla="*/ 4701637 w 6884782"/>
              <a:gd name="connsiteY50821" fmla="*/ 1588290 h 5973007"/>
              <a:gd name="connsiteX50822" fmla="*/ 1378780 w 6884782"/>
              <a:gd name="connsiteY50822" fmla="*/ 1588174 h 5973007"/>
              <a:gd name="connsiteX50823" fmla="*/ 1378884 w 6884782"/>
              <a:gd name="connsiteY50823" fmla="*/ 1589568 h 5973007"/>
              <a:gd name="connsiteX50824" fmla="*/ 1379194 w 6884782"/>
              <a:gd name="connsiteY50824" fmla="*/ 1589258 h 5973007"/>
              <a:gd name="connsiteX50825" fmla="*/ 1379710 w 6884782"/>
              <a:gd name="connsiteY50825" fmla="*/ 1588639 h 5973007"/>
              <a:gd name="connsiteX50826" fmla="*/ 1380123 w 6884782"/>
              <a:gd name="connsiteY50826" fmla="*/ 1588484 h 5973007"/>
              <a:gd name="connsiteX50827" fmla="*/ 5073841 w 6884782"/>
              <a:gd name="connsiteY50827" fmla="*/ 1587436 h 5973007"/>
              <a:gd name="connsiteX50828" fmla="*/ 5073628 w 6884782"/>
              <a:gd name="connsiteY50828" fmla="*/ 1592842 h 5973007"/>
              <a:gd name="connsiteX50829" fmla="*/ 5075335 w 6884782"/>
              <a:gd name="connsiteY50829" fmla="*/ 1590282 h 5973007"/>
              <a:gd name="connsiteX50830" fmla="*/ 5080671 w 6884782"/>
              <a:gd name="connsiteY50830" fmla="*/ 1592273 h 5973007"/>
              <a:gd name="connsiteX50831" fmla="*/ 5081738 w 6884782"/>
              <a:gd name="connsiteY50831" fmla="*/ 1591562 h 5973007"/>
              <a:gd name="connsiteX50832" fmla="*/ 5097317 w 6884782"/>
              <a:gd name="connsiteY50832" fmla="*/ 1589001 h 5973007"/>
              <a:gd name="connsiteX50833" fmla="*/ 5091555 w 6884782"/>
              <a:gd name="connsiteY50833" fmla="*/ 1596684 h 5973007"/>
              <a:gd name="connsiteX50834" fmla="*/ 5085152 w 6884782"/>
              <a:gd name="connsiteY50834" fmla="*/ 1600809 h 5973007"/>
              <a:gd name="connsiteX50835" fmla="*/ 5085793 w 6884782"/>
              <a:gd name="connsiteY50835" fmla="*/ 1604366 h 5973007"/>
              <a:gd name="connsiteX50836" fmla="*/ 5089207 w 6884782"/>
              <a:gd name="connsiteY50836" fmla="*/ 1599102 h 5973007"/>
              <a:gd name="connsiteX50837" fmla="*/ 5111189 w 6884782"/>
              <a:gd name="connsiteY50837" fmla="*/ 1590851 h 5973007"/>
              <a:gd name="connsiteX50838" fmla="*/ 5101372 w 6884782"/>
              <a:gd name="connsiteY50838" fmla="*/ 1603370 h 5973007"/>
              <a:gd name="connsiteX50839" fmla="*/ 5086006 w 6884782"/>
              <a:gd name="connsiteY50839" fmla="*/ 1606500 h 5973007"/>
              <a:gd name="connsiteX50840" fmla="*/ 5086006 w 6884782"/>
              <a:gd name="connsiteY50840" fmla="*/ 1610057 h 5973007"/>
              <a:gd name="connsiteX50841" fmla="*/ 5080884 w 6884782"/>
              <a:gd name="connsiteY50841" fmla="*/ 1611053 h 5973007"/>
              <a:gd name="connsiteX50842" fmla="*/ 5078536 w 6884782"/>
              <a:gd name="connsiteY50842" fmla="*/ 1609204 h 5973007"/>
              <a:gd name="connsiteX50843" fmla="*/ 5077896 w 6884782"/>
              <a:gd name="connsiteY50843" fmla="*/ 1616459 h 5973007"/>
              <a:gd name="connsiteX50844" fmla="*/ 5065304 w 6884782"/>
              <a:gd name="connsiteY50844" fmla="*/ 1607354 h 5973007"/>
              <a:gd name="connsiteX50845" fmla="*/ 5069146 w 6884782"/>
              <a:gd name="connsiteY50845" fmla="*/ 1603513 h 5973007"/>
              <a:gd name="connsiteX50846" fmla="*/ 5068505 w 6884782"/>
              <a:gd name="connsiteY50846" fmla="*/ 1603370 h 5973007"/>
              <a:gd name="connsiteX50847" fmla="*/ 5072987 w 6884782"/>
              <a:gd name="connsiteY50847" fmla="*/ 1597537 h 5973007"/>
              <a:gd name="connsiteX50848" fmla="*/ 5073414 w 6884782"/>
              <a:gd name="connsiteY50848" fmla="*/ 1595830 h 5973007"/>
              <a:gd name="connsiteX50849" fmla="*/ 5073628 w 6884782"/>
              <a:gd name="connsiteY50849" fmla="*/ 1593412 h 5973007"/>
              <a:gd name="connsiteX50850" fmla="*/ 5070426 w 6884782"/>
              <a:gd name="connsiteY50850" fmla="*/ 1597253 h 5973007"/>
              <a:gd name="connsiteX50851" fmla="*/ 5068079 w 6884782"/>
              <a:gd name="connsiteY50851" fmla="*/ 1602517 h 5973007"/>
              <a:gd name="connsiteX50852" fmla="*/ 5065091 w 6884782"/>
              <a:gd name="connsiteY50852" fmla="*/ 1603370 h 5973007"/>
              <a:gd name="connsiteX50853" fmla="*/ 5064024 w 6884782"/>
              <a:gd name="connsiteY50853" fmla="*/ 1602801 h 5973007"/>
              <a:gd name="connsiteX50854" fmla="*/ 5064237 w 6884782"/>
              <a:gd name="connsiteY50854" fmla="*/ 1600098 h 5973007"/>
              <a:gd name="connsiteX50855" fmla="*/ 5069786 w 6884782"/>
              <a:gd name="connsiteY50855" fmla="*/ 1590424 h 5973007"/>
              <a:gd name="connsiteX50856" fmla="*/ 5070640 w 6884782"/>
              <a:gd name="connsiteY50856" fmla="*/ 1588290 h 5973007"/>
              <a:gd name="connsiteX50857" fmla="*/ 5073841 w 6884782"/>
              <a:gd name="connsiteY50857" fmla="*/ 1587436 h 5973007"/>
              <a:gd name="connsiteX50858" fmla="*/ 5569402 w 6884782"/>
              <a:gd name="connsiteY50858" fmla="*/ 1587010 h 5973007"/>
              <a:gd name="connsiteX50859" fmla="*/ 5574737 w 6884782"/>
              <a:gd name="connsiteY50859" fmla="*/ 1587720 h 5973007"/>
              <a:gd name="connsiteX50860" fmla="*/ 5573670 w 6884782"/>
              <a:gd name="connsiteY50860" fmla="*/ 1587720 h 5973007"/>
              <a:gd name="connsiteX50861" fmla="*/ 5573457 w 6884782"/>
              <a:gd name="connsiteY50861" fmla="*/ 1590139 h 5973007"/>
              <a:gd name="connsiteX50862" fmla="*/ 5574524 w 6884782"/>
              <a:gd name="connsiteY50862" fmla="*/ 1590139 h 5973007"/>
              <a:gd name="connsiteX50863" fmla="*/ 5573243 w 6884782"/>
              <a:gd name="connsiteY50863" fmla="*/ 1592558 h 5973007"/>
              <a:gd name="connsiteX50864" fmla="*/ 5564707 w 6884782"/>
              <a:gd name="connsiteY50864" fmla="*/ 1596114 h 5973007"/>
              <a:gd name="connsiteX50865" fmla="*/ 5565133 w 6884782"/>
              <a:gd name="connsiteY50865" fmla="*/ 1589855 h 5973007"/>
              <a:gd name="connsiteX50866" fmla="*/ 5569402 w 6884782"/>
              <a:gd name="connsiteY50866" fmla="*/ 1587010 h 5973007"/>
              <a:gd name="connsiteX50867" fmla="*/ 5351927 w 6884782"/>
              <a:gd name="connsiteY50867" fmla="*/ 1587010 h 5973007"/>
              <a:gd name="connsiteX50868" fmla="*/ 5351927 w 6884782"/>
              <a:gd name="connsiteY50868" fmla="*/ 1600241 h 5973007"/>
              <a:gd name="connsiteX50869" fmla="*/ 5351927 w 6884782"/>
              <a:gd name="connsiteY50869" fmla="*/ 1587010 h 5973007"/>
              <a:gd name="connsiteX50870" fmla="*/ 4583829 w 6884782"/>
              <a:gd name="connsiteY50870" fmla="*/ 1586867 h 5973007"/>
              <a:gd name="connsiteX50871" fmla="*/ 4587031 w 6884782"/>
              <a:gd name="connsiteY50871" fmla="*/ 1587578 h 5973007"/>
              <a:gd name="connsiteX50872" fmla="*/ 4584683 w 6884782"/>
              <a:gd name="connsiteY50872" fmla="*/ 1594834 h 5973007"/>
              <a:gd name="connsiteX50873" fmla="*/ 4574439 w 6884782"/>
              <a:gd name="connsiteY50873" fmla="*/ 1596541 h 5973007"/>
              <a:gd name="connsiteX50874" fmla="*/ 4573585 w 6884782"/>
              <a:gd name="connsiteY50874" fmla="*/ 1590709 h 5973007"/>
              <a:gd name="connsiteX50875" fmla="*/ 4579774 w 6884782"/>
              <a:gd name="connsiteY50875" fmla="*/ 1587436 h 5973007"/>
              <a:gd name="connsiteX50876" fmla="*/ 4583829 w 6884782"/>
              <a:gd name="connsiteY50876" fmla="*/ 1586867 h 5973007"/>
              <a:gd name="connsiteX50877" fmla="*/ 1694641 w 6884782"/>
              <a:gd name="connsiteY50877" fmla="*/ 1586625 h 5973007"/>
              <a:gd name="connsiteX50878" fmla="*/ 1699081 w 6884782"/>
              <a:gd name="connsiteY50878" fmla="*/ 1590188 h 5973007"/>
              <a:gd name="connsiteX50879" fmla="*/ 1699288 w 6884782"/>
              <a:gd name="connsiteY50879" fmla="*/ 1593441 h 5973007"/>
              <a:gd name="connsiteX50880" fmla="*/ 1700527 w 6884782"/>
              <a:gd name="connsiteY50880" fmla="*/ 1593131 h 5973007"/>
              <a:gd name="connsiteX50881" fmla="*/ 1715705 w 6884782"/>
              <a:gd name="connsiteY50881" fmla="*/ 1615901 h 5973007"/>
              <a:gd name="connsiteX50882" fmla="*/ 1715396 w 6884782"/>
              <a:gd name="connsiteY50882" fmla="*/ 1618379 h 5973007"/>
              <a:gd name="connsiteX50883" fmla="*/ 1716325 w 6884782"/>
              <a:gd name="connsiteY50883" fmla="*/ 1618534 h 5973007"/>
              <a:gd name="connsiteX50884" fmla="*/ 1722417 w 6884782"/>
              <a:gd name="connsiteY50884" fmla="*/ 1620857 h 5973007"/>
              <a:gd name="connsiteX50885" fmla="*/ 1695054 w 6884782"/>
              <a:gd name="connsiteY50885" fmla="*/ 1622871 h 5973007"/>
              <a:gd name="connsiteX50886" fmla="*/ 1698668 w 6884782"/>
              <a:gd name="connsiteY50886" fmla="*/ 1618998 h 5973007"/>
              <a:gd name="connsiteX50887" fmla="*/ 1693712 w 6884782"/>
              <a:gd name="connsiteY50887" fmla="*/ 1613887 h 5973007"/>
              <a:gd name="connsiteX50888" fmla="*/ 1690408 w 6884782"/>
              <a:gd name="connsiteY50888" fmla="*/ 1605832 h 5973007"/>
              <a:gd name="connsiteX50889" fmla="*/ 1690201 w 6884782"/>
              <a:gd name="connsiteY50889" fmla="*/ 1601030 h 5973007"/>
              <a:gd name="connsiteX50890" fmla="*/ 1686897 w 6884782"/>
              <a:gd name="connsiteY50890" fmla="*/ 1598087 h 5973007"/>
              <a:gd name="connsiteX50891" fmla="*/ 1686071 w 6884782"/>
              <a:gd name="connsiteY50891" fmla="*/ 1592047 h 5973007"/>
              <a:gd name="connsiteX50892" fmla="*/ 1687413 w 6884782"/>
              <a:gd name="connsiteY50892" fmla="*/ 1588794 h 5973007"/>
              <a:gd name="connsiteX50893" fmla="*/ 1694641 w 6884782"/>
              <a:gd name="connsiteY50893" fmla="*/ 1586625 h 5973007"/>
              <a:gd name="connsiteX50894" fmla="*/ 4026163 w 6884782"/>
              <a:gd name="connsiteY50894" fmla="*/ 1585587 h 5973007"/>
              <a:gd name="connsiteX50895" fmla="*/ 4052628 w 6884782"/>
              <a:gd name="connsiteY50895" fmla="*/ 1605362 h 5973007"/>
              <a:gd name="connsiteX50896" fmla="*/ 4054122 w 6884782"/>
              <a:gd name="connsiteY50896" fmla="*/ 1612902 h 5973007"/>
              <a:gd name="connsiteX50897" fmla="*/ 4053268 w 6884782"/>
              <a:gd name="connsiteY50897" fmla="*/ 1620300 h 5973007"/>
              <a:gd name="connsiteX50898" fmla="*/ 4054975 w 6884782"/>
              <a:gd name="connsiteY50898" fmla="*/ 1620443 h 5973007"/>
              <a:gd name="connsiteX50899" fmla="*/ 4057963 w 6884782"/>
              <a:gd name="connsiteY50899" fmla="*/ 1631397 h 5973007"/>
              <a:gd name="connsiteX50900" fmla="*/ 4050280 w 6884782"/>
              <a:gd name="connsiteY50900" fmla="*/ 1635381 h 5973007"/>
              <a:gd name="connsiteX50901" fmla="*/ 4048146 w 6884782"/>
              <a:gd name="connsiteY50901" fmla="*/ 1628552 h 5973007"/>
              <a:gd name="connsiteX50902" fmla="*/ 4049853 w 6884782"/>
              <a:gd name="connsiteY50902" fmla="*/ 1621865 h 5973007"/>
              <a:gd name="connsiteX50903" fmla="*/ 4040676 w 6884782"/>
              <a:gd name="connsiteY50903" fmla="*/ 1624426 h 5973007"/>
              <a:gd name="connsiteX50904" fmla="*/ 4029578 w 6884782"/>
              <a:gd name="connsiteY50904" fmla="*/ 1622577 h 5973007"/>
              <a:gd name="connsiteX50905" fmla="*/ 4011864 w 6884782"/>
              <a:gd name="connsiteY50905" fmla="*/ 1590424 h 5973007"/>
              <a:gd name="connsiteX50906" fmla="*/ 4014639 w 6884782"/>
              <a:gd name="connsiteY50906" fmla="*/ 1587720 h 5973007"/>
              <a:gd name="connsiteX50907" fmla="*/ 4026163 w 6884782"/>
              <a:gd name="connsiteY50907" fmla="*/ 1585587 h 5973007"/>
              <a:gd name="connsiteX50908" fmla="*/ 1723346 w 6884782"/>
              <a:gd name="connsiteY50908" fmla="*/ 1584921 h 5973007"/>
              <a:gd name="connsiteX50909" fmla="*/ 1725308 w 6884782"/>
              <a:gd name="connsiteY50909" fmla="*/ 1589878 h 5973007"/>
              <a:gd name="connsiteX50910" fmla="*/ 1724586 w 6884782"/>
              <a:gd name="connsiteY50910" fmla="*/ 1592356 h 5973007"/>
              <a:gd name="connsiteX50911" fmla="*/ 1724896 w 6884782"/>
              <a:gd name="connsiteY50911" fmla="*/ 1592666 h 5973007"/>
              <a:gd name="connsiteX50912" fmla="*/ 1724999 w 6884782"/>
              <a:gd name="connsiteY50912" fmla="*/ 1599172 h 5973007"/>
              <a:gd name="connsiteX50913" fmla="*/ 1710956 w 6884782"/>
              <a:gd name="connsiteY50913" fmla="*/ 1598862 h 5973007"/>
              <a:gd name="connsiteX50914" fmla="*/ 1711988 w 6884782"/>
              <a:gd name="connsiteY50914" fmla="*/ 1591737 h 5973007"/>
              <a:gd name="connsiteX50915" fmla="*/ 1714983 w 6884782"/>
              <a:gd name="connsiteY50915" fmla="*/ 1590033 h 5973007"/>
              <a:gd name="connsiteX50916" fmla="*/ 1717048 w 6884782"/>
              <a:gd name="connsiteY50916" fmla="*/ 1586160 h 5973007"/>
              <a:gd name="connsiteX50917" fmla="*/ 1723346 w 6884782"/>
              <a:gd name="connsiteY50917" fmla="*/ 1584921 h 5973007"/>
              <a:gd name="connsiteX50918" fmla="*/ 4962436 w 6884782"/>
              <a:gd name="connsiteY50918" fmla="*/ 1584875 h 5973007"/>
              <a:gd name="connsiteX50919" fmla="*/ 4963503 w 6884782"/>
              <a:gd name="connsiteY50919" fmla="*/ 1587294 h 5973007"/>
              <a:gd name="connsiteX50920" fmla="*/ 4963716 w 6884782"/>
              <a:gd name="connsiteY50920" fmla="*/ 1591135 h 5973007"/>
              <a:gd name="connsiteX50921" fmla="*/ 4957954 w 6884782"/>
              <a:gd name="connsiteY50921" fmla="*/ 1591989 h 5973007"/>
              <a:gd name="connsiteX50922" fmla="*/ 4956674 w 6884782"/>
              <a:gd name="connsiteY50922" fmla="*/ 1589428 h 5973007"/>
              <a:gd name="connsiteX50923" fmla="*/ 4957741 w 6884782"/>
              <a:gd name="connsiteY50923" fmla="*/ 1585871 h 5973007"/>
              <a:gd name="connsiteX50924" fmla="*/ 4962436 w 6884782"/>
              <a:gd name="connsiteY50924" fmla="*/ 1584875 h 5973007"/>
              <a:gd name="connsiteX50925" fmla="*/ 1410067 w 6884782"/>
              <a:gd name="connsiteY50925" fmla="*/ 1584147 h 5973007"/>
              <a:gd name="connsiteX50926" fmla="*/ 1411100 w 6884782"/>
              <a:gd name="connsiteY50926" fmla="*/ 1587245 h 5973007"/>
              <a:gd name="connsiteX50927" fmla="*/ 1414301 w 6884782"/>
              <a:gd name="connsiteY50927" fmla="*/ 1587864 h 5973007"/>
              <a:gd name="connsiteX50928" fmla="*/ 1413991 w 6884782"/>
              <a:gd name="connsiteY50928" fmla="*/ 1586935 h 5973007"/>
              <a:gd name="connsiteX50929" fmla="*/ 1414714 w 6884782"/>
              <a:gd name="connsiteY50929" fmla="*/ 1585541 h 5973007"/>
              <a:gd name="connsiteX50930" fmla="*/ 1416985 w 6884782"/>
              <a:gd name="connsiteY50930" fmla="*/ 1585541 h 5973007"/>
              <a:gd name="connsiteX50931" fmla="*/ 1419361 w 6884782"/>
              <a:gd name="connsiteY50931" fmla="*/ 1589258 h 5973007"/>
              <a:gd name="connsiteX50932" fmla="*/ 1418225 w 6884782"/>
              <a:gd name="connsiteY50932" fmla="*/ 1593905 h 5973007"/>
              <a:gd name="connsiteX50933" fmla="*/ 1418947 w 6884782"/>
              <a:gd name="connsiteY50933" fmla="*/ 1596384 h 5973007"/>
              <a:gd name="connsiteX50934" fmla="*/ 1418121 w 6884782"/>
              <a:gd name="connsiteY50934" fmla="*/ 1596848 h 5973007"/>
              <a:gd name="connsiteX50935" fmla="*/ 1415643 w 6884782"/>
              <a:gd name="connsiteY50935" fmla="*/ 1591737 h 5973007"/>
              <a:gd name="connsiteX50936" fmla="*/ 1414507 w 6884782"/>
              <a:gd name="connsiteY50936" fmla="*/ 1588484 h 5973007"/>
              <a:gd name="connsiteX50937" fmla="*/ 1410790 w 6884782"/>
              <a:gd name="connsiteY50937" fmla="*/ 1594215 h 5973007"/>
              <a:gd name="connsiteX50938" fmla="*/ 1401084 w 6884782"/>
              <a:gd name="connsiteY50938" fmla="*/ 1611254 h 5973007"/>
              <a:gd name="connsiteX50939" fmla="*/ 1401497 w 6884782"/>
              <a:gd name="connsiteY50939" fmla="*/ 1600411 h 5973007"/>
              <a:gd name="connsiteX50940" fmla="*/ 1403149 w 6884782"/>
              <a:gd name="connsiteY50940" fmla="*/ 1590343 h 5973007"/>
              <a:gd name="connsiteX50941" fmla="*/ 1405421 w 6884782"/>
              <a:gd name="connsiteY50941" fmla="*/ 1588019 h 5973007"/>
              <a:gd name="connsiteX50942" fmla="*/ 1404904 w 6884782"/>
              <a:gd name="connsiteY50942" fmla="*/ 1587400 h 5973007"/>
              <a:gd name="connsiteX50943" fmla="*/ 1410067 w 6884782"/>
              <a:gd name="connsiteY50943" fmla="*/ 1584147 h 5973007"/>
              <a:gd name="connsiteX50944" fmla="*/ 5903190 w 6884782"/>
              <a:gd name="connsiteY50944" fmla="*/ 1584022 h 5973007"/>
              <a:gd name="connsiteX50945" fmla="*/ 5905965 w 6884782"/>
              <a:gd name="connsiteY50945" fmla="*/ 1584591 h 5973007"/>
              <a:gd name="connsiteX50946" fmla="*/ 5905751 w 6884782"/>
              <a:gd name="connsiteY50946" fmla="*/ 1590566 h 5973007"/>
              <a:gd name="connsiteX50947" fmla="*/ 5895934 w 6884782"/>
              <a:gd name="connsiteY50947" fmla="*/ 1594834 h 5973007"/>
              <a:gd name="connsiteX50948" fmla="*/ 5895294 w 6884782"/>
              <a:gd name="connsiteY50948" fmla="*/ 1590139 h 5973007"/>
              <a:gd name="connsiteX50949" fmla="*/ 5903190 w 6884782"/>
              <a:gd name="connsiteY50949" fmla="*/ 1584022 h 5973007"/>
              <a:gd name="connsiteX50950" fmla="*/ 3710089 w 6884782"/>
              <a:gd name="connsiteY50950" fmla="*/ 1583737 h 5973007"/>
              <a:gd name="connsiteX50951" fmla="*/ 3712650 w 6884782"/>
              <a:gd name="connsiteY50951" fmla="*/ 1584448 h 5973007"/>
              <a:gd name="connsiteX50952" fmla="*/ 3713290 w 6884782"/>
              <a:gd name="connsiteY50952" fmla="*/ 1587294 h 5973007"/>
              <a:gd name="connsiteX50953" fmla="*/ 3699418 w 6884782"/>
              <a:gd name="connsiteY50953" fmla="*/ 1594550 h 5973007"/>
              <a:gd name="connsiteX50954" fmla="*/ 3696217 w 6884782"/>
              <a:gd name="connsiteY50954" fmla="*/ 1593696 h 5973007"/>
              <a:gd name="connsiteX50955" fmla="*/ 3693655 w 6884782"/>
              <a:gd name="connsiteY50955" fmla="*/ 1593981 h 5973007"/>
              <a:gd name="connsiteX50956" fmla="*/ 3687466 w 6884782"/>
              <a:gd name="connsiteY50956" fmla="*/ 1589855 h 5973007"/>
              <a:gd name="connsiteX50957" fmla="*/ 3710089 w 6884782"/>
              <a:gd name="connsiteY50957" fmla="*/ 1583737 h 5973007"/>
              <a:gd name="connsiteX50958" fmla="*/ 5260797 w 6884782"/>
              <a:gd name="connsiteY50958" fmla="*/ 1583026 h 5973007"/>
              <a:gd name="connsiteX50959" fmla="*/ 5267626 w 6884782"/>
              <a:gd name="connsiteY50959" fmla="*/ 1592700 h 5973007"/>
              <a:gd name="connsiteX50960" fmla="*/ 5260797 w 6884782"/>
              <a:gd name="connsiteY50960" fmla="*/ 1583026 h 5973007"/>
              <a:gd name="connsiteX50961" fmla="*/ 3783078 w 6884782"/>
              <a:gd name="connsiteY50961" fmla="*/ 1582883 h 5973007"/>
              <a:gd name="connsiteX50962" fmla="*/ 3791401 w 6884782"/>
              <a:gd name="connsiteY50962" fmla="*/ 1586583 h 5973007"/>
              <a:gd name="connsiteX50963" fmla="*/ 3791828 w 6884782"/>
              <a:gd name="connsiteY50963" fmla="*/ 1588717 h 5973007"/>
              <a:gd name="connsiteX50964" fmla="*/ 3783078 w 6884782"/>
              <a:gd name="connsiteY50964" fmla="*/ 1582883 h 5973007"/>
              <a:gd name="connsiteX50965" fmla="*/ 1631035 w 6884782"/>
              <a:gd name="connsiteY50965" fmla="*/ 1582598 h 5973007"/>
              <a:gd name="connsiteX50966" fmla="*/ 1641155 w 6884782"/>
              <a:gd name="connsiteY50966" fmla="*/ 1584612 h 5973007"/>
              <a:gd name="connsiteX50967" fmla="*/ 1621020 w 6884782"/>
              <a:gd name="connsiteY50967" fmla="*/ 1586470 h 5973007"/>
              <a:gd name="connsiteX50968" fmla="*/ 1631035 w 6884782"/>
              <a:gd name="connsiteY50968" fmla="*/ 1582598 h 5973007"/>
              <a:gd name="connsiteX50969" fmla="*/ 1534594 w 6884782"/>
              <a:gd name="connsiteY50969" fmla="*/ 1582598 h 5973007"/>
              <a:gd name="connsiteX50970" fmla="*/ 1554316 w 6884782"/>
              <a:gd name="connsiteY50970" fmla="*/ 1591427 h 5973007"/>
              <a:gd name="connsiteX50971" fmla="*/ 1534594 w 6884782"/>
              <a:gd name="connsiteY50971" fmla="*/ 1582598 h 5973007"/>
              <a:gd name="connsiteX50972" fmla="*/ 1290290 w 6884782"/>
              <a:gd name="connsiteY50972" fmla="*/ 1581514 h 5973007"/>
              <a:gd name="connsiteX50973" fmla="*/ 1290703 w 6884782"/>
              <a:gd name="connsiteY50973" fmla="*/ 1582288 h 5973007"/>
              <a:gd name="connsiteX50974" fmla="*/ 1288948 w 6884782"/>
              <a:gd name="connsiteY50974" fmla="*/ 1582443 h 5973007"/>
              <a:gd name="connsiteX50975" fmla="*/ 1289154 w 6884782"/>
              <a:gd name="connsiteY50975" fmla="*/ 1581978 h 5973007"/>
              <a:gd name="connsiteX50976" fmla="*/ 1290290 w 6884782"/>
              <a:gd name="connsiteY50976" fmla="*/ 1581514 h 5973007"/>
              <a:gd name="connsiteX50977" fmla="*/ 4133940 w 6884782"/>
              <a:gd name="connsiteY50977" fmla="*/ 1580465 h 5973007"/>
              <a:gd name="connsiteX50978" fmla="*/ 4149093 w 6884782"/>
              <a:gd name="connsiteY50978" fmla="*/ 1581034 h 5973007"/>
              <a:gd name="connsiteX50979" fmla="*/ 4162965 w 6884782"/>
              <a:gd name="connsiteY50979" fmla="*/ 1583310 h 5973007"/>
              <a:gd name="connsiteX50980" fmla="*/ 4166167 w 6884782"/>
              <a:gd name="connsiteY50980" fmla="*/ 1586440 h 5973007"/>
              <a:gd name="connsiteX50981" fmla="*/ 4166807 w 6884782"/>
              <a:gd name="connsiteY50981" fmla="*/ 1585729 h 5973007"/>
              <a:gd name="connsiteX50982" fmla="*/ 4171289 w 6884782"/>
              <a:gd name="connsiteY50982" fmla="*/ 1592700 h 5973007"/>
              <a:gd name="connsiteX50983" fmla="*/ 4167020 w 6884782"/>
              <a:gd name="connsiteY50983" fmla="*/ 1594123 h 5973007"/>
              <a:gd name="connsiteX50984" fmla="*/ 4166167 w 6884782"/>
              <a:gd name="connsiteY50984" fmla="*/ 1599387 h 5973007"/>
              <a:gd name="connsiteX50985" fmla="*/ 4133940 w 6884782"/>
              <a:gd name="connsiteY50985" fmla="*/ 1580465 h 5973007"/>
              <a:gd name="connsiteX50986" fmla="*/ 5411258 w 6884782"/>
              <a:gd name="connsiteY50986" fmla="*/ 1580181 h 5973007"/>
              <a:gd name="connsiteX50987" fmla="*/ 5415313 w 6884782"/>
              <a:gd name="connsiteY50987" fmla="*/ 1584875 h 5973007"/>
              <a:gd name="connsiteX50988" fmla="*/ 5413606 w 6884782"/>
              <a:gd name="connsiteY50988" fmla="*/ 1591135 h 5973007"/>
              <a:gd name="connsiteX50989" fmla="*/ 5412538 w 6884782"/>
              <a:gd name="connsiteY50989" fmla="*/ 1592273 h 5973007"/>
              <a:gd name="connsiteX50990" fmla="*/ 5406349 w 6884782"/>
              <a:gd name="connsiteY50990" fmla="*/ 1596541 h 5973007"/>
              <a:gd name="connsiteX50991" fmla="*/ 5405922 w 6884782"/>
              <a:gd name="connsiteY50991" fmla="*/ 1599671 h 5973007"/>
              <a:gd name="connsiteX50992" fmla="*/ 5392904 w 6884782"/>
              <a:gd name="connsiteY50992" fmla="*/ 1589855 h 5973007"/>
              <a:gd name="connsiteX50993" fmla="*/ 5394824 w 6884782"/>
              <a:gd name="connsiteY50993" fmla="*/ 1584022 h 5973007"/>
              <a:gd name="connsiteX50994" fmla="*/ 5400800 w 6884782"/>
              <a:gd name="connsiteY50994" fmla="*/ 1583737 h 5973007"/>
              <a:gd name="connsiteX50995" fmla="*/ 5402721 w 6884782"/>
              <a:gd name="connsiteY50995" fmla="*/ 1585587 h 5973007"/>
              <a:gd name="connsiteX50996" fmla="*/ 5405282 w 6884782"/>
              <a:gd name="connsiteY50996" fmla="*/ 1583737 h 5973007"/>
              <a:gd name="connsiteX50997" fmla="*/ 5411258 w 6884782"/>
              <a:gd name="connsiteY50997" fmla="*/ 1580181 h 5973007"/>
              <a:gd name="connsiteX50998" fmla="*/ 3840275 w 6884782"/>
              <a:gd name="connsiteY50998" fmla="*/ 1580181 h 5973007"/>
              <a:gd name="connsiteX50999" fmla="*/ 3840915 w 6884782"/>
              <a:gd name="connsiteY50999" fmla="*/ 1580465 h 5973007"/>
              <a:gd name="connsiteX51000" fmla="*/ 3841128 w 6884782"/>
              <a:gd name="connsiteY51000" fmla="*/ 1581888 h 5973007"/>
              <a:gd name="connsiteX51001" fmla="*/ 3840275 w 6884782"/>
              <a:gd name="connsiteY51001" fmla="*/ 1582599 h 5973007"/>
              <a:gd name="connsiteX51002" fmla="*/ 3840275 w 6884782"/>
              <a:gd name="connsiteY51002" fmla="*/ 1580181 h 5973007"/>
              <a:gd name="connsiteX51003" fmla="*/ 3595269 w 6884782"/>
              <a:gd name="connsiteY51003" fmla="*/ 1580181 h 5973007"/>
              <a:gd name="connsiteX51004" fmla="*/ 3605086 w 6884782"/>
              <a:gd name="connsiteY51004" fmla="*/ 1583026 h 5973007"/>
              <a:gd name="connsiteX51005" fmla="*/ 3596336 w 6884782"/>
              <a:gd name="connsiteY51005" fmla="*/ 1581461 h 5973007"/>
              <a:gd name="connsiteX51006" fmla="*/ 3595269 w 6884782"/>
              <a:gd name="connsiteY51006" fmla="*/ 1580181 h 5973007"/>
              <a:gd name="connsiteX51007" fmla="*/ 4075250 w 6884782"/>
              <a:gd name="connsiteY51007" fmla="*/ 1580038 h 5973007"/>
              <a:gd name="connsiteX51008" fmla="*/ 4081439 w 6884782"/>
              <a:gd name="connsiteY51008" fmla="*/ 1583595 h 5973007"/>
              <a:gd name="connsiteX51009" fmla="*/ 4077171 w 6884782"/>
              <a:gd name="connsiteY51009" fmla="*/ 1592984 h 5973007"/>
              <a:gd name="connsiteX51010" fmla="*/ 4070341 w 6884782"/>
              <a:gd name="connsiteY51010" fmla="*/ 1587863 h 5973007"/>
              <a:gd name="connsiteX51011" fmla="*/ 4069914 w 6884782"/>
              <a:gd name="connsiteY51011" fmla="*/ 1584022 h 5973007"/>
              <a:gd name="connsiteX51012" fmla="*/ 4072262 w 6884782"/>
              <a:gd name="connsiteY51012" fmla="*/ 1580892 h 5973007"/>
              <a:gd name="connsiteX51013" fmla="*/ 4075250 w 6884782"/>
              <a:gd name="connsiteY51013" fmla="*/ 1580038 h 5973007"/>
              <a:gd name="connsiteX51014" fmla="*/ 1193023 w 6884782"/>
              <a:gd name="connsiteY51014" fmla="*/ 1579965 h 5973007"/>
              <a:gd name="connsiteX51015" fmla="*/ 1194468 w 6884782"/>
              <a:gd name="connsiteY51015" fmla="*/ 1584921 h 5973007"/>
              <a:gd name="connsiteX51016" fmla="*/ 1190958 w 6884782"/>
              <a:gd name="connsiteY51016" fmla="*/ 1586780 h 5973007"/>
              <a:gd name="connsiteX51017" fmla="*/ 1189408 w 6884782"/>
              <a:gd name="connsiteY51017" fmla="*/ 1581823 h 5973007"/>
              <a:gd name="connsiteX51018" fmla="*/ 1193023 w 6884782"/>
              <a:gd name="connsiteY51018" fmla="*/ 1579965 h 5973007"/>
              <a:gd name="connsiteX51019" fmla="*/ 4049853 w 6884782"/>
              <a:gd name="connsiteY51019" fmla="*/ 1579611 h 5973007"/>
              <a:gd name="connsiteX51020" fmla="*/ 4070981 w 6884782"/>
              <a:gd name="connsiteY51020" fmla="*/ 1595404 h 5973007"/>
              <a:gd name="connsiteX51021" fmla="*/ 4069914 w 6884782"/>
              <a:gd name="connsiteY51021" fmla="*/ 1602943 h 5973007"/>
              <a:gd name="connsiteX51022" fmla="*/ 4049853 w 6884782"/>
              <a:gd name="connsiteY51022" fmla="*/ 1579611 h 5973007"/>
              <a:gd name="connsiteX51023" fmla="*/ 3640087 w 6884782"/>
              <a:gd name="connsiteY51023" fmla="*/ 1579327 h 5973007"/>
              <a:gd name="connsiteX51024" fmla="*/ 3645636 w 6884782"/>
              <a:gd name="connsiteY51024" fmla="*/ 1580323 h 5973007"/>
              <a:gd name="connsiteX51025" fmla="*/ 3648624 w 6884782"/>
              <a:gd name="connsiteY51025" fmla="*/ 1581461 h 5973007"/>
              <a:gd name="connsiteX51026" fmla="*/ 3651185 w 6884782"/>
              <a:gd name="connsiteY51026" fmla="*/ 1581461 h 5973007"/>
              <a:gd name="connsiteX51027" fmla="*/ 3654813 w 6884782"/>
              <a:gd name="connsiteY51027" fmla="*/ 1584448 h 5973007"/>
              <a:gd name="connsiteX51028" fmla="*/ 3652466 w 6884782"/>
              <a:gd name="connsiteY51028" fmla="*/ 1584448 h 5973007"/>
              <a:gd name="connsiteX51029" fmla="*/ 3649264 w 6884782"/>
              <a:gd name="connsiteY51029" fmla="*/ 1583595 h 5973007"/>
              <a:gd name="connsiteX51030" fmla="*/ 3647343 w 6884782"/>
              <a:gd name="connsiteY51030" fmla="*/ 1584448 h 5973007"/>
              <a:gd name="connsiteX51031" fmla="*/ 3640087 w 6884782"/>
              <a:gd name="connsiteY51031" fmla="*/ 1579327 h 5973007"/>
              <a:gd name="connsiteX51032" fmla="*/ 1468304 w 6884782"/>
              <a:gd name="connsiteY51032" fmla="*/ 1579190 h 5973007"/>
              <a:gd name="connsiteX51033" fmla="*/ 1457462 w 6884782"/>
              <a:gd name="connsiteY51033" fmla="*/ 1590808 h 5973007"/>
              <a:gd name="connsiteX51034" fmla="*/ 1456120 w 6884782"/>
              <a:gd name="connsiteY51034" fmla="*/ 1587554 h 5973007"/>
              <a:gd name="connsiteX51035" fmla="*/ 1457875 w 6884782"/>
              <a:gd name="connsiteY51035" fmla="*/ 1586935 h 5973007"/>
              <a:gd name="connsiteX51036" fmla="*/ 1468304 w 6884782"/>
              <a:gd name="connsiteY51036" fmla="*/ 1579190 h 5973007"/>
              <a:gd name="connsiteX51037" fmla="*/ 958218 w 6884782"/>
              <a:gd name="connsiteY51037" fmla="*/ 1579190 h 5973007"/>
              <a:gd name="connsiteX51038" fmla="*/ 965446 w 6884782"/>
              <a:gd name="connsiteY51038" fmla="*/ 1581049 h 5973007"/>
              <a:gd name="connsiteX51039" fmla="*/ 964930 w 6884782"/>
              <a:gd name="connsiteY51039" fmla="*/ 1581669 h 5973007"/>
              <a:gd name="connsiteX51040" fmla="*/ 965239 w 6884782"/>
              <a:gd name="connsiteY51040" fmla="*/ 1582133 h 5973007"/>
              <a:gd name="connsiteX51041" fmla="*/ 965136 w 6884782"/>
              <a:gd name="connsiteY51041" fmla="*/ 1584921 h 5973007"/>
              <a:gd name="connsiteX51042" fmla="*/ 965446 w 6884782"/>
              <a:gd name="connsiteY51042" fmla="*/ 1589104 h 5973007"/>
              <a:gd name="connsiteX51043" fmla="*/ 962658 w 6884782"/>
              <a:gd name="connsiteY51043" fmla="*/ 1602734 h 5973007"/>
              <a:gd name="connsiteX51044" fmla="*/ 961316 w 6884782"/>
              <a:gd name="connsiteY51044" fmla="*/ 1597158 h 5973007"/>
              <a:gd name="connsiteX51045" fmla="*/ 961316 w 6884782"/>
              <a:gd name="connsiteY51045" fmla="*/ 1589878 h 5973007"/>
              <a:gd name="connsiteX51046" fmla="*/ 960696 w 6884782"/>
              <a:gd name="connsiteY51046" fmla="*/ 1584302 h 5973007"/>
              <a:gd name="connsiteX51047" fmla="*/ 959044 w 6884782"/>
              <a:gd name="connsiteY51047" fmla="*/ 1583373 h 5973007"/>
              <a:gd name="connsiteX51048" fmla="*/ 957392 w 6884782"/>
              <a:gd name="connsiteY51048" fmla="*/ 1581669 h 5973007"/>
              <a:gd name="connsiteX51049" fmla="*/ 957289 w 6884782"/>
              <a:gd name="connsiteY51049" fmla="*/ 1580274 h 5973007"/>
              <a:gd name="connsiteX51050" fmla="*/ 958218 w 6884782"/>
              <a:gd name="connsiteY51050" fmla="*/ 1579190 h 5973007"/>
              <a:gd name="connsiteX51051" fmla="*/ 4833317 w 6884782"/>
              <a:gd name="connsiteY51051" fmla="*/ 1578758 h 5973007"/>
              <a:gd name="connsiteX51052" fmla="*/ 4844202 w 6884782"/>
              <a:gd name="connsiteY51052" fmla="*/ 1585018 h 5973007"/>
              <a:gd name="connsiteX51053" fmla="*/ 4824567 w 6884782"/>
              <a:gd name="connsiteY51053" fmla="*/ 1585160 h 5973007"/>
              <a:gd name="connsiteX51054" fmla="*/ 4833317 w 6884782"/>
              <a:gd name="connsiteY51054" fmla="*/ 1578758 h 5973007"/>
              <a:gd name="connsiteX51055" fmla="*/ 988575 w 6884782"/>
              <a:gd name="connsiteY51055" fmla="*/ 1578725 h 5973007"/>
              <a:gd name="connsiteX51056" fmla="*/ 1001586 w 6884782"/>
              <a:gd name="connsiteY51056" fmla="*/ 1585851 h 5973007"/>
              <a:gd name="connsiteX51057" fmla="*/ 997455 w 6884782"/>
              <a:gd name="connsiteY51057" fmla="*/ 1592821 h 5973007"/>
              <a:gd name="connsiteX51058" fmla="*/ 986097 w 6884782"/>
              <a:gd name="connsiteY51058" fmla="*/ 1583527 h 5973007"/>
              <a:gd name="connsiteX51059" fmla="*/ 988575 w 6884782"/>
              <a:gd name="connsiteY51059" fmla="*/ 1578725 h 5973007"/>
              <a:gd name="connsiteX51060" fmla="*/ 1759280 w 6884782"/>
              <a:gd name="connsiteY51060" fmla="*/ 1578416 h 5973007"/>
              <a:gd name="connsiteX51061" fmla="*/ 1759486 w 6884782"/>
              <a:gd name="connsiteY51061" fmla="*/ 1584302 h 5973007"/>
              <a:gd name="connsiteX51062" fmla="*/ 1757731 w 6884782"/>
              <a:gd name="connsiteY51062" fmla="*/ 1597623 h 5973007"/>
              <a:gd name="connsiteX51063" fmla="*/ 1755872 w 6884782"/>
              <a:gd name="connsiteY51063" fmla="*/ 1599327 h 5973007"/>
              <a:gd name="connsiteX51064" fmla="*/ 1755769 w 6884782"/>
              <a:gd name="connsiteY51064" fmla="*/ 1600101 h 5973007"/>
              <a:gd name="connsiteX51065" fmla="*/ 1753910 w 6884782"/>
              <a:gd name="connsiteY51065" fmla="*/ 1600876 h 5973007"/>
              <a:gd name="connsiteX51066" fmla="*/ 1753084 w 6884782"/>
              <a:gd name="connsiteY51066" fmla="*/ 1598707 h 5973007"/>
              <a:gd name="connsiteX51067" fmla="*/ 1753704 w 6884782"/>
              <a:gd name="connsiteY51067" fmla="*/ 1595919 h 5973007"/>
              <a:gd name="connsiteX51068" fmla="*/ 1754117 w 6884782"/>
              <a:gd name="connsiteY51068" fmla="*/ 1591737 h 5973007"/>
              <a:gd name="connsiteX51069" fmla="*/ 1759280 w 6884782"/>
              <a:gd name="connsiteY51069" fmla="*/ 1578416 h 5973007"/>
              <a:gd name="connsiteX51070" fmla="*/ 1574451 w 6884782"/>
              <a:gd name="connsiteY51070" fmla="*/ 1578261 h 5973007"/>
              <a:gd name="connsiteX51071" fmla="*/ 1579717 w 6884782"/>
              <a:gd name="connsiteY51071" fmla="*/ 1582133 h 5973007"/>
              <a:gd name="connsiteX51072" fmla="*/ 1569598 w 6884782"/>
              <a:gd name="connsiteY51072" fmla="*/ 1588794 h 5973007"/>
              <a:gd name="connsiteX51073" fmla="*/ 1574451 w 6884782"/>
              <a:gd name="connsiteY51073" fmla="*/ 1578261 h 5973007"/>
              <a:gd name="connsiteX51074" fmla="*/ 4536877 w 6884782"/>
              <a:gd name="connsiteY51074" fmla="*/ 1577762 h 5973007"/>
              <a:gd name="connsiteX51075" fmla="*/ 4567609 w 6884782"/>
              <a:gd name="connsiteY51075" fmla="*/ 1601805 h 5973007"/>
              <a:gd name="connsiteX51076" fmla="*/ 4532609 w 6884782"/>
              <a:gd name="connsiteY51076" fmla="*/ 1588290 h 5973007"/>
              <a:gd name="connsiteX51077" fmla="*/ 4536877 w 6884782"/>
              <a:gd name="connsiteY51077" fmla="*/ 1577762 h 5973007"/>
              <a:gd name="connsiteX51078" fmla="*/ 1634649 w 6884782"/>
              <a:gd name="connsiteY51078" fmla="*/ 1577641 h 5973007"/>
              <a:gd name="connsiteX51079" fmla="*/ 1635889 w 6884782"/>
              <a:gd name="connsiteY51079" fmla="*/ 1578571 h 5973007"/>
              <a:gd name="connsiteX51080" fmla="*/ 1634030 w 6884782"/>
              <a:gd name="connsiteY51080" fmla="*/ 1578106 h 5973007"/>
              <a:gd name="connsiteX51081" fmla="*/ 1634649 w 6884782"/>
              <a:gd name="connsiteY51081" fmla="*/ 1577641 h 5973007"/>
              <a:gd name="connsiteX51082" fmla="*/ 5769376 w 6884782"/>
              <a:gd name="connsiteY51082" fmla="*/ 1577619 h 5973007"/>
              <a:gd name="connsiteX51083" fmla="*/ 5774284 w 6884782"/>
              <a:gd name="connsiteY51083" fmla="*/ 1583595 h 5973007"/>
              <a:gd name="connsiteX51084" fmla="*/ 5763187 w 6884782"/>
              <a:gd name="connsiteY51084" fmla="*/ 1591420 h 5973007"/>
              <a:gd name="connsiteX51085" fmla="*/ 5759772 w 6884782"/>
              <a:gd name="connsiteY51085" fmla="*/ 1587578 h 5973007"/>
              <a:gd name="connsiteX51086" fmla="*/ 5769376 w 6884782"/>
              <a:gd name="connsiteY51086" fmla="*/ 1577619 h 5973007"/>
              <a:gd name="connsiteX51087" fmla="*/ 4967558 w 6884782"/>
              <a:gd name="connsiteY51087" fmla="*/ 1577335 h 5973007"/>
              <a:gd name="connsiteX51088" fmla="*/ 4972894 w 6884782"/>
              <a:gd name="connsiteY51088" fmla="*/ 1580607 h 5973007"/>
              <a:gd name="connsiteX51089" fmla="*/ 4979083 w 6884782"/>
              <a:gd name="connsiteY51089" fmla="*/ 1592415 h 5973007"/>
              <a:gd name="connsiteX51090" fmla="*/ 4968625 w 6884782"/>
              <a:gd name="connsiteY51090" fmla="*/ 1594265 h 5973007"/>
              <a:gd name="connsiteX51091" fmla="*/ 4967558 w 6884782"/>
              <a:gd name="connsiteY51091" fmla="*/ 1592984 h 5973007"/>
              <a:gd name="connsiteX51092" fmla="*/ 4962650 w 6884782"/>
              <a:gd name="connsiteY51092" fmla="*/ 1578900 h 5973007"/>
              <a:gd name="connsiteX51093" fmla="*/ 4967558 w 6884782"/>
              <a:gd name="connsiteY51093" fmla="*/ 1577335 h 5973007"/>
              <a:gd name="connsiteX51094" fmla="*/ 3881678 w 6884782"/>
              <a:gd name="connsiteY51094" fmla="*/ 1577051 h 5973007"/>
              <a:gd name="connsiteX51095" fmla="*/ 3875276 w 6884782"/>
              <a:gd name="connsiteY51095" fmla="*/ 1582457 h 5973007"/>
              <a:gd name="connsiteX51096" fmla="*/ 3864605 w 6884782"/>
              <a:gd name="connsiteY51096" fmla="*/ 1584875 h 5973007"/>
              <a:gd name="connsiteX51097" fmla="*/ 3865032 w 6884782"/>
              <a:gd name="connsiteY51097" fmla="*/ 1583168 h 5973007"/>
              <a:gd name="connsiteX51098" fmla="*/ 3881678 w 6884782"/>
              <a:gd name="connsiteY51098" fmla="*/ 1577051 h 5973007"/>
              <a:gd name="connsiteX51099" fmla="*/ 1327359 w 6884782"/>
              <a:gd name="connsiteY51099" fmla="*/ 1577021 h 5973007"/>
              <a:gd name="connsiteX51100" fmla="*/ 1332109 w 6884782"/>
              <a:gd name="connsiteY51100" fmla="*/ 1582908 h 5973007"/>
              <a:gd name="connsiteX51101" fmla="*/ 1329940 w 6884782"/>
              <a:gd name="connsiteY51101" fmla="*/ 1584147 h 5973007"/>
              <a:gd name="connsiteX51102" fmla="*/ 1329734 w 6884782"/>
              <a:gd name="connsiteY51102" fmla="*/ 1584457 h 5973007"/>
              <a:gd name="connsiteX51103" fmla="*/ 1335206 w 6884782"/>
              <a:gd name="connsiteY51103" fmla="*/ 1594215 h 5973007"/>
              <a:gd name="connsiteX51104" fmla="*/ 1318582 w 6884782"/>
              <a:gd name="connsiteY51104" fmla="*/ 1578261 h 5973007"/>
              <a:gd name="connsiteX51105" fmla="*/ 1323745 w 6884782"/>
              <a:gd name="connsiteY51105" fmla="*/ 1579810 h 5973007"/>
              <a:gd name="connsiteX51106" fmla="*/ 1324365 w 6884782"/>
              <a:gd name="connsiteY51106" fmla="*/ 1578725 h 5973007"/>
              <a:gd name="connsiteX51107" fmla="*/ 1327359 w 6884782"/>
              <a:gd name="connsiteY51107" fmla="*/ 1577021 h 5973007"/>
              <a:gd name="connsiteX51108" fmla="*/ 5609952 w 6884782"/>
              <a:gd name="connsiteY51108" fmla="*/ 1576197 h 5973007"/>
              <a:gd name="connsiteX51109" fmla="*/ 5610592 w 6884782"/>
              <a:gd name="connsiteY51109" fmla="*/ 1577193 h 5973007"/>
              <a:gd name="connsiteX51110" fmla="*/ 5611019 w 6884782"/>
              <a:gd name="connsiteY51110" fmla="*/ 1577335 h 5973007"/>
              <a:gd name="connsiteX51111" fmla="*/ 5611019 w 6884782"/>
              <a:gd name="connsiteY51111" fmla="*/ 1579754 h 5973007"/>
              <a:gd name="connsiteX51112" fmla="*/ 5609952 w 6884782"/>
              <a:gd name="connsiteY51112" fmla="*/ 1581888 h 5973007"/>
              <a:gd name="connsiteX51113" fmla="*/ 5606323 w 6884782"/>
              <a:gd name="connsiteY51113" fmla="*/ 1578616 h 5973007"/>
              <a:gd name="connsiteX51114" fmla="*/ 5608244 w 6884782"/>
              <a:gd name="connsiteY51114" fmla="*/ 1577335 h 5973007"/>
              <a:gd name="connsiteX51115" fmla="*/ 5607391 w 6884782"/>
              <a:gd name="connsiteY51115" fmla="*/ 1576481 h 5973007"/>
              <a:gd name="connsiteX51116" fmla="*/ 5609952 w 6884782"/>
              <a:gd name="connsiteY51116" fmla="*/ 1576197 h 5973007"/>
              <a:gd name="connsiteX51117" fmla="*/ 1464999 w 6884782"/>
              <a:gd name="connsiteY51117" fmla="*/ 1575937 h 5973007"/>
              <a:gd name="connsiteX51118" fmla="*/ 1465309 w 6884782"/>
              <a:gd name="connsiteY51118" fmla="*/ 1576712 h 5973007"/>
              <a:gd name="connsiteX51119" fmla="*/ 1457668 w 6884782"/>
              <a:gd name="connsiteY51119" fmla="*/ 1581049 h 5973007"/>
              <a:gd name="connsiteX51120" fmla="*/ 1454570 w 6884782"/>
              <a:gd name="connsiteY51120" fmla="*/ 1581823 h 5973007"/>
              <a:gd name="connsiteX51121" fmla="*/ 1455397 w 6884782"/>
              <a:gd name="connsiteY51121" fmla="*/ 1581514 h 5973007"/>
              <a:gd name="connsiteX51122" fmla="*/ 1454261 w 6884782"/>
              <a:gd name="connsiteY51122" fmla="*/ 1581049 h 5973007"/>
              <a:gd name="connsiteX51123" fmla="*/ 1460456 w 6884782"/>
              <a:gd name="connsiteY51123" fmla="*/ 1577176 h 5973007"/>
              <a:gd name="connsiteX51124" fmla="*/ 1464999 w 6884782"/>
              <a:gd name="connsiteY51124" fmla="*/ 1575937 h 5973007"/>
              <a:gd name="connsiteX51125" fmla="*/ 1245064 w 6884782"/>
              <a:gd name="connsiteY51125" fmla="*/ 1575627 h 5973007"/>
              <a:gd name="connsiteX51126" fmla="*/ 1263030 w 6884782"/>
              <a:gd name="connsiteY51126" fmla="*/ 1576402 h 5973007"/>
              <a:gd name="connsiteX51127" fmla="*/ 1245064 w 6884782"/>
              <a:gd name="connsiteY51127" fmla="*/ 1575627 h 5973007"/>
              <a:gd name="connsiteX51128" fmla="*/ 4742187 w 6884782"/>
              <a:gd name="connsiteY51128" fmla="*/ 1575486 h 5973007"/>
              <a:gd name="connsiteX51129" fmla="*/ 4731302 w 6884782"/>
              <a:gd name="connsiteY51129" fmla="*/ 1583879 h 5973007"/>
              <a:gd name="connsiteX51130" fmla="*/ 4742187 w 6884782"/>
              <a:gd name="connsiteY51130" fmla="*/ 1575486 h 5973007"/>
              <a:gd name="connsiteX51131" fmla="*/ 4591299 w 6884782"/>
              <a:gd name="connsiteY51131" fmla="*/ 1575486 h 5973007"/>
              <a:gd name="connsiteX51132" fmla="*/ 4607519 w 6884782"/>
              <a:gd name="connsiteY51132" fmla="*/ 1589428 h 5973007"/>
              <a:gd name="connsiteX51133" fmla="*/ 4602610 w 6884782"/>
              <a:gd name="connsiteY51133" fmla="*/ 1595688 h 5973007"/>
              <a:gd name="connsiteX51134" fmla="*/ 4603464 w 6884782"/>
              <a:gd name="connsiteY51134" fmla="*/ 1596114 h 5973007"/>
              <a:gd name="connsiteX51135" fmla="*/ 4598555 w 6884782"/>
              <a:gd name="connsiteY51135" fmla="*/ 1601521 h 5973007"/>
              <a:gd name="connsiteX51136" fmla="*/ 4592793 w 6884782"/>
              <a:gd name="connsiteY51136" fmla="*/ 1601805 h 5973007"/>
              <a:gd name="connsiteX51137" fmla="*/ 4593006 w 6884782"/>
              <a:gd name="connsiteY51137" fmla="*/ 1597964 h 5973007"/>
              <a:gd name="connsiteX51138" fmla="*/ 4592366 w 6884782"/>
              <a:gd name="connsiteY51138" fmla="*/ 1597822 h 5973007"/>
              <a:gd name="connsiteX51139" fmla="*/ 4591299 w 6884782"/>
              <a:gd name="connsiteY51139" fmla="*/ 1575486 h 5973007"/>
              <a:gd name="connsiteX51140" fmla="*/ 1140156 w 6884782"/>
              <a:gd name="connsiteY51140" fmla="*/ 1574853 h 5973007"/>
              <a:gd name="connsiteX51141" fmla="*/ 1140981 w 6884782"/>
              <a:gd name="connsiteY51141" fmla="*/ 1575318 h 5973007"/>
              <a:gd name="connsiteX51142" fmla="*/ 1141188 w 6884782"/>
              <a:gd name="connsiteY51142" fmla="*/ 1575318 h 5973007"/>
              <a:gd name="connsiteX51143" fmla="*/ 1142014 w 6884782"/>
              <a:gd name="connsiteY51143" fmla="*/ 1576867 h 5973007"/>
              <a:gd name="connsiteX51144" fmla="*/ 1141911 w 6884782"/>
              <a:gd name="connsiteY51144" fmla="*/ 1578725 h 5973007"/>
              <a:gd name="connsiteX51145" fmla="*/ 1138606 w 6884782"/>
              <a:gd name="connsiteY51145" fmla="*/ 1577486 h 5973007"/>
              <a:gd name="connsiteX51146" fmla="*/ 1139433 w 6884782"/>
              <a:gd name="connsiteY51146" fmla="*/ 1576092 h 5973007"/>
              <a:gd name="connsiteX51147" fmla="*/ 1138606 w 6884782"/>
              <a:gd name="connsiteY51147" fmla="*/ 1575627 h 5973007"/>
              <a:gd name="connsiteX51148" fmla="*/ 1140156 w 6884782"/>
              <a:gd name="connsiteY51148" fmla="*/ 1574853 h 5973007"/>
              <a:gd name="connsiteX51149" fmla="*/ 4579134 w 6884782"/>
              <a:gd name="connsiteY51149" fmla="*/ 1574489 h 5973007"/>
              <a:gd name="connsiteX51150" fmla="*/ 4582548 w 6884782"/>
              <a:gd name="connsiteY51150" fmla="*/ 1577335 h 5973007"/>
              <a:gd name="connsiteX51151" fmla="*/ 4581268 w 6884782"/>
              <a:gd name="connsiteY51151" fmla="*/ 1578331 h 5973007"/>
              <a:gd name="connsiteX51152" fmla="*/ 4582548 w 6884782"/>
              <a:gd name="connsiteY51152" fmla="*/ 1578473 h 5973007"/>
              <a:gd name="connsiteX51153" fmla="*/ 4580841 w 6884782"/>
              <a:gd name="connsiteY51153" fmla="*/ 1578758 h 5973007"/>
              <a:gd name="connsiteX51154" fmla="*/ 4580201 w 6884782"/>
              <a:gd name="connsiteY51154" fmla="*/ 1578189 h 5973007"/>
              <a:gd name="connsiteX51155" fmla="*/ 4579134 w 6884782"/>
              <a:gd name="connsiteY51155" fmla="*/ 1574489 h 5973007"/>
              <a:gd name="connsiteX51156" fmla="*/ 6020358 w 6884782"/>
              <a:gd name="connsiteY51156" fmla="*/ 1573779 h 5973007"/>
              <a:gd name="connsiteX51157" fmla="*/ 6024413 w 6884782"/>
              <a:gd name="connsiteY51157" fmla="*/ 1577904 h 5973007"/>
              <a:gd name="connsiteX51158" fmla="*/ 6019931 w 6884782"/>
              <a:gd name="connsiteY51158" fmla="*/ 1595546 h 5973007"/>
              <a:gd name="connsiteX51159" fmla="*/ 6011821 w 6884782"/>
              <a:gd name="connsiteY51159" fmla="*/ 1589001 h 5973007"/>
              <a:gd name="connsiteX51160" fmla="*/ 6012461 w 6884782"/>
              <a:gd name="connsiteY51160" fmla="*/ 1582030 h 5973007"/>
              <a:gd name="connsiteX51161" fmla="*/ 6020358 w 6884782"/>
              <a:gd name="connsiteY51161" fmla="*/ 1573779 h 5973007"/>
              <a:gd name="connsiteX51162" fmla="*/ 4909721 w 6884782"/>
              <a:gd name="connsiteY51162" fmla="*/ 1573779 h 5973007"/>
              <a:gd name="connsiteX51163" fmla="*/ 4904386 w 6884782"/>
              <a:gd name="connsiteY51163" fmla="*/ 1585160 h 5973007"/>
              <a:gd name="connsiteX51164" fmla="*/ 4906520 w 6884782"/>
              <a:gd name="connsiteY51164" fmla="*/ 1586867 h 5973007"/>
              <a:gd name="connsiteX51165" fmla="*/ 4908868 w 6884782"/>
              <a:gd name="connsiteY51165" fmla="*/ 1593981 h 5973007"/>
              <a:gd name="connsiteX51166" fmla="*/ 4907800 w 6884782"/>
              <a:gd name="connsiteY51166" fmla="*/ 1601521 h 5973007"/>
              <a:gd name="connsiteX51167" fmla="*/ 4901398 w 6884782"/>
              <a:gd name="connsiteY51167" fmla="*/ 1596826 h 5973007"/>
              <a:gd name="connsiteX51168" fmla="*/ 4901612 w 6884782"/>
              <a:gd name="connsiteY51168" fmla="*/ 1591420 h 5973007"/>
              <a:gd name="connsiteX51169" fmla="*/ 4899050 w 6884782"/>
              <a:gd name="connsiteY51169" fmla="*/ 1596968 h 5973007"/>
              <a:gd name="connsiteX51170" fmla="*/ 4880696 w 6884782"/>
              <a:gd name="connsiteY51170" fmla="*/ 1597822 h 5973007"/>
              <a:gd name="connsiteX51171" fmla="*/ 4909721 w 6884782"/>
              <a:gd name="connsiteY51171" fmla="*/ 1573779 h 5973007"/>
              <a:gd name="connsiteX51172" fmla="*/ 5384580 w 6884782"/>
              <a:gd name="connsiteY51172" fmla="*/ 1573494 h 5973007"/>
              <a:gd name="connsiteX51173" fmla="*/ 5386501 w 6884782"/>
              <a:gd name="connsiteY51173" fmla="*/ 1576055 h 5973007"/>
              <a:gd name="connsiteX51174" fmla="*/ 5382233 w 6884782"/>
              <a:gd name="connsiteY51174" fmla="*/ 1586156 h 5973007"/>
              <a:gd name="connsiteX51175" fmla="*/ 5384580 w 6884782"/>
              <a:gd name="connsiteY51175" fmla="*/ 1573494 h 5973007"/>
              <a:gd name="connsiteX51176" fmla="*/ 5179270 w 6884782"/>
              <a:gd name="connsiteY51176" fmla="*/ 1573352 h 5973007"/>
              <a:gd name="connsiteX51177" fmla="*/ 5166465 w 6884782"/>
              <a:gd name="connsiteY51177" fmla="*/ 1584306 h 5973007"/>
              <a:gd name="connsiteX51178" fmla="*/ 5167532 w 6884782"/>
              <a:gd name="connsiteY51178" fmla="*/ 1580892 h 5973007"/>
              <a:gd name="connsiteX51179" fmla="*/ 5179270 w 6884782"/>
              <a:gd name="connsiteY51179" fmla="*/ 1573352 h 5973007"/>
              <a:gd name="connsiteX51180" fmla="*/ 1471918 w 6884782"/>
              <a:gd name="connsiteY51180" fmla="*/ 1573304 h 5973007"/>
              <a:gd name="connsiteX51181" fmla="*/ 1473157 w 6884782"/>
              <a:gd name="connsiteY51181" fmla="*/ 1573459 h 5973007"/>
              <a:gd name="connsiteX51182" fmla="*/ 1470885 w 6884782"/>
              <a:gd name="connsiteY51182" fmla="*/ 1576867 h 5973007"/>
              <a:gd name="connsiteX51183" fmla="*/ 1469749 w 6884782"/>
              <a:gd name="connsiteY51183" fmla="*/ 1576247 h 5973007"/>
              <a:gd name="connsiteX51184" fmla="*/ 1471918 w 6884782"/>
              <a:gd name="connsiteY51184" fmla="*/ 1573304 h 5973007"/>
              <a:gd name="connsiteX51185" fmla="*/ 4997437 w 6884782"/>
              <a:gd name="connsiteY51185" fmla="*/ 1572640 h 5973007"/>
              <a:gd name="connsiteX51186" fmla="*/ 4992741 w 6884782"/>
              <a:gd name="connsiteY51186" fmla="*/ 1588432 h 5973007"/>
              <a:gd name="connsiteX51187" fmla="*/ 4991675 w 6884782"/>
              <a:gd name="connsiteY51187" fmla="*/ 1588005 h 5973007"/>
              <a:gd name="connsiteX51188" fmla="*/ 4994235 w 6884782"/>
              <a:gd name="connsiteY51188" fmla="*/ 1575770 h 5973007"/>
              <a:gd name="connsiteX51189" fmla="*/ 4995953 w 6884782"/>
              <a:gd name="connsiteY51189" fmla="*/ 1573064 h 5973007"/>
              <a:gd name="connsiteX51190" fmla="*/ 4996583 w 6884782"/>
              <a:gd name="connsiteY51190" fmla="*/ 1572071 h 5973007"/>
              <a:gd name="connsiteX51191" fmla="*/ 4995953 w 6884782"/>
              <a:gd name="connsiteY51191" fmla="*/ 1573064 h 5973007"/>
              <a:gd name="connsiteX51192" fmla="*/ 4995943 w 6884782"/>
              <a:gd name="connsiteY51192" fmla="*/ 1573067 h 5973007"/>
              <a:gd name="connsiteX51193" fmla="*/ 4996583 w 6884782"/>
              <a:gd name="connsiteY51193" fmla="*/ 1572071 h 5973007"/>
              <a:gd name="connsiteX51194" fmla="*/ 4754992 w 6884782"/>
              <a:gd name="connsiteY51194" fmla="*/ 1571929 h 5973007"/>
              <a:gd name="connsiteX51195" fmla="*/ 4760754 w 6884782"/>
              <a:gd name="connsiteY51195" fmla="*/ 1572356 h 5973007"/>
              <a:gd name="connsiteX51196" fmla="*/ 4766730 w 6884782"/>
              <a:gd name="connsiteY51196" fmla="*/ 1581176 h 5973007"/>
              <a:gd name="connsiteX51197" fmla="*/ 4756699 w 6884782"/>
              <a:gd name="connsiteY51197" fmla="*/ 1587863 h 5973007"/>
              <a:gd name="connsiteX51198" fmla="*/ 4754992 w 6884782"/>
              <a:gd name="connsiteY51198" fmla="*/ 1571929 h 5973007"/>
              <a:gd name="connsiteX51199" fmla="*/ 1232157 w 6884782"/>
              <a:gd name="connsiteY51199" fmla="*/ 1571910 h 5973007"/>
              <a:gd name="connsiteX51200" fmla="*/ 1233912 w 6884782"/>
              <a:gd name="connsiteY51200" fmla="*/ 1572220 h 5973007"/>
              <a:gd name="connsiteX51201" fmla="*/ 1235461 w 6884782"/>
              <a:gd name="connsiteY51201" fmla="*/ 1573459 h 5973007"/>
              <a:gd name="connsiteX51202" fmla="*/ 1232673 w 6884782"/>
              <a:gd name="connsiteY51202" fmla="*/ 1575318 h 5973007"/>
              <a:gd name="connsiteX51203" fmla="*/ 1232054 w 6884782"/>
              <a:gd name="connsiteY51203" fmla="*/ 1573924 h 5973007"/>
              <a:gd name="connsiteX51204" fmla="*/ 1231227 w 6884782"/>
              <a:gd name="connsiteY51204" fmla="*/ 1574233 h 5973007"/>
              <a:gd name="connsiteX51205" fmla="*/ 1231331 w 6884782"/>
              <a:gd name="connsiteY51205" fmla="*/ 1572375 h 5973007"/>
              <a:gd name="connsiteX51206" fmla="*/ 1232054 w 6884782"/>
              <a:gd name="connsiteY51206" fmla="*/ 1572220 h 5973007"/>
              <a:gd name="connsiteX51207" fmla="*/ 1232157 w 6884782"/>
              <a:gd name="connsiteY51207" fmla="*/ 1571910 h 5973007"/>
              <a:gd name="connsiteX51208" fmla="*/ 5724558 w 6884782"/>
              <a:gd name="connsiteY51208" fmla="*/ 1571644 h 5973007"/>
              <a:gd name="connsiteX51209" fmla="*/ 5730534 w 6884782"/>
              <a:gd name="connsiteY51209" fmla="*/ 1572925 h 5973007"/>
              <a:gd name="connsiteX51210" fmla="*/ 5717088 w 6884782"/>
              <a:gd name="connsiteY51210" fmla="*/ 1586440 h 5973007"/>
              <a:gd name="connsiteX51211" fmla="*/ 5724558 w 6884782"/>
              <a:gd name="connsiteY51211" fmla="*/ 1571644 h 5973007"/>
              <a:gd name="connsiteX51212" fmla="*/ 1089754 w 6884782"/>
              <a:gd name="connsiteY51212" fmla="*/ 1571619 h 5973007"/>
              <a:gd name="connsiteX51213" fmla="*/ 1099369 w 6884782"/>
              <a:gd name="connsiteY51213" fmla="*/ 1571755 h 5973007"/>
              <a:gd name="connsiteX51214" fmla="*/ 1090179 w 6884782"/>
              <a:gd name="connsiteY51214" fmla="*/ 1577331 h 5973007"/>
              <a:gd name="connsiteX51215" fmla="*/ 1079751 w 6884782"/>
              <a:gd name="connsiteY51215" fmla="*/ 1577176 h 5973007"/>
              <a:gd name="connsiteX51216" fmla="*/ 1089754 w 6884782"/>
              <a:gd name="connsiteY51216" fmla="*/ 1571619 h 5973007"/>
              <a:gd name="connsiteX51217" fmla="*/ 857233 w 6884782"/>
              <a:gd name="connsiteY51217" fmla="*/ 1571445 h 5973007"/>
              <a:gd name="connsiteX51218" fmla="*/ 859298 w 6884782"/>
              <a:gd name="connsiteY51218" fmla="*/ 1571755 h 5973007"/>
              <a:gd name="connsiteX51219" fmla="*/ 853826 w 6884782"/>
              <a:gd name="connsiteY51219" fmla="*/ 1586470 h 5973007"/>
              <a:gd name="connsiteX51220" fmla="*/ 852071 w 6884782"/>
              <a:gd name="connsiteY51220" fmla="*/ 1585386 h 5973007"/>
              <a:gd name="connsiteX51221" fmla="*/ 851451 w 6884782"/>
              <a:gd name="connsiteY51221" fmla="*/ 1583063 h 5973007"/>
              <a:gd name="connsiteX51222" fmla="*/ 854032 w 6884782"/>
              <a:gd name="connsiteY51222" fmla="*/ 1575473 h 5973007"/>
              <a:gd name="connsiteX51223" fmla="*/ 854858 w 6884782"/>
              <a:gd name="connsiteY51223" fmla="*/ 1573924 h 5973007"/>
              <a:gd name="connsiteX51224" fmla="*/ 855788 w 6884782"/>
              <a:gd name="connsiteY51224" fmla="*/ 1572220 h 5973007"/>
              <a:gd name="connsiteX51225" fmla="*/ 857233 w 6884782"/>
              <a:gd name="connsiteY51225" fmla="*/ 1571445 h 5973007"/>
              <a:gd name="connsiteX51226" fmla="*/ 3569232 w 6884782"/>
              <a:gd name="connsiteY51226" fmla="*/ 1571217 h 5973007"/>
              <a:gd name="connsiteX51227" fmla="*/ 3587373 w 6884782"/>
              <a:gd name="connsiteY51227" fmla="*/ 1577619 h 5973007"/>
              <a:gd name="connsiteX51228" fmla="*/ 3569232 w 6884782"/>
              <a:gd name="connsiteY51228" fmla="*/ 1571217 h 5973007"/>
              <a:gd name="connsiteX51229" fmla="*/ 5319700 w 6884782"/>
              <a:gd name="connsiteY51229" fmla="*/ 1570791 h 5973007"/>
              <a:gd name="connsiteX51230" fmla="*/ 5324183 w 6884782"/>
              <a:gd name="connsiteY51230" fmla="*/ 1572498 h 5973007"/>
              <a:gd name="connsiteX51231" fmla="*/ 5324183 w 6884782"/>
              <a:gd name="connsiteY51231" fmla="*/ 1576197 h 5973007"/>
              <a:gd name="connsiteX51232" fmla="*/ 5317780 w 6884782"/>
              <a:gd name="connsiteY51232" fmla="*/ 1576055 h 5973007"/>
              <a:gd name="connsiteX51233" fmla="*/ 5319700 w 6884782"/>
              <a:gd name="connsiteY51233" fmla="*/ 1570791 h 5973007"/>
              <a:gd name="connsiteX51234" fmla="*/ 1441457 w 6884782"/>
              <a:gd name="connsiteY51234" fmla="*/ 1570361 h 5973007"/>
              <a:gd name="connsiteX51235" fmla="*/ 1442283 w 6884782"/>
              <a:gd name="connsiteY51235" fmla="*/ 1573769 h 5973007"/>
              <a:gd name="connsiteX51236" fmla="*/ 1435881 w 6884782"/>
              <a:gd name="connsiteY51236" fmla="*/ 1577641 h 5973007"/>
              <a:gd name="connsiteX51237" fmla="*/ 1431544 w 6884782"/>
              <a:gd name="connsiteY51237" fmla="*/ 1580429 h 5973007"/>
              <a:gd name="connsiteX51238" fmla="*/ 1432061 w 6884782"/>
              <a:gd name="connsiteY51238" fmla="*/ 1580274 h 5973007"/>
              <a:gd name="connsiteX51239" fmla="*/ 1435985 w 6884782"/>
              <a:gd name="connsiteY51239" fmla="*/ 1589568 h 5973007"/>
              <a:gd name="connsiteX51240" fmla="*/ 1425142 w 6884782"/>
              <a:gd name="connsiteY51240" fmla="*/ 1584921 h 5973007"/>
              <a:gd name="connsiteX51241" fmla="*/ 1427414 w 6884782"/>
              <a:gd name="connsiteY51241" fmla="*/ 1581823 h 5973007"/>
              <a:gd name="connsiteX51242" fmla="*/ 1430615 w 6884782"/>
              <a:gd name="connsiteY51242" fmla="*/ 1580739 h 5973007"/>
              <a:gd name="connsiteX51243" fmla="*/ 1433403 w 6884782"/>
              <a:gd name="connsiteY51243" fmla="*/ 1573614 h 5973007"/>
              <a:gd name="connsiteX51244" fmla="*/ 1441457 w 6884782"/>
              <a:gd name="connsiteY51244" fmla="*/ 1570361 h 5973007"/>
              <a:gd name="connsiteX51245" fmla="*/ 4971186 w 6884782"/>
              <a:gd name="connsiteY51245" fmla="*/ 1569795 h 5973007"/>
              <a:gd name="connsiteX51246" fmla="*/ 4975454 w 6884782"/>
              <a:gd name="connsiteY51246" fmla="*/ 1572640 h 5973007"/>
              <a:gd name="connsiteX51247" fmla="*/ 4972894 w 6884782"/>
              <a:gd name="connsiteY51247" fmla="*/ 1575628 h 5973007"/>
              <a:gd name="connsiteX51248" fmla="*/ 4971186 w 6884782"/>
              <a:gd name="connsiteY51248" fmla="*/ 1569795 h 5973007"/>
              <a:gd name="connsiteX51249" fmla="*/ 1662322 w 6884782"/>
              <a:gd name="connsiteY51249" fmla="*/ 1569586 h 5973007"/>
              <a:gd name="connsiteX51250" fmla="*/ 1673680 w 6884782"/>
              <a:gd name="connsiteY51250" fmla="*/ 1570516 h 5973007"/>
              <a:gd name="connsiteX51251" fmla="*/ 1681734 w 6884782"/>
              <a:gd name="connsiteY51251" fmla="*/ 1583373 h 5973007"/>
              <a:gd name="connsiteX51252" fmla="*/ 1674506 w 6884782"/>
              <a:gd name="connsiteY51252" fmla="*/ 1589568 h 5973007"/>
              <a:gd name="connsiteX51253" fmla="*/ 1668517 w 6884782"/>
              <a:gd name="connsiteY51253" fmla="*/ 1589258 h 5973007"/>
              <a:gd name="connsiteX51254" fmla="*/ 1666039 w 6884782"/>
              <a:gd name="connsiteY51254" fmla="*/ 1587554 h 5973007"/>
              <a:gd name="connsiteX51255" fmla="*/ 1668827 w 6884782"/>
              <a:gd name="connsiteY51255" fmla="*/ 1593751 h 5973007"/>
              <a:gd name="connsiteX51256" fmla="*/ 1668827 w 6884782"/>
              <a:gd name="connsiteY51256" fmla="*/ 1608465 h 5973007"/>
              <a:gd name="connsiteX51257" fmla="*/ 1663251 w 6884782"/>
              <a:gd name="connsiteY51257" fmla="*/ 1598397 h 5973007"/>
              <a:gd name="connsiteX51258" fmla="*/ 1661806 w 6884782"/>
              <a:gd name="connsiteY51258" fmla="*/ 1599172 h 5973007"/>
              <a:gd name="connsiteX51259" fmla="*/ 1655404 w 6884782"/>
              <a:gd name="connsiteY51259" fmla="*/ 1594990 h 5973007"/>
              <a:gd name="connsiteX51260" fmla="*/ 1656230 w 6884782"/>
              <a:gd name="connsiteY51260" fmla="*/ 1590033 h 5973007"/>
              <a:gd name="connsiteX51261" fmla="*/ 1659225 w 6884782"/>
              <a:gd name="connsiteY51261" fmla="*/ 1589723 h 5973007"/>
              <a:gd name="connsiteX51262" fmla="*/ 1660257 w 6884782"/>
              <a:gd name="connsiteY51262" fmla="*/ 1589723 h 5973007"/>
              <a:gd name="connsiteX51263" fmla="*/ 1659844 w 6884782"/>
              <a:gd name="connsiteY51263" fmla="*/ 1584457 h 5973007"/>
              <a:gd name="connsiteX51264" fmla="*/ 1661598 w 6884782"/>
              <a:gd name="connsiteY51264" fmla="*/ 1584595 h 5973007"/>
              <a:gd name="connsiteX51265" fmla="*/ 1661599 w 6884782"/>
              <a:gd name="connsiteY51265" fmla="*/ 1584612 h 5973007"/>
              <a:gd name="connsiteX51266" fmla="*/ 1661806 w 6884782"/>
              <a:gd name="connsiteY51266" fmla="*/ 1584612 h 5973007"/>
              <a:gd name="connsiteX51267" fmla="*/ 1661598 w 6884782"/>
              <a:gd name="connsiteY51267" fmla="*/ 1584595 h 5973007"/>
              <a:gd name="connsiteX51268" fmla="*/ 1661083 w 6884782"/>
              <a:gd name="connsiteY51268" fmla="*/ 1575318 h 5973007"/>
              <a:gd name="connsiteX51269" fmla="*/ 1662012 w 6884782"/>
              <a:gd name="connsiteY51269" fmla="*/ 1573304 h 5973007"/>
              <a:gd name="connsiteX51270" fmla="*/ 1662322 w 6884782"/>
              <a:gd name="connsiteY51270" fmla="*/ 1569586 h 5973007"/>
              <a:gd name="connsiteX51271" fmla="*/ 1027193 w 6884782"/>
              <a:gd name="connsiteY51271" fmla="*/ 1569432 h 5973007"/>
              <a:gd name="connsiteX51272" fmla="*/ 1026987 w 6884782"/>
              <a:gd name="connsiteY51272" fmla="*/ 1576092 h 5973007"/>
              <a:gd name="connsiteX51273" fmla="*/ 1021927 w 6884782"/>
              <a:gd name="connsiteY51273" fmla="*/ 1573769 h 5973007"/>
              <a:gd name="connsiteX51274" fmla="*/ 1027193 w 6884782"/>
              <a:gd name="connsiteY51274" fmla="*/ 1569432 h 5973007"/>
              <a:gd name="connsiteX51275" fmla="*/ 3566670 w 6884782"/>
              <a:gd name="connsiteY51275" fmla="*/ 1569368 h 5973007"/>
              <a:gd name="connsiteX51276" fmla="*/ 3569232 w 6884782"/>
              <a:gd name="connsiteY51276" fmla="*/ 1570933 h 5973007"/>
              <a:gd name="connsiteX51277" fmla="*/ 3567951 w 6884782"/>
              <a:gd name="connsiteY51277" fmla="*/ 1571787 h 5973007"/>
              <a:gd name="connsiteX51278" fmla="*/ 3566670 w 6884782"/>
              <a:gd name="connsiteY51278" fmla="*/ 1569368 h 5973007"/>
              <a:gd name="connsiteX51279" fmla="*/ 4062658 w 6884782"/>
              <a:gd name="connsiteY51279" fmla="*/ 1569083 h 5973007"/>
              <a:gd name="connsiteX51280" fmla="*/ 4068207 w 6884782"/>
              <a:gd name="connsiteY51280" fmla="*/ 1569368 h 5973007"/>
              <a:gd name="connsiteX51281" fmla="*/ 4059457 w 6884782"/>
              <a:gd name="connsiteY51281" fmla="*/ 1573779 h 5973007"/>
              <a:gd name="connsiteX51282" fmla="*/ 4062658 w 6884782"/>
              <a:gd name="connsiteY51282" fmla="*/ 1569083 h 5973007"/>
              <a:gd name="connsiteX51283" fmla="*/ 5159209 w 6884782"/>
              <a:gd name="connsiteY51283" fmla="*/ 1568799 h 5973007"/>
              <a:gd name="connsiteX51284" fmla="*/ 5161130 w 6884782"/>
              <a:gd name="connsiteY51284" fmla="*/ 1569937 h 5973007"/>
              <a:gd name="connsiteX51285" fmla="*/ 5161770 w 6884782"/>
              <a:gd name="connsiteY51285" fmla="*/ 1568799 h 5973007"/>
              <a:gd name="connsiteX51286" fmla="*/ 5162837 w 6884782"/>
              <a:gd name="connsiteY51286" fmla="*/ 1570933 h 5973007"/>
              <a:gd name="connsiteX51287" fmla="*/ 5162197 w 6884782"/>
              <a:gd name="connsiteY51287" fmla="*/ 1572071 h 5973007"/>
              <a:gd name="connsiteX51288" fmla="*/ 5162197 w 6884782"/>
              <a:gd name="connsiteY51288" fmla="*/ 1572356 h 5973007"/>
              <a:gd name="connsiteX51289" fmla="*/ 5160063 w 6884782"/>
              <a:gd name="connsiteY51289" fmla="*/ 1573494 h 5973007"/>
              <a:gd name="connsiteX51290" fmla="*/ 5157502 w 6884782"/>
              <a:gd name="connsiteY51290" fmla="*/ 1573352 h 5973007"/>
              <a:gd name="connsiteX51291" fmla="*/ 5159209 w 6884782"/>
              <a:gd name="connsiteY51291" fmla="*/ 1568799 h 5973007"/>
              <a:gd name="connsiteX51292" fmla="*/ 3560908 w 6884782"/>
              <a:gd name="connsiteY51292" fmla="*/ 1568515 h 5973007"/>
              <a:gd name="connsiteX51293" fmla="*/ 3563470 w 6884782"/>
              <a:gd name="connsiteY51293" fmla="*/ 1569937 h 5973007"/>
              <a:gd name="connsiteX51294" fmla="*/ 3560908 w 6884782"/>
              <a:gd name="connsiteY51294" fmla="*/ 1569510 h 5973007"/>
              <a:gd name="connsiteX51295" fmla="*/ 3560908 w 6884782"/>
              <a:gd name="connsiteY51295" fmla="*/ 1568515 h 5973007"/>
              <a:gd name="connsiteX51296" fmla="*/ 1521791 w 6884782"/>
              <a:gd name="connsiteY51296" fmla="*/ 1568502 h 5973007"/>
              <a:gd name="connsiteX51297" fmla="*/ 1520241 w 6884782"/>
              <a:gd name="connsiteY51297" fmla="*/ 1568657 h 5973007"/>
              <a:gd name="connsiteX51298" fmla="*/ 1521171 w 6884782"/>
              <a:gd name="connsiteY51298" fmla="*/ 1570826 h 5973007"/>
              <a:gd name="connsiteX51299" fmla="*/ 1520965 w 6884782"/>
              <a:gd name="connsiteY51299" fmla="*/ 1571291 h 5973007"/>
              <a:gd name="connsiteX51300" fmla="*/ 1521068 w 6884782"/>
              <a:gd name="connsiteY51300" fmla="*/ 1571600 h 5973007"/>
              <a:gd name="connsiteX51301" fmla="*/ 1520965 w 6884782"/>
              <a:gd name="connsiteY51301" fmla="*/ 1571755 h 5973007"/>
              <a:gd name="connsiteX51302" fmla="*/ 1521068 w 6884782"/>
              <a:gd name="connsiteY51302" fmla="*/ 1571755 h 5973007"/>
              <a:gd name="connsiteX51303" fmla="*/ 1521068 w 6884782"/>
              <a:gd name="connsiteY51303" fmla="*/ 1571600 h 5973007"/>
              <a:gd name="connsiteX51304" fmla="*/ 1521274 w 6884782"/>
              <a:gd name="connsiteY51304" fmla="*/ 1571136 h 5973007"/>
              <a:gd name="connsiteX51305" fmla="*/ 1521171 w 6884782"/>
              <a:gd name="connsiteY51305" fmla="*/ 1570826 h 5973007"/>
              <a:gd name="connsiteX51306" fmla="*/ 5481686 w 6884782"/>
              <a:gd name="connsiteY51306" fmla="*/ 1567945 h 5973007"/>
              <a:gd name="connsiteX51307" fmla="*/ 5484888 w 6884782"/>
              <a:gd name="connsiteY51307" fmla="*/ 1574489 h 5973007"/>
              <a:gd name="connsiteX51308" fmla="*/ 5482540 w 6884782"/>
              <a:gd name="connsiteY51308" fmla="*/ 1586440 h 5973007"/>
              <a:gd name="connsiteX51309" fmla="*/ 5481260 w 6884782"/>
              <a:gd name="connsiteY51309" fmla="*/ 1588432 h 5973007"/>
              <a:gd name="connsiteX51310" fmla="*/ 5480832 w 6884782"/>
              <a:gd name="connsiteY51310" fmla="*/ 1589428 h 5973007"/>
              <a:gd name="connsiteX51311" fmla="*/ 5479552 w 6884782"/>
              <a:gd name="connsiteY51311" fmla="*/ 1590566 h 5973007"/>
              <a:gd name="connsiteX51312" fmla="*/ 5476137 w 6884782"/>
              <a:gd name="connsiteY51312" fmla="*/ 1595830 h 5973007"/>
              <a:gd name="connsiteX51313" fmla="*/ 5465253 w 6884782"/>
              <a:gd name="connsiteY51313" fmla="*/ 1591989 h 5973007"/>
              <a:gd name="connsiteX51314" fmla="*/ 5481686 w 6884782"/>
              <a:gd name="connsiteY51314" fmla="*/ 1567945 h 5973007"/>
              <a:gd name="connsiteX51315" fmla="*/ 1303713 w 6884782"/>
              <a:gd name="connsiteY51315" fmla="*/ 1567728 h 5973007"/>
              <a:gd name="connsiteX51316" fmla="*/ 1304230 w 6884782"/>
              <a:gd name="connsiteY51316" fmla="*/ 1575008 h 5973007"/>
              <a:gd name="connsiteX51317" fmla="*/ 1299996 w 6884782"/>
              <a:gd name="connsiteY51317" fmla="*/ 1579810 h 5973007"/>
              <a:gd name="connsiteX51318" fmla="*/ 1297725 w 6884782"/>
              <a:gd name="connsiteY51318" fmla="*/ 1576402 h 5973007"/>
              <a:gd name="connsiteX51319" fmla="*/ 1300099 w 6884782"/>
              <a:gd name="connsiteY51319" fmla="*/ 1572065 h 5973007"/>
              <a:gd name="connsiteX51320" fmla="*/ 1301235 w 6884782"/>
              <a:gd name="connsiteY51320" fmla="*/ 1568812 h 5973007"/>
              <a:gd name="connsiteX51321" fmla="*/ 1303713 w 6884782"/>
              <a:gd name="connsiteY51321" fmla="*/ 1567728 h 5973007"/>
              <a:gd name="connsiteX51322" fmla="*/ 5515406 w 6884782"/>
              <a:gd name="connsiteY51322" fmla="*/ 1567661 h 5973007"/>
              <a:gd name="connsiteX51323" fmla="*/ 5525011 w 6884782"/>
              <a:gd name="connsiteY51323" fmla="*/ 1578189 h 5973007"/>
              <a:gd name="connsiteX51324" fmla="*/ 5513913 w 6884782"/>
              <a:gd name="connsiteY51324" fmla="*/ 1584448 h 5973007"/>
              <a:gd name="connsiteX51325" fmla="*/ 5513059 w 6884782"/>
              <a:gd name="connsiteY51325" fmla="*/ 1581888 h 5973007"/>
              <a:gd name="connsiteX51326" fmla="*/ 5512419 w 6884782"/>
              <a:gd name="connsiteY51326" fmla="*/ 1582599 h 5973007"/>
              <a:gd name="connsiteX51327" fmla="*/ 5506870 w 6884782"/>
              <a:gd name="connsiteY51327" fmla="*/ 1584164 h 5973007"/>
              <a:gd name="connsiteX51328" fmla="*/ 5510498 w 6884782"/>
              <a:gd name="connsiteY51328" fmla="*/ 1580607 h 5973007"/>
              <a:gd name="connsiteX51329" fmla="*/ 5512205 w 6884782"/>
              <a:gd name="connsiteY51329" fmla="*/ 1579327 h 5973007"/>
              <a:gd name="connsiteX51330" fmla="*/ 5511138 w 6884782"/>
              <a:gd name="connsiteY51330" fmla="*/ 1576197 h 5973007"/>
              <a:gd name="connsiteX51331" fmla="*/ 5515406 w 6884782"/>
              <a:gd name="connsiteY51331" fmla="*/ 1567661 h 5973007"/>
              <a:gd name="connsiteX51332" fmla="*/ 3751065 w 6884782"/>
              <a:gd name="connsiteY51332" fmla="*/ 1567234 h 5973007"/>
              <a:gd name="connsiteX51333" fmla="*/ 3768139 w 6884782"/>
              <a:gd name="connsiteY51333" fmla="*/ 1572925 h 5973007"/>
              <a:gd name="connsiteX51334" fmla="*/ 3760456 w 6884782"/>
              <a:gd name="connsiteY51334" fmla="*/ 1577193 h 5973007"/>
              <a:gd name="connsiteX51335" fmla="*/ 3762803 w 6884782"/>
              <a:gd name="connsiteY51335" fmla="*/ 1582457 h 5973007"/>
              <a:gd name="connsiteX51336" fmla="*/ 3762376 w 6884782"/>
              <a:gd name="connsiteY51336" fmla="*/ 1590566 h 5973007"/>
              <a:gd name="connsiteX51337" fmla="*/ 3760029 w 6884782"/>
              <a:gd name="connsiteY51337" fmla="*/ 1593127 h 5973007"/>
              <a:gd name="connsiteX51338" fmla="*/ 3763657 w 6884782"/>
              <a:gd name="connsiteY51338" fmla="*/ 1596968 h 5973007"/>
              <a:gd name="connsiteX51339" fmla="*/ 3754480 w 6884782"/>
              <a:gd name="connsiteY51339" fmla="*/ 1600241 h 5973007"/>
              <a:gd name="connsiteX51340" fmla="*/ 3754480 w 6884782"/>
              <a:gd name="connsiteY51340" fmla="*/ 1599387 h 5973007"/>
              <a:gd name="connsiteX51341" fmla="*/ 3753840 w 6884782"/>
              <a:gd name="connsiteY51341" fmla="*/ 1600241 h 5973007"/>
              <a:gd name="connsiteX51342" fmla="*/ 3752986 w 6884782"/>
              <a:gd name="connsiteY51342" fmla="*/ 1599813 h 5973007"/>
              <a:gd name="connsiteX51343" fmla="*/ 3750425 w 6884782"/>
              <a:gd name="connsiteY51343" fmla="*/ 1605505 h 5973007"/>
              <a:gd name="connsiteX51344" fmla="*/ 3752346 w 6884782"/>
              <a:gd name="connsiteY51344" fmla="*/ 1607923 h 5973007"/>
              <a:gd name="connsiteX51345" fmla="*/ 3750425 w 6884782"/>
              <a:gd name="connsiteY51345" fmla="*/ 1613614 h 5973007"/>
              <a:gd name="connsiteX51346" fmla="*/ 3748291 w 6884782"/>
              <a:gd name="connsiteY51346" fmla="*/ 1609488 h 5973007"/>
              <a:gd name="connsiteX51347" fmla="*/ 3748291 w 6884782"/>
              <a:gd name="connsiteY51347" fmla="*/ 1608777 h 5973007"/>
              <a:gd name="connsiteX51348" fmla="*/ 3744022 w 6884782"/>
              <a:gd name="connsiteY51348" fmla="*/ 1614752 h 5973007"/>
              <a:gd name="connsiteX51349" fmla="*/ 3739541 w 6884782"/>
              <a:gd name="connsiteY51349" fmla="*/ 1622577 h 5973007"/>
              <a:gd name="connsiteX51350" fmla="*/ 3736339 w 6884782"/>
              <a:gd name="connsiteY51350" fmla="*/ 1623288 h 5973007"/>
              <a:gd name="connsiteX51351" fmla="*/ 3735699 w 6884782"/>
              <a:gd name="connsiteY51351" fmla="*/ 1624426 h 5973007"/>
              <a:gd name="connsiteX51352" fmla="*/ 3734205 w 6884782"/>
              <a:gd name="connsiteY51352" fmla="*/ 1624710 h 5973007"/>
              <a:gd name="connsiteX51353" fmla="*/ 3733992 w 6884782"/>
              <a:gd name="connsiteY51353" fmla="*/ 1624710 h 5973007"/>
              <a:gd name="connsiteX51354" fmla="*/ 3733778 w 6884782"/>
              <a:gd name="connsiteY51354" fmla="*/ 1624995 h 5973007"/>
              <a:gd name="connsiteX51355" fmla="*/ 3733351 w 6884782"/>
              <a:gd name="connsiteY51355" fmla="*/ 1625565 h 5973007"/>
              <a:gd name="connsiteX51356" fmla="*/ 3739114 w 6884782"/>
              <a:gd name="connsiteY51356" fmla="*/ 1628979 h 5973007"/>
              <a:gd name="connsiteX51357" fmla="*/ 3739327 w 6884782"/>
              <a:gd name="connsiteY51357" fmla="*/ 1636661 h 5973007"/>
              <a:gd name="connsiteX51358" fmla="*/ 3736126 w 6884782"/>
              <a:gd name="connsiteY51358" fmla="*/ 1636092 h 5973007"/>
              <a:gd name="connsiteX51359" fmla="*/ 3735486 w 6884782"/>
              <a:gd name="connsiteY51359" fmla="*/ 1641356 h 5973007"/>
              <a:gd name="connsiteX51360" fmla="*/ 3730791 w 6884782"/>
              <a:gd name="connsiteY51360" fmla="*/ 1652738 h 5973007"/>
              <a:gd name="connsiteX51361" fmla="*/ 3730791 w 6884782"/>
              <a:gd name="connsiteY51361" fmla="*/ 1655441 h 5973007"/>
              <a:gd name="connsiteX51362" fmla="*/ 3731858 w 6884782"/>
              <a:gd name="connsiteY51362" fmla="*/ 1639791 h 5973007"/>
              <a:gd name="connsiteX51363" fmla="*/ 3732711 w 6884782"/>
              <a:gd name="connsiteY51363" fmla="*/ 1635666 h 5973007"/>
              <a:gd name="connsiteX51364" fmla="*/ 3731218 w 6884782"/>
              <a:gd name="connsiteY51364" fmla="*/ 1635381 h 5973007"/>
              <a:gd name="connsiteX51365" fmla="*/ 3729083 w 6884782"/>
              <a:gd name="connsiteY51365" fmla="*/ 1634100 h 5973007"/>
              <a:gd name="connsiteX51366" fmla="*/ 3726735 w 6884782"/>
              <a:gd name="connsiteY51366" fmla="*/ 1634527 h 5973007"/>
              <a:gd name="connsiteX51367" fmla="*/ 3726309 w 6884782"/>
              <a:gd name="connsiteY51367" fmla="*/ 1635239 h 5973007"/>
              <a:gd name="connsiteX51368" fmla="*/ 3725882 w 6884782"/>
              <a:gd name="connsiteY51368" fmla="*/ 1639222 h 5973007"/>
              <a:gd name="connsiteX51369" fmla="*/ 3723535 w 6884782"/>
              <a:gd name="connsiteY51369" fmla="*/ 1640218 h 5973007"/>
              <a:gd name="connsiteX51370" fmla="*/ 3722467 w 6884782"/>
              <a:gd name="connsiteY51370" fmla="*/ 1636519 h 5973007"/>
              <a:gd name="connsiteX51371" fmla="*/ 3725668 w 6884782"/>
              <a:gd name="connsiteY51371" fmla="*/ 1634669 h 5973007"/>
              <a:gd name="connsiteX51372" fmla="*/ 3716491 w 6884782"/>
              <a:gd name="connsiteY51372" fmla="*/ 1636376 h 5973007"/>
              <a:gd name="connsiteX51373" fmla="*/ 3712864 w 6884782"/>
              <a:gd name="connsiteY51373" fmla="*/ 1635950 h 5973007"/>
              <a:gd name="connsiteX51374" fmla="*/ 3713076 w 6884782"/>
              <a:gd name="connsiteY51374" fmla="*/ 1637231 h 5973007"/>
              <a:gd name="connsiteX51375" fmla="*/ 3706674 w 6884782"/>
              <a:gd name="connsiteY51375" fmla="*/ 1635239 h 5973007"/>
              <a:gd name="connsiteX51376" fmla="*/ 3706888 w 6884782"/>
              <a:gd name="connsiteY51376" fmla="*/ 1634812 h 5973007"/>
              <a:gd name="connsiteX51377" fmla="*/ 3700912 w 6884782"/>
              <a:gd name="connsiteY51377" fmla="*/ 1633816 h 5973007"/>
              <a:gd name="connsiteX51378" fmla="*/ 3691948 w 6884782"/>
              <a:gd name="connsiteY51378" fmla="*/ 1628979 h 5973007"/>
              <a:gd name="connsiteX51379" fmla="*/ 3714357 w 6884782"/>
              <a:gd name="connsiteY51379" fmla="*/ 1622435 h 5973007"/>
              <a:gd name="connsiteX51380" fmla="*/ 3715211 w 6884782"/>
              <a:gd name="connsiteY51380" fmla="*/ 1599671 h 5973007"/>
              <a:gd name="connsiteX51381" fmla="*/ 3722894 w 6884782"/>
              <a:gd name="connsiteY51381" fmla="*/ 1616601 h 5973007"/>
              <a:gd name="connsiteX51382" fmla="*/ 3723747 w 6884782"/>
              <a:gd name="connsiteY51382" fmla="*/ 1619589 h 5973007"/>
              <a:gd name="connsiteX51383" fmla="*/ 3725882 w 6884782"/>
              <a:gd name="connsiteY51383" fmla="*/ 1621154 h 5973007"/>
              <a:gd name="connsiteX51384" fmla="*/ 3732498 w 6884782"/>
              <a:gd name="connsiteY51384" fmla="*/ 1625280 h 5973007"/>
              <a:gd name="connsiteX51385" fmla="*/ 3733138 w 6884782"/>
              <a:gd name="connsiteY51385" fmla="*/ 1624710 h 5973007"/>
              <a:gd name="connsiteX51386" fmla="*/ 3733138 w 6884782"/>
              <a:gd name="connsiteY51386" fmla="*/ 1624284 h 5973007"/>
              <a:gd name="connsiteX51387" fmla="*/ 3733351 w 6884782"/>
              <a:gd name="connsiteY51387" fmla="*/ 1623288 h 5973007"/>
              <a:gd name="connsiteX51388" fmla="*/ 3733351 w 6884782"/>
              <a:gd name="connsiteY51388" fmla="*/ 1622150 h 5973007"/>
              <a:gd name="connsiteX51389" fmla="*/ 3733565 w 6884782"/>
              <a:gd name="connsiteY51389" fmla="*/ 1620727 h 5973007"/>
              <a:gd name="connsiteX51390" fmla="*/ 3736126 w 6884782"/>
              <a:gd name="connsiteY51390" fmla="*/ 1617455 h 5973007"/>
              <a:gd name="connsiteX51391" fmla="*/ 3739541 w 6884782"/>
              <a:gd name="connsiteY51391" fmla="*/ 1612191 h 5973007"/>
              <a:gd name="connsiteX51392" fmla="*/ 3748505 w 6884782"/>
              <a:gd name="connsiteY51392" fmla="*/ 1601948 h 5973007"/>
              <a:gd name="connsiteX51393" fmla="*/ 3751919 w 6884782"/>
              <a:gd name="connsiteY51393" fmla="*/ 1599529 h 5973007"/>
              <a:gd name="connsiteX51394" fmla="*/ 3746797 w 6884782"/>
              <a:gd name="connsiteY51394" fmla="*/ 1597395 h 5973007"/>
              <a:gd name="connsiteX51395" fmla="*/ 3739754 w 6884782"/>
              <a:gd name="connsiteY51395" fmla="*/ 1591277 h 5973007"/>
              <a:gd name="connsiteX51396" fmla="*/ 3738047 w 6884782"/>
              <a:gd name="connsiteY51396" fmla="*/ 1588717 h 5973007"/>
              <a:gd name="connsiteX51397" fmla="*/ 3734205 w 6884782"/>
              <a:gd name="connsiteY51397" fmla="*/ 1596968 h 5973007"/>
              <a:gd name="connsiteX51398" fmla="*/ 3726309 w 6884782"/>
              <a:gd name="connsiteY51398" fmla="*/ 1598960 h 5973007"/>
              <a:gd name="connsiteX51399" fmla="*/ 3725882 w 6884782"/>
              <a:gd name="connsiteY51399" fmla="*/ 1593127 h 5973007"/>
              <a:gd name="connsiteX51400" fmla="*/ 3731644 w 6884782"/>
              <a:gd name="connsiteY51400" fmla="*/ 1589855 h 5973007"/>
              <a:gd name="connsiteX51401" fmla="*/ 3735059 w 6884782"/>
              <a:gd name="connsiteY51401" fmla="*/ 1587010 h 5973007"/>
              <a:gd name="connsiteX51402" fmla="*/ 3737193 w 6884782"/>
              <a:gd name="connsiteY51402" fmla="*/ 1587578 h 5973007"/>
              <a:gd name="connsiteX51403" fmla="*/ 3734418 w 6884782"/>
              <a:gd name="connsiteY51403" fmla="*/ 1584022 h 5973007"/>
              <a:gd name="connsiteX51404" fmla="*/ 3731644 w 6884782"/>
              <a:gd name="connsiteY51404" fmla="*/ 1577619 h 5973007"/>
              <a:gd name="connsiteX51405" fmla="*/ 3738474 w 6884782"/>
              <a:gd name="connsiteY51405" fmla="*/ 1570364 h 5973007"/>
              <a:gd name="connsiteX51406" fmla="*/ 3738687 w 6884782"/>
              <a:gd name="connsiteY51406" fmla="*/ 1570222 h 5973007"/>
              <a:gd name="connsiteX51407" fmla="*/ 3735272 w 6884782"/>
              <a:gd name="connsiteY51407" fmla="*/ 1567945 h 5973007"/>
              <a:gd name="connsiteX51408" fmla="*/ 3751065 w 6884782"/>
              <a:gd name="connsiteY51408" fmla="*/ 1567234 h 5973007"/>
              <a:gd name="connsiteX51409" fmla="*/ 1593657 w 6884782"/>
              <a:gd name="connsiteY51409" fmla="*/ 1567108 h 5973007"/>
              <a:gd name="connsiteX51410" fmla="*/ 1594793 w 6884782"/>
              <a:gd name="connsiteY51410" fmla="*/ 1570516 h 5973007"/>
              <a:gd name="connsiteX51411" fmla="*/ 1599026 w 6884782"/>
              <a:gd name="connsiteY51411" fmla="*/ 1570826 h 5973007"/>
              <a:gd name="connsiteX51412" fmla="*/ 1600162 w 6884782"/>
              <a:gd name="connsiteY51412" fmla="*/ 1572065 h 5973007"/>
              <a:gd name="connsiteX51413" fmla="*/ 1600781 w 6884782"/>
              <a:gd name="connsiteY51413" fmla="*/ 1572065 h 5973007"/>
              <a:gd name="connsiteX51414" fmla="*/ 1611830 w 6884782"/>
              <a:gd name="connsiteY51414" fmla="*/ 1583682 h 5973007"/>
              <a:gd name="connsiteX51415" fmla="*/ 1609455 w 6884782"/>
              <a:gd name="connsiteY51415" fmla="*/ 1590033 h 5973007"/>
              <a:gd name="connsiteX51416" fmla="*/ 1593347 w 6884782"/>
              <a:gd name="connsiteY51416" fmla="*/ 1590033 h 5973007"/>
              <a:gd name="connsiteX51417" fmla="*/ 1588700 w 6884782"/>
              <a:gd name="connsiteY51417" fmla="*/ 1588019 h 5973007"/>
              <a:gd name="connsiteX51418" fmla="*/ 1585603 w 6884782"/>
              <a:gd name="connsiteY51418" fmla="*/ 1588019 h 5973007"/>
              <a:gd name="connsiteX51419" fmla="*/ 1584776 w 6884782"/>
              <a:gd name="connsiteY51419" fmla="*/ 1584612 h 5973007"/>
              <a:gd name="connsiteX51420" fmla="*/ 1581472 w 6884782"/>
              <a:gd name="connsiteY51420" fmla="*/ 1578416 h 5973007"/>
              <a:gd name="connsiteX51421" fmla="*/ 1585087 w 6884782"/>
              <a:gd name="connsiteY51421" fmla="*/ 1576247 h 5973007"/>
              <a:gd name="connsiteX51422" fmla="*/ 1585706 w 6884782"/>
              <a:gd name="connsiteY51422" fmla="*/ 1574698 h 5973007"/>
              <a:gd name="connsiteX51423" fmla="*/ 1590662 w 6884782"/>
              <a:gd name="connsiteY51423" fmla="*/ 1571136 h 5973007"/>
              <a:gd name="connsiteX51424" fmla="*/ 1590972 w 6884782"/>
              <a:gd name="connsiteY51424" fmla="*/ 1568192 h 5973007"/>
              <a:gd name="connsiteX51425" fmla="*/ 1593657 w 6884782"/>
              <a:gd name="connsiteY51425" fmla="*/ 1567108 h 5973007"/>
              <a:gd name="connsiteX51426" fmla="*/ 4376599 w 6884782"/>
              <a:gd name="connsiteY51426" fmla="*/ 1565527 h 5973007"/>
              <a:gd name="connsiteX51427" fmla="*/ 4401355 w 6884782"/>
              <a:gd name="connsiteY51427" fmla="*/ 1595261 h 5973007"/>
              <a:gd name="connsiteX51428" fmla="*/ 4392392 w 6884782"/>
              <a:gd name="connsiteY51428" fmla="*/ 1601521 h 5973007"/>
              <a:gd name="connsiteX51429" fmla="*/ 4390898 w 6884782"/>
              <a:gd name="connsiteY51429" fmla="*/ 1596114 h 5973007"/>
              <a:gd name="connsiteX51430" fmla="*/ 4385349 w 6884782"/>
              <a:gd name="connsiteY51430" fmla="*/ 1597537 h 5973007"/>
              <a:gd name="connsiteX51431" fmla="*/ 4363367 w 6884782"/>
              <a:gd name="connsiteY51431" fmla="*/ 1581603 h 5973007"/>
              <a:gd name="connsiteX51432" fmla="*/ 4375532 w 6884782"/>
              <a:gd name="connsiteY51432" fmla="*/ 1586014 h 5973007"/>
              <a:gd name="connsiteX51433" fmla="*/ 4387056 w 6884782"/>
              <a:gd name="connsiteY51433" fmla="*/ 1587863 h 5973007"/>
              <a:gd name="connsiteX51434" fmla="*/ 4383001 w 6884782"/>
              <a:gd name="connsiteY51434" fmla="*/ 1582457 h 5973007"/>
              <a:gd name="connsiteX51435" fmla="*/ 4376599 w 6884782"/>
              <a:gd name="connsiteY51435" fmla="*/ 1565527 h 5973007"/>
              <a:gd name="connsiteX51436" fmla="*/ 4574652 w 6884782"/>
              <a:gd name="connsiteY51436" fmla="*/ 1565242 h 5973007"/>
              <a:gd name="connsiteX51437" fmla="*/ 4578920 w 6884782"/>
              <a:gd name="connsiteY51437" fmla="*/ 1574489 h 5973007"/>
              <a:gd name="connsiteX51438" fmla="*/ 4574439 w 6884782"/>
              <a:gd name="connsiteY51438" fmla="*/ 1570222 h 5973007"/>
              <a:gd name="connsiteX51439" fmla="*/ 4574652 w 6884782"/>
              <a:gd name="connsiteY51439" fmla="*/ 1565242 h 5973007"/>
              <a:gd name="connsiteX51440" fmla="*/ 1560718 w 6884782"/>
              <a:gd name="connsiteY51440" fmla="*/ 1565095 h 5973007"/>
              <a:gd name="connsiteX51441" fmla="*/ 1565984 w 6884782"/>
              <a:gd name="connsiteY51441" fmla="*/ 1567573 h 5973007"/>
              <a:gd name="connsiteX51442" fmla="*/ 1562990 w 6884782"/>
              <a:gd name="connsiteY51442" fmla="*/ 1571910 h 5973007"/>
              <a:gd name="connsiteX51443" fmla="*/ 1559066 w 6884782"/>
              <a:gd name="connsiteY51443" fmla="*/ 1566334 h 5973007"/>
              <a:gd name="connsiteX51444" fmla="*/ 1560718 w 6884782"/>
              <a:gd name="connsiteY51444" fmla="*/ 1565095 h 5973007"/>
              <a:gd name="connsiteX51445" fmla="*/ 1170306 w 6884782"/>
              <a:gd name="connsiteY51445" fmla="*/ 1564940 h 5973007"/>
              <a:gd name="connsiteX51446" fmla="*/ 1174850 w 6884782"/>
              <a:gd name="connsiteY51446" fmla="*/ 1565559 h 5973007"/>
              <a:gd name="connsiteX51447" fmla="*/ 1175056 w 6884782"/>
              <a:gd name="connsiteY51447" fmla="*/ 1566024 h 5973007"/>
              <a:gd name="connsiteX51448" fmla="*/ 1180941 w 6884782"/>
              <a:gd name="connsiteY51448" fmla="*/ 1573459 h 5973007"/>
              <a:gd name="connsiteX51449" fmla="*/ 1179909 w 6884782"/>
              <a:gd name="connsiteY51449" fmla="*/ 1578725 h 5973007"/>
              <a:gd name="connsiteX51450" fmla="*/ 1177121 w 6884782"/>
              <a:gd name="connsiteY51450" fmla="*/ 1578416 h 5973007"/>
              <a:gd name="connsiteX51451" fmla="*/ 1174540 w 6884782"/>
              <a:gd name="connsiteY51451" fmla="*/ 1574853 h 5973007"/>
              <a:gd name="connsiteX51452" fmla="*/ 1173817 w 6884782"/>
              <a:gd name="connsiteY51452" fmla="*/ 1576557 h 5973007"/>
              <a:gd name="connsiteX51453" fmla="*/ 1170306 w 6884782"/>
              <a:gd name="connsiteY51453" fmla="*/ 1579500 h 5973007"/>
              <a:gd name="connsiteX51454" fmla="*/ 1166176 w 6884782"/>
              <a:gd name="connsiteY51454" fmla="*/ 1575783 h 5973007"/>
              <a:gd name="connsiteX51455" fmla="*/ 1166279 w 6884782"/>
              <a:gd name="connsiteY51455" fmla="*/ 1573459 h 5973007"/>
              <a:gd name="connsiteX51456" fmla="*/ 1170306 w 6884782"/>
              <a:gd name="connsiteY51456" fmla="*/ 1564940 h 5973007"/>
              <a:gd name="connsiteX51457" fmla="*/ 3554506 w 6884782"/>
              <a:gd name="connsiteY51457" fmla="*/ 1564815 h 5973007"/>
              <a:gd name="connsiteX51458" fmla="*/ 3560055 w 6884782"/>
              <a:gd name="connsiteY51458" fmla="*/ 1569368 h 5973007"/>
              <a:gd name="connsiteX51459" fmla="*/ 3555359 w 6884782"/>
              <a:gd name="connsiteY51459" fmla="*/ 1568515 h 5973007"/>
              <a:gd name="connsiteX51460" fmla="*/ 3554506 w 6884782"/>
              <a:gd name="connsiteY51460" fmla="*/ 1564815 h 5973007"/>
              <a:gd name="connsiteX51461" fmla="*/ 1691957 w 6884782"/>
              <a:gd name="connsiteY51461" fmla="*/ 1564785 h 5973007"/>
              <a:gd name="connsiteX51462" fmla="*/ 1692989 w 6884782"/>
              <a:gd name="connsiteY51462" fmla="*/ 1569896 h 5973007"/>
              <a:gd name="connsiteX51463" fmla="*/ 1689375 w 6884782"/>
              <a:gd name="connsiteY51463" fmla="*/ 1571445 h 5973007"/>
              <a:gd name="connsiteX51464" fmla="*/ 1687517 w 6884782"/>
              <a:gd name="connsiteY51464" fmla="*/ 1568812 h 5973007"/>
              <a:gd name="connsiteX51465" fmla="*/ 1687413 w 6884782"/>
              <a:gd name="connsiteY51465" fmla="*/ 1567573 h 5973007"/>
              <a:gd name="connsiteX51466" fmla="*/ 1688239 w 6884782"/>
              <a:gd name="connsiteY51466" fmla="*/ 1566334 h 5973007"/>
              <a:gd name="connsiteX51467" fmla="*/ 1691957 w 6884782"/>
              <a:gd name="connsiteY51467" fmla="*/ 1564785 h 5973007"/>
              <a:gd name="connsiteX51468" fmla="*/ 1533562 w 6884782"/>
              <a:gd name="connsiteY51468" fmla="*/ 1564320 h 5973007"/>
              <a:gd name="connsiteX51469" fmla="*/ 1542441 w 6884782"/>
              <a:gd name="connsiteY51469" fmla="*/ 1572375 h 5973007"/>
              <a:gd name="connsiteX51470" fmla="*/ 1540067 w 6884782"/>
              <a:gd name="connsiteY51470" fmla="*/ 1575318 h 5973007"/>
              <a:gd name="connsiteX51471" fmla="*/ 1537072 w 6884782"/>
              <a:gd name="connsiteY51471" fmla="*/ 1573769 h 5973007"/>
              <a:gd name="connsiteX51472" fmla="*/ 1535936 w 6884782"/>
              <a:gd name="connsiteY51472" fmla="*/ 1571755 h 5973007"/>
              <a:gd name="connsiteX51473" fmla="*/ 1535627 w 6884782"/>
              <a:gd name="connsiteY51473" fmla="*/ 1571291 h 5973007"/>
              <a:gd name="connsiteX51474" fmla="*/ 1533562 w 6884782"/>
              <a:gd name="connsiteY51474" fmla="*/ 1564320 h 5973007"/>
              <a:gd name="connsiteX51475" fmla="*/ 5826786 w 6884782"/>
              <a:gd name="connsiteY51475" fmla="*/ 1564104 h 5973007"/>
              <a:gd name="connsiteX51476" fmla="*/ 5832762 w 6884782"/>
              <a:gd name="connsiteY51476" fmla="*/ 1567661 h 5973007"/>
              <a:gd name="connsiteX51477" fmla="*/ 5809499 w 6884782"/>
              <a:gd name="connsiteY51477" fmla="*/ 1576624 h 5973007"/>
              <a:gd name="connsiteX51478" fmla="*/ 5826786 w 6884782"/>
              <a:gd name="connsiteY51478" fmla="*/ 1564104 h 5973007"/>
              <a:gd name="connsiteX51479" fmla="*/ 4012504 w 6884782"/>
              <a:gd name="connsiteY51479" fmla="*/ 1564104 h 5973007"/>
              <a:gd name="connsiteX51480" fmla="*/ 4016346 w 6884782"/>
              <a:gd name="connsiteY51480" fmla="*/ 1567234 h 5973007"/>
              <a:gd name="connsiteX51481" fmla="*/ 4018054 w 6884782"/>
              <a:gd name="connsiteY51481" fmla="*/ 1570506 h 5973007"/>
              <a:gd name="connsiteX51482" fmla="*/ 4016987 w 6884782"/>
              <a:gd name="connsiteY51482" fmla="*/ 1574489 h 5973007"/>
              <a:gd name="connsiteX51483" fmla="*/ 4014639 w 6884782"/>
              <a:gd name="connsiteY51483" fmla="*/ 1576481 h 5973007"/>
              <a:gd name="connsiteX51484" fmla="*/ 4007809 w 6884782"/>
              <a:gd name="connsiteY51484" fmla="*/ 1575201 h 5973007"/>
              <a:gd name="connsiteX51485" fmla="*/ 4008450 w 6884782"/>
              <a:gd name="connsiteY51485" fmla="*/ 1564673 h 5973007"/>
              <a:gd name="connsiteX51486" fmla="*/ 4012504 w 6884782"/>
              <a:gd name="connsiteY51486" fmla="*/ 1564104 h 5973007"/>
              <a:gd name="connsiteX51487" fmla="*/ 3803780 w 6884782"/>
              <a:gd name="connsiteY51487" fmla="*/ 1564104 h 5973007"/>
              <a:gd name="connsiteX51488" fmla="*/ 3809543 w 6884782"/>
              <a:gd name="connsiteY51488" fmla="*/ 1567661 h 5973007"/>
              <a:gd name="connsiteX51489" fmla="*/ 3812530 w 6884782"/>
              <a:gd name="connsiteY51489" fmla="*/ 1577904 h 5973007"/>
              <a:gd name="connsiteX51490" fmla="*/ 3817012 w 6884782"/>
              <a:gd name="connsiteY51490" fmla="*/ 1574347 h 5973007"/>
              <a:gd name="connsiteX51491" fmla="*/ 3824482 w 6884782"/>
              <a:gd name="connsiteY51491" fmla="*/ 1584733 h 5973007"/>
              <a:gd name="connsiteX51492" fmla="*/ 3823628 w 6884782"/>
              <a:gd name="connsiteY51492" fmla="*/ 1598106 h 5973007"/>
              <a:gd name="connsiteX51493" fmla="*/ 3812103 w 6884782"/>
              <a:gd name="connsiteY51493" fmla="*/ 1599671 h 5973007"/>
              <a:gd name="connsiteX51494" fmla="*/ 3810183 w 6884782"/>
              <a:gd name="connsiteY51494" fmla="*/ 1579611 h 5973007"/>
              <a:gd name="connsiteX51495" fmla="*/ 3812103 w 6884782"/>
              <a:gd name="connsiteY51495" fmla="*/ 1578189 h 5973007"/>
              <a:gd name="connsiteX51496" fmla="*/ 3802927 w 6884782"/>
              <a:gd name="connsiteY51496" fmla="*/ 1576481 h 5973007"/>
              <a:gd name="connsiteX51497" fmla="*/ 3777103 w 6884782"/>
              <a:gd name="connsiteY51497" fmla="*/ 1572782 h 5973007"/>
              <a:gd name="connsiteX51498" fmla="*/ 3803780 w 6884782"/>
              <a:gd name="connsiteY51498" fmla="*/ 1564104 h 5973007"/>
              <a:gd name="connsiteX51499" fmla="*/ 3885093 w 6884782"/>
              <a:gd name="connsiteY51499" fmla="*/ 1563820 h 5973007"/>
              <a:gd name="connsiteX51500" fmla="*/ 3884666 w 6884782"/>
              <a:gd name="connsiteY51500" fmla="*/ 1565100 h 5973007"/>
              <a:gd name="connsiteX51501" fmla="*/ 3884880 w 6884782"/>
              <a:gd name="connsiteY51501" fmla="*/ 1564815 h 5973007"/>
              <a:gd name="connsiteX51502" fmla="*/ 4991461 w 6884782"/>
              <a:gd name="connsiteY51502" fmla="*/ 1563108 h 5973007"/>
              <a:gd name="connsiteX51503" fmla="*/ 4994022 w 6884782"/>
              <a:gd name="connsiteY51503" fmla="*/ 1568088 h 5973007"/>
              <a:gd name="connsiteX51504" fmla="*/ 4989327 w 6884782"/>
              <a:gd name="connsiteY51504" fmla="*/ 1570222 h 5973007"/>
              <a:gd name="connsiteX51505" fmla="*/ 4988900 w 6884782"/>
              <a:gd name="connsiteY51505" fmla="*/ 1570080 h 5973007"/>
              <a:gd name="connsiteX51506" fmla="*/ 4989754 w 6884782"/>
              <a:gd name="connsiteY51506" fmla="*/ 1573209 h 5973007"/>
              <a:gd name="connsiteX51507" fmla="*/ 4986552 w 6884782"/>
              <a:gd name="connsiteY51507" fmla="*/ 1588005 h 5973007"/>
              <a:gd name="connsiteX51508" fmla="*/ 4985272 w 6884782"/>
              <a:gd name="connsiteY51508" fmla="*/ 1564673 h 5973007"/>
              <a:gd name="connsiteX51509" fmla="*/ 4987620 w 6884782"/>
              <a:gd name="connsiteY51509" fmla="*/ 1565100 h 5973007"/>
              <a:gd name="connsiteX51510" fmla="*/ 4989113 w 6884782"/>
              <a:gd name="connsiteY51510" fmla="*/ 1563251 h 5973007"/>
              <a:gd name="connsiteX51511" fmla="*/ 4991461 w 6884782"/>
              <a:gd name="connsiteY51511" fmla="*/ 1563108 h 5973007"/>
              <a:gd name="connsiteX51512" fmla="*/ 1141911 w 6884782"/>
              <a:gd name="connsiteY51512" fmla="*/ 1562926 h 5973007"/>
              <a:gd name="connsiteX51513" fmla="*/ 1149862 w 6884782"/>
              <a:gd name="connsiteY51513" fmla="*/ 1572220 h 5973007"/>
              <a:gd name="connsiteX51514" fmla="*/ 1147383 w 6884782"/>
              <a:gd name="connsiteY51514" fmla="*/ 1571445 h 5973007"/>
              <a:gd name="connsiteX51515" fmla="*/ 1141911 w 6884782"/>
              <a:gd name="connsiteY51515" fmla="*/ 1562926 h 5973007"/>
              <a:gd name="connsiteX51516" fmla="*/ 5300493 w 6884782"/>
              <a:gd name="connsiteY51516" fmla="*/ 1562539 h 5973007"/>
              <a:gd name="connsiteX51517" fmla="*/ 5303908 w 6884782"/>
              <a:gd name="connsiteY51517" fmla="*/ 1562539 h 5973007"/>
              <a:gd name="connsiteX51518" fmla="*/ 5308176 w 6884782"/>
              <a:gd name="connsiteY51518" fmla="*/ 1566665 h 5973007"/>
              <a:gd name="connsiteX51519" fmla="*/ 5307962 w 6884782"/>
              <a:gd name="connsiteY51519" fmla="*/ 1573636 h 5973007"/>
              <a:gd name="connsiteX51520" fmla="*/ 5307109 w 6884782"/>
              <a:gd name="connsiteY51520" fmla="*/ 1574632 h 5973007"/>
              <a:gd name="connsiteX51521" fmla="*/ 5307536 w 6884782"/>
              <a:gd name="connsiteY51521" fmla="*/ 1575486 h 5973007"/>
              <a:gd name="connsiteX51522" fmla="*/ 5307749 w 6884782"/>
              <a:gd name="connsiteY51522" fmla="*/ 1575486 h 5973007"/>
              <a:gd name="connsiteX51523" fmla="*/ 5307536 w 6884782"/>
              <a:gd name="connsiteY51523" fmla="*/ 1578046 h 5973007"/>
              <a:gd name="connsiteX51524" fmla="*/ 5306042 w 6884782"/>
              <a:gd name="connsiteY51524" fmla="*/ 1580181 h 5973007"/>
              <a:gd name="connsiteX51525" fmla="*/ 5304548 w 6884782"/>
              <a:gd name="connsiteY51525" fmla="*/ 1579469 h 5973007"/>
              <a:gd name="connsiteX51526" fmla="*/ 5303694 w 6884782"/>
              <a:gd name="connsiteY51526" fmla="*/ 1578046 h 5973007"/>
              <a:gd name="connsiteX51527" fmla="*/ 5302200 w 6884782"/>
              <a:gd name="connsiteY51527" fmla="*/ 1579611 h 5973007"/>
              <a:gd name="connsiteX51528" fmla="*/ 5293450 w 6884782"/>
              <a:gd name="connsiteY51528" fmla="*/ 1573779 h 5973007"/>
              <a:gd name="connsiteX51529" fmla="*/ 5296438 w 6884782"/>
              <a:gd name="connsiteY51529" fmla="*/ 1564531 h 5973007"/>
              <a:gd name="connsiteX51530" fmla="*/ 5300493 w 6884782"/>
              <a:gd name="connsiteY51530" fmla="*/ 1562539 h 5973007"/>
              <a:gd name="connsiteX51531" fmla="*/ 1530773 w 6884782"/>
              <a:gd name="connsiteY51531" fmla="*/ 1562152 h 5973007"/>
              <a:gd name="connsiteX51532" fmla="*/ 1530258 w 6884782"/>
              <a:gd name="connsiteY51532" fmla="*/ 1565559 h 5973007"/>
              <a:gd name="connsiteX51533" fmla="*/ 1528502 w 6884782"/>
              <a:gd name="connsiteY51533" fmla="*/ 1565405 h 5973007"/>
              <a:gd name="connsiteX51534" fmla="*/ 1525921 w 6884782"/>
              <a:gd name="connsiteY51534" fmla="*/ 1567108 h 5973007"/>
              <a:gd name="connsiteX51535" fmla="*/ 1524268 w 6884782"/>
              <a:gd name="connsiteY51535" fmla="*/ 1567728 h 5973007"/>
              <a:gd name="connsiteX51536" fmla="*/ 1526127 w 6884782"/>
              <a:gd name="connsiteY51536" fmla="*/ 1568192 h 5973007"/>
              <a:gd name="connsiteX51537" fmla="*/ 1528192 w 6884782"/>
              <a:gd name="connsiteY51537" fmla="*/ 1569432 h 5973007"/>
              <a:gd name="connsiteX51538" fmla="*/ 1528192 w 6884782"/>
              <a:gd name="connsiteY51538" fmla="*/ 1571291 h 5973007"/>
              <a:gd name="connsiteX51539" fmla="*/ 1528192 w 6884782"/>
              <a:gd name="connsiteY51539" fmla="*/ 1571755 h 5973007"/>
              <a:gd name="connsiteX51540" fmla="*/ 1532529 w 6884782"/>
              <a:gd name="connsiteY51540" fmla="*/ 1572375 h 5973007"/>
              <a:gd name="connsiteX51541" fmla="*/ 1533562 w 6884782"/>
              <a:gd name="connsiteY51541" fmla="*/ 1572995 h 5973007"/>
              <a:gd name="connsiteX51542" fmla="*/ 1534078 w 6884782"/>
              <a:gd name="connsiteY51542" fmla="*/ 1572840 h 5973007"/>
              <a:gd name="connsiteX51543" fmla="*/ 1535214 w 6884782"/>
              <a:gd name="connsiteY51543" fmla="*/ 1572685 h 5973007"/>
              <a:gd name="connsiteX51544" fmla="*/ 1534697 w 6884782"/>
              <a:gd name="connsiteY51544" fmla="*/ 1573459 h 5973007"/>
              <a:gd name="connsiteX51545" fmla="*/ 1534594 w 6884782"/>
              <a:gd name="connsiteY51545" fmla="*/ 1573614 h 5973007"/>
              <a:gd name="connsiteX51546" fmla="*/ 1536866 w 6884782"/>
              <a:gd name="connsiteY51546" fmla="*/ 1574853 h 5973007"/>
              <a:gd name="connsiteX51547" fmla="*/ 1532013 w 6884782"/>
              <a:gd name="connsiteY51547" fmla="*/ 1579500 h 5973007"/>
              <a:gd name="connsiteX51548" fmla="*/ 1526540 w 6884782"/>
              <a:gd name="connsiteY51548" fmla="*/ 1583063 h 5973007"/>
              <a:gd name="connsiteX51549" fmla="*/ 1527986 w 6884782"/>
              <a:gd name="connsiteY51549" fmla="*/ 1578725 h 5973007"/>
              <a:gd name="connsiteX51550" fmla="*/ 1527882 w 6884782"/>
              <a:gd name="connsiteY51550" fmla="*/ 1578880 h 5973007"/>
              <a:gd name="connsiteX51551" fmla="*/ 1525921 w 6884782"/>
              <a:gd name="connsiteY51551" fmla="*/ 1578880 h 5973007"/>
              <a:gd name="connsiteX51552" fmla="*/ 1526437 w 6884782"/>
              <a:gd name="connsiteY51552" fmla="*/ 1576402 h 5973007"/>
              <a:gd name="connsiteX51553" fmla="*/ 1528399 w 6884782"/>
              <a:gd name="connsiteY51553" fmla="*/ 1576092 h 5973007"/>
              <a:gd name="connsiteX51554" fmla="*/ 1528502 w 6884782"/>
              <a:gd name="connsiteY51554" fmla="*/ 1575163 h 5973007"/>
              <a:gd name="connsiteX51555" fmla="*/ 1527573 w 6884782"/>
              <a:gd name="connsiteY51555" fmla="*/ 1572530 h 5973007"/>
              <a:gd name="connsiteX51556" fmla="*/ 1525817 w 6884782"/>
              <a:gd name="connsiteY51556" fmla="*/ 1573924 h 5973007"/>
              <a:gd name="connsiteX51557" fmla="*/ 1521687 w 6884782"/>
              <a:gd name="connsiteY51557" fmla="*/ 1573614 h 5973007"/>
              <a:gd name="connsiteX51558" fmla="*/ 1521481 w 6884782"/>
              <a:gd name="connsiteY51558" fmla="*/ 1573304 h 5973007"/>
              <a:gd name="connsiteX51559" fmla="*/ 1520758 w 6884782"/>
              <a:gd name="connsiteY51559" fmla="*/ 1573304 h 5973007"/>
              <a:gd name="connsiteX51560" fmla="*/ 1520345 w 6884782"/>
              <a:gd name="connsiteY51560" fmla="*/ 1573304 h 5973007"/>
              <a:gd name="connsiteX51561" fmla="*/ 1519932 w 6884782"/>
              <a:gd name="connsiteY51561" fmla="*/ 1574388 h 5973007"/>
              <a:gd name="connsiteX51562" fmla="*/ 1522823 w 6884782"/>
              <a:gd name="connsiteY51562" fmla="*/ 1577331 h 5973007"/>
              <a:gd name="connsiteX51563" fmla="*/ 1526540 w 6884782"/>
              <a:gd name="connsiteY51563" fmla="*/ 1583063 h 5973007"/>
              <a:gd name="connsiteX51564" fmla="*/ 1527366 w 6884782"/>
              <a:gd name="connsiteY51564" fmla="*/ 1584147 h 5973007"/>
              <a:gd name="connsiteX51565" fmla="*/ 1532839 w 6884782"/>
              <a:gd name="connsiteY51565" fmla="*/ 1591272 h 5973007"/>
              <a:gd name="connsiteX51566" fmla="*/ 1530877 w 6884782"/>
              <a:gd name="connsiteY51566" fmla="*/ 1610944 h 5973007"/>
              <a:gd name="connsiteX51567" fmla="*/ 1512394 w 6884782"/>
              <a:gd name="connsiteY51567" fmla="*/ 1630771 h 5973007"/>
              <a:gd name="connsiteX51568" fmla="*/ 1481314 w 6884782"/>
              <a:gd name="connsiteY51568" fmla="*/ 1634178 h 5973007"/>
              <a:gd name="connsiteX51569" fmla="*/ 1476977 w 6884782"/>
              <a:gd name="connsiteY51569" fmla="*/ 1629531 h 5973007"/>
              <a:gd name="connsiteX51570" fmla="*/ 1476667 w 6884782"/>
              <a:gd name="connsiteY51570" fmla="*/ 1629376 h 5973007"/>
              <a:gd name="connsiteX51571" fmla="*/ 1473983 w 6884782"/>
              <a:gd name="connsiteY51571" fmla="*/ 1627363 h 5973007"/>
              <a:gd name="connsiteX51572" fmla="*/ 1474396 w 6884782"/>
              <a:gd name="connsiteY51572" fmla="*/ 1627053 h 5973007"/>
              <a:gd name="connsiteX51573" fmla="*/ 1467994 w 6884782"/>
              <a:gd name="connsiteY51573" fmla="*/ 1622406 h 5973007"/>
              <a:gd name="connsiteX51574" fmla="*/ 1466755 w 6884782"/>
              <a:gd name="connsiteY51574" fmla="*/ 1623336 h 5973007"/>
              <a:gd name="connsiteX51575" fmla="*/ 1462418 w 6884782"/>
              <a:gd name="connsiteY51575" fmla="*/ 1624885 h 5973007"/>
              <a:gd name="connsiteX51576" fmla="*/ 1462108 w 6884782"/>
              <a:gd name="connsiteY51576" fmla="*/ 1624110 h 5973007"/>
              <a:gd name="connsiteX51577" fmla="*/ 1465619 w 6884782"/>
              <a:gd name="connsiteY51577" fmla="*/ 1622097 h 5973007"/>
              <a:gd name="connsiteX51578" fmla="*/ 1466755 w 6884782"/>
              <a:gd name="connsiteY51578" fmla="*/ 1621322 h 5973007"/>
              <a:gd name="connsiteX51579" fmla="*/ 1464173 w 6884782"/>
              <a:gd name="connsiteY51579" fmla="*/ 1618998 h 5973007"/>
              <a:gd name="connsiteX51580" fmla="*/ 1458907 w 6884782"/>
              <a:gd name="connsiteY51580" fmla="*/ 1621787 h 5973007"/>
              <a:gd name="connsiteX51581" fmla="*/ 1461076 w 6884782"/>
              <a:gd name="connsiteY51581" fmla="*/ 1616675 h 5973007"/>
              <a:gd name="connsiteX51582" fmla="*/ 1461489 w 6884782"/>
              <a:gd name="connsiteY51582" fmla="*/ 1616365 h 5973007"/>
              <a:gd name="connsiteX51583" fmla="*/ 1461386 w 6884782"/>
              <a:gd name="connsiteY51583" fmla="*/ 1616210 h 5973007"/>
              <a:gd name="connsiteX51584" fmla="*/ 1458598 w 6884782"/>
              <a:gd name="connsiteY51584" fmla="*/ 1608001 h 5973007"/>
              <a:gd name="connsiteX51585" fmla="*/ 1463141 w 6884782"/>
              <a:gd name="connsiteY51585" fmla="*/ 1596693 h 5973007"/>
              <a:gd name="connsiteX51586" fmla="*/ 1463141 w 6884782"/>
              <a:gd name="connsiteY51586" fmla="*/ 1596229 h 5973007"/>
              <a:gd name="connsiteX51587" fmla="*/ 1462831 w 6884782"/>
              <a:gd name="connsiteY51587" fmla="*/ 1596384 h 5973007"/>
              <a:gd name="connsiteX51588" fmla="*/ 1462625 w 6884782"/>
              <a:gd name="connsiteY51588" fmla="*/ 1595764 h 5973007"/>
              <a:gd name="connsiteX51589" fmla="*/ 1462315 w 6884782"/>
              <a:gd name="connsiteY51589" fmla="*/ 1594680 h 5973007"/>
              <a:gd name="connsiteX51590" fmla="*/ 1462315 w 6884782"/>
              <a:gd name="connsiteY51590" fmla="*/ 1594215 h 5973007"/>
              <a:gd name="connsiteX51591" fmla="*/ 1463244 w 6884782"/>
              <a:gd name="connsiteY51591" fmla="*/ 1593441 h 5973007"/>
              <a:gd name="connsiteX51592" fmla="*/ 1463347 w 6884782"/>
              <a:gd name="connsiteY51592" fmla="*/ 1591892 h 5973007"/>
              <a:gd name="connsiteX51593" fmla="*/ 1463967 w 6884782"/>
              <a:gd name="connsiteY51593" fmla="*/ 1587245 h 5973007"/>
              <a:gd name="connsiteX51594" fmla="*/ 1473157 w 6884782"/>
              <a:gd name="connsiteY51594" fmla="*/ 1578880 h 5973007"/>
              <a:gd name="connsiteX51595" fmla="*/ 1476564 w 6884782"/>
              <a:gd name="connsiteY51595" fmla="*/ 1576712 h 5973007"/>
              <a:gd name="connsiteX51596" fmla="*/ 1479145 w 6884782"/>
              <a:gd name="connsiteY51596" fmla="*/ 1574543 h 5973007"/>
              <a:gd name="connsiteX51597" fmla="*/ 1479455 w 6884782"/>
              <a:gd name="connsiteY51597" fmla="*/ 1574388 h 5973007"/>
              <a:gd name="connsiteX51598" fmla="*/ 1483276 w 6884782"/>
              <a:gd name="connsiteY51598" fmla="*/ 1568348 h 5973007"/>
              <a:gd name="connsiteX51599" fmla="*/ 1489471 w 6884782"/>
              <a:gd name="connsiteY51599" fmla="*/ 1564630 h 5973007"/>
              <a:gd name="connsiteX51600" fmla="*/ 1496905 w 6884782"/>
              <a:gd name="connsiteY51600" fmla="*/ 1565714 h 5973007"/>
              <a:gd name="connsiteX51601" fmla="*/ 1497215 w 6884782"/>
              <a:gd name="connsiteY51601" fmla="*/ 1566024 h 5973007"/>
              <a:gd name="connsiteX51602" fmla="*/ 1501656 w 6884782"/>
              <a:gd name="connsiteY51602" fmla="*/ 1565714 h 5973007"/>
              <a:gd name="connsiteX51603" fmla="*/ 1507025 w 6884782"/>
              <a:gd name="connsiteY51603" fmla="*/ 1566644 h 5973007"/>
              <a:gd name="connsiteX51604" fmla="*/ 1505166 w 6884782"/>
              <a:gd name="connsiteY51604" fmla="*/ 1567883 h 5973007"/>
              <a:gd name="connsiteX51605" fmla="*/ 1509090 w 6884782"/>
              <a:gd name="connsiteY51605" fmla="*/ 1567883 h 5973007"/>
              <a:gd name="connsiteX51606" fmla="*/ 1509400 w 6884782"/>
              <a:gd name="connsiteY51606" fmla="*/ 1568038 h 5973007"/>
              <a:gd name="connsiteX51607" fmla="*/ 1515595 w 6884782"/>
              <a:gd name="connsiteY51607" fmla="*/ 1566334 h 5973007"/>
              <a:gd name="connsiteX51608" fmla="*/ 1517454 w 6884782"/>
              <a:gd name="connsiteY51608" fmla="*/ 1566953 h 5973007"/>
              <a:gd name="connsiteX51609" fmla="*/ 1519829 w 6884782"/>
              <a:gd name="connsiteY51609" fmla="*/ 1565250 h 5973007"/>
              <a:gd name="connsiteX51610" fmla="*/ 1530773 w 6884782"/>
              <a:gd name="connsiteY51610" fmla="*/ 1562152 h 5973007"/>
              <a:gd name="connsiteX51611" fmla="*/ 5676752 w 6884782"/>
              <a:gd name="connsiteY51611" fmla="*/ 1562112 h 5973007"/>
              <a:gd name="connsiteX51612" fmla="*/ 5682941 w 6884782"/>
              <a:gd name="connsiteY51612" fmla="*/ 1568657 h 5973007"/>
              <a:gd name="connsiteX51613" fmla="*/ 5682088 w 6884782"/>
              <a:gd name="connsiteY51613" fmla="*/ 1571644 h 5973007"/>
              <a:gd name="connsiteX51614" fmla="*/ 5676752 w 6884782"/>
              <a:gd name="connsiteY51614" fmla="*/ 1562112 h 5973007"/>
              <a:gd name="connsiteX51615" fmla="*/ 3832592 w 6884782"/>
              <a:gd name="connsiteY51615" fmla="*/ 1561116 h 5973007"/>
              <a:gd name="connsiteX51616" fmla="*/ 3827043 w 6884782"/>
              <a:gd name="connsiteY51616" fmla="*/ 1572925 h 5973007"/>
              <a:gd name="connsiteX51617" fmla="*/ 3832592 w 6884782"/>
              <a:gd name="connsiteY51617" fmla="*/ 1561116 h 5973007"/>
              <a:gd name="connsiteX51618" fmla="*/ 1383221 w 6884782"/>
              <a:gd name="connsiteY51618" fmla="*/ 1560758 h 5973007"/>
              <a:gd name="connsiteX51619" fmla="*/ 1385905 w 6884782"/>
              <a:gd name="connsiteY51619" fmla="*/ 1565250 h 5973007"/>
              <a:gd name="connsiteX51620" fmla="*/ 1380123 w 6884782"/>
              <a:gd name="connsiteY51620" fmla="*/ 1565714 h 5973007"/>
              <a:gd name="connsiteX51621" fmla="*/ 1397367 w 6884782"/>
              <a:gd name="connsiteY51621" fmla="*/ 1582288 h 5973007"/>
              <a:gd name="connsiteX51622" fmla="*/ 1395921 w 6884782"/>
              <a:gd name="connsiteY51622" fmla="*/ 1584612 h 5973007"/>
              <a:gd name="connsiteX51623" fmla="*/ 1387867 w 6884782"/>
              <a:gd name="connsiteY51623" fmla="*/ 1587864 h 5973007"/>
              <a:gd name="connsiteX51624" fmla="*/ 1388693 w 6884782"/>
              <a:gd name="connsiteY51624" fmla="*/ 1588329 h 5973007"/>
              <a:gd name="connsiteX51625" fmla="*/ 1389416 w 6884782"/>
              <a:gd name="connsiteY51625" fmla="*/ 1589568 h 5973007"/>
              <a:gd name="connsiteX51626" fmla="*/ 1390242 w 6884782"/>
              <a:gd name="connsiteY51626" fmla="*/ 1591117 h 5973007"/>
              <a:gd name="connsiteX51627" fmla="*/ 1389519 w 6884782"/>
              <a:gd name="connsiteY51627" fmla="*/ 1592201 h 5973007"/>
              <a:gd name="connsiteX51628" fmla="*/ 1390139 w 6884782"/>
              <a:gd name="connsiteY51628" fmla="*/ 1592666 h 5973007"/>
              <a:gd name="connsiteX51629" fmla="*/ 1391584 w 6884782"/>
              <a:gd name="connsiteY51629" fmla="*/ 1594835 h 5973007"/>
              <a:gd name="connsiteX51630" fmla="*/ 1389932 w 6884782"/>
              <a:gd name="connsiteY51630" fmla="*/ 1596229 h 5973007"/>
              <a:gd name="connsiteX51631" fmla="*/ 1389003 w 6884782"/>
              <a:gd name="connsiteY51631" fmla="*/ 1597003 h 5973007"/>
              <a:gd name="connsiteX51632" fmla="*/ 1390345 w 6884782"/>
              <a:gd name="connsiteY51632" fmla="*/ 1598552 h 5973007"/>
              <a:gd name="connsiteX51633" fmla="*/ 1392617 w 6884782"/>
              <a:gd name="connsiteY51633" fmla="*/ 1600721 h 5973007"/>
              <a:gd name="connsiteX51634" fmla="*/ 1381981 w 6884782"/>
              <a:gd name="connsiteY51634" fmla="*/ 1604903 h 5973007"/>
              <a:gd name="connsiteX51635" fmla="*/ 1381568 w 6884782"/>
              <a:gd name="connsiteY51635" fmla="*/ 1601650 h 5973007"/>
              <a:gd name="connsiteX51636" fmla="*/ 1383634 w 6884782"/>
              <a:gd name="connsiteY51636" fmla="*/ 1598242 h 5973007"/>
              <a:gd name="connsiteX51637" fmla="*/ 1387247 w 6884782"/>
              <a:gd name="connsiteY51637" fmla="*/ 1597003 h 5973007"/>
              <a:gd name="connsiteX51638" fmla="*/ 1386422 w 6884782"/>
              <a:gd name="connsiteY51638" fmla="*/ 1596539 h 5973007"/>
              <a:gd name="connsiteX51639" fmla="*/ 1386112 w 6884782"/>
              <a:gd name="connsiteY51639" fmla="*/ 1594990 h 5973007"/>
              <a:gd name="connsiteX51640" fmla="*/ 1384047 w 6884782"/>
              <a:gd name="connsiteY51640" fmla="*/ 1595299 h 5973007"/>
              <a:gd name="connsiteX51641" fmla="*/ 1380329 w 6884782"/>
              <a:gd name="connsiteY51641" fmla="*/ 1593441 h 5973007"/>
              <a:gd name="connsiteX51642" fmla="*/ 1378987 w 6884782"/>
              <a:gd name="connsiteY51642" fmla="*/ 1590652 h 5973007"/>
              <a:gd name="connsiteX51643" fmla="*/ 1379090 w 6884782"/>
              <a:gd name="connsiteY51643" fmla="*/ 1592666 h 5973007"/>
              <a:gd name="connsiteX51644" fmla="*/ 1374960 w 6884782"/>
              <a:gd name="connsiteY51644" fmla="*/ 1590497 h 5973007"/>
              <a:gd name="connsiteX51645" fmla="*/ 1375476 w 6884782"/>
              <a:gd name="connsiteY51645" fmla="*/ 1587864 h 5973007"/>
              <a:gd name="connsiteX51646" fmla="*/ 1373205 w 6884782"/>
              <a:gd name="connsiteY51646" fmla="*/ 1587554 h 5973007"/>
              <a:gd name="connsiteX51647" fmla="*/ 1360194 w 6884782"/>
              <a:gd name="connsiteY51647" fmla="*/ 1571445 h 5973007"/>
              <a:gd name="connsiteX51648" fmla="*/ 1377335 w 6884782"/>
              <a:gd name="connsiteY51648" fmla="*/ 1565250 h 5973007"/>
              <a:gd name="connsiteX51649" fmla="*/ 1379400 w 6884782"/>
              <a:gd name="connsiteY51649" fmla="*/ 1565559 h 5973007"/>
              <a:gd name="connsiteX51650" fmla="*/ 1379194 w 6884782"/>
              <a:gd name="connsiteY51650" fmla="*/ 1563855 h 5973007"/>
              <a:gd name="connsiteX51651" fmla="*/ 1380639 w 6884782"/>
              <a:gd name="connsiteY51651" fmla="*/ 1561532 h 5973007"/>
              <a:gd name="connsiteX51652" fmla="*/ 1383221 w 6884782"/>
              <a:gd name="connsiteY51652" fmla="*/ 1560758 h 5973007"/>
              <a:gd name="connsiteX51653" fmla="*/ 5471229 w 6884782"/>
              <a:gd name="connsiteY51653" fmla="*/ 1560263 h 5973007"/>
              <a:gd name="connsiteX51654" fmla="*/ 5478912 w 6884782"/>
              <a:gd name="connsiteY51654" fmla="*/ 1566523 h 5973007"/>
              <a:gd name="connsiteX51655" fmla="*/ 5471656 w 6884782"/>
              <a:gd name="connsiteY51655" fmla="*/ 1561828 h 5973007"/>
              <a:gd name="connsiteX51656" fmla="*/ 5471229 w 6884782"/>
              <a:gd name="connsiteY51656" fmla="*/ 1560263 h 5973007"/>
              <a:gd name="connsiteX51657" fmla="*/ 5269333 w 6884782"/>
              <a:gd name="connsiteY51657" fmla="*/ 1560263 h 5973007"/>
              <a:gd name="connsiteX51658" fmla="*/ 5288115 w 6884782"/>
              <a:gd name="connsiteY51658" fmla="*/ 1571502 h 5973007"/>
              <a:gd name="connsiteX51659" fmla="*/ 5274242 w 6884782"/>
              <a:gd name="connsiteY51659" fmla="*/ 1570222 h 5973007"/>
              <a:gd name="connsiteX51660" fmla="*/ 5262717 w 6884782"/>
              <a:gd name="connsiteY51660" fmla="*/ 1560974 h 5973007"/>
              <a:gd name="connsiteX51661" fmla="*/ 5269333 w 6884782"/>
              <a:gd name="connsiteY51661" fmla="*/ 1560263 h 5973007"/>
              <a:gd name="connsiteX51662" fmla="*/ 4539651 w 6884782"/>
              <a:gd name="connsiteY51662" fmla="*/ 1560121 h 5973007"/>
              <a:gd name="connsiteX51663" fmla="*/ 4538371 w 6884782"/>
              <a:gd name="connsiteY51663" fmla="*/ 1570364 h 5973007"/>
              <a:gd name="connsiteX51664" fmla="*/ 4538584 w 6884782"/>
              <a:gd name="connsiteY51664" fmla="*/ 1561116 h 5973007"/>
              <a:gd name="connsiteX51665" fmla="*/ 4539651 w 6884782"/>
              <a:gd name="connsiteY51665" fmla="*/ 1560121 h 5973007"/>
              <a:gd name="connsiteX51666" fmla="*/ 1343467 w 6884782"/>
              <a:gd name="connsiteY51666" fmla="*/ 1559983 h 5973007"/>
              <a:gd name="connsiteX51667" fmla="*/ 1338201 w 6884782"/>
              <a:gd name="connsiteY51667" fmla="*/ 1562616 h 5973007"/>
              <a:gd name="connsiteX51668" fmla="*/ 1332935 w 6884782"/>
              <a:gd name="connsiteY51668" fmla="*/ 1563855 h 5973007"/>
              <a:gd name="connsiteX51669" fmla="*/ 1334277 w 6884782"/>
              <a:gd name="connsiteY51669" fmla="*/ 1568812 h 5973007"/>
              <a:gd name="connsiteX51670" fmla="*/ 1331696 w 6884782"/>
              <a:gd name="connsiteY51670" fmla="*/ 1572530 h 5973007"/>
              <a:gd name="connsiteX51671" fmla="*/ 1324158 w 6884782"/>
              <a:gd name="connsiteY51671" fmla="*/ 1573149 h 5973007"/>
              <a:gd name="connsiteX51672" fmla="*/ 1323641 w 6884782"/>
              <a:gd name="connsiteY51672" fmla="*/ 1568348 h 5973007"/>
              <a:gd name="connsiteX51673" fmla="*/ 1324055 w 6884782"/>
              <a:gd name="connsiteY51673" fmla="*/ 1565869 h 5973007"/>
              <a:gd name="connsiteX51674" fmla="*/ 1323022 w 6884782"/>
              <a:gd name="connsiteY51674" fmla="*/ 1565405 h 5973007"/>
              <a:gd name="connsiteX51675" fmla="*/ 1322299 w 6884782"/>
              <a:gd name="connsiteY51675" fmla="*/ 1565559 h 5973007"/>
              <a:gd name="connsiteX51676" fmla="*/ 1323022 w 6884782"/>
              <a:gd name="connsiteY51676" fmla="*/ 1566179 h 5973007"/>
              <a:gd name="connsiteX51677" fmla="*/ 1323229 w 6884782"/>
              <a:gd name="connsiteY51677" fmla="*/ 1567108 h 5973007"/>
              <a:gd name="connsiteX51678" fmla="*/ 1321473 w 6884782"/>
              <a:gd name="connsiteY51678" fmla="*/ 1570516 h 5973007"/>
              <a:gd name="connsiteX51679" fmla="*/ 1322506 w 6884782"/>
              <a:gd name="connsiteY51679" fmla="*/ 1571755 h 5973007"/>
              <a:gd name="connsiteX51680" fmla="*/ 1310735 w 6884782"/>
              <a:gd name="connsiteY51680" fmla="*/ 1575627 h 5973007"/>
              <a:gd name="connsiteX51681" fmla="*/ 1314142 w 6884782"/>
              <a:gd name="connsiteY51681" fmla="*/ 1564785 h 5973007"/>
              <a:gd name="connsiteX51682" fmla="*/ 1316310 w 6884782"/>
              <a:gd name="connsiteY51682" fmla="*/ 1566024 h 5973007"/>
              <a:gd name="connsiteX51683" fmla="*/ 1317860 w 6884782"/>
              <a:gd name="connsiteY51683" fmla="*/ 1563855 h 5973007"/>
              <a:gd name="connsiteX51684" fmla="*/ 1320854 w 6884782"/>
              <a:gd name="connsiteY51684" fmla="*/ 1564475 h 5973007"/>
              <a:gd name="connsiteX51685" fmla="*/ 1320751 w 6884782"/>
              <a:gd name="connsiteY51685" fmla="*/ 1564165 h 5973007"/>
              <a:gd name="connsiteX51686" fmla="*/ 1322403 w 6884782"/>
              <a:gd name="connsiteY51686" fmla="*/ 1562616 h 5973007"/>
              <a:gd name="connsiteX51687" fmla="*/ 1325191 w 6884782"/>
              <a:gd name="connsiteY51687" fmla="*/ 1561997 h 5973007"/>
              <a:gd name="connsiteX51688" fmla="*/ 1329218 w 6884782"/>
              <a:gd name="connsiteY51688" fmla="*/ 1560758 h 5973007"/>
              <a:gd name="connsiteX51689" fmla="*/ 1343467 w 6884782"/>
              <a:gd name="connsiteY51689" fmla="*/ 1559983 h 5973007"/>
              <a:gd name="connsiteX51690" fmla="*/ 5102866 w 6884782"/>
              <a:gd name="connsiteY51690" fmla="*/ 1559267 h 5973007"/>
              <a:gd name="connsiteX51691" fmla="*/ 5110122 w 6884782"/>
              <a:gd name="connsiteY51691" fmla="*/ 1559836 h 5973007"/>
              <a:gd name="connsiteX51692" fmla="*/ 5109269 w 6884782"/>
              <a:gd name="connsiteY51692" fmla="*/ 1574205 h 5973007"/>
              <a:gd name="connsiteX51693" fmla="*/ 5104360 w 6884782"/>
              <a:gd name="connsiteY51693" fmla="*/ 1574063 h 5973007"/>
              <a:gd name="connsiteX51694" fmla="*/ 5102866 w 6884782"/>
              <a:gd name="connsiteY51694" fmla="*/ 1559267 h 5973007"/>
              <a:gd name="connsiteX51695" fmla="*/ 1250794 w 6884782"/>
              <a:gd name="connsiteY51695" fmla="*/ 1558937 h 5973007"/>
              <a:gd name="connsiteX51696" fmla="*/ 1260346 w 6884782"/>
              <a:gd name="connsiteY51696" fmla="*/ 1560138 h 5973007"/>
              <a:gd name="connsiteX51697" fmla="*/ 1255802 w 6884782"/>
              <a:gd name="connsiteY51697" fmla="*/ 1562462 h 5973007"/>
              <a:gd name="connsiteX51698" fmla="*/ 1254047 w 6884782"/>
              <a:gd name="connsiteY51698" fmla="*/ 1563236 h 5973007"/>
              <a:gd name="connsiteX51699" fmla="*/ 1256215 w 6884782"/>
              <a:gd name="connsiteY51699" fmla="*/ 1563081 h 5973007"/>
              <a:gd name="connsiteX51700" fmla="*/ 1256628 w 6884782"/>
              <a:gd name="connsiteY51700" fmla="*/ 1568348 h 5973007"/>
              <a:gd name="connsiteX51701" fmla="*/ 1250433 w 6884782"/>
              <a:gd name="connsiteY51701" fmla="*/ 1567728 h 5973007"/>
              <a:gd name="connsiteX51702" fmla="*/ 1250124 w 6884782"/>
              <a:gd name="connsiteY51702" fmla="*/ 1565095 h 5973007"/>
              <a:gd name="connsiteX51703" fmla="*/ 1250227 w 6884782"/>
              <a:gd name="connsiteY51703" fmla="*/ 1564785 h 5973007"/>
              <a:gd name="connsiteX51704" fmla="*/ 1245787 w 6884782"/>
              <a:gd name="connsiteY51704" fmla="*/ 1564475 h 5973007"/>
              <a:gd name="connsiteX51705" fmla="*/ 1240314 w 6884782"/>
              <a:gd name="connsiteY51705" fmla="*/ 1563546 h 5973007"/>
              <a:gd name="connsiteX51706" fmla="*/ 1250794 w 6884782"/>
              <a:gd name="connsiteY51706" fmla="*/ 1558937 h 5973007"/>
              <a:gd name="connsiteX51707" fmla="*/ 1479042 w 6884782"/>
              <a:gd name="connsiteY51707" fmla="*/ 1558744 h 5973007"/>
              <a:gd name="connsiteX51708" fmla="*/ 1479559 w 6884782"/>
              <a:gd name="connsiteY51708" fmla="*/ 1561377 h 5973007"/>
              <a:gd name="connsiteX51709" fmla="*/ 1477494 w 6884782"/>
              <a:gd name="connsiteY51709" fmla="*/ 1562926 h 5973007"/>
              <a:gd name="connsiteX51710" fmla="*/ 1476255 w 6884782"/>
              <a:gd name="connsiteY51710" fmla="*/ 1564475 h 5973007"/>
              <a:gd name="connsiteX51711" fmla="*/ 1473673 w 6884782"/>
              <a:gd name="connsiteY51711" fmla="*/ 1564320 h 5973007"/>
              <a:gd name="connsiteX51712" fmla="*/ 1474809 w 6884782"/>
              <a:gd name="connsiteY51712" fmla="*/ 1562616 h 5973007"/>
              <a:gd name="connsiteX51713" fmla="*/ 1479042 w 6884782"/>
              <a:gd name="connsiteY51713" fmla="*/ 1558744 h 5973007"/>
              <a:gd name="connsiteX51714" fmla="*/ 4563981 w 6884782"/>
              <a:gd name="connsiteY51714" fmla="*/ 1558129 h 5973007"/>
              <a:gd name="connsiteX51715" fmla="*/ 4566969 w 6884782"/>
              <a:gd name="connsiteY51715" fmla="*/ 1560263 h 5973007"/>
              <a:gd name="connsiteX51716" fmla="*/ 4564835 w 6884782"/>
              <a:gd name="connsiteY51716" fmla="*/ 1563108 h 5973007"/>
              <a:gd name="connsiteX51717" fmla="*/ 4565902 w 6884782"/>
              <a:gd name="connsiteY51717" fmla="*/ 1562966 h 5973007"/>
              <a:gd name="connsiteX51718" fmla="*/ 4565262 w 6884782"/>
              <a:gd name="connsiteY51718" fmla="*/ 1573921 h 5973007"/>
              <a:gd name="connsiteX51719" fmla="*/ 4559499 w 6884782"/>
              <a:gd name="connsiteY51719" fmla="*/ 1577335 h 5973007"/>
              <a:gd name="connsiteX51720" fmla="*/ 4549042 w 6884782"/>
              <a:gd name="connsiteY51720" fmla="*/ 1574347 h 5973007"/>
              <a:gd name="connsiteX51721" fmla="*/ 4549895 w 6884782"/>
              <a:gd name="connsiteY51721" fmla="*/ 1568372 h 5973007"/>
              <a:gd name="connsiteX51722" fmla="*/ 4556085 w 6884782"/>
              <a:gd name="connsiteY51722" fmla="*/ 1564388 h 5973007"/>
              <a:gd name="connsiteX51723" fmla="*/ 4560566 w 6884782"/>
              <a:gd name="connsiteY51723" fmla="*/ 1563108 h 5973007"/>
              <a:gd name="connsiteX51724" fmla="*/ 4560353 w 6884782"/>
              <a:gd name="connsiteY51724" fmla="*/ 1560832 h 5973007"/>
              <a:gd name="connsiteX51725" fmla="*/ 4563981 w 6884782"/>
              <a:gd name="connsiteY51725" fmla="*/ 1558129 h 5973007"/>
              <a:gd name="connsiteX51726" fmla="*/ 1609558 w 6884782"/>
              <a:gd name="connsiteY51726" fmla="*/ 1557659 h 5973007"/>
              <a:gd name="connsiteX51727" fmla="*/ 1616270 w 6884782"/>
              <a:gd name="connsiteY51727" fmla="*/ 1563236 h 5973007"/>
              <a:gd name="connsiteX51728" fmla="*/ 1614514 w 6884782"/>
              <a:gd name="connsiteY51728" fmla="*/ 1571445 h 5973007"/>
              <a:gd name="connsiteX51729" fmla="*/ 1608113 w 6884782"/>
              <a:gd name="connsiteY51729" fmla="*/ 1561687 h 5973007"/>
              <a:gd name="connsiteX51730" fmla="*/ 1609558 w 6884782"/>
              <a:gd name="connsiteY51730" fmla="*/ 1557659 h 5973007"/>
              <a:gd name="connsiteX51731" fmla="*/ 4511480 w 6884782"/>
              <a:gd name="connsiteY51731" fmla="*/ 1557560 h 5973007"/>
              <a:gd name="connsiteX51732" fmla="*/ 4515108 w 6884782"/>
              <a:gd name="connsiteY51732" fmla="*/ 1561259 h 5973007"/>
              <a:gd name="connsiteX51733" fmla="*/ 4514041 w 6884782"/>
              <a:gd name="connsiteY51733" fmla="*/ 1563535 h 5973007"/>
              <a:gd name="connsiteX51734" fmla="*/ 4511053 w 6884782"/>
              <a:gd name="connsiteY51734" fmla="*/ 1565527 h 5973007"/>
              <a:gd name="connsiteX51735" fmla="*/ 4506571 w 6884782"/>
              <a:gd name="connsiteY51735" fmla="*/ 1560832 h 5973007"/>
              <a:gd name="connsiteX51736" fmla="*/ 4507852 w 6884782"/>
              <a:gd name="connsiteY51736" fmla="*/ 1558414 h 5973007"/>
              <a:gd name="connsiteX51737" fmla="*/ 4511480 w 6884782"/>
              <a:gd name="connsiteY51737" fmla="*/ 1557560 h 5973007"/>
              <a:gd name="connsiteX51738" fmla="*/ 3886800 w 6884782"/>
              <a:gd name="connsiteY51738" fmla="*/ 1557560 h 5973007"/>
              <a:gd name="connsiteX51739" fmla="*/ 3888935 w 6884782"/>
              <a:gd name="connsiteY51739" fmla="*/ 1559267 h 5973007"/>
              <a:gd name="connsiteX51740" fmla="*/ 3888935 w 6884782"/>
              <a:gd name="connsiteY51740" fmla="*/ 1561116 h 5973007"/>
              <a:gd name="connsiteX51741" fmla="*/ 3892990 w 6884782"/>
              <a:gd name="connsiteY51741" fmla="*/ 1558840 h 5973007"/>
              <a:gd name="connsiteX51742" fmla="*/ 3903447 w 6884782"/>
              <a:gd name="connsiteY51742" fmla="*/ 1567234 h 5973007"/>
              <a:gd name="connsiteX51743" fmla="*/ 3897898 w 6884782"/>
              <a:gd name="connsiteY51743" fmla="*/ 1579896 h 5973007"/>
              <a:gd name="connsiteX51744" fmla="*/ 3898111 w 6884782"/>
              <a:gd name="connsiteY51744" fmla="*/ 1580892 h 5973007"/>
              <a:gd name="connsiteX51745" fmla="*/ 3899392 w 6884782"/>
              <a:gd name="connsiteY51745" fmla="*/ 1580038 h 5973007"/>
              <a:gd name="connsiteX51746" fmla="*/ 3900459 w 6884782"/>
              <a:gd name="connsiteY51746" fmla="*/ 1578900 h 5973007"/>
              <a:gd name="connsiteX51747" fmla="*/ 3903020 w 6884782"/>
              <a:gd name="connsiteY51747" fmla="*/ 1578616 h 5973007"/>
              <a:gd name="connsiteX51748" fmla="*/ 3910277 w 6884782"/>
              <a:gd name="connsiteY51748" fmla="*/ 1582315 h 5973007"/>
              <a:gd name="connsiteX51749" fmla="*/ 3893843 w 6884782"/>
              <a:gd name="connsiteY51749" fmla="*/ 1590709 h 5973007"/>
              <a:gd name="connsiteX51750" fmla="*/ 3889788 w 6884782"/>
              <a:gd name="connsiteY51750" fmla="*/ 1591135 h 5973007"/>
              <a:gd name="connsiteX51751" fmla="*/ 3888295 w 6884782"/>
              <a:gd name="connsiteY51751" fmla="*/ 1594692 h 5973007"/>
              <a:gd name="connsiteX51752" fmla="*/ 3882959 w 6884782"/>
              <a:gd name="connsiteY51752" fmla="*/ 1591989 h 5973007"/>
              <a:gd name="connsiteX51753" fmla="*/ 3883812 w 6884782"/>
              <a:gd name="connsiteY51753" fmla="*/ 1589001 h 5973007"/>
              <a:gd name="connsiteX51754" fmla="*/ 3881678 w 6884782"/>
              <a:gd name="connsiteY51754" fmla="*/ 1589143 h 5973007"/>
              <a:gd name="connsiteX51755" fmla="*/ 3883599 w 6884782"/>
              <a:gd name="connsiteY51755" fmla="*/ 1582599 h 5973007"/>
              <a:gd name="connsiteX51756" fmla="*/ 3883599 w 6884782"/>
              <a:gd name="connsiteY51756" fmla="*/ 1580038 h 5973007"/>
              <a:gd name="connsiteX51757" fmla="*/ 3885733 w 6884782"/>
              <a:gd name="connsiteY51757" fmla="*/ 1581461 h 5973007"/>
              <a:gd name="connsiteX51758" fmla="*/ 3883599 w 6884782"/>
              <a:gd name="connsiteY51758" fmla="*/ 1585302 h 5973007"/>
              <a:gd name="connsiteX51759" fmla="*/ 3885733 w 6884782"/>
              <a:gd name="connsiteY51759" fmla="*/ 1586725 h 5973007"/>
              <a:gd name="connsiteX51760" fmla="*/ 3885093 w 6884782"/>
              <a:gd name="connsiteY51760" fmla="*/ 1588432 h 5973007"/>
              <a:gd name="connsiteX51761" fmla="*/ 3885093 w 6884782"/>
              <a:gd name="connsiteY51761" fmla="*/ 1588717 h 5973007"/>
              <a:gd name="connsiteX51762" fmla="*/ 3885307 w 6884782"/>
              <a:gd name="connsiteY51762" fmla="*/ 1588859 h 5973007"/>
              <a:gd name="connsiteX51763" fmla="*/ 3885093 w 6884782"/>
              <a:gd name="connsiteY51763" fmla="*/ 1588432 h 5973007"/>
              <a:gd name="connsiteX51764" fmla="*/ 3895551 w 6884782"/>
              <a:gd name="connsiteY51764" fmla="*/ 1582883 h 5973007"/>
              <a:gd name="connsiteX51765" fmla="*/ 3895764 w 6884782"/>
              <a:gd name="connsiteY51765" fmla="*/ 1581461 h 5973007"/>
              <a:gd name="connsiteX51766" fmla="*/ 3894697 w 6884782"/>
              <a:gd name="connsiteY51766" fmla="*/ 1580750 h 5973007"/>
              <a:gd name="connsiteX51767" fmla="*/ 3891496 w 6884782"/>
              <a:gd name="connsiteY51767" fmla="*/ 1581603 h 5973007"/>
              <a:gd name="connsiteX51768" fmla="*/ 3882105 w 6884782"/>
              <a:gd name="connsiteY51768" fmla="*/ 1575628 h 5973007"/>
              <a:gd name="connsiteX51769" fmla="*/ 3883172 w 6884782"/>
              <a:gd name="connsiteY51769" fmla="*/ 1572071 h 5973007"/>
              <a:gd name="connsiteX51770" fmla="*/ 3883812 w 6884782"/>
              <a:gd name="connsiteY51770" fmla="*/ 1568657 h 5973007"/>
              <a:gd name="connsiteX51771" fmla="*/ 3883386 w 6884782"/>
              <a:gd name="connsiteY51771" fmla="*/ 1570080 h 5973007"/>
              <a:gd name="connsiteX51772" fmla="*/ 3878264 w 6884782"/>
              <a:gd name="connsiteY51772" fmla="*/ 1572356 h 5973007"/>
              <a:gd name="connsiteX51773" fmla="*/ 3880398 w 6884782"/>
              <a:gd name="connsiteY51773" fmla="*/ 1563108 h 5973007"/>
              <a:gd name="connsiteX51774" fmla="*/ 3885093 w 6884782"/>
              <a:gd name="connsiteY51774" fmla="*/ 1563393 h 5973007"/>
              <a:gd name="connsiteX51775" fmla="*/ 3885733 w 6884782"/>
              <a:gd name="connsiteY51775" fmla="*/ 1558129 h 5973007"/>
              <a:gd name="connsiteX51776" fmla="*/ 3886800 w 6884782"/>
              <a:gd name="connsiteY51776" fmla="*/ 1557560 h 5973007"/>
              <a:gd name="connsiteX51777" fmla="*/ 1183317 w 6884782"/>
              <a:gd name="connsiteY51777" fmla="*/ 1557505 h 5973007"/>
              <a:gd name="connsiteX51778" fmla="*/ 1186827 w 6884782"/>
              <a:gd name="connsiteY51778" fmla="*/ 1569277 h 5973007"/>
              <a:gd name="connsiteX51779" fmla="*/ 1183730 w 6884782"/>
              <a:gd name="connsiteY51779" fmla="*/ 1571910 h 5973007"/>
              <a:gd name="connsiteX51780" fmla="*/ 1179290 w 6884782"/>
              <a:gd name="connsiteY51780" fmla="*/ 1562926 h 5973007"/>
              <a:gd name="connsiteX51781" fmla="*/ 1179599 w 6884782"/>
              <a:gd name="connsiteY51781" fmla="*/ 1559673 h 5973007"/>
              <a:gd name="connsiteX51782" fmla="*/ 1183317 w 6884782"/>
              <a:gd name="connsiteY51782" fmla="*/ 1557505 h 5973007"/>
              <a:gd name="connsiteX51783" fmla="*/ 3615971 w 6884782"/>
              <a:gd name="connsiteY51783" fmla="*/ 1557417 h 5973007"/>
              <a:gd name="connsiteX51784" fmla="*/ 3618958 w 6884782"/>
              <a:gd name="connsiteY51784" fmla="*/ 1557702 h 5973007"/>
              <a:gd name="connsiteX51785" fmla="*/ 3610208 w 6884782"/>
              <a:gd name="connsiteY51785" fmla="*/ 1569083 h 5973007"/>
              <a:gd name="connsiteX51786" fmla="*/ 3605726 w 6884782"/>
              <a:gd name="connsiteY51786" fmla="*/ 1563393 h 5973007"/>
              <a:gd name="connsiteX51787" fmla="*/ 3615971 w 6884782"/>
              <a:gd name="connsiteY51787" fmla="*/ 1557417 h 5973007"/>
              <a:gd name="connsiteX51788" fmla="*/ 1526850 w 6884782"/>
              <a:gd name="connsiteY51788" fmla="*/ 1557350 h 5973007"/>
              <a:gd name="connsiteX51789" fmla="*/ 1530154 w 6884782"/>
              <a:gd name="connsiteY51789" fmla="*/ 1559519 h 5973007"/>
              <a:gd name="connsiteX51790" fmla="*/ 1526643 w 6884782"/>
              <a:gd name="connsiteY51790" fmla="*/ 1563236 h 5973007"/>
              <a:gd name="connsiteX51791" fmla="*/ 1523339 w 6884782"/>
              <a:gd name="connsiteY51791" fmla="*/ 1561067 h 5973007"/>
              <a:gd name="connsiteX51792" fmla="*/ 1526850 w 6884782"/>
              <a:gd name="connsiteY51792" fmla="*/ 1557350 h 5973007"/>
              <a:gd name="connsiteX51793" fmla="*/ 6004992 w 6884782"/>
              <a:gd name="connsiteY51793" fmla="*/ 1556991 h 5973007"/>
              <a:gd name="connsiteX51794" fmla="*/ 6006485 w 6884782"/>
              <a:gd name="connsiteY51794" fmla="*/ 1559409 h 5973007"/>
              <a:gd name="connsiteX51795" fmla="*/ 6002430 w 6884782"/>
              <a:gd name="connsiteY51795" fmla="*/ 1563108 h 5973007"/>
              <a:gd name="connsiteX51796" fmla="*/ 6002644 w 6884782"/>
              <a:gd name="connsiteY51796" fmla="*/ 1564388 h 5973007"/>
              <a:gd name="connsiteX51797" fmla="*/ 6005205 w 6884782"/>
              <a:gd name="connsiteY51797" fmla="*/ 1566665 h 5973007"/>
              <a:gd name="connsiteX51798" fmla="*/ 6006912 w 6884782"/>
              <a:gd name="connsiteY51798" fmla="*/ 1578616 h 5973007"/>
              <a:gd name="connsiteX51799" fmla="*/ 5994747 w 6884782"/>
              <a:gd name="connsiteY51799" fmla="*/ 1582883 h 5973007"/>
              <a:gd name="connsiteX51800" fmla="*/ 5988558 w 6884782"/>
              <a:gd name="connsiteY51800" fmla="*/ 1579611 h 5973007"/>
              <a:gd name="connsiteX51801" fmla="*/ 5987704 w 6884782"/>
              <a:gd name="connsiteY51801" fmla="*/ 1565242 h 5973007"/>
              <a:gd name="connsiteX51802" fmla="*/ 5999869 w 6884782"/>
              <a:gd name="connsiteY51802" fmla="*/ 1562255 h 5973007"/>
              <a:gd name="connsiteX51803" fmla="*/ 6000723 w 6884782"/>
              <a:gd name="connsiteY51803" fmla="*/ 1559694 h 5973007"/>
              <a:gd name="connsiteX51804" fmla="*/ 6004992 w 6884782"/>
              <a:gd name="connsiteY51804" fmla="*/ 1556991 h 5973007"/>
              <a:gd name="connsiteX51805" fmla="*/ 4128178 w 6884782"/>
              <a:gd name="connsiteY51805" fmla="*/ 1556991 h 5973007"/>
              <a:gd name="connsiteX51806" fmla="*/ 4132233 w 6884782"/>
              <a:gd name="connsiteY51806" fmla="*/ 1559551 h 5973007"/>
              <a:gd name="connsiteX51807" fmla="*/ 4123696 w 6884782"/>
              <a:gd name="connsiteY51807" fmla="*/ 1557275 h 5973007"/>
              <a:gd name="connsiteX51808" fmla="*/ 4128178 w 6884782"/>
              <a:gd name="connsiteY51808" fmla="*/ 1556991 h 5973007"/>
              <a:gd name="connsiteX51809" fmla="*/ 1797381 w 6884782"/>
              <a:gd name="connsiteY51809" fmla="*/ 1556730 h 5973007"/>
              <a:gd name="connsiteX51810" fmla="*/ 1803473 w 6884782"/>
              <a:gd name="connsiteY51810" fmla="*/ 1559053 h 5973007"/>
              <a:gd name="connsiteX51811" fmla="*/ 1796142 w 6884782"/>
              <a:gd name="connsiteY51811" fmla="*/ 1559363 h 5973007"/>
              <a:gd name="connsiteX51812" fmla="*/ 1797381 w 6884782"/>
              <a:gd name="connsiteY51812" fmla="*/ 1556730 h 5973007"/>
              <a:gd name="connsiteX51813" fmla="*/ 1557414 w 6884782"/>
              <a:gd name="connsiteY51813" fmla="*/ 1556420 h 5973007"/>
              <a:gd name="connsiteX51814" fmla="*/ 1549050 w 6884782"/>
              <a:gd name="connsiteY51814" fmla="*/ 1567883 h 5973007"/>
              <a:gd name="connsiteX51815" fmla="*/ 1546469 w 6884782"/>
              <a:gd name="connsiteY51815" fmla="*/ 1567263 h 5973007"/>
              <a:gd name="connsiteX51816" fmla="*/ 1548224 w 6884782"/>
              <a:gd name="connsiteY51816" fmla="*/ 1568657 h 5973007"/>
              <a:gd name="connsiteX51817" fmla="*/ 1551012 w 6884782"/>
              <a:gd name="connsiteY51817" fmla="*/ 1585386 h 5973007"/>
              <a:gd name="connsiteX51818" fmla="*/ 1542235 w 6884782"/>
              <a:gd name="connsiteY51818" fmla="*/ 1569896 h 5973007"/>
              <a:gd name="connsiteX51819" fmla="*/ 1543474 w 6884782"/>
              <a:gd name="connsiteY51819" fmla="*/ 1564785 h 5973007"/>
              <a:gd name="connsiteX51820" fmla="*/ 1544713 w 6884782"/>
              <a:gd name="connsiteY51820" fmla="*/ 1565869 h 5973007"/>
              <a:gd name="connsiteX51821" fmla="*/ 1550083 w 6884782"/>
              <a:gd name="connsiteY51821" fmla="*/ 1560912 h 5973007"/>
              <a:gd name="connsiteX51822" fmla="*/ 1557414 w 6884782"/>
              <a:gd name="connsiteY51822" fmla="*/ 1556420 h 5973007"/>
              <a:gd name="connsiteX51823" fmla="*/ 954294 w 6884782"/>
              <a:gd name="connsiteY51823" fmla="*/ 1556420 h 5973007"/>
              <a:gd name="connsiteX51824" fmla="*/ 955740 w 6884782"/>
              <a:gd name="connsiteY51824" fmla="*/ 1556885 h 5973007"/>
              <a:gd name="connsiteX51825" fmla="*/ 957392 w 6884782"/>
              <a:gd name="connsiteY51825" fmla="*/ 1558279 h 5973007"/>
              <a:gd name="connsiteX51826" fmla="*/ 954397 w 6884782"/>
              <a:gd name="connsiteY51826" fmla="*/ 1561222 h 5973007"/>
              <a:gd name="connsiteX51827" fmla="*/ 951713 w 6884782"/>
              <a:gd name="connsiteY51827" fmla="*/ 1560448 h 5973007"/>
              <a:gd name="connsiteX51828" fmla="*/ 951196 w 6884782"/>
              <a:gd name="connsiteY51828" fmla="*/ 1559053 h 5973007"/>
              <a:gd name="connsiteX51829" fmla="*/ 952229 w 6884782"/>
              <a:gd name="connsiteY51829" fmla="*/ 1557969 h 5973007"/>
              <a:gd name="connsiteX51830" fmla="*/ 954294 w 6884782"/>
              <a:gd name="connsiteY51830" fmla="*/ 1556420 h 5973007"/>
              <a:gd name="connsiteX51831" fmla="*/ 936534 w 6884782"/>
              <a:gd name="connsiteY51831" fmla="*/ 1556265 h 5973007"/>
              <a:gd name="connsiteX51832" fmla="*/ 944382 w 6884782"/>
              <a:gd name="connsiteY51832" fmla="*/ 1561842 h 5973007"/>
              <a:gd name="connsiteX51833" fmla="*/ 934263 w 6884782"/>
              <a:gd name="connsiteY51833" fmla="*/ 1560293 h 5973007"/>
              <a:gd name="connsiteX51834" fmla="*/ 936534 w 6884782"/>
              <a:gd name="connsiteY51834" fmla="*/ 1556265 h 5973007"/>
              <a:gd name="connsiteX51835" fmla="*/ 1492362 w 6884782"/>
              <a:gd name="connsiteY51835" fmla="*/ 1555955 h 5973007"/>
              <a:gd name="connsiteX51836" fmla="*/ 1489471 w 6884782"/>
              <a:gd name="connsiteY51836" fmla="*/ 1563081 h 5973007"/>
              <a:gd name="connsiteX51837" fmla="*/ 1487509 w 6884782"/>
              <a:gd name="connsiteY51837" fmla="*/ 1563546 h 5973007"/>
              <a:gd name="connsiteX51838" fmla="*/ 1486580 w 6884782"/>
              <a:gd name="connsiteY51838" fmla="*/ 1561222 h 5973007"/>
              <a:gd name="connsiteX51839" fmla="*/ 1491020 w 6884782"/>
              <a:gd name="connsiteY51839" fmla="*/ 1556265 h 5973007"/>
              <a:gd name="connsiteX51840" fmla="*/ 1492362 w 6884782"/>
              <a:gd name="connsiteY51840" fmla="*/ 1555955 h 5973007"/>
              <a:gd name="connsiteX51841" fmla="*/ 3730150 w 6884782"/>
              <a:gd name="connsiteY51841" fmla="*/ 1555568 h 5973007"/>
              <a:gd name="connsiteX51842" fmla="*/ 3731644 w 6884782"/>
              <a:gd name="connsiteY51842" fmla="*/ 1563820 h 5973007"/>
              <a:gd name="connsiteX51843" fmla="*/ 3728656 w 6884782"/>
              <a:gd name="connsiteY51843" fmla="*/ 1574063 h 5973007"/>
              <a:gd name="connsiteX51844" fmla="*/ 3727376 w 6884782"/>
              <a:gd name="connsiteY51844" fmla="*/ 1572925 h 5973007"/>
              <a:gd name="connsiteX51845" fmla="*/ 3730150 w 6884782"/>
              <a:gd name="connsiteY51845" fmla="*/ 1555568 h 5973007"/>
              <a:gd name="connsiteX51846" fmla="*/ 1125906 w 6884782"/>
              <a:gd name="connsiteY51846" fmla="*/ 1555336 h 5973007"/>
              <a:gd name="connsiteX51847" fmla="*/ 1126629 w 6884782"/>
              <a:gd name="connsiteY51847" fmla="*/ 1560293 h 5973007"/>
              <a:gd name="connsiteX51848" fmla="*/ 1126422 w 6884782"/>
              <a:gd name="connsiteY51848" fmla="*/ 1564475 h 5973007"/>
              <a:gd name="connsiteX51849" fmla="*/ 1122292 w 6884782"/>
              <a:gd name="connsiteY51849" fmla="*/ 1577951 h 5973007"/>
              <a:gd name="connsiteX51850" fmla="*/ 1121466 w 6884782"/>
              <a:gd name="connsiteY51850" fmla="*/ 1572220 h 5973007"/>
              <a:gd name="connsiteX51851" fmla="*/ 1122292 w 6884782"/>
              <a:gd name="connsiteY51851" fmla="*/ 1558899 h 5973007"/>
              <a:gd name="connsiteX51852" fmla="*/ 1124047 w 6884782"/>
              <a:gd name="connsiteY51852" fmla="*/ 1557195 h 5973007"/>
              <a:gd name="connsiteX51853" fmla="*/ 1124151 w 6884782"/>
              <a:gd name="connsiteY51853" fmla="*/ 1556265 h 5973007"/>
              <a:gd name="connsiteX51854" fmla="*/ 1125906 w 6884782"/>
              <a:gd name="connsiteY51854" fmla="*/ 1555336 h 5973007"/>
              <a:gd name="connsiteX51855" fmla="*/ 4252388 w 6884782"/>
              <a:gd name="connsiteY51855" fmla="*/ 1554857 h 5973007"/>
              <a:gd name="connsiteX51856" fmla="*/ 4255376 w 6884782"/>
              <a:gd name="connsiteY51856" fmla="*/ 1554857 h 5973007"/>
              <a:gd name="connsiteX51857" fmla="*/ 4246840 w 6884782"/>
              <a:gd name="connsiteY51857" fmla="*/ 1562966 h 5973007"/>
              <a:gd name="connsiteX51858" fmla="*/ 4252388 w 6884782"/>
              <a:gd name="connsiteY51858" fmla="*/ 1554857 h 5973007"/>
              <a:gd name="connsiteX51859" fmla="*/ 1297311 w 6884782"/>
              <a:gd name="connsiteY51859" fmla="*/ 1554717 h 5973007"/>
              <a:gd name="connsiteX51860" fmla="*/ 1305985 w 6884782"/>
              <a:gd name="connsiteY51860" fmla="*/ 1565405 h 5973007"/>
              <a:gd name="connsiteX51861" fmla="*/ 1298034 w 6884782"/>
              <a:gd name="connsiteY51861" fmla="*/ 1566488 h 5973007"/>
              <a:gd name="connsiteX51862" fmla="*/ 1295143 w 6884782"/>
              <a:gd name="connsiteY51862" fmla="*/ 1560138 h 5973007"/>
              <a:gd name="connsiteX51863" fmla="*/ 1297311 w 6884782"/>
              <a:gd name="connsiteY51863" fmla="*/ 1554717 h 5973007"/>
              <a:gd name="connsiteX51864" fmla="*/ 4578067 w 6884782"/>
              <a:gd name="connsiteY51864" fmla="*/ 1554714 h 5973007"/>
              <a:gd name="connsiteX51865" fmla="*/ 4581268 w 6884782"/>
              <a:gd name="connsiteY51865" fmla="*/ 1554857 h 5973007"/>
              <a:gd name="connsiteX51866" fmla="*/ 4585963 w 6884782"/>
              <a:gd name="connsiteY51866" fmla="*/ 1562255 h 5973007"/>
              <a:gd name="connsiteX51867" fmla="*/ 4579348 w 6884782"/>
              <a:gd name="connsiteY51867" fmla="*/ 1562255 h 5973007"/>
              <a:gd name="connsiteX51868" fmla="*/ 4578067 w 6884782"/>
              <a:gd name="connsiteY51868" fmla="*/ 1560974 h 5973007"/>
              <a:gd name="connsiteX51869" fmla="*/ 4577213 w 6884782"/>
              <a:gd name="connsiteY51869" fmla="*/ 1560121 h 5973007"/>
              <a:gd name="connsiteX51870" fmla="*/ 4575079 w 6884782"/>
              <a:gd name="connsiteY51870" fmla="*/ 1557702 h 5973007"/>
              <a:gd name="connsiteX51871" fmla="*/ 4578067 w 6884782"/>
              <a:gd name="connsiteY51871" fmla="*/ 1554714 h 5973007"/>
              <a:gd name="connsiteX51872" fmla="*/ 3735913 w 6884782"/>
              <a:gd name="connsiteY51872" fmla="*/ 1554430 h 5973007"/>
              <a:gd name="connsiteX51873" fmla="*/ 3738260 w 6884782"/>
              <a:gd name="connsiteY51873" fmla="*/ 1557986 h 5973007"/>
              <a:gd name="connsiteX51874" fmla="*/ 3740608 w 6884782"/>
              <a:gd name="connsiteY51874" fmla="*/ 1556991 h 5973007"/>
              <a:gd name="connsiteX51875" fmla="*/ 3741889 w 6884782"/>
              <a:gd name="connsiteY51875" fmla="*/ 1558129 h 5973007"/>
              <a:gd name="connsiteX51876" fmla="*/ 3740821 w 6884782"/>
              <a:gd name="connsiteY51876" fmla="*/ 1561686 h 5973007"/>
              <a:gd name="connsiteX51877" fmla="*/ 3736126 w 6884782"/>
              <a:gd name="connsiteY51877" fmla="*/ 1556706 h 5973007"/>
              <a:gd name="connsiteX51878" fmla="*/ 3733565 w 6884782"/>
              <a:gd name="connsiteY51878" fmla="*/ 1555426 h 5973007"/>
              <a:gd name="connsiteX51879" fmla="*/ 3735913 w 6884782"/>
              <a:gd name="connsiteY51879" fmla="*/ 1554430 h 5973007"/>
              <a:gd name="connsiteX51880" fmla="*/ 1314762 w 6884782"/>
              <a:gd name="connsiteY51880" fmla="*/ 1553477 h 5973007"/>
              <a:gd name="connsiteX51881" fmla="*/ 1315794 w 6884782"/>
              <a:gd name="connsiteY51881" fmla="*/ 1562307 h 5973007"/>
              <a:gd name="connsiteX51882" fmla="*/ 1309083 w 6884782"/>
              <a:gd name="connsiteY51882" fmla="*/ 1557969 h 5973007"/>
              <a:gd name="connsiteX51883" fmla="*/ 1309908 w 6884782"/>
              <a:gd name="connsiteY51883" fmla="*/ 1555026 h 5973007"/>
              <a:gd name="connsiteX51884" fmla="*/ 1314762 w 6884782"/>
              <a:gd name="connsiteY51884" fmla="*/ 1553477 h 5973007"/>
              <a:gd name="connsiteX51885" fmla="*/ 5586902 w 6884782"/>
              <a:gd name="connsiteY51885" fmla="*/ 1552722 h 5973007"/>
              <a:gd name="connsiteX51886" fmla="*/ 5590530 w 6884782"/>
              <a:gd name="connsiteY51886" fmla="*/ 1553434 h 5973007"/>
              <a:gd name="connsiteX51887" fmla="*/ 5592665 w 6884782"/>
              <a:gd name="connsiteY51887" fmla="*/ 1555852 h 5973007"/>
              <a:gd name="connsiteX51888" fmla="*/ 5592025 w 6884782"/>
              <a:gd name="connsiteY51888" fmla="*/ 1562966 h 5973007"/>
              <a:gd name="connsiteX51889" fmla="*/ 5581567 w 6884782"/>
              <a:gd name="connsiteY51889" fmla="*/ 1562824 h 5973007"/>
              <a:gd name="connsiteX51890" fmla="*/ 5583701 w 6884782"/>
              <a:gd name="connsiteY51890" fmla="*/ 1554572 h 5973007"/>
              <a:gd name="connsiteX51891" fmla="*/ 5586902 w 6884782"/>
              <a:gd name="connsiteY51891" fmla="*/ 1552722 h 5973007"/>
              <a:gd name="connsiteX51892" fmla="*/ 4975881 w 6884782"/>
              <a:gd name="connsiteY51892" fmla="*/ 1552296 h 5973007"/>
              <a:gd name="connsiteX51893" fmla="*/ 4976949 w 6884782"/>
              <a:gd name="connsiteY51893" fmla="*/ 1553861 h 5973007"/>
              <a:gd name="connsiteX51894" fmla="*/ 4977589 w 6884782"/>
              <a:gd name="connsiteY51894" fmla="*/ 1556564 h 5973007"/>
              <a:gd name="connsiteX51895" fmla="*/ 4971826 w 6884782"/>
              <a:gd name="connsiteY51895" fmla="*/ 1558129 h 5973007"/>
              <a:gd name="connsiteX51896" fmla="*/ 4969479 w 6884782"/>
              <a:gd name="connsiteY51896" fmla="*/ 1555568 h 5973007"/>
              <a:gd name="connsiteX51897" fmla="*/ 4972253 w 6884782"/>
              <a:gd name="connsiteY51897" fmla="*/ 1552865 h 5973007"/>
              <a:gd name="connsiteX51898" fmla="*/ 4975881 w 6884782"/>
              <a:gd name="connsiteY51898" fmla="*/ 1552296 h 5973007"/>
              <a:gd name="connsiteX51899" fmla="*/ 4585536 w 6884782"/>
              <a:gd name="connsiteY51899" fmla="*/ 1552154 h 5973007"/>
              <a:gd name="connsiteX51900" fmla="*/ 4588951 w 6884782"/>
              <a:gd name="connsiteY51900" fmla="*/ 1554430 h 5973007"/>
              <a:gd name="connsiteX51901" fmla="*/ 4588311 w 6884782"/>
              <a:gd name="connsiteY51901" fmla="*/ 1555426 h 5973007"/>
              <a:gd name="connsiteX51902" fmla="*/ 4585536 w 6884782"/>
              <a:gd name="connsiteY51902" fmla="*/ 1552154 h 5973007"/>
              <a:gd name="connsiteX51903" fmla="*/ 1474912 w 6884782"/>
              <a:gd name="connsiteY51903" fmla="*/ 1551774 h 5973007"/>
              <a:gd name="connsiteX51904" fmla="*/ 1476564 w 6884782"/>
              <a:gd name="connsiteY51904" fmla="*/ 1551774 h 5973007"/>
              <a:gd name="connsiteX51905" fmla="*/ 1474086 w 6884782"/>
              <a:gd name="connsiteY51905" fmla="*/ 1556885 h 5973007"/>
              <a:gd name="connsiteX51906" fmla="*/ 1471401 w 6884782"/>
              <a:gd name="connsiteY51906" fmla="*/ 1557659 h 5973007"/>
              <a:gd name="connsiteX51907" fmla="*/ 1471401 w 6884782"/>
              <a:gd name="connsiteY51907" fmla="*/ 1555955 h 5973007"/>
              <a:gd name="connsiteX51908" fmla="*/ 1471918 w 6884782"/>
              <a:gd name="connsiteY51908" fmla="*/ 1555026 h 5973007"/>
              <a:gd name="connsiteX51909" fmla="*/ 1473673 w 6884782"/>
              <a:gd name="connsiteY51909" fmla="*/ 1554251 h 5973007"/>
              <a:gd name="connsiteX51910" fmla="*/ 1474912 w 6884782"/>
              <a:gd name="connsiteY51910" fmla="*/ 1551774 h 5973007"/>
              <a:gd name="connsiteX51911" fmla="*/ 1821027 w 6884782"/>
              <a:gd name="connsiteY51911" fmla="*/ 1551309 h 5973007"/>
              <a:gd name="connsiteX51912" fmla="*/ 1832592 w 6884782"/>
              <a:gd name="connsiteY51912" fmla="*/ 1570981 h 5973007"/>
              <a:gd name="connsiteX51913" fmla="*/ 1812354 w 6884782"/>
              <a:gd name="connsiteY51913" fmla="*/ 1559208 h 5973007"/>
              <a:gd name="connsiteX51914" fmla="*/ 1821027 w 6884782"/>
              <a:gd name="connsiteY51914" fmla="*/ 1551309 h 5973007"/>
              <a:gd name="connsiteX51915" fmla="*/ 3847104 w 6884782"/>
              <a:gd name="connsiteY51915" fmla="*/ 1551300 h 5973007"/>
              <a:gd name="connsiteX51916" fmla="*/ 3848811 w 6884782"/>
              <a:gd name="connsiteY51916" fmla="*/ 1556991 h 5973007"/>
              <a:gd name="connsiteX51917" fmla="*/ 3843903 w 6884782"/>
              <a:gd name="connsiteY51917" fmla="*/ 1557702 h 5973007"/>
              <a:gd name="connsiteX51918" fmla="*/ 3841769 w 6884782"/>
              <a:gd name="connsiteY51918" fmla="*/ 1554857 h 5973007"/>
              <a:gd name="connsiteX51919" fmla="*/ 3842836 w 6884782"/>
              <a:gd name="connsiteY51919" fmla="*/ 1554430 h 5973007"/>
              <a:gd name="connsiteX51920" fmla="*/ 3847104 w 6884782"/>
              <a:gd name="connsiteY51920" fmla="*/ 1551300 h 5973007"/>
              <a:gd name="connsiteX51921" fmla="*/ 4091470 w 6884782"/>
              <a:gd name="connsiteY51921" fmla="*/ 1550731 h 5973007"/>
              <a:gd name="connsiteX51922" fmla="*/ 4089122 w 6884782"/>
              <a:gd name="connsiteY51922" fmla="*/ 1562112 h 5973007"/>
              <a:gd name="connsiteX51923" fmla="*/ 4091470 w 6884782"/>
              <a:gd name="connsiteY51923" fmla="*/ 1550731 h 5973007"/>
              <a:gd name="connsiteX51924" fmla="*/ 3629203 w 6884782"/>
              <a:gd name="connsiteY51924" fmla="*/ 1550304 h 5973007"/>
              <a:gd name="connsiteX51925" fmla="*/ 3634324 w 6884782"/>
              <a:gd name="connsiteY51925" fmla="*/ 1553861 h 5973007"/>
              <a:gd name="connsiteX51926" fmla="*/ 3633898 w 6884782"/>
              <a:gd name="connsiteY51926" fmla="*/ 1556706 h 5973007"/>
              <a:gd name="connsiteX51927" fmla="*/ 3632831 w 6884782"/>
              <a:gd name="connsiteY51927" fmla="*/ 1557417 h 5973007"/>
              <a:gd name="connsiteX51928" fmla="*/ 3628989 w 6884782"/>
              <a:gd name="connsiteY51928" fmla="*/ 1559978 h 5973007"/>
              <a:gd name="connsiteX51929" fmla="*/ 3624294 w 6884782"/>
              <a:gd name="connsiteY51929" fmla="*/ 1556137 h 5973007"/>
              <a:gd name="connsiteX51930" fmla="*/ 3629203 w 6884782"/>
              <a:gd name="connsiteY51930" fmla="*/ 1550304 h 5973007"/>
              <a:gd name="connsiteX51931" fmla="*/ 3533804 w 6884782"/>
              <a:gd name="connsiteY51931" fmla="*/ 1549877 h 5973007"/>
              <a:gd name="connsiteX51932" fmla="*/ 3538073 w 6884782"/>
              <a:gd name="connsiteY51932" fmla="*/ 1552296 h 5973007"/>
              <a:gd name="connsiteX51933" fmla="*/ 3537646 w 6884782"/>
              <a:gd name="connsiteY51933" fmla="*/ 1555995 h 5973007"/>
              <a:gd name="connsiteX51934" fmla="*/ 3533804 w 6884782"/>
              <a:gd name="connsiteY51934" fmla="*/ 1549877 h 5973007"/>
              <a:gd name="connsiteX51935" fmla="*/ 6110634 w 6884782"/>
              <a:gd name="connsiteY51935" fmla="*/ 1549593 h 5973007"/>
              <a:gd name="connsiteX51936" fmla="*/ 6112768 w 6884782"/>
              <a:gd name="connsiteY51936" fmla="*/ 1550020 h 5973007"/>
              <a:gd name="connsiteX51937" fmla="*/ 6113835 w 6884782"/>
              <a:gd name="connsiteY51937" fmla="*/ 1552438 h 5973007"/>
              <a:gd name="connsiteX51938" fmla="*/ 6113409 w 6884782"/>
              <a:gd name="connsiteY51938" fmla="*/ 1557275 h 5973007"/>
              <a:gd name="connsiteX51939" fmla="*/ 6110634 w 6884782"/>
              <a:gd name="connsiteY51939" fmla="*/ 1559551 h 5973007"/>
              <a:gd name="connsiteX51940" fmla="*/ 6108500 w 6884782"/>
              <a:gd name="connsiteY51940" fmla="*/ 1558414 h 5973007"/>
              <a:gd name="connsiteX51941" fmla="*/ 6106366 w 6884782"/>
              <a:gd name="connsiteY51941" fmla="*/ 1558414 h 5973007"/>
              <a:gd name="connsiteX51942" fmla="*/ 6106366 w 6884782"/>
              <a:gd name="connsiteY51942" fmla="*/ 1557133 h 5973007"/>
              <a:gd name="connsiteX51943" fmla="*/ 6105512 w 6884782"/>
              <a:gd name="connsiteY51943" fmla="*/ 1555995 h 5973007"/>
              <a:gd name="connsiteX51944" fmla="*/ 6108073 w 6884782"/>
              <a:gd name="connsiteY51944" fmla="*/ 1551015 h 5973007"/>
              <a:gd name="connsiteX51945" fmla="*/ 6110634 w 6884782"/>
              <a:gd name="connsiteY51945" fmla="*/ 1549593 h 5973007"/>
              <a:gd name="connsiteX51946" fmla="*/ 4551390 w 6884782"/>
              <a:gd name="connsiteY51946" fmla="*/ 1549450 h 5973007"/>
              <a:gd name="connsiteX51947" fmla="*/ 4555018 w 6884782"/>
              <a:gd name="connsiteY51947" fmla="*/ 1551442 h 5973007"/>
              <a:gd name="connsiteX51948" fmla="*/ 4556298 w 6884782"/>
              <a:gd name="connsiteY51948" fmla="*/ 1554857 h 5973007"/>
              <a:gd name="connsiteX51949" fmla="*/ 4550749 w 6884782"/>
              <a:gd name="connsiteY51949" fmla="*/ 1558698 h 5973007"/>
              <a:gd name="connsiteX51950" fmla="*/ 4548828 w 6884782"/>
              <a:gd name="connsiteY51950" fmla="*/ 1549593 h 5973007"/>
              <a:gd name="connsiteX51951" fmla="*/ 4551390 w 6884782"/>
              <a:gd name="connsiteY51951" fmla="*/ 1549450 h 5973007"/>
              <a:gd name="connsiteX51952" fmla="*/ 1122705 w 6884782"/>
              <a:gd name="connsiteY51952" fmla="*/ 1549295 h 5973007"/>
              <a:gd name="connsiteX51953" fmla="*/ 1128074 w 6884782"/>
              <a:gd name="connsiteY51953" fmla="*/ 1549915 h 5973007"/>
              <a:gd name="connsiteX51954" fmla="*/ 1127868 w 6884782"/>
              <a:gd name="connsiteY51954" fmla="*/ 1553632 h 5973007"/>
              <a:gd name="connsiteX51955" fmla="*/ 1122499 w 6884782"/>
              <a:gd name="connsiteY51955" fmla="*/ 1553013 h 5973007"/>
              <a:gd name="connsiteX51956" fmla="*/ 1122705 w 6884782"/>
              <a:gd name="connsiteY51956" fmla="*/ 1549295 h 5973007"/>
              <a:gd name="connsiteX51957" fmla="*/ 4019974 w 6884782"/>
              <a:gd name="connsiteY51957" fmla="*/ 1549166 h 5973007"/>
              <a:gd name="connsiteX51958" fmla="*/ 4021895 w 6884782"/>
              <a:gd name="connsiteY51958" fmla="*/ 1550589 h 5973007"/>
              <a:gd name="connsiteX51959" fmla="*/ 4025950 w 6884782"/>
              <a:gd name="connsiteY51959" fmla="*/ 1554145 h 5973007"/>
              <a:gd name="connsiteX51960" fmla="*/ 4018267 w 6884782"/>
              <a:gd name="connsiteY51960" fmla="*/ 1549593 h 5973007"/>
              <a:gd name="connsiteX51961" fmla="*/ 4019974 w 6884782"/>
              <a:gd name="connsiteY51961" fmla="*/ 1549166 h 5973007"/>
              <a:gd name="connsiteX51962" fmla="*/ 1329863 w 6884782"/>
              <a:gd name="connsiteY51962" fmla="*/ 1549024 h 5973007"/>
              <a:gd name="connsiteX51963" fmla="*/ 1334897 w 6884782"/>
              <a:gd name="connsiteY51963" fmla="*/ 1549450 h 5973007"/>
              <a:gd name="connsiteX51964" fmla="*/ 1325294 w 6884782"/>
              <a:gd name="connsiteY51964" fmla="*/ 1556885 h 5973007"/>
              <a:gd name="connsiteX51965" fmla="*/ 1325603 w 6884782"/>
              <a:gd name="connsiteY51965" fmla="*/ 1551618 h 5973007"/>
              <a:gd name="connsiteX51966" fmla="*/ 1329863 w 6884782"/>
              <a:gd name="connsiteY51966" fmla="*/ 1549024 h 5973007"/>
              <a:gd name="connsiteX51967" fmla="*/ 1294420 w 6884782"/>
              <a:gd name="connsiteY51967" fmla="*/ 1548676 h 5973007"/>
              <a:gd name="connsiteX51968" fmla="*/ 1295659 w 6884782"/>
              <a:gd name="connsiteY51968" fmla="*/ 1548830 h 5973007"/>
              <a:gd name="connsiteX51969" fmla="*/ 1296176 w 6884782"/>
              <a:gd name="connsiteY51969" fmla="*/ 1551309 h 5973007"/>
              <a:gd name="connsiteX51970" fmla="*/ 1291529 w 6884782"/>
              <a:gd name="connsiteY51970" fmla="*/ 1550689 h 5973007"/>
              <a:gd name="connsiteX51971" fmla="*/ 1289567 w 6884782"/>
              <a:gd name="connsiteY51971" fmla="*/ 1550999 h 5973007"/>
              <a:gd name="connsiteX51972" fmla="*/ 1290600 w 6884782"/>
              <a:gd name="connsiteY51972" fmla="*/ 1549295 h 5973007"/>
              <a:gd name="connsiteX51973" fmla="*/ 1293388 w 6884782"/>
              <a:gd name="connsiteY51973" fmla="*/ 1550380 h 5973007"/>
              <a:gd name="connsiteX51974" fmla="*/ 1294420 w 6884782"/>
              <a:gd name="connsiteY51974" fmla="*/ 1548676 h 5973007"/>
              <a:gd name="connsiteX51975" fmla="*/ 4217387 w 6884782"/>
              <a:gd name="connsiteY51975" fmla="*/ 1548597 h 5973007"/>
              <a:gd name="connsiteX51976" fmla="*/ 4223577 w 6884782"/>
              <a:gd name="connsiteY51976" fmla="*/ 1554288 h 5973007"/>
              <a:gd name="connsiteX51977" fmla="*/ 4225711 w 6884782"/>
              <a:gd name="connsiteY51977" fmla="*/ 1558983 h 5973007"/>
              <a:gd name="connsiteX51978" fmla="*/ 4225284 w 6884782"/>
              <a:gd name="connsiteY51978" fmla="*/ 1564104 h 5973007"/>
              <a:gd name="connsiteX51979" fmla="*/ 4224644 w 6884782"/>
              <a:gd name="connsiteY51979" fmla="*/ 1572214 h 5973007"/>
              <a:gd name="connsiteX51980" fmla="*/ 4218882 w 6884782"/>
              <a:gd name="connsiteY51980" fmla="*/ 1572498 h 5973007"/>
              <a:gd name="connsiteX51981" fmla="*/ 4213546 w 6884782"/>
              <a:gd name="connsiteY51981" fmla="*/ 1550304 h 5973007"/>
              <a:gd name="connsiteX51982" fmla="*/ 4217387 w 6884782"/>
              <a:gd name="connsiteY51982" fmla="*/ 1548597 h 5973007"/>
              <a:gd name="connsiteX51983" fmla="*/ 5717729 w 6884782"/>
              <a:gd name="connsiteY51983" fmla="*/ 1548455 h 5973007"/>
              <a:gd name="connsiteX51984" fmla="*/ 5710045 w 6884782"/>
              <a:gd name="connsiteY51984" fmla="*/ 1555426 h 5973007"/>
              <a:gd name="connsiteX51985" fmla="*/ 5717729 w 6884782"/>
              <a:gd name="connsiteY51985" fmla="*/ 1548455 h 5973007"/>
              <a:gd name="connsiteX51986" fmla="*/ 1489161 w 6884782"/>
              <a:gd name="connsiteY51986" fmla="*/ 1547901 h 5973007"/>
              <a:gd name="connsiteX51987" fmla="*/ 1491227 w 6884782"/>
              <a:gd name="connsiteY51987" fmla="*/ 1548676 h 5973007"/>
              <a:gd name="connsiteX51988" fmla="*/ 1489678 w 6884782"/>
              <a:gd name="connsiteY51988" fmla="*/ 1552858 h 5973007"/>
              <a:gd name="connsiteX51989" fmla="*/ 1481521 w 6884782"/>
              <a:gd name="connsiteY51989" fmla="*/ 1554872 h 5973007"/>
              <a:gd name="connsiteX51990" fmla="*/ 1482037 w 6884782"/>
              <a:gd name="connsiteY51990" fmla="*/ 1551464 h 5973007"/>
              <a:gd name="connsiteX51991" fmla="*/ 1489161 w 6884782"/>
              <a:gd name="connsiteY51991" fmla="*/ 1547901 h 5973007"/>
              <a:gd name="connsiteX51992" fmla="*/ 3531883 w 6884782"/>
              <a:gd name="connsiteY51992" fmla="*/ 1547743 h 5973007"/>
              <a:gd name="connsiteX51993" fmla="*/ 3533164 w 6884782"/>
              <a:gd name="connsiteY51993" fmla="*/ 1549450 h 5973007"/>
              <a:gd name="connsiteX51994" fmla="*/ 3532523 w 6884782"/>
              <a:gd name="connsiteY51994" fmla="*/ 1550304 h 5973007"/>
              <a:gd name="connsiteX51995" fmla="*/ 3530816 w 6884782"/>
              <a:gd name="connsiteY51995" fmla="*/ 1548170 h 5973007"/>
              <a:gd name="connsiteX51996" fmla="*/ 3531883 w 6884782"/>
              <a:gd name="connsiteY51996" fmla="*/ 1547743 h 5973007"/>
              <a:gd name="connsiteX51997" fmla="*/ 5192929 w 6884782"/>
              <a:gd name="connsiteY51997" fmla="*/ 1546605 h 5973007"/>
              <a:gd name="connsiteX51998" fmla="*/ 5198051 w 6884782"/>
              <a:gd name="connsiteY51998" fmla="*/ 1546890 h 5973007"/>
              <a:gd name="connsiteX51999" fmla="*/ 5197198 w 6884782"/>
              <a:gd name="connsiteY51999" fmla="*/ 1554288 h 5973007"/>
              <a:gd name="connsiteX52000" fmla="*/ 5192076 w 6884782"/>
              <a:gd name="connsiteY52000" fmla="*/ 1554003 h 5973007"/>
              <a:gd name="connsiteX52001" fmla="*/ 5192929 w 6884782"/>
              <a:gd name="connsiteY52001" fmla="*/ 1546605 h 5973007"/>
              <a:gd name="connsiteX52002" fmla="*/ 4258151 w 6884782"/>
              <a:gd name="connsiteY52002" fmla="*/ 1546036 h 5973007"/>
              <a:gd name="connsiteX52003" fmla="*/ 4266261 w 6884782"/>
              <a:gd name="connsiteY52003" fmla="*/ 1556279 h 5973007"/>
              <a:gd name="connsiteX52004" fmla="*/ 4258151 w 6884782"/>
              <a:gd name="connsiteY52004" fmla="*/ 1555426 h 5973007"/>
              <a:gd name="connsiteX52005" fmla="*/ 4253669 w 6884782"/>
              <a:gd name="connsiteY52005" fmla="*/ 1546605 h 5973007"/>
              <a:gd name="connsiteX52006" fmla="*/ 4258151 w 6884782"/>
              <a:gd name="connsiteY52006" fmla="*/ 1546036 h 5973007"/>
              <a:gd name="connsiteX52007" fmla="*/ 5493851 w 6884782"/>
              <a:gd name="connsiteY52007" fmla="*/ 1545609 h 5973007"/>
              <a:gd name="connsiteX52008" fmla="*/ 5501534 w 6884782"/>
              <a:gd name="connsiteY52008" fmla="*/ 1560121 h 5973007"/>
              <a:gd name="connsiteX52009" fmla="*/ 5489796 w 6884782"/>
              <a:gd name="connsiteY52009" fmla="*/ 1558414 h 5973007"/>
              <a:gd name="connsiteX52010" fmla="*/ 5493851 w 6884782"/>
              <a:gd name="connsiteY52010" fmla="*/ 1545609 h 5973007"/>
              <a:gd name="connsiteX52011" fmla="*/ 5166465 w 6884782"/>
              <a:gd name="connsiteY52011" fmla="*/ 1545183 h 5973007"/>
              <a:gd name="connsiteX52012" fmla="*/ 5184819 w 6884782"/>
              <a:gd name="connsiteY52012" fmla="*/ 1546320 h 5973007"/>
              <a:gd name="connsiteX52013" fmla="*/ 5187167 w 6884782"/>
              <a:gd name="connsiteY52013" fmla="*/ 1548739 h 5973007"/>
              <a:gd name="connsiteX52014" fmla="*/ 5188448 w 6884782"/>
              <a:gd name="connsiteY52014" fmla="*/ 1548881 h 5973007"/>
              <a:gd name="connsiteX52015" fmla="*/ 5189728 w 6884782"/>
              <a:gd name="connsiteY52015" fmla="*/ 1551300 h 5973007"/>
              <a:gd name="connsiteX52016" fmla="*/ 5182898 w 6884782"/>
              <a:gd name="connsiteY52016" fmla="*/ 1552296 h 5973007"/>
              <a:gd name="connsiteX52017" fmla="*/ 5177136 w 6884782"/>
              <a:gd name="connsiteY52017" fmla="*/ 1552011 h 5973007"/>
              <a:gd name="connsiteX52018" fmla="*/ 5158568 w 6884782"/>
              <a:gd name="connsiteY52018" fmla="*/ 1546320 h 5973007"/>
              <a:gd name="connsiteX52019" fmla="*/ 5166465 w 6884782"/>
              <a:gd name="connsiteY52019" fmla="*/ 1545183 h 5973007"/>
              <a:gd name="connsiteX52020" fmla="*/ 5858372 w 6884782"/>
              <a:gd name="connsiteY52020" fmla="*/ 1544898 h 5973007"/>
              <a:gd name="connsiteX52021" fmla="*/ 5859226 w 6884782"/>
              <a:gd name="connsiteY52021" fmla="*/ 1545894 h 5973007"/>
              <a:gd name="connsiteX52022" fmla="*/ 5857092 w 6884782"/>
              <a:gd name="connsiteY52022" fmla="*/ 1545894 h 5973007"/>
              <a:gd name="connsiteX52023" fmla="*/ 5858372 w 6884782"/>
              <a:gd name="connsiteY52023" fmla="*/ 1544898 h 5973007"/>
              <a:gd name="connsiteX52024" fmla="*/ 4000767 w 6884782"/>
              <a:gd name="connsiteY52024" fmla="*/ 1544471 h 5973007"/>
              <a:gd name="connsiteX52025" fmla="*/ 4007596 w 6884782"/>
              <a:gd name="connsiteY52025" fmla="*/ 1546036 h 5973007"/>
              <a:gd name="connsiteX52026" fmla="*/ 3999913 w 6884782"/>
              <a:gd name="connsiteY52026" fmla="*/ 1552438 h 5973007"/>
              <a:gd name="connsiteX52027" fmla="*/ 4000767 w 6884782"/>
              <a:gd name="connsiteY52027" fmla="*/ 1544471 h 5973007"/>
              <a:gd name="connsiteX52028" fmla="*/ 3980705 w 6884782"/>
              <a:gd name="connsiteY52028" fmla="*/ 1544471 h 5973007"/>
              <a:gd name="connsiteX52029" fmla="*/ 3983053 w 6884782"/>
              <a:gd name="connsiteY52029" fmla="*/ 1546178 h 5973007"/>
              <a:gd name="connsiteX52030" fmla="*/ 3985827 w 6884782"/>
              <a:gd name="connsiteY52030" fmla="*/ 1550589 h 5973007"/>
              <a:gd name="connsiteX52031" fmla="*/ 3985614 w 6884782"/>
              <a:gd name="connsiteY52031" fmla="*/ 1552011 h 5973007"/>
              <a:gd name="connsiteX52032" fmla="*/ 3986467 w 6884782"/>
              <a:gd name="connsiteY52032" fmla="*/ 1551015 h 5973007"/>
              <a:gd name="connsiteX52033" fmla="*/ 3991162 w 6884782"/>
              <a:gd name="connsiteY52033" fmla="*/ 1550873 h 5973007"/>
              <a:gd name="connsiteX52034" fmla="*/ 3994150 w 6884782"/>
              <a:gd name="connsiteY52034" fmla="*/ 1552438 h 5973007"/>
              <a:gd name="connsiteX52035" fmla="*/ 3995217 w 6884782"/>
              <a:gd name="connsiteY52035" fmla="*/ 1556279 h 5973007"/>
              <a:gd name="connsiteX52036" fmla="*/ 3994364 w 6884782"/>
              <a:gd name="connsiteY52036" fmla="*/ 1559551 h 5973007"/>
              <a:gd name="connsiteX52037" fmla="*/ 3988175 w 6884782"/>
              <a:gd name="connsiteY52037" fmla="*/ 1563393 h 5973007"/>
              <a:gd name="connsiteX52038" fmla="*/ 3985827 w 6884782"/>
              <a:gd name="connsiteY52038" fmla="*/ 1560690 h 5973007"/>
              <a:gd name="connsiteX52039" fmla="*/ 3984546 w 6884782"/>
              <a:gd name="connsiteY52039" fmla="*/ 1562397 h 5973007"/>
              <a:gd name="connsiteX52040" fmla="*/ 3983053 w 6884782"/>
              <a:gd name="connsiteY52040" fmla="*/ 1563535 h 5973007"/>
              <a:gd name="connsiteX52041" fmla="*/ 3979638 w 6884782"/>
              <a:gd name="connsiteY52041" fmla="*/ 1558271 h 5973007"/>
              <a:gd name="connsiteX52042" fmla="*/ 3981986 w 6884782"/>
              <a:gd name="connsiteY52042" fmla="*/ 1557417 h 5973007"/>
              <a:gd name="connsiteX52043" fmla="*/ 3984120 w 6884782"/>
              <a:gd name="connsiteY52043" fmla="*/ 1556849 h 5973007"/>
              <a:gd name="connsiteX52044" fmla="*/ 3983479 w 6884782"/>
              <a:gd name="connsiteY52044" fmla="*/ 1554430 h 5973007"/>
              <a:gd name="connsiteX52045" fmla="*/ 3982626 w 6884782"/>
              <a:gd name="connsiteY52045" fmla="*/ 1554572 h 5973007"/>
              <a:gd name="connsiteX52046" fmla="*/ 3982626 w 6884782"/>
              <a:gd name="connsiteY52046" fmla="*/ 1555852 h 5973007"/>
              <a:gd name="connsiteX52047" fmla="*/ 3980278 w 6884782"/>
              <a:gd name="connsiteY52047" fmla="*/ 1554288 h 5973007"/>
              <a:gd name="connsiteX52048" fmla="*/ 3977290 w 6884782"/>
              <a:gd name="connsiteY52048" fmla="*/ 1545183 h 5973007"/>
              <a:gd name="connsiteX52049" fmla="*/ 3980705 w 6884782"/>
              <a:gd name="connsiteY52049" fmla="*/ 1544471 h 5973007"/>
              <a:gd name="connsiteX52050" fmla="*/ 5248845 w 6884782"/>
              <a:gd name="connsiteY52050" fmla="*/ 1544186 h 5973007"/>
              <a:gd name="connsiteX52051" fmla="*/ 5263145 w 6884782"/>
              <a:gd name="connsiteY52051" fmla="*/ 1555568 h 5973007"/>
              <a:gd name="connsiteX52052" fmla="*/ 5253967 w 6884782"/>
              <a:gd name="connsiteY52052" fmla="*/ 1560121 h 5973007"/>
              <a:gd name="connsiteX52053" fmla="*/ 5247778 w 6884782"/>
              <a:gd name="connsiteY52053" fmla="*/ 1556849 h 5973007"/>
              <a:gd name="connsiteX52054" fmla="*/ 5243510 w 6884782"/>
              <a:gd name="connsiteY52054" fmla="*/ 1546320 h 5973007"/>
              <a:gd name="connsiteX52055" fmla="*/ 5248845 w 6884782"/>
              <a:gd name="connsiteY52055" fmla="*/ 1544186 h 5973007"/>
              <a:gd name="connsiteX52056" fmla="*/ 1900225 w 6884782"/>
              <a:gd name="connsiteY52056" fmla="*/ 1543874 h 5973007"/>
              <a:gd name="connsiteX52057" fmla="*/ 1916333 w 6884782"/>
              <a:gd name="connsiteY52057" fmla="*/ 1564475 h 5973007"/>
              <a:gd name="connsiteX52058" fmla="*/ 1915816 w 6884782"/>
              <a:gd name="connsiteY52058" fmla="*/ 1554717 h 5973007"/>
              <a:gd name="connsiteX52059" fmla="*/ 1920669 w 6884782"/>
              <a:gd name="connsiteY52059" fmla="*/ 1557505 h 5973007"/>
              <a:gd name="connsiteX52060" fmla="*/ 1921186 w 6884782"/>
              <a:gd name="connsiteY52060" fmla="*/ 1557659 h 5973007"/>
              <a:gd name="connsiteX52061" fmla="*/ 1921805 w 6884782"/>
              <a:gd name="connsiteY52061" fmla="*/ 1556420 h 5973007"/>
              <a:gd name="connsiteX52062" fmla="*/ 1925006 w 6884782"/>
              <a:gd name="connsiteY52062" fmla="*/ 1558434 h 5973007"/>
              <a:gd name="connsiteX52063" fmla="*/ 1920669 w 6884782"/>
              <a:gd name="connsiteY52063" fmla="*/ 1554097 h 5973007"/>
              <a:gd name="connsiteX52064" fmla="*/ 1909931 w 6884782"/>
              <a:gd name="connsiteY52064" fmla="*/ 1551929 h 5973007"/>
              <a:gd name="connsiteX52065" fmla="*/ 1906110 w 6884782"/>
              <a:gd name="connsiteY52065" fmla="*/ 1544958 h 5973007"/>
              <a:gd name="connsiteX52066" fmla="*/ 1900225 w 6884782"/>
              <a:gd name="connsiteY52066" fmla="*/ 1543874 h 5973007"/>
              <a:gd name="connsiteX52067" fmla="*/ 1279655 w 6884782"/>
              <a:gd name="connsiteY52067" fmla="*/ 1543874 h 5973007"/>
              <a:gd name="connsiteX52068" fmla="*/ 1281616 w 6884782"/>
              <a:gd name="connsiteY52068" fmla="*/ 1544958 h 5973007"/>
              <a:gd name="connsiteX52069" fmla="*/ 1283785 w 6884782"/>
              <a:gd name="connsiteY52069" fmla="*/ 1545113 h 5973007"/>
              <a:gd name="connsiteX52070" fmla="*/ 1289774 w 6884782"/>
              <a:gd name="connsiteY52070" fmla="*/ 1545578 h 5973007"/>
              <a:gd name="connsiteX52071" fmla="*/ 1289980 w 6884782"/>
              <a:gd name="connsiteY52071" fmla="*/ 1549760 h 5973007"/>
              <a:gd name="connsiteX52072" fmla="*/ 1288018 w 6884782"/>
              <a:gd name="connsiteY52072" fmla="*/ 1550999 h 5973007"/>
              <a:gd name="connsiteX52073" fmla="*/ 1288948 w 6884782"/>
              <a:gd name="connsiteY52073" fmla="*/ 1553322 h 5973007"/>
              <a:gd name="connsiteX52074" fmla="*/ 1289774 w 6884782"/>
              <a:gd name="connsiteY52074" fmla="*/ 1553632 h 5973007"/>
              <a:gd name="connsiteX52075" fmla="*/ 1291219 w 6884782"/>
              <a:gd name="connsiteY52075" fmla="*/ 1556730 h 5973007"/>
              <a:gd name="connsiteX52076" fmla="*/ 1292768 w 6884782"/>
              <a:gd name="connsiteY52076" fmla="*/ 1564165 h 5973007"/>
              <a:gd name="connsiteX52077" fmla="*/ 1291529 w 6884782"/>
              <a:gd name="connsiteY52077" fmla="*/ 1564010 h 5973007"/>
              <a:gd name="connsiteX52078" fmla="*/ 1289154 w 6884782"/>
              <a:gd name="connsiteY52078" fmla="*/ 1558589 h 5973007"/>
              <a:gd name="connsiteX52079" fmla="*/ 1288638 w 6884782"/>
              <a:gd name="connsiteY52079" fmla="*/ 1556730 h 5973007"/>
              <a:gd name="connsiteX52080" fmla="*/ 1288018 w 6884782"/>
              <a:gd name="connsiteY52080" fmla="*/ 1560448 h 5973007"/>
              <a:gd name="connsiteX52081" fmla="*/ 1283578 w 6884782"/>
              <a:gd name="connsiteY52081" fmla="*/ 1566024 h 5973007"/>
              <a:gd name="connsiteX52082" fmla="*/ 1263443 w 6884782"/>
              <a:gd name="connsiteY52082" fmla="*/ 1564940 h 5973007"/>
              <a:gd name="connsiteX52083" fmla="*/ 1272943 w 6884782"/>
              <a:gd name="connsiteY52083" fmla="*/ 1544958 h 5973007"/>
              <a:gd name="connsiteX52084" fmla="*/ 1279655 w 6884782"/>
              <a:gd name="connsiteY52084" fmla="*/ 1543874 h 5973007"/>
              <a:gd name="connsiteX52085" fmla="*/ 1438566 w 6884782"/>
              <a:gd name="connsiteY52085" fmla="*/ 1543719 h 5973007"/>
              <a:gd name="connsiteX52086" fmla="*/ 1446310 w 6884782"/>
              <a:gd name="connsiteY52086" fmla="*/ 1555336 h 5973007"/>
              <a:gd name="connsiteX52087" fmla="*/ 1441457 w 6884782"/>
              <a:gd name="connsiteY52087" fmla="*/ 1557350 h 5973007"/>
              <a:gd name="connsiteX52088" fmla="*/ 1436914 w 6884782"/>
              <a:gd name="connsiteY52088" fmla="*/ 1546662 h 5973007"/>
              <a:gd name="connsiteX52089" fmla="*/ 1438566 w 6884782"/>
              <a:gd name="connsiteY52089" fmla="*/ 1543719 h 5973007"/>
              <a:gd name="connsiteX52090" fmla="*/ 5521809 w 6884782"/>
              <a:gd name="connsiteY52090" fmla="*/ 1543618 h 5973007"/>
              <a:gd name="connsiteX52091" fmla="*/ 5529065 w 6884782"/>
              <a:gd name="connsiteY52091" fmla="*/ 1543902 h 5973007"/>
              <a:gd name="connsiteX52092" fmla="*/ 5526077 w 6884782"/>
              <a:gd name="connsiteY52092" fmla="*/ 1558414 h 5973007"/>
              <a:gd name="connsiteX52093" fmla="*/ 5521169 w 6884782"/>
              <a:gd name="connsiteY52093" fmla="*/ 1558414 h 5973007"/>
              <a:gd name="connsiteX52094" fmla="*/ 5521809 w 6884782"/>
              <a:gd name="connsiteY52094" fmla="*/ 1543618 h 5973007"/>
              <a:gd name="connsiteX52095" fmla="*/ 5281499 w 6884782"/>
              <a:gd name="connsiteY52095" fmla="*/ 1543048 h 5973007"/>
              <a:gd name="connsiteX52096" fmla="*/ 5293450 w 6884782"/>
              <a:gd name="connsiteY52096" fmla="*/ 1546178 h 5973007"/>
              <a:gd name="connsiteX52097" fmla="*/ 5281925 w 6884782"/>
              <a:gd name="connsiteY52097" fmla="*/ 1557702 h 5973007"/>
              <a:gd name="connsiteX52098" fmla="*/ 5278511 w 6884782"/>
              <a:gd name="connsiteY52098" fmla="*/ 1553149 h 5973007"/>
              <a:gd name="connsiteX52099" fmla="*/ 5281499 w 6884782"/>
              <a:gd name="connsiteY52099" fmla="*/ 1543048 h 5973007"/>
              <a:gd name="connsiteX52100" fmla="*/ 3975583 w 6884782"/>
              <a:gd name="connsiteY52100" fmla="*/ 1542764 h 5973007"/>
              <a:gd name="connsiteX52101" fmla="*/ 3977077 w 6884782"/>
              <a:gd name="connsiteY52101" fmla="*/ 1542906 h 5973007"/>
              <a:gd name="connsiteX52102" fmla="*/ 3972595 w 6884782"/>
              <a:gd name="connsiteY52102" fmla="*/ 1546320 h 5973007"/>
              <a:gd name="connsiteX52103" fmla="*/ 3975583 w 6884782"/>
              <a:gd name="connsiteY52103" fmla="*/ 1542764 h 5973007"/>
              <a:gd name="connsiteX52104" fmla="*/ 5452448 w 6884782"/>
              <a:gd name="connsiteY52104" fmla="*/ 1542337 h 5973007"/>
              <a:gd name="connsiteX52105" fmla="*/ 5465466 w 6884782"/>
              <a:gd name="connsiteY52105" fmla="*/ 1554999 h 5973007"/>
              <a:gd name="connsiteX52106" fmla="*/ 5452448 w 6884782"/>
              <a:gd name="connsiteY52106" fmla="*/ 1542337 h 5973007"/>
              <a:gd name="connsiteX52107" fmla="*/ 1789637 w 6884782"/>
              <a:gd name="connsiteY52107" fmla="*/ 1541938 h 5973007"/>
              <a:gd name="connsiteX52108" fmla="*/ 1800995 w 6884782"/>
              <a:gd name="connsiteY52108" fmla="*/ 1547746 h 5973007"/>
              <a:gd name="connsiteX52109" fmla="*/ 1798001 w 6884782"/>
              <a:gd name="connsiteY52109" fmla="*/ 1552548 h 5973007"/>
              <a:gd name="connsiteX52110" fmla="*/ 1778589 w 6884782"/>
              <a:gd name="connsiteY52110" fmla="*/ 1547282 h 5973007"/>
              <a:gd name="connsiteX52111" fmla="*/ 1789637 w 6884782"/>
              <a:gd name="connsiteY52111" fmla="*/ 1541938 h 5973007"/>
              <a:gd name="connsiteX52112" fmla="*/ 3772621 w 6884782"/>
              <a:gd name="connsiteY52112" fmla="*/ 1541910 h 5973007"/>
              <a:gd name="connsiteX52113" fmla="*/ 3794603 w 6884782"/>
              <a:gd name="connsiteY52113" fmla="*/ 1555710 h 5973007"/>
              <a:gd name="connsiteX52114" fmla="*/ 3794816 w 6884782"/>
              <a:gd name="connsiteY52114" fmla="*/ 1560263 h 5973007"/>
              <a:gd name="connsiteX52115" fmla="*/ 3795670 w 6884782"/>
              <a:gd name="connsiteY52115" fmla="*/ 1560263 h 5973007"/>
              <a:gd name="connsiteX52116" fmla="*/ 3796737 w 6884782"/>
              <a:gd name="connsiteY52116" fmla="*/ 1560974 h 5973007"/>
              <a:gd name="connsiteX52117" fmla="*/ 3804847 w 6884782"/>
              <a:gd name="connsiteY52117" fmla="*/ 1558556 h 5973007"/>
              <a:gd name="connsiteX52118" fmla="*/ 3806982 w 6884782"/>
              <a:gd name="connsiteY52118" fmla="*/ 1559978 h 5973007"/>
              <a:gd name="connsiteX52119" fmla="*/ 3804420 w 6884782"/>
              <a:gd name="connsiteY52119" fmla="*/ 1562966 h 5973007"/>
              <a:gd name="connsiteX52120" fmla="*/ 3800792 w 6884782"/>
              <a:gd name="connsiteY52120" fmla="*/ 1561116 h 5973007"/>
              <a:gd name="connsiteX52121" fmla="*/ 3796311 w 6884782"/>
              <a:gd name="connsiteY52121" fmla="*/ 1562681 h 5973007"/>
              <a:gd name="connsiteX52122" fmla="*/ 3795030 w 6884782"/>
              <a:gd name="connsiteY52122" fmla="*/ 1562112 h 5973007"/>
              <a:gd name="connsiteX52123" fmla="*/ 3795030 w 6884782"/>
              <a:gd name="connsiteY52123" fmla="*/ 1563251 h 5973007"/>
              <a:gd name="connsiteX52124" fmla="*/ 3761096 w 6884782"/>
              <a:gd name="connsiteY52124" fmla="*/ 1552154 h 5973007"/>
              <a:gd name="connsiteX52125" fmla="*/ 3772621 w 6884782"/>
              <a:gd name="connsiteY52125" fmla="*/ 1541910 h 5973007"/>
              <a:gd name="connsiteX52126" fmla="*/ 3684265 w 6884782"/>
              <a:gd name="connsiteY52126" fmla="*/ 1541910 h 5973007"/>
              <a:gd name="connsiteX52127" fmla="*/ 3682344 w 6884782"/>
              <a:gd name="connsiteY52127" fmla="*/ 1542337 h 5973007"/>
              <a:gd name="connsiteX52128" fmla="*/ 3684478 w 6884782"/>
              <a:gd name="connsiteY52128" fmla="*/ 1542479 h 5973007"/>
              <a:gd name="connsiteX52129" fmla="*/ 3684478 w 6884782"/>
              <a:gd name="connsiteY52129" fmla="*/ 1542053 h 5973007"/>
              <a:gd name="connsiteX52130" fmla="*/ 1076343 w 6884782"/>
              <a:gd name="connsiteY52130" fmla="*/ 1541705 h 5973007"/>
              <a:gd name="connsiteX52131" fmla="*/ 1086875 w 6884782"/>
              <a:gd name="connsiteY52131" fmla="*/ 1550380 h 5973007"/>
              <a:gd name="connsiteX52132" fmla="*/ 1080164 w 6884782"/>
              <a:gd name="connsiteY52132" fmla="*/ 1553787 h 5973007"/>
              <a:gd name="connsiteX52133" fmla="*/ 1076240 w 6884782"/>
              <a:gd name="connsiteY52133" fmla="*/ 1544958 h 5973007"/>
              <a:gd name="connsiteX52134" fmla="*/ 1076343 w 6884782"/>
              <a:gd name="connsiteY52134" fmla="*/ 1541705 h 5973007"/>
              <a:gd name="connsiteX52135" fmla="*/ 5842365 w 6884782"/>
              <a:gd name="connsiteY52135" fmla="*/ 1541626 h 5973007"/>
              <a:gd name="connsiteX52136" fmla="*/ 5845780 w 6884782"/>
              <a:gd name="connsiteY52136" fmla="*/ 1550873 h 5973007"/>
              <a:gd name="connsiteX52137" fmla="*/ 5843646 w 6884782"/>
              <a:gd name="connsiteY52137" fmla="*/ 1552296 h 5973007"/>
              <a:gd name="connsiteX52138" fmla="*/ 5841085 w 6884782"/>
              <a:gd name="connsiteY52138" fmla="*/ 1550020 h 5973007"/>
              <a:gd name="connsiteX52139" fmla="*/ 5840232 w 6884782"/>
              <a:gd name="connsiteY52139" fmla="*/ 1542906 h 5973007"/>
              <a:gd name="connsiteX52140" fmla="*/ 5842365 w 6884782"/>
              <a:gd name="connsiteY52140" fmla="*/ 1541626 h 5973007"/>
              <a:gd name="connsiteX52141" fmla="*/ 1023579 w 6884782"/>
              <a:gd name="connsiteY52141" fmla="*/ 1541551 h 5973007"/>
              <a:gd name="connsiteX52142" fmla="*/ 1029981 w 6884782"/>
              <a:gd name="connsiteY52142" fmla="*/ 1542015 h 5973007"/>
              <a:gd name="connsiteX52143" fmla="*/ 1025644 w 6884782"/>
              <a:gd name="connsiteY52143" fmla="*/ 1551464 h 5973007"/>
              <a:gd name="connsiteX52144" fmla="*/ 1021514 w 6884782"/>
              <a:gd name="connsiteY52144" fmla="*/ 1547127 h 5973007"/>
              <a:gd name="connsiteX52145" fmla="*/ 1023579 w 6884782"/>
              <a:gd name="connsiteY52145" fmla="*/ 1541551 h 5973007"/>
              <a:gd name="connsiteX52146" fmla="*/ 3917533 w 6884782"/>
              <a:gd name="connsiteY52146" fmla="*/ 1541341 h 5973007"/>
              <a:gd name="connsiteX52147" fmla="*/ 3932899 w 6884782"/>
              <a:gd name="connsiteY52147" fmla="*/ 1557702 h 5973007"/>
              <a:gd name="connsiteX52148" fmla="*/ 3932472 w 6884782"/>
              <a:gd name="connsiteY52148" fmla="*/ 1558840 h 5973007"/>
              <a:gd name="connsiteX52149" fmla="*/ 3932686 w 6884782"/>
              <a:gd name="connsiteY52149" fmla="*/ 1560121 h 5973007"/>
              <a:gd name="connsiteX52150" fmla="*/ 3929271 w 6884782"/>
              <a:gd name="connsiteY52150" fmla="*/ 1566380 h 5973007"/>
              <a:gd name="connsiteX52151" fmla="*/ 3937808 w 6884782"/>
              <a:gd name="connsiteY52151" fmla="*/ 1585445 h 5973007"/>
              <a:gd name="connsiteX52152" fmla="*/ 3926923 w 6884782"/>
              <a:gd name="connsiteY52152" fmla="*/ 1590851 h 5973007"/>
              <a:gd name="connsiteX52153" fmla="*/ 3912411 w 6884782"/>
              <a:gd name="connsiteY52153" fmla="*/ 1575486 h 5973007"/>
              <a:gd name="connsiteX52154" fmla="*/ 3913478 w 6884782"/>
              <a:gd name="connsiteY52154" fmla="*/ 1574917 h 5973007"/>
              <a:gd name="connsiteX52155" fmla="*/ 3908142 w 6884782"/>
              <a:gd name="connsiteY52155" fmla="*/ 1570080 h 5973007"/>
              <a:gd name="connsiteX52156" fmla="*/ 3914118 w 6884782"/>
              <a:gd name="connsiteY52156" fmla="*/ 1562255 h 5973007"/>
              <a:gd name="connsiteX52157" fmla="*/ 3920734 w 6884782"/>
              <a:gd name="connsiteY52157" fmla="*/ 1559409 h 5973007"/>
              <a:gd name="connsiteX52158" fmla="*/ 3916039 w 6884782"/>
              <a:gd name="connsiteY52158" fmla="*/ 1555284 h 5973007"/>
              <a:gd name="connsiteX52159" fmla="*/ 3914545 w 6884782"/>
              <a:gd name="connsiteY52159" fmla="*/ 1543333 h 5973007"/>
              <a:gd name="connsiteX52160" fmla="*/ 3917533 w 6884782"/>
              <a:gd name="connsiteY52160" fmla="*/ 1541341 h 5973007"/>
              <a:gd name="connsiteX52161" fmla="*/ 1643220 w 6884782"/>
              <a:gd name="connsiteY52161" fmla="*/ 1541240 h 5973007"/>
              <a:gd name="connsiteX52162" fmla="*/ 1649105 w 6884782"/>
              <a:gd name="connsiteY52162" fmla="*/ 1548520 h 5973007"/>
              <a:gd name="connsiteX52163" fmla="*/ 1637644 w 6884782"/>
              <a:gd name="connsiteY52163" fmla="*/ 1548211 h 5973007"/>
              <a:gd name="connsiteX52164" fmla="*/ 1643220 w 6884782"/>
              <a:gd name="connsiteY52164" fmla="*/ 1541240 h 5973007"/>
              <a:gd name="connsiteX52165" fmla="*/ 5855598 w 6884782"/>
              <a:gd name="connsiteY52165" fmla="*/ 1541057 h 5973007"/>
              <a:gd name="connsiteX52166" fmla="*/ 5858586 w 6884782"/>
              <a:gd name="connsiteY52166" fmla="*/ 1542906 h 5973007"/>
              <a:gd name="connsiteX52167" fmla="*/ 5855598 w 6884782"/>
              <a:gd name="connsiteY52167" fmla="*/ 1546605 h 5973007"/>
              <a:gd name="connsiteX52168" fmla="*/ 5853890 w 6884782"/>
              <a:gd name="connsiteY52168" fmla="*/ 1542053 h 5973007"/>
              <a:gd name="connsiteX52169" fmla="*/ 5855598 w 6884782"/>
              <a:gd name="connsiteY52169" fmla="*/ 1541057 h 5973007"/>
              <a:gd name="connsiteX52170" fmla="*/ 3661216 w 6884782"/>
              <a:gd name="connsiteY52170" fmla="*/ 1540914 h 5973007"/>
              <a:gd name="connsiteX52171" fmla="*/ 3664204 w 6884782"/>
              <a:gd name="connsiteY52171" fmla="*/ 1541483 h 5973007"/>
              <a:gd name="connsiteX52172" fmla="*/ 3665271 w 6884782"/>
              <a:gd name="connsiteY52172" fmla="*/ 1557275 h 5973007"/>
              <a:gd name="connsiteX52173" fmla="*/ 3663137 w 6884782"/>
              <a:gd name="connsiteY52173" fmla="*/ 1559836 h 5973007"/>
              <a:gd name="connsiteX52174" fmla="*/ 3662497 w 6884782"/>
              <a:gd name="connsiteY52174" fmla="*/ 1562255 h 5973007"/>
              <a:gd name="connsiteX52175" fmla="*/ 3656093 w 6884782"/>
              <a:gd name="connsiteY52175" fmla="*/ 1566238 h 5973007"/>
              <a:gd name="connsiteX52176" fmla="*/ 3659722 w 6884782"/>
              <a:gd name="connsiteY52176" fmla="*/ 1543048 h 5973007"/>
              <a:gd name="connsiteX52177" fmla="*/ 3661216 w 6884782"/>
              <a:gd name="connsiteY52177" fmla="*/ 1540914 h 5973007"/>
              <a:gd name="connsiteX52178" fmla="*/ 3717985 w 6884782"/>
              <a:gd name="connsiteY52178" fmla="*/ 1540630 h 5973007"/>
              <a:gd name="connsiteX52179" fmla="*/ 3722680 w 6884782"/>
              <a:gd name="connsiteY52179" fmla="*/ 1543191 h 5973007"/>
              <a:gd name="connsiteX52180" fmla="*/ 3731218 w 6884782"/>
              <a:gd name="connsiteY52180" fmla="*/ 1552011 h 5973007"/>
              <a:gd name="connsiteX52181" fmla="*/ 3733565 w 6884782"/>
              <a:gd name="connsiteY52181" fmla="*/ 1553292 h 5973007"/>
              <a:gd name="connsiteX52182" fmla="*/ 3715638 w 6884782"/>
              <a:gd name="connsiteY52182" fmla="*/ 1542764 h 5973007"/>
              <a:gd name="connsiteX52183" fmla="*/ 3715424 w 6884782"/>
              <a:gd name="connsiteY52183" fmla="*/ 1541626 h 5973007"/>
              <a:gd name="connsiteX52184" fmla="*/ 3717985 w 6884782"/>
              <a:gd name="connsiteY52184" fmla="*/ 1540630 h 5973007"/>
              <a:gd name="connsiteX52185" fmla="*/ 6029108 w 6884782"/>
              <a:gd name="connsiteY52185" fmla="*/ 1539919 h 5973007"/>
              <a:gd name="connsiteX52186" fmla="*/ 6037858 w 6884782"/>
              <a:gd name="connsiteY52186" fmla="*/ 1543475 h 5973007"/>
              <a:gd name="connsiteX52187" fmla="*/ 6038498 w 6884782"/>
              <a:gd name="connsiteY52187" fmla="*/ 1550304 h 5973007"/>
              <a:gd name="connsiteX52188" fmla="*/ 6021211 w 6884782"/>
              <a:gd name="connsiteY52188" fmla="*/ 1548455 h 5973007"/>
              <a:gd name="connsiteX52189" fmla="*/ 6029108 w 6884782"/>
              <a:gd name="connsiteY52189" fmla="*/ 1539919 h 5973007"/>
              <a:gd name="connsiteX52190" fmla="*/ 5451167 w 6884782"/>
              <a:gd name="connsiteY52190" fmla="*/ 1539919 h 5973007"/>
              <a:gd name="connsiteX52191" fmla="*/ 5452448 w 6884782"/>
              <a:gd name="connsiteY52191" fmla="*/ 1542195 h 5973007"/>
              <a:gd name="connsiteX52192" fmla="*/ 5450954 w 6884782"/>
              <a:gd name="connsiteY52192" fmla="*/ 1542479 h 5973007"/>
              <a:gd name="connsiteX52193" fmla="*/ 5451167 w 6884782"/>
              <a:gd name="connsiteY52193" fmla="*/ 1539919 h 5973007"/>
              <a:gd name="connsiteX52194" fmla="*/ 3650118 w 6884782"/>
              <a:gd name="connsiteY52194" fmla="*/ 1539919 h 5973007"/>
              <a:gd name="connsiteX52195" fmla="*/ 3651612 w 6884782"/>
              <a:gd name="connsiteY52195" fmla="*/ 1550162 h 5973007"/>
              <a:gd name="connsiteX52196" fmla="*/ 3649264 w 6884782"/>
              <a:gd name="connsiteY52196" fmla="*/ 1541341 h 5973007"/>
              <a:gd name="connsiteX52197" fmla="*/ 3650118 w 6884782"/>
              <a:gd name="connsiteY52197" fmla="*/ 1539919 h 5973007"/>
              <a:gd name="connsiteX52198" fmla="*/ 5037987 w 6884782"/>
              <a:gd name="connsiteY52198" fmla="*/ 1539776 h 5973007"/>
              <a:gd name="connsiteX52199" fmla="*/ 5049298 w 6884782"/>
              <a:gd name="connsiteY52199" fmla="*/ 1541341 h 5973007"/>
              <a:gd name="connsiteX52200" fmla="*/ 5051646 w 6884782"/>
              <a:gd name="connsiteY52200" fmla="*/ 1541341 h 5973007"/>
              <a:gd name="connsiteX52201" fmla="*/ 5053993 w 6884782"/>
              <a:gd name="connsiteY52201" fmla="*/ 1543902 h 5973007"/>
              <a:gd name="connsiteX52202" fmla="*/ 5043749 w 6884782"/>
              <a:gd name="connsiteY52202" fmla="*/ 1544613 h 5973007"/>
              <a:gd name="connsiteX52203" fmla="*/ 5037987 w 6884782"/>
              <a:gd name="connsiteY52203" fmla="*/ 1544328 h 5973007"/>
              <a:gd name="connsiteX52204" fmla="*/ 5035425 w 6884782"/>
              <a:gd name="connsiteY52204" fmla="*/ 1541768 h 5973007"/>
              <a:gd name="connsiteX52205" fmla="*/ 5035425 w 6884782"/>
              <a:gd name="connsiteY52205" fmla="*/ 1540630 h 5973007"/>
              <a:gd name="connsiteX52206" fmla="*/ 5037987 w 6884782"/>
              <a:gd name="connsiteY52206" fmla="*/ 1539776 h 5973007"/>
              <a:gd name="connsiteX52207" fmla="*/ 5592025 w 6884782"/>
              <a:gd name="connsiteY52207" fmla="*/ 1538923 h 5973007"/>
              <a:gd name="connsiteX52208" fmla="*/ 5597787 w 6884782"/>
              <a:gd name="connsiteY52208" fmla="*/ 1539919 h 5973007"/>
              <a:gd name="connsiteX52209" fmla="*/ 5599708 w 6884782"/>
              <a:gd name="connsiteY52209" fmla="*/ 1545183 h 5973007"/>
              <a:gd name="connsiteX52210" fmla="*/ 5592025 w 6884782"/>
              <a:gd name="connsiteY52210" fmla="*/ 1538923 h 5973007"/>
              <a:gd name="connsiteX52211" fmla="*/ 5370708 w 6884782"/>
              <a:gd name="connsiteY52211" fmla="*/ 1538780 h 5973007"/>
              <a:gd name="connsiteX52212" fmla="*/ 5378818 w 6884782"/>
              <a:gd name="connsiteY52212" fmla="*/ 1541057 h 5973007"/>
              <a:gd name="connsiteX52213" fmla="*/ 5379671 w 6884782"/>
              <a:gd name="connsiteY52213" fmla="*/ 1546463 h 5973007"/>
              <a:gd name="connsiteX52214" fmla="*/ 5363452 w 6884782"/>
              <a:gd name="connsiteY52214" fmla="*/ 1544186 h 5973007"/>
              <a:gd name="connsiteX52215" fmla="*/ 5370708 w 6884782"/>
              <a:gd name="connsiteY52215" fmla="*/ 1538780 h 5973007"/>
              <a:gd name="connsiteX52216" fmla="*/ 1570527 w 6884782"/>
              <a:gd name="connsiteY52216" fmla="*/ 1538762 h 5973007"/>
              <a:gd name="connsiteX52217" fmla="*/ 1571044 w 6884782"/>
              <a:gd name="connsiteY52217" fmla="*/ 1540466 h 5973007"/>
              <a:gd name="connsiteX52218" fmla="*/ 1567223 w 6884782"/>
              <a:gd name="connsiteY52218" fmla="*/ 1542635 h 5973007"/>
              <a:gd name="connsiteX52219" fmla="*/ 1567017 w 6884782"/>
              <a:gd name="connsiteY52219" fmla="*/ 1543564 h 5973007"/>
              <a:gd name="connsiteX52220" fmla="*/ 1568462 w 6884782"/>
              <a:gd name="connsiteY52220" fmla="*/ 1545268 h 5973007"/>
              <a:gd name="connsiteX52221" fmla="*/ 1567120 w 6884782"/>
              <a:gd name="connsiteY52221" fmla="*/ 1553632 h 5973007"/>
              <a:gd name="connsiteX52222" fmla="*/ 1557207 w 6884782"/>
              <a:gd name="connsiteY52222" fmla="*/ 1555491 h 5973007"/>
              <a:gd name="connsiteX52223" fmla="*/ 1553284 w 6884782"/>
              <a:gd name="connsiteY52223" fmla="*/ 1552703 h 5973007"/>
              <a:gd name="connsiteX52224" fmla="*/ 1553077 w 6884782"/>
              <a:gd name="connsiteY52224" fmla="*/ 1548676 h 5973007"/>
              <a:gd name="connsiteX52225" fmla="*/ 1555762 w 6884782"/>
              <a:gd name="connsiteY52225" fmla="*/ 1542790 h 5973007"/>
              <a:gd name="connsiteX52226" fmla="*/ 1565571 w 6884782"/>
              <a:gd name="connsiteY52226" fmla="*/ 1541705 h 5973007"/>
              <a:gd name="connsiteX52227" fmla="*/ 1566707 w 6884782"/>
              <a:gd name="connsiteY52227" fmla="*/ 1540156 h 5973007"/>
              <a:gd name="connsiteX52228" fmla="*/ 1570527 w 6884782"/>
              <a:gd name="connsiteY52228" fmla="*/ 1538762 h 5973007"/>
              <a:gd name="connsiteX52229" fmla="*/ 5911941 w 6884782"/>
              <a:gd name="connsiteY52229" fmla="*/ 1538069 h 5973007"/>
              <a:gd name="connsiteX52230" fmla="*/ 5922612 w 6884782"/>
              <a:gd name="connsiteY52230" fmla="*/ 1547032 h 5973007"/>
              <a:gd name="connsiteX52231" fmla="*/ 5923892 w 6884782"/>
              <a:gd name="connsiteY52231" fmla="*/ 1551157 h 5973007"/>
              <a:gd name="connsiteX52232" fmla="*/ 5920477 w 6884782"/>
              <a:gd name="connsiteY52232" fmla="*/ 1555995 h 5973007"/>
              <a:gd name="connsiteX52233" fmla="*/ 5909379 w 6884782"/>
              <a:gd name="connsiteY52233" fmla="*/ 1543048 h 5973007"/>
              <a:gd name="connsiteX52234" fmla="*/ 5911941 w 6884782"/>
              <a:gd name="connsiteY52234" fmla="*/ 1538069 h 5973007"/>
              <a:gd name="connsiteX52235" fmla="*/ 3609782 w 6884782"/>
              <a:gd name="connsiteY52235" fmla="*/ 1537784 h 5973007"/>
              <a:gd name="connsiteX52236" fmla="*/ 3610849 w 6884782"/>
              <a:gd name="connsiteY52236" fmla="*/ 1539207 h 5973007"/>
              <a:gd name="connsiteX52237" fmla="*/ 3610849 w 6884782"/>
              <a:gd name="connsiteY52237" fmla="*/ 1537927 h 5973007"/>
              <a:gd name="connsiteX52238" fmla="*/ 3611062 w 6884782"/>
              <a:gd name="connsiteY52238" fmla="*/ 1539634 h 5973007"/>
              <a:gd name="connsiteX52239" fmla="*/ 3610635 w 6884782"/>
              <a:gd name="connsiteY52239" fmla="*/ 1540345 h 5973007"/>
              <a:gd name="connsiteX52240" fmla="*/ 3607220 w 6884782"/>
              <a:gd name="connsiteY52240" fmla="*/ 1540914 h 5973007"/>
              <a:gd name="connsiteX52241" fmla="*/ 3609782 w 6884782"/>
              <a:gd name="connsiteY52241" fmla="*/ 1537784 h 5973007"/>
              <a:gd name="connsiteX52242" fmla="*/ 5090274 w 6884782"/>
              <a:gd name="connsiteY52242" fmla="*/ 1537500 h 5973007"/>
              <a:gd name="connsiteX52243" fmla="*/ 5091342 w 6884782"/>
              <a:gd name="connsiteY52243" fmla="*/ 1537500 h 5973007"/>
              <a:gd name="connsiteX52244" fmla="*/ 5093902 w 6884782"/>
              <a:gd name="connsiteY52244" fmla="*/ 1538354 h 5973007"/>
              <a:gd name="connsiteX52245" fmla="*/ 5098811 w 6884782"/>
              <a:gd name="connsiteY52245" fmla="*/ 1543048 h 5973007"/>
              <a:gd name="connsiteX52246" fmla="*/ 5099451 w 6884782"/>
              <a:gd name="connsiteY52246" fmla="*/ 1541910 h 5973007"/>
              <a:gd name="connsiteX52247" fmla="*/ 5096464 w 6884782"/>
              <a:gd name="connsiteY52247" fmla="*/ 1548739 h 5973007"/>
              <a:gd name="connsiteX52248" fmla="*/ 5083872 w 6884782"/>
              <a:gd name="connsiteY52248" fmla="*/ 1543618 h 5973007"/>
              <a:gd name="connsiteX52249" fmla="*/ 5090274 w 6884782"/>
              <a:gd name="connsiteY52249" fmla="*/ 1537500 h 5973007"/>
              <a:gd name="connsiteX52250" fmla="*/ 1219250 w 6884782"/>
              <a:gd name="connsiteY52250" fmla="*/ 1537213 h 5973007"/>
              <a:gd name="connsiteX52251" fmla="*/ 1214500 w 6884782"/>
              <a:gd name="connsiteY52251" fmla="*/ 1550225 h 5973007"/>
              <a:gd name="connsiteX52252" fmla="*/ 1211712 w 6884782"/>
              <a:gd name="connsiteY52252" fmla="*/ 1543874 h 5973007"/>
              <a:gd name="connsiteX52253" fmla="*/ 1215016 w 6884782"/>
              <a:gd name="connsiteY52253" fmla="*/ 1538143 h 5973007"/>
              <a:gd name="connsiteX52254" fmla="*/ 1219250 w 6884782"/>
              <a:gd name="connsiteY52254" fmla="*/ 1537213 h 5973007"/>
              <a:gd name="connsiteX52255" fmla="*/ 5446259 w 6884782"/>
              <a:gd name="connsiteY52255" fmla="*/ 1536789 h 5973007"/>
              <a:gd name="connsiteX52256" fmla="*/ 5447752 w 6884782"/>
              <a:gd name="connsiteY52256" fmla="*/ 1537784 h 5973007"/>
              <a:gd name="connsiteX52257" fmla="*/ 5447752 w 6884782"/>
              <a:gd name="connsiteY52257" fmla="*/ 1539065 h 5973007"/>
              <a:gd name="connsiteX52258" fmla="*/ 5445619 w 6884782"/>
              <a:gd name="connsiteY52258" fmla="*/ 1537784 h 5973007"/>
              <a:gd name="connsiteX52259" fmla="*/ 5446259 w 6884782"/>
              <a:gd name="connsiteY52259" fmla="*/ 1536789 h 5973007"/>
              <a:gd name="connsiteX52260" fmla="*/ 4630995 w 6884782"/>
              <a:gd name="connsiteY52260" fmla="*/ 1536646 h 5973007"/>
              <a:gd name="connsiteX52261" fmla="*/ 4636544 w 6884782"/>
              <a:gd name="connsiteY52261" fmla="*/ 1538923 h 5973007"/>
              <a:gd name="connsiteX52262" fmla="*/ 4636330 w 6884782"/>
              <a:gd name="connsiteY52262" fmla="*/ 1540630 h 5973007"/>
              <a:gd name="connsiteX52263" fmla="*/ 4630995 w 6884782"/>
              <a:gd name="connsiteY52263" fmla="*/ 1536646 h 5973007"/>
              <a:gd name="connsiteX52264" fmla="*/ 3417704 w 6884782"/>
              <a:gd name="connsiteY52264" fmla="*/ 1536504 h 5973007"/>
              <a:gd name="connsiteX52265" fmla="*/ 3413222 w 6884782"/>
              <a:gd name="connsiteY52265" fmla="*/ 1538069 h 5973007"/>
              <a:gd name="connsiteX52266" fmla="*/ 3411942 w 6884782"/>
              <a:gd name="connsiteY52266" fmla="*/ 1537500 h 5973007"/>
              <a:gd name="connsiteX52267" fmla="*/ 3411301 w 6884782"/>
              <a:gd name="connsiteY52267" fmla="*/ 1543618 h 5973007"/>
              <a:gd name="connsiteX52268" fmla="*/ 3410661 w 6884782"/>
              <a:gd name="connsiteY52268" fmla="*/ 1571502 h 5973007"/>
              <a:gd name="connsiteX52269" fmla="*/ 3406819 w 6884782"/>
              <a:gd name="connsiteY52269" fmla="*/ 1569652 h 5973007"/>
              <a:gd name="connsiteX52270" fmla="*/ 3405326 w 6884782"/>
              <a:gd name="connsiteY52270" fmla="*/ 1571929 h 5973007"/>
              <a:gd name="connsiteX52271" fmla="*/ 3406179 w 6884782"/>
              <a:gd name="connsiteY52271" fmla="*/ 1571502 h 5973007"/>
              <a:gd name="connsiteX52272" fmla="*/ 3410234 w 6884782"/>
              <a:gd name="connsiteY52272" fmla="*/ 1573209 h 5973007"/>
              <a:gd name="connsiteX52273" fmla="*/ 3411088 w 6884782"/>
              <a:gd name="connsiteY52273" fmla="*/ 1576481 h 5973007"/>
              <a:gd name="connsiteX52274" fmla="*/ 3408313 w 6884782"/>
              <a:gd name="connsiteY52274" fmla="*/ 1577904 h 5973007"/>
              <a:gd name="connsiteX52275" fmla="*/ 3409594 w 6884782"/>
              <a:gd name="connsiteY52275" fmla="*/ 1580038 h 5973007"/>
              <a:gd name="connsiteX52276" fmla="*/ 3415356 w 6884782"/>
              <a:gd name="connsiteY52276" fmla="*/ 1581176 h 5973007"/>
              <a:gd name="connsiteX52277" fmla="*/ 3415783 w 6884782"/>
              <a:gd name="connsiteY52277" fmla="*/ 1583453 h 5973007"/>
              <a:gd name="connsiteX52278" fmla="*/ 3417704 w 6884782"/>
              <a:gd name="connsiteY52278" fmla="*/ 1580750 h 5973007"/>
              <a:gd name="connsiteX52279" fmla="*/ 3422826 w 6884782"/>
              <a:gd name="connsiteY52279" fmla="*/ 1584022 h 5973007"/>
              <a:gd name="connsiteX52280" fmla="*/ 3418771 w 6884782"/>
              <a:gd name="connsiteY52280" fmla="*/ 1595688 h 5973007"/>
              <a:gd name="connsiteX52281" fmla="*/ 3415356 w 6884782"/>
              <a:gd name="connsiteY52281" fmla="*/ 1595546 h 5973007"/>
              <a:gd name="connsiteX52282" fmla="*/ 3415356 w 6884782"/>
              <a:gd name="connsiteY52282" fmla="*/ 1595830 h 5973007"/>
              <a:gd name="connsiteX52283" fmla="*/ 3426240 w 6884782"/>
              <a:gd name="connsiteY52283" fmla="*/ 1599102 h 5973007"/>
              <a:gd name="connsiteX52284" fmla="*/ 3418344 w 6884782"/>
              <a:gd name="connsiteY52284" fmla="*/ 1572782 h 5973007"/>
              <a:gd name="connsiteX52285" fmla="*/ 3424747 w 6884782"/>
              <a:gd name="connsiteY52285" fmla="*/ 1565527 h 5973007"/>
              <a:gd name="connsiteX52286" fmla="*/ 3417704 w 6884782"/>
              <a:gd name="connsiteY52286" fmla="*/ 1537784 h 5973007"/>
              <a:gd name="connsiteX52287" fmla="*/ 1702902 w 6884782"/>
              <a:gd name="connsiteY52287" fmla="*/ 1536439 h 5973007"/>
              <a:gd name="connsiteX52288" fmla="*/ 1702902 w 6884782"/>
              <a:gd name="connsiteY52288" fmla="*/ 1538917 h 5973007"/>
              <a:gd name="connsiteX52289" fmla="*/ 1696500 w 6884782"/>
              <a:gd name="connsiteY52289" fmla="*/ 1547901 h 5973007"/>
              <a:gd name="connsiteX52290" fmla="*/ 1696500 w 6884782"/>
              <a:gd name="connsiteY52290" fmla="*/ 1545268 h 5973007"/>
              <a:gd name="connsiteX52291" fmla="*/ 1702902 w 6884782"/>
              <a:gd name="connsiteY52291" fmla="*/ 1536439 h 5973007"/>
              <a:gd name="connsiteX52292" fmla="*/ 4875147 w 6884782"/>
              <a:gd name="connsiteY52292" fmla="*/ 1535366 h 5973007"/>
              <a:gd name="connsiteX52293" fmla="*/ 4875574 w 6884782"/>
              <a:gd name="connsiteY52293" fmla="*/ 1544186 h 5973007"/>
              <a:gd name="connsiteX52294" fmla="*/ 4867251 w 6884782"/>
              <a:gd name="connsiteY52294" fmla="*/ 1541341 h 5973007"/>
              <a:gd name="connsiteX52295" fmla="*/ 4875147 w 6884782"/>
              <a:gd name="connsiteY52295" fmla="*/ 1535366 h 5973007"/>
              <a:gd name="connsiteX52296" fmla="*/ 3690667 w 6884782"/>
              <a:gd name="connsiteY52296" fmla="*/ 1534939 h 5973007"/>
              <a:gd name="connsiteX52297" fmla="*/ 3691734 w 6884782"/>
              <a:gd name="connsiteY52297" fmla="*/ 1534939 h 5973007"/>
              <a:gd name="connsiteX52298" fmla="*/ 3694723 w 6884782"/>
              <a:gd name="connsiteY52298" fmla="*/ 1535935 h 5973007"/>
              <a:gd name="connsiteX52299" fmla="*/ 3693869 w 6884782"/>
              <a:gd name="connsiteY52299" fmla="*/ 1537500 h 5973007"/>
              <a:gd name="connsiteX52300" fmla="*/ 3694936 w 6884782"/>
              <a:gd name="connsiteY52300" fmla="*/ 1537073 h 5973007"/>
              <a:gd name="connsiteX52301" fmla="*/ 3693442 w 6884782"/>
              <a:gd name="connsiteY52301" fmla="*/ 1538069 h 5973007"/>
              <a:gd name="connsiteX52302" fmla="*/ 3692802 w 6884782"/>
              <a:gd name="connsiteY52302" fmla="*/ 1537784 h 5973007"/>
              <a:gd name="connsiteX52303" fmla="*/ 3690667 w 6884782"/>
              <a:gd name="connsiteY52303" fmla="*/ 1534939 h 5973007"/>
              <a:gd name="connsiteX52304" fmla="*/ 5747821 w 6884782"/>
              <a:gd name="connsiteY52304" fmla="*/ 1534512 h 5973007"/>
              <a:gd name="connsiteX52305" fmla="*/ 5750382 w 6884782"/>
              <a:gd name="connsiteY52305" fmla="*/ 1540061 h 5973007"/>
              <a:gd name="connsiteX52306" fmla="*/ 5745473 w 6884782"/>
              <a:gd name="connsiteY52306" fmla="*/ 1555141 h 5973007"/>
              <a:gd name="connsiteX52307" fmla="*/ 5740564 w 6884782"/>
              <a:gd name="connsiteY52307" fmla="*/ 1545183 h 5973007"/>
              <a:gd name="connsiteX52308" fmla="*/ 5747821 w 6884782"/>
              <a:gd name="connsiteY52308" fmla="*/ 1534512 h 5973007"/>
              <a:gd name="connsiteX52309" fmla="*/ 1339750 w 6884782"/>
              <a:gd name="connsiteY52309" fmla="*/ 1534425 h 5973007"/>
              <a:gd name="connsiteX52310" fmla="*/ 1340679 w 6884782"/>
              <a:gd name="connsiteY52310" fmla="*/ 1538917 h 5973007"/>
              <a:gd name="connsiteX52311" fmla="*/ 1336445 w 6884782"/>
              <a:gd name="connsiteY52311" fmla="*/ 1537987 h 5973007"/>
              <a:gd name="connsiteX52312" fmla="*/ 1339750 w 6884782"/>
              <a:gd name="connsiteY52312" fmla="*/ 1534425 h 5973007"/>
              <a:gd name="connsiteX52313" fmla="*/ 4027444 w 6884782"/>
              <a:gd name="connsiteY52313" fmla="*/ 1534370 h 5973007"/>
              <a:gd name="connsiteX52314" fmla="*/ 4016559 w 6884782"/>
              <a:gd name="connsiteY52314" fmla="*/ 1544898 h 5973007"/>
              <a:gd name="connsiteX52315" fmla="*/ 4012504 w 6884782"/>
              <a:gd name="connsiteY52315" fmla="*/ 1540914 h 5973007"/>
              <a:gd name="connsiteX52316" fmla="*/ 4027444 w 6884782"/>
              <a:gd name="connsiteY52316" fmla="*/ 1534370 h 5973007"/>
              <a:gd name="connsiteX52317" fmla="*/ 4289523 w 6884782"/>
              <a:gd name="connsiteY52317" fmla="*/ 1533943 h 5973007"/>
              <a:gd name="connsiteX52318" fmla="*/ 4301048 w 6884782"/>
              <a:gd name="connsiteY52318" fmla="*/ 1542337 h 5973007"/>
              <a:gd name="connsiteX52319" fmla="*/ 4299341 w 6884782"/>
              <a:gd name="connsiteY52319" fmla="*/ 1555284 h 5973007"/>
              <a:gd name="connsiteX52320" fmla="*/ 4294859 w 6884782"/>
              <a:gd name="connsiteY52320" fmla="*/ 1556279 h 5973007"/>
              <a:gd name="connsiteX52321" fmla="*/ 4286322 w 6884782"/>
              <a:gd name="connsiteY52321" fmla="*/ 1536077 h 5973007"/>
              <a:gd name="connsiteX52322" fmla="*/ 4289523 w 6884782"/>
              <a:gd name="connsiteY52322" fmla="*/ 1533943 h 5973007"/>
              <a:gd name="connsiteX52323" fmla="*/ 1637231 w 6884782"/>
              <a:gd name="connsiteY52323" fmla="*/ 1533806 h 5973007"/>
              <a:gd name="connsiteX52324" fmla="*/ 1640019 w 6884782"/>
              <a:gd name="connsiteY52324" fmla="*/ 1533806 h 5973007"/>
              <a:gd name="connsiteX52325" fmla="*/ 1640845 w 6884782"/>
              <a:gd name="connsiteY52325" fmla="*/ 1534890 h 5973007"/>
              <a:gd name="connsiteX52326" fmla="*/ 1641980 w 6884782"/>
              <a:gd name="connsiteY52326" fmla="*/ 1534270 h 5973007"/>
              <a:gd name="connsiteX52327" fmla="*/ 1644459 w 6884782"/>
              <a:gd name="connsiteY52327" fmla="*/ 1533806 h 5973007"/>
              <a:gd name="connsiteX52328" fmla="*/ 1643323 w 6884782"/>
              <a:gd name="connsiteY52328" fmla="*/ 1536284 h 5973007"/>
              <a:gd name="connsiteX52329" fmla="*/ 1642394 w 6884782"/>
              <a:gd name="connsiteY52329" fmla="*/ 1537213 h 5973007"/>
              <a:gd name="connsiteX52330" fmla="*/ 1642291 w 6884782"/>
              <a:gd name="connsiteY52330" fmla="*/ 1537987 h 5973007"/>
              <a:gd name="connsiteX52331" fmla="*/ 1641877 w 6884782"/>
              <a:gd name="connsiteY52331" fmla="*/ 1537987 h 5973007"/>
              <a:gd name="connsiteX52332" fmla="*/ 1641980 w 6884782"/>
              <a:gd name="connsiteY52332" fmla="*/ 1539227 h 5973007"/>
              <a:gd name="connsiteX52333" fmla="*/ 1639915 w 6884782"/>
              <a:gd name="connsiteY52333" fmla="*/ 1540776 h 5973007"/>
              <a:gd name="connsiteX52334" fmla="*/ 1638883 w 6884782"/>
              <a:gd name="connsiteY52334" fmla="*/ 1540466 h 5973007"/>
              <a:gd name="connsiteX52335" fmla="*/ 1637540 w 6884782"/>
              <a:gd name="connsiteY52335" fmla="*/ 1542480 h 5973007"/>
              <a:gd name="connsiteX52336" fmla="*/ 1636301 w 6884782"/>
              <a:gd name="connsiteY52336" fmla="*/ 1544648 h 5973007"/>
              <a:gd name="connsiteX52337" fmla="*/ 1630726 w 6884782"/>
              <a:gd name="connsiteY52337" fmla="*/ 1547901 h 5973007"/>
              <a:gd name="connsiteX52338" fmla="*/ 1629280 w 6884782"/>
              <a:gd name="connsiteY52338" fmla="*/ 1546197 h 5973007"/>
              <a:gd name="connsiteX52339" fmla="*/ 1627318 w 6884782"/>
              <a:gd name="connsiteY52339" fmla="*/ 1547901 h 5973007"/>
              <a:gd name="connsiteX52340" fmla="*/ 1616270 w 6884782"/>
              <a:gd name="connsiteY52340" fmla="*/ 1546662 h 5973007"/>
              <a:gd name="connsiteX52341" fmla="*/ 1614205 w 6884782"/>
              <a:gd name="connsiteY52341" fmla="*/ 1542325 h 5973007"/>
              <a:gd name="connsiteX52342" fmla="*/ 1616579 w 6884782"/>
              <a:gd name="connsiteY52342" fmla="*/ 1536439 h 5973007"/>
              <a:gd name="connsiteX52343" fmla="*/ 1627938 w 6884782"/>
              <a:gd name="connsiteY52343" fmla="*/ 1535045 h 5973007"/>
              <a:gd name="connsiteX52344" fmla="*/ 1631345 w 6884782"/>
              <a:gd name="connsiteY52344" fmla="*/ 1542790 h 5973007"/>
              <a:gd name="connsiteX52345" fmla="*/ 1631448 w 6884782"/>
              <a:gd name="connsiteY52345" fmla="*/ 1542015 h 5973007"/>
              <a:gd name="connsiteX52346" fmla="*/ 1634856 w 6884782"/>
              <a:gd name="connsiteY52346" fmla="*/ 1539382 h 5973007"/>
              <a:gd name="connsiteX52347" fmla="*/ 4705052 w 6884782"/>
              <a:gd name="connsiteY52347" fmla="*/ 1533801 h 5973007"/>
              <a:gd name="connsiteX52348" fmla="*/ 4706759 w 6884782"/>
              <a:gd name="connsiteY52348" fmla="*/ 1534654 h 5973007"/>
              <a:gd name="connsiteX52349" fmla="*/ 4711027 w 6884782"/>
              <a:gd name="connsiteY52349" fmla="*/ 1540345 h 5973007"/>
              <a:gd name="connsiteX52350" fmla="*/ 4731942 w 6884782"/>
              <a:gd name="connsiteY52350" fmla="*/ 1540345 h 5973007"/>
              <a:gd name="connsiteX52351" fmla="*/ 4732583 w 6884782"/>
              <a:gd name="connsiteY52351" fmla="*/ 1552438 h 5973007"/>
              <a:gd name="connsiteX52352" fmla="*/ 4712522 w 6884782"/>
              <a:gd name="connsiteY52352" fmla="*/ 1559551 h 5973007"/>
              <a:gd name="connsiteX52353" fmla="*/ 4712308 w 6884782"/>
              <a:gd name="connsiteY52353" fmla="*/ 1558414 h 5973007"/>
              <a:gd name="connsiteX52354" fmla="*/ 4705905 w 6884782"/>
              <a:gd name="connsiteY52354" fmla="*/ 1561259 h 5973007"/>
              <a:gd name="connsiteX52355" fmla="*/ 4705052 w 6884782"/>
              <a:gd name="connsiteY52355" fmla="*/ 1560263 h 5973007"/>
              <a:gd name="connsiteX52356" fmla="*/ 4704625 w 6884782"/>
              <a:gd name="connsiteY52356" fmla="*/ 1560263 h 5973007"/>
              <a:gd name="connsiteX52357" fmla="*/ 4700783 w 6884782"/>
              <a:gd name="connsiteY52357" fmla="*/ 1564388 h 5973007"/>
              <a:gd name="connsiteX52358" fmla="*/ 4701424 w 6884782"/>
              <a:gd name="connsiteY52358" fmla="*/ 1564388 h 5973007"/>
              <a:gd name="connsiteX52359" fmla="*/ 4710814 w 6884782"/>
              <a:gd name="connsiteY52359" fmla="*/ 1574489 h 5973007"/>
              <a:gd name="connsiteX52360" fmla="*/ 4711668 w 6884782"/>
              <a:gd name="connsiteY52360" fmla="*/ 1574774 h 5973007"/>
              <a:gd name="connsiteX52361" fmla="*/ 4711454 w 6884782"/>
              <a:gd name="connsiteY52361" fmla="*/ 1573352 h 5973007"/>
              <a:gd name="connsiteX52362" fmla="*/ 4710814 w 6884782"/>
              <a:gd name="connsiteY52362" fmla="*/ 1571929 h 5973007"/>
              <a:gd name="connsiteX52363" fmla="*/ 4711668 w 6884782"/>
              <a:gd name="connsiteY52363" fmla="*/ 1569510 h 5973007"/>
              <a:gd name="connsiteX52364" fmla="*/ 4717857 w 6884782"/>
              <a:gd name="connsiteY52364" fmla="*/ 1564388 h 5973007"/>
              <a:gd name="connsiteX52365" fmla="*/ 4718924 w 6884782"/>
              <a:gd name="connsiteY52365" fmla="*/ 1582741 h 5973007"/>
              <a:gd name="connsiteX52366" fmla="*/ 4717643 w 6884782"/>
              <a:gd name="connsiteY52366" fmla="*/ 1586583 h 5973007"/>
              <a:gd name="connsiteX52367" fmla="*/ 4720418 w 6884782"/>
              <a:gd name="connsiteY52367" fmla="*/ 1589286 h 5973007"/>
              <a:gd name="connsiteX52368" fmla="*/ 4715936 w 6884782"/>
              <a:gd name="connsiteY52368" fmla="*/ 1593127 h 5973007"/>
              <a:gd name="connsiteX52369" fmla="*/ 4713375 w 6884782"/>
              <a:gd name="connsiteY52369" fmla="*/ 1591135 h 5973007"/>
              <a:gd name="connsiteX52370" fmla="*/ 4712735 w 6884782"/>
              <a:gd name="connsiteY52370" fmla="*/ 1593269 h 5973007"/>
              <a:gd name="connsiteX52371" fmla="*/ 4707399 w 6884782"/>
              <a:gd name="connsiteY52371" fmla="*/ 1588717 h 5973007"/>
              <a:gd name="connsiteX52372" fmla="*/ 4705052 w 6884782"/>
              <a:gd name="connsiteY52372" fmla="*/ 1587720 h 5973007"/>
              <a:gd name="connsiteX52373" fmla="*/ 4707186 w 6884782"/>
              <a:gd name="connsiteY52373" fmla="*/ 1586440 h 5973007"/>
              <a:gd name="connsiteX52374" fmla="*/ 4709960 w 6884782"/>
              <a:gd name="connsiteY52374" fmla="*/ 1589855 h 5973007"/>
              <a:gd name="connsiteX52375" fmla="*/ 4712095 w 6884782"/>
              <a:gd name="connsiteY52375" fmla="*/ 1588432 h 5973007"/>
              <a:gd name="connsiteX52376" fmla="*/ 4713375 w 6884782"/>
              <a:gd name="connsiteY52376" fmla="*/ 1589712 h 5973007"/>
              <a:gd name="connsiteX52377" fmla="*/ 4713588 w 6884782"/>
              <a:gd name="connsiteY52377" fmla="*/ 1589855 h 5973007"/>
              <a:gd name="connsiteX52378" fmla="*/ 4713802 w 6884782"/>
              <a:gd name="connsiteY52378" fmla="*/ 1589712 h 5973007"/>
              <a:gd name="connsiteX52379" fmla="*/ 4713375 w 6884782"/>
              <a:gd name="connsiteY52379" fmla="*/ 1589712 h 5973007"/>
              <a:gd name="connsiteX52380" fmla="*/ 4712522 w 6884782"/>
              <a:gd name="connsiteY52380" fmla="*/ 1577904 h 5973007"/>
              <a:gd name="connsiteX52381" fmla="*/ 4711241 w 6884782"/>
              <a:gd name="connsiteY52381" fmla="*/ 1577193 h 5973007"/>
              <a:gd name="connsiteX52382" fmla="*/ 4710174 w 6884782"/>
              <a:gd name="connsiteY52382" fmla="*/ 1577904 h 5973007"/>
              <a:gd name="connsiteX52383" fmla="*/ 4709747 w 6884782"/>
              <a:gd name="connsiteY52383" fmla="*/ 1581176 h 5973007"/>
              <a:gd name="connsiteX52384" fmla="*/ 4700570 w 6884782"/>
              <a:gd name="connsiteY52384" fmla="*/ 1587294 h 5973007"/>
              <a:gd name="connsiteX52385" fmla="*/ 4692246 w 6884782"/>
              <a:gd name="connsiteY52385" fmla="*/ 1581176 h 5973007"/>
              <a:gd name="connsiteX52386" fmla="*/ 4691606 w 6884782"/>
              <a:gd name="connsiteY52386" fmla="*/ 1580323 h 5973007"/>
              <a:gd name="connsiteX52387" fmla="*/ 4690326 w 6884782"/>
              <a:gd name="connsiteY52387" fmla="*/ 1579611 h 5973007"/>
              <a:gd name="connsiteX52388" fmla="*/ 4686057 w 6884782"/>
              <a:gd name="connsiteY52388" fmla="*/ 1576909 h 5973007"/>
              <a:gd name="connsiteX52389" fmla="*/ 4685844 w 6884782"/>
              <a:gd name="connsiteY52389" fmla="*/ 1575770 h 5973007"/>
              <a:gd name="connsiteX52390" fmla="*/ 4688192 w 6884782"/>
              <a:gd name="connsiteY52390" fmla="*/ 1574489 h 5973007"/>
              <a:gd name="connsiteX52391" fmla="*/ 4689899 w 6884782"/>
              <a:gd name="connsiteY52391" fmla="*/ 1575201 h 5973007"/>
              <a:gd name="connsiteX52392" fmla="*/ 4689472 w 6884782"/>
              <a:gd name="connsiteY52392" fmla="*/ 1570648 h 5973007"/>
              <a:gd name="connsiteX52393" fmla="*/ 4693313 w 6884782"/>
              <a:gd name="connsiteY52393" fmla="*/ 1566665 h 5973007"/>
              <a:gd name="connsiteX52394" fmla="*/ 4695234 w 6884782"/>
              <a:gd name="connsiteY52394" fmla="*/ 1565527 h 5973007"/>
              <a:gd name="connsiteX52395" fmla="*/ 4692460 w 6884782"/>
              <a:gd name="connsiteY52395" fmla="*/ 1565669 h 5973007"/>
              <a:gd name="connsiteX52396" fmla="*/ 4688192 w 6884782"/>
              <a:gd name="connsiteY52396" fmla="*/ 1561686 h 5973007"/>
              <a:gd name="connsiteX52397" fmla="*/ 4699289 w 6884782"/>
              <a:gd name="connsiteY52397" fmla="*/ 1541626 h 5973007"/>
              <a:gd name="connsiteX52398" fmla="*/ 4700570 w 6884782"/>
              <a:gd name="connsiteY52398" fmla="*/ 1541341 h 5973007"/>
              <a:gd name="connsiteX52399" fmla="*/ 4701637 w 6884782"/>
              <a:gd name="connsiteY52399" fmla="*/ 1540061 h 5973007"/>
              <a:gd name="connsiteX52400" fmla="*/ 4701637 w 6884782"/>
              <a:gd name="connsiteY52400" fmla="*/ 1539776 h 5973007"/>
              <a:gd name="connsiteX52401" fmla="*/ 4701424 w 6884782"/>
              <a:gd name="connsiteY52401" fmla="*/ 1538496 h 5973007"/>
              <a:gd name="connsiteX52402" fmla="*/ 4703771 w 6884782"/>
              <a:gd name="connsiteY52402" fmla="*/ 1534370 h 5973007"/>
              <a:gd name="connsiteX52403" fmla="*/ 4705052 w 6884782"/>
              <a:gd name="connsiteY52403" fmla="*/ 1533801 h 5973007"/>
              <a:gd name="connsiteX52404" fmla="*/ 4544987 w 6884782"/>
              <a:gd name="connsiteY52404" fmla="*/ 1533517 h 5973007"/>
              <a:gd name="connsiteX52405" fmla="*/ 4541145 w 6884782"/>
              <a:gd name="connsiteY52405" fmla="*/ 1552011 h 5973007"/>
              <a:gd name="connsiteX52406" fmla="*/ 4544987 w 6884782"/>
              <a:gd name="connsiteY52406" fmla="*/ 1533517 h 5973007"/>
              <a:gd name="connsiteX52407" fmla="*/ 3422399 w 6884782"/>
              <a:gd name="connsiteY52407" fmla="*/ 1533374 h 5973007"/>
              <a:gd name="connsiteX52408" fmla="*/ 3421545 w 6884782"/>
              <a:gd name="connsiteY52408" fmla="*/ 1534228 h 5973007"/>
              <a:gd name="connsiteX52409" fmla="*/ 3422399 w 6884782"/>
              <a:gd name="connsiteY52409" fmla="*/ 1534654 h 5973007"/>
              <a:gd name="connsiteX52410" fmla="*/ 4124550 w 6884782"/>
              <a:gd name="connsiteY52410" fmla="*/ 1533232 h 5973007"/>
              <a:gd name="connsiteX52411" fmla="*/ 4128178 w 6884782"/>
              <a:gd name="connsiteY52411" fmla="*/ 1539065 h 5973007"/>
              <a:gd name="connsiteX52412" fmla="*/ 4127751 w 6884782"/>
              <a:gd name="connsiteY52412" fmla="*/ 1539919 h 5973007"/>
              <a:gd name="connsiteX52413" fmla="*/ 4128605 w 6884782"/>
              <a:gd name="connsiteY52413" fmla="*/ 1539207 h 5973007"/>
              <a:gd name="connsiteX52414" fmla="*/ 4135008 w 6884782"/>
              <a:gd name="connsiteY52414" fmla="*/ 1544471 h 5973007"/>
              <a:gd name="connsiteX52415" fmla="*/ 4135435 w 6884782"/>
              <a:gd name="connsiteY52415" fmla="*/ 1553576 h 5973007"/>
              <a:gd name="connsiteX52416" fmla="*/ 4121562 w 6884782"/>
              <a:gd name="connsiteY52416" fmla="*/ 1550304 h 5973007"/>
              <a:gd name="connsiteX52417" fmla="*/ 4122416 w 6884782"/>
              <a:gd name="connsiteY52417" fmla="*/ 1548170 h 5973007"/>
              <a:gd name="connsiteX52418" fmla="*/ 4119855 w 6884782"/>
              <a:gd name="connsiteY52418" fmla="*/ 1548455 h 5973007"/>
              <a:gd name="connsiteX52419" fmla="*/ 4116226 w 6884782"/>
              <a:gd name="connsiteY52419" fmla="*/ 1547601 h 5973007"/>
              <a:gd name="connsiteX52420" fmla="*/ 4115373 w 6884782"/>
              <a:gd name="connsiteY52420" fmla="*/ 1539065 h 5973007"/>
              <a:gd name="connsiteX52421" fmla="*/ 4118147 w 6884782"/>
              <a:gd name="connsiteY52421" fmla="*/ 1536362 h 5973007"/>
              <a:gd name="connsiteX52422" fmla="*/ 4124977 w 6884782"/>
              <a:gd name="connsiteY52422" fmla="*/ 1534228 h 5973007"/>
              <a:gd name="connsiteX52423" fmla="*/ 4124550 w 6884782"/>
              <a:gd name="connsiteY52423" fmla="*/ 1533232 h 5973007"/>
              <a:gd name="connsiteX52424" fmla="*/ 1543474 w 6884782"/>
              <a:gd name="connsiteY52424" fmla="*/ 1533186 h 5973007"/>
              <a:gd name="connsiteX52425" fmla="*/ 1545230 w 6884782"/>
              <a:gd name="connsiteY52425" fmla="*/ 1550534 h 5973007"/>
              <a:gd name="connsiteX52426" fmla="*/ 1539034 w 6884782"/>
              <a:gd name="connsiteY52426" fmla="*/ 1547436 h 5973007"/>
              <a:gd name="connsiteX52427" fmla="*/ 1538518 w 6884782"/>
              <a:gd name="connsiteY52427" fmla="*/ 1546507 h 5973007"/>
              <a:gd name="connsiteX52428" fmla="*/ 1535730 w 6884782"/>
              <a:gd name="connsiteY52428" fmla="*/ 1546042 h 5973007"/>
              <a:gd name="connsiteX52429" fmla="*/ 1529328 w 6884782"/>
              <a:gd name="connsiteY52429" fmla="*/ 1540931 h 5973007"/>
              <a:gd name="connsiteX52430" fmla="*/ 1532529 w 6884782"/>
              <a:gd name="connsiteY52430" fmla="*/ 1539227 h 5973007"/>
              <a:gd name="connsiteX52431" fmla="*/ 1535420 w 6884782"/>
              <a:gd name="connsiteY52431" fmla="*/ 1539537 h 5973007"/>
              <a:gd name="connsiteX52432" fmla="*/ 1535420 w 6884782"/>
              <a:gd name="connsiteY52432" fmla="*/ 1539072 h 5973007"/>
              <a:gd name="connsiteX52433" fmla="*/ 1531703 w 6884782"/>
              <a:gd name="connsiteY52433" fmla="*/ 1539227 h 5973007"/>
              <a:gd name="connsiteX52434" fmla="*/ 1532735 w 6884782"/>
              <a:gd name="connsiteY52434" fmla="*/ 1538297 h 5973007"/>
              <a:gd name="connsiteX52435" fmla="*/ 1534491 w 6884782"/>
              <a:gd name="connsiteY52435" fmla="*/ 1538452 h 5973007"/>
              <a:gd name="connsiteX52436" fmla="*/ 1535420 w 6884782"/>
              <a:gd name="connsiteY52436" fmla="*/ 1538607 h 5973007"/>
              <a:gd name="connsiteX52437" fmla="*/ 1535317 w 6884782"/>
              <a:gd name="connsiteY52437" fmla="*/ 1536594 h 5973007"/>
              <a:gd name="connsiteX52438" fmla="*/ 1543474 w 6884782"/>
              <a:gd name="connsiteY52438" fmla="*/ 1533186 h 5973007"/>
              <a:gd name="connsiteX52439" fmla="*/ 4655752 w 6884782"/>
              <a:gd name="connsiteY52439" fmla="*/ 1532805 h 5973007"/>
              <a:gd name="connsiteX52440" fmla="*/ 4666850 w 6884782"/>
              <a:gd name="connsiteY52440" fmla="*/ 1537500 h 5973007"/>
              <a:gd name="connsiteX52441" fmla="*/ 4672399 w 6884782"/>
              <a:gd name="connsiteY52441" fmla="*/ 1544613 h 5973007"/>
              <a:gd name="connsiteX52442" fmla="*/ 4674746 w 6884782"/>
              <a:gd name="connsiteY52442" fmla="*/ 1551015 h 5973007"/>
              <a:gd name="connsiteX52443" fmla="*/ 4676454 w 6884782"/>
              <a:gd name="connsiteY52443" fmla="*/ 1552296 h 5973007"/>
              <a:gd name="connsiteX52444" fmla="*/ 4675386 w 6884782"/>
              <a:gd name="connsiteY52444" fmla="*/ 1553149 h 5973007"/>
              <a:gd name="connsiteX52445" fmla="*/ 4677521 w 6884782"/>
              <a:gd name="connsiteY52445" fmla="*/ 1558698 h 5973007"/>
              <a:gd name="connsiteX52446" fmla="*/ 4683496 w 6884782"/>
              <a:gd name="connsiteY52446" fmla="*/ 1575059 h 5973007"/>
              <a:gd name="connsiteX52447" fmla="*/ 4681575 w 6884782"/>
              <a:gd name="connsiteY52447" fmla="*/ 1574917 h 5973007"/>
              <a:gd name="connsiteX52448" fmla="*/ 4682642 w 6884782"/>
              <a:gd name="connsiteY52448" fmla="*/ 1576197 h 5973007"/>
              <a:gd name="connsiteX52449" fmla="*/ 4685417 w 6884782"/>
              <a:gd name="connsiteY52449" fmla="*/ 1582741 h 5973007"/>
              <a:gd name="connsiteX52450" fmla="*/ 4684137 w 6884782"/>
              <a:gd name="connsiteY52450" fmla="*/ 1586440 h 5973007"/>
              <a:gd name="connsiteX52451" fmla="*/ 4666423 w 6884782"/>
              <a:gd name="connsiteY52451" fmla="*/ 1587578 h 5973007"/>
              <a:gd name="connsiteX52452" fmla="*/ 4665356 w 6884782"/>
              <a:gd name="connsiteY52452" fmla="*/ 1586583 h 5973007"/>
              <a:gd name="connsiteX52453" fmla="*/ 4660020 w 6884782"/>
              <a:gd name="connsiteY52453" fmla="*/ 1599813 h 5973007"/>
              <a:gd name="connsiteX52454" fmla="*/ 4658740 w 6884782"/>
              <a:gd name="connsiteY52454" fmla="*/ 1603655 h 5973007"/>
              <a:gd name="connsiteX52455" fmla="*/ 4659593 w 6884782"/>
              <a:gd name="connsiteY52455" fmla="*/ 1604793 h 5973007"/>
              <a:gd name="connsiteX52456" fmla="*/ 4661728 w 6884782"/>
              <a:gd name="connsiteY52456" fmla="*/ 1609061 h 5973007"/>
              <a:gd name="connsiteX52457" fmla="*/ 4657459 w 6884782"/>
              <a:gd name="connsiteY52457" fmla="*/ 1610768 h 5973007"/>
              <a:gd name="connsiteX52458" fmla="*/ 4656392 w 6884782"/>
              <a:gd name="connsiteY52458" fmla="*/ 1610626 h 5973007"/>
              <a:gd name="connsiteX52459" fmla="*/ 4656392 w 6884782"/>
              <a:gd name="connsiteY52459" fmla="*/ 1611053 h 5973007"/>
              <a:gd name="connsiteX52460" fmla="*/ 4655965 w 6884782"/>
              <a:gd name="connsiteY52460" fmla="*/ 1610626 h 5973007"/>
              <a:gd name="connsiteX52461" fmla="*/ 4654471 w 6884782"/>
              <a:gd name="connsiteY52461" fmla="*/ 1610484 h 5973007"/>
              <a:gd name="connsiteX52462" fmla="*/ 4651057 w 6884782"/>
              <a:gd name="connsiteY52462" fmla="*/ 1608634 h 5973007"/>
              <a:gd name="connsiteX52463" fmla="*/ 4649776 w 6884782"/>
              <a:gd name="connsiteY52463" fmla="*/ 1606215 h 5973007"/>
              <a:gd name="connsiteX52464" fmla="*/ 4648069 w 6884782"/>
              <a:gd name="connsiteY52464" fmla="*/ 1603086 h 5973007"/>
              <a:gd name="connsiteX52465" fmla="*/ 4648069 w 6884782"/>
              <a:gd name="connsiteY52465" fmla="*/ 1602517 h 5973007"/>
              <a:gd name="connsiteX52466" fmla="*/ 4646574 w 6884782"/>
              <a:gd name="connsiteY52466" fmla="*/ 1601236 h 5973007"/>
              <a:gd name="connsiteX52467" fmla="*/ 4634623 w 6884782"/>
              <a:gd name="connsiteY52467" fmla="*/ 1596114 h 5973007"/>
              <a:gd name="connsiteX52468" fmla="*/ 4633556 w 6884782"/>
              <a:gd name="connsiteY52468" fmla="*/ 1598249 h 5973007"/>
              <a:gd name="connsiteX52469" fmla="*/ 4628861 w 6884782"/>
              <a:gd name="connsiteY52469" fmla="*/ 1602374 h 5973007"/>
              <a:gd name="connsiteX52470" fmla="*/ 4623739 w 6884782"/>
              <a:gd name="connsiteY52470" fmla="*/ 1592558 h 5973007"/>
              <a:gd name="connsiteX52471" fmla="*/ 4625019 w 6884782"/>
              <a:gd name="connsiteY52471" fmla="*/ 1590282 h 5973007"/>
              <a:gd name="connsiteX52472" fmla="*/ 4623312 w 6884782"/>
              <a:gd name="connsiteY52472" fmla="*/ 1588574 h 5973007"/>
              <a:gd name="connsiteX52473" fmla="*/ 4620324 w 6884782"/>
              <a:gd name="connsiteY52473" fmla="*/ 1583453 h 5973007"/>
              <a:gd name="connsiteX52474" fmla="*/ 4617976 w 6884782"/>
              <a:gd name="connsiteY52474" fmla="*/ 1572640 h 5973007"/>
              <a:gd name="connsiteX52475" fmla="*/ 4619044 w 6884782"/>
              <a:gd name="connsiteY52475" fmla="*/ 1567234 h 5973007"/>
              <a:gd name="connsiteX52476" fmla="*/ 4618830 w 6884782"/>
              <a:gd name="connsiteY52476" fmla="*/ 1566950 h 5973007"/>
              <a:gd name="connsiteX52477" fmla="*/ 4619470 w 6884782"/>
              <a:gd name="connsiteY52477" fmla="*/ 1558414 h 5973007"/>
              <a:gd name="connsiteX52478" fmla="*/ 4622245 w 6884782"/>
              <a:gd name="connsiteY52478" fmla="*/ 1560121 h 5973007"/>
              <a:gd name="connsiteX52479" fmla="*/ 4625446 w 6884782"/>
              <a:gd name="connsiteY52479" fmla="*/ 1555995 h 5973007"/>
              <a:gd name="connsiteX52480" fmla="*/ 4629501 w 6884782"/>
              <a:gd name="connsiteY52480" fmla="*/ 1553434 h 5973007"/>
              <a:gd name="connsiteX52481" fmla="*/ 4630568 w 6884782"/>
              <a:gd name="connsiteY52481" fmla="*/ 1550162 h 5973007"/>
              <a:gd name="connsiteX52482" fmla="*/ 4627367 w 6884782"/>
              <a:gd name="connsiteY52482" fmla="*/ 1550873 h 5973007"/>
              <a:gd name="connsiteX52483" fmla="*/ 4623312 w 6884782"/>
              <a:gd name="connsiteY52483" fmla="*/ 1548739 h 5973007"/>
              <a:gd name="connsiteX52484" fmla="*/ 4630782 w 6884782"/>
              <a:gd name="connsiteY52484" fmla="*/ 1539491 h 5973007"/>
              <a:gd name="connsiteX52485" fmla="*/ 4634410 w 6884782"/>
              <a:gd name="connsiteY52485" fmla="*/ 1543191 h 5973007"/>
              <a:gd name="connsiteX52486" fmla="*/ 4633556 w 6884782"/>
              <a:gd name="connsiteY52486" fmla="*/ 1544898 h 5973007"/>
              <a:gd name="connsiteX52487" fmla="*/ 4637184 w 6884782"/>
              <a:gd name="connsiteY52487" fmla="*/ 1539634 h 5973007"/>
              <a:gd name="connsiteX52488" fmla="*/ 4655752 w 6884782"/>
              <a:gd name="connsiteY52488" fmla="*/ 1532805 h 5973007"/>
              <a:gd name="connsiteX52489" fmla="*/ 1490813 w 6884782"/>
              <a:gd name="connsiteY52489" fmla="*/ 1532566 h 5973007"/>
              <a:gd name="connsiteX52490" fmla="*/ 1495460 w 6884782"/>
              <a:gd name="connsiteY52490" fmla="*/ 1540776 h 5973007"/>
              <a:gd name="connsiteX52491" fmla="*/ 1485754 w 6884782"/>
              <a:gd name="connsiteY52491" fmla="*/ 1542790 h 5973007"/>
              <a:gd name="connsiteX52492" fmla="*/ 1484722 w 6884782"/>
              <a:gd name="connsiteY52492" fmla="*/ 1534890 h 5973007"/>
              <a:gd name="connsiteX52493" fmla="*/ 1490813 w 6884782"/>
              <a:gd name="connsiteY52493" fmla="*/ 1532566 h 5973007"/>
              <a:gd name="connsiteX52494" fmla="*/ 1199321 w 6884782"/>
              <a:gd name="connsiteY52494" fmla="*/ 1532102 h 5973007"/>
              <a:gd name="connsiteX52495" fmla="*/ 1199734 w 6884782"/>
              <a:gd name="connsiteY52495" fmla="*/ 1537368 h 5973007"/>
              <a:gd name="connsiteX52496" fmla="*/ 1193642 w 6884782"/>
              <a:gd name="connsiteY52496" fmla="*/ 1533186 h 5973007"/>
              <a:gd name="connsiteX52497" fmla="*/ 1199321 w 6884782"/>
              <a:gd name="connsiteY52497" fmla="*/ 1532102 h 5973007"/>
              <a:gd name="connsiteX52498" fmla="*/ 1608835 w 6884782"/>
              <a:gd name="connsiteY52498" fmla="*/ 1531792 h 5973007"/>
              <a:gd name="connsiteX52499" fmla="*/ 1610591 w 6884782"/>
              <a:gd name="connsiteY52499" fmla="*/ 1532876 h 5973007"/>
              <a:gd name="connsiteX52500" fmla="*/ 1612449 w 6884782"/>
              <a:gd name="connsiteY52500" fmla="*/ 1535819 h 5973007"/>
              <a:gd name="connsiteX52501" fmla="*/ 1611933 w 6884782"/>
              <a:gd name="connsiteY52501" fmla="*/ 1538143 h 5973007"/>
              <a:gd name="connsiteX52502" fmla="*/ 1609971 w 6884782"/>
              <a:gd name="connsiteY52502" fmla="*/ 1538143 h 5973007"/>
              <a:gd name="connsiteX52503" fmla="*/ 1608526 w 6884782"/>
              <a:gd name="connsiteY52503" fmla="*/ 1538917 h 5973007"/>
              <a:gd name="connsiteX52504" fmla="*/ 1608009 w 6884782"/>
              <a:gd name="connsiteY52504" fmla="*/ 1538143 h 5973007"/>
              <a:gd name="connsiteX52505" fmla="*/ 1606770 w 6884782"/>
              <a:gd name="connsiteY52505" fmla="*/ 1537833 h 5973007"/>
              <a:gd name="connsiteX52506" fmla="*/ 1606461 w 6884782"/>
              <a:gd name="connsiteY52506" fmla="*/ 1533961 h 5973007"/>
              <a:gd name="connsiteX52507" fmla="*/ 1607287 w 6884782"/>
              <a:gd name="connsiteY52507" fmla="*/ 1532257 h 5973007"/>
              <a:gd name="connsiteX52508" fmla="*/ 1608835 w 6884782"/>
              <a:gd name="connsiteY52508" fmla="*/ 1531792 h 5973007"/>
              <a:gd name="connsiteX52509" fmla="*/ 1428447 w 6884782"/>
              <a:gd name="connsiteY52509" fmla="*/ 1531637 h 5973007"/>
              <a:gd name="connsiteX52510" fmla="*/ 1430822 w 6884782"/>
              <a:gd name="connsiteY52510" fmla="*/ 1532412 h 5973007"/>
              <a:gd name="connsiteX52511" fmla="*/ 1428447 w 6884782"/>
              <a:gd name="connsiteY52511" fmla="*/ 1535509 h 5973007"/>
              <a:gd name="connsiteX52512" fmla="*/ 1429479 w 6884782"/>
              <a:gd name="connsiteY52512" fmla="*/ 1536439 h 5973007"/>
              <a:gd name="connsiteX52513" fmla="*/ 1429479 w 6884782"/>
              <a:gd name="connsiteY52513" fmla="*/ 1540621 h 5973007"/>
              <a:gd name="connsiteX52514" fmla="*/ 1424110 w 6884782"/>
              <a:gd name="connsiteY52514" fmla="*/ 1536749 h 5973007"/>
              <a:gd name="connsiteX52515" fmla="*/ 1424213 w 6884782"/>
              <a:gd name="connsiteY52515" fmla="*/ 1536594 h 5973007"/>
              <a:gd name="connsiteX52516" fmla="*/ 1422458 w 6884782"/>
              <a:gd name="connsiteY52516" fmla="*/ 1536903 h 5973007"/>
              <a:gd name="connsiteX52517" fmla="*/ 1421012 w 6884782"/>
              <a:gd name="connsiteY52517" fmla="*/ 1538452 h 5973007"/>
              <a:gd name="connsiteX52518" fmla="*/ 1418637 w 6884782"/>
              <a:gd name="connsiteY52518" fmla="*/ 1537678 h 5973007"/>
              <a:gd name="connsiteX52519" fmla="*/ 1418328 w 6884782"/>
              <a:gd name="connsiteY52519" fmla="*/ 1537213 h 5973007"/>
              <a:gd name="connsiteX52520" fmla="*/ 1416056 w 6884782"/>
              <a:gd name="connsiteY52520" fmla="*/ 1536129 h 5973007"/>
              <a:gd name="connsiteX52521" fmla="*/ 1418947 w 6884782"/>
              <a:gd name="connsiteY52521" fmla="*/ 1533496 h 5973007"/>
              <a:gd name="connsiteX52522" fmla="*/ 1422974 w 6884782"/>
              <a:gd name="connsiteY52522" fmla="*/ 1533186 h 5973007"/>
              <a:gd name="connsiteX52523" fmla="*/ 1425039 w 6884782"/>
              <a:gd name="connsiteY52523" fmla="*/ 1533186 h 5973007"/>
              <a:gd name="connsiteX52524" fmla="*/ 1425349 w 6884782"/>
              <a:gd name="connsiteY52524" fmla="*/ 1533031 h 5973007"/>
              <a:gd name="connsiteX52525" fmla="*/ 1427001 w 6884782"/>
              <a:gd name="connsiteY52525" fmla="*/ 1531947 h 5973007"/>
              <a:gd name="connsiteX52526" fmla="*/ 1427208 w 6884782"/>
              <a:gd name="connsiteY52526" fmla="*/ 1531947 h 5973007"/>
              <a:gd name="connsiteX52527" fmla="*/ 1427517 w 6884782"/>
              <a:gd name="connsiteY52527" fmla="*/ 1532102 h 5973007"/>
              <a:gd name="connsiteX52528" fmla="*/ 1291529 w 6884782"/>
              <a:gd name="connsiteY52528" fmla="*/ 1531327 h 5973007"/>
              <a:gd name="connsiteX52529" fmla="*/ 1297725 w 6884782"/>
              <a:gd name="connsiteY52529" fmla="*/ 1545578 h 5973007"/>
              <a:gd name="connsiteX52530" fmla="*/ 1297931 w 6884782"/>
              <a:gd name="connsiteY52530" fmla="*/ 1547436 h 5973007"/>
              <a:gd name="connsiteX52531" fmla="*/ 1295659 w 6884782"/>
              <a:gd name="connsiteY52531" fmla="*/ 1548830 h 5973007"/>
              <a:gd name="connsiteX52532" fmla="*/ 1289051 w 6884782"/>
              <a:gd name="connsiteY52532" fmla="*/ 1538917 h 5973007"/>
              <a:gd name="connsiteX52533" fmla="*/ 1288844 w 6884782"/>
              <a:gd name="connsiteY52533" fmla="*/ 1537058 h 5973007"/>
              <a:gd name="connsiteX52534" fmla="*/ 1291529 w 6884782"/>
              <a:gd name="connsiteY52534" fmla="*/ 1531327 h 5973007"/>
              <a:gd name="connsiteX52535" fmla="*/ 4607305 w 6884782"/>
              <a:gd name="connsiteY52535" fmla="*/ 1531240 h 5973007"/>
              <a:gd name="connsiteX52536" fmla="*/ 4617976 w 6884782"/>
              <a:gd name="connsiteY52536" fmla="*/ 1537500 h 5973007"/>
              <a:gd name="connsiteX52537" fmla="*/ 4600903 w 6884782"/>
              <a:gd name="connsiteY52537" fmla="*/ 1540345 h 5973007"/>
              <a:gd name="connsiteX52538" fmla="*/ 4607305 w 6884782"/>
              <a:gd name="connsiteY52538" fmla="*/ 1531240 h 5973007"/>
              <a:gd name="connsiteX52539" fmla="*/ 5442417 w 6884782"/>
              <a:gd name="connsiteY52539" fmla="*/ 1531098 h 5973007"/>
              <a:gd name="connsiteX52540" fmla="*/ 5444338 w 6884782"/>
              <a:gd name="connsiteY52540" fmla="*/ 1533943 h 5973007"/>
              <a:gd name="connsiteX52541" fmla="*/ 5444978 w 6884782"/>
              <a:gd name="connsiteY52541" fmla="*/ 1537216 h 5973007"/>
              <a:gd name="connsiteX52542" fmla="*/ 5441350 w 6884782"/>
              <a:gd name="connsiteY52542" fmla="*/ 1534797 h 5973007"/>
              <a:gd name="connsiteX52543" fmla="*/ 5442417 w 6884782"/>
              <a:gd name="connsiteY52543" fmla="*/ 1531098 h 5973007"/>
              <a:gd name="connsiteX52544" fmla="*/ 4544987 w 6884782"/>
              <a:gd name="connsiteY52544" fmla="*/ 1530955 h 5973007"/>
              <a:gd name="connsiteX52545" fmla="*/ 4546481 w 6884782"/>
              <a:gd name="connsiteY52545" fmla="*/ 1530955 h 5973007"/>
              <a:gd name="connsiteX52546" fmla="*/ 4545200 w 6884782"/>
              <a:gd name="connsiteY52546" fmla="*/ 1533517 h 5973007"/>
              <a:gd name="connsiteX52547" fmla="*/ 4544347 w 6884782"/>
              <a:gd name="connsiteY52547" fmla="*/ 1532094 h 5973007"/>
              <a:gd name="connsiteX52548" fmla="*/ 4544987 w 6884782"/>
              <a:gd name="connsiteY52548" fmla="*/ 1530955 h 5973007"/>
              <a:gd name="connsiteX52549" fmla="*/ 1224103 w 6884782"/>
              <a:gd name="connsiteY52549" fmla="*/ 1530862 h 5973007"/>
              <a:gd name="connsiteX52550" fmla="*/ 1232673 w 6884782"/>
              <a:gd name="connsiteY52550" fmla="*/ 1530862 h 5973007"/>
              <a:gd name="connsiteX52551" fmla="*/ 1232570 w 6884782"/>
              <a:gd name="connsiteY52551" fmla="*/ 1534425 h 5973007"/>
              <a:gd name="connsiteX52552" fmla="*/ 1219456 w 6884782"/>
              <a:gd name="connsiteY52552" fmla="*/ 1537058 h 5973007"/>
              <a:gd name="connsiteX52553" fmla="*/ 1224103 w 6884782"/>
              <a:gd name="connsiteY52553" fmla="*/ 1530862 h 5973007"/>
              <a:gd name="connsiteX52554" fmla="*/ 3757895 w 6884782"/>
              <a:gd name="connsiteY52554" fmla="*/ 1530102 h 5973007"/>
              <a:gd name="connsiteX52555" fmla="*/ 3757041 w 6884782"/>
              <a:gd name="connsiteY52555" fmla="*/ 1530529 h 5973007"/>
              <a:gd name="connsiteX52556" fmla="*/ 3756828 w 6884782"/>
              <a:gd name="connsiteY52556" fmla="*/ 1531098 h 5973007"/>
              <a:gd name="connsiteX52557" fmla="*/ 5859652 w 6884782"/>
              <a:gd name="connsiteY52557" fmla="*/ 1529960 h 5973007"/>
              <a:gd name="connsiteX52558" fmla="*/ 5862640 w 6884782"/>
              <a:gd name="connsiteY52558" fmla="*/ 1530102 h 5973007"/>
              <a:gd name="connsiteX52559" fmla="*/ 5866269 w 6884782"/>
              <a:gd name="connsiteY52559" fmla="*/ 1531667 h 5973007"/>
              <a:gd name="connsiteX52560" fmla="*/ 5869043 w 6884782"/>
              <a:gd name="connsiteY52560" fmla="*/ 1536362 h 5973007"/>
              <a:gd name="connsiteX52561" fmla="*/ 5869470 w 6884782"/>
              <a:gd name="connsiteY52561" fmla="*/ 1538780 h 5973007"/>
              <a:gd name="connsiteX52562" fmla="*/ 5859439 w 6884782"/>
              <a:gd name="connsiteY52562" fmla="*/ 1541626 h 5973007"/>
              <a:gd name="connsiteX52563" fmla="*/ 5854744 w 6884782"/>
              <a:gd name="connsiteY52563" fmla="*/ 1532236 h 5973007"/>
              <a:gd name="connsiteX52564" fmla="*/ 5856878 w 6884782"/>
              <a:gd name="connsiteY52564" fmla="*/ 1530955 h 5973007"/>
              <a:gd name="connsiteX52565" fmla="*/ 5859652 w 6884782"/>
              <a:gd name="connsiteY52565" fmla="*/ 1529960 h 5973007"/>
              <a:gd name="connsiteX52566" fmla="*/ 1215842 w 6884782"/>
              <a:gd name="connsiteY52566" fmla="*/ 1529778 h 5973007"/>
              <a:gd name="connsiteX52567" fmla="*/ 1217907 w 6884782"/>
              <a:gd name="connsiteY52567" fmla="*/ 1531327 h 5973007"/>
              <a:gd name="connsiteX52568" fmla="*/ 1218114 w 6884782"/>
              <a:gd name="connsiteY52568" fmla="*/ 1535509 h 5973007"/>
              <a:gd name="connsiteX52569" fmla="*/ 1210473 w 6884782"/>
              <a:gd name="connsiteY52569" fmla="*/ 1535045 h 5973007"/>
              <a:gd name="connsiteX52570" fmla="*/ 1209957 w 6884782"/>
              <a:gd name="connsiteY52570" fmla="*/ 1532412 h 5973007"/>
              <a:gd name="connsiteX52571" fmla="*/ 1215842 w 6884782"/>
              <a:gd name="connsiteY52571" fmla="*/ 1529778 h 5973007"/>
              <a:gd name="connsiteX52572" fmla="*/ 3770059 w 6884782"/>
              <a:gd name="connsiteY52572" fmla="*/ 1529248 h 5973007"/>
              <a:gd name="connsiteX52573" fmla="*/ 3776035 w 6884782"/>
              <a:gd name="connsiteY52573" fmla="*/ 1529248 h 5973007"/>
              <a:gd name="connsiteX52574" fmla="*/ 3766005 w 6884782"/>
              <a:gd name="connsiteY52574" fmla="*/ 1532094 h 5973007"/>
              <a:gd name="connsiteX52575" fmla="*/ 3770059 w 6884782"/>
              <a:gd name="connsiteY52575" fmla="*/ 1529248 h 5973007"/>
              <a:gd name="connsiteX52576" fmla="*/ 1246406 w 6884782"/>
              <a:gd name="connsiteY52576" fmla="*/ 1528849 h 5973007"/>
              <a:gd name="connsiteX52577" fmla="*/ 1251466 w 6884782"/>
              <a:gd name="connsiteY52577" fmla="*/ 1531327 h 5973007"/>
              <a:gd name="connsiteX52578" fmla="*/ 1246509 w 6884782"/>
              <a:gd name="connsiteY52578" fmla="*/ 1539847 h 5973007"/>
              <a:gd name="connsiteX52579" fmla="*/ 1242895 w 6884782"/>
              <a:gd name="connsiteY52579" fmla="*/ 1538452 h 5973007"/>
              <a:gd name="connsiteX52580" fmla="*/ 1241656 w 6884782"/>
              <a:gd name="connsiteY52580" fmla="*/ 1535664 h 5973007"/>
              <a:gd name="connsiteX52581" fmla="*/ 1246406 w 6884782"/>
              <a:gd name="connsiteY52581" fmla="*/ 1528849 h 5973007"/>
              <a:gd name="connsiteX52582" fmla="*/ 5773004 w 6884782"/>
              <a:gd name="connsiteY52582" fmla="*/ 1528680 h 5973007"/>
              <a:gd name="connsiteX52583" fmla="*/ 5772577 w 6884782"/>
              <a:gd name="connsiteY52583" fmla="*/ 1529533 h 5973007"/>
              <a:gd name="connsiteX52584" fmla="*/ 5773004 w 6884782"/>
              <a:gd name="connsiteY52584" fmla="*/ 1532805 h 5973007"/>
              <a:gd name="connsiteX52585" fmla="*/ 5778340 w 6884782"/>
              <a:gd name="connsiteY52585" fmla="*/ 1539065 h 5973007"/>
              <a:gd name="connsiteX52586" fmla="*/ 5777913 w 6884782"/>
              <a:gd name="connsiteY52586" fmla="*/ 1541768 h 5973007"/>
              <a:gd name="connsiteX52587" fmla="*/ 5774498 w 6884782"/>
              <a:gd name="connsiteY52587" fmla="*/ 1540914 h 5973007"/>
              <a:gd name="connsiteX52588" fmla="*/ 5774498 w 6884782"/>
              <a:gd name="connsiteY52588" fmla="*/ 1536646 h 5973007"/>
              <a:gd name="connsiteX52589" fmla="*/ 5771510 w 6884782"/>
              <a:gd name="connsiteY52589" fmla="*/ 1533232 h 5973007"/>
              <a:gd name="connsiteX52590" fmla="*/ 5771510 w 6884782"/>
              <a:gd name="connsiteY52590" fmla="*/ 1528964 h 5973007"/>
              <a:gd name="connsiteX52591" fmla="*/ 5773004 w 6884782"/>
              <a:gd name="connsiteY52591" fmla="*/ 1528680 h 5973007"/>
              <a:gd name="connsiteX52592" fmla="*/ 5117379 w 6884782"/>
              <a:gd name="connsiteY52592" fmla="*/ 1528680 h 5973007"/>
              <a:gd name="connsiteX52593" fmla="*/ 5125915 w 6884782"/>
              <a:gd name="connsiteY52593" fmla="*/ 1530955 h 5973007"/>
              <a:gd name="connsiteX52594" fmla="*/ 5117379 w 6884782"/>
              <a:gd name="connsiteY52594" fmla="*/ 1528680 h 5973007"/>
              <a:gd name="connsiteX52595" fmla="*/ 3684051 w 6884782"/>
              <a:gd name="connsiteY52595" fmla="*/ 1528252 h 5973007"/>
              <a:gd name="connsiteX52596" fmla="*/ 3690667 w 6884782"/>
              <a:gd name="connsiteY52596" fmla="*/ 1534939 h 5973007"/>
              <a:gd name="connsiteX52597" fmla="*/ 3687893 w 6884782"/>
              <a:gd name="connsiteY52597" fmla="*/ 1533943 h 5973007"/>
              <a:gd name="connsiteX52598" fmla="*/ 3690027 w 6884782"/>
              <a:gd name="connsiteY52598" fmla="*/ 1535935 h 5973007"/>
              <a:gd name="connsiteX52599" fmla="*/ 3692162 w 6884782"/>
              <a:gd name="connsiteY52599" fmla="*/ 1543191 h 5973007"/>
              <a:gd name="connsiteX52600" fmla="*/ 3689174 w 6884782"/>
              <a:gd name="connsiteY52600" fmla="*/ 1543048 h 5973007"/>
              <a:gd name="connsiteX52601" fmla="*/ 3694936 w 6884782"/>
              <a:gd name="connsiteY52601" fmla="*/ 1544613 h 5973007"/>
              <a:gd name="connsiteX52602" fmla="*/ 3702193 w 6884782"/>
              <a:gd name="connsiteY52602" fmla="*/ 1545609 h 5973007"/>
              <a:gd name="connsiteX52603" fmla="*/ 3709876 w 6884782"/>
              <a:gd name="connsiteY52603" fmla="*/ 1539634 h 5973007"/>
              <a:gd name="connsiteX52604" fmla="*/ 3714997 w 6884782"/>
              <a:gd name="connsiteY52604" fmla="*/ 1539919 h 5973007"/>
              <a:gd name="connsiteX52605" fmla="*/ 3701765 w 6884782"/>
              <a:gd name="connsiteY52605" fmla="*/ 1571787 h 5973007"/>
              <a:gd name="connsiteX52606" fmla="*/ 3693655 w 6884782"/>
              <a:gd name="connsiteY52606" fmla="*/ 1577904 h 5973007"/>
              <a:gd name="connsiteX52607" fmla="*/ 3696643 w 6884782"/>
              <a:gd name="connsiteY52607" fmla="*/ 1554857 h 5973007"/>
              <a:gd name="connsiteX52608" fmla="*/ 3676155 w 6884782"/>
              <a:gd name="connsiteY52608" fmla="*/ 1544898 h 5973007"/>
              <a:gd name="connsiteX52609" fmla="*/ 3681277 w 6884782"/>
              <a:gd name="connsiteY52609" fmla="*/ 1542337 h 5973007"/>
              <a:gd name="connsiteX52610" fmla="*/ 3680851 w 6884782"/>
              <a:gd name="connsiteY52610" fmla="*/ 1537927 h 5973007"/>
              <a:gd name="connsiteX52611" fmla="*/ 3681704 w 6884782"/>
              <a:gd name="connsiteY52611" fmla="*/ 1536789 h 5973007"/>
              <a:gd name="connsiteX52612" fmla="*/ 3680637 w 6884782"/>
              <a:gd name="connsiteY52612" fmla="*/ 1535224 h 5973007"/>
              <a:gd name="connsiteX52613" fmla="*/ 3679783 w 6884782"/>
              <a:gd name="connsiteY52613" fmla="*/ 1533801 h 5973007"/>
              <a:gd name="connsiteX52614" fmla="*/ 3681277 w 6884782"/>
              <a:gd name="connsiteY52614" fmla="*/ 1530955 h 5973007"/>
              <a:gd name="connsiteX52615" fmla="*/ 3683411 w 6884782"/>
              <a:gd name="connsiteY52615" fmla="*/ 1531098 h 5973007"/>
              <a:gd name="connsiteX52616" fmla="*/ 5497266 w 6884782"/>
              <a:gd name="connsiteY52616" fmla="*/ 1528110 h 5973007"/>
              <a:gd name="connsiteX52617" fmla="*/ 5501534 w 6884782"/>
              <a:gd name="connsiteY52617" fmla="*/ 1529533 h 5973007"/>
              <a:gd name="connsiteX52618" fmla="*/ 5495986 w 6884782"/>
              <a:gd name="connsiteY52618" fmla="*/ 1531809 h 5973007"/>
              <a:gd name="connsiteX52619" fmla="*/ 5492144 w 6884782"/>
              <a:gd name="connsiteY52619" fmla="*/ 1529248 h 5973007"/>
              <a:gd name="connsiteX52620" fmla="*/ 5497266 w 6884782"/>
              <a:gd name="connsiteY52620" fmla="*/ 1528110 h 5973007"/>
              <a:gd name="connsiteX52621" fmla="*/ 5999656 w 6884782"/>
              <a:gd name="connsiteY52621" fmla="*/ 1527683 h 5973007"/>
              <a:gd name="connsiteX52622" fmla="*/ 6001577 w 6884782"/>
              <a:gd name="connsiteY52622" fmla="*/ 1532520 h 5973007"/>
              <a:gd name="connsiteX52623" fmla="*/ 5994321 w 6884782"/>
              <a:gd name="connsiteY52623" fmla="*/ 1534797 h 5973007"/>
              <a:gd name="connsiteX52624" fmla="*/ 5992400 w 6884782"/>
              <a:gd name="connsiteY52624" fmla="*/ 1529960 h 5973007"/>
              <a:gd name="connsiteX52625" fmla="*/ 5999656 w 6884782"/>
              <a:gd name="connsiteY52625" fmla="*/ 1527683 h 5973007"/>
              <a:gd name="connsiteX52626" fmla="*/ 5505589 w 6884782"/>
              <a:gd name="connsiteY52626" fmla="*/ 1527541 h 5973007"/>
              <a:gd name="connsiteX52627" fmla="*/ 5505802 w 6884782"/>
              <a:gd name="connsiteY52627" fmla="*/ 1529106 h 5973007"/>
              <a:gd name="connsiteX52628" fmla="*/ 5506443 w 6884782"/>
              <a:gd name="connsiteY52628" fmla="*/ 1528110 h 5973007"/>
              <a:gd name="connsiteX52629" fmla="*/ 5506016 w 6884782"/>
              <a:gd name="connsiteY52629" fmla="*/ 1529675 h 5973007"/>
              <a:gd name="connsiteX52630" fmla="*/ 5505162 w 6884782"/>
              <a:gd name="connsiteY52630" fmla="*/ 1530244 h 5973007"/>
              <a:gd name="connsiteX52631" fmla="*/ 5501748 w 6884782"/>
              <a:gd name="connsiteY52631" fmla="*/ 1529391 h 5973007"/>
              <a:gd name="connsiteX52632" fmla="*/ 5505589 w 6884782"/>
              <a:gd name="connsiteY52632" fmla="*/ 1527541 h 5973007"/>
              <a:gd name="connsiteX52633" fmla="*/ 1069322 w 6884782"/>
              <a:gd name="connsiteY52633" fmla="*/ 1526990 h 5973007"/>
              <a:gd name="connsiteX52634" fmla="*/ 1064159 w 6884782"/>
              <a:gd name="connsiteY52634" fmla="*/ 1552393 h 5973007"/>
              <a:gd name="connsiteX52635" fmla="*/ 1060545 w 6884782"/>
              <a:gd name="connsiteY52635" fmla="*/ 1546817 h 5973007"/>
              <a:gd name="connsiteX52636" fmla="*/ 1069322 w 6884782"/>
              <a:gd name="connsiteY52636" fmla="*/ 1526990 h 5973007"/>
              <a:gd name="connsiteX52637" fmla="*/ 1103396 w 6884782"/>
              <a:gd name="connsiteY52637" fmla="*/ 1526526 h 5973007"/>
              <a:gd name="connsiteX52638" fmla="*/ 1114238 w 6884782"/>
              <a:gd name="connsiteY52638" fmla="*/ 1532876 h 5973007"/>
              <a:gd name="connsiteX52639" fmla="*/ 1101847 w 6884782"/>
              <a:gd name="connsiteY52639" fmla="*/ 1531482 h 5973007"/>
              <a:gd name="connsiteX52640" fmla="*/ 1103396 w 6884782"/>
              <a:gd name="connsiteY52640" fmla="*/ 1526526 h 5973007"/>
              <a:gd name="connsiteX52641" fmla="*/ 3785213 w 6884782"/>
              <a:gd name="connsiteY52641" fmla="*/ 1525834 h 5973007"/>
              <a:gd name="connsiteX52642" fmla="*/ 3785213 w 6884782"/>
              <a:gd name="connsiteY52642" fmla="*/ 1530955 h 5973007"/>
              <a:gd name="connsiteX52643" fmla="*/ 3782225 w 6884782"/>
              <a:gd name="connsiteY52643" fmla="*/ 1533232 h 5973007"/>
              <a:gd name="connsiteX52644" fmla="*/ 3781798 w 6884782"/>
              <a:gd name="connsiteY52644" fmla="*/ 1532094 h 5973007"/>
              <a:gd name="connsiteX52645" fmla="*/ 3779450 w 6884782"/>
              <a:gd name="connsiteY52645" fmla="*/ 1527968 h 5973007"/>
              <a:gd name="connsiteX52646" fmla="*/ 3785213 w 6884782"/>
              <a:gd name="connsiteY52646" fmla="*/ 1525834 h 5973007"/>
              <a:gd name="connsiteX52647" fmla="*/ 4545627 w 6884782"/>
              <a:gd name="connsiteY52647" fmla="*/ 1524838 h 5973007"/>
              <a:gd name="connsiteX52648" fmla="*/ 4546694 w 6884782"/>
              <a:gd name="connsiteY52648" fmla="*/ 1524980 h 5973007"/>
              <a:gd name="connsiteX52649" fmla="*/ 4545414 w 6884782"/>
              <a:gd name="connsiteY52649" fmla="*/ 1527399 h 5973007"/>
              <a:gd name="connsiteX52650" fmla="*/ 4545627 w 6884782"/>
              <a:gd name="connsiteY52650" fmla="*/ 1524838 h 5973007"/>
              <a:gd name="connsiteX52651" fmla="*/ 1203658 w 6884782"/>
              <a:gd name="connsiteY52651" fmla="*/ 1524667 h 5973007"/>
              <a:gd name="connsiteX52652" fmla="*/ 1200560 w 6884782"/>
              <a:gd name="connsiteY52652" fmla="*/ 1531637 h 5973007"/>
              <a:gd name="connsiteX52653" fmla="*/ 1203658 w 6884782"/>
              <a:gd name="connsiteY52653" fmla="*/ 1524667 h 5973007"/>
              <a:gd name="connsiteX52654" fmla="*/ 5805657 w 6884782"/>
              <a:gd name="connsiteY52654" fmla="*/ 1523984 h 5973007"/>
              <a:gd name="connsiteX52655" fmla="*/ 5809712 w 6884782"/>
              <a:gd name="connsiteY52655" fmla="*/ 1523984 h 5973007"/>
              <a:gd name="connsiteX52656" fmla="*/ 5814194 w 6884782"/>
              <a:gd name="connsiteY52656" fmla="*/ 1528252 h 5973007"/>
              <a:gd name="connsiteX52657" fmla="*/ 5801602 w 6884782"/>
              <a:gd name="connsiteY52657" fmla="*/ 1540630 h 5973007"/>
              <a:gd name="connsiteX52658" fmla="*/ 5797548 w 6884782"/>
              <a:gd name="connsiteY52658" fmla="*/ 1533374 h 5973007"/>
              <a:gd name="connsiteX52659" fmla="*/ 5805657 w 6884782"/>
              <a:gd name="connsiteY52659" fmla="*/ 1523984 h 5973007"/>
              <a:gd name="connsiteX52660" fmla="*/ 4189002 w 6884782"/>
              <a:gd name="connsiteY52660" fmla="*/ 1523984 h 5973007"/>
              <a:gd name="connsiteX52661" fmla="*/ 4197540 w 6884782"/>
              <a:gd name="connsiteY52661" fmla="*/ 1547743 h 5973007"/>
              <a:gd name="connsiteX52662" fmla="*/ 4174063 w 6884782"/>
              <a:gd name="connsiteY52662" fmla="*/ 1575343 h 5973007"/>
              <a:gd name="connsiteX52663" fmla="*/ 4170862 w 6884782"/>
              <a:gd name="connsiteY52663" fmla="*/ 1573352 h 5973007"/>
              <a:gd name="connsiteX52664" fmla="*/ 4164673 w 6884782"/>
              <a:gd name="connsiteY52664" fmla="*/ 1558129 h 5973007"/>
              <a:gd name="connsiteX52665" fmla="*/ 4165740 w 6884782"/>
              <a:gd name="connsiteY52665" fmla="*/ 1549735 h 5973007"/>
              <a:gd name="connsiteX52666" fmla="*/ 4159764 w 6884782"/>
              <a:gd name="connsiteY52666" fmla="*/ 1550162 h 5973007"/>
              <a:gd name="connsiteX52667" fmla="*/ 4162752 w 6884782"/>
              <a:gd name="connsiteY52667" fmla="*/ 1544471 h 5973007"/>
              <a:gd name="connsiteX52668" fmla="*/ 4166380 w 6884782"/>
              <a:gd name="connsiteY52668" fmla="*/ 1545183 h 5973007"/>
              <a:gd name="connsiteX52669" fmla="*/ 4166807 w 6884782"/>
              <a:gd name="connsiteY52669" fmla="*/ 1542053 h 5973007"/>
              <a:gd name="connsiteX52670" fmla="*/ 4189002 w 6884782"/>
              <a:gd name="connsiteY52670" fmla="*/ 1523984 h 5973007"/>
              <a:gd name="connsiteX52671" fmla="*/ 3811250 w 6884782"/>
              <a:gd name="connsiteY52671" fmla="*/ 1523984 h 5973007"/>
              <a:gd name="connsiteX52672" fmla="*/ 3814665 w 6884782"/>
              <a:gd name="connsiteY52672" fmla="*/ 1527399 h 5973007"/>
              <a:gd name="connsiteX52673" fmla="*/ 3813811 w 6884782"/>
              <a:gd name="connsiteY52673" fmla="*/ 1529533 h 5973007"/>
              <a:gd name="connsiteX52674" fmla="*/ 3814238 w 6884782"/>
              <a:gd name="connsiteY52674" fmla="*/ 1530102 h 5973007"/>
              <a:gd name="connsiteX52675" fmla="*/ 3810396 w 6884782"/>
              <a:gd name="connsiteY52675" fmla="*/ 1533090 h 5973007"/>
              <a:gd name="connsiteX52676" fmla="*/ 3805701 w 6884782"/>
              <a:gd name="connsiteY52676" fmla="*/ 1533943 h 5973007"/>
              <a:gd name="connsiteX52677" fmla="*/ 3806555 w 6884782"/>
              <a:gd name="connsiteY52677" fmla="*/ 1524838 h 5973007"/>
              <a:gd name="connsiteX52678" fmla="*/ 3810610 w 6884782"/>
              <a:gd name="connsiteY52678" fmla="*/ 1526118 h 5973007"/>
              <a:gd name="connsiteX52679" fmla="*/ 3811250 w 6884782"/>
              <a:gd name="connsiteY52679" fmla="*/ 1523984 h 5973007"/>
              <a:gd name="connsiteX52680" fmla="*/ 3943570 w 6884782"/>
              <a:gd name="connsiteY52680" fmla="*/ 1523415 h 5973007"/>
              <a:gd name="connsiteX52681" fmla="*/ 3948052 w 6884782"/>
              <a:gd name="connsiteY52681" fmla="*/ 1523415 h 5973007"/>
              <a:gd name="connsiteX52682" fmla="*/ 3956375 w 6884782"/>
              <a:gd name="connsiteY52682" fmla="*/ 1526403 h 5973007"/>
              <a:gd name="connsiteX52683" fmla="*/ 3958723 w 6884782"/>
              <a:gd name="connsiteY52683" fmla="*/ 1527399 h 5973007"/>
              <a:gd name="connsiteX52684" fmla="*/ 3958936 w 6884782"/>
              <a:gd name="connsiteY52684" fmla="*/ 1526261 h 5973007"/>
              <a:gd name="connsiteX52685" fmla="*/ 3960004 w 6884782"/>
              <a:gd name="connsiteY52685" fmla="*/ 1527825 h 5973007"/>
              <a:gd name="connsiteX52686" fmla="*/ 3960216 w 6884782"/>
              <a:gd name="connsiteY52686" fmla="*/ 1527825 h 5973007"/>
              <a:gd name="connsiteX52687" fmla="*/ 3961284 w 6884782"/>
              <a:gd name="connsiteY52687" fmla="*/ 1527968 h 5973007"/>
              <a:gd name="connsiteX52688" fmla="*/ 3965125 w 6884782"/>
              <a:gd name="connsiteY52688" fmla="*/ 1531667 h 5973007"/>
              <a:gd name="connsiteX52689" fmla="*/ 3964485 w 6884782"/>
              <a:gd name="connsiteY52689" fmla="*/ 1534512 h 5973007"/>
              <a:gd name="connsiteX52690" fmla="*/ 3958509 w 6884782"/>
              <a:gd name="connsiteY52690" fmla="*/ 1537216 h 5973007"/>
              <a:gd name="connsiteX52691" fmla="*/ 3958936 w 6884782"/>
              <a:gd name="connsiteY52691" fmla="*/ 1552296 h 5973007"/>
              <a:gd name="connsiteX52692" fmla="*/ 3956375 w 6884782"/>
              <a:gd name="connsiteY52692" fmla="*/ 1557702 h 5973007"/>
              <a:gd name="connsiteX52693" fmla="*/ 3958083 w 6884782"/>
              <a:gd name="connsiteY52693" fmla="*/ 1558414 h 5973007"/>
              <a:gd name="connsiteX52694" fmla="*/ 3960004 w 6884782"/>
              <a:gd name="connsiteY52694" fmla="*/ 1563678 h 5973007"/>
              <a:gd name="connsiteX52695" fmla="*/ 3959576 w 6884782"/>
              <a:gd name="connsiteY52695" fmla="*/ 1562681 h 5973007"/>
              <a:gd name="connsiteX52696" fmla="*/ 3957442 w 6884782"/>
              <a:gd name="connsiteY52696" fmla="*/ 1563820 h 5973007"/>
              <a:gd name="connsiteX52697" fmla="*/ 3958083 w 6884782"/>
              <a:gd name="connsiteY52697" fmla="*/ 1564958 h 5973007"/>
              <a:gd name="connsiteX52698" fmla="*/ 3955521 w 6884782"/>
              <a:gd name="connsiteY52698" fmla="*/ 1565242 h 5973007"/>
              <a:gd name="connsiteX52699" fmla="*/ 3950826 w 6884782"/>
              <a:gd name="connsiteY52699" fmla="*/ 1563251 h 5973007"/>
              <a:gd name="connsiteX52700" fmla="*/ 3950400 w 6884782"/>
              <a:gd name="connsiteY52700" fmla="*/ 1562681 h 5973007"/>
              <a:gd name="connsiteX52701" fmla="*/ 3949333 w 6884782"/>
              <a:gd name="connsiteY52701" fmla="*/ 1563393 h 5973007"/>
              <a:gd name="connsiteX52702" fmla="*/ 3942076 w 6884782"/>
              <a:gd name="connsiteY52702" fmla="*/ 1562255 h 5973007"/>
              <a:gd name="connsiteX52703" fmla="*/ 3942930 w 6884782"/>
              <a:gd name="connsiteY52703" fmla="*/ 1554857 h 5973007"/>
              <a:gd name="connsiteX52704" fmla="*/ 3943357 w 6884782"/>
              <a:gd name="connsiteY52704" fmla="*/ 1554145 h 5973007"/>
              <a:gd name="connsiteX52705" fmla="*/ 3940795 w 6884782"/>
              <a:gd name="connsiteY52705" fmla="*/ 1551015 h 5973007"/>
              <a:gd name="connsiteX52706" fmla="*/ 3939515 w 6884782"/>
              <a:gd name="connsiteY52706" fmla="*/ 1553149 h 5973007"/>
              <a:gd name="connsiteX52707" fmla="*/ 3936527 w 6884782"/>
              <a:gd name="connsiteY52707" fmla="*/ 1554714 h 5973007"/>
              <a:gd name="connsiteX52708" fmla="*/ 3933966 w 6884782"/>
              <a:gd name="connsiteY52708" fmla="*/ 1554003 h 5973007"/>
              <a:gd name="connsiteX52709" fmla="*/ 3933539 w 6884782"/>
              <a:gd name="connsiteY52709" fmla="*/ 1553007 h 5973007"/>
              <a:gd name="connsiteX52710" fmla="*/ 3932472 w 6884782"/>
              <a:gd name="connsiteY52710" fmla="*/ 1548455 h 5973007"/>
              <a:gd name="connsiteX52711" fmla="*/ 3934607 w 6884782"/>
              <a:gd name="connsiteY52711" fmla="*/ 1545467 h 5973007"/>
              <a:gd name="connsiteX52712" fmla="*/ 3937167 w 6884782"/>
              <a:gd name="connsiteY52712" fmla="*/ 1544186 h 5973007"/>
              <a:gd name="connsiteX52713" fmla="*/ 3936741 w 6884782"/>
              <a:gd name="connsiteY52713" fmla="*/ 1542906 h 5973007"/>
              <a:gd name="connsiteX52714" fmla="*/ 3940155 w 6884782"/>
              <a:gd name="connsiteY52714" fmla="*/ 1533090 h 5973007"/>
              <a:gd name="connsiteX52715" fmla="*/ 3941222 w 6884782"/>
              <a:gd name="connsiteY52715" fmla="*/ 1533232 h 5973007"/>
              <a:gd name="connsiteX52716" fmla="*/ 3939515 w 6884782"/>
              <a:gd name="connsiteY52716" fmla="*/ 1525692 h 5973007"/>
              <a:gd name="connsiteX52717" fmla="*/ 3943570 w 6884782"/>
              <a:gd name="connsiteY52717" fmla="*/ 1523415 h 5973007"/>
              <a:gd name="connsiteX52718" fmla="*/ 1744346 w 6884782"/>
              <a:gd name="connsiteY52718" fmla="*/ 1523292 h 5973007"/>
              <a:gd name="connsiteX52719" fmla="*/ 1749574 w 6884782"/>
              <a:gd name="connsiteY52719" fmla="*/ 1524976 h 5973007"/>
              <a:gd name="connsiteX52720" fmla="*/ 1749367 w 6884782"/>
              <a:gd name="connsiteY52720" fmla="*/ 1525131 h 5973007"/>
              <a:gd name="connsiteX52721" fmla="*/ 1751845 w 6884782"/>
              <a:gd name="connsiteY52721" fmla="*/ 1525751 h 5973007"/>
              <a:gd name="connsiteX52722" fmla="*/ 1755976 w 6884782"/>
              <a:gd name="connsiteY52722" fmla="*/ 1526835 h 5973007"/>
              <a:gd name="connsiteX52723" fmla="*/ 1752258 w 6884782"/>
              <a:gd name="connsiteY52723" fmla="*/ 1534580 h 5973007"/>
              <a:gd name="connsiteX52724" fmla="*/ 1746786 w 6884782"/>
              <a:gd name="connsiteY52724" fmla="*/ 1530862 h 5973007"/>
              <a:gd name="connsiteX52725" fmla="*/ 1746373 w 6884782"/>
              <a:gd name="connsiteY52725" fmla="*/ 1528074 h 5973007"/>
              <a:gd name="connsiteX52726" fmla="*/ 1746579 w 6884782"/>
              <a:gd name="connsiteY52726" fmla="*/ 1527300 h 5973007"/>
              <a:gd name="connsiteX52727" fmla="*/ 1745443 w 6884782"/>
              <a:gd name="connsiteY52727" fmla="*/ 1528229 h 5973007"/>
              <a:gd name="connsiteX52728" fmla="*/ 1741520 w 6884782"/>
              <a:gd name="connsiteY52728" fmla="*/ 1527764 h 5973007"/>
              <a:gd name="connsiteX52729" fmla="*/ 1744346 w 6884782"/>
              <a:gd name="connsiteY52729" fmla="*/ 1523292 h 5973007"/>
              <a:gd name="connsiteX52730" fmla="*/ 1382498 w 6884782"/>
              <a:gd name="connsiteY52730" fmla="*/ 1523273 h 5973007"/>
              <a:gd name="connsiteX52731" fmla="*/ 1388383 w 6884782"/>
              <a:gd name="connsiteY52731" fmla="*/ 1529468 h 5973007"/>
              <a:gd name="connsiteX52732" fmla="*/ 1382498 w 6884782"/>
              <a:gd name="connsiteY52732" fmla="*/ 1525441 h 5973007"/>
              <a:gd name="connsiteX52733" fmla="*/ 1382498 w 6884782"/>
              <a:gd name="connsiteY52733" fmla="*/ 1523273 h 5973007"/>
              <a:gd name="connsiteX52734" fmla="*/ 6130056 w 6884782"/>
              <a:gd name="connsiteY52734" fmla="*/ 1523131 h 5973007"/>
              <a:gd name="connsiteX52735" fmla="*/ 6140513 w 6884782"/>
              <a:gd name="connsiteY52735" fmla="*/ 1526688 h 5973007"/>
              <a:gd name="connsiteX52736" fmla="*/ 6142647 w 6884782"/>
              <a:gd name="connsiteY52736" fmla="*/ 1527825 h 5973007"/>
              <a:gd name="connsiteX52737" fmla="*/ 6144995 w 6884782"/>
              <a:gd name="connsiteY52737" fmla="*/ 1529106 h 5973007"/>
              <a:gd name="connsiteX52738" fmla="*/ 6146275 w 6884782"/>
              <a:gd name="connsiteY52738" fmla="*/ 1531098 h 5973007"/>
              <a:gd name="connsiteX52739" fmla="*/ 6145635 w 6884782"/>
              <a:gd name="connsiteY52739" fmla="*/ 1533943 h 5973007"/>
              <a:gd name="connsiteX52740" fmla="*/ 6125574 w 6884782"/>
              <a:gd name="connsiteY52740" fmla="*/ 1526403 h 5973007"/>
              <a:gd name="connsiteX52741" fmla="*/ 6126854 w 6884782"/>
              <a:gd name="connsiteY52741" fmla="*/ 1523984 h 5973007"/>
              <a:gd name="connsiteX52742" fmla="*/ 6130056 w 6884782"/>
              <a:gd name="connsiteY52742" fmla="*/ 1523131 h 5973007"/>
              <a:gd name="connsiteX52743" fmla="*/ 3824268 w 6884782"/>
              <a:gd name="connsiteY52743" fmla="*/ 1522988 h 5973007"/>
              <a:gd name="connsiteX52744" fmla="*/ 3828750 w 6884782"/>
              <a:gd name="connsiteY52744" fmla="*/ 1530529 h 5973007"/>
              <a:gd name="connsiteX52745" fmla="*/ 3824909 w 6884782"/>
              <a:gd name="connsiteY52745" fmla="*/ 1554999 h 5973007"/>
              <a:gd name="connsiteX52746" fmla="*/ 3824268 w 6884782"/>
              <a:gd name="connsiteY52746" fmla="*/ 1522988 h 5973007"/>
              <a:gd name="connsiteX52747" fmla="*/ 3575634 w 6884782"/>
              <a:gd name="connsiteY52747" fmla="*/ 1522561 h 5973007"/>
              <a:gd name="connsiteX52748" fmla="*/ 3591214 w 6884782"/>
              <a:gd name="connsiteY52748" fmla="*/ 1532094 h 5973007"/>
              <a:gd name="connsiteX52749" fmla="*/ 3594628 w 6884782"/>
              <a:gd name="connsiteY52749" fmla="*/ 1536219 h 5973007"/>
              <a:gd name="connsiteX52750" fmla="*/ 3594628 w 6884782"/>
              <a:gd name="connsiteY52750" fmla="*/ 1536077 h 5973007"/>
              <a:gd name="connsiteX52751" fmla="*/ 3599751 w 6884782"/>
              <a:gd name="connsiteY52751" fmla="*/ 1531809 h 5973007"/>
              <a:gd name="connsiteX52752" fmla="*/ 3603379 w 6884782"/>
              <a:gd name="connsiteY52752" fmla="*/ 1532378 h 5973007"/>
              <a:gd name="connsiteX52753" fmla="*/ 3607007 w 6884782"/>
              <a:gd name="connsiteY52753" fmla="*/ 1538638 h 5973007"/>
              <a:gd name="connsiteX52754" fmla="*/ 3606794 w 6884782"/>
              <a:gd name="connsiteY52754" fmla="*/ 1541057 h 5973007"/>
              <a:gd name="connsiteX52755" fmla="*/ 3607220 w 6884782"/>
              <a:gd name="connsiteY52755" fmla="*/ 1541057 h 5973007"/>
              <a:gd name="connsiteX52756" fmla="*/ 3606794 w 6884782"/>
              <a:gd name="connsiteY52756" fmla="*/ 1541483 h 5973007"/>
              <a:gd name="connsiteX52757" fmla="*/ 3606580 w 6884782"/>
              <a:gd name="connsiteY52757" fmla="*/ 1542479 h 5973007"/>
              <a:gd name="connsiteX52758" fmla="*/ 3607861 w 6884782"/>
              <a:gd name="connsiteY52758" fmla="*/ 1542053 h 5973007"/>
              <a:gd name="connsiteX52759" fmla="*/ 3615330 w 6884782"/>
              <a:gd name="connsiteY52759" fmla="*/ 1543048 h 5973007"/>
              <a:gd name="connsiteX52760" fmla="*/ 3612129 w 6884782"/>
              <a:gd name="connsiteY52760" fmla="*/ 1549877 h 5973007"/>
              <a:gd name="connsiteX52761" fmla="*/ 3611062 w 6884782"/>
              <a:gd name="connsiteY52761" fmla="*/ 1549593 h 5973007"/>
              <a:gd name="connsiteX52762" fmla="*/ 3610849 w 6884782"/>
              <a:gd name="connsiteY52762" fmla="*/ 1549735 h 5973007"/>
              <a:gd name="connsiteX52763" fmla="*/ 3610208 w 6884782"/>
              <a:gd name="connsiteY52763" fmla="*/ 1552722 h 5973007"/>
              <a:gd name="connsiteX52764" fmla="*/ 3605940 w 6884782"/>
              <a:gd name="connsiteY52764" fmla="*/ 1551157 h 5973007"/>
              <a:gd name="connsiteX52765" fmla="*/ 3605300 w 6884782"/>
              <a:gd name="connsiteY52765" fmla="*/ 1549877 h 5973007"/>
              <a:gd name="connsiteX52766" fmla="*/ 3604659 w 6884782"/>
              <a:gd name="connsiteY52766" fmla="*/ 1550020 h 5973007"/>
              <a:gd name="connsiteX52767" fmla="*/ 3603592 w 6884782"/>
              <a:gd name="connsiteY52767" fmla="*/ 1552011 h 5973007"/>
              <a:gd name="connsiteX52768" fmla="*/ 3604446 w 6884782"/>
              <a:gd name="connsiteY52768" fmla="*/ 1554430 h 5973007"/>
              <a:gd name="connsiteX52769" fmla="*/ 3600178 w 6884782"/>
              <a:gd name="connsiteY52769" fmla="*/ 1555141 h 5973007"/>
              <a:gd name="connsiteX52770" fmla="*/ 3596763 w 6884782"/>
              <a:gd name="connsiteY52770" fmla="*/ 1556564 h 5973007"/>
              <a:gd name="connsiteX52771" fmla="*/ 3593135 w 6884782"/>
              <a:gd name="connsiteY52771" fmla="*/ 1554288 h 5973007"/>
              <a:gd name="connsiteX52772" fmla="*/ 3592921 w 6884782"/>
              <a:gd name="connsiteY52772" fmla="*/ 1552865 h 5973007"/>
              <a:gd name="connsiteX52773" fmla="*/ 3584384 w 6884782"/>
              <a:gd name="connsiteY52773" fmla="*/ 1545183 h 5973007"/>
              <a:gd name="connsiteX52774" fmla="*/ 3570086 w 6884782"/>
              <a:gd name="connsiteY52774" fmla="*/ 1563820 h 5973007"/>
              <a:gd name="connsiteX52775" fmla="*/ 3577341 w 6884782"/>
              <a:gd name="connsiteY52775" fmla="*/ 1537073 h 5973007"/>
              <a:gd name="connsiteX52776" fmla="*/ 3575634 w 6884782"/>
              <a:gd name="connsiteY52776" fmla="*/ 1522561 h 5973007"/>
              <a:gd name="connsiteX52777" fmla="*/ 915366 w 6884782"/>
              <a:gd name="connsiteY52777" fmla="*/ 1522498 h 5973007"/>
              <a:gd name="connsiteX52778" fmla="*/ 923834 w 6884782"/>
              <a:gd name="connsiteY52778" fmla="*/ 1548676 h 5973007"/>
              <a:gd name="connsiteX52779" fmla="*/ 915366 w 6884782"/>
              <a:gd name="connsiteY52779" fmla="*/ 1522498 h 5973007"/>
              <a:gd name="connsiteX52780" fmla="*/ 4698009 w 6884782"/>
              <a:gd name="connsiteY52780" fmla="*/ 1522135 h 5973007"/>
              <a:gd name="connsiteX52781" fmla="*/ 4700997 w 6884782"/>
              <a:gd name="connsiteY52781" fmla="*/ 1522704 h 5973007"/>
              <a:gd name="connsiteX52782" fmla="*/ 4703344 w 6884782"/>
              <a:gd name="connsiteY52782" fmla="*/ 1528964 h 5973007"/>
              <a:gd name="connsiteX52783" fmla="*/ 4701637 w 6884782"/>
              <a:gd name="connsiteY52783" fmla="*/ 1531240 h 5973007"/>
              <a:gd name="connsiteX52784" fmla="*/ 4700570 w 6884782"/>
              <a:gd name="connsiteY52784" fmla="*/ 1531098 h 5973007"/>
              <a:gd name="connsiteX52785" fmla="*/ 4696088 w 6884782"/>
              <a:gd name="connsiteY52785" fmla="*/ 1530244 h 5973007"/>
              <a:gd name="connsiteX52786" fmla="*/ 4694167 w 6884782"/>
              <a:gd name="connsiteY52786" fmla="*/ 1523984 h 5973007"/>
              <a:gd name="connsiteX52787" fmla="*/ 4698009 w 6884782"/>
              <a:gd name="connsiteY52787" fmla="*/ 1522135 h 5973007"/>
              <a:gd name="connsiteX52788" fmla="*/ 1505269 w 6884782"/>
              <a:gd name="connsiteY52788" fmla="*/ 1521724 h 5973007"/>
              <a:gd name="connsiteX52789" fmla="*/ 1507541 w 6884782"/>
              <a:gd name="connsiteY52789" fmla="*/ 1532102 h 5973007"/>
              <a:gd name="connsiteX52790" fmla="*/ 1502172 w 6884782"/>
              <a:gd name="connsiteY52790" fmla="*/ 1532412 h 5973007"/>
              <a:gd name="connsiteX52791" fmla="*/ 1500003 w 6884782"/>
              <a:gd name="connsiteY52791" fmla="*/ 1527300 h 5973007"/>
              <a:gd name="connsiteX52792" fmla="*/ 1501552 w 6884782"/>
              <a:gd name="connsiteY52792" fmla="*/ 1522188 h 5973007"/>
              <a:gd name="connsiteX52793" fmla="*/ 1505269 w 6884782"/>
              <a:gd name="connsiteY52793" fmla="*/ 1521724 h 5973007"/>
              <a:gd name="connsiteX52794" fmla="*/ 1757731 w 6884782"/>
              <a:gd name="connsiteY52794" fmla="*/ 1521259 h 5973007"/>
              <a:gd name="connsiteX52795" fmla="*/ 1762687 w 6884782"/>
              <a:gd name="connsiteY52795" fmla="*/ 1521569 h 5973007"/>
              <a:gd name="connsiteX52796" fmla="*/ 1763410 w 6884782"/>
              <a:gd name="connsiteY52796" fmla="*/ 1528074 h 5973007"/>
              <a:gd name="connsiteX52797" fmla="*/ 1756595 w 6884782"/>
              <a:gd name="connsiteY52797" fmla="*/ 1528384 h 5973007"/>
              <a:gd name="connsiteX52798" fmla="*/ 1757731 w 6884782"/>
              <a:gd name="connsiteY52798" fmla="*/ 1521259 h 5973007"/>
              <a:gd name="connsiteX52799" fmla="*/ 5924745 w 6884782"/>
              <a:gd name="connsiteY52799" fmla="*/ 1520997 h 5973007"/>
              <a:gd name="connsiteX52800" fmla="*/ 5933069 w 6884782"/>
              <a:gd name="connsiteY52800" fmla="*/ 1526403 h 5973007"/>
              <a:gd name="connsiteX52801" fmla="*/ 5932856 w 6884782"/>
              <a:gd name="connsiteY52801" fmla="*/ 1539491 h 5973007"/>
              <a:gd name="connsiteX52802" fmla="*/ 5926666 w 6884782"/>
              <a:gd name="connsiteY52802" fmla="*/ 1541057 h 5973007"/>
              <a:gd name="connsiteX52803" fmla="*/ 5926240 w 6884782"/>
              <a:gd name="connsiteY52803" fmla="*/ 1540630 h 5973007"/>
              <a:gd name="connsiteX52804" fmla="*/ 5914715 w 6884782"/>
              <a:gd name="connsiteY52804" fmla="*/ 1534654 h 5973007"/>
              <a:gd name="connsiteX52805" fmla="*/ 5913007 w 6884782"/>
              <a:gd name="connsiteY52805" fmla="*/ 1527399 h 5973007"/>
              <a:gd name="connsiteX52806" fmla="*/ 5916636 w 6884782"/>
              <a:gd name="connsiteY52806" fmla="*/ 1526261 h 5973007"/>
              <a:gd name="connsiteX52807" fmla="*/ 5921758 w 6884782"/>
              <a:gd name="connsiteY52807" fmla="*/ 1529248 h 5973007"/>
              <a:gd name="connsiteX52808" fmla="*/ 5921758 w 6884782"/>
              <a:gd name="connsiteY52808" fmla="*/ 1526688 h 5973007"/>
              <a:gd name="connsiteX52809" fmla="*/ 5924745 w 6884782"/>
              <a:gd name="connsiteY52809" fmla="*/ 1520997 h 5973007"/>
              <a:gd name="connsiteX52810" fmla="*/ 5048018 w 6884782"/>
              <a:gd name="connsiteY52810" fmla="*/ 1520854 h 5973007"/>
              <a:gd name="connsiteX52811" fmla="*/ 5054633 w 6884782"/>
              <a:gd name="connsiteY52811" fmla="*/ 1525265 h 5973007"/>
              <a:gd name="connsiteX52812" fmla="*/ 5036492 w 6884782"/>
              <a:gd name="connsiteY52812" fmla="*/ 1529533 h 5973007"/>
              <a:gd name="connsiteX52813" fmla="*/ 5036492 w 6884782"/>
              <a:gd name="connsiteY52813" fmla="*/ 1521851 h 5973007"/>
              <a:gd name="connsiteX52814" fmla="*/ 5048018 w 6884782"/>
              <a:gd name="connsiteY52814" fmla="*/ 1520854 h 5973007"/>
              <a:gd name="connsiteX52815" fmla="*/ 3975156 w 6884782"/>
              <a:gd name="connsiteY52815" fmla="*/ 1520143 h 5973007"/>
              <a:gd name="connsiteX52816" fmla="*/ 3985614 w 6884782"/>
              <a:gd name="connsiteY52816" fmla="*/ 1529960 h 5973007"/>
              <a:gd name="connsiteX52817" fmla="*/ 3983053 w 6884782"/>
              <a:gd name="connsiteY52817" fmla="*/ 1536077 h 5973007"/>
              <a:gd name="connsiteX52818" fmla="*/ 3969607 w 6884782"/>
              <a:gd name="connsiteY52818" fmla="*/ 1523273 h 5973007"/>
              <a:gd name="connsiteX52819" fmla="*/ 3975156 w 6884782"/>
              <a:gd name="connsiteY52819" fmla="*/ 1520143 h 5973007"/>
              <a:gd name="connsiteX52820" fmla="*/ 5769163 w 6884782"/>
              <a:gd name="connsiteY52820" fmla="*/ 1520001 h 5973007"/>
              <a:gd name="connsiteX52821" fmla="*/ 5770656 w 6884782"/>
              <a:gd name="connsiteY52821" fmla="*/ 1528395 h 5973007"/>
              <a:gd name="connsiteX52822" fmla="*/ 5770016 w 6884782"/>
              <a:gd name="connsiteY52822" fmla="*/ 1524980 h 5973007"/>
              <a:gd name="connsiteX52823" fmla="*/ 5768096 w 6884782"/>
              <a:gd name="connsiteY52823" fmla="*/ 1523842 h 5973007"/>
              <a:gd name="connsiteX52824" fmla="*/ 5769163 w 6884782"/>
              <a:gd name="connsiteY52824" fmla="*/ 1520001 h 5973007"/>
              <a:gd name="connsiteX52825" fmla="*/ 5740138 w 6884782"/>
              <a:gd name="connsiteY52825" fmla="*/ 1520001 h 5973007"/>
              <a:gd name="connsiteX52826" fmla="*/ 5742699 w 6884782"/>
              <a:gd name="connsiteY52826" fmla="*/ 1525407 h 5973007"/>
              <a:gd name="connsiteX52827" fmla="*/ 5737363 w 6884782"/>
              <a:gd name="connsiteY52827" fmla="*/ 1545325 h 5973007"/>
              <a:gd name="connsiteX52828" fmla="*/ 5726479 w 6884782"/>
              <a:gd name="connsiteY52828" fmla="*/ 1542337 h 5973007"/>
              <a:gd name="connsiteX52829" fmla="*/ 5740138 w 6884782"/>
              <a:gd name="connsiteY52829" fmla="*/ 1520001 h 5973007"/>
              <a:gd name="connsiteX52830" fmla="*/ 4386203 w 6884782"/>
              <a:gd name="connsiteY52830" fmla="*/ 1518720 h 5973007"/>
              <a:gd name="connsiteX52831" fmla="*/ 4388550 w 6884782"/>
              <a:gd name="connsiteY52831" fmla="*/ 1520428 h 5973007"/>
              <a:gd name="connsiteX52832" fmla="*/ 4388337 w 6884782"/>
              <a:gd name="connsiteY52832" fmla="*/ 1521566 h 5973007"/>
              <a:gd name="connsiteX52833" fmla="*/ 4387910 w 6884782"/>
              <a:gd name="connsiteY52833" fmla="*/ 1526403 h 5973007"/>
              <a:gd name="connsiteX52834" fmla="*/ 4381934 w 6884782"/>
              <a:gd name="connsiteY52834" fmla="*/ 1528537 h 5973007"/>
              <a:gd name="connsiteX52835" fmla="*/ 4380440 w 6884782"/>
              <a:gd name="connsiteY52835" fmla="*/ 1521423 h 5973007"/>
              <a:gd name="connsiteX52836" fmla="*/ 4386203 w 6884782"/>
              <a:gd name="connsiteY52836" fmla="*/ 1518720 h 5973007"/>
              <a:gd name="connsiteX52837" fmla="*/ 5957826 w 6884782"/>
              <a:gd name="connsiteY52837" fmla="*/ 1518436 h 5973007"/>
              <a:gd name="connsiteX52838" fmla="*/ 5969564 w 6884782"/>
              <a:gd name="connsiteY52838" fmla="*/ 1526118 h 5973007"/>
              <a:gd name="connsiteX52839" fmla="*/ 5954411 w 6884782"/>
              <a:gd name="connsiteY52839" fmla="*/ 1518863 h 5973007"/>
              <a:gd name="connsiteX52840" fmla="*/ 5957826 w 6884782"/>
              <a:gd name="connsiteY52840" fmla="*/ 1518436 h 5973007"/>
              <a:gd name="connsiteX52841" fmla="*/ 5222594 w 6884782"/>
              <a:gd name="connsiteY52841" fmla="*/ 1518151 h 5973007"/>
              <a:gd name="connsiteX52842" fmla="*/ 5229424 w 6884782"/>
              <a:gd name="connsiteY52842" fmla="*/ 1520286 h 5973007"/>
              <a:gd name="connsiteX52843" fmla="*/ 5220674 w 6884782"/>
              <a:gd name="connsiteY52843" fmla="*/ 1535224 h 5973007"/>
              <a:gd name="connsiteX52844" fmla="*/ 5222594 w 6884782"/>
              <a:gd name="connsiteY52844" fmla="*/ 1518151 h 5973007"/>
              <a:gd name="connsiteX52845" fmla="*/ 4547121 w 6884782"/>
              <a:gd name="connsiteY52845" fmla="*/ 1518151 h 5973007"/>
              <a:gd name="connsiteX52846" fmla="*/ 4549255 w 6884782"/>
              <a:gd name="connsiteY52846" fmla="*/ 1518294 h 5973007"/>
              <a:gd name="connsiteX52847" fmla="*/ 4545627 w 6884782"/>
              <a:gd name="connsiteY52847" fmla="*/ 1523984 h 5973007"/>
              <a:gd name="connsiteX52848" fmla="*/ 4545840 w 6884782"/>
              <a:gd name="connsiteY52848" fmla="*/ 1519005 h 5973007"/>
              <a:gd name="connsiteX52849" fmla="*/ 4547121 w 6884782"/>
              <a:gd name="connsiteY52849" fmla="*/ 1518151 h 5973007"/>
              <a:gd name="connsiteX52850" fmla="*/ 1237216 w 6884782"/>
              <a:gd name="connsiteY52850" fmla="*/ 1517696 h 5973007"/>
              <a:gd name="connsiteX52851" fmla="*/ 1236494 w 6884782"/>
              <a:gd name="connsiteY52851" fmla="*/ 1521879 h 5973007"/>
              <a:gd name="connsiteX52852" fmla="*/ 1233602 w 6884782"/>
              <a:gd name="connsiteY52852" fmla="*/ 1524976 h 5973007"/>
              <a:gd name="connsiteX52853" fmla="*/ 1234325 w 6884782"/>
              <a:gd name="connsiteY52853" fmla="*/ 1521569 h 5973007"/>
              <a:gd name="connsiteX52854" fmla="*/ 1235771 w 6884782"/>
              <a:gd name="connsiteY52854" fmla="*/ 1518471 h 5973007"/>
              <a:gd name="connsiteX52855" fmla="*/ 1237216 w 6884782"/>
              <a:gd name="connsiteY52855" fmla="*/ 1517696 h 5973007"/>
              <a:gd name="connsiteX52856" fmla="*/ 5697454 w 6884782"/>
              <a:gd name="connsiteY52856" fmla="*/ 1517582 h 5973007"/>
              <a:gd name="connsiteX52857" fmla="*/ 5701722 w 6884782"/>
              <a:gd name="connsiteY52857" fmla="*/ 1531809 h 5973007"/>
              <a:gd name="connsiteX52858" fmla="*/ 5693399 w 6884782"/>
              <a:gd name="connsiteY52858" fmla="*/ 1529960 h 5973007"/>
              <a:gd name="connsiteX52859" fmla="*/ 5691904 w 6884782"/>
              <a:gd name="connsiteY52859" fmla="*/ 1526403 h 5973007"/>
              <a:gd name="connsiteX52860" fmla="*/ 5691904 w 6884782"/>
              <a:gd name="connsiteY52860" fmla="*/ 1519289 h 5973007"/>
              <a:gd name="connsiteX52861" fmla="*/ 5690838 w 6884782"/>
              <a:gd name="connsiteY52861" fmla="*/ 1519289 h 5973007"/>
              <a:gd name="connsiteX52862" fmla="*/ 5697454 w 6884782"/>
              <a:gd name="connsiteY52862" fmla="*/ 1517582 h 5973007"/>
              <a:gd name="connsiteX52863" fmla="*/ 1227303 w 6884782"/>
              <a:gd name="connsiteY52863" fmla="*/ 1517386 h 5973007"/>
              <a:gd name="connsiteX52864" fmla="*/ 1229782 w 6884782"/>
              <a:gd name="connsiteY52864" fmla="*/ 1521569 h 5973007"/>
              <a:gd name="connsiteX52865" fmla="*/ 1228543 w 6884782"/>
              <a:gd name="connsiteY52865" fmla="*/ 1524822 h 5973007"/>
              <a:gd name="connsiteX52866" fmla="*/ 1229369 w 6884782"/>
              <a:gd name="connsiteY52866" fmla="*/ 1524822 h 5973007"/>
              <a:gd name="connsiteX52867" fmla="*/ 1233602 w 6884782"/>
              <a:gd name="connsiteY52867" fmla="*/ 1524976 h 5973007"/>
              <a:gd name="connsiteX52868" fmla="*/ 1237113 w 6884782"/>
              <a:gd name="connsiteY52868" fmla="*/ 1525131 h 5973007"/>
              <a:gd name="connsiteX52869" fmla="*/ 1236906 w 6884782"/>
              <a:gd name="connsiteY52869" fmla="*/ 1526990 h 5973007"/>
              <a:gd name="connsiteX52870" fmla="*/ 1234945 w 6884782"/>
              <a:gd name="connsiteY52870" fmla="*/ 1528229 h 5973007"/>
              <a:gd name="connsiteX52871" fmla="*/ 1226477 w 6884782"/>
              <a:gd name="connsiteY52871" fmla="*/ 1528384 h 5973007"/>
              <a:gd name="connsiteX52872" fmla="*/ 1224516 w 6884782"/>
              <a:gd name="connsiteY52872" fmla="*/ 1528074 h 5973007"/>
              <a:gd name="connsiteX52873" fmla="*/ 1222554 w 6884782"/>
              <a:gd name="connsiteY52873" fmla="*/ 1527764 h 5973007"/>
              <a:gd name="connsiteX52874" fmla="*/ 1220386 w 6884782"/>
              <a:gd name="connsiteY52874" fmla="*/ 1524667 h 5973007"/>
              <a:gd name="connsiteX52875" fmla="*/ 1226684 w 6884782"/>
              <a:gd name="connsiteY52875" fmla="*/ 1524667 h 5973007"/>
              <a:gd name="connsiteX52876" fmla="*/ 1224516 w 6884782"/>
              <a:gd name="connsiteY52876" fmla="*/ 1523583 h 5973007"/>
              <a:gd name="connsiteX52877" fmla="*/ 1222864 w 6884782"/>
              <a:gd name="connsiteY52877" fmla="*/ 1519865 h 5973007"/>
              <a:gd name="connsiteX52878" fmla="*/ 1227303 w 6884782"/>
              <a:gd name="connsiteY52878" fmla="*/ 1517386 h 5973007"/>
              <a:gd name="connsiteX52879" fmla="*/ 3595696 w 6884782"/>
              <a:gd name="connsiteY52879" fmla="*/ 1517156 h 5973007"/>
              <a:gd name="connsiteX52880" fmla="*/ 3609355 w 6884782"/>
              <a:gd name="connsiteY52880" fmla="*/ 1518578 h 5973007"/>
              <a:gd name="connsiteX52881" fmla="*/ 3619172 w 6884782"/>
              <a:gd name="connsiteY52881" fmla="*/ 1527825 h 5973007"/>
              <a:gd name="connsiteX52882" fmla="*/ 3595696 w 6884782"/>
              <a:gd name="connsiteY52882" fmla="*/ 1517156 h 5973007"/>
              <a:gd name="connsiteX52883" fmla="*/ 1356580 w 6884782"/>
              <a:gd name="connsiteY52883" fmla="*/ 1516922 h 5973007"/>
              <a:gd name="connsiteX52884" fmla="*/ 1357923 w 6884782"/>
              <a:gd name="connsiteY52884" fmla="*/ 1519090 h 5973007"/>
              <a:gd name="connsiteX52885" fmla="*/ 1353276 w 6884782"/>
              <a:gd name="connsiteY52885" fmla="*/ 1525441 h 5973007"/>
              <a:gd name="connsiteX52886" fmla="*/ 1354722 w 6884782"/>
              <a:gd name="connsiteY52886" fmla="*/ 1517696 h 5973007"/>
              <a:gd name="connsiteX52887" fmla="*/ 1356580 w 6884782"/>
              <a:gd name="connsiteY52887" fmla="*/ 1516922 h 5973007"/>
              <a:gd name="connsiteX52888" fmla="*/ 1027090 w 6884782"/>
              <a:gd name="connsiteY52888" fmla="*/ 1516922 h 5973007"/>
              <a:gd name="connsiteX52889" fmla="*/ 1024405 w 6884782"/>
              <a:gd name="connsiteY52889" fmla="*/ 1536594 h 5973007"/>
              <a:gd name="connsiteX52890" fmla="*/ 1020275 w 6884782"/>
              <a:gd name="connsiteY52890" fmla="*/ 1534890 h 5973007"/>
              <a:gd name="connsiteX52891" fmla="*/ 1019759 w 6884782"/>
              <a:gd name="connsiteY52891" fmla="*/ 1529778 h 5973007"/>
              <a:gd name="connsiteX52892" fmla="*/ 1019655 w 6884782"/>
              <a:gd name="connsiteY52892" fmla="*/ 1525596 h 5973007"/>
              <a:gd name="connsiteX52893" fmla="*/ 1027090 w 6884782"/>
              <a:gd name="connsiteY52893" fmla="*/ 1516922 h 5973007"/>
              <a:gd name="connsiteX52894" fmla="*/ 4646148 w 6884782"/>
              <a:gd name="connsiteY52894" fmla="*/ 1515733 h 5973007"/>
              <a:gd name="connsiteX52895" fmla="*/ 4643800 w 6884782"/>
              <a:gd name="connsiteY52895" fmla="*/ 1524411 h 5973007"/>
              <a:gd name="connsiteX52896" fmla="*/ 4642946 w 6884782"/>
              <a:gd name="connsiteY52896" fmla="*/ 1522846 h 5973007"/>
              <a:gd name="connsiteX52897" fmla="*/ 4643800 w 6884782"/>
              <a:gd name="connsiteY52897" fmla="*/ 1520428 h 5973007"/>
              <a:gd name="connsiteX52898" fmla="*/ 4646148 w 6884782"/>
              <a:gd name="connsiteY52898" fmla="*/ 1515733 h 5973007"/>
              <a:gd name="connsiteX52899" fmla="*/ 4053268 w 6884782"/>
              <a:gd name="connsiteY52899" fmla="*/ 1515733 h 5973007"/>
              <a:gd name="connsiteX52900" fmla="*/ 4072049 w 6884782"/>
              <a:gd name="connsiteY52900" fmla="*/ 1526830 h 5973007"/>
              <a:gd name="connsiteX52901" fmla="*/ 4086134 w 6884782"/>
              <a:gd name="connsiteY52901" fmla="*/ 1526830 h 5973007"/>
              <a:gd name="connsiteX52902" fmla="*/ 4075037 w 6884782"/>
              <a:gd name="connsiteY52902" fmla="*/ 1541768 h 5973007"/>
              <a:gd name="connsiteX52903" fmla="*/ 4068207 w 6884782"/>
              <a:gd name="connsiteY52903" fmla="*/ 1546178 h 5973007"/>
              <a:gd name="connsiteX52904" fmla="*/ 4072476 w 6884782"/>
              <a:gd name="connsiteY52904" fmla="*/ 1546178 h 5973007"/>
              <a:gd name="connsiteX52905" fmla="*/ 4080799 w 6884782"/>
              <a:gd name="connsiteY52905" fmla="*/ 1549735 h 5973007"/>
              <a:gd name="connsiteX52906" fmla="*/ 4061378 w 6884782"/>
              <a:gd name="connsiteY52906" fmla="*/ 1558129 h 5973007"/>
              <a:gd name="connsiteX52907" fmla="*/ 4060738 w 6884782"/>
              <a:gd name="connsiteY52907" fmla="*/ 1552154 h 5973007"/>
              <a:gd name="connsiteX52908" fmla="*/ 4061164 w 6884782"/>
              <a:gd name="connsiteY52908" fmla="*/ 1550304 h 5973007"/>
              <a:gd name="connsiteX52909" fmla="*/ 4051987 w 6884782"/>
              <a:gd name="connsiteY52909" fmla="*/ 1552438 h 5973007"/>
              <a:gd name="connsiteX52910" fmla="*/ 4063299 w 6884782"/>
              <a:gd name="connsiteY52910" fmla="*/ 1533090 h 5973007"/>
              <a:gd name="connsiteX52911" fmla="*/ 4047079 w 6884782"/>
              <a:gd name="connsiteY52911" fmla="*/ 1516160 h 5973007"/>
              <a:gd name="connsiteX52912" fmla="*/ 4053268 w 6884782"/>
              <a:gd name="connsiteY52912" fmla="*/ 1515733 h 5973007"/>
              <a:gd name="connsiteX52913" fmla="*/ 1615134 w 6884782"/>
              <a:gd name="connsiteY52913" fmla="*/ 1515683 h 5973007"/>
              <a:gd name="connsiteX52914" fmla="*/ 1607700 w 6884782"/>
              <a:gd name="connsiteY52914" fmla="*/ 1531792 h 5973007"/>
              <a:gd name="connsiteX52915" fmla="*/ 1606047 w 6884782"/>
              <a:gd name="connsiteY52915" fmla="*/ 1528694 h 5973007"/>
              <a:gd name="connsiteX52916" fmla="*/ 1606254 w 6884782"/>
              <a:gd name="connsiteY52916" fmla="*/ 1524667 h 5973007"/>
              <a:gd name="connsiteX52917" fmla="*/ 1609455 w 6884782"/>
              <a:gd name="connsiteY52917" fmla="*/ 1517077 h 5973007"/>
              <a:gd name="connsiteX52918" fmla="*/ 1615134 w 6884782"/>
              <a:gd name="connsiteY52918" fmla="*/ 1515683 h 5973007"/>
              <a:gd name="connsiteX52919" fmla="*/ 1383531 w 6884782"/>
              <a:gd name="connsiteY52919" fmla="*/ 1515373 h 5973007"/>
              <a:gd name="connsiteX52920" fmla="*/ 1382911 w 6884782"/>
              <a:gd name="connsiteY52920" fmla="*/ 1521104 h 5973007"/>
              <a:gd name="connsiteX52921" fmla="*/ 1376509 w 6884782"/>
              <a:gd name="connsiteY52921" fmla="*/ 1524512 h 5973007"/>
              <a:gd name="connsiteX52922" fmla="*/ 1376096 w 6884782"/>
              <a:gd name="connsiteY52922" fmla="*/ 1521259 h 5973007"/>
              <a:gd name="connsiteX52923" fmla="*/ 1383531 w 6884782"/>
              <a:gd name="connsiteY52923" fmla="*/ 1515373 h 5973007"/>
              <a:gd name="connsiteX52924" fmla="*/ 1594070 w 6884782"/>
              <a:gd name="connsiteY52924" fmla="*/ 1514753 h 5973007"/>
              <a:gd name="connsiteX52925" fmla="*/ 1581163 w 6884782"/>
              <a:gd name="connsiteY52925" fmla="*/ 1527145 h 5973007"/>
              <a:gd name="connsiteX52926" fmla="*/ 1579304 w 6884782"/>
              <a:gd name="connsiteY52926" fmla="*/ 1527919 h 5973007"/>
              <a:gd name="connsiteX52927" fmla="*/ 1577755 w 6884782"/>
              <a:gd name="connsiteY52927" fmla="*/ 1526526 h 5973007"/>
              <a:gd name="connsiteX52928" fmla="*/ 1584157 w 6884782"/>
              <a:gd name="connsiteY52928" fmla="*/ 1516922 h 5973007"/>
              <a:gd name="connsiteX52929" fmla="*/ 1586532 w 6884782"/>
              <a:gd name="connsiteY52929" fmla="*/ 1516148 h 5973007"/>
              <a:gd name="connsiteX52930" fmla="*/ 1588184 w 6884782"/>
              <a:gd name="connsiteY52930" fmla="*/ 1514908 h 5973007"/>
              <a:gd name="connsiteX52931" fmla="*/ 1594070 w 6884782"/>
              <a:gd name="connsiteY52931" fmla="*/ 1514753 h 5973007"/>
              <a:gd name="connsiteX52932" fmla="*/ 1712401 w 6884782"/>
              <a:gd name="connsiteY52932" fmla="*/ 1514598 h 5973007"/>
              <a:gd name="connsiteX52933" fmla="*/ 1715602 w 6884782"/>
              <a:gd name="connsiteY52933" fmla="*/ 1515218 h 5973007"/>
              <a:gd name="connsiteX52934" fmla="*/ 1715396 w 6884782"/>
              <a:gd name="connsiteY52934" fmla="*/ 1531173 h 5973007"/>
              <a:gd name="connsiteX52935" fmla="*/ 1712711 w 6884782"/>
              <a:gd name="connsiteY52935" fmla="*/ 1531637 h 5973007"/>
              <a:gd name="connsiteX52936" fmla="*/ 1707342 w 6884782"/>
              <a:gd name="connsiteY52936" fmla="*/ 1522653 h 5973007"/>
              <a:gd name="connsiteX52937" fmla="*/ 1712401 w 6884782"/>
              <a:gd name="connsiteY52937" fmla="*/ 1514598 h 5973007"/>
              <a:gd name="connsiteX52938" fmla="*/ 1463347 w 6884782"/>
              <a:gd name="connsiteY52938" fmla="*/ 1514289 h 5973007"/>
              <a:gd name="connsiteX52939" fmla="*/ 1465206 w 6884782"/>
              <a:gd name="connsiteY52939" fmla="*/ 1515838 h 5973007"/>
              <a:gd name="connsiteX52940" fmla="*/ 1462108 w 6884782"/>
              <a:gd name="connsiteY52940" fmla="*/ 1518006 h 5973007"/>
              <a:gd name="connsiteX52941" fmla="*/ 1461282 w 6884782"/>
              <a:gd name="connsiteY52941" fmla="*/ 1516302 h 5973007"/>
              <a:gd name="connsiteX52942" fmla="*/ 1461799 w 6884782"/>
              <a:gd name="connsiteY52942" fmla="*/ 1514753 h 5973007"/>
              <a:gd name="connsiteX52943" fmla="*/ 1463347 w 6884782"/>
              <a:gd name="connsiteY52943" fmla="*/ 1514289 h 5973007"/>
              <a:gd name="connsiteX52944" fmla="*/ 929513 w 6884782"/>
              <a:gd name="connsiteY52944" fmla="*/ 1514289 h 5973007"/>
              <a:gd name="connsiteX52945" fmla="*/ 938599 w 6884782"/>
              <a:gd name="connsiteY52945" fmla="*/ 1515528 h 5973007"/>
              <a:gd name="connsiteX52946" fmla="*/ 928893 w 6884782"/>
              <a:gd name="connsiteY52946" fmla="*/ 1518935 h 5973007"/>
              <a:gd name="connsiteX52947" fmla="*/ 928997 w 6884782"/>
              <a:gd name="connsiteY52947" fmla="*/ 1516767 h 5973007"/>
              <a:gd name="connsiteX52948" fmla="*/ 929513 w 6884782"/>
              <a:gd name="connsiteY52948" fmla="*/ 1514289 h 5973007"/>
              <a:gd name="connsiteX52949" fmla="*/ 4493766 w 6884782"/>
              <a:gd name="connsiteY52949" fmla="*/ 1513741 h 5973007"/>
              <a:gd name="connsiteX52950" fmla="*/ 4496327 w 6884782"/>
              <a:gd name="connsiteY52950" fmla="*/ 1514737 h 5973007"/>
              <a:gd name="connsiteX52951" fmla="*/ 4492272 w 6884782"/>
              <a:gd name="connsiteY52951" fmla="*/ 1516444 h 5973007"/>
              <a:gd name="connsiteX52952" fmla="*/ 4491845 w 6884782"/>
              <a:gd name="connsiteY52952" fmla="*/ 1515306 h 5973007"/>
              <a:gd name="connsiteX52953" fmla="*/ 4493766 w 6884782"/>
              <a:gd name="connsiteY52953" fmla="*/ 1513741 h 5973007"/>
              <a:gd name="connsiteX52954" fmla="*/ 4887739 w 6884782"/>
              <a:gd name="connsiteY52954" fmla="*/ 1513457 h 5973007"/>
              <a:gd name="connsiteX52955" fmla="*/ 4890727 w 6884782"/>
              <a:gd name="connsiteY52955" fmla="*/ 1514737 h 5973007"/>
              <a:gd name="connsiteX52956" fmla="*/ 4863623 w 6884782"/>
              <a:gd name="connsiteY52956" fmla="*/ 1534228 h 5973007"/>
              <a:gd name="connsiteX52957" fmla="*/ 4887739 w 6884782"/>
              <a:gd name="connsiteY52957" fmla="*/ 1513457 h 5973007"/>
              <a:gd name="connsiteX52958" fmla="*/ 4099793 w 6884782"/>
              <a:gd name="connsiteY52958" fmla="*/ 1513314 h 5973007"/>
              <a:gd name="connsiteX52959" fmla="*/ 4104489 w 6884782"/>
              <a:gd name="connsiteY52959" fmla="*/ 1513599 h 5973007"/>
              <a:gd name="connsiteX52960" fmla="*/ 4113666 w 6884782"/>
              <a:gd name="connsiteY52960" fmla="*/ 1522704 h 5973007"/>
              <a:gd name="connsiteX52961" fmla="*/ 4113666 w 6884782"/>
              <a:gd name="connsiteY52961" fmla="*/ 1530955 h 5973007"/>
              <a:gd name="connsiteX52962" fmla="*/ 4095311 w 6884782"/>
              <a:gd name="connsiteY52962" fmla="*/ 1542621 h 5973007"/>
              <a:gd name="connsiteX52963" fmla="*/ 4092324 w 6884782"/>
              <a:gd name="connsiteY52963" fmla="*/ 1541483 h 5973007"/>
              <a:gd name="connsiteX52964" fmla="*/ 4087201 w 6884782"/>
              <a:gd name="connsiteY52964" fmla="*/ 1541483 h 5973007"/>
              <a:gd name="connsiteX52965" fmla="*/ 4087628 w 6884782"/>
              <a:gd name="connsiteY52965" fmla="*/ 1525834 h 5973007"/>
              <a:gd name="connsiteX52966" fmla="*/ 4099793 w 6884782"/>
              <a:gd name="connsiteY52966" fmla="*/ 1513314 h 5973007"/>
              <a:gd name="connsiteX52967" fmla="*/ 1858096 w 6884782"/>
              <a:gd name="connsiteY52967" fmla="*/ 1513050 h 5973007"/>
              <a:gd name="connsiteX52968" fmla="*/ 1859645 w 6884782"/>
              <a:gd name="connsiteY52968" fmla="*/ 1518161 h 5973007"/>
              <a:gd name="connsiteX52969" fmla="*/ 1854275 w 6884782"/>
              <a:gd name="connsiteY52969" fmla="*/ 1517696 h 5973007"/>
              <a:gd name="connsiteX52970" fmla="*/ 1853553 w 6884782"/>
              <a:gd name="connsiteY52970" fmla="*/ 1515838 h 5973007"/>
              <a:gd name="connsiteX52971" fmla="*/ 1853243 w 6884782"/>
              <a:gd name="connsiteY52971" fmla="*/ 1516612 h 5973007"/>
              <a:gd name="connsiteX52972" fmla="*/ 1853036 w 6884782"/>
              <a:gd name="connsiteY52972" fmla="*/ 1517386 h 5973007"/>
              <a:gd name="connsiteX52973" fmla="*/ 1854689 w 6884782"/>
              <a:gd name="connsiteY52973" fmla="*/ 1518316 h 5973007"/>
              <a:gd name="connsiteX52974" fmla="*/ 1856031 w 6884782"/>
              <a:gd name="connsiteY52974" fmla="*/ 1521724 h 5973007"/>
              <a:gd name="connsiteX52975" fmla="*/ 1854172 w 6884782"/>
              <a:gd name="connsiteY52975" fmla="*/ 1522653 h 5973007"/>
              <a:gd name="connsiteX52976" fmla="*/ 1852004 w 6884782"/>
              <a:gd name="connsiteY52976" fmla="*/ 1519090 h 5973007"/>
              <a:gd name="connsiteX52977" fmla="*/ 1851178 w 6884782"/>
              <a:gd name="connsiteY52977" fmla="*/ 1519090 h 5973007"/>
              <a:gd name="connsiteX52978" fmla="*/ 1850971 w 6884782"/>
              <a:gd name="connsiteY52978" fmla="*/ 1519245 h 5973007"/>
              <a:gd name="connsiteX52979" fmla="*/ 1849629 w 6884782"/>
              <a:gd name="connsiteY52979" fmla="*/ 1520329 h 5973007"/>
              <a:gd name="connsiteX52980" fmla="*/ 1852004 w 6884782"/>
              <a:gd name="connsiteY52980" fmla="*/ 1523428 h 5973007"/>
              <a:gd name="connsiteX52981" fmla="*/ 1862330 w 6884782"/>
              <a:gd name="connsiteY52981" fmla="*/ 1537678 h 5973007"/>
              <a:gd name="connsiteX52982" fmla="*/ 1872655 w 6884782"/>
              <a:gd name="connsiteY52982" fmla="*/ 1547901 h 5973007"/>
              <a:gd name="connsiteX52983" fmla="*/ 1878540 w 6884782"/>
              <a:gd name="connsiteY52983" fmla="*/ 1558124 h 5973007"/>
              <a:gd name="connsiteX52984" fmla="*/ 1889383 w 6884782"/>
              <a:gd name="connsiteY52984" fmla="*/ 1572375 h 5973007"/>
              <a:gd name="connsiteX52985" fmla="*/ 1900225 w 6884782"/>
              <a:gd name="connsiteY52985" fmla="*/ 1584302 h 5973007"/>
              <a:gd name="connsiteX52986" fmla="*/ 1911583 w 6884782"/>
              <a:gd name="connsiteY52986" fmla="*/ 1595144 h 5973007"/>
              <a:gd name="connsiteX52987" fmla="*/ 1921805 w 6884782"/>
              <a:gd name="connsiteY52987" fmla="*/ 1605368 h 5973007"/>
              <a:gd name="connsiteX52988" fmla="*/ 1917985 w 6884782"/>
              <a:gd name="connsiteY52988" fmla="*/ 1606607 h 5973007"/>
              <a:gd name="connsiteX52989" fmla="*/ 1921805 w 6884782"/>
              <a:gd name="connsiteY52989" fmla="*/ 1611719 h 5973007"/>
              <a:gd name="connsiteX52990" fmla="*/ 1922838 w 6884782"/>
              <a:gd name="connsiteY52990" fmla="*/ 1606607 h 5973007"/>
              <a:gd name="connsiteX52991" fmla="*/ 1938016 w 6884782"/>
              <a:gd name="connsiteY52991" fmla="*/ 1619153 h 5973007"/>
              <a:gd name="connsiteX52992" fmla="*/ 1953711 w 6884782"/>
              <a:gd name="connsiteY52992" fmla="*/ 1632320 h 5973007"/>
              <a:gd name="connsiteX52993" fmla="*/ 1948755 w 6884782"/>
              <a:gd name="connsiteY52993" fmla="*/ 1632939 h 5973007"/>
              <a:gd name="connsiteX52994" fmla="*/ 1954460 w 6884782"/>
              <a:gd name="connsiteY52994" fmla="*/ 1634004 h 5973007"/>
              <a:gd name="connsiteX52995" fmla="*/ 1958339 w 6884782"/>
              <a:gd name="connsiteY52995" fmla="*/ 1636726 h 5973007"/>
              <a:gd name="connsiteX52996" fmla="*/ 1958339 w 6884782"/>
              <a:gd name="connsiteY52996" fmla="*/ 1585092 h 5973007"/>
              <a:gd name="connsiteX52997" fmla="*/ 1948755 w 6884782"/>
              <a:gd name="connsiteY52997" fmla="*/ 1583837 h 5973007"/>
              <a:gd name="connsiteX52998" fmla="*/ 1947103 w 6884782"/>
              <a:gd name="connsiteY52998" fmla="*/ 1576402 h 5973007"/>
              <a:gd name="connsiteX52999" fmla="*/ 1942353 w 6884782"/>
              <a:gd name="connsiteY52999" fmla="*/ 1572995 h 5973007"/>
              <a:gd name="connsiteX53000" fmla="*/ 1937500 w 6884782"/>
              <a:gd name="connsiteY53000" fmla="*/ 1574698 h 5973007"/>
              <a:gd name="connsiteX53001" fmla="*/ 1932957 w 6884782"/>
              <a:gd name="connsiteY53001" fmla="*/ 1566334 h 5973007"/>
              <a:gd name="connsiteX53002" fmla="*/ 1929033 w 6884782"/>
              <a:gd name="connsiteY53002" fmla="*/ 1566179 h 5973007"/>
              <a:gd name="connsiteX53003" fmla="*/ 1929240 w 6884782"/>
              <a:gd name="connsiteY53003" fmla="*/ 1566798 h 5973007"/>
              <a:gd name="connsiteX53004" fmla="*/ 1926865 w 6884782"/>
              <a:gd name="connsiteY53004" fmla="*/ 1570052 h 5973007"/>
              <a:gd name="connsiteX53005" fmla="*/ 1922115 w 6884782"/>
              <a:gd name="connsiteY53005" fmla="*/ 1567263 h 5973007"/>
              <a:gd name="connsiteX53006" fmla="*/ 1922528 w 6884782"/>
              <a:gd name="connsiteY53006" fmla="*/ 1569277 h 5973007"/>
              <a:gd name="connsiteX53007" fmla="*/ 1928827 w 6884782"/>
              <a:gd name="connsiteY53007" fmla="*/ 1580274 h 5973007"/>
              <a:gd name="connsiteX53008" fmla="*/ 1919120 w 6884782"/>
              <a:gd name="connsiteY53008" fmla="*/ 1567263 h 5973007"/>
              <a:gd name="connsiteX53009" fmla="*/ 1913441 w 6884782"/>
              <a:gd name="connsiteY53009" fmla="*/ 1564475 h 5973007"/>
              <a:gd name="connsiteX53010" fmla="*/ 1909104 w 6884782"/>
              <a:gd name="connsiteY53010" fmla="*/ 1560758 h 5973007"/>
              <a:gd name="connsiteX53011" fmla="*/ 1910860 w 6884782"/>
              <a:gd name="connsiteY53011" fmla="*/ 1563701 h 5973007"/>
              <a:gd name="connsiteX53012" fmla="*/ 1893616 w 6884782"/>
              <a:gd name="connsiteY53012" fmla="*/ 1576712 h 5973007"/>
              <a:gd name="connsiteX53013" fmla="*/ 1886801 w 6884782"/>
              <a:gd name="connsiteY53013" fmla="*/ 1562307 h 5973007"/>
              <a:gd name="connsiteX53014" fmla="*/ 1887627 w 6884782"/>
              <a:gd name="connsiteY53014" fmla="*/ 1554407 h 5973007"/>
              <a:gd name="connsiteX53015" fmla="*/ 1889176 w 6884782"/>
              <a:gd name="connsiteY53015" fmla="*/ 1551309 h 5973007"/>
              <a:gd name="connsiteX53016" fmla="*/ 1881225 w 6884782"/>
              <a:gd name="connsiteY53016" fmla="*/ 1548985 h 5973007"/>
              <a:gd name="connsiteX53017" fmla="*/ 1888350 w 6884782"/>
              <a:gd name="connsiteY53017" fmla="*/ 1549295 h 5973007"/>
              <a:gd name="connsiteX53018" fmla="*/ 1889899 w 6884782"/>
              <a:gd name="connsiteY53018" fmla="*/ 1549760 h 5973007"/>
              <a:gd name="connsiteX53019" fmla="*/ 1890931 w 6884782"/>
              <a:gd name="connsiteY53019" fmla="*/ 1547591 h 5973007"/>
              <a:gd name="connsiteX53020" fmla="*/ 1888453 w 6884782"/>
              <a:gd name="connsiteY53020" fmla="*/ 1546352 h 5973007"/>
              <a:gd name="connsiteX53021" fmla="*/ 1884013 w 6884782"/>
              <a:gd name="connsiteY53021" fmla="*/ 1541551 h 5973007"/>
              <a:gd name="connsiteX53022" fmla="*/ 1879676 w 6884782"/>
              <a:gd name="connsiteY53022" fmla="*/ 1544958 h 5973007"/>
              <a:gd name="connsiteX53023" fmla="*/ 1869867 w 6884782"/>
              <a:gd name="connsiteY53023" fmla="*/ 1527919 h 5973007"/>
              <a:gd name="connsiteX53024" fmla="*/ 1867596 w 6884782"/>
              <a:gd name="connsiteY53024" fmla="*/ 1524202 h 5973007"/>
              <a:gd name="connsiteX53025" fmla="*/ 1864601 w 6884782"/>
              <a:gd name="connsiteY53025" fmla="*/ 1523118 h 5973007"/>
              <a:gd name="connsiteX53026" fmla="*/ 1859541 w 6884782"/>
              <a:gd name="connsiteY53026" fmla="*/ 1519710 h 5973007"/>
              <a:gd name="connsiteX53027" fmla="*/ 1863259 w 6884782"/>
              <a:gd name="connsiteY53027" fmla="*/ 1518006 h 5973007"/>
              <a:gd name="connsiteX53028" fmla="*/ 1045572 w 6884782"/>
              <a:gd name="connsiteY53028" fmla="*/ 1513050 h 5973007"/>
              <a:gd name="connsiteX53029" fmla="*/ 1047431 w 6884782"/>
              <a:gd name="connsiteY53029" fmla="*/ 1514444 h 5973007"/>
              <a:gd name="connsiteX53030" fmla="*/ 1046605 w 6884782"/>
              <a:gd name="connsiteY53030" fmla="*/ 1516148 h 5973007"/>
              <a:gd name="connsiteX53031" fmla="*/ 1046708 w 6884782"/>
              <a:gd name="connsiteY53031" fmla="*/ 1517851 h 5973007"/>
              <a:gd name="connsiteX53032" fmla="*/ 1045883 w 6884782"/>
              <a:gd name="connsiteY53032" fmla="*/ 1518006 h 5973007"/>
              <a:gd name="connsiteX53033" fmla="*/ 1045779 w 6884782"/>
              <a:gd name="connsiteY53033" fmla="*/ 1517851 h 5973007"/>
              <a:gd name="connsiteX53034" fmla="*/ 1045263 w 6884782"/>
              <a:gd name="connsiteY53034" fmla="*/ 1518471 h 5973007"/>
              <a:gd name="connsiteX53035" fmla="*/ 1047638 w 6884782"/>
              <a:gd name="connsiteY53035" fmla="*/ 1519090 h 5973007"/>
              <a:gd name="connsiteX53036" fmla="*/ 1043714 w 6884782"/>
              <a:gd name="connsiteY53036" fmla="*/ 1531637 h 5973007"/>
              <a:gd name="connsiteX53037" fmla="*/ 1036693 w 6884782"/>
              <a:gd name="connsiteY53037" fmla="*/ 1528849 h 5973007"/>
              <a:gd name="connsiteX53038" fmla="*/ 1034834 w 6884782"/>
              <a:gd name="connsiteY53038" fmla="*/ 1523273 h 5973007"/>
              <a:gd name="connsiteX53039" fmla="*/ 1037312 w 6884782"/>
              <a:gd name="connsiteY53039" fmla="*/ 1518781 h 5973007"/>
              <a:gd name="connsiteX53040" fmla="*/ 1040926 w 6884782"/>
              <a:gd name="connsiteY53040" fmla="*/ 1517386 h 5973007"/>
              <a:gd name="connsiteX53041" fmla="*/ 1041133 w 6884782"/>
              <a:gd name="connsiteY53041" fmla="*/ 1517541 h 5973007"/>
              <a:gd name="connsiteX53042" fmla="*/ 1040306 w 6884782"/>
              <a:gd name="connsiteY53042" fmla="*/ 1516302 h 5973007"/>
              <a:gd name="connsiteX53043" fmla="*/ 1040306 w 6884782"/>
              <a:gd name="connsiteY53043" fmla="*/ 1514598 h 5973007"/>
              <a:gd name="connsiteX53044" fmla="*/ 1042062 w 6884782"/>
              <a:gd name="connsiteY53044" fmla="*/ 1513514 h 5973007"/>
              <a:gd name="connsiteX53045" fmla="*/ 1045572 w 6884782"/>
              <a:gd name="connsiteY53045" fmla="*/ 1513050 h 5973007"/>
              <a:gd name="connsiteX53046" fmla="*/ 3789908 w 6884782"/>
              <a:gd name="connsiteY53046" fmla="*/ 1513030 h 5973007"/>
              <a:gd name="connsiteX53047" fmla="*/ 3792896 w 6884782"/>
              <a:gd name="connsiteY53047" fmla="*/ 1513599 h 5973007"/>
              <a:gd name="connsiteX53048" fmla="*/ 3795884 w 6884782"/>
              <a:gd name="connsiteY53048" fmla="*/ 1514310 h 5973007"/>
              <a:gd name="connsiteX53049" fmla="*/ 3798444 w 6884782"/>
              <a:gd name="connsiteY53049" fmla="*/ 1514025 h 5973007"/>
              <a:gd name="connsiteX53050" fmla="*/ 3802499 w 6884782"/>
              <a:gd name="connsiteY53050" fmla="*/ 1516871 h 5973007"/>
              <a:gd name="connsiteX53051" fmla="*/ 3799939 w 6884782"/>
              <a:gd name="connsiteY53051" fmla="*/ 1517156 h 5973007"/>
              <a:gd name="connsiteX53052" fmla="*/ 3796951 w 6884782"/>
              <a:gd name="connsiteY53052" fmla="*/ 1516444 h 5973007"/>
              <a:gd name="connsiteX53053" fmla="*/ 3794816 w 6884782"/>
              <a:gd name="connsiteY53053" fmla="*/ 1517582 h 5973007"/>
              <a:gd name="connsiteX53054" fmla="*/ 3787133 w 6884782"/>
              <a:gd name="connsiteY53054" fmla="*/ 1513172 h 5973007"/>
              <a:gd name="connsiteX53055" fmla="*/ 3789908 w 6884782"/>
              <a:gd name="connsiteY53055" fmla="*/ 1513030 h 5973007"/>
              <a:gd name="connsiteX53056" fmla="*/ 5394397 w 6884782"/>
              <a:gd name="connsiteY53056" fmla="*/ 1512034 h 5973007"/>
              <a:gd name="connsiteX53057" fmla="*/ 5402080 w 6884782"/>
              <a:gd name="connsiteY53057" fmla="*/ 1516017 h 5973007"/>
              <a:gd name="connsiteX53058" fmla="*/ 5402508 w 6884782"/>
              <a:gd name="connsiteY53058" fmla="*/ 1520001 h 5973007"/>
              <a:gd name="connsiteX53059" fmla="*/ 5398452 w 6884782"/>
              <a:gd name="connsiteY53059" fmla="*/ 1523984 h 5973007"/>
              <a:gd name="connsiteX53060" fmla="*/ 5392264 w 6884782"/>
              <a:gd name="connsiteY53060" fmla="*/ 1514879 h 5973007"/>
              <a:gd name="connsiteX53061" fmla="*/ 5394397 w 6884782"/>
              <a:gd name="connsiteY53061" fmla="*/ 1512034 h 5973007"/>
              <a:gd name="connsiteX53062" fmla="*/ 1165143 w 6884782"/>
              <a:gd name="connsiteY53062" fmla="*/ 1511965 h 5973007"/>
              <a:gd name="connsiteX53063" fmla="*/ 1168344 w 6884782"/>
              <a:gd name="connsiteY53063" fmla="*/ 1511965 h 5973007"/>
              <a:gd name="connsiteX53064" fmla="*/ 1168138 w 6884782"/>
              <a:gd name="connsiteY53064" fmla="*/ 1521104 h 5973007"/>
              <a:gd name="connsiteX53065" fmla="*/ 1168344 w 6884782"/>
              <a:gd name="connsiteY53065" fmla="*/ 1523583 h 5973007"/>
              <a:gd name="connsiteX53066" fmla="*/ 1170513 w 6884782"/>
              <a:gd name="connsiteY53066" fmla="*/ 1521879 h 5973007"/>
              <a:gd name="connsiteX53067" fmla="*/ 1176398 w 6884782"/>
              <a:gd name="connsiteY53067" fmla="*/ 1521414 h 5973007"/>
              <a:gd name="connsiteX53068" fmla="*/ 1186104 w 6884782"/>
              <a:gd name="connsiteY53068" fmla="*/ 1533961 h 5973007"/>
              <a:gd name="connsiteX53069" fmla="*/ 1185588 w 6884782"/>
              <a:gd name="connsiteY53069" fmla="*/ 1536284 h 5973007"/>
              <a:gd name="connsiteX53070" fmla="*/ 1185898 w 6884782"/>
              <a:gd name="connsiteY53070" fmla="*/ 1540001 h 5973007"/>
              <a:gd name="connsiteX53071" fmla="*/ 1174746 w 6884782"/>
              <a:gd name="connsiteY53071" fmla="*/ 1540931 h 5973007"/>
              <a:gd name="connsiteX53072" fmla="*/ 1164834 w 6884782"/>
              <a:gd name="connsiteY53072" fmla="*/ 1532721 h 5973007"/>
              <a:gd name="connsiteX53073" fmla="*/ 1164730 w 6884782"/>
              <a:gd name="connsiteY53073" fmla="*/ 1529933 h 5973007"/>
              <a:gd name="connsiteX53074" fmla="*/ 1162149 w 6884782"/>
              <a:gd name="connsiteY53074" fmla="*/ 1529159 h 5973007"/>
              <a:gd name="connsiteX53075" fmla="*/ 1158638 w 6884782"/>
              <a:gd name="connsiteY53075" fmla="*/ 1520020 h 5973007"/>
              <a:gd name="connsiteX53076" fmla="*/ 1158638 w 6884782"/>
              <a:gd name="connsiteY53076" fmla="*/ 1516612 h 5973007"/>
              <a:gd name="connsiteX53077" fmla="*/ 1165143 w 6884782"/>
              <a:gd name="connsiteY53077" fmla="*/ 1511965 h 5973007"/>
              <a:gd name="connsiteX53078" fmla="*/ 1088643 w 6884782"/>
              <a:gd name="connsiteY53078" fmla="*/ 1511810 h 5973007"/>
              <a:gd name="connsiteX53079" fmla="*/ 1091728 w 6884782"/>
              <a:gd name="connsiteY53079" fmla="*/ 1512740 h 5973007"/>
              <a:gd name="connsiteX53080" fmla="*/ 1089766 w 6884782"/>
              <a:gd name="connsiteY53080" fmla="*/ 1518471 h 5973007"/>
              <a:gd name="connsiteX53081" fmla="*/ 1088218 w 6884782"/>
              <a:gd name="connsiteY53081" fmla="*/ 1517851 h 5973007"/>
              <a:gd name="connsiteX53082" fmla="*/ 1088321 w 6884782"/>
              <a:gd name="connsiteY53082" fmla="*/ 1518006 h 5973007"/>
              <a:gd name="connsiteX53083" fmla="*/ 1085843 w 6884782"/>
              <a:gd name="connsiteY53083" fmla="*/ 1521569 h 5973007"/>
              <a:gd name="connsiteX53084" fmla="*/ 1077169 w 6884782"/>
              <a:gd name="connsiteY53084" fmla="*/ 1523273 h 5973007"/>
              <a:gd name="connsiteX53085" fmla="*/ 1082848 w 6884782"/>
              <a:gd name="connsiteY53085" fmla="*/ 1513979 h 5973007"/>
              <a:gd name="connsiteX53086" fmla="*/ 1085533 w 6884782"/>
              <a:gd name="connsiteY53086" fmla="*/ 1513824 h 5973007"/>
              <a:gd name="connsiteX53087" fmla="*/ 1085326 w 6884782"/>
              <a:gd name="connsiteY53087" fmla="*/ 1512275 h 5973007"/>
              <a:gd name="connsiteX53088" fmla="*/ 1088643 w 6884782"/>
              <a:gd name="connsiteY53088" fmla="*/ 1511810 h 5973007"/>
              <a:gd name="connsiteX53089" fmla="*/ 5106281 w 6884782"/>
              <a:gd name="connsiteY53089" fmla="*/ 1511465 h 5973007"/>
              <a:gd name="connsiteX53090" fmla="*/ 5105213 w 6884782"/>
              <a:gd name="connsiteY53090" fmla="*/ 1511607 h 5973007"/>
              <a:gd name="connsiteX53091" fmla="*/ 5105427 w 6884782"/>
              <a:gd name="connsiteY53091" fmla="*/ 1511749 h 5973007"/>
              <a:gd name="connsiteX53092" fmla="*/ 5676325 w 6884782"/>
              <a:gd name="connsiteY53092" fmla="*/ 1510895 h 5973007"/>
              <a:gd name="connsiteX53093" fmla="*/ 5680593 w 6884782"/>
              <a:gd name="connsiteY53093" fmla="*/ 1512603 h 5973007"/>
              <a:gd name="connsiteX53094" fmla="*/ 5675045 w 6884782"/>
              <a:gd name="connsiteY53094" fmla="*/ 1524269 h 5973007"/>
              <a:gd name="connsiteX53095" fmla="*/ 5673977 w 6884782"/>
              <a:gd name="connsiteY53095" fmla="*/ 1527399 h 5973007"/>
              <a:gd name="connsiteX53096" fmla="*/ 5677605 w 6884782"/>
              <a:gd name="connsiteY53096" fmla="*/ 1526403 h 5973007"/>
              <a:gd name="connsiteX53097" fmla="*/ 5685289 w 6884782"/>
              <a:gd name="connsiteY53097" fmla="*/ 1528964 h 5973007"/>
              <a:gd name="connsiteX53098" fmla="*/ 5690624 w 6884782"/>
              <a:gd name="connsiteY53098" fmla="*/ 1550304 h 5973007"/>
              <a:gd name="connsiteX53099" fmla="*/ 5688704 w 6884782"/>
              <a:gd name="connsiteY53099" fmla="*/ 1552865 h 5973007"/>
              <a:gd name="connsiteX53100" fmla="*/ 5686996 w 6884782"/>
              <a:gd name="connsiteY53100" fmla="*/ 1557702 h 5973007"/>
              <a:gd name="connsiteX53101" fmla="*/ 5672484 w 6884782"/>
              <a:gd name="connsiteY53101" fmla="*/ 1552580 h 5973007"/>
              <a:gd name="connsiteX53102" fmla="*/ 5664374 w 6884782"/>
              <a:gd name="connsiteY53102" fmla="*/ 1536789 h 5973007"/>
              <a:gd name="connsiteX53103" fmla="*/ 5665867 w 6884782"/>
              <a:gd name="connsiteY53103" fmla="*/ 1533232 h 5973007"/>
              <a:gd name="connsiteX53104" fmla="*/ 5663093 w 6884782"/>
              <a:gd name="connsiteY53104" fmla="*/ 1530813 h 5973007"/>
              <a:gd name="connsiteX53105" fmla="*/ 5665654 w 6884782"/>
              <a:gd name="connsiteY53105" fmla="*/ 1513172 h 5973007"/>
              <a:gd name="connsiteX53106" fmla="*/ 5676325 w 6884782"/>
              <a:gd name="connsiteY53106" fmla="*/ 1510895 h 5973007"/>
              <a:gd name="connsiteX53107" fmla="*/ 4715509 w 6884782"/>
              <a:gd name="connsiteY53107" fmla="*/ 1510895 h 5973007"/>
              <a:gd name="connsiteX53108" fmla="*/ 4721058 w 6884782"/>
              <a:gd name="connsiteY53108" fmla="*/ 1511180 h 5973007"/>
              <a:gd name="connsiteX53109" fmla="*/ 4719991 w 6884782"/>
              <a:gd name="connsiteY53109" fmla="*/ 1511180 h 5973007"/>
              <a:gd name="connsiteX53110" fmla="*/ 4720205 w 6884782"/>
              <a:gd name="connsiteY53110" fmla="*/ 1513599 h 5973007"/>
              <a:gd name="connsiteX53111" fmla="*/ 4721271 w 6884782"/>
              <a:gd name="connsiteY53111" fmla="*/ 1513599 h 5973007"/>
              <a:gd name="connsiteX53112" fmla="*/ 4720631 w 6884782"/>
              <a:gd name="connsiteY53112" fmla="*/ 1516017 h 5973007"/>
              <a:gd name="connsiteX53113" fmla="*/ 4712948 w 6884782"/>
              <a:gd name="connsiteY53113" fmla="*/ 1520143 h 5973007"/>
              <a:gd name="connsiteX53114" fmla="*/ 4712095 w 6884782"/>
              <a:gd name="connsiteY53114" fmla="*/ 1514025 h 5973007"/>
              <a:gd name="connsiteX53115" fmla="*/ 4715509 w 6884782"/>
              <a:gd name="connsiteY53115" fmla="*/ 1510895 h 5973007"/>
              <a:gd name="connsiteX53116" fmla="*/ 1806674 w 6884782"/>
              <a:gd name="connsiteY53116" fmla="*/ 1510106 h 5973007"/>
              <a:gd name="connsiteX53117" fmla="*/ 1808533 w 6884782"/>
              <a:gd name="connsiteY53117" fmla="*/ 1512275 h 5973007"/>
              <a:gd name="connsiteX53118" fmla="*/ 1808739 w 6884782"/>
              <a:gd name="connsiteY53118" fmla="*/ 1514908 h 5973007"/>
              <a:gd name="connsiteX53119" fmla="*/ 1807500 w 6884782"/>
              <a:gd name="connsiteY53119" fmla="*/ 1515683 h 5973007"/>
              <a:gd name="connsiteX53120" fmla="*/ 1805435 w 6884782"/>
              <a:gd name="connsiteY53120" fmla="*/ 1515993 h 5973007"/>
              <a:gd name="connsiteX53121" fmla="*/ 1804403 w 6884782"/>
              <a:gd name="connsiteY53121" fmla="*/ 1513979 h 5973007"/>
              <a:gd name="connsiteX53122" fmla="*/ 1804609 w 6884782"/>
              <a:gd name="connsiteY53122" fmla="*/ 1511655 h 5973007"/>
              <a:gd name="connsiteX53123" fmla="*/ 1805435 w 6884782"/>
              <a:gd name="connsiteY53123" fmla="*/ 1510416 h 5973007"/>
              <a:gd name="connsiteX53124" fmla="*/ 1806674 w 6884782"/>
              <a:gd name="connsiteY53124" fmla="*/ 1510106 h 5973007"/>
              <a:gd name="connsiteX53125" fmla="*/ 3648411 w 6884782"/>
              <a:gd name="connsiteY53125" fmla="*/ 1509615 h 5973007"/>
              <a:gd name="connsiteX53126" fmla="*/ 3647983 w 6884782"/>
              <a:gd name="connsiteY53126" fmla="*/ 1512461 h 5973007"/>
              <a:gd name="connsiteX53127" fmla="*/ 3646703 w 6884782"/>
              <a:gd name="connsiteY53127" fmla="*/ 1511465 h 5973007"/>
              <a:gd name="connsiteX53128" fmla="*/ 3648411 w 6884782"/>
              <a:gd name="connsiteY53128" fmla="*/ 1509615 h 5973007"/>
              <a:gd name="connsiteX53129" fmla="*/ 3690667 w 6884782"/>
              <a:gd name="connsiteY53129" fmla="*/ 1508904 h 5973007"/>
              <a:gd name="connsiteX53130" fmla="*/ 3696003 w 6884782"/>
              <a:gd name="connsiteY53130" fmla="*/ 1514879 h 5973007"/>
              <a:gd name="connsiteX53131" fmla="*/ 3698991 w 6884782"/>
              <a:gd name="connsiteY53131" fmla="*/ 1514310 h 5973007"/>
              <a:gd name="connsiteX53132" fmla="*/ 3703259 w 6884782"/>
              <a:gd name="connsiteY53132" fmla="*/ 1518151 h 5973007"/>
              <a:gd name="connsiteX53133" fmla="*/ 3698564 w 6884782"/>
              <a:gd name="connsiteY53133" fmla="*/ 1518578 h 5973007"/>
              <a:gd name="connsiteX53134" fmla="*/ 3698137 w 6884782"/>
              <a:gd name="connsiteY53134" fmla="*/ 1518294 h 5973007"/>
              <a:gd name="connsiteX53135" fmla="*/ 3701765 w 6884782"/>
              <a:gd name="connsiteY53135" fmla="*/ 1524553 h 5973007"/>
              <a:gd name="connsiteX53136" fmla="*/ 3707101 w 6884782"/>
              <a:gd name="connsiteY53136" fmla="*/ 1531809 h 5973007"/>
              <a:gd name="connsiteX53137" fmla="*/ 3706461 w 6884782"/>
              <a:gd name="connsiteY53137" fmla="*/ 1535081 h 5973007"/>
              <a:gd name="connsiteX53138" fmla="*/ 3707314 w 6884782"/>
              <a:gd name="connsiteY53138" fmla="*/ 1536077 h 5973007"/>
              <a:gd name="connsiteX53139" fmla="*/ 3706034 w 6884782"/>
              <a:gd name="connsiteY53139" fmla="*/ 1538354 h 5973007"/>
              <a:gd name="connsiteX53140" fmla="*/ 3700912 w 6884782"/>
              <a:gd name="connsiteY53140" fmla="*/ 1532805 h 5973007"/>
              <a:gd name="connsiteX53141" fmla="*/ 3697710 w 6884782"/>
              <a:gd name="connsiteY53141" fmla="*/ 1527825 h 5973007"/>
              <a:gd name="connsiteX53142" fmla="*/ 3690667 w 6884782"/>
              <a:gd name="connsiteY53142" fmla="*/ 1508904 h 5973007"/>
              <a:gd name="connsiteX53143" fmla="*/ 5754437 w 6884782"/>
              <a:gd name="connsiteY53143" fmla="*/ 1508193 h 5973007"/>
              <a:gd name="connsiteX53144" fmla="*/ 5764254 w 6884782"/>
              <a:gd name="connsiteY53144" fmla="*/ 1545894 h 5973007"/>
              <a:gd name="connsiteX53145" fmla="*/ 5754437 w 6884782"/>
              <a:gd name="connsiteY53145" fmla="*/ 1508193 h 5973007"/>
              <a:gd name="connsiteX53146" fmla="*/ 3571153 w 6884782"/>
              <a:gd name="connsiteY53146" fmla="*/ 1508193 h 5973007"/>
              <a:gd name="connsiteX53147" fmla="*/ 3568165 w 6884782"/>
              <a:gd name="connsiteY53147" fmla="*/ 1518294 h 5973007"/>
              <a:gd name="connsiteX53148" fmla="*/ 3571153 w 6884782"/>
              <a:gd name="connsiteY53148" fmla="*/ 1508193 h 5973007"/>
              <a:gd name="connsiteX53149" fmla="*/ 989827 w 6884782"/>
              <a:gd name="connsiteY53149" fmla="*/ 1507938 h 5973007"/>
              <a:gd name="connsiteX53150" fmla="*/ 999107 w 6884782"/>
              <a:gd name="connsiteY53150" fmla="*/ 1509487 h 5973007"/>
              <a:gd name="connsiteX53151" fmla="*/ 997971 w 6884782"/>
              <a:gd name="connsiteY53151" fmla="*/ 1517696 h 5973007"/>
              <a:gd name="connsiteX53152" fmla="*/ 984239 w 6884782"/>
              <a:gd name="connsiteY53152" fmla="*/ 1514908 h 5973007"/>
              <a:gd name="connsiteX53153" fmla="*/ 984032 w 6884782"/>
              <a:gd name="connsiteY53153" fmla="*/ 1511501 h 5973007"/>
              <a:gd name="connsiteX53154" fmla="*/ 989827 w 6884782"/>
              <a:gd name="connsiteY53154" fmla="*/ 1507938 h 5973007"/>
              <a:gd name="connsiteX53155" fmla="*/ 1645181 w 6884782"/>
              <a:gd name="connsiteY53155" fmla="*/ 1507783 h 5973007"/>
              <a:gd name="connsiteX53156" fmla="*/ 1649725 w 6884782"/>
              <a:gd name="connsiteY53156" fmla="*/ 1508093 h 5973007"/>
              <a:gd name="connsiteX53157" fmla="*/ 1648692 w 6884782"/>
              <a:gd name="connsiteY53157" fmla="*/ 1513205 h 5973007"/>
              <a:gd name="connsiteX53158" fmla="*/ 1643942 w 6884782"/>
              <a:gd name="connsiteY53158" fmla="*/ 1513359 h 5973007"/>
              <a:gd name="connsiteX53159" fmla="*/ 1642910 w 6884782"/>
              <a:gd name="connsiteY53159" fmla="*/ 1511501 h 5973007"/>
              <a:gd name="connsiteX53160" fmla="*/ 1643426 w 6884782"/>
              <a:gd name="connsiteY53160" fmla="*/ 1510726 h 5973007"/>
              <a:gd name="connsiteX53161" fmla="*/ 1645181 w 6884782"/>
              <a:gd name="connsiteY53161" fmla="*/ 1507783 h 5973007"/>
              <a:gd name="connsiteX53162" fmla="*/ 1285230 w 6884782"/>
              <a:gd name="connsiteY53162" fmla="*/ 1507008 h 5973007"/>
              <a:gd name="connsiteX53163" fmla="*/ 1290290 w 6884782"/>
              <a:gd name="connsiteY53163" fmla="*/ 1511965 h 5973007"/>
              <a:gd name="connsiteX53164" fmla="*/ 1294420 w 6884782"/>
              <a:gd name="connsiteY53164" fmla="*/ 1510881 h 5973007"/>
              <a:gd name="connsiteX53165" fmla="*/ 1298137 w 6884782"/>
              <a:gd name="connsiteY53165" fmla="*/ 1518161 h 5973007"/>
              <a:gd name="connsiteX53166" fmla="*/ 1286676 w 6884782"/>
              <a:gd name="connsiteY53166" fmla="*/ 1530553 h 5973007"/>
              <a:gd name="connsiteX53167" fmla="*/ 1286263 w 6884782"/>
              <a:gd name="connsiteY53167" fmla="*/ 1529778 h 5973007"/>
              <a:gd name="connsiteX53168" fmla="*/ 1282649 w 6884782"/>
              <a:gd name="connsiteY53168" fmla="*/ 1534270 h 5973007"/>
              <a:gd name="connsiteX53169" fmla="*/ 1274801 w 6884782"/>
              <a:gd name="connsiteY53169" fmla="*/ 1525131 h 5973007"/>
              <a:gd name="connsiteX53170" fmla="*/ 1274698 w 6884782"/>
              <a:gd name="connsiteY53170" fmla="*/ 1524512 h 5973007"/>
              <a:gd name="connsiteX53171" fmla="*/ 1273872 w 6884782"/>
              <a:gd name="connsiteY53171" fmla="*/ 1523737 h 5973007"/>
              <a:gd name="connsiteX53172" fmla="*/ 1273666 w 6884782"/>
              <a:gd name="connsiteY53172" fmla="*/ 1523892 h 5973007"/>
              <a:gd name="connsiteX53173" fmla="*/ 1273666 w 6884782"/>
              <a:gd name="connsiteY53173" fmla="*/ 1523583 h 5973007"/>
              <a:gd name="connsiteX53174" fmla="*/ 1272220 w 6884782"/>
              <a:gd name="connsiteY53174" fmla="*/ 1522033 h 5973007"/>
              <a:gd name="connsiteX53175" fmla="*/ 1273459 w 6884782"/>
              <a:gd name="connsiteY53175" fmla="*/ 1520949 h 5973007"/>
              <a:gd name="connsiteX53176" fmla="*/ 1273769 w 6884782"/>
              <a:gd name="connsiteY53176" fmla="*/ 1518316 h 5973007"/>
              <a:gd name="connsiteX53177" fmla="*/ 1275834 w 6884782"/>
              <a:gd name="connsiteY53177" fmla="*/ 1517231 h 5973007"/>
              <a:gd name="connsiteX53178" fmla="*/ 1280377 w 6884782"/>
              <a:gd name="connsiteY53178" fmla="*/ 1519245 h 5973007"/>
              <a:gd name="connsiteX53179" fmla="*/ 1285747 w 6884782"/>
              <a:gd name="connsiteY53179" fmla="*/ 1515063 h 5973007"/>
              <a:gd name="connsiteX53180" fmla="*/ 1288225 w 6884782"/>
              <a:gd name="connsiteY53180" fmla="*/ 1512895 h 5973007"/>
              <a:gd name="connsiteX53181" fmla="*/ 1287089 w 6884782"/>
              <a:gd name="connsiteY53181" fmla="*/ 1513205 h 5973007"/>
              <a:gd name="connsiteX53182" fmla="*/ 1276247 w 6884782"/>
              <a:gd name="connsiteY53182" fmla="*/ 1507318 h 5973007"/>
              <a:gd name="connsiteX53183" fmla="*/ 1285230 w 6884782"/>
              <a:gd name="connsiteY53183" fmla="*/ 1507008 h 5973007"/>
              <a:gd name="connsiteX53184" fmla="*/ 1674093 w 6884782"/>
              <a:gd name="connsiteY53184" fmla="*/ 1506389 h 5973007"/>
              <a:gd name="connsiteX53185" fmla="*/ 1675745 w 6884782"/>
              <a:gd name="connsiteY53185" fmla="*/ 1511810 h 5973007"/>
              <a:gd name="connsiteX53186" fmla="*/ 1669034 w 6884782"/>
              <a:gd name="connsiteY53186" fmla="*/ 1510571 h 5973007"/>
              <a:gd name="connsiteX53187" fmla="*/ 1668931 w 6884782"/>
              <a:gd name="connsiteY53187" fmla="*/ 1508402 h 5973007"/>
              <a:gd name="connsiteX53188" fmla="*/ 1670066 w 6884782"/>
              <a:gd name="connsiteY53188" fmla="*/ 1507318 h 5973007"/>
              <a:gd name="connsiteX53189" fmla="*/ 1674093 w 6884782"/>
              <a:gd name="connsiteY53189" fmla="*/ 1506389 h 5973007"/>
              <a:gd name="connsiteX53190" fmla="*/ 1522513 w 6884782"/>
              <a:gd name="connsiteY53190" fmla="*/ 1506079 h 5973007"/>
              <a:gd name="connsiteX53191" fmla="*/ 1528296 w 6884782"/>
              <a:gd name="connsiteY53191" fmla="*/ 1508712 h 5973007"/>
              <a:gd name="connsiteX53192" fmla="*/ 1520551 w 6884782"/>
              <a:gd name="connsiteY53192" fmla="*/ 1511965 h 5973007"/>
              <a:gd name="connsiteX53193" fmla="*/ 1522513 w 6884782"/>
              <a:gd name="connsiteY53193" fmla="*/ 1506079 h 5973007"/>
              <a:gd name="connsiteX53194" fmla="*/ 4857006 w 6884782"/>
              <a:gd name="connsiteY53194" fmla="*/ 1506058 h 5973007"/>
              <a:gd name="connsiteX53195" fmla="*/ 4860635 w 6884782"/>
              <a:gd name="connsiteY53195" fmla="*/ 1509900 h 5973007"/>
              <a:gd name="connsiteX53196" fmla="*/ 4861275 w 6884782"/>
              <a:gd name="connsiteY53196" fmla="*/ 1513172 h 5973007"/>
              <a:gd name="connsiteX53197" fmla="*/ 4851885 w 6884782"/>
              <a:gd name="connsiteY53197" fmla="*/ 1508620 h 5973007"/>
              <a:gd name="connsiteX53198" fmla="*/ 4857006 w 6884782"/>
              <a:gd name="connsiteY53198" fmla="*/ 1506058 h 5973007"/>
              <a:gd name="connsiteX53199" fmla="*/ 1027503 w 6884782"/>
              <a:gd name="connsiteY53199" fmla="*/ 1505924 h 5973007"/>
              <a:gd name="connsiteX53200" fmla="*/ 1038551 w 6884782"/>
              <a:gd name="connsiteY53200" fmla="*/ 1516922 h 5973007"/>
              <a:gd name="connsiteX53201" fmla="*/ 1036899 w 6884782"/>
              <a:gd name="connsiteY53201" fmla="*/ 1518161 h 5973007"/>
              <a:gd name="connsiteX53202" fmla="*/ 1034628 w 6884782"/>
              <a:gd name="connsiteY53202" fmla="*/ 1517696 h 5973007"/>
              <a:gd name="connsiteX53203" fmla="*/ 1028638 w 6884782"/>
              <a:gd name="connsiteY53203" fmla="*/ 1512275 h 5973007"/>
              <a:gd name="connsiteX53204" fmla="*/ 1027503 w 6884782"/>
              <a:gd name="connsiteY53204" fmla="*/ 1510881 h 5973007"/>
              <a:gd name="connsiteX53205" fmla="*/ 1026470 w 6884782"/>
              <a:gd name="connsiteY53205" fmla="*/ 1509332 h 5973007"/>
              <a:gd name="connsiteX53206" fmla="*/ 1026161 w 6884782"/>
              <a:gd name="connsiteY53206" fmla="*/ 1507628 h 5973007"/>
              <a:gd name="connsiteX53207" fmla="*/ 1027503 w 6884782"/>
              <a:gd name="connsiteY53207" fmla="*/ 1505924 h 5973007"/>
              <a:gd name="connsiteX53208" fmla="*/ 4658953 w 6884782"/>
              <a:gd name="connsiteY53208" fmla="*/ 1505916 h 5973007"/>
              <a:gd name="connsiteX53209" fmla="*/ 4661087 w 6884782"/>
              <a:gd name="connsiteY53209" fmla="*/ 1506201 h 5973007"/>
              <a:gd name="connsiteX53210" fmla="*/ 4652764 w 6884782"/>
              <a:gd name="connsiteY53210" fmla="*/ 1512745 h 5973007"/>
              <a:gd name="connsiteX53211" fmla="*/ 4658953 w 6884782"/>
              <a:gd name="connsiteY53211" fmla="*/ 1505916 h 5973007"/>
              <a:gd name="connsiteX53212" fmla="*/ 4238302 w 6884782"/>
              <a:gd name="connsiteY53212" fmla="*/ 1505916 h 5973007"/>
              <a:gd name="connsiteX53213" fmla="*/ 4247693 w 6884782"/>
              <a:gd name="connsiteY53213" fmla="*/ 1512461 h 5973007"/>
              <a:gd name="connsiteX53214" fmla="*/ 4244065 w 6884782"/>
              <a:gd name="connsiteY53214" fmla="*/ 1519432 h 5973007"/>
              <a:gd name="connsiteX53215" fmla="*/ 4232327 w 6884782"/>
              <a:gd name="connsiteY53215" fmla="*/ 1512603 h 5973007"/>
              <a:gd name="connsiteX53216" fmla="*/ 4234461 w 6884782"/>
              <a:gd name="connsiteY53216" fmla="*/ 1507766 h 5973007"/>
              <a:gd name="connsiteX53217" fmla="*/ 4238302 w 6884782"/>
              <a:gd name="connsiteY53217" fmla="*/ 1505916 h 5973007"/>
              <a:gd name="connsiteX53218" fmla="*/ 3719479 w 6884782"/>
              <a:gd name="connsiteY53218" fmla="*/ 1505347 h 5973007"/>
              <a:gd name="connsiteX53219" fmla="*/ 3717772 w 6884782"/>
              <a:gd name="connsiteY53219" fmla="*/ 1508620 h 5973007"/>
              <a:gd name="connsiteX53220" fmla="*/ 3704540 w 6884782"/>
              <a:gd name="connsiteY53220" fmla="*/ 1516017 h 5973007"/>
              <a:gd name="connsiteX53221" fmla="*/ 3719479 w 6884782"/>
              <a:gd name="connsiteY53221" fmla="*/ 1505347 h 5973007"/>
              <a:gd name="connsiteX53222" fmla="*/ 4130312 w 6884782"/>
              <a:gd name="connsiteY53222" fmla="*/ 1504920 h 5973007"/>
              <a:gd name="connsiteX53223" fmla="*/ 4133940 w 6884782"/>
              <a:gd name="connsiteY53223" fmla="*/ 1506201 h 5973007"/>
              <a:gd name="connsiteX53224" fmla="*/ 4135008 w 6884782"/>
              <a:gd name="connsiteY53224" fmla="*/ 1507481 h 5973007"/>
              <a:gd name="connsiteX53225" fmla="*/ 4136075 w 6884782"/>
              <a:gd name="connsiteY53225" fmla="*/ 1507481 h 5973007"/>
              <a:gd name="connsiteX53226" fmla="*/ 4136288 w 6884782"/>
              <a:gd name="connsiteY53226" fmla="*/ 1508620 h 5973007"/>
              <a:gd name="connsiteX53227" fmla="*/ 4138636 w 6884782"/>
              <a:gd name="connsiteY53227" fmla="*/ 1511180 h 5973007"/>
              <a:gd name="connsiteX53228" fmla="*/ 4145892 w 6884782"/>
              <a:gd name="connsiteY53228" fmla="*/ 1515022 h 5973007"/>
              <a:gd name="connsiteX53229" fmla="*/ 4150801 w 6884782"/>
              <a:gd name="connsiteY53229" fmla="*/ 1522419 h 5973007"/>
              <a:gd name="connsiteX53230" fmla="*/ 4148666 w 6884782"/>
              <a:gd name="connsiteY53230" fmla="*/ 1524696 h 5973007"/>
              <a:gd name="connsiteX53231" fmla="*/ 4151014 w 6884782"/>
              <a:gd name="connsiteY53231" fmla="*/ 1527114 h 5973007"/>
              <a:gd name="connsiteX53232" fmla="*/ 4154642 w 6884782"/>
              <a:gd name="connsiteY53232" fmla="*/ 1534228 h 5973007"/>
              <a:gd name="connsiteX53233" fmla="*/ 4151654 w 6884782"/>
              <a:gd name="connsiteY53233" fmla="*/ 1540203 h 5973007"/>
              <a:gd name="connsiteX53234" fmla="*/ 4154002 w 6884782"/>
              <a:gd name="connsiteY53234" fmla="*/ 1541483 h 5973007"/>
              <a:gd name="connsiteX53235" fmla="*/ 4153362 w 6884782"/>
              <a:gd name="connsiteY53235" fmla="*/ 1548312 h 5973007"/>
              <a:gd name="connsiteX53236" fmla="*/ 4141197 w 6884782"/>
              <a:gd name="connsiteY53236" fmla="*/ 1546747 h 5973007"/>
              <a:gd name="connsiteX53237" fmla="*/ 4141837 w 6884782"/>
              <a:gd name="connsiteY53237" fmla="*/ 1545609 h 5973007"/>
              <a:gd name="connsiteX53238" fmla="*/ 4140343 w 6884782"/>
              <a:gd name="connsiteY53238" fmla="*/ 1545325 h 5973007"/>
              <a:gd name="connsiteX53239" fmla="*/ 4136502 w 6884782"/>
              <a:gd name="connsiteY53239" fmla="*/ 1543191 h 5973007"/>
              <a:gd name="connsiteX53240" fmla="*/ 4133514 w 6884782"/>
              <a:gd name="connsiteY53240" fmla="*/ 1527541 h 5973007"/>
              <a:gd name="connsiteX53241" fmla="*/ 4143758 w 6884782"/>
              <a:gd name="connsiteY53241" fmla="*/ 1522135 h 5973007"/>
              <a:gd name="connsiteX53242" fmla="*/ 4142691 w 6884782"/>
              <a:gd name="connsiteY53242" fmla="*/ 1521993 h 5973007"/>
              <a:gd name="connsiteX53243" fmla="*/ 4130312 w 6884782"/>
              <a:gd name="connsiteY53243" fmla="*/ 1504920 h 5973007"/>
              <a:gd name="connsiteX53244" fmla="*/ 4300835 w 6884782"/>
              <a:gd name="connsiteY53244" fmla="*/ 1504636 h 5973007"/>
              <a:gd name="connsiteX53245" fmla="*/ 4302115 w 6884782"/>
              <a:gd name="connsiteY53245" fmla="*/ 1507766 h 5973007"/>
              <a:gd name="connsiteX53246" fmla="*/ 4299127 w 6884782"/>
              <a:gd name="connsiteY53246" fmla="*/ 1522561 h 5973007"/>
              <a:gd name="connsiteX53247" fmla="*/ 4297633 w 6884782"/>
              <a:gd name="connsiteY53247" fmla="*/ 1519432 h 5973007"/>
              <a:gd name="connsiteX53248" fmla="*/ 4300835 w 6884782"/>
              <a:gd name="connsiteY53248" fmla="*/ 1504636 h 5973007"/>
              <a:gd name="connsiteX53249" fmla="*/ 1761448 w 6884782"/>
              <a:gd name="connsiteY53249" fmla="*/ 1504530 h 5973007"/>
              <a:gd name="connsiteX53250" fmla="*/ 1763203 w 6884782"/>
              <a:gd name="connsiteY53250" fmla="*/ 1506698 h 5973007"/>
              <a:gd name="connsiteX53251" fmla="*/ 1759486 w 6884782"/>
              <a:gd name="connsiteY53251" fmla="*/ 1511036 h 5973007"/>
              <a:gd name="connsiteX53252" fmla="*/ 1756698 w 6884782"/>
              <a:gd name="connsiteY53252" fmla="*/ 1510416 h 5973007"/>
              <a:gd name="connsiteX53253" fmla="*/ 1754220 w 6884782"/>
              <a:gd name="connsiteY53253" fmla="*/ 1506698 h 5973007"/>
              <a:gd name="connsiteX53254" fmla="*/ 1755149 w 6884782"/>
              <a:gd name="connsiteY53254" fmla="*/ 1505150 h 5973007"/>
              <a:gd name="connsiteX53255" fmla="*/ 1761448 w 6884782"/>
              <a:gd name="connsiteY53255" fmla="*/ 1504530 h 5973007"/>
              <a:gd name="connsiteX53256" fmla="*/ 5639830 w 6884782"/>
              <a:gd name="connsiteY53256" fmla="*/ 1504209 h 5973007"/>
              <a:gd name="connsiteX53257" fmla="*/ 5642605 w 6884782"/>
              <a:gd name="connsiteY53257" fmla="*/ 1509615 h 5973007"/>
              <a:gd name="connsiteX53258" fmla="*/ 5640044 w 6884782"/>
              <a:gd name="connsiteY53258" fmla="*/ 1531383 h 5973007"/>
              <a:gd name="connsiteX53259" fmla="*/ 5645806 w 6884782"/>
              <a:gd name="connsiteY53259" fmla="*/ 1544328 h 5973007"/>
              <a:gd name="connsiteX53260" fmla="*/ 5614647 w 6884782"/>
              <a:gd name="connsiteY53260" fmla="*/ 1531667 h 5973007"/>
              <a:gd name="connsiteX53261" fmla="*/ 5608458 w 6884782"/>
              <a:gd name="connsiteY53261" fmla="*/ 1523415 h 5973007"/>
              <a:gd name="connsiteX53262" fmla="*/ 5630866 w 6884782"/>
              <a:gd name="connsiteY53262" fmla="*/ 1525976 h 5973007"/>
              <a:gd name="connsiteX53263" fmla="*/ 5639830 w 6884782"/>
              <a:gd name="connsiteY53263" fmla="*/ 1504209 h 5973007"/>
              <a:gd name="connsiteX53264" fmla="*/ 4199887 w 6884782"/>
              <a:gd name="connsiteY53264" fmla="*/ 1504209 h 5973007"/>
              <a:gd name="connsiteX53265" fmla="*/ 4204582 w 6884782"/>
              <a:gd name="connsiteY53265" fmla="*/ 1531667 h 5973007"/>
              <a:gd name="connsiteX53266" fmla="*/ 4198180 w 6884782"/>
              <a:gd name="connsiteY53266" fmla="*/ 1518294 h 5973007"/>
              <a:gd name="connsiteX53267" fmla="*/ 4199887 w 6884782"/>
              <a:gd name="connsiteY53267" fmla="*/ 1504209 h 5973007"/>
              <a:gd name="connsiteX53268" fmla="*/ 1596754 w 6884782"/>
              <a:gd name="connsiteY53268" fmla="*/ 1504065 h 5973007"/>
              <a:gd name="connsiteX53269" fmla="*/ 1602124 w 6884782"/>
              <a:gd name="connsiteY53269" fmla="*/ 1507008 h 5973007"/>
              <a:gd name="connsiteX53270" fmla="*/ 1603156 w 6884782"/>
              <a:gd name="connsiteY53270" fmla="*/ 1511191 h 5973007"/>
              <a:gd name="connsiteX53271" fmla="*/ 1598406 w 6884782"/>
              <a:gd name="connsiteY53271" fmla="*/ 1516302 h 5973007"/>
              <a:gd name="connsiteX53272" fmla="*/ 1591178 w 6884782"/>
              <a:gd name="connsiteY53272" fmla="*/ 1509797 h 5973007"/>
              <a:gd name="connsiteX53273" fmla="*/ 1596754 w 6884782"/>
              <a:gd name="connsiteY53273" fmla="*/ 1504065 h 5973007"/>
              <a:gd name="connsiteX53274" fmla="*/ 5868616 w 6884782"/>
              <a:gd name="connsiteY53274" fmla="*/ 1503782 h 5973007"/>
              <a:gd name="connsiteX53275" fmla="*/ 5870323 w 6884782"/>
              <a:gd name="connsiteY53275" fmla="*/ 1507055 h 5973007"/>
              <a:gd name="connsiteX53276" fmla="*/ 5869257 w 6884782"/>
              <a:gd name="connsiteY53276" fmla="*/ 1511465 h 5973007"/>
              <a:gd name="connsiteX53277" fmla="*/ 5869897 w 6884782"/>
              <a:gd name="connsiteY53277" fmla="*/ 1512745 h 5973007"/>
              <a:gd name="connsiteX53278" fmla="*/ 5868190 w 6884782"/>
              <a:gd name="connsiteY53278" fmla="*/ 1516017 h 5973007"/>
              <a:gd name="connsiteX53279" fmla="*/ 5866909 w 6884782"/>
              <a:gd name="connsiteY53279" fmla="*/ 1516871 h 5973007"/>
              <a:gd name="connsiteX53280" fmla="*/ 5863921 w 6884782"/>
              <a:gd name="connsiteY53280" fmla="*/ 1520712 h 5973007"/>
              <a:gd name="connsiteX53281" fmla="*/ 5863067 w 6884782"/>
              <a:gd name="connsiteY53281" fmla="*/ 1518863 h 5973007"/>
              <a:gd name="connsiteX53282" fmla="*/ 5858586 w 6884782"/>
              <a:gd name="connsiteY53282" fmla="*/ 1518294 h 5973007"/>
              <a:gd name="connsiteX53283" fmla="*/ 5852610 w 6884782"/>
              <a:gd name="connsiteY53283" fmla="*/ 1520428 h 5973007"/>
              <a:gd name="connsiteX53284" fmla="*/ 5860079 w 6884782"/>
              <a:gd name="connsiteY53284" fmla="*/ 1516017 h 5973007"/>
              <a:gd name="connsiteX53285" fmla="*/ 5860720 w 6884782"/>
              <a:gd name="connsiteY53285" fmla="*/ 1514310 h 5973007"/>
              <a:gd name="connsiteX53286" fmla="*/ 5860507 w 6884782"/>
              <a:gd name="connsiteY53286" fmla="*/ 1514168 h 5973007"/>
              <a:gd name="connsiteX53287" fmla="*/ 5860933 w 6884782"/>
              <a:gd name="connsiteY53287" fmla="*/ 1513599 h 5973007"/>
              <a:gd name="connsiteX53288" fmla="*/ 5861574 w 6884782"/>
              <a:gd name="connsiteY53288" fmla="*/ 1512461 h 5973007"/>
              <a:gd name="connsiteX53289" fmla="*/ 5862000 w 6884782"/>
              <a:gd name="connsiteY53289" fmla="*/ 1512176 h 5973007"/>
              <a:gd name="connsiteX53290" fmla="*/ 5863494 w 6884782"/>
              <a:gd name="connsiteY53290" fmla="*/ 1509330 h 5973007"/>
              <a:gd name="connsiteX53291" fmla="*/ 5865842 w 6884782"/>
              <a:gd name="connsiteY53291" fmla="*/ 1504209 h 5973007"/>
              <a:gd name="connsiteX53292" fmla="*/ 5868616 w 6884782"/>
              <a:gd name="connsiteY53292" fmla="*/ 1503782 h 5973007"/>
              <a:gd name="connsiteX53293" fmla="*/ 3646917 w 6884782"/>
              <a:gd name="connsiteY53293" fmla="*/ 1503782 h 5973007"/>
              <a:gd name="connsiteX53294" fmla="*/ 3646490 w 6884782"/>
              <a:gd name="connsiteY53294" fmla="*/ 1506628 h 5973007"/>
              <a:gd name="connsiteX53295" fmla="*/ 3645850 w 6884782"/>
              <a:gd name="connsiteY53295" fmla="*/ 1504209 h 5973007"/>
              <a:gd name="connsiteX53296" fmla="*/ 3646917 w 6884782"/>
              <a:gd name="connsiteY53296" fmla="*/ 1503782 h 5973007"/>
              <a:gd name="connsiteX53297" fmla="*/ 4972680 w 6884782"/>
              <a:gd name="connsiteY53297" fmla="*/ 1503498 h 5973007"/>
              <a:gd name="connsiteX53298" fmla="*/ 4975241 w 6884782"/>
              <a:gd name="connsiteY53298" fmla="*/ 1503498 h 5973007"/>
              <a:gd name="connsiteX53299" fmla="*/ 4976522 w 6884782"/>
              <a:gd name="connsiteY53299" fmla="*/ 1509473 h 5973007"/>
              <a:gd name="connsiteX53300" fmla="*/ 4977589 w 6884782"/>
              <a:gd name="connsiteY53300" fmla="*/ 1510042 h 5973007"/>
              <a:gd name="connsiteX53301" fmla="*/ 4980577 w 6884782"/>
              <a:gd name="connsiteY53301" fmla="*/ 1509188 h 5973007"/>
              <a:gd name="connsiteX53302" fmla="*/ 4988046 w 6884782"/>
              <a:gd name="connsiteY53302" fmla="*/ 1511180 h 5973007"/>
              <a:gd name="connsiteX53303" fmla="*/ 4990394 w 6884782"/>
              <a:gd name="connsiteY53303" fmla="*/ 1514168 h 5973007"/>
              <a:gd name="connsiteX53304" fmla="*/ 4994876 w 6884782"/>
              <a:gd name="connsiteY53304" fmla="*/ 1512461 h 5973007"/>
              <a:gd name="connsiteX53305" fmla="*/ 4999571 w 6884782"/>
              <a:gd name="connsiteY53305" fmla="*/ 1514595 h 5973007"/>
              <a:gd name="connsiteX53306" fmla="*/ 4992315 w 6884782"/>
              <a:gd name="connsiteY53306" fmla="*/ 1525265 h 5973007"/>
              <a:gd name="connsiteX53307" fmla="*/ 4989327 w 6884782"/>
              <a:gd name="connsiteY53307" fmla="*/ 1527683 h 5973007"/>
              <a:gd name="connsiteX53308" fmla="*/ 4988900 w 6884782"/>
              <a:gd name="connsiteY53308" fmla="*/ 1528537 h 5973007"/>
              <a:gd name="connsiteX53309" fmla="*/ 4985912 w 6884782"/>
              <a:gd name="connsiteY53309" fmla="*/ 1530244 h 5973007"/>
              <a:gd name="connsiteX53310" fmla="*/ 4980363 w 6884782"/>
              <a:gd name="connsiteY53310" fmla="*/ 1534654 h 5973007"/>
              <a:gd name="connsiteX53311" fmla="*/ 4978442 w 6884782"/>
              <a:gd name="connsiteY53311" fmla="*/ 1544898 h 5973007"/>
              <a:gd name="connsiteX53312" fmla="*/ 4976949 w 6884782"/>
              <a:gd name="connsiteY53312" fmla="*/ 1546320 h 5973007"/>
              <a:gd name="connsiteX53313" fmla="*/ 4977162 w 6884782"/>
              <a:gd name="connsiteY53313" fmla="*/ 1552296 h 5973007"/>
              <a:gd name="connsiteX53314" fmla="*/ 4968838 w 6884782"/>
              <a:gd name="connsiteY53314" fmla="*/ 1548170 h 5973007"/>
              <a:gd name="connsiteX53315" fmla="*/ 4969906 w 6884782"/>
              <a:gd name="connsiteY53315" fmla="*/ 1545894 h 5973007"/>
              <a:gd name="connsiteX53316" fmla="*/ 4972680 w 6884782"/>
              <a:gd name="connsiteY53316" fmla="*/ 1544471 h 5973007"/>
              <a:gd name="connsiteX53317" fmla="*/ 4971400 w 6884782"/>
              <a:gd name="connsiteY53317" fmla="*/ 1541910 h 5973007"/>
              <a:gd name="connsiteX53318" fmla="*/ 4970333 w 6884782"/>
              <a:gd name="connsiteY53318" fmla="*/ 1543191 h 5973007"/>
              <a:gd name="connsiteX53319" fmla="*/ 4960515 w 6884782"/>
              <a:gd name="connsiteY53319" fmla="*/ 1549593 h 5973007"/>
              <a:gd name="connsiteX53320" fmla="*/ 4954539 w 6884782"/>
              <a:gd name="connsiteY53320" fmla="*/ 1552296 h 5973007"/>
              <a:gd name="connsiteX53321" fmla="*/ 4957100 w 6884782"/>
              <a:gd name="connsiteY53321" fmla="*/ 1553719 h 5973007"/>
              <a:gd name="connsiteX53322" fmla="*/ 4963076 w 6884782"/>
              <a:gd name="connsiteY53322" fmla="*/ 1561543 h 5973007"/>
              <a:gd name="connsiteX53323" fmla="*/ 4953259 w 6884782"/>
              <a:gd name="connsiteY53323" fmla="*/ 1566380 h 5973007"/>
              <a:gd name="connsiteX53324" fmla="*/ 4947496 w 6884782"/>
              <a:gd name="connsiteY53324" fmla="*/ 1563108 h 5973007"/>
              <a:gd name="connsiteX53325" fmla="*/ 4946003 w 6884782"/>
              <a:gd name="connsiteY53325" fmla="*/ 1558556 h 5973007"/>
              <a:gd name="connsiteX53326" fmla="*/ 4944936 w 6884782"/>
              <a:gd name="connsiteY53326" fmla="*/ 1556422 h 5973007"/>
              <a:gd name="connsiteX53327" fmla="*/ 4926582 w 6884782"/>
              <a:gd name="connsiteY53327" fmla="*/ 1563678 h 5973007"/>
              <a:gd name="connsiteX53328" fmla="*/ 4924020 w 6884782"/>
              <a:gd name="connsiteY53328" fmla="*/ 1550873 h 5973007"/>
              <a:gd name="connsiteX53329" fmla="*/ 4953472 w 6884782"/>
              <a:gd name="connsiteY53329" fmla="*/ 1540772 h 5973007"/>
              <a:gd name="connsiteX53330" fmla="*/ 4968412 w 6884782"/>
              <a:gd name="connsiteY53330" fmla="*/ 1535650 h 5973007"/>
              <a:gd name="connsiteX53331" fmla="*/ 4966704 w 6884782"/>
              <a:gd name="connsiteY53331" fmla="*/ 1531667 h 5973007"/>
              <a:gd name="connsiteX53332" fmla="*/ 4964783 w 6884782"/>
              <a:gd name="connsiteY53332" fmla="*/ 1515022 h 5973007"/>
              <a:gd name="connsiteX53333" fmla="*/ 4967131 w 6884782"/>
              <a:gd name="connsiteY53333" fmla="*/ 1504351 h 5973007"/>
              <a:gd name="connsiteX53334" fmla="*/ 4972466 w 6884782"/>
              <a:gd name="connsiteY53334" fmla="*/ 1506770 h 5973007"/>
              <a:gd name="connsiteX53335" fmla="*/ 4973107 w 6884782"/>
              <a:gd name="connsiteY53335" fmla="*/ 1507766 h 5973007"/>
              <a:gd name="connsiteX53336" fmla="*/ 4973107 w 6884782"/>
              <a:gd name="connsiteY53336" fmla="*/ 1506343 h 5973007"/>
              <a:gd name="connsiteX53337" fmla="*/ 4972680 w 6884782"/>
              <a:gd name="connsiteY53337" fmla="*/ 1503498 h 5973007"/>
              <a:gd name="connsiteX53338" fmla="*/ 1624737 w 6884782"/>
              <a:gd name="connsiteY53338" fmla="*/ 1503291 h 5973007"/>
              <a:gd name="connsiteX53339" fmla="*/ 1631139 w 6884782"/>
              <a:gd name="connsiteY53339" fmla="*/ 1511965 h 5973007"/>
              <a:gd name="connsiteX53340" fmla="*/ 1624737 w 6884782"/>
              <a:gd name="connsiteY53340" fmla="*/ 1506079 h 5973007"/>
              <a:gd name="connsiteX53341" fmla="*/ 1624737 w 6884782"/>
              <a:gd name="connsiteY53341" fmla="*/ 1503291 h 5973007"/>
              <a:gd name="connsiteX53342" fmla="*/ 5308816 w 6884782"/>
              <a:gd name="connsiteY53342" fmla="*/ 1503213 h 5973007"/>
              <a:gd name="connsiteX53343" fmla="*/ 5305188 w 6884782"/>
              <a:gd name="connsiteY53343" fmla="*/ 1513599 h 5973007"/>
              <a:gd name="connsiteX53344" fmla="*/ 5298999 w 6884782"/>
              <a:gd name="connsiteY53344" fmla="*/ 1510611 h 5973007"/>
              <a:gd name="connsiteX53345" fmla="*/ 5308816 w 6884782"/>
              <a:gd name="connsiteY53345" fmla="*/ 1503213 h 5973007"/>
              <a:gd name="connsiteX53346" fmla="*/ 4123483 w 6884782"/>
              <a:gd name="connsiteY53346" fmla="*/ 1502786 h 5973007"/>
              <a:gd name="connsiteX53347" fmla="*/ 4125831 w 6884782"/>
              <a:gd name="connsiteY53347" fmla="*/ 1504636 h 5973007"/>
              <a:gd name="connsiteX53348" fmla="*/ 4114946 w 6884782"/>
              <a:gd name="connsiteY53348" fmla="*/ 1505774 h 5973007"/>
              <a:gd name="connsiteX53349" fmla="*/ 4123483 w 6884782"/>
              <a:gd name="connsiteY53349" fmla="*/ 1502786 h 5973007"/>
              <a:gd name="connsiteX53350" fmla="*/ 3591641 w 6884782"/>
              <a:gd name="connsiteY53350" fmla="*/ 1502786 h 5973007"/>
              <a:gd name="connsiteX53351" fmla="*/ 3593988 w 6884782"/>
              <a:gd name="connsiteY53351" fmla="*/ 1505632 h 5973007"/>
              <a:gd name="connsiteX53352" fmla="*/ 3595483 w 6884782"/>
              <a:gd name="connsiteY53352" fmla="*/ 1520570 h 5973007"/>
              <a:gd name="connsiteX53353" fmla="*/ 3591641 w 6884782"/>
              <a:gd name="connsiteY53353" fmla="*/ 1502786 h 5973007"/>
              <a:gd name="connsiteX53354" fmla="*/ 3738901 w 6884782"/>
              <a:gd name="connsiteY53354" fmla="*/ 1502217 h 5973007"/>
              <a:gd name="connsiteX53355" fmla="*/ 3740394 w 6884782"/>
              <a:gd name="connsiteY53355" fmla="*/ 1503213 h 5973007"/>
              <a:gd name="connsiteX53356" fmla="*/ 3744236 w 6884782"/>
              <a:gd name="connsiteY53356" fmla="*/ 1509330 h 5973007"/>
              <a:gd name="connsiteX53357" fmla="*/ 3765364 w 6884782"/>
              <a:gd name="connsiteY53357" fmla="*/ 1511465 h 5973007"/>
              <a:gd name="connsiteX53358" fmla="*/ 3764724 w 6884782"/>
              <a:gd name="connsiteY53358" fmla="*/ 1523415 h 5973007"/>
              <a:gd name="connsiteX53359" fmla="*/ 3762376 w 6884782"/>
              <a:gd name="connsiteY53359" fmla="*/ 1525976 h 5973007"/>
              <a:gd name="connsiteX53360" fmla="*/ 3764938 w 6884782"/>
              <a:gd name="connsiteY53360" fmla="*/ 1526261 h 5973007"/>
              <a:gd name="connsiteX53361" fmla="*/ 3757468 w 6884782"/>
              <a:gd name="connsiteY53361" fmla="*/ 1548170 h 5973007"/>
              <a:gd name="connsiteX53362" fmla="*/ 3755547 w 6884782"/>
              <a:gd name="connsiteY53362" fmla="*/ 1549877 h 5973007"/>
              <a:gd name="connsiteX53363" fmla="*/ 3752772 w 6884782"/>
              <a:gd name="connsiteY53363" fmla="*/ 1548881 h 5973007"/>
              <a:gd name="connsiteX53364" fmla="*/ 3751492 w 6884782"/>
              <a:gd name="connsiteY53364" fmla="*/ 1545040 h 5973007"/>
              <a:gd name="connsiteX53365" fmla="*/ 3750639 w 6884782"/>
              <a:gd name="connsiteY53365" fmla="*/ 1545467 h 5973007"/>
              <a:gd name="connsiteX53366" fmla="*/ 3750639 w 6884782"/>
              <a:gd name="connsiteY53366" fmla="*/ 1545894 h 5973007"/>
              <a:gd name="connsiteX53367" fmla="*/ 3746370 w 6884782"/>
              <a:gd name="connsiteY53367" fmla="*/ 1555995 h 5973007"/>
              <a:gd name="connsiteX53368" fmla="*/ 3745303 w 6884782"/>
              <a:gd name="connsiteY53368" fmla="*/ 1558271 h 5973007"/>
              <a:gd name="connsiteX53369" fmla="*/ 3741889 w 6884782"/>
              <a:gd name="connsiteY53369" fmla="*/ 1558129 h 5973007"/>
              <a:gd name="connsiteX53370" fmla="*/ 3741889 w 6884782"/>
              <a:gd name="connsiteY53370" fmla="*/ 1549450 h 5973007"/>
              <a:gd name="connsiteX53371" fmla="*/ 3735059 w 6884782"/>
              <a:gd name="connsiteY53371" fmla="*/ 1548881 h 5973007"/>
              <a:gd name="connsiteX53372" fmla="*/ 3742102 w 6884782"/>
              <a:gd name="connsiteY53372" fmla="*/ 1527541 h 5973007"/>
              <a:gd name="connsiteX53373" fmla="*/ 3742742 w 6884782"/>
              <a:gd name="connsiteY53373" fmla="*/ 1526972 h 5973007"/>
              <a:gd name="connsiteX53374" fmla="*/ 3742315 w 6884782"/>
              <a:gd name="connsiteY53374" fmla="*/ 1526830 h 5973007"/>
              <a:gd name="connsiteX53375" fmla="*/ 3736980 w 6884782"/>
              <a:gd name="connsiteY53375" fmla="*/ 1529391 h 5973007"/>
              <a:gd name="connsiteX53376" fmla="*/ 3734205 w 6884782"/>
              <a:gd name="connsiteY53376" fmla="*/ 1511749 h 5973007"/>
              <a:gd name="connsiteX53377" fmla="*/ 3734845 w 6884782"/>
              <a:gd name="connsiteY53377" fmla="*/ 1509330 h 5973007"/>
              <a:gd name="connsiteX53378" fmla="*/ 3733778 w 6884782"/>
              <a:gd name="connsiteY53378" fmla="*/ 1509188 h 5973007"/>
              <a:gd name="connsiteX53379" fmla="*/ 3734845 w 6884782"/>
              <a:gd name="connsiteY53379" fmla="*/ 1508050 h 5973007"/>
              <a:gd name="connsiteX53380" fmla="*/ 3734845 w 6884782"/>
              <a:gd name="connsiteY53380" fmla="*/ 1507766 h 5973007"/>
              <a:gd name="connsiteX53381" fmla="*/ 3734845 w 6884782"/>
              <a:gd name="connsiteY53381" fmla="*/ 1506486 h 5973007"/>
              <a:gd name="connsiteX53382" fmla="*/ 3737620 w 6884782"/>
              <a:gd name="connsiteY53382" fmla="*/ 1502644 h 5973007"/>
              <a:gd name="connsiteX53383" fmla="*/ 3738901 w 6884782"/>
              <a:gd name="connsiteY53383" fmla="*/ 1502217 h 5973007"/>
              <a:gd name="connsiteX53384" fmla="*/ 1129004 w 6884782"/>
              <a:gd name="connsiteY53384" fmla="*/ 1502052 h 5973007"/>
              <a:gd name="connsiteX53385" fmla="*/ 1132308 w 6884782"/>
              <a:gd name="connsiteY53385" fmla="*/ 1508712 h 5973007"/>
              <a:gd name="connsiteX53386" fmla="*/ 1129933 w 6884782"/>
              <a:gd name="connsiteY53386" fmla="*/ 1513205 h 5973007"/>
              <a:gd name="connsiteX53387" fmla="*/ 1122292 w 6884782"/>
              <a:gd name="connsiteY53387" fmla="*/ 1516302 h 5973007"/>
              <a:gd name="connsiteX53388" fmla="*/ 1120743 w 6884782"/>
              <a:gd name="connsiteY53388" fmla="*/ 1512430 h 5973007"/>
              <a:gd name="connsiteX53389" fmla="*/ 1129004 w 6884782"/>
              <a:gd name="connsiteY53389" fmla="*/ 1502052 h 5973007"/>
              <a:gd name="connsiteX53390" fmla="*/ 5393330 w 6884782"/>
              <a:gd name="connsiteY53390" fmla="*/ 1501648 h 5973007"/>
              <a:gd name="connsiteX53391" fmla="*/ 5379245 w 6884782"/>
              <a:gd name="connsiteY53391" fmla="*/ 1518863 h 5973007"/>
              <a:gd name="connsiteX53392" fmla="*/ 5393330 w 6884782"/>
              <a:gd name="connsiteY53392" fmla="*/ 1501648 h 5973007"/>
              <a:gd name="connsiteX53393" fmla="*/ 5503669 w 6884782"/>
              <a:gd name="connsiteY53393" fmla="*/ 1501506 h 5973007"/>
              <a:gd name="connsiteX53394" fmla="*/ 5507937 w 6884782"/>
              <a:gd name="connsiteY53394" fmla="*/ 1503925 h 5973007"/>
              <a:gd name="connsiteX53395" fmla="*/ 5510498 w 6884782"/>
              <a:gd name="connsiteY53395" fmla="*/ 1508193 h 5973007"/>
              <a:gd name="connsiteX53396" fmla="*/ 5511992 w 6884782"/>
              <a:gd name="connsiteY53396" fmla="*/ 1512461 h 5973007"/>
              <a:gd name="connsiteX53397" fmla="*/ 5501321 w 6884782"/>
              <a:gd name="connsiteY53397" fmla="*/ 1512176 h 5973007"/>
              <a:gd name="connsiteX53398" fmla="*/ 5500467 w 6884782"/>
              <a:gd name="connsiteY53398" fmla="*/ 1509757 h 5973007"/>
              <a:gd name="connsiteX53399" fmla="*/ 5499827 w 6884782"/>
              <a:gd name="connsiteY53399" fmla="*/ 1503640 h 5973007"/>
              <a:gd name="connsiteX53400" fmla="*/ 5503669 w 6884782"/>
              <a:gd name="connsiteY53400" fmla="*/ 1501506 h 5973007"/>
              <a:gd name="connsiteX53401" fmla="*/ 4428887 w 6884782"/>
              <a:gd name="connsiteY53401" fmla="*/ 1500794 h 5973007"/>
              <a:gd name="connsiteX53402" fmla="*/ 4477973 w 6884782"/>
              <a:gd name="connsiteY53402" fmla="*/ 1510042 h 5973007"/>
              <a:gd name="connsiteX53403" fmla="*/ 4493766 w 6884782"/>
              <a:gd name="connsiteY53403" fmla="*/ 1536646 h 5973007"/>
              <a:gd name="connsiteX53404" fmla="*/ 4468583 w 6884782"/>
              <a:gd name="connsiteY53404" fmla="*/ 1594692 h 5973007"/>
              <a:gd name="connsiteX53405" fmla="*/ 4421417 w 6884782"/>
              <a:gd name="connsiteY53405" fmla="*/ 1589428 h 5973007"/>
              <a:gd name="connsiteX53406" fmla="*/ 4403489 w 6884782"/>
              <a:gd name="connsiteY53406" fmla="*/ 1566807 h 5973007"/>
              <a:gd name="connsiteX53407" fmla="*/ 4401569 w 6884782"/>
              <a:gd name="connsiteY53407" fmla="*/ 1530244 h 5973007"/>
              <a:gd name="connsiteX53408" fmla="*/ 4415228 w 6884782"/>
              <a:gd name="connsiteY53408" fmla="*/ 1515591 h 5973007"/>
              <a:gd name="connsiteX53409" fmla="*/ 4422484 w 6884782"/>
              <a:gd name="connsiteY53409" fmla="*/ 1507908 h 5973007"/>
              <a:gd name="connsiteX53410" fmla="*/ 4422911 w 6884782"/>
              <a:gd name="connsiteY53410" fmla="*/ 1504209 h 5973007"/>
              <a:gd name="connsiteX53411" fmla="*/ 4426112 w 6884782"/>
              <a:gd name="connsiteY53411" fmla="*/ 1503925 h 5973007"/>
              <a:gd name="connsiteX53412" fmla="*/ 1235874 w 6884782"/>
              <a:gd name="connsiteY53412" fmla="*/ 1500348 h 5973007"/>
              <a:gd name="connsiteX53413" fmla="*/ 1237836 w 6884782"/>
              <a:gd name="connsiteY53413" fmla="*/ 1500658 h 5973007"/>
              <a:gd name="connsiteX53414" fmla="*/ 1239385 w 6884782"/>
              <a:gd name="connsiteY53414" fmla="*/ 1500348 h 5973007"/>
              <a:gd name="connsiteX53415" fmla="*/ 1239798 w 6884782"/>
              <a:gd name="connsiteY53415" fmla="*/ 1501122 h 5973007"/>
              <a:gd name="connsiteX53416" fmla="*/ 1240934 w 6884782"/>
              <a:gd name="connsiteY53416" fmla="*/ 1501587 h 5973007"/>
              <a:gd name="connsiteX53417" fmla="*/ 1240624 w 6884782"/>
              <a:gd name="connsiteY53417" fmla="*/ 1505305 h 5973007"/>
              <a:gd name="connsiteX53418" fmla="*/ 1239385 w 6884782"/>
              <a:gd name="connsiteY53418" fmla="*/ 1506854 h 5973007"/>
              <a:gd name="connsiteX53419" fmla="*/ 1237732 w 6884782"/>
              <a:gd name="connsiteY53419" fmla="*/ 1507163 h 5973007"/>
              <a:gd name="connsiteX53420" fmla="*/ 1236287 w 6884782"/>
              <a:gd name="connsiteY53420" fmla="*/ 1505769 h 5973007"/>
              <a:gd name="connsiteX53421" fmla="*/ 1234945 w 6884782"/>
              <a:gd name="connsiteY53421" fmla="*/ 1504065 h 5973007"/>
              <a:gd name="connsiteX53422" fmla="*/ 1234945 w 6884782"/>
              <a:gd name="connsiteY53422" fmla="*/ 1502517 h 5973007"/>
              <a:gd name="connsiteX53423" fmla="*/ 1235874 w 6884782"/>
              <a:gd name="connsiteY53423" fmla="*/ 1500348 h 5973007"/>
              <a:gd name="connsiteX53424" fmla="*/ 1736254 w 6884782"/>
              <a:gd name="connsiteY53424" fmla="*/ 1500038 h 5973007"/>
              <a:gd name="connsiteX53425" fmla="*/ 1736564 w 6884782"/>
              <a:gd name="connsiteY53425" fmla="*/ 1522653 h 5973007"/>
              <a:gd name="connsiteX53426" fmla="*/ 1730265 w 6884782"/>
              <a:gd name="connsiteY53426" fmla="*/ 1511191 h 5973007"/>
              <a:gd name="connsiteX53427" fmla="*/ 1736254 w 6884782"/>
              <a:gd name="connsiteY53427" fmla="*/ 1500038 h 5973007"/>
              <a:gd name="connsiteX53428" fmla="*/ 1010879 w 6884782"/>
              <a:gd name="connsiteY53428" fmla="*/ 1499728 h 5973007"/>
              <a:gd name="connsiteX53429" fmla="*/ 1011911 w 6884782"/>
              <a:gd name="connsiteY53429" fmla="*/ 1509487 h 5973007"/>
              <a:gd name="connsiteX53430" fmla="*/ 1007058 w 6884782"/>
              <a:gd name="connsiteY53430" fmla="*/ 1507628 h 5973007"/>
              <a:gd name="connsiteX53431" fmla="*/ 1010879 w 6884782"/>
              <a:gd name="connsiteY53431" fmla="*/ 1499728 h 5973007"/>
              <a:gd name="connsiteX53432" fmla="*/ 1155954 w 6884782"/>
              <a:gd name="connsiteY53432" fmla="*/ 1498799 h 5973007"/>
              <a:gd name="connsiteX53433" fmla="*/ 1148932 w 6884782"/>
              <a:gd name="connsiteY53433" fmla="*/ 1503756 h 5973007"/>
              <a:gd name="connsiteX53434" fmla="*/ 1155954 w 6884782"/>
              <a:gd name="connsiteY53434" fmla="*/ 1498799 h 5973007"/>
              <a:gd name="connsiteX53435" fmla="*/ 4011864 w 6884782"/>
              <a:gd name="connsiteY53435" fmla="*/ 1498661 h 5973007"/>
              <a:gd name="connsiteX53436" fmla="*/ 4016559 w 6884782"/>
              <a:gd name="connsiteY53436" fmla="*/ 1500368 h 5973007"/>
              <a:gd name="connsiteX53437" fmla="*/ 4015919 w 6884782"/>
              <a:gd name="connsiteY53437" fmla="*/ 1505916 h 5973007"/>
              <a:gd name="connsiteX53438" fmla="*/ 4016987 w 6884782"/>
              <a:gd name="connsiteY53438" fmla="*/ 1509188 h 5973007"/>
              <a:gd name="connsiteX53439" fmla="*/ 4019334 w 6884782"/>
              <a:gd name="connsiteY53439" fmla="*/ 1512461 h 5973007"/>
              <a:gd name="connsiteX53440" fmla="*/ 4019334 w 6884782"/>
              <a:gd name="connsiteY53440" fmla="*/ 1513030 h 5973007"/>
              <a:gd name="connsiteX53441" fmla="*/ 4028938 w 6884782"/>
              <a:gd name="connsiteY53441" fmla="*/ 1510327 h 5973007"/>
              <a:gd name="connsiteX53442" fmla="*/ 4040676 w 6884782"/>
              <a:gd name="connsiteY53442" fmla="*/ 1505489 h 5973007"/>
              <a:gd name="connsiteX53443" fmla="*/ 4042170 w 6884782"/>
              <a:gd name="connsiteY53443" fmla="*/ 1508904 h 5973007"/>
              <a:gd name="connsiteX53444" fmla="*/ 4041957 w 6884782"/>
              <a:gd name="connsiteY53444" fmla="*/ 1514737 h 5973007"/>
              <a:gd name="connsiteX53445" fmla="*/ 4026377 w 6884782"/>
              <a:gd name="connsiteY53445" fmla="*/ 1524553 h 5973007"/>
              <a:gd name="connsiteX53446" fmla="*/ 4021682 w 6884782"/>
              <a:gd name="connsiteY53446" fmla="*/ 1521708 h 5973007"/>
              <a:gd name="connsiteX53447" fmla="*/ 4018267 w 6884782"/>
              <a:gd name="connsiteY53447" fmla="*/ 1518863 h 5973007"/>
              <a:gd name="connsiteX53448" fmla="*/ 4017627 w 6884782"/>
              <a:gd name="connsiteY53448" fmla="*/ 1519859 h 5973007"/>
              <a:gd name="connsiteX53449" fmla="*/ 4015066 w 6884782"/>
              <a:gd name="connsiteY53449" fmla="*/ 1520428 h 5973007"/>
              <a:gd name="connsiteX53450" fmla="*/ 4001193 w 6884782"/>
              <a:gd name="connsiteY53450" fmla="*/ 1504351 h 5973007"/>
              <a:gd name="connsiteX53451" fmla="*/ 4006743 w 6884782"/>
              <a:gd name="connsiteY53451" fmla="*/ 1500652 h 5973007"/>
              <a:gd name="connsiteX53452" fmla="*/ 4010371 w 6884782"/>
              <a:gd name="connsiteY53452" fmla="*/ 1501506 h 5973007"/>
              <a:gd name="connsiteX53453" fmla="*/ 1449718 w 6884782"/>
              <a:gd name="connsiteY53453" fmla="*/ 1498489 h 5973007"/>
              <a:gd name="connsiteX53454" fmla="*/ 1454054 w 6884782"/>
              <a:gd name="connsiteY53454" fmla="*/ 1509642 h 5973007"/>
              <a:gd name="connsiteX53455" fmla="*/ 1454777 w 6884782"/>
              <a:gd name="connsiteY53455" fmla="*/ 1514753 h 5973007"/>
              <a:gd name="connsiteX53456" fmla="*/ 1455809 w 6884782"/>
              <a:gd name="connsiteY53456" fmla="*/ 1514134 h 5973007"/>
              <a:gd name="connsiteX53457" fmla="*/ 1461076 w 6884782"/>
              <a:gd name="connsiteY53457" fmla="*/ 1516922 h 5973007"/>
              <a:gd name="connsiteX53458" fmla="*/ 1460043 w 6884782"/>
              <a:gd name="connsiteY53458" fmla="*/ 1519245 h 5973007"/>
              <a:gd name="connsiteX53459" fmla="*/ 1454880 w 6884782"/>
              <a:gd name="connsiteY53459" fmla="*/ 1520794 h 5973007"/>
              <a:gd name="connsiteX53460" fmla="*/ 1454261 w 6884782"/>
              <a:gd name="connsiteY53460" fmla="*/ 1520794 h 5973007"/>
              <a:gd name="connsiteX53461" fmla="*/ 1454054 w 6884782"/>
              <a:gd name="connsiteY53461" fmla="*/ 1522188 h 5973007"/>
              <a:gd name="connsiteX53462" fmla="*/ 1452815 w 6884782"/>
              <a:gd name="connsiteY53462" fmla="*/ 1520949 h 5973007"/>
              <a:gd name="connsiteX53463" fmla="*/ 1452608 w 6884782"/>
              <a:gd name="connsiteY53463" fmla="*/ 1521104 h 5973007"/>
              <a:gd name="connsiteX53464" fmla="*/ 1452093 w 6884782"/>
              <a:gd name="connsiteY53464" fmla="*/ 1520794 h 5973007"/>
              <a:gd name="connsiteX53465" fmla="*/ 1450647 w 6884782"/>
              <a:gd name="connsiteY53465" fmla="*/ 1519090 h 5973007"/>
              <a:gd name="connsiteX53466" fmla="*/ 1450647 w 6884782"/>
              <a:gd name="connsiteY53466" fmla="*/ 1518781 h 5973007"/>
              <a:gd name="connsiteX53467" fmla="*/ 1449098 w 6884782"/>
              <a:gd name="connsiteY53467" fmla="*/ 1517077 h 5973007"/>
              <a:gd name="connsiteX53468" fmla="*/ 1447342 w 6884782"/>
              <a:gd name="connsiteY53468" fmla="*/ 1510571 h 5973007"/>
              <a:gd name="connsiteX53469" fmla="*/ 1449718 w 6884782"/>
              <a:gd name="connsiteY53469" fmla="*/ 1498489 h 5973007"/>
              <a:gd name="connsiteX53470" fmla="*/ 1304952 w 6884782"/>
              <a:gd name="connsiteY53470" fmla="*/ 1498489 h 5973007"/>
              <a:gd name="connsiteX53471" fmla="*/ 1309805 w 6884782"/>
              <a:gd name="connsiteY53471" fmla="*/ 1504375 h 5973007"/>
              <a:gd name="connsiteX53472" fmla="*/ 1303713 w 6884782"/>
              <a:gd name="connsiteY53472" fmla="*/ 1512120 h 5973007"/>
              <a:gd name="connsiteX53473" fmla="*/ 1299686 w 6884782"/>
              <a:gd name="connsiteY53473" fmla="*/ 1511501 h 5973007"/>
              <a:gd name="connsiteX53474" fmla="*/ 1294524 w 6884782"/>
              <a:gd name="connsiteY53474" fmla="*/ 1506854 h 5973007"/>
              <a:gd name="connsiteX53475" fmla="*/ 1301338 w 6884782"/>
              <a:gd name="connsiteY53475" fmla="*/ 1498644 h 5973007"/>
              <a:gd name="connsiteX53476" fmla="*/ 1304952 w 6884782"/>
              <a:gd name="connsiteY53476" fmla="*/ 1498489 h 5973007"/>
              <a:gd name="connsiteX53477" fmla="*/ 5810139 w 6884782"/>
              <a:gd name="connsiteY53477" fmla="*/ 1497949 h 5973007"/>
              <a:gd name="connsiteX53478" fmla="*/ 5811420 w 6884782"/>
              <a:gd name="connsiteY53478" fmla="*/ 1500368 h 5973007"/>
              <a:gd name="connsiteX53479" fmla="*/ 5812060 w 6884782"/>
              <a:gd name="connsiteY53479" fmla="*/ 1503498 h 5973007"/>
              <a:gd name="connsiteX53480" fmla="*/ 5812487 w 6884782"/>
              <a:gd name="connsiteY53480" fmla="*/ 1506628 h 5973007"/>
              <a:gd name="connsiteX53481" fmla="*/ 5813767 w 6884782"/>
              <a:gd name="connsiteY53481" fmla="*/ 1508904 h 5973007"/>
              <a:gd name="connsiteX53482" fmla="*/ 5813127 w 6884782"/>
              <a:gd name="connsiteY53482" fmla="*/ 1514025 h 5973007"/>
              <a:gd name="connsiteX53483" fmla="*/ 5811847 w 6884782"/>
              <a:gd name="connsiteY53483" fmla="*/ 1511892 h 5973007"/>
              <a:gd name="connsiteX53484" fmla="*/ 5811206 w 6884782"/>
              <a:gd name="connsiteY53484" fmla="*/ 1508620 h 5973007"/>
              <a:gd name="connsiteX53485" fmla="*/ 5809285 w 6884782"/>
              <a:gd name="connsiteY53485" fmla="*/ 1507481 h 5973007"/>
              <a:gd name="connsiteX53486" fmla="*/ 5810139 w 6884782"/>
              <a:gd name="connsiteY53486" fmla="*/ 1497949 h 5973007"/>
              <a:gd name="connsiteX53487" fmla="*/ 1479869 w 6884782"/>
              <a:gd name="connsiteY53487" fmla="*/ 1497715 h 5973007"/>
              <a:gd name="connsiteX53488" fmla="*/ 1478010 w 6884782"/>
              <a:gd name="connsiteY53488" fmla="*/ 1512585 h 5973007"/>
              <a:gd name="connsiteX53489" fmla="*/ 1473983 w 6884782"/>
              <a:gd name="connsiteY53489" fmla="*/ 1516767 h 5973007"/>
              <a:gd name="connsiteX53490" fmla="*/ 1477184 w 6884782"/>
              <a:gd name="connsiteY53490" fmla="*/ 1522343 h 5973007"/>
              <a:gd name="connsiteX53491" fmla="*/ 1467477 w 6884782"/>
              <a:gd name="connsiteY53491" fmla="*/ 1540311 h 5973007"/>
              <a:gd name="connsiteX53492" fmla="*/ 1464587 w 6884782"/>
              <a:gd name="connsiteY53492" fmla="*/ 1528539 h 5973007"/>
              <a:gd name="connsiteX53493" fmla="*/ 1464999 w 6884782"/>
              <a:gd name="connsiteY53493" fmla="*/ 1522188 h 5973007"/>
              <a:gd name="connsiteX53494" fmla="*/ 1465826 w 6884782"/>
              <a:gd name="connsiteY53494" fmla="*/ 1519400 h 5973007"/>
              <a:gd name="connsiteX53495" fmla="*/ 1465619 w 6884782"/>
              <a:gd name="connsiteY53495" fmla="*/ 1519555 h 5973007"/>
              <a:gd name="connsiteX53496" fmla="*/ 1466032 w 6884782"/>
              <a:gd name="connsiteY53496" fmla="*/ 1518781 h 5973007"/>
              <a:gd name="connsiteX53497" fmla="*/ 1467168 w 6884782"/>
              <a:gd name="connsiteY53497" fmla="*/ 1515373 h 5973007"/>
              <a:gd name="connsiteX53498" fmla="*/ 1466135 w 6884782"/>
              <a:gd name="connsiteY53498" fmla="*/ 1515063 h 5973007"/>
              <a:gd name="connsiteX53499" fmla="*/ 1463760 w 6884782"/>
              <a:gd name="connsiteY53499" fmla="*/ 1509951 h 5973007"/>
              <a:gd name="connsiteX53500" fmla="*/ 1464690 w 6884782"/>
              <a:gd name="connsiteY53500" fmla="*/ 1508093 h 5973007"/>
              <a:gd name="connsiteX53501" fmla="*/ 1465826 w 6884782"/>
              <a:gd name="connsiteY53501" fmla="*/ 1507628 h 5973007"/>
              <a:gd name="connsiteX53502" fmla="*/ 1465619 w 6884782"/>
              <a:gd name="connsiteY53502" fmla="*/ 1507163 h 5973007"/>
              <a:gd name="connsiteX53503" fmla="*/ 1470162 w 6884782"/>
              <a:gd name="connsiteY53503" fmla="*/ 1506698 h 5973007"/>
              <a:gd name="connsiteX53504" fmla="*/ 1470266 w 6884782"/>
              <a:gd name="connsiteY53504" fmla="*/ 1507628 h 5973007"/>
              <a:gd name="connsiteX53505" fmla="*/ 1471918 w 6884782"/>
              <a:gd name="connsiteY53505" fmla="*/ 1508248 h 5973007"/>
              <a:gd name="connsiteX53506" fmla="*/ 1474912 w 6884782"/>
              <a:gd name="connsiteY53506" fmla="*/ 1502981 h 5973007"/>
              <a:gd name="connsiteX53507" fmla="*/ 1479869 w 6884782"/>
              <a:gd name="connsiteY53507" fmla="*/ 1497715 h 5973007"/>
              <a:gd name="connsiteX53508" fmla="*/ 1278932 w 6884782"/>
              <a:gd name="connsiteY53508" fmla="*/ 1497095 h 5973007"/>
              <a:gd name="connsiteX53509" fmla="*/ 1278106 w 6884782"/>
              <a:gd name="connsiteY53509" fmla="*/ 1497560 h 5973007"/>
              <a:gd name="connsiteX53510" fmla="*/ 1279035 w 6884782"/>
              <a:gd name="connsiteY53510" fmla="*/ 1498954 h 5973007"/>
              <a:gd name="connsiteX53511" fmla="*/ 1279758 w 6884782"/>
              <a:gd name="connsiteY53511" fmla="*/ 1498489 h 5973007"/>
              <a:gd name="connsiteX53512" fmla="*/ 1279964 w 6884782"/>
              <a:gd name="connsiteY53512" fmla="*/ 1500348 h 5973007"/>
              <a:gd name="connsiteX53513" fmla="*/ 1275937 w 6884782"/>
              <a:gd name="connsiteY53513" fmla="*/ 1505924 h 5973007"/>
              <a:gd name="connsiteX53514" fmla="*/ 1273666 w 6884782"/>
              <a:gd name="connsiteY53514" fmla="*/ 1502517 h 5973007"/>
              <a:gd name="connsiteX53515" fmla="*/ 1275008 w 6884782"/>
              <a:gd name="connsiteY53515" fmla="*/ 1499109 h 5973007"/>
              <a:gd name="connsiteX53516" fmla="*/ 1278932 w 6884782"/>
              <a:gd name="connsiteY53516" fmla="*/ 1497095 h 5973007"/>
              <a:gd name="connsiteX53517" fmla="*/ 5416593 w 6884782"/>
              <a:gd name="connsiteY53517" fmla="*/ 1496527 h 5973007"/>
              <a:gd name="connsiteX53518" fmla="*/ 5428972 w 6884782"/>
              <a:gd name="connsiteY53518" fmla="*/ 1512745 h 5973007"/>
              <a:gd name="connsiteX53519" fmla="*/ 5420008 w 6884782"/>
              <a:gd name="connsiteY53519" fmla="*/ 1519147 h 5973007"/>
              <a:gd name="connsiteX53520" fmla="*/ 5410831 w 6884782"/>
              <a:gd name="connsiteY53520" fmla="*/ 1501079 h 5973007"/>
              <a:gd name="connsiteX53521" fmla="*/ 5416593 w 6884782"/>
              <a:gd name="connsiteY53521" fmla="*/ 1496527 h 5973007"/>
              <a:gd name="connsiteX53522" fmla="*/ 3647557 w 6884782"/>
              <a:gd name="connsiteY53522" fmla="*/ 1496384 h 5973007"/>
              <a:gd name="connsiteX53523" fmla="*/ 3645636 w 6884782"/>
              <a:gd name="connsiteY53523" fmla="*/ 1503356 h 5973007"/>
              <a:gd name="connsiteX53524" fmla="*/ 3644569 w 6884782"/>
              <a:gd name="connsiteY53524" fmla="*/ 1498661 h 5973007"/>
              <a:gd name="connsiteX53525" fmla="*/ 3647557 w 6884782"/>
              <a:gd name="connsiteY53525" fmla="*/ 1496384 h 5973007"/>
              <a:gd name="connsiteX53526" fmla="*/ 5091342 w 6884782"/>
              <a:gd name="connsiteY53526" fmla="*/ 1495673 h 5973007"/>
              <a:gd name="connsiteX53527" fmla="*/ 5094756 w 6884782"/>
              <a:gd name="connsiteY53527" fmla="*/ 1496527 h 5973007"/>
              <a:gd name="connsiteX53528" fmla="*/ 5096250 w 6884782"/>
              <a:gd name="connsiteY53528" fmla="*/ 1497807 h 5973007"/>
              <a:gd name="connsiteX53529" fmla="*/ 5097317 w 6884782"/>
              <a:gd name="connsiteY53529" fmla="*/ 1497664 h 5973007"/>
              <a:gd name="connsiteX53530" fmla="*/ 5097530 w 6884782"/>
              <a:gd name="connsiteY53530" fmla="*/ 1498945 h 5973007"/>
              <a:gd name="connsiteX53531" fmla="*/ 5100092 w 6884782"/>
              <a:gd name="connsiteY53531" fmla="*/ 1501079 h 5973007"/>
              <a:gd name="connsiteX53532" fmla="*/ 5107561 w 6884782"/>
              <a:gd name="connsiteY53532" fmla="*/ 1504209 h 5973007"/>
              <a:gd name="connsiteX53533" fmla="*/ 5113324 w 6884782"/>
              <a:gd name="connsiteY53533" fmla="*/ 1511180 h 5973007"/>
              <a:gd name="connsiteX53534" fmla="*/ 5111189 w 6884782"/>
              <a:gd name="connsiteY53534" fmla="*/ 1513599 h 5973007"/>
              <a:gd name="connsiteX53535" fmla="*/ 5113751 w 6884782"/>
              <a:gd name="connsiteY53535" fmla="*/ 1515875 h 5973007"/>
              <a:gd name="connsiteX53536" fmla="*/ 5114818 w 6884782"/>
              <a:gd name="connsiteY53536" fmla="*/ 1531383 h 5973007"/>
              <a:gd name="connsiteX53537" fmla="*/ 5109482 w 6884782"/>
              <a:gd name="connsiteY53537" fmla="*/ 1535366 h 5973007"/>
              <a:gd name="connsiteX53538" fmla="*/ 5101159 w 6884782"/>
              <a:gd name="connsiteY53538" fmla="*/ 1533374 h 5973007"/>
              <a:gd name="connsiteX53539" fmla="*/ 5098385 w 6884782"/>
              <a:gd name="connsiteY53539" fmla="*/ 1529248 h 5973007"/>
              <a:gd name="connsiteX53540" fmla="*/ 5096037 w 6884782"/>
              <a:gd name="connsiteY53540" fmla="*/ 1531098 h 5973007"/>
              <a:gd name="connsiteX53541" fmla="*/ 5077896 w 6884782"/>
              <a:gd name="connsiteY53541" fmla="*/ 1522277 h 5973007"/>
              <a:gd name="connsiteX53542" fmla="*/ 5077683 w 6884782"/>
              <a:gd name="connsiteY53542" fmla="*/ 1521566 h 5973007"/>
              <a:gd name="connsiteX53543" fmla="*/ 5072134 w 6884782"/>
              <a:gd name="connsiteY53543" fmla="*/ 1527683 h 5973007"/>
              <a:gd name="connsiteX53544" fmla="*/ 5060182 w 6884782"/>
              <a:gd name="connsiteY53544" fmla="*/ 1512887 h 5973007"/>
              <a:gd name="connsiteX53545" fmla="*/ 5066372 w 6884782"/>
              <a:gd name="connsiteY53545" fmla="*/ 1509046 h 5973007"/>
              <a:gd name="connsiteX53546" fmla="*/ 5075122 w 6884782"/>
              <a:gd name="connsiteY53546" fmla="*/ 1512176 h 5973007"/>
              <a:gd name="connsiteX53547" fmla="*/ 5075762 w 6884782"/>
              <a:gd name="connsiteY53547" fmla="*/ 1513883 h 5973007"/>
              <a:gd name="connsiteX53548" fmla="*/ 5080244 w 6884782"/>
              <a:gd name="connsiteY53548" fmla="*/ 1510042 h 5973007"/>
              <a:gd name="connsiteX53549" fmla="*/ 5087714 w 6884782"/>
              <a:gd name="connsiteY53549" fmla="*/ 1505063 h 5973007"/>
              <a:gd name="connsiteX53550" fmla="*/ 5094970 w 6884782"/>
              <a:gd name="connsiteY53550" fmla="*/ 1503356 h 5973007"/>
              <a:gd name="connsiteX53551" fmla="*/ 5096464 w 6884782"/>
              <a:gd name="connsiteY53551" fmla="*/ 1503640 h 5973007"/>
              <a:gd name="connsiteX53552" fmla="*/ 5096037 w 6884782"/>
              <a:gd name="connsiteY53552" fmla="*/ 1503356 h 5973007"/>
              <a:gd name="connsiteX53553" fmla="*/ 5091342 w 6884782"/>
              <a:gd name="connsiteY53553" fmla="*/ 1495673 h 5973007"/>
              <a:gd name="connsiteX53554" fmla="*/ 4089336 w 6884782"/>
              <a:gd name="connsiteY53554" fmla="*/ 1494250 h 5973007"/>
              <a:gd name="connsiteX53555" fmla="*/ 4095525 w 6884782"/>
              <a:gd name="connsiteY53555" fmla="*/ 1499229 h 5973007"/>
              <a:gd name="connsiteX53556" fmla="*/ 4088055 w 6884782"/>
              <a:gd name="connsiteY53556" fmla="*/ 1503640 h 5973007"/>
              <a:gd name="connsiteX53557" fmla="*/ 4089336 w 6884782"/>
              <a:gd name="connsiteY53557" fmla="*/ 1494250 h 5973007"/>
              <a:gd name="connsiteX53558" fmla="*/ 1725928 w 6884782"/>
              <a:gd name="connsiteY53558" fmla="*/ 1494152 h 5973007"/>
              <a:gd name="connsiteX53559" fmla="*/ 1732949 w 6884782"/>
              <a:gd name="connsiteY53559" fmla="*/ 1496475 h 5973007"/>
              <a:gd name="connsiteX53560" fmla="*/ 1725928 w 6884782"/>
              <a:gd name="connsiteY53560" fmla="*/ 1494152 h 5973007"/>
              <a:gd name="connsiteX53561" fmla="*/ 1027090 w 6884782"/>
              <a:gd name="connsiteY53561" fmla="*/ 1493842 h 5973007"/>
              <a:gd name="connsiteX53562" fmla="*/ 1022753 w 6884782"/>
              <a:gd name="connsiteY53562" fmla="*/ 1509642 h 5973007"/>
              <a:gd name="connsiteX53563" fmla="*/ 1020894 w 6884782"/>
              <a:gd name="connsiteY53563" fmla="*/ 1509022 h 5973007"/>
              <a:gd name="connsiteX53564" fmla="*/ 1020172 w 6884782"/>
              <a:gd name="connsiteY53564" fmla="*/ 1506854 h 5973007"/>
              <a:gd name="connsiteX53565" fmla="*/ 1022030 w 6884782"/>
              <a:gd name="connsiteY53565" fmla="*/ 1498799 h 5973007"/>
              <a:gd name="connsiteX53566" fmla="*/ 1022857 w 6884782"/>
              <a:gd name="connsiteY53566" fmla="*/ 1496940 h 5973007"/>
              <a:gd name="connsiteX53567" fmla="*/ 1023579 w 6884782"/>
              <a:gd name="connsiteY53567" fmla="*/ 1495082 h 5973007"/>
              <a:gd name="connsiteX53568" fmla="*/ 1027090 w 6884782"/>
              <a:gd name="connsiteY53568" fmla="*/ 1493842 h 5973007"/>
              <a:gd name="connsiteX53569" fmla="*/ 1715602 w 6884782"/>
              <a:gd name="connsiteY53569" fmla="*/ 1493687 h 5973007"/>
              <a:gd name="connsiteX53570" fmla="*/ 1720455 w 6884782"/>
              <a:gd name="connsiteY53570" fmla="*/ 1498025 h 5973007"/>
              <a:gd name="connsiteX53571" fmla="*/ 1714983 w 6884782"/>
              <a:gd name="connsiteY53571" fmla="*/ 1500813 h 5973007"/>
              <a:gd name="connsiteX53572" fmla="*/ 1713331 w 6884782"/>
              <a:gd name="connsiteY53572" fmla="*/ 1496475 h 5973007"/>
              <a:gd name="connsiteX53573" fmla="*/ 1715602 w 6884782"/>
              <a:gd name="connsiteY53573" fmla="*/ 1493687 h 5973007"/>
              <a:gd name="connsiteX53574" fmla="*/ 3825976 w 6884782"/>
              <a:gd name="connsiteY53574" fmla="*/ 1493681 h 5973007"/>
              <a:gd name="connsiteX53575" fmla="*/ 3828750 w 6884782"/>
              <a:gd name="connsiteY53575" fmla="*/ 1493681 h 5973007"/>
              <a:gd name="connsiteX53576" fmla="*/ 3830885 w 6884782"/>
              <a:gd name="connsiteY53576" fmla="*/ 1501079 h 5973007"/>
              <a:gd name="connsiteX53577" fmla="*/ 3825122 w 6884782"/>
              <a:gd name="connsiteY53577" fmla="*/ 1503213 h 5973007"/>
              <a:gd name="connsiteX53578" fmla="*/ 3822774 w 6884782"/>
              <a:gd name="connsiteY53578" fmla="*/ 1501221 h 5973007"/>
              <a:gd name="connsiteX53579" fmla="*/ 3822774 w 6884782"/>
              <a:gd name="connsiteY53579" fmla="*/ 1500083 h 5973007"/>
              <a:gd name="connsiteX53580" fmla="*/ 3822988 w 6884782"/>
              <a:gd name="connsiteY53580" fmla="*/ 1495388 h 5973007"/>
              <a:gd name="connsiteX53581" fmla="*/ 3825976 w 6884782"/>
              <a:gd name="connsiteY53581" fmla="*/ 1493681 h 5973007"/>
              <a:gd name="connsiteX53582" fmla="*/ 1525921 w 6884782"/>
              <a:gd name="connsiteY53582" fmla="*/ 1492758 h 5973007"/>
              <a:gd name="connsiteX53583" fmla="*/ 1526334 w 6884782"/>
              <a:gd name="connsiteY53583" fmla="*/ 1493378 h 5973007"/>
              <a:gd name="connsiteX53584" fmla="*/ 1525301 w 6884782"/>
              <a:gd name="connsiteY53584" fmla="*/ 1495856 h 5973007"/>
              <a:gd name="connsiteX53585" fmla="*/ 1524475 w 6884782"/>
              <a:gd name="connsiteY53585" fmla="*/ 1495856 h 5973007"/>
              <a:gd name="connsiteX53586" fmla="*/ 1524165 w 6884782"/>
              <a:gd name="connsiteY53586" fmla="*/ 1496475 h 5973007"/>
              <a:gd name="connsiteX53587" fmla="*/ 1511568 w 6884782"/>
              <a:gd name="connsiteY53587" fmla="*/ 1498799 h 5973007"/>
              <a:gd name="connsiteX53588" fmla="*/ 1517763 w 6884782"/>
              <a:gd name="connsiteY53588" fmla="*/ 1493223 h 5973007"/>
              <a:gd name="connsiteX53589" fmla="*/ 1523752 w 6884782"/>
              <a:gd name="connsiteY53589" fmla="*/ 1493533 h 5973007"/>
              <a:gd name="connsiteX53590" fmla="*/ 5376043 w 6884782"/>
              <a:gd name="connsiteY53590" fmla="*/ 1491547 h 5973007"/>
              <a:gd name="connsiteX53591" fmla="*/ 5377964 w 6884782"/>
              <a:gd name="connsiteY53591" fmla="*/ 1496242 h 5973007"/>
              <a:gd name="connsiteX53592" fmla="*/ 5368574 w 6884782"/>
              <a:gd name="connsiteY53592" fmla="*/ 1501364 h 5973007"/>
              <a:gd name="connsiteX53593" fmla="*/ 5376043 w 6884782"/>
              <a:gd name="connsiteY53593" fmla="*/ 1491547 h 5973007"/>
              <a:gd name="connsiteX53594" fmla="*/ 4185161 w 6884782"/>
              <a:gd name="connsiteY53594" fmla="*/ 1491547 h 5973007"/>
              <a:gd name="connsiteX53595" fmla="*/ 4187722 w 6884782"/>
              <a:gd name="connsiteY53595" fmla="*/ 1491690 h 5973007"/>
              <a:gd name="connsiteX53596" fmla="*/ 4187935 w 6884782"/>
              <a:gd name="connsiteY53596" fmla="*/ 1492827 h 5973007"/>
              <a:gd name="connsiteX53597" fmla="*/ 4188362 w 6884782"/>
              <a:gd name="connsiteY53597" fmla="*/ 1492827 h 5973007"/>
              <a:gd name="connsiteX53598" fmla="*/ 4187722 w 6884782"/>
              <a:gd name="connsiteY53598" fmla="*/ 1495388 h 5973007"/>
              <a:gd name="connsiteX53599" fmla="*/ 4186228 w 6884782"/>
              <a:gd name="connsiteY53599" fmla="*/ 1497380 h 5973007"/>
              <a:gd name="connsiteX53600" fmla="*/ 4183454 w 6884782"/>
              <a:gd name="connsiteY53600" fmla="*/ 1493681 h 5973007"/>
              <a:gd name="connsiteX53601" fmla="*/ 4185588 w 6884782"/>
              <a:gd name="connsiteY53601" fmla="*/ 1492685 h 5973007"/>
              <a:gd name="connsiteX53602" fmla="*/ 4185161 w 6884782"/>
              <a:gd name="connsiteY53602" fmla="*/ 1491547 h 5973007"/>
              <a:gd name="connsiteX53603" fmla="*/ 4235101 w 6884782"/>
              <a:gd name="connsiteY53603" fmla="*/ 1491405 h 5973007"/>
              <a:gd name="connsiteX53604" fmla="*/ 4240010 w 6884782"/>
              <a:gd name="connsiteY53604" fmla="*/ 1495815 h 5973007"/>
              <a:gd name="connsiteX53605" fmla="*/ 4233821 w 6884782"/>
              <a:gd name="connsiteY53605" fmla="*/ 1497238 h 5973007"/>
              <a:gd name="connsiteX53606" fmla="*/ 4235101 w 6884782"/>
              <a:gd name="connsiteY53606" fmla="*/ 1491405 h 5973007"/>
              <a:gd name="connsiteX53607" fmla="*/ 4612641 w 6884782"/>
              <a:gd name="connsiteY53607" fmla="*/ 1490693 h 5973007"/>
              <a:gd name="connsiteX53608" fmla="*/ 4620111 w 6884782"/>
              <a:gd name="connsiteY53608" fmla="*/ 1491832 h 5973007"/>
              <a:gd name="connsiteX53609" fmla="*/ 4618190 w 6884782"/>
              <a:gd name="connsiteY53609" fmla="*/ 1494820 h 5973007"/>
              <a:gd name="connsiteX53610" fmla="*/ 4614775 w 6884782"/>
              <a:gd name="connsiteY53610" fmla="*/ 1493966 h 5973007"/>
              <a:gd name="connsiteX53611" fmla="*/ 4612214 w 6884782"/>
              <a:gd name="connsiteY53611" fmla="*/ 1494108 h 5973007"/>
              <a:gd name="connsiteX53612" fmla="*/ 4610080 w 6884782"/>
              <a:gd name="connsiteY53612" fmla="*/ 1490835 h 5973007"/>
              <a:gd name="connsiteX53613" fmla="*/ 4612641 w 6884782"/>
              <a:gd name="connsiteY53613" fmla="*/ 1490693 h 5973007"/>
              <a:gd name="connsiteX53614" fmla="*/ 1039790 w 6884782"/>
              <a:gd name="connsiteY53614" fmla="*/ 1489970 h 5973007"/>
              <a:gd name="connsiteX53615" fmla="*/ 1049496 w 6884782"/>
              <a:gd name="connsiteY53615" fmla="*/ 1491364 h 5973007"/>
              <a:gd name="connsiteX53616" fmla="*/ 1049806 w 6884782"/>
              <a:gd name="connsiteY53616" fmla="*/ 1494927 h 5973007"/>
              <a:gd name="connsiteX53617" fmla="*/ 1049703 w 6884782"/>
              <a:gd name="connsiteY53617" fmla="*/ 1495082 h 5973007"/>
              <a:gd name="connsiteX53618" fmla="*/ 1053317 w 6884782"/>
              <a:gd name="connsiteY53618" fmla="*/ 1495701 h 5973007"/>
              <a:gd name="connsiteX53619" fmla="*/ 1056621 w 6884782"/>
              <a:gd name="connsiteY53619" fmla="*/ 1499109 h 5973007"/>
              <a:gd name="connsiteX53620" fmla="*/ 1056724 w 6884782"/>
              <a:gd name="connsiteY53620" fmla="*/ 1499573 h 5973007"/>
              <a:gd name="connsiteX53621" fmla="*/ 1058170 w 6884782"/>
              <a:gd name="connsiteY53621" fmla="*/ 1499109 h 5973007"/>
              <a:gd name="connsiteX53622" fmla="*/ 1059202 w 6884782"/>
              <a:gd name="connsiteY53622" fmla="*/ 1500658 h 5973007"/>
              <a:gd name="connsiteX53623" fmla="*/ 1060752 w 6884782"/>
              <a:gd name="connsiteY53623" fmla="*/ 1501432 h 5973007"/>
              <a:gd name="connsiteX53624" fmla="*/ 1060235 w 6884782"/>
              <a:gd name="connsiteY53624" fmla="*/ 1502052 h 5973007"/>
              <a:gd name="connsiteX53625" fmla="*/ 1060545 w 6884782"/>
              <a:gd name="connsiteY53625" fmla="*/ 1503291 h 5973007"/>
              <a:gd name="connsiteX53626" fmla="*/ 1057344 w 6884782"/>
              <a:gd name="connsiteY53626" fmla="*/ 1505615 h 5973007"/>
              <a:gd name="connsiteX53627" fmla="*/ 1056311 w 6884782"/>
              <a:gd name="connsiteY53627" fmla="*/ 1505769 h 5973007"/>
              <a:gd name="connsiteX53628" fmla="*/ 1055589 w 6884782"/>
              <a:gd name="connsiteY53628" fmla="*/ 1507008 h 5973007"/>
              <a:gd name="connsiteX53629" fmla="*/ 1048361 w 6884782"/>
              <a:gd name="connsiteY53629" fmla="*/ 1507628 h 5973007"/>
              <a:gd name="connsiteX53630" fmla="*/ 1047638 w 6884782"/>
              <a:gd name="connsiteY53630" fmla="*/ 1502207 h 5973007"/>
              <a:gd name="connsiteX53631" fmla="*/ 1046812 w 6884782"/>
              <a:gd name="connsiteY53631" fmla="*/ 1498179 h 5973007"/>
              <a:gd name="connsiteX53632" fmla="*/ 1045056 w 6884782"/>
              <a:gd name="connsiteY53632" fmla="*/ 1498954 h 5973007"/>
              <a:gd name="connsiteX53633" fmla="*/ 1037106 w 6884782"/>
              <a:gd name="connsiteY53633" fmla="*/ 1491054 h 5973007"/>
              <a:gd name="connsiteX53634" fmla="*/ 1039790 w 6884782"/>
              <a:gd name="connsiteY53634" fmla="*/ 1489970 h 5973007"/>
              <a:gd name="connsiteX53635" fmla="*/ 5850689 w 6884782"/>
              <a:gd name="connsiteY53635" fmla="*/ 1489128 h 5973007"/>
              <a:gd name="connsiteX53636" fmla="*/ 5853250 w 6884782"/>
              <a:gd name="connsiteY53636" fmla="*/ 1490551 h 5973007"/>
              <a:gd name="connsiteX53637" fmla="*/ 5854744 w 6884782"/>
              <a:gd name="connsiteY53637" fmla="*/ 1492685 h 5973007"/>
              <a:gd name="connsiteX53638" fmla="*/ 5852610 w 6884782"/>
              <a:gd name="connsiteY53638" fmla="*/ 1496527 h 5973007"/>
              <a:gd name="connsiteX53639" fmla="*/ 5847701 w 6884782"/>
              <a:gd name="connsiteY53639" fmla="*/ 1501364 h 5973007"/>
              <a:gd name="connsiteX53640" fmla="*/ 5845994 w 6884782"/>
              <a:gd name="connsiteY53640" fmla="*/ 1505063 h 5973007"/>
              <a:gd name="connsiteX53641" fmla="*/ 5844927 w 6884782"/>
              <a:gd name="connsiteY53641" fmla="*/ 1505063 h 5973007"/>
              <a:gd name="connsiteX53642" fmla="*/ 5848768 w 6884782"/>
              <a:gd name="connsiteY53642" fmla="*/ 1490408 h 5973007"/>
              <a:gd name="connsiteX53643" fmla="*/ 5850689 w 6884782"/>
              <a:gd name="connsiteY53643" fmla="*/ 1489128 h 5973007"/>
              <a:gd name="connsiteX53644" fmla="*/ 1769296 w 6884782"/>
              <a:gd name="connsiteY53644" fmla="*/ 1489040 h 5973007"/>
              <a:gd name="connsiteX53645" fmla="*/ 1770122 w 6884782"/>
              <a:gd name="connsiteY53645" fmla="*/ 1489040 h 5973007"/>
              <a:gd name="connsiteX53646" fmla="*/ 1770638 w 6884782"/>
              <a:gd name="connsiteY53646" fmla="*/ 1490899 h 5973007"/>
              <a:gd name="connsiteX53647" fmla="*/ 1768883 w 6884782"/>
              <a:gd name="connsiteY53647" fmla="*/ 1499109 h 5973007"/>
              <a:gd name="connsiteX53648" fmla="*/ 1768779 w 6884782"/>
              <a:gd name="connsiteY53648" fmla="*/ 1500038 h 5973007"/>
              <a:gd name="connsiteX53649" fmla="*/ 1768573 w 6884782"/>
              <a:gd name="connsiteY53649" fmla="*/ 1503756 h 5973007"/>
              <a:gd name="connsiteX53650" fmla="*/ 1758454 w 6884782"/>
              <a:gd name="connsiteY53650" fmla="*/ 1498799 h 5973007"/>
              <a:gd name="connsiteX53651" fmla="*/ 1764442 w 6884782"/>
              <a:gd name="connsiteY53651" fmla="*/ 1492448 h 5973007"/>
              <a:gd name="connsiteX53652" fmla="*/ 1766817 w 6884782"/>
              <a:gd name="connsiteY53652" fmla="*/ 1495082 h 5973007"/>
              <a:gd name="connsiteX53653" fmla="*/ 1766921 w 6884782"/>
              <a:gd name="connsiteY53653" fmla="*/ 1494927 h 5973007"/>
              <a:gd name="connsiteX53654" fmla="*/ 1767334 w 6884782"/>
              <a:gd name="connsiteY53654" fmla="*/ 1490590 h 5973007"/>
              <a:gd name="connsiteX53655" fmla="*/ 1769296 w 6884782"/>
              <a:gd name="connsiteY53655" fmla="*/ 1489040 h 5973007"/>
              <a:gd name="connsiteX53656" fmla="*/ 3474473 w 6884782"/>
              <a:gd name="connsiteY53656" fmla="*/ 1488702 h 5973007"/>
              <a:gd name="connsiteX53657" fmla="*/ 3473833 w 6884782"/>
              <a:gd name="connsiteY53657" fmla="*/ 1489271 h 5973007"/>
              <a:gd name="connsiteX53658" fmla="*/ 3474473 w 6884782"/>
              <a:gd name="connsiteY53658" fmla="*/ 1489982 h 5973007"/>
              <a:gd name="connsiteX53659" fmla="*/ 5336561 w 6884782"/>
              <a:gd name="connsiteY53659" fmla="*/ 1488560 h 5973007"/>
              <a:gd name="connsiteX53660" fmla="*/ 5349153 w 6884782"/>
              <a:gd name="connsiteY53660" fmla="*/ 1510469 h 5973007"/>
              <a:gd name="connsiteX53661" fmla="*/ 5333573 w 6884782"/>
              <a:gd name="connsiteY53661" fmla="*/ 1495388 h 5973007"/>
              <a:gd name="connsiteX53662" fmla="*/ 5336561 w 6884782"/>
              <a:gd name="connsiteY53662" fmla="*/ 1488560 h 5973007"/>
              <a:gd name="connsiteX53663" fmla="*/ 4629928 w 6884782"/>
              <a:gd name="connsiteY53663" fmla="*/ 1488560 h 5973007"/>
              <a:gd name="connsiteX53664" fmla="*/ 4639318 w 6884782"/>
              <a:gd name="connsiteY53664" fmla="*/ 1493539 h 5973007"/>
              <a:gd name="connsiteX53665" fmla="*/ 4640386 w 6884782"/>
              <a:gd name="connsiteY53665" fmla="*/ 1496384 h 5973007"/>
              <a:gd name="connsiteX53666" fmla="*/ 4635050 w 6884782"/>
              <a:gd name="connsiteY53666" fmla="*/ 1498518 h 5973007"/>
              <a:gd name="connsiteX53667" fmla="*/ 4626087 w 6884782"/>
              <a:gd name="connsiteY53667" fmla="*/ 1491120 h 5973007"/>
              <a:gd name="connsiteX53668" fmla="*/ 4629928 w 6884782"/>
              <a:gd name="connsiteY53668" fmla="*/ 1488560 h 5973007"/>
              <a:gd name="connsiteX53669" fmla="*/ 1700940 w 6884782"/>
              <a:gd name="connsiteY53669" fmla="*/ 1488421 h 5973007"/>
              <a:gd name="connsiteX53670" fmla="*/ 1703521 w 6884782"/>
              <a:gd name="connsiteY53670" fmla="*/ 1489040 h 5973007"/>
              <a:gd name="connsiteX53671" fmla="*/ 1693196 w 6884782"/>
              <a:gd name="connsiteY53671" fmla="*/ 1526680 h 5973007"/>
              <a:gd name="connsiteX53672" fmla="*/ 1688446 w 6884782"/>
              <a:gd name="connsiteY53672" fmla="*/ 1521104 h 5973007"/>
              <a:gd name="connsiteX53673" fmla="*/ 1684212 w 6884782"/>
              <a:gd name="connsiteY53673" fmla="*/ 1522498 h 5973007"/>
              <a:gd name="connsiteX53674" fmla="*/ 1681734 w 6884782"/>
              <a:gd name="connsiteY53674" fmla="*/ 1518781 h 5973007"/>
              <a:gd name="connsiteX53675" fmla="*/ 1684626 w 6884782"/>
              <a:gd name="connsiteY53675" fmla="*/ 1513824 h 5973007"/>
              <a:gd name="connsiteX53676" fmla="*/ 1685555 w 6884782"/>
              <a:gd name="connsiteY53676" fmla="*/ 1513205 h 5973007"/>
              <a:gd name="connsiteX53677" fmla="*/ 1685245 w 6884782"/>
              <a:gd name="connsiteY53677" fmla="*/ 1511965 h 5973007"/>
              <a:gd name="connsiteX53678" fmla="*/ 1700940 w 6884782"/>
              <a:gd name="connsiteY53678" fmla="*/ 1488421 h 5973007"/>
              <a:gd name="connsiteX53679" fmla="*/ 1334794 w 6884782"/>
              <a:gd name="connsiteY53679" fmla="*/ 1488266 h 5973007"/>
              <a:gd name="connsiteX53680" fmla="*/ 1339956 w 6884782"/>
              <a:gd name="connsiteY53680" fmla="*/ 1490590 h 5973007"/>
              <a:gd name="connsiteX53681" fmla="*/ 1339130 w 6884782"/>
              <a:gd name="connsiteY53681" fmla="*/ 1505769 h 5973007"/>
              <a:gd name="connsiteX53682" fmla="*/ 1337168 w 6884782"/>
              <a:gd name="connsiteY53682" fmla="*/ 1507318 h 5973007"/>
              <a:gd name="connsiteX53683" fmla="*/ 1336962 w 6884782"/>
              <a:gd name="connsiteY53683" fmla="*/ 1507628 h 5973007"/>
              <a:gd name="connsiteX53684" fmla="*/ 1338201 w 6884782"/>
              <a:gd name="connsiteY53684" fmla="*/ 1508093 h 5973007"/>
              <a:gd name="connsiteX53685" fmla="*/ 1338407 w 6884782"/>
              <a:gd name="connsiteY53685" fmla="*/ 1509332 h 5973007"/>
              <a:gd name="connsiteX53686" fmla="*/ 1337788 w 6884782"/>
              <a:gd name="connsiteY53686" fmla="*/ 1511655 h 5973007"/>
              <a:gd name="connsiteX53687" fmla="*/ 1337994 w 6884782"/>
              <a:gd name="connsiteY53687" fmla="*/ 1513514 h 5973007"/>
              <a:gd name="connsiteX53688" fmla="*/ 1335723 w 6884782"/>
              <a:gd name="connsiteY53688" fmla="*/ 1514753 h 5973007"/>
              <a:gd name="connsiteX53689" fmla="*/ 1335516 w 6884782"/>
              <a:gd name="connsiteY53689" fmla="*/ 1512895 h 5973007"/>
              <a:gd name="connsiteX53690" fmla="*/ 1336136 w 6884782"/>
              <a:gd name="connsiteY53690" fmla="*/ 1510106 h 5973007"/>
              <a:gd name="connsiteX53691" fmla="*/ 1336239 w 6884782"/>
              <a:gd name="connsiteY53691" fmla="*/ 1508712 h 5973007"/>
              <a:gd name="connsiteX53692" fmla="*/ 1334897 w 6884782"/>
              <a:gd name="connsiteY53692" fmla="*/ 1510571 h 5973007"/>
              <a:gd name="connsiteX53693" fmla="*/ 1332728 w 6884782"/>
              <a:gd name="connsiteY53693" fmla="*/ 1509177 h 5973007"/>
              <a:gd name="connsiteX53694" fmla="*/ 1330767 w 6884782"/>
              <a:gd name="connsiteY53694" fmla="*/ 1508867 h 5973007"/>
              <a:gd name="connsiteX53695" fmla="*/ 1329321 w 6884782"/>
              <a:gd name="connsiteY53695" fmla="*/ 1510416 h 5973007"/>
              <a:gd name="connsiteX53696" fmla="*/ 1327875 w 6884782"/>
              <a:gd name="connsiteY53696" fmla="*/ 1508093 h 5973007"/>
              <a:gd name="connsiteX53697" fmla="*/ 1327978 w 6884782"/>
              <a:gd name="connsiteY53697" fmla="*/ 1507783 h 5973007"/>
              <a:gd name="connsiteX53698" fmla="*/ 1325191 w 6884782"/>
              <a:gd name="connsiteY53698" fmla="*/ 1505769 h 5973007"/>
              <a:gd name="connsiteX53699" fmla="*/ 1321576 w 6884782"/>
              <a:gd name="connsiteY53699" fmla="*/ 1497715 h 5973007"/>
              <a:gd name="connsiteX53700" fmla="*/ 1322816 w 6884782"/>
              <a:gd name="connsiteY53700" fmla="*/ 1494152 h 5973007"/>
              <a:gd name="connsiteX53701" fmla="*/ 1322919 w 6884782"/>
              <a:gd name="connsiteY53701" fmla="*/ 1493997 h 5973007"/>
              <a:gd name="connsiteX53702" fmla="*/ 1321576 w 6884782"/>
              <a:gd name="connsiteY53702" fmla="*/ 1493378 h 5973007"/>
              <a:gd name="connsiteX53703" fmla="*/ 1323126 w 6884782"/>
              <a:gd name="connsiteY53703" fmla="*/ 1490590 h 5973007"/>
              <a:gd name="connsiteX53704" fmla="*/ 1325707 w 6884782"/>
              <a:gd name="connsiteY53704" fmla="*/ 1490280 h 5973007"/>
              <a:gd name="connsiteX53705" fmla="*/ 1326326 w 6884782"/>
              <a:gd name="connsiteY53705" fmla="*/ 1490744 h 5973007"/>
              <a:gd name="connsiteX53706" fmla="*/ 1328185 w 6884782"/>
              <a:gd name="connsiteY53706" fmla="*/ 1489815 h 5973007"/>
              <a:gd name="connsiteX53707" fmla="*/ 1334794 w 6884782"/>
              <a:gd name="connsiteY53707" fmla="*/ 1488266 h 5973007"/>
              <a:gd name="connsiteX53708" fmla="*/ 5159636 w 6884782"/>
              <a:gd name="connsiteY53708" fmla="*/ 1487706 h 5973007"/>
              <a:gd name="connsiteX53709" fmla="*/ 5167106 w 6884782"/>
              <a:gd name="connsiteY53709" fmla="*/ 1514737 h 5973007"/>
              <a:gd name="connsiteX53710" fmla="*/ 5159423 w 6884782"/>
              <a:gd name="connsiteY53710" fmla="*/ 1502075 h 5973007"/>
              <a:gd name="connsiteX53711" fmla="*/ 5159636 w 6884782"/>
              <a:gd name="connsiteY53711" fmla="*/ 1487706 h 5973007"/>
              <a:gd name="connsiteX53712" fmla="*/ 3879331 w 6884782"/>
              <a:gd name="connsiteY53712" fmla="*/ 1487137 h 5973007"/>
              <a:gd name="connsiteX53713" fmla="*/ 3879544 w 6884782"/>
              <a:gd name="connsiteY53713" fmla="*/ 1487848 h 5973007"/>
              <a:gd name="connsiteX53714" fmla="*/ 3879117 w 6884782"/>
              <a:gd name="connsiteY53714" fmla="*/ 1489271 h 5973007"/>
              <a:gd name="connsiteX53715" fmla="*/ 3878050 w 6884782"/>
              <a:gd name="connsiteY53715" fmla="*/ 1489128 h 5973007"/>
              <a:gd name="connsiteX53716" fmla="*/ 3879331 w 6884782"/>
              <a:gd name="connsiteY53716" fmla="*/ 1487137 h 5973007"/>
              <a:gd name="connsiteX53717" fmla="*/ 1513324 w 6884782"/>
              <a:gd name="connsiteY53717" fmla="*/ 1486872 h 5973007"/>
              <a:gd name="connsiteX53718" fmla="*/ 1515698 w 6884782"/>
              <a:gd name="connsiteY53718" fmla="*/ 1487646 h 5973007"/>
              <a:gd name="connsiteX53719" fmla="*/ 1516524 w 6884782"/>
              <a:gd name="connsiteY53719" fmla="*/ 1487337 h 5973007"/>
              <a:gd name="connsiteX53720" fmla="*/ 1518073 w 6884782"/>
              <a:gd name="connsiteY53720" fmla="*/ 1488421 h 5973007"/>
              <a:gd name="connsiteX53721" fmla="*/ 1514149 w 6884782"/>
              <a:gd name="connsiteY53721" fmla="*/ 1491364 h 5973007"/>
              <a:gd name="connsiteX53722" fmla="*/ 1510432 w 6884782"/>
              <a:gd name="connsiteY53722" fmla="*/ 1493378 h 5973007"/>
              <a:gd name="connsiteX53723" fmla="*/ 1496905 w 6884782"/>
              <a:gd name="connsiteY53723" fmla="*/ 1496475 h 5973007"/>
              <a:gd name="connsiteX53724" fmla="*/ 1501449 w 6884782"/>
              <a:gd name="connsiteY53724" fmla="*/ 1492913 h 5973007"/>
              <a:gd name="connsiteX53725" fmla="*/ 1513324 w 6884782"/>
              <a:gd name="connsiteY53725" fmla="*/ 1486872 h 5973007"/>
              <a:gd name="connsiteX53726" fmla="*/ 3907502 w 6884782"/>
              <a:gd name="connsiteY53726" fmla="*/ 1486568 h 5973007"/>
              <a:gd name="connsiteX53727" fmla="*/ 3914118 w 6884782"/>
              <a:gd name="connsiteY53727" fmla="*/ 1487563 h 5973007"/>
              <a:gd name="connsiteX53728" fmla="*/ 3930338 w 6884782"/>
              <a:gd name="connsiteY53728" fmla="*/ 1498945 h 5973007"/>
              <a:gd name="connsiteX53729" fmla="*/ 3933753 w 6884782"/>
              <a:gd name="connsiteY53729" fmla="*/ 1502502 h 5973007"/>
              <a:gd name="connsiteX53730" fmla="*/ 3935460 w 6884782"/>
              <a:gd name="connsiteY53730" fmla="*/ 1502786 h 5973007"/>
              <a:gd name="connsiteX53731" fmla="*/ 3939729 w 6884782"/>
              <a:gd name="connsiteY53731" fmla="*/ 1504636 h 5973007"/>
              <a:gd name="connsiteX53732" fmla="*/ 3940369 w 6884782"/>
              <a:gd name="connsiteY53732" fmla="*/ 1506770 h 5973007"/>
              <a:gd name="connsiteX53733" fmla="*/ 3937381 w 6884782"/>
              <a:gd name="connsiteY53733" fmla="*/ 1506201 h 5973007"/>
              <a:gd name="connsiteX53734" fmla="*/ 3938234 w 6884782"/>
              <a:gd name="connsiteY53734" fmla="*/ 1507197 h 5973007"/>
              <a:gd name="connsiteX53735" fmla="*/ 3947625 w 6884782"/>
              <a:gd name="connsiteY53735" fmla="*/ 1515448 h 5973007"/>
              <a:gd name="connsiteX53736" fmla="*/ 3933539 w 6884782"/>
              <a:gd name="connsiteY53736" fmla="*/ 1523842 h 5973007"/>
              <a:gd name="connsiteX53737" fmla="*/ 3929698 w 6884782"/>
              <a:gd name="connsiteY53737" fmla="*/ 1528537 h 5973007"/>
              <a:gd name="connsiteX53738" fmla="*/ 3930551 w 6884782"/>
              <a:gd name="connsiteY53738" fmla="*/ 1529391 h 5973007"/>
              <a:gd name="connsiteX53739" fmla="*/ 3930978 w 6884782"/>
              <a:gd name="connsiteY53739" fmla="*/ 1529106 h 5973007"/>
              <a:gd name="connsiteX53740" fmla="*/ 3935033 w 6884782"/>
              <a:gd name="connsiteY53740" fmla="*/ 1536931 h 5973007"/>
              <a:gd name="connsiteX53741" fmla="*/ 3923295 w 6884782"/>
              <a:gd name="connsiteY53741" fmla="*/ 1536362 h 5973007"/>
              <a:gd name="connsiteX53742" fmla="*/ 3922655 w 6884782"/>
              <a:gd name="connsiteY53742" fmla="*/ 1536077 h 5973007"/>
              <a:gd name="connsiteX53743" fmla="*/ 3918600 w 6884782"/>
              <a:gd name="connsiteY53743" fmla="*/ 1538211 h 5973007"/>
              <a:gd name="connsiteX53744" fmla="*/ 3913264 w 6884782"/>
              <a:gd name="connsiteY53744" fmla="*/ 1538923 h 5973007"/>
              <a:gd name="connsiteX53745" fmla="*/ 3904941 w 6884782"/>
              <a:gd name="connsiteY53745" fmla="*/ 1537073 h 5973007"/>
              <a:gd name="connsiteX53746" fmla="*/ 3904514 w 6884782"/>
              <a:gd name="connsiteY53746" fmla="*/ 1539634 h 5973007"/>
              <a:gd name="connsiteX53747" fmla="*/ 3899178 w 6884782"/>
              <a:gd name="connsiteY53747" fmla="*/ 1534228 h 5973007"/>
              <a:gd name="connsiteX53748" fmla="*/ 3899178 w 6884782"/>
              <a:gd name="connsiteY53748" fmla="*/ 1533943 h 5973007"/>
              <a:gd name="connsiteX53749" fmla="*/ 3896191 w 6884782"/>
              <a:gd name="connsiteY53749" fmla="*/ 1531383 h 5973007"/>
              <a:gd name="connsiteX53750" fmla="*/ 3896191 w 6884782"/>
              <a:gd name="connsiteY53750" fmla="*/ 1531809 h 5973007"/>
              <a:gd name="connsiteX53751" fmla="*/ 3895124 w 6884782"/>
              <a:gd name="connsiteY53751" fmla="*/ 1534512 h 5973007"/>
              <a:gd name="connsiteX53752" fmla="*/ 3893203 w 6884782"/>
              <a:gd name="connsiteY53752" fmla="*/ 1535366 h 5973007"/>
              <a:gd name="connsiteX53753" fmla="*/ 3892563 w 6884782"/>
              <a:gd name="connsiteY53753" fmla="*/ 1538638 h 5973007"/>
              <a:gd name="connsiteX53754" fmla="*/ 3888935 w 6884782"/>
              <a:gd name="connsiteY53754" fmla="*/ 1547174 h 5973007"/>
              <a:gd name="connsiteX53755" fmla="*/ 3880184 w 6884782"/>
              <a:gd name="connsiteY53755" fmla="*/ 1559978 h 5973007"/>
              <a:gd name="connsiteX53756" fmla="*/ 3879757 w 6884782"/>
              <a:gd name="connsiteY53756" fmla="*/ 1559978 h 5973007"/>
              <a:gd name="connsiteX53757" fmla="*/ 3877837 w 6884782"/>
              <a:gd name="connsiteY53757" fmla="*/ 1562966 h 5973007"/>
              <a:gd name="connsiteX53758" fmla="*/ 3868020 w 6884782"/>
              <a:gd name="connsiteY53758" fmla="*/ 1562966 h 5973007"/>
              <a:gd name="connsiteX53759" fmla="*/ 3872288 w 6884782"/>
              <a:gd name="connsiteY53759" fmla="*/ 1556706 h 5973007"/>
              <a:gd name="connsiteX53760" fmla="*/ 3869727 w 6884782"/>
              <a:gd name="connsiteY53760" fmla="*/ 1554714 h 5973007"/>
              <a:gd name="connsiteX53761" fmla="*/ 3868020 w 6884782"/>
              <a:gd name="connsiteY53761" fmla="*/ 1544613 h 5973007"/>
              <a:gd name="connsiteX53762" fmla="*/ 3868446 w 6884782"/>
              <a:gd name="connsiteY53762" fmla="*/ 1543191 h 5973007"/>
              <a:gd name="connsiteX53763" fmla="*/ 3854361 w 6884782"/>
              <a:gd name="connsiteY53763" fmla="*/ 1543618 h 5973007"/>
              <a:gd name="connsiteX53764" fmla="*/ 3850306 w 6884782"/>
              <a:gd name="connsiteY53764" fmla="*/ 1544044 h 5973007"/>
              <a:gd name="connsiteX53765" fmla="*/ 3849452 w 6884782"/>
              <a:gd name="connsiteY53765" fmla="*/ 1545325 h 5973007"/>
              <a:gd name="connsiteX53766" fmla="*/ 3846464 w 6884782"/>
              <a:gd name="connsiteY53766" fmla="*/ 1549024 h 5973007"/>
              <a:gd name="connsiteX53767" fmla="*/ 3843263 w 6884782"/>
              <a:gd name="connsiteY53767" fmla="*/ 1545609 h 5973007"/>
              <a:gd name="connsiteX53768" fmla="*/ 3843049 w 6884782"/>
              <a:gd name="connsiteY53768" fmla="*/ 1544898 h 5973007"/>
              <a:gd name="connsiteX53769" fmla="*/ 3842409 w 6884782"/>
              <a:gd name="connsiteY53769" fmla="*/ 1544898 h 5973007"/>
              <a:gd name="connsiteX53770" fmla="*/ 3842836 w 6884782"/>
              <a:gd name="connsiteY53770" fmla="*/ 1544471 h 5973007"/>
              <a:gd name="connsiteX53771" fmla="*/ 3842195 w 6884782"/>
              <a:gd name="connsiteY53771" fmla="*/ 1542906 h 5973007"/>
              <a:gd name="connsiteX53772" fmla="*/ 3842623 w 6884782"/>
              <a:gd name="connsiteY53772" fmla="*/ 1539065 h 5973007"/>
              <a:gd name="connsiteX53773" fmla="*/ 3844330 w 6884782"/>
              <a:gd name="connsiteY53773" fmla="*/ 1536789 h 5973007"/>
              <a:gd name="connsiteX53774" fmla="*/ 3846464 w 6884782"/>
              <a:gd name="connsiteY53774" fmla="*/ 1534228 h 5973007"/>
              <a:gd name="connsiteX53775" fmla="*/ 3847104 w 6884782"/>
              <a:gd name="connsiteY53775" fmla="*/ 1533943 h 5973007"/>
              <a:gd name="connsiteX53776" fmla="*/ 3847531 w 6884782"/>
              <a:gd name="connsiteY53776" fmla="*/ 1532094 h 5973007"/>
              <a:gd name="connsiteX53777" fmla="*/ 3847531 w 6884782"/>
              <a:gd name="connsiteY53777" fmla="*/ 1519005 h 5973007"/>
              <a:gd name="connsiteX53778" fmla="*/ 3845184 w 6884782"/>
              <a:gd name="connsiteY53778" fmla="*/ 1518863 h 5973007"/>
              <a:gd name="connsiteX53779" fmla="*/ 3839421 w 6884782"/>
              <a:gd name="connsiteY53779" fmla="*/ 1516302 h 5973007"/>
              <a:gd name="connsiteX53780" fmla="*/ 3846251 w 6884782"/>
              <a:gd name="connsiteY53780" fmla="*/ 1507766 h 5973007"/>
              <a:gd name="connsiteX53781" fmla="*/ 3849025 w 6884782"/>
              <a:gd name="connsiteY53781" fmla="*/ 1507908 h 5973007"/>
              <a:gd name="connsiteX53782" fmla="*/ 3849665 w 6884782"/>
              <a:gd name="connsiteY53782" fmla="*/ 1505632 h 5973007"/>
              <a:gd name="connsiteX53783" fmla="*/ 3853294 w 6884782"/>
              <a:gd name="connsiteY53783" fmla="*/ 1500794 h 5973007"/>
              <a:gd name="connsiteX53784" fmla="*/ 3887867 w 6884782"/>
              <a:gd name="connsiteY53784" fmla="*/ 1499372 h 5973007"/>
              <a:gd name="connsiteX53785" fmla="*/ 3888295 w 6884782"/>
              <a:gd name="connsiteY53785" fmla="*/ 1500083 h 5973007"/>
              <a:gd name="connsiteX53786" fmla="*/ 3890215 w 6884782"/>
              <a:gd name="connsiteY53786" fmla="*/ 1497096 h 5973007"/>
              <a:gd name="connsiteX53787" fmla="*/ 3887867 w 6884782"/>
              <a:gd name="connsiteY53787" fmla="*/ 1496811 h 5973007"/>
              <a:gd name="connsiteX53788" fmla="*/ 3886160 w 6884782"/>
              <a:gd name="connsiteY53788" fmla="*/ 1489413 h 5973007"/>
              <a:gd name="connsiteX53789" fmla="*/ 3892563 w 6884782"/>
              <a:gd name="connsiteY53789" fmla="*/ 1489271 h 5973007"/>
              <a:gd name="connsiteX53790" fmla="*/ 3895124 w 6884782"/>
              <a:gd name="connsiteY53790" fmla="*/ 1490978 h 5973007"/>
              <a:gd name="connsiteX53791" fmla="*/ 3901740 w 6884782"/>
              <a:gd name="connsiteY53791" fmla="*/ 1487279 h 5973007"/>
              <a:gd name="connsiteX53792" fmla="*/ 3907502 w 6884782"/>
              <a:gd name="connsiteY53792" fmla="*/ 1486568 h 5973007"/>
              <a:gd name="connsiteX53793" fmla="*/ 3816158 w 6884782"/>
              <a:gd name="connsiteY53793" fmla="*/ 1486568 h 5973007"/>
              <a:gd name="connsiteX53794" fmla="*/ 3818719 w 6884782"/>
              <a:gd name="connsiteY53794" fmla="*/ 1490551 h 5973007"/>
              <a:gd name="connsiteX53795" fmla="*/ 3818719 w 6884782"/>
              <a:gd name="connsiteY53795" fmla="*/ 1491690 h 5973007"/>
              <a:gd name="connsiteX53796" fmla="*/ 3819786 w 6884782"/>
              <a:gd name="connsiteY53796" fmla="*/ 1490693 h 5973007"/>
              <a:gd name="connsiteX53797" fmla="*/ 3820854 w 6884782"/>
              <a:gd name="connsiteY53797" fmla="*/ 1487706 h 5973007"/>
              <a:gd name="connsiteX53798" fmla="*/ 3823841 w 6884782"/>
              <a:gd name="connsiteY53798" fmla="*/ 1486852 h 5973007"/>
              <a:gd name="connsiteX53799" fmla="*/ 3824909 w 6884782"/>
              <a:gd name="connsiteY53799" fmla="*/ 1487421 h 5973007"/>
              <a:gd name="connsiteX53800" fmla="*/ 3824268 w 6884782"/>
              <a:gd name="connsiteY53800" fmla="*/ 1490125 h 5973007"/>
              <a:gd name="connsiteX53801" fmla="*/ 3817012 w 6884782"/>
              <a:gd name="connsiteY53801" fmla="*/ 1499799 h 5973007"/>
              <a:gd name="connsiteX53802" fmla="*/ 3815518 w 6884782"/>
              <a:gd name="connsiteY53802" fmla="*/ 1501933 h 5973007"/>
              <a:gd name="connsiteX53803" fmla="*/ 3812317 w 6884782"/>
              <a:gd name="connsiteY53803" fmla="*/ 1502786 h 5973007"/>
              <a:gd name="connsiteX53804" fmla="*/ 3813598 w 6884782"/>
              <a:gd name="connsiteY53804" fmla="*/ 1496953 h 5973007"/>
              <a:gd name="connsiteX53805" fmla="*/ 3817439 w 6884782"/>
              <a:gd name="connsiteY53805" fmla="*/ 1492970 h 5973007"/>
              <a:gd name="connsiteX53806" fmla="*/ 3816158 w 6884782"/>
              <a:gd name="connsiteY53806" fmla="*/ 1490835 h 5973007"/>
              <a:gd name="connsiteX53807" fmla="*/ 3816158 w 6884782"/>
              <a:gd name="connsiteY53807" fmla="*/ 1486568 h 5973007"/>
              <a:gd name="connsiteX53808" fmla="*/ 3991803 w 6884782"/>
              <a:gd name="connsiteY53808" fmla="*/ 1486141 h 5973007"/>
              <a:gd name="connsiteX53809" fmla="*/ 3997565 w 6884782"/>
              <a:gd name="connsiteY53809" fmla="*/ 1494392 h 5973007"/>
              <a:gd name="connsiteX53810" fmla="*/ 3996925 w 6884782"/>
              <a:gd name="connsiteY53810" fmla="*/ 1496527 h 5973007"/>
              <a:gd name="connsiteX53811" fmla="*/ 3991803 w 6884782"/>
              <a:gd name="connsiteY53811" fmla="*/ 1486141 h 5973007"/>
              <a:gd name="connsiteX53812" fmla="*/ 3700698 w 6884782"/>
              <a:gd name="connsiteY53812" fmla="*/ 1485430 h 5973007"/>
              <a:gd name="connsiteX53813" fmla="*/ 3706247 w 6884782"/>
              <a:gd name="connsiteY53813" fmla="*/ 1488702 h 5973007"/>
              <a:gd name="connsiteX53814" fmla="*/ 3695576 w 6884782"/>
              <a:gd name="connsiteY53814" fmla="*/ 1489982 h 5973007"/>
              <a:gd name="connsiteX53815" fmla="*/ 3700698 w 6884782"/>
              <a:gd name="connsiteY53815" fmla="*/ 1485430 h 5973007"/>
              <a:gd name="connsiteX53816" fmla="*/ 4032139 w 6884782"/>
              <a:gd name="connsiteY53816" fmla="*/ 1485145 h 5973007"/>
              <a:gd name="connsiteX53817" fmla="*/ 4035981 w 6884782"/>
              <a:gd name="connsiteY53817" fmla="*/ 1486141 h 5973007"/>
              <a:gd name="connsiteX53818" fmla="*/ 4036194 w 6884782"/>
              <a:gd name="connsiteY53818" fmla="*/ 1487279 h 5973007"/>
              <a:gd name="connsiteX53819" fmla="*/ 4030432 w 6884782"/>
              <a:gd name="connsiteY53819" fmla="*/ 1487563 h 5973007"/>
              <a:gd name="connsiteX53820" fmla="*/ 4032139 w 6884782"/>
              <a:gd name="connsiteY53820" fmla="*/ 1485145 h 5973007"/>
              <a:gd name="connsiteX53821" fmla="*/ 3736766 w 6884782"/>
              <a:gd name="connsiteY53821" fmla="*/ 1485145 h 5973007"/>
              <a:gd name="connsiteX53822" fmla="*/ 3739968 w 6884782"/>
              <a:gd name="connsiteY53822" fmla="*/ 1485571 h 5973007"/>
              <a:gd name="connsiteX53823" fmla="*/ 3750212 w 6884782"/>
              <a:gd name="connsiteY53823" fmla="*/ 1492116 h 5973007"/>
              <a:gd name="connsiteX53824" fmla="*/ 3741675 w 6884782"/>
              <a:gd name="connsiteY53824" fmla="*/ 1500083 h 5973007"/>
              <a:gd name="connsiteX53825" fmla="*/ 3740394 w 6884782"/>
              <a:gd name="connsiteY53825" fmla="*/ 1499656 h 5973007"/>
              <a:gd name="connsiteX53826" fmla="*/ 3730150 w 6884782"/>
              <a:gd name="connsiteY53826" fmla="*/ 1490408 h 5973007"/>
              <a:gd name="connsiteX53827" fmla="*/ 3736766 w 6884782"/>
              <a:gd name="connsiteY53827" fmla="*/ 1485145 h 5973007"/>
              <a:gd name="connsiteX53828" fmla="*/ 1432680 w 6884782"/>
              <a:gd name="connsiteY53828" fmla="*/ 1484704 h 5973007"/>
              <a:gd name="connsiteX53829" fmla="*/ 1443006 w 6884782"/>
              <a:gd name="connsiteY53829" fmla="*/ 1496475 h 5973007"/>
              <a:gd name="connsiteX53830" fmla="*/ 1440011 w 6884782"/>
              <a:gd name="connsiteY53830" fmla="*/ 1500968 h 5973007"/>
              <a:gd name="connsiteX53831" fmla="*/ 1431854 w 6884782"/>
              <a:gd name="connsiteY53831" fmla="*/ 1488266 h 5973007"/>
              <a:gd name="connsiteX53832" fmla="*/ 1432680 w 6884782"/>
              <a:gd name="connsiteY53832" fmla="*/ 1484704 h 5973007"/>
              <a:gd name="connsiteX53833" fmla="*/ 5233906 w 6884782"/>
              <a:gd name="connsiteY53833" fmla="*/ 1484149 h 5973007"/>
              <a:gd name="connsiteX53834" fmla="*/ 5246711 w 6884782"/>
              <a:gd name="connsiteY53834" fmla="*/ 1491974 h 5973007"/>
              <a:gd name="connsiteX53835" fmla="*/ 5246924 w 6884782"/>
              <a:gd name="connsiteY53835" fmla="*/ 1495673 h 5973007"/>
              <a:gd name="connsiteX53836" fmla="*/ 5249059 w 6884782"/>
              <a:gd name="connsiteY53836" fmla="*/ 1495388 h 5973007"/>
              <a:gd name="connsiteX53837" fmla="*/ 5248419 w 6884782"/>
              <a:gd name="connsiteY53837" fmla="*/ 1504209 h 5973007"/>
              <a:gd name="connsiteX53838" fmla="*/ 5240522 w 6884782"/>
              <a:gd name="connsiteY53838" fmla="*/ 1501506 h 5973007"/>
              <a:gd name="connsiteX53839" fmla="*/ 5241376 w 6884782"/>
              <a:gd name="connsiteY53839" fmla="*/ 1499372 h 5973007"/>
              <a:gd name="connsiteX53840" fmla="*/ 5241162 w 6884782"/>
              <a:gd name="connsiteY53840" fmla="*/ 1499514 h 5973007"/>
              <a:gd name="connsiteX53841" fmla="*/ 5236253 w 6884782"/>
              <a:gd name="connsiteY53841" fmla="*/ 1496100 h 5973007"/>
              <a:gd name="connsiteX53842" fmla="*/ 5233906 w 6884782"/>
              <a:gd name="connsiteY53842" fmla="*/ 1484149 h 5973007"/>
              <a:gd name="connsiteX53843" fmla="*/ 1351418 w 6884782"/>
              <a:gd name="connsiteY53843" fmla="*/ 1484084 h 5973007"/>
              <a:gd name="connsiteX53844" fmla="*/ 1354928 w 6884782"/>
              <a:gd name="connsiteY53844" fmla="*/ 1489970 h 5973007"/>
              <a:gd name="connsiteX53845" fmla="*/ 1354825 w 6884782"/>
              <a:gd name="connsiteY53845" fmla="*/ 1490125 h 5973007"/>
              <a:gd name="connsiteX53846" fmla="*/ 1359162 w 6884782"/>
              <a:gd name="connsiteY53846" fmla="*/ 1491519 h 5973007"/>
              <a:gd name="connsiteX53847" fmla="*/ 1356787 w 6884782"/>
              <a:gd name="connsiteY53847" fmla="*/ 1492603 h 5973007"/>
              <a:gd name="connsiteX53848" fmla="*/ 1353483 w 6884782"/>
              <a:gd name="connsiteY53848" fmla="*/ 1492139 h 5973007"/>
              <a:gd name="connsiteX53849" fmla="*/ 1351521 w 6884782"/>
              <a:gd name="connsiteY53849" fmla="*/ 1494152 h 5973007"/>
              <a:gd name="connsiteX53850" fmla="*/ 1345738 w 6884782"/>
              <a:gd name="connsiteY53850" fmla="*/ 1492139 h 5973007"/>
              <a:gd name="connsiteX53851" fmla="*/ 1345326 w 6884782"/>
              <a:gd name="connsiteY53851" fmla="*/ 1489505 h 5973007"/>
              <a:gd name="connsiteX53852" fmla="*/ 1345016 w 6884782"/>
              <a:gd name="connsiteY53852" fmla="*/ 1487646 h 5973007"/>
              <a:gd name="connsiteX53853" fmla="*/ 1346977 w 6884782"/>
              <a:gd name="connsiteY53853" fmla="*/ 1484549 h 5973007"/>
              <a:gd name="connsiteX53854" fmla="*/ 1346152 w 6884782"/>
              <a:gd name="connsiteY53854" fmla="*/ 1484549 h 5973007"/>
              <a:gd name="connsiteX53855" fmla="*/ 1351418 w 6884782"/>
              <a:gd name="connsiteY53855" fmla="*/ 1484084 h 5973007"/>
              <a:gd name="connsiteX53856" fmla="*/ 5007681 w 6884782"/>
              <a:gd name="connsiteY53856" fmla="*/ 1484007 h 5973007"/>
              <a:gd name="connsiteX53857" fmla="*/ 4999784 w 6884782"/>
              <a:gd name="connsiteY53857" fmla="*/ 1494108 h 5973007"/>
              <a:gd name="connsiteX53858" fmla="*/ 5007681 w 6884782"/>
              <a:gd name="connsiteY53858" fmla="*/ 1484007 h 5973007"/>
              <a:gd name="connsiteX53859" fmla="*/ 4791700 w 6884782"/>
              <a:gd name="connsiteY53859" fmla="*/ 1484007 h 5973007"/>
              <a:gd name="connsiteX53860" fmla="*/ 4810694 w 6884782"/>
              <a:gd name="connsiteY53860" fmla="*/ 1490693 h 5973007"/>
              <a:gd name="connsiteX53861" fmla="*/ 4820939 w 6884782"/>
              <a:gd name="connsiteY53861" fmla="*/ 1494250 h 5973007"/>
              <a:gd name="connsiteX53862" fmla="*/ 4823500 w 6884782"/>
              <a:gd name="connsiteY53862" fmla="*/ 1489698 h 5973007"/>
              <a:gd name="connsiteX53863" fmla="*/ 4826060 w 6884782"/>
              <a:gd name="connsiteY53863" fmla="*/ 1495815 h 5973007"/>
              <a:gd name="connsiteX53864" fmla="*/ 4829689 w 6884782"/>
              <a:gd name="connsiteY53864" fmla="*/ 1497238 h 5973007"/>
              <a:gd name="connsiteX53865" fmla="*/ 4841214 w 6884782"/>
              <a:gd name="connsiteY53865" fmla="*/ 1545752 h 5973007"/>
              <a:gd name="connsiteX53866" fmla="*/ 4823286 w 6884782"/>
              <a:gd name="connsiteY53866" fmla="*/ 1570933 h 5973007"/>
              <a:gd name="connsiteX53867" fmla="*/ 4760114 w 6884782"/>
              <a:gd name="connsiteY53867" fmla="*/ 1571502 h 5973007"/>
              <a:gd name="connsiteX53868" fmla="*/ 4745815 w 6884782"/>
              <a:gd name="connsiteY53868" fmla="*/ 1526261 h 5973007"/>
              <a:gd name="connsiteX53869" fmla="*/ 4759047 w 6884782"/>
              <a:gd name="connsiteY53869" fmla="*/ 1500652 h 5973007"/>
              <a:gd name="connsiteX53870" fmla="*/ 4791700 w 6884782"/>
              <a:gd name="connsiteY53870" fmla="*/ 1484007 h 5973007"/>
              <a:gd name="connsiteX53871" fmla="*/ 4348000 w 6884782"/>
              <a:gd name="connsiteY53871" fmla="*/ 1484007 h 5973007"/>
              <a:gd name="connsiteX53872" fmla="*/ 4351629 w 6884782"/>
              <a:gd name="connsiteY53872" fmla="*/ 1485856 h 5973007"/>
              <a:gd name="connsiteX53873" fmla="*/ 4351202 w 6884782"/>
              <a:gd name="connsiteY53873" fmla="*/ 1490267 h 5973007"/>
              <a:gd name="connsiteX53874" fmla="*/ 4347787 w 6884782"/>
              <a:gd name="connsiteY53874" fmla="*/ 1493823 h 5973007"/>
              <a:gd name="connsiteX53875" fmla="*/ 4341598 w 6884782"/>
              <a:gd name="connsiteY53875" fmla="*/ 1486852 h 5973007"/>
              <a:gd name="connsiteX53876" fmla="*/ 4348000 w 6884782"/>
              <a:gd name="connsiteY53876" fmla="*/ 1484007 h 5973007"/>
              <a:gd name="connsiteX53877" fmla="*/ 1140568 w 6884782"/>
              <a:gd name="connsiteY53877" fmla="*/ 1483929 h 5973007"/>
              <a:gd name="connsiteX53878" fmla="*/ 1139639 w 6884782"/>
              <a:gd name="connsiteY53878" fmla="*/ 1493997 h 5973007"/>
              <a:gd name="connsiteX53879" fmla="*/ 1132928 w 6884782"/>
              <a:gd name="connsiteY53879" fmla="*/ 1502362 h 5973007"/>
              <a:gd name="connsiteX53880" fmla="*/ 1132411 w 6884782"/>
              <a:gd name="connsiteY53880" fmla="*/ 1497560 h 5973007"/>
              <a:gd name="connsiteX53881" fmla="*/ 1140568 w 6884782"/>
              <a:gd name="connsiteY53881" fmla="*/ 1483929 h 5973007"/>
              <a:gd name="connsiteX53882" fmla="*/ 1569701 w 6884782"/>
              <a:gd name="connsiteY53882" fmla="*/ 1483619 h 5973007"/>
              <a:gd name="connsiteX53883" fmla="*/ 1573005 w 6884782"/>
              <a:gd name="connsiteY53883" fmla="*/ 1483774 h 5973007"/>
              <a:gd name="connsiteX53884" fmla="*/ 1572902 w 6884782"/>
              <a:gd name="connsiteY53884" fmla="*/ 1484549 h 5973007"/>
              <a:gd name="connsiteX53885" fmla="*/ 1569701 w 6884782"/>
              <a:gd name="connsiteY53885" fmla="*/ 1483619 h 5973007"/>
              <a:gd name="connsiteX53886" fmla="*/ 1261391 w 6884782"/>
              <a:gd name="connsiteY53886" fmla="*/ 1483213 h 5973007"/>
              <a:gd name="connsiteX53887" fmla="*/ 1263960 w 6884782"/>
              <a:gd name="connsiteY53887" fmla="*/ 1487492 h 5973007"/>
              <a:gd name="connsiteX53888" fmla="*/ 1262411 w 6884782"/>
              <a:gd name="connsiteY53888" fmla="*/ 1489350 h 5973007"/>
              <a:gd name="connsiteX53889" fmla="*/ 1254150 w 6884782"/>
              <a:gd name="connsiteY53889" fmla="*/ 1485168 h 5973007"/>
              <a:gd name="connsiteX53890" fmla="*/ 1256112 w 6884782"/>
              <a:gd name="connsiteY53890" fmla="*/ 1483464 h 5973007"/>
              <a:gd name="connsiteX53891" fmla="*/ 1261391 w 6884782"/>
              <a:gd name="connsiteY53891" fmla="*/ 1483213 h 5973007"/>
              <a:gd name="connsiteX53892" fmla="*/ 5204027 w 6884782"/>
              <a:gd name="connsiteY53892" fmla="*/ 1482869 h 5973007"/>
              <a:gd name="connsiteX53893" fmla="*/ 5208509 w 6884782"/>
              <a:gd name="connsiteY53893" fmla="*/ 1483011 h 5973007"/>
              <a:gd name="connsiteX53894" fmla="*/ 5196557 w 6884782"/>
              <a:gd name="connsiteY53894" fmla="*/ 1497522 h 5973007"/>
              <a:gd name="connsiteX53895" fmla="*/ 5191862 w 6884782"/>
              <a:gd name="connsiteY53895" fmla="*/ 1488275 h 5973007"/>
              <a:gd name="connsiteX53896" fmla="*/ 5204027 w 6884782"/>
              <a:gd name="connsiteY53896" fmla="*/ 1482869 h 5973007"/>
              <a:gd name="connsiteX53897" fmla="*/ 3980705 w 6884782"/>
              <a:gd name="connsiteY53897" fmla="*/ 1482869 h 5973007"/>
              <a:gd name="connsiteX53898" fmla="*/ 3984120 w 6884782"/>
              <a:gd name="connsiteY53898" fmla="*/ 1483011 h 5973007"/>
              <a:gd name="connsiteX53899" fmla="*/ 3988388 w 6884782"/>
              <a:gd name="connsiteY53899" fmla="*/ 1485998 h 5973007"/>
              <a:gd name="connsiteX53900" fmla="*/ 3984974 w 6884782"/>
              <a:gd name="connsiteY53900" fmla="*/ 1493112 h 5973007"/>
              <a:gd name="connsiteX53901" fmla="*/ 3973022 w 6884782"/>
              <a:gd name="connsiteY53901" fmla="*/ 1490835 h 5973007"/>
              <a:gd name="connsiteX53902" fmla="*/ 3980705 w 6884782"/>
              <a:gd name="connsiteY53902" fmla="*/ 1482869 h 5973007"/>
              <a:gd name="connsiteX53903" fmla="*/ 1488852 w 6884782"/>
              <a:gd name="connsiteY53903" fmla="*/ 1482225 h 5973007"/>
              <a:gd name="connsiteX53904" fmla="*/ 1490710 w 6884782"/>
              <a:gd name="connsiteY53904" fmla="*/ 1493378 h 5973007"/>
              <a:gd name="connsiteX53905" fmla="*/ 1485857 w 6884782"/>
              <a:gd name="connsiteY53905" fmla="*/ 1491054 h 5973007"/>
              <a:gd name="connsiteX53906" fmla="*/ 1485754 w 6884782"/>
              <a:gd name="connsiteY53906" fmla="*/ 1486407 h 5973007"/>
              <a:gd name="connsiteX53907" fmla="*/ 1488852 w 6884782"/>
              <a:gd name="connsiteY53907" fmla="*/ 1482225 h 5973007"/>
              <a:gd name="connsiteX53908" fmla="*/ 4592366 w 6884782"/>
              <a:gd name="connsiteY53908" fmla="*/ 1481589 h 5973007"/>
              <a:gd name="connsiteX53909" fmla="*/ 4604318 w 6884782"/>
              <a:gd name="connsiteY53909" fmla="*/ 1512176 h 5973007"/>
              <a:gd name="connsiteX53910" fmla="*/ 4604958 w 6884782"/>
              <a:gd name="connsiteY53910" fmla="*/ 1515306 h 5973007"/>
              <a:gd name="connsiteX53911" fmla="*/ 4610080 w 6884782"/>
              <a:gd name="connsiteY53911" fmla="*/ 1517156 h 5973007"/>
              <a:gd name="connsiteX53912" fmla="*/ 4611574 w 6884782"/>
              <a:gd name="connsiteY53912" fmla="*/ 1519574 h 5973007"/>
              <a:gd name="connsiteX53913" fmla="*/ 4608799 w 6884782"/>
              <a:gd name="connsiteY53913" fmla="*/ 1521423 h 5973007"/>
              <a:gd name="connsiteX53914" fmla="*/ 4605171 w 6884782"/>
              <a:gd name="connsiteY53914" fmla="*/ 1519717 h 5973007"/>
              <a:gd name="connsiteX53915" fmla="*/ 4604745 w 6884782"/>
              <a:gd name="connsiteY53915" fmla="*/ 1523131 h 5973007"/>
              <a:gd name="connsiteX53916" fmla="*/ 4562914 w 6884782"/>
              <a:gd name="connsiteY53916" fmla="*/ 1538496 h 5973007"/>
              <a:gd name="connsiteX53917" fmla="*/ 4557152 w 6884782"/>
              <a:gd name="connsiteY53917" fmla="*/ 1531667 h 5973007"/>
              <a:gd name="connsiteX53918" fmla="*/ 4555018 w 6884782"/>
              <a:gd name="connsiteY53918" fmla="*/ 1533517 h 5973007"/>
              <a:gd name="connsiteX53919" fmla="*/ 4549255 w 6884782"/>
              <a:gd name="connsiteY53919" fmla="*/ 1534512 h 5973007"/>
              <a:gd name="connsiteX53920" fmla="*/ 4547761 w 6884782"/>
              <a:gd name="connsiteY53920" fmla="*/ 1523842 h 5973007"/>
              <a:gd name="connsiteX53921" fmla="*/ 4552030 w 6884782"/>
              <a:gd name="connsiteY53921" fmla="*/ 1520001 h 5973007"/>
              <a:gd name="connsiteX53922" fmla="*/ 4556085 w 6884782"/>
              <a:gd name="connsiteY53922" fmla="*/ 1516871 h 5973007"/>
              <a:gd name="connsiteX53923" fmla="*/ 4558219 w 6884782"/>
              <a:gd name="connsiteY53923" fmla="*/ 1508762 h 5973007"/>
              <a:gd name="connsiteX53924" fmla="*/ 4592366 w 6884782"/>
              <a:gd name="connsiteY53924" fmla="*/ 1481589 h 5973007"/>
              <a:gd name="connsiteX53925" fmla="*/ 3750639 w 6884782"/>
              <a:gd name="connsiteY53925" fmla="*/ 1481304 h 5973007"/>
              <a:gd name="connsiteX53926" fmla="*/ 3749358 w 6884782"/>
              <a:gd name="connsiteY53926" fmla="*/ 1481589 h 5973007"/>
              <a:gd name="connsiteX53927" fmla="*/ 3748717 w 6884782"/>
              <a:gd name="connsiteY53927" fmla="*/ 1482869 h 5973007"/>
              <a:gd name="connsiteX53928" fmla="*/ 1671305 w 6884782"/>
              <a:gd name="connsiteY53928" fmla="*/ 1480521 h 5973007"/>
              <a:gd name="connsiteX53929" fmla="*/ 1672958 w 6884782"/>
              <a:gd name="connsiteY53929" fmla="*/ 1488576 h 5973007"/>
              <a:gd name="connsiteX53930" fmla="*/ 1665833 w 6884782"/>
              <a:gd name="connsiteY53930" fmla="*/ 1493378 h 5973007"/>
              <a:gd name="connsiteX53931" fmla="*/ 1665007 w 6884782"/>
              <a:gd name="connsiteY53931" fmla="*/ 1488886 h 5973007"/>
              <a:gd name="connsiteX53932" fmla="*/ 1665420 w 6884782"/>
              <a:gd name="connsiteY53932" fmla="*/ 1485168 h 5973007"/>
              <a:gd name="connsiteX53933" fmla="*/ 1671305 w 6884782"/>
              <a:gd name="connsiteY53933" fmla="*/ 1480521 h 5973007"/>
              <a:gd name="connsiteX53934" fmla="*/ 1586016 w 6884782"/>
              <a:gd name="connsiteY53934" fmla="*/ 1480521 h 5973007"/>
              <a:gd name="connsiteX53935" fmla="*/ 1596961 w 6884782"/>
              <a:gd name="connsiteY53935" fmla="*/ 1491829 h 5973007"/>
              <a:gd name="connsiteX53936" fmla="*/ 1588907 w 6884782"/>
              <a:gd name="connsiteY53936" fmla="*/ 1494152 h 5973007"/>
              <a:gd name="connsiteX53937" fmla="*/ 1586016 w 6884782"/>
              <a:gd name="connsiteY53937" fmla="*/ 1487337 h 5973007"/>
              <a:gd name="connsiteX53938" fmla="*/ 1586016 w 6884782"/>
              <a:gd name="connsiteY53938" fmla="*/ 1480521 h 5973007"/>
              <a:gd name="connsiteX53939" fmla="*/ 4617763 w 6884782"/>
              <a:gd name="connsiteY53939" fmla="*/ 1480308 h 5973007"/>
              <a:gd name="connsiteX53940" fmla="*/ 4620111 w 6884782"/>
              <a:gd name="connsiteY53940" fmla="*/ 1481589 h 5973007"/>
              <a:gd name="connsiteX53941" fmla="*/ 4623525 w 6884782"/>
              <a:gd name="connsiteY53941" fmla="*/ 1480734 h 5973007"/>
              <a:gd name="connsiteX53942" fmla="*/ 4624806 w 6884782"/>
              <a:gd name="connsiteY53942" fmla="*/ 1482869 h 5973007"/>
              <a:gd name="connsiteX53943" fmla="*/ 4617763 w 6884782"/>
              <a:gd name="connsiteY53943" fmla="*/ 1484576 h 5973007"/>
              <a:gd name="connsiteX53944" fmla="*/ 4614775 w 6884782"/>
              <a:gd name="connsiteY53944" fmla="*/ 1482299 h 5973007"/>
              <a:gd name="connsiteX53945" fmla="*/ 4617763 w 6884782"/>
              <a:gd name="connsiteY53945" fmla="*/ 1480308 h 5973007"/>
              <a:gd name="connsiteX53946" fmla="*/ 1122189 w 6884782"/>
              <a:gd name="connsiteY53946" fmla="*/ 1480057 h 5973007"/>
              <a:gd name="connsiteX53947" fmla="*/ 1130553 w 6884782"/>
              <a:gd name="connsiteY53947" fmla="*/ 1488421 h 5973007"/>
              <a:gd name="connsiteX53948" fmla="*/ 1127248 w 6884782"/>
              <a:gd name="connsiteY53948" fmla="*/ 1490899 h 5973007"/>
              <a:gd name="connsiteX53949" fmla="*/ 1119917 w 6884782"/>
              <a:gd name="connsiteY53949" fmla="*/ 1488730 h 5973007"/>
              <a:gd name="connsiteX53950" fmla="*/ 1122189 w 6884782"/>
              <a:gd name="connsiteY53950" fmla="*/ 1480057 h 5973007"/>
              <a:gd name="connsiteX53951" fmla="*/ 5378391 w 6884782"/>
              <a:gd name="connsiteY53951" fmla="*/ 1480024 h 5973007"/>
              <a:gd name="connsiteX53952" fmla="*/ 5380525 w 6884782"/>
              <a:gd name="connsiteY53952" fmla="*/ 1490408 h 5973007"/>
              <a:gd name="connsiteX53953" fmla="*/ 5378391 w 6884782"/>
              <a:gd name="connsiteY53953" fmla="*/ 1480024 h 5973007"/>
              <a:gd name="connsiteX53954" fmla="*/ 1470369 w 6884782"/>
              <a:gd name="connsiteY53954" fmla="*/ 1479902 h 5973007"/>
              <a:gd name="connsiteX53955" fmla="*/ 1471918 w 6884782"/>
              <a:gd name="connsiteY53955" fmla="*/ 1481296 h 5973007"/>
              <a:gd name="connsiteX53956" fmla="*/ 1472124 w 6884782"/>
              <a:gd name="connsiteY53956" fmla="*/ 1484084 h 5973007"/>
              <a:gd name="connsiteX53957" fmla="*/ 1469130 w 6884782"/>
              <a:gd name="connsiteY53957" fmla="*/ 1485942 h 5973007"/>
              <a:gd name="connsiteX53958" fmla="*/ 1467581 w 6884782"/>
              <a:gd name="connsiteY53958" fmla="*/ 1484549 h 5973007"/>
              <a:gd name="connsiteX53959" fmla="*/ 1466342 w 6884782"/>
              <a:gd name="connsiteY53959" fmla="*/ 1483154 h 5973007"/>
              <a:gd name="connsiteX53960" fmla="*/ 1466652 w 6884782"/>
              <a:gd name="connsiteY53960" fmla="*/ 1482070 h 5973007"/>
              <a:gd name="connsiteX53961" fmla="*/ 1470369 w 6884782"/>
              <a:gd name="connsiteY53961" fmla="*/ 1479902 h 5973007"/>
              <a:gd name="connsiteX53962" fmla="*/ 1532323 w 6884782"/>
              <a:gd name="connsiteY53962" fmla="*/ 1479747 h 5973007"/>
              <a:gd name="connsiteX53963" fmla="*/ 1534904 w 6884782"/>
              <a:gd name="connsiteY53963" fmla="*/ 1487492 h 5973007"/>
              <a:gd name="connsiteX53964" fmla="*/ 1534491 w 6884782"/>
              <a:gd name="connsiteY53964" fmla="*/ 1487956 h 5973007"/>
              <a:gd name="connsiteX53965" fmla="*/ 1534594 w 6884782"/>
              <a:gd name="connsiteY53965" fmla="*/ 1487956 h 5973007"/>
              <a:gd name="connsiteX53966" fmla="*/ 1535936 w 6884782"/>
              <a:gd name="connsiteY53966" fmla="*/ 1489970 h 5973007"/>
              <a:gd name="connsiteX53967" fmla="*/ 1531600 w 6884782"/>
              <a:gd name="connsiteY53967" fmla="*/ 1491829 h 5973007"/>
              <a:gd name="connsiteX53968" fmla="*/ 1531290 w 6884782"/>
              <a:gd name="connsiteY53968" fmla="*/ 1490590 h 5973007"/>
              <a:gd name="connsiteX53969" fmla="*/ 1529122 w 6884782"/>
              <a:gd name="connsiteY53969" fmla="*/ 1491209 h 5973007"/>
              <a:gd name="connsiteX53970" fmla="*/ 1524268 w 6884782"/>
              <a:gd name="connsiteY53970" fmla="*/ 1489195 h 5973007"/>
              <a:gd name="connsiteX53971" fmla="*/ 1528605 w 6884782"/>
              <a:gd name="connsiteY53971" fmla="*/ 1480211 h 5973007"/>
              <a:gd name="connsiteX53972" fmla="*/ 1532323 w 6884782"/>
              <a:gd name="connsiteY53972" fmla="*/ 1479747 h 5973007"/>
              <a:gd name="connsiteX53973" fmla="*/ 5816328 w 6884782"/>
              <a:gd name="connsiteY53973" fmla="*/ 1479169 h 5973007"/>
              <a:gd name="connsiteX53974" fmla="*/ 5817395 w 6884782"/>
              <a:gd name="connsiteY53974" fmla="*/ 1481589 h 5973007"/>
              <a:gd name="connsiteX53975" fmla="*/ 5816968 w 6884782"/>
              <a:gd name="connsiteY53975" fmla="*/ 1485430 h 5973007"/>
              <a:gd name="connsiteX53976" fmla="*/ 5810993 w 6884782"/>
              <a:gd name="connsiteY53976" fmla="*/ 1486568 h 5973007"/>
              <a:gd name="connsiteX53977" fmla="*/ 5809926 w 6884782"/>
              <a:gd name="connsiteY53977" fmla="*/ 1484007 h 5973007"/>
              <a:gd name="connsiteX53978" fmla="*/ 5811420 w 6884782"/>
              <a:gd name="connsiteY53978" fmla="*/ 1480308 h 5973007"/>
              <a:gd name="connsiteX53979" fmla="*/ 5816328 w 6884782"/>
              <a:gd name="connsiteY53979" fmla="*/ 1479169 h 5973007"/>
              <a:gd name="connsiteX53980" fmla="*/ 1578581 w 6884782"/>
              <a:gd name="connsiteY53980" fmla="*/ 1479127 h 5973007"/>
              <a:gd name="connsiteX53981" fmla="*/ 1582918 w 6884782"/>
              <a:gd name="connsiteY53981" fmla="*/ 1481761 h 5973007"/>
              <a:gd name="connsiteX53982" fmla="*/ 1577549 w 6884782"/>
              <a:gd name="connsiteY53982" fmla="*/ 1481450 h 5973007"/>
              <a:gd name="connsiteX53983" fmla="*/ 1578581 w 6884782"/>
              <a:gd name="connsiteY53983" fmla="*/ 1479127 h 5973007"/>
              <a:gd name="connsiteX53984" fmla="*/ 5547419 w 6884782"/>
              <a:gd name="connsiteY53984" fmla="*/ 1476467 h 5973007"/>
              <a:gd name="connsiteX53985" fmla="*/ 5526718 w 6884782"/>
              <a:gd name="connsiteY53985" fmla="*/ 1505489 h 5973007"/>
              <a:gd name="connsiteX53986" fmla="*/ 5547419 w 6884782"/>
              <a:gd name="connsiteY53986" fmla="*/ 1476467 h 5973007"/>
              <a:gd name="connsiteX53987" fmla="*/ 4208851 w 6884782"/>
              <a:gd name="connsiteY53987" fmla="*/ 1476040 h 5973007"/>
              <a:gd name="connsiteX53988" fmla="*/ 4216320 w 6884782"/>
              <a:gd name="connsiteY53988" fmla="*/ 1476467 h 5973007"/>
              <a:gd name="connsiteX53989" fmla="*/ 4219308 w 6884782"/>
              <a:gd name="connsiteY53989" fmla="*/ 1489271 h 5973007"/>
              <a:gd name="connsiteX53990" fmla="*/ 4208851 w 6884782"/>
              <a:gd name="connsiteY53990" fmla="*/ 1476040 h 5973007"/>
              <a:gd name="connsiteX53991" fmla="*/ 1440321 w 6884782"/>
              <a:gd name="connsiteY53991" fmla="*/ 1475719 h 5973007"/>
              <a:gd name="connsiteX53992" fmla="*/ 1442696 w 6884782"/>
              <a:gd name="connsiteY53992" fmla="*/ 1485942 h 5973007"/>
              <a:gd name="connsiteX53993" fmla="*/ 1441767 w 6884782"/>
              <a:gd name="connsiteY53993" fmla="*/ 1487182 h 5973007"/>
              <a:gd name="connsiteX53994" fmla="*/ 1439392 w 6884782"/>
              <a:gd name="connsiteY53994" fmla="*/ 1486872 h 5973007"/>
              <a:gd name="connsiteX53995" fmla="*/ 1437637 w 6884782"/>
              <a:gd name="connsiteY53995" fmla="*/ 1485942 h 5973007"/>
              <a:gd name="connsiteX53996" fmla="*/ 1437740 w 6884782"/>
              <a:gd name="connsiteY53996" fmla="*/ 1482845 h 5973007"/>
              <a:gd name="connsiteX53997" fmla="*/ 1439702 w 6884782"/>
              <a:gd name="connsiteY53997" fmla="*/ 1478662 h 5973007"/>
              <a:gd name="connsiteX53998" fmla="*/ 1439495 w 6884782"/>
              <a:gd name="connsiteY53998" fmla="*/ 1476029 h 5973007"/>
              <a:gd name="connsiteX53999" fmla="*/ 1440321 w 6884782"/>
              <a:gd name="connsiteY53999" fmla="*/ 1475719 h 5973007"/>
              <a:gd name="connsiteX54000" fmla="*/ 4749443 w 6884782"/>
              <a:gd name="connsiteY54000" fmla="*/ 1475471 h 5973007"/>
              <a:gd name="connsiteX54001" fmla="*/ 4732369 w 6884782"/>
              <a:gd name="connsiteY54001" fmla="*/ 1510184 h 5973007"/>
              <a:gd name="connsiteX54002" fmla="*/ 4722979 w 6884782"/>
              <a:gd name="connsiteY54002" fmla="*/ 1504636 h 5973007"/>
              <a:gd name="connsiteX54003" fmla="*/ 4749443 w 6884782"/>
              <a:gd name="connsiteY54003" fmla="*/ 1475471 h 5973007"/>
              <a:gd name="connsiteX54004" fmla="*/ 4724686 w 6884782"/>
              <a:gd name="connsiteY54004" fmla="*/ 1475471 h 5973007"/>
              <a:gd name="connsiteX54005" fmla="*/ 4728528 w 6884782"/>
              <a:gd name="connsiteY54005" fmla="*/ 1476040 h 5973007"/>
              <a:gd name="connsiteX54006" fmla="*/ 4731302 w 6884782"/>
              <a:gd name="connsiteY54006" fmla="*/ 1478316 h 5973007"/>
              <a:gd name="connsiteX54007" fmla="*/ 4732156 w 6884782"/>
              <a:gd name="connsiteY54007" fmla="*/ 1485430 h 5973007"/>
              <a:gd name="connsiteX54008" fmla="*/ 4721912 w 6884782"/>
              <a:gd name="connsiteY54008" fmla="*/ 1485998 h 5973007"/>
              <a:gd name="connsiteX54009" fmla="*/ 4721912 w 6884782"/>
              <a:gd name="connsiteY54009" fmla="*/ 1477605 h 5973007"/>
              <a:gd name="connsiteX54010" fmla="*/ 4724686 w 6884782"/>
              <a:gd name="connsiteY54010" fmla="*/ 1475471 h 5973007"/>
              <a:gd name="connsiteX54011" fmla="*/ 1645285 w 6884782"/>
              <a:gd name="connsiteY54011" fmla="*/ 1474945 h 5973007"/>
              <a:gd name="connsiteX54012" fmla="*/ 1650138 w 6884782"/>
              <a:gd name="connsiteY54012" fmla="*/ 1479437 h 5973007"/>
              <a:gd name="connsiteX54013" fmla="*/ 1640122 w 6884782"/>
              <a:gd name="connsiteY54013" fmla="*/ 1483309 h 5973007"/>
              <a:gd name="connsiteX54014" fmla="*/ 1639090 w 6884782"/>
              <a:gd name="connsiteY54014" fmla="*/ 1479902 h 5973007"/>
              <a:gd name="connsiteX54015" fmla="*/ 1639812 w 6884782"/>
              <a:gd name="connsiteY54015" fmla="*/ 1477578 h 5973007"/>
              <a:gd name="connsiteX54016" fmla="*/ 1645285 w 6884782"/>
              <a:gd name="connsiteY54016" fmla="*/ 1474945 h 5973007"/>
              <a:gd name="connsiteX54017" fmla="*/ 1197153 w 6884782"/>
              <a:gd name="connsiteY54017" fmla="*/ 1474790 h 5973007"/>
              <a:gd name="connsiteX54018" fmla="*/ 1194158 w 6884782"/>
              <a:gd name="connsiteY54018" fmla="*/ 1483309 h 5973007"/>
              <a:gd name="connsiteX54019" fmla="*/ 1191474 w 6884782"/>
              <a:gd name="connsiteY54019" fmla="*/ 1489505 h 5973007"/>
              <a:gd name="connsiteX54020" fmla="*/ 1193126 w 6884782"/>
              <a:gd name="connsiteY54020" fmla="*/ 1489815 h 5973007"/>
              <a:gd name="connsiteX54021" fmla="*/ 1191267 w 6884782"/>
              <a:gd name="connsiteY54021" fmla="*/ 1497870 h 5973007"/>
              <a:gd name="connsiteX54022" fmla="*/ 1190544 w 6884782"/>
              <a:gd name="connsiteY54022" fmla="*/ 1499109 h 5973007"/>
              <a:gd name="connsiteX54023" fmla="*/ 1190441 w 6884782"/>
              <a:gd name="connsiteY54023" fmla="*/ 1501587 h 5973007"/>
              <a:gd name="connsiteX54024" fmla="*/ 1186724 w 6884782"/>
              <a:gd name="connsiteY54024" fmla="*/ 1506079 h 5973007"/>
              <a:gd name="connsiteX54025" fmla="*/ 1177637 w 6884782"/>
              <a:gd name="connsiteY54025" fmla="*/ 1506544 h 5973007"/>
              <a:gd name="connsiteX54026" fmla="*/ 1178463 w 6884782"/>
              <a:gd name="connsiteY54026" fmla="*/ 1507008 h 5973007"/>
              <a:gd name="connsiteX54027" fmla="*/ 1179599 w 6884782"/>
              <a:gd name="connsiteY54027" fmla="*/ 1511501 h 5973007"/>
              <a:gd name="connsiteX54028" fmla="*/ 1181148 w 6884782"/>
              <a:gd name="connsiteY54028" fmla="*/ 1510262 h 5973007"/>
              <a:gd name="connsiteX54029" fmla="*/ 1188169 w 6884782"/>
              <a:gd name="connsiteY54029" fmla="*/ 1518471 h 5973007"/>
              <a:gd name="connsiteX54030" fmla="*/ 1182077 w 6884782"/>
              <a:gd name="connsiteY54030" fmla="*/ 1519555 h 5973007"/>
              <a:gd name="connsiteX54031" fmla="*/ 1181355 w 6884782"/>
              <a:gd name="connsiteY54031" fmla="*/ 1519245 h 5973007"/>
              <a:gd name="connsiteX54032" fmla="*/ 1180838 w 6884782"/>
              <a:gd name="connsiteY54032" fmla="*/ 1518781 h 5973007"/>
              <a:gd name="connsiteX54033" fmla="*/ 1180116 w 6884782"/>
              <a:gd name="connsiteY54033" fmla="*/ 1521104 h 5973007"/>
              <a:gd name="connsiteX54034" fmla="*/ 1178154 w 6884782"/>
              <a:gd name="connsiteY54034" fmla="*/ 1519245 h 5973007"/>
              <a:gd name="connsiteX54035" fmla="*/ 1177844 w 6884782"/>
              <a:gd name="connsiteY54035" fmla="*/ 1518161 h 5973007"/>
              <a:gd name="connsiteX54036" fmla="*/ 1177121 w 6884782"/>
              <a:gd name="connsiteY54036" fmla="*/ 1517851 h 5973007"/>
              <a:gd name="connsiteX54037" fmla="*/ 1177534 w 6884782"/>
              <a:gd name="connsiteY54037" fmla="*/ 1517077 h 5973007"/>
              <a:gd name="connsiteX54038" fmla="*/ 1176811 w 6884782"/>
              <a:gd name="connsiteY54038" fmla="*/ 1514753 h 5973007"/>
              <a:gd name="connsiteX54039" fmla="*/ 1175779 w 6884782"/>
              <a:gd name="connsiteY54039" fmla="*/ 1513205 h 5973007"/>
              <a:gd name="connsiteX54040" fmla="*/ 1175469 w 6884782"/>
              <a:gd name="connsiteY54040" fmla="*/ 1513669 h 5973007"/>
              <a:gd name="connsiteX54041" fmla="*/ 1172784 w 6884782"/>
              <a:gd name="connsiteY54041" fmla="*/ 1514289 h 5973007"/>
              <a:gd name="connsiteX54042" fmla="*/ 1171855 w 6884782"/>
              <a:gd name="connsiteY54042" fmla="*/ 1513359 h 5973007"/>
              <a:gd name="connsiteX54043" fmla="*/ 1172371 w 6884782"/>
              <a:gd name="connsiteY54043" fmla="*/ 1511810 h 5973007"/>
              <a:gd name="connsiteX54044" fmla="*/ 1173404 w 6884782"/>
              <a:gd name="connsiteY54044" fmla="*/ 1509642 h 5973007"/>
              <a:gd name="connsiteX54045" fmla="*/ 1173197 w 6884782"/>
              <a:gd name="connsiteY54045" fmla="*/ 1507783 h 5973007"/>
              <a:gd name="connsiteX54046" fmla="*/ 1173094 w 6884782"/>
              <a:gd name="connsiteY54046" fmla="*/ 1504530 h 5973007"/>
              <a:gd name="connsiteX54047" fmla="*/ 1175469 w 6884782"/>
              <a:gd name="connsiteY54047" fmla="*/ 1503756 h 5973007"/>
              <a:gd name="connsiteX54048" fmla="*/ 1174850 w 6884782"/>
              <a:gd name="connsiteY54048" fmla="*/ 1501432 h 5973007"/>
              <a:gd name="connsiteX54049" fmla="*/ 1181148 w 6884782"/>
              <a:gd name="connsiteY54049" fmla="*/ 1491984 h 5973007"/>
              <a:gd name="connsiteX54050" fmla="*/ 1186311 w 6884782"/>
              <a:gd name="connsiteY54050" fmla="*/ 1491519 h 5973007"/>
              <a:gd name="connsiteX54051" fmla="*/ 1186827 w 6884782"/>
              <a:gd name="connsiteY54051" fmla="*/ 1491829 h 5973007"/>
              <a:gd name="connsiteX54052" fmla="*/ 1187653 w 6884782"/>
              <a:gd name="connsiteY54052" fmla="*/ 1488421 h 5973007"/>
              <a:gd name="connsiteX54053" fmla="*/ 1189305 w 6884782"/>
              <a:gd name="connsiteY54053" fmla="*/ 1489040 h 5973007"/>
              <a:gd name="connsiteX54054" fmla="*/ 1188892 w 6884782"/>
              <a:gd name="connsiteY54054" fmla="*/ 1487337 h 5973007"/>
              <a:gd name="connsiteX54055" fmla="*/ 1191577 w 6884782"/>
              <a:gd name="connsiteY54055" fmla="*/ 1479282 h 5973007"/>
              <a:gd name="connsiteX54056" fmla="*/ 1192609 w 6884782"/>
              <a:gd name="connsiteY54056" fmla="*/ 1477578 h 5973007"/>
              <a:gd name="connsiteX54057" fmla="*/ 1193539 w 6884782"/>
              <a:gd name="connsiteY54057" fmla="*/ 1475874 h 5973007"/>
              <a:gd name="connsiteX54058" fmla="*/ 1197153 w 6884782"/>
              <a:gd name="connsiteY54058" fmla="*/ 1474790 h 5973007"/>
              <a:gd name="connsiteX54059" fmla="*/ 4971826 w 6884782"/>
              <a:gd name="connsiteY54059" fmla="*/ 1474475 h 5973007"/>
              <a:gd name="connsiteX54060" fmla="*/ 4974601 w 6884782"/>
              <a:gd name="connsiteY54060" fmla="*/ 1474902 h 5973007"/>
              <a:gd name="connsiteX54061" fmla="*/ 4974814 w 6884782"/>
              <a:gd name="connsiteY54061" fmla="*/ 1478458 h 5973007"/>
              <a:gd name="connsiteX54062" fmla="*/ 4964783 w 6884782"/>
              <a:gd name="connsiteY54062" fmla="*/ 1482584 h 5973007"/>
              <a:gd name="connsiteX54063" fmla="*/ 4971826 w 6884782"/>
              <a:gd name="connsiteY54063" fmla="*/ 1474475 h 5973007"/>
              <a:gd name="connsiteX54064" fmla="*/ 5931148 w 6884782"/>
              <a:gd name="connsiteY54064" fmla="*/ 1474332 h 5973007"/>
              <a:gd name="connsiteX54065" fmla="*/ 5940966 w 6884782"/>
              <a:gd name="connsiteY54065" fmla="*/ 1492258 h 5973007"/>
              <a:gd name="connsiteX54066" fmla="*/ 5931361 w 6884782"/>
              <a:gd name="connsiteY54066" fmla="*/ 1492827 h 5973007"/>
              <a:gd name="connsiteX54067" fmla="*/ 5931148 w 6884782"/>
              <a:gd name="connsiteY54067" fmla="*/ 1474332 h 5973007"/>
              <a:gd name="connsiteX54068" fmla="*/ 3682771 w 6884782"/>
              <a:gd name="connsiteY54068" fmla="*/ 1474332 h 5973007"/>
              <a:gd name="connsiteX54069" fmla="*/ 3674234 w 6884782"/>
              <a:gd name="connsiteY54069" fmla="*/ 1501648 h 5973007"/>
              <a:gd name="connsiteX54070" fmla="*/ 3673167 w 6884782"/>
              <a:gd name="connsiteY54070" fmla="*/ 1502502 h 5973007"/>
              <a:gd name="connsiteX54071" fmla="*/ 3675301 w 6884782"/>
              <a:gd name="connsiteY54071" fmla="*/ 1504920 h 5973007"/>
              <a:gd name="connsiteX54072" fmla="*/ 3676155 w 6884782"/>
              <a:gd name="connsiteY54072" fmla="*/ 1506343 h 5973007"/>
              <a:gd name="connsiteX54073" fmla="*/ 3677009 w 6884782"/>
              <a:gd name="connsiteY54073" fmla="*/ 1504066 h 5973007"/>
              <a:gd name="connsiteX54074" fmla="*/ 3674448 w 6884782"/>
              <a:gd name="connsiteY54074" fmla="*/ 1517867 h 5973007"/>
              <a:gd name="connsiteX54075" fmla="*/ 3651826 w 6884782"/>
              <a:gd name="connsiteY54075" fmla="*/ 1520712 h 5973007"/>
              <a:gd name="connsiteX54076" fmla="*/ 3648197 w 6884782"/>
              <a:gd name="connsiteY54076" fmla="*/ 1515591 h 5973007"/>
              <a:gd name="connsiteX54077" fmla="*/ 3649478 w 6884782"/>
              <a:gd name="connsiteY54077" fmla="*/ 1522135 h 5973007"/>
              <a:gd name="connsiteX54078" fmla="*/ 3649264 w 6884782"/>
              <a:gd name="connsiteY54078" fmla="*/ 1531667 h 5973007"/>
              <a:gd name="connsiteX54079" fmla="*/ 3647343 w 6884782"/>
              <a:gd name="connsiteY54079" fmla="*/ 1516871 h 5973007"/>
              <a:gd name="connsiteX54080" fmla="*/ 3647557 w 6884782"/>
              <a:gd name="connsiteY54080" fmla="*/ 1514595 h 5973007"/>
              <a:gd name="connsiteX54081" fmla="*/ 3647557 w 6884782"/>
              <a:gd name="connsiteY54081" fmla="*/ 1514310 h 5973007"/>
              <a:gd name="connsiteX54082" fmla="*/ 3647557 w 6884782"/>
              <a:gd name="connsiteY54082" fmla="*/ 1514025 h 5973007"/>
              <a:gd name="connsiteX54083" fmla="*/ 3647770 w 6884782"/>
              <a:gd name="connsiteY54083" fmla="*/ 1512461 h 5973007"/>
              <a:gd name="connsiteX54084" fmla="*/ 3647983 w 6884782"/>
              <a:gd name="connsiteY54084" fmla="*/ 1513457 h 5973007"/>
              <a:gd name="connsiteX54085" fmla="*/ 3651398 w 6884782"/>
              <a:gd name="connsiteY54085" fmla="*/ 1507055 h 5973007"/>
              <a:gd name="connsiteX54086" fmla="*/ 3656947 w 6884782"/>
              <a:gd name="connsiteY54086" fmla="*/ 1500368 h 5973007"/>
              <a:gd name="connsiteX54087" fmla="*/ 3658868 w 6884782"/>
              <a:gd name="connsiteY54087" fmla="*/ 1499656 h 5973007"/>
              <a:gd name="connsiteX54088" fmla="*/ 3664204 w 6884782"/>
              <a:gd name="connsiteY54088" fmla="*/ 1500083 h 5973007"/>
              <a:gd name="connsiteX54089" fmla="*/ 3668899 w 6884782"/>
              <a:gd name="connsiteY54089" fmla="*/ 1500083 h 5973007"/>
              <a:gd name="connsiteX54090" fmla="*/ 3669325 w 6884782"/>
              <a:gd name="connsiteY54090" fmla="*/ 1496100 h 5973007"/>
              <a:gd name="connsiteX54091" fmla="*/ 3682771 w 6884782"/>
              <a:gd name="connsiteY54091" fmla="*/ 1474332 h 5973007"/>
              <a:gd name="connsiteX54092" fmla="*/ 5764894 w 6884782"/>
              <a:gd name="connsiteY54092" fmla="*/ 1473336 h 5973007"/>
              <a:gd name="connsiteX54093" fmla="*/ 5754010 w 6884782"/>
              <a:gd name="connsiteY54093" fmla="*/ 1504351 h 5973007"/>
              <a:gd name="connsiteX54094" fmla="*/ 5764894 w 6884782"/>
              <a:gd name="connsiteY54094" fmla="*/ 1473336 h 5973007"/>
              <a:gd name="connsiteX54095" fmla="*/ 4061805 w 6884782"/>
              <a:gd name="connsiteY54095" fmla="*/ 1472910 h 5973007"/>
              <a:gd name="connsiteX54096" fmla="*/ 4066500 w 6884782"/>
              <a:gd name="connsiteY54096" fmla="*/ 1473621 h 5973007"/>
              <a:gd name="connsiteX54097" fmla="*/ 4069488 w 6884782"/>
              <a:gd name="connsiteY54097" fmla="*/ 1481872 h 5973007"/>
              <a:gd name="connsiteX54098" fmla="*/ 4074823 w 6884782"/>
              <a:gd name="connsiteY54098" fmla="*/ 1482869 h 5973007"/>
              <a:gd name="connsiteX54099" fmla="*/ 4080799 w 6884782"/>
              <a:gd name="connsiteY54099" fmla="*/ 1489698 h 5973007"/>
              <a:gd name="connsiteX54100" fmla="*/ 4071409 w 6884782"/>
              <a:gd name="connsiteY54100" fmla="*/ 1489840 h 5973007"/>
              <a:gd name="connsiteX54101" fmla="*/ 4070128 w 6884782"/>
              <a:gd name="connsiteY54101" fmla="*/ 1489982 h 5973007"/>
              <a:gd name="connsiteX54102" fmla="*/ 4069274 w 6884782"/>
              <a:gd name="connsiteY54102" fmla="*/ 1491547 h 5973007"/>
              <a:gd name="connsiteX54103" fmla="*/ 4060738 w 6884782"/>
              <a:gd name="connsiteY54103" fmla="*/ 1495104 h 5973007"/>
              <a:gd name="connsiteX54104" fmla="*/ 4059670 w 6884782"/>
              <a:gd name="connsiteY54104" fmla="*/ 1491263 h 5973007"/>
              <a:gd name="connsiteX54105" fmla="*/ 4053908 w 6884782"/>
              <a:gd name="connsiteY54105" fmla="*/ 1491547 h 5973007"/>
              <a:gd name="connsiteX54106" fmla="*/ 4043877 w 6884782"/>
              <a:gd name="connsiteY54106" fmla="*/ 1489982 h 5973007"/>
              <a:gd name="connsiteX54107" fmla="*/ 4044304 w 6884782"/>
              <a:gd name="connsiteY54107" fmla="*/ 1489698 h 5973007"/>
              <a:gd name="connsiteX54108" fmla="*/ 4043237 w 6884782"/>
              <a:gd name="connsiteY54108" fmla="*/ 1489271 h 5973007"/>
              <a:gd name="connsiteX54109" fmla="*/ 4043877 w 6884782"/>
              <a:gd name="connsiteY54109" fmla="*/ 1485571 h 5973007"/>
              <a:gd name="connsiteX54110" fmla="*/ 4048359 w 6884782"/>
              <a:gd name="connsiteY54110" fmla="*/ 1486425 h 5973007"/>
              <a:gd name="connsiteX54111" fmla="*/ 4051774 w 6884782"/>
              <a:gd name="connsiteY54111" fmla="*/ 1483580 h 5973007"/>
              <a:gd name="connsiteX54112" fmla="*/ 4055615 w 6884782"/>
              <a:gd name="connsiteY54112" fmla="*/ 1482869 h 5973007"/>
              <a:gd name="connsiteX54113" fmla="*/ 4054548 w 6884782"/>
              <a:gd name="connsiteY54113" fmla="*/ 1481304 h 5973007"/>
              <a:gd name="connsiteX54114" fmla="*/ 4055615 w 6884782"/>
              <a:gd name="connsiteY54114" fmla="*/ 1473336 h 5973007"/>
              <a:gd name="connsiteX54115" fmla="*/ 4061805 w 6884782"/>
              <a:gd name="connsiteY54115" fmla="*/ 1472910 h 5973007"/>
              <a:gd name="connsiteX54116" fmla="*/ 1274182 w 6884782"/>
              <a:gd name="connsiteY54116" fmla="*/ 1472312 h 5973007"/>
              <a:gd name="connsiteX54117" fmla="*/ 1276557 w 6884782"/>
              <a:gd name="connsiteY54117" fmla="*/ 1472622 h 5973007"/>
              <a:gd name="connsiteX54118" fmla="*/ 1279138 w 6884782"/>
              <a:gd name="connsiteY54118" fmla="*/ 1476649 h 5973007"/>
              <a:gd name="connsiteX54119" fmla="*/ 1276247 w 6884782"/>
              <a:gd name="connsiteY54119" fmla="*/ 1479747 h 5973007"/>
              <a:gd name="connsiteX54120" fmla="*/ 1274079 w 6884782"/>
              <a:gd name="connsiteY54120" fmla="*/ 1480521 h 5973007"/>
              <a:gd name="connsiteX54121" fmla="*/ 1275008 w 6884782"/>
              <a:gd name="connsiteY54121" fmla="*/ 1481296 h 5973007"/>
              <a:gd name="connsiteX54122" fmla="*/ 1274698 w 6884782"/>
              <a:gd name="connsiteY54122" fmla="*/ 1485633 h 5973007"/>
              <a:gd name="connsiteX54123" fmla="*/ 1270568 w 6884782"/>
              <a:gd name="connsiteY54123" fmla="*/ 1479902 h 5973007"/>
              <a:gd name="connsiteX54124" fmla="*/ 1270981 w 6884782"/>
              <a:gd name="connsiteY54124" fmla="*/ 1479902 h 5973007"/>
              <a:gd name="connsiteX54125" fmla="*/ 1270155 w 6884782"/>
              <a:gd name="connsiteY54125" fmla="*/ 1479282 h 5973007"/>
              <a:gd name="connsiteX54126" fmla="*/ 1270052 w 6884782"/>
              <a:gd name="connsiteY54126" fmla="*/ 1475874 h 5973007"/>
              <a:gd name="connsiteX54127" fmla="*/ 1271291 w 6884782"/>
              <a:gd name="connsiteY54127" fmla="*/ 1473551 h 5973007"/>
              <a:gd name="connsiteX54128" fmla="*/ 1274182 w 6884782"/>
              <a:gd name="connsiteY54128" fmla="*/ 1472312 h 5973007"/>
              <a:gd name="connsiteX54129" fmla="*/ 4860848 w 6884782"/>
              <a:gd name="connsiteY54129" fmla="*/ 1472198 h 5973007"/>
              <a:gd name="connsiteX54130" fmla="*/ 4869385 w 6884782"/>
              <a:gd name="connsiteY54130" fmla="*/ 1479881 h 5973007"/>
              <a:gd name="connsiteX54131" fmla="*/ 4854232 w 6884782"/>
              <a:gd name="connsiteY54131" fmla="*/ 1478743 h 5973007"/>
              <a:gd name="connsiteX54132" fmla="*/ 4860848 w 6884782"/>
              <a:gd name="connsiteY54132" fmla="*/ 1472198 h 5973007"/>
              <a:gd name="connsiteX54133" fmla="*/ 1827429 w 6884782"/>
              <a:gd name="connsiteY54133" fmla="*/ 1472002 h 5973007"/>
              <a:gd name="connsiteX54134" fmla="*/ 1833521 w 6884782"/>
              <a:gd name="connsiteY54134" fmla="*/ 1486562 h 5973007"/>
              <a:gd name="connsiteX54135" fmla="*/ 1830010 w 6884782"/>
              <a:gd name="connsiteY54135" fmla="*/ 1486407 h 5973007"/>
              <a:gd name="connsiteX54136" fmla="*/ 1830217 w 6884782"/>
              <a:gd name="connsiteY54136" fmla="*/ 1484858 h 5973007"/>
              <a:gd name="connsiteX54137" fmla="*/ 1827429 w 6884782"/>
              <a:gd name="connsiteY54137" fmla="*/ 1478973 h 5973007"/>
              <a:gd name="connsiteX54138" fmla="*/ 1827429 w 6884782"/>
              <a:gd name="connsiteY54138" fmla="*/ 1472002 h 5973007"/>
              <a:gd name="connsiteX54139" fmla="*/ 5787090 w 6884782"/>
              <a:gd name="connsiteY54139" fmla="*/ 1471630 h 5973007"/>
              <a:gd name="connsiteX54140" fmla="*/ 5790931 w 6884782"/>
              <a:gd name="connsiteY54140" fmla="*/ 1473763 h 5973007"/>
              <a:gd name="connsiteX54141" fmla="*/ 5792852 w 6884782"/>
              <a:gd name="connsiteY54141" fmla="*/ 1478316 h 5973007"/>
              <a:gd name="connsiteX54142" fmla="*/ 5783889 w 6884782"/>
              <a:gd name="connsiteY54142" fmla="*/ 1481304 h 5973007"/>
              <a:gd name="connsiteX54143" fmla="*/ 5784102 w 6884782"/>
              <a:gd name="connsiteY54143" fmla="*/ 1474048 h 5973007"/>
              <a:gd name="connsiteX54144" fmla="*/ 5787090 w 6884782"/>
              <a:gd name="connsiteY54144" fmla="*/ 1471630 h 5973007"/>
              <a:gd name="connsiteX54145" fmla="*/ 1668621 w 6884782"/>
              <a:gd name="connsiteY54145" fmla="*/ 1471383 h 5973007"/>
              <a:gd name="connsiteX54146" fmla="*/ 1673680 w 6884782"/>
              <a:gd name="connsiteY54146" fmla="*/ 1474016 h 5973007"/>
              <a:gd name="connsiteX54147" fmla="*/ 1667485 w 6884782"/>
              <a:gd name="connsiteY54147" fmla="*/ 1476804 h 5973007"/>
              <a:gd name="connsiteX54148" fmla="*/ 1668621 w 6884782"/>
              <a:gd name="connsiteY54148" fmla="*/ 1471383 h 5973007"/>
              <a:gd name="connsiteX54149" fmla="*/ 1737596 w 6884782"/>
              <a:gd name="connsiteY54149" fmla="*/ 1471228 h 5973007"/>
              <a:gd name="connsiteX54150" fmla="*/ 1745237 w 6884782"/>
              <a:gd name="connsiteY54150" fmla="*/ 1494927 h 5973007"/>
              <a:gd name="connsiteX54151" fmla="*/ 1733775 w 6884782"/>
              <a:gd name="connsiteY54151" fmla="*/ 1492294 h 5973007"/>
              <a:gd name="connsiteX54152" fmla="*/ 1731091 w 6884782"/>
              <a:gd name="connsiteY54152" fmla="*/ 1487492 h 5973007"/>
              <a:gd name="connsiteX54153" fmla="*/ 1731298 w 6884782"/>
              <a:gd name="connsiteY54153" fmla="*/ 1481761 h 5973007"/>
              <a:gd name="connsiteX54154" fmla="*/ 1730368 w 6884782"/>
              <a:gd name="connsiteY54154" fmla="*/ 1477113 h 5973007"/>
              <a:gd name="connsiteX54155" fmla="*/ 1731298 w 6884782"/>
              <a:gd name="connsiteY54155" fmla="*/ 1472467 h 5973007"/>
              <a:gd name="connsiteX54156" fmla="*/ 1737596 w 6884782"/>
              <a:gd name="connsiteY54156" fmla="*/ 1471228 h 5973007"/>
              <a:gd name="connsiteX54157" fmla="*/ 4710387 w 6884782"/>
              <a:gd name="connsiteY54157" fmla="*/ 1470776 h 5973007"/>
              <a:gd name="connsiteX54158" fmla="*/ 4715082 w 6884782"/>
              <a:gd name="connsiteY54158" fmla="*/ 1476040 h 5973007"/>
              <a:gd name="connsiteX54159" fmla="*/ 4708040 w 6884782"/>
              <a:gd name="connsiteY54159" fmla="*/ 1473621 h 5973007"/>
              <a:gd name="connsiteX54160" fmla="*/ 4710387 w 6884782"/>
              <a:gd name="connsiteY54160" fmla="*/ 1470776 h 5973007"/>
              <a:gd name="connsiteX54161" fmla="*/ 4305103 w 6884782"/>
              <a:gd name="connsiteY54161" fmla="*/ 1470633 h 5973007"/>
              <a:gd name="connsiteX54162" fmla="*/ 4302115 w 6884782"/>
              <a:gd name="connsiteY54162" fmla="*/ 1480450 h 5973007"/>
              <a:gd name="connsiteX54163" fmla="*/ 4299767 w 6884782"/>
              <a:gd name="connsiteY54163" fmla="*/ 1483296 h 5973007"/>
              <a:gd name="connsiteX54164" fmla="*/ 4300621 w 6884782"/>
              <a:gd name="connsiteY54164" fmla="*/ 1487137 h 5973007"/>
              <a:gd name="connsiteX54165" fmla="*/ 4299127 w 6884782"/>
              <a:gd name="connsiteY54165" fmla="*/ 1491547 h 5973007"/>
              <a:gd name="connsiteX54166" fmla="*/ 4297420 w 6884782"/>
              <a:gd name="connsiteY54166" fmla="*/ 1490267 h 5973007"/>
              <a:gd name="connsiteX54167" fmla="*/ 4295926 w 6884782"/>
              <a:gd name="connsiteY54167" fmla="*/ 1487848 h 5973007"/>
              <a:gd name="connsiteX54168" fmla="*/ 4294005 w 6884782"/>
              <a:gd name="connsiteY54168" fmla="*/ 1490125 h 5973007"/>
              <a:gd name="connsiteX54169" fmla="*/ 4274370 w 6884782"/>
              <a:gd name="connsiteY54169" fmla="*/ 1495104 h 5973007"/>
              <a:gd name="connsiteX54170" fmla="*/ 4288670 w 6884782"/>
              <a:gd name="connsiteY54170" fmla="*/ 1482299 h 5973007"/>
              <a:gd name="connsiteX54171" fmla="*/ 4294219 w 6884782"/>
              <a:gd name="connsiteY54171" fmla="*/ 1477177 h 5973007"/>
              <a:gd name="connsiteX54172" fmla="*/ 4292938 w 6884782"/>
              <a:gd name="connsiteY54172" fmla="*/ 1474902 h 5973007"/>
              <a:gd name="connsiteX54173" fmla="*/ 4296566 w 6884782"/>
              <a:gd name="connsiteY54173" fmla="*/ 1470918 h 5973007"/>
              <a:gd name="connsiteX54174" fmla="*/ 4300408 w 6884782"/>
              <a:gd name="connsiteY54174" fmla="*/ 1473052 h 5973007"/>
              <a:gd name="connsiteX54175" fmla="*/ 4300408 w 6884782"/>
              <a:gd name="connsiteY54175" fmla="*/ 1473336 h 5973007"/>
              <a:gd name="connsiteX54176" fmla="*/ 1263753 w 6884782"/>
              <a:gd name="connsiteY54176" fmla="*/ 1470143 h 5973007"/>
              <a:gd name="connsiteX54177" fmla="*/ 1262101 w 6884782"/>
              <a:gd name="connsiteY54177" fmla="*/ 1472931 h 5973007"/>
              <a:gd name="connsiteX54178" fmla="*/ 1261378 w 6884782"/>
              <a:gd name="connsiteY54178" fmla="*/ 1472622 h 5973007"/>
              <a:gd name="connsiteX54179" fmla="*/ 1263753 w 6884782"/>
              <a:gd name="connsiteY54179" fmla="*/ 1470143 h 5973007"/>
              <a:gd name="connsiteX54180" fmla="*/ 1294317 w 6884782"/>
              <a:gd name="connsiteY54180" fmla="*/ 1469988 h 5973007"/>
              <a:gd name="connsiteX54181" fmla="*/ 1297105 w 6884782"/>
              <a:gd name="connsiteY54181" fmla="*/ 1469988 h 5973007"/>
              <a:gd name="connsiteX54182" fmla="*/ 1300512 w 6884782"/>
              <a:gd name="connsiteY54182" fmla="*/ 1472157 h 5973007"/>
              <a:gd name="connsiteX54183" fmla="*/ 1301338 w 6884782"/>
              <a:gd name="connsiteY54183" fmla="*/ 1473706 h 5973007"/>
              <a:gd name="connsiteX54184" fmla="*/ 1299480 w 6884782"/>
              <a:gd name="connsiteY54184" fmla="*/ 1477423 h 5973007"/>
              <a:gd name="connsiteX54185" fmla="*/ 1297931 w 6884782"/>
              <a:gd name="connsiteY54185" fmla="*/ 1477888 h 5973007"/>
              <a:gd name="connsiteX54186" fmla="*/ 1295040 w 6884782"/>
              <a:gd name="connsiteY54186" fmla="*/ 1481141 h 5973007"/>
              <a:gd name="connsiteX54187" fmla="*/ 1294524 w 6884782"/>
              <a:gd name="connsiteY54187" fmla="*/ 1482845 h 5973007"/>
              <a:gd name="connsiteX54188" fmla="*/ 1293801 w 6884782"/>
              <a:gd name="connsiteY54188" fmla="*/ 1482535 h 5973007"/>
              <a:gd name="connsiteX54189" fmla="*/ 1292871 w 6884782"/>
              <a:gd name="connsiteY54189" fmla="*/ 1483464 h 5973007"/>
              <a:gd name="connsiteX54190" fmla="*/ 1288535 w 6884782"/>
              <a:gd name="connsiteY54190" fmla="*/ 1485942 h 5973007"/>
              <a:gd name="connsiteX54191" fmla="*/ 1289258 w 6884782"/>
              <a:gd name="connsiteY54191" fmla="*/ 1488730 h 5973007"/>
              <a:gd name="connsiteX54192" fmla="*/ 1288328 w 6884782"/>
              <a:gd name="connsiteY54192" fmla="*/ 1490280 h 5973007"/>
              <a:gd name="connsiteX54193" fmla="*/ 1285953 w 6884782"/>
              <a:gd name="connsiteY54193" fmla="*/ 1489505 h 5973007"/>
              <a:gd name="connsiteX54194" fmla="*/ 1284507 w 6884782"/>
              <a:gd name="connsiteY54194" fmla="*/ 1487956 h 5973007"/>
              <a:gd name="connsiteX54195" fmla="*/ 1279241 w 6884782"/>
              <a:gd name="connsiteY54195" fmla="*/ 1489505 h 5973007"/>
              <a:gd name="connsiteX54196" fmla="*/ 1287193 w 6884782"/>
              <a:gd name="connsiteY54196" fmla="*/ 1479127 h 5973007"/>
              <a:gd name="connsiteX54197" fmla="*/ 1291013 w 6884782"/>
              <a:gd name="connsiteY54197" fmla="*/ 1475565 h 5973007"/>
              <a:gd name="connsiteX54198" fmla="*/ 1289774 w 6884782"/>
              <a:gd name="connsiteY54198" fmla="*/ 1473706 h 5973007"/>
              <a:gd name="connsiteX54199" fmla="*/ 1290806 w 6884782"/>
              <a:gd name="connsiteY54199" fmla="*/ 1472157 h 5973007"/>
              <a:gd name="connsiteX54200" fmla="*/ 1292355 w 6884782"/>
              <a:gd name="connsiteY54200" fmla="*/ 1470763 h 5973007"/>
              <a:gd name="connsiteX54201" fmla="*/ 1294317 w 6884782"/>
              <a:gd name="connsiteY54201" fmla="*/ 1469988 h 5973007"/>
              <a:gd name="connsiteX54202" fmla="*/ 3695149 w 6884782"/>
              <a:gd name="connsiteY54202" fmla="*/ 1469922 h 5973007"/>
              <a:gd name="connsiteX54203" fmla="*/ 3697284 w 6884782"/>
              <a:gd name="connsiteY54203" fmla="*/ 1470491 h 5973007"/>
              <a:gd name="connsiteX54204" fmla="*/ 3688320 w 6884782"/>
              <a:gd name="connsiteY54204" fmla="*/ 1476040 h 5973007"/>
              <a:gd name="connsiteX54205" fmla="*/ 3695149 w 6884782"/>
              <a:gd name="connsiteY54205" fmla="*/ 1469922 h 5973007"/>
              <a:gd name="connsiteX54206" fmla="*/ 4198820 w 6884782"/>
              <a:gd name="connsiteY54206" fmla="*/ 1469780 h 5973007"/>
              <a:gd name="connsiteX54207" fmla="*/ 4201168 w 6884782"/>
              <a:gd name="connsiteY54207" fmla="*/ 1472056 h 5973007"/>
              <a:gd name="connsiteX54208" fmla="*/ 4202021 w 6884782"/>
              <a:gd name="connsiteY54208" fmla="*/ 1475897 h 5973007"/>
              <a:gd name="connsiteX54209" fmla="*/ 4203728 w 6884782"/>
              <a:gd name="connsiteY54209" fmla="*/ 1481446 h 5973007"/>
              <a:gd name="connsiteX54210" fmla="*/ 4204796 w 6884782"/>
              <a:gd name="connsiteY54210" fmla="*/ 1501079 h 5973007"/>
              <a:gd name="connsiteX54211" fmla="*/ 4200954 w 6884782"/>
              <a:gd name="connsiteY54211" fmla="*/ 1493823 h 5973007"/>
              <a:gd name="connsiteX54212" fmla="*/ 4199460 w 6884782"/>
              <a:gd name="connsiteY54212" fmla="*/ 1486568 h 5973007"/>
              <a:gd name="connsiteX54213" fmla="*/ 4192631 w 6884782"/>
              <a:gd name="connsiteY54213" fmla="*/ 1488417 h 5973007"/>
              <a:gd name="connsiteX54214" fmla="*/ 4187509 w 6884782"/>
              <a:gd name="connsiteY54214" fmla="*/ 1484861 h 5973007"/>
              <a:gd name="connsiteX54215" fmla="*/ 4186655 w 6884782"/>
              <a:gd name="connsiteY54215" fmla="*/ 1474475 h 5973007"/>
              <a:gd name="connsiteX54216" fmla="*/ 4193271 w 6884782"/>
              <a:gd name="connsiteY54216" fmla="*/ 1473763 h 5973007"/>
              <a:gd name="connsiteX54217" fmla="*/ 4196686 w 6884782"/>
              <a:gd name="connsiteY54217" fmla="*/ 1474332 h 5973007"/>
              <a:gd name="connsiteX54218" fmla="*/ 4197326 w 6884782"/>
              <a:gd name="connsiteY54218" fmla="*/ 1472910 h 5973007"/>
              <a:gd name="connsiteX54219" fmla="*/ 4197113 w 6884782"/>
              <a:gd name="connsiteY54219" fmla="*/ 1471772 h 5973007"/>
              <a:gd name="connsiteX54220" fmla="*/ 4198820 w 6884782"/>
              <a:gd name="connsiteY54220" fmla="*/ 1469780 h 5973007"/>
              <a:gd name="connsiteX54221" fmla="*/ 1137058 w 6884782"/>
              <a:gd name="connsiteY54221" fmla="*/ 1469369 h 5973007"/>
              <a:gd name="connsiteX54222" fmla="*/ 1142117 w 6884782"/>
              <a:gd name="connsiteY54222" fmla="*/ 1469524 h 5973007"/>
              <a:gd name="connsiteX54223" fmla="*/ 1142840 w 6884782"/>
              <a:gd name="connsiteY54223" fmla="*/ 1470143 h 5973007"/>
              <a:gd name="connsiteX54224" fmla="*/ 1143460 w 6884782"/>
              <a:gd name="connsiteY54224" fmla="*/ 1469833 h 5973007"/>
              <a:gd name="connsiteX54225" fmla="*/ 1143460 w 6884782"/>
              <a:gd name="connsiteY54225" fmla="*/ 1469678 h 5973007"/>
              <a:gd name="connsiteX54226" fmla="*/ 1145318 w 6884782"/>
              <a:gd name="connsiteY54226" fmla="*/ 1469833 h 5973007"/>
              <a:gd name="connsiteX54227" fmla="*/ 1146867 w 6884782"/>
              <a:gd name="connsiteY54227" fmla="*/ 1470918 h 5973007"/>
              <a:gd name="connsiteX54228" fmla="*/ 1146351 w 6884782"/>
              <a:gd name="connsiteY54228" fmla="*/ 1472002 h 5973007"/>
              <a:gd name="connsiteX54229" fmla="*/ 1145318 w 6884782"/>
              <a:gd name="connsiteY54229" fmla="*/ 1472622 h 5973007"/>
              <a:gd name="connsiteX54230" fmla="*/ 1146454 w 6884782"/>
              <a:gd name="connsiteY54230" fmla="*/ 1473706 h 5973007"/>
              <a:gd name="connsiteX54231" fmla="*/ 1142221 w 6884782"/>
              <a:gd name="connsiteY54231" fmla="*/ 1480057 h 5973007"/>
              <a:gd name="connsiteX54232" fmla="*/ 1135509 w 6884782"/>
              <a:gd name="connsiteY54232" fmla="*/ 1477888 h 5973007"/>
              <a:gd name="connsiteX54233" fmla="*/ 1134063 w 6884782"/>
              <a:gd name="connsiteY54233" fmla="*/ 1474945 h 5973007"/>
              <a:gd name="connsiteX54234" fmla="*/ 1134063 w 6884782"/>
              <a:gd name="connsiteY54234" fmla="*/ 1472467 h 5973007"/>
              <a:gd name="connsiteX54235" fmla="*/ 1137058 w 6884782"/>
              <a:gd name="connsiteY54235" fmla="*/ 1469369 h 5973007"/>
              <a:gd name="connsiteX54236" fmla="*/ 4005248 w 6884782"/>
              <a:gd name="connsiteY54236" fmla="*/ 1469353 h 5973007"/>
              <a:gd name="connsiteX54237" fmla="*/ 4009517 w 6884782"/>
              <a:gd name="connsiteY54237" fmla="*/ 1472056 h 5973007"/>
              <a:gd name="connsiteX54238" fmla="*/ 4009090 w 6884782"/>
              <a:gd name="connsiteY54238" fmla="*/ 1474759 h 5973007"/>
              <a:gd name="connsiteX54239" fmla="*/ 4008023 w 6884782"/>
              <a:gd name="connsiteY54239" fmla="*/ 1477605 h 5973007"/>
              <a:gd name="connsiteX54240" fmla="*/ 4002901 w 6884782"/>
              <a:gd name="connsiteY54240" fmla="*/ 1482299 h 5973007"/>
              <a:gd name="connsiteX54241" fmla="*/ 3997779 w 6884782"/>
              <a:gd name="connsiteY54241" fmla="*/ 1481872 h 5973007"/>
              <a:gd name="connsiteX54242" fmla="*/ 3995858 w 6884782"/>
              <a:gd name="connsiteY54242" fmla="*/ 1480734 h 5973007"/>
              <a:gd name="connsiteX54243" fmla="*/ 3999913 w 6884782"/>
              <a:gd name="connsiteY54243" fmla="*/ 1470207 h 5973007"/>
              <a:gd name="connsiteX54244" fmla="*/ 4005248 w 6884782"/>
              <a:gd name="connsiteY54244" fmla="*/ 1469353 h 5973007"/>
              <a:gd name="connsiteX54245" fmla="*/ 3592068 w 6884782"/>
              <a:gd name="connsiteY54245" fmla="*/ 1469353 h 5973007"/>
              <a:gd name="connsiteX54246" fmla="*/ 3595909 w 6884782"/>
              <a:gd name="connsiteY54246" fmla="*/ 1480166 h 5973007"/>
              <a:gd name="connsiteX54247" fmla="*/ 3594842 w 6884782"/>
              <a:gd name="connsiteY54247" fmla="*/ 1481446 h 5973007"/>
              <a:gd name="connsiteX54248" fmla="*/ 3582464 w 6884782"/>
              <a:gd name="connsiteY54248" fmla="*/ 1486852 h 5973007"/>
              <a:gd name="connsiteX54249" fmla="*/ 3582037 w 6884782"/>
              <a:gd name="connsiteY54249" fmla="*/ 1476040 h 5973007"/>
              <a:gd name="connsiteX54250" fmla="*/ 3592068 w 6884782"/>
              <a:gd name="connsiteY54250" fmla="*/ 1469353 h 5973007"/>
              <a:gd name="connsiteX54251" fmla="*/ 5481686 w 6884782"/>
              <a:gd name="connsiteY54251" fmla="*/ 1469068 h 5973007"/>
              <a:gd name="connsiteX54252" fmla="*/ 5489369 w 6884782"/>
              <a:gd name="connsiteY54252" fmla="*/ 1473336 h 5973007"/>
              <a:gd name="connsiteX54253" fmla="*/ 5478698 w 6884782"/>
              <a:gd name="connsiteY54253" fmla="*/ 1482869 h 5973007"/>
              <a:gd name="connsiteX54254" fmla="*/ 5481686 w 6884782"/>
              <a:gd name="connsiteY54254" fmla="*/ 1469068 h 5973007"/>
              <a:gd name="connsiteX54255" fmla="*/ 1232570 w 6884782"/>
              <a:gd name="connsiteY54255" fmla="*/ 1469059 h 5973007"/>
              <a:gd name="connsiteX54256" fmla="*/ 1226684 w 6884782"/>
              <a:gd name="connsiteY54256" fmla="*/ 1479592 h 5973007"/>
              <a:gd name="connsiteX54257" fmla="*/ 1222554 w 6884782"/>
              <a:gd name="connsiteY54257" fmla="*/ 1484394 h 5973007"/>
              <a:gd name="connsiteX54258" fmla="*/ 1217907 w 6884782"/>
              <a:gd name="connsiteY54258" fmla="*/ 1487801 h 5973007"/>
              <a:gd name="connsiteX54259" fmla="*/ 1223173 w 6884782"/>
              <a:gd name="connsiteY54259" fmla="*/ 1489195 h 5973007"/>
              <a:gd name="connsiteX54260" fmla="*/ 1228027 w 6884782"/>
              <a:gd name="connsiteY54260" fmla="*/ 1493378 h 5973007"/>
              <a:gd name="connsiteX54261" fmla="*/ 1231537 w 6884782"/>
              <a:gd name="connsiteY54261" fmla="*/ 1491674 h 5973007"/>
              <a:gd name="connsiteX54262" fmla="*/ 1235358 w 6884782"/>
              <a:gd name="connsiteY54262" fmla="*/ 1496630 h 5973007"/>
              <a:gd name="connsiteX54263" fmla="*/ 1233705 w 6884782"/>
              <a:gd name="connsiteY54263" fmla="*/ 1501277 h 5973007"/>
              <a:gd name="connsiteX54264" fmla="*/ 1234532 w 6884782"/>
              <a:gd name="connsiteY54264" fmla="*/ 1502826 h 5973007"/>
              <a:gd name="connsiteX54265" fmla="*/ 1233705 w 6884782"/>
              <a:gd name="connsiteY54265" fmla="*/ 1509332 h 5973007"/>
              <a:gd name="connsiteX54266" fmla="*/ 1230195 w 6884782"/>
              <a:gd name="connsiteY54266" fmla="*/ 1505460 h 5973007"/>
              <a:gd name="connsiteX54267" fmla="*/ 1225342 w 6884782"/>
              <a:gd name="connsiteY54267" fmla="*/ 1509797 h 5973007"/>
              <a:gd name="connsiteX54268" fmla="*/ 1224206 w 6884782"/>
              <a:gd name="connsiteY54268" fmla="*/ 1510262 h 5973007"/>
              <a:gd name="connsiteX54269" fmla="*/ 1225652 w 6884782"/>
              <a:gd name="connsiteY54269" fmla="*/ 1511965 h 5973007"/>
              <a:gd name="connsiteX54270" fmla="*/ 1225755 w 6884782"/>
              <a:gd name="connsiteY54270" fmla="*/ 1516148 h 5973007"/>
              <a:gd name="connsiteX54271" fmla="*/ 1215636 w 6884782"/>
              <a:gd name="connsiteY54271" fmla="*/ 1519400 h 5973007"/>
              <a:gd name="connsiteX54272" fmla="*/ 1212228 w 6884782"/>
              <a:gd name="connsiteY54272" fmla="*/ 1519245 h 5973007"/>
              <a:gd name="connsiteX54273" fmla="*/ 1207788 w 6884782"/>
              <a:gd name="connsiteY54273" fmla="*/ 1524202 h 5973007"/>
              <a:gd name="connsiteX54274" fmla="*/ 1205000 w 6884782"/>
              <a:gd name="connsiteY54274" fmla="*/ 1524202 h 5973007"/>
              <a:gd name="connsiteX54275" fmla="*/ 1193745 w 6884782"/>
              <a:gd name="connsiteY54275" fmla="*/ 1506234 h 5973007"/>
              <a:gd name="connsiteX54276" fmla="*/ 1199218 w 6884782"/>
              <a:gd name="connsiteY54276" fmla="*/ 1490125 h 5973007"/>
              <a:gd name="connsiteX54277" fmla="*/ 1199941 w 6884782"/>
              <a:gd name="connsiteY54277" fmla="*/ 1489505 h 5973007"/>
              <a:gd name="connsiteX54278" fmla="*/ 1198495 w 6884782"/>
              <a:gd name="connsiteY54278" fmla="*/ 1490125 h 5973007"/>
              <a:gd name="connsiteX54279" fmla="*/ 1196843 w 6884782"/>
              <a:gd name="connsiteY54279" fmla="*/ 1489195 h 5973007"/>
              <a:gd name="connsiteX54280" fmla="*/ 1193849 w 6884782"/>
              <a:gd name="connsiteY54280" fmla="*/ 1486252 h 5973007"/>
              <a:gd name="connsiteX54281" fmla="*/ 1195397 w 6884782"/>
              <a:gd name="connsiteY54281" fmla="*/ 1483464 h 5973007"/>
              <a:gd name="connsiteX54282" fmla="*/ 1199218 w 6884782"/>
              <a:gd name="connsiteY54282" fmla="*/ 1482690 h 5973007"/>
              <a:gd name="connsiteX54283" fmla="*/ 1205413 w 6884782"/>
              <a:gd name="connsiteY54283" fmla="*/ 1485478 h 5973007"/>
              <a:gd name="connsiteX54284" fmla="*/ 1204484 w 6884782"/>
              <a:gd name="connsiteY54284" fmla="*/ 1486717 h 5973007"/>
              <a:gd name="connsiteX54285" fmla="*/ 1211712 w 6884782"/>
              <a:gd name="connsiteY54285" fmla="*/ 1491054 h 5973007"/>
              <a:gd name="connsiteX54286" fmla="*/ 1216049 w 6884782"/>
              <a:gd name="connsiteY54286" fmla="*/ 1497870 h 5973007"/>
              <a:gd name="connsiteX54287" fmla="*/ 1216875 w 6884782"/>
              <a:gd name="connsiteY54287" fmla="*/ 1502672 h 5973007"/>
              <a:gd name="connsiteX54288" fmla="*/ 1219146 w 6884782"/>
              <a:gd name="connsiteY54288" fmla="*/ 1499573 h 5973007"/>
              <a:gd name="connsiteX54289" fmla="*/ 1222554 w 6884782"/>
              <a:gd name="connsiteY54289" fmla="*/ 1496785 h 5973007"/>
              <a:gd name="connsiteX54290" fmla="*/ 1219972 w 6884782"/>
              <a:gd name="connsiteY54290" fmla="*/ 1493997 h 5973007"/>
              <a:gd name="connsiteX54291" fmla="*/ 1216772 w 6884782"/>
              <a:gd name="connsiteY54291" fmla="*/ 1488576 h 5973007"/>
              <a:gd name="connsiteX54292" fmla="*/ 1216668 w 6884782"/>
              <a:gd name="connsiteY54292" fmla="*/ 1488576 h 5973007"/>
              <a:gd name="connsiteX54293" fmla="*/ 1216668 w 6884782"/>
              <a:gd name="connsiteY54293" fmla="*/ 1488421 h 5973007"/>
              <a:gd name="connsiteX54294" fmla="*/ 1216049 w 6884782"/>
              <a:gd name="connsiteY54294" fmla="*/ 1487182 h 5973007"/>
              <a:gd name="connsiteX54295" fmla="*/ 1216772 w 6884782"/>
              <a:gd name="connsiteY54295" fmla="*/ 1487492 h 5973007"/>
              <a:gd name="connsiteX54296" fmla="*/ 1217185 w 6884782"/>
              <a:gd name="connsiteY54296" fmla="*/ 1481916 h 5973007"/>
              <a:gd name="connsiteX54297" fmla="*/ 1232570 w 6884782"/>
              <a:gd name="connsiteY54297" fmla="*/ 1469059 h 5973007"/>
              <a:gd name="connsiteX54298" fmla="*/ 5422782 w 6884782"/>
              <a:gd name="connsiteY54298" fmla="*/ 1468926 h 5973007"/>
              <a:gd name="connsiteX54299" fmla="*/ 5420435 w 6884782"/>
              <a:gd name="connsiteY54299" fmla="*/ 1479881 h 5973007"/>
              <a:gd name="connsiteX54300" fmla="*/ 5414246 w 6884782"/>
              <a:gd name="connsiteY54300" fmla="*/ 1483580 h 5973007"/>
              <a:gd name="connsiteX54301" fmla="*/ 5404215 w 6884782"/>
              <a:gd name="connsiteY54301" fmla="*/ 1480877 h 5973007"/>
              <a:gd name="connsiteX54302" fmla="*/ 5405922 w 6884782"/>
              <a:gd name="connsiteY54302" fmla="*/ 1474759 h 5973007"/>
              <a:gd name="connsiteX54303" fmla="*/ 5422782 w 6884782"/>
              <a:gd name="connsiteY54303" fmla="*/ 1468926 h 5973007"/>
              <a:gd name="connsiteX54304" fmla="*/ 1091005 w 6884782"/>
              <a:gd name="connsiteY54304" fmla="*/ 1468904 h 5973007"/>
              <a:gd name="connsiteX54305" fmla="*/ 1098543 w 6884782"/>
              <a:gd name="connsiteY54305" fmla="*/ 1471537 h 5973007"/>
              <a:gd name="connsiteX54306" fmla="*/ 1096375 w 6884782"/>
              <a:gd name="connsiteY54306" fmla="*/ 1476029 h 5973007"/>
              <a:gd name="connsiteX54307" fmla="*/ 1091005 w 6884782"/>
              <a:gd name="connsiteY54307" fmla="*/ 1468904 h 5973007"/>
              <a:gd name="connsiteX54308" fmla="*/ 4370623 w 6884782"/>
              <a:gd name="connsiteY54308" fmla="*/ 1468784 h 5973007"/>
              <a:gd name="connsiteX54309" fmla="*/ 4374678 w 6884782"/>
              <a:gd name="connsiteY54309" fmla="*/ 1471345 h 5973007"/>
              <a:gd name="connsiteX54310" fmla="*/ 4371690 w 6884782"/>
              <a:gd name="connsiteY54310" fmla="*/ 1483296 h 5973007"/>
              <a:gd name="connsiteX54311" fmla="*/ 4360165 w 6884782"/>
              <a:gd name="connsiteY54311" fmla="*/ 1477320 h 5973007"/>
              <a:gd name="connsiteX54312" fmla="*/ 4370623 w 6884782"/>
              <a:gd name="connsiteY54312" fmla="*/ 1468784 h 5973007"/>
              <a:gd name="connsiteX54313" fmla="*/ 1535975 w 6884782"/>
              <a:gd name="connsiteY54313" fmla="*/ 1468129 h 5973007"/>
              <a:gd name="connsiteX54314" fmla="*/ 1543164 w 6884782"/>
              <a:gd name="connsiteY54314" fmla="*/ 1468904 h 5973007"/>
              <a:gd name="connsiteX54315" fmla="*/ 1545023 w 6884782"/>
              <a:gd name="connsiteY54315" fmla="*/ 1473241 h 5973007"/>
              <a:gd name="connsiteX54316" fmla="*/ 1531806 w 6884782"/>
              <a:gd name="connsiteY54316" fmla="*/ 1475255 h 5973007"/>
              <a:gd name="connsiteX54317" fmla="*/ 1535975 w 6884782"/>
              <a:gd name="connsiteY54317" fmla="*/ 1468129 h 5973007"/>
              <a:gd name="connsiteX54318" fmla="*/ 1429583 w 6884782"/>
              <a:gd name="connsiteY54318" fmla="*/ 1467510 h 5973007"/>
              <a:gd name="connsiteX54319" fmla="*/ 1426072 w 6884782"/>
              <a:gd name="connsiteY54319" fmla="*/ 1472157 h 5973007"/>
              <a:gd name="connsiteX54320" fmla="*/ 1426175 w 6884782"/>
              <a:gd name="connsiteY54320" fmla="*/ 1474790 h 5973007"/>
              <a:gd name="connsiteX54321" fmla="*/ 1421942 w 6884782"/>
              <a:gd name="connsiteY54321" fmla="*/ 1477733 h 5973007"/>
              <a:gd name="connsiteX54322" fmla="*/ 1420290 w 6884782"/>
              <a:gd name="connsiteY54322" fmla="*/ 1476339 h 5973007"/>
              <a:gd name="connsiteX54323" fmla="*/ 1420290 w 6884782"/>
              <a:gd name="connsiteY54323" fmla="*/ 1473861 h 5973007"/>
              <a:gd name="connsiteX54324" fmla="*/ 1426175 w 6884782"/>
              <a:gd name="connsiteY54324" fmla="*/ 1470298 h 5973007"/>
              <a:gd name="connsiteX54325" fmla="*/ 1429583 w 6884782"/>
              <a:gd name="connsiteY54325" fmla="*/ 1467510 h 5973007"/>
              <a:gd name="connsiteX54326" fmla="*/ 1690821 w 6884782"/>
              <a:gd name="connsiteY54326" fmla="*/ 1466890 h 5973007"/>
              <a:gd name="connsiteX54327" fmla="*/ 1690614 w 6884782"/>
              <a:gd name="connsiteY54327" fmla="*/ 1468284 h 5973007"/>
              <a:gd name="connsiteX54328" fmla="*/ 1690408 w 6884782"/>
              <a:gd name="connsiteY54328" fmla="*/ 1467510 h 5973007"/>
              <a:gd name="connsiteX54329" fmla="*/ 1690821 w 6884782"/>
              <a:gd name="connsiteY54329" fmla="*/ 1466890 h 5973007"/>
              <a:gd name="connsiteX54330" fmla="*/ 4179612 w 6884782"/>
              <a:gd name="connsiteY54330" fmla="*/ 1466793 h 5973007"/>
              <a:gd name="connsiteX54331" fmla="*/ 4177478 w 6884782"/>
              <a:gd name="connsiteY54331" fmla="*/ 1473905 h 5973007"/>
              <a:gd name="connsiteX54332" fmla="*/ 4178972 w 6884782"/>
              <a:gd name="connsiteY54332" fmla="*/ 1474759 h 5973007"/>
              <a:gd name="connsiteX54333" fmla="*/ 4181319 w 6884782"/>
              <a:gd name="connsiteY54333" fmla="*/ 1478885 h 5973007"/>
              <a:gd name="connsiteX54334" fmla="*/ 4173210 w 6884782"/>
              <a:gd name="connsiteY54334" fmla="*/ 1485430 h 5973007"/>
              <a:gd name="connsiteX54335" fmla="*/ 4171289 w 6884782"/>
              <a:gd name="connsiteY54335" fmla="*/ 1482299 h 5973007"/>
              <a:gd name="connsiteX54336" fmla="*/ 4171075 w 6884782"/>
              <a:gd name="connsiteY54336" fmla="*/ 1482157 h 5973007"/>
              <a:gd name="connsiteX54337" fmla="*/ 4157630 w 6884782"/>
              <a:gd name="connsiteY54337" fmla="*/ 1489698 h 5973007"/>
              <a:gd name="connsiteX54338" fmla="*/ 4179612 w 6884782"/>
              <a:gd name="connsiteY54338" fmla="*/ 1466793 h 5973007"/>
              <a:gd name="connsiteX54339" fmla="*/ 1634236 w 6884782"/>
              <a:gd name="connsiteY54339" fmla="*/ 1466445 h 5973007"/>
              <a:gd name="connsiteX54340" fmla="*/ 1639296 w 6884782"/>
              <a:gd name="connsiteY54340" fmla="*/ 1467045 h 5973007"/>
              <a:gd name="connsiteX54341" fmla="*/ 1624427 w 6884782"/>
              <a:gd name="connsiteY54341" fmla="*/ 1484858 h 5973007"/>
              <a:gd name="connsiteX54342" fmla="*/ 1618748 w 6884782"/>
              <a:gd name="connsiteY54342" fmla="*/ 1487027 h 5973007"/>
              <a:gd name="connsiteX54343" fmla="*/ 1626182 w 6884782"/>
              <a:gd name="connsiteY54343" fmla="*/ 1488266 h 5973007"/>
              <a:gd name="connsiteX54344" fmla="*/ 1611004 w 6884782"/>
              <a:gd name="connsiteY54344" fmla="*/ 1497250 h 5973007"/>
              <a:gd name="connsiteX54345" fmla="*/ 1616476 w 6884782"/>
              <a:gd name="connsiteY54345" fmla="*/ 1504840 h 5973007"/>
              <a:gd name="connsiteX54346" fmla="*/ 1617406 w 6884782"/>
              <a:gd name="connsiteY54346" fmla="*/ 1508558 h 5973007"/>
              <a:gd name="connsiteX54347" fmla="*/ 1617922 w 6884782"/>
              <a:gd name="connsiteY54347" fmla="*/ 1508558 h 5973007"/>
              <a:gd name="connsiteX54348" fmla="*/ 1619884 w 6884782"/>
              <a:gd name="connsiteY54348" fmla="*/ 1508558 h 5973007"/>
              <a:gd name="connsiteX54349" fmla="*/ 1622568 w 6884782"/>
              <a:gd name="connsiteY54349" fmla="*/ 1511191 h 5973007"/>
              <a:gd name="connsiteX54350" fmla="*/ 1606254 w 6884782"/>
              <a:gd name="connsiteY54350" fmla="*/ 1513514 h 5973007"/>
              <a:gd name="connsiteX54351" fmla="*/ 1606047 w 6884782"/>
              <a:gd name="connsiteY54351" fmla="*/ 1511655 h 5973007"/>
              <a:gd name="connsiteX54352" fmla="*/ 1607803 w 6884782"/>
              <a:gd name="connsiteY54352" fmla="*/ 1510106 h 5973007"/>
              <a:gd name="connsiteX54353" fmla="*/ 1610074 w 6884782"/>
              <a:gd name="connsiteY54353" fmla="*/ 1509487 h 5973007"/>
              <a:gd name="connsiteX54354" fmla="*/ 1608319 w 6884782"/>
              <a:gd name="connsiteY54354" fmla="*/ 1507318 h 5973007"/>
              <a:gd name="connsiteX54355" fmla="*/ 1602846 w 6884782"/>
              <a:gd name="connsiteY54355" fmla="*/ 1498799 h 5973007"/>
              <a:gd name="connsiteX54356" fmla="*/ 1593243 w 6884782"/>
              <a:gd name="connsiteY54356" fmla="*/ 1494927 h 5973007"/>
              <a:gd name="connsiteX54357" fmla="*/ 1606461 w 6884782"/>
              <a:gd name="connsiteY54357" fmla="*/ 1488730 h 5973007"/>
              <a:gd name="connsiteX54358" fmla="*/ 1617612 w 6884782"/>
              <a:gd name="connsiteY54358" fmla="*/ 1487182 h 5973007"/>
              <a:gd name="connsiteX54359" fmla="*/ 1613585 w 6884782"/>
              <a:gd name="connsiteY54359" fmla="*/ 1487337 h 5973007"/>
              <a:gd name="connsiteX54360" fmla="*/ 1611623 w 6884782"/>
              <a:gd name="connsiteY54360" fmla="*/ 1485478 h 5973007"/>
              <a:gd name="connsiteX54361" fmla="*/ 1620503 w 6884782"/>
              <a:gd name="connsiteY54361" fmla="*/ 1469678 h 5973007"/>
              <a:gd name="connsiteX54362" fmla="*/ 1634236 w 6884782"/>
              <a:gd name="connsiteY54362" fmla="*/ 1466445 h 5973007"/>
              <a:gd name="connsiteX54363" fmla="*/ 1585499 w 6884782"/>
              <a:gd name="connsiteY54363" fmla="*/ 1465961 h 5973007"/>
              <a:gd name="connsiteX54364" fmla="*/ 1592624 w 6884782"/>
              <a:gd name="connsiteY54364" fmla="*/ 1476649 h 5973007"/>
              <a:gd name="connsiteX54365" fmla="*/ 1588081 w 6884782"/>
              <a:gd name="connsiteY54365" fmla="*/ 1478662 h 5973007"/>
              <a:gd name="connsiteX54366" fmla="*/ 1583641 w 6884782"/>
              <a:gd name="connsiteY54366" fmla="*/ 1468904 h 5973007"/>
              <a:gd name="connsiteX54367" fmla="*/ 1585499 w 6884782"/>
              <a:gd name="connsiteY54367" fmla="*/ 1465961 h 5973007"/>
              <a:gd name="connsiteX54368" fmla="*/ 5021126 w 6884782"/>
              <a:gd name="connsiteY54368" fmla="*/ 1465796 h 5973007"/>
              <a:gd name="connsiteX54369" fmla="*/ 5024328 w 6884782"/>
              <a:gd name="connsiteY54369" fmla="*/ 1466223 h 5973007"/>
              <a:gd name="connsiteX54370" fmla="*/ 5025608 w 6884782"/>
              <a:gd name="connsiteY54370" fmla="*/ 1467503 h 5973007"/>
              <a:gd name="connsiteX54371" fmla="*/ 5009388 w 6884782"/>
              <a:gd name="connsiteY54371" fmla="*/ 1469068 h 5973007"/>
              <a:gd name="connsiteX54372" fmla="*/ 5009388 w 6884782"/>
              <a:gd name="connsiteY54372" fmla="*/ 1467930 h 5973007"/>
              <a:gd name="connsiteX54373" fmla="*/ 5021126 w 6884782"/>
              <a:gd name="connsiteY54373" fmla="*/ 1465796 h 5973007"/>
              <a:gd name="connsiteX54374" fmla="*/ 1824022 w 6884782"/>
              <a:gd name="connsiteY54374" fmla="*/ 1465186 h 5973007"/>
              <a:gd name="connsiteX54375" fmla="*/ 1826293 w 6884782"/>
              <a:gd name="connsiteY54375" fmla="*/ 1468594 h 5973007"/>
              <a:gd name="connsiteX54376" fmla="*/ 1825261 w 6884782"/>
              <a:gd name="connsiteY54376" fmla="*/ 1469524 h 5973007"/>
              <a:gd name="connsiteX54377" fmla="*/ 1823505 w 6884782"/>
              <a:gd name="connsiteY54377" fmla="*/ 1466271 h 5973007"/>
              <a:gd name="connsiteX54378" fmla="*/ 1824022 w 6884782"/>
              <a:gd name="connsiteY54378" fmla="*/ 1465186 h 5973007"/>
              <a:gd name="connsiteX54379" fmla="*/ 5130398 w 6884782"/>
              <a:gd name="connsiteY54379" fmla="*/ 1465085 h 5973007"/>
              <a:gd name="connsiteX54380" fmla="*/ 5131464 w 6884782"/>
              <a:gd name="connsiteY54380" fmla="*/ 1465654 h 5973007"/>
              <a:gd name="connsiteX54381" fmla="*/ 5129757 w 6884782"/>
              <a:gd name="connsiteY54381" fmla="*/ 1472340 h 5973007"/>
              <a:gd name="connsiteX54382" fmla="*/ 5127410 w 6884782"/>
              <a:gd name="connsiteY54382" fmla="*/ 1477605 h 5973007"/>
              <a:gd name="connsiteX54383" fmla="*/ 5115458 w 6884782"/>
              <a:gd name="connsiteY54383" fmla="*/ 1491832 h 5973007"/>
              <a:gd name="connsiteX54384" fmla="*/ 5117592 w 6884782"/>
              <a:gd name="connsiteY54384" fmla="*/ 1483865 h 5973007"/>
              <a:gd name="connsiteX54385" fmla="*/ 5125489 w 6884782"/>
              <a:gd name="connsiteY54385" fmla="*/ 1467361 h 5973007"/>
              <a:gd name="connsiteX54386" fmla="*/ 5128477 w 6884782"/>
              <a:gd name="connsiteY54386" fmla="*/ 1466508 h 5973007"/>
              <a:gd name="connsiteX54387" fmla="*/ 5128903 w 6884782"/>
              <a:gd name="connsiteY54387" fmla="*/ 1465512 h 5973007"/>
              <a:gd name="connsiteX54388" fmla="*/ 5130398 w 6884782"/>
              <a:gd name="connsiteY54388" fmla="*/ 1465085 h 5973007"/>
              <a:gd name="connsiteX54389" fmla="*/ 5002132 w 6884782"/>
              <a:gd name="connsiteY54389" fmla="*/ 1465085 h 5973007"/>
              <a:gd name="connsiteX54390" fmla="*/ 5003412 w 6884782"/>
              <a:gd name="connsiteY54390" fmla="*/ 1466508 h 5973007"/>
              <a:gd name="connsiteX54391" fmla="*/ 4997650 w 6884782"/>
              <a:gd name="connsiteY54391" fmla="*/ 1468641 h 5973007"/>
              <a:gd name="connsiteX54392" fmla="*/ 5002132 w 6884782"/>
              <a:gd name="connsiteY54392" fmla="*/ 1465085 h 5973007"/>
              <a:gd name="connsiteX54393" fmla="*/ 3891069 w 6884782"/>
              <a:gd name="connsiteY54393" fmla="*/ 1465085 h 5973007"/>
              <a:gd name="connsiteX54394" fmla="*/ 3895551 w 6884782"/>
              <a:gd name="connsiteY54394" fmla="*/ 1467788 h 5973007"/>
              <a:gd name="connsiteX54395" fmla="*/ 3894057 w 6884782"/>
              <a:gd name="connsiteY54395" fmla="*/ 1480024 h 5973007"/>
              <a:gd name="connsiteX54396" fmla="*/ 3884666 w 6884782"/>
              <a:gd name="connsiteY54396" fmla="*/ 1465512 h 5973007"/>
              <a:gd name="connsiteX54397" fmla="*/ 3891069 w 6884782"/>
              <a:gd name="connsiteY54397" fmla="*/ 1465085 h 5973007"/>
              <a:gd name="connsiteX54398" fmla="*/ 4226991 w 6884782"/>
              <a:gd name="connsiteY54398" fmla="*/ 1464800 h 5973007"/>
              <a:gd name="connsiteX54399" fmla="*/ 4234888 w 6884782"/>
              <a:gd name="connsiteY54399" fmla="*/ 1469353 h 5973007"/>
              <a:gd name="connsiteX54400" fmla="*/ 4236169 w 6884782"/>
              <a:gd name="connsiteY54400" fmla="*/ 1475044 h 5973007"/>
              <a:gd name="connsiteX54401" fmla="*/ 4218241 w 6884782"/>
              <a:gd name="connsiteY54401" fmla="*/ 1468499 h 5973007"/>
              <a:gd name="connsiteX54402" fmla="*/ 4226991 w 6884782"/>
              <a:gd name="connsiteY54402" fmla="*/ 1464800 h 5973007"/>
              <a:gd name="connsiteX54403" fmla="*/ 977527 w 6884782"/>
              <a:gd name="connsiteY54403" fmla="*/ 1464722 h 5973007"/>
              <a:gd name="connsiteX54404" fmla="*/ 984549 w 6884782"/>
              <a:gd name="connsiteY54404" fmla="*/ 1465961 h 5973007"/>
              <a:gd name="connsiteX54405" fmla="*/ 983000 w 6884782"/>
              <a:gd name="connsiteY54405" fmla="*/ 1472157 h 5973007"/>
              <a:gd name="connsiteX54406" fmla="*/ 976081 w 6884782"/>
              <a:gd name="connsiteY54406" fmla="*/ 1469214 h 5973007"/>
              <a:gd name="connsiteX54407" fmla="*/ 977527 w 6884782"/>
              <a:gd name="connsiteY54407" fmla="*/ 1464722 h 5973007"/>
              <a:gd name="connsiteX54408" fmla="*/ 4459619 w 6884782"/>
              <a:gd name="connsiteY54408" fmla="*/ 1464374 h 5973007"/>
              <a:gd name="connsiteX54409" fmla="*/ 4462393 w 6884782"/>
              <a:gd name="connsiteY54409" fmla="*/ 1465085 h 5973007"/>
              <a:gd name="connsiteX54410" fmla="*/ 4459619 w 6884782"/>
              <a:gd name="connsiteY54410" fmla="*/ 1480877 h 5973007"/>
              <a:gd name="connsiteX54411" fmla="*/ 4457058 w 6884782"/>
              <a:gd name="connsiteY54411" fmla="*/ 1483153 h 5973007"/>
              <a:gd name="connsiteX54412" fmla="*/ 4455564 w 6884782"/>
              <a:gd name="connsiteY54412" fmla="*/ 1485571 h 5973007"/>
              <a:gd name="connsiteX54413" fmla="*/ 4448308 w 6884782"/>
              <a:gd name="connsiteY54413" fmla="*/ 1489128 h 5973007"/>
              <a:gd name="connsiteX54414" fmla="*/ 4449588 w 6884782"/>
              <a:gd name="connsiteY54414" fmla="*/ 1485145 h 5973007"/>
              <a:gd name="connsiteX54415" fmla="*/ 4448521 w 6884782"/>
              <a:gd name="connsiteY54415" fmla="*/ 1485145 h 5973007"/>
              <a:gd name="connsiteX54416" fmla="*/ 4448094 w 6884782"/>
              <a:gd name="connsiteY54416" fmla="*/ 1479454 h 5973007"/>
              <a:gd name="connsiteX54417" fmla="*/ 4452149 w 6884782"/>
              <a:gd name="connsiteY54417" fmla="*/ 1478032 h 5973007"/>
              <a:gd name="connsiteX54418" fmla="*/ 4453216 w 6884782"/>
              <a:gd name="connsiteY54418" fmla="*/ 1475044 h 5973007"/>
              <a:gd name="connsiteX54419" fmla="*/ 4457698 w 6884782"/>
              <a:gd name="connsiteY54419" fmla="*/ 1466223 h 5973007"/>
              <a:gd name="connsiteX54420" fmla="*/ 4459619 w 6884782"/>
              <a:gd name="connsiteY54420" fmla="*/ 1464374 h 5973007"/>
              <a:gd name="connsiteX54421" fmla="*/ 1390862 w 6884782"/>
              <a:gd name="connsiteY54421" fmla="*/ 1464102 h 5973007"/>
              <a:gd name="connsiteX54422" fmla="*/ 1390242 w 6884782"/>
              <a:gd name="connsiteY54422" fmla="*/ 1464412 h 5973007"/>
              <a:gd name="connsiteX54423" fmla="*/ 1391275 w 6884782"/>
              <a:gd name="connsiteY54423" fmla="*/ 1464722 h 5973007"/>
              <a:gd name="connsiteX54424" fmla="*/ 4001620 w 6884782"/>
              <a:gd name="connsiteY54424" fmla="*/ 1463663 h 5973007"/>
              <a:gd name="connsiteX54425" fmla="*/ 4003327 w 6884782"/>
              <a:gd name="connsiteY54425" fmla="*/ 1465085 h 5973007"/>
              <a:gd name="connsiteX54426" fmla="*/ 4002687 w 6884782"/>
              <a:gd name="connsiteY54426" fmla="*/ 1467219 h 5973007"/>
              <a:gd name="connsiteX54427" fmla="*/ 3999700 w 6884782"/>
              <a:gd name="connsiteY54427" fmla="*/ 1468641 h 5973007"/>
              <a:gd name="connsiteX54428" fmla="*/ 3999059 w 6884782"/>
              <a:gd name="connsiteY54428" fmla="*/ 1463804 h 5973007"/>
              <a:gd name="connsiteX54429" fmla="*/ 4001620 w 6884782"/>
              <a:gd name="connsiteY54429" fmla="*/ 1463663 h 5973007"/>
              <a:gd name="connsiteX54430" fmla="*/ 5439429 w 6884782"/>
              <a:gd name="connsiteY54430" fmla="*/ 1463236 h 5973007"/>
              <a:gd name="connsiteX54431" fmla="*/ 5440283 w 6884782"/>
              <a:gd name="connsiteY54431" fmla="*/ 1466935 h 5973007"/>
              <a:gd name="connsiteX54432" fmla="*/ 5434520 w 6884782"/>
              <a:gd name="connsiteY54432" fmla="*/ 1465654 h 5973007"/>
              <a:gd name="connsiteX54433" fmla="*/ 5439429 w 6884782"/>
              <a:gd name="connsiteY54433" fmla="*/ 1463236 h 5973007"/>
              <a:gd name="connsiteX54434" fmla="*/ 4242571 w 6884782"/>
              <a:gd name="connsiteY54434" fmla="*/ 1462382 h 5973007"/>
              <a:gd name="connsiteX54435" fmla="*/ 4246412 w 6884782"/>
              <a:gd name="connsiteY54435" fmla="*/ 1470349 h 5973007"/>
              <a:gd name="connsiteX54436" fmla="*/ 4244278 w 6884782"/>
              <a:gd name="connsiteY54436" fmla="*/ 1473336 h 5973007"/>
              <a:gd name="connsiteX54437" fmla="*/ 4238302 w 6884782"/>
              <a:gd name="connsiteY54437" fmla="*/ 1473621 h 5973007"/>
              <a:gd name="connsiteX54438" fmla="*/ 4239156 w 6884782"/>
              <a:gd name="connsiteY54438" fmla="*/ 1462951 h 5973007"/>
              <a:gd name="connsiteX54439" fmla="*/ 4242571 w 6884782"/>
              <a:gd name="connsiteY54439" fmla="*/ 1462382 h 5973007"/>
              <a:gd name="connsiteX54440" fmla="*/ 1709510 w 6884782"/>
              <a:gd name="connsiteY54440" fmla="*/ 1462089 h 5973007"/>
              <a:gd name="connsiteX54441" fmla="*/ 1712298 w 6884782"/>
              <a:gd name="connsiteY54441" fmla="*/ 1467355 h 5973007"/>
              <a:gd name="connsiteX54442" fmla="*/ 1714776 w 6884782"/>
              <a:gd name="connsiteY54442" fmla="*/ 1468284 h 5973007"/>
              <a:gd name="connsiteX54443" fmla="*/ 1715809 w 6884782"/>
              <a:gd name="connsiteY54443" fmla="*/ 1473396 h 5973007"/>
              <a:gd name="connsiteX54444" fmla="*/ 1711575 w 6884782"/>
              <a:gd name="connsiteY54444" fmla="*/ 1473241 h 5973007"/>
              <a:gd name="connsiteX54445" fmla="*/ 1710646 w 6884782"/>
              <a:gd name="connsiteY54445" fmla="*/ 1466426 h 5973007"/>
              <a:gd name="connsiteX54446" fmla="*/ 1709407 w 6884782"/>
              <a:gd name="connsiteY54446" fmla="*/ 1464257 h 5973007"/>
              <a:gd name="connsiteX54447" fmla="*/ 1709510 w 6884782"/>
              <a:gd name="connsiteY54447" fmla="*/ 1462089 h 5973007"/>
              <a:gd name="connsiteX54448" fmla="*/ 1741416 w 6884782"/>
              <a:gd name="connsiteY54448" fmla="*/ 1461624 h 5973007"/>
              <a:gd name="connsiteX54449" fmla="*/ 1744411 w 6884782"/>
              <a:gd name="connsiteY54449" fmla="*/ 1466271 h 5973007"/>
              <a:gd name="connsiteX54450" fmla="*/ 1726547 w 6884782"/>
              <a:gd name="connsiteY54450" fmla="*/ 1466426 h 5973007"/>
              <a:gd name="connsiteX54451" fmla="*/ 1741416 w 6884782"/>
              <a:gd name="connsiteY54451" fmla="*/ 1461624 h 5973007"/>
              <a:gd name="connsiteX54452" fmla="*/ 5201466 w 6884782"/>
              <a:gd name="connsiteY54452" fmla="*/ 1461244 h 5973007"/>
              <a:gd name="connsiteX54453" fmla="*/ 5228784 w 6884782"/>
              <a:gd name="connsiteY54453" fmla="*/ 1473336 h 5973007"/>
              <a:gd name="connsiteX54454" fmla="*/ 5193783 w 6884782"/>
              <a:gd name="connsiteY54454" fmla="*/ 1466223 h 5973007"/>
              <a:gd name="connsiteX54455" fmla="*/ 5201466 w 6884782"/>
              <a:gd name="connsiteY54455" fmla="*/ 1461244 h 5973007"/>
              <a:gd name="connsiteX54456" fmla="*/ 3827683 w 6884782"/>
              <a:gd name="connsiteY54456" fmla="*/ 1460959 h 5973007"/>
              <a:gd name="connsiteX54457" fmla="*/ 3833019 w 6884782"/>
              <a:gd name="connsiteY54457" fmla="*/ 1465227 h 5973007"/>
              <a:gd name="connsiteX54458" fmla="*/ 3836007 w 6884782"/>
              <a:gd name="connsiteY54458" fmla="*/ 1472198 h 5973007"/>
              <a:gd name="connsiteX54459" fmla="*/ 3828323 w 6884782"/>
              <a:gd name="connsiteY54459" fmla="*/ 1472767 h 5973007"/>
              <a:gd name="connsiteX54460" fmla="*/ 3822561 w 6884782"/>
              <a:gd name="connsiteY54460" fmla="*/ 1464089 h 5973007"/>
              <a:gd name="connsiteX54461" fmla="*/ 3827683 w 6884782"/>
              <a:gd name="connsiteY54461" fmla="*/ 1460959 h 5973007"/>
              <a:gd name="connsiteX54462" fmla="*/ 1043817 w 6884782"/>
              <a:gd name="connsiteY54462" fmla="*/ 1460694 h 5973007"/>
              <a:gd name="connsiteX54463" fmla="*/ 1060855 w 6884782"/>
              <a:gd name="connsiteY54463" fmla="*/ 1468439 h 5973007"/>
              <a:gd name="connsiteX54464" fmla="*/ 1043817 w 6884782"/>
              <a:gd name="connsiteY54464" fmla="*/ 1460694 h 5973007"/>
              <a:gd name="connsiteX54465" fmla="*/ 1427827 w 6884782"/>
              <a:gd name="connsiteY54465" fmla="*/ 1460539 h 5973007"/>
              <a:gd name="connsiteX54466" fmla="*/ 1430202 w 6884782"/>
              <a:gd name="connsiteY54466" fmla="*/ 1462244 h 5973007"/>
              <a:gd name="connsiteX54467" fmla="*/ 1430512 w 6884782"/>
              <a:gd name="connsiteY54467" fmla="*/ 1465651 h 5973007"/>
              <a:gd name="connsiteX54468" fmla="*/ 1423284 w 6884782"/>
              <a:gd name="connsiteY54468" fmla="*/ 1466890 h 5973007"/>
              <a:gd name="connsiteX54469" fmla="*/ 1424936 w 6884782"/>
              <a:gd name="connsiteY54469" fmla="*/ 1461934 h 5973007"/>
              <a:gd name="connsiteX54470" fmla="*/ 1427827 w 6884782"/>
              <a:gd name="connsiteY54470" fmla="*/ 1460539 h 5973007"/>
              <a:gd name="connsiteX54471" fmla="*/ 4724473 w 6884782"/>
              <a:gd name="connsiteY54471" fmla="*/ 1460532 h 5973007"/>
              <a:gd name="connsiteX54472" fmla="*/ 4727034 w 6884782"/>
              <a:gd name="connsiteY54472" fmla="*/ 1470207 h 5973007"/>
              <a:gd name="connsiteX54473" fmla="*/ 4719991 w 6884782"/>
              <a:gd name="connsiteY54473" fmla="*/ 1466223 h 5973007"/>
              <a:gd name="connsiteX54474" fmla="*/ 4724473 w 6884782"/>
              <a:gd name="connsiteY54474" fmla="*/ 1460532 h 5973007"/>
              <a:gd name="connsiteX54475" fmla="*/ 5573883 w 6884782"/>
              <a:gd name="connsiteY54475" fmla="*/ 1459537 h 5973007"/>
              <a:gd name="connsiteX54476" fmla="*/ 5577085 w 6884782"/>
              <a:gd name="connsiteY54476" fmla="*/ 1463093 h 5973007"/>
              <a:gd name="connsiteX54477" fmla="*/ 5576658 w 6884782"/>
              <a:gd name="connsiteY54477" fmla="*/ 1465085 h 5973007"/>
              <a:gd name="connsiteX54478" fmla="*/ 5576018 w 6884782"/>
              <a:gd name="connsiteY54478" fmla="*/ 1466935 h 5973007"/>
              <a:gd name="connsiteX54479" fmla="*/ 5577939 w 6884782"/>
              <a:gd name="connsiteY54479" fmla="*/ 1467930 h 5973007"/>
              <a:gd name="connsiteX54480" fmla="*/ 5583487 w 6884782"/>
              <a:gd name="connsiteY54480" fmla="*/ 1470918 h 5973007"/>
              <a:gd name="connsiteX54481" fmla="*/ 5577939 w 6884782"/>
              <a:gd name="connsiteY54481" fmla="*/ 1477035 h 5973007"/>
              <a:gd name="connsiteX54482" fmla="*/ 5574097 w 6884782"/>
              <a:gd name="connsiteY54482" fmla="*/ 1471630 h 5973007"/>
              <a:gd name="connsiteX54483" fmla="*/ 5575591 w 6884782"/>
              <a:gd name="connsiteY54483" fmla="*/ 1467077 h 5973007"/>
              <a:gd name="connsiteX54484" fmla="*/ 5574737 w 6884782"/>
              <a:gd name="connsiteY54484" fmla="*/ 1467219 h 5973007"/>
              <a:gd name="connsiteX54485" fmla="*/ 5574951 w 6884782"/>
              <a:gd name="connsiteY54485" fmla="*/ 1466366 h 5973007"/>
              <a:gd name="connsiteX54486" fmla="*/ 5570469 w 6884782"/>
              <a:gd name="connsiteY54486" fmla="*/ 1464943 h 5973007"/>
              <a:gd name="connsiteX54487" fmla="*/ 5573883 w 6884782"/>
              <a:gd name="connsiteY54487" fmla="*/ 1459537 h 5973007"/>
              <a:gd name="connsiteX54488" fmla="*/ 4289096 w 6884782"/>
              <a:gd name="connsiteY54488" fmla="*/ 1459252 h 5973007"/>
              <a:gd name="connsiteX54489" fmla="*/ 4291444 w 6884782"/>
              <a:gd name="connsiteY54489" fmla="*/ 1459537 h 5973007"/>
              <a:gd name="connsiteX54490" fmla="*/ 4292724 w 6884782"/>
              <a:gd name="connsiteY54490" fmla="*/ 1462097 h 5973007"/>
              <a:gd name="connsiteX54491" fmla="*/ 4292938 w 6884782"/>
              <a:gd name="connsiteY54491" fmla="*/ 1466935 h 5973007"/>
              <a:gd name="connsiteX54492" fmla="*/ 4290804 w 6884782"/>
              <a:gd name="connsiteY54492" fmla="*/ 1469211 h 5973007"/>
              <a:gd name="connsiteX54493" fmla="*/ 4288456 w 6884782"/>
              <a:gd name="connsiteY54493" fmla="*/ 1467930 h 5973007"/>
              <a:gd name="connsiteX54494" fmla="*/ 4286109 w 6884782"/>
              <a:gd name="connsiteY54494" fmla="*/ 1467788 h 5973007"/>
              <a:gd name="connsiteX54495" fmla="*/ 4286109 w 6884782"/>
              <a:gd name="connsiteY54495" fmla="*/ 1466650 h 5973007"/>
              <a:gd name="connsiteX54496" fmla="*/ 4284828 w 6884782"/>
              <a:gd name="connsiteY54496" fmla="*/ 1465369 h 5973007"/>
              <a:gd name="connsiteX54497" fmla="*/ 4286962 w 6884782"/>
              <a:gd name="connsiteY54497" fmla="*/ 1460532 h 5973007"/>
              <a:gd name="connsiteX54498" fmla="*/ 4289096 w 6884782"/>
              <a:gd name="connsiteY54498" fmla="*/ 1459252 h 5973007"/>
              <a:gd name="connsiteX54499" fmla="*/ 4006956 w 6884782"/>
              <a:gd name="connsiteY54499" fmla="*/ 1458967 h 5973007"/>
              <a:gd name="connsiteX54500" fmla="*/ 4011011 w 6884782"/>
              <a:gd name="connsiteY54500" fmla="*/ 1463093 h 5973007"/>
              <a:gd name="connsiteX54501" fmla="*/ 4005035 w 6884782"/>
              <a:gd name="connsiteY54501" fmla="*/ 1466508 h 5973007"/>
              <a:gd name="connsiteX54502" fmla="*/ 4006956 w 6884782"/>
              <a:gd name="connsiteY54502" fmla="*/ 1458967 h 5973007"/>
              <a:gd name="connsiteX54503" fmla="*/ 4531328 w 6884782"/>
              <a:gd name="connsiteY54503" fmla="*/ 1458682 h 5973007"/>
              <a:gd name="connsiteX54504" fmla="*/ 4539651 w 6884782"/>
              <a:gd name="connsiteY54504" fmla="*/ 1468215 h 5973007"/>
              <a:gd name="connsiteX54505" fmla="*/ 4545627 w 6884782"/>
              <a:gd name="connsiteY54505" fmla="*/ 1474759 h 5973007"/>
              <a:gd name="connsiteX54506" fmla="*/ 4545627 w 6884782"/>
              <a:gd name="connsiteY54506" fmla="*/ 1474475 h 5973007"/>
              <a:gd name="connsiteX54507" fmla="*/ 4548828 w 6884782"/>
              <a:gd name="connsiteY54507" fmla="*/ 1472910 h 5973007"/>
              <a:gd name="connsiteX54508" fmla="*/ 4549469 w 6884782"/>
              <a:gd name="connsiteY54508" fmla="*/ 1475897 h 5973007"/>
              <a:gd name="connsiteX54509" fmla="*/ 4547761 w 6884782"/>
              <a:gd name="connsiteY54509" fmla="*/ 1477605 h 5973007"/>
              <a:gd name="connsiteX54510" fmla="*/ 4548188 w 6884782"/>
              <a:gd name="connsiteY54510" fmla="*/ 1478032 h 5973007"/>
              <a:gd name="connsiteX54511" fmla="*/ 4541572 w 6884782"/>
              <a:gd name="connsiteY54511" fmla="*/ 1495104 h 5973007"/>
              <a:gd name="connsiteX54512" fmla="*/ 4540078 w 6884782"/>
              <a:gd name="connsiteY54512" fmla="*/ 1488417 h 5973007"/>
              <a:gd name="connsiteX54513" fmla="*/ 4538371 w 6884782"/>
              <a:gd name="connsiteY54513" fmla="*/ 1489698 h 5973007"/>
              <a:gd name="connsiteX54514" fmla="*/ 4535383 w 6884782"/>
              <a:gd name="connsiteY54514" fmla="*/ 1487848 h 5973007"/>
              <a:gd name="connsiteX54515" fmla="*/ 4537304 w 6884782"/>
              <a:gd name="connsiteY54515" fmla="*/ 1485145 h 5973007"/>
              <a:gd name="connsiteX54516" fmla="*/ 4538584 w 6884782"/>
              <a:gd name="connsiteY54516" fmla="*/ 1484007 h 5973007"/>
              <a:gd name="connsiteX54517" fmla="*/ 4534529 w 6884782"/>
              <a:gd name="connsiteY54517" fmla="*/ 1475613 h 5973007"/>
              <a:gd name="connsiteX54518" fmla="*/ 4531328 w 6884782"/>
              <a:gd name="connsiteY54518" fmla="*/ 1458682 h 5973007"/>
              <a:gd name="connsiteX54519" fmla="*/ 4590445 w 6884782"/>
              <a:gd name="connsiteY54519" fmla="*/ 1458399 h 5973007"/>
              <a:gd name="connsiteX54520" fmla="*/ 4597702 w 6884782"/>
              <a:gd name="connsiteY54520" fmla="*/ 1458682 h 5973007"/>
              <a:gd name="connsiteX54521" fmla="*/ 4600476 w 6884782"/>
              <a:gd name="connsiteY54521" fmla="*/ 1464374 h 5973007"/>
              <a:gd name="connsiteX54522" fmla="*/ 4598982 w 6884782"/>
              <a:gd name="connsiteY54522" fmla="*/ 1471345 h 5973007"/>
              <a:gd name="connsiteX54523" fmla="*/ 4590445 w 6884782"/>
              <a:gd name="connsiteY54523" fmla="*/ 1458399 h 5973007"/>
              <a:gd name="connsiteX54524" fmla="*/ 1141291 w 6884782"/>
              <a:gd name="connsiteY54524" fmla="*/ 1457751 h 5973007"/>
              <a:gd name="connsiteX54525" fmla="*/ 1143976 w 6884782"/>
              <a:gd name="connsiteY54525" fmla="*/ 1457751 h 5973007"/>
              <a:gd name="connsiteX54526" fmla="*/ 1143872 w 6884782"/>
              <a:gd name="connsiteY54526" fmla="*/ 1462398 h 5973007"/>
              <a:gd name="connsiteX54527" fmla="*/ 1140052 w 6884782"/>
              <a:gd name="connsiteY54527" fmla="*/ 1461005 h 5973007"/>
              <a:gd name="connsiteX54528" fmla="*/ 1141291 w 6884782"/>
              <a:gd name="connsiteY54528" fmla="*/ 1457751 h 5973007"/>
              <a:gd name="connsiteX54529" fmla="*/ 4028085 w 6884782"/>
              <a:gd name="connsiteY54529" fmla="*/ 1456976 h 5973007"/>
              <a:gd name="connsiteX54530" fmla="*/ 4030859 w 6884782"/>
              <a:gd name="connsiteY54530" fmla="*/ 1458825 h 5973007"/>
              <a:gd name="connsiteX54531" fmla="*/ 4030645 w 6884782"/>
              <a:gd name="connsiteY54531" fmla="*/ 1464516 h 5973007"/>
              <a:gd name="connsiteX54532" fmla="*/ 4020188 w 6884782"/>
              <a:gd name="connsiteY54532" fmla="*/ 1463378 h 5973007"/>
              <a:gd name="connsiteX54533" fmla="*/ 4028085 w 6884782"/>
              <a:gd name="connsiteY54533" fmla="*/ 1456976 h 5973007"/>
              <a:gd name="connsiteX54534" fmla="*/ 1746063 w 6884782"/>
              <a:gd name="connsiteY54534" fmla="*/ 1456358 h 5973007"/>
              <a:gd name="connsiteX54535" fmla="*/ 1757937 w 6884782"/>
              <a:gd name="connsiteY54535" fmla="*/ 1456977 h 5973007"/>
              <a:gd name="connsiteX54536" fmla="*/ 1769502 w 6884782"/>
              <a:gd name="connsiteY54536" fmla="*/ 1461934 h 5973007"/>
              <a:gd name="connsiteX54537" fmla="*/ 1746063 w 6884782"/>
              <a:gd name="connsiteY54537" fmla="*/ 1456358 h 5973007"/>
              <a:gd name="connsiteX54538" fmla="*/ 1190338 w 6884782"/>
              <a:gd name="connsiteY54538" fmla="*/ 1456358 h 5973007"/>
              <a:gd name="connsiteX54539" fmla="*/ 1188376 w 6884782"/>
              <a:gd name="connsiteY54539" fmla="*/ 1461624 h 5973007"/>
              <a:gd name="connsiteX54540" fmla="*/ 1182181 w 6884782"/>
              <a:gd name="connsiteY54540" fmla="*/ 1462398 h 5973007"/>
              <a:gd name="connsiteX54541" fmla="*/ 1182697 w 6884782"/>
              <a:gd name="connsiteY54541" fmla="*/ 1465806 h 5973007"/>
              <a:gd name="connsiteX54542" fmla="*/ 1174953 w 6884782"/>
              <a:gd name="connsiteY54542" fmla="*/ 1469059 h 5973007"/>
              <a:gd name="connsiteX54543" fmla="*/ 1170823 w 6884782"/>
              <a:gd name="connsiteY54543" fmla="*/ 1464257 h 5973007"/>
              <a:gd name="connsiteX54544" fmla="*/ 1177844 w 6884782"/>
              <a:gd name="connsiteY54544" fmla="*/ 1457751 h 5973007"/>
              <a:gd name="connsiteX54545" fmla="*/ 1181664 w 6884782"/>
              <a:gd name="connsiteY54545" fmla="*/ 1460075 h 5973007"/>
              <a:gd name="connsiteX54546" fmla="*/ 1181768 w 6884782"/>
              <a:gd name="connsiteY54546" fmla="*/ 1459145 h 5973007"/>
              <a:gd name="connsiteX54547" fmla="*/ 1183833 w 6884782"/>
              <a:gd name="connsiteY54547" fmla="*/ 1457597 h 5973007"/>
              <a:gd name="connsiteX54548" fmla="*/ 1190338 w 6884782"/>
              <a:gd name="connsiteY54548" fmla="*/ 1456358 h 5973007"/>
              <a:gd name="connsiteX54549" fmla="*/ 4183240 w 6884782"/>
              <a:gd name="connsiteY54549" fmla="*/ 1455980 h 5973007"/>
              <a:gd name="connsiteX54550" fmla="*/ 4198180 w 6884782"/>
              <a:gd name="connsiteY54550" fmla="*/ 1460674 h 5973007"/>
              <a:gd name="connsiteX54551" fmla="*/ 4188576 w 6884782"/>
              <a:gd name="connsiteY54551" fmla="*/ 1472198 h 5973007"/>
              <a:gd name="connsiteX54552" fmla="*/ 4183240 w 6884782"/>
              <a:gd name="connsiteY54552" fmla="*/ 1455980 h 5973007"/>
              <a:gd name="connsiteX54553" fmla="*/ 1721385 w 6884782"/>
              <a:gd name="connsiteY54553" fmla="*/ 1455738 h 5973007"/>
              <a:gd name="connsiteX54554" fmla="*/ 1731710 w 6884782"/>
              <a:gd name="connsiteY54554" fmla="*/ 1457751 h 5973007"/>
              <a:gd name="connsiteX54555" fmla="*/ 1732536 w 6884782"/>
              <a:gd name="connsiteY54555" fmla="*/ 1459145 h 5973007"/>
              <a:gd name="connsiteX54556" fmla="*/ 1731298 w 6884782"/>
              <a:gd name="connsiteY54556" fmla="*/ 1461005 h 5973007"/>
              <a:gd name="connsiteX54557" fmla="*/ 1726961 w 6884782"/>
              <a:gd name="connsiteY54557" fmla="*/ 1460849 h 5973007"/>
              <a:gd name="connsiteX54558" fmla="*/ 1723863 w 6884782"/>
              <a:gd name="connsiteY54558" fmla="*/ 1457441 h 5973007"/>
              <a:gd name="connsiteX54559" fmla="*/ 1721281 w 6884782"/>
              <a:gd name="connsiteY54559" fmla="*/ 1456667 h 5973007"/>
              <a:gd name="connsiteX54560" fmla="*/ 1721385 w 6884782"/>
              <a:gd name="connsiteY54560" fmla="*/ 1455738 h 5973007"/>
              <a:gd name="connsiteX54561" fmla="*/ 1009226 w 6884782"/>
              <a:gd name="connsiteY54561" fmla="*/ 1455738 h 5973007"/>
              <a:gd name="connsiteX54562" fmla="*/ 1008710 w 6884782"/>
              <a:gd name="connsiteY54562" fmla="*/ 1466426 h 5973007"/>
              <a:gd name="connsiteX54563" fmla="*/ 1002721 w 6884782"/>
              <a:gd name="connsiteY54563" fmla="*/ 1461779 h 5973007"/>
              <a:gd name="connsiteX54564" fmla="*/ 1003237 w 6884782"/>
              <a:gd name="connsiteY54564" fmla="*/ 1458371 h 5973007"/>
              <a:gd name="connsiteX54565" fmla="*/ 1009226 w 6884782"/>
              <a:gd name="connsiteY54565" fmla="*/ 1455738 h 5973007"/>
              <a:gd name="connsiteX54566" fmla="*/ 1219766 w 6884782"/>
              <a:gd name="connsiteY54566" fmla="*/ 1454034 h 5973007"/>
              <a:gd name="connsiteX54567" fmla="*/ 1216152 w 6884782"/>
              <a:gd name="connsiteY54567" fmla="*/ 1458216 h 5973007"/>
              <a:gd name="connsiteX54568" fmla="*/ 1219766 w 6884782"/>
              <a:gd name="connsiteY54568" fmla="*/ 1454034 h 5973007"/>
              <a:gd name="connsiteX54569" fmla="*/ 3933753 w 6884782"/>
              <a:gd name="connsiteY54569" fmla="*/ 1453988 h 5973007"/>
              <a:gd name="connsiteX54570" fmla="*/ 3934820 w 6884782"/>
              <a:gd name="connsiteY54570" fmla="*/ 1456264 h 5973007"/>
              <a:gd name="connsiteX54571" fmla="*/ 3936741 w 6884782"/>
              <a:gd name="connsiteY54571" fmla="*/ 1463663 h 5973007"/>
              <a:gd name="connsiteX54572" fmla="*/ 3933326 w 6884782"/>
              <a:gd name="connsiteY54572" fmla="*/ 1462951 h 5973007"/>
              <a:gd name="connsiteX54573" fmla="*/ 3932899 w 6884782"/>
              <a:gd name="connsiteY54573" fmla="*/ 1459537 h 5973007"/>
              <a:gd name="connsiteX54574" fmla="*/ 3931618 w 6884782"/>
              <a:gd name="connsiteY54574" fmla="*/ 1457260 h 5973007"/>
              <a:gd name="connsiteX54575" fmla="*/ 3933753 w 6884782"/>
              <a:gd name="connsiteY54575" fmla="*/ 1453988 h 5973007"/>
              <a:gd name="connsiteX54576" fmla="*/ 4661514 w 6884782"/>
              <a:gd name="connsiteY54576" fmla="*/ 1453845 h 5973007"/>
              <a:gd name="connsiteX54577" fmla="*/ 4666636 w 6884782"/>
              <a:gd name="connsiteY54577" fmla="*/ 1459821 h 5973007"/>
              <a:gd name="connsiteX54578" fmla="*/ 4659593 w 6884782"/>
              <a:gd name="connsiteY54578" fmla="*/ 1469780 h 5973007"/>
              <a:gd name="connsiteX54579" fmla="*/ 4661514 w 6884782"/>
              <a:gd name="connsiteY54579" fmla="*/ 1453845 h 5973007"/>
              <a:gd name="connsiteX54580" fmla="*/ 3907502 w 6884782"/>
              <a:gd name="connsiteY54580" fmla="*/ 1453704 h 5973007"/>
              <a:gd name="connsiteX54581" fmla="*/ 3909637 w 6884782"/>
              <a:gd name="connsiteY54581" fmla="*/ 1464516 h 5973007"/>
              <a:gd name="connsiteX54582" fmla="*/ 3907929 w 6884782"/>
              <a:gd name="connsiteY54582" fmla="*/ 1466935 h 5973007"/>
              <a:gd name="connsiteX54583" fmla="*/ 3905154 w 6884782"/>
              <a:gd name="connsiteY54583" fmla="*/ 1465085 h 5973007"/>
              <a:gd name="connsiteX54584" fmla="*/ 3907502 w 6884782"/>
              <a:gd name="connsiteY54584" fmla="*/ 1453704 h 5973007"/>
              <a:gd name="connsiteX54585" fmla="*/ 1227097 w 6884782"/>
              <a:gd name="connsiteY54585" fmla="*/ 1453415 h 5973007"/>
              <a:gd name="connsiteX54586" fmla="*/ 1230298 w 6884782"/>
              <a:gd name="connsiteY54586" fmla="*/ 1453569 h 5973007"/>
              <a:gd name="connsiteX54587" fmla="*/ 1232879 w 6884782"/>
              <a:gd name="connsiteY54587" fmla="*/ 1456203 h 5973007"/>
              <a:gd name="connsiteX54588" fmla="*/ 1227717 w 6884782"/>
              <a:gd name="connsiteY54588" fmla="*/ 1460694 h 5973007"/>
              <a:gd name="connsiteX54589" fmla="*/ 1225755 w 6884782"/>
              <a:gd name="connsiteY54589" fmla="*/ 1455893 h 5973007"/>
              <a:gd name="connsiteX54590" fmla="*/ 1227097 w 6884782"/>
              <a:gd name="connsiteY54590" fmla="*/ 1453415 h 5973007"/>
              <a:gd name="connsiteX54591" fmla="*/ 5025821 w 6884782"/>
              <a:gd name="connsiteY54591" fmla="*/ 1453135 h 5973007"/>
              <a:gd name="connsiteX54592" fmla="*/ 5026035 w 6884782"/>
              <a:gd name="connsiteY54592" fmla="*/ 1458114 h 5973007"/>
              <a:gd name="connsiteX54593" fmla="*/ 5023688 w 6884782"/>
              <a:gd name="connsiteY54593" fmla="*/ 1457972 h 5973007"/>
              <a:gd name="connsiteX54594" fmla="*/ 5006614 w 6884782"/>
              <a:gd name="connsiteY54594" fmla="*/ 1463236 h 5973007"/>
              <a:gd name="connsiteX54595" fmla="*/ 5025821 w 6884782"/>
              <a:gd name="connsiteY54595" fmla="*/ 1453135 h 5973007"/>
              <a:gd name="connsiteX54596" fmla="*/ 4613068 w 6884782"/>
              <a:gd name="connsiteY54596" fmla="*/ 1452423 h 5973007"/>
              <a:gd name="connsiteX54597" fmla="*/ 4618403 w 6884782"/>
              <a:gd name="connsiteY54597" fmla="*/ 1464089 h 5973007"/>
              <a:gd name="connsiteX54598" fmla="*/ 4609653 w 6884782"/>
              <a:gd name="connsiteY54598" fmla="*/ 1452708 h 5973007"/>
              <a:gd name="connsiteX54599" fmla="*/ 4613068 w 6884782"/>
              <a:gd name="connsiteY54599" fmla="*/ 1452423 h 5973007"/>
              <a:gd name="connsiteX54600" fmla="*/ 4469650 w 6884782"/>
              <a:gd name="connsiteY54600" fmla="*/ 1452281 h 5973007"/>
              <a:gd name="connsiteX54601" fmla="*/ 4476479 w 6884782"/>
              <a:gd name="connsiteY54601" fmla="*/ 1485003 h 5973007"/>
              <a:gd name="connsiteX54602" fmla="*/ 4469650 w 6884782"/>
              <a:gd name="connsiteY54602" fmla="*/ 1452281 h 5973007"/>
              <a:gd name="connsiteX54603" fmla="*/ 1416882 w 6884782"/>
              <a:gd name="connsiteY54603" fmla="*/ 1452175 h 5973007"/>
              <a:gd name="connsiteX54604" fmla="*/ 1417811 w 6884782"/>
              <a:gd name="connsiteY54604" fmla="*/ 1452175 h 5973007"/>
              <a:gd name="connsiteX54605" fmla="*/ 1416263 w 6884782"/>
              <a:gd name="connsiteY54605" fmla="*/ 1452640 h 5973007"/>
              <a:gd name="connsiteX54606" fmla="*/ 1416882 w 6884782"/>
              <a:gd name="connsiteY54606" fmla="*/ 1452175 h 5973007"/>
              <a:gd name="connsiteX54607" fmla="*/ 5102013 w 6884782"/>
              <a:gd name="connsiteY54607" fmla="*/ 1452138 h 5973007"/>
              <a:gd name="connsiteX54608" fmla="*/ 5103293 w 6884782"/>
              <a:gd name="connsiteY54608" fmla="*/ 1453561 h 5973007"/>
              <a:gd name="connsiteX54609" fmla="*/ 5104147 w 6884782"/>
              <a:gd name="connsiteY54609" fmla="*/ 1456264 h 5973007"/>
              <a:gd name="connsiteX54610" fmla="*/ 5098598 w 6884782"/>
              <a:gd name="connsiteY54610" fmla="*/ 1458399 h 5973007"/>
              <a:gd name="connsiteX54611" fmla="*/ 5096037 w 6884782"/>
              <a:gd name="connsiteY54611" fmla="*/ 1455980 h 5973007"/>
              <a:gd name="connsiteX54612" fmla="*/ 5098598 w 6884782"/>
              <a:gd name="connsiteY54612" fmla="*/ 1452992 h 5973007"/>
              <a:gd name="connsiteX54613" fmla="*/ 5102013 w 6884782"/>
              <a:gd name="connsiteY54613" fmla="*/ 1452138 h 5973007"/>
              <a:gd name="connsiteX54614" fmla="*/ 5136373 w 6884782"/>
              <a:gd name="connsiteY54614" fmla="*/ 1451285 h 5973007"/>
              <a:gd name="connsiteX54615" fmla="*/ 5143843 w 6884782"/>
              <a:gd name="connsiteY54615" fmla="*/ 1452565 h 5973007"/>
              <a:gd name="connsiteX54616" fmla="*/ 5133598 w 6884782"/>
              <a:gd name="connsiteY54616" fmla="*/ 1465227 h 5973007"/>
              <a:gd name="connsiteX54617" fmla="*/ 5130611 w 6884782"/>
              <a:gd name="connsiteY54617" fmla="*/ 1453988 h 5973007"/>
              <a:gd name="connsiteX54618" fmla="*/ 5136373 w 6884782"/>
              <a:gd name="connsiteY54618" fmla="*/ 1451285 h 5973007"/>
              <a:gd name="connsiteX54619" fmla="*/ 4387056 w 6884782"/>
              <a:gd name="connsiteY54619" fmla="*/ 1450716 h 5973007"/>
              <a:gd name="connsiteX54620" fmla="*/ 4392605 w 6884782"/>
              <a:gd name="connsiteY54620" fmla="*/ 1456264 h 5973007"/>
              <a:gd name="connsiteX54621" fmla="*/ 4393672 w 6884782"/>
              <a:gd name="connsiteY54621" fmla="*/ 1460248 h 5973007"/>
              <a:gd name="connsiteX54622" fmla="*/ 4402636 w 6884782"/>
              <a:gd name="connsiteY54622" fmla="*/ 1461244 h 5973007"/>
              <a:gd name="connsiteX54623" fmla="*/ 4407545 w 6884782"/>
              <a:gd name="connsiteY54623" fmla="*/ 1465512 h 5973007"/>
              <a:gd name="connsiteX54624" fmla="*/ 4407758 w 6884782"/>
              <a:gd name="connsiteY54624" fmla="*/ 1474332 h 5973007"/>
              <a:gd name="connsiteX54625" fmla="*/ 4394313 w 6884782"/>
              <a:gd name="connsiteY54625" fmla="*/ 1482299 h 5973007"/>
              <a:gd name="connsiteX54626" fmla="*/ 4392392 w 6884782"/>
              <a:gd name="connsiteY54626" fmla="*/ 1481446 h 5973007"/>
              <a:gd name="connsiteX54627" fmla="*/ 4388550 w 6884782"/>
              <a:gd name="connsiteY54627" fmla="*/ 1485003 h 5973007"/>
              <a:gd name="connsiteX54628" fmla="*/ 4384709 w 6884782"/>
              <a:gd name="connsiteY54628" fmla="*/ 1484433 h 5973007"/>
              <a:gd name="connsiteX54629" fmla="*/ 4382575 w 6884782"/>
              <a:gd name="connsiteY54629" fmla="*/ 1482299 h 5973007"/>
              <a:gd name="connsiteX54630" fmla="*/ 4380227 w 6884782"/>
              <a:gd name="connsiteY54630" fmla="*/ 1486710 h 5973007"/>
              <a:gd name="connsiteX54631" fmla="*/ 4374038 w 6884782"/>
              <a:gd name="connsiteY54631" fmla="*/ 1493254 h 5973007"/>
              <a:gd name="connsiteX54632" fmla="*/ 4374251 w 6884782"/>
              <a:gd name="connsiteY54632" fmla="*/ 1489413 h 5973007"/>
              <a:gd name="connsiteX54633" fmla="*/ 4374891 w 6884782"/>
              <a:gd name="connsiteY54633" fmla="*/ 1487848 h 5973007"/>
              <a:gd name="connsiteX54634" fmla="*/ 4374678 w 6884782"/>
              <a:gd name="connsiteY54634" fmla="*/ 1486568 h 5973007"/>
              <a:gd name="connsiteX54635" fmla="*/ 4375745 w 6884782"/>
              <a:gd name="connsiteY54635" fmla="*/ 1486141 h 5973007"/>
              <a:gd name="connsiteX54636" fmla="*/ 4377239 w 6884782"/>
              <a:gd name="connsiteY54636" fmla="*/ 1483011 h 5973007"/>
              <a:gd name="connsiteX54637" fmla="*/ 4378306 w 6884782"/>
              <a:gd name="connsiteY54637" fmla="*/ 1475044 h 5973007"/>
              <a:gd name="connsiteX54638" fmla="*/ 4378733 w 6884782"/>
              <a:gd name="connsiteY54638" fmla="*/ 1474475 h 5973007"/>
              <a:gd name="connsiteX54639" fmla="*/ 4376385 w 6884782"/>
              <a:gd name="connsiteY54639" fmla="*/ 1470918 h 5973007"/>
              <a:gd name="connsiteX54640" fmla="*/ 4387056 w 6884782"/>
              <a:gd name="connsiteY54640" fmla="*/ 1450716 h 5973007"/>
              <a:gd name="connsiteX54641" fmla="*/ 5951637 w 6884782"/>
              <a:gd name="connsiteY54641" fmla="*/ 1450574 h 5973007"/>
              <a:gd name="connsiteX54642" fmla="*/ 5953984 w 6884782"/>
              <a:gd name="connsiteY54642" fmla="*/ 1457402 h 5973007"/>
              <a:gd name="connsiteX54643" fmla="*/ 5940539 w 6884782"/>
              <a:gd name="connsiteY54643" fmla="*/ 1462382 h 5973007"/>
              <a:gd name="connsiteX54644" fmla="*/ 5938618 w 6884782"/>
              <a:gd name="connsiteY54644" fmla="*/ 1457972 h 5973007"/>
              <a:gd name="connsiteX54645" fmla="*/ 5951637 w 6884782"/>
              <a:gd name="connsiteY54645" fmla="*/ 1450574 h 5973007"/>
              <a:gd name="connsiteX54646" fmla="*/ 1542029 w 6884782"/>
              <a:gd name="connsiteY54646" fmla="*/ 1450472 h 5973007"/>
              <a:gd name="connsiteX54647" fmla="*/ 1537072 w 6884782"/>
              <a:gd name="connsiteY54647" fmla="*/ 1457597 h 5973007"/>
              <a:gd name="connsiteX54648" fmla="*/ 1536453 w 6884782"/>
              <a:gd name="connsiteY54648" fmla="*/ 1455738 h 5973007"/>
              <a:gd name="connsiteX54649" fmla="*/ 1536969 w 6884782"/>
              <a:gd name="connsiteY54649" fmla="*/ 1453879 h 5973007"/>
              <a:gd name="connsiteX54650" fmla="*/ 1540067 w 6884782"/>
              <a:gd name="connsiteY54650" fmla="*/ 1450936 h 5973007"/>
              <a:gd name="connsiteX54651" fmla="*/ 1542029 w 6884782"/>
              <a:gd name="connsiteY54651" fmla="*/ 1450472 h 5973007"/>
              <a:gd name="connsiteX54652" fmla="*/ 4956460 w 6884782"/>
              <a:gd name="connsiteY54652" fmla="*/ 1450005 h 5973007"/>
              <a:gd name="connsiteX54653" fmla="*/ 4957741 w 6884782"/>
              <a:gd name="connsiteY54653" fmla="*/ 1453704 h 5973007"/>
              <a:gd name="connsiteX54654" fmla="*/ 4955393 w 6884782"/>
              <a:gd name="connsiteY54654" fmla="*/ 1455980 h 5973007"/>
              <a:gd name="connsiteX54655" fmla="*/ 4954326 w 6884782"/>
              <a:gd name="connsiteY54655" fmla="*/ 1458256 h 5973007"/>
              <a:gd name="connsiteX54656" fmla="*/ 4950911 w 6884782"/>
              <a:gd name="connsiteY54656" fmla="*/ 1458114 h 5973007"/>
              <a:gd name="connsiteX54657" fmla="*/ 4951979 w 6884782"/>
              <a:gd name="connsiteY54657" fmla="*/ 1455837 h 5973007"/>
              <a:gd name="connsiteX54658" fmla="*/ 4956460 w 6884782"/>
              <a:gd name="connsiteY54658" fmla="*/ 1450005 h 5973007"/>
              <a:gd name="connsiteX54659" fmla="*/ 3834085 w 6884782"/>
              <a:gd name="connsiteY54659" fmla="*/ 1449862 h 5973007"/>
              <a:gd name="connsiteX54660" fmla="*/ 3840488 w 6884782"/>
              <a:gd name="connsiteY54660" fmla="*/ 1453419 h 5973007"/>
              <a:gd name="connsiteX54661" fmla="*/ 3844970 w 6884782"/>
              <a:gd name="connsiteY54661" fmla="*/ 1458541 h 5973007"/>
              <a:gd name="connsiteX54662" fmla="*/ 3846678 w 6884782"/>
              <a:gd name="connsiteY54662" fmla="*/ 1453561 h 5973007"/>
              <a:gd name="connsiteX54663" fmla="*/ 3851373 w 6884782"/>
              <a:gd name="connsiteY54663" fmla="*/ 1451712 h 5973007"/>
              <a:gd name="connsiteX54664" fmla="*/ 3848811 w 6884782"/>
              <a:gd name="connsiteY54664" fmla="*/ 1456549 h 5973007"/>
              <a:gd name="connsiteX54665" fmla="*/ 3845184 w 6884782"/>
              <a:gd name="connsiteY54665" fmla="*/ 1458967 h 5973007"/>
              <a:gd name="connsiteX54666" fmla="*/ 3845824 w 6884782"/>
              <a:gd name="connsiteY54666" fmla="*/ 1459394 h 5973007"/>
              <a:gd name="connsiteX54667" fmla="*/ 3847958 w 6884782"/>
              <a:gd name="connsiteY54667" fmla="*/ 1466366 h 5973007"/>
              <a:gd name="connsiteX54668" fmla="*/ 3846678 w 6884782"/>
              <a:gd name="connsiteY54668" fmla="*/ 1470065 h 5973007"/>
              <a:gd name="connsiteX54669" fmla="*/ 3848811 w 6884782"/>
              <a:gd name="connsiteY54669" fmla="*/ 1471203 h 5973007"/>
              <a:gd name="connsiteX54670" fmla="*/ 3842623 w 6884782"/>
              <a:gd name="connsiteY54670" fmla="*/ 1491547 h 5973007"/>
              <a:gd name="connsiteX54671" fmla="*/ 3840702 w 6884782"/>
              <a:gd name="connsiteY54671" fmla="*/ 1470491 h 5973007"/>
              <a:gd name="connsiteX54672" fmla="*/ 3843690 w 6884782"/>
              <a:gd name="connsiteY54672" fmla="*/ 1469922 h 5973007"/>
              <a:gd name="connsiteX54673" fmla="*/ 3838781 w 6884782"/>
              <a:gd name="connsiteY54673" fmla="*/ 1461813 h 5973007"/>
              <a:gd name="connsiteX54674" fmla="*/ 3834085 w 6884782"/>
              <a:gd name="connsiteY54674" fmla="*/ 1449862 h 5973007"/>
              <a:gd name="connsiteX54675" fmla="*/ 4243852 w 6884782"/>
              <a:gd name="connsiteY54675" fmla="*/ 1449293 h 5973007"/>
              <a:gd name="connsiteX54676" fmla="*/ 4253242 w 6884782"/>
              <a:gd name="connsiteY54676" fmla="*/ 1453704 h 5973007"/>
              <a:gd name="connsiteX54677" fmla="*/ 4243852 w 6884782"/>
              <a:gd name="connsiteY54677" fmla="*/ 1449293 h 5973007"/>
              <a:gd name="connsiteX54678" fmla="*/ 5386074 w 6884782"/>
              <a:gd name="connsiteY54678" fmla="*/ 1449151 h 5973007"/>
              <a:gd name="connsiteX54679" fmla="*/ 5387568 w 6884782"/>
              <a:gd name="connsiteY54679" fmla="*/ 1450716 h 5973007"/>
              <a:gd name="connsiteX54680" fmla="*/ 5388635 w 6884782"/>
              <a:gd name="connsiteY54680" fmla="*/ 1453419 h 5973007"/>
              <a:gd name="connsiteX54681" fmla="*/ 5383300 w 6884782"/>
              <a:gd name="connsiteY54681" fmla="*/ 1455410 h 5973007"/>
              <a:gd name="connsiteX54682" fmla="*/ 5380525 w 6884782"/>
              <a:gd name="connsiteY54682" fmla="*/ 1452992 h 5973007"/>
              <a:gd name="connsiteX54683" fmla="*/ 5382659 w 6884782"/>
              <a:gd name="connsiteY54683" fmla="*/ 1450146 h 5973007"/>
              <a:gd name="connsiteX54684" fmla="*/ 5386074 w 6884782"/>
              <a:gd name="connsiteY54684" fmla="*/ 1449151 h 5973007"/>
              <a:gd name="connsiteX54685" fmla="*/ 4005675 w 6884782"/>
              <a:gd name="connsiteY54685" fmla="*/ 1448866 h 5973007"/>
              <a:gd name="connsiteX54686" fmla="*/ 4011224 w 6884782"/>
              <a:gd name="connsiteY54686" fmla="*/ 1452423 h 5973007"/>
              <a:gd name="connsiteX54687" fmla="*/ 4010797 w 6884782"/>
              <a:gd name="connsiteY54687" fmla="*/ 1455127 h 5973007"/>
              <a:gd name="connsiteX54688" fmla="*/ 4002047 w 6884782"/>
              <a:gd name="connsiteY54688" fmla="*/ 1452423 h 5973007"/>
              <a:gd name="connsiteX54689" fmla="*/ 4002474 w 6884782"/>
              <a:gd name="connsiteY54689" fmla="*/ 1449862 h 5973007"/>
              <a:gd name="connsiteX54690" fmla="*/ 4005675 w 6884782"/>
              <a:gd name="connsiteY54690" fmla="*/ 1448866 h 5973007"/>
              <a:gd name="connsiteX54691" fmla="*/ 3858415 w 6884782"/>
              <a:gd name="connsiteY54691" fmla="*/ 1448866 h 5973007"/>
              <a:gd name="connsiteX54692" fmla="*/ 3863537 w 6884782"/>
              <a:gd name="connsiteY54692" fmla="*/ 1453561 h 5973007"/>
              <a:gd name="connsiteX54693" fmla="*/ 3858629 w 6884782"/>
              <a:gd name="connsiteY54693" fmla="*/ 1460817 h 5973007"/>
              <a:gd name="connsiteX54694" fmla="*/ 3855855 w 6884782"/>
              <a:gd name="connsiteY54694" fmla="*/ 1454700 h 5973007"/>
              <a:gd name="connsiteX54695" fmla="*/ 3856708 w 6884782"/>
              <a:gd name="connsiteY54695" fmla="*/ 1453135 h 5973007"/>
              <a:gd name="connsiteX54696" fmla="*/ 3857135 w 6884782"/>
              <a:gd name="connsiteY54696" fmla="*/ 1451996 h 5973007"/>
              <a:gd name="connsiteX54697" fmla="*/ 5511565 w 6884782"/>
              <a:gd name="connsiteY54697" fmla="*/ 1448155 h 5973007"/>
              <a:gd name="connsiteX54698" fmla="*/ 5516901 w 6884782"/>
              <a:gd name="connsiteY54698" fmla="*/ 1448440 h 5973007"/>
              <a:gd name="connsiteX54699" fmla="*/ 5524370 w 6884782"/>
              <a:gd name="connsiteY54699" fmla="*/ 1454272 h 5973007"/>
              <a:gd name="connsiteX54700" fmla="*/ 5512419 w 6884782"/>
              <a:gd name="connsiteY54700" fmla="*/ 1467930 h 5973007"/>
              <a:gd name="connsiteX54701" fmla="*/ 5505162 w 6884782"/>
              <a:gd name="connsiteY54701" fmla="*/ 1460532 h 5973007"/>
              <a:gd name="connsiteX54702" fmla="*/ 5511565 w 6884782"/>
              <a:gd name="connsiteY54702" fmla="*/ 1448155 h 5973007"/>
              <a:gd name="connsiteX54703" fmla="*/ 4991888 w 6884782"/>
              <a:gd name="connsiteY54703" fmla="*/ 1447443 h 5973007"/>
              <a:gd name="connsiteX54704" fmla="*/ 4993168 w 6884782"/>
              <a:gd name="connsiteY54704" fmla="*/ 1448298 h 5973007"/>
              <a:gd name="connsiteX54705" fmla="*/ 4991034 w 6884782"/>
              <a:gd name="connsiteY54705" fmla="*/ 1448440 h 5973007"/>
              <a:gd name="connsiteX54706" fmla="*/ 4991888 w 6884782"/>
              <a:gd name="connsiteY54706" fmla="*/ 1447443 h 5973007"/>
              <a:gd name="connsiteX54707" fmla="*/ 5706204 w 6884782"/>
              <a:gd name="connsiteY54707" fmla="*/ 1447301 h 5973007"/>
              <a:gd name="connsiteX54708" fmla="*/ 5720289 w 6884782"/>
              <a:gd name="connsiteY54708" fmla="*/ 1465085 h 5973007"/>
              <a:gd name="connsiteX54709" fmla="*/ 5720716 w 6884782"/>
              <a:gd name="connsiteY54709" fmla="*/ 1467646 h 5973007"/>
              <a:gd name="connsiteX54710" fmla="*/ 5718582 w 6884782"/>
              <a:gd name="connsiteY54710" fmla="*/ 1469780 h 5973007"/>
              <a:gd name="connsiteX54711" fmla="*/ 5706844 w 6884782"/>
              <a:gd name="connsiteY54711" fmla="*/ 1460817 h 5973007"/>
              <a:gd name="connsiteX54712" fmla="*/ 5706417 w 6884782"/>
              <a:gd name="connsiteY54712" fmla="*/ 1457545 h 5973007"/>
              <a:gd name="connsiteX54713" fmla="*/ 5705137 w 6884782"/>
              <a:gd name="connsiteY54713" fmla="*/ 1455268 h 5973007"/>
              <a:gd name="connsiteX54714" fmla="*/ 5706204 w 6884782"/>
              <a:gd name="connsiteY54714" fmla="*/ 1447301 h 5973007"/>
              <a:gd name="connsiteX54715" fmla="*/ 4035341 w 6884782"/>
              <a:gd name="connsiteY54715" fmla="*/ 1447017 h 5973007"/>
              <a:gd name="connsiteX54716" fmla="*/ 4036408 w 6884782"/>
              <a:gd name="connsiteY54716" fmla="*/ 1448013 h 5973007"/>
              <a:gd name="connsiteX54717" fmla="*/ 4034273 w 6884782"/>
              <a:gd name="connsiteY54717" fmla="*/ 1448013 h 5973007"/>
              <a:gd name="connsiteX54718" fmla="*/ 4035341 w 6884782"/>
              <a:gd name="connsiteY54718" fmla="*/ 1447017 h 5973007"/>
              <a:gd name="connsiteX54719" fmla="*/ 1169584 w 6884782"/>
              <a:gd name="connsiteY54719" fmla="*/ 1446599 h 5973007"/>
              <a:gd name="connsiteX54720" fmla="*/ 1169377 w 6884782"/>
              <a:gd name="connsiteY54720" fmla="*/ 1451865 h 5973007"/>
              <a:gd name="connsiteX54721" fmla="*/ 1168861 w 6884782"/>
              <a:gd name="connsiteY54721" fmla="*/ 1448303 h 5973007"/>
              <a:gd name="connsiteX54722" fmla="*/ 1169584 w 6884782"/>
              <a:gd name="connsiteY54722" fmla="*/ 1446599 h 5973007"/>
              <a:gd name="connsiteX54723" fmla="*/ 1396747 w 6884782"/>
              <a:gd name="connsiteY54723" fmla="*/ 1445979 h 5973007"/>
              <a:gd name="connsiteX54724" fmla="*/ 1398502 w 6884782"/>
              <a:gd name="connsiteY54724" fmla="*/ 1447064 h 5973007"/>
              <a:gd name="connsiteX54725" fmla="*/ 1396850 w 6884782"/>
              <a:gd name="connsiteY54725" fmla="*/ 1450781 h 5973007"/>
              <a:gd name="connsiteX54726" fmla="*/ 1397263 w 6884782"/>
              <a:gd name="connsiteY54726" fmla="*/ 1451556 h 5973007"/>
              <a:gd name="connsiteX54727" fmla="*/ 1399741 w 6884782"/>
              <a:gd name="connsiteY54727" fmla="*/ 1452330 h 5973007"/>
              <a:gd name="connsiteX54728" fmla="*/ 1404388 w 6884782"/>
              <a:gd name="connsiteY54728" fmla="*/ 1459765 h 5973007"/>
              <a:gd name="connsiteX54729" fmla="*/ 1397573 w 6884782"/>
              <a:gd name="connsiteY54729" fmla="*/ 1466116 h 5973007"/>
              <a:gd name="connsiteX54730" fmla="*/ 1395611 w 6884782"/>
              <a:gd name="connsiteY54730" fmla="*/ 1466116 h 5973007"/>
              <a:gd name="connsiteX54731" fmla="*/ 1402116 w 6884782"/>
              <a:gd name="connsiteY54731" fmla="*/ 1470298 h 5973007"/>
              <a:gd name="connsiteX54732" fmla="*/ 1402529 w 6884782"/>
              <a:gd name="connsiteY54732" fmla="*/ 1472931 h 5973007"/>
              <a:gd name="connsiteX54733" fmla="*/ 1382498 w 6884782"/>
              <a:gd name="connsiteY54733" fmla="*/ 1486252 h 5973007"/>
              <a:gd name="connsiteX54734" fmla="*/ 1382291 w 6884782"/>
              <a:gd name="connsiteY54734" fmla="*/ 1486252 h 5973007"/>
              <a:gd name="connsiteX54735" fmla="*/ 1382601 w 6884782"/>
              <a:gd name="connsiteY54735" fmla="*/ 1487646 h 5973007"/>
              <a:gd name="connsiteX54736" fmla="*/ 1381156 w 6884782"/>
              <a:gd name="connsiteY54736" fmla="*/ 1488421 h 5973007"/>
              <a:gd name="connsiteX54737" fmla="*/ 1380639 w 6884782"/>
              <a:gd name="connsiteY54737" fmla="*/ 1489970 h 5973007"/>
              <a:gd name="connsiteX54738" fmla="*/ 1382807 w 6884782"/>
              <a:gd name="connsiteY54738" fmla="*/ 1491364 h 5973007"/>
              <a:gd name="connsiteX54739" fmla="*/ 1383324 w 6884782"/>
              <a:gd name="connsiteY54739" fmla="*/ 1493842 h 5973007"/>
              <a:gd name="connsiteX54740" fmla="*/ 1384563 w 6884782"/>
              <a:gd name="connsiteY54740" fmla="*/ 1493378 h 5973007"/>
              <a:gd name="connsiteX54741" fmla="*/ 1412235 w 6884782"/>
              <a:gd name="connsiteY54741" fmla="*/ 1477269 h 5973007"/>
              <a:gd name="connsiteX54742" fmla="*/ 1412132 w 6884782"/>
              <a:gd name="connsiteY54742" fmla="*/ 1479437 h 5973007"/>
              <a:gd name="connsiteX54743" fmla="*/ 1413165 w 6884782"/>
              <a:gd name="connsiteY54743" fmla="*/ 1479282 h 5973007"/>
              <a:gd name="connsiteX54744" fmla="*/ 1416056 w 6884782"/>
              <a:gd name="connsiteY54744" fmla="*/ 1486717 h 5973007"/>
              <a:gd name="connsiteX54745" fmla="*/ 1413784 w 6884782"/>
              <a:gd name="connsiteY54745" fmla="*/ 1489660 h 5973007"/>
              <a:gd name="connsiteX54746" fmla="*/ 1416366 w 6884782"/>
              <a:gd name="connsiteY54746" fmla="*/ 1494617 h 5973007"/>
              <a:gd name="connsiteX54747" fmla="*/ 1418534 w 6884782"/>
              <a:gd name="connsiteY54747" fmla="*/ 1499728 h 5973007"/>
              <a:gd name="connsiteX54748" fmla="*/ 1417811 w 6884782"/>
              <a:gd name="connsiteY54748" fmla="*/ 1507473 h 5973007"/>
              <a:gd name="connsiteX54749" fmla="*/ 1380949 w 6884782"/>
              <a:gd name="connsiteY54749" fmla="*/ 1501897 h 5973007"/>
              <a:gd name="connsiteX54750" fmla="*/ 1383634 w 6884782"/>
              <a:gd name="connsiteY54750" fmla="*/ 1495701 h 5973007"/>
              <a:gd name="connsiteX54751" fmla="*/ 1380226 w 6884782"/>
              <a:gd name="connsiteY54751" fmla="*/ 1498644 h 5973007"/>
              <a:gd name="connsiteX54752" fmla="*/ 1379090 w 6884782"/>
              <a:gd name="connsiteY54752" fmla="*/ 1499264 h 5973007"/>
              <a:gd name="connsiteX54753" fmla="*/ 1377541 w 6884782"/>
              <a:gd name="connsiteY54753" fmla="*/ 1500968 h 5973007"/>
              <a:gd name="connsiteX54754" fmla="*/ 1370520 w 6884782"/>
              <a:gd name="connsiteY54754" fmla="*/ 1500813 h 5973007"/>
              <a:gd name="connsiteX54755" fmla="*/ 1371449 w 6884782"/>
              <a:gd name="connsiteY54755" fmla="*/ 1501122 h 5973007"/>
              <a:gd name="connsiteX54756" fmla="*/ 1368558 w 6884782"/>
              <a:gd name="connsiteY54756" fmla="*/ 1504530 h 5973007"/>
              <a:gd name="connsiteX54757" fmla="*/ 1370210 w 6884782"/>
              <a:gd name="connsiteY54757" fmla="*/ 1500813 h 5973007"/>
              <a:gd name="connsiteX54758" fmla="*/ 1368868 w 6884782"/>
              <a:gd name="connsiteY54758" fmla="*/ 1500813 h 5973007"/>
              <a:gd name="connsiteX54759" fmla="*/ 1367319 w 6884782"/>
              <a:gd name="connsiteY54759" fmla="*/ 1498489 h 5973007"/>
              <a:gd name="connsiteX54760" fmla="*/ 1373411 w 6884782"/>
              <a:gd name="connsiteY54760" fmla="*/ 1489970 h 5973007"/>
              <a:gd name="connsiteX54761" fmla="*/ 1377129 w 6884782"/>
              <a:gd name="connsiteY54761" fmla="*/ 1489350 h 5973007"/>
              <a:gd name="connsiteX54762" fmla="*/ 1379194 w 6884782"/>
              <a:gd name="connsiteY54762" fmla="*/ 1487646 h 5973007"/>
              <a:gd name="connsiteX54763" fmla="*/ 1380123 w 6884782"/>
              <a:gd name="connsiteY54763" fmla="*/ 1485942 h 5973007"/>
              <a:gd name="connsiteX54764" fmla="*/ 1373721 w 6884782"/>
              <a:gd name="connsiteY54764" fmla="*/ 1485168 h 5973007"/>
              <a:gd name="connsiteX54765" fmla="*/ 1370624 w 6884782"/>
              <a:gd name="connsiteY54765" fmla="*/ 1483000 h 5973007"/>
              <a:gd name="connsiteX54766" fmla="*/ 1368868 w 6884782"/>
              <a:gd name="connsiteY54766" fmla="*/ 1483929 h 5973007"/>
              <a:gd name="connsiteX54767" fmla="*/ 1367009 w 6884782"/>
              <a:gd name="connsiteY54767" fmla="*/ 1482070 h 5973007"/>
              <a:gd name="connsiteX54768" fmla="*/ 1366596 w 6884782"/>
              <a:gd name="connsiteY54768" fmla="*/ 1480366 h 5973007"/>
              <a:gd name="connsiteX54769" fmla="*/ 1364015 w 6884782"/>
              <a:gd name="connsiteY54769" fmla="*/ 1478662 h 5973007"/>
              <a:gd name="connsiteX54770" fmla="*/ 1374237 w 6884782"/>
              <a:gd name="connsiteY54770" fmla="*/ 1465496 h 5973007"/>
              <a:gd name="connsiteX54771" fmla="*/ 1380949 w 6884782"/>
              <a:gd name="connsiteY54771" fmla="*/ 1463483 h 5973007"/>
              <a:gd name="connsiteX54772" fmla="*/ 1381052 w 6884782"/>
              <a:gd name="connsiteY54772" fmla="*/ 1463483 h 5973007"/>
              <a:gd name="connsiteX54773" fmla="*/ 1379710 w 6884782"/>
              <a:gd name="connsiteY54773" fmla="*/ 1459301 h 5973007"/>
              <a:gd name="connsiteX54774" fmla="*/ 1388280 w 6884782"/>
              <a:gd name="connsiteY54774" fmla="*/ 1452795 h 5973007"/>
              <a:gd name="connsiteX54775" fmla="*/ 1389209 w 6884782"/>
              <a:gd name="connsiteY54775" fmla="*/ 1453260 h 5973007"/>
              <a:gd name="connsiteX54776" fmla="*/ 1389209 w 6884782"/>
              <a:gd name="connsiteY54776" fmla="*/ 1453105 h 5973007"/>
              <a:gd name="connsiteX54777" fmla="*/ 1394889 w 6884782"/>
              <a:gd name="connsiteY54777" fmla="*/ 1450781 h 5973007"/>
              <a:gd name="connsiteX54778" fmla="*/ 1394682 w 6884782"/>
              <a:gd name="connsiteY54778" fmla="*/ 1448922 h 5973007"/>
              <a:gd name="connsiteX54779" fmla="*/ 1396747 w 6884782"/>
              <a:gd name="connsiteY54779" fmla="*/ 1445979 h 5973007"/>
              <a:gd name="connsiteX54780" fmla="*/ 3992657 w 6884782"/>
              <a:gd name="connsiteY54780" fmla="*/ 1445879 h 5973007"/>
              <a:gd name="connsiteX54781" fmla="*/ 3996285 w 6884782"/>
              <a:gd name="connsiteY54781" fmla="*/ 1447871 h 5973007"/>
              <a:gd name="connsiteX54782" fmla="*/ 3996498 w 6884782"/>
              <a:gd name="connsiteY54782" fmla="*/ 1453135 h 5973007"/>
              <a:gd name="connsiteX54783" fmla="*/ 3991376 w 6884782"/>
              <a:gd name="connsiteY54783" fmla="*/ 1461813 h 5973007"/>
              <a:gd name="connsiteX54784" fmla="*/ 3986467 w 6884782"/>
              <a:gd name="connsiteY54784" fmla="*/ 1452423 h 5973007"/>
              <a:gd name="connsiteX54785" fmla="*/ 3987961 w 6884782"/>
              <a:gd name="connsiteY54785" fmla="*/ 1450146 h 5973007"/>
              <a:gd name="connsiteX54786" fmla="*/ 3992657 w 6884782"/>
              <a:gd name="connsiteY54786" fmla="*/ 1445879 h 5973007"/>
              <a:gd name="connsiteX54787" fmla="*/ 5672697 w 6884782"/>
              <a:gd name="connsiteY54787" fmla="*/ 1445452 h 5973007"/>
              <a:gd name="connsiteX54788" fmla="*/ 5674831 w 6884782"/>
              <a:gd name="connsiteY54788" fmla="*/ 1446732 h 5973007"/>
              <a:gd name="connsiteX54789" fmla="*/ 5676325 w 6884782"/>
              <a:gd name="connsiteY54789" fmla="*/ 1448866 h 5973007"/>
              <a:gd name="connsiteX54790" fmla="*/ 5672057 w 6884782"/>
              <a:gd name="connsiteY54790" fmla="*/ 1450289 h 5973007"/>
              <a:gd name="connsiteX54791" fmla="*/ 5671843 w 6884782"/>
              <a:gd name="connsiteY54791" fmla="*/ 1448155 h 5973007"/>
              <a:gd name="connsiteX54792" fmla="*/ 5670562 w 6884782"/>
              <a:gd name="connsiteY54792" fmla="*/ 1448155 h 5973007"/>
              <a:gd name="connsiteX54793" fmla="*/ 5671417 w 6884782"/>
              <a:gd name="connsiteY54793" fmla="*/ 1445879 h 5973007"/>
              <a:gd name="connsiteX54794" fmla="*/ 5672484 w 6884782"/>
              <a:gd name="connsiteY54794" fmla="*/ 1445879 h 5973007"/>
              <a:gd name="connsiteX54795" fmla="*/ 5672697 w 6884782"/>
              <a:gd name="connsiteY54795" fmla="*/ 1445452 h 5973007"/>
              <a:gd name="connsiteX54796" fmla="*/ 1611623 w 6884782"/>
              <a:gd name="connsiteY54796" fmla="*/ 1445205 h 5973007"/>
              <a:gd name="connsiteX54797" fmla="*/ 1629796 w 6884782"/>
              <a:gd name="connsiteY54797" fmla="*/ 1446599 h 5973007"/>
              <a:gd name="connsiteX54798" fmla="*/ 1611623 w 6884782"/>
              <a:gd name="connsiteY54798" fmla="*/ 1445205 h 5973007"/>
              <a:gd name="connsiteX54799" fmla="*/ 1413165 w 6884782"/>
              <a:gd name="connsiteY54799" fmla="*/ 1445050 h 5973007"/>
              <a:gd name="connsiteX54800" fmla="*/ 1417295 w 6884782"/>
              <a:gd name="connsiteY54800" fmla="*/ 1448768 h 5973007"/>
              <a:gd name="connsiteX54801" fmla="*/ 1414817 w 6884782"/>
              <a:gd name="connsiteY54801" fmla="*/ 1450007 h 5973007"/>
              <a:gd name="connsiteX54802" fmla="*/ 1413165 w 6884782"/>
              <a:gd name="connsiteY54802" fmla="*/ 1445050 h 5973007"/>
              <a:gd name="connsiteX54803" fmla="*/ 4596421 w 6884782"/>
              <a:gd name="connsiteY54803" fmla="*/ 1445025 h 5973007"/>
              <a:gd name="connsiteX54804" fmla="*/ 4595781 w 6884782"/>
              <a:gd name="connsiteY54804" fmla="*/ 1454557 h 5973007"/>
              <a:gd name="connsiteX54805" fmla="*/ 4596421 w 6884782"/>
              <a:gd name="connsiteY54805" fmla="*/ 1445025 h 5973007"/>
              <a:gd name="connsiteX54806" fmla="*/ 5401440 w 6884782"/>
              <a:gd name="connsiteY54806" fmla="*/ 1444883 h 5973007"/>
              <a:gd name="connsiteX54807" fmla="*/ 5405068 w 6884782"/>
              <a:gd name="connsiteY54807" fmla="*/ 1453135 h 5973007"/>
              <a:gd name="connsiteX54808" fmla="*/ 5396745 w 6884782"/>
              <a:gd name="connsiteY54808" fmla="*/ 1453561 h 5973007"/>
              <a:gd name="connsiteX54809" fmla="*/ 5401440 w 6884782"/>
              <a:gd name="connsiteY54809" fmla="*/ 1444883 h 5973007"/>
              <a:gd name="connsiteX54810" fmla="*/ 6110634 w 6884782"/>
              <a:gd name="connsiteY54810" fmla="*/ 1444598 h 5973007"/>
              <a:gd name="connsiteX54811" fmla="*/ 6114690 w 6884782"/>
              <a:gd name="connsiteY54811" fmla="*/ 1445452 h 5973007"/>
              <a:gd name="connsiteX54812" fmla="*/ 6110421 w 6884782"/>
              <a:gd name="connsiteY54812" fmla="*/ 1453988 h 5973007"/>
              <a:gd name="connsiteX54813" fmla="*/ 6107006 w 6884782"/>
              <a:gd name="connsiteY54813" fmla="*/ 1445309 h 5973007"/>
              <a:gd name="connsiteX54814" fmla="*/ 6110634 w 6884782"/>
              <a:gd name="connsiteY54814" fmla="*/ 1444598 h 5973007"/>
              <a:gd name="connsiteX54815" fmla="*/ 4796822 w 6884782"/>
              <a:gd name="connsiteY54815" fmla="*/ 1443460 h 5973007"/>
              <a:gd name="connsiteX54816" fmla="*/ 4804292 w 6884782"/>
              <a:gd name="connsiteY54816" fmla="*/ 1445168 h 5973007"/>
              <a:gd name="connsiteX54817" fmla="*/ 4810694 w 6884782"/>
              <a:gd name="connsiteY54817" fmla="*/ 1448866 h 5973007"/>
              <a:gd name="connsiteX54818" fmla="*/ 4811548 w 6884782"/>
              <a:gd name="connsiteY54818" fmla="*/ 1447443 h 5973007"/>
              <a:gd name="connsiteX54819" fmla="*/ 4822646 w 6884782"/>
              <a:gd name="connsiteY54819" fmla="*/ 1449008 h 5973007"/>
              <a:gd name="connsiteX54820" fmla="*/ 4823073 w 6884782"/>
              <a:gd name="connsiteY54820" fmla="*/ 1457687 h 5973007"/>
              <a:gd name="connsiteX54821" fmla="*/ 4816030 w 6884782"/>
              <a:gd name="connsiteY54821" fmla="*/ 1456976 h 5973007"/>
              <a:gd name="connsiteX54822" fmla="*/ 4810694 w 6884782"/>
              <a:gd name="connsiteY54822" fmla="*/ 1452565 h 5973007"/>
              <a:gd name="connsiteX54823" fmla="*/ 4809414 w 6884782"/>
              <a:gd name="connsiteY54823" fmla="*/ 1461955 h 5973007"/>
              <a:gd name="connsiteX54824" fmla="*/ 4803225 w 6884782"/>
              <a:gd name="connsiteY54824" fmla="*/ 1471487 h 5973007"/>
              <a:gd name="connsiteX54825" fmla="*/ 4766517 w 6884782"/>
              <a:gd name="connsiteY54825" fmla="*/ 1474617 h 5973007"/>
              <a:gd name="connsiteX54826" fmla="*/ 4765022 w 6884782"/>
              <a:gd name="connsiteY54826" fmla="*/ 1471060 h 5973007"/>
              <a:gd name="connsiteX54827" fmla="*/ 4796822 w 6884782"/>
              <a:gd name="connsiteY54827" fmla="*/ 1443460 h 5973007"/>
              <a:gd name="connsiteX54828" fmla="*/ 1020275 w 6884782"/>
              <a:gd name="connsiteY54828" fmla="*/ 1443346 h 5973007"/>
              <a:gd name="connsiteX54829" fmla="*/ 1028535 w 6884782"/>
              <a:gd name="connsiteY54829" fmla="*/ 1446599 h 5973007"/>
              <a:gd name="connsiteX54830" fmla="*/ 1022030 w 6884782"/>
              <a:gd name="connsiteY54830" fmla="*/ 1458216 h 5973007"/>
              <a:gd name="connsiteX54831" fmla="*/ 1015732 w 6884782"/>
              <a:gd name="connsiteY54831" fmla="*/ 1454654 h 5973007"/>
              <a:gd name="connsiteX54832" fmla="*/ 1015938 w 6884782"/>
              <a:gd name="connsiteY54832" fmla="*/ 1452485 h 5973007"/>
              <a:gd name="connsiteX54833" fmla="*/ 1020275 w 6884782"/>
              <a:gd name="connsiteY54833" fmla="*/ 1443346 h 5973007"/>
              <a:gd name="connsiteX54834" fmla="*/ 1680082 w 6884782"/>
              <a:gd name="connsiteY54834" fmla="*/ 1442107 h 5973007"/>
              <a:gd name="connsiteX54835" fmla="*/ 1683283 w 6884782"/>
              <a:gd name="connsiteY54835" fmla="*/ 1444121 h 5973007"/>
              <a:gd name="connsiteX54836" fmla="*/ 1680805 w 6884782"/>
              <a:gd name="connsiteY54836" fmla="*/ 1456822 h 5973007"/>
              <a:gd name="connsiteX54837" fmla="*/ 1676778 w 6884782"/>
              <a:gd name="connsiteY54837" fmla="*/ 1449542 h 5973007"/>
              <a:gd name="connsiteX54838" fmla="*/ 1680082 w 6884782"/>
              <a:gd name="connsiteY54838" fmla="*/ 1442107 h 5973007"/>
              <a:gd name="connsiteX54839" fmla="*/ 4089336 w 6884782"/>
              <a:gd name="connsiteY54839" fmla="*/ 1442037 h 5973007"/>
              <a:gd name="connsiteX54840" fmla="*/ 4094244 w 6884782"/>
              <a:gd name="connsiteY54840" fmla="*/ 1446732 h 5973007"/>
              <a:gd name="connsiteX54841" fmla="*/ 4093818 w 6884782"/>
              <a:gd name="connsiteY54841" fmla="*/ 1451000 h 5973007"/>
              <a:gd name="connsiteX54842" fmla="*/ 4090189 w 6884782"/>
              <a:gd name="connsiteY54842" fmla="*/ 1452992 h 5973007"/>
              <a:gd name="connsiteX54843" fmla="*/ 4085708 w 6884782"/>
              <a:gd name="connsiteY54843" fmla="*/ 1451712 h 5973007"/>
              <a:gd name="connsiteX54844" fmla="*/ 4089336 w 6884782"/>
              <a:gd name="connsiteY54844" fmla="*/ 1442037 h 5973007"/>
              <a:gd name="connsiteX54845" fmla="*/ 4948991 w 6884782"/>
              <a:gd name="connsiteY54845" fmla="*/ 1440188 h 5973007"/>
              <a:gd name="connsiteX54846" fmla="*/ 4951338 w 6884782"/>
              <a:gd name="connsiteY54846" fmla="*/ 1440188 h 5973007"/>
              <a:gd name="connsiteX54847" fmla="*/ 4949204 w 6884782"/>
              <a:gd name="connsiteY54847" fmla="*/ 1447586 h 5973007"/>
              <a:gd name="connsiteX54848" fmla="*/ 4946003 w 6884782"/>
              <a:gd name="connsiteY54848" fmla="*/ 1448724 h 5973007"/>
              <a:gd name="connsiteX54849" fmla="*/ 4946003 w 6884782"/>
              <a:gd name="connsiteY54849" fmla="*/ 1444883 h 5973007"/>
              <a:gd name="connsiteX54850" fmla="*/ 4948137 w 6884782"/>
              <a:gd name="connsiteY54850" fmla="*/ 1443745 h 5973007"/>
              <a:gd name="connsiteX54851" fmla="*/ 4948991 w 6884782"/>
              <a:gd name="connsiteY54851" fmla="*/ 1440188 h 5973007"/>
              <a:gd name="connsiteX54852" fmla="*/ 1314555 w 6884782"/>
              <a:gd name="connsiteY54852" fmla="*/ 1440093 h 5973007"/>
              <a:gd name="connsiteX54853" fmla="*/ 1314968 w 6884782"/>
              <a:gd name="connsiteY54853" fmla="*/ 1444740 h 5973007"/>
              <a:gd name="connsiteX54854" fmla="*/ 1311458 w 6884782"/>
              <a:gd name="connsiteY54854" fmla="*/ 1444585 h 5973007"/>
              <a:gd name="connsiteX54855" fmla="*/ 1314555 w 6884782"/>
              <a:gd name="connsiteY54855" fmla="*/ 1440093 h 5973007"/>
              <a:gd name="connsiteX54856" fmla="*/ 1096271 w 6884782"/>
              <a:gd name="connsiteY54856" fmla="*/ 1439629 h 5973007"/>
              <a:gd name="connsiteX54857" fmla="*/ 1085326 w 6884782"/>
              <a:gd name="connsiteY54857" fmla="*/ 1450936 h 5973007"/>
              <a:gd name="connsiteX54858" fmla="*/ 1080370 w 6884782"/>
              <a:gd name="connsiteY54858" fmla="*/ 1448768 h 5973007"/>
              <a:gd name="connsiteX54859" fmla="*/ 1096271 w 6884782"/>
              <a:gd name="connsiteY54859" fmla="*/ 1439629 h 5973007"/>
              <a:gd name="connsiteX54860" fmla="*/ 5495131 w 6884782"/>
              <a:gd name="connsiteY54860" fmla="*/ 1439619 h 5973007"/>
              <a:gd name="connsiteX54861" fmla="*/ 5499827 w 6884782"/>
              <a:gd name="connsiteY54861" fmla="*/ 1440188 h 5973007"/>
              <a:gd name="connsiteX54862" fmla="*/ 5485528 w 6884782"/>
              <a:gd name="connsiteY54862" fmla="*/ 1463520 h 5973007"/>
              <a:gd name="connsiteX54863" fmla="*/ 5481046 w 6884782"/>
              <a:gd name="connsiteY54863" fmla="*/ 1458825 h 5973007"/>
              <a:gd name="connsiteX54864" fmla="*/ 5495131 w 6884782"/>
              <a:gd name="connsiteY54864" fmla="*/ 1439619 h 5973007"/>
              <a:gd name="connsiteX54865" fmla="*/ 1349456 w 6884782"/>
              <a:gd name="connsiteY54865" fmla="*/ 1439319 h 5973007"/>
              <a:gd name="connsiteX54866" fmla="*/ 1364634 w 6884782"/>
              <a:gd name="connsiteY54866" fmla="*/ 1448612 h 5973007"/>
              <a:gd name="connsiteX54867" fmla="*/ 1366287 w 6884782"/>
              <a:gd name="connsiteY54867" fmla="*/ 1465496 h 5973007"/>
              <a:gd name="connsiteX54868" fmla="*/ 1349456 w 6884782"/>
              <a:gd name="connsiteY54868" fmla="*/ 1439319 h 5973007"/>
              <a:gd name="connsiteX54869" fmla="*/ 5363665 w 6884782"/>
              <a:gd name="connsiteY54869" fmla="*/ 1439192 h 5973007"/>
              <a:gd name="connsiteX54870" fmla="*/ 5370495 w 6884782"/>
              <a:gd name="connsiteY54870" fmla="*/ 1450574 h 5973007"/>
              <a:gd name="connsiteX54871" fmla="*/ 5358543 w 6884782"/>
              <a:gd name="connsiteY54871" fmla="*/ 1442891 h 5973007"/>
              <a:gd name="connsiteX54872" fmla="*/ 5363665 w 6884782"/>
              <a:gd name="connsiteY54872" fmla="*/ 1439192 h 5973007"/>
              <a:gd name="connsiteX54873" fmla="*/ 1718906 w 6884782"/>
              <a:gd name="connsiteY54873" fmla="*/ 1439164 h 5973007"/>
              <a:gd name="connsiteX54874" fmla="*/ 1723966 w 6884782"/>
              <a:gd name="connsiteY54874" fmla="*/ 1441642 h 5973007"/>
              <a:gd name="connsiteX54875" fmla="*/ 1721075 w 6884782"/>
              <a:gd name="connsiteY54875" fmla="*/ 1446599 h 5973007"/>
              <a:gd name="connsiteX54876" fmla="*/ 1717254 w 6884782"/>
              <a:gd name="connsiteY54876" fmla="*/ 1443656 h 5973007"/>
              <a:gd name="connsiteX54877" fmla="*/ 1718906 w 6884782"/>
              <a:gd name="connsiteY54877" fmla="*/ 1439164 h 5973007"/>
              <a:gd name="connsiteX54878" fmla="*/ 1211299 w 6884782"/>
              <a:gd name="connsiteY54878" fmla="*/ 1439164 h 5973007"/>
              <a:gd name="connsiteX54879" fmla="*/ 1211712 w 6884782"/>
              <a:gd name="connsiteY54879" fmla="*/ 1447993 h 5973007"/>
              <a:gd name="connsiteX54880" fmla="*/ 1208098 w 6884782"/>
              <a:gd name="connsiteY54880" fmla="*/ 1447528 h 5973007"/>
              <a:gd name="connsiteX54881" fmla="*/ 1206549 w 6884782"/>
              <a:gd name="connsiteY54881" fmla="*/ 1443191 h 5973007"/>
              <a:gd name="connsiteX54882" fmla="*/ 1208098 w 6884782"/>
              <a:gd name="connsiteY54882" fmla="*/ 1439938 h 5973007"/>
              <a:gd name="connsiteX54883" fmla="*/ 1211299 w 6884782"/>
              <a:gd name="connsiteY54883" fmla="*/ 1439164 h 5973007"/>
              <a:gd name="connsiteX54884" fmla="*/ 1594689 w 6884782"/>
              <a:gd name="connsiteY54884" fmla="*/ 1438699 h 5973007"/>
              <a:gd name="connsiteX54885" fmla="*/ 1598923 w 6884782"/>
              <a:gd name="connsiteY54885" fmla="*/ 1443191 h 5973007"/>
              <a:gd name="connsiteX54886" fmla="*/ 1597064 w 6884782"/>
              <a:gd name="connsiteY54886" fmla="*/ 1449542 h 5973007"/>
              <a:gd name="connsiteX54887" fmla="*/ 1593450 w 6884782"/>
              <a:gd name="connsiteY54887" fmla="*/ 1444895 h 5973007"/>
              <a:gd name="connsiteX54888" fmla="*/ 1594689 w 6884782"/>
              <a:gd name="connsiteY54888" fmla="*/ 1438699 h 5973007"/>
              <a:gd name="connsiteX54889" fmla="*/ 1514219 w 6884782"/>
              <a:gd name="connsiteY54889" fmla="*/ 1438590 h 5973007"/>
              <a:gd name="connsiteX54890" fmla="*/ 1526953 w 6884782"/>
              <a:gd name="connsiteY54890" fmla="*/ 1469369 h 5973007"/>
              <a:gd name="connsiteX54891" fmla="*/ 1496286 w 6884782"/>
              <a:gd name="connsiteY54891" fmla="*/ 1477423 h 5973007"/>
              <a:gd name="connsiteX54892" fmla="*/ 1497215 w 6884782"/>
              <a:gd name="connsiteY54892" fmla="*/ 1453569 h 5973007"/>
              <a:gd name="connsiteX54893" fmla="*/ 1500313 w 6884782"/>
              <a:gd name="connsiteY54893" fmla="*/ 1446134 h 5973007"/>
              <a:gd name="connsiteX54894" fmla="*/ 1514219 w 6884782"/>
              <a:gd name="connsiteY54894" fmla="*/ 1438590 h 5973007"/>
              <a:gd name="connsiteX54895" fmla="*/ 5320128 w 6884782"/>
              <a:gd name="connsiteY54895" fmla="*/ 1438196 h 5973007"/>
              <a:gd name="connsiteX54896" fmla="*/ 5309457 w 6884782"/>
              <a:gd name="connsiteY54896" fmla="*/ 1461671 h 5973007"/>
              <a:gd name="connsiteX54897" fmla="*/ 5320128 w 6884782"/>
              <a:gd name="connsiteY54897" fmla="*/ 1438196 h 5973007"/>
              <a:gd name="connsiteX54898" fmla="*/ 5833189 w 6884782"/>
              <a:gd name="connsiteY54898" fmla="*/ 1438054 h 5973007"/>
              <a:gd name="connsiteX54899" fmla="*/ 5836603 w 6884782"/>
              <a:gd name="connsiteY54899" fmla="*/ 1438765 h 5973007"/>
              <a:gd name="connsiteX54900" fmla="*/ 5835963 w 6884782"/>
              <a:gd name="connsiteY54900" fmla="*/ 1446021 h 5973007"/>
              <a:gd name="connsiteX54901" fmla="*/ 5828280 w 6884782"/>
              <a:gd name="connsiteY54901" fmla="*/ 1442322 h 5973007"/>
              <a:gd name="connsiteX54902" fmla="*/ 5829774 w 6884782"/>
              <a:gd name="connsiteY54902" fmla="*/ 1439904 h 5973007"/>
              <a:gd name="connsiteX54903" fmla="*/ 5833189 w 6884782"/>
              <a:gd name="connsiteY54903" fmla="*/ 1438054 h 5973007"/>
              <a:gd name="connsiteX54904" fmla="*/ 4181960 w 6884782"/>
              <a:gd name="connsiteY54904" fmla="*/ 1438054 h 5973007"/>
              <a:gd name="connsiteX54905" fmla="*/ 4188149 w 6884782"/>
              <a:gd name="connsiteY54905" fmla="*/ 1441326 h 5973007"/>
              <a:gd name="connsiteX54906" fmla="*/ 4192417 w 6884782"/>
              <a:gd name="connsiteY54906" fmla="*/ 1442891 h 5973007"/>
              <a:gd name="connsiteX54907" fmla="*/ 4194125 w 6884782"/>
              <a:gd name="connsiteY54907" fmla="*/ 1446306 h 5973007"/>
              <a:gd name="connsiteX54908" fmla="*/ 4183881 w 6884782"/>
              <a:gd name="connsiteY54908" fmla="*/ 1447017 h 5973007"/>
              <a:gd name="connsiteX54909" fmla="*/ 4177478 w 6884782"/>
              <a:gd name="connsiteY54909" fmla="*/ 1441042 h 5973007"/>
              <a:gd name="connsiteX54910" fmla="*/ 4181960 w 6884782"/>
              <a:gd name="connsiteY54910" fmla="*/ 1438054 h 5973007"/>
              <a:gd name="connsiteX54911" fmla="*/ 1151823 w 6884782"/>
              <a:gd name="connsiteY54911" fmla="*/ 1437615 h 5973007"/>
              <a:gd name="connsiteX54912" fmla="*/ 1161426 w 6884782"/>
              <a:gd name="connsiteY54912" fmla="*/ 1437615 h 5973007"/>
              <a:gd name="connsiteX54913" fmla="*/ 1151823 w 6884782"/>
              <a:gd name="connsiteY54913" fmla="*/ 1437615 h 5973007"/>
              <a:gd name="connsiteX54914" fmla="*/ 1280067 w 6884782"/>
              <a:gd name="connsiteY54914" fmla="*/ 1436995 h 5973007"/>
              <a:gd name="connsiteX54915" fmla="*/ 1287708 w 6884782"/>
              <a:gd name="connsiteY54915" fmla="*/ 1444430 h 5973007"/>
              <a:gd name="connsiteX54916" fmla="*/ 1289980 w 6884782"/>
              <a:gd name="connsiteY54916" fmla="*/ 1454499 h 5973007"/>
              <a:gd name="connsiteX54917" fmla="*/ 1280067 w 6884782"/>
              <a:gd name="connsiteY54917" fmla="*/ 1436995 h 5973007"/>
              <a:gd name="connsiteX54918" fmla="*/ 1321990 w 6884782"/>
              <a:gd name="connsiteY54918" fmla="*/ 1436531 h 5973007"/>
              <a:gd name="connsiteX54919" fmla="*/ 1330560 w 6884782"/>
              <a:gd name="connsiteY54919" fmla="*/ 1438854 h 5973007"/>
              <a:gd name="connsiteX54920" fmla="*/ 1326223 w 6884782"/>
              <a:gd name="connsiteY54920" fmla="*/ 1447218 h 5973007"/>
              <a:gd name="connsiteX54921" fmla="*/ 1320028 w 6884782"/>
              <a:gd name="connsiteY54921" fmla="*/ 1439629 h 5973007"/>
              <a:gd name="connsiteX54922" fmla="*/ 1321990 w 6884782"/>
              <a:gd name="connsiteY54922" fmla="*/ 1436531 h 5973007"/>
              <a:gd name="connsiteX54923" fmla="*/ 3845824 w 6884782"/>
              <a:gd name="connsiteY54923" fmla="*/ 1435777 h 5973007"/>
              <a:gd name="connsiteX54924" fmla="*/ 3847531 w 6884782"/>
              <a:gd name="connsiteY54924" fmla="*/ 1437912 h 5973007"/>
              <a:gd name="connsiteX54925" fmla="*/ 3847958 w 6884782"/>
              <a:gd name="connsiteY54925" fmla="*/ 1437627 h 5973007"/>
              <a:gd name="connsiteX54926" fmla="*/ 3846678 w 6884782"/>
              <a:gd name="connsiteY54926" fmla="*/ 1435920 h 5973007"/>
              <a:gd name="connsiteX54927" fmla="*/ 1697610 w 6884782"/>
              <a:gd name="connsiteY54927" fmla="*/ 1435117 h 5973007"/>
              <a:gd name="connsiteX54928" fmla="*/ 1700010 w 6884782"/>
              <a:gd name="connsiteY54928" fmla="*/ 1440558 h 5973007"/>
              <a:gd name="connsiteX54929" fmla="*/ 1697945 w 6884782"/>
              <a:gd name="connsiteY54929" fmla="*/ 1444121 h 5973007"/>
              <a:gd name="connsiteX54930" fmla="*/ 1690511 w 6884782"/>
              <a:gd name="connsiteY54930" fmla="*/ 1444585 h 5973007"/>
              <a:gd name="connsiteX54931" fmla="*/ 1689169 w 6884782"/>
              <a:gd name="connsiteY54931" fmla="*/ 1435601 h 5973007"/>
              <a:gd name="connsiteX54932" fmla="*/ 1697610 w 6884782"/>
              <a:gd name="connsiteY54932" fmla="*/ 1435117 h 5973007"/>
              <a:gd name="connsiteX54933" fmla="*/ 4204582 w 6884782"/>
              <a:gd name="connsiteY54933" fmla="*/ 1434497 h 5973007"/>
              <a:gd name="connsiteX54934" fmla="*/ 4212052 w 6884782"/>
              <a:gd name="connsiteY54934" fmla="*/ 1437485 h 5973007"/>
              <a:gd name="connsiteX54935" fmla="*/ 4197326 w 6884782"/>
              <a:gd name="connsiteY54935" fmla="*/ 1449435 h 5973007"/>
              <a:gd name="connsiteX54936" fmla="*/ 4195832 w 6884782"/>
              <a:gd name="connsiteY54936" fmla="*/ 1438481 h 5973007"/>
              <a:gd name="connsiteX54937" fmla="*/ 4204582 w 6884782"/>
              <a:gd name="connsiteY54937" fmla="*/ 1434497 h 5973007"/>
              <a:gd name="connsiteX54938" fmla="*/ 4966704 w 6884782"/>
              <a:gd name="connsiteY54938" fmla="*/ 1434355 h 5973007"/>
              <a:gd name="connsiteX54939" fmla="*/ 4969692 w 6884782"/>
              <a:gd name="connsiteY54939" fmla="*/ 1435209 h 5973007"/>
              <a:gd name="connsiteX54940" fmla="*/ 4968838 w 6884782"/>
              <a:gd name="connsiteY54940" fmla="*/ 1441184 h 5973007"/>
              <a:gd name="connsiteX54941" fmla="*/ 4958595 w 6884782"/>
              <a:gd name="connsiteY54941" fmla="*/ 1444314 h 5973007"/>
              <a:gd name="connsiteX54942" fmla="*/ 4958167 w 6884782"/>
              <a:gd name="connsiteY54942" fmla="*/ 1439477 h 5973007"/>
              <a:gd name="connsiteX54943" fmla="*/ 4966704 w 6884782"/>
              <a:gd name="connsiteY54943" fmla="*/ 1434355 h 5973007"/>
              <a:gd name="connsiteX54944" fmla="*/ 4686057 w 6884782"/>
              <a:gd name="connsiteY54944" fmla="*/ 1434070 h 5973007"/>
              <a:gd name="connsiteX54945" fmla="*/ 4690966 w 6884782"/>
              <a:gd name="connsiteY54945" fmla="*/ 1436773 h 5973007"/>
              <a:gd name="connsiteX54946" fmla="*/ 4694381 w 6884782"/>
              <a:gd name="connsiteY54946" fmla="*/ 1437058 h 5973007"/>
              <a:gd name="connsiteX54947" fmla="*/ 4702277 w 6884782"/>
              <a:gd name="connsiteY54947" fmla="*/ 1437343 h 5973007"/>
              <a:gd name="connsiteX54948" fmla="*/ 4703771 w 6884782"/>
              <a:gd name="connsiteY54948" fmla="*/ 1443318 h 5973007"/>
              <a:gd name="connsiteX54949" fmla="*/ 4683496 w 6884782"/>
              <a:gd name="connsiteY54949" fmla="*/ 1449578 h 5973007"/>
              <a:gd name="connsiteX54950" fmla="*/ 4682216 w 6884782"/>
              <a:gd name="connsiteY54950" fmla="*/ 1443033 h 5973007"/>
              <a:gd name="connsiteX54951" fmla="*/ 4684563 w 6884782"/>
              <a:gd name="connsiteY54951" fmla="*/ 1440046 h 5973007"/>
              <a:gd name="connsiteX54952" fmla="*/ 4682856 w 6884782"/>
              <a:gd name="connsiteY54952" fmla="*/ 1437343 h 5973007"/>
              <a:gd name="connsiteX54953" fmla="*/ 4686057 w 6884782"/>
              <a:gd name="connsiteY54953" fmla="*/ 1434070 h 5973007"/>
              <a:gd name="connsiteX54954" fmla="*/ 4174703 w 6884782"/>
              <a:gd name="connsiteY54954" fmla="*/ 1434070 h 5973007"/>
              <a:gd name="connsiteX54955" fmla="*/ 4177051 w 6884782"/>
              <a:gd name="connsiteY54955" fmla="*/ 1438907 h 5973007"/>
              <a:gd name="connsiteX54956" fmla="*/ 4170435 w 6884782"/>
              <a:gd name="connsiteY54956" fmla="*/ 1440899 h 5973007"/>
              <a:gd name="connsiteX54957" fmla="*/ 4167874 w 6884782"/>
              <a:gd name="connsiteY54957" fmla="*/ 1436062 h 5973007"/>
              <a:gd name="connsiteX54958" fmla="*/ 4174703 w 6884782"/>
              <a:gd name="connsiteY54958" fmla="*/ 1434070 h 5973007"/>
              <a:gd name="connsiteX54959" fmla="*/ 1474706 w 6884782"/>
              <a:gd name="connsiteY54959" fmla="*/ 1433897 h 5973007"/>
              <a:gd name="connsiteX54960" fmla="*/ 1474809 w 6884782"/>
              <a:gd name="connsiteY54960" fmla="*/ 1435137 h 5973007"/>
              <a:gd name="connsiteX54961" fmla="*/ 1473570 w 6884782"/>
              <a:gd name="connsiteY54961" fmla="*/ 1436531 h 5973007"/>
              <a:gd name="connsiteX54962" fmla="*/ 1470575 w 6884782"/>
              <a:gd name="connsiteY54962" fmla="*/ 1439009 h 5973007"/>
              <a:gd name="connsiteX54963" fmla="*/ 1474706 w 6884782"/>
              <a:gd name="connsiteY54963" fmla="*/ 1433897 h 5973007"/>
              <a:gd name="connsiteX54964" fmla="*/ 4277999 w 6884782"/>
              <a:gd name="connsiteY54964" fmla="*/ 1433643 h 5973007"/>
              <a:gd name="connsiteX54965" fmla="*/ 4289310 w 6884782"/>
              <a:gd name="connsiteY54965" fmla="*/ 1443033 h 5973007"/>
              <a:gd name="connsiteX54966" fmla="*/ 4289310 w 6884782"/>
              <a:gd name="connsiteY54966" fmla="*/ 1448013 h 5973007"/>
              <a:gd name="connsiteX54967" fmla="*/ 4281413 w 6884782"/>
              <a:gd name="connsiteY54967" fmla="*/ 1454557 h 5973007"/>
              <a:gd name="connsiteX54968" fmla="*/ 4270742 w 6884782"/>
              <a:gd name="connsiteY54968" fmla="*/ 1446306 h 5973007"/>
              <a:gd name="connsiteX54969" fmla="*/ 4271596 w 6884782"/>
              <a:gd name="connsiteY54969" fmla="*/ 1440757 h 5973007"/>
              <a:gd name="connsiteX54970" fmla="*/ 4277999 w 6884782"/>
              <a:gd name="connsiteY54970" fmla="*/ 1433643 h 5973007"/>
              <a:gd name="connsiteX54971" fmla="*/ 6026547 w 6884782"/>
              <a:gd name="connsiteY54971" fmla="*/ 1433501 h 5973007"/>
              <a:gd name="connsiteX54972" fmla="*/ 6044688 w 6884782"/>
              <a:gd name="connsiteY54972" fmla="*/ 1433928 h 5973007"/>
              <a:gd name="connsiteX54973" fmla="*/ 6046822 w 6884782"/>
              <a:gd name="connsiteY54973" fmla="*/ 1436347 h 5973007"/>
              <a:gd name="connsiteX54974" fmla="*/ 6047889 w 6884782"/>
              <a:gd name="connsiteY54974" fmla="*/ 1436347 h 5973007"/>
              <a:gd name="connsiteX54975" fmla="*/ 6048742 w 6884782"/>
              <a:gd name="connsiteY54975" fmla="*/ 1437627 h 5973007"/>
              <a:gd name="connsiteX54976" fmla="*/ 6048742 w 6884782"/>
              <a:gd name="connsiteY54976" fmla="*/ 1438765 h 5973007"/>
              <a:gd name="connsiteX54977" fmla="*/ 6041913 w 6884782"/>
              <a:gd name="connsiteY54977" fmla="*/ 1439904 h 5973007"/>
              <a:gd name="connsiteX54978" fmla="*/ 6036151 w 6884782"/>
              <a:gd name="connsiteY54978" fmla="*/ 1439904 h 5973007"/>
              <a:gd name="connsiteX54979" fmla="*/ 6018437 w 6884782"/>
              <a:gd name="connsiteY54979" fmla="*/ 1434782 h 5973007"/>
              <a:gd name="connsiteX54980" fmla="*/ 6026547 w 6884782"/>
              <a:gd name="connsiteY54980" fmla="*/ 1433501 h 5973007"/>
              <a:gd name="connsiteX54981" fmla="*/ 4843348 w 6884782"/>
              <a:gd name="connsiteY54981" fmla="*/ 1433359 h 5973007"/>
              <a:gd name="connsiteX54982" fmla="*/ 4858714 w 6884782"/>
              <a:gd name="connsiteY54982" fmla="*/ 1438623 h 5973007"/>
              <a:gd name="connsiteX54983" fmla="*/ 4835238 w 6884782"/>
              <a:gd name="connsiteY54983" fmla="*/ 1454842 h 5973007"/>
              <a:gd name="connsiteX54984" fmla="*/ 4831610 w 6884782"/>
              <a:gd name="connsiteY54984" fmla="*/ 1443603 h 5973007"/>
              <a:gd name="connsiteX54985" fmla="*/ 4843348 w 6884782"/>
              <a:gd name="connsiteY54985" fmla="*/ 1433359 h 5973007"/>
              <a:gd name="connsiteX54986" fmla="*/ 5796054 w 6884782"/>
              <a:gd name="connsiteY54986" fmla="*/ 1432363 h 5973007"/>
              <a:gd name="connsiteX54987" fmla="*/ 5799682 w 6884782"/>
              <a:gd name="connsiteY54987" fmla="*/ 1432505 h 5973007"/>
              <a:gd name="connsiteX54988" fmla="*/ 5791998 w 6884782"/>
              <a:gd name="connsiteY54988" fmla="*/ 1441326 h 5973007"/>
              <a:gd name="connsiteX54989" fmla="*/ 5796054 w 6884782"/>
              <a:gd name="connsiteY54989" fmla="*/ 1432363 h 5973007"/>
              <a:gd name="connsiteX54990" fmla="*/ 5132745 w 6884782"/>
              <a:gd name="connsiteY54990" fmla="*/ 1432363 h 5973007"/>
              <a:gd name="connsiteX54991" fmla="*/ 5139361 w 6884782"/>
              <a:gd name="connsiteY54991" fmla="*/ 1447443 h 5973007"/>
              <a:gd name="connsiteX54992" fmla="*/ 5134879 w 6884782"/>
              <a:gd name="connsiteY54992" fmla="*/ 1449862 h 5973007"/>
              <a:gd name="connsiteX54993" fmla="*/ 5132745 w 6884782"/>
              <a:gd name="connsiteY54993" fmla="*/ 1432363 h 5973007"/>
              <a:gd name="connsiteX54994" fmla="*/ 1348836 w 6884782"/>
              <a:gd name="connsiteY54994" fmla="*/ 1432349 h 5973007"/>
              <a:gd name="connsiteX54995" fmla="*/ 1350178 w 6884782"/>
              <a:gd name="connsiteY54995" fmla="*/ 1433433 h 5973007"/>
              <a:gd name="connsiteX54996" fmla="*/ 1350695 w 6884782"/>
              <a:gd name="connsiteY54996" fmla="*/ 1434982 h 5973007"/>
              <a:gd name="connsiteX54997" fmla="*/ 1347288 w 6884782"/>
              <a:gd name="connsiteY54997" fmla="*/ 1435601 h 5973007"/>
              <a:gd name="connsiteX54998" fmla="*/ 1347494 w 6884782"/>
              <a:gd name="connsiteY54998" fmla="*/ 1434052 h 5973007"/>
              <a:gd name="connsiteX54999" fmla="*/ 1346668 w 6884782"/>
              <a:gd name="connsiteY54999" fmla="*/ 1433897 h 5973007"/>
              <a:gd name="connsiteX55000" fmla="*/ 1347804 w 6884782"/>
              <a:gd name="connsiteY55000" fmla="*/ 1432504 h 5973007"/>
              <a:gd name="connsiteX55001" fmla="*/ 1348630 w 6884782"/>
              <a:gd name="connsiteY55001" fmla="*/ 1432504 h 5973007"/>
              <a:gd name="connsiteX55002" fmla="*/ 1348836 w 6884782"/>
              <a:gd name="connsiteY55002" fmla="*/ 1432349 h 5973007"/>
              <a:gd name="connsiteX55003" fmla="*/ 5806511 w 6884782"/>
              <a:gd name="connsiteY55003" fmla="*/ 1432078 h 5973007"/>
              <a:gd name="connsiteX55004" fmla="*/ 5822091 w 6884782"/>
              <a:gd name="connsiteY55004" fmla="*/ 1450858 h 5973007"/>
              <a:gd name="connsiteX55005" fmla="*/ 5818036 w 6884782"/>
              <a:gd name="connsiteY55005" fmla="*/ 1475186 h 5973007"/>
              <a:gd name="connsiteX55006" fmla="*/ 5806511 w 6884782"/>
              <a:gd name="connsiteY55006" fmla="*/ 1432078 h 5973007"/>
              <a:gd name="connsiteX55007" fmla="*/ 4743040 w 6884782"/>
              <a:gd name="connsiteY55007" fmla="*/ 1432078 h 5973007"/>
              <a:gd name="connsiteX55008" fmla="*/ 4749230 w 6884782"/>
              <a:gd name="connsiteY55008" fmla="*/ 1439334 h 5973007"/>
              <a:gd name="connsiteX55009" fmla="*/ 4727674 w 6884782"/>
              <a:gd name="connsiteY55009" fmla="*/ 1447301 h 5973007"/>
              <a:gd name="connsiteX55010" fmla="*/ 4743040 w 6884782"/>
              <a:gd name="connsiteY55010" fmla="*/ 1432078 h 5973007"/>
              <a:gd name="connsiteX55011" fmla="*/ 1222244 w 6884782"/>
              <a:gd name="connsiteY55011" fmla="*/ 1432039 h 5973007"/>
              <a:gd name="connsiteX55012" fmla="*/ 1227200 w 6884782"/>
              <a:gd name="connsiteY55012" fmla="*/ 1433278 h 5973007"/>
              <a:gd name="connsiteX55013" fmla="*/ 1228027 w 6884782"/>
              <a:gd name="connsiteY55013" fmla="*/ 1441642 h 5973007"/>
              <a:gd name="connsiteX55014" fmla="*/ 1219456 w 6884782"/>
              <a:gd name="connsiteY55014" fmla="*/ 1443037 h 5973007"/>
              <a:gd name="connsiteX55015" fmla="*/ 1217804 w 6884782"/>
              <a:gd name="connsiteY55015" fmla="*/ 1439319 h 5973007"/>
              <a:gd name="connsiteX55016" fmla="*/ 1222244 w 6884782"/>
              <a:gd name="connsiteY55016" fmla="*/ 1432039 h 5973007"/>
              <a:gd name="connsiteX55017" fmla="*/ 3873141 w 6884782"/>
              <a:gd name="connsiteY55017" fmla="*/ 1431936 h 5973007"/>
              <a:gd name="connsiteX55018" fmla="*/ 3880184 w 6884782"/>
              <a:gd name="connsiteY55018" fmla="*/ 1448440 h 5973007"/>
              <a:gd name="connsiteX55019" fmla="*/ 3866953 w 6884782"/>
              <a:gd name="connsiteY55019" fmla="*/ 1437058 h 5973007"/>
              <a:gd name="connsiteX55020" fmla="*/ 3873141 w 6884782"/>
              <a:gd name="connsiteY55020" fmla="*/ 1431936 h 5973007"/>
              <a:gd name="connsiteX55021" fmla="*/ 3984120 w 6884782"/>
              <a:gd name="connsiteY55021" fmla="*/ 1431794 h 5973007"/>
              <a:gd name="connsiteX55022" fmla="*/ 3978998 w 6884782"/>
              <a:gd name="connsiteY55022" fmla="*/ 1445168 h 5973007"/>
              <a:gd name="connsiteX55023" fmla="*/ 3976650 w 6884782"/>
              <a:gd name="connsiteY55023" fmla="*/ 1447443 h 5973007"/>
              <a:gd name="connsiteX55024" fmla="*/ 3977717 w 6884782"/>
              <a:gd name="connsiteY55024" fmla="*/ 1447728 h 5973007"/>
              <a:gd name="connsiteX55025" fmla="*/ 3983693 w 6884782"/>
              <a:gd name="connsiteY55025" fmla="*/ 1451285 h 5973007"/>
              <a:gd name="connsiteX55026" fmla="*/ 3984974 w 6884782"/>
              <a:gd name="connsiteY55026" fmla="*/ 1455127 h 5973007"/>
              <a:gd name="connsiteX55027" fmla="*/ 3965766 w 6884782"/>
              <a:gd name="connsiteY55027" fmla="*/ 1467930 h 5973007"/>
              <a:gd name="connsiteX55028" fmla="*/ 3957016 w 6884782"/>
              <a:gd name="connsiteY55028" fmla="*/ 1465512 h 5973007"/>
              <a:gd name="connsiteX55029" fmla="*/ 3945064 w 6884782"/>
              <a:gd name="connsiteY55029" fmla="*/ 1474902 h 5973007"/>
              <a:gd name="connsiteX55030" fmla="*/ 3943997 w 6884782"/>
              <a:gd name="connsiteY55030" fmla="*/ 1473479 h 5973007"/>
              <a:gd name="connsiteX55031" fmla="*/ 3944210 w 6884782"/>
              <a:gd name="connsiteY55031" fmla="*/ 1476894 h 5973007"/>
              <a:gd name="connsiteX55032" fmla="*/ 3943143 w 6884782"/>
              <a:gd name="connsiteY55032" fmla="*/ 1481872 h 5973007"/>
              <a:gd name="connsiteX55033" fmla="*/ 3941009 w 6884782"/>
              <a:gd name="connsiteY55033" fmla="*/ 1483865 h 5973007"/>
              <a:gd name="connsiteX55034" fmla="*/ 3936741 w 6884782"/>
              <a:gd name="connsiteY55034" fmla="*/ 1479881 h 5973007"/>
              <a:gd name="connsiteX55035" fmla="*/ 3939942 w 6884782"/>
              <a:gd name="connsiteY55035" fmla="*/ 1468641 h 5973007"/>
              <a:gd name="connsiteX55036" fmla="*/ 3941222 w 6884782"/>
              <a:gd name="connsiteY55036" fmla="*/ 1469780 h 5973007"/>
              <a:gd name="connsiteX55037" fmla="*/ 3937808 w 6884782"/>
              <a:gd name="connsiteY55037" fmla="*/ 1463378 h 5973007"/>
              <a:gd name="connsiteX55038" fmla="*/ 3943357 w 6884782"/>
              <a:gd name="connsiteY55038" fmla="*/ 1459394 h 5973007"/>
              <a:gd name="connsiteX55039" fmla="*/ 3942503 w 6884782"/>
              <a:gd name="connsiteY55039" fmla="*/ 1458399 h 5973007"/>
              <a:gd name="connsiteX55040" fmla="*/ 3942930 w 6884782"/>
              <a:gd name="connsiteY55040" fmla="*/ 1457118 h 5973007"/>
              <a:gd name="connsiteX55041" fmla="*/ 3942289 w 6884782"/>
              <a:gd name="connsiteY55041" fmla="*/ 1456691 h 5973007"/>
              <a:gd name="connsiteX55042" fmla="*/ 3954454 w 6884782"/>
              <a:gd name="connsiteY55042" fmla="*/ 1444598 h 5973007"/>
              <a:gd name="connsiteX55043" fmla="*/ 3960644 w 6884782"/>
              <a:gd name="connsiteY55043" fmla="*/ 1444598 h 5973007"/>
              <a:gd name="connsiteX55044" fmla="*/ 3961924 w 6884782"/>
              <a:gd name="connsiteY55044" fmla="*/ 1439904 h 5973007"/>
              <a:gd name="connsiteX55045" fmla="*/ 3968327 w 6884782"/>
              <a:gd name="connsiteY55045" fmla="*/ 1438196 h 5973007"/>
              <a:gd name="connsiteX55046" fmla="*/ 3970034 w 6884782"/>
              <a:gd name="connsiteY55046" fmla="*/ 1441042 h 5973007"/>
              <a:gd name="connsiteX55047" fmla="*/ 5898495 w 6884782"/>
              <a:gd name="connsiteY55047" fmla="*/ 1431652 h 5973007"/>
              <a:gd name="connsiteX55048" fmla="*/ 5909806 w 6884782"/>
              <a:gd name="connsiteY55048" fmla="*/ 1432932 h 5973007"/>
              <a:gd name="connsiteX55049" fmla="*/ 5912154 w 6884782"/>
              <a:gd name="connsiteY55049" fmla="*/ 1432932 h 5973007"/>
              <a:gd name="connsiteX55050" fmla="*/ 5914074 w 6884782"/>
              <a:gd name="connsiteY55050" fmla="*/ 1435351 h 5973007"/>
              <a:gd name="connsiteX55051" fmla="*/ 5903617 w 6884782"/>
              <a:gd name="connsiteY55051" fmla="*/ 1436347 h 5973007"/>
              <a:gd name="connsiteX55052" fmla="*/ 5897855 w 6884782"/>
              <a:gd name="connsiteY55052" fmla="*/ 1436347 h 5973007"/>
              <a:gd name="connsiteX55053" fmla="*/ 5895934 w 6884782"/>
              <a:gd name="connsiteY55053" fmla="*/ 1433928 h 5973007"/>
              <a:gd name="connsiteX55054" fmla="*/ 5895934 w 6884782"/>
              <a:gd name="connsiteY55054" fmla="*/ 1432648 h 5973007"/>
              <a:gd name="connsiteX55055" fmla="*/ 5898495 w 6884782"/>
              <a:gd name="connsiteY55055" fmla="*/ 1431652 h 5973007"/>
              <a:gd name="connsiteX55056" fmla="*/ 4648496 w 6884782"/>
              <a:gd name="connsiteY55056" fmla="*/ 1431652 h 5973007"/>
              <a:gd name="connsiteX55057" fmla="*/ 4650203 w 6884782"/>
              <a:gd name="connsiteY55057" fmla="*/ 1433074 h 5973007"/>
              <a:gd name="connsiteX55058" fmla="*/ 4650203 w 6884782"/>
              <a:gd name="connsiteY55058" fmla="*/ 1436489 h 5973007"/>
              <a:gd name="connsiteX55059" fmla="*/ 4645508 w 6884782"/>
              <a:gd name="connsiteY55059" fmla="*/ 1435209 h 5973007"/>
              <a:gd name="connsiteX55060" fmla="*/ 4648496 w 6884782"/>
              <a:gd name="connsiteY55060" fmla="*/ 1431652 h 5973007"/>
              <a:gd name="connsiteX55061" fmla="*/ 4629928 w 6884782"/>
              <a:gd name="connsiteY55061" fmla="*/ 1431225 h 5973007"/>
              <a:gd name="connsiteX55062" fmla="*/ 4634837 w 6884782"/>
              <a:gd name="connsiteY55062" fmla="*/ 1433074 h 5973007"/>
              <a:gd name="connsiteX55063" fmla="*/ 4640599 w 6884782"/>
              <a:gd name="connsiteY55063" fmla="*/ 1441326 h 5973007"/>
              <a:gd name="connsiteX55064" fmla="*/ 4630141 w 6884782"/>
              <a:gd name="connsiteY55064" fmla="*/ 1441895 h 5973007"/>
              <a:gd name="connsiteX55065" fmla="*/ 4628647 w 6884782"/>
              <a:gd name="connsiteY55065" fmla="*/ 1439619 h 5973007"/>
              <a:gd name="connsiteX55066" fmla="*/ 4626513 w 6884782"/>
              <a:gd name="connsiteY55066" fmla="*/ 1433643 h 5973007"/>
              <a:gd name="connsiteX55067" fmla="*/ 4629928 w 6884782"/>
              <a:gd name="connsiteY55067" fmla="*/ 1431225 h 5973007"/>
              <a:gd name="connsiteX55068" fmla="*/ 5028383 w 6884782"/>
              <a:gd name="connsiteY55068" fmla="*/ 1431083 h 5973007"/>
              <a:gd name="connsiteX55069" fmla="*/ 5057408 w 6884782"/>
              <a:gd name="connsiteY55069" fmla="*/ 1487563 h 5973007"/>
              <a:gd name="connsiteX55070" fmla="*/ 5045030 w 6884782"/>
              <a:gd name="connsiteY55070" fmla="*/ 1489982 h 5973007"/>
              <a:gd name="connsiteX55071" fmla="*/ 5028383 w 6884782"/>
              <a:gd name="connsiteY55071" fmla="*/ 1431083 h 5973007"/>
              <a:gd name="connsiteX55072" fmla="*/ 1020559 w 6884782"/>
              <a:gd name="connsiteY55072" fmla="*/ 1430102 h 5973007"/>
              <a:gd name="connsiteX55073" fmla="*/ 1032459 w 6884782"/>
              <a:gd name="connsiteY55073" fmla="*/ 1437615 h 5973007"/>
              <a:gd name="connsiteX55074" fmla="*/ 1005096 w 6884782"/>
              <a:gd name="connsiteY55074" fmla="*/ 1434672 h 5973007"/>
              <a:gd name="connsiteX55075" fmla="*/ 1020559 w 6884782"/>
              <a:gd name="connsiteY55075" fmla="*/ 1430102 h 5973007"/>
              <a:gd name="connsiteX55076" fmla="*/ 4091043 w 6884782"/>
              <a:gd name="connsiteY55076" fmla="*/ 1430087 h 5973007"/>
              <a:gd name="connsiteX55077" fmla="*/ 4098086 w 6884782"/>
              <a:gd name="connsiteY55077" fmla="*/ 1434070 h 5973007"/>
              <a:gd name="connsiteX55078" fmla="*/ 4101074 w 6884782"/>
              <a:gd name="connsiteY55078" fmla="*/ 1437485 h 5973007"/>
              <a:gd name="connsiteX55079" fmla="*/ 4102141 w 6884782"/>
              <a:gd name="connsiteY55079" fmla="*/ 1430798 h 5973007"/>
              <a:gd name="connsiteX55080" fmla="*/ 4108330 w 6884782"/>
              <a:gd name="connsiteY55080" fmla="*/ 1430514 h 5973007"/>
              <a:gd name="connsiteX55081" fmla="*/ 4124123 w 6884782"/>
              <a:gd name="connsiteY55081" fmla="*/ 1443460 h 5973007"/>
              <a:gd name="connsiteX55082" fmla="*/ 4117081 w 6884782"/>
              <a:gd name="connsiteY55082" fmla="*/ 1452281 h 5973007"/>
              <a:gd name="connsiteX55083" fmla="*/ 4104275 w 6884782"/>
              <a:gd name="connsiteY55083" fmla="*/ 1446590 h 5973007"/>
              <a:gd name="connsiteX55084" fmla="*/ 4103208 w 6884782"/>
              <a:gd name="connsiteY55084" fmla="*/ 1444171 h 5973007"/>
              <a:gd name="connsiteX55085" fmla="*/ 4103208 w 6884782"/>
              <a:gd name="connsiteY55085" fmla="*/ 1445025 h 5973007"/>
              <a:gd name="connsiteX55086" fmla="*/ 4090403 w 6884782"/>
              <a:gd name="connsiteY55086" fmla="*/ 1438481 h 5973007"/>
              <a:gd name="connsiteX55087" fmla="*/ 4087628 w 6884782"/>
              <a:gd name="connsiteY55087" fmla="*/ 1431225 h 5973007"/>
              <a:gd name="connsiteX55088" fmla="*/ 4091043 w 6884782"/>
              <a:gd name="connsiteY55088" fmla="*/ 1430087 h 5973007"/>
              <a:gd name="connsiteX55089" fmla="*/ 1520655 w 6884782"/>
              <a:gd name="connsiteY55089" fmla="*/ 1429560 h 5973007"/>
              <a:gd name="connsiteX55090" fmla="*/ 1521687 w 6884782"/>
              <a:gd name="connsiteY55090" fmla="*/ 1432658 h 5973007"/>
              <a:gd name="connsiteX55091" fmla="*/ 1519932 w 6884782"/>
              <a:gd name="connsiteY55091" fmla="*/ 1430025 h 5973007"/>
              <a:gd name="connsiteX55092" fmla="*/ 1520655 w 6884782"/>
              <a:gd name="connsiteY55092" fmla="*/ 1429560 h 5973007"/>
              <a:gd name="connsiteX55093" fmla="*/ 4124764 w 6884782"/>
              <a:gd name="connsiteY55093" fmla="*/ 1429518 h 5973007"/>
              <a:gd name="connsiteX55094" fmla="*/ 4136502 w 6884782"/>
              <a:gd name="connsiteY55094" fmla="*/ 1439904 h 5973007"/>
              <a:gd name="connsiteX55095" fmla="*/ 4125404 w 6884782"/>
              <a:gd name="connsiteY55095" fmla="*/ 1440472 h 5973007"/>
              <a:gd name="connsiteX55096" fmla="*/ 4118574 w 6884782"/>
              <a:gd name="connsiteY55096" fmla="*/ 1429660 h 5973007"/>
              <a:gd name="connsiteX55097" fmla="*/ 4124764 w 6884782"/>
              <a:gd name="connsiteY55097" fmla="*/ 1429518 h 5973007"/>
              <a:gd name="connsiteX55098" fmla="*/ 3995431 w 6884782"/>
              <a:gd name="connsiteY55098" fmla="*/ 1429518 h 5973007"/>
              <a:gd name="connsiteX55099" fmla="*/ 4000126 w 6884782"/>
              <a:gd name="connsiteY55099" fmla="*/ 1434782 h 5973007"/>
              <a:gd name="connsiteX55100" fmla="*/ 4003755 w 6884782"/>
              <a:gd name="connsiteY55100" fmla="*/ 1435209 h 5973007"/>
              <a:gd name="connsiteX55101" fmla="*/ 3993297 w 6884782"/>
              <a:gd name="connsiteY55101" fmla="*/ 1443460 h 5973007"/>
              <a:gd name="connsiteX55102" fmla="*/ 3992016 w 6884782"/>
              <a:gd name="connsiteY55102" fmla="*/ 1443176 h 5973007"/>
              <a:gd name="connsiteX55103" fmla="*/ 3989029 w 6884782"/>
              <a:gd name="connsiteY55103" fmla="*/ 1444456 h 5973007"/>
              <a:gd name="connsiteX55104" fmla="*/ 3985400 w 6884782"/>
              <a:gd name="connsiteY55104" fmla="*/ 1441184 h 5973007"/>
              <a:gd name="connsiteX55105" fmla="*/ 3995431 w 6884782"/>
              <a:gd name="connsiteY55105" fmla="*/ 1429518 h 5973007"/>
              <a:gd name="connsiteX55106" fmla="*/ 1260552 w 6884782"/>
              <a:gd name="connsiteY55106" fmla="*/ 1429405 h 5973007"/>
              <a:gd name="connsiteX55107" fmla="*/ 1268090 w 6884782"/>
              <a:gd name="connsiteY55107" fmla="*/ 1434517 h 5973007"/>
              <a:gd name="connsiteX55108" fmla="*/ 1241553 w 6884782"/>
              <a:gd name="connsiteY55108" fmla="*/ 1469988 h 5973007"/>
              <a:gd name="connsiteX55109" fmla="*/ 1241450 w 6884782"/>
              <a:gd name="connsiteY55109" fmla="*/ 1464877 h 5973007"/>
              <a:gd name="connsiteX55110" fmla="*/ 1260552 w 6884782"/>
              <a:gd name="connsiteY55110" fmla="*/ 1429405 h 5973007"/>
              <a:gd name="connsiteX55111" fmla="*/ 5449247 w 6884782"/>
              <a:gd name="connsiteY55111" fmla="*/ 1429376 h 5973007"/>
              <a:gd name="connsiteX55112" fmla="*/ 5463118 w 6884782"/>
              <a:gd name="connsiteY55112" fmla="*/ 1439334 h 5973007"/>
              <a:gd name="connsiteX55113" fmla="*/ 5466747 w 6884782"/>
              <a:gd name="connsiteY55113" fmla="*/ 1456549 h 5973007"/>
              <a:gd name="connsiteX55114" fmla="*/ 5455862 w 6884782"/>
              <a:gd name="connsiteY55114" fmla="*/ 1445452 h 5973007"/>
              <a:gd name="connsiteX55115" fmla="*/ 5449247 w 6884782"/>
              <a:gd name="connsiteY55115" fmla="*/ 1429376 h 5973007"/>
              <a:gd name="connsiteX55116" fmla="*/ 1739351 w 6884782"/>
              <a:gd name="connsiteY55116" fmla="*/ 1429096 h 5973007"/>
              <a:gd name="connsiteX55117" fmla="*/ 1741933 w 6884782"/>
              <a:gd name="connsiteY55117" fmla="*/ 1430025 h 5973007"/>
              <a:gd name="connsiteX55118" fmla="*/ 1742449 w 6884782"/>
              <a:gd name="connsiteY55118" fmla="*/ 1433588 h 5973007"/>
              <a:gd name="connsiteX55119" fmla="*/ 1740487 w 6884782"/>
              <a:gd name="connsiteY55119" fmla="*/ 1434362 h 5973007"/>
              <a:gd name="connsiteX55120" fmla="*/ 1737803 w 6884782"/>
              <a:gd name="connsiteY55120" fmla="*/ 1434207 h 5973007"/>
              <a:gd name="connsiteX55121" fmla="*/ 1737493 w 6884782"/>
              <a:gd name="connsiteY55121" fmla="*/ 1429870 h 5973007"/>
              <a:gd name="connsiteX55122" fmla="*/ 1739351 w 6884782"/>
              <a:gd name="connsiteY55122" fmla="*/ 1429096 h 5973007"/>
              <a:gd name="connsiteX55123" fmla="*/ 5017071 w 6884782"/>
              <a:gd name="connsiteY55123" fmla="*/ 1429091 h 5973007"/>
              <a:gd name="connsiteX55124" fmla="*/ 5018779 w 6884782"/>
              <a:gd name="connsiteY55124" fmla="*/ 1441326 h 5973007"/>
              <a:gd name="connsiteX55125" fmla="*/ 5017071 w 6884782"/>
              <a:gd name="connsiteY55125" fmla="*/ 1429091 h 5973007"/>
              <a:gd name="connsiteX55126" fmla="*/ 5278297 w 6884782"/>
              <a:gd name="connsiteY55126" fmla="*/ 1428948 h 5973007"/>
              <a:gd name="connsiteX55127" fmla="*/ 5279791 w 6884782"/>
              <a:gd name="connsiteY55127" fmla="*/ 1432648 h 5973007"/>
              <a:gd name="connsiteX55128" fmla="*/ 5277871 w 6884782"/>
              <a:gd name="connsiteY55128" fmla="*/ 1446021 h 5973007"/>
              <a:gd name="connsiteX55129" fmla="*/ 5272961 w 6884782"/>
              <a:gd name="connsiteY55129" fmla="*/ 1446448 h 5973007"/>
              <a:gd name="connsiteX55130" fmla="*/ 5272748 w 6884782"/>
              <a:gd name="connsiteY55130" fmla="*/ 1446306 h 5973007"/>
              <a:gd name="connsiteX55131" fmla="*/ 5271895 w 6884782"/>
              <a:gd name="connsiteY55131" fmla="*/ 1451285 h 5973007"/>
              <a:gd name="connsiteX55132" fmla="*/ 5267200 w 6884782"/>
              <a:gd name="connsiteY55132" fmla="*/ 1455837 h 5973007"/>
              <a:gd name="connsiteX55133" fmla="*/ 5266559 w 6884782"/>
              <a:gd name="connsiteY55133" fmla="*/ 1455980 h 5973007"/>
              <a:gd name="connsiteX55134" fmla="*/ 5267200 w 6884782"/>
              <a:gd name="connsiteY55134" fmla="*/ 1457972 h 5973007"/>
              <a:gd name="connsiteX55135" fmla="*/ 5265065 w 6884782"/>
              <a:gd name="connsiteY55135" fmla="*/ 1459394 h 5973007"/>
              <a:gd name="connsiteX55136" fmla="*/ 5263998 w 6884782"/>
              <a:gd name="connsiteY55136" fmla="*/ 1461529 h 5973007"/>
              <a:gd name="connsiteX55137" fmla="*/ 5263145 w 6884782"/>
              <a:gd name="connsiteY55137" fmla="*/ 1460817 h 5973007"/>
              <a:gd name="connsiteX55138" fmla="*/ 5261437 w 6884782"/>
              <a:gd name="connsiteY55138" fmla="*/ 1461244 h 5973007"/>
              <a:gd name="connsiteX55139" fmla="*/ 5258236 w 6884782"/>
              <a:gd name="connsiteY55139" fmla="*/ 1456833 h 5973007"/>
              <a:gd name="connsiteX55140" fmla="*/ 5258022 w 6884782"/>
              <a:gd name="connsiteY55140" fmla="*/ 1455410 h 5973007"/>
              <a:gd name="connsiteX55141" fmla="*/ 5256315 w 6884782"/>
              <a:gd name="connsiteY55141" fmla="*/ 1454415 h 5973007"/>
              <a:gd name="connsiteX55142" fmla="*/ 5255461 w 6884782"/>
              <a:gd name="connsiteY55142" fmla="*/ 1444456 h 5973007"/>
              <a:gd name="connsiteX55143" fmla="*/ 5262931 w 6884782"/>
              <a:gd name="connsiteY55143" fmla="*/ 1443460 h 5973007"/>
              <a:gd name="connsiteX55144" fmla="*/ 5268480 w 6884782"/>
              <a:gd name="connsiteY55144" fmla="*/ 1442322 h 5973007"/>
              <a:gd name="connsiteX55145" fmla="*/ 5267413 w 6884782"/>
              <a:gd name="connsiteY55145" fmla="*/ 1439904 h 5973007"/>
              <a:gd name="connsiteX55146" fmla="*/ 5278297 w 6884782"/>
              <a:gd name="connsiteY55146" fmla="*/ 1428948 h 5973007"/>
              <a:gd name="connsiteX55147" fmla="*/ 4657245 w 6884782"/>
              <a:gd name="connsiteY55147" fmla="*/ 1428948 h 5973007"/>
              <a:gd name="connsiteX55148" fmla="*/ 4659593 w 6884782"/>
              <a:gd name="connsiteY55148" fmla="*/ 1430371 h 5973007"/>
              <a:gd name="connsiteX55149" fmla="*/ 4661728 w 6884782"/>
              <a:gd name="connsiteY55149" fmla="*/ 1432505 h 5973007"/>
              <a:gd name="connsiteX55150" fmla="*/ 4664075 w 6884782"/>
              <a:gd name="connsiteY55150" fmla="*/ 1439192 h 5973007"/>
              <a:gd name="connsiteX55151" fmla="*/ 4661728 w 6884782"/>
              <a:gd name="connsiteY55151" fmla="*/ 1443603 h 5973007"/>
              <a:gd name="connsiteX55152" fmla="*/ 4659807 w 6884782"/>
              <a:gd name="connsiteY55152" fmla="*/ 1444883 h 5973007"/>
              <a:gd name="connsiteX55153" fmla="*/ 4651910 w 6884782"/>
              <a:gd name="connsiteY55153" fmla="*/ 1436915 h 5973007"/>
              <a:gd name="connsiteX55154" fmla="*/ 4657245 w 6884782"/>
              <a:gd name="connsiteY55154" fmla="*/ 1428948 h 5973007"/>
              <a:gd name="connsiteX55155" fmla="*/ 1567430 w 6884782"/>
              <a:gd name="connsiteY55155" fmla="*/ 1427856 h 5973007"/>
              <a:gd name="connsiteX55156" fmla="*/ 1581782 w 6884782"/>
              <a:gd name="connsiteY55156" fmla="*/ 1448458 h 5973007"/>
              <a:gd name="connsiteX55157" fmla="*/ 1564539 w 6884782"/>
              <a:gd name="connsiteY55157" fmla="*/ 1440093 h 5973007"/>
              <a:gd name="connsiteX55158" fmla="*/ 1563816 w 6884782"/>
              <a:gd name="connsiteY55158" fmla="*/ 1438544 h 5973007"/>
              <a:gd name="connsiteX55159" fmla="*/ 1562061 w 6884782"/>
              <a:gd name="connsiteY55159" fmla="*/ 1438235 h 5973007"/>
              <a:gd name="connsiteX55160" fmla="*/ 1559479 w 6884782"/>
              <a:gd name="connsiteY55160" fmla="*/ 1434517 h 5973007"/>
              <a:gd name="connsiteX55161" fmla="*/ 1559789 w 6884782"/>
              <a:gd name="connsiteY55161" fmla="*/ 1431574 h 5973007"/>
              <a:gd name="connsiteX55162" fmla="*/ 1561751 w 6884782"/>
              <a:gd name="connsiteY55162" fmla="*/ 1430800 h 5973007"/>
              <a:gd name="connsiteX55163" fmla="*/ 1564435 w 6884782"/>
              <a:gd name="connsiteY55163" fmla="*/ 1430335 h 5973007"/>
              <a:gd name="connsiteX55164" fmla="*/ 1564848 w 6884782"/>
              <a:gd name="connsiteY55164" fmla="*/ 1430800 h 5973007"/>
              <a:gd name="connsiteX55165" fmla="*/ 4217174 w 6884782"/>
              <a:gd name="connsiteY55165" fmla="*/ 1426815 h 5973007"/>
              <a:gd name="connsiteX55166" fmla="*/ 4219522 w 6884782"/>
              <a:gd name="connsiteY55166" fmla="*/ 1428237 h 5973007"/>
              <a:gd name="connsiteX55167" fmla="*/ 4218027 w 6884782"/>
              <a:gd name="connsiteY55167" fmla="*/ 1432078 h 5973007"/>
              <a:gd name="connsiteX55168" fmla="*/ 4220375 w 6884782"/>
              <a:gd name="connsiteY55168" fmla="*/ 1433501 h 5973007"/>
              <a:gd name="connsiteX55169" fmla="*/ 4220162 w 6884782"/>
              <a:gd name="connsiteY55169" fmla="*/ 1435209 h 5973007"/>
              <a:gd name="connsiteX55170" fmla="*/ 4216534 w 6884782"/>
              <a:gd name="connsiteY55170" fmla="*/ 1435920 h 5973007"/>
              <a:gd name="connsiteX55171" fmla="*/ 4217601 w 6884782"/>
              <a:gd name="connsiteY55171" fmla="*/ 1429518 h 5973007"/>
              <a:gd name="connsiteX55172" fmla="*/ 4217174 w 6884782"/>
              <a:gd name="connsiteY55172" fmla="*/ 1426815 h 5973007"/>
              <a:gd name="connsiteX55173" fmla="*/ 4043877 w 6884782"/>
              <a:gd name="connsiteY55173" fmla="*/ 1426673 h 5973007"/>
              <a:gd name="connsiteX55174" fmla="*/ 4046439 w 6884782"/>
              <a:gd name="connsiteY55174" fmla="*/ 1427384 h 5973007"/>
              <a:gd name="connsiteX55175" fmla="*/ 4047505 w 6884782"/>
              <a:gd name="connsiteY55175" fmla="*/ 1430229 h 5973007"/>
              <a:gd name="connsiteX55176" fmla="*/ 4043877 w 6884782"/>
              <a:gd name="connsiteY55176" fmla="*/ 1433501 h 5973007"/>
              <a:gd name="connsiteX55177" fmla="*/ 4046865 w 6884782"/>
              <a:gd name="connsiteY55177" fmla="*/ 1434640 h 5973007"/>
              <a:gd name="connsiteX55178" fmla="*/ 4049213 w 6884782"/>
              <a:gd name="connsiteY55178" fmla="*/ 1437627 h 5973007"/>
              <a:gd name="connsiteX55179" fmla="*/ 4054122 w 6884782"/>
              <a:gd name="connsiteY55179" fmla="*/ 1432648 h 5973007"/>
              <a:gd name="connsiteX55180" fmla="*/ 4063085 w 6884782"/>
              <a:gd name="connsiteY55180" fmla="*/ 1431652 h 5973007"/>
              <a:gd name="connsiteX55181" fmla="*/ 4076744 w 6884782"/>
              <a:gd name="connsiteY55181" fmla="*/ 1444314 h 5973007"/>
              <a:gd name="connsiteX55182" fmla="*/ 4067567 w 6884782"/>
              <a:gd name="connsiteY55182" fmla="*/ 1471203 h 5973007"/>
              <a:gd name="connsiteX55183" fmla="*/ 4045371 w 6884782"/>
              <a:gd name="connsiteY55183" fmla="*/ 1450146 h 5973007"/>
              <a:gd name="connsiteX55184" fmla="*/ 4046439 w 6884782"/>
              <a:gd name="connsiteY55184" fmla="*/ 1442179 h 5973007"/>
              <a:gd name="connsiteX55185" fmla="*/ 4043024 w 6884782"/>
              <a:gd name="connsiteY55185" fmla="*/ 1444883 h 5973007"/>
              <a:gd name="connsiteX55186" fmla="*/ 4033846 w 6884782"/>
              <a:gd name="connsiteY55186" fmla="*/ 1443176 h 5973007"/>
              <a:gd name="connsiteX55187" fmla="*/ 4031072 w 6884782"/>
              <a:gd name="connsiteY55187" fmla="*/ 1438196 h 5973007"/>
              <a:gd name="connsiteX55188" fmla="*/ 4032566 w 6884782"/>
              <a:gd name="connsiteY55188" fmla="*/ 1436632 h 5973007"/>
              <a:gd name="connsiteX55189" fmla="*/ 4031499 w 6884782"/>
              <a:gd name="connsiteY55189" fmla="*/ 1436347 h 5973007"/>
              <a:gd name="connsiteX55190" fmla="*/ 4028938 w 6884782"/>
              <a:gd name="connsiteY55190" fmla="*/ 1436632 h 5973007"/>
              <a:gd name="connsiteX55191" fmla="*/ 4021895 w 6884782"/>
              <a:gd name="connsiteY55191" fmla="*/ 1432221 h 5973007"/>
              <a:gd name="connsiteX55192" fmla="*/ 4043877 w 6884782"/>
              <a:gd name="connsiteY55192" fmla="*/ 1426673 h 5973007"/>
              <a:gd name="connsiteX55193" fmla="*/ 1357510 w 6884782"/>
              <a:gd name="connsiteY55193" fmla="*/ 1426617 h 5973007"/>
              <a:gd name="connsiteX55194" fmla="*/ 1358336 w 6884782"/>
              <a:gd name="connsiteY55194" fmla="*/ 1426772 h 5973007"/>
              <a:gd name="connsiteX55195" fmla="*/ 1361846 w 6884782"/>
              <a:gd name="connsiteY55195" fmla="*/ 1427082 h 5973007"/>
              <a:gd name="connsiteX55196" fmla="*/ 1363395 w 6884782"/>
              <a:gd name="connsiteY55196" fmla="*/ 1431419 h 5973007"/>
              <a:gd name="connsiteX55197" fmla="*/ 1358232 w 6884782"/>
              <a:gd name="connsiteY55197" fmla="*/ 1432504 h 5973007"/>
              <a:gd name="connsiteX55198" fmla="*/ 1356271 w 6884782"/>
              <a:gd name="connsiteY55198" fmla="*/ 1428166 h 5973007"/>
              <a:gd name="connsiteX55199" fmla="*/ 1357510 w 6884782"/>
              <a:gd name="connsiteY55199" fmla="*/ 1426617 h 5973007"/>
              <a:gd name="connsiteX55200" fmla="*/ 4173850 w 6884782"/>
              <a:gd name="connsiteY55200" fmla="*/ 1425961 h 5973007"/>
              <a:gd name="connsiteX55201" fmla="*/ 4174490 w 6884782"/>
              <a:gd name="connsiteY55201" fmla="*/ 1426246 h 5973007"/>
              <a:gd name="connsiteX55202" fmla="*/ 4174917 w 6884782"/>
              <a:gd name="connsiteY55202" fmla="*/ 1427811 h 5973007"/>
              <a:gd name="connsiteX55203" fmla="*/ 4174063 w 6884782"/>
              <a:gd name="connsiteY55203" fmla="*/ 1428379 h 5973007"/>
              <a:gd name="connsiteX55204" fmla="*/ 4173850 w 6884782"/>
              <a:gd name="connsiteY55204" fmla="*/ 1425961 h 5973007"/>
              <a:gd name="connsiteX55205" fmla="*/ 1546778 w 6884782"/>
              <a:gd name="connsiteY55205" fmla="*/ 1425843 h 5973007"/>
              <a:gd name="connsiteX55206" fmla="*/ 1552148 w 6884782"/>
              <a:gd name="connsiteY55206" fmla="*/ 1437615 h 5973007"/>
              <a:gd name="connsiteX55207" fmla="*/ 1549463 w 6884782"/>
              <a:gd name="connsiteY55207" fmla="*/ 1440248 h 5973007"/>
              <a:gd name="connsiteX55208" fmla="*/ 1543268 w 6884782"/>
              <a:gd name="connsiteY55208" fmla="*/ 1429405 h 5973007"/>
              <a:gd name="connsiteX55209" fmla="*/ 1544507 w 6884782"/>
              <a:gd name="connsiteY55209" fmla="*/ 1426462 h 5973007"/>
              <a:gd name="connsiteX55210" fmla="*/ 1546778 w 6884782"/>
              <a:gd name="connsiteY55210" fmla="*/ 1425843 h 5973007"/>
              <a:gd name="connsiteX55211" fmla="*/ 5233906 w 6884782"/>
              <a:gd name="connsiteY55211" fmla="*/ 1425819 h 5973007"/>
              <a:gd name="connsiteX55212" fmla="*/ 5240095 w 6884782"/>
              <a:gd name="connsiteY55212" fmla="*/ 1429233 h 5973007"/>
              <a:gd name="connsiteX55213" fmla="*/ 5242016 w 6884782"/>
              <a:gd name="connsiteY55213" fmla="*/ 1434213 h 5973007"/>
              <a:gd name="connsiteX55214" fmla="*/ 5241803 w 6884782"/>
              <a:gd name="connsiteY55214" fmla="*/ 1434497 h 5973007"/>
              <a:gd name="connsiteX55215" fmla="*/ 5243510 w 6884782"/>
              <a:gd name="connsiteY55215" fmla="*/ 1433359 h 5973007"/>
              <a:gd name="connsiteX55216" fmla="*/ 5245858 w 6884782"/>
              <a:gd name="connsiteY55216" fmla="*/ 1433359 h 5973007"/>
              <a:gd name="connsiteX55217" fmla="*/ 5247351 w 6884782"/>
              <a:gd name="connsiteY55217" fmla="*/ 1435777 h 5973007"/>
              <a:gd name="connsiteX55218" fmla="*/ 5247991 w 6884782"/>
              <a:gd name="connsiteY55218" fmla="*/ 1440614 h 5973007"/>
              <a:gd name="connsiteX55219" fmla="*/ 5246071 w 6884782"/>
              <a:gd name="connsiteY55219" fmla="*/ 1443176 h 5973007"/>
              <a:gd name="connsiteX55220" fmla="*/ 5243723 w 6884782"/>
              <a:gd name="connsiteY55220" fmla="*/ 1442037 h 5973007"/>
              <a:gd name="connsiteX55221" fmla="*/ 5241376 w 6884782"/>
              <a:gd name="connsiteY55221" fmla="*/ 1442179 h 5973007"/>
              <a:gd name="connsiteX55222" fmla="*/ 5241162 w 6884782"/>
              <a:gd name="connsiteY55222" fmla="*/ 1441042 h 5973007"/>
              <a:gd name="connsiteX55223" fmla="*/ 5241376 w 6884782"/>
              <a:gd name="connsiteY55223" fmla="*/ 1440899 h 5973007"/>
              <a:gd name="connsiteX55224" fmla="*/ 5240522 w 6884782"/>
              <a:gd name="connsiteY55224" fmla="*/ 1440188 h 5973007"/>
              <a:gd name="connsiteX55225" fmla="*/ 5239668 w 6884782"/>
              <a:gd name="connsiteY55225" fmla="*/ 1443460 h 5973007"/>
              <a:gd name="connsiteX55226" fmla="*/ 5222381 w 6884782"/>
              <a:gd name="connsiteY55226" fmla="*/ 1438054 h 5973007"/>
              <a:gd name="connsiteX55227" fmla="*/ 5226223 w 6884782"/>
              <a:gd name="connsiteY55227" fmla="*/ 1428379 h 5973007"/>
              <a:gd name="connsiteX55228" fmla="*/ 5233906 w 6884782"/>
              <a:gd name="connsiteY55228" fmla="*/ 1425819 h 5973007"/>
              <a:gd name="connsiteX55229" fmla="*/ 5562145 w 6884782"/>
              <a:gd name="connsiteY55229" fmla="*/ 1424681 h 5973007"/>
              <a:gd name="connsiteX55230" fmla="*/ 5568975 w 6884782"/>
              <a:gd name="connsiteY55230" fmla="*/ 1426388 h 5973007"/>
              <a:gd name="connsiteX55231" fmla="*/ 5556810 w 6884782"/>
              <a:gd name="connsiteY55231" fmla="*/ 1433928 h 5973007"/>
              <a:gd name="connsiteX55232" fmla="*/ 5555103 w 6884782"/>
              <a:gd name="connsiteY55232" fmla="*/ 1426673 h 5973007"/>
              <a:gd name="connsiteX55233" fmla="*/ 5562145 w 6884782"/>
              <a:gd name="connsiteY55233" fmla="*/ 1424681 h 5973007"/>
              <a:gd name="connsiteX55234" fmla="*/ 3663563 w 6884782"/>
              <a:gd name="connsiteY55234" fmla="*/ 1424538 h 5973007"/>
              <a:gd name="connsiteX55235" fmla="*/ 3664417 w 6884782"/>
              <a:gd name="connsiteY55235" fmla="*/ 1428806 h 5973007"/>
              <a:gd name="connsiteX55236" fmla="*/ 3662709 w 6884782"/>
              <a:gd name="connsiteY55236" fmla="*/ 1433359 h 5973007"/>
              <a:gd name="connsiteX55237" fmla="*/ 3661429 w 6884782"/>
              <a:gd name="connsiteY55237" fmla="*/ 1434497 h 5973007"/>
              <a:gd name="connsiteX55238" fmla="*/ 3662069 w 6884782"/>
              <a:gd name="connsiteY55238" fmla="*/ 1428806 h 5973007"/>
              <a:gd name="connsiteX55239" fmla="*/ 3623227 w 6884782"/>
              <a:gd name="connsiteY55239" fmla="*/ 1424254 h 5973007"/>
              <a:gd name="connsiteX55240" fmla="*/ 3627282 w 6884782"/>
              <a:gd name="connsiteY55240" fmla="*/ 1428095 h 5973007"/>
              <a:gd name="connsiteX55241" fmla="*/ 3628776 w 6884782"/>
              <a:gd name="connsiteY55241" fmla="*/ 1430229 h 5973007"/>
              <a:gd name="connsiteX55242" fmla="*/ 3627709 w 6884782"/>
              <a:gd name="connsiteY55242" fmla="*/ 1431936 h 5973007"/>
              <a:gd name="connsiteX55243" fmla="*/ 3628136 w 6884782"/>
              <a:gd name="connsiteY55243" fmla="*/ 1431652 h 5973007"/>
              <a:gd name="connsiteX55244" fmla="*/ 3634111 w 6884782"/>
              <a:gd name="connsiteY55244" fmla="*/ 1431936 h 5973007"/>
              <a:gd name="connsiteX55245" fmla="*/ 3635819 w 6884782"/>
              <a:gd name="connsiteY55245" fmla="*/ 1431510 h 5973007"/>
              <a:gd name="connsiteX55246" fmla="*/ 3635819 w 6884782"/>
              <a:gd name="connsiteY55246" fmla="*/ 1432078 h 5973007"/>
              <a:gd name="connsiteX55247" fmla="*/ 3635605 w 6884782"/>
              <a:gd name="connsiteY55247" fmla="*/ 1432078 h 5973007"/>
              <a:gd name="connsiteX55248" fmla="*/ 3635179 w 6884782"/>
              <a:gd name="connsiteY55248" fmla="*/ 1433928 h 5973007"/>
              <a:gd name="connsiteX55249" fmla="*/ 3634538 w 6884782"/>
              <a:gd name="connsiteY55249" fmla="*/ 1434497 h 5973007"/>
              <a:gd name="connsiteX55250" fmla="*/ 3633258 w 6884782"/>
              <a:gd name="connsiteY55250" fmla="*/ 1437343 h 5973007"/>
              <a:gd name="connsiteX55251" fmla="*/ 3633471 w 6884782"/>
              <a:gd name="connsiteY55251" fmla="*/ 1438765 h 5973007"/>
              <a:gd name="connsiteX55252" fmla="*/ 3631337 w 6884782"/>
              <a:gd name="connsiteY55252" fmla="*/ 1442749 h 5973007"/>
              <a:gd name="connsiteX55253" fmla="*/ 3630484 w 6884782"/>
              <a:gd name="connsiteY55253" fmla="*/ 1446306 h 5973007"/>
              <a:gd name="connsiteX55254" fmla="*/ 3634965 w 6884782"/>
              <a:gd name="connsiteY55254" fmla="*/ 1442464 h 5973007"/>
              <a:gd name="connsiteX55255" fmla="*/ 3647983 w 6884782"/>
              <a:gd name="connsiteY55255" fmla="*/ 1436062 h 5973007"/>
              <a:gd name="connsiteX55256" fmla="*/ 3656307 w 6884782"/>
              <a:gd name="connsiteY55256" fmla="*/ 1435635 h 5973007"/>
              <a:gd name="connsiteX55257" fmla="*/ 3673380 w 6884782"/>
              <a:gd name="connsiteY55257" fmla="*/ 1447017 h 5973007"/>
              <a:gd name="connsiteX55258" fmla="*/ 3673380 w 6884782"/>
              <a:gd name="connsiteY55258" fmla="*/ 1449862 h 5973007"/>
              <a:gd name="connsiteX55259" fmla="*/ 3674234 w 6884782"/>
              <a:gd name="connsiteY55259" fmla="*/ 1453277 h 5973007"/>
              <a:gd name="connsiteX55260" fmla="*/ 3675301 w 6884782"/>
              <a:gd name="connsiteY55260" fmla="*/ 1450289 h 5973007"/>
              <a:gd name="connsiteX55261" fmla="*/ 3675088 w 6884782"/>
              <a:gd name="connsiteY55261" fmla="*/ 1446163 h 5973007"/>
              <a:gd name="connsiteX55262" fmla="*/ 3677222 w 6884782"/>
              <a:gd name="connsiteY55262" fmla="*/ 1444883 h 5973007"/>
              <a:gd name="connsiteX55263" fmla="*/ 3678716 w 6884782"/>
              <a:gd name="connsiteY55263" fmla="*/ 1448298 h 5973007"/>
              <a:gd name="connsiteX55264" fmla="*/ 3675728 w 6884782"/>
              <a:gd name="connsiteY55264" fmla="*/ 1450858 h 5973007"/>
              <a:gd name="connsiteX55265" fmla="*/ 3675301 w 6884782"/>
              <a:gd name="connsiteY55265" fmla="*/ 1455695 h 5973007"/>
              <a:gd name="connsiteX55266" fmla="*/ 3675088 w 6884782"/>
              <a:gd name="connsiteY55266" fmla="*/ 1455837 h 5973007"/>
              <a:gd name="connsiteX55267" fmla="*/ 3674875 w 6884782"/>
              <a:gd name="connsiteY55267" fmla="*/ 1473479 h 5973007"/>
              <a:gd name="connsiteX55268" fmla="*/ 3664844 w 6884782"/>
              <a:gd name="connsiteY55268" fmla="*/ 1485856 h 5973007"/>
              <a:gd name="connsiteX55269" fmla="*/ 3644782 w 6884782"/>
              <a:gd name="connsiteY55269" fmla="*/ 1492970 h 5973007"/>
              <a:gd name="connsiteX55270" fmla="*/ 3641155 w 6884782"/>
              <a:gd name="connsiteY55270" fmla="*/ 1491832 h 5973007"/>
              <a:gd name="connsiteX55271" fmla="*/ 3641795 w 6884782"/>
              <a:gd name="connsiteY55271" fmla="*/ 1498376 h 5973007"/>
              <a:gd name="connsiteX55272" fmla="*/ 3637953 w 6884782"/>
              <a:gd name="connsiteY55272" fmla="*/ 1506058 h 5973007"/>
              <a:gd name="connsiteX55273" fmla="*/ 3619599 w 6884782"/>
              <a:gd name="connsiteY55273" fmla="*/ 1483865 h 5973007"/>
              <a:gd name="connsiteX55274" fmla="*/ 3624721 w 6884782"/>
              <a:gd name="connsiteY55274" fmla="*/ 1479454 h 5973007"/>
              <a:gd name="connsiteX55275" fmla="*/ 3625575 w 6884782"/>
              <a:gd name="connsiteY55275" fmla="*/ 1479312 h 5973007"/>
              <a:gd name="connsiteX55276" fmla="*/ 3625148 w 6884782"/>
              <a:gd name="connsiteY55276" fmla="*/ 1478458 h 5973007"/>
              <a:gd name="connsiteX55277" fmla="*/ 3622373 w 6884782"/>
              <a:gd name="connsiteY55277" fmla="*/ 1472767 h 5973007"/>
              <a:gd name="connsiteX55278" fmla="*/ 3615330 w 6884782"/>
              <a:gd name="connsiteY55278" fmla="*/ 1465654 h 5973007"/>
              <a:gd name="connsiteX55279" fmla="*/ 3617678 w 6884782"/>
              <a:gd name="connsiteY55279" fmla="*/ 1463236 h 5973007"/>
              <a:gd name="connsiteX55280" fmla="*/ 3616611 w 6884782"/>
              <a:gd name="connsiteY55280" fmla="*/ 1461386 h 5973007"/>
              <a:gd name="connsiteX55281" fmla="*/ 3617251 w 6884782"/>
              <a:gd name="connsiteY55281" fmla="*/ 1454415 h 5973007"/>
              <a:gd name="connsiteX55282" fmla="*/ 3620026 w 6884782"/>
              <a:gd name="connsiteY55282" fmla="*/ 1450431 h 5973007"/>
              <a:gd name="connsiteX55283" fmla="*/ 3620239 w 6884782"/>
              <a:gd name="connsiteY55283" fmla="*/ 1450289 h 5973007"/>
              <a:gd name="connsiteX55284" fmla="*/ 3619599 w 6884782"/>
              <a:gd name="connsiteY55284" fmla="*/ 1442464 h 5973007"/>
              <a:gd name="connsiteX55285" fmla="*/ 3623227 w 6884782"/>
              <a:gd name="connsiteY55285" fmla="*/ 1433643 h 5973007"/>
              <a:gd name="connsiteX55286" fmla="*/ 3626215 w 6884782"/>
              <a:gd name="connsiteY55286" fmla="*/ 1432363 h 5973007"/>
              <a:gd name="connsiteX55287" fmla="*/ 3623653 w 6884782"/>
              <a:gd name="connsiteY55287" fmla="*/ 1429091 h 5973007"/>
              <a:gd name="connsiteX55288" fmla="*/ 3623227 w 6884782"/>
              <a:gd name="connsiteY55288" fmla="*/ 1424254 h 5973007"/>
              <a:gd name="connsiteX55289" fmla="*/ 1052801 w 6884782"/>
              <a:gd name="connsiteY55289" fmla="*/ 1424139 h 5973007"/>
              <a:gd name="connsiteX55290" fmla="*/ 1047225 w 6884782"/>
              <a:gd name="connsiteY55290" fmla="*/ 1432813 h 5973007"/>
              <a:gd name="connsiteX55291" fmla="*/ 1044540 w 6884782"/>
              <a:gd name="connsiteY55291" fmla="*/ 1429096 h 5973007"/>
              <a:gd name="connsiteX55292" fmla="*/ 1052801 w 6884782"/>
              <a:gd name="connsiteY55292" fmla="*/ 1424139 h 5973007"/>
              <a:gd name="connsiteX55293" fmla="*/ 1223793 w 6884782"/>
              <a:gd name="connsiteY55293" fmla="*/ 1423829 h 5973007"/>
              <a:gd name="connsiteX55294" fmla="*/ 1221315 w 6884782"/>
              <a:gd name="connsiteY55294" fmla="*/ 1431884 h 5973007"/>
              <a:gd name="connsiteX55295" fmla="*/ 1219766 w 6884782"/>
              <a:gd name="connsiteY55295" fmla="*/ 1429250 h 5973007"/>
              <a:gd name="connsiteX55296" fmla="*/ 1223793 w 6884782"/>
              <a:gd name="connsiteY55296" fmla="*/ 1423829 h 5973007"/>
              <a:gd name="connsiteX55297" fmla="*/ 5538242 w 6884782"/>
              <a:gd name="connsiteY55297" fmla="*/ 1423542 h 5973007"/>
              <a:gd name="connsiteX55298" fmla="*/ 5541230 w 6884782"/>
              <a:gd name="connsiteY55298" fmla="*/ 1443603 h 5973007"/>
              <a:gd name="connsiteX55299" fmla="*/ 5531840 w 6884782"/>
              <a:gd name="connsiteY55299" fmla="*/ 1440330 h 5973007"/>
              <a:gd name="connsiteX55300" fmla="*/ 5538242 w 6884782"/>
              <a:gd name="connsiteY55300" fmla="*/ 1423542 h 5973007"/>
              <a:gd name="connsiteX55301" fmla="*/ 4131380 w 6884782"/>
              <a:gd name="connsiteY55301" fmla="*/ 1423542 h 5973007"/>
              <a:gd name="connsiteX55302" fmla="*/ 4144185 w 6884782"/>
              <a:gd name="connsiteY55302" fmla="*/ 1431510 h 5973007"/>
              <a:gd name="connsiteX55303" fmla="*/ 4127964 w 6884782"/>
              <a:gd name="connsiteY55303" fmla="*/ 1423827 h 5973007"/>
              <a:gd name="connsiteX55304" fmla="*/ 4131380 w 6884782"/>
              <a:gd name="connsiteY55304" fmla="*/ 1423542 h 5973007"/>
              <a:gd name="connsiteX55305" fmla="*/ 4794902 w 6884782"/>
              <a:gd name="connsiteY55305" fmla="*/ 1422547 h 5973007"/>
              <a:gd name="connsiteX55306" fmla="*/ 4801518 w 6884782"/>
              <a:gd name="connsiteY55306" fmla="*/ 1426530 h 5973007"/>
              <a:gd name="connsiteX55307" fmla="*/ 4772065 w 6884782"/>
              <a:gd name="connsiteY55307" fmla="*/ 1435493 h 5973007"/>
              <a:gd name="connsiteX55308" fmla="*/ 4794902 w 6884782"/>
              <a:gd name="connsiteY55308" fmla="*/ 1422547 h 5973007"/>
              <a:gd name="connsiteX55309" fmla="*/ 1594341 w 6884782"/>
              <a:gd name="connsiteY55309" fmla="*/ 1422338 h 5973007"/>
              <a:gd name="connsiteX55310" fmla="*/ 1601401 w 6884782"/>
              <a:gd name="connsiteY55310" fmla="*/ 1423365 h 5973007"/>
              <a:gd name="connsiteX55311" fmla="*/ 1599439 w 6884782"/>
              <a:gd name="connsiteY55311" fmla="*/ 1428476 h 5973007"/>
              <a:gd name="connsiteX55312" fmla="*/ 1590146 w 6884782"/>
              <a:gd name="connsiteY55312" fmla="*/ 1428166 h 5973007"/>
              <a:gd name="connsiteX55313" fmla="*/ 1594341 w 6884782"/>
              <a:gd name="connsiteY55313" fmla="*/ 1422338 h 5973007"/>
              <a:gd name="connsiteX55314" fmla="*/ 3688534 w 6884782"/>
              <a:gd name="connsiteY55314" fmla="*/ 1421835 h 5973007"/>
              <a:gd name="connsiteX55315" fmla="*/ 3697070 w 6884782"/>
              <a:gd name="connsiteY55315" fmla="*/ 1431652 h 5973007"/>
              <a:gd name="connsiteX55316" fmla="*/ 3688534 w 6884782"/>
              <a:gd name="connsiteY55316" fmla="*/ 1421835 h 5973007"/>
              <a:gd name="connsiteX55317" fmla="*/ 3855214 w 6884782"/>
              <a:gd name="connsiteY55317" fmla="*/ 1421693 h 5973007"/>
              <a:gd name="connsiteX55318" fmla="*/ 3856495 w 6884782"/>
              <a:gd name="connsiteY55318" fmla="*/ 1423969 h 5973007"/>
              <a:gd name="connsiteX55319" fmla="*/ 3855855 w 6884782"/>
              <a:gd name="connsiteY55319" fmla="*/ 1428095 h 5973007"/>
              <a:gd name="connsiteX55320" fmla="*/ 3853294 w 6884782"/>
              <a:gd name="connsiteY55320" fmla="*/ 1430798 h 5973007"/>
              <a:gd name="connsiteX55321" fmla="*/ 3847744 w 6884782"/>
              <a:gd name="connsiteY55321" fmla="*/ 1427099 h 5973007"/>
              <a:gd name="connsiteX55322" fmla="*/ 3855214 w 6884782"/>
              <a:gd name="connsiteY55322" fmla="*/ 1421693 h 5973007"/>
              <a:gd name="connsiteX55323" fmla="*/ 3964485 w 6884782"/>
              <a:gd name="connsiteY55323" fmla="*/ 1420697 h 5973007"/>
              <a:gd name="connsiteX55324" fmla="*/ 3970034 w 6884782"/>
              <a:gd name="connsiteY55324" fmla="*/ 1422974 h 5973007"/>
              <a:gd name="connsiteX55325" fmla="*/ 3961071 w 6884782"/>
              <a:gd name="connsiteY55325" fmla="*/ 1426246 h 5973007"/>
              <a:gd name="connsiteX55326" fmla="*/ 3964485 w 6884782"/>
              <a:gd name="connsiteY55326" fmla="*/ 1420697 h 5973007"/>
              <a:gd name="connsiteX55327" fmla="*/ 5762547 w 6884782"/>
              <a:gd name="connsiteY55327" fmla="*/ 1420555 h 5973007"/>
              <a:gd name="connsiteX55328" fmla="*/ 5761480 w 6884782"/>
              <a:gd name="connsiteY55328" fmla="*/ 1427384 h 5973007"/>
              <a:gd name="connsiteX55329" fmla="*/ 5757211 w 6884782"/>
              <a:gd name="connsiteY55329" fmla="*/ 1425819 h 5973007"/>
              <a:gd name="connsiteX55330" fmla="*/ 5762547 w 6884782"/>
              <a:gd name="connsiteY55330" fmla="*/ 1420555 h 5973007"/>
              <a:gd name="connsiteX55331" fmla="*/ 3621520 w 6884782"/>
              <a:gd name="connsiteY55331" fmla="*/ 1420270 h 5973007"/>
              <a:gd name="connsiteX55332" fmla="*/ 3622160 w 6884782"/>
              <a:gd name="connsiteY55332" fmla="*/ 1420697 h 5973007"/>
              <a:gd name="connsiteX55333" fmla="*/ 3623441 w 6884782"/>
              <a:gd name="connsiteY55333" fmla="*/ 1422404 h 5973007"/>
              <a:gd name="connsiteX55334" fmla="*/ 3623013 w 6884782"/>
              <a:gd name="connsiteY55334" fmla="*/ 1424254 h 5973007"/>
              <a:gd name="connsiteX55335" fmla="*/ 3619813 w 6884782"/>
              <a:gd name="connsiteY55335" fmla="*/ 1421835 h 5973007"/>
              <a:gd name="connsiteX55336" fmla="*/ 3621093 w 6884782"/>
              <a:gd name="connsiteY55336" fmla="*/ 1420697 h 5973007"/>
              <a:gd name="connsiteX55337" fmla="*/ 3620026 w 6884782"/>
              <a:gd name="connsiteY55337" fmla="*/ 1420555 h 5973007"/>
              <a:gd name="connsiteX55338" fmla="*/ 3621520 w 6884782"/>
              <a:gd name="connsiteY55338" fmla="*/ 1420270 h 5973007"/>
              <a:gd name="connsiteX55339" fmla="*/ 967614 w 6884782"/>
              <a:gd name="connsiteY55339" fmla="*/ 1420267 h 5973007"/>
              <a:gd name="connsiteX55340" fmla="*/ 978559 w 6884782"/>
              <a:gd name="connsiteY55340" fmla="*/ 1423519 h 5973007"/>
              <a:gd name="connsiteX55341" fmla="*/ 968750 w 6884782"/>
              <a:gd name="connsiteY55341" fmla="*/ 1426462 h 5973007"/>
              <a:gd name="connsiteX55342" fmla="*/ 967614 w 6884782"/>
              <a:gd name="connsiteY55342" fmla="*/ 1420267 h 5973007"/>
              <a:gd name="connsiteX55343" fmla="*/ 5128050 w 6884782"/>
              <a:gd name="connsiteY55343" fmla="*/ 1419843 h 5973007"/>
              <a:gd name="connsiteX55344" fmla="*/ 5131038 w 6884782"/>
              <a:gd name="connsiteY55344" fmla="*/ 1424538 h 5973007"/>
              <a:gd name="connsiteX55345" fmla="*/ 5124635 w 6884782"/>
              <a:gd name="connsiteY55345" fmla="*/ 1427241 h 5973007"/>
              <a:gd name="connsiteX55346" fmla="*/ 5121647 w 6884782"/>
              <a:gd name="connsiteY55346" fmla="*/ 1422689 h 5973007"/>
              <a:gd name="connsiteX55347" fmla="*/ 5128050 w 6884782"/>
              <a:gd name="connsiteY55347" fmla="*/ 1419843 h 5973007"/>
              <a:gd name="connsiteX55348" fmla="*/ 986820 w 6884782"/>
              <a:gd name="connsiteY55348" fmla="*/ 1419647 h 5973007"/>
              <a:gd name="connsiteX55349" fmla="*/ 989195 w 6884782"/>
              <a:gd name="connsiteY55349" fmla="*/ 1419957 h 5973007"/>
              <a:gd name="connsiteX55350" fmla="*/ 989711 w 6884782"/>
              <a:gd name="connsiteY55350" fmla="*/ 1432504 h 5973007"/>
              <a:gd name="connsiteX55351" fmla="*/ 986200 w 6884782"/>
              <a:gd name="connsiteY55351" fmla="*/ 1433743 h 5973007"/>
              <a:gd name="connsiteX55352" fmla="*/ 984135 w 6884782"/>
              <a:gd name="connsiteY55352" fmla="*/ 1425998 h 5973007"/>
              <a:gd name="connsiteX55353" fmla="*/ 986820 w 6884782"/>
              <a:gd name="connsiteY55353" fmla="*/ 1419647 h 5973007"/>
              <a:gd name="connsiteX55354" fmla="*/ 4640172 w 6884782"/>
              <a:gd name="connsiteY55354" fmla="*/ 1419417 h 5973007"/>
              <a:gd name="connsiteX55355" fmla="*/ 4642520 w 6884782"/>
              <a:gd name="connsiteY55355" fmla="*/ 1420982 h 5973007"/>
              <a:gd name="connsiteX55356" fmla="*/ 4636544 w 6884782"/>
              <a:gd name="connsiteY55356" fmla="*/ 1427811 h 5973007"/>
              <a:gd name="connsiteX55357" fmla="*/ 4634196 w 6884782"/>
              <a:gd name="connsiteY55357" fmla="*/ 1426388 h 5973007"/>
              <a:gd name="connsiteX55358" fmla="*/ 4634623 w 6884782"/>
              <a:gd name="connsiteY55358" fmla="*/ 1423116 h 5973007"/>
              <a:gd name="connsiteX55359" fmla="*/ 4640172 w 6884782"/>
              <a:gd name="connsiteY55359" fmla="*/ 1419417 h 5973007"/>
              <a:gd name="connsiteX55360" fmla="*/ 4621178 w 6884782"/>
              <a:gd name="connsiteY55360" fmla="*/ 1419274 h 5973007"/>
              <a:gd name="connsiteX55361" fmla="*/ 4624592 w 6884782"/>
              <a:gd name="connsiteY55361" fmla="*/ 1432078 h 5973007"/>
              <a:gd name="connsiteX55362" fmla="*/ 4623739 w 6884782"/>
              <a:gd name="connsiteY55362" fmla="*/ 1433217 h 5973007"/>
              <a:gd name="connsiteX55363" fmla="*/ 4623739 w 6884782"/>
              <a:gd name="connsiteY55363" fmla="*/ 1436489 h 5973007"/>
              <a:gd name="connsiteX55364" fmla="*/ 4619470 w 6884782"/>
              <a:gd name="connsiteY55364" fmla="*/ 1438338 h 5973007"/>
              <a:gd name="connsiteX55365" fmla="*/ 4613495 w 6884782"/>
              <a:gd name="connsiteY55365" fmla="*/ 1433501 h 5973007"/>
              <a:gd name="connsiteX55366" fmla="*/ 4613068 w 6884782"/>
              <a:gd name="connsiteY55366" fmla="*/ 1428237 h 5973007"/>
              <a:gd name="connsiteX55367" fmla="*/ 4611147 w 6884782"/>
              <a:gd name="connsiteY55367" fmla="*/ 1429802 h 5973007"/>
              <a:gd name="connsiteX55368" fmla="*/ 4605598 w 6884782"/>
              <a:gd name="connsiteY55368" fmla="*/ 1424965 h 5973007"/>
              <a:gd name="connsiteX55369" fmla="*/ 4610507 w 6884782"/>
              <a:gd name="connsiteY55369" fmla="*/ 1423400 h 5973007"/>
              <a:gd name="connsiteX55370" fmla="*/ 4612854 w 6884782"/>
              <a:gd name="connsiteY55370" fmla="*/ 1425534 h 5973007"/>
              <a:gd name="connsiteX55371" fmla="*/ 4612641 w 6884782"/>
              <a:gd name="connsiteY55371" fmla="*/ 1424538 h 5973007"/>
              <a:gd name="connsiteX55372" fmla="*/ 4619470 w 6884782"/>
              <a:gd name="connsiteY55372" fmla="*/ 1422404 h 5973007"/>
              <a:gd name="connsiteX55373" fmla="*/ 1085946 w 6884782"/>
              <a:gd name="connsiteY55373" fmla="*/ 1418717 h 5973007"/>
              <a:gd name="connsiteX55374" fmla="*/ 1089663 w 6884782"/>
              <a:gd name="connsiteY55374" fmla="*/ 1425533 h 5973007"/>
              <a:gd name="connsiteX55375" fmla="*/ 1082538 w 6884782"/>
              <a:gd name="connsiteY55375" fmla="*/ 1420112 h 5973007"/>
              <a:gd name="connsiteX55376" fmla="*/ 1085946 w 6884782"/>
              <a:gd name="connsiteY55376" fmla="*/ 1418717 h 5973007"/>
              <a:gd name="connsiteX55377" fmla="*/ 1704038 w 6884782"/>
              <a:gd name="connsiteY55377" fmla="*/ 1418408 h 5973007"/>
              <a:gd name="connsiteX55378" fmla="*/ 1709613 w 6884782"/>
              <a:gd name="connsiteY55378" fmla="*/ 1423365 h 5973007"/>
              <a:gd name="connsiteX55379" fmla="*/ 1704761 w 6884782"/>
              <a:gd name="connsiteY55379" fmla="*/ 1429405 h 5973007"/>
              <a:gd name="connsiteX55380" fmla="*/ 1702489 w 6884782"/>
              <a:gd name="connsiteY55380" fmla="*/ 1423829 h 5973007"/>
              <a:gd name="connsiteX55381" fmla="*/ 1704038 w 6884782"/>
              <a:gd name="connsiteY55381" fmla="*/ 1418408 h 5973007"/>
              <a:gd name="connsiteX55382" fmla="*/ 1580646 w 6884782"/>
              <a:gd name="connsiteY55382" fmla="*/ 1418408 h 5973007"/>
              <a:gd name="connsiteX55383" fmla="*/ 1584467 w 6884782"/>
              <a:gd name="connsiteY55383" fmla="*/ 1420267 h 5973007"/>
              <a:gd name="connsiteX55384" fmla="*/ 1581886 w 6884782"/>
              <a:gd name="connsiteY55384" fmla="*/ 1423055 h 5973007"/>
              <a:gd name="connsiteX55385" fmla="*/ 1579098 w 6884782"/>
              <a:gd name="connsiteY55385" fmla="*/ 1422745 h 5973007"/>
              <a:gd name="connsiteX55386" fmla="*/ 1578891 w 6884782"/>
              <a:gd name="connsiteY55386" fmla="*/ 1421815 h 5973007"/>
              <a:gd name="connsiteX55387" fmla="*/ 1579614 w 6884782"/>
              <a:gd name="connsiteY55387" fmla="*/ 1421971 h 5973007"/>
              <a:gd name="connsiteX55388" fmla="*/ 1580646 w 6884782"/>
              <a:gd name="connsiteY55388" fmla="*/ 1418408 h 5973007"/>
              <a:gd name="connsiteX55389" fmla="*/ 1157296 w 6884782"/>
              <a:gd name="connsiteY55389" fmla="*/ 1418098 h 5973007"/>
              <a:gd name="connsiteX55390" fmla="*/ 1163491 w 6884782"/>
              <a:gd name="connsiteY55390" fmla="*/ 1420267 h 5973007"/>
              <a:gd name="connsiteX55391" fmla="*/ 1156883 w 6884782"/>
              <a:gd name="connsiteY55391" fmla="*/ 1424294 h 5973007"/>
              <a:gd name="connsiteX55392" fmla="*/ 1155437 w 6884782"/>
              <a:gd name="connsiteY55392" fmla="*/ 1420886 h 5973007"/>
              <a:gd name="connsiteX55393" fmla="*/ 1157296 w 6884782"/>
              <a:gd name="connsiteY55393" fmla="*/ 1418098 h 5973007"/>
              <a:gd name="connsiteX55394" fmla="*/ 4109824 w 6884782"/>
              <a:gd name="connsiteY55394" fmla="*/ 1417710 h 5973007"/>
              <a:gd name="connsiteX55395" fmla="*/ 4111958 w 6884782"/>
              <a:gd name="connsiteY55395" fmla="*/ 1422831 h 5973007"/>
              <a:gd name="connsiteX55396" fmla="*/ 4108330 w 6884782"/>
              <a:gd name="connsiteY55396" fmla="*/ 1423400 h 5973007"/>
              <a:gd name="connsiteX55397" fmla="*/ 4109824 w 6884782"/>
              <a:gd name="connsiteY55397" fmla="*/ 1417710 h 5973007"/>
              <a:gd name="connsiteX55398" fmla="*/ 3483864 w 6884782"/>
              <a:gd name="connsiteY55398" fmla="*/ 1417710 h 5973007"/>
              <a:gd name="connsiteX55399" fmla="*/ 3484078 w 6884782"/>
              <a:gd name="connsiteY55399" fmla="*/ 1421409 h 5973007"/>
              <a:gd name="connsiteX55400" fmla="*/ 3485571 w 6884782"/>
              <a:gd name="connsiteY55400" fmla="*/ 1421693 h 5973007"/>
              <a:gd name="connsiteX55401" fmla="*/ 3487278 w 6884782"/>
              <a:gd name="connsiteY55401" fmla="*/ 1424111 h 5973007"/>
              <a:gd name="connsiteX55402" fmla="*/ 3484291 w 6884782"/>
              <a:gd name="connsiteY55402" fmla="*/ 1423258 h 5973007"/>
              <a:gd name="connsiteX55403" fmla="*/ 3484078 w 6884782"/>
              <a:gd name="connsiteY55403" fmla="*/ 1423258 h 5973007"/>
              <a:gd name="connsiteX55404" fmla="*/ 3484718 w 6884782"/>
              <a:gd name="connsiteY55404" fmla="*/ 1431367 h 5973007"/>
              <a:gd name="connsiteX55405" fmla="*/ 3483437 w 6884782"/>
              <a:gd name="connsiteY55405" fmla="*/ 1442322 h 5973007"/>
              <a:gd name="connsiteX55406" fmla="*/ 3483010 w 6884782"/>
              <a:gd name="connsiteY55406" fmla="*/ 1442322 h 5973007"/>
              <a:gd name="connsiteX55407" fmla="*/ 3483010 w 6884782"/>
              <a:gd name="connsiteY55407" fmla="*/ 1442606 h 5973007"/>
              <a:gd name="connsiteX55408" fmla="*/ 3483010 w 6884782"/>
              <a:gd name="connsiteY55408" fmla="*/ 1442749 h 5973007"/>
              <a:gd name="connsiteX55409" fmla="*/ 3483223 w 6884782"/>
              <a:gd name="connsiteY55409" fmla="*/ 1445309 h 5973007"/>
              <a:gd name="connsiteX55410" fmla="*/ 3483864 w 6884782"/>
              <a:gd name="connsiteY55410" fmla="*/ 1445309 h 5973007"/>
              <a:gd name="connsiteX55411" fmla="*/ 3486211 w 6884782"/>
              <a:gd name="connsiteY55411" fmla="*/ 1446590 h 5973007"/>
              <a:gd name="connsiteX55412" fmla="*/ 3486852 w 6884782"/>
              <a:gd name="connsiteY55412" fmla="*/ 1448724 h 5973007"/>
              <a:gd name="connsiteX55413" fmla="*/ 3485358 w 6884782"/>
              <a:gd name="connsiteY55413" fmla="*/ 1451000 h 5973007"/>
              <a:gd name="connsiteX55414" fmla="*/ 3484291 w 6884782"/>
              <a:gd name="connsiteY55414" fmla="*/ 1452423 h 5973007"/>
              <a:gd name="connsiteX55415" fmla="*/ 3484718 w 6884782"/>
              <a:gd name="connsiteY55415" fmla="*/ 1455695 h 5973007"/>
              <a:gd name="connsiteX55416" fmla="*/ 3484931 w 6884782"/>
              <a:gd name="connsiteY55416" fmla="*/ 1464516 h 5973007"/>
              <a:gd name="connsiteX55417" fmla="*/ 3493894 w 6884782"/>
              <a:gd name="connsiteY55417" fmla="*/ 1453988 h 5973007"/>
              <a:gd name="connsiteX55418" fmla="*/ 3489840 w 6884782"/>
              <a:gd name="connsiteY55418" fmla="*/ 1451854 h 5973007"/>
              <a:gd name="connsiteX55419" fmla="*/ 3486852 w 6884782"/>
              <a:gd name="connsiteY55419" fmla="*/ 1447159 h 5973007"/>
              <a:gd name="connsiteX55420" fmla="*/ 3491120 w 6884782"/>
              <a:gd name="connsiteY55420" fmla="*/ 1444883 h 5973007"/>
              <a:gd name="connsiteX55421" fmla="*/ 3495389 w 6884782"/>
              <a:gd name="connsiteY55421" fmla="*/ 1445025 h 5973007"/>
              <a:gd name="connsiteX55422" fmla="*/ 3494749 w 6884782"/>
              <a:gd name="connsiteY55422" fmla="*/ 1436347 h 5973007"/>
              <a:gd name="connsiteX55423" fmla="*/ 3499017 w 6884782"/>
              <a:gd name="connsiteY55423" fmla="*/ 1423400 h 5973007"/>
              <a:gd name="connsiteX55424" fmla="*/ 3491974 w 6884782"/>
              <a:gd name="connsiteY55424" fmla="*/ 1420839 h 5973007"/>
              <a:gd name="connsiteX55425" fmla="*/ 3489626 w 6884782"/>
              <a:gd name="connsiteY55425" fmla="*/ 1419843 h 5973007"/>
              <a:gd name="connsiteX55426" fmla="*/ 3489626 w 6884782"/>
              <a:gd name="connsiteY55426" fmla="*/ 1421266 h 5973007"/>
              <a:gd name="connsiteX55427" fmla="*/ 3489199 w 6884782"/>
              <a:gd name="connsiteY55427" fmla="*/ 1419701 h 5973007"/>
              <a:gd name="connsiteX55428" fmla="*/ 1122395 w 6884782"/>
              <a:gd name="connsiteY55428" fmla="*/ 1417479 h 5973007"/>
              <a:gd name="connsiteX55429" fmla="*/ 1120743 w 6884782"/>
              <a:gd name="connsiteY55429" fmla="*/ 1429250 h 5973007"/>
              <a:gd name="connsiteX55430" fmla="*/ 1116820 w 6884782"/>
              <a:gd name="connsiteY55430" fmla="*/ 1423984 h 5973007"/>
              <a:gd name="connsiteX55431" fmla="*/ 1118472 w 6884782"/>
              <a:gd name="connsiteY55431" fmla="*/ 1418098 h 5973007"/>
              <a:gd name="connsiteX55432" fmla="*/ 1122395 w 6884782"/>
              <a:gd name="connsiteY55432" fmla="*/ 1417479 h 5973007"/>
              <a:gd name="connsiteX55433" fmla="*/ 4600049 w 6884782"/>
              <a:gd name="connsiteY55433" fmla="*/ 1417425 h 5973007"/>
              <a:gd name="connsiteX55434" fmla="*/ 4603464 w 6884782"/>
              <a:gd name="connsiteY55434" fmla="*/ 1419559 h 5973007"/>
              <a:gd name="connsiteX55435" fmla="*/ 4604745 w 6884782"/>
              <a:gd name="connsiteY55435" fmla="*/ 1425534 h 5973007"/>
              <a:gd name="connsiteX55436" fmla="*/ 4594500 w 6884782"/>
              <a:gd name="connsiteY55436" fmla="*/ 1424965 h 5973007"/>
              <a:gd name="connsiteX55437" fmla="*/ 4593219 w 6884782"/>
              <a:gd name="connsiteY55437" fmla="*/ 1421409 h 5973007"/>
              <a:gd name="connsiteX55438" fmla="*/ 4600049 w 6884782"/>
              <a:gd name="connsiteY55438" fmla="*/ 1417425 h 5973007"/>
              <a:gd name="connsiteX55439" fmla="*/ 1552251 w 6884782"/>
              <a:gd name="connsiteY55439" fmla="*/ 1417323 h 5973007"/>
              <a:gd name="connsiteX55440" fmla="*/ 1560821 w 6884782"/>
              <a:gd name="connsiteY55440" fmla="*/ 1420267 h 5973007"/>
              <a:gd name="connsiteX55441" fmla="*/ 1559169 w 6884782"/>
              <a:gd name="connsiteY55441" fmla="*/ 1425378 h 5973007"/>
              <a:gd name="connsiteX55442" fmla="*/ 1549876 w 6884782"/>
              <a:gd name="connsiteY55442" fmla="*/ 1421041 h 5973007"/>
              <a:gd name="connsiteX55443" fmla="*/ 1552251 w 6884782"/>
              <a:gd name="connsiteY55443" fmla="*/ 1417323 h 5973007"/>
              <a:gd name="connsiteX55444" fmla="*/ 1411823 w 6884782"/>
              <a:gd name="connsiteY55444" fmla="*/ 1417169 h 5973007"/>
              <a:gd name="connsiteX55445" fmla="*/ 1416366 w 6884782"/>
              <a:gd name="connsiteY55445" fmla="*/ 1423829 h 5973007"/>
              <a:gd name="connsiteX55446" fmla="*/ 1390242 w 6884782"/>
              <a:gd name="connsiteY55446" fmla="*/ 1435292 h 5973007"/>
              <a:gd name="connsiteX55447" fmla="*/ 1411823 w 6884782"/>
              <a:gd name="connsiteY55447" fmla="*/ 1417169 h 5973007"/>
              <a:gd name="connsiteX55448" fmla="*/ 5424063 w 6884782"/>
              <a:gd name="connsiteY55448" fmla="*/ 1416002 h 5973007"/>
              <a:gd name="connsiteX55449" fmla="*/ 5433453 w 6884782"/>
              <a:gd name="connsiteY55449" fmla="*/ 1428948 h 5973007"/>
              <a:gd name="connsiteX55450" fmla="*/ 5437508 w 6884782"/>
              <a:gd name="connsiteY55450" fmla="*/ 1448013 h 5973007"/>
              <a:gd name="connsiteX55451" fmla="*/ 5421929 w 6884782"/>
              <a:gd name="connsiteY55451" fmla="*/ 1446306 h 5973007"/>
              <a:gd name="connsiteX55452" fmla="*/ 5424063 w 6884782"/>
              <a:gd name="connsiteY55452" fmla="*/ 1416002 h 5973007"/>
              <a:gd name="connsiteX55453" fmla="*/ 4494406 w 6884782"/>
              <a:gd name="connsiteY55453" fmla="*/ 1416002 h 5973007"/>
              <a:gd name="connsiteX55454" fmla="*/ 4507639 w 6884782"/>
              <a:gd name="connsiteY55454" fmla="*/ 1423542 h 5973007"/>
              <a:gd name="connsiteX55455" fmla="*/ 4508706 w 6884782"/>
              <a:gd name="connsiteY55455" fmla="*/ 1425677 h 5973007"/>
              <a:gd name="connsiteX55456" fmla="*/ 4513187 w 6884782"/>
              <a:gd name="connsiteY55456" fmla="*/ 1423542 h 5973007"/>
              <a:gd name="connsiteX55457" fmla="*/ 4512547 w 6884782"/>
              <a:gd name="connsiteY55457" fmla="*/ 1425250 h 5973007"/>
              <a:gd name="connsiteX55458" fmla="*/ 4510199 w 6884782"/>
              <a:gd name="connsiteY55458" fmla="*/ 1426103 h 5973007"/>
              <a:gd name="connsiteX55459" fmla="*/ 4508919 w 6884782"/>
              <a:gd name="connsiteY55459" fmla="*/ 1426388 h 5973007"/>
              <a:gd name="connsiteX55460" fmla="*/ 4510199 w 6884782"/>
              <a:gd name="connsiteY55460" fmla="*/ 1428806 h 5973007"/>
              <a:gd name="connsiteX55461" fmla="*/ 4501876 w 6884782"/>
              <a:gd name="connsiteY55461" fmla="*/ 1437627 h 5973007"/>
              <a:gd name="connsiteX55462" fmla="*/ 4489925 w 6884782"/>
              <a:gd name="connsiteY55462" fmla="*/ 1416714 h 5973007"/>
              <a:gd name="connsiteX55463" fmla="*/ 4494406 w 6884782"/>
              <a:gd name="connsiteY55463" fmla="*/ 1416002 h 5973007"/>
              <a:gd name="connsiteX55464" fmla="*/ 5454368 w 6884782"/>
              <a:gd name="connsiteY55464" fmla="*/ 1415718 h 5973007"/>
              <a:gd name="connsiteX55465" fmla="*/ 5458637 w 6884782"/>
              <a:gd name="connsiteY55465" fmla="*/ 1417994 h 5973007"/>
              <a:gd name="connsiteX55466" fmla="*/ 5454155 w 6884782"/>
              <a:gd name="connsiteY55466" fmla="*/ 1428237 h 5973007"/>
              <a:gd name="connsiteX55467" fmla="*/ 5454368 w 6884782"/>
              <a:gd name="connsiteY55467" fmla="*/ 1415718 h 5973007"/>
              <a:gd name="connsiteX55468" fmla="*/ 5067652 w 6884782"/>
              <a:gd name="connsiteY55468" fmla="*/ 1415718 h 5973007"/>
              <a:gd name="connsiteX55469" fmla="*/ 5069573 w 6884782"/>
              <a:gd name="connsiteY55469" fmla="*/ 1418705 h 5973007"/>
              <a:gd name="connsiteX55470" fmla="*/ 5069573 w 6884782"/>
              <a:gd name="connsiteY55470" fmla="*/ 1419274 h 5973007"/>
              <a:gd name="connsiteX55471" fmla="*/ 5071707 w 6884782"/>
              <a:gd name="connsiteY55471" fmla="*/ 1418421 h 5973007"/>
              <a:gd name="connsiteX55472" fmla="*/ 5072987 w 6884782"/>
              <a:gd name="connsiteY55472" fmla="*/ 1420839 h 5973007"/>
              <a:gd name="connsiteX55473" fmla="*/ 5070640 w 6884782"/>
              <a:gd name="connsiteY55473" fmla="*/ 1422689 h 5973007"/>
              <a:gd name="connsiteX55474" fmla="*/ 5070853 w 6884782"/>
              <a:gd name="connsiteY55474" fmla="*/ 1423684 h 5973007"/>
              <a:gd name="connsiteX55475" fmla="*/ 5070640 w 6884782"/>
              <a:gd name="connsiteY55475" fmla="*/ 1427526 h 5973007"/>
              <a:gd name="connsiteX55476" fmla="*/ 5071067 w 6884782"/>
              <a:gd name="connsiteY55476" fmla="*/ 1427811 h 5973007"/>
              <a:gd name="connsiteX55477" fmla="*/ 5071493 w 6884782"/>
              <a:gd name="connsiteY55477" fmla="*/ 1439761 h 5973007"/>
              <a:gd name="connsiteX55478" fmla="*/ 5058902 w 6884782"/>
              <a:gd name="connsiteY55478" fmla="*/ 1442749 h 5973007"/>
              <a:gd name="connsiteX55479" fmla="*/ 5052926 w 6884782"/>
              <a:gd name="connsiteY55479" fmla="*/ 1438907 h 5973007"/>
              <a:gd name="connsiteX55480" fmla="*/ 5052072 w 6884782"/>
              <a:gd name="connsiteY55480" fmla="*/ 1435635 h 5973007"/>
              <a:gd name="connsiteX55481" fmla="*/ 5045456 w 6884782"/>
              <a:gd name="connsiteY55481" fmla="*/ 1433074 h 5973007"/>
              <a:gd name="connsiteX55482" fmla="*/ 5042255 w 6884782"/>
              <a:gd name="connsiteY55482" fmla="*/ 1426103 h 5973007"/>
              <a:gd name="connsiteX55483" fmla="*/ 5045456 w 6884782"/>
              <a:gd name="connsiteY55483" fmla="*/ 1424681 h 5973007"/>
              <a:gd name="connsiteX55484" fmla="*/ 5052072 w 6884782"/>
              <a:gd name="connsiteY55484" fmla="*/ 1427668 h 5973007"/>
              <a:gd name="connsiteX55485" fmla="*/ 5053353 w 6884782"/>
              <a:gd name="connsiteY55485" fmla="*/ 1424681 h 5973007"/>
              <a:gd name="connsiteX55486" fmla="*/ 5057621 w 6884782"/>
              <a:gd name="connsiteY55486" fmla="*/ 1421693 h 5973007"/>
              <a:gd name="connsiteX55487" fmla="*/ 5059329 w 6884782"/>
              <a:gd name="connsiteY55487" fmla="*/ 1421693 h 5973007"/>
              <a:gd name="connsiteX55488" fmla="*/ 5058902 w 6884782"/>
              <a:gd name="connsiteY55488" fmla="*/ 1420270 h 5973007"/>
              <a:gd name="connsiteX55489" fmla="*/ 5062530 w 6884782"/>
              <a:gd name="connsiteY55489" fmla="*/ 1418421 h 5973007"/>
              <a:gd name="connsiteX55490" fmla="*/ 5063810 w 6884782"/>
              <a:gd name="connsiteY55490" fmla="*/ 1416287 h 5973007"/>
              <a:gd name="connsiteX55491" fmla="*/ 5067652 w 6884782"/>
              <a:gd name="connsiteY55491" fmla="*/ 1415718 h 5973007"/>
              <a:gd name="connsiteX55492" fmla="*/ 5606964 w 6884782"/>
              <a:gd name="connsiteY55492" fmla="*/ 1415291 h 5973007"/>
              <a:gd name="connsiteX55493" fmla="*/ 5615074 w 6884782"/>
              <a:gd name="connsiteY55493" fmla="*/ 1422689 h 5973007"/>
              <a:gd name="connsiteX55494" fmla="*/ 5609738 w 6884782"/>
              <a:gd name="connsiteY55494" fmla="*/ 1427099 h 5973007"/>
              <a:gd name="connsiteX55495" fmla="*/ 5606964 w 6884782"/>
              <a:gd name="connsiteY55495" fmla="*/ 1415291 h 5973007"/>
              <a:gd name="connsiteX55496" fmla="*/ 5993254 w 6884782"/>
              <a:gd name="connsiteY55496" fmla="*/ 1414295 h 5973007"/>
              <a:gd name="connsiteX55497" fmla="*/ 5986851 w 6884782"/>
              <a:gd name="connsiteY55497" fmla="*/ 1427811 h 5973007"/>
              <a:gd name="connsiteX55498" fmla="*/ 5993254 w 6884782"/>
              <a:gd name="connsiteY55498" fmla="*/ 1414295 h 5973007"/>
              <a:gd name="connsiteX55499" fmla="*/ 3826616 w 6884782"/>
              <a:gd name="connsiteY55499" fmla="*/ 1414153 h 5973007"/>
              <a:gd name="connsiteX55500" fmla="*/ 3834513 w 6884782"/>
              <a:gd name="connsiteY55500" fmla="*/ 1415575 h 5973007"/>
              <a:gd name="connsiteX55501" fmla="*/ 3836647 w 6884782"/>
              <a:gd name="connsiteY55501" fmla="*/ 1417425 h 5973007"/>
              <a:gd name="connsiteX55502" fmla="*/ 3840488 w 6884782"/>
              <a:gd name="connsiteY55502" fmla="*/ 1416998 h 5973007"/>
              <a:gd name="connsiteX55503" fmla="*/ 3841982 w 6884782"/>
              <a:gd name="connsiteY55503" fmla="*/ 1417710 h 5973007"/>
              <a:gd name="connsiteX55504" fmla="*/ 3838141 w 6884782"/>
              <a:gd name="connsiteY55504" fmla="*/ 1419132 h 5973007"/>
              <a:gd name="connsiteX55505" fmla="*/ 3841128 w 6884782"/>
              <a:gd name="connsiteY55505" fmla="*/ 1424254 h 5973007"/>
              <a:gd name="connsiteX55506" fmla="*/ 3842195 w 6884782"/>
              <a:gd name="connsiteY55506" fmla="*/ 1427668 h 5973007"/>
              <a:gd name="connsiteX55507" fmla="*/ 3845397 w 6884782"/>
              <a:gd name="connsiteY55507" fmla="*/ 1432078 h 5973007"/>
              <a:gd name="connsiteX55508" fmla="*/ 3844543 w 6884782"/>
              <a:gd name="connsiteY55508" fmla="*/ 1432932 h 5973007"/>
              <a:gd name="connsiteX55509" fmla="*/ 3847104 w 6884782"/>
              <a:gd name="connsiteY55509" fmla="*/ 1435493 h 5973007"/>
              <a:gd name="connsiteX55510" fmla="*/ 3848599 w 6884782"/>
              <a:gd name="connsiteY55510" fmla="*/ 1437343 h 5973007"/>
              <a:gd name="connsiteX55511" fmla="*/ 3849452 w 6884782"/>
              <a:gd name="connsiteY55511" fmla="*/ 1436915 h 5973007"/>
              <a:gd name="connsiteX55512" fmla="*/ 3853507 w 6884782"/>
              <a:gd name="connsiteY55512" fmla="*/ 1438907 h 5973007"/>
              <a:gd name="connsiteX55513" fmla="*/ 3853080 w 6884782"/>
              <a:gd name="connsiteY55513" fmla="*/ 1441042 h 5973007"/>
              <a:gd name="connsiteX55514" fmla="*/ 3853294 w 6884782"/>
              <a:gd name="connsiteY55514" fmla="*/ 1441753 h 5973007"/>
              <a:gd name="connsiteX55515" fmla="*/ 3861190 w 6884782"/>
              <a:gd name="connsiteY55515" fmla="*/ 1445452 h 5973007"/>
              <a:gd name="connsiteX55516" fmla="*/ 3862257 w 6884782"/>
              <a:gd name="connsiteY55516" fmla="*/ 1448013 h 5973007"/>
              <a:gd name="connsiteX55517" fmla="*/ 3858629 w 6884782"/>
              <a:gd name="connsiteY55517" fmla="*/ 1448582 h 5973007"/>
              <a:gd name="connsiteX55518" fmla="*/ 3856708 w 6884782"/>
              <a:gd name="connsiteY55518" fmla="*/ 1444598 h 5973007"/>
              <a:gd name="connsiteX55519" fmla="*/ 3852226 w 6884782"/>
              <a:gd name="connsiteY55519" fmla="*/ 1442749 h 5973007"/>
              <a:gd name="connsiteX55520" fmla="*/ 3852013 w 6884782"/>
              <a:gd name="connsiteY55520" fmla="*/ 1442464 h 5973007"/>
              <a:gd name="connsiteX55521" fmla="*/ 3849452 w 6884782"/>
              <a:gd name="connsiteY55521" fmla="*/ 1441753 h 5973007"/>
              <a:gd name="connsiteX55522" fmla="*/ 3849879 w 6884782"/>
              <a:gd name="connsiteY55522" fmla="*/ 1442749 h 5973007"/>
              <a:gd name="connsiteX55523" fmla="*/ 3839635 w 6884782"/>
              <a:gd name="connsiteY55523" fmla="*/ 1446590 h 5973007"/>
              <a:gd name="connsiteX55524" fmla="*/ 3834085 w 6884782"/>
              <a:gd name="connsiteY55524" fmla="*/ 1442749 h 5973007"/>
              <a:gd name="connsiteX55525" fmla="*/ 3834085 w 6884782"/>
              <a:gd name="connsiteY55525" fmla="*/ 1441753 h 5973007"/>
              <a:gd name="connsiteX55526" fmla="*/ 3827470 w 6884782"/>
              <a:gd name="connsiteY55526" fmla="*/ 1443318 h 5973007"/>
              <a:gd name="connsiteX55527" fmla="*/ 3821921 w 6884782"/>
              <a:gd name="connsiteY55527" fmla="*/ 1442037 h 5973007"/>
              <a:gd name="connsiteX55528" fmla="*/ 3820427 w 6884782"/>
              <a:gd name="connsiteY55528" fmla="*/ 1440330 h 5973007"/>
              <a:gd name="connsiteX55529" fmla="*/ 3820427 w 6884782"/>
              <a:gd name="connsiteY55529" fmla="*/ 1442749 h 5973007"/>
              <a:gd name="connsiteX55530" fmla="*/ 3820214 w 6884782"/>
              <a:gd name="connsiteY55530" fmla="*/ 1449578 h 5973007"/>
              <a:gd name="connsiteX55531" fmla="*/ 3820214 w 6884782"/>
              <a:gd name="connsiteY55531" fmla="*/ 1451712 h 5973007"/>
              <a:gd name="connsiteX55532" fmla="*/ 3820214 w 6884782"/>
              <a:gd name="connsiteY55532" fmla="*/ 1451854 h 5973007"/>
              <a:gd name="connsiteX55533" fmla="*/ 3820214 w 6884782"/>
              <a:gd name="connsiteY55533" fmla="*/ 1452281 h 5973007"/>
              <a:gd name="connsiteX55534" fmla="*/ 3815091 w 6884782"/>
              <a:gd name="connsiteY55534" fmla="*/ 1460105 h 5973007"/>
              <a:gd name="connsiteX55535" fmla="*/ 3813170 w 6884782"/>
              <a:gd name="connsiteY55535" fmla="*/ 1452708 h 5973007"/>
              <a:gd name="connsiteX55536" fmla="*/ 3811036 w 6884782"/>
              <a:gd name="connsiteY55536" fmla="*/ 1452281 h 5973007"/>
              <a:gd name="connsiteX55537" fmla="*/ 3806128 w 6884782"/>
              <a:gd name="connsiteY55537" fmla="*/ 1443176 h 5973007"/>
              <a:gd name="connsiteX55538" fmla="*/ 3810610 w 6884782"/>
              <a:gd name="connsiteY55538" fmla="*/ 1441610 h 5973007"/>
              <a:gd name="connsiteX55539" fmla="*/ 3810396 w 6884782"/>
              <a:gd name="connsiteY55539" fmla="*/ 1433643 h 5973007"/>
              <a:gd name="connsiteX55540" fmla="*/ 3813170 w 6884782"/>
              <a:gd name="connsiteY55540" fmla="*/ 1422689 h 5973007"/>
              <a:gd name="connsiteX55541" fmla="*/ 3815518 w 6884782"/>
              <a:gd name="connsiteY55541" fmla="*/ 1421693 h 5973007"/>
              <a:gd name="connsiteX55542" fmla="*/ 3815731 w 6884782"/>
              <a:gd name="connsiteY55542" fmla="*/ 1420839 h 5973007"/>
              <a:gd name="connsiteX55543" fmla="*/ 3821281 w 6884782"/>
              <a:gd name="connsiteY55543" fmla="*/ 1415718 h 5973007"/>
              <a:gd name="connsiteX55544" fmla="*/ 3826616 w 6884782"/>
              <a:gd name="connsiteY55544" fmla="*/ 1414153 h 5973007"/>
              <a:gd name="connsiteX55545" fmla="*/ 5255461 w 6884782"/>
              <a:gd name="connsiteY55545" fmla="*/ 1413868 h 5973007"/>
              <a:gd name="connsiteX55546" fmla="*/ 5257809 w 6884782"/>
              <a:gd name="connsiteY55546" fmla="*/ 1415718 h 5973007"/>
              <a:gd name="connsiteX55547" fmla="*/ 5242656 w 6884782"/>
              <a:gd name="connsiteY55547" fmla="*/ 1430940 h 5973007"/>
              <a:gd name="connsiteX55548" fmla="*/ 5240948 w 6884782"/>
              <a:gd name="connsiteY55548" fmla="*/ 1428664 h 5973007"/>
              <a:gd name="connsiteX55549" fmla="*/ 5241589 w 6884782"/>
              <a:gd name="connsiteY55549" fmla="*/ 1425534 h 5973007"/>
              <a:gd name="connsiteX55550" fmla="*/ 5249059 w 6884782"/>
              <a:gd name="connsiteY55550" fmla="*/ 1417282 h 5973007"/>
              <a:gd name="connsiteX55551" fmla="*/ 5250979 w 6884782"/>
              <a:gd name="connsiteY55551" fmla="*/ 1415718 h 5973007"/>
              <a:gd name="connsiteX55552" fmla="*/ 5253114 w 6884782"/>
              <a:gd name="connsiteY55552" fmla="*/ 1414295 h 5973007"/>
              <a:gd name="connsiteX55553" fmla="*/ 5255461 w 6884782"/>
              <a:gd name="connsiteY55553" fmla="*/ 1413868 h 5973007"/>
              <a:gd name="connsiteX55554" fmla="*/ 5084512 w 6884782"/>
              <a:gd name="connsiteY55554" fmla="*/ 1413868 h 5973007"/>
              <a:gd name="connsiteX55555" fmla="*/ 5097957 w 6884782"/>
              <a:gd name="connsiteY55555" fmla="*/ 1420555 h 5973007"/>
              <a:gd name="connsiteX55556" fmla="*/ 5081311 w 6884782"/>
              <a:gd name="connsiteY55556" fmla="*/ 1414437 h 5973007"/>
              <a:gd name="connsiteX55557" fmla="*/ 5084512 w 6884782"/>
              <a:gd name="connsiteY55557" fmla="*/ 1413868 h 5973007"/>
              <a:gd name="connsiteX55558" fmla="*/ 4417788 w 6884782"/>
              <a:gd name="connsiteY55558" fmla="*/ 1413868 h 5973007"/>
              <a:gd name="connsiteX55559" fmla="*/ 4421203 w 6884782"/>
              <a:gd name="connsiteY55559" fmla="*/ 1416002 h 5973007"/>
              <a:gd name="connsiteX55560" fmla="*/ 4419496 w 6884782"/>
              <a:gd name="connsiteY55560" fmla="*/ 1422974 h 5973007"/>
              <a:gd name="connsiteX55561" fmla="*/ 4413734 w 6884782"/>
              <a:gd name="connsiteY55561" fmla="*/ 1416429 h 5973007"/>
              <a:gd name="connsiteX55562" fmla="*/ 4417788 w 6884782"/>
              <a:gd name="connsiteY55562" fmla="*/ 1413868 h 5973007"/>
              <a:gd name="connsiteX55563" fmla="*/ 1615444 w 6884782"/>
              <a:gd name="connsiteY55563" fmla="*/ 1413761 h 5973007"/>
              <a:gd name="connsiteX55564" fmla="*/ 1626699 w 6884782"/>
              <a:gd name="connsiteY55564" fmla="*/ 1432813 h 5973007"/>
              <a:gd name="connsiteX55565" fmla="*/ 1622775 w 6884782"/>
              <a:gd name="connsiteY55565" fmla="*/ 1429715 h 5973007"/>
              <a:gd name="connsiteX55566" fmla="*/ 1622465 w 6884782"/>
              <a:gd name="connsiteY55566" fmla="*/ 1429560 h 5973007"/>
              <a:gd name="connsiteX55567" fmla="*/ 1622465 w 6884782"/>
              <a:gd name="connsiteY55567" fmla="*/ 1430180 h 5973007"/>
              <a:gd name="connsiteX55568" fmla="*/ 1614721 w 6884782"/>
              <a:gd name="connsiteY55568" fmla="*/ 1436066 h 5973007"/>
              <a:gd name="connsiteX55569" fmla="*/ 1601814 w 6884782"/>
              <a:gd name="connsiteY55569" fmla="*/ 1432658 h 5973007"/>
              <a:gd name="connsiteX55570" fmla="*/ 1611210 w 6884782"/>
              <a:gd name="connsiteY55570" fmla="*/ 1424294 h 5973007"/>
              <a:gd name="connsiteX55571" fmla="*/ 1616373 w 6884782"/>
              <a:gd name="connsiteY55571" fmla="*/ 1423829 h 5973007"/>
              <a:gd name="connsiteX55572" fmla="*/ 1614411 w 6884782"/>
              <a:gd name="connsiteY55572" fmla="*/ 1421351 h 5973007"/>
              <a:gd name="connsiteX55573" fmla="*/ 1613689 w 6884782"/>
              <a:gd name="connsiteY55573" fmla="*/ 1416549 h 5973007"/>
              <a:gd name="connsiteX55574" fmla="*/ 1615444 w 6884782"/>
              <a:gd name="connsiteY55574" fmla="*/ 1413761 h 5973007"/>
              <a:gd name="connsiteX55575" fmla="*/ 4374251 w 6884782"/>
              <a:gd name="connsiteY55575" fmla="*/ 1413726 h 5973007"/>
              <a:gd name="connsiteX55576" fmla="*/ 4364007 w 6884782"/>
              <a:gd name="connsiteY55576" fmla="*/ 1424254 h 5973007"/>
              <a:gd name="connsiteX55577" fmla="*/ 4350134 w 6884782"/>
              <a:gd name="connsiteY55577" fmla="*/ 1427384 h 5973007"/>
              <a:gd name="connsiteX55578" fmla="*/ 4374251 w 6884782"/>
              <a:gd name="connsiteY55578" fmla="*/ 1413726 h 5973007"/>
              <a:gd name="connsiteX55579" fmla="*/ 3659082 w 6884782"/>
              <a:gd name="connsiteY55579" fmla="*/ 1413157 h 5973007"/>
              <a:gd name="connsiteX55580" fmla="*/ 3679783 w 6884782"/>
              <a:gd name="connsiteY55580" fmla="*/ 1426388 h 5973007"/>
              <a:gd name="connsiteX55581" fmla="*/ 3671460 w 6884782"/>
              <a:gd name="connsiteY55581" fmla="*/ 1427099 h 5973007"/>
              <a:gd name="connsiteX55582" fmla="*/ 3663563 w 6884782"/>
              <a:gd name="connsiteY55582" fmla="*/ 1424538 h 5973007"/>
              <a:gd name="connsiteX55583" fmla="*/ 3663137 w 6884782"/>
              <a:gd name="connsiteY55583" fmla="*/ 1424254 h 5973007"/>
              <a:gd name="connsiteX55584" fmla="*/ 3650331 w 6884782"/>
              <a:gd name="connsiteY55584" fmla="*/ 1414153 h 5973007"/>
              <a:gd name="connsiteX55585" fmla="*/ 3659082 w 6884782"/>
              <a:gd name="connsiteY55585" fmla="*/ 1413157 h 5973007"/>
              <a:gd name="connsiteX55586" fmla="*/ 1076279 w 6884782"/>
              <a:gd name="connsiteY55586" fmla="*/ 1412812 h 5973007"/>
              <a:gd name="connsiteX55587" fmla="*/ 1081712 w 6884782"/>
              <a:gd name="connsiteY55587" fmla="*/ 1416859 h 5973007"/>
              <a:gd name="connsiteX55588" fmla="*/ 1074175 w 6884782"/>
              <a:gd name="connsiteY55588" fmla="*/ 1418408 h 5973007"/>
              <a:gd name="connsiteX55589" fmla="*/ 1076279 w 6884782"/>
              <a:gd name="connsiteY55589" fmla="*/ 1412812 h 5973007"/>
              <a:gd name="connsiteX55590" fmla="*/ 4301902 w 6884782"/>
              <a:gd name="connsiteY55590" fmla="*/ 1412588 h 5973007"/>
              <a:gd name="connsiteX55591" fmla="*/ 4326445 w 6884782"/>
              <a:gd name="connsiteY55591" fmla="*/ 1438054 h 5973007"/>
              <a:gd name="connsiteX55592" fmla="*/ 4322177 w 6884782"/>
              <a:gd name="connsiteY55592" fmla="*/ 1439477 h 5973007"/>
              <a:gd name="connsiteX55593" fmla="*/ 4318549 w 6884782"/>
              <a:gd name="connsiteY55593" fmla="*/ 1438481 h 5973007"/>
              <a:gd name="connsiteX55594" fmla="*/ 4320683 w 6884782"/>
              <a:gd name="connsiteY55594" fmla="*/ 1439619 h 5973007"/>
              <a:gd name="connsiteX55595" fmla="*/ 4321963 w 6884782"/>
              <a:gd name="connsiteY55595" fmla="*/ 1444598 h 5973007"/>
              <a:gd name="connsiteX55596" fmla="*/ 4300621 w 6884782"/>
              <a:gd name="connsiteY55596" fmla="*/ 1436347 h 5973007"/>
              <a:gd name="connsiteX55597" fmla="*/ 4301688 w 6884782"/>
              <a:gd name="connsiteY55597" fmla="*/ 1434070 h 5973007"/>
              <a:gd name="connsiteX55598" fmla="*/ 4304890 w 6884782"/>
              <a:gd name="connsiteY55598" fmla="*/ 1433359 h 5973007"/>
              <a:gd name="connsiteX55599" fmla="*/ 4315987 w 6884782"/>
              <a:gd name="connsiteY55599" fmla="*/ 1437058 h 5973007"/>
              <a:gd name="connsiteX55600" fmla="*/ 4317268 w 6884782"/>
              <a:gd name="connsiteY55600" fmla="*/ 1437769 h 5973007"/>
              <a:gd name="connsiteX55601" fmla="*/ 4310225 w 6884782"/>
              <a:gd name="connsiteY55601" fmla="*/ 1431367 h 5973007"/>
              <a:gd name="connsiteX55602" fmla="*/ 4301902 w 6884782"/>
              <a:gd name="connsiteY55602" fmla="*/ 1412588 h 5973007"/>
              <a:gd name="connsiteX55603" fmla="*/ 1143872 w 6884782"/>
              <a:gd name="connsiteY55603" fmla="*/ 1412522 h 5973007"/>
              <a:gd name="connsiteX55604" fmla="*/ 1151204 w 6884782"/>
              <a:gd name="connsiteY55604" fmla="*/ 1415620 h 5973007"/>
              <a:gd name="connsiteX55605" fmla="*/ 1142014 w 6884782"/>
              <a:gd name="connsiteY55605" fmla="*/ 1413916 h 5973007"/>
              <a:gd name="connsiteX55606" fmla="*/ 1143872 w 6884782"/>
              <a:gd name="connsiteY55606" fmla="*/ 1412522 h 5973007"/>
              <a:gd name="connsiteX55607" fmla="*/ 4994022 w 6884782"/>
              <a:gd name="connsiteY55607" fmla="*/ 1412303 h 5973007"/>
              <a:gd name="connsiteX55608" fmla="*/ 4995089 w 6884782"/>
              <a:gd name="connsiteY55608" fmla="*/ 1418137 h 5973007"/>
              <a:gd name="connsiteX55609" fmla="*/ 4985912 w 6884782"/>
              <a:gd name="connsiteY55609" fmla="*/ 1421124 h 5973007"/>
              <a:gd name="connsiteX55610" fmla="*/ 4980577 w 6884782"/>
              <a:gd name="connsiteY55610" fmla="*/ 1423827 h 5973007"/>
              <a:gd name="connsiteX55611" fmla="*/ 4986766 w 6884782"/>
              <a:gd name="connsiteY55611" fmla="*/ 1418705 h 5973007"/>
              <a:gd name="connsiteX55612" fmla="*/ 4987620 w 6884782"/>
              <a:gd name="connsiteY55612" fmla="*/ 1415006 h 5973007"/>
              <a:gd name="connsiteX55613" fmla="*/ 4994022 w 6884782"/>
              <a:gd name="connsiteY55613" fmla="*/ 1412303 h 5973007"/>
              <a:gd name="connsiteX55614" fmla="*/ 3868446 w 6884782"/>
              <a:gd name="connsiteY55614" fmla="*/ 1411734 h 5973007"/>
              <a:gd name="connsiteX55615" fmla="*/ 3849879 w 6884782"/>
              <a:gd name="connsiteY55615" fmla="*/ 1415718 h 5973007"/>
              <a:gd name="connsiteX55616" fmla="*/ 3868446 w 6884782"/>
              <a:gd name="connsiteY55616" fmla="*/ 1411734 h 5973007"/>
              <a:gd name="connsiteX55617" fmla="*/ 1328804 w 6884782"/>
              <a:gd name="connsiteY55617" fmla="*/ 1411593 h 5973007"/>
              <a:gd name="connsiteX55618" fmla="*/ 1335309 w 6884782"/>
              <a:gd name="connsiteY55618" fmla="*/ 1421815 h 5973007"/>
              <a:gd name="connsiteX55619" fmla="*/ 1329114 w 6884782"/>
              <a:gd name="connsiteY55619" fmla="*/ 1425069 h 5973007"/>
              <a:gd name="connsiteX55620" fmla="*/ 1328804 w 6884782"/>
              <a:gd name="connsiteY55620" fmla="*/ 1424604 h 5973007"/>
              <a:gd name="connsiteX55621" fmla="*/ 1327565 w 6884782"/>
              <a:gd name="connsiteY55621" fmla="*/ 1426772 h 5973007"/>
              <a:gd name="connsiteX55622" fmla="*/ 1327772 w 6884782"/>
              <a:gd name="connsiteY55622" fmla="*/ 1428631 h 5973007"/>
              <a:gd name="connsiteX55623" fmla="*/ 1327359 w 6884782"/>
              <a:gd name="connsiteY55623" fmla="*/ 1429560 h 5973007"/>
              <a:gd name="connsiteX55624" fmla="*/ 1333038 w 6884782"/>
              <a:gd name="connsiteY55624" fmla="*/ 1432658 h 5973007"/>
              <a:gd name="connsiteX55625" fmla="*/ 1337788 w 6884782"/>
              <a:gd name="connsiteY55625" fmla="*/ 1436995 h 5973007"/>
              <a:gd name="connsiteX55626" fmla="*/ 1335000 w 6884782"/>
              <a:gd name="connsiteY55626" fmla="*/ 1436995 h 5973007"/>
              <a:gd name="connsiteX55627" fmla="*/ 1333864 w 6884782"/>
              <a:gd name="connsiteY55627" fmla="*/ 1436531 h 5973007"/>
              <a:gd name="connsiteX55628" fmla="*/ 1332935 w 6884782"/>
              <a:gd name="connsiteY55628" fmla="*/ 1436685 h 5973007"/>
              <a:gd name="connsiteX55629" fmla="*/ 1332625 w 6884782"/>
              <a:gd name="connsiteY55629" fmla="*/ 1435911 h 5973007"/>
              <a:gd name="connsiteX55630" fmla="*/ 1330353 w 6884782"/>
              <a:gd name="connsiteY55630" fmla="*/ 1434827 h 5973007"/>
              <a:gd name="connsiteX55631" fmla="*/ 1324571 w 6884782"/>
              <a:gd name="connsiteY55631" fmla="*/ 1433897 h 5973007"/>
              <a:gd name="connsiteX55632" fmla="*/ 1324158 w 6884782"/>
              <a:gd name="connsiteY55632" fmla="*/ 1433743 h 5973007"/>
              <a:gd name="connsiteX55633" fmla="*/ 1321576 w 6884782"/>
              <a:gd name="connsiteY55633" fmla="*/ 1435292 h 5973007"/>
              <a:gd name="connsiteX55634" fmla="*/ 1308876 w 6884782"/>
              <a:gd name="connsiteY55634" fmla="*/ 1431884 h 5973007"/>
              <a:gd name="connsiteX55635" fmla="*/ 1307947 w 6884782"/>
              <a:gd name="connsiteY55635" fmla="*/ 1429870 h 5973007"/>
              <a:gd name="connsiteX55636" fmla="*/ 1306708 w 6884782"/>
              <a:gd name="connsiteY55636" fmla="*/ 1436066 h 5973007"/>
              <a:gd name="connsiteX55637" fmla="*/ 1296589 w 6884782"/>
              <a:gd name="connsiteY55637" fmla="*/ 1444895 h 5973007"/>
              <a:gd name="connsiteX55638" fmla="*/ 1301442 w 6884782"/>
              <a:gd name="connsiteY55638" fmla="*/ 1425378 h 5973007"/>
              <a:gd name="connsiteX55639" fmla="*/ 1306708 w 6884782"/>
              <a:gd name="connsiteY55639" fmla="*/ 1423365 h 5973007"/>
              <a:gd name="connsiteX55640" fmla="*/ 1307637 w 6884782"/>
              <a:gd name="connsiteY55640" fmla="*/ 1426927 h 5973007"/>
              <a:gd name="connsiteX55641" fmla="*/ 1310941 w 6884782"/>
              <a:gd name="connsiteY55641" fmla="*/ 1423674 h 5973007"/>
              <a:gd name="connsiteX55642" fmla="*/ 1313832 w 6884782"/>
              <a:gd name="connsiteY55642" fmla="*/ 1422745 h 5973007"/>
              <a:gd name="connsiteX55643" fmla="*/ 1314555 w 6884782"/>
              <a:gd name="connsiteY55643" fmla="*/ 1416394 h 5973007"/>
              <a:gd name="connsiteX55644" fmla="*/ 1317653 w 6884782"/>
              <a:gd name="connsiteY55644" fmla="*/ 1412832 h 5973007"/>
              <a:gd name="connsiteX55645" fmla="*/ 1324055 w 6884782"/>
              <a:gd name="connsiteY55645" fmla="*/ 1412677 h 5973007"/>
              <a:gd name="connsiteX55646" fmla="*/ 1586635 w 6884782"/>
              <a:gd name="connsiteY55646" fmla="*/ 1411438 h 5973007"/>
              <a:gd name="connsiteX55647" fmla="*/ 1594999 w 6884782"/>
              <a:gd name="connsiteY55647" fmla="*/ 1415929 h 5973007"/>
              <a:gd name="connsiteX55648" fmla="*/ 1593140 w 6884782"/>
              <a:gd name="connsiteY55648" fmla="*/ 1418717 h 5973007"/>
              <a:gd name="connsiteX55649" fmla="*/ 1586119 w 6884782"/>
              <a:gd name="connsiteY55649" fmla="*/ 1414536 h 5973007"/>
              <a:gd name="connsiteX55650" fmla="*/ 1586635 w 6884782"/>
              <a:gd name="connsiteY55650" fmla="*/ 1411438 h 5973007"/>
              <a:gd name="connsiteX55651" fmla="*/ 3793109 w 6884782"/>
              <a:gd name="connsiteY55651" fmla="*/ 1411023 h 5973007"/>
              <a:gd name="connsiteX55652" fmla="*/ 3803140 w 6884782"/>
              <a:gd name="connsiteY55652" fmla="*/ 1420555 h 5973007"/>
              <a:gd name="connsiteX55653" fmla="*/ 3803140 w 6884782"/>
              <a:gd name="connsiteY55653" fmla="*/ 1422831 h 5973007"/>
              <a:gd name="connsiteX55654" fmla="*/ 3800579 w 6884782"/>
              <a:gd name="connsiteY55654" fmla="*/ 1424681 h 5973007"/>
              <a:gd name="connsiteX55655" fmla="*/ 3795670 w 6884782"/>
              <a:gd name="connsiteY55655" fmla="*/ 1421551 h 5973007"/>
              <a:gd name="connsiteX55656" fmla="*/ 3794603 w 6884782"/>
              <a:gd name="connsiteY55656" fmla="*/ 1415006 h 5973007"/>
              <a:gd name="connsiteX55657" fmla="*/ 3792469 w 6884782"/>
              <a:gd name="connsiteY55657" fmla="*/ 1412161 h 5973007"/>
              <a:gd name="connsiteX55658" fmla="*/ 3793109 w 6884782"/>
              <a:gd name="connsiteY55658" fmla="*/ 1411023 h 5973007"/>
              <a:gd name="connsiteX55659" fmla="*/ 1054866 w 6884782"/>
              <a:gd name="connsiteY55659" fmla="*/ 1410973 h 5973007"/>
              <a:gd name="connsiteX55660" fmla="*/ 1056311 w 6884782"/>
              <a:gd name="connsiteY55660" fmla="*/ 1414845 h 5973007"/>
              <a:gd name="connsiteX55661" fmla="*/ 1054556 w 6884782"/>
              <a:gd name="connsiteY55661" fmla="*/ 1416859 h 5973007"/>
              <a:gd name="connsiteX55662" fmla="*/ 1052491 w 6884782"/>
              <a:gd name="connsiteY55662" fmla="*/ 1415310 h 5973007"/>
              <a:gd name="connsiteX55663" fmla="*/ 1051768 w 6884782"/>
              <a:gd name="connsiteY55663" fmla="*/ 1412832 h 5973007"/>
              <a:gd name="connsiteX55664" fmla="*/ 1052904 w 6884782"/>
              <a:gd name="connsiteY55664" fmla="*/ 1411747 h 5973007"/>
              <a:gd name="connsiteX55665" fmla="*/ 1054866 w 6884782"/>
              <a:gd name="connsiteY55665" fmla="*/ 1410973 h 5973007"/>
              <a:gd name="connsiteX55666" fmla="*/ 3990309 w 6884782"/>
              <a:gd name="connsiteY55666" fmla="*/ 1410454 h 5973007"/>
              <a:gd name="connsiteX55667" fmla="*/ 3996925 w 6884782"/>
              <a:gd name="connsiteY55667" fmla="*/ 1415006 h 5973007"/>
              <a:gd name="connsiteX55668" fmla="*/ 3996285 w 6884782"/>
              <a:gd name="connsiteY55668" fmla="*/ 1418847 h 5973007"/>
              <a:gd name="connsiteX55669" fmla="*/ 3991162 w 6884782"/>
              <a:gd name="connsiteY55669" fmla="*/ 1422689 h 5973007"/>
              <a:gd name="connsiteX55670" fmla="*/ 3987534 w 6884782"/>
              <a:gd name="connsiteY55670" fmla="*/ 1413157 h 5973007"/>
              <a:gd name="connsiteX55671" fmla="*/ 3990309 w 6884782"/>
              <a:gd name="connsiteY55671" fmla="*/ 1410454 h 5973007"/>
              <a:gd name="connsiteX55672" fmla="*/ 3869300 w 6884782"/>
              <a:gd name="connsiteY55672" fmla="*/ 1410454 h 5973007"/>
              <a:gd name="connsiteX55673" fmla="*/ 3871221 w 6884782"/>
              <a:gd name="connsiteY55673" fmla="*/ 1412018 h 5973007"/>
              <a:gd name="connsiteX55674" fmla="*/ 3868446 w 6884782"/>
              <a:gd name="connsiteY55674" fmla="*/ 1412018 h 5973007"/>
              <a:gd name="connsiteX55675" fmla="*/ 3869300 w 6884782"/>
              <a:gd name="connsiteY55675" fmla="*/ 1410454 h 5973007"/>
              <a:gd name="connsiteX55676" fmla="*/ 3875062 w 6884782"/>
              <a:gd name="connsiteY55676" fmla="*/ 1410311 h 5973007"/>
              <a:gd name="connsiteX55677" fmla="*/ 3878264 w 6884782"/>
              <a:gd name="connsiteY55677" fmla="*/ 1410311 h 5973007"/>
              <a:gd name="connsiteX55678" fmla="*/ 3889148 w 6884782"/>
              <a:gd name="connsiteY55678" fmla="*/ 1415718 h 5973007"/>
              <a:gd name="connsiteX55679" fmla="*/ 3881465 w 6884782"/>
              <a:gd name="connsiteY55679" fmla="*/ 1424538 h 5973007"/>
              <a:gd name="connsiteX55680" fmla="*/ 3879971 w 6884782"/>
              <a:gd name="connsiteY55680" fmla="*/ 1424111 h 5973007"/>
              <a:gd name="connsiteX55681" fmla="*/ 3869086 w 6884782"/>
              <a:gd name="connsiteY55681" fmla="*/ 1416145 h 5973007"/>
              <a:gd name="connsiteX55682" fmla="*/ 3875062 w 6884782"/>
              <a:gd name="connsiteY55682" fmla="*/ 1410311 h 5973007"/>
              <a:gd name="connsiteX55683" fmla="*/ 1499487 w 6884782"/>
              <a:gd name="connsiteY55683" fmla="*/ 1410198 h 5973007"/>
              <a:gd name="connsiteX55684" fmla="*/ 1500829 w 6884782"/>
              <a:gd name="connsiteY55684" fmla="*/ 1418408 h 5973007"/>
              <a:gd name="connsiteX55685" fmla="*/ 1498145 w 6884782"/>
              <a:gd name="connsiteY55685" fmla="*/ 1414536 h 5973007"/>
              <a:gd name="connsiteX55686" fmla="*/ 1499487 w 6884782"/>
              <a:gd name="connsiteY55686" fmla="*/ 1410198 h 5973007"/>
              <a:gd name="connsiteX55687" fmla="*/ 3874636 w 6884782"/>
              <a:gd name="connsiteY55687" fmla="*/ 1408604 h 5973007"/>
              <a:gd name="connsiteX55688" fmla="*/ 3876556 w 6884782"/>
              <a:gd name="connsiteY55688" fmla="*/ 1408604 h 5973007"/>
              <a:gd name="connsiteX55689" fmla="*/ 3876769 w 6884782"/>
              <a:gd name="connsiteY55689" fmla="*/ 1409600 h 5973007"/>
              <a:gd name="connsiteX55690" fmla="*/ 3873995 w 6884782"/>
              <a:gd name="connsiteY55690" fmla="*/ 1409600 h 5973007"/>
              <a:gd name="connsiteX55691" fmla="*/ 3874636 w 6884782"/>
              <a:gd name="connsiteY55691" fmla="*/ 1408604 h 5973007"/>
              <a:gd name="connsiteX55692" fmla="*/ 4076317 w 6884782"/>
              <a:gd name="connsiteY55692" fmla="*/ 1408178 h 5973007"/>
              <a:gd name="connsiteX55693" fmla="*/ 4084427 w 6884782"/>
              <a:gd name="connsiteY55693" fmla="*/ 1413726 h 5973007"/>
              <a:gd name="connsiteX55694" fmla="*/ 4082720 w 6884782"/>
              <a:gd name="connsiteY55694" fmla="*/ 1424965 h 5973007"/>
              <a:gd name="connsiteX55695" fmla="*/ 4067354 w 6884782"/>
              <a:gd name="connsiteY55695" fmla="*/ 1421124 h 5973007"/>
              <a:gd name="connsiteX55696" fmla="*/ 4076317 w 6884782"/>
              <a:gd name="connsiteY55696" fmla="*/ 1408178 h 5973007"/>
              <a:gd name="connsiteX55697" fmla="*/ 5164331 w 6884782"/>
              <a:gd name="connsiteY55697" fmla="*/ 1408035 h 5973007"/>
              <a:gd name="connsiteX55698" fmla="*/ 5170307 w 6884782"/>
              <a:gd name="connsiteY55698" fmla="*/ 1415291 h 5973007"/>
              <a:gd name="connsiteX55699" fmla="*/ 5161130 w 6884782"/>
              <a:gd name="connsiteY55699" fmla="*/ 1415006 h 5973007"/>
              <a:gd name="connsiteX55700" fmla="*/ 5164331 w 6884782"/>
              <a:gd name="connsiteY55700" fmla="*/ 1408035 h 5973007"/>
              <a:gd name="connsiteX55701" fmla="*/ 1738422 w 6884782"/>
              <a:gd name="connsiteY55701" fmla="*/ 1407875 h 5973007"/>
              <a:gd name="connsiteX55702" fmla="*/ 1740384 w 6884782"/>
              <a:gd name="connsiteY55702" fmla="*/ 1408649 h 5973007"/>
              <a:gd name="connsiteX55703" fmla="*/ 1737803 w 6884782"/>
              <a:gd name="connsiteY55703" fmla="*/ 1411282 h 5973007"/>
              <a:gd name="connsiteX55704" fmla="*/ 1735944 w 6884782"/>
              <a:gd name="connsiteY55704" fmla="*/ 1409114 h 5973007"/>
              <a:gd name="connsiteX55705" fmla="*/ 1738422 w 6884782"/>
              <a:gd name="connsiteY55705" fmla="*/ 1407875 h 5973007"/>
              <a:gd name="connsiteX55706" fmla="*/ 1089869 w 6884782"/>
              <a:gd name="connsiteY55706" fmla="*/ 1407565 h 5973007"/>
              <a:gd name="connsiteX55707" fmla="*/ 1102364 w 6884782"/>
              <a:gd name="connsiteY55707" fmla="*/ 1417788 h 5973007"/>
              <a:gd name="connsiteX55708" fmla="*/ 1089869 w 6884782"/>
              <a:gd name="connsiteY55708" fmla="*/ 1407565 h 5973007"/>
              <a:gd name="connsiteX55709" fmla="*/ 5201039 w 6884782"/>
              <a:gd name="connsiteY55709" fmla="*/ 1407466 h 5973007"/>
              <a:gd name="connsiteX55710" fmla="*/ 5208722 w 6884782"/>
              <a:gd name="connsiteY55710" fmla="*/ 1410311 h 5973007"/>
              <a:gd name="connsiteX55711" fmla="*/ 5208082 w 6884782"/>
              <a:gd name="connsiteY55711" fmla="*/ 1419132 h 5973007"/>
              <a:gd name="connsiteX55712" fmla="*/ 5195064 w 6884782"/>
              <a:gd name="connsiteY55712" fmla="*/ 1413157 h 5973007"/>
              <a:gd name="connsiteX55713" fmla="*/ 5201039 w 6884782"/>
              <a:gd name="connsiteY55713" fmla="*/ 1407466 h 5973007"/>
              <a:gd name="connsiteX55714" fmla="*/ 1558653 w 6884782"/>
              <a:gd name="connsiteY55714" fmla="*/ 1406791 h 5973007"/>
              <a:gd name="connsiteX55715" fmla="*/ 1559789 w 6884782"/>
              <a:gd name="connsiteY55715" fmla="*/ 1411902 h 5973007"/>
              <a:gd name="connsiteX55716" fmla="*/ 1557414 w 6884782"/>
              <a:gd name="connsiteY55716" fmla="*/ 1411902 h 5973007"/>
              <a:gd name="connsiteX55717" fmla="*/ 1557414 w 6884782"/>
              <a:gd name="connsiteY55717" fmla="*/ 1413296 h 5973007"/>
              <a:gd name="connsiteX55718" fmla="*/ 1555039 w 6884782"/>
              <a:gd name="connsiteY55718" fmla="*/ 1411902 h 5973007"/>
              <a:gd name="connsiteX55719" fmla="*/ 1555039 w 6884782"/>
              <a:gd name="connsiteY55719" fmla="*/ 1410663 h 5973007"/>
              <a:gd name="connsiteX55720" fmla="*/ 1554626 w 6884782"/>
              <a:gd name="connsiteY55720" fmla="*/ 1410353 h 5973007"/>
              <a:gd name="connsiteX55721" fmla="*/ 1556175 w 6884782"/>
              <a:gd name="connsiteY55721" fmla="*/ 1408030 h 5973007"/>
              <a:gd name="connsiteX55722" fmla="*/ 1558653 w 6884782"/>
              <a:gd name="connsiteY55722" fmla="*/ 1406791 h 5973007"/>
              <a:gd name="connsiteX55723" fmla="*/ 1712608 w 6884782"/>
              <a:gd name="connsiteY55723" fmla="*/ 1406016 h 5973007"/>
              <a:gd name="connsiteX55724" fmla="*/ 1731917 w 6884782"/>
              <a:gd name="connsiteY55724" fmla="*/ 1417169 h 5973007"/>
              <a:gd name="connsiteX55725" fmla="*/ 1723346 w 6884782"/>
              <a:gd name="connsiteY55725" fmla="*/ 1433897 h 5973007"/>
              <a:gd name="connsiteX55726" fmla="*/ 1708271 w 6884782"/>
              <a:gd name="connsiteY55726" fmla="*/ 1415155 h 5973007"/>
              <a:gd name="connsiteX55727" fmla="*/ 1709717 w 6884782"/>
              <a:gd name="connsiteY55727" fmla="*/ 1408649 h 5973007"/>
              <a:gd name="connsiteX55728" fmla="*/ 1712608 w 6884782"/>
              <a:gd name="connsiteY55728" fmla="*/ 1406016 h 5973007"/>
              <a:gd name="connsiteX55729" fmla="*/ 5256529 w 6884782"/>
              <a:gd name="connsiteY55729" fmla="*/ 1405616 h 5973007"/>
              <a:gd name="connsiteX55730" fmla="*/ 5267626 w 6884782"/>
              <a:gd name="connsiteY55730" fmla="*/ 1408178 h 5973007"/>
              <a:gd name="connsiteX55731" fmla="*/ 5270187 w 6884782"/>
              <a:gd name="connsiteY55731" fmla="*/ 1409316 h 5973007"/>
              <a:gd name="connsiteX55732" fmla="*/ 5272748 w 6884782"/>
              <a:gd name="connsiteY55732" fmla="*/ 1410311 h 5973007"/>
              <a:gd name="connsiteX55733" fmla="*/ 5274456 w 6884782"/>
              <a:gd name="connsiteY55733" fmla="*/ 1415148 h 5973007"/>
              <a:gd name="connsiteX55734" fmla="*/ 5252687 w 6884782"/>
              <a:gd name="connsiteY55734" fmla="*/ 1409173 h 5973007"/>
              <a:gd name="connsiteX55735" fmla="*/ 5253541 w 6884782"/>
              <a:gd name="connsiteY55735" fmla="*/ 1406612 h 5973007"/>
              <a:gd name="connsiteX55736" fmla="*/ 5256529 w 6884782"/>
              <a:gd name="connsiteY55736" fmla="*/ 1405616 h 5973007"/>
              <a:gd name="connsiteX55737" fmla="*/ 5230705 w 6884782"/>
              <a:gd name="connsiteY55737" fmla="*/ 1404906 h 5973007"/>
              <a:gd name="connsiteX55738" fmla="*/ 5242656 w 6884782"/>
              <a:gd name="connsiteY55738" fmla="*/ 1415148 h 5973007"/>
              <a:gd name="connsiteX55739" fmla="*/ 5215552 w 6884782"/>
              <a:gd name="connsiteY55739" fmla="*/ 1411450 h 5973007"/>
              <a:gd name="connsiteX55740" fmla="*/ 5217899 w 6884782"/>
              <a:gd name="connsiteY55740" fmla="*/ 1405759 h 5973007"/>
              <a:gd name="connsiteX55741" fmla="*/ 5224942 w 6884782"/>
              <a:gd name="connsiteY55741" fmla="*/ 1405047 h 5973007"/>
              <a:gd name="connsiteX55742" fmla="*/ 5230705 w 6884782"/>
              <a:gd name="connsiteY55742" fmla="*/ 1404906 h 5973007"/>
              <a:gd name="connsiteX55743" fmla="*/ 4283974 w 6884782"/>
              <a:gd name="connsiteY55743" fmla="*/ 1404906 h 5973007"/>
              <a:gd name="connsiteX55744" fmla="*/ 4288670 w 6884782"/>
              <a:gd name="connsiteY55744" fmla="*/ 1406755 h 5973007"/>
              <a:gd name="connsiteX55745" fmla="*/ 4291444 w 6884782"/>
              <a:gd name="connsiteY55745" fmla="*/ 1412018 h 5973007"/>
              <a:gd name="connsiteX55746" fmla="*/ 4290804 w 6884782"/>
              <a:gd name="connsiteY55746" fmla="*/ 1411023 h 5973007"/>
              <a:gd name="connsiteX55747" fmla="*/ 4288883 w 6884782"/>
              <a:gd name="connsiteY55747" fmla="*/ 1412303 h 5973007"/>
              <a:gd name="connsiteX55748" fmla="*/ 4289523 w 6884782"/>
              <a:gd name="connsiteY55748" fmla="*/ 1413299 h 5973007"/>
              <a:gd name="connsiteX55749" fmla="*/ 4286962 w 6884782"/>
              <a:gd name="connsiteY55749" fmla="*/ 1413583 h 5973007"/>
              <a:gd name="connsiteX55750" fmla="*/ 4279279 w 6884782"/>
              <a:gd name="connsiteY55750" fmla="*/ 1408035 h 5973007"/>
              <a:gd name="connsiteX55751" fmla="*/ 4283974 w 6884782"/>
              <a:gd name="connsiteY55751" fmla="*/ 1404906 h 5973007"/>
              <a:gd name="connsiteX55752" fmla="*/ 1635269 w 6884782"/>
              <a:gd name="connsiteY55752" fmla="*/ 1404467 h 5973007"/>
              <a:gd name="connsiteX55753" fmla="*/ 1631035 w 6884782"/>
              <a:gd name="connsiteY55753" fmla="*/ 1411438 h 5973007"/>
              <a:gd name="connsiteX55754" fmla="*/ 1629693 w 6884782"/>
              <a:gd name="connsiteY55754" fmla="*/ 1408959 h 5973007"/>
              <a:gd name="connsiteX55755" fmla="*/ 1635269 w 6884782"/>
              <a:gd name="connsiteY55755" fmla="*/ 1404467 h 5973007"/>
              <a:gd name="connsiteX55756" fmla="*/ 4113879 w 6884782"/>
              <a:gd name="connsiteY55756" fmla="*/ 1404194 h 5973007"/>
              <a:gd name="connsiteX55757" fmla="*/ 4122202 w 6884782"/>
              <a:gd name="connsiteY55757" fmla="*/ 1406328 h 5973007"/>
              <a:gd name="connsiteX55758" fmla="*/ 4119001 w 6884782"/>
              <a:gd name="connsiteY55758" fmla="*/ 1405474 h 5973007"/>
              <a:gd name="connsiteX55759" fmla="*/ 4116867 w 6884782"/>
              <a:gd name="connsiteY55759" fmla="*/ 1406755 h 5973007"/>
              <a:gd name="connsiteX55760" fmla="*/ 4113879 w 6884782"/>
              <a:gd name="connsiteY55760" fmla="*/ 1404194 h 5973007"/>
              <a:gd name="connsiteX55761" fmla="*/ 3688107 w 6884782"/>
              <a:gd name="connsiteY55761" fmla="*/ 1404052 h 5973007"/>
              <a:gd name="connsiteX55762" fmla="*/ 3691308 w 6884782"/>
              <a:gd name="connsiteY55762" fmla="*/ 1405332 h 5973007"/>
              <a:gd name="connsiteX55763" fmla="*/ 3690027 w 6884782"/>
              <a:gd name="connsiteY55763" fmla="*/ 1410169 h 5973007"/>
              <a:gd name="connsiteX55764" fmla="*/ 3686613 w 6884782"/>
              <a:gd name="connsiteY55764" fmla="*/ 1411023 h 5973007"/>
              <a:gd name="connsiteX55765" fmla="*/ 3686613 w 6884782"/>
              <a:gd name="connsiteY55765" fmla="*/ 1409743 h 5973007"/>
              <a:gd name="connsiteX55766" fmla="*/ 3685546 w 6884782"/>
              <a:gd name="connsiteY55766" fmla="*/ 1404621 h 5973007"/>
              <a:gd name="connsiteX55767" fmla="*/ 3688107 w 6884782"/>
              <a:gd name="connsiteY55767" fmla="*/ 1404052 h 5973007"/>
              <a:gd name="connsiteX55768" fmla="*/ 1695364 w 6884782"/>
              <a:gd name="connsiteY55768" fmla="*/ 1403693 h 5973007"/>
              <a:gd name="connsiteX55769" fmla="*/ 1699495 w 6884782"/>
              <a:gd name="connsiteY55769" fmla="*/ 1406481 h 5973007"/>
              <a:gd name="connsiteX55770" fmla="*/ 1699907 w 6884782"/>
              <a:gd name="connsiteY55770" fmla="*/ 1406326 h 5973007"/>
              <a:gd name="connsiteX55771" fmla="*/ 1700217 w 6884782"/>
              <a:gd name="connsiteY55771" fmla="*/ 1406946 h 5973007"/>
              <a:gd name="connsiteX55772" fmla="*/ 1701973 w 6884782"/>
              <a:gd name="connsiteY55772" fmla="*/ 1408030 h 5973007"/>
              <a:gd name="connsiteX55773" fmla="*/ 1699804 w 6884782"/>
              <a:gd name="connsiteY55773" fmla="*/ 1420886 h 5973007"/>
              <a:gd name="connsiteX55774" fmla="*/ 1693505 w 6884782"/>
              <a:gd name="connsiteY55774" fmla="*/ 1421971 h 5973007"/>
              <a:gd name="connsiteX55775" fmla="*/ 1692370 w 6884782"/>
              <a:gd name="connsiteY55775" fmla="*/ 1421351 h 5973007"/>
              <a:gd name="connsiteX55776" fmla="*/ 1693402 w 6884782"/>
              <a:gd name="connsiteY55776" fmla="*/ 1423210 h 5973007"/>
              <a:gd name="connsiteX55777" fmla="*/ 1691543 w 6884782"/>
              <a:gd name="connsiteY55777" fmla="*/ 1433433 h 5973007"/>
              <a:gd name="connsiteX55778" fmla="*/ 1679669 w 6884782"/>
              <a:gd name="connsiteY55778" fmla="*/ 1418253 h 5973007"/>
              <a:gd name="connsiteX55779" fmla="*/ 1682973 w 6884782"/>
              <a:gd name="connsiteY55779" fmla="*/ 1414381 h 5973007"/>
              <a:gd name="connsiteX55780" fmla="*/ 1685555 w 6884782"/>
              <a:gd name="connsiteY55780" fmla="*/ 1414071 h 5973007"/>
              <a:gd name="connsiteX55781" fmla="*/ 1695364 w 6884782"/>
              <a:gd name="connsiteY55781" fmla="*/ 1403693 h 5973007"/>
              <a:gd name="connsiteX55782" fmla="*/ 4135008 w 6884782"/>
              <a:gd name="connsiteY55782" fmla="*/ 1403625 h 5973007"/>
              <a:gd name="connsiteX55783" fmla="*/ 4137355 w 6884782"/>
              <a:gd name="connsiteY55783" fmla="*/ 1405047 h 5973007"/>
              <a:gd name="connsiteX55784" fmla="*/ 4135221 w 6884782"/>
              <a:gd name="connsiteY55784" fmla="*/ 1407893 h 5973007"/>
              <a:gd name="connsiteX55785" fmla="*/ 4131380 w 6884782"/>
              <a:gd name="connsiteY55785" fmla="*/ 1406044 h 5973007"/>
              <a:gd name="connsiteX55786" fmla="*/ 4126897 w 6884782"/>
              <a:gd name="connsiteY55786" fmla="*/ 1407466 h 5973007"/>
              <a:gd name="connsiteX55787" fmla="*/ 4123056 w 6884782"/>
              <a:gd name="connsiteY55787" fmla="*/ 1405616 h 5973007"/>
              <a:gd name="connsiteX55788" fmla="*/ 4124123 w 6884782"/>
              <a:gd name="connsiteY55788" fmla="*/ 1404906 h 5973007"/>
              <a:gd name="connsiteX55789" fmla="*/ 4127324 w 6884782"/>
              <a:gd name="connsiteY55789" fmla="*/ 1405759 h 5973007"/>
              <a:gd name="connsiteX55790" fmla="*/ 4135008 w 6884782"/>
              <a:gd name="connsiteY55790" fmla="*/ 1403625 h 5973007"/>
              <a:gd name="connsiteX55791" fmla="*/ 4623525 w 6884782"/>
              <a:gd name="connsiteY55791" fmla="*/ 1403198 h 5973007"/>
              <a:gd name="connsiteX55792" fmla="*/ 4626300 w 6884782"/>
              <a:gd name="connsiteY55792" fmla="*/ 1404621 h 5973007"/>
              <a:gd name="connsiteX55793" fmla="*/ 4614561 w 6884782"/>
              <a:gd name="connsiteY55793" fmla="*/ 1412161 h 5973007"/>
              <a:gd name="connsiteX55794" fmla="*/ 4614775 w 6884782"/>
              <a:gd name="connsiteY55794" fmla="*/ 1408604 h 5973007"/>
              <a:gd name="connsiteX55795" fmla="*/ 4623525 w 6884782"/>
              <a:gd name="connsiteY55795" fmla="*/ 1403198 h 5973007"/>
              <a:gd name="connsiteX55796" fmla="*/ 1281720 w 6884782"/>
              <a:gd name="connsiteY55796" fmla="*/ 1402918 h 5973007"/>
              <a:gd name="connsiteX55797" fmla="*/ 1286779 w 6884782"/>
              <a:gd name="connsiteY55797" fmla="*/ 1404003 h 5973007"/>
              <a:gd name="connsiteX55798" fmla="*/ 1282030 w 6884782"/>
              <a:gd name="connsiteY55798" fmla="*/ 1408339 h 5973007"/>
              <a:gd name="connsiteX55799" fmla="*/ 1280171 w 6884782"/>
              <a:gd name="connsiteY55799" fmla="*/ 1405397 h 5973007"/>
              <a:gd name="connsiteX55800" fmla="*/ 1281720 w 6884782"/>
              <a:gd name="connsiteY55800" fmla="*/ 1402918 h 5973007"/>
              <a:gd name="connsiteX55801" fmla="*/ 1793767 w 6884782"/>
              <a:gd name="connsiteY55801" fmla="*/ 1402299 h 5973007"/>
              <a:gd name="connsiteX55802" fmla="*/ 1795316 w 6884782"/>
              <a:gd name="connsiteY55802" fmla="*/ 1405397 h 5973007"/>
              <a:gd name="connsiteX55803" fmla="*/ 1793354 w 6884782"/>
              <a:gd name="connsiteY55803" fmla="*/ 1407101 h 5973007"/>
              <a:gd name="connsiteX55804" fmla="*/ 1793044 w 6884782"/>
              <a:gd name="connsiteY55804" fmla="*/ 1404467 h 5973007"/>
              <a:gd name="connsiteX55805" fmla="*/ 1793767 w 6884782"/>
              <a:gd name="connsiteY55805" fmla="*/ 1402299 h 5973007"/>
              <a:gd name="connsiteX55806" fmla="*/ 1653106 w 6884782"/>
              <a:gd name="connsiteY55806" fmla="*/ 1401931 h 5973007"/>
              <a:gd name="connsiteX55807" fmla="*/ 1666452 w 6884782"/>
              <a:gd name="connsiteY55807" fmla="*/ 1406636 h 5973007"/>
              <a:gd name="connsiteX55808" fmla="*/ 1668931 w 6884782"/>
              <a:gd name="connsiteY55808" fmla="*/ 1409424 h 5973007"/>
              <a:gd name="connsiteX55809" fmla="*/ 1673990 w 6884782"/>
              <a:gd name="connsiteY55809" fmla="*/ 1412057 h 5973007"/>
              <a:gd name="connsiteX55810" fmla="*/ 1667692 w 6884782"/>
              <a:gd name="connsiteY55810" fmla="*/ 1428166 h 5973007"/>
              <a:gd name="connsiteX55811" fmla="*/ 1646214 w 6884782"/>
              <a:gd name="connsiteY55811" fmla="*/ 1432193 h 5973007"/>
              <a:gd name="connsiteX55812" fmla="*/ 1640432 w 6884782"/>
              <a:gd name="connsiteY55812" fmla="*/ 1417788 h 5973007"/>
              <a:gd name="connsiteX55813" fmla="*/ 1643633 w 6884782"/>
              <a:gd name="connsiteY55813" fmla="*/ 1409424 h 5973007"/>
              <a:gd name="connsiteX55814" fmla="*/ 1653106 w 6884782"/>
              <a:gd name="connsiteY55814" fmla="*/ 1401931 h 5973007"/>
              <a:gd name="connsiteX55815" fmla="*/ 1103190 w 6884782"/>
              <a:gd name="connsiteY55815" fmla="*/ 1400904 h 5973007"/>
              <a:gd name="connsiteX55816" fmla="*/ 1106081 w 6884782"/>
              <a:gd name="connsiteY55816" fmla="*/ 1403848 h 5973007"/>
              <a:gd name="connsiteX55817" fmla="*/ 1099472 w 6884782"/>
              <a:gd name="connsiteY55817" fmla="*/ 1408339 h 5973007"/>
              <a:gd name="connsiteX55818" fmla="*/ 1097407 w 6884782"/>
              <a:gd name="connsiteY55818" fmla="*/ 1406791 h 5973007"/>
              <a:gd name="connsiteX55819" fmla="*/ 1100298 w 6884782"/>
              <a:gd name="connsiteY55819" fmla="*/ 1401215 h 5973007"/>
              <a:gd name="connsiteX55820" fmla="*/ 1103190 w 6884782"/>
              <a:gd name="connsiteY55820" fmla="*/ 1400904 h 5973007"/>
              <a:gd name="connsiteX55821" fmla="*/ 1235255 w 6884782"/>
              <a:gd name="connsiteY55821" fmla="*/ 1400595 h 5973007"/>
              <a:gd name="connsiteX55822" fmla="*/ 1238352 w 6884782"/>
              <a:gd name="connsiteY55822" fmla="*/ 1405706 h 5973007"/>
              <a:gd name="connsiteX55823" fmla="*/ 1235667 w 6884782"/>
              <a:gd name="connsiteY55823" fmla="*/ 1406016 h 5973007"/>
              <a:gd name="connsiteX55824" fmla="*/ 1235255 w 6884782"/>
              <a:gd name="connsiteY55824" fmla="*/ 1403538 h 5973007"/>
              <a:gd name="connsiteX55825" fmla="*/ 1235255 w 6884782"/>
              <a:gd name="connsiteY55825" fmla="*/ 1400595 h 5973007"/>
              <a:gd name="connsiteX55826" fmla="*/ 1792735 w 6884782"/>
              <a:gd name="connsiteY55826" fmla="*/ 1399975 h 5973007"/>
              <a:gd name="connsiteX55827" fmla="*/ 1793561 w 6884782"/>
              <a:gd name="connsiteY55827" fmla="*/ 1401679 h 5973007"/>
              <a:gd name="connsiteX55828" fmla="*/ 1792838 w 6884782"/>
              <a:gd name="connsiteY55828" fmla="*/ 1401989 h 5973007"/>
              <a:gd name="connsiteX55829" fmla="*/ 1792322 w 6884782"/>
              <a:gd name="connsiteY55829" fmla="*/ 1400750 h 5973007"/>
              <a:gd name="connsiteX55830" fmla="*/ 1792735 w 6884782"/>
              <a:gd name="connsiteY55830" fmla="*/ 1399975 h 5973007"/>
              <a:gd name="connsiteX55831" fmla="*/ 4320469 w 6884782"/>
              <a:gd name="connsiteY55831" fmla="*/ 1399926 h 5973007"/>
              <a:gd name="connsiteX55832" fmla="*/ 4323884 w 6884782"/>
              <a:gd name="connsiteY55832" fmla="*/ 1401633 h 5973007"/>
              <a:gd name="connsiteX55833" fmla="*/ 4325592 w 6884782"/>
              <a:gd name="connsiteY55833" fmla="*/ 1405616 h 5973007"/>
              <a:gd name="connsiteX55834" fmla="*/ 4324951 w 6884782"/>
              <a:gd name="connsiteY55834" fmla="*/ 1408889 h 5973007"/>
              <a:gd name="connsiteX55835" fmla="*/ 4319616 w 6884782"/>
              <a:gd name="connsiteY55835" fmla="*/ 1412446 h 5973007"/>
              <a:gd name="connsiteX55836" fmla="*/ 4315347 w 6884782"/>
              <a:gd name="connsiteY55836" fmla="*/ 1408462 h 5973007"/>
              <a:gd name="connsiteX55837" fmla="*/ 4314280 w 6884782"/>
              <a:gd name="connsiteY55837" fmla="*/ 1405474 h 5973007"/>
              <a:gd name="connsiteX55838" fmla="*/ 4313213 w 6884782"/>
              <a:gd name="connsiteY55838" fmla="*/ 1406755 h 5973007"/>
              <a:gd name="connsiteX55839" fmla="*/ 4307237 w 6884782"/>
              <a:gd name="connsiteY55839" fmla="*/ 1406328 h 5973007"/>
              <a:gd name="connsiteX55840" fmla="*/ 4315134 w 6884782"/>
              <a:gd name="connsiteY55840" fmla="*/ 1400637 h 5973007"/>
              <a:gd name="connsiteX55841" fmla="*/ 4314921 w 6884782"/>
              <a:gd name="connsiteY55841" fmla="*/ 1401206 h 5973007"/>
              <a:gd name="connsiteX55842" fmla="*/ 4315987 w 6884782"/>
              <a:gd name="connsiteY55842" fmla="*/ 1400068 h 5973007"/>
              <a:gd name="connsiteX55843" fmla="*/ 4320469 w 6884782"/>
              <a:gd name="connsiteY55843" fmla="*/ 1399926 h 5973007"/>
              <a:gd name="connsiteX55844" fmla="*/ 5328451 w 6884782"/>
              <a:gd name="connsiteY55844" fmla="*/ 1399499 h 5973007"/>
              <a:gd name="connsiteX55845" fmla="*/ 5331439 w 6884782"/>
              <a:gd name="connsiteY55845" fmla="*/ 1399784 h 5973007"/>
              <a:gd name="connsiteX55846" fmla="*/ 5344030 w 6884782"/>
              <a:gd name="connsiteY55846" fmla="*/ 1405759 h 5973007"/>
              <a:gd name="connsiteX55847" fmla="*/ 5339549 w 6884782"/>
              <a:gd name="connsiteY55847" fmla="*/ 1417140 h 5973007"/>
              <a:gd name="connsiteX55848" fmla="*/ 5323542 w 6884782"/>
              <a:gd name="connsiteY55848" fmla="*/ 1408178 h 5973007"/>
              <a:gd name="connsiteX55849" fmla="*/ 5328451 w 6884782"/>
              <a:gd name="connsiteY55849" fmla="*/ 1399499 h 5973007"/>
              <a:gd name="connsiteX55850" fmla="*/ 3618105 w 6884782"/>
              <a:gd name="connsiteY55850" fmla="*/ 1399072 h 5973007"/>
              <a:gd name="connsiteX55851" fmla="*/ 3620239 w 6884782"/>
              <a:gd name="connsiteY55851" fmla="*/ 1400780 h 5973007"/>
              <a:gd name="connsiteX55852" fmla="*/ 3626215 w 6884782"/>
              <a:gd name="connsiteY55852" fmla="*/ 1411307 h 5973007"/>
              <a:gd name="connsiteX55853" fmla="*/ 3627495 w 6884782"/>
              <a:gd name="connsiteY55853" fmla="*/ 1413442 h 5973007"/>
              <a:gd name="connsiteX55854" fmla="*/ 3627068 w 6884782"/>
              <a:gd name="connsiteY55854" fmla="*/ 1416714 h 5973007"/>
              <a:gd name="connsiteX55855" fmla="*/ 3620026 w 6884782"/>
              <a:gd name="connsiteY55855" fmla="*/ 1408035 h 5973007"/>
              <a:gd name="connsiteX55856" fmla="*/ 3616611 w 6884782"/>
              <a:gd name="connsiteY55856" fmla="*/ 1402914 h 5973007"/>
              <a:gd name="connsiteX55857" fmla="*/ 3617038 w 6884782"/>
              <a:gd name="connsiteY55857" fmla="*/ 1399642 h 5973007"/>
              <a:gd name="connsiteX55858" fmla="*/ 1054660 w 6884782"/>
              <a:gd name="connsiteY55858" fmla="*/ 1399046 h 5973007"/>
              <a:gd name="connsiteX55859" fmla="*/ 1054969 w 6884782"/>
              <a:gd name="connsiteY55859" fmla="*/ 1405087 h 5973007"/>
              <a:gd name="connsiteX55860" fmla="*/ 1048670 w 6884782"/>
              <a:gd name="connsiteY55860" fmla="*/ 1401679 h 5973007"/>
              <a:gd name="connsiteX55861" fmla="*/ 1054660 w 6884782"/>
              <a:gd name="connsiteY55861" fmla="*/ 1399046 h 5973007"/>
              <a:gd name="connsiteX55862" fmla="*/ 4556938 w 6884782"/>
              <a:gd name="connsiteY55862" fmla="*/ 1398219 h 5973007"/>
              <a:gd name="connsiteX55863" fmla="*/ 4558646 w 6884782"/>
              <a:gd name="connsiteY55863" fmla="*/ 1401775 h 5973007"/>
              <a:gd name="connsiteX55864" fmla="*/ 4552670 w 6884782"/>
              <a:gd name="connsiteY55864" fmla="*/ 1400780 h 5973007"/>
              <a:gd name="connsiteX55865" fmla="*/ 4556938 w 6884782"/>
              <a:gd name="connsiteY55865" fmla="*/ 1398219 h 5973007"/>
              <a:gd name="connsiteX55866" fmla="*/ 4147599 w 6884782"/>
              <a:gd name="connsiteY55866" fmla="*/ 1397223 h 5973007"/>
              <a:gd name="connsiteX55867" fmla="*/ 4152508 w 6884782"/>
              <a:gd name="connsiteY55867" fmla="*/ 1397934 h 5973007"/>
              <a:gd name="connsiteX55868" fmla="*/ 4156777 w 6884782"/>
              <a:gd name="connsiteY55868" fmla="*/ 1400210 h 5973007"/>
              <a:gd name="connsiteX55869" fmla="*/ 4158910 w 6884782"/>
              <a:gd name="connsiteY55869" fmla="*/ 1404763 h 5973007"/>
              <a:gd name="connsiteX55870" fmla="*/ 4162539 w 6884782"/>
              <a:gd name="connsiteY55870" fmla="*/ 1411734 h 5973007"/>
              <a:gd name="connsiteX55871" fmla="*/ 4157844 w 6884782"/>
              <a:gd name="connsiteY55871" fmla="*/ 1416002 h 5973007"/>
              <a:gd name="connsiteX55872" fmla="*/ 4150374 w 6884782"/>
              <a:gd name="connsiteY55872" fmla="*/ 1413442 h 5973007"/>
              <a:gd name="connsiteX55873" fmla="*/ 4149733 w 6884782"/>
              <a:gd name="connsiteY55873" fmla="*/ 1414010 h 5973007"/>
              <a:gd name="connsiteX55874" fmla="*/ 4142051 w 6884782"/>
              <a:gd name="connsiteY55874" fmla="*/ 1404906 h 5973007"/>
              <a:gd name="connsiteX55875" fmla="*/ 4142691 w 6884782"/>
              <a:gd name="connsiteY55875" fmla="*/ 1401917 h 5973007"/>
              <a:gd name="connsiteX55876" fmla="*/ 4142477 w 6884782"/>
              <a:gd name="connsiteY55876" fmla="*/ 1401633 h 5973007"/>
              <a:gd name="connsiteX55877" fmla="*/ 4147599 w 6884782"/>
              <a:gd name="connsiteY55877" fmla="*/ 1397223 h 5973007"/>
              <a:gd name="connsiteX55878" fmla="*/ 3869300 w 6884782"/>
              <a:gd name="connsiteY55878" fmla="*/ 1396369 h 5973007"/>
              <a:gd name="connsiteX55879" fmla="*/ 3873568 w 6884782"/>
              <a:gd name="connsiteY55879" fmla="*/ 1400637 h 5973007"/>
              <a:gd name="connsiteX55880" fmla="*/ 3875703 w 6884782"/>
              <a:gd name="connsiteY55880" fmla="*/ 1403340 h 5973007"/>
              <a:gd name="connsiteX55881" fmla="*/ 3878050 w 6884782"/>
              <a:gd name="connsiteY55881" fmla="*/ 1404906 h 5973007"/>
              <a:gd name="connsiteX55882" fmla="*/ 3879331 w 6884782"/>
              <a:gd name="connsiteY55882" fmla="*/ 1407181 h 5973007"/>
              <a:gd name="connsiteX55883" fmla="*/ 3879331 w 6884782"/>
              <a:gd name="connsiteY55883" fmla="*/ 1407039 h 5973007"/>
              <a:gd name="connsiteX55884" fmla="*/ 3881892 w 6884782"/>
              <a:gd name="connsiteY55884" fmla="*/ 1406470 h 5973007"/>
              <a:gd name="connsiteX55885" fmla="*/ 3883172 w 6884782"/>
              <a:gd name="connsiteY55885" fmla="*/ 1407466 h 5973007"/>
              <a:gd name="connsiteX55886" fmla="*/ 3884026 w 6884782"/>
              <a:gd name="connsiteY55886" fmla="*/ 1409458 h 5973007"/>
              <a:gd name="connsiteX55887" fmla="*/ 3880398 w 6884782"/>
              <a:gd name="connsiteY55887" fmla="*/ 1409600 h 5973007"/>
              <a:gd name="connsiteX55888" fmla="*/ 3879757 w 6884782"/>
              <a:gd name="connsiteY55888" fmla="*/ 1409316 h 5973007"/>
              <a:gd name="connsiteX55889" fmla="*/ 3879971 w 6884782"/>
              <a:gd name="connsiteY55889" fmla="*/ 1409885 h 5973007"/>
              <a:gd name="connsiteX55890" fmla="*/ 3878264 w 6884782"/>
              <a:gd name="connsiteY55890" fmla="*/ 1408746 h 5973007"/>
              <a:gd name="connsiteX55891" fmla="*/ 3877197 w 6884782"/>
              <a:gd name="connsiteY55891" fmla="*/ 1408462 h 5973007"/>
              <a:gd name="connsiteX55892" fmla="*/ 3877624 w 6884782"/>
              <a:gd name="connsiteY55892" fmla="*/ 1408178 h 5973007"/>
              <a:gd name="connsiteX55893" fmla="*/ 3875489 w 6884782"/>
              <a:gd name="connsiteY55893" fmla="*/ 1405616 h 5973007"/>
              <a:gd name="connsiteX55894" fmla="*/ 3873355 w 6884782"/>
              <a:gd name="connsiteY55894" fmla="*/ 1405332 h 5973007"/>
              <a:gd name="connsiteX55895" fmla="*/ 3869300 w 6884782"/>
              <a:gd name="connsiteY55895" fmla="*/ 1396369 h 5973007"/>
              <a:gd name="connsiteX55896" fmla="*/ 3823841 w 6884782"/>
              <a:gd name="connsiteY55896" fmla="*/ 1396085 h 5973007"/>
              <a:gd name="connsiteX55897" fmla="*/ 3831311 w 6884782"/>
              <a:gd name="connsiteY55897" fmla="*/ 1403056 h 5973007"/>
              <a:gd name="connsiteX55898" fmla="*/ 3825976 w 6884782"/>
              <a:gd name="connsiteY55898" fmla="*/ 1409173 h 5973007"/>
              <a:gd name="connsiteX55899" fmla="*/ 3822348 w 6884782"/>
              <a:gd name="connsiteY55899" fmla="*/ 1408462 h 5973007"/>
              <a:gd name="connsiteX55900" fmla="*/ 3816585 w 6884782"/>
              <a:gd name="connsiteY55900" fmla="*/ 1403767 h 5973007"/>
              <a:gd name="connsiteX55901" fmla="*/ 3815945 w 6884782"/>
              <a:gd name="connsiteY55901" fmla="*/ 1404906 h 5973007"/>
              <a:gd name="connsiteX55902" fmla="*/ 3817866 w 6884782"/>
              <a:gd name="connsiteY55902" fmla="*/ 1397934 h 5973007"/>
              <a:gd name="connsiteX55903" fmla="*/ 3823841 w 6884782"/>
              <a:gd name="connsiteY55903" fmla="*/ 1396085 h 5973007"/>
              <a:gd name="connsiteX55904" fmla="*/ 1790670 w 6884782"/>
              <a:gd name="connsiteY55904" fmla="*/ 1395948 h 5973007"/>
              <a:gd name="connsiteX55905" fmla="*/ 1791806 w 6884782"/>
              <a:gd name="connsiteY55905" fmla="*/ 1396568 h 5973007"/>
              <a:gd name="connsiteX55906" fmla="*/ 1790773 w 6884782"/>
              <a:gd name="connsiteY55906" fmla="*/ 1397961 h 5973007"/>
              <a:gd name="connsiteX55907" fmla="*/ 1790670 w 6884782"/>
              <a:gd name="connsiteY55907" fmla="*/ 1395948 h 5973007"/>
              <a:gd name="connsiteX55908" fmla="*/ 4757339 w 6884782"/>
              <a:gd name="connsiteY55908" fmla="*/ 1395089 h 5973007"/>
              <a:gd name="connsiteX55909" fmla="*/ 4756913 w 6884782"/>
              <a:gd name="connsiteY55909" fmla="*/ 1416429 h 5973007"/>
              <a:gd name="connsiteX55910" fmla="*/ 4753284 w 6884782"/>
              <a:gd name="connsiteY55910" fmla="*/ 1415291 h 5973007"/>
              <a:gd name="connsiteX55911" fmla="*/ 4752858 w 6884782"/>
              <a:gd name="connsiteY55911" fmla="*/ 1415575 h 5973007"/>
              <a:gd name="connsiteX55912" fmla="*/ 4744108 w 6884782"/>
              <a:gd name="connsiteY55912" fmla="*/ 1408462 h 5973007"/>
              <a:gd name="connsiteX55913" fmla="*/ 4749230 w 6884782"/>
              <a:gd name="connsiteY55913" fmla="*/ 1402202 h 5973007"/>
              <a:gd name="connsiteX55914" fmla="*/ 4750083 w 6884782"/>
              <a:gd name="connsiteY55914" fmla="*/ 1402771 h 5973007"/>
              <a:gd name="connsiteX55915" fmla="*/ 4750510 w 6884782"/>
              <a:gd name="connsiteY55915" fmla="*/ 1401349 h 5973007"/>
              <a:gd name="connsiteX55916" fmla="*/ 4757339 w 6884782"/>
              <a:gd name="connsiteY55916" fmla="*/ 1395089 h 5973007"/>
              <a:gd name="connsiteX55917" fmla="*/ 1587048 w 6884782"/>
              <a:gd name="connsiteY55917" fmla="*/ 1394709 h 5973007"/>
              <a:gd name="connsiteX55918" fmla="*/ 1595102 w 6884782"/>
              <a:gd name="connsiteY55918" fmla="*/ 1398271 h 5973007"/>
              <a:gd name="connsiteX55919" fmla="*/ 1593140 w 6884782"/>
              <a:gd name="connsiteY55919" fmla="*/ 1406481 h 5973007"/>
              <a:gd name="connsiteX55920" fmla="*/ 1584054 w 6884782"/>
              <a:gd name="connsiteY55920" fmla="*/ 1398271 h 5973007"/>
              <a:gd name="connsiteX55921" fmla="*/ 1587048 w 6884782"/>
              <a:gd name="connsiteY55921" fmla="*/ 1394709 h 5973007"/>
              <a:gd name="connsiteX55922" fmla="*/ 5561078 w 6884782"/>
              <a:gd name="connsiteY55922" fmla="*/ 1394093 h 5973007"/>
              <a:gd name="connsiteX55923" fmla="*/ 5564280 w 6884782"/>
              <a:gd name="connsiteY55923" fmla="*/ 1395942 h 5973007"/>
              <a:gd name="connsiteX55924" fmla="*/ 5549341 w 6884782"/>
              <a:gd name="connsiteY55924" fmla="*/ 1416571 h 5973007"/>
              <a:gd name="connsiteX55925" fmla="*/ 5546993 w 6884782"/>
              <a:gd name="connsiteY55925" fmla="*/ 1412872 h 5973007"/>
              <a:gd name="connsiteX55926" fmla="*/ 5561078 w 6884782"/>
              <a:gd name="connsiteY55926" fmla="*/ 1394093 h 5973007"/>
              <a:gd name="connsiteX55927" fmla="*/ 5756571 w 6884782"/>
              <a:gd name="connsiteY55927" fmla="*/ 1393524 h 5973007"/>
              <a:gd name="connsiteX55928" fmla="*/ 5758705 w 6884782"/>
              <a:gd name="connsiteY55928" fmla="*/ 1393950 h 5973007"/>
              <a:gd name="connsiteX55929" fmla="*/ 5738430 w 6884782"/>
              <a:gd name="connsiteY55929" fmla="*/ 1420982 h 5973007"/>
              <a:gd name="connsiteX55930" fmla="*/ 5751449 w 6884782"/>
              <a:gd name="connsiteY55930" fmla="*/ 1395089 h 5973007"/>
              <a:gd name="connsiteX55931" fmla="*/ 5756571 w 6884782"/>
              <a:gd name="connsiteY55931" fmla="*/ 1393524 h 5973007"/>
              <a:gd name="connsiteX55932" fmla="*/ 4971186 w 6884782"/>
              <a:gd name="connsiteY55932" fmla="*/ 1392813 h 5973007"/>
              <a:gd name="connsiteX55933" fmla="*/ 4974174 w 6884782"/>
              <a:gd name="connsiteY55933" fmla="*/ 1394093 h 5973007"/>
              <a:gd name="connsiteX55934" fmla="*/ 4974814 w 6884782"/>
              <a:gd name="connsiteY55934" fmla="*/ 1400068 h 5973007"/>
              <a:gd name="connsiteX55935" fmla="*/ 4970973 w 6884782"/>
              <a:gd name="connsiteY55935" fmla="*/ 1405190 h 5973007"/>
              <a:gd name="connsiteX55936" fmla="*/ 4970333 w 6884782"/>
              <a:gd name="connsiteY55936" fmla="*/ 1408889 h 5973007"/>
              <a:gd name="connsiteX55937" fmla="*/ 4969266 w 6884782"/>
              <a:gd name="connsiteY55937" fmla="*/ 1409031 h 5973007"/>
              <a:gd name="connsiteX55938" fmla="*/ 4969479 w 6884782"/>
              <a:gd name="connsiteY55938" fmla="*/ 1394377 h 5973007"/>
              <a:gd name="connsiteX55939" fmla="*/ 4971186 w 6884782"/>
              <a:gd name="connsiteY55939" fmla="*/ 1392813 h 5973007"/>
              <a:gd name="connsiteX55940" fmla="*/ 4005675 w 6884782"/>
              <a:gd name="connsiteY55940" fmla="*/ 1392813 h 5973007"/>
              <a:gd name="connsiteX55941" fmla="*/ 4008876 w 6884782"/>
              <a:gd name="connsiteY55941" fmla="*/ 1393239 h 5973007"/>
              <a:gd name="connsiteX55942" fmla="*/ 3997138 w 6884782"/>
              <a:gd name="connsiteY55942" fmla="*/ 1400352 h 5973007"/>
              <a:gd name="connsiteX55943" fmla="*/ 4005675 w 6884782"/>
              <a:gd name="connsiteY55943" fmla="*/ 1392813 h 5973007"/>
              <a:gd name="connsiteX55944" fmla="*/ 5976820 w 6884782"/>
              <a:gd name="connsiteY55944" fmla="*/ 1392670 h 5973007"/>
              <a:gd name="connsiteX55945" fmla="*/ 5982796 w 6884782"/>
              <a:gd name="connsiteY55945" fmla="*/ 1396796 h 5973007"/>
              <a:gd name="connsiteX55946" fmla="*/ 5977033 w 6884782"/>
              <a:gd name="connsiteY55946" fmla="*/ 1412588 h 5973007"/>
              <a:gd name="connsiteX55947" fmla="*/ 5968070 w 6884782"/>
              <a:gd name="connsiteY55947" fmla="*/ 1409743 h 5973007"/>
              <a:gd name="connsiteX55948" fmla="*/ 5976820 w 6884782"/>
              <a:gd name="connsiteY55948" fmla="*/ 1392670 h 5973007"/>
              <a:gd name="connsiteX55949" fmla="*/ 5834682 w 6884782"/>
              <a:gd name="connsiteY55949" fmla="*/ 1391816 h 5973007"/>
              <a:gd name="connsiteX55950" fmla="*/ 5840018 w 6884782"/>
              <a:gd name="connsiteY55950" fmla="*/ 1393666 h 5973007"/>
              <a:gd name="connsiteX55951" fmla="*/ 5826786 w 6884782"/>
              <a:gd name="connsiteY55951" fmla="*/ 1402771 h 5973007"/>
              <a:gd name="connsiteX55952" fmla="*/ 5829347 w 6884782"/>
              <a:gd name="connsiteY55952" fmla="*/ 1392813 h 5973007"/>
              <a:gd name="connsiteX55953" fmla="*/ 5834682 w 6884782"/>
              <a:gd name="connsiteY55953" fmla="*/ 1391816 h 5973007"/>
              <a:gd name="connsiteX55954" fmla="*/ 3539993 w 6884782"/>
              <a:gd name="connsiteY55954" fmla="*/ 1391816 h 5973007"/>
              <a:gd name="connsiteX55955" fmla="*/ 3540633 w 6884782"/>
              <a:gd name="connsiteY55955" fmla="*/ 1392955 h 5973007"/>
              <a:gd name="connsiteX55956" fmla="*/ 3539780 w 6884782"/>
              <a:gd name="connsiteY55956" fmla="*/ 1393097 h 5973007"/>
              <a:gd name="connsiteX55957" fmla="*/ 3539993 w 6884782"/>
              <a:gd name="connsiteY55957" fmla="*/ 1394946 h 5973007"/>
              <a:gd name="connsiteX55958" fmla="*/ 3541701 w 6884782"/>
              <a:gd name="connsiteY55958" fmla="*/ 1393950 h 5973007"/>
              <a:gd name="connsiteX55959" fmla="*/ 3548103 w 6884782"/>
              <a:gd name="connsiteY55959" fmla="*/ 1391816 h 5973007"/>
              <a:gd name="connsiteX55960" fmla="*/ 3550237 w 6884782"/>
              <a:gd name="connsiteY55960" fmla="*/ 1392813 h 5973007"/>
              <a:gd name="connsiteX55961" fmla="*/ 3550664 w 6884782"/>
              <a:gd name="connsiteY55961" fmla="*/ 1395942 h 5973007"/>
              <a:gd name="connsiteX55962" fmla="*/ 3545969 w 6884782"/>
              <a:gd name="connsiteY55962" fmla="*/ 1399072 h 5973007"/>
              <a:gd name="connsiteX55963" fmla="*/ 3541914 w 6884782"/>
              <a:gd name="connsiteY55963" fmla="*/ 1398361 h 5973007"/>
              <a:gd name="connsiteX55964" fmla="*/ 3540420 w 6884782"/>
              <a:gd name="connsiteY55964" fmla="*/ 1397792 h 5973007"/>
              <a:gd name="connsiteX55965" fmla="*/ 3540420 w 6884782"/>
              <a:gd name="connsiteY55965" fmla="*/ 1398076 h 5973007"/>
              <a:gd name="connsiteX55966" fmla="*/ 3537219 w 6884782"/>
              <a:gd name="connsiteY55966" fmla="*/ 1397934 h 5973007"/>
              <a:gd name="connsiteX55967" fmla="*/ 3536152 w 6884782"/>
              <a:gd name="connsiteY55967" fmla="*/ 1398219 h 5973007"/>
              <a:gd name="connsiteX55968" fmla="*/ 3535725 w 6884782"/>
              <a:gd name="connsiteY55968" fmla="*/ 1397934 h 5973007"/>
              <a:gd name="connsiteX55969" fmla="*/ 3534658 w 6884782"/>
              <a:gd name="connsiteY55969" fmla="*/ 1397934 h 5973007"/>
              <a:gd name="connsiteX55970" fmla="*/ 3536365 w 6884782"/>
              <a:gd name="connsiteY55970" fmla="*/ 1392955 h 5973007"/>
              <a:gd name="connsiteX55971" fmla="*/ 3539993 w 6884782"/>
              <a:gd name="connsiteY55971" fmla="*/ 1391816 h 5973007"/>
              <a:gd name="connsiteX55972" fmla="*/ 1559892 w 6884782"/>
              <a:gd name="connsiteY55972" fmla="*/ 1391611 h 5973007"/>
              <a:gd name="connsiteX55973" fmla="*/ 1554006 w 6884782"/>
              <a:gd name="connsiteY55973" fmla="*/ 1404467 h 5973007"/>
              <a:gd name="connsiteX55974" fmla="*/ 1544300 w 6884782"/>
              <a:gd name="connsiteY55974" fmla="*/ 1397807 h 5973007"/>
              <a:gd name="connsiteX55975" fmla="*/ 1546572 w 6884782"/>
              <a:gd name="connsiteY55975" fmla="*/ 1392230 h 5973007"/>
              <a:gd name="connsiteX55976" fmla="*/ 1559892 w 6884782"/>
              <a:gd name="connsiteY55976" fmla="*/ 1391611 h 5973007"/>
              <a:gd name="connsiteX55977" fmla="*/ 1150274 w 6884782"/>
              <a:gd name="connsiteY55977" fmla="*/ 1391611 h 5973007"/>
              <a:gd name="connsiteX55978" fmla="*/ 1154818 w 6884782"/>
              <a:gd name="connsiteY55978" fmla="*/ 1392850 h 5973007"/>
              <a:gd name="connsiteX55979" fmla="*/ 1155644 w 6884782"/>
              <a:gd name="connsiteY55979" fmla="*/ 1393625 h 5973007"/>
              <a:gd name="connsiteX55980" fmla="*/ 1158741 w 6884782"/>
              <a:gd name="connsiteY55980" fmla="*/ 1398116 h 5973007"/>
              <a:gd name="connsiteX55981" fmla="*/ 1161013 w 6884782"/>
              <a:gd name="connsiteY55981" fmla="*/ 1398426 h 5973007"/>
              <a:gd name="connsiteX55982" fmla="*/ 1153889 w 6884782"/>
              <a:gd name="connsiteY55982" fmla="*/ 1407875 h 5973007"/>
              <a:gd name="connsiteX55983" fmla="*/ 1149655 w 6884782"/>
              <a:gd name="connsiteY55983" fmla="*/ 1406481 h 5973007"/>
              <a:gd name="connsiteX55984" fmla="*/ 1149448 w 6884782"/>
              <a:gd name="connsiteY55984" fmla="*/ 1402144 h 5973007"/>
              <a:gd name="connsiteX55985" fmla="*/ 1150791 w 6884782"/>
              <a:gd name="connsiteY55985" fmla="*/ 1400750 h 5973007"/>
              <a:gd name="connsiteX55986" fmla="*/ 1149448 w 6884782"/>
              <a:gd name="connsiteY55986" fmla="*/ 1398891 h 5973007"/>
              <a:gd name="connsiteX55987" fmla="*/ 1146867 w 6884782"/>
              <a:gd name="connsiteY55987" fmla="*/ 1394554 h 5973007"/>
              <a:gd name="connsiteX55988" fmla="*/ 1150274 w 6884782"/>
              <a:gd name="connsiteY55988" fmla="*/ 1391611 h 5973007"/>
              <a:gd name="connsiteX55989" fmla="*/ 4259858 w 6884782"/>
              <a:gd name="connsiteY55989" fmla="*/ 1391532 h 5973007"/>
              <a:gd name="connsiteX55990" fmla="*/ 4264553 w 6884782"/>
              <a:gd name="connsiteY55990" fmla="*/ 1391532 h 5973007"/>
              <a:gd name="connsiteX55991" fmla="*/ 4270956 w 6884782"/>
              <a:gd name="connsiteY55991" fmla="*/ 1400495 h 5973007"/>
              <a:gd name="connsiteX55992" fmla="*/ 4270956 w 6884782"/>
              <a:gd name="connsiteY55992" fmla="*/ 1405047 h 5973007"/>
              <a:gd name="connsiteX55993" fmla="*/ 4259004 w 6884782"/>
              <a:gd name="connsiteY55993" fmla="*/ 1404763 h 5973007"/>
              <a:gd name="connsiteX55994" fmla="*/ 4262206 w 6884782"/>
              <a:gd name="connsiteY55994" fmla="*/ 1405047 h 5973007"/>
              <a:gd name="connsiteX55995" fmla="*/ 4263486 w 6884782"/>
              <a:gd name="connsiteY55995" fmla="*/ 1407893 h 5973007"/>
              <a:gd name="connsiteX55996" fmla="*/ 4260925 w 6884782"/>
              <a:gd name="connsiteY55996" fmla="*/ 1414153 h 5973007"/>
              <a:gd name="connsiteX55997" fmla="*/ 4262632 w 6884782"/>
              <a:gd name="connsiteY55997" fmla="*/ 1417994 h 5973007"/>
              <a:gd name="connsiteX55998" fmla="*/ 4264553 w 6884782"/>
              <a:gd name="connsiteY55998" fmla="*/ 1419701 h 5973007"/>
              <a:gd name="connsiteX55999" fmla="*/ 4266901 w 6884782"/>
              <a:gd name="connsiteY55999" fmla="*/ 1418137 h 5973007"/>
              <a:gd name="connsiteX56000" fmla="*/ 4269675 w 6884782"/>
              <a:gd name="connsiteY56000" fmla="*/ 1418137 h 5973007"/>
              <a:gd name="connsiteX56001" fmla="*/ 4269035 w 6884782"/>
              <a:gd name="connsiteY56001" fmla="*/ 1417140 h 5973007"/>
              <a:gd name="connsiteX56002" fmla="*/ 4269889 w 6884782"/>
              <a:gd name="connsiteY56002" fmla="*/ 1418137 h 5973007"/>
              <a:gd name="connsiteX56003" fmla="*/ 4270102 w 6884782"/>
              <a:gd name="connsiteY56003" fmla="*/ 1416002 h 5973007"/>
              <a:gd name="connsiteX56004" fmla="*/ 4268608 w 6884782"/>
              <a:gd name="connsiteY56004" fmla="*/ 1414864 h 5973007"/>
              <a:gd name="connsiteX56005" fmla="*/ 4267754 w 6884782"/>
              <a:gd name="connsiteY56005" fmla="*/ 1411023 h 5973007"/>
              <a:gd name="connsiteX56006" fmla="*/ 4269035 w 6884782"/>
              <a:gd name="connsiteY56006" fmla="*/ 1409885 h 5973007"/>
              <a:gd name="connsiteX56007" fmla="*/ 4271169 w 6884782"/>
              <a:gd name="connsiteY56007" fmla="*/ 1410454 h 5973007"/>
              <a:gd name="connsiteX56008" fmla="*/ 4272663 w 6884782"/>
              <a:gd name="connsiteY56008" fmla="*/ 1411307 h 5973007"/>
              <a:gd name="connsiteX56009" fmla="*/ 4273090 w 6884782"/>
              <a:gd name="connsiteY56009" fmla="*/ 1410596 h 5973007"/>
              <a:gd name="connsiteX56010" fmla="*/ 4277358 w 6884782"/>
              <a:gd name="connsiteY56010" fmla="*/ 1408462 h 5973007"/>
              <a:gd name="connsiteX56011" fmla="*/ 4277785 w 6884782"/>
              <a:gd name="connsiteY56011" fmla="*/ 1420697 h 5973007"/>
              <a:gd name="connsiteX56012" fmla="*/ 4272237 w 6884782"/>
              <a:gd name="connsiteY56012" fmla="*/ 1426673 h 5973007"/>
              <a:gd name="connsiteX56013" fmla="*/ 4271382 w 6884782"/>
              <a:gd name="connsiteY56013" fmla="*/ 1429233 h 5973007"/>
              <a:gd name="connsiteX56014" fmla="*/ 4272237 w 6884782"/>
              <a:gd name="connsiteY56014" fmla="*/ 1433501 h 5973007"/>
              <a:gd name="connsiteX56015" fmla="*/ 4262419 w 6884782"/>
              <a:gd name="connsiteY56015" fmla="*/ 1438481 h 5973007"/>
              <a:gd name="connsiteX56016" fmla="*/ 4248973 w 6884782"/>
              <a:gd name="connsiteY56016" fmla="*/ 1433359 h 5973007"/>
              <a:gd name="connsiteX56017" fmla="*/ 4247693 w 6884782"/>
              <a:gd name="connsiteY56017" fmla="*/ 1429376 h 5973007"/>
              <a:gd name="connsiteX56018" fmla="*/ 4244065 w 6884782"/>
              <a:gd name="connsiteY56018" fmla="*/ 1429518 h 5973007"/>
              <a:gd name="connsiteX56019" fmla="*/ 4224644 w 6884782"/>
              <a:gd name="connsiteY56019" fmla="*/ 1438054 h 5973007"/>
              <a:gd name="connsiteX56020" fmla="*/ 4222083 w 6884782"/>
              <a:gd name="connsiteY56020" fmla="*/ 1438196 h 5973007"/>
              <a:gd name="connsiteX56021" fmla="*/ 4220162 w 6884782"/>
              <a:gd name="connsiteY56021" fmla="*/ 1435209 h 5973007"/>
              <a:gd name="connsiteX56022" fmla="*/ 4230193 w 6884782"/>
              <a:gd name="connsiteY56022" fmla="*/ 1429518 h 5973007"/>
              <a:gd name="connsiteX56023" fmla="*/ 4232113 w 6884782"/>
              <a:gd name="connsiteY56023" fmla="*/ 1427811 h 5973007"/>
              <a:gd name="connsiteX56024" fmla="*/ 4231260 w 6884782"/>
              <a:gd name="connsiteY56024" fmla="*/ 1422689 h 5973007"/>
              <a:gd name="connsiteX56025" fmla="*/ 4231046 w 6884782"/>
              <a:gd name="connsiteY56025" fmla="*/ 1413726 h 5973007"/>
              <a:gd name="connsiteX56026" fmla="*/ 4242357 w 6884782"/>
              <a:gd name="connsiteY56026" fmla="*/ 1400068 h 5973007"/>
              <a:gd name="connsiteX56027" fmla="*/ 4246199 w 6884782"/>
              <a:gd name="connsiteY56027" fmla="*/ 1399926 h 5973007"/>
              <a:gd name="connsiteX56028" fmla="*/ 4247266 w 6884782"/>
              <a:gd name="connsiteY56028" fmla="*/ 1396369 h 5973007"/>
              <a:gd name="connsiteX56029" fmla="*/ 4259858 w 6884782"/>
              <a:gd name="connsiteY56029" fmla="*/ 1391532 h 5973007"/>
              <a:gd name="connsiteX56030" fmla="*/ 3957656 w 6884782"/>
              <a:gd name="connsiteY56030" fmla="*/ 1391390 h 5973007"/>
              <a:gd name="connsiteX56031" fmla="*/ 3963205 w 6884782"/>
              <a:gd name="connsiteY56031" fmla="*/ 1394946 h 5973007"/>
              <a:gd name="connsiteX56032" fmla="*/ 3963418 w 6884782"/>
              <a:gd name="connsiteY56032" fmla="*/ 1397934 h 5973007"/>
              <a:gd name="connsiteX56033" fmla="*/ 3962351 w 6884782"/>
              <a:gd name="connsiteY56033" fmla="*/ 1398503 h 5973007"/>
              <a:gd name="connsiteX56034" fmla="*/ 3958723 w 6884782"/>
              <a:gd name="connsiteY56034" fmla="*/ 1400922 h 5973007"/>
              <a:gd name="connsiteX56035" fmla="*/ 3953388 w 6884782"/>
              <a:gd name="connsiteY56035" fmla="*/ 1397080 h 5973007"/>
              <a:gd name="connsiteX56036" fmla="*/ 3957656 w 6884782"/>
              <a:gd name="connsiteY56036" fmla="*/ 1391390 h 5973007"/>
              <a:gd name="connsiteX56037" fmla="*/ 4019547 w 6884782"/>
              <a:gd name="connsiteY56037" fmla="*/ 1390963 h 5973007"/>
              <a:gd name="connsiteX56038" fmla="*/ 4022535 w 6884782"/>
              <a:gd name="connsiteY56038" fmla="*/ 1392528 h 5973007"/>
              <a:gd name="connsiteX56039" fmla="*/ 4022749 w 6884782"/>
              <a:gd name="connsiteY56039" fmla="*/ 1398503 h 5973007"/>
              <a:gd name="connsiteX56040" fmla="*/ 4018267 w 6884782"/>
              <a:gd name="connsiteY56040" fmla="*/ 1403198 h 5973007"/>
              <a:gd name="connsiteX56041" fmla="*/ 4017200 w 6884782"/>
              <a:gd name="connsiteY56041" fmla="*/ 1406755 h 5973007"/>
              <a:gd name="connsiteX56042" fmla="*/ 4016133 w 6884782"/>
              <a:gd name="connsiteY56042" fmla="*/ 1406755 h 5973007"/>
              <a:gd name="connsiteX56043" fmla="*/ 4017840 w 6884782"/>
              <a:gd name="connsiteY56043" fmla="*/ 1392243 h 5973007"/>
              <a:gd name="connsiteX56044" fmla="*/ 4019547 w 6884782"/>
              <a:gd name="connsiteY56044" fmla="*/ 1390963 h 5973007"/>
              <a:gd name="connsiteX56045" fmla="*/ 4197753 w 6884782"/>
              <a:gd name="connsiteY56045" fmla="*/ 1390821 h 5973007"/>
              <a:gd name="connsiteX56046" fmla="*/ 4225498 w 6884782"/>
              <a:gd name="connsiteY56046" fmla="*/ 1403909 h 5973007"/>
              <a:gd name="connsiteX56047" fmla="*/ 4226991 w 6884782"/>
              <a:gd name="connsiteY56047" fmla="*/ 1413157 h 5973007"/>
              <a:gd name="connsiteX56048" fmla="*/ 4221656 w 6884782"/>
              <a:gd name="connsiteY56048" fmla="*/ 1422689 h 5973007"/>
              <a:gd name="connsiteX56049" fmla="*/ 4218455 w 6884782"/>
              <a:gd name="connsiteY56049" fmla="*/ 1424111 h 5973007"/>
              <a:gd name="connsiteX56050" fmla="*/ 4218882 w 6884782"/>
              <a:gd name="connsiteY56050" fmla="*/ 1425677 h 5973007"/>
              <a:gd name="connsiteX56051" fmla="*/ 4218027 w 6884782"/>
              <a:gd name="connsiteY56051" fmla="*/ 1424254 h 5973007"/>
              <a:gd name="connsiteX56052" fmla="*/ 4213973 w 6884782"/>
              <a:gd name="connsiteY56052" fmla="*/ 1425961 h 5973007"/>
              <a:gd name="connsiteX56053" fmla="*/ 4213546 w 6884782"/>
              <a:gd name="connsiteY56053" fmla="*/ 1427099 h 5973007"/>
              <a:gd name="connsiteX56054" fmla="*/ 4209277 w 6884782"/>
              <a:gd name="connsiteY56054" fmla="*/ 1429091 h 5973007"/>
              <a:gd name="connsiteX56055" fmla="*/ 4198820 w 6884782"/>
              <a:gd name="connsiteY56055" fmla="*/ 1431225 h 5973007"/>
              <a:gd name="connsiteX56056" fmla="*/ 4199033 w 6884782"/>
              <a:gd name="connsiteY56056" fmla="*/ 1429518 h 5973007"/>
              <a:gd name="connsiteX56057" fmla="*/ 4206716 w 6884782"/>
              <a:gd name="connsiteY56057" fmla="*/ 1426246 h 5973007"/>
              <a:gd name="connsiteX56058" fmla="*/ 4209064 w 6884782"/>
              <a:gd name="connsiteY56058" fmla="*/ 1425534 h 5973007"/>
              <a:gd name="connsiteX56059" fmla="*/ 4204156 w 6884782"/>
              <a:gd name="connsiteY56059" fmla="*/ 1424681 h 5973007"/>
              <a:gd name="connsiteX56060" fmla="*/ 4196472 w 6884782"/>
              <a:gd name="connsiteY56060" fmla="*/ 1418563 h 5973007"/>
              <a:gd name="connsiteX56061" fmla="*/ 4197753 w 6884782"/>
              <a:gd name="connsiteY56061" fmla="*/ 1390821 h 5973007"/>
              <a:gd name="connsiteX56062" fmla="*/ 3519078 w 6884782"/>
              <a:gd name="connsiteY56062" fmla="*/ 1390251 h 5973007"/>
              <a:gd name="connsiteX56063" fmla="*/ 3522919 w 6884782"/>
              <a:gd name="connsiteY56063" fmla="*/ 1391248 h 5973007"/>
              <a:gd name="connsiteX56064" fmla="*/ 3511608 w 6884782"/>
              <a:gd name="connsiteY56064" fmla="*/ 1403482 h 5973007"/>
              <a:gd name="connsiteX56065" fmla="*/ 3511182 w 6884782"/>
              <a:gd name="connsiteY56065" fmla="*/ 1395800 h 5973007"/>
              <a:gd name="connsiteX56066" fmla="*/ 3519078 w 6884782"/>
              <a:gd name="connsiteY56066" fmla="*/ 1390251 h 5973007"/>
              <a:gd name="connsiteX56067" fmla="*/ 1449614 w 6884782"/>
              <a:gd name="connsiteY56067" fmla="*/ 1390217 h 5973007"/>
              <a:gd name="connsiteX56068" fmla="*/ 1454570 w 6884782"/>
              <a:gd name="connsiteY56068" fmla="*/ 1392075 h 5973007"/>
              <a:gd name="connsiteX56069" fmla="*/ 1456223 w 6884782"/>
              <a:gd name="connsiteY56069" fmla="*/ 1395948 h 5973007"/>
              <a:gd name="connsiteX56070" fmla="*/ 1437017 w 6884782"/>
              <a:gd name="connsiteY56070" fmla="*/ 1404932 h 5973007"/>
              <a:gd name="connsiteX56071" fmla="*/ 1438979 w 6884782"/>
              <a:gd name="connsiteY56071" fmla="*/ 1398271 h 5973007"/>
              <a:gd name="connsiteX56072" fmla="*/ 1443212 w 6884782"/>
              <a:gd name="connsiteY56072" fmla="*/ 1393470 h 5973007"/>
              <a:gd name="connsiteX56073" fmla="*/ 1442696 w 6884782"/>
              <a:gd name="connsiteY56073" fmla="*/ 1393005 h 5973007"/>
              <a:gd name="connsiteX56074" fmla="*/ 1444245 w 6884782"/>
              <a:gd name="connsiteY56074" fmla="*/ 1391921 h 5973007"/>
              <a:gd name="connsiteX56075" fmla="*/ 1444968 w 6884782"/>
              <a:gd name="connsiteY56075" fmla="*/ 1392230 h 5973007"/>
              <a:gd name="connsiteX56076" fmla="*/ 1582195 w 6884782"/>
              <a:gd name="connsiteY56076" fmla="*/ 1389907 h 5973007"/>
              <a:gd name="connsiteX56077" fmla="*/ 1580646 w 6884782"/>
              <a:gd name="connsiteY56077" fmla="*/ 1396258 h 5973007"/>
              <a:gd name="connsiteX56078" fmla="*/ 1576516 w 6884782"/>
              <a:gd name="connsiteY56078" fmla="*/ 1391301 h 5973007"/>
              <a:gd name="connsiteX56079" fmla="*/ 1582195 w 6884782"/>
              <a:gd name="connsiteY56079" fmla="*/ 1389907 h 5973007"/>
              <a:gd name="connsiteX56080" fmla="*/ 4540505 w 6884782"/>
              <a:gd name="connsiteY56080" fmla="*/ 1389113 h 5973007"/>
              <a:gd name="connsiteX56081" fmla="*/ 4543279 w 6884782"/>
              <a:gd name="connsiteY56081" fmla="*/ 1389683 h 5973007"/>
              <a:gd name="connsiteX56082" fmla="*/ 4542426 w 6884782"/>
              <a:gd name="connsiteY56082" fmla="*/ 1395658 h 5973007"/>
              <a:gd name="connsiteX56083" fmla="*/ 4538798 w 6884782"/>
              <a:gd name="connsiteY56083" fmla="*/ 1396654 h 5973007"/>
              <a:gd name="connsiteX56084" fmla="*/ 4537517 w 6884782"/>
              <a:gd name="connsiteY56084" fmla="*/ 1392955 h 5973007"/>
              <a:gd name="connsiteX56085" fmla="*/ 4538584 w 6884782"/>
              <a:gd name="connsiteY56085" fmla="*/ 1389398 h 5973007"/>
              <a:gd name="connsiteX56086" fmla="*/ 4540505 w 6884782"/>
              <a:gd name="connsiteY56086" fmla="*/ 1389113 h 5973007"/>
              <a:gd name="connsiteX56087" fmla="*/ 1463244 w 6884782"/>
              <a:gd name="connsiteY56087" fmla="*/ 1388668 h 5973007"/>
              <a:gd name="connsiteX56088" fmla="*/ 1487509 w 6884782"/>
              <a:gd name="connsiteY56088" fmla="*/ 1391611 h 5973007"/>
              <a:gd name="connsiteX56089" fmla="*/ 1494221 w 6884782"/>
              <a:gd name="connsiteY56089" fmla="*/ 1395173 h 5973007"/>
              <a:gd name="connsiteX56090" fmla="*/ 1463347 w 6884782"/>
              <a:gd name="connsiteY56090" fmla="*/ 1418408 h 5973007"/>
              <a:gd name="connsiteX56091" fmla="*/ 1461592 w 6884782"/>
              <a:gd name="connsiteY56091" fmla="*/ 1412057 h 5973007"/>
              <a:gd name="connsiteX56092" fmla="*/ 1463244 w 6884782"/>
              <a:gd name="connsiteY56092" fmla="*/ 1388668 h 5973007"/>
              <a:gd name="connsiteX56093" fmla="*/ 4821365 w 6884782"/>
              <a:gd name="connsiteY56093" fmla="*/ 1388118 h 5973007"/>
              <a:gd name="connsiteX56094" fmla="*/ 4853165 w 6884782"/>
              <a:gd name="connsiteY56094" fmla="*/ 1428379 h 5973007"/>
              <a:gd name="connsiteX56095" fmla="*/ 4829475 w 6884782"/>
              <a:gd name="connsiteY56095" fmla="*/ 1426246 h 5973007"/>
              <a:gd name="connsiteX56096" fmla="*/ 4811121 w 6884782"/>
              <a:gd name="connsiteY56096" fmla="*/ 1391248 h 5973007"/>
              <a:gd name="connsiteX56097" fmla="*/ 4813682 w 6884782"/>
              <a:gd name="connsiteY56097" fmla="*/ 1388971 h 5973007"/>
              <a:gd name="connsiteX56098" fmla="*/ 4821365 w 6884782"/>
              <a:gd name="connsiteY56098" fmla="*/ 1388118 h 5973007"/>
              <a:gd name="connsiteX56099" fmla="*/ 4324951 w 6884782"/>
              <a:gd name="connsiteY56099" fmla="*/ 1387975 h 5973007"/>
              <a:gd name="connsiteX56100" fmla="*/ 4328579 w 6884782"/>
              <a:gd name="connsiteY56100" fmla="*/ 1391248 h 5973007"/>
              <a:gd name="connsiteX56101" fmla="*/ 4324524 w 6884782"/>
              <a:gd name="connsiteY56101" fmla="*/ 1388971 h 5973007"/>
              <a:gd name="connsiteX56102" fmla="*/ 4324951 w 6884782"/>
              <a:gd name="connsiteY56102" fmla="*/ 1387975 h 5973007"/>
              <a:gd name="connsiteX56103" fmla="*/ 1512497 w 6884782"/>
              <a:gd name="connsiteY56103" fmla="*/ 1387583 h 5973007"/>
              <a:gd name="connsiteX56104" fmla="*/ 1529225 w 6884782"/>
              <a:gd name="connsiteY56104" fmla="*/ 1396722 h 5973007"/>
              <a:gd name="connsiteX56105" fmla="*/ 1531290 w 6884782"/>
              <a:gd name="connsiteY56105" fmla="*/ 1397497 h 5973007"/>
              <a:gd name="connsiteX56106" fmla="*/ 1530670 w 6884782"/>
              <a:gd name="connsiteY56106" fmla="*/ 1398891 h 5973007"/>
              <a:gd name="connsiteX56107" fmla="*/ 1532219 w 6884782"/>
              <a:gd name="connsiteY56107" fmla="*/ 1401215 h 5973007"/>
              <a:gd name="connsiteX56108" fmla="*/ 1529018 w 6884782"/>
              <a:gd name="connsiteY56108" fmla="*/ 1400750 h 5973007"/>
              <a:gd name="connsiteX56109" fmla="*/ 1527470 w 6884782"/>
              <a:gd name="connsiteY56109" fmla="*/ 1401524 h 5973007"/>
              <a:gd name="connsiteX56110" fmla="*/ 1524785 w 6884782"/>
              <a:gd name="connsiteY56110" fmla="*/ 1400750 h 5973007"/>
              <a:gd name="connsiteX56111" fmla="*/ 1523546 w 6884782"/>
              <a:gd name="connsiteY56111" fmla="*/ 1399201 h 5973007"/>
              <a:gd name="connsiteX56112" fmla="*/ 1519415 w 6884782"/>
              <a:gd name="connsiteY56112" fmla="*/ 1397032 h 5973007"/>
              <a:gd name="connsiteX56113" fmla="*/ 1512497 w 6884782"/>
              <a:gd name="connsiteY56113" fmla="*/ 1387583 h 5973007"/>
              <a:gd name="connsiteX56114" fmla="*/ 5255461 w 6884782"/>
              <a:gd name="connsiteY56114" fmla="*/ 1387549 h 5973007"/>
              <a:gd name="connsiteX56115" fmla="*/ 5266346 w 6884782"/>
              <a:gd name="connsiteY56115" fmla="*/ 1392813 h 5973007"/>
              <a:gd name="connsiteX56116" fmla="*/ 5252900 w 6884782"/>
              <a:gd name="connsiteY56116" fmla="*/ 1394235 h 5973007"/>
              <a:gd name="connsiteX56117" fmla="*/ 5255461 w 6884782"/>
              <a:gd name="connsiteY56117" fmla="*/ 1387549 h 5973007"/>
              <a:gd name="connsiteX56118" fmla="*/ 3827897 w 6884782"/>
              <a:gd name="connsiteY56118" fmla="*/ 1387549 h 5973007"/>
              <a:gd name="connsiteX56119" fmla="*/ 3830457 w 6884782"/>
              <a:gd name="connsiteY56119" fmla="*/ 1387833 h 5973007"/>
              <a:gd name="connsiteX56120" fmla="*/ 3832805 w 6884782"/>
              <a:gd name="connsiteY56120" fmla="*/ 1390678 h 5973007"/>
              <a:gd name="connsiteX56121" fmla="*/ 3830885 w 6884782"/>
              <a:gd name="connsiteY56121" fmla="*/ 1395658 h 5973007"/>
              <a:gd name="connsiteX56122" fmla="*/ 3828323 w 6884782"/>
              <a:gd name="connsiteY56122" fmla="*/ 1395515 h 5973007"/>
              <a:gd name="connsiteX56123" fmla="*/ 3825336 w 6884782"/>
              <a:gd name="connsiteY56123" fmla="*/ 1393666 h 5973007"/>
              <a:gd name="connsiteX56124" fmla="*/ 3827897 w 6884782"/>
              <a:gd name="connsiteY56124" fmla="*/ 1387549 h 5973007"/>
              <a:gd name="connsiteX56125" fmla="*/ 5011309 w 6884782"/>
              <a:gd name="connsiteY56125" fmla="*/ 1387406 h 5973007"/>
              <a:gd name="connsiteX56126" fmla="*/ 5013870 w 6884782"/>
              <a:gd name="connsiteY56126" fmla="*/ 1390821 h 5973007"/>
              <a:gd name="connsiteX56127" fmla="*/ 5013870 w 6884782"/>
              <a:gd name="connsiteY56127" fmla="*/ 1397792 h 5973007"/>
              <a:gd name="connsiteX56128" fmla="*/ 5011949 w 6884782"/>
              <a:gd name="connsiteY56128" fmla="*/ 1400780 h 5973007"/>
              <a:gd name="connsiteX56129" fmla="*/ 5012590 w 6884782"/>
              <a:gd name="connsiteY56129" fmla="*/ 1402344 h 5973007"/>
              <a:gd name="connsiteX56130" fmla="*/ 4999998 w 6884782"/>
              <a:gd name="connsiteY56130" fmla="*/ 1398503 h 5973007"/>
              <a:gd name="connsiteX56131" fmla="*/ 5004053 w 6884782"/>
              <a:gd name="connsiteY56131" fmla="*/ 1391816 h 5973007"/>
              <a:gd name="connsiteX56132" fmla="*/ 5006827 w 6884782"/>
              <a:gd name="connsiteY56132" fmla="*/ 1392955 h 5973007"/>
              <a:gd name="connsiteX56133" fmla="*/ 5007254 w 6884782"/>
              <a:gd name="connsiteY56133" fmla="*/ 1393239 h 5973007"/>
              <a:gd name="connsiteX56134" fmla="*/ 1452815 w 6884782"/>
              <a:gd name="connsiteY56134" fmla="*/ 1387274 h 5973007"/>
              <a:gd name="connsiteX56135" fmla="*/ 1453848 w 6884782"/>
              <a:gd name="connsiteY56135" fmla="*/ 1388668 h 5973007"/>
              <a:gd name="connsiteX56136" fmla="*/ 1454261 w 6884782"/>
              <a:gd name="connsiteY56136" fmla="*/ 1389752 h 5973007"/>
              <a:gd name="connsiteX56137" fmla="*/ 1451989 w 6884782"/>
              <a:gd name="connsiteY56137" fmla="*/ 1388668 h 5973007"/>
              <a:gd name="connsiteX56138" fmla="*/ 1451783 w 6884782"/>
              <a:gd name="connsiteY56138" fmla="*/ 1387738 h 5973007"/>
              <a:gd name="connsiteX56139" fmla="*/ 1452815 w 6884782"/>
              <a:gd name="connsiteY56139" fmla="*/ 1387274 h 5973007"/>
              <a:gd name="connsiteX56140" fmla="*/ 4923167 w 6884782"/>
              <a:gd name="connsiteY56140" fmla="*/ 1387121 h 5973007"/>
              <a:gd name="connsiteX56141" fmla="*/ 4925941 w 6884782"/>
              <a:gd name="connsiteY56141" fmla="*/ 1389113 h 5973007"/>
              <a:gd name="connsiteX56142" fmla="*/ 4922526 w 6884782"/>
              <a:gd name="connsiteY56142" fmla="*/ 1392528 h 5973007"/>
              <a:gd name="connsiteX56143" fmla="*/ 4921246 w 6884782"/>
              <a:gd name="connsiteY56143" fmla="*/ 1387833 h 5973007"/>
              <a:gd name="connsiteX56144" fmla="*/ 4923167 w 6884782"/>
              <a:gd name="connsiteY56144" fmla="*/ 1387121 h 5973007"/>
              <a:gd name="connsiteX56145" fmla="*/ 1066121 w 6884782"/>
              <a:gd name="connsiteY56145" fmla="*/ 1386190 h 5973007"/>
              <a:gd name="connsiteX56146" fmla="*/ 1074071 w 6884782"/>
              <a:gd name="connsiteY56146" fmla="*/ 1387893 h 5973007"/>
              <a:gd name="connsiteX56147" fmla="*/ 1076756 w 6884782"/>
              <a:gd name="connsiteY56147" fmla="*/ 1392385 h 5973007"/>
              <a:gd name="connsiteX56148" fmla="*/ 1074794 w 6884782"/>
              <a:gd name="connsiteY56148" fmla="*/ 1399665 h 5973007"/>
              <a:gd name="connsiteX56149" fmla="*/ 1070354 w 6884782"/>
              <a:gd name="connsiteY56149" fmla="*/ 1398426 h 5973007"/>
              <a:gd name="connsiteX56150" fmla="*/ 1066121 w 6884782"/>
              <a:gd name="connsiteY56150" fmla="*/ 1386190 h 5973007"/>
              <a:gd name="connsiteX56151" fmla="*/ 4762462 w 6884782"/>
              <a:gd name="connsiteY56151" fmla="*/ 1385841 h 5973007"/>
              <a:gd name="connsiteX56152" fmla="*/ 4771852 w 6884782"/>
              <a:gd name="connsiteY56152" fmla="*/ 1392528 h 5973007"/>
              <a:gd name="connsiteX56153" fmla="*/ 4762462 w 6884782"/>
              <a:gd name="connsiteY56153" fmla="*/ 1385841 h 5973007"/>
              <a:gd name="connsiteX56154" fmla="*/ 1200044 w 6884782"/>
              <a:gd name="connsiteY56154" fmla="*/ 1385415 h 5973007"/>
              <a:gd name="connsiteX56155" fmla="*/ 1205104 w 6884782"/>
              <a:gd name="connsiteY56155" fmla="*/ 1388358 h 5973007"/>
              <a:gd name="connsiteX56156" fmla="*/ 1205826 w 6884782"/>
              <a:gd name="connsiteY56156" fmla="*/ 1396103 h 5973007"/>
              <a:gd name="connsiteX56157" fmla="*/ 1204484 w 6884782"/>
              <a:gd name="connsiteY56157" fmla="*/ 1396877 h 5973007"/>
              <a:gd name="connsiteX56158" fmla="*/ 1208098 w 6884782"/>
              <a:gd name="connsiteY56158" fmla="*/ 1397651 h 5973007"/>
              <a:gd name="connsiteX56159" fmla="*/ 1215532 w 6884782"/>
              <a:gd name="connsiteY56159" fmla="*/ 1408804 h 5973007"/>
              <a:gd name="connsiteX56160" fmla="*/ 1206549 w 6884782"/>
              <a:gd name="connsiteY56160" fmla="*/ 1410043 h 5973007"/>
              <a:gd name="connsiteX56161" fmla="*/ 1202419 w 6884782"/>
              <a:gd name="connsiteY56161" fmla="*/ 1409114 h 5973007"/>
              <a:gd name="connsiteX56162" fmla="*/ 1202522 w 6884782"/>
              <a:gd name="connsiteY56162" fmla="*/ 1409424 h 5973007"/>
              <a:gd name="connsiteX56163" fmla="*/ 1201283 w 6884782"/>
              <a:gd name="connsiteY56163" fmla="*/ 1412677 h 5973007"/>
              <a:gd name="connsiteX56164" fmla="*/ 1197256 w 6884782"/>
              <a:gd name="connsiteY56164" fmla="*/ 1415620 h 5973007"/>
              <a:gd name="connsiteX56165" fmla="*/ 1197772 w 6884782"/>
              <a:gd name="connsiteY56165" fmla="*/ 1429870 h 5973007"/>
              <a:gd name="connsiteX56166" fmla="*/ 1198289 w 6884782"/>
              <a:gd name="connsiteY56166" fmla="*/ 1449697 h 5973007"/>
              <a:gd name="connsiteX56167" fmla="*/ 1194468 w 6884782"/>
              <a:gd name="connsiteY56167" fmla="*/ 1443966 h 5973007"/>
              <a:gd name="connsiteX56168" fmla="*/ 1193849 w 6884782"/>
              <a:gd name="connsiteY56168" fmla="*/ 1444585 h 5973007"/>
              <a:gd name="connsiteX56169" fmla="*/ 1193023 w 6884782"/>
              <a:gd name="connsiteY56169" fmla="*/ 1453415 h 5973007"/>
              <a:gd name="connsiteX56170" fmla="*/ 1184762 w 6884782"/>
              <a:gd name="connsiteY56170" fmla="*/ 1453879 h 5973007"/>
              <a:gd name="connsiteX56171" fmla="*/ 1181768 w 6884782"/>
              <a:gd name="connsiteY56171" fmla="*/ 1452330 h 5973007"/>
              <a:gd name="connsiteX56172" fmla="*/ 1190958 w 6884782"/>
              <a:gd name="connsiteY56172" fmla="*/ 1437305 h 5973007"/>
              <a:gd name="connsiteX56173" fmla="*/ 1191474 w 6884782"/>
              <a:gd name="connsiteY56173" fmla="*/ 1437460 h 5973007"/>
              <a:gd name="connsiteX56174" fmla="*/ 1189512 w 6884782"/>
              <a:gd name="connsiteY56174" fmla="*/ 1430025 h 5973007"/>
              <a:gd name="connsiteX56175" fmla="*/ 1188892 w 6884782"/>
              <a:gd name="connsiteY56175" fmla="*/ 1424914 h 5973007"/>
              <a:gd name="connsiteX56176" fmla="*/ 1188479 w 6884782"/>
              <a:gd name="connsiteY56176" fmla="*/ 1425378 h 5973007"/>
              <a:gd name="connsiteX56177" fmla="*/ 1172991 w 6884782"/>
              <a:gd name="connsiteY56177" fmla="*/ 1420886 h 5973007"/>
              <a:gd name="connsiteX56178" fmla="*/ 1173817 w 6884782"/>
              <a:gd name="connsiteY56178" fmla="*/ 1418253 h 5973007"/>
              <a:gd name="connsiteX56179" fmla="*/ 1178773 w 6884782"/>
              <a:gd name="connsiteY56179" fmla="*/ 1415465 h 5973007"/>
              <a:gd name="connsiteX56180" fmla="*/ 1182491 w 6884782"/>
              <a:gd name="connsiteY56180" fmla="*/ 1415775 h 5973007"/>
              <a:gd name="connsiteX56181" fmla="*/ 1182903 w 6884782"/>
              <a:gd name="connsiteY56181" fmla="*/ 1411282 h 5973007"/>
              <a:gd name="connsiteX56182" fmla="*/ 1187550 w 6884782"/>
              <a:gd name="connsiteY56182" fmla="*/ 1411902 h 5973007"/>
              <a:gd name="connsiteX56183" fmla="*/ 1187757 w 6884782"/>
              <a:gd name="connsiteY56183" fmla="*/ 1412057 h 5973007"/>
              <a:gd name="connsiteX56184" fmla="*/ 1187343 w 6884782"/>
              <a:gd name="connsiteY56184" fmla="*/ 1407101 h 5973007"/>
              <a:gd name="connsiteX56185" fmla="*/ 1191577 w 6884782"/>
              <a:gd name="connsiteY56185" fmla="*/ 1407101 h 5973007"/>
              <a:gd name="connsiteX56186" fmla="*/ 1194055 w 6884782"/>
              <a:gd name="connsiteY56186" fmla="*/ 1407410 h 5973007"/>
              <a:gd name="connsiteX56187" fmla="*/ 1194055 w 6884782"/>
              <a:gd name="connsiteY56187" fmla="*/ 1406481 h 5973007"/>
              <a:gd name="connsiteX56188" fmla="*/ 1198908 w 6884782"/>
              <a:gd name="connsiteY56188" fmla="*/ 1405087 h 5973007"/>
              <a:gd name="connsiteX56189" fmla="*/ 1200251 w 6884782"/>
              <a:gd name="connsiteY56189" fmla="*/ 1405706 h 5973007"/>
              <a:gd name="connsiteX56190" fmla="*/ 1199941 w 6884782"/>
              <a:gd name="connsiteY56190" fmla="*/ 1401524 h 5973007"/>
              <a:gd name="connsiteX56191" fmla="*/ 1201490 w 6884782"/>
              <a:gd name="connsiteY56191" fmla="*/ 1397651 h 5973007"/>
              <a:gd name="connsiteX56192" fmla="*/ 1203348 w 6884782"/>
              <a:gd name="connsiteY56192" fmla="*/ 1396722 h 5973007"/>
              <a:gd name="connsiteX56193" fmla="*/ 1201593 w 6884782"/>
              <a:gd name="connsiteY56193" fmla="*/ 1395638 h 5973007"/>
              <a:gd name="connsiteX56194" fmla="*/ 1199631 w 6884782"/>
              <a:gd name="connsiteY56194" fmla="*/ 1390682 h 5973007"/>
              <a:gd name="connsiteX56195" fmla="*/ 1200044 w 6884782"/>
              <a:gd name="connsiteY56195" fmla="*/ 1385415 h 5973007"/>
              <a:gd name="connsiteX56196" fmla="*/ 4816030 w 6884782"/>
              <a:gd name="connsiteY56196" fmla="*/ 1384988 h 5973007"/>
              <a:gd name="connsiteX56197" fmla="*/ 4819445 w 6884782"/>
              <a:gd name="connsiteY56197" fmla="*/ 1387406 h 5973007"/>
              <a:gd name="connsiteX56198" fmla="*/ 4811335 w 6884782"/>
              <a:gd name="connsiteY56198" fmla="*/ 1385130 h 5973007"/>
              <a:gd name="connsiteX56199" fmla="*/ 4816030 w 6884782"/>
              <a:gd name="connsiteY56199" fmla="*/ 1384988 h 5973007"/>
              <a:gd name="connsiteX56200" fmla="*/ 5355982 w 6884782"/>
              <a:gd name="connsiteY56200" fmla="*/ 1384845 h 5973007"/>
              <a:gd name="connsiteX56201" fmla="*/ 5351927 w 6884782"/>
              <a:gd name="connsiteY56201" fmla="*/ 1422547 h 5973007"/>
              <a:gd name="connsiteX56202" fmla="*/ 5355982 w 6884782"/>
              <a:gd name="connsiteY56202" fmla="*/ 1384845 h 5973007"/>
              <a:gd name="connsiteX56203" fmla="*/ 4490138 w 6884782"/>
              <a:gd name="connsiteY56203" fmla="*/ 1384419 h 5973007"/>
              <a:gd name="connsiteX56204" fmla="*/ 4487577 w 6884782"/>
              <a:gd name="connsiteY56204" fmla="*/ 1386837 h 5973007"/>
              <a:gd name="connsiteX56205" fmla="*/ 4487364 w 6884782"/>
              <a:gd name="connsiteY56205" fmla="*/ 1389256 h 5973007"/>
              <a:gd name="connsiteX56206" fmla="*/ 4483735 w 6884782"/>
              <a:gd name="connsiteY56206" fmla="*/ 1390394 h 5973007"/>
              <a:gd name="connsiteX56207" fmla="*/ 4490138 w 6884782"/>
              <a:gd name="connsiteY56207" fmla="*/ 1384419 h 5973007"/>
              <a:gd name="connsiteX56208" fmla="*/ 4118574 w 6884782"/>
              <a:gd name="connsiteY56208" fmla="*/ 1384276 h 5973007"/>
              <a:gd name="connsiteX56209" fmla="*/ 4113025 w 6884782"/>
              <a:gd name="connsiteY56209" fmla="*/ 1391816 h 5973007"/>
              <a:gd name="connsiteX56210" fmla="*/ 4106622 w 6884782"/>
              <a:gd name="connsiteY56210" fmla="*/ 1395942 h 5973007"/>
              <a:gd name="connsiteX56211" fmla="*/ 4107263 w 6884782"/>
              <a:gd name="connsiteY56211" fmla="*/ 1399499 h 5973007"/>
              <a:gd name="connsiteX56212" fmla="*/ 4110464 w 6884782"/>
              <a:gd name="connsiteY56212" fmla="*/ 1394235 h 5973007"/>
              <a:gd name="connsiteX56213" fmla="*/ 4132447 w 6884782"/>
              <a:gd name="connsiteY56213" fmla="*/ 1386126 h 5973007"/>
              <a:gd name="connsiteX56214" fmla="*/ 4122843 w 6884782"/>
              <a:gd name="connsiteY56214" fmla="*/ 1398645 h 5973007"/>
              <a:gd name="connsiteX56215" fmla="*/ 4107263 w 6884782"/>
              <a:gd name="connsiteY56215" fmla="*/ 1401775 h 5973007"/>
              <a:gd name="connsiteX56216" fmla="*/ 4107263 w 6884782"/>
              <a:gd name="connsiteY56216" fmla="*/ 1405332 h 5973007"/>
              <a:gd name="connsiteX56217" fmla="*/ 4102354 w 6884782"/>
              <a:gd name="connsiteY56217" fmla="*/ 1406186 h 5973007"/>
              <a:gd name="connsiteX56218" fmla="*/ 4099793 w 6884782"/>
              <a:gd name="connsiteY56218" fmla="*/ 1404337 h 5973007"/>
              <a:gd name="connsiteX56219" fmla="*/ 4099153 w 6884782"/>
              <a:gd name="connsiteY56219" fmla="*/ 1411592 h 5973007"/>
              <a:gd name="connsiteX56220" fmla="*/ 4092110 w 6884782"/>
              <a:gd name="connsiteY56220" fmla="*/ 1403625 h 5973007"/>
              <a:gd name="connsiteX56221" fmla="*/ 4090403 w 6884782"/>
              <a:gd name="connsiteY56221" fmla="*/ 1403340 h 5973007"/>
              <a:gd name="connsiteX56222" fmla="*/ 4091256 w 6884782"/>
              <a:gd name="connsiteY56222" fmla="*/ 1404621 h 5973007"/>
              <a:gd name="connsiteX56223" fmla="*/ 4093604 w 6884782"/>
              <a:gd name="connsiteY56223" fmla="*/ 1411734 h 5973007"/>
              <a:gd name="connsiteX56224" fmla="*/ 4069488 w 6884782"/>
              <a:gd name="connsiteY56224" fmla="*/ 1389256 h 5973007"/>
              <a:gd name="connsiteX56225" fmla="*/ 4085921 w 6884782"/>
              <a:gd name="connsiteY56225" fmla="*/ 1397365 h 5973007"/>
              <a:gd name="connsiteX56226" fmla="*/ 4088482 w 6884782"/>
              <a:gd name="connsiteY56226" fmla="*/ 1400780 h 5973007"/>
              <a:gd name="connsiteX56227" fmla="*/ 4090616 w 6884782"/>
              <a:gd name="connsiteY56227" fmla="*/ 1398645 h 5973007"/>
              <a:gd name="connsiteX56228" fmla="*/ 4089763 w 6884782"/>
              <a:gd name="connsiteY56228" fmla="*/ 1398645 h 5973007"/>
              <a:gd name="connsiteX56229" fmla="*/ 4094458 w 6884782"/>
              <a:gd name="connsiteY56229" fmla="*/ 1392813 h 5973007"/>
              <a:gd name="connsiteX56230" fmla="*/ 4094884 w 6884782"/>
              <a:gd name="connsiteY56230" fmla="*/ 1391106 h 5973007"/>
              <a:gd name="connsiteX56231" fmla="*/ 4096805 w 6884782"/>
              <a:gd name="connsiteY56231" fmla="*/ 1385414 h 5973007"/>
              <a:gd name="connsiteX56232" fmla="*/ 4102141 w 6884782"/>
              <a:gd name="connsiteY56232" fmla="*/ 1387549 h 5973007"/>
              <a:gd name="connsiteX56233" fmla="*/ 4103208 w 6884782"/>
              <a:gd name="connsiteY56233" fmla="*/ 1386837 h 5973007"/>
              <a:gd name="connsiteX56234" fmla="*/ 4118574 w 6884782"/>
              <a:gd name="connsiteY56234" fmla="*/ 1384276 h 5973007"/>
              <a:gd name="connsiteX56235" fmla="*/ 941387 w 6884782"/>
              <a:gd name="connsiteY56235" fmla="*/ 1384021 h 5973007"/>
              <a:gd name="connsiteX56236" fmla="*/ 944795 w 6884782"/>
              <a:gd name="connsiteY56236" fmla="*/ 1385880 h 5973007"/>
              <a:gd name="connsiteX56237" fmla="*/ 945621 w 6884782"/>
              <a:gd name="connsiteY56237" fmla="*/ 1388358 h 5973007"/>
              <a:gd name="connsiteX56238" fmla="*/ 942936 w 6884782"/>
              <a:gd name="connsiteY56238" fmla="*/ 1388978 h 5973007"/>
              <a:gd name="connsiteX56239" fmla="*/ 940355 w 6884782"/>
              <a:gd name="connsiteY56239" fmla="*/ 1387893 h 5973007"/>
              <a:gd name="connsiteX56240" fmla="*/ 940045 w 6884782"/>
              <a:gd name="connsiteY56240" fmla="*/ 1386499 h 5973007"/>
              <a:gd name="connsiteX56241" fmla="*/ 940355 w 6884782"/>
              <a:gd name="connsiteY56241" fmla="*/ 1384486 h 5973007"/>
              <a:gd name="connsiteX56242" fmla="*/ 941387 w 6884782"/>
              <a:gd name="connsiteY56242" fmla="*/ 1384021 h 5973007"/>
              <a:gd name="connsiteX56243" fmla="*/ 1686484 w 6884782"/>
              <a:gd name="connsiteY56243" fmla="*/ 1383866 h 5973007"/>
              <a:gd name="connsiteX56244" fmla="*/ 1686897 w 6884782"/>
              <a:gd name="connsiteY56244" fmla="*/ 1384640 h 5973007"/>
              <a:gd name="connsiteX56245" fmla="*/ 1689272 w 6884782"/>
              <a:gd name="connsiteY56245" fmla="*/ 1387583 h 5973007"/>
              <a:gd name="connsiteX56246" fmla="*/ 1686071 w 6884782"/>
              <a:gd name="connsiteY56246" fmla="*/ 1388823 h 5973007"/>
              <a:gd name="connsiteX56247" fmla="*/ 1688963 w 6884782"/>
              <a:gd name="connsiteY56247" fmla="*/ 1390836 h 5973007"/>
              <a:gd name="connsiteX56248" fmla="*/ 1690305 w 6884782"/>
              <a:gd name="connsiteY56248" fmla="*/ 1394399 h 5973007"/>
              <a:gd name="connsiteX56249" fmla="*/ 1692783 w 6884782"/>
              <a:gd name="connsiteY56249" fmla="*/ 1395638 h 5973007"/>
              <a:gd name="connsiteX56250" fmla="*/ 1690821 w 6884782"/>
              <a:gd name="connsiteY56250" fmla="*/ 1397032 h 5973007"/>
              <a:gd name="connsiteX56251" fmla="*/ 1689892 w 6884782"/>
              <a:gd name="connsiteY56251" fmla="*/ 1402299 h 5973007"/>
              <a:gd name="connsiteX56252" fmla="*/ 1685451 w 6884782"/>
              <a:gd name="connsiteY56252" fmla="*/ 1407410 h 5973007"/>
              <a:gd name="connsiteX56253" fmla="*/ 1677294 w 6884782"/>
              <a:gd name="connsiteY56253" fmla="*/ 1401215 h 5973007"/>
              <a:gd name="connsiteX56254" fmla="*/ 1677191 w 6884782"/>
              <a:gd name="connsiteY56254" fmla="*/ 1400904 h 5973007"/>
              <a:gd name="connsiteX56255" fmla="*/ 1675952 w 6884782"/>
              <a:gd name="connsiteY56255" fmla="*/ 1400595 h 5973007"/>
              <a:gd name="connsiteX56256" fmla="*/ 1672751 w 6884782"/>
              <a:gd name="connsiteY56256" fmla="*/ 1398426 h 5973007"/>
              <a:gd name="connsiteX56257" fmla="*/ 1670996 w 6884782"/>
              <a:gd name="connsiteY56257" fmla="*/ 1396722 h 5973007"/>
              <a:gd name="connsiteX56258" fmla="*/ 1664594 w 6884782"/>
              <a:gd name="connsiteY56258" fmla="*/ 1394244 h 5973007"/>
              <a:gd name="connsiteX56259" fmla="*/ 1660050 w 6884782"/>
              <a:gd name="connsiteY56259" fmla="*/ 1386964 h 5973007"/>
              <a:gd name="connsiteX56260" fmla="*/ 1676468 w 6884782"/>
              <a:gd name="connsiteY56260" fmla="*/ 1390371 h 5973007"/>
              <a:gd name="connsiteX56261" fmla="*/ 1676881 w 6884782"/>
              <a:gd name="connsiteY56261" fmla="*/ 1390526 h 5973007"/>
              <a:gd name="connsiteX56262" fmla="*/ 1680702 w 6884782"/>
              <a:gd name="connsiteY56262" fmla="*/ 1388203 h 5973007"/>
              <a:gd name="connsiteX56263" fmla="*/ 1684729 w 6884782"/>
              <a:gd name="connsiteY56263" fmla="*/ 1387893 h 5973007"/>
              <a:gd name="connsiteX56264" fmla="*/ 1685038 w 6884782"/>
              <a:gd name="connsiteY56264" fmla="*/ 1388048 h 5973007"/>
              <a:gd name="connsiteX56265" fmla="*/ 1684832 w 6884782"/>
              <a:gd name="connsiteY56265" fmla="*/ 1387428 h 5973007"/>
              <a:gd name="connsiteX56266" fmla="*/ 1684522 w 6884782"/>
              <a:gd name="connsiteY56266" fmla="*/ 1385570 h 5973007"/>
              <a:gd name="connsiteX56267" fmla="*/ 1686484 w 6884782"/>
              <a:gd name="connsiteY56267" fmla="*/ 1383866 h 5973007"/>
              <a:gd name="connsiteX56268" fmla="*/ 4053908 w 6884782"/>
              <a:gd name="connsiteY56268" fmla="*/ 1383565 h 5973007"/>
              <a:gd name="connsiteX56269" fmla="*/ 4064152 w 6884782"/>
              <a:gd name="connsiteY56269" fmla="*/ 1386410 h 5973007"/>
              <a:gd name="connsiteX56270" fmla="*/ 4063939 w 6884782"/>
              <a:gd name="connsiteY56270" fmla="*/ 1394662 h 5973007"/>
              <a:gd name="connsiteX56271" fmla="*/ 4070341 w 6884782"/>
              <a:gd name="connsiteY56271" fmla="*/ 1399215 h 5973007"/>
              <a:gd name="connsiteX56272" fmla="*/ 4050493 w 6884782"/>
              <a:gd name="connsiteY56272" fmla="*/ 1415718 h 5973007"/>
              <a:gd name="connsiteX56273" fmla="*/ 4048146 w 6884782"/>
              <a:gd name="connsiteY56273" fmla="*/ 1412303 h 5973007"/>
              <a:gd name="connsiteX56274" fmla="*/ 4047079 w 6884782"/>
              <a:gd name="connsiteY56274" fmla="*/ 1413015 h 5973007"/>
              <a:gd name="connsiteX56275" fmla="*/ 4041957 w 6884782"/>
              <a:gd name="connsiteY56275" fmla="*/ 1414580 h 5973007"/>
              <a:gd name="connsiteX56276" fmla="*/ 4042170 w 6884782"/>
              <a:gd name="connsiteY56276" fmla="*/ 1415148 h 5973007"/>
              <a:gd name="connsiteX56277" fmla="*/ 4041103 w 6884782"/>
              <a:gd name="connsiteY56277" fmla="*/ 1418563 h 5973007"/>
              <a:gd name="connsiteX56278" fmla="*/ 4031712 w 6884782"/>
              <a:gd name="connsiteY56278" fmla="*/ 1420412 h 5973007"/>
              <a:gd name="connsiteX56279" fmla="*/ 4025950 w 6884782"/>
              <a:gd name="connsiteY56279" fmla="*/ 1422547 h 5973007"/>
              <a:gd name="connsiteX56280" fmla="*/ 4032780 w 6884782"/>
              <a:gd name="connsiteY56280" fmla="*/ 1418137 h 5973007"/>
              <a:gd name="connsiteX56281" fmla="*/ 4033846 w 6884782"/>
              <a:gd name="connsiteY56281" fmla="*/ 1414580 h 5973007"/>
              <a:gd name="connsiteX56282" fmla="*/ 4036194 w 6884782"/>
              <a:gd name="connsiteY56282" fmla="*/ 1413583 h 5973007"/>
              <a:gd name="connsiteX56283" fmla="*/ 4035768 w 6884782"/>
              <a:gd name="connsiteY56283" fmla="*/ 1412161 h 5973007"/>
              <a:gd name="connsiteX56284" fmla="*/ 4034060 w 6884782"/>
              <a:gd name="connsiteY56284" fmla="*/ 1408889 h 5973007"/>
              <a:gd name="connsiteX56285" fmla="*/ 4042383 w 6884782"/>
              <a:gd name="connsiteY56285" fmla="*/ 1406044 h 5973007"/>
              <a:gd name="connsiteX56286" fmla="*/ 4046225 w 6884782"/>
              <a:gd name="connsiteY56286" fmla="*/ 1405474 h 5973007"/>
              <a:gd name="connsiteX56287" fmla="*/ 4046225 w 6884782"/>
              <a:gd name="connsiteY56287" fmla="*/ 1405047 h 5973007"/>
              <a:gd name="connsiteX56288" fmla="*/ 4049639 w 6884782"/>
              <a:gd name="connsiteY56288" fmla="*/ 1398645 h 5973007"/>
              <a:gd name="connsiteX56289" fmla="*/ 4051560 w 6884782"/>
              <a:gd name="connsiteY56289" fmla="*/ 1397507 h 5973007"/>
              <a:gd name="connsiteX56290" fmla="*/ 4053908 w 6884782"/>
              <a:gd name="connsiteY56290" fmla="*/ 1383565 h 5973007"/>
              <a:gd name="connsiteX56291" fmla="*/ 3722894 w 6884782"/>
              <a:gd name="connsiteY56291" fmla="*/ 1383423 h 5973007"/>
              <a:gd name="connsiteX56292" fmla="*/ 3725242 w 6884782"/>
              <a:gd name="connsiteY56292" fmla="*/ 1391532 h 5973007"/>
              <a:gd name="connsiteX56293" fmla="*/ 3724388 w 6884782"/>
              <a:gd name="connsiteY56293" fmla="*/ 1396796 h 5973007"/>
              <a:gd name="connsiteX56294" fmla="*/ 3723747 w 6884782"/>
              <a:gd name="connsiteY56294" fmla="*/ 1398930 h 5973007"/>
              <a:gd name="connsiteX56295" fmla="*/ 3725455 w 6884782"/>
              <a:gd name="connsiteY56295" fmla="*/ 1397792 h 5973007"/>
              <a:gd name="connsiteX56296" fmla="*/ 3757681 w 6884782"/>
              <a:gd name="connsiteY56296" fmla="*/ 1387975 h 5973007"/>
              <a:gd name="connsiteX56297" fmla="*/ 3793109 w 6884782"/>
              <a:gd name="connsiteY56297" fmla="*/ 1416856 h 5973007"/>
              <a:gd name="connsiteX56298" fmla="*/ 3790121 w 6884782"/>
              <a:gd name="connsiteY56298" fmla="*/ 1433074 h 5973007"/>
              <a:gd name="connsiteX56299" fmla="*/ 3790975 w 6884782"/>
              <a:gd name="connsiteY56299" fmla="*/ 1435920 h 5973007"/>
              <a:gd name="connsiteX56300" fmla="*/ 3797377 w 6884782"/>
              <a:gd name="connsiteY56300" fmla="*/ 1438196 h 5973007"/>
              <a:gd name="connsiteX56301" fmla="*/ 3795884 w 6884782"/>
              <a:gd name="connsiteY56301" fmla="*/ 1447017 h 5973007"/>
              <a:gd name="connsiteX56302" fmla="*/ 3792682 w 6884782"/>
              <a:gd name="connsiteY56302" fmla="*/ 1450005 h 5973007"/>
              <a:gd name="connsiteX56303" fmla="*/ 3793963 w 6884782"/>
              <a:gd name="connsiteY56303" fmla="*/ 1451996 h 5973007"/>
              <a:gd name="connsiteX56304" fmla="*/ 3782652 w 6884782"/>
              <a:gd name="connsiteY56304" fmla="*/ 1473763 h 5973007"/>
              <a:gd name="connsiteX56305" fmla="*/ 3770914 w 6884782"/>
              <a:gd name="connsiteY56305" fmla="*/ 1481589 h 5973007"/>
              <a:gd name="connsiteX56306" fmla="*/ 3767285 w 6884782"/>
              <a:gd name="connsiteY56306" fmla="*/ 1480166 h 5973007"/>
              <a:gd name="connsiteX56307" fmla="*/ 3766218 w 6884782"/>
              <a:gd name="connsiteY56307" fmla="*/ 1478601 h 5973007"/>
              <a:gd name="connsiteX56308" fmla="*/ 3764298 w 6884782"/>
              <a:gd name="connsiteY56308" fmla="*/ 1478032 h 5973007"/>
              <a:gd name="connsiteX56309" fmla="*/ 3752560 w 6884782"/>
              <a:gd name="connsiteY56309" fmla="*/ 1480877 h 5973007"/>
              <a:gd name="connsiteX56310" fmla="*/ 3757041 w 6884782"/>
              <a:gd name="connsiteY56310" fmla="*/ 1481589 h 5973007"/>
              <a:gd name="connsiteX56311" fmla="*/ 3755974 w 6884782"/>
              <a:gd name="connsiteY56311" fmla="*/ 1481446 h 5973007"/>
              <a:gd name="connsiteX56312" fmla="*/ 3755974 w 6884782"/>
              <a:gd name="connsiteY56312" fmla="*/ 1484007 h 5973007"/>
              <a:gd name="connsiteX56313" fmla="*/ 3757255 w 6884782"/>
              <a:gd name="connsiteY56313" fmla="*/ 1484007 h 5973007"/>
              <a:gd name="connsiteX56314" fmla="*/ 3756187 w 6884782"/>
              <a:gd name="connsiteY56314" fmla="*/ 1486425 h 5973007"/>
              <a:gd name="connsiteX56315" fmla="*/ 3748077 w 6884782"/>
              <a:gd name="connsiteY56315" fmla="*/ 1489555 h 5973007"/>
              <a:gd name="connsiteX56316" fmla="*/ 3746584 w 6884782"/>
              <a:gd name="connsiteY56316" fmla="*/ 1486141 h 5973007"/>
              <a:gd name="connsiteX56317" fmla="*/ 3747437 w 6884782"/>
              <a:gd name="connsiteY56317" fmla="*/ 1484433 h 5973007"/>
              <a:gd name="connsiteX56318" fmla="*/ 3745516 w 6884782"/>
              <a:gd name="connsiteY56318" fmla="*/ 1482584 h 5973007"/>
              <a:gd name="connsiteX56319" fmla="*/ 3731858 w 6884782"/>
              <a:gd name="connsiteY56319" fmla="*/ 1485856 h 5973007"/>
              <a:gd name="connsiteX56320" fmla="*/ 3723107 w 6884782"/>
              <a:gd name="connsiteY56320" fmla="*/ 1478032 h 5973007"/>
              <a:gd name="connsiteX56321" fmla="*/ 3720333 w 6884782"/>
              <a:gd name="connsiteY56321" fmla="*/ 1476467 h 5973007"/>
              <a:gd name="connsiteX56322" fmla="*/ 3717985 w 6884782"/>
              <a:gd name="connsiteY56322" fmla="*/ 1475897 h 5973007"/>
              <a:gd name="connsiteX56323" fmla="*/ 3715211 w 6884782"/>
              <a:gd name="connsiteY56323" fmla="*/ 1473336 h 5973007"/>
              <a:gd name="connsiteX56324" fmla="*/ 3712009 w 6884782"/>
              <a:gd name="connsiteY56324" fmla="*/ 1471630 h 5973007"/>
              <a:gd name="connsiteX56325" fmla="*/ 3697284 w 6884782"/>
              <a:gd name="connsiteY56325" fmla="*/ 1452850 h 5973007"/>
              <a:gd name="connsiteX56326" fmla="*/ 3697924 w 6884782"/>
              <a:gd name="connsiteY56326" fmla="*/ 1451285 h 5973007"/>
              <a:gd name="connsiteX56327" fmla="*/ 3696430 w 6884782"/>
              <a:gd name="connsiteY56327" fmla="*/ 1449862 h 5973007"/>
              <a:gd name="connsiteX56328" fmla="*/ 3694509 w 6884782"/>
              <a:gd name="connsiteY56328" fmla="*/ 1441326 h 5973007"/>
              <a:gd name="connsiteX56329" fmla="*/ 3699845 w 6884782"/>
              <a:gd name="connsiteY56329" fmla="*/ 1438765 h 5973007"/>
              <a:gd name="connsiteX56330" fmla="*/ 3701125 w 6884782"/>
              <a:gd name="connsiteY56330" fmla="*/ 1438765 h 5973007"/>
              <a:gd name="connsiteX56331" fmla="*/ 3701338 w 6884782"/>
              <a:gd name="connsiteY56331" fmla="*/ 1436205 h 5973007"/>
              <a:gd name="connsiteX56332" fmla="*/ 3700912 w 6884782"/>
              <a:gd name="connsiteY56332" fmla="*/ 1422689 h 5973007"/>
              <a:gd name="connsiteX56333" fmla="*/ 3711796 w 6884782"/>
              <a:gd name="connsiteY56333" fmla="*/ 1409458 h 5973007"/>
              <a:gd name="connsiteX56334" fmla="*/ 3721827 w 6884782"/>
              <a:gd name="connsiteY56334" fmla="*/ 1400637 h 5973007"/>
              <a:gd name="connsiteX56335" fmla="*/ 3722040 w 6884782"/>
              <a:gd name="connsiteY56335" fmla="*/ 1392243 h 5973007"/>
              <a:gd name="connsiteX56336" fmla="*/ 3722894 w 6884782"/>
              <a:gd name="connsiteY56336" fmla="*/ 1383423 h 5973007"/>
              <a:gd name="connsiteX56337" fmla="*/ 5658611 w 6884782"/>
              <a:gd name="connsiteY56337" fmla="*/ 1383280 h 5973007"/>
              <a:gd name="connsiteX56338" fmla="*/ 5670349 w 6884782"/>
              <a:gd name="connsiteY56338" fmla="*/ 1396654 h 5973007"/>
              <a:gd name="connsiteX56339" fmla="*/ 5672484 w 6884782"/>
              <a:gd name="connsiteY56339" fmla="*/ 1405047 h 5973007"/>
              <a:gd name="connsiteX56340" fmla="*/ 5673337 w 6884782"/>
              <a:gd name="connsiteY56340" fmla="*/ 1419986 h 5973007"/>
              <a:gd name="connsiteX56341" fmla="*/ 5670349 w 6884782"/>
              <a:gd name="connsiteY56341" fmla="*/ 1422831 h 5973007"/>
              <a:gd name="connsiteX56342" fmla="*/ 5650928 w 6884782"/>
              <a:gd name="connsiteY56342" fmla="*/ 1410311 h 5973007"/>
              <a:gd name="connsiteX56343" fmla="*/ 5651568 w 6884782"/>
              <a:gd name="connsiteY56343" fmla="*/ 1384419 h 5973007"/>
              <a:gd name="connsiteX56344" fmla="*/ 5658611 w 6884782"/>
              <a:gd name="connsiteY56344" fmla="*/ 1383280 h 5973007"/>
              <a:gd name="connsiteX56345" fmla="*/ 1786952 w 6884782"/>
              <a:gd name="connsiteY56345" fmla="*/ 1382627 h 5973007"/>
              <a:gd name="connsiteX56346" fmla="*/ 1790773 w 6884782"/>
              <a:gd name="connsiteY56346" fmla="*/ 1395948 h 5973007"/>
              <a:gd name="connsiteX56347" fmla="*/ 1786952 w 6884782"/>
              <a:gd name="connsiteY56347" fmla="*/ 1382627 h 5973007"/>
              <a:gd name="connsiteX56348" fmla="*/ 3605086 w 6884782"/>
              <a:gd name="connsiteY56348" fmla="*/ 1382142 h 5973007"/>
              <a:gd name="connsiteX56349" fmla="*/ 3608501 w 6884782"/>
              <a:gd name="connsiteY56349" fmla="*/ 1382854 h 5973007"/>
              <a:gd name="connsiteX56350" fmla="*/ 3606154 w 6884782"/>
              <a:gd name="connsiteY56350" fmla="*/ 1389967 h 5973007"/>
              <a:gd name="connsiteX56351" fmla="*/ 3595909 w 6884782"/>
              <a:gd name="connsiteY56351" fmla="*/ 1391816 h 5973007"/>
              <a:gd name="connsiteX56352" fmla="*/ 3595055 w 6884782"/>
              <a:gd name="connsiteY56352" fmla="*/ 1385841 h 5973007"/>
              <a:gd name="connsiteX56353" fmla="*/ 3601245 w 6884782"/>
              <a:gd name="connsiteY56353" fmla="*/ 1382569 h 5973007"/>
              <a:gd name="connsiteX56354" fmla="*/ 3605086 w 6884782"/>
              <a:gd name="connsiteY56354" fmla="*/ 1382142 h 5973007"/>
              <a:gd name="connsiteX56355" fmla="*/ 1097924 w 6884782"/>
              <a:gd name="connsiteY56355" fmla="*/ 1381697 h 5973007"/>
              <a:gd name="connsiteX56356" fmla="*/ 1102570 w 6884782"/>
              <a:gd name="connsiteY56356" fmla="*/ 1388203 h 5973007"/>
              <a:gd name="connsiteX56357" fmla="*/ 1089457 w 6884782"/>
              <a:gd name="connsiteY56357" fmla="*/ 1394864 h 5973007"/>
              <a:gd name="connsiteX56358" fmla="*/ 1086153 w 6884782"/>
              <a:gd name="connsiteY56358" fmla="*/ 1390682 h 5973007"/>
              <a:gd name="connsiteX56359" fmla="*/ 1097924 w 6884782"/>
              <a:gd name="connsiteY56359" fmla="*/ 1381697 h 5973007"/>
              <a:gd name="connsiteX56360" fmla="*/ 5318633 w 6884782"/>
              <a:gd name="connsiteY56360" fmla="*/ 1381573 h 5973007"/>
              <a:gd name="connsiteX56361" fmla="*/ 5323329 w 6884782"/>
              <a:gd name="connsiteY56361" fmla="*/ 1382284 h 5973007"/>
              <a:gd name="connsiteX56362" fmla="*/ 5326957 w 6884782"/>
              <a:gd name="connsiteY56362" fmla="*/ 1390536 h 5973007"/>
              <a:gd name="connsiteX56363" fmla="*/ 5312231 w 6884782"/>
              <a:gd name="connsiteY56363" fmla="*/ 1389825 h 5973007"/>
              <a:gd name="connsiteX56364" fmla="*/ 5318633 w 6884782"/>
              <a:gd name="connsiteY56364" fmla="*/ 1381573 h 5973007"/>
              <a:gd name="connsiteX56365" fmla="*/ 3983693 w 6884782"/>
              <a:gd name="connsiteY56365" fmla="*/ 1380008 h 5973007"/>
              <a:gd name="connsiteX56366" fmla="*/ 3984974 w 6884782"/>
              <a:gd name="connsiteY56366" fmla="*/ 1382569 h 5973007"/>
              <a:gd name="connsiteX56367" fmla="*/ 3985187 w 6884782"/>
              <a:gd name="connsiteY56367" fmla="*/ 1386268 h 5973007"/>
              <a:gd name="connsiteX56368" fmla="*/ 3979425 w 6884782"/>
              <a:gd name="connsiteY56368" fmla="*/ 1387264 h 5973007"/>
              <a:gd name="connsiteX56369" fmla="*/ 3977931 w 6884782"/>
              <a:gd name="connsiteY56369" fmla="*/ 1384703 h 5973007"/>
              <a:gd name="connsiteX56370" fmla="*/ 3978998 w 6884782"/>
              <a:gd name="connsiteY56370" fmla="*/ 1381004 h 5973007"/>
              <a:gd name="connsiteX56371" fmla="*/ 3983693 w 6884782"/>
              <a:gd name="connsiteY56371" fmla="*/ 1380008 h 5973007"/>
              <a:gd name="connsiteX56372" fmla="*/ 4560353 w 6884782"/>
              <a:gd name="connsiteY56372" fmla="*/ 1379439 h 5973007"/>
              <a:gd name="connsiteX56373" fmla="*/ 4559073 w 6884782"/>
              <a:gd name="connsiteY56373" fmla="*/ 1386553 h 5973007"/>
              <a:gd name="connsiteX56374" fmla="*/ 4560353 w 6884782"/>
              <a:gd name="connsiteY56374" fmla="*/ 1379439 h 5973007"/>
              <a:gd name="connsiteX56375" fmla="*/ 4307878 w 6884782"/>
              <a:gd name="connsiteY56375" fmla="*/ 1378017 h 5973007"/>
              <a:gd name="connsiteX56376" fmla="*/ 4310225 w 6884782"/>
              <a:gd name="connsiteY56376" fmla="*/ 1380720 h 5973007"/>
              <a:gd name="connsiteX56377" fmla="*/ 4304463 w 6884782"/>
              <a:gd name="connsiteY56377" fmla="*/ 1391532 h 5973007"/>
              <a:gd name="connsiteX56378" fmla="*/ 4302115 w 6884782"/>
              <a:gd name="connsiteY56378" fmla="*/ 1389398 h 5973007"/>
              <a:gd name="connsiteX56379" fmla="*/ 4307878 w 6884782"/>
              <a:gd name="connsiteY56379" fmla="*/ 1378017 h 5973007"/>
              <a:gd name="connsiteX56380" fmla="*/ 1533562 w 6884782"/>
              <a:gd name="connsiteY56380" fmla="*/ 1376741 h 5973007"/>
              <a:gd name="connsiteX56381" fmla="*/ 1534904 w 6884782"/>
              <a:gd name="connsiteY56381" fmla="*/ 1379374 h 5973007"/>
              <a:gd name="connsiteX56382" fmla="*/ 1533768 w 6884782"/>
              <a:gd name="connsiteY56382" fmla="*/ 1379839 h 5973007"/>
              <a:gd name="connsiteX56383" fmla="*/ 1534491 w 6884782"/>
              <a:gd name="connsiteY56383" fmla="*/ 1380148 h 5973007"/>
              <a:gd name="connsiteX56384" fmla="*/ 1533355 w 6884782"/>
              <a:gd name="connsiteY56384" fmla="*/ 1379993 h 5973007"/>
              <a:gd name="connsiteX56385" fmla="*/ 1533045 w 6884782"/>
              <a:gd name="connsiteY56385" fmla="*/ 1379374 h 5973007"/>
              <a:gd name="connsiteX56386" fmla="*/ 1532632 w 6884782"/>
              <a:gd name="connsiteY56386" fmla="*/ 1377825 h 5973007"/>
              <a:gd name="connsiteX56387" fmla="*/ 1533562 w 6884782"/>
              <a:gd name="connsiteY56387" fmla="*/ 1376741 h 5973007"/>
              <a:gd name="connsiteX56388" fmla="*/ 4928289 w 6884782"/>
              <a:gd name="connsiteY56388" fmla="*/ 1376594 h 5973007"/>
              <a:gd name="connsiteX56389" fmla="*/ 4934691 w 6884782"/>
              <a:gd name="connsiteY56389" fmla="*/ 1378728 h 5973007"/>
              <a:gd name="connsiteX56390" fmla="*/ 4937253 w 6884782"/>
              <a:gd name="connsiteY56390" fmla="*/ 1383707 h 5973007"/>
              <a:gd name="connsiteX56391" fmla="*/ 4937253 w 6884782"/>
              <a:gd name="connsiteY56391" fmla="*/ 1386126 h 5973007"/>
              <a:gd name="connsiteX56392" fmla="*/ 4935758 w 6884782"/>
              <a:gd name="connsiteY56392" fmla="*/ 1387121 h 5973007"/>
              <a:gd name="connsiteX56393" fmla="*/ 4936399 w 6884782"/>
              <a:gd name="connsiteY56393" fmla="*/ 1387975 h 5973007"/>
              <a:gd name="connsiteX56394" fmla="*/ 4936825 w 6884782"/>
              <a:gd name="connsiteY56394" fmla="*/ 1391674 h 5973007"/>
              <a:gd name="connsiteX56395" fmla="*/ 4931063 w 6884782"/>
              <a:gd name="connsiteY56395" fmla="*/ 1393239 h 5973007"/>
              <a:gd name="connsiteX56396" fmla="*/ 4929569 w 6884782"/>
              <a:gd name="connsiteY56396" fmla="*/ 1390821 h 5973007"/>
              <a:gd name="connsiteX56397" fmla="*/ 4929996 w 6884782"/>
              <a:gd name="connsiteY56397" fmla="*/ 1388686 h 5973007"/>
              <a:gd name="connsiteX56398" fmla="*/ 4927008 w 6884782"/>
              <a:gd name="connsiteY56398" fmla="*/ 1388118 h 5973007"/>
              <a:gd name="connsiteX56399" fmla="*/ 4923167 w 6884782"/>
              <a:gd name="connsiteY56399" fmla="*/ 1378301 h 5973007"/>
              <a:gd name="connsiteX56400" fmla="*/ 4925514 w 6884782"/>
              <a:gd name="connsiteY56400" fmla="*/ 1377163 h 5973007"/>
              <a:gd name="connsiteX56401" fmla="*/ 4928289 w 6884782"/>
              <a:gd name="connsiteY56401" fmla="*/ 1376594 h 5973007"/>
              <a:gd name="connsiteX56402" fmla="*/ 4463247 w 6884782"/>
              <a:gd name="connsiteY56402" fmla="*/ 1376025 h 5973007"/>
              <a:gd name="connsiteX56403" fmla="*/ 4482669 w 6884782"/>
              <a:gd name="connsiteY56403" fmla="*/ 1390678 h 5973007"/>
              <a:gd name="connsiteX56404" fmla="*/ 4484162 w 6884782"/>
              <a:gd name="connsiteY56404" fmla="*/ 1397792 h 5973007"/>
              <a:gd name="connsiteX56405" fmla="*/ 4463247 w 6884782"/>
              <a:gd name="connsiteY56405" fmla="*/ 1376025 h 5973007"/>
              <a:gd name="connsiteX56406" fmla="*/ 1440941 w 6884782"/>
              <a:gd name="connsiteY56406" fmla="*/ 1375811 h 5973007"/>
              <a:gd name="connsiteX56407" fmla="*/ 1438566 w 6884782"/>
              <a:gd name="connsiteY56407" fmla="*/ 1385105 h 5973007"/>
              <a:gd name="connsiteX56408" fmla="*/ 1440941 w 6884782"/>
              <a:gd name="connsiteY56408" fmla="*/ 1375811 h 5973007"/>
              <a:gd name="connsiteX56409" fmla="*/ 1050942 w 6884782"/>
              <a:gd name="connsiteY56409" fmla="*/ 1375502 h 5973007"/>
              <a:gd name="connsiteX56410" fmla="*/ 1049703 w 6884782"/>
              <a:gd name="connsiteY56410" fmla="*/ 1386809 h 5973007"/>
              <a:gd name="connsiteX56411" fmla="*/ 1027710 w 6884782"/>
              <a:gd name="connsiteY56411" fmla="*/ 1385260 h 5973007"/>
              <a:gd name="connsiteX56412" fmla="*/ 1037106 w 6884782"/>
              <a:gd name="connsiteY56412" fmla="*/ 1378445 h 5973007"/>
              <a:gd name="connsiteX56413" fmla="*/ 1050942 w 6884782"/>
              <a:gd name="connsiteY56413" fmla="*/ 1375502 h 5973007"/>
              <a:gd name="connsiteX56414" fmla="*/ 3854787 w 6884782"/>
              <a:gd name="connsiteY56414" fmla="*/ 1374033 h 5973007"/>
              <a:gd name="connsiteX56415" fmla="*/ 3865672 w 6884782"/>
              <a:gd name="connsiteY56415" fmla="*/ 1380150 h 5973007"/>
              <a:gd name="connsiteX56416" fmla="*/ 3846037 w 6884782"/>
              <a:gd name="connsiteY56416" fmla="*/ 1380435 h 5973007"/>
              <a:gd name="connsiteX56417" fmla="*/ 3854787 w 6884782"/>
              <a:gd name="connsiteY56417" fmla="*/ 1374033 h 5973007"/>
              <a:gd name="connsiteX56418" fmla="*/ 1240521 w 6884782"/>
              <a:gd name="connsiteY56418" fmla="*/ 1373643 h 5973007"/>
              <a:gd name="connsiteX56419" fmla="*/ 1243412 w 6884782"/>
              <a:gd name="connsiteY56419" fmla="*/ 1377360 h 5973007"/>
              <a:gd name="connsiteX56420" fmla="*/ 1244031 w 6884782"/>
              <a:gd name="connsiteY56420" fmla="*/ 1379219 h 5973007"/>
              <a:gd name="connsiteX56421" fmla="*/ 1244754 w 6884782"/>
              <a:gd name="connsiteY56421" fmla="*/ 1379684 h 5973007"/>
              <a:gd name="connsiteX56422" fmla="*/ 1245064 w 6884782"/>
              <a:gd name="connsiteY56422" fmla="*/ 1383247 h 5973007"/>
              <a:gd name="connsiteX56423" fmla="*/ 1243412 w 6884782"/>
              <a:gd name="connsiteY56423" fmla="*/ 1382162 h 5973007"/>
              <a:gd name="connsiteX56424" fmla="*/ 1242689 w 6884782"/>
              <a:gd name="connsiteY56424" fmla="*/ 1381543 h 5973007"/>
              <a:gd name="connsiteX56425" fmla="*/ 1239385 w 6884782"/>
              <a:gd name="connsiteY56425" fmla="*/ 1380613 h 5973007"/>
              <a:gd name="connsiteX56426" fmla="*/ 1215636 w 6884782"/>
              <a:gd name="connsiteY56426" fmla="*/ 1382627 h 5973007"/>
              <a:gd name="connsiteX56427" fmla="*/ 1226065 w 6884782"/>
              <a:gd name="connsiteY56427" fmla="*/ 1375966 h 5973007"/>
              <a:gd name="connsiteX56428" fmla="*/ 1240521 w 6884782"/>
              <a:gd name="connsiteY56428" fmla="*/ 1373643 h 5973007"/>
              <a:gd name="connsiteX56429" fmla="*/ 1064675 w 6884782"/>
              <a:gd name="connsiteY56429" fmla="*/ 1373488 h 5973007"/>
              <a:gd name="connsiteX56430" fmla="*/ 1063746 w 6884782"/>
              <a:gd name="connsiteY56430" fmla="*/ 1377670 h 5973007"/>
              <a:gd name="connsiteX56431" fmla="*/ 1061991 w 6884782"/>
              <a:gd name="connsiteY56431" fmla="*/ 1374107 h 5973007"/>
              <a:gd name="connsiteX56432" fmla="*/ 1064675 w 6884782"/>
              <a:gd name="connsiteY56432" fmla="*/ 1373488 h 5973007"/>
              <a:gd name="connsiteX56433" fmla="*/ 3751492 w 6884782"/>
              <a:gd name="connsiteY56433" fmla="*/ 1373037 h 5973007"/>
              <a:gd name="connsiteX56434" fmla="*/ 3752346 w 6884782"/>
              <a:gd name="connsiteY56434" fmla="*/ 1373891 h 5973007"/>
              <a:gd name="connsiteX56435" fmla="*/ 3751492 w 6884782"/>
              <a:gd name="connsiteY56435" fmla="*/ 1378443 h 5973007"/>
              <a:gd name="connsiteX56436" fmla="*/ 3749358 w 6884782"/>
              <a:gd name="connsiteY56436" fmla="*/ 1377305 h 5973007"/>
              <a:gd name="connsiteX56437" fmla="*/ 3748931 w 6884782"/>
              <a:gd name="connsiteY56437" fmla="*/ 1378301 h 5973007"/>
              <a:gd name="connsiteX56438" fmla="*/ 3747437 w 6884782"/>
              <a:gd name="connsiteY56438" fmla="*/ 1376167 h 5973007"/>
              <a:gd name="connsiteX56439" fmla="*/ 3747864 w 6884782"/>
              <a:gd name="connsiteY56439" fmla="*/ 1375171 h 5973007"/>
              <a:gd name="connsiteX56440" fmla="*/ 3747651 w 6884782"/>
              <a:gd name="connsiteY56440" fmla="*/ 1374744 h 5973007"/>
              <a:gd name="connsiteX56441" fmla="*/ 3749785 w 6884782"/>
              <a:gd name="connsiteY56441" fmla="*/ 1373748 h 5973007"/>
              <a:gd name="connsiteX56442" fmla="*/ 3751492 w 6884782"/>
              <a:gd name="connsiteY56442" fmla="*/ 1373037 h 5973007"/>
              <a:gd name="connsiteX56443" fmla="*/ 1445897 w 6884782"/>
              <a:gd name="connsiteY56443" fmla="*/ 1373023 h 5973007"/>
              <a:gd name="connsiteX56444" fmla="*/ 1452299 w 6884782"/>
              <a:gd name="connsiteY56444" fmla="*/ 1376276 h 5973007"/>
              <a:gd name="connsiteX56445" fmla="*/ 1444245 w 6884782"/>
              <a:gd name="connsiteY56445" fmla="*/ 1375037 h 5973007"/>
              <a:gd name="connsiteX56446" fmla="*/ 1445897 w 6884782"/>
              <a:gd name="connsiteY56446" fmla="*/ 1373023 h 5973007"/>
              <a:gd name="connsiteX56447" fmla="*/ 3558134 w 6884782"/>
              <a:gd name="connsiteY56447" fmla="*/ 1372895 h 5973007"/>
              <a:gd name="connsiteX56448" fmla="*/ 3589080 w 6884782"/>
              <a:gd name="connsiteY56448" fmla="*/ 1396938 h 5973007"/>
              <a:gd name="connsiteX56449" fmla="*/ 3554079 w 6884782"/>
              <a:gd name="connsiteY56449" fmla="*/ 1383423 h 5973007"/>
              <a:gd name="connsiteX56450" fmla="*/ 3558134 w 6884782"/>
              <a:gd name="connsiteY56450" fmla="*/ 1372895 h 5973007"/>
              <a:gd name="connsiteX56451" fmla="*/ 1322803 w 6884782"/>
              <a:gd name="connsiteY56451" fmla="*/ 1372752 h 5973007"/>
              <a:gd name="connsiteX56452" fmla="*/ 1328804 w 6884782"/>
              <a:gd name="connsiteY56452" fmla="*/ 1375037 h 5973007"/>
              <a:gd name="connsiteX56453" fmla="*/ 1330457 w 6884782"/>
              <a:gd name="connsiteY56453" fmla="*/ 1376895 h 5973007"/>
              <a:gd name="connsiteX56454" fmla="*/ 1332212 w 6884782"/>
              <a:gd name="connsiteY56454" fmla="*/ 1377825 h 5973007"/>
              <a:gd name="connsiteX56455" fmla="*/ 1334794 w 6884782"/>
              <a:gd name="connsiteY56455" fmla="*/ 1383247 h 5973007"/>
              <a:gd name="connsiteX56456" fmla="*/ 1331902 w 6884782"/>
              <a:gd name="connsiteY56456" fmla="*/ 1382162 h 5973007"/>
              <a:gd name="connsiteX56457" fmla="*/ 1331902 w 6884782"/>
              <a:gd name="connsiteY56457" fmla="*/ 1383092 h 5973007"/>
              <a:gd name="connsiteX56458" fmla="*/ 1327772 w 6884782"/>
              <a:gd name="connsiteY56458" fmla="*/ 1383401 h 5973007"/>
              <a:gd name="connsiteX56459" fmla="*/ 1326739 w 6884782"/>
              <a:gd name="connsiteY56459" fmla="*/ 1380458 h 5973007"/>
              <a:gd name="connsiteX56460" fmla="*/ 1324571 w 6884782"/>
              <a:gd name="connsiteY56460" fmla="*/ 1379684 h 5973007"/>
              <a:gd name="connsiteX56461" fmla="*/ 1318169 w 6884782"/>
              <a:gd name="connsiteY56461" fmla="*/ 1376431 h 5973007"/>
              <a:gd name="connsiteX56462" fmla="*/ 1316827 w 6884782"/>
              <a:gd name="connsiteY56462" fmla="*/ 1375037 h 5973007"/>
              <a:gd name="connsiteX56463" fmla="*/ 1317343 w 6884782"/>
              <a:gd name="connsiteY56463" fmla="*/ 1373023 h 5973007"/>
              <a:gd name="connsiteX56464" fmla="*/ 1322803 w 6884782"/>
              <a:gd name="connsiteY56464" fmla="*/ 1372752 h 5973007"/>
              <a:gd name="connsiteX56465" fmla="*/ 3989029 w 6884782"/>
              <a:gd name="connsiteY56465" fmla="*/ 1372610 h 5973007"/>
              <a:gd name="connsiteX56466" fmla="*/ 3994364 w 6884782"/>
              <a:gd name="connsiteY56466" fmla="*/ 1375740 h 5973007"/>
              <a:gd name="connsiteX56467" fmla="*/ 4000553 w 6884782"/>
              <a:gd name="connsiteY56467" fmla="*/ 1387549 h 5973007"/>
              <a:gd name="connsiteX56468" fmla="*/ 3990096 w 6884782"/>
              <a:gd name="connsiteY56468" fmla="*/ 1389398 h 5973007"/>
              <a:gd name="connsiteX56469" fmla="*/ 3989029 w 6884782"/>
              <a:gd name="connsiteY56469" fmla="*/ 1388118 h 5973007"/>
              <a:gd name="connsiteX56470" fmla="*/ 3984120 w 6884782"/>
              <a:gd name="connsiteY56470" fmla="*/ 1374033 h 5973007"/>
              <a:gd name="connsiteX56471" fmla="*/ 3989029 w 6884782"/>
              <a:gd name="connsiteY56471" fmla="*/ 1372610 h 5973007"/>
              <a:gd name="connsiteX56472" fmla="*/ 4197753 w 6884782"/>
              <a:gd name="connsiteY56472" fmla="*/ 1372326 h 5973007"/>
              <a:gd name="connsiteX56473" fmla="*/ 4199887 w 6884782"/>
              <a:gd name="connsiteY56473" fmla="*/ 1373748 h 5973007"/>
              <a:gd name="connsiteX56474" fmla="*/ 4200528 w 6884782"/>
              <a:gd name="connsiteY56474" fmla="*/ 1380862 h 5973007"/>
              <a:gd name="connsiteX56475" fmla="*/ 4193058 w 6884782"/>
              <a:gd name="connsiteY56475" fmla="*/ 1381431 h 5973007"/>
              <a:gd name="connsiteX56476" fmla="*/ 4194125 w 6884782"/>
              <a:gd name="connsiteY56476" fmla="*/ 1372895 h 5973007"/>
              <a:gd name="connsiteX56477" fmla="*/ 4197753 w 6884782"/>
              <a:gd name="connsiteY56477" fmla="*/ 1372326 h 5973007"/>
              <a:gd name="connsiteX56478" fmla="*/ 4705265 w 6884782"/>
              <a:gd name="connsiteY56478" fmla="*/ 1371756 h 5973007"/>
              <a:gd name="connsiteX56479" fmla="*/ 4724046 w 6884782"/>
              <a:gd name="connsiteY56479" fmla="*/ 1386410 h 5973007"/>
              <a:gd name="connsiteX56480" fmla="*/ 4724046 w 6884782"/>
              <a:gd name="connsiteY56480" fmla="*/ 1399215 h 5973007"/>
              <a:gd name="connsiteX56481" fmla="*/ 4698222 w 6884782"/>
              <a:gd name="connsiteY56481" fmla="*/ 1434924 h 5973007"/>
              <a:gd name="connsiteX56482" fmla="*/ 4697155 w 6884782"/>
              <a:gd name="connsiteY56482" fmla="*/ 1432078 h 5973007"/>
              <a:gd name="connsiteX56483" fmla="*/ 4695875 w 6884782"/>
              <a:gd name="connsiteY56483" fmla="*/ 1432790 h 5973007"/>
              <a:gd name="connsiteX56484" fmla="*/ 4688192 w 6884782"/>
              <a:gd name="connsiteY56484" fmla="*/ 1424965 h 5973007"/>
              <a:gd name="connsiteX56485" fmla="*/ 4689472 w 6884782"/>
              <a:gd name="connsiteY56485" fmla="*/ 1420128 h 5973007"/>
              <a:gd name="connsiteX56486" fmla="*/ 4683283 w 6884782"/>
              <a:gd name="connsiteY56486" fmla="*/ 1415433 h 5973007"/>
              <a:gd name="connsiteX56487" fmla="*/ 4677734 w 6884782"/>
              <a:gd name="connsiteY56487" fmla="*/ 1410027 h 5973007"/>
              <a:gd name="connsiteX56488" fmla="*/ 4674533 w 6884782"/>
              <a:gd name="connsiteY56488" fmla="*/ 1399926 h 5973007"/>
              <a:gd name="connsiteX56489" fmla="*/ 4705265 w 6884782"/>
              <a:gd name="connsiteY56489" fmla="*/ 1371756 h 5973007"/>
              <a:gd name="connsiteX56490" fmla="*/ 3763657 w 6884782"/>
              <a:gd name="connsiteY56490" fmla="*/ 1370761 h 5973007"/>
              <a:gd name="connsiteX56491" fmla="*/ 3752560 w 6884782"/>
              <a:gd name="connsiteY56491" fmla="*/ 1379012 h 5973007"/>
              <a:gd name="connsiteX56492" fmla="*/ 3763657 w 6884782"/>
              <a:gd name="connsiteY56492" fmla="*/ 1370761 h 5973007"/>
              <a:gd name="connsiteX56493" fmla="*/ 3612770 w 6884782"/>
              <a:gd name="connsiteY56493" fmla="*/ 1370618 h 5973007"/>
              <a:gd name="connsiteX56494" fmla="*/ 3628989 w 6884782"/>
              <a:gd name="connsiteY56494" fmla="*/ 1384561 h 5973007"/>
              <a:gd name="connsiteX56495" fmla="*/ 3626855 w 6884782"/>
              <a:gd name="connsiteY56495" fmla="*/ 1387406 h 5973007"/>
              <a:gd name="connsiteX56496" fmla="*/ 3626641 w 6884782"/>
              <a:gd name="connsiteY56496" fmla="*/ 1387549 h 5973007"/>
              <a:gd name="connsiteX56497" fmla="*/ 3624081 w 6884782"/>
              <a:gd name="connsiteY56497" fmla="*/ 1390821 h 5973007"/>
              <a:gd name="connsiteX56498" fmla="*/ 3624721 w 6884782"/>
              <a:gd name="connsiteY56498" fmla="*/ 1391390 h 5973007"/>
              <a:gd name="connsiteX56499" fmla="*/ 3620026 w 6884782"/>
              <a:gd name="connsiteY56499" fmla="*/ 1396796 h 5973007"/>
              <a:gd name="connsiteX56500" fmla="*/ 3614050 w 6884782"/>
              <a:gd name="connsiteY56500" fmla="*/ 1396938 h 5973007"/>
              <a:gd name="connsiteX56501" fmla="*/ 3614477 w 6884782"/>
              <a:gd name="connsiteY56501" fmla="*/ 1393239 h 5973007"/>
              <a:gd name="connsiteX56502" fmla="*/ 3613837 w 6884782"/>
              <a:gd name="connsiteY56502" fmla="*/ 1392955 h 5973007"/>
              <a:gd name="connsiteX56503" fmla="*/ 3612770 w 6884782"/>
              <a:gd name="connsiteY56503" fmla="*/ 1370618 h 5973007"/>
              <a:gd name="connsiteX56504" fmla="*/ 5715168 w 6884782"/>
              <a:gd name="connsiteY56504" fmla="*/ 1370191 h 5973007"/>
              <a:gd name="connsiteX56505" fmla="*/ 5717729 w 6884782"/>
              <a:gd name="connsiteY56505" fmla="*/ 1371899 h 5973007"/>
              <a:gd name="connsiteX56506" fmla="*/ 5716661 w 6884782"/>
              <a:gd name="connsiteY56506" fmla="*/ 1378443 h 5973007"/>
              <a:gd name="connsiteX56507" fmla="*/ 5713887 w 6884782"/>
              <a:gd name="connsiteY56507" fmla="*/ 1379724 h 5973007"/>
              <a:gd name="connsiteX56508" fmla="*/ 5713033 w 6884782"/>
              <a:gd name="connsiteY56508" fmla="*/ 1379155 h 5973007"/>
              <a:gd name="connsiteX56509" fmla="*/ 5709192 w 6884782"/>
              <a:gd name="connsiteY56509" fmla="*/ 1376736 h 5973007"/>
              <a:gd name="connsiteX56510" fmla="*/ 5710686 w 6884782"/>
              <a:gd name="connsiteY56510" fmla="*/ 1370476 h 5973007"/>
              <a:gd name="connsiteX56511" fmla="*/ 5715168 w 6884782"/>
              <a:gd name="connsiteY56511" fmla="*/ 1370191 h 5973007"/>
              <a:gd name="connsiteX56512" fmla="*/ 1115684 w 6884782"/>
              <a:gd name="connsiteY56512" fmla="*/ 1370080 h 5973007"/>
              <a:gd name="connsiteX56513" fmla="*/ 1113929 w 6884782"/>
              <a:gd name="connsiteY56513" fmla="*/ 1372714 h 5973007"/>
              <a:gd name="connsiteX56514" fmla="*/ 1111244 w 6884782"/>
              <a:gd name="connsiteY56514" fmla="*/ 1371939 h 5973007"/>
              <a:gd name="connsiteX56515" fmla="*/ 1113309 w 6884782"/>
              <a:gd name="connsiteY56515" fmla="*/ 1370545 h 5973007"/>
              <a:gd name="connsiteX56516" fmla="*/ 1115684 w 6884782"/>
              <a:gd name="connsiteY56516" fmla="*/ 1370080 h 5973007"/>
              <a:gd name="connsiteX56517" fmla="*/ 4020401 w 6884782"/>
              <a:gd name="connsiteY56517" fmla="*/ 1370049 h 5973007"/>
              <a:gd name="connsiteX56518" fmla="*/ 4026163 w 6884782"/>
              <a:gd name="connsiteY56518" fmla="*/ 1373748 h 5973007"/>
              <a:gd name="connsiteX56519" fmla="*/ 4022962 w 6884782"/>
              <a:gd name="connsiteY56519" fmla="*/ 1377163 h 5973007"/>
              <a:gd name="connsiteX56520" fmla="*/ 4020401 w 6884782"/>
              <a:gd name="connsiteY56520" fmla="*/ 1370049 h 5973007"/>
              <a:gd name="connsiteX56521" fmla="*/ 4328366 w 6884782"/>
              <a:gd name="connsiteY56521" fmla="*/ 1369623 h 5973007"/>
              <a:gd name="connsiteX56522" fmla="*/ 4328792 w 6884782"/>
              <a:gd name="connsiteY56522" fmla="*/ 1370618 h 5973007"/>
              <a:gd name="connsiteX56523" fmla="*/ 4329220 w 6884782"/>
              <a:gd name="connsiteY56523" fmla="*/ 1370761 h 5973007"/>
              <a:gd name="connsiteX56524" fmla="*/ 4328792 w 6884782"/>
              <a:gd name="connsiteY56524" fmla="*/ 1373179 h 5973007"/>
              <a:gd name="connsiteX56525" fmla="*/ 4327512 w 6884782"/>
              <a:gd name="connsiteY56525" fmla="*/ 1375313 h 5973007"/>
              <a:gd name="connsiteX56526" fmla="*/ 4324524 w 6884782"/>
              <a:gd name="connsiteY56526" fmla="*/ 1372041 h 5973007"/>
              <a:gd name="connsiteX56527" fmla="*/ 4326445 w 6884782"/>
              <a:gd name="connsiteY56527" fmla="*/ 1370761 h 5973007"/>
              <a:gd name="connsiteX56528" fmla="*/ 4326018 w 6884782"/>
              <a:gd name="connsiteY56528" fmla="*/ 1369765 h 5973007"/>
              <a:gd name="connsiteX56529" fmla="*/ 4328366 w 6884782"/>
              <a:gd name="connsiteY56529" fmla="*/ 1369623 h 5973007"/>
              <a:gd name="connsiteX56530" fmla="*/ 3600604 w 6884782"/>
              <a:gd name="connsiteY56530" fmla="*/ 1369623 h 5973007"/>
              <a:gd name="connsiteX56531" fmla="*/ 3604019 w 6884782"/>
              <a:gd name="connsiteY56531" fmla="*/ 1372468 h 5973007"/>
              <a:gd name="connsiteX56532" fmla="*/ 3602739 w 6884782"/>
              <a:gd name="connsiteY56532" fmla="*/ 1373464 h 5973007"/>
              <a:gd name="connsiteX56533" fmla="*/ 3604019 w 6884782"/>
              <a:gd name="connsiteY56533" fmla="*/ 1373606 h 5973007"/>
              <a:gd name="connsiteX56534" fmla="*/ 3602311 w 6884782"/>
              <a:gd name="connsiteY56534" fmla="*/ 1373891 h 5973007"/>
              <a:gd name="connsiteX56535" fmla="*/ 3601671 w 6884782"/>
              <a:gd name="connsiteY56535" fmla="*/ 1373322 h 5973007"/>
              <a:gd name="connsiteX56536" fmla="*/ 3600604 w 6884782"/>
              <a:gd name="connsiteY56536" fmla="*/ 1369623 h 5973007"/>
              <a:gd name="connsiteX56537" fmla="*/ 3931191 w 6884782"/>
              <a:gd name="connsiteY56537" fmla="*/ 1369053 h 5973007"/>
              <a:gd name="connsiteX56538" fmla="*/ 3925856 w 6884782"/>
              <a:gd name="connsiteY56538" fmla="*/ 1380435 h 5973007"/>
              <a:gd name="connsiteX56539" fmla="*/ 3927991 w 6884782"/>
              <a:gd name="connsiteY56539" fmla="*/ 1382000 h 5973007"/>
              <a:gd name="connsiteX56540" fmla="*/ 3930338 w 6884782"/>
              <a:gd name="connsiteY56540" fmla="*/ 1389113 h 5973007"/>
              <a:gd name="connsiteX56541" fmla="*/ 3929271 w 6884782"/>
              <a:gd name="connsiteY56541" fmla="*/ 1396654 h 5973007"/>
              <a:gd name="connsiteX56542" fmla="*/ 3922868 w 6884782"/>
              <a:gd name="connsiteY56542" fmla="*/ 1392101 h 5973007"/>
              <a:gd name="connsiteX56543" fmla="*/ 3923082 w 6884782"/>
              <a:gd name="connsiteY56543" fmla="*/ 1386553 h 5973007"/>
              <a:gd name="connsiteX56544" fmla="*/ 3920308 w 6884782"/>
              <a:gd name="connsiteY56544" fmla="*/ 1392243 h 5973007"/>
              <a:gd name="connsiteX56545" fmla="*/ 3902166 w 6884782"/>
              <a:gd name="connsiteY56545" fmla="*/ 1392955 h 5973007"/>
              <a:gd name="connsiteX56546" fmla="*/ 3931191 w 6884782"/>
              <a:gd name="connsiteY56546" fmla="*/ 1369053 h 5973007"/>
              <a:gd name="connsiteX56547" fmla="*/ 1716325 w 6884782"/>
              <a:gd name="connsiteY56547" fmla="*/ 1368996 h 5973007"/>
              <a:gd name="connsiteX56548" fmla="*/ 1717667 w 6884782"/>
              <a:gd name="connsiteY56548" fmla="*/ 1374107 h 5973007"/>
              <a:gd name="connsiteX56549" fmla="*/ 1713537 w 6884782"/>
              <a:gd name="connsiteY56549" fmla="*/ 1371010 h 5973007"/>
              <a:gd name="connsiteX56550" fmla="*/ 1716325 w 6884782"/>
              <a:gd name="connsiteY56550" fmla="*/ 1368996 h 5973007"/>
              <a:gd name="connsiteX56551" fmla="*/ 1560925 w 6884782"/>
              <a:gd name="connsiteY56551" fmla="*/ 1368531 h 5973007"/>
              <a:gd name="connsiteX56552" fmla="*/ 1565571 w 6884782"/>
              <a:gd name="connsiteY56552" fmla="*/ 1370390 h 5973007"/>
              <a:gd name="connsiteX56553" fmla="*/ 1564848 w 6884782"/>
              <a:gd name="connsiteY56553" fmla="*/ 1372869 h 5973007"/>
              <a:gd name="connsiteX56554" fmla="*/ 1559685 w 6884782"/>
              <a:gd name="connsiteY56554" fmla="*/ 1370390 h 5973007"/>
              <a:gd name="connsiteX56555" fmla="*/ 1560925 w 6884782"/>
              <a:gd name="connsiteY56555" fmla="*/ 1368531 h 5973007"/>
              <a:gd name="connsiteX56556" fmla="*/ 5841939 w 6884782"/>
              <a:gd name="connsiteY56556" fmla="*/ 1368342 h 5973007"/>
              <a:gd name="connsiteX56557" fmla="*/ 5844500 w 6884782"/>
              <a:gd name="connsiteY56557" fmla="*/ 1368484 h 5973007"/>
              <a:gd name="connsiteX56558" fmla="*/ 5844286 w 6884782"/>
              <a:gd name="connsiteY56558" fmla="*/ 1372041 h 5973007"/>
              <a:gd name="connsiteX56559" fmla="*/ 5833615 w 6884782"/>
              <a:gd name="connsiteY56559" fmla="*/ 1376594 h 5973007"/>
              <a:gd name="connsiteX56560" fmla="*/ 5841939 w 6884782"/>
              <a:gd name="connsiteY56560" fmla="*/ 1368342 h 5973007"/>
              <a:gd name="connsiteX56561" fmla="*/ 1116097 w 6884782"/>
              <a:gd name="connsiteY56561" fmla="*/ 1368066 h 5973007"/>
              <a:gd name="connsiteX56562" fmla="*/ 1117026 w 6884782"/>
              <a:gd name="connsiteY56562" fmla="*/ 1368066 h 5973007"/>
              <a:gd name="connsiteX56563" fmla="*/ 1116097 w 6884782"/>
              <a:gd name="connsiteY56563" fmla="*/ 1369615 h 5973007"/>
              <a:gd name="connsiteX56564" fmla="*/ 1115374 w 6884782"/>
              <a:gd name="connsiteY56564" fmla="*/ 1369151 h 5973007"/>
              <a:gd name="connsiteX56565" fmla="*/ 1116097 w 6884782"/>
              <a:gd name="connsiteY56565" fmla="*/ 1368066 h 5973007"/>
              <a:gd name="connsiteX56566" fmla="*/ 5087714 w 6884782"/>
              <a:gd name="connsiteY56566" fmla="*/ 1368058 h 5973007"/>
              <a:gd name="connsiteX56567" fmla="*/ 5096677 w 6884782"/>
              <a:gd name="connsiteY56567" fmla="*/ 1368627 h 5973007"/>
              <a:gd name="connsiteX56568" fmla="*/ 5097744 w 6884782"/>
              <a:gd name="connsiteY56568" fmla="*/ 1381431 h 5973007"/>
              <a:gd name="connsiteX56569" fmla="*/ 5084512 w 6884782"/>
              <a:gd name="connsiteY56569" fmla="*/ 1378585 h 5973007"/>
              <a:gd name="connsiteX56570" fmla="*/ 5087714 w 6884782"/>
              <a:gd name="connsiteY56570" fmla="*/ 1368058 h 5973007"/>
              <a:gd name="connsiteX56571" fmla="*/ 3776462 w 6884782"/>
              <a:gd name="connsiteY56571" fmla="*/ 1367062 h 5973007"/>
              <a:gd name="connsiteX56572" fmla="*/ 3782225 w 6884782"/>
              <a:gd name="connsiteY56572" fmla="*/ 1367631 h 5973007"/>
              <a:gd name="connsiteX56573" fmla="*/ 3788201 w 6884782"/>
              <a:gd name="connsiteY56573" fmla="*/ 1376452 h 5973007"/>
              <a:gd name="connsiteX56574" fmla="*/ 3778170 w 6884782"/>
              <a:gd name="connsiteY56574" fmla="*/ 1382996 h 5973007"/>
              <a:gd name="connsiteX56575" fmla="*/ 3776462 w 6884782"/>
              <a:gd name="connsiteY56575" fmla="*/ 1367062 h 5973007"/>
              <a:gd name="connsiteX56576" fmla="*/ 1171855 w 6884782"/>
              <a:gd name="connsiteY56576" fmla="*/ 1366518 h 5973007"/>
              <a:gd name="connsiteX56577" fmla="*/ 1174850 w 6884782"/>
              <a:gd name="connsiteY56577" fmla="*/ 1369306 h 5973007"/>
              <a:gd name="connsiteX56578" fmla="*/ 1164214 w 6884782"/>
              <a:gd name="connsiteY56578" fmla="*/ 1382162 h 5973007"/>
              <a:gd name="connsiteX56579" fmla="*/ 1161116 w 6884782"/>
              <a:gd name="connsiteY56579" fmla="*/ 1378909 h 5973007"/>
              <a:gd name="connsiteX56580" fmla="*/ 1161633 w 6884782"/>
              <a:gd name="connsiteY56580" fmla="*/ 1375037 h 5973007"/>
              <a:gd name="connsiteX56581" fmla="*/ 1163388 w 6884782"/>
              <a:gd name="connsiteY56581" fmla="*/ 1371939 h 5973007"/>
              <a:gd name="connsiteX56582" fmla="*/ 1166692 w 6884782"/>
              <a:gd name="connsiteY56582" fmla="*/ 1369926 h 5973007"/>
              <a:gd name="connsiteX56583" fmla="*/ 1171855 w 6884782"/>
              <a:gd name="connsiteY56583" fmla="*/ 1366518 h 5973007"/>
              <a:gd name="connsiteX56584" fmla="*/ 4139703 w 6884782"/>
              <a:gd name="connsiteY56584" fmla="*/ 1366493 h 5973007"/>
              <a:gd name="connsiteX56585" fmla="*/ 4145892 w 6884782"/>
              <a:gd name="connsiteY56585" fmla="*/ 1382854 h 5973007"/>
              <a:gd name="connsiteX56586" fmla="*/ 4137568 w 6884782"/>
              <a:gd name="connsiteY56586" fmla="*/ 1383707 h 5973007"/>
              <a:gd name="connsiteX56587" fmla="*/ 4139703 w 6884782"/>
              <a:gd name="connsiteY56587" fmla="*/ 1366493 h 5973007"/>
              <a:gd name="connsiteX56588" fmla="*/ 4793194 w 6884782"/>
              <a:gd name="connsiteY56588" fmla="*/ 1365924 h 5973007"/>
              <a:gd name="connsiteX56589" fmla="*/ 4796182 w 6884782"/>
              <a:gd name="connsiteY56589" fmla="*/ 1367204 h 5973007"/>
              <a:gd name="connsiteX56590" fmla="*/ 4785724 w 6884782"/>
              <a:gd name="connsiteY56590" fmla="*/ 1374744 h 5973007"/>
              <a:gd name="connsiteX56591" fmla="*/ 4793194 w 6884782"/>
              <a:gd name="connsiteY56591" fmla="*/ 1365924 h 5973007"/>
              <a:gd name="connsiteX56592" fmla="*/ 1119298 w 6884782"/>
              <a:gd name="connsiteY56592" fmla="*/ 1364659 h 5973007"/>
              <a:gd name="connsiteX56593" fmla="*/ 1119504 w 6884782"/>
              <a:gd name="connsiteY56593" fmla="*/ 1365743 h 5973007"/>
              <a:gd name="connsiteX56594" fmla="*/ 1117646 w 6884782"/>
              <a:gd name="connsiteY56594" fmla="*/ 1365588 h 5973007"/>
              <a:gd name="connsiteX56595" fmla="*/ 1119298 w 6884782"/>
              <a:gd name="connsiteY56595" fmla="*/ 1364659 h 5973007"/>
              <a:gd name="connsiteX56596" fmla="*/ 921149 w 6884782"/>
              <a:gd name="connsiteY56596" fmla="*/ 1364504 h 5973007"/>
              <a:gd name="connsiteX56597" fmla="*/ 927448 w 6884782"/>
              <a:gd name="connsiteY56597" fmla="*/ 1365743 h 5973007"/>
              <a:gd name="connsiteX56598" fmla="*/ 922285 w 6884782"/>
              <a:gd name="connsiteY56598" fmla="*/ 1370545 h 5973007"/>
              <a:gd name="connsiteX56599" fmla="*/ 920426 w 6884782"/>
              <a:gd name="connsiteY56599" fmla="*/ 1366208 h 5973007"/>
              <a:gd name="connsiteX56600" fmla="*/ 921149 w 6884782"/>
              <a:gd name="connsiteY56600" fmla="*/ 1364504 h 5973007"/>
              <a:gd name="connsiteX56601" fmla="*/ 4890086 w 6884782"/>
              <a:gd name="connsiteY56601" fmla="*/ 1364359 h 5973007"/>
              <a:gd name="connsiteX56602" fmla="*/ 4887953 w 6884782"/>
              <a:gd name="connsiteY56602" fmla="*/ 1375313 h 5973007"/>
              <a:gd name="connsiteX56603" fmla="*/ 4890086 w 6884782"/>
              <a:gd name="connsiteY56603" fmla="*/ 1364359 h 5973007"/>
              <a:gd name="connsiteX56604" fmla="*/ 4469863 w 6884782"/>
              <a:gd name="connsiteY56604" fmla="*/ 1364359 h 5973007"/>
              <a:gd name="connsiteX56605" fmla="*/ 4485443 w 6884782"/>
              <a:gd name="connsiteY56605" fmla="*/ 1370476 h 5973007"/>
              <a:gd name="connsiteX56606" fmla="*/ 4455564 w 6884782"/>
              <a:gd name="connsiteY56606" fmla="*/ 1370191 h 5973007"/>
              <a:gd name="connsiteX56607" fmla="*/ 4469863 w 6884782"/>
              <a:gd name="connsiteY56607" fmla="*/ 1364359 h 5973007"/>
              <a:gd name="connsiteX56608" fmla="*/ 4180679 w 6884782"/>
              <a:gd name="connsiteY56608" fmla="*/ 1363932 h 5973007"/>
              <a:gd name="connsiteX56609" fmla="*/ 4182387 w 6884782"/>
              <a:gd name="connsiteY56609" fmla="*/ 1365070 h 5973007"/>
              <a:gd name="connsiteX56610" fmla="*/ 4183240 w 6884782"/>
              <a:gd name="connsiteY56610" fmla="*/ 1364074 h 5973007"/>
              <a:gd name="connsiteX56611" fmla="*/ 4184307 w 6884782"/>
              <a:gd name="connsiteY56611" fmla="*/ 1366208 h 5973007"/>
              <a:gd name="connsiteX56612" fmla="*/ 4183667 w 6884782"/>
              <a:gd name="connsiteY56612" fmla="*/ 1367204 h 5973007"/>
              <a:gd name="connsiteX56613" fmla="*/ 4183667 w 6884782"/>
              <a:gd name="connsiteY56613" fmla="*/ 1367631 h 5973007"/>
              <a:gd name="connsiteX56614" fmla="*/ 4183454 w 6884782"/>
              <a:gd name="connsiteY56614" fmla="*/ 1367773 h 5973007"/>
              <a:gd name="connsiteX56615" fmla="*/ 4183667 w 6884782"/>
              <a:gd name="connsiteY56615" fmla="*/ 1378017 h 5973007"/>
              <a:gd name="connsiteX56616" fmla="*/ 4181960 w 6884782"/>
              <a:gd name="connsiteY56616" fmla="*/ 1390251 h 5973007"/>
              <a:gd name="connsiteX56617" fmla="*/ 4177691 w 6884782"/>
              <a:gd name="connsiteY56617" fmla="*/ 1369338 h 5973007"/>
              <a:gd name="connsiteX56618" fmla="*/ 4178972 w 6884782"/>
              <a:gd name="connsiteY56618" fmla="*/ 1368342 h 5973007"/>
              <a:gd name="connsiteX56619" fmla="*/ 4179186 w 6884782"/>
              <a:gd name="connsiteY56619" fmla="*/ 1366777 h 5973007"/>
              <a:gd name="connsiteX56620" fmla="*/ 4180679 w 6884782"/>
              <a:gd name="connsiteY56620" fmla="*/ 1363932 h 5973007"/>
              <a:gd name="connsiteX56621" fmla="*/ 1682147 w 6884782"/>
              <a:gd name="connsiteY56621" fmla="*/ 1362955 h 5973007"/>
              <a:gd name="connsiteX56622" fmla="*/ 1689892 w 6884782"/>
              <a:gd name="connsiteY56622" fmla="*/ 1363110 h 5973007"/>
              <a:gd name="connsiteX56623" fmla="*/ 1681011 w 6884782"/>
              <a:gd name="connsiteY56623" fmla="*/ 1364969 h 5973007"/>
              <a:gd name="connsiteX56624" fmla="*/ 1682147 w 6884782"/>
              <a:gd name="connsiteY56624" fmla="*/ 1362955 h 5973007"/>
              <a:gd name="connsiteX56625" fmla="*/ 3994577 w 6884782"/>
              <a:gd name="connsiteY56625" fmla="*/ 1362652 h 5973007"/>
              <a:gd name="connsiteX56626" fmla="*/ 4010797 w 6884782"/>
              <a:gd name="connsiteY56626" fmla="*/ 1392101 h 5973007"/>
              <a:gd name="connsiteX56627" fmla="*/ 3992443 w 6884782"/>
              <a:gd name="connsiteY56627" fmla="*/ 1369765 h 5973007"/>
              <a:gd name="connsiteX56628" fmla="*/ 3992657 w 6884782"/>
              <a:gd name="connsiteY56628" fmla="*/ 1368769 h 5973007"/>
              <a:gd name="connsiteX56629" fmla="*/ 3992016 w 6884782"/>
              <a:gd name="connsiteY56629" fmla="*/ 1367773 h 5973007"/>
              <a:gd name="connsiteX56630" fmla="*/ 3992657 w 6884782"/>
              <a:gd name="connsiteY56630" fmla="*/ 1364928 h 5973007"/>
              <a:gd name="connsiteX56631" fmla="*/ 3993297 w 6884782"/>
              <a:gd name="connsiteY56631" fmla="*/ 1365497 h 5973007"/>
              <a:gd name="connsiteX56632" fmla="*/ 1320467 w 6884782"/>
              <a:gd name="connsiteY56632" fmla="*/ 1360961 h 5973007"/>
              <a:gd name="connsiteX56633" fmla="*/ 1331799 w 6884782"/>
              <a:gd name="connsiteY56633" fmla="*/ 1362645 h 5973007"/>
              <a:gd name="connsiteX56634" fmla="*/ 1308050 w 6884782"/>
              <a:gd name="connsiteY56634" fmla="*/ 1367757 h 5973007"/>
              <a:gd name="connsiteX56635" fmla="*/ 1320467 w 6884782"/>
              <a:gd name="connsiteY56635" fmla="*/ 1360961 h 5973007"/>
              <a:gd name="connsiteX56636" fmla="*/ 3540420 w 6884782"/>
              <a:gd name="connsiteY56636" fmla="*/ 1360944 h 5973007"/>
              <a:gd name="connsiteX56637" fmla="*/ 3553652 w 6884782"/>
              <a:gd name="connsiteY56637" fmla="*/ 1365781 h 5973007"/>
              <a:gd name="connsiteX56638" fmla="*/ 3551732 w 6884782"/>
              <a:gd name="connsiteY56638" fmla="*/ 1378728 h 5973007"/>
              <a:gd name="connsiteX56639" fmla="*/ 3522279 w 6884782"/>
              <a:gd name="connsiteY56639" fmla="*/ 1361087 h 5973007"/>
              <a:gd name="connsiteX56640" fmla="*/ 3540420 w 6884782"/>
              <a:gd name="connsiteY56640" fmla="*/ 1360944 h 5973007"/>
              <a:gd name="connsiteX56641" fmla="*/ 4335835 w 6884782"/>
              <a:gd name="connsiteY56641" fmla="*/ 1360517 h 5973007"/>
              <a:gd name="connsiteX56642" fmla="*/ 4384709 w 6884782"/>
              <a:gd name="connsiteY56642" fmla="*/ 1386837 h 5973007"/>
              <a:gd name="connsiteX56643" fmla="*/ 4377666 w 6884782"/>
              <a:gd name="connsiteY56643" fmla="*/ 1397223 h 5973007"/>
              <a:gd name="connsiteX56644" fmla="*/ 4373824 w 6884782"/>
              <a:gd name="connsiteY56644" fmla="*/ 1394377 h 5973007"/>
              <a:gd name="connsiteX56645" fmla="*/ 4373397 w 6884782"/>
              <a:gd name="connsiteY56645" fmla="*/ 1395373 h 5973007"/>
              <a:gd name="connsiteX56646" fmla="*/ 4361873 w 6884782"/>
              <a:gd name="connsiteY56646" fmla="*/ 1389967 h 5973007"/>
              <a:gd name="connsiteX56647" fmla="*/ 4362086 w 6884782"/>
              <a:gd name="connsiteY56647" fmla="*/ 1385699 h 5973007"/>
              <a:gd name="connsiteX56648" fmla="*/ 4351842 w 6884782"/>
              <a:gd name="connsiteY56648" fmla="*/ 1378159 h 5973007"/>
              <a:gd name="connsiteX56649" fmla="*/ 4328792 w 6884782"/>
              <a:gd name="connsiteY56649" fmla="*/ 1360660 h 5973007"/>
              <a:gd name="connsiteX56650" fmla="*/ 4335835 w 6884782"/>
              <a:gd name="connsiteY56650" fmla="*/ 1360517 h 5973007"/>
              <a:gd name="connsiteX56651" fmla="*/ 3596123 w 6884782"/>
              <a:gd name="connsiteY56651" fmla="*/ 1360375 h 5973007"/>
              <a:gd name="connsiteX56652" fmla="*/ 3600391 w 6884782"/>
              <a:gd name="connsiteY56652" fmla="*/ 1369623 h 5973007"/>
              <a:gd name="connsiteX56653" fmla="*/ 3595909 w 6884782"/>
              <a:gd name="connsiteY56653" fmla="*/ 1365354 h 5973007"/>
              <a:gd name="connsiteX56654" fmla="*/ 3596123 w 6884782"/>
              <a:gd name="connsiteY56654" fmla="*/ 1360375 h 5973007"/>
              <a:gd name="connsiteX56655" fmla="*/ 1029155 w 6884782"/>
              <a:gd name="connsiteY56655" fmla="*/ 1360167 h 5973007"/>
              <a:gd name="connsiteX56656" fmla="*/ 1036589 w 6884782"/>
              <a:gd name="connsiteY56656" fmla="*/ 1363420 h 5973007"/>
              <a:gd name="connsiteX56657" fmla="*/ 1027503 w 6884782"/>
              <a:gd name="connsiteY56657" fmla="*/ 1363265 h 5973007"/>
              <a:gd name="connsiteX56658" fmla="*/ 1029155 w 6884782"/>
              <a:gd name="connsiteY56658" fmla="*/ 1360167 h 5973007"/>
              <a:gd name="connsiteX56659" fmla="*/ 1726857 w 6884782"/>
              <a:gd name="connsiteY56659" fmla="*/ 1359857 h 5973007"/>
              <a:gd name="connsiteX56660" fmla="*/ 1738732 w 6884782"/>
              <a:gd name="connsiteY56660" fmla="*/ 1376895 h 5973007"/>
              <a:gd name="connsiteX56661" fmla="*/ 1736564 w 6884782"/>
              <a:gd name="connsiteY56661" fmla="*/ 1381543 h 5973007"/>
              <a:gd name="connsiteX56662" fmla="*/ 1724586 w 6884782"/>
              <a:gd name="connsiteY56662" fmla="*/ 1365433 h 5973007"/>
              <a:gd name="connsiteX56663" fmla="*/ 1726857 w 6884782"/>
              <a:gd name="connsiteY56663" fmla="*/ 1359857 h 5973007"/>
              <a:gd name="connsiteX56664" fmla="*/ 5799895 w 6884782"/>
              <a:gd name="connsiteY56664" fmla="*/ 1359806 h 5973007"/>
              <a:gd name="connsiteX56665" fmla="*/ 5803737 w 6884782"/>
              <a:gd name="connsiteY56665" fmla="*/ 1368627 h 5973007"/>
              <a:gd name="connsiteX56666" fmla="*/ 5790291 w 6884782"/>
              <a:gd name="connsiteY56666" fmla="*/ 1397792 h 5973007"/>
              <a:gd name="connsiteX56667" fmla="*/ 5799895 w 6884782"/>
              <a:gd name="connsiteY56667" fmla="*/ 1359806 h 5973007"/>
              <a:gd name="connsiteX56668" fmla="*/ 5560225 w 6884782"/>
              <a:gd name="connsiteY56668" fmla="*/ 1358668 h 5973007"/>
              <a:gd name="connsiteX56669" fmla="*/ 5572390 w 6884782"/>
              <a:gd name="connsiteY56669" fmla="*/ 1362225 h 5973007"/>
              <a:gd name="connsiteX56670" fmla="*/ 5560225 w 6884782"/>
              <a:gd name="connsiteY56670" fmla="*/ 1358668 h 5973007"/>
              <a:gd name="connsiteX56671" fmla="*/ 5150885 w 6884782"/>
              <a:gd name="connsiteY56671" fmla="*/ 1358668 h 5973007"/>
              <a:gd name="connsiteX56672" fmla="*/ 5157502 w 6884782"/>
              <a:gd name="connsiteY56672" fmla="*/ 1362082 h 5973007"/>
              <a:gd name="connsiteX56673" fmla="*/ 5147684 w 6884782"/>
              <a:gd name="connsiteY56673" fmla="*/ 1380008 h 5973007"/>
              <a:gd name="connsiteX56674" fmla="*/ 5138081 w 6884782"/>
              <a:gd name="connsiteY56674" fmla="*/ 1374318 h 5973007"/>
              <a:gd name="connsiteX56675" fmla="*/ 5150885 w 6884782"/>
              <a:gd name="connsiteY56675" fmla="*/ 1358668 h 5973007"/>
              <a:gd name="connsiteX56676" fmla="*/ 4012931 w 6884782"/>
              <a:gd name="connsiteY56676" fmla="*/ 1358383 h 5973007"/>
              <a:gd name="connsiteX56677" fmla="*/ 4015492 w 6884782"/>
              <a:gd name="connsiteY56677" fmla="*/ 1363220 h 5973007"/>
              <a:gd name="connsiteX56678" fmla="*/ 4008450 w 6884782"/>
              <a:gd name="connsiteY56678" fmla="*/ 1365070 h 5973007"/>
              <a:gd name="connsiteX56679" fmla="*/ 4012931 w 6884782"/>
              <a:gd name="connsiteY56679" fmla="*/ 1358383 h 5973007"/>
              <a:gd name="connsiteX56680" fmla="*/ 5892519 w 6884782"/>
              <a:gd name="connsiteY56680" fmla="*/ 1357957 h 5973007"/>
              <a:gd name="connsiteX56681" fmla="*/ 5896788 w 6884782"/>
              <a:gd name="connsiteY56681" fmla="*/ 1358383 h 5973007"/>
              <a:gd name="connsiteX56682" fmla="*/ 5895507 w 6884782"/>
              <a:gd name="connsiteY56682" fmla="*/ 1358383 h 5973007"/>
              <a:gd name="connsiteX56683" fmla="*/ 5896574 w 6884782"/>
              <a:gd name="connsiteY56683" fmla="*/ 1359664 h 5973007"/>
              <a:gd name="connsiteX56684" fmla="*/ 5880141 w 6884782"/>
              <a:gd name="connsiteY56684" fmla="*/ 1361655 h 5973007"/>
              <a:gd name="connsiteX56685" fmla="*/ 5880354 w 6884782"/>
              <a:gd name="connsiteY56685" fmla="*/ 1360517 h 5973007"/>
              <a:gd name="connsiteX56686" fmla="*/ 5892519 w 6884782"/>
              <a:gd name="connsiteY56686" fmla="*/ 1357957 h 5973007"/>
              <a:gd name="connsiteX56687" fmla="*/ 5873525 w 6884782"/>
              <a:gd name="connsiteY56687" fmla="*/ 1357957 h 5973007"/>
              <a:gd name="connsiteX56688" fmla="*/ 5874592 w 6884782"/>
              <a:gd name="connsiteY56688" fmla="*/ 1359095 h 5973007"/>
              <a:gd name="connsiteX56689" fmla="*/ 5868616 w 6884782"/>
              <a:gd name="connsiteY56689" fmla="*/ 1361513 h 5973007"/>
              <a:gd name="connsiteX56690" fmla="*/ 5873525 w 6884782"/>
              <a:gd name="connsiteY56690" fmla="*/ 1357957 h 5973007"/>
              <a:gd name="connsiteX56691" fmla="*/ 4110464 w 6884782"/>
              <a:gd name="connsiteY56691" fmla="*/ 1357672 h 5973007"/>
              <a:gd name="connsiteX56692" fmla="*/ 4113025 w 6884782"/>
              <a:gd name="connsiteY56692" fmla="*/ 1357672 h 5973007"/>
              <a:gd name="connsiteX56693" fmla="*/ 4116013 w 6884782"/>
              <a:gd name="connsiteY56693" fmla="*/ 1358383 h 5973007"/>
              <a:gd name="connsiteX56694" fmla="*/ 4119214 w 6884782"/>
              <a:gd name="connsiteY56694" fmla="*/ 1359095 h 5973007"/>
              <a:gd name="connsiteX56695" fmla="*/ 4121776 w 6884782"/>
              <a:gd name="connsiteY56695" fmla="*/ 1358952 h 5973007"/>
              <a:gd name="connsiteX56696" fmla="*/ 4126257 w 6884782"/>
              <a:gd name="connsiteY56696" fmla="*/ 1361655 h 5973007"/>
              <a:gd name="connsiteX56697" fmla="*/ 4123696 w 6884782"/>
              <a:gd name="connsiteY56697" fmla="*/ 1361940 h 5973007"/>
              <a:gd name="connsiteX56698" fmla="*/ 4120495 w 6884782"/>
              <a:gd name="connsiteY56698" fmla="*/ 1361087 h 5973007"/>
              <a:gd name="connsiteX56699" fmla="*/ 4118788 w 6884782"/>
              <a:gd name="connsiteY56699" fmla="*/ 1362367 h 5973007"/>
              <a:gd name="connsiteX56700" fmla="*/ 4110464 w 6884782"/>
              <a:gd name="connsiteY56700" fmla="*/ 1357672 h 5973007"/>
              <a:gd name="connsiteX56701" fmla="*/ 1268503 w 6884782"/>
              <a:gd name="connsiteY56701" fmla="*/ 1357224 h 5973007"/>
              <a:gd name="connsiteX56702" fmla="*/ 1252705 w 6884782"/>
              <a:gd name="connsiteY56702" fmla="*/ 1372403 h 5973007"/>
              <a:gd name="connsiteX56703" fmla="*/ 1263340 w 6884782"/>
              <a:gd name="connsiteY56703" fmla="*/ 1358153 h 5973007"/>
              <a:gd name="connsiteX56704" fmla="*/ 1268503 w 6884782"/>
              <a:gd name="connsiteY56704" fmla="*/ 1357224 h 5973007"/>
              <a:gd name="connsiteX56705" fmla="*/ 1248678 w 6884782"/>
              <a:gd name="connsiteY56705" fmla="*/ 1356294 h 5973007"/>
              <a:gd name="connsiteX56706" fmla="*/ 1248574 w 6884782"/>
              <a:gd name="connsiteY56706" fmla="*/ 1377825 h 5973007"/>
              <a:gd name="connsiteX56707" fmla="*/ 1244238 w 6884782"/>
              <a:gd name="connsiteY56707" fmla="*/ 1367602 h 5973007"/>
              <a:gd name="connsiteX56708" fmla="*/ 1248678 w 6884782"/>
              <a:gd name="connsiteY56708" fmla="*/ 1356294 h 5973007"/>
              <a:gd name="connsiteX56709" fmla="*/ 4659167 w 6884782"/>
              <a:gd name="connsiteY56709" fmla="*/ 1356250 h 5973007"/>
              <a:gd name="connsiteX56710" fmla="*/ 4680082 w 6884782"/>
              <a:gd name="connsiteY56710" fmla="*/ 1375455 h 5973007"/>
              <a:gd name="connsiteX56711" fmla="*/ 4643373 w 6884782"/>
              <a:gd name="connsiteY56711" fmla="*/ 1382142 h 5973007"/>
              <a:gd name="connsiteX56712" fmla="*/ 4639318 w 6884782"/>
              <a:gd name="connsiteY56712" fmla="*/ 1372041 h 5973007"/>
              <a:gd name="connsiteX56713" fmla="*/ 4641453 w 6884782"/>
              <a:gd name="connsiteY56713" fmla="*/ 1365497 h 5973007"/>
              <a:gd name="connsiteX56714" fmla="*/ 4641239 w 6884782"/>
              <a:gd name="connsiteY56714" fmla="*/ 1364501 h 5973007"/>
              <a:gd name="connsiteX56715" fmla="*/ 4641879 w 6884782"/>
              <a:gd name="connsiteY56715" fmla="*/ 1364359 h 5973007"/>
              <a:gd name="connsiteX56716" fmla="*/ 4642093 w 6884782"/>
              <a:gd name="connsiteY56716" fmla="*/ 1363647 h 5973007"/>
              <a:gd name="connsiteX56717" fmla="*/ 4659167 w 6884782"/>
              <a:gd name="connsiteY56717" fmla="*/ 1356250 h 5973007"/>
              <a:gd name="connsiteX56718" fmla="*/ 5367934 w 6884782"/>
              <a:gd name="connsiteY56718" fmla="*/ 1355965 h 5973007"/>
              <a:gd name="connsiteX56719" fmla="*/ 5376684 w 6884782"/>
              <a:gd name="connsiteY56719" fmla="*/ 1359664 h 5973007"/>
              <a:gd name="connsiteX56720" fmla="*/ 5376257 w 6884782"/>
              <a:gd name="connsiteY56720" fmla="*/ 1362936 h 5973007"/>
              <a:gd name="connsiteX56721" fmla="*/ 5358970 w 6884782"/>
              <a:gd name="connsiteY56721" fmla="*/ 1363647 h 5973007"/>
              <a:gd name="connsiteX56722" fmla="*/ 5357263 w 6884782"/>
              <a:gd name="connsiteY56722" fmla="*/ 1358810 h 5973007"/>
              <a:gd name="connsiteX56723" fmla="*/ 5367934 w 6884782"/>
              <a:gd name="connsiteY56723" fmla="*/ 1355965 h 5973007"/>
              <a:gd name="connsiteX56724" fmla="*/ 5250126 w 6884782"/>
              <a:gd name="connsiteY56724" fmla="*/ 1355823 h 5973007"/>
              <a:gd name="connsiteX56725" fmla="*/ 5252900 w 6884782"/>
              <a:gd name="connsiteY56725" fmla="*/ 1376594 h 5973007"/>
              <a:gd name="connsiteX56726" fmla="*/ 5241589 w 6884782"/>
              <a:gd name="connsiteY56726" fmla="*/ 1375029 h 5973007"/>
              <a:gd name="connsiteX56727" fmla="*/ 5245431 w 6884782"/>
              <a:gd name="connsiteY56727" fmla="*/ 1356107 h 5973007"/>
              <a:gd name="connsiteX56728" fmla="*/ 5250126 w 6884782"/>
              <a:gd name="connsiteY56728" fmla="*/ 1355823 h 5973007"/>
              <a:gd name="connsiteX56729" fmla="*/ 4890514 w 6884782"/>
              <a:gd name="connsiteY56729" fmla="*/ 1355680 h 5973007"/>
              <a:gd name="connsiteX56730" fmla="*/ 4890941 w 6884782"/>
              <a:gd name="connsiteY56730" fmla="*/ 1356534 h 5973007"/>
              <a:gd name="connsiteX56731" fmla="*/ 4889233 w 6884782"/>
              <a:gd name="connsiteY56731" fmla="*/ 1361087 h 5973007"/>
              <a:gd name="connsiteX56732" fmla="*/ 4889660 w 6884782"/>
              <a:gd name="connsiteY56732" fmla="*/ 1356534 h 5973007"/>
              <a:gd name="connsiteX56733" fmla="*/ 4890514 w 6884782"/>
              <a:gd name="connsiteY56733" fmla="*/ 1355680 h 5973007"/>
              <a:gd name="connsiteX56734" fmla="*/ 4717003 w 6884782"/>
              <a:gd name="connsiteY56734" fmla="*/ 1355396 h 5973007"/>
              <a:gd name="connsiteX56735" fmla="*/ 4719351 w 6884782"/>
              <a:gd name="connsiteY56735" fmla="*/ 1359237 h 5973007"/>
              <a:gd name="connsiteX56736" fmla="*/ 4713162 w 6884782"/>
              <a:gd name="connsiteY56736" fmla="*/ 1370903 h 5973007"/>
              <a:gd name="connsiteX56737" fmla="*/ 4710600 w 6884782"/>
              <a:gd name="connsiteY56737" fmla="*/ 1363220 h 5973007"/>
              <a:gd name="connsiteX56738" fmla="*/ 4717003 w 6884782"/>
              <a:gd name="connsiteY56738" fmla="*/ 1355396 h 5973007"/>
              <a:gd name="connsiteX56739" fmla="*/ 3561122 w 6884782"/>
              <a:gd name="connsiteY56739" fmla="*/ 1355396 h 5973007"/>
              <a:gd name="connsiteX56740" fmla="*/ 3559841 w 6884782"/>
              <a:gd name="connsiteY56740" fmla="*/ 1365497 h 5973007"/>
              <a:gd name="connsiteX56741" fmla="*/ 3560055 w 6884782"/>
              <a:gd name="connsiteY56741" fmla="*/ 1356250 h 5973007"/>
              <a:gd name="connsiteX56742" fmla="*/ 3561122 w 6884782"/>
              <a:gd name="connsiteY56742" fmla="*/ 1355396 h 5973007"/>
              <a:gd name="connsiteX56743" fmla="*/ 1128591 w 6884782"/>
              <a:gd name="connsiteY56743" fmla="*/ 1355210 h 5973007"/>
              <a:gd name="connsiteX56744" fmla="*/ 1119401 w 6884782"/>
              <a:gd name="connsiteY56744" fmla="*/ 1364659 h 5973007"/>
              <a:gd name="connsiteX56745" fmla="*/ 1128591 w 6884782"/>
              <a:gd name="connsiteY56745" fmla="*/ 1355210 h 5973007"/>
              <a:gd name="connsiteX56746" fmla="*/ 1260575 w 6884782"/>
              <a:gd name="connsiteY56746" fmla="*/ 1354747 h 5973007"/>
              <a:gd name="connsiteX56747" fmla="*/ 1262307 w 6884782"/>
              <a:gd name="connsiteY56747" fmla="*/ 1354901 h 5973007"/>
              <a:gd name="connsiteX56748" fmla="*/ 1263237 w 6884782"/>
              <a:gd name="connsiteY56748" fmla="*/ 1357533 h 5973007"/>
              <a:gd name="connsiteX56749" fmla="*/ 1057137 w 6884782"/>
              <a:gd name="connsiteY56749" fmla="*/ 1354281 h 5973007"/>
              <a:gd name="connsiteX56750" fmla="*/ 1049084 w 6884782"/>
              <a:gd name="connsiteY56750" fmla="*/ 1362181 h 5973007"/>
              <a:gd name="connsiteX56751" fmla="*/ 1037416 w 6884782"/>
              <a:gd name="connsiteY56751" fmla="*/ 1366982 h 5973007"/>
              <a:gd name="connsiteX56752" fmla="*/ 1044643 w 6884782"/>
              <a:gd name="connsiteY56752" fmla="*/ 1356914 h 5973007"/>
              <a:gd name="connsiteX56753" fmla="*/ 1057137 w 6884782"/>
              <a:gd name="connsiteY56753" fmla="*/ 1354281 h 5973007"/>
              <a:gd name="connsiteX56754" fmla="*/ 4745815 w 6884782"/>
              <a:gd name="connsiteY56754" fmla="*/ 1354115 h 5973007"/>
              <a:gd name="connsiteX56755" fmla="*/ 4753284 w 6884782"/>
              <a:gd name="connsiteY56755" fmla="*/ 1357530 h 5973007"/>
              <a:gd name="connsiteX56756" fmla="*/ 4756699 w 6884782"/>
              <a:gd name="connsiteY56756" fmla="*/ 1379012 h 5973007"/>
              <a:gd name="connsiteX56757" fmla="*/ 4754351 w 6884782"/>
              <a:gd name="connsiteY56757" fmla="*/ 1381289 h 5973007"/>
              <a:gd name="connsiteX56758" fmla="*/ 4752218 w 6884782"/>
              <a:gd name="connsiteY56758" fmla="*/ 1385841 h 5973007"/>
              <a:gd name="connsiteX56759" fmla="*/ 4738132 w 6884782"/>
              <a:gd name="connsiteY56759" fmla="*/ 1379297 h 5973007"/>
              <a:gd name="connsiteX56760" fmla="*/ 4733650 w 6884782"/>
              <a:gd name="connsiteY56760" fmla="*/ 1358952 h 5973007"/>
              <a:gd name="connsiteX56761" fmla="*/ 4745815 w 6884782"/>
              <a:gd name="connsiteY56761" fmla="*/ 1354115 h 5973007"/>
              <a:gd name="connsiteX56762" fmla="*/ 1779621 w 6884782"/>
              <a:gd name="connsiteY56762" fmla="*/ 1353971 h 5973007"/>
              <a:gd name="connsiteX56763" fmla="*/ 1773013 w 6884782"/>
              <a:gd name="connsiteY56763" fmla="*/ 1354901 h 5973007"/>
              <a:gd name="connsiteX56764" fmla="*/ 1771670 w 6884782"/>
              <a:gd name="connsiteY56764" fmla="*/ 1354746 h 5973007"/>
              <a:gd name="connsiteX56765" fmla="*/ 1774252 w 6884782"/>
              <a:gd name="connsiteY56765" fmla="*/ 1356759 h 5973007"/>
              <a:gd name="connsiteX56766" fmla="*/ 1773219 w 6884782"/>
              <a:gd name="connsiteY56766" fmla="*/ 1357998 h 5973007"/>
              <a:gd name="connsiteX56767" fmla="*/ 1773219 w 6884782"/>
              <a:gd name="connsiteY56767" fmla="*/ 1358153 h 5973007"/>
              <a:gd name="connsiteX56768" fmla="*/ 1772703 w 6884782"/>
              <a:gd name="connsiteY56768" fmla="*/ 1358463 h 5973007"/>
              <a:gd name="connsiteX56769" fmla="*/ 1772394 w 6884782"/>
              <a:gd name="connsiteY56769" fmla="*/ 1358773 h 5973007"/>
              <a:gd name="connsiteX56770" fmla="*/ 1771051 w 6884782"/>
              <a:gd name="connsiteY56770" fmla="*/ 1362490 h 5973007"/>
              <a:gd name="connsiteX56771" fmla="*/ 1775284 w 6884782"/>
              <a:gd name="connsiteY56771" fmla="*/ 1372714 h 5973007"/>
              <a:gd name="connsiteX56772" fmla="*/ 1781893 w 6884782"/>
              <a:gd name="connsiteY56772" fmla="*/ 1381388 h 5973007"/>
              <a:gd name="connsiteX56773" fmla="*/ 1781893 w 6884782"/>
              <a:gd name="connsiteY56773" fmla="*/ 1388668 h 5973007"/>
              <a:gd name="connsiteX56774" fmla="*/ 1782926 w 6884782"/>
              <a:gd name="connsiteY56774" fmla="*/ 1384176 h 5973007"/>
              <a:gd name="connsiteX56775" fmla="*/ 1785610 w 6884782"/>
              <a:gd name="connsiteY56775" fmla="*/ 1389442 h 5973007"/>
              <a:gd name="connsiteX56776" fmla="*/ 1787159 w 6884782"/>
              <a:gd name="connsiteY56776" fmla="*/ 1388668 h 5973007"/>
              <a:gd name="connsiteX56777" fmla="*/ 1786952 w 6884782"/>
              <a:gd name="connsiteY56777" fmla="*/ 1397032 h 5973007"/>
              <a:gd name="connsiteX56778" fmla="*/ 1786126 w 6884782"/>
              <a:gd name="connsiteY56778" fmla="*/ 1396722 h 5973007"/>
              <a:gd name="connsiteX56779" fmla="*/ 1786126 w 6884782"/>
              <a:gd name="connsiteY56779" fmla="*/ 1397342 h 5973007"/>
              <a:gd name="connsiteX56780" fmla="*/ 1789431 w 6884782"/>
              <a:gd name="connsiteY56780" fmla="*/ 1409269 h 5973007"/>
              <a:gd name="connsiteX56781" fmla="*/ 1785094 w 6884782"/>
              <a:gd name="connsiteY56781" fmla="*/ 1410973 h 5973007"/>
              <a:gd name="connsiteX56782" fmla="*/ 1789224 w 6884782"/>
              <a:gd name="connsiteY56782" fmla="*/ 1416859 h 5973007"/>
              <a:gd name="connsiteX56783" fmla="*/ 1789740 w 6884782"/>
              <a:gd name="connsiteY56783" fmla="*/ 1415000 h 5973007"/>
              <a:gd name="connsiteX56784" fmla="*/ 1791496 w 6884782"/>
              <a:gd name="connsiteY56784" fmla="*/ 1414536 h 5973007"/>
              <a:gd name="connsiteX56785" fmla="*/ 1790463 w 6884782"/>
              <a:gd name="connsiteY56785" fmla="*/ 1408649 h 5973007"/>
              <a:gd name="connsiteX56786" fmla="*/ 1793251 w 6884782"/>
              <a:gd name="connsiteY56786" fmla="*/ 1412677 h 5973007"/>
              <a:gd name="connsiteX56787" fmla="*/ 1793561 w 6884782"/>
              <a:gd name="connsiteY56787" fmla="*/ 1413916 h 5973007"/>
              <a:gd name="connsiteX56788" fmla="*/ 1795109 w 6884782"/>
              <a:gd name="connsiteY56788" fmla="*/ 1413606 h 5973007"/>
              <a:gd name="connsiteX56789" fmla="*/ 1797794 w 6884782"/>
              <a:gd name="connsiteY56789" fmla="*/ 1415465 h 5973007"/>
              <a:gd name="connsiteX56790" fmla="*/ 1799756 w 6884782"/>
              <a:gd name="connsiteY56790" fmla="*/ 1415929 h 5973007"/>
              <a:gd name="connsiteX56791" fmla="*/ 1799963 w 6884782"/>
              <a:gd name="connsiteY56791" fmla="*/ 1415775 h 5973007"/>
              <a:gd name="connsiteX56792" fmla="*/ 1800066 w 6884782"/>
              <a:gd name="connsiteY56792" fmla="*/ 1416084 h 5973007"/>
              <a:gd name="connsiteX56793" fmla="*/ 1804093 w 6884782"/>
              <a:gd name="connsiteY56793" fmla="*/ 1417169 h 5973007"/>
              <a:gd name="connsiteX56794" fmla="*/ 1801615 w 6884782"/>
              <a:gd name="connsiteY56794" fmla="*/ 1420576 h 5973007"/>
              <a:gd name="connsiteX56795" fmla="*/ 1803164 w 6884782"/>
              <a:gd name="connsiteY56795" fmla="*/ 1423674 h 5973007"/>
              <a:gd name="connsiteX56796" fmla="*/ 1797485 w 6884782"/>
              <a:gd name="connsiteY56796" fmla="*/ 1425843 h 5973007"/>
              <a:gd name="connsiteX56797" fmla="*/ 1799653 w 6884782"/>
              <a:gd name="connsiteY56797" fmla="*/ 1429250 h 5973007"/>
              <a:gd name="connsiteX56798" fmla="*/ 1796452 w 6884782"/>
              <a:gd name="connsiteY56798" fmla="*/ 1426307 h 5973007"/>
              <a:gd name="connsiteX56799" fmla="*/ 1796142 w 6884782"/>
              <a:gd name="connsiteY56799" fmla="*/ 1426462 h 5973007"/>
              <a:gd name="connsiteX56800" fmla="*/ 1797485 w 6884782"/>
              <a:gd name="connsiteY56800" fmla="*/ 1431109 h 5973007"/>
              <a:gd name="connsiteX56801" fmla="*/ 1796968 w 6884782"/>
              <a:gd name="connsiteY56801" fmla="*/ 1440093 h 5973007"/>
              <a:gd name="connsiteX56802" fmla="*/ 1799653 w 6884782"/>
              <a:gd name="connsiteY56802" fmla="*/ 1444121 h 5973007"/>
              <a:gd name="connsiteX56803" fmla="*/ 1802028 w 6884782"/>
              <a:gd name="connsiteY56803" fmla="*/ 1446134 h 5973007"/>
              <a:gd name="connsiteX56804" fmla="*/ 1802544 w 6884782"/>
              <a:gd name="connsiteY56804" fmla="*/ 1445515 h 5973007"/>
              <a:gd name="connsiteX56805" fmla="*/ 1802751 w 6884782"/>
              <a:gd name="connsiteY56805" fmla="*/ 1444121 h 5973007"/>
              <a:gd name="connsiteX56806" fmla="*/ 1798517 w 6884782"/>
              <a:gd name="connsiteY56806" fmla="*/ 1437305 h 5973007"/>
              <a:gd name="connsiteX56807" fmla="*/ 1806158 w 6884782"/>
              <a:gd name="connsiteY56807" fmla="*/ 1440713 h 5973007"/>
              <a:gd name="connsiteX56808" fmla="*/ 1805642 w 6884782"/>
              <a:gd name="connsiteY56808" fmla="*/ 1444740 h 5973007"/>
              <a:gd name="connsiteX56809" fmla="*/ 1807810 w 6884782"/>
              <a:gd name="connsiteY56809" fmla="*/ 1444585 h 5973007"/>
              <a:gd name="connsiteX56810" fmla="*/ 1809049 w 6884782"/>
              <a:gd name="connsiteY56810" fmla="*/ 1447993 h 5973007"/>
              <a:gd name="connsiteX56811" fmla="*/ 1805229 w 6884782"/>
              <a:gd name="connsiteY56811" fmla="*/ 1450472 h 5973007"/>
              <a:gd name="connsiteX56812" fmla="*/ 1805642 w 6884782"/>
              <a:gd name="connsiteY56812" fmla="*/ 1453724 h 5973007"/>
              <a:gd name="connsiteX56813" fmla="*/ 1806158 w 6884782"/>
              <a:gd name="connsiteY56813" fmla="*/ 1454963 h 5973007"/>
              <a:gd name="connsiteX56814" fmla="*/ 1806158 w 6884782"/>
              <a:gd name="connsiteY56814" fmla="*/ 1455428 h 5973007"/>
              <a:gd name="connsiteX56815" fmla="*/ 1806158 w 6884782"/>
              <a:gd name="connsiteY56815" fmla="*/ 1456048 h 5973007"/>
              <a:gd name="connsiteX56816" fmla="*/ 1806674 w 6884782"/>
              <a:gd name="connsiteY56816" fmla="*/ 1457132 h 5973007"/>
              <a:gd name="connsiteX56817" fmla="*/ 1810495 w 6884782"/>
              <a:gd name="connsiteY56817" fmla="*/ 1456048 h 5973007"/>
              <a:gd name="connsiteX56818" fmla="*/ 1808327 w 6884782"/>
              <a:gd name="connsiteY56818" fmla="*/ 1458991 h 5973007"/>
              <a:gd name="connsiteX56819" fmla="*/ 1814212 w 6884782"/>
              <a:gd name="connsiteY56819" fmla="*/ 1463948 h 5973007"/>
              <a:gd name="connsiteX56820" fmla="*/ 1815348 w 6884782"/>
              <a:gd name="connsiteY56820" fmla="*/ 1465806 h 5973007"/>
              <a:gd name="connsiteX56821" fmla="*/ 1815864 w 6884782"/>
              <a:gd name="connsiteY56821" fmla="*/ 1466890 h 5973007"/>
              <a:gd name="connsiteX56822" fmla="*/ 1816380 w 6884782"/>
              <a:gd name="connsiteY56822" fmla="*/ 1466890 h 5973007"/>
              <a:gd name="connsiteX56823" fmla="*/ 1816380 w 6884782"/>
              <a:gd name="connsiteY56823" fmla="*/ 1467510 h 5973007"/>
              <a:gd name="connsiteX56824" fmla="*/ 1819168 w 6884782"/>
              <a:gd name="connsiteY56824" fmla="*/ 1473241 h 5973007"/>
              <a:gd name="connsiteX56825" fmla="*/ 1822472 w 6884782"/>
              <a:gd name="connsiteY56825" fmla="*/ 1479282 h 5973007"/>
              <a:gd name="connsiteX56826" fmla="*/ 1822369 w 6884782"/>
              <a:gd name="connsiteY56826" fmla="*/ 1478353 h 5973007"/>
              <a:gd name="connsiteX56827" fmla="*/ 1822989 w 6884782"/>
              <a:gd name="connsiteY56827" fmla="*/ 1473706 h 5973007"/>
              <a:gd name="connsiteX56828" fmla="*/ 1823815 w 6884782"/>
              <a:gd name="connsiteY56828" fmla="*/ 1473706 h 5973007"/>
              <a:gd name="connsiteX56829" fmla="*/ 1824847 w 6884782"/>
              <a:gd name="connsiteY56829" fmla="*/ 1482535 h 5973007"/>
              <a:gd name="connsiteX56830" fmla="*/ 1824641 w 6884782"/>
              <a:gd name="connsiteY56830" fmla="*/ 1483154 h 5973007"/>
              <a:gd name="connsiteX56831" fmla="*/ 1830423 w 6884782"/>
              <a:gd name="connsiteY56831" fmla="*/ 1493687 h 5973007"/>
              <a:gd name="connsiteX56832" fmla="*/ 1839613 w 6884782"/>
              <a:gd name="connsiteY56832" fmla="*/ 1506854 h 5973007"/>
              <a:gd name="connsiteX56833" fmla="*/ 1841059 w 6884782"/>
              <a:gd name="connsiteY56833" fmla="*/ 1508712 h 5973007"/>
              <a:gd name="connsiteX56834" fmla="*/ 1842298 w 6884782"/>
              <a:gd name="connsiteY56834" fmla="*/ 1507008 h 5973007"/>
              <a:gd name="connsiteX56835" fmla="*/ 1846531 w 6884782"/>
              <a:gd name="connsiteY56835" fmla="*/ 1506234 h 5973007"/>
              <a:gd name="connsiteX56836" fmla="*/ 1849939 w 6884782"/>
              <a:gd name="connsiteY56836" fmla="*/ 1507318 h 5973007"/>
              <a:gd name="connsiteX56837" fmla="*/ 1849216 w 6884782"/>
              <a:gd name="connsiteY56837" fmla="*/ 1504530 h 5973007"/>
              <a:gd name="connsiteX56838" fmla="*/ 1846738 w 6884782"/>
              <a:gd name="connsiteY56838" fmla="*/ 1501742 h 5973007"/>
              <a:gd name="connsiteX56839" fmla="*/ 1849939 w 6884782"/>
              <a:gd name="connsiteY56839" fmla="*/ 1501122 h 5973007"/>
              <a:gd name="connsiteX56840" fmla="*/ 1847254 w 6884782"/>
              <a:gd name="connsiteY56840" fmla="*/ 1496475 h 5973007"/>
              <a:gd name="connsiteX56841" fmla="*/ 1847254 w 6884782"/>
              <a:gd name="connsiteY56841" fmla="*/ 1499883 h 5973007"/>
              <a:gd name="connsiteX56842" fmla="*/ 1831559 w 6884782"/>
              <a:gd name="connsiteY56842" fmla="*/ 1471383 h 5973007"/>
              <a:gd name="connsiteX56843" fmla="*/ 1829391 w 6884782"/>
              <a:gd name="connsiteY56843" fmla="*/ 1467510 h 5973007"/>
              <a:gd name="connsiteX56844" fmla="*/ 1826706 w 6884782"/>
              <a:gd name="connsiteY56844" fmla="*/ 1461779 h 5973007"/>
              <a:gd name="connsiteX56845" fmla="*/ 1826706 w 6884782"/>
              <a:gd name="connsiteY56845" fmla="*/ 1461159 h 5973007"/>
              <a:gd name="connsiteX56846" fmla="*/ 1826087 w 6884782"/>
              <a:gd name="connsiteY56846" fmla="*/ 1461159 h 5973007"/>
              <a:gd name="connsiteX56847" fmla="*/ 1825570 w 6884782"/>
              <a:gd name="connsiteY56847" fmla="*/ 1460075 h 5973007"/>
              <a:gd name="connsiteX56848" fmla="*/ 1824022 w 6884782"/>
              <a:gd name="connsiteY56848" fmla="*/ 1455428 h 5973007"/>
              <a:gd name="connsiteX56849" fmla="*/ 1822886 w 6884782"/>
              <a:gd name="connsiteY56849" fmla="*/ 1451556 h 5973007"/>
              <a:gd name="connsiteX56850" fmla="*/ 1822369 w 6884782"/>
              <a:gd name="connsiteY56850" fmla="*/ 1449232 h 5973007"/>
              <a:gd name="connsiteX56851" fmla="*/ 1822369 w 6884782"/>
              <a:gd name="connsiteY56851" fmla="*/ 1448148 h 5973007"/>
              <a:gd name="connsiteX56852" fmla="*/ 1822369 w 6884782"/>
              <a:gd name="connsiteY56852" fmla="*/ 1446289 h 5973007"/>
              <a:gd name="connsiteX56853" fmla="*/ 1821130 w 6884782"/>
              <a:gd name="connsiteY56853" fmla="*/ 1445360 h 5973007"/>
              <a:gd name="connsiteX56854" fmla="*/ 1820924 w 6884782"/>
              <a:gd name="connsiteY56854" fmla="*/ 1445825 h 5973007"/>
              <a:gd name="connsiteX56855" fmla="*/ 1821130 w 6884782"/>
              <a:gd name="connsiteY56855" fmla="*/ 1446134 h 5973007"/>
              <a:gd name="connsiteX56856" fmla="*/ 1820717 w 6884782"/>
              <a:gd name="connsiteY56856" fmla="*/ 1448148 h 5973007"/>
              <a:gd name="connsiteX56857" fmla="*/ 1820717 w 6884782"/>
              <a:gd name="connsiteY56857" fmla="*/ 1448612 h 5973007"/>
              <a:gd name="connsiteX56858" fmla="*/ 1821234 w 6884782"/>
              <a:gd name="connsiteY56858" fmla="*/ 1449232 h 5973007"/>
              <a:gd name="connsiteX56859" fmla="*/ 1819685 w 6884782"/>
              <a:gd name="connsiteY56859" fmla="*/ 1448612 h 5973007"/>
              <a:gd name="connsiteX56860" fmla="*/ 1819478 w 6884782"/>
              <a:gd name="connsiteY56860" fmla="*/ 1448458 h 5973007"/>
              <a:gd name="connsiteX56861" fmla="*/ 1818239 w 6884782"/>
              <a:gd name="connsiteY56861" fmla="*/ 1448148 h 5973007"/>
              <a:gd name="connsiteX56862" fmla="*/ 1815554 w 6884782"/>
              <a:gd name="connsiteY56862" fmla="*/ 1441952 h 5973007"/>
              <a:gd name="connsiteX56863" fmla="*/ 1815761 w 6884782"/>
              <a:gd name="connsiteY56863" fmla="*/ 1440558 h 5973007"/>
              <a:gd name="connsiteX56864" fmla="*/ 1817413 w 6884782"/>
              <a:gd name="connsiteY56864" fmla="*/ 1441952 h 5973007"/>
              <a:gd name="connsiteX56865" fmla="*/ 1818033 w 6884782"/>
              <a:gd name="connsiteY56865" fmla="*/ 1440093 h 5973007"/>
              <a:gd name="connsiteX56866" fmla="*/ 1809359 w 6884782"/>
              <a:gd name="connsiteY56866" fmla="*/ 1426462 h 5973007"/>
              <a:gd name="connsiteX56867" fmla="*/ 1806674 w 6884782"/>
              <a:gd name="connsiteY56867" fmla="*/ 1419027 h 5973007"/>
              <a:gd name="connsiteX56868" fmla="*/ 1805642 w 6884782"/>
              <a:gd name="connsiteY56868" fmla="*/ 1417169 h 5973007"/>
              <a:gd name="connsiteX56869" fmla="*/ 1804506 w 6884782"/>
              <a:gd name="connsiteY56869" fmla="*/ 1415620 h 5973007"/>
              <a:gd name="connsiteX56870" fmla="*/ 1802337 w 6884782"/>
              <a:gd name="connsiteY56870" fmla="*/ 1412212 h 5973007"/>
              <a:gd name="connsiteX56871" fmla="*/ 1802337 w 6884782"/>
              <a:gd name="connsiteY56871" fmla="*/ 1402454 h 5973007"/>
              <a:gd name="connsiteX56872" fmla="*/ 1801821 w 6884782"/>
              <a:gd name="connsiteY56872" fmla="*/ 1395018 h 5973007"/>
              <a:gd name="connsiteX56873" fmla="*/ 1796968 w 6884782"/>
              <a:gd name="connsiteY56873" fmla="*/ 1394399 h 5973007"/>
              <a:gd name="connsiteX56874" fmla="*/ 1792838 w 6884782"/>
              <a:gd name="connsiteY56874" fmla="*/ 1384331 h 5973007"/>
              <a:gd name="connsiteX56875" fmla="*/ 1791186 w 6884782"/>
              <a:gd name="connsiteY56875" fmla="*/ 1380148 h 5973007"/>
              <a:gd name="connsiteX56876" fmla="*/ 1785507 w 6884782"/>
              <a:gd name="connsiteY56876" fmla="*/ 1376121 h 5973007"/>
              <a:gd name="connsiteX56877" fmla="*/ 1786023 w 6884782"/>
              <a:gd name="connsiteY56877" fmla="*/ 1374417 h 5973007"/>
              <a:gd name="connsiteX56878" fmla="*/ 1785300 w 6884782"/>
              <a:gd name="connsiteY56878" fmla="*/ 1374727 h 5973007"/>
              <a:gd name="connsiteX56879" fmla="*/ 1785507 w 6884782"/>
              <a:gd name="connsiteY56879" fmla="*/ 1375811 h 5973007"/>
              <a:gd name="connsiteX56880" fmla="*/ 1785094 w 6884782"/>
              <a:gd name="connsiteY56880" fmla="*/ 1376895 h 5973007"/>
              <a:gd name="connsiteX56881" fmla="*/ 1782512 w 6884782"/>
              <a:gd name="connsiteY56881" fmla="*/ 1369770 h 5973007"/>
              <a:gd name="connsiteX56882" fmla="*/ 1784784 w 6884782"/>
              <a:gd name="connsiteY56882" fmla="*/ 1372559 h 5973007"/>
              <a:gd name="connsiteX56883" fmla="*/ 1784887 w 6884782"/>
              <a:gd name="connsiteY56883" fmla="*/ 1372714 h 5973007"/>
              <a:gd name="connsiteX56884" fmla="*/ 1785817 w 6884782"/>
              <a:gd name="connsiteY56884" fmla="*/ 1372714 h 5973007"/>
              <a:gd name="connsiteX56885" fmla="*/ 1786643 w 6884782"/>
              <a:gd name="connsiteY56885" fmla="*/ 1371010 h 5973007"/>
              <a:gd name="connsiteX56886" fmla="*/ 1784577 w 6884782"/>
              <a:gd name="connsiteY56886" fmla="*/ 1368841 h 5973007"/>
              <a:gd name="connsiteX56887" fmla="*/ 1783958 w 6884782"/>
              <a:gd name="connsiteY56887" fmla="*/ 1365433 h 5973007"/>
              <a:gd name="connsiteX56888" fmla="*/ 1779621 w 6884782"/>
              <a:gd name="connsiteY56888" fmla="*/ 1359702 h 5973007"/>
              <a:gd name="connsiteX56889" fmla="*/ 1782409 w 6884782"/>
              <a:gd name="connsiteY56889" fmla="*/ 1357379 h 5973007"/>
              <a:gd name="connsiteX56890" fmla="*/ 5024541 w 6884782"/>
              <a:gd name="connsiteY56890" fmla="*/ 1353546 h 5973007"/>
              <a:gd name="connsiteX56891" fmla="*/ 5027529 w 6884782"/>
              <a:gd name="connsiteY56891" fmla="*/ 1361229 h 5973007"/>
              <a:gd name="connsiteX56892" fmla="*/ 5027956 w 6884782"/>
              <a:gd name="connsiteY56892" fmla="*/ 1370476 h 5973007"/>
              <a:gd name="connsiteX56893" fmla="*/ 5031157 w 6884782"/>
              <a:gd name="connsiteY56893" fmla="*/ 1372468 h 5973007"/>
              <a:gd name="connsiteX56894" fmla="*/ 5031584 w 6884782"/>
              <a:gd name="connsiteY56894" fmla="*/ 1376167 h 5973007"/>
              <a:gd name="connsiteX56895" fmla="*/ 5007894 w 6884782"/>
              <a:gd name="connsiteY56895" fmla="*/ 1380008 h 5973007"/>
              <a:gd name="connsiteX56896" fmla="*/ 5008962 w 6884782"/>
              <a:gd name="connsiteY56896" fmla="*/ 1375313 h 5973007"/>
              <a:gd name="connsiteX56897" fmla="*/ 5014937 w 6884782"/>
              <a:gd name="connsiteY56897" fmla="*/ 1371188 h 5973007"/>
              <a:gd name="connsiteX56898" fmla="*/ 5020486 w 6884782"/>
              <a:gd name="connsiteY56898" fmla="*/ 1368911 h 5973007"/>
              <a:gd name="connsiteX56899" fmla="*/ 5020059 w 6884782"/>
              <a:gd name="connsiteY56899" fmla="*/ 1360375 h 5973007"/>
              <a:gd name="connsiteX56900" fmla="*/ 5024541 w 6884782"/>
              <a:gd name="connsiteY56900" fmla="*/ 1353546 h 5973007"/>
              <a:gd name="connsiteX56901" fmla="*/ 3585238 w 6884782"/>
              <a:gd name="connsiteY56901" fmla="*/ 1353262 h 5973007"/>
              <a:gd name="connsiteX56902" fmla="*/ 3588440 w 6884782"/>
              <a:gd name="connsiteY56902" fmla="*/ 1355396 h 5973007"/>
              <a:gd name="connsiteX56903" fmla="*/ 3586305 w 6884782"/>
              <a:gd name="connsiteY56903" fmla="*/ 1358241 h 5973007"/>
              <a:gd name="connsiteX56904" fmla="*/ 3587373 w 6884782"/>
              <a:gd name="connsiteY56904" fmla="*/ 1358241 h 5973007"/>
              <a:gd name="connsiteX56905" fmla="*/ 3586732 w 6884782"/>
              <a:gd name="connsiteY56905" fmla="*/ 1369053 h 5973007"/>
              <a:gd name="connsiteX56906" fmla="*/ 3580970 w 6884782"/>
              <a:gd name="connsiteY56906" fmla="*/ 1372468 h 5973007"/>
              <a:gd name="connsiteX56907" fmla="*/ 3570512 w 6884782"/>
              <a:gd name="connsiteY56907" fmla="*/ 1369481 h 5973007"/>
              <a:gd name="connsiteX56908" fmla="*/ 3571366 w 6884782"/>
              <a:gd name="connsiteY56908" fmla="*/ 1363647 h 5973007"/>
              <a:gd name="connsiteX56909" fmla="*/ 3577341 w 6884782"/>
              <a:gd name="connsiteY56909" fmla="*/ 1359522 h 5973007"/>
              <a:gd name="connsiteX56910" fmla="*/ 3582037 w 6884782"/>
              <a:gd name="connsiteY56910" fmla="*/ 1358383 h 5973007"/>
              <a:gd name="connsiteX56911" fmla="*/ 3581824 w 6884782"/>
              <a:gd name="connsiteY56911" fmla="*/ 1356107 h 5973007"/>
              <a:gd name="connsiteX56912" fmla="*/ 3585238 w 6884782"/>
              <a:gd name="connsiteY56912" fmla="*/ 1353262 h 5973007"/>
              <a:gd name="connsiteX56913" fmla="*/ 1258797 w 6884782"/>
              <a:gd name="connsiteY56913" fmla="*/ 1352887 h 5973007"/>
              <a:gd name="connsiteX56914" fmla="*/ 1260575 w 6884782"/>
              <a:gd name="connsiteY56914" fmla="*/ 1354747 h 5973007"/>
              <a:gd name="connsiteX56915" fmla="*/ 1260552 w 6884782"/>
              <a:gd name="connsiteY56915" fmla="*/ 1354746 h 5973007"/>
              <a:gd name="connsiteX56916" fmla="*/ 1258797 w 6884782"/>
              <a:gd name="connsiteY56916" fmla="*/ 1352887 h 5973007"/>
              <a:gd name="connsiteX56917" fmla="*/ 3532737 w 6884782"/>
              <a:gd name="connsiteY56917" fmla="*/ 1352693 h 5973007"/>
              <a:gd name="connsiteX56918" fmla="*/ 3536578 w 6884782"/>
              <a:gd name="connsiteY56918" fmla="*/ 1356392 h 5973007"/>
              <a:gd name="connsiteX56919" fmla="*/ 3535298 w 6884782"/>
              <a:gd name="connsiteY56919" fmla="*/ 1358668 h 5973007"/>
              <a:gd name="connsiteX56920" fmla="*/ 3532523 w 6884782"/>
              <a:gd name="connsiteY56920" fmla="*/ 1360660 h 5973007"/>
              <a:gd name="connsiteX56921" fmla="*/ 3528042 w 6884782"/>
              <a:gd name="connsiteY56921" fmla="*/ 1355965 h 5973007"/>
              <a:gd name="connsiteX56922" fmla="*/ 3529322 w 6884782"/>
              <a:gd name="connsiteY56922" fmla="*/ 1353546 h 5973007"/>
              <a:gd name="connsiteX56923" fmla="*/ 3532737 w 6884782"/>
              <a:gd name="connsiteY56923" fmla="*/ 1352693 h 5973007"/>
              <a:gd name="connsiteX56924" fmla="*/ 4872159 w 6884782"/>
              <a:gd name="connsiteY56924" fmla="*/ 1351981 h 5973007"/>
              <a:gd name="connsiteX56925" fmla="*/ 4878135 w 6884782"/>
              <a:gd name="connsiteY56925" fmla="*/ 1357245 h 5973007"/>
              <a:gd name="connsiteX56926" fmla="*/ 4877922 w 6884782"/>
              <a:gd name="connsiteY56926" fmla="*/ 1360944 h 5973007"/>
              <a:gd name="connsiteX56927" fmla="*/ 4875147 w 6884782"/>
              <a:gd name="connsiteY56927" fmla="*/ 1364074 h 5973007"/>
              <a:gd name="connsiteX56928" fmla="*/ 4871946 w 6884782"/>
              <a:gd name="connsiteY56928" fmla="*/ 1364928 h 5973007"/>
              <a:gd name="connsiteX56929" fmla="*/ 4866184 w 6884782"/>
              <a:gd name="connsiteY56929" fmla="*/ 1361229 h 5973007"/>
              <a:gd name="connsiteX56930" fmla="*/ 4872159 w 6884782"/>
              <a:gd name="connsiteY56930" fmla="*/ 1351981 h 5973007"/>
              <a:gd name="connsiteX56931" fmla="*/ 4420350 w 6884782"/>
              <a:gd name="connsiteY56931" fmla="*/ 1351981 h 5973007"/>
              <a:gd name="connsiteX56932" fmla="*/ 4424191 w 6884782"/>
              <a:gd name="connsiteY56932" fmla="*/ 1351981 h 5973007"/>
              <a:gd name="connsiteX56933" fmla="*/ 4417148 w 6884782"/>
              <a:gd name="connsiteY56933" fmla="*/ 1356250 h 5973007"/>
              <a:gd name="connsiteX56934" fmla="*/ 4416935 w 6884782"/>
              <a:gd name="connsiteY56934" fmla="*/ 1352550 h 5973007"/>
              <a:gd name="connsiteX56935" fmla="*/ 4420350 w 6884782"/>
              <a:gd name="connsiteY56935" fmla="*/ 1351981 h 5973007"/>
              <a:gd name="connsiteX56936" fmla="*/ 4281840 w 6884782"/>
              <a:gd name="connsiteY56936" fmla="*/ 1351555 h 5973007"/>
              <a:gd name="connsiteX56937" fmla="*/ 4283974 w 6884782"/>
              <a:gd name="connsiteY56937" fmla="*/ 1351555 h 5973007"/>
              <a:gd name="connsiteX56938" fmla="*/ 4286749 w 6884782"/>
              <a:gd name="connsiteY56938" fmla="*/ 1352835 h 5973007"/>
              <a:gd name="connsiteX56939" fmla="*/ 4286322 w 6884782"/>
              <a:gd name="connsiteY56939" fmla="*/ 1355538 h 5973007"/>
              <a:gd name="connsiteX56940" fmla="*/ 4286962 w 6884782"/>
              <a:gd name="connsiteY56940" fmla="*/ 1357672 h 5973007"/>
              <a:gd name="connsiteX56941" fmla="*/ 4285895 w 6884782"/>
              <a:gd name="connsiteY56941" fmla="*/ 1358241 h 5973007"/>
              <a:gd name="connsiteX56942" fmla="*/ 4285041 w 6884782"/>
              <a:gd name="connsiteY56942" fmla="*/ 1359806 h 5973007"/>
              <a:gd name="connsiteX56943" fmla="*/ 4280133 w 6884782"/>
              <a:gd name="connsiteY56943" fmla="*/ 1359379 h 5973007"/>
              <a:gd name="connsiteX56944" fmla="*/ 4277999 w 6884782"/>
              <a:gd name="connsiteY56944" fmla="*/ 1357672 h 5973007"/>
              <a:gd name="connsiteX56945" fmla="*/ 4277572 w 6884782"/>
              <a:gd name="connsiteY56945" fmla="*/ 1355396 h 5973007"/>
              <a:gd name="connsiteX56946" fmla="*/ 4279493 w 6884782"/>
              <a:gd name="connsiteY56946" fmla="*/ 1353404 h 5973007"/>
              <a:gd name="connsiteX56947" fmla="*/ 4281840 w 6884782"/>
              <a:gd name="connsiteY56947" fmla="*/ 1351555 h 5973007"/>
              <a:gd name="connsiteX56948" fmla="*/ 1706309 w 6884782"/>
              <a:gd name="connsiteY56948" fmla="*/ 1350563 h 5973007"/>
              <a:gd name="connsiteX56949" fmla="*/ 1709200 w 6884782"/>
              <a:gd name="connsiteY56949" fmla="*/ 1350718 h 5973007"/>
              <a:gd name="connsiteX56950" fmla="*/ 1709613 w 6884782"/>
              <a:gd name="connsiteY56950" fmla="*/ 1354281 h 5973007"/>
              <a:gd name="connsiteX56951" fmla="*/ 1707032 w 6884782"/>
              <a:gd name="connsiteY56951" fmla="*/ 1354901 h 5973007"/>
              <a:gd name="connsiteX56952" fmla="*/ 1706309 w 6884782"/>
              <a:gd name="connsiteY56952" fmla="*/ 1350563 h 5973007"/>
              <a:gd name="connsiteX56953" fmla="*/ 1369281 w 6884782"/>
              <a:gd name="connsiteY56953" fmla="*/ 1350254 h 5973007"/>
              <a:gd name="connsiteX56954" fmla="*/ 1411409 w 6884782"/>
              <a:gd name="connsiteY56954" fmla="*/ 1368531 h 5973007"/>
              <a:gd name="connsiteX56955" fmla="*/ 1407589 w 6884782"/>
              <a:gd name="connsiteY56955" fmla="*/ 1402608 h 5973007"/>
              <a:gd name="connsiteX56956" fmla="*/ 1391171 w 6884782"/>
              <a:gd name="connsiteY56956" fmla="*/ 1415620 h 5973007"/>
              <a:gd name="connsiteX56957" fmla="*/ 1364634 w 6884782"/>
              <a:gd name="connsiteY56957" fmla="*/ 1417169 h 5973007"/>
              <a:gd name="connsiteX56958" fmla="*/ 1361950 w 6884782"/>
              <a:gd name="connsiteY56958" fmla="*/ 1414536 h 5973007"/>
              <a:gd name="connsiteX56959" fmla="*/ 1359162 w 6884782"/>
              <a:gd name="connsiteY56959" fmla="*/ 1416239 h 5973007"/>
              <a:gd name="connsiteX56960" fmla="*/ 1358645 w 6884782"/>
              <a:gd name="connsiteY56960" fmla="*/ 1413141 h 5973007"/>
              <a:gd name="connsiteX56961" fmla="*/ 1358852 w 6884782"/>
              <a:gd name="connsiteY56961" fmla="*/ 1411747 h 5973007"/>
              <a:gd name="connsiteX56962" fmla="*/ 1353999 w 6884782"/>
              <a:gd name="connsiteY56962" fmla="*/ 1407255 h 5973007"/>
              <a:gd name="connsiteX56963" fmla="*/ 1348423 w 6884782"/>
              <a:gd name="connsiteY56963" fmla="*/ 1401989 h 5973007"/>
              <a:gd name="connsiteX56964" fmla="*/ 1345738 w 6884782"/>
              <a:gd name="connsiteY56964" fmla="*/ 1401679 h 5973007"/>
              <a:gd name="connsiteX56965" fmla="*/ 1345532 w 6884782"/>
              <a:gd name="connsiteY56965" fmla="*/ 1399355 h 5973007"/>
              <a:gd name="connsiteX56966" fmla="*/ 1343260 w 6884782"/>
              <a:gd name="connsiteY56966" fmla="*/ 1397342 h 5973007"/>
              <a:gd name="connsiteX56967" fmla="*/ 1349972 w 6884782"/>
              <a:gd name="connsiteY56967" fmla="*/ 1361716 h 5973007"/>
              <a:gd name="connsiteX56968" fmla="*/ 1369281 w 6884782"/>
              <a:gd name="connsiteY56968" fmla="*/ 1350254 h 5973007"/>
              <a:gd name="connsiteX56969" fmla="*/ 3599324 w 6884782"/>
              <a:gd name="connsiteY56969" fmla="*/ 1349847 h 5973007"/>
              <a:gd name="connsiteX56970" fmla="*/ 3602739 w 6884782"/>
              <a:gd name="connsiteY56970" fmla="*/ 1349989 h 5973007"/>
              <a:gd name="connsiteX56971" fmla="*/ 3607434 w 6884782"/>
              <a:gd name="connsiteY56971" fmla="*/ 1357387 h 5973007"/>
              <a:gd name="connsiteX56972" fmla="*/ 3600818 w 6884782"/>
              <a:gd name="connsiteY56972" fmla="*/ 1357387 h 5973007"/>
              <a:gd name="connsiteX56973" fmla="*/ 3599537 w 6884782"/>
              <a:gd name="connsiteY56973" fmla="*/ 1356250 h 5973007"/>
              <a:gd name="connsiteX56974" fmla="*/ 3598684 w 6884782"/>
              <a:gd name="connsiteY56974" fmla="*/ 1355253 h 5973007"/>
              <a:gd name="connsiteX56975" fmla="*/ 3596549 w 6884782"/>
              <a:gd name="connsiteY56975" fmla="*/ 1352835 h 5973007"/>
              <a:gd name="connsiteX56976" fmla="*/ 3599324 w 6884782"/>
              <a:gd name="connsiteY56976" fmla="*/ 1349847 h 5973007"/>
              <a:gd name="connsiteX56977" fmla="*/ 4253028 w 6884782"/>
              <a:gd name="connsiteY56977" fmla="*/ 1349705 h 5973007"/>
              <a:gd name="connsiteX56978" fmla="*/ 4257511 w 6884782"/>
              <a:gd name="connsiteY56978" fmla="*/ 1350701 h 5973007"/>
              <a:gd name="connsiteX56979" fmla="*/ 4261992 w 6884782"/>
              <a:gd name="connsiteY56979" fmla="*/ 1352693 h 5973007"/>
              <a:gd name="connsiteX56980" fmla="*/ 4262846 w 6884782"/>
              <a:gd name="connsiteY56980" fmla="*/ 1354684 h 5973007"/>
              <a:gd name="connsiteX56981" fmla="*/ 4257297 w 6884782"/>
              <a:gd name="connsiteY56981" fmla="*/ 1353688 h 5973007"/>
              <a:gd name="connsiteX56982" fmla="*/ 4955820 w 6884782"/>
              <a:gd name="connsiteY56982" fmla="*/ 1349421 h 5973007"/>
              <a:gd name="connsiteX56983" fmla="*/ 4953686 w 6884782"/>
              <a:gd name="connsiteY56983" fmla="*/ 1356676 h 5973007"/>
              <a:gd name="connsiteX56984" fmla="*/ 4955820 w 6884782"/>
              <a:gd name="connsiteY56984" fmla="*/ 1349421 h 5973007"/>
              <a:gd name="connsiteX56985" fmla="*/ 4917404 w 6884782"/>
              <a:gd name="connsiteY56985" fmla="*/ 1348709 h 5973007"/>
              <a:gd name="connsiteX56986" fmla="*/ 4916124 w 6884782"/>
              <a:gd name="connsiteY56986" fmla="*/ 1410596 h 5973007"/>
              <a:gd name="connsiteX56987" fmla="*/ 4903745 w 6884782"/>
              <a:gd name="connsiteY56987" fmla="*/ 1408178 h 5973007"/>
              <a:gd name="connsiteX56988" fmla="*/ 4907160 w 6884782"/>
              <a:gd name="connsiteY56988" fmla="*/ 1392528 h 5973007"/>
              <a:gd name="connsiteX56989" fmla="*/ 4906733 w 6884782"/>
              <a:gd name="connsiteY56989" fmla="*/ 1390394 h 5973007"/>
              <a:gd name="connsiteX56990" fmla="*/ 4907374 w 6884782"/>
              <a:gd name="connsiteY56990" fmla="*/ 1387264 h 5973007"/>
              <a:gd name="connsiteX56991" fmla="*/ 4908654 w 6884782"/>
              <a:gd name="connsiteY56991" fmla="*/ 1386837 h 5973007"/>
              <a:gd name="connsiteX56992" fmla="*/ 4910788 w 6884782"/>
              <a:gd name="connsiteY56992" fmla="*/ 1377163 h 5973007"/>
              <a:gd name="connsiteX56993" fmla="*/ 4917404 w 6884782"/>
              <a:gd name="connsiteY56993" fmla="*/ 1348709 h 5973007"/>
              <a:gd name="connsiteX56994" fmla="*/ 981244 w 6884782"/>
              <a:gd name="connsiteY56994" fmla="*/ 1348550 h 5973007"/>
              <a:gd name="connsiteX56995" fmla="*/ 986407 w 6884782"/>
              <a:gd name="connsiteY56995" fmla="*/ 1352422 h 5973007"/>
              <a:gd name="connsiteX56996" fmla="*/ 980934 w 6884782"/>
              <a:gd name="connsiteY56996" fmla="*/ 1357689 h 5973007"/>
              <a:gd name="connsiteX56997" fmla="*/ 977527 w 6884782"/>
              <a:gd name="connsiteY56997" fmla="*/ 1354591 h 5973007"/>
              <a:gd name="connsiteX56998" fmla="*/ 981244 w 6884782"/>
              <a:gd name="connsiteY56998" fmla="*/ 1348550 h 5973007"/>
              <a:gd name="connsiteX56999" fmla="*/ 1353379 w 6884782"/>
              <a:gd name="connsiteY56999" fmla="*/ 1348394 h 5973007"/>
              <a:gd name="connsiteX57000" fmla="*/ 1354619 w 6884782"/>
              <a:gd name="connsiteY57000" fmla="*/ 1351338 h 5973007"/>
              <a:gd name="connsiteX57001" fmla="*/ 1353793 w 6884782"/>
              <a:gd name="connsiteY57001" fmla="*/ 1351647 h 5973007"/>
              <a:gd name="connsiteX57002" fmla="*/ 1352657 w 6884782"/>
              <a:gd name="connsiteY57002" fmla="*/ 1350254 h 5973007"/>
              <a:gd name="connsiteX57003" fmla="*/ 1353379 w 6884782"/>
              <a:gd name="connsiteY57003" fmla="*/ 1348394 h 5973007"/>
              <a:gd name="connsiteX57004" fmla="*/ 1716532 w 6884782"/>
              <a:gd name="connsiteY57004" fmla="*/ 1347620 h 5973007"/>
              <a:gd name="connsiteX57005" fmla="*/ 1725928 w 6884782"/>
              <a:gd name="connsiteY57005" fmla="*/ 1353971 h 5973007"/>
              <a:gd name="connsiteX57006" fmla="*/ 1720972 w 6884782"/>
              <a:gd name="connsiteY57006" fmla="*/ 1356449 h 5973007"/>
              <a:gd name="connsiteX57007" fmla="*/ 1716532 w 6884782"/>
              <a:gd name="connsiteY57007" fmla="*/ 1347620 h 5973007"/>
              <a:gd name="connsiteX57008" fmla="*/ 3997352 w 6884782"/>
              <a:gd name="connsiteY57008" fmla="*/ 1347571 h 5973007"/>
              <a:gd name="connsiteX57009" fmla="*/ 3998419 w 6884782"/>
              <a:gd name="connsiteY57009" fmla="*/ 1348994 h 5973007"/>
              <a:gd name="connsiteX57010" fmla="*/ 3999059 w 6884782"/>
              <a:gd name="connsiteY57010" fmla="*/ 1351839 h 5973007"/>
              <a:gd name="connsiteX57011" fmla="*/ 3993297 w 6884782"/>
              <a:gd name="connsiteY57011" fmla="*/ 1353404 h 5973007"/>
              <a:gd name="connsiteX57012" fmla="*/ 3990949 w 6884782"/>
              <a:gd name="connsiteY57012" fmla="*/ 1350701 h 5973007"/>
              <a:gd name="connsiteX57013" fmla="*/ 3993724 w 6884782"/>
              <a:gd name="connsiteY57013" fmla="*/ 1347998 h 5973007"/>
              <a:gd name="connsiteX57014" fmla="*/ 3997352 w 6884782"/>
              <a:gd name="connsiteY57014" fmla="*/ 1347571 h 5973007"/>
              <a:gd name="connsiteX57015" fmla="*/ 5130824 w 6884782"/>
              <a:gd name="connsiteY57015" fmla="*/ 1347286 h 5973007"/>
              <a:gd name="connsiteX57016" fmla="*/ 5134239 w 6884782"/>
              <a:gd name="connsiteY57016" fmla="*/ 1347998 h 5973007"/>
              <a:gd name="connsiteX57017" fmla="*/ 5133598 w 6884782"/>
              <a:gd name="connsiteY57017" fmla="*/ 1356676 h 5973007"/>
              <a:gd name="connsiteX57018" fmla="*/ 5130184 w 6884782"/>
              <a:gd name="connsiteY57018" fmla="*/ 1358525 h 5973007"/>
              <a:gd name="connsiteX57019" fmla="*/ 5124848 w 6884782"/>
              <a:gd name="connsiteY57019" fmla="*/ 1356534 h 5973007"/>
              <a:gd name="connsiteX57020" fmla="*/ 5130824 w 6884782"/>
              <a:gd name="connsiteY57020" fmla="*/ 1347286 h 5973007"/>
              <a:gd name="connsiteX57021" fmla="*/ 3606794 w 6884782"/>
              <a:gd name="connsiteY57021" fmla="*/ 1347286 h 5973007"/>
              <a:gd name="connsiteX57022" fmla="*/ 3610422 w 6884782"/>
              <a:gd name="connsiteY57022" fmla="*/ 1349563 h 5973007"/>
              <a:gd name="connsiteX57023" fmla="*/ 3609782 w 6884782"/>
              <a:gd name="connsiteY57023" fmla="*/ 1350558 h 5973007"/>
              <a:gd name="connsiteX57024" fmla="*/ 3606794 w 6884782"/>
              <a:gd name="connsiteY57024" fmla="*/ 1347286 h 5973007"/>
              <a:gd name="connsiteX57025" fmla="*/ 5466320 w 6884782"/>
              <a:gd name="connsiteY57025" fmla="*/ 1346860 h 5973007"/>
              <a:gd name="connsiteX57026" fmla="*/ 5474644 w 6884782"/>
              <a:gd name="connsiteY57026" fmla="*/ 1351981 h 5973007"/>
              <a:gd name="connsiteX57027" fmla="*/ 5469308 w 6884782"/>
              <a:gd name="connsiteY57027" fmla="*/ 1359095 h 5973007"/>
              <a:gd name="connsiteX57028" fmla="*/ 5462051 w 6884782"/>
              <a:gd name="connsiteY57028" fmla="*/ 1351555 h 5973007"/>
              <a:gd name="connsiteX57029" fmla="*/ 5466320 w 6884782"/>
              <a:gd name="connsiteY57029" fmla="*/ 1346860 h 5973007"/>
              <a:gd name="connsiteX57030" fmla="*/ 1136955 w 6884782"/>
              <a:gd name="connsiteY57030" fmla="*/ 1345452 h 5973007"/>
              <a:gd name="connsiteX57031" fmla="*/ 1133547 w 6884782"/>
              <a:gd name="connsiteY57031" fmla="*/ 1350718 h 5973007"/>
              <a:gd name="connsiteX57032" fmla="*/ 1132411 w 6884782"/>
              <a:gd name="connsiteY57032" fmla="*/ 1351028 h 5973007"/>
              <a:gd name="connsiteX57033" fmla="*/ 1136955 w 6884782"/>
              <a:gd name="connsiteY57033" fmla="*/ 1345452 h 5973007"/>
              <a:gd name="connsiteX57034" fmla="*/ 5899135 w 6884782"/>
              <a:gd name="connsiteY57034" fmla="*/ 1345152 h 5973007"/>
              <a:gd name="connsiteX57035" fmla="*/ 5898495 w 6884782"/>
              <a:gd name="connsiteY57035" fmla="*/ 1350132 h 5973007"/>
              <a:gd name="connsiteX57036" fmla="*/ 5896147 w 6884782"/>
              <a:gd name="connsiteY57036" fmla="*/ 1350132 h 5973007"/>
              <a:gd name="connsiteX57037" fmla="*/ 5878220 w 6884782"/>
              <a:gd name="connsiteY57037" fmla="*/ 1355823 h 5973007"/>
              <a:gd name="connsiteX57038" fmla="*/ 5899135 w 6884782"/>
              <a:gd name="connsiteY57038" fmla="*/ 1345152 h 5973007"/>
              <a:gd name="connsiteX57039" fmla="*/ 5308389 w 6884782"/>
              <a:gd name="connsiteY57039" fmla="*/ 1344868 h 5973007"/>
              <a:gd name="connsiteX57040" fmla="*/ 5314579 w 6884782"/>
              <a:gd name="connsiteY57040" fmla="*/ 1346860 h 5973007"/>
              <a:gd name="connsiteX57041" fmla="*/ 5312871 w 6884782"/>
              <a:gd name="connsiteY57041" fmla="*/ 1356534 h 5973007"/>
              <a:gd name="connsiteX57042" fmla="*/ 5304334 w 6884782"/>
              <a:gd name="connsiteY57042" fmla="*/ 1354400 h 5973007"/>
              <a:gd name="connsiteX57043" fmla="*/ 5308389 w 6884782"/>
              <a:gd name="connsiteY57043" fmla="*/ 1344868 h 5973007"/>
              <a:gd name="connsiteX57044" fmla="*/ 1412442 w 6884782"/>
              <a:gd name="connsiteY57044" fmla="*/ 1344522 h 5973007"/>
              <a:gd name="connsiteX57045" fmla="*/ 1421322 w 6884782"/>
              <a:gd name="connsiteY57045" fmla="*/ 1352887 h 5973007"/>
              <a:gd name="connsiteX57046" fmla="*/ 1415746 w 6884782"/>
              <a:gd name="connsiteY57046" fmla="*/ 1353196 h 5973007"/>
              <a:gd name="connsiteX57047" fmla="*/ 1411719 w 6884782"/>
              <a:gd name="connsiteY57047" fmla="*/ 1347311 h 5973007"/>
              <a:gd name="connsiteX57048" fmla="*/ 1412442 w 6884782"/>
              <a:gd name="connsiteY57048" fmla="*/ 1344522 h 5973007"/>
              <a:gd name="connsiteX57049" fmla="*/ 4095739 w 6884782"/>
              <a:gd name="connsiteY57049" fmla="*/ 1344441 h 5973007"/>
              <a:gd name="connsiteX57050" fmla="*/ 4098299 w 6884782"/>
              <a:gd name="connsiteY57050" fmla="*/ 1344726 h 5973007"/>
              <a:gd name="connsiteX57051" fmla="*/ 4101714 w 6884782"/>
              <a:gd name="connsiteY57051" fmla="*/ 1346433 h 5973007"/>
              <a:gd name="connsiteX57052" fmla="*/ 4100220 w 6884782"/>
              <a:gd name="connsiteY57052" fmla="*/ 1352550 h 5973007"/>
              <a:gd name="connsiteX57053" fmla="*/ 4097659 w 6884782"/>
              <a:gd name="connsiteY57053" fmla="*/ 1352266 h 5973007"/>
              <a:gd name="connsiteX57054" fmla="*/ 4094884 w 6884782"/>
              <a:gd name="connsiteY57054" fmla="*/ 1349421 h 5973007"/>
              <a:gd name="connsiteX57055" fmla="*/ 4095739 w 6884782"/>
              <a:gd name="connsiteY57055" fmla="*/ 1344441 h 5973007"/>
              <a:gd name="connsiteX57056" fmla="*/ 5829987 w 6884782"/>
              <a:gd name="connsiteY57056" fmla="*/ 1344014 h 5973007"/>
              <a:gd name="connsiteX57057" fmla="*/ 5831694 w 6884782"/>
              <a:gd name="connsiteY57057" fmla="*/ 1345864 h 5973007"/>
              <a:gd name="connsiteX57058" fmla="*/ 5830841 w 6884782"/>
              <a:gd name="connsiteY57058" fmla="*/ 1347713 h 5973007"/>
              <a:gd name="connsiteX57059" fmla="*/ 5828280 w 6884782"/>
              <a:gd name="connsiteY57059" fmla="*/ 1350132 h 5973007"/>
              <a:gd name="connsiteX57060" fmla="*/ 5826786 w 6884782"/>
              <a:gd name="connsiteY57060" fmla="*/ 1352408 h 5973007"/>
              <a:gd name="connsiteX57061" fmla="*/ 5823158 w 6884782"/>
              <a:gd name="connsiteY57061" fmla="*/ 1352408 h 5973007"/>
              <a:gd name="connsiteX57062" fmla="*/ 5824652 w 6884782"/>
              <a:gd name="connsiteY57062" fmla="*/ 1349989 h 5973007"/>
              <a:gd name="connsiteX57063" fmla="*/ 5829987 w 6884782"/>
              <a:gd name="connsiteY57063" fmla="*/ 1344014 h 5973007"/>
              <a:gd name="connsiteX57064" fmla="*/ 4615202 w 6884782"/>
              <a:gd name="connsiteY57064" fmla="*/ 1343730 h 5973007"/>
              <a:gd name="connsiteX57065" fmla="*/ 4622458 w 6884782"/>
              <a:gd name="connsiteY57065" fmla="*/ 1368627 h 5973007"/>
              <a:gd name="connsiteX57066" fmla="*/ 4610933 w 6884782"/>
              <a:gd name="connsiteY57066" fmla="*/ 1368200 h 5973007"/>
              <a:gd name="connsiteX57067" fmla="*/ 4606452 w 6884782"/>
              <a:gd name="connsiteY57067" fmla="*/ 1362509 h 5973007"/>
              <a:gd name="connsiteX57068" fmla="*/ 4606238 w 6884782"/>
              <a:gd name="connsiteY57068" fmla="*/ 1360091 h 5973007"/>
              <a:gd name="connsiteX57069" fmla="*/ 4606238 w 6884782"/>
              <a:gd name="connsiteY57069" fmla="*/ 1360233 h 5973007"/>
              <a:gd name="connsiteX57070" fmla="*/ 4594500 w 6884782"/>
              <a:gd name="connsiteY57070" fmla="*/ 1352408 h 5973007"/>
              <a:gd name="connsiteX57071" fmla="*/ 4601116 w 6884782"/>
              <a:gd name="connsiteY57071" fmla="*/ 1344157 h 5973007"/>
              <a:gd name="connsiteX57072" fmla="*/ 4608586 w 6884782"/>
              <a:gd name="connsiteY57072" fmla="*/ 1347856 h 5973007"/>
              <a:gd name="connsiteX57073" fmla="*/ 4941734 w 6884782"/>
              <a:gd name="connsiteY57073" fmla="*/ 1343587 h 5973007"/>
              <a:gd name="connsiteX57074" fmla="*/ 4945149 w 6884782"/>
              <a:gd name="connsiteY57074" fmla="*/ 1344157 h 5973007"/>
              <a:gd name="connsiteX57075" fmla="*/ 4946216 w 6884782"/>
              <a:gd name="connsiteY57075" fmla="*/ 1351270 h 5973007"/>
              <a:gd name="connsiteX57076" fmla="*/ 4937679 w 6884782"/>
              <a:gd name="connsiteY57076" fmla="*/ 1348140 h 5973007"/>
              <a:gd name="connsiteX57077" fmla="*/ 4938533 w 6884782"/>
              <a:gd name="connsiteY57077" fmla="*/ 1345721 h 5973007"/>
              <a:gd name="connsiteX57078" fmla="*/ 4941734 w 6884782"/>
              <a:gd name="connsiteY57078" fmla="*/ 1343587 h 5973007"/>
              <a:gd name="connsiteX57079" fmla="*/ 4774413 w 6884782"/>
              <a:gd name="connsiteY57079" fmla="*/ 1343445 h 5973007"/>
              <a:gd name="connsiteX57080" fmla="*/ 4782950 w 6884782"/>
              <a:gd name="connsiteY57080" fmla="*/ 1346860 h 5973007"/>
              <a:gd name="connsiteX57081" fmla="*/ 4774200 w 6884782"/>
              <a:gd name="connsiteY57081" fmla="*/ 1358241 h 5973007"/>
              <a:gd name="connsiteX57082" fmla="*/ 4772706 w 6884782"/>
              <a:gd name="connsiteY57082" fmla="*/ 1356534 h 5973007"/>
              <a:gd name="connsiteX57083" fmla="*/ 4771852 w 6884782"/>
              <a:gd name="connsiteY57083" fmla="*/ 1358952 h 5973007"/>
              <a:gd name="connsiteX57084" fmla="*/ 4769718 w 6884782"/>
              <a:gd name="connsiteY57084" fmla="*/ 1361940 h 5973007"/>
              <a:gd name="connsiteX57085" fmla="*/ 4761394 w 6884782"/>
              <a:gd name="connsiteY57085" fmla="*/ 1359237 h 5973007"/>
              <a:gd name="connsiteX57086" fmla="*/ 4760114 w 6884782"/>
              <a:gd name="connsiteY57086" fmla="*/ 1355538 h 5973007"/>
              <a:gd name="connsiteX57087" fmla="*/ 4760967 w 6884782"/>
              <a:gd name="connsiteY57087" fmla="*/ 1348424 h 5973007"/>
              <a:gd name="connsiteX57088" fmla="*/ 4759901 w 6884782"/>
              <a:gd name="connsiteY57088" fmla="*/ 1348424 h 5973007"/>
              <a:gd name="connsiteX57089" fmla="*/ 4766730 w 6884782"/>
              <a:gd name="connsiteY57089" fmla="*/ 1347571 h 5973007"/>
              <a:gd name="connsiteX57090" fmla="*/ 4767370 w 6884782"/>
              <a:gd name="connsiteY57090" fmla="*/ 1348282 h 5973007"/>
              <a:gd name="connsiteX57091" fmla="*/ 4766943 w 6884782"/>
              <a:gd name="connsiteY57091" fmla="*/ 1347286 h 5973007"/>
              <a:gd name="connsiteX57092" fmla="*/ 4774413 w 6884782"/>
              <a:gd name="connsiteY57092" fmla="*/ 1343445 h 5973007"/>
              <a:gd name="connsiteX57093" fmla="*/ 962658 w 6884782"/>
              <a:gd name="connsiteY57093" fmla="*/ 1342973 h 5973007"/>
              <a:gd name="connsiteX57094" fmla="*/ 965136 w 6884782"/>
              <a:gd name="connsiteY57094" fmla="*/ 1343438 h 5973007"/>
              <a:gd name="connsiteX57095" fmla="*/ 965033 w 6884782"/>
              <a:gd name="connsiteY57095" fmla="*/ 1350873 h 5973007"/>
              <a:gd name="connsiteX57096" fmla="*/ 962452 w 6884782"/>
              <a:gd name="connsiteY57096" fmla="*/ 1351492 h 5973007"/>
              <a:gd name="connsiteX57097" fmla="*/ 959354 w 6884782"/>
              <a:gd name="connsiteY57097" fmla="*/ 1346071 h 5973007"/>
              <a:gd name="connsiteX57098" fmla="*/ 960799 w 6884782"/>
              <a:gd name="connsiteY57098" fmla="*/ 1343903 h 5973007"/>
              <a:gd name="connsiteX57099" fmla="*/ 962658 w 6884782"/>
              <a:gd name="connsiteY57099" fmla="*/ 1342973 h 5973007"/>
              <a:gd name="connsiteX57100" fmla="*/ 1765578 w 6884782"/>
              <a:gd name="connsiteY57100" fmla="*/ 1341425 h 5973007"/>
              <a:gd name="connsiteX57101" fmla="*/ 1765785 w 6884782"/>
              <a:gd name="connsiteY57101" fmla="*/ 1342199 h 5973007"/>
              <a:gd name="connsiteX57102" fmla="*/ 1766198 w 6884782"/>
              <a:gd name="connsiteY57102" fmla="*/ 1341425 h 5973007"/>
              <a:gd name="connsiteX57103" fmla="*/ 1704761 w 6884782"/>
              <a:gd name="connsiteY57103" fmla="*/ 1341425 h 5973007"/>
              <a:gd name="connsiteX57104" fmla="*/ 1706826 w 6884782"/>
              <a:gd name="connsiteY57104" fmla="*/ 1342354 h 5973007"/>
              <a:gd name="connsiteX57105" fmla="*/ 1707032 w 6884782"/>
              <a:gd name="connsiteY57105" fmla="*/ 1345297 h 5973007"/>
              <a:gd name="connsiteX57106" fmla="*/ 1706309 w 6884782"/>
              <a:gd name="connsiteY57106" fmla="*/ 1345452 h 5973007"/>
              <a:gd name="connsiteX57107" fmla="*/ 1704038 w 6884782"/>
              <a:gd name="connsiteY57107" fmla="*/ 1343748 h 5973007"/>
              <a:gd name="connsiteX57108" fmla="*/ 1704761 w 6884782"/>
              <a:gd name="connsiteY57108" fmla="*/ 1341425 h 5973007"/>
              <a:gd name="connsiteX57109" fmla="*/ 1690511 w 6884782"/>
              <a:gd name="connsiteY57109" fmla="*/ 1341425 h 5973007"/>
              <a:gd name="connsiteX57110" fmla="*/ 1670066 w 6884782"/>
              <a:gd name="connsiteY57110" fmla="*/ 1354126 h 5973007"/>
              <a:gd name="connsiteX57111" fmla="*/ 1690511 w 6884782"/>
              <a:gd name="connsiteY57111" fmla="*/ 1341425 h 5973007"/>
              <a:gd name="connsiteX57112" fmla="*/ 4668557 w 6884782"/>
              <a:gd name="connsiteY57112" fmla="*/ 1341169 h 5973007"/>
              <a:gd name="connsiteX57113" fmla="*/ 4672185 w 6884782"/>
              <a:gd name="connsiteY57113" fmla="*/ 1343161 h 5973007"/>
              <a:gd name="connsiteX57114" fmla="*/ 4672612 w 6884782"/>
              <a:gd name="connsiteY57114" fmla="*/ 1347429 h 5973007"/>
              <a:gd name="connsiteX57115" fmla="*/ 4669624 w 6884782"/>
              <a:gd name="connsiteY57115" fmla="*/ 1350843 h 5973007"/>
              <a:gd name="connsiteX57116" fmla="*/ 4662154 w 6884782"/>
              <a:gd name="connsiteY57116" fmla="*/ 1343730 h 5973007"/>
              <a:gd name="connsiteX57117" fmla="*/ 4668557 w 6884782"/>
              <a:gd name="connsiteY57117" fmla="*/ 1341169 h 5973007"/>
              <a:gd name="connsiteX57118" fmla="*/ 1142737 w 6884782"/>
              <a:gd name="connsiteY57118" fmla="*/ 1341114 h 5973007"/>
              <a:gd name="connsiteX57119" fmla="*/ 1151410 w 6884782"/>
              <a:gd name="connsiteY57119" fmla="*/ 1342818 h 5973007"/>
              <a:gd name="connsiteX57120" fmla="*/ 1152856 w 6884782"/>
              <a:gd name="connsiteY57120" fmla="*/ 1343748 h 5973007"/>
              <a:gd name="connsiteX57121" fmla="*/ 1153579 w 6884782"/>
              <a:gd name="connsiteY57121" fmla="*/ 1344058 h 5973007"/>
              <a:gd name="connsiteX57122" fmla="*/ 1154405 w 6884782"/>
              <a:gd name="connsiteY57122" fmla="*/ 1344987 h 5973007"/>
              <a:gd name="connsiteX57123" fmla="*/ 1158225 w 6884782"/>
              <a:gd name="connsiteY57123" fmla="*/ 1347465 h 5973007"/>
              <a:gd name="connsiteX57124" fmla="*/ 1155437 w 6884782"/>
              <a:gd name="connsiteY57124" fmla="*/ 1355365 h 5973007"/>
              <a:gd name="connsiteX57125" fmla="*/ 1137987 w 6884782"/>
              <a:gd name="connsiteY57125" fmla="*/ 1343438 h 5973007"/>
              <a:gd name="connsiteX57126" fmla="*/ 1142737 w 6884782"/>
              <a:gd name="connsiteY57126" fmla="*/ 1341114 h 5973007"/>
              <a:gd name="connsiteX57127" fmla="*/ 4187935 w 6884782"/>
              <a:gd name="connsiteY57127" fmla="*/ 1340457 h 5973007"/>
              <a:gd name="connsiteX57128" fmla="*/ 4206290 w 6884782"/>
              <a:gd name="connsiteY57128" fmla="*/ 1341453 h 5973007"/>
              <a:gd name="connsiteX57129" fmla="*/ 4208637 w 6884782"/>
              <a:gd name="connsiteY57129" fmla="*/ 1344014 h 5973007"/>
              <a:gd name="connsiteX57130" fmla="*/ 4209918 w 6884782"/>
              <a:gd name="connsiteY57130" fmla="*/ 1344014 h 5973007"/>
              <a:gd name="connsiteX57131" fmla="*/ 4210985 w 6884782"/>
              <a:gd name="connsiteY57131" fmla="*/ 1346575 h 5973007"/>
              <a:gd name="connsiteX57132" fmla="*/ 4204156 w 6884782"/>
              <a:gd name="connsiteY57132" fmla="*/ 1347429 h 5973007"/>
              <a:gd name="connsiteX57133" fmla="*/ 4198606 w 6884782"/>
              <a:gd name="connsiteY57133" fmla="*/ 1347144 h 5973007"/>
              <a:gd name="connsiteX57134" fmla="*/ 4180039 w 6884782"/>
              <a:gd name="connsiteY57134" fmla="*/ 1341453 h 5973007"/>
              <a:gd name="connsiteX57135" fmla="*/ 4187935 w 6884782"/>
              <a:gd name="connsiteY57135" fmla="*/ 1340457 h 5973007"/>
              <a:gd name="connsiteX57136" fmla="*/ 1527470 w 6884782"/>
              <a:gd name="connsiteY57136" fmla="*/ 1340030 h 5973007"/>
              <a:gd name="connsiteX57137" fmla="*/ 1527882 w 6884782"/>
              <a:gd name="connsiteY57137" fmla="*/ 1340650 h 5973007"/>
              <a:gd name="connsiteX57138" fmla="*/ 1530258 w 6884782"/>
              <a:gd name="connsiteY57138" fmla="*/ 1341114 h 5973007"/>
              <a:gd name="connsiteX57139" fmla="*/ 1536143 w 6884782"/>
              <a:gd name="connsiteY57139" fmla="*/ 1340030 h 5973007"/>
              <a:gd name="connsiteX57140" fmla="*/ 1541822 w 6884782"/>
              <a:gd name="connsiteY57140" fmla="*/ 1342199 h 5973007"/>
              <a:gd name="connsiteX57141" fmla="*/ 1541202 w 6884782"/>
              <a:gd name="connsiteY57141" fmla="*/ 1344522 h 5973007"/>
              <a:gd name="connsiteX57142" fmla="*/ 1543577 w 6884782"/>
              <a:gd name="connsiteY57142" fmla="*/ 1344832 h 5973007"/>
              <a:gd name="connsiteX57143" fmla="*/ 1548637 w 6884782"/>
              <a:gd name="connsiteY57143" fmla="*/ 1353971 h 5973007"/>
              <a:gd name="connsiteX57144" fmla="*/ 1546159 w 6884782"/>
              <a:gd name="connsiteY57144" fmla="*/ 1358463 h 5973007"/>
              <a:gd name="connsiteX57145" fmla="*/ 1543164 w 6884782"/>
              <a:gd name="connsiteY57145" fmla="*/ 1360322 h 5973007"/>
              <a:gd name="connsiteX57146" fmla="*/ 1542958 w 6884782"/>
              <a:gd name="connsiteY57146" fmla="*/ 1360322 h 5973007"/>
              <a:gd name="connsiteX57147" fmla="*/ 1541099 w 6884782"/>
              <a:gd name="connsiteY57147" fmla="*/ 1365743 h 5973007"/>
              <a:gd name="connsiteX57148" fmla="*/ 1540686 w 6884782"/>
              <a:gd name="connsiteY57148" fmla="*/ 1366208 h 5973007"/>
              <a:gd name="connsiteX57149" fmla="*/ 1540583 w 6884782"/>
              <a:gd name="connsiteY57149" fmla="*/ 1366518 h 5973007"/>
              <a:gd name="connsiteX57150" fmla="*/ 1535524 w 6884782"/>
              <a:gd name="connsiteY57150" fmla="*/ 1377515 h 5973007"/>
              <a:gd name="connsiteX57151" fmla="*/ 1534181 w 6884782"/>
              <a:gd name="connsiteY57151" fmla="*/ 1370390 h 5973007"/>
              <a:gd name="connsiteX57152" fmla="*/ 1533665 w 6884782"/>
              <a:gd name="connsiteY57152" fmla="*/ 1370390 h 5973007"/>
              <a:gd name="connsiteX57153" fmla="*/ 1534491 w 6884782"/>
              <a:gd name="connsiteY57153" fmla="*/ 1373333 h 5973007"/>
              <a:gd name="connsiteX57154" fmla="*/ 1533355 w 6884782"/>
              <a:gd name="connsiteY57154" fmla="*/ 1376741 h 5973007"/>
              <a:gd name="connsiteX57155" fmla="*/ 1531806 w 6884782"/>
              <a:gd name="connsiteY57155" fmla="*/ 1373023 h 5973007"/>
              <a:gd name="connsiteX57156" fmla="*/ 1531393 w 6884782"/>
              <a:gd name="connsiteY57156" fmla="*/ 1371164 h 5973007"/>
              <a:gd name="connsiteX57157" fmla="*/ 1532632 w 6884782"/>
              <a:gd name="connsiteY57157" fmla="*/ 1370390 h 5973007"/>
              <a:gd name="connsiteX57158" fmla="*/ 1532323 w 6884782"/>
              <a:gd name="connsiteY57158" fmla="*/ 1370390 h 5973007"/>
              <a:gd name="connsiteX57159" fmla="*/ 1527366 w 6884782"/>
              <a:gd name="connsiteY57159" fmla="*/ 1367912 h 5973007"/>
              <a:gd name="connsiteX57160" fmla="*/ 1532942 w 6884782"/>
              <a:gd name="connsiteY57160" fmla="*/ 1362800 h 5973007"/>
              <a:gd name="connsiteX57161" fmla="*/ 1533458 w 6884782"/>
              <a:gd name="connsiteY57161" fmla="*/ 1362181 h 5973007"/>
              <a:gd name="connsiteX57162" fmla="*/ 1533665 w 6884782"/>
              <a:gd name="connsiteY57162" fmla="*/ 1358463 h 5973007"/>
              <a:gd name="connsiteX57163" fmla="*/ 1534181 w 6884782"/>
              <a:gd name="connsiteY57163" fmla="*/ 1357224 h 5973007"/>
              <a:gd name="connsiteX57164" fmla="*/ 1532942 w 6884782"/>
              <a:gd name="connsiteY57164" fmla="*/ 1355520 h 5973007"/>
              <a:gd name="connsiteX57165" fmla="*/ 1532735 w 6884782"/>
              <a:gd name="connsiteY57165" fmla="*/ 1352887 h 5973007"/>
              <a:gd name="connsiteX57166" fmla="*/ 1537279 w 6884782"/>
              <a:gd name="connsiteY57166" fmla="*/ 1345142 h 5973007"/>
              <a:gd name="connsiteX57167" fmla="*/ 1536556 w 6884782"/>
              <a:gd name="connsiteY57167" fmla="*/ 1345607 h 5973007"/>
              <a:gd name="connsiteX57168" fmla="*/ 1524475 w 6884782"/>
              <a:gd name="connsiteY57168" fmla="*/ 1342818 h 5973007"/>
              <a:gd name="connsiteX57169" fmla="*/ 1524268 w 6884782"/>
              <a:gd name="connsiteY57169" fmla="*/ 1342509 h 5973007"/>
              <a:gd name="connsiteX57170" fmla="*/ 1524062 w 6884782"/>
              <a:gd name="connsiteY57170" fmla="*/ 1342664 h 5973007"/>
              <a:gd name="connsiteX57171" fmla="*/ 1523959 w 6884782"/>
              <a:gd name="connsiteY57171" fmla="*/ 1342354 h 5973007"/>
              <a:gd name="connsiteX57172" fmla="*/ 1522823 w 6884782"/>
              <a:gd name="connsiteY57172" fmla="*/ 1341114 h 5973007"/>
              <a:gd name="connsiteX57173" fmla="*/ 1525507 w 6884782"/>
              <a:gd name="connsiteY57173" fmla="*/ 1340340 h 5973007"/>
              <a:gd name="connsiteX57174" fmla="*/ 1526643 w 6884782"/>
              <a:gd name="connsiteY57174" fmla="*/ 1340495 h 5973007"/>
              <a:gd name="connsiteX57175" fmla="*/ 1527470 w 6884782"/>
              <a:gd name="connsiteY57175" fmla="*/ 1340030 h 5973007"/>
              <a:gd name="connsiteX57176" fmla="*/ 1581886 w 6884782"/>
              <a:gd name="connsiteY57176" fmla="*/ 1338326 h 5973007"/>
              <a:gd name="connsiteX57177" fmla="*/ 1577755 w 6884782"/>
              <a:gd name="connsiteY57177" fmla="*/ 1348704 h 5973007"/>
              <a:gd name="connsiteX57178" fmla="*/ 1569082 w 6884782"/>
              <a:gd name="connsiteY57178" fmla="*/ 1357533 h 5973007"/>
              <a:gd name="connsiteX57179" fmla="*/ 1568256 w 6884782"/>
              <a:gd name="connsiteY57179" fmla="*/ 1354126 h 5973007"/>
              <a:gd name="connsiteX57180" fmla="*/ 1568566 w 6884782"/>
              <a:gd name="connsiteY57180" fmla="*/ 1350873 h 5973007"/>
              <a:gd name="connsiteX57181" fmla="*/ 1581886 w 6884782"/>
              <a:gd name="connsiteY57181" fmla="*/ 1338326 h 5973007"/>
              <a:gd name="connsiteX57182" fmla="*/ 5573670 w 6884782"/>
              <a:gd name="connsiteY57182" fmla="*/ 1337897 h 5973007"/>
              <a:gd name="connsiteX57183" fmla="*/ 5577511 w 6884782"/>
              <a:gd name="connsiteY57183" fmla="*/ 1338892 h 5973007"/>
              <a:gd name="connsiteX57184" fmla="*/ 5579006 w 6884782"/>
              <a:gd name="connsiteY57184" fmla="*/ 1342307 h 5973007"/>
              <a:gd name="connsiteX57185" fmla="*/ 5578152 w 6884782"/>
              <a:gd name="connsiteY57185" fmla="*/ 1344868 h 5973007"/>
              <a:gd name="connsiteX57186" fmla="*/ 5556810 w 6884782"/>
              <a:gd name="connsiteY57186" fmla="*/ 1351697 h 5973007"/>
              <a:gd name="connsiteX57187" fmla="*/ 5560225 w 6884782"/>
              <a:gd name="connsiteY57187" fmla="*/ 1340884 h 5973007"/>
              <a:gd name="connsiteX57188" fmla="*/ 5564707 w 6884782"/>
              <a:gd name="connsiteY57188" fmla="*/ 1338466 h 5973007"/>
              <a:gd name="connsiteX57189" fmla="*/ 5569615 w 6884782"/>
              <a:gd name="connsiteY57189" fmla="*/ 1338750 h 5973007"/>
              <a:gd name="connsiteX57190" fmla="*/ 5573670 w 6884782"/>
              <a:gd name="connsiteY57190" fmla="*/ 1337897 h 5973007"/>
              <a:gd name="connsiteX57191" fmla="*/ 1069322 w 6884782"/>
              <a:gd name="connsiteY57191" fmla="*/ 1337861 h 5973007"/>
              <a:gd name="connsiteX57192" fmla="*/ 1076240 w 6884782"/>
              <a:gd name="connsiteY57192" fmla="*/ 1345607 h 5973007"/>
              <a:gd name="connsiteX57193" fmla="*/ 1066224 w 6884782"/>
              <a:gd name="connsiteY57193" fmla="*/ 1343438 h 5973007"/>
              <a:gd name="connsiteX57194" fmla="*/ 1069322 w 6884782"/>
              <a:gd name="connsiteY57194" fmla="*/ 1337861 h 5973007"/>
              <a:gd name="connsiteX57195" fmla="*/ 1657779 w 6884782"/>
              <a:gd name="connsiteY57195" fmla="*/ 1337552 h 5973007"/>
              <a:gd name="connsiteX57196" fmla="*/ 1658502 w 6884782"/>
              <a:gd name="connsiteY57196" fmla="*/ 1338791 h 5973007"/>
              <a:gd name="connsiteX57197" fmla="*/ 1657882 w 6884782"/>
              <a:gd name="connsiteY57197" fmla="*/ 1340185 h 5973007"/>
              <a:gd name="connsiteX57198" fmla="*/ 1656333 w 6884782"/>
              <a:gd name="connsiteY57198" fmla="*/ 1343438 h 5973007"/>
              <a:gd name="connsiteX57199" fmla="*/ 1657779 w 6884782"/>
              <a:gd name="connsiteY57199" fmla="*/ 1337552 h 5973007"/>
              <a:gd name="connsiteX57200" fmla="*/ 1527160 w 6884782"/>
              <a:gd name="connsiteY57200" fmla="*/ 1337242 h 5973007"/>
              <a:gd name="connsiteX57201" fmla="*/ 1527882 w 6884782"/>
              <a:gd name="connsiteY57201" fmla="*/ 1337552 h 5973007"/>
              <a:gd name="connsiteX57202" fmla="*/ 1526334 w 6884782"/>
              <a:gd name="connsiteY57202" fmla="*/ 1338946 h 5973007"/>
              <a:gd name="connsiteX57203" fmla="*/ 1526024 w 6884782"/>
              <a:gd name="connsiteY57203" fmla="*/ 1338171 h 5973007"/>
              <a:gd name="connsiteX57204" fmla="*/ 1527160 w 6884782"/>
              <a:gd name="connsiteY57204" fmla="*/ 1337242 h 5973007"/>
              <a:gd name="connsiteX57205" fmla="*/ 4634410 w 6884782"/>
              <a:gd name="connsiteY57205" fmla="*/ 1336901 h 5973007"/>
              <a:gd name="connsiteX57206" fmla="*/ 4644014 w 6884782"/>
              <a:gd name="connsiteY57206" fmla="*/ 1342734 h 5973007"/>
              <a:gd name="connsiteX57207" fmla="*/ 4634196 w 6884782"/>
              <a:gd name="connsiteY57207" fmla="*/ 1355396 h 5973007"/>
              <a:gd name="connsiteX57208" fmla="*/ 4634410 w 6884782"/>
              <a:gd name="connsiteY57208" fmla="*/ 1336901 h 5973007"/>
              <a:gd name="connsiteX57209" fmla="*/ 1287193 w 6884782"/>
              <a:gd name="connsiteY57209" fmla="*/ 1336003 h 5973007"/>
              <a:gd name="connsiteX57210" fmla="*/ 1288432 w 6884782"/>
              <a:gd name="connsiteY57210" fmla="*/ 1336623 h 5973007"/>
              <a:gd name="connsiteX57211" fmla="*/ 1289051 w 6884782"/>
              <a:gd name="connsiteY57211" fmla="*/ 1338326 h 5973007"/>
              <a:gd name="connsiteX57212" fmla="*/ 1289258 w 6884782"/>
              <a:gd name="connsiteY57212" fmla="*/ 1339101 h 5973007"/>
              <a:gd name="connsiteX57213" fmla="*/ 1291013 w 6884782"/>
              <a:gd name="connsiteY57213" fmla="*/ 1338326 h 5973007"/>
              <a:gd name="connsiteX57214" fmla="*/ 1297415 w 6884782"/>
              <a:gd name="connsiteY57214" fmla="*/ 1344368 h 5973007"/>
              <a:gd name="connsiteX57215" fmla="*/ 1282236 w 6884782"/>
              <a:gd name="connsiteY57215" fmla="*/ 1353042 h 5973007"/>
              <a:gd name="connsiteX57216" fmla="*/ 1281720 w 6884782"/>
              <a:gd name="connsiteY57216" fmla="*/ 1349634 h 5973007"/>
              <a:gd name="connsiteX57217" fmla="*/ 1287193 w 6884782"/>
              <a:gd name="connsiteY57217" fmla="*/ 1340185 h 5973007"/>
              <a:gd name="connsiteX57218" fmla="*/ 1288741 w 6884782"/>
              <a:gd name="connsiteY57218" fmla="*/ 1339411 h 5973007"/>
              <a:gd name="connsiteX57219" fmla="*/ 1387144 w 6884782"/>
              <a:gd name="connsiteY57219" fmla="*/ 1334609 h 5973007"/>
              <a:gd name="connsiteX57220" fmla="*/ 1388797 w 6884782"/>
              <a:gd name="connsiteY57220" fmla="*/ 1335538 h 5973007"/>
              <a:gd name="connsiteX57221" fmla="*/ 1390242 w 6884782"/>
              <a:gd name="connsiteY57221" fmla="*/ 1337552 h 5973007"/>
              <a:gd name="connsiteX57222" fmla="*/ 1386834 w 6884782"/>
              <a:gd name="connsiteY57222" fmla="*/ 1340960 h 5973007"/>
              <a:gd name="connsiteX57223" fmla="*/ 1385079 w 6884782"/>
              <a:gd name="connsiteY57223" fmla="*/ 1340030 h 5973007"/>
              <a:gd name="connsiteX57224" fmla="*/ 1384460 w 6884782"/>
              <a:gd name="connsiteY57224" fmla="*/ 1337397 h 5973007"/>
              <a:gd name="connsiteX57225" fmla="*/ 1387144 w 6884782"/>
              <a:gd name="connsiteY57225" fmla="*/ 1334609 h 5973007"/>
              <a:gd name="connsiteX57226" fmla="*/ 5824011 w 6884782"/>
              <a:gd name="connsiteY57226" fmla="*/ 1334340 h 5973007"/>
              <a:gd name="connsiteX57227" fmla="*/ 5826359 w 6884782"/>
              <a:gd name="connsiteY57227" fmla="*/ 1334482 h 5973007"/>
              <a:gd name="connsiteX57228" fmla="*/ 5823158 w 6884782"/>
              <a:gd name="connsiteY57228" fmla="*/ 1341880 h 5973007"/>
              <a:gd name="connsiteX57229" fmla="*/ 5819743 w 6884782"/>
              <a:gd name="connsiteY57229" fmla="*/ 1343018 h 5973007"/>
              <a:gd name="connsiteX57230" fmla="*/ 5820170 w 6884782"/>
              <a:gd name="connsiteY57230" fmla="*/ 1339320 h 5973007"/>
              <a:gd name="connsiteX57231" fmla="*/ 5822518 w 6884782"/>
              <a:gd name="connsiteY57231" fmla="*/ 1338039 h 5973007"/>
              <a:gd name="connsiteX57232" fmla="*/ 5824011 w 6884782"/>
              <a:gd name="connsiteY57232" fmla="*/ 1334340 h 5973007"/>
              <a:gd name="connsiteX57233" fmla="*/ 1529431 w 6884782"/>
              <a:gd name="connsiteY57233" fmla="*/ 1333680 h 5973007"/>
              <a:gd name="connsiteX57234" fmla="*/ 1532013 w 6884782"/>
              <a:gd name="connsiteY57234" fmla="*/ 1333835 h 5973007"/>
              <a:gd name="connsiteX57235" fmla="*/ 1527573 w 6884782"/>
              <a:gd name="connsiteY57235" fmla="*/ 1336778 h 5973007"/>
              <a:gd name="connsiteX57236" fmla="*/ 1529431 w 6884782"/>
              <a:gd name="connsiteY57236" fmla="*/ 1333680 h 5973007"/>
              <a:gd name="connsiteX57237" fmla="*/ 5375830 w 6884782"/>
              <a:gd name="connsiteY57237" fmla="*/ 1333202 h 5973007"/>
              <a:gd name="connsiteX57238" fmla="*/ 5371348 w 6884782"/>
              <a:gd name="connsiteY57238" fmla="*/ 1348282 h 5973007"/>
              <a:gd name="connsiteX57239" fmla="*/ 5367293 w 6884782"/>
              <a:gd name="connsiteY57239" fmla="*/ 1334767 h 5973007"/>
              <a:gd name="connsiteX57240" fmla="*/ 5375830 w 6884782"/>
              <a:gd name="connsiteY57240" fmla="*/ 1333202 h 5973007"/>
              <a:gd name="connsiteX57241" fmla="*/ 5011522 w 6884782"/>
              <a:gd name="connsiteY57241" fmla="*/ 1332348 h 5973007"/>
              <a:gd name="connsiteX57242" fmla="*/ 5016218 w 6884782"/>
              <a:gd name="connsiteY57242" fmla="*/ 1332775 h 5973007"/>
              <a:gd name="connsiteX57243" fmla="*/ 5018565 w 6884782"/>
              <a:gd name="connsiteY57243" fmla="*/ 1332633 h 5973007"/>
              <a:gd name="connsiteX57244" fmla="*/ 5021126 w 6884782"/>
              <a:gd name="connsiteY57244" fmla="*/ 1334909 h 5973007"/>
              <a:gd name="connsiteX57245" fmla="*/ 5011096 w 6884782"/>
              <a:gd name="connsiteY57245" fmla="*/ 1336616 h 5973007"/>
              <a:gd name="connsiteX57246" fmla="*/ 5005334 w 6884782"/>
              <a:gd name="connsiteY57246" fmla="*/ 1337043 h 5973007"/>
              <a:gd name="connsiteX57247" fmla="*/ 5002772 w 6884782"/>
              <a:gd name="connsiteY57247" fmla="*/ 1334767 h 5973007"/>
              <a:gd name="connsiteX57248" fmla="*/ 5002559 w 6884782"/>
              <a:gd name="connsiteY57248" fmla="*/ 1333486 h 5973007"/>
              <a:gd name="connsiteX57249" fmla="*/ 5004906 w 6884782"/>
              <a:gd name="connsiteY57249" fmla="*/ 1332491 h 5973007"/>
              <a:gd name="connsiteX57250" fmla="*/ 5011522 w 6884782"/>
              <a:gd name="connsiteY57250" fmla="*/ 1332348 h 5973007"/>
              <a:gd name="connsiteX57251" fmla="*/ 4115373 w 6884782"/>
              <a:gd name="connsiteY57251" fmla="*/ 1331779 h 5973007"/>
              <a:gd name="connsiteX57252" fmla="*/ 4122843 w 6884782"/>
              <a:gd name="connsiteY57252" fmla="*/ 1333486 h 5973007"/>
              <a:gd name="connsiteX57253" fmla="*/ 4119001 w 6884782"/>
              <a:gd name="connsiteY57253" fmla="*/ 1345864 h 5973007"/>
              <a:gd name="connsiteX57254" fmla="*/ 4115586 w 6884782"/>
              <a:gd name="connsiteY57254" fmla="*/ 1344726 h 5973007"/>
              <a:gd name="connsiteX57255" fmla="*/ 4111531 w 6884782"/>
              <a:gd name="connsiteY57255" fmla="*/ 1345864 h 5973007"/>
              <a:gd name="connsiteX57256" fmla="*/ 4105129 w 6884782"/>
              <a:gd name="connsiteY57256" fmla="*/ 1338750 h 5973007"/>
              <a:gd name="connsiteX57257" fmla="*/ 4108117 w 6884782"/>
              <a:gd name="connsiteY57257" fmla="*/ 1335478 h 5973007"/>
              <a:gd name="connsiteX57258" fmla="*/ 4108330 w 6884782"/>
              <a:gd name="connsiteY57258" fmla="*/ 1335336 h 5973007"/>
              <a:gd name="connsiteX57259" fmla="*/ 4108117 w 6884782"/>
              <a:gd name="connsiteY57259" fmla="*/ 1334625 h 5973007"/>
              <a:gd name="connsiteX57260" fmla="*/ 4115373 w 6884782"/>
              <a:gd name="connsiteY57260" fmla="*/ 1331779 h 5973007"/>
              <a:gd name="connsiteX57261" fmla="*/ 3652466 w 6884782"/>
              <a:gd name="connsiteY57261" fmla="*/ 1331779 h 5973007"/>
              <a:gd name="connsiteX57262" fmla="*/ 3658014 w 6884782"/>
              <a:gd name="connsiteY57262" fmla="*/ 1334055 h 5973007"/>
              <a:gd name="connsiteX57263" fmla="*/ 3657801 w 6884782"/>
              <a:gd name="connsiteY57263" fmla="*/ 1335763 h 5973007"/>
              <a:gd name="connsiteX57264" fmla="*/ 3652466 w 6884782"/>
              <a:gd name="connsiteY57264" fmla="*/ 1331779 h 5973007"/>
              <a:gd name="connsiteX57265" fmla="*/ 4253242 w 6884782"/>
              <a:gd name="connsiteY57265" fmla="*/ 1331494 h 5973007"/>
              <a:gd name="connsiteX57266" fmla="*/ 4253242 w 6884782"/>
              <a:gd name="connsiteY57266" fmla="*/ 1340173 h 5973007"/>
              <a:gd name="connsiteX57267" fmla="*/ 4254949 w 6884782"/>
              <a:gd name="connsiteY57267" fmla="*/ 1337185 h 5973007"/>
              <a:gd name="connsiteX57268" fmla="*/ 4260071 w 6884782"/>
              <a:gd name="connsiteY57268" fmla="*/ 1334909 h 5973007"/>
              <a:gd name="connsiteX57269" fmla="*/ 4263486 w 6884782"/>
              <a:gd name="connsiteY57269" fmla="*/ 1341027 h 5973007"/>
              <a:gd name="connsiteX57270" fmla="*/ 4257724 w 6884782"/>
              <a:gd name="connsiteY57270" fmla="*/ 1344441 h 5973007"/>
              <a:gd name="connsiteX57271" fmla="*/ 4253242 w 6884782"/>
              <a:gd name="connsiteY57271" fmla="*/ 1342734 h 5973007"/>
              <a:gd name="connsiteX57272" fmla="*/ 4253242 w 6884782"/>
              <a:gd name="connsiteY57272" fmla="*/ 1343872 h 5973007"/>
              <a:gd name="connsiteX57273" fmla="*/ 4253028 w 6884782"/>
              <a:gd name="connsiteY57273" fmla="*/ 1349705 h 5973007"/>
              <a:gd name="connsiteX57274" fmla="*/ 4252602 w 6884782"/>
              <a:gd name="connsiteY57274" fmla="*/ 1354542 h 5973007"/>
              <a:gd name="connsiteX57275" fmla="*/ 4250040 w 6884782"/>
              <a:gd name="connsiteY57275" fmla="*/ 1354258 h 5973007"/>
              <a:gd name="connsiteX57276" fmla="*/ 4248333 w 6884782"/>
              <a:gd name="connsiteY57276" fmla="*/ 1351555 h 5973007"/>
              <a:gd name="connsiteX57277" fmla="*/ 4248333 w 6884782"/>
              <a:gd name="connsiteY57277" fmla="*/ 1339888 h 5973007"/>
              <a:gd name="connsiteX57278" fmla="*/ 4248760 w 6884782"/>
              <a:gd name="connsiteY57278" fmla="*/ 1337043 h 5973007"/>
              <a:gd name="connsiteX57279" fmla="*/ 4249187 w 6884782"/>
              <a:gd name="connsiteY57279" fmla="*/ 1334482 h 5973007"/>
              <a:gd name="connsiteX57280" fmla="*/ 4253242 w 6884782"/>
              <a:gd name="connsiteY57280" fmla="*/ 1331494 h 5973007"/>
              <a:gd name="connsiteX57281" fmla="*/ 3896404 w 6884782"/>
              <a:gd name="connsiteY57281" fmla="*/ 1330641 h 5973007"/>
              <a:gd name="connsiteX57282" fmla="*/ 3897045 w 6884782"/>
              <a:gd name="connsiteY57282" fmla="*/ 1339462 h 5973007"/>
              <a:gd name="connsiteX57283" fmla="*/ 3888721 w 6884782"/>
              <a:gd name="connsiteY57283" fmla="*/ 1336616 h 5973007"/>
              <a:gd name="connsiteX57284" fmla="*/ 3896404 w 6884782"/>
              <a:gd name="connsiteY57284" fmla="*/ 1330641 h 5973007"/>
              <a:gd name="connsiteX57285" fmla="*/ 1045263 w 6884782"/>
              <a:gd name="connsiteY57285" fmla="*/ 1330272 h 5973007"/>
              <a:gd name="connsiteX57286" fmla="*/ 1062197 w 6884782"/>
              <a:gd name="connsiteY57286" fmla="*/ 1340650 h 5973007"/>
              <a:gd name="connsiteX57287" fmla="*/ 1058790 w 6884782"/>
              <a:gd name="connsiteY57287" fmla="*/ 1343903 h 5973007"/>
              <a:gd name="connsiteX57288" fmla="*/ 1044850 w 6884782"/>
              <a:gd name="connsiteY57288" fmla="*/ 1333680 h 5973007"/>
              <a:gd name="connsiteX57289" fmla="*/ 1045263 w 6884782"/>
              <a:gd name="connsiteY57289" fmla="*/ 1330272 h 5973007"/>
              <a:gd name="connsiteX57290" fmla="*/ 4236382 w 6884782"/>
              <a:gd name="connsiteY57290" fmla="*/ 1330214 h 5973007"/>
              <a:gd name="connsiteX57291" fmla="*/ 4244919 w 6884782"/>
              <a:gd name="connsiteY57291" fmla="*/ 1336616 h 5973007"/>
              <a:gd name="connsiteX57292" fmla="*/ 4244705 w 6884782"/>
              <a:gd name="connsiteY57292" fmla="*/ 1348424 h 5973007"/>
              <a:gd name="connsiteX57293" fmla="*/ 4240010 w 6884782"/>
              <a:gd name="connsiteY57293" fmla="*/ 1348282 h 5973007"/>
              <a:gd name="connsiteX57294" fmla="*/ 4236382 w 6884782"/>
              <a:gd name="connsiteY57294" fmla="*/ 1330214 h 5973007"/>
              <a:gd name="connsiteX57295" fmla="*/ 3726522 w 6884782"/>
              <a:gd name="connsiteY57295" fmla="*/ 1329076 h 5973007"/>
              <a:gd name="connsiteX57296" fmla="*/ 3728230 w 6884782"/>
              <a:gd name="connsiteY57296" fmla="*/ 1329787 h 5973007"/>
              <a:gd name="connsiteX57297" fmla="*/ 3732498 w 6884782"/>
              <a:gd name="connsiteY57297" fmla="*/ 1335620 h 5973007"/>
              <a:gd name="connsiteX57298" fmla="*/ 3753413 w 6884782"/>
              <a:gd name="connsiteY57298" fmla="*/ 1335620 h 5973007"/>
              <a:gd name="connsiteX57299" fmla="*/ 3754053 w 6884782"/>
              <a:gd name="connsiteY57299" fmla="*/ 1347571 h 5973007"/>
              <a:gd name="connsiteX57300" fmla="*/ 3733992 w 6884782"/>
              <a:gd name="connsiteY57300" fmla="*/ 1354827 h 5973007"/>
              <a:gd name="connsiteX57301" fmla="*/ 3733778 w 6884782"/>
              <a:gd name="connsiteY57301" fmla="*/ 1353688 h 5973007"/>
              <a:gd name="connsiteX57302" fmla="*/ 3727163 w 6884782"/>
              <a:gd name="connsiteY57302" fmla="*/ 1356392 h 5973007"/>
              <a:gd name="connsiteX57303" fmla="*/ 3726522 w 6884782"/>
              <a:gd name="connsiteY57303" fmla="*/ 1355396 h 5973007"/>
              <a:gd name="connsiteX57304" fmla="*/ 3725882 w 6884782"/>
              <a:gd name="connsiteY57304" fmla="*/ 1355396 h 5973007"/>
              <a:gd name="connsiteX57305" fmla="*/ 3722254 w 6884782"/>
              <a:gd name="connsiteY57305" fmla="*/ 1359664 h 5973007"/>
              <a:gd name="connsiteX57306" fmla="*/ 3722680 w 6884782"/>
              <a:gd name="connsiteY57306" fmla="*/ 1359522 h 5973007"/>
              <a:gd name="connsiteX57307" fmla="*/ 3732285 w 6884782"/>
              <a:gd name="connsiteY57307" fmla="*/ 1369765 h 5973007"/>
              <a:gd name="connsiteX57308" fmla="*/ 3733138 w 6884782"/>
              <a:gd name="connsiteY57308" fmla="*/ 1369907 h 5973007"/>
              <a:gd name="connsiteX57309" fmla="*/ 3732925 w 6884782"/>
              <a:gd name="connsiteY57309" fmla="*/ 1368484 h 5973007"/>
              <a:gd name="connsiteX57310" fmla="*/ 3732285 w 6884782"/>
              <a:gd name="connsiteY57310" fmla="*/ 1367062 h 5973007"/>
              <a:gd name="connsiteX57311" fmla="*/ 3733138 w 6884782"/>
              <a:gd name="connsiteY57311" fmla="*/ 1364643 h 5973007"/>
              <a:gd name="connsiteX57312" fmla="*/ 3739327 w 6884782"/>
              <a:gd name="connsiteY57312" fmla="*/ 1359522 h 5973007"/>
              <a:gd name="connsiteX57313" fmla="*/ 3740394 w 6884782"/>
              <a:gd name="connsiteY57313" fmla="*/ 1377874 h 5973007"/>
              <a:gd name="connsiteX57314" fmla="*/ 3739114 w 6884782"/>
              <a:gd name="connsiteY57314" fmla="*/ 1381715 h 5973007"/>
              <a:gd name="connsiteX57315" fmla="*/ 3741889 w 6884782"/>
              <a:gd name="connsiteY57315" fmla="*/ 1384419 h 5973007"/>
              <a:gd name="connsiteX57316" fmla="*/ 3737193 w 6884782"/>
              <a:gd name="connsiteY57316" fmla="*/ 1388260 h 5973007"/>
              <a:gd name="connsiteX57317" fmla="*/ 3734845 w 6884782"/>
              <a:gd name="connsiteY57317" fmla="*/ 1386268 h 5973007"/>
              <a:gd name="connsiteX57318" fmla="*/ 3734205 w 6884782"/>
              <a:gd name="connsiteY57318" fmla="*/ 1388402 h 5973007"/>
              <a:gd name="connsiteX57319" fmla="*/ 3728870 w 6884782"/>
              <a:gd name="connsiteY57319" fmla="*/ 1383992 h 5973007"/>
              <a:gd name="connsiteX57320" fmla="*/ 3726522 w 6884782"/>
              <a:gd name="connsiteY57320" fmla="*/ 1382854 h 5973007"/>
              <a:gd name="connsiteX57321" fmla="*/ 3728656 w 6884782"/>
              <a:gd name="connsiteY57321" fmla="*/ 1381573 h 5973007"/>
              <a:gd name="connsiteX57322" fmla="*/ 3731431 w 6884782"/>
              <a:gd name="connsiteY57322" fmla="*/ 1384988 h 5973007"/>
              <a:gd name="connsiteX57323" fmla="*/ 3733351 w 6884782"/>
              <a:gd name="connsiteY57323" fmla="*/ 1383707 h 5973007"/>
              <a:gd name="connsiteX57324" fmla="*/ 3734845 w 6884782"/>
              <a:gd name="connsiteY57324" fmla="*/ 1384845 h 5973007"/>
              <a:gd name="connsiteX57325" fmla="*/ 3735059 w 6884782"/>
              <a:gd name="connsiteY57325" fmla="*/ 1385130 h 5973007"/>
              <a:gd name="connsiteX57326" fmla="*/ 3735272 w 6884782"/>
              <a:gd name="connsiteY57326" fmla="*/ 1384988 h 5973007"/>
              <a:gd name="connsiteX57327" fmla="*/ 3734845 w 6884782"/>
              <a:gd name="connsiteY57327" fmla="*/ 1384845 h 5973007"/>
              <a:gd name="connsiteX57328" fmla="*/ 3733992 w 6884782"/>
              <a:gd name="connsiteY57328" fmla="*/ 1373037 h 5973007"/>
              <a:gd name="connsiteX57329" fmla="*/ 3732711 w 6884782"/>
              <a:gd name="connsiteY57329" fmla="*/ 1372326 h 5973007"/>
              <a:gd name="connsiteX57330" fmla="*/ 3731644 w 6884782"/>
              <a:gd name="connsiteY57330" fmla="*/ 1373037 h 5973007"/>
              <a:gd name="connsiteX57331" fmla="*/ 3731218 w 6884782"/>
              <a:gd name="connsiteY57331" fmla="*/ 1376309 h 5973007"/>
              <a:gd name="connsiteX57332" fmla="*/ 3721827 w 6884782"/>
              <a:gd name="connsiteY57332" fmla="*/ 1382427 h 5973007"/>
              <a:gd name="connsiteX57333" fmla="*/ 3713717 w 6884782"/>
              <a:gd name="connsiteY57333" fmla="*/ 1376452 h 5973007"/>
              <a:gd name="connsiteX57334" fmla="*/ 3713076 w 6884782"/>
              <a:gd name="connsiteY57334" fmla="*/ 1375455 h 5973007"/>
              <a:gd name="connsiteX57335" fmla="*/ 3711796 w 6884782"/>
              <a:gd name="connsiteY57335" fmla="*/ 1374744 h 5973007"/>
              <a:gd name="connsiteX57336" fmla="*/ 3707314 w 6884782"/>
              <a:gd name="connsiteY57336" fmla="*/ 1372183 h 5973007"/>
              <a:gd name="connsiteX57337" fmla="*/ 3707314 w 6884782"/>
              <a:gd name="connsiteY57337" fmla="*/ 1370903 h 5973007"/>
              <a:gd name="connsiteX57338" fmla="*/ 3709662 w 6884782"/>
              <a:gd name="connsiteY57338" fmla="*/ 1369623 h 5973007"/>
              <a:gd name="connsiteX57339" fmla="*/ 3711369 w 6884782"/>
              <a:gd name="connsiteY57339" fmla="*/ 1370334 h 5973007"/>
              <a:gd name="connsiteX57340" fmla="*/ 3710943 w 6884782"/>
              <a:gd name="connsiteY57340" fmla="*/ 1365781 h 5973007"/>
              <a:gd name="connsiteX57341" fmla="*/ 3714784 w 6884782"/>
              <a:gd name="connsiteY57341" fmla="*/ 1361798 h 5973007"/>
              <a:gd name="connsiteX57342" fmla="*/ 3716491 w 6884782"/>
              <a:gd name="connsiteY57342" fmla="*/ 1360802 h 5973007"/>
              <a:gd name="connsiteX57343" fmla="*/ 3713930 w 6884782"/>
              <a:gd name="connsiteY57343" fmla="*/ 1360802 h 5973007"/>
              <a:gd name="connsiteX57344" fmla="*/ 3709662 w 6884782"/>
              <a:gd name="connsiteY57344" fmla="*/ 1356960 h 5973007"/>
              <a:gd name="connsiteX57345" fmla="*/ 3720547 w 6884782"/>
              <a:gd name="connsiteY57345" fmla="*/ 1336901 h 5973007"/>
              <a:gd name="connsiteX57346" fmla="*/ 3722040 w 6884782"/>
              <a:gd name="connsiteY57346" fmla="*/ 1336474 h 5973007"/>
              <a:gd name="connsiteX57347" fmla="*/ 3723107 w 6884782"/>
              <a:gd name="connsiteY57347" fmla="*/ 1335194 h 5973007"/>
              <a:gd name="connsiteX57348" fmla="*/ 3723107 w 6884782"/>
              <a:gd name="connsiteY57348" fmla="*/ 1334909 h 5973007"/>
              <a:gd name="connsiteX57349" fmla="*/ 3722894 w 6884782"/>
              <a:gd name="connsiteY57349" fmla="*/ 1333771 h 5973007"/>
              <a:gd name="connsiteX57350" fmla="*/ 3725242 w 6884782"/>
              <a:gd name="connsiteY57350" fmla="*/ 1329503 h 5973007"/>
              <a:gd name="connsiteX57351" fmla="*/ 3726522 w 6884782"/>
              <a:gd name="connsiteY57351" fmla="*/ 1329076 h 5973007"/>
              <a:gd name="connsiteX57352" fmla="*/ 1110108 w 6884782"/>
              <a:gd name="connsiteY57352" fmla="*/ 1329033 h 5973007"/>
              <a:gd name="connsiteX57353" fmla="*/ 1111760 w 6884782"/>
              <a:gd name="connsiteY57353" fmla="*/ 1333060 h 5973007"/>
              <a:gd name="connsiteX57354" fmla="*/ 1109901 w 6884782"/>
              <a:gd name="connsiteY57354" fmla="*/ 1335848 h 5973007"/>
              <a:gd name="connsiteX57355" fmla="*/ 1109075 w 6884782"/>
              <a:gd name="connsiteY57355" fmla="*/ 1332131 h 5973007"/>
              <a:gd name="connsiteX57356" fmla="*/ 1110108 w 6884782"/>
              <a:gd name="connsiteY57356" fmla="*/ 1329033 h 5973007"/>
              <a:gd name="connsiteX57357" fmla="*/ 1125570 w 6884782"/>
              <a:gd name="connsiteY57357" fmla="*/ 1328800 h 5973007"/>
              <a:gd name="connsiteX57358" fmla="*/ 1132308 w 6884782"/>
              <a:gd name="connsiteY57358" fmla="*/ 1329033 h 5973007"/>
              <a:gd name="connsiteX57359" fmla="*/ 1131069 w 6884782"/>
              <a:gd name="connsiteY57359" fmla="*/ 1337552 h 5973007"/>
              <a:gd name="connsiteX57360" fmla="*/ 1121776 w 6884782"/>
              <a:gd name="connsiteY57360" fmla="*/ 1334609 h 5973007"/>
              <a:gd name="connsiteX57361" fmla="*/ 1125570 w 6884782"/>
              <a:gd name="connsiteY57361" fmla="*/ 1328800 h 5973007"/>
              <a:gd name="connsiteX57362" fmla="*/ 3566458 w 6884782"/>
              <a:gd name="connsiteY57362" fmla="*/ 1328649 h 5973007"/>
              <a:gd name="connsiteX57363" fmla="*/ 3565390 w 6884782"/>
              <a:gd name="connsiteY57363" fmla="*/ 1338466 h 5973007"/>
              <a:gd name="connsiteX57364" fmla="*/ 3563470 w 6884782"/>
              <a:gd name="connsiteY57364" fmla="*/ 1344299 h 5973007"/>
              <a:gd name="connsiteX57365" fmla="*/ 3564750 w 6884782"/>
              <a:gd name="connsiteY57365" fmla="*/ 1342592 h 5973007"/>
              <a:gd name="connsiteX57366" fmla="*/ 3571153 w 6884782"/>
              <a:gd name="connsiteY57366" fmla="*/ 1344157 h 5973007"/>
              <a:gd name="connsiteX57367" fmla="*/ 3572006 w 6884782"/>
              <a:gd name="connsiteY57367" fmla="*/ 1345152 h 5973007"/>
              <a:gd name="connsiteX57368" fmla="*/ 3572433 w 6884782"/>
              <a:gd name="connsiteY57368" fmla="*/ 1345152 h 5973007"/>
              <a:gd name="connsiteX57369" fmla="*/ 3572860 w 6884782"/>
              <a:gd name="connsiteY57369" fmla="*/ 1344583 h 5973007"/>
              <a:gd name="connsiteX57370" fmla="*/ 3576274 w 6884782"/>
              <a:gd name="connsiteY57370" fmla="*/ 1346575 h 5973007"/>
              <a:gd name="connsiteX57371" fmla="*/ 3577769 w 6884782"/>
              <a:gd name="connsiteY57371" fmla="*/ 1350132 h 5973007"/>
              <a:gd name="connsiteX57372" fmla="*/ 3574141 w 6884782"/>
              <a:gd name="connsiteY57372" fmla="*/ 1352550 h 5973007"/>
              <a:gd name="connsiteX57373" fmla="*/ 3573500 w 6884782"/>
              <a:gd name="connsiteY57373" fmla="*/ 1358241 h 5973007"/>
              <a:gd name="connsiteX57374" fmla="*/ 3567524 w 6884782"/>
              <a:gd name="connsiteY57374" fmla="*/ 1360802 h 5973007"/>
              <a:gd name="connsiteX57375" fmla="*/ 3561975 w 6884782"/>
              <a:gd name="connsiteY57375" fmla="*/ 1346575 h 5973007"/>
              <a:gd name="connsiteX57376" fmla="*/ 3562829 w 6884782"/>
              <a:gd name="connsiteY57376" fmla="*/ 1345437 h 5973007"/>
              <a:gd name="connsiteX57377" fmla="*/ 3563043 w 6884782"/>
              <a:gd name="connsiteY57377" fmla="*/ 1343730 h 5973007"/>
              <a:gd name="connsiteX57378" fmla="*/ 3566458 w 6884782"/>
              <a:gd name="connsiteY57378" fmla="*/ 1328649 h 5973007"/>
              <a:gd name="connsiteX57379" fmla="*/ 5842793 w 6884782"/>
              <a:gd name="connsiteY57379" fmla="*/ 1328080 h 5973007"/>
              <a:gd name="connsiteX57380" fmla="*/ 5845353 w 6884782"/>
              <a:gd name="connsiteY57380" fmla="*/ 1328791 h 5973007"/>
              <a:gd name="connsiteX57381" fmla="*/ 5843646 w 6884782"/>
              <a:gd name="connsiteY57381" fmla="*/ 1334909 h 5973007"/>
              <a:gd name="connsiteX57382" fmla="*/ 5832975 w 6884782"/>
              <a:gd name="connsiteY57382" fmla="*/ 1338323 h 5973007"/>
              <a:gd name="connsiteX57383" fmla="*/ 5833402 w 6884782"/>
              <a:gd name="connsiteY57383" fmla="*/ 1333486 h 5973007"/>
              <a:gd name="connsiteX57384" fmla="*/ 5842793 w 6884782"/>
              <a:gd name="connsiteY57384" fmla="*/ 1328080 h 5973007"/>
              <a:gd name="connsiteX57385" fmla="*/ 3677009 w 6884782"/>
              <a:gd name="connsiteY57385" fmla="*/ 1328080 h 5973007"/>
              <a:gd name="connsiteX57386" fmla="*/ 3688107 w 6884782"/>
              <a:gd name="connsiteY57386" fmla="*/ 1332633 h 5973007"/>
              <a:gd name="connsiteX57387" fmla="*/ 3693869 w 6884782"/>
              <a:gd name="connsiteY57387" fmla="*/ 1339746 h 5973007"/>
              <a:gd name="connsiteX57388" fmla="*/ 3696217 w 6884782"/>
              <a:gd name="connsiteY57388" fmla="*/ 1346291 h 5973007"/>
              <a:gd name="connsiteX57389" fmla="*/ 3697924 w 6884782"/>
              <a:gd name="connsiteY57389" fmla="*/ 1347429 h 5973007"/>
              <a:gd name="connsiteX57390" fmla="*/ 3696857 w 6884782"/>
              <a:gd name="connsiteY57390" fmla="*/ 1348424 h 5973007"/>
              <a:gd name="connsiteX57391" fmla="*/ 3698778 w 6884782"/>
              <a:gd name="connsiteY57391" fmla="*/ 1353973 h 5973007"/>
              <a:gd name="connsiteX57392" fmla="*/ 3704967 w 6884782"/>
              <a:gd name="connsiteY57392" fmla="*/ 1370191 h 5973007"/>
              <a:gd name="connsiteX57393" fmla="*/ 3703046 w 6884782"/>
              <a:gd name="connsiteY57393" fmla="*/ 1370049 h 5973007"/>
              <a:gd name="connsiteX57394" fmla="*/ 3704113 w 6884782"/>
              <a:gd name="connsiteY57394" fmla="*/ 1371472 h 5973007"/>
              <a:gd name="connsiteX57395" fmla="*/ 3706674 w 6884782"/>
              <a:gd name="connsiteY57395" fmla="*/ 1377874 h 5973007"/>
              <a:gd name="connsiteX57396" fmla="*/ 3705607 w 6884782"/>
              <a:gd name="connsiteY57396" fmla="*/ 1381573 h 5973007"/>
              <a:gd name="connsiteX57397" fmla="*/ 3687893 w 6884782"/>
              <a:gd name="connsiteY57397" fmla="*/ 1382711 h 5973007"/>
              <a:gd name="connsiteX57398" fmla="*/ 3686826 w 6884782"/>
              <a:gd name="connsiteY57398" fmla="*/ 1381858 h 5973007"/>
              <a:gd name="connsiteX57399" fmla="*/ 3681277 w 6884782"/>
              <a:gd name="connsiteY57399" fmla="*/ 1394946 h 5973007"/>
              <a:gd name="connsiteX57400" fmla="*/ 3680210 w 6884782"/>
              <a:gd name="connsiteY57400" fmla="*/ 1398787 h 5973007"/>
              <a:gd name="connsiteX57401" fmla="*/ 3681064 w 6884782"/>
              <a:gd name="connsiteY57401" fmla="*/ 1400068 h 5973007"/>
              <a:gd name="connsiteX57402" fmla="*/ 3683198 w 6884782"/>
              <a:gd name="connsiteY57402" fmla="*/ 1404337 h 5973007"/>
              <a:gd name="connsiteX57403" fmla="*/ 3681064 w 6884782"/>
              <a:gd name="connsiteY57403" fmla="*/ 1405047 h 5973007"/>
              <a:gd name="connsiteX57404" fmla="*/ 3682131 w 6884782"/>
              <a:gd name="connsiteY57404" fmla="*/ 1407608 h 5973007"/>
              <a:gd name="connsiteX57405" fmla="*/ 3682344 w 6884782"/>
              <a:gd name="connsiteY57405" fmla="*/ 1412018 h 5973007"/>
              <a:gd name="connsiteX57406" fmla="*/ 3673594 w 6884782"/>
              <a:gd name="connsiteY57406" fmla="*/ 1409885 h 5973007"/>
              <a:gd name="connsiteX57407" fmla="*/ 3675088 w 6884782"/>
              <a:gd name="connsiteY57407" fmla="*/ 1405332 h 5973007"/>
              <a:gd name="connsiteX57408" fmla="*/ 3672527 w 6884782"/>
              <a:gd name="connsiteY57408" fmla="*/ 1403909 h 5973007"/>
              <a:gd name="connsiteX57409" fmla="*/ 3671033 w 6884782"/>
              <a:gd name="connsiteY57409" fmla="*/ 1401349 h 5973007"/>
              <a:gd name="connsiteX57410" fmla="*/ 3669539 w 6884782"/>
              <a:gd name="connsiteY57410" fmla="*/ 1398219 h 5973007"/>
              <a:gd name="connsiteX57411" fmla="*/ 3669539 w 6884782"/>
              <a:gd name="connsiteY57411" fmla="*/ 1397650 h 5973007"/>
              <a:gd name="connsiteX57412" fmla="*/ 3668045 w 6884782"/>
              <a:gd name="connsiteY57412" fmla="*/ 1396511 h 5973007"/>
              <a:gd name="connsiteX57413" fmla="*/ 3656093 w 6884782"/>
              <a:gd name="connsiteY57413" fmla="*/ 1391248 h 5973007"/>
              <a:gd name="connsiteX57414" fmla="*/ 3655026 w 6884782"/>
              <a:gd name="connsiteY57414" fmla="*/ 1393381 h 5973007"/>
              <a:gd name="connsiteX57415" fmla="*/ 3650331 w 6884782"/>
              <a:gd name="connsiteY57415" fmla="*/ 1397507 h 5973007"/>
              <a:gd name="connsiteX57416" fmla="*/ 3649904 w 6884782"/>
              <a:gd name="connsiteY57416" fmla="*/ 1397223 h 5973007"/>
              <a:gd name="connsiteX57417" fmla="*/ 3643075 w 6884782"/>
              <a:gd name="connsiteY57417" fmla="*/ 1403340 h 5973007"/>
              <a:gd name="connsiteX57418" fmla="*/ 3633684 w 6884782"/>
              <a:gd name="connsiteY57418" fmla="*/ 1405616 h 5973007"/>
              <a:gd name="connsiteX57419" fmla="*/ 3634965 w 6884782"/>
              <a:gd name="connsiteY57419" fmla="*/ 1382427 h 5973007"/>
              <a:gd name="connsiteX57420" fmla="*/ 3642221 w 6884782"/>
              <a:gd name="connsiteY57420" fmla="*/ 1379439 h 5973007"/>
              <a:gd name="connsiteX57421" fmla="*/ 3641795 w 6884782"/>
              <a:gd name="connsiteY57421" fmla="*/ 1378585 h 5973007"/>
              <a:gd name="connsiteX57422" fmla="*/ 3639447 w 6884782"/>
              <a:gd name="connsiteY57422" fmla="*/ 1367916 h 5973007"/>
              <a:gd name="connsiteX57423" fmla="*/ 3640514 w 6884782"/>
              <a:gd name="connsiteY57423" fmla="*/ 1362367 h 5973007"/>
              <a:gd name="connsiteX57424" fmla="*/ 3640300 w 6884782"/>
              <a:gd name="connsiteY57424" fmla="*/ 1362225 h 5973007"/>
              <a:gd name="connsiteX57425" fmla="*/ 3640941 w 6884782"/>
              <a:gd name="connsiteY57425" fmla="*/ 1353688 h 5973007"/>
              <a:gd name="connsiteX57426" fmla="*/ 3643715 w 6884782"/>
              <a:gd name="connsiteY57426" fmla="*/ 1355396 h 5973007"/>
              <a:gd name="connsiteX57427" fmla="*/ 3646703 w 6884782"/>
              <a:gd name="connsiteY57427" fmla="*/ 1351270 h 5973007"/>
              <a:gd name="connsiteX57428" fmla="*/ 3650758 w 6884782"/>
              <a:gd name="connsiteY57428" fmla="*/ 1348709 h 5973007"/>
              <a:gd name="connsiteX57429" fmla="*/ 3651826 w 6884782"/>
              <a:gd name="connsiteY57429" fmla="*/ 1345437 h 5973007"/>
              <a:gd name="connsiteX57430" fmla="*/ 3648837 w 6884782"/>
              <a:gd name="connsiteY57430" fmla="*/ 1346148 h 5973007"/>
              <a:gd name="connsiteX57431" fmla="*/ 3644782 w 6884782"/>
              <a:gd name="connsiteY57431" fmla="*/ 1344014 h 5973007"/>
              <a:gd name="connsiteX57432" fmla="*/ 3652252 w 6884782"/>
              <a:gd name="connsiteY57432" fmla="*/ 1334767 h 5973007"/>
              <a:gd name="connsiteX57433" fmla="*/ 3655880 w 6884782"/>
              <a:gd name="connsiteY57433" fmla="*/ 1338466 h 5973007"/>
              <a:gd name="connsiteX57434" fmla="*/ 3655026 w 6884782"/>
              <a:gd name="connsiteY57434" fmla="*/ 1340173 h 5973007"/>
              <a:gd name="connsiteX57435" fmla="*/ 3658654 w 6884782"/>
              <a:gd name="connsiteY57435" fmla="*/ 1334909 h 5973007"/>
              <a:gd name="connsiteX57436" fmla="*/ 3677009 w 6884782"/>
              <a:gd name="connsiteY57436" fmla="*/ 1328080 h 5973007"/>
              <a:gd name="connsiteX57437" fmla="*/ 4371050 w 6884782"/>
              <a:gd name="connsiteY57437" fmla="*/ 1327938 h 5973007"/>
              <a:gd name="connsiteX57438" fmla="*/ 4380867 w 6884782"/>
              <a:gd name="connsiteY57438" fmla="*/ 1334055 h 5973007"/>
              <a:gd name="connsiteX57439" fmla="*/ 4379373 w 6884782"/>
              <a:gd name="connsiteY57439" fmla="*/ 1340884 h 5973007"/>
              <a:gd name="connsiteX57440" fmla="*/ 4367848 w 6884782"/>
              <a:gd name="connsiteY57440" fmla="*/ 1342022 h 5973007"/>
              <a:gd name="connsiteX57441" fmla="*/ 4365928 w 6884782"/>
              <a:gd name="connsiteY57441" fmla="*/ 1330214 h 5973007"/>
              <a:gd name="connsiteX57442" fmla="*/ 4371050 w 6884782"/>
              <a:gd name="connsiteY57442" fmla="*/ 1327938 h 5973007"/>
              <a:gd name="connsiteX57443" fmla="*/ 4072049 w 6884782"/>
              <a:gd name="connsiteY57443" fmla="*/ 1327796 h 5973007"/>
              <a:gd name="connsiteX57444" fmla="*/ 4092750 w 6884782"/>
              <a:gd name="connsiteY57444" fmla="*/ 1341311 h 5973007"/>
              <a:gd name="connsiteX57445" fmla="*/ 4081653 w 6884782"/>
              <a:gd name="connsiteY57445" fmla="*/ 1338608 h 5973007"/>
              <a:gd name="connsiteX57446" fmla="*/ 4075250 w 6884782"/>
              <a:gd name="connsiteY57446" fmla="*/ 1339035 h 5973007"/>
              <a:gd name="connsiteX57447" fmla="*/ 4075463 w 6884782"/>
              <a:gd name="connsiteY57447" fmla="*/ 1339035 h 5973007"/>
              <a:gd name="connsiteX57448" fmla="*/ 4065219 w 6884782"/>
              <a:gd name="connsiteY57448" fmla="*/ 1339746 h 5973007"/>
              <a:gd name="connsiteX57449" fmla="*/ 4059243 w 6884782"/>
              <a:gd name="connsiteY57449" fmla="*/ 1339462 h 5973007"/>
              <a:gd name="connsiteX57450" fmla="*/ 4059030 w 6884782"/>
              <a:gd name="connsiteY57450" fmla="*/ 1339177 h 5973007"/>
              <a:gd name="connsiteX57451" fmla="*/ 4058603 w 6884782"/>
              <a:gd name="connsiteY57451" fmla="*/ 1338750 h 5973007"/>
              <a:gd name="connsiteX57452" fmla="*/ 4048572 w 6884782"/>
              <a:gd name="connsiteY57452" fmla="*/ 1334482 h 5973007"/>
              <a:gd name="connsiteX57453" fmla="*/ 4072049 w 6884782"/>
              <a:gd name="connsiteY57453" fmla="*/ 1327796 h 5973007"/>
              <a:gd name="connsiteX57454" fmla="*/ 1698565 w 6884782"/>
              <a:gd name="connsiteY57454" fmla="*/ 1327484 h 5973007"/>
              <a:gd name="connsiteX57455" fmla="*/ 1701250 w 6884782"/>
              <a:gd name="connsiteY57455" fmla="*/ 1334609 h 5973007"/>
              <a:gd name="connsiteX57456" fmla="*/ 1698049 w 6884782"/>
              <a:gd name="connsiteY57456" fmla="*/ 1331356 h 5973007"/>
              <a:gd name="connsiteX57457" fmla="*/ 1698565 w 6884782"/>
              <a:gd name="connsiteY57457" fmla="*/ 1327484 h 5973007"/>
              <a:gd name="connsiteX57458" fmla="*/ 3628776 w 6884782"/>
              <a:gd name="connsiteY57458" fmla="*/ 1326373 h 5973007"/>
              <a:gd name="connsiteX57459" fmla="*/ 3639233 w 6884782"/>
              <a:gd name="connsiteY57459" fmla="*/ 1332775 h 5973007"/>
              <a:gd name="connsiteX57460" fmla="*/ 3622160 w 6884782"/>
              <a:gd name="connsiteY57460" fmla="*/ 1335620 h 5973007"/>
              <a:gd name="connsiteX57461" fmla="*/ 3628776 w 6884782"/>
              <a:gd name="connsiteY57461" fmla="*/ 1326373 h 5973007"/>
              <a:gd name="connsiteX57462" fmla="*/ 3566458 w 6884782"/>
              <a:gd name="connsiteY57462" fmla="*/ 1326231 h 5973007"/>
              <a:gd name="connsiteX57463" fmla="*/ 3567738 w 6884782"/>
              <a:gd name="connsiteY57463" fmla="*/ 1326231 h 5973007"/>
              <a:gd name="connsiteX57464" fmla="*/ 3566670 w 6884782"/>
              <a:gd name="connsiteY57464" fmla="*/ 1328649 h 5973007"/>
              <a:gd name="connsiteX57465" fmla="*/ 3565603 w 6884782"/>
              <a:gd name="connsiteY57465" fmla="*/ 1327226 h 5973007"/>
              <a:gd name="connsiteX57466" fmla="*/ 3566458 w 6884782"/>
              <a:gd name="connsiteY57466" fmla="*/ 1326231 h 5973007"/>
              <a:gd name="connsiteX57467" fmla="*/ 4307878 w 6884782"/>
              <a:gd name="connsiteY57467" fmla="*/ 1325946 h 5973007"/>
              <a:gd name="connsiteX57468" fmla="*/ 4330073 w 6884782"/>
              <a:gd name="connsiteY57468" fmla="*/ 1348282 h 5973007"/>
              <a:gd name="connsiteX57469" fmla="*/ 4315561 w 6884782"/>
              <a:gd name="connsiteY57469" fmla="*/ 1340173 h 5973007"/>
              <a:gd name="connsiteX57470" fmla="*/ 4303182 w 6884782"/>
              <a:gd name="connsiteY57470" fmla="*/ 1326373 h 5973007"/>
              <a:gd name="connsiteX57471" fmla="*/ 4307878 w 6884782"/>
              <a:gd name="connsiteY57471" fmla="*/ 1325946 h 5973007"/>
              <a:gd name="connsiteX57472" fmla="*/ 4345012 w 6884782"/>
              <a:gd name="connsiteY57472" fmla="*/ 1325662 h 5973007"/>
              <a:gd name="connsiteX57473" fmla="*/ 4350562 w 6884782"/>
              <a:gd name="connsiteY57473" fmla="*/ 1330641 h 5973007"/>
              <a:gd name="connsiteX57474" fmla="*/ 4345012 w 6884782"/>
              <a:gd name="connsiteY57474" fmla="*/ 1325662 h 5973007"/>
              <a:gd name="connsiteX57475" fmla="*/ 1109075 w 6884782"/>
              <a:gd name="connsiteY57475" fmla="*/ 1325470 h 5973007"/>
              <a:gd name="connsiteX57476" fmla="*/ 1110211 w 6884782"/>
              <a:gd name="connsiteY57476" fmla="*/ 1325780 h 5973007"/>
              <a:gd name="connsiteX57477" fmla="*/ 1110624 w 6884782"/>
              <a:gd name="connsiteY57477" fmla="*/ 1326400 h 5973007"/>
              <a:gd name="connsiteX57478" fmla="*/ 1110005 w 6884782"/>
              <a:gd name="connsiteY57478" fmla="*/ 1328878 h 5973007"/>
              <a:gd name="connsiteX57479" fmla="*/ 1108662 w 6884782"/>
              <a:gd name="connsiteY57479" fmla="*/ 1326090 h 5973007"/>
              <a:gd name="connsiteX57480" fmla="*/ 1109798 w 6884782"/>
              <a:gd name="connsiteY57480" fmla="*/ 1325935 h 5973007"/>
              <a:gd name="connsiteX57481" fmla="*/ 1109075 w 6884782"/>
              <a:gd name="connsiteY57481" fmla="*/ 1325470 h 5973007"/>
              <a:gd name="connsiteX57482" fmla="*/ 4449161 w 6884782"/>
              <a:gd name="connsiteY57482" fmla="*/ 1324950 h 5973007"/>
              <a:gd name="connsiteX57483" fmla="*/ 4458339 w 6884782"/>
              <a:gd name="connsiteY57483" fmla="*/ 1339320 h 5973007"/>
              <a:gd name="connsiteX57484" fmla="*/ 4461327 w 6884782"/>
              <a:gd name="connsiteY57484" fmla="*/ 1359237 h 5973007"/>
              <a:gd name="connsiteX57485" fmla="*/ 4456204 w 6884782"/>
              <a:gd name="connsiteY57485" fmla="*/ 1363078 h 5973007"/>
              <a:gd name="connsiteX57486" fmla="*/ 4453856 w 6884782"/>
              <a:gd name="connsiteY57486" fmla="*/ 1364074 h 5973007"/>
              <a:gd name="connsiteX57487" fmla="*/ 4453003 w 6884782"/>
              <a:gd name="connsiteY57487" fmla="*/ 1365070 h 5973007"/>
              <a:gd name="connsiteX57488" fmla="*/ 4448308 w 6884782"/>
              <a:gd name="connsiteY57488" fmla="*/ 1365497 h 5973007"/>
              <a:gd name="connsiteX57489" fmla="*/ 4449801 w 6884782"/>
              <a:gd name="connsiteY57489" fmla="*/ 1363220 h 5973007"/>
              <a:gd name="connsiteX57490" fmla="*/ 4450656 w 6884782"/>
              <a:gd name="connsiteY57490" fmla="*/ 1362225 h 5973007"/>
              <a:gd name="connsiteX57491" fmla="*/ 4451936 w 6884782"/>
              <a:gd name="connsiteY57491" fmla="*/ 1357672 h 5973007"/>
              <a:gd name="connsiteX57492" fmla="*/ 4449161 w 6884782"/>
              <a:gd name="connsiteY57492" fmla="*/ 1324950 h 5973007"/>
              <a:gd name="connsiteX57493" fmla="*/ 4779322 w 6884782"/>
              <a:gd name="connsiteY57493" fmla="*/ 1324808 h 5973007"/>
              <a:gd name="connsiteX57494" fmla="*/ 4785297 w 6884782"/>
              <a:gd name="connsiteY57494" fmla="*/ 1328222 h 5973007"/>
              <a:gd name="connsiteX57495" fmla="*/ 4779108 w 6884782"/>
              <a:gd name="connsiteY57495" fmla="*/ 1338750 h 5973007"/>
              <a:gd name="connsiteX57496" fmla="*/ 4779322 w 6884782"/>
              <a:gd name="connsiteY57496" fmla="*/ 1324808 h 5973007"/>
              <a:gd name="connsiteX57497" fmla="*/ 1415850 w 6884782"/>
              <a:gd name="connsiteY57497" fmla="*/ 1324386 h 5973007"/>
              <a:gd name="connsiteX57498" fmla="*/ 1418121 w 6884782"/>
              <a:gd name="connsiteY57498" fmla="*/ 1327793 h 5973007"/>
              <a:gd name="connsiteX57499" fmla="*/ 1417605 w 6884782"/>
              <a:gd name="connsiteY57499" fmla="*/ 1330891 h 5973007"/>
              <a:gd name="connsiteX57500" fmla="*/ 1417192 w 6884782"/>
              <a:gd name="connsiteY57500" fmla="*/ 1331821 h 5973007"/>
              <a:gd name="connsiteX57501" fmla="*/ 1417398 w 6884782"/>
              <a:gd name="connsiteY57501" fmla="*/ 1331821 h 5973007"/>
              <a:gd name="connsiteX57502" fmla="*/ 1417295 w 6884782"/>
              <a:gd name="connsiteY57502" fmla="*/ 1334299 h 5973007"/>
              <a:gd name="connsiteX57503" fmla="*/ 1417502 w 6884782"/>
              <a:gd name="connsiteY57503" fmla="*/ 1335074 h 5973007"/>
              <a:gd name="connsiteX57504" fmla="*/ 1417295 w 6884782"/>
              <a:gd name="connsiteY57504" fmla="*/ 1335228 h 5973007"/>
              <a:gd name="connsiteX57505" fmla="*/ 1417295 w 6884782"/>
              <a:gd name="connsiteY57505" fmla="*/ 1336158 h 5973007"/>
              <a:gd name="connsiteX57506" fmla="*/ 1413784 w 6884782"/>
              <a:gd name="connsiteY57506" fmla="*/ 1334919 h 5973007"/>
              <a:gd name="connsiteX57507" fmla="*/ 1412855 w 6884782"/>
              <a:gd name="connsiteY57507" fmla="*/ 1332286 h 5973007"/>
              <a:gd name="connsiteX57508" fmla="*/ 1413681 w 6884782"/>
              <a:gd name="connsiteY57508" fmla="*/ 1331821 h 5973007"/>
              <a:gd name="connsiteX57509" fmla="*/ 1413784 w 6884782"/>
              <a:gd name="connsiteY57509" fmla="*/ 1332440 h 5973007"/>
              <a:gd name="connsiteX57510" fmla="*/ 1415024 w 6884782"/>
              <a:gd name="connsiteY57510" fmla="*/ 1332131 h 5973007"/>
              <a:gd name="connsiteX57511" fmla="*/ 1414301 w 6884782"/>
              <a:gd name="connsiteY57511" fmla="*/ 1330891 h 5973007"/>
              <a:gd name="connsiteX57512" fmla="*/ 1412855 w 6884782"/>
              <a:gd name="connsiteY57512" fmla="*/ 1326400 h 5973007"/>
              <a:gd name="connsiteX57513" fmla="*/ 1413578 w 6884782"/>
              <a:gd name="connsiteY57513" fmla="*/ 1324850 h 5973007"/>
              <a:gd name="connsiteX57514" fmla="*/ 1415850 w 6884782"/>
              <a:gd name="connsiteY57514" fmla="*/ 1324386 h 5973007"/>
              <a:gd name="connsiteX57515" fmla="*/ 4138849 w 6884782"/>
              <a:gd name="connsiteY57515" fmla="*/ 1323812 h 5973007"/>
              <a:gd name="connsiteX57516" fmla="*/ 4147386 w 6884782"/>
              <a:gd name="connsiteY57516" fmla="*/ 1326089 h 5973007"/>
              <a:gd name="connsiteX57517" fmla="*/ 4138849 w 6884782"/>
              <a:gd name="connsiteY57517" fmla="*/ 1323812 h 5973007"/>
              <a:gd name="connsiteX57518" fmla="*/ 4854019 w 6884782"/>
              <a:gd name="connsiteY57518" fmla="*/ 1322816 h 5973007"/>
              <a:gd name="connsiteX57519" fmla="*/ 4858714 w 6884782"/>
              <a:gd name="connsiteY57519" fmla="*/ 1325804 h 5973007"/>
              <a:gd name="connsiteX57520" fmla="*/ 4858928 w 6884782"/>
              <a:gd name="connsiteY57520" fmla="*/ 1330783 h 5973007"/>
              <a:gd name="connsiteX57521" fmla="*/ 4855299 w 6884782"/>
              <a:gd name="connsiteY57521" fmla="*/ 1335478 h 5973007"/>
              <a:gd name="connsiteX57522" fmla="*/ 4855940 w 6884782"/>
              <a:gd name="connsiteY57522" fmla="*/ 1334482 h 5973007"/>
              <a:gd name="connsiteX57523" fmla="*/ 4854019 w 6884782"/>
              <a:gd name="connsiteY57523" fmla="*/ 1333202 h 5973007"/>
              <a:gd name="connsiteX57524" fmla="*/ 4853378 w 6884782"/>
              <a:gd name="connsiteY57524" fmla="*/ 1334198 h 5973007"/>
              <a:gd name="connsiteX57525" fmla="*/ 4852098 w 6884782"/>
              <a:gd name="connsiteY57525" fmla="*/ 1332063 h 5973007"/>
              <a:gd name="connsiteX57526" fmla="*/ 4854019 w 6884782"/>
              <a:gd name="connsiteY57526" fmla="*/ 1322816 h 5973007"/>
              <a:gd name="connsiteX57527" fmla="*/ 1393959 w 6884782"/>
              <a:gd name="connsiteY57527" fmla="*/ 1322372 h 5973007"/>
              <a:gd name="connsiteX57528" fmla="*/ 1403356 w 6884782"/>
              <a:gd name="connsiteY57528" fmla="*/ 1323611 h 5973007"/>
              <a:gd name="connsiteX57529" fmla="*/ 1390448 w 6884782"/>
              <a:gd name="connsiteY57529" fmla="*/ 1345142 h 5973007"/>
              <a:gd name="connsiteX57530" fmla="*/ 1390448 w 6884782"/>
              <a:gd name="connsiteY57530" fmla="*/ 1331976 h 5973007"/>
              <a:gd name="connsiteX57531" fmla="*/ 1393959 w 6884782"/>
              <a:gd name="connsiteY57531" fmla="*/ 1322372 h 5973007"/>
              <a:gd name="connsiteX57532" fmla="*/ 5478058 w 6884782"/>
              <a:gd name="connsiteY57532" fmla="*/ 1321820 h 5973007"/>
              <a:gd name="connsiteX57533" fmla="*/ 5481046 w 6884782"/>
              <a:gd name="connsiteY57533" fmla="*/ 1323812 h 5973007"/>
              <a:gd name="connsiteX57534" fmla="*/ 5482327 w 6884782"/>
              <a:gd name="connsiteY57534" fmla="*/ 1326373 h 5973007"/>
              <a:gd name="connsiteX57535" fmla="*/ 5481686 w 6884782"/>
              <a:gd name="connsiteY57535" fmla="*/ 1329787 h 5973007"/>
              <a:gd name="connsiteX57536" fmla="*/ 5471442 w 6884782"/>
              <a:gd name="connsiteY57536" fmla="*/ 1329645 h 5973007"/>
              <a:gd name="connsiteX57537" fmla="*/ 5470589 w 6884782"/>
              <a:gd name="connsiteY57537" fmla="*/ 1326089 h 5973007"/>
              <a:gd name="connsiteX57538" fmla="*/ 5478058 w 6884782"/>
              <a:gd name="connsiteY57538" fmla="*/ 1321820 h 5973007"/>
              <a:gd name="connsiteX57539" fmla="*/ 1097717 w 6884782"/>
              <a:gd name="connsiteY57539" fmla="*/ 1321443 h 5973007"/>
              <a:gd name="connsiteX57540" fmla="*/ 1097510 w 6884782"/>
              <a:gd name="connsiteY57540" fmla="*/ 1329188 h 5973007"/>
              <a:gd name="connsiteX57541" fmla="*/ 1095755 w 6884782"/>
              <a:gd name="connsiteY57541" fmla="*/ 1329807 h 5973007"/>
              <a:gd name="connsiteX57542" fmla="*/ 1091315 w 6884782"/>
              <a:gd name="connsiteY57542" fmla="*/ 1330272 h 5973007"/>
              <a:gd name="connsiteX57543" fmla="*/ 1089766 w 6884782"/>
              <a:gd name="connsiteY57543" fmla="*/ 1327484 h 5973007"/>
              <a:gd name="connsiteX57544" fmla="*/ 1091522 w 6884782"/>
              <a:gd name="connsiteY57544" fmla="*/ 1324386 h 5973007"/>
              <a:gd name="connsiteX57545" fmla="*/ 1094620 w 6884782"/>
              <a:gd name="connsiteY57545" fmla="*/ 1322527 h 5973007"/>
              <a:gd name="connsiteX57546" fmla="*/ 1097717 w 6884782"/>
              <a:gd name="connsiteY57546" fmla="*/ 1321443 h 5973007"/>
              <a:gd name="connsiteX57547" fmla="*/ 3566884 w 6884782"/>
              <a:gd name="connsiteY57547" fmla="*/ 1319971 h 5973007"/>
              <a:gd name="connsiteX57548" fmla="*/ 3567951 w 6884782"/>
              <a:gd name="connsiteY57548" fmla="*/ 1320113 h 5973007"/>
              <a:gd name="connsiteX57549" fmla="*/ 3566884 w 6884782"/>
              <a:gd name="connsiteY57549" fmla="*/ 1322674 h 5973007"/>
              <a:gd name="connsiteX57550" fmla="*/ 3566884 w 6884782"/>
              <a:gd name="connsiteY57550" fmla="*/ 1319971 h 5973007"/>
              <a:gd name="connsiteX57551" fmla="*/ 5155368 w 6884782"/>
              <a:gd name="connsiteY57551" fmla="*/ 1318975 h 5973007"/>
              <a:gd name="connsiteX57552" fmla="*/ 5156861 w 6884782"/>
              <a:gd name="connsiteY57552" fmla="*/ 1320255 h 5973007"/>
              <a:gd name="connsiteX57553" fmla="*/ 5154300 w 6884782"/>
              <a:gd name="connsiteY57553" fmla="*/ 1330214 h 5973007"/>
              <a:gd name="connsiteX57554" fmla="*/ 5153447 w 6884782"/>
              <a:gd name="connsiteY57554" fmla="*/ 1329503 h 5973007"/>
              <a:gd name="connsiteX57555" fmla="*/ 5152806 w 6884782"/>
              <a:gd name="connsiteY57555" fmla="*/ 1329930 h 5973007"/>
              <a:gd name="connsiteX57556" fmla="*/ 5148965 w 6884782"/>
              <a:gd name="connsiteY57556" fmla="*/ 1329787 h 5973007"/>
              <a:gd name="connsiteX57557" fmla="*/ 5143202 w 6884782"/>
              <a:gd name="connsiteY57557" fmla="*/ 1330214 h 5973007"/>
              <a:gd name="connsiteX57558" fmla="*/ 5124422 w 6884782"/>
              <a:gd name="connsiteY57558" fmla="*/ 1326373 h 5973007"/>
              <a:gd name="connsiteX57559" fmla="*/ 5132105 w 6884782"/>
              <a:gd name="connsiteY57559" fmla="*/ 1324524 h 5973007"/>
              <a:gd name="connsiteX57560" fmla="*/ 5142135 w 6884782"/>
              <a:gd name="connsiteY57560" fmla="*/ 1324524 h 5973007"/>
              <a:gd name="connsiteX57561" fmla="*/ 5149819 w 6884782"/>
              <a:gd name="connsiteY57561" fmla="*/ 1323670 h 5973007"/>
              <a:gd name="connsiteX57562" fmla="*/ 5151099 w 6884782"/>
              <a:gd name="connsiteY57562" fmla="*/ 1321394 h 5973007"/>
              <a:gd name="connsiteX57563" fmla="*/ 5153447 w 6884782"/>
              <a:gd name="connsiteY57563" fmla="*/ 1319117 h 5973007"/>
              <a:gd name="connsiteX57564" fmla="*/ 5155368 w 6884782"/>
              <a:gd name="connsiteY57564" fmla="*/ 1318975 h 5973007"/>
              <a:gd name="connsiteX57565" fmla="*/ 5102226 w 6884782"/>
              <a:gd name="connsiteY57565" fmla="*/ 1318548 h 5973007"/>
              <a:gd name="connsiteX57566" fmla="*/ 5072134 w 6884782"/>
              <a:gd name="connsiteY57566" fmla="*/ 1338039 h 5973007"/>
              <a:gd name="connsiteX57567" fmla="*/ 5102226 w 6884782"/>
              <a:gd name="connsiteY57567" fmla="*/ 1318548 h 5973007"/>
              <a:gd name="connsiteX57568" fmla="*/ 6032736 w 6884782"/>
              <a:gd name="connsiteY57568" fmla="*/ 1318406 h 5973007"/>
              <a:gd name="connsiteX57569" fmla="*/ 6035938 w 6884782"/>
              <a:gd name="connsiteY57569" fmla="*/ 1319260 h 5973007"/>
              <a:gd name="connsiteX57570" fmla="*/ 6025267 w 6884782"/>
              <a:gd name="connsiteY57570" fmla="*/ 1325946 h 5973007"/>
              <a:gd name="connsiteX57571" fmla="*/ 6032736 w 6884782"/>
              <a:gd name="connsiteY57571" fmla="*/ 1318406 h 5973007"/>
              <a:gd name="connsiteX57572" fmla="*/ 1541616 w 6884782"/>
              <a:gd name="connsiteY57572" fmla="*/ 1317725 h 5973007"/>
              <a:gd name="connsiteX57573" fmla="*/ 1541099 w 6884782"/>
              <a:gd name="connsiteY57573" fmla="*/ 1320978 h 5973007"/>
              <a:gd name="connsiteX57574" fmla="*/ 1538311 w 6884782"/>
              <a:gd name="connsiteY57574" fmla="*/ 1321753 h 5973007"/>
              <a:gd name="connsiteX57575" fmla="*/ 1541616 w 6884782"/>
              <a:gd name="connsiteY57575" fmla="*/ 1317725 h 5973007"/>
              <a:gd name="connsiteX57576" fmla="*/ 3719479 w 6884782"/>
              <a:gd name="connsiteY57576" fmla="*/ 1317268 h 5973007"/>
              <a:gd name="connsiteX57577" fmla="*/ 3722467 w 6884782"/>
              <a:gd name="connsiteY57577" fmla="*/ 1317837 h 5973007"/>
              <a:gd name="connsiteX57578" fmla="*/ 3724815 w 6884782"/>
              <a:gd name="connsiteY57578" fmla="*/ 1324239 h 5973007"/>
              <a:gd name="connsiteX57579" fmla="*/ 3723107 w 6884782"/>
              <a:gd name="connsiteY57579" fmla="*/ 1326373 h 5973007"/>
              <a:gd name="connsiteX57580" fmla="*/ 3722040 w 6884782"/>
              <a:gd name="connsiteY57580" fmla="*/ 1326231 h 5973007"/>
              <a:gd name="connsiteX57581" fmla="*/ 3717345 w 6884782"/>
              <a:gd name="connsiteY57581" fmla="*/ 1325519 h 5973007"/>
              <a:gd name="connsiteX57582" fmla="*/ 3715424 w 6884782"/>
              <a:gd name="connsiteY57582" fmla="*/ 1319117 h 5973007"/>
              <a:gd name="connsiteX57583" fmla="*/ 3719479 w 6884782"/>
              <a:gd name="connsiteY57583" fmla="*/ 1317268 h 5973007"/>
              <a:gd name="connsiteX57584" fmla="*/ 1386318 w 6884782"/>
              <a:gd name="connsiteY57584" fmla="*/ 1316796 h 5973007"/>
              <a:gd name="connsiteX57585" fmla="*/ 1393753 w 6884782"/>
              <a:gd name="connsiteY57585" fmla="*/ 1317880 h 5973007"/>
              <a:gd name="connsiteX57586" fmla="*/ 1387041 w 6884782"/>
              <a:gd name="connsiteY57586" fmla="*/ 1317725 h 5973007"/>
              <a:gd name="connsiteX57587" fmla="*/ 1386318 w 6884782"/>
              <a:gd name="connsiteY57587" fmla="*/ 1316796 h 5973007"/>
              <a:gd name="connsiteX57588" fmla="*/ 1542132 w 6884782"/>
              <a:gd name="connsiteY57588" fmla="*/ 1315247 h 5973007"/>
              <a:gd name="connsiteX57589" fmla="*/ 1541822 w 6884782"/>
              <a:gd name="connsiteY57589" fmla="*/ 1317105 h 5973007"/>
              <a:gd name="connsiteX57590" fmla="*/ 1541099 w 6884782"/>
              <a:gd name="connsiteY57590" fmla="*/ 1317105 h 5973007"/>
              <a:gd name="connsiteX57591" fmla="*/ 1542132 w 6884782"/>
              <a:gd name="connsiteY57591" fmla="*/ 1315247 h 5973007"/>
              <a:gd name="connsiteX57592" fmla="*/ 4757553 w 6884782"/>
              <a:gd name="connsiteY57592" fmla="*/ 1314422 h 5973007"/>
              <a:gd name="connsiteX57593" fmla="*/ 4759901 w 6884782"/>
              <a:gd name="connsiteY57593" fmla="*/ 1316130 h 5973007"/>
              <a:gd name="connsiteX57594" fmla="*/ 4757766 w 6884782"/>
              <a:gd name="connsiteY57594" fmla="*/ 1322389 h 5973007"/>
              <a:gd name="connsiteX57595" fmla="*/ 4753925 w 6884782"/>
              <a:gd name="connsiteY57595" fmla="*/ 1317268 h 5973007"/>
              <a:gd name="connsiteX57596" fmla="*/ 4757553 w 6884782"/>
              <a:gd name="connsiteY57596" fmla="*/ 1314422 h 5973007"/>
              <a:gd name="connsiteX57597" fmla="*/ 1262617 w 6884782"/>
              <a:gd name="connsiteY57597" fmla="*/ 1314318 h 5973007"/>
              <a:gd name="connsiteX57598" fmla="*/ 1266954 w 6884782"/>
              <a:gd name="connsiteY57598" fmla="*/ 1314937 h 5973007"/>
              <a:gd name="connsiteX57599" fmla="*/ 1267677 w 6884782"/>
              <a:gd name="connsiteY57599" fmla="*/ 1317415 h 5973007"/>
              <a:gd name="connsiteX57600" fmla="*/ 1264992 w 6884782"/>
              <a:gd name="connsiteY57600" fmla="*/ 1318345 h 5973007"/>
              <a:gd name="connsiteX57601" fmla="*/ 1262514 w 6884782"/>
              <a:gd name="connsiteY57601" fmla="*/ 1317725 h 5973007"/>
              <a:gd name="connsiteX57602" fmla="*/ 1262204 w 6884782"/>
              <a:gd name="connsiteY57602" fmla="*/ 1316331 h 5973007"/>
              <a:gd name="connsiteX57603" fmla="*/ 1262617 w 6884782"/>
              <a:gd name="connsiteY57603" fmla="*/ 1314318 h 5973007"/>
              <a:gd name="connsiteX57604" fmla="*/ 4617336 w 6884782"/>
              <a:gd name="connsiteY57604" fmla="*/ 1313996 h 5973007"/>
              <a:gd name="connsiteX57605" fmla="*/ 4609440 w 6884782"/>
              <a:gd name="connsiteY57605" fmla="*/ 1334055 h 5973007"/>
              <a:gd name="connsiteX57606" fmla="*/ 4606665 w 6884782"/>
              <a:gd name="connsiteY57606" fmla="*/ 1330072 h 5973007"/>
              <a:gd name="connsiteX57607" fmla="*/ 4617336 w 6884782"/>
              <a:gd name="connsiteY57607" fmla="*/ 1313996 h 5973007"/>
              <a:gd name="connsiteX57608" fmla="*/ 3407673 w 6884782"/>
              <a:gd name="connsiteY57608" fmla="*/ 1313853 h 5973007"/>
              <a:gd name="connsiteX57609" fmla="*/ 3410021 w 6884782"/>
              <a:gd name="connsiteY57609" fmla="*/ 1315560 h 5973007"/>
              <a:gd name="connsiteX57610" fmla="*/ 3409807 w 6884782"/>
              <a:gd name="connsiteY57610" fmla="*/ 1316699 h 5973007"/>
              <a:gd name="connsiteX57611" fmla="*/ 3409381 w 6884782"/>
              <a:gd name="connsiteY57611" fmla="*/ 1321536 h 5973007"/>
              <a:gd name="connsiteX57612" fmla="*/ 3403405 w 6884782"/>
              <a:gd name="connsiteY57612" fmla="*/ 1323812 h 5973007"/>
              <a:gd name="connsiteX57613" fmla="*/ 3401697 w 6884782"/>
              <a:gd name="connsiteY57613" fmla="*/ 1316699 h 5973007"/>
              <a:gd name="connsiteX57614" fmla="*/ 3407673 w 6884782"/>
              <a:gd name="connsiteY57614" fmla="*/ 1313853 h 5973007"/>
              <a:gd name="connsiteX57615" fmla="*/ 3568591 w 6884782"/>
              <a:gd name="connsiteY57615" fmla="*/ 1313426 h 5973007"/>
              <a:gd name="connsiteX57616" fmla="*/ 3570726 w 6884782"/>
              <a:gd name="connsiteY57616" fmla="*/ 1313568 h 5973007"/>
              <a:gd name="connsiteX57617" fmla="*/ 3567098 w 6884782"/>
              <a:gd name="connsiteY57617" fmla="*/ 1319117 h 5973007"/>
              <a:gd name="connsiteX57618" fmla="*/ 3567311 w 6884782"/>
              <a:gd name="connsiteY57618" fmla="*/ 1314280 h 5973007"/>
              <a:gd name="connsiteX57619" fmla="*/ 3568591 w 6884782"/>
              <a:gd name="connsiteY57619" fmla="*/ 1313426 h 5973007"/>
              <a:gd name="connsiteX57620" fmla="*/ 1367009 w 6884782"/>
              <a:gd name="connsiteY57620" fmla="*/ 1312924 h 5973007"/>
              <a:gd name="connsiteX57621" fmla="*/ 1380433 w 6884782"/>
              <a:gd name="connsiteY57621" fmla="*/ 1315867 h 5973007"/>
              <a:gd name="connsiteX57622" fmla="*/ 1367009 w 6884782"/>
              <a:gd name="connsiteY57622" fmla="*/ 1312924 h 5973007"/>
              <a:gd name="connsiteX57623" fmla="*/ 5001919 w 6884782"/>
              <a:gd name="connsiteY57623" fmla="*/ 1312715 h 5973007"/>
              <a:gd name="connsiteX57624" fmla="*/ 5009602 w 6884782"/>
              <a:gd name="connsiteY57624" fmla="*/ 1316556 h 5973007"/>
              <a:gd name="connsiteX57625" fmla="*/ 5004479 w 6884782"/>
              <a:gd name="connsiteY57625" fmla="*/ 1328649 h 5973007"/>
              <a:gd name="connsiteX57626" fmla="*/ 4993808 w 6884782"/>
              <a:gd name="connsiteY57626" fmla="*/ 1321251 h 5973007"/>
              <a:gd name="connsiteX57627" fmla="*/ 5001919 w 6884782"/>
              <a:gd name="connsiteY57627" fmla="*/ 1312715 h 5973007"/>
              <a:gd name="connsiteX57628" fmla="*/ 1055485 w 6884782"/>
              <a:gd name="connsiteY57628" fmla="*/ 1312459 h 5973007"/>
              <a:gd name="connsiteX57629" fmla="*/ 1065398 w 6884782"/>
              <a:gd name="connsiteY57629" fmla="*/ 1321133 h 5973007"/>
              <a:gd name="connsiteX57630" fmla="*/ 1060029 w 6884782"/>
              <a:gd name="connsiteY57630" fmla="*/ 1326400 h 5973007"/>
              <a:gd name="connsiteX57631" fmla="*/ 1051045 w 6884782"/>
              <a:gd name="connsiteY57631" fmla="*/ 1321753 h 5973007"/>
              <a:gd name="connsiteX57632" fmla="*/ 1051252 w 6884782"/>
              <a:gd name="connsiteY57632" fmla="*/ 1317880 h 5973007"/>
              <a:gd name="connsiteX57633" fmla="*/ 1055485 w 6884782"/>
              <a:gd name="connsiteY57633" fmla="*/ 1312459 h 5973007"/>
              <a:gd name="connsiteX57634" fmla="*/ 4365501 w 6884782"/>
              <a:gd name="connsiteY57634" fmla="*/ 1312431 h 5973007"/>
              <a:gd name="connsiteX57635" fmla="*/ 4370196 w 6884782"/>
              <a:gd name="connsiteY57635" fmla="*/ 1314565 h 5973007"/>
              <a:gd name="connsiteX57636" fmla="*/ 4371050 w 6884782"/>
              <a:gd name="connsiteY57636" fmla="*/ 1318975 h 5973007"/>
              <a:gd name="connsiteX57637" fmla="*/ 4359098 w 6884782"/>
              <a:gd name="connsiteY57637" fmla="*/ 1319544 h 5973007"/>
              <a:gd name="connsiteX57638" fmla="*/ 4359738 w 6884782"/>
              <a:gd name="connsiteY57638" fmla="*/ 1314422 h 5973007"/>
              <a:gd name="connsiteX57639" fmla="*/ 4365501 w 6884782"/>
              <a:gd name="connsiteY57639" fmla="*/ 1312431 h 5973007"/>
              <a:gd name="connsiteX57640" fmla="*/ 1692989 w 6884782"/>
              <a:gd name="connsiteY57640" fmla="*/ 1312304 h 5973007"/>
              <a:gd name="connsiteX57641" fmla="*/ 1702386 w 6884782"/>
              <a:gd name="connsiteY57641" fmla="*/ 1322992 h 5973007"/>
              <a:gd name="connsiteX57642" fmla="*/ 1688033 w 6884782"/>
              <a:gd name="connsiteY57642" fmla="*/ 1324850 h 5973007"/>
              <a:gd name="connsiteX57643" fmla="*/ 1687827 w 6884782"/>
              <a:gd name="connsiteY57643" fmla="*/ 1320823 h 5973007"/>
              <a:gd name="connsiteX57644" fmla="*/ 1692989 w 6884782"/>
              <a:gd name="connsiteY57644" fmla="*/ 1312304 h 5973007"/>
              <a:gd name="connsiteX57645" fmla="*/ 1365151 w 6884782"/>
              <a:gd name="connsiteY57645" fmla="*/ 1311994 h 5973007"/>
              <a:gd name="connsiteX57646" fmla="*/ 1367009 w 6884782"/>
              <a:gd name="connsiteY57646" fmla="*/ 1312769 h 5973007"/>
              <a:gd name="connsiteX57647" fmla="*/ 1365977 w 6884782"/>
              <a:gd name="connsiteY57647" fmla="*/ 1313543 h 5973007"/>
              <a:gd name="connsiteX57648" fmla="*/ 1365151 w 6884782"/>
              <a:gd name="connsiteY57648" fmla="*/ 1313079 h 5973007"/>
              <a:gd name="connsiteX57649" fmla="*/ 1365151 w 6884782"/>
              <a:gd name="connsiteY57649" fmla="*/ 1311994 h 5973007"/>
              <a:gd name="connsiteX57650" fmla="*/ 1145422 w 6884782"/>
              <a:gd name="connsiteY57650" fmla="*/ 1311994 h 5973007"/>
              <a:gd name="connsiteX57651" fmla="*/ 1149965 w 6884782"/>
              <a:gd name="connsiteY57651" fmla="*/ 1320049 h 5973007"/>
              <a:gd name="connsiteX57652" fmla="*/ 1148106 w 6884782"/>
              <a:gd name="connsiteY57652" fmla="*/ 1320668 h 5973007"/>
              <a:gd name="connsiteX57653" fmla="*/ 1148623 w 6884782"/>
              <a:gd name="connsiteY57653" fmla="*/ 1321133 h 5973007"/>
              <a:gd name="connsiteX57654" fmla="*/ 1149759 w 6884782"/>
              <a:gd name="connsiteY57654" fmla="*/ 1325160 h 5973007"/>
              <a:gd name="connsiteX57655" fmla="*/ 1147177 w 6884782"/>
              <a:gd name="connsiteY57655" fmla="*/ 1322527 h 5973007"/>
              <a:gd name="connsiteX57656" fmla="*/ 1146248 w 6884782"/>
              <a:gd name="connsiteY57656" fmla="*/ 1321288 h 5973007"/>
              <a:gd name="connsiteX57657" fmla="*/ 1143976 w 6884782"/>
              <a:gd name="connsiteY57657" fmla="*/ 1322062 h 5973007"/>
              <a:gd name="connsiteX57658" fmla="*/ 1137781 w 6884782"/>
              <a:gd name="connsiteY57658" fmla="*/ 1318964 h 5973007"/>
              <a:gd name="connsiteX57659" fmla="*/ 1145422 w 6884782"/>
              <a:gd name="connsiteY57659" fmla="*/ 1311994 h 5973007"/>
              <a:gd name="connsiteX57660" fmla="*/ 1360814 w 6884782"/>
              <a:gd name="connsiteY57660" fmla="*/ 1311839 h 5973007"/>
              <a:gd name="connsiteX57661" fmla="*/ 1362569 w 6884782"/>
              <a:gd name="connsiteY57661" fmla="*/ 1312769 h 5973007"/>
              <a:gd name="connsiteX57662" fmla="*/ 1360711 w 6884782"/>
              <a:gd name="connsiteY57662" fmla="*/ 1312614 h 5973007"/>
              <a:gd name="connsiteX57663" fmla="*/ 1360814 w 6884782"/>
              <a:gd name="connsiteY57663" fmla="*/ 1311839 h 5973007"/>
              <a:gd name="connsiteX57664" fmla="*/ 4938320 w 6884782"/>
              <a:gd name="connsiteY57664" fmla="*/ 1311435 h 5973007"/>
              <a:gd name="connsiteX57665" fmla="*/ 4929356 w 6884782"/>
              <a:gd name="connsiteY57665" fmla="*/ 1345010 h 5973007"/>
              <a:gd name="connsiteX57666" fmla="*/ 4930850 w 6884782"/>
              <a:gd name="connsiteY57666" fmla="*/ 1328365 h 5973007"/>
              <a:gd name="connsiteX57667" fmla="*/ 4938320 w 6884782"/>
              <a:gd name="connsiteY57667" fmla="*/ 1311435 h 5973007"/>
              <a:gd name="connsiteX57668" fmla="*/ 4861275 w 6884782"/>
              <a:gd name="connsiteY57668" fmla="*/ 1311435 h 5973007"/>
              <a:gd name="connsiteX57669" fmla="*/ 4864690 w 6884782"/>
              <a:gd name="connsiteY57669" fmla="*/ 1313853 h 5973007"/>
              <a:gd name="connsiteX57670" fmla="*/ 4866184 w 6884782"/>
              <a:gd name="connsiteY57670" fmla="*/ 1318690 h 5973007"/>
              <a:gd name="connsiteX57671" fmla="*/ 4857006 w 6884782"/>
              <a:gd name="connsiteY57671" fmla="*/ 1320682 h 5973007"/>
              <a:gd name="connsiteX57672" fmla="*/ 4857647 w 6884782"/>
              <a:gd name="connsiteY57672" fmla="*/ 1313568 h 5973007"/>
              <a:gd name="connsiteX57673" fmla="*/ 4861275 w 6884782"/>
              <a:gd name="connsiteY57673" fmla="*/ 1311435 h 5973007"/>
              <a:gd name="connsiteX57674" fmla="*/ 1542751 w 6884782"/>
              <a:gd name="connsiteY57674" fmla="*/ 1310910 h 5973007"/>
              <a:gd name="connsiteX57675" fmla="*/ 1543474 w 6884782"/>
              <a:gd name="connsiteY57675" fmla="*/ 1311994 h 5973007"/>
              <a:gd name="connsiteX57676" fmla="*/ 1541719 w 6884782"/>
              <a:gd name="connsiteY57676" fmla="*/ 1312769 h 5973007"/>
              <a:gd name="connsiteX57677" fmla="*/ 1542751 w 6884782"/>
              <a:gd name="connsiteY57677" fmla="*/ 1310910 h 5973007"/>
              <a:gd name="connsiteX57678" fmla="*/ 3667618 w 6884782"/>
              <a:gd name="connsiteY57678" fmla="*/ 1310866 h 5973007"/>
              <a:gd name="connsiteX57679" fmla="*/ 3665271 w 6884782"/>
              <a:gd name="connsiteY57679" fmla="*/ 1319544 h 5973007"/>
              <a:gd name="connsiteX57680" fmla="*/ 3664417 w 6884782"/>
              <a:gd name="connsiteY57680" fmla="*/ 1317979 h 5973007"/>
              <a:gd name="connsiteX57681" fmla="*/ 3665271 w 6884782"/>
              <a:gd name="connsiteY57681" fmla="*/ 1315703 h 5973007"/>
              <a:gd name="connsiteX57682" fmla="*/ 3667618 w 6884782"/>
              <a:gd name="connsiteY57682" fmla="*/ 1310866 h 5973007"/>
              <a:gd name="connsiteX57683" fmla="*/ 5184606 w 6884782"/>
              <a:gd name="connsiteY57683" fmla="*/ 1310581 h 5973007"/>
              <a:gd name="connsiteX57684" fmla="*/ 5186100 w 6884782"/>
              <a:gd name="connsiteY57684" fmla="*/ 1312004 h 5973007"/>
              <a:gd name="connsiteX57685" fmla="*/ 5188234 w 6884782"/>
              <a:gd name="connsiteY57685" fmla="*/ 1314849 h 5973007"/>
              <a:gd name="connsiteX57686" fmla="*/ 5187594 w 6884782"/>
              <a:gd name="connsiteY57686" fmla="*/ 1316841 h 5973007"/>
              <a:gd name="connsiteX57687" fmla="*/ 5185673 w 6884782"/>
              <a:gd name="connsiteY57687" fmla="*/ 1319117 h 5973007"/>
              <a:gd name="connsiteX57688" fmla="*/ 5181618 w 6884782"/>
              <a:gd name="connsiteY57688" fmla="*/ 1314991 h 5973007"/>
              <a:gd name="connsiteX57689" fmla="*/ 5182685 w 6884782"/>
              <a:gd name="connsiteY57689" fmla="*/ 1311293 h 5973007"/>
              <a:gd name="connsiteX57690" fmla="*/ 5184606 w 6884782"/>
              <a:gd name="connsiteY57690" fmla="*/ 1310581 h 5973007"/>
              <a:gd name="connsiteX57691" fmla="*/ 1651790 w 6884782"/>
              <a:gd name="connsiteY57691" fmla="*/ 1310445 h 5973007"/>
              <a:gd name="connsiteX57692" fmla="*/ 1670170 w 6884782"/>
              <a:gd name="connsiteY57692" fmla="*/ 1328878 h 5973007"/>
              <a:gd name="connsiteX57693" fmla="*/ 1646731 w 6884782"/>
              <a:gd name="connsiteY57693" fmla="*/ 1317415 h 5973007"/>
              <a:gd name="connsiteX57694" fmla="*/ 1651790 w 6884782"/>
              <a:gd name="connsiteY57694" fmla="*/ 1310445 h 5973007"/>
              <a:gd name="connsiteX57695" fmla="*/ 1356064 w 6884782"/>
              <a:gd name="connsiteY57695" fmla="*/ 1309980 h 5973007"/>
              <a:gd name="connsiteX57696" fmla="*/ 1360091 w 6884782"/>
              <a:gd name="connsiteY57696" fmla="*/ 1312614 h 5973007"/>
              <a:gd name="connsiteX57697" fmla="*/ 1356580 w 6884782"/>
              <a:gd name="connsiteY57697" fmla="*/ 1312459 h 5973007"/>
              <a:gd name="connsiteX57698" fmla="*/ 1355858 w 6884782"/>
              <a:gd name="connsiteY57698" fmla="*/ 1311529 h 5973007"/>
              <a:gd name="connsiteX57699" fmla="*/ 1356064 w 6884782"/>
              <a:gd name="connsiteY57699" fmla="*/ 1309980 h 5973007"/>
              <a:gd name="connsiteX57700" fmla="*/ 4067140 w 6884782"/>
              <a:gd name="connsiteY57700" fmla="*/ 1309585 h 5973007"/>
              <a:gd name="connsiteX57701" fmla="*/ 4073329 w 6884782"/>
              <a:gd name="connsiteY57701" fmla="*/ 1313141 h 5973007"/>
              <a:gd name="connsiteX57702" fmla="*/ 4070981 w 6884782"/>
              <a:gd name="connsiteY57702" fmla="*/ 1316272 h 5973007"/>
              <a:gd name="connsiteX57703" fmla="*/ 4073329 w 6884782"/>
              <a:gd name="connsiteY57703" fmla="*/ 1316699 h 5973007"/>
              <a:gd name="connsiteX57704" fmla="*/ 4076104 w 6884782"/>
              <a:gd name="connsiteY57704" fmla="*/ 1320540 h 5973007"/>
              <a:gd name="connsiteX57705" fmla="*/ 4057963 w 6884782"/>
              <a:gd name="connsiteY57705" fmla="*/ 1324666 h 5973007"/>
              <a:gd name="connsiteX57706" fmla="*/ 4057963 w 6884782"/>
              <a:gd name="connsiteY57706" fmla="*/ 1316983 h 5973007"/>
              <a:gd name="connsiteX57707" fmla="*/ 4065219 w 6884782"/>
              <a:gd name="connsiteY57707" fmla="*/ 1316414 h 5973007"/>
              <a:gd name="connsiteX57708" fmla="*/ 4065006 w 6884782"/>
              <a:gd name="connsiteY57708" fmla="*/ 1312289 h 5973007"/>
              <a:gd name="connsiteX57709" fmla="*/ 4067140 w 6884782"/>
              <a:gd name="connsiteY57709" fmla="*/ 1309585 h 5973007"/>
              <a:gd name="connsiteX57710" fmla="*/ 1566500 w 6884782"/>
              <a:gd name="connsiteY57710" fmla="*/ 1309206 h 5973007"/>
              <a:gd name="connsiteX57711" fmla="*/ 1578994 w 6884782"/>
              <a:gd name="connsiteY57711" fmla="*/ 1323147 h 5973007"/>
              <a:gd name="connsiteX57712" fmla="*/ 1570321 w 6884782"/>
              <a:gd name="connsiteY57712" fmla="*/ 1318190 h 5973007"/>
              <a:gd name="connsiteX57713" fmla="*/ 1566500 w 6884782"/>
              <a:gd name="connsiteY57713" fmla="*/ 1309206 h 5973007"/>
              <a:gd name="connsiteX57714" fmla="*/ 1120537 w 6884782"/>
              <a:gd name="connsiteY57714" fmla="*/ 1309051 h 5973007"/>
              <a:gd name="connsiteX57715" fmla="*/ 1131069 w 6884782"/>
              <a:gd name="connsiteY57715" fmla="*/ 1311220 h 5973007"/>
              <a:gd name="connsiteX57716" fmla="*/ 1131069 w 6884782"/>
              <a:gd name="connsiteY57716" fmla="*/ 1314782 h 5973007"/>
              <a:gd name="connsiteX57717" fmla="*/ 1120330 w 6884782"/>
              <a:gd name="connsiteY57717" fmla="*/ 1314318 h 5973007"/>
              <a:gd name="connsiteX57718" fmla="*/ 1120537 w 6884782"/>
              <a:gd name="connsiteY57718" fmla="*/ 1309051 h 5973007"/>
              <a:gd name="connsiteX57719" fmla="*/ 5949929 w 6884782"/>
              <a:gd name="connsiteY57719" fmla="*/ 1309016 h 5973007"/>
              <a:gd name="connsiteX57720" fmla="*/ 5950996 w 6884782"/>
              <a:gd name="connsiteY57720" fmla="*/ 1311435 h 5973007"/>
              <a:gd name="connsiteX57721" fmla="*/ 5945874 w 6884782"/>
              <a:gd name="connsiteY57721" fmla="*/ 1314849 h 5973007"/>
              <a:gd name="connsiteX57722" fmla="*/ 5945661 w 6884782"/>
              <a:gd name="connsiteY57722" fmla="*/ 1316130 h 5973007"/>
              <a:gd name="connsiteX57723" fmla="*/ 5947795 w 6884782"/>
              <a:gd name="connsiteY57723" fmla="*/ 1318548 h 5973007"/>
              <a:gd name="connsiteX57724" fmla="*/ 5946728 w 6884782"/>
              <a:gd name="connsiteY57724" fmla="*/ 1330499 h 5973007"/>
              <a:gd name="connsiteX57725" fmla="*/ 5933496 w 6884782"/>
              <a:gd name="connsiteY57725" fmla="*/ 1333771 h 5973007"/>
              <a:gd name="connsiteX57726" fmla="*/ 5928160 w 6884782"/>
              <a:gd name="connsiteY57726" fmla="*/ 1330214 h 5973007"/>
              <a:gd name="connsiteX57727" fmla="*/ 5930721 w 6884782"/>
              <a:gd name="connsiteY57727" fmla="*/ 1315845 h 5973007"/>
              <a:gd name="connsiteX57728" fmla="*/ 5943740 w 6884782"/>
              <a:gd name="connsiteY57728" fmla="*/ 1313568 h 5973007"/>
              <a:gd name="connsiteX57729" fmla="*/ 5945020 w 6884782"/>
              <a:gd name="connsiteY57729" fmla="*/ 1311293 h 5973007"/>
              <a:gd name="connsiteX57730" fmla="*/ 5949929 w 6884782"/>
              <a:gd name="connsiteY57730" fmla="*/ 1309016 h 5973007"/>
              <a:gd name="connsiteX57731" fmla="*/ 3515023 w 6884782"/>
              <a:gd name="connsiteY57731" fmla="*/ 1308874 h 5973007"/>
              <a:gd name="connsiteX57732" fmla="*/ 3517798 w 6884782"/>
              <a:gd name="connsiteY57732" fmla="*/ 1309870 h 5973007"/>
              <a:gd name="connsiteX57733" fmla="*/ 3513529 w 6884782"/>
              <a:gd name="connsiteY57733" fmla="*/ 1311577 h 5973007"/>
              <a:gd name="connsiteX57734" fmla="*/ 3513316 w 6884782"/>
              <a:gd name="connsiteY57734" fmla="*/ 1310439 h 5973007"/>
              <a:gd name="connsiteX57735" fmla="*/ 3515023 w 6884782"/>
              <a:gd name="connsiteY57735" fmla="*/ 1308874 h 5973007"/>
              <a:gd name="connsiteX57736" fmla="*/ 1333438 w 6884782"/>
              <a:gd name="connsiteY57736" fmla="*/ 1308780 h 5973007"/>
              <a:gd name="connsiteX57737" fmla="*/ 1339130 w 6884782"/>
              <a:gd name="connsiteY57737" fmla="*/ 1315557 h 5973007"/>
              <a:gd name="connsiteX57738" fmla="*/ 1334277 w 6884782"/>
              <a:gd name="connsiteY57738" fmla="*/ 1316641 h 5973007"/>
              <a:gd name="connsiteX57739" fmla="*/ 1335206 w 6884782"/>
              <a:gd name="connsiteY57739" fmla="*/ 1317880 h 5973007"/>
              <a:gd name="connsiteX57740" fmla="*/ 1333864 w 6884782"/>
              <a:gd name="connsiteY57740" fmla="*/ 1320049 h 5973007"/>
              <a:gd name="connsiteX57741" fmla="*/ 1331902 w 6884782"/>
              <a:gd name="connsiteY57741" fmla="*/ 1318655 h 5973007"/>
              <a:gd name="connsiteX57742" fmla="*/ 1331076 w 6884782"/>
              <a:gd name="connsiteY57742" fmla="*/ 1317570 h 5973007"/>
              <a:gd name="connsiteX57743" fmla="*/ 1324984 w 6884782"/>
              <a:gd name="connsiteY57743" fmla="*/ 1320513 h 5973007"/>
              <a:gd name="connsiteX57744" fmla="*/ 1312697 w 6884782"/>
              <a:gd name="connsiteY57744" fmla="*/ 1322837 h 5973007"/>
              <a:gd name="connsiteX57745" fmla="*/ 1319718 w 6884782"/>
              <a:gd name="connsiteY57745" fmla="*/ 1316796 h 5973007"/>
              <a:gd name="connsiteX57746" fmla="*/ 1324468 w 6884782"/>
              <a:gd name="connsiteY57746" fmla="*/ 1312614 h 5973007"/>
              <a:gd name="connsiteX57747" fmla="*/ 1324158 w 6884782"/>
              <a:gd name="connsiteY57747" fmla="*/ 1312614 h 5973007"/>
              <a:gd name="connsiteX57748" fmla="*/ 1323022 w 6884782"/>
              <a:gd name="connsiteY57748" fmla="*/ 1310136 h 5973007"/>
              <a:gd name="connsiteX57749" fmla="*/ 1325191 w 6884782"/>
              <a:gd name="connsiteY57749" fmla="*/ 1309670 h 5973007"/>
              <a:gd name="connsiteX57750" fmla="*/ 1326430 w 6884782"/>
              <a:gd name="connsiteY57750" fmla="*/ 1310910 h 5973007"/>
              <a:gd name="connsiteX57751" fmla="*/ 1326739 w 6884782"/>
              <a:gd name="connsiteY57751" fmla="*/ 1310600 h 5973007"/>
              <a:gd name="connsiteX57752" fmla="*/ 1333438 w 6884782"/>
              <a:gd name="connsiteY57752" fmla="*/ 1308780 h 5973007"/>
              <a:gd name="connsiteX57753" fmla="*/ 3909209 w 6884782"/>
              <a:gd name="connsiteY57753" fmla="*/ 1308589 h 5973007"/>
              <a:gd name="connsiteX57754" fmla="*/ 3912197 w 6884782"/>
              <a:gd name="connsiteY57754" fmla="*/ 1309870 h 5973007"/>
              <a:gd name="connsiteX57755" fmla="*/ 3885093 w 6884782"/>
              <a:gd name="connsiteY57755" fmla="*/ 1329503 h 5973007"/>
              <a:gd name="connsiteX57756" fmla="*/ 3909209 w 6884782"/>
              <a:gd name="connsiteY57756" fmla="*/ 1308589 h 5973007"/>
              <a:gd name="connsiteX57757" fmla="*/ 1502069 w 6884782"/>
              <a:gd name="connsiteY57757" fmla="*/ 1307792 h 5973007"/>
              <a:gd name="connsiteX57758" fmla="*/ 1504753 w 6884782"/>
              <a:gd name="connsiteY57758" fmla="*/ 1311839 h 5973007"/>
              <a:gd name="connsiteX57759" fmla="*/ 1497215 w 6884782"/>
              <a:gd name="connsiteY57759" fmla="*/ 1309670 h 5973007"/>
              <a:gd name="connsiteX57760" fmla="*/ 1502069 w 6884782"/>
              <a:gd name="connsiteY57760" fmla="*/ 1307792 h 5973007"/>
              <a:gd name="connsiteX57761" fmla="*/ 4126684 w 6884782"/>
              <a:gd name="connsiteY57761" fmla="*/ 1306740 h 5973007"/>
              <a:gd name="connsiteX57762" fmla="*/ 4126897 w 6884782"/>
              <a:gd name="connsiteY57762" fmla="*/ 1307024 h 5973007"/>
              <a:gd name="connsiteX57763" fmla="*/ 4127751 w 6884782"/>
              <a:gd name="connsiteY57763" fmla="*/ 1306740 h 5973007"/>
              <a:gd name="connsiteX57764" fmla="*/ 1751639 w 6884782"/>
              <a:gd name="connsiteY57764" fmla="*/ 1306728 h 5973007"/>
              <a:gd name="connsiteX57765" fmla="*/ 1757731 w 6884782"/>
              <a:gd name="connsiteY57765" fmla="*/ 1320049 h 5973007"/>
              <a:gd name="connsiteX57766" fmla="*/ 1759796 w 6884782"/>
              <a:gd name="connsiteY57766" fmla="*/ 1319894 h 5973007"/>
              <a:gd name="connsiteX57767" fmla="*/ 1759176 w 6884782"/>
              <a:gd name="connsiteY57767" fmla="*/ 1318500 h 5973007"/>
              <a:gd name="connsiteX57768" fmla="*/ 1763926 w 6884782"/>
              <a:gd name="connsiteY57768" fmla="*/ 1322372 h 5973007"/>
              <a:gd name="connsiteX57769" fmla="*/ 1761551 w 6884782"/>
              <a:gd name="connsiteY57769" fmla="*/ 1323457 h 5973007"/>
              <a:gd name="connsiteX57770" fmla="*/ 1760312 w 6884782"/>
              <a:gd name="connsiteY57770" fmla="*/ 1320668 h 5973007"/>
              <a:gd name="connsiteX57771" fmla="*/ 1759486 w 6884782"/>
              <a:gd name="connsiteY57771" fmla="*/ 1322372 h 5973007"/>
              <a:gd name="connsiteX57772" fmla="*/ 1758660 w 6884782"/>
              <a:gd name="connsiteY57772" fmla="*/ 1324850 h 5973007"/>
              <a:gd name="connsiteX57773" fmla="*/ 1767437 w 6884782"/>
              <a:gd name="connsiteY57773" fmla="*/ 1338946 h 5973007"/>
              <a:gd name="connsiteX57774" fmla="*/ 1767747 w 6884782"/>
              <a:gd name="connsiteY57774" fmla="*/ 1339565 h 5973007"/>
              <a:gd name="connsiteX57775" fmla="*/ 1769915 w 6884782"/>
              <a:gd name="connsiteY57775" fmla="*/ 1338017 h 5973007"/>
              <a:gd name="connsiteX57776" fmla="*/ 1770741 w 6884782"/>
              <a:gd name="connsiteY57776" fmla="*/ 1338017 h 5973007"/>
              <a:gd name="connsiteX57777" fmla="*/ 1769915 w 6884782"/>
              <a:gd name="connsiteY57777" fmla="*/ 1334609 h 5973007"/>
              <a:gd name="connsiteX57778" fmla="*/ 1765062 w 6884782"/>
              <a:gd name="connsiteY57778" fmla="*/ 1319119 h 5973007"/>
              <a:gd name="connsiteX57779" fmla="*/ 1768263 w 6884782"/>
              <a:gd name="connsiteY57779" fmla="*/ 1316951 h 5973007"/>
              <a:gd name="connsiteX57780" fmla="*/ 1760725 w 6884782"/>
              <a:gd name="connsiteY57780" fmla="*/ 1314627 h 5973007"/>
              <a:gd name="connsiteX57781" fmla="*/ 1758040 w 6884782"/>
              <a:gd name="connsiteY57781" fmla="*/ 1306728 h 5973007"/>
              <a:gd name="connsiteX57782" fmla="*/ 1751639 w 6884782"/>
              <a:gd name="connsiteY57782" fmla="*/ 1306728 h 5973007"/>
              <a:gd name="connsiteX57783" fmla="*/ 4142904 w 6884782"/>
              <a:gd name="connsiteY57783" fmla="*/ 1306455 h 5973007"/>
              <a:gd name="connsiteX57784" fmla="*/ 4146746 w 6884782"/>
              <a:gd name="connsiteY57784" fmla="*/ 1309159 h 5973007"/>
              <a:gd name="connsiteX57785" fmla="*/ 4148026 w 6884782"/>
              <a:gd name="connsiteY57785" fmla="*/ 1309159 h 5973007"/>
              <a:gd name="connsiteX57786" fmla="*/ 4150374 w 6884782"/>
              <a:gd name="connsiteY57786" fmla="*/ 1312004 h 5973007"/>
              <a:gd name="connsiteX57787" fmla="*/ 4150587 w 6884782"/>
              <a:gd name="connsiteY57787" fmla="*/ 1313568 h 5973007"/>
              <a:gd name="connsiteX57788" fmla="*/ 4152935 w 6884782"/>
              <a:gd name="connsiteY57788" fmla="*/ 1317837 h 5973007"/>
              <a:gd name="connsiteX57789" fmla="*/ 4150801 w 6884782"/>
              <a:gd name="connsiteY57789" fmla="*/ 1317837 h 5973007"/>
              <a:gd name="connsiteX57790" fmla="*/ 4148666 w 6884782"/>
              <a:gd name="connsiteY57790" fmla="*/ 1321678 h 5973007"/>
              <a:gd name="connsiteX57791" fmla="*/ 4148239 w 6884782"/>
              <a:gd name="connsiteY57791" fmla="*/ 1328080 h 5973007"/>
              <a:gd name="connsiteX57792" fmla="*/ 4146959 w 6884782"/>
              <a:gd name="connsiteY57792" fmla="*/ 1319544 h 5973007"/>
              <a:gd name="connsiteX57793" fmla="*/ 4145892 w 6884782"/>
              <a:gd name="connsiteY57793" fmla="*/ 1318263 h 5973007"/>
              <a:gd name="connsiteX57794" fmla="*/ 4145678 w 6884782"/>
              <a:gd name="connsiteY57794" fmla="*/ 1318263 h 5973007"/>
              <a:gd name="connsiteX57795" fmla="*/ 4145251 w 6884782"/>
              <a:gd name="connsiteY57795" fmla="*/ 1317695 h 5973007"/>
              <a:gd name="connsiteX57796" fmla="*/ 4144398 w 6884782"/>
              <a:gd name="connsiteY57796" fmla="*/ 1316699 h 5973007"/>
              <a:gd name="connsiteX57797" fmla="*/ 4144398 w 6884782"/>
              <a:gd name="connsiteY57797" fmla="*/ 1316130 h 5973007"/>
              <a:gd name="connsiteX57798" fmla="*/ 4142477 w 6884782"/>
              <a:gd name="connsiteY57798" fmla="*/ 1313568 h 5973007"/>
              <a:gd name="connsiteX57799" fmla="*/ 4138422 w 6884782"/>
              <a:gd name="connsiteY57799" fmla="*/ 1309443 h 5973007"/>
              <a:gd name="connsiteX57800" fmla="*/ 4142904 w 6884782"/>
              <a:gd name="connsiteY57800" fmla="*/ 1306455 h 5973007"/>
              <a:gd name="connsiteX57801" fmla="*/ 3736980 w 6884782"/>
              <a:gd name="connsiteY57801" fmla="*/ 1306029 h 5973007"/>
              <a:gd name="connsiteX57802" fmla="*/ 3742529 w 6884782"/>
              <a:gd name="connsiteY57802" fmla="*/ 1306313 h 5973007"/>
              <a:gd name="connsiteX57803" fmla="*/ 3741461 w 6884782"/>
              <a:gd name="connsiteY57803" fmla="*/ 1306313 h 5973007"/>
              <a:gd name="connsiteX57804" fmla="*/ 3741675 w 6884782"/>
              <a:gd name="connsiteY57804" fmla="*/ 1308874 h 5973007"/>
              <a:gd name="connsiteX57805" fmla="*/ 3742956 w 6884782"/>
              <a:gd name="connsiteY57805" fmla="*/ 1308732 h 5973007"/>
              <a:gd name="connsiteX57806" fmla="*/ 3741889 w 6884782"/>
              <a:gd name="connsiteY57806" fmla="*/ 1311293 h 5973007"/>
              <a:gd name="connsiteX57807" fmla="*/ 3734418 w 6884782"/>
              <a:gd name="connsiteY57807" fmla="*/ 1315276 h 5973007"/>
              <a:gd name="connsiteX57808" fmla="*/ 3733565 w 6884782"/>
              <a:gd name="connsiteY57808" fmla="*/ 1309301 h 5973007"/>
              <a:gd name="connsiteX57809" fmla="*/ 3736980 w 6884782"/>
              <a:gd name="connsiteY57809" fmla="*/ 1306029 h 5973007"/>
              <a:gd name="connsiteX57810" fmla="*/ 1382498 w 6884782"/>
              <a:gd name="connsiteY57810" fmla="*/ 1304714 h 5973007"/>
              <a:gd name="connsiteX57811" fmla="*/ 1385286 w 6884782"/>
              <a:gd name="connsiteY57811" fmla="*/ 1308896 h 5973007"/>
              <a:gd name="connsiteX57812" fmla="*/ 1378677 w 6884782"/>
              <a:gd name="connsiteY57812" fmla="*/ 1310290 h 5973007"/>
              <a:gd name="connsiteX57813" fmla="*/ 1378574 w 6884782"/>
              <a:gd name="connsiteY57813" fmla="*/ 1308432 h 5973007"/>
              <a:gd name="connsiteX57814" fmla="*/ 1380020 w 6884782"/>
              <a:gd name="connsiteY57814" fmla="*/ 1305798 h 5973007"/>
              <a:gd name="connsiteX57815" fmla="*/ 1382498 w 6884782"/>
              <a:gd name="connsiteY57815" fmla="*/ 1304714 h 5973007"/>
              <a:gd name="connsiteX57816" fmla="*/ 1271394 w 6884782"/>
              <a:gd name="connsiteY57816" fmla="*/ 1303165 h 5973007"/>
              <a:gd name="connsiteX57817" fmla="*/ 1270671 w 6884782"/>
              <a:gd name="connsiteY57817" fmla="*/ 1307502 h 5973007"/>
              <a:gd name="connsiteX57818" fmla="*/ 1268813 w 6884782"/>
              <a:gd name="connsiteY57818" fmla="*/ 1304404 h 5973007"/>
              <a:gd name="connsiteX57819" fmla="*/ 1271394 w 6884782"/>
              <a:gd name="connsiteY57819" fmla="*/ 1303165 h 5973007"/>
              <a:gd name="connsiteX57820" fmla="*/ 1255183 w 6884782"/>
              <a:gd name="connsiteY57820" fmla="*/ 1301926 h 5973007"/>
              <a:gd name="connsiteX57821" fmla="*/ 1260346 w 6884782"/>
              <a:gd name="connsiteY57821" fmla="*/ 1302855 h 5973007"/>
              <a:gd name="connsiteX57822" fmla="*/ 1255183 w 6884782"/>
              <a:gd name="connsiteY57822" fmla="*/ 1301926 h 5973007"/>
              <a:gd name="connsiteX57823" fmla="*/ 3878477 w 6884782"/>
              <a:gd name="connsiteY57823" fmla="*/ 1301191 h 5973007"/>
              <a:gd name="connsiteX57824" fmla="*/ 3882105 w 6884782"/>
              <a:gd name="connsiteY57824" fmla="*/ 1305032 h 5973007"/>
              <a:gd name="connsiteX57825" fmla="*/ 3882745 w 6884782"/>
              <a:gd name="connsiteY57825" fmla="*/ 1308304 h 5973007"/>
              <a:gd name="connsiteX57826" fmla="*/ 3873355 w 6884782"/>
              <a:gd name="connsiteY57826" fmla="*/ 1303894 h 5973007"/>
              <a:gd name="connsiteX57827" fmla="*/ 3878477 w 6884782"/>
              <a:gd name="connsiteY57827" fmla="*/ 1301191 h 5973007"/>
              <a:gd name="connsiteX57828" fmla="*/ 3680210 w 6884782"/>
              <a:gd name="connsiteY57828" fmla="*/ 1301049 h 5973007"/>
              <a:gd name="connsiteX57829" fmla="*/ 3682344 w 6884782"/>
              <a:gd name="connsiteY57829" fmla="*/ 1301334 h 5973007"/>
              <a:gd name="connsiteX57830" fmla="*/ 3674234 w 6884782"/>
              <a:gd name="connsiteY57830" fmla="*/ 1307878 h 5973007"/>
              <a:gd name="connsiteX57831" fmla="*/ 3680210 w 6884782"/>
              <a:gd name="connsiteY57831" fmla="*/ 1301049 h 5973007"/>
              <a:gd name="connsiteX57832" fmla="*/ 3988388 w 6884782"/>
              <a:gd name="connsiteY57832" fmla="*/ 1299627 h 5973007"/>
              <a:gd name="connsiteX57833" fmla="*/ 3996925 w 6884782"/>
              <a:gd name="connsiteY57833" fmla="*/ 1306740 h 5973007"/>
              <a:gd name="connsiteX57834" fmla="*/ 3999486 w 6884782"/>
              <a:gd name="connsiteY57834" fmla="*/ 1316272 h 5973007"/>
              <a:gd name="connsiteX57835" fmla="*/ 4001193 w 6884782"/>
              <a:gd name="connsiteY57835" fmla="*/ 1317695 h 5973007"/>
              <a:gd name="connsiteX57836" fmla="*/ 4005462 w 6884782"/>
              <a:gd name="connsiteY57836" fmla="*/ 1314138 h 5973007"/>
              <a:gd name="connsiteX57837" fmla="*/ 4021041 w 6884782"/>
              <a:gd name="connsiteY57837" fmla="*/ 1309727 h 5973007"/>
              <a:gd name="connsiteX57838" fmla="*/ 4013785 w 6884782"/>
              <a:gd name="connsiteY57838" fmla="*/ 1320540 h 5973007"/>
              <a:gd name="connsiteX57839" fmla="*/ 4008236 w 6884782"/>
              <a:gd name="connsiteY57839" fmla="*/ 1324950 h 5973007"/>
              <a:gd name="connsiteX57840" fmla="*/ 4010371 w 6884782"/>
              <a:gd name="connsiteY57840" fmla="*/ 1328080 h 5973007"/>
              <a:gd name="connsiteX57841" fmla="*/ 4010797 w 6884782"/>
              <a:gd name="connsiteY57841" fmla="*/ 1335336 h 5973007"/>
              <a:gd name="connsiteX57842" fmla="*/ 4002901 w 6884782"/>
              <a:gd name="connsiteY57842" fmla="*/ 1329361 h 5973007"/>
              <a:gd name="connsiteX57843" fmla="*/ 4002687 w 6884782"/>
              <a:gd name="connsiteY57843" fmla="*/ 1329076 h 5973007"/>
              <a:gd name="connsiteX57844" fmla="*/ 4001833 w 6884782"/>
              <a:gd name="connsiteY57844" fmla="*/ 1329787 h 5973007"/>
              <a:gd name="connsiteX57845" fmla="*/ 3999913 w 6884782"/>
              <a:gd name="connsiteY57845" fmla="*/ 1340030 h 5973007"/>
              <a:gd name="connsiteX57846" fmla="*/ 3998419 w 6884782"/>
              <a:gd name="connsiteY57846" fmla="*/ 1341596 h 5973007"/>
              <a:gd name="connsiteX57847" fmla="*/ 3998632 w 6884782"/>
              <a:gd name="connsiteY57847" fmla="*/ 1347429 h 5973007"/>
              <a:gd name="connsiteX57848" fmla="*/ 3990309 w 6884782"/>
              <a:gd name="connsiteY57848" fmla="*/ 1343445 h 5973007"/>
              <a:gd name="connsiteX57849" fmla="*/ 3991376 w 6884782"/>
              <a:gd name="connsiteY57849" fmla="*/ 1341169 h 5973007"/>
              <a:gd name="connsiteX57850" fmla="*/ 3994150 w 6884782"/>
              <a:gd name="connsiteY57850" fmla="*/ 1339746 h 5973007"/>
              <a:gd name="connsiteX57851" fmla="*/ 3992870 w 6884782"/>
              <a:gd name="connsiteY57851" fmla="*/ 1337043 h 5973007"/>
              <a:gd name="connsiteX57852" fmla="*/ 3991589 w 6884782"/>
              <a:gd name="connsiteY57852" fmla="*/ 1338466 h 5973007"/>
              <a:gd name="connsiteX57853" fmla="*/ 3981986 w 6884782"/>
              <a:gd name="connsiteY57853" fmla="*/ 1344726 h 5973007"/>
              <a:gd name="connsiteX57854" fmla="*/ 3975796 w 6884782"/>
              <a:gd name="connsiteY57854" fmla="*/ 1347571 h 5973007"/>
              <a:gd name="connsiteX57855" fmla="*/ 3978571 w 6884782"/>
              <a:gd name="connsiteY57855" fmla="*/ 1348851 h 5973007"/>
              <a:gd name="connsiteX57856" fmla="*/ 3984546 w 6884782"/>
              <a:gd name="connsiteY57856" fmla="*/ 1356818 h 5973007"/>
              <a:gd name="connsiteX57857" fmla="*/ 3974730 w 6884782"/>
              <a:gd name="connsiteY57857" fmla="*/ 1361513 h 5973007"/>
              <a:gd name="connsiteX57858" fmla="*/ 3968754 w 6884782"/>
              <a:gd name="connsiteY57858" fmla="*/ 1358383 h 5973007"/>
              <a:gd name="connsiteX57859" fmla="*/ 3967260 w 6884782"/>
              <a:gd name="connsiteY57859" fmla="*/ 1353688 h 5973007"/>
              <a:gd name="connsiteX57860" fmla="*/ 3966406 w 6884782"/>
              <a:gd name="connsiteY57860" fmla="*/ 1351555 h 5973007"/>
              <a:gd name="connsiteX57861" fmla="*/ 3948052 w 6884782"/>
              <a:gd name="connsiteY57861" fmla="*/ 1358952 h 5973007"/>
              <a:gd name="connsiteX57862" fmla="*/ 3945491 w 6884782"/>
              <a:gd name="connsiteY57862" fmla="*/ 1346148 h 5973007"/>
              <a:gd name="connsiteX57863" fmla="*/ 3974730 w 6884782"/>
              <a:gd name="connsiteY57863" fmla="*/ 1335905 h 5973007"/>
              <a:gd name="connsiteX57864" fmla="*/ 3989882 w 6884782"/>
              <a:gd name="connsiteY57864" fmla="*/ 1330926 h 5973007"/>
              <a:gd name="connsiteX57865" fmla="*/ 3987961 w 6884782"/>
              <a:gd name="connsiteY57865" fmla="*/ 1326799 h 5973007"/>
              <a:gd name="connsiteX57866" fmla="*/ 3987108 w 6884782"/>
              <a:gd name="connsiteY57866" fmla="*/ 1318833 h 5973007"/>
              <a:gd name="connsiteX57867" fmla="*/ 3979851 w 6884782"/>
              <a:gd name="connsiteY57867" fmla="*/ 1311293 h 5973007"/>
              <a:gd name="connsiteX57868" fmla="*/ 3986467 w 6884782"/>
              <a:gd name="connsiteY57868" fmla="*/ 1311293 h 5973007"/>
              <a:gd name="connsiteX57869" fmla="*/ 3986254 w 6884782"/>
              <a:gd name="connsiteY57869" fmla="*/ 1310297 h 5973007"/>
              <a:gd name="connsiteX57870" fmla="*/ 3988388 w 6884782"/>
              <a:gd name="connsiteY57870" fmla="*/ 1299627 h 5973007"/>
              <a:gd name="connsiteX57871" fmla="*/ 1675849 w 6884782"/>
              <a:gd name="connsiteY57871" fmla="*/ 1298518 h 5973007"/>
              <a:gd name="connsiteX57872" fmla="*/ 1677810 w 6884782"/>
              <a:gd name="connsiteY57872" fmla="*/ 1300222 h 5973007"/>
              <a:gd name="connsiteX57873" fmla="*/ 1673370 w 6884782"/>
              <a:gd name="connsiteY57873" fmla="*/ 1303939 h 5973007"/>
              <a:gd name="connsiteX57874" fmla="*/ 1672338 w 6884782"/>
              <a:gd name="connsiteY57874" fmla="*/ 1302081 h 5973007"/>
              <a:gd name="connsiteX57875" fmla="*/ 1675849 w 6884782"/>
              <a:gd name="connsiteY57875" fmla="*/ 1298518 h 5973007"/>
              <a:gd name="connsiteX57876" fmla="*/ 1449304 w 6884782"/>
              <a:gd name="connsiteY57876" fmla="*/ 1298518 h 5973007"/>
              <a:gd name="connsiteX57877" fmla="*/ 1479352 w 6884782"/>
              <a:gd name="connsiteY57877" fmla="*/ 1303939 h 5973007"/>
              <a:gd name="connsiteX57878" fmla="*/ 1482863 w 6884782"/>
              <a:gd name="connsiteY57878" fmla="*/ 1311684 h 5973007"/>
              <a:gd name="connsiteX57879" fmla="*/ 1485238 w 6884782"/>
              <a:gd name="connsiteY57879" fmla="*/ 1314937 h 5973007"/>
              <a:gd name="connsiteX57880" fmla="*/ 1497422 w 6884782"/>
              <a:gd name="connsiteY57880" fmla="*/ 1316951 h 5973007"/>
              <a:gd name="connsiteX57881" fmla="*/ 1505786 w 6884782"/>
              <a:gd name="connsiteY57881" fmla="*/ 1321753 h 5973007"/>
              <a:gd name="connsiteX57882" fmla="*/ 1508883 w 6884782"/>
              <a:gd name="connsiteY57882" fmla="*/ 1325470 h 5973007"/>
              <a:gd name="connsiteX57883" fmla="*/ 1512084 w 6884782"/>
              <a:gd name="connsiteY57883" fmla="*/ 1321133 h 5973007"/>
              <a:gd name="connsiteX57884" fmla="*/ 1527160 w 6884782"/>
              <a:gd name="connsiteY57884" fmla="*/ 1310136 h 5973007"/>
              <a:gd name="connsiteX57885" fmla="*/ 1511465 w 6884782"/>
              <a:gd name="connsiteY57885" fmla="*/ 1326864 h 5973007"/>
              <a:gd name="connsiteX57886" fmla="*/ 1509813 w 6884782"/>
              <a:gd name="connsiteY57886" fmla="*/ 1326400 h 5973007"/>
              <a:gd name="connsiteX57887" fmla="*/ 1511362 w 6884782"/>
              <a:gd name="connsiteY57887" fmla="*/ 1328258 h 5973007"/>
              <a:gd name="connsiteX57888" fmla="*/ 1521997 w 6884782"/>
              <a:gd name="connsiteY57888" fmla="*/ 1343593 h 5973007"/>
              <a:gd name="connsiteX57889" fmla="*/ 1520861 w 6884782"/>
              <a:gd name="connsiteY57889" fmla="*/ 1345607 h 5973007"/>
              <a:gd name="connsiteX57890" fmla="*/ 1521481 w 6884782"/>
              <a:gd name="connsiteY57890" fmla="*/ 1344987 h 5973007"/>
              <a:gd name="connsiteX57891" fmla="*/ 1523856 w 6884782"/>
              <a:gd name="connsiteY57891" fmla="*/ 1342664 h 5973007"/>
              <a:gd name="connsiteX57892" fmla="*/ 1519726 w 6884782"/>
              <a:gd name="connsiteY57892" fmla="*/ 1348859 h 5973007"/>
              <a:gd name="connsiteX57893" fmla="*/ 1518899 w 6884782"/>
              <a:gd name="connsiteY57893" fmla="*/ 1349634 h 5973007"/>
              <a:gd name="connsiteX57894" fmla="*/ 1518590 w 6884782"/>
              <a:gd name="connsiteY57894" fmla="*/ 1354126 h 5973007"/>
              <a:gd name="connsiteX57895" fmla="*/ 1520655 w 6884782"/>
              <a:gd name="connsiteY57895" fmla="*/ 1362955 h 5973007"/>
              <a:gd name="connsiteX57896" fmla="*/ 1502895 w 6884782"/>
              <a:gd name="connsiteY57896" fmla="*/ 1380303 h 5973007"/>
              <a:gd name="connsiteX57897" fmla="*/ 1471711 w 6884782"/>
              <a:gd name="connsiteY57897" fmla="*/ 1379374 h 5973007"/>
              <a:gd name="connsiteX57898" fmla="*/ 1457875 w 6884782"/>
              <a:gd name="connsiteY57898" fmla="*/ 1365588 h 5973007"/>
              <a:gd name="connsiteX57899" fmla="*/ 1456636 w 6884782"/>
              <a:gd name="connsiteY57899" fmla="*/ 1364349 h 5973007"/>
              <a:gd name="connsiteX57900" fmla="*/ 1445071 w 6884782"/>
              <a:gd name="connsiteY57900" fmla="*/ 1364969 h 5973007"/>
              <a:gd name="connsiteX57901" fmla="*/ 1435778 w 6884782"/>
              <a:gd name="connsiteY57901" fmla="*/ 1361871 h 5973007"/>
              <a:gd name="connsiteX57902" fmla="*/ 1433919 w 6884782"/>
              <a:gd name="connsiteY57902" fmla="*/ 1366982 h 5973007"/>
              <a:gd name="connsiteX57903" fmla="*/ 1433197 w 6884782"/>
              <a:gd name="connsiteY57903" fmla="*/ 1368841 h 5973007"/>
              <a:gd name="connsiteX57904" fmla="*/ 1434126 w 6884782"/>
              <a:gd name="connsiteY57904" fmla="*/ 1368686 h 5973007"/>
              <a:gd name="connsiteX57905" fmla="*/ 1433093 w 6884782"/>
              <a:gd name="connsiteY57905" fmla="*/ 1369151 h 5973007"/>
              <a:gd name="connsiteX57906" fmla="*/ 1431132 w 6884782"/>
              <a:gd name="connsiteY57906" fmla="*/ 1373798 h 5973007"/>
              <a:gd name="connsiteX57907" fmla="*/ 1422871 w 6884782"/>
              <a:gd name="connsiteY57907" fmla="*/ 1379993 h 5973007"/>
              <a:gd name="connsiteX57908" fmla="*/ 1424110 w 6884782"/>
              <a:gd name="connsiteY57908" fmla="*/ 1375037 h 5973007"/>
              <a:gd name="connsiteX57909" fmla="*/ 1425246 w 6884782"/>
              <a:gd name="connsiteY57909" fmla="*/ 1371164 h 5973007"/>
              <a:gd name="connsiteX57910" fmla="*/ 1424420 w 6884782"/>
              <a:gd name="connsiteY57910" fmla="*/ 1371010 h 5973007"/>
              <a:gd name="connsiteX57911" fmla="*/ 1425349 w 6884782"/>
              <a:gd name="connsiteY57911" fmla="*/ 1370700 h 5973007"/>
              <a:gd name="connsiteX57912" fmla="*/ 1425762 w 6884782"/>
              <a:gd name="connsiteY57912" fmla="*/ 1369151 h 5973007"/>
              <a:gd name="connsiteX57913" fmla="*/ 1432577 w 6884782"/>
              <a:gd name="connsiteY57913" fmla="*/ 1361406 h 5973007"/>
              <a:gd name="connsiteX57914" fmla="*/ 1434849 w 6884782"/>
              <a:gd name="connsiteY57914" fmla="*/ 1361716 h 5973007"/>
              <a:gd name="connsiteX57915" fmla="*/ 1433506 w 6884782"/>
              <a:gd name="connsiteY57915" fmla="*/ 1361251 h 5973007"/>
              <a:gd name="connsiteX57916" fmla="*/ 1418431 w 6884782"/>
              <a:gd name="connsiteY57916" fmla="*/ 1331821 h 5973007"/>
              <a:gd name="connsiteX57917" fmla="*/ 1426175 w 6884782"/>
              <a:gd name="connsiteY57917" fmla="*/ 1312924 h 5973007"/>
              <a:gd name="connsiteX57918" fmla="*/ 1449304 w 6884782"/>
              <a:gd name="connsiteY57918" fmla="*/ 1298518 h 5973007"/>
              <a:gd name="connsiteX57919" fmla="*/ 4330287 w 6884782"/>
              <a:gd name="connsiteY57919" fmla="*/ 1298488 h 5973007"/>
              <a:gd name="connsiteX57920" fmla="*/ 4326658 w 6884782"/>
              <a:gd name="connsiteY57920" fmla="*/ 1308874 h 5973007"/>
              <a:gd name="connsiteX57921" fmla="*/ 4320469 w 6884782"/>
              <a:gd name="connsiteY57921" fmla="*/ 1305744 h 5973007"/>
              <a:gd name="connsiteX57922" fmla="*/ 4330287 w 6884782"/>
              <a:gd name="connsiteY57922" fmla="*/ 1298488 h 5973007"/>
              <a:gd name="connsiteX57923" fmla="*/ 1547604 w 6884782"/>
              <a:gd name="connsiteY57923" fmla="*/ 1297744 h 5973007"/>
              <a:gd name="connsiteX57924" fmla="*/ 1542958 w 6884782"/>
              <a:gd name="connsiteY57924" fmla="*/ 1310910 h 5973007"/>
              <a:gd name="connsiteX57925" fmla="*/ 1547604 w 6884782"/>
              <a:gd name="connsiteY57925" fmla="*/ 1297744 h 5973007"/>
              <a:gd name="connsiteX57926" fmla="*/ 1648692 w 6884782"/>
              <a:gd name="connsiteY57926" fmla="*/ 1297589 h 5973007"/>
              <a:gd name="connsiteX57927" fmla="*/ 1650448 w 6884782"/>
              <a:gd name="connsiteY57927" fmla="*/ 1305334 h 5973007"/>
              <a:gd name="connsiteX57928" fmla="*/ 1641465 w 6884782"/>
              <a:gd name="connsiteY57928" fmla="*/ 1297744 h 5973007"/>
              <a:gd name="connsiteX57929" fmla="*/ 1648692 w 6884782"/>
              <a:gd name="connsiteY57929" fmla="*/ 1297589 h 5973007"/>
              <a:gd name="connsiteX57930" fmla="*/ 3463376 w 6884782"/>
              <a:gd name="connsiteY57930" fmla="*/ 1297208 h 5973007"/>
              <a:gd name="connsiteX57931" fmla="*/ 3462736 w 6884782"/>
              <a:gd name="connsiteY57931" fmla="*/ 1297919 h 5973007"/>
              <a:gd name="connsiteX57932" fmla="*/ 3464869 w 6884782"/>
              <a:gd name="connsiteY57932" fmla="*/ 1297777 h 5973007"/>
              <a:gd name="connsiteX57933" fmla="*/ 1386422 w 6884782"/>
              <a:gd name="connsiteY57933" fmla="*/ 1296969 h 5973007"/>
              <a:gd name="connsiteX57934" fmla="*/ 1388487 w 6884782"/>
              <a:gd name="connsiteY57934" fmla="*/ 1298518 h 5973007"/>
              <a:gd name="connsiteX57935" fmla="*/ 1388487 w 6884782"/>
              <a:gd name="connsiteY57935" fmla="*/ 1297744 h 5973007"/>
              <a:gd name="connsiteX57936" fmla="*/ 1396334 w 6884782"/>
              <a:gd name="connsiteY57936" fmla="*/ 1298363 h 5973007"/>
              <a:gd name="connsiteX57937" fmla="*/ 1398812 w 6884782"/>
              <a:gd name="connsiteY57937" fmla="*/ 1302391 h 5973007"/>
              <a:gd name="connsiteX57938" fmla="*/ 1396747 w 6884782"/>
              <a:gd name="connsiteY57938" fmla="*/ 1310136 h 5973007"/>
              <a:gd name="connsiteX57939" fmla="*/ 1392307 w 6884782"/>
              <a:gd name="connsiteY57939" fmla="*/ 1309361 h 5973007"/>
              <a:gd name="connsiteX57940" fmla="*/ 1389416 w 6884782"/>
              <a:gd name="connsiteY57940" fmla="*/ 1305024 h 5973007"/>
              <a:gd name="connsiteX57941" fmla="*/ 1388487 w 6884782"/>
              <a:gd name="connsiteY57941" fmla="*/ 1301771 h 5973007"/>
              <a:gd name="connsiteX57942" fmla="*/ 1386834 w 6884782"/>
              <a:gd name="connsiteY57942" fmla="*/ 1301771 h 5973007"/>
              <a:gd name="connsiteX57943" fmla="*/ 1384873 w 6884782"/>
              <a:gd name="connsiteY57943" fmla="*/ 1299292 h 5973007"/>
              <a:gd name="connsiteX57944" fmla="*/ 1386422 w 6884782"/>
              <a:gd name="connsiteY57944" fmla="*/ 1296969 h 5973007"/>
              <a:gd name="connsiteX57945" fmla="*/ 1416572 w 6884782"/>
              <a:gd name="connsiteY57945" fmla="*/ 1296659 h 5973007"/>
              <a:gd name="connsiteX57946" fmla="*/ 1406763 w 6884782"/>
              <a:gd name="connsiteY57946" fmla="*/ 1322062 h 5973007"/>
              <a:gd name="connsiteX57947" fmla="*/ 1399122 w 6884782"/>
              <a:gd name="connsiteY57947" fmla="*/ 1318964 h 5973007"/>
              <a:gd name="connsiteX57948" fmla="*/ 1416572 w 6884782"/>
              <a:gd name="connsiteY57948" fmla="*/ 1296659 h 5973007"/>
              <a:gd name="connsiteX57949" fmla="*/ 1040849 w 6884782"/>
              <a:gd name="connsiteY57949" fmla="*/ 1296078 h 5973007"/>
              <a:gd name="connsiteX57950" fmla="*/ 1047741 w 6884782"/>
              <a:gd name="connsiteY57950" fmla="*/ 1300222 h 5973007"/>
              <a:gd name="connsiteX57951" fmla="*/ 1045366 w 6884782"/>
              <a:gd name="connsiteY57951" fmla="*/ 1307037 h 5973007"/>
              <a:gd name="connsiteX57952" fmla="*/ 1033182 w 6884782"/>
              <a:gd name="connsiteY57952" fmla="*/ 1302391 h 5973007"/>
              <a:gd name="connsiteX57953" fmla="*/ 1040849 w 6884782"/>
              <a:gd name="connsiteY57953" fmla="*/ 1296078 h 5973007"/>
              <a:gd name="connsiteX57954" fmla="*/ 1071594 w 6884782"/>
              <a:gd name="connsiteY57954" fmla="*/ 1295730 h 5973007"/>
              <a:gd name="connsiteX57955" fmla="*/ 1092658 w 6884782"/>
              <a:gd name="connsiteY57955" fmla="*/ 1310755 h 5973007"/>
              <a:gd name="connsiteX57956" fmla="*/ 1071594 w 6884782"/>
              <a:gd name="connsiteY57956" fmla="*/ 1295730 h 5973007"/>
              <a:gd name="connsiteX57957" fmla="*/ 5422355 w 6884782"/>
              <a:gd name="connsiteY57957" fmla="*/ 1295216 h 5973007"/>
              <a:gd name="connsiteX57958" fmla="*/ 5425130 w 6884782"/>
              <a:gd name="connsiteY57958" fmla="*/ 1295643 h 5973007"/>
              <a:gd name="connsiteX57959" fmla="*/ 5425770 w 6884782"/>
              <a:gd name="connsiteY57959" fmla="*/ 1297066 h 5973007"/>
              <a:gd name="connsiteX57960" fmla="*/ 5423209 w 6884782"/>
              <a:gd name="connsiteY57960" fmla="*/ 1301760 h 5973007"/>
              <a:gd name="connsiteX57961" fmla="*/ 5419794 w 6884782"/>
              <a:gd name="connsiteY57961" fmla="*/ 1302899 h 5973007"/>
              <a:gd name="connsiteX57962" fmla="*/ 5418941 w 6884782"/>
              <a:gd name="connsiteY57962" fmla="*/ 1299200 h 5973007"/>
              <a:gd name="connsiteX57963" fmla="*/ 5420435 w 6884782"/>
              <a:gd name="connsiteY57963" fmla="*/ 1295643 h 5973007"/>
              <a:gd name="connsiteX57964" fmla="*/ 5422355 w 6884782"/>
              <a:gd name="connsiteY57964" fmla="*/ 1295216 h 5973007"/>
              <a:gd name="connsiteX57965" fmla="*/ 1690305 w 6884782"/>
              <a:gd name="connsiteY57965" fmla="*/ 1295111 h 5973007"/>
              <a:gd name="connsiteX57966" fmla="*/ 1695364 w 6884782"/>
              <a:gd name="connsiteY57966" fmla="*/ 1307192 h 5973007"/>
              <a:gd name="connsiteX57967" fmla="*/ 1689995 w 6884782"/>
              <a:gd name="connsiteY57967" fmla="*/ 1301306 h 5973007"/>
              <a:gd name="connsiteX57968" fmla="*/ 1689478 w 6884782"/>
              <a:gd name="connsiteY57968" fmla="*/ 1298208 h 5973007"/>
              <a:gd name="connsiteX57969" fmla="*/ 1690305 w 6884782"/>
              <a:gd name="connsiteY57969" fmla="*/ 1295111 h 5973007"/>
              <a:gd name="connsiteX57970" fmla="*/ 1653236 w 6884782"/>
              <a:gd name="connsiteY57970" fmla="*/ 1294801 h 5973007"/>
              <a:gd name="connsiteX57971" fmla="*/ 1669550 w 6884782"/>
              <a:gd name="connsiteY57971" fmla="*/ 1295265 h 5973007"/>
              <a:gd name="connsiteX57972" fmla="*/ 1670066 w 6884782"/>
              <a:gd name="connsiteY57972" fmla="*/ 1303785 h 5973007"/>
              <a:gd name="connsiteX57973" fmla="*/ 1649828 w 6884782"/>
              <a:gd name="connsiteY57973" fmla="*/ 1298673 h 5973007"/>
              <a:gd name="connsiteX57974" fmla="*/ 1653236 w 6884782"/>
              <a:gd name="connsiteY57974" fmla="*/ 1294801 h 5973007"/>
              <a:gd name="connsiteX57975" fmla="*/ 4241504 w 6884782"/>
              <a:gd name="connsiteY57975" fmla="*/ 1294647 h 5973007"/>
              <a:gd name="connsiteX57976" fmla="*/ 4243212 w 6884782"/>
              <a:gd name="connsiteY57976" fmla="*/ 1302472 h 5973007"/>
              <a:gd name="connsiteX57977" fmla="*/ 4235741 w 6884782"/>
              <a:gd name="connsiteY57977" fmla="*/ 1302899 h 5973007"/>
              <a:gd name="connsiteX57978" fmla="*/ 4241504 w 6884782"/>
              <a:gd name="connsiteY57978" fmla="*/ 1294647 h 5973007"/>
              <a:gd name="connsiteX57979" fmla="*/ 4621178 w 6884782"/>
              <a:gd name="connsiteY57979" fmla="*/ 1293509 h 5973007"/>
              <a:gd name="connsiteX57980" fmla="*/ 4627367 w 6884782"/>
              <a:gd name="connsiteY57980" fmla="*/ 1311008 h 5973007"/>
              <a:gd name="connsiteX57981" fmla="*/ 4626513 w 6884782"/>
              <a:gd name="connsiteY57981" fmla="*/ 1316841 h 5973007"/>
              <a:gd name="connsiteX57982" fmla="*/ 4630782 w 6884782"/>
              <a:gd name="connsiteY57982" fmla="*/ 1318121 h 5973007"/>
              <a:gd name="connsiteX57983" fmla="*/ 4638465 w 6884782"/>
              <a:gd name="connsiteY57983" fmla="*/ 1322247 h 5973007"/>
              <a:gd name="connsiteX57984" fmla="*/ 4625019 w 6884782"/>
              <a:gd name="connsiteY57984" fmla="*/ 1329930 h 5973007"/>
              <a:gd name="connsiteX57985" fmla="*/ 4623099 w 6884782"/>
              <a:gd name="connsiteY57985" fmla="*/ 1324950 h 5973007"/>
              <a:gd name="connsiteX57986" fmla="*/ 4622672 w 6884782"/>
              <a:gd name="connsiteY57986" fmla="*/ 1325662 h 5973007"/>
              <a:gd name="connsiteX57987" fmla="*/ 4621178 w 6884782"/>
              <a:gd name="connsiteY57987" fmla="*/ 1293509 h 5973007"/>
              <a:gd name="connsiteX57988" fmla="*/ 1500997 w 6884782"/>
              <a:gd name="connsiteY57988" fmla="*/ 1291838 h 5973007"/>
              <a:gd name="connsiteX57989" fmla="*/ 1503825 w 6884782"/>
              <a:gd name="connsiteY57989" fmla="*/ 1291848 h 5973007"/>
              <a:gd name="connsiteX57990" fmla="*/ 1503824 w 6884782"/>
              <a:gd name="connsiteY57990" fmla="*/ 1291857 h 5973007"/>
              <a:gd name="connsiteX57991" fmla="*/ 1503833 w 6884782"/>
              <a:gd name="connsiteY57991" fmla="*/ 1291848 h 5973007"/>
              <a:gd name="connsiteX57992" fmla="*/ 1506302 w 6884782"/>
              <a:gd name="connsiteY57992" fmla="*/ 1291857 h 5973007"/>
              <a:gd name="connsiteX57993" fmla="*/ 1493395 w 6884782"/>
              <a:gd name="connsiteY57993" fmla="*/ 1294646 h 5973007"/>
              <a:gd name="connsiteX57994" fmla="*/ 1495460 w 6884782"/>
              <a:gd name="connsiteY57994" fmla="*/ 1293097 h 5973007"/>
              <a:gd name="connsiteX57995" fmla="*/ 1500997 w 6884782"/>
              <a:gd name="connsiteY57995" fmla="*/ 1291838 h 5973007"/>
              <a:gd name="connsiteX57996" fmla="*/ 1476977 w 6884782"/>
              <a:gd name="connsiteY57996" fmla="*/ 1291548 h 5973007"/>
              <a:gd name="connsiteX57997" fmla="*/ 1477803 w 6884782"/>
              <a:gd name="connsiteY57997" fmla="*/ 1292322 h 5973007"/>
              <a:gd name="connsiteX57998" fmla="*/ 1481727 w 6884782"/>
              <a:gd name="connsiteY57998" fmla="*/ 1301461 h 5973007"/>
              <a:gd name="connsiteX57999" fmla="*/ 1473983 w 6884782"/>
              <a:gd name="connsiteY57999" fmla="*/ 1301771 h 5973007"/>
              <a:gd name="connsiteX58000" fmla="*/ 1469027 w 6884782"/>
              <a:gd name="connsiteY58000" fmla="*/ 1294491 h 5973007"/>
              <a:gd name="connsiteX58001" fmla="*/ 1476977 w 6884782"/>
              <a:gd name="connsiteY58001" fmla="*/ 1291548 h 5973007"/>
              <a:gd name="connsiteX58002" fmla="*/ 4112598 w 6884782"/>
              <a:gd name="connsiteY58002" fmla="*/ 1290806 h 5973007"/>
              <a:gd name="connsiteX58003" fmla="*/ 4116226 w 6884782"/>
              <a:gd name="connsiteY58003" fmla="*/ 1291801 h 5973007"/>
              <a:gd name="connsiteX58004" fmla="*/ 4117507 w 6884782"/>
              <a:gd name="connsiteY58004" fmla="*/ 1292940 h 5973007"/>
              <a:gd name="connsiteX58005" fmla="*/ 4118788 w 6884782"/>
              <a:gd name="connsiteY58005" fmla="*/ 1292798 h 5973007"/>
              <a:gd name="connsiteX58006" fmla="*/ 4119001 w 6884782"/>
              <a:gd name="connsiteY58006" fmla="*/ 1294078 h 5973007"/>
              <a:gd name="connsiteX58007" fmla="*/ 4121562 w 6884782"/>
              <a:gd name="connsiteY58007" fmla="*/ 1296354 h 5973007"/>
              <a:gd name="connsiteX58008" fmla="*/ 4129032 w 6884782"/>
              <a:gd name="connsiteY58008" fmla="*/ 1299342 h 5973007"/>
              <a:gd name="connsiteX58009" fmla="*/ 4134580 w 6884782"/>
              <a:gd name="connsiteY58009" fmla="*/ 1306313 h 5973007"/>
              <a:gd name="connsiteX58010" fmla="*/ 4132660 w 6884782"/>
              <a:gd name="connsiteY58010" fmla="*/ 1308874 h 5973007"/>
              <a:gd name="connsiteX58011" fmla="*/ 4135221 w 6884782"/>
              <a:gd name="connsiteY58011" fmla="*/ 1311008 h 5973007"/>
              <a:gd name="connsiteX58012" fmla="*/ 4136288 w 6884782"/>
              <a:gd name="connsiteY58012" fmla="*/ 1326657 h 5973007"/>
              <a:gd name="connsiteX58013" fmla="*/ 4130952 w 6884782"/>
              <a:gd name="connsiteY58013" fmla="*/ 1330499 h 5973007"/>
              <a:gd name="connsiteX58014" fmla="*/ 4122629 w 6884782"/>
              <a:gd name="connsiteY58014" fmla="*/ 1328507 h 5973007"/>
              <a:gd name="connsiteX58015" fmla="*/ 4119855 w 6884782"/>
              <a:gd name="connsiteY58015" fmla="*/ 1324381 h 5973007"/>
              <a:gd name="connsiteX58016" fmla="*/ 4117507 w 6884782"/>
              <a:gd name="connsiteY58016" fmla="*/ 1326231 h 5973007"/>
              <a:gd name="connsiteX58017" fmla="*/ 4099366 w 6884782"/>
              <a:gd name="connsiteY58017" fmla="*/ 1317410 h 5973007"/>
              <a:gd name="connsiteX58018" fmla="*/ 4098726 w 6884782"/>
              <a:gd name="connsiteY58018" fmla="*/ 1314138 h 5973007"/>
              <a:gd name="connsiteX58019" fmla="*/ 4096379 w 6884782"/>
              <a:gd name="connsiteY58019" fmla="*/ 1309727 h 5973007"/>
              <a:gd name="connsiteX58020" fmla="*/ 4109184 w 6884782"/>
              <a:gd name="connsiteY58020" fmla="*/ 1300195 h 5973007"/>
              <a:gd name="connsiteX58021" fmla="*/ 4116226 w 6884782"/>
              <a:gd name="connsiteY58021" fmla="*/ 1298488 h 5973007"/>
              <a:gd name="connsiteX58022" fmla="*/ 4117934 w 6884782"/>
              <a:gd name="connsiteY58022" fmla="*/ 1298915 h 5973007"/>
              <a:gd name="connsiteX58023" fmla="*/ 4117293 w 6884782"/>
              <a:gd name="connsiteY58023" fmla="*/ 1298488 h 5973007"/>
              <a:gd name="connsiteX58024" fmla="*/ 4112598 w 6884782"/>
              <a:gd name="connsiteY58024" fmla="*/ 1290806 h 5973007"/>
              <a:gd name="connsiteX58025" fmla="*/ 4270529 w 6884782"/>
              <a:gd name="connsiteY58025" fmla="*/ 1290521 h 5973007"/>
              <a:gd name="connsiteX58026" fmla="*/ 4271169 w 6884782"/>
              <a:gd name="connsiteY58026" fmla="*/ 1295073 h 5973007"/>
              <a:gd name="connsiteX58027" fmla="*/ 4271382 w 6884782"/>
              <a:gd name="connsiteY58027" fmla="*/ 1296781 h 5973007"/>
              <a:gd name="connsiteX58028" fmla="*/ 4278852 w 6884782"/>
              <a:gd name="connsiteY58028" fmla="*/ 1294789 h 5973007"/>
              <a:gd name="connsiteX58029" fmla="*/ 4301048 w 6884782"/>
              <a:gd name="connsiteY58029" fmla="*/ 1302330 h 5973007"/>
              <a:gd name="connsiteX58030" fmla="*/ 4301688 w 6884782"/>
              <a:gd name="connsiteY58030" fmla="*/ 1303325 h 5973007"/>
              <a:gd name="connsiteX58031" fmla="*/ 4301048 w 6884782"/>
              <a:gd name="connsiteY58031" fmla="*/ 1301334 h 5973007"/>
              <a:gd name="connsiteX58032" fmla="*/ 4302328 w 6884782"/>
              <a:gd name="connsiteY58032" fmla="*/ 1299057 h 5973007"/>
              <a:gd name="connsiteX58033" fmla="*/ 4306383 w 6884782"/>
              <a:gd name="connsiteY58033" fmla="*/ 1294931 h 5973007"/>
              <a:gd name="connsiteX58034" fmla="*/ 4310225 w 6884782"/>
              <a:gd name="connsiteY58034" fmla="*/ 1297066 h 5973007"/>
              <a:gd name="connsiteX58035" fmla="*/ 4311292 w 6884782"/>
              <a:gd name="connsiteY58035" fmla="*/ 1302330 h 5973007"/>
              <a:gd name="connsiteX58036" fmla="*/ 4307450 w 6884782"/>
              <a:gd name="connsiteY58036" fmla="*/ 1310866 h 5973007"/>
              <a:gd name="connsiteX58037" fmla="*/ 4305530 w 6884782"/>
              <a:gd name="connsiteY58037" fmla="*/ 1309585 h 5973007"/>
              <a:gd name="connsiteX58038" fmla="*/ 4299767 w 6884782"/>
              <a:gd name="connsiteY58038" fmla="*/ 1319544 h 5973007"/>
              <a:gd name="connsiteX58039" fmla="*/ 4290377 w 6884782"/>
              <a:gd name="connsiteY58039" fmla="*/ 1325519 h 5973007"/>
              <a:gd name="connsiteX58040" fmla="*/ 4283761 w 6884782"/>
              <a:gd name="connsiteY58040" fmla="*/ 1326657 h 5973007"/>
              <a:gd name="connsiteX58041" fmla="*/ 4287816 w 6884782"/>
              <a:gd name="connsiteY58041" fmla="*/ 1329645 h 5973007"/>
              <a:gd name="connsiteX58042" fmla="*/ 4298914 w 6884782"/>
              <a:gd name="connsiteY58042" fmla="*/ 1346860 h 5973007"/>
              <a:gd name="connsiteX58043" fmla="*/ 4283548 w 6884782"/>
              <a:gd name="connsiteY58043" fmla="*/ 1348994 h 5973007"/>
              <a:gd name="connsiteX58044" fmla="*/ 4273944 w 6884782"/>
              <a:gd name="connsiteY58044" fmla="*/ 1338323 h 5973007"/>
              <a:gd name="connsiteX58045" fmla="*/ 4273303 w 6884782"/>
              <a:gd name="connsiteY58045" fmla="*/ 1336758 h 5973007"/>
              <a:gd name="connsiteX58046" fmla="*/ 4270956 w 6884782"/>
              <a:gd name="connsiteY58046" fmla="*/ 1338750 h 5973007"/>
              <a:gd name="connsiteX58047" fmla="*/ 4264980 w 6884782"/>
              <a:gd name="connsiteY58047" fmla="*/ 1338892 h 5973007"/>
              <a:gd name="connsiteX58048" fmla="*/ 4260711 w 6884782"/>
              <a:gd name="connsiteY58048" fmla="*/ 1324950 h 5973007"/>
              <a:gd name="connsiteX58049" fmla="*/ 4260925 w 6884782"/>
              <a:gd name="connsiteY58049" fmla="*/ 1320255 h 5973007"/>
              <a:gd name="connsiteX58050" fmla="*/ 4254096 w 6884782"/>
              <a:gd name="connsiteY58050" fmla="*/ 1314138 h 5973007"/>
              <a:gd name="connsiteX58051" fmla="*/ 4254096 w 6884782"/>
              <a:gd name="connsiteY58051" fmla="*/ 1310297 h 5973007"/>
              <a:gd name="connsiteX58052" fmla="*/ 4263913 w 6884782"/>
              <a:gd name="connsiteY58052" fmla="*/ 1298915 h 5973007"/>
              <a:gd name="connsiteX58053" fmla="*/ 4264980 w 6884782"/>
              <a:gd name="connsiteY58053" fmla="*/ 1298630 h 5973007"/>
              <a:gd name="connsiteX58054" fmla="*/ 4261992 w 6884782"/>
              <a:gd name="connsiteY58054" fmla="*/ 1296781 h 5973007"/>
              <a:gd name="connsiteX58055" fmla="*/ 4270529 w 6884782"/>
              <a:gd name="connsiteY58055" fmla="*/ 1290521 h 5973007"/>
              <a:gd name="connsiteX58056" fmla="*/ 4834598 w 6884782"/>
              <a:gd name="connsiteY58056" fmla="*/ 1290379 h 5973007"/>
              <a:gd name="connsiteX58057" fmla="*/ 4844628 w 6884782"/>
              <a:gd name="connsiteY58057" fmla="*/ 1297919 h 5973007"/>
              <a:gd name="connsiteX58058" fmla="*/ 4845269 w 6884782"/>
              <a:gd name="connsiteY58058" fmla="*/ 1298488 h 5973007"/>
              <a:gd name="connsiteX58059" fmla="*/ 4846549 w 6884782"/>
              <a:gd name="connsiteY58059" fmla="*/ 1299200 h 5973007"/>
              <a:gd name="connsiteX58060" fmla="*/ 4846976 w 6884782"/>
              <a:gd name="connsiteY58060" fmla="*/ 1298773 h 5973007"/>
              <a:gd name="connsiteX58061" fmla="*/ 4846976 w 6884782"/>
              <a:gd name="connsiteY58061" fmla="*/ 1299200 h 5973007"/>
              <a:gd name="connsiteX58062" fmla="*/ 4849537 w 6884782"/>
              <a:gd name="connsiteY58062" fmla="*/ 1300338 h 5973007"/>
              <a:gd name="connsiteX58063" fmla="*/ 4848683 w 6884782"/>
              <a:gd name="connsiteY58063" fmla="*/ 1302330 h 5973007"/>
              <a:gd name="connsiteX58064" fmla="*/ 4849750 w 6884782"/>
              <a:gd name="connsiteY58064" fmla="*/ 1305886 h 5973007"/>
              <a:gd name="connsiteX58065" fmla="*/ 4847830 w 6884782"/>
              <a:gd name="connsiteY58065" fmla="*/ 1308304 h 5973007"/>
              <a:gd name="connsiteX58066" fmla="*/ 4841000 w 6884782"/>
              <a:gd name="connsiteY58066" fmla="*/ 1308447 h 5973007"/>
              <a:gd name="connsiteX58067" fmla="*/ 4836518 w 6884782"/>
              <a:gd name="connsiteY58067" fmla="*/ 1316699 h 5973007"/>
              <a:gd name="connsiteX58068" fmla="*/ 4834598 w 6884782"/>
              <a:gd name="connsiteY58068" fmla="*/ 1320825 h 5973007"/>
              <a:gd name="connsiteX58069" fmla="*/ 4835878 w 6884782"/>
              <a:gd name="connsiteY58069" fmla="*/ 1319686 h 5973007"/>
              <a:gd name="connsiteX58070" fmla="*/ 4852738 w 6884782"/>
              <a:gd name="connsiteY58070" fmla="*/ 1321251 h 5973007"/>
              <a:gd name="connsiteX58071" fmla="*/ 4841640 w 6884782"/>
              <a:gd name="connsiteY58071" fmla="*/ 1326515 h 5973007"/>
              <a:gd name="connsiteX58072" fmla="*/ 4832677 w 6884782"/>
              <a:gd name="connsiteY58072" fmla="*/ 1323101 h 5973007"/>
              <a:gd name="connsiteX58073" fmla="*/ 4827981 w 6884782"/>
              <a:gd name="connsiteY58073" fmla="*/ 1326657 h 5973007"/>
              <a:gd name="connsiteX58074" fmla="*/ 4819232 w 6884782"/>
              <a:gd name="connsiteY58074" fmla="*/ 1319686 h 5973007"/>
              <a:gd name="connsiteX58075" fmla="*/ 4826701 w 6884782"/>
              <a:gd name="connsiteY58075" fmla="*/ 1297777 h 5973007"/>
              <a:gd name="connsiteX58076" fmla="*/ 4827555 w 6884782"/>
              <a:gd name="connsiteY58076" fmla="*/ 1298346 h 5973007"/>
              <a:gd name="connsiteX58077" fmla="*/ 4829903 w 6884782"/>
              <a:gd name="connsiteY58077" fmla="*/ 1290806 h 5973007"/>
              <a:gd name="connsiteX58078" fmla="*/ 4834598 w 6884782"/>
              <a:gd name="connsiteY58078" fmla="*/ 1290379 h 5973007"/>
              <a:gd name="connsiteX58079" fmla="*/ 4580201 w 6884782"/>
              <a:gd name="connsiteY58079" fmla="*/ 1290236 h 5973007"/>
              <a:gd name="connsiteX58080" fmla="*/ 4574652 w 6884782"/>
              <a:gd name="connsiteY58080" fmla="*/ 1312715 h 5973007"/>
              <a:gd name="connsiteX58081" fmla="*/ 4573158 w 6884782"/>
              <a:gd name="connsiteY58081" fmla="*/ 1314991 h 5973007"/>
              <a:gd name="connsiteX58082" fmla="*/ 4569744 w 6884782"/>
              <a:gd name="connsiteY58082" fmla="*/ 1314991 h 5973007"/>
              <a:gd name="connsiteX58083" fmla="*/ 4571664 w 6884782"/>
              <a:gd name="connsiteY58083" fmla="*/ 1297208 h 5973007"/>
              <a:gd name="connsiteX58084" fmla="*/ 4572945 w 6884782"/>
              <a:gd name="connsiteY58084" fmla="*/ 1294931 h 5973007"/>
              <a:gd name="connsiteX58085" fmla="*/ 4580201 w 6884782"/>
              <a:gd name="connsiteY58085" fmla="*/ 1290236 h 5973007"/>
              <a:gd name="connsiteX58086" fmla="*/ 3550664 w 6884782"/>
              <a:gd name="connsiteY58086" fmla="*/ 1289952 h 5973007"/>
              <a:gd name="connsiteX58087" fmla="*/ 3560482 w 6884782"/>
              <a:gd name="connsiteY58087" fmla="*/ 1302757 h 5973007"/>
              <a:gd name="connsiteX58088" fmla="*/ 3562189 w 6884782"/>
              <a:gd name="connsiteY58088" fmla="*/ 1312004 h 5973007"/>
              <a:gd name="connsiteX58089" fmla="*/ 3558774 w 6884782"/>
              <a:gd name="connsiteY58089" fmla="*/ 1321394 h 5973007"/>
              <a:gd name="connsiteX58090" fmla="*/ 3553439 w 6884782"/>
              <a:gd name="connsiteY58090" fmla="*/ 1336616 h 5973007"/>
              <a:gd name="connsiteX58091" fmla="*/ 3542128 w 6884782"/>
              <a:gd name="connsiteY58091" fmla="*/ 1335478 h 5973007"/>
              <a:gd name="connsiteX58092" fmla="*/ 3537646 w 6884782"/>
              <a:gd name="connsiteY58092" fmla="*/ 1307878 h 5973007"/>
              <a:gd name="connsiteX58093" fmla="*/ 3538286 w 6884782"/>
              <a:gd name="connsiteY58093" fmla="*/ 1305886 h 5973007"/>
              <a:gd name="connsiteX58094" fmla="*/ 3537859 w 6884782"/>
              <a:gd name="connsiteY58094" fmla="*/ 1305175 h 5973007"/>
              <a:gd name="connsiteX58095" fmla="*/ 3535725 w 6884782"/>
              <a:gd name="connsiteY58095" fmla="*/ 1294363 h 5973007"/>
              <a:gd name="connsiteX58096" fmla="*/ 3540207 w 6884782"/>
              <a:gd name="connsiteY58096" fmla="*/ 1300480 h 5973007"/>
              <a:gd name="connsiteX58097" fmla="*/ 3541061 w 6884782"/>
              <a:gd name="connsiteY58097" fmla="*/ 1298346 h 5973007"/>
              <a:gd name="connsiteX58098" fmla="*/ 3542768 w 6884782"/>
              <a:gd name="connsiteY58098" fmla="*/ 1292513 h 5973007"/>
              <a:gd name="connsiteX58099" fmla="*/ 3548103 w 6884782"/>
              <a:gd name="connsiteY58099" fmla="*/ 1290094 h 5973007"/>
              <a:gd name="connsiteX58100" fmla="*/ 3550664 w 6884782"/>
              <a:gd name="connsiteY58100" fmla="*/ 1289952 h 5973007"/>
              <a:gd name="connsiteX58101" fmla="*/ 4067994 w 6884782"/>
              <a:gd name="connsiteY58101" fmla="*/ 1288956 h 5973007"/>
              <a:gd name="connsiteX58102" fmla="*/ 4077811 w 6884782"/>
              <a:gd name="connsiteY58102" fmla="*/ 1293651 h 5973007"/>
              <a:gd name="connsiteX58103" fmla="*/ 4075890 w 6884782"/>
              <a:gd name="connsiteY58103" fmla="*/ 1303752 h 5973007"/>
              <a:gd name="connsiteX58104" fmla="*/ 4059030 w 6884782"/>
              <a:gd name="connsiteY58104" fmla="*/ 1299200 h 5973007"/>
              <a:gd name="connsiteX58105" fmla="*/ 4067994 w 6884782"/>
              <a:gd name="connsiteY58105" fmla="*/ 1288956 h 5973007"/>
              <a:gd name="connsiteX58106" fmla="*/ 1396747 w 6884782"/>
              <a:gd name="connsiteY58106" fmla="*/ 1288450 h 5973007"/>
              <a:gd name="connsiteX58107" fmla="*/ 1393649 w 6884782"/>
              <a:gd name="connsiteY58107" fmla="*/ 1291548 h 5973007"/>
              <a:gd name="connsiteX58108" fmla="*/ 1390036 w 6884782"/>
              <a:gd name="connsiteY58108" fmla="*/ 1291548 h 5973007"/>
              <a:gd name="connsiteX58109" fmla="*/ 1396747 w 6884782"/>
              <a:gd name="connsiteY58109" fmla="*/ 1288450 h 5973007"/>
              <a:gd name="connsiteX58110" fmla="*/ 1724379 w 6884782"/>
              <a:gd name="connsiteY58110" fmla="*/ 1287985 h 5973007"/>
              <a:gd name="connsiteX58111" fmla="*/ 1719733 w 6884782"/>
              <a:gd name="connsiteY58111" fmla="*/ 1288295 h 5973007"/>
              <a:gd name="connsiteX58112" fmla="*/ 1718906 w 6884782"/>
              <a:gd name="connsiteY58112" fmla="*/ 1289534 h 5973007"/>
              <a:gd name="connsiteX58113" fmla="*/ 1722521 w 6884782"/>
              <a:gd name="connsiteY58113" fmla="*/ 1289844 h 5973007"/>
              <a:gd name="connsiteX58114" fmla="*/ 1190441 w 6884782"/>
              <a:gd name="connsiteY58114" fmla="*/ 1287366 h 5973007"/>
              <a:gd name="connsiteX58115" fmla="*/ 1206756 w 6884782"/>
              <a:gd name="connsiteY58115" fmla="*/ 1291548 h 5973007"/>
              <a:gd name="connsiteX58116" fmla="*/ 1208408 w 6884782"/>
              <a:gd name="connsiteY58116" fmla="*/ 1292632 h 5973007"/>
              <a:gd name="connsiteX58117" fmla="*/ 1208408 w 6884782"/>
              <a:gd name="connsiteY58117" fmla="*/ 1295111 h 5973007"/>
              <a:gd name="connsiteX58118" fmla="*/ 1195501 w 6884782"/>
              <a:gd name="connsiteY58118" fmla="*/ 1293716 h 5973007"/>
              <a:gd name="connsiteX58119" fmla="*/ 1193849 w 6884782"/>
              <a:gd name="connsiteY58119" fmla="*/ 1292787 h 5973007"/>
              <a:gd name="connsiteX58120" fmla="*/ 1190441 w 6884782"/>
              <a:gd name="connsiteY58120" fmla="*/ 1287366 h 5973007"/>
              <a:gd name="connsiteX58121" fmla="*/ 5182898 w 6884782"/>
              <a:gd name="connsiteY58121" fmla="*/ 1287249 h 5973007"/>
              <a:gd name="connsiteX58122" fmla="*/ 5188448 w 6884782"/>
              <a:gd name="connsiteY58122" fmla="*/ 1290379 h 5973007"/>
              <a:gd name="connsiteX58123" fmla="*/ 5180765 w 6884782"/>
              <a:gd name="connsiteY58123" fmla="*/ 1301191 h 5973007"/>
              <a:gd name="connsiteX58124" fmla="*/ 5182898 w 6884782"/>
              <a:gd name="connsiteY58124" fmla="*/ 1287249 h 5973007"/>
              <a:gd name="connsiteX58125" fmla="*/ 4763315 w 6884782"/>
              <a:gd name="connsiteY58125" fmla="*/ 1285969 h 5973007"/>
              <a:gd name="connsiteX58126" fmla="*/ 4765877 w 6884782"/>
              <a:gd name="connsiteY58126" fmla="*/ 1292940 h 5973007"/>
              <a:gd name="connsiteX58127" fmla="*/ 4755419 w 6884782"/>
              <a:gd name="connsiteY58127" fmla="*/ 1300765 h 5973007"/>
              <a:gd name="connsiteX58128" fmla="*/ 4763315 w 6884782"/>
              <a:gd name="connsiteY58128" fmla="*/ 1285969 h 5973007"/>
              <a:gd name="connsiteX58129" fmla="*/ 3634111 w 6884782"/>
              <a:gd name="connsiteY58129" fmla="*/ 1285969 h 5973007"/>
              <a:gd name="connsiteX58130" fmla="*/ 3641581 w 6884782"/>
              <a:gd name="connsiteY58130" fmla="*/ 1287107 h 5973007"/>
              <a:gd name="connsiteX58131" fmla="*/ 3639660 w 6884782"/>
              <a:gd name="connsiteY58131" fmla="*/ 1289952 h 5973007"/>
              <a:gd name="connsiteX58132" fmla="*/ 3636246 w 6884782"/>
              <a:gd name="connsiteY58132" fmla="*/ 1289099 h 5973007"/>
              <a:gd name="connsiteX58133" fmla="*/ 3633684 w 6884782"/>
              <a:gd name="connsiteY58133" fmla="*/ 1289241 h 5973007"/>
              <a:gd name="connsiteX58134" fmla="*/ 3631550 w 6884782"/>
              <a:gd name="connsiteY58134" fmla="*/ 1286111 h 5973007"/>
              <a:gd name="connsiteX58135" fmla="*/ 3634111 w 6884782"/>
              <a:gd name="connsiteY58135" fmla="*/ 1285969 h 5973007"/>
              <a:gd name="connsiteX58136" fmla="*/ 1398812 w 6884782"/>
              <a:gd name="connsiteY58136" fmla="*/ 1285817 h 5973007"/>
              <a:gd name="connsiteX58137" fmla="*/ 1399535 w 6884782"/>
              <a:gd name="connsiteY58137" fmla="*/ 1286591 h 5973007"/>
              <a:gd name="connsiteX58138" fmla="*/ 1399638 w 6884782"/>
              <a:gd name="connsiteY58138" fmla="*/ 1285817 h 5973007"/>
              <a:gd name="connsiteX58139" fmla="*/ 1399845 w 6884782"/>
              <a:gd name="connsiteY58139" fmla="*/ 1286901 h 5973007"/>
              <a:gd name="connsiteX58140" fmla="*/ 1399432 w 6884782"/>
              <a:gd name="connsiteY58140" fmla="*/ 1287521 h 5973007"/>
              <a:gd name="connsiteX58141" fmla="*/ 1396747 w 6884782"/>
              <a:gd name="connsiteY58141" fmla="*/ 1288295 h 5973007"/>
              <a:gd name="connsiteX58142" fmla="*/ 1398812 w 6884782"/>
              <a:gd name="connsiteY58142" fmla="*/ 1285817 h 5973007"/>
              <a:gd name="connsiteX58143" fmla="*/ 5124848 w 6884782"/>
              <a:gd name="connsiteY58143" fmla="*/ 1285542 h 5973007"/>
              <a:gd name="connsiteX58144" fmla="*/ 5132318 w 6884782"/>
              <a:gd name="connsiteY58144" fmla="*/ 1285684 h 5973007"/>
              <a:gd name="connsiteX58145" fmla="*/ 5117379 w 6884782"/>
              <a:gd name="connsiteY58145" fmla="*/ 1305886 h 5973007"/>
              <a:gd name="connsiteX58146" fmla="*/ 5124848 w 6884782"/>
              <a:gd name="connsiteY58146" fmla="*/ 1285542 h 5973007"/>
              <a:gd name="connsiteX58147" fmla="*/ 1569495 w 6884782"/>
              <a:gd name="connsiteY58147" fmla="*/ 1285042 h 5973007"/>
              <a:gd name="connsiteX58148" fmla="*/ 1571457 w 6884782"/>
              <a:gd name="connsiteY58148" fmla="*/ 1288914 h 5973007"/>
              <a:gd name="connsiteX58149" fmla="*/ 1566397 w 6884782"/>
              <a:gd name="connsiteY58149" fmla="*/ 1291238 h 5973007"/>
              <a:gd name="connsiteX58150" fmla="*/ 1564126 w 6884782"/>
              <a:gd name="connsiteY58150" fmla="*/ 1287521 h 5973007"/>
              <a:gd name="connsiteX58151" fmla="*/ 1565158 w 6884782"/>
              <a:gd name="connsiteY58151" fmla="*/ 1285662 h 5973007"/>
              <a:gd name="connsiteX58152" fmla="*/ 1565984 w 6884782"/>
              <a:gd name="connsiteY58152" fmla="*/ 1285507 h 5973007"/>
              <a:gd name="connsiteX58153" fmla="*/ 1569495 w 6884782"/>
              <a:gd name="connsiteY58153" fmla="*/ 1285042 h 5973007"/>
              <a:gd name="connsiteX58154" fmla="*/ 3910490 w 6884782"/>
              <a:gd name="connsiteY58154" fmla="*/ 1284973 h 5973007"/>
              <a:gd name="connsiteX58155" fmla="*/ 3914545 w 6884782"/>
              <a:gd name="connsiteY58155" fmla="*/ 1288814 h 5973007"/>
              <a:gd name="connsiteX58156" fmla="*/ 3914545 w 6884782"/>
              <a:gd name="connsiteY58156" fmla="*/ 1291517 h 5973007"/>
              <a:gd name="connsiteX58157" fmla="*/ 3911557 w 6884782"/>
              <a:gd name="connsiteY58157" fmla="*/ 1292371 h 5973007"/>
              <a:gd name="connsiteX58158" fmla="*/ 3905368 w 6884782"/>
              <a:gd name="connsiteY58158" fmla="*/ 1288956 h 5973007"/>
              <a:gd name="connsiteX58159" fmla="*/ 3905368 w 6884782"/>
              <a:gd name="connsiteY58159" fmla="*/ 1286253 h 5973007"/>
              <a:gd name="connsiteX58160" fmla="*/ 3910490 w 6884782"/>
              <a:gd name="connsiteY58160" fmla="*/ 1284973 h 5973007"/>
              <a:gd name="connsiteX58161" fmla="*/ 1551528 w 6884782"/>
              <a:gd name="connsiteY58161" fmla="*/ 1284887 h 5973007"/>
              <a:gd name="connsiteX58162" fmla="*/ 1550496 w 6884782"/>
              <a:gd name="connsiteY58162" fmla="*/ 1291393 h 5973007"/>
              <a:gd name="connsiteX58163" fmla="*/ 1549463 w 6884782"/>
              <a:gd name="connsiteY58163" fmla="*/ 1292168 h 5973007"/>
              <a:gd name="connsiteX58164" fmla="*/ 1551528 w 6884782"/>
              <a:gd name="connsiteY58164" fmla="*/ 1284887 h 5973007"/>
              <a:gd name="connsiteX58165" fmla="*/ 3651398 w 6884782"/>
              <a:gd name="connsiteY58165" fmla="*/ 1283835 h 5973007"/>
              <a:gd name="connsiteX58166" fmla="*/ 3660789 w 6884782"/>
              <a:gd name="connsiteY58166" fmla="*/ 1288672 h 5973007"/>
              <a:gd name="connsiteX58167" fmla="*/ 3661856 w 6884782"/>
              <a:gd name="connsiteY58167" fmla="*/ 1291517 h 5973007"/>
              <a:gd name="connsiteX58168" fmla="*/ 3656521 w 6884782"/>
              <a:gd name="connsiteY58168" fmla="*/ 1293651 h 5973007"/>
              <a:gd name="connsiteX58169" fmla="*/ 3647557 w 6884782"/>
              <a:gd name="connsiteY58169" fmla="*/ 1286253 h 5973007"/>
              <a:gd name="connsiteX58170" fmla="*/ 3651398 w 6884782"/>
              <a:gd name="connsiteY58170" fmla="*/ 1283835 h 5973007"/>
              <a:gd name="connsiteX58171" fmla="*/ 1013150 w 6884782"/>
              <a:gd name="connsiteY58171" fmla="*/ 1283493 h 5973007"/>
              <a:gd name="connsiteX58172" fmla="*/ 1028122 w 6884782"/>
              <a:gd name="connsiteY58172" fmla="*/ 1294336 h 5973007"/>
              <a:gd name="connsiteX58173" fmla="*/ 1025438 w 6884782"/>
              <a:gd name="connsiteY58173" fmla="*/ 1296040 h 5973007"/>
              <a:gd name="connsiteX58174" fmla="*/ 1011808 w 6884782"/>
              <a:gd name="connsiteY58174" fmla="*/ 1285817 h 5973007"/>
              <a:gd name="connsiteX58175" fmla="*/ 1013150 w 6884782"/>
              <a:gd name="connsiteY58175" fmla="*/ 1283493 h 5973007"/>
              <a:gd name="connsiteX58176" fmla="*/ 1387867 w 6884782"/>
              <a:gd name="connsiteY58176" fmla="*/ 1283183 h 5973007"/>
              <a:gd name="connsiteX58177" fmla="*/ 1387867 w 6884782"/>
              <a:gd name="connsiteY58177" fmla="*/ 1288140 h 5973007"/>
              <a:gd name="connsiteX58178" fmla="*/ 1386938 w 6884782"/>
              <a:gd name="connsiteY58178" fmla="*/ 1288914 h 5973007"/>
              <a:gd name="connsiteX58179" fmla="*/ 1386318 w 6884782"/>
              <a:gd name="connsiteY58179" fmla="*/ 1289689 h 5973007"/>
              <a:gd name="connsiteX58180" fmla="*/ 1384563 w 6884782"/>
              <a:gd name="connsiteY58180" fmla="*/ 1291238 h 5973007"/>
              <a:gd name="connsiteX58181" fmla="*/ 1382498 w 6884782"/>
              <a:gd name="connsiteY58181" fmla="*/ 1289069 h 5973007"/>
              <a:gd name="connsiteX58182" fmla="*/ 1382498 w 6884782"/>
              <a:gd name="connsiteY58182" fmla="*/ 1286591 h 5973007"/>
              <a:gd name="connsiteX58183" fmla="*/ 1387867 w 6884782"/>
              <a:gd name="connsiteY58183" fmla="*/ 1283183 h 5973007"/>
              <a:gd name="connsiteX58184" fmla="*/ 4181106 w 6884782"/>
              <a:gd name="connsiteY58184" fmla="*/ 1282838 h 5973007"/>
              <a:gd name="connsiteX58185" fmla="*/ 4188362 w 6884782"/>
              <a:gd name="connsiteY58185" fmla="*/ 1310012 h 5973007"/>
              <a:gd name="connsiteX58186" fmla="*/ 4180893 w 6884782"/>
              <a:gd name="connsiteY58186" fmla="*/ 1297208 h 5973007"/>
              <a:gd name="connsiteX58187" fmla="*/ 4181106 w 6884782"/>
              <a:gd name="connsiteY58187" fmla="*/ 1282838 h 5973007"/>
              <a:gd name="connsiteX58188" fmla="*/ 1406247 w 6884782"/>
              <a:gd name="connsiteY58188" fmla="*/ 1282409 h 5973007"/>
              <a:gd name="connsiteX58189" fmla="*/ 1411513 w 6884782"/>
              <a:gd name="connsiteY58189" fmla="*/ 1284268 h 5973007"/>
              <a:gd name="connsiteX58190" fmla="*/ 1412752 w 6884782"/>
              <a:gd name="connsiteY58190" fmla="*/ 1291703 h 5973007"/>
              <a:gd name="connsiteX58191" fmla="*/ 1408518 w 6884782"/>
              <a:gd name="connsiteY58191" fmla="*/ 1292322 h 5973007"/>
              <a:gd name="connsiteX58192" fmla="*/ 1406247 w 6884782"/>
              <a:gd name="connsiteY58192" fmla="*/ 1287830 h 5973007"/>
              <a:gd name="connsiteX58193" fmla="*/ 1405730 w 6884782"/>
              <a:gd name="connsiteY58193" fmla="*/ 1284887 h 5973007"/>
              <a:gd name="connsiteX58194" fmla="*/ 1406247 w 6884782"/>
              <a:gd name="connsiteY58194" fmla="*/ 1282409 h 5973007"/>
              <a:gd name="connsiteX58195" fmla="*/ 5805871 w 6884782"/>
              <a:gd name="connsiteY58195" fmla="*/ 1281985 h 5973007"/>
              <a:gd name="connsiteX58196" fmla="*/ 5808432 w 6884782"/>
              <a:gd name="connsiteY58196" fmla="*/ 1283977 h 5973007"/>
              <a:gd name="connsiteX58197" fmla="*/ 5804590 w 6884782"/>
              <a:gd name="connsiteY58197" fmla="*/ 1287249 h 5973007"/>
              <a:gd name="connsiteX58198" fmla="*/ 5803950 w 6884782"/>
              <a:gd name="connsiteY58198" fmla="*/ 1282696 h 5973007"/>
              <a:gd name="connsiteX58199" fmla="*/ 5805871 w 6884782"/>
              <a:gd name="connsiteY58199" fmla="*/ 1281985 h 5973007"/>
              <a:gd name="connsiteX58200" fmla="*/ 5792425 w 6884782"/>
              <a:gd name="connsiteY58200" fmla="*/ 1281416 h 5973007"/>
              <a:gd name="connsiteX58201" fmla="*/ 5795840 w 6884782"/>
              <a:gd name="connsiteY58201" fmla="*/ 1285826 h 5973007"/>
              <a:gd name="connsiteX58202" fmla="*/ 5793919 w 6884782"/>
              <a:gd name="connsiteY58202" fmla="*/ 1290806 h 5973007"/>
              <a:gd name="connsiteX58203" fmla="*/ 5791358 w 6884782"/>
              <a:gd name="connsiteY58203" fmla="*/ 1292086 h 5973007"/>
              <a:gd name="connsiteX58204" fmla="*/ 5789438 w 6884782"/>
              <a:gd name="connsiteY58204" fmla="*/ 1289668 h 5973007"/>
              <a:gd name="connsiteX58205" fmla="*/ 5790078 w 6884782"/>
              <a:gd name="connsiteY58205" fmla="*/ 1282554 h 5973007"/>
              <a:gd name="connsiteX58206" fmla="*/ 5792425 w 6884782"/>
              <a:gd name="connsiteY58206" fmla="*/ 1281416 h 5973007"/>
              <a:gd name="connsiteX58207" fmla="*/ 1382188 w 6884782"/>
              <a:gd name="connsiteY58207" fmla="*/ 1281170 h 5973007"/>
              <a:gd name="connsiteX58208" fmla="*/ 1382911 w 6884782"/>
              <a:gd name="connsiteY58208" fmla="*/ 1281635 h 5973007"/>
              <a:gd name="connsiteX58209" fmla="*/ 1380536 w 6884782"/>
              <a:gd name="connsiteY58209" fmla="*/ 1283648 h 5973007"/>
              <a:gd name="connsiteX58210" fmla="*/ 1382188 w 6884782"/>
              <a:gd name="connsiteY58210" fmla="*/ 1281170 h 5973007"/>
              <a:gd name="connsiteX58211" fmla="*/ 1520138 w 6884782"/>
              <a:gd name="connsiteY58211" fmla="*/ 1280550 h 5973007"/>
              <a:gd name="connsiteX58212" fmla="*/ 1520655 w 6884782"/>
              <a:gd name="connsiteY58212" fmla="*/ 1280860 h 5973007"/>
              <a:gd name="connsiteX58213" fmla="*/ 1521068 w 6884782"/>
              <a:gd name="connsiteY58213" fmla="*/ 1283493 h 5973007"/>
              <a:gd name="connsiteX58214" fmla="*/ 1518693 w 6884782"/>
              <a:gd name="connsiteY58214" fmla="*/ 1281635 h 5973007"/>
              <a:gd name="connsiteX58215" fmla="*/ 1519726 w 6884782"/>
              <a:gd name="connsiteY58215" fmla="*/ 1280860 h 5973007"/>
              <a:gd name="connsiteX58216" fmla="*/ 1518899 w 6884782"/>
              <a:gd name="connsiteY58216" fmla="*/ 1280705 h 5973007"/>
              <a:gd name="connsiteX58217" fmla="*/ 1520138 w 6884782"/>
              <a:gd name="connsiteY58217" fmla="*/ 1280550 h 5973007"/>
              <a:gd name="connsiteX58218" fmla="*/ 1035247 w 6884782"/>
              <a:gd name="connsiteY58218" fmla="*/ 1280085 h 5973007"/>
              <a:gd name="connsiteX58219" fmla="*/ 1040720 w 6884782"/>
              <a:gd name="connsiteY58219" fmla="*/ 1288914 h 5973007"/>
              <a:gd name="connsiteX58220" fmla="*/ 1035454 w 6884782"/>
              <a:gd name="connsiteY58220" fmla="*/ 1290154 h 5973007"/>
              <a:gd name="connsiteX58221" fmla="*/ 1034008 w 6884782"/>
              <a:gd name="connsiteY58221" fmla="*/ 1285042 h 5973007"/>
              <a:gd name="connsiteX58222" fmla="*/ 1035247 w 6884782"/>
              <a:gd name="connsiteY58222" fmla="*/ 1280085 h 5973007"/>
              <a:gd name="connsiteX58223" fmla="*/ 5239882 w 6884782"/>
              <a:gd name="connsiteY58223" fmla="*/ 1279851 h 5973007"/>
              <a:gd name="connsiteX58224" fmla="*/ 5242870 w 6884782"/>
              <a:gd name="connsiteY58224" fmla="*/ 1279993 h 5973007"/>
              <a:gd name="connsiteX58225" fmla="*/ 5246284 w 6884782"/>
              <a:gd name="connsiteY58225" fmla="*/ 1280705 h 5973007"/>
              <a:gd name="connsiteX58226" fmla="*/ 5244577 w 6884782"/>
              <a:gd name="connsiteY58226" fmla="*/ 1293224 h 5973007"/>
              <a:gd name="connsiteX58227" fmla="*/ 5239882 w 6884782"/>
              <a:gd name="connsiteY58227" fmla="*/ 1279851 h 5973007"/>
              <a:gd name="connsiteX58228" fmla="*/ 4805146 w 6884782"/>
              <a:gd name="connsiteY58228" fmla="*/ 1279567 h 5973007"/>
              <a:gd name="connsiteX58229" fmla="*/ 4819232 w 6884782"/>
              <a:gd name="connsiteY58229" fmla="*/ 1288529 h 5973007"/>
              <a:gd name="connsiteX58230" fmla="*/ 4820298 w 6884782"/>
              <a:gd name="connsiteY58230" fmla="*/ 1290806 h 5973007"/>
              <a:gd name="connsiteX58231" fmla="*/ 4820085 w 6884782"/>
              <a:gd name="connsiteY58231" fmla="*/ 1299342 h 5973007"/>
              <a:gd name="connsiteX58232" fmla="*/ 4804292 w 6884782"/>
              <a:gd name="connsiteY58232" fmla="*/ 1284973 h 5973007"/>
              <a:gd name="connsiteX58233" fmla="*/ 4803225 w 6884782"/>
              <a:gd name="connsiteY58233" fmla="*/ 1282696 h 5973007"/>
              <a:gd name="connsiteX58234" fmla="*/ 4805146 w 6884782"/>
              <a:gd name="connsiteY58234" fmla="*/ 1279567 h 5973007"/>
              <a:gd name="connsiteX58235" fmla="*/ 4028938 w 6884782"/>
              <a:gd name="connsiteY58235" fmla="*/ 1279282 h 5973007"/>
              <a:gd name="connsiteX58236" fmla="*/ 4028511 w 6884782"/>
              <a:gd name="connsiteY58236" fmla="*/ 1287533 h 5973007"/>
              <a:gd name="connsiteX58237" fmla="*/ 4027230 w 6884782"/>
              <a:gd name="connsiteY58237" fmla="*/ 1288245 h 5973007"/>
              <a:gd name="connsiteX58238" fmla="*/ 4031072 w 6884782"/>
              <a:gd name="connsiteY58238" fmla="*/ 1295785 h 5973007"/>
              <a:gd name="connsiteX58239" fmla="*/ 4030005 w 6884782"/>
              <a:gd name="connsiteY58239" fmla="*/ 1304037 h 5973007"/>
              <a:gd name="connsiteX58240" fmla="*/ 4022109 w 6884782"/>
              <a:gd name="connsiteY58240" fmla="*/ 1297635 h 5973007"/>
              <a:gd name="connsiteX58241" fmla="*/ 4027017 w 6884782"/>
              <a:gd name="connsiteY58241" fmla="*/ 1288245 h 5973007"/>
              <a:gd name="connsiteX58242" fmla="*/ 4024883 w 6884782"/>
              <a:gd name="connsiteY58242" fmla="*/ 1289526 h 5973007"/>
              <a:gd name="connsiteX58243" fmla="*/ 4021041 w 6884782"/>
              <a:gd name="connsiteY58243" fmla="*/ 1289241 h 5973007"/>
              <a:gd name="connsiteX58244" fmla="*/ 4028938 w 6884782"/>
              <a:gd name="connsiteY58244" fmla="*/ 1279282 h 5973007"/>
              <a:gd name="connsiteX58245" fmla="*/ 3813170 w 6884782"/>
              <a:gd name="connsiteY58245" fmla="*/ 1279282 h 5973007"/>
              <a:gd name="connsiteX58246" fmla="*/ 3832165 w 6884782"/>
              <a:gd name="connsiteY58246" fmla="*/ 1285826 h 5973007"/>
              <a:gd name="connsiteX58247" fmla="*/ 3842409 w 6884782"/>
              <a:gd name="connsiteY58247" fmla="*/ 1289383 h 5973007"/>
              <a:gd name="connsiteX58248" fmla="*/ 3844756 w 6884782"/>
              <a:gd name="connsiteY58248" fmla="*/ 1284830 h 5973007"/>
              <a:gd name="connsiteX58249" fmla="*/ 3847531 w 6884782"/>
              <a:gd name="connsiteY58249" fmla="*/ 1291091 h 5973007"/>
              <a:gd name="connsiteX58250" fmla="*/ 3851159 w 6884782"/>
              <a:gd name="connsiteY58250" fmla="*/ 1292371 h 5973007"/>
              <a:gd name="connsiteX58251" fmla="*/ 3860123 w 6884782"/>
              <a:gd name="connsiteY58251" fmla="*/ 1315987 h 5973007"/>
              <a:gd name="connsiteX58252" fmla="*/ 3861403 w 6884782"/>
              <a:gd name="connsiteY58252" fmla="*/ 1319829 h 5973007"/>
              <a:gd name="connsiteX58253" fmla="*/ 3863324 w 6884782"/>
              <a:gd name="connsiteY58253" fmla="*/ 1316983 h 5973007"/>
              <a:gd name="connsiteX58254" fmla="*/ 3871434 w 6884782"/>
              <a:gd name="connsiteY58254" fmla="*/ 1345294 h 5973007"/>
              <a:gd name="connsiteX58255" fmla="*/ 3865458 w 6884782"/>
              <a:gd name="connsiteY58255" fmla="*/ 1345152 h 5973007"/>
              <a:gd name="connsiteX58256" fmla="*/ 3862897 w 6884782"/>
              <a:gd name="connsiteY58256" fmla="*/ 1339320 h 5973007"/>
              <a:gd name="connsiteX58257" fmla="*/ 3862684 w 6884782"/>
              <a:gd name="connsiteY58257" fmla="*/ 1340884 h 5973007"/>
              <a:gd name="connsiteX58258" fmla="*/ 3844756 w 6884782"/>
              <a:gd name="connsiteY58258" fmla="*/ 1366066 h 5973007"/>
              <a:gd name="connsiteX58259" fmla="*/ 3781371 w 6884782"/>
              <a:gd name="connsiteY58259" fmla="*/ 1366635 h 5973007"/>
              <a:gd name="connsiteX58260" fmla="*/ 3767072 w 6884782"/>
              <a:gd name="connsiteY58260" fmla="*/ 1321394 h 5973007"/>
              <a:gd name="connsiteX58261" fmla="*/ 3780517 w 6884782"/>
              <a:gd name="connsiteY58261" fmla="*/ 1295785 h 5973007"/>
              <a:gd name="connsiteX58262" fmla="*/ 3813170 w 6884782"/>
              <a:gd name="connsiteY58262" fmla="*/ 1279282 h 5973007"/>
              <a:gd name="connsiteX58263" fmla="*/ 4225498 w 6884782"/>
              <a:gd name="connsiteY58263" fmla="*/ 1278001 h 5973007"/>
              <a:gd name="connsiteX58264" fmla="*/ 4229979 w 6884782"/>
              <a:gd name="connsiteY58264" fmla="*/ 1278286 h 5973007"/>
              <a:gd name="connsiteX58265" fmla="*/ 4218027 w 6884782"/>
              <a:gd name="connsiteY58265" fmla="*/ 1292655 h 5973007"/>
              <a:gd name="connsiteX58266" fmla="*/ 4213119 w 6884782"/>
              <a:gd name="connsiteY58266" fmla="*/ 1283407 h 5973007"/>
              <a:gd name="connsiteX58267" fmla="*/ 4225498 w 6884782"/>
              <a:gd name="connsiteY58267" fmla="*/ 1278001 h 5973007"/>
              <a:gd name="connsiteX58268" fmla="*/ 1522513 w 6884782"/>
              <a:gd name="connsiteY58268" fmla="*/ 1277607 h 5973007"/>
              <a:gd name="connsiteX58269" fmla="*/ 1527470 w 6884782"/>
              <a:gd name="connsiteY58269" fmla="*/ 1279931 h 5973007"/>
              <a:gd name="connsiteX58270" fmla="*/ 1527366 w 6884782"/>
              <a:gd name="connsiteY58270" fmla="*/ 1280550 h 5973007"/>
              <a:gd name="connsiteX58271" fmla="*/ 1527470 w 6884782"/>
              <a:gd name="connsiteY58271" fmla="*/ 1280705 h 5973007"/>
              <a:gd name="connsiteX58272" fmla="*/ 1529638 w 6884782"/>
              <a:gd name="connsiteY58272" fmla="*/ 1281170 h 5973007"/>
              <a:gd name="connsiteX58273" fmla="*/ 1528502 w 6884782"/>
              <a:gd name="connsiteY58273" fmla="*/ 1284423 h 5973007"/>
              <a:gd name="connsiteX58274" fmla="*/ 1527573 w 6884782"/>
              <a:gd name="connsiteY58274" fmla="*/ 1284732 h 5973007"/>
              <a:gd name="connsiteX58275" fmla="*/ 1527676 w 6884782"/>
              <a:gd name="connsiteY58275" fmla="*/ 1285197 h 5973007"/>
              <a:gd name="connsiteX58276" fmla="*/ 1529122 w 6884782"/>
              <a:gd name="connsiteY58276" fmla="*/ 1285971 h 5973007"/>
              <a:gd name="connsiteX58277" fmla="*/ 1530773 w 6884782"/>
              <a:gd name="connsiteY58277" fmla="*/ 1285352 h 5973007"/>
              <a:gd name="connsiteX58278" fmla="*/ 1531393 w 6884782"/>
              <a:gd name="connsiteY58278" fmla="*/ 1288450 h 5973007"/>
              <a:gd name="connsiteX58279" fmla="*/ 1532323 w 6884782"/>
              <a:gd name="connsiteY58279" fmla="*/ 1291083 h 5973007"/>
              <a:gd name="connsiteX58280" fmla="*/ 1530773 w 6884782"/>
              <a:gd name="connsiteY58280" fmla="*/ 1293716 h 5973007"/>
              <a:gd name="connsiteX58281" fmla="*/ 1529741 w 6884782"/>
              <a:gd name="connsiteY58281" fmla="*/ 1293716 h 5973007"/>
              <a:gd name="connsiteX58282" fmla="*/ 1524062 w 6884782"/>
              <a:gd name="connsiteY58282" fmla="*/ 1300067 h 5973007"/>
              <a:gd name="connsiteX58283" fmla="*/ 1537589 w 6884782"/>
              <a:gd name="connsiteY58283" fmla="*/ 1310445 h 5973007"/>
              <a:gd name="connsiteX58284" fmla="*/ 1518280 w 6884782"/>
              <a:gd name="connsiteY58284" fmla="*/ 1305024 h 5973007"/>
              <a:gd name="connsiteX58285" fmla="*/ 1507747 w 6884782"/>
              <a:gd name="connsiteY58285" fmla="*/ 1306263 h 5973007"/>
              <a:gd name="connsiteX58286" fmla="*/ 1514666 w 6884782"/>
              <a:gd name="connsiteY58286" fmla="*/ 1294956 h 5973007"/>
              <a:gd name="connsiteX58287" fmla="*/ 1517660 w 6884782"/>
              <a:gd name="connsiteY58287" fmla="*/ 1292632 h 5973007"/>
              <a:gd name="connsiteX58288" fmla="*/ 1517557 w 6884782"/>
              <a:gd name="connsiteY58288" fmla="*/ 1292477 h 5973007"/>
              <a:gd name="connsiteX58289" fmla="*/ 1514459 w 6884782"/>
              <a:gd name="connsiteY58289" fmla="*/ 1288760 h 5973007"/>
              <a:gd name="connsiteX58290" fmla="*/ 1514769 w 6884782"/>
              <a:gd name="connsiteY58290" fmla="*/ 1286126 h 5973007"/>
              <a:gd name="connsiteX58291" fmla="*/ 1519415 w 6884782"/>
              <a:gd name="connsiteY58291" fmla="*/ 1283493 h 5973007"/>
              <a:gd name="connsiteX58292" fmla="*/ 1521171 w 6884782"/>
              <a:gd name="connsiteY58292" fmla="*/ 1283648 h 5973007"/>
              <a:gd name="connsiteX58293" fmla="*/ 1521171 w 6884782"/>
              <a:gd name="connsiteY58293" fmla="*/ 1283493 h 5973007"/>
              <a:gd name="connsiteX58294" fmla="*/ 1521481 w 6884782"/>
              <a:gd name="connsiteY58294" fmla="*/ 1283803 h 5973007"/>
              <a:gd name="connsiteX58295" fmla="*/ 1522204 w 6884782"/>
              <a:gd name="connsiteY58295" fmla="*/ 1283803 h 5973007"/>
              <a:gd name="connsiteX58296" fmla="*/ 1521894 w 6884782"/>
              <a:gd name="connsiteY58296" fmla="*/ 1283028 h 5973007"/>
              <a:gd name="connsiteX58297" fmla="*/ 1522513 w 6884782"/>
              <a:gd name="connsiteY58297" fmla="*/ 1277607 h 5973007"/>
              <a:gd name="connsiteX58298" fmla="*/ 988679 w 6884782"/>
              <a:gd name="connsiteY58298" fmla="*/ 1277607 h 5973007"/>
              <a:gd name="connsiteX58299" fmla="*/ 986097 w 6884782"/>
              <a:gd name="connsiteY58299" fmla="*/ 1286436 h 5973007"/>
              <a:gd name="connsiteX58300" fmla="*/ 988679 w 6884782"/>
              <a:gd name="connsiteY58300" fmla="*/ 1277607 h 5973007"/>
              <a:gd name="connsiteX58301" fmla="*/ 3967260 w 6884782"/>
              <a:gd name="connsiteY58301" fmla="*/ 1276863 h 5973007"/>
              <a:gd name="connsiteX58302" fmla="*/ 3973022 w 6884782"/>
              <a:gd name="connsiteY58302" fmla="*/ 1282554 h 5973007"/>
              <a:gd name="connsiteX58303" fmla="*/ 3972595 w 6884782"/>
              <a:gd name="connsiteY58303" fmla="*/ 1286111 h 5973007"/>
              <a:gd name="connsiteX58304" fmla="*/ 3969394 w 6884782"/>
              <a:gd name="connsiteY58304" fmla="*/ 1284404 h 5973007"/>
              <a:gd name="connsiteX58305" fmla="*/ 3969180 w 6884782"/>
              <a:gd name="connsiteY58305" fmla="*/ 1281700 h 5973007"/>
              <a:gd name="connsiteX58306" fmla="*/ 3966406 w 6884782"/>
              <a:gd name="connsiteY58306" fmla="*/ 1278855 h 5973007"/>
              <a:gd name="connsiteX58307" fmla="*/ 3967260 w 6884782"/>
              <a:gd name="connsiteY58307" fmla="*/ 1276863 h 5973007"/>
              <a:gd name="connsiteX58308" fmla="*/ 3613623 w 6884782"/>
              <a:gd name="connsiteY58308" fmla="*/ 1276721 h 5973007"/>
              <a:gd name="connsiteX58309" fmla="*/ 3625788 w 6884782"/>
              <a:gd name="connsiteY58309" fmla="*/ 1307309 h 5973007"/>
              <a:gd name="connsiteX58310" fmla="*/ 3626428 w 6884782"/>
              <a:gd name="connsiteY58310" fmla="*/ 1310581 h 5973007"/>
              <a:gd name="connsiteX58311" fmla="*/ 3631550 w 6884782"/>
              <a:gd name="connsiteY58311" fmla="*/ 1312289 h 5973007"/>
              <a:gd name="connsiteX58312" fmla="*/ 3633044 w 6884782"/>
              <a:gd name="connsiteY58312" fmla="*/ 1314849 h 5973007"/>
              <a:gd name="connsiteX58313" fmla="*/ 3630270 w 6884782"/>
              <a:gd name="connsiteY58313" fmla="*/ 1316556 h 5973007"/>
              <a:gd name="connsiteX58314" fmla="*/ 3626428 w 6884782"/>
              <a:gd name="connsiteY58314" fmla="*/ 1314849 h 5973007"/>
              <a:gd name="connsiteX58315" fmla="*/ 3626001 w 6884782"/>
              <a:gd name="connsiteY58315" fmla="*/ 1318406 h 5973007"/>
              <a:gd name="connsiteX58316" fmla="*/ 3584384 w 6884782"/>
              <a:gd name="connsiteY58316" fmla="*/ 1333771 h 5973007"/>
              <a:gd name="connsiteX58317" fmla="*/ 3578409 w 6884782"/>
              <a:gd name="connsiteY58317" fmla="*/ 1326799 h 5973007"/>
              <a:gd name="connsiteX58318" fmla="*/ 3576488 w 6884782"/>
              <a:gd name="connsiteY58318" fmla="*/ 1328649 h 5973007"/>
              <a:gd name="connsiteX58319" fmla="*/ 3570726 w 6884782"/>
              <a:gd name="connsiteY58319" fmla="*/ 1329787 h 5973007"/>
              <a:gd name="connsiteX58320" fmla="*/ 3569232 w 6884782"/>
              <a:gd name="connsiteY58320" fmla="*/ 1318975 h 5973007"/>
              <a:gd name="connsiteX58321" fmla="*/ 3573500 w 6884782"/>
              <a:gd name="connsiteY58321" fmla="*/ 1315133 h 5973007"/>
              <a:gd name="connsiteX58322" fmla="*/ 3577555 w 6884782"/>
              <a:gd name="connsiteY58322" fmla="*/ 1312004 h 5973007"/>
              <a:gd name="connsiteX58323" fmla="*/ 3579689 w 6884782"/>
              <a:gd name="connsiteY58323" fmla="*/ 1303894 h 5973007"/>
              <a:gd name="connsiteX58324" fmla="*/ 3613623 w 6884782"/>
              <a:gd name="connsiteY58324" fmla="*/ 1276721 h 5973007"/>
              <a:gd name="connsiteX58325" fmla="*/ 3980065 w 6884782"/>
              <a:gd name="connsiteY58325" fmla="*/ 1276437 h 5973007"/>
              <a:gd name="connsiteX58326" fmla="*/ 3981345 w 6884782"/>
              <a:gd name="connsiteY58326" fmla="*/ 1278143 h 5973007"/>
              <a:gd name="connsiteX58327" fmla="*/ 3982413 w 6884782"/>
              <a:gd name="connsiteY58327" fmla="*/ 1281416 h 5973007"/>
              <a:gd name="connsiteX58328" fmla="*/ 3984120 w 6884782"/>
              <a:gd name="connsiteY58328" fmla="*/ 1283692 h 5973007"/>
              <a:gd name="connsiteX58329" fmla="*/ 3982626 w 6884782"/>
              <a:gd name="connsiteY58329" fmla="*/ 1286822 h 5973007"/>
              <a:gd name="connsiteX58330" fmla="*/ 3980918 w 6884782"/>
              <a:gd name="connsiteY58330" fmla="*/ 1284688 h 5973007"/>
              <a:gd name="connsiteX58331" fmla="*/ 3977717 w 6884782"/>
              <a:gd name="connsiteY58331" fmla="*/ 1277433 h 5973007"/>
              <a:gd name="connsiteX58332" fmla="*/ 3980065 w 6884782"/>
              <a:gd name="connsiteY58332" fmla="*/ 1276437 h 5973007"/>
              <a:gd name="connsiteX58333" fmla="*/ 1152340 w 6884782"/>
              <a:gd name="connsiteY58333" fmla="*/ 1275903 h 5973007"/>
              <a:gd name="connsiteX58334" fmla="*/ 1152340 w 6884782"/>
              <a:gd name="connsiteY58334" fmla="*/ 1276678 h 5973007"/>
              <a:gd name="connsiteX58335" fmla="*/ 1154095 w 6884782"/>
              <a:gd name="connsiteY58335" fmla="*/ 1276833 h 5973007"/>
              <a:gd name="connsiteX58336" fmla="*/ 1154095 w 6884782"/>
              <a:gd name="connsiteY58336" fmla="*/ 1276058 h 5973007"/>
              <a:gd name="connsiteX58337" fmla="*/ 1155850 w 6884782"/>
              <a:gd name="connsiteY58337" fmla="*/ 1276988 h 5973007"/>
              <a:gd name="connsiteX58338" fmla="*/ 1158432 w 6884782"/>
              <a:gd name="connsiteY58338" fmla="*/ 1283183 h 5973007"/>
              <a:gd name="connsiteX58339" fmla="*/ 1153889 w 6884782"/>
              <a:gd name="connsiteY58339" fmla="*/ 1282874 h 5973007"/>
              <a:gd name="connsiteX58340" fmla="*/ 1151823 w 6884782"/>
              <a:gd name="connsiteY58340" fmla="*/ 1279776 h 5973007"/>
              <a:gd name="connsiteX58341" fmla="*/ 1152340 w 6884782"/>
              <a:gd name="connsiteY58341" fmla="*/ 1275903 h 5973007"/>
              <a:gd name="connsiteX58342" fmla="*/ 3665057 w 6884782"/>
              <a:gd name="connsiteY58342" fmla="*/ 1275868 h 5973007"/>
              <a:gd name="connsiteX58343" fmla="*/ 3673808 w 6884782"/>
              <a:gd name="connsiteY58343" fmla="*/ 1276010 h 5973007"/>
              <a:gd name="connsiteX58344" fmla="*/ 3679143 w 6884782"/>
              <a:gd name="connsiteY58344" fmla="*/ 1278997 h 5973007"/>
              <a:gd name="connsiteX58345" fmla="*/ 3665057 w 6884782"/>
              <a:gd name="connsiteY58345" fmla="*/ 1275868 h 5973007"/>
              <a:gd name="connsiteX58346" fmla="*/ 1302784 w 6884782"/>
              <a:gd name="connsiteY58346" fmla="*/ 1275748 h 5973007"/>
              <a:gd name="connsiteX58347" fmla="*/ 1309805 w 6884782"/>
              <a:gd name="connsiteY58347" fmla="*/ 1276213 h 5973007"/>
              <a:gd name="connsiteX58348" fmla="*/ 1302784 w 6884782"/>
              <a:gd name="connsiteY58348" fmla="*/ 1275748 h 5973007"/>
              <a:gd name="connsiteX58349" fmla="*/ 3639020 w 6884782"/>
              <a:gd name="connsiteY58349" fmla="*/ 1275441 h 5973007"/>
              <a:gd name="connsiteX58350" fmla="*/ 3641368 w 6884782"/>
              <a:gd name="connsiteY58350" fmla="*/ 1276863 h 5973007"/>
              <a:gd name="connsiteX58351" fmla="*/ 3644996 w 6884782"/>
              <a:gd name="connsiteY58351" fmla="*/ 1276010 h 5973007"/>
              <a:gd name="connsiteX58352" fmla="*/ 3646276 w 6884782"/>
              <a:gd name="connsiteY58352" fmla="*/ 1278001 h 5973007"/>
              <a:gd name="connsiteX58353" fmla="*/ 3639233 w 6884782"/>
              <a:gd name="connsiteY58353" fmla="*/ 1279709 h 5973007"/>
              <a:gd name="connsiteX58354" fmla="*/ 3636246 w 6884782"/>
              <a:gd name="connsiteY58354" fmla="*/ 1277433 h 5973007"/>
              <a:gd name="connsiteX58355" fmla="*/ 3639020 w 6884782"/>
              <a:gd name="connsiteY58355" fmla="*/ 1275441 h 5973007"/>
              <a:gd name="connsiteX58356" fmla="*/ 4896703 w 6884782"/>
              <a:gd name="connsiteY58356" fmla="*/ 1274871 h 5973007"/>
              <a:gd name="connsiteX58357" fmla="*/ 4897556 w 6884782"/>
              <a:gd name="connsiteY58357" fmla="*/ 1284546 h 5973007"/>
              <a:gd name="connsiteX58358" fmla="*/ 4896062 w 6884782"/>
              <a:gd name="connsiteY58358" fmla="*/ 1286253 h 5973007"/>
              <a:gd name="connsiteX58359" fmla="*/ 4896703 w 6884782"/>
              <a:gd name="connsiteY58359" fmla="*/ 1274871 h 5973007"/>
              <a:gd name="connsiteX58360" fmla="*/ 4200741 w 6884782"/>
              <a:gd name="connsiteY58360" fmla="*/ 1274871 h 5973007"/>
              <a:gd name="connsiteX58361" fmla="*/ 4205223 w 6884782"/>
              <a:gd name="connsiteY58361" fmla="*/ 1275298 h 5973007"/>
              <a:gd name="connsiteX58362" fmla="*/ 4207997 w 6884782"/>
              <a:gd name="connsiteY58362" fmla="*/ 1280420 h 5973007"/>
              <a:gd name="connsiteX58363" fmla="*/ 4191990 w 6884782"/>
              <a:gd name="connsiteY58363" fmla="*/ 1285257 h 5973007"/>
              <a:gd name="connsiteX58364" fmla="*/ 4188149 w 6884782"/>
              <a:gd name="connsiteY58364" fmla="*/ 1280989 h 5973007"/>
              <a:gd name="connsiteX58365" fmla="*/ 4200741 w 6884782"/>
              <a:gd name="connsiteY58365" fmla="*/ 1274871 h 5973007"/>
              <a:gd name="connsiteX58366" fmla="*/ 1533252 w 6884782"/>
              <a:gd name="connsiteY58366" fmla="*/ 1274819 h 5973007"/>
              <a:gd name="connsiteX58367" fmla="*/ 1541512 w 6884782"/>
              <a:gd name="connsiteY58367" fmla="*/ 1281324 h 5973007"/>
              <a:gd name="connsiteX58368" fmla="*/ 1537382 w 6884782"/>
              <a:gd name="connsiteY58368" fmla="*/ 1284423 h 5973007"/>
              <a:gd name="connsiteX58369" fmla="*/ 1533149 w 6884782"/>
              <a:gd name="connsiteY58369" fmla="*/ 1277143 h 5973007"/>
              <a:gd name="connsiteX58370" fmla="*/ 1533252 w 6884782"/>
              <a:gd name="connsiteY58370" fmla="*/ 1274819 h 5973007"/>
              <a:gd name="connsiteX58371" fmla="*/ 1511568 w 6884782"/>
              <a:gd name="connsiteY58371" fmla="*/ 1274664 h 5973007"/>
              <a:gd name="connsiteX58372" fmla="*/ 1510097 w 6884782"/>
              <a:gd name="connsiteY58372" fmla="*/ 1285178 h 5973007"/>
              <a:gd name="connsiteX58373" fmla="*/ 1503833 w 6884782"/>
              <a:gd name="connsiteY58373" fmla="*/ 1291848 h 5973007"/>
              <a:gd name="connsiteX58374" fmla="*/ 1503825 w 6884782"/>
              <a:gd name="connsiteY58374" fmla="*/ 1291848 h 5973007"/>
              <a:gd name="connsiteX58375" fmla="*/ 1504185 w 6884782"/>
              <a:gd name="connsiteY58375" fmla="*/ 1287133 h 5973007"/>
              <a:gd name="connsiteX58376" fmla="*/ 1504857 w 6884782"/>
              <a:gd name="connsiteY58376" fmla="*/ 1281944 h 5973007"/>
              <a:gd name="connsiteX58377" fmla="*/ 1511568 w 6884782"/>
              <a:gd name="connsiteY58377" fmla="*/ 1274664 h 5973007"/>
              <a:gd name="connsiteX58378" fmla="*/ 4686057 w 6884782"/>
              <a:gd name="connsiteY58378" fmla="*/ 1274160 h 5973007"/>
              <a:gd name="connsiteX58379" fmla="*/ 4711241 w 6884782"/>
              <a:gd name="connsiteY58379" fmla="*/ 1287249 h 5973007"/>
              <a:gd name="connsiteX58380" fmla="*/ 4693100 w 6884782"/>
              <a:gd name="connsiteY58380" fmla="*/ 1304605 h 5973007"/>
              <a:gd name="connsiteX58381" fmla="*/ 4658526 w 6884782"/>
              <a:gd name="connsiteY58381" fmla="*/ 1294363 h 5973007"/>
              <a:gd name="connsiteX58382" fmla="*/ 4658953 w 6884782"/>
              <a:gd name="connsiteY58382" fmla="*/ 1290664 h 5973007"/>
              <a:gd name="connsiteX58383" fmla="*/ 4686057 w 6884782"/>
              <a:gd name="connsiteY58383" fmla="*/ 1274160 h 5973007"/>
              <a:gd name="connsiteX58384" fmla="*/ 4006102 w 6884782"/>
              <a:gd name="connsiteY58384" fmla="*/ 1273876 h 5973007"/>
              <a:gd name="connsiteX58385" fmla="*/ 4009090 w 6884782"/>
              <a:gd name="connsiteY58385" fmla="*/ 1275583 h 5973007"/>
              <a:gd name="connsiteX58386" fmla="*/ 4008876 w 6884782"/>
              <a:gd name="connsiteY58386" fmla="*/ 1287107 h 5973007"/>
              <a:gd name="connsiteX58387" fmla="*/ 4004608 w 6884782"/>
              <a:gd name="connsiteY58387" fmla="*/ 1276152 h 5973007"/>
              <a:gd name="connsiteX58388" fmla="*/ 4006102 w 6884782"/>
              <a:gd name="connsiteY58388" fmla="*/ 1273876 h 5973007"/>
              <a:gd name="connsiteX58389" fmla="*/ 4811761 w 6884782"/>
              <a:gd name="connsiteY58389" fmla="*/ 1273591 h 5973007"/>
              <a:gd name="connsiteX58390" fmla="*/ 4811335 w 6884782"/>
              <a:gd name="connsiteY58390" fmla="*/ 1276152 h 5973007"/>
              <a:gd name="connsiteX58391" fmla="*/ 4807280 w 6884782"/>
              <a:gd name="connsiteY58391" fmla="*/ 1276437 h 5973007"/>
              <a:gd name="connsiteX58392" fmla="*/ 4806853 w 6884782"/>
              <a:gd name="connsiteY58392" fmla="*/ 1279140 h 5973007"/>
              <a:gd name="connsiteX58393" fmla="*/ 4805146 w 6884782"/>
              <a:gd name="connsiteY58393" fmla="*/ 1279567 h 5973007"/>
              <a:gd name="connsiteX58394" fmla="*/ 4803225 w 6884782"/>
              <a:gd name="connsiteY58394" fmla="*/ 1276721 h 5973007"/>
              <a:gd name="connsiteX58395" fmla="*/ 4809414 w 6884782"/>
              <a:gd name="connsiteY58395" fmla="*/ 1275014 h 5973007"/>
              <a:gd name="connsiteX58396" fmla="*/ 4811761 w 6884782"/>
              <a:gd name="connsiteY58396" fmla="*/ 1273591 h 5973007"/>
              <a:gd name="connsiteX58397" fmla="*/ 1174024 w 6884782"/>
              <a:gd name="connsiteY58397" fmla="*/ 1273115 h 5973007"/>
              <a:gd name="connsiteX58398" fmla="*/ 1182697 w 6884782"/>
              <a:gd name="connsiteY58398" fmla="*/ 1274819 h 5973007"/>
              <a:gd name="connsiteX58399" fmla="*/ 1188479 w 6884782"/>
              <a:gd name="connsiteY58399" fmla="*/ 1286591 h 5973007"/>
              <a:gd name="connsiteX58400" fmla="*/ 1188376 w 6884782"/>
              <a:gd name="connsiteY58400" fmla="*/ 1286901 h 5973007"/>
              <a:gd name="connsiteX58401" fmla="*/ 1188376 w 6884782"/>
              <a:gd name="connsiteY58401" fmla="*/ 1291857 h 5973007"/>
              <a:gd name="connsiteX58402" fmla="*/ 1186724 w 6884782"/>
              <a:gd name="connsiteY58402" fmla="*/ 1292632 h 5973007"/>
              <a:gd name="connsiteX58403" fmla="*/ 1187550 w 6884782"/>
              <a:gd name="connsiteY58403" fmla="*/ 1295575 h 5973007"/>
              <a:gd name="connsiteX58404" fmla="*/ 1181148 w 6884782"/>
              <a:gd name="connsiteY58404" fmla="*/ 1297434 h 5973007"/>
              <a:gd name="connsiteX58405" fmla="*/ 1186104 w 6884782"/>
              <a:gd name="connsiteY58405" fmla="*/ 1307657 h 5973007"/>
              <a:gd name="connsiteX58406" fmla="*/ 1185382 w 6884782"/>
              <a:gd name="connsiteY58406" fmla="*/ 1309980 h 5973007"/>
              <a:gd name="connsiteX58407" fmla="*/ 1185382 w 6884782"/>
              <a:gd name="connsiteY58407" fmla="*/ 1311220 h 5973007"/>
              <a:gd name="connsiteX58408" fmla="*/ 1188273 w 6884782"/>
              <a:gd name="connsiteY58408" fmla="*/ 1303010 h 5973007"/>
              <a:gd name="connsiteX58409" fmla="*/ 1194674 w 6884782"/>
              <a:gd name="connsiteY58409" fmla="*/ 1297124 h 5973007"/>
              <a:gd name="connsiteX58410" fmla="*/ 1206859 w 6884782"/>
              <a:gd name="connsiteY58410" fmla="*/ 1296659 h 5973007"/>
              <a:gd name="connsiteX58411" fmla="*/ 1207272 w 6884782"/>
              <a:gd name="connsiteY58411" fmla="*/ 1296504 h 5973007"/>
              <a:gd name="connsiteX58412" fmla="*/ 1207065 w 6884782"/>
              <a:gd name="connsiteY58412" fmla="*/ 1296195 h 5973007"/>
              <a:gd name="connsiteX58413" fmla="*/ 1207582 w 6884782"/>
              <a:gd name="connsiteY58413" fmla="*/ 1295885 h 5973007"/>
              <a:gd name="connsiteX58414" fmla="*/ 1208408 w 6884782"/>
              <a:gd name="connsiteY58414" fmla="*/ 1295111 h 5973007"/>
              <a:gd name="connsiteX58415" fmla="*/ 1208821 w 6884782"/>
              <a:gd name="connsiteY58415" fmla="*/ 1294956 h 5973007"/>
              <a:gd name="connsiteX58416" fmla="*/ 1209854 w 6884782"/>
              <a:gd name="connsiteY58416" fmla="*/ 1295420 h 5973007"/>
              <a:gd name="connsiteX58417" fmla="*/ 1211196 w 6884782"/>
              <a:gd name="connsiteY58417" fmla="*/ 1294956 h 5973007"/>
              <a:gd name="connsiteX58418" fmla="*/ 1215842 w 6884782"/>
              <a:gd name="connsiteY58418" fmla="*/ 1293561 h 5973007"/>
              <a:gd name="connsiteX58419" fmla="*/ 1227200 w 6884782"/>
              <a:gd name="connsiteY58419" fmla="*/ 1298673 h 5973007"/>
              <a:gd name="connsiteX58420" fmla="*/ 1230504 w 6884782"/>
              <a:gd name="connsiteY58420" fmla="*/ 1300841 h 5973007"/>
              <a:gd name="connsiteX58421" fmla="*/ 1233499 w 6884782"/>
              <a:gd name="connsiteY58421" fmla="*/ 1302391 h 5973007"/>
              <a:gd name="connsiteX58422" fmla="*/ 1233809 w 6884782"/>
              <a:gd name="connsiteY58422" fmla="*/ 1302546 h 5973007"/>
              <a:gd name="connsiteX58423" fmla="*/ 1240934 w 6884782"/>
              <a:gd name="connsiteY58423" fmla="*/ 1303630 h 5973007"/>
              <a:gd name="connsiteX58424" fmla="*/ 1246819 w 6884782"/>
              <a:gd name="connsiteY58424" fmla="*/ 1307812 h 5973007"/>
              <a:gd name="connsiteX58425" fmla="*/ 1248884 w 6884782"/>
              <a:gd name="connsiteY58425" fmla="*/ 1314937 h 5973007"/>
              <a:gd name="connsiteX58426" fmla="*/ 1247645 w 6884782"/>
              <a:gd name="connsiteY58426" fmla="*/ 1317415 h 5973007"/>
              <a:gd name="connsiteX58427" fmla="*/ 1251672 w 6884782"/>
              <a:gd name="connsiteY58427" fmla="*/ 1327174 h 5973007"/>
              <a:gd name="connsiteX58428" fmla="*/ 1251672 w 6884782"/>
              <a:gd name="connsiteY58428" fmla="*/ 1327484 h 5973007"/>
              <a:gd name="connsiteX58429" fmla="*/ 1252705 w 6884782"/>
              <a:gd name="connsiteY58429" fmla="*/ 1328723 h 5973007"/>
              <a:gd name="connsiteX58430" fmla="*/ 1254357 w 6884782"/>
              <a:gd name="connsiteY58430" fmla="*/ 1328103 h 5973007"/>
              <a:gd name="connsiteX58431" fmla="*/ 1262307 w 6884782"/>
              <a:gd name="connsiteY58431" fmla="*/ 1320513 h 5973007"/>
              <a:gd name="connsiteX58432" fmla="*/ 1262514 w 6884782"/>
              <a:gd name="connsiteY58432" fmla="*/ 1325935 h 5973007"/>
              <a:gd name="connsiteX58433" fmla="*/ 1263650 w 6884782"/>
              <a:gd name="connsiteY58433" fmla="*/ 1325315 h 5973007"/>
              <a:gd name="connsiteX58434" fmla="*/ 1271910 w 6884782"/>
              <a:gd name="connsiteY58434" fmla="*/ 1324076 h 5973007"/>
              <a:gd name="connsiteX58435" fmla="*/ 1276763 w 6884782"/>
              <a:gd name="connsiteY58435" fmla="*/ 1324076 h 5973007"/>
              <a:gd name="connsiteX58436" fmla="*/ 1275421 w 6884782"/>
              <a:gd name="connsiteY58436" fmla="*/ 1322372 h 5973007"/>
              <a:gd name="connsiteX58437" fmla="*/ 1273769 w 6884782"/>
              <a:gd name="connsiteY58437" fmla="*/ 1315402 h 5973007"/>
              <a:gd name="connsiteX58438" fmla="*/ 1281720 w 6884782"/>
              <a:gd name="connsiteY58438" fmla="*/ 1315092 h 5973007"/>
              <a:gd name="connsiteX58439" fmla="*/ 1284611 w 6884782"/>
              <a:gd name="connsiteY58439" fmla="*/ 1318964 h 5973007"/>
              <a:gd name="connsiteX58440" fmla="*/ 1284301 w 6884782"/>
              <a:gd name="connsiteY58440" fmla="*/ 1322372 h 5973007"/>
              <a:gd name="connsiteX58441" fmla="*/ 1284301 w 6884782"/>
              <a:gd name="connsiteY58441" fmla="*/ 1324076 h 5973007"/>
              <a:gd name="connsiteX58442" fmla="*/ 1298550 w 6884782"/>
              <a:gd name="connsiteY58442" fmla="*/ 1324696 h 5973007"/>
              <a:gd name="connsiteX58443" fmla="*/ 1296485 w 6884782"/>
              <a:gd name="connsiteY58443" fmla="*/ 1333990 h 5973007"/>
              <a:gd name="connsiteX58444" fmla="*/ 1274079 w 6884782"/>
              <a:gd name="connsiteY58444" fmla="*/ 1331976 h 5973007"/>
              <a:gd name="connsiteX58445" fmla="*/ 1262617 w 6884782"/>
              <a:gd name="connsiteY58445" fmla="*/ 1330891 h 5973007"/>
              <a:gd name="connsiteX58446" fmla="*/ 1262617 w 6884782"/>
              <a:gd name="connsiteY58446" fmla="*/ 1334144 h 5973007"/>
              <a:gd name="connsiteX58447" fmla="*/ 1258900 w 6884782"/>
              <a:gd name="connsiteY58447" fmla="*/ 1345761 h 5973007"/>
              <a:gd name="connsiteX58448" fmla="*/ 1256835 w 6884782"/>
              <a:gd name="connsiteY58448" fmla="*/ 1348704 h 5973007"/>
              <a:gd name="connsiteX58449" fmla="*/ 1257145 w 6884782"/>
              <a:gd name="connsiteY58449" fmla="*/ 1350254 h 5973007"/>
              <a:gd name="connsiteX58450" fmla="*/ 1257145 w 6884782"/>
              <a:gd name="connsiteY58450" fmla="*/ 1351492 h 5973007"/>
              <a:gd name="connsiteX58451" fmla="*/ 1257351 w 6884782"/>
              <a:gd name="connsiteY58451" fmla="*/ 1351803 h 5973007"/>
              <a:gd name="connsiteX58452" fmla="*/ 1257868 w 6884782"/>
              <a:gd name="connsiteY58452" fmla="*/ 1352887 h 5973007"/>
              <a:gd name="connsiteX58453" fmla="*/ 1257041 w 6884782"/>
              <a:gd name="connsiteY58453" fmla="*/ 1352732 h 5973007"/>
              <a:gd name="connsiteX58454" fmla="*/ 1256938 w 6884782"/>
              <a:gd name="connsiteY58454" fmla="*/ 1352577 h 5973007"/>
              <a:gd name="connsiteX58455" fmla="*/ 1256628 w 6884782"/>
              <a:gd name="connsiteY58455" fmla="*/ 1355210 h 5973007"/>
              <a:gd name="connsiteX58456" fmla="*/ 1250433 w 6884782"/>
              <a:gd name="connsiteY58456" fmla="*/ 1352732 h 5973007"/>
              <a:gd name="connsiteX58457" fmla="*/ 1244961 w 6884782"/>
              <a:gd name="connsiteY58457" fmla="*/ 1349169 h 5973007"/>
              <a:gd name="connsiteX58458" fmla="*/ 1249297 w 6884782"/>
              <a:gd name="connsiteY58458" fmla="*/ 1348704 h 5973007"/>
              <a:gd name="connsiteX58459" fmla="*/ 1248471 w 6884782"/>
              <a:gd name="connsiteY58459" fmla="*/ 1346846 h 5973007"/>
              <a:gd name="connsiteX58460" fmla="*/ 1251053 w 6884782"/>
              <a:gd name="connsiteY58460" fmla="*/ 1346381 h 5973007"/>
              <a:gd name="connsiteX58461" fmla="*/ 1250846 w 6884782"/>
              <a:gd name="connsiteY58461" fmla="*/ 1344987 h 5973007"/>
              <a:gd name="connsiteX58462" fmla="*/ 1251672 w 6884782"/>
              <a:gd name="connsiteY58462" fmla="*/ 1339565 h 5973007"/>
              <a:gd name="connsiteX58463" fmla="*/ 1250227 w 6884782"/>
              <a:gd name="connsiteY58463" fmla="*/ 1339565 h 5973007"/>
              <a:gd name="connsiteX58464" fmla="*/ 1248678 w 6884782"/>
              <a:gd name="connsiteY58464" fmla="*/ 1343438 h 5973007"/>
              <a:gd name="connsiteX58465" fmla="*/ 1244961 w 6884782"/>
              <a:gd name="connsiteY58465" fmla="*/ 1349169 h 5973007"/>
              <a:gd name="connsiteX58466" fmla="*/ 1244238 w 6884782"/>
              <a:gd name="connsiteY58466" fmla="*/ 1350254 h 5973007"/>
              <a:gd name="connsiteX58467" fmla="*/ 1240107 w 6884782"/>
              <a:gd name="connsiteY58467" fmla="*/ 1358153 h 5973007"/>
              <a:gd name="connsiteX58468" fmla="*/ 1221211 w 6884782"/>
              <a:gd name="connsiteY58468" fmla="*/ 1364349 h 5973007"/>
              <a:gd name="connsiteX58469" fmla="*/ 1195604 w 6884782"/>
              <a:gd name="connsiteY58469" fmla="*/ 1355520 h 5973007"/>
              <a:gd name="connsiteX58470" fmla="*/ 1179909 w 6884782"/>
              <a:gd name="connsiteY58470" fmla="*/ 1328413 h 5973007"/>
              <a:gd name="connsiteX58471" fmla="*/ 1183317 w 6884782"/>
              <a:gd name="connsiteY58471" fmla="*/ 1320513 h 5973007"/>
              <a:gd name="connsiteX58472" fmla="*/ 1184762 w 6884782"/>
              <a:gd name="connsiteY58472" fmla="*/ 1314008 h 5973007"/>
              <a:gd name="connsiteX58473" fmla="*/ 1180941 w 6884782"/>
              <a:gd name="connsiteY58473" fmla="*/ 1315092 h 5973007"/>
              <a:gd name="connsiteX58474" fmla="*/ 1174437 w 6884782"/>
              <a:gd name="connsiteY58474" fmla="*/ 1316331 h 5973007"/>
              <a:gd name="connsiteX58475" fmla="*/ 1164627 w 6884782"/>
              <a:gd name="connsiteY58475" fmla="*/ 1306263 h 5973007"/>
              <a:gd name="connsiteX58476" fmla="*/ 1165247 w 6884782"/>
              <a:gd name="connsiteY58476" fmla="*/ 1305489 h 5973007"/>
              <a:gd name="connsiteX58477" fmla="*/ 1166072 w 6884782"/>
              <a:gd name="connsiteY58477" fmla="*/ 1303785 h 5973007"/>
              <a:gd name="connsiteX58478" fmla="*/ 1164937 w 6884782"/>
              <a:gd name="connsiteY58478" fmla="*/ 1301151 h 5973007"/>
              <a:gd name="connsiteX58479" fmla="*/ 1166279 w 6884782"/>
              <a:gd name="connsiteY58479" fmla="*/ 1298518 h 5973007"/>
              <a:gd name="connsiteX58480" fmla="*/ 1170616 w 6884782"/>
              <a:gd name="connsiteY58480" fmla="*/ 1297124 h 5973007"/>
              <a:gd name="connsiteX58481" fmla="*/ 1171339 w 6884782"/>
              <a:gd name="connsiteY58481" fmla="*/ 1297744 h 5973007"/>
              <a:gd name="connsiteX58482" fmla="*/ 1176501 w 6884782"/>
              <a:gd name="connsiteY58482" fmla="*/ 1296504 h 5973007"/>
              <a:gd name="connsiteX58483" fmla="*/ 1179702 w 6884782"/>
              <a:gd name="connsiteY58483" fmla="*/ 1296969 h 5973007"/>
              <a:gd name="connsiteX58484" fmla="*/ 1174746 w 6884782"/>
              <a:gd name="connsiteY58484" fmla="*/ 1295730 h 5973007"/>
              <a:gd name="connsiteX58485" fmla="*/ 1172991 w 6884782"/>
              <a:gd name="connsiteY58485" fmla="*/ 1294956 h 5973007"/>
              <a:gd name="connsiteX58486" fmla="*/ 1172991 w 6884782"/>
              <a:gd name="connsiteY58486" fmla="*/ 1295885 h 5973007"/>
              <a:gd name="connsiteX58487" fmla="*/ 1172062 w 6884782"/>
              <a:gd name="connsiteY58487" fmla="*/ 1294801 h 5973007"/>
              <a:gd name="connsiteX58488" fmla="*/ 1171855 w 6884782"/>
              <a:gd name="connsiteY58488" fmla="*/ 1294801 h 5973007"/>
              <a:gd name="connsiteX58489" fmla="*/ 1171029 w 6884782"/>
              <a:gd name="connsiteY58489" fmla="*/ 1294646 h 5973007"/>
              <a:gd name="connsiteX58490" fmla="*/ 1168138 w 6884782"/>
              <a:gd name="connsiteY58490" fmla="*/ 1292322 h 5973007"/>
              <a:gd name="connsiteX58491" fmla="*/ 1168241 w 6884782"/>
              <a:gd name="connsiteY58491" fmla="*/ 1291548 h 5973007"/>
              <a:gd name="connsiteX58492" fmla="*/ 1163388 w 6884782"/>
              <a:gd name="connsiteY58492" fmla="*/ 1291548 h 5973007"/>
              <a:gd name="connsiteX58493" fmla="*/ 1162046 w 6884782"/>
              <a:gd name="connsiteY58493" fmla="*/ 1291393 h 5973007"/>
              <a:gd name="connsiteX58494" fmla="*/ 1161633 w 6884782"/>
              <a:gd name="connsiteY58494" fmla="*/ 1291857 h 5973007"/>
              <a:gd name="connsiteX58495" fmla="*/ 1160910 w 6884782"/>
              <a:gd name="connsiteY58495" fmla="*/ 1291238 h 5973007"/>
              <a:gd name="connsiteX58496" fmla="*/ 1156573 w 6884782"/>
              <a:gd name="connsiteY58496" fmla="*/ 1290464 h 5973007"/>
              <a:gd name="connsiteX58497" fmla="*/ 1153269 w 6884782"/>
              <a:gd name="connsiteY58497" fmla="*/ 1286746 h 5973007"/>
              <a:gd name="connsiteX58498" fmla="*/ 1159051 w 6884782"/>
              <a:gd name="connsiteY58498" fmla="*/ 1285971 h 5973007"/>
              <a:gd name="connsiteX58499" fmla="*/ 1159464 w 6884782"/>
              <a:gd name="connsiteY58499" fmla="*/ 1285662 h 5973007"/>
              <a:gd name="connsiteX58500" fmla="*/ 1159774 w 6884782"/>
              <a:gd name="connsiteY58500" fmla="*/ 1285817 h 5973007"/>
              <a:gd name="connsiteX58501" fmla="*/ 1166692 w 6884782"/>
              <a:gd name="connsiteY58501" fmla="*/ 1285197 h 5973007"/>
              <a:gd name="connsiteX58502" fmla="*/ 1173197 w 6884782"/>
              <a:gd name="connsiteY58502" fmla="*/ 1286281 h 5973007"/>
              <a:gd name="connsiteX58503" fmla="*/ 1173404 w 6884782"/>
              <a:gd name="connsiteY58503" fmla="*/ 1285352 h 5973007"/>
              <a:gd name="connsiteX58504" fmla="*/ 1174024 w 6884782"/>
              <a:gd name="connsiteY58504" fmla="*/ 1273115 h 5973007"/>
              <a:gd name="connsiteX58505" fmla="*/ 974223 w 6884782"/>
              <a:gd name="connsiteY58505" fmla="*/ 1272805 h 5973007"/>
              <a:gd name="connsiteX58506" fmla="*/ 976081 w 6884782"/>
              <a:gd name="connsiteY58506" fmla="*/ 1273425 h 5973007"/>
              <a:gd name="connsiteX58507" fmla="*/ 981037 w 6884782"/>
              <a:gd name="connsiteY58507" fmla="*/ 1288914 h 5973007"/>
              <a:gd name="connsiteX58508" fmla="*/ 973190 w 6884782"/>
              <a:gd name="connsiteY58508" fmla="*/ 1286436 h 5973007"/>
              <a:gd name="connsiteX58509" fmla="*/ 971435 w 6884782"/>
              <a:gd name="connsiteY58509" fmla="*/ 1283183 h 5973007"/>
              <a:gd name="connsiteX58510" fmla="*/ 971641 w 6884782"/>
              <a:gd name="connsiteY58510" fmla="*/ 1279621 h 5973007"/>
              <a:gd name="connsiteX58511" fmla="*/ 971022 w 6884782"/>
              <a:gd name="connsiteY58511" fmla="*/ 1276678 h 5973007"/>
              <a:gd name="connsiteX58512" fmla="*/ 971744 w 6884782"/>
              <a:gd name="connsiteY58512" fmla="*/ 1273890 h 5973007"/>
              <a:gd name="connsiteX58513" fmla="*/ 974223 w 6884782"/>
              <a:gd name="connsiteY58513" fmla="*/ 1272805 h 5973007"/>
              <a:gd name="connsiteX58514" fmla="*/ 3913905 w 6884782"/>
              <a:gd name="connsiteY58514" fmla="*/ 1272738 h 5973007"/>
              <a:gd name="connsiteX58515" fmla="*/ 3915612 w 6884782"/>
              <a:gd name="connsiteY58515" fmla="*/ 1277575 h 5973007"/>
              <a:gd name="connsiteX58516" fmla="*/ 3910917 w 6884782"/>
              <a:gd name="connsiteY58516" fmla="*/ 1276437 h 5973007"/>
              <a:gd name="connsiteX58517" fmla="*/ 3911130 w 6884782"/>
              <a:gd name="connsiteY58517" fmla="*/ 1274302 h 5973007"/>
              <a:gd name="connsiteX58518" fmla="*/ 3913905 w 6884782"/>
              <a:gd name="connsiteY58518" fmla="*/ 1272738 h 5973007"/>
              <a:gd name="connsiteX58519" fmla="*/ 1316827 w 6884782"/>
              <a:gd name="connsiteY58519" fmla="*/ 1272650 h 5973007"/>
              <a:gd name="connsiteX58520" fmla="*/ 1321886 w 6884782"/>
              <a:gd name="connsiteY58520" fmla="*/ 1273735 h 5973007"/>
              <a:gd name="connsiteX58521" fmla="*/ 1312490 w 6884782"/>
              <a:gd name="connsiteY58521" fmla="*/ 1279931 h 5973007"/>
              <a:gd name="connsiteX58522" fmla="*/ 1312697 w 6884782"/>
              <a:gd name="connsiteY58522" fmla="*/ 1274664 h 5973007"/>
              <a:gd name="connsiteX58523" fmla="*/ 1316827 w 6884782"/>
              <a:gd name="connsiteY58523" fmla="*/ 1272650 h 5973007"/>
              <a:gd name="connsiteX58524" fmla="*/ 5812487 w 6884782"/>
              <a:gd name="connsiteY58524" fmla="*/ 1271173 h 5973007"/>
              <a:gd name="connsiteX58525" fmla="*/ 5818463 w 6884782"/>
              <a:gd name="connsiteY58525" fmla="*/ 1273306 h 5973007"/>
              <a:gd name="connsiteX58526" fmla="*/ 5820170 w 6884782"/>
              <a:gd name="connsiteY58526" fmla="*/ 1276152 h 5973007"/>
              <a:gd name="connsiteX58527" fmla="*/ 5820383 w 6884782"/>
              <a:gd name="connsiteY58527" fmla="*/ 1278143 h 5973007"/>
              <a:gd name="connsiteX58528" fmla="*/ 5820170 w 6884782"/>
              <a:gd name="connsiteY58528" fmla="*/ 1280562 h 5973007"/>
              <a:gd name="connsiteX58529" fmla="*/ 5809712 w 6884782"/>
              <a:gd name="connsiteY58529" fmla="*/ 1282838 h 5973007"/>
              <a:gd name="connsiteX58530" fmla="*/ 5807152 w 6884782"/>
              <a:gd name="connsiteY58530" fmla="*/ 1273164 h 5973007"/>
              <a:gd name="connsiteX58531" fmla="*/ 5809499 w 6884782"/>
              <a:gd name="connsiteY58531" fmla="*/ 1271884 h 5973007"/>
              <a:gd name="connsiteX58532" fmla="*/ 5812487 w 6884782"/>
              <a:gd name="connsiteY58532" fmla="*/ 1271173 h 5973007"/>
              <a:gd name="connsiteX58533" fmla="*/ 3770914 w 6884782"/>
              <a:gd name="connsiteY58533" fmla="*/ 1270746 h 5973007"/>
              <a:gd name="connsiteX58534" fmla="*/ 3753627 w 6884782"/>
              <a:gd name="connsiteY58534" fmla="*/ 1305317 h 5973007"/>
              <a:gd name="connsiteX58535" fmla="*/ 3744449 w 6884782"/>
              <a:gd name="connsiteY58535" fmla="*/ 1299768 h 5973007"/>
              <a:gd name="connsiteX58536" fmla="*/ 3770914 w 6884782"/>
              <a:gd name="connsiteY58536" fmla="*/ 1270746 h 5973007"/>
              <a:gd name="connsiteX58537" fmla="*/ 3746157 w 6884782"/>
              <a:gd name="connsiteY58537" fmla="*/ 1270746 h 5973007"/>
              <a:gd name="connsiteX58538" fmla="*/ 3749998 w 6884782"/>
              <a:gd name="connsiteY58538" fmla="*/ 1271173 h 5973007"/>
              <a:gd name="connsiteX58539" fmla="*/ 3752560 w 6884782"/>
              <a:gd name="connsiteY58539" fmla="*/ 1273449 h 5973007"/>
              <a:gd name="connsiteX58540" fmla="*/ 3753627 w 6884782"/>
              <a:gd name="connsiteY58540" fmla="*/ 1280562 h 5973007"/>
              <a:gd name="connsiteX58541" fmla="*/ 3743382 w 6884782"/>
              <a:gd name="connsiteY58541" fmla="*/ 1281132 h 5973007"/>
              <a:gd name="connsiteX58542" fmla="*/ 3743382 w 6884782"/>
              <a:gd name="connsiteY58542" fmla="*/ 1272879 h 5973007"/>
              <a:gd name="connsiteX58543" fmla="*/ 3746157 w 6884782"/>
              <a:gd name="connsiteY58543" fmla="*/ 1270746 h 5973007"/>
              <a:gd name="connsiteX58544" fmla="*/ 1653029 w 6884782"/>
              <a:gd name="connsiteY58544" fmla="*/ 1270637 h 5973007"/>
              <a:gd name="connsiteX58545" fmla="*/ 1660980 w 6884782"/>
              <a:gd name="connsiteY58545" fmla="*/ 1278691 h 5973007"/>
              <a:gd name="connsiteX58546" fmla="*/ 1665523 w 6884782"/>
              <a:gd name="connsiteY58546" fmla="*/ 1289999 h 5973007"/>
              <a:gd name="connsiteX58547" fmla="*/ 1653029 w 6884782"/>
              <a:gd name="connsiteY58547" fmla="*/ 1270637 h 5973007"/>
              <a:gd name="connsiteX58548" fmla="*/ 3993297 w 6884782"/>
              <a:gd name="connsiteY58548" fmla="*/ 1269750 h 5973007"/>
              <a:gd name="connsiteX58549" fmla="*/ 3996071 w 6884782"/>
              <a:gd name="connsiteY58549" fmla="*/ 1270034 h 5973007"/>
              <a:gd name="connsiteX58550" fmla="*/ 3996285 w 6884782"/>
              <a:gd name="connsiteY58550" fmla="*/ 1273591 h 5973007"/>
              <a:gd name="connsiteX58551" fmla="*/ 3986254 w 6884782"/>
              <a:gd name="connsiteY58551" fmla="*/ 1277859 h 5973007"/>
              <a:gd name="connsiteX58552" fmla="*/ 3993297 w 6884782"/>
              <a:gd name="connsiteY58552" fmla="*/ 1269750 h 5973007"/>
              <a:gd name="connsiteX58553" fmla="*/ 1288638 w 6884782"/>
              <a:gd name="connsiteY58553" fmla="*/ 1269552 h 5973007"/>
              <a:gd name="connsiteX58554" fmla="*/ 1288225 w 6884782"/>
              <a:gd name="connsiteY58554" fmla="*/ 1277143 h 5973007"/>
              <a:gd name="connsiteX58555" fmla="*/ 1285643 w 6884782"/>
              <a:gd name="connsiteY58555" fmla="*/ 1278072 h 5973007"/>
              <a:gd name="connsiteX58556" fmla="*/ 1282752 w 6884782"/>
              <a:gd name="connsiteY58556" fmla="*/ 1272960 h 5973007"/>
              <a:gd name="connsiteX58557" fmla="*/ 1284301 w 6884782"/>
              <a:gd name="connsiteY58557" fmla="*/ 1270637 h 5973007"/>
              <a:gd name="connsiteX58558" fmla="*/ 1288638 w 6884782"/>
              <a:gd name="connsiteY58558" fmla="*/ 1269552 h 5973007"/>
              <a:gd name="connsiteX58559" fmla="*/ 1067566 w 6884782"/>
              <a:gd name="connsiteY58559" fmla="*/ 1269552 h 5973007"/>
              <a:gd name="connsiteX58560" fmla="*/ 1072006 w 6884782"/>
              <a:gd name="connsiteY58560" fmla="*/ 1273580 h 5973007"/>
              <a:gd name="connsiteX58561" fmla="*/ 1068083 w 6884782"/>
              <a:gd name="connsiteY58561" fmla="*/ 1276368 h 5973007"/>
              <a:gd name="connsiteX58562" fmla="*/ 1064778 w 6884782"/>
              <a:gd name="connsiteY58562" fmla="*/ 1275284 h 5973007"/>
              <a:gd name="connsiteX58563" fmla="*/ 1064882 w 6884782"/>
              <a:gd name="connsiteY58563" fmla="*/ 1275903 h 5973007"/>
              <a:gd name="connsiteX58564" fmla="*/ 1064262 w 6884782"/>
              <a:gd name="connsiteY58564" fmla="*/ 1275748 h 5973007"/>
              <a:gd name="connsiteX58565" fmla="*/ 1063229 w 6884782"/>
              <a:gd name="connsiteY58565" fmla="*/ 1279001 h 5973007"/>
              <a:gd name="connsiteX58566" fmla="*/ 1059306 w 6884782"/>
              <a:gd name="connsiteY58566" fmla="*/ 1276523 h 5973007"/>
              <a:gd name="connsiteX58567" fmla="*/ 1061887 w 6884782"/>
              <a:gd name="connsiteY58567" fmla="*/ 1274200 h 5973007"/>
              <a:gd name="connsiteX58568" fmla="*/ 1063333 w 6884782"/>
              <a:gd name="connsiteY58568" fmla="*/ 1274509 h 5973007"/>
              <a:gd name="connsiteX58569" fmla="*/ 1064675 w 6884782"/>
              <a:gd name="connsiteY58569" fmla="*/ 1274974 h 5973007"/>
              <a:gd name="connsiteX58570" fmla="*/ 1065398 w 6884782"/>
              <a:gd name="connsiteY58570" fmla="*/ 1273580 h 5973007"/>
              <a:gd name="connsiteX58571" fmla="*/ 1067566 w 6884782"/>
              <a:gd name="connsiteY58571" fmla="*/ 1269552 h 5973007"/>
              <a:gd name="connsiteX58572" fmla="*/ 1606047 w 6884782"/>
              <a:gd name="connsiteY58572" fmla="*/ 1268623 h 5973007"/>
              <a:gd name="connsiteX58573" fmla="*/ 1611520 w 6884782"/>
              <a:gd name="connsiteY58573" fmla="*/ 1268778 h 5973007"/>
              <a:gd name="connsiteX58574" fmla="*/ 1610281 w 6884782"/>
              <a:gd name="connsiteY58574" fmla="*/ 1276678 h 5973007"/>
              <a:gd name="connsiteX58575" fmla="*/ 1610074 w 6884782"/>
              <a:gd name="connsiteY58575" fmla="*/ 1276833 h 5973007"/>
              <a:gd name="connsiteX58576" fmla="*/ 1610178 w 6884782"/>
              <a:gd name="connsiteY58576" fmla="*/ 1276988 h 5973007"/>
              <a:gd name="connsiteX58577" fmla="*/ 1616064 w 6884782"/>
              <a:gd name="connsiteY58577" fmla="*/ 1283338 h 5973007"/>
              <a:gd name="connsiteX58578" fmla="*/ 1617096 w 6884782"/>
              <a:gd name="connsiteY58578" fmla="*/ 1285042 h 5973007"/>
              <a:gd name="connsiteX58579" fmla="*/ 1618232 w 6884782"/>
              <a:gd name="connsiteY58579" fmla="*/ 1286746 h 5973007"/>
              <a:gd name="connsiteX58580" fmla="*/ 1617199 w 6884782"/>
              <a:gd name="connsiteY58580" fmla="*/ 1289999 h 5973007"/>
              <a:gd name="connsiteX58581" fmla="*/ 1617096 w 6884782"/>
              <a:gd name="connsiteY58581" fmla="*/ 1289844 h 5973007"/>
              <a:gd name="connsiteX58582" fmla="*/ 1616786 w 6884782"/>
              <a:gd name="connsiteY58582" fmla="*/ 1292787 h 5973007"/>
              <a:gd name="connsiteX58583" fmla="*/ 1613482 w 6884782"/>
              <a:gd name="connsiteY58583" fmla="*/ 1298828 h 5973007"/>
              <a:gd name="connsiteX58584" fmla="*/ 1608732 w 6884782"/>
              <a:gd name="connsiteY58584" fmla="*/ 1303475 h 5973007"/>
              <a:gd name="connsiteX58585" fmla="*/ 1608526 w 6884782"/>
              <a:gd name="connsiteY58585" fmla="*/ 1304094 h 5973007"/>
              <a:gd name="connsiteX58586" fmla="*/ 1605325 w 6884782"/>
              <a:gd name="connsiteY58586" fmla="*/ 1307657 h 5973007"/>
              <a:gd name="connsiteX58587" fmla="*/ 1605531 w 6884782"/>
              <a:gd name="connsiteY58587" fmla="*/ 1307657 h 5973007"/>
              <a:gd name="connsiteX58588" fmla="*/ 1614101 w 6884782"/>
              <a:gd name="connsiteY58588" fmla="*/ 1309980 h 5973007"/>
              <a:gd name="connsiteX58589" fmla="*/ 1614411 w 6884782"/>
              <a:gd name="connsiteY58589" fmla="*/ 1310910 h 5973007"/>
              <a:gd name="connsiteX58590" fmla="*/ 1612966 w 6884782"/>
              <a:gd name="connsiteY58590" fmla="*/ 1312149 h 5973007"/>
              <a:gd name="connsiteX58591" fmla="*/ 1609145 w 6884782"/>
              <a:gd name="connsiteY58591" fmla="*/ 1311529 h 5973007"/>
              <a:gd name="connsiteX58592" fmla="*/ 1604396 w 6884782"/>
              <a:gd name="connsiteY58592" fmla="*/ 1309361 h 5973007"/>
              <a:gd name="connsiteX58593" fmla="*/ 1603776 w 6884782"/>
              <a:gd name="connsiteY58593" fmla="*/ 1309051 h 5973007"/>
              <a:gd name="connsiteX58594" fmla="*/ 1596858 w 6884782"/>
              <a:gd name="connsiteY58594" fmla="*/ 1315402 h 5973007"/>
              <a:gd name="connsiteX58595" fmla="*/ 1596961 w 6884782"/>
              <a:gd name="connsiteY58595" fmla="*/ 1317570 h 5973007"/>
              <a:gd name="connsiteX58596" fmla="*/ 1597167 w 6884782"/>
              <a:gd name="connsiteY58596" fmla="*/ 1317570 h 5973007"/>
              <a:gd name="connsiteX58597" fmla="*/ 1600369 w 6884782"/>
              <a:gd name="connsiteY58597" fmla="*/ 1322062 h 5973007"/>
              <a:gd name="connsiteX58598" fmla="*/ 1600885 w 6884782"/>
              <a:gd name="connsiteY58598" fmla="*/ 1324850 h 5973007"/>
              <a:gd name="connsiteX58599" fmla="*/ 1600988 w 6884782"/>
              <a:gd name="connsiteY58599" fmla="*/ 1324696 h 5973007"/>
              <a:gd name="connsiteX58600" fmla="*/ 1602640 w 6884782"/>
              <a:gd name="connsiteY58600" fmla="*/ 1324386 h 5973007"/>
              <a:gd name="connsiteX58601" fmla="*/ 1605944 w 6884782"/>
              <a:gd name="connsiteY58601" fmla="*/ 1327948 h 5973007"/>
              <a:gd name="connsiteX58602" fmla="*/ 1607287 w 6884782"/>
              <a:gd name="connsiteY58602" fmla="*/ 1324541 h 5973007"/>
              <a:gd name="connsiteX58603" fmla="*/ 1613482 w 6884782"/>
              <a:gd name="connsiteY58603" fmla="*/ 1331666 h 5973007"/>
              <a:gd name="connsiteX58604" fmla="*/ 1615340 w 6884782"/>
              <a:gd name="connsiteY58604" fmla="*/ 1331046 h 5973007"/>
              <a:gd name="connsiteX58605" fmla="*/ 1633617 w 6884782"/>
              <a:gd name="connsiteY58605" fmla="*/ 1327484 h 5973007"/>
              <a:gd name="connsiteX58606" fmla="*/ 1650758 w 6884782"/>
              <a:gd name="connsiteY58606" fmla="*/ 1336623 h 5973007"/>
              <a:gd name="connsiteX58607" fmla="*/ 1659431 w 6884782"/>
              <a:gd name="connsiteY58607" fmla="*/ 1360012 h 5973007"/>
              <a:gd name="connsiteX58608" fmla="*/ 1652719 w 6884782"/>
              <a:gd name="connsiteY58608" fmla="*/ 1373953 h 5973007"/>
              <a:gd name="connsiteX58609" fmla="*/ 1650035 w 6884782"/>
              <a:gd name="connsiteY58609" fmla="*/ 1379529 h 5973007"/>
              <a:gd name="connsiteX58610" fmla="*/ 1653648 w 6884782"/>
              <a:gd name="connsiteY58610" fmla="*/ 1381852 h 5973007"/>
              <a:gd name="connsiteX58611" fmla="*/ 1650758 w 6884782"/>
              <a:gd name="connsiteY58611" fmla="*/ 1384021 h 5973007"/>
              <a:gd name="connsiteX58612" fmla="*/ 1648382 w 6884782"/>
              <a:gd name="connsiteY58612" fmla="*/ 1382937 h 5973007"/>
              <a:gd name="connsiteX58613" fmla="*/ 1646007 w 6884782"/>
              <a:gd name="connsiteY58613" fmla="*/ 1388048 h 5973007"/>
              <a:gd name="connsiteX58614" fmla="*/ 1644665 w 6884782"/>
              <a:gd name="connsiteY58614" fmla="*/ 1388358 h 5973007"/>
              <a:gd name="connsiteX58615" fmla="*/ 1647660 w 6884782"/>
              <a:gd name="connsiteY58615" fmla="*/ 1390682 h 5973007"/>
              <a:gd name="connsiteX58616" fmla="*/ 1647557 w 6884782"/>
              <a:gd name="connsiteY58616" fmla="*/ 1391301 h 5973007"/>
              <a:gd name="connsiteX58617" fmla="*/ 1647763 w 6884782"/>
              <a:gd name="connsiteY58617" fmla="*/ 1391146 h 5973007"/>
              <a:gd name="connsiteX58618" fmla="*/ 1651377 w 6884782"/>
              <a:gd name="connsiteY58618" fmla="*/ 1392075 h 5973007"/>
              <a:gd name="connsiteX58619" fmla="*/ 1652513 w 6884782"/>
              <a:gd name="connsiteY58619" fmla="*/ 1394399 h 5973007"/>
              <a:gd name="connsiteX58620" fmla="*/ 1645492 w 6884782"/>
              <a:gd name="connsiteY58620" fmla="*/ 1399355 h 5973007"/>
              <a:gd name="connsiteX58621" fmla="*/ 1645492 w 6884782"/>
              <a:gd name="connsiteY58621" fmla="*/ 1399201 h 5973007"/>
              <a:gd name="connsiteX58622" fmla="*/ 1645181 w 6884782"/>
              <a:gd name="connsiteY58622" fmla="*/ 1400130 h 5973007"/>
              <a:gd name="connsiteX58623" fmla="*/ 1641361 w 6884782"/>
              <a:gd name="connsiteY58623" fmla="*/ 1401369 h 5973007"/>
              <a:gd name="connsiteX58624" fmla="*/ 1633720 w 6884782"/>
              <a:gd name="connsiteY58624" fmla="*/ 1400130 h 5973007"/>
              <a:gd name="connsiteX58625" fmla="*/ 1633720 w 6884782"/>
              <a:gd name="connsiteY58625" fmla="*/ 1401369 h 5973007"/>
              <a:gd name="connsiteX58626" fmla="*/ 1633101 w 6884782"/>
              <a:gd name="connsiteY58626" fmla="*/ 1397342 h 5973007"/>
              <a:gd name="connsiteX58627" fmla="*/ 1632584 w 6884782"/>
              <a:gd name="connsiteY58627" fmla="*/ 1394399 h 5973007"/>
              <a:gd name="connsiteX58628" fmla="*/ 1631345 w 6884782"/>
              <a:gd name="connsiteY58628" fmla="*/ 1393315 h 5973007"/>
              <a:gd name="connsiteX58629" fmla="*/ 1627834 w 6884782"/>
              <a:gd name="connsiteY58629" fmla="*/ 1395173 h 5973007"/>
              <a:gd name="connsiteX58630" fmla="*/ 1609455 w 6884782"/>
              <a:gd name="connsiteY58630" fmla="*/ 1397651 h 5973007"/>
              <a:gd name="connsiteX58631" fmla="*/ 1609042 w 6884782"/>
              <a:gd name="connsiteY58631" fmla="*/ 1397187 h 5973007"/>
              <a:gd name="connsiteX58632" fmla="*/ 1604189 w 6884782"/>
              <a:gd name="connsiteY58632" fmla="*/ 1394089 h 5973007"/>
              <a:gd name="connsiteX58633" fmla="*/ 1602950 w 6884782"/>
              <a:gd name="connsiteY58633" fmla="*/ 1390682 h 5973007"/>
              <a:gd name="connsiteX58634" fmla="*/ 1601298 w 6884782"/>
              <a:gd name="connsiteY58634" fmla="*/ 1389597 h 5973007"/>
              <a:gd name="connsiteX58635" fmla="*/ 1593037 w 6884782"/>
              <a:gd name="connsiteY58635" fmla="*/ 1385260 h 5973007"/>
              <a:gd name="connsiteX58636" fmla="*/ 1590146 w 6884782"/>
              <a:gd name="connsiteY58636" fmla="*/ 1374262 h 5973007"/>
              <a:gd name="connsiteX58637" fmla="*/ 1590043 w 6884782"/>
              <a:gd name="connsiteY58637" fmla="*/ 1371319 h 5973007"/>
              <a:gd name="connsiteX58638" fmla="*/ 1588184 w 6884782"/>
              <a:gd name="connsiteY58638" fmla="*/ 1375347 h 5973007"/>
              <a:gd name="connsiteX58639" fmla="*/ 1584673 w 6884782"/>
              <a:gd name="connsiteY58639" fmla="*/ 1377980 h 5973007"/>
              <a:gd name="connsiteX58640" fmla="*/ 1582195 w 6884782"/>
              <a:gd name="connsiteY58640" fmla="*/ 1378135 h 5973007"/>
              <a:gd name="connsiteX58641" fmla="*/ 1581266 w 6884782"/>
              <a:gd name="connsiteY58641" fmla="*/ 1378909 h 5973007"/>
              <a:gd name="connsiteX58642" fmla="*/ 1572593 w 6884782"/>
              <a:gd name="connsiteY58642" fmla="*/ 1381233 h 5973007"/>
              <a:gd name="connsiteX58643" fmla="*/ 1568256 w 6884782"/>
              <a:gd name="connsiteY58643" fmla="*/ 1378909 h 5973007"/>
              <a:gd name="connsiteX58644" fmla="*/ 1567842 w 6884782"/>
              <a:gd name="connsiteY58644" fmla="*/ 1379219 h 5973007"/>
              <a:gd name="connsiteX58645" fmla="*/ 1563919 w 6884782"/>
              <a:gd name="connsiteY58645" fmla="*/ 1375037 h 5973007"/>
              <a:gd name="connsiteX58646" fmla="*/ 1566913 w 6884782"/>
              <a:gd name="connsiteY58646" fmla="*/ 1371784 h 5973007"/>
              <a:gd name="connsiteX58647" fmla="*/ 1568978 w 6884782"/>
              <a:gd name="connsiteY58647" fmla="*/ 1372249 h 5973007"/>
              <a:gd name="connsiteX58648" fmla="*/ 1569392 w 6884782"/>
              <a:gd name="connsiteY58648" fmla="*/ 1373023 h 5973007"/>
              <a:gd name="connsiteX58649" fmla="*/ 1570114 w 6884782"/>
              <a:gd name="connsiteY58649" fmla="*/ 1374417 h 5973007"/>
              <a:gd name="connsiteX58650" fmla="*/ 1572179 w 6884782"/>
              <a:gd name="connsiteY58650" fmla="*/ 1370700 h 5973007"/>
              <a:gd name="connsiteX58651" fmla="*/ 1571560 w 6884782"/>
              <a:gd name="connsiteY58651" fmla="*/ 1368376 h 5973007"/>
              <a:gd name="connsiteX58652" fmla="*/ 1574348 w 6884782"/>
              <a:gd name="connsiteY58652" fmla="*/ 1361561 h 5973007"/>
              <a:gd name="connsiteX58653" fmla="*/ 1578685 w 6884782"/>
              <a:gd name="connsiteY58653" fmla="*/ 1361871 h 5973007"/>
              <a:gd name="connsiteX58654" fmla="*/ 1580853 w 6884782"/>
              <a:gd name="connsiteY58654" fmla="*/ 1362955 h 5973007"/>
              <a:gd name="connsiteX58655" fmla="*/ 1584570 w 6884782"/>
              <a:gd name="connsiteY58655" fmla="*/ 1360941 h 5973007"/>
              <a:gd name="connsiteX58656" fmla="*/ 1589113 w 6884782"/>
              <a:gd name="connsiteY58656" fmla="*/ 1365898 h 5973007"/>
              <a:gd name="connsiteX58657" fmla="*/ 1588700 w 6884782"/>
              <a:gd name="connsiteY58657" fmla="*/ 1368222 h 5973007"/>
              <a:gd name="connsiteX58658" fmla="*/ 1589939 w 6884782"/>
              <a:gd name="connsiteY58658" fmla="*/ 1369615 h 5973007"/>
              <a:gd name="connsiteX58659" fmla="*/ 1589630 w 6884782"/>
              <a:gd name="connsiteY58659" fmla="*/ 1362025 h 5973007"/>
              <a:gd name="connsiteX58660" fmla="*/ 1592314 w 6884782"/>
              <a:gd name="connsiteY58660" fmla="*/ 1349944 h 5973007"/>
              <a:gd name="connsiteX58661" fmla="*/ 1598200 w 6884782"/>
              <a:gd name="connsiteY58661" fmla="*/ 1341114 h 5973007"/>
              <a:gd name="connsiteX58662" fmla="*/ 1596548 w 6884782"/>
              <a:gd name="connsiteY58662" fmla="*/ 1342044 h 5973007"/>
              <a:gd name="connsiteX58663" fmla="*/ 1587461 w 6884782"/>
              <a:gd name="connsiteY58663" fmla="*/ 1343438 h 5973007"/>
              <a:gd name="connsiteX58664" fmla="*/ 1584983 w 6884782"/>
              <a:gd name="connsiteY58664" fmla="*/ 1335228 h 5973007"/>
              <a:gd name="connsiteX58665" fmla="*/ 1593657 w 6884782"/>
              <a:gd name="connsiteY58665" fmla="*/ 1326400 h 5973007"/>
              <a:gd name="connsiteX58666" fmla="*/ 1594999 w 6884782"/>
              <a:gd name="connsiteY58666" fmla="*/ 1326400 h 5973007"/>
              <a:gd name="connsiteX58667" fmla="*/ 1594896 w 6884782"/>
              <a:gd name="connsiteY58667" fmla="*/ 1326090 h 5973007"/>
              <a:gd name="connsiteX58668" fmla="*/ 1594793 w 6884782"/>
              <a:gd name="connsiteY58668" fmla="*/ 1324386 h 5973007"/>
              <a:gd name="connsiteX58669" fmla="*/ 1593863 w 6884782"/>
              <a:gd name="connsiteY58669" fmla="*/ 1325470 h 5973007"/>
              <a:gd name="connsiteX58670" fmla="*/ 1592314 w 6884782"/>
              <a:gd name="connsiteY58670" fmla="*/ 1323147 h 5973007"/>
              <a:gd name="connsiteX58671" fmla="*/ 1590146 w 6884782"/>
              <a:gd name="connsiteY58671" fmla="*/ 1321133 h 5973007"/>
              <a:gd name="connsiteX58672" fmla="*/ 1589939 w 6884782"/>
              <a:gd name="connsiteY58672" fmla="*/ 1319739 h 5973007"/>
              <a:gd name="connsiteX58673" fmla="*/ 1586222 w 6884782"/>
              <a:gd name="connsiteY58673" fmla="*/ 1314472 h 5973007"/>
              <a:gd name="connsiteX58674" fmla="*/ 1585293 w 6884782"/>
              <a:gd name="connsiteY58674" fmla="*/ 1310910 h 5973007"/>
              <a:gd name="connsiteX58675" fmla="*/ 1585190 w 6884782"/>
              <a:gd name="connsiteY58675" fmla="*/ 1310910 h 5973007"/>
              <a:gd name="connsiteX58676" fmla="*/ 1580440 w 6884782"/>
              <a:gd name="connsiteY58676" fmla="*/ 1312149 h 5973007"/>
              <a:gd name="connsiteX58677" fmla="*/ 1578271 w 6884782"/>
              <a:gd name="connsiteY58677" fmla="*/ 1310910 h 5973007"/>
              <a:gd name="connsiteX58678" fmla="*/ 1577755 w 6884782"/>
              <a:gd name="connsiteY58678" fmla="*/ 1305643 h 5973007"/>
              <a:gd name="connsiteX58679" fmla="*/ 1580646 w 6884782"/>
              <a:gd name="connsiteY58679" fmla="*/ 1300222 h 5973007"/>
              <a:gd name="connsiteX58680" fmla="*/ 1583951 w 6884782"/>
              <a:gd name="connsiteY58680" fmla="*/ 1297744 h 5973007"/>
              <a:gd name="connsiteX58681" fmla="*/ 1584054 w 6884782"/>
              <a:gd name="connsiteY58681" fmla="*/ 1295885 h 5973007"/>
              <a:gd name="connsiteX58682" fmla="*/ 1587048 w 6884782"/>
              <a:gd name="connsiteY58682" fmla="*/ 1296659 h 5973007"/>
              <a:gd name="connsiteX58683" fmla="*/ 1589733 w 6884782"/>
              <a:gd name="connsiteY58683" fmla="*/ 1296814 h 5973007"/>
              <a:gd name="connsiteX58684" fmla="*/ 1591488 w 6884782"/>
              <a:gd name="connsiteY58684" fmla="*/ 1299292 h 5973007"/>
              <a:gd name="connsiteX58685" fmla="*/ 1591178 w 6884782"/>
              <a:gd name="connsiteY58685" fmla="*/ 1300222 h 5973007"/>
              <a:gd name="connsiteX58686" fmla="*/ 1592728 w 6884782"/>
              <a:gd name="connsiteY58686" fmla="*/ 1303785 h 5973007"/>
              <a:gd name="connsiteX58687" fmla="*/ 1594173 w 6884782"/>
              <a:gd name="connsiteY58687" fmla="*/ 1304404 h 5973007"/>
              <a:gd name="connsiteX58688" fmla="*/ 1596961 w 6884782"/>
              <a:gd name="connsiteY58688" fmla="*/ 1303165 h 5973007"/>
              <a:gd name="connsiteX58689" fmla="*/ 1598406 w 6884782"/>
              <a:gd name="connsiteY58689" fmla="*/ 1301771 h 5973007"/>
              <a:gd name="connsiteX58690" fmla="*/ 1597890 w 6884782"/>
              <a:gd name="connsiteY58690" fmla="*/ 1299757 h 5973007"/>
              <a:gd name="connsiteX58691" fmla="*/ 1597477 w 6884782"/>
              <a:gd name="connsiteY58691" fmla="*/ 1292013 h 5973007"/>
              <a:gd name="connsiteX58692" fmla="*/ 1598716 w 6884782"/>
              <a:gd name="connsiteY58692" fmla="*/ 1292477 h 5973007"/>
              <a:gd name="connsiteX58693" fmla="*/ 1600162 w 6884782"/>
              <a:gd name="connsiteY58693" fmla="*/ 1298673 h 5973007"/>
              <a:gd name="connsiteX58694" fmla="*/ 1600265 w 6884782"/>
              <a:gd name="connsiteY58694" fmla="*/ 1299912 h 5973007"/>
              <a:gd name="connsiteX58695" fmla="*/ 1601814 w 6884782"/>
              <a:gd name="connsiteY58695" fmla="*/ 1298363 h 5973007"/>
              <a:gd name="connsiteX58696" fmla="*/ 1612553 w 6884782"/>
              <a:gd name="connsiteY58696" fmla="*/ 1289999 h 5973007"/>
              <a:gd name="connsiteX58697" fmla="*/ 1616579 w 6884782"/>
              <a:gd name="connsiteY58697" fmla="*/ 1289224 h 5973007"/>
              <a:gd name="connsiteX58698" fmla="*/ 1613895 w 6884782"/>
              <a:gd name="connsiteY58698" fmla="*/ 1286126 h 5973007"/>
              <a:gd name="connsiteX58699" fmla="*/ 1611107 w 6884782"/>
              <a:gd name="connsiteY58699" fmla="*/ 1283028 h 5973007"/>
              <a:gd name="connsiteX58700" fmla="*/ 1606461 w 6884782"/>
              <a:gd name="connsiteY58700" fmla="*/ 1277297 h 5973007"/>
              <a:gd name="connsiteX58701" fmla="*/ 1603982 w 6884782"/>
              <a:gd name="connsiteY58701" fmla="*/ 1276368 h 5973007"/>
              <a:gd name="connsiteX58702" fmla="*/ 1603672 w 6884782"/>
              <a:gd name="connsiteY58702" fmla="*/ 1275748 h 5973007"/>
              <a:gd name="connsiteX58703" fmla="*/ 1602640 w 6884782"/>
              <a:gd name="connsiteY58703" fmla="*/ 1275903 h 5973007"/>
              <a:gd name="connsiteX58704" fmla="*/ 1602433 w 6884782"/>
              <a:gd name="connsiteY58704" fmla="*/ 1275129 h 5973007"/>
              <a:gd name="connsiteX58705" fmla="*/ 1603260 w 6884782"/>
              <a:gd name="connsiteY58705" fmla="*/ 1275284 h 5973007"/>
              <a:gd name="connsiteX58706" fmla="*/ 1602537 w 6884782"/>
              <a:gd name="connsiteY58706" fmla="*/ 1274200 h 5973007"/>
              <a:gd name="connsiteX58707" fmla="*/ 1606047 w 6884782"/>
              <a:gd name="connsiteY58707" fmla="*/ 1268623 h 5973007"/>
              <a:gd name="connsiteX58708" fmla="*/ 5450314 w 6884782"/>
              <a:gd name="connsiteY58708" fmla="*/ 1268185 h 5973007"/>
              <a:gd name="connsiteX58709" fmla="*/ 5452661 w 6884782"/>
              <a:gd name="connsiteY58709" fmla="*/ 1269181 h 5973007"/>
              <a:gd name="connsiteX58710" fmla="*/ 5450954 w 6884782"/>
              <a:gd name="connsiteY58710" fmla="*/ 1277859 h 5973007"/>
              <a:gd name="connsiteX58711" fmla="*/ 5444338 w 6884782"/>
              <a:gd name="connsiteY58711" fmla="*/ 1270746 h 5973007"/>
              <a:gd name="connsiteX58712" fmla="*/ 5450314 w 6884782"/>
              <a:gd name="connsiteY58712" fmla="*/ 1268185 h 5973007"/>
              <a:gd name="connsiteX58713" fmla="*/ 1427517 w 6884782"/>
              <a:gd name="connsiteY58713" fmla="*/ 1268003 h 5973007"/>
              <a:gd name="connsiteX58714" fmla="*/ 1431648 w 6884782"/>
              <a:gd name="connsiteY58714" fmla="*/ 1268623 h 5973007"/>
              <a:gd name="connsiteX58715" fmla="*/ 1434849 w 6884782"/>
              <a:gd name="connsiteY58715" fmla="*/ 1271876 h 5973007"/>
              <a:gd name="connsiteX58716" fmla="*/ 1435055 w 6884782"/>
              <a:gd name="connsiteY58716" fmla="*/ 1271566 h 5973007"/>
              <a:gd name="connsiteX58717" fmla="*/ 1436398 w 6884782"/>
              <a:gd name="connsiteY58717" fmla="*/ 1272031 h 5973007"/>
              <a:gd name="connsiteX58718" fmla="*/ 1436191 w 6884782"/>
              <a:gd name="connsiteY58718" fmla="*/ 1272650 h 5973007"/>
              <a:gd name="connsiteX58719" fmla="*/ 1435262 w 6884782"/>
              <a:gd name="connsiteY58719" fmla="*/ 1273425 h 5973007"/>
              <a:gd name="connsiteX58720" fmla="*/ 1435985 w 6884782"/>
              <a:gd name="connsiteY58720" fmla="*/ 1276058 h 5973007"/>
              <a:gd name="connsiteX58721" fmla="*/ 1425039 w 6884782"/>
              <a:gd name="connsiteY58721" fmla="*/ 1275439 h 5973007"/>
              <a:gd name="connsiteX58722" fmla="*/ 1424420 w 6884782"/>
              <a:gd name="connsiteY58722" fmla="*/ 1274200 h 5973007"/>
              <a:gd name="connsiteX58723" fmla="*/ 1422458 w 6884782"/>
              <a:gd name="connsiteY58723" fmla="*/ 1274819 h 5973007"/>
              <a:gd name="connsiteX58724" fmla="*/ 1420909 w 6884782"/>
              <a:gd name="connsiteY58724" fmla="*/ 1276523 h 5973007"/>
              <a:gd name="connsiteX58725" fmla="*/ 1418534 w 6884782"/>
              <a:gd name="connsiteY58725" fmla="*/ 1276213 h 5973007"/>
              <a:gd name="connsiteX58726" fmla="*/ 1418121 w 6884782"/>
              <a:gd name="connsiteY58726" fmla="*/ 1275593 h 5973007"/>
              <a:gd name="connsiteX58727" fmla="*/ 1419361 w 6884782"/>
              <a:gd name="connsiteY58727" fmla="*/ 1273890 h 5973007"/>
              <a:gd name="connsiteX58728" fmla="*/ 1423800 w 6884782"/>
              <a:gd name="connsiteY58728" fmla="*/ 1271256 h 5973007"/>
              <a:gd name="connsiteX58729" fmla="*/ 1424007 w 6884782"/>
              <a:gd name="connsiteY58729" fmla="*/ 1271101 h 5973007"/>
              <a:gd name="connsiteX58730" fmla="*/ 1407589 w 6884782"/>
              <a:gd name="connsiteY58730" fmla="*/ 1267539 h 5973007"/>
              <a:gd name="connsiteX58731" fmla="*/ 1412132 w 6884782"/>
              <a:gd name="connsiteY58731" fmla="*/ 1271256 h 5973007"/>
              <a:gd name="connsiteX58732" fmla="*/ 1412442 w 6884782"/>
              <a:gd name="connsiteY58732" fmla="*/ 1270637 h 5973007"/>
              <a:gd name="connsiteX58733" fmla="*/ 1416366 w 6884782"/>
              <a:gd name="connsiteY58733" fmla="*/ 1274200 h 5973007"/>
              <a:gd name="connsiteX58734" fmla="*/ 1416572 w 6884782"/>
              <a:gd name="connsiteY58734" fmla="*/ 1278381 h 5973007"/>
              <a:gd name="connsiteX58735" fmla="*/ 1413784 w 6884782"/>
              <a:gd name="connsiteY58735" fmla="*/ 1278227 h 5973007"/>
              <a:gd name="connsiteX58736" fmla="*/ 1413681 w 6884782"/>
              <a:gd name="connsiteY58736" fmla="*/ 1278536 h 5973007"/>
              <a:gd name="connsiteX58737" fmla="*/ 1397470 w 6884782"/>
              <a:gd name="connsiteY58737" fmla="*/ 1279311 h 5973007"/>
              <a:gd name="connsiteX58738" fmla="*/ 1407589 w 6884782"/>
              <a:gd name="connsiteY58738" fmla="*/ 1267539 h 5973007"/>
              <a:gd name="connsiteX58739" fmla="*/ 3882319 w 6884782"/>
              <a:gd name="connsiteY58739" fmla="*/ 1267331 h 5973007"/>
              <a:gd name="connsiteX58740" fmla="*/ 3890855 w 6884782"/>
              <a:gd name="connsiteY58740" fmla="*/ 1275014 h 5973007"/>
              <a:gd name="connsiteX58741" fmla="*/ 3875489 w 6884782"/>
              <a:gd name="connsiteY58741" fmla="*/ 1273876 h 5973007"/>
              <a:gd name="connsiteX58742" fmla="*/ 3882319 w 6884782"/>
              <a:gd name="connsiteY58742" fmla="*/ 1267331 h 5973007"/>
              <a:gd name="connsiteX58743" fmla="*/ 4281200 w 6884782"/>
              <a:gd name="connsiteY58743" fmla="*/ 1266335 h 5973007"/>
              <a:gd name="connsiteX58744" fmla="*/ 4282267 w 6884782"/>
              <a:gd name="connsiteY58744" fmla="*/ 1269607 h 5973007"/>
              <a:gd name="connsiteX58745" fmla="*/ 4285468 w 6884782"/>
              <a:gd name="connsiteY58745" fmla="*/ 1268754 h 5973007"/>
              <a:gd name="connsiteX58746" fmla="*/ 4298487 w 6884782"/>
              <a:gd name="connsiteY58746" fmla="*/ 1277433 h 5973007"/>
              <a:gd name="connsiteX58747" fmla="*/ 4299127 w 6884782"/>
              <a:gd name="connsiteY58747" fmla="*/ 1284546 h 5973007"/>
              <a:gd name="connsiteX58748" fmla="*/ 4298700 w 6884782"/>
              <a:gd name="connsiteY58748" fmla="*/ 1285257 h 5973007"/>
              <a:gd name="connsiteX58749" fmla="*/ 4303395 w 6884782"/>
              <a:gd name="connsiteY58749" fmla="*/ 1286395 h 5973007"/>
              <a:gd name="connsiteX58750" fmla="*/ 4301262 w 6884782"/>
              <a:gd name="connsiteY58750" fmla="*/ 1293793 h 5973007"/>
              <a:gd name="connsiteX58751" fmla="*/ 4290377 w 6884782"/>
              <a:gd name="connsiteY58751" fmla="*/ 1291374 h 5973007"/>
              <a:gd name="connsiteX58752" fmla="*/ 4288670 w 6884782"/>
              <a:gd name="connsiteY58752" fmla="*/ 1290379 h 5973007"/>
              <a:gd name="connsiteX58753" fmla="*/ 4285255 w 6884782"/>
              <a:gd name="connsiteY58753" fmla="*/ 1290236 h 5973007"/>
              <a:gd name="connsiteX58754" fmla="*/ 4279066 w 6884782"/>
              <a:gd name="connsiteY58754" fmla="*/ 1285115 h 5973007"/>
              <a:gd name="connsiteX58755" fmla="*/ 4278212 w 6884782"/>
              <a:gd name="connsiteY58755" fmla="*/ 1272596 h 5973007"/>
              <a:gd name="connsiteX58756" fmla="*/ 4277785 w 6884782"/>
              <a:gd name="connsiteY58756" fmla="*/ 1273733 h 5973007"/>
              <a:gd name="connsiteX58757" fmla="*/ 4258364 w 6884782"/>
              <a:gd name="connsiteY58757" fmla="*/ 1276010 h 5973007"/>
              <a:gd name="connsiteX58758" fmla="*/ 4260925 w 6884782"/>
              <a:gd name="connsiteY58758" fmla="*/ 1273306 h 5973007"/>
              <a:gd name="connsiteX58759" fmla="*/ 4262419 w 6884782"/>
              <a:gd name="connsiteY58759" fmla="*/ 1272879 h 5973007"/>
              <a:gd name="connsiteX58760" fmla="*/ 4262846 w 6884782"/>
              <a:gd name="connsiteY58760" fmla="*/ 1271884 h 5973007"/>
              <a:gd name="connsiteX58761" fmla="*/ 4263913 w 6884782"/>
              <a:gd name="connsiteY58761" fmla="*/ 1272453 h 5973007"/>
              <a:gd name="connsiteX58762" fmla="*/ 4266901 w 6884782"/>
              <a:gd name="connsiteY58762" fmla="*/ 1271457 h 5973007"/>
              <a:gd name="connsiteX58763" fmla="*/ 4273090 w 6884782"/>
              <a:gd name="connsiteY58763" fmla="*/ 1266904 h 5973007"/>
              <a:gd name="connsiteX58764" fmla="*/ 4281200 w 6884782"/>
              <a:gd name="connsiteY58764" fmla="*/ 1266335 h 5973007"/>
              <a:gd name="connsiteX58765" fmla="*/ 4396446 w 6884782"/>
              <a:gd name="connsiteY58765" fmla="*/ 1266193 h 5973007"/>
              <a:gd name="connsiteX58766" fmla="*/ 4400075 w 6884782"/>
              <a:gd name="connsiteY58766" fmla="*/ 1267331 h 5973007"/>
              <a:gd name="connsiteX58767" fmla="*/ 4403917 w 6884782"/>
              <a:gd name="connsiteY58767" fmla="*/ 1274160 h 5973007"/>
              <a:gd name="connsiteX58768" fmla="*/ 4403489 w 6884782"/>
              <a:gd name="connsiteY58768" fmla="*/ 1279140 h 5973007"/>
              <a:gd name="connsiteX58769" fmla="*/ 4409679 w 6884782"/>
              <a:gd name="connsiteY58769" fmla="*/ 1279851 h 5973007"/>
              <a:gd name="connsiteX58770" fmla="*/ 4408825 w 6884782"/>
              <a:gd name="connsiteY58770" fmla="*/ 1286253 h 5973007"/>
              <a:gd name="connsiteX58771" fmla="*/ 4408612 w 6884782"/>
              <a:gd name="connsiteY58771" fmla="*/ 1286537 h 5973007"/>
              <a:gd name="connsiteX58772" fmla="*/ 4415441 w 6884782"/>
              <a:gd name="connsiteY58772" fmla="*/ 1285969 h 5973007"/>
              <a:gd name="connsiteX58773" fmla="*/ 4415441 w 6884782"/>
              <a:gd name="connsiteY58773" fmla="*/ 1291801 h 5973007"/>
              <a:gd name="connsiteX58774" fmla="*/ 4415014 w 6884782"/>
              <a:gd name="connsiteY58774" fmla="*/ 1295216 h 5973007"/>
              <a:gd name="connsiteX58775" fmla="*/ 4416295 w 6884782"/>
              <a:gd name="connsiteY58775" fmla="*/ 1295216 h 5973007"/>
              <a:gd name="connsiteX58776" fmla="*/ 4418216 w 6884782"/>
              <a:gd name="connsiteY58776" fmla="*/ 1301902 h 5973007"/>
              <a:gd name="connsiteX58777" fmla="*/ 4417148 w 6884782"/>
              <a:gd name="connsiteY58777" fmla="*/ 1303610 h 5973007"/>
              <a:gd name="connsiteX58778" fmla="*/ 4423124 w 6884782"/>
              <a:gd name="connsiteY58778" fmla="*/ 1303325 h 5973007"/>
              <a:gd name="connsiteX58779" fmla="*/ 4428459 w 6884782"/>
              <a:gd name="connsiteY58779" fmla="*/ 1305459 h 5973007"/>
              <a:gd name="connsiteX58780" fmla="*/ 4429527 w 6884782"/>
              <a:gd name="connsiteY58780" fmla="*/ 1308020 h 5973007"/>
              <a:gd name="connsiteX58781" fmla="*/ 4431234 w 6884782"/>
              <a:gd name="connsiteY58781" fmla="*/ 1305602 h 5973007"/>
              <a:gd name="connsiteX58782" fmla="*/ 4437850 w 6884782"/>
              <a:gd name="connsiteY58782" fmla="*/ 1302757 h 5973007"/>
              <a:gd name="connsiteX58783" fmla="*/ 4445320 w 6884782"/>
              <a:gd name="connsiteY58783" fmla="*/ 1303467 h 5973007"/>
              <a:gd name="connsiteX58784" fmla="*/ 4441051 w 6884782"/>
              <a:gd name="connsiteY58784" fmla="*/ 1310439 h 5973007"/>
              <a:gd name="connsiteX58785" fmla="*/ 4430594 w 6884782"/>
              <a:gd name="connsiteY58785" fmla="*/ 1311435 h 5973007"/>
              <a:gd name="connsiteX58786" fmla="*/ 4429527 w 6884782"/>
              <a:gd name="connsiteY58786" fmla="*/ 1309585 h 5973007"/>
              <a:gd name="connsiteX58787" fmla="*/ 4428459 w 6884782"/>
              <a:gd name="connsiteY58787" fmla="*/ 1314565 h 5973007"/>
              <a:gd name="connsiteX58788" fmla="*/ 4412880 w 6884782"/>
              <a:gd name="connsiteY58788" fmla="*/ 1324808 h 5973007"/>
              <a:gd name="connsiteX58789" fmla="*/ 4411386 w 6884782"/>
              <a:gd name="connsiteY58789" fmla="*/ 1312431 h 5973007"/>
              <a:gd name="connsiteX58790" fmla="*/ 4412667 w 6884782"/>
              <a:gd name="connsiteY58790" fmla="*/ 1306740 h 5973007"/>
              <a:gd name="connsiteX58791" fmla="*/ 4412240 w 6884782"/>
              <a:gd name="connsiteY58791" fmla="*/ 1306882 h 5973007"/>
              <a:gd name="connsiteX58792" fmla="*/ 4407545 w 6884782"/>
              <a:gd name="connsiteY58792" fmla="*/ 1305175 h 5973007"/>
              <a:gd name="connsiteX58793" fmla="*/ 4403703 w 6884782"/>
              <a:gd name="connsiteY58793" fmla="*/ 1299627 h 5973007"/>
              <a:gd name="connsiteX58794" fmla="*/ 4384068 w 6884782"/>
              <a:gd name="connsiteY58794" fmla="*/ 1300338 h 5973007"/>
              <a:gd name="connsiteX58795" fmla="*/ 4356537 w 6884782"/>
              <a:gd name="connsiteY58795" fmla="*/ 1301049 h 5973007"/>
              <a:gd name="connsiteX58796" fmla="*/ 4364647 w 6884782"/>
              <a:gd name="connsiteY58796" fmla="*/ 1295643 h 5973007"/>
              <a:gd name="connsiteX58797" fmla="*/ 4363793 w 6884782"/>
              <a:gd name="connsiteY58797" fmla="*/ 1294931 h 5973007"/>
              <a:gd name="connsiteX58798" fmla="*/ 4351629 w 6884782"/>
              <a:gd name="connsiteY58798" fmla="*/ 1293793 h 5973007"/>
              <a:gd name="connsiteX58799" fmla="*/ 4350988 w 6884782"/>
              <a:gd name="connsiteY58799" fmla="*/ 1282412 h 5973007"/>
              <a:gd name="connsiteX58800" fmla="*/ 4353122 w 6884782"/>
              <a:gd name="connsiteY58800" fmla="*/ 1278286 h 5973007"/>
              <a:gd name="connsiteX58801" fmla="*/ 4373824 w 6884782"/>
              <a:gd name="connsiteY58801" fmla="*/ 1290948 h 5973007"/>
              <a:gd name="connsiteX58802" fmla="*/ 4373611 w 6884782"/>
              <a:gd name="connsiteY58802" fmla="*/ 1291517 h 5973007"/>
              <a:gd name="connsiteX58803" fmla="*/ 4383642 w 6884782"/>
              <a:gd name="connsiteY58803" fmla="*/ 1288956 h 5973007"/>
              <a:gd name="connsiteX58804" fmla="*/ 4390898 w 6884782"/>
              <a:gd name="connsiteY58804" fmla="*/ 1288103 h 5973007"/>
              <a:gd name="connsiteX58805" fmla="*/ 4390258 w 6884782"/>
              <a:gd name="connsiteY58805" fmla="*/ 1287533 h 5973007"/>
              <a:gd name="connsiteX58806" fmla="*/ 4396446 w 6884782"/>
              <a:gd name="connsiteY58806" fmla="*/ 1266193 h 5973007"/>
              <a:gd name="connsiteX58807" fmla="*/ 1623085 w 6884782"/>
              <a:gd name="connsiteY58807" fmla="*/ 1266145 h 5973007"/>
              <a:gd name="connsiteX58808" fmla="*/ 1633513 w 6884782"/>
              <a:gd name="connsiteY58808" fmla="*/ 1279466 h 5973007"/>
              <a:gd name="connsiteX58809" fmla="*/ 1631552 w 6884782"/>
              <a:gd name="connsiteY58809" fmla="*/ 1281170 h 5973007"/>
              <a:gd name="connsiteX58810" fmla="*/ 1618645 w 6884782"/>
              <a:gd name="connsiteY58810" fmla="*/ 1271101 h 5973007"/>
              <a:gd name="connsiteX58811" fmla="*/ 1619987 w 6884782"/>
              <a:gd name="connsiteY58811" fmla="*/ 1267074 h 5973007"/>
              <a:gd name="connsiteX58812" fmla="*/ 1623085 w 6884782"/>
              <a:gd name="connsiteY58812" fmla="*/ 1266145 h 5973007"/>
              <a:gd name="connsiteX58813" fmla="*/ 3731858 w 6884782"/>
              <a:gd name="connsiteY58813" fmla="*/ 1265909 h 5973007"/>
              <a:gd name="connsiteX58814" fmla="*/ 3736553 w 6884782"/>
              <a:gd name="connsiteY58814" fmla="*/ 1271173 h 5973007"/>
              <a:gd name="connsiteX58815" fmla="*/ 3729297 w 6884782"/>
              <a:gd name="connsiteY58815" fmla="*/ 1268896 h 5973007"/>
              <a:gd name="connsiteX58816" fmla="*/ 3731858 w 6884782"/>
              <a:gd name="connsiteY58816" fmla="*/ 1265909 h 5973007"/>
              <a:gd name="connsiteX58817" fmla="*/ 4755846 w 6884782"/>
              <a:gd name="connsiteY58817" fmla="*/ 1264912 h 5973007"/>
              <a:gd name="connsiteX58818" fmla="*/ 4759047 w 6884782"/>
              <a:gd name="connsiteY58818" fmla="*/ 1270746 h 5973007"/>
              <a:gd name="connsiteX58819" fmla="*/ 4760754 w 6884782"/>
              <a:gd name="connsiteY58819" fmla="*/ 1276437 h 5973007"/>
              <a:gd name="connsiteX58820" fmla="*/ 4745388 w 6884782"/>
              <a:gd name="connsiteY58820" fmla="*/ 1276010 h 5973007"/>
              <a:gd name="connsiteX58821" fmla="*/ 4746668 w 6884782"/>
              <a:gd name="connsiteY58821" fmla="*/ 1270034 h 5973007"/>
              <a:gd name="connsiteX58822" fmla="*/ 4755846 w 6884782"/>
              <a:gd name="connsiteY58822" fmla="*/ 1264912 h 5973007"/>
              <a:gd name="connsiteX58823" fmla="*/ 1356890 w 6884782"/>
              <a:gd name="connsiteY58823" fmla="*/ 1264751 h 5973007"/>
              <a:gd name="connsiteX58824" fmla="*/ 1358232 w 6884782"/>
              <a:gd name="connsiteY58824" fmla="*/ 1266764 h 5973007"/>
              <a:gd name="connsiteX58825" fmla="*/ 1357097 w 6884782"/>
              <a:gd name="connsiteY58825" fmla="*/ 1269398 h 5973007"/>
              <a:gd name="connsiteX58826" fmla="*/ 1359471 w 6884782"/>
              <a:gd name="connsiteY58826" fmla="*/ 1269707 h 5973007"/>
              <a:gd name="connsiteX58827" fmla="*/ 1370624 w 6884782"/>
              <a:gd name="connsiteY58827" fmla="*/ 1300067 h 5973007"/>
              <a:gd name="connsiteX58828" fmla="*/ 1365667 w 6884782"/>
              <a:gd name="connsiteY58828" fmla="*/ 1304249 h 5973007"/>
              <a:gd name="connsiteX58829" fmla="*/ 1367009 w 6884782"/>
              <a:gd name="connsiteY58829" fmla="*/ 1305643 h 5973007"/>
              <a:gd name="connsiteX58830" fmla="*/ 1367732 w 6884782"/>
              <a:gd name="connsiteY58830" fmla="*/ 1309825 h 5973007"/>
              <a:gd name="connsiteX58831" fmla="*/ 1359988 w 6884782"/>
              <a:gd name="connsiteY58831" fmla="*/ 1310910 h 5973007"/>
              <a:gd name="connsiteX58832" fmla="*/ 1357200 w 6884782"/>
              <a:gd name="connsiteY58832" fmla="*/ 1307967 h 5973007"/>
              <a:gd name="connsiteX58833" fmla="*/ 1354928 w 6884782"/>
              <a:gd name="connsiteY58833" fmla="*/ 1305024 h 5973007"/>
              <a:gd name="connsiteX58834" fmla="*/ 1349043 w 6884782"/>
              <a:gd name="connsiteY58834" fmla="*/ 1303475 h 5973007"/>
              <a:gd name="connsiteX58835" fmla="*/ 1329321 w 6884782"/>
              <a:gd name="connsiteY58835" fmla="*/ 1278691 h 5973007"/>
              <a:gd name="connsiteX58836" fmla="*/ 1351521 w 6884782"/>
              <a:gd name="connsiteY58836" fmla="*/ 1269862 h 5973007"/>
              <a:gd name="connsiteX58837" fmla="*/ 1353793 w 6884782"/>
              <a:gd name="connsiteY58837" fmla="*/ 1269552 h 5973007"/>
              <a:gd name="connsiteX58838" fmla="*/ 1355135 w 6884782"/>
              <a:gd name="connsiteY58838" fmla="*/ 1265680 h 5973007"/>
              <a:gd name="connsiteX58839" fmla="*/ 1356890 w 6884782"/>
              <a:gd name="connsiteY58839" fmla="*/ 1264751 h 5973007"/>
              <a:gd name="connsiteX58840" fmla="*/ 4660020 w 6884782"/>
              <a:gd name="connsiteY58840" fmla="*/ 1263917 h 5973007"/>
              <a:gd name="connsiteX58841" fmla="*/ 4664288 w 6884782"/>
              <a:gd name="connsiteY58841" fmla="*/ 1264628 h 5973007"/>
              <a:gd name="connsiteX58842" fmla="*/ 4666209 w 6884782"/>
              <a:gd name="connsiteY58842" fmla="*/ 1270461 h 5973007"/>
              <a:gd name="connsiteX58843" fmla="*/ 4660874 w 6884782"/>
              <a:gd name="connsiteY58843" fmla="*/ 1276152 h 5973007"/>
              <a:gd name="connsiteX58844" fmla="*/ 4661087 w 6884782"/>
              <a:gd name="connsiteY58844" fmla="*/ 1277148 h 5973007"/>
              <a:gd name="connsiteX58845" fmla="*/ 4649562 w 6884782"/>
              <a:gd name="connsiteY58845" fmla="*/ 1280420 h 5973007"/>
              <a:gd name="connsiteX58846" fmla="*/ 4647215 w 6884782"/>
              <a:gd name="connsiteY58846" fmla="*/ 1278855 h 5973007"/>
              <a:gd name="connsiteX58847" fmla="*/ 4646788 w 6884782"/>
              <a:gd name="connsiteY58847" fmla="*/ 1278855 h 5973007"/>
              <a:gd name="connsiteX58848" fmla="*/ 4647642 w 6884782"/>
              <a:gd name="connsiteY58848" fmla="*/ 1267901 h 5973007"/>
              <a:gd name="connsiteX58849" fmla="*/ 4651270 w 6884782"/>
              <a:gd name="connsiteY58849" fmla="*/ 1265197 h 5973007"/>
              <a:gd name="connsiteX58850" fmla="*/ 4656392 w 6884782"/>
              <a:gd name="connsiteY58850" fmla="*/ 1265055 h 5973007"/>
              <a:gd name="connsiteX58851" fmla="*/ 4660020 w 6884782"/>
              <a:gd name="connsiteY58851" fmla="*/ 1263917 h 5973007"/>
              <a:gd name="connsiteX58852" fmla="*/ 1530464 w 6884782"/>
              <a:gd name="connsiteY58852" fmla="*/ 1263822 h 5973007"/>
              <a:gd name="connsiteX58853" fmla="*/ 1532529 w 6884782"/>
              <a:gd name="connsiteY58853" fmla="*/ 1263976 h 5973007"/>
              <a:gd name="connsiteX58854" fmla="*/ 1533045 w 6884782"/>
              <a:gd name="connsiteY58854" fmla="*/ 1264751 h 5973007"/>
              <a:gd name="connsiteX58855" fmla="*/ 1534904 w 6884782"/>
              <a:gd name="connsiteY58855" fmla="*/ 1267694 h 5973007"/>
              <a:gd name="connsiteX58856" fmla="*/ 1532116 w 6884782"/>
              <a:gd name="connsiteY58856" fmla="*/ 1271101 h 5973007"/>
              <a:gd name="connsiteX58857" fmla="*/ 1527882 w 6884782"/>
              <a:gd name="connsiteY58857" fmla="*/ 1267384 h 5973007"/>
              <a:gd name="connsiteX58858" fmla="*/ 1530464 w 6884782"/>
              <a:gd name="connsiteY58858" fmla="*/ 1263822 h 5973007"/>
              <a:gd name="connsiteX58859" fmla="*/ 4831183 w 6884782"/>
              <a:gd name="connsiteY58859" fmla="*/ 1263632 h 5973007"/>
              <a:gd name="connsiteX58860" fmla="*/ 4832036 w 6884782"/>
              <a:gd name="connsiteY58860" fmla="*/ 1264343 h 5973007"/>
              <a:gd name="connsiteX58861" fmla="*/ 4831610 w 6884782"/>
              <a:gd name="connsiteY58861" fmla="*/ 1267189 h 5973007"/>
              <a:gd name="connsiteX58862" fmla="*/ 4827128 w 6884782"/>
              <a:gd name="connsiteY58862" fmla="*/ 1270034 h 5973007"/>
              <a:gd name="connsiteX58863" fmla="*/ 4815817 w 6884782"/>
              <a:gd name="connsiteY58863" fmla="*/ 1273164 h 5973007"/>
              <a:gd name="connsiteX58864" fmla="*/ 4813469 w 6884782"/>
              <a:gd name="connsiteY58864" fmla="*/ 1274587 h 5973007"/>
              <a:gd name="connsiteX58865" fmla="*/ 4831183 w 6884782"/>
              <a:gd name="connsiteY58865" fmla="*/ 1263632 h 5973007"/>
              <a:gd name="connsiteX58866" fmla="*/ 4336689 w 6884782"/>
              <a:gd name="connsiteY58866" fmla="*/ 1263205 h 5973007"/>
              <a:gd name="connsiteX58867" fmla="*/ 4345653 w 6884782"/>
              <a:gd name="connsiteY58867" fmla="*/ 1272879 h 5973007"/>
              <a:gd name="connsiteX58868" fmla="*/ 4342238 w 6884782"/>
              <a:gd name="connsiteY58868" fmla="*/ 1278143 h 5973007"/>
              <a:gd name="connsiteX58869" fmla="*/ 4343732 w 6884782"/>
              <a:gd name="connsiteY58869" fmla="*/ 1278286 h 5973007"/>
              <a:gd name="connsiteX58870" fmla="*/ 4345866 w 6884782"/>
              <a:gd name="connsiteY58870" fmla="*/ 1281132 h 5973007"/>
              <a:gd name="connsiteX58871" fmla="*/ 4347574 w 6884782"/>
              <a:gd name="connsiteY58871" fmla="*/ 1290094 h 5973007"/>
              <a:gd name="connsiteX58872" fmla="*/ 4340317 w 6884782"/>
              <a:gd name="connsiteY58872" fmla="*/ 1287392 h 5973007"/>
              <a:gd name="connsiteX58873" fmla="*/ 4339250 w 6884782"/>
              <a:gd name="connsiteY58873" fmla="*/ 1278855 h 5973007"/>
              <a:gd name="connsiteX58874" fmla="*/ 4334555 w 6884782"/>
              <a:gd name="connsiteY58874" fmla="*/ 1279567 h 5973007"/>
              <a:gd name="connsiteX58875" fmla="*/ 4330073 w 6884782"/>
              <a:gd name="connsiteY58875" fmla="*/ 1268896 h 5973007"/>
              <a:gd name="connsiteX58876" fmla="*/ 4336689 w 6884782"/>
              <a:gd name="connsiteY58876" fmla="*/ 1263205 h 5973007"/>
              <a:gd name="connsiteX58877" fmla="*/ 1129210 w 6884782"/>
              <a:gd name="connsiteY58877" fmla="*/ 1262892 h 5973007"/>
              <a:gd name="connsiteX58878" fmla="*/ 1134373 w 6884782"/>
              <a:gd name="connsiteY58878" fmla="*/ 1263356 h 5973007"/>
              <a:gd name="connsiteX58879" fmla="*/ 1134270 w 6884782"/>
              <a:gd name="connsiteY58879" fmla="*/ 1270946 h 5973007"/>
              <a:gd name="connsiteX58880" fmla="*/ 1128281 w 6884782"/>
              <a:gd name="connsiteY58880" fmla="*/ 1269398 h 5973007"/>
              <a:gd name="connsiteX58881" fmla="*/ 1126939 w 6884782"/>
              <a:gd name="connsiteY58881" fmla="*/ 1267074 h 5973007"/>
              <a:gd name="connsiteX58882" fmla="*/ 1127455 w 6884782"/>
              <a:gd name="connsiteY58882" fmla="*/ 1264441 h 5973007"/>
              <a:gd name="connsiteX58883" fmla="*/ 1129210 w 6884782"/>
              <a:gd name="connsiteY58883" fmla="*/ 1262892 h 5973007"/>
              <a:gd name="connsiteX58884" fmla="*/ 3442034 w 6884782"/>
              <a:gd name="connsiteY58884" fmla="*/ 1262352 h 5973007"/>
              <a:gd name="connsiteX58885" fmla="*/ 3444381 w 6884782"/>
              <a:gd name="connsiteY58885" fmla="*/ 1263917 h 5973007"/>
              <a:gd name="connsiteX58886" fmla="*/ 3449717 w 6884782"/>
              <a:gd name="connsiteY58886" fmla="*/ 1269750 h 5973007"/>
              <a:gd name="connsiteX58887" fmla="*/ 3446302 w 6884782"/>
              <a:gd name="connsiteY58887" fmla="*/ 1270461 h 5973007"/>
              <a:gd name="connsiteX58888" fmla="*/ 3444168 w 6884782"/>
              <a:gd name="connsiteY58888" fmla="*/ 1267616 h 5973007"/>
              <a:gd name="connsiteX58889" fmla="*/ 3441820 w 6884782"/>
              <a:gd name="connsiteY58889" fmla="*/ 1266051 h 5973007"/>
              <a:gd name="connsiteX58890" fmla="*/ 3442034 w 6884782"/>
              <a:gd name="connsiteY58890" fmla="*/ 1262352 h 5973007"/>
              <a:gd name="connsiteX58891" fmla="*/ 5234973 w 6884782"/>
              <a:gd name="connsiteY58891" fmla="*/ 1261214 h 5973007"/>
              <a:gd name="connsiteX58892" fmla="*/ 5198905 w 6884782"/>
              <a:gd name="connsiteY58892" fmla="*/ 1272879 h 5973007"/>
              <a:gd name="connsiteX58893" fmla="*/ 5234973 w 6884782"/>
              <a:gd name="connsiteY58893" fmla="*/ 1261214 h 5973007"/>
              <a:gd name="connsiteX58894" fmla="*/ 4962436 w 6884782"/>
              <a:gd name="connsiteY58894" fmla="*/ 1261214 h 5973007"/>
              <a:gd name="connsiteX58895" fmla="*/ 4963716 w 6884782"/>
              <a:gd name="connsiteY58895" fmla="*/ 1262352 h 5973007"/>
              <a:gd name="connsiteX58896" fmla="*/ 4958167 w 6884782"/>
              <a:gd name="connsiteY58896" fmla="*/ 1265197 h 5973007"/>
              <a:gd name="connsiteX58897" fmla="*/ 4962436 w 6884782"/>
              <a:gd name="connsiteY58897" fmla="*/ 1261214 h 5973007"/>
              <a:gd name="connsiteX58898" fmla="*/ 4042597 w 6884782"/>
              <a:gd name="connsiteY58898" fmla="*/ 1260930 h 5973007"/>
              <a:gd name="connsiteX58899" fmla="*/ 4046865 w 6884782"/>
              <a:gd name="connsiteY58899" fmla="*/ 1261498 h 5973007"/>
              <a:gd name="connsiteX58900" fmla="*/ 4045798 w 6884782"/>
              <a:gd name="connsiteY58900" fmla="*/ 1261498 h 5973007"/>
              <a:gd name="connsiteX58901" fmla="*/ 4047079 w 6884782"/>
              <a:gd name="connsiteY58901" fmla="*/ 1262637 h 5973007"/>
              <a:gd name="connsiteX58902" fmla="*/ 4030645 w 6884782"/>
              <a:gd name="connsiteY58902" fmla="*/ 1264343 h 5973007"/>
              <a:gd name="connsiteX58903" fmla="*/ 4030645 w 6884782"/>
              <a:gd name="connsiteY58903" fmla="*/ 1263205 h 5973007"/>
              <a:gd name="connsiteX58904" fmla="*/ 4042597 w 6884782"/>
              <a:gd name="connsiteY58904" fmla="*/ 1260930 h 5973007"/>
              <a:gd name="connsiteX58905" fmla="*/ 4358671 w 6884782"/>
              <a:gd name="connsiteY58905" fmla="*/ 1260502 h 5973007"/>
              <a:gd name="connsiteX58906" fmla="*/ 4360806 w 6884782"/>
              <a:gd name="connsiteY58906" fmla="*/ 1261498 h 5973007"/>
              <a:gd name="connsiteX58907" fmla="*/ 4353763 w 6884782"/>
              <a:gd name="connsiteY58907" fmla="*/ 1261214 h 5973007"/>
              <a:gd name="connsiteX58908" fmla="*/ 4358671 w 6884782"/>
              <a:gd name="connsiteY58908" fmla="*/ 1260502 h 5973007"/>
              <a:gd name="connsiteX58909" fmla="*/ 4023602 w 6884782"/>
              <a:gd name="connsiteY58909" fmla="*/ 1260360 h 5973007"/>
              <a:gd name="connsiteX58910" fmla="*/ 4024670 w 6884782"/>
              <a:gd name="connsiteY58910" fmla="*/ 1261640 h 5973007"/>
              <a:gd name="connsiteX58911" fmla="*/ 4018907 w 6884782"/>
              <a:gd name="connsiteY58911" fmla="*/ 1263775 h 5973007"/>
              <a:gd name="connsiteX58912" fmla="*/ 4023602 w 6884782"/>
              <a:gd name="connsiteY58912" fmla="*/ 1260360 h 5973007"/>
              <a:gd name="connsiteX58913" fmla="*/ 1215933 w 6884782"/>
              <a:gd name="connsiteY58913" fmla="*/ 1260123 h 5973007"/>
              <a:gd name="connsiteX58914" fmla="*/ 1222244 w 6884782"/>
              <a:gd name="connsiteY58914" fmla="*/ 1266300 h 5973007"/>
              <a:gd name="connsiteX58915" fmla="*/ 1219353 w 6884782"/>
              <a:gd name="connsiteY58915" fmla="*/ 1268313 h 5973007"/>
              <a:gd name="connsiteX58916" fmla="*/ 1207685 w 6884782"/>
              <a:gd name="connsiteY58916" fmla="*/ 1260568 h 5973007"/>
              <a:gd name="connsiteX58917" fmla="*/ 1215933 w 6884782"/>
              <a:gd name="connsiteY58917" fmla="*/ 1260123 h 5973007"/>
              <a:gd name="connsiteX58918" fmla="*/ 1370004 w 6884782"/>
              <a:gd name="connsiteY58918" fmla="*/ 1260104 h 5973007"/>
              <a:gd name="connsiteX58919" fmla="*/ 1372069 w 6884782"/>
              <a:gd name="connsiteY58919" fmla="*/ 1272496 h 5973007"/>
              <a:gd name="connsiteX58920" fmla="*/ 1365357 w 6884782"/>
              <a:gd name="connsiteY58920" fmla="*/ 1267848 h 5973007"/>
              <a:gd name="connsiteX58921" fmla="*/ 1370004 w 6884782"/>
              <a:gd name="connsiteY58921" fmla="*/ 1260104 h 5973007"/>
              <a:gd name="connsiteX58922" fmla="*/ 4933197 w 6884782"/>
              <a:gd name="connsiteY58922" fmla="*/ 1260075 h 5973007"/>
              <a:gd name="connsiteX58923" fmla="*/ 4957314 w 6884782"/>
              <a:gd name="connsiteY58923" fmla="*/ 1276437 h 5973007"/>
              <a:gd name="connsiteX58924" fmla="*/ 4959448 w 6884782"/>
              <a:gd name="connsiteY58924" fmla="*/ 1299768 h 5973007"/>
              <a:gd name="connsiteX58925" fmla="*/ 4958808 w 6884782"/>
              <a:gd name="connsiteY58925" fmla="*/ 1300907 h 5973007"/>
              <a:gd name="connsiteX58926" fmla="*/ 4960302 w 6884782"/>
              <a:gd name="connsiteY58926" fmla="*/ 1299484 h 5973007"/>
              <a:gd name="connsiteX58927" fmla="*/ 4963076 w 6884782"/>
              <a:gd name="connsiteY58927" fmla="*/ 1299627 h 5973007"/>
              <a:gd name="connsiteX58928" fmla="*/ 4968412 w 6884782"/>
              <a:gd name="connsiteY58928" fmla="*/ 1301618 h 5973007"/>
              <a:gd name="connsiteX58929" fmla="*/ 4967985 w 6884782"/>
              <a:gd name="connsiteY58929" fmla="*/ 1306029 h 5973007"/>
              <a:gd name="connsiteX58930" fmla="*/ 4963503 w 6884782"/>
              <a:gd name="connsiteY58930" fmla="*/ 1309159 h 5973007"/>
              <a:gd name="connsiteX58931" fmla="*/ 4954112 w 6884782"/>
              <a:gd name="connsiteY58931" fmla="*/ 1309159 h 5973007"/>
              <a:gd name="connsiteX58932" fmla="*/ 4954753 w 6884782"/>
              <a:gd name="connsiteY58932" fmla="*/ 1307024 h 5973007"/>
              <a:gd name="connsiteX58933" fmla="*/ 4943228 w 6884782"/>
              <a:gd name="connsiteY58933" fmla="*/ 1305602 h 5973007"/>
              <a:gd name="connsiteX58934" fmla="*/ 4933838 w 6884782"/>
              <a:gd name="connsiteY58934" fmla="*/ 1299484 h 5973007"/>
              <a:gd name="connsiteX58935" fmla="*/ 4930210 w 6884782"/>
              <a:gd name="connsiteY58935" fmla="*/ 1293936 h 5973007"/>
              <a:gd name="connsiteX58936" fmla="*/ 4929142 w 6884782"/>
              <a:gd name="connsiteY58936" fmla="*/ 1298915 h 5973007"/>
              <a:gd name="connsiteX58937" fmla="*/ 4917831 w 6884782"/>
              <a:gd name="connsiteY58937" fmla="*/ 1315987 h 5973007"/>
              <a:gd name="connsiteX58938" fmla="*/ 4909721 w 6884782"/>
              <a:gd name="connsiteY58938" fmla="*/ 1302757 h 5973007"/>
              <a:gd name="connsiteX58939" fmla="*/ 4925514 w 6884782"/>
              <a:gd name="connsiteY58939" fmla="*/ 1281416 h 5973007"/>
              <a:gd name="connsiteX58940" fmla="*/ 4926154 w 6884782"/>
              <a:gd name="connsiteY58940" fmla="*/ 1281416 h 5973007"/>
              <a:gd name="connsiteX58941" fmla="*/ 4926368 w 6884782"/>
              <a:gd name="connsiteY58941" fmla="*/ 1272026 h 5973007"/>
              <a:gd name="connsiteX58942" fmla="*/ 4929782 w 6884782"/>
              <a:gd name="connsiteY58942" fmla="*/ 1261640 h 5973007"/>
              <a:gd name="connsiteX58943" fmla="*/ 4933197 w 6884782"/>
              <a:gd name="connsiteY58943" fmla="*/ 1260075 h 5973007"/>
              <a:gd name="connsiteX58944" fmla="*/ 4637611 w 6884782"/>
              <a:gd name="connsiteY58944" fmla="*/ 1259791 h 5973007"/>
              <a:gd name="connsiteX58945" fmla="*/ 4643160 w 6884782"/>
              <a:gd name="connsiteY58945" fmla="*/ 1273876 h 5973007"/>
              <a:gd name="connsiteX58946" fmla="*/ 4646788 w 6884782"/>
              <a:gd name="connsiteY58946" fmla="*/ 1287249 h 5973007"/>
              <a:gd name="connsiteX58947" fmla="*/ 4645081 w 6884782"/>
              <a:gd name="connsiteY58947" fmla="*/ 1291517 h 5973007"/>
              <a:gd name="connsiteX58948" fmla="*/ 4645934 w 6884782"/>
              <a:gd name="connsiteY58948" fmla="*/ 1291944 h 5973007"/>
              <a:gd name="connsiteX58949" fmla="*/ 4641453 w 6884782"/>
              <a:gd name="connsiteY58949" fmla="*/ 1298915 h 5973007"/>
              <a:gd name="connsiteX58950" fmla="*/ 4638251 w 6884782"/>
              <a:gd name="connsiteY58950" fmla="*/ 1295643 h 5973007"/>
              <a:gd name="connsiteX58951" fmla="*/ 4636117 w 6884782"/>
              <a:gd name="connsiteY58951" fmla="*/ 1296212 h 5973007"/>
              <a:gd name="connsiteX58952" fmla="*/ 4635050 w 6884782"/>
              <a:gd name="connsiteY58952" fmla="*/ 1304605 h 5973007"/>
              <a:gd name="connsiteX58953" fmla="*/ 4632275 w 6884782"/>
              <a:gd name="connsiteY58953" fmla="*/ 1312573 h 5973007"/>
              <a:gd name="connsiteX58954" fmla="*/ 4628647 w 6884782"/>
              <a:gd name="connsiteY58954" fmla="*/ 1281558 h 5973007"/>
              <a:gd name="connsiteX58955" fmla="*/ 4634410 w 6884782"/>
              <a:gd name="connsiteY58955" fmla="*/ 1287249 h 5973007"/>
              <a:gd name="connsiteX58956" fmla="*/ 4634623 w 6884782"/>
              <a:gd name="connsiteY58956" fmla="*/ 1288529 h 5973007"/>
              <a:gd name="connsiteX58957" fmla="*/ 4634837 w 6884782"/>
              <a:gd name="connsiteY58957" fmla="*/ 1286680 h 5973007"/>
              <a:gd name="connsiteX58958" fmla="*/ 4637611 w 6884782"/>
              <a:gd name="connsiteY58958" fmla="*/ 1259791 h 5973007"/>
              <a:gd name="connsiteX58959" fmla="*/ 1311845 w 6884782"/>
              <a:gd name="connsiteY58959" fmla="*/ 1259755 h 5973007"/>
              <a:gd name="connsiteX58960" fmla="*/ 1316620 w 6884782"/>
              <a:gd name="connsiteY58960" fmla="*/ 1259794 h 5973007"/>
              <a:gd name="connsiteX58961" fmla="*/ 1308360 w 6884782"/>
              <a:gd name="connsiteY58961" fmla="*/ 1265990 h 5973007"/>
              <a:gd name="connsiteX58962" fmla="*/ 1308153 w 6884782"/>
              <a:gd name="connsiteY58962" fmla="*/ 1263667 h 5973007"/>
              <a:gd name="connsiteX58963" fmla="*/ 1311845 w 6884782"/>
              <a:gd name="connsiteY58963" fmla="*/ 1259755 h 5973007"/>
              <a:gd name="connsiteX58964" fmla="*/ 3481090 w 6884782"/>
              <a:gd name="connsiteY58964" fmla="*/ 1259506 h 5973007"/>
              <a:gd name="connsiteX58965" fmla="*/ 3483651 w 6884782"/>
              <a:gd name="connsiteY58965" fmla="*/ 1260360 h 5973007"/>
              <a:gd name="connsiteX58966" fmla="*/ 3480876 w 6884782"/>
              <a:gd name="connsiteY58966" fmla="*/ 1276010 h 5973007"/>
              <a:gd name="connsiteX58967" fmla="*/ 3479169 w 6884782"/>
              <a:gd name="connsiteY58967" fmla="*/ 1277717 h 5973007"/>
              <a:gd name="connsiteX58968" fmla="*/ 3482583 w 6884782"/>
              <a:gd name="connsiteY58968" fmla="*/ 1277575 h 5973007"/>
              <a:gd name="connsiteX58969" fmla="*/ 3485785 w 6884782"/>
              <a:gd name="connsiteY58969" fmla="*/ 1286111 h 5973007"/>
              <a:gd name="connsiteX58970" fmla="*/ 3474473 w 6884782"/>
              <a:gd name="connsiteY58970" fmla="*/ 1292371 h 5973007"/>
              <a:gd name="connsiteX58971" fmla="*/ 3470632 w 6884782"/>
              <a:gd name="connsiteY58971" fmla="*/ 1287249 h 5973007"/>
              <a:gd name="connsiteX58972" fmla="*/ 3471059 w 6884782"/>
              <a:gd name="connsiteY58972" fmla="*/ 1284262 h 5973007"/>
              <a:gd name="connsiteX58973" fmla="*/ 3469778 w 6884782"/>
              <a:gd name="connsiteY58973" fmla="*/ 1284262 h 5973007"/>
              <a:gd name="connsiteX58974" fmla="*/ 3471059 w 6884782"/>
              <a:gd name="connsiteY58974" fmla="*/ 1280278 h 5973007"/>
              <a:gd name="connsiteX58975" fmla="*/ 3469778 w 6884782"/>
              <a:gd name="connsiteY58975" fmla="*/ 1280420 h 5973007"/>
              <a:gd name="connsiteX58976" fmla="*/ 3469565 w 6884782"/>
              <a:gd name="connsiteY58976" fmla="*/ 1274729 h 5973007"/>
              <a:gd name="connsiteX58977" fmla="*/ 3473620 w 6884782"/>
              <a:gd name="connsiteY58977" fmla="*/ 1273306 h 5973007"/>
              <a:gd name="connsiteX58978" fmla="*/ 3474687 w 6884782"/>
              <a:gd name="connsiteY58978" fmla="*/ 1270177 h 5973007"/>
              <a:gd name="connsiteX58979" fmla="*/ 3478955 w 6884782"/>
              <a:gd name="connsiteY58979" fmla="*/ 1261498 h 5973007"/>
              <a:gd name="connsiteX58980" fmla="*/ 3481090 w 6884782"/>
              <a:gd name="connsiteY58980" fmla="*/ 1259506 h 5973007"/>
              <a:gd name="connsiteX58981" fmla="*/ 3451210 w 6884782"/>
              <a:gd name="connsiteY58981" fmla="*/ 1259365 h 5973007"/>
              <a:gd name="connsiteX58982" fmla="*/ 3453558 w 6884782"/>
              <a:gd name="connsiteY58982" fmla="*/ 1259365 h 5973007"/>
              <a:gd name="connsiteX58983" fmla="*/ 3454839 w 6884782"/>
              <a:gd name="connsiteY58983" fmla="*/ 1259933 h 5973007"/>
              <a:gd name="connsiteX58984" fmla="*/ 3455906 w 6884782"/>
              <a:gd name="connsiteY58984" fmla="*/ 1262495 h 5973007"/>
              <a:gd name="connsiteX58985" fmla="*/ 3459534 w 6884782"/>
              <a:gd name="connsiteY58985" fmla="*/ 1264202 h 5973007"/>
              <a:gd name="connsiteX58986" fmla="*/ 3459321 w 6884782"/>
              <a:gd name="connsiteY58986" fmla="*/ 1266478 h 5973007"/>
              <a:gd name="connsiteX58987" fmla="*/ 3452278 w 6884782"/>
              <a:gd name="connsiteY58987" fmla="*/ 1262921 h 5973007"/>
              <a:gd name="connsiteX58988" fmla="*/ 3451210 w 6884782"/>
              <a:gd name="connsiteY58988" fmla="*/ 1259365 h 5973007"/>
              <a:gd name="connsiteX58989" fmla="*/ 1483779 w 6884782"/>
              <a:gd name="connsiteY58989" fmla="*/ 1258884 h 5973007"/>
              <a:gd name="connsiteX58990" fmla="*/ 1495770 w 6884782"/>
              <a:gd name="connsiteY58990" fmla="*/ 1261033 h 5973007"/>
              <a:gd name="connsiteX58991" fmla="*/ 1479662 w 6884782"/>
              <a:gd name="connsiteY58991" fmla="*/ 1274354 h 5973007"/>
              <a:gd name="connsiteX58992" fmla="*/ 1475738 w 6884782"/>
              <a:gd name="connsiteY58992" fmla="*/ 1267074 h 5973007"/>
              <a:gd name="connsiteX58993" fmla="*/ 1483779 w 6884782"/>
              <a:gd name="connsiteY58993" fmla="*/ 1258884 h 5973007"/>
              <a:gd name="connsiteX58994" fmla="*/ 3911770 w 6884782"/>
              <a:gd name="connsiteY58994" fmla="*/ 1258653 h 5973007"/>
              <a:gd name="connsiteX58995" fmla="*/ 3913478 w 6884782"/>
              <a:gd name="connsiteY58995" fmla="*/ 1259365 h 5973007"/>
              <a:gd name="connsiteX58996" fmla="*/ 3915612 w 6884782"/>
              <a:gd name="connsiteY58996" fmla="*/ 1260645 h 5973007"/>
              <a:gd name="connsiteX58997" fmla="*/ 3913478 w 6884782"/>
              <a:gd name="connsiteY58997" fmla="*/ 1271173 h 5973007"/>
              <a:gd name="connsiteX58998" fmla="*/ 3903661 w 6884782"/>
              <a:gd name="connsiteY58998" fmla="*/ 1269466 h 5973007"/>
              <a:gd name="connsiteX58999" fmla="*/ 3903447 w 6884782"/>
              <a:gd name="connsiteY58999" fmla="*/ 1266762 h 5973007"/>
              <a:gd name="connsiteX59000" fmla="*/ 3904087 w 6884782"/>
              <a:gd name="connsiteY59000" fmla="*/ 1263917 h 5973007"/>
              <a:gd name="connsiteX59001" fmla="*/ 3908356 w 6884782"/>
              <a:gd name="connsiteY59001" fmla="*/ 1259080 h 5973007"/>
              <a:gd name="connsiteX59002" fmla="*/ 3911770 w 6884782"/>
              <a:gd name="connsiteY59002" fmla="*/ 1258653 h 5973007"/>
              <a:gd name="connsiteX59003" fmla="*/ 1336755 w 6884782"/>
              <a:gd name="connsiteY59003" fmla="*/ 1258400 h 5973007"/>
              <a:gd name="connsiteX59004" fmla="*/ 1338924 w 6884782"/>
              <a:gd name="connsiteY59004" fmla="*/ 1259949 h 5973007"/>
              <a:gd name="connsiteX59005" fmla="*/ 1338304 w 6884782"/>
              <a:gd name="connsiteY59005" fmla="*/ 1262272 h 5973007"/>
              <a:gd name="connsiteX59006" fmla="*/ 1338407 w 6884782"/>
              <a:gd name="connsiteY59006" fmla="*/ 1264131 h 5973007"/>
              <a:gd name="connsiteX59007" fmla="*/ 1336033 w 6884782"/>
              <a:gd name="connsiteY59007" fmla="*/ 1265680 h 5973007"/>
              <a:gd name="connsiteX59008" fmla="*/ 1335929 w 6884782"/>
              <a:gd name="connsiteY59008" fmla="*/ 1263822 h 5973007"/>
              <a:gd name="connsiteX59009" fmla="*/ 1336755 w 6884782"/>
              <a:gd name="connsiteY59009" fmla="*/ 1258400 h 5973007"/>
              <a:gd name="connsiteX59010" fmla="*/ 4801944 w 6884782"/>
              <a:gd name="connsiteY59010" fmla="*/ 1258226 h 5973007"/>
              <a:gd name="connsiteX59011" fmla="*/ 4813682 w 6884782"/>
              <a:gd name="connsiteY59011" fmla="*/ 1270177 h 5973007"/>
              <a:gd name="connsiteX59012" fmla="*/ 4806426 w 6884782"/>
              <a:gd name="connsiteY59012" fmla="*/ 1267189 h 5973007"/>
              <a:gd name="connsiteX59013" fmla="*/ 4800237 w 6884782"/>
              <a:gd name="connsiteY59013" fmla="*/ 1258653 h 5973007"/>
              <a:gd name="connsiteX59014" fmla="*/ 4801944 w 6884782"/>
              <a:gd name="connsiteY59014" fmla="*/ 1258226 h 5973007"/>
              <a:gd name="connsiteX59015" fmla="*/ 1121466 w 6884782"/>
              <a:gd name="connsiteY59015" fmla="*/ 1257780 h 5973007"/>
              <a:gd name="connsiteX59016" fmla="*/ 1116923 w 6884782"/>
              <a:gd name="connsiteY59016" fmla="*/ 1263356 h 5973007"/>
              <a:gd name="connsiteX59017" fmla="*/ 1117646 w 6884782"/>
              <a:gd name="connsiteY59017" fmla="*/ 1259175 h 5973007"/>
              <a:gd name="connsiteX59018" fmla="*/ 1121466 w 6884782"/>
              <a:gd name="connsiteY59018" fmla="*/ 1257780 h 5973007"/>
              <a:gd name="connsiteX59019" fmla="*/ 3970034 w 6884782"/>
              <a:gd name="connsiteY59019" fmla="*/ 1257088 h 5973007"/>
              <a:gd name="connsiteX59020" fmla="*/ 3974730 w 6884782"/>
              <a:gd name="connsiteY59020" fmla="*/ 1261214 h 5973007"/>
              <a:gd name="connsiteX59021" fmla="*/ 3973662 w 6884782"/>
              <a:gd name="connsiteY59021" fmla="*/ 1272311 h 5973007"/>
              <a:gd name="connsiteX59022" fmla="*/ 3969394 w 6884782"/>
              <a:gd name="connsiteY59022" fmla="*/ 1269892 h 5973007"/>
              <a:gd name="connsiteX59023" fmla="*/ 3968113 w 6884782"/>
              <a:gd name="connsiteY59023" fmla="*/ 1259222 h 5973007"/>
              <a:gd name="connsiteX59024" fmla="*/ 3970034 w 6884782"/>
              <a:gd name="connsiteY59024" fmla="*/ 1257088 h 5973007"/>
              <a:gd name="connsiteX59025" fmla="*/ 4183027 w 6884782"/>
              <a:gd name="connsiteY59025" fmla="*/ 1256803 h 5973007"/>
              <a:gd name="connsiteX59026" fmla="*/ 4186228 w 6884782"/>
              <a:gd name="connsiteY59026" fmla="*/ 1256946 h 5973007"/>
              <a:gd name="connsiteX59027" fmla="*/ 4197966 w 6884782"/>
              <a:gd name="connsiteY59027" fmla="*/ 1262495 h 5973007"/>
              <a:gd name="connsiteX59028" fmla="*/ 4197113 w 6884782"/>
              <a:gd name="connsiteY59028" fmla="*/ 1268612 h 5973007"/>
              <a:gd name="connsiteX59029" fmla="*/ 4196259 w 6884782"/>
              <a:gd name="connsiteY59029" fmla="*/ 1269039 h 5973007"/>
              <a:gd name="connsiteX59030" fmla="*/ 4186228 w 6884782"/>
              <a:gd name="connsiteY59030" fmla="*/ 1277148 h 5973007"/>
              <a:gd name="connsiteX59031" fmla="*/ 4178972 w 6884782"/>
              <a:gd name="connsiteY59031" fmla="*/ 1275726 h 5973007"/>
              <a:gd name="connsiteX59032" fmla="*/ 4179399 w 6884782"/>
              <a:gd name="connsiteY59032" fmla="*/ 1271884 h 5973007"/>
              <a:gd name="connsiteX59033" fmla="*/ 4184307 w 6884782"/>
              <a:gd name="connsiteY59033" fmla="*/ 1268327 h 5973007"/>
              <a:gd name="connsiteX59034" fmla="*/ 4181960 w 6884782"/>
              <a:gd name="connsiteY59034" fmla="*/ 1267331 h 5973007"/>
              <a:gd name="connsiteX59035" fmla="*/ 4177905 w 6884782"/>
              <a:gd name="connsiteY59035" fmla="*/ 1262495 h 5973007"/>
              <a:gd name="connsiteX59036" fmla="*/ 4183027 w 6884782"/>
              <a:gd name="connsiteY59036" fmla="*/ 1256803 h 5973007"/>
              <a:gd name="connsiteX59037" fmla="*/ 1237733 w 6884782"/>
              <a:gd name="connsiteY59037" fmla="*/ 1256444 h 5973007"/>
              <a:gd name="connsiteX59038" fmla="*/ 1247335 w 6884782"/>
              <a:gd name="connsiteY59038" fmla="*/ 1256851 h 5973007"/>
              <a:gd name="connsiteX59039" fmla="*/ 1247026 w 6884782"/>
              <a:gd name="connsiteY59039" fmla="*/ 1265215 h 5973007"/>
              <a:gd name="connsiteX59040" fmla="*/ 1242895 w 6884782"/>
              <a:gd name="connsiteY59040" fmla="*/ 1268313 h 5973007"/>
              <a:gd name="connsiteX59041" fmla="*/ 1241140 w 6884782"/>
              <a:gd name="connsiteY59041" fmla="*/ 1268623 h 5973007"/>
              <a:gd name="connsiteX59042" fmla="*/ 1241243 w 6884782"/>
              <a:gd name="connsiteY59042" fmla="*/ 1268623 h 5973007"/>
              <a:gd name="connsiteX59043" fmla="*/ 1235564 w 6884782"/>
              <a:gd name="connsiteY59043" fmla="*/ 1277143 h 5973007"/>
              <a:gd name="connsiteX59044" fmla="*/ 1229575 w 6884782"/>
              <a:gd name="connsiteY59044" fmla="*/ 1272186 h 5973007"/>
              <a:gd name="connsiteX59045" fmla="*/ 1232260 w 6884782"/>
              <a:gd name="connsiteY59045" fmla="*/ 1266764 h 5973007"/>
              <a:gd name="connsiteX59046" fmla="*/ 1229369 w 6884782"/>
              <a:gd name="connsiteY59046" fmla="*/ 1261963 h 5973007"/>
              <a:gd name="connsiteX59047" fmla="*/ 1237733 w 6884782"/>
              <a:gd name="connsiteY59047" fmla="*/ 1256444 h 5973007"/>
              <a:gd name="connsiteX59048" fmla="*/ 4222723 w 6884782"/>
              <a:gd name="connsiteY59048" fmla="*/ 1256376 h 5973007"/>
              <a:gd name="connsiteX59049" fmla="*/ 4250040 w 6884782"/>
              <a:gd name="connsiteY59049" fmla="*/ 1268612 h 5973007"/>
              <a:gd name="connsiteX59050" fmla="*/ 4215253 w 6884782"/>
              <a:gd name="connsiteY59050" fmla="*/ 1261356 h 5973007"/>
              <a:gd name="connsiteX59051" fmla="*/ 4222723 w 6884782"/>
              <a:gd name="connsiteY59051" fmla="*/ 1256376 h 5973007"/>
              <a:gd name="connsiteX59052" fmla="*/ 3745730 w 6884782"/>
              <a:gd name="connsiteY59052" fmla="*/ 1255665 h 5973007"/>
              <a:gd name="connsiteX59053" fmla="*/ 3748505 w 6884782"/>
              <a:gd name="connsiteY59053" fmla="*/ 1265340 h 5973007"/>
              <a:gd name="connsiteX59054" fmla="*/ 3741461 w 6884782"/>
              <a:gd name="connsiteY59054" fmla="*/ 1261498 h 5973007"/>
              <a:gd name="connsiteX59055" fmla="*/ 3745730 w 6884782"/>
              <a:gd name="connsiteY59055" fmla="*/ 1255665 h 5973007"/>
              <a:gd name="connsiteX59056" fmla="*/ 3398710 w 6884782"/>
              <a:gd name="connsiteY59056" fmla="*/ 1255381 h 5973007"/>
              <a:gd name="connsiteX59057" fmla="*/ 3395722 w 6884782"/>
              <a:gd name="connsiteY59057" fmla="*/ 1263205 h 5973007"/>
              <a:gd name="connsiteX59058" fmla="*/ 3394014 w 6884782"/>
              <a:gd name="connsiteY59058" fmla="*/ 1265197 h 5973007"/>
              <a:gd name="connsiteX59059" fmla="*/ 3396148 w 6884782"/>
              <a:gd name="connsiteY59059" fmla="*/ 1266478 h 5973007"/>
              <a:gd name="connsiteX59060" fmla="*/ 3393160 w 6884782"/>
              <a:gd name="connsiteY59060" fmla="*/ 1278428 h 5973007"/>
              <a:gd name="connsiteX59061" fmla="*/ 3386971 w 6884782"/>
              <a:gd name="connsiteY59061" fmla="*/ 1277717 h 5973007"/>
              <a:gd name="connsiteX59062" fmla="*/ 3385264 w 6884782"/>
              <a:gd name="connsiteY59062" fmla="*/ 1276152 h 5973007"/>
              <a:gd name="connsiteX59063" fmla="*/ 3383557 w 6884782"/>
              <a:gd name="connsiteY59063" fmla="*/ 1277717 h 5973007"/>
              <a:gd name="connsiteX59064" fmla="*/ 3385051 w 6884782"/>
              <a:gd name="connsiteY59064" fmla="*/ 1286537 h 5973007"/>
              <a:gd name="connsiteX59065" fmla="*/ 3386544 w 6884782"/>
              <a:gd name="connsiteY59065" fmla="*/ 1294220 h 5973007"/>
              <a:gd name="connsiteX59066" fmla="*/ 3387825 w 6884782"/>
              <a:gd name="connsiteY59066" fmla="*/ 1305032 h 5973007"/>
              <a:gd name="connsiteX59067" fmla="*/ 3387398 w 6884782"/>
              <a:gd name="connsiteY59067" fmla="*/ 1306029 h 5973007"/>
              <a:gd name="connsiteX59068" fmla="*/ 3388465 w 6884782"/>
              <a:gd name="connsiteY59068" fmla="*/ 1306313 h 5973007"/>
              <a:gd name="connsiteX59069" fmla="*/ 3388679 w 6884782"/>
              <a:gd name="connsiteY59069" fmla="*/ 1308447 h 5973007"/>
              <a:gd name="connsiteX59070" fmla="*/ 3388892 w 6884782"/>
              <a:gd name="connsiteY59070" fmla="*/ 1316699 h 5973007"/>
              <a:gd name="connsiteX59071" fmla="*/ 3388252 w 6884782"/>
              <a:gd name="connsiteY59071" fmla="*/ 1323812 h 5973007"/>
              <a:gd name="connsiteX59072" fmla="*/ 3388039 w 6884782"/>
              <a:gd name="connsiteY59072" fmla="*/ 1327938 h 5973007"/>
              <a:gd name="connsiteX59073" fmla="*/ 3387398 w 6884782"/>
              <a:gd name="connsiteY59073" fmla="*/ 1329787 h 5973007"/>
              <a:gd name="connsiteX59074" fmla="*/ 3386331 w 6884782"/>
              <a:gd name="connsiteY59074" fmla="*/ 1332633 h 5973007"/>
              <a:gd name="connsiteX59075" fmla="*/ 3389105 w 6884782"/>
              <a:gd name="connsiteY59075" fmla="*/ 1333486 h 5973007"/>
              <a:gd name="connsiteX59076" fmla="*/ 3389746 w 6884782"/>
              <a:gd name="connsiteY59076" fmla="*/ 1331637 h 5973007"/>
              <a:gd name="connsiteX59077" fmla="*/ 3390386 w 6884782"/>
              <a:gd name="connsiteY59077" fmla="*/ 1329787 h 5973007"/>
              <a:gd name="connsiteX59078" fmla="*/ 3389746 w 6884782"/>
              <a:gd name="connsiteY59078" fmla="*/ 1328507 h 5973007"/>
              <a:gd name="connsiteX59079" fmla="*/ 3392093 w 6884782"/>
              <a:gd name="connsiteY59079" fmla="*/ 1330214 h 5973007"/>
              <a:gd name="connsiteX59080" fmla="*/ 3393374 w 6884782"/>
              <a:gd name="connsiteY59080" fmla="*/ 1335763 h 5973007"/>
              <a:gd name="connsiteX59081" fmla="*/ 3390172 w 6884782"/>
              <a:gd name="connsiteY59081" fmla="*/ 1345152 h 5973007"/>
              <a:gd name="connsiteX59082" fmla="*/ 3396788 w 6884782"/>
              <a:gd name="connsiteY59082" fmla="*/ 1372183 h 5973007"/>
              <a:gd name="connsiteX59083" fmla="*/ 3397215 w 6884782"/>
              <a:gd name="connsiteY59083" fmla="*/ 1385699 h 5973007"/>
              <a:gd name="connsiteX59084" fmla="*/ 3398069 w 6884782"/>
              <a:gd name="connsiteY59084" fmla="*/ 1389113 h 5973007"/>
              <a:gd name="connsiteX59085" fmla="*/ 3398923 w 6884782"/>
              <a:gd name="connsiteY59085" fmla="*/ 1392528 h 5973007"/>
              <a:gd name="connsiteX59086" fmla="*/ 3402551 w 6884782"/>
              <a:gd name="connsiteY59086" fmla="*/ 1391959 h 5973007"/>
              <a:gd name="connsiteX59087" fmla="*/ 3399990 w 6884782"/>
              <a:gd name="connsiteY59087" fmla="*/ 1397080 h 5973007"/>
              <a:gd name="connsiteX59088" fmla="*/ 3400630 w 6884782"/>
              <a:gd name="connsiteY59088" fmla="*/ 1399215 h 5973007"/>
              <a:gd name="connsiteX59089" fmla="*/ 3395295 w 6884782"/>
              <a:gd name="connsiteY59089" fmla="*/ 1415291 h 5973007"/>
              <a:gd name="connsiteX59090" fmla="*/ 3391880 w 6884782"/>
              <a:gd name="connsiteY59090" fmla="*/ 1427668 h 5973007"/>
              <a:gd name="connsiteX59091" fmla="*/ 3399776 w 6884782"/>
              <a:gd name="connsiteY59091" fmla="*/ 1431225 h 5973007"/>
              <a:gd name="connsiteX59092" fmla="*/ 3400843 w 6884782"/>
              <a:gd name="connsiteY59092" fmla="*/ 1449862 h 5973007"/>
              <a:gd name="connsiteX59093" fmla="*/ 3401271 w 6884782"/>
              <a:gd name="connsiteY59093" fmla="*/ 1457687 h 5973007"/>
              <a:gd name="connsiteX59094" fmla="*/ 3408527 w 6884782"/>
              <a:gd name="connsiteY59094" fmla="*/ 1467219 h 5973007"/>
              <a:gd name="connsiteX59095" fmla="*/ 3406819 w 6884782"/>
              <a:gd name="connsiteY59095" fmla="*/ 1469780 h 5973007"/>
              <a:gd name="connsiteX59096" fmla="*/ 3409594 w 6884782"/>
              <a:gd name="connsiteY59096" fmla="*/ 1469495 h 5973007"/>
              <a:gd name="connsiteX59097" fmla="*/ 3403618 w 6884782"/>
              <a:gd name="connsiteY59097" fmla="*/ 1474902 h 5973007"/>
              <a:gd name="connsiteX59098" fmla="*/ 3405966 w 6884782"/>
              <a:gd name="connsiteY59098" fmla="*/ 1479739 h 5973007"/>
              <a:gd name="connsiteX59099" fmla="*/ 3405112 w 6884782"/>
              <a:gd name="connsiteY59099" fmla="*/ 1485714 h 5973007"/>
              <a:gd name="connsiteX59100" fmla="*/ 3408953 w 6884782"/>
              <a:gd name="connsiteY59100" fmla="*/ 1497238 h 5973007"/>
              <a:gd name="connsiteX59101" fmla="*/ 3403191 w 6884782"/>
              <a:gd name="connsiteY59101" fmla="*/ 1499656 h 5973007"/>
              <a:gd name="connsiteX59102" fmla="*/ 3405966 w 6884782"/>
              <a:gd name="connsiteY59102" fmla="*/ 1506770 h 5973007"/>
              <a:gd name="connsiteX59103" fmla="*/ 3417490 w 6884782"/>
              <a:gd name="connsiteY59103" fmla="*/ 1508620 h 5973007"/>
              <a:gd name="connsiteX59104" fmla="*/ 3419838 w 6884782"/>
              <a:gd name="connsiteY59104" fmla="*/ 1509473 h 5973007"/>
              <a:gd name="connsiteX59105" fmla="*/ 3416423 w 6884782"/>
              <a:gd name="connsiteY59105" fmla="*/ 1504920 h 5973007"/>
              <a:gd name="connsiteX59106" fmla="*/ 3420692 w 6884782"/>
              <a:gd name="connsiteY59106" fmla="*/ 1502502 h 5973007"/>
              <a:gd name="connsiteX59107" fmla="*/ 3420905 w 6884782"/>
              <a:gd name="connsiteY59107" fmla="*/ 1502217 h 5973007"/>
              <a:gd name="connsiteX59108" fmla="*/ 3416637 w 6884782"/>
              <a:gd name="connsiteY59108" fmla="*/ 1498376 h 5973007"/>
              <a:gd name="connsiteX59109" fmla="*/ 3412368 w 6884782"/>
              <a:gd name="connsiteY59109" fmla="*/ 1469638 h 5973007"/>
              <a:gd name="connsiteX59110" fmla="*/ 3419624 w 6884782"/>
              <a:gd name="connsiteY59110" fmla="*/ 1462951 h 5973007"/>
              <a:gd name="connsiteX59111" fmla="*/ 3417704 w 6884782"/>
              <a:gd name="connsiteY59111" fmla="*/ 1460532 h 5973007"/>
              <a:gd name="connsiteX59112" fmla="*/ 3421759 w 6884782"/>
              <a:gd name="connsiteY59112" fmla="*/ 1448298 h 5973007"/>
              <a:gd name="connsiteX59113" fmla="*/ 3417490 w 6884782"/>
              <a:gd name="connsiteY59113" fmla="*/ 1455268 h 5973007"/>
              <a:gd name="connsiteX59114" fmla="*/ 3415356 w 6884782"/>
              <a:gd name="connsiteY59114" fmla="*/ 1443460 h 5973007"/>
              <a:gd name="connsiteX59115" fmla="*/ 3416850 w 6884782"/>
              <a:gd name="connsiteY59115" fmla="*/ 1439334 h 5973007"/>
              <a:gd name="connsiteX59116" fmla="*/ 3414076 w 6884782"/>
              <a:gd name="connsiteY59116" fmla="*/ 1439192 h 5973007"/>
              <a:gd name="connsiteX59117" fmla="*/ 3408527 w 6884782"/>
              <a:gd name="connsiteY59117" fmla="*/ 1429660 h 5973007"/>
              <a:gd name="connsiteX59118" fmla="*/ 3414929 w 6884782"/>
              <a:gd name="connsiteY59118" fmla="*/ 1421551 h 5973007"/>
              <a:gd name="connsiteX59119" fmla="*/ 3420265 w 6884782"/>
              <a:gd name="connsiteY59119" fmla="*/ 1426673 h 5973007"/>
              <a:gd name="connsiteX59120" fmla="*/ 3420692 w 6884782"/>
              <a:gd name="connsiteY59120" fmla="*/ 1427099 h 5973007"/>
              <a:gd name="connsiteX59121" fmla="*/ 3422612 w 6884782"/>
              <a:gd name="connsiteY59121" fmla="*/ 1420270 h 5973007"/>
              <a:gd name="connsiteX59122" fmla="*/ 3420692 w 6884782"/>
              <a:gd name="connsiteY59122" fmla="*/ 1410596 h 5973007"/>
              <a:gd name="connsiteX59123" fmla="*/ 3428801 w 6884782"/>
              <a:gd name="connsiteY59123" fmla="*/ 1410027 h 5973007"/>
              <a:gd name="connsiteX59124" fmla="*/ 3425173 w 6884782"/>
              <a:gd name="connsiteY59124" fmla="*/ 1398219 h 5973007"/>
              <a:gd name="connsiteX59125" fmla="*/ 3422185 w 6884782"/>
              <a:gd name="connsiteY59125" fmla="*/ 1400352 h 5973007"/>
              <a:gd name="connsiteX59126" fmla="*/ 3420478 w 6884782"/>
              <a:gd name="connsiteY59126" fmla="*/ 1400068 h 5973007"/>
              <a:gd name="connsiteX59127" fmla="*/ 3418557 w 6884782"/>
              <a:gd name="connsiteY59127" fmla="*/ 1411023 h 5973007"/>
              <a:gd name="connsiteX59128" fmla="*/ 3416209 w 6884782"/>
              <a:gd name="connsiteY59128" fmla="*/ 1402914 h 5973007"/>
              <a:gd name="connsiteX59129" fmla="*/ 3416423 w 6884782"/>
              <a:gd name="connsiteY59129" fmla="*/ 1399642 h 5973007"/>
              <a:gd name="connsiteX59130" fmla="*/ 3415143 w 6884782"/>
              <a:gd name="connsiteY59130" fmla="*/ 1399357 h 5973007"/>
              <a:gd name="connsiteX59131" fmla="*/ 3407246 w 6884782"/>
              <a:gd name="connsiteY59131" fmla="*/ 1394377 h 5973007"/>
              <a:gd name="connsiteX59132" fmla="*/ 3406606 w 6884782"/>
              <a:gd name="connsiteY59132" fmla="*/ 1394377 h 5973007"/>
              <a:gd name="connsiteX59133" fmla="*/ 3406606 w 6884782"/>
              <a:gd name="connsiteY59133" fmla="*/ 1393950 h 5973007"/>
              <a:gd name="connsiteX59134" fmla="*/ 3400630 w 6884782"/>
              <a:gd name="connsiteY59134" fmla="*/ 1390109 h 5973007"/>
              <a:gd name="connsiteX59135" fmla="*/ 3406606 w 6884782"/>
              <a:gd name="connsiteY59135" fmla="*/ 1385841 h 5973007"/>
              <a:gd name="connsiteX59136" fmla="*/ 3405538 w 6884782"/>
              <a:gd name="connsiteY59136" fmla="*/ 1379866 h 5973007"/>
              <a:gd name="connsiteX59137" fmla="*/ 3406179 w 6884782"/>
              <a:gd name="connsiteY59137" fmla="*/ 1379866 h 5973007"/>
              <a:gd name="connsiteX59138" fmla="*/ 3404472 w 6884782"/>
              <a:gd name="connsiteY59138" fmla="*/ 1377590 h 5973007"/>
              <a:gd name="connsiteX59139" fmla="*/ 3398069 w 6884782"/>
              <a:gd name="connsiteY59139" fmla="*/ 1360660 h 5973007"/>
              <a:gd name="connsiteX59140" fmla="*/ 3412155 w 6884782"/>
              <a:gd name="connsiteY59140" fmla="*/ 1372183 h 5973007"/>
              <a:gd name="connsiteX59141" fmla="*/ 3415783 w 6884782"/>
              <a:gd name="connsiteY59141" fmla="*/ 1376594 h 5973007"/>
              <a:gd name="connsiteX59142" fmla="*/ 3414716 w 6884782"/>
              <a:gd name="connsiteY59142" fmla="*/ 1372468 h 5973007"/>
              <a:gd name="connsiteX59143" fmla="*/ 3418557 w 6884782"/>
              <a:gd name="connsiteY59143" fmla="*/ 1379012 h 5973007"/>
              <a:gd name="connsiteX59144" fmla="*/ 3419198 w 6884782"/>
              <a:gd name="connsiteY59144" fmla="*/ 1378728 h 5973007"/>
              <a:gd name="connsiteX59145" fmla="*/ 3419411 w 6884782"/>
              <a:gd name="connsiteY59145" fmla="*/ 1370761 h 5973007"/>
              <a:gd name="connsiteX59146" fmla="*/ 3420692 w 6884782"/>
              <a:gd name="connsiteY59146" fmla="*/ 1361940 h 5973007"/>
              <a:gd name="connsiteX59147" fmla="*/ 3424960 w 6884782"/>
              <a:gd name="connsiteY59147" fmla="*/ 1356534 h 5973007"/>
              <a:gd name="connsiteX59148" fmla="*/ 3424960 w 6884782"/>
              <a:gd name="connsiteY59148" fmla="*/ 1353262 h 5973007"/>
              <a:gd name="connsiteX59149" fmla="*/ 3424747 w 6884782"/>
              <a:gd name="connsiteY59149" fmla="*/ 1350843 h 5973007"/>
              <a:gd name="connsiteX59150" fmla="*/ 3419838 w 6884782"/>
              <a:gd name="connsiteY59150" fmla="*/ 1343018 h 5973007"/>
              <a:gd name="connsiteX59151" fmla="*/ 3421118 w 6884782"/>
              <a:gd name="connsiteY59151" fmla="*/ 1359806 h 5973007"/>
              <a:gd name="connsiteX59152" fmla="*/ 3410234 w 6884782"/>
              <a:gd name="connsiteY59152" fmla="*/ 1350416 h 5973007"/>
              <a:gd name="connsiteX59153" fmla="*/ 3416637 w 6884782"/>
              <a:gd name="connsiteY59153" fmla="*/ 1337755 h 5973007"/>
              <a:gd name="connsiteX59154" fmla="*/ 3418557 w 6884782"/>
              <a:gd name="connsiteY59154" fmla="*/ 1329076 h 5973007"/>
              <a:gd name="connsiteX59155" fmla="*/ 3418344 w 6884782"/>
              <a:gd name="connsiteY59155" fmla="*/ 1326942 h 5973007"/>
              <a:gd name="connsiteX59156" fmla="*/ 3418557 w 6884782"/>
              <a:gd name="connsiteY59156" fmla="*/ 1325946 h 5973007"/>
              <a:gd name="connsiteX59157" fmla="*/ 3418984 w 6884782"/>
              <a:gd name="connsiteY59157" fmla="*/ 1324950 h 5973007"/>
              <a:gd name="connsiteX59158" fmla="*/ 3418771 w 6884782"/>
              <a:gd name="connsiteY59158" fmla="*/ 1322816 h 5973007"/>
              <a:gd name="connsiteX59159" fmla="*/ 3411728 w 6884782"/>
              <a:gd name="connsiteY59159" fmla="*/ 1322816 h 5973007"/>
              <a:gd name="connsiteX59160" fmla="*/ 3417064 w 6884782"/>
              <a:gd name="connsiteY59160" fmla="*/ 1319260 h 5973007"/>
              <a:gd name="connsiteX59161" fmla="*/ 3409807 w 6884782"/>
              <a:gd name="connsiteY59161" fmla="*/ 1307736 h 5973007"/>
              <a:gd name="connsiteX59162" fmla="*/ 3408953 w 6884782"/>
              <a:gd name="connsiteY59162" fmla="*/ 1304321 h 5973007"/>
              <a:gd name="connsiteX59163" fmla="*/ 3408740 w 6884782"/>
              <a:gd name="connsiteY59163" fmla="*/ 1302187 h 5973007"/>
              <a:gd name="connsiteX59164" fmla="*/ 3407886 w 6884782"/>
              <a:gd name="connsiteY59164" fmla="*/ 1301902 h 5973007"/>
              <a:gd name="connsiteX59165" fmla="*/ 3408100 w 6884782"/>
              <a:gd name="connsiteY59165" fmla="*/ 1300907 h 5973007"/>
              <a:gd name="connsiteX59166" fmla="*/ 3406819 w 6884782"/>
              <a:gd name="connsiteY59166" fmla="*/ 1290094 h 5973007"/>
              <a:gd name="connsiteX59167" fmla="*/ 3406393 w 6884782"/>
              <a:gd name="connsiteY59167" fmla="*/ 1287960 h 5973007"/>
              <a:gd name="connsiteX59168" fmla="*/ 3403831 w 6884782"/>
              <a:gd name="connsiteY59168" fmla="*/ 1285257 h 5973007"/>
              <a:gd name="connsiteX59169" fmla="*/ 3402551 w 6884782"/>
              <a:gd name="connsiteY59169" fmla="*/ 1281558 h 5973007"/>
              <a:gd name="connsiteX59170" fmla="*/ 3402978 w 6884782"/>
              <a:gd name="connsiteY59170" fmla="*/ 1279282 h 5973007"/>
              <a:gd name="connsiteX59171" fmla="*/ 3401697 w 6884782"/>
              <a:gd name="connsiteY59171" fmla="*/ 1281843 h 5973007"/>
              <a:gd name="connsiteX59172" fmla="*/ 3395508 w 6884782"/>
              <a:gd name="connsiteY59172" fmla="*/ 1288387 h 5973007"/>
              <a:gd name="connsiteX59173" fmla="*/ 3395722 w 6884782"/>
              <a:gd name="connsiteY59173" fmla="*/ 1284546 h 5973007"/>
              <a:gd name="connsiteX59174" fmla="*/ 3396362 w 6884782"/>
              <a:gd name="connsiteY59174" fmla="*/ 1282981 h 5973007"/>
              <a:gd name="connsiteX59175" fmla="*/ 3395935 w 6884782"/>
              <a:gd name="connsiteY59175" fmla="*/ 1281843 h 5973007"/>
              <a:gd name="connsiteX59176" fmla="*/ 3397002 w 6884782"/>
              <a:gd name="connsiteY59176" fmla="*/ 1281416 h 5973007"/>
              <a:gd name="connsiteX59177" fmla="*/ 3398496 w 6884782"/>
              <a:gd name="connsiteY59177" fmla="*/ 1278286 h 5973007"/>
              <a:gd name="connsiteX59178" fmla="*/ 3399776 w 6884782"/>
              <a:gd name="connsiteY59178" fmla="*/ 1270177 h 5973007"/>
              <a:gd name="connsiteX59179" fmla="*/ 3400203 w 6884782"/>
              <a:gd name="connsiteY59179" fmla="*/ 1269607 h 5973007"/>
              <a:gd name="connsiteX59180" fmla="*/ 3397856 w 6884782"/>
              <a:gd name="connsiteY59180" fmla="*/ 1266051 h 5973007"/>
              <a:gd name="connsiteX59181" fmla="*/ 1293388 w 6884782"/>
              <a:gd name="connsiteY59181" fmla="*/ 1255302 h 5973007"/>
              <a:gd name="connsiteX59182" fmla="*/ 1294214 w 6884782"/>
              <a:gd name="connsiteY59182" fmla="*/ 1255767 h 5973007"/>
              <a:gd name="connsiteX59183" fmla="*/ 1296589 w 6884782"/>
              <a:gd name="connsiteY59183" fmla="*/ 1255767 h 5973007"/>
              <a:gd name="connsiteX59184" fmla="*/ 1297931 w 6884782"/>
              <a:gd name="connsiteY59184" fmla="*/ 1259019 h 5973007"/>
              <a:gd name="connsiteX59185" fmla="*/ 1294524 w 6884782"/>
              <a:gd name="connsiteY59185" fmla="*/ 1263356 h 5973007"/>
              <a:gd name="connsiteX59186" fmla="*/ 1290600 w 6884782"/>
              <a:gd name="connsiteY59186" fmla="*/ 1263667 h 5973007"/>
              <a:gd name="connsiteX59187" fmla="*/ 1291735 w 6884782"/>
              <a:gd name="connsiteY59187" fmla="*/ 1265060 h 5973007"/>
              <a:gd name="connsiteX59188" fmla="*/ 1288225 w 6884782"/>
              <a:gd name="connsiteY59188" fmla="*/ 1269088 h 5973007"/>
              <a:gd name="connsiteX59189" fmla="*/ 1287089 w 6884782"/>
              <a:gd name="connsiteY59189" fmla="*/ 1265525 h 5973007"/>
              <a:gd name="connsiteX59190" fmla="*/ 1288638 w 6884782"/>
              <a:gd name="connsiteY59190" fmla="*/ 1263822 h 5973007"/>
              <a:gd name="connsiteX59191" fmla="*/ 1287915 w 6884782"/>
              <a:gd name="connsiteY59191" fmla="*/ 1263822 h 5973007"/>
              <a:gd name="connsiteX59192" fmla="*/ 1286366 w 6884782"/>
              <a:gd name="connsiteY59192" fmla="*/ 1259019 h 5973007"/>
              <a:gd name="connsiteX59193" fmla="*/ 1284095 w 6884782"/>
              <a:gd name="connsiteY59193" fmla="*/ 1257625 h 5973007"/>
              <a:gd name="connsiteX59194" fmla="*/ 1293388 w 6884782"/>
              <a:gd name="connsiteY59194" fmla="*/ 1255302 h 5973007"/>
              <a:gd name="connsiteX59195" fmla="*/ 1330250 w 6884782"/>
              <a:gd name="connsiteY59195" fmla="*/ 1254992 h 5973007"/>
              <a:gd name="connsiteX59196" fmla="*/ 1331489 w 6884782"/>
              <a:gd name="connsiteY59196" fmla="*/ 1260259 h 5973007"/>
              <a:gd name="connsiteX59197" fmla="*/ 1329837 w 6884782"/>
              <a:gd name="connsiteY59197" fmla="*/ 1262272 h 5973007"/>
              <a:gd name="connsiteX59198" fmla="*/ 1328392 w 6884782"/>
              <a:gd name="connsiteY59198" fmla="*/ 1260259 h 5973007"/>
              <a:gd name="connsiteX59199" fmla="*/ 1329424 w 6884782"/>
              <a:gd name="connsiteY59199" fmla="*/ 1258555 h 5973007"/>
              <a:gd name="connsiteX59200" fmla="*/ 1328701 w 6884782"/>
              <a:gd name="connsiteY59200" fmla="*/ 1256077 h 5973007"/>
              <a:gd name="connsiteX59201" fmla="*/ 1330250 w 6884782"/>
              <a:gd name="connsiteY59201" fmla="*/ 1254992 h 5973007"/>
              <a:gd name="connsiteX59202" fmla="*/ 1494118 w 6884782"/>
              <a:gd name="connsiteY59202" fmla="*/ 1254682 h 5973007"/>
              <a:gd name="connsiteX59203" fmla="*/ 1496183 w 6884782"/>
              <a:gd name="connsiteY59203" fmla="*/ 1254837 h 5973007"/>
              <a:gd name="connsiteX59204" fmla="*/ 1494324 w 6884782"/>
              <a:gd name="connsiteY59204" fmla="*/ 1255302 h 5973007"/>
              <a:gd name="connsiteX59205" fmla="*/ 1494118 w 6884782"/>
              <a:gd name="connsiteY59205" fmla="*/ 1254682 h 5973007"/>
              <a:gd name="connsiteX59206" fmla="*/ 5015150 w 6884782"/>
              <a:gd name="connsiteY59206" fmla="*/ 1254669 h 5973007"/>
              <a:gd name="connsiteX59207" fmla="*/ 5009175 w 6884782"/>
              <a:gd name="connsiteY59207" fmla="*/ 1264770 h 5973007"/>
              <a:gd name="connsiteX59208" fmla="*/ 5015150 w 6884782"/>
              <a:gd name="connsiteY59208" fmla="*/ 1254669 h 5973007"/>
              <a:gd name="connsiteX59209" fmla="*/ 1573832 w 6884782"/>
              <a:gd name="connsiteY59209" fmla="*/ 1254528 h 5973007"/>
              <a:gd name="connsiteX59210" fmla="*/ 1581472 w 6884782"/>
              <a:gd name="connsiteY59210" fmla="*/ 1259794 h 5973007"/>
              <a:gd name="connsiteX59211" fmla="*/ 1582918 w 6884782"/>
              <a:gd name="connsiteY59211" fmla="*/ 1263356 h 5973007"/>
              <a:gd name="connsiteX59212" fmla="*/ 1583228 w 6884782"/>
              <a:gd name="connsiteY59212" fmla="*/ 1261808 h 5973007"/>
              <a:gd name="connsiteX59213" fmla="*/ 1584467 w 6884782"/>
              <a:gd name="connsiteY59213" fmla="*/ 1259639 h 5973007"/>
              <a:gd name="connsiteX59214" fmla="*/ 1583744 w 6884782"/>
              <a:gd name="connsiteY59214" fmla="*/ 1261963 h 5973007"/>
              <a:gd name="connsiteX59215" fmla="*/ 1584467 w 6884782"/>
              <a:gd name="connsiteY59215" fmla="*/ 1263512 h 5973007"/>
              <a:gd name="connsiteX59216" fmla="*/ 1583951 w 6884782"/>
              <a:gd name="connsiteY59216" fmla="*/ 1264596 h 5973007"/>
              <a:gd name="connsiteX59217" fmla="*/ 1583434 w 6884782"/>
              <a:gd name="connsiteY59217" fmla="*/ 1264906 h 5973007"/>
              <a:gd name="connsiteX59218" fmla="*/ 1583434 w 6884782"/>
              <a:gd name="connsiteY59218" fmla="*/ 1270017 h 5973007"/>
              <a:gd name="connsiteX59219" fmla="*/ 1582092 w 6884782"/>
              <a:gd name="connsiteY59219" fmla="*/ 1275129 h 5973007"/>
              <a:gd name="connsiteX59220" fmla="*/ 1582092 w 6884782"/>
              <a:gd name="connsiteY59220" fmla="*/ 1275284 h 5973007"/>
              <a:gd name="connsiteX59221" fmla="*/ 1581576 w 6884782"/>
              <a:gd name="connsiteY59221" fmla="*/ 1277297 h 5973007"/>
              <a:gd name="connsiteX59222" fmla="*/ 1578271 w 6884782"/>
              <a:gd name="connsiteY59222" fmla="*/ 1282719 h 5973007"/>
              <a:gd name="connsiteX59223" fmla="*/ 1578581 w 6884782"/>
              <a:gd name="connsiteY59223" fmla="*/ 1282409 h 5973007"/>
              <a:gd name="connsiteX59224" fmla="*/ 1584570 w 6884782"/>
              <a:gd name="connsiteY59224" fmla="*/ 1284423 h 5973007"/>
              <a:gd name="connsiteX59225" fmla="*/ 1585087 w 6884782"/>
              <a:gd name="connsiteY59225" fmla="*/ 1286281 h 5973007"/>
              <a:gd name="connsiteX59226" fmla="*/ 1587358 w 6884782"/>
              <a:gd name="connsiteY59226" fmla="*/ 1285042 h 5973007"/>
              <a:gd name="connsiteX59227" fmla="*/ 1588081 w 6884782"/>
              <a:gd name="connsiteY59227" fmla="*/ 1277762 h 5973007"/>
              <a:gd name="connsiteX59228" fmla="*/ 1589217 w 6884782"/>
              <a:gd name="connsiteY59228" fmla="*/ 1276058 h 5973007"/>
              <a:gd name="connsiteX59229" fmla="*/ 1589113 w 6884782"/>
              <a:gd name="connsiteY59229" fmla="*/ 1274354 h 5973007"/>
              <a:gd name="connsiteX59230" fmla="*/ 1590146 w 6884782"/>
              <a:gd name="connsiteY59230" fmla="*/ 1274974 h 5973007"/>
              <a:gd name="connsiteX59231" fmla="*/ 1590249 w 6884782"/>
              <a:gd name="connsiteY59231" fmla="*/ 1274664 h 5973007"/>
              <a:gd name="connsiteX59232" fmla="*/ 1590456 w 6884782"/>
              <a:gd name="connsiteY59232" fmla="*/ 1274974 h 5973007"/>
              <a:gd name="connsiteX59233" fmla="*/ 1590972 w 6884782"/>
              <a:gd name="connsiteY59233" fmla="*/ 1274664 h 5973007"/>
              <a:gd name="connsiteX59234" fmla="*/ 1593037 w 6884782"/>
              <a:gd name="connsiteY59234" fmla="*/ 1274509 h 5973007"/>
              <a:gd name="connsiteX59235" fmla="*/ 1594276 w 6884782"/>
              <a:gd name="connsiteY59235" fmla="*/ 1276058 h 5973007"/>
              <a:gd name="connsiteX59236" fmla="*/ 1594379 w 6884782"/>
              <a:gd name="connsiteY59236" fmla="*/ 1276833 h 5973007"/>
              <a:gd name="connsiteX59237" fmla="*/ 1595205 w 6884782"/>
              <a:gd name="connsiteY59237" fmla="*/ 1276368 h 5973007"/>
              <a:gd name="connsiteX59238" fmla="*/ 1596754 w 6884782"/>
              <a:gd name="connsiteY59238" fmla="*/ 1276678 h 5973007"/>
              <a:gd name="connsiteX59239" fmla="*/ 1599336 w 6884782"/>
              <a:gd name="connsiteY59239" fmla="*/ 1287521 h 5973007"/>
              <a:gd name="connsiteX59240" fmla="*/ 1591798 w 6884782"/>
              <a:gd name="connsiteY59240" fmla="*/ 1286126 h 5973007"/>
              <a:gd name="connsiteX59241" fmla="*/ 1590146 w 6884782"/>
              <a:gd name="connsiteY59241" fmla="*/ 1284423 h 5973007"/>
              <a:gd name="connsiteX59242" fmla="*/ 1589939 w 6884782"/>
              <a:gd name="connsiteY59242" fmla="*/ 1284732 h 5973007"/>
              <a:gd name="connsiteX59243" fmla="*/ 1587977 w 6884782"/>
              <a:gd name="connsiteY59243" fmla="*/ 1285042 h 5973007"/>
              <a:gd name="connsiteX59244" fmla="*/ 1589423 w 6884782"/>
              <a:gd name="connsiteY59244" fmla="*/ 1285042 h 5973007"/>
              <a:gd name="connsiteX59245" fmla="*/ 1590766 w 6884782"/>
              <a:gd name="connsiteY59245" fmla="*/ 1286281 h 5973007"/>
              <a:gd name="connsiteX59246" fmla="*/ 1590662 w 6884782"/>
              <a:gd name="connsiteY59246" fmla="*/ 1288140 h 5973007"/>
              <a:gd name="connsiteX59247" fmla="*/ 1588907 w 6884782"/>
              <a:gd name="connsiteY59247" fmla="*/ 1290773 h 5973007"/>
              <a:gd name="connsiteX59248" fmla="*/ 1586532 w 6884782"/>
              <a:gd name="connsiteY59248" fmla="*/ 1291238 h 5973007"/>
              <a:gd name="connsiteX59249" fmla="*/ 1585809 w 6884782"/>
              <a:gd name="connsiteY59249" fmla="*/ 1290464 h 5973007"/>
              <a:gd name="connsiteX59250" fmla="*/ 1584983 w 6884782"/>
              <a:gd name="connsiteY59250" fmla="*/ 1291238 h 5973007"/>
              <a:gd name="connsiteX59251" fmla="*/ 1581369 w 6884782"/>
              <a:gd name="connsiteY59251" fmla="*/ 1292477 h 5973007"/>
              <a:gd name="connsiteX59252" fmla="*/ 1584776 w 6884782"/>
              <a:gd name="connsiteY59252" fmla="*/ 1289689 h 5973007"/>
              <a:gd name="connsiteX59253" fmla="*/ 1580440 w 6884782"/>
              <a:gd name="connsiteY59253" fmla="*/ 1290773 h 5973007"/>
              <a:gd name="connsiteX59254" fmla="*/ 1575380 w 6884782"/>
              <a:gd name="connsiteY59254" fmla="*/ 1289379 h 5973007"/>
              <a:gd name="connsiteX59255" fmla="*/ 1576000 w 6884782"/>
              <a:gd name="connsiteY59255" fmla="*/ 1285352 h 5973007"/>
              <a:gd name="connsiteX59256" fmla="*/ 1575690 w 6884782"/>
              <a:gd name="connsiteY59256" fmla="*/ 1285662 h 5973007"/>
              <a:gd name="connsiteX59257" fmla="*/ 1566603 w 6884782"/>
              <a:gd name="connsiteY59257" fmla="*/ 1270792 h 5973007"/>
              <a:gd name="connsiteX59258" fmla="*/ 1566913 w 6884782"/>
              <a:gd name="connsiteY59258" fmla="*/ 1268468 h 5973007"/>
              <a:gd name="connsiteX59259" fmla="*/ 1565984 w 6884782"/>
              <a:gd name="connsiteY59259" fmla="*/ 1268003 h 5973007"/>
              <a:gd name="connsiteX59260" fmla="*/ 1564332 w 6884782"/>
              <a:gd name="connsiteY59260" fmla="*/ 1266610 h 5973007"/>
              <a:gd name="connsiteX59261" fmla="*/ 1562783 w 6884782"/>
              <a:gd name="connsiteY59261" fmla="*/ 1265060 h 5973007"/>
              <a:gd name="connsiteX59262" fmla="*/ 1561028 w 6884782"/>
              <a:gd name="connsiteY59262" fmla="*/ 1264286 h 5973007"/>
              <a:gd name="connsiteX59263" fmla="*/ 1559479 w 6884782"/>
              <a:gd name="connsiteY59263" fmla="*/ 1261033 h 5973007"/>
              <a:gd name="connsiteX59264" fmla="*/ 1561131 w 6884782"/>
              <a:gd name="connsiteY59264" fmla="*/ 1261808 h 5973007"/>
              <a:gd name="connsiteX59265" fmla="*/ 1562783 w 6884782"/>
              <a:gd name="connsiteY59265" fmla="*/ 1263356 h 5973007"/>
              <a:gd name="connsiteX59266" fmla="*/ 1564435 w 6884782"/>
              <a:gd name="connsiteY59266" fmla="*/ 1263356 h 5973007"/>
              <a:gd name="connsiteX59267" fmla="*/ 1567327 w 6884782"/>
              <a:gd name="connsiteY59267" fmla="*/ 1265370 h 5973007"/>
              <a:gd name="connsiteX59268" fmla="*/ 1567430 w 6884782"/>
              <a:gd name="connsiteY59268" fmla="*/ 1264596 h 5973007"/>
              <a:gd name="connsiteX59269" fmla="*/ 1571147 w 6884782"/>
              <a:gd name="connsiteY59269" fmla="*/ 1255147 h 5973007"/>
              <a:gd name="connsiteX59270" fmla="*/ 1573832 w 6884782"/>
              <a:gd name="connsiteY59270" fmla="*/ 1254528 h 5973007"/>
              <a:gd name="connsiteX59271" fmla="*/ 5633214 w 6884782"/>
              <a:gd name="connsiteY59271" fmla="*/ 1254101 h 5973007"/>
              <a:gd name="connsiteX59272" fmla="*/ 5640044 w 6884782"/>
              <a:gd name="connsiteY59272" fmla="*/ 1257230 h 5973007"/>
              <a:gd name="connsiteX59273" fmla="*/ 5643672 w 6884782"/>
              <a:gd name="connsiteY59273" fmla="*/ 1261214 h 5973007"/>
              <a:gd name="connsiteX59274" fmla="*/ 5640257 w 6884782"/>
              <a:gd name="connsiteY59274" fmla="*/ 1278713 h 5973007"/>
              <a:gd name="connsiteX59275" fmla="*/ 5637696 w 6884782"/>
              <a:gd name="connsiteY59275" fmla="*/ 1281132 h 5973007"/>
              <a:gd name="connsiteX59276" fmla="*/ 5634921 w 6884782"/>
              <a:gd name="connsiteY59276" fmla="*/ 1285826 h 5973007"/>
              <a:gd name="connsiteX59277" fmla="*/ 5621690 w 6884782"/>
              <a:gd name="connsiteY59277" fmla="*/ 1279567 h 5973007"/>
              <a:gd name="connsiteX59278" fmla="*/ 5620195 w 6884782"/>
              <a:gd name="connsiteY59278" fmla="*/ 1259222 h 5973007"/>
              <a:gd name="connsiteX59279" fmla="*/ 5633214 w 6884782"/>
              <a:gd name="connsiteY59279" fmla="*/ 1254101 h 5973007"/>
              <a:gd name="connsiteX59280" fmla="*/ 1488645 w 6884782"/>
              <a:gd name="connsiteY59280" fmla="*/ 1254063 h 5973007"/>
              <a:gd name="connsiteX59281" fmla="*/ 1493808 w 6884782"/>
              <a:gd name="connsiteY59281" fmla="*/ 1255457 h 5973007"/>
              <a:gd name="connsiteX59282" fmla="*/ 1490400 w 6884782"/>
              <a:gd name="connsiteY59282" fmla="*/ 1256386 h 5973007"/>
              <a:gd name="connsiteX59283" fmla="*/ 1488645 w 6884782"/>
              <a:gd name="connsiteY59283" fmla="*/ 1254063 h 5973007"/>
              <a:gd name="connsiteX59284" fmla="*/ 1273459 w 6884782"/>
              <a:gd name="connsiteY59284" fmla="*/ 1254063 h 5973007"/>
              <a:gd name="connsiteX59285" fmla="*/ 1278932 w 6884782"/>
              <a:gd name="connsiteY59285" fmla="*/ 1262582 h 5973007"/>
              <a:gd name="connsiteX59286" fmla="*/ 1276350 w 6884782"/>
              <a:gd name="connsiteY59286" fmla="*/ 1262427 h 5973007"/>
              <a:gd name="connsiteX59287" fmla="*/ 1272427 w 6884782"/>
              <a:gd name="connsiteY59287" fmla="*/ 1256077 h 5973007"/>
              <a:gd name="connsiteX59288" fmla="*/ 1273459 w 6884782"/>
              <a:gd name="connsiteY59288" fmla="*/ 1254063 h 5973007"/>
              <a:gd name="connsiteX59289" fmla="*/ 5739497 w 6884782"/>
              <a:gd name="connsiteY59289" fmla="*/ 1253958 h 5973007"/>
              <a:gd name="connsiteX59290" fmla="*/ 5747394 w 6884782"/>
              <a:gd name="connsiteY59290" fmla="*/ 1255523 h 5973007"/>
              <a:gd name="connsiteX59291" fmla="*/ 5724772 w 6884782"/>
              <a:gd name="connsiteY59291" fmla="*/ 1274445 h 5973007"/>
              <a:gd name="connsiteX59292" fmla="*/ 5722424 w 6884782"/>
              <a:gd name="connsiteY59292" fmla="*/ 1269039 h 5973007"/>
              <a:gd name="connsiteX59293" fmla="*/ 5739497 w 6884782"/>
              <a:gd name="connsiteY59293" fmla="*/ 1253958 h 5973007"/>
              <a:gd name="connsiteX59294" fmla="*/ 3552799 w 6884782"/>
              <a:gd name="connsiteY59294" fmla="*/ 1253958 h 5973007"/>
              <a:gd name="connsiteX59295" fmla="*/ 3561122 w 6884782"/>
              <a:gd name="connsiteY59295" fmla="*/ 1263348 h 5973007"/>
              <a:gd name="connsiteX59296" fmla="*/ 3566884 w 6884782"/>
              <a:gd name="connsiteY59296" fmla="*/ 1270034 h 5973007"/>
              <a:gd name="connsiteX59297" fmla="*/ 3566884 w 6884782"/>
              <a:gd name="connsiteY59297" fmla="*/ 1269750 h 5973007"/>
              <a:gd name="connsiteX59298" fmla="*/ 3570299 w 6884782"/>
              <a:gd name="connsiteY59298" fmla="*/ 1268185 h 5973007"/>
              <a:gd name="connsiteX59299" fmla="*/ 3570939 w 6884782"/>
              <a:gd name="connsiteY59299" fmla="*/ 1271173 h 5973007"/>
              <a:gd name="connsiteX59300" fmla="*/ 3569232 w 6884782"/>
              <a:gd name="connsiteY59300" fmla="*/ 1272738 h 5973007"/>
              <a:gd name="connsiteX59301" fmla="*/ 3569659 w 6884782"/>
              <a:gd name="connsiteY59301" fmla="*/ 1273164 h 5973007"/>
              <a:gd name="connsiteX59302" fmla="*/ 3563043 w 6884782"/>
              <a:gd name="connsiteY59302" fmla="*/ 1290236 h 5973007"/>
              <a:gd name="connsiteX59303" fmla="*/ 3561335 w 6884782"/>
              <a:gd name="connsiteY59303" fmla="*/ 1283550 h 5973007"/>
              <a:gd name="connsiteX59304" fmla="*/ 3559841 w 6884782"/>
              <a:gd name="connsiteY59304" fmla="*/ 1284830 h 5973007"/>
              <a:gd name="connsiteX59305" fmla="*/ 3556853 w 6884782"/>
              <a:gd name="connsiteY59305" fmla="*/ 1282981 h 5973007"/>
              <a:gd name="connsiteX59306" fmla="*/ 3558774 w 6884782"/>
              <a:gd name="connsiteY59306" fmla="*/ 1280420 h 5973007"/>
              <a:gd name="connsiteX59307" fmla="*/ 3560055 w 6884782"/>
              <a:gd name="connsiteY59307" fmla="*/ 1279282 h 5973007"/>
              <a:gd name="connsiteX59308" fmla="*/ 3556000 w 6884782"/>
              <a:gd name="connsiteY59308" fmla="*/ 1270746 h 5973007"/>
              <a:gd name="connsiteX59309" fmla="*/ 3552799 w 6884782"/>
              <a:gd name="connsiteY59309" fmla="*/ 1253958 h 5973007"/>
              <a:gd name="connsiteX59310" fmla="*/ 3611916 w 6884782"/>
              <a:gd name="connsiteY59310" fmla="*/ 1253673 h 5973007"/>
              <a:gd name="connsiteX59311" fmla="*/ 3619172 w 6884782"/>
              <a:gd name="connsiteY59311" fmla="*/ 1253816 h 5973007"/>
              <a:gd name="connsiteX59312" fmla="*/ 3621946 w 6884782"/>
              <a:gd name="connsiteY59312" fmla="*/ 1259506 h 5973007"/>
              <a:gd name="connsiteX59313" fmla="*/ 3620453 w 6884782"/>
              <a:gd name="connsiteY59313" fmla="*/ 1266478 h 5973007"/>
              <a:gd name="connsiteX59314" fmla="*/ 3611916 w 6884782"/>
              <a:gd name="connsiteY59314" fmla="*/ 1253673 h 5973007"/>
              <a:gd name="connsiteX59315" fmla="*/ 1498248 w 6884782"/>
              <a:gd name="connsiteY59315" fmla="*/ 1253598 h 5973007"/>
              <a:gd name="connsiteX59316" fmla="*/ 1500313 w 6884782"/>
              <a:gd name="connsiteY59316" fmla="*/ 1253753 h 5973007"/>
              <a:gd name="connsiteX59317" fmla="*/ 1499694 w 6884782"/>
              <a:gd name="connsiteY59317" fmla="*/ 1254837 h 5973007"/>
              <a:gd name="connsiteX59318" fmla="*/ 1498248 w 6884782"/>
              <a:gd name="connsiteY59318" fmla="*/ 1253598 h 5973007"/>
              <a:gd name="connsiteX59319" fmla="*/ 1514356 w 6884782"/>
              <a:gd name="connsiteY59319" fmla="*/ 1252979 h 5973007"/>
              <a:gd name="connsiteX59320" fmla="*/ 1500313 w 6884782"/>
              <a:gd name="connsiteY59320" fmla="*/ 1254063 h 5973007"/>
              <a:gd name="connsiteX59321" fmla="*/ 1514356 w 6884782"/>
              <a:gd name="connsiteY59321" fmla="*/ 1252979 h 5973007"/>
              <a:gd name="connsiteX59322" fmla="*/ 1610591 w 6884782"/>
              <a:gd name="connsiteY59322" fmla="*/ 1252669 h 5973007"/>
              <a:gd name="connsiteX59323" fmla="*/ 1615340 w 6884782"/>
              <a:gd name="connsiteY59323" fmla="*/ 1255612 h 5973007"/>
              <a:gd name="connsiteX59324" fmla="*/ 1610384 w 6884782"/>
              <a:gd name="connsiteY59324" fmla="*/ 1256077 h 5973007"/>
              <a:gd name="connsiteX59325" fmla="*/ 1610591 w 6884782"/>
              <a:gd name="connsiteY59325" fmla="*/ 1252669 h 5973007"/>
              <a:gd name="connsiteX59326" fmla="*/ 1527676 w 6884782"/>
              <a:gd name="connsiteY59326" fmla="*/ 1251275 h 5973007"/>
              <a:gd name="connsiteX59327" fmla="*/ 1521377 w 6884782"/>
              <a:gd name="connsiteY59327" fmla="*/ 1252979 h 5973007"/>
              <a:gd name="connsiteX59328" fmla="*/ 1520241 w 6884782"/>
              <a:gd name="connsiteY59328" fmla="*/ 1252359 h 5973007"/>
              <a:gd name="connsiteX59329" fmla="*/ 1527676 w 6884782"/>
              <a:gd name="connsiteY59329" fmla="*/ 1251275 h 5973007"/>
              <a:gd name="connsiteX59330" fmla="*/ 4915911 w 6884782"/>
              <a:gd name="connsiteY59330" fmla="*/ 1250829 h 5973007"/>
              <a:gd name="connsiteX59331" fmla="*/ 4917618 w 6884782"/>
              <a:gd name="connsiteY59331" fmla="*/ 1254385 h 5973007"/>
              <a:gd name="connsiteX59332" fmla="*/ 4915483 w 6884782"/>
              <a:gd name="connsiteY59332" fmla="*/ 1256803 h 5973007"/>
              <a:gd name="connsiteX59333" fmla="*/ 4914630 w 6884782"/>
              <a:gd name="connsiteY59333" fmla="*/ 1259365 h 5973007"/>
              <a:gd name="connsiteX59334" fmla="*/ 4911002 w 6884782"/>
              <a:gd name="connsiteY59334" fmla="*/ 1259506 h 5973007"/>
              <a:gd name="connsiteX59335" fmla="*/ 4911855 w 6884782"/>
              <a:gd name="connsiteY59335" fmla="*/ 1257088 h 5973007"/>
              <a:gd name="connsiteX59336" fmla="*/ 4915911 w 6884782"/>
              <a:gd name="connsiteY59336" fmla="*/ 1250829 h 5973007"/>
              <a:gd name="connsiteX59337" fmla="*/ 1470678 w 6884782"/>
              <a:gd name="connsiteY59337" fmla="*/ 1250345 h 5973007"/>
              <a:gd name="connsiteX59338" fmla="*/ 1474189 w 6884782"/>
              <a:gd name="connsiteY59338" fmla="*/ 1250655 h 5973007"/>
              <a:gd name="connsiteX59339" fmla="*/ 1475015 w 6884782"/>
              <a:gd name="connsiteY59339" fmla="*/ 1253289 h 5973007"/>
              <a:gd name="connsiteX59340" fmla="*/ 1470678 w 6884782"/>
              <a:gd name="connsiteY59340" fmla="*/ 1250345 h 5973007"/>
              <a:gd name="connsiteX59341" fmla="*/ 4454284 w 6884782"/>
              <a:gd name="connsiteY59341" fmla="*/ 1249832 h 5973007"/>
              <a:gd name="connsiteX59342" fmla="*/ 4459406 w 6884782"/>
              <a:gd name="connsiteY59342" fmla="*/ 1250544 h 5973007"/>
              <a:gd name="connsiteX59343" fmla="*/ 4463887 w 6884782"/>
              <a:gd name="connsiteY59343" fmla="*/ 1252962 h 5973007"/>
              <a:gd name="connsiteX59344" fmla="*/ 4466662 w 6884782"/>
              <a:gd name="connsiteY59344" fmla="*/ 1257515 h 5973007"/>
              <a:gd name="connsiteX59345" fmla="*/ 4471357 w 6884782"/>
              <a:gd name="connsiteY59345" fmla="*/ 1264628 h 5973007"/>
              <a:gd name="connsiteX59346" fmla="*/ 4467302 w 6884782"/>
              <a:gd name="connsiteY59346" fmla="*/ 1268754 h 5973007"/>
              <a:gd name="connsiteX59347" fmla="*/ 4449801 w 6884782"/>
              <a:gd name="connsiteY59347" fmla="*/ 1254101 h 5973007"/>
              <a:gd name="connsiteX59348" fmla="*/ 4454284 w 6884782"/>
              <a:gd name="connsiteY59348" fmla="*/ 1249832 h 5973007"/>
              <a:gd name="connsiteX59349" fmla="*/ 1144802 w 6884782"/>
              <a:gd name="connsiteY59349" fmla="*/ 1249571 h 5973007"/>
              <a:gd name="connsiteX59350" fmla="*/ 1146557 w 6884782"/>
              <a:gd name="connsiteY59350" fmla="*/ 1249571 h 5973007"/>
              <a:gd name="connsiteX59351" fmla="*/ 1148106 w 6884782"/>
              <a:gd name="connsiteY59351" fmla="*/ 1250345 h 5973007"/>
              <a:gd name="connsiteX59352" fmla="*/ 1145731 w 6884782"/>
              <a:gd name="connsiteY59352" fmla="*/ 1252979 h 5973007"/>
              <a:gd name="connsiteX59353" fmla="*/ 1144802 w 6884782"/>
              <a:gd name="connsiteY59353" fmla="*/ 1251585 h 5973007"/>
              <a:gd name="connsiteX59354" fmla="*/ 1144182 w 6884782"/>
              <a:gd name="connsiteY59354" fmla="*/ 1252204 h 5973007"/>
              <a:gd name="connsiteX59355" fmla="*/ 1143976 w 6884782"/>
              <a:gd name="connsiteY59355" fmla="*/ 1250345 h 5973007"/>
              <a:gd name="connsiteX59356" fmla="*/ 1144699 w 6884782"/>
              <a:gd name="connsiteY59356" fmla="*/ 1249880 h 5973007"/>
              <a:gd name="connsiteX59357" fmla="*/ 1144802 w 6884782"/>
              <a:gd name="connsiteY59357" fmla="*/ 1249571 h 5973007"/>
              <a:gd name="connsiteX59358" fmla="*/ 1468717 w 6884782"/>
              <a:gd name="connsiteY59358" fmla="*/ 1249416 h 5973007"/>
              <a:gd name="connsiteX59359" fmla="*/ 1470059 w 6884782"/>
              <a:gd name="connsiteY59359" fmla="*/ 1250190 h 5973007"/>
              <a:gd name="connsiteX59360" fmla="*/ 1470059 w 6884782"/>
              <a:gd name="connsiteY59360" fmla="*/ 1250965 h 5973007"/>
              <a:gd name="connsiteX59361" fmla="*/ 1468201 w 6884782"/>
              <a:gd name="connsiteY59361" fmla="*/ 1250035 h 5973007"/>
              <a:gd name="connsiteX59362" fmla="*/ 1468717 w 6884782"/>
              <a:gd name="connsiteY59362" fmla="*/ 1249416 h 5973007"/>
              <a:gd name="connsiteX59363" fmla="*/ 3682984 w 6884782"/>
              <a:gd name="connsiteY59363" fmla="*/ 1248979 h 5973007"/>
              <a:gd name="connsiteX59364" fmla="*/ 3688107 w 6884782"/>
              <a:gd name="connsiteY59364" fmla="*/ 1254954 h 5973007"/>
              <a:gd name="connsiteX59365" fmla="*/ 3681064 w 6884782"/>
              <a:gd name="connsiteY59365" fmla="*/ 1265055 h 5973007"/>
              <a:gd name="connsiteX59366" fmla="*/ 3682984 w 6884782"/>
              <a:gd name="connsiteY59366" fmla="*/ 1248979 h 5973007"/>
              <a:gd name="connsiteX59367" fmla="*/ 3516944 w 6884782"/>
              <a:gd name="connsiteY59367" fmla="*/ 1248836 h 5973007"/>
              <a:gd name="connsiteX59368" fmla="*/ 3519505 w 6884782"/>
              <a:gd name="connsiteY59368" fmla="*/ 1249974 h 5973007"/>
              <a:gd name="connsiteX59369" fmla="*/ 3520359 w 6884782"/>
              <a:gd name="connsiteY59369" fmla="*/ 1252535 h 5973007"/>
              <a:gd name="connsiteX59370" fmla="*/ 3520999 w 6884782"/>
              <a:gd name="connsiteY59370" fmla="*/ 1255523 h 5973007"/>
              <a:gd name="connsiteX59371" fmla="*/ 3519292 w 6884782"/>
              <a:gd name="connsiteY59371" fmla="*/ 1259933 h 5973007"/>
              <a:gd name="connsiteX59372" fmla="*/ 3526548 w 6884782"/>
              <a:gd name="connsiteY59372" fmla="*/ 1264059 h 5973007"/>
              <a:gd name="connsiteX59373" fmla="*/ 3533804 w 6884782"/>
              <a:gd name="connsiteY59373" fmla="*/ 1271031 h 5973007"/>
              <a:gd name="connsiteX59374" fmla="*/ 3503925 w 6884782"/>
              <a:gd name="connsiteY59374" fmla="*/ 1251397 h 5973007"/>
              <a:gd name="connsiteX59375" fmla="*/ 3509261 w 6884782"/>
              <a:gd name="connsiteY59375" fmla="*/ 1254811 h 5973007"/>
              <a:gd name="connsiteX59376" fmla="*/ 3509901 w 6884782"/>
              <a:gd name="connsiteY59376" fmla="*/ 1251966 h 5973007"/>
              <a:gd name="connsiteX59377" fmla="*/ 3516944 w 6884782"/>
              <a:gd name="connsiteY59377" fmla="*/ 1248836 h 5973007"/>
              <a:gd name="connsiteX59378" fmla="*/ 4047292 w 6884782"/>
              <a:gd name="connsiteY59378" fmla="*/ 1248409 h 5973007"/>
              <a:gd name="connsiteX59379" fmla="*/ 4047505 w 6884782"/>
              <a:gd name="connsiteY59379" fmla="*/ 1253247 h 5973007"/>
              <a:gd name="connsiteX59380" fmla="*/ 4045158 w 6884782"/>
              <a:gd name="connsiteY59380" fmla="*/ 1253247 h 5973007"/>
              <a:gd name="connsiteX59381" fmla="*/ 4027871 w 6884782"/>
              <a:gd name="connsiteY59381" fmla="*/ 1258368 h 5973007"/>
              <a:gd name="connsiteX59382" fmla="*/ 4047292 w 6884782"/>
              <a:gd name="connsiteY59382" fmla="*/ 1248409 h 5973007"/>
              <a:gd name="connsiteX59383" fmla="*/ 1464587 w 6884782"/>
              <a:gd name="connsiteY59383" fmla="*/ 1247712 h 5973007"/>
              <a:gd name="connsiteX59384" fmla="*/ 1466445 w 6884782"/>
              <a:gd name="connsiteY59384" fmla="*/ 1249880 h 5973007"/>
              <a:gd name="connsiteX59385" fmla="*/ 1466755 w 6884782"/>
              <a:gd name="connsiteY59385" fmla="*/ 1250965 h 5973007"/>
              <a:gd name="connsiteX59386" fmla="*/ 1467581 w 6884782"/>
              <a:gd name="connsiteY59386" fmla="*/ 1251585 h 5973007"/>
              <a:gd name="connsiteX59387" fmla="*/ 1467168 w 6884782"/>
              <a:gd name="connsiteY59387" fmla="*/ 1252204 h 5973007"/>
              <a:gd name="connsiteX59388" fmla="*/ 1467788 w 6884782"/>
              <a:gd name="connsiteY59388" fmla="*/ 1254528 h 5973007"/>
              <a:gd name="connsiteX59389" fmla="*/ 1471092 w 6884782"/>
              <a:gd name="connsiteY59389" fmla="*/ 1259484 h 5973007"/>
              <a:gd name="connsiteX59390" fmla="*/ 1471401 w 6884782"/>
              <a:gd name="connsiteY59390" fmla="*/ 1265525 h 5973007"/>
              <a:gd name="connsiteX59391" fmla="*/ 1469027 w 6884782"/>
              <a:gd name="connsiteY59391" fmla="*/ 1265835 h 5973007"/>
              <a:gd name="connsiteX59392" fmla="*/ 1469749 w 6884782"/>
              <a:gd name="connsiteY59392" fmla="*/ 1268313 h 5973007"/>
              <a:gd name="connsiteX59393" fmla="*/ 1463347 w 6884782"/>
              <a:gd name="connsiteY59393" fmla="*/ 1276523 h 5973007"/>
              <a:gd name="connsiteX59394" fmla="*/ 1458185 w 6884782"/>
              <a:gd name="connsiteY59394" fmla="*/ 1276058 h 5973007"/>
              <a:gd name="connsiteX59395" fmla="*/ 1455397 w 6884782"/>
              <a:gd name="connsiteY59395" fmla="*/ 1274045 h 5973007"/>
              <a:gd name="connsiteX59396" fmla="*/ 1455294 w 6884782"/>
              <a:gd name="connsiteY59396" fmla="*/ 1274045 h 5973007"/>
              <a:gd name="connsiteX59397" fmla="*/ 1449614 w 6884782"/>
              <a:gd name="connsiteY59397" fmla="*/ 1274354 h 5973007"/>
              <a:gd name="connsiteX59398" fmla="*/ 1443212 w 6884782"/>
              <a:gd name="connsiteY59398" fmla="*/ 1271876 h 5973007"/>
              <a:gd name="connsiteX59399" fmla="*/ 1442283 w 6884782"/>
              <a:gd name="connsiteY59399" fmla="*/ 1269552 h 5973007"/>
              <a:gd name="connsiteX59400" fmla="*/ 1439908 w 6884782"/>
              <a:gd name="connsiteY59400" fmla="*/ 1271411 h 5973007"/>
              <a:gd name="connsiteX59401" fmla="*/ 1436398 w 6884782"/>
              <a:gd name="connsiteY59401" fmla="*/ 1271876 h 5973007"/>
              <a:gd name="connsiteX59402" fmla="*/ 1439185 w 6884782"/>
              <a:gd name="connsiteY59402" fmla="*/ 1268778 h 5973007"/>
              <a:gd name="connsiteX59403" fmla="*/ 1440631 w 6884782"/>
              <a:gd name="connsiteY59403" fmla="*/ 1267694 h 5973007"/>
              <a:gd name="connsiteX59404" fmla="*/ 1441870 w 6884782"/>
              <a:gd name="connsiteY59404" fmla="*/ 1268623 h 5973007"/>
              <a:gd name="connsiteX59405" fmla="*/ 1441767 w 6884782"/>
              <a:gd name="connsiteY59405" fmla="*/ 1268313 h 5973007"/>
              <a:gd name="connsiteX59406" fmla="*/ 1441973 w 6884782"/>
              <a:gd name="connsiteY59406" fmla="*/ 1263976 h 5973007"/>
              <a:gd name="connsiteX59407" fmla="*/ 1441870 w 6884782"/>
              <a:gd name="connsiteY59407" fmla="*/ 1263822 h 5973007"/>
              <a:gd name="connsiteX59408" fmla="*/ 1441664 w 6884782"/>
              <a:gd name="connsiteY59408" fmla="*/ 1262582 h 5973007"/>
              <a:gd name="connsiteX59409" fmla="*/ 1441973 w 6884782"/>
              <a:gd name="connsiteY59409" fmla="*/ 1262737 h 5973007"/>
              <a:gd name="connsiteX59410" fmla="*/ 1442076 w 6884782"/>
              <a:gd name="connsiteY59410" fmla="*/ 1262737 h 5973007"/>
              <a:gd name="connsiteX59411" fmla="*/ 1443419 w 6884782"/>
              <a:gd name="connsiteY59411" fmla="*/ 1263202 h 5973007"/>
              <a:gd name="connsiteX59412" fmla="*/ 1443935 w 6884782"/>
              <a:gd name="connsiteY59412" fmla="*/ 1263512 h 5973007"/>
              <a:gd name="connsiteX59413" fmla="*/ 1445897 w 6884782"/>
              <a:gd name="connsiteY59413" fmla="*/ 1264441 h 5973007"/>
              <a:gd name="connsiteX59414" fmla="*/ 1446930 w 6884782"/>
              <a:gd name="connsiteY59414" fmla="*/ 1264286 h 5973007"/>
              <a:gd name="connsiteX59415" fmla="*/ 1449718 w 6884782"/>
              <a:gd name="connsiteY59415" fmla="*/ 1265990 h 5973007"/>
              <a:gd name="connsiteX59416" fmla="*/ 1454054 w 6884782"/>
              <a:gd name="connsiteY59416" fmla="*/ 1266764 h 5973007"/>
              <a:gd name="connsiteX59417" fmla="*/ 1454054 w 6884782"/>
              <a:gd name="connsiteY59417" fmla="*/ 1265370 h 5973007"/>
              <a:gd name="connsiteX59418" fmla="*/ 1455603 w 6884782"/>
              <a:gd name="connsiteY59418" fmla="*/ 1262892 h 5973007"/>
              <a:gd name="connsiteX59419" fmla="*/ 1457462 w 6884782"/>
              <a:gd name="connsiteY59419" fmla="*/ 1261808 h 5973007"/>
              <a:gd name="connsiteX59420" fmla="*/ 1455809 w 6884782"/>
              <a:gd name="connsiteY59420" fmla="*/ 1261808 h 5973007"/>
              <a:gd name="connsiteX59421" fmla="*/ 1457152 w 6884782"/>
              <a:gd name="connsiteY59421" fmla="*/ 1258400 h 5973007"/>
              <a:gd name="connsiteX59422" fmla="*/ 1459940 w 6884782"/>
              <a:gd name="connsiteY59422" fmla="*/ 1257625 h 5973007"/>
              <a:gd name="connsiteX59423" fmla="*/ 1459837 w 6884782"/>
              <a:gd name="connsiteY59423" fmla="*/ 1258555 h 5973007"/>
              <a:gd name="connsiteX59424" fmla="*/ 1460043 w 6884782"/>
              <a:gd name="connsiteY59424" fmla="*/ 1261343 h 5973007"/>
              <a:gd name="connsiteX59425" fmla="*/ 1463038 w 6884782"/>
              <a:gd name="connsiteY59425" fmla="*/ 1261033 h 5973007"/>
              <a:gd name="connsiteX59426" fmla="*/ 1464587 w 6884782"/>
              <a:gd name="connsiteY59426" fmla="*/ 1261653 h 5973007"/>
              <a:gd name="connsiteX59427" fmla="*/ 1465929 w 6884782"/>
              <a:gd name="connsiteY59427" fmla="*/ 1261188 h 5973007"/>
              <a:gd name="connsiteX59428" fmla="*/ 1464587 w 6884782"/>
              <a:gd name="connsiteY59428" fmla="*/ 1255922 h 5973007"/>
              <a:gd name="connsiteX59429" fmla="*/ 1463864 w 6884782"/>
              <a:gd name="connsiteY59429" fmla="*/ 1249880 h 5973007"/>
              <a:gd name="connsiteX59430" fmla="*/ 1463967 w 6884782"/>
              <a:gd name="connsiteY59430" fmla="*/ 1249571 h 5973007"/>
              <a:gd name="connsiteX59431" fmla="*/ 1463657 w 6884782"/>
              <a:gd name="connsiteY59431" fmla="*/ 1249571 h 5973007"/>
              <a:gd name="connsiteX59432" fmla="*/ 1464070 w 6884782"/>
              <a:gd name="connsiteY59432" fmla="*/ 1249261 h 5973007"/>
              <a:gd name="connsiteX59433" fmla="*/ 3634538 w 6884782"/>
              <a:gd name="connsiteY59433" fmla="*/ 1247556 h 5973007"/>
              <a:gd name="connsiteX59434" fmla="*/ 3639660 w 6884782"/>
              <a:gd name="connsiteY59434" fmla="*/ 1259222 h 5973007"/>
              <a:gd name="connsiteX59435" fmla="*/ 3631124 w 6884782"/>
              <a:gd name="connsiteY59435" fmla="*/ 1247982 h 5973007"/>
              <a:gd name="connsiteX59436" fmla="*/ 3634538 w 6884782"/>
              <a:gd name="connsiteY59436" fmla="*/ 1247556 h 5973007"/>
              <a:gd name="connsiteX59437" fmla="*/ 3491120 w 6884782"/>
              <a:gd name="connsiteY59437" fmla="*/ 1247414 h 5973007"/>
              <a:gd name="connsiteX59438" fmla="*/ 3497950 w 6884782"/>
              <a:gd name="connsiteY59438" fmla="*/ 1280135 h 5973007"/>
              <a:gd name="connsiteX59439" fmla="*/ 3491120 w 6884782"/>
              <a:gd name="connsiteY59439" fmla="*/ 1247414 h 5973007"/>
              <a:gd name="connsiteX59440" fmla="*/ 5036066 w 6884782"/>
              <a:gd name="connsiteY59440" fmla="*/ 1247271 h 5973007"/>
              <a:gd name="connsiteX59441" fmla="*/ 5039480 w 6884782"/>
              <a:gd name="connsiteY59441" fmla="*/ 1253247 h 5973007"/>
              <a:gd name="connsiteX59442" fmla="*/ 5036706 w 6884782"/>
              <a:gd name="connsiteY59442" fmla="*/ 1274871 h 5973007"/>
              <a:gd name="connsiteX59443" fmla="*/ 5032224 w 6884782"/>
              <a:gd name="connsiteY59443" fmla="*/ 1261640 h 5973007"/>
              <a:gd name="connsiteX59444" fmla="*/ 5036066 w 6884782"/>
              <a:gd name="connsiteY59444" fmla="*/ 1247271 h 5973007"/>
              <a:gd name="connsiteX59445" fmla="*/ 4123483 w 6884782"/>
              <a:gd name="connsiteY59445" fmla="*/ 1247271 h 5973007"/>
              <a:gd name="connsiteX59446" fmla="*/ 4124764 w 6884782"/>
              <a:gd name="connsiteY59446" fmla="*/ 1248694 h 5973007"/>
              <a:gd name="connsiteX59447" fmla="*/ 4125617 w 6884782"/>
              <a:gd name="connsiteY59447" fmla="*/ 1251397 h 5973007"/>
              <a:gd name="connsiteX59448" fmla="*/ 4120068 w 6884782"/>
              <a:gd name="connsiteY59448" fmla="*/ 1253531 h 5973007"/>
              <a:gd name="connsiteX59449" fmla="*/ 4117293 w 6884782"/>
              <a:gd name="connsiteY59449" fmla="*/ 1251112 h 5973007"/>
              <a:gd name="connsiteX59450" fmla="*/ 4120068 w 6884782"/>
              <a:gd name="connsiteY59450" fmla="*/ 1248267 h 5973007"/>
              <a:gd name="connsiteX59451" fmla="*/ 4123483 w 6884782"/>
              <a:gd name="connsiteY59451" fmla="*/ 1247271 h 5973007"/>
              <a:gd name="connsiteX59452" fmla="*/ 5654983 w 6884782"/>
              <a:gd name="connsiteY59452" fmla="*/ 1246845 h 5973007"/>
              <a:gd name="connsiteX59453" fmla="*/ 5659038 w 6884782"/>
              <a:gd name="connsiteY59453" fmla="*/ 1251539 h 5973007"/>
              <a:gd name="connsiteX59454" fmla="*/ 5655837 w 6884782"/>
              <a:gd name="connsiteY59454" fmla="*/ 1261214 h 5973007"/>
              <a:gd name="connsiteX59455" fmla="*/ 5647940 w 6884782"/>
              <a:gd name="connsiteY59455" fmla="*/ 1258653 h 5973007"/>
              <a:gd name="connsiteX59456" fmla="*/ 5647300 w 6884782"/>
              <a:gd name="connsiteY59456" fmla="*/ 1255096 h 5973007"/>
              <a:gd name="connsiteX59457" fmla="*/ 5649007 w 6884782"/>
              <a:gd name="connsiteY59457" fmla="*/ 1247982 h 5973007"/>
              <a:gd name="connsiteX59458" fmla="*/ 5647940 w 6884782"/>
              <a:gd name="connsiteY59458" fmla="*/ 1247982 h 5973007"/>
              <a:gd name="connsiteX59459" fmla="*/ 5654983 w 6884782"/>
              <a:gd name="connsiteY59459" fmla="*/ 1246845 h 5973007"/>
              <a:gd name="connsiteX59460" fmla="*/ 4984632 w 6884782"/>
              <a:gd name="connsiteY59460" fmla="*/ 1246845 h 5973007"/>
              <a:gd name="connsiteX59461" fmla="*/ 4985272 w 6884782"/>
              <a:gd name="connsiteY59461" fmla="*/ 1251682 h 5973007"/>
              <a:gd name="connsiteX59462" fmla="*/ 4982924 w 6884782"/>
              <a:gd name="connsiteY59462" fmla="*/ 1251824 h 5973007"/>
              <a:gd name="connsiteX59463" fmla="*/ 4975881 w 6884782"/>
              <a:gd name="connsiteY59463" fmla="*/ 1257088 h 5973007"/>
              <a:gd name="connsiteX59464" fmla="*/ 4975454 w 6884782"/>
              <a:gd name="connsiteY59464" fmla="*/ 1257230 h 5973007"/>
              <a:gd name="connsiteX59465" fmla="*/ 4977589 w 6884782"/>
              <a:gd name="connsiteY59465" fmla="*/ 1258511 h 5973007"/>
              <a:gd name="connsiteX59466" fmla="*/ 4980363 w 6884782"/>
              <a:gd name="connsiteY59466" fmla="*/ 1259933 h 5973007"/>
              <a:gd name="connsiteX59467" fmla="*/ 4980577 w 6884782"/>
              <a:gd name="connsiteY59467" fmla="*/ 1260075 h 5973007"/>
              <a:gd name="connsiteX59468" fmla="*/ 4981217 w 6884782"/>
              <a:gd name="connsiteY59468" fmla="*/ 1259791 h 5973007"/>
              <a:gd name="connsiteX59469" fmla="*/ 4985485 w 6884782"/>
              <a:gd name="connsiteY59469" fmla="*/ 1260075 h 5973007"/>
              <a:gd name="connsiteX59470" fmla="*/ 4984418 w 6884782"/>
              <a:gd name="connsiteY59470" fmla="*/ 1260075 h 5973007"/>
              <a:gd name="connsiteX59471" fmla="*/ 4985699 w 6884782"/>
              <a:gd name="connsiteY59471" fmla="*/ 1261214 h 5973007"/>
              <a:gd name="connsiteX59472" fmla="*/ 4982071 w 6884782"/>
              <a:gd name="connsiteY59472" fmla="*/ 1262352 h 5973007"/>
              <a:gd name="connsiteX59473" fmla="*/ 4982497 w 6884782"/>
              <a:gd name="connsiteY59473" fmla="*/ 1263063 h 5973007"/>
              <a:gd name="connsiteX59474" fmla="*/ 4984418 w 6884782"/>
              <a:gd name="connsiteY59474" fmla="*/ 1267189 h 5973007"/>
              <a:gd name="connsiteX59475" fmla="*/ 4981857 w 6884782"/>
              <a:gd name="connsiteY59475" fmla="*/ 1269466 h 5973007"/>
              <a:gd name="connsiteX59476" fmla="*/ 4983778 w 6884782"/>
              <a:gd name="connsiteY59476" fmla="*/ 1271884 h 5973007"/>
              <a:gd name="connsiteX59477" fmla="*/ 4981217 w 6884782"/>
              <a:gd name="connsiteY59477" fmla="*/ 1287392 h 5973007"/>
              <a:gd name="connsiteX59478" fmla="*/ 4975028 w 6884782"/>
              <a:gd name="connsiteY59478" fmla="*/ 1290806 h 5973007"/>
              <a:gd name="connsiteX59479" fmla="*/ 4967131 w 6884782"/>
              <a:gd name="connsiteY59479" fmla="*/ 1288245 h 5973007"/>
              <a:gd name="connsiteX59480" fmla="*/ 4966278 w 6884782"/>
              <a:gd name="connsiteY59480" fmla="*/ 1272879 h 5973007"/>
              <a:gd name="connsiteX59481" fmla="*/ 4977375 w 6884782"/>
              <a:gd name="connsiteY59481" fmla="*/ 1267047 h 5973007"/>
              <a:gd name="connsiteX59482" fmla="*/ 4976308 w 6884782"/>
              <a:gd name="connsiteY59482" fmla="*/ 1266904 h 5973007"/>
              <a:gd name="connsiteX59483" fmla="*/ 4974174 w 6884782"/>
              <a:gd name="connsiteY59483" fmla="*/ 1264343 h 5973007"/>
              <a:gd name="connsiteX59484" fmla="*/ 4972040 w 6884782"/>
              <a:gd name="connsiteY59484" fmla="*/ 1264486 h 5973007"/>
              <a:gd name="connsiteX59485" fmla="*/ 4969906 w 6884782"/>
              <a:gd name="connsiteY59485" fmla="*/ 1264486 h 5973007"/>
              <a:gd name="connsiteX59486" fmla="*/ 4969692 w 6884782"/>
              <a:gd name="connsiteY59486" fmla="*/ 1263348 h 5973007"/>
              <a:gd name="connsiteX59487" fmla="*/ 4972680 w 6884782"/>
              <a:gd name="connsiteY59487" fmla="*/ 1262637 h 5973007"/>
              <a:gd name="connsiteX59488" fmla="*/ 4969479 w 6884782"/>
              <a:gd name="connsiteY59488" fmla="*/ 1258368 h 5973007"/>
              <a:gd name="connsiteX59489" fmla="*/ 4966704 w 6884782"/>
              <a:gd name="connsiteY59489" fmla="*/ 1258938 h 5973007"/>
              <a:gd name="connsiteX59490" fmla="*/ 4968412 w 6884782"/>
              <a:gd name="connsiteY59490" fmla="*/ 1256803 h 5973007"/>
              <a:gd name="connsiteX59491" fmla="*/ 4966704 w 6884782"/>
              <a:gd name="connsiteY59491" fmla="*/ 1253531 h 5973007"/>
              <a:gd name="connsiteX59492" fmla="*/ 4966278 w 6884782"/>
              <a:gd name="connsiteY59492" fmla="*/ 1250117 h 5973007"/>
              <a:gd name="connsiteX59493" fmla="*/ 4969692 w 6884782"/>
              <a:gd name="connsiteY59493" fmla="*/ 1251255 h 5973007"/>
              <a:gd name="connsiteX59494" fmla="*/ 4970759 w 6884782"/>
              <a:gd name="connsiteY59494" fmla="*/ 1252535 h 5973007"/>
              <a:gd name="connsiteX59495" fmla="*/ 4971826 w 6884782"/>
              <a:gd name="connsiteY59495" fmla="*/ 1252535 h 5973007"/>
              <a:gd name="connsiteX59496" fmla="*/ 4971826 w 6884782"/>
              <a:gd name="connsiteY59496" fmla="*/ 1252962 h 5973007"/>
              <a:gd name="connsiteX59497" fmla="*/ 4976735 w 6884782"/>
              <a:gd name="connsiteY59497" fmla="*/ 1250970 h 5973007"/>
              <a:gd name="connsiteX59498" fmla="*/ 4984632 w 6884782"/>
              <a:gd name="connsiteY59498" fmla="*/ 1246845 h 5973007"/>
              <a:gd name="connsiteX59499" fmla="*/ 1032562 w 6884782"/>
              <a:gd name="connsiteY59499" fmla="*/ 1246628 h 5973007"/>
              <a:gd name="connsiteX59500" fmla="*/ 1035763 w 6884782"/>
              <a:gd name="connsiteY59500" fmla="*/ 1250500 h 5973007"/>
              <a:gd name="connsiteX59501" fmla="*/ 1027193 w 6884782"/>
              <a:gd name="connsiteY59501" fmla="*/ 1252514 h 5973007"/>
              <a:gd name="connsiteX59502" fmla="*/ 1032562 w 6884782"/>
              <a:gd name="connsiteY59502" fmla="*/ 1246628 h 5973007"/>
              <a:gd name="connsiteX59503" fmla="*/ 1370933 w 6884782"/>
              <a:gd name="connsiteY59503" fmla="*/ 1246473 h 5973007"/>
              <a:gd name="connsiteX59504" fmla="*/ 1372172 w 6884782"/>
              <a:gd name="connsiteY59504" fmla="*/ 1246782 h 5973007"/>
              <a:gd name="connsiteX59505" fmla="*/ 1369281 w 6884782"/>
              <a:gd name="connsiteY59505" fmla="*/ 1250655 h 5973007"/>
              <a:gd name="connsiteX59506" fmla="*/ 1370933 w 6884782"/>
              <a:gd name="connsiteY59506" fmla="*/ 1246473 h 5973007"/>
              <a:gd name="connsiteX59507" fmla="*/ 4157844 w 6884782"/>
              <a:gd name="connsiteY59507" fmla="*/ 1246417 h 5973007"/>
              <a:gd name="connsiteX59508" fmla="*/ 4165313 w 6884782"/>
              <a:gd name="connsiteY59508" fmla="*/ 1247698 h 5973007"/>
              <a:gd name="connsiteX59509" fmla="*/ 4155069 w 6884782"/>
              <a:gd name="connsiteY59509" fmla="*/ 1260502 h 5973007"/>
              <a:gd name="connsiteX59510" fmla="*/ 4151868 w 6884782"/>
              <a:gd name="connsiteY59510" fmla="*/ 1249121 h 5973007"/>
              <a:gd name="connsiteX59511" fmla="*/ 4157844 w 6884782"/>
              <a:gd name="connsiteY59511" fmla="*/ 1246417 h 5973007"/>
              <a:gd name="connsiteX59512" fmla="*/ 1449821 w 6884782"/>
              <a:gd name="connsiteY59512" fmla="*/ 1245544 h 5973007"/>
              <a:gd name="connsiteX59513" fmla="*/ 1463657 w 6884782"/>
              <a:gd name="connsiteY59513" fmla="*/ 1249416 h 5973007"/>
              <a:gd name="connsiteX59514" fmla="*/ 1449821 w 6884782"/>
              <a:gd name="connsiteY59514" fmla="*/ 1245544 h 5973007"/>
              <a:gd name="connsiteX59515" fmla="*/ 3508194 w 6884782"/>
              <a:gd name="connsiteY59515" fmla="*/ 1245422 h 5973007"/>
              <a:gd name="connsiteX59516" fmla="*/ 3510328 w 6884782"/>
              <a:gd name="connsiteY59516" fmla="*/ 1246133 h 5973007"/>
              <a:gd name="connsiteX59517" fmla="*/ 3510968 w 6884782"/>
              <a:gd name="connsiteY59517" fmla="*/ 1248125 h 5973007"/>
              <a:gd name="connsiteX59518" fmla="*/ 3509047 w 6884782"/>
              <a:gd name="connsiteY59518" fmla="*/ 1250686 h 5973007"/>
              <a:gd name="connsiteX59519" fmla="*/ 3505846 w 6884782"/>
              <a:gd name="connsiteY59519" fmla="*/ 1246560 h 5973007"/>
              <a:gd name="connsiteX59520" fmla="*/ 3508194 w 6884782"/>
              <a:gd name="connsiteY59520" fmla="*/ 1245422 h 5973007"/>
              <a:gd name="connsiteX59521" fmla="*/ 1213674 w 6884782"/>
              <a:gd name="connsiteY59521" fmla="*/ 1245234 h 5973007"/>
              <a:gd name="connsiteX59522" fmla="*/ 1219250 w 6884782"/>
              <a:gd name="connsiteY59522" fmla="*/ 1254837 h 5973007"/>
              <a:gd name="connsiteX59523" fmla="*/ 1215636 w 6884782"/>
              <a:gd name="connsiteY59523" fmla="*/ 1256386 h 5973007"/>
              <a:gd name="connsiteX59524" fmla="*/ 1216152 w 6884782"/>
              <a:gd name="connsiteY59524" fmla="*/ 1256541 h 5973007"/>
              <a:gd name="connsiteX59525" fmla="*/ 1192816 w 6884782"/>
              <a:gd name="connsiteY59525" fmla="*/ 1257625 h 5973007"/>
              <a:gd name="connsiteX59526" fmla="*/ 1205620 w 6884782"/>
              <a:gd name="connsiteY59526" fmla="*/ 1253289 h 5973007"/>
              <a:gd name="connsiteX59527" fmla="*/ 1209750 w 6884782"/>
              <a:gd name="connsiteY59527" fmla="*/ 1253753 h 5973007"/>
              <a:gd name="connsiteX59528" fmla="*/ 1210679 w 6884782"/>
              <a:gd name="connsiteY59528" fmla="*/ 1250810 h 5973007"/>
              <a:gd name="connsiteX59529" fmla="*/ 1213674 w 6884782"/>
              <a:gd name="connsiteY59529" fmla="*/ 1245234 h 5973007"/>
              <a:gd name="connsiteX59530" fmla="*/ 3977717 w 6884782"/>
              <a:gd name="connsiteY59530" fmla="*/ 1245137 h 5973007"/>
              <a:gd name="connsiteX59531" fmla="*/ 3979211 w 6884782"/>
              <a:gd name="connsiteY59531" fmla="*/ 1248836 h 5973007"/>
              <a:gd name="connsiteX59532" fmla="*/ 3976863 w 6884782"/>
              <a:gd name="connsiteY59532" fmla="*/ 1251112 h 5973007"/>
              <a:gd name="connsiteX59533" fmla="*/ 3975796 w 6884782"/>
              <a:gd name="connsiteY59533" fmla="*/ 1253389 h 5973007"/>
              <a:gd name="connsiteX59534" fmla="*/ 3972168 w 6884782"/>
              <a:gd name="connsiteY59534" fmla="*/ 1253247 h 5973007"/>
              <a:gd name="connsiteX59535" fmla="*/ 3973235 w 6884782"/>
              <a:gd name="connsiteY59535" fmla="*/ 1250970 h 5973007"/>
              <a:gd name="connsiteX59536" fmla="*/ 3977717 w 6884782"/>
              <a:gd name="connsiteY59536" fmla="*/ 1245137 h 5973007"/>
              <a:gd name="connsiteX59537" fmla="*/ 1340060 w 6884782"/>
              <a:gd name="connsiteY59537" fmla="*/ 1243840 h 5973007"/>
              <a:gd name="connsiteX59538" fmla="*/ 1341608 w 6884782"/>
              <a:gd name="connsiteY59538" fmla="*/ 1247712 h 5973007"/>
              <a:gd name="connsiteX59539" fmla="*/ 1336239 w 6884782"/>
              <a:gd name="connsiteY59539" fmla="*/ 1254063 h 5973007"/>
              <a:gd name="connsiteX59540" fmla="*/ 1334380 w 6884782"/>
              <a:gd name="connsiteY59540" fmla="*/ 1251430 h 5973007"/>
              <a:gd name="connsiteX59541" fmla="*/ 1337994 w 6884782"/>
              <a:gd name="connsiteY59541" fmla="*/ 1244459 h 5973007"/>
              <a:gd name="connsiteX59542" fmla="*/ 1340060 w 6884782"/>
              <a:gd name="connsiteY59542" fmla="*/ 1243840 h 5973007"/>
              <a:gd name="connsiteX59543" fmla="*/ 1300099 w 6884782"/>
              <a:gd name="connsiteY59543" fmla="*/ 1243685 h 5973007"/>
              <a:gd name="connsiteX59544" fmla="*/ 1300512 w 6884782"/>
              <a:gd name="connsiteY59544" fmla="*/ 1251275 h 5973007"/>
              <a:gd name="connsiteX59545" fmla="*/ 1298860 w 6884782"/>
              <a:gd name="connsiteY59545" fmla="*/ 1252359 h 5973007"/>
              <a:gd name="connsiteX59546" fmla="*/ 1294524 w 6884782"/>
              <a:gd name="connsiteY59546" fmla="*/ 1253908 h 5973007"/>
              <a:gd name="connsiteX59547" fmla="*/ 1292768 w 6884782"/>
              <a:gd name="connsiteY59547" fmla="*/ 1251430 h 5973007"/>
              <a:gd name="connsiteX59548" fmla="*/ 1294214 w 6884782"/>
              <a:gd name="connsiteY59548" fmla="*/ 1247867 h 5973007"/>
              <a:gd name="connsiteX59549" fmla="*/ 1300099 w 6884782"/>
              <a:gd name="connsiteY59549" fmla="*/ 1243685 h 5973007"/>
              <a:gd name="connsiteX59550" fmla="*/ 4782523 w 6884782"/>
              <a:gd name="connsiteY59550" fmla="*/ 1243003 h 5973007"/>
              <a:gd name="connsiteX59551" fmla="*/ 4787219 w 6884782"/>
              <a:gd name="connsiteY59551" fmla="*/ 1245991 h 5973007"/>
              <a:gd name="connsiteX59552" fmla="*/ 4786578 w 6884782"/>
              <a:gd name="connsiteY59552" fmla="*/ 1252962 h 5973007"/>
              <a:gd name="connsiteX59553" fmla="*/ 4787005 w 6884782"/>
              <a:gd name="connsiteY59553" fmla="*/ 1257515 h 5973007"/>
              <a:gd name="connsiteX59554" fmla="*/ 4784444 w 6884782"/>
              <a:gd name="connsiteY59554" fmla="*/ 1260360 h 5973007"/>
              <a:gd name="connsiteX59555" fmla="*/ 4779749 w 6884782"/>
              <a:gd name="connsiteY59555" fmla="*/ 1251397 h 5973007"/>
              <a:gd name="connsiteX59556" fmla="*/ 4782523 w 6884782"/>
              <a:gd name="connsiteY59556" fmla="*/ 1243003 h 5973007"/>
              <a:gd name="connsiteX59557" fmla="*/ 4013358 w 6884782"/>
              <a:gd name="connsiteY59557" fmla="*/ 1242576 h 5973007"/>
              <a:gd name="connsiteX59558" fmla="*/ 4014639 w 6884782"/>
              <a:gd name="connsiteY59558" fmla="*/ 1243430 h 5973007"/>
              <a:gd name="connsiteX59559" fmla="*/ 4012504 w 6884782"/>
              <a:gd name="connsiteY59559" fmla="*/ 1243715 h 5973007"/>
              <a:gd name="connsiteX59560" fmla="*/ 4013358 w 6884782"/>
              <a:gd name="connsiteY59560" fmla="*/ 1242576 h 5973007"/>
              <a:gd name="connsiteX59561" fmla="*/ 4009517 w 6884782"/>
              <a:gd name="connsiteY59561" fmla="*/ 1242576 h 5973007"/>
              <a:gd name="connsiteX59562" fmla="*/ 4009303 w 6884782"/>
              <a:gd name="connsiteY59562" fmla="*/ 1249121 h 5973007"/>
              <a:gd name="connsiteX59563" fmla="*/ 4008023 w 6884782"/>
              <a:gd name="connsiteY59563" fmla="*/ 1243003 h 5973007"/>
              <a:gd name="connsiteX59564" fmla="*/ 4009517 w 6884782"/>
              <a:gd name="connsiteY59564" fmla="*/ 1242576 h 5973007"/>
              <a:gd name="connsiteX59565" fmla="*/ 1285334 w 6884782"/>
              <a:gd name="connsiteY59565" fmla="*/ 1242291 h 5973007"/>
              <a:gd name="connsiteX59566" fmla="*/ 1290290 w 6884782"/>
              <a:gd name="connsiteY59566" fmla="*/ 1246628 h 5973007"/>
              <a:gd name="connsiteX59567" fmla="*/ 1289258 w 6884782"/>
              <a:gd name="connsiteY59567" fmla="*/ 1248332 h 5973007"/>
              <a:gd name="connsiteX59568" fmla="*/ 1286883 w 6884782"/>
              <a:gd name="connsiteY59568" fmla="*/ 1247867 h 5973007"/>
              <a:gd name="connsiteX59569" fmla="*/ 1284198 w 6884782"/>
              <a:gd name="connsiteY59569" fmla="*/ 1243995 h 5973007"/>
              <a:gd name="connsiteX59570" fmla="*/ 1285334 w 6884782"/>
              <a:gd name="connsiteY59570" fmla="*/ 1242291 h 5973007"/>
              <a:gd name="connsiteX59571" fmla="*/ 4396446 w 6884782"/>
              <a:gd name="connsiteY59571" fmla="*/ 1242007 h 5973007"/>
              <a:gd name="connsiteX59572" fmla="*/ 4400289 w 6884782"/>
              <a:gd name="connsiteY59572" fmla="*/ 1244568 h 5973007"/>
              <a:gd name="connsiteX59573" fmla="*/ 4397087 w 6884782"/>
              <a:gd name="connsiteY59573" fmla="*/ 1253104 h 5973007"/>
              <a:gd name="connsiteX59574" fmla="*/ 4391538 w 6884782"/>
              <a:gd name="connsiteY59574" fmla="*/ 1243999 h 5973007"/>
              <a:gd name="connsiteX59575" fmla="*/ 4396446 w 6884782"/>
              <a:gd name="connsiteY59575" fmla="*/ 1242007 h 5973007"/>
              <a:gd name="connsiteX59576" fmla="*/ 4907587 w 6884782"/>
              <a:gd name="connsiteY59576" fmla="*/ 1241580 h 5973007"/>
              <a:gd name="connsiteX59577" fmla="*/ 4909721 w 6884782"/>
              <a:gd name="connsiteY59577" fmla="*/ 1241580 h 5973007"/>
              <a:gd name="connsiteX59578" fmla="*/ 4908654 w 6884782"/>
              <a:gd name="connsiteY59578" fmla="*/ 1249121 h 5973007"/>
              <a:gd name="connsiteX59579" fmla="*/ 4905453 w 6884782"/>
              <a:gd name="connsiteY59579" fmla="*/ 1250544 h 5973007"/>
              <a:gd name="connsiteX59580" fmla="*/ 4905026 w 6884782"/>
              <a:gd name="connsiteY59580" fmla="*/ 1246845 h 5973007"/>
              <a:gd name="connsiteX59581" fmla="*/ 4907160 w 6884782"/>
              <a:gd name="connsiteY59581" fmla="*/ 1245422 h 5973007"/>
              <a:gd name="connsiteX59582" fmla="*/ 4907587 w 6884782"/>
              <a:gd name="connsiteY59582" fmla="*/ 1241580 h 5973007"/>
              <a:gd name="connsiteX59583" fmla="*/ 1532839 w 6884782"/>
              <a:gd name="connsiteY59583" fmla="*/ 1241361 h 5973007"/>
              <a:gd name="connsiteX59584" fmla="*/ 1534697 w 6884782"/>
              <a:gd name="connsiteY59584" fmla="*/ 1242756 h 5973007"/>
              <a:gd name="connsiteX59585" fmla="*/ 1536556 w 6884782"/>
              <a:gd name="connsiteY59585" fmla="*/ 1243375 h 5973007"/>
              <a:gd name="connsiteX59586" fmla="*/ 1539447 w 6884782"/>
              <a:gd name="connsiteY59586" fmla="*/ 1248022 h 5973007"/>
              <a:gd name="connsiteX59587" fmla="*/ 1522513 w 6884782"/>
              <a:gd name="connsiteY59587" fmla="*/ 1245389 h 5973007"/>
              <a:gd name="connsiteX59588" fmla="*/ 1521068 w 6884782"/>
              <a:gd name="connsiteY59588" fmla="*/ 1244149 h 5973007"/>
              <a:gd name="connsiteX59589" fmla="*/ 1521481 w 6884782"/>
              <a:gd name="connsiteY59589" fmla="*/ 1242136 h 5973007"/>
              <a:gd name="connsiteX59590" fmla="*/ 1532839 w 6884782"/>
              <a:gd name="connsiteY59590" fmla="*/ 1241361 h 5973007"/>
              <a:gd name="connsiteX59591" fmla="*/ 1228543 w 6884782"/>
              <a:gd name="connsiteY59591" fmla="*/ 1241207 h 5973007"/>
              <a:gd name="connsiteX59592" fmla="*/ 1237732 w 6884782"/>
              <a:gd name="connsiteY59592" fmla="*/ 1248332 h 5973007"/>
              <a:gd name="connsiteX59593" fmla="*/ 1224309 w 6884782"/>
              <a:gd name="connsiteY59593" fmla="*/ 1248177 h 5973007"/>
              <a:gd name="connsiteX59594" fmla="*/ 1228543 w 6884782"/>
              <a:gd name="connsiteY59594" fmla="*/ 1241207 h 5973007"/>
              <a:gd name="connsiteX59595" fmla="*/ 4654685 w 6884782"/>
              <a:gd name="connsiteY59595" fmla="*/ 1241012 h 5973007"/>
              <a:gd name="connsiteX59596" fmla="*/ 4656605 w 6884782"/>
              <a:gd name="connsiteY59596" fmla="*/ 1244853 h 5973007"/>
              <a:gd name="connsiteX59597" fmla="*/ 4655965 w 6884782"/>
              <a:gd name="connsiteY59597" fmla="*/ 1249690 h 5973007"/>
              <a:gd name="connsiteX59598" fmla="*/ 4654685 w 6884782"/>
              <a:gd name="connsiteY59598" fmla="*/ 1241012 h 5973007"/>
              <a:gd name="connsiteX59599" fmla="*/ 1625666 w 6884782"/>
              <a:gd name="connsiteY59599" fmla="*/ 1240587 h 5973007"/>
              <a:gd name="connsiteX59600" fmla="*/ 1625460 w 6884782"/>
              <a:gd name="connsiteY59600" fmla="*/ 1241361 h 5973007"/>
              <a:gd name="connsiteX59601" fmla="*/ 1625150 w 6884782"/>
              <a:gd name="connsiteY59601" fmla="*/ 1241826 h 5973007"/>
              <a:gd name="connsiteX59602" fmla="*/ 1626905 w 6884782"/>
              <a:gd name="connsiteY59602" fmla="*/ 1242136 h 5973007"/>
              <a:gd name="connsiteX59603" fmla="*/ 1626389 w 6884782"/>
              <a:gd name="connsiteY59603" fmla="*/ 1240742 h 5973007"/>
              <a:gd name="connsiteX59604" fmla="*/ 3617891 w 6884782"/>
              <a:gd name="connsiteY59604" fmla="*/ 1240158 h 5973007"/>
              <a:gd name="connsiteX59605" fmla="*/ 3617251 w 6884782"/>
              <a:gd name="connsiteY59605" fmla="*/ 1249690 h 5973007"/>
              <a:gd name="connsiteX59606" fmla="*/ 3617891 w 6884782"/>
              <a:gd name="connsiteY59606" fmla="*/ 1240158 h 5973007"/>
              <a:gd name="connsiteX59607" fmla="*/ 1354102 w 6884782"/>
              <a:gd name="connsiteY59607" fmla="*/ 1239657 h 5973007"/>
              <a:gd name="connsiteX59608" fmla="*/ 1360401 w 6884782"/>
              <a:gd name="connsiteY59608" fmla="*/ 1241361 h 5973007"/>
              <a:gd name="connsiteX59609" fmla="*/ 1359265 w 6884782"/>
              <a:gd name="connsiteY59609" fmla="*/ 1241981 h 5973007"/>
              <a:gd name="connsiteX59610" fmla="*/ 1357613 w 6884782"/>
              <a:gd name="connsiteY59610" fmla="*/ 1241361 h 5973007"/>
              <a:gd name="connsiteX59611" fmla="*/ 1354102 w 6884782"/>
              <a:gd name="connsiteY59611" fmla="*/ 1239657 h 5973007"/>
              <a:gd name="connsiteX59612" fmla="*/ 1188376 w 6884782"/>
              <a:gd name="connsiteY59612" fmla="*/ 1239193 h 5973007"/>
              <a:gd name="connsiteX59613" fmla="*/ 1191370 w 6884782"/>
              <a:gd name="connsiteY59613" fmla="*/ 1240277 h 5973007"/>
              <a:gd name="connsiteX59614" fmla="*/ 1191680 w 6884782"/>
              <a:gd name="connsiteY59614" fmla="*/ 1239812 h 5973007"/>
              <a:gd name="connsiteX59615" fmla="*/ 1196740 w 6884782"/>
              <a:gd name="connsiteY59615" fmla="*/ 1243065 h 5973007"/>
              <a:gd name="connsiteX59616" fmla="*/ 1194365 w 6884782"/>
              <a:gd name="connsiteY59616" fmla="*/ 1245234 h 5973007"/>
              <a:gd name="connsiteX59617" fmla="*/ 1194778 w 6884782"/>
              <a:gd name="connsiteY59617" fmla="*/ 1246938 h 5973007"/>
              <a:gd name="connsiteX59618" fmla="*/ 1200870 w 6884782"/>
              <a:gd name="connsiteY59618" fmla="*/ 1247712 h 5973007"/>
              <a:gd name="connsiteX59619" fmla="*/ 1206653 w 6884782"/>
              <a:gd name="connsiteY59619" fmla="*/ 1249726 h 5973007"/>
              <a:gd name="connsiteX59620" fmla="*/ 1184142 w 6884782"/>
              <a:gd name="connsiteY59620" fmla="*/ 1252359 h 5973007"/>
              <a:gd name="connsiteX59621" fmla="*/ 1188376 w 6884782"/>
              <a:gd name="connsiteY59621" fmla="*/ 1248177 h 5973007"/>
              <a:gd name="connsiteX59622" fmla="*/ 1189202 w 6884782"/>
              <a:gd name="connsiteY59622" fmla="*/ 1248022 h 5973007"/>
              <a:gd name="connsiteX59623" fmla="*/ 1187860 w 6884782"/>
              <a:gd name="connsiteY59623" fmla="*/ 1247867 h 5973007"/>
              <a:gd name="connsiteX59624" fmla="*/ 1168344 w 6884782"/>
              <a:gd name="connsiteY59624" fmla="*/ 1245853 h 5973007"/>
              <a:gd name="connsiteX59625" fmla="*/ 1178567 w 6884782"/>
              <a:gd name="connsiteY59625" fmla="*/ 1241826 h 5973007"/>
              <a:gd name="connsiteX59626" fmla="*/ 1188376 w 6884782"/>
              <a:gd name="connsiteY59626" fmla="*/ 1239193 h 5973007"/>
              <a:gd name="connsiteX59627" fmla="*/ 4581268 w 6884782"/>
              <a:gd name="connsiteY59627" fmla="*/ 1239020 h 5973007"/>
              <a:gd name="connsiteX59628" fmla="*/ 4582335 w 6884782"/>
              <a:gd name="connsiteY59628" fmla="*/ 1246987 h 5973007"/>
              <a:gd name="connsiteX59629" fmla="*/ 4582762 w 6884782"/>
              <a:gd name="connsiteY59629" fmla="*/ 1247556 h 5973007"/>
              <a:gd name="connsiteX59630" fmla="*/ 4582548 w 6884782"/>
              <a:gd name="connsiteY59630" fmla="*/ 1247982 h 5973007"/>
              <a:gd name="connsiteX59631" fmla="*/ 4583403 w 6884782"/>
              <a:gd name="connsiteY59631" fmla="*/ 1257515 h 5973007"/>
              <a:gd name="connsiteX59632" fmla="*/ 4581908 w 6884782"/>
              <a:gd name="connsiteY59632" fmla="*/ 1266478 h 5973007"/>
              <a:gd name="connsiteX59633" fmla="*/ 4583189 w 6884782"/>
              <a:gd name="connsiteY59633" fmla="*/ 1266762 h 5973007"/>
              <a:gd name="connsiteX59634" fmla="*/ 4600049 w 6884782"/>
              <a:gd name="connsiteY59634" fmla="*/ 1267616 h 5973007"/>
              <a:gd name="connsiteX59635" fmla="*/ 4597702 w 6884782"/>
              <a:gd name="connsiteY59635" fmla="*/ 1279567 h 5973007"/>
              <a:gd name="connsiteX59636" fmla="*/ 4581268 w 6884782"/>
              <a:gd name="connsiteY59636" fmla="*/ 1287533 h 5973007"/>
              <a:gd name="connsiteX59637" fmla="*/ 4581055 w 6884782"/>
              <a:gd name="connsiteY59637" fmla="*/ 1287392 h 5973007"/>
              <a:gd name="connsiteX59638" fmla="*/ 4574225 w 6884782"/>
              <a:gd name="connsiteY59638" fmla="*/ 1287392 h 5973007"/>
              <a:gd name="connsiteX59639" fmla="*/ 4573158 w 6884782"/>
              <a:gd name="connsiteY59639" fmla="*/ 1285115 h 5973007"/>
              <a:gd name="connsiteX59640" fmla="*/ 4569103 w 6884782"/>
              <a:gd name="connsiteY59640" fmla="*/ 1286253 h 5973007"/>
              <a:gd name="connsiteX59641" fmla="*/ 4566542 w 6884782"/>
              <a:gd name="connsiteY59641" fmla="*/ 1277433 h 5973007"/>
              <a:gd name="connsiteX59642" fmla="*/ 4552457 w 6884782"/>
              <a:gd name="connsiteY59642" fmla="*/ 1284119 h 5973007"/>
              <a:gd name="connsiteX59643" fmla="*/ 4549255 w 6884782"/>
              <a:gd name="connsiteY59643" fmla="*/ 1283265 h 5973007"/>
              <a:gd name="connsiteX59644" fmla="*/ 4547548 w 6884782"/>
              <a:gd name="connsiteY59644" fmla="*/ 1283265 h 5973007"/>
              <a:gd name="connsiteX59645" fmla="*/ 4558859 w 6884782"/>
              <a:gd name="connsiteY59645" fmla="*/ 1287249 h 5973007"/>
              <a:gd name="connsiteX59646" fmla="*/ 4566969 w 6884782"/>
              <a:gd name="connsiteY59646" fmla="*/ 1296069 h 5973007"/>
              <a:gd name="connsiteX59647" fmla="*/ 4567609 w 6884782"/>
              <a:gd name="connsiteY59647" fmla="*/ 1312858 h 5973007"/>
              <a:gd name="connsiteX59648" fmla="*/ 4567823 w 6884782"/>
              <a:gd name="connsiteY59648" fmla="*/ 1313426 h 5973007"/>
              <a:gd name="connsiteX59649" fmla="*/ 4568036 w 6884782"/>
              <a:gd name="connsiteY59649" fmla="*/ 1313000 h 5973007"/>
              <a:gd name="connsiteX59650" fmla="*/ 4568677 w 6884782"/>
              <a:gd name="connsiteY59650" fmla="*/ 1313853 h 5973007"/>
              <a:gd name="connsiteX59651" fmla="*/ 4569744 w 6884782"/>
              <a:gd name="connsiteY59651" fmla="*/ 1314991 h 5973007"/>
              <a:gd name="connsiteX59652" fmla="*/ 4569957 w 6884782"/>
              <a:gd name="connsiteY59652" fmla="*/ 1315418 h 5973007"/>
              <a:gd name="connsiteX59653" fmla="*/ 4569103 w 6884782"/>
              <a:gd name="connsiteY59653" fmla="*/ 1316841 h 5973007"/>
              <a:gd name="connsiteX59654" fmla="*/ 4569957 w 6884782"/>
              <a:gd name="connsiteY59654" fmla="*/ 1318833 h 5973007"/>
              <a:gd name="connsiteX59655" fmla="*/ 4571877 w 6884782"/>
              <a:gd name="connsiteY59655" fmla="*/ 1325235 h 5973007"/>
              <a:gd name="connsiteX59656" fmla="*/ 4564835 w 6884782"/>
              <a:gd name="connsiteY59656" fmla="*/ 1340884 h 5973007"/>
              <a:gd name="connsiteX59657" fmla="*/ 4561847 w 6884782"/>
              <a:gd name="connsiteY59657" fmla="*/ 1345437 h 5973007"/>
              <a:gd name="connsiteX59658" fmla="*/ 4559713 w 6884782"/>
              <a:gd name="connsiteY59658" fmla="*/ 1349563 h 5973007"/>
              <a:gd name="connsiteX59659" fmla="*/ 4559499 w 6884782"/>
              <a:gd name="connsiteY59659" fmla="*/ 1349989 h 5973007"/>
              <a:gd name="connsiteX59660" fmla="*/ 4558006 w 6884782"/>
              <a:gd name="connsiteY59660" fmla="*/ 1359806 h 5973007"/>
              <a:gd name="connsiteX59661" fmla="*/ 4552243 w 6884782"/>
              <a:gd name="connsiteY59661" fmla="*/ 1367916 h 5973007"/>
              <a:gd name="connsiteX59662" fmla="*/ 4542426 w 6884782"/>
              <a:gd name="connsiteY59662" fmla="*/ 1370761 h 5973007"/>
              <a:gd name="connsiteX59663" fmla="*/ 4539011 w 6884782"/>
              <a:gd name="connsiteY59663" fmla="*/ 1369053 h 5973007"/>
              <a:gd name="connsiteX59664" fmla="*/ 4525566 w 6884782"/>
              <a:gd name="connsiteY59664" fmla="*/ 1374602 h 5973007"/>
              <a:gd name="connsiteX59665" fmla="*/ 4525139 w 6884782"/>
              <a:gd name="connsiteY59665" fmla="*/ 1374602 h 5973007"/>
              <a:gd name="connsiteX59666" fmla="*/ 4523432 w 6884782"/>
              <a:gd name="connsiteY59666" fmla="*/ 1376025 h 5973007"/>
              <a:gd name="connsiteX59667" fmla="*/ 4524285 w 6884782"/>
              <a:gd name="connsiteY59667" fmla="*/ 1378301 h 5973007"/>
              <a:gd name="connsiteX59668" fmla="*/ 4534743 w 6884782"/>
              <a:gd name="connsiteY59668" fmla="*/ 1389256 h 5973007"/>
              <a:gd name="connsiteX59669" fmla="*/ 4527273 w 6884782"/>
              <a:gd name="connsiteY59669" fmla="*/ 1389398 h 5973007"/>
              <a:gd name="connsiteX59670" fmla="*/ 4527913 w 6884782"/>
              <a:gd name="connsiteY59670" fmla="*/ 1391106 h 5973007"/>
              <a:gd name="connsiteX59671" fmla="*/ 4529834 w 6884782"/>
              <a:gd name="connsiteY59671" fmla="*/ 1402487 h 5973007"/>
              <a:gd name="connsiteX59672" fmla="*/ 4529834 w 6884782"/>
              <a:gd name="connsiteY59672" fmla="*/ 1409173 h 5973007"/>
              <a:gd name="connsiteX59673" fmla="*/ 4532181 w 6884782"/>
              <a:gd name="connsiteY59673" fmla="*/ 1407181 h 5973007"/>
              <a:gd name="connsiteX59674" fmla="*/ 4541786 w 6884782"/>
              <a:gd name="connsiteY59674" fmla="*/ 1405047 h 5973007"/>
              <a:gd name="connsiteX59675" fmla="*/ 4542212 w 6884782"/>
              <a:gd name="connsiteY59675" fmla="*/ 1416002 h 5973007"/>
              <a:gd name="connsiteX59676" fmla="*/ 4536877 w 6884782"/>
              <a:gd name="connsiteY59676" fmla="*/ 1419986 h 5973007"/>
              <a:gd name="connsiteX59677" fmla="*/ 4532181 w 6884782"/>
              <a:gd name="connsiteY59677" fmla="*/ 1419559 h 5973007"/>
              <a:gd name="connsiteX59678" fmla="*/ 4529621 w 6884782"/>
              <a:gd name="connsiteY59678" fmla="*/ 1419559 h 5973007"/>
              <a:gd name="connsiteX59679" fmla="*/ 4528980 w 6884782"/>
              <a:gd name="connsiteY59679" fmla="*/ 1439192 h 5973007"/>
              <a:gd name="connsiteX59680" fmla="*/ 4516175 w 6884782"/>
              <a:gd name="connsiteY59680" fmla="*/ 1436347 h 5973007"/>
              <a:gd name="connsiteX59681" fmla="*/ 4518950 w 6884782"/>
              <a:gd name="connsiteY59681" fmla="*/ 1405474 h 5973007"/>
              <a:gd name="connsiteX59682" fmla="*/ 4520444 w 6884782"/>
              <a:gd name="connsiteY59682" fmla="*/ 1389683 h 5973007"/>
              <a:gd name="connsiteX59683" fmla="*/ 4515748 w 6884782"/>
              <a:gd name="connsiteY59683" fmla="*/ 1389683 h 5973007"/>
              <a:gd name="connsiteX59684" fmla="*/ 4499955 w 6884782"/>
              <a:gd name="connsiteY59684" fmla="*/ 1384561 h 5973007"/>
              <a:gd name="connsiteX59685" fmla="*/ 4495900 w 6884782"/>
              <a:gd name="connsiteY59685" fmla="*/ 1381573 h 5973007"/>
              <a:gd name="connsiteX59686" fmla="*/ 4493766 w 6884782"/>
              <a:gd name="connsiteY59686" fmla="*/ 1382142 h 5973007"/>
              <a:gd name="connsiteX59687" fmla="*/ 4492059 w 6884782"/>
              <a:gd name="connsiteY59687" fmla="*/ 1382000 h 5973007"/>
              <a:gd name="connsiteX59688" fmla="*/ 4491632 w 6884782"/>
              <a:gd name="connsiteY59688" fmla="*/ 1382427 h 5973007"/>
              <a:gd name="connsiteX59689" fmla="*/ 4490138 w 6884782"/>
              <a:gd name="connsiteY59689" fmla="*/ 1383138 h 5973007"/>
              <a:gd name="connsiteX59690" fmla="*/ 4490352 w 6884782"/>
              <a:gd name="connsiteY59690" fmla="*/ 1382000 h 5973007"/>
              <a:gd name="connsiteX59691" fmla="*/ 4490352 w 6884782"/>
              <a:gd name="connsiteY59691" fmla="*/ 1381858 h 5973007"/>
              <a:gd name="connsiteX59692" fmla="*/ 4486937 w 6884782"/>
              <a:gd name="connsiteY59692" fmla="*/ 1381431 h 5973007"/>
              <a:gd name="connsiteX59693" fmla="*/ 4490352 w 6884782"/>
              <a:gd name="connsiteY59693" fmla="*/ 1372895 h 5973007"/>
              <a:gd name="connsiteX59694" fmla="*/ 4495260 w 6884782"/>
              <a:gd name="connsiteY59694" fmla="*/ 1365354 h 5973007"/>
              <a:gd name="connsiteX59695" fmla="*/ 4495900 w 6884782"/>
              <a:gd name="connsiteY59695" fmla="*/ 1371330 h 5973007"/>
              <a:gd name="connsiteX59696" fmla="*/ 4498248 w 6884782"/>
              <a:gd name="connsiteY59696" fmla="*/ 1370191 h 5973007"/>
              <a:gd name="connsiteX59697" fmla="*/ 4499102 w 6884782"/>
              <a:gd name="connsiteY59697" fmla="*/ 1373748 h 5973007"/>
              <a:gd name="connsiteX59698" fmla="*/ 4501023 w 6884782"/>
              <a:gd name="connsiteY59698" fmla="*/ 1373464 h 5973007"/>
              <a:gd name="connsiteX59699" fmla="*/ 4508492 w 6884782"/>
              <a:gd name="connsiteY59699" fmla="*/ 1374602 h 5973007"/>
              <a:gd name="connsiteX59700" fmla="*/ 4508492 w 6884782"/>
              <a:gd name="connsiteY59700" fmla="*/ 1372610 h 5973007"/>
              <a:gd name="connsiteX59701" fmla="*/ 4503156 w 6884782"/>
              <a:gd name="connsiteY59701" fmla="*/ 1370476 h 5973007"/>
              <a:gd name="connsiteX59702" fmla="*/ 4495260 w 6884782"/>
              <a:gd name="connsiteY59702" fmla="*/ 1365354 h 5973007"/>
              <a:gd name="connsiteX59703" fmla="*/ 4493766 w 6884782"/>
              <a:gd name="connsiteY59703" fmla="*/ 1364359 h 5973007"/>
              <a:gd name="connsiteX59704" fmla="*/ 4482669 w 6884782"/>
              <a:gd name="connsiteY59704" fmla="*/ 1358525 h 5973007"/>
              <a:gd name="connsiteX59705" fmla="*/ 4474345 w 6884782"/>
              <a:gd name="connsiteY59705" fmla="*/ 1332633 h 5973007"/>
              <a:gd name="connsiteX59706" fmla="*/ 4486510 w 6884782"/>
              <a:gd name="connsiteY59706" fmla="*/ 1297350 h 5973007"/>
              <a:gd name="connsiteX59707" fmla="*/ 4523645 w 6884782"/>
              <a:gd name="connsiteY59707" fmla="*/ 1275726 h 5973007"/>
              <a:gd name="connsiteX59708" fmla="*/ 4534529 w 6884782"/>
              <a:gd name="connsiteY59708" fmla="*/ 1280420 h 5973007"/>
              <a:gd name="connsiteX59709" fmla="*/ 4543707 w 6884782"/>
              <a:gd name="connsiteY59709" fmla="*/ 1282412 h 5973007"/>
              <a:gd name="connsiteX59710" fmla="*/ 4542212 w 6884782"/>
              <a:gd name="connsiteY59710" fmla="*/ 1277148 h 5973007"/>
              <a:gd name="connsiteX59711" fmla="*/ 4540505 w 6884782"/>
              <a:gd name="connsiteY59711" fmla="*/ 1268185 h 5973007"/>
              <a:gd name="connsiteX59712" fmla="*/ 4554164 w 6884782"/>
              <a:gd name="connsiteY59712" fmla="*/ 1254669 h 5973007"/>
              <a:gd name="connsiteX59713" fmla="*/ 4555444 w 6884782"/>
              <a:gd name="connsiteY59713" fmla="*/ 1255523 h 5973007"/>
              <a:gd name="connsiteX59714" fmla="*/ 4557792 w 6884782"/>
              <a:gd name="connsiteY59714" fmla="*/ 1256661 h 5973007"/>
              <a:gd name="connsiteX59715" fmla="*/ 4561420 w 6884782"/>
              <a:gd name="connsiteY59715" fmla="*/ 1255096 h 5973007"/>
              <a:gd name="connsiteX59716" fmla="*/ 4564835 w 6884782"/>
              <a:gd name="connsiteY59716" fmla="*/ 1256946 h 5973007"/>
              <a:gd name="connsiteX59717" fmla="*/ 4566756 w 6884782"/>
              <a:gd name="connsiteY59717" fmla="*/ 1262921 h 5973007"/>
              <a:gd name="connsiteX59718" fmla="*/ 4565902 w 6884782"/>
              <a:gd name="connsiteY59718" fmla="*/ 1263917 h 5973007"/>
              <a:gd name="connsiteX59719" fmla="*/ 4567823 w 6884782"/>
              <a:gd name="connsiteY59719" fmla="*/ 1271031 h 5973007"/>
              <a:gd name="connsiteX59720" fmla="*/ 4567182 w 6884782"/>
              <a:gd name="connsiteY59720" fmla="*/ 1275441 h 5973007"/>
              <a:gd name="connsiteX59721" fmla="*/ 4568890 w 6884782"/>
              <a:gd name="connsiteY59721" fmla="*/ 1268612 h 5973007"/>
              <a:gd name="connsiteX59722" fmla="*/ 4569957 w 6884782"/>
              <a:gd name="connsiteY59722" fmla="*/ 1266193 h 5973007"/>
              <a:gd name="connsiteX59723" fmla="*/ 4568677 w 6884782"/>
              <a:gd name="connsiteY59723" fmla="*/ 1266193 h 5973007"/>
              <a:gd name="connsiteX59724" fmla="*/ 4569957 w 6884782"/>
              <a:gd name="connsiteY59724" fmla="*/ 1264912 h 5973007"/>
              <a:gd name="connsiteX59725" fmla="*/ 4570170 w 6884782"/>
              <a:gd name="connsiteY59725" fmla="*/ 1264628 h 5973007"/>
              <a:gd name="connsiteX59726" fmla="*/ 4570170 w 6884782"/>
              <a:gd name="connsiteY59726" fmla="*/ 1263490 h 5973007"/>
              <a:gd name="connsiteX59727" fmla="*/ 4573585 w 6884782"/>
              <a:gd name="connsiteY59727" fmla="*/ 1259506 h 5973007"/>
              <a:gd name="connsiteX59728" fmla="*/ 4574652 w 6884782"/>
              <a:gd name="connsiteY59728" fmla="*/ 1259648 h 5973007"/>
              <a:gd name="connsiteX59729" fmla="*/ 4574439 w 6884782"/>
              <a:gd name="connsiteY59729" fmla="*/ 1252962 h 5973007"/>
              <a:gd name="connsiteX59730" fmla="*/ 4574865 w 6884782"/>
              <a:gd name="connsiteY59730" fmla="*/ 1251112 h 5973007"/>
              <a:gd name="connsiteX59731" fmla="*/ 4574225 w 6884782"/>
              <a:gd name="connsiteY59731" fmla="*/ 1250544 h 5973007"/>
              <a:gd name="connsiteX59732" fmla="*/ 4575079 w 6884782"/>
              <a:gd name="connsiteY59732" fmla="*/ 1249548 h 5973007"/>
              <a:gd name="connsiteX59733" fmla="*/ 4576146 w 6884782"/>
              <a:gd name="connsiteY59733" fmla="*/ 1243572 h 5973007"/>
              <a:gd name="connsiteX59734" fmla="*/ 4581268 w 6884782"/>
              <a:gd name="connsiteY59734" fmla="*/ 1239020 h 5973007"/>
              <a:gd name="connsiteX59735" fmla="*/ 4095311 w 6884782"/>
              <a:gd name="connsiteY59735" fmla="*/ 1237455 h 5973007"/>
              <a:gd name="connsiteX59736" fmla="*/ 4091896 w 6884782"/>
              <a:gd name="connsiteY59736" fmla="*/ 1247271 h 5973007"/>
              <a:gd name="connsiteX59737" fmla="*/ 4089549 w 6884782"/>
              <a:gd name="connsiteY59737" fmla="*/ 1252535 h 5973007"/>
              <a:gd name="connsiteX59738" fmla="*/ 4086561 w 6884782"/>
              <a:gd name="connsiteY59738" fmla="*/ 1253389 h 5973007"/>
              <a:gd name="connsiteX59739" fmla="*/ 4085494 w 6884782"/>
              <a:gd name="connsiteY59739" fmla="*/ 1252820 h 5973007"/>
              <a:gd name="connsiteX59740" fmla="*/ 4085708 w 6884782"/>
              <a:gd name="connsiteY59740" fmla="*/ 1250117 h 5973007"/>
              <a:gd name="connsiteX59741" fmla="*/ 4091256 w 6884782"/>
              <a:gd name="connsiteY59741" fmla="*/ 1240443 h 5973007"/>
              <a:gd name="connsiteX59742" fmla="*/ 4092324 w 6884782"/>
              <a:gd name="connsiteY59742" fmla="*/ 1238308 h 5973007"/>
              <a:gd name="connsiteX59743" fmla="*/ 4095311 w 6884782"/>
              <a:gd name="connsiteY59743" fmla="*/ 1237455 h 5973007"/>
              <a:gd name="connsiteX59744" fmla="*/ 4590872 w 6884782"/>
              <a:gd name="connsiteY59744" fmla="*/ 1237028 h 5973007"/>
              <a:gd name="connsiteX59745" fmla="*/ 4596207 w 6884782"/>
              <a:gd name="connsiteY59745" fmla="*/ 1237739 h 5973007"/>
              <a:gd name="connsiteX59746" fmla="*/ 4595141 w 6884782"/>
              <a:gd name="connsiteY59746" fmla="*/ 1237739 h 5973007"/>
              <a:gd name="connsiteX59747" fmla="*/ 4594714 w 6884782"/>
              <a:gd name="connsiteY59747" fmla="*/ 1240158 h 5973007"/>
              <a:gd name="connsiteX59748" fmla="*/ 4595994 w 6884782"/>
              <a:gd name="connsiteY59748" fmla="*/ 1240158 h 5973007"/>
              <a:gd name="connsiteX59749" fmla="*/ 4594500 w 6884782"/>
              <a:gd name="connsiteY59749" fmla="*/ 1242576 h 5973007"/>
              <a:gd name="connsiteX59750" fmla="*/ 4585963 w 6884782"/>
              <a:gd name="connsiteY59750" fmla="*/ 1245991 h 5973007"/>
              <a:gd name="connsiteX59751" fmla="*/ 4586604 w 6884782"/>
              <a:gd name="connsiteY59751" fmla="*/ 1239873 h 5973007"/>
              <a:gd name="connsiteX59752" fmla="*/ 4590872 w 6884782"/>
              <a:gd name="connsiteY59752" fmla="*/ 1237028 h 5973007"/>
              <a:gd name="connsiteX59753" fmla="*/ 1294110 w 6884782"/>
              <a:gd name="connsiteY59753" fmla="*/ 1236714 h 5973007"/>
              <a:gd name="connsiteX59754" fmla="*/ 1296589 w 6884782"/>
              <a:gd name="connsiteY59754" fmla="*/ 1236714 h 5973007"/>
              <a:gd name="connsiteX59755" fmla="*/ 1295659 w 6884782"/>
              <a:gd name="connsiteY59755" fmla="*/ 1240122 h 5973007"/>
              <a:gd name="connsiteX59756" fmla="*/ 1293078 w 6884782"/>
              <a:gd name="connsiteY59756" fmla="*/ 1237954 h 5973007"/>
              <a:gd name="connsiteX59757" fmla="*/ 1294110 w 6884782"/>
              <a:gd name="connsiteY59757" fmla="*/ 1236714 h 5973007"/>
              <a:gd name="connsiteX59758" fmla="*/ 1462005 w 6884782"/>
              <a:gd name="connsiteY59758" fmla="*/ 1236095 h 5973007"/>
              <a:gd name="connsiteX59759" fmla="*/ 1463864 w 6884782"/>
              <a:gd name="connsiteY59759" fmla="*/ 1237489 h 5973007"/>
              <a:gd name="connsiteX59760" fmla="*/ 1465619 w 6884782"/>
              <a:gd name="connsiteY59760" fmla="*/ 1237334 h 5973007"/>
              <a:gd name="connsiteX59761" fmla="*/ 1466652 w 6884782"/>
              <a:gd name="connsiteY59761" fmla="*/ 1239657 h 5973007"/>
              <a:gd name="connsiteX59762" fmla="*/ 1462005 w 6884782"/>
              <a:gd name="connsiteY59762" fmla="*/ 1236095 h 5973007"/>
              <a:gd name="connsiteX59763" fmla="*/ 1585603 w 6884782"/>
              <a:gd name="connsiteY59763" fmla="*/ 1235475 h 5973007"/>
              <a:gd name="connsiteX59764" fmla="*/ 1599026 w 6884782"/>
              <a:gd name="connsiteY59764" fmla="*/ 1243375 h 5973007"/>
              <a:gd name="connsiteX59765" fmla="*/ 1598820 w 6884782"/>
              <a:gd name="connsiteY59765" fmla="*/ 1246008 h 5973007"/>
              <a:gd name="connsiteX59766" fmla="*/ 1597994 w 6884782"/>
              <a:gd name="connsiteY59766" fmla="*/ 1247402 h 5973007"/>
              <a:gd name="connsiteX59767" fmla="*/ 1601504 w 6884782"/>
              <a:gd name="connsiteY59767" fmla="*/ 1252359 h 5973007"/>
              <a:gd name="connsiteX59768" fmla="*/ 1602433 w 6884782"/>
              <a:gd name="connsiteY59768" fmla="*/ 1254992 h 5973007"/>
              <a:gd name="connsiteX59769" fmla="*/ 1585190 w 6884782"/>
              <a:gd name="connsiteY59769" fmla="*/ 1257161 h 5973007"/>
              <a:gd name="connsiteX59770" fmla="*/ 1584673 w 6884782"/>
              <a:gd name="connsiteY59770" fmla="*/ 1258090 h 5973007"/>
              <a:gd name="connsiteX59771" fmla="*/ 1584054 w 6884782"/>
              <a:gd name="connsiteY59771" fmla="*/ 1258865 h 5973007"/>
              <a:gd name="connsiteX59772" fmla="*/ 1583641 w 6884782"/>
              <a:gd name="connsiteY59772" fmla="*/ 1258090 h 5973007"/>
              <a:gd name="connsiteX59773" fmla="*/ 1583951 w 6884782"/>
              <a:gd name="connsiteY59773" fmla="*/ 1256851 h 5973007"/>
              <a:gd name="connsiteX59774" fmla="*/ 1584054 w 6884782"/>
              <a:gd name="connsiteY59774" fmla="*/ 1256541 h 5973007"/>
              <a:gd name="connsiteX59775" fmla="*/ 1579924 w 6884782"/>
              <a:gd name="connsiteY59775" fmla="*/ 1254063 h 5973007"/>
              <a:gd name="connsiteX59776" fmla="*/ 1572593 w 6884782"/>
              <a:gd name="connsiteY59776" fmla="*/ 1246782 h 5973007"/>
              <a:gd name="connsiteX59777" fmla="*/ 1573212 w 6884782"/>
              <a:gd name="connsiteY59777" fmla="*/ 1243995 h 5973007"/>
              <a:gd name="connsiteX59778" fmla="*/ 1581060 w 6884782"/>
              <a:gd name="connsiteY59778" fmla="*/ 1239193 h 5973007"/>
              <a:gd name="connsiteX59779" fmla="*/ 1583951 w 6884782"/>
              <a:gd name="connsiteY59779" fmla="*/ 1239347 h 5973007"/>
              <a:gd name="connsiteX59780" fmla="*/ 1583951 w 6884782"/>
              <a:gd name="connsiteY59780" fmla="*/ 1239193 h 5973007"/>
              <a:gd name="connsiteX59781" fmla="*/ 1584157 w 6884782"/>
              <a:gd name="connsiteY59781" fmla="*/ 1238728 h 5973007"/>
              <a:gd name="connsiteX59782" fmla="*/ 1583744 w 6884782"/>
              <a:gd name="connsiteY59782" fmla="*/ 1238418 h 5973007"/>
              <a:gd name="connsiteX59783" fmla="*/ 1582299 w 6884782"/>
              <a:gd name="connsiteY59783" fmla="*/ 1236405 h 5973007"/>
              <a:gd name="connsiteX59784" fmla="*/ 1583951 w 6884782"/>
              <a:gd name="connsiteY59784" fmla="*/ 1238109 h 5973007"/>
              <a:gd name="connsiteX59785" fmla="*/ 1584467 w 6884782"/>
              <a:gd name="connsiteY59785" fmla="*/ 1237954 h 5973007"/>
              <a:gd name="connsiteX59786" fmla="*/ 3970461 w 6884782"/>
              <a:gd name="connsiteY59786" fmla="*/ 1235321 h 5973007"/>
              <a:gd name="connsiteX59787" fmla="*/ 3972595 w 6884782"/>
              <a:gd name="connsiteY59787" fmla="*/ 1235463 h 5973007"/>
              <a:gd name="connsiteX59788" fmla="*/ 3970675 w 6884782"/>
              <a:gd name="connsiteY59788" fmla="*/ 1242719 h 5973007"/>
              <a:gd name="connsiteX59789" fmla="*/ 3967473 w 6884782"/>
              <a:gd name="connsiteY59789" fmla="*/ 1243857 h 5973007"/>
              <a:gd name="connsiteX59790" fmla="*/ 3967260 w 6884782"/>
              <a:gd name="connsiteY59790" fmla="*/ 1240158 h 5973007"/>
              <a:gd name="connsiteX59791" fmla="*/ 3969394 w 6884782"/>
              <a:gd name="connsiteY59791" fmla="*/ 1239020 h 5973007"/>
              <a:gd name="connsiteX59792" fmla="*/ 3970461 w 6884782"/>
              <a:gd name="connsiteY59792" fmla="*/ 1235321 h 5973007"/>
              <a:gd name="connsiteX59793" fmla="*/ 4924661 w 6884782"/>
              <a:gd name="connsiteY59793" fmla="*/ 1234040 h 5973007"/>
              <a:gd name="connsiteX59794" fmla="*/ 4927435 w 6884782"/>
              <a:gd name="connsiteY59794" fmla="*/ 1234609 h 5973007"/>
              <a:gd name="connsiteX59795" fmla="*/ 4927222 w 6884782"/>
              <a:gd name="connsiteY59795" fmla="*/ 1240585 h 5973007"/>
              <a:gd name="connsiteX59796" fmla="*/ 4917404 w 6884782"/>
              <a:gd name="connsiteY59796" fmla="*/ 1244853 h 5973007"/>
              <a:gd name="connsiteX59797" fmla="*/ 4916764 w 6884782"/>
              <a:gd name="connsiteY59797" fmla="*/ 1240158 h 5973007"/>
              <a:gd name="connsiteX59798" fmla="*/ 4924661 w 6884782"/>
              <a:gd name="connsiteY59798" fmla="*/ 1234040 h 5973007"/>
              <a:gd name="connsiteX59799" fmla="*/ 4282267 w 6884782"/>
              <a:gd name="connsiteY59799" fmla="*/ 1233044 h 5973007"/>
              <a:gd name="connsiteX59800" fmla="*/ 4288029 w 6884782"/>
              <a:gd name="connsiteY59800" fmla="*/ 1237313 h 5973007"/>
              <a:gd name="connsiteX59801" fmla="*/ 4288243 w 6884782"/>
              <a:gd name="connsiteY59801" fmla="*/ 1237881 h 5973007"/>
              <a:gd name="connsiteX59802" fmla="*/ 4290377 w 6884782"/>
              <a:gd name="connsiteY59802" fmla="*/ 1237455 h 5973007"/>
              <a:gd name="connsiteX59803" fmla="*/ 4294645 w 6884782"/>
              <a:gd name="connsiteY59803" fmla="*/ 1238735 h 5973007"/>
              <a:gd name="connsiteX59804" fmla="*/ 4277572 w 6884782"/>
              <a:gd name="connsiteY59804" fmla="*/ 1249690 h 5973007"/>
              <a:gd name="connsiteX59805" fmla="*/ 4276718 w 6884782"/>
              <a:gd name="connsiteY59805" fmla="*/ 1239731 h 5973007"/>
              <a:gd name="connsiteX59806" fmla="*/ 4281413 w 6884782"/>
              <a:gd name="connsiteY59806" fmla="*/ 1239020 h 5973007"/>
              <a:gd name="connsiteX59807" fmla="*/ 4280986 w 6884782"/>
              <a:gd name="connsiteY59807" fmla="*/ 1237313 h 5973007"/>
              <a:gd name="connsiteX59808" fmla="*/ 4282267 w 6884782"/>
              <a:gd name="connsiteY59808" fmla="*/ 1233044 h 5973007"/>
              <a:gd name="connsiteX59809" fmla="*/ 1652719 w 6884782"/>
              <a:gd name="connsiteY59809" fmla="*/ 1232378 h 5973007"/>
              <a:gd name="connsiteX59810" fmla="*/ 1664284 w 6884782"/>
              <a:gd name="connsiteY59810" fmla="*/ 1234236 h 5973007"/>
              <a:gd name="connsiteX59811" fmla="*/ 1641361 w 6884782"/>
              <a:gd name="connsiteY59811" fmla="*/ 1238728 h 5973007"/>
              <a:gd name="connsiteX59812" fmla="*/ 1652719 w 6884782"/>
              <a:gd name="connsiteY59812" fmla="*/ 1232378 h 5973007"/>
              <a:gd name="connsiteX59813" fmla="*/ 1157503 w 6884782"/>
              <a:gd name="connsiteY59813" fmla="*/ 1232067 h 5973007"/>
              <a:gd name="connsiteX59814" fmla="*/ 1161013 w 6884782"/>
              <a:gd name="connsiteY59814" fmla="*/ 1232532 h 5973007"/>
              <a:gd name="connsiteX59815" fmla="*/ 1154715 w 6884782"/>
              <a:gd name="connsiteY59815" fmla="*/ 1233462 h 5973007"/>
              <a:gd name="connsiteX59816" fmla="*/ 1157503 w 6884782"/>
              <a:gd name="connsiteY59816" fmla="*/ 1232067 h 5973007"/>
              <a:gd name="connsiteX59817" fmla="*/ 1453848 w 6884782"/>
              <a:gd name="connsiteY59817" fmla="*/ 1231448 h 5973007"/>
              <a:gd name="connsiteX59818" fmla="*/ 1455706 w 6884782"/>
              <a:gd name="connsiteY59818" fmla="*/ 1233771 h 5973007"/>
              <a:gd name="connsiteX59819" fmla="*/ 1459217 w 6884782"/>
              <a:gd name="connsiteY59819" fmla="*/ 1234081 h 5973007"/>
              <a:gd name="connsiteX59820" fmla="*/ 1461076 w 6884782"/>
              <a:gd name="connsiteY59820" fmla="*/ 1236250 h 5973007"/>
              <a:gd name="connsiteX59821" fmla="*/ 1460250 w 6884782"/>
              <a:gd name="connsiteY59821" fmla="*/ 1236405 h 5973007"/>
              <a:gd name="connsiteX59822" fmla="*/ 1458391 w 6884782"/>
              <a:gd name="connsiteY59822" fmla="*/ 1235011 h 5973007"/>
              <a:gd name="connsiteX59823" fmla="*/ 1452299 w 6884782"/>
              <a:gd name="connsiteY59823" fmla="*/ 1234236 h 5973007"/>
              <a:gd name="connsiteX59824" fmla="*/ 1451266 w 6884782"/>
              <a:gd name="connsiteY59824" fmla="*/ 1232687 h 5973007"/>
              <a:gd name="connsiteX59825" fmla="*/ 1453848 w 6884782"/>
              <a:gd name="connsiteY59825" fmla="*/ 1231448 h 5973007"/>
              <a:gd name="connsiteX59826" fmla="*/ 1574761 w 6884782"/>
              <a:gd name="connsiteY59826" fmla="*/ 1230983 h 5973007"/>
              <a:gd name="connsiteX59827" fmla="*/ 1576310 w 6884782"/>
              <a:gd name="connsiteY59827" fmla="*/ 1233462 h 5973007"/>
              <a:gd name="connsiteX59828" fmla="*/ 1579820 w 6884782"/>
              <a:gd name="connsiteY59828" fmla="*/ 1234081 h 5973007"/>
              <a:gd name="connsiteX59829" fmla="*/ 1581369 w 6884782"/>
              <a:gd name="connsiteY59829" fmla="*/ 1236560 h 5973007"/>
              <a:gd name="connsiteX59830" fmla="*/ 1580543 w 6884782"/>
              <a:gd name="connsiteY59830" fmla="*/ 1236560 h 5973007"/>
              <a:gd name="connsiteX59831" fmla="*/ 1578891 w 6884782"/>
              <a:gd name="connsiteY59831" fmla="*/ 1235011 h 5973007"/>
              <a:gd name="connsiteX59832" fmla="*/ 1572902 w 6884782"/>
              <a:gd name="connsiteY59832" fmla="*/ 1233617 h 5973007"/>
              <a:gd name="connsiteX59833" fmla="*/ 1572179 w 6884782"/>
              <a:gd name="connsiteY59833" fmla="*/ 1231913 h 5973007"/>
              <a:gd name="connsiteX59834" fmla="*/ 1574761 w 6884782"/>
              <a:gd name="connsiteY59834" fmla="*/ 1230983 h 5973007"/>
              <a:gd name="connsiteX59835" fmla="*/ 1437843 w 6884782"/>
              <a:gd name="connsiteY59835" fmla="*/ 1230674 h 5973007"/>
              <a:gd name="connsiteX59836" fmla="*/ 1438463 w 6884782"/>
              <a:gd name="connsiteY59836" fmla="*/ 1236869 h 5973007"/>
              <a:gd name="connsiteX59837" fmla="*/ 1436604 w 6884782"/>
              <a:gd name="connsiteY59837" fmla="*/ 1242445 h 5973007"/>
              <a:gd name="connsiteX59838" fmla="*/ 1439598 w 6884782"/>
              <a:gd name="connsiteY59838" fmla="*/ 1241981 h 5973007"/>
              <a:gd name="connsiteX59839" fmla="*/ 1443006 w 6884782"/>
              <a:gd name="connsiteY59839" fmla="*/ 1243220 h 5973007"/>
              <a:gd name="connsiteX59840" fmla="*/ 1443832 w 6884782"/>
              <a:gd name="connsiteY59840" fmla="*/ 1243995 h 5973007"/>
              <a:gd name="connsiteX59841" fmla="*/ 1439702 w 6884782"/>
              <a:gd name="connsiteY59841" fmla="*/ 1243530 h 5973007"/>
              <a:gd name="connsiteX59842" fmla="*/ 1436501 w 6884782"/>
              <a:gd name="connsiteY59842" fmla="*/ 1242601 h 5973007"/>
              <a:gd name="connsiteX59843" fmla="*/ 1436398 w 6884782"/>
              <a:gd name="connsiteY59843" fmla="*/ 1242911 h 5973007"/>
              <a:gd name="connsiteX59844" fmla="*/ 1428963 w 6884782"/>
              <a:gd name="connsiteY59844" fmla="*/ 1252204 h 5973007"/>
              <a:gd name="connsiteX59845" fmla="*/ 1428240 w 6884782"/>
              <a:gd name="connsiteY59845" fmla="*/ 1245853 h 5973007"/>
              <a:gd name="connsiteX59846" fmla="*/ 1437843 w 6884782"/>
              <a:gd name="connsiteY59846" fmla="*/ 1230674 h 5973007"/>
              <a:gd name="connsiteX59847" fmla="*/ 3508194 w 6884782"/>
              <a:gd name="connsiteY59847" fmla="*/ 1230484 h 5973007"/>
              <a:gd name="connsiteX59848" fmla="*/ 3511182 w 6884782"/>
              <a:gd name="connsiteY59848" fmla="*/ 1231906 h 5973007"/>
              <a:gd name="connsiteX59849" fmla="*/ 3512248 w 6884782"/>
              <a:gd name="connsiteY59849" fmla="*/ 1234325 h 5973007"/>
              <a:gd name="connsiteX59850" fmla="*/ 3502858 w 6884782"/>
              <a:gd name="connsiteY59850" fmla="*/ 1235178 h 5973007"/>
              <a:gd name="connsiteX59851" fmla="*/ 3502005 w 6884782"/>
              <a:gd name="connsiteY59851" fmla="*/ 1232760 h 5973007"/>
              <a:gd name="connsiteX59852" fmla="*/ 3504352 w 6884782"/>
              <a:gd name="connsiteY59852" fmla="*/ 1230626 h 5973007"/>
              <a:gd name="connsiteX59853" fmla="*/ 3508194 w 6884782"/>
              <a:gd name="connsiteY59853" fmla="*/ 1230484 h 5973007"/>
              <a:gd name="connsiteX59854" fmla="*/ 4432728 w 6884782"/>
              <a:gd name="connsiteY59854" fmla="*/ 1230199 h 5973007"/>
              <a:gd name="connsiteX59855" fmla="*/ 4436570 w 6884782"/>
              <a:gd name="connsiteY59855" fmla="*/ 1234894 h 5973007"/>
              <a:gd name="connsiteX59856" fmla="*/ 4435076 w 6884782"/>
              <a:gd name="connsiteY59856" fmla="*/ 1241154 h 5973007"/>
              <a:gd name="connsiteX59857" fmla="*/ 4433795 w 6884782"/>
              <a:gd name="connsiteY59857" fmla="*/ 1242292 h 5973007"/>
              <a:gd name="connsiteX59858" fmla="*/ 4427819 w 6884782"/>
              <a:gd name="connsiteY59858" fmla="*/ 1246560 h 5973007"/>
              <a:gd name="connsiteX59859" fmla="*/ 4427393 w 6884782"/>
              <a:gd name="connsiteY59859" fmla="*/ 1249690 h 5973007"/>
              <a:gd name="connsiteX59860" fmla="*/ 4422697 w 6884782"/>
              <a:gd name="connsiteY59860" fmla="*/ 1250259 h 5973007"/>
              <a:gd name="connsiteX59861" fmla="*/ 4420350 w 6884782"/>
              <a:gd name="connsiteY59861" fmla="*/ 1249121 h 5973007"/>
              <a:gd name="connsiteX59862" fmla="*/ 4418216 w 6884782"/>
              <a:gd name="connsiteY59862" fmla="*/ 1248694 h 5973007"/>
              <a:gd name="connsiteX59863" fmla="*/ 4418216 w 6884782"/>
              <a:gd name="connsiteY59863" fmla="*/ 1247698 h 5973007"/>
              <a:gd name="connsiteX59864" fmla="*/ 4414374 w 6884782"/>
              <a:gd name="connsiteY59864" fmla="*/ 1239873 h 5973007"/>
              <a:gd name="connsiteX59865" fmla="*/ 4416295 w 6884782"/>
              <a:gd name="connsiteY59865" fmla="*/ 1234040 h 5973007"/>
              <a:gd name="connsiteX59866" fmla="*/ 4422057 w 6884782"/>
              <a:gd name="connsiteY59866" fmla="*/ 1233756 h 5973007"/>
              <a:gd name="connsiteX59867" fmla="*/ 4424191 w 6884782"/>
              <a:gd name="connsiteY59867" fmla="*/ 1235606 h 5973007"/>
              <a:gd name="connsiteX59868" fmla="*/ 4426752 w 6884782"/>
              <a:gd name="connsiteY59868" fmla="*/ 1233756 h 5973007"/>
              <a:gd name="connsiteX59869" fmla="*/ 4432728 w 6884782"/>
              <a:gd name="connsiteY59869" fmla="*/ 1230199 h 5973007"/>
              <a:gd name="connsiteX59870" fmla="*/ 1561547 w 6884782"/>
              <a:gd name="connsiteY59870" fmla="*/ 1229998 h 5973007"/>
              <a:gd name="connsiteX59871" fmla="*/ 1567430 w 6884782"/>
              <a:gd name="connsiteY59871" fmla="*/ 1231913 h 5973007"/>
              <a:gd name="connsiteX59872" fmla="*/ 1558137 w 6884782"/>
              <a:gd name="connsiteY59872" fmla="*/ 1249416 h 5973007"/>
              <a:gd name="connsiteX59873" fmla="*/ 1552664 w 6884782"/>
              <a:gd name="connsiteY59873" fmla="*/ 1248951 h 5973007"/>
              <a:gd name="connsiteX59874" fmla="*/ 1552664 w 6884782"/>
              <a:gd name="connsiteY59874" fmla="*/ 1250655 h 5973007"/>
              <a:gd name="connsiteX59875" fmla="*/ 1551941 w 6884782"/>
              <a:gd name="connsiteY59875" fmla="*/ 1252824 h 5973007"/>
              <a:gd name="connsiteX59876" fmla="*/ 1552664 w 6884782"/>
              <a:gd name="connsiteY59876" fmla="*/ 1254373 h 5973007"/>
              <a:gd name="connsiteX59877" fmla="*/ 1548843 w 6884782"/>
              <a:gd name="connsiteY59877" fmla="*/ 1259484 h 5973007"/>
              <a:gd name="connsiteX59878" fmla="*/ 1549669 w 6884782"/>
              <a:gd name="connsiteY59878" fmla="*/ 1255612 h 5973007"/>
              <a:gd name="connsiteX59879" fmla="*/ 1550393 w 6884782"/>
              <a:gd name="connsiteY59879" fmla="*/ 1253443 h 5973007"/>
              <a:gd name="connsiteX59880" fmla="*/ 1550393 w 6884782"/>
              <a:gd name="connsiteY59880" fmla="*/ 1251585 h 5973007"/>
              <a:gd name="connsiteX59881" fmla="*/ 1551528 w 6884782"/>
              <a:gd name="connsiteY59881" fmla="*/ 1249416 h 5973007"/>
              <a:gd name="connsiteX59882" fmla="*/ 1552561 w 6884782"/>
              <a:gd name="connsiteY59882" fmla="*/ 1248951 h 5973007"/>
              <a:gd name="connsiteX59883" fmla="*/ 1552458 w 6884782"/>
              <a:gd name="connsiteY59883" fmla="*/ 1248796 h 5973007"/>
              <a:gd name="connsiteX59884" fmla="*/ 1561547 w 6884782"/>
              <a:gd name="connsiteY59884" fmla="*/ 1229998 h 5973007"/>
              <a:gd name="connsiteX59885" fmla="*/ 3988175 w 6884782"/>
              <a:gd name="connsiteY59885" fmla="*/ 1229488 h 5973007"/>
              <a:gd name="connsiteX59886" fmla="*/ 3991162 w 6884782"/>
              <a:gd name="connsiteY59886" fmla="*/ 1230484 h 5973007"/>
              <a:gd name="connsiteX59887" fmla="*/ 3990096 w 6884782"/>
              <a:gd name="connsiteY59887" fmla="*/ 1236316 h 5973007"/>
              <a:gd name="connsiteX59888" fmla="*/ 3979851 w 6884782"/>
              <a:gd name="connsiteY59888" fmla="*/ 1239446 h 5973007"/>
              <a:gd name="connsiteX59889" fmla="*/ 3979638 w 6884782"/>
              <a:gd name="connsiteY59889" fmla="*/ 1234751 h 5973007"/>
              <a:gd name="connsiteX59890" fmla="*/ 3988175 w 6884782"/>
              <a:gd name="connsiteY59890" fmla="*/ 1229488 h 5973007"/>
              <a:gd name="connsiteX59891" fmla="*/ 3707528 w 6884782"/>
              <a:gd name="connsiteY59891" fmla="*/ 1229203 h 5973007"/>
              <a:gd name="connsiteX59892" fmla="*/ 3712223 w 6884782"/>
              <a:gd name="connsiteY59892" fmla="*/ 1231906 h 5973007"/>
              <a:gd name="connsiteX59893" fmla="*/ 3715851 w 6884782"/>
              <a:gd name="connsiteY59893" fmla="*/ 1232191 h 5973007"/>
              <a:gd name="connsiteX59894" fmla="*/ 3723747 w 6884782"/>
              <a:gd name="connsiteY59894" fmla="*/ 1232618 h 5973007"/>
              <a:gd name="connsiteX59895" fmla="*/ 3725242 w 6884782"/>
              <a:gd name="connsiteY59895" fmla="*/ 1238451 h 5973007"/>
              <a:gd name="connsiteX59896" fmla="*/ 3704967 w 6884782"/>
              <a:gd name="connsiteY59896" fmla="*/ 1244711 h 5973007"/>
              <a:gd name="connsiteX59897" fmla="*/ 3703686 w 6884782"/>
              <a:gd name="connsiteY59897" fmla="*/ 1238166 h 5973007"/>
              <a:gd name="connsiteX59898" fmla="*/ 3706034 w 6884782"/>
              <a:gd name="connsiteY59898" fmla="*/ 1235178 h 5973007"/>
              <a:gd name="connsiteX59899" fmla="*/ 3704113 w 6884782"/>
              <a:gd name="connsiteY59899" fmla="*/ 1232618 h 5973007"/>
              <a:gd name="connsiteX59900" fmla="*/ 3707528 w 6884782"/>
              <a:gd name="connsiteY59900" fmla="*/ 1229203 h 5973007"/>
              <a:gd name="connsiteX59901" fmla="*/ 1347184 w 6884782"/>
              <a:gd name="connsiteY59901" fmla="*/ 1228814 h 5973007"/>
              <a:gd name="connsiteX59902" fmla="*/ 1351934 w 6884782"/>
              <a:gd name="connsiteY59902" fmla="*/ 1234856 h 5973007"/>
              <a:gd name="connsiteX59903" fmla="*/ 1346977 w 6884782"/>
              <a:gd name="connsiteY59903" fmla="*/ 1230364 h 5973007"/>
              <a:gd name="connsiteX59904" fmla="*/ 1347184 w 6884782"/>
              <a:gd name="connsiteY59904" fmla="*/ 1228814 h 5973007"/>
              <a:gd name="connsiteX59905" fmla="*/ 1472640 w 6884782"/>
              <a:gd name="connsiteY59905" fmla="*/ 1228505 h 5973007"/>
              <a:gd name="connsiteX59906" fmla="*/ 1494737 w 6884782"/>
              <a:gd name="connsiteY59906" fmla="*/ 1239193 h 5973007"/>
              <a:gd name="connsiteX59907" fmla="*/ 1472640 w 6884782"/>
              <a:gd name="connsiteY59907" fmla="*/ 1228505 h 5973007"/>
              <a:gd name="connsiteX59908" fmla="*/ 4790633 w 6884782"/>
              <a:gd name="connsiteY59908" fmla="*/ 1227639 h 5973007"/>
              <a:gd name="connsiteX59909" fmla="*/ 4795755 w 6884782"/>
              <a:gd name="connsiteY59909" fmla="*/ 1233471 h 5973007"/>
              <a:gd name="connsiteX59910" fmla="*/ 4784657 w 6884782"/>
              <a:gd name="connsiteY59910" fmla="*/ 1241438 h 5973007"/>
              <a:gd name="connsiteX59911" fmla="*/ 4781029 w 6884782"/>
              <a:gd name="connsiteY59911" fmla="*/ 1237597 h 5973007"/>
              <a:gd name="connsiteX59912" fmla="*/ 4790633 w 6884782"/>
              <a:gd name="connsiteY59912" fmla="*/ 1227639 h 5973007"/>
              <a:gd name="connsiteX59913" fmla="*/ 4154002 w 6884782"/>
              <a:gd name="connsiteY59913" fmla="*/ 1227639 h 5973007"/>
              <a:gd name="connsiteX59914" fmla="*/ 4160831 w 6884782"/>
              <a:gd name="connsiteY59914" fmla="*/ 1242576 h 5973007"/>
              <a:gd name="connsiteX59915" fmla="*/ 4156136 w 6884782"/>
              <a:gd name="connsiteY59915" fmla="*/ 1244995 h 5973007"/>
              <a:gd name="connsiteX59916" fmla="*/ 4154002 w 6884782"/>
              <a:gd name="connsiteY59916" fmla="*/ 1227639 h 5973007"/>
              <a:gd name="connsiteX59917" fmla="*/ 3764511 w 6884782"/>
              <a:gd name="connsiteY59917" fmla="*/ 1227354 h 5973007"/>
              <a:gd name="connsiteX59918" fmla="*/ 3770700 w 6884782"/>
              <a:gd name="connsiteY59918" fmla="*/ 1234467 h 5973007"/>
              <a:gd name="connsiteX59919" fmla="*/ 3749145 w 6884782"/>
              <a:gd name="connsiteY59919" fmla="*/ 1242434 h 5973007"/>
              <a:gd name="connsiteX59920" fmla="*/ 3764511 w 6884782"/>
              <a:gd name="connsiteY59920" fmla="*/ 1227354 h 5973007"/>
              <a:gd name="connsiteX59921" fmla="*/ 1522204 w 6884782"/>
              <a:gd name="connsiteY59921" fmla="*/ 1227266 h 5973007"/>
              <a:gd name="connsiteX59922" fmla="*/ 1521791 w 6884782"/>
              <a:gd name="connsiteY59922" fmla="*/ 1227421 h 5973007"/>
              <a:gd name="connsiteX59923" fmla="*/ 1521997 w 6884782"/>
              <a:gd name="connsiteY59923" fmla="*/ 1228970 h 5973007"/>
              <a:gd name="connsiteX59924" fmla="*/ 3669966 w 6884782"/>
              <a:gd name="connsiteY59924" fmla="*/ 1226927 h 5973007"/>
              <a:gd name="connsiteX59925" fmla="*/ 3671673 w 6884782"/>
              <a:gd name="connsiteY59925" fmla="*/ 1228207 h 5973007"/>
              <a:gd name="connsiteX59926" fmla="*/ 3671673 w 6884782"/>
              <a:gd name="connsiteY59926" fmla="*/ 1231622 h 5973007"/>
              <a:gd name="connsiteX59927" fmla="*/ 3666978 w 6884782"/>
              <a:gd name="connsiteY59927" fmla="*/ 1230341 h 5973007"/>
              <a:gd name="connsiteX59928" fmla="*/ 3669966 w 6884782"/>
              <a:gd name="connsiteY59928" fmla="*/ 1226927 h 5973007"/>
              <a:gd name="connsiteX59929" fmla="*/ 1298550 w 6884782"/>
              <a:gd name="connsiteY59929" fmla="*/ 1226646 h 5973007"/>
              <a:gd name="connsiteX59930" fmla="*/ 1301855 w 6884782"/>
              <a:gd name="connsiteY59930" fmla="*/ 1228350 h 5973007"/>
              <a:gd name="connsiteX59931" fmla="*/ 1302681 w 6884782"/>
              <a:gd name="connsiteY59931" fmla="*/ 1229744 h 5973007"/>
              <a:gd name="connsiteX59932" fmla="*/ 1296898 w 6884782"/>
              <a:gd name="connsiteY59932" fmla="*/ 1235475 h 5973007"/>
              <a:gd name="connsiteX59933" fmla="*/ 1291116 w 6884782"/>
              <a:gd name="connsiteY59933" fmla="*/ 1231603 h 5973007"/>
              <a:gd name="connsiteX59934" fmla="*/ 1292149 w 6884782"/>
              <a:gd name="connsiteY59934" fmla="*/ 1229899 h 5973007"/>
              <a:gd name="connsiteX59935" fmla="*/ 1293698 w 6884782"/>
              <a:gd name="connsiteY59935" fmla="*/ 1228195 h 5973007"/>
              <a:gd name="connsiteX59936" fmla="*/ 1298550 w 6884782"/>
              <a:gd name="connsiteY59936" fmla="*/ 1226646 h 5973007"/>
              <a:gd name="connsiteX59937" fmla="*/ 3651398 w 6884782"/>
              <a:gd name="connsiteY59937" fmla="*/ 1226358 h 5973007"/>
              <a:gd name="connsiteX59938" fmla="*/ 3656093 w 6884782"/>
              <a:gd name="connsiteY59938" fmla="*/ 1228350 h 5973007"/>
              <a:gd name="connsiteX59939" fmla="*/ 3662069 w 6884782"/>
              <a:gd name="connsiteY59939" fmla="*/ 1236459 h 5973007"/>
              <a:gd name="connsiteX59940" fmla="*/ 3651398 w 6884782"/>
              <a:gd name="connsiteY59940" fmla="*/ 1237028 h 5973007"/>
              <a:gd name="connsiteX59941" fmla="*/ 3649904 w 6884782"/>
              <a:gd name="connsiteY59941" fmla="*/ 1234751 h 5973007"/>
              <a:gd name="connsiteX59942" fmla="*/ 3647983 w 6884782"/>
              <a:gd name="connsiteY59942" fmla="*/ 1228777 h 5973007"/>
              <a:gd name="connsiteX59943" fmla="*/ 3651398 w 6884782"/>
              <a:gd name="connsiteY59943" fmla="*/ 1226358 h 5973007"/>
              <a:gd name="connsiteX59944" fmla="*/ 4631208 w 6884782"/>
              <a:gd name="connsiteY59944" fmla="*/ 1226215 h 5973007"/>
              <a:gd name="connsiteX59945" fmla="*/ 4632062 w 6884782"/>
              <a:gd name="connsiteY59945" fmla="*/ 1227212 h 5973007"/>
              <a:gd name="connsiteX59946" fmla="*/ 4632275 w 6884782"/>
              <a:gd name="connsiteY59946" fmla="*/ 1227354 h 5973007"/>
              <a:gd name="connsiteX59947" fmla="*/ 4632489 w 6884782"/>
              <a:gd name="connsiteY59947" fmla="*/ 1229772 h 5973007"/>
              <a:gd name="connsiteX59948" fmla="*/ 4631208 w 6884782"/>
              <a:gd name="connsiteY59948" fmla="*/ 1231906 h 5973007"/>
              <a:gd name="connsiteX59949" fmla="*/ 4627794 w 6884782"/>
              <a:gd name="connsiteY59949" fmla="*/ 1228492 h 5973007"/>
              <a:gd name="connsiteX59950" fmla="*/ 4629715 w 6884782"/>
              <a:gd name="connsiteY59950" fmla="*/ 1227354 h 5973007"/>
              <a:gd name="connsiteX59951" fmla="*/ 4628861 w 6884782"/>
              <a:gd name="connsiteY59951" fmla="*/ 1226358 h 5973007"/>
              <a:gd name="connsiteX59952" fmla="*/ 4631208 w 6884782"/>
              <a:gd name="connsiteY59952" fmla="*/ 1226215 h 5973007"/>
              <a:gd name="connsiteX59953" fmla="*/ 4049853 w 6884782"/>
              <a:gd name="connsiteY59953" fmla="*/ 1226215 h 5973007"/>
              <a:gd name="connsiteX59954" fmla="*/ 4078878 w 6884782"/>
              <a:gd name="connsiteY59954" fmla="*/ 1282838 h 5973007"/>
              <a:gd name="connsiteX59955" fmla="*/ 4066500 w 6884782"/>
              <a:gd name="connsiteY59955" fmla="*/ 1285115 h 5973007"/>
              <a:gd name="connsiteX59956" fmla="*/ 4049853 w 6884782"/>
              <a:gd name="connsiteY59956" fmla="*/ 1226215 h 5973007"/>
              <a:gd name="connsiteX59957" fmla="*/ 1176089 w 6884782"/>
              <a:gd name="connsiteY59957" fmla="*/ 1225097 h 5973007"/>
              <a:gd name="connsiteX59958" fmla="*/ 1180219 w 6884782"/>
              <a:gd name="connsiteY59958" fmla="*/ 1228970 h 5973007"/>
              <a:gd name="connsiteX59959" fmla="*/ 1180941 w 6884782"/>
              <a:gd name="connsiteY59959" fmla="*/ 1228814 h 5973007"/>
              <a:gd name="connsiteX59960" fmla="*/ 1183317 w 6884782"/>
              <a:gd name="connsiteY59960" fmla="*/ 1237179 h 5973007"/>
              <a:gd name="connsiteX59961" fmla="*/ 1182181 w 6884782"/>
              <a:gd name="connsiteY59961" fmla="*/ 1238883 h 5973007"/>
              <a:gd name="connsiteX59962" fmla="*/ 1182181 w 6884782"/>
              <a:gd name="connsiteY59962" fmla="*/ 1239193 h 5973007"/>
              <a:gd name="connsiteX59963" fmla="*/ 1174230 w 6884782"/>
              <a:gd name="connsiteY59963" fmla="*/ 1238573 h 5973007"/>
              <a:gd name="connsiteX59964" fmla="*/ 1172268 w 6884782"/>
              <a:gd name="connsiteY59964" fmla="*/ 1235940 h 5973007"/>
              <a:gd name="connsiteX59965" fmla="*/ 1172165 w 6884782"/>
              <a:gd name="connsiteY59965" fmla="*/ 1232223 h 5973007"/>
              <a:gd name="connsiteX59966" fmla="*/ 1171339 w 6884782"/>
              <a:gd name="connsiteY59966" fmla="*/ 1229434 h 5973007"/>
              <a:gd name="connsiteX59967" fmla="*/ 1171855 w 6884782"/>
              <a:gd name="connsiteY59967" fmla="*/ 1226491 h 5973007"/>
              <a:gd name="connsiteX59968" fmla="*/ 1176089 w 6884782"/>
              <a:gd name="connsiteY59968" fmla="*/ 1225097 h 5973007"/>
              <a:gd name="connsiteX59969" fmla="*/ 1313523 w 6884782"/>
              <a:gd name="connsiteY59969" fmla="*/ 1224633 h 5973007"/>
              <a:gd name="connsiteX59970" fmla="*/ 1320854 w 6884782"/>
              <a:gd name="connsiteY59970" fmla="*/ 1229744 h 5973007"/>
              <a:gd name="connsiteX59971" fmla="*/ 1309186 w 6884782"/>
              <a:gd name="connsiteY59971" fmla="*/ 1228505 h 5973007"/>
              <a:gd name="connsiteX59972" fmla="*/ 1313523 w 6884782"/>
              <a:gd name="connsiteY59972" fmla="*/ 1224633 h 5973007"/>
              <a:gd name="connsiteX59973" fmla="*/ 921020 w 6884782"/>
              <a:gd name="connsiteY59973" fmla="*/ 1224439 h 5973007"/>
              <a:gd name="connsiteX59974" fmla="*/ 928067 w 6884782"/>
              <a:gd name="connsiteY59974" fmla="*/ 1228350 h 5973007"/>
              <a:gd name="connsiteX59975" fmla="*/ 929823 w 6884782"/>
              <a:gd name="connsiteY59975" fmla="*/ 1230209 h 5973007"/>
              <a:gd name="connsiteX59976" fmla="*/ 933230 w 6884782"/>
              <a:gd name="connsiteY59976" fmla="*/ 1232223 h 5973007"/>
              <a:gd name="connsiteX59977" fmla="*/ 928687 w 6884782"/>
              <a:gd name="connsiteY59977" fmla="*/ 1241826 h 5973007"/>
              <a:gd name="connsiteX59978" fmla="*/ 913921 w 6884782"/>
              <a:gd name="connsiteY59978" fmla="*/ 1242911 h 5973007"/>
              <a:gd name="connsiteX59979" fmla="*/ 910204 w 6884782"/>
              <a:gd name="connsiteY59979" fmla="*/ 1233462 h 5973007"/>
              <a:gd name="connsiteX59980" fmla="*/ 912475 w 6884782"/>
              <a:gd name="connsiteY59980" fmla="*/ 1228505 h 5973007"/>
              <a:gd name="connsiteX59981" fmla="*/ 915366 w 6884782"/>
              <a:gd name="connsiteY59981" fmla="*/ 1225872 h 5973007"/>
              <a:gd name="connsiteX59982" fmla="*/ 921020 w 6884782"/>
              <a:gd name="connsiteY59982" fmla="*/ 1224439 h 5973007"/>
              <a:gd name="connsiteX59983" fmla="*/ 1120846 w 6884782"/>
              <a:gd name="connsiteY59983" fmla="*/ 1224323 h 5973007"/>
              <a:gd name="connsiteX59984" fmla="*/ 1111657 w 6884782"/>
              <a:gd name="connsiteY59984" fmla="*/ 1246938 h 5973007"/>
              <a:gd name="connsiteX59985" fmla="*/ 1105668 w 6884782"/>
              <a:gd name="connsiteY59985" fmla="*/ 1251430 h 5973007"/>
              <a:gd name="connsiteX59986" fmla="*/ 1107527 w 6884782"/>
              <a:gd name="connsiteY59986" fmla="*/ 1235166 h 5973007"/>
              <a:gd name="connsiteX59987" fmla="*/ 1091728 w 6884782"/>
              <a:gd name="connsiteY59987" fmla="*/ 1228660 h 5973007"/>
              <a:gd name="connsiteX59988" fmla="*/ 1095652 w 6884782"/>
              <a:gd name="connsiteY59988" fmla="*/ 1226646 h 5973007"/>
              <a:gd name="connsiteX59989" fmla="*/ 1111450 w 6884782"/>
              <a:gd name="connsiteY59989" fmla="*/ 1228505 h 5973007"/>
              <a:gd name="connsiteX59990" fmla="*/ 1120846 w 6884782"/>
              <a:gd name="connsiteY59990" fmla="*/ 1224323 h 5973007"/>
              <a:gd name="connsiteX59991" fmla="*/ 3678716 w 6884782"/>
              <a:gd name="connsiteY59991" fmla="*/ 1224082 h 5973007"/>
              <a:gd name="connsiteX59992" fmla="*/ 3681064 w 6884782"/>
              <a:gd name="connsiteY59992" fmla="*/ 1225504 h 5973007"/>
              <a:gd name="connsiteX59993" fmla="*/ 3683198 w 6884782"/>
              <a:gd name="connsiteY59993" fmla="*/ 1227639 h 5973007"/>
              <a:gd name="connsiteX59994" fmla="*/ 3685546 w 6884782"/>
              <a:gd name="connsiteY59994" fmla="*/ 1234325 h 5973007"/>
              <a:gd name="connsiteX59995" fmla="*/ 3682984 w 6884782"/>
              <a:gd name="connsiteY59995" fmla="*/ 1238735 h 5973007"/>
              <a:gd name="connsiteX59996" fmla="*/ 3681277 w 6884782"/>
              <a:gd name="connsiteY59996" fmla="*/ 1240016 h 5973007"/>
              <a:gd name="connsiteX59997" fmla="*/ 3673167 w 6884782"/>
              <a:gd name="connsiteY59997" fmla="*/ 1232049 h 5973007"/>
              <a:gd name="connsiteX59998" fmla="*/ 3678716 w 6884782"/>
              <a:gd name="connsiteY59998" fmla="*/ 1224082 h 5973007"/>
              <a:gd name="connsiteX59999" fmla="*/ 5041828 w 6884782"/>
              <a:gd name="connsiteY59999" fmla="*/ 1223797 h 5973007"/>
              <a:gd name="connsiteX60000" fmla="*/ 5045883 w 6884782"/>
              <a:gd name="connsiteY60000" fmla="*/ 1227923 h 5973007"/>
              <a:gd name="connsiteX60001" fmla="*/ 5041401 w 6884782"/>
              <a:gd name="connsiteY60001" fmla="*/ 1245564 h 5973007"/>
              <a:gd name="connsiteX60002" fmla="*/ 5033291 w 6884782"/>
              <a:gd name="connsiteY60002" fmla="*/ 1239020 h 5973007"/>
              <a:gd name="connsiteX60003" fmla="*/ 5033932 w 6884782"/>
              <a:gd name="connsiteY60003" fmla="*/ 1232049 h 5973007"/>
              <a:gd name="connsiteX60004" fmla="*/ 5041828 w 6884782"/>
              <a:gd name="connsiteY60004" fmla="*/ 1223797 h 5973007"/>
              <a:gd name="connsiteX60005" fmla="*/ 4406051 w 6884782"/>
              <a:gd name="connsiteY60005" fmla="*/ 1223512 h 5973007"/>
              <a:gd name="connsiteX60006" fmla="*/ 4407972 w 6884782"/>
              <a:gd name="connsiteY60006" fmla="*/ 1226073 h 5973007"/>
              <a:gd name="connsiteX60007" fmla="*/ 4403703 w 6884782"/>
              <a:gd name="connsiteY60007" fmla="*/ 1236175 h 5973007"/>
              <a:gd name="connsiteX60008" fmla="*/ 4406051 w 6884782"/>
              <a:gd name="connsiteY60008" fmla="*/ 1223512 h 5973007"/>
              <a:gd name="connsiteX60009" fmla="*/ 4200741 w 6884782"/>
              <a:gd name="connsiteY60009" fmla="*/ 1223370 h 5973007"/>
              <a:gd name="connsiteX60010" fmla="*/ 4187935 w 6884782"/>
              <a:gd name="connsiteY60010" fmla="*/ 1234183 h 5973007"/>
              <a:gd name="connsiteX60011" fmla="*/ 4189002 w 6884782"/>
              <a:gd name="connsiteY60011" fmla="*/ 1230910 h 5973007"/>
              <a:gd name="connsiteX60012" fmla="*/ 4200741 w 6884782"/>
              <a:gd name="connsiteY60012" fmla="*/ 1223370 h 5973007"/>
              <a:gd name="connsiteX60013" fmla="*/ 1422664 w 6884782"/>
              <a:gd name="connsiteY60013" fmla="*/ 1222464 h 5973007"/>
              <a:gd name="connsiteX60014" fmla="*/ 1426175 w 6884782"/>
              <a:gd name="connsiteY60014" fmla="*/ 1223239 h 5973007"/>
              <a:gd name="connsiteX60015" fmla="*/ 1426692 w 6884782"/>
              <a:gd name="connsiteY60015" fmla="*/ 1225872 h 5973007"/>
              <a:gd name="connsiteX60016" fmla="*/ 1425866 w 6884782"/>
              <a:gd name="connsiteY60016" fmla="*/ 1225872 h 5973007"/>
              <a:gd name="connsiteX60017" fmla="*/ 1422148 w 6884782"/>
              <a:gd name="connsiteY60017" fmla="*/ 1226646 h 5973007"/>
              <a:gd name="connsiteX60018" fmla="*/ 1421735 w 6884782"/>
              <a:gd name="connsiteY60018" fmla="*/ 1224788 h 5973007"/>
              <a:gd name="connsiteX60019" fmla="*/ 1422664 w 6884782"/>
              <a:gd name="connsiteY60019" fmla="*/ 1222464 h 5973007"/>
              <a:gd name="connsiteX60020" fmla="*/ 4017840 w 6884782"/>
              <a:gd name="connsiteY60020" fmla="*/ 1222090 h 5973007"/>
              <a:gd name="connsiteX60021" fmla="*/ 4017414 w 6884782"/>
              <a:gd name="connsiteY60021" fmla="*/ 1223085 h 5973007"/>
              <a:gd name="connsiteX60022" fmla="*/ 4018907 w 6884782"/>
              <a:gd name="connsiteY60022" fmla="*/ 1222659 h 5973007"/>
              <a:gd name="connsiteX60023" fmla="*/ 4013999 w 6884782"/>
              <a:gd name="connsiteY60023" fmla="*/ 1238451 h 5973007"/>
              <a:gd name="connsiteX60024" fmla="*/ 4013145 w 6884782"/>
              <a:gd name="connsiteY60024" fmla="*/ 1238024 h 5973007"/>
              <a:gd name="connsiteX60025" fmla="*/ 4015706 w 6884782"/>
              <a:gd name="connsiteY60025" fmla="*/ 1225789 h 5973007"/>
              <a:gd name="connsiteX60026" fmla="*/ 4017840 w 6884782"/>
              <a:gd name="connsiteY60026" fmla="*/ 1222090 h 5973007"/>
              <a:gd name="connsiteX60027" fmla="*/ 4746028 w 6884782"/>
              <a:gd name="connsiteY60027" fmla="*/ 1221663 h 5973007"/>
              <a:gd name="connsiteX60028" fmla="*/ 4751791 w 6884782"/>
              <a:gd name="connsiteY60028" fmla="*/ 1222801 h 5973007"/>
              <a:gd name="connsiteX60029" fmla="*/ 4738559 w 6884782"/>
              <a:gd name="connsiteY60029" fmla="*/ 1236459 h 5973007"/>
              <a:gd name="connsiteX60030" fmla="*/ 4746028 w 6884782"/>
              <a:gd name="connsiteY60030" fmla="*/ 1221663 h 5973007"/>
              <a:gd name="connsiteX60031" fmla="*/ 4255376 w 6884782"/>
              <a:gd name="connsiteY60031" fmla="*/ 1220952 h 5973007"/>
              <a:gd name="connsiteX60032" fmla="*/ 4261566 w 6884782"/>
              <a:gd name="connsiteY60032" fmla="*/ 1224508 h 5973007"/>
              <a:gd name="connsiteX60033" fmla="*/ 4263273 w 6884782"/>
              <a:gd name="connsiteY60033" fmla="*/ 1229488 h 5973007"/>
              <a:gd name="connsiteX60034" fmla="*/ 4263273 w 6884782"/>
              <a:gd name="connsiteY60034" fmla="*/ 1229772 h 5973007"/>
              <a:gd name="connsiteX60035" fmla="*/ 4264980 w 6884782"/>
              <a:gd name="connsiteY60035" fmla="*/ 1228492 h 5973007"/>
              <a:gd name="connsiteX60036" fmla="*/ 4267328 w 6884782"/>
              <a:gd name="connsiteY60036" fmla="*/ 1228492 h 5973007"/>
              <a:gd name="connsiteX60037" fmla="*/ 4268608 w 6884782"/>
              <a:gd name="connsiteY60037" fmla="*/ 1230910 h 5973007"/>
              <a:gd name="connsiteX60038" fmla="*/ 4269462 w 6884782"/>
              <a:gd name="connsiteY60038" fmla="*/ 1235748 h 5973007"/>
              <a:gd name="connsiteX60039" fmla="*/ 4267541 w 6884782"/>
              <a:gd name="connsiteY60039" fmla="*/ 1238308 h 5973007"/>
              <a:gd name="connsiteX60040" fmla="*/ 4264980 w 6884782"/>
              <a:gd name="connsiteY60040" fmla="*/ 1237313 h 5973007"/>
              <a:gd name="connsiteX60041" fmla="*/ 4262846 w 6884782"/>
              <a:gd name="connsiteY60041" fmla="*/ 1237313 h 5973007"/>
              <a:gd name="connsiteX60042" fmla="*/ 4262632 w 6884782"/>
              <a:gd name="connsiteY60042" fmla="*/ 1236175 h 5973007"/>
              <a:gd name="connsiteX60043" fmla="*/ 4262846 w 6884782"/>
              <a:gd name="connsiteY60043" fmla="*/ 1236032 h 5973007"/>
              <a:gd name="connsiteX60044" fmla="*/ 4261992 w 6884782"/>
              <a:gd name="connsiteY60044" fmla="*/ 1235463 h 5973007"/>
              <a:gd name="connsiteX60045" fmla="*/ 4261139 w 6884782"/>
              <a:gd name="connsiteY60045" fmla="*/ 1238735 h 5973007"/>
              <a:gd name="connsiteX60046" fmla="*/ 4243638 w 6884782"/>
              <a:gd name="connsiteY60046" fmla="*/ 1233187 h 5973007"/>
              <a:gd name="connsiteX60047" fmla="*/ 4247693 w 6884782"/>
              <a:gd name="connsiteY60047" fmla="*/ 1223512 h 5973007"/>
              <a:gd name="connsiteX60048" fmla="*/ 4255376 w 6884782"/>
              <a:gd name="connsiteY60048" fmla="*/ 1220952 h 5973007"/>
              <a:gd name="connsiteX60049" fmla="*/ 4340958 w 6884782"/>
              <a:gd name="connsiteY60049" fmla="*/ 1220809 h 5973007"/>
              <a:gd name="connsiteX60050" fmla="*/ 4345653 w 6884782"/>
              <a:gd name="connsiteY60050" fmla="*/ 1222517 h 5973007"/>
              <a:gd name="connsiteX60051" fmla="*/ 4345653 w 6884782"/>
              <a:gd name="connsiteY60051" fmla="*/ 1226215 h 5973007"/>
              <a:gd name="connsiteX60052" fmla="*/ 4339037 w 6884782"/>
              <a:gd name="connsiteY60052" fmla="*/ 1226073 h 5973007"/>
              <a:gd name="connsiteX60053" fmla="*/ 4340958 w 6884782"/>
              <a:gd name="connsiteY60053" fmla="*/ 1220809 h 5973007"/>
              <a:gd name="connsiteX60054" fmla="*/ 853516 w 6884782"/>
              <a:gd name="connsiteY60054" fmla="*/ 1220760 h 5973007"/>
              <a:gd name="connsiteX60055" fmla="*/ 854342 w 6884782"/>
              <a:gd name="connsiteY60055" fmla="*/ 1220915 h 5973007"/>
              <a:gd name="connsiteX60056" fmla="*/ 855065 w 6884782"/>
              <a:gd name="connsiteY60056" fmla="*/ 1224323 h 5973007"/>
              <a:gd name="connsiteX60057" fmla="*/ 853413 w 6884782"/>
              <a:gd name="connsiteY60057" fmla="*/ 1224168 h 5973007"/>
              <a:gd name="connsiteX60058" fmla="*/ 853413 w 6884782"/>
              <a:gd name="connsiteY60058" fmla="*/ 1224943 h 5973007"/>
              <a:gd name="connsiteX60059" fmla="*/ 851761 w 6884782"/>
              <a:gd name="connsiteY60059" fmla="*/ 1223858 h 5973007"/>
              <a:gd name="connsiteX60060" fmla="*/ 851761 w 6884782"/>
              <a:gd name="connsiteY60060" fmla="*/ 1223239 h 5973007"/>
              <a:gd name="connsiteX60061" fmla="*/ 851554 w 6884782"/>
              <a:gd name="connsiteY60061" fmla="*/ 1222929 h 5973007"/>
              <a:gd name="connsiteX60062" fmla="*/ 852587 w 6884782"/>
              <a:gd name="connsiteY60062" fmla="*/ 1221689 h 5973007"/>
              <a:gd name="connsiteX60063" fmla="*/ 853516 w 6884782"/>
              <a:gd name="connsiteY60063" fmla="*/ 1220760 h 5973007"/>
              <a:gd name="connsiteX60064" fmla="*/ 1231950 w 6884782"/>
              <a:gd name="connsiteY60064" fmla="*/ 1220450 h 5973007"/>
              <a:gd name="connsiteX60065" fmla="*/ 1234429 w 6884782"/>
              <a:gd name="connsiteY60065" fmla="*/ 1222619 h 5973007"/>
              <a:gd name="connsiteX60066" fmla="*/ 1229265 w 6884782"/>
              <a:gd name="connsiteY60066" fmla="*/ 1227885 h 5973007"/>
              <a:gd name="connsiteX60067" fmla="*/ 1227407 w 6884782"/>
              <a:gd name="connsiteY60067" fmla="*/ 1223393 h 5973007"/>
              <a:gd name="connsiteX60068" fmla="*/ 1228853 w 6884782"/>
              <a:gd name="connsiteY60068" fmla="*/ 1220605 h 5973007"/>
              <a:gd name="connsiteX60069" fmla="*/ 1231950 w 6884782"/>
              <a:gd name="connsiteY60069" fmla="*/ 1220450 h 5973007"/>
              <a:gd name="connsiteX60070" fmla="*/ 1518176 w 6884782"/>
              <a:gd name="connsiteY60070" fmla="*/ 1219676 h 5973007"/>
              <a:gd name="connsiteX60071" fmla="*/ 1518899 w 6884782"/>
              <a:gd name="connsiteY60071" fmla="*/ 1220760 h 5973007"/>
              <a:gd name="connsiteX60072" fmla="*/ 1518796 w 6884782"/>
              <a:gd name="connsiteY60072" fmla="*/ 1221380 h 5973007"/>
              <a:gd name="connsiteX60073" fmla="*/ 1516628 w 6884782"/>
              <a:gd name="connsiteY60073" fmla="*/ 1222774 h 5973007"/>
              <a:gd name="connsiteX60074" fmla="*/ 1516628 w 6884782"/>
              <a:gd name="connsiteY60074" fmla="*/ 1222154 h 5973007"/>
              <a:gd name="connsiteX60075" fmla="*/ 1517454 w 6884782"/>
              <a:gd name="connsiteY60075" fmla="*/ 1219986 h 5973007"/>
              <a:gd name="connsiteX60076" fmla="*/ 1518590 w 6884782"/>
              <a:gd name="connsiteY60076" fmla="*/ 1220450 h 5973007"/>
              <a:gd name="connsiteX60077" fmla="*/ 1518176 w 6884782"/>
              <a:gd name="connsiteY60077" fmla="*/ 1219676 h 5973007"/>
              <a:gd name="connsiteX60078" fmla="*/ 1469853 w 6884782"/>
              <a:gd name="connsiteY60078" fmla="*/ 1218127 h 5973007"/>
              <a:gd name="connsiteX60079" fmla="*/ 1473983 w 6884782"/>
              <a:gd name="connsiteY60079" fmla="*/ 1224478 h 5973007"/>
              <a:gd name="connsiteX60080" fmla="*/ 1469543 w 6884782"/>
              <a:gd name="connsiteY60080" fmla="*/ 1219521 h 5973007"/>
              <a:gd name="connsiteX60081" fmla="*/ 1469853 w 6884782"/>
              <a:gd name="connsiteY60081" fmla="*/ 1218127 h 5973007"/>
              <a:gd name="connsiteX60082" fmla="*/ 1441767 w 6884782"/>
              <a:gd name="connsiteY60082" fmla="*/ 1218127 h 5973007"/>
              <a:gd name="connsiteX60083" fmla="*/ 1434642 w 6884782"/>
              <a:gd name="connsiteY60083" fmla="*/ 1224323 h 5973007"/>
              <a:gd name="connsiteX60084" fmla="*/ 1441767 w 6884782"/>
              <a:gd name="connsiteY60084" fmla="*/ 1218127 h 5973007"/>
              <a:gd name="connsiteX60085" fmla="*/ 4502943 w 6884782"/>
              <a:gd name="connsiteY60085" fmla="*/ 1217964 h 5973007"/>
              <a:gd name="connsiteX60086" fmla="*/ 4506144 w 6884782"/>
              <a:gd name="connsiteY60086" fmla="*/ 1224508 h 5973007"/>
              <a:gd name="connsiteX60087" fmla="*/ 4504011 w 6884782"/>
              <a:gd name="connsiteY60087" fmla="*/ 1236316 h 5973007"/>
              <a:gd name="connsiteX60088" fmla="*/ 4502516 w 6884782"/>
              <a:gd name="connsiteY60088" fmla="*/ 1238451 h 5973007"/>
              <a:gd name="connsiteX60089" fmla="*/ 4502303 w 6884782"/>
              <a:gd name="connsiteY60089" fmla="*/ 1239446 h 5973007"/>
              <a:gd name="connsiteX60090" fmla="*/ 4501023 w 6884782"/>
              <a:gd name="connsiteY60090" fmla="*/ 1240585 h 5973007"/>
              <a:gd name="connsiteX60091" fmla="*/ 4497608 w 6884782"/>
              <a:gd name="connsiteY60091" fmla="*/ 1245849 h 5973007"/>
              <a:gd name="connsiteX60092" fmla="*/ 4486723 w 6884782"/>
              <a:gd name="connsiteY60092" fmla="*/ 1242007 h 5973007"/>
              <a:gd name="connsiteX60093" fmla="*/ 4502943 w 6884782"/>
              <a:gd name="connsiteY60093" fmla="*/ 1217964 h 5973007"/>
              <a:gd name="connsiteX60094" fmla="*/ 4536877 w 6884782"/>
              <a:gd name="connsiteY60094" fmla="*/ 1217679 h 5973007"/>
              <a:gd name="connsiteX60095" fmla="*/ 4546481 w 6884782"/>
              <a:gd name="connsiteY60095" fmla="*/ 1228207 h 5973007"/>
              <a:gd name="connsiteX60096" fmla="*/ 4535383 w 6884782"/>
              <a:gd name="connsiteY60096" fmla="*/ 1234467 h 5973007"/>
              <a:gd name="connsiteX60097" fmla="*/ 4534529 w 6884782"/>
              <a:gd name="connsiteY60097" fmla="*/ 1231906 h 5973007"/>
              <a:gd name="connsiteX60098" fmla="*/ 4533889 w 6884782"/>
              <a:gd name="connsiteY60098" fmla="*/ 1232618 h 5973007"/>
              <a:gd name="connsiteX60099" fmla="*/ 4528127 w 6884782"/>
              <a:gd name="connsiteY60099" fmla="*/ 1234183 h 5973007"/>
              <a:gd name="connsiteX60100" fmla="*/ 4531755 w 6884782"/>
              <a:gd name="connsiteY60100" fmla="*/ 1230626 h 5973007"/>
              <a:gd name="connsiteX60101" fmla="*/ 4533676 w 6884782"/>
              <a:gd name="connsiteY60101" fmla="*/ 1229345 h 5973007"/>
              <a:gd name="connsiteX60102" fmla="*/ 4532609 w 6884782"/>
              <a:gd name="connsiteY60102" fmla="*/ 1226215 h 5973007"/>
              <a:gd name="connsiteX60103" fmla="*/ 4536877 w 6884782"/>
              <a:gd name="connsiteY60103" fmla="*/ 1217679 h 5973007"/>
              <a:gd name="connsiteX60104" fmla="*/ 3388892 w 6884782"/>
              <a:gd name="connsiteY60104" fmla="*/ 1215830 h 5973007"/>
              <a:gd name="connsiteX60105" fmla="*/ 3385264 w 6884782"/>
              <a:gd name="connsiteY60105" fmla="*/ 1219387 h 5973007"/>
              <a:gd name="connsiteX60106" fmla="*/ 3375446 w 6884782"/>
              <a:gd name="connsiteY60106" fmla="*/ 1222659 h 5973007"/>
              <a:gd name="connsiteX60107" fmla="*/ 3374166 w 6884782"/>
              <a:gd name="connsiteY60107" fmla="*/ 1222659 h 5973007"/>
              <a:gd name="connsiteX60108" fmla="*/ 3374166 w 6884782"/>
              <a:gd name="connsiteY60108" fmla="*/ 1222943 h 5973007"/>
              <a:gd name="connsiteX60109" fmla="*/ 3376727 w 6884782"/>
              <a:gd name="connsiteY60109" fmla="*/ 1229061 h 5973007"/>
              <a:gd name="connsiteX60110" fmla="*/ 3371178 w 6884782"/>
              <a:gd name="connsiteY60110" fmla="*/ 1228350 h 5973007"/>
              <a:gd name="connsiteX60111" fmla="*/ 3372886 w 6884782"/>
              <a:gd name="connsiteY60111" fmla="*/ 1236316 h 5973007"/>
              <a:gd name="connsiteX60112" fmla="*/ 3373313 w 6884782"/>
              <a:gd name="connsiteY60112" fmla="*/ 1236886 h 5973007"/>
              <a:gd name="connsiteX60113" fmla="*/ 3375020 w 6884782"/>
              <a:gd name="connsiteY60113" fmla="*/ 1234751 h 5973007"/>
              <a:gd name="connsiteX60114" fmla="*/ 3375020 w 6884782"/>
              <a:gd name="connsiteY60114" fmla="*/ 1231480 h 5973007"/>
              <a:gd name="connsiteX60115" fmla="*/ 3379288 w 6884782"/>
              <a:gd name="connsiteY60115" fmla="*/ 1255381 h 5973007"/>
              <a:gd name="connsiteX60116" fmla="*/ 3379715 w 6884782"/>
              <a:gd name="connsiteY60116" fmla="*/ 1255523 h 5973007"/>
              <a:gd name="connsiteX60117" fmla="*/ 3379501 w 6884782"/>
              <a:gd name="connsiteY60117" fmla="*/ 1255950 h 5973007"/>
              <a:gd name="connsiteX60118" fmla="*/ 3381209 w 6884782"/>
              <a:gd name="connsiteY60118" fmla="*/ 1265197 h 5973007"/>
              <a:gd name="connsiteX60119" fmla="*/ 3389746 w 6884782"/>
              <a:gd name="connsiteY60119" fmla="*/ 1257515 h 5973007"/>
              <a:gd name="connsiteX60120" fmla="*/ 3399350 w 6884782"/>
              <a:gd name="connsiteY60120" fmla="*/ 1250259 h 5973007"/>
              <a:gd name="connsiteX60121" fmla="*/ 3391453 w 6884782"/>
              <a:gd name="connsiteY60121" fmla="*/ 1224224 h 5973007"/>
              <a:gd name="connsiteX60122" fmla="*/ 1601504 w 6884782"/>
              <a:gd name="connsiteY60122" fmla="*/ 1215339 h 5973007"/>
              <a:gd name="connsiteX60123" fmla="*/ 1605015 w 6884782"/>
              <a:gd name="connsiteY60123" fmla="*/ 1216733 h 5973007"/>
              <a:gd name="connsiteX60124" fmla="*/ 1607803 w 6884782"/>
              <a:gd name="connsiteY60124" fmla="*/ 1219211 h 5973007"/>
              <a:gd name="connsiteX60125" fmla="*/ 1612966 w 6884782"/>
              <a:gd name="connsiteY60125" fmla="*/ 1215803 h 5973007"/>
              <a:gd name="connsiteX60126" fmla="*/ 1614824 w 6884782"/>
              <a:gd name="connsiteY60126" fmla="*/ 1216268 h 5973007"/>
              <a:gd name="connsiteX60127" fmla="*/ 1615031 w 6884782"/>
              <a:gd name="connsiteY60127" fmla="*/ 1215803 h 5973007"/>
              <a:gd name="connsiteX60128" fmla="*/ 1617612 w 6884782"/>
              <a:gd name="connsiteY60128" fmla="*/ 1215339 h 5973007"/>
              <a:gd name="connsiteX60129" fmla="*/ 1617509 w 6884782"/>
              <a:gd name="connsiteY60129" fmla="*/ 1216733 h 5973007"/>
              <a:gd name="connsiteX60130" fmla="*/ 1618129 w 6884782"/>
              <a:gd name="connsiteY60130" fmla="*/ 1216888 h 5973007"/>
              <a:gd name="connsiteX60131" fmla="*/ 1618645 w 6884782"/>
              <a:gd name="connsiteY60131" fmla="*/ 1216888 h 5973007"/>
              <a:gd name="connsiteX60132" fmla="*/ 1620606 w 6884782"/>
              <a:gd name="connsiteY60132" fmla="*/ 1216578 h 5973007"/>
              <a:gd name="connsiteX60133" fmla="*/ 1623188 w 6884782"/>
              <a:gd name="connsiteY60133" fmla="*/ 1218746 h 5973007"/>
              <a:gd name="connsiteX60134" fmla="*/ 1622981 w 6884782"/>
              <a:gd name="connsiteY60134" fmla="*/ 1218901 h 5973007"/>
              <a:gd name="connsiteX60135" fmla="*/ 1625666 w 6884782"/>
              <a:gd name="connsiteY60135" fmla="*/ 1220295 h 5973007"/>
              <a:gd name="connsiteX60136" fmla="*/ 1632378 w 6884782"/>
              <a:gd name="connsiteY60136" fmla="*/ 1232997 h 5973007"/>
              <a:gd name="connsiteX60137" fmla="*/ 1632481 w 6884782"/>
              <a:gd name="connsiteY60137" fmla="*/ 1239812 h 5973007"/>
              <a:gd name="connsiteX60138" fmla="*/ 1634649 w 6884782"/>
              <a:gd name="connsiteY60138" fmla="*/ 1236560 h 5973007"/>
              <a:gd name="connsiteX60139" fmla="*/ 1640329 w 6884782"/>
              <a:gd name="connsiteY60139" fmla="*/ 1229744 h 5973007"/>
              <a:gd name="connsiteX60140" fmla="*/ 1641155 w 6884782"/>
              <a:gd name="connsiteY60140" fmla="*/ 1229744 h 5973007"/>
              <a:gd name="connsiteX60141" fmla="*/ 1641774 w 6884782"/>
              <a:gd name="connsiteY60141" fmla="*/ 1231603 h 5973007"/>
              <a:gd name="connsiteX60142" fmla="*/ 1639606 w 6884782"/>
              <a:gd name="connsiteY60142" fmla="*/ 1234856 h 5973007"/>
              <a:gd name="connsiteX60143" fmla="*/ 1632791 w 6884782"/>
              <a:gd name="connsiteY60143" fmla="*/ 1240587 h 5973007"/>
              <a:gd name="connsiteX60144" fmla="*/ 1632481 w 6884782"/>
              <a:gd name="connsiteY60144" fmla="*/ 1241207 h 5973007"/>
              <a:gd name="connsiteX60145" fmla="*/ 1632481 w 6884782"/>
              <a:gd name="connsiteY60145" fmla="*/ 1242911 h 5973007"/>
              <a:gd name="connsiteX60146" fmla="*/ 1631552 w 6884782"/>
              <a:gd name="connsiteY60146" fmla="*/ 1244924 h 5973007"/>
              <a:gd name="connsiteX60147" fmla="*/ 1632378 w 6884782"/>
              <a:gd name="connsiteY60147" fmla="*/ 1247402 h 5973007"/>
              <a:gd name="connsiteX60148" fmla="*/ 1629590 w 6884782"/>
              <a:gd name="connsiteY60148" fmla="*/ 1248332 h 5973007"/>
              <a:gd name="connsiteX60149" fmla="*/ 1636714 w 6884782"/>
              <a:gd name="connsiteY60149" fmla="*/ 1248951 h 5973007"/>
              <a:gd name="connsiteX60150" fmla="*/ 1639502 w 6884782"/>
              <a:gd name="connsiteY60150" fmla="*/ 1248642 h 5973007"/>
              <a:gd name="connsiteX60151" fmla="*/ 1640225 w 6884782"/>
              <a:gd name="connsiteY60151" fmla="*/ 1248486 h 5973007"/>
              <a:gd name="connsiteX60152" fmla="*/ 1640329 w 6884782"/>
              <a:gd name="connsiteY60152" fmla="*/ 1248177 h 5973007"/>
              <a:gd name="connsiteX60153" fmla="*/ 1645698 w 6884782"/>
              <a:gd name="connsiteY60153" fmla="*/ 1247092 h 5973007"/>
              <a:gd name="connsiteX60154" fmla="*/ 1648382 w 6884782"/>
              <a:gd name="connsiteY60154" fmla="*/ 1247712 h 5973007"/>
              <a:gd name="connsiteX60155" fmla="*/ 1648382 w 6884782"/>
              <a:gd name="connsiteY60155" fmla="*/ 1247557 h 5973007"/>
              <a:gd name="connsiteX60156" fmla="*/ 1648692 w 6884782"/>
              <a:gd name="connsiteY60156" fmla="*/ 1246008 h 5973007"/>
              <a:gd name="connsiteX60157" fmla="*/ 1661599 w 6884782"/>
              <a:gd name="connsiteY60157" fmla="*/ 1244924 h 5973007"/>
              <a:gd name="connsiteX60158" fmla="*/ 1663355 w 6884782"/>
              <a:gd name="connsiteY60158" fmla="*/ 1245544 h 5973007"/>
              <a:gd name="connsiteX60159" fmla="*/ 1663355 w 6884782"/>
              <a:gd name="connsiteY60159" fmla="*/ 1244614 h 5973007"/>
              <a:gd name="connsiteX60160" fmla="*/ 1664181 w 6884782"/>
              <a:gd name="connsiteY60160" fmla="*/ 1245544 h 5973007"/>
              <a:gd name="connsiteX60161" fmla="*/ 1664387 w 6884782"/>
              <a:gd name="connsiteY60161" fmla="*/ 1245544 h 5973007"/>
              <a:gd name="connsiteX60162" fmla="*/ 1665213 w 6884782"/>
              <a:gd name="connsiteY60162" fmla="*/ 1245544 h 5973007"/>
              <a:gd name="connsiteX60163" fmla="*/ 1667898 w 6884782"/>
              <a:gd name="connsiteY60163" fmla="*/ 1247867 h 5973007"/>
              <a:gd name="connsiteX60164" fmla="*/ 1667278 w 6884782"/>
              <a:gd name="connsiteY60164" fmla="*/ 1249880 h 5973007"/>
              <a:gd name="connsiteX60165" fmla="*/ 1666865 w 6884782"/>
              <a:gd name="connsiteY60165" fmla="*/ 1250190 h 5973007"/>
              <a:gd name="connsiteX60166" fmla="*/ 1667795 w 6884782"/>
              <a:gd name="connsiteY60166" fmla="*/ 1254682 h 5973007"/>
              <a:gd name="connsiteX60167" fmla="*/ 1662838 w 6884782"/>
              <a:gd name="connsiteY60167" fmla="*/ 1253753 h 5973007"/>
              <a:gd name="connsiteX60168" fmla="*/ 1662529 w 6884782"/>
              <a:gd name="connsiteY60168" fmla="*/ 1252979 h 5973007"/>
              <a:gd name="connsiteX60169" fmla="*/ 1661806 w 6884782"/>
              <a:gd name="connsiteY60169" fmla="*/ 1255147 h 5973007"/>
              <a:gd name="connsiteX60170" fmla="*/ 1659947 w 6884782"/>
              <a:gd name="connsiteY60170" fmla="*/ 1267539 h 5973007"/>
              <a:gd name="connsiteX60171" fmla="*/ 1653545 w 6884782"/>
              <a:gd name="connsiteY60171" fmla="*/ 1267539 h 5973007"/>
              <a:gd name="connsiteX60172" fmla="*/ 1651893 w 6884782"/>
              <a:gd name="connsiteY60172" fmla="*/ 1266764 h 5973007"/>
              <a:gd name="connsiteX60173" fmla="*/ 1652719 w 6884782"/>
              <a:gd name="connsiteY60173" fmla="*/ 1267848 h 5973007"/>
              <a:gd name="connsiteX60174" fmla="*/ 1649002 w 6884782"/>
              <a:gd name="connsiteY60174" fmla="*/ 1269707 h 5973007"/>
              <a:gd name="connsiteX60175" fmla="*/ 1647866 w 6884782"/>
              <a:gd name="connsiteY60175" fmla="*/ 1266300 h 5973007"/>
              <a:gd name="connsiteX60176" fmla="*/ 1648692 w 6884782"/>
              <a:gd name="connsiteY60176" fmla="*/ 1265370 h 5973007"/>
              <a:gd name="connsiteX60177" fmla="*/ 1649518 w 6884782"/>
              <a:gd name="connsiteY60177" fmla="*/ 1264596 h 5973007"/>
              <a:gd name="connsiteX60178" fmla="*/ 1648073 w 6884782"/>
              <a:gd name="connsiteY60178" fmla="*/ 1263047 h 5973007"/>
              <a:gd name="connsiteX60179" fmla="*/ 1646834 w 6884782"/>
              <a:gd name="connsiteY60179" fmla="*/ 1254992 h 5973007"/>
              <a:gd name="connsiteX60180" fmla="*/ 1647557 w 6884782"/>
              <a:gd name="connsiteY60180" fmla="*/ 1253753 h 5973007"/>
              <a:gd name="connsiteX60181" fmla="*/ 1647247 w 6884782"/>
              <a:gd name="connsiteY60181" fmla="*/ 1253753 h 5973007"/>
              <a:gd name="connsiteX60182" fmla="*/ 1644768 w 6884782"/>
              <a:gd name="connsiteY60182" fmla="*/ 1252979 h 5973007"/>
              <a:gd name="connsiteX60183" fmla="*/ 1644975 w 6884782"/>
              <a:gd name="connsiteY60183" fmla="*/ 1254373 h 5973007"/>
              <a:gd name="connsiteX60184" fmla="*/ 1629073 w 6884782"/>
              <a:gd name="connsiteY60184" fmla="*/ 1251430 h 5973007"/>
              <a:gd name="connsiteX60185" fmla="*/ 1627422 w 6884782"/>
              <a:gd name="connsiteY60185" fmla="*/ 1250655 h 5973007"/>
              <a:gd name="connsiteX60186" fmla="*/ 1626905 w 6884782"/>
              <a:gd name="connsiteY60186" fmla="*/ 1249880 h 5973007"/>
              <a:gd name="connsiteX60187" fmla="*/ 1627215 w 6884782"/>
              <a:gd name="connsiteY60187" fmla="*/ 1249416 h 5973007"/>
              <a:gd name="connsiteX60188" fmla="*/ 1627215 w 6884782"/>
              <a:gd name="connsiteY60188" fmla="*/ 1248951 h 5973007"/>
              <a:gd name="connsiteX60189" fmla="*/ 1626699 w 6884782"/>
              <a:gd name="connsiteY60189" fmla="*/ 1249106 h 5973007"/>
              <a:gd name="connsiteX60190" fmla="*/ 1623601 w 6884782"/>
              <a:gd name="connsiteY60190" fmla="*/ 1248486 h 5973007"/>
              <a:gd name="connsiteX60191" fmla="*/ 1623498 w 6884782"/>
              <a:gd name="connsiteY60191" fmla="*/ 1250345 h 5973007"/>
              <a:gd name="connsiteX60192" fmla="*/ 1624427 w 6884782"/>
              <a:gd name="connsiteY60192" fmla="*/ 1253134 h 5973007"/>
              <a:gd name="connsiteX60193" fmla="*/ 1623085 w 6884782"/>
              <a:gd name="connsiteY60193" fmla="*/ 1254528 h 5973007"/>
              <a:gd name="connsiteX60194" fmla="*/ 1621433 w 6884782"/>
              <a:gd name="connsiteY60194" fmla="*/ 1252359 h 5973007"/>
              <a:gd name="connsiteX60195" fmla="*/ 1623085 w 6884782"/>
              <a:gd name="connsiteY60195" fmla="*/ 1250035 h 5973007"/>
              <a:gd name="connsiteX60196" fmla="*/ 1622878 w 6884782"/>
              <a:gd name="connsiteY60196" fmla="*/ 1248332 h 5973007"/>
              <a:gd name="connsiteX60197" fmla="*/ 1619264 w 6884782"/>
              <a:gd name="connsiteY60197" fmla="*/ 1247867 h 5973007"/>
              <a:gd name="connsiteX60198" fmla="*/ 1612346 w 6884782"/>
              <a:gd name="connsiteY60198" fmla="*/ 1243685 h 5973007"/>
              <a:gd name="connsiteX60199" fmla="*/ 1612553 w 6884782"/>
              <a:gd name="connsiteY60199" fmla="*/ 1245079 h 5973007"/>
              <a:gd name="connsiteX60200" fmla="*/ 1611933 w 6884782"/>
              <a:gd name="connsiteY60200" fmla="*/ 1247402 h 5973007"/>
              <a:gd name="connsiteX60201" fmla="*/ 1611004 w 6884782"/>
              <a:gd name="connsiteY60201" fmla="*/ 1247557 h 5973007"/>
              <a:gd name="connsiteX60202" fmla="*/ 1611210 w 6884782"/>
              <a:gd name="connsiteY60202" fmla="*/ 1248642 h 5973007"/>
              <a:gd name="connsiteX60203" fmla="*/ 1611004 w 6884782"/>
              <a:gd name="connsiteY60203" fmla="*/ 1252669 h 5973007"/>
              <a:gd name="connsiteX60204" fmla="*/ 1609765 w 6884782"/>
              <a:gd name="connsiteY60204" fmla="*/ 1247867 h 5973007"/>
              <a:gd name="connsiteX60205" fmla="*/ 1609765 w 6884782"/>
              <a:gd name="connsiteY60205" fmla="*/ 1247712 h 5973007"/>
              <a:gd name="connsiteX60206" fmla="*/ 1608939 w 6884782"/>
              <a:gd name="connsiteY60206" fmla="*/ 1247712 h 5973007"/>
              <a:gd name="connsiteX60207" fmla="*/ 1608526 w 6884782"/>
              <a:gd name="connsiteY60207" fmla="*/ 1248642 h 5973007"/>
              <a:gd name="connsiteX60208" fmla="*/ 1608009 w 6884782"/>
              <a:gd name="connsiteY60208" fmla="*/ 1248022 h 5973007"/>
              <a:gd name="connsiteX60209" fmla="*/ 1606874 w 6884782"/>
              <a:gd name="connsiteY60209" fmla="*/ 1247867 h 5973007"/>
              <a:gd name="connsiteX60210" fmla="*/ 1606564 w 6884782"/>
              <a:gd name="connsiteY60210" fmla="*/ 1243995 h 5973007"/>
              <a:gd name="connsiteX60211" fmla="*/ 1600265 w 6884782"/>
              <a:gd name="connsiteY60211" fmla="*/ 1240587 h 5973007"/>
              <a:gd name="connsiteX60212" fmla="*/ 1599233 w 6884782"/>
              <a:gd name="connsiteY60212" fmla="*/ 1238728 h 5973007"/>
              <a:gd name="connsiteX60213" fmla="*/ 1597477 w 6884782"/>
              <a:gd name="connsiteY60213" fmla="*/ 1238263 h 5973007"/>
              <a:gd name="connsiteX60214" fmla="*/ 1598510 w 6884782"/>
              <a:gd name="connsiteY60214" fmla="*/ 1237489 h 5973007"/>
              <a:gd name="connsiteX60215" fmla="*/ 1598303 w 6884782"/>
              <a:gd name="connsiteY60215" fmla="*/ 1237179 h 5973007"/>
              <a:gd name="connsiteX60216" fmla="*/ 1598716 w 6884782"/>
              <a:gd name="connsiteY60216" fmla="*/ 1237024 h 5973007"/>
              <a:gd name="connsiteX60217" fmla="*/ 1598613 w 6884782"/>
              <a:gd name="connsiteY60217" fmla="*/ 1236560 h 5973007"/>
              <a:gd name="connsiteX60218" fmla="*/ 1599233 w 6884782"/>
              <a:gd name="connsiteY60218" fmla="*/ 1234701 h 5973007"/>
              <a:gd name="connsiteX60219" fmla="*/ 1603466 w 6884782"/>
              <a:gd name="connsiteY60219" fmla="*/ 1234701 h 5973007"/>
              <a:gd name="connsiteX60220" fmla="*/ 1605531 w 6884782"/>
              <a:gd name="connsiteY60220" fmla="*/ 1239038 h 5973007"/>
              <a:gd name="connsiteX60221" fmla="*/ 1607390 w 6884782"/>
              <a:gd name="connsiteY60221" fmla="*/ 1241516 h 5973007"/>
              <a:gd name="connsiteX60222" fmla="*/ 1606874 w 6884782"/>
              <a:gd name="connsiteY60222" fmla="*/ 1243530 h 5973007"/>
              <a:gd name="connsiteX60223" fmla="*/ 1607493 w 6884782"/>
              <a:gd name="connsiteY60223" fmla="*/ 1242291 h 5973007"/>
              <a:gd name="connsiteX60224" fmla="*/ 1609042 w 6884782"/>
              <a:gd name="connsiteY60224" fmla="*/ 1241361 h 5973007"/>
              <a:gd name="connsiteX60225" fmla="*/ 1610694 w 6884782"/>
              <a:gd name="connsiteY60225" fmla="*/ 1242291 h 5973007"/>
              <a:gd name="connsiteX60226" fmla="*/ 1612036 w 6884782"/>
              <a:gd name="connsiteY60226" fmla="*/ 1243220 h 5973007"/>
              <a:gd name="connsiteX60227" fmla="*/ 1609765 w 6884782"/>
              <a:gd name="connsiteY60227" fmla="*/ 1238418 h 5973007"/>
              <a:gd name="connsiteX60228" fmla="*/ 1618955 w 6884782"/>
              <a:gd name="connsiteY60228" fmla="*/ 1241207 h 5973007"/>
              <a:gd name="connsiteX60229" fmla="*/ 1624634 w 6884782"/>
              <a:gd name="connsiteY60229" fmla="*/ 1241826 h 5973007"/>
              <a:gd name="connsiteX60230" fmla="*/ 1624943 w 6884782"/>
              <a:gd name="connsiteY60230" fmla="*/ 1241361 h 5973007"/>
              <a:gd name="connsiteX60231" fmla="*/ 1624530 w 6884782"/>
              <a:gd name="connsiteY60231" fmla="*/ 1240432 h 5973007"/>
              <a:gd name="connsiteX60232" fmla="*/ 1624324 w 6884782"/>
              <a:gd name="connsiteY60232" fmla="*/ 1240432 h 5973007"/>
              <a:gd name="connsiteX60233" fmla="*/ 1617096 w 6884782"/>
              <a:gd name="connsiteY60233" fmla="*/ 1237489 h 5973007"/>
              <a:gd name="connsiteX60234" fmla="*/ 1617922 w 6884782"/>
              <a:gd name="connsiteY60234" fmla="*/ 1236714 h 5973007"/>
              <a:gd name="connsiteX60235" fmla="*/ 1624221 w 6884782"/>
              <a:gd name="connsiteY60235" fmla="*/ 1237799 h 5973007"/>
              <a:gd name="connsiteX60236" fmla="*/ 1625460 w 6884782"/>
              <a:gd name="connsiteY60236" fmla="*/ 1238263 h 5973007"/>
              <a:gd name="connsiteX60237" fmla="*/ 1624634 w 6884782"/>
              <a:gd name="connsiteY60237" fmla="*/ 1236250 h 5973007"/>
              <a:gd name="connsiteX60238" fmla="*/ 1621433 w 6884782"/>
              <a:gd name="connsiteY60238" fmla="*/ 1223084 h 5973007"/>
              <a:gd name="connsiteX60239" fmla="*/ 1622259 w 6884782"/>
              <a:gd name="connsiteY60239" fmla="*/ 1219056 h 5973007"/>
              <a:gd name="connsiteX60240" fmla="*/ 1619884 w 6884782"/>
              <a:gd name="connsiteY60240" fmla="*/ 1219676 h 5973007"/>
              <a:gd name="connsiteX60241" fmla="*/ 1619884 w 6884782"/>
              <a:gd name="connsiteY60241" fmla="*/ 1222464 h 5973007"/>
              <a:gd name="connsiteX60242" fmla="*/ 1608629 w 6884782"/>
              <a:gd name="connsiteY60242" fmla="*/ 1227421 h 5973007"/>
              <a:gd name="connsiteX60243" fmla="*/ 1607287 w 6884782"/>
              <a:gd name="connsiteY60243" fmla="*/ 1224168 h 5973007"/>
              <a:gd name="connsiteX60244" fmla="*/ 1607183 w 6884782"/>
              <a:gd name="connsiteY60244" fmla="*/ 1223548 h 5973007"/>
              <a:gd name="connsiteX60245" fmla="*/ 1605428 w 6884782"/>
              <a:gd name="connsiteY60245" fmla="*/ 1225252 h 5973007"/>
              <a:gd name="connsiteX60246" fmla="*/ 1604705 w 6884782"/>
              <a:gd name="connsiteY60246" fmla="*/ 1225407 h 5973007"/>
              <a:gd name="connsiteX60247" fmla="*/ 1604396 w 6884782"/>
              <a:gd name="connsiteY60247" fmla="*/ 1226336 h 5973007"/>
              <a:gd name="connsiteX60248" fmla="*/ 1603672 w 6884782"/>
              <a:gd name="connsiteY60248" fmla="*/ 1226336 h 5973007"/>
              <a:gd name="connsiteX60249" fmla="*/ 1604086 w 6884782"/>
              <a:gd name="connsiteY60249" fmla="*/ 1225562 h 5973007"/>
              <a:gd name="connsiteX60250" fmla="*/ 1603156 w 6884782"/>
              <a:gd name="connsiteY60250" fmla="*/ 1225717 h 5973007"/>
              <a:gd name="connsiteX60251" fmla="*/ 1603466 w 6884782"/>
              <a:gd name="connsiteY60251" fmla="*/ 1226336 h 5973007"/>
              <a:gd name="connsiteX60252" fmla="*/ 1601607 w 6884782"/>
              <a:gd name="connsiteY60252" fmla="*/ 1226181 h 5973007"/>
              <a:gd name="connsiteX60253" fmla="*/ 1601917 w 6884782"/>
              <a:gd name="connsiteY60253" fmla="*/ 1225872 h 5973007"/>
              <a:gd name="connsiteX60254" fmla="*/ 1602743 w 6884782"/>
              <a:gd name="connsiteY60254" fmla="*/ 1225717 h 5973007"/>
              <a:gd name="connsiteX60255" fmla="*/ 1600059 w 6884782"/>
              <a:gd name="connsiteY60255" fmla="*/ 1224013 h 5973007"/>
              <a:gd name="connsiteX60256" fmla="*/ 1599130 w 6884782"/>
              <a:gd name="connsiteY60256" fmla="*/ 1220295 h 5973007"/>
              <a:gd name="connsiteX60257" fmla="*/ 1601504 w 6884782"/>
              <a:gd name="connsiteY60257" fmla="*/ 1215339 h 5973007"/>
              <a:gd name="connsiteX60258" fmla="*/ 1252292 w 6884782"/>
              <a:gd name="connsiteY60258" fmla="*/ 1215029 h 5973007"/>
              <a:gd name="connsiteX60259" fmla="*/ 1257145 w 6884782"/>
              <a:gd name="connsiteY60259" fmla="*/ 1241671 h 5973007"/>
              <a:gd name="connsiteX60260" fmla="*/ 1249813 w 6884782"/>
              <a:gd name="connsiteY60260" fmla="*/ 1244459 h 5973007"/>
              <a:gd name="connsiteX60261" fmla="*/ 1245064 w 6884782"/>
              <a:gd name="connsiteY60261" fmla="*/ 1242911 h 5973007"/>
              <a:gd name="connsiteX60262" fmla="*/ 1244444 w 6884782"/>
              <a:gd name="connsiteY60262" fmla="*/ 1243220 h 5973007"/>
              <a:gd name="connsiteX60263" fmla="*/ 1244238 w 6884782"/>
              <a:gd name="connsiteY60263" fmla="*/ 1242756 h 5973007"/>
              <a:gd name="connsiteX60264" fmla="*/ 1243722 w 6884782"/>
              <a:gd name="connsiteY60264" fmla="*/ 1242445 h 5973007"/>
              <a:gd name="connsiteX60265" fmla="*/ 1238352 w 6884782"/>
              <a:gd name="connsiteY60265" fmla="*/ 1230054 h 5973007"/>
              <a:gd name="connsiteX60266" fmla="*/ 1252292 w 6884782"/>
              <a:gd name="connsiteY60266" fmla="*/ 1215029 h 5973007"/>
              <a:gd name="connsiteX60267" fmla="*/ 4149520 w 6884782"/>
              <a:gd name="connsiteY60267" fmla="*/ 1214976 h 5973007"/>
              <a:gd name="connsiteX60268" fmla="*/ 4152508 w 6884782"/>
              <a:gd name="connsiteY60268" fmla="*/ 1219671 h 5973007"/>
              <a:gd name="connsiteX60269" fmla="*/ 4146106 w 6884782"/>
              <a:gd name="connsiteY60269" fmla="*/ 1222374 h 5973007"/>
              <a:gd name="connsiteX60270" fmla="*/ 4143118 w 6884782"/>
              <a:gd name="connsiteY60270" fmla="*/ 1217822 h 5973007"/>
              <a:gd name="connsiteX60271" fmla="*/ 4149520 w 6884782"/>
              <a:gd name="connsiteY60271" fmla="*/ 1214976 h 5973007"/>
              <a:gd name="connsiteX60272" fmla="*/ 908345 w 6884782"/>
              <a:gd name="connsiteY60272" fmla="*/ 1214719 h 5973007"/>
              <a:gd name="connsiteX60273" fmla="*/ 915366 w 6884782"/>
              <a:gd name="connsiteY60273" fmla="*/ 1217043 h 5973007"/>
              <a:gd name="connsiteX60274" fmla="*/ 913508 w 6884782"/>
              <a:gd name="connsiteY60274" fmla="*/ 1222774 h 5973007"/>
              <a:gd name="connsiteX60275" fmla="*/ 910927 w 6884782"/>
              <a:gd name="connsiteY60275" fmla="*/ 1223239 h 5973007"/>
              <a:gd name="connsiteX60276" fmla="*/ 905764 w 6884782"/>
              <a:gd name="connsiteY60276" fmla="*/ 1221999 h 5973007"/>
              <a:gd name="connsiteX60277" fmla="*/ 905764 w 6884782"/>
              <a:gd name="connsiteY60277" fmla="*/ 1222774 h 5973007"/>
              <a:gd name="connsiteX60278" fmla="*/ 904938 w 6884782"/>
              <a:gd name="connsiteY60278" fmla="*/ 1217662 h 5973007"/>
              <a:gd name="connsiteX60279" fmla="*/ 908345 w 6884782"/>
              <a:gd name="connsiteY60279" fmla="*/ 1214719 h 5973007"/>
              <a:gd name="connsiteX60280" fmla="*/ 3661429 w 6884782"/>
              <a:gd name="connsiteY60280" fmla="*/ 1214549 h 5973007"/>
              <a:gd name="connsiteX60281" fmla="*/ 3663777 w 6884782"/>
              <a:gd name="connsiteY60281" fmla="*/ 1216114 h 5973007"/>
              <a:gd name="connsiteX60282" fmla="*/ 3657801 w 6884782"/>
              <a:gd name="connsiteY60282" fmla="*/ 1222943 h 5973007"/>
              <a:gd name="connsiteX60283" fmla="*/ 3655667 w 6884782"/>
              <a:gd name="connsiteY60283" fmla="*/ 1221521 h 5973007"/>
              <a:gd name="connsiteX60284" fmla="*/ 3656093 w 6884782"/>
              <a:gd name="connsiteY60284" fmla="*/ 1218249 h 5973007"/>
              <a:gd name="connsiteX60285" fmla="*/ 3661429 w 6884782"/>
              <a:gd name="connsiteY60285" fmla="*/ 1214549 h 5973007"/>
              <a:gd name="connsiteX60286" fmla="*/ 3642648 w 6884782"/>
              <a:gd name="connsiteY60286" fmla="*/ 1214407 h 5973007"/>
              <a:gd name="connsiteX60287" fmla="*/ 3646063 w 6884782"/>
              <a:gd name="connsiteY60287" fmla="*/ 1227212 h 5973007"/>
              <a:gd name="connsiteX60288" fmla="*/ 3645209 w 6884782"/>
              <a:gd name="connsiteY60288" fmla="*/ 1228350 h 5973007"/>
              <a:gd name="connsiteX60289" fmla="*/ 3645209 w 6884782"/>
              <a:gd name="connsiteY60289" fmla="*/ 1231622 h 5973007"/>
              <a:gd name="connsiteX60290" fmla="*/ 3640727 w 6884782"/>
              <a:gd name="connsiteY60290" fmla="*/ 1233471 h 5973007"/>
              <a:gd name="connsiteX60291" fmla="*/ 3634965 w 6884782"/>
              <a:gd name="connsiteY60291" fmla="*/ 1228777 h 5973007"/>
              <a:gd name="connsiteX60292" fmla="*/ 3634538 w 6884782"/>
              <a:gd name="connsiteY60292" fmla="*/ 1223370 h 5973007"/>
              <a:gd name="connsiteX60293" fmla="*/ 3632617 w 6884782"/>
              <a:gd name="connsiteY60293" fmla="*/ 1224935 h 5973007"/>
              <a:gd name="connsiteX60294" fmla="*/ 3627068 w 6884782"/>
              <a:gd name="connsiteY60294" fmla="*/ 1220240 h 5973007"/>
              <a:gd name="connsiteX60295" fmla="*/ 3631977 w 6884782"/>
              <a:gd name="connsiteY60295" fmla="*/ 1218533 h 5973007"/>
              <a:gd name="connsiteX60296" fmla="*/ 3634324 w 6884782"/>
              <a:gd name="connsiteY60296" fmla="*/ 1220667 h 5973007"/>
              <a:gd name="connsiteX60297" fmla="*/ 3634111 w 6884782"/>
              <a:gd name="connsiteY60297" fmla="*/ 1219814 h 5973007"/>
              <a:gd name="connsiteX60298" fmla="*/ 3640941 w 6884782"/>
              <a:gd name="connsiteY60298" fmla="*/ 1217537 h 5973007"/>
              <a:gd name="connsiteX60299" fmla="*/ 4848257 w 6884782"/>
              <a:gd name="connsiteY60299" fmla="*/ 1214123 h 5973007"/>
              <a:gd name="connsiteX60300" fmla="*/ 4854019 w 6884782"/>
              <a:gd name="connsiteY60300" fmla="*/ 1217679 h 5973007"/>
              <a:gd name="connsiteX60301" fmla="*/ 4830969 w 6884782"/>
              <a:gd name="connsiteY60301" fmla="*/ 1226642 h 5973007"/>
              <a:gd name="connsiteX60302" fmla="*/ 4848257 w 6884782"/>
              <a:gd name="connsiteY60302" fmla="*/ 1214123 h 5973007"/>
              <a:gd name="connsiteX60303" fmla="*/ 1689892 w 6884782"/>
              <a:gd name="connsiteY60303" fmla="*/ 1213325 h 5973007"/>
              <a:gd name="connsiteX60304" fmla="*/ 1693815 w 6884782"/>
              <a:gd name="connsiteY60304" fmla="*/ 1218591 h 5973007"/>
              <a:gd name="connsiteX60305" fmla="*/ 1693299 w 6884782"/>
              <a:gd name="connsiteY60305" fmla="*/ 1220141 h 5973007"/>
              <a:gd name="connsiteX60306" fmla="*/ 1689685 w 6884782"/>
              <a:gd name="connsiteY60306" fmla="*/ 1215494 h 5973007"/>
              <a:gd name="connsiteX60307" fmla="*/ 1689892 w 6884782"/>
              <a:gd name="connsiteY60307" fmla="*/ 1213325 h 5973007"/>
              <a:gd name="connsiteX60308" fmla="*/ 4321963 w 6884782"/>
              <a:gd name="connsiteY60308" fmla="*/ 1212558 h 5973007"/>
              <a:gd name="connsiteX60309" fmla="*/ 4325378 w 6884782"/>
              <a:gd name="connsiteY60309" fmla="*/ 1212558 h 5973007"/>
              <a:gd name="connsiteX60310" fmla="*/ 4329646 w 6884782"/>
              <a:gd name="connsiteY60310" fmla="*/ 1216683 h 5973007"/>
              <a:gd name="connsiteX60311" fmla="*/ 4323670 w 6884782"/>
              <a:gd name="connsiteY60311" fmla="*/ 1229630 h 5973007"/>
              <a:gd name="connsiteX60312" fmla="*/ 4314921 w 6884782"/>
              <a:gd name="connsiteY60312" fmla="*/ 1223797 h 5973007"/>
              <a:gd name="connsiteX60313" fmla="*/ 4317695 w 6884782"/>
              <a:gd name="connsiteY60313" fmla="*/ 1214549 h 5973007"/>
              <a:gd name="connsiteX60314" fmla="*/ 4321963 w 6884782"/>
              <a:gd name="connsiteY60314" fmla="*/ 1212558 h 5973007"/>
              <a:gd name="connsiteX60315" fmla="*/ 3621520 w 6884782"/>
              <a:gd name="connsiteY60315" fmla="*/ 1212558 h 5973007"/>
              <a:gd name="connsiteX60316" fmla="*/ 3624721 w 6884782"/>
              <a:gd name="connsiteY60316" fmla="*/ 1214692 h 5973007"/>
              <a:gd name="connsiteX60317" fmla="*/ 3626215 w 6884782"/>
              <a:gd name="connsiteY60317" fmla="*/ 1220667 h 5973007"/>
              <a:gd name="connsiteX60318" fmla="*/ 3615971 w 6884782"/>
              <a:gd name="connsiteY60318" fmla="*/ 1220240 h 5973007"/>
              <a:gd name="connsiteX60319" fmla="*/ 3614690 w 6884782"/>
              <a:gd name="connsiteY60319" fmla="*/ 1216541 h 5973007"/>
              <a:gd name="connsiteX60320" fmla="*/ 3621520 w 6884782"/>
              <a:gd name="connsiteY60320" fmla="*/ 1212558 h 5973007"/>
              <a:gd name="connsiteX60321" fmla="*/ 4698222 w 6884782"/>
              <a:gd name="connsiteY60321" fmla="*/ 1212131 h 5973007"/>
              <a:gd name="connsiteX60322" fmla="*/ 4704412 w 6884782"/>
              <a:gd name="connsiteY60322" fmla="*/ 1218533 h 5973007"/>
              <a:gd name="connsiteX60323" fmla="*/ 4703558 w 6884782"/>
              <a:gd name="connsiteY60323" fmla="*/ 1221663 h 5973007"/>
              <a:gd name="connsiteX60324" fmla="*/ 4698222 w 6884782"/>
              <a:gd name="connsiteY60324" fmla="*/ 1212131 h 5973007"/>
              <a:gd name="connsiteX60325" fmla="*/ 3466364 w 6884782"/>
              <a:gd name="connsiteY60325" fmla="*/ 1211704 h 5973007"/>
              <a:gd name="connsiteX60326" fmla="*/ 3470419 w 6884782"/>
              <a:gd name="connsiteY60326" fmla="*/ 1213981 h 5973007"/>
              <a:gd name="connsiteX60327" fmla="*/ 3454412 w 6884782"/>
              <a:gd name="connsiteY60327" fmla="*/ 1224793 h 5973007"/>
              <a:gd name="connsiteX60328" fmla="*/ 3451638 w 6884782"/>
              <a:gd name="connsiteY60328" fmla="*/ 1217964 h 5973007"/>
              <a:gd name="connsiteX60329" fmla="*/ 3466364 w 6884782"/>
              <a:gd name="connsiteY60329" fmla="*/ 1211704 h 5973007"/>
              <a:gd name="connsiteX60330" fmla="*/ 1483069 w 6884782"/>
              <a:gd name="connsiteY60330" fmla="*/ 1211621 h 5973007"/>
              <a:gd name="connsiteX60331" fmla="*/ 1484102 w 6884782"/>
              <a:gd name="connsiteY60331" fmla="*/ 1219366 h 5973007"/>
              <a:gd name="connsiteX60332" fmla="*/ 1480798 w 6884782"/>
              <a:gd name="connsiteY60332" fmla="*/ 1215494 h 5973007"/>
              <a:gd name="connsiteX60333" fmla="*/ 1483069 w 6884782"/>
              <a:gd name="connsiteY60333" fmla="*/ 1211621 h 5973007"/>
              <a:gd name="connsiteX60334" fmla="*/ 1402736 w 6884782"/>
              <a:gd name="connsiteY60334" fmla="*/ 1211156 h 5973007"/>
              <a:gd name="connsiteX60335" fmla="*/ 1405421 w 6884782"/>
              <a:gd name="connsiteY60335" fmla="*/ 1212086 h 5973007"/>
              <a:gd name="connsiteX60336" fmla="*/ 1406247 w 6884782"/>
              <a:gd name="connsiteY60336" fmla="*/ 1224943 h 5973007"/>
              <a:gd name="connsiteX60337" fmla="*/ 1405524 w 6884782"/>
              <a:gd name="connsiteY60337" fmla="*/ 1225717 h 5973007"/>
              <a:gd name="connsiteX60338" fmla="*/ 1415127 w 6884782"/>
              <a:gd name="connsiteY60338" fmla="*/ 1229589 h 5973007"/>
              <a:gd name="connsiteX60339" fmla="*/ 1417915 w 6884782"/>
              <a:gd name="connsiteY60339" fmla="*/ 1230518 h 5973007"/>
              <a:gd name="connsiteX60340" fmla="*/ 1418844 w 6884782"/>
              <a:gd name="connsiteY60340" fmla="*/ 1229899 h 5973007"/>
              <a:gd name="connsiteX60341" fmla="*/ 1421942 w 6884782"/>
              <a:gd name="connsiteY60341" fmla="*/ 1228350 h 5973007"/>
              <a:gd name="connsiteX60342" fmla="*/ 1423077 w 6884782"/>
              <a:gd name="connsiteY60342" fmla="*/ 1231448 h 5973007"/>
              <a:gd name="connsiteX60343" fmla="*/ 1422974 w 6884782"/>
              <a:gd name="connsiteY60343" fmla="*/ 1232067 h 5973007"/>
              <a:gd name="connsiteX60344" fmla="*/ 1423284 w 6884782"/>
              <a:gd name="connsiteY60344" fmla="*/ 1232223 h 5973007"/>
              <a:gd name="connsiteX60345" fmla="*/ 1422974 w 6884782"/>
              <a:gd name="connsiteY60345" fmla="*/ 1232378 h 5973007"/>
              <a:gd name="connsiteX60346" fmla="*/ 1422974 w 6884782"/>
              <a:gd name="connsiteY60346" fmla="*/ 1233617 h 5973007"/>
              <a:gd name="connsiteX60347" fmla="*/ 1421529 w 6884782"/>
              <a:gd name="connsiteY60347" fmla="*/ 1236095 h 5973007"/>
              <a:gd name="connsiteX60348" fmla="*/ 1419773 w 6884782"/>
              <a:gd name="connsiteY60348" fmla="*/ 1237024 h 5973007"/>
              <a:gd name="connsiteX60349" fmla="*/ 1417502 w 6884782"/>
              <a:gd name="connsiteY60349" fmla="*/ 1238263 h 5973007"/>
              <a:gd name="connsiteX60350" fmla="*/ 1417089 w 6884782"/>
              <a:gd name="connsiteY60350" fmla="*/ 1238263 h 5973007"/>
              <a:gd name="connsiteX60351" fmla="*/ 1416263 w 6884782"/>
              <a:gd name="connsiteY60351" fmla="*/ 1239347 h 5973007"/>
              <a:gd name="connsiteX60352" fmla="*/ 1412442 w 6884782"/>
              <a:gd name="connsiteY60352" fmla="*/ 1247867 h 5973007"/>
              <a:gd name="connsiteX60353" fmla="*/ 1413991 w 6884782"/>
              <a:gd name="connsiteY60353" fmla="*/ 1248642 h 5973007"/>
              <a:gd name="connsiteX60354" fmla="*/ 1416985 w 6884782"/>
              <a:gd name="connsiteY60354" fmla="*/ 1252204 h 5973007"/>
              <a:gd name="connsiteX60355" fmla="*/ 1409861 w 6884782"/>
              <a:gd name="connsiteY60355" fmla="*/ 1255767 h 5973007"/>
              <a:gd name="connsiteX60356" fmla="*/ 1408208 w 6884782"/>
              <a:gd name="connsiteY60356" fmla="*/ 1254837 h 5973007"/>
              <a:gd name="connsiteX60357" fmla="*/ 1406969 w 6884782"/>
              <a:gd name="connsiteY60357" fmla="*/ 1256232 h 5973007"/>
              <a:gd name="connsiteX60358" fmla="*/ 1403252 w 6884782"/>
              <a:gd name="connsiteY60358" fmla="*/ 1258400 h 5973007"/>
              <a:gd name="connsiteX60359" fmla="*/ 1395405 w 6884782"/>
              <a:gd name="connsiteY60359" fmla="*/ 1260104 h 5973007"/>
              <a:gd name="connsiteX60360" fmla="*/ 1391481 w 6884782"/>
              <a:gd name="connsiteY60360" fmla="*/ 1259175 h 5973007"/>
              <a:gd name="connsiteX60361" fmla="*/ 1391275 w 6884782"/>
              <a:gd name="connsiteY60361" fmla="*/ 1259484 h 5973007"/>
              <a:gd name="connsiteX60362" fmla="*/ 1385079 w 6884782"/>
              <a:gd name="connsiteY60362" fmla="*/ 1258865 h 5973007"/>
              <a:gd name="connsiteX60363" fmla="*/ 1386318 w 6884782"/>
              <a:gd name="connsiteY60363" fmla="*/ 1256851 h 5973007"/>
              <a:gd name="connsiteX60364" fmla="*/ 1383324 w 6884782"/>
              <a:gd name="connsiteY60364" fmla="*/ 1254682 h 5973007"/>
              <a:gd name="connsiteX60365" fmla="*/ 1381465 w 6884782"/>
              <a:gd name="connsiteY60365" fmla="*/ 1251739 h 5973007"/>
              <a:gd name="connsiteX60366" fmla="*/ 1379090 w 6884782"/>
              <a:gd name="connsiteY60366" fmla="*/ 1250965 h 5973007"/>
              <a:gd name="connsiteX60367" fmla="*/ 1379607 w 6884782"/>
              <a:gd name="connsiteY60367" fmla="*/ 1253289 h 5973007"/>
              <a:gd name="connsiteX60368" fmla="*/ 1378058 w 6884782"/>
              <a:gd name="connsiteY60368" fmla="*/ 1256232 h 5973007"/>
              <a:gd name="connsiteX60369" fmla="*/ 1371346 w 6884782"/>
              <a:gd name="connsiteY60369" fmla="*/ 1250655 h 5973007"/>
              <a:gd name="connsiteX60370" fmla="*/ 1374031 w 6884782"/>
              <a:gd name="connsiteY60370" fmla="*/ 1248177 h 5973007"/>
              <a:gd name="connsiteX60371" fmla="*/ 1375270 w 6884782"/>
              <a:gd name="connsiteY60371" fmla="*/ 1248796 h 5973007"/>
              <a:gd name="connsiteX60372" fmla="*/ 1371553 w 6884782"/>
              <a:gd name="connsiteY60372" fmla="*/ 1246008 h 5973007"/>
              <a:gd name="connsiteX60373" fmla="*/ 1366493 w 6884782"/>
              <a:gd name="connsiteY60373" fmla="*/ 1232687 h 5973007"/>
              <a:gd name="connsiteX60374" fmla="*/ 1369900 w 6884782"/>
              <a:gd name="connsiteY60374" fmla="*/ 1224633 h 5973007"/>
              <a:gd name="connsiteX60375" fmla="*/ 1375063 w 6884782"/>
              <a:gd name="connsiteY60375" fmla="*/ 1220450 h 5973007"/>
              <a:gd name="connsiteX60376" fmla="*/ 1379710 w 6884782"/>
              <a:gd name="connsiteY60376" fmla="*/ 1218901 h 5973007"/>
              <a:gd name="connsiteX60377" fmla="*/ 1380639 w 6884782"/>
              <a:gd name="connsiteY60377" fmla="*/ 1217507 h 5973007"/>
              <a:gd name="connsiteX60378" fmla="*/ 1381259 w 6884782"/>
              <a:gd name="connsiteY60378" fmla="*/ 1218282 h 5973007"/>
              <a:gd name="connsiteX60379" fmla="*/ 1385286 w 6884782"/>
              <a:gd name="connsiteY60379" fmla="*/ 1216888 h 5973007"/>
              <a:gd name="connsiteX60380" fmla="*/ 1397160 w 6884782"/>
              <a:gd name="connsiteY60380" fmla="*/ 1212551 h 5973007"/>
              <a:gd name="connsiteX60381" fmla="*/ 1397057 w 6884782"/>
              <a:gd name="connsiteY60381" fmla="*/ 1213945 h 5973007"/>
              <a:gd name="connsiteX60382" fmla="*/ 1397986 w 6884782"/>
              <a:gd name="connsiteY60382" fmla="*/ 1213170 h 5973007"/>
              <a:gd name="connsiteX60383" fmla="*/ 1402736 w 6884782"/>
              <a:gd name="connsiteY60383" fmla="*/ 1211156 h 5973007"/>
              <a:gd name="connsiteX60384" fmla="*/ 3515877 w 6884782"/>
              <a:gd name="connsiteY60384" fmla="*/ 1211135 h 5973007"/>
              <a:gd name="connsiteX60385" fmla="*/ 3528895 w 6884782"/>
              <a:gd name="connsiteY60385" fmla="*/ 1218675 h 5973007"/>
              <a:gd name="connsiteX60386" fmla="*/ 3529962 w 6884782"/>
              <a:gd name="connsiteY60386" fmla="*/ 1220952 h 5973007"/>
              <a:gd name="connsiteX60387" fmla="*/ 3534658 w 6884782"/>
              <a:gd name="connsiteY60387" fmla="*/ 1218675 h 5973007"/>
              <a:gd name="connsiteX60388" fmla="*/ 3533804 w 6884782"/>
              <a:gd name="connsiteY60388" fmla="*/ 1220383 h 5973007"/>
              <a:gd name="connsiteX60389" fmla="*/ 3531670 w 6884782"/>
              <a:gd name="connsiteY60389" fmla="*/ 1221236 h 5973007"/>
              <a:gd name="connsiteX60390" fmla="*/ 3530390 w 6884782"/>
              <a:gd name="connsiteY60390" fmla="*/ 1221663 h 5973007"/>
              <a:gd name="connsiteX60391" fmla="*/ 3531457 w 6884782"/>
              <a:gd name="connsiteY60391" fmla="*/ 1223940 h 5973007"/>
              <a:gd name="connsiteX60392" fmla="*/ 3523133 w 6884782"/>
              <a:gd name="connsiteY60392" fmla="*/ 1232760 h 5973007"/>
              <a:gd name="connsiteX60393" fmla="*/ 3511395 w 6884782"/>
              <a:gd name="connsiteY60393" fmla="*/ 1211989 h 5973007"/>
              <a:gd name="connsiteX60394" fmla="*/ 3515877 w 6884782"/>
              <a:gd name="connsiteY60394" fmla="*/ 1211135 h 5973007"/>
              <a:gd name="connsiteX60395" fmla="*/ 4089122 w 6884782"/>
              <a:gd name="connsiteY60395" fmla="*/ 1210993 h 5973007"/>
              <a:gd name="connsiteX60396" fmla="*/ 4090830 w 6884782"/>
              <a:gd name="connsiteY60396" fmla="*/ 1213838 h 5973007"/>
              <a:gd name="connsiteX60397" fmla="*/ 4091043 w 6884782"/>
              <a:gd name="connsiteY60397" fmla="*/ 1214549 h 5973007"/>
              <a:gd name="connsiteX60398" fmla="*/ 4093177 w 6884782"/>
              <a:gd name="connsiteY60398" fmla="*/ 1213554 h 5973007"/>
              <a:gd name="connsiteX60399" fmla="*/ 4094458 w 6884782"/>
              <a:gd name="connsiteY60399" fmla="*/ 1215972 h 5973007"/>
              <a:gd name="connsiteX60400" fmla="*/ 4092110 w 6884782"/>
              <a:gd name="connsiteY60400" fmla="*/ 1217822 h 5973007"/>
              <a:gd name="connsiteX60401" fmla="*/ 4092324 w 6884782"/>
              <a:gd name="connsiteY60401" fmla="*/ 1218818 h 5973007"/>
              <a:gd name="connsiteX60402" fmla="*/ 4092110 w 6884782"/>
              <a:gd name="connsiteY60402" fmla="*/ 1222659 h 5973007"/>
              <a:gd name="connsiteX60403" fmla="*/ 4092324 w 6884782"/>
              <a:gd name="connsiteY60403" fmla="*/ 1223085 h 5973007"/>
              <a:gd name="connsiteX60404" fmla="*/ 4092750 w 6884782"/>
              <a:gd name="connsiteY60404" fmla="*/ 1234894 h 5973007"/>
              <a:gd name="connsiteX60405" fmla="*/ 4080159 w 6884782"/>
              <a:gd name="connsiteY60405" fmla="*/ 1238024 h 5973007"/>
              <a:gd name="connsiteX60406" fmla="*/ 4074183 w 6884782"/>
              <a:gd name="connsiteY60406" fmla="*/ 1234183 h 5973007"/>
              <a:gd name="connsiteX60407" fmla="*/ 4073542 w 6884782"/>
              <a:gd name="connsiteY60407" fmla="*/ 1230910 h 5973007"/>
              <a:gd name="connsiteX60408" fmla="*/ 4066926 w 6884782"/>
              <a:gd name="connsiteY60408" fmla="*/ 1228350 h 5973007"/>
              <a:gd name="connsiteX60409" fmla="*/ 4063512 w 6884782"/>
              <a:gd name="connsiteY60409" fmla="*/ 1221236 h 5973007"/>
              <a:gd name="connsiteX60410" fmla="*/ 4066713 w 6884782"/>
              <a:gd name="connsiteY60410" fmla="*/ 1219814 h 5973007"/>
              <a:gd name="connsiteX60411" fmla="*/ 4073542 w 6884782"/>
              <a:gd name="connsiteY60411" fmla="*/ 1222801 h 5973007"/>
              <a:gd name="connsiteX60412" fmla="*/ 4074823 w 6884782"/>
              <a:gd name="connsiteY60412" fmla="*/ 1219814 h 5973007"/>
              <a:gd name="connsiteX60413" fmla="*/ 4079092 w 6884782"/>
              <a:gd name="connsiteY60413" fmla="*/ 1216826 h 5973007"/>
              <a:gd name="connsiteX60414" fmla="*/ 4080585 w 6884782"/>
              <a:gd name="connsiteY60414" fmla="*/ 1216826 h 5973007"/>
              <a:gd name="connsiteX60415" fmla="*/ 4080372 w 6884782"/>
              <a:gd name="connsiteY60415" fmla="*/ 1215546 h 5973007"/>
              <a:gd name="connsiteX60416" fmla="*/ 4084000 w 6884782"/>
              <a:gd name="connsiteY60416" fmla="*/ 1213554 h 5973007"/>
              <a:gd name="connsiteX60417" fmla="*/ 4085281 w 6884782"/>
              <a:gd name="connsiteY60417" fmla="*/ 1211419 h 5973007"/>
              <a:gd name="connsiteX60418" fmla="*/ 4089122 w 6884782"/>
              <a:gd name="connsiteY60418" fmla="*/ 1210993 h 5973007"/>
              <a:gd name="connsiteX60419" fmla="*/ 1517557 w 6884782"/>
              <a:gd name="connsiteY60419" fmla="*/ 1210847 h 5973007"/>
              <a:gd name="connsiteX60420" fmla="*/ 1519209 w 6884782"/>
              <a:gd name="connsiteY60420" fmla="*/ 1211776 h 5973007"/>
              <a:gd name="connsiteX60421" fmla="*/ 1515182 w 6884782"/>
              <a:gd name="connsiteY60421" fmla="*/ 1215339 h 5973007"/>
              <a:gd name="connsiteX60422" fmla="*/ 1511465 w 6884782"/>
              <a:gd name="connsiteY60422" fmla="*/ 1217817 h 5973007"/>
              <a:gd name="connsiteX60423" fmla="*/ 1497732 w 6884782"/>
              <a:gd name="connsiteY60423" fmla="*/ 1222929 h 5973007"/>
              <a:gd name="connsiteX60424" fmla="*/ 1502172 w 6884782"/>
              <a:gd name="connsiteY60424" fmla="*/ 1219056 h 5973007"/>
              <a:gd name="connsiteX60425" fmla="*/ 1501656 w 6884782"/>
              <a:gd name="connsiteY60425" fmla="*/ 1216888 h 5973007"/>
              <a:gd name="connsiteX60426" fmla="*/ 1504546 w 6884782"/>
              <a:gd name="connsiteY60426" fmla="*/ 1213635 h 5973007"/>
              <a:gd name="connsiteX60427" fmla="*/ 1504857 w 6884782"/>
              <a:gd name="connsiteY60427" fmla="*/ 1217043 h 5973007"/>
              <a:gd name="connsiteX60428" fmla="*/ 1504650 w 6884782"/>
              <a:gd name="connsiteY60428" fmla="*/ 1217507 h 5973007"/>
              <a:gd name="connsiteX60429" fmla="*/ 1509193 w 6884782"/>
              <a:gd name="connsiteY60429" fmla="*/ 1214874 h 5973007"/>
              <a:gd name="connsiteX60430" fmla="*/ 1514459 w 6884782"/>
              <a:gd name="connsiteY60430" fmla="*/ 1211002 h 5973007"/>
              <a:gd name="connsiteX60431" fmla="*/ 1516834 w 6884782"/>
              <a:gd name="connsiteY60431" fmla="*/ 1211311 h 5973007"/>
              <a:gd name="connsiteX60432" fmla="*/ 1517557 w 6884782"/>
              <a:gd name="connsiteY60432" fmla="*/ 1210847 h 5973007"/>
              <a:gd name="connsiteX60433" fmla="*/ 4492699 w 6884782"/>
              <a:gd name="connsiteY60433" fmla="*/ 1210282 h 5973007"/>
              <a:gd name="connsiteX60434" fmla="*/ 4500168 w 6884782"/>
              <a:gd name="connsiteY60434" fmla="*/ 1216541 h 5973007"/>
              <a:gd name="connsiteX60435" fmla="*/ 4492912 w 6884782"/>
              <a:gd name="connsiteY60435" fmla="*/ 1211846 h 5973007"/>
              <a:gd name="connsiteX60436" fmla="*/ 4492699 w 6884782"/>
              <a:gd name="connsiteY60436" fmla="*/ 1210282 h 5973007"/>
              <a:gd name="connsiteX60437" fmla="*/ 4290804 w 6884782"/>
              <a:gd name="connsiteY60437" fmla="*/ 1210282 h 5973007"/>
              <a:gd name="connsiteX60438" fmla="*/ 4309585 w 6884782"/>
              <a:gd name="connsiteY60438" fmla="*/ 1221521 h 5973007"/>
              <a:gd name="connsiteX60439" fmla="*/ 4295712 w 6884782"/>
              <a:gd name="connsiteY60439" fmla="*/ 1220240 h 5973007"/>
              <a:gd name="connsiteX60440" fmla="*/ 4283974 w 6884782"/>
              <a:gd name="connsiteY60440" fmla="*/ 1210993 h 5973007"/>
              <a:gd name="connsiteX60441" fmla="*/ 4290804 w 6884782"/>
              <a:gd name="connsiteY60441" fmla="*/ 1210282 h 5973007"/>
              <a:gd name="connsiteX60442" fmla="*/ 4124337 w 6884782"/>
              <a:gd name="connsiteY60442" fmla="*/ 1209286 h 5973007"/>
              <a:gd name="connsiteX60443" fmla="*/ 4131593 w 6884782"/>
              <a:gd name="connsiteY60443" fmla="*/ 1209855 h 5973007"/>
              <a:gd name="connsiteX60444" fmla="*/ 4130739 w 6884782"/>
              <a:gd name="connsiteY60444" fmla="*/ 1224224 h 5973007"/>
              <a:gd name="connsiteX60445" fmla="*/ 4125831 w 6884782"/>
              <a:gd name="connsiteY60445" fmla="*/ 1224082 h 5973007"/>
              <a:gd name="connsiteX60446" fmla="*/ 4124337 w 6884782"/>
              <a:gd name="connsiteY60446" fmla="*/ 1209286 h 5973007"/>
              <a:gd name="connsiteX60447" fmla="*/ 4105982 w 6884782"/>
              <a:gd name="connsiteY60447" fmla="*/ 1209001 h 5973007"/>
              <a:gd name="connsiteX60448" fmla="*/ 4119428 w 6884782"/>
              <a:gd name="connsiteY60448" fmla="*/ 1215688 h 5973007"/>
              <a:gd name="connsiteX60449" fmla="*/ 4102567 w 6884782"/>
              <a:gd name="connsiteY60449" fmla="*/ 1209570 h 5973007"/>
              <a:gd name="connsiteX60450" fmla="*/ 4105982 w 6884782"/>
              <a:gd name="connsiteY60450" fmla="*/ 1209001 h 5973007"/>
              <a:gd name="connsiteX60451" fmla="*/ 3439046 w 6884782"/>
              <a:gd name="connsiteY60451" fmla="*/ 1209001 h 5973007"/>
              <a:gd name="connsiteX60452" fmla="*/ 3442674 w 6884782"/>
              <a:gd name="connsiteY60452" fmla="*/ 1211277 h 5973007"/>
              <a:gd name="connsiteX60453" fmla="*/ 3440967 w 6884782"/>
              <a:gd name="connsiteY60453" fmla="*/ 1218106 h 5973007"/>
              <a:gd name="connsiteX60454" fmla="*/ 3435204 w 6884782"/>
              <a:gd name="connsiteY60454" fmla="*/ 1211562 h 5973007"/>
              <a:gd name="connsiteX60455" fmla="*/ 3439046 w 6884782"/>
              <a:gd name="connsiteY60455" fmla="*/ 1209001 h 5973007"/>
              <a:gd name="connsiteX60456" fmla="*/ 5754650 w 6884782"/>
              <a:gd name="connsiteY60456" fmla="*/ 1208005 h 5973007"/>
              <a:gd name="connsiteX60457" fmla="*/ 5758065 w 6884782"/>
              <a:gd name="connsiteY60457" fmla="*/ 1210282 h 5973007"/>
              <a:gd name="connsiteX60458" fmla="*/ 5758705 w 6884782"/>
              <a:gd name="connsiteY60458" fmla="*/ 1214976 h 5973007"/>
              <a:gd name="connsiteX60459" fmla="*/ 5749101 w 6884782"/>
              <a:gd name="connsiteY60459" fmla="*/ 1217111 h 5973007"/>
              <a:gd name="connsiteX60460" fmla="*/ 5751022 w 6884782"/>
              <a:gd name="connsiteY60460" fmla="*/ 1210139 h 5973007"/>
              <a:gd name="connsiteX60461" fmla="*/ 5754650 w 6884782"/>
              <a:gd name="connsiteY60461" fmla="*/ 1208005 h 5973007"/>
              <a:gd name="connsiteX60462" fmla="*/ 4015492 w 6884782"/>
              <a:gd name="connsiteY60462" fmla="*/ 1207436 h 5973007"/>
              <a:gd name="connsiteX60463" fmla="*/ 4016346 w 6884782"/>
              <a:gd name="connsiteY60463" fmla="*/ 1213411 h 5973007"/>
              <a:gd name="connsiteX60464" fmla="*/ 4012504 w 6884782"/>
              <a:gd name="connsiteY60464" fmla="*/ 1216541 h 5973007"/>
              <a:gd name="connsiteX60465" fmla="*/ 4010371 w 6884782"/>
              <a:gd name="connsiteY60465" fmla="*/ 1216399 h 5973007"/>
              <a:gd name="connsiteX60466" fmla="*/ 4011011 w 6884782"/>
              <a:gd name="connsiteY60466" fmla="*/ 1217111 h 5973007"/>
              <a:gd name="connsiteX60467" fmla="*/ 4009943 w 6884782"/>
              <a:gd name="connsiteY60467" fmla="*/ 1219103 h 5973007"/>
              <a:gd name="connsiteX60468" fmla="*/ 4008023 w 6884782"/>
              <a:gd name="connsiteY60468" fmla="*/ 1238024 h 5973007"/>
              <a:gd name="connsiteX60469" fmla="*/ 4007596 w 6884782"/>
              <a:gd name="connsiteY60469" fmla="*/ 1219529 h 5973007"/>
              <a:gd name="connsiteX60470" fmla="*/ 4007169 w 6884782"/>
              <a:gd name="connsiteY60470" fmla="*/ 1216683 h 5973007"/>
              <a:gd name="connsiteX60471" fmla="*/ 4004821 w 6884782"/>
              <a:gd name="connsiteY60471" fmla="*/ 1218533 h 5973007"/>
              <a:gd name="connsiteX60472" fmla="*/ 4001833 w 6884782"/>
              <a:gd name="connsiteY60472" fmla="*/ 1218960 h 5973007"/>
              <a:gd name="connsiteX60473" fmla="*/ 4006743 w 6884782"/>
              <a:gd name="connsiteY60473" fmla="*/ 1214976 h 5973007"/>
              <a:gd name="connsiteX60474" fmla="*/ 4006743 w 6884782"/>
              <a:gd name="connsiteY60474" fmla="*/ 1214692 h 5973007"/>
              <a:gd name="connsiteX60475" fmla="*/ 4007169 w 6884782"/>
              <a:gd name="connsiteY60475" fmla="*/ 1214692 h 5973007"/>
              <a:gd name="connsiteX60476" fmla="*/ 4008236 w 6884782"/>
              <a:gd name="connsiteY60476" fmla="*/ 1213838 h 5973007"/>
              <a:gd name="connsiteX60477" fmla="*/ 4008876 w 6884782"/>
              <a:gd name="connsiteY60477" fmla="*/ 1210282 h 5973007"/>
              <a:gd name="connsiteX60478" fmla="*/ 4015492 w 6884782"/>
              <a:gd name="connsiteY60478" fmla="*/ 1207436 h 5973007"/>
              <a:gd name="connsiteX60479" fmla="*/ 5026462 w 6884782"/>
              <a:gd name="connsiteY60479" fmla="*/ 1207009 h 5973007"/>
              <a:gd name="connsiteX60480" fmla="*/ 5027956 w 6884782"/>
              <a:gd name="connsiteY60480" fmla="*/ 1209428 h 5973007"/>
              <a:gd name="connsiteX60481" fmla="*/ 5023901 w 6884782"/>
              <a:gd name="connsiteY60481" fmla="*/ 1213127 h 5973007"/>
              <a:gd name="connsiteX60482" fmla="*/ 5024114 w 6884782"/>
              <a:gd name="connsiteY60482" fmla="*/ 1214407 h 5973007"/>
              <a:gd name="connsiteX60483" fmla="*/ 5026676 w 6884782"/>
              <a:gd name="connsiteY60483" fmla="*/ 1216683 h 5973007"/>
              <a:gd name="connsiteX60484" fmla="*/ 5028383 w 6884782"/>
              <a:gd name="connsiteY60484" fmla="*/ 1228492 h 5973007"/>
              <a:gd name="connsiteX60485" fmla="*/ 5016218 w 6884782"/>
              <a:gd name="connsiteY60485" fmla="*/ 1232902 h 5973007"/>
              <a:gd name="connsiteX60486" fmla="*/ 5010029 w 6884782"/>
              <a:gd name="connsiteY60486" fmla="*/ 1229630 h 5973007"/>
              <a:gd name="connsiteX60487" fmla="*/ 5008962 w 6884782"/>
              <a:gd name="connsiteY60487" fmla="*/ 1215261 h 5973007"/>
              <a:gd name="connsiteX60488" fmla="*/ 5021340 w 6884782"/>
              <a:gd name="connsiteY60488" fmla="*/ 1212131 h 5973007"/>
              <a:gd name="connsiteX60489" fmla="*/ 5022193 w 6884782"/>
              <a:gd name="connsiteY60489" fmla="*/ 1209712 h 5973007"/>
              <a:gd name="connsiteX60490" fmla="*/ 5026462 w 6884782"/>
              <a:gd name="connsiteY60490" fmla="*/ 1207009 h 5973007"/>
              <a:gd name="connsiteX60491" fmla="*/ 1554626 w 6884782"/>
              <a:gd name="connsiteY60491" fmla="*/ 1206355 h 5973007"/>
              <a:gd name="connsiteX60492" fmla="*/ 1559995 w 6884782"/>
              <a:gd name="connsiteY60492" fmla="*/ 1216578 h 5973007"/>
              <a:gd name="connsiteX60493" fmla="*/ 1559479 w 6884782"/>
              <a:gd name="connsiteY60493" fmla="*/ 1218746 h 5973007"/>
              <a:gd name="connsiteX60494" fmla="*/ 1559685 w 6884782"/>
              <a:gd name="connsiteY60494" fmla="*/ 1220760 h 5973007"/>
              <a:gd name="connsiteX60495" fmla="*/ 1556588 w 6884782"/>
              <a:gd name="connsiteY60495" fmla="*/ 1225252 h 5973007"/>
              <a:gd name="connsiteX60496" fmla="*/ 1552148 w 6884782"/>
              <a:gd name="connsiteY60496" fmla="*/ 1208678 h 5973007"/>
              <a:gd name="connsiteX60497" fmla="*/ 1552561 w 6884782"/>
              <a:gd name="connsiteY60497" fmla="*/ 1206820 h 5973007"/>
              <a:gd name="connsiteX60498" fmla="*/ 1554626 w 6884782"/>
              <a:gd name="connsiteY60498" fmla="*/ 1206355 h 5973007"/>
              <a:gd name="connsiteX60499" fmla="*/ 1558653 w 6884782"/>
              <a:gd name="connsiteY60499" fmla="*/ 1205580 h 5973007"/>
              <a:gd name="connsiteX60500" fmla="*/ 1559479 w 6884782"/>
              <a:gd name="connsiteY60500" fmla="*/ 1205580 h 5973007"/>
              <a:gd name="connsiteX60501" fmla="*/ 1558653 w 6884782"/>
              <a:gd name="connsiteY60501" fmla="*/ 1207129 h 5973007"/>
              <a:gd name="connsiteX60502" fmla="*/ 1558343 w 6884782"/>
              <a:gd name="connsiteY60502" fmla="*/ 1206665 h 5973007"/>
              <a:gd name="connsiteX60503" fmla="*/ 1558653 w 6884782"/>
              <a:gd name="connsiteY60503" fmla="*/ 1205580 h 5973007"/>
              <a:gd name="connsiteX60504" fmla="*/ 1520345 w 6884782"/>
              <a:gd name="connsiteY60504" fmla="*/ 1205271 h 5973007"/>
              <a:gd name="connsiteX60505" fmla="*/ 1543474 w 6884782"/>
              <a:gd name="connsiteY60505" fmla="*/ 1214874 h 5973007"/>
              <a:gd name="connsiteX60506" fmla="*/ 1547811 w 6884782"/>
              <a:gd name="connsiteY60506" fmla="*/ 1220760 h 5973007"/>
              <a:gd name="connsiteX60507" fmla="*/ 1531083 w 6884782"/>
              <a:gd name="connsiteY60507" fmla="*/ 1218437 h 5973007"/>
              <a:gd name="connsiteX60508" fmla="*/ 1523856 w 6884782"/>
              <a:gd name="connsiteY60508" fmla="*/ 1233462 h 5973007"/>
              <a:gd name="connsiteX60509" fmla="*/ 1522100 w 6884782"/>
              <a:gd name="connsiteY60509" fmla="*/ 1229744 h 5973007"/>
              <a:gd name="connsiteX60510" fmla="*/ 1518899 w 6884782"/>
              <a:gd name="connsiteY60510" fmla="*/ 1230054 h 5973007"/>
              <a:gd name="connsiteX60511" fmla="*/ 1518073 w 6884782"/>
              <a:gd name="connsiteY60511" fmla="*/ 1229279 h 5973007"/>
              <a:gd name="connsiteX60512" fmla="*/ 1516834 w 6884782"/>
              <a:gd name="connsiteY60512" fmla="*/ 1230054 h 5973007"/>
              <a:gd name="connsiteX60513" fmla="*/ 1515802 w 6884782"/>
              <a:gd name="connsiteY60513" fmla="*/ 1230828 h 5973007"/>
              <a:gd name="connsiteX60514" fmla="*/ 1513839 w 6884782"/>
              <a:gd name="connsiteY60514" fmla="*/ 1229589 h 5973007"/>
              <a:gd name="connsiteX60515" fmla="*/ 1513943 w 6884782"/>
              <a:gd name="connsiteY60515" fmla="*/ 1228195 h 5973007"/>
              <a:gd name="connsiteX60516" fmla="*/ 1511981 w 6884782"/>
              <a:gd name="connsiteY60516" fmla="*/ 1227731 h 5973007"/>
              <a:gd name="connsiteX60517" fmla="*/ 1516731 w 6884782"/>
              <a:gd name="connsiteY60517" fmla="*/ 1222929 h 5973007"/>
              <a:gd name="connsiteX60518" fmla="*/ 1516008 w 6884782"/>
              <a:gd name="connsiteY60518" fmla="*/ 1224788 h 5973007"/>
              <a:gd name="connsiteX60519" fmla="*/ 1517454 w 6884782"/>
              <a:gd name="connsiteY60519" fmla="*/ 1223393 h 5973007"/>
              <a:gd name="connsiteX60520" fmla="*/ 1522720 w 6884782"/>
              <a:gd name="connsiteY60520" fmla="*/ 1221845 h 5973007"/>
              <a:gd name="connsiteX60521" fmla="*/ 1522720 w 6884782"/>
              <a:gd name="connsiteY60521" fmla="*/ 1223858 h 5973007"/>
              <a:gd name="connsiteX60522" fmla="*/ 1523752 w 6884782"/>
              <a:gd name="connsiteY60522" fmla="*/ 1219676 h 5973007"/>
              <a:gd name="connsiteX60523" fmla="*/ 1524372 w 6884782"/>
              <a:gd name="connsiteY60523" fmla="*/ 1214410 h 5973007"/>
              <a:gd name="connsiteX60524" fmla="*/ 1520138 w 6884782"/>
              <a:gd name="connsiteY60524" fmla="*/ 1208988 h 5973007"/>
              <a:gd name="connsiteX60525" fmla="*/ 1520345 w 6884782"/>
              <a:gd name="connsiteY60525" fmla="*/ 1205271 h 5973007"/>
              <a:gd name="connsiteX60526" fmla="*/ 1030601 w 6884782"/>
              <a:gd name="connsiteY60526" fmla="*/ 1204341 h 5973007"/>
              <a:gd name="connsiteX60527" fmla="*/ 1032666 w 6884782"/>
              <a:gd name="connsiteY60527" fmla="*/ 1206510 h 5973007"/>
              <a:gd name="connsiteX60528" fmla="*/ 1023579 w 6884782"/>
              <a:gd name="connsiteY60528" fmla="*/ 1220605 h 5973007"/>
              <a:gd name="connsiteX60529" fmla="*/ 1004787 w 6884782"/>
              <a:gd name="connsiteY60529" fmla="*/ 1220141 h 5973007"/>
              <a:gd name="connsiteX60530" fmla="*/ 1003960 w 6884782"/>
              <a:gd name="connsiteY60530" fmla="*/ 1215029 h 5973007"/>
              <a:gd name="connsiteX60531" fmla="*/ 1013667 w 6884782"/>
              <a:gd name="connsiteY60531" fmla="*/ 1206510 h 5973007"/>
              <a:gd name="connsiteX60532" fmla="*/ 1019759 w 6884782"/>
              <a:gd name="connsiteY60532" fmla="*/ 1204961 h 5973007"/>
              <a:gd name="connsiteX60533" fmla="*/ 1030601 w 6884782"/>
              <a:gd name="connsiteY60533" fmla="*/ 1204341 h 5973007"/>
              <a:gd name="connsiteX60534" fmla="*/ 4608373 w 6884782"/>
              <a:gd name="connsiteY60534" fmla="*/ 1202741 h 5973007"/>
              <a:gd name="connsiteX60535" fmla="*/ 4612001 w 6884782"/>
              <a:gd name="connsiteY60535" fmla="*/ 1203453 h 5973007"/>
              <a:gd name="connsiteX60536" fmla="*/ 4614135 w 6884782"/>
              <a:gd name="connsiteY60536" fmla="*/ 1205871 h 5973007"/>
              <a:gd name="connsiteX60537" fmla="*/ 4613281 w 6884782"/>
              <a:gd name="connsiteY60537" fmla="*/ 1212984 h 5973007"/>
              <a:gd name="connsiteX60538" fmla="*/ 4603037 w 6884782"/>
              <a:gd name="connsiteY60538" fmla="*/ 1212842 h 5973007"/>
              <a:gd name="connsiteX60539" fmla="*/ 4605171 w 6884782"/>
              <a:gd name="connsiteY60539" fmla="*/ 1204591 h 5973007"/>
              <a:gd name="connsiteX60540" fmla="*/ 4608373 w 6884782"/>
              <a:gd name="connsiteY60540" fmla="*/ 1202741 h 5973007"/>
              <a:gd name="connsiteX60541" fmla="*/ 4222510 w 6884782"/>
              <a:gd name="connsiteY60541" fmla="*/ 1202599 h 5973007"/>
              <a:gd name="connsiteX60542" fmla="*/ 4230193 w 6884782"/>
              <a:gd name="connsiteY60542" fmla="*/ 1205587 h 5973007"/>
              <a:gd name="connsiteX60543" fmla="*/ 4229553 w 6884782"/>
              <a:gd name="connsiteY60543" fmla="*/ 1214265 h 5973007"/>
              <a:gd name="connsiteX60544" fmla="*/ 4216320 w 6884782"/>
              <a:gd name="connsiteY60544" fmla="*/ 1208432 h 5973007"/>
              <a:gd name="connsiteX60545" fmla="*/ 4222510 w 6884782"/>
              <a:gd name="connsiteY60545" fmla="*/ 1202599 h 5973007"/>
              <a:gd name="connsiteX60546" fmla="*/ 1051562 w 6884782"/>
              <a:gd name="connsiteY60546" fmla="*/ 1202173 h 5973007"/>
              <a:gd name="connsiteX60547" fmla="*/ 1052594 w 6884782"/>
              <a:gd name="connsiteY60547" fmla="*/ 1205271 h 5973007"/>
              <a:gd name="connsiteX60548" fmla="*/ 1051045 w 6884782"/>
              <a:gd name="connsiteY60548" fmla="*/ 1205425 h 5973007"/>
              <a:gd name="connsiteX60549" fmla="*/ 1051045 w 6884782"/>
              <a:gd name="connsiteY60549" fmla="*/ 1206355 h 5973007"/>
              <a:gd name="connsiteX60550" fmla="*/ 1049393 w 6884782"/>
              <a:gd name="connsiteY60550" fmla="*/ 1205735 h 5973007"/>
              <a:gd name="connsiteX60551" fmla="*/ 1049393 w 6884782"/>
              <a:gd name="connsiteY60551" fmla="*/ 1204961 h 5973007"/>
              <a:gd name="connsiteX60552" fmla="*/ 1049084 w 6884782"/>
              <a:gd name="connsiteY60552" fmla="*/ 1204806 h 5973007"/>
              <a:gd name="connsiteX60553" fmla="*/ 1050013 w 6884782"/>
              <a:gd name="connsiteY60553" fmla="*/ 1203257 h 5973007"/>
              <a:gd name="connsiteX60554" fmla="*/ 1051562 w 6884782"/>
              <a:gd name="connsiteY60554" fmla="*/ 1202173 h 5973007"/>
              <a:gd name="connsiteX60555" fmla="*/ 1495150 w 6884782"/>
              <a:gd name="connsiteY60555" fmla="*/ 1202018 h 5973007"/>
              <a:gd name="connsiteX60556" fmla="*/ 1497525 w 6884782"/>
              <a:gd name="connsiteY60556" fmla="*/ 1203257 h 5973007"/>
              <a:gd name="connsiteX60557" fmla="*/ 1502998 w 6884782"/>
              <a:gd name="connsiteY60557" fmla="*/ 1212706 h 5973007"/>
              <a:gd name="connsiteX60558" fmla="*/ 1495150 w 6884782"/>
              <a:gd name="connsiteY60558" fmla="*/ 1202018 h 5973007"/>
              <a:gd name="connsiteX60559" fmla="*/ 1684522 w 6884782"/>
              <a:gd name="connsiteY60559" fmla="*/ 1200778 h 5973007"/>
              <a:gd name="connsiteX60560" fmla="*/ 1685658 w 6884782"/>
              <a:gd name="connsiteY60560" fmla="*/ 1201863 h 5973007"/>
              <a:gd name="connsiteX60561" fmla="*/ 1687827 w 6884782"/>
              <a:gd name="connsiteY60561" fmla="*/ 1204651 h 5973007"/>
              <a:gd name="connsiteX60562" fmla="*/ 1683180 w 6884782"/>
              <a:gd name="connsiteY60562" fmla="*/ 1200933 h 5973007"/>
              <a:gd name="connsiteX60563" fmla="*/ 1684522 w 6884782"/>
              <a:gd name="connsiteY60563" fmla="*/ 1200778 h 5973007"/>
              <a:gd name="connsiteX60564" fmla="*/ 4246199 w 6884782"/>
              <a:gd name="connsiteY60564" fmla="*/ 1200180 h 5973007"/>
              <a:gd name="connsiteX60565" fmla="*/ 4252175 w 6884782"/>
              <a:gd name="connsiteY60565" fmla="*/ 1200180 h 5973007"/>
              <a:gd name="connsiteX60566" fmla="*/ 4264126 w 6884782"/>
              <a:gd name="connsiteY60566" fmla="*/ 1210282 h 5973007"/>
              <a:gd name="connsiteX60567" fmla="*/ 4236809 w 6884782"/>
              <a:gd name="connsiteY60567" fmla="*/ 1206725 h 5973007"/>
              <a:gd name="connsiteX60568" fmla="*/ 4239369 w 6884782"/>
              <a:gd name="connsiteY60568" fmla="*/ 1200892 h 5973007"/>
              <a:gd name="connsiteX60569" fmla="*/ 4246199 w 6884782"/>
              <a:gd name="connsiteY60569" fmla="*/ 1200180 h 5973007"/>
              <a:gd name="connsiteX60570" fmla="*/ 5132105 w 6884782"/>
              <a:gd name="connsiteY60570" fmla="*/ 1199611 h 5973007"/>
              <a:gd name="connsiteX60571" fmla="*/ 5134239 w 6884782"/>
              <a:gd name="connsiteY60571" fmla="*/ 1200038 h 5973007"/>
              <a:gd name="connsiteX60572" fmla="*/ 5135093 w 6884782"/>
              <a:gd name="connsiteY60572" fmla="*/ 1202457 h 5973007"/>
              <a:gd name="connsiteX60573" fmla="*/ 5134666 w 6884782"/>
              <a:gd name="connsiteY60573" fmla="*/ 1207294 h 5973007"/>
              <a:gd name="connsiteX60574" fmla="*/ 5132105 w 6884782"/>
              <a:gd name="connsiteY60574" fmla="*/ 1209570 h 5973007"/>
              <a:gd name="connsiteX60575" fmla="*/ 5129970 w 6884782"/>
              <a:gd name="connsiteY60575" fmla="*/ 1208432 h 5973007"/>
              <a:gd name="connsiteX60576" fmla="*/ 5127623 w 6884782"/>
              <a:gd name="connsiteY60576" fmla="*/ 1208432 h 5973007"/>
              <a:gd name="connsiteX60577" fmla="*/ 5127836 w 6884782"/>
              <a:gd name="connsiteY60577" fmla="*/ 1207152 h 5973007"/>
              <a:gd name="connsiteX60578" fmla="*/ 5126769 w 6884782"/>
              <a:gd name="connsiteY60578" fmla="*/ 1205871 h 5973007"/>
              <a:gd name="connsiteX60579" fmla="*/ 5129543 w 6884782"/>
              <a:gd name="connsiteY60579" fmla="*/ 1201034 h 5973007"/>
              <a:gd name="connsiteX60580" fmla="*/ 5132105 w 6884782"/>
              <a:gd name="connsiteY60580" fmla="*/ 1199611 h 5973007"/>
              <a:gd name="connsiteX60581" fmla="*/ 4739199 w 6884782"/>
              <a:gd name="connsiteY60581" fmla="*/ 1198473 h 5973007"/>
              <a:gd name="connsiteX60582" fmla="*/ 4731302 w 6884782"/>
              <a:gd name="connsiteY60582" fmla="*/ 1205302 h 5973007"/>
              <a:gd name="connsiteX60583" fmla="*/ 4739199 w 6884782"/>
              <a:gd name="connsiteY60583" fmla="*/ 1198473 h 5973007"/>
              <a:gd name="connsiteX60584" fmla="*/ 3367337 w 6884782"/>
              <a:gd name="connsiteY60584" fmla="*/ 1198473 h 5973007"/>
              <a:gd name="connsiteX60585" fmla="*/ 3368404 w 6884782"/>
              <a:gd name="connsiteY60585" fmla="*/ 1199184 h 5973007"/>
              <a:gd name="connsiteX60586" fmla="*/ 3370751 w 6884782"/>
              <a:gd name="connsiteY60586" fmla="*/ 1198900 h 5973007"/>
              <a:gd name="connsiteX60587" fmla="*/ 3367550 w 6884782"/>
              <a:gd name="connsiteY60587" fmla="*/ 1198473 h 5973007"/>
              <a:gd name="connsiteX60588" fmla="*/ 3644996 w 6884782"/>
              <a:gd name="connsiteY60588" fmla="*/ 1198331 h 5973007"/>
              <a:gd name="connsiteX60589" fmla="*/ 3647770 w 6884782"/>
              <a:gd name="connsiteY60589" fmla="*/ 1199896 h 5973007"/>
              <a:gd name="connsiteX60590" fmla="*/ 3636032 w 6884782"/>
              <a:gd name="connsiteY60590" fmla="*/ 1207436 h 5973007"/>
              <a:gd name="connsiteX60591" fmla="*/ 3636032 w 6884782"/>
              <a:gd name="connsiteY60591" fmla="*/ 1203880 h 5973007"/>
              <a:gd name="connsiteX60592" fmla="*/ 3644996 w 6884782"/>
              <a:gd name="connsiteY60592" fmla="*/ 1198331 h 5973007"/>
              <a:gd name="connsiteX60593" fmla="*/ 1363808 w 6884782"/>
              <a:gd name="connsiteY60593" fmla="*/ 1197990 h 5973007"/>
              <a:gd name="connsiteX60594" fmla="*/ 1365357 w 6884782"/>
              <a:gd name="connsiteY60594" fmla="*/ 1199229 h 5973007"/>
              <a:gd name="connsiteX60595" fmla="*/ 1365254 w 6884782"/>
              <a:gd name="connsiteY60595" fmla="*/ 1200159 h 5973007"/>
              <a:gd name="connsiteX60596" fmla="*/ 1364634 w 6884782"/>
              <a:gd name="connsiteY60596" fmla="*/ 1203412 h 5973007"/>
              <a:gd name="connsiteX60597" fmla="*/ 1360194 w 6884782"/>
              <a:gd name="connsiteY60597" fmla="*/ 1204806 h 5973007"/>
              <a:gd name="connsiteX60598" fmla="*/ 1358749 w 6884782"/>
              <a:gd name="connsiteY60598" fmla="*/ 1201863 h 5973007"/>
              <a:gd name="connsiteX60599" fmla="*/ 1359265 w 6884782"/>
              <a:gd name="connsiteY60599" fmla="*/ 1199694 h 5973007"/>
              <a:gd name="connsiteX60600" fmla="*/ 1363808 w 6884782"/>
              <a:gd name="connsiteY60600" fmla="*/ 1197990 h 5973007"/>
              <a:gd name="connsiteX60601" fmla="*/ 1301545 w 6884782"/>
              <a:gd name="connsiteY60601" fmla="*/ 1197835 h 5973007"/>
              <a:gd name="connsiteX60602" fmla="*/ 1306088 w 6884782"/>
              <a:gd name="connsiteY60602" fmla="*/ 1212396 h 5973007"/>
              <a:gd name="connsiteX60603" fmla="*/ 1301338 w 6884782"/>
              <a:gd name="connsiteY60603" fmla="*/ 1213480 h 5973007"/>
              <a:gd name="connsiteX60604" fmla="*/ 1299170 w 6884782"/>
              <a:gd name="connsiteY60604" fmla="*/ 1211776 h 5973007"/>
              <a:gd name="connsiteX60605" fmla="*/ 1297208 w 6884782"/>
              <a:gd name="connsiteY60605" fmla="*/ 1213015 h 5973007"/>
              <a:gd name="connsiteX60606" fmla="*/ 1294833 w 6884782"/>
              <a:gd name="connsiteY60606" fmla="*/ 1210692 h 5973007"/>
              <a:gd name="connsiteX60607" fmla="*/ 1296795 w 6884782"/>
              <a:gd name="connsiteY60607" fmla="*/ 1207129 h 5973007"/>
              <a:gd name="connsiteX60608" fmla="*/ 1297001 w 6884782"/>
              <a:gd name="connsiteY60608" fmla="*/ 1204651 h 5973007"/>
              <a:gd name="connsiteX60609" fmla="*/ 1297208 w 6884782"/>
              <a:gd name="connsiteY60609" fmla="*/ 1198765 h 5973007"/>
              <a:gd name="connsiteX60610" fmla="*/ 1301545 w 6884782"/>
              <a:gd name="connsiteY60610" fmla="*/ 1197835 h 5973007"/>
              <a:gd name="connsiteX60611" fmla="*/ 1662632 w 6884782"/>
              <a:gd name="connsiteY60611" fmla="*/ 1197681 h 5973007"/>
              <a:gd name="connsiteX60612" fmla="*/ 1665213 w 6884782"/>
              <a:gd name="connsiteY60612" fmla="*/ 1197681 h 5973007"/>
              <a:gd name="connsiteX60613" fmla="*/ 1668827 w 6884782"/>
              <a:gd name="connsiteY60613" fmla="*/ 1203722 h 5973007"/>
              <a:gd name="connsiteX60614" fmla="*/ 1668104 w 6884782"/>
              <a:gd name="connsiteY60614" fmla="*/ 1207904 h 5973007"/>
              <a:gd name="connsiteX60615" fmla="*/ 1673164 w 6884782"/>
              <a:gd name="connsiteY60615" fmla="*/ 1208523 h 5973007"/>
              <a:gd name="connsiteX60616" fmla="*/ 1683696 w 6884782"/>
              <a:gd name="connsiteY60616" fmla="*/ 1212706 h 5973007"/>
              <a:gd name="connsiteX60617" fmla="*/ 1682147 w 6884782"/>
              <a:gd name="connsiteY60617" fmla="*/ 1222774 h 5973007"/>
              <a:gd name="connsiteX60618" fmla="*/ 1675436 w 6884782"/>
              <a:gd name="connsiteY60618" fmla="*/ 1226181 h 5973007"/>
              <a:gd name="connsiteX60619" fmla="*/ 1676571 w 6884782"/>
              <a:gd name="connsiteY60619" fmla="*/ 1226956 h 5973007"/>
              <a:gd name="connsiteX60620" fmla="*/ 1677914 w 6884782"/>
              <a:gd name="connsiteY60620" fmla="*/ 1229744 h 5973007"/>
              <a:gd name="connsiteX60621" fmla="*/ 1675436 w 6884782"/>
              <a:gd name="connsiteY60621" fmla="*/ 1232378 h 5973007"/>
              <a:gd name="connsiteX60622" fmla="*/ 1667898 w 6884782"/>
              <a:gd name="connsiteY60622" fmla="*/ 1232378 h 5973007"/>
              <a:gd name="connsiteX60623" fmla="*/ 1666659 w 6884782"/>
              <a:gd name="connsiteY60623" fmla="*/ 1229744 h 5973007"/>
              <a:gd name="connsiteX60624" fmla="*/ 1669137 w 6884782"/>
              <a:gd name="connsiteY60624" fmla="*/ 1227421 h 5973007"/>
              <a:gd name="connsiteX60625" fmla="*/ 1663458 w 6884782"/>
              <a:gd name="connsiteY60625" fmla="*/ 1227421 h 5973007"/>
              <a:gd name="connsiteX60626" fmla="*/ 1645492 w 6884782"/>
              <a:gd name="connsiteY60626" fmla="*/ 1210382 h 5973007"/>
              <a:gd name="connsiteX60627" fmla="*/ 1655610 w 6884782"/>
              <a:gd name="connsiteY60627" fmla="*/ 1208678 h 5973007"/>
              <a:gd name="connsiteX60628" fmla="*/ 1655610 w 6884782"/>
              <a:gd name="connsiteY60628" fmla="*/ 1208213 h 5973007"/>
              <a:gd name="connsiteX60629" fmla="*/ 1655404 w 6884782"/>
              <a:gd name="connsiteY60629" fmla="*/ 1207749 h 5973007"/>
              <a:gd name="connsiteX60630" fmla="*/ 1657469 w 6884782"/>
              <a:gd name="connsiteY60630" fmla="*/ 1200314 h 5973007"/>
              <a:gd name="connsiteX60631" fmla="*/ 1662632 w 6884782"/>
              <a:gd name="connsiteY60631" fmla="*/ 1197681 h 5973007"/>
              <a:gd name="connsiteX60632" fmla="*/ 1138503 w 6884782"/>
              <a:gd name="connsiteY60632" fmla="*/ 1197371 h 5973007"/>
              <a:gd name="connsiteX60633" fmla="*/ 1140671 w 6884782"/>
              <a:gd name="connsiteY60633" fmla="*/ 1197990 h 5973007"/>
              <a:gd name="connsiteX60634" fmla="*/ 1133754 w 6884782"/>
              <a:gd name="connsiteY60634" fmla="*/ 1201863 h 5973007"/>
              <a:gd name="connsiteX60635" fmla="*/ 1138503 w 6884782"/>
              <a:gd name="connsiteY60635" fmla="*/ 1197371 h 5973007"/>
              <a:gd name="connsiteX60636" fmla="*/ 4214186 w 6884782"/>
              <a:gd name="connsiteY60636" fmla="*/ 1196624 h 5973007"/>
              <a:gd name="connsiteX60637" fmla="*/ 4219522 w 6884782"/>
              <a:gd name="connsiteY60637" fmla="*/ 1196766 h 5973007"/>
              <a:gd name="connsiteX60638" fmla="*/ 4218668 w 6884782"/>
              <a:gd name="connsiteY60638" fmla="*/ 1204306 h 5973007"/>
              <a:gd name="connsiteX60639" fmla="*/ 4213546 w 6884782"/>
              <a:gd name="connsiteY60639" fmla="*/ 1204022 h 5973007"/>
              <a:gd name="connsiteX60640" fmla="*/ 4214186 w 6884782"/>
              <a:gd name="connsiteY60640" fmla="*/ 1196624 h 5973007"/>
              <a:gd name="connsiteX60641" fmla="*/ 1602537 w 6884782"/>
              <a:gd name="connsiteY60641" fmla="*/ 1196287 h 5973007"/>
              <a:gd name="connsiteX60642" fmla="*/ 1605944 w 6884782"/>
              <a:gd name="connsiteY60642" fmla="*/ 1201398 h 5973007"/>
              <a:gd name="connsiteX60643" fmla="*/ 1606047 w 6884782"/>
              <a:gd name="connsiteY60643" fmla="*/ 1201863 h 5973007"/>
              <a:gd name="connsiteX60644" fmla="*/ 1607803 w 6884782"/>
              <a:gd name="connsiteY60644" fmla="*/ 1200314 h 5973007"/>
              <a:gd name="connsiteX60645" fmla="*/ 1615960 w 6884782"/>
              <a:gd name="connsiteY60645" fmla="*/ 1197835 h 5973007"/>
              <a:gd name="connsiteX60646" fmla="*/ 1618129 w 6884782"/>
              <a:gd name="connsiteY60646" fmla="*/ 1198765 h 5973007"/>
              <a:gd name="connsiteX60647" fmla="*/ 1619987 w 6884782"/>
              <a:gd name="connsiteY60647" fmla="*/ 1197990 h 5973007"/>
              <a:gd name="connsiteX60648" fmla="*/ 1632894 w 6884782"/>
              <a:gd name="connsiteY60648" fmla="*/ 1196751 h 5973007"/>
              <a:gd name="connsiteX60649" fmla="*/ 1622672 w 6884782"/>
              <a:gd name="connsiteY60649" fmla="*/ 1204186 h 5973007"/>
              <a:gd name="connsiteX60650" fmla="*/ 1619677 w 6884782"/>
              <a:gd name="connsiteY60650" fmla="*/ 1204186 h 5973007"/>
              <a:gd name="connsiteX60651" fmla="*/ 1617922 w 6884782"/>
              <a:gd name="connsiteY60651" fmla="*/ 1206820 h 5973007"/>
              <a:gd name="connsiteX60652" fmla="*/ 1603363 w 6884782"/>
              <a:gd name="connsiteY60652" fmla="*/ 1206975 h 5973007"/>
              <a:gd name="connsiteX60653" fmla="*/ 1603879 w 6884782"/>
              <a:gd name="connsiteY60653" fmla="*/ 1203722 h 5973007"/>
              <a:gd name="connsiteX60654" fmla="*/ 1604189 w 6884782"/>
              <a:gd name="connsiteY60654" fmla="*/ 1203412 h 5973007"/>
              <a:gd name="connsiteX60655" fmla="*/ 1603879 w 6884782"/>
              <a:gd name="connsiteY60655" fmla="*/ 1202637 h 5973007"/>
              <a:gd name="connsiteX60656" fmla="*/ 1602537 w 6884782"/>
              <a:gd name="connsiteY60656" fmla="*/ 1196287 h 5973007"/>
              <a:gd name="connsiteX60657" fmla="*/ 4515322 w 6884782"/>
              <a:gd name="connsiteY60657" fmla="*/ 1195628 h 5973007"/>
              <a:gd name="connsiteX60658" fmla="*/ 4522791 w 6884782"/>
              <a:gd name="connsiteY60658" fmla="*/ 1210139 h 5973007"/>
              <a:gd name="connsiteX60659" fmla="*/ 4511267 w 6884782"/>
              <a:gd name="connsiteY60659" fmla="*/ 1208432 h 5973007"/>
              <a:gd name="connsiteX60660" fmla="*/ 4515322 w 6884782"/>
              <a:gd name="connsiteY60660" fmla="*/ 1195628 h 5973007"/>
              <a:gd name="connsiteX60661" fmla="*/ 4879629 w 6884782"/>
              <a:gd name="connsiteY60661" fmla="*/ 1194916 h 5973007"/>
              <a:gd name="connsiteX60662" fmla="*/ 4880483 w 6884782"/>
              <a:gd name="connsiteY60662" fmla="*/ 1195912 h 5973007"/>
              <a:gd name="connsiteX60663" fmla="*/ 4878562 w 6884782"/>
              <a:gd name="connsiteY60663" fmla="*/ 1195912 h 5973007"/>
              <a:gd name="connsiteX60664" fmla="*/ 4879629 w 6884782"/>
              <a:gd name="connsiteY60664" fmla="*/ 1194916 h 5973007"/>
              <a:gd name="connsiteX60665" fmla="*/ 4270315 w 6884782"/>
              <a:gd name="connsiteY60665" fmla="*/ 1194205 h 5973007"/>
              <a:gd name="connsiteX60666" fmla="*/ 4277358 w 6884782"/>
              <a:gd name="connsiteY60666" fmla="*/ 1197477 h 5973007"/>
              <a:gd name="connsiteX60667" fmla="*/ 4281413 w 6884782"/>
              <a:gd name="connsiteY60667" fmla="*/ 1201176 h 5973007"/>
              <a:gd name="connsiteX60668" fmla="*/ 4285041 w 6884782"/>
              <a:gd name="connsiteY60668" fmla="*/ 1201603 h 5973007"/>
              <a:gd name="connsiteX60669" fmla="*/ 4289096 w 6884782"/>
              <a:gd name="connsiteY60669" fmla="*/ 1203453 h 5973007"/>
              <a:gd name="connsiteX60670" fmla="*/ 4291657 w 6884782"/>
              <a:gd name="connsiteY60670" fmla="*/ 1204448 h 5973007"/>
              <a:gd name="connsiteX60671" fmla="*/ 4294219 w 6884782"/>
              <a:gd name="connsiteY60671" fmla="*/ 1205587 h 5973007"/>
              <a:gd name="connsiteX60672" fmla="*/ 4295926 w 6884782"/>
              <a:gd name="connsiteY60672" fmla="*/ 1210282 h 5973007"/>
              <a:gd name="connsiteX60673" fmla="*/ 4284188 w 6884782"/>
              <a:gd name="connsiteY60673" fmla="*/ 1207436 h 5973007"/>
              <a:gd name="connsiteX60674" fmla="*/ 4283548 w 6884782"/>
              <a:gd name="connsiteY60674" fmla="*/ 1207152 h 5973007"/>
              <a:gd name="connsiteX60675" fmla="*/ 4281627 w 6884782"/>
              <a:gd name="connsiteY60675" fmla="*/ 1209570 h 5973007"/>
              <a:gd name="connsiteX60676" fmla="*/ 4275438 w 6884782"/>
              <a:gd name="connsiteY60676" fmla="*/ 1210139 h 5973007"/>
              <a:gd name="connsiteX60677" fmla="*/ 4269035 w 6884782"/>
              <a:gd name="connsiteY60677" fmla="*/ 1206867 h 5973007"/>
              <a:gd name="connsiteX60678" fmla="*/ 4264767 w 6884782"/>
              <a:gd name="connsiteY60678" fmla="*/ 1196339 h 5973007"/>
              <a:gd name="connsiteX60679" fmla="*/ 4270315 w 6884782"/>
              <a:gd name="connsiteY60679" fmla="*/ 1194205 h 5973007"/>
              <a:gd name="connsiteX60680" fmla="*/ 1606047 w 6884782"/>
              <a:gd name="connsiteY60680" fmla="*/ 1193808 h 5973007"/>
              <a:gd name="connsiteX60681" fmla="*/ 1608732 w 6884782"/>
              <a:gd name="connsiteY60681" fmla="*/ 1195512 h 5973007"/>
              <a:gd name="connsiteX60682" fmla="*/ 1609868 w 6884782"/>
              <a:gd name="connsiteY60682" fmla="*/ 1194118 h 5973007"/>
              <a:gd name="connsiteX60683" fmla="*/ 1611107 w 6884782"/>
              <a:gd name="connsiteY60683" fmla="*/ 1194583 h 5973007"/>
              <a:gd name="connsiteX60684" fmla="*/ 1611417 w 6884782"/>
              <a:gd name="connsiteY60684" fmla="*/ 1197216 h 5973007"/>
              <a:gd name="connsiteX60685" fmla="*/ 1606770 w 6884782"/>
              <a:gd name="connsiteY60685" fmla="*/ 1195357 h 5973007"/>
              <a:gd name="connsiteX60686" fmla="*/ 1604911 w 6884782"/>
              <a:gd name="connsiteY60686" fmla="*/ 1195202 h 5973007"/>
              <a:gd name="connsiteX60687" fmla="*/ 1606047 w 6884782"/>
              <a:gd name="connsiteY60687" fmla="*/ 1193808 h 5973007"/>
              <a:gd name="connsiteX60688" fmla="*/ 4543279 w 6884782"/>
              <a:gd name="connsiteY60688" fmla="*/ 1193636 h 5973007"/>
              <a:gd name="connsiteX60689" fmla="*/ 4550536 w 6884782"/>
              <a:gd name="connsiteY60689" fmla="*/ 1193921 h 5973007"/>
              <a:gd name="connsiteX60690" fmla="*/ 4547548 w 6884782"/>
              <a:gd name="connsiteY60690" fmla="*/ 1208432 h 5973007"/>
              <a:gd name="connsiteX60691" fmla="*/ 4542639 w 6884782"/>
              <a:gd name="connsiteY60691" fmla="*/ 1208432 h 5973007"/>
              <a:gd name="connsiteX60692" fmla="*/ 4543279 w 6884782"/>
              <a:gd name="connsiteY60692" fmla="*/ 1193636 h 5973007"/>
              <a:gd name="connsiteX60693" fmla="*/ 4302969 w 6884782"/>
              <a:gd name="connsiteY60693" fmla="*/ 1193067 h 5973007"/>
              <a:gd name="connsiteX60694" fmla="*/ 4314921 w 6884782"/>
              <a:gd name="connsiteY60694" fmla="*/ 1196197 h 5973007"/>
              <a:gd name="connsiteX60695" fmla="*/ 4303395 w 6884782"/>
              <a:gd name="connsiteY60695" fmla="*/ 1207720 h 5973007"/>
              <a:gd name="connsiteX60696" fmla="*/ 4299981 w 6884782"/>
              <a:gd name="connsiteY60696" fmla="*/ 1203168 h 5973007"/>
              <a:gd name="connsiteX60697" fmla="*/ 4302969 w 6884782"/>
              <a:gd name="connsiteY60697" fmla="*/ 1193067 h 5973007"/>
              <a:gd name="connsiteX60698" fmla="*/ 3576274 w 6884782"/>
              <a:gd name="connsiteY60698" fmla="*/ 1193067 h 5973007"/>
              <a:gd name="connsiteX60699" fmla="*/ 3583104 w 6884782"/>
              <a:gd name="connsiteY60699" fmla="*/ 1195343 h 5973007"/>
              <a:gd name="connsiteX60700" fmla="*/ 3585025 w 6884782"/>
              <a:gd name="connsiteY60700" fmla="*/ 1199184 h 5973007"/>
              <a:gd name="connsiteX60701" fmla="*/ 3582677 w 6884782"/>
              <a:gd name="connsiteY60701" fmla="*/ 1202457 h 5973007"/>
              <a:gd name="connsiteX60702" fmla="*/ 3577982 w 6884782"/>
              <a:gd name="connsiteY60702" fmla="*/ 1203026 h 5973007"/>
              <a:gd name="connsiteX60703" fmla="*/ 3574994 w 6884782"/>
              <a:gd name="connsiteY60703" fmla="*/ 1198046 h 5973007"/>
              <a:gd name="connsiteX60704" fmla="*/ 3575207 w 6884782"/>
              <a:gd name="connsiteY60704" fmla="*/ 1197051 h 5973007"/>
              <a:gd name="connsiteX60705" fmla="*/ 3574141 w 6884782"/>
              <a:gd name="connsiteY60705" fmla="*/ 1196055 h 5973007"/>
              <a:gd name="connsiteX60706" fmla="*/ 3575848 w 6884782"/>
              <a:gd name="connsiteY60706" fmla="*/ 1194916 h 5973007"/>
              <a:gd name="connsiteX60707" fmla="*/ 1537589 w 6884782"/>
              <a:gd name="connsiteY60707" fmla="*/ 1193034 h 5973007"/>
              <a:gd name="connsiteX60708" fmla="*/ 1545127 w 6884782"/>
              <a:gd name="connsiteY60708" fmla="*/ 1195357 h 5973007"/>
              <a:gd name="connsiteX60709" fmla="*/ 1544300 w 6884782"/>
              <a:gd name="connsiteY60709" fmla="*/ 1196287 h 5973007"/>
              <a:gd name="connsiteX60710" fmla="*/ 1531600 w 6884782"/>
              <a:gd name="connsiteY60710" fmla="*/ 1194273 h 5973007"/>
              <a:gd name="connsiteX60711" fmla="*/ 1537589 w 6884782"/>
              <a:gd name="connsiteY60711" fmla="*/ 1193034 h 5973007"/>
              <a:gd name="connsiteX60712" fmla="*/ 4473918 w 6884782"/>
              <a:gd name="connsiteY60712" fmla="*/ 1192356 h 5973007"/>
              <a:gd name="connsiteX60713" fmla="*/ 4486937 w 6884782"/>
              <a:gd name="connsiteY60713" fmla="*/ 1205017 h 5973007"/>
              <a:gd name="connsiteX60714" fmla="*/ 4473918 w 6884782"/>
              <a:gd name="connsiteY60714" fmla="*/ 1192356 h 5973007"/>
              <a:gd name="connsiteX60715" fmla="*/ 1188273 w 6884782"/>
              <a:gd name="connsiteY60715" fmla="*/ 1192259 h 5973007"/>
              <a:gd name="connsiteX60716" fmla="*/ 1200870 w 6884782"/>
              <a:gd name="connsiteY60716" fmla="*/ 1205425 h 5973007"/>
              <a:gd name="connsiteX60717" fmla="*/ 1193436 w 6884782"/>
              <a:gd name="connsiteY60717" fmla="*/ 1230674 h 5973007"/>
              <a:gd name="connsiteX60718" fmla="*/ 1190751 w 6884782"/>
              <a:gd name="connsiteY60718" fmla="*/ 1230364 h 5973007"/>
              <a:gd name="connsiteX60719" fmla="*/ 1178773 w 6884782"/>
              <a:gd name="connsiteY60719" fmla="*/ 1210692 h 5973007"/>
              <a:gd name="connsiteX60720" fmla="*/ 1188273 w 6884782"/>
              <a:gd name="connsiteY60720" fmla="*/ 1192259 h 5973007"/>
              <a:gd name="connsiteX60721" fmla="*/ 1530051 w 6884782"/>
              <a:gd name="connsiteY60721" fmla="*/ 1191795 h 5973007"/>
              <a:gd name="connsiteX60722" fmla="*/ 1522410 w 6884782"/>
              <a:gd name="connsiteY60722" fmla="*/ 1204806 h 5973007"/>
              <a:gd name="connsiteX60723" fmla="*/ 1521584 w 6884782"/>
              <a:gd name="connsiteY60723" fmla="*/ 1204806 h 5973007"/>
              <a:gd name="connsiteX60724" fmla="*/ 1520758 w 6884782"/>
              <a:gd name="connsiteY60724" fmla="*/ 1202947 h 5973007"/>
              <a:gd name="connsiteX60725" fmla="*/ 1522720 w 6884782"/>
              <a:gd name="connsiteY60725" fmla="*/ 1199694 h 5973007"/>
              <a:gd name="connsiteX60726" fmla="*/ 1529018 w 6884782"/>
              <a:gd name="connsiteY60726" fmla="*/ 1193499 h 5973007"/>
              <a:gd name="connsiteX60727" fmla="*/ 1530051 w 6884782"/>
              <a:gd name="connsiteY60727" fmla="*/ 1191795 h 5973007"/>
              <a:gd name="connsiteX60728" fmla="*/ 4863623 w 6884782"/>
              <a:gd name="connsiteY60728" fmla="*/ 1191644 h 5973007"/>
              <a:gd name="connsiteX60729" fmla="*/ 4867251 w 6884782"/>
              <a:gd name="connsiteY60729" fmla="*/ 1200892 h 5973007"/>
              <a:gd name="connsiteX60730" fmla="*/ 4865116 w 6884782"/>
              <a:gd name="connsiteY60730" fmla="*/ 1202314 h 5973007"/>
              <a:gd name="connsiteX60731" fmla="*/ 4862556 w 6884782"/>
              <a:gd name="connsiteY60731" fmla="*/ 1200038 h 5973007"/>
              <a:gd name="connsiteX60732" fmla="*/ 4861488 w 6884782"/>
              <a:gd name="connsiteY60732" fmla="*/ 1192924 h 5973007"/>
              <a:gd name="connsiteX60733" fmla="*/ 4863623 w 6884782"/>
              <a:gd name="connsiteY60733" fmla="*/ 1191644 h 5973007"/>
              <a:gd name="connsiteX60734" fmla="*/ 4877068 w 6884782"/>
              <a:gd name="connsiteY60734" fmla="*/ 1191075 h 5973007"/>
              <a:gd name="connsiteX60735" fmla="*/ 4880056 w 6884782"/>
              <a:gd name="connsiteY60735" fmla="*/ 1192782 h 5973007"/>
              <a:gd name="connsiteX60736" fmla="*/ 4877068 w 6884782"/>
              <a:gd name="connsiteY60736" fmla="*/ 1196624 h 5973007"/>
              <a:gd name="connsiteX60737" fmla="*/ 4875147 w 6884782"/>
              <a:gd name="connsiteY60737" fmla="*/ 1192071 h 5973007"/>
              <a:gd name="connsiteX60738" fmla="*/ 4877068 w 6884782"/>
              <a:gd name="connsiteY60738" fmla="*/ 1191075 h 5973007"/>
              <a:gd name="connsiteX60739" fmla="*/ 3778597 w 6884782"/>
              <a:gd name="connsiteY60739" fmla="*/ 1190364 h 5973007"/>
              <a:gd name="connsiteX60740" fmla="*/ 3778383 w 6884782"/>
              <a:gd name="connsiteY60740" fmla="*/ 1211562 h 5973007"/>
              <a:gd name="connsiteX60741" fmla="*/ 3774755 w 6884782"/>
              <a:gd name="connsiteY60741" fmla="*/ 1210424 h 5973007"/>
              <a:gd name="connsiteX60742" fmla="*/ 3774328 w 6884782"/>
              <a:gd name="connsiteY60742" fmla="*/ 1210708 h 5973007"/>
              <a:gd name="connsiteX60743" fmla="*/ 3765364 w 6884782"/>
              <a:gd name="connsiteY60743" fmla="*/ 1203737 h 5973007"/>
              <a:gd name="connsiteX60744" fmla="*/ 3770700 w 6884782"/>
              <a:gd name="connsiteY60744" fmla="*/ 1197477 h 5973007"/>
              <a:gd name="connsiteX60745" fmla="*/ 3771340 w 6884782"/>
              <a:gd name="connsiteY60745" fmla="*/ 1198046 h 5973007"/>
              <a:gd name="connsiteX60746" fmla="*/ 3771981 w 6884782"/>
              <a:gd name="connsiteY60746" fmla="*/ 1196624 h 5973007"/>
              <a:gd name="connsiteX60747" fmla="*/ 3778597 w 6884782"/>
              <a:gd name="connsiteY60747" fmla="*/ 1190364 h 5973007"/>
              <a:gd name="connsiteX60748" fmla="*/ 1115968 w 6884782"/>
              <a:gd name="connsiteY60748" fmla="*/ 1190188 h 5973007"/>
              <a:gd name="connsiteX60749" fmla="*/ 1125183 w 6884782"/>
              <a:gd name="connsiteY60749" fmla="*/ 1191795 h 5973007"/>
              <a:gd name="connsiteX60750" fmla="*/ 1127042 w 6884782"/>
              <a:gd name="connsiteY60750" fmla="*/ 1193188 h 5973007"/>
              <a:gd name="connsiteX60751" fmla="*/ 1130553 w 6884782"/>
              <a:gd name="connsiteY60751" fmla="*/ 1194428 h 5973007"/>
              <a:gd name="connsiteX60752" fmla="*/ 1126835 w 6884782"/>
              <a:gd name="connsiteY60752" fmla="*/ 1204961 h 5973007"/>
              <a:gd name="connsiteX60753" fmla="*/ 1115374 w 6884782"/>
              <a:gd name="connsiteY60753" fmla="*/ 1210847 h 5973007"/>
              <a:gd name="connsiteX60754" fmla="*/ 1112793 w 6884782"/>
              <a:gd name="connsiteY60754" fmla="*/ 1209762 h 5973007"/>
              <a:gd name="connsiteX60755" fmla="*/ 1111037 w 6884782"/>
              <a:gd name="connsiteY60755" fmla="*/ 1211776 h 5973007"/>
              <a:gd name="connsiteX60756" fmla="*/ 1098233 w 6884782"/>
              <a:gd name="connsiteY60756" fmla="*/ 1209917 h 5973007"/>
              <a:gd name="connsiteX60757" fmla="*/ 1096581 w 6884782"/>
              <a:gd name="connsiteY60757" fmla="*/ 1202173 h 5973007"/>
              <a:gd name="connsiteX60758" fmla="*/ 1097821 w 6884782"/>
              <a:gd name="connsiteY60758" fmla="*/ 1199075 h 5973007"/>
              <a:gd name="connsiteX60759" fmla="*/ 1106288 w 6884782"/>
              <a:gd name="connsiteY60759" fmla="*/ 1203102 h 5973007"/>
              <a:gd name="connsiteX60760" fmla="*/ 1108559 w 6884782"/>
              <a:gd name="connsiteY60760" fmla="*/ 1203877 h 5973007"/>
              <a:gd name="connsiteX60761" fmla="*/ 1107836 w 6884782"/>
              <a:gd name="connsiteY60761" fmla="*/ 1201243 h 5973007"/>
              <a:gd name="connsiteX60762" fmla="*/ 1109695 w 6884782"/>
              <a:gd name="connsiteY60762" fmla="*/ 1195667 h 5973007"/>
              <a:gd name="connsiteX60763" fmla="*/ 1115968 w 6884782"/>
              <a:gd name="connsiteY60763" fmla="*/ 1190188 h 5973007"/>
              <a:gd name="connsiteX60764" fmla="*/ 5050365 w 6884782"/>
              <a:gd name="connsiteY60764" fmla="*/ 1189937 h 5973007"/>
              <a:gd name="connsiteX60765" fmla="*/ 5059115 w 6884782"/>
              <a:gd name="connsiteY60765" fmla="*/ 1193494 h 5973007"/>
              <a:gd name="connsiteX60766" fmla="*/ 5059969 w 6884782"/>
              <a:gd name="connsiteY60766" fmla="*/ 1200323 h 5973007"/>
              <a:gd name="connsiteX60767" fmla="*/ 5042682 w 6884782"/>
              <a:gd name="connsiteY60767" fmla="*/ 1198473 h 5973007"/>
              <a:gd name="connsiteX60768" fmla="*/ 5050365 w 6884782"/>
              <a:gd name="connsiteY60768" fmla="*/ 1189937 h 5973007"/>
              <a:gd name="connsiteX60769" fmla="*/ 4472638 w 6884782"/>
              <a:gd name="connsiteY60769" fmla="*/ 1189937 h 5973007"/>
              <a:gd name="connsiteX60770" fmla="*/ 4473918 w 6884782"/>
              <a:gd name="connsiteY60770" fmla="*/ 1192071 h 5973007"/>
              <a:gd name="connsiteX60771" fmla="*/ 4472424 w 6884782"/>
              <a:gd name="connsiteY60771" fmla="*/ 1192498 h 5973007"/>
              <a:gd name="connsiteX60772" fmla="*/ 4472638 w 6884782"/>
              <a:gd name="connsiteY60772" fmla="*/ 1189937 h 5973007"/>
              <a:gd name="connsiteX60773" fmla="*/ 1325294 w 6884782"/>
              <a:gd name="connsiteY60773" fmla="*/ 1189471 h 5973007"/>
              <a:gd name="connsiteX60774" fmla="*/ 1323538 w 6884782"/>
              <a:gd name="connsiteY60774" fmla="*/ 1194738 h 5973007"/>
              <a:gd name="connsiteX60775" fmla="*/ 1321473 w 6884782"/>
              <a:gd name="connsiteY60775" fmla="*/ 1193034 h 5973007"/>
              <a:gd name="connsiteX60776" fmla="*/ 1325294 w 6884782"/>
              <a:gd name="connsiteY60776" fmla="*/ 1189471 h 5973007"/>
              <a:gd name="connsiteX60777" fmla="*/ 4613495 w 6884782"/>
              <a:gd name="connsiteY60777" fmla="*/ 1188941 h 5973007"/>
              <a:gd name="connsiteX60778" fmla="*/ 4619044 w 6884782"/>
              <a:gd name="connsiteY60778" fmla="*/ 1189937 h 5973007"/>
              <a:gd name="connsiteX60779" fmla="*/ 4621178 w 6884782"/>
              <a:gd name="connsiteY60779" fmla="*/ 1195201 h 5973007"/>
              <a:gd name="connsiteX60780" fmla="*/ 4613495 w 6884782"/>
              <a:gd name="connsiteY60780" fmla="*/ 1188941 h 5973007"/>
              <a:gd name="connsiteX60781" fmla="*/ 4392178 w 6884782"/>
              <a:gd name="connsiteY60781" fmla="*/ 1188799 h 5973007"/>
              <a:gd name="connsiteX60782" fmla="*/ 4400289 w 6884782"/>
              <a:gd name="connsiteY60782" fmla="*/ 1191075 h 5973007"/>
              <a:gd name="connsiteX60783" fmla="*/ 4401142 w 6884782"/>
              <a:gd name="connsiteY60783" fmla="*/ 1196481 h 5973007"/>
              <a:gd name="connsiteX60784" fmla="*/ 4384709 w 6884782"/>
              <a:gd name="connsiteY60784" fmla="*/ 1194205 h 5973007"/>
              <a:gd name="connsiteX60785" fmla="*/ 4392178 w 6884782"/>
              <a:gd name="connsiteY60785" fmla="*/ 1188799 h 5973007"/>
              <a:gd name="connsiteX60786" fmla="*/ 1555039 w 6884782"/>
              <a:gd name="connsiteY60786" fmla="*/ 1188232 h 5973007"/>
              <a:gd name="connsiteX60787" fmla="*/ 1561751 w 6884782"/>
              <a:gd name="connsiteY60787" fmla="*/ 1191175 h 5973007"/>
              <a:gd name="connsiteX60788" fmla="*/ 1563196 w 6884782"/>
              <a:gd name="connsiteY60788" fmla="*/ 1197061 h 5973007"/>
              <a:gd name="connsiteX60789" fmla="*/ 1558963 w 6884782"/>
              <a:gd name="connsiteY60789" fmla="*/ 1197216 h 5973007"/>
              <a:gd name="connsiteX60790" fmla="*/ 1556588 w 6884782"/>
              <a:gd name="connsiteY60790" fmla="*/ 1193188 h 5973007"/>
              <a:gd name="connsiteX60791" fmla="*/ 1554523 w 6884782"/>
              <a:gd name="connsiteY60791" fmla="*/ 1190710 h 5973007"/>
              <a:gd name="connsiteX60792" fmla="*/ 1554316 w 6884782"/>
              <a:gd name="connsiteY60792" fmla="*/ 1189471 h 5973007"/>
              <a:gd name="connsiteX60793" fmla="*/ 1555039 w 6884782"/>
              <a:gd name="connsiteY60793" fmla="*/ 1188232 h 5973007"/>
              <a:gd name="connsiteX60794" fmla="*/ 4933197 w 6884782"/>
              <a:gd name="connsiteY60794" fmla="*/ 1188087 h 5973007"/>
              <a:gd name="connsiteX60795" fmla="*/ 4943868 w 6884782"/>
              <a:gd name="connsiteY60795" fmla="*/ 1197051 h 5973007"/>
              <a:gd name="connsiteX60796" fmla="*/ 4945362 w 6884782"/>
              <a:gd name="connsiteY60796" fmla="*/ 1201176 h 5973007"/>
              <a:gd name="connsiteX60797" fmla="*/ 4941734 w 6884782"/>
              <a:gd name="connsiteY60797" fmla="*/ 1206013 h 5973007"/>
              <a:gd name="connsiteX60798" fmla="*/ 4930850 w 6884782"/>
              <a:gd name="connsiteY60798" fmla="*/ 1193067 h 5973007"/>
              <a:gd name="connsiteX60799" fmla="*/ 4933197 w 6884782"/>
              <a:gd name="connsiteY60799" fmla="*/ 1188087 h 5973007"/>
              <a:gd name="connsiteX60800" fmla="*/ 3992657 w 6884782"/>
              <a:gd name="connsiteY60800" fmla="*/ 1188087 h 5973007"/>
              <a:gd name="connsiteX60801" fmla="*/ 3995431 w 6884782"/>
              <a:gd name="connsiteY60801" fmla="*/ 1189226 h 5973007"/>
              <a:gd name="connsiteX60802" fmla="*/ 3996285 w 6884782"/>
              <a:gd name="connsiteY60802" fmla="*/ 1195343 h 5973007"/>
              <a:gd name="connsiteX60803" fmla="*/ 3992443 w 6884782"/>
              <a:gd name="connsiteY60803" fmla="*/ 1200323 h 5973007"/>
              <a:gd name="connsiteX60804" fmla="*/ 3991803 w 6884782"/>
              <a:gd name="connsiteY60804" fmla="*/ 1204164 h 5973007"/>
              <a:gd name="connsiteX60805" fmla="*/ 3990522 w 6884782"/>
              <a:gd name="connsiteY60805" fmla="*/ 1204164 h 5973007"/>
              <a:gd name="connsiteX60806" fmla="*/ 3990949 w 6884782"/>
              <a:gd name="connsiteY60806" fmla="*/ 1189510 h 5973007"/>
              <a:gd name="connsiteX60807" fmla="*/ 3992657 w 6884782"/>
              <a:gd name="connsiteY60807" fmla="*/ 1188087 h 5973007"/>
              <a:gd name="connsiteX60808" fmla="*/ 4467729 w 6884782"/>
              <a:gd name="connsiteY60808" fmla="*/ 1186807 h 5973007"/>
              <a:gd name="connsiteX60809" fmla="*/ 4469010 w 6884782"/>
              <a:gd name="connsiteY60809" fmla="*/ 1187803 h 5973007"/>
              <a:gd name="connsiteX60810" fmla="*/ 4469223 w 6884782"/>
              <a:gd name="connsiteY60810" fmla="*/ 1189083 h 5973007"/>
              <a:gd name="connsiteX60811" fmla="*/ 4467089 w 6884782"/>
              <a:gd name="connsiteY60811" fmla="*/ 1187803 h 5973007"/>
              <a:gd name="connsiteX60812" fmla="*/ 4467729 w 6884782"/>
              <a:gd name="connsiteY60812" fmla="*/ 1186807 h 5973007"/>
              <a:gd name="connsiteX60813" fmla="*/ 1240521 w 6884782"/>
              <a:gd name="connsiteY60813" fmla="*/ 1186528 h 5973007"/>
              <a:gd name="connsiteX60814" fmla="*/ 1248988 w 6884782"/>
              <a:gd name="connsiteY60814" fmla="*/ 1191020 h 5973007"/>
              <a:gd name="connsiteX60815" fmla="*/ 1243412 w 6884782"/>
              <a:gd name="connsiteY60815" fmla="*/ 1192724 h 5973007"/>
              <a:gd name="connsiteX60816" fmla="*/ 1237732 w 6884782"/>
              <a:gd name="connsiteY60816" fmla="*/ 1188232 h 5973007"/>
              <a:gd name="connsiteX60817" fmla="*/ 1240521 w 6884782"/>
              <a:gd name="connsiteY60817" fmla="*/ 1186528 h 5973007"/>
              <a:gd name="connsiteX60818" fmla="*/ 3479809 w 6884782"/>
              <a:gd name="connsiteY60818" fmla="*/ 1185953 h 5973007"/>
              <a:gd name="connsiteX60819" fmla="*/ 3481730 w 6884782"/>
              <a:gd name="connsiteY60819" fmla="*/ 1187519 h 5973007"/>
              <a:gd name="connsiteX60820" fmla="*/ 3485998 w 6884782"/>
              <a:gd name="connsiteY60820" fmla="*/ 1198046 h 5973007"/>
              <a:gd name="connsiteX60821" fmla="*/ 3487065 w 6884782"/>
              <a:gd name="connsiteY60821" fmla="*/ 1200180 h 5973007"/>
              <a:gd name="connsiteX60822" fmla="*/ 3485998 w 6884782"/>
              <a:gd name="connsiteY60822" fmla="*/ 1203453 h 5973007"/>
              <a:gd name="connsiteX60823" fmla="*/ 3480449 w 6884782"/>
              <a:gd name="connsiteY60823" fmla="*/ 1194916 h 5973007"/>
              <a:gd name="connsiteX60824" fmla="*/ 3477675 w 6884782"/>
              <a:gd name="connsiteY60824" fmla="*/ 1189795 h 5973007"/>
              <a:gd name="connsiteX60825" fmla="*/ 3478742 w 6884782"/>
              <a:gd name="connsiteY60825" fmla="*/ 1186522 h 5973007"/>
              <a:gd name="connsiteX60826" fmla="*/ 1533562 w 6884782"/>
              <a:gd name="connsiteY60826" fmla="*/ 1185754 h 5973007"/>
              <a:gd name="connsiteX60827" fmla="*/ 1536143 w 6884782"/>
              <a:gd name="connsiteY60827" fmla="*/ 1186373 h 5973007"/>
              <a:gd name="connsiteX60828" fmla="*/ 1532529 w 6884782"/>
              <a:gd name="connsiteY60828" fmla="*/ 1189936 h 5973007"/>
              <a:gd name="connsiteX60829" fmla="*/ 1531600 w 6884782"/>
              <a:gd name="connsiteY60829" fmla="*/ 1191640 h 5973007"/>
              <a:gd name="connsiteX60830" fmla="*/ 1530773 w 6884782"/>
              <a:gd name="connsiteY60830" fmla="*/ 1190090 h 5973007"/>
              <a:gd name="connsiteX60831" fmla="*/ 1533458 w 6884782"/>
              <a:gd name="connsiteY60831" fmla="*/ 1188232 h 5973007"/>
              <a:gd name="connsiteX60832" fmla="*/ 1532632 w 6884782"/>
              <a:gd name="connsiteY60832" fmla="*/ 1186683 h 5973007"/>
              <a:gd name="connsiteX60833" fmla="*/ 1533562 w 6884782"/>
              <a:gd name="connsiteY60833" fmla="*/ 1185754 h 5973007"/>
              <a:gd name="connsiteX60834" fmla="*/ 1352554 w 6884782"/>
              <a:gd name="connsiteY60834" fmla="*/ 1184979 h 5973007"/>
              <a:gd name="connsiteX60835" fmla="*/ 1354309 w 6884782"/>
              <a:gd name="connsiteY60835" fmla="*/ 1185599 h 5973007"/>
              <a:gd name="connsiteX60836" fmla="*/ 1357303 w 6884782"/>
              <a:gd name="connsiteY60836" fmla="*/ 1191020 h 5973007"/>
              <a:gd name="connsiteX60837" fmla="*/ 1352966 w 6884782"/>
              <a:gd name="connsiteY60837" fmla="*/ 1191795 h 5973007"/>
              <a:gd name="connsiteX60838" fmla="*/ 1350592 w 6884782"/>
              <a:gd name="connsiteY60838" fmla="*/ 1189316 h 5973007"/>
              <a:gd name="connsiteX60839" fmla="*/ 1350798 w 6884782"/>
              <a:gd name="connsiteY60839" fmla="*/ 1185289 h 5973007"/>
              <a:gd name="connsiteX60840" fmla="*/ 1350901 w 6884782"/>
              <a:gd name="connsiteY60840" fmla="*/ 1186064 h 5973007"/>
              <a:gd name="connsiteX60841" fmla="*/ 1352554 w 6884782"/>
              <a:gd name="connsiteY60841" fmla="*/ 1185909 h 5973007"/>
              <a:gd name="connsiteX60842" fmla="*/ 1352554 w 6884782"/>
              <a:gd name="connsiteY60842" fmla="*/ 1184979 h 5973007"/>
              <a:gd name="connsiteX60843" fmla="*/ 4769291 w 6884782"/>
              <a:gd name="connsiteY60843" fmla="*/ 1184531 h 5973007"/>
              <a:gd name="connsiteX60844" fmla="*/ 4771852 w 6884782"/>
              <a:gd name="connsiteY60844" fmla="*/ 1190079 h 5973007"/>
              <a:gd name="connsiteX60845" fmla="*/ 4766943 w 6884782"/>
              <a:gd name="connsiteY60845" fmla="*/ 1205160 h 5973007"/>
              <a:gd name="connsiteX60846" fmla="*/ 4762035 w 6884782"/>
              <a:gd name="connsiteY60846" fmla="*/ 1195201 h 5973007"/>
              <a:gd name="connsiteX60847" fmla="*/ 4769291 w 6884782"/>
              <a:gd name="connsiteY60847" fmla="*/ 1184531 h 5973007"/>
              <a:gd name="connsiteX60848" fmla="*/ 3561975 w 6884782"/>
              <a:gd name="connsiteY60848" fmla="*/ 1184246 h 5973007"/>
              <a:gd name="connsiteX60849" fmla="*/ 3564536 w 6884782"/>
              <a:gd name="connsiteY60849" fmla="*/ 1184958 h 5973007"/>
              <a:gd name="connsiteX60850" fmla="*/ 3563683 w 6884782"/>
              <a:gd name="connsiteY60850" fmla="*/ 1190791 h 5973007"/>
              <a:gd name="connsiteX60851" fmla="*/ 3560268 w 6884782"/>
              <a:gd name="connsiteY60851" fmla="*/ 1191787 h 5973007"/>
              <a:gd name="connsiteX60852" fmla="*/ 3558988 w 6884782"/>
              <a:gd name="connsiteY60852" fmla="*/ 1188230 h 5973007"/>
              <a:gd name="connsiteX60853" fmla="*/ 3560055 w 6884782"/>
              <a:gd name="connsiteY60853" fmla="*/ 1184673 h 5973007"/>
              <a:gd name="connsiteX60854" fmla="*/ 3561975 w 6884782"/>
              <a:gd name="connsiteY60854" fmla="*/ 1184246 h 5973007"/>
              <a:gd name="connsiteX60855" fmla="*/ 3842836 w 6884782"/>
              <a:gd name="connsiteY60855" fmla="*/ 1183250 h 5973007"/>
              <a:gd name="connsiteX60856" fmla="*/ 3874636 w 6884782"/>
              <a:gd name="connsiteY60856" fmla="*/ 1223512 h 5973007"/>
              <a:gd name="connsiteX60857" fmla="*/ 3862257 w 6884782"/>
              <a:gd name="connsiteY60857" fmla="*/ 1225077 h 5973007"/>
              <a:gd name="connsiteX60858" fmla="*/ 3862044 w 6884782"/>
              <a:gd name="connsiteY60858" fmla="*/ 1224935 h 5973007"/>
              <a:gd name="connsiteX60859" fmla="*/ 3861617 w 6884782"/>
              <a:gd name="connsiteY60859" fmla="*/ 1227780 h 5973007"/>
              <a:gd name="connsiteX60860" fmla="*/ 3862044 w 6884782"/>
              <a:gd name="connsiteY60860" fmla="*/ 1229914 h 5973007"/>
              <a:gd name="connsiteX60861" fmla="*/ 3864818 w 6884782"/>
              <a:gd name="connsiteY60861" fmla="*/ 1228492 h 5973007"/>
              <a:gd name="connsiteX60862" fmla="*/ 3879971 w 6884782"/>
              <a:gd name="connsiteY60862" fmla="*/ 1233756 h 5973007"/>
              <a:gd name="connsiteX60863" fmla="*/ 3856708 w 6884782"/>
              <a:gd name="connsiteY60863" fmla="*/ 1250117 h 5973007"/>
              <a:gd name="connsiteX60864" fmla="*/ 3853294 w 6884782"/>
              <a:gd name="connsiteY60864" fmla="*/ 1244284 h 5973007"/>
              <a:gd name="connsiteX60865" fmla="*/ 3848385 w 6884782"/>
              <a:gd name="connsiteY60865" fmla="*/ 1246845 h 5973007"/>
              <a:gd name="connsiteX60866" fmla="*/ 3844330 w 6884782"/>
              <a:gd name="connsiteY60866" fmla="*/ 1247414 h 5973007"/>
              <a:gd name="connsiteX60867" fmla="*/ 3844543 w 6884782"/>
              <a:gd name="connsiteY60867" fmla="*/ 1252962 h 5973007"/>
              <a:gd name="connsiteX60868" fmla="*/ 3837500 w 6884782"/>
              <a:gd name="connsiteY60868" fmla="*/ 1252251 h 5973007"/>
              <a:gd name="connsiteX60869" fmla="*/ 3832165 w 6884782"/>
              <a:gd name="connsiteY60869" fmla="*/ 1247698 h 5973007"/>
              <a:gd name="connsiteX60870" fmla="*/ 3830885 w 6884782"/>
              <a:gd name="connsiteY60870" fmla="*/ 1257230 h 5973007"/>
              <a:gd name="connsiteX60871" fmla="*/ 3824482 w 6884782"/>
              <a:gd name="connsiteY60871" fmla="*/ 1266762 h 5973007"/>
              <a:gd name="connsiteX60872" fmla="*/ 3787987 w 6884782"/>
              <a:gd name="connsiteY60872" fmla="*/ 1269750 h 5973007"/>
              <a:gd name="connsiteX60873" fmla="*/ 3786493 w 6884782"/>
              <a:gd name="connsiteY60873" fmla="*/ 1266193 h 5973007"/>
              <a:gd name="connsiteX60874" fmla="*/ 3818079 w 6884782"/>
              <a:gd name="connsiteY60874" fmla="*/ 1238593 h 5973007"/>
              <a:gd name="connsiteX60875" fmla="*/ 3825549 w 6884782"/>
              <a:gd name="connsiteY60875" fmla="*/ 1240300 h 5973007"/>
              <a:gd name="connsiteX60876" fmla="*/ 3830244 w 6884782"/>
              <a:gd name="connsiteY60876" fmla="*/ 1243003 h 5973007"/>
              <a:gd name="connsiteX60877" fmla="*/ 3828964 w 6884782"/>
              <a:gd name="connsiteY60877" fmla="*/ 1240443 h 5973007"/>
              <a:gd name="connsiteX60878" fmla="*/ 3828110 w 6884782"/>
              <a:gd name="connsiteY60878" fmla="*/ 1240158 h 5973007"/>
              <a:gd name="connsiteX60879" fmla="*/ 3816372 w 6884782"/>
              <a:gd name="connsiteY60879" fmla="*/ 1230199 h 5973007"/>
              <a:gd name="connsiteX60880" fmla="*/ 3810823 w 6884782"/>
              <a:gd name="connsiteY60880" fmla="*/ 1233614 h 5973007"/>
              <a:gd name="connsiteX60881" fmla="*/ 3793536 w 6884782"/>
              <a:gd name="connsiteY60881" fmla="*/ 1230626 h 5973007"/>
              <a:gd name="connsiteX60882" fmla="*/ 3804634 w 6884782"/>
              <a:gd name="connsiteY60882" fmla="*/ 1225931 h 5973007"/>
              <a:gd name="connsiteX60883" fmla="*/ 3815091 w 6884782"/>
              <a:gd name="connsiteY60883" fmla="*/ 1218533 h 5973007"/>
              <a:gd name="connsiteX60884" fmla="*/ 3815945 w 6884782"/>
              <a:gd name="connsiteY60884" fmla="*/ 1215261 h 5973007"/>
              <a:gd name="connsiteX60885" fmla="*/ 3823414 w 6884782"/>
              <a:gd name="connsiteY60885" fmla="*/ 1206013 h 5973007"/>
              <a:gd name="connsiteX60886" fmla="*/ 3836647 w 6884782"/>
              <a:gd name="connsiteY60886" fmla="*/ 1209286 h 5973007"/>
              <a:gd name="connsiteX60887" fmla="*/ 3839421 w 6884782"/>
              <a:gd name="connsiteY60887" fmla="*/ 1210282 h 5973007"/>
              <a:gd name="connsiteX60888" fmla="*/ 3836860 w 6884782"/>
              <a:gd name="connsiteY60888" fmla="*/ 1206867 h 5973007"/>
              <a:gd name="connsiteX60889" fmla="*/ 3832378 w 6884782"/>
              <a:gd name="connsiteY60889" fmla="*/ 1186380 h 5973007"/>
              <a:gd name="connsiteX60890" fmla="*/ 3835153 w 6884782"/>
              <a:gd name="connsiteY60890" fmla="*/ 1184104 h 5973007"/>
              <a:gd name="connsiteX60891" fmla="*/ 3842836 w 6884782"/>
              <a:gd name="connsiteY60891" fmla="*/ 1183250 h 5973007"/>
              <a:gd name="connsiteX60892" fmla="*/ 1269535 w 6884782"/>
              <a:gd name="connsiteY60892" fmla="*/ 1182966 h 5973007"/>
              <a:gd name="connsiteX60893" fmla="*/ 1295453 w 6884782"/>
              <a:gd name="connsiteY60893" fmla="*/ 1201863 h 5973007"/>
              <a:gd name="connsiteX60894" fmla="*/ 1293388 w 6884782"/>
              <a:gd name="connsiteY60894" fmla="*/ 1202637 h 5973007"/>
              <a:gd name="connsiteX60895" fmla="*/ 1293904 w 6884782"/>
              <a:gd name="connsiteY60895" fmla="*/ 1203412 h 5973007"/>
              <a:gd name="connsiteX60896" fmla="*/ 1288225 w 6884782"/>
              <a:gd name="connsiteY60896" fmla="*/ 1209143 h 5973007"/>
              <a:gd name="connsiteX60897" fmla="*/ 1284714 w 6884782"/>
              <a:gd name="connsiteY60897" fmla="*/ 1208213 h 5973007"/>
              <a:gd name="connsiteX60898" fmla="*/ 1281306 w 6884782"/>
              <a:gd name="connsiteY60898" fmla="*/ 1212706 h 5973007"/>
              <a:gd name="connsiteX60899" fmla="*/ 1277383 w 6884782"/>
              <a:gd name="connsiteY60899" fmla="*/ 1216578 h 5973007"/>
              <a:gd name="connsiteX60900" fmla="*/ 1270052 w 6884782"/>
              <a:gd name="connsiteY60900" fmla="*/ 1219056 h 5973007"/>
              <a:gd name="connsiteX60901" fmla="*/ 1249710 w 6884782"/>
              <a:gd name="connsiteY60901" fmla="*/ 1196751 h 5973007"/>
              <a:gd name="connsiteX60902" fmla="*/ 1260242 w 6884782"/>
              <a:gd name="connsiteY60902" fmla="*/ 1183121 h 5973007"/>
              <a:gd name="connsiteX60903" fmla="*/ 1269535 w 6884782"/>
              <a:gd name="connsiteY60903" fmla="*/ 1182966 h 5973007"/>
              <a:gd name="connsiteX60904" fmla="*/ 4032780 w 6884782"/>
              <a:gd name="connsiteY60904" fmla="*/ 1182539 h 5973007"/>
              <a:gd name="connsiteX60905" fmla="*/ 4035341 w 6884782"/>
              <a:gd name="connsiteY60905" fmla="*/ 1185953 h 5973007"/>
              <a:gd name="connsiteX60906" fmla="*/ 4035341 w 6884782"/>
              <a:gd name="connsiteY60906" fmla="*/ 1193067 h 5973007"/>
              <a:gd name="connsiteX60907" fmla="*/ 4033420 w 6884782"/>
              <a:gd name="connsiteY60907" fmla="*/ 1195912 h 5973007"/>
              <a:gd name="connsiteX60908" fmla="*/ 4034060 w 6884782"/>
              <a:gd name="connsiteY60908" fmla="*/ 1197477 h 5973007"/>
              <a:gd name="connsiteX60909" fmla="*/ 4021468 w 6884782"/>
              <a:gd name="connsiteY60909" fmla="*/ 1193636 h 5973007"/>
              <a:gd name="connsiteX60910" fmla="*/ 4025523 w 6884782"/>
              <a:gd name="connsiteY60910" fmla="*/ 1186949 h 5973007"/>
              <a:gd name="connsiteX60911" fmla="*/ 4028297 w 6884782"/>
              <a:gd name="connsiteY60911" fmla="*/ 1188230 h 5973007"/>
              <a:gd name="connsiteX60912" fmla="*/ 4028725 w 6884782"/>
              <a:gd name="connsiteY60912" fmla="*/ 1188514 h 5973007"/>
              <a:gd name="connsiteX60913" fmla="*/ 3944637 w 6884782"/>
              <a:gd name="connsiteY60913" fmla="*/ 1182397 h 5973007"/>
              <a:gd name="connsiteX60914" fmla="*/ 3947412 w 6884782"/>
              <a:gd name="connsiteY60914" fmla="*/ 1184246 h 5973007"/>
              <a:gd name="connsiteX60915" fmla="*/ 3943997 w 6884782"/>
              <a:gd name="connsiteY60915" fmla="*/ 1187661 h 5973007"/>
              <a:gd name="connsiteX60916" fmla="*/ 3942717 w 6884782"/>
              <a:gd name="connsiteY60916" fmla="*/ 1182966 h 5973007"/>
              <a:gd name="connsiteX60917" fmla="*/ 3944637 w 6884782"/>
              <a:gd name="connsiteY60917" fmla="*/ 1182397 h 5973007"/>
              <a:gd name="connsiteX60918" fmla="*/ 1719629 w 6884782"/>
              <a:gd name="connsiteY60918" fmla="*/ 1182036 h 5973007"/>
              <a:gd name="connsiteX60919" fmla="*/ 1717564 w 6884782"/>
              <a:gd name="connsiteY60919" fmla="*/ 1190710 h 5973007"/>
              <a:gd name="connsiteX60920" fmla="*/ 1716119 w 6884782"/>
              <a:gd name="connsiteY60920" fmla="*/ 1188852 h 5973007"/>
              <a:gd name="connsiteX60921" fmla="*/ 1719629 w 6884782"/>
              <a:gd name="connsiteY60921" fmla="*/ 1182036 h 5973007"/>
              <a:gd name="connsiteX60922" fmla="*/ 1107062 w 6884782"/>
              <a:gd name="connsiteY60922" fmla="*/ 1181804 h 5973007"/>
              <a:gd name="connsiteX60923" fmla="*/ 1111760 w 6884782"/>
              <a:gd name="connsiteY60923" fmla="*/ 1183740 h 5973007"/>
              <a:gd name="connsiteX60924" fmla="*/ 1110418 w 6884782"/>
              <a:gd name="connsiteY60924" fmla="*/ 1189781 h 5973007"/>
              <a:gd name="connsiteX60925" fmla="*/ 1107836 w 6884782"/>
              <a:gd name="connsiteY60925" fmla="*/ 1190865 h 5973007"/>
              <a:gd name="connsiteX60926" fmla="*/ 1102673 w 6884782"/>
              <a:gd name="connsiteY60926" fmla="*/ 1190865 h 5973007"/>
              <a:gd name="connsiteX60927" fmla="*/ 1102673 w 6884782"/>
              <a:gd name="connsiteY60927" fmla="*/ 1191640 h 5973007"/>
              <a:gd name="connsiteX60928" fmla="*/ 1101434 w 6884782"/>
              <a:gd name="connsiteY60928" fmla="*/ 1186838 h 5973007"/>
              <a:gd name="connsiteX60929" fmla="*/ 1107062 w 6884782"/>
              <a:gd name="connsiteY60929" fmla="*/ 1181804 h 5973007"/>
              <a:gd name="connsiteX60930" fmla="*/ 4463674 w 6884782"/>
              <a:gd name="connsiteY60930" fmla="*/ 1181116 h 5973007"/>
              <a:gd name="connsiteX60931" fmla="*/ 4465595 w 6884782"/>
              <a:gd name="connsiteY60931" fmla="*/ 1183962 h 5973007"/>
              <a:gd name="connsiteX60932" fmla="*/ 4466448 w 6884782"/>
              <a:gd name="connsiteY60932" fmla="*/ 1187234 h 5973007"/>
              <a:gd name="connsiteX60933" fmla="*/ 4462607 w 6884782"/>
              <a:gd name="connsiteY60933" fmla="*/ 1184673 h 5973007"/>
              <a:gd name="connsiteX60934" fmla="*/ 4463674 w 6884782"/>
              <a:gd name="connsiteY60934" fmla="*/ 1181116 h 5973007"/>
              <a:gd name="connsiteX60935" fmla="*/ 3783932 w 6884782"/>
              <a:gd name="connsiteY60935" fmla="*/ 1180974 h 5973007"/>
              <a:gd name="connsiteX60936" fmla="*/ 3793323 w 6884782"/>
              <a:gd name="connsiteY60936" fmla="*/ 1187661 h 5973007"/>
              <a:gd name="connsiteX60937" fmla="*/ 3783932 w 6884782"/>
              <a:gd name="connsiteY60937" fmla="*/ 1180974 h 5973007"/>
              <a:gd name="connsiteX60938" fmla="*/ 1321060 w 6884782"/>
              <a:gd name="connsiteY60938" fmla="*/ 1180797 h 5973007"/>
              <a:gd name="connsiteX60939" fmla="*/ 1318169 w 6884782"/>
              <a:gd name="connsiteY60939" fmla="*/ 1186064 h 5973007"/>
              <a:gd name="connsiteX60940" fmla="*/ 1314039 w 6884782"/>
              <a:gd name="connsiteY60940" fmla="*/ 1182810 h 5973007"/>
              <a:gd name="connsiteX60941" fmla="*/ 1321060 w 6884782"/>
              <a:gd name="connsiteY60941" fmla="*/ 1180797 h 5973007"/>
              <a:gd name="connsiteX60942" fmla="*/ 3832592 w 6884782"/>
              <a:gd name="connsiteY60942" fmla="*/ 1180263 h 5973007"/>
              <a:gd name="connsiteX60943" fmla="*/ 3837500 w 6884782"/>
              <a:gd name="connsiteY60943" fmla="*/ 1180263 h 5973007"/>
              <a:gd name="connsiteX60944" fmla="*/ 3840915 w 6884782"/>
              <a:gd name="connsiteY60944" fmla="*/ 1182539 h 5973007"/>
              <a:gd name="connsiteX60945" fmla="*/ 3832592 w 6884782"/>
              <a:gd name="connsiteY60945" fmla="*/ 1180263 h 5973007"/>
              <a:gd name="connsiteX60946" fmla="*/ 4881123 w 6884782"/>
              <a:gd name="connsiteY60946" fmla="*/ 1179978 h 5973007"/>
              <a:gd name="connsiteX60947" fmla="*/ 4883898 w 6884782"/>
              <a:gd name="connsiteY60947" fmla="*/ 1180121 h 5973007"/>
              <a:gd name="connsiteX60948" fmla="*/ 4887526 w 6884782"/>
              <a:gd name="connsiteY60948" fmla="*/ 1181685 h 5973007"/>
              <a:gd name="connsiteX60949" fmla="*/ 4890514 w 6884782"/>
              <a:gd name="connsiteY60949" fmla="*/ 1186238 h 5973007"/>
              <a:gd name="connsiteX60950" fmla="*/ 4890727 w 6884782"/>
              <a:gd name="connsiteY60950" fmla="*/ 1188799 h 5973007"/>
              <a:gd name="connsiteX60951" fmla="*/ 4880910 w 6884782"/>
              <a:gd name="connsiteY60951" fmla="*/ 1191644 h 5973007"/>
              <a:gd name="connsiteX60952" fmla="*/ 4876215 w 6884782"/>
              <a:gd name="connsiteY60952" fmla="*/ 1182255 h 5973007"/>
              <a:gd name="connsiteX60953" fmla="*/ 4878348 w 6884782"/>
              <a:gd name="connsiteY60953" fmla="*/ 1180974 h 5973007"/>
              <a:gd name="connsiteX60954" fmla="*/ 4881123 w 6884782"/>
              <a:gd name="connsiteY60954" fmla="*/ 1179978 h 5973007"/>
              <a:gd name="connsiteX60955" fmla="*/ 1485651 w 6884782"/>
              <a:gd name="connsiteY60955" fmla="*/ 1179713 h 5973007"/>
              <a:gd name="connsiteX60956" fmla="*/ 1491433 w 6884782"/>
              <a:gd name="connsiteY60956" fmla="*/ 1185754 h 5973007"/>
              <a:gd name="connsiteX60957" fmla="*/ 1491020 w 6884782"/>
              <a:gd name="connsiteY60957" fmla="*/ 1186838 h 5973007"/>
              <a:gd name="connsiteX60958" fmla="*/ 1484308 w 6884782"/>
              <a:gd name="connsiteY60958" fmla="*/ 1194118 h 5973007"/>
              <a:gd name="connsiteX60959" fmla="*/ 1480591 w 6884782"/>
              <a:gd name="connsiteY60959" fmla="*/ 1189471 h 5973007"/>
              <a:gd name="connsiteX60960" fmla="*/ 1480901 w 6884782"/>
              <a:gd name="connsiteY60960" fmla="*/ 1187148 h 5973007"/>
              <a:gd name="connsiteX60961" fmla="*/ 1485651 w 6884782"/>
              <a:gd name="connsiteY60961" fmla="*/ 1179713 h 5973007"/>
              <a:gd name="connsiteX60962" fmla="*/ 1477803 w 6884782"/>
              <a:gd name="connsiteY60962" fmla="*/ 1179248 h 5973007"/>
              <a:gd name="connsiteX60963" fmla="*/ 1478010 w 6884782"/>
              <a:gd name="connsiteY60963" fmla="*/ 1180332 h 5973007"/>
              <a:gd name="connsiteX60964" fmla="*/ 1478836 w 6884782"/>
              <a:gd name="connsiteY60964" fmla="*/ 1180642 h 5973007"/>
              <a:gd name="connsiteX60965" fmla="*/ 4794261 w 6884782"/>
              <a:gd name="connsiteY60965" fmla="*/ 1178698 h 5973007"/>
              <a:gd name="connsiteX60966" fmla="*/ 4794048 w 6884782"/>
              <a:gd name="connsiteY60966" fmla="*/ 1179551 h 5973007"/>
              <a:gd name="connsiteX60967" fmla="*/ 4794475 w 6884782"/>
              <a:gd name="connsiteY60967" fmla="*/ 1182824 h 5973007"/>
              <a:gd name="connsiteX60968" fmla="*/ 4799597 w 6884782"/>
              <a:gd name="connsiteY60968" fmla="*/ 1189083 h 5973007"/>
              <a:gd name="connsiteX60969" fmla="*/ 4799383 w 6884782"/>
              <a:gd name="connsiteY60969" fmla="*/ 1191787 h 5973007"/>
              <a:gd name="connsiteX60970" fmla="*/ 4795755 w 6884782"/>
              <a:gd name="connsiteY60970" fmla="*/ 1190933 h 5973007"/>
              <a:gd name="connsiteX60971" fmla="*/ 4795968 w 6884782"/>
              <a:gd name="connsiteY60971" fmla="*/ 1186665 h 5973007"/>
              <a:gd name="connsiteX60972" fmla="*/ 4792980 w 6884782"/>
              <a:gd name="connsiteY60972" fmla="*/ 1183250 h 5973007"/>
              <a:gd name="connsiteX60973" fmla="*/ 4792980 w 6884782"/>
              <a:gd name="connsiteY60973" fmla="*/ 1178982 h 5973007"/>
              <a:gd name="connsiteX60974" fmla="*/ 4794261 w 6884782"/>
              <a:gd name="connsiteY60974" fmla="*/ 1178698 h 5973007"/>
              <a:gd name="connsiteX60975" fmla="*/ 4518736 w 6884782"/>
              <a:gd name="connsiteY60975" fmla="*/ 1178129 h 5973007"/>
              <a:gd name="connsiteX60976" fmla="*/ 4523005 w 6884782"/>
              <a:gd name="connsiteY60976" fmla="*/ 1179551 h 5973007"/>
              <a:gd name="connsiteX60977" fmla="*/ 4517456 w 6884782"/>
              <a:gd name="connsiteY60977" fmla="*/ 1181828 h 5973007"/>
              <a:gd name="connsiteX60978" fmla="*/ 4513614 w 6884782"/>
              <a:gd name="connsiteY60978" fmla="*/ 1179267 h 5973007"/>
              <a:gd name="connsiteX60979" fmla="*/ 4518736 w 6884782"/>
              <a:gd name="connsiteY60979" fmla="*/ 1178129 h 5973007"/>
              <a:gd name="connsiteX60980" fmla="*/ 5021126 w 6884782"/>
              <a:gd name="connsiteY60980" fmla="*/ 1177702 h 5973007"/>
              <a:gd name="connsiteX60981" fmla="*/ 5022833 w 6884782"/>
              <a:gd name="connsiteY60981" fmla="*/ 1182539 h 5973007"/>
              <a:gd name="connsiteX60982" fmla="*/ 5015791 w 6884782"/>
              <a:gd name="connsiteY60982" fmla="*/ 1184815 h 5973007"/>
              <a:gd name="connsiteX60983" fmla="*/ 5013870 w 6884782"/>
              <a:gd name="connsiteY60983" fmla="*/ 1179978 h 5973007"/>
              <a:gd name="connsiteX60984" fmla="*/ 5021126 w 6884782"/>
              <a:gd name="connsiteY60984" fmla="*/ 1177702 h 5973007"/>
              <a:gd name="connsiteX60985" fmla="*/ 4527060 w 6884782"/>
              <a:gd name="connsiteY60985" fmla="*/ 1177560 h 5973007"/>
              <a:gd name="connsiteX60986" fmla="*/ 4527273 w 6884782"/>
              <a:gd name="connsiteY60986" fmla="*/ 1179125 h 5973007"/>
              <a:gd name="connsiteX60987" fmla="*/ 4527913 w 6884782"/>
              <a:gd name="connsiteY60987" fmla="*/ 1178129 h 5973007"/>
              <a:gd name="connsiteX60988" fmla="*/ 4527486 w 6884782"/>
              <a:gd name="connsiteY60988" fmla="*/ 1179694 h 5973007"/>
              <a:gd name="connsiteX60989" fmla="*/ 4526633 w 6884782"/>
              <a:gd name="connsiteY60989" fmla="*/ 1180263 h 5973007"/>
              <a:gd name="connsiteX60990" fmla="*/ 4523218 w 6884782"/>
              <a:gd name="connsiteY60990" fmla="*/ 1179409 h 5973007"/>
              <a:gd name="connsiteX60991" fmla="*/ 4527060 w 6884782"/>
              <a:gd name="connsiteY60991" fmla="*/ 1177560 h 5973007"/>
              <a:gd name="connsiteX60992" fmla="*/ 1699701 w 6884782"/>
              <a:gd name="connsiteY60992" fmla="*/ 1177234 h 5973007"/>
              <a:gd name="connsiteX60993" fmla="*/ 1702799 w 6884782"/>
              <a:gd name="connsiteY60993" fmla="*/ 1183275 h 5973007"/>
              <a:gd name="connsiteX60994" fmla="*/ 1703005 w 6884782"/>
              <a:gd name="connsiteY60994" fmla="*/ 1185444 h 5973007"/>
              <a:gd name="connsiteX60995" fmla="*/ 1708787 w 6884782"/>
              <a:gd name="connsiteY60995" fmla="*/ 1187767 h 5973007"/>
              <a:gd name="connsiteX60996" fmla="*/ 1703315 w 6884782"/>
              <a:gd name="connsiteY60996" fmla="*/ 1189471 h 5973007"/>
              <a:gd name="connsiteX60997" fmla="*/ 1703418 w 6884782"/>
              <a:gd name="connsiteY60997" fmla="*/ 1189936 h 5973007"/>
              <a:gd name="connsiteX60998" fmla="*/ 1692989 w 6884782"/>
              <a:gd name="connsiteY60998" fmla="*/ 1193499 h 5973007"/>
              <a:gd name="connsiteX60999" fmla="*/ 1689685 w 6884782"/>
              <a:gd name="connsiteY60999" fmla="*/ 1193344 h 5973007"/>
              <a:gd name="connsiteX61000" fmla="*/ 1682767 w 6884782"/>
              <a:gd name="connsiteY61000" fmla="*/ 1193808 h 5973007"/>
              <a:gd name="connsiteX61001" fmla="*/ 1672751 w 6884782"/>
              <a:gd name="connsiteY61001" fmla="*/ 1191795 h 5973007"/>
              <a:gd name="connsiteX61002" fmla="*/ 1679875 w 6884782"/>
              <a:gd name="connsiteY61002" fmla="*/ 1185134 h 5973007"/>
              <a:gd name="connsiteX61003" fmla="*/ 1679875 w 6884782"/>
              <a:gd name="connsiteY61003" fmla="*/ 1184514 h 5973007"/>
              <a:gd name="connsiteX61004" fmla="*/ 1699701 w 6884782"/>
              <a:gd name="connsiteY61004" fmla="*/ 1177234 h 5973007"/>
              <a:gd name="connsiteX61005" fmla="*/ 1332109 w 6884782"/>
              <a:gd name="connsiteY61005" fmla="*/ 1177234 h 5973007"/>
              <a:gd name="connsiteX61006" fmla="*/ 1332522 w 6884782"/>
              <a:gd name="connsiteY61006" fmla="*/ 1184669 h 5973007"/>
              <a:gd name="connsiteX61007" fmla="*/ 1326430 w 6884782"/>
              <a:gd name="connsiteY61007" fmla="*/ 1184669 h 5973007"/>
              <a:gd name="connsiteX61008" fmla="*/ 1324881 w 6884782"/>
              <a:gd name="connsiteY61008" fmla="*/ 1182656 h 5973007"/>
              <a:gd name="connsiteX61009" fmla="*/ 1325294 w 6884782"/>
              <a:gd name="connsiteY61009" fmla="*/ 1179867 h 5973007"/>
              <a:gd name="connsiteX61010" fmla="*/ 1326946 w 6884782"/>
              <a:gd name="connsiteY61010" fmla="*/ 1177854 h 5973007"/>
              <a:gd name="connsiteX61011" fmla="*/ 1332109 w 6884782"/>
              <a:gd name="connsiteY61011" fmla="*/ 1177234 h 5973007"/>
              <a:gd name="connsiteX61012" fmla="*/ 1562576 w 6884782"/>
              <a:gd name="connsiteY61012" fmla="*/ 1176924 h 5973007"/>
              <a:gd name="connsiteX61013" fmla="*/ 1567946 w 6884782"/>
              <a:gd name="connsiteY61013" fmla="*/ 1179403 h 5973007"/>
              <a:gd name="connsiteX61014" fmla="*/ 1569701 w 6884782"/>
              <a:gd name="connsiteY61014" fmla="*/ 1178164 h 5973007"/>
              <a:gd name="connsiteX61015" fmla="*/ 1573728 w 6884782"/>
              <a:gd name="connsiteY61015" fmla="*/ 1179403 h 5973007"/>
              <a:gd name="connsiteX61016" fmla="*/ 1570837 w 6884782"/>
              <a:gd name="connsiteY61016" fmla="*/ 1181107 h 5973007"/>
              <a:gd name="connsiteX61017" fmla="*/ 1570321 w 6884782"/>
              <a:gd name="connsiteY61017" fmla="*/ 1181107 h 5973007"/>
              <a:gd name="connsiteX61018" fmla="*/ 1574658 w 6884782"/>
              <a:gd name="connsiteY61018" fmla="*/ 1184050 h 5973007"/>
              <a:gd name="connsiteX61019" fmla="*/ 1580337 w 6884782"/>
              <a:gd name="connsiteY61019" fmla="*/ 1187303 h 5973007"/>
              <a:gd name="connsiteX61020" fmla="*/ 1580956 w 6884782"/>
              <a:gd name="connsiteY61020" fmla="*/ 1189781 h 5973007"/>
              <a:gd name="connsiteX61021" fmla="*/ 1581679 w 6884782"/>
              <a:gd name="connsiteY61021" fmla="*/ 1190245 h 5973007"/>
              <a:gd name="connsiteX61022" fmla="*/ 1581886 w 6884782"/>
              <a:gd name="connsiteY61022" fmla="*/ 1191330 h 5973007"/>
              <a:gd name="connsiteX61023" fmla="*/ 1582092 w 6884782"/>
              <a:gd name="connsiteY61023" fmla="*/ 1191485 h 5973007"/>
              <a:gd name="connsiteX61024" fmla="*/ 1582505 w 6884782"/>
              <a:gd name="connsiteY61024" fmla="*/ 1191949 h 5973007"/>
              <a:gd name="connsiteX61025" fmla="*/ 1584983 w 6884782"/>
              <a:gd name="connsiteY61025" fmla="*/ 1187612 h 5973007"/>
              <a:gd name="connsiteX61026" fmla="*/ 1590456 w 6884782"/>
              <a:gd name="connsiteY61026" fmla="*/ 1187612 h 5973007"/>
              <a:gd name="connsiteX61027" fmla="*/ 1590146 w 6884782"/>
              <a:gd name="connsiteY61027" fmla="*/ 1189936 h 5973007"/>
              <a:gd name="connsiteX61028" fmla="*/ 1593863 w 6884782"/>
              <a:gd name="connsiteY61028" fmla="*/ 1190245 h 5973007"/>
              <a:gd name="connsiteX61029" fmla="*/ 1602227 w 6884782"/>
              <a:gd name="connsiteY61029" fmla="*/ 1193653 h 5973007"/>
              <a:gd name="connsiteX61030" fmla="*/ 1604189 w 6884782"/>
              <a:gd name="connsiteY61030" fmla="*/ 1193808 h 5973007"/>
              <a:gd name="connsiteX61031" fmla="*/ 1592831 w 6884782"/>
              <a:gd name="connsiteY61031" fmla="*/ 1193034 h 5973007"/>
              <a:gd name="connsiteX61032" fmla="*/ 1589733 w 6884782"/>
              <a:gd name="connsiteY61032" fmla="*/ 1192259 h 5973007"/>
              <a:gd name="connsiteX61033" fmla="*/ 1589630 w 6884782"/>
              <a:gd name="connsiteY61033" fmla="*/ 1193344 h 5973007"/>
              <a:gd name="connsiteX61034" fmla="*/ 1588700 w 6884782"/>
              <a:gd name="connsiteY61034" fmla="*/ 1194892 h 5973007"/>
              <a:gd name="connsiteX61035" fmla="*/ 1589113 w 6884782"/>
              <a:gd name="connsiteY61035" fmla="*/ 1196751 h 5973007"/>
              <a:gd name="connsiteX61036" fmla="*/ 1589423 w 6884782"/>
              <a:gd name="connsiteY61036" fmla="*/ 1196906 h 5973007"/>
              <a:gd name="connsiteX61037" fmla="*/ 1592521 w 6884782"/>
              <a:gd name="connsiteY61037" fmla="*/ 1197216 h 5973007"/>
              <a:gd name="connsiteX61038" fmla="*/ 1593140 w 6884782"/>
              <a:gd name="connsiteY61038" fmla="*/ 1198920 h 5973007"/>
              <a:gd name="connsiteX61039" fmla="*/ 1590456 w 6884782"/>
              <a:gd name="connsiteY61039" fmla="*/ 1199694 h 5973007"/>
              <a:gd name="connsiteX61040" fmla="*/ 1589113 w 6884782"/>
              <a:gd name="connsiteY61040" fmla="*/ 1197371 h 5973007"/>
              <a:gd name="connsiteX61041" fmla="*/ 1590353 w 6884782"/>
              <a:gd name="connsiteY61041" fmla="*/ 1204186 h 5973007"/>
              <a:gd name="connsiteX61042" fmla="*/ 1589939 w 6884782"/>
              <a:gd name="connsiteY61042" fmla="*/ 1206665 h 5973007"/>
              <a:gd name="connsiteX61043" fmla="*/ 1590972 w 6884782"/>
              <a:gd name="connsiteY61043" fmla="*/ 1206510 h 5973007"/>
              <a:gd name="connsiteX61044" fmla="*/ 1589527 w 6884782"/>
              <a:gd name="connsiteY61044" fmla="*/ 1211156 h 5973007"/>
              <a:gd name="connsiteX61045" fmla="*/ 1589217 w 6884782"/>
              <a:gd name="connsiteY61045" fmla="*/ 1211156 h 5973007"/>
              <a:gd name="connsiteX61046" fmla="*/ 1588494 w 6884782"/>
              <a:gd name="connsiteY61046" fmla="*/ 1215494 h 5973007"/>
              <a:gd name="connsiteX61047" fmla="*/ 1584983 w 6884782"/>
              <a:gd name="connsiteY61047" fmla="*/ 1221845 h 5973007"/>
              <a:gd name="connsiteX61048" fmla="*/ 1580233 w 6884782"/>
              <a:gd name="connsiteY61048" fmla="*/ 1205580 h 5973007"/>
              <a:gd name="connsiteX61049" fmla="*/ 1563609 w 6884782"/>
              <a:gd name="connsiteY61049" fmla="*/ 1205116 h 5973007"/>
              <a:gd name="connsiteX61050" fmla="*/ 1576000 w 6884782"/>
              <a:gd name="connsiteY61050" fmla="*/ 1199385 h 5973007"/>
              <a:gd name="connsiteX61051" fmla="*/ 1578168 w 6884782"/>
              <a:gd name="connsiteY61051" fmla="*/ 1198765 h 5973007"/>
              <a:gd name="connsiteX61052" fmla="*/ 1579304 w 6884782"/>
              <a:gd name="connsiteY61052" fmla="*/ 1197371 h 5973007"/>
              <a:gd name="connsiteX61053" fmla="*/ 1582195 w 6884782"/>
              <a:gd name="connsiteY61053" fmla="*/ 1192414 h 5973007"/>
              <a:gd name="connsiteX61054" fmla="*/ 1581886 w 6884782"/>
              <a:gd name="connsiteY61054" fmla="*/ 1191949 h 5973007"/>
              <a:gd name="connsiteX61055" fmla="*/ 1581576 w 6884782"/>
              <a:gd name="connsiteY61055" fmla="*/ 1191949 h 5973007"/>
              <a:gd name="connsiteX61056" fmla="*/ 1581472 w 6884782"/>
              <a:gd name="connsiteY61056" fmla="*/ 1192104 h 5973007"/>
              <a:gd name="connsiteX61057" fmla="*/ 1580853 w 6884782"/>
              <a:gd name="connsiteY61057" fmla="*/ 1191949 h 5973007"/>
              <a:gd name="connsiteX61058" fmla="*/ 1580027 w 6884782"/>
              <a:gd name="connsiteY61058" fmla="*/ 1191949 h 5973007"/>
              <a:gd name="connsiteX61059" fmla="*/ 1579924 w 6884782"/>
              <a:gd name="connsiteY61059" fmla="*/ 1191795 h 5973007"/>
              <a:gd name="connsiteX61060" fmla="*/ 1578994 w 6884782"/>
              <a:gd name="connsiteY61060" fmla="*/ 1191640 h 5973007"/>
              <a:gd name="connsiteX61061" fmla="*/ 1576619 w 6884782"/>
              <a:gd name="connsiteY61061" fmla="*/ 1189936 h 5973007"/>
              <a:gd name="connsiteX61062" fmla="*/ 1572799 w 6884782"/>
              <a:gd name="connsiteY61062" fmla="*/ 1187457 h 5973007"/>
              <a:gd name="connsiteX61063" fmla="*/ 1562576 w 6884782"/>
              <a:gd name="connsiteY61063" fmla="*/ 1176924 h 5973007"/>
              <a:gd name="connsiteX61064" fmla="*/ 1376018 w 6884782"/>
              <a:gd name="connsiteY61064" fmla="*/ 1176847 h 5973007"/>
              <a:gd name="connsiteX61065" fmla="*/ 1380742 w 6884782"/>
              <a:gd name="connsiteY61065" fmla="*/ 1176924 h 5973007"/>
              <a:gd name="connsiteX61066" fmla="*/ 1385905 w 6884782"/>
              <a:gd name="connsiteY61066" fmla="*/ 1191485 h 5973007"/>
              <a:gd name="connsiteX61067" fmla="*/ 1385079 w 6884782"/>
              <a:gd name="connsiteY61067" fmla="*/ 1191485 h 5973007"/>
              <a:gd name="connsiteX61068" fmla="*/ 1387144 w 6884782"/>
              <a:gd name="connsiteY61068" fmla="*/ 1196287 h 5973007"/>
              <a:gd name="connsiteX61069" fmla="*/ 1386422 w 6884782"/>
              <a:gd name="connsiteY61069" fmla="*/ 1196906 h 5973007"/>
              <a:gd name="connsiteX61070" fmla="*/ 1386422 w 6884782"/>
              <a:gd name="connsiteY61070" fmla="*/ 1197216 h 5973007"/>
              <a:gd name="connsiteX61071" fmla="*/ 1389416 w 6884782"/>
              <a:gd name="connsiteY61071" fmla="*/ 1200004 h 5973007"/>
              <a:gd name="connsiteX61072" fmla="*/ 1389416 w 6884782"/>
              <a:gd name="connsiteY61072" fmla="*/ 1199539 h 5973007"/>
              <a:gd name="connsiteX61073" fmla="*/ 1396747 w 6884782"/>
              <a:gd name="connsiteY61073" fmla="*/ 1192724 h 5973007"/>
              <a:gd name="connsiteX61074" fmla="*/ 1396954 w 6884782"/>
              <a:gd name="connsiteY61074" fmla="*/ 1191949 h 5973007"/>
              <a:gd name="connsiteX61075" fmla="*/ 1395921 w 6884782"/>
              <a:gd name="connsiteY61075" fmla="*/ 1192259 h 5973007"/>
              <a:gd name="connsiteX61076" fmla="*/ 1394889 w 6884782"/>
              <a:gd name="connsiteY61076" fmla="*/ 1192569 h 5973007"/>
              <a:gd name="connsiteX61077" fmla="*/ 1393133 w 6884782"/>
              <a:gd name="connsiteY61077" fmla="*/ 1192104 h 5973007"/>
              <a:gd name="connsiteX61078" fmla="*/ 1389416 w 6884782"/>
              <a:gd name="connsiteY61078" fmla="*/ 1187612 h 5973007"/>
              <a:gd name="connsiteX61079" fmla="*/ 1402736 w 6884782"/>
              <a:gd name="connsiteY61079" fmla="*/ 1186838 h 5973007"/>
              <a:gd name="connsiteX61080" fmla="*/ 1405524 w 6884782"/>
              <a:gd name="connsiteY61080" fmla="*/ 1187612 h 5973007"/>
              <a:gd name="connsiteX61081" fmla="*/ 1407486 w 6884782"/>
              <a:gd name="connsiteY61081" fmla="*/ 1185754 h 5973007"/>
              <a:gd name="connsiteX61082" fmla="*/ 1410273 w 6884782"/>
              <a:gd name="connsiteY61082" fmla="*/ 1189006 h 5973007"/>
              <a:gd name="connsiteX61083" fmla="*/ 1408828 w 6884782"/>
              <a:gd name="connsiteY61083" fmla="*/ 1190865 h 5973007"/>
              <a:gd name="connsiteX61084" fmla="*/ 1410377 w 6884782"/>
              <a:gd name="connsiteY61084" fmla="*/ 1191330 h 5973007"/>
              <a:gd name="connsiteX61085" fmla="*/ 1407073 w 6884782"/>
              <a:gd name="connsiteY61085" fmla="*/ 1195047 h 5973007"/>
              <a:gd name="connsiteX61086" fmla="*/ 1406453 w 6884782"/>
              <a:gd name="connsiteY61086" fmla="*/ 1196906 h 5973007"/>
              <a:gd name="connsiteX61087" fmla="*/ 1405421 w 6884782"/>
              <a:gd name="connsiteY61087" fmla="*/ 1195357 h 5973007"/>
              <a:gd name="connsiteX61088" fmla="*/ 1407899 w 6884782"/>
              <a:gd name="connsiteY61088" fmla="*/ 1193344 h 5973007"/>
              <a:gd name="connsiteX61089" fmla="*/ 1406969 w 6884782"/>
              <a:gd name="connsiteY61089" fmla="*/ 1191795 h 5973007"/>
              <a:gd name="connsiteX61090" fmla="*/ 1407796 w 6884782"/>
              <a:gd name="connsiteY61090" fmla="*/ 1190865 h 5973007"/>
              <a:gd name="connsiteX61091" fmla="*/ 1408002 w 6884782"/>
              <a:gd name="connsiteY61091" fmla="*/ 1190710 h 5973007"/>
              <a:gd name="connsiteX61092" fmla="*/ 1407796 w 6884782"/>
              <a:gd name="connsiteY61092" fmla="*/ 1190555 h 5973007"/>
              <a:gd name="connsiteX61093" fmla="*/ 1407796 w 6884782"/>
              <a:gd name="connsiteY61093" fmla="*/ 1190865 h 5973007"/>
              <a:gd name="connsiteX61094" fmla="*/ 1399225 w 6884782"/>
              <a:gd name="connsiteY61094" fmla="*/ 1191485 h 5973007"/>
              <a:gd name="connsiteX61095" fmla="*/ 1398709 w 6884782"/>
              <a:gd name="connsiteY61095" fmla="*/ 1192414 h 5973007"/>
              <a:gd name="connsiteX61096" fmla="*/ 1399225 w 6884782"/>
              <a:gd name="connsiteY61096" fmla="*/ 1193034 h 5973007"/>
              <a:gd name="connsiteX61097" fmla="*/ 1401600 w 6884782"/>
              <a:gd name="connsiteY61097" fmla="*/ 1193344 h 5973007"/>
              <a:gd name="connsiteX61098" fmla="*/ 1406040 w 6884782"/>
              <a:gd name="connsiteY61098" fmla="*/ 1200159 h 5973007"/>
              <a:gd name="connsiteX61099" fmla="*/ 1401600 w 6884782"/>
              <a:gd name="connsiteY61099" fmla="*/ 1206200 h 5973007"/>
              <a:gd name="connsiteX61100" fmla="*/ 1400981 w 6884782"/>
              <a:gd name="connsiteY61100" fmla="*/ 1206510 h 5973007"/>
              <a:gd name="connsiteX61101" fmla="*/ 1400464 w 6884782"/>
              <a:gd name="connsiteY61101" fmla="*/ 1207439 h 5973007"/>
              <a:gd name="connsiteX61102" fmla="*/ 1398606 w 6884782"/>
              <a:gd name="connsiteY61102" fmla="*/ 1210692 h 5973007"/>
              <a:gd name="connsiteX61103" fmla="*/ 1397676 w 6884782"/>
              <a:gd name="connsiteY61103" fmla="*/ 1210847 h 5973007"/>
              <a:gd name="connsiteX61104" fmla="*/ 1396747 w 6884782"/>
              <a:gd name="connsiteY61104" fmla="*/ 1208988 h 5973007"/>
              <a:gd name="connsiteX61105" fmla="*/ 1397263 w 6884782"/>
              <a:gd name="connsiteY61105" fmla="*/ 1207749 h 5973007"/>
              <a:gd name="connsiteX61106" fmla="*/ 1393959 w 6884782"/>
              <a:gd name="connsiteY61106" fmla="*/ 1208058 h 5973007"/>
              <a:gd name="connsiteX61107" fmla="*/ 1391068 w 6884782"/>
              <a:gd name="connsiteY61107" fmla="*/ 1205425 h 5973007"/>
              <a:gd name="connsiteX61108" fmla="*/ 1390242 w 6884782"/>
              <a:gd name="connsiteY61108" fmla="*/ 1204032 h 5973007"/>
              <a:gd name="connsiteX61109" fmla="*/ 1390345 w 6884782"/>
              <a:gd name="connsiteY61109" fmla="*/ 1206045 h 5973007"/>
              <a:gd name="connsiteX61110" fmla="*/ 1387454 w 6884782"/>
              <a:gd name="connsiteY61110" fmla="*/ 1208988 h 5973007"/>
              <a:gd name="connsiteX61111" fmla="*/ 1372895 w 6884782"/>
              <a:gd name="connsiteY61111" fmla="*/ 1201089 h 5973007"/>
              <a:gd name="connsiteX61112" fmla="*/ 1372689 w 6884782"/>
              <a:gd name="connsiteY61112" fmla="*/ 1200004 h 5973007"/>
              <a:gd name="connsiteX61113" fmla="*/ 1371759 w 6884782"/>
              <a:gd name="connsiteY61113" fmla="*/ 1199229 h 5973007"/>
              <a:gd name="connsiteX61114" fmla="*/ 1371553 w 6884782"/>
              <a:gd name="connsiteY61114" fmla="*/ 1199385 h 5973007"/>
              <a:gd name="connsiteX61115" fmla="*/ 1370624 w 6884782"/>
              <a:gd name="connsiteY61115" fmla="*/ 1199539 h 5973007"/>
              <a:gd name="connsiteX61116" fmla="*/ 1367629 w 6884782"/>
              <a:gd name="connsiteY61116" fmla="*/ 1197835 h 5973007"/>
              <a:gd name="connsiteX61117" fmla="*/ 1367216 w 6884782"/>
              <a:gd name="connsiteY61117" fmla="*/ 1196906 h 5973007"/>
              <a:gd name="connsiteX61118" fmla="*/ 1367835 w 6884782"/>
              <a:gd name="connsiteY61118" fmla="*/ 1195667 h 5973007"/>
              <a:gd name="connsiteX61119" fmla="*/ 1372069 w 6884782"/>
              <a:gd name="connsiteY61119" fmla="*/ 1192569 h 5973007"/>
              <a:gd name="connsiteX61120" fmla="*/ 1372069 w 6884782"/>
              <a:gd name="connsiteY61120" fmla="*/ 1177234 h 5973007"/>
              <a:gd name="connsiteX61121" fmla="*/ 1376018 w 6884782"/>
              <a:gd name="connsiteY61121" fmla="*/ 1176847 h 5973007"/>
              <a:gd name="connsiteX61122" fmla="*/ 4339891 w 6884782"/>
              <a:gd name="connsiteY61122" fmla="*/ 1176706 h 5973007"/>
              <a:gd name="connsiteX61123" fmla="*/ 4344799 w 6884782"/>
              <a:gd name="connsiteY61123" fmla="*/ 1177417 h 5973007"/>
              <a:gd name="connsiteX61124" fmla="*/ 4348427 w 6884782"/>
              <a:gd name="connsiteY61124" fmla="*/ 1185669 h 5973007"/>
              <a:gd name="connsiteX61125" fmla="*/ 4333701 w 6884782"/>
              <a:gd name="connsiteY61125" fmla="*/ 1184958 h 5973007"/>
              <a:gd name="connsiteX61126" fmla="*/ 4339891 w 6884782"/>
              <a:gd name="connsiteY61126" fmla="*/ 1176706 h 5973007"/>
              <a:gd name="connsiteX61127" fmla="*/ 1608526 w 6884782"/>
              <a:gd name="connsiteY61127" fmla="*/ 1176305 h 5973007"/>
              <a:gd name="connsiteX61128" fmla="*/ 1613482 w 6884782"/>
              <a:gd name="connsiteY61128" fmla="*/ 1191795 h 5973007"/>
              <a:gd name="connsiteX61129" fmla="*/ 1613482 w 6884782"/>
              <a:gd name="connsiteY61129" fmla="*/ 1193808 h 5973007"/>
              <a:gd name="connsiteX61130" fmla="*/ 1611107 w 6884782"/>
              <a:gd name="connsiteY61130" fmla="*/ 1194583 h 5973007"/>
              <a:gd name="connsiteX61131" fmla="*/ 1605428 w 6884782"/>
              <a:gd name="connsiteY61131" fmla="*/ 1183121 h 5973007"/>
              <a:gd name="connsiteX61132" fmla="*/ 1605428 w 6884782"/>
              <a:gd name="connsiteY61132" fmla="*/ 1181261 h 5973007"/>
              <a:gd name="connsiteX61133" fmla="*/ 1608526 w 6884782"/>
              <a:gd name="connsiteY61133" fmla="*/ 1176305 h 5973007"/>
              <a:gd name="connsiteX61134" fmla="*/ 3581610 w 6884782"/>
              <a:gd name="connsiteY61134" fmla="*/ 1174572 h 5973007"/>
              <a:gd name="connsiteX61135" fmla="*/ 3580543 w 6884782"/>
              <a:gd name="connsiteY61135" fmla="*/ 1181685 h 5973007"/>
              <a:gd name="connsiteX61136" fmla="*/ 3581610 w 6884782"/>
              <a:gd name="connsiteY61136" fmla="*/ 1174572 h 5973007"/>
              <a:gd name="connsiteX61137" fmla="*/ 4826915 w 6884782"/>
              <a:gd name="connsiteY61137" fmla="*/ 1174003 h 5973007"/>
              <a:gd name="connsiteX61138" fmla="*/ 4830969 w 6884782"/>
              <a:gd name="connsiteY61138" fmla="*/ 1174003 h 5973007"/>
              <a:gd name="connsiteX61139" fmla="*/ 4835451 w 6884782"/>
              <a:gd name="connsiteY61139" fmla="*/ 1178271 h 5973007"/>
              <a:gd name="connsiteX61140" fmla="*/ 4823073 w 6884782"/>
              <a:gd name="connsiteY61140" fmla="*/ 1190648 h 5973007"/>
              <a:gd name="connsiteX61141" fmla="*/ 4818804 w 6884782"/>
              <a:gd name="connsiteY61141" fmla="*/ 1183393 h 5973007"/>
              <a:gd name="connsiteX61142" fmla="*/ 4826915 w 6884782"/>
              <a:gd name="connsiteY61142" fmla="*/ 1174003 h 5973007"/>
              <a:gd name="connsiteX61143" fmla="*/ 1513220 w 6884782"/>
              <a:gd name="connsiteY61143" fmla="*/ 1173981 h 5973007"/>
              <a:gd name="connsiteX61144" fmla="*/ 1513530 w 6884782"/>
              <a:gd name="connsiteY61144" fmla="*/ 1174756 h 5973007"/>
              <a:gd name="connsiteX61145" fmla="*/ 1513943 w 6884782"/>
              <a:gd name="connsiteY61145" fmla="*/ 1174756 h 5973007"/>
              <a:gd name="connsiteX61146" fmla="*/ 5647727 w 6884782"/>
              <a:gd name="connsiteY61146" fmla="*/ 1173291 h 5973007"/>
              <a:gd name="connsiteX61147" fmla="*/ 5649434 w 6884782"/>
              <a:gd name="connsiteY61147" fmla="*/ 1174714 h 5973007"/>
              <a:gd name="connsiteX61148" fmla="*/ 5650715 w 6884782"/>
              <a:gd name="connsiteY61148" fmla="*/ 1175995 h 5973007"/>
              <a:gd name="connsiteX61149" fmla="*/ 5650501 w 6884782"/>
              <a:gd name="connsiteY61149" fmla="*/ 1177133 h 5973007"/>
              <a:gd name="connsiteX61150" fmla="*/ 5645806 w 6884782"/>
              <a:gd name="connsiteY61150" fmla="*/ 1178129 h 5973007"/>
              <a:gd name="connsiteX61151" fmla="*/ 5646020 w 6884782"/>
              <a:gd name="connsiteY61151" fmla="*/ 1175852 h 5973007"/>
              <a:gd name="connsiteX61152" fmla="*/ 5644952 w 6884782"/>
              <a:gd name="connsiteY61152" fmla="*/ 1175852 h 5973007"/>
              <a:gd name="connsiteX61153" fmla="*/ 5646446 w 6884782"/>
              <a:gd name="connsiteY61153" fmla="*/ 1173576 h 5973007"/>
              <a:gd name="connsiteX61154" fmla="*/ 5647300 w 6884782"/>
              <a:gd name="connsiteY61154" fmla="*/ 1173576 h 5973007"/>
              <a:gd name="connsiteX61155" fmla="*/ 5647727 w 6884782"/>
              <a:gd name="connsiteY61155" fmla="*/ 1173291 h 5973007"/>
              <a:gd name="connsiteX61156" fmla="*/ 5151526 w 6884782"/>
              <a:gd name="connsiteY61156" fmla="*/ 1173149 h 5973007"/>
              <a:gd name="connsiteX61157" fmla="*/ 5161983 w 6884782"/>
              <a:gd name="connsiteY61157" fmla="*/ 1176706 h 5973007"/>
              <a:gd name="connsiteX61158" fmla="*/ 5164118 w 6884782"/>
              <a:gd name="connsiteY61158" fmla="*/ 1177844 h 5973007"/>
              <a:gd name="connsiteX61159" fmla="*/ 5166465 w 6884782"/>
              <a:gd name="connsiteY61159" fmla="*/ 1179125 h 5973007"/>
              <a:gd name="connsiteX61160" fmla="*/ 5167532 w 6884782"/>
              <a:gd name="connsiteY61160" fmla="*/ 1181116 h 5973007"/>
              <a:gd name="connsiteX61161" fmla="*/ 5167106 w 6884782"/>
              <a:gd name="connsiteY61161" fmla="*/ 1183962 h 5973007"/>
              <a:gd name="connsiteX61162" fmla="*/ 5146831 w 6884782"/>
              <a:gd name="connsiteY61162" fmla="*/ 1176421 h 5973007"/>
              <a:gd name="connsiteX61163" fmla="*/ 5148325 w 6884782"/>
              <a:gd name="connsiteY61163" fmla="*/ 1174003 h 5973007"/>
              <a:gd name="connsiteX61164" fmla="*/ 5151526 w 6884782"/>
              <a:gd name="connsiteY61164" fmla="*/ 1173149 h 5973007"/>
              <a:gd name="connsiteX61165" fmla="*/ 1649209 w 6884782"/>
              <a:gd name="connsiteY61165" fmla="*/ 1173052 h 5973007"/>
              <a:gd name="connsiteX61166" fmla="*/ 1657159 w 6884782"/>
              <a:gd name="connsiteY61166" fmla="*/ 1175995 h 5973007"/>
              <a:gd name="connsiteX61167" fmla="*/ 1658192 w 6884782"/>
              <a:gd name="connsiteY61167" fmla="*/ 1180952 h 5973007"/>
              <a:gd name="connsiteX61168" fmla="*/ 1658915 w 6884782"/>
              <a:gd name="connsiteY61168" fmla="*/ 1181107 h 5973007"/>
              <a:gd name="connsiteX61169" fmla="*/ 1664077 w 6884782"/>
              <a:gd name="connsiteY61169" fmla="*/ 1187148 h 5973007"/>
              <a:gd name="connsiteX61170" fmla="*/ 1650758 w 6884782"/>
              <a:gd name="connsiteY61170" fmla="*/ 1191949 h 5973007"/>
              <a:gd name="connsiteX61171" fmla="*/ 1647660 w 6884782"/>
              <a:gd name="connsiteY61171" fmla="*/ 1193188 h 5973007"/>
              <a:gd name="connsiteX61172" fmla="*/ 1650758 w 6884782"/>
              <a:gd name="connsiteY61172" fmla="*/ 1194583 h 5973007"/>
              <a:gd name="connsiteX61173" fmla="*/ 1640122 w 6884782"/>
              <a:gd name="connsiteY61173" fmla="*/ 1199694 h 5973007"/>
              <a:gd name="connsiteX61174" fmla="*/ 1640948 w 6884782"/>
              <a:gd name="connsiteY61174" fmla="*/ 1196596 h 5973007"/>
              <a:gd name="connsiteX61175" fmla="*/ 1642187 w 6884782"/>
              <a:gd name="connsiteY61175" fmla="*/ 1194118 h 5973007"/>
              <a:gd name="connsiteX61176" fmla="*/ 1638780 w 6884782"/>
              <a:gd name="connsiteY61176" fmla="*/ 1193963 h 5973007"/>
              <a:gd name="connsiteX61177" fmla="*/ 1642600 w 6884782"/>
              <a:gd name="connsiteY61177" fmla="*/ 1190555 h 5973007"/>
              <a:gd name="connsiteX61178" fmla="*/ 1643116 w 6884782"/>
              <a:gd name="connsiteY61178" fmla="*/ 1189936 h 5973007"/>
              <a:gd name="connsiteX61179" fmla="*/ 1642187 w 6884782"/>
              <a:gd name="connsiteY61179" fmla="*/ 1187767 h 5973007"/>
              <a:gd name="connsiteX61180" fmla="*/ 1643116 w 6884782"/>
              <a:gd name="connsiteY61180" fmla="*/ 1184050 h 5973007"/>
              <a:gd name="connsiteX61181" fmla="*/ 1636714 w 6884782"/>
              <a:gd name="connsiteY61181" fmla="*/ 1186218 h 5973007"/>
              <a:gd name="connsiteX61182" fmla="*/ 1622259 w 6884782"/>
              <a:gd name="connsiteY61182" fmla="*/ 1184979 h 5973007"/>
              <a:gd name="connsiteX61183" fmla="*/ 1621020 w 6884782"/>
              <a:gd name="connsiteY61183" fmla="*/ 1181417 h 5973007"/>
              <a:gd name="connsiteX61184" fmla="*/ 1626699 w 6884782"/>
              <a:gd name="connsiteY61184" fmla="*/ 1174756 h 5973007"/>
              <a:gd name="connsiteX61185" fmla="*/ 1645492 w 6884782"/>
              <a:gd name="connsiteY61185" fmla="*/ 1177544 h 5973007"/>
              <a:gd name="connsiteX61186" fmla="*/ 1645595 w 6884782"/>
              <a:gd name="connsiteY61186" fmla="*/ 1177544 h 5973007"/>
              <a:gd name="connsiteX61187" fmla="*/ 995700 w 6884782"/>
              <a:gd name="connsiteY61187" fmla="*/ 1172123 h 5973007"/>
              <a:gd name="connsiteX61188" fmla="*/ 1000450 w 6884782"/>
              <a:gd name="connsiteY61188" fmla="*/ 1172897 h 5973007"/>
              <a:gd name="connsiteX61189" fmla="*/ 1001379 w 6884782"/>
              <a:gd name="connsiteY61189" fmla="*/ 1174911 h 5973007"/>
              <a:gd name="connsiteX61190" fmla="*/ 1000966 w 6884782"/>
              <a:gd name="connsiteY61190" fmla="*/ 1175531 h 5973007"/>
              <a:gd name="connsiteX61191" fmla="*/ 999211 w 6884782"/>
              <a:gd name="connsiteY61191" fmla="*/ 1178319 h 5973007"/>
              <a:gd name="connsiteX61192" fmla="*/ 994668 w 6884782"/>
              <a:gd name="connsiteY61192" fmla="*/ 1177234 h 5973007"/>
              <a:gd name="connsiteX61193" fmla="*/ 994461 w 6884782"/>
              <a:gd name="connsiteY61193" fmla="*/ 1173981 h 5973007"/>
              <a:gd name="connsiteX61194" fmla="*/ 995700 w 6884782"/>
              <a:gd name="connsiteY61194" fmla="*/ 1172123 h 5973007"/>
              <a:gd name="connsiteX61195" fmla="*/ 3949759 w 6884782"/>
              <a:gd name="connsiteY61195" fmla="*/ 1171727 h 5973007"/>
              <a:gd name="connsiteX61196" fmla="*/ 3955949 w 6884782"/>
              <a:gd name="connsiteY61196" fmla="*/ 1174003 h 5973007"/>
              <a:gd name="connsiteX61197" fmla="*/ 3958723 w 6884782"/>
              <a:gd name="connsiteY61197" fmla="*/ 1178982 h 5973007"/>
              <a:gd name="connsiteX61198" fmla="*/ 3958723 w 6884782"/>
              <a:gd name="connsiteY61198" fmla="*/ 1181401 h 5973007"/>
              <a:gd name="connsiteX61199" fmla="*/ 3957016 w 6884782"/>
              <a:gd name="connsiteY61199" fmla="*/ 1182397 h 5973007"/>
              <a:gd name="connsiteX61200" fmla="*/ 3957656 w 6884782"/>
              <a:gd name="connsiteY61200" fmla="*/ 1183108 h 5973007"/>
              <a:gd name="connsiteX61201" fmla="*/ 3958083 w 6884782"/>
              <a:gd name="connsiteY61201" fmla="*/ 1186807 h 5973007"/>
              <a:gd name="connsiteX61202" fmla="*/ 3952534 w 6884782"/>
              <a:gd name="connsiteY61202" fmla="*/ 1188514 h 5973007"/>
              <a:gd name="connsiteX61203" fmla="*/ 3950826 w 6884782"/>
              <a:gd name="connsiteY61203" fmla="*/ 1186096 h 5973007"/>
              <a:gd name="connsiteX61204" fmla="*/ 3951253 w 6884782"/>
              <a:gd name="connsiteY61204" fmla="*/ 1183962 h 5973007"/>
              <a:gd name="connsiteX61205" fmla="*/ 3948479 w 6884782"/>
              <a:gd name="connsiteY61205" fmla="*/ 1183250 h 5973007"/>
              <a:gd name="connsiteX61206" fmla="*/ 3944637 w 6884782"/>
              <a:gd name="connsiteY61206" fmla="*/ 1173434 h 5973007"/>
              <a:gd name="connsiteX61207" fmla="*/ 3946985 w 6884782"/>
              <a:gd name="connsiteY61207" fmla="*/ 1172438 h 5973007"/>
              <a:gd name="connsiteX61208" fmla="*/ 3949759 w 6884782"/>
              <a:gd name="connsiteY61208" fmla="*/ 1171727 h 5973007"/>
              <a:gd name="connsiteX61209" fmla="*/ 1130514 w 6884782"/>
              <a:gd name="connsiteY61209" fmla="*/ 1171600 h 5973007"/>
              <a:gd name="connsiteX61210" fmla="*/ 1128900 w 6884782"/>
              <a:gd name="connsiteY61210" fmla="*/ 1177699 h 5973007"/>
              <a:gd name="connsiteX61211" fmla="*/ 1123841 w 6884782"/>
              <a:gd name="connsiteY61211" fmla="*/ 1172123 h 5973007"/>
              <a:gd name="connsiteX61212" fmla="*/ 1130514 w 6884782"/>
              <a:gd name="connsiteY61212" fmla="*/ 1171600 h 5973007"/>
              <a:gd name="connsiteX61213" fmla="*/ 4946003 w 6884782"/>
              <a:gd name="connsiteY61213" fmla="*/ 1171015 h 5973007"/>
              <a:gd name="connsiteX61214" fmla="*/ 4954539 w 6884782"/>
              <a:gd name="connsiteY61214" fmla="*/ 1176421 h 5973007"/>
              <a:gd name="connsiteX61215" fmla="*/ 4954112 w 6884782"/>
              <a:gd name="connsiteY61215" fmla="*/ 1189510 h 5973007"/>
              <a:gd name="connsiteX61216" fmla="*/ 4948137 w 6884782"/>
              <a:gd name="connsiteY61216" fmla="*/ 1191075 h 5973007"/>
              <a:gd name="connsiteX61217" fmla="*/ 4947710 w 6884782"/>
              <a:gd name="connsiteY61217" fmla="*/ 1190648 h 5973007"/>
              <a:gd name="connsiteX61218" fmla="*/ 4935972 w 6884782"/>
              <a:gd name="connsiteY61218" fmla="*/ 1184673 h 5973007"/>
              <a:gd name="connsiteX61219" fmla="*/ 4934478 w 6884782"/>
              <a:gd name="connsiteY61219" fmla="*/ 1177417 h 5973007"/>
              <a:gd name="connsiteX61220" fmla="*/ 4938106 w 6884782"/>
              <a:gd name="connsiteY61220" fmla="*/ 1176279 h 5973007"/>
              <a:gd name="connsiteX61221" fmla="*/ 4943228 w 6884782"/>
              <a:gd name="connsiteY61221" fmla="*/ 1179267 h 5973007"/>
              <a:gd name="connsiteX61222" fmla="*/ 4943228 w 6884782"/>
              <a:gd name="connsiteY61222" fmla="*/ 1176706 h 5973007"/>
              <a:gd name="connsiteX61223" fmla="*/ 4946003 w 6884782"/>
              <a:gd name="connsiteY61223" fmla="*/ 1171015 h 5973007"/>
              <a:gd name="connsiteX61224" fmla="*/ 3486852 w 6884782"/>
              <a:gd name="connsiteY61224" fmla="*/ 1170446 h 5973007"/>
              <a:gd name="connsiteX61225" fmla="*/ 3488773 w 6884782"/>
              <a:gd name="connsiteY61225" fmla="*/ 1172154 h 5973007"/>
              <a:gd name="connsiteX61226" fmla="*/ 3491120 w 6884782"/>
              <a:gd name="connsiteY61226" fmla="*/ 1172580 h 5973007"/>
              <a:gd name="connsiteX61227" fmla="*/ 3496669 w 6884782"/>
              <a:gd name="connsiteY61227" fmla="*/ 1175852 h 5973007"/>
              <a:gd name="connsiteX61228" fmla="*/ 3499017 w 6884782"/>
              <a:gd name="connsiteY61228" fmla="*/ 1178982 h 5973007"/>
              <a:gd name="connsiteX61229" fmla="*/ 3502218 w 6884782"/>
              <a:gd name="connsiteY61229" fmla="*/ 1180690 h 5973007"/>
              <a:gd name="connsiteX61230" fmla="*/ 3507127 w 6884782"/>
              <a:gd name="connsiteY61230" fmla="*/ 1183108 h 5973007"/>
              <a:gd name="connsiteX61231" fmla="*/ 3508407 w 6884782"/>
              <a:gd name="connsiteY61231" fmla="*/ 1181685 h 5973007"/>
              <a:gd name="connsiteX61232" fmla="*/ 3511608 w 6884782"/>
              <a:gd name="connsiteY61232" fmla="*/ 1179551 h 5973007"/>
              <a:gd name="connsiteX61233" fmla="*/ 3509047 w 6884782"/>
              <a:gd name="connsiteY61233" fmla="*/ 1181970 h 5973007"/>
              <a:gd name="connsiteX61234" fmla="*/ 3508834 w 6884782"/>
              <a:gd name="connsiteY61234" fmla="*/ 1183962 h 5973007"/>
              <a:gd name="connsiteX61235" fmla="*/ 3509688 w 6884782"/>
              <a:gd name="connsiteY61235" fmla="*/ 1184388 h 5973007"/>
              <a:gd name="connsiteX61236" fmla="*/ 3516303 w 6884782"/>
              <a:gd name="connsiteY61236" fmla="*/ 1189083 h 5973007"/>
              <a:gd name="connsiteX61237" fmla="*/ 3506060 w 6884782"/>
              <a:gd name="connsiteY61237" fmla="*/ 1191644 h 5973007"/>
              <a:gd name="connsiteX61238" fmla="*/ 3505206 w 6884782"/>
              <a:gd name="connsiteY61238" fmla="*/ 1191644 h 5973007"/>
              <a:gd name="connsiteX61239" fmla="*/ 3505420 w 6884782"/>
              <a:gd name="connsiteY61239" fmla="*/ 1192924 h 5973007"/>
              <a:gd name="connsiteX61240" fmla="*/ 3501578 w 6884782"/>
              <a:gd name="connsiteY61240" fmla="*/ 1191787 h 5973007"/>
              <a:gd name="connsiteX61241" fmla="*/ 3494961 w 6884782"/>
              <a:gd name="connsiteY61241" fmla="*/ 1192214 h 5973007"/>
              <a:gd name="connsiteX61242" fmla="*/ 3479169 w 6884782"/>
              <a:gd name="connsiteY61242" fmla="*/ 1176848 h 5973007"/>
              <a:gd name="connsiteX61243" fmla="*/ 3484931 w 6884782"/>
              <a:gd name="connsiteY61243" fmla="*/ 1172011 h 5973007"/>
              <a:gd name="connsiteX61244" fmla="*/ 3484718 w 6884782"/>
              <a:gd name="connsiteY61244" fmla="*/ 1171157 h 5973007"/>
              <a:gd name="connsiteX61245" fmla="*/ 3485785 w 6884782"/>
              <a:gd name="connsiteY61245" fmla="*/ 1171442 h 5973007"/>
              <a:gd name="connsiteX61246" fmla="*/ 4790633 w 6884782"/>
              <a:gd name="connsiteY61246" fmla="*/ 1170019 h 5973007"/>
              <a:gd name="connsiteX61247" fmla="*/ 4792127 w 6884782"/>
              <a:gd name="connsiteY61247" fmla="*/ 1178413 h 5973007"/>
              <a:gd name="connsiteX61248" fmla="*/ 4791487 w 6884782"/>
              <a:gd name="connsiteY61248" fmla="*/ 1174999 h 5973007"/>
              <a:gd name="connsiteX61249" fmla="*/ 4789566 w 6884782"/>
              <a:gd name="connsiteY61249" fmla="*/ 1173861 h 5973007"/>
              <a:gd name="connsiteX61250" fmla="*/ 4790633 w 6884782"/>
              <a:gd name="connsiteY61250" fmla="*/ 1170019 h 5973007"/>
              <a:gd name="connsiteX61251" fmla="*/ 4761394 w 6884782"/>
              <a:gd name="connsiteY61251" fmla="*/ 1170019 h 5973007"/>
              <a:gd name="connsiteX61252" fmla="*/ 4764169 w 6884782"/>
              <a:gd name="connsiteY61252" fmla="*/ 1175426 h 5973007"/>
              <a:gd name="connsiteX61253" fmla="*/ 4758620 w 6884782"/>
              <a:gd name="connsiteY61253" fmla="*/ 1195343 h 5973007"/>
              <a:gd name="connsiteX61254" fmla="*/ 4747949 w 6884782"/>
              <a:gd name="connsiteY61254" fmla="*/ 1192356 h 5973007"/>
              <a:gd name="connsiteX61255" fmla="*/ 4761394 w 6884782"/>
              <a:gd name="connsiteY61255" fmla="*/ 1170019 h 5973007"/>
              <a:gd name="connsiteX61256" fmla="*/ 1065192 w 6884782"/>
              <a:gd name="connsiteY61256" fmla="*/ 1169954 h 5973007"/>
              <a:gd name="connsiteX61257" fmla="*/ 1066740 w 6884782"/>
              <a:gd name="connsiteY61257" fmla="*/ 1171503 h 5973007"/>
              <a:gd name="connsiteX61258" fmla="*/ 1060235 w 6884782"/>
              <a:gd name="connsiteY61258" fmla="*/ 1180022 h 5973007"/>
              <a:gd name="connsiteX61259" fmla="*/ 1057860 w 6884782"/>
              <a:gd name="connsiteY61259" fmla="*/ 1180332 h 5973007"/>
              <a:gd name="connsiteX61260" fmla="*/ 1056208 w 6884782"/>
              <a:gd name="connsiteY61260" fmla="*/ 1181261 h 5973007"/>
              <a:gd name="connsiteX61261" fmla="*/ 1050426 w 6884782"/>
              <a:gd name="connsiteY61261" fmla="*/ 1180487 h 5973007"/>
              <a:gd name="connsiteX61262" fmla="*/ 1063333 w 6884782"/>
              <a:gd name="connsiteY61262" fmla="*/ 1170264 h 5973007"/>
              <a:gd name="connsiteX61263" fmla="*/ 1065192 w 6884782"/>
              <a:gd name="connsiteY61263" fmla="*/ 1169954 h 5973007"/>
              <a:gd name="connsiteX61264" fmla="*/ 1503721 w 6884782"/>
              <a:gd name="connsiteY61264" fmla="*/ 1168599 h 5973007"/>
              <a:gd name="connsiteX61265" fmla="*/ 1508367 w 6884782"/>
              <a:gd name="connsiteY61265" fmla="*/ 1169180 h 5973007"/>
              <a:gd name="connsiteX61266" fmla="*/ 1510123 w 6884782"/>
              <a:gd name="connsiteY61266" fmla="*/ 1170884 h 5973007"/>
              <a:gd name="connsiteX61267" fmla="*/ 1510432 w 6884782"/>
              <a:gd name="connsiteY61267" fmla="*/ 1168870 h 5973007"/>
              <a:gd name="connsiteX61268" fmla="*/ 1526334 w 6884782"/>
              <a:gd name="connsiteY61268" fmla="*/ 1174446 h 5973007"/>
              <a:gd name="connsiteX61269" fmla="*/ 1527573 w 6884782"/>
              <a:gd name="connsiteY61269" fmla="*/ 1175840 h 5973007"/>
              <a:gd name="connsiteX61270" fmla="*/ 1526850 w 6884782"/>
              <a:gd name="connsiteY61270" fmla="*/ 1177854 h 5973007"/>
              <a:gd name="connsiteX61271" fmla="*/ 1524062 w 6884782"/>
              <a:gd name="connsiteY61271" fmla="*/ 1178783 h 5973007"/>
              <a:gd name="connsiteX61272" fmla="*/ 1524372 w 6884782"/>
              <a:gd name="connsiteY61272" fmla="*/ 1179403 h 5973007"/>
              <a:gd name="connsiteX61273" fmla="*/ 1524681 w 6884782"/>
              <a:gd name="connsiteY61273" fmla="*/ 1179403 h 5973007"/>
              <a:gd name="connsiteX61274" fmla="*/ 1532013 w 6884782"/>
              <a:gd name="connsiteY61274" fmla="*/ 1182501 h 5973007"/>
              <a:gd name="connsiteX61275" fmla="*/ 1533665 w 6884782"/>
              <a:gd name="connsiteY61275" fmla="*/ 1183275 h 5973007"/>
              <a:gd name="connsiteX61276" fmla="*/ 1533562 w 6884782"/>
              <a:gd name="connsiteY61276" fmla="*/ 1185754 h 5973007"/>
              <a:gd name="connsiteX61277" fmla="*/ 1527160 w 6884782"/>
              <a:gd name="connsiteY61277" fmla="*/ 1185599 h 5973007"/>
              <a:gd name="connsiteX61278" fmla="*/ 1526850 w 6884782"/>
              <a:gd name="connsiteY61278" fmla="*/ 1190710 h 5973007"/>
              <a:gd name="connsiteX61279" fmla="*/ 1511362 w 6884782"/>
              <a:gd name="connsiteY61279" fmla="*/ 1185444 h 5973007"/>
              <a:gd name="connsiteX61280" fmla="*/ 1510948 w 6884782"/>
              <a:gd name="connsiteY61280" fmla="*/ 1184979 h 5973007"/>
              <a:gd name="connsiteX61281" fmla="*/ 1510845 w 6884782"/>
              <a:gd name="connsiteY61281" fmla="*/ 1185444 h 5973007"/>
              <a:gd name="connsiteX61282" fmla="*/ 1512704 w 6884782"/>
              <a:gd name="connsiteY61282" fmla="*/ 1189161 h 5973007"/>
              <a:gd name="connsiteX61283" fmla="*/ 1499900 w 6884782"/>
              <a:gd name="connsiteY61283" fmla="*/ 1191175 h 5973007"/>
              <a:gd name="connsiteX61284" fmla="*/ 1498041 w 6884782"/>
              <a:gd name="connsiteY61284" fmla="*/ 1190710 h 5973007"/>
              <a:gd name="connsiteX61285" fmla="*/ 1498041 w 6884782"/>
              <a:gd name="connsiteY61285" fmla="*/ 1191640 h 5973007"/>
              <a:gd name="connsiteX61286" fmla="*/ 1497215 w 6884782"/>
              <a:gd name="connsiteY61286" fmla="*/ 1190710 h 5973007"/>
              <a:gd name="connsiteX61287" fmla="*/ 1497009 w 6884782"/>
              <a:gd name="connsiteY61287" fmla="*/ 1190710 h 5973007"/>
              <a:gd name="connsiteX61288" fmla="*/ 1496079 w 6884782"/>
              <a:gd name="connsiteY61288" fmla="*/ 1190865 h 5973007"/>
              <a:gd name="connsiteX61289" fmla="*/ 1493292 w 6884782"/>
              <a:gd name="connsiteY61289" fmla="*/ 1188852 h 5973007"/>
              <a:gd name="connsiteX61290" fmla="*/ 1492982 w 6884782"/>
              <a:gd name="connsiteY61290" fmla="*/ 1187922 h 5973007"/>
              <a:gd name="connsiteX61291" fmla="*/ 1493705 w 6884782"/>
              <a:gd name="connsiteY61291" fmla="*/ 1186683 h 5973007"/>
              <a:gd name="connsiteX61292" fmla="*/ 1498145 w 6884782"/>
              <a:gd name="connsiteY61292" fmla="*/ 1184050 h 5973007"/>
              <a:gd name="connsiteX61293" fmla="*/ 1499694 w 6884782"/>
              <a:gd name="connsiteY61293" fmla="*/ 1168715 h 5973007"/>
              <a:gd name="connsiteX61294" fmla="*/ 1503721 w 6884782"/>
              <a:gd name="connsiteY61294" fmla="*/ 1168599 h 5973007"/>
              <a:gd name="connsiteX61295" fmla="*/ 4979296 w 6884782"/>
              <a:gd name="connsiteY61295" fmla="*/ 1168455 h 5973007"/>
              <a:gd name="connsiteX61296" fmla="*/ 4991034 w 6884782"/>
              <a:gd name="connsiteY61296" fmla="*/ 1176137 h 5973007"/>
              <a:gd name="connsiteX61297" fmla="*/ 4975881 w 6884782"/>
              <a:gd name="connsiteY61297" fmla="*/ 1168881 h 5973007"/>
              <a:gd name="connsiteX61298" fmla="*/ 4979296 w 6884782"/>
              <a:gd name="connsiteY61298" fmla="*/ 1168455 h 5973007"/>
              <a:gd name="connsiteX61299" fmla="*/ 4244065 w 6884782"/>
              <a:gd name="connsiteY61299" fmla="*/ 1168170 h 5973007"/>
              <a:gd name="connsiteX61300" fmla="*/ 4250681 w 6884782"/>
              <a:gd name="connsiteY61300" fmla="*/ 1170162 h 5973007"/>
              <a:gd name="connsiteX61301" fmla="*/ 4242144 w 6884782"/>
              <a:gd name="connsiteY61301" fmla="*/ 1185242 h 5973007"/>
              <a:gd name="connsiteX61302" fmla="*/ 4244065 w 6884782"/>
              <a:gd name="connsiteY61302" fmla="*/ 1168170 h 5973007"/>
              <a:gd name="connsiteX61303" fmla="*/ 4718924 w 6884782"/>
              <a:gd name="connsiteY61303" fmla="*/ 1167601 h 5973007"/>
              <a:gd name="connsiteX61304" fmla="*/ 4723193 w 6884782"/>
              <a:gd name="connsiteY61304" fmla="*/ 1181828 h 5973007"/>
              <a:gd name="connsiteX61305" fmla="*/ 4714869 w 6884782"/>
              <a:gd name="connsiteY61305" fmla="*/ 1179978 h 5973007"/>
              <a:gd name="connsiteX61306" fmla="*/ 4713375 w 6884782"/>
              <a:gd name="connsiteY61306" fmla="*/ 1176421 h 5973007"/>
              <a:gd name="connsiteX61307" fmla="*/ 4713375 w 6884782"/>
              <a:gd name="connsiteY61307" fmla="*/ 1169308 h 5973007"/>
              <a:gd name="connsiteX61308" fmla="*/ 4712308 w 6884782"/>
              <a:gd name="connsiteY61308" fmla="*/ 1169308 h 5973007"/>
              <a:gd name="connsiteX61309" fmla="*/ 4718924 w 6884782"/>
              <a:gd name="connsiteY61309" fmla="*/ 1167601 h 5973007"/>
              <a:gd name="connsiteX61310" fmla="*/ 3726522 w 6884782"/>
              <a:gd name="connsiteY61310" fmla="*/ 1166890 h 5973007"/>
              <a:gd name="connsiteX61311" fmla="*/ 3745303 w 6884782"/>
              <a:gd name="connsiteY61311" fmla="*/ 1181685 h 5973007"/>
              <a:gd name="connsiteX61312" fmla="*/ 3745516 w 6884782"/>
              <a:gd name="connsiteY61312" fmla="*/ 1194489 h 5973007"/>
              <a:gd name="connsiteX61313" fmla="*/ 3719479 w 6884782"/>
              <a:gd name="connsiteY61313" fmla="*/ 1230057 h 5973007"/>
              <a:gd name="connsiteX61314" fmla="*/ 3718626 w 6884782"/>
              <a:gd name="connsiteY61314" fmla="*/ 1227212 h 5973007"/>
              <a:gd name="connsiteX61315" fmla="*/ 3717345 w 6884782"/>
              <a:gd name="connsiteY61315" fmla="*/ 1228065 h 5973007"/>
              <a:gd name="connsiteX61316" fmla="*/ 3709662 w 6884782"/>
              <a:gd name="connsiteY61316" fmla="*/ 1220098 h 5973007"/>
              <a:gd name="connsiteX61317" fmla="*/ 3710943 w 6884782"/>
              <a:gd name="connsiteY61317" fmla="*/ 1215261 h 5973007"/>
              <a:gd name="connsiteX61318" fmla="*/ 3704753 w 6884782"/>
              <a:gd name="connsiteY61318" fmla="*/ 1210566 h 5973007"/>
              <a:gd name="connsiteX61319" fmla="*/ 3699205 w 6884782"/>
              <a:gd name="connsiteY61319" fmla="*/ 1205160 h 5973007"/>
              <a:gd name="connsiteX61320" fmla="*/ 3696003 w 6884782"/>
              <a:gd name="connsiteY61320" fmla="*/ 1195059 h 5973007"/>
              <a:gd name="connsiteX61321" fmla="*/ 3726522 w 6884782"/>
              <a:gd name="connsiteY61321" fmla="*/ 1166890 h 5973007"/>
              <a:gd name="connsiteX61322" fmla="*/ 1544300 w 6884782"/>
              <a:gd name="connsiteY61322" fmla="*/ 1166701 h 5973007"/>
              <a:gd name="connsiteX61323" fmla="*/ 1540583 w 6884782"/>
              <a:gd name="connsiteY61323" fmla="*/ 1190400 h 5973007"/>
              <a:gd name="connsiteX61324" fmla="*/ 1540170 w 6884782"/>
              <a:gd name="connsiteY61324" fmla="*/ 1178938 h 5973007"/>
              <a:gd name="connsiteX61325" fmla="*/ 1544300 w 6884782"/>
              <a:gd name="connsiteY61325" fmla="*/ 1166701 h 5973007"/>
              <a:gd name="connsiteX61326" fmla="*/ 1324881 w 6884782"/>
              <a:gd name="connsiteY61326" fmla="*/ 1164533 h 5973007"/>
              <a:gd name="connsiteX61327" fmla="*/ 1350178 w 6884782"/>
              <a:gd name="connsiteY61327" fmla="*/ 1177079 h 5973007"/>
              <a:gd name="connsiteX61328" fmla="*/ 1346048 w 6884782"/>
              <a:gd name="connsiteY61328" fmla="*/ 1183895 h 5973007"/>
              <a:gd name="connsiteX61329" fmla="*/ 1324881 w 6884782"/>
              <a:gd name="connsiteY61329" fmla="*/ 1164533 h 5973007"/>
              <a:gd name="connsiteX61330" fmla="*/ 1305046 w 6884782"/>
              <a:gd name="connsiteY61330" fmla="*/ 1164518 h 5973007"/>
              <a:gd name="connsiteX61331" fmla="*/ 1304436 w 6884782"/>
              <a:gd name="connsiteY61331" fmla="*/ 1180332 h 5973007"/>
              <a:gd name="connsiteX61332" fmla="*/ 1293388 w 6884782"/>
              <a:gd name="connsiteY61332" fmla="*/ 1169334 h 5973007"/>
              <a:gd name="connsiteX61333" fmla="*/ 1298654 w 6884782"/>
              <a:gd name="connsiteY61333" fmla="*/ 1164843 h 5973007"/>
              <a:gd name="connsiteX61334" fmla="*/ 1305046 w 6884782"/>
              <a:gd name="connsiteY61334" fmla="*/ 1164518 h 5973007"/>
              <a:gd name="connsiteX61335" fmla="*/ 1141601 w 6884782"/>
              <a:gd name="connsiteY61335" fmla="*/ 1162829 h 5973007"/>
              <a:gd name="connsiteX61336" fmla="*/ 1151410 w 6884782"/>
              <a:gd name="connsiteY61336" fmla="*/ 1172588 h 5973007"/>
              <a:gd name="connsiteX61337" fmla="*/ 1140671 w 6884782"/>
              <a:gd name="connsiteY61337" fmla="*/ 1167166 h 5973007"/>
              <a:gd name="connsiteX61338" fmla="*/ 1141601 w 6884782"/>
              <a:gd name="connsiteY61338" fmla="*/ 1162829 h 5973007"/>
              <a:gd name="connsiteX61339" fmla="*/ 1591488 w 6884782"/>
              <a:gd name="connsiteY61339" fmla="*/ 1162519 h 5973007"/>
              <a:gd name="connsiteX61340" fmla="*/ 1591488 w 6884782"/>
              <a:gd name="connsiteY61340" fmla="*/ 1164223 h 5973007"/>
              <a:gd name="connsiteX61341" fmla="*/ 1591798 w 6884782"/>
              <a:gd name="connsiteY61341" fmla="*/ 1163449 h 5973007"/>
              <a:gd name="connsiteX61342" fmla="*/ 1591695 w 6884782"/>
              <a:gd name="connsiteY61342" fmla="*/ 1163294 h 5973007"/>
              <a:gd name="connsiteX61343" fmla="*/ 1592108 w 6884782"/>
              <a:gd name="connsiteY61343" fmla="*/ 1162674 h 5973007"/>
              <a:gd name="connsiteX61344" fmla="*/ 4415868 w 6884782"/>
              <a:gd name="connsiteY61344" fmla="*/ 1162053 h 5973007"/>
              <a:gd name="connsiteX61345" fmla="*/ 4423551 w 6884782"/>
              <a:gd name="connsiteY61345" fmla="*/ 1166036 h 5973007"/>
              <a:gd name="connsiteX61346" fmla="*/ 4423764 w 6884782"/>
              <a:gd name="connsiteY61346" fmla="*/ 1170019 h 5973007"/>
              <a:gd name="connsiteX61347" fmla="*/ 4419923 w 6884782"/>
              <a:gd name="connsiteY61347" fmla="*/ 1174003 h 5973007"/>
              <a:gd name="connsiteX61348" fmla="*/ 4413734 w 6884782"/>
              <a:gd name="connsiteY61348" fmla="*/ 1164898 h 5973007"/>
              <a:gd name="connsiteX61349" fmla="*/ 4415868 w 6884782"/>
              <a:gd name="connsiteY61349" fmla="*/ 1162053 h 5973007"/>
              <a:gd name="connsiteX61350" fmla="*/ 1724069 w 6884782"/>
              <a:gd name="connsiteY61350" fmla="*/ 1161745 h 5973007"/>
              <a:gd name="connsiteX61351" fmla="*/ 1721798 w 6884782"/>
              <a:gd name="connsiteY61351" fmla="*/ 1163758 h 5973007"/>
              <a:gd name="connsiteX61352" fmla="*/ 1722314 w 6884782"/>
              <a:gd name="connsiteY61352" fmla="*/ 1164068 h 5973007"/>
              <a:gd name="connsiteX61353" fmla="*/ 1722830 w 6884782"/>
              <a:gd name="connsiteY61353" fmla="*/ 1164688 h 5973007"/>
              <a:gd name="connsiteX61354" fmla="*/ 3814665 w 6884782"/>
              <a:gd name="connsiteY61354" fmla="*/ 1161056 h 5973007"/>
              <a:gd name="connsiteX61355" fmla="*/ 3817439 w 6884782"/>
              <a:gd name="connsiteY61355" fmla="*/ 1162479 h 5973007"/>
              <a:gd name="connsiteX61356" fmla="*/ 3807195 w 6884782"/>
              <a:gd name="connsiteY61356" fmla="*/ 1170019 h 5973007"/>
              <a:gd name="connsiteX61357" fmla="*/ 3814665 w 6884782"/>
              <a:gd name="connsiteY61357" fmla="*/ 1161056 h 5973007"/>
              <a:gd name="connsiteX61358" fmla="*/ 1512601 w 6884782"/>
              <a:gd name="connsiteY61358" fmla="*/ 1160970 h 5973007"/>
              <a:gd name="connsiteX61359" fmla="*/ 1514666 w 6884782"/>
              <a:gd name="connsiteY61359" fmla="*/ 1168250 h 5973007"/>
              <a:gd name="connsiteX61360" fmla="*/ 1512601 w 6884782"/>
              <a:gd name="connsiteY61360" fmla="*/ 1165153 h 5973007"/>
              <a:gd name="connsiteX61361" fmla="*/ 1512601 w 6884782"/>
              <a:gd name="connsiteY61361" fmla="*/ 1160970 h 5973007"/>
              <a:gd name="connsiteX61362" fmla="*/ 4697796 w 6884782"/>
              <a:gd name="connsiteY61362" fmla="*/ 1160914 h 5973007"/>
              <a:gd name="connsiteX61363" fmla="*/ 4702064 w 6884782"/>
              <a:gd name="connsiteY61363" fmla="*/ 1162621 h 5973007"/>
              <a:gd name="connsiteX61364" fmla="*/ 4696515 w 6884782"/>
              <a:gd name="connsiteY61364" fmla="*/ 1174287 h 5973007"/>
              <a:gd name="connsiteX61365" fmla="*/ 4695448 w 6884782"/>
              <a:gd name="connsiteY61365" fmla="*/ 1177417 h 5973007"/>
              <a:gd name="connsiteX61366" fmla="*/ 4699076 w 6884782"/>
              <a:gd name="connsiteY61366" fmla="*/ 1176421 h 5973007"/>
              <a:gd name="connsiteX61367" fmla="*/ 4706759 w 6884782"/>
              <a:gd name="connsiteY61367" fmla="*/ 1178982 h 5973007"/>
              <a:gd name="connsiteX61368" fmla="*/ 4712095 w 6884782"/>
              <a:gd name="connsiteY61368" fmla="*/ 1200323 h 5973007"/>
              <a:gd name="connsiteX61369" fmla="*/ 4710174 w 6884782"/>
              <a:gd name="connsiteY61369" fmla="*/ 1202883 h 5973007"/>
              <a:gd name="connsiteX61370" fmla="*/ 4708467 w 6884782"/>
              <a:gd name="connsiteY61370" fmla="*/ 1207720 h 5973007"/>
              <a:gd name="connsiteX61371" fmla="*/ 4693741 w 6884782"/>
              <a:gd name="connsiteY61371" fmla="*/ 1202599 h 5973007"/>
              <a:gd name="connsiteX61372" fmla="*/ 4685844 w 6884782"/>
              <a:gd name="connsiteY61372" fmla="*/ 1186807 h 5973007"/>
              <a:gd name="connsiteX61373" fmla="*/ 4687125 w 6884782"/>
              <a:gd name="connsiteY61373" fmla="*/ 1183250 h 5973007"/>
              <a:gd name="connsiteX61374" fmla="*/ 4684563 w 6884782"/>
              <a:gd name="connsiteY61374" fmla="*/ 1180832 h 5973007"/>
              <a:gd name="connsiteX61375" fmla="*/ 4687125 w 6884782"/>
              <a:gd name="connsiteY61375" fmla="*/ 1163190 h 5973007"/>
              <a:gd name="connsiteX61376" fmla="*/ 4697796 w 6884782"/>
              <a:gd name="connsiteY61376" fmla="*/ 1160914 h 5973007"/>
              <a:gd name="connsiteX61377" fmla="*/ 3911344 w 6884782"/>
              <a:gd name="connsiteY61377" fmla="*/ 1159491 h 5973007"/>
              <a:gd name="connsiteX61378" fmla="*/ 3909423 w 6884782"/>
              <a:gd name="connsiteY61378" fmla="*/ 1170446 h 5973007"/>
              <a:gd name="connsiteX61379" fmla="*/ 3911344 w 6884782"/>
              <a:gd name="connsiteY61379" fmla="*/ 1159491 h 5973007"/>
              <a:gd name="connsiteX61380" fmla="*/ 3491120 w 6884782"/>
              <a:gd name="connsiteY61380" fmla="*/ 1159491 h 5973007"/>
              <a:gd name="connsiteX61381" fmla="*/ 3506700 w 6884782"/>
              <a:gd name="connsiteY61381" fmla="*/ 1165609 h 5973007"/>
              <a:gd name="connsiteX61382" fmla="*/ 3477034 w 6884782"/>
              <a:gd name="connsiteY61382" fmla="*/ 1165467 h 5973007"/>
              <a:gd name="connsiteX61383" fmla="*/ 3491120 w 6884782"/>
              <a:gd name="connsiteY61383" fmla="*/ 1159491 h 5973007"/>
              <a:gd name="connsiteX61384" fmla="*/ 4087628 w 6884782"/>
              <a:gd name="connsiteY61384" fmla="*/ 1159065 h 5973007"/>
              <a:gd name="connsiteX61385" fmla="*/ 4099793 w 6884782"/>
              <a:gd name="connsiteY61385" fmla="*/ 1170589 h 5973007"/>
              <a:gd name="connsiteX61386" fmla="*/ 4093604 w 6884782"/>
              <a:gd name="connsiteY61386" fmla="*/ 1177702 h 5973007"/>
              <a:gd name="connsiteX61387" fmla="*/ 4081653 w 6884782"/>
              <a:gd name="connsiteY61387" fmla="*/ 1162764 h 5973007"/>
              <a:gd name="connsiteX61388" fmla="*/ 4087628 w 6884782"/>
              <a:gd name="connsiteY61388" fmla="*/ 1159065 h 5973007"/>
              <a:gd name="connsiteX61389" fmla="*/ 4775693 w 6884782"/>
              <a:gd name="connsiteY61389" fmla="*/ 1158211 h 5973007"/>
              <a:gd name="connsiteX61390" fmla="*/ 4785724 w 6884782"/>
              <a:gd name="connsiteY61390" fmla="*/ 1195912 h 5973007"/>
              <a:gd name="connsiteX61391" fmla="*/ 4775693 w 6884782"/>
              <a:gd name="connsiteY61391" fmla="*/ 1158211 h 5973007"/>
              <a:gd name="connsiteX61392" fmla="*/ 1209234 w 6884782"/>
              <a:gd name="connsiteY61392" fmla="*/ 1157098 h 5973007"/>
              <a:gd name="connsiteX61393" fmla="*/ 1213777 w 6884782"/>
              <a:gd name="connsiteY61393" fmla="*/ 1158647 h 5973007"/>
              <a:gd name="connsiteX61394" fmla="*/ 1210060 w 6884782"/>
              <a:gd name="connsiteY61394" fmla="*/ 1161280 h 5973007"/>
              <a:gd name="connsiteX61395" fmla="*/ 1207995 w 6884782"/>
              <a:gd name="connsiteY61395" fmla="*/ 1158801 h 5973007"/>
              <a:gd name="connsiteX61396" fmla="*/ 1209234 w 6884782"/>
              <a:gd name="connsiteY61396" fmla="*/ 1157098 h 5973007"/>
              <a:gd name="connsiteX61397" fmla="*/ 1245916 w 6884782"/>
              <a:gd name="connsiteY61397" fmla="*/ 1156865 h 5973007"/>
              <a:gd name="connsiteX61398" fmla="*/ 1254873 w 6884782"/>
              <a:gd name="connsiteY61398" fmla="*/ 1159421 h 5973007"/>
              <a:gd name="connsiteX61399" fmla="*/ 1256525 w 6884782"/>
              <a:gd name="connsiteY61399" fmla="*/ 1160970 h 5973007"/>
              <a:gd name="connsiteX61400" fmla="*/ 1259933 w 6884782"/>
              <a:gd name="connsiteY61400" fmla="*/ 1162519 h 5973007"/>
              <a:gd name="connsiteX61401" fmla="*/ 1255080 w 6884782"/>
              <a:gd name="connsiteY61401" fmla="*/ 1172897 h 5973007"/>
              <a:gd name="connsiteX61402" fmla="*/ 1240314 w 6884782"/>
              <a:gd name="connsiteY61402" fmla="*/ 1175995 h 5973007"/>
              <a:gd name="connsiteX61403" fmla="*/ 1236803 w 6884782"/>
              <a:gd name="connsiteY61403" fmla="*/ 1167166 h 5973007"/>
              <a:gd name="connsiteX61404" fmla="*/ 1239281 w 6884782"/>
              <a:gd name="connsiteY61404" fmla="*/ 1161745 h 5973007"/>
              <a:gd name="connsiteX61405" fmla="*/ 1245916 w 6884782"/>
              <a:gd name="connsiteY61405" fmla="*/ 1156865 h 5973007"/>
              <a:gd name="connsiteX61406" fmla="*/ 4107903 w 6884782"/>
              <a:gd name="connsiteY61406" fmla="*/ 1156504 h 5973007"/>
              <a:gd name="connsiteX61407" fmla="*/ 4114946 w 6884782"/>
              <a:gd name="connsiteY61407" fmla="*/ 1159918 h 5973007"/>
              <a:gd name="connsiteX61408" fmla="*/ 4116440 w 6884782"/>
              <a:gd name="connsiteY61408" fmla="*/ 1163760 h 5973007"/>
              <a:gd name="connsiteX61409" fmla="*/ 4118147 w 6884782"/>
              <a:gd name="connsiteY61409" fmla="*/ 1163902 h 5973007"/>
              <a:gd name="connsiteX61410" fmla="*/ 4119214 w 6884782"/>
              <a:gd name="connsiteY61410" fmla="*/ 1176706 h 5973007"/>
              <a:gd name="connsiteX61411" fmla="*/ 4105982 w 6884782"/>
              <a:gd name="connsiteY61411" fmla="*/ 1173861 h 5973007"/>
              <a:gd name="connsiteX61412" fmla="*/ 4108970 w 6884782"/>
              <a:gd name="connsiteY61412" fmla="*/ 1163190 h 5973007"/>
              <a:gd name="connsiteX61413" fmla="*/ 4113025 w 6884782"/>
              <a:gd name="connsiteY61413" fmla="*/ 1163475 h 5973007"/>
              <a:gd name="connsiteX61414" fmla="*/ 4110677 w 6884782"/>
              <a:gd name="connsiteY61414" fmla="*/ 1162053 h 5973007"/>
              <a:gd name="connsiteX61415" fmla="*/ 4107903 w 6884782"/>
              <a:gd name="connsiteY61415" fmla="*/ 1156504 h 5973007"/>
              <a:gd name="connsiteX61416" fmla="*/ 1180425 w 6884782"/>
              <a:gd name="connsiteY61416" fmla="*/ 1156478 h 5973007"/>
              <a:gd name="connsiteX61417" fmla="*/ 1180116 w 6884782"/>
              <a:gd name="connsiteY61417" fmla="*/ 1167476 h 5973007"/>
              <a:gd name="connsiteX61418" fmla="*/ 1175779 w 6884782"/>
              <a:gd name="connsiteY61418" fmla="*/ 1166701 h 5973007"/>
              <a:gd name="connsiteX61419" fmla="*/ 1172062 w 6884782"/>
              <a:gd name="connsiteY61419" fmla="*/ 1160041 h 5973007"/>
              <a:gd name="connsiteX61420" fmla="*/ 1176295 w 6884782"/>
              <a:gd name="connsiteY61420" fmla="*/ 1157717 h 5973007"/>
              <a:gd name="connsiteX61421" fmla="*/ 1180425 w 6884782"/>
              <a:gd name="connsiteY61421" fmla="*/ 1156478 h 5973007"/>
              <a:gd name="connsiteX61422" fmla="*/ 1707755 w 6884782"/>
              <a:gd name="connsiteY61422" fmla="*/ 1156013 h 5973007"/>
              <a:gd name="connsiteX61423" fmla="*/ 1708065 w 6884782"/>
              <a:gd name="connsiteY61423" fmla="*/ 1158182 h 5973007"/>
              <a:gd name="connsiteX61424" fmla="*/ 1710130 w 6884782"/>
              <a:gd name="connsiteY61424" fmla="*/ 1158956 h 5973007"/>
              <a:gd name="connsiteX61425" fmla="*/ 1710027 w 6884782"/>
              <a:gd name="connsiteY61425" fmla="*/ 1159731 h 5973007"/>
              <a:gd name="connsiteX61426" fmla="*/ 1708478 w 6884782"/>
              <a:gd name="connsiteY61426" fmla="*/ 1160660 h 5973007"/>
              <a:gd name="connsiteX61427" fmla="*/ 1708581 w 6884782"/>
              <a:gd name="connsiteY61427" fmla="*/ 1160970 h 5973007"/>
              <a:gd name="connsiteX61428" fmla="*/ 1705793 w 6884782"/>
              <a:gd name="connsiteY61428" fmla="*/ 1164068 h 5973007"/>
              <a:gd name="connsiteX61429" fmla="*/ 1702902 w 6884782"/>
              <a:gd name="connsiteY61429" fmla="*/ 1160505 h 5973007"/>
              <a:gd name="connsiteX61430" fmla="*/ 1704451 w 6884782"/>
              <a:gd name="connsiteY61430" fmla="*/ 1157253 h 5973007"/>
              <a:gd name="connsiteX61431" fmla="*/ 1707755 w 6884782"/>
              <a:gd name="connsiteY61431" fmla="*/ 1156013 h 5973007"/>
              <a:gd name="connsiteX61432" fmla="*/ 1510123 w 6884782"/>
              <a:gd name="connsiteY61432" fmla="*/ 1154310 h 5973007"/>
              <a:gd name="connsiteX61433" fmla="*/ 1513736 w 6884782"/>
              <a:gd name="connsiteY61433" fmla="*/ 1154310 h 5973007"/>
              <a:gd name="connsiteX61434" fmla="*/ 1515492 w 6884782"/>
              <a:gd name="connsiteY61434" fmla="*/ 1156478 h 5973007"/>
              <a:gd name="connsiteX61435" fmla="*/ 1514666 w 6884782"/>
              <a:gd name="connsiteY61435" fmla="*/ 1156633 h 5973007"/>
              <a:gd name="connsiteX61436" fmla="*/ 1511671 w 6884782"/>
              <a:gd name="connsiteY61436" fmla="*/ 1158337 h 5973007"/>
              <a:gd name="connsiteX61437" fmla="*/ 1510123 w 6884782"/>
              <a:gd name="connsiteY61437" fmla="*/ 1154310 h 5973007"/>
              <a:gd name="connsiteX61438" fmla="*/ 4661087 w 6884782"/>
              <a:gd name="connsiteY61438" fmla="*/ 1154227 h 5973007"/>
              <a:gd name="connsiteX61439" fmla="*/ 4663862 w 6884782"/>
              <a:gd name="connsiteY61439" fmla="*/ 1159634 h 5973007"/>
              <a:gd name="connsiteX61440" fmla="*/ 4661300 w 6884782"/>
              <a:gd name="connsiteY61440" fmla="*/ 1181401 h 5973007"/>
              <a:gd name="connsiteX61441" fmla="*/ 4667276 w 6884782"/>
              <a:gd name="connsiteY61441" fmla="*/ 1194347 h 5973007"/>
              <a:gd name="connsiteX61442" fmla="*/ 4636117 w 6884782"/>
              <a:gd name="connsiteY61442" fmla="*/ 1181685 h 5973007"/>
              <a:gd name="connsiteX61443" fmla="*/ 4629928 w 6884782"/>
              <a:gd name="connsiteY61443" fmla="*/ 1173434 h 5973007"/>
              <a:gd name="connsiteX61444" fmla="*/ 4652337 w 6884782"/>
              <a:gd name="connsiteY61444" fmla="*/ 1175995 h 5973007"/>
              <a:gd name="connsiteX61445" fmla="*/ 4661087 w 6884782"/>
              <a:gd name="connsiteY61445" fmla="*/ 1154227 h 5973007"/>
              <a:gd name="connsiteX61446" fmla="*/ 1107113 w 6884782"/>
              <a:gd name="connsiteY61446" fmla="*/ 1154000 h 5973007"/>
              <a:gd name="connsiteX61447" fmla="*/ 1121569 w 6884782"/>
              <a:gd name="connsiteY61447" fmla="*/ 1157872 h 5973007"/>
              <a:gd name="connsiteX61448" fmla="*/ 1119401 w 6884782"/>
              <a:gd name="connsiteY61448" fmla="*/ 1165772 h 5973007"/>
              <a:gd name="connsiteX61449" fmla="*/ 1103190 w 6884782"/>
              <a:gd name="connsiteY61449" fmla="*/ 1155859 h 5973007"/>
              <a:gd name="connsiteX61450" fmla="*/ 1107113 w 6884782"/>
              <a:gd name="connsiteY61450" fmla="*/ 1154000 h 5973007"/>
              <a:gd name="connsiteX61451" fmla="*/ 1273253 w 6884782"/>
              <a:gd name="connsiteY61451" fmla="*/ 1153806 h 5973007"/>
              <a:gd name="connsiteX61452" fmla="*/ 1282030 w 6884782"/>
              <a:gd name="connsiteY61452" fmla="*/ 1159111 h 5973007"/>
              <a:gd name="connsiteX61453" fmla="*/ 1281203 w 6884782"/>
              <a:gd name="connsiteY61453" fmla="*/ 1161745 h 5973007"/>
              <a:gd name="connsiteX61454" fmla="*/ 1281410 w 6884782"/>
              <a:gd name="connsiteY61454" fmla="*/ 1162209 h 5973007"/>
              <a:gd name="connsiteX61455" fmla="*/ 1276247 w 6884782"/>
              <a:gd name="connsiteY61455" fmla="*/ 1168560 h 5973007"/>
              <a:gd name="connsiteX61456" fmla="*/ 1271704 w 6884782"/>
              <a:gd name="connsiteY61456" fmla="*/ 1164843 h 5973007"/>
              <a:gd name="connsiteX61457" fmla="*/ 1272117 w 6884782"/>
              <a:gd name="connsiteY61457" fmla="*/ 1164223 h 5973007"/>
              <a:gd name="connsiteX61458" fmla="*/ 1271084 w 6884782"/>
              <a:gd name="connsiteY61458" fmla="*/ 1163758 h 5973007"/>
              <a:gd name="connsiteX61459" fmla="*/ 1266644 w 6884782"/>
              <a:gd name="connsiteY61459" fmla="*/ 1158956 h 5973007"/>
              <a:gd name="connsiteX61460" fmla="*/ 1273253 w 6884782"/>
              <a:gd name="connsiteY61460" fmla="*/ 1153806 h 5973007"/>
              <a:gd name="connsiteX61461" fmla="*/ 4890086 w 6884782"/>
              <a:gd name="connsiteY61461" fmla="*/ 1153801 h 5973007"/>
              <a:gd name="connsiteX61462" fmla="*/ 4891794 w 6884782"/>
              <a:gd name="connsiteY61462" fmla="*/ 1156931 h 5973007"/>
              <a:gd name="connsiteX61463" fmla="*/ 4890727 w 6884782"/>
              <a:gd name="connsiteY61463" fmla="*/ 1161483 h 5973007"/>
              <a:gd name="connsiteX61464" fmla="*/ 4891154 w 6884782"/>
              <a:gd name="connsiteY61464" fmla="*/ 1162621 h 5973007"/>
              <a:gd name="connsiteX61465" fmla="*/ 4889660 w 6884782"/>
              <a:gd name="connsiteY61465" fmla="*/ 1166036 h 5973007"/>
              <a:gd name="connsiteX61466" fmla="*/ 4888379 w 6884782"/>
              <a:gd name="connsiteY61466" fmla="*/ 1166890 h 5973007"/>
              <a:gd name="connsiteX61467" fmla="*/ 4885391 w 6884782"/>
              <a:gd name="connsiteY61467" fmla="*/ 1170731 h 5973007"/>
              <a:gd name="connsiteX61468" fmla="*/ 4884324 w 6884782"/>
              <a:gd name="connsiteY61468" fmla="*/ 1168881 h 5973007"/>
              <a:gd name="connsiteX61469" fmla="*/ 4880056 w 6884782"/>
              <a:gd name="connsiteY61469" fmla="*/ 1168312 h 5973007"/>
              <a:gd name="connsiteX61470" fmla="*/ 4874080 w 6884782"/>
              <a:gd name="connsiteY61470" fmla="*/ 1170446 h 5973007"/>
              <a:gd name="connsiteX61471" fmla="*/ 4881550 w 6884782"/>
              <a:gd name="connsiteY61471" fmla="*/ 1166036 h 5973007"/>
              <a:gd name="connsiteX61472" fmla="*/ 4882190 w 6884782"/>
              <a:gd name="connsiteY61472" fmla="*/ 1164329 h 5973007"/>
              <a:gd name="connsiteX61473" fmla="*/ 4881977 w 6884782"/>
              <a:gd name="connsiteY61473" fmla="*/ 1164044 h 5973007"/>
              <a:gd name="connsiteX61474" fmla="*/ 4882403 w 6884782"/>
              <a:gd name="connsiteY61474" fmla="*/ 1163617 h 5973007"/>
              <a:gd name="connsiteX61475" fmla="*/ 4883044 w 6884782"/>
              <a:gd name="connsiteY61475" fmla="*/ 1162479 h 5973007"/>
              <a:gd name="connsiteX61476" fmla="*/ 4883471 w 6884782"/>
              <a:gd name="connsiteY61476" fmla="*/ 1162195 h 5973007"/>
              <a:gd name="connsiteX61477" fmla="*/ 4884965 w 6884782"/>
              <a:gd name="connsiteY61477" fmla="*/ 1159349 h 5973007"/>
              <a:gd name="connsiteX61478" fmla="*/ 4887099 w 6884782"/>
              <a:gd name="connsiteY61478" fmla="*/ 1154085 h 5973007"/>
              <a:gd name="connsiteX61479" fmla="*/ 4890086 w 6884782"/>
              <a:gd name="connsiteY61479" fmla="*/ 1153801 h 5973007"/>
              <a:gd name="connsiteX61480" fmla="*/ 4172356 w 6884782"/>
              <a:gd name="connsiteY61480" fmla="*/ 1153801 h 5973007"/>
              <a:gd name="connsiteX61481" fmla="*/ 4178759 w 6884782"/>
              <a:gd name="connsiteY61481" fmla="*/ 1157215 h 5973007"/>
              <a:gd name="connsiteX61482" fmla="*/ 4169155 w 6884782"/>
              <a:gd name="connsiteY61482" fmla="*/ 1175141 h 5973007"/>
              <a:gd name="connsiteX61483" fmla="*/ 4159551 w 6884782"/>
              <a:gd name="connsiteY61483" fmla="*/ 1169592 h 5973007"/>
              <a:gd name="connsiteX61484" fmla="*/ 4172356 w 6884782"/>
              <a:gd name="connsiteY61484" fmla="*/ 1153801 h 5973007"/>
              <a:gd name="connsiteX61485" fmla="*/ 3994150 w 6884782"/>
              <a:gd name="connsiteY61485" fmla="*/ 1153374 h 5973007"/>
              <a:gd name="connsiteX61486" fmla="*/ 3996712 w 6884782"/>
              <a:gd name="connsiteY61486" fmla="*/ 1153516 h 5973007"/>
              <a:gd name="connsiteX61487" fmla="*/ 3997992 w 6884782"/>
              <a:gd name="connsiteY61487" fmla="*/ 1159491 h 5973007"/>
              <a:gd name="connsiteX61488" fmla="*/ 3999059 w 6884782"/>
              <a:gd name="connsiteY61488" fmla="*/ 1160061 h 5973007"/>
              <a:gd name="connsiteX61489" fmla="*/ 4002047 w 6884782"/>
              <a:gd name="connsiteY61489" fmla="*/ 1159207 h 5973007"/>
              <a:gd name="connsiteX61490" fmla="*/ 4012504 w 6884782"/>
              <a:gd name="connsiteY61490" fmla="*/ 1165040 h 5973007"/>
              <a:gd name="connsiteX61491" fmla="*/ 4010371 w 6884782"/>
              <a:gd name="connsiteY61491" fmla="*/ 1178413 h 5973007"/>
              <a:gd name="connsiteX61492" fmla="*/ 4004608 w 6884782"/>
              <a:gd name="connsiteY61492" fmla="*/ 1181970 h 5973007"/>
              <a:gd name="connsiteX61493" fmla="*/ 3992657 w 6884782"/>
              <a:gd name="connsiteY61493" fmla="*/ 1173861 h 5973007"/>
              <a:gd name="connsiteX61494" fmla="*/ 3995858 w 6884782"/>
              <a:gd name="connsiteY61494" fmla="*/ 1161056 h 5973007"/>
              <a:gd name="connsiteX61495" fmla="*/ 3994364 w 6884782"/>
              <a:gd name="connsiteY61495" fmla="*/ 1158780 h 5973007"/>
              <a:gd name="connsiteX61496" fmla="*/ 3994150 w 6884782"/>
              <a:gd name="connsiteY61496" fmla="*/ 1153374 h 5973007"/>
              <a:gd name="connsiteX61497" fmla="*/ 1591282 w 6884782"/>
              <a:gd name="connsiteY61497" fmla="*/ 1153225 h 5973007"/>
              <a:gd name="connsiteX61498" fmla="*/ 1591488 w 6884782"/>
              <a:gd name="connsiteY61498" fmla="*/ 1158956 h 5973007"/>
              <a:gd name="connsiteX61499" fmla="*/ 1591488 w 6884782"/>
              <a:gd name="connsiteY61499" fmla="*/ 1161590 h 5973007"/>
              <a:gd name="connsiteX61500" fmla="*/ 1592004 w 6884782"/>
              <a:gd name="connsiteY61500" fmla="*/ 1159111 h 5973007"/>
              <a:gd name="connsiteX61501" fmla="*/ 1594070 w 6884782"/>
              <a:gd name="connsiteY61501" fmla="*/ 1158647 h 5973007"/>
              <a:gd name="connsiteX61502" fmla="*/ 1598303 w 6884782"/>
              <a:gd name="connsiteY61502" fmla="*/ 1161590 h 5973007"/>
              <a:gd name="connsiteX61503" fmla="*/ 1603982 w 6884782"/>
              <a:gd name="connsiteY61503" fmla="*/ 1158801 h 5973007"/>
              <a:gd name="connsiteX61504" fmla="*/ 1604499 w 6884782"/>
              <a:gd name="connsiteY61504" fmla="*/ 1158492 h 5973007"/>
              <a:gd name="connsiteX61505" fmla="*/ 1606770 w 6884782"/>
              <a:gd name="connsiteY61505" fmla="*/ 1157253 h 5973007"/>
              <a:gd name="connsiteX61506" fmla="*/ 1606977 w 6884782"/>
              <a:gd name="connsiteY61506" fmla="*/ 1157253 h 5973007"/>
              <a:gd name="connsiteX61507" fmla="*/ 1607596 w 6884782"/>
              <a:gd name="connsiteY61507" fmla="*/ 1156788 h 5973007"/>
              <a:gd name="connsiteX61508" fmla="*/ 1612966 w 6884782"/>
              <a:gd name="connsiteY61508" fmla="*/ 1156788 h 5973007"/>
              <a:gd name="connsiteX61509" fmla="*/ 1616064 w 6884782"/>
              <a:gd name="connsiteY61509" fmla="*/ 1164843 h 5973007"/>
              <a:gd name="connsiteX61510" fmla="*/ 1615237 w 6884782"/>
              <a:gd name="connsiteY61510" fmla="*/ 1167166 h 5973007"/>
              <a:gd name="connsiteX61511" fmla="*/ 1617096 w 6884782"/>
              <a:gd name="connsiteY61511" fmla="*/ 1166701 h 5973007"/>
              <a:gd name="connsiteX61512" fmla="*/ 1618541 w 6884782"/>
              <a:gd name="connsiteY61512" fmla="*/ 1183430 h 5973007"/>
              <a:gd name="connsiteX61513" fmla="*/ 1617819 w 6884782"/>
              <a:gd name="connsiteY61513" fmla="*/ 1185134 h 5973007"/>
              <a:gd name="connsiteX61514" fmla="*/ 1615650 w 6884782"/>
              <a:gd name="connsiteY61514" fmla="*/ 1185289 h 5973007"/>
              <a:gd name="connsiteX61515" fmla="*/ 1612140 w 6884782"/>
              <a:gd name="connsiteY61515" fmla="*/ 1174446 h 5973007"/>
              <a:gd name="connsiteX61516" fmla="*/ 1613172 w 6884782"/>
              <a:gd name="connsiteY61516" fmla="*/ 1172432 h 5973007"/>
              <a:gd name="connsiteX61517" fmla="*/ 1613585 w 6884782"/>
              <a:gd name="connsiteY61517" fmla="*/ 1171348 h 5973007"/>
              <a:gd name="connsiteX61518" fmla="*/ 1611520 w 6884782"/>
              <a:gd name="connsiteY61518" fmla="*/ 1173517 h 5973007"/>
              <a:gd name="connsiteX61519" fmla="*/ 1603776 w 6884782"/>
              <a:gd name="connsiteY61519" fmla="*/ 1174291 h 5973007"/>
              <a:gd name="connsiteX61520" fmla="*/ 1603363 w 6884782"/>
              <a:gd name="connsiteY61520" fmla="*/ 1173517 h 5973007"/>
              <a:gd name="connsiteX61521" fmla="*/ 1599439 w 6884782"/>
              <a:gd name="connsiteY61521" fmla="*/ 1176924 h 5973007"/>
              <a:gd name="connsiteX61522" fmla="*/ 1592418 w 6884782"/>
              <a:gd name="connsiteY61522" fmla="*/ 1166082 h 5973007"/>
              <a:gd name="connsiteX61523" fmla="*/ 1592108 w 6884782"/>
              <a:gd name="connsiteY61523" fmla="*/ 1164223 h 5973007"/>
              <a:gd name="connsiteX61524" fmla="*/ 1591488 w 6884782"/>
              <a:gd name="connsiteY61524" fmla="*/ 1164533 h 5973007"/>
              <a:gd name="connsiteX61525" fmla="*/ 1591488 w 6884782"/>
              <a:gd name="connsiteY61525" fmla="*/ 1166392 h 5973007"/>
              <a:gd name="connsiteX61526" fmla="*/ 1586119 w 6884782"/>
              <a:gd name="connsiteY61526" fmla="*/ 1175995 h 5973007"/>
              <a:gd name="connsiteX61527" fmla="*/ 1584880 w 6884782"/>
              <a:gd name="connsiteY61527" fmla="*/ 1162984 h 5973007"/>
              <a:gd name="connsiteX61528" fmla="*/ 1591282 w 6884782"/>
              <a:gd name="connsiteY61528" fmla="*/ 1153225 h 5973007"/>
              <a:gd name="connsiteX61529" fmla="*/ 1192403 w 6884782"/>
              <a:gd name="connsiteY61529" fmla="*/ 1152761 h 5973007"/>
              <a:gd name="connsiteX61530" fmla="*/ 1198186 w 6884782"/>
              <a:gd name="connsiteY61530" fmla="*/ 1160196 h 5973007"/>
              <a:gd name="connsiteX61531" fmla="*/ 1187343 w 6884782"/>
              <a:gd name="connsiteY61531" fmla="*/ 1154465 h 5973007"/>
              <a:gd name="connsiteX61532" fmla="*/ 1192403 w 6884782"/>
              <a:gd name="connsiteY61532" fmla="*/ 1152761 h 5973007"/>
              <a:gd name="connsiteX61533" fmla="*/ 1401600 w 6884782"/>
              <a:gd name="connsiteY61533" fmla="*/ 1151986 h 5973007"/>
              <a:gd name="connsiteX61534" fmla="*/ 1406453 w 6884782"/>
              <a:gd name="connsiteY61534" fmla="*/ 1159421 h 5973007"/>
              <a:gd name="connsiteX61535" fmla="*/ 1394889 w 6884782"/>
              <a:gd name="connsiteY61535" fmla="*/ 1160505 h 5973007"/>
              <a:gd name="connsiteX61536" fmla="*/ 1395198 w 6884782"/>
              <a:gd name="connsiteY61536" fmla="*/ 1156323 h 5973007"/>
              <a:gd name="connsiteX61537" fmla="*/ 1401600 w 6884782"/>
              <a:gd name="connsiteY61537" fmla="*/ 1151986 h 5973007"/>
              <a:gd name="connsiteX61538" fmla="*/ 4414801 w 6884782"/>
              <a:gd name="connsiteY61538" fmla="*/ 1151667 h 5973007"/>
              <a:gd name="connsiteX61539" fmla="*/ 4400715 w 6884782"/>
              <a:gd name="connsiteY61539" fmla="*/ 1168881 h 5973007"/>
              <a:gd name="connsiteX61540" fmla="*/ 4414801 w 6884782"/>
              <a:gd name="connsiteY61540" fmla="*/ 1151667 h 5973007"/>
              <a:gd name="connsiteX61541" fmla="*/ 4525139 w 6884782"/>
              <a:gd name="connsiteY61541" fmla="*/ 1151524 h 5973007"/>
              <a:gd name="connsiteX61542" fmla="*/ 4529407 w 6884782"/>
              <a:gd name="connsiteY61542" fmla="*/ 1153943 h 5973007"/>
              <a:gd name="connsiteX61543" fmla="*/ 4531755 w 6884782"/>
              <a:gd name="connsiteY61543" fmla="*/ 1158211 h 5973007"/>
              <a:gd name="connsiteX61544" fmla="*/ 4533249 w 6884782"/>
              <a:gd name="connsiteY61544" fmla="*/ 1162479 h 5973007"/>
              <a:gd name="connsiteX61545" fmla="*/ 4522578 w 6884782"/>
              <a:gd name="connsiteY61545" fmla="*/ 1162195 h 5973007"/>
              <a:gd name="connsiteX61546" fmla="*/ 4521724 w 6884782"/>
              <a:gd name="connsiteY61546" fmla="*/ 1159776 h 5973007"/>
              <a:gd name="connsiteX61547" fmla="*/ 4521084 w 6884782"/>
              <a:gd name="connsiteY61547" fmla="*/ 1153659 h 5973007"/>
              <a:gd name="connsiteX61548" fmla="*/ 4525139 w 6884782"/>
              <a:gd name="connsiteY61548" fmla="*/ 1151524 h 5973007"/>
              <a:gd name="connsiteX61549" fmla="*/ 3680637 w 6884782"/>
              <a:gd name="connsiteY61549" fmla="*/ 1151382 h 5973007"/>
              <a:gd name="connsiteX61550" fmla="*/ 3701338 w 6884782"/>
              <a:gd name="connsiteY61550" fmla="*/ 1170589 h 5973007"/>
              <a:gd name="connsiteX61551" fmla="*/ 3664844 w 6884782"/>
              <a:gd name="connsiteY61551" fmla="*/ 1177275 h 5973007"/>
              <a:gd name="connsiteX61552" fmla="*/ 3660789 w 6884782"/>
              <a:gd name="connsiteY61552" fmla="*/ 1167174 h 5973007"/>
              <a:gd name="connsiteX61553" fmla="*/ 3662923 w 6884782"/>
              <a:gd name="connsiteY61553" fmla="*/ 1160630 h 5973007"/>
              <a:gd name="connsiteX61554" fmla="*/ 3662497 w 6884782"/>
              <a:gd name="connsiteY61554" fmla="*/ 1159776 h 5973007"/>
              <a:gd name="connsiteX61555" fmla="*/ 3663350 w 6884782"/>
              <a:gd name="connsiteY61555" fmla="*/ 1159491 h 5973007"/>
              <a:gd name="connsiteX61556" fmla="*/ 3663563 w 6884782"/>
              <a:gd name="connsiteY61556" fmla="*/ 1158780 h 5973007"/>
              <a:gd name="connsiteX61557" fmla="*/ 3680637 w 6884782"/>
              <a:gd name="connsiteY61557" fmla="*/ 1151382 h 5973007"/>
              <a:gd name="connsiteX61558" fmla="*/ 4271596 w 6884782"/>
              <a:gd name="connsiteY61558" fmla="*/ 1150955 h 5973007"/>
              <a:gd name="connsiteX61559" fmla="*/ 4274370 w 6884782"/>
              <a:gd name="connsiteY61559" fmla="*/ 1171727 h 5973007"/>
              <a:gd name="connsiteX61560" fmla="*/ 4263059 w 6884782"/>
              <a:gd name="connsiteY61560" fmla="*/ 1170162 h 5973007"/>
              <a:gd name="connsiteX61561" fmla="*/ 4266901 w 6884782"/>
              <a:gd name="connsiteY61561" fmla="*/ 1151240 h 5973007"/>
              <a:gd name="connsiteX61562" fmla="*/ 4271596 w 6884782"/>
              <a:gd name="connsiteY61562" fmla="*/ 1150955 h 5973007"/>
              <a:gd name="connsiteX61563" fmla="*/ 3911770 w 6884782"/>
              <a:gd name="connsiteY61563" fmla="*/ 1150813 h 5973007"/>
              <a:gd name="connsiteX61564" fmla="*/ 3912411 w 6884782"/>
              <a:gd name="connsiteY61564" fmla="*/ 1151667 h 5973007"/>
              <a:gd name="connsiteX61565" fmla="*/ 3910704 w 6884782"/>
              <a:gd name="connsiteY61565" fmla="*/ 1156219 h 5973007"/>
              <a:gd name="connsiteX61566" fmla="*/ 3911130 w 6884782"/>
              <a:gd name="connsiteY61566" fmla="*/ 1151667 h 5973007"/>
              <a:gd name="connsiteX61567" fmla="*/ 3911770 w 6884782"/>
              <a:gd name="connsiteY61567" fmla="*/ 1150813 h 5973007"/>
              <a:gd name="connsiteX61568" fmla="*/ 911236 w 6884782"/>
              <a:gd name="connsiteY61568" fmla="*/ 1150592 h 5973007"/>
              <a:gd name="connsiteX61569" fmla="*/ 924969 w 6884782"/>
              <a:gd name="connsiteY61569" fmla="*/ 1167011 h 5973007"/>
              <a:gd name="connsiteX61570" fmla="*/ 921046 w 6884782"/>
              <a:gd name="connsiteY61570" fmla="*/ 1168715 h 5973007"/>
              <a:gd name="connsiteX61571" fmla="*/ 910100 w 6884782"/>
              <a:gd name="connsiteY61571" fmla="*/ 1156323 h 5973007"/>
              <a:gd name="connsiteX61572" fmla="*/ 911236 w 6884782"/>
              <a:gd name="connsiteY61572" fmla="*/ 1150592 h 5973007"/>
              <a:gd name="connsiteX61573" fmla="*/ 3738260 w 6884782"/>
              <a:gd name="connsiteY61573" fmla="*/ 1150529 h 5973007"/>
              <a:gd name="connsiteX61574" fmla="*/ 3740821 w 6884782"/>
              <a:gd name="connsiteY61574" fmla="*/ 1154370 h 5973007"/>
              <a:gd name="connsiteX61575" fmla="*/ 3734632 w 6884782"/>
              <a:gd name="connsiteY61575" fmla="*/ 1166036 h 5973007"/>
              <a:gd name="connsiteX61576" fmla="*/ 3732071 w 6884782"/>
              <a:gd name="connsiteY61576" fmla="*/ 1158353 h 5973007"/>
              <a:gd name="connsiteX61577" fmla="*/ 3738260 w 6884782"/>
              <a:gd name="connsiteY61577" fmla="*/ 1150529 h 5973007"/>
              <a:gd name="connsiteX61578" fmla="*/ 1555762 w 6884782"/>
              <a:gd name="connsiteY61578" fmla="*/ 1149508 h 5973007"/>
              <a:gd name="connsiteX61579" fmla="*/ 1551528 w 6884782"/>
              <a:gd name="connsiteY61579" fmla="*/ 1155859 h 5973007"/>
              <a:gd name="connsiteX61580" fmla="*/ 1554213 w 6884782"/>
              <a:gd name="connsiteY61580" fmla="*/ 1149818 h 5973007"/>
              <a:gd name="connsiteX61581" fmla="*/ 1555762 w 6884782"/>
              <a:gd name="connsiteY61581" fmla="*/ 1149508 h 5973007"/>
              <a:gd name="connsiteX61582" fmla="*/ 3767285 w 6884782"/>
              <a:gd name="connsiteY61582" fmla="*/ 1149248 h 5973007"/>
              <a:gd name="connsiteX61583" fmla="*/ 3774755 w 6884782"/>
              <a:gd name="connsiteY61583" fmla="*/ 1152663 h 5973007"/>
              <a:gd name="connsiteX61584" fmla="*/ 3778170 w 6884782"/>
              <a:gd name="connsiteY61584" fmla="*/ 1174145 h 5973007"/>
              <a:gd name="connsiteX61585" fmla="*/ 3775822 w 6884782"/>
              <a:gd name="connsiteY61585" fmla="*/ 1176421 h 5973007"/>
              <a:gd name="connsiteX61586" fmla="*/ 3773688 w 6884782"/>
              <a:gd name="connsiteY61586" fmla="*/ 1181116 h 5973007"/>
              <a:gd name="connsiteX61587" fmla="*/ 3759388 w 6884782"/>
              <a:gd name="connsiteY61587" fmla="*/ 1174572 h 5973007"/>
              <a:gd name="connsiteX61588" fmla="*/ 3755120 w 6884782"/>
              <a:gd name="connsiteY61588" fmla="*/ 1154085 h 5973007"/>
              <a:gd name="connsiteX61589" fmla="*/ 3767285 w 6884782"/>
              <a:gd name="connsiteY61589" fmla="*/ 1149248 h 5973007"/>
              <a:gd name="connsiteX61590" fmla="*/ 1703418 w 6884782"/>
              <a:gd name="connsiteY61590" fmla="*/ 1148733 h 5973007"/>
              <a:gd name="connsiteX61591" fmla="*/ 1696190 w 6884782"/>
              <a:gd name="connsiteY61591" fmla="*/ 1160815 h 5973007"/>
              <a:gd name="connsiteX61592" fmla="*/ 1693815 w 6884782"/>
              <a:gd name="connsiteY61592" fmla="*/ 1161745 h 5973007"/>
              <a:gd name="connsiteX61593" fmla="*/ 1690511 w 6884782"/>
              <a:gd name="connsiteY61593" fmla="*/ 1159576 h 5973007"/>
              <a:gd name="connsiteX61594" fmla="*/ 1694022 w 6884782"/>
              <a:gd name="connsiteY61594" fmla="*/ 1158647 h 5973007"/>
              <a:gd name="connsiteX61595" fmla="*/ 1696500 w 6884782"/>
              <a:gd name="connsiteY61595" fmla="*/ 1159421 h 5973007"/>
              <a:gd name="connsiteX61596" fmla="*/ 1697636 w 6884782"/>
              <a:gd name="connsiteY61596" fmla="*/ 1153690 h 5973007"/>
              <a:gd name="connsiteX61597" fmla="*/ 1699495 w 6884782"/>
              <a:gd name="connsiteY61597" fmla="*/ 1148888 h 5973007"/>
              <a:gd name="connsiteX61598" fmla="*/ 1703418 w 6884782"/>
              <a:gd name="connsiteY61598" fmla="*/ 1148733 h 5973007"/>
              <a:gd name="connsiteX61599" fmla="*/ 4046012 w 6884782"/>
              <a:gd name="connsiteY61599" fmla="*/ 1148679 h 5973007"/>
              <a:gd name="connsiteX61600" fmla="*/ 4048999 w 6884782"/>
              <a:gd name="connsiteY61600" fmla="*/ 1156504 h 5973007"/>
              <a:gd name="connsiteX61601" fmla="*/ 4049213 w 6884782"/>
              <a:gd name="connsiteY61601" fmla="*/ 1165609 h 5973007"/>
              <a:gd name="connsiteX61602" fmla="*/ 4052414 w 6884782"/>
              <a:gd name="connsiteY61602" fmla="*/ 1167601 h 5973007"/>
              <a:gd name="connsiteX61603" fmla="*/ 4053054 w 6884782"/>
              <a:gd name="connsiteY61603" fmla="*/ 1171300 h 5973007"/>
              <a:gd name="connsiteX61604" fmla="*/ 4029365 w 6884782"/>
              <a:gd name="connsiteY61604" fmla="*/ 1175141 h 5973007"/>
              <a:gd name="connsiteX61605" fmla="*/ 4030432 w 6884782"/>
              <a:gd name="connsiteY61605" fmla="*/ 1170446 h 5973007"/>
              <a:gd name="connsiteX61606" fmla="*/ 4036408 w 6884782"/>
              <a:gd name="connsiteY61606" fmla="*/ 1166320 h 5973007"/>
              <a:gd name="connsiteX61607" fmla="*/ 4041743 w 6884782"/>
              <a:gd name="connsiteY61607" fmla="*/ 1164044 h 5973007"/>
              <a:gd name="connsiteX61608" fmla="*/ 4041316 w 6884782"/>
              <a:gd name="connsiteY61608" fmla="*/ 1155508 h 5973007"/>
              <a:gd name="connsiteX61609" fmla="*/ 4046012 w 6884782"/>
              <a:gd name="connsiteY61609" fmla="*/ 1148679 h 5973007"/>
              <a:gd name="connsiteX61610" fmla="*/ 1117749 w 6884782"/>
              <a:gd name="connsiteY61610" fmla="*/ 1148424 h 5973007"/>
              <a:gd name="connsiteX61611" fmla="*/ 1128694 w 6884782"/>
              <a:gd name="connsiteY61611" fmla="*/ 1151986 h 5973007"/>
              <a:gd name="connsiteX61612" fmla="*/ 1121466 w 6884782"/>
              <a:gd name="connsiteY61612" fmla="*/ 1155549 h 5973007"/>
              <a:gd name="connsiteX61613" fmla="*/ 1113722 w 6884782"/>
              <a:gd name="connsiteY61613" fmla="*/ 1150282 h 5973007"/>
              <a:gd name="connsiteX61614" fmla="*/ 1117749 w 6884782"/>
              <a:gd name="connsiteY61614" fmla="*/ 1148424 h 5973007"/>
              <a:gd name="connsiteX61615" fmla="*/ 1264682 w 6884782"/>
              <a:gd name="connsiteY61615" fmla="*/ 1148268 h 5973007"/>
              <a:gd name="connsiteX61616" fmla="*/ 1259829 w 6884782"/>
              <a:gd name="connsiteY61616" fmla="*/ 1155239 h 5973007"/>
              <a:gd name="connsiteX61617" fmla="*/ 1264682 w 6884782"/>
              <a:gd name="connsiteY61617" fmla="*/ 1148268 h 5973007"/>
              <a:gd name="connsiteX61618" fmla="*/ 4831610 w 6884782"/>
              <a:gd name="connsiteY61618" fmla="*/ 1147968 h 5973007"/>
              <a:gd name="connsiteX61619" fmla="*/ 4832677 w 6884782"/>
              <a:gd name="connsiteY61619" fmla="*/ 1150386 h 5973007"/>
              <a:gd name="connsiteX61620" fmla="*/ 4833317 w 6884782"/>
              <a:gd name="connsiteY61620" fmla="*/ 1153374 h 5973007"/>
              <a:gd name="connsiteX61621" fmla="*/ 4833957 w 6884782"/>
              <a:gd name="connsiteY61621" fmla="*/ 1156646 h 5973007"/>
              <a:gd name="connsiteX61622" fmla="*/ 4835238 w 6884782"/>
              <a:gd name="connsiteY61622" fmla="*/ 1158922 h 5973007"/>
              <a:gd name="connsiteX61623" fmla="*/ 4834384 w 6884782"/>
              <a:gd name="connsiteY61623" fmla="*/ 1164044 h 5973007"/>
              <a:gd name="connsiteX61624" fmla="*/ 4833103 w 6884782"/>
              <a:gd name="connsiteY61624" fmla="*/ 1161910 h 5973007"/>
              <a:gd name="connsiteX61625" fmla="*/ 4832677 w 6884782"/>
              <a:gd name="connsiteY61625" fmla="*/ 1158638 h 5973007"/>
              <a:gd name="connsiteX61626" fmla="*/ 4830756 w 6884782"/>
              <a:gd name="connsiteY61626" fmla="*/ 1157500 h 5973007"/>
              <a:gd name="connsiteX61627" fmla="*/ 4831610 w 6884782"/>
              <a:gd name="connsiteY61627" fmla="*/ 1147968 h 5973007"/>
              <a:gd name="connsiteX61628" fmla="*/ 3893630 w 6884782"/>
              <a:gd name="connsiteY61628" fmla="*/ 1147257 h 5973007"/>
              <a:gd name="connsiteX61629" fmla="*/ 3899606 w 6884782"/>
              <a:gd name="connsiteY61629" fmla="*/ 1152378 h 5973007"/>
              <a:gd name="connsiteX61630" fmla="*/ 3899392 w 6884782"/>
              <a:gd name="connsiteY61630" fmla="*/ 1156077 h 5973007"/>
              <a:gd name="connsiteX61631" fmla="*/ 3896404 w 6884782"/>
              <a:gd name="connsiteY61631" fmla="*/ 1159207 h 5973007"/>
              <a:gd name="connsiteX61632" fmla="*/ 3893203 w 6884782"/>
              <a:gd name="connsiteY61632" fmla="*/ 1160061 h 5973007"/>
              <a:gd name="connsiteX61633" fmla="*/ 3887654 w 6884782"/>
              <a:gd name="connsiteY61633" fmla="*/ 1156504 h 5973007"/>
              <a:gd name="connsiteX61634" fmla="*/ 3893630 w 6884782"/>
              <a:gd name="connsiteY61634" fmla="*/ 1147257 h 5973007"/>
              <a:gd name="connsiteX61635" fmla="*/ 3441820 w 6884782"/>
              <a:gd name="connsiteY61635" fmla="*/ 1147114 h 5973007"/>
              <a:gd name="connsiteX61636" fmla="*/ 3445662 w 6884782"/>
              <a:gd name="connsiteY61636" fmla="*/ 1147257 h 5973007"/>
              <a:gd name="connsiteX61637" fmla="*/ 3438619 w 6884782"/>
              <a:gd name="connsiteY61637" fmla="*/ 1151382 h 5973007"/>
              <a:gd name="connsiteX61638" fmla="*/ 3438406 w 6884782"/>
              <a:gd name="connsiteY61638" fmla="*/ 1147683 h 5973007"/>
              <a:gd name="connsiteX61639" fmla="*/ 3441820 w 6884782"/>
              <a:gd name="connsiteY61639" fmla="*/ 1147114 h 5973007"/>
              <a:gd name="connsiteX61640" fmla="*/ 4438064 w 6884782"/>
              <a:gd name="connsiteY61640" fmla="*/ 1146545 h 5973007"/>
              <a:gd name="connsiteX61641" fmla="*/ 4450442 w 6884782"/>
              <a:gd name="connsiteY61641" fmla="*/ 1162621 h 5973007"/>
              <a:gd name="connsiteX61642" fmla="*/ 4441478 w 6884782"/>
              <a:gd name="connsiteY61642" fmla="*/ 1169166 h 5973007"/>
              <a:gd name="connsiteX61643" fmla="*/ 4432301 w 6884782"/>
              <a:gd name="connsiteY61643" fmla="*/ 1151098 h 5973007"/>
              <a:gd name="connsiteX61644" fmla="*/ 4438064 w 6884782"/>
              <a:gd name="connsiteY61644" fmla="*/ 1146545 h 5973007"/>
              <a:gd name="connsiteX61645" fmla="*/ 1446517 w 6884782"/>
              <a:gd name="connsiteY61645" fmla="*/ 1145326 h 5973007"/>
              <a:gd name="connsiteX61646" fmla="*/ 1452919 w 6884782"/>
              <a:gd name="connsiteY61646" fmla="*/ 1146410 h 5973007"/>
              <a:gd name="connsiteX61647" fmla="*/ 1455087 w 6884782"/>
              <a:gd name="connsiteY61647" fmla="*/ 1148733 h 5973007"/>
              <a:gd name="connsiteX61648" fmla="*/ 1456532 w 6884782"/>
              <a:gd name="connsiteY61648" fmla="*/ 1147804 h 5973007"/>
              <a:gd name="connsiteX61649" fmla="*/ 1472331 w 6884782"/>
              <a:gd name="connsiteY61649" fmla="*/ 1156168 h 5973007"/>
              <a:gd name="connsiteX61650" fmla="*/ 1478010 w 6884782"/>
              <a:gd name="connsiteY61650" fmla="*/ 1164533 h 5973007"/>
              <a:gd name="connsiteX61651" fmla="*/ 1476977 w 6884782"/>
              <a:gd name="connsiteY61651" fmla="*/ 1167166 h 5973007"/>
              <a:gd name="connsiteX61652" fmla="*/ 1475841 w 6884782"/>
              <a:gd name="connsiteY61652" fmla="*/ 1168096 h 5973007"/>
              <a:gd name="connsiteX61653" fmla="*/ 1475428 w 6884782"/>
              <a:gd name="connsiteY61653" fmla="*/ 1169334 h 5973007"/>
              <a:gd name="connsiteX61654" fmla="*/ 1477494 w 6884782"/>
              <a:gd name="connsiteY61654" fmla="*/ 1178009 h 5973007"/>
              <a:gd name="connsiteX61655" fmla="*/ 1478010 w 6884782"/>
              <a:gd name="connsiteY61655" fmla="*/ 1174601 h 5973007"/>
              <a:gd name="connsiteX61656" fmla="*/ 1477906 w 6884782"/>
              <a:gd name="connsiteY61656" fmla="*/ 1175531 h 5973007"/>
              <a:gd name="connsiteX61657" fmla="*/ 1479662 w 6884782"/>
              <a:gd name="connsiteY61657" fmla="*/ 1175376 h 5973007"/>
              <a:gd name="connsiteX61658" fmla="*/ 1479662 w 6884782"/>
              <a:gd name="connsiteY61658" fmla="*/ 1174601 h 5973007"/>
              <a:gd name="connsiteX61659" fmla="*/ 1481417 w 6884782"/>
              <a:gd name="connsiteY61659" fmla="*/ 1175376 h 5973007"/>
              <a:gd name="connsiteX61660" fmla="*/ 1483792 w 6884782"/>
              <a:gd name="connsiteY61660" fmla="*/ 1181107 h 5973007"/>
              <a:gd name="connsiteX61661" fmla="*/ 1481211 w 6884782"/>
              <a:gd name="connsiteY61661" fmla="*/ 1182191 h 5973007"/>
              <a:gd name="connsiteX61662" fmla="*/ 1480075 w 6884782"/>
              <a:gd name="connsiteY61662" fmla="*/ 1181726 h 5973007"/>
              <a:gd name="connsiteX61663" fmla="*/ 1478630 w 6884782"/>
              <a:gd name="connsiteY61663" fmla="*/ 1182966 h 5973007"/>
              <a:gd name="connsiteX61664" fmla="*/ 1481107 w 6884782"/>
              <a:gd name="connsiteY61664" fmla="*/ 1192879 h 5973007"/>
              <a:gd name="connsiteX61665" fmla="*/ 1457152 w 6884782"/>
              <a:gd name="connsiteY61665" fmla="*/ 1217972 h 5973007"/>
              <a:gd name="connsiteX61666" fmla="*/ 1456120 w 6884782"/>
              <a:gd name="connsiteY61666" fmla="*/ 1217662 h 5973007"/>
              <a:gd name="connsiteX61667" fmla="*/ 1454880 w 6884782"/>
              <a:gd name="connsiteY61667" fmla="*/ 1218746 h 5973007"/>
              <a:gd name="connsiteX61668" fmla="*/ 1448892 w 6884782"/>
              <a:gd name="connsiteY61668" fmla="*/ 1220141 h 5973007"/>
              <a:gd name="connsiteX61669" fmla="*/ 1446826 w 6884782"/>
              <a:gd name="connsiteY61669" fmla="*/ 1216268 h 5973007"/>
              <a:gd name="connsiteX61670" fmla="*/ 1446826 w 6884782"/>
              <a:gd name="connsiteY61670" fmla="*/ 1215184 h 5973007"/>
              <a:gd name="connsiteX61671" fmla="*/ 1445071 w 6884782"/>
              <a:gd name="connsiteY61671" fmla="*/ 1215029 h 5973007"/>
              <a:gd name="connsiteX61672" fmla="*/ 1435262 w 6884782"/>
              <a:gd name="connsiteY61672" fmla="*/ 1215494 h 5973007"/>
              <a:gd name="connsiteX61673" fmla="*/ 1425659 w 6884782"/>
              <a:gd name="connsiteY61673" fmla="*/ 1207594 h 5973007"/>
              <a:gd name="connsiteX61674" fmla="*/ 1419257 w 6884782"/>
              <a:gd name="connsiteY61674" fmla="*/ 1200159 h 5973007"/>
              <a:gd name="connsiteX61675" fmla="*/ 1413165 w 6884782"/>
              <a:gd name="connsiteY61675" fmla="*/ 1200159 h 5973007"/>
              <a:gd name="connsiteX61676" fmla="*/ 1406763 w 6884782"/>
              <a:gd name="connsiteY61676" fmla="*/ 1199385 h 5973007"/>
              <a:gd name="connsiteX61677" fmla="*/ 1412649 w 6884782"/>
              <a:gd name="connsiteY61677" fmla="*/ 1197681 h 5973007"/>
              <a:gd name="connsiteX61678" fmla="*/ 1416469 w 6884782"/>
              <a:gd name="connsiteY61678" fmla="*/ 1198455 h 5973007"/>
              <a:gd name="connsiteX61679" fmla="*/ 1418018 w 6884782"/>
              <a:gd name="connsiteY61679" fmla="*/ 1198765 h 5973007"/>
              <a:gd name="connsiteX61680" fmla="*/ 1417089 w 6884782"/>
              <a:gd name="connsiteY61680" fmla="*/ 1197681 h 5973007"/>
              <a:gd name="connsiteX61681" fmla="*/ 1410067 w 6884782"/>
              <a:gd name="connsiteY61681" fmla="*/ 1174136 h 5973007"/>
              <a:gd name="connsiteX61682" fmla="*/ 1431028 w 6884782"/>
              <a:gd name="connsiteY61682" fmla="*/ 1148424 h 5973007"/>
              <a:gd name="connsiteX61683" fmla="*/ 1442696 w 6884782"/>
              <a:gd name="connsiteY61683" fmla="*/ 1150747 h 5973007"/>
              <a:gd name="connsiteX61684" fmla="*/ 1444865 w 6884782"/>
              <a:gd name="connsiteY61684" fmla="*/ 1150128 h 5973007"/>
              <a:gd name="connsiteX61685" fmla="*/ 3977290 w 6884782"/>
              <a:gd name="connsiteY61685" fmla="*/ 1144695 h 5973007"/>
              <a:gd name="connsiteX61686" fmla="*/ 3975156 w 6884782"/>
              <a:gd name="connsiteY61686" fmla="*/ 1151809 h 5973007"/>
              <a:gd name="connsiteX61687" fmla="*/ 3977290 w 6884782"/>
              <a:gd name="connsiteY61687" fmla="*/ 1144695 h 5973007"/>
              <a:gd name="connsiteX61688" fmla="*/ 3938874 w 6884782"/>
              <a:gd name="connsiteY61688" fmla="*/ 1143984 h 5973007"/>
              <a:gd name="connsiteX61689" fmla="*/ 3937594 w 6884782"/>
              <a:gd name="connsiteY61689" fmla="*/ 1205871 h 5973007"/>
              <a:gd name="connsiteX61690" fmla="*/ 3925216 w 6884782"/>
              <a:gd name="connsiteY61690" fmla="*/ 1203453 h 5973007"/>
              <a:gd name="connsiteX61691" fmla="*/ 3928631 w 6884782"/>
              <a:gd name="connsiteY61691" fmla="*/ 1187661 h 5973007"/>
              <a:gd name="connsiteX61692" fmla="*/ 3928204 w 6884782"/>
              <a:gd name="connsiteY61692" fmla="*/ 1185527 h 5973007"/>
              <a:gd name="connsiteX61693" fmla="*/ 3928844 w 6884782"/>
              <a:gd name="connsiteY61693" fmla="*/ 1182539 h 5973007"/>
              <a:gd name="connsiteX61694" fmla="*/ 3929911 w 6884782"/>
              <a:gd name="connsiteY61694" fmla="*/ 1181970 h 5973007"/>
              <a:gd name="connsiteX61695" fmla="*/ 3932046 w 6884782"/>
              <a:gd name="connsiteY61695" fmla="*/ 1172296 h 5973007"/>
              <a:gd name="connsiteX61696" fmla="*/ 3938874 w 6884782"/>
              <a:gd name="connsiteY61696" fmla="*/ 1143984 h 5973007"/>
              <a:gd name="connsiteX61697" fmla="*/ 4152294 w 6884782"/>
              <a:gd name="connsiteY61697" fmla="*/ 1142562 h 5973007"/>
              <a:gd name="connsiteX61698" fmla="*/ 4155709 w 6884782"/>
              <a:gd name="connsiteY61698" fmla="*/ 1143273 h 5973007"/>
              <a:gd name="connsiteX61699" fmla="*/ 4155069 w 6884782"/>
              <a:gd name="connsiteY61699" fmla="*/ 1151809 h 5973007"/>
              <a:gd name="connsiteX61700" fmla="*/ 4151654 w 6884782"/>
              <a:gd name="connsiteY61700" fmla="*/ 1153659 h 5973007"/>
              <a:gd name="connsiteX61701" fmla="*/ 4146318 w 6884782"/>
              <a:gd name="connsiteY61701" fmla="*/ 1151809 h 5973007"/>
              <a:gd name="connsiteX61702" fmla="*/ 4152294 w 6884782"/>
              <a:gd name="connsiteY61702" fmla="*/ 1142562 h 5973007"/>
              <a:gd name="connsiteX61703" fmla="*/ 1011704 w 6884782"/>
              <a:gd name="connsiteY61703" fmla="*/ 1142383 h 5973007"/>
              <a:gd name="connsiteX61704" fmla="*/ 1031323 w 6884782"/>
              <a:gd name="connsiteY61704" fmla="*/ 1157098 h 5973007"/>
              <a:gd name="connsiteX61705" fmla="*/ 1012531 w 6884782"/>
              <a:gd name="connsiteY61705" fmla="*/ 1147649 h 5973007"/>
              <a:gd name="connsiteX61706" fmla="*/ 1011395 w 6884782"/>
              <a:gd name="connsiteY61706" fmla="*/ 1143932 h 5973007"/>
              <a:gd name="connsiteX61707" fmla="*/ 1011704 w 6884782"/>
              <a:gd name="connsiteY61707" fmla="*/ 1142383 h 5973007"/>
              <a:gd name="connsiteX61708" fmla="*/ 881808 w 6884782"/>
              <a:gd name="connsiteY61708" fmla="*/ 1142383 h 5973007"/>
              <a:gd name="connsiteX61709" fmla="*/ 883357 w 6884782"/>
              <a:gd name="connsiteY61709" fmla="*/ 1149353 h 5973007"/>
              <a:gd name="connsiteX61710" fmla="*/ 878297 w 6884782"/>
              <a:gd name="connsiteY61710" fmla="*/ 1147959 h 5973007"/>
              <a:gd name="connsiteX61711" fmla="*/ 876749 w 6884782"/>
              <a:gd name="connsiteY61711" fmla="*/ 1145326 h 5973007"/>
              <a:gd name="connsiteX61712" fmla="*/ 878401 w 6884782"/>
              <a:gd name="connsiteY61712" fmla="*/ 1142847 h 5973007"/>
              <a:gd name="connsiteX61713" fmla="*/ 881808 w 6884782"/>
              <a:gd name="connsiteY61713" fmla="*/ 1142383 h 5973007"/>
              <a:gd name="connsiteX61714" fmla="*/ 1503617 w 6884782"/>
              <a:gd name="connsiteY61714" fmla="*/ 1141608 h 5973007"/>
              <a:gd name="connsiteX61715" fmla="*/ 1503721 w 6884782"/>
              <a:gd name="connsiteY61715" fmla="*/ 1143467 h 5973007"/>
              <a:gd name="connsiteX61716" fmla="*/ 1503204 w 6884782"/>
              <a:gd name="connsiteY61716" fmla="*/ 1145790 h 5973007"/>
              <a:gd name="connsiteX61717" fmla="*/ 1504134 w 6884782"/>
              <a:gd name="connsiteY61717" fmla="*/ 1147185 h 5973007"/>
              <a:gd name="connsiteX61718" fmla="*/ 1500933 w 6884782"/>
              <a:gd name="connsiteY61718" fmla="*/ 1152761 h 5973007"/>
              <a:gd name="connsiteX61719" fmla="*/ 1500829 w 6884782"/>
              <a:gd name="connsiteY61719" fmla="*/ 1150902 h 5973007"/>
              <a:gd name="connsiteX61720" fmla="*/ 1501242 w 6884782"/>
              <a:gd name="connsiteY61720" fmla="*/ 1148733 h 5973007"/>
              <a:gd name="connsiteX61721" fmla="*/ 1501759 w 6884782"/>
              <a:gd name="connsiteY61721" fmla="*/ 1146565 h 5973007"/>
              <a:gd name="connsiteX61722" fmla="*/ 1501552 w 6884782"/>
              <a:gd name="connsiteY61722" fmla="*/ 1144706 h 5973007"/>
              <a:gd name="connsiteX61723" fmla="*/ 1503617 w 6884782"/>
              <a:gd name="connsiteY61723" fmla="*/ 1141608 h 5973007"/>
              <a:gd name="connsiteX61724" fmla="*/ 4397514 w 6884782"/>
              <a:gd name="connsiteY61724" fmla="*/ 1141566 h 5973007"/>
              <a:gd name="connsiteX61725" fmla="*/ 4399221 w 6884782"/>
              <a:gd name="connsiteY61725" fmla="*/ 1146260 h 5973007"/>
              <a:gd name="connsiteX61726" fmla="*/ 4390044 w 6884782"/>
              <a:gd name="connsiteY61726" fmla="*/ 1151240 h 5973007"/>
              <a:gd name="connsiteX61727" fmla="*/ 4397514 w 6884782"/>
              <a:gd name="connsiteY61727" fmla="*/ 1141566 h 5973007"/>
              <a:gd name="connsiteX61728" fmla="*/ 1433610 w 6884782"/>
              <a:gd name="connsiteY61728" fmla="*/ 1141143 h 5973007"/>
              <a:gd name="connsiteX61729" fmla="*/ 1435365 w 6884782"/>
              <a:gd name="connsiteY61729" fmla="*/ 1141143 h 5973007"/>
              <a:gd name="connsiteX61730" fmla="*/ 1436707 w 6884782"/>
              <a:gd name="connsiteY61730" fmla="*/ 1143157 h 5973007"/>
              <a:gd name="connsiteX61731" fmla="*/ 1434436 w 6884782"/>
              <a:gd name="connsiteY61731" fmla="*/ 1146565 h 5973007"/>
              <a:gd name="connsiteX61732" fmla="*/ 1429583 w 6884782"/>
              <a:gd name="connsiteY61732" fmla="*/ 1147339 h 5973007"/>
              <a:gd name="connsiteX61733" fmla="*/ 1427517 w 6884782"/>
              <a:gd name="connsiteY61733" fmla="*/ 1149043 h 5973007"/>
              <a:gd name="connsiteX61734" fmla="*/ 1426795 w 6884782"/>
              <a:gd name="connsiteY61734" fmla="*/ 1148578 h 5973007"/>
              <a:gd name="connsiteX61735" fmla="*/ 1433610 w 6884782"/>
              <a:gd name="connsiteY61735" fmla="*/ 1141143 h 5973007"/>
              <a:gd name="connsiteX61736" fmla="*/ 1231537 w 6884782"/>
              <a:gd name="connsiteY61736" fmla="*/ 1140369 h 5973007"/>
              <a:gd name="connsiteX61737" fmla="*/ 1239798 w 6884782"/>
              <a:gd name="connsiteY61737" fmla="*/ 1146565 h 5973007"/>
              <a:gd name="connsiteX61738" fmla="*/ 1238559 w 6884782"/>
              <a:gd name="connsiteY61738" fmla="*/ 1147804 h 5973007"/>
              <a:gd name="connsiteX61739" fmla="*/ 1240314 w 6884782"/>
              <a:gd name="connsiteY61739" fmla="*/ 1148424 h 5973007"/>
              <a:gd name="connsiteX61740" fmla="*/ 1242482 w 6884782"/>
              <a:gd name="connsiteY61740" fmla="*/ 1149972 h 5973007"/>
              <a:gd name="connsiteX61741" fmla="*/ 1240521 w 6884782"/>
              <a:gd name="connsiteY61741" fmla="*/ 1155859 h 5973007"/>
              <a:gd name="connsiteX61742" fmla="*/ 1237836 w 6884782"/>
              <a:gd name="connsiteY61742" fmla="*/ 1156943 h 5973007"/>
              <a:gd name="connsiteX61743" fmla="*/ 1232673 w 6884782"/>
              <a:gd name="connsiteY61743" fmla="*/ 1156323 h 5973007"/>
              <a:gd name="connsiteX61744" fmla="*/ 1232673 w 6884782"/>
              <a:gd name="connsiteY61744" fmla="*/ 1157098 h 5973007"/>
              <a:gd name="connsiteX61745" fmla="*/ 1232054 w 6884782"/>
              <a:gd name="connsiteY61745" fmla="*/ 1152141 h 5973007"/>
              <a:gd name="connsiteX61746" fmla="*/ 1232570 w 6884782"/>
              <a:gd name="connsiteY61746" fmla="*/ 1151676 h 5973007"/>
              <a:gd name="connsiteX61747" fmla="*/ 1231847 w 6884782"/>
              <a:gd name="connsiteY61747" fmla="*/ 1151986 h 5973007"/>
              <a:gd name="connsiteX61748" fmla="*/ 1229059 w 6884782"/>
              <a:gd name="connsiteY61748" fmla="*/ 1146565 h 5973007"/>
              <a:gd name="connsiteX61749" fmla="*/ 1231537 w 6884782"/>
              <a:gd name="connsiteY61749" fmla="*/ 1140369 h 5973007"/>
              <a:gd name="connsiteX61750" fmla="*/ 4329860 w 6884782"/>
              <a:gd name="connsiteY61750" fmla="*/ 1140001 h 5973007"/>
              <a:gd name="connsiteX61751" fmla="*/ 4335835 w 6884782"/>
              <a:gd name="connsiteY61751" fmla="*/ 1141993 h 5973007"/>
              <a:gd name="connsiteX61752" fmla="*/ 4334341 w 6884782"/>
              <a:gd name="connsiteY61752" fmla="*/ 1151667 h 5973007"/>
              <a:gd name="connsiteX61753" fmla="*/ 4325805 w 6884782"/>
              <a:gd name="connsiteY61753" fmla="*/ 1149675 h 5973007"/>
              <a:gd name="connsiteX61754" fmla="*/ 4329860 w 6884782"/>
              <a:gd name="connsiteY61754" fmla="*/ 1140001 h 5973007"/>
              <a:gd name="connsiteX61755" fmla="*/ 1031014 w 6884782"/>
              <a:gd name="connsiteY61755" fmla="*/ 1139595 h 5973007"/>
              <a:gd name="connsiteX61756" fmla="*/ 1035970 w 6884782"/>
              <a:gd name="connsiteY61756" fmla="*/ 1140369 h 5973007"/>
              <a:gd name="connsiteX61757" fmla="*/ 1034834 w 6884782"/>
              <a:gd name="connsiteY61757" fmla="*/ 1143467 h 5973007"/>
              <a:gd name="connsiteX61758" fmla="*/ 1031014 w 6884782"/>
              <a:gd name="connsiteY61758" fmla="*/ 1139595 h 5973007"/>
              <a:gd name="connsiteX61759" fmla="*/ 4872159 w 6884782"/>
              <a:gd name="connsiteY61759" fmla="*/ 1139147 h 5973007"/>
              <a:gd name="connsiteX61760" fmla="*/ 4874720 w 6884782"/>
              <a:gd name="connsiteY61760" fmla="*/ 1140569 h 5973007"/>
              <a:gd name="connsiteX61761" fmla="*/ 4876215 w 6884782"/>
              <a:gd name="connsiteY61761" fmla="*/ 1142704 h 5973007"/>
              <a:gd name="connsiteX61762" fmla="*/ 4874080 w 6884782"/>
              <a:gd name="connsiteY61762" fmla="*/ 1146545 h 5973007"/>
              <a:gd name="connsiteX61763" fmla="*/ 4868958 w 6884782"/>
              <a:gd name="connsiteY61763" fmla="*/ 1151382 h 5973007"/>
              <a:gd name="connsiteX61764" fmla="*/ 4867464 w 6884782"/>
              <a:gd name="connsiteY61764" fmla="*/ 1155081 h 5973007"/>
              <a:gd name="connsiteX61765" fmla="*/ 4866397 w 6884782"/>
              <a:gd name="connsiteY61765" fmla="*/ 1155081 h 5973007"/>
              <a:gd name="connsiteX61766" fmla="*/ 4870025 w 6884782"/>
              <a:gd name="connsiteY61766" fmla="*/ 1140428 h 5973007"/>
              <a:gd name="connsiteX61767" fmla="*/ 4872159 w 6884782"/>
              <a:gd name="connsiteY61767" fmla="*/ 1139147 h 5973007"/>
              <a:gd name="connsiteX61768" fmla="*/ 3962991 w 6884782"/>
              <a:gd name="connsiteY61768" fmla="*/ 1138721 h 5973007"/>
              <a:gd name="connsiteX61769" fmla="*/ 3966619 w 6884782"/>
              <a:gd name="connsiteY61769" fmla="*/ 1139289 h 5973007"/>
              <a:gd name="connsiteX61770" fmla="*/ 3967687 w 6884782"/>
              <a:gd name="connsiteY61770" fmla="*/ 1146403 h 5973007"/>
              <a:gd name="connsiteX61771" fmla="*/ 3959150 w 6884782"/>
              <a:gd name="connsiteY61771" fmla="*/ 1143273 h 5973007"/>
              <a:gd name="connsiteX61772" fmla="*/ 3960004 w 6884782"/>
              <a:gd name="connsiteY61772" fmla="*/ 1140854 h 5973007"/>
              <a:gd name="connsiteX61773" fmla="*/ 3962991 w 6884782"/>
              <a:gd name="connsiteY61773" fmla="*/ 1138721 h 5973007"/>
              <a:gd name="connsiteX61774" fmla="*/ 3795670 w 6884782"/>
              <a:gd name="connsiteY61774" fmla="*/ 1138578 h 5973007"/>
              <a:gd name="connsiteX61775" fmla="*/ 3804207 w 6884782"/>
              <a:gd name="connsiteY61775" fmla="*/ 1141993 h 5973007"/>
              <a:gd name="connsiteX61776" fmla="*/ 3795670 w 6884782"/>
              <a:gd name="connsiteY61776" fmla="*/ 1153374 h 5973007"/>
              <a:gd name="connsiteX61777" fmla="*/ 3794176 w 6884782"/>
              <a:gd name="connsiteY61777" fmla="*/ 1151667 h 5973007"/>
              <a:gd name="connsiteX61778" fmla="*/ 3793323 w 6884782"/>
              <a:gd name="connsiteY61778" fmla="*/ 1154085 h 5973007"/>
              <a:gd name="connsiteX61779" fmla="*/ 3790975 w 6884782"/>
              <a:gd name="connsiteY61779" fmla="*/ 1157215 h 5973007"/>
              <a:gd name="connsiteX61780" fmla="*/ 3782865 w 6884782"/>
              <a:gd name="connsiteY61780" fmla="*/ 1154370 h 5973007"/>
              <a:gd name="connsiteX61781" fmla="*/ 3781585 w 6884782"/>
              <a:gd name="connsiteY61781" fmla="*/ 1150813 h 5973007"/>
              <a:gd name="connsiteX61782" fmla="*/ 3782438 w 6884782"/>
              <a:gd name="connsiteY61782" fmla="*/ 1143700 h 5973007"/>
              <a:gd name="connsiteX61783" fmla="*/ 3781371 w 6884782"/>
              <a:gd name="connsiteY61783" fmla="*/ 1143558 h 5973007"/>
              <a:gd name="connsiteX61784" fmla="*/ 3788201 w 6884782"/>
              <a:gd name="connsiteY61784" fmla="*/ 1142704 h 5973007"/>
              <a:gd name="connsiteX61785" fmla="*/ 3788841 w 6884782"/>
              <a:gd name="connsiteY61785" fmla="*/ 1143415 h 5973007"/>
              <a:gd name="connsiteX61786" fmla="*/ 3788414 w 6884782"/>
              <a:gd name="connsiteY61786" fmla="*/ 1142419 h 5973007"/>
              <a:gd name="connsiteX61787" fmla="*/ 3795670 w 6884782"/>
              <a:gd name="connsiteY61787" fmla="*/ 1138578 h 5973007"/>
              <a:gd name="connsiteX61788" fmla="*/ 1534904 w 6884782"/>
              <a:gd name="connsiteY61788" fmla="*/ 1138510 h 5973007"/>
              <a:gd name="connsiteX61789" fmla="*/ 1536969 w 6884782"/>
              <a:gd name="connsiteY61789" fmla="*/ 1140214 h 5973007"/>
              <a:gd name="connsiteX61790" fmla="*/ 1535730 w 6884782"/>
              <a:gd name="connsiteY61790" fmla="*/ 1142847 h 5973007"/>
              <a:gd name="connsiteX61791" fmla="*/ 1536763 w 6884782"/>
              <a:gd name="connsiteY61791" fmla="*/ 1146255 h 5973007"/>
              <a:gd name="connsiteX61792" fmla="*/ 1536453 w 6884782"/>
              <a:gd name="connsiteY61792" fmla="*/ 1147185 h 5973007"/>
              <a:gd name="connsiteX61793" fmla="*/ 1537279 w 6884782"/>
              <a:gd name="connsiteY61793" fmla="*/ 1147030 h 5973007"/>
              <a:gd name="connsiteX61794" fmla="*/ 1529225 w 6884782"/>
              <a:gd name="connsiteY61794" fmla="*/ 1171658 h 5973007"/>
              <a:gd name="connsiteX61795" fmla="*/ 1521791 w 6884782"/>
              <a:gd name="connsiteY61795" fmla="*/ 1163294 h 5973007"/>
              <a:gd name="connsiteX61796" fmla="*/ 1531806 w 6884782"/>
              <a:gd name="connsiteY61796" fmla="*/ 1147339 h 5973007"/>
              <a:gd name="connsiteX61797" fmla="*/ 1535110 w 6884782"/>
              <a:gd name="connsiteY61797" fmla="*/ 1147185 h 5973007"/>
              <a:gd name="connsiteX61798" fmla="*/ 1535110 w 6884782"/>
              <a:gd name="connsiteY61798" fmla="*/ 1146720 h 5973007"/>
              <a:gd name="connsiteX61799" fmla="*/ 1535627 w 6884782"/>
              <a:gd name="connsiteY61799" fmla="*/ 1145790 h 5973007"/>
              <a:gd name="connsiteX61800" fmla="*/ 1533871 w 6884782"/>
              <a:gd name="connsiteY61800" fmla="*/ 1139904 h 5973007"/>
              <a:gd name="connsiteX61801" fmla="*/ 1534904 w 6884782"/>
              <a:gd name="connsiteY61801" fmla="*/ 1138510 h 5973007"/>
              <a:gd name="connsiteX61802" fmla="*/ 1218011 w 6884782"/>
              <a:gd name="connsiteY61802" fmla="*/ 1138510 h 5973007"/>
              <a:gd name="connsiteX61803" fmla="*/ 1225652 w 6884782"/>
              <a:gd name="connsiteY61803" fmla="*/ 1143157 h 5973007"/>
              <a:gd name="connsiteX61804" fmla="*/ 1215532 w 6884782"/>
              <a:gd name="connsiteY61804" fmla="*/ 1142847 h 5973007"/>
              <a:gd name="connsiteX61805" fmla="*/ 1218011 w 6884782"/>
              <a:gd name="connsiteY61805" fmla="*/ 1138510 h 5973007"/>
              <a:gd name="connsiteX61806" fmla="*/ 4358031 w 6884782"/>
              <a:gd name="connsiteY61806" fmla="*/ 1138436 h 5973007"/>
              <a:gd name="connsiteX61807" fmla="*/ 4370409 w 6884782"/>
              <a:gd name="connsiteY61807" fmla="*/ 1160488 h 5973007"/>
              <a:gd name="connsiteX61808" fmla="*/ 4354830 w 6884782"/>
              <a:gd name="connsiteY61808" fmla="*/ 1145407 h 5973007"/>
              <a:gd name="connsiteX61809" fmla="*/ 4358031 w 6884782"/>
              <a:gd name="connsiteY61809" fmla="*/ 1138436 h 5973007"/>
              <a:gd name="connsiteX61810" fmla="*/ 1069322 w 6884782"/>
              <a:gd name="connsiteY61810" fmla="*/ 1137891 h 5973007"/>
              <a:gd name="connsiteX61811" fmla="*/ 1091831 w 6884782"/>
              <a:gd name="connsiteY61811" fmla="*/ 1145790 h 5973007"/>
              <a:gd name="connsiteX61812" fmla="*/ 1069322 w 6884782"/>
              <a:gd name="connsiteY61812" fmla="*/ 1137891 h 5973007"/>
              <a:gd name="connsiteX61813" fmla="*/ 3396362 w 6884782"/>
              <a:gd name="connsiteY61813" fmla="*/ 1137724 h 5973007"/>
              <a:gd name="connsiteX61814" fmla="*/ 3395081 w 6884782"/>
              <a:gd name="connsiteY61814" fmla="*/ 1138294 h 5973007"/>
              <a:gd name="connsiteX61815" fmla="*/ 3395295 w 6884782"/>
              <a:gd name="connsiteY61815" fmla="*/ 1138294 h 5973007"/>
              <a:gd name="connsiteX61816" fmla="*/ 3397002 w 6884782"/>
              <a:gd name="connsiteY61816" fmla="*/ 1143273 h 5973007"/>
              <a:gd name="connsiteX61817" fmla="*/ 3397856 w 6884782"/>
              <a:gd name="connsiteY61817" fmla="*/ 1142277 h 5973007"/>
              <a:gd name="connsiteX61818" fmla="*/ 3399776 w 6884782"/>
              <a:gd name="connsiteY61818" fmla="*/ 1141850 h 5973007"/>
              <a:gd name="connsiteX61819" fmla="*/ 3399350 w 6884782"/>
              <a:gd name="connsiteY61819" fmla="*/ 1139858 h 5973007"/>
              <a:gd name="connsiteX61820" fmla="*/ 3398069 w 6884782"/>
              <a:gd name="connsiteY61820" fmla="*/ 1137724 h 5973007"/>
              <a:gd name="connsiteX61821" fmla="*/ 3397856 w 6884782"/>
              <a:gd name="connsiteY61821" fmla="*/ 1138436 h 5973007"/>
              <a:gd name="connsiteX61822" fmla="*/ 1158329 w 6884782"/>
              <a:gd name="connsiteY61822" fmla="*/ 1137271 h 5973007"/>
              <a:gd name="connsiteX61823" fmla="*/ 1163388 w 6884782"/>
              <a:gd name="connsiteY61823" fmla="*/ 1137735 h 5973007"/>
              <a:gd name="connsiteX61824" fmla="*/ 1166692 w 6884782"/>
              <a:gd name="connsiteY61824" fmla="*/ 1137426 h 5973007"/>
              <a:gd name="connsiteX61825" fmla="*/ 1168757 w 6884782"/>
              <a:gd name="connsiteY61825" fmla="*/ 1139285 h 5973007"/>
              <a:gd name="connsiteX61826" fmla="*/ 1162252 w 6884782"/>
              <a:gd name="connsiteY61826" fmla="*/ 1142692 h 5973007"/>
              <a:gd name="connsiteX61827" fmla="*/ 1156160 w 6884782"/>
              <a:gd name="connsiteY61827" fmla="*/ 1140679 h 5973007"/>
              <a:gd name="connsiteX61828" fmla="*/ 1158329 w 6884782"/>
              <a:gd name="connsiteY61828" fmla="*/ 1137271 h 5973007"/>
              <a:gd name="connsiteX61829" fmla="*/ 3689814 w 6884782"/>
              <a:gd name="connsiteY61829" fmla="*/ 1136302 h 5973007"/>
              <a:gd name="connsiteX61830" fmla="*/ 3693655 w 6884782"/>
              <a:gd name="connsiteY61830" fmla="*/ 1138294 h 5973007"/>
              <a:gd name="connsiteX61831" fmla="*/ 3694082 w 6884782"/>
              <a:gd name="connsiteY61831" fmla="*/ 1142562 h 5973007"/>
              <a:gd name="connsiteX61832" fmla="*/ 3691095 w 6884782"/>
              <a:gd name="connsiteY61832" fmla="*/ 1146118 h 5973007"/>
              <a:gd name="connsiteX61833" fmla="*/ 3683625 w 6884782"/>
              <a:gd name="connsiteY61833" fmla="*/ 1139005 h 5973007"/>
              <a:gd name="connsiteX61834" fmla="*/ 3689814 w 6884782"/>
              <a:gd name="connsiteY61834" fmla="*/ 1136302 h 5973007"/>
              <a:gd name="connsiteX61835" fmla="*/ 1107643 w 6884782"/>
              <a:gd name="connsiteY61835" fmla="*/ 1135877 h 5973007"/>
              <a:gd name="connsiteX61836" fmla="*/ 1121982 w 6884782"/>
              <a:gd name="connsiteY61836" fmla="*/ 1138355 h 5973007"/>
              <a:gd name="connsiteX61837" fmla="*/ 1094620 w 6884782"/>
              <a:gd name="connsiteY61837" fmla="*/ 1145481 h 5973007"/>
              <a:gd name="connsiteX61838" fmla="*/ 1107643 w 6884782"/>
              <a:gd name="connsiteY61838" fmla="*/ 1135877 h 5973007"/>
              <a:gd name="connsiteX61839" fmla="*/ 3643715 w 6884782"/>
              <a:gd name="connsiteY61839" fmla="*/ 1135875 h 5973007"/>
              <a:gd name="connsiteX61840" fmla="*/ 3646917 w 6884782"/>
              <a:gd name="connsiteY61840" fmla="*/ 1151809 h 5973007"/>
              <a:gd name="connsiteX61841" fmla="*/ 3644782 w 6884782"/>
              <a:gd name="connsiteY61841" fmla="*/ 1153659 h 5973007"/>
              <a:gd name="connsiteX61842" fmla="*/ 3645209 w 6884782"/>
              <a:gd name="connsiteY61842" fmla="*/ 1157926 h 5973007"/>
              <a:gd name="connsiteX61843" fmla="*/ 3643929 w 6884782"/>
              <a:gd name="connsiteY61843" fmla="*/ 1163760 h 5973007"/>
              <a:gd name="connsiteX61844" fmla="*/ 3632404 w 6884782"/>
              <a:gd name="connsiteY61844" fmla="*/ 1163333 h 5973007"/>
              <a:gd name="connsiteX61845" fmla="*/ 3627922 w 6884782"/>
              <a:gd name="connsiteY61845" fmla="*/ 1157642 h 5973007"/>
              <a:gd name="connsiteX61846" fmla="*/ 3627709 w 6884782"/>
              <a:gd name="connsiteY61846" fmla="*/ 1155366 h 5973007"/>
              <a:gd name="connsiteX61847" fmla="*/ 3627495 w 6884782"/>
              <a:gd name="connsiteY61847" fmla="*/ 1155366 h 5973007"/>
              <a:gd name="connsiteX61848" fmla="*/ 3615757 w 6884782"/>
              <a:gd name="connsiteY61848" fmla="*/ 1147541 h 5973007"/>
              <a:gd name="connsiteX61849" fmla="*/ 3622587 w 6884782"/>
              <a:gd name="connsiteY61849" fmla="*/ 1139431 h 5973007"/>
              <a:gd name="connsiteX61850" fmla="*/ 3630056 w 6884782"/>
              <a:gd name="connsiteY61850" fmla="*/ 1142988 h 5973007"/>
              <a:gd name="connsiteX61851" fmla="*/ 3633258 w 6884782"/>
              <a:gd name="connsiteY61851" fmla="*/ 1141139 h 5973007"/>
              <a:gd name="connsiteX61852" fmla="*/ 3636672 w 6884782"/>
              <a:gd name="connsiteY61852" fmla="*/ 1136159 h 5973007"/>
              <a:gd name="connsiteX61853" fmla="*/ 3643715 w 6884782"/>
              <a:gd name="connsiteY61853" fmla="*/ 1135875 h 5973007"/>
              <a:gd name="connsiteX61854" fmla="*/ 4255376 w 6884782"/>
              <a:gd name="connsiteY61854" fmla="*/ 1134168 h 5973007"/>
              <a:gd name="connsiteX61855" fmla="*/ 4267968 w 6884782"/>
              <a:gd name="connsiteY61855" fmla="*/ 1141993 h 5973007"/>
              <a:gd name="connsiteX61856" fmla="*/ 4268395 w 6884782"/>
              <a:gd name="connsiteY61856" fmla="*/ 1148252 h 5973007"/>
              <a:gd name="connsiteX61857" fmla="*/ 4257724 w 6884782"/>
              <a:gd name="connsiteY61857" fmla="*/ 1146118 h 5973007"/>
              <a:gd name="connsiteX61858" fmla="*/ 4255376 w 6884782"/>
              <a:gd name="connsiteY61858" fmla="*/ 1134168 h 5973007"/>
              <a:gd name="connsiteX61859" fmla="*/ 1109282 w 6884782"/>
              <a:gd name="connsiteY61859" fmla="*/ 1133709 h 5973007"/>
              <a:gd name="connsiteX61860" fmla="*/ 1106803 w 6884782"/>
              <a:gd name="connsiteY61860" fmla="*/ 1134173 h 5973007"/>
              <a:gd name="connsiteX61861" fmla="*/ 1105978 w 6884782"/>
              <a:gd name="connsiteY61861" fmla="*/ 1135567 h 5973007"/>
              <a:gd name="connsiteX61862" fmla="*/ 1103190 w 6884782"/>
              <a:gd name="connsiteY61862" fmla="*/ 1134793 h 5973007"/>
              <a:gd name="connsiteX61863" fmla="*/ 1109282 w 6884782"/>
              <a:gd name="connsiteY61863" fmla="*/ 1133709 h 5973007"/>
              <a:gd name="connsiteX61864" fmla="*/ 3442674 w 6884782"/>
              <a:gd name="connsiteY61864" fmla="*/ 1132318 h 5973007"/>
              <a:gd name="connsiteX61865" fmla="*/ 3445875 w 6884782"/>
              <a:gd name="connsiteY61865" fmla="*/ 1134310 h 5973007"/>
              <a:gd name="connsiteX61866" fmla="*/ 3446942 w 6884782"/>
              <a:gd name="connsiteY61866" fmla="*/ 1137724 h 5973007"/>
              <a:gd name="connsiteX61867" fmla="*/ 3440753 w 6884782"/>
              <a:gd name="connsiteY61867" fmla="*/ 1141566 h 5973007"/>
              <a:gd name="connsiteX61868" fmla="*/ 3440113 w 6884782"/>
              <a:gd name="connsiteY61868" fmla="*/ 1132603 h 5973007"/>
              <a:gd name="connsiteX61869" fmla="*/ 3442674 w 6884782"/>
              <a:gd name="connsiteY61869" fmla="*/ 1132318 h 5973007"/>
              <a:gd name="connsiteX61870" fmla="*/ 3655667 w 6884782"/>
              <a:gd name="connsiteY61870" fmla="*/ 1132033 h 5973007"/>
              <a:gd name="connsiteX61871" fmla="*/ 3665484 w 6884782"/>
              <a:gd name="connsiteY61871" fmla="*/ 1138009 h 5973007"/>
              <a:gd name="connsiteX61872" fmla="*/ 3655667 w 6884782"/>
              <a:gd name="connsiteY61872" fmla="*/ 1150529 h 5973007"/>
              <a:gd name="connsiteX61873" fmla="*/ 3655667 w 6884782"/>
              <a:gd name="connsiteY61873" fmla="*/ 1132033 h 5973007"/>
              <a:gd name="connsiteX61874" fmla="*/ 1584364 w 6884782"/>
              <a:gd name="connsiteY61874" fmla="*/ 1131385 h 5973007"/>
              <a:gd name="connsiteX61875" fmla="*/ 1593657 w 6884782"/>
              <a:gd name="connsiteY61875" fmla="*/ 1139595 h 5973007"/>
              <a:gd name="connsiteX61876" fmla="*/ 1593554 w 6884782"/>
              <a:gd name="connsiteY61876" fmla="*/ 1142538 h 5973007"/>
              <a:gd name="connsiteX61877" fmla="*/ 1594793 w 6884782"/>
              <a:gd name="connsiteY61877" fmla="*/ 1140369 h 5973007"/>
              <a:gd name="connsiteX61878" fmla="*/ 1598716 w 6884782"/>
              <a:gd name="connsiteY61878" fmla="*/ 1139285 h 5973007"/>
              <a:gd name="connsiteX61879" fmla="*/ 1597994 w 6884782"/>
              <a:gd name="connsiteY61879" fmla="*/ 1139595 h 5973007"/>
              <a:gd name="connsiteX61880" fmla="*/ 1598716 w 6884782"/>
              <a:gd name="connsiteY61880" fmla="*/ 1141143 h 5973007"/>
              <a:gd name="connsiteX61881" fmla="*/ 1599542 w 6884782"/>
              <a:gd name="connsiteY61881" fmla="*/ 1140833 h 5973007"/>
              <a:gd name="connsiteX61882" fmla="*/ 1599542 w 6884782"/>
              <a:gd name="connsiteY61882" fmla="*/ 1142692 h 5973007"/>
              <a:gd name="connsiteX61883" fmla="*/ 1595102 w 6884782"/>
              <a:gd name="connsiteY61883" fmla="*/ 1147339 h 5973007"/>
              <a:gd name="connsiteX61884" fmla="*/ 1593140 w 6884782"/>
              <a:gd name="connsiteY61884" fmla="*/ 1145326 h 5973007"/>
              <a:gd name="connsiteX61885" fmla="*/ 1593140 w 6884782"/>
              <a:gd name="connsiteY61885" fmla="*/ 1144087 h 5973007"/>
              <a:gd name="connsiteX61886" fmla="*/ 1588700 w 6884782"/>
              <a:gd name="connsiteY61886" fmla="*/ 1142073 h 5973007"/>
              <a:gd name="connsiteX61887" fmla="*/ 1584364 w 6884782"/>
              <a:gd name="connsiteY61887" fmla="*/ 1131385 h 5973007"/>
              <a:gd name="connsiteX61888" fmla="*/ 1149345 w 6884782"/>
              <a:gd name="connsiteY61888" fmla="*/ 1131075 h 5973007"/>
              <a:gd name="connsiteX61889" fmla="*/ 1155025 w 6884782"/>
              <a:gd name="connsiteY61889" fmla="*/ 1139130 h 5973007"/>
              <a:gd name="connsiteX61890" fmla="*/ 1152236 w 6884782"/>
              <a:gd name="connsiteY61890" fmla="*/ 1141608 h 5973007"/>
              <a:gd name="connsiteX61891" fmla="*/ 1145008 w 6884782"/>
              <a:gd name="connsiteY61891" fmla="*/ 1134638 h 5973007"/>
              <a:gd name="connsiteX61892" fmla="*/ 1149345 w 6884782"/>
              <a:gd name="connsiteY61892" fmla="*/ 1131075 h 5973007"/>
              <a:gd name="connsiteX61893" fmla="*/ 1246303 w 6884782"/>
              <a:gd name="connsiteY61893" fmla="*/ 1130765 h 5973007"/>
              <a:gd name="connsiteX61894" fmla="*/ 1251775 w 6884782"/>
              <a:gd name="connsiteY61894" fmla="*/ 1138355 h 5973007"/>
              <a:gd name="connsiteX61895" fmla="*/ 1245373 w 6884782"/>
              <a:gd name="connsiteY61895" fmla="*/ 1132779 h 5973007"/>
              <a:gd name="connsiteX61896" fmla="*/ 1246303 w 6884782"/>
              <a:gd name="connsiteY61896" fmla="*/ 1130765 h 5973007"/>
              <a:gd name="connsiteX61897" fmla="*/ 4399648 w 6884782"/>
              <a:gd name="connsiteY61897" fmla="*/ 1130042 h 5973007"/>
              <a:gd name="connsiteX61898" fmla="*/ 4401782 w 6884782"/>
              <a:gd name="connsiteY61898" fmla="*/ 1140428 h 5973007"/>
              <a:gd name="connsiteX61899" fmla="*/ 4399648 w 6884782"/>
              <a:gd name="connsiteY61899" fmla="*/ 1130042 h 5973007"/>
              <a:gd name="connsiteX61900" fmla="*/ 4837799 w 6884782"/>
              <a:gd name="connsiteY61900" fmla="*/ 1129188 h 5973007"/>
              <a:gd name="connsiteX61901" fmla="*/ 4838652 w 6884782"/>
              <a:gd name="connsiteY61901" fmla="*/ 1131607 h 5973007"/>
              <a:gd name="connsiteX61902" fmla="*/ 4838439 w 6884782"/>
              <a:gd name="connsiteY61902" fmla="*/ 1135448 h 5973007"/>
              <a:gd name="connsiteX61903" fmla="*/ 4832250 w 6884782"/>
              <a:gd name="connsiteY61903" fmla="*/ 1136586 h 5973007"/>
              <a:gd name="connsiteX61904" fmla="*/ 4831396 w 6884782"/>
              <a:gd name="connsiteY61904" fmla="*/ 1134026 h 5973007"/>
              <a:gd name="connsiteX61905" fmla="*/ 4832890 w 6884782"/>
              <a:gd name="connsiteY61905" fmla="*/ 1130327 h 5973007"/>
              <a:gd name="connsiteX61906" fmla="*/ 4837799 w 6884782"/>
              <a:gd name="connsiteY61906" fmla="*/ 1129188 h 5973007"/>
              <a:gd name="connsiteX61907" fmla="*/ 1117026 w 6884782"/>
              <a:gd name="connsiteY61907" fmla="*/ 1128132 h 5973007"/>
              <a:gd name="connsiteX61908" fmla="*/ 1118988 w 6884782"/>
              <a:gd name="connsiteY61908" fmla="*/ 1128442 h 5973007"/>
              <a:gd name="connsiteX61909" fmla="*/ 1118368 w 6884782"/>
              <a:gd name="connsiteY61909" fmla="*/ 1130920 h 5973007"/>
              <a:gd name="connsiteX61910" fmla="*/ 1115271 w 6884782"/>
              <a:gd name="connsiteY61910" fmla="*/ 1130920 h 5973007"/>
              <a:gd name="connsiteX61911" fmla="*/ 1112793 w 6884782"/>
              <a:gd name="connsiteY61911" fmla="*/ 1133089 h 5973007"/>
              <a:gd name="connsiteX61912" fmla="*/ 1109695 w 6884782"/>
              <a:gd name="connsiteY61912" fmla="*/ 1133089 h 5973007"/>
              <a:gd name="connsiteX61913" fmla="*/ 1109488 w 6884782"/>
              <a:gd name="connsiteY61913" fmla="*/ 1132005 h 5973007"/>
              <a:gd name="connsiteX61914" fmla="*/ 1110108 w 6884782"/>
              <a:gd name="connsiteY61914" fmla="*/ 1132314 h 5973007"/>
              <a:gd name="connsiteX61915" fmla="*/ 1112483 w 6884782"/>
              <a:gd name="connsiteY61915" fmla="*/ 1132005 h 5973007"/>
              <a:gd name="connsiteX61916" fmla="*/ 1117026 w 6884782"/>
              <a:gd name="connsiteY61916" fmla="*/ 1128132 h 5973007"/>
              <a:gd name="connsiteX61917" fmla="*/ 4026377 w 6884782"/>
              <a:gd name="connsiteY61917" fmla="*/ 1127623 h 5973007"/>
              <a:gd name="connsiteX61918" fmla="*/ 4032993 w 6884782"/>
              <a:gd name="connsiteY61918" fmla="*/ 1127623 h 5973007"/>
              <a:gd name="connsiteX61919" fmla="*/ 4037688 w 6884782"/>
              <a:gd name="connsiteY61919" fmla="*/ 1127908 h 5973007"/>
              <a:gd name="connsiteX61920" fmla="*/ 4040036 w 6884782"/>
              <a:gd name="connsiteY61920" fmla="*/ 1127908 h 5973007"/>
              <a:gd name="connsiteX61921" fmla="*/ 4042597 w 6884782"/>
              <a:gd name="connsiteY61921" fmla="*/ 1130042 h 5973007"/>
              <a:gd name="connsiteX61922" fmla="*/ 4032566 w 6884782"/>
              <a:gd name="connsiteY61922" fmla="*/ 1131892 h 5973007"/>
              <a:gd name="connsiteX61923" fmla="*/ 4026804 w 6884782"/>
              <a:gd name="connsiteY61923" fmla="*/ 1132176 h 5973007"/>
              <a:gd name="connsiteX61924" fmla="*/ 4024243 w 6884782"/>
              <a:gd name="connsiteY61924" fmla="*/ 1130042 h 5973007"/>
              <a:gd name="connsiteX61925" fmla="*/ 4024030 w 6884782"/>
              <a:gd name="connsiteY61925" fmla="*/ 1128762 h 5973007"/>
              <a:gd name="connsiteX61926" fmla="*/ 4026377 w 6884782"/>
              <a:gd name="connsiteY61926" fmla="*/ 1127623 h 5973007"/>
              <a:gd name="connsiteX61927" fmla="*/ 1289361 w 6884782"/>
              <a:gd name="connsiteY61927" fmla="*/ 1126893 h 5973007"/>
              <a:gd name="connsiteX61928" fmla="*/ 1295866 w 6884782"/>
              <a:gd name="connsiteY61928" fmla="*/ 1148268 h 5973007"/>
              <a:gd name="connsiteX61929" fmla="*/ 1286469 w 6884782"/>
              <a:gd name="connsiteY61929" fmla="*/ 1131540 h 5973007"/>
              <a:gd name="connsiteX61930" fmla="*/ 1289361 w 6884782"/>
              <a:gd name="connsiteY61930" fmla="*/ 1126893 h 5973007"/>
              <a:gd name="connsiteX61931" fmla="*/ 4568890 w 6884782"/>
              <a:gd name="connsiteY61931" fmla="*/ 1126485 h 5973007"/>
              <a:gd name="connsiteX61932" fmla="*/ 4548188 w 6884782"/>
              <a:gd name="connsiteY61932" fmla="*/ 1155366 h 5973007"/>
              <a:gd name="connsiteX61933" fmla="*/ 4568890 w 6884782"/>
              <a:gd name="connsiteY61933" fmla="*/ 1126485 h 5973007"/>
              <a:gd name="connsiteX61934" fmla="*/ 1552871 w 6884782"/>
              <a:gd name="connsiteY61934" fmla="*/ 1125809 h 5973007"/>
              <a:gd name="connsiteX61935" fmla="*/ 1562576 w 6884782"/>
              <a:gd name="connsiteY61935" fmla="*/ 1126428 h 5973007"/>
              <a:gd name="connsiteX61936" fmla="*/ 1563609 w 6884782"/>
              <a:gd name="connsiteY61936" fmla="*/ 1134638 h 5973007"/>
              <a:gd name="connsiteX61937" fmla="*/ 1549153 w 6884782"/>
              <a:gd name="connsiteY61937" fmla="*/ 1136187 h 5973007"/>
              <a:gd name="connsiteX61938" fmla="*/ 1548121 w 6884782"/>
              <a:gd name="connsiteY61938" fmla="*/ 1134793 h 5973007"/>
              <a:gd name="connsiteX61939" fmla="*/ 1546778 w 6884782"/>
              <a:gd name="connsiteY61939" fmla="*/ 1141299 h 5973007"/>
              <a:gd name="connsiteX61940" fmla="*/ 1544197 w 6884782"/>
              <a:gd name="connsiteY61940" fmla="*/ 1160196 h 5973007"/>
              <a:gd name="connsiteX61941" fmla="*/ 1537898 w 6884782"/>
              <a:gd name="connsiteY61941" fmla="*/ 1140679 h 5973007"/>
              <a:gd name="connsiteX61942" fmla="*/ 1540583 w 6884782"/>
              <a:gd name="connsiteY61942" fmla="*/ 1136497 h 5973007"/>
              <a:gd name="connsiteX61943" fmla="*/ 1547811 w 6884782"/>
              <a:gd name="connsiteY61943" fmla="*/ 1134328 h 5973007"/>
              <a:gd name="connsiteX61944" fmla="*/ 1545333 w 6884782"/>
              <a:gd name="connsiteY61944" fmla="*/ 1131075 h 5973007"/>
              <a:gd name="connsiteX61945" fmla="*/ 1552871 w 6884782"/>
              <a:gd name="connsiteY61945" fmla="*/ 1125809 h 5973007"/>
              <a:gd name="connsiteX61946" fmla="*/ 1434745 w 6884782"/>
              <a:gd name="connsiteY61946" fmla="*/ 1125654 h 5973007"/>
              <a:gd name="connsiteX61947" fmla="*/ 1449718 w 6884782"/>
              <a:gd name="connsiteY61947" fmla="*/ 1128752 h 5973007"/>
              <a:gd name="connsiteX61948" fmla="*/ 1454777 w 6884782"/>
              <a:gd name="connsiteY61948" fmla="*/ 1128907 h 5973007"/>
              <a:gd name="connsiteX61949" fmla="*/ 1456326 w 6884782"/>
              <a:gd name="connsiteY61949" fmla="*/ 1128752 h 5973007"/>
              <a:gd name="connsiteX61950" fmla="*/ 1456429 w 6884782"/>
              <a:gd name="connsiteY61950" fmla="*/ 1128907 h 5973007"/>
              <a:gd name="connsiteX61951" fmla="*/ 1456739 w 6884782"/>
              <a:gd name="connsiteY61951" fmla="*/ 1128907 h 5973007"/>
              <a:gd name="connsiteX61952" fmla="*/ 1462315 w 6884782"/>
              <a:gd name="connsiteY61952" fmla="*/ 1132624 h 5973007"/>
              <a:gd name="connsiteX61953" fmla="*/ 1457049 w 6884782"/>
              <a:gd name="connsiteY61953" fmla="*/ 1133864 h 5973007"/>
              <a:gd name="connsiteX61954" fmla="*/ 1456636 w 6884782"/>
              <a:gd name="connsiteY61954" fmla="*/ 1135412 h 5973007"/>
              <a:gd name="connsiteX61955" fmla="*/ 1450131 w 6884782"/>
              <a:gd name="connsiteY61955" fmla="*/ 1138975 h 5973007"/>
              <a:gd name="connsiteX61956" fmla="*/ 1448892 w 6884782"/>
              <a:gd name="connsiteY61956" fmla="*/ 1135877 h 5973007"/>
              <a:gd name="connsiteX61957" fmla="*/ 1443212 w 6884782"/>
              <a:gd name="connsiteY61957" fmla="*/ 1136032 h 5973007"/>
              <a:gd name="connsiteX61958" fmla="*/ 1435159 w 6884782"/>
              <a:gd name="connsiteY61958" fmla="*/ 1133864 h 5973007"/>
              <a:gd name="connsiteX61959" fmla="*/ 1433403 w 6884782"/>
              <a:gd name="connsiteY61959" fmla="*/ 1127513 h 5973007"/>
              <a:gd name="connsiteX61960" fmla="*/ 1434745 w 6884782"/>
              <a:gd name="connsiteY61960" fmla="*/ 1125654 h 5973007"/>
              <a:gd name="connsiteX61961" fmla="*/ 1482243 w 6884782"/>
              <a:gd name="connsiteY61961" fmla="*/ 1125344 h 5973007"/>
              <a:gd name="connsiteX61962" fmla="*/ 1484102 w 6884782"/>
              <a:gd name="connsiteY61962" fmla="*/ 1125809 h 5973007"/>
              <a:gd name="connsiteX61963" fmla="*/ 1491227 w 6884782"/>
              <a:gd name="connsiteY61963" fmla="*/ 1131230 h 5973007"/>
              <a:gd name="connsiteX61964" fmla="*/ 1492775 w 6884782"/>
              <a:gd name="connsiteY61964" fmla="*/ 1132160 h 5973007"/>
              <a:gd name="connsiteX61965" fmla="*/ 1493395 w 6884782"/>
              <a:gd name="connsiteY61965" fmla="*/ 1134483 h 5973007"/>
              <a:gd name="connsiteX61966" fmla="*/ 1489161 w 6884782"/>
              <a:gd name="connsiteY61966" fmla="*/ 1133709 h 5973007"/>
              <a:gd name="connsiteX61967" fmla="*/ 1486167 w 6884782"/>
              <a:gd name="connsiteY61967" fmla="*/ 1130920 h 5973007"/>
              <a:gd name="connsiteX61968" fmla="*/ 1484722 w 6884782"/>
              <a:gd name="connsiteY61968" fmla="*/ 1131695 h 5973007"/>
              <a:gd name="connsiteX61969" fmla="*/ 1481624 w 6884782"/>
              <a:gd name="connsiteY61969" fmla="*/ 1131850 h 5973007"/>
              <a:gd name="connsiteX61970" fmla="*/ 1484515 w 6884782"/>
              <a:gd name="connsiteY61970" fmla="*/ 1129836 h 5973007"/>
              <a:gd name="connsiteX61971" fmla="*/ 1485341 w 6884782"/>
              <a:gd name="connsiteY61971" fmla="*/ 1129836 h 5973007"/>
              <a:gd name="connsiteX61972" fmla="*/ 1484618 w 6884782"/>
              <a:gd name="connsiteY61972" fmla="*/ 1129062 h 5973007"/>
              <a:gd name="connsiteX61973" fmla="*/ 1482450 w 6884782"/>
              <a:gd name="connsiteY61973" fmla="*/ 1128442 h 5973007"/>
              <a:gd name="connsiteX61974" fmla="*/ 1481727 w 6884782"/>
              <a:gd name="connsiteY61974" fmla="*/ 1126119 h 5973007"/>
              <a:gd name="connsiteX61975" fmla="*/ 4952619 w 6884782"/>
              <a:gd name="connsiteY61975" fmla="*/ 1124351 h 5973007"/>
              <a:gd name="connsiteX61976" fmla="*/ 4962436 w 6884782"/>
              <a:gd name="connsiteY61976" fmla="*/ 1142277 h 5973007"/>
              <a:gd name="connsiteX61977" fmla="*/ 4952832 w 6884782"/>
              <a:gd name="connsiteY61977" fmla="*/ 1142846 h 5973007"/>
              <a:gd name="connsiteX61978" fmla="*/ 4952619 w 6884782"/>
              <a:gd name="connsiteY61978" fmla="*/ 1124351 h 5973007"/>
              <a:gd name="connsiteX61979" fmla="*/ 4786364 w 6884782"/>
              <a:gd name="connsiteY61979" fmla="*/ 1123355 h 5973007"/>
              <a:gd name="connsiteX61980" fmla="*/ 4775480 w 6884782"/>
              <a:gd name="connsiteY61980" fmla="*/ 1154370 h 5973007"/>
              <a:gd name="connsiteX61981" fmla="*/ 4786364 w 6884782"/>
              <a:gd name="connsiteY61981" fmla="*/ 1123355 h 5973007"/>
              <a:gd name="connsiteX61982" fmla="*/ 1513530 w 6884782"/>
              <a:gd name="connsiteY61982" fmla="*/ 1122711 h 5973007"/>
              <a:gd name="connsiteX61983" fmla="*/ 1531290 w 6884782"/>
              <a:gd name="connsiteY61983" fmla="*/ 1125344 h 5973007"/>
              <a:gd name="connsiteX61984" fmla="*/ 1508058 w 6884782"/>
              <a:gd name="connsiteY61984" fmla="*/ 1125964 h 5973007"/>
              <a:gd name="connsiteX61985" fmla="*/ 1513530 w 6884782"/>
              <a:gd name="connsiteY61985" fmla="*/ 1122711 h 5973007"/>
              <a:gd name="connsiteX61986" fmla="*/ 4808561 w 6884782"/>
              <a:gd name="connsiteY61986" fmla="*/ 1121648 h 5973007"/>
              <a:gd name="connsiteX61987" fmla="*/ 4812402 w 6884782"/>
              <a:gd name="connsiteY61987" fmla="*/ 1123782 h 5973007"/>
              <a:gd name="connsiteX61988" fmla="*/ 4814322 w 6884782"/>
              <a:gd name="connsiteY61988" fmla="*/ 1128335 h 5973007"/>
              <a:gd name="connsiteX61989" fmla="*/ 4805359 w 6884782"/>
              <a:gd name="connsiteY61989" fmla="*/ 1131322 h 5973007"/>
              <a:gd name="connsiteX61990" fmla="*/ 4805359 w 6884782"/>
              <a:gd name="connsiteY61990" fmla="*/ 1124067 h 5973007"/>
              <a:gd name="connsiteX61991" fmla="*/ 4808561 w 6884782"/>
              <a:gd name="connsiteY61991" fmla="*/ 1121648 h 5973007"/>
              <a:gd name="connsiteX61992" fmla="*/ 3308433 w 6884782"/>
              <a:gd name="connsiteY61992" fmla="*/ 1121363 h 5973007"/>
              <a:gd name="connsiteX61993" fmla="*/ 3305232 w 6884782"/>
              <a:gd name="connsiteY61993" fmla="*/ 1121933 h 5973007"/>
              <a:gd name="connsiteX61994" fmla="*/ 3309287 w 6884782"/>
              <a:gd name="connsiteY61994" fmla="*/ 1124778 h 5973007"/>
              <a:gd name="connsiteX61995" fmla="*/ 1492053 w 6884782"/>
              <a:gd name="connsiteY61995" fmla="*/ 1121007 h 5973007"/>
              <a:gd name="connsiteX61996" fmla="*/ 1493601 w 6884782"/>
              <a:gd name="connsiteY61996" fmla="*/ 1125189 h 5973007"/>
              <a:gd name="connsiteX61997" fmla="*/ 1492259 w 6884782"/>
              <a:gd name="connsiteY61997" fmla="*/ 1126893 h 5973007"/>
              <a:gd name="connsiteX61998" fmla="*/ 1491330 w 6884782"/>
              <a:gd name="connsiteY61998" fmla="*/ 1126893 h 5973007"/>
              <a:gd name="connsiteX61999" fmla="*/ 1487923 w 6884782"/>
              <a:gd name="connsiteY61999" fmla="*/ 1126893 h 5973007"/>
              <a:gd name="connsiteX62000" fmla="*/ 1486683 w 6884782"/>
              <a:gd name="connsiteY62000" fmla="*/ 1124724 h 5973007"/>
              <a:gd name="connsiteX62001" fmla="*/ 1486787 w 6884782"/>
              <a:gd name="connsiteY62001" fmla="*/ 1122556 h 5973007"/>
              <a:gd name="connsiteX62002" fmla="*/ 1492053 w 6884782"/>
              <a:gd name="connsiteY62002" fmla="*/ 1121007 h 5973007"/>
              <a:gd name="connsiteX62003" fmla="*/ 3800792 w 6884782"/>
              <a:gd name="connsiteY62003" fmla="*/ 1120083 h 5973007"/>
              <a:gd name="connsiteX62004" fmla="*/ 3806768 w 6884782"/>
              <a:gd name="connsiteY62004" fmla="*/ 1123355 h 5973007"/>
              <a:gd name="connsiteX62005" fmla="*/ 3800579 w 6884782"/>
              <a:gd name="connsiteY62005" fmla="*/ 1133883 h 5973007"/>
              <a:gd name="connsiteX62006" fmla="*/ 3800792 w 6884782"/>
              <a:gd name="connsiteY62006" fmla="*/ 1120083 h 5973007"/>
              <a:gd name="connsiteX62007" fmla="*/ 3470632 w 6884782"/>
              <a:gd name="connsiteY62007" fmla="*/ 1120083 h 5973007"/>
              <a:gd name="connsiteX62008" fmla="*/ 3479809 w 6884782"/>
              <a:gd name="connsiteY62008" fmla="*/ 1134452 h 5973007"/>
              <a:gd name="connsiteX62009" fmla="*/ 3482797 w 6884782"/>
              <a:gd name="connsiteY62009" fmla="*/ 1154370 h 5973007"/>
              <a:gd name="connsiteX62010" fmla="*/ 3477675 w 6884782"/>
              <a:gd name="connsiteY62010" fmla="*/ 1158353 h 5973007"/>
              <a:gd name="connsiteX62011" fmla="*/ 3475327 w 6884782"/>
              <a:gd name="connsiteY62011" fmla="*/ 1159349 h 5973007"/>
              <a:gd name="connsiteX62012" fmla="*/ 3474473 w 6884782"/>
              <a:gd name="connsiteY62012" fmla="*/ 1160203 h 5973007"/>
              <a:gd name="connsiteX62013" fmla="*/ 3469778 w 6884782"/>
              <a:gd name="connsiteY62013" fmla="*/ 1160772 h 5973007"/>
              <a:gd name="connsiteX62014" fmla="*/ 3471272 w 6884782"/>
              <a:gd name="connsiteY62014" fmla="*/ 1158353 h 5973007"/>
              <a:gd name="connsiteX62015" fmla="*/ 3472126 w 6884782"/>
              <a:gd name="connsiteY62015" fmla="*/ 1157500 h 5973007"/>
              <a:gd name="connsiteX62016" fmla="*/ 3473407 w 6884782"/>
              <a:gd name="connsiteY62016" fmla="*/ 1152805 h 5973007"/>
              <a:gd name="connsiteX62017" fmla="*/ 3470632 w 6884782"/>
              <a:gd name="connsiteY62017" fmla="*/ 1120083 h 5973007"/>
              <a:gd name="connsiteX62018" fmla="*/ 1535730 w 6884782"/>
              <a:gd name="connsiteY62018" fmla="*/ 1119767 h 5973007"/>
              <a:gd name="connsiteX62019" fmla="*/ 1544197 w 6884782"/>
              <a:gd name="connsiteY62019" fmla="*/ 1123795 h 5973007"/>
              <a:gd name="connsiteX62020" fmla="*/ 1535730 w 6884782"/>
              <a:gd name="connsiteY62020" fmla="*/ 1119767 h 5973007"/>
              <a:gd name="connsiteX62021" fmla="*/ 1412029 w 6884782"/>
              <a:gd name="connsiteY62021" fmla="*/ 1119767 h 5973007"/>
              <a:gd name="connsiteX62022" fmla="*/ 1415643 w 6884782"/>
              <a:gd name="connsiteY62022" fmla="*/ 1121007 h 5973007"/>
              <a:gd name="connsiteX62023" fmla="*/ 1415540 w 6884782"/>
              <a:gd name="connsiteY62023" fmla="*/ 1123020 h 5973007"/>
              <a:gd name="connsiteX62024" fmla="*/ 1414198 w 6884782"/>
              <a:gd name="connsiteY62024" fmla="*/ 1125034 h 5973007"/>
              <a:gd name="connsiteX62025" fmla="*/ 1409758 w 6884782"/>
              <a:gd name="connsiteY62025" fmla="*/ 1123331 h 5973007"/>
              <a:gd name="connsiteX62026" fmla="*/ 1409861 w 6884782"/>
              <a:gd name="connsiteY62026" fmla="*/ 1121317 h 5973007"/>
              <a:gd name="connsiteX62027" fmla="*/ 1412029 w 6884782"/>
              <a:gd name="connsiteY62027" fmla="*/ 1119767 h 5973007"/>
              <a:gd name="connsiteX62028" fmla="*/ 1178360 w 6884782"/>
              <a:gd name="connsiteY62028" fmla="*/ 1119458 h 5973007"/>
              <a:gd name="connsiteX62029" fmla="*/ 1180219 w 6884782"/>
              <a:gd name="connsiteY62029" fmla="*/ 1119767 h 5973007"/>
              <a:gd name="connsiteX62030" fmla="*/ 1180425 w 6884782"/>
              <a:gd name="connsiteY62030" fmla="*/ 1122711 h 5973007"/>
              <a:gd name="connsiteX62031" fmla="*/ 1182387 w 6884782"/>
              <a:gd name="connsiteY62031" fmla="*/ 1123020 h 5973007"/>
              <a:gd name="connsiteX62032" fmla="*/ 1182697 w 6884782"/>
              <a:gd name="connsiteY62032" fmla="*/ 1124260 h 5973007"/>
              <a:gd name="connsiteX62033" fmla="*/ 1180632 w 6884782"/>
              <a:gd name="connsiteY62033" fmla="*/ 1125654 h 5973007"/>
              <a:gd name="connsiteX62034" fmla="*/ 1179393 w 6884782"/>
              <a:gd name="connsiteY62034" fmla="*/ 1121162 h 5973007"/>
              <a:gd name="connsiteX62035" fmla="*/ 1178360 w 6884782"/>
              <a:gd name="connsiteY62035" fmla="*/ 1119458 h 5973007"/>
              <a:gd name="connsiteX62036" fmla="*/ 4503156 w 6884782"/>
              <a:gd name="connsiteY62036" fmla="*/ 1119087 h 5973007"/>
              <a:gd name="connsiteX62037" fmla="*/ 4510839 w 6884782"/>
              <a:gd name="connsiteY62037" fmla="*/ 1123355 h 5973007"/>
              <a:gd name="connsiteX62038" fmla="*/ 4500168 w 6884782"/>
              <a:gd name="connsiteY62038" fmla="*/ 1132887 h 5973007"/>
              <a:gd name="connsiteX62039" fmla="*/ 4503156 w 6884782"/>
              <a:gd name="connsiteY62039" fmla="*/ 1119087 h 5973007"/>
              <a:gd name="connsiteX62040" fmla="*/ 4444253 w 6884782"/>
              <a:gd name="connsiteY62040" fmla="*/ 1118945 h 5973007"/>
              <a:gd name="connsiteX62041" fmla="*/ 4441905 w 6884782"/>
              <a:gd name="connsiteY62041" fmla="*/ 1129900 h 5973007"/>
              <a:gd name="connsiteX62042" fmla="*/ 4435716 w 6884782"/>
              <a:gd name="connsiteY62042" fmla="*/ 1133457 h 5973007"/>
              <a:gd name="connsiteX62043" fmla="*/ 4425685 w 6884782"/>
              <a:gd name="connsiteY62043" fmla="*/ 1130895 h 5973007"/>
              <a:gd name="connsiteX62044" fmla="*/ 4427393 w 6884782"/>
              <a:gd name="connsiteY62044" fmla="*/ 1124778 h 5973007"/>
              <a:gd name="connsiteX62045" fmla="*/ 4444253 w 6884782"/>
              <a:gd name="connsiteY62045" fmla="*/ 1118945 h 5973007"/>
              <a:gd name="connsiteX62046" fmla="*/ 1175882 w 6884782"/>
              <a:gd name="connsiteY62046" fmla="*/ 1118064 h 5973007"/>
              <a:gd name="connsiteX62047" fmla="*/ 1173714 w 6884782"/>
              <a:gd name="connsiteY62047" fmla="*/ 1123176 h 5973007"/>
              <a:gd name="connsiteX62048" fmla="*/ 1167518 w 6884782"/>
              <a:gd name="connsiteY62048" fmla="*/ 1127667 h 5973007"/>
              <a:gd name="connsiteX62049" fmla="*/ 1167208 w 6884782"/>
              <a:gd name="connsiteY62049" fmla="*/ 1126583 h 5973007"/>
              <a:gd name="connsiteX62050" fmla="*/ 1175882 w 6884782"/>
              <a:gd name="connsiteY62050" fmla="*/ 1118064 h 5973007"/>
              <a:gd name="connsiteX62051" fmla="*/ 3875489 w 6884782"/>
              <a:gd name="connsiteY62051" fmla="*/ 1117949 h 5973007"/>
              <a:gd name="connsiteX62052" fmla="*/ 3880184 w 6884782"/>
              <a:gd name="connsiteY62052" fmla="*/ 1120937 h 5973007"/>
              <a:gd name="connsiteX62053" fmla="*/ 3880398 w 6884782"/>
              <a:gd name="connsiteY62053" fmla="*/ 1125916 h 5973007"/>
              <a:gd name="connsiteX62054" fmla="*/ 3876556 w 6884782"/>
              <a:gd name="connsiteY62054" fmla="*/ 1130753 h 5973007"/>
              <a:gd name="connsiteX62055" fmla="*/ 3877410 w 6884782"/>
              <a:gd name="connsiteY62055" fmla="*/ 1129615 h 5973007"/>
              <a:gd name="connsiteX62056" fmla="*/ 3875489 w 6884782"/>
              <a:gd name="connsiteY62056" fmla="*/ 1128335 h 5973007"/>
              <a:gd name="connsiteX62057" fmla="*/ 3874849 w 6884782"/>
              <a:gd name="connsiteY62057" fmla="*/ 1129473 h 5973007"/>
              <a:gd name="connsiteX62058" fmla="*/ 3873568 w 6884782"/>
              <a:gd name="connsiteY62058" fmla="*/ 1127196 h 5973007"/>
              <a:gd name="connsiteX62059" fmla="*/ 3875489 w 6884782"/>
              <a:gd name="connsiteY62059" fmla="*/ 1117949 h 5973007"/>
              <a:gd name="connsiteX62060" fmla="*/ 1072936 w 6884782"/>
              <a:gd name="connsiteY62060" fmla="*/ 1117599 h 5973007"/>
              <a:gd name="connsiteX62061" fmla="*/ 1075104 w 6884782"/>
              <a:gd name="connsiteY62061" fmla="*/ 1124105 h 5973007"/>
              <a:gd name="connsiteX62062" fmla="*/ 1069838 w 6884782"/>
              <a:gd name="connsiteY62062" fmla="*/ 1123950 h 5973007"/>
              <a:gd name="connsiteX62063" fmla="*/ 1068083 w 6884782"/>
              <a:gd name="connsiteY62063" fmla="*/ 1121781 h 5973007"/>
              <a:gd name="connsiteX62064" fmla="*/ 1069631 w 6884782"/>
              <a:gd name="connsiteY62064" fmla="*/ 1118993 h 5973007"/>
              <a:gd name="connsiteX62065" fmla="*/ 1072936 w 6884782"/>
              <a:gd name="connsiteY62065" fmla="*/ 1117599 h 5973007"/>
              <a:gd name="connsiteX62066" fmla="*/ 1471092 w 6884782"/>
              <a:gd name="connsiteY62066" fmla="*/ 1117444 h 5973007"/>
              <a:gd name="connsiteX62067" fmla="*/ 1471608 w 6884782"/>
              <a:gd name="connsiteY62067" fmla="*/ 1122866 h 5973007"/>
              <a:gd name="connsiteX62068" fmla="*/ 1465309 w 6884782"/>
              <a:gd name="connsiteY62068" fmla="*/ 1127048 h 5973007"/>
              <a:gd name="connsiteX62069" fmla="*/ 1463141 w 6884782"/>
              <a:gd name="connsiteY62069" fmla="*/ 1123485 h 5973007"/>
              <a:gd name="connsiteX62070" fmla="*/ 1466135 w 6884782"/>
              <a:gd name="connsiteY62070" fmla="*/ 1119613 h 5973007"/>
              <a:gd name="connsiteX62071" fmla="*/ 1471092 w 6884782"/>
              <a:gd name="connsiteY62071" fmla="*/ 1117444 h 5973007"/>
              <a:gd name="connsiteX62072" fmla="*/ 933230 w 6884782"/>
              <a:gd name="connsiteY62072" fmla="*/ 1115431 h 5973007"/>
              <a:gd name="connsiteX62073" fmla="*/ 936844 w 6884782"/>
              <a:gd name="connsiteY62073" fmla="*/ 1116825 h 5973007"/>
              <a:gd name="connsiteX62074" fmla="*/ 937773 w 6884782"/>
              <a:gd name="connsiteY62074" fmla="*/ 1118683 h 5973007"/>
              <a:gd name="connsiteX62075" fmla="*/ 936018 w 6884782"/>
              <a:gd name="connsiteY62075" fmla="*/ 1120077 h 5973007"/>
              <a:gd name="connsiteX62076" fmla="*/ 930855 w 6884782"/>
              <a:gd name="connsiteY62076" fmla="*/ 1119613 h 5973007"/>
              <a:gd name="connsiteX62077" fmla="*/ 930029 w 6884782"/>
              <a:gd name="connsiteY62077" fmla="*/ 1117909 h 5973007"/>
              <a:gd name="connsiteX62078" fmla="*/ 933230 w 6884782"/>
              <a:gd name="connsiteY62078" fmla="*/ 1115431 h 5973007"/>
              <a:gd name="connsiteX62079" fmla="*/ 4176838 w 6884782"/>
              <a:gd name="connsiteY62079" fmla="*/ 1114107 h 5973007"/>
              <a:gd name="connsiteX62080" fmla="*/ 4178331 w 6884782"/>
              <a:gd name="connsiteY62080" fmla="*/ 1115531 h 5973007"/>
              <a:gd name="connsiteX62081" fmla="*/ 4175771 w 6884782"/>
              <a:gd name="connsiteY62081" fmla="*/ 1125347 h 5973007"/>
              <a:gd name="connsiteX62082" fmla="*/ 4174917 w 6884782"/>
              <a:gd name="connsiteY62082" fmla="*/ 1124778 h 5973007"/>
              <a:gd name="connsiteX62083" fmla="*/ 4174277 w 6884782"/>
              <a:gd name="connsiteY62083" fmla="*/ 1125063 h 5973007"/>
              <a:gd name="connsiteX62084" fmla="*/ 4170435 w 6884782"/>
              <a:gd name="connsiteY62084" fmla="*/ 1125063 h 5973007"/>
              <a:gd name="connsiteX62085" fmla="*/ 4164673 w 6884782"/>
              <a:gd name="connsiteY62085" fmla="*/ 1125347 h 5973007"/>
              <a:gd name="connsiteX62086" fmla="*/ 4151868 w 6884782"/>
              <a:gd name="connsiteY62086" fmla="*/ 1123782 h 5973007"/>
              <a:gd name="connsiteX62087" fmla="*/ 4150801 w 6884782"/>
              <a:gd name="connsiteY62087" fmla="*/ 1123355 h 5973007"/>
              <a:gd name="connsiteX62088" fmla="*/ 4149947 w 6884782"/>
              <a:gd name="connsiteY62088" fmla="*/ 1125063 h 5973007"/>
              <a:gd name="connsiteX62089" fmla="*/ 4148666 w 6884782"/>
              <a:gd name="connsiteY62089" fmla="*/ 1127623 h 5973007"/>
              <a:gd name="connsiteX62090" fmla="*/ 4136928 w 6884782"/>
              <a:gd name="connsiteY62090" fmla="*/ 1141850 h 5973007"/>
              <a:gd name="connsiteX62091" fmla="*/ 4139062 w 6884782"/>
              <a:gd name="connsiteY62091" fmla="*/ 1133883 h 5973007"/>
              <a:gd name="connsiteX62092" fmla="*/ 4146746 w 6884782"/>
              <a:gd name="connsiteY62092" fmla="*/ 1117379 h 5973007"/>
              <a:gd name="connsiteX62093" fmla="*/ 4149947 w 6884782"/>
              <a:gd name="connsiteY62093" fmla="*/ 1116526 h 5973007"/>
              <a:gd name="connsiteX62094" fmla="*/ 4150374 w 6884782"/>
              <a:gd name="connsiteY62094" fmla="*/ 1115531 h 5973007"/>
              <a:gd name="connsiteX62095" fmla="*/ 4151868 w 6884782"/>
              <a:gd name="connsiteY62095" fmla="*/ 1115104 h 5973007"/>
              <a:gd name="connsiteX62096" fmla="*/ 4152935 w 6884782"/>
              <a:gd name="connsiteY62096" fmla="*/ 1115673 h 5973007"/>
              <a:gd name="connsiteX62097" fmla="*/ 4152935 w 6884782"/>
              <a:gd name="connsiteY62097" fmla="*/ 1119087 h 5973007"/>
              <a:gd name="connsiteX62098" fmla="*/ 4152508 w 6884782"/>
              <a:gd name="connsiteY62098" fmla="*/ 1119941 h 5973007"/>
              <a:gd name="connsiteX62099" fmla="*/ 4153575 w 6884782"/>
              <a:gd name="connsiteY62099" fmla="*/ 1119799 h 5973007"/>
              <a:gd name="connsiteX62100" fmla="*/ 4163606 w 6884782"/>
              <a:gd name="connsiteY62100" fmla="*/ 1119799 h 5973007"/>
              <a:gd name="connsiteX62101" fmla="*/ 4171289 w 6884782"/>
              <a:gd name="connsiteY62101" fmla="*/ 1118802 h 5973007"/>
              <a:gd name="connsiteX62102" fmla="*/ 4172356 w 6884782"/>
              <a:gd name="connsiteY62102" fmla="*/ 1116669 h 5973007"/>
              <a:gd name="connsiteX62103" fmla="*/ 4174917 w 6884782"/>
              <a:gd name="connsiteY62103" fmla="*/ 1114392 h 5973007"/>
              <a:gd name="connsiteX62104" fmla="*/ 4176838 w 6884782"/>
              <a:gd name="connsiteY62104" fmla="*/ 1114107 h 5973007"/>
              <a:gd name="connsiteX62105" fmla="*/ 1260965 w 6884782"/>
              <a:gd name="connsiteY62105" fmla="*/ 1113882 h 5973007"/>
              <a:gd name="connsiteX62106" fmla="*/ 1259313 w 6884782"/>
              <a:gd name="connsiteY62106" fmla="*/ 1119767 h 5973007"/>
              <a:gd name="connsiteX62107" fmla="*/ 1259313 w 6884782"/>
              <a:gd name="connsiteY62107" fmla="*/ 1116205 h 5973007"/>
              <a:gd name="connsiteX62108" fmla="*/ 1260965 w 6884782"/>
              <a:gd name="connsiteY62108" fmla="*/ 1113882 h 5973007"/>
              <a:gd name="connsiteX62109" fmla="*/ 4123696 w 6884782"/>
              <a:gd name="connsiteY62109" fmla="*/ 1113681 h 5973007"/>
              <a:gd name="connsiteX62110" fmla="*/ 4093604 w 6884782"/>
              <a:gd name="connsiteY62110" fmla="*/ 1133314 h 5973007"/>
              <a:gd name="connsiteX62111" fmla="*/ 4123696 w 6884782"/>
              <a:gd name="connsiteY62111" fmla="*/ 1113681 h 5973007"/>
              <a:gd name="connsiteX62112" fmla="*/ 1550908 w 6884782"/>
              <a:gd name="connsiteY62112" fmla="*/ 1113572 h 5973007"/>
              <a:gd name="connsiteX62113" fmla="*/ 1551218 w 6884782"/>
              <a:gd name="connsiteY62113" fmla="*/ 1114192 h 5973007"/>
              <a:gd name="connsiteX62114" fmla="*/ 1549463 w 6884782"/>
              <a:gd name="connsiteY62114" fmla="*/ 1114346 h 5973007"/>
              <a:gd name="connsiteX62115" fmla="*/ 1549773 w 6884782"/>
              <a:gd name="connsiteY62115" fmla="*/ 1113727 h 5973007"/>
              <a:gd name="connsiteX62116" fmla="*/ 1550908 w 6884782"/>
              <a:gd name="connsiteY62116" fmla="*/ 1113572 h 5973007"/>
              <a:gd name="connsiteX62117" fmla="*/ 4460899 w 6884782"/>
              <a:gd name="connsiteY62117" fmla="*/ 1113254 h 5973007"/>
              <a:gd name="connsiteX62118" fmla="*/ 4461540 w 6884782"/>
              <a:gd name="connsiteY62118" fmla="*/ 1116953 h 5973007"/>
              <a:gd name="connsiteX62119" fmla="*/ 4455991 w 6884782"/>
              <a:gd name="connsiteY62119" fmla="*/ 1115673 h 5973007"/>
              <a:gd name="connsiteX62120" fmla="*/ 4460899 w 6884782"/>
              <a:gd name="connsiteY62120" fmla="*/ 1113254 h 5973007"/>
              <a:gd name="connsiteX62121" fmla="*/ 1431544 w 6884782"/>
              <a:gd name="connsiteY62121" fmla="*/ 1113107 h 5973007"/>
              <a:gd name="connsiteX62122" fmla="*/ 1433713 w 6884782"/>
              <a:gd name="connsiteY62122" fmla="*/ 1120387 h 5973007"/>
              <a:gd name="connsiteX62123" fmla="*/ 1431132 w 6884782"/>
              <a:gd name="connsiteY62123" fmla="*/ 1114192 h 5973007"/>
              <a:gd name="connsiteX62124" fmla="*/ 1431544 w 6884782"/>
              <a:gd name="connsiteY62124" fmla="*/ 1113107 h 5973007"/>
              <a:gd name="connsiteX62125" fmla="*/ 1190854 w 6884782"/>
              <a:gd name="connsiteY62125" fmla="*/ 1113107 h 5973007"/>
              <a:gd name="connsiteX62126" fmla="*/ 1197153 w 6884782"/>
              <a:gd name="connsiteY62126" fmla="*/ 1113417 h 5973007"/>
              <a:gd name="connsiteX62127" fmla="*/ 1186621 w 6884782"/>
              <a:gd name="connsiteY62127" fmla="*/ 1124724 h 5973007"/>
              <a:gd name="connsiteX62128" fmla="*/ 1184968 w 6884782"/>
              <a:gd name="connsiteY62128" fmla="*/ 1125654 h 5973007"/>
              <a:gd name="connsiteX62129" fmla="*/ 1182697 w 6884782"/>
              <a:gd name="connsiteY62129" fmla="*/ 1124260 h 5973007"/>
              <a:gd name="connsiteX62130" fmla="*/ 1189202 w 6884782"/>
              <a:gd name="connsiteY62130" fmla="*/ 1114037 h 5973007"/>
              <a:gd name="connsiteX62131" fmla="*/ 1190854 w 6884782"/>
              <a:gd name="connsiteY62131" fmla="*/ 1113107 h 5973007"/>
              <a:gd name="connsiteX62132" fmla="*/ 1039687 w 6884782"/>
              <a:gd name="connsiteY62132" fmla="*/ 1112642 h 5973007"/>
              <a:gd name="connsiteX62133" fmla="*/ 1046089 w 6884782"/>
              <a:gd name="connsiteY62133" fmla="*/ 1118219 h 5973007"/>
              <a:gd name="connsiteX62134" fmla="*/ 1039584 w 6884782"/>
              <a:gd name="connsiteY62134" fmla="*/ 1115276 h 5973007"/>
              <a:gd name="connsiteX62135" fmla="*/ 1039687 w 6884782"/>
              <a:gd name="connsiteY62135" fmla="*/ 1112642 h 5973007"/>
              <a:gd name="connsiteX62136" fmla="*/ 1311974 w 6884782"/>
              <a:gd name="connsiteY62136" fmla="*/ 1111094 h 5973007"/>
              <a:gd name="connsiteX62137" fmla="*/ 1311458 w 6884782"/>
              <a:gd name="connsiteY62137" fmla="*/ 1116205 h 5973007"/>
              <a:gd name="connsiteX62138" fmla="*/ 1308257 w 6884782"/>
              <a:gd name="connsiteY62138" fmla="*/ 1120232 h 5973007"/>
              <a:gd name="connsiteX62139" fmla="*/ 1315071 w 6884782"/>
              <a:gd name="connsiteY62139" fmla="*/ 1121162 h 5973007"/>
              <a:gd name="connsiteX62140" fmla="*/ 1321990 w 6884782"/>
              <a:gd name="connsiteY62140" fmla="*/ 1125654 h 5973007"/>
              <a:gd name="connsiteX62141" fmla="*/ 1324262 w 6884782"/>
              <a:gd name="connsiteY62141" fmla="*/ 1152296 h 5973007"/>
              <a:gd name="connsiteX62142" fmla="*/ 1321680 w 6884782"/>
              <a:gd name="connsiteY62142" fmla="*/ 1153225 h 5973007"/>
              <a:gd name="connsiteX62143" fmla="*/ 1301648 w 6884782"/>
              <a:gd name="connsiteY62143" fmla="*/ 1130300 h 5973007"/>
              <a:gd name="connsiteX62144" fmla="*/ 1302887 w 6884782"/>
              <a:gd name="connsiteY62144" fmla="*/ 1124879 h 5973007"/>
              <a:gd name="connsiteX62145" fmla="*/ 1305675 w 6884782"/>
              <a:gd name="connsiteY62145" fmla="*/ 1120232 h 5973007"/>
              <a:gd name="connsiteX62146" fmla="*/ 1304539 w 6884782"/>
              <a:gd name="connsiteY62146" fmla="*/ 1119613 h 5973007"/>
              <a:gd name="connsiteX62147" fmla="*/ 1305675 w 6884782"/>
              <a:gd name="connsiteY62147" fmla="*/ 1111403 h 5973007"/>
              <a:gd name="connsiteX62148" fmla="*/ 1311974 w 6884782"/>
              <a:gd name="connsiteY62148" fmla="*/ 1111094 h 5973007"/>
              <a:gd name="connsiteX62149" fmla="*/ 993325 w 6884782"/>
              <a:gd name="connsiteY62149" fmla="*/ 1109699 h 5973007"/>
              <a:gd name="connsiteX62150" fmla="*/ 1014493 w 6884782"/>
              <a:gd name="connsiteY62150" fmla="*/ 1119458 h 5973007"/>
              <a:gd name="connsiteX62151" fmla="*/ 986923 w 6884782"/>
              <a:gd name="connsiteY62151" fmla="*/ 1112488 h 5973007"/>
              <a:gd name="connsiteX62152" fmla="*/ 993325 w 6884782"/>
              <a:gd name="connsiteY62152" fmla="*/ 1109699 h 5973007"/>
              <a:gd name="connsiteX62153" fmla="*/ 4595354 w 6884782"/>
              <a:gd name="connsiteY62153" fmla="*/ 1109555 h 5973007"/>
              <a:gd name="connsiteX62154" fmla="*/ 4598555 w 6884782"/>
              <a:gd name="connsiteY62154" fmla="*/ 1113112 h 5973007"/>
              <a:gd name="connsiteX62155" fmla="*/ 4597915 w 6884782"/>
              <a:gd name="connsiteY62155" fmla="*/ 1115104 h 5973007"/>
              <a:gd name="connsiteX62156" fmla="*/ 4597488 w 6884782"/>
              <a:gd name="connsiteY62156" fmla="*/ 1116953 h 5973007"/>
              <a:gd name="connsiteX62157" fmla="*/ 4599409 w 6884782"/>
              <a:gd name="connsiteY62157" fmla="*/ 1117949 h 5973007"/>
              <a:gd name="connsiteX62158" fmla="*/ 4604745 w 6884782"/>
              <a:gd name="connsiteY62158" fmla="*/ 1120937 h 5973007"/>
              <a:gd name="connsiteX62159" fmla="*/ 4599409 w 6884782"/>
              <a:gd name="connsiteY62159" fmla="*/ 1127054 h 5973007"/>
              <a:gd name="connsiteX62160" fmla="*/ 4595567 w 6884782"/>
              <a:gd name="connsiteY62160" fmla="*/ 1121648 h 5973007"/>
              <a:gd name="connsiteX62161" fmla="*/ 4597062 w 6884782"/>
              <a:gd name="connsiteY62161" fmla="*/ 1117096 h 5973007"/>
              <a:gd name="connsiteX62162" fmla="*/ 4596207 w 6884782"/>
              <a:gd name="connsiteY62162" fmla="*/ 1117238 h 5973007"/>
              <a:gd name="connsiteX62163" fmla="*/ 4596421 w 6884782"/>
              <a:gd name="connsiteY62163" fmla="*/ 1116384 h 5973007"/>
              <a:gd name="connsiteX62164" fmla="*/ 4591939 w 6884782"/>
              <a:gd name="connsiteY62164" fmla="*/ 1114961 h 5973007"/>
              <a:gd name="connsiteX62165" fmla="*/ 4595354 w 6884782"/>
              <a:gd name="connsiteY62165" fmla="*/ 1109555 h 5973007"/>
              <a:gd name="connsiteX62166" fmla="*/ 3778810 w 6884782"/>
              <a:gd name="connsiteY62166" fmla="*/ 1109555 h 5973007"/>
              <a:gd name="connsiteX62167" fmla="*/ 3781371 w 6884782"/>
              <a:gd name="connsiteY62167" fmla="*/ 1111262 h 5973007"/>
              <a:gd name="connsiteX62168" fmla="*/ 3779237 w 6884782"/>
              <a:gd name="connsiteY62168" fmla="*/ 1117664 h 5973007"/>
              <a:gd name="connsiteX62169" fmla="*/ 3775395 w 6884782"/>
              <a:gd name="connsiteY62169" fmla="*/ 1112401 h 5973007"/>
              <a:gd name="connsiteX62170" fmla="*/ 3778810 w 6884782"/>
              <a:gd name="connsiteY62170" fmla="*/ 1109555 h 5973007"/>
              <a:gd name="connsiteX62171" fmla="*/ 3638807 w 6884782"/>
              <a:gd name="connsiteY62171" fmla="*/ 1109128 h 5973007"/>
              <a:gd name="connsiteX62172" fmla="*/ 3630910 w 6884782"/>
              <a:gd name="connsiteY62172" fmla="*/ 1129188 h 5973007"/>
              <a:gd name="connsiteX62173" fmla="*/ 3628136 w 6884782"/>
              <a:gd name="connsiteY62173" fmla="*/ 1125205 h 5973007"/>
              <a:gd name="connsiteX62174" fmla="*/ 3638807 w 6884782"/>
              <a:gd name="connsiteY62174" fmla="*/ 1109128 h 5973007"/>
              <a:gd name="connsiteX62175" fmla="*/ 1446103 w 6884782"/>
              <a:gd name="connsiteY62175" fmla="*/ 1108615 h 5973007"/>
              <a:gd name="connsiteX62176" fmla="*/ 1444865 w 6884782"/>
              <a:gd name="connsiteY62176" fmla="*/ 1109544 h 5973007"/>
              <a:gd name="connsiteX62177" fmla="*/ 1444761 w 6884782"/>
              <a:gd name="connsiteY62177" fmla="*/ 1110319 h 5973007"/>
              <a:gd name="connsiteX62178" fmla="*/ 1446310 w 6884782"/>
              <a:gd name="connsiteY62178" fmla="*/ 1109080 h 5973007"/>
              <a:gd name="connsiteX62179" fmla="*/ 1532632 w 6884782"/>
              <a:gd name="connsiteY62179" fmla="*/ 1107996 h 5973007"/>
              <a:gd name="connsiteX62180" fmla="*/ 1533252 w 6884782"/>
              <a:gd name="connsiteY62180" fmla="*/ 1111558 h 5973007"/>
              <a:gd name="connsiteX62181" fmla="*/ 1531083 w 6884782"/>
              <a:gd name="connsiteY62181" fmla="*/ 1113262 h 5973007"/>
              <a:gd name="connsiteX62182" fmla="*/ 1530773 w 6884782"/>
              <a:gd name="connsiteY62182" fmla="*/ 1112333 h 5973007"/>
              <a:gd name="connsiteX62183" fmla="*/ 1528605 w 6884782"/>
              <a:gd name="connsiteY62183" fmla="*/ 1109390 h 5973007"/>
              <a:gd name="connsiteX62184" fmla="*/ 1532632 w 6884782"/>
              <a:gd name="connsiteY62184" fmla="*/ 1107996 h 5973007"/>
              <a:gd name="connsiteX62185" fmla="*/ 4023175 w 6884782"/>
              <a:gd name="connsiteY62185" fmla="*/ 1107990 h 5973007"/>
              <a:gd name="connsiteX62186" fmla="*/ 4031072 w 6884782"/>
              <a:gd name="connsiteY62186" fmla="*/ 1111689 h 5973007"/>
              <a:gd name="connsiteX62187" fmla="*/ 4025950 w 6884782"/>
              <a:gd name="connsiteY62187" fmla="*/ 1123782 h 5973007"/>
              <a:gd name="connsiteX62188" fmla="*/ 4015279 w 6884782"/>
              <a:gd name="connsiteY62188" fmla="*/ 1116384 h 5973007"/>
              <a:gd name="connsiteX62189" fmla="*/ 4023175 w 6884782"/>
              <a:gd name="connsiteY62189" fmla="*/ 1107990 h 5973007"/>
              <a:gd name="connsiteX62190" fmla="*/ 3882532 w 6884782"/>
              <a:gd name="connsiteY62190" fmla="*/ 1106710 h 5973007"/>
              <a:gd name="connsiteX62191" fmla="*/ 3886160 w 6884782"/>
              <a:gd name="connsiteY62191" fmla="*/ 1109128 h 5973007"/>
              <a:gd name="connsiteX62192" fmla="*/ 3887654 w 6884782"/>
              <a:gd name="connsiteY62192" fmla="*/ 1113823 h 5973007"/>
              <a:gd name="connsiteX62193" fmla="*/ 3878264 w 6884782"/>
              <a:gd name="connsiteY62193" fmla="*/ 1115815 h 5973007"/>
              <a:gd name="connsiteX62194" fmla="*/ 3879117 w 6884782"/>
              <a:gd name="connsiteY62194" fmla="*/ 1108702 h 5973007"/>
              <a:gd name="connsiteX62195" fmla="*/ 3882532 w 6884782"/>
              <a:gd name="connsiteY62195" fmla="*/ 1106710 h 5973007"/>
              <a:gd name="connsiteX62196" fmla="*/ 3959790 w 6884782"/>
              <a:gd name="connsiteY62196" fmla="*/ 1106568 h 5973007"/>
              <a:gd name="connsiteX62197" fmla="*/ 3950613 w 6884782"/>
              <a:gd name="connsiteY62197" fmla="*/ 1140143 h 5973007"/>
              <a:gd name="connsiteX62198" fmla="*/ 3952320 w 6884782"/>
              <a:gd name="connsiteY62198" fmla="*/ 1123640 h 5973007"/>
              <a:gd name="connsiteX62199" fmla="*/ 3959790 w 6884782"/>
              <a:gd name="connsiteY62199" fmla="*/ 1106568 h 5973007"/>
              <a:gd name="connsiteX62200" fmla="*/ 1456326 w 6884782"/>
              <a:gd name="connsiteY62200" fmla="*/ 1106292 h 5973007"/>
              <a:gd name="connsiteX62201" fmla="*/ 1459837 w 6884782"/>
              <a:gd name="connsiteY62201" fmla="*/ 1108150 h 5973007"/>
              <a:gd name="connsiteX62202" fmla="*/ 1461592 w 6884782"/>
              <a:gd name="connsiteY62202" fmla="*/ 1110629 h 5973007"/>
              <a:gd name="connsiteX62203" fmla="*/ 1461902 w 6884782"/>
              <a:gd name="connsiteY62203" fmla="*/ 1110319 h 5973007"/>
              <a:gd name="connsiteX62204" fmla="*/ 1466962 w 6884782"/>
              <a:gd name="connsiteY62204" fmla="*/ 1108615 h 5973007"/>
              <a:gd name="connsiteX62205" fmla="*/ 1469646 w 6884782"/>
              <a:gd name="connsiteY62205" fmla="*/ 1109699 h 5973007"/>
              <a:gd name="connsiteX62206" fmla="*/ 1470369 w 6884782"/>
              <a:gd name="connsiteY62206" fmla="*/ 1108150 h 5973007"/>
              <a:gd name="connsiteX62207" fmla="*/ 1485238 w 6884782"/>
              <a:gd name="connsiteY62207" fmla="*/ 1112642 h 5973007"/>
              <a:gd name="connsiteX62208" fmla="*/ 1469853 w 6884782"/>
              <a:gd name="connsiteY62208" fmla="*/ 1113882 h 5973007"/>
              <a:gd name="connsiteX62209" fmla="*/ 1469543 w 6884782"/>
              <a:gd name="connsiteY62209" fmla="*/ 1111868 h 5973007"/>
              <a:gd name="connsiteX62210" fmla="*/ 1463657 w 6884782"/>
              <a:gd name="connsiteY62210" fmla="*/ 1115276 h 5973007"/>
              <a:gd name="connsiteX62211" fmla="*/ 1454984 w 6884782"/>
              <a:gd name="connsiteY62211" fmla="*/ 1118838 h 5973007"/>
              <a:gd name="connsiteX62212" fmla="*/ 1457668 w 6884782"/>
              <a:gd name="connsiteY62212" fmla="*/ 1114192 h 5973007"/>
              <a:gd name="connsiteX62213" fmla="*/ 1461282 w 6884782"/>
              <a:gd name="connsiteY62213" fmla="*/ 1110939 h 5973007"/>
              <a:gd name="connsiteX62214" fmla="*/ 1457668 w 6884782"/>
              <a:gd name="connsiteY62214" fmla="*/ 1109544 h 5973007"/>
              <a:gd name="connsiteX62215" fmla="*/ 1456326 w 6884782"/>
              <a:gd name="connsiteY62215" fmla="*/ 1106292 h 5973007"/>
              <a:gd name="connsiteX62216" fmla="*/ 931888 w 6884782"/>
              <a:gd name="connsiteY62216" fmla="*/ 1106292 h 5973007"/>
              <a:gd name="connsiteX62217" fmla="*/ 934263 w 6884782"/>
              <a:gd name="connsiteY62217" fmla="*/ 1109080 h 5973007"/>
              <a:gd name="connsiteX62218" fmla="*/ 930958 w 6884782"/>
              <a:gd name="connsiteY62218" fmla="*/ 1109544 h 5973007"/>
              <a:gd name="connsiteX62219" fmla="*/ 930442 w 6884782"/>
              <a:gd name="connsiteY62219" fmla="*/ 1108150 h 5973007"/>
              <a:gd name="connsiteX62220" fmla="*/ 931888 w 6884782"/>
              <a:gd name="connsiteY62220" fmla="*/ 1106292 h 5973007"/>
              <a:gd name="connsiteX62221" fmla="*/ 4205863 w 6884782"/>
              <a:gd name="connsiteY62221" fmla="*/ 1105856 h 5973007"/>
              <a:gd name="connsiteX62222" fmla="*/ 4207570 w 6884782"/>
              <a:gd name="connsiteY62222" fmla="*/ 1107279 h 5973007"/>
              <a:gd name="connsiteX62223" fmla="*/ 4209704 w 6884782"/>
              <a:gd name="connsiteY62223" fmla="*/ 1110124 h 5973007"/>
              <a:gd name="connsiteX62224" fmla="*/ 4208851 w 6884782"/>
              <a:gd name="connsiteY62224" fmla="*/ 1111974 h 5973007"/>
              <a:gd name="connsiteX62225" fmla="*/ 4206930 w 6884782"/>
              <a:gd name="connsiteY62225" fmla="*/ 1114250 h 5973007"/>
              <a:gd name="connsiteX62226" fmla="*/ 4203088 w 6884782"/>
              <a:gd name="connsiteY62226" fmla="*/ 1110124 h 5973007"/>
              <a:gd name="connsiteX62227" fmla="*/ 4204156 w 6884782"/>
              <a:gd name="connsiteY62227" fmla="*/ 1106425 h 5973007"/>
              <a:gd name="connsiteX62228" fmla="*/ 4205863 w 6884782"/>
              <a:gd name="connsiteY62228" fmla="*/ 1105856 h 5973007"/>
              <a:gd name="connsiteX62229" fmla="*/ 1171649 w 6884782"/>
              <a:gd name="connsiteY62229" fmla="*/ 1104588 h 5973007"/>
              <a:gd name="connsiteX62230" fmla="*/ 1173714 w 6884782"/>
              <a:gd name="connsiteY62230" fmla="*/ 1105053 h 5973007"/>
              <a:gd name="connsiteX62231" fmla="*/ 1175779 w 6884782"/>
              <a:gd name="connsiteY62231" fmla="*/ 1108306 h 5973007"/>
              <a:gd name="connsiteX62232" fmla="*/ 1178051 w 6884782"/>
              <a:gd name="connsiteY62232" fmla="*/ 1116515 h 5973007"/>
              <a:gd name="connsiteX62233" fmla="*/ 1179083 w 6884782"/>
              <a:gd name="connsiteY62233" fmla="*/ 1118219 h 5973007"/>
              <a:gd name="connsiteX62234" fmla="*/ 1171132 w 6884782"/>
              <a:gd name="connsiteY62234" fmla="*/ 1105363 h 5973007"/>
              <a:gd name="connsiteX62235" fmla="*/ 1171649 w 6884782"/>
              <a:gd name="connsiteY62235" fmla="*/ 1104588 h 5973007"/>
              <a:gd name="connsiteX62236" fmla="*/ 1436191 w 6884782"/>
              <a:gd name="connsiteY62236" fmla="*/ 1102574 h 5973007"/>
              <a:gd name="connsiteX62237" fmla="*/ 1439082 w 6884782"/>
              <a:gd name="connsiteY62237" fmla="*/ 1102884 h 5973007"/>
              <a:gd name="connsiteX62238" fmla="*/ 1441147 w 6884782"/>
              <a:gd name="connsiteY62238" fmla="*/ 1104743 h 5973007"/>
              <a:gd name="connsiteX62239" fmla="*/ 1438463 w 6884782"/>
              <a:gd name="connsiteY62239" fmla="*/ 1108770 h 5973007"/>
              <a:gd name="connsiteX62240" fmla="*/ 1434539 w 6884782"/>
              <a:gd name="connsiteY62240" fmla="*/ 1103349 h 5973007"/>
              <a:gd name="connsiteX62241" fmla="*/ 1436191 w 6884782"/>
              <a:gd name="connsiteY62241" fmla="*/ 1102574 h 5973007"/>
              <a:gd name="connsiteX62242" fmla="*/ 1095136 w 6884782"/>
              <a:gd name="connsiteY62242" fmla="*/ 1102419 h 5973007"/>
              <a:gd name="connsiteX62243" fmla="*/ 1098853 w 6884782"/>
              <a:gd name="connsiteY62243" fmla="*/ 1102884 h 5973007"/>
              <a:gd name="connsiteX62244" fmla="*/ 1097304 w 6884782"/>
              <a:gd name="connsiteY62244" fmla="*/ 1103813 h 5973007"/>
              <a:gd name="connsiteX62245" fmla="*/ 1094929 w 6884782"/>
              <a:gd name="connsiteY62245" fmla="*/ 1104278 h 5973007"/>
              <a:gd name="connsiteX62246" fmla="*/ 1094103 w 6884782"/>
              <a:gd name="connsiteY62246" fmla="*/ 1105672 h 5973007"/>
              <a:gd name="connsiteX62247" fmla="*/ 1087185 w 6884782"/>
              <a:gd name="connsiteY62247" fmla="*/ 1105053 h 5973007"/>
              <a:gd name="connsiteX62248" fmla="*/ 1088940 w 6884782"/>
              <a:gd name="connsiteY62248" fmla="*/ 1104123 h 5973007"/>
              <a:gd name="connsiteX62249" fmla="*/ 1091212 w 6884782"/>
              <a:gd name="connsiteY62249" fmla="*/ 1103659 h 5973007"/>
              <a:gd name="connsiteX62250" fmla="*/ 1093484 w 6884782"/>
              <a:gd name="connsiteY62250" fmla="*/ 1103349 h 5973007"/>
              <a:gd name="connsiteX62251" fmla="*/ 1095136 w 6884782"/>
              <a:gd name="connsiteY62251" fmla="*/ 1102419 h 5973007"/>
              <a:gd name="connsiteX62252" fmla="*/ 1109178 w 6884782"/>
              <a:gd name="connsiteY62252" fmla="*/ 1102109 h 5973007"/>
              <a:gd name="connsiteX62253" fmla="*/ 1118162 w 6884782"/>
              <a:gd name="connsiteY62253" fmla="*/ 1111248 h 5973007"/>
              <a:gd name="connsiteX62254" fmla="*/ 1112896 w 6884782"/>
              <a:gd name="connsiteY62254" fmla="*/ 1114192 h 5973007"/>
              <a:gd name="connsiteX62255" fmla="*/ 1106081 w 6884782"/>
              <a:gd name="connsiteY62255" fmla="*/ 1108306 h 5973007"/>
              <a:gd name="connsiteX62256" fmla="*/ 1106081 w 6884782"/>
              <a:gd name="connsiteY62256" fmla="*/ 1105363 h 5973007"/>
              <a:gd name="connsiteX62257" fmla="*/ 1109178 w 6884782"/>
              <a:gd name="connsiteY62257" fmla="*/ 1102109 h 5973007"/>
              <a:gd name="connsiteX62258" fmla="*/ 4280560 w 6884782"/>
              <a:gd name="connsiteY62258" fmla="*/ 1102015 h 5973007"/>
              <a:gd name="connsiteX62259" fmla="*/ 4283121 w 6884782"/>
              <a:gd name="connsiteY62259" fmla="*/ 1102300 h 5973007"/>
              <a:gd name="connsiteX62260" fmla="*/ 4287389 w 6884782"/>
              <a:gd name="connsiteY62260" fmla="*/ 1104576 h 5973007"/>
              <a:gd name="connsiteX62261" fmla="*/ 4288456 w 6884782"/>
              <a:gd name="connsiteY62261" fmla="*/ 1107990 h 5973007"/>
              <a:gd name="connsiteX62262" fmla="*/ 4286536 w 6884782"/>
              <a:gd name="connsiteY62262" fmla="*/ 1109413 h 5973007"/>
              <a:gd name="connsiteX62263" fmla="*/ 4285468 w 6884782"/>
              <a:gd name="connsiteY62263" fmla="*/ 1111547 h 5973007"/>
              <a:gd name="connsiteX62264" fmla="*/ 4284615 w 6884782"/>
              <a:gd name="connsiteY62264" fmla="*/ 1110836 h 5973007"/>
              <a:gd name="connsiteX62265" fmla="*/ 4282908 w 6884782"/>
              <a:gd name="connsiteY62265" fmla="*/ 1111262 h 5973007"/>
              <a:gd name="connsiteX62266" fmla="*/ 4279706 w 6884782"/>
              <a:gd name="connsiteY62266" fmla="*/ 1106710 h 5973007"/>
              <a:gd name="connsiteX62267" fmla="*/ 4279279 w 6884782"/>
              <a:gd name="connsiteY62267" fmla="*/ 1104006 h 5973007"/>
              <a:gd name="connsiteX62268" fmla="*/ 4280560 w 6884782"/>
              <a:gd name="connsiteY62268" fmla="*/ 1102015 h 5973007"/>
              <a:gd name="connsiteX62269" fmla="*/ 1564022 w 6884782"/>
              <a:gd name="connsiteY62269" fmla="*/ 1101800 h 5973007"/>
              <a:gd name="connsiteX62270" fmla="*/ 1564745 w 6884782"/>
              <a:gd name="connsiteY62270" fmla="*/ 1109080 h 5973007"/>
              <a:gd name="connsiteX62271" fmla="*/ 1560511 w 6884782"/>
              <a:gd name="connsiteY62271" fmla="*/ 1113262 h 5973007"/>
              <a:gd name="connsiteX62272" fmla="*/ 1558240 w 6884782"/>
              <a:gd name="connsiteY62272" fmla="*/ 1109544 h 5973007"/>
              <a:gd name="connsiteX62273" fmla="*/ 1560511 w 6884782"/>
              <a:gd name="connsiteY62273" fmla="*/ 1105517 h 5973007"/>
              <a:gd name="connsiteX62274" fmla="*/ 1561544 w 6884782"/>
              <a:gd name="connsiteY62274" fmla="*/ 1102574 h 5973007"/>
              <a:gd name="connsiteX62275" fmla="*/ 1564022 w 6884782"/>
              <a:gd name="connsiteY62275" fmla="*/ 1101800 h 5973007"/>
              <a:gd name="connsiteX62276" fmla="*/ 4973107 w 6884782"/>
              <a:gd name="connsiteY62276" fmla="*/ 1100592 h 5973007"/>
              <a:gd name="connsiteX62277" fmla="*/ 4975454 w 6884782"/>
              <a:gd name="connsiteY62277" fmla="*/ 1107421 h 5973007"/>
              <a:gd name="connsiteX62278" fmla="*/ 4962009 w 6884782"/>
              <a:gd name="connsiteY62278" fmla="*/ 1112401 h 5973007"/>
              <a:gd name="connsiteX62279" fmla="*/ 4959875 w 6884782"/>
              <a:gd name="connsiteY62279" fmla="*/ 1107990 h 5973007"/>
              <a:gd name="connsiteX62280" fmla="*/ 4973107 w 6884782"/>
              <a:gd name="connsiteY62280" fmla="*/ 1100592 h 5973007"/>
              <a:gd name="connsiteX62281" fmla="*/ 1075311 w 6884782"/>
              <a:gd name="connsiteY62281" fmla="*/ 1099786 h 5973007"/>
              <a:gd name="connsiteX62282" fmla="*/ 1078099 w 6884782"/>
              <a:gd name="connsiteY62282" fmla="*/ 1100096 h 5973007"/>
              <a:gd name="connsiteX62283" fmla="*/ 1078925 w 6884782"/>
              <a:gd name="connsiteY62283" fmla="*/ 1104433 h 5973007"/>
              <a:gd name="connsiteX62284" fmla="*/ 1077066 w 6884782"/>
              <a:gd name="connsiteY62284" fmla="*/ 1105208 h 5973007"/>
              <a:gd name="connsiteX62285" fmla="*/ 1074381 w 6884782"/>
              <a:gd name="connsiteY62285" fmla="*/ 1104123 h 5973007"/>
              <a:gd name="connsiteX62286" fmla="*/ 1073555 w 6884782"/>
              <a:gd name="connsiteY62286" fmla="*/ 1100561 h 5973007"/>
              <a:gd name="connsiteX62287" fmla="*/ 1075311 w 6884782"/>
              <a:gd name="connsiteY62287" fmla="*/ 1099786 h 5973007"/>
              <a:gd name="connsiteX62288" fmla="*/ 4407545 w 6884782"/>
              <a:gd name="connsiteY62288" fmla="*/ 1099169 h 5973007"/>
              <a:gd name="connsiteX62289" fmla="*/ 4408825 w 6884782"/>
              <a:gd name="connsiteY62289" fmla="*/ 1100734 h 5973007"/>
              <a:gd name="connsiteX62290" fmla="*/ 4410105 w 6884782"/>
              <a:gd name="connsiteY62290" fmla="*/ 1103438 h 5973007"/>
              <a:gd name="connsiteX62291" fmla="*/ 4404770 w 6884782"/>
              <a:gd name="connsiteY62291" fmla="*/ 1105430 h 5973007"/>
              <a:gd name="connsiteX62292" fmla="*/ 4401782 w 6884782"/>
              <a:gd name="connsiteY62292" fmla="*/ 1103011 h 5973007"/>
              <a:gd name="connsiteX62293" fmla="*/ 4403917 w 6884782"/>
              <a:gd name="connsiteY62293" fmla="*/ 1100166 h 5973007"/>
              <a:gd name="connsiteX62294" fmla="*/ 4407545 w 6884782"/>
              <a:gd name="connsiteY62294" fmla="*/ 1099169 h 5973007"/>
              <a:gd name="connsiteX62295" fmla="*/ 1453538 w 6884782"/>
              <a:gd name="connsiteY62295" fmla="*/ 1098392 h 5973007"/>
              <a:gd name="connsiteX62296" fmla="*/ 1454054 w 6884782"/>
              <a:gd name="connsiteY62296" fmla="*/ 1100870 h 5973007"/>
              <a:gd name="connsiteX62297" fmla="*/ 1451163 w 6884782"/>
              <a:gd name="connsiteY62297" fmla="*/ 1102419 h 5973007"/>
              <a:gd name="connsiteX62298" fmla="*/ 1449718 w 6884782"/>
              <a:gd name="connsiteY62298" fmla="*/ 1105672 h 5973007"/>
              <a:gd name="connsiteX62299" fmla="*/ 1449614 w 6884782"/>
              <a:gd name="connsiteY62299" fmla="*/ 1105672 h 5973007"/>
              <a:gd name="connsiteX62300" fmla="*/ 1449098 w 6884782"/>
              <a:gd name="connsiteY62300" fmla="*/ 1107686 h 5973007"/>
              <a:gd name="connsiteX62301" fmla="*/ 1449821 w 6884782"/>
              <a:gd name="connsiteY62301" fmla="*/ 1107376 h 5973007"/>
              <a:gd name="connsiteX62302" fmla="*/ 1452608 w 6884782"/>
              <a:gd name="connsiteY62302" fmla="*/ 1114811 h 5973007"/>
              <a:gd name="connsiteX62303" fmla="*/ 1449821 w 6884782"/>
              <a:gd name="connsiteY62303" fmla="*/ 1118683 h 5973007"/>
              <a:gd name="connsiteX62304" fmla="*/ 1441973 w 6884782"/>
              <a:gd name="connsiteY62304" fmla="*/ 1119923 h 5973007"/>
              <a:gd name="connsiteX62305" fmla="*/ 1440837 w 6884782"/>
              <a:gd name="connsiteY62305" fmla="*/ 1115586 h 5973007"/>
              <a:gd name="connsiteX62306" fmla="*/ 1443006 w 6884782"/>
              <a:gd name="connsiteY62306" fmla="*/ 1112023 h 5973007"/>
              <a:gd name="connsiteX62307" fmla="*/ 1441870 w 6884782"/>
              <a:gd name="connsiteY62307" fmla="*/ 1112023 h 5973007"/>
              <a:gd name="connsiteX62308" fmla="*/ 1444452 w 6884782"/>
              <a:gd name="connsiteY62308" fmla="*/ 1109390 h 5973007"/>
              <a:gd name="connsiteX62309" fmla="*/ 1445794 w 6884782"/>
              <a:gd name="connsiteY62309" fmla="*/ 1108150 h 5973007"/>
              <a:gd name="connsiteX62310" fmla="*/ 1445587 w 6884782"/>
              <a:gd name="connsiteY62310" fmla="*/ 1107531 h 5973007"/>
              <a:gd name="connsiteX62311" fmla="*/ 1447033 w 6884782"/>
              <a:gd name="connsiteY62311" fmla="*/ 1104588 h 5973007"/>
              <a:gd name="connsiteX62312" fmla="*/ 1448582 w 6884782"/>
              <a:gd name="connsiteY62312" fmla="*/ 1104898 h 5973007"/>
              <a:gd name="connsiteX62313" fmla="*/ 1449098 w 6884782"/>
              <a:gd name="connsiteY62313" fmla="*/ 1104743 h 5973007"/>
              <a:gd name="connsiteX62314" fmla="*/ 1451783 w 6884782"/>
              <a:gd name="connsiteY62314" fmla="*/ 1099011 h 5973007"/>
              <a:gd name="connsiteX62315" fmla="*/ 1453538 w 6884782"/>
              <a:gd name="connsiteY62315" fmla="*/ 1098392 h 5973007"/>
              <a:gd name="connsiteX62316" fmla="*/ 4533036 w 6884782"/>
              <a:gd name="connsiteY62316" fmla="*/ 1098174 h 5973007"/>
              <a:gd name="connsiteX62317" fmla="*/ 4538371 w 6884782"/>
              <a:gd name="connsiteY62317" fmla="*/ 1098458 h 5973007"/>
              <a:gd name="connsiteX62318" fmla="*/ 4545840 w 6884782"/>
              <a:gd name="connsiteY62318" fmla="*/ 1104291 h 5973007"/>
              <a:gd name="connsiteX62319" fmla="*/ 4533889 w 6884782"/>
              <a:gd name="connsiteY62319" fmla="*/ 1117949 h 5973007"/>
              <a:gd name="connsiteX62320" fmla="*/ 4526419 w 6884782"/>
              <a:gd name="connsiteY62320" fmla="*/ 1110551 h 5973007"/>
              <a:gd name="connsiteX62321" fmla="*/ 4533036 w 6884782"/>
              <a:gd name="connsiteY62321" fmla="*/ 1098174 h 5973007"/>
              <a:gd name="connsiteX62322" fmla="*/ 1375890 w 6884782"/>
              <a:gd name="connsiteY62322" fmla="*/ 1097928 h 5973007"/>
              <a:gd name="connsiteX62323" fmla="*/ 1394166 w 6884782"/>
              <a:gd name="connsiteY62323" fmla="*/ 1111094 h 5973007"/>
              <a:gd name="connsiteX62324" fmla="*/ 1394579 w 6884782"/>
              <a:gd name="connsiteY62324" fmla="*/ 1156943 h 5973007"/>
              <a:gd name="connsiteX62325" fmla="*/ 1361743 w 6884782"/>
              <a:gd name="connsiteY62325" fmla="*/ 1167321 h 5973007"/>
              <a:gd name="connsiteX62326" fmla="*/ 1343157 w 6884782"/>
              <a:gd name="connsiteY62326" fmla="*/ 1157563 h 5973007"/>
              <a:gd name="connsiteX62327" fmla="*/ 1331076 w 6884782"/>
              <a:gd name="connsiteY62327" fmla="*/ 1133864 h 5973007"/>
              <a:gd name="connsiteX62328" fmla="*/ 1335929 w 6884782"/>
              <a:gd name="connsiteY62328" fmla="*/ 1120232 h 5973007"/>
              <a:gd name="connsiteX62329" fmla="*/ 1338511 w 6884782"/>
              <a:gd name="connsiteY62329" fmla="*/ 1112642 h 5973007"/>
              <a:gd name="connsiteX62330" fmla="*/ 1335206 w 6884782"/>
              <a:gd name="connsiteY62330" fmla="*/ 1110939 h 5973007"/>
              <a:gd name="connsiteX62331" fmla="*/ 1339646 w 6884782"/>
              <a:gd name="connsiteY62331" fmla="*/ 1109080 h 5973007"/>
              <a:gd name="connsiteX62332" fmla="*/ 1340679 w 6884782"/>
              <a:gd name="connsiteY62332" fmla="*/ 1106447 h 5973007"/>
              <a:gd name="connsiteX62333" fmla="*/ 1375890 w 6884782"/>
              <a:gd name="connsiteY62333" fmla="*/ 1097928 h 5973007"/>
              <a:gd name="connsiteX62334" fmla="*/ 927654 w 6884782"/>
              <a:gd name="connsiteY62334" fmla="*/ 1097618 h 5973007"/>
              <a:gd name="connsiteX62335" fmla="*/ 929409 w 6884782"/>
              <a:gd name="connsiteY62335" fmla="*/ 1097773 h 5973007"/>
              <a:gd name="connsiteX62336" fmla="*/ 931061 w 6884782"/>
              <a:gd name="connsiteY62336" fmla="*/ 1105363 h 5973007"/>
              <a:gd name="connsiteX62337" fmla="*/ 924040 w 6884782"/>
              <a:gd name="connsiteY62337" fmla="*/ 1107221 h 5973007"/>
              <a:gd name="connsiteX62338" fmla="*/ 923111 w 6884782"/>
              <a:gd name="connsiteY62338" fmla="*/ 1105517 h 5973007"/>
              <a:gd name="connsiteX62339" fmla="*/ 922595 w 6884782"/>
              <a:gd name="connsiteY62339" fmla="*/ 1103349 h 5973007"/>
              <a:gd name="connsiteX62340" fmla="*/ 924143 w 6884782"/>
              <a:gd name="connsiteY62340" fmla="*/ 1099011 h 5973007"/>
              <a:gd name="connsiteX62341" fmla="*/ 926208 w 6884782"/>
              <a:gd name="connsiteY62341" fmla="*/ 1097773 h 5973007"/>
              <a:gd name="connsiteX62342" fmla="*/ 927654 w 6884782"/>
              <a:gd name="connsiteY62342" fmla="*/ 1097618 h 5973007"/>
              <a:gd name="connsiteX62343" fmla="*/ 4727674 w 6884782"/>
              <a:gd name="connsiteY62343" fmla="*/ 1097320 h 5973007"/>
              <a:gd name="connsiteX62344" fmla="*/ 4741760 w 6884782"/>
              <a:gd name="connsiteY62344" fmla="*/ 1115104 h 5973007"/>
              <a:gd name="connsiteX62345" fmla="*/ 4742187 w 6884782"/>
              <a:gd name="connsiteY62345" fmla="*/ 1117664 h 5973007"/>
              <a:gd name="connsiteX62346" fmla="*/ 4739839 w 6884782"/>
              <a:gd name="connsiteY62346" fmla="*/ 1119799 h 5973007"/>
              <a:gd name="connsiteX62347" fmla="*/ 4728314 w 6884782"/>
              <a:gd name="connsiteY62347" fmla="*/ 1110836 h 5973007"/>
              <a:gd name="connsiteX62348" fmla="*/ 4727674 w 6884782"/>
              <a:gd name="connsiteY62348" fmla="*/ 1107563 h 5973007"/>
              <a:gd name="connsiteX62349" fmla="*/ 4726607 w 6884782"/>
              <a:gd name="connsiteY62349" fmla="*/ 1105287 h 5973007"/>
              <a:gd name="connsiteX62350" fmla="*/ 4727674 w 6884782"/>
              <a:gd name="connsiteY62350" fmla="*/ 1097320 h 5973007"/>
              <a:gd name="connsiteX62351" fmla="*/ 1457668 w 6884782"/>
              <a:gd name="connsiteY62351" fmla="*/ 1097308 h 5973007"/>
              <a:gd name="connsiteX62352" fmla="*/ 1463038 w 6884782"/>
              <a:gd name="connsiteY62352" fmla="*/ 1100870 h 5973007"/>
              <a:gd name="connsiteX62353" fmla="*/ 1458494 w 6884782"/>
              <a:gd name="connsiteY62353" fmla="*/ 1102884 h 5973007"/>
              <a:gd name="connsiteX62354" fmla="*/ 1457359 w 6884782"/>
              <a:gd name="connsiteY62354" fmla="*/ 1102419 h 5973007"/>
              <a:gd name="connsiteX62355" fmla="*/ 1456429 w 6884782"/>
              <a:gd name="connsiteY62355" fmla="*/ 1102109 h 5973007"/>
              <a:gd name="connsiteX62356" fmla="*/ 1454261 w 6884782"/>
              <a:gd name="connsiteY62356" fmla="*/ 1101180 h 5973007"/>
              <a:gd name="connsiteX62357" fmla="*/ 1457668 w 6884782"/>
              <a:gd name="connsiteY62357" fmla="*/ 1097308 h 5973007"/>
              <a:gd name="connsiteX62358" fmla="*/ 1053007 w 6884782"/>
              <a:gd name="connsiteY62358" fmla="*/ 1096378 h 5973007"/>
              <a:gd name="connsiteX62359" fmla="*/ 1070664 w 6884782"/>
              <a:gd name="connsiteY62359" fmla="*/ 1099321 h 5973007"/>
              <a:gd name="connsiteX62360" fmla="*/ 1039377 w 6884782"/>
              <a:gd name="connsiteY62360" fmla="*/ 1107686 h 5973007"/>
              <a:gd name="connsiteX62361" fmla="*/ 1053007 w 6884782"/>
              <a:gd name="connsiteY62361" fmla="*/ 1096378 h 5973007"/>
              <a:gd name="connsiteX62362" fmla="*/ 1404388 w 6884782"/>
              <a:gd name="connsiteY62362" fmla="*/ 1095914 h 5973007"/>
              <a:gd name="connsiteX62363" fmla="*/ 1404491 w 6884782"/>
              <a:gd name="connsiteY62363" fmla="*/ 1110009 h 5973007"/>
              <a:gd name="connsiteX62364" fmla="*/ 1399845 w 6884782"/>
              <a:gd name="connsiteY62364" fmla="*/ 1103813 h 5973007"/>
              <a:gd name="connsiteX62365" fmla="*/ 1404388 w 6884782"/>
              <a:gd name="connsiteY62365" fmla="*/ 1095914 h 5973007"/>
              <a:gd name="connsiteX62366" fmla="*/ 4694167 w 6884782"/>
              <a:gd name="connsiteY62366" fmla="*/ 1095470 h 5973007"/>
              <a:gd name="connsiteX62367" fmla="*/ 4696301 w 6884782"/>
              <a:gd name="connsiteY62367" fmla="*/ 1096751 h 5973007"/>
              <a:gd name="connsiteX62368" fmla="*/ 4697796 w 6884782"/>
              <a:gd name="connsiteY62368" fmla="*/ 1098885 h 5973007"/>
              <a:gd name="connsiteX62369" fmla="*/ 4693527 w 6884782"/>
              <a:gd name="connsiteY62369" fmla="*/ 1100307 h 5973007"/>
              <a:gd name="connsiteX62370" fmla="*/ 4693100 w 6884782"/>
              <a:gd name="connsiteY62370" fmla="*/ 1098174 h 5973007"/>
              <a:gd name="connsiteX62371" fmla="*/ 4692033 w 6884782"/>
              <a:gd name="connsiteY62371" fmla="*/ 1098174 h 5973007"/>
              <a:gd name="connsiteX62372" fmla="*/ 4692887 w 6884782"/>
              <a:gd name="connsiteY62372" fmla="*/ 1095897 h 5973007"/>
              <a:gd name="connsiteX62373" fmla="*/ 4693954 w 6884782"/>
              <a:gd name="connsiteY62373" fmla="*/ 1095755 h 5973007"/>
              <a:gd name="connsiteX62374" fmla="*/ 4694167 w 6884782"/>
              <a:gd name="connsiteY62374" fmla="*/ 1095470 h 5973007"/>
              <a:gd name="connsiteX62375" fmla="*/ 5132105 w 6884782"/>
              <a:gd name="connsiteY62375" fmla="*/ 1094617 h 5973007"/>
              <a:gd name="connsiteX62376" fmla="*/ 5136160 w 6884782"/>
              <a:gd name="connsiteY62376" fmla="*/ 1095470 h 5973007"/>
              <a:gd name="connsiteX62377" fmla="*/ 5131891 w 6884782"/>
              <a:gd name="connsiteY62377" fmla="*/ 1104006 h 5973007"/>
              <a:gd name="connsiteX62378" fmla="*/ 5128477 w 6884782"/>
              <a:gd name="connsiteY62378" fmla="*/ 1095329 h 5973007"/>
              <a:gd name="connsiteX62379" fmla="*/ 5132105 w 6884782"/>
              <a:gd name="connsiteY62379" fmla="*/ 1094617 h 5973007"/>
              <a:gd name="connsiteX62380" fmla="*/ 1427311 w 6884782"/>
              <a:gd name="connsiteY62380" fmla="*/ 1093900 h 5973007"/>
              <a:gd name="connsiteX62381" fmla="*/ 1430202 w 6884782"/>
              <a:gd name="connsiteY62381" fmla="*/ 1107376 h 5973007"/>
              <a:gd name="connsiteX62382" fmla="*/ 1427311 w 6884782"/>
              <a:gd name="connsiteY62382" fmla="*/ 1093900 h 5973007"/>
              <a:gd name="connsiteX62383" fmla="*/ 968544 w 6884782"/>
              <a:gd name="connsiteY62383" fmla="*/ 1093281 h 5973007"/>
              <a:gd name="connsiteX62384" fmla="*/ 973913 w 6884782"/>
              <a:gd name="connsiteY62384" fmla="*/ 1095604 h 5973007"/>
              <a:gd name="connsiteX62385" fmla="*/ 974739 w 6884782"/>
              <a:gd name="connsiteY62385" fmla="*/ 1098082 h 5973007"/>
              <a:gd name="connsiteX62386" fmla="*/ 972054 w 6884782"/>
              <a:gd name="connsiteY62386" fmla="*/ 1097773 h 5973007"/>
              <a:gd name="connsiteX62387" fmla="*/ 971125 w 6884782"/>
              <a:gd name="connsiteY62387" fmla="*/ 1096069 h 5973007"/>
              <a:gd name="connsiteX62388" fmla="*/ 968440 w 6884782"/>
              <a:gd name="connsiteY62388" fmla="*/ 1094985 h 5973007"/>
              <a:gd name="connsiteX62389" fmla="*/ 968544 w 6884782"/>
              <a:gd name="connsiteY62389" fmla="*/ 1093281 h 5973007"/>
              <a:gd name="connsiteX62390" fmla="*/ 1427414 w 6884782"/>
              <a:gd name="connsiteY62390" fmla="*/ 1091886 h 5973007"/>
              <a:gd name="connsiteX62391" fmla="*/ 1427414 w 6884782"/>
              <a:gd name="connsiteY62391" fmla="*/ 1093745 h 5973007"/>
              <a:gd name="connsiteX62392" fmla="*/ 1426382 w 6884782"/>
              <a:gd name="connsiteY62392" fmla="*/ 1093126 h 5973007"/>
              <a:gd name="connsiteX62393" fmla="*/ 1427414 w 6884782"/>
              <a:gd name="connsiteY62393" fmla="*/ 1091886 h 5973007"/>
              <a:gd name="connsiteX62394" fmla="*/ 3385264 w 6884782"/>
              <a:gd name="connsiteY62394" fmla="*/ 1090065 h 5973007"/>
              <a:gd name="connsiteX62395" fmla="*/ 3378648 w 6884782"/>
              <a:gd name="connsiteY62395" fmla="*/ 1091345 h 5973007"/>
              <a:gd name="connsiteX62396" fmla="*/ 3377794 w 6884782"/>
              <a:gd name="connsiteY62396" fmla="*/ 1091345 h 5973007"/>
              <a:gd name="connsiteX62397" fmla="*/ 3379928 w 6884782"/>
              <a:gd name="connsiteY62397" fmla="*/ 1092483 h 5973007"/>
              <a:gd name="connsiteX62398" fmla="*/ 3380996 w 6884782"/>
              <a:gd name="connsiteY62398" fmla="*/ 1094190 h 5973007"/>
              <a:gd name="connsiteX62399" fmla="*/ 3386117 w 6884782"/>
              <a:gd name="connsiteY62399" fmla="*/ 1090918 h 5973007"/>
              <a:gd name="connsiteX62400" fmla="*/ 4516602 w 6884782"/>
              <a:gd name="connsiteY62400" fmla="*/ 1089638 h 5973007"/>
              <a:gd name="connsiteX62401" fmla="*/ 4521084 w 6884782"/>
              <a:gd name="connsiteY62401" fmla="*/ 1090065 h 5973007"/>
              <a:gd name="connsiteX62402" fmla="*/ 4506785 w 6884782"/>
              <a:gd name="connsiteY62402" fmla="*/ 1113539 h 5973007"/>
              <a:gd name="connsiteX62403" fmla="*/ 4502516 w 6884782"/>
              <a:gd name="connsiteY62403" fmla="*/ 1108843 h 5973007"/>
              <a:gd name="connsiteX62404" fmla="*/ 4516602 w 6884782"/>
              <a:gd name="connsiteY62404" fmla="*/ 1089638 h 5973007"/>
              <a:gd name="connsiteX62405" fmla="*/ 3295414 w 6884782"/>
              <a:gd name="connsiteY62405" fmla="*/ 1089638 h 5973007"/>
              <a:gd name="connsiteX62406" fmla="*/ 3294134 w 6884782"/>
              <a:gd name="connsiteY62406" fmla="*/ 1091629 h 5973007"/>
              <a:gd name="connsiteX62407" fmla="*/ 3296054 w 6884782"/>
              <a:gd name="connsiteY62407" fmla="*/ 1091060 h 5973007"/>
              <a:gd name="connsiteX62408" fmla="*/ 1212951 w 6884782"/>
              <a:gd name="connsiteY62408" fmla="*/ 1089563 h 5973007"/>
              <a:gd name="connsiteX62409" fmla="*/ 1216772 w 6884782"/>
              <a:gd name="connsiteY62409" fmla="*/ 1097618 h 5973007"/>
              <a:gd name="connsiteX62410" fmla="*/ 1214293 w 6884782"/>
              <a:gd name="connsiteY62410" fmla="*/ 1104278 h 5973007"/>
              <a:gd name="connsiteX62411" fmla="*/ 1216875 w 6884782"/>
              <a:gd name="connsiteY62411" fmla="*/ 1107686 h 5973007"/>
              <a:gd name="connsiteX62412" fmla="*/ 1211815 w 6884782"/>
              <a:gd name="connsiteY62412" fmla="*/ 1114037 h 5973007"/>
              <a:gd name="connsiteX62413" fmla="*/ 1195914 w 6884782"/>
              <a:gd name="connsiteY62413" fmla="*/ 1108615 h 5973007"/>
              <a:gd name="connsiteX62414" fmla="*/ 1196327 w 6884782"/>
              <a:gd name="connsiteY62414" fmla="*/ 1107996 h 5973007"/>
              <a:gd name="connsiteX62415" fmla="*/ 1190854 w 6884782"/>
              <a:gd name="connsiteY62415" fmla="*/ 1106292 h 5973007"/>
              <a:gd name="connsiteX62416" fmla="*/ 1190544 w 6884782"/>
              <a:gd name="connsiteY62416" fmla="*/ 1102884 h 5973007"/>
              <a:gd name="connsiteX62417" fmla="*/ 1196017 w 6884782"/>
              <a:gd name="connsiteY62417" fmla="*/ 1095604 h 5973007"/>
              <a:gd name="connsiteX62418" fmla="*/ 1196430 w 6884782"/>
              <a:gd name="connsiteY62418" fmla="*/ 1095139 h 5973007"/>
              <a:gd name="connsiteX62419" fmla="*/ 1196946 w 6884782"/>
              <a:gd name="connsiteY62419" fmla="*/ 1094055 h 5973007"/>
              <a:gd name="connsiteX62420" fmla="*/ 1196636 w 6884782"/>
              <a:gd name="connsiteY62420" fmla="*/ 1093900 h 5973007"/>
              <a:gd name="connsiteX62421" fmla="*/ 1196946 w 6884782"/>
              <a:gd name="connsiteY62421" fmla="*/ 1093900 h 5973007"/>
              <a:gd name="connsiteX62422" fmla="*/ 1197772 w 6884782"/>
              <a:gd name="connsiteY62422" fmla="*/ 1091886 h 5973007"/>
              <a:gd name="connsiteX62423" fmla="*/ 1199218 w 6884782"/>
              <a:gd name="connsiteY62423" fmla="*/ 1092661 h 5973007"/>
              <a:gd name="connsiteX62424" fmla="*/ 1201799 w 6884782"/>
              <a:gd name="connsiteY62424" fmla="*/ 1091731 h 5973007"/>
              <a:gd name="connsiteX62425" fmla="*/ 1203555 w 6884782"/>
              <a:gd name="connsiteY62425" fmla="*/ 1093281 h 5973007"/>
              <a:gd name="connsiteX62426" fmla="*/ 1203658 w 6884782"/>
              <a:gd name="connsiteY62426" fmla="*/ 1098237 h 5973007"/>
              <a:gd name="connsiteX62427" fmla="*/ 1209647 w 6884782"/>
              <a:gd name="connsiteY62427" fmla="*/ 1101335 h 5973007"/>
              <a:gd name="connsiteX62428" fmla="*/ 1212641 w 6884782"/>
              <a:gd name="connsiteY62428" fmla="*/ 1102884 h 5973007"/>
              <a:gd name="connsiteX62429" fmla="*/ 1211815 w 6884782"/>
              <a:gd name="connsiteY62429" fmla="*/ 1101955 h 5973007"/>
              <a:gd name="connsiteX62430" fmla="*/ 1212951 w 6884782"/>
              <a:gd name="connsiteY62430" fmla="*/ 1089563 h 5973007"/>
              <a:gd name="connsiteX62431" fmla="*/ 1290703 w 6884782"/>
              <a:gd name="connsiteY62431" fmla="*/ 1089408 h 5973007"/>
              <a:gd name="connsiteX62432" fmla="*/ 1289154 w 6884782"/>
              <a:gd name="connsiteY62432" fmla="*/ 1106447 h 5973007"/>
              <a:gd name="connsiteX62433" fmla="*/ 1263753 w 6884782"/>
              <a:gd name="connsiteY62433" fmla="*/ 1119923 h 5973007"/>
              <a:gd name="connsiteX62434" fmla="*/ 1262101 w 6884782"/>
              <a:gd name="connsiteY62434" fmla="*/ 1118064 h 5973007"/>
              <a:gd name="connsiteX62435" fmla="*/ 1261481 w 6884782"/>
              <a:gd name="connsiteY62435" fmla="*/ 1112488 h 5973007"/>
              <a:gd name="connsiteX62436" fmla="*/ 1290703 w 6884782"/>
              <a:gd name="connsiteY62436" fmla="*/ 1089408 h 5973007"/>
              <a:gd name="connsiteX62437" fmla="*/ 976804 w 6884782"/>
              <a:gd name="connsiteY62437" fmla="*/ 1089408 h 5973007"/>
              <a:gd name="connsiteX62438" fmla="*/ 978146 w 6884782"/>
              <a:gd name="connsiteY62438" fmla="*/ 1090028 h 5973007"/>
              <a:gd name="connsiteX62439" fmla="*/ 979902 w 6884782"/>
              <a:gd name="connsiteY62439" fmla="*/ 1091886 h 5973007"/>
              <a:gd name="connsiteX62440" fmla="*/ 981554 w 6884782"/>
              <a:gd name="connsiteY62440" fmla="*/ 1092971 h 5973007"/>
              <a:gd name="connsiteX62441" fmla="*/ 981554 w 6884782"/>
              <a:gd name="connsiteY62441" fmla="*/ 1095604 h 5973007"/>
              <a:gd name="connsiteX62442" fmla="*/ 979798 w 6884782"/>
              <a:gd name="connsiteY62442" fmla="*/ 1094520 h 5973007"/>
              <a:gd name="connsiteX62443" fmla="*/ 975462 w 6884782"/>
              <a:gd name="connsiteY62443" fmla="*/ 1090647 h 5973007"/>
              <a:gd name="connsiteX62444" fmla="*/ 976804 w 6884782"/>
              <a:gd name="connsiteY62444" fmla="*/ 1089408 h 5973007"/>
              <a:gd name="connsiteX62445" fmla="*/ 4385135 w 6884782"/>
              <a:gd name="connsiteY62445" fmla="*/ 1089210 h 5973007"/>
              <a:gd name="connsiteX62446" fmla="*/ 4391751 w 6884782"/>
              <a:gd name="connsiteY62446" fmla="*/ 1100592 h 5973007"/>
              <a:gd name="connsiteX62447" fmla="*/ 4380013 w 6884782"/>
              <a:gd name="connsiteY62447" fmla="*/ 1092910 h 5973007"/>
              <a:gd name="connsiteX62448" fmla="*/ 4385135 w 6884782"/>
              <a:gd name="connsiteY62448" fmla="*/ 1089210 h 5973007"/>
              <a:gd name="connsiteX62449" fmla="*/ 1137781 w 6884782"/>
              <a:gd name="connsiteY62449" fmla="*/ 1088634 h 5973007"/>
              <a:gd name="connsiteX62450" fmla="*/ 1144286 w 6884782"/>
              <a:gd name="connsiteY62450" fmla="*/ 1105517 h 5973007"/>
              <a:gd name="connsiteX62451" fmla="*/ 1135199 w 6884782"/>
              <a:gd name="connsiteY62451" fmla="*/ 1092971 h 5973007"/>
              <a:gd name="connsiteX62452" fmla="*/ 1137781 w 6884782"/>
              <a:gd name="connsiteY62452" fmla="*/ 1088634 h 5973007"/>
              <a:gd name="connsiteX62453" fmla="*/ 4341598 w 6884782"/>
              <a:gd name="connsiteY62453" fmla="*/ 1088215 h 5973007"/>
              <a:gd name="connsiteX62454" fmla="*/ 4330927 w 6884782"/>
              <a:gd name="connsiteY62454" fmla="*/ 1111689 h 5973007"/>
              <a:gd name="connsiteX62455" fmla="*/ 4341598 w 6884782"/>
              <a:gd name="connsiteY62455" fmla="*/ 1088215 h 5973007"/>
              <a:gd name="connsiteX62456" fmla="*/ 4854659 w 6884782"/>
              <a:gd name="connsiteY62456" fmla="*/ 1088073 h 5973007"/>
              <a:gd name="connsiteX62457" fmla="*/ 4858073 w 6884782"/>
              <a:gd name="connsiteY62457" fmla="*/ 1088784 h 5973007"/>
              <a:gd name="connsiteX62458" fmla="*/ 4857433 w 6884782"/>
              <a:gd name="connsiteY62458" fmla="*/ 1096039 h 5973007"/>
              <a:gd name="connsiteX62459" fmla="*/ 4849750 w 6884782"/>
              <a:gd name="connsiteY62459" fmla="*/ 1092340 h 5973007"/>
              <a:gd name="connsiteX62460" fmla="*/ 4851244 w 6884782"/>
              <a:gd name="connsiteY62460" fmla="*/ 1089922 h 5973007"/>
              <a:gd name="connsiteX62461" fmla="*/ 4854659 w 6884782"/>
              <a:gd name="connsiteY62461" fmla="*/ 1088073 h 5973007"/>
              <a:gd name="connsiteX62462" fmla="*/ 1425762 w 6884782"/>
              <a:gd name="connsiteY62462" fmla="*/ 1087859 h 5973007"/>
              <a:gd name="connsiteX62463" fmla="*/ 1425762 w 6884782"/>
              <a:gd name="connsiteY62463" fmla="*/ 1089718 h 5973007"/>
              <a:gd name="connsiteX62464" fmla="*/ 1425039 w 6884782"/>
              <a:gd name="connsiteY62464" fmla="*/ 1089408 h 5973007"/>
              <a:gd name="connsiteX62465" fmla="*/ 1425039 w 6884782"/>
              <a:gd name="connsiteY62465" fmla="*/ 1088014 h 5973007"/>
              <a:gd name="connsiteX62466" fmla="*/ 1425762 w 6884782"/>
              <a:gd name="connsiteY62466" fmla="*/ 1087859 h 5973007"/>
              <a:gd name="connsiteX62467" fmla="*/ 3621733 w 6884782"/>
              <a:gd name="connsiteY62467" fmla="*/ 1087503 h 5973007"/>
              <a:gd name="connsiteX62468" fmla="*/ 3623653 w 6884782"/>
              <a:gd name="connsiteY62468" fmla="*/ 1088926 h 5973007"/>
              <a:gd name="connsiteX62469" fmla="*/ 3623653 w 6884782"/>
              <a:gd name="connsiteY62469" fmla="*/ 1090207 h 5973007"/>
              <a:gd name="connsiteX62470" fmla="*/ 3623867 w 6884782"/>
              <a:gd name="connsiteY62470" fmla="*/ 1090349 h 5973007"/>
              <a:gd name="connsiteX62471" fmla="*/ 3622587 w 6884782"/>
              <a:gd name="connsiteY62471" fmla="*/ 1092198 h 5973007"/>
              <a:gd name="connsiteX62472" fmla="*/ 3620239 w 6884782"/>
              <a:gd name="connsiteY62472" fmla="*/ 1093052 h 5973007"/>
              <a:gd name="connsiteX62473" fmla="*/ 3619385 w 6884782"/>
              <a:gd name="connsiteY62473" fmla="*/ 1088215 h 5973007"/>
              <a:gd name="connsiteX62474" fmla="*/ 3621520 w 6884782"/>
              <a:gd name="connsiteY62474" fmla="*/ 1088642 h 5973007"/>
              <a:gd name="connsiteX62475" fmla="*/ 3621733 w 6884782"/>
              <a:gd name="connsiteY62475" fmla="*/ 1087503 h 5973007"/>
              <a:gd name="connsiteX62476" fmla="*/ 1044230 w 6884782"/>
              <a:gd name="connsiteY62476" fmla="*/ 1085845 h 5973007"/>
              <a:gd name="connsiteX62477" fmla="*/ 1049496 w 6884782"/>
              <a:gd name="connsiteY62477" fmla="*/ 1086310 h 5973007"/>
              <a:gd name="connsiteX62478" fmla="*/ 1046812 w 6884782"/>
              <a:gd name="connsiteY62478" fmla="*/ 1091886 h 5973007"/>
              <a:gd name="connsiteX62479" fmla="*/ 1045056 w 6884782"/>
              <a:gd name="connsiteY62479" fmla="*/ 1090802 h 5973007"/>
              <a:gd name="connsiteX62480" fmla="*/ 1043714 w 6884782"/>
              <a:gd name="connsiteY62480" fmla="*/ 1088324 h 5973007"/>
              <a:gd name="connsiteX62481" fmla="*/ 1044230 w 6884782"/>
              <a:gd name="connsiteY62481" fmla="*/ 1085845 h 5973007"/>
              <a:gd name="connsiteX62482" fmla="*/ 1482553 w 6884782"/>
              <a:gd name="connsiteY62482" fmla="*/ 1085691 h 5973007"/>
              <a:gd name="connsiteX62483" fmla="*/ 1483586 w 6884782"/>
              <a:gd name="connsiteY62483" fmla="*/ 1086000 h 5973007"/>
              <a:gd name="connsiteX62484" fmla="*/ 1483482 w 6884782"/>
              <a:gd name="connsiteY62484" fmla="*/ 1086775 h 5973007"/>
              <a:gd name="connsiteX62485" fmla="*/ 1482037 w 6884782"/>
              <a:gd name="connsiteY62485" fmla="*/ 1086000 h 5973007"/>
              <a:gd name="connsiteX62486" fmla="*/ 1482553 w 6884782"/>
              <a:gd name="connsiteY62486" fmla="*/ 1085691 h 5973007"/>
              <a:gd name="connsiteX62487" fmla="*/ 3855855 w 6884782"/>
              <a:gd name="connsiteY62487" fmla="*/ 1085654 h 5973007"/>
              <a:gd name="connsiteX62488" fmla="*/ 3866098 w 6884782"/>
              <a:gd name="connsiteY62488" fmla="*/ 1093052 h 5973007"/>
              <a:gd name="connsiteX62489" fmla="*/ 3866526 w 6884782"/>
              <a:gd name="connsiteY62489" fmla="*/ 1093764 h 5973007"/>
              <a:gd name="connsiteX62490" fmla="*/ 3868020 w 6884782"/>
              <a:gd name="connsiteY62490" fmla="*/ 1094332 h 5973007"/>
              <a:gd name="connsiteX62491" fmla="*/ 3868233 w 6884782"/>
              <a:gd name="connsiteY62491" fmla="*/ 1093905 h 5973007"/>
              <a:gd name="connsiteX62492" fmla="*/ 3868446 w 6884782"/>
              <a:gd name="connsiteY62492" fmla="*/ 1094474 h 5973007"/>
              <a:gd name="connsiteX62493" fmla="*/ 3871007 w 6884782"/>
              <a:gd name="connsiteY62493" fmla="*/ 1095470 h 5973007"/>
              <a:gd name="connsiteX62494" fmla="*/ 3870153 w 6884782"/>
              <a:gd name="connsiteY62494" fmla="*/ 1097462 h 5973007"/>
              <a:gd name="connsiteX62495" fmla="*/ 3871221 w 6884782"/>
              <a:gd name="connsiteY62495" fmla="*/ 1101019 h 5973007"/>
              <a:gd name="connsiteX62496" fmla="*/ 3869086 w 6884782"/>
              <a:gd name="connsiteY62496" fmla="*/ 1103438 h 5973007"/>
              <a:gd name="connsiteX62497" fmla="*/ 3862470 w 6884782"/>
              <a:gd name="connsiteY62497" fmla="*/ 1103580 h 5973007"/>
              <a:gd name="connsiteX62498" fmla="*/ 3857989 w 6884782"/>
              <a:gd name="connsiteY62498" fmla="*/ 1111832 h 5973007"/>
              <a:gd name="connsiteX62499" fmla="*/ 3855855 w 6884782"/>
              <a:gd name="connsiteY62499" fmla="*/ 1115957 h 5973007"/>
              <a:gd name="connsiteX62500" fmla="*/ 3857135 w 6884782"/>
              <a:gd name="connsiteY62500" fmla="*/ 1114819 h 5973007"/>
              <a:gd name="connsiteX62501" fmla="*/ 3874209 w 6884782"/>
              <a:gd name="connsiteY62501" fmla="*/ 1116384 h 5973007"/>
              <a:gd name="connsiteX62502" fmla="*/ 3863111 w 6884782"/>
              <a:gd name="connsiteY62502" fmla="*/ 1121648 h 5973007"/>
              <a:gd name="connsiteX62503" fmla="*/ 3853934 w 6884782"/>
              <a:gd name="connsiteY62503" fmla="*/ 1118376 h 5973007"/>
              <a:gd name="connsiteX62504" fmla="*/ 3849452 w 6884782"/>
              <a:gd name="connsiteY62504" fmla="*/ 1121933 h 5973007"/>
              <a:gd name="connsiteX62505" fmla="*/ 3840702 w 6884782"/>
              <a:gd name="connsiteY62505" fmla="*/ 1114819 h 5973007"/>
              <a:gd name="connsiteX62506" fmla="*/ 3848171 w 6884782"/>
              <a:gd name="connsiteY62506" fmla="*/ 1092910 h 5973007"/>
              <a:gd name="connsiteX62507" fmla="*/ 3849025 w 6884782"/>
              <a:gd name="connsiteY62507" fmla="*/ 1093479 h 5973007"/>
              <a:gd name="connsiteX62508" fmla="*/ 3851159 w 6884782"/>
              <a:gd name="connsiteY62508" fmla="*/ 1085938 h 5973007"/>
              <a:gd name="connsiteX62509" fmla="*/ 3855855 w 6884782"/>
              <a:gd name="connsiteY62509" fmla="*/ 1085654 h 5973007"/>
              <a:gd name="connsiteX62510" fmla="*/ 1298137 w 6884782"/>
              <a:gd name="connsiteY62510" fmla="*/ 1085381 h 5973007"/>
              <a:gd name="connsiteX62511" fmla="*/ 1309908 w 6884782"/>
              <a:gd name="connsiteY62511" fmla="*/ 1102264 h 5973007"/>
              <a:gd name="connsiteX62512" fmla="*/ 1301751 w 6884782"/>
              <a:gd name="connsiteY62512" fmla="*/ 1105053 h 5973007"/>
              <a:gd name="connsiteX62513" fmla="*/ 1294317 w 6884782"/>
              <a:gd name="connsiteY62513" fmla="*/ 1096378 h 5973007"/>
              <a:gd name="connsiteX62514" fmla="*/ 1298137 w 6884782"/>
              <a:gd name="connsiteY62514" fmla="*/ 1085381 h 5973007"/>
              <a:gd name="connsiteX62515" fmla="*/ 1216255 w 6884782"/>
              <a:gd name="connsiteY62515" fmla="*/ 1085226 h 5973007"/>
              <a:gd name="connsiteX62516" fmla="*/ 1219869 w 6884782"/>
              <a:gd name="connsiteY62516" fmla="*/ 1085226 h 5973007"/>
              <a:gd name="connsiteX62517" fmla="*/ 1223277 w 6884782"/>
              <a:gd name="connsiteY62517" fmla="*/ 1087859 h 5973007"/>
              <a:gd name="connsiteX62518" fmla="*/ 1222554 w 6884782"/>
              <a:gd name="connsiteY62518" fmla="*/ 1087395 h 5973007"/>
              <a:gd name="connsiteX62519" fmla="*/ 1221625 w 6884782"/>
              <a:gd name="connsiteY62519" fmla="*/ 1088788 h 5973007"/>
              <a:gd name="connsiteX62520" fmla="*/ 1222347 w 6884782"/>
              <a:gd name="connsiteY62520" fmla="*/ 1089253 h 5973007"/>
              <a:gd name="connsiteX62521" fmla="*/ 1220798 w 6884782"/>
              <a:gd name="connsiteY62521" fmla="*/ 1090182 h 5973007"/>
              <a:gd name="connsiteX62522" fmla="*/ 1214087 w 6884782"/>
              <a:gd name="connsiteY62522" fmla="*/ 1088788 h 5973007"/>
              <a:gd name="connsiteX62523" fmla="*/ 1216255 w 6884782"/>
              <a:gd name="connsiteY62523" fmla="*/ 1085226 h 5973007"/>
              <a:gd name="connsiteX62524" fmla="*/ 1547295 w 6884782"/>
              <a:gd name="connsiteY62524" fmla="*/ 1084142 h 5973007"/>
              <a:gd name="connsiteX62525" fmla="*/ 1551218 w 6884782"/>
              <a:gd name="connsiteY62525" fmla="*/ 1088943 h 5973007"/>
              <a:gd name="connsiteX62526" fmla="*/ 1552974 w 6884782"/>
              <a:gd name="connsiteY62526" fmla="*/ 1096688 h 5973007"/>
              <a:gd name="connsiteX62527" fmla="*/ 1551735 w 6884782"/>
              <a:gd name="connsiteY62527" fmla="*/ 1096224 h 5973007"/>
              <a:gd name="connsiteX62528" fmla="*/ 1547295 w 6884782"/>
              <a:gd name="connsiteY62528" fmla="*/ 1084142 h 5973007"/>
              <a:gd name="connsiteX62529" fmla="*/ 1446168 w 6884782"/>
              <a:gd name="connsiteY62529" fmla="*/ 1083561 h 5973007"/>
              <a:gd name="connsiteX62530" fmla="*/ 1453951 w 6884782"/>
              <a:gd name="connsiteY62530" fmla="*/ 1085381 h 5973007"/>
              <a:gd name="connsiteX62531" fmla="*/ 1445691 w 6884782"/>
              <a:gd name="connsiteY62531" fmla="*/ 1094830 h 5973007"/>
              <a:gd name="connsiteX62532" fmla="*/ 1441870 w 6884782"/>
              <a:gd name="connsiteY62532" fmla="*/ 1090338 h 5973007"/>
              <a:gd name="connsiteX62533" fmla="*/ 1446168 w 6884782"/>
              <a:gd name="connsiteY62533" fmla="*/ 1083561 h 5973007"/>
              <a:gd name="connsiteX62534" fmla="*/ 1352244 w 6884782"/>
              <a:gd name="connsiteY62534" fmla="*/ 1083522 h 5973007"/>
              <a:gd name="connsiteX62535" fmla="*/ 1348940 w 6884782"/>
              <a:gd name="connsiteY62535" fmla="*/ 1090182 h 5973007"/>
              <a:gd name="connsiteX62536" fmla="*/ 1347081 w 6884782"/>
              <a:gd name="connsiteY62536" fmla="*/ 1086620 h 5973007"/>
              <a:gd name="connsiteX62537" fmla="*/ 1349869 w 6884782"/>
              <a:gd name="connsiteY62537" fmla="*/ 1083987 h 5973007"/>
              <a:gd name="connsiteX62538" fmla="*/ 1352244 w 6884782"/>
              <a:gd name="connsiteY62538" fmla="*/ 1083522 h 5973007"/>
              <a:gd name="connsiteX62539" fmla="*/ 5047804 w 6884782"/>
              <a:gd name="connsiteY62539" fmla="*/ 1083520 h 5973007"/>
              <a:gd name="connsiteX62540" fmla="*/ 5066158 w 6884782"/>
              <a:gd name="connsiteY62540" fmla="*/ 1083947 h 5973007"/>
              <a:gd name="connsiteX62541" fmla="*/ 5068079 w 6884782"/>
              <a:gd name="connsiteY62541" fmla="*/ 1086365 h 5973007"/>
              <a:gd name="connsiteX62542" fmla="*/ 5069359 w 6884782"/>
              <a:gd name="connsiteY62542" fmla="*/ 1086365 h 5973007"/>
              <a:gd name="connsiteX62543" fmla="*/ 5070213 w 6884782"/>
              <a:gd name="connsiteY62543" fmla="*/ 1087646 h 5973007"/>
              <a:gd name="connsiteX62544" fmla="*/ 5070213 w 6884782"/>
              <a:gd name="connsiteY62544" fmla="*/ 1088784 h 5973007"/>
              <a:gd name="connsiteX62545" fmla="*/ 5063170 w 6884782"/>
              <a:gd name="connsiteY62545" fmla="*/ 1089922 h 5973007"/>
              <a:gd name="connsiteX62546" fmla="*/ 5057621 w 6884782"/>
              <a:gd name="connsiteY62546" fmla="*/ 1089922 h 5973007"/>
              <a:gd name="connsiteX62547" fmla="*/ 5039694 w 6884782"/>
              <a:gd name="connsiteY62547" fmla="*/ 1084658 h 5973007"/>
              <a:gd name="connsiteX62548" fmla="*/ 5047804 w 6884782"/>
              <a:gd name="connsiteY62548" fmla="*/ 1083520 h 5973007"/>
              <a:gd name="connsiteX62549" fmla="*/ 1011498 w 6884782"/>
              <a:gd name="connsiteY62549" fmla="*/ 1083367 h 5973007"/>
              <a:gd name="connsiteX62550" fmla="*/ 1018106 w 6884782"/>
              <a:gd name="connsiteY62550" fmla="*/ 1092971 h 5973007"/>
              <a:gd name="connsiteX62551" fmla="*/ 1010879 w 6884782"/>
              <a:gd name="connsiteY62551" fmla="*/ 1091112 h 5973007"/>
              <a:gd name="connsiteX62552" fmla="*/ 1010156 w 6884782"/>
              <a:gd name="connsiteY62552" fmla="*/ 1087240 h 5973007"/>
              <a:gd name="connsiteX62553" fmla="*/ 1011498 w 6884782"/>
              <a:gd name="connsiteY62553" fmla="*/ 1083367 h 5973007"/>
              <a:gd name="connsiteX62554" fmla="*/ 1425659 w 6884782"/>
              <a:gd name="connsiteY62554" fmla="*/ 1082593 h 5973007"/>
              <a:gd name="connsiteX62555" fmla="*/ 1425659 w 6884782"/>
              <a:gd name="connsiteY62555" fmla="*/ 1085226 h 5973007"/>
              <a:gd name="connsiteX62556" fmla="*/ 1425556 w 6884782"/>
              <a:gd name="connsiteY62556" fmla="*/ 1085536 h 5973007"/>
              <a:gd name="connsiteX62557" fmla="*/ 1425969 w 6884782"/>
              <a:gd name="connsiteY62557" fmla="*/ 1085536 h 5973007"/>
              <a:gd name="connsiteX62558" fmla="*/ 1425142 w 6884782"/>
              <a:gd name="connsiteY62558" fmla="*/ 1086775 h 5973007"/>
              <a:gd name="connsiteX62559" fmla="*/ 1424833 w 6884782"/>
              <a:gd name="connsiteY62559" fmla="*/ 1087395 h 5973007"/>
              <a:gd name="connsiteX62560" fmla="*/ 1424730 w 6884782"/>
              <a:gd name="connsiteY62560" fmla="*/ 1087085 h 5973007"/>
              <a:gd name="connsiteX62561" fmla="*/ 1422974 w 6884782"/>
              <a:gd name="connsiteY62561" fmla="*/ 1088634 h 5973007"/>
              <a:gd name="connsiteX62562" fmla="*/ 1422561 w 6884782"/>
              <a:gd name="connsiteY62562" fmla="*/ 1090338 h 5973007"/>
              <a:gd name="connsiteX62563" fmla="*/ 1416263 w 6884782"/>
              <a:gd name="connsiteY62563" fmla="*/ 1093281 h 5973007"/>
              <a:gd name="connsiteX62564" fmla="*/ 1419257 w 6884782"/>
              <a:gd name="connsiteY62564" fmla="*/ 1090028 h 5973007"/>
              <a:gd name="connsiteX62565" fmla="*/ 1421219 w 6884782"/>
              <a:gd name="connsiteY62565" fmla="*/ 1088478 h 5973007"/>
              <a:gd name="connsiteX62566" fmla="*/ 1422355 w 6884782"/>
              <a:gd name="connsiteY62566" fmla="*/ 1086930 h 5973007"/>
              <a:gd name="connsiteX62567" fmla="*/ 1424007 w 6884782"/>
              <a:gd name="connsiteY62567" fmla="*/ 1086000 h 5973007"/>
              <a:gd name="connsiteX62568" fmla="*/ 1423903 w 6884782"/>
              <a:gd name="connsiteY62568" fmla="*/ 1085845 h 5973007"/>
              <a:gd name="connsiteX62569" fmla="*/ 1423594 w 6884782"/>
              <a:gd name="connsiteY62569" fmla="*/ 1084142 h 5973007"/>
              <a:gd name="connsiteX62570" fmla="*/ 1424110 w 6884782"/>
              <a:gd name="connsiteY62570" fmla="*/ 1083212 h 5973007"/>
              <a:gd name="connsiteX62571" fmla="*/ 1425659 w 6884782"/>
              <a:gd name="connsiteY62571" fmla="*/ 1082593 h 5973007"/>
              <a:gd name="connsiteX62572" fmla="*/ 4817524 w 6884782"/>
              <a:gd name="connsiteY62572" fmla="*/ 1082381 h 5973007"/>
              <a:gd name="connsiteX62573" fmla="*/ 4820939 w 6884782"/>
              <a:gd name="connsiteY62573" fmla="*/ 1082524 h 5973007"/>
              <a:gd name="connsiteX62574" fmla="*/ 4813469 w 6884782"/>
              <a:gd name="connsiteY62574" fmla="*/ 1091345 h 5973007"/>
              <a:gd name="connsiteX62575" fmla="*/ 4817524 w 6884782"/>
              <a:gd name="connsiteY62575" fmla="*/ 1082381 h 5973007"/>
              <a:gd name="connsiteX62576" fmla="*/ 4204369 w 6884782"/>
              <a:gd name="connsiteY62576" fmla="*/ 1082381 h 5973007"/>
              <a:gd name="connsiteX62577" fmla="*/ 4209918 w 6884782"/>
              <a:gd name="connsiteY62577" fmla="*/ 1085654 h 5973007"/>
              <a:gd name="connsiteX62578" fmla="*/ 4202021 w 6884782"/>
              <a:gd name="connsiteY62578" fmla="*/ 1096324 h 5973007"/>
              <a:gd name="connsiteX62579" fmla="*/ 4204369 w 6884782"/>
              <a:gd name="connsiteY62579" fmla="*/ 1082381 h 5973007"/>
              <a:gd name="connsiteX62580" fmla="*/ 4827768 w 6884782"/>
              <a:gd name="connsiteY62580" fmla="*/ 1082097 h 5973007"/>
              <a:gd name="connsiteX62581" fmla="*/ 4843561 w 6884782"/>
              <a:gd name="connsiteY62581" fmla="*/ 1100734 h 5973007"/>
              <a:gd name="connsiteX62582" fmla="*/ 4839506 w 6884782"/>
              <a:gd name="connsiteY62582" fmla="*/ 1125205 h 5973007"/>
              <a:gd name="connsiteX62583" fmla="*/ 4827768 w 6884782"/>
              <a:gd name="connsiteY62583" fmla="*/ 1082097 h 5973007"/>
              <a:gd name="connsiteX62584" fmla="*/ 1537589 w 6884782"/>
              <a:gd name="connsiteY62584" fmla="*/ 1081818 h 5973007"/>
              <a:gd name="connsiteX62585" fmla="*/ 1538621 w 6884782"/>
              <a:gd name="connsiteY62585" fmla="*/ 1082128 h 5973007"/>
              <a:gd name="connsiteX62586" fmla="*/ 1538311 w 6884782"/>
              <a:gd name="connsiteY62586" fmla="*/ 1081818 h 5973007"/>
              <a:gd name="connsiteX62587" fmla="*/ 4919966 w 6884782"/>
              <a:gd name="connsiteY62587" fmla="*/ 1081671 h 5973007"/>
              <a:gd name="connsiteX62588" fmla="*/ 4931063 w 6884782"/>
              <a:gd name="connsiteY62588" fmla="*/ 1082951 h 5973007"/>
              <a:gd name="connsiteX62589" fmla="*/ 4933411 w 6884782"/>
              <a:gd name="connsiteY62589" fmla="*/ 1082951 h 5973007"/>
              <a:gd name="connsiteX62590" fmla="*/ 4935545 w 6884782"/>
              <a:gd name="connsiteY62590" fmla="*/ 1085369 h 5973007"/>
              <a:gd name="connsiteX62591" fmla="*/ 4925087 w 6884782"/>
              <a:gd name="connsiteY62591" fmla="*/ 1086365 h 5973007"/>
              <a:gd name="connsiteX62592" fmla="*/ 4919325 w 6884782"/>
              <a:gd name="connsiteY62592" fmla="*/ 1086365 h 5973007"/>
              <a:gd name="connsiteX62593" fmla="*/ 4917191 w 6884782"/>
              <a:gd name="connsiteY62593" fmla="*/ 1083804 h 5973007"/>
              <a:gd name="connsiteX62594" fmla="*/ 4917404 w 6884782"/>
              <a:gd name="connsiteY62594" fmla="*/ 1082666 h 5973007"/>
              <a:gd name="connsiteX62595" fmla="*/ 4919966 w 6884782"/>
              <a:gd name="connsiteY62595" fmla="*/ 1081671 h 5973007"/>
              <a:gd name="connsiteX62596" fmla="*/ 3784786 w 6884782"/>
              <a:gd name="connsiteY62596" fmla="*/ 1081101 h 5973007"/>
              <a:gd name="connsiteX62597" fmla="*/ 3787347 w 6884782"/>
              <a:gd name="connsiteY62597" fmla="*/ 1088073 h 5973007"/>
              <a:gd name="connsiteX62598" fmla="*/ 3776889 w 6884782"/>
              <a:gd name="connsiteY62598" fmla="*/ 1096039 h 5973007"/>
              <a:gd name="connsiteX62599" fmla="*/ 3784786 w 6884782"/>
              <a:gd name="connsiteY62599" fmla="*/ 1081101 h 5973007"/>
              <a:gd name="connsiteX62600" fmla="*/ 4146106 w 6884782"/>
              <a:gd name="connsiteY62600" fmla="*/ 1080674 h 5973007"/>
              <a:gd name="connsiteX62601" fmla="*/ 4153789 w 6884782"/>
              <a:gd name="connsiteY62601" fmla="*/ 1080817 h 5973007"/>
              <a:gd name="connsiteX62602" fmla="*/ 4138849 w 6884782"/>
              <a:gd name="connsiteY62602" fmla="*/ 1101019 h 5973007"/>
              <a:gd name="connsiteX62603" fmla="*/ 4146106 w 6884782"/>
              <a:gd name="connsiteY62603" fmla="*/ 1080674 h 5973007"/>
              <a:gd name="connsiteX62604" fmla="*/ 993222 w 6884782"/>
              <a:gd name="connsiteY62604" fmla="*/ 1080114 h 5973007"/>
              <a:gd name="connsiteX62605" fmla="*/ 995803 w 6884782"/>
              <a:gd name="connsiteY62605" fmla="*/ 1080269 h 5973007"/>
              <a:gd name="connsiteX62606" fmla="*/ 999107 w 6884782"/>
              <a:gd name="connsiteY62606" fmla="*/ 1088014 h 5973007"/>
              <a:gd name="connsiteX62607" fmla="*/ 993119 w 6884782"/>
              <a:gd name="connsiteY62607" fmla="*/ 1081973 h 5973007"/>
              <a:gd name="connsiteX62608" fmla="*/ 993222 w 6884782"/>
              <a:gd name="connsiteY62608" fmla="*/ 1080114 h 5973007"/>
              <a:gd name="connsiteX62609" fmla="*/ 1211093 w 6884782"/>
              <a:gd name="connsiteY62609" fmla="*/ 1079959 h 5973007"/>
              <a:gd name="connsiteX62610" fmla="*/ 1212538 w 6884782"/>
              <a:gd name="connsiteY62610" fmla="*/ 1086620 h 5973007"/>
              <a:gd name="connsiteX62611" fmla="*/ 1207478 w 6884782"/>
              <a:gd name="connsiteY62611" fmla="*/ 1086000 h 5973007"/>
              <a:gd name="connsiteX62612" fmla="*/ 1205930 w 6884782"/>
              <a:gd name="connsiteY62612" fmla="*/ 1083522 h 5973007"/>
              <a:gd name="connsiteX62613" fmla="*/ 1207582 w 6884782"/>
              <a:gd name="connsiteY62613" fmla="*/ 1080889 h 5973007"/>
              <a:gd name="connsiteX62614" fmla="*/ 1211093 w 6884782"/>
              <a:gd name="connsiteY62614" fmla="*/ 1079959 h 5973007"/>
              <a:gd name="connsiteX62615" fmla="*/ 964413 w 6884782"/>
              <a:gd name="connsiteY62615" fmla="*/ 1079495 h 5973007"/>
              <a:gd name="connsiteX62616" fmla="*/ 968854 w 6884782"/>
              <a:gd name="connsiteY62616" fmla="*/ 1080734 h 5973007"/>
              <a:gd name="connsiteX62617" fmla="*/ 971332 w 6884782"/>
              <a:gd name="connsiteY62617" fmla="*/ 1088478 h 5973007"/>
              <a:gd name="connsiteX62618" fmla="*/ 967821 w 6884782"/>
              <a:gd name="connsiteY62618" fmla="*/ 1088169 h 5973007"/>
              <a:gd name="connsiteX62619" fmla="*/ 963897 w 6884782"/>
              <a:gd name="connsiteY62619" fmla="*/ 1081353 h 5973007"/>
              <a:gd name="connsiteX62620" fmla="*/ 964413 w 6884782"/>
              <a:gd name="connsiteY62620" fmla="*/ 1079495 h 5973007"/>
              <a:gd name="connsiteX62621" fmla="*/ 4470717 w 6884782"/>
              <a:gd name="connsiteY62621" fmla="*/ 1079394 h 5973007"/>
              <a:gd name="connsiteX62622" fmla="*/ 4484589 w 6884782"/>
              <a:gd name="connsiteY62622" fmla="*/ 1089353 h 5973007"/>
              <a:gd name="connsiteX62623" fmla="*/ 4488004 w 6884782"/>
              <a:gd name="connsiteY62623" fmla="*/ 1106568 h 5973007"/>
              <a:gd name="connsiteX62624" fmla="*/ 4477333 w 6884782"/>
              <a:gd name="connsiteY62624" fmla="*/ 1095470 h 5973007"/>
              <a:gd name="connsiteX62625" fmla="*/ 4470717 w 6884782"/>
              <a:gd name="connsiteY62625" fmla="*/ 1079394 h 5973007"/>
              <a:gd name="connsiteX62626" fmla="*/ 1125596 w 6884782"/>
              <a:gd name="connsiteY62626" fmla="*/ 1079185 h 5973007"/>
              <a:gd name="connsiteX62627" fmla="*/ 1126629 w 6884782"/>
              <a:gd name="connsiteY62627" fmla="*/ 1080734 h 5973007"/>
              <a:gd name="connsiteX62628" fmla="*/ 1124977 w 6884782"/>
              <a:gd name="connsiteY62628" fmla="*/ 1082593 h 5973007"/>
              <a:gd name="connsiteX62629" fmla="*/ 1119814 w 6884782"/>
              <a:gd name="connsiteY62629" fmla="*/ 1083212 h 5973007"/>
              <a:gd name="connsiteX62630" fmla="*/ 1118885 w 6884782"/>
              <a:gd name="connsiteY62630" fmla="*/ 1081663 h 5973007"/>
              <a:gd name="connsiteX62631" fmla="*/ 1125596 w 6884782"/>
              <a:gd name="connsiteY62631" fmla="*/ 1079185 h 5973007"/>
              <a:gd name="connsiteX62632" fmla="*/ 4299767 w 6884782"/>
              <a:gd name="connsiteY62632" fmla="*/ 1078967 h 5973007"/>
              <a:gd name="connsiteX62633" fmla="*/ 4301048 w 6884782"/>
              <a:gd name="connsiteY62633" fmla="*/ 1082524 h 5973007"/>
              <a:gd name="connsiteX62634" fmla="*/ 4299341 w 6884782"/>
              <a:gd name="connsiteY62634" fmla="*/ 1096039 h 5973007"/>
              <a:gd name="connsiteX62635" fmla="*/ 4291017 w 6884782"/>
              <a:gd name="connsiteY62635" fmla="*/ 1094902 h 5973007"/>
              <a:gd name="connsiteX62636" fmla="*/ 4299767 w 6884782"/>
              <a:gd name="connsiteY62636" fmla="*/ 1078967 h 5973007"/>
              <a:gd name="connsiteX62637" fmla="*/ 4038542 w 6884782"/>
              <a:gd name="connsiteY62637" fmla="*/ 1078967 h 5973007"/>
              <a:gd name="connsiteX62638" fmla="*/ 4040249 w 6884782"/>
              <a:gd name="connsiteY62638" fmla="*/ 1091345 h 5973007"/>
              <a:gd name="connsiteX62639" fmla="*/ 4038542 w 6884782"/>
              <a:gd name="connsiteY62639" fmla="*/ 1078967 h 5973007"/>
              <a:gd name="connsiteX62640" fmla="*/ 1430202 w 6884782"/>
              <a:gd name="connsiteY62640" fmla="*/ 1078720 h 5973007"/>
              <a:gd name="connsiteX62641" fmla="*/ 1436604 w 6884782"/>
              <a:gd name="connsiteY62641" fmla="*/ 1084297 h 5973007"/>
              <a:gd name="connsiteX62642" fmla="*/ 1436295 w 6884782"/>
              <a:gd name="connsiteY62642" fmla="*/ 1085381 h 5973007"/>
              <a:gd name="connsiteX62643" fmla="*/ 1430512 w 6884782"/>
              <a:gd name="connsiteY62643" fmla="*/ 1093281 h 5973007"/>
              <a:gd name="connsiteX62644" fmla="*/ 1426278 w 6884782"/>
              <a:gd name="connsiteY62644" fmla="*/ 1089098 h 5973007"/>
              <a:gd name="connsiteX62645" fmla="*/ 1426278 w 6884782"/>
              <a:gd name="connsiteY62645" fmla="*/ 1086620 h 5973007"/>
              <a:gd name="connsiteX62646" fmla="*/ 1430202 w 6884782"/>
              <a:gd name="connsiteY62646" fmla="*/ 1078720 h 5973007"/>
              <a:gd name="connsiteX62647" fmla="*/ 1328082 w 6884782"/>
              <a:gd name="connsiteY62647" fmla="*/ 1077636 h 5973007"/>
              <a:gd name="connsiteX62648" fmla="*/ 1327256 w 6884782"/>
              <a:gd name="connsiteY62648" fmla="*/ 1088634 h 5973007"/>
              <a:gd name="connsiteX62649" fmla="*/ 1322506 w 6884782"/>
              <a:gd name="connsiteY62649" fmla="*/ 1083677 h 5973007"/>
              <a:gd name="connsiteX62650" fmla="*/ 1328082 w 6884782"/>
              <a:gd name="connsiteY62650" fmla="*/ 1077636 h 5973007"/>
              <a:gd name="connsiteX62651" fmla="*/ 4583616 w 6884782"/>
              <a:gd name="connsiteY62651" fmla="*/ 1074699 h 5973007"/>
              <a:gd name="connsiteX62652" fmla="*/ 4590445 w 6884782"/>
              <a:gd name="connsiteY62652" fmla="*/ 1076407 h 5973007"/>
              <a:gd name="connsiteX62653" fmla="*/ 4578280 w 6884782"/>
              <a:gd name="connsiteY62653" fmla="*/ 1083947 h 5973007"/>
              <a:gd name="connsiteX62654" fmla="*/ 4576360 w 6884782"/>
              <a:gd name="connsiteY62654" fmla="*/ 1076691 h 5973007"/>
              <a:gd name="connsiteX62655" fmla="*/ 4583616 w 6884782"/>
              <a:gd name="connsiteY62655" fmla="*/ 1074699 h 5973007"/>
              <a:gd name="connsiteX62656" fmla="*/ 3826616 w 6884782"/>
              <a:gd name="connsiteY62656" fmla="*/ 1074699 h 5973007"/>
              <a:gd name="connsiteX62657" fmla="*/ 3840488 w 6884782"/>
              <a:gd name="connsiteY62657" fmla="*/ 1083804 h 5973007"/>
              <a:gd name="connsiteX62658" fmla="*/ 3841769 w 6884782"/>
              <a:gd name="connsiteY62658" fmla="*/ 1085938 h 5973007"/>
              <a:gd name="connsiteX62659" fmla="*/ 3841555 w 6884782"/>
              <a:gd name="connsiteY62659" fmla="*/ 1094617 h 5973007"/>
              <a:gd name="connsiteX62660" fmla="*/ 3825762 w 6884782"/>
              <a:gd name="connsiteY62660" fmla="*/ 1080106 h 5973007"/>
              <a:gd name="connsiteX62661" fmla="*/ 3824695 w 6884782"/>
              <a:gd name="connsiteY62661" fmla="*/ 1077829 h 5973007"/>
              <a:gd name="connsiteX62662" fmla="*/ 3826616 w 6884782"/>
              <a:gd name="connsiteY62662" fmla="*/ 1074699 h 5973007"/>
              <a:gd name="connsiteX62663" fmla="*/ 1467994 w 6884782"/>
              <a:gd name="connsiteY62663" fmla="*/ 1074074 h 5973007"/>
              <a:gd name="connsiteX62664" fmla="*/ 1476771 w 6884782"/>
              <a:gd name="connsiteY62664" fmla="*/ 1075158 h 5973007"/>
              <a:gd name="connsiteX62665" fmla="*/ 1466342 w 6884782"/>
              <a:gd name="connsiteY62665" fmla="*/ 1082128 h 5973007"/>
              <a:gd name="connsiteX62666" fmla="*/ 1465929 w 6884782"/>
              <a:gd name="connsiteY62666" fmla="*/ 1077481 h 5973007"/>
              <a:gd name="connsiteX62667" fmla="*/ 1467994 w 6884782"/>
              <a:gd name="connsiteY62667" fmla="*/ 1074074 h 5973007"/>
              <a:gd name="connsiteX62668" fmla="*/ 4559499 w 6884782"/>
              <a:gd name="connsiteY62668" fmla="*/ 1073561 h 5973007"/>
              <a:gd name="connsiteX62669" fmla="*/ 4562487 w 6884782"/>
              <a:gd name="connsiteY62669" fmla="*/ 1093479 h 5973007"/>
              <a:gd name="connsiteX62670" fmla="*/ 4553097 w 6884782"/>
              <a:gd name="connsiteY62670" fmla="*/ 1090349 h 5973007"/>
              <a:gd name="connsiteX62671" fmla="*/ 4559499 w 6884782"/>
              <a:gd name="connsiteY62671" fmla="*/ 1073561 h 5973007"/>
              <a:gd name="connsiteX62672" fmla="*/ 3424960 w 6884782"/>
              <a:gd name="connsiteY62672" fmla="*/ 1073277 h 5973007"/>
              <a:gd name="connsiteX62673" fmla="*/ 3424960 w 6884782"/>
              <a:gd name="connsiteY62673" fmla="*/ 1074272 h 5973007"/>
              <a:gd name="connsiteX62674" fmla="*/ 3426454 w 6884782"/>
              <a:gd name="connsiteY62674" fmla="*/ 1074557 h 5973007"/>
              <a:gd name="connsiteX62675" fmla="*/ 1083364 w 6884782"/>
              <a:gd name="connsiteY62675" fmla="*/ 1072679 h 5973007"/>
              <a:gd name="connsiteX62676" fmla="*/ 1086153 w 6884782"/>
              <a:gd name="connsiteY62676" fmla="*/ 1074228 h 5973007"/>
              <a:gd name="connsiteX62677" fmla="*/ 1089663 w 6884782"/>
              <a:gd name="connsiteY62677" fmla="*/ 1077791 h 5973007"/>
              <a:gd name="connsiteX62678" fmla="*/ 1092348 w 6884782"/>
              <a:gd name="connsiteY62678" fmla="*/ 1079030 h 5973007"/>
              <a:gd name="connsiteX62679" fmla="*/ 1092348 w 6884782"/>
              <a:gd name="connsiteY62679" fmla="*/ 1079805 h 5973007"/>
              <a:gd name="connsiteX62680" fmla="*/ 1081712 w 6884782"/>
              <a:gd name="connsiteY62680" fmla="*/ 1077017 h 5973007"/>
              <a:gd name="connsiteX62681" fmla="*/ 1080783 w 6884782"/>
              <a:gd name="connsiteY62681" fmla="*/ 1075622 h 5973007"/>
              <a:gd name="connsiteX62682" fmla="*/ 1081816 w 6884782"/>
              <a:gd name="connsiteY62682" fmla="*/ 1073764 h 5973007"/>
              <a:gd name="connsiteX62683" fmla="*/ 1083364 w 6884782"/>
              <a:gd name="connsiteY62683" fmla="*/ 1072679 h 5973007"/>
              <a:gd name="connsiteX62684" fmla="*/ 1371721 w 6884782"/>
              <a:gd name="connsiteY62684" fmla="*/ 1072602 h 5973007"/>
              <a:gd name="connsiteX62685" fmla="*/ 1374754 w 6884782"/>
              <a:gd name="connsiteY62685" fmla="*/ 1073144 h 5973007"/>
              <a:gd name="connsiteX62686" fmla="*/ 1372689 w 6884782"/>
              <a:gd name="connsiteY62686" fmla="*/ 1079030 h 5973007"/>
              <a:gd name="connsiteX62687" fmla="*/ 1368455 w 6884782"/>
              <a:gd name="connsiteY62687" fmla="*/ 1073454 h 5973007"/>
              <a:gd name="connsiteX62688" fmla="*/ 1371721 w 6884782"/>
              <a:gd name="connsiteY62688" fmla="*/ 1072602 h 5973007"/>
              <a:gd name="connsiteX62689" fmla="*/ 1239075 w 6884782"/>
              <a:gd name="connsiteY62689" fmla="*/ 1071285 h 5973007"/>
              <a:gd name="connsiteX62690" fmla="*/ 1241760 w 6884782"/>
              <a:gd name="connsiteY62690" fmla="*/ 1071440 h 5973007"/>
              <a:gd name="connsiteX62691" fmla="*/ 1244031 w 6884782"/>
              <a:gd name="connsiteY62691" fmla="*/ 1073454 h 5973007"/>
              <a:gd name="connsiteX62692" fmla="*/ 1244651 w 6884782"/>
              <a:gd name="connsiteY62692" fmla="*/ 1075777 h 5973007"/>
              <a:gd name="connsiteX62693" fmla="*/ 1242069 w 6884782"/>
              <a:gd name="connsiteY62693" fmla="*/ 1079805 h 5973007"/>
              <a:gd name="connsiteX62694" fmla="*/ 1235255 w 6884782"/>
              <a:gd name="connsiteY62694" fmla="*/ 1075467 h 5973007"/>
              <a:gd name="connsiteX62695" fmla="*/ 1239075 w 6884782"/>
              <a:gd name="connsiteY62695" fmla="*/ 1071285 h 5973007"/>
              <a:gd name="connsiteX62696" fmla="*/ 4784017 w 6884782"/>
              <a:gd name="connsiteY62696" fmla="*/ 1070574 h 5973007"/>
              <a:gd name="connsiteX62697" fmla="*/ 4782950 w 6884782"/>
              <a:gd name="connsiteY62697" fmla="*/ 1077402 h 5973007"/>
              <a:gd name="connsiteX62698" fmla="*/ 4778468 w 6884782"/>
              <a:gd name="connsiteY62698" fmla="*/ 1075837 h 5973007"/>
              <a:gd name="connsiteX62699" fmla="*/ 4784017 w 6884782"/>
              <a:gd name="connsiteY62699" fmla="*/ 1070574 h 5973007"/>
              <a:gd name="connsiteX62700" fmla="*/ 3918173 w 6884782"/>
              <a:gd name="connsiteY62700" fmla="*/ 1070004 h 5973007"/>
              <a:gd name="connsiteX62701" fmla="*/ 3919027 w 6884782"/>
              <a:gd name="connsiteY62701" fmla="*/ 1079679 h 5973007"/>
              <a:gd name="connsiteX62702" fmla="*/ 3917533 w 6884782"/>
              <a:gd name="connsiteY62702" fmla="*/ 1081386 h 5973007"/>
              <a:gd name="connsiteX62703" fmla="*/ 3918173 w 6884782"/>
              <a:gd name="connsiteY62703" fmla="*/ 1070004 h 5973007"/>
              <a:gd name="connsiteX62704" fmla="*/ 1119814 w 6884782"/>
              <a:gd name="connsiteY62704" fmla="*/ 1069891 h 5973007"/>
              <a:gd name="connsiteX62705" fmla="*/ 1122499 w 6884782"/>
              <a:gd name="connsiteY62705" fmla="*/ 1072060 h 5973007"/>
              <a:gd name="connsiteX62706" fmla="*/ 1119195 w 6884782"/>
              <a:gd name="connsiteY62706" fmla="*/ 1073299 h 5973007"/>
              <a:gd name="connsiteX62707" fmla="*/ 1118472 w 6884782"/>
              <a:gd name="connsiteY62707" fmla="*/ 1072060 h 5973007"/>
              <a:gd name="connsiteX62708" fmla="*/ 1119814 w 6884782"/>
              <a:gd name="connsiteY62708" fmla="*/ 1069891 h 5973007"/>
              <a:gd name="connsiteX62709" fmla="*/ 1121982 w 6884782"/>
              <a:gd name="connsiteY62709" fmla="*/ 1069426 h 5973007"/>
              <a:gd name="connsiteX62710" fmla="*/ 1121982 w 6884782"/>
              <a:gd name="connsiteY62710" fmla="*/ 1070975 h 5973007"/>
              <a:gd name="connsiteX62711" fmla="*/ 1121260 w 6884782"/>
              <a:gd name="connsiteY62711" fmla="*/ 1070046 h 5973007"/>
              <a:gd name="connsiteX62712" fmla="*/ 1121982 w 6884782"/>
              <a:gd name="connsiteY62712" fmla="*/ 1069426 h 5973007"/>
              <a:gd name="connsiteX62713" fmla="*/ 3707314 w 6884782"/>
              <a:gd name="connsiteY62713" fmla="*/ 1069293 h 5973007"/>
              <a:gd name="connsiteX62714" fmla="*/ 3732711 w 6884782"/>
              <a:gd name="connsiteY62714" fmla="*/ 1082381 h 5973007"/>
              <a:gd name="connsiteX62715" fmla="*/ 3714571 w 6884782"/>
              <a:gd name="connsiteY62715" fmla="*/ 1099881 h 5973007"/>
              <a:gd name="connsiteX62716" fmla="*/ 3679783 w 6884782"/>
              <a:gd name="connsiteY62716" fmla="*/ 1089495 h 5973007"/>
              <a:gd name="connsiteX62717" fmla="*/ 3680424 w 6884782"/>
              <a:gd name="connsiteY62717" fmla="*/ 1085796 h 5973007"/>
              <a:gd name="connsiteX62718" fmla="*/ 3707314 w 6884782"/>
              <a:gd name="connsiteY62718" fmla="*/ 1069293 h 5973007"/>
              <a:gd name="connsiteX62719" fmla="*/ 3833232 w 6884782"/>
              <a:gd name="connsiteY62719" fmla="*/ 1068724 h 5973007"/>
              <a:gd name="connsiteX62720" fmla="*/ 3832805 w 6884782"/>
              <a:gd name="connsiteY62720" fmla="*/ 1071427 h 5973007"/>
              <a:gd name="connsiteX62721" fmla="*/ 3828750 w 6884782"/>
              <a:gd name="connsiteY62721" fmla="*/ 1071712 h 5973007"/>
              <a:gd name="connsiteX62722" fmla="*/ 3828110 w 6884782"/>
              <a:gd name="connsiteY62722" fmla="*/ 1074272 h 5973007"/>
              <a:gd name="connsiteX62723" fmla="*/ 3826616 w 6884782"/>
              <a:gd name="connsiteY62723" fmla="*/ 1074699 h 5973007"/>
              <a:gd name="connsiteX62724" fmla="*/ 3824482 w 6884782"/>
              <a:gd name="connsiteY62724" fmla="*/ 1071854 h 5973007"/>
              <a:gd name="connsiteX62725" fmla="*/ 3830885 w 6884782"/>
              <a:gd name="connsiteY62725" fmla="*/ 1070289 h 5973007"/>
              <a:gd name="connsiteX62726" fmla="*/ 3833232 w 6884782"/>
              <a:gd name="connsiteY62726" fmla="*/ 1068724 h 5973007"/>
              <a:gd name="connsiteX62727" fmla="*/ 4445320 w 6884782"/>
              <a:gd name="connsiteY62727" fmla="*/ 1066021 h 5973007"/>
              <a:gd name="connsiteX62728" fmla="*/ 4454924 w 6884782"/>
              <a:gd name="connsiteY62728" fmla="*/ 1078825 h 5973007"/>
              <a:gd name="connsiteX62729" fmla="*/ 4458765 w 6884782"/>
              <a:gd name="connsiteY62729" fmla="*/ 1098031 h 5973007"/>
              <a:gd name="connsiteX62730" fmla="*/ 4443186 w 6884782"/>
              <a:gd name="connsiteY62730" fmla="*/ 1096324 h 5973007"/>
              <a:gd name="connsiteX62731" fmla="*/ 4445320 w 6884782"/>
              <a:gd name="connsiteY62731" fmla="*/ 1066021 h 5973007"/>
              <a:gd name="connsiteX62732" fmla="*/ 4475839 w 6884782"/>
              <a:gd name="connsiteY62732" fmla="*/ 1065736 h 5973007"/>
              <a:gd name="connsiteX62733" fmla="*/ 4480107 w 6884782"/>
              <a:gd name="connsiteY62733" fmla="*/ 1068013 h 5973007"/>
              <a:gd name="connsiteX62734" fmla="*/ 4475626 w 6884782"/>
              <a:gd name="connsiteY62734" fmla="*/ 1078256 h 5973007"/>
              <a:gd name="connsiteX62735" fmla="*/ 4475839 w 6884782"/>
              <a:gd name="connsiteY62735" fmla="*/ 1065736 h 5973007"/>
              <a:gd name="connsiteX62736" fmla="*/ 4628434 w 6884782"/>
              <a:gd name="connsiteY62736" fmla="*/ 1065309 h 5973007"/>
              <a:gd name="connsiteX62737" fmla="*/ 4636544 w 6884782"/>
              <a:gd name="connsiteY62737" fmla="*/ 1072707 h 5973007"/>
              <a:gd name="connsiteX62738" fmla="*/ 4631208 w 6884782"/>
              <a:gd name="connsiteY62738" fmla="*/ 1077118 h 5973007"/>
              <a:gd name="connsiteX62739" fmla="*/ 4628434 w 6884782"/>
              <a:gd name="connsiteY62739" fmla="*/ 1065309 h 5973007"/>
              <a:gd name="connsiteX62740" fmla="*/ 5014724 w 6884782"/>
              <a:gd name="connsiteY62740" fmla="*/ 1064314 h 5973007"/>
              <a:gd name="connsiteX62741" fmla="*/ 5008321 w 6884782"/>
              <a:gd name="connsiteY62741" fmla="*/ 1077829 h 5973007"/>
              <a:gd name="connsiteX62742" fmla="*/ 5014724 w 6884782"/>
              <a:gd name="connsiteY62742" fmla="*/ 1064314 h 5973007"/>
              <a:gd name="connsiteX62743" fmla="*/ 4276718 w 6884782"/>
              <a:gd name="connsiteY62743" fmla="*/ 1063887 h 5973007"/>
              <a:gd name="connsiteX62744" fmla="*/ 4279279 w 6884782"/>
              <a:gd name="connsiteY62744" fmla="*/ 1065594 h 5973007"/>
              <a:gd name="connsiteX62745" fmla="*/ 4271169 w 6884782"/>
              <a:gd name="connsiteY62745" fmla="*/ 1074130 h 5973007"/>
              <a:gd name="connsiteX62746" fmla="*/ 4267968 w 6884782"/>
              <a:gd name="connsiteY62746" fmla="*/ 1077118 h 5973007"/>
              <a:gd name="connsiteX62747" fmla="*/ 4269249 w 6884782"/>
              <a:gd name="connsiteY62747" fmla="*/ 1083235 h 5973007"/>
              <a:gd name="connsiteX62748" fmla="*/ 4266047 w 6884782"/>
              <a:gd name="connsiteY62748" fmla="*/ 1088499 h 5973007"/>
              <a:gd name="connsiteX62749" fmla="*/ 4261139 w 6884782"/>
              <a:gd name="connsiteY62749" fmla="*/ 1074984 h 5973007"/>
              <a:gd name="connsiteX62750" fmla="*/ 4263273 w 6884782"/>
              <a:gd name="connsiteY62750" fmla="*/ 1075126 h 5973007"/>
              <a:gd name="connsiteX62751" fmla="*/ 4267114 w 6884782"/>
              <a:gd name="connsiteY62751" fmla="*/ 1069720 h 5973007"/>
              <a:gd name="connsiteX62752" fmla="*/ 4270315 w 6884782"/>
              <a:gd name="connsiteY62752" fmla="*/ 1067301 h 5973007"/>
              <a:gd name="connsiteX62753" fmla="*/ 4272450 w 6884782"/>
              <a:gd name="connsiteY62753" fmla="*/ 1065736 h 5973007"/>
              <a:gd name="connsiteX62754" fmla="*/ 4274370 w 6884782"/>
              <a:gd name="connsiteY62754" fmla="*/ 1064314 h 5973007"/>
              <a:gd name="connsiteX62755" fmla="*/ 4276718 w 6884782"/>
              <a:gd name="connsiteY62755" fmla="*/ 1063887 h 5973007"/>
              <a:gd name="connsiteX62756" fmla="*/ 1465619 w 6884782"/>
              <a:gd name="connsiteY62756" fmla="*/ 1063850 h 5973007"/>
              <a:gd name="connsiteX62757" fmla="*/ 1467271 w 6884782"/>
              <a:gd name="connsiteY62757" fmla="*/ 1065089 h 5973007"/>
              <a:gd name="connsiteX62758" fmla="*/ 1466135 w 6884782"/>
              <a:gd name="connsiteY62758" fmla="*/ 1067103 h 5973007"/>
              <a:gd name="connsiteX62759" fmla="*/ 1457668 w 6884782"/>
              <a:gd name="connsiteY62759" fmla="*/ 1065554 h 5973007"/>
              <a:gd name="connsiteX62760" fmla="*/ 1465619 w 6884782"/>
              <a:gd name="connsiteY62760" fmla="*/ 1063850 h 5973007"/>
              <a:gd name="connsiteX62761" fmla="*/ 1551012 w 6884782"/>
              <a:gd name="connsiteY62761" fmla="*/ 1063541 h 5973007"/>
              <a:gd name="connsiteX62762" fmla="*/ 1557207 w 6884782"/>
              <a:gd name="connsiteY62762" fmla="*/ 1075467 h 5973007"/>
              <a:gd name="connsiteX62763" fmla="*/ 1557517 w 6884782"/>
              <a:gd name="connsiteY62763" fmla="*/ 1078255 h 5973007"/>
              <a:gd name="connsiteX62764" fmla="*/ 1560098 w 6884782"/>
              <a:gd name="connsiteY62764" fmla="*/ 1079340 h 5973007"/>
              <a:gd name="connsiteX62765" fmla="*/ 1558137 w 6884782"/>
              <a:gd name="connsiteY62765" fmla="*/ 1083212 h 5973007"/>
              <a:gd name="connsiteX62766" fmla="*/ 1555968 w 6884782"/>
              <a:gd name="connsiteY62766" fmla="*/ 1082593 h 5973007"/>
              <a:gd name="connsiteX62767" fmla="*/ 1556175 w 6884782"/>
              <a:gd name="connsiteY62767" fmla="*/ 1084297 h 5973007"/>
              <a:gd name="connsiteX62768" fmla="*/ 1551322 w 6884782"/>
              <a:gd name="connsiteY62768" fmla="*/ 1082902 h 5973007"/>
              <a:gd name="connsiteX62769" fmla="*/ 1549463 w 6884782"/>
              <a:gd name="connsiteY62769" fmla="*/ 1082902 h 5973007"/>
              <a:gd name="connsiteX62770" fmla="*/ 1550393 w 6884782"/>
              <a:gd name="connsiteY62770" fmla="*/ 1081353 h 5973007"/>
              <a:gd name="connsiteX62771" fmla="*/ 1553284 w 6884782"/>
              <a:gd name="connsiteY62771" fmla="*/ 1082902 h 5973007"/>
              <a:gd name="connsiteX62772" fmla="*/ 1554316 w 6884782"/>
              <a:gd name="connsiteY62772" fmla="*/ 1081353 h 5973007"/>
              <a:gd name="connsiteX62773" fmla="*/ 1555555 w 6884782"/>
              <a:gd name="connsiteY62773" fmla="*/ 1081663 h 5973007"/>
              <a:gd name="connsiteX62774" fmla="*/ 1555762 w 6884782"/>
              <a:gd name="connsiteY62774" fmla="*/ 1081818 h 5973007"/>
              <a:gd name="connsiteX62775" fmla="*/ 1555865 w 6884782"/>
              <a:gd name="connsiteY62775" fmla="*/ 1081663 h 5973007"/>
              <a:gd name="connsiteX62776" fmla="*/ 1555555 w 6884782"/>
              <a:gd name="connsiteY62776" fmla="*/ 1081663 h 5973007"/>
              <a:gd name="connsiteX62777" fmla="*/ 1551425 w 6884782"/>
              <a:gd name="connsiteY62777" fmla="*/ 1074074 h 5973007"/>
              <a:gd name="connsiteX62778" fmla="*/ 1550393 w 6884782"/>
              <a:gd name="connsiteY62778" fmla="*/ 1074074 h 5973007"/>
              <a:gd name="connsiteX62779" fmla="*/ 1549979 w 6884782"/>
              <a:gd name="connsiteY62779" fmla="*/ 1074693 h 5973007"/>
              <a:gd name="connsiteX62780" fmla="*/ 1550599 w 6884782"/>
              <a:gd name="connsiteY62780" fmla="*/ 1077017 h 5973007"/>
              <a:gd name="connsiteX62781" fmla="*/ 1546262 w 6884782"/>
              <a:gd name="connsiteY62781" fmla="*/ 1083832 h 5973007"/>
              <a:gd name="connsiteX62782" fmla="*/ 1543681 w 6884782"/>
              <a:gd name="connsiteY62782" fmla="*/ 1083212 h 5973007"/>
              <a:gd name="connsiteX62783" fmla="*/ 1541099 w 6884782"/>
              <a:gd name="connsiteY62783" fmla="*/ 1082748 h 5973007"/>
              <a:gd name="connsiteX62784" fmla="*/ 1542235 w 6884782"/>
              <a:gd name="connsiteY62784" fmla="*/ 1083057 h 5973007"/>
              <a:gd name="connsiteX62785" fmla="*/ 1543784 w 6884782"/>
              <a:gd name="connsiteY62785" fmla="*/ 1086775 h 5973007"/>
              <a:gd name="connsiteX62786" fmla="*/ 1537175 w 6884782"/>
              <a:gd name="connsiteY62786" fmla="*/ 1085226 h 5973007"/>
              <a:gd name="connsiteX62787" fmla="*/ 1537382 w 6884782"/>
              <a:gd name="connsiteY62787" fmla="*/ 1081818 h 5973007"/>
              <a:gd name="connsiteX62788" fmla="*/ 1537279 w 6884782"/>
              <a:gd name="connsiteY62788" fmla="*/ 1081663 h 5973007"/>
              <a:gd name="connsiteX62789" fmla="*/ 1533562 w 6884782"/>
              <a:gd name="connsiteY62789" fmla="*/ 1081353 h 5973007"/>
              <a:gd name="connsiteX62790" fmla="*/ 1533149 w 6884782"/>
              <a:gd name="connsiteY62790" fmla="*/ 1080579 h 5973007"/>
              <a:gd name="connsiteX62791" fmla="*/ 1534388 w 6884782"/>
              <a:gd name="connsiteY62791" fmla="*/ 1079030 h 5973007"/>
              <a:gd name="connsiteX62792" fmla="*/ 1535730 w 6884782"/>
              <a:gd name="connsiteY62792" fmla="*/ 1079030 h 5973007"/>
              <a:gd name="connsiteX62793" fmla="*/ 1534078 w 6884782"/>
              <a:gd name="connsiteY62793" fmla="*/ 1076087 h 5973007"/>
              <a:gd name="connsiteX62794" fmla="*/ 1540067 w 6884782"/>
              <a:gd name="connsiteY62794" fmla="*/ 1068342 h 5973007"/>
              <a:gd name="connsiteX62795" fmla="*/ 1549360 w 6884782"/>
              <a:gd name="connsiteY62795" fmla="*/ 1072370 h 5973007"/>
              <a:gd name="connsiteX62796" fmla="*/ 1550083 w 6884782"/>
              <a:gd name="connsiteY62796" fmla="*/ 1072215 h 5973007"/>
              <a:gd name="connsiteX62797" fmla="*/ 1549360 w 6884782"/>
              <a:gd name="connsiteY62797" fmla="*/ 1071440 h 5973007"/>
              <a:gd name="connsiteX62798" fmla="*/ 1548637 w 6884782"/>
              <a:gd name="connsiteY62798" fmla="*/ 1070666 h 5973007"/>
              <a:gd name="connsiteX62799" fmla="*/ 1548431 w 6884782"/>
              <a:gd name="connsiteY62799" fmla="*/ 1068807 h 5973007"/>
              <a:gd name="connsiteX62800" fmla="*/ 1551012 w 6884782"/>
              <a:gd name="connsiteY62800" fmla="*/ 1063541 h 5973007"/>
              <a:gd name="connsiteX62801" fmla="*/ 1244238 w 6884782"/>
              <a:gd name="connsiteY62801" fmla="*/ 1062611 h 5973007"/>
              <a:gd name="connsiteX62802" fmla="*/ 1252189 w 6884782"/>
              <a:gd name="connsiteY62802" fmla="*/ 1064160 h 5973007"/>
              <a:gd name="connsiteX62803" fmla="*/ 1244238 w 6884782"/>
              <a:gd name="connsiteY62803" fmla="*/ 1062611 h 5973007"/>
              <a:gd name="connsiteX62804" fmla="*/ 1353379 w 6884782"/>
              <a:gd name="connsiteY62804" fmla="*/ 1062146 h 5973007"/>
              <a:gd name="connsiteX62805" fmla="*/ 1367526 w 6884782"/>
              <a:gd name="connsiteY62805" fmla="*/ 1081818 h 5973007"/>
              <a:gd name="connsiteX62806" fmla="*/ 1352450 w 6884782"/>
              <a:gd name="connsiteY62806" fmla="*/ 1064315 h 5973007"/>
              <a:gd name="connsiteX62807" fmla="*/ 1353379 w 6884782"/>
              <a:gd name="connsiteY62807" fmla="*/ 1062146 h 5973007"/>
              <a:gd name="connsiteX62808" fmla="*/ 1238559 w 6884782"/>
              <a:gd name="connsiteY62808" fmla="*/ 1061991 h 5973007"/>
              <a:gd name="connsiteX62809" fmla="*/ 1241863 w 6884782"/>
              <a:gd name="connsiteY62809" fmla="*/ 1063076 h 5973007"/>
              <a:gd name="connsiteX62810" fmla="*/ 1238559 w 6884782"/>
              <a:gd name="connsiteY62810" fmla="*/ 1062766 h 5973007"/>
              <a:gd name="connsiteX62811" fmla="*/ 1237939 w 6884782"/>
              <a:gd name="connsiteY62811" fmla="*/ 1062301 h 5973007"/>
              <a:gd name="connsiteX62812" fmla="*/ 1238559 w 6884782"/>
              <a:gd name="connsiteY62812" fmla="*/ 1061991 h 5973007"/>
              <a:gd name="connsiteX62813" fmla="*/ 1116820 w 6884782"/>
              <a:gd name="connsiteY62813" fmla="*/ 1061991 h 5973007"/>
              <a:gd name="connsiteX62814" fmla="*/ 1118885 w 6884782"/>
              <a:gd name="connsiteY62814" fmla="*/ 1069272 h 5973007"/>
              <a:gd name="connsiteX62815" fmla="*/ 1112070 w 6884782"/>
              <a:gd name="connsiteY62815" fmla="*/ 1072679 h 5973007"/>
              <a:gd name="connsiteX62816" fmla="*/ 1111140 w 6884782"/>
              <a:gd name="connsiteY62816" fmla="*/ 1071130 h 5973007"/>
              <a:gd name="connsiteX62817" fmla="*/ 1110418 w 6884782"/>
              <a:gd name="connsiteY62817" fmla="*/ 1069117 h 5973007"/>
              <a:gd name="connsiteX62818" fmla="*/ 1110521 w 6884782"/>
              <a:gd name="connsiteY62818" fmla="*/ 1066948 h 5973007"/>
              <a:gd name="connsiteX62819" fmla="*/ 1111657 w 6884782"/>
              <a:gd name="connsiteY62819" fmla="*/ 1064315 h 5973007"/>
              <a:gd name="connsiteX62820" fmla="*/ 1115064 w 6884782"/>
              <a:gd name="connsiteY62820" fmla="*/ 1062301 h 5973007"/>
              <a:gd name="connsiteX62821" fmla="*/ 1116820 w 6884782"/>
              <a:gd name="connsiteY62821" fmla="*/ 1061991 h 5973007"/>
              <a:gd name="connsiteX62822" fmla="*/ 1093793 w 6884782"/>
              <a:gd name="connsiteY62822" fmla="*/ 1061372 h 5973007"/>
              <a:gd name="connsiteX62823" fmla="*/ 1096994 w 6884782"/>
              <a:gd name="connsiteY62823" fmla="*/ 1062146 h 5973007"/>
              <a:gd name="connsiteX62824" fmla="*/ 1097924 w 6884782"/>
              <a:gd name="connsiteY62824" fmla="*/ 1061682 h 5973007"/>
              <a:gd name="connsiteX62825" fmla="*/ 1100298 w 6884782"/>
              <a:gd name="connsiteY62825" fmla="*/ 1062921 h 5973007"/>
              <a:gd name="connsiteX62826" fmla="*/ 1100918 w 6884782"/>
              <a:gd name="connsiteY62826" fmla="*/ 1063850 h 5973007"/>
              <a:gd name="connsiteX62827" fmla="*/ 1103706 w 6884782"/>
              <a:gd name="connsiteY62827" fmla="*/ 1066019 h 5973007"/>
              <a:gd name="connsiteX62828" fmla="*/ 1102364 w 6884782"/>
              <a:gd name="connsiteY62828" fmla="*/ 1066638 h 5973007"/>
              <a:gd name="connsiteX62829" fmla="*/ 1101951 w 6884782"/>
              <a:gd name="connsiteY62829" fmla="*/ 1069891 h 5973007"/>
              <a:gd name="connsiteX62830" fmla="*/ 1103500 w 6884782"/>
              <a:gd name="connsiteY62830" fmla="*/ 1074228 h 5973007"/>
              <a:gd name="connsiteX62831" fmla="*/ 1100298 w 6884782"/>
              <a:gd name="connsiteY62831" fmla="*/ 1068807 h 5973007"/>
              <a:gd name="connsiteX62832" fmla="*/ 1099059 w 6884782"/>
              <a:gd name="connsiteY62832" fmla="*/ 1068342 h 5973007"/>
              <a:gd name="connsiteX62833" fmla="*/ 1098956 w 6884782"/>
              <a:gd name="connsiteY62833" fmla="*/ 1068497 h 5973007"/>
              <a:gd name="connsiteX62834" fmla="*/ 1098543 w 6884782"/>
              <a:gd name="connsiteY62834" fmla="*/ 1068187 h 5973007"/>
              <a:gd name="connsiteX62835" fmla="*/ 1097717 w 6884782"/>
              <a:gd name="connsiteY62835" fmla="*/ 1067723 h 5973007"/>
              <a:gd name="connsiteX62836" fmla="*/ 1097510 w 6884782"/>
              <a:gd name="connsiteY62836" fmla="*/ 1067413 h 5973007"/>
              <a:gd name="connsiteX62837" fmla="*/ 1095445 w 6884782"/>
              <a:gd name="connsiteY62837" fmla="*/ 1066329 h 5973007"/>
              <a:gd name="connsiteX62838" fmla="*/ 1091728 w 6884782"/>
              <a:gd name="connsiteY62838" fmla="*/ 1064625 h 5973007"/>
              <a:gd name="connsiteX62839" fmla="*/ 1091419 w 6884782"/>
              <a:gd name="connsiteY62839" fmla="*/ 1062611 h 5973007"/>
              <a:gd name="connsiteX62840" fmla="*/ 1093793 w 6884782"/>
              <a:gd name="connsiteY62840" fmla="*/ 1061372 h 5973007"/>
              <a:gd name="connsiteX62841" fmla="*/ 3777103 w 6884782"/>
              <a:gd name="connsiteY62841" fmla="*/ 1060046 h 5973007"/>
              <a:gd name="connsiteX62842" fmla="*/ 3780517 w 6884782"/>
              <a:gd name="connsiteY62842" fmla="*/ 1066021 h 5973007"/>
              <a:gd name="connsiteX62843" fmla="*/ 3782225 w 6884782"/>
              <a:gd name="connsiteY62843" fmla="*/ 1071569 h 5973007"/>
              <a:gd name="connsiteX62844" fmla="*/ 3766858 w 6884782"/>
              <a:gd name="connsiteY62844" fmla="*/ 1071143 h 5973007"/>
              <a:gd name="connsiteX62845" fmla="*/ 3768139 w 6884782"/>
              <a:gd name="connsiteY62845" fmla="*/ 1065167 h 5973007"/>
              <a:gd name="connsiteX62846" fmla="*/ 3777103 w 6884782"/>
              <a:gd name="connsiteY62846" fmla="*/ 1060046 h 5973007"/>
              <a:gd name="connsiteX62847" fmla="*/ 3681491 w 6884782"/>
              <a:gd name="connsiteY62847" fmla="*/ 1059049 h 5973007"/>
              <a:gd name="connsiteX62848" fmla="*/ 3685546 w 6884782"/>
              <a:gd name="connsiteY62848" fmla="*/ 1059761 h 5973007"/>
              <a:gd name="connsiteX62849" fmla="*/ 3687466 w 6884782"/>
              <a:gd name="connsiteY62849" fmla="*/ 1065736 h 5973007"/>
              <a:gd name="connsiteX62850" fmla="*/ 3682344 w 6884782"/>
              <a:gd name="connsiteY62850" fmla="*/ 1071427 h 5973007"/>
              <a:gd name="connsiteX62851" fmla="*/ 3682558 w 6884782"/>
              <a:gd name="connsiteY62851" fmla="*/ 1072280 h 5973007"/>
              <a:gd name="connsiteX62852" fmla="*/ 3671033 w 6884782"/>
              <a:gd name="connsiteY62852" fmla="*/ 1075695 h 5973007"/>
              <a:gd name="connsiteX62853" fmla="*/ 3668472 w 6884782"/>
              <a:gd name="connsiteY62853" fmla="*/ 1073988 h 5973007"/>
              <a:gd name="connsiteX62854" fmla="*/ 3668259 w 6884782"/>
              <a:gd name="connsiteY62854" fmla="*/ 1073988 h 5973007"/>
              <a:gd name="connsiteX62855" fmla="*/ 3668899 w 6884782"/>
              <a:gd name="connsiteY62855" fmla="*/ 1063176 h 5973007"/>
              <a:gd name="connsiteX62856" fmla="*/ 3672740 w 6884782"/>
              <a:gd name="connsiteY62856" fmla="*/ 1060330 h 5973007"/>
              <a:gd name="connsiteX62857" fmla="*/ 3677649 w 6884782"/>
              <a:gd name="connsiteY62857" fmla="*/ 1060330 h 5973007"/>
              <a:gd name="connsiteX62858" fmla="*/ 3681491 w 6884782"/>
              <a:gd name="connsiteY62858" fmla="*/ 1059049 h 5973007"/>
              <a:gd name="connsiteX62859" fmla="*/ 3852653 w 6884782"/>
              <a:gd name="connsiteY62859" fmla="*/ 1058907 h 5973007"/>
              <a:gd name="connsiteX62860" fmla="*/ 3853507 w 6884782"/>
              <a:gd name="connsiteY62860" fmla="*/ 1059477 h 5973007"/>
              <a:gd name="connsiteX62861" fmla="*/ 3852866 w 6884782"/>
              <a:gd name="connsiteY62861" fmla="*/ 1062464 h 5973007"/>
              <a:gd name="connsiteX62862" fmla="*/ 3848385 w 6884782"/>
              <a:gd name="connsiteY62862" fmla="*/ 1065167 h 5973007"/>
              <a:gd name="connsiteX62863" fmla="*/ 3837287 w 6884782"/>
              <a:gd name="connsiteY62863" fmla="*/ 1068297 h 5973007"/>
              <a:gd name="connsiteX62864" fmla="*/ 3834939 w 6884782"/>
              <a:gd name="connsiteY62864" fmla="*/ 1069720 h 5973007"/>
              <a:gd name="connsiteX62865" fmla="*/ 3852653 w 6884782"/>
              <a:gd name="connsiteY62865" fmla="*/ 1058907 h 5973007"/>
              <a:gd name="connsiteX62866" fmla="*/ 3293280 w 6884782"/>
              <a:gd name="connsiteY62866" fmla="*/ 1058623 h 5973007"/>
              <a:gd name="connsiteX62867" fmla="*/ 3287091 w 6884782"/>
              <a:gd name="connsiteY62867" fmla="*/ 1060330 h 5973007"/>
              <a:gd name="connsiteX62868" fmla="*/ 3289012 w 6884782"/>
              <a:gd name="connsiteY62868" fmla="*/ 1062464 h 5973007"/>
              <a:gd name="connsiteX62869" fmla="*/ 3290078 w 6884782"/>
              <a:gd name="connsiteY62869" fmla="*/ 1065594 h 5973007"/>
              <a:gd name="connsiteX62870" fmla="*/ 3291573 w 6884782"/>
              <a:gd name="connsiteY62870" fmla="*/ 1064456 h 5973007"/>
              <a:gd name="connsiteX62871" fmla="*/ 986407 w 6884782"/>
              <a:gd name="connsiteY62871" fmla="*/ 1058274 h 5973007"/>
              <a:gd name="connsiteX62872" fmla="*/ 988162 w 6884782"/>
              <a:gd name="connsiteY62872" fmla="*/ 1062611 h 5973007"/>
              <a:gd name="connsiteX62873" fmla="*/ 985581 w 6884782"/>
              <a:gd name="connsiteY62873" fmla="*/ 1059049 h 5973007"/>
              <a:gd name="connsiteX62874" fmla="*/ 986407 w 6884782"/>
              <a:gd name="connsiteY62874" fmla="*/ 1058274 h 5973007"/>
              <a:gd name="connsiteX62875" fmla="*/ 4185801 w 6884782"/>
              <a:gd name="connsiteY62875" fmla="*/ 1058054 h 5973007"/>
              <a:gd name="connsiteX62876" fmla="*/ 4191777 w 6884782"/>
              <a:gd name="connsiteY62876" fmla="*/ 1065309 h 5973007"/>
              <a:gd name="connsiteX62877" fmla="*/ 4182600 w 6884782"/>
              <a:gd name="connsiteY62877" fmla="*/ 1065025 h 5973007"/>
              <a:gd name="connsiteX62878" fmla="*/ 4185801 w 6884782"/>
              <a:gd name="connsiteY62878" fmla="*/ 1058054 h 5973007"/>
              <a:gd name="connsiteX62879" fmla="*/ 1186311 w 6884782"/>
              <a:gd name="connsiteY62879" fmla="*/ 1057035 h 5973007"/>
              <a:gd name="connsiteX62880" fmla="*/ 1187550 w 6884782"/>
              <a:gd name="connsiteY62880" fmla="*/ 1058119 h 5973007"/>
              <a:gd name="connsiteX62881" fmla="*/ 1179393 w 6884782"/>
              <a:gd name="connsiteY62881" fmla="*/ 1057654 h 5973007"/>
              <a:gd name="connsiteX62882" fmla="*/ 1186311 w 6884782"/>
              <a:gd name="connsiteY62882" fmla="*/ 1057035 h 5973007"/>
              <a:gd name="connsiteX62883" fmla="*/ 4256443 w 6884782"/>
              <a:gd name="connsiteY62883" fmla="*/ 1056489 h 5973007"/>
              <a:gd name="connsiteX62884" fmla="*/ 4220375 w 6884782"/>
              <a:gd name="connsiteY62884" fmla="*/ 1068013 h 5973007"/>
              <a:gd name="connsiteX62885" fmla="*/ 4256443 w 6884782"/>
              <a:gd name="connsiteY62885" fmla="*/ 1056489 h 5973007"/>
              <a:gd name="connsiteX62886" fmla="*/ 3983906 w 6884782"/>
              <a:gd name="connsiteY62886" fmla="*/ 1056489 h 5973007"/>
              <a:gd name="connsiteX62887" fmla="*/ 3985187 w 6884782"/>
              <a:gd name="connsiteY62887" fmla="*/ 1057485 h 5973007"/>
              <a:gd name="connsiteX62888" fmla="*/ 3979638 w 6884782"/>
              <a:gd name="connsiteY62888" fmla="*/ 1060330 h 5973007"/>
              <a:gd name="connsiteX62889" fmla="*/ 3983906 w 6884782"/>
              <a:gd name="connsiteY62889" fmla="*/ 1056489 h 5973007"/>
              <a:gd name="connsiteX62890" fmla="*/ 3650758 w 6884782"/>
              <a:gd name="connsiteY62890" fmla="*/ 1055351 h 5973007"/>
              <a:gd name="connsiteX62891" fmla="*/ 3638380 w 6884782"/>
              <a:gd name="connsiteY62891" fmla="*/ 1071712 h 5973007"/>
              <a:gd name="connsiteX62892" fmla="*/ 3633898 w 6884782"/>
              <a:gd name="connsiteY62892" fmla="*/ 1063176 h 5973007"/>
              <a:gd name="connsiteX62893" fmla="*/ 3650758 w 6884782"/>
              <a:gd name="connsiteY62893" fmla="*/ 1055351 h 5973007"/>
              <a:gd name="connsiteX62894" fmla="*/ 3954454 w 6884782"/>
              <a:gd name="connsiteY62894" fmla="*/ 1055208 h 5973007"/>
              <a:gd name="connsiteX62895" fmla="*/ 3978784 w 6884782"/>
              <a:gd name="connsiteY62895" fmla="*/ 1071712 h 5973007"/>
              <a:gd name="connsiteX62896" fmla="*/ 3980918 w 6884782"/>
              <a:gd name="connsiteY62896" fmla="*/ 1094902 h 5973007"/>
              <a:gd name="connsiteX62897" fmla="*/ 3980278 w 6884782"/>
              <a:gd name="connsiteY62897" fmla="*/ 1096039 h 5973007"/>
              <a:gd name="connsiteX62898" fmla="*/ 3981772 w 6884782"/>
              <a:gd name="connsiteY62898" fmla="*/ 1094617 h 5973007"/>
              <a:gd name="connsiteX62899" fmla="*/ 3984333 w 6884782"/>
              <a:gd name="connsiteY62899" fmla="*/ 1094902 h 5973007"/>
              <a:gd name="connsiteX62900" fmla="*/ 3989882 w 6884782"/>
              <a:gd name="connsiteY62900" fmla="*/ 1096751 h 5973007"/>
              <a:gd name="connsiteX62901" fmla="*/ 3989455 w 6884782"/>
              <a:gd name="connsiteY62901" fmla="*/ 1101304 h 5973007"/>
              <a:gd name="connsiteX62902" fmla="*/ 3984974 w 6884782"/>
              <a:gd name="connsiteY62902" fmla="*/ 1104291 h 5973007"/>
              <a:gd name="connsiteX62903" fmla="*/ 3975583 w 6884782"/>
              <a:gd name="connsiteY62903" fmla="*/ 1104291 h 5973007"/>
              <a:gd name="connsiteX62904" fmla="*/ 3976223 w 6884782"/>
              <a:gd name="connsiteY62904" fmla="*/ 1102157 h 5973007"/>
              <a:gd name="connsiteX62905" fmla="*/ 3964699 w 6884782"/>
              <a:gd name="connsiteY62905" fmla="*/ 1100876 h 5973007"/>
              <a:gd name="connsiteX62906" fmla="*/ 3955308 w 6884782"/>
              <a:gd name="connsiteY62906" fmla="*/ 1094617 h 5973007"/>
              <a:gd name="connsiteX62907" fmla="*/ 3951680 w 6884782"/>
              <a:gd name="connsiteY62907" fmla="*/ 1089068 h 5973007"/>
              <a:gd name="connsiteX62908" fmla="*/ 3950613 w 6884782"/>
              <a:gd name="connsiteY62908" fmla="*/ 1094048 h 5973007"/>
              <a:gd name="connsiteX62909" fmla="*/ 3939302 w 6884782"/>
              <a:gd name="connsiteY62909" fmla="*/ 1111120 h 5973007"/>
              <a:gd name="connsiteX62910" fmla="*/ 3930978 w 6884782"/>
              <a:gd name="connsiteY62910" fmla="*/ 1097889 h 5973007"/>
              <a:gd name="connsiteX62911" fmla="*/ 3946985 w 6884782"/>
              <a:gd name="connsiteY62911" fmla="*/ 1076549 h 5973007"/>
              <a:gd name="connsiteX62912" fmla="*/ 3947625 w 6884782"/>
              <a:gd name="connsiteY62912" fmla="*/ 1076691 h 5973007"/>
              <a:gd name="connsiteX62913" fmla="*/ 3947838 w 6884782"/>
              <a:gd name="connsiteY62913" fmla="*/ 1067159 h 5973007"/>
              <a:gd name="connsiteX62914" fmla="*/ 3951253 w 6884782"/>
              <a:gd name="connsiteY62914" fmla="*/ 1056773 h 5973007"/>
              <a:gd name="connsiteX62915" fmla="*/ 3954454 w 6884782"/>
              <a:gd name="connsiteY62915" fmla="*/ 1055208 h 5973007"/>
              <a:gd name="connsiteX62916" fmla="*/ 3658868 w 6884782"/>
              <a:gd name="connsiteY62916" fmla="*/ 1054924 h 5973007"/>
              <a:gd name="connsiteX62917" fmla="*/ 3664630 w 6884782"/>
              <a:gd name="connsiteY62917" fmla="*/ 1069008 h 5973007"/>
              <a:gd name="connsiteX62918" fmla="*/ 3668045 w 6884782"/>
              <a:gd name="connsiteY62918" fmla="*/ 1082524 h 5973007"/>
              <a:gd name="connsiteX62919" fmla="*/ 3666551 w 6884782"/>
              <a:gd name="connsiteY62919" fmla="*/ 1086650 h 5973007"/>
              <a:gd name="connsiteX62920" fmla="*/ 3667405 w 6884782"/>
              <a:gd name="connsiteY62920" fmla="*/ 1087076 h 5973007"/>
              <a:gd name="connsiteX62921" fmla="*/ 3662923 w 6884782"/>
              <a:gd name="connsiteY62921" fmla="*/ 1094048 h 5973007"/>
              <a:gd name="connsiteX62922" fmla="*/ 3659722 w 6884782"/>
              <a:gd name="connsiteY62922" fmla="*/ 1090775 h 5973007"/>
              <a:gd name="connsiteX62923" fmla="*/ 3657374 w 6884782"/>
              <a:gd name="connsiteY62923" fmla="*/ 1091345 h 5973007"/>
              <a:gd name="connsiteX62924" fmla="*/ 3656521 w 6884782"/>
              <a:gd name="connsiteY62924" fmla="*/ 1099739 h 5973007"/>
              <a:gd name="connsiteX62925" fmla="*/ 3654813 w 6884782"/>
              <a:gd name="connsiteY62925" fmla="*/ 1104576 h 5973007"/>
              <a:gd name="connsiteX62926" fmla="*/ 3655880 w 6884782"/>
              <a:gd name="connsiteY62926" fmla="*/ 1104718 h 5973007"/>
              <a:gd name="connsiteX62927" fmla="*/ 3657801 w 6884782"/>
              <a:gd name="connsiteY62927" fmla="*/ 1115957 h 5973007"/>
              <a:gd name="connsiteX62928" fmla="*/ 3650331 w 6884782"/>
              <a:gd name="connsiteY62928" fmla="*/ 1112258 h 5973007"/>
              <a:gd name="connsiteX62929" fmla="*/ 3648411 w 6884782"/>
              <a:gd name="connsiteY62929" fmla="*/ 1108702 h 5973007"/>
              <a:gd name="connsiteX62930" fmla="*/ 3647983 w 6884782"/>
              <a:gd name="connsiteY62930" fmla="*/ 1111974 h 5973007"/>
              <a:gd name="connsiteX62931" fmla="*/ 3652038 w 6884782"/>
              <a:gd name="connsiteY62931" fmla="*/ 1113254 h 5973007"/>
              <a:gd name="connsiteX62932" fmla="*/ 3659935 w 6884782"/>
              <a:gd name="connsiteY62932" fmla="*/ 1117379 h 5973007"/>
              <a:gd name="connsiteX62933" fmla="*/ 3646490 w 6884782"/>
              <a:gd name="connsiteY62933" fmla="*/ 1125205 h 5973007"/>
              <a:gd name="connsiteX62934" fmla="*/ 3644569 w 6884782"/>
              <a:gd name="connsiteY62934" fmla="*/ 1120226 h 5973007"/>
              <a:gd name="connsiteX62935" fmla="*/ 3644142 w 6884782"/>
              <a:gd name="connsiteY62935" fmla="*/ 1120794 h 5973007"/>
              <a:gd name="connsiteX62936" fmla="*/ 3642648 w 6884782"/>
              <a:gd name="connsiteY62936" fmla="*/ 1088784 h 5973007"/>
              <a:gd name="connsiteX62937" fmla="*/ 3647343 w 6884782"/>
              <a:gd name="connsiteY62937" fmla="*/ 1097035 h 5973007"/>
              <a:gd name="connsiteX62938" fmla="*/ 3648411 w 6884782"/>
              <a:gd name="connsiteY62938" fmla="*/ 1104291 h 5973007"/>
              <a:gd name="connsiteX62939" fmla="*/ 3650331 w 6884782"/>
              <a:gd name="connsiteY62939" fmla="*/ 1103865 h 5973007"/>
              <a:gd name="connsiteX62940" fmla="*/ 3651185 w 6884782"/>
              <a:gd name="connsiteY62940" fmla="*/ 1104006 h 5973007"/>
              <a:gd name="connsiteX62941" fmla="*/ 3648624 w 6884782"/>
              <a:gd name="connsiteY62941" fmla="*/ 1100166 h 5973007"/>
              <a:gd name="connsiteX62942" fmla="*/ 3649904 w 6884782"/>
              <a:gd name="connsiteY62942" fmla="*/ 1076691 h 5973007"/>
              <a:gd name="connsiteX62943" fmla="*/ 3655667 w 6884782"/>
              <a:gd name="connsiteY62943" fmla="*/ 1082524 h 5973007"/>
              <a:gd name="connsiteX62944" fmla="*/ 3656093 w 6884782"/>
              <a:gd name="connsiteY62944" fmla="*/ 1083662 h 5973007"/>
              <a:gd name="connsiteX62945" fmla="*/ 3656093 w 6884782"/>
              <a:gd name="connsiteY62945" fmla="*/ 1081813 h 5973007"/>
              <a:gd name="connsiteX62946" fmla="*/ 3658868 w 6884782"/>
              <a:gd name="connsiteY62946" fmla="*/ 1054924 h 5973007"/>
              <a:gd name="connsiteX62947" fmla="*/ 3823414 w 6884782"/>
              <a:gd name="connsiteY62947" fmla="*/ 1053359 h 5973007"/>
              <a:gd name="connsiteX62948" fmla="*/ 3835153 w 6884782"/>
              <a:gd name="connsiteY62948" fmla="*/ 1065309 h 5973007"/>
              <a:gd name="connsiteX62949" fmla="*/ 3827897 w 6884782"/>
              <a:gd name="connsiteY62949" fmla="*/ 1062322 h 5973007"/>
              <a:gd name="connsiteX62950" fmla="*/ 3821707 w 6884782"/>
              <a:gd name="connsiteY62950" fmla="*/ 1053786 h 5973007"/>
              <a:gd name="connsiteX62951" fmla="*/ 3823414 w 6884782"/>
              <a:gd name="connsiteY62951" fmla="*/ 1053359 h 5973007"/>
              <a:gd name="connsiteX62952" fmla="*/ 4036621 w 6884782"/>
              <a:gd name="connsiteY62952" fmla="*/ 1049802 h 5973007"/>
              <a:gd name="connsiteX62953" fmla="*/ 4030645 w 6884782"/>
              <a:gd name="connsiteY62953" fmla="*/ 1059903 h 5973007"/>
              <a:gd name="connsiteX62954" fmla="*/ 4036621 w 6884782"/>
              <a:gd name="connsiteY62954" fmla="*/ 1049802 h 5973007"/>
              <a:gd name="connsiteX62955" fmla="*/ 4349921 w 6884782"/>
              <a:gd name="connsiteY62955" fmla="*/ 1049518 h 5973007"/>
              <a:gd name="connsiteX62956" fmla="*/ 4352696 w 6884782"/>
              <a:gd name="connsiteY62956" fmla="*/ 1049802 h 5973007"/>
              <a:gd name="connsiteX62957" fmla="*/ 4365501 w 6884782"/>
              <a:gd name="connsiteY62957" fmla="*/ 1055777 h 5973007"/>
              <a:gd name="connsiteX62958" fmla="*/ 4361019 w 6884782"/>
              <a:gd name="connsiteY62958" fmla="*/ 1067159 h 5973007"/>
              <a:gd name="connsiteX62959" fmla="*/ 4344799 w 6884782"/>
              <a:gd name="connsiteY62959" fmla="*/ 1058196 h 5973007"/>
              <a:gd name="connsiteX62960" fmla="*/ 4349921 w 6884782"/>
              <a:gd name="connsiteY62960" fmla="*/ 1049518 h 5973007"/>
              <a:gd name="connsiteX62961" fmla="*/ 1396231 w 6884782"/>
              <a:gd name="connsiteY62961" fmla="*/ 1048206 h 5973007"/>
              <a:gd name="connsiteX62962" fmla="*/ 1404491 w 6884782"/>
              <a:gd name="connsiteY62962" fmla="*/ 1052078 h 5973007"/>
              <a:gd name="connsiteX62963" fmla="*/ 1405730 w 6884782"/>
              <a:gd name="connsiteY62963" fmla="*/ 1050684 h 5973007"/>
              <a:gd name="connsiteX62964" fmla="*/ 1410893 w 6884782"/>
              <a:gd name="connsiteY62964" fmla="*/ 1048825 h 5973007"/>
              <a:gd name="connsiteX62965" fmla="*/ 1416366 w 6884782"/>
              <a:gd name="connsiteY62965" fmla="*/ 1049600 h 5973007"/>
              <a:gd name="connsiteX62966" fmla="*/ 1412959 w 6884782"/>
              <a:gd name="connsiteY62966" fmla="*/ 1054402 h 5973007"/>
              <a:gd name="connsiteX62967" fmla="*/ 1409035 w 6884782"/>
              <a:gd name="connsiteY62967" fmla="*/ 1054247 h 5973007"/>
              <a:gd name="connsiteX62968" fmla="*/ 1413165 w 6884782"/>
              <a:gd name="connsiteY62968" fmla="*/ 1056106 h 5973007"/>
              <a:gd name="connsiteX62969" fmla="*/ 1413681 w 6884782"/>
              <a:gd name="connsiteY62969" fmla="*/ 1069272 h 5973007"/>
              <a:gd name="connsiteX62970" fmla="*/ 1396231 w 6884782"/>
              <a:gd name="connsiteY62970" fmla="*/ 1048206 h 5973007"/>
              <a:gd name="connsiteX62971" fmla="*/ 1155128 w 6884782"/>
              <a:gd name="connsiteY62971" fmla="*/ 1048206 h 5973007"/>
              <a:gd name="connsiteX62972" fmla="*/ 1160600 w 6884782"/>
              <a:gd name="connsiteY62972" fmla="*/ 1049135 h 5973007"/>
              <a:gd name="connsiteX62973" fmla="*/ 1161633 w 6884782"/>
              <a:gd name="connsiteY62973" fmla="*/ 1051304 h 5973007"/>
              <a:gd name="connsiteX62974" fmla="*/ 1158948 w 6884782"/>
              <a:gd name="connsiteY62974" fmla="*/ 1051768 h 5973007"/>
              <a:gd name="connsiteX62975" fmla="*/ 1157916 w 6884782"/>
              <a:gd name="connsiteY62975" fmla="*/ 1050219 h 5973007"/>
              <a:gd name="connsiteX62976" fmla="*/ 1155128 w 6884782"/>
              <a:gd name="connsiteY62976" fmla="*/ 1049909 h 5973007"/>
              <a:gd name="connsiteX62977" fmla="*/ 1155128 w 6884782"/>
              <a:gd name="connsiteY62977" fmla="*/ 1048206 h 5973007"/>
              <a:gd name="connsiteX62978" fmla="*/ 3937381 w 6884782"/>
              <a:gd name="connsiteY62978" fmla="*/ 1045961 h 5973007"/>
              <a:gd name="connsiteX62979" fmla="*/ 3938874 w 6884782"/>
              <a:gd name="connsiteY62979" fmla="*/ 1049518 h 5973007"/>
              <a:gd name="connsiteX62980" fmla="*/ 3936954 w 6884782"/>
              <a:gd name="connsiteY62980" fmla="*/ 1052078 h 5973007"/>
              <a:gd name="connsiteX62981" fmla="*/ 3936100 w 6884782"/>
              <a:gd name="connsiteY62981" fmla="*/ 1054497 h 5973007"/>
              <a:gd name="connsiteX62982" fmla="*/ 3932472 w 6884782"/>
              <a:gd name="connsiteY62982" fmla="*/ 1054639 h 5973007"/>
              <a:gd name="connsiteX62983" fmla="*/ 3933326 w 6884782"/>
              <a:gd name="connsiteY62983" fmla="*/ 1052221 h 5973007"/>
              <a:gd name="connsiteX62984" fmla="*/ 3937381 w 6884782"/>
              <a:gd name="connsiteY62984" fmla="*/ 1045961 h 5973007"/>
              <a:gd name="connsiteX62985" fmla="*/ 3312701 w 6884782"/>
              <a:gd name="connsiteY62985" fmla="*/ 1045107 h 5973007"/>
              <a:gd name="connsiteX62986" fmla="*/ 3313342 w 6884782"/>
              <a:gd name="connsiteY62986" fmla="*/ 1045961 h 5973007"/>
              <a:gd name="connsiteX62987" fmla="*/ 3312274 w 6884782"/>
              <a:gd name="connsiteY62987" fmla="*/ 1050371 h 5973007"/>
              <a:gd name="connsiteX62988" fmla="*/ 3312061 w 6884782"/>
              <a:gd name="connsiteY62988" fmla="*/ 1045819 h 5973007"/>
              <a:gd name="connsiteX62989" fmla="*/ 3312701 w 6884782"/>
              <a:gd name="connsiteY62989" fmla="*/ 1045107 h 5973007"/>
              <a:gd name="connsiteX62990" fmla="*/ 3721400 w 6884782"/>
              <a:gd name="connsiteY62990" fmla="*/ 1044681 h 5973007"/>
              <a:gd name="connsiteX62991" fmla="*/ 3725242 w 6884782"/>
              <a:gd name="connsiteY62991" fmla="*/ 1046388 h 5973007"/>
              <a:gd name="connsiteX62992" fmla="*/ 3730791 w 6884782"/>
              <a:gd name="connsiteY62992" fmla="*/ 1050656 h 5973007"/>
              <a:gd name="connsiteX62993" fmla="*/ 3730363 w 6884782"/>
              <a:gd name="connsiteY62993" fmla="*/ 1054355 h 5973007"/>
              <a:gd name="connsiteX62994" fmla="*/ 3728016 w 6884782"/>
              <a:gd name="connsiteY62994" fmla="*/ 1059334 h 5973007"/>
              <a:gd name="connsiteX62995" fmla="*/ 3717985 w 6884782"/>
              <a:gd name="connsiteY62995" fmla="*/ 1053928 h 5973007"/>
              <a:gd name="connsiteX62996" fmla="*/ 3717985 w 6884782"/>
              <a:gd name="connsiteY62996" fmla="*/ 1046530 h 5973007"/>
              <a:gd name="connsiteX62997" fmla="*/ 3721400 w 6884782"/>
              <a:gd name="connsiteY62997" fmla="*/ 1044681 h 5973007"/>
              <a:gd name="connsiteX62998" fmla="*/ 1464896 w 6884782"/>
              <a:gd name="connsiteY62998" fmla="*/ 1044178 h 5973007"/>
              <a:gd name="connsiteX62999" fmla="*/ 1464380 w 6884782"/>
              <a:gd name="connsiteY62999" fmla="*/ 1046812 h 5973007"/>
              <a:gd name="connsiteX63000" fmla="*/ 1462005 w 6884782"/>
              <a:gd name="connsiteY63000" fmla="*/ 1047121 h 5973007"/>
              <a:gd name="connsiteX63001" fmla="*/ 1460353 w 6884782"/>
              <a:gd name="connsiteY63001" fmla="*/ 1048051 h 5973007"/>
              <a:gd name="connsiteX63002" fmla="*/ 1457978 w 6884782"/>
              <a:gd name="connsiteY63002" fmla="*/ 1046502 h 5973007"/>
              <a:gd name="connsiteX63003" fmla="*/ 1459630 w 6884782"/>
              <a:gd name="connsiteY63003" fmla="*/ 1045573 h 5973007"/>
              <a:gd name="connsiteX63004" fmla="*/ 1464896 w 6884782"/>
              <a:gd name="connsiteY63004" fmla="*/ 1044178 h 5973007"/>
              <a:gd name="connsiteX63005" fmla="*/ 4582548 w 6884782"/>
              <a:gd name="connsiteY63005" fmla="*/ 1044111 h 5973007"/>
              <a:gd name="connsiteX63006" fmla="*/ 4585536 w 6884782"/>
              <a:gd name="connsiteY63006" fmla="*/ 1045961 h 5973007"/>
              <a:gd name="connsiteX63007" fmla="*/ 4570811 w 6884782"/>
              <a:gd name="connsiteY63007" fmla="*/ 1066590 h 5973007"/>
              <a:gd name="connsiteX63008" fmla="*/ 4568463 w 6884782"/>
              <a:gd name="connsiteY63008" fmla="*/ 1062891 h 5973007"/>
              <a:gd name="connsiteX63009" fmla="*/ 4582548 w 6884782"/>
              <a:gd name="connsiteY63009" fmla="*/ 1044111 h 5973007"/>
              <a:gd name="connsiteX63010" fmla="*/ 4778041 w 6884782"/>
              <a:gd name="connsiteY63010" fmla="*/ 1043400 h 5973007"/>
              <a:gd name="connsiteX63011" fmla="*/ 4780176 w 6884782"/>
              <a:gd name="connsiteY63011" fmla="*/ 1043969 h 5973007"/>
              <a:gd name="connsiteX63012" fmla="*/ 4759901 w 6884782"/>
              <a:gd name="connsiteY63012" fmla="*/ 1071000 h 5973007"/>
              <a:gd name="connsiteX63013" fmla="*/ 4772919 w 6884782"/>
              <a:gd name="connsiteY63013" fmla="*/ 1045107 h 5973007"/>
              <a:gd name="connsiteX63014" fmla="*/ 4778041 w 6884782"/>
              <a:gd name="connsiteY63014" fmla="*/ 1043400 h 5973007"/>
              <a:gd name="connsiteX63015" fmla="*/ 4998291 w 6884782"/>
              <a:gd name="connsiteY63015" fmla="*/ 1042689 h 5973007"/>
              <a:gd name="connsiteX63016" fmla="*/ 5004053 w 6884782"/>
              <a:gd name="connsiteY63016" fmla="*/ 1046672 h 5973007"/>
              <a:gd name="connsiteX63017" fmla="*/ 4998504 w 6884782"/>
              <a:gd name="connsiteY63017" fmla="*/ 1062606 h 5973007"/>
              <a:gd name="connsiteX63018" fmla="*/ 4989327 w 6884782"/>
              <a:gd name="connsiteY63018" fmla="*/ 1059619 h 5973007"/>
              <a:gd name="connsiteX63019" fmla="*/ 4998291 w 6884782"/>
              <a:gd name="connsiteY63019" fmla="*/ 1042689 h 5973007"/>
              <a:gd name="connsiteX63020" fmla="*/ 1164421 w 6884782"/>
              <a:gd name="connsiteY63020" fmla="*/ 1042629 h 5973007"/>
              <a:gd name="connsiteX63021" fmla="*/ 1166176 w 6884782"/>
              <a:gd name="connsiteY63021" fmla="*/ 1044178 h 5973007"/>
              <a:gd name="connsiteX63022" fmla="*/ 1168035 w 6884782"/>
              <a:gd name="connsiteY63022" fmla="*/ 1044798 h 5973007"/>
              <a:gd name="connsiteX63023" fmla="*/ 1168241 w 6884782"/>
              <a:gd name="connsiteY63023" fmla="*/ 1047276 h 5973007"/>
              <a:gd name="connsiteX63024" fmla="*/ 1166383 w 6884782"/>
              <a:gd name="connsiteY63024" fmla="*/ 1046657 h 5973007"/>
              <a:gd name="connsiteX63025" fmla="*/ 1161839 w 6884782"/>
              <a:gd name="connsiteY63025" fmla="*/ 1043869 h 5973007"/>
              <a:gd name="connsiteX63026" fmla="*/ 1164421 w 6884782"/>
              <a:gd name="connsiteY63026" fmla="*/ 1042629 h 5973007"/>
              <a:gd name="connsiteX63027" fmla="*/ 4057536 w 6884782"/>
              <a:gd name="connsiteY63027" fmla="*/ 1042546 h 5973007"/>
              <a:gd name="connsiteX63028" fmla="*/ 4060951 w 6884782"/>
              <a:gd name="connsiteY63028" fmla="*/ 1048380 h 5973007"/>
              <a:gd name="connsiteX63029" fmla="*/ 4058176 w 6884782"/>
              <a:gd name="connsiteY63029" fmla="*/ 1070004 h 5973007"/>
              <a:gd name="connsiteX63030" fmla="*/ 4053695 w 6884782"/>
              <a:gd name="connsiteY63030" fmla="*/ 1056773 h 5973007"/>
              <a:gd name="connsiteX63031" fmla="*/ 4057536 w 6884782"/>
              <a:gd name="connsiteY63031" fmla="*/ 1042546 h 5973007"/>
              <a:gd name="connsiteX63032" fmla="*/ 985891 w 6884782"/>
              <a:gd name="connsiteY63032" fmla="*/ 1042165 h 5973007"/>
              <a:gd name="connsiteX63033" fmla="*/ 985891 w 6884782"/>
              <a:gd name="connsiteY63033" fmla="*/ 1043094 h 5973007"/>
              <a:gd name="connsiteX63034" fmla="*/ 986820 w 6884782"/>
              <a:gd name="connsiteY63034" fmla="*/ 1042319 h 5973007"/>
              <a:gd name="connsiteX63035" fmla="*/ 988266 w 6884782"/>
              <a:gd name="connsiteY63035" fmla="*/ 1054247 h 5973007"/>
              <a:gd name="connsiteX63036" fmla="*/ 987439 w 6884782"/>
              <a:gd name="connsiteY63036" fmla="*/ 1054092 h 5973007"/>
              <a:gd name="connsiteX63037" fmla="*/ 985581 w 6884782"/>
              <a:gd name="connsiteY63037" fmla="*/ 1045263 h 5973007"/>
              <a:gd name="connsiteX63038" fmla="*/ 985891 w 6884782"/>
              <a:gd name="connsiteY63038" fmla="*/ 1042165 h 5973007"/>
              <a:gd name="connsiteX63039" fmla="*/ 4006102 w 6884782"/>
              <a:gd name="connsiteY63039" fmla="*/ 1041977 h 5973007"/>
              <a:gd name="connsiteX63040" fmla="*/ 4006743 w 6884782"/>
              <a:gd name="connsiteY63040" fmla="*/ 1046815 h 5973007"/>
              <a:gd name="connsiteX63041" fmla="*/ 4004395 w 6884782"/>
              <a:gd name="connsiteY63041" fmla="*/ 1046957 h 5973007"/>
              <a:gd name="connsiteX63042" fmla="*/ 3997352 w 6884782"/>
              <a:gd name="connsiteY63042" fmla="*/ 1052221 h 5973007"/>
              <a:gd name="connsiteX63043" fmla="*/ 3996925 w 6884782"/>
              <a:gd name="connsiteY63043" fmla="*/ 1052363 h 5973007"/>
              <a:gd name="connsiteX63044" fmla="*/ 3999059 w 6884782"/>
              <a:gd name="connsiteY63044" fmla="*/ 1053643 h 5973007"/>
              <a:gd name="connsiteX63045" fmla="*/ 4001833 w 6884782"/>
              <a:gd name="connsiteY63045" fmla="*/ 1055067 h 5973007"/>
              <a:gd name="connsiteX63046" fmla="*/ 4002047 w 6884782"/>
              <a:gd name="connsiteY63046" fmla="*/ 1055208 h 5973007"/>
              <a:gd name="connsiteX63047" fmla="*/ 4002687 w 6884782"/>
              <a:gd name="connsiteY63047" fmla="*/ 1055067 h 5973007"/>
              <a:gd name="connsiteX63048" fmla="*/ 4006956 w 6884782"/>
              <a:gd name="connsiteY63048" fmla="*/ 1055208 h 5973007"/>
              <a:gd name="connsiteX63049" fmla="*/ 4005888 w 6884782"/>
              <a:gd name="connsiteY63049" fmla="*/ 1055351 h 5973007"/>
              <a:gd name="connsiteX63050" fmla="*/ 4007169 w 6884782"/>
              <a:gd name="connsiteY63050" fmla="*/ 1056347 h 5973007"/>
              <a:gd name="connsiteX63051" fmla="*/ 4003327 w 6884782"/>
              <a:gd name="connsiteY63051" fmla="*/ 1057485 h 5973007"/>
              <a:gd name="connsiteX63052" fmla="*/ 4003968 w 6884782"/>
              <a:gd name="connsiteY63052" fmla="*/ 1058196 h 5973007"/>
              <a:gd name="connsiteX63053" fmla="*/ 4005888 w 6884782"/>
              <a:gd name="connsiteY63053" fmla="*/ 1062322 h 5973007"/>
              <a:gd name="connsiteX63054" fmla="*/ 4003327 w 6884782"/>
              <a:gd name="connsiteY63054" fmla="*/ 1064598 h 5973007"/>
              <a:gd name="connsiteX63055" fmla="*/ 4005248 w 6884782"/>
              <a:gd name="connsiteY63055" fmla="*/ 1067159 h 5973007"/>
              <a:gd name="connsiteX63056" fmla="*/ 4002687 w 6884782"/>
              <a:gd name="connsiteY63056" fmla="*/ 1082524 h 5973007"/>
              <a:gd name="connsiteX63057" fmla="*/ 3996498 w 6884782"/>
              <a:gd name="connsiteY63057" fmla="*/ 1086081 h 5973007"/>
              <a:gd name="connsiteX63058" fmla="*/ 3988601 w 6884782"/>
              <a:gd name="connsiteY63058" fmla="*/ 1083520 h 5973007"/>
              <a:gd name="connsiteX63059" fmla="*/ 3987748 w 6884782"/>
              <a:gd name="connsiteY63059" fmla="*/ 1068013 h 5973007"/>
              <a:gd name="connsiteX63060" fmla="*/ 3998846 w 6884782"/>
              <a:gd name="connsiteY63060" fmla="*/ 1062179 h 5973007"/>
              <a:gd name="connsiteX63061" fmla="*/ 3997565 w 6884782"/>
              <a:gd name="connsiteY63061" fmla="*/ 1062179 h 5973007"/>
              <a:gd name="connsiteX63062" fmla="*/ 3995645 w 6884782"/>
              <a:gd name="connsiteY63062" fmla="*/ 1059477 h 5973007"/>
              <a:gd name="connsiteX63063" fmla="*/ 3993510 w 6884782"/>
              <a:gd name="connsiteY63063" fmla="*/ 1059619 h 5973007"/>
              <a:gd name="connsiteX63064" fmla="*/ 3991376 w 6884782"/>
              <a:gd name="connsiteY63064" fmla="*/ 1059619 h 5973007"/>
              <a:gd name="connsiteX63065" fmla="*/ 3991162 w 6884782"/>
              <a:gd name="connsiteY63065" fmla="*/ 1058481 h 5973007"/>
              <a:gd name="connsiteX63066" fmla="*/ 3994150 w 6884782"/>
              <a:gd name="connsiteY63066" fmla="*/ 1057769 h 5973007"/>
              <a:gd name="connsiteX63067" fmla="*/ 3990736 w 6884782"/>
              <a:gd name="connsiteY63067" fmla="*/ 1053502 h 5973007"/>
              <a:gd name="connsiteX63068" fmla="*/ 3987961 w 6884782"/>
              <a:gd name="connsiteY63068" fmla="*/ 1054070 h 5973007"/>
              <a:gd name="connsiteX63069" fmla="*/ 3989882 w 6884782"/>
              <a:gd name="connsiteY63069" fmla="*/ 1051936 h 5973007"/>
              <a:gd name="connsiteX63070" fmla="*/ 3988175 w 6884782"/>
              <a:gd name="connsiteY63070" fmla="*/ 1048664 h 5973007"/>
              <a:gd name="connsiteX63071" fmla="*/ 3987748 w 6884782"/>
              <a:gd name="connsiteY63071" fmla="*/ 1045250 h 5973007"/>
              <a:gd name="connsiteX63072" fmla="*/ 3991162 w 6884782"/>
              <a:gd name="connsiteY63072" fmla="*/ 1046530 h 5973007"/>
              <a:gd name="connsiteX63073" fmla="*/ 3992230 w 6884782"/>
              <a:gd name="connsiteY63073" fmla="*/ 1047811 h 5973007"/>
              <a:gd name="connsiteX63074" fmla="*/ 3993297 w 6884782"/>
              <a:gd name="connsiteY63074" fmla="*/ 1047811 h 5973007"/>
              <a:gd name="connsiteX63075" fmla="*/ 3993297 w 6884782"/>
              <a:gd name="connsiteY63075" fmla="*/ 1048237 h 5973007"/>
              <a:gd name="connsiteX63076" fmla="*/ 3997992 w 6884782"/>
              <a:gd name="connsiteY63076" fmla="*/ 1046103 h 5973007"/>
              <a:gd name="connsiteX63077" fmla="*/ 4006102 w 6884782"/>
              <a:gd name="connsiteY63077" fmla="*/ 1041977 h 5973007"/>
              <a:gd name="connsiteX63078" fmla="*/ 4855940 w 6884782"/>
              <a:gd name="connsiteY63078" fmla="*/ 1041836 h 5973007"/>
              <a:gd name="connsiteX63079" fmla="*/ 4861488 w 6884782"/>
              <a:gd name="connsiteY63079" fmla="*/ 1043684 h 5973007"/>
              <a:gd name="connsiteX63080" fmla="*/ 4848257 w 6884782"/>
              <a:gd name="connsiteY63080" fmla="*/ 1052790 h 5973007"/>
              <a:gd name="connsiteX63081" fmla="*/ 4850817 w 6884782"/>
              <a:gd name="connsiteY63081" fmla="*/ 1042831 h 5973007"/>
              <a:gd name="connsiteX63082" fmla="*/ 4855940 w 6884782"/>
              <a:gd name="connsiteY63082" fmla="*/ 1041836 h 5973007"/>
              <a:gd name="connsiteX63083" fmla="*/ 976288 w 6884782"/>
              <a:gd name="connsiteY63083" fmla="*/ 1040461 h 5973007"/>
              <a:gd name="connsiteX63084" fmla="*/ 979901 w 6884782"/>
              <a:gd name="connsiteY63084" fmla="*/ 1040925 h 5973007"/>
              <a:gd name="connsiteX63085" fmla="*/ 979901 w 6884782"/>
              <a:gd name="connsiteY63085" fmla="*/ 1042629 h 5973007"/>
              <a:gd name="connsiteX63086" fmla="*/ 984032 w 6884782"/>
              <a:gd name="connsiteY63086" fmla="*/ 1055641 h 5973007"/>
              <a:gd name="connsiteX63087" fmla="*/ 976288 w 6884782"/>
              <a:gd name="connsiteY63087" fmla="*/ 1040461 h 5973007"/>
              <a:gd name="connsiteX63088" fmla="*/ 1253982 w 6884782"/>
              <a:gd name="connsiteY63088" fmla="*/ 1039590 h 5973007"/>
              <a:gd name="connsiteX63089" fmla="*/ 1277796 w 6884782"/>
              <a:gd name="connsiteY63089" fmla="*/ 1043714 h 5973007"/>
              <a:gd name="connsiteX63090" fmla="*/ 1276040 w 6884782"/>
              <a:gd name="connsiteY63090" fmla="*/ 1052698 h 5973007"/>
              <a:gd name="connsiteX63091" fmla="*/ 1264682 w 6884782"/>
              <a:gd name="connsiteY63091" fmla="*/ 1050064 h 5973007"/>
              <a:gd name="connsiteX63092" fmla="*/ 1263133 w 6884782"/>
              <a:gd name="connsiteY63092" fmla="*/ 1050529 h 5973007"/>
              <a:gd name="connsiteX63093" fmla="*/ 1260965 w 6884782"/>
              <a:gd name="connsiteY63093" fmla="*/ 1050064 h 5973007"/>
              <a:gd name="connsiteX63094" fmla="*/ 1260552 w 6884782"/>
              <a:gd name="connsiteY63094" fmla="*/ 1049135 h 5973007"/>
              <a:gd name="connsiteX63095" fmla="*/ 1253531 w 6884782"/>
              <a:gd name="connsiteY63095" fmla="*/ 1047586 h 5973007"/>
              <a:gd name="connsiteX63096" fmla="*/ 1232879 w 6884782"/>
              <a:gd name="connsiteY63096" fmla="*/ 1042785 h 5973007"/>
              <a:gd name="connsiteX63097" fmla="*/ 1253982 w 6884782"/>
              <a:gd name="connsiteY63097" fmla="*/ 1039590 h 5973007"/>
              <a:gd name="connsiteX63098" fmla="*/ 3803994 w 6884782"/>
              <a:gd name="connsiteY63098" fmla="*/ 1038136 h 5973007"/>
              <a:gd name="connsiteX63099" fmla="*/ 3808689 w 6884782"/>
              <a:gd name="connsiteY63099" fmla="*/ 1041124 h 5973007"/>
              <a:gd name="connsiteX63100" fmla="*/ 3808048 w 6884782"/>
              <a:gd name="connsiteY63100" fmla="*/ 1048095 h 5973007"/>
              <a:gd name="connsiteX63101" fmla="*/ 3808475 w 6884782"/>
              <a:gd name="connsiteY63101" fmla="*/ 1052790 h 5973007"/>
              <a:gd name="connsiteX63102" fmla="*/ 3805914 w 6884782"/>
              <a:gd name="connsiteY63102" fmla="*/ 1055493 h 5973007"/>
              <a:gd name="connsiteX63103" fmla="*/ 3801219 w 6884782"/>
              <a:gd name="connsiteY63103" fmla="*/ 1046530 h 5973007"/>
              <a:gd name="connsiteX63104" fmla="*/ 3803994 w 6884782"/>
              <a:gd name="connsiteY63104" fmla="*/ 1038136 h 5973007"/>
              <a:gd name="connsiteX63105" fmla="*/ 4276932 w 6884782"/>
              <a:gd name="connsiteY63105" fmla="*/ 1037567 h 5973007"/>
              <a:gd name="connsiteX63106" fmla="*/ 4287816 w 6884782"/>
              <a:gd name="connsiteY63106" fmla="*/ 1042831 h 5973007"/>
              <a:gd name="connsiteX63107" fmla="*/ 4274370 w 6884782"/>
              <a:gd name="connsiteY63107" fmla="*/ 1044111 h 5973007"/>
              <a:gd name="connsiteX63108" fmla="*/ 4276932 w 6884782"/>
              <a:gd name="connsiteY63108" fmla="*/ 1037567 h 5973007"/>
              <a:gd name="connsiteX63109" fmla="*/ 3931191 w 6884782"/>
              <a:gd name="connsiteY63109" fmla="*/ 1036714 h 5973007"/>
              <a:gd name="connsiteX63110" fmla="*/ 3930124 w 6884782"/>
              <a:gd name="connsiteY63110" fmla="*/ 1044254 h 5973007"/>
              <a:gd name="connsiteX63111" fmla="*/ 3926923 w 6884782"/>
              <a:gd name="connsiteY63111" fmla="*/ 1045676 h 5973007"/>
              <a:gd name="connsiteX63112" fmla="*/ 3926496 w 6884782"/>
              <a:gd name="connsiteY63112" fmla="*/ 1041977 h 5973007"/>
              <a:gd name="connsiteX63113" fmla="*/ 3928417 w 6884782"/>
              <a:gd name="connsiteY63113" fmla="*/ 1040697 h 5973007"/>
              <a:gd name="connsiteX63114" fmla="*/ 3929058 w 6884782"/>
              <a:gd name="connsiteY63114" fmla="*/ 1036856 h 5973007"/>
              <a:gd name="connsiteX63115" fmla="*/ 3931191 w 6884782"/>
              <a:gd name="connsiteY63115" fmla="*/ 1036714 h 5973007"/>
              <a:gd name="connsiteX63116" fmla="*/ 1262204 w 6884782"/>
              <a:gd name="connsiteY63116" fmla="*/ 1036434 h 5973007"/>
              <a:gd name="connsiteX63117" fmla="*/ 1264682 w 6884782"/>
              <a:gd name="connsiteY63117" fmla="*/ 1038912 h 5973007"/>
              <a:gd name="connsiteX63118" fmla="*/ 1261275 w 6884782"/>
              <a:gd name="connsiteY63118" fmla="*/ 1039996 h 5973007"/>
              <a:gd name="connsiteX63119" fmla="*/ 1260759 w 6884782"/>
              <a:gd name="connsiteY63119" fmla="*/ 1038602 h 5973007"/>
              <a:gd name="connsiteX63120" fmla="*/ 1262204 w 6884782"/>
              <a:gd name="connsiteY63120" fmla="*/ 1036434 h 5973007"/>
              <a:gd name="connsiteX63121" fmla="*/ 1502585 w 6884782"/>
              <a:gd name="connsiteY63121" fmla="*/ 1036279 h 5973007"/>
              <a:gd name="connsiteX63122" fmla="*/ 1508573 w 6884782"/>
              <a:gd name="connsiteY63122" fmla="*/ 1046657 h 5973007"/>
              <a:gd name="connsiteX63123" fmla="*/ 1511981 w 6884782"/>
              <a:gd name="connsiteY63123" fmla="*/ 1049290 h 5973007"/>
              <a:gd name="connsiteX63124" fmla="*/ 1512704 w 6884782"/>
              <a:gd name="connsiteY63124" fmla="*/ 1048670 h 5973007"/>
              <a:gd name="connsiteX63125" fmla="*/ 1512497 w 6884782"/>
              <a:gd name="connsiteY63125" fmla="*/ 1048516 h 5973007"/>
              <a:gd name="connsiteX63126" fmla="*/ 1518176 w 6884782"/>
              <a:gd name="connsiteY63126" fmla="*/ 1045418 h 5973007"/>
              <a:gd name="connsiteX63127" fmla="*/ 1517763 w 6884782"/>
              <a:gd name="connsiteY63127" fmla="*/ 1054092 h 5973007"/>
              <a:gd name="connsiteX63128" fmla="*/ 1517557 w 6884782"/>
              <a:gd name="connsiteY63128" fmla="*/ 1054402 h 5973007"/>
              <a:gd name="connsiteX63129" fmla="*/ 1519106 w 6884782"/>
              <a:gd name="connsiteY63129" fmla="*/ 1057345 h 5973007"/>
              <a:gd name="connsiteX63130" fmla="*/ 1519622 w 6884782"/>
              <a:gd name="connsiteY63130" fmla="*/ 1061372 h 5973007"/>
              <a:gd name="connsiteX63131" fmla="*/ 1518176 w 6884782"/>
              <a:gd name="connsiteY63131" fmla="*/ 1067413 h 5973007"/>
              <a:gd name="connsiteX63132" fmla="*/ 1520138 w 6884782"/>
              <a:gd name="connsiteY63132" fmla="*/ 1067723 h 5973007"/>
              <a:gd name="connsiteX63133" fmla="*/ 1516214 w 6884782"/>
              <a:gd name="connsiteY63133" fmla="*/ 1071595 h 5973007"/>
              <a:gd name="connsiteX63134" fmla="*/ 1516008 w 6884782"/>
              <a:gd name="connsiteY63134" fmla="*/ 1071440 h 5973007"/>
              <a:gd name="connsiteX63135" fmla="*/ 1513220 w 6884782"/>
              <a:gd name="connsiteY63135" fmla="*/ 1074848 h 5973007"/>
              <a:gd name="connsiteX63136" fmla="*/ 1519415 w 6884782"/>
              <a:gd name="connsiteY63136" fmla="*/ 1076397 h 5973007"/>
              <a:gd name="connsiteX63137" fmla="*/ 1525611 w 6884782"/>
              <a:gd name="connsiteY63137" fmla="*/ 1079030 h 5973007"/>
              <a:gd name="connsiteX63138" fmla="*/ 1534904 w 6884782"/>
              <a:gd name="connsiteY63138" fmla="*/ 1085381 h 5973007"/>
              <a:gd name="connsiteX63139" fmla="*/ 1534904 w 6884782"/>
              <a:gd name="connsiteY63139" fmla="*/ 1085691 h 5973007"/>
              <a:gd name="connsiteX63140" fmla="*/ 1536969 w 6884782"/>
              <a:gd name="connsiteY63140" fmla="*/ 1087085 h 5973007"/>
              <a:gd name="connsiteX63141" fmla="*/ 1537175 w 6884782"/>
              <a:gd name="connsiteY63141" fmla="*/ 1094210 h 5973007"/>
              <a:gd name="connsiteX63142" fmla="*/ 1532529 w 6884782"/>
              <a:gd name="connsiteY63142" fmla="*/ 1091112 h 5973007"/>
              <a:gd name="connsiteX63143" fmla="*/ 1531083 w 6884782"/>
              <a:gd name="connsiteY63143" fmla="*/ 1092971 h 5973007"/>
              <a:gd name="connsiteX63144" fmla="*/ 1523752 w 6884782"/>
              <a:gd name="connsiteY63144" fmla="*/ 1094055 h 5973007"/>
              <a:gd name="connsiteX63145" fmla="*/ 1522720 w 6884782"/>
              <a:gd name="connsiteY63145" fmla="*/ 1093745 h 5973007"/>
              <a:gd name="connsiteX63146" fmla="*/ 1523030 w 6884782"/>
              <a:gd name="connsiteY63146" fmla="*/ 1104123 h 5973007"/>
              <a:gd name="connsiteX63147" fmla="*/ 1523339 w 6884782"/>
              <a:gd name="connsiteY63147" fmla="*/ 1107066 h 5973007"/>
              <a:gd name="connsiteX63148" fmla="*/ 1524268 w 6884782"/>
              <a:gd name="connsiteY63148" fmla="*/ 1107531 h 5973007"/>
              <a:gd name="connsiteX63149" fmla="*/ 1526953 w 6884782"/>
              <a:gd name="connsiteY63149" fmla="*/ 1109854 h 5973007"/>
              <a:gd name="connsiteX63150" fmla="*/ 1524475 w 6884782"/>
              <a:gd name="connsiteY63150" fmla="*/ 1112178 h 5973007"/>
              <a:gd name="connsiteX63151" fmla="*/ 1523959 w 6884782"/>
              <a:gd name="connsiteY63151" fmla="*/ 1112333 h 5973007"/>
              <a:gd name="connsiteX63152" fmla="*/ 1523959 w 6884782"/>
              <a:gd name="connsiteY63152" fmla="*/ 1112642 h 5973007"/>
              <a:gd name="connsiteX63153" fmla="*/ 1523546 w 6884782"/>
              <a:gd name="connsiteY63153" fmla="*/ 1112488 h 5973007"/>
              <a:gd name="connsiteX63154" fmla="*/ 1522513 w 6884782"/>
              <a:gd name="connsiteY63154" fmla="*/ 1112798 h 5973007"/>
              <a:gd name="connsiteX63155" fmla="*/ 1519726 w 6884782"/>
              <a:gd name="connsiteY63155" fmla="*/ 1112642 h 5973007"/>
              <a:gd name="connsiteX63156" fmla="*/ 1518073 w 6884782"/>
              <a:gd name="connsiteY63156" fmla="*/ 1111403 h 5973007"/>
              <a:gd name="connsiteX63157" fmla="*/ 1516111 w 6884782"/>
              <a:gd name="connsiteY63157" fmla="*/ 1109854 h 5973007"/>
              <a:gd name="connsiteX63158" fmla="*/ 1516008 w 6884782"/>
              <a:gd name="connsiteY63158" fmla="*/ 1109390 h 5973007"/>
              <a:gd name="connsiteX63159" fmla="*/ 1514563 w 6884782"/>
              <a:gd name="connsiteY63159" fmla="*/ 1109080 h 5973007"/>
              <a:gd name="connsiteX63160" fmla="*/ 1505166 w 6884782"/>
              <a:gd name="connsiteY63160" fmla="*/ 1109080 h 5973007"/>
              <a:gd name="connsiteX63161" fmla="*/ 1505063 w 6884782"/>
              <a:gd name="connsiteY63161" fmla="*/ 1110784 h 5973007"/>
              <a:gd name="connsiteX63162" fmla="*/ 1503204 w 6884782"/>
              <a:gd name="connsiteY63162" fmla="*/ 1114966 h 5973007"/>
              <a:gd name="connsiteX63163" fmla="*/ 1496905 w 6884782"/>
              <a:gd name="connsiteY63163" fmla="*/ 1109854 h 5973007"/>
              <a:gd name="connsiteX63164" fmla="*/ 1497112 w 6884782"/>
              <a:gd name="connsiteY63164" fmla="*/ 1107996 h 5973007"/>
              <a:gd name="connsiteX63165" fmla="*/ 1495460 w 6884782"/>
              <a:gd name="connsiteY63165" fmla="*/ 1107376 h 5973007"/>
              <a:gd name="connsiteX63166" fmla="*/ 1491846 w 6884782"/>
              <a:gd name="connsiteY63166" fmla="*/ 1104898 h 5973007"/>
              <a:gd name="connsiteX63167" fmla="*/ 1490813 w 6884782"/>
              <a:gd name="connsiteY63167" fmla="*/ 1079805 h 5973007"/>
              <a:gd name="connsiteX63168" fmla="*/ 1491330 w 6884782"/>
              <a:gd name="connsiteY63168" fmla="*/ 1079340 h 5973007"/>
              <a:gd name="connsiteX63169" fmla="*/ 1489161 w 6884782"/>
              <a:gd name="connsiteY63169" fmla="*/ 1078101 h 5973007"/>
              <a:gd name="connsiteX63170" fmla="*/ 1489058 w 6884782"/>
              <a:gd name="connsiteY63170" fmla="*/ 1079805 h 5973007"/>
              <a:gd name="connsiteX63171" fmla="*/ 1483792 w 6884782"/>
              <a:gd name="connsiteY63171" fmla="*/ 1081043 h 5973007"/>
              <a:gd name="connsiteX63172" fmla="*/ 1483586 w 6884782"/>
              <a:gd name="connsiteY63172" fmla="*/ 1076242 h 5973007"/>
              <a:gd name="connsiteX63173" fmla="*/ 1484825 w 6884782"/>
              <a:gd name="connsiteY63173" fmla="*/ 1074538 h 5973007"/>
              <a:gd name="connsiteX63174" fmla="*/ 1482140 w 6884782"/>
              <a:gd name="connsiteY63174" fmla="*/ 1069736 h 5973007"/>
              <a:gd name="connsiteX63175" fmla="*/ 1481727 w 6884782"/>
              <a:gd name="connsiteY63175" fmla="*/ 1065554 h 5973007"/>
              <a:gd name="connsiteX63176" fmla="*/ 1482243 w 6884782"/>
              <a:gd name="connsiteY63176" fmla="*/ 1060753 h 5973007"/>
              <a:gd name="connsiteX63177" fmla="*/ 1490504 w 6884782"/>
              <a:gd name="connsiteY63177" fmla="*/ 1048825 h 5973007"/>
              <a:gd name="connsiteX63178" fmla="*/ 1493085 w 6884782"/>
              <a:gd name="connsiteY63178" fmla="*/ 1046347 h 5973007"/>
              <a:gd name="connsiteX63179" fmla="*/ 1493395 w 6884782"/>
              <a:gd name="connsiteY63179" fmla="*/ 1045108 h 5973007"/>
              <a:gd name="connsiteX63180" fmla="*/ 1494737 w 6884782"/>
              <a:gd name="connsiteY63180" fmla="*/ 1042165 h 5973007"/>
              <a:gd name="connsiteX63181" fmla="*/ 1496183 w 6884782"/>
              <a:gd name="connsiteY63181" fmla="*/ 1041700 h 5973007"/>
              <a:gd name="connsiteX63182" fmla="*/ 1495873 w 6884782"/>
              <a:gd name="connsiteY63182" fmla="*/ 1043869 h 5973007"/>
              <a:gd name="connsiteX63183" fmla="*/ 1496493 w 6884782"/>
              <a:gd name="connsiteY63183" fmla="*/ 1043094 h 5973007"/>
              <a:gd name="connsiteX63184" fmla="*/ 1502585 w 6884782"/>
              <a:gd name="connsiteY63184" fmla="*/ 1036279 h 5973007"/>
              <a:gd name="connsiteX63185" fmla="*/ 3675942 w 6884782"/>
              <a:gd name="connsiteY63185" fmla="*/ 1036144 h 5973007"/>
              <a:gd name="connsiteX63186" fmla="*/ 3678076 w 6884782"/>
              <a:gd name="connsiteY63186" fmla="*/ 1040128 h 5973007"/>
              <a:gd name="connsiteX63187" fmla="*/ 3677436 w 6884782"/>
              <a:gd name="connsiteY63187" fmla="*/ 1044965 h 5973007"/>
              <a:gd name="connsiteX63188" fmla="*/ 3675942 w 6884782"/>
              <a:gd name="connsiteY63188" fmla="*/ 1036144 h 5973007"/>
              <a:gd name="connsiteX63189" fmla="*/ 1150068 w 6884782"/>
              <a:gd name="connsiteY63189" fmla="*/ 1035504 h 5973007"/>
              <a:gd name="connsiteX63190" fmla="*/ 1154405 w 6884782"/>
              <a:gd name="connsiteY63190" fmla="*/ 1035659 h 5973007"/>
              <a:gd name="connsiteX63191" fmla="*/ 1157503 w 6884782"/>
              <a:gd name="connsiteY63191" fmla="*/ 1042785 h 5973007"/>
              <a:gd name="connsiteX63192" fmla="*/ 1154095 w 6884782"/>
              <a:gd name="connsiteY63192" fmla="*/ 1043249 h 5973007"/>
              <a:gd name="connsiteX63193" fmla="*/ 1149655 w 6884782"/>
              <a:gd name="connsiteY63193" fmla="*/ 1037518 h 5973007"/>
              <a:gd name="connsiteX63194" fmla="*/ 1150068 w 6884782"/>
              <a:gd name="connsiteY63194" fmla="*/ 1035504 h 5973007"/>
              <a:gd name="connsiteX63195" fmla="*/ 4377452 w 6884782"/>
              <a:gd name="connsiteY63195" fmla="*/ 1034722 h 5973007"/>
              <a:gd name="connsiteX63196" fmla="*/ 4373184 w 6884782"/>
              <a:gd name="connsiteY63196" fmla="*/ 1072423 h 5973007"/>
              <a:gd name="connsiteX63197" fmla="*/ 4377452 w 6884782"/>
              <a:gd name="connsiteY63197" fmla="*/ 1034722 h 5973007"/>
              <a:gd name="connsiteX63198" fmla="*/ 3602525 w 6884782"/>
              <a:gd name="connsiteY63198" fmla="*/ 1034153 h 5973007"/>
              <a:gd name="connsiteX63199" fmla="*/ 3603806 w 6884782"/>
              <a:gd name="connsiteY63199" fmla="*/ 1042262 h 5973007"/>
              <a:gd name="connsiteX63200" fmla="*/ 3604019 w 6884782"/>
              <a:gd name="connsiteY63200" fmla="*/ 1042689 h 5973007"/>
              <a:gd name="connsiteX63201" fmla="*/ 3604019 w 6884782"/>
              <a:gd name="connsiteY63201" fmla="*/ 1043258 h 5973007"/>
              <a:gd name="connsiteX63202" fmla="*/ 3604873 w 6884782"/>
              <a:gd name="connsiteY63202" fmla="*/ 1052790 h 5973007"/>
              <a:gd name="connsiteX63203" fmla="*/ 3603379 w 6884782"/>
              <a:gd name="connsiteY63203" fmla="*/ 1061753 h 5973007"/>
              <a:gd name="connsiteX63204" fmla="*/ 3604446 w 6884782"/>
              <a:gd name="connsiteY63204" fmla="*/ 1061895 h 5973007"/>
              <a:gd name="connsiteX63205" fmla="*/ 3621520 w 6884782"/>
              <a:gd name="connsiteY63205" fmla="*/ 1062749 h 5973007"/>
              <a:gd name="connsiteX63206" fmla="*/ 3619172 w 6884782"/>
              <a:gd name="connsiteY63206" fmla="*/ 1074699 h 5973007"/>
              <a:gd name="connsiteX63207" fmla="*/ 3602739 w 6884782"/>
              <a:gd name="connsiteY63207" fmla="*/ 1082666 h 5973007"/>
              <a:gd name="connsiteX63208" fmla="*/ 3602311 w 6884782"/>
              <a:gd name="connsiteY63208" fmla="*/ 1082524 h 5973007"/>
              <a:gd name="connsiteX63209" fmla="*/ 3595696 w 6884782"/>
              <a:gd name="connsiteY63209" fmla="*/ 1082524 h 5973007"/>
              <a:gd name="connsiteX63210" fmla="*/ 3594628 w 6884782"/>
              <a:gd name="connsiteY63210" fmla="*/ 1080248 h 5973007"/>
              <a:gd name="connsiteX63211" fmla="*/ 3590574 w 6884782"/>
              <a:gd name="connsiteY63211" fmla="*/ 1081386 h 5973007"/>
              <a:gd name="connsiteX63212" fmla="*/ 3588013 w 6884782"/>
              <a:gd name="connsiteY63212" fmla="*/ 1072565 h 5973007"/>
              <a:gd name="connsiteX63213" fmla="*/ 3573714 w 6884782"/>
              <a:gd name="connsiteY63213" fmla="*/ 1079252 h 5973007"/>
              <a:gd name="connsiteX63214" fmla="*/ 3570512 w 6884782"/>
              <a:gd name="connsiteY63214" fmla="*/ 1078540 h 5973007"/>
              <a:gd name="connsiteX63215" fmla="*/ 3568805 w 6884782"/>
              <a:gd name="connsiteY63215" fmla="*/ 1078398 h 5973007"/>
              <a:gd name="connsiteX63216" fmla="*/ 3580330 w 6884782"/>
              <a:gd name="connsiteY63216" fmla="*/ 1082381 h 5973007"/>
              <a:gd name="connsiteX63217" fmla="*/ 3588440 w 6884782"/>
              <a:gd name="connsiteY63217" fmla="*/ 1091202 h 5973007"/>
              <a:gd name="connsiteX63218" fmla="*/ 3589080 w 6884782"/>
              <a:gd name="connsiteY63218" fmla="*/ 1107990 h 5973007"/>
              <a:gd name="connsiteX63219" fmla="*/ 3589080 w 6884782"/>
              <a:gd name="connsiteY63219" fmla="*/ 1108275 h 5973007"/>
              <a:gd name="connsiteX63220" fmla="*/ 3592068 w 6884782"/>
              <a:gd name="connsiteY63220" fmla="*/ 1105287 h 5973007"/>
              <a:gd name="connsiteX63221" fmla="*/ 3593348 w 6884782"/>
              <a:gd name="connsiteY63221" fmla="*/ 1097747 h 5973007"/>
              <a:gd name="connsiteX63222" fmla="*/ 3592921 w 6884782"/>
              <a:gd name="connsiteY63222" fmla="*/ 1092340 h 5973007"/>
              <a:gd name="connsiteX63223" fmla="*/ 3594415 w 6884782"/>
              <a:gd name="connsiteY63223" fmla="*/ 1090065 h 5973007"/>
              <a:gd name="connsiteX63224" fmla="*/ 3601671 w 6884782"/>
              <a:gd name="connsiteY63224" fmla="*/ 1085369 h 5973007"/>
              <a:gd name="connsiteX63225" fmla="*/ 3603592 w 6884782"/>
              <a:gd name="connsiteY63225" fmla="*/ 1090918 h 5973007"/>
              <a:gd name="connsiteX63226" fmla="*/ 3602311 w 6884782"/>
              <a:gd name="connsiteY63226" fmla="*/ 1095329 h 5973007"/>
              <a:gd name="connsiteX63227" fmla="*/ 3603166 w 6884782"/>
              <a:gd name="connsiteY63227" fmla="*/ 1094617 h 5973007"/>
              <a:gd name="connsiteX63228" fmla="*/ 3614263 w 6884782"/>
              <a:gd name="connsiteY63228" fmla="*/ 1091345 h 5973007"/>
              <a:gd name="connsiteX63229" fmla="*/ 3601458 w 6884782"/>
              <a:gd name="connsiteY63229" fmla="*/ 1112258 h 5973007"/>
              <a:gd name="connsiteX63230" fmla="*/ 3592068 w 6884782"/>
              <a:gd name="connsiteY63230" fmla="*/ 1116526 h 5973007"/>
              <a:gd name="connsiteX63231" fmla="*/ 3593348 w 6884782"/>
              <a:gd name="connsiteY63231" fmla="*/ 1120368 h 5973007"/>
              <a:gd name="connsiteX63232" fmla="*/ 3586305 w 6884782"/>
              <a:gd name="connsiteY63232" fmla="*/ 1136017 h 5973007"/>
              <a:gd name="connsiteX63233" fmla="*/ 3583104 w 6884782"/>
              <a:gd name="connsiteY63233" fmla="*/ 1140569 h 5973007"/>
              <a:gd name="connsiteX63234" fmla="*/ 3581183 w 6884782"/>
              <a:gd name="connsiteY63234" fmla="*/ 1144695 h 5973007"/>
              <a:gd name="connsiteX63235" fmla="*/ 3580970 w 6884782"/>
              <a:gd name="connsiteY63235" fmla="*/ 1145123 h 5973007"/>
              <a:gd name="connsiteX63236" fmla="*/ 3580543 w 6884782"/>
              <a:gd name="connsiteY63236" fmla="*/ 1147968 h 5973007"/>
              <a:gd name="connsiteX63237" fmla="*/ 3582037 w 6884782"/>
              <a:gd name="connsiteY63237" fmla="*/ 1146260 h 5973007"/>
              <a:gd name="connsiteX63238" fmla="*/ 3590574 w 6884782"/>
              <a:gd name="connsiteY63238" fmla="*/ 1143984 h 5973007"/>
              <a:gd name="connsiteX63239" fmla="*/ 3598470 w 6884782"/>
              <a:gd name="connsiteY63239" fmla="*/ 1153943 h 5973007"/>
              <a:gd name="connsiteX63240" fmla="*/ 3601031 w 6884782"/>
              <a:gd name="connsiteY63240" fmla="*/ 1153659 h 5973007"/>
              <a:gd name="connsiteX63241" fmla="*/ 3605086 w 6884782"/>
              <a:gd name="connsiteY63241" fmla="*/ 1156504 h 5973007"/>
              <a:gd name="connsiteX63242" fmla="*/ 3603592 w 6884782"/>
              <a:gd name="connsiteY63242" fmla="*/ 1158922 h 5973007"/>
              <a:gd name="connsiteX63243" fmla="*/ 3598470 w 6884782"/>
              <a:gd name="connsiteY63243" fmla="*/ 1156646 h 5973007"/>
              <a:gd name="connsiteX63244" fmla="*/ 3597403 w 6884782"/>
              <a:gd name="connsiteY63244" fmla="*/ 1157215 h 5973007"/>
              <a:gd name="connsiteX63245" fmla="*/ 3596336 w 6884782"/>
              <a:gd name="connsiteY63245" fmla="*/ 1160488 h 5973007"/>
              <a:gd name="connsiteX63246" fmla="*/ 3586305 w 6884782"/>
              <a:gd name="connsiteY63246" fmla="*/ 1166890 h 5973007"/>
              <a:gd name="connsiteX63247" fmla="*/ 3578836 w 6884782"/>
              <a:gd name="connsiteY63247" fmla="*/ 1161056 h 5973007"/>
              <a:gd name="connsiteX63248" fmla="*/ 3577341 w 6884782"/>
              <a:gd name="connsiteY63248" fmla="*/ 1157784 h 5973007"/>
              <a:gd name="connsiteX63249" fmla="*/ 3573714 w 6884782"/>
              <a:gd name="connsiteY63249" fmla="*/ 1163048 h 5973007"/>
              <a:gd name="connsiteX63250" fmla="*/ 3563683 w 6884782"/>
              <a:gd name="connsiteY63250" fmla="*/ 1165894 h 5973007"/>
              <a:gd name="connsiteX63251" fmla="*/ 3560482 w 6884782"/>
              <a:gd name="connsiteY63251" fmla="*/ 1164186 h 5973007"/>
              <a:gd name="connsiteX63252" fmla="*/ 3547036 w 6884782"/>
              <a:gd name="connsiteY63252" fmla="*/ 1169735 h 5973007"/>
              <a:gd name="connsiteX63253" fmla="*/ 3546609 w 6884782"/>
              <a:gd name="connsiteY63253" fmla="*/ 1169735 h 5973007"/>
              <a:gd name="connsiteX63254" fmla="*/ 3544902 w 6884782"/>
              <a:gd name="connsiteY63254" fmla="*/ 1171157 h 5973007"/>
              <a:gd name="connsiteX63255" fmla="*/ 3545542 w 6884782"/>
              <a:gd name="connsiteY63255" fmla="*/ 1173576 h 5973007"/>
              <a:gd name="connsiteX63256" fmla="*/ 3556000 w 6884782"/>
              <a:gd name="connsiteY63256" fmla="*/ 1184531 h 5973007"/>
              <a:gd name="connsiteX63257" fmla="*/ 3548530 w 6884782"/>
              <a:gd name="connsiteY63257" fmla="*/ 1184673 h 5973007"/>
              <a:gd name="connsiteX63258" fmla="*/ 3549384 w 6884782"/>
              <a:gd name="connsiteY63258" fmla="*/ 1186238 h 5973007"/>
              <a:gd name="connsiteX63259" fmla="*/ 3551304 w 6884782"/>
              <a:gd name="connsiteY63259" fmla="*/ 1197762 h 5973007"/>
              <a:gd name="connsiteX63260" fmla="*/ 3551304 w 6884782"/>
              <a:gd name="connsiteY63260" fmla="*/ 1204448 h 5973007"/>
              <a:gd name="connsiteX63261" fmla="*/ 3553652 w 6884782"/>
              <a:gd name="connsiteY63261" fmla="*/ 1202457 h 5973007"/>
              <a:gd name="connsiteX63262" fmla="*/ 3563256 w 6884782"/>
              <a:gd name="connsiteY63262" fmla="*/ 1200180 h 5973007"/>
              <a:gd name="connsiteX63263" fmla="*/ 3563470 w 6884782"/>
              <a:gd name="connsiteY63263" fmla="*/ 1211277 h 5973007"/>
              <a:gd name="connsiteX63264" fmla="*/ 3558347 w 6884782"/>
              <a:gd name="connsiteY63264" fmla="*/ 1215261 h 5973007"/>
              <a:gd name="connsiteX63265" fmla="*/ 3553439 w 6884782"/>
              <a:gd name="connsiteY63265" fmla="*/ 1214692 h 5973007"/>
              <a:gd name="connsiteX63266" fmla="*/ 3551091 w 6884782"/>
              <a:gd name="connsiteY63266" fmla="*/ 1214834 h 5973007"/>
              <a:gd name="connsiteX63267" fmla="*/ 3550664 w 6884782"/>
              <a:gd name="connsiteY63267" fmla="*/ 1226358 h 5973007"/>
              <a:gd name="connsiteX63268" fmla="*/ 3553225 w 6884782"/>
              <a:gd name="connsiteY63268" fmla="*/ 1223655 h 5973007"/>
              <a:gd name="connsiteX63269" fmla="*/ 3560268 w 6884782"/>
              <a:gd name="connsiteY63269" fmla="*/ 1232618 h 5973007"/>
              <a:gd name="connsiteX63270" fmla="*/ 3555573 w 6884782"/>
              <a:gd name="connsiteY63270" fmla="*/ 1242292 h 5973007"/>
              <a:gd name="connsiteX63271" fmla="*/ 3542768 w 6884782"/>
              <a:gd name="connsiteY63271" fmla="*/ 1234325 h 5973007"/>
              <a:gd name="connsiteX63272" fmla="*/ 3543621 w 6884782"/>
              <a:gd name="connsiteY63272" fmla="*/ 1233471 h 5973007"/>
              <a:gd name="connsiteX63273" fmla="*/ 3537646 w 6884782"/>
              <a:gd name="connsiteY63273" fmla="*/ 1231622 h 5973007"/>
              <a:gd name="connsiteX63274" fmla="*/ 3540207 w 6884782"/>
              <a:gd name="connsiteY63274" fmla="*/ 1200607 h 5973007"/>
              <a:gd name="connsiteX63275" fmla="*/ 3541701 w 6884782"/>
              <a:gd name="connsiteY63275" fmla="*/ 1184815 h 5973007"/>
              <a:gd name="connsiteX63276" fmla="*/ 3537219 w 6884782"/>
              <a:gd name="connsiteY63276" fmla="*/ 1184958 h 5973007"/>
              <a:gd name="connsiteX63277" fmla="*/ 3521426 w 6884782"/>
              <a:gd name="connsiteY63277" fmla="*/ 1179694 h 5973007"/>
              <a:gd name="connsiteX63278" fmla="*/ 3517371 w 6884782"/>
              <a:gd name="connsiteY63278" fmla="*/ 1176848 h 5973007"/>
              <a:gd name="connsiteX63279" fmla="*/ 3515023 w 6884782"/>
              <a:gd name="connsiteY63279" fmla="*/ 1177417 h 5973007"/>
              <a:gd name="connsiteX63280" fmla="*/ 3513529 w 6884782"/>
              <a:gd name="connsiteY63280" fmla="*/ 1177133 h 5973007"/>
              <a:gd name="connsiteX63281" fmla="*/ 3512889 w 6884782"/>
              <a:gd name="connsiteY63281" fmla="*/ 1177560 h 5973007"/>
              <a:gd name="connsiteX63282" fmla="*/ 3511608 w 6884782"/>
              <a:gd name="connsiteY63282" fmla="*/ 1178271 h 5973007"/>
              <a:gd name="connsiteX63283" fmla="*/ 3511822 w 6884782"/>
              <a:gd name="connsiteY63283" fmla="*/ 1177133 h 5973007"/>
              <a:gd name="connsiteX63284" fmla="*/ 3511822 w 6884782"/>
              <a:gd name="connsiteY63284" fmla="*/ 1176991 h 5973007"/>
              <a:gd name="connsiteX63285" fmla="*/ 3508194 w 6884782"/>
              <a:gd name="connsiteY63285" fmla="*/ 1176706 h 5973007"/>
              <a:gd name="connsiteX63286" fmla="*/ 3511822 w 6884782"/>
              <a:gd name="connsiteY63286" fmla="*/ 1168028 h 5973007"/>
              <a:gd name="connsiteX63287" fmla="*/ 3516731 w 6884782"/>
              <a:gd name="connsiteY63287" fmla="*/ 1160488 h 5973007"/>
              <a:gd name="connsiteX63288" fmla="*/ 3517371 w 6884782"/>
              <a:gd name="connsiteY63288" fmla="*/ 1166463 h 5973007"/>
              <a:gd name="connsiteX63289" fmla="*/ 3519718 w 6884782"/>
              <a:gd name="connsiteY63289" fmla="*/ 1165325 h 5973007"/>
              <a:gd name="connsiteX63290" fmla="*/ 3520572 w 6884782"/>
              <a:gd name="connsiteY63290" fmla="*/ 1168881 h 5973007"/>
              <a:gd name="connsiteX63291" fmla="*/ 3522493 w 6884782"/>
              <a:gd name="connsiteY63291" fmla="*/ 1168597 h 5973007"/>
              <a:gd name="connsiteX63292" fmla="*/ 3529962 w 6884782"/>
              <a:gd name="connsiteY63292" fmla="*/ 1169735 h 5973007"/>
              <a:gd name="connsiteX63293" fmla="*/ 3529962 w 6884782"/>
              <a:gd name="connsiteY63293" fmla="*/ 1167743 h 5973007"/>
              <a:gd name="connsiteX63294" fmla="*/ 3524627 w 6884782"/>
              <a:gd name="connsiteY63294" fmla="*/ 1165609 h 5973007"/>
              <a:gd name="connsiteX63295" fmla="*/ 3516731 w 6884782"/>
              <a:gd name="connsiteY63295" fmla="*/ 1160488 h 5973007"/>
              <a:gd name="connsiteX63296" fmla="*/ 3515023 w 6884782"/>
              <a:gd name="connsiteY63296" fmla="*/ 1159634 h 5973007"/>
              <a:gd name="connsiteX63297" fmla="*/ 3504139 w 6884782"/>
              <a:gd name="connsiteY63297" fmla="*/ 1153659 h 5973007"/>
              <a:gd name="connsiteX63298" fmla="*/ 3495815 w 6884782"/>
              <a:gd name="connsiteY63298" fmla="*/ 1127908 h 5973007"/>
              <a:gd name="connsiteX63299" fmla="*/ 3502645 w 6884782"/>
              <a:gd name="connsiteY63299" fmla="*/ 1111262 h 5973007"/>
              <a:gd name="connsiteX63300" fmla="*/ 3504992 w 6884782"/>
              <a:gd name="connsiteY63300" fmla="*/ 1102726 h 5973007"/>
              <a:gd name="connsiteX63301" fmla="*/ 3504352 w 6884782"/>
              <a:gd name="connsiteY63301" fmla="*/ 1103011 h 5973007"/>
              <a:gd name="connsiteX63302" fmla="*/ 3495815 w 6884782"/>
              <a:gd name="connsiteY63302" fmla="*/ 1096466 h 5973007"/>
              <a:gd name="connsiteX63303" fmla="*/ 3501364 w 6884782"/>
              <a:gd name="connsiteY63303" fmla="*/ 1096894 h 5973007"/>
              <a:gd name="connsiteX63304" fmla="*/ 3506060 w 6884782"/>
              <a:gd name="connsiteY63304" fmla="*/ 1098458 h 5973007"/>
              <a:gd name="connsiteX63305" fmla="*/ 3507767 w 6884782"/>
              <a:gd name="connsiteY63305" fmla="*/ 1092483 h 5973007"/>
              <a:gd name="connsiteX63306" fmla="*/ 3526548 w 6884782"/>
              <a:gd name="connsiteY63306" fmla="*/ 1081671 h 5973007"/>
              <a:gd name="connsiteX63307" fmla="*/ 3527615 w 6884782"/>
              <a:gd name="connsiteY63307" fmla="*/ 1081101 h 5973007"/>
              <a:gd name="connsiteX63308" fmla="*/ 3523133 w 6884782"/>
              <a:gd name="connsiteY63308" fmla="*/ 1077544 h 5973007"/>
              <a:gd name="connsiteX63309" fmla="*/ 3518865 w 6884782"/>
              <a:gd name="connsiteY63309" fmla="*/ 1082524 h 5973007"/>
              <a:gd name="connsiteX63310" fmla="*/ 3503498 w 6884782"/>
              <a:gd name="connsiteY63310" fmla="*/ 1075126 h 5973007"/>
              <a:gd name="connsiteX63311" fmla="*/ 3513956 w 6884782"/>
              <a:gd name="connsiteY63311" fmla="*/ 1064741 h 5973007"/>
              <a:gd name="connsiteX63312" fmla="*/ 3517584 w 6884782"/>
              <a:gd name="connsiteY63312" fmla="*/ 1068724 h 5973007"/>
              <a:gd name="connsiteX63313" fmla="*/ 3518011 w 6884782"/>
              <a:gd name="connsiteY63313" fmla="*/ 1068297 h 5973007"/>
              <a:gd name="connsiteX63314" fmla="*/ 3518651 w 6884782"/>
              <a:gd name="connsiteY63314" fmla="*/ 1065452 h 5973007"/>
              <a:gd name="connsiteX63315" fmla="*/ 3516303 w 6884782"/>
              <a:gd name="connsiteY63315" fmla="*/ 1063602 h 5973007"/>
              <a:gd name="connsiteX63316" fmla="*/ 3519505 w 6884782"/>
              <a:gd name="connsiteY63316" fmla="*/ 1061468 h 5973007"/>
              <a:gd name="connsiteX63317" fmla="*/ 3519932 w 6884782"/>
              <a:gd name="connsiteY63317" fmla="*/ 1061753 h 5973007"/>
              <a:gd name="connsiteX63318" fmla="*/ 3522919 w 6884782"/>
              <a:gd name="connsiteY63318" fmla="*/ 1057912 h 5973007"/>
              <a:gd name="connsiteX63319" fmla="*/ 3533804 w 6884782"/>
              <a:gd name="connsiteY63319" fmla="*/ 1052932 h 5973007"/>
              <a:gd name="connsiteX63320" fmla="*/ 3542554 w 6884782"/>
              <a:gd name="connsiteY63320" fmla="*/ 1057485 h 5973007"/>
              <a:gd name="connsiteX63321" fmla="*/ 3547036 w 6884782"/>
              <a:gd name="connsiteY63321" fmla="*/ 1071143 h 5973007"/>
              <a:gd name="connsiteX63322" fmla="*/ 3546609 w 6884782"/>
              <a:gd name="connsiteY63322" fmla="*/ 1071569 h 5973007"/>
              <a:gd name="connsiteX63323" fmla="*/ 3556000 w 6884782"/>
              <a:gd name="connsiteY63323" fmla="*/ 1075553 h 5973007"/>
              <a:gd name="connsiteX63324" fmla="*/ 3565177 w 6884782"/>
              <a:gd name="connsiteY63324" fmla="*/ 1077544 h 5973007"/>
              <a:gd name="connsiteX63325" fmla="*/ 3563470 w 6884782"/>
              <a:gd name="connsiteY63325" fmla="*/ 1072423 h 5973007"/>
              <a:gd name="connsiteX63326" fmla="*/ 3561975 w 6884782"/>
              <a:gd name="connsiteY63326" fmla="*/ 1063318 h 5973007"/>
              <a:gd name="connsiteX63327" fmla="*/ 3575634 w 6884782"/>
              <a:gd name="connsiteY63327" fmla="*/ 1049945 h 5973007"/>
              <a:gd name="connsiteX63328" fmla="*/ 3576915 w 6884782"/>
              <a:gd name="connsiteY63328" fmla="*/ 1050798 h 5973007"/>
              <a:gd name="connsiteX63329" fmla="*/ 3579262 w 6884782"/>
              <a:gd name="connsiteY63329" fmla="*/ 1051794 h 5973007"/>
              <a:gd name="connsiteX63330" fmla="*/ 3582891 w 6884782"/>
              <a:gd name="connsiteY63330" fmla="*/ 1050371 h 5973007"/>
              <a:gd name="connsiteX63331" fmla="*/ 3586305 w 6884782"/>
              <a:gd name="connsiteY63331" fmla="*/ 1052221 h 5973007"/>
              <a:gd name="connsiteX63332" fmla="*/ 3588226 w 6884782"/>
              <a:gd name="connsiteY63332" fmla="*/ 1058054 h 5973007"/>
              <a:gd name="connsiteX63333" fmla="*/ 3587373 w 6884782"/>
              <a:gd name="connsiteY63333" fmla="*/ 1059049 h 5973007"/>
              <a:gd name="connsiteX63334" fmla="*/ 3589080 w 6884782"/>
              <a:gd name="connsiteY63334" fmla="*/ 1066163 h 5973007"/>
              <a:gd name="connsiteX63335" fmla="*/ 3588440 w 6884782"/>
              <a:gd name="connsiteY63335" fmla="*/ 1070574 h 5973007"/>
              <a:gd name="connsiteX63336" fmla="*/ 3590360 w 6884782"/>
              <a:gd name="connsiteY63336" fmla="*/ 1063887 h 5973007"/>
              <a:gd name="connsiteX63337" fmla="*/ 3591214 w 6884782"/>
              <a:gd name="connsiteY63337" fmla="*/ 1061326 h 5973007"/>
              <a:gd name="connsiteX63338" fmla="*/ 3590147 w 6884782"/>
              <a:gd name="connsiteY63338" fmla="*/ 1061326 h 5973007"/>
              <a:gd name="connsiteX63339" fmla="*/ 3591428 w 6884782"/>
              <a:gd name="connsiteY63339" fmla="*/ 1060046 h 5973007"/>
              <a:gd name="connsiteX63340" fmla="*/ 3591641 w 6884782"/>
              <a:gd name="connsiteY63340" fmla="*/ 1059761 h 5973007"/>
              <a:gd name="connsiteX63341" fmla="*/ 3591641 w 6884782"/>
              <a:gd name="connsiteY63341" fmla="*/ 1058623 h 5973007"/>
              <a:gd name="connsiteX63342" fmla="*/ 3594842 w 6884782"/>
              <a:gd name="connsiteY63342" fmla="*/ 1054639 h 5973007"/>
              <a:gd name="connsiteX63343" fmla="*/ 3596123 w 6884782"/>
              <a:gd name="connsiteY63343" fmla="*/ 1054924 h 5973007"/>
              <a:gd name="connsiteX63344" fmla="*/ 3595909 w 6884782"/>
              <a:gd name="connsiteY63344" fmla="*/ 1048237 h 5973007"/>
              <a:gd name="connsiteX63345" fmla="*/ 3596336 w 6884782"/>
              <a:gd name="connsiteY63345" fmla="*/ 1046388 h 5973007"/>
              <a:gd name="connsiteX63346" fmla="*/ 3595696 w 6884782"/>
              <a:gd name="connsiteY63346" fmla="*/ 1045819 h 5973007"/>
              <a:gd name="connsiteX63347" fmla="*/ 3596549 w 6884782"/>
              <a:gd name="connsiteY63347" fmla="*/ 1044681 h 5973007"/>
              <a:gd name="connsiteX63348" fmla="*/ 3597616 w 6884782"/>
              <a:gd name="connsiteY63348" fmla="*/ 1038705 h 5973007"/>
              <a:gd name="connsiteX63349" fmla="*/ 3602525 w 6884782"/>
              <a:gd name="connsiteY63349" fmla="*/ 1034153 h 5973007"/>
              <a:gd name="connsiteX63350" fmla="*/ 4680082 w 6884782"/>
              <a:gd name="connsiteY63350" fmla="*/ 1033299 h 5973007"/>
              <a:gd name="connsiteX63351" fmla="*/ 4691606 w 6884782"/>
              <a:gd name="connsiteY63351" fmla="*/ 1046672 h 5973007"/>
              <a:gd name="connsiteX63352" fmla="*/ 4693954 w 6884782"/>
              <a:gd name="connsiteY63352" fmla="*/ 1055067 h 5973007"/>
              <a:gd name="connsiteX63353" fmla="*/ 4694594 w 6884782"/>
              <a:gd name="connsiteY63353" fmla="*/ 1070004 h 5973007"/>
              <a:gd name="connsiteX63354" fmla="*/ 4691820 w 6884782"/>
              <a:gd name="connsiteY63354" fmla="*/ 1072850 h 5973007"/>
              <a:gd name="connsiteX63355" fmla="*/ 4672185 w 6884782"/>
              <a:gd name="connsiteY63355" fmla="*/ 1060330 h 5973007"/>
              <a:gd name="connsiteX63356" fmla="*/ 4673039 w 6884782"/>
              <a:gd name="connsiteY63356" fmla="*/ 1034437 h 5973007"/>
              <a:gd name="connsiteX63357" fmla="*/ 4680082 w 6884782"/>
              <a:gd name="connsiteY63357" fmla="*/ 1033299 h 5973007"/>
              <a:gd name="connsiteX63358" fmla="*/ 3612129 w 6884782"/>
              <a:gd name="connsiteY63358" fmla="*/ 1032161 h 5973007"/>
              <a:gd name="connsiteX63359" fmla="*/ 3617678 w 6884782"/>
              <a:gd name="connsiteY63359" fmla="*/ 1032872 h 5973007"/>
              <a:gd name="connsiteX63360" fmla="*/ 3616397 w 6884782"/>
              <a:gd name="connsiteY63360" fmla="*/ 1032872 h 5973007"/>
              <a:gd name="connsiteX63361" fmla="*/ 3616184 w 6884782"/>
              <a:gd name="connsiteY63361" fmla="*/ 1035291 h 5973007"/>
              <a:gd name="connsiteX63362" fmla="*/ 3617251 w 6884782"/>
              <a:gd name="connsiteY63362" fmla="*/ 1035291 h 5973007"/>
              <a:gd name="connsiteX63363" fmla="*/ 3615971 w 6884782"/>
              <a:gd name="connsiteY63363" fmla="*/ 1037709 h 5973007"/>
              <a:gd name="connsiteX63364" fmla="*/ 3611916 w 6884782"/>
              <a:gd name="connsiteY63364" fmla="*/ 1040697 h 5973007"/>
              <a:gd name="connsiteX63365" fmla="*/ 3613196 w 6884782"/>
              <a:gd name="connsiteY63365" fmla="*/ 1043116 h 5973007"/>
              <a:gd name="connsiteX63366" fmla="*/ 3606794 w 6884782"/>
              <a:gd name="connsiteY63366" fmla="*/ 1043827 h 5973007"/>
              <a:gd name="connsiteX63367" fmla="*/ 3607007 w 6884782"/>
              <a:gd name="connsiteY63367" fmla="*/ 1039844 h 5973007"/>
              <a:gd name="connsiteX63368" fmla="*/ 3606580 w 6884782"/>
              <a:gd name="connsiteY63368" fmla="*/ 1037709 h 5973007"/>
              <a:gd name="connsiteX63369" fmla="*/ 3608074 w 6884782"/>
              <a:gd name="connsiteY63369" fmla="*/ 1035148 h 5973007"/>
              <a:gd name="connsiteX63370" fmla="*/ 3612129 w 6884782"/>
              <a:gd name="connsiteY63370" fmla="*/ 1032161 h 5973007"/>
              <a:gd name="connsiteX63371" fmla="*/ 1041752 w 6884782"/>
              <a:gd name="connsiteY63371" fmla="*/ 1029618 h 5973007"/>
              <a:gd name="connsiteX63372" fmla="*/ 1042475 w 6884782"/>
              <a:gd name="connsiteY63372" fmla="*/ 1037208 h 5973007"/>
              <a:gd name="connsiteX63373" fmla="*/ 1042475 w 6884782"/>
              <a:gd name="connsiteY63373" fmla="*/ 1041390 h 5973007"/>
              <a:gd name="connsiteX63374" fmla="*/ 1040720 w 6884782"/>
              <a:gd name="connsiteY63374" fmla="*/ 1042785 h 5973007"/>
              <a:gd name="connsiteX63375" fmla="*/ 1039790 w 6884782"/>
              <a:gd name="connsiteY63375" fmla="*/ 1042785 h 5973007"/>
              <a:gd name="connsiteX63376" fmla="*/ 1039067 w 6884782"/>
              <a:gd name="connsiteY63376" fmla="*/ 1040925 h 5973007"/>
              <a:gd name="connsiteX63377" fmla="*/ 1039997 w 6884782"/>
              <a:gd name="connsiteY63377" fmla="*/ 1032716 h 5973007"/>
              <a:gd name="connsiteX63378" fmla="*/ 1039997 w 6884782"/>
              <a:gd name="connsiteY63378" fmla="*/ 1031012 h 5973007"/>
              <a:gd name="connsiteX63379" fmla="*/ 1041752 w 6884782"/>
              <a:gd name="connsiteY63379" fmla="*/ 1029618 h 5973007"/>
              <a:gd name="connsiteX63380" fmla="*/ 3945918 w 6884782"/>
              <a:gd name="connsiteY63380" fmla="*/ 1029173 h 5973007"/>
              <a:gd name="connsiteX63381" fmla="*/ 3948905 w 6884782"/>
              <a:gd name="connsiteY63381" fmla="*/ 1029743 h 5973007"/>
              <a:gd name="connsiteX63382" fmla="*/ 3948479 w 6884782"/>
              <a:gd name="connsiteY63382" fmla="*/ 1035860 h 5973007"/>
              <a:gd name="connsiteX63383" fmla="*/ 3938874 w 6884782"/>
              <a:gd name="connsiteY63383" fmla="*/ 1040128 h 5973007"/>
              <a:gd name="connsiteX63384" fmla="*/ 3938234 w 6884782"/>
              <a:gd name="connsiteY63384" fmla="*/ 1035291 h 5973007"/>
              <a:gd name="connsiteX63385" fmla="*/ 3945918 w 6884782"/>
              <a:gd name="connsiteY63385" fmla="*/ 1029173 h 5973007"/>
              <a:gd name="connsiteX63386" fmla="*/ 1258384 w 6884782"/>
              <a:gd name="connsiteY63386" fmla="*/ 1028379 h 5973007"/>
              <a:gd name="connsiteX63387" fmla="*/ 1260036 w 6884782"/>
              <a:gd name="connsiteY63387" fmla="*/ 1028379 h 5973007"/>
              <a:gd name="connsiteX63388" fmla="*/ 1260759 w 6884782"/>
              <a:gd name="connsiteY63388" fmla="*/ 1029463 h 5973007"/>
              <a:gd name="connsiteX63389" fmla="*/ 1261378 w 6884782"/>
              <a:gd name="connsiteY63389" fmla="*/ 1028998 h 5973007"/>
              <a:gd name="connsiteX63390" fmla="*/ 1264063 w 6884782"/>
              <a:gd name="connsiteY63390" fmla="*/ 1028688 h 5973007"/>
              <a:gd name="connsiteX63391" fmla="*/ 1265199 w 6884782"/>
              <a:gd name="connsiteY63391" fmla="*/ 1032871 h 5973007"/>
              <a:gd name="connsiteX63392" fmla="*/ 1263443 w 6884782"/>
              <a:gd name="connsiteY63392" fmla="*/ 1033955 h 5973007"/>
              <a:gd name="connsiteX63393" fmla="*/ 1261998 w 6884782"/>
              <a:gd name="connsiteY63393" fmla="*/ 1033645 h 5973007"/>
              <a:gd name="connsiteX63394" fmla="*/ 1261481 w 6884782"/>
              <a:gd name="connsiteY63394" fmla="*/ 1035659 h 5973007"/>
              <a:gd name="connsiteX63395" fmla="*/ 1254357 w 6884782"/>
              <a:gd name="connsiteY63395" fmla="*/ 1038447 h 5973007"/>
              <a:gd name="connsiteX63396" fmla="*/ 1253531 w 6884782"/>
              <a:gd name="connsiteY63396" fmla="*/ 1036898 h 5973007"/>
              <a:gd name="connsiteX63397" fmla="*/ 1253118 w 6884782"/>
              <a:gd name="connsiteY63397" fmla="*/ 1034885 h 5973007"/>
              <a:gd name="connsiteX63398" fmla="*/ 1254770 w 6884782"/>
              <a:gd name="connsiteY63398" fmla="*/ 1030238 h 5973007"/>
              <a:gd name="connsiteX63399" fmla="*/ 1258384 w 6884782"/>
              <a:gd name="connsiteY63399" fmla="*/ 1028379 h 5973007"/>
              <a:gd name="connsiteX63400" fmla="*/ 1219056 w 6884782"/>
              <a:gd name="connsiteY63400" fmla="*/ 1026675 h 5973007"/>
              <a:gd name="connsiteX63401" fmla="*/ 1230195 w 6884782"/>
              <a:gd name="connsiteY63401" fmla="*/ 1034110 h 5973007"/>
              <a:gd name="connsiteX63402" fmla="*/ 1218217 w 6884782"/>
              <a:gd name="connsiteY63402" fmla="*/ 1033026 h 5973007"/>
              <a:gd name="connsiteX63403" fmla="*/ 1205826 w 6884782"/>
              <a:gd name="connsiteY63403" fmla="*/ 1027605 h 5973007"/>
              <a:gd name="connsiteX63404" fmla="*/ 1219056 w 6884782"/>
              <a:gd name="connsiteY63404" fmla="*/ 1026675 h 5973007"/>
              <a:gd name="connsiteX63405" fmla="*/ 1524888 w 6884782"/>
              <a:gd name="connsiteY63405" fmla="*/ 1024971 h 5973007"/>
              <a:gd name="connsiteX63406" fmla="*/ 1518693 w 6884782"/>
              <a:gd name="connsiteY63406" fmla="*/ 1026830 h 5973007"/>
              <a:gd name="connsiteX63407" fmla="*/ 1517763 w 6884782"/>
              <a:gd name="connsiteY63407" fmla="*/ 1026830 h 5973007"/>
              <a:gd name="connsiteX63408" fmla="*/ 1518383 w 6884782"/>
              <a:gd name="connsiteY63408" fmla="*/ 1028534 h 5973007"/>
              <a:gd name="connsiteX63409" fmla="*/ 1523030 w 6884782"/>
              <a:gd name="connsiteY63409" fmla="*/ 1028844 h 5973007"/>
              <a:gd name="connsiteX63410" fmla="*/ 1525817 w 6884782"/>
              <a:gd name="connsiteY63410" fmla="*/ 1028534 h 5973007"/>
              <a:gd name="connsiteX63411" fmla="*/ 1525817 w 6884782"/>
              <a:gd name="connsiteY63411" fmla="*/ 1028069 h 5973007"/>
              <a:gd name="connsiteX63412" fmla="*/ 1524888 w 6884782"/>
              <a:gd name="connsiteY63412" fmla="*/ 1024971 h 5973007"/>
              <a:gd name="connsiteX63413" fmla="*/ 3812103 w 6884782"/>
              <a:gd name="connsiteY63413" fmla="*/ 1022771 h 5973007"/>
              <a:gd name="connsiteX63414" fmla="*/ 3817012 w 6884782"/>
              <a:gd name="connsiteY63414" fmla="*/ 1028746 h 5973007"/>
              <a:gd name="connsiteX63415" fmla="*/ 3806128 w 6884782"/>
              <a:gd name="connsiteY63415" fmla="*/ 1036571 h 5973007"/>
              <a:gd name="connsiteX63416" fmla="*/ 3802499 w 6884782"/>
              <a:gd name="connsiteY63416" fmla="*/ 1032872 h 5973007"/>
              <a:gd name="connsiteX63417" fmla="*/ 3812103 w 6884782"/>
              <a:gd name="connsiteY63417" fmla="*/ 1022771 h 5973007"/>
              <a:gd name="connsiteX63418" fmla="*/ 1125803 w 6884782"/>
              <a:gd name="connsiteY63418" fmla="*/ 1022493 h 5973007"/>
              <a:gd name="connsiteX63419" fmla="*/ 1129313 w 6884782"/>
              <a:gd name="connsiteY63419" fmla="*/ 1024971 h 5973007"/>
              <a:gd name="connsiteX63420" fmla="*/ 1119917 w 6884782"/>
              <a:gd name="connsiteY63420" fmla="*/ 1033026 h 5973007"/>
              <a:gd name="connsiteX63421" fmla="*/ 1116303 w 6884782"/>
              <a:gd name="connsiteY63421" fmla="*/ 1031167 h 5973007"/>
              <a:gd name="connsiteX63422" fmla="*/ 1122808 w 6884782"/>
              <a:gd name="connsiteY63422" fmla="*/ 1023422 h 5973007"/>
              <a:gd name="connsiteX63423" fmla="*/ 1125803 w 6884782"/>
              <a:gd name="connsiteY63423" fmla="*/ 1022493 h 5973007"/>
              <a:gd name="connsiteX63424" fmla="*/ 1234738 w 6884782"/>
              <a:gd name="connsiteY63424" fmla="*/ 1021873 h 5973007"/>
              <a:gd name="connsiteX63425" fmla="*/ 1232466 w 6884782"/>
              <a:gd name="connsiteY63425" fmla="*/ 1027914 h 5973007"/>
              <a:gd name="connsiteX63426" fmla="*/ 1230711 w 6884782"/>
              <a:gd name="connsiteY63426" fmla="*/ 1027450 h 5973007"/>
              <a:gd name="connsiteX63427" fmla="*/ 1229162 w 6884782"/>
              <a:gd name="connsiteY63427" fmla="*/ 1025126 h 5973007"/>
              <a:gd name="connsiteX63428" fmla="*/ 1229575 w 6884782"/>
              <a:gd name="connsiteY63428" fmla="*/ 1022493 h 5973007"/>
              <a:gd name="connsiteX63429" fmla="*/ 1234738 w 6884782"/>
              <a:gd name="connsiteY63429" fmla="*/ 1021873 h 5973007"/>
              <a:gd name="connsiteX63430" fmla="*/ 3650331 w 6884782"/>
              <a:gd name="connsiteY63430" fmla="*/ 1021491 h 5973007"/>
              <a:gd name="connsiteX63431" fmla="*/ 3652679 w 6884782"/>
              <a:gd name="connsiteY63431" fmla="*/ 1021491 h 5973007"/>
              <a:gd name="connsiteX63432" fmla="*/ 3653533 w 6884782"/>
              <a:gd name="connsiteY63432" fmla="*/ 1022344 h 5973007"/>
              <a:gd name="connsiteX63433" fmla="*/ 3653746 w 6884782"/>
              <a:gd name="connsiteY63433" fmla="*/ 1022487 h 5973007"/>
              <a:gd name="connsiteX63434" fmla="*/ 3653959 w 6884782"/>
              <a:gd name="connsiteY63434" fmla="*/ 1025047 h 5973007"/>
              <a:gd name="connsiteX63435" fmla="*/ 3652679 w 6884782"/>
              <a:gd name="connsiteY63435" fmla="*/ 1027181 h 5973007"/>
              <a:gd name="connsiteX63436" fmla="*/ 3649264 w 6884782"/>
              <a:gd name="connsiteY63436" fmla="*/ 1023767 h 5973007"/>
              <a:gd name="connsiteX63437" fmla="*/ 3650971 w 6884782"/>
              <a:gd name="connsiteY63437" fmla="*/ 1022629 h 5973007"/>
              <a:gd name="connsiteX63438" fmla="*/ 3650331 w 6884782"/>
              <a:gd name="connsiteY63438" fmla="*/ 1021491 h 5973007"/>
              <a:gd name="connsiteX63439" fmla="*/ 4736638 w 6884782"/>
              <a:gd name="connsiteY63439" fmla="*/ 1020210 h 5973007"/>
              <a:gd name="connsiteX63440" fmla="*/ 4738985 w 6884782"/>
              <a:gd name="connsiteY63440" fmla="*/ 1021917 h 5973007"/>
              <a:gd name="connsiteX63441" fmla="*/ 4737918 w 6884782"/>
              <a:gd name="connsiteY63441" fmla="*/ 1028462 h 5973007"/>
              <a:gd name="connsiteX63442" fmla="*/ 4735357 w 6884782"/>
              <a:gd name="connsiteY63442" fmla="*/ 1029743 h 5973007"/>
              <a:gd name="connsiteX63443" fmla="*/ 4734504 w 6884782"/>
              <a:gd name="connsiteY63443" fmla="*/ 1029173 h 5973007"/>
              <a:gd name="connsiteX63444" fmla="*/ 4730662 w 6884782"/>
              <a:gd name="connsiteY63444" fmla="*/ 1026755 h 5973007"/>
              <a:gd name="connsiteX63445" fmla="*/ 4732156 w 6884782"/>
              <a:gd name="connsiteY63445" fmla="*/ 1020495 h 5973007"/>
              <a:gd name="connsiteX63446" fmla="*/ 4736638 w 6884782"/>
              <a:gd name="connsiteY63446" fmla="*/ 1020210 h 5973007"/>
              <a:gd name="connsiteX63447" fmla="*/ 1435468 w 6884782"/>
              <a:gd name="connsiteY63447" fmla="*/ 1020015 h 5973007"/>
              <a:gd name="connsiteX63448" fmla="*/ 1437740 w 6884782"/>
              <a:gd name="connsiteY63448" fmla="*/ 1026675 h 5973007"/>
              <a:gd name="connsiteX63449" fmla="*/ 1433713 w 6884782"/>
              <a:gd name="connsiteY63449" fmla="*/ 1024042 h 5973007"/>
              <a:gd name="connsiteX63450" fmla="*/ 1435468 w 6884782"/>
              <a:gd name="connsiteY63450" fmla="*/ 1020015 h 5973007"/>
              <a:gd name="connsiteX63451" fmla="*/ 4063085 w 6884782"/>
              <a:gd name="connsiteY63451" fmla="*/ 1019072 h 5973007"/>
              <a:gd name="connsiteX63452" fmla="*/ 4067354 w 6884782"/>
              <a:gd name="connsiteY63452" fmla="*/ 1023056 h 5973007"/>
              <a:gd name="connsiteX63453" fmla="*/ 4062658 w 6884782"/>
              <a:gd name="connsiteY63453" fmla="*/ 1040839 h 5973007"/>
              <a:gd name="connsiteX63454" fmla="*/ 4054762 w 6884782"/>
              <a:gd name="connsiteY63454" fmla="*/ 1034295 h 5973007"/>
              <a:gd name="connsiteX63455" fmla="*/ 4055188 w 6884782"/>
              <a:gd name="connsiteY63455" fmla="*/ 1027181 h 5973007"/>
              <a:gd name="connsiteX63456" fmla="*/ 4063085 w 6884782"/>
              <a:gd name="connsiteY63456" fmla="*/ 1019072 h 5973007"/>
              <a:gd name="connsiteX63457" fmla="*/ 3427308 w 6884782"/>
              <a:gd name="connsiteY63457" fmla="*/ 1018645 h 5973007"/>
              <a:gd name="connsiteX63458" fmla="*/ 3429228 w 6884782"/>
              <a:gd name="connsiteY63458" fmla="*/ 1021206 h 5973007"/>
              <a:gd name="connsiteX63459" fmla="*/ 3425173 w 6884782"/>
              <a:gd name="connsiteY63459" fmla="*/ 1031307 h 5973007"/>
              <a:gd name="connsiteX63460" fmla="*/ 3427308 w 6884782"/>
              <a:gd name="connsiteY63460" fmla="*/ 1018645 h 5973007"/>
              <a:gd name="connsiteX63461" fmla="*/ 3606580 w 6884782"/>
              <a:gd name="connsiteY63461" fmla="*/ 1018503 h 5973007"/>
              <a:gd name="connsiteX63462" fmla="*/ 3633471 w 6884782"/>
              <a:gd name="connsiteY63462" fmla="*/ 1025047 h 5973007"/>
              <a:gd name="connsiteX63463" fmla="*/ 3636459 w 6884782"/>
              <a:gd name="connsiteY63463" fmla="*/ 1032303 h 5973007"/>
              <a:gd name="connsiteX63464" fmla="*/ 3606580 w 6884782"/>
              <a:gd name="connsiteY63464" fmla="*/ 1018503 h 5973007"/>
              <a:gd name="connsiteX63465" fmla="*/ 4863409 w 6884782"/>
              <a:gd name="connsiteY63465" fmla="*/ 1018219 h 5973007"/>
              <a:gd name="connsiteX63466" fmla="*/ 4865970 w 6884782"/>
              <a:gd name="connsiteY63466" fmla="*/ 1018503 h 5973007"/>
              <a:gd name="connsiteX63467" fmla="*/ 4865544 w 6884782"/>
              <a:gd name="connsiteY63467" fmla="*/ 1022060 h 5973007"/>
              <a:gd name="connsiteX63468" fmla="*/ 4855086 w 6884782"/>
              <a:gd name="connsiteY63468" fmla="*/ 1026612 h 5973007"/>
              <a:gd name="connsiteX63469" fmla="*/ 4863409 w 6884782"/>
              <a:gd name="connsiteY63469" fmla="*/ 1018219 h 5973007"/>
              <a:gd name="connsiteX63470" fmla="*/ 1299273 w 6884782"/>
              <a:gd name="connsiteY63470" fmla="*/ 1018156 h 5973007"/>
              <a:gd name="connsiteX63471" fmla="*/ 1304642 w 6884782"/>
              <a:gd name="connsiteY63471" fmla="*/ 1019550 h 5973007"/>
              <a:gd name="connsiteX63472" fmla="*/ 1305469 w 6884782"/>
              <a:gd name="connsiteY63472" fmla="*/ 1022028 h 5973007"/>
              <a:gd name="connsiteX63473" fmla="*/ 1302681 w 6884782"/>
              <a:gd name="connsiteY63473" fmla="*/ 1022028 h 5973007"/>
              <a:gd name="connsiteX63474" fmla="*/ 1301855 w 6884782"/>
              <a:gd name="connsiteY63474" fmla="*/ 1020479 h 5973007"/>
              <a:gd name="connsiteX63475" fmla="*/ 1299273 w 6884782"/>
              <a:gd name="connsiteY63475" fmla="*/ 1019860 h 5973007"/>
              <a:gd name="connsiteX63476" fmla="*/ 1299273 w 6884782"/>
              <a:gd name="connsiteY63476" fmla="*/ 1018156 h 5973007"/>
              <a:gd name="connsiteX63477" fmla="*/ 3767499 w 6884782"/>
              <a:gd name="connsiteY63477" fmla="*/ 1016938 h 5973007"/>
              <a:gd name="connsiteX63478" fmla="*/ 3773261 w 6884782"/>
              <a:gd name="connsiteY63478" fmla="*/ 1018076 h 5973007"/>
              <a:gd name="connsiteX63479" fmla="*/ 3760029 w 6884782"/>
              <a:gd name="connsiteY63479" fmla="*/ 1031592 h 5973007"/>
              <a:gd name="connsiteX63480" fmla="*/ 3767499 w 6884782"/>
              <a:gd name="connsiteY63480" fmla="*/ 1016938 h 5973007"/>
              <a:gd name="connsiteX63481" fmla="*/ 3409594 w 6884782"/>
              <a:gd name="connsiteY63481" fmla="*/ 1016938 h 5973007"/>
              <a:gd name="connsiteX63482" fmla="*/ 3410874 w 6884782"/>
              <a:gd name="connsiteY63482" fmla="*/ 1027181 h 5973007"/>
              <a:gd name="connsiteX63483" fmla="*/ 3403618 w 6884782"/>
              <a:gd name="connsiteY63483" fmla="*/ 1027466 h 5973007"/>
              <a:gd name="connsiteX63484" fmla="*/ 3409594 w 6884782"/>
              <a:gd name="connsiteY63484" fmla="*/ 1016938 h 5973007"/>
              <a:gd name="connsiteX63485" fmla="*/ 3293066 w 6884782"/>
              <a:gd name="connsiteY63485" fmla="*/ 1016511 h 5973007"/>
              <a:gd name="connsiteX63486" fmla="*/ 3314195 w 6884782"/>
              <a:gd name="connsiteY63486" fmla="*/ 1032161 h 5973007"/>
              <a:gd name="connsiteX63487" fmla="*/ 3313342 w 6884782"/>
              <a:gd name="connsiteY63487" fmla="*/ 1039701 h 5973007"/>
              <a:gd name="connsiteX63488" fmla="*/ 3293066 w 6884782"/>
              <a:gd name="connsiteY63488" fmla="*/ 1016511 h 5973007"/>
              <a:gd name="connsiteX63489" fmla="*/ 3362428 w 6884782"/>
              <a:gd name="connsiteY63489" fmla="*/ 1015942 h 5973007"/>
              <a:gd name="connsiteX63490" fmla="*/ 3367123 w 6884782"/>
              <a:gd name="connsiteY63490" fmla="*/ 1017649 h 5973007"/>
              <a:gd name="connsiteX63491" fmla="*/ 3366910 w 6884782"/>
              <a:gd name="connsiteY63491" fmla="*/ 1021491 h 5973007"/>
              <a:gd name="connsiteX63492" fmla="*/ 3360507 w 6884782"/>
              <a:gd name="connsiteY63492" fmla="*/ 1021206 h 5973007"/>
              <a:gd name="connsiteX63493" fmla="*/ 3362428 w 6884782"/>
              <a:gd name="connsiteY63493" fmla="*/ 1015942 h 5973007"/>
              <a:gd name="connsiteX63494" fmla="*/ 1107836 w 6884782"/>
              <a:gd name="connsiteY63494" fmla="*/ 1015832 h 5973007"/>
              <a:gd name="connsiteX63495" fmla="*/ 1117336 w 6884782"/>
              <a:gd name="connsiteY63495" fmla="*/ 1015987 h 5973007"/>
              <a:gd name="connsiteX63496" fmla="*/ 1118472 w 6884782"/>
              <a:gd name="connsiteY63496" fmla="*/ 1020479 h 5973007"/>
              <a:gd name="connsiteX63497" fmla="*/ 1118162 w 6884782"/>
              <a:gd name="connsiteY63497" fmla="*/ 1020789 h 5973007"/>
              <a:gd name="connsiteX63498" fmla="*/ 1113825 w 6884782"/>
              <a:gd name="connsiteY63498" fmla="*/ 1029153 h 5973007"/>
              <a:gd name="connsiteX63499" fmla="*/ 1108559 w 6884782"/>
              <a:gd name="connsiteY63499" fmla="*/ 1030392 h 5973007"/>
              <a:gd name="connsiteX63500" fmla="*/ 1107733 w 6884782"/>
              <a:gd name="connsiteY63500" fmla="*/ 1027759 h 5973007"/>
              <a:gd name="connsiteX63501" fmla="*/ 1109901 w 6884782"/>
              <a:gd name="connsiteY63501" fmla="*/ 1024042 h 5973007"/>
              <a:gd name="connsiteX63502" fmla="*/ 1108043 w 6884782"/>
              <a:gd name="connsiteY63502" fmla="*/ 1024042 h 5973007"/>
              <a:gd name="connsiteX63503" fmla="*/ 1103912 w 6884782"/>
              <a:gd name="connsiteY63503" fmla="*/ 1021873 h 5973007"/>
              <a:gd name="connsiteX63504" fmla="*/ 1107836 w 6884782"/>
              <a:gd name="connsiteY63504" fmla="*/ 1015832 h 5973007"/>
              <a:gd name="connsiteX63505" fmla="*/ 1233396 w 6884782"/>
              <a:gd name="connsiteY63505" fmla="*/ 1014748 h 5973007"/>
              <a:gd name="connsiteX63506" fmla="*/ 1238662 w 6884782"/>
              <a:gd name="connsiteY63506" fmla="*/ 1016297 h 5973007"/>
              <a:gd name="connsiteX63507" fmla="*/ 1233396 w 6884782"/>
              <a:gd name="connsiteY63507" fmla="*/ 1014748 h 5973007"/>
              <a:gd name="connsiteX63508" fmla="*/ 1309083 w 6884782"/>
              <a:gd name="connsiteY63508" fmla="*/ 1013509 h 5973007"/>
              <a:gd name="connsiteX63509" fmla="*/ 1310735 w 6884782"/>
              <a:gd name="connsiteY63509" fmla="*/ 1015213 h 5973007"/>
              <a:gd name="connsiteX63510" fmla="*/ 1312387 w 6884782"/>
              <a:gd name="connsiteY63510" fmla="*/ 1015987 h 5973007"/>
              <a:gd name="connsiteX63511" fmla="*/ 1312284 w 6884782"/>
              <a:gd name="connsiteY63511" fmla="*/ 1018465 h 5973007"/>
              <a:gd name="connsiteX63512" fmla="*/ 1310631 w 6884782"/>
              <a:gd name="connsiteY63512" fmla="*/ 1017691 h 5973007"/>
              <a:gd name="connsiteX63513" fmla="*/ 1306398 w 6884782"/>
              <a:gd name="connsiteY63513" fmla="*/ 1014438 h 5973007"/>
              <a:gd name="connsiteX63514" fmla="*/ 1309083 w 6884782"/>
              <a:gd name="connsiteY63514" fmla="*/ 1013509 h 5973007"/>
              <a:gd name="connsiteX63515" fmla="*/ 3524414 w 6884782"/>
              <a:gd name="connsiteY63515" fmla="*/ 1013097 h 5973007"/>
              <a:gd name="connsiteX63516" fmla="*/ 3527615 w 6884782"/>
              <a:gd name="connsiteY63516" fmla="*/ 1019641 h 5973007"/>
              <a:gd name="connsiteX63517" fmla="*/ 3525481 w 6884782"/>
              <a:gd name="connsiteY63517" fmla="*/ 1031592 h 5973007"/>
              <a:gd name="connsiteX63518" fmla="*/ 3523987 w 6884782"/>
              <a:gd name="connsiteY63518" fmla="*/ 1033583 h 5973007"/>
              <a:gd name="connsiteX63519" fmla="*/ 3523774 w 6884782"/>
              <a:gd name="connsiteY63519" fmla="*/ 1034580 h 5973007"/>
              <a:gd name="connsiteX63520" fmla="*/ 3522493 w 6884782"/>
              <a:gd name="connsiteY63520" fmla="*/ 1035860 h 5973007"/>
              <a:gd name="connsiteX63521" fmla="*/ 3519078 w 6884782"/>
              <a:gd name="connsiteY63521" fmla="*/ 1040982 h 5973007"/>
              <a:gd name="connsiteX63522" fmla="*/ 3508194 w 6884782"/>
              <a:gd name="connsiteY63522" fmla="*/ 1037140 h 5973007"/>
              <a:gd name="connsiteX63523" fmla="*/ 3524414 w 6884782"/>
              <a:gd name="connsiteY63523" fmla="*/ 1013097 h 5973007"/>
              <a:gd name="connsiteX63524" fmla="*/ 1531806 w 6884782"/>
              <a:gd name="connsiteY63524" fmla="*/ 1010101 h 5973007"/>
              <a:gd name="connsiteX63525" fmla="*/ 1530877 w 6884782"/>
              <a:gd name="connsiteY63525" fmla="*/ 1010411 h 5973007"/>
              <a:gd name="connsiteX63526" fmla="*/ 1530980 w 6884782"/>
              <a:gd name="connsiteY63526" fmla="*/ 1010720 h 5973007"/>
              <a:gd name="connsiteX63527" fmla="*/ 1531393 w 6884782"/>
              <a:gd name="connsiteY63527" fmla="*/ 1010411 h 5973007"/>
              <a:gd name="connsiteX63528" fmla="*/ 1441870 w 6884782"/>
              <a:gd name="connsiteY63528" fmla="*/ 1009946 h 5973007"/>
              <a:gd name="connsiteX63529" fmla="*/ 1473157 w 6884782"/>
              <a:gd name="connsiteY63529" fmla="*/ 1038138 h 5973007"/>
              <a:gd name="connsiteX63530" fmla="*/ 1472124 w 6884782"/>
              <a:gd name="connsiteY63530" fmla="*/ 1039067 h 5973007"/>
              <a:gd name="connsiteX63531" fmla="*/ 1474499 w 6884782"/>
              <a:gd name="connsiteY63531" fmla="*/ 1038757 h 5973007"/>
              <a:gd name="connsiteX63532" fmla="*/ 1478113 w 6884782"/>
              <a:gd name="connsiteY63532" fmla="*/ 1039531 h 5973007"/>
              <a:gd name="connsiteX63533" fmla="*/ 1479662 w 6884782"/>
              <a:gd name="connsiteY63533" fmla="*/ 1041235 h 5973007"/>
              <a:gd name="connsiteX63534" fmla="*/ 1476771 w 6884782"/>
              <a:gd name="connsiteY63534" fmla="*/ 1044178 h 5973007"/>
              <a:gd name="connsiteX63535" fmla="*/ 1468613 w 6884782"/>
              <a:gd name="connsiteY63535" fmla="*/ 1041855 h 5973007"/>
              <a:gd name="connsiteX63536" fmla="*/ 1469440 w 6884782"/>
              <a:gd name="connsiteY63536" fmla="*/ 1040925 h 5973007"/>
              <a:gd name="connsiteX63537" fmla="*/ 1464690 w 6884782"/>
              <a:gd name="connsiteY63537" fmla="*/ 1043559 h 5973007"/>
              <a:gd name="connsiteX63538" fmla="*/ 1461902 w 6884782"/>
              <a:gd name="connsiteY63538" fmla="*/ 1039531 h 5973007"/>
              <a:gd name="connsiteX63539" fmla="*/ 1461179 w 6884782"/>
              <a:gd name="connsiteY63539" fmla="*/ 1039996 h 5973007"/>
              <a:gd name="connsiteX63540" fmla="*/ 1458494 w 6884782"/>
              <a:gd name="connsiteY63540" fmla="*/ 1039377 h 5973007"/>
              <a:gd name="connsiteX63541" fmla="*/ 1459940 w 6884782"/>
              <a:gd name="connsiteY63541" fmla="*/ 1037208 h 5973007"/>
              <a:gd name="connsiteX63542" fmla="*/ 1460353 w 6884782"/>
              <a:gd name="connsiteY63542" fmla="*/ 1037208 h 5973007"/>
              <a:gd name="connsiteX63543" fmla="*/ 1453435 w 6884782"/>
              <a:gd name="connsiteY63543" fmla="*/ 1027140 h 5973007"/>
              <a:gd name="connsiteX63544" fmla="*/ 1453022 w 6884782"/>
              <a:gd name="connsiteY63544" fmla="*/ 1027295 h 5973007"/>
              <a:gd name="connsiteX63545" fmla="*/ 1446517 w 6884782"/>
              <a:gd name="connsiteY63545" fmla="*/ 1021253 h 5973007"/>
              <a:gd name="connsiteX63546" fmla="*/ 1448582 w 6884782"/>
              <a:gd name="connsiteY63546" fmla="*/ 1020015 h 5973007"/>
              <a:gd name="connsiteX63547" fmla="*/ 4821365 w 6884782"/>
              <a:gd name="connsiteY63547" fmla="*/ 1009825 h 5973007"/>
              <a:gd name="connsiteX63548" fmla="*/ 4825207 w 6884782"/>
              <a:gd name="connsiteY63548" fmla="*/ 1018645 h 5973007"/>
              <a:gd name="connsiteX63549" fmla="*/ 4811761 w 6884782"/>
              <a:gd name="connsiteY63549" fmla="*/ 1047811 h 5973007"/>
              <a:gd name="connsiteX63550" fmla="*/ 4821365 w 6884782"/>
              <a:gd name="connsiteY63550" fmla="*/ 1009825 h 5973007"/>
              <a:gd name="connsiteX63551" fmla="*/ 3869727 w 6884782"/>
              <a:gd name="connsiteY63551" fmla="*/ 1009398 h 5973007"/>
              <a:gd name="connsiteX63552" fmla="*/ 3875489 w 6884782"/>
              <a:gd name="connsiteY63552" fmla="*/ 1012955 h 5973007"/>
              <a:gd name="connsiteX63553" fmla="*/ 3852226 w 6884782"/>
              <a:gd name="connsiteY63553" fmla="*/ 1021775 h 5973007"/>
              <a:gd name="connsiteX63554" fmla="*/ 3869727 w 6884782"/>
              <a:gd name="connsiteY63554" fmla="*/ 1009398 h 5973007"/>
              <a:gd name="connsiteX63555" fmla="*/ 3566884 w 6884782"/>
              <a:gd name="connsiteY63555" fmla="*/ 1009113 h 5973007"/>
              <a:gd name="connsiteX63556" fmla="*/ 3569018 w 6884782"/>
              <a:gd name="connsiteY63556" fmla="*/ 1010536 h 5973007"/>
              <a:gd name="connsiteX63557" fmla="*/ 3570939 w 6884782"/>
              <a:gd name="connsiteY63557" fmla="*/ 1012670 h 5973007"/>
              <a:gd name="connsiteX63558" fmla="*/ 3572006 w 6884782"/>
              <a:gd name="connsiteY63558" fmla="*/ 1015231 h 5973007"/>
              <a:gd name="connsiteX63559" fmla="*/ 3572006 w 6884782"/>
              <a:gd name="connsiteY63559" fmla="*/ 1019214 h 5973007"/>
              <a:gd name="connsiteX63560" fmla="*/ 3569018 w 6884782"/>
              <a:gd name="connsiteY63560" fmla="*/ 1023767 h 5973007"/>
              <a:gd name="connsiteX63561" fmla="*/ 3566884 w 6884782"/>
              <a:gd name="connsiteY63561" fmla="*/ 1025047 h 5973007"/>
              <a:gd name="connsiteX63562" fmla="*/ 3566244 w 6884782"/>
              <a:gd name="connsiteY63562" fmla="*/ 1024763 h 5973007"/>
              <a:gd name="connsiteX63563" fmla="*/ 3562189 w 6884782"/>
              <a:gd name="connsiteY63563" fmla="*/ 1027893 h 5973007"/>
              <a:gd name="connsiteX63564" fmla="*/ 3556640 w 6884782"/>
              <a:gd name="connsiteY63564" fmla="*/ 1029600 h 5973007"/>
              <a:gd name="connsiteX63565" fmla="*/ 3556000 w 6884782"/>
              <a:gd name="connsiteY63565" fmla="*/ 1027039 h 5973007"/>
              <a:gd name="connsiteX63566" fmla="*/ 3555146 w 6884782"/>
              <a:gd name="connsiteY63566" fmla="*/ 1027751 h 5973007"/>
              <a:gd name="connsiteX63567" fmla="*/ 3549597 w 6884782"/>
              <a:gd name="connsiteY63567" fmla="*/ 1029315 h 5973007"/>
              <a:gd name="connsiteX63568" fmla="*/ 3553225 w 6884782"/>
              <a:gd name="connsiteY63568" fmla="*/ 1025759 h 5973007"/>
              <a:gd name="connsiteX63569" fmla="*/ 3555146 w 6884782"/>
              <a:gd name="connsiteY63569" fmla="*/ 1024478 h 5973007"/>
              <a:gd name="connsiteX63570" fmla="*/ 3554079 w 6884782"/>
              <a:gd name="connsiteY63570" fmla="*/ 1021491 h 5973007"/>
              <a:gd name="connsiteX63571" fmla="*/ 3556640 w 6884782"/>
              <a:gd name="connsiteY63571" fmla="*/ 1016227 h 5973007"/>
              <a:gd name="connsiteX63572" fmla="*/ 3554292 w 6884782"/>
              <a:gd name="connsiteY63572" fmla="*/ 1015657 h 5973007"/>
              <a:gd name="connsiteX63573" fmla="*/ 3557707 w 6884782"/>
              <a:gd name="connsiteY63573" fmla="*/ 1012101 h 5973007"/>
              <a:gd name="connsiteX63574" fmla="*/ 3558561 w 6884782"/>
              <a:gd name="connsiteY63574" fmla="*/ 1012955 h 5973007"/>
              <a:gd name="connsiteX63575" fmla="*/ 3561762 w 6884782"/>
              <a:gd name="connsiteY63575" fmla="*/ 1013666 h 5973007"/>
              <a:gd name="connsiteX63576" fmla="*/ 3562403 w 6884782"/>
              <a:gd name="connsiteY63576" fmla="*/ 1011959 h 5973007"/>
              <a:gd name="connsiteX63577" fmla="*/ 3566884 w 6884782"/>
              <a:gd name="connsiteY63577" fmla="*/ 1009113 h 5973007"/>
              <a:gd name="connsiteX63578" fmla="*/ 1408828 w 6884782"/>
              <a:gd name="connsiteY63578" fmla="*/ 1009017 h 5973007"/>
              <a:gd name="connsiteX63579" fmla="*/ 1409551 w 6884782"/>
              <a:gd name="connsiteY63579" fmla="*/ 1013354 h 5973007"/>
              <a:gd name="connsiteX63580" fmla="*/ 1407692 w 6884782"/>
              <a:gd name="connsiteY63580" fmla="*/ 1014284 h 5973007"/>
              <a:gd name="connsiteX63581" fmla="*/ 1405007 w 6884782"/>
              <a:gd name="connsiteY63581" fmla="*/ 1013509 h 5973007"/>
              <a:gd name="connsiteX63582" fmla="*/ 1404285 w 6884782"/>
              <a:gd name="connsiteY63582" fmla="*/ 1010101 h 5973007"/>
              <a:gd name="connsiteX63583" fmla="*/ 1406143 w 6884782"/>
              <a:gd name="connsiteY63583" fmla="*/ 1009172 h 5973007"/>
              <a:gd name="connsiteX63584" fmla="*/ 1408828 w 6884782"/>
              <a:gd name="connsiteY63584" fmla="*/ 1009017 h 5973007"/>
              <a:gd name="connsiteX63585" fmla="*/ 1170306 w 6884782"/>
              <a:gd name="connsiteY63585" fmla="*/ 1009017 h 5973007"/>
              <a:gd name="connsiteX63586" fmla="*/ 1172268 w 6884782"/>
              <a:gd name="connsiteY63586" fmla="*/ 1013044 h 5973007"/>
              <a:gd name="connsiteX63587" fmla="*/ 1169377 w 6884782"/>
              <a:gd name="connsiteY63587" fmla="*/ 1010101 h 5973007"/>
              <a:gd name="connsiteX63588" fmla="*/ 1170306 w 6884782"/>
              <a:gd name="connsiteY63588" fmla="*/ 1009017 h 5973007"/>
              <a:gd name="connsiteX63589" fmla="*/ 1074846 w 6884782"/>
              <a:gd name="connsiteY63589" fmla="*/ 1008784 h 5973007"/>
              <a:gd name="connsiteX63590" fmla="*/ 1083055 w 6884782"/>
              <a:gd name="connsiteY63590" fmla="*/ 1010101 h 5973007"/>
              <a:gd name="connsiteX63591" fmla="*/ 1083468 w 6884782"/>
              <a:gd name="connsiteY63591" fmla="*/ 1017072 h 5973007"/>
              <a:gd name="connsiteX63592" fmla="*/ 1070044 w 6884782"/>
              <a:gd name="connsiteY63592" fmla="*/ 1017227 h 5973007"/>
              <a:gd name="connsiteX63593" fmla="*/ 1074846 w 6884782"/>
              <a:gd name="connsiteY63593" fmla="*/ 1008784 h 5973007"/>
              <a:gd name="connsiteX63594" fmla="*/ 1513014 w 6884782"/>
              <a:gd name="connsiteY63594" fmla="*/ 1008707 h 5973007"/>
              <a:gd name="connsiteX63595" fmla="*/ 1517557 w 6884782"/>
              <a:gd name="connsiteY63595" fmla="*/ 1010566 h 5973007"/>
              <a:gd name="connsiteX63596" fmla="*/ 1508264 w 6884782"/>
              <a:gd name="connsiteY63596" fmla="*/ 1020479 h 5973007"/>
              <a:gd name="connsiteX63597" fmla="*/ 1505992 w 6884782"/>
              <a:gd name="connsiteY63597" fmla="*/ 1016452 h 5973007"/>
              <a:gd name="connsiteX63598" fmla="*/ 1513014 w 6884782"/>
              <a:gd name="connsiteY63598" fmla="*/ 1008707 h 5973007"/>
              <a:gd name="connsiteX63599" fmla="*/ 4581695 w 6884782"/>
              <a:gd name="connsiteY63599" fmla="*/ 1008686 h 5973007"/>
              <a:gd name="connsiteX63600" fmla="*/ 4593647 w 6884782"/>
              <a:gd name="connsiteY63600" fmla="*/ 1012243 h 5973007"/>
              <a:gd name="connsiteX63601" fmla="*/ 4581695 w 6884782"/>
              <a:gd name="connsiteY63601" fmla="*/ 1008686 h 5973007"/>
              <a:gd name="connsiteX63602" fmla="*/ 4913990 w 6884782"/>
              <a:gd name="connsiteY63602" fmla="*/ 1007975 h 5973007"/>
              <a:gd name="connsiteX63603" fmla="*/ 4918258 w 6884782"/>
              <a:gd name="connsiteY63603" fmla="*/ 1008402 h 5973007"/>
              <a:gd name="connsiteX63604" fmla="*/ 4916978 w 6884782"/>
              <a:gd name="connsiteY63604" fmla="*/ 1008402 h 5973007"/>
              <a:gd name="connsiteX63605" fmla="*/ 4918045 w 6884782"/>
              <a:gd name="connsiteY63605" fmla="*/ 1009540 h 5973007"/>
              <a:gd name="connsiteX63606" fmla="*/ 4901612 w 6884782"/>
              <a:gd name="connsiteY63606" fmla="*/ 1011674 h 5973007"/>
              <a:gd name="connsiteX63607" fmla="*/ 4901825 w 6884782"/>
              <a:gd name="connsiteY63607" fmla="*/ 1010536 h 5973007"/>
              <a:gd name="connsiteX63608" fmla="*/ 4913990 w 6884782"/>
              <a:gd name="connsiteY63608" fmla="*/ 1007975 h 5973007"/>
              <a:gd name="connsiteX63609" fmla="*/ 4894995 w 6884782"/>
              <a:gd name="connsiteY63609" fmla="*/ 1007975 h 5973007"/>
              <a:gd name="connsiteX63610" fmla="*/ 4896062 w 6884782"/>
              <a:gd name="connsiteY63610" fmla="*/ 1009113 h 5973007"/>
              <a:gd name="connsiteX63611" fmla="*/ 4890086 w 6884782"/>
              <a:gd name="connsiteY63611" fmla="*/ 1011532 h 5973007"/>
              <a:gd name="connsiteX63612" fmla="*/ 4894995 w 6884782"/>
              <a:gd name="connsiteY63612" fmla="*/ 1007975 h 5973007"/>
              <a:gd name="connsiteX63613" fmla="*/ 3719479 w 6884782"/>
              <a:gd name="connsiteY63613" fmla="*/ 1007264 h 5973007"/>
              <a:gd name="connsiteX63614" fmla="*/ 3725882 w 6884782"/>
              <a:gd name="connsiteY63614" fmla="*/ 1013808 h 5973007"/>
              <a:gd name="connsiteX63615" fmla="*/ 3724815 w 6884782"/>
              <a:gd name="connsiteY63615" fmla="*/ 1016796 h 5973007"/>
              <a:gd name="connsiteX63616" fmla="*/ 3719479 w 6884782"/>
              <a:gd name="connsiteY63616" fmla="*/ 1007264 h 5973007"/>
              <a:gd name="connsiteX63617" fmla="*/ 1481211 w 6884782"/>
              <a:gd name="connsiteY63617" fmla="*/ 1006694 h 5973007"/>
              <a:gd name="connsiteX63618" fmla="*/ 1486374 w 6884782"/>
              <a:gd name="connsiteY63618" fmla="*/ 1009327 h 5973007"/>
              <a:gd name="connsiteX63619" fmla="*/ 1484618 w 6884782"/>
              <a:gd name="connsiteY63619" fmla="*/ 1018001 h 5973007"/>
              <a:gd name="connsiteX63620" fmla="*/ 1478939 w 6884782"/>
              <a:gd name="connsiteY63620" fmla="*/ 1012425 h 5973007"/>
              <a:gd name="connsiteX63621" fmla="*/ 1479042 w 6884782"/>
              <a:gd name="connsiteY63621" fmla="*/ 1009791 h 5973007"/>
              <a:gd name="connsiteX63622" fmla="*/ 1481211 w 6884782"/>
              <a:gd name="connsiteY63622" fmla="*/ 1006694 h 5973007"/>
              <a:gd name="connsiteX63623" fmla="*/ 4389404 w 6884782"/>
              <a:gd name="connsiteY63623" fmla="*/ 1005983 h 5973007"/>
              <a:gd name="connsiteX63624" fmla="*/ 4398154 w 6884782"/>
              <a:gd name="connsiteY63624" fmla="*/ 1009540 h 5973007"/>
              <a:gd name="connsiteX63625" fmla="*/ 4397727 w 6884782"/>
              <a:gd name="connsiteY63625" fmla="*/ 1012955 h 5973007"/>
              <a:gd name="connsiteX63626" fmla="*/ 4380440 w 6884782"/>
              <a:gd name="connsiteY63626" fmla="*/ 1013666 h 5973007"/>
              <a:gd name="connsiteX63627" fmla="*/ 4378733 w 6884782"/>
              <a:gd name="connsiteY63627" fmla="*/ 1008829 h 5973007"/>
              <a:gd name="connsiteX63628" fmla="*/ 4389404 w 6884782"/>
              <a:gd name="connsiteY63628" fmla="*/ 1005983 h 5973007"/>
              <a:gd name="connsiteX63629" fmla="*/ 1198702 w 6884782"/>
              <a:gd name="connsiteY63629" fmla="*/ 1005764 h 5973007"/>
              <a:gd name="connsiteX63630" fmla="*/ 1201902 w 6884782"/>
              <a:gd name="connsiteY63630" fmla="*/ 1006074 h 5973007"/>
              <a:gd name="connsiteX63631" fmla="*/ 1204174 w 6884782"/>
              <a:gd name="connsiteY63631" fmla="*/ 1009172 h 5973007"/>
              <a:gd name="connsiteX63632" fmla="*/ 1204174 w 6884782"/>
              <a:gd name="connsiteY63632" fmla="*/ 1015987 h 5973007"/>
              <a:gd name="connsiteX63633" fmla="*/ 1202626 w 6884782"/>
              <a:gd name="connsiteY63633" fmla="*/ 1015677 h 5973007"/>
              <a:gd name="connsiteX63634" fmla="*/ 1201593 w 6884782"/>
              <a:gd name="connsiteY63634" fmla="*/ 1024042 h 5973007"/>
              <a:gd name="connsiteX63635" fmla="*/ 1197153 w 6884782"/>
              <a:gd name="connsiteY63635" fmla="*/ 1030702 h 5973007"/>
              <a:gd name="connsiteX63636" fmla="*/ 1193126 w 6884782"/>
              <a:gd name="connsiteY63636" fmla="*/ 1033491 h 5973007"/>
              <a:gd name="connsiteX63637" fmla="*/ 1196740 w 6884782"/>
              <a:gd name="connsiteY63637" fmla="*/ 1034265 h 5973007"/>
              <a:gd name="connsiteX63638" fmla="*/ 1209131 w 6884782"/>
              <a:gd name="connsiteY63638" fmla="*/ 1042319 h 5973007"/>
              <a:gd name="connsiteX63639" fmla="*/ 1199528 w 6884782"/>
              <a:gd name="connsiteY63639" fmla="*/ 1048360 h 5973007"/>
              <a:gd name="connsiteX63640" fmla="*/ 1184039 w 6884782"/>
              <a:gd name="connsiteY63640" fmla="*/ 1036898 h 5973007"/>
              <a:gd name="connsiteX63641" fmla="*/ 1184039 w 6884782"/>
              <a:gd name="connsiteY63641" fmla="*/ 1036434 h 5973007"/>
              <a:gd name="connsiteX63642" fmla="*/ 1177224 w 6884782"/>
              <a:gd name="connsiteY63642" fmla="*/ 1036124 h 5973007"/>
              <a:gd name="connsiteX63643" fmla="*/ 1169687 w 6884782"/>
              <a:gd name="connsiteY63643" fmla="*/ 1033800 h 5973007"/>
              <a:gd name="connsiteX63644" fmla="*/ 1168551 w 6884782"/>
              <a:gd name="connsiteY63644" fmla="*/ 1031322 h 5973007"/>
              <a:gd name="connsiteX63645" fmla="*/ 1180425 w 6884782"/>
              <a:gd name="connsiteY63645" fmla="*/ 1013664 h 5973007"/>
              <a:gd name="connsiteX63646" fmla="*/ 1197360 w 6884782"/>
              <a:gd name="connsiteY63646" fmla="*/ 1012270 h 5973007"/>
              <a:gd name="connsiteX63647" fmla="*/ 1198186 w 6884782"/>
              <a:gd name="connsiteY63647" fmla="*/ 1012580 h 5973007"/>
              <a:gd name="connsiteX63648" fmla="*/ 1197153 w 6884782"/>
              <a:gd name="connsiteY63648" fmla="*/ 1011495 h 5973007"/>
              <a:gd name="connsiteX63649" fmla="*/ 1197256 w 6884782"/>
              <a:gd name="connsiteY63649" fmla="*/ 1009636 h 5973007"/>
              <a:gd name="connsiteX63650" fmla="*/ 1198702 w 6884782"/>
              <a:gd name="connsiteY63650" fmla="*/ 1005764 h 5973007"/>
              <a:gd name="connsiteX63651" fmla="*/ 3514169 w 6884782"/>
              <a:gd name="connsiteY63651" fmla="*/ 1005556 h 5973007"/>
              <a:gd name="connsiteX63652" fmla="*/ 3521639 w 6884782"/>
              <a:gd name="connsiteY63652" fmla="*/ 1011674 h 5973007"/>
              <a:gd name="connsiteX63653" fmla="*/ 3514383 w 6884782"/>
              <a:gd name="connsiteY63653" fmla="*/ 1006979 h 5973007"/>
              <a:gd name="connsiteX63654" fmla="*/ 3514169 w 6884782"/>
              <a:gd name="connsiteY63654" fmla="*/ 1005556 h 5973007"/>
              <a:gd name="connsiteX63655" fmla="*/ 1295659 w 6884782"/>
              <a:gd name="connsiteY63655" fmla="*/ 1004835 h 5973007"/>
              <a:gd name="connsiteX63656" fmla="*/ 1299996 w 6884782"/>
              <a:gd name="connsiteY63656" fmla="*/ 1005454 h 5973007"/>
              <a:gd name="connsiteX63657" fmla="*/ 1302268 w 6884782"/>
              <a:gd name="connsiteY63657" fmla="*/ 1012889 h 5973007"/>
              <a:gd name="connsiteX63658" fmla="*/ 1298757 w 6884782"/>
              <a:gd name="connsiteY63658" fmla="*/ 1013044 h 5973007"/>
              <a:gd name="connsiteX63659" fmla="*/ 1295040 w 6884782"/>
              <a:gd name="connsiteY63659" fmla="*/ 1006849 h 5973007"/>
              <a:gd name="connsiteX63660" fmla="*/ 1295659 w 6884782"/>
              <a:gd name="connsiteY63660" fmla="*/ 1004835 h 5973007"/>
              <a:gd name="connsiteX63661" fmla="*/ 3689174 w 6884782"/>
              <a:gd name="connsiteY63661" fmla="*/ 1004561 h 5973007"/>
              <a:gd name="connsiteX63662" fmla="*/ 3704967 w 6884782"/>
              <a:gd name="connsiteY63662" fmla="*/ 1011532 h 5973007"/>
              <a:gd name="connsiteX63663" fmla="*/ 3703046 w 6884782"/>
              <a:gd name="connsiteY63663" fmla="*/ 1019072 h 5973007"/>
              <a:gd name="connsiteX63664" fmla="*/ 3684265 w 6884782"/>
              <a:gd name="connsiteY63664" fmla="*/ 1032588 h 5973007"/>
              <a:gd name="connsiteX63665" fmla="*/ 3673594 w 6884782"/>
              <a:gd name="connsiteY63665" fmla="*/ 1011248 h 5973007"/>
              <a:gd name="connsiteX63666" fmla="*/ 3689174 w 6884782"/>
              <a:gd name="connsiteY63666" fmla="*/ 1004561 h 5973007"/>
              <a:gd name="connsiteX63667" fmla="*/ 951816 w 6884782"/>
              <a:gd name="connsiteY63667" fmla="*/ 1002821 h 5973007"/>
              <a:gd name="connsiteX63668" fmla="*/ 954294 w 6884782"/>
              <a:gd name="connsiteY63668" fmla="*/ 1006539 h 5973007"/>
              <a:gd name="connsiteX63669" fmla="*/ 955223 w 6884782"/>
              <a:gd name="connsiteY63669" fmla="*/ 1006694 h 5973007"/>
              <a:gd name="connsiteX63670" fmla="*/ 956979 w 6884782"/>
              <a:gd name="connsiteY63670" fmla="*/ 1005145 h 5973007"/>
              <a:gd name="connsiteX63671" fmla="*/ 965652 w 6884782"/>
              <a:gd name="connsiteY63671" fmla="*/ 1005919 h 5973007"/>
              <a:gd name="connsiteX63672" fmla="*/ 968027 w 6884782"/>
              <a:gd name="connsiteY63672" fmla="*/ 1015523 h 5973007"/>
              <a:gd name="connsiteX63673" fmla="*/ 965446 w 6884782"/>
              <a:gd name="connsiteY63673" fmla="*/ 1019395 h 5973007"/>
              <a:gd name="connsiteX63674" fmla="*/ 955017 w 6884782"/>
              <a:gd name="connsiteY63674" fmla="*/ 1017536 h 5973007"/>
              <a:gd name="connsiteX63675" fmla="*/ 953365 w 6884782"/>
              <a:gd name="connsiteY63675" fmla="*/ 1008087 h 5973007"/>
              <a:gd name="connsiteX63676" fmla="*/ 951713 w 6884782"/>
              <a:gd name="connsiteY63676" fmla="*/ 1007158 h 5973007"/>
              <a:gd name="connsiteX63677" fmla="*/ 950061 w 6884782"/>
              <a:gd name="connsiteY63677" fmla="*/ 1003595 h 5973007"/>
              <a:gd name="connsiteX63678" fmla="*/ 951816 w 6884782"/>
              <a:gd name="connsiteY63678" fmla="*/ 1002821 h 5973007"/>
              <a:gd name="connsiteX63679" fmla="*/ 4047932 w 6884782"/>
              <a:gd name="connsiteY63679" fmla="*/ 1002284 h 5973007"/>
              <a:gd name="connsiteX63680" fmla="*/ 4049427 w 6884782"/>
              <a:gd name="connsiteY63680" fmla="*/ 1004561 h 5973007"/>
              <a:gd name="connsiteX63681" fmla="*/ 4045371 w 6884782"/>
              <a:gd name="connsiteY63681" fmla="*/ 1008402 h 5973007"/>
              <a:gd name="connsiteX63682" fmla="*/ 4045371 w 6884782"/>
              <a:gd name="connsiteY63682" fmla="*/ 1009540 h 5973007"/>
              <a:gd name="connsiteX63683" fmla="*/ 4048146 w 6884782"/>
              <a:gd name="connsiteY63683" fmla="*/ 1011816 h 5973007"/>
              <a:gd name="connsiteX63684" fmla="*/ 4049639 w 6884782"/>
              <a:gd name="connsiteY63684" fmla="*/ 1023767 h 5973007"/>
              <a:gd name="connsiteX63685" fmla="*/ 4037475 w 6884782"/>
              <a:gd name="connsiteY63685" fmla="*/ 1028035 h 5973007"/>
              <a:gd name="connsiteX63686" fmla="*/ 4031286 w 6884782"/>
              <a:gd name="connsiteY63686" fmla="*/ 1024763 h 5973007"/>
              <a:gd name="connsiteX63687" fmla="*/ 4030432 w 6884782"/>
              <a:gd name="connsiteY63687" fmla="*/ 1010536 h 5973007"/>
              <a:gd name="connsiteX63688" fmla="*/ 4042810 w 6884782"/>
              <a:gd name="connsiteY63688" fmla="*/ 1007406 h 5973007"/>
              <a:gd name="connsiteX63689" fmla="*/ 4043664 w 6884782"/>
              <a:gd name="connsiteY63689" fmla="*/ 1004845 h 5973007"/>
              <a:gd name="connsiteX63690" fmla="*/ 4047932 w 6884782"/>
              <a:gd name="connsiteY63690" fmla="*/ 1002284 h 5973007"/>
              <a:gd name="connsiteX63691" fmla="*/ 1327049 w 6884782"/>
              <a:gd name="connsiteY63691" fmla="*/ 1001117 h 5973007"/>
              <a:gd name="connsiteX63692" fmla="*/ 1330043 w 6884782"/>
              <a:gd name="connsiteY63692" fmla="*/ 1008242 h 5973007"/>
              <a:gd name="connsiteX63693" fmla="*/ 1324158 w 6884782"/>
              <a:gd name="connsiteY63693" fmla="*/ 1003286 h 5973007"/>
              <a:gd name="connsiteX63694" fmla="*/ 1324468 w 6884782"/>
              <a:gd name="connsiteY63694" fmla="*/ 1001272 h 5973007"/>
              <a:gd name="connsiteX63695" fmla="*/ 1327049 w 6884782"/>
              <a:gd name="connsiteY63695" fmla="*/ 1001117 h 5973007"/>
              <a:gd name="connsiteX63696" fmla="*/ 1453538 w 6884782"/>
              <a:gd name="connsiteY63696" fmla="*/ 1000962 h 5973007"/>
              <a:gd name="connsiteX63697" fmla="*/ 1457359 w 6884782"/>
              <a:gd name="connsiteY63697" fmla="*/ 1000962 h 5973007"/>
              <a:gd name="connsiteX63698" fmla="*/ 1463657 w 6884782"/>
              <a:gd name="connsiteY63698" fmla="*/ 1004680 h 5973007"/>
              <a:gd name="connsiteX63699" fmla="*/ 1456842 w 6884782"/>
              <a:gd name="connsiteY63699" fmla="*/ 1008087 h 5973007"/>
              <a:gd name="connsiteX63700" fmla="*/ 1455087 w 6884782"/>
              <a:gd name="connsiteY63700" fmla="*/ 1007003 h 5973007"/>
              <a:gd name="connsiteX63701" fmla="*/ 1451989 w 6884782"/>
              <a:gd name="connsiteY63701" fmla="*/ 1003595 h 5973007"/>
              <a:gd name="connsiteX63702" fmla="*/ 1453538 w 6884782"/>
              <a:gd name="connsiteY63702" fmla="*/ 1000962 h 5973007"/>
              <a:gd name="connsiteX63703" fmla="*/ 1270155 w 6884782"/>
              <a:gd name="connsiteY63703" fmla="*/ 1000962 h 5973007"/>
              <a:gd name="connsiteX63704" fmla="*/ 1273872 w 6884782"/>
              <a:gd name="connsiteY63704" fmla="*/ 1003906 h 5973007"/>
              <a:gd name="connsiteX63705" fmla="*/ 1276557 w 6884782"/>
              <a:gd name="connsiteY63705" fmla="*/ 1004370 h 5973007"/>
              <a:gd name="connsiteX63706" fmla="*/ 1276660 w 6884782"/>
              <a:gd name="connsiteY63706" fmla="*/ 1005145 h 5973007"/>
              <a:gd name="connsiteX63707" fmla="*/ 1266025 w 6884782"/>
              <a:gd name="connsiteY63707" fmla="*/ 1004990 h 5973007"/>
              <a:gd name="connsiteX63708" fmla="*/ 1264889 w 6884782"/>
              <a:gd name="connsiteY63708" fmla="*/ 1003751 h 5973007"/>
              <a:gd name="connsiteX63709" fmla="*/ 1265818 w 6884782"/>
              <a:gd name="connsiteY63709" fmla="*/ 1001582 h 5973007"/>
              <a:gd name="connsiteX63710" fmla="*/ 1270155 w 6884782"/>
              <a:gd name="connsiteY63710" fmla="*/ 1000962 h 5973007"/>
              <a:gd name="connsiteX63711" fmla="*/ 3255932 w 6884782"/>
              <a:gd name="connsiteY63711" fmla="*/ 1000862 h 5973007"/>
              <a:gd name="connsiteX63712" fmla="*/ 3259773 w 6884782"/>
              <a:gd name="connsiteY63712" fmla="*/ 1003849 h 5973007"/>
              <a:gd name="connsiteX63713" fmla="*/ 3261267 w 6884782"/>
              <a:gd name="connsiteY63713" fmla="*/ 1007264 h 5973007"/>
              <a:gd name="connsiteX63714" fmla="*/ 3260413 w 6884782"/>
              <a:gd name="connsiteY63714" fmla="*/ 1011248 h 5973007"/>
              <a:gd name="connsiteX63715" fmla="*/ 3257852 w 6884782"/>
              <a:gd name="connsiteY63715" fmla="*/ 1013097 h 5973007"/>
              <a:gd name="connsiteX63716" fmla="*/ 3251023 w 6884782"/>
              <a:gd name="connsiteY63716" fmla="*/ 1012101 h 5973007"/>
              <a:gd name="connsiteX63717" fmla="*/ 3251877 w 6884782"/>
              <a:gd name="connsiteY63717" fmla="*/ 1001431 h 5973007"/>
              <a:gd name="connsiteX63718" fmla="*/ 3255932 w 6884782"/>
              <a:gd name="connsiteY63718" fmla="*/ 1000862 h 5973007"/>
              <a:gd name="connsiteX63719" fmla="*/ 1429686 w 6884782"/>
              <a:gd name="connsiteY63719" fmla="*/ 1000652 h 5973007"/>
              <a:gd name="connsiteX63720" fmla="*/ 1432577 w 6884782"/>
              <a:gd name="connsiteY63720" fmla="*/ 1001117 h 5973007"/>
              <a:gd name="connsiteX63721" fmla="*/ 1435262 w 6884782"/>
              <a:gd name="connsiteY63721" fmla="*/ 1004680 h 5973007"/>
              <a:gd name="connsiteX63722" fmla="*/ 1428240 w 6884782"/>
              <a:gd name="connsiteY63722" fmla="*/ 1007468 h 5973007"/>
              <a:gd name="connsiteX63723" fmla="*/ 1426382 w 6884782"/>
              <a:gd name="connsiteY63723" fmla="*/ 1005299 h 5973007"/>
              <a:gd name="connsiteX63724" fmla="*/ 1429686 w 6884782"/>
              <a:gd name="connsiteY63724" fmla="*/ 1000652 h 5973007"/>
              <a:gd name="connsiteX63725" fmla="*/ 1057757 w 6884782"/>
              <a:gd name="connsiteY63725" fmla="*/ 1000652 h 5973007"/>
              <a:gd name="connsiteX63726" fmla="*/ 1061371 w 6884782"/>
              <a:gd name="connsiteY63726" fmla="*/ 1010411 h 5973007"/>
              <a:gd name="connsiteX63727" fmla="*/ 1058170 w 6884782"/>
              <a:gd name="connsiteY63727" fmla="*/ 1011805 h 5973007"/>
              <a:gd name="connsiteX63728" fmla="*/ 1052801 w 6884782"/>
              <a:gd name="connsiteY63728" fmla="*/ 1002356 h 5973007"/>
              <a:gd name="connsiteX63729" fmla="*/ 1057757 w 6884782"/>
              <a:gd name="connsiteY63729" fmla="*/ 1000652 h 5973007"/>
              <a:gd name="connsiteX63730" fmla="*/ 1395405 w 6884782"/>
              <a:gd name="connsiteY63730" fmla="*/ 1000497 h 5973007"/>
              <a:gd name="connsiteX63731" fmla="*/ 1397573 w 6884782"/>
              <a:gd name="connsiteY63731" fmla="*/ 1002511 h 5973007"/>
              <a:gd name="connsiteX63732" fmla="*/ 1393339 w 6884782"/>
              <a:gd name="connsiteY63732" fmla="*/ 1003595 h 5973007"/>
              <a:gd name="connsiteX63733" fmla="*/ 1395405 w 6884782"/>
              <a:gd name="connsiteY63733" fmla="*/ 1000497 h 5973007"/>
              <a:gd name="connsiteX63734" fmla="*/ 1487200 w 6884782"/>
              <a:gd name="connsiteY63734" fmla="*/ 1000188 h 5973007"/>
              <a:gd name="connsiteX63735" fmla="*/ 1488748 w 6884782"/>
              <a:gd name="connsiteY63735" fmla="*/ 1000497 h 5973007"/>
              <a:gd name="connsiteX63736" fmla="*/ 1481211 w 6884782"/>
              <a:gd name="connsiteY63736" fmla="*/ 1004215 h 5973007"/>
              <a:gd name="connsiteX63737" fmla="*/ 1487200 w 6884782"/>
              <a:gd name="connsiteY63737" fmla="*/ 1000188 h 5973007"/>
              <a:gd name="connsiteX63738" fmla="*/ 3551304 w 6884782"/>
              <a:gd name="connsiteY63738" fmla="*/ 1000008 h 5973007"/>
              <a:gd name="connsiteX63739" fmla="*/ 3553225 w 6884782"/>
              <a:gd name="connsiteY63739" fmla="*/ 1001431 h 5973007"/>
              <a:gd name="connsiteX63740" fmla="*/ 3546182 w 6884782"/>
              <a:gd name="connsiteY63740" fmla="*/ 1008402 h 5973007"/>
              <a:gd name="connsiteX63741" fmla="*/ 3544261 w 6884782"/>
              <a:gd name="connsiteY63741" fmla="*/ 1006979 h 5973007"/>
              <a:gd name="connsiteX63742" fmla="*/ 3545116 w 6884782"/>
              <a:gd name="connsiteY63742" fmla="*/ 1003707 h 5973007"/>
              <a:gd name="connsiteX63743" fmla="*/ 3551304 w 6884782"/>
              <a:gd name="connsiteY63743" fmla="*/ 1000008 h 5973007"/>
              <a:gd name="connsiteX63744" fmla="*/ 1383737 w 6884782"/>
              <a:gd name="connsiteY63744" fmla="*/ 998949 h 5973007"/>
              <a:gd name="connsiteX63745" fmla="*/ 1384873 w 6884782"/>
              <a:gd name="connsiteY63745" fmla="*/ 1003286 h 5973007"/>
              <a:gd name="connsiteX63746" fmla="*/ 1383014 w 6884782"/>
              <a:gd name="connsiteY63746" fmla="*/ 1004835 h 5973007"/>
              <a:gd name="connsiteX63747" fmla="*/ 1381052 w 6884782"/>
              <a:gd name="connsiteY63747" fmla="*/ 1002821 h 5973007"/>
              <a:gd name="connsiteX63748" fmla="*/ 1380639 w 6884782"/>
              <a:gd name="connsiteY63748" fmla="*/ 1000188 h 5973007"/>
              <a:gd name="connsiteX63749" fmla="*/ 1381775 w 6884782"/>
              <a:gd name="connsiteY63749" fmla="*/ 999413 h 5973007"/>
              <a:gd name="connsiteX63750" fmla="*/ 1383737 w 6884782"/>
              <a:gd name="connsiteY63750" fmla="*/ 998949 h 5973007"/>
              <a:gd name="connsiteX63751" fmla="*/ 3629629 w 6884782"/>
              <a:gd name="connsiteY63751" fmla="*/ 997874 h 5973007"/>
              <a:gd name="connsiteX63752" fmla="*/ 3633471 w 6884782"/>
              <a:gd name="connsiteY63752" fmla="*/ 998728 h 5973007"/>
              <a:gd name="connsiteX63753" fmla="*/ 3635392 w 6884782"/>
              <a:gd name="connsiteY63753" fmla="*/ 1001004 h 5973007"/>
              <a:gd name="connsiteX63754" fmla="*/ 3634752 w 6884782"/>
              <a:gd name="connsiteY63754" fmla="*/ 1008118 h 5973007"/>
              <a:gd name="connsiteX63755" fmla="*/ 3624508 w 6884782"/>
              <a:gd name="connsiteY63755" fmla="*/ 1007975 h 5973007"/>
              <a:gd name="connsiteX63756" fmla="*/ 3626428 w 6884782"/>
              <a:gd name="connsiteY63756" fmla="*/ 999724 h 5973007"/>
              <a:gd name="connsiteX63757" fmla="*/ 3629629 w 6884782"/>
              <a:gd name="connsiteY63757" fmla="*/ 997874 h 5973007"/>
              <a:gd name="connsiteX63758" fmla="*/ 1409758 w 6884782"/>
              <a:gd name="connsiteY63758" fmla="*/ 997864 h 5973007"/>
              <a:gd name="connsiteX63759" fmla="*/ 1411100 w 6884782"/>
              <a:gd name="connsiteY63759" fmla="*/ 1005609 h 5973007"/>
              <a:gd name="connsiteX63760" fmla="*/ 1410170 w 6884782"/>
              <a:gd name="connsiteY63760" fmla="*/ 1006384 h 5973007"/>
              <a:gd name="connsiteX63761" fmla="*/ 1399948 w 6884782"/>
              <a:gd name="connsiteY63761" fmla="*/ 1009946 h 5973007"/>
              <a:gd name="connsiteX63762" fmla="*/ 1398915 w 6884782"/>
              <a:gd name="connsiteY63762" fmla="*/ 1006384 h 5973007"/>
              <a:gd name="connsiteX63763" fmla="*/ 1401187 w 6884782"/>
              <a:gd name="connsiteY63763" fmla="*/ 1002511 h 5973007"/>
              <a:gd name="connsiteX63764" fmla="*/ 1409758 w 6884782"/>
              <a:gd name="connsiteY63764" fmla="*/ 997864 h 5973007"/>
              <a:gd name="connsiteX63765" fmla="*/ 4487790 w 6884782"/>
              <a:gd name="connsiteY63765" fmla="*/ 996736 h 5973007"/>
              <a:gd name="connsiteX63766" fmla="*/ 4495900 w 6884782"/>
              <a:gd name="connsiteY63766" fmla="*/ 1002000 h 5973007"/>
              <a:gd name="connsiteX63767" fmla="*/ 4490778 w 6884782"/>
              <a:gd name="connsiteY63767" fmla="*/ 1009113 h 5973007"/>
              <a:gd name="connsiteX63768" fmla="*/ 4483522 w 6884782"/>
              <a:gd name="connsiteY63768" fmla="*/ 1001573 h 5973007"/>
              <a:gd name="connsiteX63769" fmla="*/ 4487790 w 6884782"/>
              <a:gd name="connsiteY63769" fmla="*/ 996736 h 5973007"/>
              <a:gd name="connsiteX63770" fmla="*/ 1465929 w 6884782"/>
              <a:gd name="connsiteY63770" fmla="*/ 996006 h 5973007"/>
              <a:gd name="connsiteX63771" fmla="*/ 1467477 w 6884782"/>
              <a:gd name="connsiteY63771" fmla="*/ 996316 h 5973007"/>
              <a:gd name="connsiteX63772" fmla="*/ 1468613 w 6884782"/>
              <a:gd name="connsiteY63772" fmla="*/ 998639 h 5973007"/>
              <a:gd name="connsiteX63773" fmla="*/ 1465103 w 6884782"/>
              <a:gd name="connsiteY63773" fmla="*/ 999103 h 5973007"/>
              <a:gd name="connsiteX63774" fmla="*/ 1464896 w 6884782"/>
              <a:gd name="connsiteY63774" fmla="*/ 997090 h 5973007"/>
              <a:gd name="connsiteX63775" fmla="*/ 1465929 w 6884782"/>
              <a:gd name="connsiteY63775" fmla="*/ 996006 h 5973007"/>
              <a:gd name="connsiteX63776" fmla="*/ 1444245 w 6884782"/>
              <a:gd name="connsiteY63776" fmla="*/ 995696 h 5973007"/>
              <a:gd name="connsiteX63777" fmla="*/ 1450337 w 6884782"/>
              <a:gd name="connsiteY63777" fmla="*/ 1003131 h 5973007"/>
              <a:gd name="connsiteX63778" fmla="*/ 1450131 w 6884782"/>
              <a:gd name="connsiteY63778" fmla="*/ 1004215 h 5973007"/>
              <a:gd name="connsiteX63779" fmla="*/ 1451060 w 6884782"/>
              <a:gd name="connsiteY63779" fmla="*/ 1006384 h 5973007"/>
              <a:gd name="connsiteX63780" fmla="*/ 1448685 w 6884782"/>
              <a:gd name="connsiteY63780" fmla="*/ 1008862 h 5973007"/>
              <a:gd name="connsiteX63781" fmla="*/ 1440218 w 6884782"/>
              <a:gd name="connsiteY63781" fmla="*/ 1001737 h 5973007"/>
              <a:gd name="connsiteX63782" fmla="*/ 1443935 w 6884782"/>
              <a:gd name="connsiteY63782" fmla="*/ 998174 h 5973007"/>
              <a:gd name="connsiteX63783" fmla="*/ 1444039 w 6884782"/>
              <a:gd name="connsiteY63783" fmla="*/ 998174 h 5973007"/>
              <a:gd name="connsiteX63784" fmla="*/ 4920392 w 6884782"/>
              <a:gd name="connsiteY63784" fmla="*/ 995171 h 5973007"/>
              <a:gd name="connsiteX63785" fmla="*/ 4919966 w 6884782"/>
              <a:gd name="connsiteY63785" fmla="*/ 1000150 h 5973007"/>
              <a:gd name="connsiteX63786" fmla="*/ 4917618 w 6884782"/>
              <a:gd name="connsiteY63786" fmla="*/ 1000150 h 5973007"/>
              <a:gd name="connsiteX63787" fmla="*/ 4899690 w 6884782"/>
              <a:gd name="connsiteY63787" fmla="*/ 1005841 h 5973007"/>
              <a:gd name="connsiteX63788" fmla="*/ 4920392 w 6884782"/>
              <a:gd name="connsiteY63788" fmla="*/ 995171 h 5973007"/>
              <a:gd name="connsiteX63789" fmla="*/ 4153575 w 6884782"/>
              <a:gd name="connsiteY63789" fmla="*/ 994887 h 5973007"/>
              <a:gd name="connsiteX63790" fmla="*/ 4155709 w 6884782"/>
              <a:gd name="connsiteY63790" fmla="*/ 995171 h 5973007"/>
              <a:gd name="connsiteX63791" fmla="*/ 4156563 w 6884782"/>
              <a:gd name="connsiteY63791" fmla="*/ 997590 h 5973007"/>
              <a:gd name="connsiteX63792" fmla="*/ 4156136 w 6884782"/>
              <a:gd name="connsiteY63792" fmla="*/ 1002426 h 5973007"/>
              <a:gd name="connsiteX63793" fmla="*/ 4153575 w 6884782"/>
              <a:gd name="connsiteY63793" fmla="*/ 1004845 h 5973007"/>
              <a:gd name="connsiteX63794" fmla="*/ 4151441 w 6884782"/>
              <a:gd name="connsiteY63794" fmla="*/ 1003565 h 5973007"/>
              <a:gd name="connsiteX63795" fmla="*/ 4149093 w 6884782"/>
              <a:gd name="connsiteY63795" fmla="*/ 1003565 h 5973007"/>
              <a:gd name="connsiteX63796" fmla="*/ 4149307 w 6884782"/>
              <a:gd name="connsiteY63796" fmla="*/ 1002284 h 5973007"/>
              <a:gd name="connsiteX63797" fmla="*/ 4148239 w 6884782"/>
              <a:gd name="connsiteY63797" fmla="*/ 1001004 h 5973007"/>
              <a:gd name="connsiteX63798" fmla="*/ 4151014 w 6884782"/>
              <a:gd name="connsiteY63798" fmla="*/ 996309 h 5973007"/>
              <a:gd name="connsiteX63799" fmla="*/ 4153575 w 6884782"/>
              <a:gd name="connsiteY63799" fmla="*/ 994887 h 5973007"/>
              <a:gd name="connsiteX63800" fmla="*/ 4851458 w 6884782"/>
              <a:gd name="connsiteY63800" fmla="*/ 994033 h 5973007"/>
              <a:gd name="connsiteX63801" fmla="*/ 4853165 w 6884782"/>
              <a:gd name="connsiteY63801" fmla="*/ 995882 h 5973007"/>
              <a:gd name="connsiteX63802" fmla="*/ 4852311 w 6884782"/>
              <a:gd name="connsiteY63802" fmla="*/ 997732 h 5973007"/>
              <a:gd name="connsiteX63803" fmla="*/ 4849537 w 6884782"/>
              <a:gd name="connsiteY63803" fmla="*/ 1000150 h 5973007"/>
              <a:gd name="connsiteX63804" fmla="*/ 4848043 w 6884782"/>
              <a:gd name="connsiteY63804" fmla="*/ 1002426 h 5973007"/>
              <a:gd name="connsiteX63805" fmla="*/ 4844628 w 6884782"/>
              <a:gd name="connsiteY63805" fmla="*/ 1002426 h 5973007"/>
              <a:gd name="connsiteX63806" fmla="*/ 4845909 w 6884782"/>
              <a:gd name="connsiteY63806" fmla="*/ 1000008 h 5973007"/>
              <a:gd name="connsiteX63807" fmla="*/ 4851458 w 6884782"/>
              <a:gd name="connsiteY63807" fmla="*/ 994033 h 5973007"/>
              <a:gd name="connsiteX63808" fmla="*/ 3760669 w 6884782"/>
              <a:gd name="connsiteY63808" fmla="*/ 993748 h 5973007"/>
              <a:gd name="connsiteX63809" fmla="*/ 3752772 w 6884782"/>
              <a:gd name="connsiteY63809" fmla="*/ 1000577 h 5973007"/>
              <a:gd name="connsiteX63810" fmla="*/ 3760669 w 6884782"/>
              <a:gd name="connsiteY63810" fmla="*/ 993748 h 5973007"/>
              <a:gd name="connsiteX63811" fmla="*/ 1524785 w 6884782"/>
              <a:gd name="connsiteY63811" fmla="*/ 992753 h 5973007"/>
              <a:gd name="connsiteX63812" fmla="*/ 1529535 w 6884782"/>
              <a:gd name="connsiteY63812" fmla="*/ 998329 h 5973007"/>
              <a:gd name="connsiteX63813" fmla="*/ 1523546 w 6884782"/>
              <a:gd name="connsiteY63813" fmla="*/ 997864 h 5973007"/>
              <a:gd name="connsiteX63814" fmla="*/ 1524785 w 6884782"/>
              <a:gd name="connsiteY63814" fmla="*/ 992753 h 5973007"/>
              <a:gd name="connsiteX63815" fmla="*/ 1182168 w 6884782"/>
              <a:gd name="connsiteY63815" fmla="*/ 992559 h 5973007"/>
              <a:gd name="connsiteX63816" fmla="*/ 1188376 w 6884782"/>
              <a:gd name="connsiteY63816" fmla="*/ 996470 h 5973007"/>
              <a:gd name="connsiteX63817" fmla="*/ 1190958 w 6884782"/>
              <a:gd name="connsiteY63817" fmla="*/ 1000962 h 5973007"/>
              <a:gd name="connsiteX63818" fmla="*/ 1189099 w 6884782"/>
              <a:gd name="connsiteY63818" fmla="*/ 1006694 h 5973007"/>
              <a:gd name="connsiteX63819" fmla="*/ 1177844 w 6884782"/>
              <a:gd name="connsiteY63819" fmla="*/ 1007158 h 5973007"/>
              <a:gd name="connsiteX63820" fmla="*/ 1173610 w 6884782"/>
              <a:gd name="connsiteY63820" fmla="*/ 999259 h 5973007"/>
              <a:gd name="connsiteX63821" fmla="*/ 1173507 w 6884782"/>
              <a:gd name="connsiteY63821" fmla="*/ 1000033 h 5973007"/>
              <a:gd name="connsiteX63822" fmla="*/ 1171649 w 6884782"/>
              <a:gd name="connsiteY63822" fmla="*/ 1001582 h 5973007"/>
              <a:gd name="connsiteX63823" fmla="*/ 1171752 w 6884782"/>
              <a:gd name="connsiteY63823" fmla="*/ 1002976 h 5973007"/>
              <a:gd name="connsiteX63824" fmla="*/ 1171752 w 6884782"/>
              <a:gd name="connsiteY63824" fmla="*/ 1004680 h 5973007"/>
              <a:gd name="connsiteX63825" fmla="*/ 1170926 w 6884782"/>
              <a:gd name="connsiteY63825" fmla="*/ 1004835 h 5973007"/>
              <a:gd name="connsiteX63826" fmla="*/ 1170409 w 6884782"/>
              <a:gd name="connsiteY63826" fmla="*/ 1002511 h 5973007"/>
              <a:gd name="connsiteX63827" fmla="*/ 1167312 w 6884782"/>
              <a:gd name="connsiteY63827" fmla="*/ 1004990 h 5973007"/>
              <a:gd name="connsiteX63828" fmla="*/ 1167725 w 6884782"/>
              <a:gd name="connsiteY63828" fmla="*/ 1007003 h 5973007"/>
              <a:gd name="connsiteX63829" fmla="*/ 1166176 w 6884782"/>
              <a:gd name="connsiteY63829" fmla="*/ 1005764 h 5973007"/>
              <a:gd name="connsiteX63830" fmla="*/ 1163801 w 6884782"/>
              <a:gd name="connsiteY63830" fmla="*/ 1007003 h 5973007"/>
              <a:gd name="connsiteX63831" fmla="*/ 1161323 w 6884782"/>
              <a:gd name="connsiteY63831" fmla="*/ 1007158 h 5973007"/>
              <a:gd name="connsiteX63832" fmla="*/ 1162252 w 6884782"/>
              <a:gd name="connsiteY63832" fmla="*/ 1004835 h 5973007"/>
              <a:gd name="connsiteX63833" fmla="*/ 1163078 w 6884782"/>
              <a:gd name="connsiteY63833" fmla="*/ 1004060 h 5973007"/>
              <a:gd name="connsiteX63834" fmla="*/ 1163078 w 6884782"/>
              <a:gd name="connsiteY63834" fmla="*/ 1003286 h 5973007"/>
              <a:gd name="connsiteX63835" fmla="*/ 1163388 w 6884782"/>
              <a:gd name="connsiteY63835" fmla="*/ 1003286 h 5973007"/>
              <a:gd name="connsiteX63836" fmla="*/ 1161942 w 6884782"/>
              <a:gd name="connsiteY63836" fmla="*/ 999723 h 5973007"/>
              <a:gd name="connsiteX63837" fmla="*/ 1158948 w 6884782"/>
              <a:gd name="connsiteY63837" fmla="*/ 993992 h 5973007"/>
              <a:gd name="connsiteX63838" fmla="*/ 1162459 w 6884782"/>
              <a:gd name="connsiteY63838" fmla="*/ 993527 h 5973007"/>
              <a:gd name="connsiteX63839" fmla="*/ 1162562 w 6884782"/>
              <a:gd name="connsiteY63839" fmla="*/ 995076 h 5973007"/>
              <a:gd name="connsiteX63840" fmla="*/ 1166383 w 6884782"/>
              <a:gd name="connsiteY63840" fmla="*/ 1000188 h 5973007"/>
              <a:gd name="connsiteX63841" fmla="*/ 1166486 w 6884782"/>
              <a:gd name="connsiteY63841" fmla="*/ 1000652 h 5973007"/>
              <a:gd name="connsiteX63842" fmla="*/ 1167415 w 6884782"/>
              <a:gd name="connsiteY63842" fmla="*/ 999103 h 5973007"/>
              <a:gd name="connsiteX63843" fmla="*/ 1168448 w 6884782"/>
              <a:gd name="connsiteY63843" fmla="*/ 997090 h 5973007"/>
              <a:gd name="connsiteX63844" fmla="*/ 1168551 w 6884782"/>
              <a:gd name="connsiteY63844" fmla="*/ 996935 h 5973007"/>
              <a:gd name="connsiteX63845" fmla="*/ 1168344 w 6884782"/>
              <a:gd name="connsiteY63845" fmla="*/ 996470 h 5973007"/>
              <a:gd name="connsiteX63846" fmla="*/ 1168551 w 6884782"/>
              <a:gd name="connsiteY63846" fmla="*/ 993218 h 5973007"/>
              <a:gd name="connsiteX63847" fmla="*/ 1168551 w 6884782"/>
              <a:gd name="connsiteY63847" fmla="*/ 994147 h 5973007"/>
              <a:gd name="connsiteX63848" fmla="*/ 1169377 w 6884782"/>
              <a:gd name="connsiteY63848" fmla="*/ 993218 h 5973007"/>
              <a:gd name="connsiteX63849" fmla="*/ 1170203 w 6884782"/>
              <a:gd name="connsiteY63849" fmla="*/ 995851 h 5973007"/>
              <a:gd name="connsiteX63850" fmla="*/ 1170719 w 6884782"/>
              <a:gd name="connsiteY63850" fmla="*/ 995541 h 5973007"/>
              <a:gd name="connsiteX63851" fmla="*/ 1173714 w 6884782"/>
              <a:gd name="connsiteY63851" fmla="*/ 994147 h 5973007"/>
              <a:gd name="connsiteX63852" fmla="*/ 1175366 w 6884782"/>
              <a:gd name="connsiteY63852" fmla="*/ 996006 h 5973007"/>
              <a:gd name="connsiteX63853" fmla="*/ 1177121 w 6884782"/>
              <a:gd name="connsiteY63853" fmla="*/ 994457 h 5973007"/>
              <a:gd name="connsiteX63854" fmla="*/ 1182168 w 6884782"/>
              <a:gd name="connsiteY63854" fmla="*/ 992559 h 5973007"/>
              <a:gd name="connsiteX63855" fmla="*/ 1413888 w 6884782"/>
              <a:gd name="connsiteY63855" fmla="*/ 991823 h 5973007"/>
              <a:gd name="connsiteX63856" fmla="*/ 1418947 w 6884782"/>
              <a:gd name="connsiteY63856" fmla="*/ 1000343 h 5973007"/>
              <a:gd name="connsiteX63857" fmla="*/ 1413578 w 6884782"/>
              <a:gd name="connsiteY63857" fmla="*/ 994302 h 5973007"/>
              <a:gd name="connsiteX63858" fmla="*/ 1413888 w 6884782"/>
              <a:gd name="connsiteY63858" fmla="*/ 991823 h 5973007"/>
              <a:gd name="connsiteX63859" fmla="*/ 1471092 w 6884782"/>
              <a:gd name="connsiteY63859" fmla="*/ 991514 h 5973007"/>
              <a:gd name="connsiteX63860" fmla="*/ 1472950 w 6884782"/>
              <a:gd name="connsiteY63860" fmla="*/ 991823 h 5973007"/>
              <a:gd name="connsiteX63861" fmla="*/ 1475119 w 6884782"/>
              <a:gd name="connsiteY63861" fmla="*/ 992598 h 5973007"/>
              <a:gd name="connsiteX63862" fmla="*/ 1478526 w 6884782"/>
              <a:gd name="connsiteY63862" fmla="*/ 996316 h 5973007"/>
              <a:gd name="connsiteX63863" fmla="*/ 1478216 w 6884782"/>
              <a:gd name="connsiteY63863" fmla="*/ 1000033 h 5973007"/>
              <a:gd name="connsiteX63864" fmla="*/ 1477390 w 6884782"/>
              <a:gd name="connsiteY63864" fmla="*/ 1001272 h 5973007"/>
              <a:gd name="connsiteX63865" fmla="*/ 1469749 w 6884782"/>
              <a:gd name="connsiteY63865" fmla="*/ 998484 h 5973007"/>
              <a:gd name="connsiteX63866" fmla="*/ 1469130 w 6884782"/>
              <a:gd name="connsiteY63866" fmla="*/ 994457 h 5973007"/>
              <a:gd name="connsiteX63867" fmla="*/ 1471092 w 6884782"/>
              <a:gd name="connsiteY63867" fmla="*/ 991514 h 5973007"/>
              <a:gd name="connsiteX63868" fmla="*/ 3536792 w 6884782"/>
              <a:gd name="connsiteY63868" fmla="*/ 990760 h 5973007"/>
              <a:gd name="connsiteX63869" fmla="*/ 3544261 w 6884782"/>
              <a:gd name="connsiteY63869" fmla="*/ 1005272 h 5973007"/>
              <a:gd name="connsiteX63870" fmla="*/ 3532737 w 6884782"/>
              <a:gd name="connsiteY63870" fmla="*/ 1003565 h 5973007"/>
              <a:gd name="connsiteX63871" fmla="*/ 3536792 w 6884782"/>
              <a:gd name="connsiteY63871" fmla="*/ 990760 h 5973007"/>
              <a:gd name="connsiteX63872" fmla="*/ 1464587 w 6884782"/>
              <a:gd name="connsiteY63872" fmla="*/ 990274 h 5973007"/>
              <a:gd name="connsiteX63873" fmla="*/ 1467065 w 6884782"/>
              <a:gd name="connsiteY63873" fmla="*/ 994612 h 5973007"/>
              <a:gd name="connsiteX63874" fmla="*/ 1461592 w 6884782"/>
              <a:gd name="connsiteY63874" fmla="*/ 993372 h 5973007"/>
              <a:gd name="connsiteX63875" fmla="*/ 1464587 w 6884782"/>
              <a:gd name="connsiteY63875" fmla="*/ 990274 h 5973007"/>
              <a:gd name="connsiteX63876" fmla="*/ 1456842 w 6884782"/>
              <a:gd name="connsiteY63876" fmla="*/ 990274 h 5973007"/>
              <a:gd name="connsiteX63877" fmla="*/ 1458804 w 6884782"/>
              <a:gd name="connsiteY63877" fmla="*/ 990584 h 5973007"/>
              <a:gd name="connsiteX63878" fmla="*/ 1456842 w 6884782"/>
              <a:gd name="connsiteY63878" fmla="*/ 996935 h 5973007"/>
              <a:gd name="connsiteX63879" fmla="*/ 1454880 w 6884782"/>
              <a:gd name="connsiteY63879" fmla="*/ 996625 h 5973007"/>
              <a:gd name="connsiteX63880" fmla="*/ 1454261 w 6884782"/>
              <a:gd name="connsiteY63880" fmla="*/ 994302 h 5973007"/>
              <a:gd name="connsiteX63881" fmla="*/ 1456842 w 6884782"/>
              <a:gd name="connsiteY63881" fmla="*/ 990274 h 5973007"/>
              <a:gd name="connsiteX63882" fmla="*/ 3901099 w 6884782"/>
              <a:gd name="connsiteY63882" fmla="*/ 990049 h 5973007"/>
              <a:gd name="connsiteX63883" fmla="*/ 3901953 w 6884782"/>
              <a:gd name="connsiteY63883" fmla="*/ 991045 h 5973007"/>
              <a:gd name="connsiteX63884" fmla="*/ 3900033 w 6884782"/>
              <a:gd name="connsiteY63884" fmla="*/ 991045 h 5973007"/>
              <a:gd name="connsiteX63885" fmla="*/ 3901099 w 6884782"/>
              <a:gd name="connsiteY63885" fmla="*/ 990049 h 5973007"/>
              <a:gd name="connsiteX63886" fmla="*/ 1107630 w 6884782"/>
              <a:gd name="connsiteY63886" fmla="*/ 989345 h 5973007"/>
              <a:gd name="connsiteX63887" fmla="*/ 1102364 w 6884782"/>
              <a:gd name="connsiteY63887" fmla="*/ 1000343 h 5973007"/>
              <a:gd name="connsiteX63888" fmla="*/ 1102054 w 6884782"/>
              <a:gd name="connsiteY63888" fmla="*/ 997864 h 5973007"/>
              <a:gd name="connsiteX63889" fmla="*/ 1107630 w 6884782"/>
              <a:gd name="connsiteY63889" fmla="*/ 989345 h 5973007"/>
              <a:gd name="connsiteX63890" fmla="*/ 3564750 w 6884782"/>
              <a:gd name="connsiteY63890" fmla="*/ 988769 h 5973007"/>
              <a:gd name="connsiteX63891" fmla="*/ 3572006 w 6884782"/>
              <a:gd name="connsiteY63891" fmla="*/ 989196 h 5973007"/>
              <a:gd name="connsiteX63892" fmla="*/ 3569018 w 6884782"/>
              <a:gd name="connsiteY63892" fmla="*/ 1003565 h 5973007"/>
              <a:gd name="connsiteX63893" fmla="*/ 3564110 w 6884782"/>
              <a:gd name="connsiteY63893" fmla="*/ 1003707 h 5973007"/>
              <a:gd name="connsiteX63894" fmla="*/ 3564750 w 6884782"/>
              <a:gd name="connsiteY63894" fmla="*/ 988769 h 5973007"/>
              <a:gd name="connsiteX63895" fmla="*/ 4595141 w 6884782"/>
              <a:gd name="connsiteY63895" fmla="*/ 987916 h 5973007"/>
              <a:gd name="connsiteX63896" fmla="*/ 4598982 w 6884782"/>
              <a:gd name="connsiteY63896" fmla="*/ 988911 h 5973007"/>
              <a:gd name="connsiteX63897" fmla="*/ 4600476 w 6884782"/>
              <a:gd name="connsiteY63897" fmla="*/ 992325 h 5973007"/>
              <a:gd name="connsiteX63898" fmla="*/ 4599409 w 6884782"/>
              <a:gd name="connsiteY63898" fmla="*/ 994887 h 5973007"/>
              <a:gd name="connsiteX63899" fmla="*/ 4578280 w 6884782"/>
              <a:gd name="connsiteY63899" fmla="*/ 1001715 h 5973007"/>
              <a:gd name="connsiteX63900" fmla="*/ 4581695 w 6884782"/>
              <a:gd name="connsiteY63900" fmla="*/ 990903 h 5973007"/>
              <a:gd name="connsiteX63901" fmla="*/ 4585963 w 6884782"/>
              <a:gd name="connsiteY63901" fmla="*/ 988484 h 5973007"/>
              <a:gd name="connsiteX63902" fmla="*/ 4591086 w 6884782"/>
              <a:gd name="connsiteY63902" fmla="*/ 988769 h 5973007"/>
              <a:gd name="connsiteX63903" fmla="*/ 4595141 w 6884782"/>
              <a:gd name="connsiteY63903" fmla="*/ 987916 h 5973007"/>
              <a:gd name="connsiteX63904" fmla="*/ 1305262 w 6884782"/>
              <a:gd name="connsiteY63904" fmla="*/ 987796 h 5973007"/>
              <a:gd name="connsiteX63905" fmla="*/ 1305262 w 6884782"/>
              <a:gd name="connsiteY63905" fmla="*/ 989345 h 5973007"/>
              <a:gd name="connsiteX63906" fmla="*/ 1304539 w 6884782"/>
              <a:gd name="connsiteY63906" fmla="*/ 988571 h 5973007"/>
              <a:gd name="connsiteX63907" fmla="*/ 1305262 w 6884782"/>
              <a:gd name="connsiteY63907" fmla="*/ 987796 h 5973007"/>
              <a:gd name="connsiteX63908" fmla="*/ 3495389 w 6884782"/>
              <a:gd name="connsiteY63908" fmla="*/ 987488 h 5973007"/>
              <a:gd name="connsiteX63909" fmla="*/ 3508407 w 6884782"/>
              <a:gd name="connsiteY63909" fmla="*/ 1000150 h 5973007"/>
              <a:gd name="connsiteX63910" fmla="*/ 3495389 w 6884782"/>
              <a:gd name="connsiteY63910" fmla="*/ 987488 h 5973007"/>
              <a:gd name="connsiteX63911" fmla="*/ 1392101 w 6884782"/>
              <a:gd name="connsiteY63911" fmla="*/ 987177 h 5973007"/>
              <a:gd name="connsiteX63912" fmla="*/ 1393443 w 6884782"/>
              <a:gd name="connsiteY63912" fmla="*/ 992288 h 5973007"/>
              <a:gd name="connsiteX63913" fmla="*/ 1388487 w 6884782"/>
              <a:gd name="connsiteY63913" fmla="*/ 988881 h 5973007"/>
              <a:gd name="connsiteX63914" fmla="*/ 1392101 w 6884782"/>
              <a:gd name="connsiteY63914" fmla="*/ 987177 h 5973007"/>
              <a:gd name="connsiteX63915" fmla="*/ 3885093 w 6884782"/>
              <a:gd name="connsiteY63915" fmla="*/ 986777 h 5973007"/>
              <a:gd name="connsiteX63916" fmla="*/ 3888721 w 6884782"/>
              <a:gd name="connsiteY63916" fmla="*/ 996025 h 5973007"/>
              <a:gd name="connsiteX63917" fmla="*/ 3886587 w 6884782"/>
              <a:gd name="connsiteY63917" fmla="*/ 997447 h 5973007"/>
              <a:gd name="connsiteX63918" fmla="*/ 3884026 w 6884782"/>
              <a:gd name="connsiteY63918" fmla="*/ 995171 h 5973007"/>
              <a:gd name="connsiteX63919" fmla="*/ 3882959 w 6884782"/>
              <a:gd name="connsiteY63919" fmla="*/ 988058 h 5973007"/>
              <a:gd name="connsiteX63920" fmla="*/ 3885093 w 6884782"/>
              <a:gd name="connsiteY63920" fmla="*/ 986777 h 5973007"/>
              <a:gd name="connsiteX63921" fmla="*/ 1283372 w 6884782"/>
              <a:gd name="connsiteY63921" fmla="*/ 986402 h 5973007"/>
              <a:gd name="connsiteX63922" fmla="*/ 1285437 w 6884782"/>
              <a:gd name="connsiteY63922" fmla="*/ 992908 h 5973007"/>
              <a:gd name="connsiteX63923" fmla="*/ 1287399 w 6884782"/>
              <a:gd name="connsiteY63923" fmla="*/ 996935 h 5973007"/>
              <a:gd name="connsiteX63924" fmla="*/ 1283682 w 6884782"/>
              <a:gd name="connsiteY63924" fmla="*/ 992443 h 5973007"/>
              <a:gd name="connsiteX63925" fmla="*/ 1281100 w 6884782"/>
              <a:gd name="connsiteY63925" fmla="*/ 991823 h 5973007"/>
              <a:gd name="connsiteX63926" fmla="*/ 1279138 w 6884782"/>
              <a:gd name="connsiteY63926" fmla="*/ 987022 h 5973007"/>
              <a:gd name="connsiteX63927" fmla="*/ 1283372 w 6884782"/>
              <a:gd name="connsiteY63927" fmla="*/ 986402 h 5973007"/>
              <a:gd name="connsiteX63928" fmla="*/ 3898538 w 6884782"/>
              <a:gd name="connsiteY63928" fmla="*/ 986351 h 5973007"/>
              <a:gd name="connsiteX63929" fmla="*/ 3901526 w 6884782"/>
              <a:gd name="connsiteY63929" fmla="*/ 988058 h 5973007"/>
              <a:gd name="connsiteX63930" fmla="*/ 3898538 w 6884782"/>
              <a:gd name="connsiteY63930" fmla="*/ 991757 h 5973007"/>
              <a:gd name="connsiteX63931" fmla="*/ 3896618 w 6884782"/>
              <a:gd name="connsiteY63931" fmla="*/ 987204 h 5973007"/>
              <a:gd name="connsiteX63932" fmla="*/ 3898538 w 6884782"/>
              <a:gd name="connsiteY63932" fmla="*/ 986351 h 5973007"/>
              <a:gd name="connsiteX63933" fmla="*/ 3263188 w 6884782"/>
              <a:gd name="connsiteY63933" fmla="*/ 986066 h 5973007"/>
              <a:gd name="connsiteX63934" fmla="*/ 3265322 w 6884782"/>
              <a:gd name="connsiteY63934" fmla="*/ 987488 h 5973007"/>
              <a:gd name="connsiteX63935" fmla="*/ 3269163 w 6884782"/>
              <a:gd name="connsiteY63935" fmla="*/ 990903 h 5973007"/>
              <a:gd name="connsiteX63936" fmla="*/ 3261480 w 6884782"/>
              <a:gd name="connsiteY63936" fmla="*/ 986351 h 5973007"/>
              <a:gd name="connsiteX63937" fmla="*/ 3263188 w 6884782"/>
              <a:gd name="connsiteY63937" fmla="*/ 986066 h 5973007"/>
              <a:gd name="connsiteX63938" fmla="*/ 3460814 w 6884782"/>
              <a:gd name="connsiteY63938" fmla="*/ 985354 h 5973007"/>
              <a:gd name="connsiteX63939" fmla="*/ 3466790 w 6884782"/>
              <a:gd name="connsiteY63939" fmla="*/ 991045 h 5973007"/>
              <a:gd name="connsiteX63940" fmla="*/ 3469138 w 6884782"/>
              <a:gd name="connsiteY63940" fmla="*/ 995740 h 5973007"/>
              <a:gd name="connsiteX63941" fmla="*/ 3468498 w 6884782"/>
              <a:gd name="connsiteY63941" fmla="*/ 1000862 h 5973007"/>
              <a:gd name="connsiteX63942" fmla="*/ 3468071 w 6884782"/>
              <a:gd name="connsiteY63942" fmla="*/ 1009113 h 5973007"/>
              <a:gd name="connsiteX63943" fmla="*/ 3462309 w 6884782"/>
              <a:gd name="connsiteY63943" fmla="*/ 1009398 h 5973007"/>
              <a:gd name="connsiteX63944" fmla="*/ 3456760 w 6884782"/>
              <a:gd name="connsiteY63944" fmla="*/ 987062 h 5973007"/>
              <a:gd name="connsiteX63945" fmla="*/ 3460814 w 6884782"/>
              <a:gd name="connsiteY63945" fmla="*/ 985354 h 5973007"/>
              <a:gd name="connsiteX63946" fmla="*/ 4071835 w 6884782"/>
              <a:gd name="connsiteY63946" fmla="*/ 985070 h 5973007"/>
              <a:gd name="connsiteX63947" fmla="*/ 4080585 w 6884782"/>
              <a:gd name="connsiteY63947" fmla="*/ 988626 h 5973007"/>
              <a:gd name="connsiteX63948" fmla="*/ 4081226 w 6884782"/>
              <a:gd name="connsiteY63948" fmla="*/ 995455 h 5973007"/>
              <a:gd name="connsiteX63949" fmla="*/ 4064152 w 6884782"/>
              <a:gd name="connsiteY63949" fmla="*/ 993748 h 5973007"/>
              <a:gd name="connsiteX63950" fmla="*/ 4071835 w 6884782"/>
              <a:gd name="connsiteY63950" fmla="*/ 985070 h 5973007"/>
              <a:gd name="connsiteX63951" fmla="*/ 3493894 w 6884782"/>
              <a:gd name="connsiteY63951" fmla="*/ 985070 h 5973007"/>
              <a:gd name="connsiteX63952" fmla="*/ 3495389 w 6884782"/>
              <a:gd name="connsiteY63952" fmla="*/ 987346 h 5973007"/>
              <a:gd name="connsiteX63953" fmla="*/ 3493681 w 6884782"/>
              <a:gd name="connsiteY63953" fmla="*/ 987631 h 5973007"/>
              <a:gd name="connsiteX63954" fmla="*/ 3493894 w 6884782"/>
              <a:gd name="connsiteY63954" fmla="*/ 985070 h 5973007"/>
              <a:gd name="connsiteX63955" fmla="*/ 4845482 w 6884782"/>
              <a:gd name="connsiteY63955" fmla="*/ 984359 h 5973007"/>
              <a:gd name="connsiteX63956" fmla="*/ 4847616 w 6884782"/>
              <a:gd name="connsiteY63956" fmla="*/ 984501 h 5973007"/>
              <a:gd name="connsiteX63957" fmla="*/ 4844628 w 6884782"/>
              <a:gd name="connsiteY63957" fmla="*/ 991757 h 5973007"/>
              <a:gd name="connsiteX63958" fmla="*/ 4841214 w 6884782"/>
              <a:gd name="connsiteY63958" fmla="*/ 993037 h 5973007"/>
              <a:gd name="connsiteX63959" fmla="*/ 4841640 w 6884782"/>
              <a:gd name="connsiteY63959" fmla="*/ 989338 h 5973007"/>
              <a:gd name="connsiteX63960" fmla="*/ 4843988 w 6884782"/>
              <a:gd name="connsiteY63960" fmla="*/ 988058 h 5973007"/>
              <a:gd name="connsiteX63961" fmla="*/ 4845482 w 6884782"/>
              <a:gd name="connsiteY63961" fmla="*/ 984359 h 5973007"/>
              <a:gd name="connsiteX63962" fmla="*/ 3634965 w 6884782"/>
              <a:gd name="connsiteY63962" fmla="*/ 984074 h 5973007"/>
              <a:gd name="connsiteX63963" fmla="*/ 3640514 w 6884782"/>
              <a:gd name="connsiteY63963" fmla="*/ 985212 h 5973007"/>
              <a:gd name="connsiteX63964" fmla="*/ 3642435 w 6884782"/>
              <a:gd name="connsiteY63964" fmla="*/ 990334 h 5973007"/>
              <a:gd name="connsiteX63965" fmla="*/ 3634965 w 6884782"/>
              <a:gd name="connsiteY63965" fmla="*/ 984074 h 5973007"/>
              <a:gd name="connsiteX63966" fmla="*/ 1503411 w 6884782"/>
              <a:gd name="connsiteY63966" fmla="*/ 983924 h 5973007"/>
              <a:gd name="connsiteX63967" fmla="*/ 1506199 w 6884782"/>
              <a:gd name="connsiteY63967" fmla="*/ 987331 h 5973007"/>
              <a:gd name="connsiteX63968" fmla="*/ 1494531 w 6884782"/>
              <a:gd name="connsiteY63968" fmla="*/ 997400 h 5973007"/>
              <a:gd name="connsiteX63969" fmla="*/ 1491743 w 6884782"/>
              <a:gd name="connsiteY63969" fmla="*/ 993527 h 5973007"/>
              <a:gd name="connsiteX63970" fmla="*/ 1492362 w 6884782"/>
              <a:gd name="connsiteY63970" fmla="*/ 990894 h 5973007"/>
              <a:gd name="connsiteX63971" fmla="*/ 1490400 w 6884782"/>
              <a:gd name="connsiteY63971" fmla="*/ 989655 h 5973007"/>
              <a:gd name="connsiteX63972" fmla="*/ 1491639 w 6884782"/>
              <a:gd name="connsiteY63972" fmla="*/ 986402 h 5973007"/>
              <a:gd name="connsiteX63973" fmla="*/ 1495667 w 6884782"/>
              <a:gd name="connsiteY63973" fmla="*/ 986867 h 5973007"/>
              <a:gd name="connsiteX63974" fmla="*/ 1498041 w 6884782"/>
              <a:gd name="connsiteY63974" fmla="*/ 985938 h 5973007"/>
              <a:gd name="connsiteX63975" fmla="*/ 1503411 w 6884782"/>
              <a:gd name="connsiteY63975" fmla="*/ 983924 h 5973007"/>
              <a:gd name="connsiteX63976" fmla="*/ 4397087 w 6884782"/>
              <a:gd name="connsiteY63976" fmla="*/ 983221 h 5973007"/>
              <a:gd name="connsiteX63977" fmla="*/ 4392605 w 6884782"/>
              <a:gd name="connsiteY63977" fmla="*/ 998159 h 5973007"/>
              <a:gd name="connsiteX63978" fmla="*/ 4388763 w 6884782"/>
              <a:gd name="connsiteY63978" fmla="*/ 984785 h 5973007"/>
              <a:gd name="connsiteX63979" fmla="*/ 4397087 w 6884782"/>
              <a:gd name="connsiteY63979" fmla="*/ 983221 h 5973007"/>
              <a:gd name="connsiteX63980" fmla="*/ 3954668 w 6884782"/>
              <a:gd name="connsiteY63980" fmla="*/ 983221 h 5973007"/>
              <a:gd name="connsiteX63981" fmla="*/ 3965339 w 6884782"/>
              <a:gd name="connsiteY63981" fmla="*/ 992183 h 5973007"/>
              <a:gd name="connsiteX63982" fmla="*/ 3966833 w 6884782"/>
              <a:gd name="connsiteY63982" fmla="*/ 996309 h 5973007"/>
              <a:gd name="connsiteX63983" fmla="*/ 3963205 w 6884782"/>
              <a:gd name="connsiteY63983" fmla="*/ 1001146 h 5973007"/>
              <a:gd name="connsiteX63984" fmla="*/ 3952320 w 6884782"/>
              <a:gd name="connsiteY63984" fmla="*/ 988200 h 5973007"/>
              <a:gd name="connsiteX63985" fmla="*/ 3954668 w 6884782"/>
              <a:gd name="connsiteY63985" fmla="*/ 983221 h 5973007"/>
              <a:gd name="connsiteX63986" fmla="*/ 1353276 w 6884782"/>
              <a:gd name="connsiteY63986" fmla="*/ 983149 h 5973007"/>
              <a:gd name="connsiteX63987" fmla="*/ 1367835 w 6884782"/>
              <a:gd name="connsiteY63987" fmla="*/ 997090 h 5973007"/>
              <a:gd name="connsiteX63988" fmla="*/ 1375270 w 6884782"/>
              <a:gd name="connsiteY63988" fmla="*/ 998484 h 5973007"/>
              <a:gd name="connsiteX63989" fmla="*/ 1376302 w 6884782"/>
              <a:gd name="connsiteY63989" fmla="*/ 999568 h 5973007"/>
              <a:gd name="connsiteX63990" fmla="*/ 1380639 w 6884782"/>
              <a:gd name="connsiteY63990" fmla="*/ 999413 h 5973007"/>
              <a:gd name="connsiteX63991" fmla="*/ 1377645 w 6884782"/>
              <a:gd name="connsiteY63991" fmla="*/ 1005299 h 5973007"/>
              <a:gd name="connsiteX63992" fmla="*/ 1375993 w 6884782"/>
              <a:gd name="connsiteY63992" fmla="*/ 1004525 h 5973007"/>
              <a:gd name="connsiteX63993" fmla="*/ 1375063 w 6884782"/>
              <a:gd name="connsiteY63993" fmla="*/ 1002666 h 5973007"/>
              <a:gd name="connsiteX63994" fmla="*/ 1373102 w 6884782"/>
              <a:gd name="connsiteY63994" fmla="*/ 1003595 h 5973007"/>
              <a:gd name="connsiteX63995" fmla="*/ 1374031 w 6884782"/>
              <a:gd name="connsiteY63995" fmla="*/ 1004370 h 5973007"/>
              <a:gd name="connsiteX63996" fmla="*/ 1378677 w 6884782"/>
              <a:gd name="connsiteY63996" fmla="*/ 1011495 h 5973007"/>
              <a:gd name="connsiteX63997" fmla="*/ 1380639 w 6884782"/>
              <a:gd name="connsiteY63997" fmla="*/ 1015832 h 5973007"/>
              <a:gd name="connsiteX63998" fmla="*/ 1381672 w 6884782"/>
              <a:gd name="connsiteY63998" fmla="*/ 1013973 h 5973007"/>
              <a:gd name="connsiteX63999" fmla="*/ 1387351 w 6884782"/>
              <a:gd name="connsiteY63999" fmla="*/ 1009636 h 5973007"/>
              <a:gd name="connsiteX64000" fmla="*/ 1390862 w 6884782"/>
              <a:gd name="connsiteY64000" fmla="*/ 1016762 h 5973007"/>
              <a:gd name="connsiteX64001" fmla="*/ 1388487 w 6884782"/>
              <a:gd name="connsiteY64001" fmla="*/ 1020944 h 5973007"/>
              <a:gd name="connsiteX64002" fmla="*/ 1385182 w 6884782"/>
              <a:gd name="connsiteY64002" fmla="*/ 1022028 h 5973007"/>
              <a:gd name="connsiteX64003" fmla="*/ 1383634 w 6884782"/>
              <a:gd name="connsiteY64003" fmla="*/ 1022803 h 5973007"/>
              <a:gd name="connsiteX64004" fmla="*/ 1388900 w 6884782"/>
              <a:gd name="connsiteY64004" fmla="*/ 1036124 h 5973007"/>
              <a:gd name="connsiteX64005" fmla="*/ 1379607 w 6884782"/>
              <a:gd name="connsiteY64005" fmla="*/ 1037983 h 5973007"/>
              <a:gd name="connsiteX64006" fmla="*/ 1372275 w 6884782"/>
              <a:gd name="connsiteY64006" fmla="*/ 1016607 h 5973007"/>
              <a:gd name="connsiteX64007" fmla="*/ 1368558 w 6884782"/>
              <a:gd name="connsiteY64007" fmla="*/ 1005609 h 5973007"/>
              <a:gd name="connsiteX64008" fmla="*/ 1365667 w 6884782"/>
              <a:gd name="connsiteY64008" fmla="*/ 1007003 h 5973007"/>
              <a:gd name="connsiteX64009" fmla="*/ 1353586 w 6884782"/>
              <a:gd name="connsiteY64009" fmla="*/ 1008242 h 5973007"/>
              <a:gd name="connsiteX64010" fmla="*/ 1345842 w 6884782"/>
              <a:gd name="connsiteY64010" fmla="*/ 1006694 h 5973007"/>
              <a:gd name="connsiteX64011" fmla="*/ 1359781 w 6884782"/>
              <a:gd name="connsiteY64011" fmla="*/ 998174 h 5973007"/>
              <a:gd name="connsiteX64012" fmla="*/ 1353276 w 6884782"/>
              <a:gd name="connsiteY64012" fmla="*/ 983149 h 5973007"/>
              <a:gd name="connsiteX64013" fmla="*/ 3489199 w 6884782"/>
              <a:gd name="connsiteY64013" fmla="*/ 981940 h 5973007"/>
              <a:gd name="connsiteX64014" fmla="*/ 3490480 w 6884782"/>
              <a:gd name="connsiteY64014" fmla="*/ 983078 h 5973007"/>
              <a:gd name="connsiteX64015" fmla="*/ 3490480 w 6884782"/>
              <a:gd name="connsiteY64015" fmla="*/ 984216 h 5973007"/>
              <a:gd name="connsiteX64016" fmla="*/ 3488559 w 6884782"/>
              <a:gd name="connsiteY64016" fmla="*/ 982936 h 5973007"/>
              <a:gd name="connsiteX64017" fmla="*/ 3489199 w 6884782"/>
              <a:gd name="connsiteY64017" fmla="*/ 981940 h 5973007"/>
              <a:gd name="connsiteX64018" fmla="*/ 1417708 w 6884782"/>
              <a:gd name="connsiteY64018" fmla="*/ 981910 h 5973007"/>
              <a:gd name="connsiteX64019" fmla="*/ 1421012 w 6884782"/>
              <a:gd name="connsiteY64019" fmla="*/ 985008 h 5973007"/>
              <a:gd name="connsiteX64020" fmla="*/ 1423697 w 6884782"/>
              <a:gd name="connsiteY64020" fmla="*/ 985783 h 5973007"/>
              <a:gd name="connsiteX64021" fmla="*/ 1423594 w 6884782"/>
              <a:gd name="connsiteY64021" fmla="*/ 986557 h 5973007"/>
              <a:gd name="connsiteX64022" fmla="*/ 1413165 w 6884782"/>
              <a:gd name="connsiteY64022" fmla="*/ 985473 h 5973007"/>
              <a:gd name="connsiteX64023" fmla="*/ 1412235 w 6884782"/>
              <a:gd name="connsiteY64023" fmla="*/ 984079 h 5973007"/>
              <a:gd name="connsiteX64024" fmla="*/ 1413268 w 6884782"/>
              <a:gd name="connsiteY64024" fmla="*/ 982065 h 5973007"/>
              <a:gd name="connsiteX64025" fmla="*/ 1417708 w 6884782"/>
              <a:gd name="connsiteY64025" fmla="*/ 981910 h 5973007"/>
              <a:gd name="connsiteX64026" fmla="*/ 3243980 w 6884782"/>
              <a:gd name="connsiteY64026" fmla="*/ 981229 h 5973007"/>
              <a:gd name="connsiteX64027" fmla="*/ 3251023 w 6884782"/>
              <a:gd name="connsiteY64027" fmla="*/ 982936 h 5973007"/>
              <a:gd name="connsiteX64028" fmla="*/ 3243340 w 6884782"/>
              <a:gd name="connsiteY64028" fmla="*/ 989338 h 5973007"/>
              <a:gd name="connsiteX64029" fmla="*/ 3243980 w 6884782"/>
              <a:gd name="connsiteY64029" fmla="*/ 981229 h 5973007"/>
              <a:gd name="connsiteX64030" fmla="*/ 3224132 w 6884782"/>
              <a:gd name="connsiteY64030" fmla="*/ 981229 h 5973007"/>
              <a:gd name="connsiteX64031" fmla="*/ 3226480 w 6884782"/>
              <a:gd name="connsiteY64031" fmla="*/ 983078 h 5973007"/>
              <a:gd name="connsiteX64032" fmla="*/ 3229040 w 6884782"/>
              <a:gd name="connsiteY64032" fmla="*/ 987346 h 5973007"/>
              <a:gd name="connsiteX64033" fmla="*/ 3228827 w 6884782"/>
              <a:gd name="connsiteY64033" fmla="*/ 988769 h 5973007"/>
              <a:gd name="connsiteX64034" fmla="*/ 3229681 w 6884782"/>
              <a:gd name="connsiteY64034" fmla="*/ 987773 h 5973007"/>
              <a:gd name="connsiteX64035" fmla="*/ 3234376 w 6884782"/>
              <a:gd name="connsiteY64035" fmla="*/ 987631 h 5973007"/>
              <a:gd name="connsiteX64036" fmla="*/ 3237364 w 6884782"/>
              <a:gd name="connsiteY64036" fmla="*/ 989196 h 5973007"/>
              <a:gd name="connsiteX64037" fmla="*/ 3238431 w 6884782"/>
              <a:gd name="connsiteY64037" fmla="*/ 992468 h 5973007"/>
              <a:gd name="connsiteX64038" fmla="*/ 3240779 w 6884782"/>
              <a:gd name="connsiteY64038" fmla="*/ 992041 h 5973007"/>
              <a:gd name="connsiteX64039" fmla="*/ 3240138 w 6884782"/>
              <a:gd name="connsiteY64039" fmla="*/ 999439 h 5973007"/>
              <a:gd name="connsiteX64040" fmla="*/ 3234803 w 6884782"/>
              <a:gd name="connsiteY64040" fmla="*/ 999154 h 5973007"/>
              <a:gd name="connsiteX64041" fmla="*/ 3234803 w 6884782"/>
              <a:gd name="connsiteY64041" fmla="*/ 998443 h 5973007"/>
              <a:gd name="connsiteX64042" fmla="*/ 3234590 w 6884782"/>
              <a:gd name="connsiteY64042" fmla="*/ 998728 h 5973007"/>
              <a:gd name="connsiteX64043" fmla="*/ 3231388 w 6884782"/>
              <a:gd name="connsiteY64043" fmla="*/ 1000150 h 5973007"/>
              <a:gd name="connsiteX64044" fmla="*/ 3227974 w 6884782"/>
              <a:gd name="connsiteY64044" fmla="*/ 996309 h 5973007"/>
              <a:gd name="connsiteX64045" fmla="*/ 3226693 w 6884782"/>
              <a:gd name="connsiteY64045" fmla="*/ 991188 h 5973007"/>
              <a:gd name="connsiteX64046" fmla="*/ 3225840 w 6884782"/>
              <a:gd name="connsiteY64046" fmla="*/ 991330 h 5973007"/>
              <a:gd name="connsiteX64047" fmla="*/ 3225840 w 6884782"/>
              <a:gd name="connsiteY64047" fmla="*/ 992610 h 5973007"/>
              <a:gd name="connsiteX64048" fmla="*/ 3223705 w 6884782"/>
              <a:gd name="connsiteY64048" fmla="*/ 991045 h 5973007"/>
              <a:gd name="connsiteX64049" fmla="*/ 3220717 w 6884782"/>
              <a:gd name="connsiteY64049" fmla="*/ 982082 h 5973007"/>
              <a:gd name="connsiteX64050" fmla="*/ 3224132 w 6884782"/>
              <a:gd name="connsiteY64050" fmla="*/ 981229 h 5973007"/>
              <a:gd name="connsiteX64051" fmla="*/ 1318375 w 6884782"/>
              <a:gd name="connsiteY64051" fmla="*/ 980361 h 5973007"/>
              <a:gd name="connsiteX64052" fmla="*/ 1319925 w 6884782"/>
              <a:gd name="connsiteY64052" fmla="*/ 984543 h 5973007"/>
              <a:gd name="connsiteX64053" fmla="*/ 1317343 w 6884782"/>
              <a:gd name="connsiteY64053" fmla="*/ 981291 h 5973007"/>
              <a:gd name="connsiteX64054" fmla="*/ 1318375 w 6884782"/>
              <a:gd name="connsiteY64054" fmla="*/ 980361 h 5973007"/>
              <a:gd name="connsiteX64055" fmla="*/ 3790548 w 6884782"/>
              <a:gd name="connsiteY64055" fmla="*/ 979806 h 5973007"/>
              <a:gd name="connsiteX64056" fmla="*/ 3793323 w 6884782"/>
              <a:gd name="connsiteY64056" fmla="*/ 985212 h 5973007"/>
              <a:gd name="connsiteX64057" fmla="*/ 3788414 w 6884782"/>
              <a:gd name="connsiteY64057" fmla="*/ 1000293 h 5973007"/>
              <a:gd name="connsiteX64058" fmla="*/ 3783505 w 6884782"/>
              <a:gd name="connsiteY64058" fmla="*/ 990334 h 5973007"/>
              <a:gd name="connsiteX64059" fmla="*/ 3790548 w 6884782"/>
              <a:gd name="connsiteY64059" fmla="*/ 979806 h 5973007"/>
              <a:gd name="connsiteX64060" fmla="*/ 1013770 w 6884782"/>
              <a:gd name="connsiteY64060" fmla="*/ 979741 h 5973007"/>
              <a:gd name="connsiteX64061" fmla="*/ 1025231 w 6884782"/>
              <a:gd name="connsiteY64061" fmla="*/ 983924 h 5973007"/>
              <a:gd name="connsiteX64062" fmla="*/ 1023166 w 6884782"/>
              <a:gd name="connsiteY64062" fmla="*/ 990429 h 5973007"/>
              <a:gd name="connsiteX64063" fmla="*/ 1010775 w 6884782"/>
              <a:gd name="connsiteY64063" fmla="*/ 984079 h 5973007"/>
              <a:gd name="connsiteX64064" fmla="*/ 1013770 w 6884782"/>
              <a:gd name="connsiteY64064" fmla="*/ 979741 h 5973007"/>
              <a:gd name="connsiteX64065" fmla="*/ 1530567 w 6884782"/>
              <a:gd name="connsiteY64065" fmla="*/ 979587 h 5973007"/>
              <a:gd name="connsiteX64066" fmla="*/ 1527366 w 6884782"/>
              <a:gd name="connsiteY64066" fmla="*/ 985163 h 5973007"/>
              <a:gd name="connsiteX64067" fmla="*/ 1527057 w 6884782"/>
              <a:gd name="connsiteY64067" fmla="*/ 983924 h 5973007"/>
              <a:gd name="connsiteX64068" fmla="*/ 1528089 w 6884782"/>
              <a:gd name="connsiteY64068" fmla="*/ 982375 h 5973007"/>
              <a:gd name="connsiteX64069" fmla="*/ 1530567 w 6884782"/>
              <a:gd name="connsiteY64069" fmla="*/ 979587 h 5973007"/>
              <a:gd name="connsiteX64070" fmla="*/ 3218796 w 6884782"/>
              <a:gd name="connsiteY64070" fmla="*/ 979522 h 5973007"/>
              <a:gd name="connsiteX64071" fmla="*/ 3220291 w 6884782"/>
              <a:gd name="connsiteY64071" fmla="*/ 979664 h 5973007"/>
              <a:gd name="connsiteX64072" fmla="*/ 3215809 w 6884782"/>
              <a:gd name="connsiteY64072" fmla="*/ 983078 h 5973007"/>
              <a:gd name="connsiteX64073" fmla="*/ 3218796 w 6884782"/>
              <a:gd name="connsiteY64073" fmla="*/ 979522 h 5973007"/>
              <a:gd name="connsiteX64074" fmla="*/ 1516318 w 6884782"/>
              <a:gd name="connsiteY64074" fmla="*/ 978502 h 5973007"/>
              <a:gd name="connsiteX64075" fmla="*/ 1523959 w 6884782"/>
              <a:gd name="connsiteY64075" fmla="*/ 986247 h 5973007"/>
              <a:gd name="connsiteX64076" fmla="*/ 1521068 w 6884782"/>
              <a:gd name="connsiteY64076" fmla="*/ 989345 h 5973007"/>
              <a:gd name="connsiteX64077" fmla="*/ 1516318 w 6884782"/>
              <a:gd name="connsiteY64077" fmla="*/ 978502 h 5973007"/>
              <a:gd name="connsiteX64078" fmla="*/ 4864049 w 6884782"/>
              <a:gd name="connsiteY64078" fmla="*/ 978099 h 5973007"/>
              <a:gd name="connsiteX64079" fmla="*/ 4866824 w 6884782"/>
              <a:gd name="connsiteY64079" fmla="*/ 978810 h 5973007"/>
              <a:gd name="connsiteX64080" fmla="*/ 4865116 w 6884782"/>
              <a:gd name="connsiteY64080" fmla="*/ 984928 h 5973007"/>
              <a:gd name="connsiteX64081" fmla="*/ 4854445 w 6884782"/>
              <a:gd name="connsiteY64081" fmla="*/ 988342 h 5973007"/>
              <a:gd name="connsiteX64082" fmla="*/ 4854873 w 6884782"/>
              <a:gd name="connsiteY64082" fmla="*/ 983505 h 5973007"/>
              <a:gd name="connsiteX64083" fmla="*/ 4864049 w 6884782"/>
              <a:gd name="connsiteY64083" fmla="*/ 978099 h 5973007"/>
              <a:gd name="connsiteX64084" fmla="*/ 1331076 w 6884782"/>
              <a:gd name="connsiteY64084" fmla="*/ 977263 h 5973007"/>
              <a:gd name="connsiteX64085" fmla="*/ 1338407 w 6884782"/>
              <a:gd name="connsiteY64085" fmla="*/ 982995 h 5973007"/>
              <a:gd name="connsiteX64086" fmla="*/ 1331076 w 6884782"/>
              <a:gd name="connsiteY64086" fmla="*/ 977263 h 5973007"/>
              <a:gd name="connsiteX64087" fmla="*/ 3485144 w 6884782"/>
              <a:gd name="connsiteY64087" fmla="*/ 976249 h 5973007"/>
              <a:gd name="connsiteX64088" fmla="*/ 3487065 w 6884782"/>
              <a:gd name="connsiteY64088" fmla="*/ 979237 h 5973007"/>
              <a:gd name="connsiteX64089" fmla="*/ 3487919 w 6884782"/>
              <a:gd name="connsiteY64089" fmla="*/ 982367 h 5973007"/>
              <a:gd name="connsiteX64090" fmla="*/ 3484078 w 6884782"/>
              <a:gd name="connsiteY64090" fmla="*/ 979948 h 5973007"/>
              <a:gd name="connsiteX64091" fmla="*/ 3485144 w 6884782"/>
              <a:gd name="connsiteY64091" fmla="*/ 976249 h 5973007"/>
              <a:gd name="connsiteX64092" fmla="*/ 1209543 w 6884782"/>
              <a:gd name="connsiteY64092" fmla="*/ 975714 h 5973007"/>
              <a:gd name="connsiteX64093" fmla="*/ 1218321 w 6884782"/>
              <a:gd name="connsiteY64093" fmla="*/ 979587 h 5973007"/>
              <a:gd name="connsiteX64094" fmla="*/ 1212951 w 6884782"/>
              <a:gd name="connsiteY64094" fmla="*/ 987331 h 5973007"/>
              <a:gd name="connsiteX64095" fmla="*/ 1206756 w 6884782"/>
              <a:gd name="connsiteY64095" fmla="*/ 981445 h 5973007"/>
              <a:gd name="connsiteX64096" fmla="*/ 1209543 w 6884782"/>
              <a:gd name="connsiteY64096" fmla="*/ 975714 h 5973007"/>
              <a:gd name="connsiteX64097" fmla="*/ 3902380 w 6884782"/>
              <a:gd name="connsiteY64097" fmla="*/ 975253 h 5973007"/>
              <a:gd name="connsiteX64098" fmla="*/ 3905368 w 6884782"/>
              <a:gd name="connsiteY64098" fmla="*/ 975253 h 5973007"/>
              <a:gd name="connsiteX64099" fmla="*/ 3908996 w 6884782"/>
              <a:gd name="connsiteY64099" fmla="*/ 976818 h 5973007"/>
              <a:gd name="connsiteX64100" fmla="*/ 3911984 w 6884782"/>
              <a:gd name="connsiteY64100" fmla="*/ 981371 h 5973007"/>
              <a:gd name="connsiteX64101" fmla="*/ 3912197 w 6884782"/>
              <a:gd name="connsiteY64101" fmla="*/ 983932 h 5973007"/>
              <a:gd name="connsiteX64102" fmla="*/ 3902380 w 6884782"/>
              <a:gd name="connsiteY64102" fmla="*/ 986777 h 5973007"/>
              <a:gd name="connsiteX64103" fmla="*/ 3897685 w 6884782"/>
              <a:gd name="connsiteY64103" fmla="*/ 977387 h 5973007"/>
              <a:gd name="connsiteX64104" fmla="*/ 3899819 w 6884782"/>
              <a:gd name="connsiteY64104" fmla="*/ 976107 h 5973007"/>
              <a:gd name="connsiteX64105" fmla="*/ 3902380 w 6884782"/>
              <a:gd name="connsiteY64105" fmla="*/ 975253 h 5973007"/>
              <a:gd name="connsiteX64106" fmla="*/ 3815731 w 6884782"/>
              <a:gd name="connsiteY64106" fmla="*/ 973831 h 5973007"/>
              <a:gd name="connsiteX64107" fmla="*/ 3815305 w 6884782"/>
              <a:gd name="connsiteY64107" fmla="*/ 974827 h 5973007"/>
              <a:gd name="connsiteX64108" fmla="*/ 3815945 w 6884782"/>
              <a:gd name="connsiteY64108" fmla="*/ 977957 h 5973007"/>
              <a:gd name="connsiteX64109" fmla="*/ 3821067 w 6884782"/>
              <a:gd name="connsiteY64109" fmla="*/ 984216 h 5973007"/>
              <a:gd name="connsiteX64110" fmla="*/ 3820640 w 6884782"/>
              <a:gd name="connsiteY64110" fmla="*/ 986919 h 5973007"/>
              <a:gd name="connsiteX64111" fmla="*/ 3817226 w 6884782"/>
              <a:gd name="connsiteY64111" fmla="*/ 986066 h 5973007"/>
              <a:gd name="connsiteX64112" fmla="*/ 3817439 w 6884782"/>
              <a:gd name="connsiteY64112" fmla="*/ 981940 h 5973007"/>
              <a:gd name="connsiteX64113" fmla="*/ 3814238 w 6884782"/>
              <a:gd name="connsiteY64113" fmla="*/ 978383 h 5973007"/>
              <a:gd name="connsiteX64114" fmla="*/ 3814451 w 6884782"/>
              <a:gd name="connsiteY64114" fmla="*/ 974115 h 5973007"/>
              <a:gd name="connsiteX64115" fmla="*/ 3815731 w 6884782"/>
              <a:gd name="connsiteY64115" fmla="*/ 973831 h 5973007"/>
              <a:gd name="connsiteX64116" fmla="*/ 3539993 w 6884782"/>
              <a:gd name="connsiteY64116" fmla="*/ 973262 h 5973007"/>
              <a:gd name="connsiteX64117" fmla="*/ 3544475 w 6884782"/>
              <a:gd name="connsiteY64117" fmla="*/ 974827 h 5973007"/>
              <a:gd name="connsiteX64118" fmla="*/ 3538926 w 6884782"/>
              <a:gd name="connsiteY64118" fmla="*/ 976961 h 5973007"/>
              <a:gd name="connsiteX64119" fmla="*/ 3535085 w 6884782"/>
              <a:gd name="connsiteY64119" fmla="*/ 974542 h 5973007"/>
              <a:gd name="connsiteX64120" fmla="*/ 3539993 w 6884782"/>
              <a:gd name="connsiteY64120" fmla="*/ 973262 h 5973007"/>
              <a:gd name="connsiteX64121" fmla="*/ 4042383 w 6884782"/>
              <a:gd name="connsiteY64121" fmla="*/ 972835 h 5973007"/>
              <a:gd name="connsiteX64122" fmla="*/ 4044304 w 6884782"/>
              <a:gd name="connsiteY64122" fmla="*/ 977672 h 5973007"/>
              <a:gd name="connsiteX64123" fmla="*/ 4037261 w 6884782"/>
              <a:gd name="connsiteY64123" fmla="*/ 979948 h 5973007"/>
              <a:gd name="connsiteX64124" fmla="*/ 4035341 w 6884782"/>
              <a:gd name="connsiteY64124" fmla="*/ 975111 h 5973007"/>
              <a:gd name="connsiteX64125" fmla="*/ 4042383 w 6884782"/>
              <a:gd name="connsiteY64125" fmla="*/ 972835 h 5973007"/>
              <a:gd name="connsiteX64126" fmla="*/ 1263443 w 6884782"/>
              <a:gd name="connsiteY64126" fmla="*/ 972771 h 5973007"/>
              <a:gd name="connsiteX64127" fmla="*/ 1268606 w 6884782"/>
              <a:gd name="connsiteY64127" fmla="*/ 972771 h 5973007"/>
              <a:gd name="connsiteX64128" fmla="*/ 1270671 w 6884782"/>
              <a:gd name="connsiteY64128" fmla="*/ 974165 h 5973007"/>
              <a:gd name="connsiteX64129" fmla="*/ 1271807 w 6884782"/>
              <a:gd name="connsiteY64129" fmla="*/ 973701 h 5973007"/>
              <a:gd name="connsiteX64130" fmla="*/ 1269019 w 6884782"/>
              <a:gd name="connsiteY64130" fmla="*/ 982839 h 5973007"/>
              <a:gd name="connsiteX64131" fmla="*/ 1264166 w 6884782"/>
              <a:gd name="connsiteY64131" fmla="*/ 979896 h 5973007"/>
              <a:gd name="connsiteX64132" fmla="*/ 1264992 w 6884782"/>
              <a:gd name="connsiteY64132" fmla="*/ 977728 h 5973007"/>
              <a:gd name="connsiteX64133" fmla="*/ 1265199 w 6884782"/>
              <a:gd name="connsiteY64133" fmla="*/ 977573 h 5973007"/>
              <a:gd name="connsiteX64134" fmla="*/ 1260965 w 6884782"/>
              <a:gd name="connsiteY64134" fmla="*/ 974630 h 5973007"/>
              <a:gd name="connsiteX64135" fmla="*/ 1263443 w 6884782"/>
              <a:gd name="connsiteY64135" fmla="*/ 972771 h 5973007"/>
              <a:gd name="connsiteX64136" fmla="*/ 3548530 w 6884782"/>
              <a:gd name="connsiteY64136" fmla="*/ 972693 h 5973007"/>
              <a:gd name="connsiteX64137" fmla="*/ 3548743 w 6884782"/>
              <a:gd name="connsiteY64137" fmla="*/ 974258 h 5973007"/>
              <a:gd name="connsiteX64138" fmla="*/ 3549384 w 6884782"/>
              <a:gd name="connsiteY64138" fmla="*/ 973404 h 5973007"/>
              <a:gd name="connsiteX64139" fmla="*/ 3548743 w 6884782"/>
              <a:gd name="connsiteY64139" fmla="*/ 974969 h 5973007"/>
              <a:gd name="connsiteX64140" fmla="*/ 3548103 w 6884782"/>
              <a:gd name="connsiteY64140" fmla="*/ 975395 h 5973007"/>
              <a:gd name="connsiteX64141" fmla="*/ 3544475 w 6884782"/>
              <a:gd name="connsiteY64141" fmla="*/ 974542 h 5973007"/>
              <a:gd name="connsiteX64142" fmla="*/ 3548530 w 6884782"/>
              <a:gd name="connsiteY64142" fmla="*/ 972693 h 5973007"/>
              <a:gd name="connsiteX64143" fmla="*/ 1026470 w 6884782"/>
              <a:gd name="connsiteY64143" fmla="*/ 972151 h 5973007"/>
              <a:gd name="connsiteX64144" fmla="*/ 1036280 w 6884782"/>
              <a:gd name="connsiteY64144" fmla="*/ 976798 h 5973007"/>
              <a:gd name="connsiteX64145" fmla="*/ 1026470 w 6884782"/>
              <a:gd name="connsiteY64145" fmla="*/ 972151 h 5973007"/>
              <a:gd name="connsiteX64146" fmla="*/ 1482140 w 6884782"/>
              <a:gd name="connsiteY64146" fmla="*/ 971996 h 5973007"/>
              <a:gd name="connsiteX64147" fmla="*/ 1482346 w 6884782"/>
              <a:gd name="connsiteY64147" fmla="*/ 976334 h 5973007"/>
              <a:gd name="connsiteX64148" fmla="*/ 1480591 w 6884782"/>
              <a:gd name="connsiteY64148" fmla="*/ 974940 h 5973007"/>
              <a:gd name="connsiteX64149" fmla="*/ 1481314 w 6884782"/>
              <a:gd name="connsiteY64149" fmla="*/ 972151 h 5973007"/>
              <a:gd name="connsiteX64150" fmla="*/ 1482140 w 6884782"/>
              <a:gd name="connsiteY64150" fmla="*/ 971996 h 5973007"/>
              <a:gd name="connsiteX64151" fmla="*/ 1453641 w 6884782"/>
              <a:gd name="connsiteY64151" fmla="*/ 971996 h 5973007"/>
              <a:gd name="connsiteX64152" fmla="*/ 1453538 w 6884782"/>
              <a:gd name="connsiteY64152" fmla="*/ 973391 h 5973007"/>
              <a:gd name="connsiteX64153" fmla="*/ 1452815 w 6884782"/>
              <a:gd name="connsiteY64153" fmla="*/ 972771 h 5973007"/>
              <a:gd name="connsiteX64154" fmla="*/ 1453641 w 6884782"/>
              <a:gd name="connsiteY64154" fmla="*/ 971996 h 5973007"/>
              <a:gd name="connsiteX64155" fmla="*/ 4499528 w 6884782"/>
              <a:gd name="connsiteY64155" fmla="*/ 971839 h 5973007"/>
              <a:gd name="connsiteX64156" fmla="*/ 4502516 w 6884782"/>
              <a:gd name="connsiteY64156" fmla="*/ 973831 h 5973007"/>
              <a:gd name="connsiteX64157" fmla="*/ 4503583 w 6884782"/>
              <a:gd name="connsiteY64157" fmla="*/ 976392 h 5973007"/>
              <a:gd name="connsiteX64158" fmla="*/ 4502943 w 6884782"/>
              <a:gd name="connsiteY64158" fmla="*/ 979806 h 5973007"/>
              <a:gd name="connsiteX64159" fmla="*/ 4492912 w 6884782"/>
              <a:gd name="connsiteY64159" fmla="*/ 979664 h 5973007"/>
              <a:gd name="connsiteX64160" fmla="*/ 4492059 w 6884782"/>
              <a:gd name="connsiteY64160" fmla="*/ 976107 h 5973007"/>
              <a:gd name="connsiteX64161" fmla="*/ 4499528 w 6884782"/>
              <a:gd name="connsiteY64161" fmla="*/ 971839 h 5973007"/>
              <a:gd name="connsiteX64162" fmla="*/ 3367977 w 6884782"/>
              <a:gd name="connsiteY64162" fmla="*/ 969990 h 5973007"/>
              <a:gd name="connsiteX64163" fmla="*/ 3371392 w 6884782"/>
              <a:gd name="connsiteY64163" fmla="*/ 975822 h 5973007"/>
              <a:gd name="connsiteX64164" fmla="*/ 3371178 w 6884782"/>
              <a:gd name="connsiteY64164" fmla="*/ 976818 h 5973007"/>
              <a:gd name="connsiteX64165" fmla="*/ 3371818 w 6884782"/>
              <a:gd name="connsiteY64165" fmla="*/ 975965 h 5973007"/>
              <a:gd name="connsiteX64166" fmla="*/ 3378221 w 6884782"/>
              <a:gd name="connsiteY64166" fmla="*/ 981229 h 5973007"/>
              <a:gd name="connsiteX64167" fmla="*/ 3378648 w 6884782"/>
              <a:gd name="connsiteY64167" fmla="*/ 990334 h 5973007"/>
              <a:gd name="connsiteX64168" fmla="*/ 3364775 w 6884782"/>
              <a:gd name="connsiteY64168" fmla="*/ 987062 h 5973007"/>
              <a:gd name="connsiteX64169" fmla="*/ 3365842 w 6884782"/>
              <a:gd name="connsiteY64169" fmla="*/ 984928 h 5973007"/>
              <a:gd name="connsiteX64170" fmla="*/ 3363282 w 6884782"/>
              <a:gd name="connsiteY64170" fmla="*/ 985212 h 5973007"/>
              <a:gd name="connsiteX64171" fmla="*/ 3359440 w 6884782"/>
              <a:gd name="connsiteY64171" fmla="*/ 984501 h 5973007"/>
              <a:gd name="connsiteX64172" fmla="*/ 3358586 w 6884782"/>
              <a:gd name="connsiteY64172" fmla="*/ 975822 h 5973007"/>
              <a:gd name="connsiteX64173" fmla="*/ 3361361 w 6884782"/>
              <a:gd name="connsiteY64173" fmla="*/ 973120 h 5973007"/>
              <a:gd name="connsiteX64174" fmla="*/ 3368190 w 6884782"/>
              <a:gd name="connsiteY64174" fmla="*/ 970985 h 5973007"/>
              <a:gd name="connsiteX64175" fmla="*/ 3367977 w 6884782"/>
              <a:gd name="connsiteY64175" fmla="*/ 969990 h 5973007"/>
              <a:gd name="connsiteX64176" fmla="*/ 3848385 w 6884782"/>
              <a:gd name="connsiteY64176" fmla="*/ 969136 h 5973007"/>
              <a:gd name="connsiteX64177" fmla="*/ 3852440 w 6884782"/>
              <a:gd name="connsiteY64177" fmla="*/ 969278 h 5973007"/>
              <a:gd name="connsiteX64178" fmla="*/ 3856922 w 6884782"/>
              <a:gd name="connsiteY64178" fmla="*/ 973546 h 5973007"/>
              <a:gd name="connsiteX64179" fmla="*/ 3844543 w 6884782"/>
              <a:gd name="connsiteY64179" fmla="*/ 985924 h 5973007"/>
              <a:gd name="connsiteX64180" fmla="*/ 3840275 w 6884782"/>
              <a:gd name="connsiteY64180" fmla="*/ 978526 h 5973007"/>
              <a:gd name="connsiteX64181" fmla="*/ 3848385 w 6884782"/>
              <a:gd name="connsiteY64181" fmla="*/ 969136 h 5973007"/>
              <a:gd name="connsiteX64182" fmla="*/ 5054206 w 6884782"/>
              <a:gd name="connsiteY64182" fmla="*/ 968425 h 5973007"/>
              <a:gd name="connsiteX64183" fmla="*/ 5057408 w 6884782"/>
              <a:gd name="connsiteY64183" fmla="*/ 969278 h 5973007"/>
              <a:gd name="connsiteX64184" fmla="*/ 5046737 w 6884782"/>
              <a:gd name="connsiteY64184" fmla="*/ 975965 h 5973007"/>
              <a:gd name="connsiteX64185" fmla="*/ 5054206 w 6884782"/>
              <a:gd name="connsiteY64185" fmla="*/ 968425 h 5973007"/>
              <a:gd name="connsiteX64186" fmla="*/ 4172996 w 6884782"/>
              <a:gd name="connsiteY64186" fmla="*/ 968425 h 5973007"/>
              <a:gd name="connsiteX64187" fmla="*/ 4183454 w 6884782"/>
              <a:gd name="connsiteY64187" fmla="*/ 971839 h 5973007"/>
              <a:gd name="connsiteX64188" fmla="*/ 4185588 w 6884782"/>
              <a:gd name="connsiteY64188" fmla="*/ 973120 h 5973007"/>
              <a:gd name="connsiteX64189" fmla="*/ 4187722 w 6884782"/>
              <a:gd name="connsiteY64189" fmla="*/ 974258 h 5973007"/>
              <a:gd name="connsiteX64190" fmla="*/ 4189002 w 6884782"/>
              <a:gd name="connsiteY64190" fmla="*/ 976392 h 5973007"/>
              <a:gd name="connsiteX64191" fmla="*/ 4188576 w 6884782"/>
              <a:gd name="connsiteY64191" fmla="*/ 979237 h 5973007"/>
              <a:gd name="connsiteX64192" fmla="*/ 4168301 w 6884782"/>
              <a:gd name="connsiteY64192" fmla="*/ 971554 h 5973007"/>
              <a:gd name="connsiteX64193" fmla="*/ 4169795 w 6884782"/>
              <a:gd name="connsiteY64193" fmla="*/ 969136 h 5973007"/>
              <a:gd name="connsiteX64194" fmla="*/ 4172996 w 6884782"/>
              <a:gd name="connsiteY64194" fmla="*/ 968425 h 5973007"/>
              <a:gd name="connsiteX64195" fmla="*/ 1222864 w 6884782"/>
              <a:gd name="connsiteY64195" fmla="*/ 967505 h 5973007"/>
              <a:gd name="connsiteX64196" fmla="*/ 1224103 w 6884782"/>
              <a:gd name="connsiteY64196" fmla="*/ 974785 h 5973007"/>
              <a:gd name="connsiteX64197" fmla="*/ 1224412 w 6884782"/>
              <a:gd name="connsiteY64197" fmla="*/ 978812 h 5973007"/>
              <a:gd name="connsiteX64198" fmla="*/ 1222760 w 6884782"/>
              <a:gd name="connsiteY64198" fmla="*/ 980826 h 5973007"/>
              <a:gd name="connsiteX64199" fmla="*/ 1221831 w 6884782"/>
              <a:gd name="connsiteY64199" fmla="*/ 980981 h 5973007"/>
              <a:gd name="connsiteX64200" fmla="*/ 1221108 w 6884782"/>
              <a:gd name="connsiteY64200" fmla="*/ 979277 h 5973007"/>
              <a:gd name="connsiteX64201" fmla="*/ 1221005 w 6884782"/>
              <a:gd name="connsiteY64201" fmla="*/ 974320 h 5973007"/>
              <a:gd name="connsiteX64202" fmla="*/ 1221315 w 6884782"/>
              <a:gd name="connsiteY64202" fmla="*/ 971067 h 5973007"/>
              <a:gd name="connsiteX64203" fmla="*/ 1221211 w 6884782"/>
              <a:gd name="connsiteY64203" fmla="*/ 969363 h 5973007"/>
              <a:gd name="connsiteX64204" fmla="*/ 1222864 w 6884782"/>
              <a:gd name="connsiteY64204" fmla="*/ 967505 h 5973007"/>
              <a:gd name="connsiteX64205" fmla="*/ 3967473 w 6884782"/>
              <a:gd name="connsiteY64205" fmla="*/ 966291 h 5973007"/>
              <a:gd name="connsiteX64206" fmla="*/ 3976010 w 6884782"/>
              <a:gd name="connsiteY64206" fmla="*/ 971696 h 5973007"/>
              <a:gd name="connsiteX64207" fmla="*/ 3975583 w 6884782"/>
              <a:gd name="connsiteY64207" fmla="*/ 984643 h 5973007"/>
              <a:gd name="connsiteX64208" fmla="*/ 3969607 w 6884782"/>
              <a:gd name="connsiteY64208" fmla="*/ 986351 h 5973007"/>
              <a:gd name="connsiteX64209" fmla="*/ 3968967 w 6884782"/>
              <a:gd name="connsiteY64209" fmla="*/ 985781 h 5973007"/>
              <a:gd name="connsiteX64210" fmla="*/ 3957442 w 6884782"/>
              <a:gd name="connsiteY64210" fmla="*/ 979806 h 5973007"/>
              <a:gd name="connsiteX64211" fmla="*/ 3955949 w 6884782"/>
              <a:gd name="connsiteY64211" fmla="*/ 972693 h 5973007"/>
              <a:gd name="connsiteX64212" fmla="*/ 3959363 w 6884782"/>
              <a:gd name="connsiteY64212" fmla="*/ 971412 h 5973007"/>
              <a:gd name="connsiteX64213" fmla="*/ 3964699 w 6884782"/>
              <a:gd name="connsiteY64213" fmla="*/ 974542 h 5973007"/>
              <a:gd name="connsiteX64214" fmla="*/ 3964699 w 6884782"/>
              <a:gd name="connsiteY64214" fmla="*/ 971981 h 5973007"/>
              <a:gd name="connsiteX64215" fmla="*/ 3967473 w 6884782"/>
              <a:gd name="connsiteY64215" fmla="*/ 966291 h 5973007"/>
              <a:gd name="connsiteX64216" fmla="*/ 1112276 w 6884782"/>
              <a:gd name="connsiteY64216" fmla="*/ 966111 h 5973007"/>
              <a:gd name="connsiteX64217" fmla="*/ 1113929 w 6884782"/>
              <a:gd name="connsiteY64217" fmla="*/ 971377 h 5973007"/>
              <a:gd name="connsiteX64218" fmla="*/ 1110418 w 6884782"/>
              <a:gd name="connsiteY64218" fmla="*/ 972771 h 5973007"/>
              <a:gd name="connsiteX64219" fmla="*/ 1108766 w 6884782"/>
              <a:gd name="connsiteY64219" fmla="*/ 967505 h 5973007"/>
              <a:gd name="connsiteX64220" fmla="*/ 1112276 w 6884782"/>
              <a:gd name="connsiteY64220" fmla="*/ 966111 h 5973007"/>
              <a:gd name="connsiteX64221" fmla="*/ 3812103 w 6884782"/>
              <a:gd name="connsiteY64221" fmla="*/ 965295 h 5973007"/>
              <a:gd name="connsiteX64222" fmla="*/ 3813384 w 6884782"/>
              <a:gd name="connsiteY64222" fmla="*/ 973546 h 5973007"/>
              <a:gd name="connsiteX64223" fmla="*/ 3812743 w 6884782"/>
              <a:gd name="connsiteY64223" fmla="*/ 970274 h 5973007"/>
              <a:gd name="connsiteX64224" fmla="*/ 3811036 w 6884782"/>
              <a:gd name="connsiteY64224" fmla="*/ 968993 h 5973007"/>
              <a:gd name="connsiteX64225" fmla="*/ 3812103 w 6884782"/>
              <a:gd name="connsiteY64225" fmla="*/ 965295 h 5973007"/>
              <a:gd name="connsiteX64226" fmla="*/ 3782865 w 6884782"/>
              <a:gd name="connsiteY64226" fmla="*/ 965152 h 5973007"/>
              <a:gd name="connsiteX64227" fmla="*/ 3785640 w 6884782"/>
              <a:gd name="connsiteY64227" fmla="*/ 970701 h 5973007"/>
              <a:gd name="connsiteX64228" fmla="*/ 3780090 w 6884782"/>
              <a:gd name="connsiteY64228" fmla="*/ 990476 h 5973007"/>
              <a:gd name="connsiteX64229" fmla="*/ 3769419 w 6884782"/>
              <a:gd name="connsiteY64229" fmla="*/ 987488 h 5973007"/>
              <a:gd name="connsiteX64230" fmla="*/ 3782865 w 6884782"/>
              <a:gd name="connsiteY64230" fmla="*/ 965152 h 5973007"/>
              <a:gd name="connsiteX64231" fmla="*/ 1318272 w 6884782"/>
              <a:gd name="connsiteY64231" fmla="*/ 964252 h 5973007"/>
              <a:gd name="connsiteX64232" fmla="*/ 1318169 w 6884782"/>
              <a:gd name="connsiteY64232" fmla="*/ 965181 h 5973007"/>
              <a:gd name="connsiteX64233" fmla="*/ 1319098 w 6884782"/>
              <a:gd name="connsiteY64233" fmla="*/ 964252 h 5973007"/>
              <a:gd name="connsiteX64234" fmla="*/ 1320234 w 6884782"/>
              <a:gd name="connsiteY64234" fmla="*/ 976024 h 5973007"/>
              <a:gd name="connsiteX64235" fmla="*/ 1319408 w 6884782"/>
              <a:gd name="connsiteY64235" fmla="*/ 976024 h 5973007"/>
              <a:gd name="connsiteX64236" fmla="*/ 1317860 w 6884782"/>
              <a:gd name="connsiteY64236" fmla="*/ 967505 h 5973007"/>
              <a:gd name="connsiteX64237" fmla="*/ 1318272 w 6884782"/>
              <a:gd name="connsiteY64237" fmla="*/ 964252 h 5973007"/>
              <a:gd name="connsiteX64238" fmla="*/ 1312284 w 6884782"/>
              <a:gd name="connsiteY64238" fmla="*/ 963787 h 5973007"/>
              <a:gd name="connsiteX64239" fmla="*/ 1312180 w 6884782"/>
              <a:gd name="connsiteY64239" fmla="*/ 965646 h 5973007"/>
              <a:gd name="connsiteX64240" fmla="*/ 1316001 w 6884782"/>
              <a:gd name="connsiteY64240" fmla="*/ 978038 h 5973007"/>
              <a:gd name="connsiteX64241" fmla="*/ 1308773 w 6884782"/>
              <a:gd name="connsiteY64241" fmla="*/ 964097 h 5973007"/>
              <a:gd name="connsiteX64242" fmla="*/ 1312284 w 6884782"/>
              <a:gd name="connsiteY64242" fmla="*/ 963787 h 5973007"/>
              <a:gd name="connsiteX64243" fmla="*/ 4000767 w 6884782"/>
              <a:gd name="connsiteY64243" fmla="*/ 963587 h 5973007"/>
              <a:gd name="connsiteX64244" fmla="*/ 4012504 w 6884782"/>
              <a:gd name="connsiteY64244" fmla="*/ 971270 h 5973007"/>
              <a:gd name="connsiteX64245" fmla="*/ 3997352 w 6884782"/>
              <a:gd name="connsiteY64245" fmla="*/ 964014 h 5973007"/>
              <a:gd name="connsiteX64246" fmla="*/ 4000767 w 6884782"/>
              <a:gd name="connsiteY64246" fmla="*/ 963587 h 5973007"/>
              <a:gd name="connsiteX64247" fmla="*/ 3265536 w 6884782"/>
              <a:gd name="connsiteY64247" fmla="*/ 963302 h 5973007"/>
              <a:gd name="connsiteX64248" fmla="*/ 3272151 w 6884782"/>
              <a:gd name="connsiteY64248" fmla="*/ 965295 h 5973007"/>
              <a:gd name="connsiteX64249" fmla="*/ 3268096 w 6884782"/>
              <a:gd name="connsiteY64249" fmla="*/ 979237 h 5973007"/>
              <a:gd name="connsiteX64250" fmla="*/ 3267883 w 6884782"/>
              <a:gd name="connsiteY64250" fmla="*/ 979237 h 5973007"/>
              <a:gd name="connsiteX64251" fmla="*/ 3259987 w 6884782"/>
              <a:gd name="connsiteY64251" fmla="*/ 981656 h 5973007"/>
              <a:gd name="connsiteX64252" fmla="*/ 3255718 w 6884782"/>
              <a:gd name="connsiteY64252" fmla="*/ 977672 h 5973007"/>
              <a:gd name="connsiteX64253" fmla="*/ 3257639 w 6884782"/>
              <a:gd name="connsiteY64253" fmla="*/ 973973 h 5973007"/>
              <a:gd name="connsiteX64254" fmla="*/ 3258920 w 6884782"/>
              <a:gd name="connsiteY64254" fmla="*/ 973404 h 5973007"/>
              <a:gd name="connsiteX64255" fmla="*/ 3258706 w 6884782"/>
              <a:gd name="connsiteY64255" fmla="*/ 969847 h 5973007"/>
              <a:gd name="connsiteX64256" fmla="*/ 3265536 w 6884782"/>
              <a:gd name="connsiteY64256" fmla="*/ 963302 h 5973007"/>
              <a:gd name="connsiteX64257" fmla="*/ 3740394 w 6884782"/>
              <a:gd name="connsiteY64257" fmla="*/ 962876 h 5973007"/>
              <a:gd name="connsiteX64258" fmla="*/ 3744663 w 6884782"/>
              <a:gd name="connsiteY64258" fmla="*/ 977103 h 5973007"/>
              <a:gd name="connsiteX64259" fmla="*/ 3736339 w 6884782"/>
              <a:gd name="connsiteY64259" fmla="*/ 975253 h 5973007"/>
              <a:gd name="connsiteX64260" fmla="*/ 3734632 w 6884782"/>
              <a:gd name="connsiteY64260" fmla="*/ 971696 h 5973007"/>
              <a:gd name="connsiteX64261" fmla="*/ 3734845 w 6884782"/>
              <a:gd name="connsiteY64261" fmla="*/ 964441 h 5973007"/>
              <a:gd name="connsiteX64262" fmla="*/ 3733565 w 6884782"/>
              <a:gd name="connsiteY64262" fmla="*/ 964441 h 5973007"/>
              <a:gd name="connsiteX64263" fmla="*/ 3740394 w 6884782"/>
              <a:gd name="connsiteY64263" fmla="*/ 962876 h 5973007"/>
              <a:gd name="connsiteX64264" fmla="*/ 1484102 w 6884782"/>
              <a:gd name="connsiteY64264" fmla="*/ 962703 h 5973007"/>
              <a:gd name="connsiteX64265" fmla="*/ 1483586 w 6884782"/>
              <a:gd name="connsiteY64265" fmla="*/ 967040 h 5973007"/>
              <a:gd name="connsiteX64266" fmla="*/ 1480901 w 6884782"/>
              <a:gd name="connsiteY64266" fmla="*/ 966575 h 5973007"/>
              <a:gd name="connsiteX64267" fmla="*/ 1481521 w 6884782"/>
              <a:gd name="connsiteY64267" fmla="*/ 963013 h 5973007"/>
              <a:gd name="connsiteX64268" fmla="*/ 1484102 w 6884782"/>
              <a:gd name="connsiteY64268" fmla="*/ 962703 h 5973007"/>
              <a:gd name="connsiteX64269" fmla="*/ 1139691 w 6884782"/>
              <a:gd name="connsiteY64269" fmla="*/ 961812 h 5973007"/>
              <a:gd name="connsiteX64270" fmla="*/ 1145731 w 6884782"/>
              <a:gd name="connsiteY64270" fmla="*/ 962238 h 5973007"/>
              <a:gd name="connsiteX64271" fmla="*/ 1148829 w 6884782"/>
              <a:gd name="connsiteY64271" fmla="*/ 971067 h 5973007"/>
              <a:gd name="connsiteX64272" fmla="*/ 1146454 w 6884782"/>
              <a:gd name="connsiteY64272" fmla="*/ 975559 h 5973007"/>
              <a:gd name="connsiteX64273" fmla="*/ 1136025 w 6884782"/>
              <a:gd name="connsiteY64273" fmla="*/ 976179 h 5973007"/>
              <a:gd name="connsiteX64274" fmla="*/ 1133857 w 6884782"/>
              <a:gd name="connsiteY64274" fmla="*/ 967350 h 5973007"/>
              <a:gd name="connsiteX64275" fmla="*/ 1131998 w 6884782"/>
              <a:gd name="connsiteY64275" fmla="*/ 966730 h 5973007"/>
              <a:gd name="connsiteX64276" fmla="*/ 1130036 w 6884782"/>
              <a:gd name="connsiteY64276" fmla="*/ 963632 h 5973007"/>
              <a:gd name="connsiteX64277" fmla="*/ 1131792 w 6884782"/>
              <a:gd name="connsiteY64277" fmla="*/ 962548 h 5973007"/>
              <a:gd name="connsiteX64278" fmla="*/ 1134476 w 6884782"/>
              <a:gd name="connsiteY64278" fmla="*/ 965491 h 5973007"/>
              <a:gd name="connsiteX64279" fmla="*/ 1135405 w 6884782"/>
              <a:gd name="connsiteY64279" fmla="*/ 965336 h 5973007"/>
              <a:gd name="connsiteX64280" fmla="*/ 1137058 w 6884782"/>
              <a:gd name="connsiteY64280" fmla="*/ 963477 h 5973007"/>
              <a:gd name="connsiteX64281" fmla="*/ 1139691 w 6884782"/>
              <a:gd name="connsiteY64281" fmla="*/ 961812 h 5973007"/>
              <a:gd name="connsiteX64282" fmla="*/ 1252808 w 6884782"/>
              <a:gd name="connsiteY64282" fmla="*/ 959915 h 5973007"/>
              <a:gd name="connsiteX64283" fmla="*/ 1255596 w 6884782"/>
              <a:gd name="connsiteY64283" fmla="*/ 976953 h 5973007"/>
              <a:gd name="connsiteX64284" fmla="*/ 1252292 w 6884782"/>
              <a:gd name="connsiteY64284" fmla="*/ 976179 h 5973007"/>
              <a:gd name="connsiteX64285" fmla="*/ 1249194 w 6884782"/>
              <a:gd name="connsiteY64285" fmla="*/ 971996 h 5973007"/>
              <a:gd name="connsiteX64286" fmla="*/ 1247542 w 6884782"/>
              <a:gd name="connsiteY64286" fmla="*/ 967970 h 5973007"/>
              <a:gd name="connsiteX64287" fmla="*/ 1241346 w 6884782"/>
              <a:gd name="connsiteY64287" fmla="*/ 968279 h 5973007"/>
              <a:gd name="connsiteX64288" fmla="*/ 1236390 w 6884782"/>
              <a:gd name="connsiteY64288" fmla="*/ 965027 h 5973007"/>
              <a:gd name="connsiteX64289" fmla="*/ 1241966 w 6884782"/>
              <a:gd name="connsiteY64289" fmla="*/ 962703 h 5973007"/>
              <a:gd name="connsiteX64290" fmla="*/ 1248678 w 6884782"/>
              <a:gd name="connsiteY64290" fmla="*/ 962548 h 5973007"/>
              <a:gd name="connsiteX64291" fmla="*/ 1250124 w 6884782"/>
              <a:gd name="connsiteY64291" fmla="*/ 960225 h 5973007"/>
              <a:gd name="connsiteX64292" fmla="*/ 1252808 w 6884782"/>
              <a:gd name="connsiteY64292" fmla="*/ 959915 h 5973007"/>
              <a:gd name="connsiteX64293" fmla="*/ 4971400 w 6884782"/>
              <a:gd name="connsiteY64293" fmla="*/ 959035 h 5973007"/>
              <a:gd name="connsiteX64294" fmla="*/ 4972253 w 6884782"/>
              <a:gd name="connsiteY64294" fmla="*/ 961454 h 5973007"/>
              <a:gd name="connsiteX64295" fmla="*/ 4967345 w 6884782"/>
              <a:gd name="connsiteY64295" fmla="*/ 964868 h 5973007"/>
              <a:gd name="connsiteX64296" fmla="*/ 4967345 w 6884782"/>
              <a:gd name="connsiteY64296" fmla="*/ 966006 h 5973007"/>
              <a:gd name="connsiteX64297" fmla="*/ 4969266 w 6884782"/>
              <a:gd name="connsiteY64297" fmla="*/ 968567 h 5973007"/>
              <a:gd name="connsiteX64298" fmla="*/ 4967985 w 6884782"/>
              <a:gd name="connsiteY64298" fmla="*/ 980517 h 5973007"/>
              <a:gd name="connsiteX64299" fmla="*/ 4954967 w 6884782"/>
              <a:gd name="connsiteY64299" fmla="*/ 983789 h 5973007"/>
              <a:gd name="connsiteX64300" fmla="*/ 4949631 w 6884782"/>
              <a:gd name="connsiteY64300" fmla="*/ 980232 h 5973007"/>
              <a:gd name="connsiteX64301" fmla="*/ 4952192 w 6884782"/>
              <a:gd name="connsiteY64301" fmla="*/ 965864 h 5973007"/>
              <a:gd name="connsiteX64302" fmla="*/ 4965210 w 6884782"/>
              <a:gd name="connsiteY64302" fmla="*/ 963587 h 5973007"/>
              <a:gd name="connsiteX64303" fmla="*/ 4966491 w 6884782"/>
              <a:gd name="connsiteY64303" fmla="*/ 961311 h 5973007"/>
              <a:gd name="connsiteX64304" fmla="*/ 4971400 w 6884782"/>
              <a:gd name="connsiteY64304" fmla="*/ 959035 h 5973007"/>
              <a:gd name="connsiteX64305" fmla="*/ 3719266 w 6884782"/>
              <a:gd name="connsiteY64305" fmla="*/ 956047 h 5973007"/>
              <a:gd name="connsiteX64306" fmla="*/ 3723321 w 6884782"/>
              <a:gd name="connsiteY64306" fmla="*/ 957754 h 5973007"/>
              <a:gd name="connsiteX64307" fmla="*/ 3717985 w 6884782"/>
              <a:gd name="connsiteY64307" fmla="*/ 969420 h 5973007"/>
              <a:gd name="connsiteX64308" fmla="*/ 3716918 w 6884782"/>
              <a:gd name="connsiteY64308" fmla="*/ 972550 h 5973007"/>
              <a:gd name="connsiteX64309" fmla="*/ 3720547 w 6884782"/>
              <a:gd name="connsiteY64309" fmla="*/ 971696 h 5973007"/>
              <a:gd name="connsiteX64310" fmla="*/ 3728016 w 6884782"/>
              <a:gd name="connsiteY64310" fmla="*/ 974258 h 5973007"/>
              <a:gd name="connsiteX64311" fmla="*/ 3733351 w 6884782"/>
              <a:gd name="connsiteY64311" fmla="*/ 995598 h 5973007"/>
              <a:gd name="connsiteX64312" fmla="*/ 3731431 w 6884782"/>
              <a:gd name="connsiteY64312" fmla="*/ 998016 h 5973007"/>
              <a:gd name="connsiteX64313" fmla="*/ 3729937 w 6884782"/>
              <a:gd name="connsiteY64313" fmla="*/ 1002996 h 5973007"/>
              <a:gd name="connsiteX64314" fmla="*/ 3715211 w 6884782"/>
              <a:gd name="connsiteY64314" fmla="*/ 997732 h 5973007"/>
              <a:gd name="connsiteX64315" fmla="*/ 3707314 w 6884782"/>
              <a:gd name="connsiteY64315" fmla="*/ 982082 h 5973007"/>
              <a:gd name="connsiteX64316" fmla="*/ 3708595 w 6884782"/>
              <a:gd name="connsiteY64316" fmla="*/ 978383 h 5973007"/>
              <a:gd name="connsiteX64317" fmla="*/ 3705820 w 6884782"/>
              <a:gd name="connsiteY64317" fmla="*/ 975965 h 5973007"/>
              <a:gd name="connsiteX64318" fmla="*/ 3708595 w 6884782"/>
              <a:gd name="connsiteY64318" fmla="*/ 958323 h 5973007"/>
              <a:gd name="connsiteX64319" fmla="*/ 3719266 w 6884782"/>
              <a:gd name="connsiteY64319" fmla="*/ 956047 h 5973007"/>
              <a:gd name="connsiteX64320" fmla="*/ 1172759 w 6884782"/>
              <a:gd name="connsiteY64320" fmla="*/ 953835 h 5973007"/>
              <a:gd name="connsiteX64321" fmla="*/ 1179290 w 6884782"/>
              <a:gd name="connsiteY64321" fmla="*/ 956042 h 5973007"/>
              <a:gd name="connsiteX64322" fmla="*/ 1169687 w 6884782"/>
              <a:gd name="connsiteY64322" fmla="*/ 959295 h 5973007"/>
              <a:gd name="connsiteX64323" fmla="*/ 1159258 w 6884782"/>
              <a:gd name="connsiteY64323" fmla="*/ 956662 h 5973007"/>
              <a:gd name="connsiteX64324" fmla="*/ 1163595 w 6884782"/>
              <a:gd name="connsiteY64324" fmla="*/ 954183 h 5973007"/>
              <a:gd name="connsiteX64325" fmla="*/ 1172759 w 6884782"/>
              <a:gd name="connsiteY64325" fmla="*/ 953835 h 5973007"/>
              <a:gd name="connsiteX64326" fmla="*/ 3797164 w 6884782"/>
              <a:gd name="connsiteY64326" fmla="*/ 953344 h 5973007"/>
              <a:gd name="connsiteX64327" fmla="*/ 3807195 w 6884782"/>
              <a:gd name="connsiteY64327" fmla="*/ 991045 h 5973007"/>
              <a:gd name="connsiteX64328" fmla="*/ 3797164 w 6884782"/>
              <a:gd name="connsiteY64328" fmla="*/ 953344 h 5973007"/>
              <a:gd name="connsiteX64329" fmla="*/ 3343220 w 6884782"/>
              <a:gd name="connsiteY64329" fmla="*/ 950072 h 5973007"/>
              <a:gd name="connsiteX64330" fmla="*/ 3347702 w 6884782"/>
              <a:gd name="connsiteY64330" fmla="*/ 950356 h 5973007"/>
              <a:gd name="connsiteX64331" fmla="*/ 3357092 w 6884782"/>
              <a:gd name="connsiteY64331" fmla="*/ 959604 h 5973007"/>
              <a:gd name="connsiteX64332" fmla="*/ 3356879 w 6884782"/>
              <a:gd name="connsiteY64332" fmla="*/ 967713 h 5973007"/>
              <a:gd name="connsiteX64333" fmla="*/ 3338525 w 6884782"/>
              <a:gd name="connsiteY64333" fmla="*/ 979379 h 5973007"/>
              <a:gd name="connsiteX64334" fmla="*/ 3335537 w 6884782"/>
              <a:gd name="connsiteY64334" fmla="*/ 978383 h 5973007"/>
              <a:gd name="connsiteX64335" fmla="*/ 3330415 w 6884782"/>
              <a:gd name="connsiteY64335" fmla="*/ 978241 h 5973007"/>
              <a:gd name="connsiteX64336" fmla="*/ 3330842 w 6884782"/>
              <a:gd name="connsiteY64336" fmla="*/ 962592 h 5973007"/>
              <a:gd name="connsiteX64337" fmla="*/ 3343220 w 6884782"/>
              <a:gd name="connsiteY64337" fmla="*/ 950072 h 5973007"/>
              <a:gd name="connsiteX64338" fmla="*/ 1145215 w 6884782"/>
              <a:gd name="connsiteY64338" fmla="*/ 949537 h 5973007"/>
              <a:gd name="connsiteX64339" fmla="*/ 1158019 w 6884782"/>
              <a:gd name="connsiteY64339" fmla="*/ 952790 h 5973007"/>
              <a:gd name="connsiteX64340" fmla="*/ 1153269 w 6884782"/>
              <a:gd name="connsiteY64340" fmla="*/ 958675 h 5973007"/>
              <a:gd name="connsiteX64341" fmla="*/ 1148209 w 6884782"/>
              <a:gd name="connsiteY64341" fmla="*/ 958211 h 5973007"/>
              <a:gd name="connsiteX64342" fmla="*/ 1142221 w 6884782"/>
              <a:gd name="connsiteY64342" fmla="*/ 952480 h 5973007"/>
              <a:gd name="connsiteX64343" fmla="*/ 1145215 w 6884782"/>
              <a:gd name="connsiteY64343" fmla="*/ 949537 h 5973007"/>
              <a:gd name="connsiteX64344" fmla="*/ 3682558 w 6884782"/>
              <a:gd name="connsiteY64344" fmla="*/ 949361 h 5973007"/>
              <a:gd name="connsiteX64345" fmla="*/ 3685332 w 6884782"/>
              <a:gd name="connsiteY64345" fmla="*/ 954909 h 5973007"/>
              <a:gd name="connsiteX64346" fmla="*/ 3682771 w 6884782"/>
              <a:gd name="connsiteY64346" fmla="*/ 976534 h 5973007"/>
              <a:gd name="connsiteX64347" fmla="*/ 3688534 w 6884782"/>
              <a:gd name="connsiteY64347" fmla="*/ 989480 h 5973007"/>
              <a:gd name="connsiteX64348" fmla="*/ 3657374 w 6884782"/>
              <a:gd name="connsiteY64348" fmla="*/ 976818 h 5973007"/>
              <a:gd name="connsiteX64349" fmla="*/ 3651398 w 6884782"/>
              <a:gd name="connsiteY64349" fmla="*/ 968567 h 5973007"/>
              <a:gd name="connsiteX64350" fmla="*/ 3673808 w 6884782"/>
              <a:gd name="connsiteY64350" fmla="*/ 971128 h 5973007"/>
              <a:gd name="connsiteX64351" fmla="*/ 3682558 w 6884782"/>
              <a:gd name="connsiteY64351" fmla="*/ 949361 h 5973007"/>
              <a:gd name="connsiteX64352" fmla="*/ 3911557 w 6884782"/>
              <a:gd name="connsiteY64352" fmla="*/ 948934 h 5973007"/>
              <a:gd name="connsiteX64353" fmla="*/ 3913051 w 6884782"/>
              <a:gd name="connsiteY64353" fmla="*/ 952206 h 5973007"/>
              <a:gd name="connsiteX64354" fmla="*/ 3912197 w 6884782"/>
              <a:gd name="connsiteY64354" fmla="*/ 956759 h 5973007"/>
              <a:gd name="connsiteX64355" fmla="*/ 3912624 w 6884782"/>
              <a:gd name="connsiteY64355" fmla="*/ 957897 h 5973007"/>
              <a:gd name="connsiteX64356" fmla="*/ 3910917 w 6884782"/>
              <a:gd name="connsiteY64356" fmla="*/ 961311 h 5973007"/>
              <a:gd name="connsiteX64357" fmla="*/ 3909637 w 6884782"/>
              <a:gd name="connsiteY64357" fmla="*/ 962022 h 5973007"/>
              <a:gd name="connsiteX64358" fmla="*/ 3906862 w 6884782"/>
              <a:gd name="connsiteY64358" fmla="*/ 966006 h 5973007"/>
              <a:gd name="connsiteX64359" fmla="*/ 3905795 w 6884782"/>
              <a:gd name="connsiteY64359" fmla="*/ 964156 h 5973007"/>
              <a:gd name="connsiteX64360" fmla="*/ 3901526 w 6884782"/>
              <a:gd name="connsiteY64360" fmla="*/ 963445 h 5973007"/>
              <a:gd name="connsiteX64361" fmla="*/ 3895337 w 6884782"/>
              <a:gd name="connsiteY64361" fmla="*/ 965721 h 5973007"/>
              <a:gd name="connsiteX64362" fmla="*/ 3902807 w 6884782"/>
              <a:gd name="connsiteY64362" fmla="*/ 961169 h 5973007"/>
              <a:gd name="connsiteX64363" fmla="*/ 3903447 w 6884782"/>
              <a:gd name="connsiteY64363" fmla="*/ 959604 h 5973007"/>
              <a:gd name="connsiteX64364" fmla="*/ 3903447 w 6884782"/>
              <a:gd name="connsiteY64364" fmla="*/ 959319 h 5973007"/>
              <a:gd name="connsiteX64365" fmla="*/ 3903874 w 6884782"/>
              <a:gd name="connsiteY64365" fmla="*/ 958892 h 5973007"/>
              <a:gd name="connsiteX64366" fmla="*/ 3904301 w 6884782"/>
              <a:gd name="connsiteY64366" fmla="*/ 957612 h 5973007"/>
              <a:gd name="connsiteX64367" fmla="*/ 3904941 w 6884782"/>
              <a:gd name="connsiteY64367" fmla="*/ 957470 h 5973007"/>
              <a:gd name="connsiteX64368" fmla="*/ 3906435 w 6884782"/>
              <a:gd name="connsiteY64368" fmla="*/ 954482 h 5973007"/>
              <a:gd name="connsiteX64369" fmla="*/ 3908569 w 6884782"/>
              <a:gd name="connsiteY64369" fmla="*/ 949361 h 5973007"/>
              <a:gd name="connsiteX64370" fmla="*/ 3911557 w 6884782"/>
              <a:gd name="connsiteY64370" fmla="*/ 948934 h 5973007"/>
              <a:gd name="connsiteX64371" fmla="*/ 1418121 w 6884782"/>
              <a:gd name="connsiteY64371" fmla="*/ 947368 h 5973007"/>
              <a:gd name="connsiteX64372" fmla="*/ 1430099 w 6884782"/>
              <a:gd name="connsiteY64372" fmla="*/ 961619 h 5973007"/>
              <a:gd name="connsiteX64373" fmla="*/ 1427724 w 6884782"/>
              <a:gd name="connsiteY64373" fmla="*/ 963323 h 5973007"/>
              <a:gd name="connsiteX64374" fmla="*/ 1428240 w 6884782"/>
              <a:gd name="connsiteY64374" fmla="*/ 964252 h 5973007"/>
              <a:gd name="connsiteX64375" fmla="*/ 1429376 w 6884782"/>
              <a:gd name="connsiteY64375" fmla="*/ 967970 h 5973007"/>
              <a:gd name="connsiteX64376" fmla="*/ 1429789 w 6884782"/>
              <a:gd name="connsiteY64376" fmla="*/ 967660 h 5973007"/>
              <a:gd name="connsiteX64377" fmla="*/ 1432164 w 6884782"/>
              <a:gd name="connsiteY64377" fmla="*/ 968589 h 5973007"/>
              <a:gd name="connsiteX64378" fmla="*/ 1433610 w 6884782"/>
              <a:gd name="connsiteY64378" fmla="*/ 975250 h 5973007"/>
              <a:gd name="connsiteX64379" fmla="*/ 1435159 w 6884782"/>
              <a:gd name="connsiteY64379" fmla="*/ 979431 h 5973007"/>
              <a:gd name="connsiteX64380" fmla="*/ 1431854 w 6884782"/>
              <a:gd name="connsiteY64380" fmla="*/ 974475 h 5973007"/>
              <a:gd name="connsiteX64381" fmla="*/ 1429376 w 6884782"/>
              <a:gd name="connsiteY64381" fmla="*/ 973701 h 5973007"/>
              <a:gd name="connsiteX64382" fmla="*/ 1428757 w 6884782"/>
              <a:gd name="connsiteY64382" fmla="*/ 972151 h 5973007"/>
              <a:gd name="connsiteX64383" fmla="*/ 1427621 w 6884782"/>
              <a:gd name="connsiteY64383" fmla="*/ 972462 h 5973007"/>
              <a:gd name="connsiteX64384" fmla="*/ 1425246 w 6884782"/>
              <a:gd name="connsiteY64384" fmla="*/ 973701 h 5973007"/>
              <a:gd name="connsiteX64385" fmla="*/ 1423181 w 6884782"/>
              <a:gd name="connsiteY64385" fmla="*/ 967505 h 5973007"/>
              <a:gd name="connsiteX64386" fmla="*/ 1422768 w 6884782"/>
              <a:gd name="connsiteY64386" fmla="*/ 964872 h 5973007"/>
              <a:gd name="connsiteX64387" fmla="*/ 1422458 w 6884782"/>
              <a:gd name="connsiteY64387" fmla="*/ 964872 h 5973007"/>
              <a:gd name="connsiteX64388" fmla="*/ 1417811 w 6884782"/>
              <a:gd name="connsiteY64388" fmla="*/ 962393 h 5973007"/>
              <a:gd name="connsiteX64389" fmla="*/ 1416882 w 6884782"/>
              <a:gd name="connsiteY64389" fmla="*/ 960999 h 5973007"/>
              <a:gd name="connsiteX64390" fmla="*/ 1406866 w 6884782"/>
              <a:gd name="connsiteY64390" fmla="*/ 959140 h 5973007"/>
              <a:gd name="connsiteX64391" fmla="*/ 1408931 w 6884782"/>
              <a:gd name="connsiteY64391" fmla="*/ 951860 h 5973007"/>
              <a:gd name="connsiteX64392" fmla="*/ 1414920 w 6884782"/>
              <a:gd name="connsiteY64392" fmla="*/ 952015 h 5973007"/>
              <a:gd name="connsiteX64393" fmla="*/ 3546396 w 6884782"/>
              <a:gd name="connsiteY64393" fmla="*/ 946657 h 5973007"/>
              <a:gd name="connsiteX64394" fmla="*/ 3550878 w 6884782"/>
              <a:gd name="connsiteY64394" fmla="*/ 949076 h 5973007"/>
              <a:gd name="connsiteX64395" fmla="*/ 3553225 w 6884782"/>
              <a:gd name="connsiteY64395" fmla="*/ 953344 h 5973007"/>
              <a:gd name="connsiteX64396" fmla="*/ 3554719 w 6884782"/>
              <a:gd name="connsiteY64396" fmla="*/ 957612 h 5973007"/>
              <a:gd name="connsiteX64397" fmla="*/ 3544048 w 6884782"/>
              <a:gd name="connsiteY64397" fmla="*/ 957470 h 5973007"/>
              <a:gd name="connsiteX64398" fmla="*/ 3543194 w 6884782"/>
              <a:gd name="connsiteY64398" fmla="*/ 954909 h 5973007"/>
              <a:gd name="connsiteX64399" fmla="*/ 3542554 w 6884782"/>
              <a:gd name="connsiteY64399" fmla="*/ 948934 h 5973007"/>
              <a:gd name="connsiteX64400" fmla="*/ 3546396 w 6884782"/>
              <a:gd name="connsiteY64400" fmla="*/ 946657 h 5973007"/>
              <a:gd name="connsiteX64401" fmla="*/ 1482140 w 6884782"/>
              <a:gd name="connsiteY64401" fmla="*/ 946284 h 5973007"/>
              <a:gd name="connsiteX64402" fmla="*/ 1485238 w 6884782"/>
              <a:gd name="connsiteY64402" fmla="*/ 948143 h 5973007"/>
              <a:gd name="connsiteX64403" fmla="*/ 1487819 w 6884782"/>
              <a:gd name="connsiteY64403" fmla="*/ 954183 h 5973007"/>
              <a:gd name="connsiteX64404" fmla="*/ 1484308 w 6884782"/>
              <a:gd name="connsiteY64404" fmla="*/ 955268 h 5973007"/>
              <a:gd name="connsiteX64405" fmla="*/ 1482243 w 6884782"/>
              <a:gd name="connsiteY64405" fmla="*/ 954494 h 5973007"/>
              <a:gd name="connsiteX64406" fmla="*/ 1481933 w 6884782"/>
              <a:gd name="connsiteY64406" fmla="*/ 955733 h 5973007"/>
              <a:gd name="connsiteX64407" fmla="*/ 1471918 w 6884782"/>
              <a:gd name="connsiteY64407" fmla="*/ 958056 h 5973007"/>
              <a:gd name="connsiteX64408" fmla="*/ 1471711 w 6884782"/>
              <a:gd name="connsiteY64408" fmla="*/ 953409 h 5973007"/>
              <a:gd name="connsiteX64409" fmla="*/ 1472228 w 6884782"/>
              <a:gd name="connsiteY64409" fmla="*/ 950156 h 5973007"/>
              <a:gd name="connsiteX64410" fmla="*/ 1478733 w 6884782"/>
              <a:gd name="connsiteY64410" fmla="*/ 947678 h 5973007"/>
              <a:gd name="connsiteX64411" fmla="*/ 1479042 w 6884782"/>
              <a:gd name="connsiteY64411" fmla="*/ 947833 h 5973007"/>
              <a:gd name="connsiteX64412" fmla="*/ 1479145 w 6884782"/>
              <a:gd name="connsiteY64412" fmla="*/ 947678 h 5973007"/>
              <a:gd name="connsiteX64413" fmla="*/ 1482140 w 6884782"/>
              <a:gd name="connsiteY64413" fmla="*/ 946284 h 5973007"/>
              <a:gd name="connsiteX64414" fmla="*/ 4443826 w 6884782"/>
              <a:gd name="connsiteY64414" fmla="*/ 945235 h 5973007"/>
              <a:gd name="connsiteX64415" fmla="*/ 4446387 w 6884782"/>
              <a:gd name="connsiteY64415" fmla="*/ 945661 h 5973007"/>
              <a:gd name="connsiteX64416" fmla="*/ 4447241 w 6884782"/>
              <a:gd name="connsiteY64416" fmla="*/ 947084 h 5973007"/>
              <a:gd name="connsiteX64417" fmla="*/ 4444680 w 6884782"/>
              <a:gd name="connsiteY64417" fmla="*/ 951779 h 5973007"/>
              <a:gd name="connsiteX64418" fmla="*/ 4441051 w 6884782"/>
              <a:gd name="connsiteY64418" fmla="*/ 952775 h 5973007"/>
              <a:gd name="connsiteX64419" fmla="*/ 4440411 w 6884782"/>
              <a:gd name="connsiteY64419" fmla="*/ 949218 h 5973007"/>
              <a:gd name="connsiteX64420" fmla="*/ 4441905 w 6884782"/>
              <a:gd name="connsiteY64420" fmla="*/ 945661 h 5973007"/>
              <a:gd name="connsiteX64421" fmla="*/ 4443826 w 6884782"/>
              <a:gd name="connsiteY64421" fmla="*/ 945235 h 5973007"/>
              <a:gd name="connsiteX64422" fmla="*/ 1374547 w 6884782"/>
              <a:gd name="connsiteY64422" fmla="*/ 943651 h 5973007"/>
              <a:gd name="connsiteX64423" fmla="*/ 1375063 w 6884782"/>
              <a:gd name="connsiteY64423" fmla="*/ 951086 h 5973007"/>
              <a:gd name="connsiteX64424" fmla="*/ 1374857 w 6884782"/>
              <a:gd name="connsiteY64424" fmla="*/ 955268 h 5973007"/>
              <a:gd name="connsiteX64425" fmla="*/ 1372998 w 6884782"/>
              <a:gd name="connsiteY64425" fmla="*/ 956972 h 5973007"/>
              <a:gd name="connsiteX64426" fmla="*/ 1372172 w 6884782"/>
              <a:gd name="connsiteY64426" fmla="*/ 957127 h 5973007"/>
              <a:gd name="connsiteX64427" fmla="*/ 1371553 w 6884782"/>
              <a:gd name="connsiteY64427" fmla="*/ 955268 h 5973007"/>
              <a:gd name="connsiteX64428" fmla="*/ 1372689 w 6884782"/>
              <a:gd name="connsiteY64428" fmla="*/ 947059 h 5973007"/>
              <a:gd name="connsiteX64429" fmla="*/ 1372689 w 6884782"/>
              <a:gd name="connsiteY64429" fmla="*/ 945355 h 5973007"/>
              <a:gd name="connsiteX64430" fmla="*/ 1374547 w 6884782"/>
              <a:gd name="connsiteY64430" fmla="*/ 943651 h 5973007"/>
              <a:gd name="connsiteX64431" fmla="*/ 3853080 w 6884782"/>
              <a:gd name="connsiteY64431" fmla="*/ 943243 h 5973007"/>
              <a:gd name="connsiteX64432" fmla="*/ 3854147 w 6884782"/>
              <a:gd name="connsiteY64432" fmla="*/ 945519 h 5973007"/>
              <a:gd name="connsiteX64433" fmla="*/ 3854787 w 6884782"/>
              <a:gd name="connsiteY64433" fmla="*/ 948649 h 5973007"/>
              <a:gd name="connsiteX64434" fmla="*/ 3855427 w 6884782"/>
              <a:gd name="connsiteY64434" fmla="*/ 951779 h 5973007"/>
              <a:gd name="connsiteX64435" fmla="*/ 3856495 w 6884782"/>
              <a:gd name="connsiteY64435" fmla="*/ 954055 h 5973007"/>
              <a:gd name="connsiteX64436" fmla="*/ 3855855 w 6884782"/>
              <a:gd name="connsiteY64436" fmla="*/ 959319 h 5973007"/>
              <a:gd name="connsiteX64437" fmla="*/ 3854574 w 6884782"/>
              <a:gd name="connsiteY64437" fmla="*/ 957043 h 5973007"/>
              <a:gd name="connsiteX64438" fmla="*/ 3854147 w 6884782"/>
              <a:gd name="connsiteY64438" fmla="*/ 953913 h 5973007"/>
              <a:gd name="connsiteX64439" fmla="*/ 3852226 w 6884782"/>
              <a:gd name="connsiteY64439" fmla="*/ 952775 h 5973007"/>
              <a:gd name="connsiteX64440" fmla="*/ 3853080 w 6884782"/>
              <a:gd name="connsiteY64440" fmla="*/ 943243 h 5973007"/>
              <a:gd name="connsiteX64441" fmla="*/ 1361021 w 6884782"/>
              <a:gd name="connsiteY64441" fmla="*/ 943031 h 5973007"/>
              <a:gd name="connsiteX64442" fmla="*/ 1364118 w 6884782"/>
              <a:gd name="connsiteY64442" fmla="*/ 956197 h 5973007"/>
              <a:gd name="connsiteX64443" fmla="*/ 1358542 w 6884782"/>
              <a:gd name="connsiteY64443" fmla="*/ 956352 h 5973007"/>
              <a:gd name="connsiteX64444" fmla="*/ 1357820 w 6884782"/>
              <a:gd name="connsiteY64444" fmla="*/ 947988 h 5973007"/>
              <a:gd name="connsiteX64445" fmla="*/ 1361021 w 6884782"/>
              <a:gd name="connsiteY64445" fmla="*/ 943031 h 5973007"/>
              <a:gd name="connsiteX64446" fmla="*/ 3481516 w 6884782"/>
              <a:gd name="connsiteY64446" fmla="*/ 942674 h 5973007"/>
              <a:gd name="connsiteX64447" fmla="*/ 3490907 w 6884782"/>
              <a:gd name="connsiteY64447" fmla="*/ 949218 h 5973007"/>
              <a:gd name="connsiteX64448" fmla="*/ 3487492 w 6884782"/>
              <a:gd name="connsiteY64448" fmla="*/ 956189 h 5973007"/>
              <a:gd name="connsiteX64449" fmla="*/ 3475754 w 6884782"/>
              <a:gd name="connsiteY64449" fmla="*/ 949361 h 5973007"/>
              <a:gd name="connsiteX64450" fmla="*/ 3477675 w 6884782"/>
              <a:gd name="connsiteY64450" fmla="*/ 944381 h 5973007"/>
              <a:gd name="connsiteX64451" fmla="*/ 3481516 w 6884782"/>
              <a:gd name="connsiteY64451" fmla="*/ 942674 h 5973007"/>
              <a:gd name="connsiteX64452" fmla="*/ 1460314 w 6884782"/>
              <a:gd name="connsiteY64452" fmla="*/ 942450 h 5973007"/>
              <a:gd name="connsiteX64453" fmla="*/ 1470369 w 6884782"/>
              <a:gd name="connsiteY64453" fmla="*/ 949382 h 5973007"/>
              <a:gd name="connsiteX64454" fmla="*/ 1448065 w 6884782"/>
              <a:gd name="connsiteY64454" fmla="*/ 964562 h 5973007"/>
              <a:gd name="connsiteX64455" fmla="*/ 1441560 w 6884782"/>
              <a:gd name="connsiteY64455" fmla="*/ 955887 h 5973007"/>
              <a:gd name="connsiteX64456" fmla="*/ 1441767 w 6884782"/>
              <a:gd name="connsiteY64456" fmla="*/ 952635 h 5973007"/>
              <a:gd name="connsiteX64457" fmla="*/ 1450957 w 6884782"/>
              <a:gd name="connsiteY64457" fmla="*/ 942721 h 5973007"/>
              <a:gd name="connsiteX64458" fmla="*/ 1460314 w 6884782"/>
              <a:gd name="connsiteY64458" fmla="*/ 942450 h 5973007"/>
              <a:gd name="connsiteX64459" fmla="*/ 3459534 w 6884782"/>
              <a:gd name="connsiteY64459" fmla="*/ 941678 h 5973007"/>
              <a:gd name="connsiteX64460" fmla="*/ 3471912 w 6884782"/>
              <a:gd name="connsiteY64460" fmla="*/ 957897 h 5973007"/>
              <a:gd name="connsiteX64461" fmla="*/ 3462949 w 6884782"/>
              <a:gd name="connsiteY64461" fmla="*/ 964299 h 5973007"/>
              <a:gd name="connsiteX64462" fmla="*/ 3453772 w 6884782"/>
              <a:gd name="connsiteY64462" fmla="*/ 946373 h 5973007"/>
              <a:gd name="connsiteX64463" fmla="*/ 3459534 w 6884782"/>
              <a:gd name="connsiteY64463" fmla="*/ 941678 h 5973007"/>
              <a:gd name="connsiteX64464" fmla="*/ 957495 w 6884782"/>
              <a:gd name="connsiteY64464" fmla="*/ 941172 h 5973007"/>
              <a:gd name="connsiteX64465" fmla="*/ 962348 w 6884782"/>
              <a:gd name="connsiteY64465" fmla="*/ 948917 h 5973007"/>
              <a:gd name="connsiteX64466" fmla="*/ 956876 w 6884782"/>
              <a:gd name="connsiteY64466" fmla="*/ 943496 h 5973007"/>
              <a:gd name="connsiteX64467" fmla="*/ 957495 w 6884782"/>
              <a:gd name="connsiteY64467" fmla="*/ 941172 h 5973007"/>
              <a:gd name="connsiteX64468" fmla="*/ 1333658 w 6884782"/>
              <a:gd name="connsiteY64468" fmla="*/ 941017 h 5973007"/>
              <a:gd name="connsiteX64469" fmla="*/ 1335413 w 6884782"/>
              <a:gd name="connsiteY64469" fmla="*/ 950156 h 5973007"/>
              <a:gd name="connsiteX64470" fmla="*/ 1292665 w 6884782"/>
              <a:gd name="connsiteY64470" fmla="*/ 962238 h 5973007"/>
              <a:gd name="connsiteX64471" fmla="*/ 1333658 w 6884782"/>
              <a:gd name="connsiteY64471" fmla="*/ 941017 h 5973007"/>
              <a:gd name="connsiteX64472" fmla="*/ 3443101 w 6884782"/>
              <a:gd name="connsiteY64472" fmla="*/ 940824 h 5973007"/>
              <a:gd name="connsiteX64473" fmla="*/ 3447796 w 6884782"/>
              <a:gd name="connsiteY64473" fmla="*/ 968567 h 5973007"/>
              <a:gd name="connsiteX64474" fmla="*/ 3445022 w 6884782"/>
              <a:gd name="connsiteY64474" fmla="*/ 963160 h 5973007"/>
              <a:gd name="connsiteX64475" fmla="*/ 3445235 w 6884782"/>
              <a:gd name="connsiteY64475" fmla="*/ 965152 h 5973007"/>
              <a:gd name="connsiteX64476" fmla="*/ 3441180 w 6884782"/>
              <a:gd name="connsiteY64476" fmla="*/ 969278 h 5973007"/>
              <a:gd name="connsiteX64477" fmla="*/ 3435204 w 6884782"/>
              <a:gd name="connsiteY64477" fmla="*/ 960031 h 5973007"/>
              <a:gd name="connsiteX64478" fmla="*/ 3437338 w 6884782"/>
              <a:gd name="connsiteY64478" fmla="*/ 957185 h 5973007"/>
              <a:gd name="connsiteX64479" fmla="*/ 3441607 w 6884782"/>
              <a:gd name="connsiteY64479" fmla="*/ 958466 h 5973007"/>
              <a:gd name="connsiteX64480" fmla="*/ 3443741 w 6884782"/>
              <a:gd name="connsiteY64480" fmla="*/ 960315 h 5973007"/>
              <a:gd name="connsiteX64481" fmla="*/ 3441393 w 6884782"/>
              <a:gd name="connsiteY64481" fmla="*/ 955051 h 5973007"/>
              <a:gd name="connsiteX64482" fmla="*/ 3443101 w 6884782"/>
              <a:gd name="connsiteY64482" fmla="*/ 940824 h 5973007"/>
              <a:gd name="connsiteX64483" fmla="*/ 1527470 w 6884782"/>
              <a:gd name="connsiteY64483" fmla="*/ 939778 h 5973007"/>
              <a:gd name="connsiteX64484" fmla="*/ 1533562 w 6884782"/>
              <a:gd name="connsiteY64484" fmla="*/ 953874 h 5973007"/>
              <a:gd name="connsiteX64485" fmla="*/ 1524888 w 6884782"/>
              <a:gd name="connsiteY64485" fmla="*/ 952944 h 5973007"/>
              <a:gd name="connsiteX64486" fmla="*/ 1524372 w 6884782"/>
              <a:gd name="connsiteY64486" fmla="*/ 949227 h 5973007"/>
              <a:gd name="connsiteX64487" fmla="*/ 1524888 w 6884782"/>
              <a:gd name="connsiteY64487" fmla="*/ 945819 h 5973007"/>
              <a:gd name="connsiteX64488" fmla="*/ 1527470 w 6884782"/>
              <a:gd name="connsiteY64488" fmla="*/ 939778 h 5973007"/>
              <a:gd name="connsiteX64489" fmla="*/ 1125183 w 6884782"/>
              <a:gd name="connsiteY64489" fmla="*/ 939313 h 5973007"/>
              <a:gd name="connsiteX64490" fmla="*/ 1123841 w 6884782"/>
              <a:gd name="connsiteY64490" fmla="*/ 951860 h 5973007"/>
              <a:gd name="connsiteX64491" fmla="*/ 1117646 w 6884782"/>
              <a:gd name="connsiteY64491" fmla="*/ 946129 h 5973007"/>
              <a:gd name="connsiteX64492" fmla="*/ 1120227 w 6884782"/>
              <a:gd name="connsiteY64492" fmla="*/ 939778 h 5973007"/>
              <a:gd name="connsiteX64493" fmla="*/ 1125183 w 6884782"/>
              <a:gd name="connsiteY64493" fmla="*/ 939313 h 5973007"/>
              <a:gd name="connsiteX64494" fmla="*/ 1428757 w 6884782"/>
              <a:gd name="connsiteY64494" fmla="*/ 937145 h 5973007"/>
              <a:gd name="connsiteX64495" fmla="*/ 1436914 w 6884782"/>
              <a:gd name="connsiteY64495" fmla="*/ 938229 h 5973007"/>
              <a:gd name="connsiteX64496" fmla="*/ 1434126 w 6884782"/>
              <a:gd name="connsiteY64496" fmla="*/ 949537 h 5973007"/>
              <a:gd name="connsiteX64497" fmla="*/ 1424627 w 6884782"/>
              <a:gd name="connsiteY64497" fmla="*/ 943031 h 5973007"/>
              <a:gd name="connsiteX64498" fmla="*/ 1428757 w 6884782"/>
              <a:gd name="connsiteY64498" fmla="*/ 937145 h 5973007"/>
              <a:gd name="connsiteX64499" fmla="*/ 3893630 w 6884782"/>
              <a:gd name="connsiteY64499" fmla="*/ 934280 h 5973007"/>
              <a:gd name="connsiteX64500" fmla="*/ 3896191 w 6884782"/>
              <a:gd name="connsiteY64500" fmla="*/ 935703 h 5973007"/>
              <a:gd name="connsiteX64501" fmla="*/ 3897685 w 6884782"/>
              <a:gd name="connsiteY64501" fmla="*/ 937837 h 5973007"/>
              <a:gd name="connsiteX64502" fmla="*/ 3895551 w 6884782"/>
              <a:gd name="connsiteY64502" fmla="*/ 941820 h 5973007"/>
              <a:gd name="connsiteX64503" fmla="*/ 3890428 w 6884782"/>
              <a:gd name="connsiteY64503" fmla="*/ 946515 h 5973007"/>
              <a:gd name="connsiteX64504" fmla="*/ 3888935 w 6884782"/>
              <a:gd name="connsiteY64504" fmla="*/ 950214 h 5973007"/>
              <a:gd name="connsiteX64505" fmla="*/ 3887867 w 6884782"/>
              <a:gd name="connsiteY64505" fmla="*/ 950214 h 5973007"/>
              <a:gd name="connsiteX64506" fmla="*/ 3891496 w 6884782"/>
              <a:gd name="connsiteY64506" fmla="*/ 935703 h 5973007"/>
              <a:gd name="connsiteX64507" fmla="*/ 3893630 w 6884782"/>
              <a:gd name="connsiteY64507" fmla="*/ 934280 h 5973007"/>
              <a:gd name="connsiteX64508" fmla="*/ 3379501 w 6884782"/>
              <a:gd name="connsiteY64508" fmla="*/ 933711 h 5973007"/>
              <a:gd name="connsiteX64509" fmla="*/ 3391880 w 6884782"/>
              <a:gd name="connsiteY64509" fmla="*/ 955620 h 5973007"/>
              <a:gd name="connsiteX64510" fmla="*/ 3394228 w 6884782"/>
              <a:gd name="connsiteY64510" fmla="*/ 959177 h 5973007"/>
              <a:gd name="connsiteX64511" fmla="*/ 3391880 w 6884782"/>
              <a:gd name="connsiteY64511" fmla="*/ 961454 h 5973007"/>
              <a:gd name="connsiteX64512" fmla="*/ 3393801 w 6884782"/>
              <a:gd name="connsiteY64512" fmla="*/ 963587 h 5973007"/>
              <a:gd name="connsiteX64513" fmla="*/ 3395722 w 6884782"/>
              <a:gd name="connsiteY64513" fmla="*/ 957897 h 5973007"/>
              <a:gd name="connsiteX64514" fmla="*/ 3398282 w 6884782"/>
              <a:gd name="connsiteY64514" fmla="*/ 955478 h 5973007"/>
              <a:gd name="connsiteX64515" fmla="*/ 3398069 w 6884782"/>
              <a:gd name="connsiteY64515" fmla="*/ 954340 h 5973007"/>
              <a:gd name="connsiteX64516" fmla="*/ 3399990 w 6884782"/>
              <a:gd name="connsiteY64516" fmla="*/ 940682 h 5973007"/>
              <a:gd name="connsiteX64517" fmla="*/ 3408100 w 6884782"/>
              <a:gd name="connsiteY64517" fmla="*/ 942532 h 5973007"/>
              <a:gd name="connsiteX64518" fmla="*/ 3412155 w 6884782"/>
              <a:gd name="connsiteY64518" fmla="*/ 944239 h 5973007"/>
              <a:gd name="connsiteX64519" fmla="*/ 3413862 w 6884782"/>
              <a:gd name="connsiteY64519" fmla="*/ 939402 h 5973007"/>
              <a:gd name="connsiteX64520" fmla="*/ 3418771 w 6884782"/>
              <a:gd name="connsiteY64520" fmla="*/ 936699 h 5973007"/>
              <a:gd name="connsiteX64521" fmla="*/ 3420692 w 6884782"/>
              <a:gd name="connsiteY64521" fmla="*/ 941394 h 5973007"/>
              <a:gd name="connsiteX64522" fmla="*/ 3417917 w 6884782"/>
              <a:gd name="connsiteY64522" fmla="*/ 946942 h 5973007"/>
              <a:gd name="connsiteX64523" fmla="*/ 3417490 w 6884782"/>
              <a:gd name="connsiteY64523" fmla="*/ 947084 h 5973007"/>
              <a:gd name="connsiteX64524" fmla="*/ 3426240 w 6884782"/>
              <a:gd name="connsiteY64524" fmla="*/ 952348 h 5973007"/>
              <a:gd name="connsiteX64525" fmla="*/ 3429869 w 6884782"/>
              <a:gd name="connsiteY64525" fmla="*/ 948649 h 5973007"/>
              <a:gd name="connsiteX64526" fmla="*/ 3436271 w 6884782"/>
              <a:gd name="connsiteY64526" fmla="*/ 946800 h 5973007"/>
              <a:gd name="connsiteX64527" fmla="*/ 3422185 w 6884782"/>
              <a:gd name="connsiteY64527" fmla="*/ 964014 h 5973007"/>
              <a:gd name="connsiteX64528" fmla="*/ 3422612 w 6884782"/>
              <a:gd name="connsiteY64528" fmla="*/ 959177 h 5973007"/>
              <a:gd name="connsiteX64529" fmla="*/ 3423893 w 6884782"/>
              <a:gd name="connsiteY64529" fmla="*/ 955905 h 5973007"/>
              <a:gd name="connsiteX64530" fmla="*/ 3422826 w 6884782"/>
              <a:gd name="connsiteY64530" fmla="*/ 956332 h 5973007"/>
              <a:gd name="connsiteX64531" fmla="*/ 3415997 w 6884782"/>
              <a:gd name="connsiteY64531" fmla="*/ 957185 h 5973007"/>
              <a:gd name="connsiteX64532" fmla="*/ 3410661 w 6884782"/>
              <a:gd name="connsiteY64532" fmla="*/ 959604 h 5973007"/>
              <a:gd name="connsiteX64533" fmla="*/ 3414289 w 6884782"/>
              <a:gd name="connsiteY64533" fmla="*/ 973404 h 5973007"/>
              <a:gd name="connsiteX64534" fmla="*/ 3413649 w 6884782"/>
              <a:gd name="connsiteY64534" fmla="*/ 982367 h 5973007"/>
              <a:gd name="connsiteX64535" fmla="*/ 3417064 w 6884782"/>
              <a:gd name="connsiteY64535" fmla="*/ 981940 h 5973007"/>
              <a:gd name="connsiteX64536" fmla="*/ 3434137 w 6884782"/>
              <a:gd name="connsiteY64536" fmla="*/ 994175 h 5973007"/>
              <a:gd name="connsiteX64537" fmla="*/ 3432003 w 6884782"/>
              <a:gd name="connsiteY64537" fmla="*/ 1002996 h 5973007"/>
              <a:gd name="connsiteX64538" fmla="*/ 3410661 w 6884782"/>
              <a:gd name="connsiteY64538" fmla="*/ 1017222 h 5973007"/>
              <a:gd name="connsiteX64539" fmla="*/ 3399563 w 6884782"/>
              <a:gd name="connsiteY64539" fmla="*/ 1003138 h 5973007"/>
              <a:gd name="connsiteX64540" fmla="*/ 3398923 w 6884782"/>
              <a:gd name="connsiteY64540" fmla="*/ 991757 h 5973007"/>
              <a:gd name="connsiteX64541" fmla="*/ 3393160 w 6884782"/>
              <a:gd name="connsiteY64541" fmla="*/ 986066 h 5973007"/>
              <a:gd name="connsiteX64542" fmla="*/ 3389746 w 6884782"/>
              <a:gd name="connsiteY64542" fmla="*/ 986919 h 5973007"/>
              <a:gd name="connsiteX64543" fmla="*/ 3384624 w 6884782"/>
              <a:gd name="connsiteY64543" fmla="*/ 983647 h 5973007"/>
              <a:gd name="connsiteX64544" fmla="*/ 3385051 w 6884782"/>
              <a:gd name="connsiteY64544" fmla="*/ 982367 h 5973007"/>
              <a:gd name="connsiteX64545" fmla="*/ 3383557 w 6884782"/>
              <a:gd name="connsiteY64545" fmla="*/ 982224 h 5973007"/>
              <a:gd name="connsiteX64546" fmla="*/ 3379928 w 6884782"/>
              <a:gd name="connsiteY64546" fmla="*/ 979948 h 5973007"/>
              <a:gd name="connsiteX64547" fmla="*/ 3376941 w 6884782"/>
              <a:gd name="connsiteY64547" fmla="*/ 964299 h 5973007"/>
              <a:gd name="connsiteX64548" fmla="*/ 3387184 w 6884782"/>
              <a:gd name="connsiteY64548" fmla="*/ 958892 h 5973007"/>
              <a:gd name="connsiteX64549" fmla="*/ 3385904 w 6884782"/>
              <a:gd name="connsiteY64549" fmla="*/ 958892 h 5973007"/>
              <a:gd name="connsiteX64550" fmla="*/ 3373526 w 6884782"/>
              <a:gd name="connsiteY64550" fmla="*/ 941678 h 5973007"/>
              <a:gd name="connsiteX64551" fmla="*/ 3377154 w 6884782"/>
              <a:gd name="connsiteY64551" fmla="*/ 942959 h 5973007"/>
              <a:gd name="connsiteX64552" fmla="*/ 3378221 w 6884782"/>
              <a:gd name="connsiteY64552" fmla="*/ 944239 h 5973007"/>
              <a:gd name="connsiteX64553" fmla="*/ 3378648 w 6884782"/>
              <a:gd name="connsiteY64553" fmla="*/ 944381 h 5973007"/>
              <a:gd name="connsiteX64554" fmla="*/ 3376301 w 6884782"/>
              <a:gd name="connsiteY64554" fmla="*/ 940682 h 5973007"/>
              <a:gd name="connsiteX64555" fmla="*/ 3379501 w 6884782"/>
              <a:gd name="connsiteY64555" fmla="*/ 933711 h 5973007"/>
              <a:gd name="connsiteX64556" fmla="*/ 4827341 w 6884782"/>
              <a:gd name="connsiteY64556" fmla="*/ 932003 h 5973007"/>
              <a:gd name="connsiteX64557" fmla="*/ 4829903 w 6884782"/>
              <a:gd name="connsiteY64557" fmla="*/ 933853 h 5973007"/>
              <a:gd name="connsiteX64558" fmla="*/ 4826060 w 6884782"/>
              <a:gd name="connsiteY64558" fmla="*/ 937268 h 5973007"/>
              <a:gd name="connsiteX64559" fmla="*/ 4825207 w 6884782"/>
              <a:gd name="connsiteY64559" fmla="*/ 932715 h 5973007"/>
              <a:gd name="connsiteX64560" fmla="*/ 4827341 w 6884782"/>
              <a:gd name="connsiteY64560" fmla="*/ 932003 h 5973007"/>
              <a:gd name="connsiteX64561" fmla="*/ 1043404 w 6884782"/>
              <a:gd name="connsiteY64561" fmla="*/ 931878 h 5973007"/>
              <a:gd name="connsiteX64562" fmla="*/ 1044230 w 6884782"/>
              <a:gd name="connsiteY64562" fmla="*/ 931878 h 5973007"/>
              <a:gd name="connsiteX64563" fmla="*/ 1045056 w 6884782"/>
              <a:gd name="connsiteY64563" fmla="*/ 936835 h 5973007"/>
              <a:gd name="connsiteX64564" fmla="*/ 1045056 w 6884782"/>
              <a:gd name="connsiteY64564" fmla="*/ 941017 h 5973007"/>
              <a:gd name="connsiteX64565" fmla="*/ 1041339 w 6884782"/>
              <a:gd name="connsiteY64565" fmla="*/ 953874 h 5973007"/>
              <a:gd name="connsiteX64566" fmla="*/ 1040410 w 6884782"/>
              <a:gd name="connsiteY64566" fmla="*/ 947988 h 5973007"/>
              <a:gd name="connsiteX64567" fmla="*/ 1040720 w 6884782"/>
              <a:gd name="connsiteY64567" fmla="*/ 934822 h 5973007"/>
              <a:gd name="connsiteX64568" fmla="*/ 1042475 w 6884782"/>
              <a:gd name="connsiteY64568" fmla="*/ 933272 h 5973007"/>
              <a:gd name="connsiteX64569" fmla="*/ 1042475 w 6884782"/>
              <a:gd name="connsiteY64569" fmla="*/ 932498 h 5973007"/>
              <a:gd name="connsiteX64570" fmla="*/ 1043404 w 6884782"/>
              <a:gd name="connsiteY64570" fmla="*/ 931878 h 5973007"/>
              <a:gd name="connsiteX64571" fmla="*/ 4813896 w 6884782"/>
              <a:gd name="connsiteY64571" fmla="*/ 931434 h 5973007"/>
              <a:gd name="connsiteX64572" fmla="*/ 4817097 w 6884782"/>
              <a:gd name="connsiteY64572" fmla="*/ 935845 h 5973007"/>
              <a:gd name="connsiteX64573" fmla="*/ 4815176 w 6884782"/>
              <a:gd name="connsiteY64573" fmla="*/ 940824 h 5973007"/>
              <a:gd name="connsiteX64574" fmla="*/ 4812829 w 6884782"/>
              <a:gd name="connsiteY64574" fmla="*/ 942105 h 5973007"/>
              <a:gd name="connsiteX64575" fmla="*/ 4810694 w 6884782"/>
              <a:gd name="connsiteY64575" fmla="*/ 939687 h 5973007"/>
              <a:gd name="connsiteX64576" fmla="*/ 4811548 w 6884782"/>
              <a:gd name="connsiteY64576" fmla="*/ 932573 h 5973007"/>
              <a:gd name="connsiteX64577" fmla="*/ 4813896 w 6884782"/>
              <a:gd name="connsiteY64577" fmla="*/ 931434 h 5973007"/>
              <a:gd name="connsiteX64578" fmla="*/ 3332549 w 6884782"/>
              <a:gd name="connsiteY64578" fmla="*/ 931008 h 5973007"/>
              <a:gd name="connsiteX64579" fmla="*/ 3338738 w 6884782"/>
              <a:gd name="connsiteY64579" fmla="*/ 936130 h 5973007"/>
              <a:gd name="connsiteX64580" fmla="*/ 3331269 w 6884782"/>
              <a:gd name="connsiteY64580" fmla="*/ 940397 h 5973007"/>
              <a:gd name="connsiteX64581" fmla="*/ 3332549 w 6884782"/>
              <a:gd name="connsiteY64581" fmla="*/ 931008 h 5973007"/>
              <a:gd name="connsiteX64582" fmla="*/ 1452712 w 6884782"/>
              <a:gd name="connsiteY64582" fmla="*/ 930020 h 5973007"/>
              <a:gd name="connsiteX64583" fmla="*/ 1455809 w 6884782"/>
              <a:gd name="connsiteY64583" fmla="*/ 930174 h 5973007"/>
              <a:gd name="connsiteX64584" fmla="*/ 1457255 w 6884782"/>
              <a:gd name="connsiteY64584" fmla="*/ 932808 h 5973007"/>
              <a:gd name="connsiteX64585" fmla="*/ 1456326 w 6884782"/>
              <a:gd name="connsiteY64585" fmla="*/ 936061 h 5973007"/>
              <a:gd name="connsiteX64586" fmla="*/ 1449304 w 6884782"/>
              <a:gd name="connsiteY64586" fmla="*/ 933582 h 5973007"/>
              <a:gd name="connsiteX64587" fmla="*/ 1452712 w 6884782"/>
              <a:gd name="connsiteY64587" fmla="*/ 930020 h 5973007"/>
              <a:gd name="connsiteX64588" fmla="*/ 1285230 w 6884782"/>
              <a:gd name="connsiteY64588" fmla="*/ 929865 h 5973007"/>
              <a:gd name="connsiteX64589" fmla="*/ 1286573 w 6884782"/>
              <a:gd name="connsiteY64589" fmla="*/ 931569 h 5973007"/>
              <a:gd name="connsiteX64590" fmla="*/ 1287296 w 6884782"/>
              <a:gd name="connsiteY64590" fmla="*/ 931259 h 5973007"/>
              <a:gd name="connsiteX64591" fmla="*/ 1290083 w 6884782"/>
              <a:gd name="connsiteY64591" fmla="*/ 931569 h 5973007"/>
              <a:gd name="connsiteX64592" fmla="*/ 1290290 w 6884782"/>
              <a:gd name="connsiteY64592" fmla="*/ 931259 h 5973007"/>
              <a:gd name="connsiteX64593" fmla="*/ 1298964 w 6884782"/>
              <a:gd name="connsiteY64593" fmla="*/ 930949 h 5973007"/>
              <a:gd name="connsiteX64594" fmla="*/ 1301132 w 6884782"/>
              <a:gd name="connsiteY64594" fmla="*/ 940088 h 5973007"/>
              <a:gd name="connsiteX64595" fmla="*/ 1298447 w 6884782"/>
              <a:gd name="connsiteY64595" fmla="*/ 944425 h 5973007"/>
              <a:gd name="connsiteX64596" fmla="*/ 1295969 w 6884782"/>
              <a:gd name="connsiteY64596" fmla="*/ 945045 h 5973007"/>
              <a:gd name="connsiteX64597" fmla="*/ 1294110 w 6884782"/>
              <a:gd name="connsiteY64597" fmla="*/ 949846 h 5973007"/>
              <a:gd name="connsiteX64598" fmla="*/ 1289051 w 6884782"/>
              <a:gd name="connsiteY64598" fmla="*/ 952170 h 5973007"/>
              <a:gd name="connsiteX64599" fmla="*/ 1288018 w 6884782"/>
              <a:gd name="connsiteY64599" fmla="*/ 949846 h 5973007"/>
              <a:gd name="connsiteX64600" fmla="*/ 1290187 w 6884782"/>
              <a:gd name="connsiteY64600" fmla="*/ 944890 h 5973007"/>
              <a:gd name="connsiteX64601" fmla="*/ 1288018 w 6884782"/>
              <a:gd name="connsiteY64601" fmla="*/ 944116 h 5973007"/>
              <a:gd name="connsiteX64602" fmla="*/ 1285850 w 6884782"/>
              <a:gd name="connsiteY64602" fmla="*/ 941017 h 5973007"/>
              <a:gd name="connsiteX64603" fmla="*/ 1285850 w 6884782"/>
              <a:gd name="connsiteY64603" fmla="*/ 939778 h 5973007"/>
              <a:gd name="connsiteX64604" fmla="*/ 1284817 w 6884782"/>
              <a:gd name="connsiteY64604" fmla="*/ 939933 h 5973007"/>
              <a:gd name="connsiteX64605" fmla="*/ 1283578 w 6884782"/>
              <a:gd name="connsiteY64605" fmla="*/ 937455 h 5973007"/>
              <a:gd name="connsiteX64606" fmla="*/ 1281926 w 6884782"/>
              <a:gd name="connsiteY64606" fmla="*/ 936371 h 5973007"/>
              <a:gd name="connsiteX64607" fmla="*/ 1281513 w 6884782"/>
              <a:gd name="connsiteY64607" fmla="*/ 933738 h 5973007"/>
              <a:gd name="connsiteX64608" fmla="*/ 1283682 w 6884782"/>
              <a:gd name="connsiteY64608" fmla="*/ 932343 h 5973007"/>
              <a:gd name="connsiteX64609" fmla="*/ 1284095 w 6884782"/>
              <a:gd name="connsiteY64609" fmla="*/ 932188 h 5973007"/>
              <a:gd name="connsiteX64610" fmla="*/ 1283475 w 6884782"/>
              <a:gd name="connsiteY64610" fmla="*/ 930794 h 5973007"/>
              <a:gd name="connsiteX64611" fmla="*/ 1285230 w 6884782"/>
              <a:gd name="connsiteY64611" fmla="*/ 929865 h 5973007"/>
              <a:gd name="connsiteX64612" fmla="*/ 1490813 w 6884782"/>
              <a:gd name="connsiteY64612" fmla="*/ 929091 h 5973007"/>
              <a:gd name="connsiteX64613" fmla="*/ 1493911 w 6884782"/>
              <a:gd name="connsiteY64613" fmla="*/ 934357 h 5973007"/>
              <a:gd name="connsiteX64614" fmla="*/ 1487200 w 6884782"/>
              <a:gd name="connsiteY64614" fmla="*/ 933582 h 5973007"/>
              <a:gd name="connsiteX64615" fmla="*/ 1490813 w 6884782"/>
              <a:gd name="connsiteY64615" fmla="*/ 929091 h 5973007"/>
              <a:gd name="connsiteX64616" fmla="*/ 3859269 w 6884782"/>
              <a:gd name="connsiteY64616" fmla="*/ 924321 h 5973007"/>
              <a:gd name="connsiteX64617" fmla="*/ 3860123 w 6884782"/>
              <a:gd name="connsiteY64617" fmla="*/ 926882 h 5973007"/>
              <a:gd name="connsiteX64618" fmla="*/ 3859696 w 6884782"/>
              <a:gd name="connsiteY64618" fmla="*/ 930581 h 5973007"/>
              <a:gd name="connsiteX64619" fmla="*/ 3853720 w 6884782"/>
              <a:gd name="connsiteY64619" fmla="*/ 931719 h 5973007"/>
              <a:gd name="connsiteX64620" fmla="*/ 3852653 w 6884782"/>
              <a:gd name="connsiteY64620" fmla="*/ 929301 h 5973007"/>
              <a:gd name="connsiteX64621" fmla="*/ 3854361 w 6884782"/>
              <a:gd name="connsiteY64621" fmla="*/ 925459 h 5973007"/>
              <a:gd name="connsiteX64622" fmla="*/ 3859269 w 6884782"/>
              <a:gd name="connsiteY64622" fmla="*/ 924321 h 5973007"/>
              <a:gd name="connsiteX64623" fmla="*/ 1451473 w 6884782"/>
              <a:gd name="connsiteY64623" fmla="*/ 923359 h 5973007"/>
              <a:gd name="connsiteX64624" fmla="*/ 1446620 w 6884782"/>
              <a:gd name="connsiteY64624" fmla="*/ 932808 h 5973007"/>
              <a:gd name="connsiteX64625" fmla="*/ 1441354 w 6884782"/>
              <a:gd name="connsiteY64625" fmla="*/ 934667 h 5973007"/>
              <a:gd name="connsiteX64626" fmla="*/ 1440631 w 6884782"/>
              <a:gd name="connsiteY64626" fmla="*/ 932188 h 5973007"/>
              <a:gd name="connsiteX64627" fmla="*/ 1443419 w 6884782"/>
              <a:gd name="connsiteY64627" fmla="*/ 927077 h 5973007"/>
              <a:gd name="connsiteX64628" fmla="*/ 1451473 w 6884782"/>
              <a:gd name="connsiteY64628" fmla="*/ 923359 h 5973007"/>
              <a:gd name="connsiteX64629" fmla="*/ 3235230 w 6884782"/>
              <a:gd name="connsiteY64629" fmla="*/ 922898 h 5973007"/>
              <a:gd name="connsiteX64630" fmla="*/ 3240779 w 6884782"/>
              <a:gd name="connsiteY64630" fmla="*/ 931150 h 5973007"/>
              <a:gd name="connsiteX64631" fmla="*/ 3240138 w 6884782"/>
              <a:gd name="connsiteY64631" fmla="*/ 933284 h 5973007"/>
              <a:gd name="connsiteX64632" fmla="*/ 3235230 w 6884782"/>
              <a:gd name="connsiteY64632" fmla="*/ 922898 h 5973007"/>
              <a:gd name="connsiteX64633" fmla="*/ 4833957 w 6884782"/>
              <a:gd name="connsiteY64633" fmla="*/ 921192 h 5973007"/>
              <a:gd name="connsiteX64634" fmla="*/ 4839933 w 6884782"/>
              <a:gd name="connsiteY64634" fmla="*/ 923325 h 5973007"/>
              <a:gd name="connsiteX64635" fmla="*/ 4841640 w 6884782"/>
              <a:gd name="connsiteY64635" fmla="*/ 926171 h 5973007"/>
              <a:gd name="connsiteX64636" fmla="*/ 4841640 w 6884782"/>
              <a:gd name="connsiteY64636" fmla="*/ 928163 h 5973007"/>
              <a:gd name="connsiteX64637" fmla="*/ 4841640 w 6884782"/>
              <a:gd name="connsiteY64637" fmla="*/ 930581 h 5973007"/>
              <a:gd name="connsiteX64638" fmla="*/ 4830969 w 6884782"/>
              <a:gd name="connsiteY64638" fmla="*/ 932857 h 5973007"/>
              <a:gd name="connsiteX64639" fmla="*/ 4828622 w 6884782"/>
              <a:gd name="connsiteY64639" fmla="*/ 923041 h 5973007"/>
              <a:gd name="connsiteX64640" fmla="*/ 4830969 w 6884782"/>
              <a:gd name="connsiteY64640" fmla="*/ 921902 h 5973007"/>
              <a:gd name="connsiteX64641" fmla="*/ 4833957 w 6884782"/>
              <a:gd name="connsiteY64641" fmla="*/ 921192 h 5973007"/>
              <a:gd name="connsiteX64642" fmla="*/ 3591428 w 6884782"/>
              <a:gd name="connsiteY64642" fmla="*/ 920764 h 5973007"/>
              <a:gd name="connsiteX64643" fmla="*/ 3594842 w 6884782"/>
              <a:gd name="connsiteY64643" fmla="*/ 922756 h 5973007"/>
              <a:gd name="connsiteX64644" fmla="*/ 3594628 w 6884782"/>
              <a:gd name="connsiteY64644" fmla="*/ 927024 h 5973007"/>
              <a:gd name="connsiteX64645" fmla="*/ 3591001 w 6884782"/>
              <a:gd name="connsiteY64645" fmla="*/ 930581 h 5973007"/>
              <a:gd name="connsiteX64646" fmla="*/ 3586519 w 6884782"/>
              <a:gd name="connsiteY64646" fmla="*/ 928731 h 5973007"/>
              <a:gd name="connsiteX64647" fmla="*/ 3581610 w 6884782"/>
              <a:gd name="connsiteY64647" fmla="*/ 937979 h 5973007"/>
              <a:gd name="connsiteX64648" fmla="*/ 3569445 w 6884782"/>
              <a:gd name="connsiteY64648" fmla="*/ 950641 h 5973007"/>
              <a:gd name="connsiteX64649" fmla="*/ 3582464 w 6884782"/>
              <a:gd name="connsiteY64649" fmla="*/ 925459 h 5973007"/>
              <a:gd name="connsiteX64650" fmla="*/ 3585025 w 6884782"/>
              <a:gd name="connsiteY64650" fmla="*/ 924179 h 5973007"/>
              <a:gd name="connsiteX64651" fmla="*/ 3584812 w 6884782"/>
              <a:gd name="connsiteY64651" fmla="*/ 923610 h 5973007"/>
              <a:gd name="connsiteX64652" fmla="*/ 3591428 w 6884782"/>
              <a:gd name="connsiteY64652" fmla="*/ 920764 h 5973007"/>
              <a:gd name="connsiteX64653" fmla="*/ 3974089 w 6884782"/>
              <a:gd name="connsiteY64653" fmla="*/ 919484 h 5973007"/>
              <a:gd name="connsiteX64654" fmla="*/ 3983906 w 6884782"/>
              <a:gd name="connsiteY64654" fmla="*/ 937410 h 5973007"/>
              <a:gd name="connsiteX64655" fmla="*/ 3974303 w 6884782"/>
              <a:gd name="connsiteY64655" fmla="*/ 937979 h 5973007"/>
              <a:gd name="connsiteX64656" fmla="*/ 3974089 w 6884782"/>
              <a:gd name="connsiteY64656" fmla="*/ 919484 h 5973007"/>
              <a:gd name="connsiteX64657" fmla="*/ 3807835 w 6884782"/>
              <a:gd name="connsiteY64657" fmla="*/ 918630 h 5973007"/>
              <a:gd name="connsiteX64658" fmla="*/ 3796951 w 6884782"/>
              <a:gd name="connsiteY64658" fmla="*/ 949645 h 5973007"/>
              <a:gd name="connsiteX64659" fmla="*/ 3807835 w 6884782"/>
              <a:gd name="connsiteY64659" fmla="*/ 918630 h 5973007"/>
              <a:gd name="connsiteX64660" fmla="*/ 4471784 w 6884782"/>
              <a:gd name="connsiteY64660" fmla="*/ 918062 h 5973007"/>
              <a:gd name="connsiteX64661" fmla="*/ 4474131 w 6884782"/>
              <a:gd name="connsiteY64661" fmla="*/ 919200 h 5973007"/>
              <a:gd name="connsiteX64662" fmla="*/ 4472424 w 6884782"/>
              <a:gd name="connsiteY64662" fmla="*/ 927878 h 5973007"/>
              <a:gd name="connsiteX64663" fmla="*/ 4465808 w 6884782"/>
              <a:gd name="connsiteY64663" fmla="*/ 920764 h 5973007"/>
              <a:gd name="connsiteX64664" fmla="*/ 4471784 w 6884782"/>
              <a:gd name="connsiteY64664" fmla="*/ 918062 h 5973007"/>
              <a:gd name="connsiteX64665" fmla="*/ 1435262 w 6884782"/>
              <a:gd name="connsiteY64665" fmla="*/ 917008 h 5973007"/>
              <a:gd name="connsiteX64666" fmla="*/ 1435778 w 6884782"/>
              <a:gd name="connsiteY64666" fmla="*/ 919797 h 5973007"/>
              <a:gd name="connsiteX64667" fmla="*/ 1431544 w 6884782"/>
              <a:gd name="connsiteY64667" fmla="*/ 918558 h 5973007"/>
              <a:gd name="connsiteX64668" fmla="*/ 1435262 w 6884782"/>
              <a:gd name="connsiteY64668" fmla="*/ 917008 h 5973007"/>
              <a:gd name="connsiteX64669" fmla="*/ 3830031 w 6884782"/>
              <a:gd name="connsiteY64669" fmla="*/ 916923 h 5973007"/>
              <a:gd name="connsiteX64670" fmla="*/ 3833872 w 6884782"/>
              <a:gd name="connsiteY64670" fmla="*/ 918915 h 5973007"/>
              <a:gd name="connsiteX64671" fmla="*/ 3835580 w 6884782"/>
              <a:gd name="connsiteY64671" fmla="*/ 923610 h 5973007"/>
              <a:gd name="connsiteX64672" fmla="*/ 3826616 w 6884782"/>
              <a:gd name="connsiteY64672" fmla="*/ 926455 h 5973007"/>
              <a:gd name="connsiteX64673" fmla="*/ 3826829 w 6884782"/>
              <a:gd name="connsiteY64673" fmla="*/ 919342 h 5973007"/>
              <a:gd name="connsiteX64674" fmla="*/ 3830031 w 6884782"/>
              <a:gd name="connsiteY64674" fmla="*/ 916923 h 5973007"/>
              <a:gd name="connsiteX64675" fmla="*/ 1507851 w 6884782"/>
              <a:gd name="connsiteY64675" fmla="*/ 915770 h 5973007"/>
              <a:gd name="connsiteX64676" fmla="*/ 1513736 w 6884782"/>
              <a:gd name="connsiteY64676" fmla="*/ 915924 h 5973007"/>
              <a:gd name="connsiteX64677" fmla="*/ 1522307 w 6884782"/>
              <a:gd name="connsiteY64677" fmla="*/ 929245 h 5973007"/>
              <a:gd name="connsiteX64678" fmla="*/ 1521481 w 6884782"/>
              <a:gd name="connsiteY64678" fmla="*/ 931259 h 5973007"/>
              <a:gd name="connsiteX64679" fmla="*/ 1521481 w 6884782"/>
              <a:gd name="connsiteY64679" fmla="*/ 935131 h 5973007"/>
              <a:gd name="connsiteX64680" fmla="*/ 1510123 w 6884782"/>
              <a:gd name="connsiteY64680" fmla="*/ 934822 h 5973007"/>
              <a:gd name="connsiteX64681" fmla="*/ 1501036 w 6884782"/>
              <a:gd name="connsiteY64681" fmla="*/ 925838 h 5973007"/>
              <a:gd name="connsiteX64682" fmla="*/ 1501139 w 6884782"/>
              <a:gd name="connsiteY64682" fmla="*/ 922585 h 5973007"/>
              <a:gd name="connsiteX64683" fmla="*/ 1507851 w 6884782"/>
              <a:gd name="connsiteY64683" fmla="*/ 915770 h 5973007"/>
              <a:gd name="connsiteX64684" fmla="*/ 3465510 w 6884782"/>
              <a:gd name="connsiteY64684" fmla="*/ 914078 h 5973007"/>
              <a:gd name="connsiteX64685" fmla="*/ 3463376 w 6884782"/>
              <a:gd name="connsiteY64685" fmla="*/ 925033 h 5973007"/>
              <a:gd name="connsiteX64686" fmla="*/ 3457186 w 6884782"/>
              <a:gd name="connsiteY64686" fmla="*/ 928589 h 5973007"/>
              <a:gd name="connsiteX64687" fmla="*/ 3446942 w 6884782"/>
              <a:gd name="connsiteY64687" fmla="*/ 926029 h 5973007"/>
              <a:gd name="connsiteX64688" fmla="*/ 3448863 w 6884782"/>
              <a:gd name="connsiteY64688" fmla="*/ 920053 h 5973007"/>
              <a:gd name="connsiteX64689" fmla="*/ 3465510 w 6884782"/>
              <a:gd name="connsiteY64689" fmla="*/ 914078 h 5973007"/>
              <a:gd name="connsiteX64690" fmla="*/ 1285024 w 6884782"/>
              <a:gd name="connsiteY64690" fmla="*/ 911742 h 5973007"/>
              <a:gd name="connsiteX64691" fmla="*/ 1280584 w 6884782"/>
              <a:gd name="connsiteY64691" fmla="*/ 923824 h 5973007"/>
              <a:gd name="connsiteX64692" fmla="*/ 1280171 w 6884782"/>
              <a:gd name="connsiteY64692" fmla="*/ 921345 h 5973007"/>
              <a:gd name="connsiteX64693" fmla="*/ 1285024 w 6884782"/>
              <a:gd name="connsiteY64693" fmla="*/ 911742 h 5973007"/>
              <a:gd name="connsiteX64694" fmla="*/ 1256628 w 6884782"/>
              <a:gd name="connsiteY64694" fmla="*/ 911742 h 5973007"/>
              <a:gd name="connsiteX64695" fmla="*/ 1254563 w 6884782"/>
              <a:gd name="connsiteY64695" fmla="*/ 921501 h 5973007"/>
              <a:gd name="connsiteX64696" fmla="*/ 1247026 w 6884782"/>
              <a:gd name="connsiteY64696" fmla="*/ 919177 h 5973007"/>
              <a:gd name="connsiteX64697" fmla="*/ 1247335 w 6884782"/>
              <a:gd name="connsiteY64697" fmla="*/ 912671 h 5973007"/>
              <a:gd name="connsiteX64698" fmla="*/ 1256628 w 6884782"/>
              <a:gd name="connsiteY64698" fmla="*/ 911742 h 5973007"/>
              <a:gd name="connsiteX64699" fmla="*/ 1373102 w 6884782"/>
              <a:gd name="connsiteY64699" fmla="*/ 910658 h 5973007"/>
              <a:gd name="connsiteX64700" fmla="*/ 1378058 w 6884782"/>
              <a:gd name="connsiteY64700" fmla="*/ 912826 h 5973007"/>
              <a:gd name="connsiteX64701" fmla="*/ 1374340 w 6884782"/>
              <a:gd name="connsiteY64701" fmla="*/ 921965 h 5973007"/>
              <a:gd name="connsiteX64702" fmla="*/ 1370004 w 6884782"/>
              <a:gd name="connsiteY64702" fmla="*/ 917318 h 5973007"/>
              <a:gd name="connsiteX64703" fmla="*/ 1369900 w 6884782"/>
              <a:gd name="connsiteY64703" fmla="*/ 916544 h 5973007"/>
              <a:gd name="connsiteX64704" fmla="*/ 1370520 w 6884782"/>
              <a:gd name="connsiteY64704" fmla="*/ 914685 h 5973007"/>
              <a:gd name="connsiteX64705" fmla="*/ 1373928 w 6884782"/>
              <a:gd name="connsiteY64705" fmla="*/ 911122 h 5973007"/>
              <a:gd name="connsiteX64706" fmla="*/ 1373102 w 6884782"/>
              <a:gd name="connsiteY64706" fmla="*/ 910658 h 5973007"/>
              <a:gd name="connsiteX64707" fmla="*/ 3305232 w 6884782"/>
              <a:gd name="connsiteY64707" fmla="*/ 909809 h 5973007"/>
              <a:gd name="connsiteX64708" fmla="*/ 3309713 w 6884782"/>
              <a:gd name="connsiteY64708" fmla="*/ 910379 h 5973007"/>
              <a:gd name="connsiteX64709" fmla="*/ 3313128 w 6884782"/>
              <a:gd name="connsiteY64709" fmla="*/ 919342 h 5973007"/>
              <a:gd name="connsiteX64710" fmla="*/ 3312915 w 6884782"/>
              <a:gd name="connsiteY64710" fmla="*/ 919769 h 5973007"/>
              <a:gd name="connsiteX64711" fmla="*/ 3313128 w 6884782"/>
              <a:gd name="connsiteY64711" fmla="*/ 919910 h 5973007"/>
              <a:gd name="connsiteX64712" fmla="*/ 3315049 w 6884782"/>
              <a:gd name="connsiteY64712" fmla="*/ 924037 h 5973007"/>
              <a:gd name="connsiteX64713" fmla="*/ 3312488 w 6884782"/>
              <a:gd name="connsiteY64713" fmla="*/ 928447 h 5973007"/>
              <a:gd name="connsiteX64714" fmla="*/ 3304164 w 6884782"/>
              <a:gd name="connsiteY64714" fmla="*/ 932003 h 5973007"/>
              <a:gd name="connsiteX64715" fmla="*/ 3302671 w 6884782"/>
              <a:gd name="connsiteY64715" fmla="*/ 927166 h 5973007"/>
              <a:gd name="connsiteX64716" fmla="*/ 3303737 w 6884782"/>
              <a:gd name="connsiteY64716" fmla="*/ 924179 h 5973007"/>
              <a:gd name="connsiteX64717" fmla="*/ 3302030 w 6884782"/>
              <a:gd name="connsiteY64717" fmla="*/ 923894 h 5973007"/>
              <a:gd name="connsiteX64718" fmla="*/ 3298829 w 6884782"/>
              <a:gd name="connsiteY64718" fmla="*/ 910094 h 5973007"/>
              <a:gd name="connsiteX64719" fmla="*/ 3305232 w 6884782"/>
              <a:gd name="connsiteY64719" fmla="*/ 909809 h 5973007"/>
              <a:gd name="connsiteX64720" fmla="*/ 1210989 w 6884782"/>
              <a:gd name="connsiteY64720" fmla="*/ 908489 h 5973007"/>
              <a:gd name="connsiteX64721" fmla="*/ 1225135 w 6884782"/>
              <a:gd name="connsiteY64721" fmla="*/ 930330 h 5973007"/>
              <a:gd name="connsiteX64722" fmla="*/ 1210989 w 6884782"/>
              <a:gd name="connsiteY64722" fmla="*/ 908489 h 5973007"/>
              <a:gd name="connsiteX64723" fmla="*/ 3139831 w 6884782"/>
              <a:gd name="connsiteY64723" fmla="*/ 907676 h 5973007"/>
              <a:gd name="connsiteX64724" fmla="*/ 3140471 w 6884782"/>
              <a:gd name="connsiteY64724" fmla="*/ 909809 h 5973007"/>
              <a:gd name="connsiteX64725" fmla="*/ 3139191 w 6884782"/>
              <a:gd name="connsiteY64725" fmla="*/ 912655 h 5973007"/>
              <a:gd name="connsiteX64726" fmla="*/ 3141752 w 6884782"/>
              <a:gd name="connsiteY64726" fmla="*/ 913651 h 5973007"/>
              <a:gd name="connsiteX64727" fmla="*/ 3141539 w 6884782"/>
              <a:gd name="connsiteY64727" fmla="*/ 910094 h 5973007"/>
              <a:gd name="connsiteX64728" fmla="*/ 3548317 w 6884782"/>
              <a:gd name="connsiteY64728" fmla="*/ 907534 h 5973007"/>
              <a:gd name="connsiteX64729" fmla="*/ 3517798 w 6884782"/>
              <a:gd name="connsiteY64729" fmla="*/ 931861 h 5973007"/>
              <a:gd name="connsiteX64730" fmla="*/ 3522066 w 6884782"/>
              <a:gd name="connsiteY64730" fmla="*/ 927878 h 5973007"/>
              <a:gd name="connsiteX64731" fmla="*/ 3521426 w 6884782"/>
              <a:gd name="connsiteY64731" fmla="*/ 928020 h 5973007"/>
              <a:gd name="connsiteX64732" fmla="*/ 3524627 w 6884782"/>
              <a:gd name="connsiteY64732" fmla="*/ 914362 h 5973007"/>
              <a:gd name="connsiteX64733" fmla="*/ 3532310 w 6884782"/>
              <a:gd name="connsiteY64733" fmla="*/ 918488 h 5973007"/>
              <a:gd name="connsiteX64734" fmla="*/ 3531883 w 6884782"/>
              <a:gd name="connsiteY64734" fmla="*/ 919057 h 5973007"/>
              <a:gd name="connsiteX64735" fmla="*/ 3538926 w 6884782"/>
              <a:gd name="connsiteY64735" fmla="*/ 912797 h 5973007"/>
              <a:gd name="connsiteX64736" fmla="*/ 3548317 w 6884782"/>
              <a:gd name="connsiteY64736" fmla="*/ 907534 h 5973007"/>
              <a:gd name="connsiteX64737" fmla="*/ 1310941 w 6884782"/>
              <a:gd name="connsiteY64737" fmla="*/ 907095 h 5973007"/>
              <a:gd name="connsiteX64738" fmla="*/ 1312490 w 6884782"/>
              <a:gd name="connsiteY64738" fmla="*/ 911277 h 5973007"/>
              <a:gd name="connsiteX64739" fmla="*/ 1310735 w 6884782"/>
              <a:gd name="connsiteY64739" fmla="*/ 913136 h 5973007"/>
              <a:gd name="connsiteX64740" fmla="*/ 1308566 w 6884782"/>
              <a:gd name="connsiteY64740" fmla="*/ 911277 h 5973007"/>
              <a:gd name="connsiteX64741" fmla="*/ 1307947 w 6884782"/>
              <a:gd name="connsiteY64741" fmla="*/ 908644 h 5973007"/>
              <a:gd name="connsiteX64742" fmla="*/ 1308979 w 6884782"/>
              <a:gd name="connsiteY64742" fmla="*/ 907715 h 5973007"/>
              <a:gd name="connsiteX64743" fmla="*/ 1310941 w 6884782"/>
              <a:gd name="connsiteY64743" fmla="*/ 907095 h 5973007"/>
              <a:gd name="connsiteX64744" fmla="*/ 1351004 w 6884782"/>
              <a:gd name="connsiteY64744" fmla="*/ 905701 h 5973007"/>
              <a:gd name="connsiteX64745" fmla="*/ 1351108 w 6884782"/>
              <a:gd name="connsiteY64745" fmla="*/ 906321 h 5973007"/>
              <a:gd name="connsiteX64746" fmla="*/ 1351211 w 6884782"/>
              <a:gd name="connsiteY64746" fmla="*/ 906321 h 5973007"/>
              <a:gd name="connsiteX64747" fmla="*/ 3616825 w 6884782"/>
              <a:gd name="connsiteY64747" fmla="*/ 904830 h 5973007"/>
              <a:gd name="connsiteX64748" fmla="*/ 3620026 w 6884782"/>
              <a:gd name="connsiteY64748" fmla="*/ 908387 h 5973007"/>
              <a:gd name="connsiteX64749" fmla="*/ 3619385 w 6884782"/>
              <a:gd name="connsiteY64749" fmla="*/ 910236 h 5973007"/>
              <a:gd name="connsiteX64750" fmla="*/ 3618958 w 6884782"/>
              <a:gd name="connsiteY64750" fmla="*/ 912086 h 5973007"/>
              <a:gd name="connsiteX64751" fmla="*/ 3620879 w 6884782"/>
              <a:gd name="connsiteY64751" fmla="*/ 913082 h 5973007"/>
              <a:gd name="connsiteX64752" fmla="*/ 3623867 w 6884782"/>
              <a:gd name="connsiteY64752" fmla="*/ 913366 h 5973007"/>
              <a:gd name="connsiteX64753" fmla="*/ 3624934 w 6884782"/>
              <a:gd name="connsiteY64753" fmla="*/ 914504 h 5973007"/>
              <a:gd name="connsiteX64754" fmla="*/ 3628136 w 6884782"/>
              <a:gd name="connsiteY64754" fmla="*/ 912655 h 5973007"/>
              <a:gd name="connsiteX64755" fmla="*/ 3635819 w 6884782"/>
              <a:gd name="connsiteY64755" fmla="*/ 918203 h 5973007"/>
              <a:gd name="connsiteX64756" fmla="*/ 3625361 w 6884782"/>
              <a:gd name="connsiteY64756" fmla="*/ 918488 h 5973007"/>
              <a:gd name="connsiteX64757" fmla="*/ 3625361 w 6884782"/>
              <a:gd name="connsiteY64757" fmla="*/ 918345 h 5973007"/>
              <a:gd name="connsiteX64758" fmla="*/ 3624721 w 6884782"/>
              <a:gd name="connsiteY64758" fmla="*/ 919484 h 5973007"/>
              <a:gd name="connsiteX64759" fmla="*/ 3620666 w 6884782"/>
              <a:gd name="connsiteY64759" fmla="*/ 922187 h 5973007"/>
              <a:gd name="connsiteX64760" fmla="*/ 3617038 w 6884782"/>
              <a:gd name="connsiteY64760" fmla="*/ 916923 h 5973007"/>
              <a:gd name="connsiteX64761" fmla="*/ 3618318 w 6884782"/>
              <a:gd name="connsiteY64761" fmla="*/ 912228 h 5973007"/>
              <a:gd name="connsiteX64762" fmla="*/ 3617465 w 6884782"/>
              <a:gd name="connsiteY64762" fmla="*/ 912371 h 5973007"/>
              <a:gd name="connsiteX64763" fmla="*/ 3617891 w 6884782"/>
              <a:gd name="connsiteY64763" fmla="*/ 911517 h 5973007"/>
              <a:gd name="connsiteX64764" fmla="*/ 3613410 w 6884782"/>
              <a:gd name="connsiteY64764" fmla="*/ 910094 h 5973007"/>
              <a:gd name="connsiteX64765" fmla="*/ 3616825 w 6884782"/>
              <a:gd name="connsiteY64765" fmla="*/ 904830 h 5973007"/>
              <a:gd name="connsiteX64766" fmla="*/ 4654685 w 6884782"/>
              <a:gd name="connsiteY64766" fmla="*/ 904119 h 5973007"/>
              <a:gd name="connsiteX64767" fmla="*/ 4661514 w 6884782"/>
              <a:gd name="connsiteY64767" fmla="*/ 907249 h 5973007"/>
              <a:gd name="connsiteX64768" fmla="*/ 4665142 w 6884782"/>
              <a:gd name="connsiteY64768" fmla="*/ 911233 h 5973007"/>
              <a:gd name="connsiteX64769" fmla="*/ 4661728 w 6884782"/>
              <a:gd name="connsiteY64769" fmla="*/ 928731 h 5973007"/>
              <a:gd name="connsiteX64770" fmla="*/ 4659167 w 6884782"/>
              <a:gd name="connsiteY64770" fmla="*/ 931150 h 5973007"/>
              <a:gd name="connsiteX64771" fmla="*/ 4656392 w 6884782"/>
              <a:gd name="connsiteY64771" fmla="*/ 935845 h 5973007"/>
              <a:gd name="connsiteX64772" fmla="*/ 4643160 w 6884782"/>
              <a:gd name="connsiteY64772" fmla="*/ 929585 h 5973007"/>
              <a:gd name="connsiteX64773" fmla="*/ 4641666 w 6884782"/>
              <a:gd name="connsiteY64773" fmla="*/ 909241 h 5973007"/>
              <a:gd name="connsiteX64774" fmla="*/ 4654685 w 6884782"/>
              <a:gd name="connsiteY64774" fmla="*/ 904119 h 5973007"/>
              <a:gd name="connsiteX64775" fmla="*/ 4760967 w 6884782"/>
              <a:gd name="connsiteY64775" fmla="*/ 903977 h 5973007"/>
              <a:gd name="connsiteX64776" fmla="*/ 4768864 w 6884782"/>
              <a:gd name="connsiteY64776" fmla="*/ 905542 h 5973007"/>
              <a:gd name="connsiteX64777" fmla="*/ 4746242 w 6884782"/>
              <a:gd name="connsiteY64777" fmla="*/ 924464 h 5973007"/>
              <a:gd name="connsiteX64778" fmla="*/ 4743894 w 6884782"/>
              <a:gd name="connsiteY64778" fmla="*/ 919057 h 5973007"/>
              <a:gd name="connsiteX64779" fmla="*/ 4760967 w 6884782"/>
              <a:gd name="connsiteY64779" fmla="*/ 903977 h 5973007"/>
              <a:gd name="connsiteX64780" fmla="*/ 1408622 w 6884782"/>
              <a:gd name="connsiteY64780" fmla="*/ 902138 h 5973007"/>
              <a:gd name="connsiteX64781" fmla="*/ 1417811 w 6884782"/>
              <a:gd name="connsiteY64781" fmla="*/ 909264 h 5973007"/>
              <a:gd name="connsiteX64782" fmla="*/ 1419980 w 6884782"/>
              <a:gd name="connsiteY64782" fmla="*/ 920416 h 5973007"/>
              <a:gd name="connsiteX64783" fmla="*/ 1422561 w 6884782"/>
              <a:gd name="connsiteY64783" fmla="*/ 920416 h 5973007"/>
              <a:gd name="connsiteX64784" fmla="*/ 1423284 w 6884782"/>
              <a:gd name="connsiteY64784" fmla="*/ 923979 h 5973007"/>
              <a:gd name="connsiteX64785" fmla="*/ 1421942 w 6884782"/>
              <a:gd name="connsiteY64785" fmla="*/ 925838 h 5973007"/>
              <a:gd name="connsiteX64786" fmla="*/ 1427208 w 6884782"/>
              <a:gd name="connsiteY64786" fmla="*/ 926302 h 5973007"/>
              <a:gd name="connsiteX64787" fmla="*/ 1420599 w 6884782"/>
              <a:gd name="connsiteY64787" fmla="*/ 935286 h 5973007"/>
              <a:gd name="connsiteX64788" fmla="*/ 1417811 w 6884782"/>
              <a:gd name="connsiteY64788" fmla="*/ 932498 h 5973007"/>
              <a:gd name="connsiteX64789" fmla="*/ 1417811 w 6884782"/>
              <a:gd name="connsiteY64789" fmla="*/ 933118 h 5973007"/>
              <a:gd name="connsiteX64790" fmla="*/ 1413474 w 6884782"/>
              <a:gd name="connsiteY64790" fmla="*/ 929865 h 5973007"/>
              <a:gd name="connsiteX64791" fmla="*/ 1412235 w 6884782"/>
              <a:gd name="connsiteY64791" fmla="*/ 929555 h 5973007"/>
              <a:gd name="connsiteX64792" fmla="*/ 1408208 w 6884782"/>
              <a:gd name="connsiteY64792" fmla="*/ 928006 h 5973007"/>
              <a:gd name="connsiteX64793" fmla="*/ 1409654 w 6884782"/>
              <a:gd name="connsiteY64793" fmla="*/ 924134 h 5973007"/>
              <a:gd name="connsiteX64794" fmla="*/ 1409138 w 6884782"/>
              <a:gd name="connsiteY64794" fmla="*/ 923359 h 5973007"/>
              <a:gd name="connsiteX64795" fmla="*/ 1407279 w 6884782"/>
              <a:gd name="connsiteY64795" fmla="*/ 912206 h 5973007"/>
              <a:gd name="connsiteX64796" fmla="*/ 1412855 w 6884782"/>
              <a:gd name="connsiteY64796" fmla="*/ 916389 h 5973007"/>
              <a:gd name="connsiteX64797" fmla="*/ 1415850 w 6884782"/>
              <a:gd name="connsiteY64797" fmla="*/ 920881 h 5973007"/>
              <a:gd name="connsiteX64798" fmla="*/ 1418431 w 6884782"/>
              <a:gd name="connsiteY64798" fmla="*/ 920571 h 5973007"/>
              <a:gd name="connsiteX64799" fmla="*/ 1414610 w 6884782"/>
              <a:gd name="connsiteY64799" fmla="*/ 918093 h 5973007"/>
              <a:gd name="connsiteX64800" fmla="*/ 1408622 w 6884782"/>
              <a:gd name="connsiteY64800" fmla="*/ 902138 h 5973007"/>
              <a:gd name="connsiteX64801" fmla="*/ 1530258 w 6884782"/>
              <a:gd name="connsiteY64801" fmla="*/ 899970 h 5973007"/>
              <a:gd name="connsiteX64802" fmla="*/ 1527882 w 6884782"/>
              <a:gd name="connsiteY64802" fmla="*/ 910193 h 5973007"/>
              <a:gd name="connsiteX64803" fmla="*/ 1526334 w 6884782"/>
              <a:gd name="connsiteY64803" fmla="*/ 909418 h 5973007"/>
              <a:gd name="connsiteX64804" fmla="*/ 1526437 w 6884782"/>
              <a:gd name="connsiteY64804" fmla="*/ 911277 h 5973007"/>
              <a:gd name="connsiteX64805" fmla="*/ 1525921 w 6884782"/>
              <a:gd name="connsiteY64805" fmla="*/ 914066 h 5973007"/>
              <a:gd name="connsiteX64806" fmla="*/ 1519726 w 6884782"/>
              <a:gd name="connsiteY64806" fmla="*/ 914685 h 5973007"/>
              <a:gd name="connsiteX64807" fmla="*/ 1517763 w 6884782"/>
              <a:gd name="connsiteY64807" fmla="*/ 912671 h 5973007"/>
              <a:gd name="connsiteX64808" fmla="*/ 1516214 w 6884782"/>
              <a:gd name="connsiteY64808" fmla="*/ 907715 h 5973007"/>
              <a:gd name="connsiteX64809" fmla="*/ 1515492 w 6884782"/>
              <a:gd name="connsiteY64809" fmla="*/ 907870 h 5973007"/>
              <a:gd name="connsiteX64810" fmla="*/ 1519726 w 6884782"/>
              <a:gd name="connsiteY64810" fmla="*/ 905391 h 5973007"/>
              <a:gd name="connsiteX64811" fmla="*/ 1520345 w 6884782"/>
              <a:gd name="connsiteY64811" fmla="*/ 905546 h 5973007"/>
              <a:gd name="connsiteX64812" fmla="*/ 1519726 w 6884782"/>
              <a:gd name="connsiteY64812" fmla="*/ 905082 h 5973007"/>
              <a:gd name="connsiteX64813" fmla="*/ 1523546 w 6884782"/>
              <a:gd name="connsiteY64813" fmla="*/ 900435 h 5973007"/>
              <a:gd name="connsiteX64814" fmla="*/ 1530258 w 6884782"/>
              <a:gd name="connsiteY64814" fmla="*/ 899970 h 5973007"/>
              <a:gd name="connsiteX64815" fmla="*/ 3485998 w 6884782"/>
              <a:gd name="connsiteY64815" fmla="*/ 899140 h 5973007"/>
              <a:gd name="connsiteX64816" fmla="*/ 3489626 w 6884782"/>
              <a:gd name="connsiteY64816" fmla="*/ 907107 h 5973007"/>
              <a:gd name="connsiteX64817" fmla="*/ 3487492 w 6884782"/>
              <a:gd name="connsiteY64817" fmla="*/ 910094 h 5973007"/>
              <a:gd name="connsiteX64818" fmla="*/ 3484931 w 6884782"/>
              <a:gd name="connsiteY64818" fmla="*/ 911233 h 5973007"/>
              <a:gd name="connsiteX64819" fmla="*/ 3482583 w 6884782"/>
              <a:gd name="connsiteY64819" fmla="*/ 910521 h 5973007"/>
              <a:gd name="connsiteX64820" fmla="*/ 3483010 w 6884782"/>
              <a:gd name="connsiteY64820" fmla="*/ 912228 h 5973007"/>
              <a:gd name="connsiteX64821" fmla="*/ 3479169 w 6884782"/>
              <a:gd name="connsiteY64821" fmla="*/ 912940 h 5973007"/>
              <a:gd name="connsiteX64822" fmla="*/ 3478742 w 6884782"/>
              <a:gd name="connsiteY64822" fmla="*/ 912228 h 5973007"/>
              <a:gd name="connsiteX64823" fmla="*/ 3474260 w 6884782"/>
              <a:gd name="connsiteY64823" fmla="*/ 915216 h 5973007"/>
              <a:gd name="connsiteX64824" fmla="*/ 3461668 w 6884782"/>
              <a:gd name="connsiteY64824" fmla="*/ 905257 h 5973007"/>
              <a:gd name="connsiteX64825" fmla="*/ 3470205 w 6884782"/>
              <a:gd name="connsiteY64825" fmla="*/ 901558 h 5973007"/>
              <a:gd name="connsiteX64826" fmla="*/ 3478102 w 6884782"/>
              <a:gd name="connsiteY64826" fmla="*/ 906111 h 5973007"/>
              <a:gd name="connsiteX64827" fmla="*/ 3478955 w 6884782"/>
              <a:gd name="connsiteY64827" fmla="*/ 910094 h 5973007"/>
              <a:gd name="connsiteX64828" fmla="*/ 3481303 w 6884782"/>
              <a:gd name="connsiteY64828" fmla="*/ 908814 h 5973007"/>
              <a:gd name="connsiteX64829" fmla="*/ 3480236 w 6884782"/>
              <a:gd name="connsiteY64829" fmla="*/ 905684 h 5973007"/>
              <a:gd name="connsiteX64830" fmla="*/ 3482370 w 6884782"/>
              <a:gd name="connsiteY64830" fmla="*/ 899851 h 5973007"/>
              <a:gd name="connsiteX64831" fmla="*/ 3485998 w 6884782"/>
              <a:gd name="connsiteY64831" fmla="*/ 899140 h 5973007"/>
              <a:gd name="connsiteX64832" fmla="*/ 1359059 w 6884782"/>
              <a:gd name="connsiteY64832" fmla="*/ 897085 h 5973007"/>
              <a:gd name="connsiteX64833" fmla="*/ 1365461 w 6884782"/>
              <a:gd name="connsiteY64833" fmla="*/ 899505 h 5973007"/>
              <a:gd name="connsiteX64834" fmla="*/ 1368352 w 6884782"/>
              <a:gd name="connsiteY64834" fmla="*/ 903223 h 5973007"/>
              <a:gd name="connsiteX64835" fmla="*/ 1366906 w 6884782"/>
              <a:gd name="connsiteY64835" fmla="*/ 909264 h 5973007"/>
              <a:gd name="connsiteX64836" fmla="*/ 1363912 w 6884782"/>
              <a:gd name="connsiteY64836" fmla="*/ 911277 h 5973007"/>
              <a:gd name="connsiteX64837" fmla="*/ 1365254 w 6884782"/>
              <a:gd name="connsiteY64837" fmla="*/ 913136 h 5973007"/>
              <a:gd name="connsiteX64838" fmla="*/ 1358956 w 6884782"/>
              <a:gd name="connsiteY64838" fmla="*/ 926302 h 5973007"/>
              <a:gd name="connsiteX64839" fmla="*/ 1356580 w 6884782"/>
              <a:gd name="connsiteY64839" fmla="*/ 926612 h 5973007"/>
              <a:gd name="connsiteX64840" fmla="*/ 1353276 w 6884782"/>
              <a:gd name="connsiteY64840" fmla="*/ 928316 h 5973007"/>
              <a:gd name="connsiteX64841" fmla="*/ 1346358 w 6884782"/>
              <a:gd name="connsiteY64841" fmla="*/ 919177 h 5973007"/>
              <a:gd name="connsiteX64842" fmla="*/ 1345119 w 6884782"/>
              <a:gd name="connsiteY64842" fmla="*/ 913911 h 5973007"/>
              <a:gd name="connsiteX64843" fmla="*/ 1345326 w 6884782"/>
              <a:gd name="connsiteY64843" fmla="*/ 912826 h 5973007"/>
              <a:gd name="connsiteX64844" fmla="*/ 1345119 w 6884782"/>
              <a:gd name="connsiteY64844" fmla="*/ 913136 h 5973007"/>
              <a:gd name="connsiteX64845" fmla="*/ 1339543 w 6884782"/>
              <a:gd name="connsiteY64845" fmla="*/ 916544 h 5973007"/>
              <a:gd name="connsiteX64846" fmla="*/ 1340163 w 6884782"/>
              <a:gd name="connsiteY64846" fmla="*/ 913911 h 5973007"/>
              <a:gd name="connsiteX64847" fmla="*/ 1341092 w 6884782"/>
              <a:gd name="connsiteY64847" fmla="*/ 912981 h 5973007"/>
              <a:gd name="connsiteX64848" fmla="*/ 1340989 w 6884782"/>
              <a:gd name="connsiteY64848" fmla="*/ 912206 h 5973007"/>
              <a:gd name="connsiteX64849" fmla="*/ 1341918 w 6884782"/>
              <a:gd name="connsiteY64849" fmla="*/ 912052 h 5973007"/>
              <a:gd name="connsiteX64850" fmla="*/ 1343467 w 6884782"/>
              <a:gd name="connsiteY64850" fmla="*/ 910038 h 5973007"/>
              <a:gd name="connsiteX64851" fmla="*/ 1345738 w 6884782"/>
              <a:gd name="connsiteY64851" fmla="*/ 904772 h 5973007"/>
              <a:gd name="connsiteX64852" fmla="*/ 1350798 w 6884782"/>
              <a:gd name="connsiteY64852" fmla="*/ 900589 h 5973007"/>
              <a:gd name="connsiteX64853" fmla="*/ 1352554 w 6884782"/>
              <a:gd name="connsiteY64853" fmla="*/ 902138 h 5973007"/>
              <a:gd name="connsiteX64854" fmla="*/ 1354206 w 6884782"/>
              <a:gd name="connsiteY64854" fmla="*/ 900125 h 5973007"/>
              <a:gd name="connsiteX64855" fmla="*/ 1359059 w 6884782"/>
              <a:gd name="connsiteY64855" fmla="*/ 897085 h 5973007"/>
              <a:gd name="connsiteX64856" fmla="*/ 4676454 w 6884782"/>
              <a:gd name="connsiteY64856" fmla="*/ 896863 h 5973007"/>
              <a:gd name="connsiteX64857" fmla="*/ 4680509 w 6884782"/>
              <a:gd name="connsiteY64857" fmla="*/ 901558 h 5973007"/>
              <a:gd name="connsiteX64858" fmla="*/ 4677094 w 6884782"/>
              <a:gd name="connsiteY64858" fmla="*/ 911233 h 5973007"/>
              <a:gd name="connsiteX64859" fmla="*/ 4669411 w 6884782"/>
              <a:gd name="connsiteY64859" fmla="*/ 908671 h 5973007"/>
              <a:gd name="connsiteX64860" fmla="*/ 4668557 w 6884782"/>
              <a:gd name="connsiteY64860" fmla="*/ 905115 h 5973007"/>
              <a:gd name="connsiteX64861" fmla="*/ 4670478 w 6884782"/>
              <a:gd name="connsiteY64861" fmla="*/ 898002 h 5973007"/>
              <a:gd name="connsiteX64862" fmla="*/ 4669411 w 6884782"/>
              <a:gd name="connsiteY64862" fmla="*/ 898002 h 5973007"/>
              <a:gd name="connsiteX64863" fmla="*/ 4676454 w 6884782"/>
              <a:gd name="connsiteY64863" fmla="*/ 896863 h 5973007"/>
              <a:gd name="connsiteX64864" fmla="*/ 3994364 w 6884782"/>
              <a:gd name="connsiteY64864" fmla="*/ 895868 h 5973007"/>
              <a:gd name="connsiteX64865" fmla="*/ 3996925 w 6884782"/>
              <a:gd name="connsiteY64865" fmla="*/ 902697 h 5973007"/>
              <a:gd name="connsiteX64866" fmla="*/ 3983266 w 6884782"/>
              <a:gd name="connsiteY64866" fmla="*/ 907676 h 5973007"/>
              <a:gd name="connsiteX64867" fmla="*/ 3981345 w 6884782"/>
              <a:gd name="connsiteY64867" fmla="*/ 903123 h 5973007"/>
              <a:gd name="connsiteX64868" fmla="*/ 3994364 w 6884782"/>
              <a:gd name="connsiteY64868" fmla="*/ 895868 h 5973007"/>
              <a:gd name="connsiteX64869" fmla="*/ 1441664 w 6884782"/>
              <a:gd name="connsiteY64869" fmla="*/ 893619 h 5973007"/>
              <a:gd name="connsiteX64870" fmla="*/ 1435985 w 6884782"/>
              <a:gd name="connsiteY64870" fmla="*/ 905391 h 5973007"/>
              <a:gd name="connsiteX64871" fmla="*/ 1435778 w 6884782"/>
              <a:gd name="connsiteY64871" fmla="*/ 902913 h 5973007"/>
              <a:gd name="connsiteX64872" fmla="*/ 1441664 w 6884782"/>
              <a:gd name="connsiteY64872" fmla="*/ 893619 h 5973007"/>
              <a:gd name="connsiteX64873" fmla="*/ 3554506 w 6884782"/>
              <a:gd name="connsiteY64873" fmla="*/ 893449 h 5973007"/>
              <a:gd name="connsiteX64874" fmla="*/ 3559841 w 6884782"/>
              <a:gd name="connsiteY64874" fmla="*/ 893733 h 5973007"/>
              <a:gd name="connsiteX64875" fmla="*/ 3567311 w 6884782"/>
              <a:gd name="connsiteY64875" fmla="*/ 899424 h 5973007"/>
              <a:gd name="connsiteX64876" fmla="*/ 3555146 w 6884782"/>
              <a:gd name="connsiteY64876" fmla="*/ 913082 h 5973007"/>
              <a:gd name="connsiteX64877" fmla="*/ 3547890 w 6884782"/>
              <a:gd name="connsiteY64877" fmla="*/ 905684 h 5973007"/>
              <a:gd name="connsiteX64878" fmla="*/ 3554506 w 6884782"/>
              <a:gd name="connsiteY64878" fmla="*/ 893449 h 5973007"/>
              <a:gd name="connsiteX64879" fmla="*/ 1365151 w 6884782"/>
              <a:gd name="connsiteY64879" fmla="*/ 891450 h 5973007"/>
              <a:gd name="connsiteX64880" fmla="*/ 1363602 w 6884782"/>
              <a:gd name="connsiteY64880" fmla="*/ 897647 h 5973007"/>
              <a:gd name="connsiteX64881" fmla="*/ 1365151 w 6884782"/>
              <a:gd name="connsiteY64881" fmla="*/ 891450 h 5973007"/>
              <a:gd name="connsiteX64882" fmla="*/ 3150715 w 6884782"/>
              <a:gd name="connsiteY64882" fmla="*/ 890461 h 5973007"/>
              <a:gd name="connsiteX64883" fmla="*/ 3153063 w 6884782"/>
              <a:gd name="connsiteY64883" fmla="*/ 901416 h 5973007"/>
              <a:gd name="connsiteX64884" fmla="*/ 3151356 w 6884782"/>
              <a:gd name="connsiteY64884" fmla="*/ 903692 h 5973007"/>
              <a:gd name="connsiteX64885" fmla="*/ 3148581 w 6884782"/>
              <a:gd name="connsiteY64885" fmla="*/ 901985 h 5973007"/>
              <a:gd name="connsiteX64886" fmla="*/ 3150715 w 6884782"/>
              <a:gd name="connsiteY64886" fmla="*/ 890461 h 5973007"/>
              <a:gd name="connsiteX64887" fmla="*/ 4153575 w 6884782"/>
              <a:gd name="connsiteY64887" fmla="*/ 889750 h 5973007"/>
              <a:gd name="connsiteX64888" fmla="*/ 4157630 w 6884782"/>
              <a:gd name="connsiteY64888" fmla="*/ 890603 h 5973007"/>
              <a:gd name="connsiteX64889" fmla="*/ 4153362 w 6884782"/>
              <a:gd name="connsiteY64889" fmla="*/ 899140 h 5973007"/>
              <a:gd name="connsiteX64890" fmla="*/ 4149947 w 6884782"/>
              <a:gd name="connsiteY64890" fmla="*/ 890603 h 5973007"/>
              <a:gd name="connsiteX64891" fmla="*/ 4153575 w 6884782"/>
              <a:gd name="connsiteY64891" fmla="*/ 889750 h 5973007"/>
              <a:gd name="connsiteX64892" fmla="*/ 1287915 w 6884782"/>
              <a:gd name="connsiteY64892" fmla="*/ 887733 h 5973007"/>
              <a:gd name="connsiteX64893" fmla="*/ 1289877 w 6884782"/>
              <a:gd name="connsiteY64893" fmla="*/ 892380 h 5973007"/>
              <a:gd name="connsiteX64894" fmla="*/ 1286573 w 6884782"/>
              <a:gd name="connsiteY64894" fmla="*/ 894549 h 5973007"/>
              <a:gd name="connsiteX64895" fmla="*/ 1284507 w 6884782"/>
              <a:gd name="connsiteY64895" fmla="*/ 889747 h 5973007"/>
              <a:gd name="connsiteX64896" fmla="*/ 1287915 w 6884782"/>
              <a:gd name="connsiteY64896" fmla="*/ 887733 h 5973007"/>
              <a:gd name="connsiteX64897" fmla="*/ 1187137 w 6884782"/>
              <a:gd name="connsiteY64897" fmla="*/ 886649 h 5973007"/>
              <a:gd name="connsiteX64898" fmla="*/ 1201799 w 6884782"/>
              <a:gd name="connsiteY64898" fmla="*/ 897647 h 5973007"/>
              <a:gd name="connsiteX64899" fmla="*/ 1187034 w 6884782"/>
              <a:gd name="connsiteY64899" fmla="*/ 892225 h 5973007"/>
              <a:gd name="connsiteX64900" fmla="*/ 1187137 w 6884782"/>
              <a:gd name="connsiteY64900" fmla="*/ 886649 h 5973007"/>
              <a:gd name="connsiteX64901" fmla="*/ 3487065 w 6884782"/>
              <a:gd name="connsiteY64901" fmla="*/ 886051 h 5973007"/>
              <a:gd name="connsiteX64902" fmla="*/ 3496669 w 6884782"/>
              <a:gd name="connsiteY64902" fmla="*/ 890461 h 5973007"/>
              <a:gd name="connsiteX64903" fmla="*/ 3487065 w 6884782"/>
              <a:gd name="connsiteY64903" fmla="*/ 886051 h 5973007"/>
              <a:gd name="connsiteX64904" fmla="*/ 3219010 w 6884782"/>
              <a:gd name="connsiteY64904" fmla="*/ 885624 h 5973007"/>
              <a:gd name="connsiteX64905" fmla="*/ 3212607 w 6884782"/>
              <a:gd name="connsiteY64905" fmla="*/ 892737 h 5973007"/>
              <a:gd name="connsiteX64906" fmla="*/ 3205778 w 6884782"/>
              <a:gd name="connsiteY64906" fmla="*/ 898002 h 5973007"/>
              <a:gd name="connsiteX64907" fmla="*/ 3211967 w 6884782"/>
              <a:gd name="connsiteY64907" fmla="*/ 903265 h 5973007"/>
              <a:gd name="connsiteX64908" fmla="*/ 3221144 w 6884782"/>
              <a:gd name="connsiteY64908" fmla="*/ 915785 h 5973007"/>
              <a:gd name="connsiteX64909" fmla="*/ 3223278 w 6884782"/>
              <a:gd name="connsiteY64909" fmla="*/ 920622 h 5973007"/>
              <a:gd name="connsiteX64910" fmla="*/ 3227547 w 6884782"/>
              <a:gd name="connsiteY64910" fmla="*/ 919769 h 5973007"/>
              <a:gd name="connsiteX64911" fmla="*/ 3231602 w 6884782"/>
              <a:gd name="connsiteY64911" fmla="*/ 922756 h 5973007"/>
              <a:gd name="connsiteX64912" fmla="*/ 3228400 w 6884782"/>
              <a:gd name="connsiteY64912" fmla="*/ 929869 h 5973007"/>
              <a:gd name="connsiteX64913" fmla="*/ 3227333 w 6884782"/>
              <a:gd name="connsiteY64913" fmla="*/ 930012 h 5973007"/>
              <a:gd name="connsiteX64914" fmla="*/ 3229681 w 6884782"/>
              <a:gd name="connsiteY64914" fmla="*/ 945092 h 5973007"/>
              <a:gd name="connsiteX64915" fmla="*/ 3227974 w 6884782"/>
              <a:gd name="connsiteY64915" fmla="*/ 960173 h 5973007"/>
              <a:gd name="connsiteX64916" fmla="*/ 3226907 w 6884782"/>
              <a:gd name="connsiteY64916" fmla="*/ 962307 h 5973007"/>
              <a:gd name="connsiteX64917" fmla="*/ 3229040 w 6884782"/>
              <a:gd name="connsiteY64917" fmla="*/ 966717 h 5973007"/>
              <a:gd name="connsiteX64918" fmla="*/ 3226480 w 6884782"/>
              <a:gd name="connsiteY64918" fmla="*/ 972835 h 5973007"/>
              <a:gd name="connsiteX64919" fmla="*/ 3222638 w 6884782"/>
              <a:gd name="connsiteY64919" fmla="*/ 971270 h 5973007"/>
              <a:gd name="connsiteX64920" fmla="*/ 3221357 w 6884782"/>
              <a:gd name="connsiteY64920" fmla="*/ 974115 h 5973007"/>
              <a:gd name="connsiteX64921" fmla="*/ 3205351 w 6884782"/>
              <a:gd name="connsiteY64921" fmla="*/ 972693 h 5973007"/>
              <a:gd name="connsiteX64922" fmla="*/ 3205138 w 6884782"/>
              <a:gd name="connsiteY64922" fmla="*/ 972693 h 5973007"/>
              <a:gd name="connsiteX64923" fmla="*/ 3205138 w 6884782"/>
              <a:gd name="connsiteY64923" fmla="*/ 975253 h 5973007"/>
              <a:gd name="connsiteX64924" fmla="*/ 3210260 w 6884782"/>
              <a:gd name="connsiteY64924" fmla="*/ 979379 h 5973007"/>
              <a:gd name="connsiteX64925" fmla="*/ 3209620 w 6884782"/>
              <a:gd name="connsiteY64925" fmla="*/ 989623 h 5973007"/>
              <a:gd name="connsiteX64926" fmla="*/ 3216022 w 6884782"/>
              <a:gd name="connsiteY64926" fmla="*/ 1002996 h 5973007"/>
              <a:gd name="connsiteX64927" fmla="*/ 3217089 w 6884782"/>
              <a:gd name="connsiteY64927" fmla="*/ 997020 h 5973007"/>
              <a:gd name="connsiteX64928" fmla="*/ 3221784 w 6884782"/>
              <a:gd name="connsiteY64928" fmla="*/ 1009967 h 5973007"/>
              <a:gd name="connsiteX64929" fmla="*/ 3231815 w 6884782"/>
              <a:gd name="connsiteY64929" fmla="*/ 1021349 h 5973007"/>
              <a:gd name="connsiteX64930" fmla="*/ 3229254 w 6884782"/>
              <a:gd name="connsiteY64930" fmla="*/ 1025759 h 5973007"/>
              <a:gd name="connsiteX64931" fmla="*/ 3237151 w 6884782"/>
              <a:gd name="connsiteY64931" fmla="*/ 1026186 h 5973007"/>
              <a:gd name="connsiteX64932" fmla="*/ 3231388 w 6884782"/>
              <a:gd name="connsiteY64932" fmla="*/ 1031592 h 5973007"/>
              <a:gd name="connsiteX64933" fmla="*/ 3252090 w 6884782"/>
              <a:gd name="connsiteY64933" fmla="*/ 1041124 h 5973007"/>
              <a:gd name="connsiteX64934" fmla="*/ 3250596 w 6884782"/>
              <a:gd name="connsiteY64934" fmla="*/ 1054212 h 5973007"/>
              <a:gd name="connsiteX64935" fmla="*/ 3256785 w 6884782"/>
              <a:gd name="connsiteY64935" fmla="*/ 1062179 h 5973007"/>
              <a:gd name="connsiteX64936" fmla="*/ 3265962 w 6884782"/>
              <a:gd name="connsiteY64936" fmla="*/ 1061895 h 5973007"/>
              <a:gd name="connsiteX64937" fmla="*/ 3275566 w 6884782"/>
              <a:gd name="connsiteY64937" fmla="*/ 1080532 h 5973007"/>
              <a:gd name="connsiteX64938" fmla="*/ 3276420 w 6884782"/>
              <a:gd name="connsiteY64938" fmla="*/ 1093194 h 5973007"/>
              <a:gd name="connsiteX64939" fmla="*/ 3280261 w 6884782"/>
              <a:gd name="connsiteY64939" fmla="*/ 1100166 h 5973007"/>
              <a:gd name="connsiteX64940" fmla="*/ 3282182 w 6884782"/>
              <a:gd name="connsiteY64940" fmla="*/ 1097747 h 5973007"/>
              <a:gd name="connsiteX64941" fmla="*/ 3280475 w 6884782"/>
              <a:gd name="connsiteY64941" fmla="*/ 1096894 h 5973007"/>
              <a:gd name="connsiteX64942" fmla="*/ 3277914 w 6884782"/>
              <a:gd name="connsiteY64942" fmla="*/ 1091629 h 5973007"/>
              <a:gd name="connsiteX64943" fmla="*/ 3282395 w 6884782"/>
              <a:gd name="connsiteY64943" fmla="*/ 1096039 h 5973007"/>
              <a:gd name="connsiteX64944" fmla="*/ 3287945 w 6884782"/>
              <a:gd name="connsiteY64944" fmla="*/ 1078540 h 5973007"/>
              <a:gd name="connsiteX64945" fmla="*/ 3286450 w 6884782"/>
              <a:gd name="connsiteY64945" fmla="*/ 1071854 h 5973007"/>
              <a:gd name="connsiteX64946" fmla="*/ 3283036 w 6884782"/>
              <a:gd name="connsiteY64946" fmla="*/ 1072138 h 5973007"/>
              <a:gd name="connsiteX64947" fmla="*/ 3279834 w 6884782"/>
              <a:gd name="connsiteY64947" fmla="*/ 1071143 h 5973007"/>
              <a:gd name="connsiteX64948" fmla="*/ 3282395 w 6884782"/>
              <a:gd name="connsiteY64948" fmla="*/ 1068582 h 5973007"/>
              <a:gd name="connsiteX64949" fmla="*/ 3283890 w 6884782"/>
              <a:gd name="connsiteY64949" fmla="*/ 1068155 h 5973007"/>
              <a:gd name="connsiteX64950" fmla="*/ 3284317 w 6884782"/>
              <a:gd name="connsiteY64950" fmla="*/ 1067017 h 5973007"/>
              <a:gd name="connsiteX64951" fmla="*/ 3285383 w 6884782"/>
              <a:gd name="connsiteY64951" fmla="*/ 1067586 h 5973007"/>
              <a:gd name="connsiteX64952" fmla="*/ 3285597 w 6884782"/>
              <a:gd name="connsiteY64952" fmla="*/ 1067443 h 5973007"/>
              <a:gd name="connsiteX64953" fmla="*/ 3284317 w 6884782"/>
              <a:gd name="connsiteY64953" fmla="*/ 1061184 h 5973007"/>
              <a:gd name="connsiteX64954" fmla="*/ 3284103 w 6884782"/>
              <a:gd name="connsiteY64954" fmla="*/ 1061184 h 5973007"/>
              <a:gd name="connsiteX64955" fmla="*/ 3272792 w 6884782"/>
              <a:gd name="connsiteY64955" fmla="*/ 1059334 h 5973007"/>
              <a:gd name="connsiteX64956" fmla="*/ 3255078 w 6884782"/>
              <a:gd name="connsiteY64956" fmla="*/ 1027181 h 5973007"/>
              <a:gd name="connsiteX64957" fmla="*/ 3257852 w 6884782"/>
              <a:gd name="connsiteY64957" fmla="*/ 1024478 h 5973007"/>
              <a:gd name="connsiteX64958" fmla="*/ 3269377 w 6884782"/>
              <a:gd name="connsiteY64958" fmla="*/ 1022344 h 5973007"/>
              <a:gd name="connsiteX64959" fmla="*/ 3295841 w 6884782"/>
              <a:gd name="connsiteY64959" fmla="*/ 1042119 h 5973007"/>
              <a:gd name="connsiteX64960" fmla="*/ 3297548 w 6884782"/>
              <a:gd name="connsiteY64960" fmla="*/ 1049660 h 5973007"/>
              <a:gd name="connsiteX64961" fmla="*/ 3296695 w 6884782"/>
              <a:gd name="connsiteY64961" fmla="*/ 1057058 h 5973007"/>
              <a:gd name="connsiteX64962" fmla="*/ 3298188 w 6884782"/>
              <a:gd name="connsiteY64962" fmla="*/ 1057200 h 5973007"/>
              <a:gd name="connsiteX64963" fmla="*/ 3301603 w 6884782"/>
              <a:gd name="connsiteY64963" fmla="*/ 1061041 h 5973007"/>
              <a:gd name="connsiteX64964" fmla="*/ 3301603 w 6884782"/>
              <a:gd name="connsiteY64964" fmla="*/ 1061468 h 5973007"/>
              <a:gd name="connsiteX64965" fmla="*/ 3302671 w 6884782"/>
              <a:gd name="connsiteY64965" fmla="*/ 1061468 h 5973007"/>
              <a:gd name="connsiteX64966" fmla="*/ 3303737 w 6884782"/>
              <a:gd name="connsiteY64966" fmla="*/ 1064741 h 5973007"/>
              <a:gd name="connsiteX64967" fmla="*/ 3306725 w 6884782"/>
              <a:gd name="connsiteY64967" fmla="*/ 1063887 h 5973007"/>
              <a:gd name="connsiteX64968" fmla="*/ 3319744 w 6884782"/>
              <a:gd name="connsiteY64968" fmla="*/ 1072565 h 5973007"/>
              <a:gd name="connsiteX64969" fmla="*/ 3320598 w 6884782"/>
              <a:gd name="connsiteY64969" fmla="*/ 1079679 h 5973007"/>
              <a:gd name="connsiteX64970" fmla="*/ 3320171 w 6884782"/>
              <a:gd name="connsiteY64970" fmla="*/ 1080390 h 5973007"/>
              <a:gd name="connsiteX64971" fmla="*/ 3324866 w 6884782"/>
              <a:gd name="connsiteY64971" fmla="*/ 1081528 h 5973007"/>
              <a:gd name="connsiteX64972" fmla="*/ 3322732 w 6884782"/>
              <a:gd name="connsiteY64972" fmla="*/ 1088926 h 5973007"/>
              <a:gd name="connsiteX64973" fmla="*/ 3311848 w 6884782"/>
              <a:gd name="connsiteY64973" fmla="*/ 1086508 h 5973007"/>
              <a:gd name="connsiteX64974" fmla="*/ 3309927 w 6884782"/>
              <a:gd name="connsiteY64974" fmla="*/ 1085654 h 5973007"/>
              <a:gd name="connsiteX64975" fmla="*/ 3306725 w 6884782"/>
              <a:gd name="connsiteY64975" fmla="*/ 1085369 h 5973007"/>
              <a:gd name="connsiteX64976" fmla="*/ 3300536 w 6884782"/>
              <a:gd name="connsiteY64976" fmla="*/ 1080248 h 5973007"/>
              <a:gd name="connsiteX64977" fmla="*/ 3298616 w 6884782"/>
              <a:gd name="connsiteY64977" fmla="*/ 1073134 h 5973007"/>
              <a:gd name="connsiteX64978" fmla="*/ 3299469 w 6884782"/>
              <a:gd name="connsiteY64978" fmla="*/ 1069151 h 5973007"/>
              <a:gd name="connsiteX64979" fmla="*/ 3293493 w 6884782"/>
              <a:gd name="connsiteY64979" fmla="*/ 1072138 h 5973007"/>
              <a:gd name="connsiteX64980" fmla="*/ 3293066 w 6884782"/>
              <a:gd name="connsiteY64980" fmla="*/ 1070431 h 5973007"/>
              <a:gd name="connsiteX64981" fmla="*/ 3291573 w 6884782"/>
              <a:gd name="connsiteY64981" fmla="*/ 1070858 h 5973007"/>
              <a:gd name="connsiteX64982" fmla="*/ 3292640 w 6884782"/>
              <a:gd name="connsiteY64982" fmla="*/ 1073988 h 5973007"/>
              <a:gd name="connsiteX64983" fmla="*/ 3292426 w 6884782"/>
              <a:gd name="connsiteY64983" fmla="*/ 1083662 h 5973007"/>
              <a:gd name="connsiteX64984" fmla="*/ 3296695 w 6884782"/>
              <a:gd name="connsiteY64984" fmla="*/ 1086508 h 5973007"/>
              <a:gd name="connsiteX64985" fmla="*/ 3299683 w 6884782"/>
              <a:gd name="connsiteY64985" fmla="*/ 1090207 h 5973007"/>
              <a:gd name="connsiteX64986" fmla="*/ 3300323 w 6884782"/>
              <a:gd name="connsiteY64986" fmla="*/ 1089922 h 5973007"/>
              <a:gd name="connsiteX64987" fmla="*/ 3322305 w 6884782"/>
              <a:gd name="connsiteY64987" fmla="*/ 1097462 h 5973007"/>
              <a:gd name="connsiteX64988" fmla="*/ 3323159 w 6884782"/>
              <a:gd name="connsiteY64988" fmla="*/ 1098458 h 5973007"/>
              <a:gd name="connsiteX64989" fmla="*/ 3322519 w 6884782"/>
              <a:gd name="connsiteY64989" fmla="*/ 1096609 h 5973007"/>
              <a:gd name="connsiteX64990" fmla="*/ 3323799 w 6884782"/>
              <a:gd name="connsiteY64990" fmla="*/ 1094190 h 5973007"/>
              <a:gd name="connsiteX64991" fmla="*/ 3327641 w 6884782"/>
              <a:gd name="connsiteY64991" fmla="*/ 1090207 h 5973007"/>
              <a:gd name="connsiteX64992" fmla="*/ 3331696 w 6884782"/>
              <a:gd name="connsiteY64992" fmla="*/ 1092340 h 5973007"/>
              <a:gd name="connsiteX64993" fmla="*/ 3332549 w 6884782"/>
              <a:gd name="connsiteY64993" fmla="*/ 1097462 h 5973007"/>
              <a:gd name="connsiteX64994" fmla="*/ 3328708 w 6884782"/>
              <a:gd name="connsiteY64994" fmla="*/ 1105998 h 5973007"/>
              <a:gd name="connsiteX64995" fmla="*/ 3327001 w 6884782"/>
              <a:gd name="connsiteY64995" fmla="*/ 1104718 h 5973007"/>
              <a:gd name="connsiteX64996" fmla="*/ 3324866 w 6884782"/>
              <a:gd name="connsiteY64996" fmla="*/ 1108275 h 5973007"/>
              <a:gd name="connsiteX64997" fmla="*/ 3325079 w 6884782"/>
              <a:gd name="connsiteY64997" fmla="*/ 1108133 h 5973007"/>
              <a:gd name="connsiteX64998" fmla="*/ 3326146 w 6884782"/>
              <a:gd name="connsiteY64998" fmla="*/ 1117664 h 5973007"/>
              <a:gd name="connsiteX64999" fmla="*/ 3329775 w 6884782"/>
              <a:gd name="connsiteY64999" fmla="*/ 1121933 h 5973007"/>
              <a:gd name="connsiteX65000" fmla="*/ 3333830 w 6884782"/>
              <a:gd name="connsiteY65000" fmla="*/ 1122217 h 5973007"/>
              <a:gd name="connsiteX65001" fmla="*/ 3351544 w 6884782"/>
              <a:gd name="connsiteY65001" fmla="*/ 1143415 h 5973007"/>
              <a:gd name="connsiteX65002" fmla="*/ 3337031 w 6884782"/>
              <a:gd name="connsiteY65002" fmla="*/ 1135306 h 5973007"/>
              <a:gd name="connsiteX65003" fmla="*/ 3330201 w 6884782"/>
              <a:gd name="connsiteY65003" fmla="*/ 1129615 h 5973007"/>
              <a:gd name="connsiteX65004" fmla="*/ 3329134 w 6884782"/>
              <a:gd name="connsiteY65004" fmla="*/ 1128050 h 5973007"/>
              <a:gd name="connsiteX65005" fmla="*/ 3328281 w 6884782"/>
              <a:gd name="connsiteY65005" fmla="*/ 1130184 h 5973007"/>
              <a:gd name="connsiteX65006" fmla="*/ 3336817 w 6884782"/>
              <a:gd name="connsiteY65006" fmla="*/ 1143984 h 5973007"/>
              <a:gd name="connsiteX65007" fmla="*/ 3345995 w 6884782"/>
              <a:gd name="connsiteY65007" fmla="*/ 1140569 h 5973007"/>
              <a:gd name="connsiteX65008" fmla="*/ 3352611 w 6884782"/>
              <a:gd name="connsiteY65008" fmla="*/ 1173861 h 5973007"/>
              <a:gd name="connsiteX65009" fmla="*/ 3353891 w 6884782"/>
              <a:gd name="connsiteY65009" fmla="*/ 1179267 h 5973007"/>
              <a:gd name="connsiteX65010" fmla="*/ 3354959 w 6884782"/>
              <a:gd name="connsiteY65010" fmla="*/ 1179125 h 5973007"/>
              <a:gd name="connsiteX65011" fmla="*/ 3356879 w 6884782"/>
              <a:gd name="connsiteY65011" fmla="*/ 1180690 h 5973007"/>
              <a:gd name="connsiteX65012" fmla="*/ 3360507 w 6884782"/>
              <a:gd name="connsiteY65012" fmla="*/ 1180121 h 5973007"/>
              <a:gd name="connsiteX65013" fmla="*/ 3361361 w 6884782"/>
              <a:gd name="connsiteY65013" fmla="*/ 1182112 h 5973007"/>
              <a:gd name="connsiteX65014" fmla="*/ 3358159 w 6884782"/>
              <a:gd name="connsiteY65014" fmla="*/ 1182539 h 5973007"/>
              <a:gd name="connsiteX65015" fmla="*/ 3354959 w 6884782"/>
              <a:gd name="connsiteY65015" fmla="*/ 1183250 h 5973007"/>
              <a:gd name="connsiteX65016" fmla="*/ 3356666 w 6884782"/>
              <a:gd name="connsiteY65016" fmla="*/ 1190933 h 5973007"/>
              <a:gd name="connsiteX65017" fmla="*/ 3364349 w 6884782"/>
              <a:gd name="connsiteY65017" fmla="*/ 1204448 h 5973007"/>
              <a:gd name="connsiteX65018" fmla="*/ 3365202 w 6884782"/>
              <a:gd name="connsiteY65018" fmla="*/ 1200323 h 5973007"/>
              <a:gd name="connsiteX65019" fmla="*/ 3364775 w 6884782"/>
              <a:gd name="connsiteY65019" fmla="*/ 1197477 h 5973007"/>
              <a:gd name="connsiteX65020" fmla="*/ 3360934 w 6884782"/>
              <a:gd name="connsiteY65020" fmla="*/ 1196055 h 5973007"/>
              <a:gd name="connsiteX65021" fmla="*/ 3360507 w 6884782"/>
              <a:gd name="connsiteY65021" fmla="*/ 1190506 h 5973007"/>
              <a:gd name="connsiteX65022" fmla="*/ 3364989 w 6884782"/>
              <a:gd name="connsiteY65022" fmla="*/ 1188230 h 5973007"/>
              <a:gd name="connsiteX65023" fmla="*/ 3373099 w 6884782"/>
              <a:gd name="connsiteY65023" fmla="*/ 1193921 h 5973007"/>
              <a:gd name="connsiteX65024" fmla="*/ 3373526 w 6884782"/>
              <a:gd name="connsiteY65024" fmla="*/ 1196909 h 5973007"/>
              <a:gd name="connsiteX65025" fmla="*/ 3371818 w 6884782"/>
              <a:gd name="connsiteY65025" fmla="*/ 1198900 h 5973007"/>
              <a:gd name="connsiteX65026" fmla="*/ 3373099 w 6884782"/>
              <a:gd name="connsiteY65026" fmla="*/ 1198758 h 5973007"/>
              <a:gd name="connsiteX65027" fmla="*/ 3374593 w 6884782"/>
              <a:gd name="connsiteY65027" fmla="*/ 1203453 h 5973007"/>
              <a:gd name="connsiteX65028" fmla="*/ 3374806 w 6884782"/>
              <a:gd name="connsiteY65028" fmla="*/ 1215546 h 5973007"/>
              <a:gd name="connsiteX65029" fmla="*/ 3374593 w 6884782"/>
              <a:gd name="connsiteY65029" fmla="*/ 1218106 h 5973007"/>
              <a:gd name="connsiteX65030" fmla="*/ 3375660 w 6884782"/>
              <a:gd name="connsiteY65030" fmla="*/ 1216541 h 5973007"/>
              <a:gd name="connsiteX65031" fmla="*/ 3382916 w 6884782"/>
              <a:gd name="connsiteY65031" fmla="*/ 1211704 h 5973007"/>
              <a:gd name="connsiteX65032" fmla="*/ 3387184 w 6884782"/>
              <a:gd name="connsiteY65032" fmla="*/ 1210139 h 5973007"/>
              <a:gd name="connsiteX65033" fmla="*/ 3386331 w 6884782"/>
              <a:gd name="connsiteY65033" fmla="*/ 1207009 h 5973007"/>
              <a:gd name="connsiteX65034" fmla="*/ 3383130 w 6884782"/>
              <a:gd name="connsiteY65034" fmla="*/ 1198758 h 5973007"/>
              <a:gd name="connsiteX65035" fmla="*/ 3379928 w 6884782"/>
              <a:gd name="connsiteY65035" fmla="*/ 1190506 h 5973007"/>
              <a:gd name="connsiteX65036" fmla="*/ 3374166 w 6884782"/>
              <a:gd name="connsiteY65036" fmla="*/ 1175426 h 5973007"/>
              <a:gd name="connsiteX65037" fmla="*/ 3373739 w 6884782"/>
              <a:gd name="connsiteY65037" fmla="*/ 1173576 h 5973007"/>
              <a:gd name="connsiteX65038" fmla="*/ 3373313 w 6884782"/>
              <a:gd name="connsiteY65038" fmla="*/ 1173291 h 5973007"/>
              <a:gd name="connsiteX65039" fmla="*/ 3350050 w 6884782"/>
              <a:gd name="connsiteY65039" fmla="*/ 1155793 h 5973007"/>
              <a:gd name="connsiteX65040" fmla="*/ 3364349 w 6884782"/>
              <a:gd name="connsiteY65040" fmla="*/ 1157215 h 5973007"/>
              <a:gd name="connsiteX65041" fmla="*/ 3369898 w 6884782"/>
              <a:gd name="connsiteY65041" fmla="*/ 1159776 h 5973007"/>
              <a:gd name="connsiteX65042" fmla="*/ 3366270 w 6884782"/>
              <a:gd name="connsiteY65042" fmla="*/ 1151382 h 5973007"/>
              <a:gd name="connsiteX65043" fmla="*/ 3359440 w 6884782"/>
              <a:gd name="connsiteY65043" fmla="*/ 1139574 h 5973007"/>
              <a:gd name="connsiteX65044" fmla="*/ 3355171 w 6884782"/>
              <a:gd name="connsiteY65044" fmla="*/ 1119514 h 5973007"/>
              <a:gd name="connsiteX65045" fmla="*/ 3345141 w 6884782"/>
              <a:gd name="connsiteY65045" fmla="*/ 1090633 h 5973007"/>
              <a:gd name="connsiteX65046" fmla="*/ 3341940 w 6884782"/>
              <a:gd name="connsiteY65046" fmla="*/ 1083378 h 5973007"/>
              <a:gd name="connsiteX65047" fmla="*/ 3332549 w 6884782"/>
              <a:gd name="connsiteY65047" fmla="*/ 1087788 h 5973007"/>
              <a:gd name="connsiteX65048" fmla="*/ 3324866 w 6884782"/>
              <a:gd name="connsiteY65048" fmla="*/ 1065167 h 5973007"/>
              <a:gd name="connsiteX65049" fmla="*/ 3328708 w 6884782"/>
              <a:gd name="connsiteY65049" fmla="*/ 1055920 h 5973007"/>
              <a:gd name="connsiteX65050" fmla="*/ 3320811 w 6884782"/>
              <a:gd name="connsiteY65050" fmla="*/ 1041551 h 5973007"/>
              <a:gd name="connsiteX65051" fmla="*/ 3309500 w 6884782"/>
              <a:gd name="connsiteY65051" fmla="*/ 1019357 h 5973007"/>
              <a:gd name="connsiteX65052" fmla="*/ 3316330 w 6884782"/>
              <a:gd name="connsiteY65052" fmla="*/ 1019499 h 5973007"/>
              <a:gd name="connsiteX65053" fmla="*/ 3318037 w 6884782"/>
              <a:gd name="connsiteY65053" fmla="*/ 1017649 h 5973007"/>
              <a:gd name="connsiteX65054" fmla="*/ 3316970 w 6884782"/>
              <a:gd name="connsiteY65054" fmla="*/ 1015515 h 5973007"/>
              <a:gd name="connsiteX65055" fmla="*/ 3311420 w 6884782"/>
              <a:gd name="connsiteY65055" fmla="*/ 1011532 h 5973007"/>
              <a:gd name="connsiteX65056" fmla="*/ 3310354 w 6884782"/>
              <a:gd name="connsiteY65056" fmla="*/ 1010536 h 5973007"/>
              <a:gd name="connsiteX65057" fmla="*/ 3310140 w 6884782"/>
              <a:gd name="connsiteY65057" fmla="*/ 1010536 h 5973007"/>
              <a:gd name="connsiteX65058" fmla="*/ 3308433 w 6884782"/>
              <a:gd name="connsiteY65058" fmla="*/ 1016938 h 5973007"/>
              <a:gd name="connsiteX65059" fmla="*/ 3299683 w 6884782"/>
              <a:gd name="connsiteY65059" fmla="*/ 1005130 h 5973007"/>
              <a:gd name="connsiteX65060" fmla="*/ 3296695 w 6884782"/>
              <a:gd name="connsiteY65060" fmla="*/ 1005272 h 5973007"/>
              <a:gd name="connsiteX65061" fmla="*/ 3290506 w 6884782"/>
              <a:gd name="connsiteY65061" fmla="*/ 1002000 h 5973007"/>
              <a:gd name="connsiteX65062" fmla="*/ 3286237 w 6884782"/>
              <a:gd name="connsiteY65062" fmla="*/ 991472 h 5973007"/>
              <a:gd name="connsiteX65063" fmla="*/ 3290719 w 6884782"/>
              <a:gd name="connsiteY65063" fmla="*/ 989623 h 5973007"/>
              <a:gd name="connsiteX65064" fmla="*/ 3290078 w 6884782"/>
              <a:gd name="connsiteY65064" fmla="*/ 988484 h 5973007"/>
              <a:gd name="connsiteX65065" fmla="*/ 3271084 w 6884782"/>
              <a:gd name="connsiteY65065" fmla="*/ 958750 h 5973007"/>
              <a:gd name="connsiteX65066" fmla="*/ 3279621 w 6884782"/>
              <a:gd name="connsiteY65066" fmla="*/ 960315 h 5973007"/>
              <a:gd name="connsiteX65067" fmla="*/ 3265749 w 6884782"/>
              <a:gd name="connsiteY65067" fmla="*/ 948791 h 5973007"/>
              <a:gd name="connsiteX65068" fmla="*/ 3273646 w 6884782"/>
              <a:gd name="connsiteY65068" fmla="*/ 954340 h 5973007"/>
              <a:gd name="connsiteX65069" fmla="*/ 3258279 w 6884782"/>
              <a:gd name="connsiteY65069" fmla="*/ 932003 h 5973007"/>
              <a:gd name="connsiteX65070" fmla="*/ 3256999 w 6884782"/>
              <a:gd name="connsiteY65070" fmla="*/ 936130 h 5973007"/>
              <a:gd name="connsiteX65071" fmla="*/ 3259773 w 6884782"/>
              <a:gd name="connsiteY65071" fmla="*/ 937125 h 5973007"/>
              <a:gd name="connsiteX65072" fmla="*/ 3259133 w 6884782"/>
              <a:gd name="connsiteY65072" fmla="*/ 942674 h 5973007"/>
              <a:gd name="connsiteX65073" fmla="*/ 3260413 w 6884782"/>
              <a:gd name="connsiteY65073" fmla="*/ 945946 h 5973007"/>
              <a:gd name="connsiteX65074" fmla="*/ 3263188 w 6884782"/>
              <a:gd name="connsiteY65074" fmla="*/ 953486 h 5973007"/>
              <a:gd name="connsiteX65075" fmla="*/ 3258279 w 6884782"/>
              <a:gd name="connsiteY65075" fmla="*/ 957185 h 5973007"/>
              <a:gd name="connsiteX65076" fmla="*/ 3244407 w 6884782"/>
              <a:gd name="connsiteY65076" fmla="*/ 941109 h 5973007"/>
              <a:gd name="connsiteX65077" fmla="*/ 3249956 w 6884782"/>
              <a:gd name="connsiteY65077" fmla="*/ 937268 h 5973007"/>
              <a:gd name="connsiteX65078" fmla="*/ 3253584 w 6884782"/>
              <a:gd name="connsiteY65078" fmla="*/ 938264 h 5973007"/>
              <a:gd name="connsiteX65079" fmla="*/ 3255291 w 6884782"/>
              <a:gd name="connsiteY65079" fmla="*/ 935560 h 5973007"/>
              <a:gd name="connsiteX65080" fmla="*/ 3256358 w 6884782"/>
              <a:gd name="connsiteY65080" fmla="*/ 935845 h 5973007"/>
              <a:gd name="connsiteX65081" fmla="*/ 3254011 w 6884782"/>
              <a:gd name="connsiteY65081" fmla="*/ 931008 h 5973007"/>
              <a:gd name="connsiteX65082" fmla="*/ 3249956 w 6884782"/>
              <a:gd name="connsiteY65082" fmla="*/ 924321 h 5973007"/>
              <a:gd name="connsiteX65083" fmla="*/ 3246754 w 6884782"/>
              <a:gd name="connsiteY65083" fmla="*/ 918488 h 5973007"/>
              <a:gd name="connsiteX65084" fmla="*/ 3246114 w 6884782"/>
              <a:gd name="connsiteY65084" fmla="*/ 919057 h 5973007"/>
              <a:gd name="connsiteX65085" fmla="*/ 3240992 w 6884782"/>
              <a:gd name="connsiteY65085" fmla="*/ 918773 h 5973007"/>
              <a:gd name="connsiteX65086" fmla="*/ 3239071 w 6884782"/>
              <a:gd name="connsiteY65086" fmla="*/ 917492 h 5973007"/>
              <a:gd name="connsiteX65087" fmla="*/ 3239285 w 6884782"/>
              <a:gd name="connsiteY65087" fmla="*/ 911090 h 5973007"/>
              <a:gd name="connsiteX65088" fmla="*/ 3240992 w 6884782"/>
              <a:gd name="connsiteY65088" fmla="*/ 909383 h 5973007"/>
              <a:gd name="connsiteX65089" fmla="*/ 3231388 w 6884782"/>
              <a:gd name="connsiteY65089" fmla="*/ 898713 h 5973007"/>
              <a:gd name="connsiteX65090" fmla="*/ 3221784 w 6884782"/>
              <a:gd name="connsiteY65090" fmla="*/ 895868 h 5973007"/>
              <a:gd name="connsiteX65091" fmla="*/ 3220077 w 6884782"/>
              <a:gd name="connsiteY65091" fmla="*/ 885909 h 5973007"/>
              <a:gd name="connsiteX65092" fmla="*/ 1232363 w 6884782"/>
              <a:gd name="connsiteY65092" fmla="*/ 885410 h 5973007"/>
              <a:gd name="connsiteX65093" fmla="*/ 1238662 w 6884782"/>
              <a:gd name="connsiteY65093" fmla="*/ 885719 h 5973007"/>
              <a:gd name="connsiteX65094" fmla="*/ 1240004 w 6884782"/>
              <a:gd name="connsiteY65094" fmla="*/ 888353 h 5973007"/>
              <a:gd name="connsiteX65095" fmla="*/ 1238559 w 6884782"/>
              <a:gd name="connsiteY65095" fmla="*/ 892225 h 5973007"/>
              <a:gd name="connsiteX65096" fmla="*/ 1231847 w 6884782"/>
              <a:gd name="connsiteY65096" fmla="*/ 887888 h 5973007"/>
              <a:gd name="connsiteX65097" fmla="*/ 1232363 w 6884782"/>
              <a:gd name="connsiteY65097" fmla="*/ 885410 h 5973007"/>
              <a:gd name="connsiteX65098" fmla="*/ 3538073 w 6884782"/>
              <a:gd name="connsiteY65098" fmla="*/ 884771 h 5973007"/>
              <a:gd name="connsiteX65099" fmla="*/ 3542554 w 6884782"/>
              <a:gd name="connsiteY65099" fmla="*/ 885197 h 5973007"/>
              <a:gd name="connsiteX65100" fmla="*/ 3528255 w 6884782"/>
              <a:gd name="connsiteY65100" fmla="*/ 908671 h 5973007"/>
              <a:gd name="connsiteX65101" fmla="*/ 3523987 w 6884782"/>
              <a:gd name="connsiteY65101" fmla="*/ 904119 h 5973007"/>
              <a:gd name="connsiteX65102" fmla="*/ 3538073 w 6884782"/>
              <a:gd name="connsiteY65102" fmla="*/ 884771 h 5973007"/>
              <a:gd name="connsiteX65103" fmla="*/ 1126732 w 6884782"/>
              <a:gd name="connsiteY65103" fmla="*/ 884635 h 5973007"/>
              <a:gd name="connsiteX65104" fmla="*/ 1130243 w 6884782"/>
              <a:gd name="connsiteY65104" fmla="*/ 884945 h 5973007"/>
              <a:gd name="connsiteX65105" fmla="*/ 1131895 w 6884782"/>
              <a:gd name="connsiteY65105" fmla="*/ 886959 h 5973007"/>
              <a:gd name="connsiteX65106" fmla="*/ 1131069 w 6884782"/>
              <a:gd name="connsiteY65106" fmla="*/ 888508 h 5973007"/>
              <a:gd name="connsiteX65107" fmla="*/ 1131069 w 6884782"/>
              <a:gd name="connsiteY65107" fmla="*/ 890056 h 5973007"/>
              <a:gd name="connsiteX65108" fmla="*/ 1130139 w 6884782"/>
              <a:gd name="connsiteY65108" fmla="*/ 890056 h 5973007"/>
              <a:gd name="connsiteX65109" fmla="*/ 1129313 w 6884782"/>
              <a:gd name="connsiteY65109" fmla="*/ 890676 h 5973007"/>
              <a:gd name="connsiteX65110" fmla="*/ 1125699 w 6884782"/>
              <a:gd name="connsiteY65110" fmla="*/ 888817 h 5973007"/>
              <a:gd name="connsiteX65111" fmla="*/ 1124667 w 6884782"/>
              <a:gd name="connsiteY65111" fmla="*/ 886959 h 5973007"/>
              <a:gd name="connsiteX65112" fmla="*/ 1124977 w 6884782"/>
              <a:gd name="connsiteY65112" fmla="*/ 885410 h 5973007"/>
              <a:gd name="connsiteX65113" fmla="*/ 1126732 w 6884782"/>
              <a:gd name="connsiteY65113" fmla="*/ 884635 h 5973007"/>
              <a:gd name="connsiteX65114" fmla="*/ 1821956 w 6884782"/>
              <a:gd name="connsiteY65114" fmla="*/ 884480 h 5973007"/>
              <a:gd name="connsiteX65115" fmla="*/ 1820717 w 6884782"/>
              <a:gd name="connsiteY65115" fmla="*/ 887733 h 5973007"/>
              <a:gd name="connsiteX65116" fmla="*/ 1821234 w 6884782"/>
              <a:gd name="connsiteY65116" fmla="*/ 889747 h 5973007"/>
              <a:gd name="connsiteX65117" fmla="*/ 1823711 w 6884782"/>
              <a:gd name="connsiteY65117" fmla="*/ 888198 h 5973007"/>
              <a:gd name="connsiteX65118" fmla="*/ 1823608 w 6884782"/>
              <a:gd name="connsiteY65118" fmla="*/ 888043 h 5973007"/>
              <a:gd name="connsiteX65119" fmla="*/ 1822266 w 6884782"/>
              <a:gd name="connsiteY65119" fmla="*/ 885719 h 5973007"/>
              <a:gd name="connsiteX65120" fmla="*/ 3406606 w 6884782"/>
              <a:gd name="connsiteY65120" fmla="*/ 884344 h 5973007"/>
              <a:gd name="connsiteX65121" fmla="*/ 3413222 w 6884782"/>
              <a:gd name="connsiteY65121" fmla="*/ 895868 h 5973007"/>
              <a:gd name="connsiteX65122" fmla="*/ 3401484 w 6884782"/>
              <a:gd name="connsiteY65122" fmla="*/ 888042 h 5973007"/>
              <a:gd name="connsiteX65123" fmla="*/ 3406606 w 6884782"/>
              <a:gd name="connsiteY65123" fmla="*/ 884344 h 5973007"/>
              <a:gd name="connsiteX65124" fmla="*/ 1049084 w 6884782"/>
              <a:gd name="connsiteY65124" fmla="*/ 884015 h 5973007"/>
              <a:gd name="connsiteX65125" fmla="*/ 1055279 w 6884782"/>
              <a:gd name="connsiteY65125" fmla="*/ 887114 h 5973007"/>
              <a:gd name="connsiteX65126" fmla="*/ 1048980 w 6884782"/>
              <a:gd name="connsiteY65126" fmla="*/ 889592 h 5973007"/>
              <a:gd name="connsiteX65127" fmla="*/ 1048464 w 6884782"/>
              <a:gd name="connsiteY65127" fmla="*/ 886959 h 5973007"/>
              <a:gd name="connsiteX65128" fmla="*/ 1049084 w 6884782"/>
              <a:gd name="connsiteY65128" fmla="*/ 884015 h 5973007"/>
              <a:gd name="connsiteX65129" fmla="*/ 3278554 w 6884782"/>
              <a:gd name="connsiteY65129" fmla="*/ 883774 h 5973007"/>
              <a:gd name="connsiteX65130" fmla="*/ 3279621 w 6884782"/>
              <a:gd name="connsiteY65130" fmla="*/ 884771 h 5973007"/>
              <a:gd name="connsiteX65131" fmla="*/ 3277487 w 6884782"/>
              <a:gd name="connsiteY65131" fmla="*/ 884771 h 5973007"/>
              <a:gd name="connsiteX65132" fmla="*/ 3278554 w 6884782"/>
              <a:gd name="connsiteY65132" fmla="*/ 883774 h 5973007"/>
              <a:gd name="connsiteX65133" fmla="*/ 3363068 w 6884782"/>
              <a:gd name="connsiteY65133" fmla="*/ 883490 h 5973007"/>
              <a:gd name="connsiteX65134" fmla="*/ 3352184 w 6884782"/>
              <a:gd name="connsiteY65134" fmla="*/ 906822 h 5973007"/>
              <a:gd name="connsiteX65135" fmla="*/ 3363068 w 6884782"/>
              <a:gd name="connsiteY65135" fmla="*/ 883490 h 5973007"/>
              <a:gd name="connsiteX65136" fmla="*/ 3876129 w 6884782"/>
              <a:gd name="connsiteY65136" fmla="*/ 883205 h 5973007"/>
              <a:gd name="connsiteX65137" fmla="*/ 3879544 w 6884782"/>
              <a:gd name="connsiteY65137" fmla="*/ 884059 h 5973007"/>
              <a:gd name="connsiteX65138" fmla="*/ 3878691 w 6884782"/>
              <a:gd name="connsiteY65138" fmla="*/ 891172 h 5973007"/>
              <a:gd name="connsiteX65139" fmla="*/ 3871221 w 6884782"/>
              <a:gd name="connsiteY65139" fmla="*/ 887474 h 5973007"/>
              <a:gd name="connsiteX65140" fmla="*/ 3872501 w 6884782"/>
              <a:gd name="connsiteY65140" fmla="*/ 885055 h 5973007"/>
              <a:gd name="connsiteX65141" fmla="*/ 3876129 w 6884782"/>
              <a:gd name="connsiteY65141" fmla="*/ 883205 h 5973007"/>
              <a:gd name="connsiteX65142" fmla="*/ 1304539 w 6884782"/>
              <a:gd name="connsiteY65142" fmla="*/ 881537 h 5973007"/>
              <a:gd name="connsiteX65143" fmla="*/ 1306295 w 6884782"/>
              <a:gd name="connsiteY65143" fmla="*/ 884945 h 5973007"/>
              <a:gd name="connsiteX65144" fmla="*/ 1293594 w 6884782"/>
              <a:gd name="connsiteY65144" fmla="*/ 886494 h 5973007"/>
              <a:gd name="connsiteX65145" fmla="*/ 1304539 w 6884782"/>
              <a:gd name="connsiteY65145" fmla="*/ 881537 h 5973007"/>
              <a:gd name="connsiteX65146" fmla="*/ 1427311 w 6884782"/>
              <a:gd name="connsiteY65146" fmla="*/ 880453 h 5973007"/>
              <a:gd name="connsiteX65147" fmla="*/ 1430305 w 6884782"/>
              <a:gd name="connsiteY65147" fmla="*/ 883861 h 5973007"/>
              <a:gd name="connsiteX65148" fmla="*/ 1428447 w 6884782"/>
              <a:gd name="connsiteY65148" fmla="*/ 889127 h 5973007"/>
              <a:gd name="connsiteX65149" fmla="*/ 1428963 w 6884782"/>
              <a:gd name="connsiteY65149" fmla="*/ 889592 h 5973007"/>
              <a:gd name="connsiteX65150" fmla="*/ 1422251 w 6884782"/>
              <a:gd name="connsiteY65150" fmla="*/ 895323 h 5973007"/>
              <a:gd name="connsiteX65151" fmla="*/ 1420186 w 6884782"/>
              <a:gd name="connsiteY65151" fmla="*/ 894859 h 5973007"/>
              <a:gd name="connsiteX65152" fmla="*/ 1419980 w 6884782"/>
              <a:gd name="connsiteY65152" fmla="*/ 895013 h 5973007"/>
              <a:gd name="connsiteX65153" fmla="*/ 1416779 w 6884782"/>
              <a:gd name="connsiteY65153" fmla="*/ 891141 h 5973007"/>
              <a:gd name="connsiteX65154" fmla="*/ 1417295 w 6884782"/>
              <a:gd name="connsiteY65154" fmla="*/ 887578 h 5973007"/>
              <a:gd name="connsiteX65155" fmla="*/ 1418947 w 6884782"/>
              <a:gd name="connsiteY65155" fmla="*/ 884635 h 5973007"/>
              <a:gd name="connsiteX65156" fmla="*/ 1422251 w 6884782"/>
              <a:gd name="connsiteY65156" fmla="*/ 883086 h 5973007"/>
              <a:gd name="connsiteX65157" fmla="*/ 1427311 w 6884782"/>
              <a:gd name="connsiteY65157" fmla="*/ 880453 h 5973007"/>
              <a:gd name="connsiteX65158" fmla="*/ 4069274 w 6884782"/>
              <a:gd name="connsiteY65158" fmla="*/ 878653 h 5973007"/>
              <a:gd name="connsiteX65159" fmla="*/ 4087628 w 6884782"/>
              <a:gd name="connsiteY65159" fmla="*/ 879080 h 5973007"/>
              <a:gd name="connsiteX65160" fmla="*/ 4089549 w 6884782"/>
              <a:gd name="connsiteY65160" fmla="*/ 881640 h 5973007"/>
              <a:gd name="connsiteX65161" fmla="*/ 4090616 w 6884782"/>
              <a:gd name="connsiteY65161" fmla="*/ 881640 h 5973007"/>
              <a:gd name="connsiteX65162" fmla="*/ 4091683 w 6884782"/>
              <a:gd name="connsiteY65162" fmla="*/ 882779 h 5973007"/>
              <a:gd name="connsiteX65163" fmla="*/ 4091683 w 6884782"/>
              <a:gd name="connsiteY65163" fmla="*/ 884059 h 5973007"/>
              <a:gd name="connsiteX65164" fmla="*/ 4084640 w 6884782"/>
              <a:gd name="connsiteY65164" fmla="*/ 885197 h 5973007"/>
              <a:gd name="connsiteX65165" fmla="*/ 4079092 w 6884782"/>
              <a:gd name="connsiteY65165" fmla="*/ 885055 h 5973007"/>
              <a:gd name="connsiteX65166" fmla="*/ 4061164 w 6884782"/>
              <a:gd name="connsiteY65166" fmla="*/ 879933 h 5973007"/>
              <a:gd name="connsiteX65167" fmla="*/ 4069274 w 6884782"/>
              <a:gd name="connsiteY65167" fmla="*/ 878653 h 5973007"/>
              <a:gd name="connsiteX65168" fmla="*/ 1308257 w 6884782"/>
              <a:gd name="connsiteY65168" fmla="*/ 878439 h 5973007"/>
              <a:gd name="connsiteX65169" fmla="*/ 1317550 w 6884782"/>
              <a:gd name="connsiteY65169" fmla="*/ 885719 h 5973007"/>
              <a:gd name="connsiteX65170" fmla="*/ 1309392 w 6884782"/>
              <a:gd name="connsiteY65170" fmla="*/ 888043 h 5973007"/>
              <a:gd name="connsiteX65171" fmla="*/ 1307327 w 6884782"/>
              <a:gd name="connsiteY65171" fmla="*/ 883861 h 5973007"/>
              <a:gd name="connsiteX65172" fmla="*/ 1308257 w 6884782"/>
              <a:gd name="connsiteY65172" fmla="*/ 878439 h 5973007"/>
              <a:gd name="connsiteX65173" fmla="*/ 3838781 w 6884782"/>
              <a:gd name="connsiteY65173" fmla="*/ 877657 h 5973007"/>
              <a:gd name="connsiteX65174" fmla="*/ 3842409 w 6884782"/>
              <a:gd name="connsiteY65174" fmla="*/ 877657 h 5973007"/>
              <a:gd name="connsiteX65175" fmla="*/ 3834726 w 6884782"/>
              <a:gd name="connsiteY65175" fmla="*/ 886477 h 5973007"/>
              <a:gd name="connsiteX65176" fmla="*/ 3838781 w 6884782"/>
              <a:gd name="connsiteY65176" fmla="*/ 877657 h 5973007"/>
              <a:gd name="connsiteX65177" fmla="*/ 3849239 w 6884782"/>
              <a:gd name="connsiteY65177" fmla="*/ 877372 h 5973007"/>
              <a:gd name="connsiteX65178" fmla="*/ 3864818 w 6884782"/>
              <a:gd name="connsiteY65178" fmla="*/ 895868 h 5973007"/>
              <a:gd name="connsiteX65179" fmla="*/ 3860977 w 6884782"/>
              <a:gd name="connsiteY65179" fmla="*/ 920480 h 5973007"/>
              <a:gd name="connsiteX65180" fmla="*/ 3849239 w 6884782"/>
              <a:gd name="connsiteY65180" fmla="*/ 877372 h 5973007"/>
              <a:gd name="connsiteX65181" fmla="*/ 3941436 w 6884782"/>
              <a:gd name="connsiteY65181" fmla="*/ 876945 h 5973007"/>
              <a:gd name="connsiteX65182" fmla="*/ 3952534 w 6884782"/>
              <a:gd name="connsiteY65182" fmla="*/ 878083 h 5973007"/>
              <a:gd name="connsiteX65183" fmla="*/ 3954881 w 6884782"/>
              <a:gd name="connsiteY65183" fmla="*/ 878083 h 5973007"/>
              <a:gd name="connsiteX65184" fmla="*/ 3957016 w 6884782"/>
              <a:gd name="connsiteY65184" fmla="*/ 880502 h 5973007"/>
              <a:gd name="connsiteX65185" fmla="*/ 3946345 w 6884782"/>
              <a:gd name="connsiteY65185" fmla="*/ 881640 h 5973007"/>
              <a:gd name="connsiteX65186" fmla="*/ 3940795 w 6884782"/>
              <a:gd name="connsiteY65186" fmla="*/ 881498 h 5973007"/>
              <a:gd name="connsiteX65187" fmla="*/ 3938662 w 6884782"/>
              <a:gd name="connsiteY65187" fmla="*/ 879080 h 5973007"/>
              <a:gd name="connsiteX65188" fmla="*/ 3938874 w 6884782"/>
              <a:gd name="connsiteY65188" fmla="*/ 877799 h 5973007"/>
              <a:gd name="connsiteX65189" fmla="*/ 3941436 w 6884782"/>
              <a:gd name="connsiteY65189" fmla="*/ 876945 h 5973007"/>
              <a:gd name="connsiteX65190" fmla="*/ 3423893 w 6884782"/>
              <a:gd name="connsiteY65190" fmla="*/ 876376 h 5973007"/>
              <a:gd name="connsiteX65191" fmla="*/ 3428801 w 6884782"/>
              <a:gd name="connsiteY65191" fmla="*/ 920622 h 5973007"/>
              <a:gd name="connsiteX65192" fmla="*/ 3426027 w 6884782"/>
              <a:gd name="connsiteY65192" fmla="*/ 926171 h 5973007"/>
              <a:gd name="connsiteX65193" fmla="*/ 3429015 w 6884782"/>
              <a:gd name="connsiteY65193" fmla="*/ 928020 h 5973007"/>
              <a:gd name="connsiteX65194" fmla="*/ 3429015 w 6884782"/>
              <a:gd name="connsiteY65194" fmla="*/ 928447 h 5973007"/>
              <a:gd name="connsiteX65195" fmla="*/ 3429655 w 6884782"/>
              <a:gd name="connsiteY65195" fmla="*/ 928447 h 5973007"/>
              <a:gd name="connsiteX65196" fmla="*/ 3430936 w 6884782"/>
              <a:gd name="connsiteY65196" fmla="*/ 928447 h 5973007"/>
              <a:gd name="connsiteX65197" fmla="*/ 3431363 w 6884782"/>
              <a:gd name="connsiteY65197" fmla="*/ 929443 h 5973007"/>
              <a:gd name="connsiteX65198" fmla="*/ 3431576 w 6884782"/>
              <a:gd name="connsiteY65198" fmla="*/ 929585 h 5973007"/>
              <a:gd name="connsiteX65199" fmla="*/ 3431149 w 6884782"/>
              <a:gd name="connsiteY65199" fmla="*/ 932146 h 5973007"/>
              <a:gd name="connsiteX65200" fmla="*/ 3429442 w 6884782"/>
              <a:gd name="connsiteY65200" fmla="*/ 934138 h 5973007"/>
              <a:gd name="connsiteX65201" fmla="*/ 3428161 w 6884782"/>
              <a:gd name="connsiteY65201" fmla="*/ 933284 h 5973007"/>
              <a:gd name="connsiteX65202" fmla="*/ 3427735 w 6884782"/>
              <a:gd name="connsiteY65202" fmla="*/ 932573 h 5973007"/>
              <a:gd name="connsiteX65203" fmla="*/ 3423253 w 6884782"/>
              <a:gd name="connsiteY65203" fmla="*/ 935703 h 5973007"/>
              <a:gd name="connsiteX65204" fmla="*/ 3421972 w 6884782"/>
              <a:gd name="connsiteY65204" fmla="*/ 933569 h 5973007"/>
              <a:gd name="connsiteX65205" fmla="*/ 3420905 w 6884782"/>
              <a:gd name="connsiteY65205" fmla="*/ 935703 h 5973007"/>
              <a:gd name="connsiteX65206" fmla="*/ 3423893 w 6884782"/>
              <a:gd name="connsiteY65206" fmla="*/ 876376 h 5973007"/>
              <a:gd name="connsiteX65207" fmla="*/ 3765791 w 6884782"/>
              <a:gd name="connsiteY65207" fmla="*/ 876092 h 5973007"/>
              <a:gd name="connsiteX65208" fmla="*/ 3754693 w 6884782"/>
              <a:gd name="connsiteY65208" fmla="*/ 892311 h 5973007"/>
              <a:gd name="connsiteX65209" fmla="*/ 3750852 w 6884782"/>
              <a:gd name="connsiteY65209" fmla="*/ 894445 h 5973007"/>
              <a:gd name="connsiteX65210" fmla="*/ 3758322 w 6884782"/>
              <a:gd name="connsiteY65210" fmla="*/ 902697 h 5973007"/>
              <a:gd name="connsiteX65211" fmla="*/ 3763231 w 6884782"/>
              <a:gd name="connsiteY65211" fmla="*/ 910236 h 5973007"/>
              <a:gd name="connsiteX65212" fmla="*/ 3763657 w 6884782"/>
              <a:gd name="connsiteY65212" fmla="*/ 912940 h 5973007"/>
              <a:gd name="connsiteX65213" fmla="*/ 3761310 w 6884782"/>
              <a:gd name="connsiteY65213" fmla="*/ 915074 h 5973007"/>
              <a:gd name="connsiteX65214" fmla="*/ 3749785 w 6884782"/>
              <a:gd name="connsiteY65214" fmla="*/ 906111 h 5973007"/>
              <a:gd name="connsiteX65215" fmla="*/ 3749145 w 6884782"/>
              <a:gd name="connsiteY65215" fmla="*/ 902697 h 5973007"/>
              <a:gd name="connsiteX65216" fmla="*/ 3747864 w 6884782"/>
              <a:gd name="connsiteY65216" fmla="*/ 900562 h 5973007"/>
              <a:gd name="connsiteX65217" fmla="*/ 3747224 w 6884782"/>
              <a:gd name="connsiteY65217" fmla="*/ 896578 h 5973007"/>
              <a:gd name="connsiteX65218" fmla="*/ 3734205 w 6884782"/>
              <a:gd name="connsiteY65218" fmla="*/ 904119 h 5973007"/>
              <a:gd name="connsiteX65219" fmla="*/ 3696003 w 6884782"/>
              <a:gd name="connsiteY65219" fmla="*/ 899424 h 5973007"/>
              <a:gd name="connsiteX65220" fmla="*/ 3713504 w 6884782"/>
              <a:gd name="connsiteY65220" fmla="*/ 893307 h 5973007"/>
              <a:gd name="connsiteX65221" fmla="*/ 3714144 w 6884782"/>
              <a:gd name="connsiteY65221" fmla="*/ 891030 h 5973007"/>
              <a:gd name="connsiteX65222" fmla="*/ 3715211 w 6884782"/>
              <a:gd name="connsiteY65222" fmla="*/ 890888 h 5973007"/>
              <a:gd name="connsiteX65223" fmla="*/ 3715638 w 6884782"/>
              <a:gd name="connsiteY65223" fmla="*/ 890603 h 5973007"/>
              <a:gd name="connsiteX65224" fmla="*/ 3717132 w 6884782"/>
              <a:gd name="connsiteY65224" fmla="*/ 891599 h 5973007"/>
              <a:gd name="connsiteX65225" fmla="*/ 3729083 w 6884782"/>
              <a:gd name="connsiteY65225" fmla="*/ 885909 h 5973007"/>
              <a:gd name="connsiteX65226" fmla="*/ 3765791 w 6884782"/>
              <a:gd name="connsiteY65226" fmla="*/ 876092 h 5973007"/>
              <a:gd name="connsiteX65227" fmla="*/ 3492187 w 6884782"/>
              <a:gd name="connsiteY65227" fmla="*/ 874527 h 5973007"/>
              <a:gd name="connsiteX65228" fmla="*/ 3506060 w 6884782"/>
              <a:gd name="connsiteY65228" fmla="*/ 884486 h 5973007"/>
              <a:gd name="connsiteX65229" fmla="*/ 3509474 w 6884782"/>
              <a:gd name="connsiteY65229" fmla="*/ 901843 h 5973007"/>
              <a:gd name="connsiteX65230" fmla="*/ 3498590 w 6884782"/>
              <a:gd name="connsiteY65230" fmla="*/ 890603 h 5973007"/>
              <a:gd name="connsiteX65231" fmla="*/ 3492187 w 6884782"/>
              <a:gd name="connsiteY65231" fmla="*/ 874527 h 5973007"/>
              <a:gd name="connsiteX65232" fmla="*/ 3332336 w 6884782"/>
              <a:gd name="connsiteY65232" fmla="*/ 872820 h 5973007"/>
              <a:gd name="connsiteX65233" fmla="*/ 3331055 w 6884782"/>
              <a:gd name="connsiteY65233" fmla="*/ 880502 h 5973007"/>
              <a:gd name="connsiteX65234" fmla="*/ 3332549 w 6884782"/>
              <a:gd name="connsiteY65234" fmla="*/ 878795 h 5973007"/>
              <a:gd name="connsiteX65235" fmla="*/ 3335537 w 6884782"/>
              <a:gd name="connsiteY65235" fmla="*/ 880360 h 5973007"/>
              <a:gd name="connsiteX65236" fmla="*/ 3336604 w 6884782"/>
              <a:gd name="connsiteY65236" fmla="*/ 881925 h 5973007"/>
              <a:gd name="connsiteX65237" fmla="*/ 3337672 w 6884782"/>
              <a:gd name="connsiteY65237" fmla="*/ 878937 h 5973007"/>
              <a:gd name="connsiteX65238" fmla="*/ 3338525 w 6884782"/>
              <a:gd name="connsiteY65238" fmla="*/ 877657 h 5973007"/>
              <a:gd name="connsiteX65239" fmla="*/ 3333617 w 6884782"/>
              <a:gd name="connsiteY65239" fmla="*/ 875238 h 5973007"/>
              <a:gd name="connsiteX65240" fmla="*/ 3417917 w 6884782"/>
              <a:gd name="connsiteY65240" fmla="*/ 870686 h 5973007"/>
              <a:gd name="connsiteX65241" fmla="*/ 3420478 w 6884782"/>
              <a:gd name="connsiteY65241" fmla="*/ 875665 h 5973007"/>
              <a:gd name="connsiteX65242" fmla="*/ 3413649 w 6884782"/>
              <a:gd name="connsiteY65242" fmla="*/ 877657 h 5973007"/>
              <a:gd name="connsiteX65243" fmla="*/ 3411088 w 6884782"/>
              <a:gd name="connsiteY65243" fmla="*/ 872820 h 5973007"/>
              <a:gd name="connsiteX65244" fmla="*/ 3417917 w 6884782"/>
              <a:gd name="connsiteY65244" fmla="*/ 870686 h 5973007"/>
              <a:gd name="connsiteX65245" fmla="*/ 3548103 w 6884782"/>
              <a:gd name="connsiteY65245" fmla="*/ 870117 h 5973007"/>
              <a:gd name="connsiteX65246" fmla="*/ 3559201 w 6884782"/>
              <a:gd name="connsiteY65246" fmla="*/ 873816 h 5973007"/>
              <a:gd name="connsiteX65247" fmla="*/ 3561549 w 6884782"/>
              <a:gd name="connsiteY65247" fmla="*/ 875238 h 5973007"/>
              <a:gd name="connsiteX65248" fmla="*/ 3563896 w 6884782"/>
              <a:gd name="connsiteY65248" fmla="*/ 876519 h 5973007"/>
              <a:gd name="connsiteX65249" fmla="*/ 3565390 w 6884782"/>
              <a:gd name="connsiteY65249" fmla="*/ 881356 h 5973007"/>
              <a:gd name="connsiteX65250" fmla="*/ 3544048 w 6884782"/>
              <a:gd name="connsiteY65250" fmla="*/ 873104 h 5973007"/>
              <a:gd name="connsiteX65251" fmla="*/ 3545116 w 6884782"/>
              <a:gd name="connsiteY65251" fmla="*/ 870686 h 5973007"/>
              <a:gd name="connsiteX65252" fmla="*/ 3548103 w 6884782"/>
              <a:gd name="connsiteY65252" fmla="*/ 870117 h 5973007"/>
              <a:gd name="connsiteX65253" fmla="*/ 3605086 w 6884782"/>
              <a:gd name="connsiteY65253" fmla="*/ 869832 h 5973007"/>
              <a:gd name="connsiteX65254" fmla="*/ 3611916 w 6884782"/>
              <a:gd name="connsiteY65254" fmla="*/ 871681 h 5973007"/>
              <a:gd name="connsiteX65255" fmla="*/ 3599751 w 6884782"/>
              <a:gd name="connsiteY65255" fmla="*/ 879080 h 5973007"/>
              <a:gd name="connsiteX65256" fmla="*/ 3597830 w 6884782"/>
              <a:gd name="connsiteY65256" fmla="*/ 871966 h 5973007"/>
              <a:gd name="connsiteX65257" fmla="*/ 3605086 w 6884782"/>
              <a:gd name="connsiteY65257" fmla="*/ 869832 h 5973007"/>
              <a:gd name="connsiteX65258" fmla="*/ 1447033 w 6884782"/>
              <a:gd name="connsiteY65258" fmla="*/ 869765 h 5973007"/>
              <a:gd name="connsiteX65259" fmla="*/ 1448478 w 6884782"/>
              <a:gd name="connsiteY65259" fmla="*/ 874722 h 5973007"/>
              <a:gd name="connsiteX65260" fmla="*/ 1444968 w 6884782"/>
              <a:gd name="connsiteY65260" fmla="*/ 876581 h 5973007"/>
              <a:gd name="connsiteX65261" fmla="*/ 1443419 w 6884782"/>
              <a:gd name="connsiteY65261" fmla="*/ 871624 h 5973007"/>
              <a:gd name="connsiteX65262" fmla="*/ 1447033 w 6884782"/>
              <a:gd name="connsiteY65262" fmla="*/ 869765 h 5973007"/>
              <a:gd name="connsiteX65263" fmla="*/ 3580970 w 6884782"/>
              <a:gd name="connsiteY65263" fmla="*/ 868836 h 5973007"/>
              <a:gd name="connsiteX65264" fmla="*/ 3583957 w 6884782"/>
              <a:gd name="connsiteY65264" fmla="*/ 888754 h 5973007"/>
              <a:gd name="connsiteX65265" fmla="*/ 3574567 w 6884782"/>
              <a:gd name="connsiteY65265" fmla="*/ 885624 h 5973007"/>
              <a:gd name="connsiteX65266" fmla="*/ 3580970 w 6884782"/>
              <a:gd name="connsiteY65266" fmla="*/ 868836 h 5973007"/>
              <a:gd name="connsiteX65267" fmla="*/ 1212228 w 6884782"/>
              <a:gd name="connsiteY65267" fmla="*/ 868836 h 5973007"/>
              <a:gd name="connsiteX65268" fmla="*/ 1219456 w 6884782"/>
              <a:gd name="connsiteY65268" fmla="*/ 870849 h 5973007"/>
              <a:gd name="connsiteX65269" fmla="*/ 1218940 w 6884782"/>
              <a:gd name="connsiteY65269" fmla="*/ 871469 h 5973007"/>
              <a:gd name="connsiteX65270" fmla="*/ 1219250 w 6884782"/>
              <a:gd name="connsiteY65270" fmla="*/ 871779 h 5973007"/>
              <a:gd name="connsiteX65271" fmla="*/ 1219146 w 6884782"/>
              <a:gd name="connsiteY65271" fmla="*/ 874722 h 5973007"/>
              <a:gd name="connsiteX65272" fmla="*/ 1219456 w 6884782"/>
              <a:gd name="connsiteY65272" fmla="*/ 878749 h 5973007"/>
              <a:gd name="connsiteX65273" fmla="*/ 1216668 w 6884782"/>
              <a:gd name="connsiteY65273" fmla="*/ 892535 h 5973007"/>
              <a:gd name="connsiteX65274" fmla="*/ 1215326 w 6884782"/>
              <a:gd name="connsiteY65274" fmla="*/ 886959 h 5973007"/>
              <a:gd name="connsiteX65275" fmla="*/ 1215429 w 6884782"/>
              <a:gd name="connsiteY65275" fmla="*/ 879524 h 5973007"/>
              <a:gd name="connsiteX65276" fmla="*/ 1214706 w 6884782"/>
              <a:gd name="connsiteY65276" fmla="*/ 874102 h 5973007"/>
              <a:gd name="connsiteX65277" fmla="*/ 1213054 w 6884782"/>
              <a:gd name="connsiteY65277" fmla="*/ 873173 h 5973007"/>
              <a:gd name="connsiteX65278" fmla="*/ 1211505 w 6884782"/>
              <a:gd name="connsiteY65278" fmla="*/ 871469 h 5973007"/>
              <a:gd name="connsiteX65279" fmla="*/ 1211299 w 6884782"/>
              <a:gd name="connsiteY65279" fmla="*/ 869920 h 5973007"/>
              <a:gd name="connsiteX65280" fmla="*/ 1212228 w 6884782"/>
              <a:gd name="connsiteY65280" fmla="*/ 868836 h 5973007"/>
              <a:gd name="connsiteX65281" fmla="*/ 1242586 w 6884782"/>
              <a:gd name="connsiteY65281" fmla="*/ 868526 h 5973007"/>
              <a:gd name="connsiteX65282" fmla="*/ 1255596 w 6884782"/>
              <a:gd name="connsiteY65282" fmla="*/ 875651 h 5973007"/>
              <a:gd name="connsiteX65283" fmla="*/ 1251466 w 6884782"/>
              <a:gd name="connsiteY65283" fmla="*/ 882621 h 5973007"/>
              <a:gd name="connsiteX65284" fmla="*/ 1240107 w 6884782"/>
              <a:gd name="connsiteY65284" fmla="*/ 873328 h 5973007"/>
              <a:gd name="connsiteX65285" fmla="*/ 1242586 w 6884782"/>
              <a:gd name="connsiteY65285" fmla="*/ 868526 h 5973007"/>
              <a:gd name="connsiteX65286" fmla="*/ 3805274 w 6884782"/>
              <a:gd name="connsiteY65286" fmla="*/ 865706 h 5973007"/>
              <a:gd name="connsiteX65287" fmla="*/ 3804207 w 6884782"/>
              <a:gd name="connsiteY65287" fmla="*/ 872678 h 5973007"/>
              <a:gd name="connsiteX65288" fmla="*/ 3799939 w 6884782"/>
              <a:gd name="connsiteY65288" fmla="*/ 870970 h 5973007"/>
              <a:gd name="connsiteX65289" fmla="*/ 3805274 w 6884782"/>
              <a:gd name="connsiteY65289" fmla="*/ 865706 h 5973007"/>
              <a:gd name="connsiteX65290" fmla="*/ 1394269 w 6884782"/>
              <a:gd name="connsiteY65290" fmla="*/ 864654 h 5973007"/>
              <a:gd name="connsiteX65291" fmla="*/ 1394992 w 6884782"/>
              <a:gd name="connsiteY65291" fmla="*/ 865118 h 5973007"/>
              <a:gd name="connsiteX65292" fmla="*/ 1395198 w 6884782"/>
              <a:gd name="connsiteY65292" fmla="*/ 864963 h 5973007"/>
              <a:gd name="connsiteX65293" fmla="*/ 1396024 w 6884782"/>
              <a:gd name="connsiteY65293" fmla="*/ 866667 h 5973007"/>
              <a:gd name="connsiteX65294" fmla="*/ 1395921 w 6884782"/>
              <a:gd name="connsiteY65294" fmla="*/ 868371 h 5973007"/>
              <a:gd name="connsiteX65295" fmla="*/ 1392617 w 6884782"/>
              <a:gd name="connsiteY65295" fmla="*/ 867132 h 5973007"/>
              <a:gd name="connsiteX65296" fmla="*/ 1393443 w 6884782"/>
              <a:gd name="connsiteY65296" fmla="*/ 865893 h 5973007"/>
              <a:gd name="connsiteX65297" fmla="*/ 1392617 w 6884782"/>
              <a:gd name="connsiteY65297" fmla="*/ 865428 h 5973007"/>
              <a:gd name="connsiteX65298" fmla="*/ 1394269 w 6884782"/>
              <a:gd name="connsiteY65298" fmla="*/ 864654 h 5973007"/>
              <a:gd name="connsiteX65299" fmla="*/ 1486167 w 6884782"/>
              <a:gd name="connsiteY65299" fmla="*/ 861711 h 5973007"/>
              <a:gd name="connsiteX65300" fmla="*/ 1487923 w 6884782"/>
              <a:gd name="connsiteY65300" fmla="*/ 862020 h 5973007"/>
              <a:gd name="connsiteX65301" fmla="*/ 1489471 w 6884782"/>
              <a:gd name="connsiteY65301" fmla="*/ 863259 h 5973007"/>
              <a:gd name="connsiteX65302" fmla="*/ 1486787 w 6884782"/>
              <a:gd name="connsiteY65302" fmla="*/ 865118 h 5973007"/>
              <a:gd name="connsiteX65303" fmla="*/ 1486064 w 6884782"/>
              <a:gd name="connsiteY65303" fmla="*/ 863724 h 5973007"/>
              <a:gd name="connsiteX65304" fmla="*/ 1485341 w 6884782"/>
              <a:gd name="connsiteY65304" fmla="*/ 864034 h 5973007"/>
              <a:gd name="connsiteX65305" fmla="*/ 1485341 w 6884782"/>
              <a:gd name="connsiteY65305" fmla="*/ 862175 h 5973007"/>
              <a:gd name="connsiteX65306" fmla="*/ 1486064 w 6884782"/>
              <a:gd name="connsiteY65306" fmla="*/ 861865 h 5973007"/>
              <a:gd name="connsiteX65307" fmla="*/ 1486167 w 6884782"/>
              <a:gd name="connsiteY65307" fmla="*/ 861711 h 5973007"/>
              <a:gd name="connsiteX65308" fmla="*/ 1343815 w 6884782"/>
              <a:gd name="connsiteY65308" fmla="*/ 861343 h 5973007"/>
              <a:gd name="connsiteX65309" fmla="*/ 1353483 w 6884782"/>
              <a:gd name="connsiteY65309" fmla="*/ 861556 h 5973007"/>
              <a:gd name="connsiteX65310" fmla="*/ 1344190 w 6884782"/>
              <a:gd name="connsiteY65310" fmla="*/ 867132 h 5973007"/>
              <a:gd name="connsiteX65311" fmla="*/ 1333761 w 6884782"/>
              <a:gd name="connsiteY65311" fmla="*/ 866822 h 5973007"/>
              <a:gd name="connsiteX65312" fmla="*/ 1343815 w 6884782"/>
              <a:gd name="connsiteY65312" fmla="*/ 861343 h 5973007"/>
              <a:gd name="connsiteX65313" fmla="*/ 3466790 w 6884782"/>
              <a:gd name="connsiteY65313" fmla="*/ 861296 h 5973007"/>
              <a:gd name="connsiteX65314" fmla="*/ 3476394 w 6884782"/>
              <a:gd name="connsiteY65314" fmla="*/ 874100 h 5973007"/>
              <a:gd name="connsiteX65315" fmla="*/ 3480236 w 6884782"/>
              <a:gd name="connsiteY65315" fmla="*/ 893164 h 5973007"/>
              <a:gd name="connsiteX65316" fmla="*/ 3464656 w 6884782"/>
              <a:gd name="connsiteY65316" fmla="*/ 891599 h 5973007"/>
              <a:gd name="connsiteX65317" fmla="*/ 3466790 w 6884782"/>
              <a:gd name="connsiteY65317" fmla="*/ 861296 h 5973007"/>
              <a:gd name="connsiteX65318" fmla="*/ 1111244 w 6884782"/>
              <a:gd name="connsiteY65318" fmla="*/ 861091 h 5973007"/>
              <a:gd name="connsiteX65319" fmla="*/ 1113309 w 6884782"/>
              <a:gd name="connsiteY65319" fmla="*/ 861556 h 5973007"/>
              <a:gd name="connsiteX65320" fmla="*/ 1107836 w 6884782"/>
              <a:gd name="connsiteY65320" fmla="*/ 876116 h 5973007"/>
              <a:gd name="connsiteX65321" fmla="*/ 1106081 w 6884782"/>
              <a:gd name="connsiteY65321" fmla="*/ 875187 h 5973007"/>
              <a:gd name="connsiteX65322" fmla="*/ 1105461 w 6884782"/>
              <a:gd name="connsiteY65322" fmla="*/ 872863 h 5973007"/>
              <a:gd name="connsiteX65323" fmla="*/ 1108043 w 6884782"/>
              <a:gd name="connsiteY65323" fmla="*/ 865273 h 5973007"/>
              <a:gd name="connsiteX65324" fmla="*/ 1108869 w 6884782"/>
              <a:gd name="connsiteY65324" fmla="*/ 863724 h 5973007"/>
              <a:gd name="connsiteX65325" fmla="*/ 1109798 w 6884782"/>
              <a:gd name="connsiteY65325" fmla="*/ 862020 h 5973007"/>
              <a:gd name="connsiteX65326" fmla="*/ 1111244 w 6884782"/>
              <a:gd name="connsiteY65326" fmla="*/ 861091 h 5973007"/>
              <a:gd name="connsiteX65327" fmla="*/ 1781790 w 6884782"/>
              <a:gd name="connsiteY65327" fmla="*/ 860936 h 5973007"/>
              <a:gd name="connsiteX65328" fmla="*/ 1782616 w 6884782"/>
              <a:gd name="connsiteY65328" fmla="*/ 861091 h 5973007"/>
              <a:gd name="connsiteX65329" fmla="*/ 1781820 w 6884782"/>
              <a:gd name="connsiteY65329" fmla="*/ 860976 h 5973007"/>
              <a:gd name="connsiteX65330" fmla="*/ 3649904 w 6884782"/>
              <a:gd name="connsiteY65330" fmla="*/ 860585 h 5973007"/>
              <a:gd name="connsiteX65331" fmla="*/ 3658014 w 6884782"/>
              <a:gd name="connsiteY65331" fmla="*/ 867840 h 5973007"/>
              <a:gd name="connsiteX65332" fmla="*/ 3652679 w 6884782"/>
              <a:gd name="connsiteY65332" fmla="*/ 872393 h 5973007"/>
              <a:gd name="connsiteX65333" fmla="*/ 3649904 w 6884782"/>
              <a:gd name="connsiteY65333" fmla="*/ 860585 h 5973007"/>
              <a:gd name="connsiteX65334" fmla="*/ 3374806 w 6884782"/>
              <a:gd name="connsiteY65334" fmla="*/ 860300 h 5973007"/>
              <a:gd name="connsiteX65335" fmla="*/ 3387611 w 6884782"/>
              <a:gd name="connsiteY65335" fmla="*/ 868409 h 5973007"/>
              <a:gd name="connsiteX65336" fmla="*/ 3371392 w 6884782"/>
              <a:gd name="connsiteY65336" fmla="*/ 860585 h 5973007"/>
              <a:gd name="connsiteX65337" fmla="*/ 3374806 w 6884782"/>
              <a:gd name="connsiteY65337" fmla="*/ 860300 h 5973007"/>
              <a:gd name="connsiteX65338" fmla="*/ 4036194 w 6884782"/>
              <a:gd name="connsiteY65338" fmla="*/ 859446 h 5973007"/>
              <a:gd name="connsiteX65339" fmla="*/ 4029792 w 6884782"/>
              <a:gd name="connsiteY65339" fmla="*/ 873104 h 5973007"/>
              <a:gd name="connsiteX65340" fmla="*/ 4036194 w 6884782"/>
              <a:gd name="connsiteY65340" fmla="*/ 859446 h 5973007"/>
              <a:gd name="connsiteX65341" fmla="*/ 3298188 w 6884782"/>
              <a:gd name="connsiteY65341" fmla="*/ 859162 h 5973007"/>
              <a:gd name="connsiteX65342" fmla="*/ 3300536 w 6884782"/>
              <a:gd name="connsiteY65342" fmla="*/ 860727 h 5973007"/>
              <a:gd name="connsiteX65343" fmla="*/ 3285383 w 6884782"/>
              <a:gd name="connsiteY65343" fmla="*/ 876235 h 5973007"/>
              <a:gd name="connsiteX65344" fmla="*/ 3283890 w 6884782"/>
              <a:gd name="connsiteY65344" fmla="*/ 873816 h 5973007"/>
              <a:gd name="connsiteX65345" fmla="*/ 3284317 w 6884782"/>
              <a:gd name="connsiteY65345" fmla="*/ 870686 h 5973007"/>
              <a:gd name="connsiteX65346" fmla="*/ 3291786 w 6884782"/>
              <a:gd name="connsiteY65346" fmla="*/ 862434 h 5973007"/>
              <a:gd name="connsiteX65347" fmla="*/ 3293921 w 6884782"/>
              <a:gd name="connsiteY65347" fmla="*/ 861011 h 5973007"/>
              <a:gd name="connsiteX65348" fmla="*/ 3295841 w 6884782"/>
              <a:gd name="connsiteY65348" fmla="*/ 859446 h 5973007"/>
              <a:gd name="connsiteX65349" fmla="*/ 3298188 w 6884782"/>
              <a:gd name="connsiteY65349" fmla="*/ 859162 h 5973007"/>
              <a:gd name="connsiteX65350" fmla="*/ 4776121 w 6884782"/>
              <a:gd name="connsiteY65350" fmla="*/ 857881 h 5973007"/>
              <a:gd name="connsiteX65351" fmla="*/ 4779322 w 6884782"/>
              <a:gd name="connsiteY65351" fmla="*/ 860300 h 5973007"/>
              <a:gd name="connsiteX65352" fmla="*/ 4780176 w 6884782"/>
              <a:gd name="connsiteY65352" fmla="*/ 864995 h 5973007"/>
              <a:gd name="connsiteX65353" fmla="*/ 4770572 w 6884782"/>
              <a:gd name="connsiteY65353" fmla="*/ 867129 h 5973007"/>
              <a:gd name="connsiteX65354" fmla="*/ 4772493 w 6884782"/>
              <a:gd name="connsiteY65354" fmla="*/ 860015 h 5973007"/>
              <a:gd name="connsiteX65355" fmla="*/ 4776121 w 6884782"/>
              <a:gd name="connsiteY65355" fmla="*/ 857881 h 5973007"/>
              <a:gd name="connsiteX65356" fmla="*/ 1787572 w 6884782"/>
              <a:gd name="connsiteY65356" fmla="*/ 853966 h 5973007"/>
              <a:gd name="connsiteX65357" fmla="*/ 1796452 w 6884782"/>
              <a:gd name="connsiteY65357" fmla="*/ 862175 h 5973007"/>
              <a:gd name="connsiteX65358" fmla="*/ 1794077 w 6884782"/>
              <a:gd name="connsiteY65358" fmla="*/ 864963 h 5973007"/>
              <a:gd name="connsiteX65359" fmla="*/ 1787572 w 6884782"/>
              <a:gd name="connsiteY65359" fmla="*/ 853966 h 5973007"/>
              <a:gd name="connsiteX65360" fmla="*/ 3512462 w 6884782"/>
              <a:gd name="connsiteY65360" fmla="*/ 853898 h 5973007"/>
              <a:gd name="connsiteX65361" fmla="*/ 3516517 w 6884782"/>
              <a:gd name="connsiteY65361" fmla="*/ 859304 h 5973007"/>
              <a:gd name="connsiteX65362" fmla="*/ 3505206 w 6884782"/>
              <a:gd name="connsiteY65362" fmla="*/ 869121 h 5973007"/>
              <a:gd name="connsiteX65363" fmla="*/ 3503712 w 6884782"/>
              <a:gd name="connsiteY65363" fmla="*/ 860727 h 5973007"/>
              <a:gd name="connsiteX65364" fmla="*/ 3506273 w 6884782"/>
              <a:gd name="connsiteY65364" fmla="*/ 857739 h 5973007"/>
              <a:gd name="connsiteX65365" fmla="*/ 3512889 w 6884782"/>
              <a:gd name="connsiteY65365" fmla="*/ 854894 h 5973007"/>
              <a:gd name="connsiteX65366" fmla="*/ 3512462 w 6884782"/>
              <a:gd name="connsiteY65366" fmla="*/ 853898 h 5973007"/>
              <a:gd name="connsiteX65367" fmla="*/ 1571870 w 6884782"/>
              <a:gd name="connsiteY65367" fmla="*/ 853656 h 5973007"/>
              <a:gd name="connsiteX65368" fmla="*/ 1574968 w 6884782"/>
              <a:gd name="connsiteY65368" fmla="*/ 854121 h 5973007"/>
              <a:gd name="connsiteX65369" fmla="*/ 1577239 w 6884782"/>
              <a:gd name="connsiteY65369" fmla="*/ 856909 h 5973007"/>
              <a:gd name="connsiteX65370" fmla="*/ 1571663 w 6884782"/>
              <a:gd name="connsiteY65370" fmla="*/ 860936 h 5973007"/>
              <a:gd name="connsiteX65371" fmla="*/ 1570114 w 6884782"/>
              <a:gd name="connsiteY65371" fmla="*/ 855980 h 5973007"/>
              <a:gd name="connsiteX65372" fmla="*/ 1571870 w 6884782"/>
              <a:gd name="connsiteY65372" fmla="*/ 853656 h 5973007"/>
              <a:gd name="connsiteX65373" fmla="*/ 3360507 w 6884782"/>
              <a:gd name="connsiteY65373" fmla="*/ 852049 h 5973007"/>
              <a:gd name="connsiteX65374" fmla="*/ 3361574 w 6884782"/>
              <a:gd name="connsiteY65374" fmla="*/ 870401 h 5973007"/>
              <a:gd name="connsiteX65375" fmla="*/ 3326360 w 6884782"/>
              <a:gd name="connsiteY65375" fmla="*/ 908814 h 5973007"/>
              <a:gd name="connsiteX65376" fmla="*/ 3333403 w 6884782"/>
              <a:gd name="connsiteY65376" fmla="*/ 889892 h 5973007"/>
              <a:gd name="connsiteX65377" fmla="*/ 3329134 w 6884782"/>
              <a:gd name="connsiteY65377" fmla="*/ 888469 h 5973007"/>
              <a:gd name="connsiteX65378" fmla="*/ 3329134 w 6884782"/>
              <a:gd name="connsiteY65378" fmla="*/ 887189 h 5973007"/>
              <a:gd name="connsiteX65379" fmla="*/ 3327214 w 6884782"/>
              <a:gd name="connsiteY65379" fmla="*/ 889750 h 5973007"/>
              <a:gd name="connsiteX65380" fmla="*/ 3321451 w 6884782"/>
              <a:gd name="connsiteY65380" fmla="*/ 891315 h 5973007"/>
              <a:gd name="connsiteX65381" fmla="*/ 3321025 w 6884782"/>
              <a:gd name="connsiteY65381" fmla="*/ 890461 h 5973007"/>
              <a:gd name="connsiteX65382" fmla="*/ 3320811 w 6884782"/>
              <a:gd name="connsiteY65382" fmla="*/ 891172 h 5973007"/>
              <a:gd name="connsiteX65383" fmla="*/ 3320384 w 6884782"/>
              <a:gd name="connsiteY65383" fmla="*/ 891172 h 5973007"/>
              <a:gd name="connsiteX65384" fmla="*/ 3320384 w 6884782"/>
              <a:gd name="connsiteY65384" fmla="*/ 894018 h 5973007"/>
              <a:gd name="connsiteX65385" fmla="*/ 3310780 w 6884782"/>
              <a:gd name="connsiteY65385" fmla="*/ 907961 h 5973007"/>
              <a:gd name="connsiteX65386" fmla="*/ 3306725 w 6884782"/>
              <a:gd name="connsiteY65386" fmla="*/ 906253 h 5973007"/>
              <a:gd name="connsiteX65387" fmla="*/ 3306939 w 6884782"/>
              <a:gd name="connsiteY65387" fmla="*/ 906679 h 5973007"/>
              <a:gd name="connsiteX65388" fmla="*/ 3305872 w 6884782"/>
              <a:gd name="connsiteY65388" fmla="*/ 906111 h 5973007"/>
              <a:gd name="connsiteX65389" fmla="*/ 3305872 w 6884782"/>
              <a:gd name="connsiteY65389" fmla="*/ 905826 h 5973007"/>
              <a:gd name="connsiteX65390" fmla="*/ 3304378 w 6884782"/>
              <a:gd name="connsiteY65390" fmla="*/ 906538 h 5973007"/>
              <a:gd name="connsiteX65391" fmla="*/ 3302457 w 6884782"/>
              <a:gd name="connsiteY65391" fmla="*/ 904261 h 5973007"/>
              <a:gd name="connsiteX65392" fmla="*/ 3300323 w 6884782"/>
              <a:gd name="connsiteY65392" fmla="*/ 903265 h 5973007"/>
              <a:gd name="connsiteX65393" fmla="*/ 3289865 w 6884782"/>
              <a:gd name="connsiteY65393" fmla="*/ 877088 h 5973007"/>
              <a:gd name="connsiteX65394" fmla="*/ 3306299 w 6884782"/>
              <a:gd name="connsiteY65394" fmla="*/ 868552 h 5973007"/>
              <a:gd name="connsiteX65395" fmla="*/ 3314408 w 6884782"/>
              <a:gd name="connsiteY65395" fmla="*/ 872820 h 5973007"/>
              <a:gd name="connsiteX65396" fmla="*/ 3315903 w 6884782"/>
              <a:gd name="connsiteY65396" fmla="*/ 874811 h 5973007"/>
              <a:gd name="connsiteX65397" fmla="*/ 3321238 w 6884782"/>
              <a:gd name="connsiteY65397" fmla="*/ 874100 h 5973007"/>
              <a:gd name="connsiteX65398" fmla="*/ 3321665 w 6884782"/>
              <a:gd name="connsiteY65398" fmla="*/ 875238 h 5973007"/>
              <a:gd name="connsiteX65399" fmla="*/ 3323586 w 6884782"/>
              <a:gd name="connsiteY65399" fmla="*/ 873246 h 5973007"/>
              <a:gd name="connsiteX65400" fmla="*/ 3331909 w 6884782"/>
              <a:gd name="connsiteY65400" fmla="*/ 872108 h 5973007"/>
              <a:gd name="connsiteX65401" fmla="*/ 3331482 w 6884782"/>
              <a:gd name="connsiteY65401" fmla="*/ 871539 h 5973007"/>
              <a:gd name="connsiteX65402" fmla="*/ 3331055 w 6884782"/>
              <a:gd name="connsiteY65402" fmla="*/ 867982 h 5973007"/>
              <a:gd name="connsiteX65403" fmla="*/ 3334470 w 6884782"/>
              <a:gd name="connsiteY65403" fmla="*/ 866987 h 5973007"/>
              <a:gd name="connsiteX65404" fmla="*/ 3341513 w 6884782"/>
              <a:gd name="connsiteY65404" fmla="*/ 870828 h 5973007"/>
              <a:gd name="connsiteX65405" fmla="*/ 3342367 w 6884782"/>
              <a:gd name="connsiteY65405" fmla="*/ 871824 h 5973007"/>
              <a:gd name="connsiteX65406" fmla="*/ 3346848 w 6884782"/>
              <a:gd name="connsiteY65406" fmla="*/ 864852 h 5973007"/>
              <a:gd name="connsiteX65407" fmla="*/ 3351544 w 6884782"/>
              <a:gd name="connsiteY65407" fmla="*/ 860300 h 5973007"/>
              <a:gd name="connsiteX65408" fmla="*/ 3353251 w 6884782"/>
              <a:gd name="connsiteY65408" fmla="*/ 854325 h 5973007"/>
              <a:gd name="connsiteX65409" fmla="*/ 3354531 w 6884782"/>
              <a:gd name="connsiteY65409" fmla="*/ 857739 h 5973007"/>
              <a:gd name="connsiteX65410" fmla="*/ 1504805 w 6884782"/>
              <a:gd name="connsiteY65410" fmla="*/ 848738 h 5973007"/>
              <a:gd name="connsiteX65411" fmla="*/ 1514356 w 6884782"/>
              <a:gd name="connsiteY65411" fmla="*/ 849938 h 5973007"/>
              <a:gd name="connsiteX65412" fmla="*/ 1504650 w 6884782"/>
              <a:gd name="connsiteY65412" fmla="*/ 854585 h 5973007"/>
              <a:gd name="connsiteX65413" fmla="*/ 1494324 w 6884782"/>
              <a:gd name="connsiteY65413" fmla="*/ 853346 h 5973007"/>
              <a:gd name="connsiteX65414" fmla="*/ 1504805 w 6884782"/>
              <a:gd name="connsiteY65414" fmla="*/ 848738 h 5973007"/>
              <a:gd name="connsiteX65415" fmla="*/ 3111659 w 6884782"/>
              <a:gd name="connsiteY65415" fmla="*/ 848492 h 5973007"/>
              <a:gd name="connsiteX65416" fmla="*/ 3093092 w 6884782"/>
              <a:gd name="connsiteY65416" fmla="*/ 852475 h 5973007"/>
              <a:gd name="connsiteX65417" fmla="*/ 3111659 w 6884782"/>
              <a:gd name="connsiteY65417" fmla="*/ 848492 h 5973007"/>
              <a:gd name="connsiteX65418" fmla="*/ 3233736 w 6884782"/>
              <a:gd name="connsiteY65418" fmla="*/ 847212 h 5973007"/>
              <a:gd name="connsiteX65419" fmla="*/ 3240138 w 6884782"/>
              <a:gd name="connsiteY65419" fmla="*/ 851764 h 5973007"/>
              <a:gd name="connsiteX65420" fmla="*/ 3239498 w 6884782"/>
              <a:gd name="connsiteY65420" fmla="*/ 855748 h 5973007"/>
              <a:gd name="connsiteX65421" fmla="*/ 3234590 w 6884782"/>
              <a:gd name="connsiteY65421" fmla="*/ 859446 h 5973007"/>
              <a:gd name="connsiteX65422" fmla="*/ 3230748 w 6884782"/>
              <a:gd name="connsiteY65422" fmla="*/ 849914 h 5973007"/>
              <a:gd name="connsiteX65423" fmla="*/ 3233736 w 6884782"/>
              <a:gd name="connsiteY65423" fmla="*/ 847212 h 5973007"/>
              <a:gd name="connsiteX65424" fmla="*/ 3112727 w 6884782"/>
              <a:gd name="connsiteY65424" fmla="*/ 847212 h 5973007"/>
              <a:gd name="connsiteX65425" fmla="*/ 3114434 w 6884782"/>
              <a:gd name="connsiteY65425" fmla="*/ 848776 h 5973007"/>
              <a:gd name="connsiteX65426" fmla="*/ 3111873 w 6884782"/>
              <a:gd name="connsiteY65426" fmla="*/ 848634 h 5973007"/>
              <a:gd name="connsiteX65427" fmla="*/ 3112727 w 6884782"/>
              <a:gd name="connsiteY65427" fmla="*/ 847212 h 5973007"/>
              <a:gd name="connsiteX65428" fmla="*/ 1780860 w 6884782"/>
              <a:gd name="connsiteY65428" fmla="*/ 847150 h 5973007"/>
              <a:gd name="connsiteX65429" fmla="*/ 1784165 w 6884782"/>
              <a:gd name="connsiteY65429" fmla="*/ 849319 h 5973007"/>
              <a:gd name="connsiteX65430" fmla="*/ 1780654 w 6884782"/>
              <a:gd name="connsiteY65430" fmla="*/ 853036 h 5973007"/>
              <a:gd name="connsiteX65431" fmla="*/ 1777350 w 6884782"/>
              <a:gd name="connsiteY65431" fmla="*/ 850868 h 5973007"/>
              <a:gd name="connsiteX65432" fmla="*/ 1780860 w 6884782"/>
              <a:gd name="connsiteY65432" fmla="*/ 847150 h 5973007"/>
              <a:gd name="connsiteX65433" fmla="*/ 3118276 w 6884782"/>
              <a:gd name="connsiteY65433" fmla="*/ 847069 h 5973007"/>
              <a:gd name="connsiteX65434" fmla="*/ 3121690 w 6884782"/>
              <a:gd name="connsiteY65434" fmla="*/ 847212 h 5973007"/>
              <a:gd name="connsiteX65435" fmla="*/ 3132575 w 6884782"/>
              <a:gd name="connsiteY65435" fmla="*/ 852475 h 5973007"/>
              <a:gd name="connsiteX65436" fmla="*/ 3124892 w 6884782"/>
              <a:gd name="connsiteY65436" fmla="*/ 861296 h 5973007"/>
              <a:gd name="connsiteX65437" fmla="*/ 3123398 w 6884782"/>
              <a:gd name="connsiteY65437" fmla="*/ 861011 h 5973007"/>
              <a:gd name="connsiteX65438" fmla="*/ 3112300 w 6884782"/>
              <a:gd name="connsiteY65438" fmla="*/ 852902 h 5973007"/>
              <a:gd name="connsiteX65439" fmla="*/ 3118276 w 6884782"/>
              <a:gd name="connsiteY65439" fmla="*/ 847069 h 5973007"/>
              <a:gd name="connsiteX65440" fmla="*/ 3512462 w 6884782"/>
              <a:gd name="connsiteY65440" fmla="*/ 846500 h 5973007"/>
              <a:gd name="connsiteX65441" fmla="*/ 3514383 w 6884782"/>
              <a:gd name="connsiteY65441" fmla="*/ 847212 h 5973007"/>
              <a:gd name="connsiteX65442" fmla="*/ 3517798 w 6884782"/>
              <a:gd name="connsiteY65442" fmla="*/ 848919 h 5973007"/>
              <a:gd name="connsiteX65443" fmla="*/ 3518224 w 6884782"/>
              <a:gd name="connsiteY65443" fmla="*/ 851052 h 5973007"/>
              <a:gd name="connsiteX65444" fmla="*/ 3517584 w 6884782"/>
              <a:gd name="connsiteY65444" fmla="*/ 853613 h 5973007"/>
              <a:gd name="connsiteX65445" fmla="*/ 3511822 w 6884782"/>
              <a:gd name="connsiteY65445" fmla="*/ 851622 h 5973007"/>
              <a:gd name="connsiteX65446" fmla="*/ 3510968 w 6884782"/>
              <a:gd name="connsiteY65446" fmla="*/ 847923 h 5973007"/>
              <a:gd name="connsiteX65447" fmla="*/ 3512462 w 6884782"/>
              <a:gd name="connsiteY65447" fmla="*/ 846500 h 5973007"/>
              <a:gd name="connsiteX65448" fmla="*/ 1208304 w 6884782"/>
              <a:gd name="connsiteY65448" fmla="*/ 846221 h 5973007"/>
              <a:gd name="connsiteX65449" fmla="*/ 1209750 w 6884782"/>
              <a:gd name="connsiteY65449" fmla="*/ 846686 h 5973007"/>
              <a:gd name="connsiteX65450" fmla="*/ 1211402 w 6884782"/>
              <a:gd name="connsiteY65450" fmla="*/ 848080 h 5973007"/>
              <a:gd name="connsiteX65451" fmla="*/ 1208408 w 6884782"/>
              <a:gd name="connsiteY65451" fmla="*/ 851023 h 5973007"/>
              <a:gd name="connsiteX65452" fmla="*/ 1205723 w 6884782"/>
              <a:gd name="connsiteY65452" fmla="*/ 850248 h 5973007"/>
              <a:gd name="connsiteX65453" fmla="*/ 1205207 w 6884782"/>
              <a:gd name="connsiteY65453" fmla="*/ 848854 h 5973007"/>
              <a:gd name="connsiteX65454" fmla="*/ 1206239 w 6884782"/>
              <a:gd name="connsiteY65454" fmla="*/ 847770 h 5973007"/>
              <a:gd name="connsiteX65455" fmla="*/ 1208304 w 6884782"/>
              <a:gd name="connsiteY65455" fmla="*/ 846221 h 5973007"/>
              <a:gd name="connsiteX65456" fmla="*/ 1190544 w 6884782"/>
              <a:gd name="connsiteY65456" fmla="*/ 846066 h 5973007"/>
              <a:gd name="connsiteX65457" fmla="*/ 1198392 w 6884782"/>
              <a:gd name="connsiteY65457" fmla="*/ 851642 h 5973007"/>
              <a:gd name="connsiteX65458" fmla="*/ 1188273 w 6884782"/>
              <a:gd name="connsiteY65458" fmla="*/ 850093 h 5973007"/>
              <a:gd name="connsiteX65459" fmla="*/ 1190544 w 6884782"/>
              <a:gd name="connsiteY65459" fmla="*/ 846066 h 5973007"/>
              <a:gd name="connsiteX65460" fmla="*/ 3117849 w 6884782"/>
              <a:gd name="connsiteY65460" fmla="*/ 845362 h 5973007"/>
              <a:gd name="connsiteX65461" fmla="*/ 3119770 w 6884782"/>
              <a:gd name="connsiteY65461" fmla="*/ 845362 h 5973007"/>
              <a:gd name="connsiteX65462" fmla="*/ 3119983 w 6884782"/>
              <a:gd name="connsiteY65462" fmla="*/ 846500 h 5973007"/>
              <a:gd name="connsiteX65463" fmla="*/ 3117422 w 6884782"/>
              <a:gd name="connsiteY65463" fmla="*/ 846357 h 5973007"/>
              <a:gd name="connsiteX65464" fmla="*/ 3117849 w 6884782"/>
              <a:gd name="connsiteY65464" fmla="*/ 845362 h 5973007"/>
              <a:gd name="connsiteX65465" fmla="*/ 1379916 w 6884782"/>
              <a:gd name="connsiteY65465" fmla="*/ 845136 h 5973007"/>
              <a:gd name="connsiteX65466" fmla="*/ 1380639 w 6884782"/>
              <a:gd name="connsiteY65466" fmla="*/ 850093 h 5973007"/>
              <a:gd name="connsiteX65467" fmla="*/ 1380433 w 6884782"/>
              <a:gd name="connsiteY65467" fmla="*/ 854276 h 5973007"/>
              <a:gd name="connsiteX65468" fmla="*/ 1376302 w 6884782"/>
              <a:gd name="connsiteY65468" fmla="*/ 867751 h 5973007"/>
              <a:gd name="connsiteX65469" fmla="*/ 1375476 w 6884782"/>
              <a:gd name="connsiteY65469" fmla="*/ 862020 h 5973007"/>
              <a:gd name="connsiteX65470" fmla="*/ 1376302 w 6884782"/>
              <a:gd name="connsiteY65470" fmla="*/ 848544 h 5973007"/>
              <a:gd name="connsiteX65471" fmla="*/ 1378058 w 6884782"/>
              <a:gd name="connsiteY65471" fmla="*/ 846840 h 5973007"/>
              <a:gd name="connsiteX65472" fmla="*/ 1378161 w 6884782"/>
              <a:gd name="connsiteY65472" fmla="*/ 846066 h 5973007"/>
              <a:gd name="connsiteX65473" fmla="*/ 1379916 w 6884782"/>
              <a:gd name="connsiteY65473" fmla="*/ 845136 h 5973007"/>
              <a:gd name="connsiteX65474" fmla="*/ 3371392 w 6884782"/>
              <a:gd name="connsiteY65474" fmla="*/ 844650 h 5973007"/>
              <a:gd name="connsiteX65475" fmla="*/ 3374166 w 6884782"/>
              <a:gd name="connsiteY65475" fmla="*/ 844935 h 5973007"/>
              <a:gd name="connsiteX65476" fmla="*/ 3386758 w 6884782"/>
              <a:gd name="connsiteY65476" fmla="*/ 850910 h 5973007"/>
              <a:gd name="connsiteX65477" fmla="*/ 3382489 w 6884782"/>
              <a:gd name="connsiteY65477" fmla="*/ 862292 h 5973007"/>
              <a:gd name="connsiteX65478" fmla="*/ 3366270 w 6884782"/>
              <a:gd name="connsiteY65478" fmla="*/ 853329 h 5973007"/>
              <a:gd name="connsiteX65479" fmla="*/ 3371392 w 6884782"/>
              <a:gd name="connsiteY65479" fmla="*/ 844650 h 5973007"/>
              <a:gd name="connsiteX65480" fmla="*/ 1568772 w 6884782"/>
              <a:gd name="connsiteY65480" fmla="*/ 843278 h 5973007"/>
              <a:gd name="connsiteX65481" fmla="*/ 1569805 w 6884782"/>
              <a:gd name="connsiteY65481" fmla="*/ 852107 h 5973007"/>
              <a:gd name="connsiteX65482" fmla="*/ 1563093 w 6884782"/>
              <a:gd name="connsiteY65482" fmla="*/ 847615 h 5973007"/>
              <a:gd name="connsiteX65483" fmla="*/ 1563919 w 6884782"/>
              <a:gd name="connsiteY65483" fmla="*/ 844827 h 5973007"/>
              <a:gd name="connsiteX65484" fmla="*/ 1568772 w 6884782"/>
              <a:gd name="connsiteY65484" fmla="*/ 843278 h 5973007"/>
              <a:gd name="connsiteX65485" fmla="*/ 3604019 w 6884782"/>
              <a:gd name="connsiteY65485" fmla="*/ 839244 h 5973007"/>
              <a:gd name="connsiteX65486" fmla="*/ 3607007 w 6884782"/>
              <a:gd name="connsiteY65486" fmla="*/ 841094 h 5973007"/>
              <a:gd name="connsiteX65487" fmla="*/ 3592281 w 6884782"/>
              <a:gd name="connsiteY65487" fmla="*/ 861723 h 5973007"/>
              <a:gd name="connsiteX65488" fmla="*/ 3589933 w 6884782"/>
              <a:gd name="connsiteY65488" fmla="*/ 858166 h 5973007"/>
              <a:gd name="connsiteX65489" fmla="*/ 3604019 w 6884782"/>
              <a:gd name="connsiteY65489" fmla="*/ 839244 h 5973007"/>
              <a:gd name="connsiteX65490" fmla="*/ 3799512 w 6884782"/>
              <a:gd name="connsiteY65490" fmla="*/ 838533 h 5973007"/>
              <a:gd name="connsiteX65491" fmla="*/ 3801646 w 6884782"/>
              <a:gd name="connsiteY65491" fmla="*/ 839244 h 5973007"/>
              <a:gd name="connsiteX65492" fmla="*/ 3781371 w 6884782"/>
              <a:gd name="connsiteY65492" fmla="*/ 866133 h 5973007"/>
              <a:gd name="connsiteX65493" fmla="*/ 3794176 w 6884782"/>
              <a:gd name="connsiteY65493" fmla="*/ 840240 h 5973007"/>
              <a:gd name="connsiteX65494" fmla="*/ 3799512 w 6884782"/>
              <a:gd name="connsiteY65494" fmla="*/ 838533 h 5973007"/>
              <a:gd name="connsiteX65495" fmla="*/ 4019547 w 6884782"/>
              <a:gd name="connsiteY65495" fmla="*/ 837821 h 5973007"/>
              <a:gd name="connsiteX65496" fmla="*/ 4025523 w 6884782"/>
              <a:gd name="connsiteY65496" fmla="*/ 841805 h 5973007"/>
              <a:gd name="connsiteX65497" fmla="*/ 4019974 w 6884782"/>
              <a:gd name="connsiteY65497" fmla="*/ 857739 h 5973007"/>
              <a:gd name="connsiteX65498" fmla="*/ 4010797 w 6884782"/>
              <a:gd name="connsiteY65498" fmla="*/ 854894 h 5973007"/>
              <a:gd name="connsiteX65499" fmla="*/ 4019547 w 6884782"/>
              <a:gd name="connsiteY65499" fmla="*/ 837821 h 5973007"/>
              <a:gd name="connsiteX65500" fmla="*/ 1743172 w 6884782"/>
              <a:gd name="connsiteY65500" fmla="*/ 837702 h 5973007"/>
              <a:gd name="connsiteX65501" fmla="*/ 1745237 w 6884782"/>
              <a:gd name="connsiteY65501" fmla="*/ 838476 h 5973007"/>
              <a:gd name="connsiteX65502" fmla="*/ 1743688 w 6884782"/>
              <a:gd name="connsiteY65502" fmla="*/ 842503 h 5973007"/>
              <a:gd name="connsiteX65503" fmla="*/ 1735531 w 6884782"/>
              <a:gd name="connsiteY65503" fmla="*/ 844517 h 5973007"/>
              <a:gd name="connsiteX65504" fmla="*/ 1736047 w 6884782"/>
              <a:gd name="connsiteY65504" fmla="*/ 841264 h 5973007"/>
              <a:gd name="connsiteX65505" fmla="*/ 1743172 w 6884782"/>
              <a:gd name="connsiteY65505" fmla="*/ 837702 h 5973007"/>
              <a:gd name="connsiteX65506" fmla="*/ 3877410 w 6884782"/>
              <a:gd name="connsiteY65506" fmla="*/ 837110 h 5973007"/>
              <a:gd name="connsiteX65507" fmla="*/ 3882959 w 6884782"/>
              <a:gd name="connsiteY65507" fmla="*/ 838960 h 5973007"/>
              <a:gd name="connsiteX65508" fmla="*/ 3869727 w 6884782"/>
              <a:gd name="connsiteY65508" fmla="*/ 847923 h 5973007"/>
              <a:gd name="connsiteX65509" fmla="*/ 3872288 w 6884782"/>
              <a:gd name="connsiteY65509" fmla="*/ 837964 h 5973007"/>
              <a:gd name="connsiteX65510" fmla="*/ 3877410 w 6884782"/>
              <a:gd name="connsiteY65510" fmla="*/ 837110 h 5973007"/>
              <a:gd name="connsiteX65511" fmla="*/ 1534181 w 6884782"/>
              <a:gd name="connsiteY65511" fmla="*/ 834449 h 5973007"/>
              <a:gd name="connsiteX65512" fmla="*/ 1537795 w 6884782"/>
              <a:gd name="connsiteY65512" fmla="*/ 834914 h 5973007"/>
              <a:gd name="connsiteX65513" fmla="*/ 1543784 w 6884782"/>
              <a:gd name="connsiteY65513" fmla="*/ 835223 h 5973007"/>
              <a:gd name="connsiteX65514" fmla="*/ 1543991 w 6884782"/>
              <a:gd name="connsiteY65514" fmla="*/ 839405 h 5973007"/>
              <a:gd name="connsiteX65515" fmla="*/ 1527882 w 6884782"/>
              <a:gd name="connsiteY65515" fmla="*/ 843433 h 5973007"/>
              <a:gd name="connsiteX65516" fmla="*/ 1526643 w 6884782"/>
              <a:gd name="connsiteY65516" fmla="*/ 840490 h 5973007"/>
              <a:gd name="connsiteX65517" fmla="*/ 1530773 w 6884782"/>
              <a:gd name="connsiteY65517" fmla="*/ 836153 h 5973007"/>
              <a:gd name="connsiteX65518" fmla="*/ 1534181 w 6884782"/>
              <a:gd name="connsiteY65518" fmla="*/ 834449 h 5973007"/>
              <a:gd name="connsiteX65519" fmla="*/ 3112514 w 6884782"/>
              <a:gd name="connsiteY65519" fmla="*/ 833269 h 5973007"/>
              <a:gd name="connsiteX65520" fmla="*/ 3116995 w 6884782"/>
              <a:gd name="connsiteY65520" fmla="*/ 837395 h 5973007"/>
              <a:gd name="connsiteX65521" fmla="*/ 3119130 w 6884782"/>
              <a:gd name="connsiteY65521" fmla="*/ 840098 h 5973007"/>
              <a:gd name="connsiteX65522" fmla="*/ 3121264 w 6884782"/>
              <a:gd name="connsiteY65522" fmla="*/ 841663 h 5973007"/>
              <a:gd name="connsiteX65523" fmla="*/ 3122544 w 6884782"/>
              <a:gd name="connsiteY65523" fmla="*/ 843939 h 5973007"/>
              <a:gd name="connsiteX65524" fmla="*/ 3122758 w 6884782"/>
              <a:gd name="connsiteY65524" fmla="*/ 843939 h 5973007"/>
              <a:gd name="connsiteX65525" fmla="*/ 3125105 w 6884782"/>
              <a:gd name="connsiteY65525" fmla="*/ 843370 h 5973007"/>
              <a:gd name="connsiteX65526" fmla="*/ 3126386 w 6884782"/>
              <a:gd name="connsiteY65526" fmla="*/ 844224 h 5973007"/>
              <a:gd name="connsiteX65527" fmla="*/ 3127239 w 6884782"/>
              <a:gd name="connsiteY65527" fmla="*/ 846215 h 5973007"/>
              <a:gd name="connsiteX65528" fmla="*/ 3123611 w 6884782"/>
              <a:gd name="connsiteY65528" fmla="*/ 846357 h 5973007"/>
              <a:gd name="connsiteX65529" fmla="*/ 3123185 w 6884782"/>
              <a:gd name="connsiteY65529" fmla="*/ 846073 h 5973007"/>
              <a:gd name="connsiteX65530" fmla="*/ 3123185 w 6884782"/>
              <a:gd name="connsiteY65530" fmla="*/ 846784 h 5973007"/>
              <a:gd name="connsiteX65531" fmla="*/ 3121477 w 6884782"/>
              <a:gd name="connsiteY65531" fmla="*/ 845647 h 5973007"/>
              <a:gd name="connsiteX65532" fmla="*/ 3120623 w 6884782"/>
              <a:gd name="connsiteY65532" fmla="*/ 845220 h 5973007"/>
              <a:gd name="connsiteX65533" fmla="*/ 3120837 w 6884782"/>
              <a:gd name="connsiteY65533" fmla="*/ 845077 h 5973007"/>
              <a:gd name="connsiteX65534" fmla="*/ 3118916 w 6884782"/>
              <a:gd name="connsiteY65534" fmla="*/ 842516 h 5973007"/>
              <a:gd name="connsiteX65535" fmla="*/ 3116568 w 6884782"/>
              <a:gd name="connsiteY65535" fmla="*/ 842090 h 5973007"/>
              <a:gd name="connsiteX65536" fmla="*/ 3112514 w 6884782"/>
              <a:gd name="connsiteY65536" fmla="*/ 833269 h 5973007"/>
              <a:gd name="connsiteX65537" fmla="*/ 1330457 w 6884782"/>
              <a:gd name="connsiteY65537" fmla="*/ 831351 h 5973007"/>
              <a:gd name="connsiteX65538" fmla="*/ 1340886 w 6884782"/>
              <a:gd name="connsiteY65538" fmla="*/ 840180 h 5973007"/>
              <a:gd name="connsiteX65539" fmla="*/ 1334174 w 6884782"/>
              <a:gd name="connsiteY65539" fmla="*/ 843588 h 5973007"/>
              <a:gd name="connsiteX65540" fmla="*/ 1330250 w 6884782"/>
              <a:gd name="connsiteY65540" fmla="*/ 834759 h 5973007"/>
              <a:gd name="connsiteX65541" fmla="*/ 1330457 w 6884782"/>
              <a:gd name="connsiteY65541" fmla="*/ 831351 h 5973007"/>
              <a:gd name="connsiteX65542" fmla="*/ 1277590 w 6884782"/>
              <a:gd name="connsiteY65542" fmla="*/ 831196 h 5973007"/>
              <a:gd name="connsiteX65543" fmla="*/ 1283991 w 6884782"/>
              <a:gd name="connsiteY65543" fmla="*/ 831815 h 5973007"/>
              <a:gd name="connsiteX65544" fmla="*/ 1279655 w 6884782"/>
              <a:gd name="connsiteY65544" fmla="*/ 841264 h 5973007"/>
              <a:gd name="connsiteX65545" fmla="*/ 1275525 w 6884782"/>
              <a:gd name="connsiteY65545" fmla="*/ 836927 h 5973007"/>
              <a:gd name="connsiteX65546" fmla="*/ 1277590 w 6884782"/>
              <a:gd name="connsiteY65546" fmla="*/ 831196 h 5973007"/>
              <a:gd name="connsiteX65547" fmla="*/ 3398923 w 6884782"/>
              <a:gd name="connsiteY65547" fmla="*/ 829997 h 5973007"/>
              <a:gd name="connsiteX65548" fmla="*/ 3404045 w 6884782"/>
              <a:gd name="connsiteY65548" fmla="*/ 838960 h 5973007"/>
              <a:gd name="connsiteX65549" fmla="*/ 3404472 w 6884782"/>
              <a:gd name="connsiteY65549" fmla="*/ 844224 h 5973007"/>
              <a:gd name="connsiteX65550" fmla="*/ 3404685 w 6884782"/>
              <a:gd name="connsiteY65550" fmla="*/ 844508 h 5973007"/>
              <a:gd name="connsiteX65551" fmla="*/ 3405752 w 6884782"/>
              <a:gd name="connsiteY65551" fmla="*/ 848492 h 5973007"/>
              <a:gd name="connsiteX65552" fmla="*/ 3404898 w 6884782"/>
              <a:gd name="connsiteY65552" fmla="*/ 849914 h 5973007"/>
              <a:gd name="connsiteX65553" fmla="*/ 3405112 w 6884782"/>
              <a:gd name="connsiteY65553" fmla="*/ 851337 h 5973007"/>
              <a:gd name="connsiteX65554" fmla="*/ 3394655 w 6884782"/>
              <a:gd name="connsiteY65554" fmla="*/ 867698 h 5973007"/>
              <a:gd name="connsiteX65555" fmla="*/ 3395508 w 6884782"/>
              <a:gd name="connsiteY65555" fmla="*/ 850768 h 5973007"/>
              <a:gd name="connsiteX65556" fmla="*/ 3393801 w 6884782"/>
              <a:gd name="connsiteY65556" fmla="*/ 850057 h 5973007"/>
              <a:gd name="connsiteX65557" fmla="*/ 3393160 w 6884782"/>
              <a:gd name="connsiteY65557" fmla="*/ 850768 h 5973007"/>
              <a:gd name="connsiteX65558" fmla="*/ 3385264 w 6884782"/>
              <a:gd name="connsiteY65558" fmla="*/ 841520 h 5973007"/>
              <a:gd name="connsiteX65559" fmla="*/ 3385904 w 6884782"/>
              <a:gd name="connsiteY65559" fmla="*/ 838675 h 5973007"/>
              <a:gd name="connsiteX65560" fmla="*/ 3385691 w 6884782"/>
              <a:gd name="connsiteY65560" fmla="*/ 838391 h 5973007"/>
              <a:gd name="connsiteX65561" fmla="*/ 3391026 w 6884782"/>
              <a:gd name="connsiteY65561" fmla="*/ 834123 h 5973007"/>
              <a:gd name="connsiteX65562" fmla="*/ 3395935 w 6884782"/>
              <a:gd name="connsiteY65562" fmla="*/ 834692 h 5973007"/>
              <a:gd name="connsiteX65563" fmla="*/ 3397429 w 6884782"/>
              <a:gd name="connsiteY65563" fmla="*/ 835403 h 5973007"/>
              <a:gd name="connsiteX65564" fmla="*/ 3248889 w 6884782"/>
              <a:gd name="connsiteY65564" fmla="*/ 829570 h 5973007"/>
              <a:gd name="connsiteX65565" fmla="*/ 3252304 w 6884782"/>
              <a:gd name="connsiteY65565" fmla="*/ 829997 h 5973007"/>
              <a:gd name="connsiteX65566" fmla="*/ 3240565 w 6884782"/>
              <a:gd name="connsiteY65566" fmla="*/ 837110 h 5973007"/>
              <a:gd name="connsiteX65567" fmla="*/ 3248889 w 6884782"/>
              <a:gd name="connsiteY65567" fmla="*/ 829570 h 5973007"/>
              <a:gd name="connsiteX65568" fmla="*/ 1671408 w 6884782"/>
              <a:gd name="connsiteY65568" fmla="*/ 829337 h 5973007"/>
              <a:gd name="connsiteX65569" fmla="*/ 1670893 w 6884782"/>
              <a:gd name="connsiteY65569" fmla="*/ 831041 h 5973007"/>
              <a:gd name="connsiteX65570" fmla="*/ 1670893 w 6884782"/>
              <a:gd name="connsiteY65570" fmla="*/ 834294 h 5973007"/>
              <a:gd name="connsiteX65571" fmla="*/ 1672338 w 6884782"/>
              <a:gd name="connsiteY65571" fmla="*/ 836927 h 5973007"/>
              <a:gd name="connsiteX65572" fmla="*/ 1674506 w 6884782"/>
              <a:gd name="connsiteY65572" fmla="*/ 838786 h 5973007"/>
              <a:gd name="connsiteX65573" fmla="*/ 1672854 w 6884782"/>
              <a:gd name="connsiteY65573" fmla="*/ 834449 h 5973007"/>
              <a:gd name="connsiteX65574" fmla="*/ 3701552 w 6884782"/>
              <a:gd name="connsiteY65574" fmla="*/ 828574 h 5973007"/>
              <a:gd name="connsiteX65575" fmla="*/ 3713076 w 6884782"/>
              <a:gd name="connsiteY65575" fmla="*/ 841805 h 5973007"/>
              <a:gd name="connsiteX65576" fmla="*/ 3715424 w 6884782"/>
              <a:gd name="connsiteY65576" fmla="*/ 850341 h 5973007"/>
              <a:gd name="connsiteX65577" fmla="*/ 3716064 w 6884782"/>
              <a:gd name="connsiteY65577" fmla="*/ 865279 h 5973007"/>
              <a:gd name="connsiteX65578" fmla="*/ 3713076 w 6884782"/>
              <a:gd name="connsiteY65578" fmla="*/ 867982 h 5973007"/>
              <a:gd name="connsiteX65579" fmla="*/ 3693655 w 6884782"/>
              <a:gd name="connsiteY65579" fmla="*/ 855463 h 5973007"/>
              <a:gd name="connsiteX65580" fmla="*/ 3694509 w 6884782"/>
              <a:gd name="connsiteY65580" fmla="*/ 829570 h 5973007"/>
              <a:gd name="connsiteX65581" fmla="*/ 3701552 w 6884782"/>
              <a:gd name="connsiteY65581" fmla="*/ 828574 h 5973007"/>
              <a:gd name="connsiteX65582" fmla="*/ 3503285 w 6884782"/>
              <a:gd name="connsiteY65582" fmla="*/ 828289 h 5973007"/>
              <a:gd name="connsiteX65583" fmla="*/ 3507767 w 6884782"/>
              <a:gd name="connsiteY65583" fmla="*/ 828432 h 5973007"/>
              <a:gd name="connsiteX65584" fmla="*/ 3514169 w 6884782"/>
              <a:gd name="connsiteY65584" fmla="*/ 837253 h 5973007"/>
              <a:gd name="connsiteX65585" fmla="*/ 3514383 w 6884782"/>
              <a:gd name="connsiteY65585" fmla="*/ 841805 h 5973007"/>
              <a:gd name="connsiteX65586" fmla="*/ 3501578 w 6884782"/>
              <a:gd name="connsiteY65586" fmla="*/ 841520 h 5973007"/>
              <a:gd name="connsiteX65587" fmla="*/ 3498163 w 6884782"/>
              <a:gd name="connsiteY65587" fmla="*/ 841805 h 5973007"/>
              <a:gd name="connsiteX65588" fmla="*/ 3500511 w 6884782"/>
              <a:gd name="connsiteY65588" fmla="*/ 844793 h 5973007"/>
              <a:gd name="connsiteX65589" fmla="*/ 3501151 w 6884782"/>
              <a:gd name="connsiteY65589" fmla="*/ 852760 h 5973007"/>
              <a:gd name="connsiteX65590" fmla="*/ 3497523 w 6884782"/>
              <a:gd name="connsiteY65590" fmla="*/ 861154 h 5973007"/>
              <a:gd name="connsiteX65591" fmla="*/ 3501364 w 6884782"/>
              <a:gd name="connsiteY65591" fmla="*/ 863145 h 5973007"/>
              <a:gd name="connsiteX65592" fmla="*/ 3497096 w 6884782"/>
              <a:gd name="connsiteY65592" fmla="*/ 873389 h 5973007"/>
              <a:gd name="connsiteX65593" fmla="*/ 3493468 w 6884782"/>
              <a:gd name="connsiteY65593" fmla="*/ 867271 h 5973007"/>
              <a:gd name="connsiteX65594" fmla="*/ 3495602 w 6884782"/>
              <a:gd name="connsiteY65594" fmla="*/ 863714 h 5973007"/>
              <a:gd name="connsiteX65595" fmla="*/ 3491334 w 6884782"/>
              <a:gd name="connsiteY65595" fmla="*/ 866133 h 5973007"/>
              <a:gd name="connsiteX65596" fmla="*/ 3483864 w 6884782"/>
              <a:gd name="connsiteY65596" fmla="*/ 866275 h 5973007"/>
              <a:gd name="connsiteX65597" fmla="*/ 3480876 w 6884782"/>
              <a:gd name="connsiteY65597" fmla="*/ 865564 h 5973007"/>
              <a:gd name="connsiteX65598" fmla="*/ 3475540 w 6884782"/>
              <a:gd name="connsiteY65598" fmla="*/ 865991 h 5973007"/>
              <a:gd name="connsiteX65599" fmla="*/ 3474473 w 6884782"/>
              <a:gd name="connsiteY65599" fmla="*/ 850626 h 5973007"/>
              <a:gd name="connsiteX65600" fmla="*/ 3485571 w 6884782"/>
              <a:gd name="connsiteY65600" fmla="*/ 836826 h 5973007"/>
              <a:gd name="connsiteX65601" fmla="*/ 3489413 w 6884782"/>
              <a:gd name="connsiteY65601" fmla="*/ 836683 h 5973007"/>
              <a:gd name="connsiteX65602" fmla="*/ 3490480 w 6884782"/>
              <a:gd name="connsiteY65602" fmla="*/ 833126 h 5973007"/>
              <a:gd name="connsiteX65603" fmla="*/ 3503285 w 6884782"/>
              <a:gd name="connsiteY65603" fmla="*/ 828289 h 5973007"/>
              <a:gd name="connsiteX65604" fmla="*/ 3262975 w 6884782"/>
              <a:gd name="connsiteY65604" fmla="*/ 827863 h 5973007"/>
              <a:gd name="connsiteX65605" fmla="*/ 3265749 w 6884782"/>
              <a:gd name="connsiteY65605" fmla="*/ 829285 h 5973007"/>
              <a:gd name="connsiteX65606" fmla="*/ 3265962 w 6884782"/>
              <a:gd name="connsiteY65606" fmla="*/ 835403 h 5973007"/>
              <a:gd name="connsiteX65607" fmla="*/ 3261480 w 6884782"/>
              <a:gd name="connsiteY65607" fmla="*/ 839955 h 5973007"/>
              <a:gd name="connsiteX65608" fmla="*/ 3260627 w 6884782"/>
              <a:gd name="connsiteY65608" fmla="*/ 843512 h 5973007"/>
              <a:gd name="connsiteX65609" fmla="*/ 3259346 w 6884782"/>
              <a:gd name="connsiteY65609" fmla="*/ 843512 h 5973007"/>
              <a:gd name="connsiteX65610" fmla="*/ 3261053 w 6884782"/>
              <a:gd name="connsiteY65610" fmla="*/ 829001 h 5973007"/>
              <a:gd name="connsiteX65611" fmla="*/ 3262975 w 6884782"/>
              <a:gd name="connsiteY65611" fmla="*/ 827863 h 5973007"/>
              <a:gd name="connsiteX65612" fmla="*/ 1473260 w 6884782"/>
              <a:gd name="connsiteY65612" fmla="*/ 827014 h 5973007"/>
              <a:gd name="connsiteX65613" fmla="*/ 1468510 w 6884782"/>
              <a:gd name="connsiteY65613" fmla="*/ 839870 h 5973007"/>
              <a:gd name="connsiteX65614" fmla="*/ 1465722 w 6884782"/>
              <a:gd name="connsiteY65614" fmla="*/ 833674 h 5973007"/>
              <a:gd name="connsiteX65615" fmla="*/ 1469027 w 6884782"/>
              <a:gd name="connsiteY65615" fmla="*/ 827943 h 5973007"/>
              <a:gd name="connsiteX65616" fmla="*/ 1473260 w 6884782"/>
              <a:gd name="connsiteY65616" fmla="*/ 827014 h 5973007"/>
              <a:gd name="connsiteX65617" fmla="*/ 3071110 w 6884782"/>
              <a:gd name="connsiteY65617" fmla="*/ 824448 h 5973007"/>
              <a:gd name="connsiteX65618" fmla="*/ 3073884 w 6884782"/>
              <a:gd name="connsiteY65618" fmla="*/ 824590 h 5973007"/>
              <a:gd name="connsiteX65619" fmla="*/ 3076018 w 6884782"/>
              <a:gd name="connsiteY65619" fmla="*/ 827578 h 5973007"/>
              <a:gd name="connsiteX65620" fmla="*/ 3074311 w 6884782"/>
              <a:gd name="connsiteY65620" fmla="*/ 832416 h 5973007"/>
              <a:gd name="connsiteX65621" fmla="*/ 3071537 w 6884782"/>
              <a:gd name="connsiteY65621" fmla="*/ 832273 h 5973007"/>
              <a:gd name="connsiteX65622" fmla="*/ 3068762 w 6884782"/>
              <a:gd name="connsiteY65622" fmla="*/ 830424 h 5973007"/>
              <a:gd name="connsiteX65623" fmla="*/ 3071110 w 6884782"/>
              <a:gd name="connsiteY65623" fmla="*/ 824448 h 5973007"/>
              <a:gd name="connsiteX65624" fmla="*/ 4669197 w 6884782"/>
              <a:gd name="connsiteY65624" fmla="*/ 823310 h 5973007"/>
              <a:gd name="connsiteX65625" fmla="*/ 4670904 w 6884782"/>
              <a:gd name="connsiteY65625" fmla="*/ 824733 h 5973007"/>
              <a:gd name="connsiteX65626" fmla="*/ 4672185 w 6884782"/>
              <a:gd name="connsiteY65626" fmla="*/ 826013 h 5973007"/>
              <a:gd name="connsiteX65627" fmla="*/ 4671758 w 6884782"/>
              <a:gd name="connsiteY65627" fmla="*/ 827152 h 5973007"/>
              <a:gd name="connsiteX65628" fmla="*/ 4667276 w 6884782"/>
              <a:gd name="connsiteY65628" fmla="*/ 828147 h 5973007"/>
              <a:gd name="connsiteX65629" fmla="*/ 4667490 w 6884782"/>
              <a:gd name="connsiteY65629" fmla="*/ 825871 h 5973007"/>
              <a:gd name="connsiteX65630" fmla="*/ 4666423 w 6884782"/>
              <a:gd name="connsiteY65630" fmla="*/ 825871 h 5973007"/>
              <a:gd name="connsiteX65631" fmla="*/ 4667703 w 6884782"/>
              <a:gd name="connsiteY65631" fmla="*/ 823595 h 5973007"/>
              <a:gd name="connsiteX65632" fmla="*/ 4668771 w 6884782"/>
              <a:gd name="connsiteY65632" fmla="*/ 823595 h 5973007"/>
              <a:gd name="connsiteX65633" fmla="*/ 4669197 w 6884782"/>
              <a:gd name="connsiteY65633" fmla="*/ 823310 h 5973007"/>
              <a:gd name="connsiteX65634" fmla="*/ 1744927 w 6884782"/>
              <a:gd name="connsiteY65634" fmla="*/ 822367 h 5973007"/>
              <a:gd name="connsiteX65635" fmla="*/ 1749470 w 6884782"/>
              <a:gd name="connsiteY65635" fmla="*/ 830576 h 5973007"/>
              <a:gd name="connsiteX65636" fmla="*/ 1739764 w 6884782"/>
              <a:gd name="connsiteY65636" fmla="*/ 832590 h 5973007"/>
              <a:gd name="connsiteX65637" fmla="*/ 1738732 w 6884782"/>
              <a:gd name="connsiteY65637" fmla="*/ 824691 h 5973007"/>
              <a:gd name="connsiteX65638" fmla="*/ 1744927 w 6884782"/>
              <a:gd name="connsiteY65638" fmla="*/ 822367 h 5973007"/>
              <a:gd name="connsiteX65639" fmla="*/ 1862846 w 6884782"/>
              <a:gd name="connsiteY65639" fmla="*/ 821592 h 5973007"/>
              <a:gd name="connsiteX65640" fmla="*/ 1864601 w 6884782"/>
              <a:gd name="connsiteY65640" fmla="*/ 822677 h 5973007"/>
              <a:gd name="connsiteX65641" fmla="*/ 1866460 w 6884782"/>
              <a:gd name="connsiteY65641" fmla="*/ 825620 h 5973007"/>
              <a:gd name="connsiteX65642" fmla="*/ 1865943 w 6884782"/>
              <a:gd name="connsiteY65642" fmla="*/ 827943 h 5973007"/>
              <a:gd name="connsiteX65643" fmla="*/ 1863981 w 6884782"/>
              <a:gd name="connsiteY65643" fmla="*/ 827943 h 5973007"/>
              <a:gd name="connsiteX65644" fmla="*/ 1862536 w 6884782"/>
              <a:gd name="connsiteY65644" fmla="*/ 828718 h 5973007"/>
              <a:gd name="connsiteX65645" fmla="*/ 1862020 w 6884782"/>
              <a:gd name="connsiteY65645" fmla="*/ 827943 h 5973007"/>
              <a:gd name="connsiteX65646" fmla="*/ 1860780 w 6884782"/>
              <a:gd name="connsiteY65646" fmla="*/ 827479 h 5973007"/>
              <a:gd name="connsiteX65647" fmla="*/ 1860471 w 6884782"/>
              <a:gd name="connsiteY65647" fmla="*/ 823761 h 5973007"/>
              <a:gd name="connsiteX65648" fmla="*/ 1861297 w 6884782"/>
              <a:gd name="connsiteY65648" fmla="*/ 822057 h 5973007"/>
              <a:gd name="connsiteX65649" fmla="*/ 1862846 w 6884782"/>
              <a:gd name="connsiteY65649" fmla="*/ 821592 h 5973007"/>
              <a:gd name="connsiteX65650" fmla="*/ 1780654 w 6884782"/>
              <a:gd name="connsiteY65650" fmla="*/ 819734 h 5973007"/>
              <a:gd name="connsiteX65651" fmla="*/ 1806881 w 6884782"/>
              <a:gd name="connsiteY65651" fmla="*/ 837392 h 5973007"/>
              <a:gd name="connsiteX65652" fmla="*/ 1807191 w 6884782"/>
              <a:gd name="connsiteY65652" fmla="*/ 837857 h 5973007"/>
              <a:gd name="connsiteX65653" fmla="*/ 1807604 w 6884782"/>
              <a:gd name="connsiteY65653" fmla="*/ 835688 h 5973007"/>
              <a:gd name="connsiteX65654" fmla="*/ 1809772 w 6884782"/>
              <a:gd name="connsiteY65654" fmla="*/ 832590 h 5973007"/>
              <a:gd name="connsiteX65655" fmla="*/ 1819581 w 6884782"/>
              <a:gd name="connsiteY65655" fmla="*/ 831506 h 5973007"/>
              <a:gd name="connsiteX65656" fmla="*/ 1820717 w 6884782"/>
              <a:gd name="connsiteY65656" fmla="*/ 829957 h 5973007"/>
              <a:gd name="connsiteX65657" fmla="*/ 1824538 w 6884782"/>
              <a:gd name="connsiteY65657" fmla="*/ 828563 h 5973007"/>
              <a:gd name="connsiteX65658" fmla="*/ 1825054 w 6884782"/>
              <a:gd name="connsiteY65658" fmla="*/ 830112 h 5973007"/>
              <a:gd name="connsiteX65659" fmla="*/ 1821234 w 6884782"/>
              <a:gd name="connsiteY65659" fmla="*/ 832435 h 5973007"/>
              <a:gd name="connsiteX65660" fmla="*/ 1821027 w 6884782"/>
              <a:gd name="connsiteY65660" fmla="*/ 833210 h 5973007"/>
              <a:gd name="connsiteX65661" fmla="*/ 1822472 w 6884782"/>
              <a:gd name="connsiteY65661" fmla="*/ 835069 h 5973007"/>
              <a:gd name="connsiteX65662" fmla="*/ 1821130 w 6884782"/>
              <a:gd name="connsiteY65662" fmla="*/ 843433 h 5973007"/>
              <a:gd name="connsiteX65663" fmla="*/ 1814005 w 6884782"/>
              <a:gd name="connsiteY65663" fmla="*/ 845602 h 5973007"/>
              <a:gd name="connsiteX65664" fmla="*/ 1812250 w 6884782"/>
              <a:gd name="connsiteY65664" fmla="*/ 845447 h 5973007"/>
              <a:gd name="connsiteX65665" fmla="*/ 1808017 w 6884782"/>
              <a:gd name="connsiteY65665" fmla="*/ 847150 h 5973007"/>
              <a:gd name="connsiteX65666" fmla="*/ 1780654 w 6884782"/>
              <a:gd name="connsiteY65666" fmla="*/ 819734 h 5973007"/>
              <a:gd name="connsiteX65667" fmla="*/ 1469853 w 6884782"/>
              <a:gd name="connsiteY65667" fmla="*/ 819579 h 5973007"/>
              <a:gd name="connsiteX65668" fmla="*/ 1471918 w 6884782"/>
              <a:gd name="connsiteY65668" fmla="*/ 821127 h 5973007"/>
              <a:gd name="connsiteX65669" fmla="*/ 1472124 w 6884782"/>
              <a:gd name="connsiteY65669" fmla="*/ 825310 h 5973007"/>
              <a:gd name="connsiteX65670" fmla="*/ 1464483 w 6884782"/>
              <a:gd name="connsiteY65670" fmla="*/ 824845 h 5973007"/>
              <a:gd name="connsiteX65671" fmla="*/ 1464070 w 6884782"/>
              <a:gd name="connsiteY65671" fmla="*/ 822212 h 5973007"/>
              <a:gd name="connsiteX65672" fmla="*/ 1469853 w 6884782"/>
              <a:gd name="connsiteY65672" fmla="*/ 819579 h 5973007"/>
              <a:gd name="connsiteX65673" fmla="*/ 3616611 w 6884782"/>
              <a:gd name="connsiteY65673" fmla="*/ 818900 h 5973007"/>
              <a:gd name="connsiteX65674" fmla="*/ 3616825 w 6884782"/>
              <a:gd name="connsiteY65674" fmla="*/ 832273 h 5973007"/>
              <a:gd name="connsiteX65675" fmla="*/ 3616611 w 6884782"/>
              <a:gd name="connsiteY65675" fmla="*/ 818900 h 5973007"/>
              <a:gd name="connsiteX65676" fmla="*/ 1500416 w 6884782"/>
              <a:gd name="connsiteY65676" fmla="*/ 818649 h 5973007"/>
              <a:gd name="connsiteX65677" fmla="*/ 1505476 w 6884782"/>
              <a:gd name="connsiteY65677" fmla="*/ 821127 h 5973007"/>
              <a:gd name="connsiteX65678" fmla="*/ 1500520 w 6884782"/>
              <a:gd name="connsiteY65678" fmla="*/ 829647 h 5973007"/>
              <a:gd name="connsiteX65679" fmla="*/ 1496905 w 6884782"/>
              <a:gd name="connsiteY65679" fmla="*/ 828098 h 5973007"/>
              <a:gd name="connsiteX65680" fmla="*/ 1495667 w 6884782"/>
              <a:gd name="connsiteY65680" fmla="*/ 825465 h 5973007"/>
              <a:gd name="connsiteX65681" fmla="*/ 1500416 w 6884782"/>
              <a:gd name="connsiteY65681" fmla="*/ 818649 h 5973007"/>
              <a:gd name="connsiteX65682" fmla="*/ 3227120 w 6884782"/>
              <a:gd name="connsiteY65682" fmla="*/ 816908 h 5973007"/>
              <a:gd name="connsiteX65683" fmla="*/ 3228400 w 6884782"/>
              <a:gd name="connsiteY65683" fmla="*/ 819327 h 5973007"/>
              <a:gd name="connsiteX65684" fmla="*/ 3228400 w 6884782"/>
              <a:gd name="connsiteY65684" fmla="*/ 823168 h 5973007"/>
              <a:gd name="connsiteX65685" fmla="*/ 3222638 w 6884782"/>
              <a:gd name="connsiteY65685" fmla="*/ 824022 h 5973007"/>
              <a:gd name="connsiteX65686" fmla="*/ 3221357 w 6884782"/>
              <a:gd name="connsiteY65686" fmla="*/ 821461 h 5973007"/>
              <a:gd name="connsiteX65687" fmla="*/ 3222425 w 6884782"/>
              <a:gd name="connsiteY65687" fmla="*/ 817904 h 5973007"/>
              <a:gd name="connsiteX65688" fmla="*/ 3227120 w 6884782"/>
              <a:gd name="connsiteY65688" fmla="*/ 816908 h 5973007"/>
              <a:gd name="connsiteX65689" fmla="*/ 1323332 w 6884782"/>
              <a:gd name="connsiteY65689" fmla="*/ 816791 h 5973007"/>
              <a:gd name="connsiteX65690" fmla="*/ 1318169 w 6884782"/>
              <a:gd name="connsiteY65690" fmla="*/ 842039 h 5973007"/>
              <a:gd name="connsiteX65691" fmla="*/ 1314555 w 6884782"/>
              <a:gd name="connsiteY65691" fmla="*/ 836617 h 5973007"/>
              <a:gd name="connsiteX65692" fmla="*/ 1323332 w 6884782"/>
              <a:gd name="connsiteY65692" fmla="*/ 816791 h 5973007"/>
              <a:gd name="connsiteX65693" fmla="*/ 2815112 w 6884782"/>
              <a:gd name="connsiteY65693" fmla="*/ 816431 h 5973007"/>
              <a:gd name="connsiteX65694" fmla="*/ 2815585 w 6884782"/>
              <a:gd name="connsiteY65694" fmla="*/ 818817 h 5973007"/>
              <a:gd name="connsiteX65695" fmla="*/ 2816039 w 6884782"/>
              <a:gd name="connsiteY65695" fmla="*/ 820825 h 5973007"/>
              <a:gd name="connsiteX65696" fmla="*/ 2827385 w 6884782"/>
              <a:gd name="connsiteY65696" fmla="*/ 826013 h 5973007"/>
              <a:gd name="connsiteX65697" fmla="*/ 2828665 w 6884782"/>
              <a:gd name="connsiteY65697" fmla="*/ 828147 h 5973007"/>
              <a:gd name="connsiteX65698" fmla="*/ 2827171 w 6884782"/>
              <a:gd name="connsiteY65698" fmla="*/ 823026 h 5973007"/>
              <a:gd name="connsiteX65699" fmla="*/ 2826744 w 6884782"/>
              <a:gd name="connsiteY65699" fmla="*/ 823737 h 5973007"/>
              <a:gd name="connsiteX65700" fmla="*/ 2819488 w 6884782"/>
              <a:gd name="connsiteY65700" fmla="*/ 817620 h 5973007"/>
              <a:gd name="connsiteX65701" fmla="*/ 3758108 w 6884782"/>
              <a:gd name="connsiteY65701" fmla="*/ 815486 h 5973007"/>
              <a:gd name="connsiteX65702" fmla="*/ 3760456 w 6884782"/>
              <a:gd name="connsiteY65702" fmla="*/ 817193 h 5973007"/>
              <a:gd name="connsiteX65703" fmla="*/ 3759388 w 6884782"/>
              <a:gd name="connsiteY65703" fmla="*/ 823595 h 5973007"/>
              <a:gd name="connsiteX65704" fmla="*/ 3756828 w 6884782"/>
              <a:gd name="connsiteY65704" fmla="*/ 825017 h 5973007"/>
              <a:gd name="connsiteX65705" fmla="*/ 3755761 w 6884782"/>
              <a:gd name="connsiteY65705" fmla="*/ 824306 h 5973007"/>
              <a:gd name="connsiteX65706" fmla="*/ 3752132 w 6884782"/>
              <a:gd name="connsiteY65706" fmla="*/ 821888 h 5973007"/>
              <a:gd name="connsiteX65707" fmla="*/ 3753627 w 6884782"/>
              <a:gd name="connsiteY65707" fmla="*/ 815628 h 5973007"/>
              <a:gd name="connsiteX65708" fmla="*/ 3758108 w 6884782"/>
              <a:gd name="connsiteY65708" fmla="*/ 815486 h 5973007"/>
              <a:gd name="connsiteX65709" fmla="*/ 1457668 w 6884782"/>
              <a:gd name="connsiteY65709" fmla="*/ 814467 h 5973007"/>
              <a:gd name="connsiteX65710" fmla="*/ 1454570 w 6884782"/>
              <a:gd name="connsiteY65710" fmla="*/ 821437 h 5973007"/>
              <a:gd name="connsiteX65711" fmla="*/ 1457668 w 6884782"/>
              <a:gd name="connsiteY65711" fmla="*/ 814467 h 5973007"/>
              <a:gd name="connsiteX65712" fmla="*/ 3884666 w 6884782"/>
              <a:gd name="connsiteY65712" fmla="*/ 813351 h 5973007"/>
              <a:gd name="connsiteX65713" fmla="*/ 3887440 w 6884782"/>
              <a:gd name="connsiteY65713" fmla="*/ 813636 h 5973007"/>
              <a:gd name="connsiteX65714" fmla="*/ 3887014 w 6884782"/>
              <a:gd name="connsiteY65714" fmla="*/ 817193 h 5973007"/>
              <a:gd name="connsiteX65715" fmla="*/ 3876556 w 6884782"/>
              <a:gd name="connsiteY65715" fmla="*/ 821745 h 5973007"/>
              <a:gd name="connsiteX65716" fmla="*/ 3884666 w 6884782"/>
              <a:gd name="connsiteY65716" fmla="*/ 813351 h 5973007"/>
              <a:gd name="connsiteX65717" fmla="*/ 1169377 w 6884782"/>
              <a:gd name="connsiteY65717" fmla="*/ 812298 h 5973007"/>
              <a:gd name="connsiteX65718" fmla="*/ 1177844 w 6884782"/>
              <a:gd name="connsiteY65718" fmla="*/ 838476 h 5973007"/>
              <a:gd name="connsiteX65719" fmla="*/ 1169377 w 6884782"/>
              <a:gd name="connsiteY65719" fmla="*/ 812298 h 5973007"/>
              <a:gd name="connsiteX65720" fmla="*/ 3098001 w 6884782"/>
              <a:gd name="connsiteY65720" fmla="*/ 810791 h 5973007"/>
              <a:gd name="connsiteX65721" fmla="*/ 3108885 w 6884782"/>
              <a:gd name="connsiteY65721" fmla="*/ 816908 h 5973007"/>
              <a:gd name="connsiteX65722" fmla="*/ 3089464 w 6884782"/>
              <a:gd name="connsiteY65722" fmla="*/ 817193 h 5973007"/>
              <a:gd name="connsiteX65723" fmla="*/ 3098001 w 6884782"/>
              <a:gd name="connsiteY65723" fmla="*/ 810791 h 5973007"/>
              <a:gd name="connsiteX65724" fmla="*/ 3232242 w 6884782"/>
              <a:gd name="connsiteY65724" fmla="*/ 809368 h 5973007"/>
              <a:gd name="connsiteX65725" fmla="*/ 3237578 w 6884782"/>
              <a:gd name="connsiteY65725" fmla="*/ 812498 h 5973007"/>
              <a:gd name="connsiteX65726" fmla="*/ 3243980 w 6884782"/>
              <a:gd name="connsiteY65726" fmla="*/ 824306 h 5973007"/>
              <a:gd name="connsiteX65727" fmla="*/ 3233309 w 6884782"/>
              <a:gd name="connsiteY65727" fmla="*/ 826156 h 5973007"/>
              <a:gd name="connsiteX65728" fmla="*/ 3232242 w 6884782"/>
              <a:gd name="connsiteY65728" fmla="*/ 824875 h 5973007"/>
              <a:gd name="connsiteX65729" fmla="*/ 3227333 w 6884782"/>
              <a:gd name="connsiteY65729" fmla="*/ 810791 h 5973007"/>
              <a:gd name="connsiteX65730" fmla="*/ 3232242 w 6884782"/>
              <a:gd name="connsiteY65730" fmla="*/ 809368 h 5973007"/>
              <a:gd name="connsiteX65731" fmla="*/ 3006871 w 6884782"/>
              <a:gd name="connsiteY65731" fmla="*/ 807518 h 5973007"/>
              <a:gd name="connsiteX65732" fmla="*/ 2995986 w 6884782"/>
              <a:gd name="connsiteY65732" fmla="*/ 815770 h 5973007"/>
              <a:gd name="connsiteX65733" fmla="*/ 3006871 w 6884782"/>
              <a:gd name="connsiteY65733" fmla="*/ 807518 h 5973007"/>
              <a:gd name="connsiteX65734" fmla="*/ 1281100 w 6884782"/>
              <a:gd name="connsiteY65734" fmla="*/ 806723 h 5973007"/>
              <a:gd name="connsiteX65735" fmla="*/ 1278415 w 6884782"/>
              <a:gd name="connsiteY65735" fmla="*/ 826394 h 5973007"/>
              <a:gd name="connsiteX65736" fmla="*/ 1274285 w 6884782"/>
              <a:gd name="connsiteY65736" fmla="*/ 824691 h 5973007"/>
              <a:gd name="connsiteX65737" fmla="*/ 1273769 w 6884782"/>
              <a:gd name="connsiteY65737" fmla="*/ 819579 h 5973007"/>
              <a:gd name="connsiteX65738" fmla="*/ 1273666 w 6884782"/>
              <a:gd name="connsiteY65738" fmla="*/ 815397 h 5973007"/>
              <a:gd name="connsiteX65739" fmla="*/ 1281100 w 6884782"/>
              <a:gd name="connsiteY65739" fmla="*/ 806723 h 5973007"/>
              <a:gd name="connsiteX65740" fmla="*/ 1610591 w 6884782"/>
              <a:gd name="connsiteY65740" fmla="*/ 806568 h 5973007"/>
              <a:gd name="connsiteX65741" fmla="*/ 1611933 w 6884782"/>
              <a:gd name="connsiteY65741" fmla="*/ 808736 h 5973007"/>
              <a:gd name="connsiteX65742" fmla="*/ 1607287 w 6884782"/>
              <a:gd name="connsiteY65742" fmla="*/ 815087 h 5973007"/>
              <a:gd name="connsiteX65743" fmla="*/ 1608835 w 6884782"/>
              <a:gd name="connsiteY65743" fmla="*/ 807342 h 5973007"/>
              <a:gd name="connsiteX65744" fmla="*/ 1610591 w 6884782"/>
              <a:gd name="connsiteY65744" fmla="*/ 806568 h 5973007"/>
              <a:gd name="connsiteX65745" fmla="*/ 3571579 w 6884782"/>
              <a:gd name="connsiteY65745" fmla="*/ 806380 h 5973007"/>
              <a:gd name="connsiteX65746" fmla="*/ 3572220 w 6884782"/>
              <a:gd name="connsiteY65746" fmla="*/ 807376 h 5973007"/>
              <a:gd name="connsiteX65747" fmla="*/ 3572433 w 6884782"/>
              <a:gd name="connsiteY65747" fmla="*/ 807518 h 5973007"/>
              <a:gd name="connsiteX65748" fmla="*/ 3572220 w 6884782"/>
              <a:gd name="connsiteY65748" fmla="*/ 809937 h 5973007"/>
              <a:gd name="connsiteX65749" fmla="*/ 3570726 w 6884782"/>
              <a:gd name="connsiteY65749" fmla="*/ 812213 h 5973007"/>
              <a:gd name="connsiteX65750" fmla="*/ 3567738 w 6884782"/>
              <a:gd name="connsiteY65750" fmla="*/ 808799 h 5973007"/>
              <a:gd name="connsiteX65751" fmla="*/ 3569659 w 6884782"/>
              <a:gd name="connsiteY65751" fmla="*/ 807660 h 5973007"/>
              <a:gd name="connsiteX65752" fmla="*/ 3569232 w 6884782"/>
              <a:gd name="connsiteY65752" fmla="*/ 806665 h 5973007"/>
              <a:gd name="connsiteX65753" fmla="*/ 3571579 w 6884782"/>
              <a:gd name="connsiteY65753" fmla="*/ 806380 h 5973007"/>
              <a:gd name="connsiteX65754" fmla="*/ 1869144 w 6884782"/>
              <a:gd name="connsiteY65754" fmla="*/ 805328 h 5973007"/>
              <a:gd name="connsiteX65755" fmla="*/ 1861710 w 6884782"/>
              <a:gd name="connsiteY65755" fmla="*/ 821592 h 5973007"/>
              <a:gd name="connsiteX65756" fmla="*/ 1860058 w 6884782"/>
              <a:gd name="connsiteY65756" fmla="*/ 818494 h 5973007"/>
              <a:gd name="connsiteX65757" fmla="*/ 1860264 w 6884782"/>
              <a:gd name="connsiteY65757" fmla="*/ 814467 h 5973007"/>
              <a:gd name="connsiteX65758" fmla="*/ 1863465 w 6884782"/>
              <a:gd name="connsiteY65758" fmla="*/ 806877 h 5973007"/>
              <a:gd name="connsiteX65759" fmla="*/ 1869144 w 6884782"/>
              <a:gd name="connsiteY65759" fmla="*/ 805328 h 5973007"/>
              <a:gd name="connsiteX65760" fmla="*/ 3842623 w 6884782"/>
              <a:gd name="connsiteY65760" fmla="*/ 805100 h 5973007"/>
              <a:gd name="connsiteX65761" fmla="*/ 3846678 w 6884782"/>
              <a:gd name="connsiteY65761" fmla="*/ 813921 h 5973007"/>
              <a:gd name="connsiteX65762" fmla="*/ 3833232 w 6884782"/>
              <a:gd name="connsiteY65762" fmla="*/ 842943 h 5973007"/>
              <a:gd name="connsiteX65763" fmla="*/ 3842623 w 6884782"/>
              <a:gd name="connsiteY65763" fmla="*/ 805100 h 5973007"/>
              <a:gd name="connsiteX65764" fmla="*/ 1717358 w 6884782"/>
              <a:gd name="connsiteY65764" fmla="*/ 804089 h 5973007"/>
              <a:gd name="connsiteX65765" fmla="*/ 1719216 w 6884782"/>
              <a:gd name="connsiteY65765" fmla="*/ 805483 h 5973007"/>
              <a:gd name="connsiteX65766" fmla="*/ 1716119 w 6884782"/>
              <a:gd name="connsiteY65766" fmla="*/ 807807 h 5973007"/>
              <a:gd name="connsiteX65767" fmla="*/ 1715293 w 6884782"/>
              <a:gd name="connsiteY65767" fmla="*/ 806103 h 5973007"/>
              <a:gd name="connsiteX65768" fmla="*/ 1715809 w 6884782"/>
              <a:gd name="connsiteY65768" fmla="*/ 804554 h 5973007"/>
              <a:gd name="connsiteX65769" fmla="*/ 1717358 w 6884782"/>
              <a:gd name="connsiteY65769" fmla="*/ 804089 h 5973007"/>
              <a:gd name="connsiteX65770" fmla="*/ 3603166 w 6884782"/>
              <a:gd name="connsiteY65770" fmla="*/ 803962 h 5973007"/>
              <a:gd name="connsiteX65771" fmla="*/ 3615117 w 6884782"/>
              <a:gd name="connsiteY65771" fmla="*/ 807376 h 5973007"/>
              <a:gd name="connsiteX65772" fmla="*/ 3603166 w 6884782"/>
              <a:gd name="connsiteY65772" fmla="*/ 803962 h 5973007"/>
              <a:gd name="connsiteX65773" fmla="*/ 1183523 w 6884782"/>
              <a:gd name="connsiteY65773" fmla="*/ 803934 h 5973007"/>
              <a:gd name="connsiteX65774" fmla="*/ 1192609 w 6884782"/>
              <a:gd name="connsiteY65774" fmla="*/ 805328 h 5973007"/>
              <a:gd name="connsiteX65775" fmla="*/ 1182903 w 6884782"/>
              <a:gd name="connsiteY65775" fmla="*/ 808736 h 5973007"/>
              <a:gd name="connsiteX65776" fmla="*/ 1183007 w 6884782"/>
              <a:gd name="connsiteY65776" fmla="*/ 806568 h 5973007"/>
              <a:gd name="connsiteX65777" fmla="*/ 1183523 w 6884782"/>
              <a:gd name="connsiteY65777" fmla="*/ 803934 h 5973007"/>
              <a:gd name="connsiteX65778" fmla="*/ 3019676 w 6884782"/>
              <a:gd name="connsiteY65778" fmla="*/ 803820 h 5973007"/>
              <a:gd name="connsiteX65779" fmla="*/ 3025651 w 6884782"/>
              <a:gd name="connsiteY65779" fmla="*/ 804389 h 5973007"/>
              <a:gd name="connsiteX65780" fmla="*/ 3031414 w 6884782"/>
              <a:gd name="connsiteY65780" fmla="*/ 813209 h 5973007"/>
              <a:gd name="connsiteX65781" fmla="*/ 3021383 w 6884782"/>
              <a:gd name="connsiteY65781" fmla="*/ 819753 h 5973007"/>
              <a:gd name="connsiteX65782" fmla="*/ 3019676 w 6884782"/>
              <a:gd name="connsiteY65782" fmla="*/ 803820 h 5973007"/>
              <a:gd name="connsiteX65783" fmla="*/ 1707342 w 6884782"/>
              <a:gd name="connsiteY65783" fmla="*/ 803160 h 5973007"/>
              <a:gd name="connsiteX65784" fmla="*/ 1707961 w 6884782"/>
              <a:gd name="connsiteY65784" fmla="*/ 809975 h 5973007"/>
              <a:gd name="connsiteX65785" fmla="*/ 1706103 w 6884782"/>
              <a:gd name="connsiteY65785" fmla="*/ 810594 h 5973007"/>
              <a:gd name="connsiteX65786" fmla="*/ 1704657 w 6884782"/>
              <a:gd name="connsiteY65786" fmla="*/ 808891 h 5973007"/>
              <a:gd name="connsiteX65787" fmla="*/ 1704451 w 6884782"/>
              <a:gd name="connsiteY65787" fmla="*/ 806103 h 5973007"/>
              <a:gd name="connsiteX65788" fmla="*/ 1705483 w 6884782"/>
              <a:gd name="connsiteY65788" fmla="*/ 803934 h 5973007"/>
              <a:gd name="connsiteX65789" fmla="*/ 1707342 w 6884782"/>
              <a:gd name="connsiteY65789" fmla="*/ 803160 h 5973007"/>
              <a:gd name="connsiteX65790" fmla="*/ 3935247 w 6884782"/>
              <a:gd name="connsiteY65790" fmla="*/ 803108 h 5973007"/>
              <a:gd name="connsiteX65791" fmla="*/ 3939515 w 6884782"/>
              <a:gd name="connsiteY65791" fmla="*/ 803677 h 5973007"/>
              <a:gd name="connsiteX65792" fmla="*/ 3938448 w 6884782"/>
              <a:gd name="connsiteY65792" fmla="*/ 803677 h 5973007"/>
              <a:gd name="connsiteX65793" fmla="*/ 3939515 w 6884782"/>
              <a:gd name="connsiteY65793" fmla="*/ 804815 h 5973007"/>
              <a:gd name="connsiteX65794" fmla="*/ 3923082 w 6884782"/>
              <a:gd name="connsiteY65794" fmla="*/ 806807 h 5973007"/>
              <a:gd name="connsiteX65795" fmla="*/ 3923082 w 6884782"/>
              <a:gd name="connsiteY65795" fmla="*/ 805669 h 5973007"/>
              <a:gd name="connsiteX65796" fmla="*/ 3935247 w 6884782"/>
              <a:gd name="connsiteY65796" fmla="*/ 803108 h 5973007"/>
              <a:gd name="connsiteX65797" fmla="*/ 3916466 w 6884782"/>
              <a:gd name="connsiteY65797" fmla="*/ 803108 h 5973007"/>
              <a:gd name="connsiteX65798" fmla="*/ 3917533 w 6884782"/>
              <a:gd name="connsiteY65798" fmla="*/ 804389 h 5973007"/>
              <a:gd name="connsiteX65799" fmla="*/ 3911344 w 6884782"/>
              <a:gd name="connsiteY65799" fmla="*/ 806665 h 5973007"/>
              <a:gd name="connsiteX65800" fmla="*/ 3916466 w 6884782"/>
              <a:gd name="connsiteY65800" fmla="*/ 803108 h 5973007"/>
              <a:gd name="connsiteX65801" fmla="*/ 1299583 w 6884782"/>
              <a:gd name="connsiteY65801" fmla="*/ 802850 h 5973007"/>
              <a:gd name="connsiteX65802" fmla="*/ 1301442 w 6884782"/>
              <a:gd name="connsiteY65802" fmla="*/ 804244 h 5973007"/>
              <a:gd name="connsiteX65803" fmla="*/ 1300616 w 6884782"/>
              <a:gd name="connsiteY65803" fmla="*/ 805948 h 5973007"/>
              <a:gd name="connsiteX65804" fmla="*/ 1300719 w 6884782"/>
              <a:gd name="connsiteY65804" fmla="*/ 807652 h 5973007"/>
              <a:gd name="connsiteX65805" fmla="*/ 1299893 w 6884782"/>
              <a:gd name="connsiteY65805" fmla="*/ 807807 h 5973007"/>
              <a:gd name="connsiteX65806" fmla="*/ 1299790 w 6884782"/>
              <a:gd name="connsiteY65806" fmla="*/ 807652 h 5973007"/>
              <a:gd name="connsiteX65807" fmla="*/ 1299273 w 6884782"/>
              <a:gd name="connsiteY65807" fmla="*/ 808271 h 5973007"/>
              <a:gd name="connsiteX65808" fmla="*/ 1301648 w 6884782"/>
              <a:gd name="connsiteY65808" fmla="*/ 808736 h 5973007"/>
              <a:gd name="connsiteX65809" fmla="*/ 1297725 w 6884782"/>
              <a:gd name="connsiteY65809" fmla="*/ 821437 h 5973007"/>
              <a:gd name="connsiteX65810" fmla="*/ 1290703 w 6884782"/>
              <a:gd name="connsiteY65810" fmla="*/ 818649 h 5973007"/>
              <a:gd name="connsiteX65811" fmla="*/ 1288844 w 6884782"/>
              <a:gd name="connsiteY65811" fmla="*/ 813073 h 5973007"/>
              <a:gd name="connsiteX65812" fmla="*/ 1291323 w 6884782"/>
              <a:gd name="connsiteY65812" fmla="*/ 808581 h 5973007"/>
              <a:gd name="connsiteX65813" fmla="*/ 1294937 w 6884782"/>
              <a:gd name="connsiteY65813" fmla="*/ 807187 h 5973007"/>
              <a:gd name="connsiteX65814" fmla="*/ 1295143 w 6884782"/>
              <a:gd name="connsiteY65814" fmla="*/ 807187 h 5973007"/>
              <a:gd name="connsiteX65815" fmla="*/ 1294317 w 6884782"/>
              <a:gd name="connsiteY65815" fmla="*/ 806103 h 5973007"/>
              <a:gd name="connsiteX65816" fmla="*/ 1294420 w 6884782"/>
              <a:gd name="connsiteY65816" fmla="*/ 804399 h 5973007"/>
              <a:gd name="connsiteX65817" fmla="*/ 1296072 w 6884782"/>
              <a:gd name="connsiteY65817" fmla="*/ 803315 h 5973007"/>
              <a:gd name="connsiteX65818" fmla="*/ 1299583 w 6884782"/>
              <a:gd name="connsiteY65818" fmla="*/ 802850 h 5973007"/>
              <a:gd name="connsiteX65819" fmla="*/ 3235870 w 6884782"/>
              <a:gd name="connsiteY65819" fmla="*/ 801828 h 5973007"/>
              <a:gd name="connsiteX65820" fmla="*/ 3240138 w 6884782"/>
              <a:gd name="connsiteY65820" fmla="*/ 804673 h 5973007"/>
              <a:gd name="connsiteX65821" fmla="*/ 3237578 w 6884782"/>
              <a:gd name="connsiteY65821" fmla="*/ 807518 h 5973007"/>
              <a:gd name="connsiteX65822" fmla="*/ 3235870 w 6884782"/>
              <a:gd name="connsiteY65822" fmla="*/ 801828 h 5973007"/>
              <a:gd name="connsiteX65823" fmla="*/ 1422458 w 6884782"/>
              <a:gd name="connsiteY65823" fmla="*/ 801611 h 5973007"/>
              <a:gd name="connsiteX65824" fmla="*/ 1422148 w 6884782"/>
              <a:gd name="connsiteY65824" fmla="*/ 810904 h 5973007"/>
              <a:gd name="connsiteX65825" fmla="*/ 1422458 w 6884782"/>
              <a:gd name="connsiteY65825" fmla="*/ 813383 h 5973007"/>
              <a:gd name="connsiteX65826" fmla="*/ 1424523 w 6884782"/>
              <a:gd name="connsiteY65826" fmla="*/ 811679 h 5973007"/>
              <a:gd name="connsiteX65827" fmla="*/ 1430408 w 6884782"/>
              <a:gd name="connsiteY65827" fmla="*/ 811059 h 5973007"/>
              <a:gd name="connsiteX65828" fmla="*/ 1440115 w 6884782"/>
              <a:gd name="connsiteY65828" fmla="*/ 823761 h 5973007"/>
              <a:gd name="connsiteX65829" fmla="*/ 1439598 w 6884782"/>
              <a:gd name="connsiteY65829" fmla="*/ 825929 h 5973007"/>
              <a:gd name="connsiteX65830" fmla="*/ 1439908 w 6884782"/>
              <a:gd name="connsiteY65830" fmla="*/ 829647 h 5973007"/>
              <a:gd name="connsiteX65831" fmla="*/ 1428757 w 6884782"/>
              <a:gd name="connsiteY65831" fmla="*/ 830576 h 5973007"/>
              <a:gd name="connsiteX65832" fmla="*/ 1418844 w 6884782"/>
              <a:gd name="connsiteY65832" fmla="*/ 822522 h 5973007"/>
              <a:gd name="connsiteX65833" fmla="*/ 1418740 w 6884782"/>
              <a:gd name="connsiteY65833" fmla="*/ 819579 h 5973007"/>
              <a:gd name="connsiteX65834" fmla="*/ 1416159 w 6884782"/>
              <a:gd name="connsiteY65834" fmla="*/ 818804 h 5973007"/>
              <a:gd name="connsiteX65835" fmla="*/ 1412649 w 6884782"/>
              <a:gd name="connsiteY65835" fmla="*/ 809665 h 5973007"/>
              <a:gd name="connsiteX65836" fmla="*/ 1412752 w 6884782"/>
              <a:gd name="connsiteY65836" fmla="*/ 806413 h 5973007"/>
              <a:gd name="connsiteX65837" fmla="*/ 1419154 w 6884782"/>
              <a:gd name="connsiteY65837" fmla="*/ 801766 h 5973007"/>
              <a:gd name="connsiteX65838" fmla="*/ 1422458 w 6884782"/>
              <a:gd name="connsiteY65838" fmla="*/ 801611 h 5973007"/>
              <a:gd name="connsiteX65839" fmla="*/ 1342654 w 6884782"/>
              <a:gd name="connsiteY65839" fmla="*/ 801591 h 5973007"/>
              <a:gd name="connsiteX65840" fmla="*/ 1345738 w 6884782"/>
              <a:gd name="connsiteY65840" fmla="*/ 802540 h 5973007"/>
              <a:gd name="connsiteX65841" fmla="*/ 1343777 w 6884782"/>
              <a:gd name="connsiteY65841" fmla="*/ 808116 h 5973007"/>
              <a:gd name="connsiteX65842" fmla="*/ 1339337 w 6884782"/>
              <a:gd name="connsiteY65842" fmla="*/ 801921 h 5973007"/>
              <a:gd name="connsiteX65843" fmla="*/ 1342654 w 6884782"/>
              <a:gd name="connsiteY65843" fmla="*/ 801591 h 5973007"/>
              <a:gd name="connsiteX65844" fmla="*/ 3410661 w 6884782"/>
              <a:gd name="connsiteY65844" fmla="*/ 801116 h 5973007"/>
              <a:gd name="connsiteX65845" fmla="*/ 3419624 w 6884782"/>
              <a:gd name="connsiteY65845" fmla="*/ 804815 h 5973007"/>
              <a:gd name="connsiteX65846" fmla="*/ 3419198 w 6884782"/>
              <a:gd name="connsiteY65846" fmla="*/ 808230 h 5973007"/>
              <a:gd name="connsiteX65847" fmla="*/ 3401911 w 6884782"/>
              <a:gd name="connsiteY65847" fmla="*/ 808941 h 5973007"/>
              <a:gd name="connsiteX65848" fmla="*/ 3399990 w 6884782"/>
              <a:gd name="connsiteY65848" fmla="*/ 803962 h 5973007"/>
              <a:gd name="connsiteX65849" fmla="*/ 3410661 w 6884782"/>
              <a:gd name="connsiteY65849" fmla="*/ 801116 h 5973007"/>
              <a:gd name="connsiteX65850" fmla="*/ 3423893 w 6884782"/>
              <a:gd name="connsiteY65850" fmla="*/ 800690 h 5973007"/>
              <a:gd name="connsiteX65851" fmla="*/ 3425814 w 6884782"/>
              <a:gd name="connsiteY65851" fmla="*/ 801828 h 5973007"/>
              <a:gd name="connsiteX65852" fmla="*/ 3426454 w 6884782"/>
              <a:gd name="connsiteY65852" fmla="*/ 800832 h 5973007"/>
              <a:gd name="connsiteX65853" fmla="*/ 3427521 w 6884782"/>
              <a:gd name="connsiteY65853" fmla="*/ 802965 h 5973007"/>
              <a:gd name="connsiteX65854" fmla="*/ 3426880 w 6884782"/>
              <a:gd name="connsiteY65854" fmla="*/ 803962 h 5973007"/>
              <a:gd name="connsiteX65855" fmla="*/ 3427094 w 6884782"/>
              <a:gd name="connsiteY65855" fmla="*/ 804389 h 5973007"/>
              <a:gd name="connsiteX65856" fmla="*/ 3424747 w 6884782"/>
              <a:gd name="connsiteY65856" fmla="*/ 805384 h 5973007"/>
              <a:gd name="connsiteX65857" fmla="*/ 3422399 w 6884782"/>
              <a:gd name="connsiteY65857" fmla="*/ 805384 h 5973007"/>
              <a:gd name="connsiteX65858" fmla="*/ 3423893 w 6884782"/>
              <a:gd name="connsiteY65858" fmla="*/ 800690 h 5973007"/>
              <a:gd name="connsiteX65859" fmla="*/ 1435159 w 6884782"/>
              <a:gd name="connsiteY65859" fmla="*/ 800062 h 5973007"/>
              <a:gd name="connsiteX65860" fmla="*/ 1442180 w 6884782"/>
              <a:gd name="connsiteY65860" fmla="*/ 808271 h 5973007"/>
              <a:gd name="connsiteX65861" fmla="*/ 1436088 w 6884782"/>
              <a:gd name="connsiteY65861" fmla="*/ 809356 h 5973007"/>
              <a:gd name="connsiteX65862" fmla="*/ 1433919 w 6884782"/>
              <a:gd name="connsiteY65862" fmla="*/ 807497 h 5973007"/>
              <a:gd name="connsiteX65863" fmla="*/ 1431958 w 6884782"/>
              <a:gd name="connsiteY65863" fmla="*/ 802695 h 5973007"/>
              <a:gd name="connsiteX65864" fmla="*/ 1431132 w 6884782"/>
              <a:gd name="connsiteY65864" fmla="*/ 803005 h 5973007"/>
              <a:gd name="connsiteX65865" fmla="*/ 1435159 w 6884782"/>
              <a:gd name="connsiteY65865" fmla="*/ 800062 h 5973007"/>
              <a:gd name="connsiteX65866" fmla="*/ 1429066 w 6884782"/>
              <a:gd name="connsiteY65866" fmla="*/ 798823 h 5973007"/>
              <a:gd name="connsiteX65867" fmla="*/ 1431028 w 6884782"/>
              <a:gd name="connsiteY65867" fmla="*/ 799287 h 5973007"/>
              <a:gd name="connsiteX65868" fmla="*/ 1429479 w 6884782"/>
              <a:gd name="connsiteY65868" fmla="*/ 803469 h 5973007"/>
              <a:gd name="connsiteX65869" fmla="*/ 1426795 w 6884782"/>
              <a:gd name="connsiteY65869" fmla="*/ 804089 h 5973007"/>
              <a:gd name="connsiteX65870" fmla="*/ 1425866 w 6884782"/>
              <a:gd name="connsiteY65870" fmla="*/ 803005 h 5973007"/>
              <a:gd name="connsiteX65871" fmla="*/ 1426382 w 6884782"/>
              <a:gd name="connsiteY65871" fmla="*/ 801456 h 5973007"/>
              <a:gd name="connsiteX65872" fmla="*/ 1427621 w 6884782"/>
              <a:gd name="connsiteY65872" fmla="*/ 799133 h 5973007"/>
              <a:gd name="connsiteX65873" fmla="*/ 1429066 w 6884782"/>
              <a:gd name="connsiteY65873" fmla="*/ 798823 h 5973007"/>
              <a:gd name="connsiteX65874" fmla="*/ 1870074 w 6884782"/>
              <a:gd name="connsiteY65874" fmla="*/ 798358 h 5973007"/>
              <a:gd name="connsiteX65875" fmla="*/ 1871932 w 6884782"/>
              <a:gd name="connsiteY65875" fmla="*/ 798358 h 5973007"/>
              <a:gd name="connsiteX65876" fmla="*/ 1873894 w 6884782"/>
              <a:gd name="connsiteY65876" fmla="*/ 798358 h 5973007"/>
              <a:gd name="connsiteX65877" fmla="*/ 1876579 w 6884782"/>
              <a:gd name="connsiteY65877" fmla="*/ 800991 h 5973007"/>
              <a:gd name="connsiteX65878" fmla="*/ 1860264 w 6884782"/>
              <a:gd name="connsiteY65878" fmla="*/ 803315 h 5973007"/>
              <a:gd name="connsiteX65879" fmla="*/ 1860161 w 6884782"/>
              <a:gd name="connsiteY65879" fmla="*/ 801456 h 5973007"/>
              <a:gd name="connsiteX65880" fmla="*/ 1861813 w 6884782"/>
              <a:gd name="connsiteY65880" fmla="*/ 799907 h 5973007"/>
              <a:gd name="connsiteX65881" fmla="*/ 1870074 w 6884782"/>
              <a:gd name="connsiteY65881" fmla="*/ 798358 h 5973007"/>
              <a:gd name="connsiteX65882" fmla="*/ 1243876 w 6884782"/>
              <a:gd name="connsiteY65882" fmla="*/ 797642 h 5973007"/>
              <a:gd name="connsiteX65883" fmla="*/ 1253118 w 6884782"/>
              <a:gd name="connsiteY65883" fmla="*/ 799133 h 5973007"/>
              <a:gd name="connsiteX65884" fmla="*/ 1251982 w 6884782"/>
              <a:gd name="connsiteY65884" fmla="*/ 807497 h 5973007"/>
              <a:gd name="connsiteX65885" fmla="*/ 1238249 w 6884782"/>
              <a:gd name="connsiteY65885" fmla="*/ 804554 h 5973007"/>
              <a:gd name="connsiteX65886" fmla="*/ 1238042 w 6884782"/>
              <a:gd name="connsiteY65886" fmla="*/ 801146 h 5973007"/>
              <a:gd name="connsiteX65887" fmla="*/ 1243876 w 6884782"/>
              <a:gd name="connsiteY65887" fmla="*/ 797642 h 5973007"/>
              <a:gd name="connsiteX65888" fmla="*/ 3256145 w 6884782"/>
              <a:gd name="connsiteY65888" fmla="*/ 795141 h 5973007"/>
              <a:gd name="connsiteX65889" fmla="*/ 3258706 w 6884782"/>
              <a:gd name="connsiteY65889" fmla="*/ 799978 h 5973007"/>
              <a:gd name="connsiteX65890" fmla="*/ 3251663 w 6884782"/>
              <a:gd name="connsiteY65890" fmla="*/ 801828 h 5973007"/>
              <a:gd name="connsiteX65891" fmla="*/ 3256145 w 6884782"/>
              <a:gd name="connsiteY65891" fmla="*/ 795141 h 5973007"/>
              <a:gd name="connsiteX65892" fmla="*/ 3509261 w 6884782"/>
              <a:gd name="connsiteY65892" fmla="*/ 792011 h 5973007"/>
              <a:gd name="connsiteX65893" fmla="*/ 3517371 w 6884782"/>
              <a:gd name="connsiteY65893" fmla="*/ 797275 h 5973007"/>
              <a:gd name="connsiteX65894" fmla="*/ 3512035 w 6884782"/>
              <a:gd name="connsiteY65894" fmla="*/ 804246 h 5973007"/>
              <a:gd name="connsiteX65895" fmla="*/ 3504992 w 6884782"/>
              <a:gd name="connsiteY65895" fmla="*/ 796706 h 5973007"/>
              <a:gd name="connsiteX65896" fmla="*/ 3509261 w 6884782"/>
              <a:gd name="connsiteY65896" fmla="*/ 792011 h 5973007"/>
              <a:gd name="connsiteX65897" fmla="*/ 1624221 w 6884782"/>
              <a:gd name="connsiteY65897" fmla="*/ 790613 h 5973007"/>
              <a:gd name="connsiteX65898" fmla="*/ 1625460 w 6884782"/>
              <a:gd name="connsiteY65898" fmla="*/ 790923 h 5973007"/>
              <a:gd name="connsiteX65899" fmla="*/ 1622672 w 6884782"/>
              <a:gd name="connsiteY65899" fmla="*/ 794331 h 5973007"/>
              <a:gd name="connsiteX65900" fmla="*/ 1624221 w 6884782"/>
              <a:gd name="connsiteY65900" fmla="*/ 790613 h 5973007"/>
              <a:gd name="connsiteX65901" fmla="*/ 3941863 w 6884782"/>
              <a:gd name="connsiteY65901" fmla="*/ 790446 h 5973007"/>
              <a:gd name="connsiteX65902" fmla="*/ 3941436 w 6884782"/>
              <a:gd name="connsiteY65902" fmla="*/ 795283 h 5973007"/>
              <a:gd name="connsiteX65903" fmla="*/ 3939088 w 6884782"/>
              <a:gd name="connsiteY65903" fmla="*/ 795283 h 5973007"/>
              <a:gd name="connsiteX65904" fmla="*/ 3921161 w 6884782"/>
              <a:gd name="connsiteY65904" fmla="*/ 801116 h 5973007"/>
              <a:gd name="connsiteX65905" fmla="*/ 3941863 w 6884782"/>
              <a:gd name="connsiteY65905" fmla="*/ 790446 h 5973007"/>
              <a:gd name="connsiteX65906" fmla="*/ 3872928 w 6884782"/>
              <a:gd name="connsiteY65906" fmla="*/ 789166 h 5973007"/>
              <a:gd name="connsiteX65907" fmla="*/ 3874422 w 6884782"/>
              <a:gd name="connsiteY65907" fmla="*/ 791158 h 5973007"/>
              <a:gd name="connsiteX65908" fmla="*/ 3873568 w 6884782"/>
              <a:gd name="connsiteY65908" fmla="*/ 792864 h 5973007"/>
              <a:gd name="connsiteX65909" fmla="*/ 3871007 w 6884782"/>
              <a:gd name="connsiteY65909" fmla="*/ 795283 h 5973007"/>
              <a:gd name="connsiteX65910" fmla="*/ 3869513 w 6884782"/>
              <a:gd name="connsiteY65910" fmla="*/ 797559 h 5973007"/>
              <a:gd name="connsiteX65911" fmla="*/ 3865885 w 6884782"/>
              <a:gd name="connsiteY65911" fmla="*/ 797559 h 5973007"/>
              <a:gd name="connsiteX65912" fmla="*/ 3867379 w 6884782"/>
              <a:gd name="connsiteY65912" fmla="*/ 795141 h 5973007"/>
              <a:gd name="connsiteX65913" fmla="*/ 3872928 w 6884782"/>
              <a:gd name="connsiteY65913" fmla="*/ 789166 h 5973007"/>
              <a:gd name="connsiteX65914" fmla="*/ 3353038 w 6884782"/>
              <a:gd name="connsiteY65914" fmla="*/ 788027 h 5973007"/>
              <a:gd name="connsiteX65915" fmla="*/ 3365630 w 6884782"/>
              <a:gd name="connsiteY65915" fmla="*/ 793861 h 5973007"/>
              <a:gd name="connsiteX65916" fmla="*/ 3359440 w 6884782"/>
              <a:gd name="connsiteY65916" fmla="*/ 808657 h 5973007"/>
              <a:gd name="connsiteX65917" fmla="*/ 3350476 w 6884782"/>
              <a:gd name="connsiteY65917" fmla="*/ 822457 h 5973007"/>
              <a:gd name="connsiteX65918" fmla="*/ 3354745 w 6884782"/>
              <a:gd name="connsiteY65918" fmla="*/ 821318 h 5973007"/>
              <a:gd name="connsiteX65919" fmla="*/ 3362001 w 6884782"/>
              <a:gd name="connsiteY65919" fmla="*/ 821034 h 5973007"/>
              <a:gd name="connsiteX65920" fmla="*/ 3356239 w 6884782"/>
              <a:gd name="connsiteY65920" fmla="*/ 828574 h 5973007"/>
              <a:gd name="connsiteX65921" fmla="*/ 3349836 w 6884782"/>
              <a:gd name="connsiteY65921" fmla="*/ 832700 h 5973007"/>
              <a:gd name="connsiteX65922" fmla="*/ 3350476 w 6884782"/>
              <a:gd name="connsiteY65922" fmla="*/ 836257 h 5973007"/>
              <a:gd name="connsiteX65923" fmla="*/ 3353891 w 6884782"/>
              <a:gd name="connsiteY65923" fmla="*/ 831135 h 5973007"/>
              <a:gd name="connsiteX65924" fmla="*/ 3375873 w 6884782"/>
              <a:gd name="connsiteY65924" fmla="*/ 822883 h 5973007"/>
              <a:gd name="connsiteX65925" fmla="*/ 3366056 w 6884782"/>
              <a:gd name="connsiteY65925" fmla="*/ 835403 h 5973007"/>
              <a:gd name="connsiteX65926" fmla="*/ 3350690 w 6884782"/>
              <a:gd name="connsiteY65926" fmla="*/ 838533 h 5973007"/>
              <a:gd name="connsiteX65927" fmla="*/ 3350690 w 6884782"/>
              <a:gd name="connsiteY65927" fmla="*/ 842090 h 5973007"/>
              <a:gd name="connsiteX65928" fmla="*/ 3345568 w 6884782"/>
              <a:gd name="connsiteY65928" fmla="*/ 842943 h 5973007"/>
              <a:gd name="connsiteX65929" fmla="*/ 3343220 w 6884782"/>
              <a:gd name="connsiteY65929" fmla="*/ 841236 h 5973007"/>
              <a:gd name="connsiteX65930" fmla="*/ 3342580 w 6884782"/>
              <a:gd name="connsiteY65930" fmla="*/ 848349 h 5973007"/>
              <a:gd name="connsiteX65931" fmla="*/ 3335324 w 6884782"/>
              <a:gd name="connsiteY65931" fmla="*/ 840383 h 5973007"/>
              <a:gd name="connsiteX65932" fmla="*/ 3332122 w 6884782"/>
              <a:gd name="connsiteY65932" fmla="*/ 839671 h 5973007"/>
              <a:gd name="connsiteX65933" fmla="*/ 3323372 w 6884782"/>
              <a:gd name="connsiteY65933" fmla="*/ 845647 h 5973007"/>
              <a:gd name="connsiteX65934" fmla="*/ 3324439 w 6884782"/>
              <a:gd name="connsiteY65934" fmla="*/ 845789 h 5973007"/>
              <a:gd name="connsiteX65935" fmla="*/ 3327641 w 6884782"/>
              <a:gd name="connsiteY65935" fmla="*/ 850484 h 5973007"/>
              <a:gd name="connsiteX65936" fmla="*/ 3326146 w 6884782"/>
              <a:gd name="connsiteY65936" fmla="*/ 861723 h 5973007"/>
              <a:gd name="connsiteX65937" fmla="*/ 3310567 w 6884782"/>
              <a:gd name="connsiteY65937" fmla="*/ 857881 h 5973007"/>
              <a:gd name="connsiteX65938" fmla="*/ 3314408 w 6884782"/>
              <a:gd name="connsiteY65938" fmla="*/ 848634 h 5973007"/>
              <a:gd name="connsiteX65939" fmla="*/ 3318250 w 6884782"/>
              <a:gd name="connsiteY65939" fmla="*/ 845789 h 5973007"/>
              <a:gd name="connsiteX65940" fmla="*/ 3312701 w 6884782"/>
              <a:gd name="connsiteY65940" fmla="*/ 842232 h 5973007"/>
              <a:gd name="connsiteX65941" fmla="*/ 3311848 w 6884782"/>
              <a:gd name="connsiteY65941" fmla="*/ 840667 h 5973007"/>
              <a:gd name="connsiteX65942" fmla="*/ 3311207 w 6884782"/>
              <a:gd name="connsiteY65942" fmla="*/ 842232 h 5973007"/>
              <a:gd name="connsiteX65943" fmla="*/ 3293921 w 6884782"/>
              <a:gd name="connsiteY65943" fmla="*/ 852475 h 5973007"/>
              <a:gd name="connsiteX65944" fmla="*/ 3291573 w 6884782"/>
              <a:gd name="connsiteY65944" fmla="*/ 849061 h 5973007"/>
              <a:gd name="connsiteX65945" fmla="*/ 3290292 w 6884782"/>
              <a:gd name="connsiteY65945" fmla="*/ 849772 h 5973007"/>
              <a:gd name="connsiteX65946" fmla="*/ 3285170 w 6884782"/>
              <a:gd name="connsiteY65946" fmla="*/ 851337 h 5973007"/>
              <a:gd name="connsiteX65947" fmla="*/ 3285597 w 6884782"/>
              <a:gd name="connsiteY65947" fmla="*/ 852049 h 5973007"/>
              <a:gd name="connsiteX65948" fmla="*/ 3284317 w 6884782"/>
              <a:gd name="connsiteY65948" fmla="*/ 855321 h 5973007"/>
              <a:gd name="connsiteX65949" fmla="*/ 3275139 w 6884782"/>
              <a:gd name="connsiteY65949" fmla="*/ 857170 h 5973007"/>
              <a:gd name="connsiteX65950" fmla="*/ 3269377 w 6884782"/>
              <a:gd name="connsiteY65950" fmla="*/ 859304 h 5973007"/>
              <a:gd name="connsiteX65951" fmla="*/ 3276207 w 6884782"/>
              <a:gd name="connsiteY65951" fmla="*/ 854894 h 5973007"/>
              <a:gd name="connsiteX65952" fmla="*/ 3277274 w 6884782"/>
              <a:gd name="connsiteY65952" fmla="*/ 851479 h 5973007"/>
              <a:gd name="connsiteX65953" fmla="*/ 3279407 w 6884782"/>
              <a:gd name="connsiteY65953" fmla="*/ 850484 h 5973007"/>
              <a:gd name="connsiteX65954" fmla="*/ 3278981 w 6884782"/>
              <a:gd name="connsiteY65954" fmla="*/ 848919 h 5973007"/>
              <a:gd name="connsiteX65955" fmla="*/ 3277274 w 6884782"/>
              <a:gd name="connsiteY65955" fmla="*/ 845789 h 5973007"/>
              <a:gd name="connsiteX65956" fmla="*/ 3285810 w 6884782"/>
              <a:gd name="connsiteY65956" fmla="*/ 842801 h 5973007"/>
              <a:gd name="connsiteX65957" fmla="*/ 3289438 w 6884782"/>
              <a:gd name="connsiteY65957" fmla="*/ 842232 h 5973007"/>
              <a:gd name="connsiteX65958" fmla="*/ 3289438 w 6884782"/>
              <a:gd name="connsiteY65958" fmla="*/ 841805 h 5973007"/>
              <a:gd name="connsiteX65959" fmla="*/ 3292853 w 6884782"/>
              <a:gd name="connsiteY65959" fmla="*/ 835403 h 5973007"/>
              <a:gd name="connsiteX65960" fmla="*/ 3294774 w 6884782"/>
              <a:gd name="connsiteY65960" fmla="*/ 834265 h 5973007"/>
              <a:gd name="connsiteX65961" fmla="*/ 3297121 w 6884782"/>
              <a:gd name="connsiteY65961" fmla="*/ 820323 h 5973007"/>
              <a:gd name="connsiteX65962" fmla="*/ 3307366 w 6884782"/>
              <a:gd name="connsiteY65962" fmla="*/ 823168 h 5973007"/>
              <a:gd name="connsiteX65963" fmla="*/ 3307152 w 6884782"/>
              <a:gd name="connsiteY65963" fmla="*/ 831419 h 5973007"/>
              <a:gd name="connsiteX65964" fmla="*/ 3309073 w 6884782"/>
              <a:gd name="connsiteY65964" fmla="*/ 832842 h 5973007"/>
              <a:gd name="connsiteX65965" fmla="*/ 3309287 w 6884782"/>
              <a:gd name="connsiteY65965" fmla="*/ 826582 h 5973007"/>
              <a:gd name="connsiteX65966" fmla="*/ 3312701 w 6884782"/>
              <a:gd name="connsiteY65966" fmla="*/ 817477 h 5973007"/>
              <a:gd name="connsiteX65967" fmla="*/ 3353038 w 6884782"/>
              <a:gd name="connsiteY65967" fmla="*/ 788027 h 5973007"/>
              <a:gd name="connsiteX65968" fmla="*/ 1733878 w 6884782"/>
              <a:gd name="connsiteY65968" fmla="*/ 787515 h 5973007"/>
              <a:gd name="connsiteX65969" fmla="*/ 1719629 w 6884782"/>
              <a:gd name="connsiteY65969" fmla="*/ 809201 h 5973007"/>
              <a:gd name="connsiteX65970" fmla="*/ 1722210 w 6884782"/>
              <a:gd name="connsiteY65970" fmla="*/ 805328 h 5973007"/>
              <a:gd name="connsiteX65971" fmla="*/ 1720146 w 6884782"/>
              <a:gd name="connsiteY65971" fmla="*/ 804864 h 5973007"/>
              <a:gd name="connsiteX65972" fmla="*/ 1717771 w 6884782"/>
              <a:gd name="connsiteY65972" fmla="*/ 799752 h 5973007"/>
              <a:gd name="connsiteX65973" fmla="*/ 1718700 w 6884782"/>
              <a:gd name="connsiteY65973" fmla="*/ 797893 h 5973007"/>
              <a:gd name="connsiteX65974" fmla="*/ 1720559 w 6884782"/>
              <a:gd name="connsiteY65974" fmla="*/ 797274 h 5973007"/>
              <a:gd name="connsiteX65975" fmla="*/ 1722727 w 6884782"/>
              <a:gd name="connsiteY65975" fmla="*/ 796809 h 5973007"/>
              <a:gd name="connsiteX65976" fmla="*/ 1725928 w 6884782"/>
              <a:gd name="connsiteY65976" fmla="*/ 798048 h 5973007"/>
              <a:gd name="connsiteX65977" fmla="*/ 1728922 w 6884782"/>
              <a:gd name="connsiteY65977" fmla="*/ 792782 h 5973007"/>
              <a:gd name="connsiteX65978" fmla="*/ 1733878 w 6884782"/>
              <a:gd name="connsiteY65978" fmla="*/ 787515 h 5973007"/>
              <a:gd name="connsiteX65979" fmla="*/ 1467374 w 6884782"/>
              <a:gd name="connsiteY65979" fmla="*/ 785657 h 5973007"/>
              <a:gd name="connsiteX65980" fmla="*/ 1469027 w 6884782"/>
              <a:gd name="connsiteY65980" fmla="*/ 787360 h 5973007"/>
              <a:gd name="connsiteX65981" fmla="*/ 1468097 w 6884782"/>
              <a:gd name="connsiteY65981" fmla="*/ 789064 h 5973007"/>
              <a:gd name="connsiteX65982" fmla="*/ 1467994 w 6884782"/>
              <a:gd name="connsiteY65982" fmla="*/ 790613 h 5973007"/>
              <a:gd name="connsiteX65983" fmla="*/ 1467168 w 6884782"/>
              <a:gd name="connsiteY65983" fmla="*/ 790768 h 5973007"/>
              <a:gd name="connsiteX65984" fmla="*/ 1466238 w 6884782"/>
              <a:gd name="connsiteY65984" fmla="*/ 791542 h 5973007"/>
              <a:gd name="connsiteX65985" fmla="*/ 1462831 w 6884782"/>
              <a:gd name="connsiteY65985" fmla="*/ 790148 h 5973007"/>
              <a:gd name="connsiteX65986" fmla="*/ 1461799 w 6884782"/>
              <a:gd name="connsiteY65986" fmla="*/ 788445 h 5973007"/>
              <a:gd name="connsiteX65987" fmla="*/ 1462005 w 6884782"/>
              <a:gd name="connsiteY65987" fmla="*/ 786741 h 5973007"/>
              <a:gd name="connsiteX65988" fmla="*/ 1463864 w 6884782"/>
              <a:gd name="connsiteY65988" fmla="*/ 785966 h 5973007"/>
              <a:gd name="connsiteX65989" fmla="*/ 1467374 w 6884782"/>
              <a:gd name="connsiteY65989" fmla="*/ 785657 h 5973007"/>
              <a:gd name="connsiteX65990" fmla="*/ 1301751 w 6884782"/>
              <a:gd name="connsiteY65990" fmla="*/ 784417 h 5973007"/>
              <a:gd name="connsiteX65991" fmla="*/ 1309599 w 6884782"/>
              <a:gd name="connsiteY65991" fmla="*/ 796809 h 5973007"/>
              <a:gd name="connsiteX65992" fmla="*/ 1302371 w 6884782"/>
              <a:gd name="connsiteY65992" fmla="*/ 797429 h 5973007"/>
              <a:gd name="connsiteX65993" fmla="*/ 1300822 w 6884782"/>
              <a:gd name="connsiteY65993" fmla="*/ 787515 h 5973007"/>
              <a:gd name="connsiteX65994" fmla="*/ 1301751 w 6884782"/>
              <a:gd name="connsiteY65994" fmla="*/ 784417 h 5973007"/>
              <a:gd name="connsiteX65995" fmla="*/ 3240779 w 6884782"/>
              <a:gd name="connsiteY65995" fmla="*/ 784186 h 5973007"/>
              <a:gd name="connsiteX65996" fmla="*/ 3241846 w 6884782"/>
              <a:gd name="connsiteY65996" fmla="*/ 785893 h 5973007"/>
              <a:gd name="connsiteX65997" fmla="*/ 3242273 w 6884782"/>
              <a:gd name="connsiteY65997" fmla="*/ 788597 h 5973007"/>
              <a:gd name="connsiteX65998" fmla="*/ 3236510 w 6884782"/>
              <a:gd name="connsiteY65998" fmla="*/ 790162 h 5973007"/>
              <a:gd name="connsiteX65999" fmla="*/ 3234376 w 6884782"/>
              <a:gd name="connsiteY65999" fmla="*/ 787459 h 5973007"/>
              <a:gd name="connsiteX66000" fmla="*/ 3236937 w 6884782"/>
              <a:gd name="connsiteY66000" fmla="*/ 784755 h 5973007"/>
              <a:gd name="connsiteX66001" fmla="*/ 3240779 w 6884782"/>
              <a:gd name="connsiteY66001" fmla="*/ 784186 h 5973007"/>
              <a:gd name="connsiteX66002" fmla="*/ 1281100 w 6884782"/>
              <a:gd name="connsiteY66002" fmla="*/ 783643 h 5973007"/>
              <a:gd name="connsiteX66003" fmla="*/ 1276763 w 6884782"/>
              <a:gd name="connsiteY66003" fmla="*/ 799442 h 5973007"/>
              <a:gd name="connsiteX66004" fmla="*/ 1274905 w 6884782"/>
              <a:gd name="connsiteY66004" fmla="*/ 798823 h 5973007"/>
              <a:gd name="connsiteX66005" fmla="*/ 1274182 w 6884782"/>
              <a:gd name="connsiteY66005" fmla="*/ 796654 h 5973007"/>
              <a:gd name="connsiteX66006" fmla="*/ 1276040 w 6884782"/>
              <a:gd name="connsiteY66006" fmla="*/ 788445 h 5973007"/>
              <a:gd name="connsiteX66007" fmla="*/ 1276867 w 6884782"/>
              <a:gd name="connsiteY66007" fmla="*/ 786741 h 5973007"/>
              <a:gd name="connsiteX66008" fmla="*/ 1277590 w 6884782"/>
              <a:gd name="connsiteY66008" fmla="*/ 784882 h 5973007"/>
              <a:gd name="connsiteX66009" fmla="*/ 1281100 w 6884782"/>
              <a:gd name="connsiteY66009" fmla="*/ 783643 h 5973007"/>
              <a:gd name="connsiteX66010" fmla="*/ 3616397 w 6884782"/>
              <a:gd name="connsiteY66010" fmla="*/ 783048 h 5973007"/>
              <a:gd name="connsiteX66011" fmla="*/ 3620453 w 6884782"/>
              <a:gd name="connsiteY66011" fmla="*/ 784044 h 5973007"/>
              <a:gd name="connsiteX66012" fmla="*/ 3621946 w 6884782"/>
              <a:gd name="connsiteY66012" fmla="*/ 787601 h 5973007"/>
              <a:gd name="connsiteX66013" fmla="*/ 3620879 w 6884782"/>
              <a:gd name="connsiteY66013" fmla="*/ 790019 h 5973007"/>
              <a:gd name="connsiteX66014" fmla="*/ 3599751 w 6884782"/>
              <a:gd name="connsiteY66014" fmla="*/ 796848 h 5973007"/>
              <a:gd name="connsiteX66015" fmla="*/ 3603166 w 6884782"/>
              <a:gd name="connsiteY66015" fmla="*/ 786178 h 5973007"/>
              <a:gd name="connsiteX66016" fmla="*/ 3607434 w 6884782"/>
              <a:gd name="connsiteY66016" fmla="*/ 783760 h 5973007"/>
              <a:gd name="connsiteX66017" fmla="*/ 3612556 w 6884782"/>
              <a:gd name="connsiteY66017" fmla="*/ 783902 h 5973007"/>
              <a:gd name="connsiteX66018" fmla="*/ 3616397 w 6884782"/>
              <a:gd name="connsiteY66018" fmla="*/ 783048 h 5973007"/>
              <a:gd name="connsiteX66019" fmla="*/ 1639296 w 6884782"/>
              <a:gd name="connsiteY66019" fmla="*/ 782869 h 5973007"/>
              <a:gd name="connsiteX66020" fmla="*/ 1638470 w 6884782"/>
              <a:gd name="connsiteY66020" fmla="*/ 783333 h 5973007"/>
              <a:gd name="connsiteX66021" fmla="*/ 1639709 w 6884782"/>
              <a:gd name="connsiteY66021" fmla="*/ 783643 h 5973007"/>
              <a:gd name="connsiteX66022" fmla="*/ 1630209 w 6884782"/>
              <a:gd name="connsiteY66022" fmla="*/ 790458 h 5973007"/>
              <a:gd name="connsiteX66023" fmla="*/ 1629693 w 6884782"/>
              <a:gd name="connsiteY66023" fmla="*/ 789838 h 5973007"/>
              <a:gd name="connsiteX66024" fmla="*/ 1636301 w 6884782"/>
              <a:gd name="connsiteY66024" fmla="*/ 784108 h 5973007"/>
              <a:gd name="connsiteX66025" fmla="*/ 1639296 w 6884782"/>
              <a:gd name="connsiteY66025" fmla="*/ 782869 h 5973007"/>
              <a:gd name="connsiteX66026" fmla="*/ 3866953 w 6884782"/>
              <a:gd name="connsiteY66026" fmla="*/ 779491 h 5973007"/>
              <a:gd name="connsiteX66027" fmla="*/ 3869086 w 6884782"/>
              <a:gd name="connsiteY66027" fmla="*/ 779633 h 5973007"/>
              <a:gd name="connsiteX66028" fmla="*/ 3866098 w 6884782"/>
              <a:gd name="connsiteY66028" fmla="*/ 787032 h 5973007"/>
              <a:gd name="connsiteX66029" fmla="*/ 3862684 w 6884782"/>
              <a:gd name="connsiteY66029" fmla="*/ 788312 h 5973007"/>
              <a:gd name="connsiteX66030" fmla="*/ 3863111 w 6884782"/>
              <a:gd name="connsiteY66030" fmla="*/ 784470 h 5973007"/>
              <a:gd name="connsiteX66031" fmla="*/ 3865458 w 6884782"/>
              <a:gd name="connsiteY66031" fmla="*/ 783333 h 5973007"/>
              <a:gd name="connsiteX66032" fmla="*/ 3866953 w 6884782"/>
              <a:gd name="connsiteY66032" fmla="*/ 779491 h 5973007"/>
              <a:gd name="connsiteX66033" fmla="*/ 3418557 w 6884782"/>
              <a:gd name="connsiteY66033" fmla="*/ 778353 h 5973007"/>
              <a:gd name="connsiteX66034" fmla="*/ 3414076 w 6884782"/>
              <a:gd name="connsiteY66034" fmla="*/ 793434 h 5973007"/>
              <a:gd name="connsiteX66035" fmla="*/ 3410234 w 6884782"/>
              <a:gd name="connsiteY66035" fmla="*/ 779918 h 5973007"/>
              <a:gd name="connsiteX66036" fmla="*/ 3418557 w 6884782"/>
              <a:gd name="connsiteY66036" fmla="*/ 778353 h 5973007"/>
              <a:gd name="connsiteX66037" fmla="*/ 1588804 w 6884782"/>
              <a:gd name="connsiteY66037" fmla="*/ 777912 h 5973007"/>
              <a:gd name="connsiteX66038" fmla="*/ 1593967 w 6884782"/>
              <a:gd name="connsiteY66038" fmla="*/ 780390 h 5973007"/>
              <a:gd name="connsiteX66039" fmla="*/ 1593243 w 6884782"/>
              <a:gd name="connsiteY66039" fmla="*/ 795570 h 5973007"/>
              <a:gd name="connsiteX66040" fmla="*/ 1591178 w 6884782"/>
              <a:gd name="connsiteY66040" fmla="*/ 797119 h 5973007"/>
              <a:gd name="connsiteX66041" fmla="*/ 1590972 w 6884782"/>
              <a:gd name="connsiteY66041" fmla="*/ 797429 h 5973007"/>
              <a:gd name="connsiteX66042" fmla="*/ 1592211 w 6884782"/>
              <a:gd name="connsiteY66042" fmla="*/ 797738 h 5973007"/>
              <a:gd name="connsiteX66043" fmla="*/ 1592418 w 6884782"/>
              <a:gd name="connsiteY66043" fmla="*/ 799133 h 5973007"/>
              <a:gd name="connsiteX66044" fmla="*/ 1591798 w 6884782"/>
              <a:gd name="connsiteY66044" fmla="*/ 801456 h 5973007"/>
              <a:gd name="connsiteX66045" fmla="*/ 1592004 w 6884782"/>
              <a:gd name="connsiteY66045" fmla="*/ 803315 h 5973007"/>
              <a:gd name="connsiteX66046" fmla="*/ 1589733 w 6884782"/>
              <a:gd name="connsiteY66046" fmla="*/ 804554 h 5973007"/>
              <a:gd name="connsiteX66047" fmla="*/ 1589527 w 6884782"/>
              <a:gd name="connsiteY66047" fmla="*/ 802695 h 5973007"/>
              <a:gd name="connsiteX66048" fmla="*/ 1590146 w 6884782"/>
              <a:gd name="connsiteY66048" fmla="*/ 799907 h 5973007"/>
              <a:gd name="connsiteX66049" fmla="*/ 1590249 w 6884782"/>
              <a:gd name="connsiteY66049" fmla="*/ 798513 h 5973007"/>
              <a:gd name="connsiteX66050" fmla="*/ 1588907 w 6884782"/>
              <a:gd name="connsiteY66050" fmla="*/ 800371 h 5973007"/>
              <a:gd name="connsiteX66051" fmla="*/ 1586842 w 6884782"/>
              <a:gd name="connsiteY66051" fmla="*/ 798978 h 5973007"/>
              <a:gd name="connsiteX66052" fmla="*/ 1584776 w 6884782"/>
              <a:gd name="connsiteY66052" fmla="*/ 798513 h 5973007"/>
              <a:gd name="connsiteX66053" fmla="*/ 1583331 w 6884782"/>
              <a:gd name="connsiteY66053" fmla="*/ 800217 h 5973007"/>
              <a:gd name="connsiteX66054" fmla="*/ 1581886 w 6884782"/>
              <a:gd name="connsiteY66054" fmla="*/ 797893 h 5973007"/>
              <a:gd name="connsiteX66055" fmla="*/ 1581989 w 6884782"/>
              <a:gd name="connsiteY66055" fmla="*/ 797583 h 5973007"/>
              <a:gd name="connsiteX66056" fmla="*/ 1579304 w 6884782"/>
              <a:gd name="connsiteY66056" fmla="*/ 795415 h 5973007"/>
              <a:gd name="connsiteX66057" fmla="*/ 1575690 w 6884782"/>
              <a:gd name="connsiteY66057" fmla="*/ 787515 h 5973007"/>
              <a:gd name="connsiteX66058" fmla="*/ 1578891 w 6884782"/>
              <a:gd name="connsiteY66058" fmla="*/ 781165 h 5973007"/>
              <a:gd name="connsiteX66059" fmla="*/ 1588804 w 6884782"/>
              <a:gd name="connsiteY66059" fmla="*/ 777912 h 5973007"/>
              <a:gd name="connsiteX66060" fmla="*/ 3431149 w 6884782"/>
              <a:gd name="connsiteY66060" fmla="*/ 777215 h 5973007"/>
              <a:gd name="connsiteX66061" fmla="*/ 3449503 w 6884782"/>
              <a:gd name="connsiteY66061" fmla="*/ 778211 h 5973007"/>
              <a:gd name="connsiteX66062" fmla="*/ 3452064 w 6884782"/>
              <a:gd name="connsiteY66062" fmla="*/ 780772 h 5973007"/>
              <a:gd name="connsiteX66063" fmla="*/ 3453131 w 6884782"/>
              <a:gd name="connsiteY66063" fmla="*/ 780772 h 5973007"/>
              <a:gd name="connsiteX66064" fmla="*/ 3454412 w 6884782"/>
              <a:gd name="connsiteY66064" fmla="*/ 783333 h 5973007"/>
              <a:gd name="connsiteX66065" fmla="*/ 3447582 w 6884782"/>
              <a:gd name="connsiteY66065" fmla="*/ 784186 h 5973007"/>
              <a:gd name="connsiteX66066" fmla="*/ 3441820 w 6884782"/>
              <a:gd name="connsiteY66066" fmla="*/ 783902 h 5973007"/>
              <a:gd name="connsiteX66067" fmla="*/ 3423253 w 6884782"/>
              <a:gd name="connsiteY66067" fmla="*/ 778211 h 5973007"/>
              <a:gd name="connsiteX66068" fmla="*/ 3431149 w 6884782"/>
              <a:gd name="connsiteY66068" fmla="*/ 777215 h 5973007"/>
              <a:gd name="connsiteX66069" fmla="*/ 1470059 w 6884782"/>
              <a:gd name="connsiteY66069" fmla="*/ 776982 h 5973007"/>
              <a:gd name="connsiteX66070" fmla="*/ 1487716 w 6884782"/>
              <a:gd name="connsiteY66070" fmla="*/ 799133 h 5973007"/>
              <a:gd name="connsiteX66071" fmla="*/ 1470059 w 6884782"/>
              <a:gd name="connsiteY66071" fmla="*/ 776982 h 5973007"/>
              <a:gd name="connsiteX66072" fmla="*/ 1767334 w 6884782"/>
              <a:gd name="connsiteY66072" fmla="*/ 776672 h 5973007"/>
              <a:gd name="connsiteX66073" fmla="*/ 1769708 w 6884782"/>
              <a:gd name="connsiteY66073" fmla="*/ 777447 h 5973007"/>
              <a:gd name="connsiteX66074" fmla="*/ 1770535 w 6884782"/>
              <a:gd name="connsiteY66074" fmla="*/ 777137 h 5973007"/>
              <a:gd name="connsiteX66075" fmla="*/ 1772187 w 6884782"/>
              <a:gd name="connsiteY66075" fmla="*/ 778222 h 5973007"/>
              <a:gd name="connsiteX66076" fmla="*/ 1768160 w 6884782"/>
              <a:gd name="connsiteY66076" fmla="*/ 781165 h 5973007"/>
              <a:gd name="connsiteX66077" fmla="*/ 1764546 w 6884782"/>
              <a:gd name="connsiteY66077" fmla="*/ 783023 h 5973007"/>
              <a:gd name="connsiteX66078" fmla="*/ 1750916 w 6884782"/>
              <a:gd name="connsiteY66078" fmla="*/ 786121 h 5973007"/>
              <a:gd name="connsiteX66079" fmla="*/ 1755563 w 6884782"/>
              <a:gd name="connsiteY66079" fmla="*/ 782713 h 5973007"/>
              <a:gd name="connsiteX66080" fmla="*/ 1767334 w 6884782"/>
              <a:gd name="connsiteY66080" fmla="*/ 776672 h 5973007"/>
              <a:gd name="connsiteX66081" fmla="*/ 1634753 w 6884782"/>
              <a:gd name="connsiteY66081" fmla="*/ 774349 h 5973007"/>
              <a:gd name="connsiteX66082" fmla="*/ 1636611 w 6884782"/>
              <a:gd name="connsiteY66082" fmla="*/ 777447 h 5973007"/>
              <a:gd name="connsiteX66083" fmla="*/ 1635166 w 6884782"/>
              <a:gd name="connsiteY66083" fmla="*/ 778222 h 5973007"/>
              <a:gd name="connsiteX66084" fmla="*/ 1626286 w 6884782"/>
              <a:gd name="connsiteY66084" fmla="*/ 787825 h 5973007"/>
              <a:gd name="connsiteX66085" fmla="*/ 1634753 w 6884782"/>
              <a:gd name="connsiteY66085" fmla="*/ 774349 h 5973007"/>
              <a:gd name="connsiteX66086" fmla="*/ 1605428 w 6884782"/>
              <a:gd name="connsiteY66086" fmla="*/ 773729 h 5973007"/>
              <a:gd name="connsiteX66087" fmla="*/ 1605531 w 6884782"/>
              <a:gd name="connsiteY66087" fmla="*/ 783953 h 5973007"/>
              <a:gd name="connsiteX66088" fmla="*/ 1599749 w 6884782"/>
              <a:gd name="connsiteY66088" fmla="*/ 781784 h 5973007"/>
              <a:gd name="connsiteX66089" fmla="*/ 1599336 w 6884782"/>
              <a:gd name="connsiteY66089" fmla="*/ 779306 h 5973007"/>
              <a:gd name="connsiteX66090" fmla="*/ 1599026 w 6884782"/>
              <a:gd name="connsiteY66090" fmla="*/ 777447 h 5973007"/>
              <a:gd name="connsiteX66091" fmla="*/ 1600988 w 6884782"/>
              <a:gd name="connsiteY66091" fmla="*/ 774349 h 5973007"/>
              <a:gd name="connsiteX66092" fmla="*/ 1600162 w 6884782"/>
              <a:gd name="connsiteY66092" fmla="*/ 774349 h 5973007"/>
              <a:gd name="connsiteX66093" fmla="*/ 1605428 w 6884782"/>
              <a:gd name="connsiteY66093" fmla="*/ 773729 h 5973007"/>
              <a:gd name="connsiteX66094" fmla="*/ 1538208 w 6884782"/>
              <a:gd name="connsiteY66094" fmla="*/ 773420 h 5973007"/>
              <a:gd name="connsiteX66095" fmla="*/ 1543268 w 6884782"/>
              <a:gd name="connsiteY66095" fmla="*/ 778531 h 5973007"/>
              <a:gd name="connsiteX66096" fmla="*/ 1542338 w 6884782"/>
              <a:gd name="connsiteY66096" fmla="*/ 779925 h 5973007"/>
              <a:gd name="connsiteX66097" fmla="*/ 1539964 w 6884782"/>
              <a:gd name="connsiteY66097" fmla="*/ 779306 h 5973007"/>
              <a:gd name="connsiteX66098" fmla="*/ 1537175 w 6884782"/>
              <a:gd name="connsiteY66098" fmla="*/ 774814 h 5973007"/>
              <a:gd name="connsiteX66099" fmla="*/ 1538208 w 6884782"/>
              <a:gd name="connsiteY66099" fmla="*/ 773420 h 5973007"/>
              <a:gd name="connsiteX66100" fmla="*/ 3885520 w 6884782"/>
              <a:gd name="connsiteY66100" fmla="*/ 773232 h 5973007"/>
              <a:gd name="connsiteX66101" fmla="*/ 3888295 w 6884782"/>
              <a:gd name="connsiteY66101" fmla="*/ 774085 h 5973007"/>
              <a:gd name="connsiteX66102" fmla="*/ 3886374 w 6884782"/>
              <a:gd name="connsiteY66102" fmla="*/ 780061 h 5973007"/>
              <a:gd name="connsiteX66103" fmla="*/ 3875703 w 6884782"/>
              <a:gd name="connsiteY66103" fmla="*/ 783475 h 5973007"/>
              <a:gd name="connsiteX66104" fmla="*/ 3876343 w 6884782"/>
              <a:gd name="connsiteY66104" fmla="*/ 778638 h 5973007"/>
              <a:gd name="connsiteX66105" fmla="*/ 3885520 w 6884782"/>
              <a:gd name="connsiteY66105" fmla="*/ 773232 h 5973007"/>
              <a:gd name="connsiteX66106" fmla="*/ 3302671 w 6884782"/>
              <a:gd name="connsiteY66106" fmla="*/ 771666 h 5973007"/>
              <a:gd name="connsiteX66107" fmla="*/ 3313982 w 6884782"/>
              <a:gd name="connsiteY66107" fmla="*/ 773232 h 5973007"/>
              <a:gd name="connsiteX66108" fmla="*/ 3316330 w 6884782"/>
              <a:gd name="connsiteY66108" fmla="*/ 773374 h 5973007"/>
              <a:gd name="connsiteX66109" fmla="*/ 3318677 w 6884782"/>
              <a:gd name="connsiteY66109" fmla="*/ 775792 h 5973007"/>
              <a:gd name="connsiteX66110" fmla="*/ 3308433 w 6884782"/>
              <a:gd name="connsiteY66110" fmla="*/ 776504 h 5973007"/>
              <a:gd name="connsiteX66111" fmla="*/ 3302671 w 6884782"/>
              <a:gd name="connsiteY66111" fmla="*/ 776219 h 5973007"/>
              <a:gd name="connsiteX66112" fmla="*/ 3300323 w 6884782"/>
              <a:gd name="connsiteY66112" fmla="*/ 773801 h 5973007"/>
              <a:gd name="connsiteX66113" fmla="*/ 3300109 w 6884782"/>
              <a:gd name="connsiteY66113" fmla="*/ 772662 h 5973007"/>
              <a:gd name="connsiteX66114" fmla="*/ 3302671 w 6884782"/>
              <a:gd name="connsiteY66114" fmla="*/ 771666 h 5973007"/>
              <a:gd name="connsiteX66115" fmla="*/ 3673380 w 6884782"/>
              <a:gd name="connsiteY66115" fmla="*/ 771097 h 5973007"/>
              <a:gd name="connsiteX66116" fmla="*/ 3684478 w 6884782"/>
              <a:gd name="connsiteY66116" fmla="*/ 773801 h 5973007"/>
              <a:gd name="connsiteX66117" fmla="*/ 3684478 w 6884782"/>
              <a:gd name="connsiteY66117" fmla="*/ 785467 h 5973007"/>
              <a:gd name="connsiteX66118" fmla="*/ 3654173 w 6884782"/>
              <a:gd name="connsiteY66118" fmla="*/ 798698 h 5973007"/>
              <a:gd name="connsiteX66119" fmla="*/ 3673380 w 6884782"/>
              <a:gd name="connsiteY66119" fmla="*/ 771097 h 5973007"/>
              <a:gd name="connsiteX66120" fmla="*/ 1840026 w 6884782"/>
              <a:gd name="connsiteY66120" fmla="*/ 770322 h 5973007"/>
              <a:gd name="connsiteX66121" fmla="*/ 1850971 w 6884782"/>
              <a:gd name="connsiteY66121" fmla="*/ 781629 h 5973007"/>
              <a:gd name="connsiteX66122" fmla="*/ 1842917 w 6884782"/>
              <a:gd name="connsiteY66122" fmla="*/ 783953 h 5973007"/>
              <a:gd name="connsiteX66123" fmla="*/ 1840026 w 6884782"/>
              <a:gd name="connsiteY66123" fmla="*/ 770322 h 5973007"/>
              <a:gd name="connsiteX66124" fmla="*/ 3354959 w 6884782"/>
              <a:gd name="connsiteY66124" fmla="*/ 769532 h 5973007"/>
              <a:gd name="connsiteX66125" fmla="*/ 3356026 w 6884782"/>
              <a:gd name="connsiteY66125" fmla="*/ 769532 h 5973007"/>
              <a:gd name="connsiteX66126" fmla="*/ 3358586 w 6884782"/>
              <a:gd name="connsiteY66126" fmla="*/ 770244 h 5973007"/>
              <a:gd name="connsiteX66127" fmla="*/ 3363495 w 6884782"/>
              <a:gd name="connsiteY66127" fmla="*/ 774939 h 5973007"/>
              <a:gd name="connsiteX66128" fmla="*/ 3364135 w 6884782"/>
              <a:gd name="connsiteY66128" fmla="*/ 773943 h 5973007"/>
              <a:gd name="connsiteX66129" fmla="*/ 3361147 w 6884782"/>
              <a:gd name="connsiteY66129" fmla="*/ 780772 h 5973007"/>
              <a:gd name="connsiteX66130" fmla="*/ 3348556 w 6884782"/>
              <a:gd name="connsiteY66130" fmla="*/ 775508 h 5973007"/>
              <a:gd name="connsiteX66131" fmla="*/ 3354959 w 6884782"/>
              <a:gd name="connsiteY66131" fmla="*/ 769532 h 5973007"/>
              <a:gd name="connsiteX66132" fmla="*/ 1546882 w 6884782"/>
              <a:gd name="connsiteY66132" fmla="*/ 769083 h 5973007"/>
              <a:gd name="connsiteX66133" fmla="*/ 1549463 w 6884782"/>
              <a:gd name="connsiteY66133" fmla="*/ 769392 h 5973007"/>
              <a:gd name="connsiteX66134" fmla="*/ 1548534 w 6884782"/>
              <a:gd name="connsiteY66134" fmla="*/ 772645 h 5973007"/>
              <a:gd name="connsiteX66135" fmla="*/ 1546056 w 6884782"/>
              <a:gd name="connsiteY66135" fmla="*/ 770167 h 5973007"/>
              <a:gd name="connsiteX66136" fmla="*/ 1546882 w 6884782"/>
              <a:gd name="connsiteY66136" fmla="*/ 769083 h 5973007"/>
              <a:gd name="connsiteX66137" fmla="*/ 3520786 w 6884782"/>
              <a:gd name="connsiteY66137" fmla="*/ 766972 h 5973007"/>
              <a:gd name="connsiteX66138" fmla="*/ 3523987 w 6884782"/>
              <a:gd name="connsiteY66138" fmla="*/ 769106 h 5973007"/>
              <a:gd name="connsiteX66139" fmla="*/ 3525054 w 6884782"/>
              <a:gd name="connsiteY66139" fmla="*/ 771666 h 5973007"/>
              <a:gd name="connsiteX66140" fmla="*/ 3524414 w 6884782"/>
              <a:gd name="connsiteY66140" fmla="*/ 774939 h 5973007"/>
              <a:gd name="connsiteX66141" fmla="*/ 3514169 w 6884782"/>
              <a:gd name="connsiteY66141" fmla="*/ 774796 h 5973007"/>
              <a:gd name="connsiteX66142" fmla="*/ 3513529 w 6884782"/>
              <a:gd name="connsiteY66142" fmla="*/ 771240 h 5973007"/>
              <a:gd name="connsiteX66143" fmla="*/ 3520786 w 6884782"/>
              <a:gd name="connsiteY66143" fmla="*/ 766972 h 5973007"/>
              <a:gd name="connsiteX66144" fmla="*/ 2057912 w 6884782"/>
              <a:gd name="connsiteY66144" fmla="*/ 765649 h 5973007"/>
              <a:gd name="connsiteX66145" fmla="*/ 2055832 w 6884782"/>
              <a:gd name="connsiteY66145" fmla="*/ 767689 h 5973007"/>
              <a:gd name="connsiteX66146" fmla="*/ 2055966 w 6884782"/>
              <a:gd name="connsiteY66146" fmla="*/ 768384 h 5973007"/>
              <a:gd name="connsiteX66147" fmla="*/ 1899295 w 6884782"/>
              <a:gd name="connsiteY66147" fmla="*/ 764746 h 5973007"/>
              <a:gd name="connsiteX66148" fmla="*/ 1904148 w 6884782"/>
              <a:gd name="connsiteY66148" fmla="*/ 769083 h 5973007"/>
              <a:gd name="connsiteX66149" fmla="*/ 1894132 w 6884782"/>
              <a:gd name="connsiteY66149" fmla="*/ 772955 h 5973007"/>
              <a:gd name="connsiteX66150" fmla="*/ 1893100 w 6884782"/>
              <a:gd name="connsiteY66150" fmla="*/ 769702 h 5973007"/>
              <a:gd name="connsiteX66151" fmla="*/ 1893823 w 6884782"/>
              <a:gd name="connsiteY66151" fmla="*/ 767379 h 5973007"/>
              <a:gd name="connsiteX66152" fmla="*/ 1899295 w 6884782"/>
              <a:gd name="connsiteY66152" fmla="*/ 764746 h 5973007"/>
              <a:gd name="connsiteX66153" fmla="*/ 1451163 w 6884782"/>
              <a:gd name="connsiteY66153" fmla="*/ 764590 h 5973007"/>
              <a:gd name="connsiteX66154" fmla="*/ 1445174 w 6884782"/>
              <a:gd name="connsiteY66154" fmla="*/ 780080 h 5973007"/>
              <a:gd name="connsiteX66155" fmla="*/ 1443419 w 6884782"/>
              <a:gd name="connsiteY66155" fmla="*/ 779306 h 5973007"/>
              <a:gd name="connsiteX66156" fmla="*/ 1442903 w 6884782"/>
              <a:gd name="connsiteY66156" fmla="*/ 777137 h 5973007"/>
              <a:gd name="connsiteX66157" fmla="*/ 1445587 w 6884782"/>
              <a:gd name="connsiteY66157" fmla="*/ 769083 h 5973007"/>
              <a:gd name="connsiteX66158" fmla="*/ 1446620 w 6884782"/>
              <a:gd name="connsiteY66158" fmla="*/ 767379 h 5973007"/>
              <a:gd name="connsiteX66159" fmla="*/ 1447549 w 6884782"/>
              <a:gd name="connsiteY66159" fmla="*/ 765675 h 5973007"/>
              <a:gd name="connsiteX66160" fmla="*/ 1451163 w 6884782"/>
              <a:gd name="connsiteY66160" fmla="*/ 764590 h 5973007"/>
              <a:gd name="connsiteX66161" fmla="*/ 4075463 w 6884782"/>
              <a:gd name="connsiteY66161" fmla="*/ 763557 h 5973007"/>
              <a:gd name="connsiteX66162" fmla="*/ 4078878 w 6884782"/>
              <a:gd name="connsiteY66162" fmla="*/ 764553 h 5973007"/>
              <a:gd name="connsiteX66163" fmla="*/ 4068207 w 6884782"/>
              <a:gd name="connsiteY66163" fmla="*/ 771097 h 5973007"/>
              <a:gd name="connsiteX66164" fmla="*/ 4075463 w 6884782"/>
              <a:gd name="connsiteY66164" fmla="*/ 763557 h 5973007"/>
              <a:gd name="connsiteX66165" fmla="*/ 3382063 w 6884782"/>
              <a:gd name="connsiteY66165" fmla="*/ 760712 h 5973007"/>
              <a:gd name="connsiteX66166" fmla="*/ 3390600 w 6884782"/>
              <a:gd name="connsiteY66166" fmla="*/ 762846 h 5973007"/>
              <a:gd name="connsiteX66167" fmla="*/ 3382063 w 6884782"/>
              <a:gd name="connsiteY66167" fmla="*/ 760712 h 5973007"/>
              <a:gd name="connsiteX66168" fmla="*/ 1548327 w 6884782"/>
              <a:gd name="connsiteY66168" fmla="*/ 759789 h 5973007"/>
              <a:gd name="connsiteX66169" fmla="*/ 1551115 w 6884782"/>
              <a:gd name="connsiteY66169" fmla="*/ 759789 h 5973007"/>
              <a:gd name="connsiteX66170" fmla="*/ 1554523 w 6884782"/>
              <a:gd name="connsiteY66170" fmla="*/ 761957 h 5973007"/>
              <a:gd name="connsiteX66171" fmla="*/ 1555349 w 6884782"/>
              <a:gd name="connsiteY66171" fmla="*/ 763506 h 5973007"/>
              <a:gd name="connsiteX66172" fmla="*/ 1549773 w 6884782"/>
              <a:gd name="connsiteY66172" fmla="*/ 768308 h 5973007"/>
              <a:gd name="connsiteX66173" fmla="*/ 1543784 w 6884782"/>
              <a:gd name="connsiteY66173" fmla="*/ 763506 h 5973007"/>
              <a:gd name="connsiteX66174" fmla="*/ 1544816 w 6884782"/>
              <a:gd name="connsiteY66174" fmla="*/ 761957 h 5973007"/>
              <a:gd name="connsiteX66175" fmla="*/ 1546365 w 6884782"/>
              <a:gd name="connsiteY66175" fmla="*/ 760563 h 5973007"/>
              <a:gd name="connsiteX66176" fmla="*/ 1548327 w 6884782"/>
              <a:gd name="connsiteY66176" fmla="*/ 759789 h 5973007"/>
              <a:gd name="connsiteX66177" fmla="*/ 1397470 w 6884782"/>
              <a:gd name="connsiteY66177" fmla="*/ 759324 h 5973007"/>
              <a:gd name="connsiteX66178" fmla="*/ 1399329 w 6884782"/>
              <a:gd name="connsiteY66178" fmla="*/ 759634 h 5973007"/>
              <a:gd name="connsiteX66179" fmla="*/ 1400877 w 6884782"/>
              <a:gd name="connsiteY66179" fmla="*/ 760718 h 5973007"/>
              <a:gd name="connsiteX66180" fmla="*/ 1398502 w 6884782"/>
              <a:gd name="connsiteY66180" fmla="*/ 762887 h 5973007"/>
              <a:gd name="connsiteX66181" fmla="*/ 1397573 w 6884782"/>
              <a:gd name="connsiteY66181" fmla="*/ 761493 h 5973007"/>
              <a:gd name="connsiteX66182" fmla="*/ 1396850 w 6884782"/>
              <a:gd name="connsiteY66182" fmla="*/ 761802 h 5973007"/>
              <a:gd name="connsiteX66183" fmla="*/ 1396747 w 6884782"/>
              <a:gd name="connsiteY66183" fmla="*/ 760099 h 5973007"/>
              <a:gd name="connsiteX66184" fmla="*/ 1397470 w 6884782"/>
              <a:gd name="connsiteY66184" fmla="*/ 759634 h 5973007"/>
              <a:gd name="connsiteX66185" fmla="*/ 1397470 w 6884782"/>
              <a:gd name="connsiteY66185" fmla="*/ 759324 h 5973007"/>
              <a:gd name="connsiteX66186" fmla="*/ 1345016 w 6884782"/>
              <a:gd name="connsiteY66186" fmla="*/ 758704 h 5973007"/>
              <a:gd name="connsiteX66187" fmla="*/ 1352554 w 6884782"/>
              <a:gd name="connsiteY66187" fmla="*/ 761338 h 5973007"/>
              <a:gd name="connsiteX66188" fmla="*/ 1350385 w 6884782"/>
              <a:gd name="connsiteY66188" fmla="*/ 765830 h 5973007"/>
              <a:gd name="connsiteX66189" fmla="*/ 1345016 w 6884782"/>
              <a:gd name="connsiteY66189" fmla="*/ 758704 h 5973007"/>
              <a:gd name="connsiteX66190" fmla="*/ 1789986 w 6884782"/>
              <a:gd name="connsiteY66190" fmla="*/ 757911 h 5973007"/>
              <a:gd name="connsiteX66191" fmla="*/ 1797175 w 6884782"/>
              <a:gd name="connsiteY66191" fmla="*/ 758550 h 5973007"/>
              <a:gd name="connsiteX66192" fmla="*/ 1799033 w 6884782"/>
              <a:gd name="connsiteY66192" fmla="*/ 763042 h 5973007"/>
              <a:gd name="connsiteX66193" fmla="*/ 1785817 w 6884782"/>
              <a:gd name="connsiteY66193" fmla="*/ 765055 h 5973007"/>
              <a:gd name="connsiteX66194" fmla="*/ 1789986 w 6884782"/>
              <a:gd name="connsiteY66194" fmla="*/ 757911 h 5973007"/>
              <a:gd name="connsiteX66195" fmla="*/ 1231537 w 6884782"/>
              <a:gd name="connsiteY66195" fmla="*/ 754523 h 5973007"/>
              <a:gd name="connsiteX66196" fmla="*/ 1238559 w 6884782"/>
              <a:gd name="connsiteY66196" fmla="*/ 755607 h 5973007"/>
              <a:gd name="connsiteX66197" fmla="*/ 1237010 w 6884782"/>
              <a:gd name="connsiteY66197" fmla="*/ 761957 h 5973007"/>
              <a:gd name="connsiteX66198" fmla="*/ 1230092 w 6884782"/>
              <a:gd name="connsiteY66198" fmla="*/ 759014 h 5973007"/>
              <a:gd name="connsiteX66199" fmla="*/ 1231537 w 6884782"/>
              <a:gd name="connsiteY66199" fmla="*/ 754523 h 5973007"/>
              <a:gd name="connsiteX66200" fmla="*/ 3992870 w 6884782"/>
              <a:gd name="connsiteY66200" fmla="*/ 754167 h 5973007"/>
              <a:gd name="connsiteX66201" fmla="*/ 3993724 w 6884782"/>
              <a:gd name="connsiteY66201" fmla="*/ 756586 h 5973007"/>
              <a:gd name="connsiteX66202" fmla="*/ 3988815 w 6884782"/>
              <a:gd name="connsiteY66202" fmla="*/ 760000 h 5973007"/>
              <a:gd name="connsiteX66203" fmla="*/ 3988601 w 6884782"/>
              <a:gd name="connsiteY66203" fmla="*/ 761281 h 5973007"/>
              <a:gd name="connsiteX66204" fmla="*/ 3990736 w 6884782"/>
              <a:gd name="connsiteY66204" fmla="*/ 763700 h 5973007"/>
              <a:gd name="connsiteX66205" fmla="*/ 3989455 w 6884782"/>
              <a:gd name="connsiteY66205" fmla="*/ 775650 h 5973007"/>
              <a:gd name="connsiteX66206" fmla="*/ 3976437 w 6884782"/>
              <a:gd name="connsiteY66206" fmla="*/ 779065 h 5973007"/>
              <a:gd name="connsiteX66207" fmla="*/ 3970887 w 6884782"/>
              <a:gd name="connsiteY66207" fmla="*/ 775366 h 5973007"/>
              <a:gd name="connsiteX66208" fmla="*/ 3973662 w 6884782"/>
              <a:gd name="connsiteY66208" fmla="*/ 760996 h 5973007"/>
              <a:gd name="connsiteX66209" fmla="*/ 3986467 w 6884782"/>
              <a:gd name="connsiteY66209" fmla="*/ 758862 h 5973007"/>
              <a:gd name="connsiteX66210" fmla="*/ 3987961 w 6884782"/>
              <a:gd name="connsiteY66210" fmla="*/ 756444 h 5973007"/>
              <a:gd name="connsiteX66211" fmla="*/ 3992870 w 6884782"/>
              <a:gd name="connsiteY66211" fmla="*/ 754167 h 5973007"/>
              <a:gd name="connsiteX66212" fmla="*/ 2962693 w 6884782"/>
              <a:gd name="connsiteY66212" fmla="*/ 754167 h 5973007"/>
              <a:gd name="connsiteX66213" fmla="*/ 2965894 w 6884782"/>
              <a:gd name="connsiteY66213" fmla="*/ 754737 h 5973007"/>
              <a:gd name="connsiteX66214" fmla="*/ 2968028 w 6884782"/>
              <a:gd name="connsiteY66214" fmla="*/ 760996 h 5973007"/>
              <a:gd name="connsiteX66215" fmla="*/ 2966534 w 6884782"/>
              <a:gd name="connsiteY66215" fmla="*/ 763130 h 5973007"/>
              <a:gd name="connsiteX66216" fmla="*/ 2965254 w 6884782"/>
              <a:gd name="connsiteY66216" fmla="*/ 762988 h 5973007"/>
              <a:gd name="connsiteX66217" fmla="*/ 2960772 w 6884782"/>
              <a:gd name="connsiteY66217" fmla="*/ 762277 h 5973007"/>
              <a:gd name="connsiteX66218" fmla="*/ 2958851 w 6884782"/>
              <a:gd name="connsiteY66218" fmla="*/ 756017 h 5973007"/>
              <a:gd name="connsiteX66219" fmla="*/ 2962693 w 6884782"/>
              <a:gd name="connsiteY66219" fmla="*/ 754167 h 5973007"/>
              <a:gd name="connsiteX66220" fmla="*/ 3312701 w 6884782"/>
              <a:gd name="connsiteY66220" fmla="*/ 752745 h 5973007"/>
              <a:gd name="connsiteX66221" fmla="*/ 3319530 w 6884782"/>
              <a:gd name="connsiteY66221" fmla="*/ 757298 h 5973007"/>
              <a:gd name="connsiteX66222" fmla="*/ 3301390 w 6884782"/>
              <a:gd name="connsiteY66222" fmla="*/ 761423 h 5973007"/>
              <a:gd name="connsiteX66223" fmla="*/ 3301177 w 6884782"/>
              <a:gd name="connsiteY66223" fmla="*/ 753741 h 5973007"/>
              <a:gd name="connsiteX66224" fmla="*/ 3312701 w 6884782"/>
              <a:gd name="connsiteY66224" fmla="*/ 752745 h 5973007"/>
              <a:gd name="connsiteX66225" fmla="*/ 1681837 w 6884782"/>
              <a:gd name="connsiteY66225" fmla="*/ 750340 h 5973007"/>
              <a:gd name="connsiteX66226" fmla="*/ 1684212 w 6884782"/>
              <a:gd name="connsiteY66226" fmla="*/ 752044 h 5973007"/>
              <a:gd name="connsiteX66227" fmla="*/ 1684522 w 6884782"/>
              <a:gd name="connsiteY66227" fmla="*/ 755452 h 5973007"/>
              <a:gd name="connsiteX66228" fmla="*/ 1677294 w 6884782"/>
              <a:gd name="connsiteY66228" fmla="*/ 756691 h 5973007"/>
              <a:gd name="connsiteX66229" fmla="*/ 1678946 w 6884782"/>
              <a:gd name="connsiteY66229" fmla="*/ 751734 h 5973007"/>
              <a:gd name="connsiteX66230" fmla="*/ 1681837 w 6884782"/>
              <a:gd name="connsiteY66230" fmla="*/ 750340 h 5973007"/>
              <a:gd name="connsiteX66231" fmla="*/ 2080097 w 6884782"/>
              <a:gd name="connsiteY66231" fmla="*/ 748326 h 5973007"/>
              <a:gd name="connsiteX66232" fmla="*/ 2071527 w 6884782"/>
              <a:gd name="connsiteY66232" fmla="*/ 754523 h 5973007"/>
              <a:gd name="connsiteX66233" fmla="*/ 2067190 w 6884782"/>
              <a:gd name="connsiteY66233" fmla="*/ 757465 h 5973007"/>
              <a:gd name="connsiteX66234" fmla="*/ 2066054 w 6884782"/>
              <a:gd name="connsiteY66234" fmla="*/ 758550 h 5973007"/>
              <a:gd name="connsiteX66235" fmla="*/ 2065435 w 6884782"/>
              <a:gd name="connsiteY66235" fmla="*/ 758550 h 5973007"/>
              <a:gd name="connsiteX66236" fmla="*/ 2064918 w 6884782"/>
              <a:gd name="connsiteY66236" fmla="*/ 759169 h 5973007"/>
              <a:gd name="connsiteX66237" fmla="*/ 2063886 w 6884782"/>
              <a:gd name="connsiteY66237" fmla="*/ 759789 h 5973007"/>
              <a:gd name="connsiteX66238" fmla="*/ 2061334 w 6884782"/>
              <a:gd name="connsiteY66238" fmla="*/ 762291 h 5973007"/>
              <a:gd name="connsiteX66239" fmla="*/ 2083984 w 6884782"/>
              <a:gd name="connsiteY66239" fmla="*/ 748417 h 5973007"/>
              <a:gd name="connsiteX66240" fmla="*/ 2910832 w 6884782"/>
              <a:gd name="connsiteY66240" fmla="*/ 747623 h 5973007"/>
              <a:gd name="connsiteX66241" fmla="*/ 2908484 w 6884782"/>
              <a:gd name="connsiteY66241" fmla="*/ 756301 h 5973007"/>
              <a:gd name="connsiteX66242" fmla="*/ 2907630 w 6884782"/>
              <a:gd name="connsiteY66242" fmla="*/ 754737 h 5973007"/>
              <a:gd name="connsiteX66243" fmla="*/ 2908484 w 6884782"/>
              <a:gd name="connsiteY66243" fmla="*/ 752460 h 5973007"/>
              <a:gd name="connsiteX66244" fmla="*/ 2910832 w 6884782"/>
              <a:gd name="connsiteY66244" fmla="*/ 747623 h 5973007"/>
              <a:gd name="connsiteX66245" fmla="*/ 1263237 w 6884782"/>
              <a:gd name="connsiteY66245" fmla="*/ 745383 h 5973007"/>
              <a:gd name="connsiteX66246" fmla="*/ 1262721 w 6884782"/>
              <a:gd name="connsiteY66246" fmla="*/ 756226 h 5973007"/>
              <a:gd name="connsiteX66247" fmla="*/ 1256732 w 6884782"/>
              <a:gd name="connsiteY66247" fmla="*/ 751579 h 5973007"/>
              <a:gd name="connsiteX66248" fmla="*/ 1257248 w 6884782"/>
              <a:gd name="connsiteY66248" fmla="*/ 748172 h 5973007"/>
              <a:gd name="connsiteX66249" fmla="*/ 1263237 w 6884782"/>
              <a:gd name="connsiteY66249" fmla="*/ 745383 h 5973007"/>
              <a:gd name="connsiteX66250" fmla="*/ 3370111 w 6884782"/>
              <a:gd name="connsiteY66250" fmla="*/ 743498 h 5973007"/>
              <a:gd name="connsiteX66251" fmla="*/ 3370111 w 6884782"/>
              <a:gd name="connsiteY66251" fmla="*/ 743782 h 5973007"/>
              <a:gd name="connsiteX66252" fmla="*/ 3370965 w 6884782"/>
              <a:gd name="connsiteY66252" fmla="*/ 743498 h 5973007"/>
              <a:gd name="connsiteX66253" fmla="*/ 1481107 w 6884782"/>
              <a:gd name="connsiteY66253" fmla="*/ 743060 h 5973007"/>
              <a:gd name="connsiteX66254" fmla="*/ 1484308 w 6884782"/>
              <a:gd name="connsiteY66254" fmla="*/ 743370 h 5973007"/>
              <a:gd name="connsiteX66255" fmla="*/ 1486890 w 6884782"/>
              <a:gd name="connsiteY66255" fmla="*/ 746003 h 5973007"/>
              <a:gd name="connsiteX66256" fmla="*/ 1481727 w 6884782"/>
              <a:gd name="connsiteY66256" fmla="*/ 750495 h 5973007"/>
              <a:gd name="connsiteX66257" fmla="*/ 1479765 w 6884782"/>
              <a:gd name="connsiteY66257" fmla="*/ 745693 h 5973007"/>
              <a:gd name="connsiteX66258" fmla="*/ 1481107 w 6884782"/>
              <a:gd name="connsiteY66258" fmla="*/ 743060 h 5973007"/>
              <a:gd name="connsiteX66259" fmla="*/ 2980193 w 6884782"/>
              <a:gd name="connsiteY66259" fmla="*/ 742786 h 5973007"/>
              <a:gd name="connsiteX66260" fmla="*/ 2985742 w 6884782"/>
              <a:gd name="connsiteY66260" fmla="*/ 743070 h 5973007"/>
              <a:gd name="connsiteX66261" fmla="*/ 2984675 w 6884782"/>
              <a:gd name="connsiteY66261" fmla="*/ 743213 h 5973007"/>
              <a:gd name="connsiteX66262" fmla="*/ 2984888 w 6884782"/>
              <a:gd name="connsiteY66262" fmla="*/ 745631 h 5973007"/>
              <a:gd name="connsiteX66263" fmla="*/ 2986169 w 6884782"/>
              <a:gd name="connsiteY66263" fmla="*/ 745489 h 5973007"/>
              <a:gd name="connsiteX66264" fmla="*/ 2985315 w 6884782"/>
              <a:gd name="connsiteY66264" fmla="*/ 748050 h 5973007"/>
              <a:gd name="connsiteX66265" fmla="*/ 2977632 w 6884782"/>
              <a:gd name="connsiteY66265" fmla="*/ 752034 h 5973007"/>
              <a:gd name="connsiteX66266" fmla="*/ 2976779 w 6884782"/>
              <a:gd name="connsiteY66266" fmla="*/ 746058 h 5973007"/>
              <a:gd name="connsiteX66267" fmla="*/ 2980193 w 6884782"/>
              <a:gd name="connsiteY66267" fmla="*/ 742786 h 5973007"/>
              <a:gd name="connsiteX66268" fmla="*/ 3465296 w 6884782"/>
              <a:gd name="connsiteY66268" fmla="*/ 740368 h 5973007"/>
              <a:gd name="connsiteX66269" fmla="*/ 3467857 w 6884782"/>
              <a:gd name="connsiteY66269" fmla="*/ 740936 h 5973007"/>
              <a:gd name="connsiteX66270" fmla="*/ 3468711 w 6884782"/>
              <a:gd name="connsiteY66270" fmla="*/ 742217 h 5973007"/>
              <a:gd name="connsiteX66271" fmla="*/ 3466150 w 6884782"/>
              <a:gd name="connsiteY66271" fmla="*/ 746912 h 5973007"/>
              <a:gd name="connsiteX66272" fmla="*/ 3462522 w 6884782"/>
              <a:gd name="connsiteY66272" fmla="*/ 748050 h 5973007"/>
              <a:gd name="connsiteX66273" fmla="*/ 3461881 w 6884782"/>
              <a:gd name="connsiteY66273" fmla="*/ 744493 h 5973007"/>
              <a:gd name="connsiteX66274" fmla="*/ 3463376 w 6884782"/>
              <a:gd name="connsiteY66274" fmla="*/ 740936 h 5973007"/>
              <a:gd name="connsiteX66275" fmla="*/ 3465296 w 6884782"/>
              <a:gd name="connsiteY66275" fmla="*/ 740368 h 5973007"/>
              <a:gd name="connsiteX66276" fmla="*/ 1720146 w 6884782"/>
              <a:gd name="connsiteY66276" fmla="*/ 738413 h 5973007"/>
              <a:gd name="connsiteX66277" fmla="*/ 1725205 w 6884782"/>
              <a:gd name="connsiteY66277" fmla="*/ 744919 h 5973007"/>
              <a:gd name="connsiteX66278" fmla="*/ 1712711 w 6884782"/>
              <a:gd name="connsiteY66278" fmla="*/ 747397 h 5973007"/>
              <a:gd name="connsiteX66279" fmla="*/ 1720146 w 6884782"/>
              <a:gd name="connsiteY66279" fmla="*/ 738413 h 5973007"/>
              <a:gd name="connsiteX66280" fmla="*/ 3121690 w 6884782"/>
              <a:gd name="connsiteY66280" fmla="*/ 738091 h 5973007"/>
              <a:gd name="connsiteX66281" fmla="*/ 3125318 w 6884782"/>
              <a:gd name="connsiteY66281" fmla="*/ 741933 h 5973007"/>
              <a:gd name="connsiteX66282" fmla="*/ 3125959 w 6884782"/>
              <a:gd name="connsiteY66282" fmla="*/ 745205 h 5973007"/>
              <a:gd name="connsiteX66283" fmla="*/ 3116568 w 6884782"/>
              <a:gd name="connsiteY66283" fmla="*/ 740652 h 5973007"/>
              <a:gd name="connsiteX66284" fmla="*/ 3121690 w 6884782"/>
              <a:gd name="connsiteY66284" fmla="*/ 738091 h 5973007"/>
              <a:gd name="connsiteX66285" fmla="*/ 2923637 w 6884782"/>
              <a:gd name="connsiteY66285" fmla="*/ 737949 h 5973007"/>
              <a:gd name="connsiteX66286" fmla="*/ 2925771 w 6884782"/>
              <a:gd name="connsiteY66286" fmla="*/ 738233 h 5973007"/>
              <a:gd name="connsiteX66287" fmla="*/ 2917448 w 6884782"/>
              <a:gd name="connsiteY66287" fmla="*/ 744635 h 5973007"/>
              <a:gd name="connsiteX66288" fmla="*/ 2923637 w 6884782"/>
              <a:gd name="connsiteY66288" fmla="*/ 737949 h 5973007"/>
              <a:gd name="connsiteX66289" fmla="*/ 3231815 w 6884782"/>
              <a:gd name="connsiteY66289" fmla="*/ 736384 h 5973007"/>
              <a:gd name="connsiteX66290" fmla="*/ 3243340 w 6884782"/>
              <a:gd name="connsiteY66290" fmla="*/ 755590 h 5973007"/>
              <a:gd name="connsiteX66291" fmla="*/ 3264255 w 6884782"/>
              <a:gd name="connsiteY66291" fmla="*/ 746485 h 5973007"/>
              <a:gd name="connsiteX66292" fmla="*/ 3245047 w 6884782"/>
              <a:gd name="connsiteY66292" fmla="*/ 766687 h 5973007"/>
              <a:gd name="connsiteX66293" fmla="*/ 3243126 w 6884782"/>
              <a:gd name="connsiteY66293" fmla="*/ 776931 h 5973007"/>
              <a:gd name="connsiteX66294" fmla="*/ 3241633 w 6884782"/>
              <a:gd name="connsiteY66294" fmla="*/ 778353 h 5973007"/>
              <a:gd name="connsiteX66295" fmla="*/ 3241846 w 6884782"/>
              <a:gd name="connsiteY66295" fmla="*/ 784186 h 5973007"/>
              <a:gd name="connsiteX66296" fmla="*/ 3233736 w 6884782"/>
              <a:gd name="connsiteY66296" fmla="*/ 780203 h 5973007"/>
              <a:gd name="connsiteX66297" fmla="*/ 3234803 w 6884782"/>
              <a:gd name="connsiteY66297" fmla="*/ 777926 h 5973007"/>
              <a:gd name="connsiteX66298" fmla="*/ 3237364 w 6884782"/>
              <a:gd name="connsiteY66298" fmla="*/ 776504 h 5973007"/>
              <a:gd name="connsiteX66299" fmla="*/ 3236083 w 6884782"/>
              <a:gd name="connsiteY66299" fmla="*/ 773943 h 5973007"/>
              <a:gd name="connsiteX66300" fmla="*/ 3235016 w 6884782"/>
              <a:gd name="connsiteY66300" fmla="*/ 775223 h 5973007"/>
              <a:gd name="connsiteX66301" fmla="*/ 3225199 w 6884782"/>
              <a:gd name="connsiteY66301" fmla="*/ 781483 h 5973007"/>
              <a:gd name="connsiteX66302" fmla="*/ 3219224 w 6884782"/>
              <a:gd name="connsiteY66302" fmla="*/ 784328 h 5973007"/>
              <a:gd name="connsiteX66303" fmla="*/ 3221784 w 6884782"/>
              <a:gd name="connsiteY66303" fmla="*/ 785609 h 5973007"/>
              <a:gd name="connsiteX66304" fmla="*/ 3227760 w 6884782"/>
              <a:gd name="connsiteY66304" fmla="*/ 793434 h 5973007"/>
              <a:gd name="connsiteX66305" fmla="*/ 3217943 w 6884782"/>
              <a:gd name="connsiteY66305" fmla="*/ 798271 h 5973007"/>
              <a:gd name="connsiteX66306" fmla="*/ 3212180 w 6884782"/>
              <a:gd name="connsiteY66306" fmla="*/ 795141 h 5973007"/>
              <a:gd name="connsiteX66307" fmla="*/ 3210686 w 6884782"/>
              <a:gd name="connsiteY66307" fmla="*/ 790446 h 5973007"/>
              <a:gd name="connsiteX66308" fmla="*/ 3209620 w 6884782"/>
              <a:gd name="connsiteY66308" fmla="*/ 788454 h 5973007"/>
              <a:gd name="connsiteX66309" fmla="*/ 3191265 w 6884782"/>
              <a:gd name="connsiteY66309" fmla="*/ 795568 h 5973007"/>
              <a:gd name="connsiteX66310" fmla="*/ 3189558 w 6884782"/>
              <a:gd name="connsiteY66310" fmla="*/ 790162 h 5973007"/>
              <a:gd name="connsiteX66311" fmla="*/ 3188918 w 6884782"/>
              <a:gd name="connsiteY66311" fmla="*/ 783760 h 5973007"/>
              <a:gd name="connsiteX66312" fmla="*/ 3183156 w 6884782"/>
              <a:gd name="connsiteY66312" fmla="*/ 779633 h 5973007"/>
              <a:gd name="connsiteX66313" fmla="*/ 3181875 w 6884782"/>
              <a:gd name="connsiteY66313" fmla="*/ 769959 h 5973007"/>
              <a:gd name="connsiteX66314" fmla="*/ 3189771 w 6884782"/>
              <a:gd name="connsiteY66314" fmla="*/ 767683 h 5973007"/>
              <a:gd name="connsiteX66315" fmla="*/ 3195747 w 6884782"/>
              <a:gd name="connsiteY66315" fmla="*/ 767967 h 5973007"/>
              <a:gd name="connsiteX66316" fmla="*/ 3203857 w 6884782"/>
              <a:gd name="connsiteY66316" fmla="*/ 774796 h 5973007"/>
              <a:gd name="connsiteX66317" fmla="*/ 3200015 w 6884782"/>
              <a:gd name="connsiteY66317" fmla="*/ 778923 h 5973007"/>
              <a:gd name="connsiteX66318" fmla="*/ 3218156 w 6884782"/>
              <a:gd name="connsiteY66318" fmla="*/ 772662 h 5973007"/>
              <a:gd name="connsiteX66319" fmla="*/ 3233309 w 6884782"/>
              <a:gd name="connsiteY66319" fmla="*/ 767683 h 5973007"/>
              <a:gd name="connsiteX66320" fmla="*/ 3231388 w 6884782"/>
              <a:gd name="connsiteY66320" fmla="*/ 763557 h 5973007"/>
              <a:gd name="connsiteX66321" fmla="*/ 3229467 w 6884782"/>
              <a:gd name="connsiteY66321" fmla="*/ 747054 h 5973007"/>
              <a:gd name="connsiteX66322" fmla="*/ 3231815 w 6884782"/>
              <a:gd name="connsiteY66322" fmla="*/ 736384 h 5973007"/>
              <a:gd name="connsiteX66323" fmla="*/ 1650758 w 6884782"/>
              <a:gd name="connsiteY66323" fmla="*/ 735780 h 5973007"/>
              <a:gd name="connsiteX66324" fmla="*/ 1652513 w 6884782"/>
              <a:gd name="connsiteY66324" fmla="*/ 736864 h 5973007"/>
              <a:gd name="connsiteX66325" fmla="*/ 1650861 w 6884782"/>
              <a:gd name="connsiteY66325" fmla="*/ 740582 h 5973007"/>
              <a:gd name="connsiteX66326" fmla="*/ 1651377 w 6884782"/>
              <a:gd name="connsiteY66326" fmla="*/ 741356 h 5973007"/>
              <a:gd name="connsiteX66327" fmla="*/ 1653752 w 6884782"/>
              <a:gd name="connsiteY66327" fmla="*/ 742131 h 5973007"/>
              <a:gd name="connsiteX66328" fmla="*/ 1658399 w 6884782"/>
              <a:gd name="connsiteY66328" fmla="*/ 749411 h 5973007"/>
              <a:gd name="connsiteX66329" fmla="*/ 1651583 w 6884782"/>
              <a:gd name="connsiteY66329" fmla="*/ 755916 h 5973007"/>
              <a:gd name="connsiteX66330" fmla="*/ 1646421 w 6884782"/>
              <a:gd name="connsiteY66330" fmla="*/ 755607 h 5973007"/>
              <a:gd name="connsiteX66331" fmla="*/ 1641671 w 6884782"/>
              <a:gd name="connsiteY66331" fmla="*/ 746313 h 5973007"/>
              <a:gd name="connsiteX66332" fmla="*/ 1648899 w 6884782"/>
              <a:gd name="connsiteY66332" fmla="*/ 740582 h 5973007"/>
              <a:gd name="connsiteX66333" fmla="*/ 1648692 w 6884782"/>
              <a:gd name="connsiteY66333" fmla="*/ 738723 h 5973007"/>
              <a:gd name="connsiteX66334" fmla="*/ 1650758 w 6884782"/>
              <a:gd name="connsiteY66334" fmla="*/ 735780 h 5973007"/>
              <a:gd name="connsiteX66335" fmla="*/ 3573500 w 6884782"/>
              <a:gd name="connsiteY66335" fmla="*/ 735246 h 5973007"/>
              <a:gd name="connsiteX66336" fmla="*/ 3569872 w 6884782"/>
              <a:gd name="connsiteY66336" fmla="*/ 745631 h 5973007"/>
              <a:gd name="connsiteX66337" fmla="*/ 3563683 w 6884782"/>
              <a:gd name="connsiteY66337" fmla="*/ 742501 h 5973007"/>
              <a:gd name="connsiteX66338" fmla="*/ 3573500 w 6884782"/>
              <a:gd name="connsiteY66338" fmla="*/ 735246 h 5973007"/>
              <a:gd name="connsiteX66339" fmla="*/ 1568566 w 6884782"/>
              <a:gd name="connsiteY66339" fmla="*/ 729894 h 5973007"/>
              <a:gd name="connsiteX66340" fmla="*/ 1568978 w 6884782"/>
              <a:gd name="connsiteY66340" fmla="*/ 734541 h 5973007"/>
              <a:gd name="connsiteX66341" fmla="*/ 1565468 w 6884782"/>
              <a:gd name="connsiteY66341" fmla="*/ 734231 h 5973007"/>
              <a:gd name="connsiteX66342" fmla="*/ 1568566 w 6884782"/>
              <a:gd name="connsiteY66342" fmla="*/ 729894 h 5973007"/>
              <a:gd name="connsiteX66343" fmla="*/ 1603466 w 6884782"/>
              <a:gd name="connsiteY66343" fmla="*/ 729119 h 5973007"/>
              <a:gd name="connsiteX66344" fmla="*/ 1618645 w 6884782"/>
              <a:gd name="connsiteY66344" fmla="*/ 738413 h 5973007"/>
              <a:gd name="connsiteX66345" fmla="*/ 1620297 w 6884782"/>
              <a:gd name="connsiteY66345" fmla="*/ 755297 h 5973007"/>
              <a:gd name="connsiteX66346" fmla="*/ 1603466 w 6884782"/>
              <a:gd name="connsiteY66346" fmla="*/ 729119 h 5973007"/>
              <a:gd name="connsiteX66347" fmla="*/ 3356026 w 6884782"/>
              <a:gd name="connsiteY66347" fmla="*/ 727563 h 5973007"/>
              <a:gd name="connsiteX66348" fmla="*/ 3359440 w 6884782"/>
              <a:gd name="connsiteY66348" fmla="*/ 728559 h 5973007"/>
              <a:gd name="connsiteX66349" fmla="*/ 3360934 w 6884782"/>
              <a:gd name="connsiteY66349" fmla="*/ 729697 h 5973007"/>
              <a:gd name="connsiteX66350" fmla="*/ 3362001 w 6884782"/>
              <a:gd name="connsiteY66350" fmla="*/ 729697 h 5973007"/>
              <a:gd name="connsiteX66351" fmla="*/ 3362215 w 6884782"/>
              <a:gd name="connsiteY66351" fmla="*/ 730835 h 5973007"/>
              <a:gd name="connsiteX66352" fmla="*/ 3364775 w 6884782"/>
              <a:gd name="connsiteY66352" fmla="*/ 733112 h 5973007"/>
              <a:gd name="connsiteX66353" fmla="*/ 3372245 w 6884782"/>
              <a:gd name="connsiteY66353" fmla="*/ 736242 h 5973007"/>
              <a:gd name="connsiteX66354" fmla="*/ 3378008 w 6884782"/>
              <a:gd name="connsiteY66354" fmla="*/ 743070 h 5973007"/>
              <a:gd name="connsiteX66355" fmla="*/ 3375873 w 6884782"/>
              <a:gd name="connsiteY66355" fmla="*/ 745631 h 5973007"/>
              <a:gd name="connsiteX66356" fmla="*/ 3378648 w 6884782"/>
              <a:gd name="connsiteY66356" fmla="*/ 747908 h 5973007"/>
              <a:gd name="connsiteX66357" fmla="*/ 3379501 w 6884782"/>
              <a:gd name="connsiteY66357" fmla="*/ 763415 h 5973007"/>
              <a:gd name="connsiteX66358" fmla="*/ 3374380 w 6884782"/>
              <a:gd name="connsiteY66358" fmla="*/ 767256 h 5973007"/>
              <a:gd name="connsiteX66359" fmla="*/ 3365842 w 6884782"/>
              <a:gd name="connsiteY66359" fmla="*/ 765407 h 5973007"/>
              <a:gd name="connsiteX66360" fmla="*/ 3363282 w 6884782"/>
              <a:gd name="connsiteY66360" fmla="*/ 761138 h 5973007"/>
              <a:gd name="connsiteX66361" fmla="*/ 3360721 w 6884782"/>
              <a:gd name="connsiteY66361" fmla="*/ 762988 h 5973007"/>
              <a:gd name="connsiteX66362" fmla="*/ 3342580 w 6884782"/>
              <a:gd name="connsiteY66362" fmla="*/ 754310 h 5973007"/>
              <a:gd name="connsiteX66363" fmla="*/ 3342153 w 6884782"/>
              <a:gd name="connsiteY66363" fmla="*/ 751037 h 5973007"/>
              <a:gd name="connsiteX66364" fmla="*/ 3339805 w 6884782"/>
              <a:gd name="connsiteY66364" fmla="*/ 746485 h 5973007"/>
              <a:gd name="connsiteX66365" fmla="*/ 3352397 w 6884782"/>
              <a:gd name="connsiteY66365" fmla="*/ 736953 h 5973007"/>
              <a:gd name="connsiteX66366" fmla="*/ 3359654 w 6884782"/>
              <a:gd name="connsiteY66366" fmla="*/ 735246 h 5973007"/>
              <a:gd name="connsiteX66367" fmla="*/ 3361147 w 6884782"/>
              <a:gd name="connsiteY66367" fmla="*/ 735672 h 5973007"/>
              <a:gd name="connsiteX66368" fmla="*/ 3360721 w 6884782"/>
              <a:gd name="connsiteY66368" fmla="*/ 735246 h 5973007"/>
              <a:gd name="connsiteX66369" fmla="*/ 3356026 w 6884782"/>
              <a:gd name="connsiteY66369" fmla="*/ 727563 h 5973007"/>
              <a:gd name="connsiteX66370" fmla="*/ 3513956 w 6884782"/>
              <a:gd name="connsiteY66370" fmla="*/ 727421 h 5973007"/>
              <a:gd name="connsiteX66371" fmla="*/ 3513103 w 6884782"/>
              <a:gd name="connsiteY66371" fmla="*/ 736099 h 5973007"/>
              <a:gd name="connsiteX66372" fmla="*/ 3505420 w 6884782"/>
              <a:gd name="connsiteY66372" fmla="*/ 733539 h 5973007"/>
              <a:gd name="connsiteX66373" fmla="*/ 3513956 w 6884782"/>
              <a:gd name="connsiteY66373" fmla="*/ 727421 h 5973007"/>
              <a:gd name="connsiteX66374" fmla="*/ 1415539 w 6884782"/>
              <a:gd name="connsiteY66374" fmla="*/ 727261 h 5973007"/>
              <a:gd name="connsiteX66375" fmla="*/ 1405833 w 6884782"/>
              <a:gd name="connsiteY66375" fmla="*/ 727415 h 5973007"/>
              <a:gd name="connsiteX66376" fmla="*/ 1415539 w 6884782"/>
              <a:gd name="connsiteY66376" fmla="*/ 727261 h 5973007"/>
              <a:gd name="connsiteX66377" fmla="*/ 3848599 w 6884782"/>
              <a:gd name="connsiteY66377" fmla="*/ 727136 h 5973007"/>
              <a:gd name="connsiteX66378" fmla="*/ 3851159 w 6884782"/>
              <a:gd name="connsiteY66378" fmla="*/ 728986 h 5973007"/>
              <a:gd name="connsiteX66379" fmla="*/ 3847318 w 6884782"/>
              <a:gd name="connsiteY66379" fmla="*/ 732543 h 5973007"/>
              <a:gd name="connsiteX66380" fmla="*/ 3846678 w 6884782"/>
              <a:gd name="connsiteY66380" fmla="*/ 727848 h 5973007"/>
              <a:gd name="connsiteX66381" fmla="*/ 3848599 w 6884782"/>
              <a:gd name="connsiteY66381" fmla="*/ 727136 h 5973007"/>
              <a:gd name="connsiteX66382" fmla="*/ 3835366 w 6884782"/>
              <a:gd name="connsiteY66382" fmla="*/ 726710 h 5973007"/>
              <a:gd name="connsiteX66383" fmla="*/ 3838568 w 6884782"/>
              <a:gd name="connsiteY66383" fmla="*/ 730977 h 5973007"/>
              <a:gd name="connsiteX66384" fmla="*/ 3836647 w 6884782"/>
              <a:gd name="connsiteY66384" fmla="*/ 736099 h 5973007"/>
              <a:gd name="connsiteX66385" fmla="*/ 3834299 w 6884782"/>
              <a:gd name="connsiteY66385" fmla="*/ 737238 h 5973007"/>
              <a:gd name="connsiteX66386" fmla="*/ 3832165 w 6884782"/>
              <a:gd name="connsiteY66386" fmla="*/ 734819 h 5973007"/>
              <a:gd name="connsiteX66387" fmla="*/ 3833019 w 6884782"/>
              <a:gd name="connsiteY66387" fmla="*/ 727848 h 5973007"/>
              <a:gd name="connsiteX66388" fmla="*/ 3835366 w 6884782"/>
              <a:gd name="connsiteY66388" fmla="*/ 726710 h 5973007"/>
              <a:gd name="connsiteX66389" fmla="*/ 2877538 w 6884782"/>
              <a:gd name="connsiteY66389" fmla="*/ 722584 h 5973007"/>
              <a:gd name="connsiteX66390" fmla="*/ 2885008 w 6884782"/>
              <a:gd name="connsiteY66390" fmla="*/ 723864 h 5973007"/>
              <a:gd name="connsiteX66391" fmla="*/ 2882874 w 6884782"/>
              <a:gd name="connsiteY66391" fmla="*/ 726852 h 5973007"/>
              <a:gd name="connsiteX66392" fmla="*/ 2879673 w 6884782"/>
              <a:gd name="connsiteY66392" fmla="*/ 725856 h 5973007"/>
              <a:gd name="connsiteX66393" fmla="*/ 2877111 w 6884782"/>
              <a:gd name="connsiteY66393" fmla="*/ 725998 h 5973007"/>
              <a:gd name="connsiteX66394" fmla="*/ 2874977 w 6884782"/>
              <a:gd name="connsiteY66394" fmla="*/ 722868 h 5973007"/>
              <a:gd name="connsiteX66395" fmla="*/ 2877538 w 6884782"/>
              <a:gd name="connsiteY66395" fmla="*/ 722584 h 5973007"/>
              <a:gd name="connsiteX66396" fmla="*/ 1601814 w 6884782"/>
              <a:gd name="connsiteY66396" fmla="*/ 722149 h 5973007"/>
              <a:gd name="connsiteX66397" fmla="*/ 1602640 w 6884782"/>
              <a:gd name="connsiteY66397" fmla="*/ 722149 h 5973007"/>
              <a:gd name="connsiteX66398" fmla="*/ 1602846 w 6884782"/>
              <a:gd name="connsiteY66398" fmla="*/ 722149 h 5973007"/>
              <a:gd name="connsiteX66399" fmla="*/ 1604189 w 6884782"/>
              <a:gd name="connsiteY66399" fmla="*/ 723079 h 5973007"/>
              <a:gd name="connsiteX66400" fmla="*/ 1604705 w 6884782"/>
              <a:gd name="connsiteY66400" fmla="*/ 724782 h 5973007"/>
              <a:gd name="connsiteX66401" fmla="*/ 1601297 w 6884782"/>
              <a:gd name="connsiteY66401" fmla="*/ 725402 h 5973007"/>
              <a:gd name="connsiteX66402" fmla="*/ 1601504 w 6884782"/>
              <a:gd name="connsiteY66402" fmla="*/ 723698 h 5973007"/>
              <a:gd name="connsiteX66403" fmla="*/ 1600781 w 6884782"/>
              <a:gd name="connsiteY66403" fmla="*/ 723698 h 5973007"/>
              <a:gd name="connsiteX66404" fmla="*/ 1601814 w 6884782"/>
              <a:gd name="connsiteY66404" fmla="*/ 722149 h 5973007"/>
              <a:gd name="connsiteX66405" fmla="*/ 2894612 w 6884782"/>
              <a:gd name="connsiteY66405" fmla="*/ 720450 h 5973007"/>
              <a:gd name="connsiteX66406" fmla="*/ 2904215 w 6884782"/>
              <a:gd name="connsiteY66406" fmla="*/ 725429 h 5973007"/>
              <a:gd name="connsiteX66407" fmla="*/ 2905070 w 6884782"/>
              <a:gd name="connsiteY66407" fmla="*/ 728275 h 5973007"/>
              <a:gd name="connsiteX66408" fmla="*/ 2899734 w 6884782"/>
              <a:gd name="connsiteY66408" fmla="*/ 730409 h 5973007"/>
              <a:gd name="connsiteX66409" fmla="*/ 2890770 w 6884782"/>
              <a:gd name="connsiteY66409" fmla="*/ 723011 h 5973007"/>
              <a:gd name="connsiteX66410" fmla="*/ 2894612 w 6884782"/>
              <a:gd name="connsiteY66410" fmla="*/ 720450 h 5973007"/>
              <a:gd name="connsiteX66411" fmla="*/ 1818445 w 6884782"/>
              <a:gd name="connsiteY66411" fmla="*/ 719980 h 5973007"/>
              <a:gd name="connsiteX66412" fmla="*/ 1820924 w 6884782"/>
              <a:gd name="connsiteY66412" fmla="*/ 728810 h 5973007"/>
              <a:gd name="connsiteX66413" fmla="*/ 1813489 w 6884782"/>
              <a:gd name="connsiteY66413" fmla="*/ 724318 h 5973007"/>
              <a:gd name="connsiteX66414" fmla="*/ 1813799 w 6884782"/>
              <a:gd name="connsiteY66414" fmla="*/ 721375 h 5973007"/>
              <a:gd name="connsiteX66415" fmla="*/ 1815761 w 6884782"/>
              <a:gd name="connsiteY66415" fmla="*/ 720600 h 5973007"/>
              <a:gd name="connsiteX66416" fmla="*/ 1818445 w 6884782"/>
              <a:gd name="connsiteY66416" fmla="*/ 719980 h 5973007"/>
              <a:gd name="connsiteX66417" fmla="*/ 3424533 w 6884782"/>
              <a:gd name="connsiteY66417" fmla="*/ 719596 h 5973007"/>
              <a:gd name="connsiteX66418" fmla="*/ 3431789 w 6884782"/>
              <a:gd name="connsiteY66418" fmla="*/ 746770 h 5973007"/>
              <a:gd name="connsiteX66419" fmla="*/ 3424106 w 6884782"/>
              <a:gd name="connsiteY66419" fmla="*/ 733965 h 5973007"/>
              <a:gd name="connsiteX66420" fmla="*/ 3424533 w 6884782"/>
              <a:gd name="connsiteY66420" fmla="*/ 719596 h 5973007"/>
              <a:gd name="connsiteX66421" fmla="*/ 3855427 w 6884782"/>
              <a:gd name="connsiteY66421" fmla="*/ 716466 h 5973007"/>
              <a:gd name="connsiteX66422" fmla="*/ 3861403 w 6884782"/>
              <a:gd name="connsiteY66422" fmla="*/ 718458 h 5973007"/>
              <a:gd name="connsiteX66423" fmla="*/ 3863111 w 6884782"/>
              <a:gd name="connsiteY66423" fmla="*/ 721446 h 5973007"/>
              <a:gd name="connsiteX66424" fmla="*/ 3863111 w 6884782"/>
              <a:gd name="connsiteY66424" fmla="*/ 723295 h 5973007"/>
              <a:gd name="connsiteX66425" fmla="*/ 3862897 w 6884782"/>
              <a:gd name="connsiteY66425" fmla="*/ 725714 h 5973007"/>
              <a:gd name="connsiteX66426" fmla="*/ 3852440 w 6884782"/>
              <a:gd name="connsiteY66426" fmla="*/ 727990 h 5973007"/>
              <a:gd name="connsiteX66427" fmla="*/ 3850092 w 6884782"/>
              <a:gd name="connsiteY66427" fmla="*/ 718316 h 5973007"/>
              <a:gd name="connsiteX66428" fmla="*/ 3852440 w 6884782"/>
              <a:gd name="connsiteY66428" fmla="*/ 717178 h 5973007"/>
              <a:gd name="connsiteX66429" fmla="*/ 3855427 w 6884782"/>
              <a:gd name="connsiteY66429" fmla="*/ 716466 h 5973007"/>
              <a:gd name="connsiteX66430" fmla="*/ 3272365 w 6884782"/>
              <a:gd name="connsiteY66430" fmla="*/ 716039 h 5973007"/>
              <a:gd name="connsiteX66431" fmla="*/ 3264468 w 6884782"/>
              <a:gd name="connsiteY66431" fmla="*/ 725998 h 5973007"/>
              <a:gd name="connsiteX66432" fmla="*/ 3272365 w 6884782"/>
              <a:gd name="connsiteY66432" fmla="*/ 716039 h 5973007"/>
              <a:gd name="connsiteX66433" fmla="*/ 2839336 w 6884782"/>
              <a:gd name="connsiteY66433" fmla="*/ 715328 h 5973007"/>
              <a:gd name="connsiteX66434" fmla="*/ 2832293 w 6884782"/>
              <a:gd name="connsiteY66434" fmla="*/ 716751 h 5973007"/>
              <a:gd name="connsiteX66435" fmla="*/ 2832080 w 6884782"/>
              <a:gd name="connsiteY66435" fmla="*/ 717462 h 5973007"/>
              <a:gd name="connsiteX66436" fmla="*/ 2841044 w 6884782"/>
              <a:gd name="connsiteY66436" fmla="*/ 720308 h 5973007"/>
              <a:gd name="connsiteX66437" fmla="*/ 2847446 w 6884782"/>
              <a:gd name="connsiteY66437" fmla="*/ 720734 h 5973007"/>
              <a:gd name="connsiteX66438" fmla="*/ 2848727 w 6884782"/>
              <a:gd name="connsiteY66438" fmla="*/ 719738 h 5973007"/>
              <a:gd name="connsiteX66439" fmla="*/ 2848300 w 6884782"/>
              <a:gd name="connsiteY66439" fmla="*/ 719027 h 5973007"/>
              <a:gd name="connsiteX66440" fmla="*/ 2847660 w 6884782"/>
              <a:gd name="connsiteY66440" fmla="*/ 716039 h 5973007"/>
              <a:gd name="connsiteX66441" fmla="*/ 2839336 w 6884782"/>
              <a:gd name="connsiteY66441" fmla="*/ 715328 h 5973007"/>
              <a:gd name="connsiteX66442" fmla="*/ 3468711 w 6884782"/>
              <a:gd name="connsiteY66442" fmla="*/ 714759 h 5973007"/>
              <a:gd name="connsiteX66443" fmla="*/ 3473407 w 6884782"/>
              <a:gd name="connsiteY66443" fmla="*/ 715044 h 5973007"/>
              <a:gd name="connsiteX66444" fmla="*/ 3461241 w 6884782"/>
              <a:gd name="connsiteY66444" fmla="*/ 729555 h 5973007"/>
              <a:gd name="connsiteX66445" fmla="*/ 3456546 w 6884782"/>
              <a:gd name="connsiteY66445" fmla="*/ 720308 h 5973007"/>
              <a:gd name="connsiteX66446" fmla="*/ 3468711 w 6884782"/>
              <a:gd name="connsiteY66446" fmla="*/ 714759 h 5973007"/>
              <a:gd name="connsiteX66447" fmla="*/ 1477803 w 6884782"/>
              <a:gd name="connsiteY66447" fmla="*/ 713475 h 5973007"/>
              <a:gd name="connsiteX66448" fmla="*/ 1475428 w 6884782"/>
              <a:gd name="connsiteY66448" fmla="*/ 721529 h 5973007"/>
              <a:gd name="connsiteX66449" fmla="*/ 1473879 w 6884782"/>
              <a:gd name="connsiteY66449" fmla="*/ 719051 h 5973007"/>
              <a:gd name="connsiteX66450" fmla="*/ 1477803 w 6884782"/>
              <a:gd name="connsiteY66450" fmla="*/ 713475 h 5973007"/>
              <a:gd name="connsiteX66451" fmla="*/ 3493254 w 6884782"/>
              <a:gd name="connsiteY66451" fmla="*/ 713337 h 5973007"/>
              <a:gd name="connsiteX66452" fmla="*/ 3495602 w 6884782"/>
              <a:gd name="connsiteY66452" fmla="*/ 714332 h 5973007"/>
              <a:gd name="connsiteX66453" fmla="*/ 3493681 w 6884782"/>
              <a:gd name="connsiteY66453" fmla="*/ 723153 h 5973007"/>
              <a:gd name="connsiteX66454" fmla="*/ 3487278 w 6884782"/>
              <a:gd name="connsiteY66454" fmla="*/ 715897 h 5973007"/>
              <a:gd name="connsiteX66455" fmla="*/ 3493254 w 6884782"/>
              <a:gd name="connsiteY66455" fmla="*/ 713337 h 5973007"/>
              <a:gd name="connsiteX66456" fmla="*/ 1560718 w 6884782"/>
              <a:gd name="connsiteY66456" fmla="*/ 713010 h 5973007"/>
              <a:gd name="connsiteX66457" fmla="*/ 1550599 w 6884782"/>
              <a:gd name="connsiteY66457" fmla="*/ 734541 h 5973007"/>
              <a:gd name="connsiteX66458" fmla="*/ 1555452 w 6884782"/>
              <a:gd name="connsiteY66458" fmla="*/ 715178 h 5973007"/>
              <a:gd name="connsiteX66459" fmla="*/ 1560718 w 6884782"/>
              <a:gd name="connsiteY66459" fmla="*/ 713010 h 5973007"/>
              <a:gd name="connsiteX66460" fmla="*/ 2882447 w 6884782"/>
              <a:gd name="connsiteY66460" fmla="*/ 712340 h 5973007"/>
              <a:gd name="connsiteX66461" fmla="*/ 2884795 w 6884782"/>
              <a:gd name="connsiteY66461" fmla="*/ 713621 h 5973007"/>
              <a:gd name="connsiteX66462" fmla="*/ 2888209 w 6884782"/>
              <a:gd name="connsiteY66462" fmla="*/ 712767 h 5973007"/>
              <a:gd name="connsiteX66463" fmla="*/ 2889703 w 6884782"/>
              <a:gd name="connsiteY66463" fmla="*/ 714759 h 5973007"/>
              <a:gd name="connsiteX66464" fmla="*/ 2882447 w 6884782"/>
              <a:gd name="connsiteY66464" fmla="*/ 716609 h 5973007"/>
              <a:gd name="connsiteX66465" fmla="*/ 2879673 w 6884782"/>
              <a:gd name="connsiteY66465" fmla="*/ 714190 h 5973007"/>
              <a:gd name="connsiteX66466" fmla="*/ 2882447 w 6884782"/>
              <a:gd name="connsiteY66466" fmla="*/ 712340 h 5973007"/>
              <a:gd name="connsiteX66467" fmla="*/ 2827385 w 6884782"/>
              <a:gd name="connsiteY66467" fmla="*/ 710775 h 5973007"/>
              <a:gd name="connsiteX66468" fmla="*/ 2822263 w 6884782"/>
              <a:gd name="connsiteY66468" fmla="*/ 713621 h 5973007"/>
              <a:gd name="connsiteX66469" fmla="*/ 2823543 w 6884782"/>
              <a:gd name="connsiteY66469" fmla="*/ 713763 h 5973007"/>
              <a:gd name="connsiteX66470" fmla="*/ 2828452 w 6884782"/>
              <a:gd name="connsiteY66470" fmla="*/ 715897 h 5973007"/>
              <a:gd name="connsiteX66471" fmla="*/ 2828452 w 6884782"/>
              <a:gd name="connsiteY66471" fmla="*/ 714332 h 5973007"/>
              <a:gd name="connsiteX66472" fmla="*/ 2827385 w 6884782"/>
              <a:gd name="connsiteY66472" fmla="*/ 710775 h 5973007"/>
              <a:gd name="connsiteX66473" fmla="*/ 2816500 w 6884782"/>
              <a:gd name="connsiteY66473" fmla="*/ 710491 h 5973007"/>
              <a:gd name="connsiteX66474" fmla="*/ 2813726 w 6884782"/>
              <a:gd name="connsiteY66474" fmla="*/ 712198 h 5973007"/>
              <a:gd name="connsiteX66475" fmla="*/ 2814793 w 6884782"/>
              <a:gd name="connsiteY66475" fmla="*/ 716182 h 5973007"/>
              <a:gd name="connsiteX66476" fmla="*/ 2816287 w 6884782"/>
              <a:gd name="connsiteY66476" fmla="*/ 715755 h 5973007"/>
              <a:gd name="connsiteX66477" fmla="*/ 2816073 w 6884782"/>
              <a:gd name="connsiteY66477" fmla="*/ 713621 h 5973007"/>
              <a:gd name="connsiteX66478" fmla="*/ 2820128 w 6884782"/>
              <a:gd name="connsiteY66478" fmla="*/ 713621 h 5973007"/>
              <a:gd name="connsiteX66479" fmla="*/ 2819275 w 6884782"/>
              <a:gd name="connsiteY66479" fmla="*/ 713337 h 5973007"/>
              <a:gd name="connsiteX66480" fmla="*/ 2816500 w 6884782"/>
              <a:gd name="connsiteY66480" fmla="*/ 710491 h 5973007"/>
              <a:gd name="connsiteX66481" fmla="*/ 3229681 w 6884782"/>
              <a:gd name="connsiteY66481" fmla="*/ 704800 h 5973007"/>
              <a:gd name="connsiteX66482" fmla="*/ 3235870 w 6884782"/>
              <a:gd name="connsiteY66482" fmla="*/ 706792 h 5973007"/>
              <a:gd name="connsiteX66483" fmla="*/ 3236083 w 6884782"/>
              <a:gd name="connsiteY66483" fmla="*/ 706935 h 5973007"/>
              <a:gd name="connsiteX66484" fmla="*/ 3236510 w 6884782"/>
              <a:gd name="connsiteY66484" fmla="*/ 706508 h 5973007"/>
              <a:gd name="connsiteX66485" fmla="*/ 3239285 w 6884782"/>
              <a:gd name="connsiteY66485" fmla="*/ 706935 h 5973007"/>
              <a:gd name="connsiteX66486" fmla="*/ 3239925 w 6884782"/>
              <a:gd name="connsiteY66486" fmla="*/ 708642 h 5973007"/>
              <a:gd name="connsiteX66487" fmla="*/ 3239711 w 6884782"/>
              <a:gd name="connsiteY66487" fmla="*/ 710064 h 5973007"/>
              <a:gd name="connsiteX66488" fmla="*/ 3241206 w 6884782"/>
              <a:gd name="connsiteY66488" fmla="*/ 711345 h 5973007"/>
              <a:gd name="connsiteX66489" fmla="*/ 3245047 w 6884782"/>
              <a:gd name="connsiteY66489" fmla="*/ 724291 h 5973007"/>
              <a:gd name="connsiteX66490" fmla="*/ 3239711 w 6884782"/>
              <a:gd name="connsiteY66490" fmla="*/ 732827 h 5973007"/>
              <a:gd name="connsiteX66491" fmla="*/ 3217729 w 6884782"/>
              <a:gd name="connsiteY66491" fmla="*/ 728844 h 5973007"/>
              <a:gd name="connsiteX66492" fmla="*/ 3229681 w 6884782"/>
              <a:gd name="connsiteY66492" fmla="*/ 704800 h 5973007"/>
              <a:gd name="connsiteX66493" fmla="*/ 3125745 w 6884782"/>
              <a:gd name="connsiteY66493" fmla="*/ 704089 h 5973007"/>
              <a:gd name="connsiteX66494" fmla="*/ 3134069 w 6884782"/>
              <a:gd name="connsiteY66494" fmla="*/ 711914 h 5973007"/>
              <a:gd name="connsiteX66495" fmla="*/ 3118916 w 6884782"/>
              <a:gd name="connsiteY66495" fmla="*/ 710633 h 5973007"/>
              <a:gd name="connsiteX66496" fmla="*/ 3125745 w 6884782"/>
              <a:gd name="connsiteY66496" fmla="*/ 704089 h 5973007"/>
              <a:gd name="connsiteX66497" fmla="*/ 1577445 w 6884782"/>
              <a:gd name="connsiteY66497" fmla="*/ 702477 h 5973007"/>
              <a:gd name="connsiteX66498" fmla="*/ 1589320 w 6884782"/>
              <a:gd name="connsiteY66498" fmla="*/ 711616 h 5973007"/>
              <a:gd name="connsiteX66499" fmla="*/ 1583125 w 6884782"/>
              <a:gd name="connsiteY66499" fmla="*/ 714869 h 5973007"/>
              <a:gd name="connsiteX66500" fmla="*/ 1577445 w 6884782"/>
              <a:gd name="connsiteY66500" fmla="*/ 702477 h 5973007"/>
              <a:gd name="connsiteX66501" fmla="*/ 1638935 w 6884782"/>
              <a:gd name="connsiteY66501" fmla="*/ 700773 h 5973007"/>
              <a:gd name="connsiteX66502" fmla="*/ 1645698 w 6884782"/>
              <a:gd name="connsiteY66502" fmla="*/ 711616 h 5973007"/>
              <a:gd name="connsiteX66503" fmla="*/ 1638883 w 6884782"/>
              <a:gd name="connsiteY66503" fmla="*/ 720290 h 5973007"/>
              <a:gd name="connsiteX66504" fmla="*/ 1625356 w 6884782"/>
              <a:gd name="connsiteY66504" fmla="*/ 705265 h 5973007"/>
              <a:gd name="connsiteX66505" fmla="*/ 1638935 w 6884782"/>
              <a:gd name="connsiteY66505" fmla="*/ 700773 h 5973007"/>
              <a:gd name="connsiteX66506" fmla="*/ 2112416 w 6884782"/>
              <a:gd name="connsiteY66506" fmla="*/ 699379 h 5973007"/>
              <a:gd name="connsiteX66507" fmla="*/ 2109731 w 6884782"/>
              <a:gd name="connsiteY66507" fmla="*/ 701238 h 5973007"/>
              <a:gd name="connsiteX66508" fmla="*/ 2110867 w 6884782"/>
              <a:gd name="connsiteY66508" fmla="*/ 700928 h 5973007"/>
              <a:gd name="connsiteX66509" fmla="*/ 3675942 w 6884782"/>
              <a:gd name="connsiteY66509" fmla="*/ 699251 h 5973007"/>
              <a:gd name="connsiteX66510" fmla="*/ 3682984 w 6884782"/>
              <a:gd name="connsiteY66510" fmla="*/ 702381 h 5973007"/>
              <a:gd name="connsiteX66511" fmla="*/ 3686613 w 6884782"/>
              <a:gd name="connsiteY66511" fmla="*/ 706508 h 5973007"/>
              <a:gd name="connsiteX66512" fmla="*/ 3683198 w 6884782"/>
              <a:gd name="connsiteY66512" fmla="*/ 723864 h 5973007"/>
              <a:gd name="connsiteX66513" fmla="*/ 3680637 w 6884782"/>
              <a:gd name="connsiteY66513" fmla="*/ 726283 h 5973007"/>
              <a:gd name="connsiteX66514" fmla="*/ 3677863 w 6884782"/>
              <a:gd name="connsiteY66514" fmla="*/ 730977 h 5973007"/>
              <a:gd name="connsiteX66515" fmla="*/ 3668685 w 6884782"/>
              <a:gd name="connsiteY66515" fmla="*/ 727848 h 5973007"/>
              <a:gd name="connsiteX66516" fmla="*/ 3667832 w 6884782"/>
              <a:gd name="connsiteY66516" fmla="*/ 727279 h 5973007"/>
              <a:gd name="connsiteX66517" fmla="*/ 3671033 w 6884782"/>
              <a:gd name="connsiteY66517" fmla="*/ 735388 h 5973007"/>
              <a:gd name="connsiteX66518" fmla="*/ 3650118 w 6884782"/>
              <a:gd name="connsiteY66518" fmla="*/ 738945 h 5973007"/>
              <a:gd name="connsiteX66519" fmla="*/ 3659935 w 6884782"/>
              <a:gd name="connsiteY66519" fmla="*/ 731120 h 5973007"/>
              <a:gd name="connsiteX66520" fmla="*/ 3667192 w 6884782"/>
              <a:gd name="connsiteY66520" fmla="*/ 726710 h 5973007"/>
              <a:gd name="connsiteX66521" fmla="*/ 3664630 w 6884782"/>
              <a:gd name="connsiteY66521" fmla="*/ 724718 h 5973007"/>
              <a:gd name="connsiteX66522" fmla="*/ 3663137 w 6884782"/>
              <a:gd name="connsiteY66522" fmla="*/ 704373 h 5973007"/>
              <a:gd name="connsiteX66523" fmla="*/ 3675942 w 6884782"/>
              <a:gd name="connsiteY66523" fmla="*/ 699251 h 5973007"/>
              <a:gd name="connsiteX66524" fmla="*/ 3782438 w 6884782"/>
              <a:gd name="connsiteY66524" fmla="*/ 699109 h 5973007"/>
              <a:gd name="connsiteX66525" fmla="*/ 3790335 w 6884782"/>
              <a:gd name="connsiteY66525" fmla="*/ 700674 h 5973007"/>
              <a:gd name="connsiteX66526" fmla="*/ 3767712 w 6884782"/>
              <a:gd name="connsiteY66526" fmla="*/ 719596 h 5973007"/>
              <a:gd name="connsiteX66527" fmla="*/ 3765364 w 6884782"/>
              <a:gd name="connsiteY66527" fmla="*/ 714190 h 5973007"/>
              <a:gd name="connsiteX66528" fmla="*/ 3782438 w 6884782"/>
              <a:gd name="connsiteY66528" fmla="*/ 699109 h 5973007"/>
              <a:gd name="connsiteX66529" fmla="*/ 3285810 w 6884782"/>
              <a:gd name="connsiteY66529" fmla="*/ 697687 h 5973007"/>
              <a:gd name="connsiteX66530" fmla="*/ 3290292 w 6884782"/>
              <a:gd name="connsiteY66530" fmla="*/ 698256 h 5973007"/>
              <a:gd name="connsiteX66531" fmla="*/ 3289012 w 6884782"/>
              <a:gd name="connsiteY66531" fmla="*/ 698256 h 5973007"/>
              <a:gd name="connsiteX66532" fmla="*/ 3290292 w 6884782"/>
              <a:gd name="connsiteY66532" fmla="*/ 699394 h 5973007"/>
              <a:gd name="connsiteX66533" fmla="*/ 3274072 w 6884782"/>
              <a:gd name="connsiteY66533" fmla="*/ 701101 h 5973007"/>
              <a:gd name="connsiteX66534" fmla="*/ 3274072 w 6884782"/>
              <a:gd name="connsiteY66534" fmla="*/ 699821 h 5973007"/>
              <a:gd name="connsiteX66535" fmla="*/ 3285810 w 6884782"/>
              <a:gd name="connsiteY66535" fmla="*/ 697687 h 5973007"/>
              <a:gd name="connsiteX66536" fmla="*/ 1621329 w 6884782"/>
              <a:gd name="connsiteY66536" fmla="*/ 697521 h 5973007"/>
              <a:gd name="connsiteX66537" fmla="*/ 1613172 w 6884782"/>
              <a:gd name="connsiteY66537" fmla="*/ 706040 h 5973007"/>
              <a:gd name="connsiteX66538" fmla="*/ 1612656 w 6884782"/>
              <a:gd name="connsiteY66538" fmla="*/ 702942 h 5973007"/>
              <a:gd name="connsiteX66539" fmla="*/ 1613172 w 6884782"/>
              <a:gd name="connsiteY66539" fmla="*/ 698914 h 5973007"/>
              <a:gd name="connsiteX66540" fmla="*/ 1621329 w 6884782"/>
              <a:gd name="connsiteY66540" fmla="*/ 697521 h 5973007"/>
              <a:gd name="connsiteX66541" fmla="*/ 3266816 w 6884782"/>
              <a:gd name="connsiteY66541" fmla="*/ 697118 h 5973007"/>
              <a:gd name="connsiteX66542" fmla="*/ 3268096 w 6884782"/>
              <a:gd name="connsiteY66542" fmla="*/ 698398 h 5973007"/>
              <a:gd name="connsiteX66543" fmla="*/ 3262334 w 6884782"/>
              <a:gd name="connsiteY66543" fmla="*/ 700532 h 5973007"/>
              <a:gd name="connsiteX66544" fmla="*/ 3266816 w 6884782"/>
              <a:gd name="connsiteY66544" fmla="*/ 697118 h 5973007"/>
              <a:gd name="connsiteX66545" fmla="*/ 2091086 w 6884782"/>
              <a:gd name="connsiteY66545" fmla="*/ 695126 h 5973007"/>
              <a:gd name="connsiteX66546" fmla="*/ 2080202 w 6884782"/>
              <a:gd name="connsiteY66546" fmla="*/ 699394 h 5973007"/>
              <a:gd name="connsiteX66547" fmla="*/ 2076974 w 6884782"/>
              <a:gd name="connsiteY66547" fmla="*/ 697274 h 5973007"/>
              <a:gd name="connsiteX66548" fmla="*/ 2072559 w 6884782"/>
              <a:gd name="connsiteY66548" fmla="*/ 698605 h 5973007"/>
              <a:gd name="connsiteX66549" fmla="*/ 2060788 w 6884782"/>
              <a:gd name="connsiteY66549" fmla="*/ 705575 h 5973007"/>
              <a:gd name="connsiteX66550" fmla="*/ 2048810 w 6884782"/>
              <a:gd name="connsiteY66550" fmla="*/ 713320 h 5973007"/>
              <a:gd name="connsiteX66551" fmla="*/ 2049326 w 6884782"/>
              <a:gd name="connsiteY66551" fmla="*/ 713785 h 5973007"/>
              <a:gd name="connsiteX66552" fmla="*/ 2050669 w 6884782"/>
              <a:gd name="connsiteY66552" fmla="*/ 717347 h 5973007"/>
              <a:gd name="connsiteX66553" fmla="*/ 2051495 w 6884782"/>
              <a:gd name="connsiteY66553" fmla="*/ 715334 h 5973007"/>
              <a:gd name="connsiteX66554" fmla="*/ 2059549 w 6884782"/>
              <a:gd name="connsiteY66554" fmla="*/ 715798 h 5973007"/>
              <a:gd name="connsiteX66555" fmla="*/ 2063369 w 6884782"/>
              <a:gd name="connsiteY66555" fmla="*/ 713010 h 5973007"/>
              <a:gd name="connsiteX66556" fmla="*/ 2052528 w 6884782"/>
              <a:gd name="connsiteY66556" fmla="*/ 711771 h 5973007"/>
              <a:gd name="connsiteX66557" fmla="*/ 2064918 w 6884782"/>
              <a:gd name="connsiteY66557" fmla="*/ 708363 h 5973007"/>
              <a:gd name="connsiteX66558" fmla="*/ 2073075 w 6884782"/>
              <a:gd name="connsiteY66558" fmla="*/ 710687 h 5973007"/>
              <a:gd name="connsiteX66559" fmla="*/ 2066054 w 6884782"/>
              <a:gd name="connsiteY66559" fmla="*/ 718122 h 5973007"/>
              <a:gd name="connsiteX66560" fmla="*/ 2072043 w 6884782"/>
              <a:gd name="connsiteY66560" fmla="*/ 719206 h 5973007"/>
              <a:gd name="connsiteX66561" fmla="*/ 2076793 w 6884782"/>
              <a:gd name="connsiteY66561" fmla="*/ 717502 h 5973007"/>
              <a:gd name="connsiteX66562" fmla="*/ 2079064 w 6884782"/>
              <a:gd name="connsiteY66562" fmla="*/ 716418 h 5973007"/>
              <a:gd name="connsiteX66563" fmla="*/ 2080097 w 6884782"/>
              <a:gd name="connsiteY66563" fmla="*/ 715798 h 5973007"/>
              <a:gd name="connsiteX66564" fmla="*/ 2081129 w 6884782"/>
              <a:gd name="connsiteY66564" fmla="*/ 715178 h 5973007"/>
              <a:gd name="connsiteX66565" fmla="*/ 2082781 w 6884782"/>
              <a:gd name="connsiteY66565" fmla="*/ 712390 h 5973007"/>
              <a:gd name="connsiteX66566" fmla="*/ 2093107 w 6884782"/>
              <a:gd name="connsiteY66566" fmla="*/ 704336 h 5973007"/>
              <a:gd name="connsiteX66567" fmla="*/ 2102297 w 6884782"/>
              <a:gd name="connsiteY66567" fmla="*/ 702167 h 5973007"/>
              <a:gd name="connsiteX66568" fmla="*/ 2105085 w 6884782"/>
              <a:gd name="connsiteY66568" fmla="*/ 702167 h 5973007"/>
              <a:gd name="connsiteX66569" fmla="*/ 2102607 w 6884782"/>
              <a:gd name="connsiteY66569" fmla="*/ 699534 h 5973007"/>
              <a:gd name="connsiteX66570" fmla="*/ 2102615 w 6884782"/>
              <a:gd name="connsiteY66570" fmla="*/ 699517 h 5973007"/>
              <a:gd name="connsiteX66571" fmla="*/ 2099143 w 6884782"/>
              <a:gd name="connsiteY66571" fmla="*/ 701813 h 5973007"/>
              <a:gd name="connsiteX66572" fmla="*/ 2089806 w 6884782"/>
              <a:gd name="connsiteY66572" fmla="*/ 699679 h 5973007"/>
              <a:gd name="connsiteX66573" fmla="*/ 3466150 w 6884782"/>
              <a:gd name="connsiteY66573" fmla="*/ 693277 h 5973007"/>
              <a:gd name="connsiteX66574" fmla="*/ 3493468 w 6884782"/>
              <a:gd name="connsiteY66574" fmla="*/ 705369 h 5973007"/>
              <a:gd name="connsiteX66575" fmla="*/ 3458467 w 6884782"/>
              <a:gd name="connsiteY66575" fmla="*/ 698256 h 5973007"/>
              <a:gd name="connsiteX66576" fmla="*/ 3466150 w 6884782"/>
              <a:gd name="connsiteY66576" fmla="*/ 693277 h 5973007"/>
              <a:gd name="connsiteX66577" fmla="*/ 2989157 w 6884782"/>
              <a:gd name="connsiteY66577" fmla="*/ 692423 h 5973007"/>
              <a:gd name="connsiteX66578" fmla="*/ 2991931 w 6884782"/>
              <a:gd name="connsiteY66578" fmla="*/ 702097 h 5973007"/>
              <a:gd name="connsiteX66579" fmla="*/ 2984675 w 6884782"/>
              <a:gd name="connsiteY66579" fmla="*/ 698256 h 5973007"/>
              <a:gd name="connsiteX66580" fmla="*/ 2989157 w 6884782"/>
              <a:gd name="connsiteY66580" fmla="*/ 692423 h 5973007"/>
              <a:gd name="connsiteX66581" fmla="*/ 3697710 w 6884782"/>
              <a:gd name="connsiteY66581" fmla="*/ 691996 h 5973007"/>
              <a:gd name="connsiteX66582" fmla="*/ 3701979 w 6884782"/>
              <a:gd name="connsiteY66582" fmla="*/ 696691 h 5973007"/>
              <a:gd name="connsiteX66583" fmla="*/ 3698564 w 6884782"/>
              <a:gd name="connsiteY66583" fmla="*/ 706508 h 5973007"/>
              <a:gd name="connsiteX66584" fmla="*/ 3690881 w 6884782"/>
              <a:gd name="connsiteY66584" fmla="*/ 703947 h 5973007"/>
              <a:gd name="connsiteX66585" fmla="*/ 3690027 w 6884782"/>
              <a:gd name="connsiteY66585" fmla="*/ 700390 h 5973007"/>
              <a:gd name="connsiteX66586" fmla="*/ 3691948 w 6884782"/>
              <a:gd name="connsiteY66586" fmla="*/ 693134 h 5973007"/>
              <a:gd name="connsiteX66587" fmla="*/ 3690667 w 6884782"/>
              <a:gd name="connsiteY66587" fmla="*/ 693134 h 5973007"/>
              <a:gd name="connsiteX66588" fmla="*/ 3697710 w 6884782"/>
              <a:gd name="connsiteY66588" fmla="*/ 691996 h 5973007"/>
              <a:gd name="connsiteX66589" fmla="*/ 1308773 w 6884782"/>
              <a:gd name="connsiteY66589" fmla="*/ 688691 h 5973007"/>
              <a:gd name="connsiteX66590" fmla="*/ 1309083 w 6884782"/>
              <a:gd name="connsiteY66590" fmla="*/ 694733 h 5973007"/>
              <a:gd name="connsiteX66591" fmla="*/ 1302681 w 6884782"/>
              <a:gd name="connsiteY66591" fmla="*/ 691325 h 5973007"/>
              <a:gd name="connsiteX66592" fmla="*/ 1308773 w 6884782"/>
              <a:gd name="connsiteY66592" fmla="*/ 688691 h 5973007"/>
              <a:gd name="connsiteX66593" fmla="*/ 2109112 w 6884782"/>
              <a:gd name="connsiteY66593" fmla="*/ 686213 h 5973007"/>
              <a:gd name="connsiteX66594" fmla="*/ 2104199 w 6884782"/>
              <a:gd name="connsiteY66594" fmla="*/ 687529 h 5973007"/>
              <a:gd name="connsiteX66595" fmla="*/ 2105171 w 6884782"/>
              <a:gd name="connsiteY66595" fmla="*/ 694485 h 5973007"/>
              <a:gd name="connsiteX66596" fmla="*/ 2107563 w 6884782"/>
              <a:gd name="connsiteY66596" fmla="*/ 689776 h 5973007"/>
              <a:gd name="connsiteX66597" fmla="*/ 3290506 w 6884782"/>
              <a:gd name="connsiteY66597" fmla="*/ 685167 h 5973007"/>
              <a:gd name="connsiteX66598" fmla="*/ 3290719 w 6884782"/>
              <a:gd name="connsiteY66598" fmla="*/ 690004 h 5973007"/>
              <a:gd name="connsiteX66599" fmla="*/ 3288371 w 6884782"/>
              <a:gd name="connsiteY66599" fmla="*/ 689862 h 5973007"/>
              <a:gd name="connsiteX66600" fmla="*/ 3271298 w 6884782"/>
              <a:gd name="connsiteY66600" fmla="*/ 695268 h 5973007"/>
              <a:gd name="connsiteX66601" fmla="*/ 3290506 w 6884782"/>
              <a:gd name="connsiteY66601" fmla="*/ 685167 h 5973007"/>
              <a:gd name="connsiteX66602" fmla="*/ 2877752 w 6884782"/>
              <a:gd name="connsiteY66602" fmla="*/ 684456 h 5973007"/>
              <a:gd name="connsiteX66603" fmla="*/ 2883087 w 6884782"/>
              <a:gd name="connsiteY66603" fmla="*/ 695979 h 5973007"/>
              <a:gd name="connsiteX66604" fmla="*/ 2874337 w 6884782"/>
              <a:gd name="connsiteY66604" fmla="*/ 684740 h 5973007"/>
              <a:gd name="connsiteX66605" fmla="*/ 2877752 w 6884782"/>
              <a:gd name="connsiteY66605" fmla="*/ 684456 h 5973007"/>
              <a:gd name="connsiteX66606" fmla="*/ 3366910 w 6884782"/>
              <a:gd name="connsiteY66606" fmla="*/ 684029 h 5973007"/>
              <a:gd name="connsiteX66607" fmla="*/ 3367977 w 6884782"/>
              <a:gd name="connsiteY66607" fmla="*/ 685452 h 5973007"/>
              <a:gd name="connsiteX66608" fmla="*/ 3369044 w 6884782"/>
              <a:gd name="connsiteY66608" fmla="*/ 688155 h 5973007"/>
              <a:gd name="connsiteX66609" fmla="*/ 3363282 w 6884782"/>
              <a:gd name="connsiteY66609" fmla="*/ 690431 h 5973007"/>
              <a:gd name="connsiteX66610" fmla="*/ 3360721 w 6884782"/>
              <a:gd name="connsiteY66610" fmla="*/ 688013 h 5973007"/>
              <a:gd name="connsiteX66611" fmla="*/ 3363282 w 6884782"/>
              <a:gd name="connsiteY66611" fmla="*/ 685025 h 5973007"/>
              <a:gd name="connsiteX66612" fmla="*/ 3366910 w 6884782"/>
              <a:gd name="connsiteY66612" fmla="*/ 684029 h 5973007"/>
              <a:gd name="connsiteX66613" fmla="*/ 3401057 w 6884782"/>
              <a:gd name="connsiteY66613" fmla="*/ 683318 h 5973007"/>
              <a:gd name="connsiteX66614" fmla="*/ 3408527 w 6884782"/>
              <a:gd name="connsiteY66614" fmla="*/ 684456 h 5973007"/>
              <a:gd name="connsiteX66615" fmla="*/ 3398496 w 6884782"/>
              <a:gd name="connsiteY66615" fmla="*/ 697260 h 5973007"/>
              <a:gd name="connsiteX66616" fmla="*/ 3395295 w 6884782"/>
              <a:gd name="connsiteY66616" fmla="*/ 686021 h 5973007"/>
              <a:gd name="connsiteX66617" fmla="*/ 3401057 w 6884782"/>
              <a:gd name="connsiteY66617" fmla="*/ 683318 h 5973007"/>
              <a:gd name="connsiteX66618" fmla="*/ 3221144 w 6884782"/>
              <a:gd name="connsiteY66618" fmla="*/ 682037 h 5973007"/>
              <a:gd name="connsiteX66619" fmla="*/ 3222425 w 6884782"/>
              <a:gd name="connsiteY66619" fmla="*/ 685594 h 5973007"/>
              <a:gd name="connsiteX66620" fmla="*/ 3220077 w 6884782"/>
              <a:gd name="connsiteY66620" fmla="*/ 687870 h 5973007"/>
              <a:gd name="connsiteX66621" fmla="*/ 3219010 w 6884782"/>
              <a:gd name="connsiteY66621" fmla="*/ 690289 h 5973007"/>
              <a:gd name="connsiteX66622" fmla="*/ 3215595 w 6884782"/>
              <a:gd name="connsiteY66622" fmla="*/ 690147 h 5973007"/>
              <a:gd name="connsiteX66623" fmla="*/ 3216662 w 6884782"/>
              <a:gd name="connsiteY66623" fmla="*/ 687728 h 5973007"/>
              <a:gd name="connsiteX66624" fmla="*/ 3221144 w 6884782"/>
              <a:gd name="connsiteY66624" fmla="*/ 682037 h 5973007"/>
              <a:gd name="connsiteX66625" fmla="*/ 1739764 w 6884782"/>
              <a:gd name="connsiteY66625" fmla="*/ 682031 h 5973007"/>
              <a:gd name="connsiteX66626" fmla="*/ 1737493 w 6884782"/>
              <a:gd name="connsiteY66626" fmla="*/ 692254 h 5973007"/>
              <a:gd name="connsiteX66627" fmla="*/ 1737596 w 6884782"/>
              <a:gd name="connsiteY66627" fmla="*/ 685903 h 5973007"/>
              <a:gd name="connsiteX66628" fmla="*/ 1739764 w 6884782"/>
              <a:gd name="connsiteY66628" fmla="*/ 682031 h 5973007"/>
              <a:gd name="connsiteX66629" fmla="*/ 3256785 w 6884782"/>
              <a:gd name="connsiteY66629" fmla="*/ 679476 h 5973007"/>
              <a:gd name="connsiteX66630" fmla="*/ 3257852 w 6884782"/>
              <a:gd name="connsiteY66630" fmla="*/ 680330 h 5973007"/>
              <a:gd name="connsiteX66631" fmla="*/ 3255718 w 6884782"/>
              <a:gd name="connsiteY66631" fmla="*/ 680472 h 5973007"/>
              <a:gd name="connsiteX66632" fmla="*/ 3256785 w 6884782"/>
              <a:gd name="connsiteY66632" fmla="*/ 679476 h 5973007"/>
              <a:gd name="connsiteX66633" fmla="*/ 2146779 w 6884782"/>
              <a:gd name="connsiteY66633" fmla="*/ 677022 h 5973007"/>
              <a:gd name="connsiteX66634" fmla="*/ 2133583 w 6884782"/>
              <a:gd name="connsiteY66634" fmla="*/ 679862 h 5973007"/>
              <a:gd name="connsiteX66635" fmla="*/ 2128730 w 6884782"/>
              <a:gd name="connsiteY66635" fmla="*/ 677539 h 5973007"/>
              <a:gd name="connsiteX66636" fmla="*/ 2120780 w 6884782"/>
              <a:gd name="connsiteY66636" fmla="*/ 682650 h 5973007"/>
              <a:gd name="connsiteX66637" fmla="*/ 2112932 w 6884782"/>
              <a:gd name="connsiteY66637" fmla="*/ 685129 h 5973007"/>
              <a:gd name="connsiteX66638" fmla="*/ 2113448 w 6884782"/>
              <a:gd name="connsiteY66638" fmla="*/ 686678 h 5973007"/>
              <a:gd name="connsiteX66639" fmla="*/ 2114275 w 6884782"/>
              <a:gd name="connsiteY66639" fmla="*/ 693183 h 5973007"/>
              <a:gd name="connsiteX66640" fmla="*/ 2112416 w 6884782"/>
              <a:gd name="connsiteY66640" fmla="*/ 699224 h 5973007"/>
              <a:gd name="connsiteX66641" fmla="*/ 2115720 w 6884782"/>
              <a:gd name="connsiteY66641" fmla="*/ 695817 h 5973007"/>
              <a:gd name="connsiteX66642" fmla="*/ 2120677 w 6884782"/>
              <a:gd name="connsiteY66642" fmla="*/ 690086 h 5973007"/>
              <a:gd name="connsiteX66643" fmla="*/ 2121193 w 6884782"/>
              <a:gd name="connsiteY66643" fmla="*/ 692409 h 5973007"/>
              <a:gd name="connsiteX66644" fmla="*/ 2132551 w 6884782"/>
              <a:gd name="connsiteY66644" fmla="*/ 689621 h 5973007"/>
              <a:gd name="connsiteX66645" fmla="*/ 2126562 w 6884782"/>
              <a:gd name="connsiteY66645" fmla="*/ 690705 h 5973007"/>
              <a:gd name="connsiteX66646" fmla="*/ 2125013 w 6884782"/>
              <a:gd name="connsiteY66646" fmla="*/ 695817 h 5973007"/>
              <a:gd name="connsiteX66647" fmla="*/ 2141121 w 6884782"/>
              <a:gd name="connsiteY66647" fmla="*/ 690086 h 5973007"/>
              <a:gd name="connsiteX66648" fmla="*/ 2151963 w 6884782"/>
              <a:gd name="connsiteY66648" fmla="*/ 687297 h 5973007"/>
              <a:gd name="connsiteX66649" fmla="*/ 2152580 w 6884782"/>
              <a:gd name="connsiteY66649" fmla="*/ 687054 h 5973007"/>
              <a:gd name="connsiteX66650" fmla="*/ 3666338 w 6884782"/>
              <a:gd name="connsiteY66650" fmla="*/ 676916 h 5973007"/>
              <a:gd name="connsiteX66651" fmla="*/ 3669966 w 6884782"/>
              <a:gd name="connsiteY66651" fmla="*/ 685167 h 5973007"/>
              <a:gd name="connsiteX66652" fmla="*/ 3661429 w 6884782"/>
              <a:gd name="connsiteY66652" fmla="*/ 685594 h 5973007"/>
              <a:gd name="connsiteX66653" fmla="*/ 3666338 w 6884782"/>
              <a:gd name="connsiteY66653" fmla="*/ 676916 h 5973007"/>
              <a:gd name="connsiteX66654" fmla="*/ 3533804 w 6884782"/>
              <a:gd name="connsiteY66654" fmla="*/ 674212 h 5973007"/>
              <a:gd name="connsiteX66655" fmla="*/ 3537859 w 6884782"/>
              <a:gd name="connsiteY66655" fmla="*/ 675493 h 5973007"/>
              <a:gd name="connsiteX66656" fmla="*/ 3520999 w 6884782"/>
              <a:gd name="connsiteY66656" fmla="*/ 686305 h 5973007"/>
              <a:gd name="connsiteX66657" fmla="*/ 3520145 w 6884782"/>
              <a:gd name="connsiteY66657" fmla="*/ 676489 h 5973007"/>
              <a:gd name="connsiteX66658" fmla="*/ 3533804 w 6884782"/>
              <a:gd name="connsiteY66658" fmla="*/ 674212 h 5973007"/>
              <a:gd name="connsiteX66659" fmla="*/ 3213674 w 6884782"/>
              <a:gd name="connsiteY66659" fmla="*/ 672078 h 5973007"/>
              <a:gd name="connsiteX66660" fmla="*/ 3216022 w 6884782"/>
              <a:gd name="connsiteY66660" fmla="*/ 672221 h 5973007"/>
              <a:gd name="connsiteX66661" fmla="*/ 3214101 w 6884782"/>
              <a:gd name="connsiteY66661" fmla="*/ 679476 h 5973007"/>
              <a:gd name="connsiteX66662" fmla="*/ 3210686 w 6884782"/>
              <a:gd name="connsiteY66662" fmla="*/ 680614 h 5973007"/>
              <a:gd name="connsiteX66663" fmla="*/ 3210686 w 6884782"/>
              <a:gd name="connsiteY66663" fmla="*/ 676916 h 5973007"/>
              <a:gd name="connsiteX66664" fmla="*/ 3212821 w 6884782"/>
              <a:gd name="connsiteY66664" fmla="*/ 675777 h 5973007"/>
              <a:gd name="connsiteX66665" fmla="*/ 3213674 w 6884782"/>
              <a:gd name="connsiteY66665" fmla="*/ 672078 h 5973007"/>
              <a:gd name="connsiteX66666" fmla="*/ 1812663 w 6884782"/>
              <a:gd name="connsiteY66666" fmla="*/ 667316 h 5973007"/>
              <a:gd name="connsiteX66667" fmla="*/ 1838064 w 6884782"/>
              <a:gd name="connsiteY66667" fmla="*/ 679243 h 5973007"/>
              <a:gd name="connsiteX66668" fmla="*/ 1833005 w 6884782"/>
              <a:gd name="connsiteY66668" fmla="*/ 688536 h 5973007"/>
              <a:gd name="connsiteX66669" fmla="*/ 1814005 w 6884782"/>
              <a:gd name="connsiteY66669" fmla="*/ 684509 h 5973007"/>
              <a:gd name="connsiteX66670" fmla="*/ 1811114 w 6884782"/>
              <a:gd name="connsiteY66670" fmla="*/ 671963 h 5973007"/>
              <a:gd name="connsiteX66671" fmla="*/ 1812663 w 6884782"/>
              <a:gd name="connsiteY66671" fmla="*/ 667316 h 5973007"/>
              <a:gd name="connsiteX66672" fmla="*/ 3231602 w 6884782"/>
              <a:gd name="connsiteY66672" fmla="*/ 666245 h 5973007"/>
              <a:gd name="connsiteX66673" fmla="*/ 3234376 w 6884782"/>
              <a:gd name="connsiteY66673" fmla="*/ 667241 h 5973007"/>
              <a:gd name="connsiteX66674" fmla="*/ 3233523 w 6884782"/>
              <a:gd name="connsiteY66674" fmla="*/ 673074 h 5973007"/>
              <a:gd name="connsiteX66675" fmla="*/ 3223278 w 6884782"/>
              <a:gd name="connsiteY66675" fmla="*/ 676347 h 5973007"/>
              <a:gd name="connsiteX66676" fmla="*/ 3223065 w 6884782"/>
              <a:gd name="connsiteY66676" fmla="*/ 671509 h 5973007"/>
              <a:gd name="connsiteX66677" fmla="*/ 3231602 w 6884782"/>
              <a:gd name="connsiteY66677" fmla="*/ 666245 h 5973007"/>
              <a:gd name="connsiteX66678" fmla="*/ 2950741 w 6884782"/>
              <a:gd name="connsiteY66678" fmla="*/ 665961 h 5973007"/>
              <a:gd name="connsiteX66679" fmla="*/ 2955650 w 6884782"/>
              <a:gd name="connsiteY66679" fmla="*/ 668664 h 5973007"/>
              <a:gd name="connsiteX66680" fmla="*/ 2959065 w 6884782"/>
              <a:gd name="connsiteY66680" fmla="*/ 668948 h 5973007"/>
              <a:gd name="connsiteX66681" fmla="*/ 2966961 w 6884782"/>
              <a:gd name="connsiteY66681" fmla="*/ 669375 h 5973007"/>
              <a:gd name="connsiteX66682" fmla="*/ 2968455 w 6884782"/>
              <a:gd name="connsiteY66682" fmla="*/ 675351 h 5973007"/>
              <a:gd name="connsiteX66683" fmla="*/ 2948394 w 6884782"/>
              <a:gd name="connsiteY66683" fmla="*/ 681468 h 5973007"/>
              <a:gd name="connsiteX66684" fmla="*/ 2946899 w 6884782"/>
              <a:gd name="connsiteY66684" fmla="*/ 675066 h 5973007"/>
              <a:gd name="connsiteX66685" fmla="*/ 2949247 w 6884782"/>
              <a:gd name="connsiteY66685" fmla="*/ 671936 h 5973007"/>
              <a:gd name="connsiteX66686" fmla="*/ 2947540 w 6884782"/>
              <a:gd name="connsiteY66686" fmla="*/ 669375 h 5973007"/>
              <a:gd name="connsiteX66687" fmla="*/ 2950741 w 6884782"/>
              <a:gd name="connsiteY66687" fmla="*/ 665961 h 5973007"/>
              <a:gd name="connsiteX66688" fmla="*/ 3108245 w 6884782"/>
              <a:gd name="connsiteY66688" fmla="*/ 665250 h 5973007"/>
              <a:gd name="connsiteX66689" fmla="*/ 3123398 w 6884782"/>
              <a:gd name="connsiteY66689" fmla="*/ 670513 h 5973007"/>
              <a:gd name="connsiteX66690" fmla="*/ 3100135 w 6884782"/>
              <a:gd name="connsiteY66690" fmla="*/ 686875 h 5973007"/>
              <a:gd name="connsiteX66691" fmla="*/ 3096293 w 6884782"/>
              <a:gd name="connsiteY66691" fmla="*/ 675493 h 5973007"/>
              <a:gd name="connsiteX66692" fmla="*/ 3108245 w 6884782"/>
              <a:gd name="connsiteY66692" fmla="*/ 665250 h 5973007"/>
              <a:gd name="connsiteX66693" fmla="*/ 3397429 w 6884782"/>
              <a:gd name="connsiteY66693" fmla="*/ 664396 h 5973007"/>
              <a:gd name="connsiteX66694" fmla="*/ 3404258 w 6884782"/>
              <a:gd name="connsiteY66694" fmla="*/ 679476 h 5973007"/>
              <a:gd name="connsiteX66695" fmla="*/ 3399563 w 6884782"/>
              <a:gd name="connsiteY66695" fmla="*/ 681753 h 5973007"/>
              <a:gd name="connsiteX66696" fmla="*/ 3397429 w 6884782"/>
              <a:gd name="connsiteY66696" fmla="*/ 664396 h 5973007"/>
              <a:gd name="connsiteX66697" fmla="*/ 3293066 w 6884782"/>
              <a:gd name="connsiteY66697" fmla="*/ 662973 h 5973007"/>
              <a:gd name="connsiteX66698" fmla="*/ 3322305 w 6884782"/>
              <a:gd name="connsiteY66698" fmla="*/ 719596 h 5973007"/>
              <a:gd name="connsiteX66699" fmla="*/ 3309713 w 6884782"/>
              <a:gd name="connsiteY66699" fmla="*/ 721873 h 5973007"/>
              <a:gd name="connsiteX66700" fmla="*/ 3293066 w 6884782"/>
              <a:gd name="connsiteY66700" fmla="*/ 662973 h 5973007"/>
              <a:gd name="connsiteX66701" fmla="*/ 2202145 w 6884782"/>
              <a:gd name="connsiteY66701" fmla="*/ 659881 h 5973007"/>
              <a:gd name="connsiteX66702" fmla="*/ 2190374 w 6884782"/>
              <a:gd name="connsiteY66702" fmla="*/ 662669 h 5973007"/>
              <a:gd name="connsiteX66703" fmla="*/ 2197396 w 6884782"/>
              <a:gd name="connsiteY66703" fmla="*/ 664992 h 5973007"/>
              <a:gd name="connsiteX66704" fmla="*/ 2187587 w 6884782"/>
              <a:gd name="connsiteY66704" fmla="*/ 667935 h 5973007"/>
              <a:gd name="connsiteX66705" fmla="*/ 2168691 w 6884782"/>
              <a:gd name="connsiteY66705" fmla="*/ 667316 h 5973007"/>
              <a:gd name="connsiteX66706" fmla="*/ 2172511 w 6884782"/>
              <a:gd name="connsiteY66706" fmla="*/ 669020 h 5973007"/>
              <a:gd name="connsiteX66707" fmla="*/ 2178500 w 6884782"/>
              <a:gd name="connsiteY66707" fmla="*/ 667935 h 5973007"/>
              <a:gd name="connsiteX66708" fmla="*/ 2173543 w 6884782"/>
              <a:gd name="connsiteY66708" fmla="*/ 670723 h 5973007"/>
              <a:gd name="connsiteX66709" fmla="*/ 2168691 w 6884782"/>
              <a:gd name="connsiteY66709" fmla="*/ 673047 h 5973007"/>
              <a:gd name="connsiteX66710" fmla="*/ 2163749 w 6884782"/>
              <a:gd name="connsiteY66710" fmla="*/ 673788 h 5973007"/>
              <a:gd name="connsiteX66711" fmla="*/ 2167757 w 6884782"/>
              <a:gd name="connsiteY66711" fmla="*/ 685462 h 5973007"/>
              <a:gd name="connsiteX66712" fmla="*/ 2175196 w 6884782"/>
              <a:gd name="connsiteY66712" fmla="*/ 682805 h 5973007"/>
              <a:gd name="connsiteX66713" fmla="*/ 2187587 w 6884782"/>
              <a:gd name="connsiteY66713" fmla="*/ 680946 h 5973007"/>
              <a:gd name="connsiteX66714" fmla="*/ 2198945 w 6884782"/>
              <a:gd name="connsiteY66714" fmla="*/ 679862 h 5973007"/>
              <a:gd name="connsiteX66715" fmla="*/ 2201096 w 6884782"/>
              <a:gd name="connsiteY66715" fmla="*/ 679318 h 5973007"/>
              <a:gd name="connsiteX66716" fmla="*/ 2204519 w 6884782"/>
              <a:gd name="connsiteY66716" fmla="*/ 677111 h 5973007"/>
              <a:gd name="connsiteX66717" fmla="*/ 2219992 w 6884782"/>
              <a:gd name="connsiteY66717" fmla="*/ 668664 h 5973007"/>
              <a:gd name="connsiteX66718" fmla="*/ 2221575 w 6884782"/>
              <a:gd name="connsiteY66718" fmla="*/ 669512 h 5973007"/>
              <a:gd name="connsiteX66719" fmla="*/ 2228041 w 6884782"/>
              <a:gd name="connsiteY66719" fmla="*/ 660288 h 5973007"/>
              <a:gd name="connsiteX66720" fmla="*/ 2222177 w 6884782"/>
              <a:gd name="connsiteY66720" fmla="*/ 661120 h 5973007"/>
              <a:gd name="connsiteX66721" fmla="*/ 2214020 w 6884782"/>
              <a:gd name="connsiteY66721" fmla="*/ 662669 h 5973007"/>
              <a:gd name="connsiteX66722" fmla="*/ 2202145 w 6884782"/>
              <a:gd name="connsiteY66722" fmla="*/ 659881 h 5973007"/>
              <a:gd name="connsiteX66723" fmla="*/ 3498590 w 6884782"/>
              <a:gd name="connsiteY66723" fmla="*/ 657852 h 5973007"/>
              <a:gd name="connsiteX66724" fmla="*/ 3504779 w 6884782"/>
              <a:gd name="connsiteY66724" fmla="*/ 661266 h 5973007"/>
              <a:gd name="connsiteX66725" fmla="*/ 3506700 w 6884782"/>
              <a:gd name="connsiteY66725" fmla="*/ 666245 h 5973007"/>
              <a:gd name="connsiteX66726" fmla="*/ 3506486 w 6884782"/>
              <a:gd name="connsiteY66726" fmla="*/ 666530 h 5973007"/>
              <a:gd name="connsiteX66727" fmla="*/ 3508194 w 6884782"/>
              <a:gd name="connsiteY66727" fmla="*/ 665250 h 5973007"/>
              <a:gd name="connsiteX66728" fmla="*/ 3510541 w 6884782"/>
              <a:gd name="connsiteY66728" fmla="*/ 665392 h 5973007"/>
              <a:gd name="connsiteX66729" fmla="*/ 3512035 w 6884782"/>
              <a:gd name="connsiteY66729" fmla="*/ 667668 h 5973007"/>
              <a:gd name="connsiteX66730" fmla="*/ 3512676 w 6884782"/>
              <a:gd name="connsiteY66730" fmla="*/ 672647 h 5973007"/>
              <a:gd name="connsiteX66731" fmla="*/ 3510755 w 6884782"/>
              <a:gd name="connsiteY66731" fmla="*/ 675066 h 5973007"/>
              <a:gd name="connsiteX66732" fmla="*/ 3508407 w 6884782"/>
              <a:gd name="connsiteY66732" fmla="*/ 674070 h 5973007"/>
              <a:gd name="connsiteX66733" fmla="*/ 3506060 w 6884782"/>
              <a:gd name="connsiteY66733" fmla="*/ 674212 h 5973007"/>
              <a:gd name="connsiteX66734" fmla="*/ 3505846 w 6884782"/>
              <a:gd name="connsiteY66734" fmla="*/ 672932 h 5973007"/>
              <a:gd name="connsiteX66735" fmla="*/ 3506060 w 6884782"/>
              <a:gd name="connsiteY66735" fmla="*/ 672790 h 5973007"/>
              <a:gd name="connsiteX66736" fmla="*/ 3505206 w 6884782"/>
              <a:gd name="connsiteY66736" fmla="*/ 672221 h 5973007"/>
              <a:gd name="connsiteX66737" fmla="*/ 3504352 w 6884782"/>
              <a:gd name="connsiteY66737" fmla="*/ 675493 h 5973007"/>
              <a:gd name="connsiteX66738" fmla="*/ 3487065 w 6884782"/>
              <a:gd name="connsiteY66738" fmla="*/ 669944 h 5973007"/>
              <a:gd name="connsiteX66739" fmla="*/ 3490907 w 6884782"/>
              <a:gd name="connsiteY66739" fmla="*/ 660270 h 5973007"/>
              <a:gd name="connsiteX66740" fmla="*/ 3498590 w 6884782"/>
              <a:gd name="connsiteY66740" fmla="*/ 657852 h 5973007"/>
              <a:gd name="connsiteX66741" fmla="*/ 3797591 w 6884782"/>
              <a:gd name="connsiteY66741" fmla="*/ 653157 h 5973007"/>
              <a:gd name="connsiteX66742" fmla="*/ 3800792 w 6884782"/>
              <a:gd name="connsiteY66742" fmla="*/ 655433 h 5973007"/>
              <a:gd name="connsiteX66743" fmla="*/ 3801646 w 6884782"/>
              <a:gd name="connsiteY66743" fmla="*/ 660128 h 5973007"/>
              <a:gd name="connsiteX66744" fmla="*/ 3792042 w 6884782"/>
              <a:gd name="connsiteY66744" fmla="*/ 662404 h 5973007"/>
              <a:gd name="connsiteX66745" fmla="*/ 3793963 w 6884782"/>
              <a:gd name="connsiteY66745" fmla="*/ 655291 h 5973007"/>
              <a:gd name="connsiteX66746" fmla="*/ 3797591 w 6884782"/>
              <a:gd name="connsiteY66746" fmla="*/ 653157 h 5973007"/>
              <a:gd name="connsiteX66747" fmla="*/ 3593135 w 6884782"/>
              <a:gd name="connsiteY66747" fmla="*/ 651734 h 5973007"/>
              <a:gd name="connsiteX66748" fmla="*/ 3598684 w 6884782"/>
              <a:gd name="connsiteY66748" fmla="*/ 652018 h 5973007"/>
              <a:gd name="connsiteX66749" fmla="*/ 3606154 w 6884782"/>
              <a:gd name="connsiteY66749" fmla="*/ 655433 h 5973007"/>
              <a:gd name="connsiteX66750" fmla="*/ 3580543 w 6884782"/>
              <a:gd name="connsiteY66750" fmla="*/ 699109 h 5973007"/>
              <a:gd name="connsiteX66751" fmla="*/ 3566030 w 6884782"/>
              <a:gd name="connsiteY66751" fmla="*/ 688866 h 5973007"/>
              <a:gd name="connsiteX66752" fmla="*/ 3576915 w 6884782"/>
              <a:gd name="connsiteY66752" fmla="*/ 655291 h 5973007"/>
              <a:gd name="connsiteX66753" fmla="*/ 3593135 w 6884782"/>
              <a:gd name="connsiteY66753" fmla="*/ 651734 h 5973007"/>
              <a:gd name="connsiteX66754" fmla="*/ 3392947 w 6884782"/>
              <a:gd name="connsiteY66754" fmla="*/ 651734 h 5973007"/>
              <a:gd name="connsiteX66755" fmla="*/ 3395722 w 6884782"/>
              <a:gd name="connsiteY66755" fmla="*/ 656429 h 5973007"/>
              <a:gd name="connsiteX66756" fmla="*/ 3389319 w 6884782"/>
              <a:gd name="connsiteY66756" fmla="*/ 659274 h 5973007"/>
              <a:gd name="connsiteX66757" fmla="*/ 3386331 w 6884782"/>
              <a:gd name="connsiteY66757" fmla="*/ 654579 h 5973007"/>
              <a:gd name="connsiteX66758" fmla="*/ 3392947 w 6884782"/>
              <a:gd name="connsiteY66758" fmla="*/ 651734 h 5973007"/>
              <a:gd name="connsiteX66759" fmla="*/ 3038884 w 6884782"/>
              <a:gd name="connsiteY66759" fmla="*/ 648746 h 5973007"/>
              <a:gd name="connsiteX66760" fmla="*/ 3050408 w 6884782"/>
              <a:gd name="connsiteY66760" fmla="*/ 648888 h 5973007"/>
              <a:gd name="connsiteX66761" fmla="*/ 3052756 w 6884782"/>
              <a:gd name="connsiteY66761" fmla="*/ 659416 h 5973007"/>
              <a:gd name="connsiteX66762" fmla="*/ 3059585 w 6884782"/>
              <a:gd name="connsiteY66762" fmla="*/ 654579 h 5973007"/>
              <a:gd name="connsiteX66763" fmla="*/ 3066201 w 6884782"/>
              <a:gd name="connsiteY66763" fmla="*/ 658421 h 5973007"/>
              <a:gd name="connsiteX66764" fmla="*/ 3054036 w 6884782"/>
              <a:gd name="connsiteY66764" fmla="*/ 670513 h 5973007"/>
              <a:gd name="connsiteX66765" fmla="*/ 3053183 w 6884782"/>
              <a:gd name="connsiteY66765" fmla="*/ 670513 h 5973007"/>
              <a:gd name="connsiteX66766" fmla="*/ 3053183 w 6884782"/>
              <a:gd name="connsiteY66766" fmla="*/ 673643 h 5973007"/>
              <a:gd name="connsiteX66767" fmla="*/ 3025651 w 6884782"/>
              <a:gd name="connsiteY66767" fmla="*/ 662973 h 5973007"/>
              <a:gd name="connsiteX66768" fmla="*/ 3030987 w 6884782"/>
              <a:gd name="connsiteY66768" fmla="*/ 652730 h 5973007"/>
              <a:gd name="connsiteX66769" fmla="*/ 3038884 w 6884782"/>
              <a:gd name="connsiteY66769" fmla="*/ 648746 h 5973007"/>
              <a:gd name="connsiteX66770" fmla="*/ 3332336 w 6884782"/>
              <a:gd name="connsiteY66770" fmla="*/ 647750 h 5973007"/>
              <a:gd name="connsiteX66771" fmla="*/ 3334257 w 6884782"/>
              <a:gd name="connsiteY66771" fmla="*/ 650596 h 5973007"/>
              <a:gd name="connsiteX66772" fmla="*/ 3334470 w 6884782"/>
              <a:gd name="connsiteY66772" fmla="*/ 651307 h 5973007"/>
              <a:gd name="connsiteX66773" fmla="*/ 3336391 w 6884782"/>
              <a:gd name="connsiteY66773" fmla="*/ 650311 h 5973007"/>
              <a:gd name="connsiteX66774" fmla="*/ 3337672 w 6884782"/>
              <a:gd name="connsiteY66774" fmla="*/ 652730 h 5973007"/>
              <a:gd name="connsiteX66775" fmla="*/ 3335324 w 6884782"/>
              <a:gd name="connsiteY66775" fmla="*/ 654579 h 5973007"/>
              <a:gd name="connsiteX66776" fmla="*/ 3335537 w 6884782"/>
              <a:gd name="connsiteY66776" fmla="*/ 655717 h 5973007"/>
              <a:gd name="connsiteX66777" fmla="*/ 3335324 w 6884782"/>
              <a:gd name="connsiteY66777" fmla="*/ 659559 h 5973007"/>
              <a:gd name="connsiteX66778" fmla="*/ 3335750 w 6884782"/>
              <a:gd name="connsiteY66778" fmla="*/ 659843 h 5973007"/>
              <a:gd name="connsiteX66779" fmla="*/ 3336177 w 6884782"/>
              <a:gd name="connsiteY66779" fmla="*/ 671794 h 5973007"/>
              <a:gd name="connsiteX66780" fmla="*/ 3323586 w 6884782"/>
              <a:gd name="connsiteY66780" fmla="*/ 674782 h 5973007"/>
              <a:gd name="connsiteX66781" fmla="*/ 3317610 w 6884782"/>
              <a:gd name="connsiteY66781" fmla="*/ 670940 h 5973007"/>
              <a:gd name="connsiteX66782" fmla="*/ 3316756 w 6884782"/>
              <a:gd name="connsiteY66782" fmla="*/ 667668 h 5973007"/>
              <a:gd name="connsiteX66783" fmla="*/ 3310140 w 6884782"/>
              <a:gd name="connsiteY66783" fmla="*/ 665107 h 5973007"/>
              <a:gd name="connsiteX66784" fmla="*/ 3306939 w 6884782"/>
              <a:gd name="connsiteY66784" fmla="*/ 657994 h 5973007"/>
              <a:gd name="connsiteX66785" fmla="*/ 3310140 w 6884782"/>
              <a:gd name="connsiteY66785" fmla="*/ 656714 h 5973007"/>
              <a:gd name="connsiteX66786" fmla="*/ 3316970 w 6884782"/>
              <a:gd name="connsiteY66786" fmla="*/ 659559 h 5973007"/>
              <a:gd name="connsiteX66787" fmla="*/ 3318037 w 6884782"/>
              <a:gd name="connsiteY66787" fmla="*/ 656714 h 5973007"/>
              <a:gd name="connsiteX66788" fmla="*/ 3322305 w 6884782"/>
              <a:gd name="connsiteY66788" fmla="*/ 653726 h 5973007"/>
              <a:gd name="connsiteX66789" fmla="*/ 3324013 w 6884782"/>
              <a:gd name="connsiteY66789" fmla="*/ 653726 h 5973007"/>
              <a:gd name="connsiteX66790" fmla="*/ 3323799 w 6884782"/>
              <a:gd name="connsiteY66790" fmla="*/ 652303 h 5973007"/>
              <a:gd name="connsiteX66791" fmla="*/ 3327214 w 6884782"/>
              <a:gd name="connsiteY66791" fmla="*/ 650454 h 5973007"/>
              <a:gd name="connsiteX66792" fmla="*/ 3328708 w 6884782"/>
              <a:gd name="connsiteY66792" fmla="*/ 648177 h 5973007"/>
              <a:gd name="connsiteX66793" fmla="*/ 3332336 w 6884782"/>
              <a:gd name="connsiteY66793" fmla="*/ 647750 h 5973007"/>
              <a:gd name="connsiteX66794" fmla="*/ 3349409 w 6884782"/>
              <a:gd name="connsiteY66794" fmla="*/ 645901 h 5973007"/>
              <a:gd name="connsiteX66795" fmla="*/ 3362641 w 6884782"/>
              <a:gd name="connsiteY66795" fmla="*/ 652445 h 5973007"/>
              <a:gd name="connsiteX66796" fmla="*/ 3345995 w 6884782"/>
              <a:gd name="connsiteY66796" fmla="*/ 646328 h 5973007"/>
              <a:gd name="connsiteX66797" fmla="*/ 3349409 w 6884782"/>
              <a:gd name="connsiteY66797" fmla="*/ 645901 h 5973007"/>
              <a:gd name="connsiteX66798" fmla="*/ 3258920 w 6884782"/>
              <a:gd name="connsiteY66798" fmla="*/ 644336 h 5973007"/>
              <a:gd name="connsiteX66799" fmla="*/ 3259773 w 6884782"/>
              <a:gd name="connsiteY66799" fmla="*/ 650169 h 5973007"/>
              <a:gd name="connsiteX66800" fmla="*/ 3250809 w 6884782"/>
              <a:gd name="connsiteY66800" fmla="*/ 653157 h 5973007"/>
              <a:gd name="connsiteX66801" fmla="*/ 3245261 w 6884782"/>
              <a:gd name="connsiteY66801" fmla="*/ 655860 h 5973007"/>
              <a:gd name="connsiteX66802" fmla="*/ 3251450 w 6884782"/>
              <a:gd name="connsiteY66802" fmla="*/ 650596 h 5973007"/>
              <a:gd name="connsiteX66803" fmla="*/ 3252304 w 6884782"/>
              <a:gd name="connsiteY66803" fmla="*/ 647039 h 5973007"/>
              <a:gd name="connsiteX66804" fmla="*/ 3258920 w 6884782"/>
              <a:gd name="connsiteY66804" fmla="*/ 644336 h 5973007"/>
              <a:gd name="connsiteX66805" fmla="*/ 2018114 w 6884782"/>
              <a:gd name="connsiteY66805" fmla="*/ 643568 h 5973007"/>
              <a:gd name="connsiteX66806" fmla="*/ 2032083 w 6884782"/>
              <a:gd name="connsiteY66806" fmla="*/ 660036 h 5973007"/>
              <a:gd name="connsiteX66807" fmla="*/ 2022273 w 6884782"/>
              <a:gd name="connsiteY66807" fmla="*/ 668400 h 5973007"/>
              <a:gd name="connsiteX66808" fmla="*/ 2011844 w 6884782"/>
              <a:gd name="connsiteY66808" fmla="*/ 649348 h 5973007"/>
              <a:gd name="connsiteX66809" fmla="*/ 2018114 w 6884782"/>
              <a:gd name="connsiteY66809" fmla="*/ 643568 h 5973007"/>
              <a:gd name="connsiteX66810" fmla="*/ 3465723 w 6884782"/>
              <a:gd name="connsiteY66810" fmla="*/ 639499 h 5973007"/>
              <a:gd name="connsiteX66811" fmla="*/ 3473407 w 6884782"/>
              <a:gd name="connsiteY66811" fmla="*/ 642344 h 5973007"/>
              <a:gd name="connsiteX66812" fmla="*/ 3472766 w 6884782"/>
              <a:gd name="connsiteY66812" fmla="*/ 651165 h 5973007"/>
              <a:gd name="connsiteX66813" fmla="*/ 3459748 w 6884782"/>
              <a:gd name="connsiteY66813" fmla="*/ 645190 h 5973007"/>
              <a:gd name="connsiteX66814" fmla="*/ 3465723 w 6884782"/>
              <a:gd name="connsiteY66814" fmla="*/ 639499 h 5973007"/>
              <a:gd name="connsiteX66815" fmla="*/ 3521212 w 6884782"/>
              <a:gd name="connsiteY66815" fmla="*/ 637507 h 5973007"/>
              <a:gd name="connsiteX66816" fmla="*/ 3532523 w 6884782"/>
              <a:gd name="connsiteY66816" fmla="*/ 640210 h 5973007"/>
              <a:gd name="connsiteX66817" fmla="*/ 3534871 w 6884782"/>
              <a:gd name="connsiteY66817" fmla="*/ 641206 h 5973007"/>
              <a:gd name="connsiteX66818" fmla="*/ 3537432 w 6884782"/>
              <a:gd name="connsiteY66818" fmla="*/ 642344 h 5973007"/>
              <a:gd name="connsiteX66819" fmla="*/ 3539140 w 6884782"/>
              <a:gd name="connsiteY66819" fmla="*/ 647181 h 5973007"/>
              <a:gd name="connsiteX66820" fmla="*/ 3517371 w 6884782"/>
              <a:gd name="connsiteY66820" fmla="*/ 641064 h 5973007"/>
              <a:gd name="connsiteX66821" fmla="*/ 3518224 w 6884782"/>
              <a:gd name="connsiteY66821" fmla="*/ 638503 h 5973007"/>
              <a:gd name="connsiteX66822" fmla="*/ 3521212 w 6884782"/>
              <a:gd name="connsiteY66822" fmla="*/ 637507 h 5973007"/>
              <a:gd name="connsiteX66823" fmla="*/ 3495389 w 6884782"/>
              <a:gd name="connsiteY66823" fmla="*/ 636938 h 5973007"/>
              <a:gd name="connsiteX66824" fmla="*/ 3507340 w 6884782"/>
              <a:gd name="connsiteY66824" fmla="*/ 647181 h 5973007"/>
              <a:gd name="connsiteX66825" fmla="*/ 3480236 w 6884782"/>
              <a:gd name="connsiteY66825" fmla="*/ 643482 h 5973007"/>
              <a:gd name="connsiteX66826" fmla="*/ 3482583 w 6884782"/>
              <a:gd name="connsiteY66826" fmla="*/ 637649 h 5973007"/>
              <a:gd name="connsiteX66827" fmla="*/ 3489626 w 6884782"/>
              <a:gd name="connsiteY66827" fmla="*/ 637080 h 5973007"/>
              <a:gd name="connsiteX66828" fmla="*/ 3495389 w 6884782"/>
              <a:gd name="connsiteY66828" fmla="*/ 636938 h 5973007"/>
              <a:gd name="connsiteX66829" fmla="*/ 2888209 w 6884782"/>
              <a:gd name="connsiteY66829" fmla="*/ 635089 h 5973007"/>
              <a:gd name="connsiteX66830" fmla="*/ 2890984 w 6884782"/>
              <a:gd name="connsiteY66830" fmla="*/ 636654 h 5973007"/>
              <a:gd name="connsiteX66831" fmla="*/ 2879245 w 6884782"/>
              <a:gd name="connsiteY66831" fmla="*/ 644194 h 5973007"/>
              <a:gd name="connsiteX66832" fmla="*/ 2879459 w 6884782"/>
              <a:gd name="connsiteY66832" fmla="*/ 640637 h 5973007"/>
              <a:gd name="connsiteX66833" fmla="*/ 2888209 w 6884782"/>
              <a:gd name="connsiteY66833" fmla="*/ 635089 h 5973007"/>
              <a:gd name="connsiteX66834" fmla="*/ 2756399 w 6884782"/>
              <a:gd name="connsiteY66834" fmla="*/ 630128 h 5973007"/>
              <a:gd name="connsiteX66835" fmla="*/ 2767578 w 6884782"/>
              <a:gd name="connsiteY66835" fmla="*/ 650930 h 5973007"/>
              <a:gd name="connsiteX66836" fmla="*/ 2767910 w 6884782"/>
              <a:gd name="connsiteY66836" fmla="*/ 651726 h 5973007"/>
              <a:gd name="connsiteX66837" fmla="*/ 2769335 w 6884782"/>
              <a:gd name="connsiteY66837" fmla="*/ 653014 h 5973007"/>
              <a:gd name="connsiteX66838" fmla="*/ 2770615 w 6884782"/>
              <a:gd name="connsiteY66838" fmla="*/ 652018 h 5973007"/>
              <a:gd name="connsiteX66839" fmla="*/ 2770402 w 6884782"/>
              <a:gd name="connsiteY66839" fmla="*/ 653868 h 5973007"/>
              <a:gd name="connsiteX66840" fmla="*/ 2772323 w 6884782"/>
              <a:gd name="connsiteY66840" fmla="*/ 655433 h 5973007"/>
              <a:gd name="connsiteX66841" fmla="*/ 2773389 w 6884782"/>
              <a:gd name="connsiteY66841" fmla="*/ 657709 h 5973007"/>
              <a:gd name="connsiteX66842" fmla="*/ 2777871 w 6884782"/>
              <a:gd name="connsiteY66842" fmla="*/ 655433 h 5973007"/>
              <a:gd name="connsiteX66843" fmla="*/ 2777231 w 6884782"/>
              <a:gd name="connsiteY66843" fmla="*/ 657282 h 5973007"/>
              <a:gd name="connsiteX66844" fmla="*/ 2774883 w 6884782"/>
              <a:gd name="connsiteY66844" fmla="*/ 657994 h 5973007"/>
              <a:gd name="connsiteX66845" fmla="*/ 2773603 w 6884782"/>
              <a:gd name="connsiteY66845" fmla="*/ 658421 h 5973007"/>
              <a:gd name="connsiteX66846" fmla="*/ 2774883 w 6884782"/>
              <a:gd name="connsiteY66846" fmla="*/ 660697 h 5973007"/>
              <a:gd name="connsiteX66847" fmla="*/ 2772917 w 6884782"/>
              <a:gd name="connsiteY66847" fmla="*/ 663704 h 5973007"/>
              <a:gd name="connsiteX66848" fmla="*/ 2774651 w 6884782"/>
              <a:gd name="connsiteY66848" fmla="*/ 667854 h 5973007"/>
              <a:gd name="connsiteX66849" fmla="*/ 2779365 w 6884782"/>
              <a:gd name="connsiteY66849" fmla="*/ 670087 h 5973007"/>
              <a:gd name="connsiteX66850" fmla="*/ 2775933 w 6884782"/>
              <a:gd name="connsiteY66850" fmla="*/ 670920 h 5973007"/>
              <a:gd name="connsiteX66851" fmla="*/ 2778709 w 6884782"/>
              <a:gd name="connsiteY66851" fmla="*/ 677563 h 5973007"/>
              <a:gd name="connsiteX66852" fmla="*/ 2778938 w 6884782"/>
              <a:gd name="connsiteY66852" fmla="*/ 677627 h 5973007"/>
              <a:gd name="connsiteX66853" fmla="*/ 2793451 w 6884782"/>
              <a:gd name="connsiteY66853" fmla="*/ 686875 h 5973007"/>
              <a:gd name="connsiteX66854" fmla="*/ 2792810 w 6884782"/>
              <a:gd name="connsiteY66854" fmla="*/ 680472 h 5973007"/>
              <a:gd name="connsiteX66855" fmla="*/ 2810524 w 6884782"/>
              <a:gd name="connsiteY66855" fmla="*/ 690004 h 5973007"/>
              <a:gd name="connsiteX66856" fmla="*/ 2820555 w 6884782"/>
              <a:gd name="connsiteY66856" fmla="*/ 683745 h 5973007"/>
              <a:gd name="connsiteX66857" fmla="*/ 2844458 w 6884782"/>
              <a:gd name="connsiteY66857" fmla="*/ 690147 h 5973007"/>
              <a:gd name="connsiteX66858" fmla="*/ 2854489 w 6884782"/>
              <a:gd name="connsiteY66858" fmla="*/ 692707 h 5973007"/>
              <a:gd name="connsiteX66859" fmla="*/ 2855129 w 6884782"/>
              <a:gd name="connsiteY66859" fmla="*/ 690431 h 5973007"/>
              <a:gd name="connsiteX66860" fmla="*/ 2862599 w 6884782"/>
              <a:gd name="connsiteY66860" fmla="*/ 690573 h 5973007"/>
              <a:gd name="connsiteX66861" fmla="*/ 2864946 w 6884782"/>
              <a:gd name="connsiteY66861" fmla="*/ 695553 h 5973007"/>
              <a:gd name="connsiteX66862" fmla="*/ 2869215 w 6884782"/>
              <a:gd name="connsiteY66862" fmla="*/ 696691 h 5973007"/>
              <a:gd name="connsiteX66863" fmla="*/ 2866440 w 6884782"/>
              <a:gd name="connsiteY66863" fmla="*/ 700532 h 5973007"/>
              <a:gd name="connsiteX66864" fmla="*/ 2864733 w 6884782"/>
              <a:gd name="connsiteY66864" fmla="*/ 701243 h 5973007"/>
              <a:gd name="connsiteX66865" fmla="*/ 2863666 w 6884782"/>
              <a:gd name="connsiteY66865" fmla="*/ 703378 h 5973007"/>
              <a:gd name="connsiteX66866" fmla="*/ 2861745 w 6884782"/>
              <a:gd name="connsiteY66866" fmla="*/ 703235 h 5973007"/>
              <a:gd name="connsiteX66867" fmla="*/ 2860678 w 6884782"/>
              <a:gd name="connsiteY66867" fmla="*/ 704089 h 5973007"/>
              <a:gd name="connsiteX66868" fmla="*/ 2861105 w 6884782"/>
              <a:gd name="connsiteY66868" fmla="*/ 708784 h 5973007"/>
              <a:gd name="connsiteX66869" fmla="*/ 2839123 w 6884782"/>
              <a:gd name="connsiteY66869" fmla="*/ 699821 h 5973007"/>
              <a:gd name="connsiteX66870" fmla="*/ 2818421 w 6884782"/>
              <a:gd name="connsiteY66870" fmla="*/ 701813 h 5973007"/>
              <a:gd name="connsiteX66871" fmla="*/ 2817567 w 6884782"/>
              <a:gd name="connsiteY66871" fmla="*/ 695411 h 5973007"/>
              <a:gd name="connsiteX66872" fmla="*/ 2812445 w 6884782"/>
              <a:gd name="connsiteY66872" fmla="*/ 698967 h 5973007"/>
              <a:gd name="connsiteX66873" fmla="*/ 2827171 w 6884782"/>
              <a:gd name="connsiteY66873" fmla="*/ 708642 h 5973007"/>
              <a:gd name="connsiteX66874" fmla="*/ 2843818 w 6884782"/>
              <a:gd name="connsiteY66874" fmla="*/ 706508 h 5973007"/>
              <a:gd name="connsiteX66875" fmla="*/ 2852355 w 6884782"/>
              <a:gd name="connsiteY66875" fmla="*/ 711772 h 5973007"/>
              <a:gd name="connsiteX66876" fmla="*/ 2856196 w 6884782"/>
              <a:gd name="connsiteY66876" fmla="*/ 714190 h 5973007"/>
              <a:gd name="connsiteX66877" fmla="*/ 2857050 w 6884782"/>
              <a:gd name="connsiteY66877" fmla="*/ 713479 h 5973007"/>
              <a:gd name="connsiteX66878" fmla="*/ 2857050 w 6884782"/>
              <a:gd name="connsiteY66878" fmla="*/ 714759 h 5973007"/>
              <a:gd name="connsiteX66879" fmla="*/ 2860251 w 6884782"/>
              <a:gd name="connsiteY66879" fmla="*/ 716751 h 5973007"/>
              <a:gd name="connsiteX66880" fmla="*/ 2857477 w 6884782"/>
              <a:gd name="connsiteY66880" fmla="*/ 722868 h 5973007"/>
              <a:gd name="connsiteX66881" fmla="*/ 2860891 w 6884782"/>
              <a:gd name="connsiteY66881" fmla="*/ 730267 h 5973007"/>
              <a:gd name="connsiteX66882" fmla="*/ 2863026 w 6884782"/>
              <a:gd name="connsiteY66882" fmla="*/ 733823 h 5973007"/>
              <a:gd name="connsiteX66883" fmla="*/ 2865800 w 6884782"/>
              <a:gd name="connsiteY66883" fmla="*/ 735104 h 5973007"/>
              <a:gd name="connsiteX66884" fmla="*/ 2889703 w 6884782"/>
              <a:gd name="connsiteY66884" fmla="*/ 741363 h 5973007"/>
              <a:gd name="connsiteX66885" fmla="*/ 2897813 w 6884782"/>
              <a:gd name="connsiteY66885" fmla="*/ 749188 h 5973007"/>
              <a:gd name="connsiteX66886" fmla="*/ 2903575 w 6884782"/>
              <a:gd name="connsiteY66886" fmla="*/ 753029 h 5973007"/>
              <a:gd name="connsiteX66887" fmla="*/ 2908911 w 6884782"/>
              <a:gd name="connsiteY66887" fmla="*/ 757724 h 5973007"/>
              <a:gd name="connsiteX66888" fmla="*/ 2919795 w 6884782"/>
              <a:gd name="connsiteY66888" fmla="*/ 764838 h 5973007"/>
              <a:gd name="connsiteX66889" fmla="*/ 2920436 w 6884782"/>
              <a:gd name="connsiteY66889" fmla="*/ 764838 h 5973007"/>
              <a:gd name="connsiteX66890" fmla="*/ 2931533 w 6884782"/>
              <a:gd name="connsiteY66890" fmla="*/ 769390 h 5973007"/>
              <a:gd name="connsiteX66891" fmla="*/ 2936656 w 6884782"/>
              <a:gd name="connsiteY66891" fmla="*/ 775934 h 5973007"/>
              <a:gd name="connsiteX66892" fmla="*/ 2954796 w 6884782"/>
              <a:gd name="connsiteY66892" fmla="*/ 788454 h 5973007"/>
              <a:gd name="connsiteX66893" fmla="*/ 2956930 w 6884782"/>
              <a:gd name="connsiteY66893" fmla="*/ 782906 h 5973007"/>
              <a:gd name="connsiteX66894" fmla="*/ 2963973 w 6884782"/>
              <a:gd name="connsiteY66894" fmla="*/ 773516 h 5973007"/>
              <a:gd name="connsiteX66895" fmla="*/ 2965467 w 6884782"/>
              <a:gd name="connsiteY66895" fmla="*/ 773374 h 5973007"/>
              <a:gd name="connsiteX66896" fmla="*/ 2966534 w 6884782"/>
              <a:gd name="connsiteY66896" fmla="*/ 771951 h 5973007"/>
              <a:gd name="connsiteX66897" fmla="*/ 2966321 w 6884782"/>
              <a:gd name="connsiteY66897" fmla="*/ 771666 h 5973007"/>
              <a:gd name="connsiteX66898" fmla="*/ 2966108 w 6884782"/>
              <a:gd name="connsiteY66898" fmla="*/ 770529 h 5973007"/>
              <a:gd name="connsiteX66899" fmla="*/ 2968455 w 6884782"/>
              <a:gd name="connsiteY66899" fmla="*/ 766403 h 5973007"/>
              <a:gd name="connsiteX66900" fmla="*/ 2971443 w 6884782"/>
              <a:gd name="connsiteY66900" fmla="*/ 766687 h 5973007"/>
              <a:gd name="connsiteX66901" fmla="*/ 2975711 w 6884782"/>
              <a:gd name="connsiteY66901" fmla="*/ 772378 h 5973007"/>
              <a:gd name="connsiteX66902" fmla="*/ 2996840 w 6884782"/>
              <a:gd name="connsiteY66902" fmla="*/ 772378 h 5973007"/>
              <a:gd name="connsiteX66903" fmla="*/ 2997267 w 6884782"/>
              <a:gd name="connsiteY66903" fmla="*/ 784470 h 5973007"/>
              <a:gd name="connsiteX66904" fmla="*/ 2977205 w 6884782"/>
              <a:gd name="connsiteY66904" fmla="*/ 791584 h 5973007"/>
              <a:gd name="connsiteX66905" fmla="*/ 2977205 w 6884782"/>
              <a:gd name="connsiteY66905" fmla="*/ 790446 h 5973007"/>
              <a:gd name="connsiteX66906" fmla="*/ 2970589 w 6884782"/>
              <a:gd name="connsiteY66906" fmla="*/ 793291 h 5973007"/>
              <a:gd name="connsiteX66907" fmla="*/ 2969736 w 6884782"/>
              <a:gd name="connsiteY66907" fmla="*/ 792154 h 5973007"/>
              <a:gd name="connsiteX66908" fmla="*/ 2969309 w 6884782"/>
              <a:gd name="connsiteY66908" fmla="*/ 792154 h 5973007"/>
              <a:gd name="connsiteX66909" fmla="*/ 2965467 w 6884782"/>
              <a:gd name="connsiteY66909" fmla="*/ 796279 h 5973007"/>
              <a:gd name="connsiteX66910" fmla="*/ 2965681 w 6884782"/>
              <a:gd name="connsiteY66910" fmla="*/ 796279 h 5973007"/>
              <a:gd name="connsiteX66911" fmla="*/ 2966108 w 6884782"/>
              <a:gd name="connsiteY66911" fmla="*/ 796279 h 5973007"/>
              <a:gd name="connsiteX66912" fmla="*/ 2973791 w 6884782"/>
              <a:gd name="connsiteY66912" fmla="*/ 802255 h 5973007"/>
              <a:gd name="connsiteX66913" fmla="*/ 2974644 w 6884782"/>
              <a:gd name="connsiteY66913" fmla="*/ 804815 h 5973007"/>
              <a:gd name="connsiteX66914" fmla="*/ 2976565 w 6884782"/>
              <a:gd name="connsiteY66914" fmla="*/ 806522 h 5973007"/>
              <a:gd name="connsiteX66915" fmla="*/ 2976138 w 6884782"/>
              <a:gd name="connsiteY66915" fmla="*/ 805384 h 5973007"/>
              <a:gd name="connsiteX66916" fmla="*/ 2975498 w 6884782"/>
              <a:gd name="connsiteY66916" fmla="*/ 803962 h 5973007"/>
              <a:gd name="connsiteX66917" fmla="*/ 2976352 w 6884782"/>
              <a:gd name="connsiteY66917" fmla="*/ 801401 h 5973007"/>
              <a:gd name="connsiteX66918" fmla="*/ 2982541 w 6884782"/>
              <a:gd name="connsiteY66918" fmla="*/ 796279 h 5973007"/>
              <a:gd name="connsiteX66919" fmla="*/ 2986169 w 6884782"/>
              <a:gd name="connsiteY66919" fmla="*/ 804957 h 5973007"/>
              <a:gd name="connsiteX66920" fmla="*/ 2984248 w 6884782"/>
              <a:gd name="connsiteY66920" fmla="*/ 812498 h 5973007"/>
              <a:gd name="connsiteX66921" fmla="*/ 2987450 w 6884782"/>
              <a:gd name="connsiteY66921" fmla="*/ 811217 h 5973007"/>
              <a:gd name="connsiteX66922" fmla="*/ 2991505 w 6884782"/>
              <a:gd name="connsiteY66922" fmla="*/ 814347 h 5973007"/>
              <a:gd name="connsiteX66923" fmla="*/ 2997267 w 6884782"/>
              <a:gd name="connsiteY66923" fmla="*/ 818188 h 5973007"/>
              <a:gd name="connsiteX66924" fmla="*/ 3006657 w 6884782"/>
              <a:gd name="connsiteY66924" fmla="*/ 820038 h 5973007"/>
              <a:gd name="connsiteX66925" fmla="*/ 3000041 w 6884782"/>
              <a:gd name="connsiteY66925" fmla="*/ 822172 h 5973007"/>
              <a:gd name="connsiteX66926" fmla="*/ 3031201 w 6884782"/>
              <a:gd name="connsiteY66926" fmla="*/ 835973 h 5973007"/>
              <a:gd name="connsiteX66927" fmla="*/ 3062147 w 6884782"/>
              <a:gd name="connsiteY66927" fmla="*/ 850768 h 5973007"/>
              <a:gd name="connsiteX66928" fmla="*/ 3057451 w 6884782"/>
              <a:gd name="connsiteY66928" fmla="*/ 837821 h 5973007"/>
              <a:gd name="connsiteX66929" fmla="*/ 3069189 w 6884782"/>
              <a:gd name="connsiteY66929" fmla="*/ 847780 h 5973007"/>
              <a:gd name="connsiteX66930" fmla="*/ 3076659 w 6884782"/>
              <a:gd name="connsiteY66930" fmla="*/ 856316 h 5973007"/>
              <a:gd name="connsiteX66931" fmla="*/ 3079220 w 6884782"/>
              <a:gd name="connsiteY66931" fmla="*/ 854325 h 5973007"/>
              <a:gd name="connsiteX66932" fmla="*/ 3083702 w 6884782"/>
              <a:gd name="connsiteY66932" fmla="*/ 853756 h 5973007"/>
              <a:gd name="connsiteX66933" fmla="*/ 3085196 w 6884782"/>
              <a:gd name="connsiteY66933" fmla="*/ 854467 h 5973007"/>
              <a:gd name="connsiteX66934" fmla="*/ 3079860 w 6884782"/>
              <a:gd name="connsiteY66934" fmla="*/ 856459 h 5973007"/>
              <a:gd name="connsiteX66935" fmla="*/ 3077299 w 6884782"/>
              <a:gd name="connsiteY66935" fmla="*/ 857028 h 5973007"/>
              <a:gd name="connsiteX66936" fmla="*/ 3077726 w 6884782"/>
              <a:gd name="connsiteY66936" fmla="*/ 857597 h 5973007"/>
              <a:gd name="connsiteX66937" fmla="*/ 3087757 w 6884782"/>
              <a:gd name="connsiteY66937" fmla="*/ 864284 h 5973007"/>
              <a:gd name="connsiteX66938" fmla="*/ 3093305 w 6884782"/>
              <a:gd name="connsiteY66938" fmla="*/ 866275 h 5973007"/>
              <a:gd name="connsiteX66939" fmla="*/ 3091172 w 6884782"/>
              <a:gd name="connsiteY66939" fmla="*/ 863999 h 5973007"/>
              <a:gd name="connsiteX66940" fmla="*/ 3098641 w 6884782"/>
              <a:gd name="connsiteY66940" fmla="*/ 858450 h 5973007"/>
              <a:gd name="connsiteX66941" fmla="*/ 3099708 w 6884782"/>
              <a:gd name="connsiteY66941" fmla="*/ 860727 h 5973007"/>
              <a:gd name="connsiteX66942" fmla="*/ 3099281 w 6884782"/>
              <a:gd name="connsiteY66942" fmla="*/ 864852 h 5973007"/>
              <a:gd name="connsiteX66943" fmla="*/ 3096720 w 6884782"/>
              <a:gd name="connsiteY66943" fmla="*/ 867414 h 5973007"/>
              <a:gd name="connsiteX66944" fmla="*/ 3100135 w 6884782"/>
              <a:gd name="connsiteY66944" fmla="*/ 868552 h 5973007"/>
              <a:gd name="connsiteX66945" fmla="*/ 3099708 w 6884782"/>
              <a:gd name="connsiteY66945" fmla="*/ 875096 h 5973007"/>
              <a:gd name="connsiteX66946" fmla="*/ 3101629 w 6884782"/>
              <a:gd name="connsiteY66946" fmla="*/ 881498 h 5973007"/>
              <a:gd name="connsiteX66947" fmla="*/ 3101843 w 6884782"/>
              <a:gd name="connsiteY66947" fmla="*/ 881498 h 5973007"/>
              <a:gd name="connsiteX66948" fmla="*/ 3104190 w 6884782"/>
              <a:gd name="connsiteY66948" fmla="*/ 881356 h 5973007"/>
              <a:gd name="connsiteX66949" fmla="*/ 3112514 w 6884782"/>
              <a:gd name="connsiteY66949" fmla="*/ 881783 h 5973007"/>
              <a:gd name="connsiteX66950" fmla="*/ 3106751 w 6884782"/>
              <a:gd name="connsiteY66950" fmla="*/ 883347 h 5973007"/>
              <a:gd name="connsiteX66951" fmla="*/ 3105257 w 6884782"/>
              <a:gd name="connsiteY66951" fmla="*/ 884201 h 5973007"/>
              <a:gd name="connsiteX66952" fmla="*/ 3105471 w 6884782"/>
              <a:gd name="connsiteY66952" fmla="*/ 884771 h 5973007"/>
              <a:gd name="connsiteX66953" fmla="*/ 3105044 w 6884782"/>
              <a:gd name="connsiteY66953" fmla="*/ 884912 h 5973007"/>
              <a:gd name="connsiteX66954" fmla="*/ 3114007 w 6884782"/>
              <a:gd name="connsiteY66954" fmla="*/ 891172 h 5973007"/>
              <a:gd name="connsiteX66955" fmla="*/ 3123611 w 6884782"/>
              <a:gd name="connsiteY66955" fmla="*/ 901843 h 5973007"/>
              <a:gd name="connsiteX66956" fmla="*/ 3129587 w 6884782"/>
              <a:gd name="connsiteY66956" fmla="*/ 890176 h 5973007"/>
              <a:gd name="connsiteX66957" fmla="*/ 3116995 w 6884782"/>
              <a:gd name="connsiteY66957" fmla="*/ 883205 h 5973007"/>
              <a:gd name="connsiteX66958" fmla="*/ 3118702 w 6884782"/>
              <a:gd name="connsiteY66958" fmla="*/ 883347 h 5973007"/>
              <a:gd name="connsiteX66959" fmla="*/ 3115501 w 6884782"/>
              <a:gd name="connsiteY66959" fmla="*/ 880929 h 5973007"/>
              <a:gd name="connsiteX66960" fmla="*/ 3110379 w 6884782"/>
              <a:gd name="connsiteY66960" fmla="*/ 873816 h 5973007"/>
              <a:gd name="connsiteX66961" fmla="*/ 3116568 w 6884782"/>
              <a:gd name="connsiteY66961" fmla="*/ 868552 h 5973007"/>
              <a:gd name="connsiteX66962" fmla="*/ 3126813 w 6884782"/>
              <a:gd name="connsiteY66962" fmla="*/ 880075 h 5973007"/>
              <a:gd name="connsiteX66963" fmla="*/ 3124252 w 6884782"/>
              <a:gd name="connsiteY66963" fmla="*/ 884059 h 5973007"/>
              <a:gd name="connsiteX66964" fmla="*/ 3128947 w 6884782"/>
              <a:gd name="connsiteY66964" fmla="*/ 886193 h 5973007"/>
              <a:gd name="connsiteX66965" fmla="*/ 3141112 w 6884782"/>
              <a:gd name="connsiteY66965" fmla="*/ 888611 h 5973007"/>
              <a:gd name="connsiteX66966" fmla="*/ 3132361 w 6884782"/>
              <a:gd name="connsiteY66966" fmla="*/ 891030 h 5973007"/>
              <a:gd name="connsiteX66967" fmla="*/ 3128520 w 6884782"/>
              <a:gd name="connsiteY66967" fmla="*/ 897575 h 5973007"/>
              <a:gd name="connsiteX66968" fmla="*/ 3129373 w 6884782"/>
              <a:gd name="connsiteY66968" fmla="*/ 902269 h 5973007"/>
              <a:gd name="connsiteX66969" fmla="*/ 3134282 w 6884782"/>
              <a:gd name="connsiteY66969" fmla="*/ 901843 h 5973007"/>
              <a:gd name="connsiteX66970" fmla="*/ 3138977 w 6884782"/>
              <a:gd name="connsiteY66970" fmla="*/ 904546 h 5973007"/>
              <a:gd name="connsiteX66971" fmla="*/ 3139618 w 6884782"/>
              <a:gd name="connsiteY66971" fmla="*/ 906538 h 5973007"/>
              <a:gd name="connsiteX66972" fmla="*/ 3146234 w 6884782"/>
              <a:gd name="connsiteY66972" fmla="*/ 906538 h 5973007"/>
              <a:gd name="connsiteX66973" fmla="*/ 3153490 w 6884782"/>
              <a:gd name="connsiteY66973" fmla="*/ 907961 h 5973007"/>
              <a:gd name="connsiteX66974" fmla="*/ 3148368 w 6884782"/>
              <a:gd name="connsiteY66974" fmla="*/ 915358 h 5973007"/>
              <a:gd name="connsiteX66975" fmla="*/ 3146874 w 6884782"/>
              <a:gd name="connsiteY66975" fmla="*/ 924037 h 5973007"/>
              <a:gd name="connsiteX66976" fmla="*/ 3157331 w 6884782"/>
              <a:gd name="connsiteY66976" fmla="*/ 924321 h 5973007"/>
              <a:gd name="connsiteX66977" fmla="*/ 3160319 w 6884782"/>
              <a:gd name="connsiteY66977" fmla="*/ 925744 h 5973007"/>
              <a:gd name="connsiteX66978" fmla="*/ 3159679 w 6884782"/>
              <a:gd name="connsiteY66978" fmla="*/ 908529 h 5973007"/>
              <a:gd name="connsiteX66979" fmla="*/ 3165014 w 6884782"/>
              <a:gd name="connsiteY66979" fmla="*/ 888611 h 5973007"/>
              <a:gd name="connsiteX66980" fmla="*/ 3171417 w 6884782"/>
              <a:gd name="connsiteY66980" fmla="*/ 885482 h 5973007"/>
              <a:gd name="connsiteX66981" fmla="*/ 3186570 w 6884782"/>
              <a:gd name="connsiteY66981" fmla="*/ 887189 h 5973007"/>
              <a:gd name="connsiteX66982" fmla="*/ 3194467 w 6884782"/>
              <a:gd name="connsiteY66982" fmla="*/ 890888 h 5973007"/>
              <a:gd name="connsiteX66983" fmla="*/ 3203644 w 6884782"/>
              <a:gd name="connsiteY66983" fmla="*/ 884628 h 5973007"/>
              <a:gd name="connsiteX66984" fmla="*/ 3203430 w 6884782"/>
              <a:gd name="connsiteY66984" fmla="*/ 884059 h 5973007"/>
              <a:gd name="connsiteX66985" fmla="*/ 3205138 w 6884782"/>
              <a:gd name="connsiteY66985" fmla="*/ 876661 h 5973007"/>
              <a:gd name="connsiteX66986" fmla="*/ 3206418 w 6884782"/>
              <a:gd name="connsiteY66986" fmla="*/ 875665 h 5973007"/>
              <a:gd name="connsiteX66987" fmla="*/ 3200229 w 6884782"/>
              <a:gd name="connsiteY66987" fmla="*/ 867271 h 5973007"/>
              <a:gd name="connsiteX66988" fmla="*/ 3182942 w 6884782"/>
              <a:gd name="connsiteY66988" fmla="*/ 848492 h 5973007"/>
              <a:gd name="connsiteX66989" fmla="*/ 3203430 w 6884782"/>
              <a:gd name="connsiteY66989" fmla="*/ 860727 h 5973007"/>
              <a:gd name="connsiteX66990" fmla="*/ 3204924 w 6884782"/>
              <a:gd name="connsiteY66990" fmla="*/ 861438 h 5973007"/>
              <a:gd name="connsiteX66991" fmla="*/ 3205138 w 6884782"/>
              <a:gd name="connsiteY66991" fmla="*/ 860727 h 5973007"/>
              <a:gd name="connsiteX66992" fmla="*/ 3204070 w 6884782"/>
              <a:gd name="connsiteY66992" fmla="*/ 860158 h 5973007"/>
              <a:gd name="connsiteX66993" fmla="*/ 3204711 w 6884782"/>
              <a:gd name="connsiteY66993" fmla="*/ 856601 h 5973007"/>
              <a:gd name="connsiteX66994" fmla="*/ 3204924 w 6884782"/>
              <a:gd name="connsiteY66994" fmla="*/ 856459 h 5973007"/>
              <a:gd name="connsiteX66995" fmla="*/ 3199162 w 6884782"/>
              <a:gd name="connsiteY66995" fmla="*/ 850484 h 5973007"/>
              <a:gd name="connsiteX66996" fmla="*/ 3188064 w 6884782"/>
              <a:gd name="connsiteY66996" fmla="*/ 839671 h 5973007"/>
              <a:gd name="connsiteX66997" fmla="*/ 3176113 w 6884782"/>
              <a:gd name="connsiteY66997" fmla="*/ 830993 h 5973007"/>
              <a:gd name="connsiteX66998" fmla="*/ 3173125 w 6884782"/>
              <a:gd name="connsiteY66998" fmla="*/ 829712 h 5973007"/>
              <a:gd name="connsiteX66999" fmla="*/ 3172484 w 6884782"/>
              <a:gd name="connsiteY66999" fmla="*/ 833554 h 5973007"/>
              <a:gd name="connsiteX67000" fmla="*/ 3166082 w 6884782"/>
              <a:gd name="connsiteY67000" fmla="*/ 828859 h 5973007"/>
              <a:gd name="connsiteX67001" fmla="*/ 3166509 w 6884782"/>
              <a:gd name="connsiteY67001" fmla="*/ 827152 h 5973007"/>
              <a:gd name="connsiteX67002" fmla="*/ 3165014 w 6884782"/>
              <a:gd name="connsiteY67002" fmla="*/ 826440 h 5973007"/>
              <a:gd name="connsiteX67003" fmla="*/ 3163734 w 6884782"/>
              <a:gd name="connsiteY67003" fmla="*/ 829001 h 5973007"/>
              <a:gd name="connsiteX67004" fmla="*/ 3145380 w 6884782"/>
              <a:gd name="connsiteY67004" fmla="*/ 829854 h 5973007"/>
              <a:gd name="connsiteX67005" fmla="*/ 3153703 w 6884782"/>
              <a:gd name="connsiteY67005" fmla="*/ 823452 h 5973007"/>
              <a:gd name="connsiteX67006" fmla="*/ 3159039 w 6884782"/>
              <a:gd name="connsiteY67006" fmla="*/ 817051 h 5973007"/>
              <a:gd name="connsiteX67007" fmla="*/ 3156265 w 6884782"/>
              <a:gd name="connsiteY67007" fmla="*/ 812498 h 5973007"/>
              <a:gd name="connsiteX67008" fmla="*/ 3145594 w 6884782"/>
              <a:gd name="connsiteY67008" fmla="*/ 799694 h 5973007"/>
              <a:gd name="connsiteX67009" fmla="*/ 3119983 w 6884782"/>
              <a:gd name="connsiteY67009" fmla="*/ 778211 h 5973007"/>
              <a:gd name="connsiteX67010" fmla="*/ 3106964 w 6884782"/>
              <a:gd name="connsiteY67010" fmla="*/ 768821 h 5973007"/>
              <a:gd name="connsiteX67011" fmla="*/ 3106111 w 6884782"/>
              <a:gd name="connsiteY67011" fmla="*/ 777642 h 5973007"/>
              <a:gd name="connsiteX67012" fmla="*/ 3087970 w 6884782"/>
              <a:gd name="connsiteY67012" fmla="*/ 802965 h 5973007"/>
              <a:gd name="connsiteX67013" fmla="*/ 3024798 w 6884782"/>
              <a:gd name="connsiteY67013" fmla="*/ 803393 h 5973007"/>
              <a:gd name="connsiteX67014" fmla="*/ 3010499 w 6884782"/>
              <a:gd name="connsiteY67014" fmla="*/ 758293 h 5973007"/>
              <a:gd name="connsiteX67015" fmla="*/ 3017542 w 6884782"/>
              <a:gd name="connsiteY67015" fmla="*/ 751749 h 5973007"/>
              <a:gd name="connsiteX67016" fmla="*/ 3019889 w 6884782"/>
              <a:gd name="connsiteY67016" fmla="*/ 747481 h 5973007"/>
              <a:gd name="connsiteX67017" fmla="*/ 3019249 w 6884782"/>
              <a:gd name="connsiteY67017" fmla="*/ 745205 h 5973007"/>
              <a:gd name="connsiteX67018" fmla="*/ 3021383 w 6884782"/>
              <a:gd name="connsiteY67018" fmla="*/ 744208 h 5973007"/>
              <a:gd name="connsiteX67019" fmla="*/ 3022877 w 6884782"/>
              <a:gd name="connsiteY67019" fmla="*/ 736953 h 5973007"/>
              <a:gd name="connsiteX67020" fmla="*/ 3022451 w 6884782"/>
              <a:gd name="connsiteY67020" fmla="*/ 736811 h 5973007"/>
              <a:gd name="connsiteX67021" fmla="*/ 3007937 w 6884782"/>
              <a:gd name="connsiteY67021" fmla="*/ 728132 h 5973007"/>
              <a:gd name="connsiteX67022" fmla="*/ 3004950 w 6884782"/>
              <a:gd name="connsiteY67022" fmla="*/ 733823 h 5973007"/>
              <a:gd name="connsiteX67023" fmla="*/ 2997053 w 6884782"/>
              <a:gd name="connsiteY67023" fmla="*/ 742217 h 5973007"/>
              <a:gd name="connsiteX67024" fmla="*/ 2987663 w 6884782"/>
              <a:gd name="connsiteY67024" fmla="*/ 736526 h 5973007"/>
              <a:gd name="connsiteX67025" fmla="*/ 2995986 w 6884782"/>
              <a:gd name="connsiteY67025" fmla="*/ 729697 h 5973007"/>
              <a:gd name="connsiteX67026" fmla="*/ 2999614 w 6884782"/>
              <a:gd name="connsiteY67026" fmla="*/ 723153 h 5973007"/>
              <a:gd name="connsiteX67027" fmla="*/ 2997480 w 6884782"/>
              <a:gd name="connsiteY67027" fmla="*/ 721873 h 5973007"/>
              <a:gd name="connsiteX67028" fmla="*/ 2992358 w 6884782"/>
              <a:gd name="connsiteY67028" fmla="*/ 718885 h 5973007"/>
              <a:gd name="connsiteX67029" fmla="*/ 2991931 w 6884782"/>
              <a:gd name="connsiteY67029" fmla="*/ 719027 h 5973007"/>
              <a:gd name="connsiteX67030" fmla="*/ 2986595 w 6884782"/>
              <a:gd name="connsiteY67030" fmla="*/ 717889 h 5973007"/>
              <a:gd name="connsiteX67031" fmla="*/ 2985529 w 6884782"/>
              <a:gd name="connsiteY67031" fmla="*/ 715044 h 5973007"/>
              <a:gd name="connsiteX67032" fmla="*/ 2975711 w 6884782"/>
              <a:gd name="connsiteY67032" fmla="*/ 709780 h 5973007"/>
              <a:gd name="connsiteX67033" fmla="*/ 2974858 w 6884782"/>
              <a:gd name="connsiteY67033" fmla="*/ 709637 h 5973007"/>
              <a:gd name="connsiteX67034" fmla="*/ 2974431 w 6884782"/>
              <a:gd name="connsiteY67034" fmla="*/ 709068 h 5973007"/>
              <a:gd name="connsiteX67035" fmla="*/ 2970803 w 6884782"/>
              <a:gd name="connsiteY67035" fmla="*/ 707077 h 5973007"/>
              <a:gd name="connsiteX67036" fmla="*/ 2944979 w 6884782"/>
              <a:gd name="connsiteY67036" fmla="*/ 694130 h 5973007"/>
              <a:gd name="connsiteX67037" fmla="*/ 2937509 w 6884782"/>
              <a:gd name="connsiteY67037" fmla="*/ 692565 h 5973007"/>
              <a:gd name="connsiteX67038" fmla="*/ 2930893 w 6884782"/>
              <a:gd name="connsiteY67038" fmla="*/ 691285 h 5973007"/>
              <a:gd name="connsiteX67039" fmla="*/ 2931320 w 6884782"/>
              <a:gd name="connsiteY67039" fmla="*/ 691854 h 5973007"/>
              <a:gd name="connsiteX67040" fmla="*/ 2924491 w 6884782"/>
              <a:gd name="connsiteY67040" fmla="*/ 701813 h 5973007"/>
              <a:gd name="connsiteX67041" fmla="*/ 2921716 w 6884782"/>
              <a:gd name="connsiteY67041" fmla="*/ 688297 h 5973007"/>
              <a:gd name="connsiteX67042" fmla="*/ 2923424 w 6884782"/>
              <a:gd name="connsiteY67042" fmla="*/ 687443 h 5973007"/>
              <a:gd name="connsiteX67043" fmla="*/ 2922997 w 6884782"/>
              <a:gd name="connsiteY67043" fmla="*/ 687159 h 5973007"/>
              <a:gd name="connsiteX67044" fmla="*/ 2922357 w 6884782"/>
              <a:gd name="connsiteY67044" fmla="*/ 678765 h 5973007"/>
              <a:gd name="connsiteX67045" fmla="*/ 2903575 w 6884782"/>
              <a:gd name="connsiteY67045" fmla="*/ 674497 h 5973007"/>
              <a:gd name="connsiteX67046" fmla="*/ 2901441 w 6884782"/>
              <a:gd name="connsiteY67046" fmla="*/ 675209 h 5973007"/>
              <a:gd name="connsiteX67047" fmla="*/ 2901228 w 6884782"/>
              <a:gd name="connsiteY67047" fmla="*/ 675351 h 5973007"/>
              <a:gd name="connsiteX67048" fmla="*/ 2901015 w 6884782"/>
              <a:gd name="connsiteY67048" fmla="*/ 675351 h 5973007"/>
              <a:gd name="connsiteX67049" fmla="*/ 2899307 w 6884782"/>
              <a:gd name="connsiteY67049" fmla="*/ 675919 h 5973007"/>
              <a:gd name="connsiteX67050" fmla="*/ 2898453 w 6884782"/>
              <a:gd name="connsiteY67050" fmla="*/ 674782 h 5973007"/>
              <a:gd name="connsiteX67051" fmla="*/ 2894825 w 6884782"/>
              <a:gd name="connsiteY67051" fmla="*/ 673928 h 5973007"/>
              <a:gd name="connsiteX67052" fmla="*/ 2893331 w 6884782"/>
              <a:gd name="connsiteY67052" fmla="*/ 671509 h 5973007"/>
              <a:gd name="connsiteX67053" fmla="*/ 2891837 w 6884782"/>
              <a:gd name="connsiteY67053" fmla="*/ 667383 h 5973007"/>
              <a:gd name="connsiteX67054" fmla="*/ 2888636 w 6884782"/>
              <a:gd name="connsiteY67054" fmla="*/ 666388 h 5973007"/>
              <a:gd name="connsiteX67055" fmla="*/ 2888636 w 6884782"/>
              <a:gd name="connsiteY67055" fmla="*/ 668380 h 5973007"/>
              <a:gd name="connsiteX67056" fmla="*/ 2884154 w 6884782"/>
              <a:gd name="connsiteY67056" fmla="*/ 670371 h 5973007"/>
              <a:gd name="connsiteX67057" fmla="*/ 2881807 w 6884782"/>
              <a:gd name="connsiteY67057" fmla="*/ 668664 h 5973007"/>
              <a:gd name="connsiteX67058" fmla="*/ 2881807 w 6884782"/>
              <a:gd name="connsiteY67058" fmla="*/ 670798 h 5973007"/>
              <a:gd name="connsiteX67059" fmla="*/ 2878392 w 6884782"/>
              <a:gd name="connsiteY67059" fmla="*/ 675777 h 5973007"/>
              <a:gd name="connsiteX67060" fmla="*/ 2870709 w 6884782"/>
              <a:gd name="connsiteY67060" fmla="*/ 669090 h 5973007"/>
              <a:gd name="connsiteX67061" fmla="*/ 2866440 w 6884782"/>
              <a:gd name="connsiteY67061" fmla="*/ 666672 h 5973007"/>
              <a:gd name="connsiteX67062" fmla="*/ 2861318 w 6884782"/>
              <a:gd name="connsiteY67062" fmla="*/ 677200 h 5973007"/>
              <a:gd name="connsiteX67063" fmla="*/ 2863453 w 6884782"/>
              <a:gd name="connsiteY67063" fmla="*/ 681895 h 5973007"/>
              <a:gd name="connsiteX67064" fmla="*/ 2860465 w 6884782"/>
              <a:gd name="connsiteY67064" fmla="*/ 686590 h 5973007"/>
              <a:gd name="connsiteX67065" fmla="*/ 2857690 w 6884782"/>
              <a:gd name="connsiteY67065" fmla="*/ 682322 h 5973007"/>
              <a:gd name="connsiteX67066" fmla="*/ 2848940 w 6884782"/>
              <a:gd name="connsiteY67066" fmla="*/ 690573 h 5973007"/>
              <a:gd name="connsiteX67067" fmla="*/ 2845739 w 6884782"/>
              <a:gd name="connsiteY67067" fmla="*/ 673928 h 5973007"/>
              <a:gd name="connsiteX67068" fmla="*/ 2849580 w 6884782"/>
              <a:gd name="connsiteY67068" fmla="*/ 657282 h 5973007"/>
              <a:gd name="connsiteX67069" fmla="*/ 2831013 w 6884782"/>
              <a:gd name="connsiteY67069" fmla="*/ 650596 h 5973007"/>
              <a:gd name="connsiteX67070" fmla="*/ 2807750 w 6884782"/>
              <a:gd name="connsiteY67070" fmla="*/ 645332 h 5973007"/>
              <a:gd name="connsiteX67071" fmla="*/ 2806896 w 6884782"/>
              <a:gd name="connsiteY67071" fmla="*/ 648035 h 5973007"/>
              <a:gd name="connsiteX67072" fmla="*/ 2801561 w 6884782"/>
              <a:gd name="connsiteY67072" fmla="*/ 652018 h 5973007"/>
              <a:gd name="connsiteX67073" fmla="*/ 2796865 w 6884782"/>
              <a:gd name="connsiteY67073" fmla="*/ 651592 h 5973007"/>
              <a:gd name="connsiteX67074" fmla="*/ 2794518 w 6884782"/>
              <a:gd name="connsiteY67074" fmla="*/ 651592 h 5973007"/>
              <a:gd name="connsiteX67075" fmla="*/ 2793665 w 6884782"/>
              <a:gd name="connsiteY67075" fmla="*/ 671225 h 5973007"/>
              <a:gd name="connsiteX67076" fmla="*/ 2780859 w 6884782"/>
              <a:gd name="connsiteY67076" fmla="*/ 668380 h 5973007"/>
              <a:gd name="connsiteX67077" fmla="*/ 2783207 w 6884782"/>
              <a:gd name="connsiteY67077" fmla="*/ 641775 h 5973007"/>
              <a:gd name="connsiteX67078" fmla="*/ 2776164 w 6884782"/>
              <a:gd name="connsiteY67078" fmla="*/ 641064 h 5973007"/>
              <a:gd name="connsiteX67079" fmla="*/ 2758023 w 6884782"/>
              <a:gd name="connsiteY67079" fmla="*/ 630251 h 5973007"/>
              <a:gd name="connsiteX67080" fmla="*/ 2088739 w 6884782"/>
              <a:gd name="connsiteY67080" fmla="*/ 627975 h 5973007"/>
              <a:gd name="connsiteX67081" fmla="*/ 2096209 w 6884782"/>
              <a:gd name="connsiteY67081" fmla="*/ 635089 h 5973007"/>
              <a:gd name="connsiteX67082" fmla="*/ 2090659 w 6884782"/>
              <a:gd name="connsiteY67082" fmla="*/ 641064 h 5973007"/>
              <a:gd name="connsiteX67083" fmla="*/ 2087032 w 6884782"/>
              <a:gd name="connsiteY67083" fmla="*/ 640352 h 5973007"/>
              <a:gd name="connsiteX67084" fmla="*/ 2081269 w 6884782"/>
              <a:gd name="connsiteY67084" fmla="*/ 635800 h 5973007"/>
              <a:gd name="connsiteX67085" fmla="*/ 2080842 w 6884782"/>
              <a:gd name="connsiteY67085" fmla="*/ 636796 h 5973007"/>
              <a:gd name="connsiteX67086" fmla="*/ 2082550 w 6884782"/>
              <a:gd name="connsiteY67086" fmla="*/ 629967 h 5973007"/>
              <a:gd name="connsiteX67087" fmla="*/ 2088739 w 6884782"/>
              <a:gd name="connsiteY67087" fmla="*/ 627975 h 5973007"/>
              <a:gd name="connsiteX67088" fmla="*/ 3022023 w 6884782"/>
              <a:gd name="connsiteY67088" fmla="*/ 627121 h 5973007"/>
              <a:gd name="connsiteX67089" fmla="*/ 3021810 w 6884782"/>
              <a:gd name="connsiteY67089" fmla="*/ 648462 h 5973007"/>
              <a:gd name="connsiteX67090" fmla="*/ 3018182 w 6884782"/>
              <a:gd name="connsiteY67090" fmla="*/ 647181 h 5973007"/>
              <a:gd name="connsiteX67091" fmla="*/ 3017542 w 6884782"/>
              <a:gd name="connsiteY67091" fmla="*/ 647608 h 5973007"/>
              <a:gd name="connsiteX67092" fmla="*/ 3008792 w 6884782"/>
              <a:gd name="connsiteY67092" fmla="*/ 640352 h 5973007"/>
              <a:gd name="connsiteX67093" fmla="*/ 3013913 w 6884782"/>
              <a:gd name="connsiteY67093" fmla="*/ 634235 h 5973007"/>
              <a:gd name="connsiteX67094" fmla="*/ 3014767 w 6884782"/>
              <a:gd name="connsiteY67094" fmla="*/ 634804 h 5973007"/>
              <a:gd name="connsiteX67095" fmla="*/ 3015408 w 6884782"/>
              <a:gd name="connsiteY67095" fmla="*/ 633239 h 5973007"/>
              <a:gd name="connsiteX67096" fmla="*/ 3022023 w 6884782"/>
              <a:gd name="connsiteY67096" fmla="*/ 627121 h 5973007"/>
              <a:gd name="connsiteX67097" fmla="*/ 2222340 w 6884782"/>
              <a:gd name="connsiteY67097" fmla="*/ 623280 h 5973007"/>
              <a:gd name="connsiteX67098" fmla="*/ 2227888 w 6884782"/>
              <a:gd name="connsiteY67098" fmla="*/ 626837 h 5973007"/>
              <a:gd name="connsiteX67099" fmla="*/ 2228102 w 6884782"/>
              <a:gd name="connsiteY67099" fmla="*/ 629967 h 5973007"/>
              <a:gd name="connsiteX67100" fmla="*/ 2227248 w 6884782"/>
              <a:gd name="connsiteY67100" fmla="*/ 630536 h 5973007"/>
              <a:gd name="connsiteX67101" fmla="*/ 2223406 w 6884782"/>
              <a:gd name="connsiteY67101" fmla="*/ 632955 h 5973007"/>
              <a:gd name="connsiteX67102" fmla="*/ 2218285 w 6884782"/>
              <a:gd name="connsiteY67102" fmla="*/ 628971 h 5973007"/>
              <a:gd name="connsiteX67103" fmla="*/ 2222340 w 6884782"/>
              <a:gd name="connsiteY67103" fmla="*/ 623280 h 5973007"/>
              <a:gd name="connsiteX67104" fmla="*/ 1853953 w 6884782"/>
              <a:gd name="connsiteY67104" fmla="*/ 623274 h 5973007"/>
              <a:gd name="connsiteX67105" fmla="*/ 1856857 w 6884782"/>
              <a:gd name="connsiteY67105" fmla="*/ 635407 h 5973007"/>
              <a:gd name="connsiteX67106" fmla="*/ 1849113 w 6884782"/>
              <a:gd name="connsiteY67106" fmla="*/ 625958 h 5973007"/>
              <a:gd name="connsiteX67107" fmla="*/ 1853953 w 6884782"/>
              <a:gd name="connsiteY67107" fmla="*/ 623274 h 5973007"/>
              <a:gd name="connsiteX67108" fmla="*/ 3086049 w 6884782"/>
              <a:gd name="connsiteY67108" fmla="*/ 620008 h 5973007"/>
              <a:gd name="connsiteX67109" fmla="*/ 3117849 w 6884782"/>
              <a:gd name="connsiteY67109" fmla="*/ 660270 h 5973007"/>
              <a:gd name="connsiteX67110" fmla="*/ 3094373 w 6884782"/>
              <a:gd name="connsiteY67110" fmla="*/ 658136 h 5973007"/>
              <a:gd name="connsiteX67111" fmla="*/ 3075805 w 6884782"/>
              <a:gd name="connsiteY67111" fmla="*/ 623138 h 5973007"/>
              <a:gd name="connsiteX67112" fmla="*/ 3078366 w 6884782"/>
              <a:gd name="connsiteY67112" fmla="*/ 620862 h 5973007"/>
              <a:gd name="connsiteX67113" fmla="*/ 3086049 w 6884782"/>
              <a:gd name="connsiteY67113" fmla="*/ 620008 h 5973007"/>
              <a:gd name="connsiteX67114" fmla="*/ 3275993 w 6884782"/>
              <a:gd name="connsiteY67114" fmla="*/ 619297 h 5973007"/>
              <a:gd name="connsiteX67115" fmla="*/ 3278554 w 6884782"/>
              <a:gd name="connsiteY67115" fmla="*/ 622711 h 5973007"/>
              <a:gd name="connsiteX67116" fmla="*/ 3278554 w 6884782"/>
              <a:gd name="connsiteY67116" fmla="*/ 629825 h 5973007"/>
              <a:gd name="connsiteX67117" fmla="*/ 3276633 w 6884782"/>
              <a:gd name="connsiteY67117" fmla="*/ 632812 h 5973007"/>
              <a:gd name="connsiteX67118" fmla="*/ 3277274 w 6884782"/>
              <a:gd name="connsiteY67118" fmla="*/ 634235 h 5973007"/>
              <a:gd name="connsiteX67119" fmla="*/ 3264682 w 6884782"/>
              <a:gd name="connsiteY67119" fmla="*/ 630393 h 5973007"/>
              <a:gd name="connsiteX67120" fmla="*/ 3268737 w 6884782"/>
              <a:gd name="connsiteY67120" fmla="*/ 623707 h 5973007"/>
              <a:gd name="connsiteX67121" fmla="*/ 3271724 w 6884782"/>
              <a:gd name="connsiteY67121" fmla="*/ 624988 h 5973007"/>
              <a:gd name="connsiteX67122" fmla="*/ 3271938 w 6884782"/>
              <a:gd name="connsiteY67122" fmla="*/ 625272 h 5973007"/>
              <a:gd name="connsiteX67123" fmla="*/ 3416637 w 6884782"/>
              <a:gd name="connsiteY67123" fmla="*/ 619154 h 5973007"/>
              <a:gd name="connsiteX67124" fmla="*/ 3431576 w 6884782"/>
              <a:gd name="connsiteY67124" fmla="*/ 651307 h 5973007"/>
              <a:gd name="connsiteX67125" fmla="*/ 3422612 w 6884782"/>
              <a:gd name="connsiteY67125" fmla="*/ 657994 h 5973007"/>
              <a:gd name="connsiteX67126" fmla="*/ 3409594 w 6884782"/>
              <a:gd name="connsiteY67126" fmla="*/ 627121 h 5973007"/>
              <a:gd name="connsiteX67127" fmla="*/ 3416637 w 6884782"/>
              <a:gd name="connsiteY67127" fmla="*/ 619154 h 5973007"/>
              <a:gd name="connsiteX67128" fmla="*/ 3187851 w 6884782"/>
              <a:gd name="connsiteY67128" fmla="*/ 619012 h 5973007"/>
              <a:gd name="connsiteX67129" fmla="*/ 3190625 w 6884782"/>
              <a:gd name="connsiteY67129" fmla="*/ 621146 h 5973007"/>
              <a:gd name="connsiteX67130" fmla="*/ 3187424 w 6884782"/>
              <a:gd name="connsiteY67130" fmla="*/ 624418 h 5973007"/>
              <a:gd name="connsiteX67131" fmla="*/ 3185930 w 6884782"/>
              <a:gd name="connsiteY67131" fmla="*/ 619724 h 5973007"/>
              <a:gd name="connsiteX67132" fmla="*/ 3187851 w 6884782"/>
              <a:gd name="connsiteY67132" fmla="*/ 619012 h 5973007"/>
              <a:gd name="connsiteX67133" fmla="*/ 3690667 w 6884782"/>
              <a:gd name="connsiteY67133" fmla="*/ 618585 h 5973007"/>
              <a:gd name="connsiteX67134" fmla="*/ 3692375 w 6884782"/>
              <a:gd name="connsiteY67134" fmla="*/ 620008 h 5973007"/>
              <a:gd name="connsiteX67135" fmla="*/ 3693655 w 6884782"/>
              <a:gd name="connsiteY67135" fmla="*/ 621146 h 5973007"/>
              <a:gd name="connsiteX67136" fmla="*/ 3693229 w 6884782"/>
              <a:gd name="connsiteY67136" fmla="*/ 622284 h 5973007"/>
              <a:gd name="connsiteX67137" fmla="*/ 3688747 w 6884782"/>
              <a:gd name="connsiteY67137" fmla="*/ 623280 h 5973007"/>
              <a:gd name="connsiteX67138" fmla="*/ 3688960 w 6884782"/>
              <a:gd name="connsiteY67138" fmla="*/ 621004 h 5973007"/>
              <a:gd name="connsiteX67139" fmla="*/ 3687893 w 6884782"/>
              <a:gd name="connsiteY67139" fmla="*/ 621004 h 5973007"/>
              <a:gd name="connsiteX67140" fmla="*/ 3689174 w 6884782"/>
              <a:gd name="connsiteY67140" fmla="*/ 618870 h 5973007"/>
              <a:gd name="connsiteX67141" fmla="*/ 3690241 w 6884782"/>
              <a:gd name="connsiteY67141" fmla="*/ 618870 h 5973007"/>
              <a:gd name="connsiteX67142" fmla="*/ 3690667 w 6884782"/>
              <a:gd name="connsiteY67142" fmla="*/ 618585 h 5973007"/>
              <a:gd name="connsiteX67143" fmla="*/ 3027146 w 6884782"/>
              <a:gd name="connsiteY67143" fmla="*/ 617732 h 5973007"/>
              <a:gd name="connsiteX67144" fmla="*/ 3036749 w 6884782"/>
              <a:gd name="connsiteY67144" fmla="*/ 624418 h 5973007"/>
              <a:gd name="connsiteX67145" fmla="*/ 3027146 w 6884782"/>
              <a:gd name="connsiteY67145" fmla="*/ 617732 h 5973007"/>
              <a:gd name="connsiteX67146" fmla="*/ 3076018 w 6884782"/>
              <a:gd name="connsiteY67146" fmla="*/ 617020 h 5973007"/>
              <a:gd name="connsiteX67147" fmla="*/ 3080927 w 6884782"/>
              <a:gd name="connsiteY67147" fmla="*/ 617020 h 5973007"/>
              <a:gd name="connsiteX67148" fmla="*/ 3084129 w 6884782"/>
              <a:gd name="connsiteY67148" fmla="*/ 619297 h 5973007"/>
              <a:gd name="connsiteX67149" fmla="*/ 3076018 w 6884782"/>
              <a:gd name="connsiteY67149" fmla="*/ 617020 h 5973007"/>
              <a:gd name="connsiteX67150" fmla="*/ 3583317 w 6884782"/>
              <a:gd name="connsiteY67150" fmla="*/ 613464 h 5973007"/>
              <a:gd name="connsiteX67151" fmla="*/ 3588013 w 6884782"/>
              <a:gd name="connsiteY67151" fmla="*/ 614317 h 5973007"/>
              <a:gd name="connsiteX67152" fmla="*/ 3591641 w 6884782"/>
              <a:gd name="connsiteY67152" fmla="*/ 622426 h 5973007"/>
              <a:gd name="connsiteX67153" fmla="*/ 3576915 w 6884782"/>
              <a:gd name="connsiteY67153" fmla="*/ 621715 h 5973007"/>
              <a:gd name="connsiteX67154" fmla="*/ 3583317 w 6884782"/>
              <a:gd name="connsiteY67154" fmla="*/ 613464 h 5973007"/>
              <a:gd name="connsiteX67155" fmla="*/ 1874514 w 6884782"/>
              <a:gd name="connsiteY67155" fmla="*/ 612637 h 5973007"/>
              <a:gd name="connsiteX67156" fmla="*/ 1889692 w 6884782"/>
              <a:gd name="connsiteY67156" fmla="*/ 628592 h 5973007"/>
              <a:gd name="connsiteX67157" fmla="*/ 1873481 w 6884782"/>
              <a:gd name="connsiteY67157" fmla="*/ 619298 h 5973007"/>
              <a:gd name="connsiteX67158" fmla="*/ 1873378 w 6884782"/>
              <a:gd name="connsiteY67158" fmla="*/ 615890 h 5973007"/>
              <a:gd name="connsiteX67159" fmla="*/ 1874514 w 6884782"/>
              <a:gd name="connsiteY67159" fmla="*/ 612637 h 5973007"/>
              <a:gd name="connsiteX67160" fmla="*/ 3240352 w 6884782"/>
              <a:gd name="connsiteY67160" fmla="*/ 611756 h 5973007"/>
              <a:gd name="connsiteX67161" fmla="*/ 3255505 w 6884782"/>
              <a:gd name="connsiteY67161" fmla="*/ 623849 h 5973007"/>
              <a:gd name="connsiteX67162" fmla="*/ 3238431 w 6884782"/>
              <a:gd name="connsiteY67162" fmla="*/ 625983 h 5973007"/>
              <a:gd name="connsiteX67163" fmla="*/ 3238858 w 6884782"/>
              <a:gd name="connsiteY67163" fmla="*/ 625983 h 5973007"/>
              <a:gd name="connsiteX67164" fmla="*/ 3239711 w 6884782"/>
              <a:gd name="connsiteY67164" fmla="*/ 632101 h 5973007"/>
              <a:gd name="connsiteX67165" fmla="*/ 3235657 w 6884782"/>
              <a:gd name="connsiteY67165" fmla="*/ 637222 h 5973007"/>
              <a:gd name="connsiteX67166" fmla="*/ 3235016 w 6884782"/>
              <a:gd name="connsiteY67166" fmla="*/ 640921 h 5973007"/>
              <a:gd name="connsiteX67167" fmla="*/ 3233949 w 6884782"/>
              <a:gd name="connsiteY67167" fmla="*/ 640921 h 5973007"/>
              <a:gd name="connsiteX67168" fmla="*/ 3233523 w 6884782"/>
              <a:gd name="connsiteY67168" fmla="*/ 633239 h 5973007"/>
              <a:gd name="connsiteX67169" fmla="*/ 3234163 w 6884782"/>
              <a:gd name="connsiteY67169" fmla="*/ 626410 h 5973007"/>
              <a:gd name="connsiteX67170" fmla="*/ 3232028 w 6884782"/>
              <a:gd name="connsiteY67170" fmla="*/ 626695 h 5973007"/>
              <a:gd name="connsiteX67171" fmla="*/ 3208339 w 6884782"/>
              <a:gd name="connsiteY67171" fmla="*/ 625556 h 5973007"/>
              <a:gd name="connsiteX67172" fmla="*/ 3233309 w 6884782"/>
              <a:gd name="connsiteY67172" fmla="*/ 611898 h 5973007"/>
              <a:gd name="connsiteX67173" fmla="*/ 3240352 w 6884782"/>
              <a:gd name="connsiteY67173" fmla="*/ 611756 h 5973007"/>
              <a:gd name="connsiteX67174" fmla="*/ 3192973 w 6884782"/>
              <a:gd name="connsiteY67174" fmla="*/ 608484 h 5973007"/>
              <a:gd name="connsiteX67175" fmla="*/ 3199375 w 6884782"/>
              <a:gd name="connsiteY67175" fmla="*/ 610760 h 5973007"/>
              <a:gd name="connsiteX67176" fmla="*/ 3201936 w 6884782"/>
              <a:gd name="connsiteY67176" fmla="*/ 615740 h 5973007"/>
              <a:gd name="connsiteX67177" fmla="*/ 3201936 w 6884782"/>
              <a:gd name="connsiteY67177" fmla="*/ 618159 h 5973007"/>
              <a:gd name="connsiteX67178" fmla="*/ 3200442 w 6884782"/>
              <a:gd name="connsiteY67178" fmla="*/ 619012 h 5973007"/>
              <a:gd name="connsiteX67179" fmla="*/ 3201083 w 6884782"/>
              <a:gd name="connsiteY67179" fmla="*/ 620008 h 5973007"/>
              <a:gd name="connsiteX67180" fmla="*/ 3201509 w 6884782"/>
              <a:gd name="connsiteY67180" fmla="*/ 623565 h 5973007"/>
              <a:gd name="connsiteX67181" fmla="*/ 3195747 w 6884782"/>
              <a:gd name="connsiteY67181" fmla="*/ 625272 h 5973007"/>
              <a:gd name="connsiteX67182" fmla="*/ 3194253 w 6884782"/>
              <a:gd name="connsiteY67182" fmla="*/ 622853 h 5973007"/>
              <a:gd name="connsiteX67183" fmla="*/ 3194680 w 6884782"/>
              <a:gd name="connsiteY67183" fmla="*/ 620719 h 5973007"/>
              <a:gd name="connsiteX67184" fmla="*/ 3191692 w 6884782"/>
              <a:gd name="connsiteY67184" fmla="*/ 620008 h 5973007"/>
              <a:gd name="connsiteX67185" fmla="*/ 3188064 w 6884782"/>
              <a:gd name="connsiteY67185" fmla="*/ 610334 h 5973007"/>
              <a:gd name="connsiteX67186" fmla="*/ 3190198 w 6884782"/>
              <a:gd name="connsiteY67186" fmla="*/ 609053 h 5973007"/>
              <a:gd name="connsiteX67187" fmla="*/ 3192973 w 6884782"/>
              <a:gd name="connsiteY67187" fmla="*/ 608484 h 5973007"/>
              <a:gd name="connsiteX67188" fmla="*/ 2016176 w 6884782"/>
              <a:gd name="connsiteY67188" fmla="*/ 605070 h 5973007"/>
              <a:gd name="connsiteX67189" fmla="*/ 2017030 w 6884782"/>
              <a:gd name="connsiteY67189" fmla="*/ 605781 h 5973007"/>
              <a:gd name="connsiteX67190" fmla="*/ 2016176 w 6884782"/>
              <a:gd name="connsiteY67190" fmla="*/ 610476 h 5973007"/>
              <a:gd name="connsiteX67191" fmla="*/ 2014255 w 6884782"/>
              <a:gd name="connsiteY67191" fmla="*/ 609338 h 5973007"/>
              <a:gd name="connsiteX67192" fmla="*/ 2013829 w 6884782"/>
              <a:gd name="connsiteY67192" fmla="*/ 610334 h 5973007"/>
              <a:gd name="connsiteX67193" fmla="*/ 2012121 w 6884782"/>
              <a:gd name="connsiteY67193" fmla="*/ 608200 h 5973007"/>
              <a:gd name="connsiteX67194" fmla="*/ 2012762 w 6884782"/>
              <a:gd name="connsiteY67194" fmla="*/ 607204 h 5973007"/>
              <a:gd name="connsiteX67195" fmla="*/ 2012548 w 6884782"/>
              <a:gd name="connsiteY67195" fmla="*/ 606777 h 5973007"/>
              <a:gd name="connsiteX67196" fmla="*/ 2014682 w 6884782"/>
              <a:gd name="connsiteY67196" fmla="*/ 605781 h 5973007"/>
              <a:gd name="connsiteX67197" fmla="*/ 2016176 w 6884782"/>
              <a:gd name="connsiteY67197" fmla="*/ 605070 h 5973007"/>
              <a:gd name="connsiteX67198" fmla="*/ 2089390 w 6884782"/>
              <a:gd name="connsiteY67198" fmla="*/ 605047 h 5973007"/>
              <a:gd name="connsiteX67199" fmla="*/ 2097960 w 6884782"/>
              <a:gd name="connsiteY67199" fmla="*/ 608920 h 5973007"/>
              <a:gd name="connsiteX67200" fmla="*/ 2086292 w 6884782"/>
              <a:gd name="connsiteY67200" fmla="*/ 620847 h 5973007"/>
              <a:gd name="connsiteX67201" fmla="*/ 2082988 w 6884782"/>
              <a:gd name="connsiteY67201" fmla="*/ 612328 h 5973007"/>
              <a:gd name="connsiteX67202" fmla="*/ 2089390 w 6884782"/>
              <a:gd name="connsiteY67202" fmla="*/ 605047 h 5973007"/>
              <a:gd name="connsiteX67203" fmla="*/ 3352397 w 6884782"/>
              <a:gd name="connsiteY67203" fmla="*/ 600090 h 5973007"/>
              <a:gd name="connsiteX67204" fmla="*/ 3361361 w 6884782"/>
              <a:gd name="connsiteY67204" fmla="*/ 600659 h 5973007"/>
              <a:gd name="connsiteX67205" fmla="*/ 3362641 w 6884782"/>
              <a:gd name="connsiteY67205" fmla="*/ 613464 h 5973007"/>
              <a:gd name="connsiteX67206" fmla="*/ 3349196 w 6884782"/>
              <a:gd name="connsiteY67206" fmla="*/ 610476 h 5973007"/>
              <a:gd name="connsiteX67207" fmla="*/ 3352397 w 6884782"/>
              <a:gd name="connsiteY67207" fmla="*/ 600090 h 5973007"/>
              <a:gd name="connsiteX67208" fmla="*/ 3058091 w 6884782"/>
              <a:gd name="connsiteY67208" fmla="*/ 597814 h 5973007"/>
              <a:gd name="connsiteX67209" fmla="*/ 3060866 w 6884782"/>
              <a:gd name="connsiteY67209" fmla="*/ 599237 h 5973007"/>
              <a:gd name="connsiteX67210" fmla="*/ 3050408 w 6884782"/>
              <a:gd name="connsiteY67210" fmla="*/ 606777 h 5973007"/>
              <a:gd name="connsiteX67211" fmla="*/ 3058091 w 6884782"/>
              <a:gd name="connsiteY67211" fmla="*/ 597814 h 5973007"/>
              <a:gd name="connsiteX67212" fmla="*/ 3154770 w 6884782"/>
              <a:gd name="connsiteY67212" fmla="*/ 596249 h 5973007"/>
              <a:gd name="connsiteX67213" fmla="*/ 3152636 w 6884782"/>
              <a:gd name="connsiteY67213" fmla="*/ 607204 h 5973007"/>
              <a:gd name="connsiteX67214" fmla="*/ 3154770 w 6884782"/>
              <a:gd name="connsiteY67214" fmla="*/ 596249 h 5973007"/>
              <a:gd name="connsiteX67215" fmla="*/ 3415569 w 6884782"/>
              <a:gd name="connsiteY67215" fmla="*/ 590558 h 5973007"/>
              <a:gd name="connsiteX67216" fmla="*/ 3422185 w 6884782"/>
              <a:gd name="connsiteY67216" fmla="*/ 593973 h 5973007"/>
              <a:gd name="connsiteX67217" fmla="*/ 3412368 w 6884782"/>
              <a:gd name="connsiteY67217" fmla="*/ 611898 h 5973007"/>
              <a:gd name="connsiteX67218" fmla="*/ 3402764 w 6884782"/>
              <a:gd name="connsiteY67218" fmla="*/ 606208 h 5973007"/>
              <a:gd name="connsiteX67219" fmla="*/ 3415569 w 6884782"/>
              <a:gd name="connsiteY67219" fmla="*/ 590558 h 5973007"/>
              <a:gd name="connsiteX67220" fmla="*/ 3515023 w 6884782"/>
              <a:gd name="connsiteY67220" fmla="*/ 587855 h 5973007"/>
              <a:gd name="connsiteX67221" fmla="*/ 3517584 w 6884782"/>
              <a:gd name="connsiteY67221" fmla="*/ 608626 h 5973007"/>
              <a:gd name="connsiteX67222" fmla="*/ 3506273 w 6884782"/>
              <a:gd name="connsiteY67222" fmla="*/ 606919 h 5973007"/>
              <a:gd name="connsiteX67223" fmla="*/ 3510328 w 6884782"/>
              <a:gd name="connsiteY67223" fmla="*/ 587998 h 5973007"/>
              <a:gd name="connsiteX67224" fmla="*/ 3515023 w 6884782"/>
              <a:gd name="connsiteY67224" fmla="*/ 587855 h 5973007"/>
              <a:gd name="connsiteX67225" fmla="*/ 3155198 w 6884782"/>
              <a:gd name="connsiteY67225" fmla="*/ 587571 h 5973007"/>
              <a:gd name="connsiteX67226" fmla="*/ 3155624 w 6884782"/>
              <a:gd name="connsiteY67226" fmla="*/ 588566 h 5973007"/>
              <a:gd name="connsiteX67227" fmla="*/ 3153917 w 6884782"/>
              <a:gd name="connsiteY67227" fmla="*/ 592977 h 5973007"/>
              <a:gd name="connsiteX67228" fmla="*/ 3154557 w 6884782"/>
              <a:gd name="connsiteY67228" fmla="*/ 588566 h 5973007"/>
              <a:gd name="connsiteX67229" fmla="*/ 3155198 w 6884782"/>
              <a:gd name="connsiteY67229" fmla="*/ 587571 h 5973007"/>
              <a:gd name="connsiteX67230" fmla="*/ 2981687 w 6884782"/>
              <a:gd name="connsiteY67230" fmla="*/ 587286 h 5973007"/>
              <a:gd name="connsiteX67231" fmla="*/ 2984035 w 6884782"/>
              <a:gd name="connsiteY67231" fmla="*/ 591270 h 5973007"/>
              <a:gd name="connsiteX67232" fmla="*/ 2977846 w 6884782"/>
              <a:gd name="connsiteY67232" fmla="*/ 602936 h 5973007"/>
              <a:gd name="connsiteX67233" fmla="*/ 2975498 w 6884782"/>
              <a:gd name="connsiteY67233" fmla="*/ 595111 h 5973007"/>
              <a:gd name="connsiteX67234" fmla="*/ 2981687 w 6884782"/>
              <a:gd name="connsiteY67234" fmla="*/ 587286 h 5973007"/>
              <a:gd name="connsiteX67235" fmla="*/ 3010712 w 6884782"/>
              <a:gd name="connsiteY67235" fmla="*/ 586148 h 5973007"/>
              <a:gd name="connsiteX67236" fmla="*/ 3018182 w 6884782"/>
              <a:gd name="connsiteY67236" fmla="*/ 589420 h 5973007"/>
              <a:gd name="connsiteX67237" fmla="*/ 3021383 w 6884782"/>
              <a:gd name="connsiteY67237" fmla="*/ 611045 h 5973007"/>
              <a:gd name="connsiteX67238" fmla="*/ 3019249 w 6884782"/>
              <a:gd name="connsiteY67238" fmla="*/ 613179 h 5973007"/>
              <a:gd name="connsiteX67239" fmla="*/ 3017115 w 6884782"/>
              <a:gd name="connsiteY67239" fmla="*/ 617874 h 5973007"/>
              <a:gd name="connsiteX67240" fmla="*/ 3002816 w 6884782"/>
              <a:gd name="connsiteY67240" fmla="*/ 611330 h 5973007"/>
              <a:gd name="connsiteX67241" fmla="*/ 2998334 w 6884782"/>
              <a:gd name="connsiteY67241" fmla="*/ 590843 h 5973007"/>
              <a:gd name="connsiteX67242" fmla="*/ 3010712 w 6884782"/>
              <a:gd name="connsiteY67242" fmla="*/ 586148 h 5973007"/>
              <a:gd name="connsiteX67243" fmla="*/ 1958874 w 6884782"/>
              <a:gd name="connsiteY67243" fmla="*/ 585995 h 5973007"/>
              <a:gd name="connsiteX67244" fmla="*/ 1966412 w 6884782"/>
              <a:gd name="connsiteY67244" fmla="*/ 598077 h 5973007"/>
              <a:gd name="connsiteX67245" fmla="*/ 1953195 w 6884782"/>
              <a:gd name="connsiteY67245" fmla="*/ 590797 h 5973007"/>
              <a:gd name="connsiteX67246" fmla="*/ 1958874 w 6884782"/>
              <a:gd name="connsiteY67246" fmla="*/ 585995 h 5973007"/>
              <a:gd name="connsiteX67247" fmla="*/ 3289225 w 6884782"/>
              <a:gd name="connsiteY67247" fmla="*/ 585436 h 5973007"/>
              <a:gd name="connsiteX67248" fmla="*/ 3292426 w 6884782"/>
              <a:gd name="connsiteY67248" fmla="*/ 593262 h 5973007"/>
              <a:gd name="connsiteX67249" fmla="*/ 3292640 w 6884782"/>
              <a:gd name="connsiteY67249" fmla="*/ 602366 h 5973007"/>
              <a:gd name="connsiteX67250" fmla="*/ 3295841 w 6884782"/>
              <a:gd name="connsiteY67250" fmla="*/ 604358 h 5973007"/>
              <a:gd name="connsiteX67251" fmla="*/ 3296268 w 6884782"/>
              <a:gd name="connsiteY67251" fmla="*/ 608200 h 5973007"/>
              <a:gd name="connsiteX67252" fmla="*/ 3272792 w 6884782"/>
              <a:gd name="connsiteY67252" fmla="*/ 611898 h 5973007"/>
              <a:gd name="connsiteX67253" fmla="*/ 3273859 w 6884782"/>
              <a:gd name="connsiteY67253" fmla="*/ 607346 h 5973007"/>
              <a:gd name="connsiteX67254" fmla="*/ 3279621 w 6884782"/>
              <a:gd name="connsiteY67254" fmla="*/ 603220 h 5973007"/>
              <a:gd name="connsiteX67255" fmla="*/ 3285170 w 6884782"/>
              <a:gd name="connsiteY67255" fmla="*/ 600944 h 5973007"/>
              <a:gd name="connsiteX67256" fmla="*/ 3284743 w 6884782"/>
              <a:gd name="connsiteY67256" fmla="*/ 592265 h 5973007"/>
              <a:gd name="connsiteX67257" fmla="*/ 3289225 w 6884782"/>
              <a:gd name="connsiteY67257" fmla="*/ 585436 h 5973007"/>
              <a:gd name="connsiteX67258" fmla="*/ 2940070 w 6884782"/>
              <a:gd name="connsiteY67258" fmla="*/ 584726 h 5973007"/>
              <a:gd name="connsiteX67259" fmla="*/ 2948821 w 6884782"/>
              <a:gd name="connsiteY67259" fmla="*/ 595822 h 5973007"/>
              <a:gd name="connsiteX67260" fmla="*/ 2956290 w 6884782"/>
              <a:gd name="connsiteY67260" fmla="*/ 606635 h 5973007"/>
              <a:gd name="connsiteX67261" fmla="*/ 2959065 w 6884782"/>
              <a:gd name="connsiteY67261" fmla="*/ 605070 h 5973007"/>
              <a:gd name="connsiteX67262" fmla="*/ 2969949 w 6884782"/>
              <a:gd name="connsiteY67262" fmla="*/ 603789 h 5973007"/>
              <a:gd name="connsiteX67263" fmla="*/ 2988730 w 6884782"/>
              <a:gd name="connsiteY67263" fmla="*/ 618301 h 5973007"/>
              <a:gd name="connsiteX67264" fmla="*/ 2988943 w 6884782"/>
              <a:gd name="connsiteY67264" fmla="*/ 631105 h 5973007"/>
              <a:gd name="connsiteX67265" fmla="*/ 2962906 w 6884782"/>
              <a:gd name="connsiteY67265" fmla="*/ 666815 h 5973007"/>
              <a:gd name="connsiteX67266" fmla="*/ 2961839 w 6884782"/>
              <a:gd name="connsiteY67266" fmla="*/ 664111 h 5973007"/>
              <a:gd name="connsiteX67267" fmla="*/ 2960558 w 6884782"/>
              <a:gd name="connsiteY67267" fmla="*/ 664823 h 5973007"/>
              <a:gd name="connsiteX67268" fmla="*/ 2952875 w 6884782"/>
              <a:gd name="connsiteY67268" fmla="*/ 656998 h 5973007"/>
              <a:gd name="connsiteX67269" fmla="*/ 2954156 w 6884782"/>
              <a:gd name="connsiteY67269" fmla="*/ 652161 h 5973007"/>
              <a:gd name="connsiteX67270" fmla="*/ 2947967 w 6884782"/>
              <a:gd name="connsiteY67270" fmla="*/ 647323 h 5973007"/>
              <a:gd name="connsiteX67271" fmla="*/ 2942418 w 6884782"/>
              <a:gd name="connsiteY67271" fmla="*/ 642060 h 5973007"/>
              <a:gd name="connsiteX67272" fmla="*/ 2939216 w 6884782"/>
              <a:gd name="connsiteY67272" fmla="*/ 631816 h 5973007"/>
              <a:gd name="connsiteX67273" fmla="*/ 2941778 w 6884782"/>
              <a:gd name="connsiteY67273" fmla="*/ 619439 h 5973007"/>
              <a:gd name="connsiteX67274" fmla="*/ 2941991 w 6884782"/>
              <a:gd name="connsiteY67274" fmla="*/ 619012 h 5973007"/>
              <a:gd name="connsiteX67275" fmla="*/ 2940497 w 6884782"/>
              <a:gd name="connsiteY67275" fmla="*/ 617447 h 5973007"/>
              <a:gd name="connsiteX67276" fmla="*/ 2938150 w 6884782"/>
              <a:gd name="connsiteY67276" fmla="*/ 613321 h 5973007"/>
              <a:gd name="connsiteX67277" fmla="*/ 2936228 w 6884782"/>
              <a:gd name="connsiteY67277" fmla="*/ 615171 h 5973007"/>
              <a:gd name="connsiteX67278" fmla="*/ 2908058 w 6884782"/>
              <a:gd name="connsiteY67278" fmla="*/ 614032 h 5973007"/>
              <a:gd name="connsiteX67279" fmla="*/ 2904215 w 6884782"/>
              <a:gd name="connsiteY67279" fmla="*/ 604074 h 5973007"/>
              <a:gd name="connsiteX67280" fmla="*/ 2906350 w 6884782"/>
              <a:gd name="connsiteY67280" fmla="*/ 597387 h 5973007"/>
              <a:gd name="connsiteX67281" fmla="*/ 2905923 w 6884782"/>
              <a:gd name="connsiteY67281" fmla="*/ 596534 h 5973007"/>
              <a:gd name="connsiteX67282" fmla="*/ 2906563 w 6884782"/>
              <a:gd name="connsiteY67282" fmla="*/ 596392 h 5973007"/>
              <a:gd name="connsiteX67283" fmla="*/ 2906777 w 6884782"/>
              <a:gd name="connsiteY67283" fmla="*/ 595680 h 5973007"/>
              <a:gd name="connsiteX67284" fmla="*/ 2923850 w 6884782"/>
              <a:gd name="connsiteY67284" fmla="*/ 588282 h 5973007"/>
              <a:gd name="connsiteX67285" fmla="*/ 2930040 w 6884782"/>
              <a:gd name="connsiteY67285" fmla="*/ 589563 h 5973007"/>
              <a:gd name="connsiteX67286" fmla="*/ 2935162 w 6884782"/>
              <a:gd name="connsiteY67286" fmla="*/ 592550 h 5973007"/>
              <a:gd name="connsiteX67287" fmla="*/ 2935802 w 6884782"/>
              <a:gd name="connsiteY67287" fmla="*/ 591270 h 5973007"/>
              <a:gd name="connsiteX67288" fmla="*/ 2940070 w 6884782"/>
              <a:gd name="connsiteY67288" fmla="*/ 584726 h 5973007"/>
              <a:gd name="connsiteX67289" fmla="*/ 3136843 w 6884782"/>
              <a:gd name="connsiteY67289" fmla="*/ 584014 h 5973007"/>
              <a:gd name="connsiteX67290" fmla="*/ 3142819 w 6884782"/>
              <a:gd name="connsiteY67290" fmla="*/ 589278 h 5973007"/>
              <a:gd name="connsiteX67291" fmla="*/ 3142606 w 6884782"/>
              <a:gd name="connsiteY67291" fmla="*/ 592835 h 5973007"/>
              <a:gd name="connsiteX67292" fmla="*/ 3139831 w 6884782"/>
              <a:gd name="connsiteY67292" fmla="*/ 595965 h 5973007"/>
              <a:gd name="connsiteX67293" fmla="*/ 3136630 w 6884782"/>
              <a:gd name="connsiteY67293" fmla="*/ 596818 h 5973007"/>
              <a:gd name="connsiteX67294" fmla="*/ 3131081 w 6884782"/>
              <a:gd name="connsiteY67294" fmla="*/ 593262 h 5973007"/>
              <a:gd name="connsiteX67295" fmla="*/ 3136843 w 6884782"/>
              <a:gd name="connsiteY67295" fmla="*/ 584014 h 5973007"/>
              <a:gd name="connsiteX67296" fmla="*/ 1987151 w 6884782"/>
              <a:gd name="connsiteY67296" fmla="*/ 581453 h 5973007"/>
              <a:gd name="connsiteX67297" fmla="*/ 1979681 w 6884782"/>
              <a:gd name="connsiteY67297" fmla="*/ 604643 h 5973007"/>
              <a:gd name="connsiteX67298" fmla="*/ 1968797 w 6884782"/>
              <a:gd name="connsiteY67298" fmla="*/ 626410 h 5973007"/>
              <a:gd name="connsiteX67299" fmla="*/ 1987151 w 6884782"/>
              <a:gd name="connsiteY67299" fmla="*/ 581453 h 5973007"/>
              <a:gd name="connsiteX67300" fmla="*/ 3182088 w 6884782"/>
              <a:gd name="connsiteY67300" fmla="*/ 580742 h 5973007"/>
              <a:gd name="connsiteX67301" fmla="*/ 3180808 w 6884782"/>
              <a:gd name="connsiteY67301" fmla="*/ 642486 h 5973007"/>
              <a:gd name="connsiteX67302" fmla="*/ 3168429 w 6884782"/>
              <a:gd name="connsiteY67302" fmla="*/ 640210 h 5973007"/>
              <a:gd name="connsiteX67303" fmla="*/ 3172057 w 6884782"/>
              <a:gd name="connsiteY67303" fmla="*/ 624418 h 5973007"/>
              <a:gd name="connsiteX67304" fmla="*/ 3171417 w 6884782"/>
              <a:gd name="connsiteY67304" fmla="*/ 622284 h 5973007"/>
              <a:gd name="connsiteX67305" fmla="*/ 3172057 w 6884782"/>
              <a:gd name="connsiteY67305" fmla="*/ 619297 h 5973007"/>
              <a:gd name="connsiteX67306" fmla="*/ 3173338 w 6884782"/>
              <a:gd name="connsiteY67306" fmla="*/ 618727 h 5973007"/>
              <a:gd name="connsiteX67307" fmla="*/ 3175472 w 6884782"/>
              <a:gd name="connsiteY67307" fmla="*/ 609053 h 5973007"/>
              <a:gd name="connsiteX67308" fmla="*/ 3182088 w 6884782"/>
              <a:gd name="connsiteY67308" fmla="*/ 580742 h 5973007"/>
              <a:gd name="connsiteX67309" fmla="*/ 3231388 w 6884782"/>
              <a:gd name="connsiteY67309" fmla="*/ 580457 h 5973007"/>
              <a:gd name="connsiteX67310" fmla="*/ 3236937 w 6884782"/>
              <a:gd name="connsiteY67310" fmla="*/ 593404 h 5973007"/>
              <a:gd name="connsiteX67311" fmla="*/ 3210900 w 6884782"/>
              <a:gd name="connsiteY67311" fmla="*/ 603505 h 5973007"/>
              <a:gd name="connsiteX67312" fmla="*/ 3206632 w 6884782"/>
              <a:gd name="connsiteY67312" fmla="*/ 594827 h 5973007"/>
              <a:gd name="connsiteX67313" fmla="*/ 3214528 w 6884782"/>
              <a:gd name="connsiteY67313" fmla="*/ 582734 h 5973007"/>
              <a:gd name="connsiteX67314" fmla="*/ 3214741 w 6884782"/>
              <a:gd name="connsiteY67314" fmla="*/ 582591 h 5973007"/>
              <a:gd name="connsiteX67315" fmla="*/ 3215169 w 6884782"/>
              <a:gd name="connsiteY67315" fmla="*/ 581880 h 5973007"/>
              <a:gd name="connsiteX67316" fmla="*/ 3219010 w 6884782"/>
              <a:gd name="connsiteY67316" fmla="*/ 581595 h 5973007"/>
              <a:gd name="connsiteX67317" fmla="*/ 3222211 w 6884782"/>
              <a:gd name="connsiteY67317" fmla="*/ 580742 h 5973007"/>
              <a:gd name="connsiteX67318" fmla="*/ 3231388 w 6884782"/>
              <a:gd name="connsiteY67318" fmla="*/ 580457 h 5973007"/>
              <a:gd name="connsiteX67319" fmla="*/ 3395508 w 6884782"/>
              <a:gd name="connsiteY67319" fmla="*/ 579319 h 5973007"/>
              <a:gd name="connsiteX67320" fmla="*/ 3398923 w 6884782"/>
              <a:gd name="connsiteY67320" fmla="*/ 580030 h 5973007"/>
              <a:gd name="connsiteX67321" fmla="*/ 3398496 w 6884782"/>
              <a:gd name="connsiteY67321" fmla="*/ 588566 h 5973007"/>
              <a:gd name="connsiteX67322" fmla="*/ 3394867 w 6884782"/>
              <a:gd name="connsiteY67322" fmla="*/ 590416 h 5973007"/>
              <a:gd name="connsiteX67323" fmla="*/ 3389532 w 6884782"/>
              <a:gd name="connsiteY67323" fmla="*/ 588566 h 5973007"/>
              <a:gd name="connsiteX67324" fmla="*/ 3395508 w 6884782"/>
              <a:gd name="connsiteY67324" fmla="*/ 579319 h 5973007"/>
              <a:gd name="connsiteX67325" fmla="*/ 3357092 w 6884782"/>
              <a:gd name="connsiteY67325" fmla="*/ 577043 h 5973007"/>
              <a:gd name="connsiteX67326" fmla="*/ 3306939 w 6884782"/>
              <a:gd name="connsiteY67326" fmla="*/ 630678 h 5973007"/>
              <a:gd name="connsiteX67327" fmla="*/ 3357092 w 6884782"/>
              <a:gd name="connsiteY67327" fmla="*/ 577043 h 5973007"/>
              <a:gd name="connsiteX67328" fmla="*/ 3573074 w 6884782"/>
              <a:gd name="connsiteY67328" fmla="*/ 576758 h 5973007"/>
              <a:gd name="connsiteX67329" fmla="*/ 3579262 w 6884782"/>
              <a:gd name="connsiteY67329" fmla="*/ 578892 h 5973007"/>
              <a:gd name="connsiteX67330" fmla="*/ 3577769 w 6884782"/>
              <a:gd name="connsiteY67330" fmla="*/ 588566 h 5973007"/>
              <a:gd name="connsiteX67331" fmla="*/ 3569018 w 6884782"/>
              <a:gd name="connsiteY67331" fmla="*/ 586433 h 5973007"/>
              <a:gd name="connsiteX67332" fmla="*/ 3573074 w 6884782"/>
              <a:gd name="connsiteY67332" fmla="*/ 576758 h 5973007"/>
              <a:gd name="connsiteX67333" fmla="*/ 2880099 w 6884782"/>
              <a:gd name="connsiteY67333" fmla="*/ 575762 h 5973007"/>
              <a:gd name="connsiteX67334" fmla="*/ 2887142 w 6884782"/>
              <a:gd name="connsiteY67334" fmla="*/ 600517 h 5973007"/>
              <a:gd name="connsiteX67335" fmla="*/ 2875617 w 6884782"/>
              <a:gd name="connsiteY67335" fmla="*/ 600233 h 5973007"/>
              <a:gd name="connsiteX67336" fmla="*/ 2871136 w 6884782"/>
              <a:gd name="connsiteY67336" fmla="*/ 594542 h 5973007"/>
              <a:gd name="connsiteX67337" fmla="*/ 2870922 w 6884782"/>
              <a:gd name="connsiteY67337" fmla="*/ 592123 h 5973007"/>
              <a:gd name="connsiteX67338" fmla="*/ 2859184 w 6884782"/>
              <a:gd name="connsiteY67338" fmla="*/ 584441 h 5973007"/>
              <a:gd name="connsiteX67339" fmla="*/ 2865800 w 6884782"/>
              <a:gd name="connsiteY67339" fmla="*/ 576189 h 5973007"/>
              <a:gd name="connsiteX67340" fmla="*/ 2873270 w 6884782"/>
              <a:gd name="connsiteY67340" fmla="*/ 579746 h 5973007"/>
              <a:gd name="connsiteX67341" fmla="*/ 3206418 w 6884782"/>
              <a:gd name="connsiteY67341" fmla="*/ 575478 h 5973007"/>
              <a:gd name="connsiteX67342" fmla="*/ 3209833 w 6884782"/>
              <a:gd name="connsiteY67342" fmla="*/ 576047 h 5973007"/>
              <a:gd name="connsiteX67343" fmla="*/ 3210900 w 6884782"/>
              <a:gd name="connsiteY67343" fmla="*/ 583303 h 5973007"/>
              <a:gd name="connsiteX67344" fmla="*/ 3202363 w 6884782"/>
              <a:gd name="connsiteY67344" fmla="*/ 580173 h 5973007"/>
              <a:gd name="connsiteX67345" fmla="*/ 3203217 w 6884782"/>
              <a:gd name="connsiteY67345" fmla="*/ 577612 h 5973007"/>
              <a:gd name="connsiteX67346" fmla="*/ 3206418 w 6884782"/>
              <a:gd name="connsiteY67346" fmla="*/ 575478 h 5973007"/>
              <a:gd name="connsiteX67347" fmla="*/ 2933241 w 6884782"/>
              <a:gd name="connsiteY67347" fmla="*/ 573059 h 5973007"/>
              <a:gd name="connsiteX67348" fmla="*/ 2937083 w 6884782"/>
              <a:gd name="connsiteY67348" fmla="*/ 575051 h 5973007"/>
              <a:gd name="connsiteX67349" fmla="*/ 2937296 w 6884782"/>
              <a:gd name="connsiteY67349" fmla="*/ 579319 h 5973007"/>
              <a:gd name="connsiteX67350" fmla="*/ 2934308 w 6884782"/>
              <a:gd name="connsiteY67350" fmla="*/ 582876 h 5973007"/>
              <a:gd name="connsiteX67351" fmla="*/ 2927052 w 6884782"/>
              <a:gd name="connsiteY67351" fmla="*/ 575762 h 5973007"/>
              <a:gd name="connsiteX67352" fmla="*/ 2933241 w 6884782"/>
              <a:gd name="connsiteY67352" fmla="*/ 573059 h 5973007"/>
              <a:gd name="connsiteX67353" fmla="*/ 3024584 w 6884782"/>
              <a:gd name="connsiteY67353" fmla="*/ 571779 h 5973007"/>
              <a:gd name="connsiteX67354" fmla="*/ 3036322 w 6884782"/>
              <a:gd name="connsiteY67354" fmla="*/ 575051 h 5973007"/>
              <a:gd name="connsiteX67355" fmla="*/ 3037390 w 6884782"/>
              <a:gd name="connsiteY67355" fmla="*/ 576332 h 5973007"/>
              <a:gd name="connsiteX67356" fmla="*/ 3039097 w 6884782"/>
              <a:gd name="connsiteY67356" fmla="*/ 575335 h 5973007"/>
              <a:gd name="connsiteX67357" fmla="*/ 3047634 w 6884782"/>
              <a:gd name="connsiteY67357" fmla="*/ 578750 h 5973007"/>
              <a:gd name="connsiteX67358" fmla="*/ 3038884 w 6884782"/>
              <a:gd name="connsiteY67358" fmla="*/ 590131 h 5973007"/>
              <a:gd name="connsiteX67359" fmla="*/ 3037390 w 6884782"/>
              <a:gd name="connsiteY67359" fmla="*/ 588424 h 5973007"/>
              <a:gd name="connsiteX67360" fmla="*/ 3036536 w 6884782"/>
              <a:gd name="connsiteY67360" fmla="*/ 590843 h 5973007"/>
              <a:gd name="connsiteX67361" fmla="*/ 3034402 w 6884782"/>
              <a:gd name="connsiteY67361" fmla="*/ 593973 h 5973007"/>
              <a:gd name="connsiteX67362" fmla="*/ 3030347 w 6884782"/>
              <a:gd name="connsiteY67362" fmla="*/ 592977 h 5973007"/>
              <a:gd name="connsiteX67363" fmla="*/ 3026292 w 6884782"/>
              <a:gd name="connsiteY67363" fmla="*/ 591270 h 5973007"/>
              <a:gd name="connsiteX67364" fmla="*/ 3025225 w 6884782"/>
              <a:gd name="connsiteY67364" fmla="*/ 591697 h 5973007"/>
              <a:gd name="connsiteX67365" fmla="*/ 3024584 w 6884782"/>
              <a:gd name="connsiteY67365" fmla="*/ 571779 h 5973007"/>
              <a:gd name="connsiteX67366" fmla="*/ 2899094 w 6884782"/>
              <a:gd name="connsiteY67366" fmla="*/ 568791 h 5973007"/>
              <a:gd name="connsiteX67367" fmla="*/ 2908698 w 6884782"/>
              <a:gd name="connsiteY67367" fmla="*/ 574767 h 5973007"/>
              <a:gd name="connsiteX67368" fmla="*/ 2898880 w 6884782"/>
              <a:gd name="connsiteY67368" fmla="*/ 587286 h 5973007"/>
              <a:gd name="connsiteX67369" fmla="*/ 2899094 w 6884782"/>
              <a:gd name="connsiteY67369" fmla="*/ 568791 h 5973007"/>
              <a:gd name="connsiteX67370" fmla="*/ 3269591 w 6884782"/>
              <a:gd name="connsiteY67370" fmla="*/ 564381 h 5973007"/>
              <a:gd name="connsiteX67371" fmla="*/ 3276420 w 6884782"/>
              <a:gd name="connsiteY67371" fmla="*/ 564381 h 5973007"/>
              <a:gd name="connsiteX67372" fmla="*/ 3280902 w 6884782"/>
              <a:gd name="connsiteY67372" fmla="*/ 564808 h 5973007"/>
              <a:gd name="connsiteX67373" fmla="*/ 3283250 w 6884782"/>
              <a:gd name="connsiteY67373" fmla="*/ 564523 h 5973007"/>
              <a:gd name="connsiteX67374" fmla="*/ 3285810 w 6884782"/>
              <a:gd name="connsiteY67374" fmla="*/ 566799 h 5973007"/>
              <a:gd name="connsiteX67375" fmla="*/ 3275779 w 6884782"/>
              <a:gd name="connsiteY67375" fmla="*/ 568649 h 5973007"/>
              <a:gd name="connsiteX67376" fmla="*/ 3270017 w 6884782"/>
              <a:gd name="connsiteY67376" fmla="*/ 568933 h 5973007"/>
              <a:gd name="connsiteX67377" fmla="*/ 3267456 w 6884782"/>
              <a:gd name="connsiteY67377" fmla="*/ 566657 h 5973007"/>
              <a:gd name="connsiteX67378" fmla="*/ 3267243 w 6884782"/>
              <a:gd name="connsiteY67378" fmla="*/ 565519 h 5973007"/>
              <a:gd name="connsiteX67379" fmla="*/ 3269591 w 6884782"/>
              <a:gd name="connsiteY67379" fmla="*/ 564381 h 5973007"/>
              <a:gd name="connsiteX67380" fmla="*/ 3044219 w 6884782"/>
              <a:gd name="connsiteY67380" fmla="*/ 556698 h 5973007"/>
              <a:gd name="connsiteX67381" fmla="*/ 3050195 w 6884782"/>
              <a:gd name="connsiteY67381" fmla="*/ 560113 h 5973007"/>
              <a:gd name="connsiteX67382" fmla="*/ 3043792 w 6884782"/>
              <a:gd name="connsiteY67382" fmla="*/ 570640 h 5973007"/>
              <a:gd name="connsiteX67383" fmla="*/ 3044219 w 6884782"/>
              <a:gd name="connsiteY67383" fmla="*/ 556698 h 5973007"/>
              <a:gd name="connsiteX67384" fmla="*/ 1903426 w 6884782"/>
              <a:gd name="connsiteY67384" fmla="*/ 554861 h 5973007"/>
              <a:gd name="connsiteX67385" fmla="*/ 1903735 w 6884782"/>
              <a:gd name="connsiteY67385" fmla="*/ 568647 h 5973007"/>
              <a:gd name="connsiteX67386" fmla="*/ 1899708 w 6884782"/>
              <a:gd name="connsiteY67386" fmla="*/ 561676 h 5973007"/>
              <a:gd name="connsiteX67387" fmla="*/ 1903426 w 6884782"/>
              <a:gd name="connsiteY67387" fmla="*/ 554861 h 5973007"/>
              <a:gd name="connsiteX67388" fmla="*/ 3118702 w 6884782"/>
              <a:gd name="connsiteY67388" fmla="*/ 554707 h 5973007"/>
              <a:gd name="connsiteX67389" fmla="*/ 3123611 w 6884782"/>
              <a:gd name="connsiteY67389" fmla="*/ 557837 h 5973007"/>
              <a:gd name="connsiteX67390" fmla="*/ 3123611 w 6884782"/>
              <a:gd name="connsiteY67390" fmla="*/ 562674 h 5973007"/>
              <a:gd name="connsiteX67391" fmla="*/ 3119983 w 6884782"/>
              <a:gd name="connsiteY67391" fmla="*/ 567368 h 5973007"/>
              <a:gd name="connsiteX67392" fmla="*/ 3120623 w 6884782"/>
              <a:gd name="connsiteY67392" fmla="*/ 566373 h 5973007"/>
              <a:gd name="connsiteX67393" fmla="*/ 3118702 w 6884782"/>
              <a:gd name="connsiteY67393" fmla="*/ 565234 h 5973007"/>
              <a:gd name="connsiteX67394" fmla="*/ 3118062 w 6884782"/>
              <a:gd name="connsiteY67394" fmla="*/ 566231 h 5973007"/>
              <a:gd name="connsiteX67395" fmla="*/ 3116782 w 6884782"/>
              <a:gd name="connsiteY67395" fmla="*/ 563954 h 5973007"/>
              <a:gd name="connsiteX67396" fmla="*/ 3118702 w 6884782"/>
              <a:gd name="connsiteY67396" fmla="*/ 554707 h 5973007"/>
              <a:gd name="connsiteX67397" fmla="*/ 3420265 w 6884782"/>
              <a:gd name="connsiteY67397" fmla="*/ 551008 h 5973007"/>
              <a:gd name="connsiteX67398" fmla="*/ 3421759 w 6884782"/>
              <a:gd name="connsiteY67398" fmla="*/ 552288 h 5973007"/>
              <a:gd name="connsiteX67399" fmla="*/ 3418984 w 6884782"/>
              <a:gd name="connsiteY67399" fmla="*/ 562104 h 5973007"/>
              <a:gd name="connsiteX67400" fmla="*/ 3418130 w 6884782"/>
              <a:gd name="connsiteY67400" fmla="*/ 561536 h 5973007"/>
              <a:gd name="connsiteX67401" fmla="*/ 3417490 w 6884782"/>
              <a:gd name="connsiteY67401" fmla="*/ 561820 h 5973007"/>
              <a:gd name="connsiteX67402" fmla="*/ 3413649 w 6884782"/>
              <a:gd name="connsiteY67402" fmla="*/ 561678 h 5973007"/>
              <a:gd name="connsiteX67403" fmla="*/ 3407886 w 6884782"/>
              <a:gd name="connsiteY67403" fmla="*/ 562104 h 5973007"/>
              <a:gd name="connsiteX67404" fmla="*/ 3389105 w 6884782"/>
              <a:gd name="connsiteY67404" fmla="*/ 558406 h 5973007"/>
              <a:gd name="connsiteX67405" fmla="*/ 3396788 w 6884782"/>
              <a:gd name="connsiteY67405" fmla="*/ 556556 h 5973007"/>
              <a:gd name="connsiteX67406" fmla="*/ 3406819 w 6884782"/>
              <a:gd name="connsiteY67406" fmla="*/ 556556 h 5973007"/>
              <a:gd name="connsiteX67407" fmla="*/ 3414502 w 6884782"/>
              <a:gd name="connsiteY67407" fmla="*/ 555702 h 5973007"/>
              <a:gd name="connsiteX67408" fmla="*/ 3415783 w 6884782"/>
              <a:gd name="connsiteY67408" fmla="*/ 553426 h 5973007"/>
              <a:gd name="connsiteX67409" fmla="*/ 3418130 w 6884782"/>
              <a:gd name="connsiteY67409" fmla="*/ 551150 h 5973007"/>
              <a:gd name="connsiteX67410" fmla="*/ 3420265 w 6884782"/>
              <a:gd name="connsiteY67410" fmla="*/ 551008 h 5973007"/>
              <a:gd name="connsiteX67411" fmla="*/ 3366910 w 6884782"/>
              <a:gd name="connsiteY67411" fmla="*/ 550581 h 5973007"/>
              <a:gd name="connsiteX67412" fmla="*/ 3337031 w 6884782"/>
              <a:gd name="connsiteY67412" fmla="*/ 570072 h 5973007"/>
              <a:gd name="connsiteX67413" fmla="*/ 3366910 w 6884782"/>
              <a:gd name="connsiteY67413" fmla="*/ 550581 h 5973007"/>
              <a:gd name="connsiteX67414" fmla="*/ 2128008 w 6884782"/>
              <a:gd name="connsiteY67414" fmla="*/ 548873 h 5973007"/>
              <a:gd name="connsiteX67415" fmla="*/ 2136118 w 6884782"/>
              <a:gd name="connsiteY67415" fmla="*/ 577185 h 5973007"/>
              <a:gd name="connsiteX67416" fmla="*/ 2130355 w 6884782"/>
              <a:gd name="connsiteY67416" fmla="*/ 577185 h 5973007"/>
              <a:gd name="connsiteX67417" fmla="*/ 2128008 w 6884782"/>
              <a:gd name="connsiteY67417" fmla="*/ 548873 h 5973007"/>
              <a:gd name="connsiteX67418" fmla="*/ 3022237 w 6884782"/>
              <a:gd name="connsiteY67418" fmla="*/ 546313 h 5973007"/>
              <a:gd name="connsiteX67419" fmla="*/ 3024584 w 6884782"/>
              <a:gd name="connsiteY67419" fmla="*/ 548020 h 5973007"/>
              <a:gd name="connsiteX67420" fmla="*/ 3022451 w 6884782"/>
              <a:gd name="connsiteY67420" fmla="*/ 554422 h 5973007"/>
              <a:gd name="connsiteX67421" fmla="*/ 3018608 w 6884782"/>
              <a:gd name="connsiteY67421" fmla="*/ 549158 h 5973007"/>
              <a:gd name="connsiteX67422" fmla="*/ 3022237 w 6884782"/>
              <a:gd name="connsiteY67422" fmla="*/ 546313 h 5973007"/>
              <a:gd name="connsiteX67423" fmla="*/ 2882020 w 6884782"/>
              <a:gd name="connsiteY67423" fmla="*/ 545886 h 5973007"/>
              <a:gd name="connsiteX67424" fmla="*/ 2874124 w 6884782"/>
              <a:gd name="connsiteY67424" fmla="*/ 565946 h 5973007"/>
              <a:gd name="connsiteX67425" fmla="*/ 2871349 w 6884782"/>
              <a:gd name="connsiteY67425" fmla="*/ 561962 h 5973007"/>
              <a:gd name="connsiteX67426" fmla="*/ 2882020 w 6884782"/>
              <a:gd name="connsiteY67426" fmla="*/ 545886 h 5973007"/>
              <a:gd name="connsiteX67427" fmla="*/ 3266603 w 6884782"/>
              <a:gd name="connsiteY67427" fmla="*/ 544748 h 5973007"/>
              <a:gd name="connsiteX67428" fmla="*/ 3274286 w 6884782"/>
              <a:gd name="connsiteY67428" fmla="*/ 548447 h 5973007"/>
              <a:gd name="connsiteX67429" fmla="*/ 3269163 w 6884782"/>
              <a:gd name="connsiteY67429" fmla="*/ 560539 h 5973007"/>
              <a:gd name="connsiteX67430" fmla="*/ 3258492 w 6884782"/>
              <a:gd name="connsiteY67430" fmla="*/ 553142 h 5973007"/>
              <a:gd name="connsiteX67431" fmla="*/ 3266603 w 6884782"/>
              <a:gd name="connsiteY67431" fmla="*/ 544748 h 5973007"/>
              <a:gd name="connsiteX67432" fmla="*/ 3203003 w 6884782"/>
              <a:gd name="connsiteY67432" fmla="*/ 543467 h 5973007"/>
              <a:gd name="connsiteX67433" fmla="*/ 3194040 w 6884782"/>
              <a:gd name="connsiteY67433" fmla="*/ 577043 h 5973007"/>
              <a:gd name="connsiteX67434" fmla="*/ 3195534 w 6884782"/>
              <a:gd name="connsiteY67434" fmla="*/ 560397 h 5973007"/>
              <a:gd name="connsiteX67435" fmla="*/ 3203003 w 6884782"/>
              <a:gd name="connsiteY67435" fmla="*/ 543467 h 5973007"/>
              <a:gd name="connsiteX67436" fmla="*/ 3125959 w 6884782"/>
              <a:gd name="connsiteY67436" fmla="*/ 543467 h 5973007"/>
              <a:gd name="connsiteX67437" fmla="*/ 3129373 w 6884782"/>
              <a:gd name="connsiteY67437" fmla="*/ 545886 h 5973007"/>
              <a:gd name="connsiteX67438" fmla="*/ 3130868 w 6884782"/>
              <a:gd name="connsiteY67438" fmla="*/ 550723 h 5973007"/>
              <a:gd name="connsiteX67439" fmla="*/ 3121690 w 6884782"/>
              <a:gd name="connsiteY67439" fmla="*/ 552573 h 5973007"/>
              <a:gd name="connsiteX67440" fmla="*/ 3122544 w 6884782"/>
              <a:gd name="connsiteY67440" fmla="*/ 545601 h 5973007"/>
              <a:gd name="connsiteX67441" fmla="*/ 3125959 w 6884782"/>
              <a:gd name="connsiteY67441" fmla="*/ 543467 h 5973007"/>
              <a:gd name="connsiteX67442" fmla="*/ 3449290 w 6884782"/>
              <a:gd name="connsiteY67442" fmla="*/ 542614 h 5973007"/>
              <a:gd name="connsiteX67443" fmla="*/ 3450784 w 6884782"/>
              <a:gd name="connsiteY67443" fmla="*/ 544036 h 5973007"/>
              <a:gd name="connsiteX67444" fmla="*/ 3452918 w 6884782"/>
              <a:gd name="connsiteY67444" fmla="*/ 546881 h 5973007"/>
              <a:gd name="connsiteX67445" fmla="*/ 3452278 w 6884782"/>
              <a:gd name="connsiteY67445" fmla="*/ 548731 h 5973007"/>
              <a:gd name="connsiteX67446" fmla="*/ 3450357 w 6884782"/>
              <a:gd name="connsiteY67446" fmla="*/ 551008 h 5973007"/>
              <a:gd name="connsiteX67447" fmla="*/ 3446302 w 6884782"/>
              <a:gd name="connsiteY67447" fmla="*/ 547024 h 5973007"/>
              <a:gd name="connsiteX67448" fmla="*/ 3447369 w 6884782"/>
              <a:gd name="connsiteY67448" fmla="*/ 543183 h 5973007"/>
              <a:gd name="connsiteX67449" fmla="*/ 3449290 w 6884782"/>
              <a:gd name="connsiteY67449" fmla="*/ 542614 h 5973007"/>
              <a:gd name="connsiteX67450" fmla="*/ 2249017 w 6884782"/>
              <a:gd name="connsiteY67450" fmla="*/ 542329 h 5973007"/>
              <a:gd name="connsiteX67451" fmla="*/ 2254353 w 6884782"/>
              <a:gd name="connsiteY67451" fmla="*/ 543183 h 5973007"/>
              <a:gd name="connsiteX67452" fmla="*/ 2275481 w 6884782"/>
              <a:gd name="connsiteY67452" fmla="*/ 567226 h 5973007"/>
              <a:gd name="connsiteX67453" fmla="*/ 2244748 w 6884782"/>
              <a:gd name="connsiteY67453" fmla="*/ 543183 h 5973007"/>
              <a:gd name="connsiteX67454" fmla="*/ 2249017 w 6884782"/>
              <a:gd name="connsiteY67454" fmla="*/ 542329 h 5973007"/>
              <a:gd name="connsiteX67455" fmla="*/ 2189046 w 6884782"/>
              <a:gd name="connsiteY67455" fmla="*/ 535215 h 5973007"/>
              <a:gd name="connsiteX67456" fmla="*/ 2219138 w 6884782"/>
              <a:gd name="connsiteY67456" fmla="*/ 595395 h 5973007"/>
              <a:gd name="connsiteX67457" fmla="*/ 2202812 w 6884782"/>
              <a:gd name="connsiteY67457" fmla="*/ 602135 h 5973007"/>
              <a:gd name="connsiteX67458" fmla="*/ 2197984 w 6884782"/>
              <a:gd name="connsiteY67458" fmla="*/ 599066 h 5973007"/>
              <a:gd name="connsiteX67459" fmla="*/ 2195537 w 6884782"/>
              <a:gd name="connsiteY67459" fmla="*/ 602104 h 5973007"/>
              <a:gd name="connsiteX67460" fmla="*/ 2191304 w 6884782"/>
              <a:gd name="connsiteY67460" fmla="*/ 596683 h 5973007"/>
              <a:gd name="connsiteX67461" fmla="*/ 2191758 w 6884782"/>
              <a:gd name="connsiteY67461" fmla="*/ 595108 h 5973007"/>
              <a:gd name="connsiteX67462" fmla="*/ 2188406 w 6884782"/>
              <a:gd name="connsiteY67462" fmla="*/ 592977 h 5973007"/>
              <a:gd name="connsiteX67463" fmla="*/ 2189046 w 6884782"/>
              <a:gd name="connsiteY67463" fmla="*/ 535215 h 5973007"/>
              <a:gd name="connsiteX67464" fmla="*/ 2886075 w 6884782"/>
              <a:gd name="connsiteY67464" fmla="*/ 525541 h 5973007"/>
              <a:gd name="connsiteX67465" fmla="*/ 2892051 w 6884782"/>
              <a:gd name="connsiteY67465" fmla="*/ 543041 h 5973007"/>
              <a:gd name="connsiteX67466" fmla="*/ 2891411 w 6884782"/>
              <a:gd name="connsiteY67466" fmla="*/ 548873 h 5973007"/>
              <a:gd name="connsiteX67467" fmla="*/ 2895466 w 6884782"/>
              <a:gd name="connsiteY67467" fmla="*/ 550012 h 5973007"/>
              <a:gd name="connsiteX67468" fmla="*/ 2903149 w 6884782"/>
              <a:gd name="connsiteY67468" fmla="*/ 554280 h 5973007"/>
              <a:gd name="connsiteX67469" fmla="*/ 2889703 w 6884782"/>
              <a:gd name="connsiteY67469" fmla="*/ 561962 h 5973007"/>
              <a:gd name="connsiteX67470" fmla="*/ 2887782 w 6884782"/>
              <a:gd name="connsiteY67470" fmla="*/ 556983 h 5973007"/>
              <a:gd name="connsiteX67471" fmla="*/ 2887569 w 6884782"/>
              <a:gd name="connsiteY67471" fmla="*/ 557694 h 5973007"/>
              <a:gd name="connsiteX67472" fmla="*/ 2886075 w 6884782"/>
              <a:gd name="connsiteY67472" fmla="*/ 525541 h 5973007"/>
              <a:gd name="connsiteX67473" fmla="*/ 2845098 w 6884782"/>
              <a:gd name="connsiteY67473" fmla="*/ 522127 h 5973007"/>
              <a:gd name="connsiteX67474" fmla="*/ 2839336 w 6884782"/>
              <a:gd name="connsiteY67474" fmla="*/ 544606 h 5973007"/>
              <a:gd name="connsiteX67475" fmla="*/ 2837842 w 6884782"/>
              <a:gd name="connsiteY67475" fmla="*/ 547024 h 5973007"/>
              <a:gd name="connsiteX67476" fmla="*/ 2834427 w 6884782"/>
              <a:gd name="connsiteY67476" fmla="*/ 547024 h 5973007"/>
              <a:gd name="connsiteX67477" fmla="*/ 2836349 w 6884782"/>
              <a:gd name="connsiteY67477" fmla="*/ 529241 h 5973007"/>
              <a:gd name="connsiteX67478" fmla="*/ 2837629 w 6884782"/>
              <a:gd name="connsiteY67478" fmla="*/ 526822 h 5973007"/>
              <a:gd name="connsiteX67479" fmla="*/ 2845098 w 6884782"/>
              <a:gd name="connsiteY67479" fmla="*/ 522127 h 5973007"/>
              <a:gd name="connsiteX67480" fmla="*/ 2332678 w 6884782"/>
              <a:gd name="connsiteY67480" fmla="*/ 520989 h 5973007"/>
              <a:gd name="connsiteX67481" fmla="*/ 2342495 w 6884782"/>
              <a:gd name="connsiteY67481" fmla="*/ 525684 h 5973007"/>
              <a:gd name="connsiteX67482" fmla="*/ 2340788 w 6884782"/>
              <a:gd name="connsiteY67482" fmla="*/ 535642 h 5973007"/>
              <a:gd name="connsiteX67483" fmla="*/ 2323714 w 6884782"/>
              <a:gd name="connsiteY67483" fmla="*/ 531232 h 5973007"/>
              <a:gd name="connsiteX67484" fmla="*/ 2332678 w 6884782"/>
              <a:gd name="connsiteY67484" fmla="*/ 520989 h 5973007"/>
              <a:gd name="connsiteX67485" fmla="*/ 3301177 w 6884782"/>
              <a:gd name="connsiteY67485" fmla="*/ 520562 h 5973007"/>
              <a:gd name="connsiteX67486" fmla="*/ 3306299 w 6884782"/>
              <a:gd name="connsiteY67486" fmla="*/ 521700 h 5973007"/>
              <a:gd name="connsiteX67487" fmla="*/ 3319317 w 6884782"/>
              <a:gd name="connsiteY67487" fmla="*/ 533224 h 5973007"/>
              <a:gd name="connsiteX67488" fmla="*/ 3317823 w 6884782"/>
              <a:gd name="connsiteY67488" fmla="*/ 542614 h 5973007"/>
              <a:gd name="connsiteX67489" fmla="*/ 3291146 w 6884782"/>
              <a:gd name="connsiteY67489" fmla="*/ 558406 h 5973007"/>
              <a:gd name="connsiteX67490" fmla="*/ 3279407 w 6884782"/>
              <a:gd name="connsiteY67490" fmla="*/ 543752 h 5973007"/>
              <a:gd name="connsiteX67491" fmla="*/ 3296054 w 6884782"/>
              <a:gd name="connsiteY67491" fmla="*/ 520704 h 5973007"/>
              <a:gd name="connsiteX67492" fmla="*/ 3301177 w 6884782"/>
              <a:gd name="connsiteY67492" fmla="*/ 520562 h 5973007"/>
              <a:gd name="connsiteX67493" fmla="*/ 2291914 w 6884782"/>
              <a:gd name="connsiteY67493" fmla="*/ 520277 h 5973007"/>
              <a:gd name="connsiteX67494" fmla="*/ 2294902 w 6884782"/>
              <a:gd name="connsiteY67494" fmla="*/ 535927 h 5973007"/>
              <a:gd name="connsiteX67495" fmla="*/ 2286793 w 6884782"/>
              <a:gd name="connsiteY67495" fmla="*/ 529667 h 5973007"/>
              <a:gd name="connsiteX67496" fmla="*/ 2291914 w 6884782"/>
              <a:gd name="connsiteY67496" fmla="*/ 520277 h 5973007"/>
              <a:gd name="connsiteX67497" fmla="*/ 3447582 w 6884782"/>
              <a:gd name="connsiteY67497" fmla="*/ 519139 h 5973007"/>
              <a:gd name="connsiteX67498" fmla="*/ 3453131 w 6884782"/>
              <a:gd name="connsiteY67498" fmla="*/ 522412 h 5973007"/>
              <a:gd name="connsiteX67499" fmla="*/ 3445448 w 6884782"/>
              <a:gd name="connsiteY67499" fmla="*/ 533082 h 5973007"/>
              <a:gd name="connsiteX67500" fmla="*/ 3447582 w 6884782"/>
              <a:gd name="connsiteY67500" fmla="*/ 519139 h 5973007"/>
              <a:gd name="connsiteX67501" fmla="*/ 3028213 w 6884782"/>
              <a:gd name="connsiteY67501" fmla="*/ 517859 h 5973007"/>
              <a:gd name="connsiteX67502" fmla="*/ 3030560 w 6884782"/>
              <a:gd name="connsiteY67502" fmla="*/ 524830 h 5973007"/>
              <a:gd name="connsiteX67503" fmla="*/ 3020316 w 6884782"/>
              <a:gd name="connsiteY67503" fmla="*/ 532797 h 5973007"/>
              <a:gd name="connsiteX67504" fmla="*/ 3028213 w 6884782"/>
              <a:gd name="connsiteY67504" fmla="*/ 517859 h 5973007"/>
              <a:gd name="connsiteX67505" fmla="*/ 3389532 w 6884782"/>
              <a:gd name="connsiteY67505" fmla="*/ 517575 h 5973007"/>
              <a:gd name="connsiteX67506" fmla="*/ 3397215 w 6884782"/>
              <a:gd name="connsiteY67506" fmla="*/ 517575 h 5973007"/>
              <a:gd name="connsiteX67507" fmla="*/ 3382063 w 6884782"/>
              <a:gd name="connsiteY67507" fmla="*/ 537777 h 5973007"/>
              <a:gd name="connsiteX67508" fmla="*/ 3389532 w 6884782"/>
              <a:gd name="connsiteY67508" fmla="*/ 517575 h 5973007"/>
              <a:gd name="connsiteX67509" fmla="*/ 2175174 w 6884782"/>
              <a:gd name="connsiteY67509" fmla="*/ 517005 h 5973007"/>
              <a:gd name="connsiteX67510" fmla="*/ 2179229 w 6884782"/>
              <a:gd name="connsiteY67510" fmla="*/ 520847 h 5973007"/>
              <a:gd name="connsiteX67511" fmla="*/ 2179229 w 6884782"/>
              <a:gd name="connsiteY67511" fmla="*/ 523549 h 5973007"/>
              <a:gd name="connsiteX67512" fmla="*/ 2176241 w 6884782"/>
              <a:gd name="connsiteY67512" fmla="*/ 524403 h 5973007"/>
              <a:gd name="connsiteX67513" fmla="*/ 2170051 w 6884782"/>
              <a:gd name="connsiteY67513" fmla="*/ 520847 h 5973007"/>
              <a:gd name="connsiteX67514" fmla="*/ 2170051 w 6884782"/>
              <a:gd name="connsiteY67514" fmla="*/ 518143 h 5973007"/>
              <a:gd name="connsiteX67515" fmla="*/ 2175174 w 6884782"/>
              <a:gd name="connsiteY67515" fmla="*/ 517005 h 5973007"/>
              <a:gd name="connsiteX67516" fmla="*/ 3504565 w 6884782"/>
              <a:gd name="connsiteY67516" fmla="*/ 511741 h 5973007"/>
              <a:gd name="connsiteX67517" fmla="*/ 3507553 w 6884782"/>
              <a:gd name="connsiteY67517" fmla="*/ 511883 h 5973007"/>
              <a:gd name="connsiteX67518" fmla="*/ 3511182 w 6884782"/>
              <a:gd name="connsiteY67518" fmla="*/ 512737 h 5973007"/>
              <a:gd name="connsiteX67519" fmla="*/ 3509261 w 6884782"/>
              <a:gd name="connsiteY67519" fmla="*/ 525257 h 5973007"/>
              <a:gd name="connsiteX67520" fmla="*/ 3504565 w 6884782"/>
              <a:gd name="connsiteY67520" fmla="*/ 511741 h 5973007"/>
              <a:gd name="connsiteX67521" fmla="*/ 3069830 w 6884782"/>
              <a:gd name="connsiteY67521" fmla="*/ 511599 h 5973007"/>
              <a:gd name="connsiteX67522" fmla="*/ 3083915 w 6884782"/>
              <a:gd name="connsiteY67522" fmla="*/ 520562 h 5973007"/>
              <a:gd name="connsiteX67523" fmla="*/ 3085196 w 6884782"/>
              <a:gd name="connsiteY67523" fmla="*/ 522696 h 5973007"/>
              <a:gd name="connsiteX67524" fmla="*/ 3084769 w 6884782"/>
              <a:gd name="connsiteY67524" fmla="*/ 531375 h 5973007"/>
              <a:gd name="connsiteX67525" fmla="*/ 3069189 w 6884782"/>
              <a:gd name="connsiteY67525" fmla="*/ 517005 h 5973007"/>
              <a:gd name="connsiteX67526" fmla="*/ 3067909 w 6884782"/>
              <a:gd name="connsiteY67526" fmla="*/ 514729 h 5973007"/>
              <a:gd name="connsiteX67527" fmla="*/ 3069830 w 6884782"/>
              <a:gd name="connsiteY67527" fmla="*/ 511599 h 5973007"/>
              <a:gd name="connsiteX67528" fmla="*/ 2736255 w 6884782"/>
              <a:gd name="connsiteY67528" fmla="*/ 511599 h 5973007"/>
              <a:gd name="connsiteX67529" fmla="*/ 2749700 w 6884782"/>
              <a:gd name="connsiteY67529" fmla="*/ 520704 h 5973007"/>
              <a:gd name="connsiteX67530" fmla="*/ 2736468 w 6884782"/>
              <a:gd name="connsiteY67530" fmla="*/ 531375 h 5973007"/>
              <a:gd name="connsiteX67531" fmla="*/ 2736255 w 6884782"/>
              <a:gd name="connsiteY67531" fmla="*/ 511599 h 5973007"/>
              <a:gd name="connsiteX67532" fmla="*/ 2232157 w 6884782"/>
              <a:gd name="connsiteY67532" fmla="*/ 508754 h 5973007"/>
              <a:gd name="connsiteX67533" fmla="*/ 2237706 w 6884782"/>
              <a:gd name="connsiteY67533" fmla="*/ 514587 h 5973007"/>
              <a:gd name="connsiteX67534" fmla="*/ 2237492 w 6884782"/>
              <a:gd name="connsiteY67534" fmla="*/ 518143 h 5973007"/>
              <a:gd name="connsiteX67535" fmla="*/ 2234078 w 6884782"/>
              <a:gd name="connsiteY67535" fmla="*/ 516294 h 5973007"/>
              <a:gd name="connsiteX67536" fmla="*/ 2233864 w 6884782"/>
              <a:gd name="connsiteY67536" fmla="*/ 513591 h 5973007"/>
              <a:gd name="connsiteX67537" fmla="*/ 2231090 w 6884782"/>
              <a:gd name="connsiteY67537" fmla="*/ 510746 h 5973007"/>
              <a:gd name="connsiteX67538" fmla="*/ 2232157 w 6884782"/>
              <a:gd name="connsiteY67538" fmla="*/ 508754 h 5973007"/>
              <a:gd name="connsiteX67539" fmla="*/ 2244748 w 6884782"/>
              <a:gd name="connsiteY67539" fmla="*/ 508469 h 5973007"/>
              <a:gd name="connsiteX67540" fmla="*/ 2246029 w 6884782"/>
              <a:gd name="connsiteY67540" fmla="*/ 510034 h 5973007"/>
              <a:gd name="connsiteX67541" fmla="*/ 2247097 w 6884782"/>
              <a:gd name="connsiteY67541" fmla="*/ 513448 h 5973007"/>
              <a:gd name="connsiteX67542" fmla="*/ 2248804 w 6884782"/>
              <a:gd name="connsiteY67542" fmla="*/ 515583 h 5973007"/>
              <a:gd name="connsiteX67543" fmla="*/ 2247310 w 6884782"/>
              <a:gd name="connsiteY67543" fmla="*/ 518855 h 5973007"/>
              <a:gd name="connsiteX67544" fmla="*/ 2245602 w 6884782"/>
              <a:gd name="connsiteY67544" fmla="*/ 516578 h 5973007"/>
              <a:gd name="connsiteX67545" fmla="*/ 2242401 w 6884782"/>
              <a:gd name="connsiteY67545" fmla="*/ 509323 h 5973007"/>
              <a:gd name="connsiteX67546" fmla="*/ 2244748 w 6884782"/>
              <a:gd name="connsiteY67546" fmla="*/ 508469 h 5973007"/>
              <a:gd name="connsiteX67547" fmla="*/ 3117422 w 6884782"/>
              <a:gd name="connsiteY67547" fmla="*/ 507900 h 5973007"/>
              <a:gd name="connsiteX67548" fmla="*/ 3118276 w 6884782"/>
              <a:gd name="connsiteY67548" fmla="*/ 529952 h 5973007"/>
              <a:gd name="connsiteX67549" fmla="*/ 3114007 w 6884782"/>
              <a:gd name="connsiteY67549" fmla="*/ 536496 h 5973007"/>
              <a:gd name="connsiteX67550" fmla="*/ 3114434 w 6884782"/>
              <a:gd name="connsiteY67550" fmla="*/ 537777 h 5973007"/>
              <a:gd name="connsiteX67551" fmla="*/ 3112514 w 6884782"/>
              <a:gd name="connsiteY67551" fmla="*/ 540195 h 5973007"/>
              <a:gd name="connsiteX67552" fmla="*/ 3109526 w 6884782"/>
              <a:gd name="connsiteY67552" fmla="*/ 540622 h 5973007"/>
              <a:gd name="connsiteX67553" fmla="*/ 3109312 w 6884782"/>
              <a:gd name="connsiteY67553" fmla="*/ 540622 h 5973007"/>
              <a:gd name="connsiteX67554" fmla="*/ 3102696 w 6884782"/>
              <a:gd name="connsiteY67554" fmla="*/ 544606 h 5973007"/>
              <a:gd name="connsiteX67555" fmla="*/ 3101202 w 6884782"/>
              <a:gd name="connsiteY67555" fmla="*/ 548731 h 5973007"/>
              <a:gd name="connsiteX67556" fmla="*/ 3099281 w 6884782"/>
              <a:gd name="connsiteY67556" fmla="*/ 552715 h 5973007"/>
              <a:gd name="connsiteX67557" fmla="*/ 3100562 w 6884782"/>
              <a:gd name="connsiteY67557" fmla="*/ 551719 h 5973007"/>
              <a:gd name="connsiteX67558" fmla="*/ 3117635 w 6884782"/>
              <a:gd name="connsiteY67558" fmla="*/ 553142 h 5973007"/>
              <a:gd name="connsiteX67559" fmla="*/ 3106538 w 6884782"/>
              <a:gd name="connsiteY67559" fmla="*/ 558406 h 5973007"/>
              <a:gd name="connsiteX67560" fmla="*/ 3097361 w 6884782"/>
              <a:gd name="connsiteY67560" fmla="*/ 555133 h 5973007"/>
              <a:gd name="connsiteX67561" fmla="*/ 3092665 w 6884782"/>
              <a:gd name="connsiteY67561" fmla="*/ 558690 h 5973007"/>
              <a:gd name="connsiteX67562" fmla="*/ 3083915 w 6884782"/>
              <a:gd name="connsiteY67562" fmla="*/ 551577 h 5973007"/>
              <a:gd name="connsiteX67563" fmla="*/ 3091385 w 6884782"/>
              <a:gd name="connsiteY67563" fmla="*/ 529667 h 5973007"/>
              <a:gd name="connsiteX67564" fmla="*/ 3092239 w 6884782"/>
              <a:gd name="connsiteY67564" fmla="*/ 530236 h 5973007"/>
              <a:gd name="connsiteX67565" fmla="*/ 3094586 w 6884782"/>
              <a:gd name="connsiteY67565" fmla="*/ 522839 h 5973007"/>
              <a:gd name="connsiteX67566" fmla="*/ 3099281 w 6884782"/>
              <a:gd name="connsiteY67566" fmla="*/ 522412 h 5973007"/>
              <a:gd name="connsiteX67567" fmla="*/ 3106538 w 6884782"/>
              <a:gd name="connsiteY67567" fmla="*/ 512737 h 5973007"/>
              <a:gd name="connsiteX67568" fmla="*/ 3117422 w 6884782"/>
              <a:gd name="connsiteY67568" fmla="*/ 507900 h 5973007"/>
              <a:gd name="connsiteX67569" fmla="*/ 3161387 w 6884782"/>
              <a:gd name="connsiteY67569" fmla="*/ 506904 h 5973007"/>
              <a:gd name="connsiteX67570" fmla="*/ 3162454 w 6884782"/>
              <a:gd name="connsiteY67570" fmla="*/ 516436 h 5973007"/>
              <a:gd name="connsiteX67571" fmla="*/ 3160960 w 6884782"/>
              <a:gd name="connsiteY67571" fmla="*/ 518143 h 5973007"/>
              <a:gd name="connsiteX67572" fmla="*/ 3161387 w 6884782"/>
              <a:gd name="connsiteY67572" fmla="*/ 506904 h 5973007"/>
              <a:gd name="connsiteX67573" fmla="*/ 2950741 w 6884782"/>
              <a:gd name="connsiteY67573" fmla="*/ 506051 h 5973007"/>
              <a:gd name="connsiteX67574" fmla="*/ 2976138 w 6884782"/>
              <a:gd name="connsiteY67574" fmla="*/ 519139 h 5973007"/>
              <a:gd name="connsiteX67575" fmla="*/ 2957997 w 6884782"/>
              <a:gd name="connsiteY67575" fmla="*/ 536638 h 5973007"/>
              <a:gd name="connsiteX67576" fmla="*/ 2923210 w 6884782"/>
              <a:gd name="connsiteY67576" fmla="*/ 526253 h 5973007"/>
              <a:gd name="connsiteX67577" fmla="*/ 2923637 w 6884782"/>
              <a:gd name="connsiteY67577" fmla="*/ 522554 h 5973007"/>
              <a:gd name="connsiteX67578" fmla="*/ 2950741 w 6884782"/>
              <a:gd name="connsiteY67578" fmla="*/ 506051 h 5973007"/>
              <a:gd name="connsiteX67579" fmla="*/ 2270786 w 6884782"/>
              <a:gd name="connsiteY67579" fmla="*/ 505766 h 5973007"/>
              <a:gd name="connsiteX67580" fmla="*/ 2273773 w 6884782"/>
              <a:gd name="connsiteY67580" fmla="*/ 507616 h 5973007"/>
              <a:gd name="connsiteX67581" fmla="*/ 2273560 w 6884782"/>
              <a:gd name="connsiteY67581" fmla="*/ 519139 h 5973007"/>
              <a:gd name="connsiteX67582" fmla="*/ 2269292 w 6884782"/>
              <a:gd name="connsiteY67582" fmla="*/ 508185 h 5973007"/>
              <a:gd name="connsiteX67583" fmla="*/ 2270786 w 6884782"/>
              <a:gd name="connsiteY67583" fmla="*/ 505766 h 5973007"/>
              <a:gd name="connsiteX67584" fmla="*/ 3076446 w 6884782"/>
              <a:gd name="connsiteY67584" fmla="*/ 505481 h 5973007"/>
              <a:gd name="connsiteX67585" fmla="*/ 3076018 w 6884782"/>
              <a:gd name="connsiteY67585" fmla="*/ 508185 h 5973007"/>
              <a:gd name="connsiteX67586" fmla="*/ 3071963 w 6884782"/>
              <a:gd name="connsiteY67586" fmla="*/ 508469 h 5973007"/>
              <a:gd name="connsiteX67587" fmla="*/ 3071537 w 6884782"/>
              <a:gd name="connsiteY67587" fmla="*/ 511173 h 5973007"/>
              <a:gd name="connsiteX67588" fmla="*/ 3069830 w 6884782"/>
              <a:gd name="connsiteY67588" fmla="*/ 511599 h 5973007"/>
              <a:gd name="connsiteX67589" fmla="*/ 3067909 w 6884782"/>
              <a:gd name="connsiteY67589" fmla="*/ 508754 h 5973007"/>
              <a:gd name="connsiteX67590" fmla="*/ 3074098 w 6884782"/>
              <a:gd name="connsiteY67590" fmla="*/ 507046 h 5973007"/>
              <a:gd name="connsiteX67591" fmla="*/ 3076446 w 6884782"/>
              <a:gd name="connsiteY67591" fmla="*/ 505481 h 5973007"/>
              <a:gd name="connsiteX67592" fmla="*/ 2178589 w 6884782"/>
              <a:gd name="connsiteY67592" fmla="*/ 504628 h 5973007"/>
              <a:gd name="connsiteX67593" fmla="*/ 2180296 w 6884782"/>
              <a:gd name="connsiteY67593" fmla="*/ 509607 h 5973007"/>
              <a:gd name="connsiteX67594" fmla="*/ 2175601 w 6884782"/>
              <a:gd name="connsiteY67594" fmla="*/ 508327 h 5973007"/>
              <a:gd name="connsiteX67595" fmla="*/ 2175814 w 6884782"/>
              <a:gd name="connsiteY67595" fmla="*/ 506335 h 5973007"/>
              <a:gd name="connsiteX67596" fmla="*/ 2178589 w 6884782"/>
              <a:gd name="connsiteY67596" fmla="*/ 504628 h 5973007"/>
              <a:gd name="connsiteX67597" fmla="*/ 3020530 w 6884782"/>
              <a:gd name="connsiteY67597" fmla="*/ 496803 h 5973007"/>
              <a:gd name="connsiteX67598" fmla="*/ 3023731 w 6884782"/>
              <a:gd name="connsiteY67598" fmla="*/ 502779 h 5973007"/>
              <a:gd name="connsiteX67599" fmla="*/ 3025438 w 6884782"/>
              <a:gd name="connsiteY67599" fmla="*/ 508469 h 5973007"/>
              <a:gd name="connsiteX67600" fmla="*/ 3010072 w 6884782"/>
              <a:gd name="connsiteY67600" fmla="*/ 507900 h 5973007"/>
              <a:gd name="connsiteX67601" fmla="*/ 3011352 w 6884782"/>
              <a:gd name="connsiteY67601" fmla="*/ 502067 h 5973007"/>
              <a:gd name="connsiteX67602" fmla="*/ 3020530 w 6884782"/>
              <a:gd name="connsiteY67602" fmla="*/ 496803 h 5973007"/>
              <a:gd name="connsiteX67603" fmla="*/ 2924917 w 6884782"/>
              <a:gd name="connsiteY67603" fmla="*/ 495950 h 5973007"/>
              <a:gd name="connsiteX67604" fmla="*/ 2928972 w 6884782"/>
              <a:gd name="connsiteY67604" fmla="*/ 496518 h 5973007"/>
              <a:gd name="connsiteX67605" fmla="*/ 2930893 w 6884782"/>
              <a:gd name="connsiteY67605" fmla="*/ 502494 h 5973007"/>
              <a:gd name="connsiteX67606" fmla="*/ 2925557 w 6884782"/>
              <a:gd name="connsiteY67606" fmla="*/ 508185 h 5973007"/>
              <a:gd name="connsiteX67607" fmla="*/ 2925771 w 6884782"/>
              <a:gd name="connsiteY67607" fmla="*/ 509038 h 5973007"/>
              <a:gd name="connsiteX67608" fmla="*/ 2914246 w 6884782"/>
              <a:gd name="connsiteY67608" fmla="*/ 512453 h 5973007"/>
              <a:gd name="connsiteX67609" fmla="*/ 2911899 w 6884782"/>
              <a:gd name="connsiteY67609" fmla="*/ 510746 h 5973007"/>
              <a:gd name="connsiteX67610" fmla="*/ 2911472 w 6884782"/>
              <a:gd name="connsiteY67610" fmla="*/ 510746 h 5973007"/>
              <a:gd name="connsiteX67611" fmla="*/ 2912326 w 6884782"/>
              <a:gd name="connsiteY67611" fmla="*/ 499933 h 5973007"/>
              <a:gd name="connsiteX67612" fmla="*/ 2915954 w 6884782"/>
              <a:gd name="connsiteY67612" fmla="*/ 497230 h 5973007"/>
              <a:gd name="connsiteX67613" fmla="*/ 2921076 w 6884782"/>
              <a:gd name="connsiteY67613" fmla="*/ 497088 h 5973007"/>
              <a:gd name="connsiteX67614" fmla="*/ 2924917 w 6884782"/>
              <a:gd name="connsiteY67614" fmla="*/ 495950 h 5973007"/>
              <a:gd name="connsiteX67615" fmla="*/ 3095867 w 6884782"/>
              <a:gd name="connsiteY67615" fmla="*/ 495665 h 5973007"/>
              <a:gd name="connsiteX67616" fmla="*/ 3096934 w 6884782"/>
              <a:gd name="connsiteY67616" fmla="*/ 496234 h 5973007"/>
              <a:gd name="connsiteX67617" fmla="*/ 3096293 w 6884782"/>
              <a:gd name="connsiteY67617" fmla="*/ 499222 h 5973007"/>
              <a:gd name="connsiteX67618" fmla="*/ 3091812 w 6884782"/>
              <a:gd name="connsiteY67618" fmla="*/ 501925 h 5973007"/>
              <a:gd name="connsiteX67619" fmla="*/ 3080501 w 6884782"/>
              <a:gd name="connsiteY67619" fmla="*/ 505054 h 5973007"/>
              <a:gd name="connsiteX67620" fmla="*/ 3078153 w 6884782"/>
              <a:gd name="connsiteY67620" fmla="*/ 506619 h 5973007"/>
              <a:gd name="connsiteX67621" fmla="*/ 3095867 w 6884782"/>
              <a:gd name="connsiteY67621" fmla="*/ 495665 h 5973007"/>
              <a:gd name="connsiteX67622" fmla="*/ 3499657 w 6884782"/>
              <a:gd name="connsiteY67622" fmla="*/ 493246 h 5973007"/>
              <a:gd name="connsiteX67623" fmla="*/ 3463589 w 6884782"/>
              <a:gd name="connsiteY67623" fmla="*/ 504770 h 5973007"/>
              <a:gd name="connsiteX67624" fmla="*/ 3499657 w 6884782"/>
              <a:gd name="connsiteY67624" fmla="*/ 493246 h 5973007"/>
              <a:gd name="connsiteX67625" fmla="*/ 3227120 w 6884782"/>
              <a:gd name="connsiteY67625" fmla="*/ 493246 h 5973007"/>
              <a:gd name="connsiteX67626" fmla="*/ 3228400 w 6884782"/>
              <a:gd name="connsiteY67626" fmla="*/ 494385 h 5973007"/>
              <a:gd name="connsiteX67627" fmla="*/ 3223065 w 6884782"/>
              <a:gd name="connsiteY67627" fmla="*/ 497088 h 5973007"/>
              <a:gd name="connsiteX67628" fmla="*/ 3227120 w 6884782"/>
              <a:gd name="connsiteY67628" fmla="*/ 493246 h 5973007"/>
              <a:gd name="connsiteX67629" fmla="*/ 3197882 w 6884782"/>
              <a:gd name="connsiteY67629" fmla="*/ 492108 h 5973007"/>
              <a:gd name="connsiteX67630" fmla="*/ 3222211 w 6884782"/>
              <a:gd name="connsiteY67630" fmla="*/ 508469 h 5973007"/>
              <a:gd name="connsiteX67631" fmla="*/ 3225412 w 6884782"/>
              <a:gd name="connsiteY67631" fmla="*/ 519851 h 5973007"/>
              <a:gd name="connsiteX67632" fmla="*/ 3224772 w 6884782"/>
              <a:gd name="connsiteY67632" fmla="*/ 525684 h 5973007"/>
              <a:gd name="connsiteX67633" fmla="*/ 3226266 w 6884782"/>
              <a:gd name="connsiteY67633" fmla="*/ 525114 h 5973007"/>
              <a:gd name="connsiteX67634" fmla="*/ 3242273 w 6884782"/>
              <a:gd name="connsiteY67634" fmla="*/ 538772 h 5973007"/>
              <a:gd name="connsiteX67635" fmla="*/ 3213034 w 6884782"/>
              <a:gd name="connsiteY67635" fmla="*/ 553710 h 5973007"/>
              <a:gd name="connsiteX67636" fmla="*/ 3208765 w 6884782"/>
              <a:gd name="connsiteY67636" fmla="*/ 545174 h 5973007"/>
              <a:gd name="connsiteX67637" fmla="*/ 3209193 w 6884782"/>
              <a:gd name="connsiteY67637" fmla="*/ 537777 h 5973007"/>
              <a:gd name="connsiteX67638" fmla="*/ 3207912 w 6884782"/>
              <a:gd name="connsiteY67638" fmla="*/ 537492 h 5973007"/>
              <a:gd name="connsiteX67639" fmla="*/ 3198735 w 6884782"/>
              <a:gd name="connsiteY67639" fmla="*/ 531375 h 5973007"/>
              <a:gd name="connsiteX67640" fmla="*/ 3194894 w 6884782"/>
              <a:gd name="connsiteY67640" fmla="*/ 525826 h 5973007"/>
              <a:gd name="connsiteX67641" fmla="*/ 3193827 w 6884782"/>
              <a:gd name="connsiteY67641" fmla="*/ 530948 h 5973007"/>
              <a:gd name="connsiteX67642" fmla="*/ 3182728 w 6884782"/>
              <a:gd name="connsiteY67642" fmla="*/ 547878 h 5973007"/>
              <a:gd name="connsiteX67643" fmla="*/ 3174405 w 6884782"/>
              <a:gd name="connsiteY67643" fmla="*/ 534647 h 5973007"/>
              <a:gd name="connsiteX67644" fmla="*/ 3190198 w 6884782"/>
              <a:gd name="connsiteY67644" fmla="*/ 513448 h 5973007"/>
              <a:gd name="connsiteX67645" fmla="*/ 3190838 w 6884782"/>
              <a:gd name="connsiteY67645" fmla="*/ 513448 h 5973007"/>
              <a:gd name="connsiteX67646" fmla="*/ 3191265 w 6884782"/>
              <a:gd name="connsiteY67646" fmla="*/ 503917 h 5973007"/>
              <a:gd name="connsiteX67647" fmla="*/ 3194467 w 6884782"/>
              <a:gd name="connsiteY67647" fmla="*/ 493531 h 5973007"/>
              <a:gd name="connsiteX67648" fmla="*/ 3197882 w 6884782"/>
              <a:gd name="connsiteY67648" fmla="*/ 492108 h 5973007"/>
              <a:gd name="connsiteX67649" fmla="*/ 2902295 w 6884782"/>
              <a:gd name="connsiteY67649" fmla="*/ 491824 h 5973007"/>
              <a:gd name="connsiteX67650" fmla="*/ 2907844 w 6884782"/>
              <a:gd name="connsiteY67650" fmla="*/ 505766 h 5973007"/>
              <a:gd name="connsiteX67651" fmla="*/ 2911472 w 6884782"/>
              <a:gd name="connsiteY67651" fmla="*/ 519282 h 5973007"/>
              <a:gd name="connsiteX67652" fmla="*/ 2909978 w 6884782"/>
              <a:gd name="connsiteY67652" fmla="*/ 523549 h 5973007"/>
              <a:gd name="connsiteX67653" fmla="*/ 2910618 w 6884782"/>
              <a:gd name="connsiteY67653" fmla="*/ 523976 h 5973007"/>
              <a:gd name="connsiteX67654" fmla="*/ 2906137 w 6884782"/>
              <a:gd name="connsiteY67654" fmla="*/ 530948 h 5973007"/>
              <a:gd name="connsiteX67655" fmla="*/ 2903149 w 6884782"/>
              <a:gd name="connsiteY67655" fmla="*/ 527533 h 5973007"/>
              <a:gd name="connsiteX67656" fmla="*/ 2900801 w 6884782"/>
              <a:gd name="connsiteY67656" fmla="*/ 528102 h 5973007"/>
              <a:gd name="connsiteX67657" fmla="*/ 2899734 w 6884782"/>
              <a:gd name="connsiteY67657" fmla="*/ 536496 h 5973007"/>
              <a:gd name="connsiteX67658" fmla="*/ 2896959 w 6884782"/>
              <a:gd name="connsiteY67658" fmla="*/ 544463 h 5973007"/>
              <a:gd name="connsiteX67659" fmla="*/ 2893331 w 6884782"/>
              <a:gd name="connsiteY67659" fmla="*/ 513591 h 5973007"/>
              <a:gd name="connsiteX67660" fmla="*/ 2899094 w 6884782"/>
              <a:gd name="connsiteY67660" fmla="*/ 519282 h 5973007"/>
              <a:gd name="connsiteX67661" fmla="*/ 2899307 w 6884782"/>
              <a:gd name="connsiteY67661" fmla="*/ 520420 h 5973007"/>
              <a:gd name="connsiteX67662" fmla="*/ 2899520 w 6884782"/>
              <a:gd name="connsiteY67662" fmla="*/ 518712 h 5973007"/>
              <a:gd name="connsiteX67663" fmla="*/ 2902295 w 6884782"/>
              <a:gd name="connsiteY67663" fmla="*/ 491824 h 5973007"/>
              <a:gd name="connsiteX67664" fmla="*/ 2176454 w 6884782"/>
              <a:gd name="connsiteY67664" fmla="*/ 490686 h 5973007"/>
              <a:gd name="connsiteX67665" fmla="*/ 2178375 w 6884782"/>
              <a:gd name="connsiteY67665" fmla="*/ 491397 h 5973007"/>
              <a:gd name="connsiteX67666" fmla="*/ 2180296 w 6884782"/>
              <a:gd name="connsiteY67666" fmla="*/ 492535 h 5973007"/>
              <a:gd name="connsiteX67667" fmla="*/ 2178162 w 6884782"/>
              <a:gd name="connsiteY67667" fmla="*/ 503063 h 5973007"/>
              <a:gd name="connsiteX67668" fmla="*/ 2168345 w 6884782"/>
              <a:gd name="connsiteY67668" fmla="*/ 501356 h 5973007"/>
              <a:gd name="connsiteX67669" fmla="*/ 2168131 w 6884782"/>
              <a:gd name="connsiteY67669" fmla="*/ 498652 h 5973007"/>
              <a:gd name="connsiteX67670" fmla="*/ 2168771 w 6884782"/>
              <a:gd name="connsiteY67670" fmla="*/ 495807 h 5973007"/>
              <a:gd name="connsiteX67671" fmla="*/ 2173040 w 6884782"/>
              <a:gd name="connsiteY67671" fmla="*/ 491113 h 5973007"/>
              <a:gd name="connsiteX67672" fmla="*/ 2176454 w 6884782"/>
              <a:gd name="connsiteY67672" fmla="*/ 490686 h 5973007"/>
              <a:gd name="connsiteX67673" fmla="*/ 3066628 w 6884782"/>
              <a:gd name="connsiteY67673" fmla="*/ 490116 h 5973007"/>
              <a:gd name="connsiteX67674" fmla="*/ 3078366 w 6884782"/>
              <a:gd name="connsiteY67674" fmla="*/ 502209 h 5973007"/>
              <a:gd name="connsiteX67675" fmla="*/ 3071323 w 6884782"/>
              <a:gd name="connsiteY67675" fmla="*/ 499079 h 5973007"/>
              <a:gd name="connsiteX67676" fmla="*/ 3064921 w 6884782"/>
              <a:gd name="connsiteY67676" fmla="*/ 490686 h 5973007"/>
              <a:gd name="connsiteX67677" fmla="*/ 3066628 w 6884782"/>
              <a:gd name="connsiteY67677" fmla="*/ 490116 h 5973007"/>
              <a:gd name="connsiteX67678" fmla="*/ 2234718 w 6884782"/>
              <a:gd name="connsiteY67678" fmla="*/ 489121 h 5973007"/>
              <a:gd name="connsiteX67679" fmla="*/ 2239627 w 6884782"/>
              <a:gd name="connsiteY67679" fmla="*/ 493104 h 5973007"/>
              <a:gd name="connsiteX67680" fmla="*/ 2238346 w 6884782"/>
              <a:gd name="connsiteY67680" fmla="*/ 504201 h 5973007"/>
              <a:gd name="connsiteX67681" fmla="*/ 2234078 w 6884782"/>
              <a:gd name="connsiteY67681" fmla="*/ 501782 h 5973007"/>
              <a:gd name="connsiteX67682" fmla="*/ 2232797 w 6884782"/>
              <a:gd name="connsiteY67682" fmla="*/ 491113 h 5973007"/>
              <a:gd name="connsiteX67683" fmla="*/ 2234718 w 6884782"/>
              <a:gd name="connsiteY67683" fmla="*/ 489121 h 5973007"/>
              <a:gd name="connsiteX67684" fmla="*/ 2040719 w 6884782"/>
              <a:gd name="connsiteY67684" fmla="*/ 487556 h 5973007"/>
              <a:gd name="connsiteX67685" fmla="*/ 2086605 w 6884782"/>
              <a:gd name="connsiteY67685" fmla="*/ 515298 h 5973007"/>
              <a:gd name="connsiteX67686" fmla="*/ 2088739 w 6884782"/>
              <a:gd name="connsiteY67686" fmla="*/ 522269 h 5973007"/>
              <a:gd name="connsiteX67687" fmla="*/ 2090873 w 6884782"/>
              <a:gd name="connsiteY67687" fmla="*/ 520989 h 5973007"/>
              <a:gd name="connsiteX67688" fmla="*/ 2095568 w 6884782"/>
              <a:gd name="connsiteY67688" fmla="*/ 522127 h 5973007"/>
              <a:gd name="connsiteX67689" fmla="*/ 2093647 w 6884782"/>
              <a:gd name="connsiteY67689" fmla="*/ 531801 h 5973007"/>
              <a:gd name="connsiteX67690" fmla="*/ 2091086 w 6884782"/>
              <a:gd name="connsiteY67690" fmla="*/ 530663 h 5973007"/>
              <a:gd name="connsiteX67691" fmla="*/ 2093434 w 6884782"/>
              <a:gd name="connsiteY67691" fmla="*/ 538772 h 5973007"/>
              <a:gd name="connsiteX67692" fmla="*/ 2090233 w 6884782"/>
              <a:gd name="connsiteY67692" fmla="*/ 564666 h 5973007"/>
              <a:gd name="connsiteX67693" fmla="*/ 2023156 w 6884782"/>
              <a:gd name="connsiteY67693" fmla="*/ 593195 h 5973007"/>
              <a:gd name="connsiteX67694" fmla="*/ 2013553 w 6884782"/>
              <a:gd name="connsiteY67694" fmla="*/ 596372 h 5973007"/>
              <a:gd name="connsiteX67695" fmla="*/ 2006269 w 6884782"/>
              <a:gd name="connsiteY67695" fmla="*/ 601485 h 5973007"/>
              <a:gd name="connsiteX67696" fmla="*/ 2005086 w 6884782"/>
              <a:gd name="connsiteY67696" fmla="*/ 599174 h 5973007"/>
              <a:gd name="connsiteX67697" fmla="*/ 2000596 w 6884782"/>
              <a:gd name="connsiteY67697" fmla="*/ 600659 h 5973007"/>
              <a:gd name="connsiteX67698" fmla="*/ 1999956 w 6884782"/>
              <a:gd name="connsiteY67698" fmla="*/ 515867 h 5973007"/>
              <a:gd name="connsiteX67699" fmla="*/ 2020658 w 6884782"/>
              <a:gd name="connsiteY67699" fmla="*/ 494385 h 5973007"/>
              <a:gd name="connsiteX67700" fmla="*/ 2040719 w 6884782"/>
              <a:gd name="connsiteY67700" fmla="*/ 487556 h 5973007"/>
              <a:gd name="connsiteX67701" fmla="*/ 3280048 w 6884782"/>
              <a:gd name="connsiteY67701" fmla="*/ 486560 h 5973007"/>
              <a:gd name="connsiteX67702" fmla="*/ 3273859 w 6884782"/>
              <a:gd name="connsiteY67702" fmla="*/ 496661 h 5973007"/>
              <a:gd name="connsiteX67703" fmla="*/ 3280048 w 6884782"/>
              <a:gd name="connsiteY67703" fmla="*/ 486560 h 5973007"/>
              <a:gd name="connsiteX67704" fmla="*/ 3180594 w 6884782"/>
              <a:gd name="connsiteY67704" fmla="*/ 482861 h 5973007"/>
              <a:gd name="connsiteX67705" fmla="*/ 3182302 w 6884782"/>
              <a:gd name="connsiteY67705" fmla="*/ 486276 h 5973007"/>
              <a:gd name="connsiteX67706" fmla="*/ 3180168 w 6884782"/>
              <a:gd name="connsiteY67706" fmla="*/ 488836 h 5973007"/>
              <a:gd name="connsiteX67707" fmla="*/ 3179314 w 6884782"/>
              <a:gd name="connsiteY67707" fmla="*/ 491397 h 5973007"/>
              <a:gd name="connsiteX67708" fmla="*/ 3175685 w 6884782"/>
              <a:gd name="connsiteY67708" fmla="*/ 491539 h 5973007"/>
              <a:gd name="connsiteX67709" fmla="*/ 3176753 w 6884782"/>
              <a:gd name="connsiteY67709" fmla="*/ 488978 h 5973007"/>
              <a:gd name="connsiteX67710" fmla="*/ 3180594 w 6884782"/>
              <a:gd name="connsiteY67710" fmla="*/ 482861 h 5973007"/>
              <a:gd name="connsiteX67711" fmla="*/ 2718968 w 6884782"/>
              <a:gd name="connsiteY67711" fmla="*/ 481865 h 5973007"/>
              <a:gd name="connsiteX67712" fmla="*/ 2724089 w 6884782"/>
              <a:gd name="connsiteY67712" fmla="*/ 482577 h 5973007"/>
              <a:gd name="connsiteX67713" fmla="*/ 2728571 w 6884782"/>
              <a:gd name="connsiteY67713" fmla="*/ 484995 h 5973007"/>
              <a:gd name="connsiteX67714" fmla="*/ 2731346 w 6884782"/>
              <a:gd name="connsiteY67714" fmla="*/ 489405 h 5973007"/>
              <a:gd name="connsiteX67715" fmla="*/ 2736041 w 6884782"/>
              <a:gd name="connsiteY67715" fmla="*/ 496661 h 5973007"/>
              <a:gd name="connsiteX67716" fmla="*/ 2732199 w 6884782"/>
              <a:gd name="connsiteY67716" fmla="*/ 500644 h 5973007"/>
              <a:gd name="connsiteX67717" fmla="*/ 2714485 w 6884782"/>
              <a:gd name="connsiteY67717" fmla="*/ 485991 h 5973007"/>
              <a:gd name="connsiteX67718" fmla="*/ 2718968 w 6884782"/>
              <a:gd name="connsiteY67718" fmla="*/ 481865 h 5973007"/>
              <a:gd name="connsiteX67719" fmla="*/ 3300749 w 6884782"/>
              <a:gd name="connsiteY67719" fmla="*/ 479304 h 5973007"/>
              <a:gd name="connsiteX67720" fmla="*/ 3304164 w 6884782"/>
              <a:gd name="connsiteY67720" fmla="*/ 485137 h 5973007"/>
              <a:gd name="connsiteX67721" fmla="*/ 3301390 w 6884782"/>
              <a:gd name="connsiteY67721" fmla="*/ 506762 h 5973007"/>
              <a:gd name="connsiteX67722" fmla="*/ 3297121 w 6884782"/>
              <a:gd name="connsiteY67722" fmla="*/ 493673 h 5973007"/>
              <a:gd name="connsiteX67723" fmla="*/ 3300749 w 6884782"/>
              <a:gd name="connsiteY67723" fmla="*/ 479304 h 5973007"/>
              <a:gd name="connsiteX67724" fmla="*/ 3249316 w 6884782"/>
              <a:gd name="connsiteY67724" fmla="*/ 478735 h 5973007"/>
              <a:gd name="connsiteX67725" fmla="*/ 3249956 w 6884782"/>
              <a:gd name="connsiteY67725" fmla="*/ 483572 h 5973007"/>
              <a:gd name="connsiteX67726" fmla="*/ 3247608 w 6884782"/>
              <a:gd name="connsiteY67726" fmla="*/ 483714 h 5973007"/>
              <a:gd name="connsiteX67727" fmla="*/ 3240779 w 6884782"/>
              <a:gd name="connsiteY67727" fmla="*/ 489121 h 5973007"/>
              <a:gd name="connsiteX67728" fmla="*/ 3240138 w 6884782"/>
              <a:gd name="connsiteY67728" fmla="*/ 489263 h 5973007"/>
              <a:gd name="connsiteX67729" fmla="*/ 3242273 w 6884782"/>
              <a:gd name="connsiteY67729" fmla="*/ 490401 h 5973007"/>
              <a:gd name="connsiteX67730" fmla="*/ 3245047 w 6884782"/>
              <a:gd name="connsiteY67730" fmla="*/ 491824 h 5973007"/>
              <a:gd name="connsiteX67731" fmla="*/ 3245261 w 6884782"/>
              <a:gd name="connsiteY67731" fmla="*/ 492108 h 5973007"/>
              <a:gd name="connsiteX67732" fmla="*/ 3245901 w 6884782"/>
              <a:gd name="connsiteY67732" fmla="*/ 491824 h 5973007"/>
              <a:gd name="connsiteX67733" fmla="*/ 3250382 w 6884782"/>
              <a:gd name="connsiteY67733" fmla="*/ 491966 h 5973007"/>
              <a:gd name="connsiteX67734" fmla="*/ 3249102 w 6884782"/>
              <a:gd name="connsiteY67734" fmla="*/ 492108 h 5973007"/>
              <a:gd name="connsiteX67735" fmla="*/ 3250382 w 6884782"/>
              <a:gd name="connsiteY67735" fmla="*/ 493104 h 5973007"/>
              <a:gd name="connsiteX67736" fmla="*/ 3246754 w 6884782"/>
              <a:gd name="connsiteY67736" fmla="*/ 494385 h 5973007"/>
              <a:gd name="connsiteX67737" fmla="*/ 3247181 w 6884782"/>
              <a:gd name="connsiteY67737" fmla="*/ 495096 h 5973007"/>
              <a:gd name="connsiteX67738" fmla="*/ 3249102 w 6884782"/>
              <a:gd name="connsiteY67738" fmla="*/ 499079 h 5973007"/>
              <a:gd name="connsiteX67739" fmla="*/ 3246541 w 6884782"/>
              <a:gd name="connsiteY67739" fmla="*/ 501498 h 5973007"/>
              <a:gd name="connsiteX67740" fmla="*/ 3248675 w 6884782"/>
              <a:gd name="connsiteY67740" fmla="*/ 503917 h 5973007"/>
              <a:gd name="connsiteX67741" fmla="*/ 3245901 w 6884782"/>
              <a:gd name="connsiteY67741" fmla="*/ 519282 h 5973007"/>
              <a:gd name="connsiteX67742" fmla="*/ 3239711 w 6884782"/>
              <a:gd name="connsiteY67742" fmla="*/ 522839 h 5973007"/>
              <a:gd name="connsiteX67743" fmla="*/ 3231815 w 6884782"/>
              <a:gd name="connsiteY67743" fmla="*/ 520277 h 5973007"/>
              <a:gd name="connsiteX67744" fmla="*/ 3231175 w 6884782"/>
              <a:gd name="connsiteY67744" fmla="*/ 504770 h 5973007"/>
              <a:gd name="connsiteX67745" fmla="*/ 3242059 w 6884782"/>
              <a:gd name="connsiteY67745" fmla="*/ 498937 h 5973007"/>
              <a:gd name="connsiteX67746" fmla="*/ 3240992 w 6884782"/>
              <a:gd name="connsiteY67746" fmla="*/ 498937 h 5973007"/>
              <a:gd name="connsiteX67747" fmla="*/ 3238858 w 6884782"/>
              <a:gd name="connsiteY67747" fmla="*/ 496376 h 5973007"/>
              <a:gd name="connsiteX67748" fmla="*/ 3236937 w 6884782"/>
              <a:gd name="connsiteY67748" fmla="*/ 496376 h 5973007"/>
              <a:gd name="connsiteX67749" fmla="*/ 3234590 w 6884782"/>
              <a:gd name="connsiteY67749" fmla="*/ 496376 h 5973007"/>
              <a:gd name="connsiteX67750" fmla="*/ 3234376 w 6884782"/>
              <a:gd name="connsiteY67750" fmla="*/ 495238 h 5973007"/>
              <a:gd name="connsiteX67751" fmla="*/ 3237578 w 6884782"/>
              <a:gd name="connsiteY67751" fmla="*/ 494669 h 5973007"/>
              <a:gd name="connsiteX67752" fmla="*/ 3234163 w 6884782"/>
              <a:gd name="connsiteY67752" fmla="*/ 490401 h 5973007"/>
              <a:gd name="connsiteX67753" fmla="*/ 3231388 w 6884782"/>
              <a:gd name="connsiteY67753" fmla="*/ 490828 h 5973007"/>
              <a:gd name="connsiteX67754" fmla="*/ 3233096 w 6884782"/>
              <a:gd name="connsiteY67754" fmla="*/ 488694 h 5973007"/>
              <a:gd name="connsiteX67755" fmla="*/ 3231388 w 6884782"/>
              <a:gd name="connsiteY67755" fmla="*/ 485564 h 5973007"/>
              <a:gd name="connsiteX67756" fmla="*/ 3231175 w 6884782"/>
              <a:gd name="connsiteY67756" fmla="*/ 482149 h 5973007"/>
              <a:gd name="connsiteX67757" fmla="*/ 3234376 w 6884782"/>
              <a:gd name="connsiteY67757" fmla="*/ 483287 h 5973007"/>
              <a:gd name="connsiteX67758" fmla="*/ 3235443 w 6884782"/>
              <a:gd name="connsiteY67758" fmla="*/ 484568 h 5973007"/>
              <a:gd name="connsiteX67759" fmla="*/ 3236510 w 6884782"/>
              <a:gd name="connsiteY67759" fmla="*/ 484568 h 5973007"/>
              <a:gd name="connsiteX67760" fmla="*/ 3236510 w 6884782"/>
              <a:gd name="connsiteY67760" fmla="*/ 484995 h 5973007"/>
              <a:gd name="connsiteX67761" fmla="*/ 3241419 w 6884782"/>
              <a:gd name="connsiteY67761" fmla="*/ 482861 h 5973007"/>
              <a:gd name="connsiteX67762" fmla="*/ 3249316 w 6884782"/>
              <a:gd name="connsiteY67762" fmla="*/ 478735 h 5973007"/>
              <a:gd name="connsiteX67763" fmla="*/ 3047207 w 6884782"/>
              <a:gd name="connsiteY67763" fmla="*/ 475036 h 5973007"/>
              <a:gd name="connsiteX67764" fmla="*/ 3051902 w 6884782"/>
              <a:gd name="connsiteY67764" fmla="*/ 477881 h 5973007"/>
              <a:gd name="connsiteX67765" fmla="*/ 3051262 w 6884782"/>
              <a:gd name="connsiteY67765" fmla="*/ 484852 h 5973007"/>
              <a:gd name="connsiteX67766" fmla="*/ 3051689 w 6884782"/>
              <a:gd name="connsiteY67766" fmla="*/ 489405 h 5973007"/>
              <a:gd name="connsiteX67767" fmla="*/ 3049128 w 6884782"/>
              <a:gd name="connsiteY67767" fmla="*/ 492251 h 5973007"/>
              <a:gd name="connsiteX67768" fmla="*/ 3044433 w 6884782"/>
              <a:gd name="connsiteY67768" fmla="*/ 483430 h 5973007"/>
              <a:gd name="connsiteX67769" fmla="*/ 3047207 w 6884782"/>
              <a:gd name="connsiteY67769" fmla="*/ 475036 h 5973007"/>
              <a:gd name="connsiteX67770" fmla="*/ 2274200 w 6884782"/>
              <a:gd name="connsiteY67770" fmla="*/ 474609 h 5973007"/>
              <a:gd name="connsiteX67771" fmla="*/ 2273987 w 6884782"/>
              <a:gd name="connsiteY67771" fmla="*/ 481154 h 5973007"/>
              <a:gd name="connsiteX67772" fmla="*/ 2272707 w 6884782"/>
              <a:gd name="connsiteY67772" fmla="*/ 475036 h 5973007"/>
              <a:gd name="connsiteX67773" fmla="*/ 2274200 w 6884782"/>
              <a:gd name="connsiteY67773" fmla="*/ 474609 h 5973007"/>
              <a:gd name="connsiteX67774" fmla="*/ 2661131 w 6884782"/>
              <a:gd name="connsiteY67774" fmla="*/ 474040 h 5973007"/>
              <a:gd name="connsiteX67775" fmla="*/ 2664972 w 6884782"/>
              <a:gd name="connsiteY67775" fmla="*/ 476459 h 5973007"/>
              <a:gd name="connsiteX67776" fmla="*/ 2661771 w 6884782"/>
              <a:gd name="connsiteY67776" fmla="*/ 484995 h 5973007"/>
              <a:gd name="connsiteX67777" fmla="*/ 2656435 w 6884782"/>
              <a:gd name="connsiteY67777" fmla="*/ 476032 h 5973007"/>
              <a:gd name="connsiteX67778" fmla="*/ 2661131 w 6884782"/>
              <a:gd name="connsiteY67778" fmla="*/ 474040 h 5973007"/>
              <a:gd name="connsiteX67779" fmla="*/ 3174619 w 6884782"/>
              <a:gd name="connsiteY67779" fmla="*/ 473471 h 5973007"/>
              <a:gd name="connsiteX67780" fmla="*/ 3173338 w 6884782"/>
              <a:gd name="connsiteY67780" fmla="*/ 481154 h 5973007"/>
              <a:gd name="connsiteX67781" fmla="*/ 3170350 w 6884782"/>
              <a:gd name="connsiteY67781" fmla="*/ 482577 h 5973007"/>
              <a:gd name="connsiteX67782" fmla="*/ 3169710 w 6884782"/>
              <a:gd name="connsiteY67782" fmla="*/ 478735 h 5973007"/>
              <a:gd name="connsiteX67783" fmla="*/ 3171844 w 6884782"/>
              <a:gd name="connsiteY67783" fmla="*/ 477312 h 5973007"/>
              <a:gd name="connsiteX67784" fmla="*/ 3172271 w 6884782"/>
              <a:gd name="connsiteY67784" fmla="*/ 473613 h 5973007"/>
              <a:gd name="connsiteX67785" fmla="*/ 3174619 w 6884782"/>
              <a:gd name="connsiteY67785" fmla="*/ 473471 h 5973007"/>
              <a:gd name="connsiteX67786" fmla="*/ 2919369 w 6884782"/>
              <a:gd name="connsiteY67786" fmla="*/ 472902 h 5973007"/>
              <a:gd name="connsiteX67787" fmla="*/ 2921289 w 6884782"/>
              <a:gd name="connsiteY67787" fmla="*/ 476885 h 5973007"/>
              <a:gd name="connsiteX67788" fmla="*/ 2920649 w 6884782"/>
              <a:gd name="connsiteY67788" fmla="*/ 481580 h 5973007"/>
              <a:gd name="connsiteX67789" fmla="*/ 2919369 w 6884782"/>
              <a:gd name="connsiteY67789" fmla="*/ 472902 h 5973007"/>
              <a:gd name="connsiteX67790" fmla="*/ 2359995 w 6884782"/>
              <a:gd name="connsiteY67790" fmla="*/ 469345 h 5973007"/>
              <a:gd name="connsiteX67791" fmla="*/ 2356794 w 6884782"/>
              <a:gd name="connsiteY67791" fmla="*/ 479304 h 5973007"/>
              <a:gd name="connsiteX67792" fmla="*/ 2354233 w 6884782"/>
              <a:gd name="connsiteY67792" fmla="*/ 484426 h 5973007"/>
              <a:gd name="connsiteX67793" fmla="*/ 2351245 w 6884782"/>
              <a:gd name="connsiteY67793" fmla="*/ 485422 h 5973007"/>
              <a:gd name="connsiteX67794" fmla="*/ 2350178 w 6884782"/>
              <a:gd name="connsiteY67794" fmla="*/ 484852 h 5973007"/>
              <a:gd name="connsiteX67795" fmla="*/ 2350392 w 6884782"/>
              <a:gd name="connsiteY67795" fmla="*/ 482149 h 5973007"/>
              <a:gd name="connsiteX67796" fmla="*/ 2355940 w 6884782"/>
              <a:gd name="connsiteY67796" fmla="*/ 472333 h 5973007"/>
              <a:gd name="connsiteX67797" fmla="*/ 2357008 w 6884782"/>
              <a:gd name="connsiteY67797" fmla="*/ 470199 h 5973007"/>
              <a:gd name="connsiteX67798" fmla="*/ 2359995 w 6884782"/>
              <a:gd name="connsiteY67798" fmla="*/ 469345 h 5973007"/>
              <a:gd name="connsiteX67799" fmla="*/ 2855556 w 6884782"/>
              <a:gd name="connsiteY67799" fmla="*/ 469061 h 5973007"/>
              <a:gd name="connsiteX67800" fmla="*/ 2860891 w 6884782"/>
              <a:gd name="connsiteY67800" fmla="*/ 469630 h 5973007"/>
              <a:gd name="connsiteX67801" fmla="*/ 2859824 w 6884782"/>
              <a:gd name="connsiteY67801" fmla="*/ 469630 h 5973007"/>
              <a:gd name="connsiteX67802" fmla="*/ 2859398 w 6884782"/>
              <a:gd name="connsiteY67802" fmla="*/ 472048 h 5973007"/>
              <a:gd name="connsiteX67803" fmla="*/ 2860678 w 6884782"/>
              <a:gd name="connsiteY67803" fmla="*/ 472191 h 5973007"/>
              <a:gd name="connsiteX67804" fmla="*/ 2859398 w 6884782"/>
              <a:gd name="connsiteY67804" fmla="*/ 474467 h 5973007"/>
              <a:gd name="connsiteX67805" fmla="*/ 2850861 w 6884782"/>
              <a:gd name="connsiteY67805" fmla="*/ 478024 h 5973007"/>
              <a:gd name="connsiteX67806" fmla="*/ 2851288 w 6884782"/>
              <a:gd name="connsiteY67806" fmla="*/ 471906 h 5973007"/>
              <a:gd name="connsiteX67807" fmla="*/ 2855556 w 6884782"/>
              <a:gd name="connsiteY67807" fmla="*/ 469061 h 5973007"/>
              <a:gd name="connsiteX67808" fmla="*/ 3189344 w 6884782"/>
              <a:gd name="connsiteY67808" fmla="*/ 465931 h 5973007"/>
              <a:gd name="connsiteX67809" fmla="*/ 3192119 w 6884782"/>
              <a:gd name="connsiteY67809" fmla="*/ 466500 h 5973007"/>
              <a:gd name="connsiteX67810" fmla="*/ 3191906 w 6884782"/>
              <a:gd name="connsiteY67810" fmla="*/ 472618 h 5973007"/>
              <a:gd name="connsiteX67811" fmla="*/ 3182088 w 6884782"/>
              <a:gd name="connsiteY67811" fmla="*/ 476885 h 5973007"/>
              <a:gd name="connsiteX67812" fmla="*/ 3181448 w 6884782"/>
              <a:gd name="connsiteY67812" fmla="*/ 472048 h 5973007"/>
              <a:gd name="connsiteX67813" fmla="*/ 3189344 w 6884782"/>
              <a:gd name="connsiteY67813" fmla="*/ 465931 h 5973007"/>
              <a:gd name="connsiteX67814" fmla="*/ 3493894 w 6884782"/>
              <a:gd name="connsiteY67814" fmla="*/ 465219 h 5973007"/>
              <a:gd name="connsiteX67815" fmla="*/ 3507340 w 6884782"/>
              <a:gd name="connsiteY67815" fmla="*/ 479873 h 5973007"/>
              <a:gd name="connsiteX67816" fmla="*/ 3495389 w 6884782"/>
              <a:gd name="connsiteY67816" fmla="*/ 487983 h 5973007"/>
              <a:gd name="connsiteX67817" fmla="*/ 3493894 w 6884782"/>
              <a:gd name="connsiteY67817" fmla="*/ 465219 h 5973007"/>
              <a:gd name="connsiteX67818" fmla="*/ 2546951 w 6884782"/>
              <a:gd name="connsiteY67818" fmla="*/ 465077 h 5973007"/>
              <a:gd name="connsiteX67819" fmla="*/ 2553781 w 6884782"/>
              <a:gd name="connsiteY67819" fmla="*/ 474751 h 5973007"/>
              <a:gd name="connsiteX67820" fmla="*/ 2546951 w 6884782"/>
              <a:gd name="connsiteY67820" fmla="*/ 465077 h 5973007"/>
              <a:gd name="connsiteX67821" fmla="*/ 2697412 w 6884782"/>
              <a:gd name="connsiteY67821" fmla="*/ 462232 h 5973007"/>
              <a:gd name="connsiteX67822" fmla="*/ 2701254 w 6884782"/>
              <a:gd name="connsiteY67822" fmla="*/ 466784 h 5973007"/>
              <a:gd name="connsiteX67823" fmla="*/ 2699759 w 6884782"/>
              <a:gd name="connsiteY67823" fmla="*/ 473044 h 5973007"/>
              <a:gd name="connsiteX67824" fmla="*/ 2698692 w 6884782"/>
              <a:gd name="connsiteY67824" fmla="*/ 474325 h 5973007"/>
              <a:gd name="connsiteX67825" fmla="*/ 2692503 w 6884782"/>
              <a:gd name="connsiteY67825" fmla="*/ 478593 h 5973007"/>
              <a:gd name="connsiteX67826" fmla="*/ 2692076 w 6884782"/>
              <a:gd name="connsiteY67826" fmla="*/ 481580 h 5973007"/>
              <a:gd name="connsiteX67827" fmla="*/ 2679058 w 6884782"/>
              <a:gd name="connsiteY67827" fmla="*/ 471906 h 5973007"/>
              <a:gd name="connsiteX67828" fmla="*/ 2680979 w 6884782"/>
              <a:gd name="connsiteY67828" fmla="*/ 465931 h 5973007"/>
              <a:gd name="connsiteX67829" fmla="*/ 2686955 w 6884782"/>
              <a:gd name="connsiteY67829" fmla="*/ 465789 h 5973007"/>
              <a:gd name="connsiteX67830" fmla="*/ 2688875 w 6884782"/>
              <a:gd name="connsiteY67830" fmla="*/ 467638 h 5973007"/>
              <a:gd name="connsiteX67831" fmla="*/ 2691436 w 6884782"/>
              <a:gd name="connsiteY67831" fmla="*/ 465789 h 5973007"/>
              <a:gd name="connsiteX67832" fmla="*/ 2697412 w 6884782"/>
              <a:gd name="connsiteY67832" fmla="*/ 462232 h 5973007"/>
              <a:gd name="connsiteX67833" fmla="*/ 2099197 w 6884782"/>
              <a:gd name="connsiteY67833" fmla="*/ 462232 h 5973007"/>
              <a:gd name="connsiteX67834" fmla="*/ 2104318 w 6884782"/>
              <a:gd name="connsiteY67834" fmla="*/ 462659 h 5973007"/>
              <a:gd name="connsiteX67835" fmla="*/ 2107307 w 6884782"/>
              <a:gd name="connsiteY67835" fmla="*/ 476459 h 5973007"/>
              <a:gd name="connsiteX67836" fmla="*/ 2085538 w 6884782"/>
              <a:gd name="connsiteY67836" fmla="*/ 471621 h 5973007"/>
              <a:gd name="connsiteX67837" fmla="*/ 2099197 w 6884782"/>
              <a:gd name="connsiteY67837" fmla="*/ 462232 h 5973007"/>
              <a:gd name="connsiteX67838" fmla="*/ 3055317 w 6884782"/>
              <a:gd name="connsiteY67838" fmla="*/ 459529 h 5973007"/>
              <a:gd name="connsiteX67839" fmla="*/ 3060439 w 6884782"/>
              <a:gd name="connsiteY67839" fmla="*/ 465504 h 5973007"/>
              <a:gd name="connsiteX67840" fmla="*/ 3049341 w 6884782"/>
              <a:gd name="connsiteY67840" fmla="*/ 473471 h 5973007"/>
              <a:gd name="connsiteX67841" fmla="*/ 3045926 w 6884782"/>
              <a:gd name="connsiteY67841" fmla="*/ 469488 h 5973007"/>
              <a:gd name="connsiteX67842" fmla="*/ 3055317 w 6884782"/>
              <a:gd name="connsiteY67842" fmla="*/ 459529 h 5973007"/>
              <a:gd name="connsiteX67843" fmla="*/ 2896106 w 6884782"/>
              <a:gd name="connsiteY67843" fmla="*/ 458106 h 5973007"/>
              <a:gd name="connsiteX67844" fmla="*/ 2896746 w 6884782"/>
              <a:gd name="connsiteY67844" fmla="*/ 459102 h 5973007"/>
              <a:gd name="connsiteX67845" fmla="*/ 2897173 w 6884782"/>
              <a:gd name="connsiteY67845" fmla="*/ 459244 h 5973007"/>
              <a:gd name="connsiteX67846" fmla="*/ 2897173 w 6884782"/>
              <a:gd name="connsiteY67846" fmla="*/ 461662 h 5973007"/>
              <a:gd name="connsiteX67847" fmla="*/ 2896106 w 6884782"/>
              <a:gd name="connsiteY67847" fmla="*/ 463939 h 5973007"/>
              <a:gd name="connsiteX67848" fmla="*/ 2892478 w 6884782"/>
              <a:gd name="connsiteY67848" fmla="*/ 460525 h 5973007"/>
              <a:gd name="connsiteX67849" fmla="*/ 2894399 w 6884782"/>
              <a:gd name="connsiteY67849" fmla="*/ 459387 h 5973007"/>
              <a:gd name="connsiteX67850" fmla="*/ 2893544 w 6884782"/>
              <a:gd name="connsiteY67850" fmla="*/ 458390 h 5973007"/>
              <a:gd name="connsiteX67851" fmla="*/ 2896106 w 6884782"/>
              <a:gd name="connsiteY67851" fmla="*/ 458106 h 5973007"/>
              <a:gd name="connsiteX67852" fmla="*/ 3306512 w 6884782"/>
              <a:gd name="connsiteY67852" fmla="*/ 455830 h 5973007"/>
              <a:gd name="connsiteX67853" fmla="*/ 3310567 w 6884782"/>
              <a:gd name="connsiteY67853" fmla="*/ 459813 h 5973007"/>
              <a:gd name="connsiteX67854" fmla="*/ 3306085 w 6884782"/>
              <a:gd name="connsiteY67854" fmla="*/ 477597 h 5973007"/>
              <a:gd name="connsiteX67855" fmla="*/ 3297975 w 6884782"/>
              <a:gd name="connsiteY67855" fmla="*/ 471053 h 5973007"/>
              <a:gd name="connsiteX67856" fmla="*/ 3298616 w 6884782"/>
              <a:gd name="connsiteY67856" fmla="*/ 463939 h 5973007"/>
              <a:gd name="connsiteX67857" fmla="*/ 3306512 w 6884782"/>
              <a:gd name="connsiteY67857" fmla="*/ 455830 h 5973007"/>
              <a:gd name="connsiteX67858" fmla="*/ 2670734 w 6884782"/>
              <a:gd name="connsiteY67858" fmla="*/ 455403 h 5973007"/>
              <a:gd name="connsiteX67859" fmla="*/ 2672655 w 6884782"/>
              <a:gd name="connsiteY67859" fmla="*/ 458106 h 5973007"/>
              <a:gd name="connsiteX67860" fmla="*/ 2668387 w 6884782"/>
              <a:gd name="connsiteY67860" fmla="*/ 468065 h 5973007"/>
              <a:gd name="connsiteX67861" fmla="*/ 2670734 w 6884782"/>
              <a:gd name="connsiteY67861" fmla="*/ 455403 h 5973007"/>
              <a:gd name="connsiteX67862" fmla="*/ 2465425 w 6884782"/>
              <a:gd name="connsiteY67862" fmla="*/ 455403 h 5973007"/>
              <a:gd name="connsiteX67863" fmla="*/ 2464358 w 6884782"/>
              <a:gd name="connsiteY67863" fmla="*/ 458675 h 5973007"/>
              <a:gd name="connsiteX67864" fmla="*/ 2462223 w 6884782"/>
              <a:gd name="connsiteY67864" fmla="*/ 460525 h 5973007"/>
              <a:gd name="connsiteX67865" fmla="*/ 2471187 w 6884782"/>
              <a:gd name="connsiteY67865" fmla="*/ 462089 h 5973007"/>
              <a:gd name="connsiteX67866" fmla="*/ 2498852 w 6884782"/>
              <a:gd name="connsiteY67866" fmla="*/ 476245 h 5973007"/>
              <a:gd name="connsiteX67867" fmla="*/ 2519096 w 6884782"/>
              <a:gd name="connsiteY67867" fmla="*/ 494902 h 5973007"/>
              <a:gd name="connsiteX67868" fmla="*/ 2569754 w 6884782"/>
              <a:gd name="connsiteY67868" fmla="*/ 490743 h 5973007"/>
              <a:gd name="connsiteX67869" fmla="*/ 2591274 w 6884782"/>
              <a:gd name="connsiteY67869" fmla="*/ 490743 h 5973007"/>
              <a:gd name="connsiteX67870" fmla="*/ 2607828 w 6884782"/>
              <a:gd name="connsiteY67870" fmla="*/ 490743 h 5973007"/>
              <a:gd name="connsiteX67871" fmla="*/ 2618690 w 6884782"/>
              <a:gd name="connsiteY67871" fmla="*/ 494532 h 5973007"/>
              <a:gd name="connsiteX67872" fmla="*/ 2618447 w 6884782"/>
              <a:gd name="connsiteY67872" fmla="*/ 493246 h 5973007"/>
              <a:gd name="connsiteX67873" fmla="*/ 2623355 w 6884782"/>
              <a:gd name="connsiteY67873" fmla="*/ 492535 h 5973007"/>
              <a:gd name="connsiteX67874" fmla="*/ 2625703 w 6884782"/>
              <a:gd name="connsiteY67874" fmla="*/ 493531 h 5973007"/>
              <a:gd name="connsiteX67875" fmla="*/ 2623682 w 6884782"/>
              <a:gd name="connsiteY67875" fmla="*/ 496983 h 5973007"/>
              <a:gd name="connsiteX67876" fmla="*/ 2631005 w 6884782"/>
              <a:gd name="connsiteY67876" fmla="*/ 501525 h 5973007"/>
              <a:gd name="connsiteX67877" fmla="*/ 2638454 w 6884782"/>
              <a:gd name="connsiteY67877" fmla="*/ 513847 h 5973007"/>
              <a:gd name="connsiteX67878" fmla="*/ 2641877 w 6884782"/>
              <a:gd name="connsiteY67878" fmla="*/ 522604 h 5973007"/>
              <a:gd name="connsiteX67879" fmla="*/ 2648539 w 6884782"/>
              <a:gd name="connsiteY67879" fmla="*/ 520847 h 5973007"/>
              <a:gd name="connsiteX67880" fmla="*/ 2655582 w 6884782"/>
              <a:gd name="connsiteY67880" fmla="*/ 520135 h 5973007"/>
              <a:gd name="connsiteX67881" fmla="*/ 2654942 w 6884782"/>
              <a:gd name="connsiteY67881" fmla="*/ 519566 h 5973007"/>
              <a:gd name="connsiteX67882" fmla="*/ 2661131 w 6884782"/>
              <a:gd name="connsiteY67882" fmla="*/ 498226 h 5973007"/>
              <a:gd name="connsiteX67883" fmla="*/ 2664759 w 6884782"/>
              <a:gd name="connsiteY67883" fmla="*/ 499222 h 5973007"/>
              <a:gd name="connsiteX67884" fmla="*/ 2668601 w 6884782"/>
              <a:gd name="connsiteY67884" fmla="*/ 506193 h 5973007"/>
              <a:gd name="connsiteX67885" fmla="*/ 2668174 w 6884782"/>
              <a:gd name="connsiteY67885" fmla="*/ 511173 h 5973007"/>
              <a:gd name="connsiteX67886" fmla="*/ 2674363 w 6884782"/>
              <a:gd name="connsiteY67886" fmla="*/ 511741 h 5973007"/>
              <a:gd name="connsiteX67887" fmla="*/ 2673509 w 6884782"/>
              <a:gd name="connsiteY67887" fmla="*/ 518143 h 5973007"/>
              <a:gd name="connsiteX67888" fmla="*/ 2673296 w 6884782"/>
              <a:gd name="connsiteY67888" fmla="*/ 518428 h 5973007"/>
              <a:gd name="connsiteX67889" fmla="*/ 2680125 w 6884782"/>
              <a:gd name="connsiteY67889" fmla="*/ 517859 h 5973007"/>
              <a:gd name="connsiteX67890" fmla="*/ 2680125 w 6884782"/>
              <a:gd name="connsiteY67890" fmla="*/ 523834 h 5973007"/>
              <a:gd name="connsiteX67891" fmla="*/ 2679698 w 6884782"/>
              <a:gd name="connsiteY67891" fmla="*/ 527106 h 5973007"/>
              <a:gd name="connsiteX67892" fmla="*/ 2680979 w 6884782"/>
              <a:gd name="connsiteY67892" fmla="*/ 527249 h 5973007"/>
              <a:gd name="connsiteX67893" fmla="*/ 2682900 w 6884782"/>
              <a:gd name="connsiteY67893" fmla="*/ 533935 h 5973007"/>
              <a:gd name="connsiteX67894" fmla="*/ 2682046 w 6884782"/>
              <a:gd name="connsiteY67894" fmla="*/ 535642 h 5973007"/>
              <a:gd name="connsiteX67895" fmla="*/ 2687808 w 6884782"/>
              <a:gd name="connsiteY67895" fmla="*/ 535358 h 5973007"/>
              <a:gd name="connsiteX67896" fmla="*/ 2693144 w 6884782"/>
              <a:gd name="connsiteY67896" fmla="*/ 537492 h 5973007"/>
              <a:gd name="connsiteX67897" fmla="*/ 2694424 w 6884782"/>
              <a:gd name="connsiteY67897" fmla="*/ 540053 h 5973007"/>
              <a:gd name="connsiteX67898" fmla="*/ 2695918 w 6884782"/>
              <a:gd name="connsiteY67898" fmla="*/ 537492 h 5973007"/>
              <a:gd name="connsiteX67899" fmla="*/ 2702747 w 6884782"/>
              <a:gd name="connsiteY67899" fmla="*/ 534789 h 5973007"/>
              <a:gd name="connsiteX67900" fmla="*/ 2710004 w 6884782"/>
              <a:gd name="connsiteY67900" fmla="*/ 535500 h 5973007"/>
              <a:gd name="connsiteX67901" fmla="*/ 2705949 w 6884782"/>
              <a:gd name="connsiteY67901" fmla="*/ 542471 h 5973007"/>
              <a:gd name="connsiteX67902" fmla="*/ 2695278 w 6884782"/>
              <a:gd name="connsiteY67902" fmla="*/ 543467 h 5973007"/>
              <a:gd name="connsiteX67903" fmla="*/ 2694211 w 6884782"/>
              <a:gd name="connsiteY67903" fmla="*/ 541618 h 5973007"/>
              <a:gd name="connsiteX67904" fmla="*/ 2693144 w 6884782"/>
              <a:gd name="connsiteY67904" fmla="*/ 546597 h 5973007"/>
              <a:gd name="connsiteX67905" fmla="*/ 2677777 w 6884782"/>
              <a:gd name="connsiteY67905" fmla="*/ 556698 h 5973007"/>
              <a:gd name="connsiteX67906" fmla="*/ 2676070 w 6884782"/>
              <a:gd name="connsiteY67906" fmla="*/ 544321 h 5973007"/>
              <a:gd name="connsiteX67907" fmla="*/ 2677350 w 6884782"/>
              <a:gd name="connsiteY67907" fmla="*/ 538772 h 5973007"/>
              <a:gd name="connsiteX67908" fmla="*/ 2676924 w 6884782"/>
              <a:gd name="connsiteY67908" fmla="*/ 538772 h 5973007"/>
              <a:gd name="connsiteX67909" fmla="*/ 2672442 w 6884782"/>
              <a:gd name="connsiteY67909" fmla="*/ 537207 h 5973007"/>
              <a:gd name="connsiteX67910" fmla="*/ 2668387 w 6884782"/>
              <a:gd name="connsiteY67910" fmla="*/ 531659 h 5973007"/>
              <a:gd name="connsiteX67911" fmla="*/ 2648752 w 6884782"/>
              <a:gd name="connsiteY67911" fmla="*/ 532370 h 5973007"/>
              <a:gd name="connsiteX67912" fmla="*/ 2645553 w 6884782"/>
              <a:gd name="connsiteY67912" fmla="*/ 532453 h 5973007"/>
              <a:gd name="connsiteX67913" fmla="*/ 2651697 w 6884782"/>
              <a:gd name="connsiteY67913" fmla="*/ 553894 h 5973007"/>
              <a:gd name="connsiteX67914" fmla="*/ 2655158 w 6884782"/>
              <a:gd name="connsiteY67914" fmla="*/ 573213 h 5973007"/>
              <a:gd name="connsiteX67915" fmla="*/ 2662018 w 6884782"/>
              <a:gd name="connsiteY67915" fmla="*/ 575936 h 5973007"/>
              <a:gd name="connsiteX67916" fmla="*/ 2667320 w 6884782"/>
              <a:gd name="connsiteY67916" fmla="*/ 579461 h 5973007"/>
              <a:gd name="connsiteX67917" fmla="*/ 2672869 w 6884782"/>
              <a:gd name="connsiteY67917" fmla="*/ 571779 h 5973007"/>
              <a:gd name="connsiteX67918" fmla="*/ 2678844 w 6884782"/>
              <a:gd name="connsiteY67918" fmla="*/ 584014 h 5973007"/>
              <a:gd name="connsiteX67919" fmla="*/ 2708083 w 6884782"/>
              <a:gd name="connsiteY67919" fmla="*/ 577469 h 5973007"/>
              <a:gd name="connsiteX67920" fmla="*/ 2695918 w 6884782"/>
              <a:gd name="connsiteY67920" fmla="*/ 580884 h 5973007"/>
              <a:gd name="connsiteX67921" fmla="*/ 2716193 w 6884782"/>
              <a:gd name="connsiteY67921" fmla="*/ 588282 h 5973007"/>
              <a:gd name="connsiteX67922" fmla="*/ 2716406 w 6884782"/>
              <a:gd name="connsiteY67922" fmla="*/ 588282 h 5973007"/>
              <a:gd name="connsiteX67923" fmla="*/ 2715553 w 6884782"/>
              <a:gd name="connsiteY67923" fmla="*/ 580742 h 5973007"/>
              <a:gd name="connsiteX67924" fmla="*/ 2713845 w 6884782"/>
              <a:gd name="connsiteY67924" fmla="*/ 556983 h 5973007"/>
              <a:gd name="connsiteX67925" fmla="*/ 2723022 w 6884782"/>
              <a:gd name="connsiteY67925" fmla="*/ 571352 h 5973007"/>
              <a:gd name="connsiteX67926" fmla="*/ 2725797 w 6884782"/>
              <a:gd name="connsiteY67926" fmla="*/ 580030 h 5973007"/>
              <a:gd name="connsiteX67927" fmla="*/ 2726010 w 6884782"/>
              <a:gd name="connsiteY67927" fmla="*/ 582449 h 5973007"/>
              <a:gd name="connsiteX67928" fmla="*/ 2728358 w 6884782"/>
              <a:gd name="connsiteY67928" fmla="*/ 585152 h 5973007"/>
              <a:gd name="connsiteX67929" fmla="*/ 2741163 w 6884782"/>
              <a:gd name="connsiteY67929" fmla="*/ 588709 h 5973007"/>
              <a:gd name="connsiteX67930" fmla="*/ 2743724 w 6884782"/>
              <a:gd name="connsiteY67930" fmla="*/ 581169 h 5973007"/>
              <a:gd name="connsiteX67931" fmla="*/ 2747993 w 6884782"/>
              <a:gd name="connsiteY67931" fmla="*/ 584299 h 5973007"/>
              <a:gd name="connsiteX67932" fmla="*/ 2748206 w 6884782"/>
              <a:gd name="connsiteY67932" fmla="*/ 581026 h 5973007"/>
              <a:gd name="connsiteX67933" fmla="*/ 2739029 w 6884782"/>
              <a:gd name="connsiteY67933" fmla="*/ 564666 h 5973007"/>
              <a:gd name="connsiteX67934" fmla="*/ 2751194 w 6884782"/>
              <a:gd name="connsiteY67934" fmla="*/ 529241 h 5973007"/>
              <a:gd name="connsiteX67935" fmla="*/ 2788542 w 6884782"/>
              <a:gd name="connsiteY67935" fmla="*/ 507758 h 5973007"/>
              <a:gd name="connsiteX67936" fmla="*/ 2799213 w 6884782"/>
              <a:gd name="connsiteY67936" fmla="*/ 512310 h 5973007"/>
              <a:gd name="connsiteX67937" fmla="*/ 2808390 w 6884782"/>
              <a:gd name="connsiteY67937" fmla="*/ 514302 h 5973007"/>
              <a:gd name="connsiteX67938" fmla="*/ 2806896 w 6884782"/>
              <a:gd name="connsiteY67938" fmla="*/ 509181 h 5973007"/>
              <a:gd name="connsiteX67939" fmla="*/ 2805189 w 6884782"/>
              <a:gd name="connsiteY67939" fmla="*/ 500075 h 5973007"/>
              <a:gd name="connsiteX67940" fmla="*/ 2819061 w 6884782"/>
              <a:gd name="connsiteY67940" fmla="*/ 486560 h 5973007"/>
              <a:gd name="connsiteX67941" fmla="*/ 2820128 w 6884782"/>
              <a:gd name="connsiteY67941" fmla="*/ 487556 h 5973007"/>
              <a:gd name="connsiteX67942" fmla="*/ 2822476 w 6884782"/>
              <a:gd name="connsiteY67942" fmla="*/ 488551 h 5973007"/>
              <a:gd name="connsiteX67943" fmla="*/ 2826104 w 6884782"/>
              <a:gd name="connsiteY67943" fmla="*/ 487129 h 5973007"/>
              <a:gd name="connsiteX67944" fmla="*/ 2829519 w 6884782"/>
              <a:gd name="connsiteY67944" fmla="*/ 488978 h 5973007"/>
              <a:gd name="connsiteX67945" fmla="*/ 2831653 w 6884782"/>
              <a:gd name="connsiteY67945" fmla="*/ 494812 h 5973007"/>
              <a:gd name="connsiteX67946" fmla="*/ 2830586 w 6884782"/>
              <a:gd name="connsiteY67946" fmla="*/ 495807 h 5973007"/>
              <a:gd name="connsiteX67947" fmla="*/ 2832506 w 6884782"/>
              <a:gd name="connsiteY67947" fmla="*/ 502921 h 5973007"/>
              <a:gd name="connsiteX67948" fmla="*/ 2831866 w 6884782"/>
              <a:gd name="connsiteY67948" fmla="*/ 507473 h 5973007"/>
              <a:gd name="connsiteX67949" fmla="*/ 2833574 w 6884782"/>
              <a:gd name="connsiteY67949" fmla="*/ 500644 h 5973007"/>
              <a:gd name="connsiteX67950" fmla="*/ 2834641 w 6884782"/>
              <a:gd name="connsiteY67950" fmla="*/ 498226 h 5973007"/>
              <a:gd name="connsiteX67951" fmla="*/ 2833361 w 6884782"/>
              <a:gd name="connsiteY67951" fmla="*/ 498083 h 5973007"/>
              <a:gd name="connsiteX67952" fmla="*/ 2834854 w 6884782"/>
              <a:gd name="connsiteY67952" fmla="*/ 496803 h 5973007"/>
              <a:gd name="connsiteX67953" fmla="*/ 2834854 w 6884782"/>
              <a:gd name="connsiteY67953" fmla="*/ 496661 h 5973007"/>
              <a:gd name="connsiteX67954" fmla="*/ 2834854 w 6884782"/>
              <a:gd name="connsiteY67954" fmla="*/ 495380 h 5973007"/>
              <a:gd name="connsiteX67955" fmla="*/ 2838269 w 6884782"/>
              <a:gd name="connsiteY67955" fmla="*/ 491397 h 5973007"/>
              <a:gd name="connsiteX67956" fmla="*/ 2839336 w 6884782"/>
              <a:gd name="connsiteY67956" fmla="*/ 491539 h 5973007"/>
              <a:gd name="connsiteX67957" fmla="*/ 2839123 w 6884782"/>
              <a:gd name="connsiteY67957" fmla="*/ 484995 h 5973007"/>
              <a:gd name="connsiteX67958" fmla="*/ 2839549 w 6884782"/>
              <a:gd name="connsiteY67958" fmla="*/ 483003 h 5973007"/>
              <a:gd name="connsiteX67959" fmla="*/ 2838909 w 6884782"/>
              <a:gd name="connsiteY67959" fmla="*/ 482577 h 5973007"/>
              <a:gd name="connsiteX67960" fmla="*/ 2839763 w 6884782"/>
              <a:gd name="connsiteY67960" fmla="*/ 481580 h 5973007"/>
              <a:gd name="connsiteX67961" fmla="*/ 2840830 w 6884782"/>
              <a:gd name="connsiteY67961" fmla="*/ 475463 h 5973007"/>
              <a:gd name="connsiteX67962" fmla="*/ 2845952 w 6884782"/>
              <a:gd name="connsiteY67962" fmla="*/ 470910 h 5973007"/>
              <a:gd name="connsiteX67963" fmla="*/ 2847019 w 6884782"/>
              <a:gd name="connsiteY67963" fmla="*/ 479020 h 5973007"/>
              <a:gd name="connsiteX67964" fmla="*/ 2847446 w 6884782"/>
              <a:gd name="connsiteY67964" fmla="*/ 479447 h 5973007"/>
              <a:gd name="connsiteX67965" fmla="*/ 2847233 w 6884782"/>
              <a:gd name="connsiteY67965" fmla="*/ 480015 h 5973007"/>
              <a:gd name="connsiteX67966" fmla="*/ 2848086 w 6884782"/>
              <a:gd name="connsiteY67966" fmla="*/ 489405 h 5973007"/>
              <a:gd name="connsiteX67967" fmla="*/ 2846592 w 6884782"/>
              <a:gd name="connsiteY67967" fmla="*/ 498510 h 5973007"/>
              <a:gd name="connsiteX67968" fmla="*/ 2847873 w 6884782"/>
              <a:gd name="connsiteY67968" fmla="*/ 498652 h 5973007"/>
              <a:gd name="connsiteX67969" fmla="*/ 2864733 w 6884782"/>
              <a:gd name="connsiteY67969" fmla="*/ 499507 h 5973007"/>
              <a:gd name="connsiteX67970" fmla="*/ 2862386 w 6884782"/>
              <a:gd name="connsiteY67970" fmla="*/ 511457 h 5973007"/>
              <a:gd name="connsiteX67971" fmla="*/ 2846165 w 6884782"/>
              <a:gd name="connsiteY67971" fmla="*/ 519566 h 5973007"/>
              <a:gd name="connsiteX67972" fmla="*/ 2845739 w 6884782"/>
              <a:gd name="connsiteY67972" fmla="*/ 519282 h 5973007"/>
              <a:gd name="connsiteX67973" fmla="*/ 2838909 w 6884782"/>
              <a:gd name="connsiteY67973" fmla="*/ 519282 h 5973007"/>
              <a:gd name="connsiteX67974" fmla="*/ 2837842 w 6884782"/>
              <a:gd name="connsiteY67974" fmla="*/ 517148 h 5973007"/>
              <a:gd name="connsiteX67975" fmla="*/ 2833787 w 6884782"/>
              <a:gd name="connsiteY67975" fmla="*/ 518143 h 5973007"/>
              <a:gd name="connsiteX67976" fmla="*/ 2831226 w 6884782"/>
              <a:gd name="connsiteY67976" fmla="*/ 509323 h 5973007"/>
              <a:gd name="connsiteX67977" fmla="*/ 2817140 w 6884782"/>
              <a:gd name="connsiteY67977" fmla="*/ 516152 h 5973007"/>
              <a:gd name="connsiteX67978" fmla="*/ 2813939 w 6884782"/>
              <a:gd name="connsiteY67978" fmla="*/ 515298 h 5973007"/>
              <a:gd name="connsiteX67979" fmla="*/ 2812232 w 6884782"/>
              <a:gd name="connsiteY67979" fmla="*/ 515156 h 5973007"/>
              <a:gd name="connsiteX67980" fmla="*/ 2823543 w 6884782"/>
              <a:gd name="connsiteY67980" fmla="*/ 519139 h 5973007"/>
              <a:gd name="connsiteX67981" fmla="*/ 2831653 w 6884782"/>
              <a:gd name="connsiteY67981" fmla="*/ 528102 h 5973007"/>
              <a:gd name="connsiteX67982" fmla="*/ 2832293 w 6884782"/>
              <a:gd name="connsiteY67982" fmla="*/ 544748 h 5973007"/>
              <a:gd name="connsiteX67983" fmla="*/ 2832506 w 6884782"/>
              <a:gd name="connsiteY67983" fmla="*/ 545317 h 5973007"/>
              <a:gd name="connsiteX67984" fmla="*/ 2832720 w 6884782"/>
              <a:gd name="connsiteY67984" fmla="*/ 545032 h 5973007"/>
              <a:gd name="connsiteX67985" fmla="*/ 2833361 w 6884782"/>
              <a:gd name="connsiteY67985" fmla="*/ 545744 h 5973007"/>
              <a:gd name="connsiteX67986" fmla="*/ 2834427 w 6884782"/>
              <a:gd name="connsiteY67986" fmla="*/ 547024 h 5973007"/>
              <a:gd name="connsiteX67987" fmla="*/ 2834641 w 6884782"/>
              <a:gd name="connsiteY67987" fmla="*/ 547451 h 5973007"/>
              <a:gd name="connsiteX67988" fmla="*/ 2833787 w 6884782"/>
              <a:gd name="connsiteY67988" fmla="*/ 548873 h 5973007"/>
              <a:gd name="connsiteX67989" fmla="*/ 2834641 w 6884782"/>
              <a:gd name="connsiteY67989" fmla="*/ 550865 h 5973007"/>
              <a:gd name="connsiteX67990" fmla="*/ 2836562 w 6884782"/>
              <a:gd name="connsiteY67990" fmla="*/ 557267 h 5973007"/>
              <a:gd name="connsiteX67991" fmla="*/ 2829519 w 6884782"/>
              <a:gd name="connsiteY67991" fmla="*/ 572917 h 5973007"/>
              <a:gd name="connsiteX67992" fmla="*/ 2826531 w 6884782"/>
              <a:gd name="connsiteY67992" fmla="*/ 577327 h 5973007"/>
              <a:gd name="connsiteX67993" fmla="*/ 2824397 w 6884782"/>
              <a:gd name="connsiteY67993" fmla="*/ 581453 h 5973007"/>
              <a:gd name="connsiteX67994" fmla="*/ 2824183 w 6884782"/>
              <a:gd name="connsiteY67994" fmla="*/ 581880 h 5973007"/>
              <a:gd name="connsiteX67995" fmla="*/ 2822690 w 6884782"/>
              <a:gd name="connsiteY67995" fmla="*/ 591697 h 5973007"/>
              <a:gd name="connsiteX67996" fmla="*/ 2816927 w 6884782"/>
              <a:gd name="connsiteY67996" fmla="*/ 599948 h 5973007"/>
              <a:gd name="connsiteX67997" fmla="*/ 2811805 w 6884782"/>
              <a:gd name="connsiteY67997" fmla="*/ 602224 h 5973007"/>
              <a:gd name="connsiteX67998" fmla="*/ 2807964 w 6884782"/>
              <a:gd name="connsiteY67998" fmla="*/ 602651 h 5973007"/>
              <a:gd name="connsiteX67999" fmla="*/ 2809884 w 6884782"/>
              <a:gd name="connsiteY67999" fmla="*/ 603647 h 5973007"/>
              <a:gd name="connsiteX68000" fmla="*/ 2807110 w 6884782"/>
              <a:gd name="connsiteY68000" fmla="*/ 615313 h 5973007"/>
              <a:gd name="connsiteX68001" fmla="*/ 2814366 w 6884782"/>
              <a:gd name="connsiteY68001" fmla="*/ 608769 h 5973007"/>
              <a:gd name="connsiteX68002" fmla="*/ 2819488 w 6884782"/>
              <a:gd name="connsiteY68002" fmla="*/ 611756 h 5973007"/>
              <a:gd name="connsiteX68003" fmla="*/ 2825037 w 6884782"/>
              <a:gd name="connsiteY68003" fmla="*/ 611330 h 5973007"/>
              <a:gd name="connsiteX68004" fmla="*/ 2823756 w 6884782"/>
              <a:gd name="connsiteY68004" fmla="*/ 618443 h 5973007"/>
              <a:gd name="connsiteX68005" fmla="*/ 2818848 w 6884782"/>
              <a:gd name="connsiteY68005" fmla="*/ 614602 h 5973007"/>
              <a:gd name="connsiteX68006" fmla="*/ 2819275 w 6884782"/>
              <a:gd name="connsiteY68006" fmla="*/ 612468 h 5973007"/>
              <a:gd name="connsiteX68007" fmla="*/ 2813726 w 6884782"/>
              <a:gd name="connsiteY68007" fmla="*/ 615455 h 5973007"/>
              <a:gd name="connsiteX68008" fmla="*/ 2809884 w 6884782"/>
              <a:gd name="connsiteY68008" fmla="*/ 624561 h 5973007"/>
              <a:gd name="connsiteX68009" fmla="*/ 2814152 w 6884782"/>
              <a:gd name="connsiteY68009" fmla="*/ 626837 h 5973007"/>
              <a:gd name="connsiteX68010" fmla="*/ 2816714 w 6884782"/>
              <a:gd name="connsiteY68010" fmla="*/ 626410 h 5973007"/>
              <a:gd name="connsiteX68011" fmla="*/ 2816500 w 6884782"/>
              <a:gd name="connsiteY68011" fmla="*/ 626126 h 5973007"/>
              <a:gd name="connsiteX68012" fmla="*/ 2818635 w 6884782"/>
              <a:gd name="connsiteY68012" fmla="*/ 625414 h 5973007"/>
              <a:gd name="connsiteX68013" fmla="*/ 2818848 w 6884782"/>
              <a:gd name="connsiteY68013" fmla="*/ 623138 h 5973007"/>
              <a:gd name="connsiteX68014" fmla="*/ 2823330 w 6884782"/>
              <a:gd name="connsiteY68014" fmla="*/ 620292 h 5973007"/>
              <a:gd name="connsiteX68015" fmla="*/ 2822476 w 6884782"/>
              <a:gd name="connsiteY68015" fmla="*/ 623849 h 5973007"/>
              <a:gd name="connsiteX68016" fmla="*/ 2827598 w 6884782"/>
              <a:gd name="connsiteY68016" fmla="*/ 621857 h 5973007"/>
              <a:gd name="connsiteX68017" fmla="*/ 2834854 w 6884782"/>
              <a:gd name="connsiteY68017" fmla="*/ 629255 h 5973007"/>
              <a:gd name="connsiteX68018" fmla="*/ 2830159 w 6884782"/>
              <a:gd name="connsiteY68018" fmla="*/ 632955 h 5973007"/>
              <a:gd name="connsiteX68019" fmla="*/ 2837842 w 6884782"/>
              <a:gd name="connsiteY68019" fmla="*/ 636227 h 5973007"/>
              <a:gd name="connsiteX68020" fmla="*/ 2832080 w 6884782"/>
              <a:gd name="connsiteY68020" fmla="*/ 637080 h 5973007"/>
              <a:gd name="connsiteX68021" fmla="*/ 2826958 w 6884782"/>
              <a:gd name="connsiteY68021" fmla="*/ 635800 h 5973007"/>
              <a:gd name="connsiteX68022" fmla="*/ 2825250 w 6884782"/>
              <a:gd name="connsiteY68022" fmla="*/ 637222 h 5973007"/>
              <a:gd name="connsiteX68023" fmla="*/ 2826958 w 6884782"/>
              <a:gd name="connsiteY68023" fmla="*/ 641348 h 5973007"/>
              <a:gd name="connsiteX68024" fmla="*/ 2836135 w 6884782"/>
              <a:gd name="connsiteY68024" fmla="*/ 643909 h 5973007"/>
              <a:gd name="connsiteX68025" fmla="*/ 2822049 w 6884782"/>
              <a:gd name="connsiteY68025" fmla="*/ 644763 h 5973007"/>
              <a:gd name="connsiteX68026" fmla="*/ 2850434 w 6884782"/>
              <a:gd name="connsiteY68026" fmla="*/ 652445 h 5973007"/>
              <a:gd name="connsiteX68027" fmla="*/ 2851928 w 6884782"/>
              <a:gd name="connsiteY68027" fmla="*/ 652587 h 5973007"/>
              <a:gd name="connsiteX68028" fmla="*/ 2857477 w 6884782"/>
              <a:gd name="connsiteY68028" fmla="*/ 642060 h 5973007"/>
              <a:gd name="connsiteX68029" fmla="*/ 2866654 w 6884782"/>
              <a:gd name="connsiteY68029" fmla="*/ 631105 h 5973007"/>
              <a:gd name="connsiteX68030" fmla="*/ 2870069 w 6884782"/>
              <a:gd name="connsiteY68030" fmla="*/ 648177 h 5973007"/>
              <a:gd name="connsiteX68031" fmla="*/ 2869428 w 6884782"/>
              <a:gd name="connsiteY68031" fmla="*/ 651734 h 5973007"/>
              <a:gd name="connsiteX68032" fmla="*/ 2877538 w 6884782"/>
              <a:gd name="connsiteY68032" fmla="*/ 648462 h 5973007"/>
              <a:gd name="connsiteX68033" fmla="*/ 2881166 w 6884782"/>
              <a:gd name="connsiteY68033" fmla="*/ 650169 h 5973007"/>
              <a:gd name="connsiteX68034" fmla="*/ 2885008 w 6884782"/>
              <a:gd name="connsiteY68034" fmla="*/ 652730 h 5973007"/>
              <a:gd name="connsiteX68035" fmla="*/ 2886075 w 6884782"/>
              <a:gd name="connsiteY68035" fmla="*/ 651307 h 5973007"/>
              <a:gd name="connsiteX68036" fmla="*/ 2887142 w 6884782"/>
              <a:gd name="connsiteY68036" fmla="*/ 653014 h 5973007"/>
              <a:gd name="connsiteX68037" fmla="*/ 2888423 w 6884782"/>
              <a:gd name="connsiteY68037" fmla="*/ 653014 h 5973007"/>
              <a:gd name="connsiteX68038" fmla="*/ 2890984 w 6884782"/>
              <a:gd name="connsiteY68038" fmla="*/ 650596 h 5973007"/>
              <a:gd name="connsiteX68039" fmla="*/ 2899094 w 6884782"/>
              <a:gd name="connsiteY68039" fmla="*/ 657282 h 5973007"/>
              <a:gd name="connsiteX68040" fmla="*/ 2899307 w 6884782"/>
              <a:gd name="connsiteY68040" fmla="*/ 655149 h 5973007"/>
              <a:gd name="connsiteX68041" fmla="*/ 2904856 w 6884782"/>
              <a:gd name="connsiteY68041" fmla="*/ 651450 h 5973007"/>
              <a:gd name="connsiteX68042" fmla="*/ 2907203 w 6884782"/>
              <a:gd name="connsiteY68042" fmla="*/ 652872 h 5973007"/>
              <a:gd name="connsiteX68043" fmla="*/ 2906137 w 6884782"/>
              <a:gd name="connsiteY68043" fmla="*/ 658421 h 5973007"/>
              <a:gd name="connsiteX68044" fmla="*/ 2902508 w 6884782"/>
              <a:gd name="connsiteY68044" fmla="*/ 659416 h 5973007"/>
              <a:gd name="connsiteX68045" fmla="*/ 2914673 w 6884782"/>
              <a:gd name="connsiteY68045" fmla="*/ 662973 h 5973007"/>
              <a:gd name="connsiteX68046" fmla="*/ 2918088 w 6884782"/>
              <a:gd name="connsiteY68046" fmla="*/ 663542 h 5973007"/>
              <a:gd name="connsiteX68047" fmla="*/ 2921929 w 6884782"/>
              <a:gd name="connsiteY68047" fmla="*/ 660839 h 5973007"/>
              <a:gd name="connsiteX68048" fmla="*/ 2924277 w 6884782"/>
              <a:gd name="connsiteY68048" fmla="*/ 662262 h 5973007"/>
              <a:gd name="connsiteX68049" fmla="*/ 2926625 w 6884782"/>
              <a:gd name="connsiteY68049" fmla="*/ 664538 h 5973007"/>
              <a:gd name="connsiteX68050" fmla="*/ 2926625 w 6884782"/>
              <a:gd name="connsiteY68050" fmla="*/ 664681 h 5973007"/>
              <a:gd name="connsiteX68051" fmla="*/ 2927052 w 6884782"/>
              <a:gd name="connsiteY68051" fmla="*/ 664823 h 5973007"/>
              <a:gd name="connsiteX68052" fmla="*/ 2935588 w 6884782"/>
              <a:gd name="connsiteY68052" fmla="*/ 669517 h 5973007"/>
              <a:gd name="connsiteX68053" fmla="*/ 2929400 w 6884782"/>
              <a:gd name="connsiteY68053" fmla="*/ 669802 h 5973007"/>
              <a:gd name="connsiteX68054" fmla="*/ 2928332 w 6884782"/>
              <a:gd name="connsiteY68054" fmla="*/ 669944 h 5973007"/>
              <a:gd name="connsiteX68055" fmla="*/ 2928759 w 6884782"/>
              <a:gd name="connsiteY68055" fmla="*/ 671082 h 5973007"/>
              <a:gd name="connsiteX68056" fmla="*/ 2926412 w 6884782"/>
              <a:gd name="connsiteY68056" fmla="*/ 675635 h 5973007"/>
              <a:gd name="connsiteX68057" fmla="*/ 2924491 w 6884782"/>
              <a:gd name="connsiteY68057" fmla="*/ 676916 h 5973007"/>
              <a:gd name="connsiteX68058" fmla="*/ 2923850 w 6884782"/>
              <a:gd name="connsiteY68058" fmla="*/ 676631 h 5973007"/>
              <a:gd name="connsiteX68059" fmla="*/ 2923210 w 6884782"/>
              <a:gd name="connsiteY68059" fmla="*/ 682179 h 5973007"/>
              <a:gd name="connsiteX68060" fmla="*/ 2964613 w 6884782"/>
              <a:gd name="connsiteY68060" fmla="*/ 701243 h 5973007"/>
              <a:gd name="connsiteX68061" fmla="*/ 2972937 w 6884782"/>
              <a:gd name="connsiteY68061" fmla="*/ 705369 h 5973007"/>
              <a:gd name="connsiteX68062" fmla="*/ 2975071 w 6884782"/>
              <a:gd name="connsiteY68062" fmla="*/ 702666 h 5973007"/>
              <a:gd name="connsiteX68063" fmla="*/ 2979767 w 6884782"/>
              <a:gd name="connsiteY68063" fmla="*/ 707930 h 5973007"/>
              <a:gd name="connsiteX68064" fmla="*/ 2979126 w 6884782"/>
              <a:gd name="connsiteY68064" fmla="*/ 708642 h 5973007"/>
              <a:gd name="connsiteX68065" fmla="*/ 2984888 w 6884782"/>
              <a:gd name="connsiteY68065" fmla="*/ 711487 h 5973007"/>
              <a:gd name="connsiteX68066" fmla="*/ 2985742 w 6884782"/>
              <a:gd name="connsiteY68066" fmla="*/ 711772 h 5973007"/>
              <a:gd name="connsiteX68067" fmla="*/ 2986595 w 6884782"/>
              <a:gd name="connsiteY68067" fmla="*/ 709637 h 5973007"/>
              <a:gd name="connsiteX68068" fmla="*/ 2989370 w 6884782"/>
              <a:gd name="connsiteY68068" fmla="*/ 707503 h 5973007"/>
              <a:gd name="connsiteX68069" fmla="*/ 2993212 w 6884782"/>
              <a:gd name="connsiteY68069" fmla="*/ 707930 h 5973007"/>
              <a:gd name="connsiteX68070" fmla="*/ 2995986 w 6884782"/>
              <a:gd name="connsiteY68070" fmla="*/ 710349 h 5973007"/>
              <a:gd name="connsiteX68071" fmla="*/ 2996840 w 6884782"/>
              <a:gd name="connsiteY68071" fmla="*/ 713763 h 5973007"/>
              <a:gd name="connsiteX68072" fmla="*/ 2996840 w 6884782"/>
              <a:gd name="connsiteY68072" fmla="*/ 715328 h 5973007"/>
              <a:gd name="connsiteX68073" fmla="*/ 3003029 w 6884782"/>
              <a:gd name="connsiteY68073" fmla="*/ 717178 h 5973007"/>
              <a:gd name="connsiteX68074" fmla="*/ 3006230 w 6884782"/>
              <a:gd name="connsiteY68074" fmla="*/ 711629 h 5973007"/>
              <a:gd name="connsiteX68075" fmla="*/ 3014340 w 6884782"/>
              <a:gd name="connsiteY68075" fmla="*/ 707503 h 5973007"/>
              <a:gd name="connsiteX68076" fmla="*/ 3010072 w 6884782"/>
              <a:gd name="connsiteY68076" fmla="*/ 723153 h 5973007"/>
              <a:gd name="connsiteX68077" fmla="*/ 3013913 w 6884782"/>
              <a:gd name="connsiteY68077" fmla="*/ 727421 h 5973007"/>
              <a:gd name="connsiteX68078" fmla="*/ 3022451 w 6884782"/>
              <a:gd name="connsiteY68078" fmla="*/ 733681 h 5973007"/>
              <a:gd name="connsiteX68079" fmla="*/ 3023517 w 6884782"/>
              <a:gd name="connsiteY68079" fmla="*/ 734250 h 5973007"/>
              <a:gd name="connsiteX68080" fmla="*/ 3023944 w 6884782"/>
              <a:gd name="connsiteY68080" fmla="*/ 732685 h 5973007"/>
              <a:gd name="connsiteX68081" fmla="*/ 3039950 w 6884782"/>
              <a:gd name="connsiteY68081" fmla="*/ 725714 h 5973007"/>
              <a:gd name="connsiteX68082" fmla="*/ 3050195 w 6884782"/>
              <a:gd name="connsiteY68082" fmla="*/ 719738 h 5973007"/>
              <a:gd name="connsiteX68083" fmla="*/ 3051262 w 6884782"/>
              <a:gd name="connsiteY68083" fmla="*/ 718600 h 5973007"/>
              <a:gd name="connsiteX68084" fmla="*/ 3023091 w 6884782"/>
              <a:gd name="connsiteY68084" fmla="*/ 704800 h 5973007"/>
              <a:gd name="connsiteX68085" fmla="*/ 3001322 w 6884782"/>
              <a:gd name="connsiteY68085" fmla="*/ 686590 h 5973007"/>
              <a:gd name="connsiteX68086" fmla="*/ 3015621 w 6884782"/>
              <a:gd name="connsiteY68086" fmla="*/ 697260 h 5973007"/>
              <a:gd name="connsiteX68087" fmla="*/ 3013700 w 6884782"/>
              <a:gd name="connsiteY68087" fmla="*/ 688724 h 5973007"/>
              <a:gd name="connsiteX68088" fmla="*/ 3009645 w 6884782"/>
              <a:gd name="connsiteY68088" fmla="*/ 682748 h 5973007"/>
              <a:gd name="connsiteX68089" fmla="*/ 3006871 w 6884782"/>
              <a:gd name="connsiteY68089" fmla="*/ 684171 h 5973007"/>
              <a:gd name="connsiteX68090" fmla="*/ 2992571 w 6884782"/>
              <a:gd name="connsiteY68090" fmla="*/ 679192 h 5973007"/>
              <a:gd name="connsiteX68091" fmla="*/ 2995773 w 6884782"/>
              <a:gd name="connsiteY68091" fmla="*/ 672932 h 5973007"/>
              <a:gd name="connsiteX68092" fmla="*/ 2996626 w 6884782"/>
              <a:gd name="connsiteY68092" fmla="*/ 672221 h 5973007"/>
              <a:gd name="connsiteX68093" fmla="*/ 2993212 w 6884782"/>
              <a:gd name="connsiteY68093" fmla="*/ 669517 h 5973007"/>
              <a:gd name="connsiteX68094" fmla="*/ 2998121 w 6884782"/>
              <a:gd name="connsiteY68094" fmla="*/ 667383 h 5973007"/>
              <a:gd name="connsiteX68095" fmla="*/ 3002816 w 6884782"/>
              <a:gd name="connsiteY68095" fmla="*/ 667668 h 5973007"/>
              <a:gd name="connsiteX68096" fmla="*/ 3007724 w 6884782"/>
              <a:gd name="connsiteY68096" fmla="*/ 664111 h 5973007"/>
              <a:gd name="connsiteX68097" fmla="*/ 3009645 w 6884782"/>
              <a:gd name="connsiteY68097" fmla="*/ 666388 h 5973007"/>
              <a:gd name="connsiteX68098" fmla="*/ 3011993 w 6884782"/>
              <a:gd name="connsiteY68098" fmla="*/ 663969 h 5973007"/>
              <a:gd name="connsiteX68099" fmla="*/ 3027999 w 6884782"/>
              <a:gd name="connsiteY68099" fmla="*/ 681326 h 5973007"/>
              <a:gd name="connsiteX68100" fmla="*/ 3036749 w 6884782"/>
              <a:gd name="connsiteY68100" fmla="*/ 686590 h 5973007"/>
              <a:gd name="connsiteX68101" fmla="*/ 3039950 w 6884782"/>
              <a:gd name="connsiteY68101" fmla="*/ 682606 h 5973007"/>
              <a:gd name="connsiteX68102" fmla="*/ 3061506 w 6884782"/>
              <a:gd name="connsiteY68102" fmla="*/ 675493 h 5973007"/>
              <a:gd name="connsiteX68103" fmla="*/ 3068976 w 6884782"/>
              <a:gd name="connsiteY68103" fmla="*/ 677058 h 5973007"/>
              <a:gd name="connsiteX68104" fmla="*/ 3075378 w 6884782"/>
              <a:gd name="connsiteY68104" fmla="*/ 680899 h 5973007"/>
              <a:gd name="connsiteX68105" fmla="*/ 3076232 w 6884782"/>
              <a:gd name="connsiteY68105" fmla="*/ 679334 h 5973007"/>
              <a:gd name="connsiteX68106" fmla="*/ 3087330 w 6884782"/>
              <a:gd name="connsiteY68106" fmla="*/ 680899 h 5973007"/>
              <a:gd name="connsiteX68107" fmla="*/ 3087970 w 6884782"/>
              <a:gd name="connsiteY68107" fmla="*/ 689720 h 5973007"/>
              <a:gd name="connsiteX68108" fmla="*/ 3080927 w 6884782"/>
              <a:gd name="connsiteY68108" fmla="*/ 689008 h 5973007"/>
              <a:gd name="connsiteX68109" fmla="*/ 3075378 w 6884782"/>
              <a:gd name="connsiteY68109" fmla="*/ 684456 h 5973007"/>
              <a:gd name="connsiteX68110" fmla="*/ 3074098 w 6884782"/>
              <a:gd name="connsiteY68110" fmla="*/ 693988 h 5973007"/>
              <a:gd name="connsiteX68111" fmla="*/ 3067909 w 6884782"/>
              <a:gd name="connsiteY68111" fmla="*/ 703520 h 5973007"/>
              <a:gd name="connsiteX68112" fmla="*/ 3064707 w 6884782"/>
              <a:gd name="connsiteY68112" fmla="*/ 705512 h 5973007"/>
              <a:gd name="connsiteX68113" fmla="*/ 3069403 w 6884782"/>
              <a:gd name="connsiteY68113" fmla="*/ 708072 h 5973007"/>
              <a:gd name="connsiteX68114" fmla="*/ 3078793 w 6884782"/>
              <a:gd name="connsiteY68114" fmla="*/ 711487 h 5973007"/>
              <a:gd name="connsiteX68115" fmla="*/ 3084982 w 6884782"/>
              <a:gd name="connsiteY68115" fmla="*/ 721446 h 5973007"/>
              <a:gd name="connsiteX68116" fmla="*/ 3087330 w 6884782"/>
              <a:gd name="connsiteY68116" fmla="*/ 723295 h 5973007"/>
              <a:gd name="connsiteX68117" fmla="*/ 3088184 w 6884782"/>
              <a:gd name="connsiteY68117" fmla="*/ 721730 h 5973007"/>
              <a:gd name="connsiteX68118" fmla="*/ 3089677 w 6884782"/>
              <a:gd name="connsiteY68118" fmla="*/ 725429 h 5973007"/>
              <a:gd name="connsiteX68119" fmla="*/ 3093946 w 6884782"/>
              <a:gd name="connsiteY68119" fmla="*/ 728986 h 5973007"/>
              <a:gd name="connsiteX68120" fmla="*/ 3094373 w 6884782"/>
              <a:gd name="connsiteY68120" fmla="*/ 729128 h 5973007"/>
              <a:gd name="connsiteX68121" fmla="*/ 3094586 w 6884782"/>
              <a:gd name="connsiteY68121" fmla="*/ 729555 h 5973007"/>
              <a:gd name="connsiteX68122" fmla="*/ 3095440 w 6884782"/>
              <a:gd name="connsiteY68122" fmla="*/ 730267 h 5973007"/>
              <a:gd name="connsiteX68123" fmla="*/ 3108245 w 6884782"/>
              <a:gd name="connsiteY68123" fmla="*/ 739371 h 5973007"/>
              <a:gd name="connsiteX68124" fmla="*/ 3122330 w 6884782"/>
              <a:gd name="connsiteY68124" fmla="*/ 750895 h 5973007"/>
              <a:gd name="connsiteX68125" fmla="*/ 3135136 w 6884782"/>
              <a:gd name="connsiteY68125" fmla="*/ 748762 h 5973007"/>
              <a:gd name="connsiteX68126" fmla="*/ 3131935 w 6884782"/>
              <a:gd name="connsiteY68126" fmla="*/ 755448 h 5973007"/>
              <a:gd name="connsiteX68127" fmla="*/ 3133215 w 6884782"/>
              <a:gd name="connsiteY68127" fmla="*/ 760712 h 5973007"/>
              <a:gd name="connsiteX68128" fmla="*/ 3139404 w 6884782"/>
              <a:gd name="connsiteY68128" fmla="*/ 753741 h 5973007"/>
              <a:gd name="connsiteX68129" fmla="*/ 3152423 w 6884782"/>
              <a:gd name="connsiteY68129" fmla="*/ 745347 h 5973007"/>
              <a:gd name="connsiteX68130" fmla="*/ 3155411 w 6884782"/>
              <a:gd name="connsiteY68130" fmla="*/ 746770 h 5973007"/>
              <a:gd name="connsiteX68131" fmla="*/ 3143459 w 6884782"/>
              <a:gd name="connsiteY68131" fmla="*/ 762135 h 5973007"/>
              <a:gd name="connsiteX68132" fmla="*/ 3138977 w 6884782"/>
              <a:gd name="connsiteY68132" fmla="*/ 765265 h 5973007"/>
              <a:gd name="connsiteX68133" fmla="*/ 3144099 w 6884782"/>
              <a:gd name="connsiteY68133" fmla="*/ 769106 h 5973007"/>
              <a:gd name="connsiteX68134" fmla="*/ 3165655 w 6884782"/>
              <a:gd name="connsiteY68134" fmla="*/ 793434 h 5973007"/>
              <a:gd name="connsiteX68135" fmla="*/ 3173338 w 6884782"/>
              <a:gd name="connsiteY68135" fmla="*/ 791584 h 5973007"/>
              <a:gd name="connsiteX68136" fmla="*/ 3180168 w 6884782"/>
              <a:gd name="connsiteY68136" fmla="*/ 801828 h 5973007"/>
              <a:gd name="connsiteX68137" fmla="*/ 3191052 w 6884782"/>
              <a:gd name="connsiteY68137" fmla="*/ 805811 h 5973007"/>
              <a:gd name="connsiteX68138" fmla="*/ 3198735 w 6884782"/>
              <a:gd name="connsiteY68138" fmla="*/ 815770 h 5973007"/>
              <a:gd name="connsiteX68139" fmla="*/ 3193186 w 6884782"/>
              <a:gd name="connsiteY68139" fmla="*/ 817620 h 5973007"/>
              <a:gd name="connsiteX68140" fmla="*/ 3195534 w 6884782"/>
              <a:gd name="connsiteY68140" fmla="*/ 820323 h 5973007"/>
              <a:gd name="connsiteX68141" fmla="*/ 3206632 w 6884782"/>
              <a:gd name="connsiteY68141" fmla="*/ 831989 h 5973007"/>
              <a:gd name="connsiteX68142" fmla="*/ 3216876 w 6884782"/>
              <a:gd name="connsiteY68142" fmla="*/ 842516 h 5973007"/>
              <a:gd name="connsiteX68143" fmla="*/ 3237578 w 6884782"/>
              <a:gd name="connsiteY68143" fmla="*/ 864284 h 5973007"/>
              <a:gd name="connsiteX68144" fmla="*/ 3243980 w 6884782"/>
              <a:gd name="connsiteY68144" fmla="*/ 871681 h 5973007"/>
              <a:gd name="connsiteX68145" fmla="*/ 3246968 w 6884782"/>
              <a:gd name="connsiteY68145" fmla="*/ 871966 h 5973007"/>
              <a:gd name="connsiteX68146" fmla="*/ 3245901 w 6884782"/>
              <a:gd name="connsiteY68146" fmla="*/ 873816 h 5973007"/>
              <a:gd name="connsiteX68147" fmla="*/ 3247181 w 6884782"/>
              <a:gd name="connsiteY68147" fmla="*/ 875380 h 5973007"/>
              <a:gd name="connsiteX68148" fmla="*/ 3256358 w 6884782"/>
              <a:gd name="connsiteY68148" fmla="*/ 887758 h 5973007"/>
              <a:gd name="connsiteX68149" fmla="*/ 3253584 w 6884782"/>
              <a:gd name="connsiteY68149" fmla="*/ 888327 h 5973007"/>
              <a:gd name="connsiteX68150" fmla="*/ 3254438 w 6884782"/>
              <a:gd name="connsiteY68150" fmla="*/ 889323 h 5973007"/>
              <a:gd name="connsiteX68151" fmla="*/ 3254011 w 6884782"/>
              <a:gd name="connsiteY68151" fmla="*/ 892026 h 5973007"/>
              <a:gd name="connsiteX68152" fmla="*/ 3253157 w 6884782"/>
              <a:gd name="connsiteY68152" fmla="*/ 892168 h 5973007"/>
              <a:gd name="connsiteX68153" fmla="*/ 3261053 w 6884782"/>
              <a:gd name="connsiteY68153" fmla="*/ 896294 h 5973007"/>
              <a:gd name="connsiteX68154" fmla="*/ 3274712 w 6884782"/>
              <a:gd name="connsiteY68154" fmla="*/ 901843 h 5973007"/>
              <a:gd name="connsiteX68155" fmla="*/ 3286024 w 6884782"/>
              <a:gd name="connsiteY68155" fmla="*/ 922187 h 5973007"/>
              <a:gd name="connsiteX68156" fmla="*/ 3287091 w 6884782"/>
              <a:gd name="connsiteY68156" fmla="*/ 922472 h 5973007"/>
              <a:gd name="connsiteX68157" fmla="*/ 3287091 w 6884782"/>
              <a:gd name="connsiteY68157" fmla="*/ 922329 h 5973007"/>
              <a:gd name="connsiteX68158" fmla="*/ 3290719 w 6884782"/>
              <a:gd name="connsiteY68158" fmla="*/ 923041 h 5973007"/>
              <a:gd name="connsiteX68159" fmla="*/ 3293707 w 6884782"/>
              <a:gd name="connsiteY68159" fmla="*/ 922187 h 5973007"/>
              <a:gd name="connsiteX68160" fmla="*/ 3315475 w 6884782"/>
              <a:gd name="connsiteY68160" fmla="*/ 961027 h 5973007"/>
              <a:gd name="connsiteX68161" fmla="*/ 3317396 w 6884782"/>
              <a:gd name="connsiteY68161" fmla="*/ 978241 h 5973007"/>
              <a:gd name="connsiteX68162" fmla="*/ 3322732 w 6884782"/>
              <a:gd name="connsiteY68162" fmla="*/ 985924 h 5973007"/>
              <a:gd name="connsiteX68163" fmla="*/ 3324013 w 6884782"/>
              <a:gd name="connsiteY68163" fmla="*/ 986635 h 5973007"/>
              <a:gd name="connsiteX68164" fmla="*/ 3323799 w 6884782"/>
              <a:gd name="connsiteY68164" fmla="*/ 988769 h 5973007"/>
              <a:gd name="connsiteX68165" fmla="*/ 3324013 w 6884782"/>
              <a:gd name="connsiteY68165" fmla="*/ 989053 h 5973007"/>
              <a:gd name="connsiteX68166" fmla="*/ 3324439 w 6884782"/>
              <a:gd name="connsiteY68166" fmla="*/ 988200 h 5973007"/>
              <a:gd name="connsiteX68167" fmla="*/ 3331055 w 6884782"/>
              <a:gd name="connsiteY68167" fmla="*/ 989196 h 5973007"/>
              <a:gd name="connsiteX68168" fmla="*/ 3332336 w 6884782"/>
              <a:gd name="connsiteY68168" fmla="*/ 989765 h 5973007"/>
              <a:gd name="connsiteX68169" fmla="*/ 3334684 w 6884782"/>
              <a:gd name="connsiteY68169" fmla="*/ 987488 h 5973007"/>
              <a:gd name="connsiteX68170" fmla="*/ 3335324 w 6884782"/>
              <a:gd name="connsiteY68170" fmla="*/ 990903 h 5973007"/>
              <a:gd name="connsiteX68171" fmla="*/ 3336391 w 6884782"/>
              <a:gd name="connsiteY68171" fmla="*/ 991330 h 5973007"/>
              <a:gd name="connsiteX68172" fmla="*/ 3335537 w 6884782"/>
              <a:gd name="connsiteY68172" fmla="*/ 998728 h 5973007"/>
              <a:gd name="connsiteX68173" fmla="*/ 3334470 w 6884782"/>
              <a:gd name="connsiteY68173" fmla="*/ 1000293 h 5973007"/>
              <a:gd name="connsiteX68174" fmla="*/ 3335537 w 6884782"/>
              <a:gd name="connsiteY68174" fmla="*/ 1005272 h 5973007"/>
              <a:gd name="connsiteX68175" fmla="*/ 3338312 w 6884782"/>
              <a:gd name="connsiteY68175" fmla="*/ 1008686 h 5973007"/>
              <a:gd name="connsiteX68176" fmla="*/ 3340446 w 6884782"/>
              <a:gd name="connsiteY68176" fmla="*/ 1009256 h 5973007"/>
              <a:gd name="connsiteX68177" fmla="*/ 3343433 w 6884782"/>
              <a:gd name="connsiteY68177" fmla="*/ 1007691 h 5973007"/>
              <a:gd name="connsiteX68178" fmla="*/ 3346848 w 6884782"/>
              <a:gd name="connsiteY68178" fmla="*/ 1007691 h 5973007"/>
              <a:gd name="connsiteX68179" fmla="*/ 3351117 w 6884782"/>
              <a:gd name="connsiteY68179" fmla="*/ 1011959 h 5973007"/>
              <a:gd name="connsiteX68180" fmla="*/ 3350903 w 6884782"/>
              <a:gd name="connsiteY68180" fmla="*/ 1018787 h 5973007"/>
              <a:gd name="connsiteX68181" fmla="*/ 3345355 w 6884782"/>
              <a:gd name="connsiteY68181" fmla="*/ 1024336 h 5973007"/>
              <a:gd name="connsiteX68182" fmla="*/ 3345568 w 6884782"/>
              <a:gd name="connsiteY68182" fmla="*/ 1024478 h 5973007"/>
              <a:gd name="connsiteX68183" fmla="*/ 3341940 w 6884782"/>
              <a:gd name="connsiteY68183" fmla="*/ 1029458 h 5973007"/>
              <a:gd name="connsiteX68184" fmla="*/ 3342793 w 6884782"/>
              <a:gd name="connsiteY68184" fmla="*/ 1035860 h 5973007"/>
              <a:gd name="connsiteX68185" fmla="*/ 3344501 w 6884782"/>
              <a:gd name="connsiteY68185" fmla="*/ 1036856 h 5973007"/>
              <a:gd name="connsiteX68186" fmla="*/ 3349409 w 6884782"/>
              <a:gd name="connsiteY68186" fmla="*/ 1034153 h 5973007"/>
              <a:gd name="connsiteX68187" fmla="*/ 3352611 w 6884782"/>
              <a:gd name="connsiteY68187" fmla="*/ 1035717 h 5973007"/>
              <a:gd name="connsiteX68188" fmla="*/ 3356452 w 6884782"/>
              <a:gd name="connsiteY68188" fmla="*/ 1042262 h 5973007"/>
              <a:gd name="connsiteX68189" fmla="*/ 3357946 w 6884782"/>
              <a:gd name="connsiteY68189" fmla="*/ 1056204 h 5973007"/>
              <a:gd name="connsiteX68190" fmla="*/ 3357092 w 6884782"/>
              <a:gd name="connsiteY68190" fmla="*/ 1059192 h 5973007"/>
              <a:gd name="connsiteX68191" fmla="*/ 3358159 w 6884782"/>
              <a:gd name="connsiteY68191" fmla="*/ 1058481 h 5973007"/>
              <a:gd name="connsiteX68192" fmla="*/ 3366910 w 6884782"/>
              <a:gd name="connsiteY68192" fmla="*/ 1068013 h 5973007"/>
              <a:gd name="connsiteX68193" fmla="*/ 3363709 w 6884782"/>
              <a:gd name="connsiteY68193" fmla="*/ 1073277 h 5973007"/>
              <a:gd name="connsiteX68194" fmla="*/ 3365202 w 6884782"/>
              <a:gd name="connsiteY68194" fmla="*/ 1073561 h 5973007"/>
              <a:gd name="connsiteX68195" fmla="*/ 3367123 w 6884782"/>
              <a:gd name="connsiteY68195" fmla="*/ 1076407 h 5973007"/>
              <a:gd name="connsiteX68196" fmla="*/ 3369044 w 6884782"/>
              <a:gd name="connsiteY68196" fmla="*/ 1085228 h 5973007"/>
              <a:gd name="connsiteX68197" fmla="*/ 3366910 w 6884782"/>
              <a:gd name="connsiteY68197" fmla="*/ 1084516 h 5973007"/>
              <a:gd name="connsiteX68198" fmla="*/ 3367977 w 6884782"/>
              <a:gd name="connsiteY68198" fmla="*/ 1088215 h 5973007"/>
              <a:gd name="connsiteX68199" fmla="*/ 3373953 w 6884782"/>
              <a:gd name="connsiteY68199" fmla="*/ 1089922 h 5973007"/>
              <a:gd name="connsiteX68200" fmla="*/ 3373099 w 6884782"/>
              <a:gd name="connsiteY68200" fmla="*/ 1088926 h 5973007"/>
              <a:gd name="connsiteX68201" fmla="*/ 3372245 w 6884782"/>
              <a:gd name="connsiteY68201" fmla="*/ 1077544 h 5973007"/>
              <a:gd name="connsiteX68202" fmla="*/ 3373953 w 6884782"/>
              <a:gd name="connsiteY68202" fmla="*/ 1074557 h 5973007"/>
              <a:gd name="connsiteX68203" fmla="*/ 3372886 w 6884782"/>
              <a:gd name="connsiteY68203" fmla="*/ 1074699 h 5973007"/>
              <a:gd name="connsiteX68204" fmla="*/ 3369257 w 6884782"/>
              <a:gd name="connsiteY68204" fmla="*/ 1063033 h 5973007"/>
              <a:gd name="connsiteX68205" fmla="*/ 3376087 w 6884782"/>
              <a:gd name="connsiteY68205" fmla="*/ 1061326 h 5973007"/>
              <a:gd name="connsiteX68206" fmla="*/ 3375233 w 6884782"/>
              <a:gd name="connsiteY68206" fmla="*/ 1056489 h 5973007"/>
              <a:gd name="connsiteX68207" fmla="*/ 3380142 w 6884782"/>
              <a:gd name="connsiteY68207" fmla="*/ 1055777 h 5973007"/>
              <a:gd name="connsiteX68208" fmla="*/ 3382276 w 6884782"/>
              <a:gd name="connsiteY68208" fmla="*/ 1056773 h 5973007"/>
              <a:gd name="connsiteX68209" fmla="*/ 3381849 w 6884782"/>
              <a:gd name="connsiteY68209" fmla="*/ 1059619 h 5973007"/>
              <a:gd name="connsiteX68210" fmla="*/ 3380569 w 6884782"/>
              <a:gd name="connsiteY68210" fmla="*/ 1060899 h 5973007"/>
              <a:gd name="connsiteX68211" fmla="*/ 3388252 w 6884782"/>
              <a:gd name="connsiteY68211" fmla="*/ 1062038 h 5973007"/>
              <a:gd name="connsiteX68212" fmla="*/ 3379715 w 6884782"/>
              <a:gd name="connsiteY68212" fmla="*/ 1073988 h 5973007"/>
              <a:gd name="connsiteX68213" fmla="*/ 3375660 w 6884782"/>
              <a:gd name="connsiteY68213" fmla="*/ 1074415 h 5973007"/>
              <a:gd name="connsiteX68214" fmla="*/ 3384624 w 6884782"/>
              <a:gd name="connsiteY68214" fmla="*/ 1080674 h 5973007"/>
              <a:gd name="connsiteX68215" fmla="*/ 3395295 w 6884782"/>
              <a:gd name="connsiteY68215" fmla="*/ 1086081 h 5973007"/>
              <a:gd name="connsiteX68216" fmla="*/ 3395081 w 6884782"/>
              <a:gd name="connsiteY68216" fmla="*/ 1086792 h 5973007"/>
              <a:gd name="connsiteX68217" fmla="*/ 3405112 w 6884782"/>
              <a:gd name="connsiteY68217" fmla="*/ 1084089 h 5973007"/>
              <a:gd name="connsiteX68218" fmla="*/ 3412368 w 6884782"/>
              <a:gd name="connsiteY68218" fmla="*/ 1083235 h 5973007"/>
              <a:gd name="connsiteX68219" fmla="*/ 3411728 w 6884782"/>
              <a:gd name="connsiteY68219" fmla="*/ 1082808 h 5973007"/>
              <a:gd name="connsiteX68220" fmla="*/ 3410234 w 6884782"/>
              <a:gd name="connsiteY68220" fmla="*/ 1069720 h 5973007"/>
              <a:gd name="connsiteX68221" fmla="*/ 3417704 w 6884782"/>
              <a:gd name="connsiteY68221" fmla="*/ 1061468 h 5973007"/>
              <a:gd name="connsiteX68222" fmla="*/ 3415356 w 6884782"/>
              <a:gd name="connsiteY68222" fmla="*/ 1053928 h 5973007"/>
              <a:gd name="connsiteX68223" fmla="*/ 3417064 w 6884782"/>
              <a:gd name="connsiteY68223" fmla="*/ 1045961 h 5973007"/>
              <a:gd name="connsiteX68224" fmla="*/ 3413009 w 6884782"/>
              <a:gd name="connsiteY68224" fmla="*/ 1039274 h 5973007"/>
              <a:gd name="connsiteX68225" fmla="*/ 3417704 w 6884782"/>
              <a:gd name="connsiteY68225" fmla="*/ 1037282 h 5973007"/>
              <a:gd name="connsiteX68226" fmla="*/ 3420052 w 6884782"/>
              <a:gd name="connsiteY68226" fmla="*/ 1038705 h 5973007"/>
              <a:gd name="connsiteX68227" fmla="*/ 3427094 w 6884782"/>
              <a:gd name="connsiteY68227" fmla="*/ 1030311 h 5973007"/>
              <a:gd name="connsiteX68228" fmla="*/ 3439686 w 6884782"/>
              <a:gd name="connsiteY68228" fmla="*/ 1023198 h 5973007"/>
              <a:gd name="connsiteX68229" fmla="*/ 3453558 w 6884782"/>
              <a:gd name="connsiteY68229" fmla="*/ 1021491 h 5973007"/>
              <a:gd name="connsiteX68230" fmla="*/ 3456546 w 6884782"/>
              <a:gd name="connsiteY68230" fmla="*/ 1016227 h 5973007"/>
              <a:gd name="connsiteX68231" fmla="*/ 3480876 w 6884782"/>
              <a:gd name="connsiteY68231" fmla="*/ 1011532 h 5973007"/>
              <a:gd name="connsiteX68232" fmla="*/ 3498376 w 6884782"/>
              <a:gd name="connsiteY68232" fmla="*/ 1024905 h 5973007"/>
              <a:gd name="connsiteX68233" fmla="*/ 3497523 w 6884782"/>
              <a:gd name="connsiteY68233" fmla="*/ 1032161 h 5973007"/>
              <a:gd name="connsiteX68234" fmla="*/ 3487278 w 6884782"/>
              <a:gd name="connsiteY68234" fmla="*/ 1039274 h 5973007"/>
              <a:gd name="connsiteX68235" fmla="*/ 3489413 w 6884782"/>
              <a:gd name="connsiteY68235" fmla="*/ 1042262 h 5973007"/>
              <a:gd name="connsiteX68236" fmla="*/ 3494108 w 6884782"/>
              <a:gd name="connsiteY68236" fmla="*/ 1058623 h 5973007"/>
              <a:gd name="connsiteX68237" fmla="*/ 3492614 w 6884782"/>
              <a:gd name="connsiteY68237" fmla="*/ 1059619 h 5973007"/>
              <a:gd name="connsiteX68238" fmla="*/ 3492827 w 6884782"/>
              <a:gd name="connsiteY68238" fmla="*/ 1059761 h 5973007"/>
              <a:gd name="connsiteX68239" fmla="*/ 3488773 w 6884782"/>
              <a:gd name="connsiteY68239" fmla="*/ 1063887 h 5973007"/>
              <a:gd name="connsiteX68240" fmla="*/ 3487492 w 6884782"/>
              <a:gd name="connsiteY68240" fmla="*/ 1063460 h 5973007"/>
              <a:gd name="connsiteX68241" fmla="*/ 3474900 w 6884782"/>
              <a:gd name="connsiteY68241" fmla="*/ 1072850 h 5973007"/>
              <a:gd name="connsiteX68242" fmla="*/ 3434991 w 6884782"/>
              <a:gd name="connsiteY68242" fmla="*/ 1078825 h 5973007"/>
              <a:gd name="connsiteX68243" fmla="*/ 3430936 w 6884782"/>
              <a:gd name="connsiteY68243" fmla="*/ 1076833 h 5973007"/>
              <a:gd name="connsiteX68244" fmla="*/ 3430296 w 6884782"/>
              <a:gd name="connsiteY68244" fmla="*/ 1081386 h 5973007"/>
              <a:gd name="connsiteX68245" fmla="*/ 3429869 w 6884782"/>
              <a:gd name="connsiteY68245" fmla="*/ 1081671 h 5973007"/>
              <a:gd name="connsiteX68246" fmla="*/ 3436698 w 6884782"/>
              <a:gd name="connsiteY68246" fmla="*/ 1081101 h 5973007"/>
              <a:gd name="connsiteX68247" fmla="*/ 3436911 w 6884782"/>
              <a:gd name="connsiteY68247" fmla="*/ 1086934 h 5973007"/>
              <a:gd name="connsiteX68248" fmla="*/ 3436271 w 6884782"/>
              <a:gd name="connsiteY68248" fmla="*/ 1090349 h 5973007"/>
              <a:gd name="connsiteX68249" fmla="*/ 3437765 w 6884782"/>
              <a:gd name="connsiteY68249" fmla="*/ 1090349 h 5973007"/>
              <a:gd name="connsiteX68250" fmla="*/ 3439472 w 6884782"/>
              <a:gd name="connsiteY68250" fmla="*/ 1097035 h 5973007"/>
              <a:gd name="connsiteX68251" fmla="*/ 3438619 w 6884782"/>
              <a:gd name="connsiteY68251" fmla="*/ 1098885 h 5973007"/>
              <a:gd name="connsiteX68252" fmla="*/ 3444594 w 6884782"/>
              <a:gd name="connsiteY68252" fmla="*/ 1098458 h 5973007"/>
              <a:gd name="connsiteX68253" fmla="*/ 3449717 w 6884782"/>
              <a:gd name="connsiteY68253" fmla="*/ 1100592 h 5973007"/>
              <a:gd name="connsiteX68254" fmla="*/ 3450997 w 6884782"/>
              <a:gd name="connsiteY68254" fmla="*/ 1103153 h 5973007"/>
              <a:gd name="connsiteX68255" fmla="*/ 3452705 w 6884782"/>
              <a:gd name="connsiteY68255" fmla="*/ 1100876 h 5973007"/>
              <a:gd name="connsiteX68256" fmla="*/ 3459321 w 6884782"/>
              <a:gd name="connsiteY68256" fmla="*/ 1098031 h 5973007"/>
              <a:gd name="connsiteX68257" fmla="*/ 3466790 w 6884782"/>
              <a:gd name="connsiteY68257" fmla="*/ 1098743 h 5973007"/>
              <a:gd name="connsiteX68258" fmla="*/ 3462522 w 6884782"/>
              <a:gd name="connsiteY68258" fmla="*/ 1105571 h 5973007"/>
              <a:gd name="connsiteX68259" fmla="*/ 3452064 w 6884782"/>
              <a:gd name="connsiteY68259" fmla="*/ 1106568 h 5973007"/>
              <a:gd name="connsiteX68260" fmla="*/ 3450997 w 6884782"/>
              <a:gd name="connsiteY68260" fmla="*/ 1104718 h 5973007"/>
              <a:gd name="connsiteX68261" fmla="*/ 3449717 w 6884782"/>
              <a:gd name="connsiteY68261" fmla="*/ 1109697 h 5973007"/>
              <a:gd name="connsiteX68262" fmla="*/ 3434351 w 6884782"/>
              <a:gd name="connsiteY68262" fmla="*/ 1119941 h 5973007"/>
              <a:gd name="connsiteX68263" fmla="*/ 3432643 w 6884782"/>
              <a:gd name="connsiteY68263" fmla="*/ 1107563 h 5973007"/>
              <a:gd name="connsiteX68264" fmla="*/ 3434137 w 6884782"/>
              <a:gd name="connsiteY68264" fmla="*/ 1102015 h 5973007"/>
              <a:gd name="connsiteX68265" fmla="*/ 3433710 w 6884782"/>
              <a:gd name="connsiteY68265" fmla="*/ 1102015 h 5973007"/>
              <a:gd name="connsiteX68266" fmla="*/ 3429015 w 6884782"/>
              <a:gd name="connsiteY68266" fmla="*/ 1100307 h 5973007"/>
              <a:gd name="connsiteX68267" fmla="*/ 3425173 w 6884782"/>
              <a:gd name="connsiteY68267" fmla="*/ 1094902 h 5973007"/>
              <a:gd name="connsiteX68268" fmla="*/ 3405752 w 6884782"/>
              <a:gd name="connsiteY68268" fmla="*/ 1095612 h 5973007"/>
              <a:gd name="connsiteX68269" fmla="*/ 3400203 w 6884782"/>
              <a:gd name="connsiteY68269" fmla="*/ 1099454 h 5973007"/>
              <a:gd name="connsiteX68270" fmla="*/ 3395295 w 6884782"/>
              <a:gd name="connsiteY68270" fmla="*/ 1098031 h 5973007"/>
              <a:gd name="connsiteX68271" fmla="*/ 3395935 w 6884782"/>
              <a:gd name="connsiteY68271" fmla="*/ 1096182 h 5973007"/>
              <a:gd name="connsiteX68272" fmla="*/ 3391453 w 6884782"/>
              <a:gd name="connsiteY68272" fmla="*/ 1096609 h 5973007"/>
              <a:gd name="connsiteX68273" fmla="*/ 3382489 w 6884782"/>
              <a:gd name="connsiteY68273" fmla="*/ 1096324 h 5973007"/>
              <a:gd name="connsiteX68274" fmla="*/ 3382916 w 6884782"/>
              <a:gd name="connsiteY68274" fmla="*/ 1097035 h 5973007"/>
              <a:gd name="connsiteX68275" fmla="*/ 3382916 w 6884782"/>
              <a:gd name="connsiteY68275" fmla="*/ 1108702 h 5973007"/>
              <a:gd name="connsiteX68276" fmla="*/ 3382916 w 6884782"/>
              <a:gd name="connsiteY68276" fmla="*/ 1108986 h 5973007"/>
              <a:gd name="connsiteX68277" fmla="*/ 3386971 w 6884782"/>
              <a:gd name="connsiteY68277" fmla="*/ 1107705 h 5973007"/>
              <a:gd name="connsiteX68278" fmla="*/ 3391453 w 6884782"/>
              <a:gd name="connsiteY68278" fmla="*/ 1109840 h 5973007"/>
              <a:gd name="connsiteX68279" fmla="*/ 3392520 w 6884782"/>
              <a:gd name="connsiteY68279" fmla="*/ 1114107 h 5973007"/>
              <a:gd name="connsiteX68280" fmla="*/ 3386117 w 6884782"/>
              <a:gd name="connsiteY68280" fmla="*/ 1116242 h 5973007"/>
              <a:gd name="connsiteX68281" fmla="*/ 3385477 w 6884782"/>
              <a:gd name="connsiteY68281" fmla="*/ 1116099 h 5973007"/>
              <a:gd name="connsiteX68282" fmla="*/ 3385904 w 6884782"/>
              <a:gd name="connsiteY68282" fmla="*/ 1117238 h 5973007"/>
              <a:gd name="connsiteX68283" fmla="*/ 3388892 w 6884782"/>
              <a:gd name="connsiteY68283" fmla="*/ 1121363 h 5973007"/>
              <a:gd name="connsiteX68284" fmla="*/ 3389105 w 6884782"/>
              <a:gd name="connsiteY68284" fmla="*/ 1121221 h 5973007"/>
              <a:gd name="connsiteX68285" fmla="*/ 3392093 w 6884782"/>
              <a:gd name="connsiteY68285" fmla="*/ 1120652 h 5973007"/>
              <a:gd name="connsiteX68286" fmla="*/ 3394014 w 6884782"/>
              <a:gd name="connsiteY68286" fmla="*/ 1122359 h 5973007"/>
              <a:gd name="connsiteX68287" fmla="*/ 3393587 w 6884782"/>
              <a:gd name="connsiteY68287" fmla="*/ 1123355 h 5973007"/>
              <a:gd name="connsiteX68288" fmla="*/ 3398923 w 6884782"/>
              <a:gd name="connsiteY68288" fmla="*/ 1124067 h 5973007"/>
              <a:gd name="connsiteX68289" fmla="*/ 3402338 w 6884782"/>
              <a:gd name="connsiteY68289" fmla="*/ 1129188 h 5973007"/>
              <a:gd name="connsiteX68290" fmla="*/ 3400630 w 6884782"/>
              <a:gd name="connsiteY68290" fmla="*/ 1136017 h 5973007"/>
              <a:gd name="connsiteX68291" fmla="*/ 3399350 w 6884782"/>
              <a:gd name="connsiteY68291" fmla="*/ 1136586 h 5973007"/>
              <a:gd name="connsiteX68292" fmla="*/ 3399990 w 6884782"/>
              <a:gd name="connsiteY68292" fmla="*/ 1137582 h 5973007"/>
              <a:gd name="connsiteX68293" fmla="*/ 3402124 w 6884782"/>
              <a:gd name="connsiteY68293" fmla="*/ 1133741 h 5973007"/>
              <a:gd name="connsiteX68294" fmla="*/ 3406819 w 6884782"/>
              <a:gd name="connsiteY68294" fmla="*/ 1131465 h 5973007"/>
              <a:gd name="connsiteX68295" fmla="*/ 3408527 w 6884782"/>
              <a:gd name="connsiteY68295" fmla="*/ 1133029 h 5973007"/>
              <a:gd name="connsiteX68296" fmla="*/ 3410234 w 6884782"/>
              <a:gd name="connsiteY68296" fmla="*/ 1135448 h 5973007"/>
              <a:gd name="connsiteX68297" fmla="*/ 3410874 w 6884782"/>
              <a:gd name="connsiteY68297" fmla="*/ 1142135 h 5973007"/>
              <a:gd name="connsiteX68298" fmla="*/ 3407459 w 6884782"/>
              <a:gd name="connsiteY68298" fmla="*/ 1146403 h 5973007"/>
              <a:gd name="connsiteX68299" fmla="*/ 3405326 w 6884782"/>
              <a:gd name="connsiteY68299" fmla="*/ 1147541 h 5973007"/>
              <a:gd name="connsiteX68300" fmla="*/ 3403618 w 6884782"/>
              <a:gd name="connsiteY68300" fmla="*/ 1146545 h 5973007"/>
              <a:gd name="connsiteX68301" fmla="*/ 3403191 w 6884782"/>
              <a:gd name="connsiteY68301" fmla="*/ 1147257 h 5973007"/>
              <a:gd name="connsiteX68302" fmla="*/ 3399990 w 6884782"/>
              <a:gd name="connsiteY68302" fmla="*/ 1149248 h 5973007"/>
              <a:gd name="connsiteX68303" fmla="*/ 3398069 w 6884782"/>
              <a:gd name="connsiteY68303" fmla="*/ 1146972 h 5973007"/>
              <a:gd name="connsiteX68304" fmla="*/ 3397429 w 6884782"/>
              <a:gd name="connsiteY68304" fmla="*/ 1146118 h 5973007"/>
              <a:gd name="connsiteX68305" fmla="*/ 3399136 w 6884782"/>
              <a:gd name="connsiteY68305" fmla="*/ 1151809 h 5973007"/>
              <a:gd name="connsiteX68306" fmla="*/ 3406393 w 6884782"/>
              <a:gd name="connsiteY68306" fmla="*/ 1171727 h 5973007"/>
              <a:gd name="connsiteX68307" fmla="*/ 3409381 w 6884782"/>
              <a:gd name="connsiteY68307" fmla="*/ 1180690 h 5973007"/>
              <a:gd name="connsiteX68308" fmla="*/ 3410874 w 6884782"/>
              <a:gd name="connsiteY68308" fmla="*/ 1180263 h 5973007"/>
              <a:gd name="connsiteX68309" fmla="*/ 3412795 w 6884782"/>
              <a:gd name="connsiteY68309" fmla="*/ 1181116 h 5973007"/>
              <a:gd name="connsiteX68310" fmla="*/ 3412795 w 6884782"/>
              <a:gd name="connsiteY68310" fmla="*/ 1184246 h 5973007"/>
              <a:gd name="connsiteX68311" fmla="*/ 3411942 w 6884782"/>
              <a:gd name="connsiteY68311" fmla="*/ 1186949 h 5973007"/>
              <a:gd name="connsiteX68312" fmla="*/ 3411301 w 6884782"/>
              <a:gd name="connsiteY68312" fmla="*/ 1187092 h 5973007"/>
              <a:gd name="connsiteX68313" fmla="*/ 3412795 w 6884782"/>
              <a:gd name="connsiteY68313" fmla="*/ 1191360 h 5973007"/>
              <a:gd name="connsiteX68314" fmla="*/ 3418557 w 6884782"/>
              <a:gd name="connsiteY68314" fmla="*/ 1211846 h 5973007"/>
              <a:gd name="connsiteX68315" fmla="*/ 3425814 w 6884782"/>
              <a:gd name="connsiteY68315" fmla="*/ 1231622 h 5973007"/>
              <a:gd name="connsiteX68316" fmla="*/ 3433497 w 6884782"/>
              <a:gd name="connsiteY68316" fmla="*/ 1250544 h 5973007"/>
              <a:gd name="connsiteX68317" fmla="*/ 3442034 w 6884782"/>
              <a:gd name="connsiteY68317" fmla="*/ 1268896 h 5973007"/>
              <a:gd name="connsiteX68318" fmla="*/ 3448009 w 6884782"/>
              <a:gd name="connsiteY68318" fmla="*/ 1278001 h 5973007"/>
              <a:gd name="connsiteX68319" fmla="*/ 3449290 w 6884782"/>
              <a:gd name="connsiteY68319" fmla="*/ 1280420 h 5973007"/>
              <a:gd name="connsiteX68320" fmla="*/ 3451210 w 6884782"/>
              <a:gd name="connsiteY68320" fmla="*/ 1292371 h 5973007"/>
              <a:gd name="connsiteX68321" fmla="*/ 3452064 w 6884782"/>
              <a:gd name="connsiteY68321" fmla="*/ 1292655 h 5973007"/>
              <a:gd name="connsiteX68322" fmla="*/ 3452705 w 6884782"/>
              <a:gd name="connsiteY68322" fmla="*/ 1293936 h 5973007"/>
              <a:gd name="connsiteX68323" fmla="*/ 3455052 w 6884782"/>
              <a:gd name="connsiteY68323" fmla="*/ 1295643 h 5973007"/>
              <a:gd name="connsiteX68324" fmla="*/ 3459321 w 6884782"/>
              <a:gd name="connsiteY68324" fmla="*/ 1291801 h 5973007"/>
              <a:gd name="connsiteX68325" fmla="*/ 3458467 w 6884782"/>
              <a:gd name="connsiteY68325" fmla="*/ 1291517 h 5973007"/>
              <a:gd name="connsiteX68326" fmla="*/ 3458680 w 6884782"/>
              <a:gd name="connsiteY68326" fmla="*/ 1290664 h 5973007"/>
              <a:gd name="connsiteX68327" fmla="*/ 3457613 w 6884782"/>
              <a:gd name="connsiteY68327" fmla="*/ 1284119 h 5973007"/>
              <a:gd name="connsiteX68328" fmla="*/ 3453131 w 6884782"/>
              <a:gd name="connsiteY68328" fmla="*/ 1278286 h 5973007"/>
              <a:gd name="connsiteX68329" fmla="*/ 3455265 w 6884782"/>
              <a:gd name="connsiteY68329" fmla="*/ 1273164 h 5973007"/>
              <a:gd name="connsiteX68330" fmla="*/ 3459748 w 6884782"/>
              <a:gd name="connsiteY68330" fmla="*/ 1274018 h 5973007"/>
              <a:gd name="connsiteX68331" fmla="*/ 3464656 w 6884782"/>
              <a:gd name="connsiteY68331" fmla="*/ 1283835 h 5973007"/>
              <a:gd name="connsiteX68332" fmla="*/ 3463589 w 6884782"/>
              <a:gd name="connsiteY68332" fmla="*/ 1286537 h 5973007"/>
              <a:gd name="connsiteX68333" fmla="*/ 3462522 w 6884782"/>
              <a:gd name="connsiteY68333" fmla="*/ 1286822 h 5973007"/>
              <a:gd name="connsiteX68334" fmla="*/ 3462949 w 6884782"/>
              <a:gd name="connsiteY68334" fmla="*/ 1289810 h 5973007"/>
              <a:gd name="connsiteX68335" fmla="*/ 3462736 w 6884782"/>
              <a:gd name="connsiteY68335" fmla="*/ 1290806 h 5973007"/>
              <a:gd name="connsiteX68336" fmla="*/ 3463589 w 6884782"/>
              <a:gd name="connsiteY68336" fmla="*/ 1291091 h 5973007"/>
              <a:gd name="connsiteX68337" fmla="*/ 3464229 w 6884782"/>
              <a:gd name="connsiteY68337" fmla="*/ 1292228 h 5973007"/>
              <a:gd name="connsiteX68338" fmla="*/ 3465296 w 6884782"/>
              <a:gd name="connsiteY68338" fmla="*/ 1294647 h 5973007"/>
              <a:gd name="connsiteX68339" fmla="*/ 3468284 w 6884782"/>
              <a:gd name="connsiteY68339" fmla="*/ 1297777 h 5973007"/>
              <a:gd name="connsiteX68340" fmla="*/ 3475540 w 6884782"/>
              <a:gd name="connsiteY68340" fmla="*/ 1297492 h 5973007"/>
              <a:gd name="connsiteX68341" fmla="*/ 3499444 w 6884782"/>
              <a:gd name="connsiteY68341" fmla="*/ 1305175 h 5973007"/>
              <a:gd name="connsiteX68342" fmla="*/ 3515236 w 6884782"/>
              <a:gd name="connsiteY68342" fmla="*/ 1331921 h 5973007"/>
              <a:gd name="connsiteX68343" fmla="*/ 3490053 w 6884782"/>
              <a:gd name="connsiteY68343" fmla="*/ 1389825 h 5973007"/>
              <a:gd name="connsiteX68344" fmla="*/ 3482370 w 6884782"/>
              <a:gd name="connsiteY68344" fmla="*/ 1391674 h 5973007"/>
              <a:gd name="connsiteX68345" fmla="*/ 3483437 w 6884782"/>
              <a:gd name="connsiteY68345" fmla="*/ 1406328 h 5973007"/>
              <a:gd name="connsiteX68346" fmla="*/ 3483437 w 6884782"/>
              <a:gd name="connsiteY68346" fmla="*/ 1408035 h 5973007"/>
              <a:gd name="connsiteX68347" fmla="*/ 3486425 w 6884782"/>
              <a:gd name="connsiteY68347" fmla="*/ 1408889 h 5973007"/>
              <a:gd name="connsiteX68348" fmla="*/ 3486638 w 6884782"/>
              <a:gd name="connsiteY68348" fmla="*/ 1407751 h 5973007"/>
              <a:gd name="connsiteX68349" fmla="*/ 3487065 w 6884782"/>
              <a:gd name="connsiteY68349" fmla="*/ 1409173 h 5973007"/>
              <a:gd name="connsiteX68350" fmla="*/ 3488986 w 6884782"/>
              <a:gd name="connsiteY68350" fmla="*/ 1409600 h 5973007"/>
              <a:gd name="connsiteX68351" fmla="*/ 3499870 w 6884782"/>
              <a:gd name="connsiteY68351" fmla="*/ 1418990 h 5973007"/>
              <a:gd name="connsiteX68352" fmla="*/ 3499444 w 6884782"/>
              <a:gd name="connsiteY68352" fmla="*/ 1422120 h 5973007"/>
              <a:gd name="connsiteX68353" fmla="*/ 3500084 w 6884782"/>
              <a:gd name="connsiteY68353" fmla="*/ 1420270 h 5973007"/>
              <a:gd name="connsiteX68354" fmla="*/ 3540633 w 6884782"/>
              <a:gd name="connsiteY68354" fmla="*/ 1399499 h 5973007"/>
              <a:gd name="connsiteX68355" fmla="*/ 3566670 w 6884782"/>
              <a:gd name="connsiteY68355" fmla="*/ 1410169 h 5973007"/>
              <a:gd name="connsiteX68356" fmla="*/ 3575207 w 6884782"/>
              <a:gd name="connsiteY68356" fmla="*/ 1426103 h 5973007"/>
              <a:gd name="connsiteX68357" fmla="*/ 3583317 w 6884782"/>
              <a:gd name="connsiteY68357" fmla="*/ 1437627 h 5973007"/>
              <a:gd name="connsiteX68358" fmla="*/ 3588440 w 6884782"/>
              <a:gd name="connsiteY68358" fmla="*/ 1439192 h 5973007"/>
              <a:gd name="connsiteX68359" fmla="*/ 3597190 w 6884782"/>
              <a:gd name="connsiteY68359" fmla="*/ 1456407 h 5973007"/>
              <a:gd name="connsiteX68360" fmla="*/ 3585878 w 6884782"/>
              <a:gd name="connsiteY68360" fmla="*/ 1464089 h 5973007"/>
              <a:gd name="connsiteX68361" fmla="*/ 3582250 w 6884782"/>
              <a:gd name="connsiteY68361" fmla="*/ 1465512 h 5973007"/>
              <a:gd name="connsiteX68362" fmla="*/ 3579049 w 6884782"/>
              <a:gd name="connsiteY68362" fmla="*/ 1483438 h 5973007"/>
              <a:gd name="connsiteX68363" fmla="*/ 3568378 w 6884782"/>
              <a:gd name="connsiteY68363" fmla="*/ 1488275 h 5973007"/>
              <a:gd name="connsiteX68364" fmla="*/ 3563683 w 6884782"/>
              <a:gd name="connsiteY68364" fmla="*/ 1491547 h 5973007"/>
              <a:gd name="connsiteX68365" fmla="*/ 3563256 w 6884782"/>
              <a:gd name="connsiteY68365" fmla="*/ 1494820 h 5973007"/>
              <a:gd name="connsiteX68366" fmla="*/ 3565177 w 6884782"/>
              <a:gd name="connsiteY68366" fmla="*/ 1498945 h 5973007"/>
              <a:gd name="connsiteX68367" fmla="*/ 3561975 w 6884782"/>
              <a:gd name="connsiteY68367" fmla="*/ 1502502 h 5973007"/>
              <a:gd name="connsiteX68368" fmla="*/ 3561122 w 6884782"/>
              <a:gd name="connsiteY68368" fmla="*/ 1508335 h 5973007"/>
              <a:gd name="connsiteX68369" fmla="*/ 3554292 w 6884782"/>
              <a:gd name="connsiteY68369" fmla="*/ 1519859 h 5973007"/>
              <a:gd name="connsiteX68370" fmla="*/ 3549384 w 6884782"/>
              <a:gd name="connsiteY68370" fmla="*/ 1524269 h 5973007"/>
              <a:gd name="connsiteX68371" fmla="*/ 3555146 w 6884782"/>
              <a:gd name="connsiteY68371" fmla="*/ 1528537 h 5973007"/>
              <a:gd name="connsiteX68372" fmla="*/ 3570512 w 6884782"/>
              <a:gd name="connsiteY68372" fmla="*/ 1549308 h 5973007"/>
              <a:gd name="connsiteX68373" fmla="*/ 3547249 w 6884782"/>
              <a:gd name="connsiteY68373" fmla="*/ 1527825 h 5973007"/>
              <a:gd name="connsiteX68374" fmla="*/ 3548103 w 6884782"/>
              <a:gd name="connsiteY68374" fmla="*/ 1525407 h 5973007"/>
              <a:gd name="connsiteX68375" fmla="*/ 3545329 w 6884782"/>
              <a:gd name="connsiteY68375" fmla="*/ 1527541 h 5973007"/>
              <a:gd name="connsiteX68376" fmla="*/ 3524414 w 6884782"/>
              <a:gd name="connsiteY68376" fmla="*/ 1542195 h 5973007"/>
              <a:gd name="connsiteX68377" fmla="*/ 3521426 w 6884782"/>
              <a:gd name="connsiteY68377" fmla="*/ 1540630 h 5973007"/>
              <a:gd name="connsiteX68378" fmla="*/ 3522493 w 6884782"/>
              <a:gd name="connsiteY68378" fmla="*/ 1541483 h 5973007"/>
              <a:gd name="connsiteX68379" fmla="*/ 3525694 w 6884782"/>
              <a:gd name="connsiteY68379" fmla="*/ 1544898 h 5973007"/>
              <a:gd name="connsiteX68380" fmla="*/ 3517157 w 6884782"/>
              <a:gd name="connsiteY68380" fmla="*/ 1539207 h 5973007"/>
              <a:gd name="connsiteX68381" fmla="*/ 3515877 w 6884782"/>
              <a:gd name="connsiteY68381" fmla="*/ 1537927 h 5973007"/>
              <a:gd name="connsiteX68382" fmla="*/ 3509688 w 6884782"/>
              <a:gd name="connsiteY68382" fmla="*/ 1537500 h 5973007"/>
              <a:gd name="connsiteX68383" fmla="*/ 3497523 w 6884782"/>
              <a:gd name="connsiteY68383" fmla="*/ 1540345 h 5973007"/>
              <a:gd name="connsiteX68384" fmla="*/ 3486852 w 6884782"/>
              <a:gd name="connsiteY68384" fmla="*/ 1527683 h 5973007"/>
              <a:gd name="connsiteX68385" fmla="*/ 3476394 w 6884782"/>
              <a:gd name="connsiteY68385" fmla="*/ 1518294 h 5973007"/>
              <a:gd name="connsiteX68386" fmla="*/ 3476607 w 6884782"/>
              <a:gd name="connsiteY68386" fmla="*/ 1519147 h 5973007"/>
              <a:gd name="connsiteX68387" fmla="*/ 3465510 w 6884782"/>
              <a:gd name="connsiteY68387" fmla="*/ 1531383 h 5973007"/>
              <a:gd name="connsiteX68388" fmla="*/ 3469778 w 6884782"/>
              <a:gd name="connsiteY68388" fmla="*/ 1553434 h 5973007"/>
              <a:gd name="connsiteX68389" fmla="*/ 3476607 w 6884782"/>
              <a:gd name="connsiteY68389" fmla="*/ 1539919 h 5973007"/>
              <a:gd name="connsiteX68390" fmla="*/ 3475967 w 6884782"/>
              <a:gd name="connsiteY68390" fmla="*/ 1520997 h 5973007"/>
              <a:gd name="connsiteX68391" fmla="*/ 3478955 w 6884782"/>
              <a:gd name="connsiteY68391" fmla="*/ 1553149 h 5973007"/>
              <a:gd name="connsiteX68392" fmla="*/ 3478742 w 6884782"/>
              <a:gd name="connsiteY68392" fmla="*/ 1557986 h 5973007"/>
              <a:gd name="connsiteX68393" fmla="*/ 3478528 w 6884782"/>
              <a:gd name="connsiteY68393" fmla="*/ 1560690 h 5973007"/>
              <a:gd name="connsiteX68394" fmla="*/ 3487278 w 6884782"/>
              <a:gd name="connsiteY68394" fmla="*/ 1559125 h 5973007"/>
              <a:gd name="connsiteX68395" fmla="*/ 3487278 w 6884782"/>
              <a:gd name="connsiteY68395" fmla="*/ 1558414 h 5973007"/>
              <a:gd name="connsiteX68396" fmla="*/ 3483223 w 6884782"/>
              <a:gd name="connsiteY68396" fmla="*/ 1559409 h 5973007"/>
              <a:gd name="connsiteX68397" fmla="*/ 3478742 w 6884782"/>
              <a:gd name="connsiteY68397" fmla="*/ 1557986 h 5973007"/>
              <a:gd name="connsiteX68398" fmla="*/ 3483864 w 6884782"/>
              <a:gd name="connsiteY68398" fmla="*/ 1555710 h 5973007"/>
              <a:gd name="connsiteX68399" fmla="*/ 3486211 w 6884782"/>
              <a:gd name="connsiteY68399" fmla="*/ 1555141 h 5973007"/>
              <a:gd name="connsiteX68400" fmla="*/ 3487278 w 6884782"/>
              <a:gd name="connsiteY68400" fmla="*/ 1556991 h 5973007"/>
              <a:gd name="connsiteX68401" fmla="*/ 3487278 w 6884782"/>
              <a:gd name="connsiteY68401" fmla="*/ 1556422 h 5973007"/>
              <a:gd name="connsiteX68402" fmla="*/ 3490694 w 6884782"/>
              <a:gd name="connsiteY68402" fmla="*/ 1549593 h 5973007"/>
              <a:gd name="connsiteX68403" fmla="*/ 3497736 w 6884782"/>
              <a:gd name="connsiteY68403" fmla="*/ 1557275 h 5973007"/>
              <a:gd name="connsiteX68404" fmla="*/ 3498803 w 6884782"/>
              <a:gd name="connsiteY68404" fmla="*/ 1557986 h 5973007"/>
              <a:gd name="connsiteX68405" fmla="*/ 3503925 w 6884782"/>
              <a:gd name="connsiteY68405" fmla="*/ 1558414 h 5973007"/>
              <a:gd name="connsiteX68406" fmla="*/ 3505420 w 6884782"/>
              <a:gd name="connsiteY68406" fmla="*/ 1558983 h 5973007"/>
              <a:gd name="connsiteX68407" fmla="*/ 3507767 w 6884782"/>
              <a:gd name="connsiteY68407" fmla="*/ 1557275 h 5973007"/>
              <a:gd name="connsiteX68408" fmla="*/ 3511395 w 6884782"/>
              <a:gd name="connsiteY68408" fmla="*/ 1556991 h 5973007"/>
              <a:gd name="connsiteX68409" fmla="*/ 3522279 w 6884782"/>
              <a:gd name="connsiteY68409" fmla="*/ 1563393 h 5973007"/>
              <a:gd name="connsiteX68410" fmla="*/ 3521426 w 6884782"/>
              <a:gd name="connsiteY68410" fmla="*/ 1562255 h 5973007"/>
              <a:gd name="connsiteX68411" fmla="*/ 3525481 w 6884782"/>
              <a:gd name="connsiteY68411" fmla="*/ 1545609 h 5973007"/>
              <a:gd name="connsiteX68412" fmla="*/ 3525694 w 6884782"/>
              <a:gd name="connsiteY68412" fmla="*/ 1545325 h 5973007"/>
              <a:gd name="connsiteX68413" fmla="*/ 3525481 w 6884782"/>
              <a:gd name="connsiteY68413" fmla="*/ 1545040 h 5973007"/>
              <a:gd name="connsiteX68414" fmla="*/ 3526121 w 6884782"/>
              <a:gd name="connsiteY68414" fmla="*/ 1544898 h 5973007"/>
              <a:gd name="connsiteX68415" fmla="*/ 3527615 w 6884782"/>
              <a:gd name="connsiteY68415" fmla="*/ 1543333 h 5973007"/>
              <a:gd name="connsiteX68416" fmla="*/ 3528895 w 6884782"/>
              <a:gd name="connsiteY68416" fmla="*/ 1547032 h 5973007"/>
              <a:gd name="connsiteX68417" fmla="*/ 3528469 w 6884782"/>
              <a:gd name="connsiteY68417" fmla="*/ 1548739 h 5973007"/>
              <a:gd name="connsiteX68418" fmla="*/ 3529322 w 6884782"/>
              <a:gd name="connsiteY68418" fmla="*/ 1549735 h 5973007"/>
              <a:gd name="connsiteX68419" fmla="*/ 3528255 w 6884782"/>
              <a:gd name="connsiteY68419" fmla="*/ 1550304 h 5973007"/>
              <a:gd name="connsiteX68420" fmla="*/ 3527828 w 6884782"/>
              <a:gd name="connsiteY68420" fmla="*/ 1553719 h 5973007"/>
              <a:gd name="connsiteX68421" fmla="*/ 3529109 w 6884782"/>
              <a:gd name="connsiteY68421" fmla="*/ 1561686 h 5973007"/>
              <a:gd name="connsiteX68422" fmla="*/ 3526334 w 6884782"/>
              <a:gd name="connsiteY68422" fmla="*/ 1569510 h 5973007"/>
              <a:gd name="connsiteX68423" fmla="*/ 3523133 w 6884782"/>
              <a:gd name="connsiteY68423" fmla="*/ 1568657 h 5973007"/>
              <a:gd name="connsiteX68424" fmla="*/ 3522706 w 6884782"/>
              <a:gd name="connsiteY68424" fmla="*/ 1571929 h 5973007"/>
              <a:gd name="connsiteX68425" fmla="*/ 3509901 w 6884782"/>
              <a:gd name="connsiteY68425" fmla="*/ 1578900 h 5973007"/>
              <a:gd name="connsiteX68426" fmla="*/ 3503712 w 6884782"/>
              <a:gd name="connsiteY68426" fmla="*/ 1575486 h 5973007"/>
              <a:gd name="connsiteX68427" fmla="*/ 3501151 w 6884782"/>
              <a:gd name="connsiteY68427" fmla="*/ 1571360 h 5973007"/>
              <a:gd name="connsiteX68428" fmla="*/ 3501151 w 6884782"/>
              <a:gd name="connsiteY68428" fmla="*/ 1571217 h 5973007"/>
              <a:gd name="connsiteX68429" fmla="*/ 3493894 w 6884782"/>
              <a:gd name="connsiteY68429" fmla="*/ 1568515 h 5973007"/>
              <a:gd name="connsiteX68430" fmla="*/ 3493041 w 6884782"/>
              <a:gd name="connsiteY68430" fmla="*/ 1567945 h 5973007"/>
              <a:gd name="connsiteX68431" fmla="*/ 3492614 w 6884782"/>
              <a:gd name="connsiteY68431" fmla="*/ 1567945 h 5973007"/>
              <a:gd name="connsiteX68432" fmla="*/ 3480023 w 6884782"/>
              <a:gd name="connsiteY68432" fmla="*/ 1564673 h 5973007"/>
              <a:gd name="connsiteX68433" fmla="*/ 3478528 w 6884782"/>
              <a:gd name="connsiteY68433" fmla="*/ 1562397 h 5973007"/>
              <a:gd name="connsiteX68434" fmla="*/ 3478102 w 6884782"/>
              <a:gd name="connsiteY68434" fmla="*/ 1569795 h 5973007"/>
              <a:gd name="connsiteX68435" fmla="*/ 3484078 w 6884782"/>
              <a:gd name="connsiteY68435" fmla="*/ 1581746 h 5973007"/>
              <a:gd name="connsiteX68436" fmla="*/ 3480876 w 6884782"/>
              <a:gd name="connsiteY68436" fmla="*/ 1598960 h 5973007"/>
              <a:gd name="connsiteX68437" fmla="*/ 3480449 w 6884782"/>
              <a:gd name="connsiteY68437" fmla="*/ 1600098 h 5973007"/>
              <a:gd name="connsiteX68438" fmla="*/ 3480876 w 6884782"/>
              <a:gd name="connsiteY68438" fmla="*/ 1600098 h 5973007"/>
              <a:gd name="connsiteX68439" fmla="*/ 3485358 w 6884782"/>
              <a:gd name="connsiteY68439" fmla="*/ 1604082 h 5973007"/>
              <a:gd name="connsiteX68440" fmla="*/ 3484931 w 6884782"/>
              <a:gd name="connsiteY68440" fmla="*/ 1606927 h 5973007"/>
              <a:gd name="connsiteX68441" fmla="*/ 3483864 w 6884782"/>
              <a:gd name="connsiteY68441" fmla="*/ 1607496 h 5973007"/>
              <a:gd name="connsiteX68442" fmla="*/ 3481943 w 6884782"/>
              <a:gd name="connsiteY68442" fmla="*/ 1608492 h 5973007"/>
              <a:gd name="connsiteX68443" fmla="*/ 3489840 w 6884782"/>
              <a:gd name="connsiteY68443" fmla="*/ 1612902 h 5973007"/>
              <a:gd name="connsiteX68444" fmla="*/ 3500297 w 6884782"/>
              <a:gd name="connsiteY68444" fmla="*/ 1628410 h 5973007"/>
              <a:gd name="connsiteX68445" fmla="*/ 3493468 w 6884782"/>
              <a:gd name="connsiteY68445" fmla="*/ 1634669 h 5973007"/>
              <a:gd name="connsiteX68446" fmla="*/ 3489626 w 6884782"/>
              <a:gd name="connsiteY68446" fmla="*/ 1633958 h 5973007"/>
              <a:gd name="connsiteX68447" fmla="*/ 3490053 w 6884782"/>
              <a:gd name="connsiteY68447" fmla="*/ 1635808 h 5973007"/>
              <a:gd name="connsiteX68448" fmla="*/ 3498803 w 6884782"/>
              <a:gd name="connsiteY68448" fmla="*/ 1635381 h 5973007"/>
              <a:gd name="connsiteX68449" fmla="*/ 3510115 w 6884782"/>
              <a:gd name="connsiteY68449" fmla="*/ 1637941 h 5973007"/>
              <a:gd name="connsiteX68450" fmla="*/ 3512035 w 6884782"/>
              <a:gd name="connsiteY68450" fmla="*/ 1631824 h 5973007"/>
              <a:gd name="connsiteX68451" fmla="*/ 3520786 w 6884782"/>
              <a:gd name="connsiteY68451" fmla="*/ 1627129 h 5973007"/>
              <a:gd name="connsiteX68452" fmla="*/ 3524414 w 6884782"/>
              <a:gd name="connsiteY68452" fmla="*/ 1635239 h 5973007"/>
              <a:gd name="connsiteX68453" fmla="*/ 3524627 w 6884782"/>
              <a:gd name="connsiteY68453" fmla="*/ 1632394 h 5973007"/>
              <a:gd name="connsiteX68454" fmla="*/ 3535938 w 6884782"/>
              <a:gd name="connsiteY68454" fmla="*/ 1628979 h 5973007"/>
              <a:gd name="connsiteX68455" fmla="*/ 3548103 w 6884782"/>
              <a:gd name="connsiteY68455" fmla="*/ 1640930 h 5973007"/>
              <a:gd name="connsiteX68456" fmla="*/ 3547890 w 6884782"/>
              <a:gd name="connsiteY68456" fmla="*/ 1642779 h 5973007"/>
              <a:gd name="connsiteX68457" fmla="*/ 3548317 w 6884782"/>
              <a:gd name="connsiteY68457" fmla="*/ 1642779 h 5973007"/>
              <a:gd name="connsiteX68458" fmla="*/ 3550664 w 6884782"/>
              <a:gd name="connsiteY68458" fmla="*/ 1642494 h 5973007"/>
              <a:gd name="connsiteX68459" fmla="*/ 3549170 w 6884782"/>
              <a:gd name="connsiteY68459" fmla="*/ 1641213 h 5973007"/>
              <a:gd name="connsiteX68460" fmla="*/ 3552372 w 6884782"/>
              <a:gd name="connsiteY68460" fmla="*/ 1639080 h 5973007"/>
              <a:gd name="connsiteX68461" fmla="*/ 3555146 w 6884782"/>
              <a:gd name="connsiteY68461" fmla="*/ 1636092 h 5973007"/>
              <a:gd name="connsiteX68462" fmla="*/ 3557067 w 6884782"/>
              <a:gd name="connsiteY68462" fmla="*/ 1635808 h 5973007"/>
              <a:gd name="connsiteX68463" fmla="*/ 3564323 w 6884782"/>
              <a:gd name="connsiteY68463" fmla="*/ 1630686 h 5973007"/>
              <a:gd name="connsiteX68464" fmla="*/ 3569445 w 6884782"/>
              <a:gd name="connsiteY68464" fmla="*/ 1629405 h 5973007"/>
              <a:gd name="connsiteX68465" fmla="*/ 3569445 w 6884782"/>
              <a:gd name="connsiteY68465" fmla="*/ 1629263 h 5973007"/>
              <a:gd name="connsiteX68466" fmla="*/ 3567524 w 6884782"/>
              <a:gd name="connsiteY68466" fmla="*/ 1622861 h 5973007"/>
              <a:gd name="connsiteX68467" fmla="*/ 3569445 w 6884782"/>
              <a:gd name="connsiteY68467" fmla="*/ 1619731 h 5973007"/>
              <a:gd name="connsiteX68468" fmla="*/ 3576701 w 6884782"/>
              <a:gd name="connsiteY68468" fmla="*/ 1619020 h 5973007"/>
              <a:gd name="connsiteX68469" fmla="*/ 3584171 w 6884782"/>
              <a:gd name="connsiteY68469" fmla="*/ 1623146 h 5973007"/>
              <a:gd name="connsiteX68470" fmla="*/ 3587586 w 6884782"/>
              <a:gd name="connsiteY68470" fmla="*/ 1627556 h 5973007"/>
              <a:gd name="connsiteX68471" fmla="*/ 3590147 w 6884782"/>
              <a:gd name="connsiteY68471" fmla="*/ 1627698 h 5973007"/>
              <a:gd name="connsiteX68472" fmla="*/ 3589080 w 6884782"/>
              <a:gd name="connsiteY68472" fmla="*/ 1631824 h 5973007"/>
              <a:gd name="connsiteX68473" fmla="*/ 3588866 w 6884782"/>
              <a:gd name="connsiteY68473" fmla="*/ 1635666 h 5973007"/>
              <a:gd name="connsiteX68474" fmla="*/ 3585238 w 6884782"/>
              <a:gd name="connsiteY68474" fmla="*/ 1638084 h 5973007"/>
              <a:gd name="connsiteX68475" fmla="*/ 3583957 w 6884782"/>
              <a:gd name="connsiteY68475" fmla="*/ 1637515 h 5973007"/>
              <a:gd name="connsiteX68476" fmla="*/ 3579262 w 6884782"/>
              <a:gd name="connsiteY68476" fmla="*/ 1639649 h 5973007"/>
              <a:gd name="connsiteX68477" fmla="*/ 3578195 w 6884782"/>
              <a:gd name="connsiteY68477" fmla="*/ 1641783 h 5973007"/>
              <a:gd name="connsiteX68478" fmla="*/ 3580117 w 6884782"/>
              <a:gd name="connsiteY68478" fmla="*/ 1645624 h 5973007"/>
              <a:gd name="connsiteX68479" fmla="*/ 3582037 w 6884782"/>
              <a:gd name="connsiteY68479" fmla="*/ 1647474 h 5973007"/>
              <a:gd name="connsiteX68480" fmla="*/ 3584812 w 6884782"/>
              <a:gd name="connsiteY68480" fmla="*/ 1646762 h 5973007"/>
              <a:gd name="connsiteX68481" fmla="*/ 3595483 w 6884782"/>
              <a:gd name="connsiteY68481" fmla="*/ 1646335 h 5973007"/>
              <a:gd name="connsiteX68482" fmla="*/ 3594628 w 6884782"/>
              <a:gd name="connsiteY68482" fmla="*/ 1647901 h 5973007"/>
              <a:gd name="connsiteX68483" fmla="*/ 3586305 w 6884782"/>
              <a:gd name="connsiteY68483" fmla="*/ 1649892 h 5973007"/>
              <a:gd name="connsiteX68484" fmla="*/ 3584598 w 6884782"/>
              <a:gd name="connsiteY68484" fmla="*/ 1650177 h 5973007"/>
              <a:gd name="connsiteX68485" fmla="*/ 3586519 w 6884782"/>
              <a:gd name="connsiteY68485" fmla="*/ 1652311 h 5973007"/>
              <a:gd name="connsiteX68486" fmla="*/ 3598044 w 6884782"/>
              <a:gd name="connsiteY68486" fmla="*/ 1666965 h 5973007"/>
              <a:gd name="connsiteX68487" fmla="*/ 3599111 w 6884782"/>
              <a:gd name="connsiteY68487" fmla="*/ 1672656 h 5973007"/>
              <a:gd name="connsiteX68488" fmla="*/ 3603379 w 6884782"/>
              <a:gd name="connsiteY68488" fmla="*/ 1668814 h 5973007"/>
              <a:gd name="connsiteX68489" fmla="*/ 3607647 w 6884782"/>
              <a:gd name="connsiteY68489" fmla="*/ 1664973 h 5973007"/>
              <a:gd name="connsiteX68490" fmla="*/ 3615757 w 6884782"/>
              <a:gd name="connsiteY68490" fmla="*/ 1658571 h 5973007"/>
              <a:gd name="connsiteX68491" fmla="*/ 3617038 w 6884782"/>
              <a:gd name="connsiteY68491" fmla="*/ 1655298 h 5973007"/>
              <a:gd name="connsiteX68492" fmla="*/ 3617678 w 6884782"/>
              <a:gd name="connsiteY68492" fmla="*/ 1654729 h 5973007"/>
              <a:gd name="connsiteX68493" fmla="*/ 3617678 w 6884782"/>
              <a:gd name="connsiteY68493" fmla="*/ 1653449 h 5973007"/>
              <a:gd name="connsiteX68494" fmla="*/ 3618745 w 6884782"/>
              <a:gd name="connsiteY68494" fmla="*/ 1653022 h 5973007"/>
              <a:gd name="connsiteX68495" fmla="*/ 3618532 w 6884782"/>
              <a:gd name="connsiteY68495" fmla="*/ 1654161 h 5973007"/>
              <a:gd name="connsiteX68496" fmla="*/ 3619813 w 6884782"/>
              <a:gd name="connsiteY68496" fmla="*/ 1653164 h 5973007"/>
              <a:gd name="connsiteX68497" fmla="*/ 3627709 w 6884782"/>
              <a:gd name="connsiteY68497" fmla="*/ 1658002 h 5973007"/>
              <a:gd name="connsiteX68498" fmla="*/ 3627495 w 6884782"/>
              <a:gd name="connsiteY68498" fmla="*/ 1665542 h 5973007"/>
              <a:gd name="connsiteX68499" fmla="*/ 3616397 w 6884782"/>
              <a:gd name="connsiteY68499" fmla="*/ 1663835 h 5973007"/>
              <a:gd name="connsiteX68500" fmla="*/ 3616184 w 6884782"/>
              <a:gd name="connsiteY68500" fmla="*/ 1663550 h 5973007"/>
              <a:gd name="connsiteX68501" fmla="*/ 3616184 w 6884782"/>
              <a:gd name="connsiteY68501" fmla="*/ 1663692 h 5973007"/>
              <a:gd name="connsiteX68502" fmla="*/ 3607220 w 6884782"/>
              <a:gd name="connsiteY68502" fmla="*/ 1671802 h 5973007"/>
              <a:gd name="connsiteX68503" fmla="*/ 3605086 w 6884782"/>
              <a:gd name="connsiteY68503" fmla="*/ 1673366 h 5973007"/>
              <a:gd name="connsiteX68504" fmla="*/ 3602739 w 6884782"/>
              <a:gd name="connsiteY68504" fmla="*/ 1674789 h 5973007"/>
              <a:gd name="connsiteX68505" fmla="*/ 3598044 w 6884782"/>
              <a:gd name="connsiteY68505" fmla="*/ 1673366 h 5973007"/>
              <a:gd name="connsiteX68506" fmla="*/ 3598470 w 6884782"/>
              <a:gd name="connsiteY68506" fmla="*/ 1673224 h 5973007"/>
              <a:gd name="connsiteX68507" fmla="*/ 3594202 w 6884782"/>
              <a:gd name="connsiteY68507" fmla="*/ 1672797 h 5973007"/>
              <a:gd name="connsiteX68508" fmla="*/ 3586092 w 6884782"/>
              <a:gd name="connsiteY68508" fmla="*/ 1668387 h 5973007"/>
              <a:gd name="connsiteX68509" fmla="*/ 3579689 w 6884782"/>
              <a:gd name="connsiteY68509" fmla="*/ 1661700 h 5973007"/>
              <a:gd name="connsiteX68510" fmla="*/ 3578622 w 6884782"/>
              <a:gd name="connsiteY68510" fmla="*/ 1661558 h 5973007"/>
              <a:gd name="connsiteX68511" fmla="*/ 3573927 w 6884782"/>
              <a:gd name="connsiteY68511" fmla="*/ 1657006 h 5973007"/>
              <a:gd name="connsiteX68512" fmla="*/ 3573927 w 6884782"/>
              <a:gd name="connsiteY68512" fmla="*/ 1657290 h 5973007"/>
              <a:gd name="connsiteX68513" fmla="*/ 3570512 w 6884782"/>
              <a:gd name="connsiteY68513" fmla="*/ 1669099 h 5973007"/>
              <a:gd name="connsiteX68514" fmla="*/ 3569445 w 6884782"/>
              <a:gd name="connsiteY68514" fmla="*/ 1669525 h 5973007"/>
              <a:gd name="connsiteX68515" fmla="*/ 3567524 w 6884782"/>
              <a:gd name="connsiteY68515" fmla="*/ 1667534 h 5973007"/>
              <a:gd name="connsiteX68516" fmla="*/ 3568591 w 6884782"/>
              <a:gd name="connsiteY68516" fmla="*/ 1662412 h 5973007"/>
              <a:gd name="connsiteX68517" fmla="*/ 3571366 w 6884782"/>
              <a:gd name="connsiteY68517" fmla="*/ 1655868 h 5973007"/>
              <a:gd name="connsiteX68518" fmla="*/ 3571793 w 6884782"/>
              <a:gd name="connsiteY68518" fmla="*/ 1654871 h 5973007"/>
              <a:gd name="connsiteX68519" fmla="*/ 3563256 w 6884782"/>
              <a:gd name="connsiteY68519" fmla="*/ 1645340 h 5973007"/>
              <a:gd name="connsiteX68520" fmla="*/ 3560268 w 6884782"/>
              <a:gd name="connsiteY68520" fmla="*/ 1645482 h 5973007"/>
              <a:gd name="connsiteX68521" fmla="*/ 3560268 w 6884782"/>
              <a:gd name="connsiteY68521" fmla="*/ 1645908 h 5973007"/>
              <a:gd name="connsiteX68522" fmla="*/ 3553865 w 6884782"/>
              <a:gd name="connsiteY68522" fmla="*/ 1650319 h 5973007"/>
              <a:gd name="connsiteX68523" fmla="*/ 3550237 w 6884782"/>
              <a:gd name="connsiteY68523" fmla="*/ 1650888 h 5973007"/>
              <a:gd name="connsiteX68524" fmla="*/ 3550451 w 6884782"/>
              <a:gd name="connsiteY68524" fmla="*/ 1651030 h 5973007"/>
              <a:gd name="connsiteX68525" fmla="*/ 3550664 w 6884782"/>
              <a:gd name="connsiteY68525" fmla="*/ 1653307 h 5973007"/>
              <a:gd name="connsiteX68526" fmla="*/ 3543835 w 6884782"/>
              <a:gd name="connsiteY68526" fmla="*/ 1659993 h 5973007"/>
              <a:gd name="connsiteX68527" fmla="*/ 3538499 w 6884782"/>
              <a:gd name="connsiteY68527" fmla="*/ 1661132 h 5973007"/>
              <a:gd name="connsiteX68528" fmla="*/ 3541701 w 6884782"/>
              <a:gd name="connsiteY68528" fmla="*/ 1670948 h 5973007"/>
              <a:gd name="connsiteX68529" fmla="*/ 3546396 w 6884782"/>
              <a:gd name="connsiteY68529" fmla="*/ 1696130 h 5973007"/>
              <a:gd name="connsiteX68530" fmla="*/ 3533804 w 6884782"/>
              <a:gd name="connsiteY68530" fmla="*/ 1719746 h 5973007"/>
              <a:gd name="connsiteX68531" fmla="*/ 3501791 w 6884782"/>
              <a:gd name="connsiteY68531" fmla="*/ 1731697 h 5973007"/>
              <a:gd name="connsiteX68532" fmla="*/ 3482583 w 6884782"/>
              <a:gd name="connsiteY68532" fmla="*/ 1722307 h 5973007"/>
              <a:gd name="connsiteX68533" fmla="*/ 3474900 w 6884782"/>
              <a:gd name="connsiteY68533" fmla="*/ 1718608 h 5973007"/>
              <a:gd name="connsiteX68534" fmla="*/ 3471485 w 6884782"/>
              <a:gd name="connsiteY68534" fmla="*/ 1723587 h 5973007"/>
              <a:gd name="connsiteX68535" fmla="*/ 3468711 w 6884782"/>
              <a:gd name="connsiteY68535" fmla="*/ 1719604 h 5973007"/>
              <a:gd name="connsiteX68536" fmla="*/ 3469991 w 6884782"/>
              <a:gd name="connsiteY68536" fmla="*/ 1716332 h 5973007"/>
              <a:gd name="connsiteX68537" fmla="*/ 3463162 w 6884782"/>
              <a:gd name="connsiteY68537" fmla="*/ 1713059 h 5973007"/>
              <a:gd name="connsiteX68538" fmla="*/ 3462309 w 6884782"/>
              <a:gd name="connsiteY68538" fmla="*/ 1710356 h 5973007"/>
              <a:gd name="connsiteX68539" fmla="*/ 3461241 w 6884782"/>
              <a:gd name="connsiteY68539" fmla="*/ 1718893 h 5973007"/>
              <a:gd name="connsiteX68540" fmla="*/ 3458467 w 6884782"/>
              <a:gd name="connsiteY68540" fmla="*/ 1730416 h 5973007"/>
              <a:gd name="connsiteX68541" fmla="*/ 3452705 w 6884782"/>
              <a:gd name="connsiteY68541" fmla="*/ 1741087 h 5973007"/>
              <a:gd name="connsiteX68542" fmla="*/ 3452918 w 6884782"/>
              <a:gd name="connsiteY68542" fmla="*/ 1743078 h 5973007"/>
              <a:gd name="connsiteX68543" fmla="*/ 3454625 w 6884782"/>
              <a:gd name="connsiteY68543" fmla="*/ 1738810 h 5973007"/>
              <a:gd name="connsiteX68544" fmla="*/ 3464656 w 6884782"/>
              <a:gd name="connsiteY68544" fmla="*/ 1732408 h 5973007"/>
              <a:gd name="connsiteX68545" fmla="*/ 3459748 w 6884782"/>
              <a:gd name="connsiteY68545" fmla="*/ 1755029 h 5973007"/>
              <a:gd name="connsiteX68546" fmla="*/ 3459748 w 6884782"/>
              <a:gd name="connsiteY68546" fmla="*/ 1755598 h 5973007"/>
              <a:gd name="connsiteX68547" fmla="*/ 3462949 w 6884782"/>
              <a:gd name="connsiteY68547" fmla="*/ 1761004 h 5973007"/>
              <a:gd name="connsiteX68548" fmla="*/ 3463376 w 6884782"/>
              <a:gd name="connsiteY68548" fmla="*/ 1766410 h 5973007"/>
              <a:gd name="connsiteX68549" fmla="*/ 3462949 w 6884782"/>
              <a:gd name="connsiteY68549" fmla="*/ 1766979 h 5973007"/>
              <a:gd name="connsiteX68550" fmla="*/ 3464016 w 6884782"/>
              <a:gd name="connsiteY68550" fmla="*/ 1766695 h 5973007"/>
              <a:gd name="connsiteX68551" fmla="*/ 3466364 w 6884782"/>
              <a:gd name="connsiteY68551" fmla="*/ 1766126 h 5973007"/>
              <a:gd name="connsiteX68552" fmla="*/ 3468711 w 6884782"/>
              <a:gd name="connsiteY68552" fmla="*/ 1768829 h 5973007"/>
              <a:gd name="connsiteX68553" fmla="*/ 3467644 w 6884782"/>
              <a:gd name="connsiteY68553" fmla="*/ 1769398 h 5973007"/>
              <a:gd name="connsiteX68554" fmla="*/ 3463802 w 6884782"/>
              <a:gd name="connsiteY68554" fmla="*/ 1772670 h 5973007"/>
              <a:gd name="connsiteX68555" fmla="*/ 3462095 w 6884782"/>
              <a:gd name="connsiteY68555" fmla="*/ 1768402 h 5973007"/>
              <a:gd name="connsiteX68556" fmla="*/ 3459321 w 6884782"/>
              <a:gd name="connsiteY68556" fmla="*/ 1772386 h 5973007"/>
              <a:gd name="connsiteX68557" fmla="*/ 3454412 w 6884782"/>
              <a:gd name="connsiteY68557" fmla="*/ 1774093 h 5973007"/>
              <a:gd name="connsiteX68558" fmla="*/ 3452491 w 6884782"/>
              <a:gd name="connsiteY68558" fmla="*/ 1777650 h 5973007"/>
              <a:gd name="connsiteX68559" fmla="*/ 3451210 w 6884782"/>
              <a:gd name="connsiteY68559" fmla="*/ 1775373 h 5973007"/>
              <a:gd name="connsiteX68560" fmla="*/ 3449930 w 6884782"/>
              <a:gd name="connsiteY68560" fmla="*/ 1778645 h 5973007"/>
              <a:gd name="connsiteX68561" fmla="*/ 3445235 w 6884782"/>
              <a:gd name="connsiteY68561" fmla="*/ 1797994 h 5973007"/>
              <a:gd name="connsiteX68562" fmla="*/ 3437979 w 6884782"/>
              <a:gd name="connsiteY68562" fmla="*/ 1801551 h 5973007"/>
              <a:gd name="connsiteX68563" fmla="*/ 3436911 w 6884782"/>
              <a:gd name="connsiteY68563" fmla="*/ 1803401 h 5973007"/>
              <a:gd name="connsiteX68564" fmla="*/ 3438406 w 6884782"/>
              <a:gd name="connsiteY68564" fmla="*/ 1804823 h 5973007"/>
              <a:gd name="connsiteX68565" fmla="*/ 3440113 w 6884782"/>
              <a:gd name="connsiteY68565" fmla="*/ 1812790 h 5973007"/>
              <a:gd name="connsiteX68566" fmla="*/ 3438875 w 6884782"/>
              <a:gd name="connsiteY68566" fmla="*/ 1816642 h 5973007"/>
              <a:gd name="connsiteX68567" fmla="*/ 3438931 w 6884782"/>
              <a:gd name="connsiteY68567" fmla="*/ 1816774 h 5973007"/>
              <a:gd name="connsiteX68568" fmla="*/ 3441180 w 6884782"/>
              <a:gd name="connsiteY68568" fmla="*/ 1816774 h 5973007"/>
              <a:gd name="connsiteX68569" fmla="*/ 3441393 w 6884782"/>
              <a:gd name="connsiteY68569" fmla="*/ 1816205 h 5973007"/>
              <a:gd name="connsiteX68570" fmla="*/ 3451638 w 6884782"/>
              <a:gd name="connsiteY68570" fmla="*/ 1814497 h 5973007"/>
              <a:gd name="connsiteX68571" fmla="*/ 3460814 w 6884782"/>
              <a:gd name="connsiteY68571" fmla="*/ 1815493 h 5973007"/>
              <a:gd name="connsiteX68572" fmla="*/ 3466150 w 6884782"/>
              <a:gd name="connsiteY68572" fmla="*/ 1817627 h 5973007"/>
              <a:gd name="connsiteX68573" fmla="*/ 3477888 w 6884782"/>
              <a:gd name="connsiteY68573" fmla="*/ 1820188 h 5973007"/>
              <a:gd name="connsiteX68574" fmla="*/ 3485144 w 6884782"/>
              <a:gd name="connsiteY68574" fmla="*/ 1824029 h 5973007"/>
              <a:gd name="connsiteX68575" fmla="*/ 3487065 w 6884782"/>
              <a:gd name="connsiteY68575" fmla="*/ 1822891 h 5973007"/>
              <a:gd name="connsiteX68576" fmla="*/ 3494321 w 6884782"/>
              <a:gd name="connsiteY68576" fmla="*/ 1821326 h 5973007"/>
              <a:gd name="connsiteX68577" fmla="*/ 3502005 w 6884782"/>
              <a:gd name="connsiteY68577" fmla="*/ 1824456 h 5973007"/>
              <a:gd name="connsiteX68578" fmla="*/ 3478528 w 6884782"/>
              <a:gd name="connsiteY68578" fmla="*/ 1840817 h 5973007"/>
              <a:gd name="connsiteX68579" fmla="*/ 3475114 w 6884782"/>
              <a:gd name="connsiteY68579" fmla="*/ 1839820 h 5973007"/>
              <a:gd name="connsiteX68580" fmla="*/ 3473833 w 6884782"/>
              <a:gd name="connsiteY68580" fmla="*/ 1839536 h 5973007"/>
              <a:gd name="connsiteX68581" fmla="*/ 3471059 w 6884782"/>
              <a:gd name="connsiteY68581" fmla="*/ 1841386 h 5973007"/>
              <a:gd name="connsiteX68582" fmla="*/ 3461455 w 6884782"/>
              <a:gd name="connsiteY68582" fmla="*/ 1841528 h 5973007"/>
              <a:gd name="connsiteX68583" fmla="*/ 3461241 w 6884782"/>
              <a:gd name="connsiteY68583" fmla="*/ 1841528 h 5973007"/>
              <a:gd name="connsiteX68584" fmla="*/ 3462736 w 6884782"/>
              <a:gd name="connsiteY68584" fmla="*/ 1843662 h 5973007"/>
              <a:gd name="connsiteX68585" fmla="*/ 3454839 w 6884782"/>
              <a:gd name="connsiteY68585" fmla="*/ 1844231 h 5973007"/>
              <a:gd name="connsiteX68586" fmla="*/ 3452705 w 6884782"/>
              <a:gd name="connsiteY68586" fmla="*/ 1840675 h 5973007"/>
              <a:gd name="connsiteX68587" fmla="*/ 3449930 w 6884782"/>
              <a:gd name="connsiteY68587" fmla="*/ 1842097 h 5973007"/>
              <a:gd name="connsiteX68588" fmla="*/ 3449631 w 6884782"/>
              <a:gd name="connsiteY68588" fmla="*/ 1842018 h 5973007"/>
              <a:gd name="connsiteX68589" fmla="*/ 3454080 w 6884782"/>
              <a:gd name="connsiteY68589" fmla="*/ 1852627 h 5973007"/>
              <a:gd name="connsiteX68590" fmla="*/ 3455052 w 6884782"/>
              <a:gd name="connsiteY68590" fmla="*/ 1853194 h 5973007"/>
              <a:gd name="connsiteX68591" fmla="*/ 3457400 w 6884782"/>
              <a:gd name="connsiteY68591" fmla="*/ 1850918 h 5973007"/>
              <a:gd name="connsiteX68592" fmla="*/ 3459961 w 6884782"/>
              <a:gd name="connsiteY68592" fmla="*/ 1845654 h 5973007"/>
              <a:gd name="connsiteX68593" fmla="*/ 3463589 w 6884782"/>
              <a:gd name="connsiteY68593" fmla="*/ 1851771 h 5973007"/>
              <a:gd name="connsiteX68594" fmla="*/ 3464869 w 6884782"/>
              <a:gd name="connsiteY68594" fmla="*/ 1858743 h 5973007"/>
              <a:gd name="connsiteX68595" fmla="*/ 3457400 w 6884782"/>
              <a:gd name="connsiteY68595" fmla="*/ 1859170 h 5973007"/>
              <a:gd name="connsiteX68596" fmla="*/ 3458040 w 6884782"/>
              <a:gd name="connsiteY68596" fmla="*/ 1861730 h 5973007"/>
              <a:gd name="connsiteX68597" fmla="*/ 3457995 w 6884782"/>
              <a:gd name="connsiteY68597" fmla="*/ 1861964 h 5973007"/>
              <a:gd name="connsiteX68598" fmla="*/ 3486251 w 6884782"/>
              <a:gd name="connsiteY68598" fmla="*/ 1929348 h 5973007"/>
              <a:gd name="connsiteX68599" fmla="*/ 3490780 w 6884782"/>
              <a:gd name="connsiteY68599" fmla="*/ 1934034 h 5973007"/>
              <a:gd name="connsiteX68600" fmla="*/ 3495389 w 6884782"/>
              <a:gd name="connsiteY68600" fmla="*/ 1939979 h 5973007"/>
              <a:gd name="connsiteX68601" fmla="*/ 3515877 w 6884782"/>
              <a:gd name="connsiteY68601" fmla="*/ 1942966 h 5973007"/>
              <a:gd name="connsiteX68602" fmla="*/ 3529536 w 6884782"/>
              <a:gd name="connsiteY68602" fmla="*/ 1933291 h 5973007"/>
              <a:gd name="connsiteX68603" fmla="*/ 3539566 w 6884782"/>
              <a:gd name="connsiteY68603" fmla="*/ 1932153 h 5973007"/>
              <a:gd name="connsiteX68604" fmla="*/ 3541061 w 6884782"/>
              <a:gd name="connsiteY68604" fmla="*/ 1940120 h 5973007"/>
              <a:gd name="connsiteX68605" fmla="*/ 3541701 w 6884782"/>
              <a:gd name="connsiteY68605" fmla="*/ 1943535 h 5973007"/>
              <a:gd name="connsiteX68606" fmla="*/ 3546396 w 6884782"/>
              <a:gd name="connsiteY68606" fmla="*/ 1940120 h 5973007"/>
              <a:gd name="connsiteX68607" fmla="*/ 3551091 w 6884782"/>
              <a:gd name="connsiteY68607" fmla="*/ 1939979 h 5973007"/>
              <a:gd name="connsiteX68608" fmla="*/ 3556213 w 6884782"/>
              <a:gd name="connsiteY68608" fmla="*/ 1946807 h 5973007"/>
              <a:gd name="connsiteX68609" fmla="*/ 3555146 w 6884782"/>
              <a:gd name="connsiteY68609" fmla="*/ 1952640 h 5973007"/>
              <a:gd name="connsiteX68610" fmla="*/ 3546396 w 6884782"/>
              <a:gd name="connsiteY68610" fmla="*/ 1956339 h 5973007"/>
              <a:gd name="connsiteX68611" fmla="*/ 3542768 w 6884782"/>
              <a:gd name="connsiteY68611" fmla="*/ 1950079 h 5973007"/>
              <a:gd name="connsiteX68612" fmla="*/ 3542768 w 6884782"/>
              <a:gd name="connsiteY68612" fmla="*/ 1952213 h 5973007"/>
              <a:gd name="connsiteX68613" fmla="*/ 3542768 w 6884782"/>
              <a:gd name="connsiteY68613" fmla="*/ 1953493 h 5973007"/>
              <a:gd name="connsiteX68614" fmla="*/ 3550024 w 6884782"/>
              <a:gd name="connsiteY68614" fmla="*/ 1958757 h 5973007"/>
              <a:gd name="connsiteX68615" fmla="*/ 3541061 w 6884782"/>
              <a:gd name="connsiteY68615" fmla="*/ 1980382 h 5973007"/>
              <a:gd name="connsiteX68616" fmla="*/ 3553652 w 6884782"/>
              <a:gd name="connsiteY68616" fmla="*/ 1989915 h 5973007"/>
              <a:gd name="connsiteX68617" fmla="*/ 3556853 w 6884782"/>
              <a:gd name="connsiteY68617" fmla="*/ 1994040 h 5973007"/>
              <a:gd name="connsiteX68618" fmla="*/ 3559628 w 6884782"/>
              <a:gd name="connsiteY68618" fmla="*/ 1990484 h 5973007"/>
              <a:gd name="connsiteX68619" fmla="*/ 3561975 w 6884782"/>
              <a:gd name="connsiteY68619" fmla="*/ 1994182 h 5973007"/>
              <a:gd name="connsiteX68620" fmla="*/ 3561335 w 6884782"/>
              <a:gd name="connsiteY68620" fmla="*/ 2002719 h 5973007"/>
              <a:gd name="connsiteX68621" fmla="*/ 3561122 w 6884782"/>
              <a:gd name="connsiteY68621" fmla="*/ 2003288 h 5973007"/>
              <a:gd name="connsiteX68622" fmla="*/ 3570299 w 6884782"/>
              <a:gd name="connsiteY68622" fmla="*/ 2008409 h 5973007"/>
              <a:gd name="connsiteX68623" fmla="*/ 3582464 w 6884782"/>
              <a:gd name="connsiteY68623" fmla="*/ 2007698 h 5973007"/>
              <a:gd name="connsiteX68624" fmla="*/ 3590787 w 6884782"/>
              <a:gd name="connsiteY68624" fmla="*/ 2005421 h 5973007"/>
              <a:gd name="connsiteX68625" fmla="*/ 3593775 w 6884782"/>
              <a:gd name="connsiteY68625" fmla="*/ 2003146 h 5973007"/>
              <a:gd name="connsiteX68626" fmla="*/ 3594842 w 6884782"/>
              <a:gd name="connsiteY68626" fmla="*/ 2002292 h 5973007"/>
              <a:gd name="connsiteX68627" fmla="*/ 3582037 w 6884782"/>
              <a:gd name="connsiteY68627" fmla="*/ 2002861 h 5973007"/>
              <a:gd name="connsiteX68628" fmla="*/ 3567951 w 6884782"/>
              <a:gd name="connsiteY68628" fmla="*/ 2001438 h 5973007"/>
              <a:gd name="connsiteX68629" fmla="*/ 3602311 w 6884782"/>
              <a:gd name="connsiteY68629" fmla="*/ 1979671 h 5973007"/>
              <a:gd name="connsiteX68630" fmla="*/ 3618532 w 6884782"/>
              <a:gd name="connsiteY68630" fmla="*/ 1983654 h 5973007"/>
              <a:gd name="connsiteX68631" fmla="*/ 3609782 w 6884782"/>
              <a:gd name="connsiteY68631" fmla="*/ 1994609 h 5973007"/>
              <a:gd name="connsiteX68632" fmla="*/ 3611489 w 6884782"/>
              <a:gd name="connsiteY68632" fmla="*/ 1995320 h 5973007"/>
              <a:gd name="connsiteX68633" fmla="*/ 3625361 w 6884782"/>
              <a:gd name="connsiteY68633" fmla="*/ 1985646 h 5973007"/>
              <a:gd name="connsiteX68634" fmla="*/ 3630270 w 6884782"/>
              <a:gd name="connsiteY68634" fmla="*/ 1985219 h 5973007"/>
              <a:gd name="connsiteX68635" fmla="*/ 3626428 w 6884782"/>
              <a:gd name="connsiteY68635" fmla="*/ 1988635 h 5973007"/>
              <a:gd name="connsiteX68636" fmla="*/ 3620453 w 6884782"/>
              <a:gd name="connsiteY68636" fmla="*/ 1991337 h 5973007"/>
              <a:gd name="connsiteX68637" fmla="*/ 3618745 w 6884782"/>
              <a:gd name="connsiteY68637" fmla="*/ 1995605 h 5973007"/>
              <a:gd name="connsiteX68638" fmla="*/ 3613623 w 6884782"/>
              <a:gd name="connsiteY68638" fmla="*/ 1996174 h 5973007"/>
              <a:gd name="connsiteX68639" fmla="*/ 3608287 w 6884782"/>
              <a:gd name="connsiteY68639" fmla="*/ 2009121 h 5973007"/>
              <a:gd name="connsiteX68640" fmla="*/ 3602952 w 6884782"/>
              <a:gd name="connsiteY68640" fmla="*/ 2010685 h 5973007"/>
              <a:gd name="connsiteX68641" fmla="*/ 3608287 w 6884782"/>
              <a:gd name="connsiteY68641" fmla="*/ 2015807 h 5973007"/>
              <a:gd name="connsiteX68642" fmla="*/ 3616184 w 6884782"/>
              <a:gd name="connsiteY68642" fmla="*/ 1999731 h 5973007"/>
              <a:gd name="connsiteX68643" fmla="*/ 3642221 w 6884782"/>
              <a:gd name="connsiteY68643" fmla="*/ 1997313 h 5973007"/>
              <a:gd name="connsiteX68644" fmla="*/ 3661856 w 6884782"/>
              <a:gd name="connsiteY68644" fmla="*/ 1992618 h 5973007"/>
              <a:gd name="connsiteX68645" fmla="*/ 3662709 w 6884782"/>
              <a:gd name="connsiteY68645" fmla="*/ 1988349 h 5973007"/>
              <a:gd name="connsiteX68646" fmla="*/ 3663563 w 6884782"/>
              <a:gd name="connsiteY68646" fmla="*/ 1989915 h 5973007"/>
              <a:gd name="connsiteX68647" fmla="*/ 3662923 w 6884782"/>
              <a:gd name="connsiteY68647" fmla="*/ 1992333 h 5973007"/>
              <a:gd name="connsiteX68648" fmla="*/ 3670180 w 6884782"/>
              <a:gd name="connsiteY68648" fmla="*/ 1990626 h 5973007"/>
              <a:gd name="connsiteX68649" fmla="*/ 3699845 w 6884782"/>
              <a:gd name="connsiteY68649" fmla="*/ 1984935 h 5973007"/>
              <a:gd name="connsiteX68650" fmla="*/ 3715424 w 6884782"/>
              <a:gd name="connsiteY68650" fmla="*/ 1983797 h 5973007"/>
              <a:gd name="connsiteX68651" fmla="*/ 3725242 w 6884782"/>
              <a:gd name="connsiteY68651" fmla="*/ 1985219 h 5973007"/>
              <a:gd name="connsiteX68652" fmla="*/ 3723961 w 6884782"/>
              <a:gd name="connsiteY68652" fmla="*/ 1984508 h 5973007"/>
              <a:gd name="connsiteX68653" fmla="*/ 3724815 w 6884782"/>
              <a:gd name="connsiteY68653" fmla="*/ 1980809 h 5973007"/>
              <a:gd name="connsiteX68654" fmla="*/ 3727589 w 6884782"/>
              <a:gd name="connsiteY68654" fmla="*/ 1981663 h 5973007"/>
              <a:gd name="connsiteX68655" fmla="*/ 3728016 w 6884782"/>
              <a:gd name="connsiteY68655" fmla="*/ 1985646 h 5973007"/>
              <a:gd name="connsiteX68656" fmla="*/ 3731004 w 6884782"/>
              <a:gd name="connsiteY68656" fmla="*/ 1986073 h 5973007"/>
              <a:gd name="connsiteX68657" fmla="*/ 3737406 w 6884782"/>
              <a:gd name="connsiteY68657" fmla="*/ 1976968 h 5973007"/>
              <a:gd name="connsiteX68658" fmla="*/ 3778597 w 6884782"/>
              <a:gd name="connsiteY68658" fmla="*/ 1974692 h 5973007"/>
              <a:gd name="connsiteX68659" fmla="*/ 3804634 w 6884782"/>
              <a:gd name="connsiteY68659" fmla="*/ 1972415 h 5973007"/>
              <a:gd name="connsiteX68660" fmla="*/ 3827683 w 6884782"/>
              <a:gd name="connsiteY68660" fmla="*/ 1980382 h 5973007"/>
              <a:gd name="connsiteX68661" fmla="*/ 3817439 w 6884782"/>
              <a:gd name="connsiteY68661" fmla="*/ 1982659 h 5973007"/>
              <a:gd name="connsiteX68662" fmla="*/ 3827683 w 6884782"/>
              <a:gd name="connsiteY68662" fmla="*/ 1989488 h 5973007"/>
              <a:gd name="connsiteX68663" fmla="*/ 3833232 w 6884782"/>
              <a:gd name="connsiteY68663" fmla="*/ 1984366 h 5973007"/>
              <a:gd name="connsiteX68664" fmla="*/ 3836647 w 6884782"/>
              <a:gd name="connsiteY68664" fmla="*/ 1984651 h 5973007"/>
              <a:gd name="connsiteX68665" fmla="*/ 3836647 w 6884782"/>
              <a:gd name="connsiteY68665" fmla="*/ 1984224 h 5973007"/>
              <a:gd name="connsiteX68666" fmla="*/ 3843690 w 6884782"/>
              <a:gd name="connsiteY68666" fmla="*/ 1980524 h 5973007"/>
              <a:gd name="connsiteX68667" fmla="*/ 3850092 w 6884782"/>
              <a:gd name="connsiteY68667" fmla="*/ 1982801 h 5973007"/>
              <a:gd name="connsiteX68668" fmla="*/ 3849879 w 6884782"/>
              <a:gd name="connsiteY68668" fmla="*/ 1987781 h 5973007"/>
              <a:gd name="connsiteX68669" fmla="*/ 3840488 w 6884782"/>
              <a:gd name="connsiteY68669" fmla="*/ 1989345 h 5973007"/>
              <a:gd name="connsiteX68670" fmla="*/ 3833445 w 6884782"/>
              <a:gd name="connsiteY68670" fmla="*/ 1990910 h 5973007"/>
              <a:gd name="connsiteX68671" fmla="*/ 3834085 w 6884782"/>
              <a:gd name="connsiteY68671" fmla="*/ 1994040 h 5973007"/>
              <a:gd name="connsiteX68672" fmla="*/ 3808475 w 6884782"/>
              <a:gd name="connsiteY68672" fmla="*/ 2003146 h 5973007"/>
              <a:gd name="connsiteX68673" fmla="*/ 3782652 w 6884782"/>
              <a:gd name="connsiteY68673" fmla="*/ 2000869 h 5973007"/>
              <a:gd name="connsiteX68674" fmla="*/ 3748931 w 6884782"/>
              <a:gd name="connsiteY68674" fmla="*/ 2006560 h 5973007"/>
              <a:gd name="connsiteX68675" fmla="*/ 3767072 w 6884782"/>
              <a:gd name="connsiteY68675" fmla="*/ 2010117 h 5973007"/>
              <a:gd name="connsiteX68676" fmla="*/ 3785213 w 6884782"/>
              <a:gd name="connsiteY68676" fmla="*/ 2012250 h 5973007"/>
              <a:gd name="connsiteX68677" fmla="*/ 3811036 w 6884782"/>
              <a:gd name="connsiteY68677" fmla="*/ 2007698 h 5973007"/>
              <a:gd name="connsiteX68678" fmla="*/ 3798018 w 6884782"/>
              <a:gd name="connsiteY68678" fmla="*/ 2012250 h 5973007"/>
              <a:gd name="connsiteX68679" fmla="*/ 3827683 w 6884782"/>
              <a:gd name="connsiteY68679" fmla="*/ 2012250 h 5973007"/>
              <a:gd name="connsiteX68680" fmla="*/ 3821281 w 6884782"/>
              <a:gd name="connsiteY68680" fmla="*/ 2010117 h 5973007"/>
              <a:gd name="connsiteX68681" fmla="*/ 3840702 w 6884782"/>
              <a:gd name="connsiteY68681" fmla="*/ 2012250 h 5973007"/>
              <a:gd name="connsiteX68682" fmla="*/ 3857562 w 6884782"/>
              <a:gd name="connsiteY68682" fmla="*/ 2006560 h 5973007"/>
              <a:gd name="connsiteX68683" fmla="*/ 3859910 w 6884782"/>
              <a:gd name="connsiteY68683" fmla="*/ 2007271 h 5973007"/>
              <a:gd name="connsiteX68684" fmla="*/ 3882745 w 6884782"/>
              <a:gd name="connsiteY68684" fmla="*/ 1994609 h 5973007"/>
              <a:gd name="connsiteX68685" fmla="*/ 3890002 w 6884782"/>
              <a:gd name="connsiteY68685" fmla="*/ 1996317 h 5973007"/>
              <a:gd name="connsiteX68686" fmla="*/ 3892990 w 6884782"/>
              <a:gd name="connsiteY68686" fmla="*/ 2002149 h 5973007"/>
              <a:gd name="connsiteX68687" fmla="*/ 3888081 w 6884782"/>
              <a:gd name="connsiteY68687" fmla="*/ 2008409 h 5973007"/>
              <a:gd name="connsiteX68688" fmla="*/ 3894910 w 6884782"/>
              <a:gd name="connsiteY68688" fmla="*/ 2010117 h 5973007"/>
              <a:gd name="connsiteX68689" fmla="*/ 3896404 w 6884782"/>
              <a:gd name="connsiteY68689" fmla="*/ 2010544 h 5973007"/>
              <a:gd name="connsiteX68690" fmla="*/ 3899178 w 6884782"/>
              <a:gd name="connsiteY68690" fmla="*/ 2007271 h 5973007"/>
              <a:gd name="connsiteX68691" fmla="*/ 3912197 w 6884782"/>
              <a:gd name="connsiteY68691" fmla="*/ 2003430 h 5973007"/>
              <a:gd name="connsiteX68692" fmla="*/ 3920734 w 6884782"/>
              <a:gd name="connsiteY68692" fmla="*/ 2008979 h 5973007"/>
              <a:gd name="connsiteX68693" fmla="*/ 3920520 w 6884782"/>
              <a:gd name="connsiteY68693" fmla="*/ 2006133 h 5973007"/>
              <a:gd name="connsiteX68694" fmla="*/ 3923508 w 6884782"/>
              <a:gd name="connsiteY68694" fmla="*/ 1999589 h 5973007"/>
              <a:gd name="connsiteX68695" fmla="*/ 3934607 w 6884782"/>
              <a:gd name="connsiteY68695" fmla="*/ 1993898 h 5973007"/>
              <a:gd name="connsiteX68696" fmla="*/ 3939088 w 6884782"/>
              <a:gd name="connsiteY68696" fmla="*/ 1992476 h 5973007"/>
              <a:gd name="connsiteX68697" fmla="*/ 3928844 w 6884782"/>
              <a:gd name="connsiteY68697" fmla="*/ 1985646 h 5973007"/>
              <a:gd name="connsiteX68698" fmla="*/ 3934393 w 6884782"/>
              <a:gd name="connsiteY68698" fmla="*/ 1978675 h 5973007"/>
              <a:gd name="connsiteX68699" fmla="*/ 3947198 w 6884782"/>
              <a:gd name="connsiteY68699" fmla="*/ 1982943 h 5973007"/>
              <a:gd name="connsiteX68700" fmla="*/ 3948052 w 6884782"/>
              <a:gd name="connsiteY68700" fmla="*/ 1983797 h 5973007"/>
              <a:gd name="connsiteX68701" fmla="*/ 3949545 w 6884782"/>
              <a:gd name="connsiteY68701" fmla="*/ 1979671 h 5973007"/>
              <a:gd name="connsiteX68702" fmla="*/ 3944637 w 6884782"/>
              <a:gd name="connsiteY68702" fmla="*/ 1952498 h 5973007"/>
              <a:gd name="connsiteX68703" fmla="*/ 3943997 w 6884782"/>
              <a:gd name="connsiteY68703" fmla="*/ 1951218 h 5973007"/>
              <a:gd name="connsiteX68704" fmla="*/ 3943357 w 6884782"/>
              <a:gd name="connsiteY68704" fmla="*/ 1952356 h 5973007"/>
              <a:gd name="connsiteX68705" fmla="*/ 3936314 w 6884782"/>
              <a:gd name="connsiteY68705" fmla="*/ 1956055 h 5973007"/>
              <a:gd name="connsiteX68706" fmla="*/ 3934179 w 6884782"/>
              <a:gd name="connsiteY68706" fmla="*/ 1953210 h 5973007"/>
              <a:gd name="connsiteX68707" fmla="*/ 3931618 w 6884782"/>
              <a:gd name="connsiteY68707" fmla="*/ 1955343 h 5973007"/>
              <a:gd name="connsiteX68708" fmla="*/ 3928631 w 6884782"/>
              <a:gd name="connsiteY68708" fmla="*/ 1957619 h 5973007"/>
              <a:gd name="connsiteX68709" fmla="*/ 3928417 w 6884782"/>
              <a:gd name="connsiteY68709" fmla="*/ 1960465 h 5973007"/>
              <a:gd name="connsiteX68710" fmla="*/ 3926710 w 6884782"/>
              <a:gd name="connsiteY68710" fmla="*/ 1964591 h 5973007"/>
              <a:gd name="connsiteX68711" fmla="*/ 3919667 w 6884782"/>
              <a:gd name="connsiteY68711" fmla="*/ 1959469 h 5973007"/>
              <a:gd name="connsiteX68712" fmla="*/ 3922868 w 6884782"/>
              <a:gd name="connsiteY68712" fmla="*/ 1956197 h 5973007"/>
              <a:gd name="connsiteX68713" fmla="*/ 3916893 w 6884782"/>
              <a:gd name="connsiteY68713" fmla="*/ 1951645 h 5973007"/>
              <a:gd name="connsiteX68714" fmla="*/ 3913905 w 6884782"/>
              <a:gd name="connsiteY68714" fmla="*/ 1945100 h 5973007"/>
              <a:gd name="connsiteX68715" fmla="*/ 3914545 w 6884782"/>
              <a:gd name="connsiteY68715" fmla="*/ 1940547 h 5973007"/>
              <a:gd name="connsiteX68716" fmla="*/ 3916252 w 6884782"/>
              <a:gd name="connsiteY68716" fmla="*/ 1937702 h 5973007"/>
              <a:gd name="connsiteX68717" fmla="*/ 3910917 w 6884782"/>
              <a:gd name="connsiteY68717" fmla="*/ 1938414 h 5973007"/>
              <a:gd name="connsiteX68718" fmla="*/ 3904087 w 6884782"/>
              <a:gd name="connsiteY68718" fmla="*/ 1936706 h 5973007"/>
              <a:gd name="connsiteX68719" fmla="*/ 3902380 w 6884782"/>
              <a:gd name="connsiteY68719" fmla="*/ 1920488 h 5973007"/>
              <a:gd name="connsiteX68720" fmla="*/ 3906008 w 6884782"/>
              <a:gd name="connsiteY68720" fmla="*/ 1919065 h 5973007"/>
              <a:gd name="connsiteX68721" fmla="*/ 3903234 w 6884782"/>
              <a:gd name="connsiteY68721" fmla="*/ 1917357 h 5973007"/>
              <a:gd name="connsiteX68722" fmla="*/ 3902807 w 6884782"/>
              <a:gd name="connsiteY68722" fmla="*/ 1911666 h 5973007"/>
              <a:gd name="connsiteX68723" fmla="*/ 3908569 w 6884782"/>
              <a:gd name="connsiteY68723" fmla="*/ 1913800 h 5973007"/>
              <a:gd name="connsiteX68724" fmla="*/ 3908142 w 6884782"/>
              <a:gd name="connsiteY68724" fmla="*/ 1918211 h 5973007"/>
              <a:gd name="connsiteX68725" fmla="*/ 3914758 w 6884782"/>
              <a:gd name="connsiteY68725" fmla="*/ 1917927 h 5973007"/>
              <a:gd name="connsiteX68726" fmla="*/ 3916039 w 6884782"/>
              <a:gd name="connsiteY68726" fmla="*/ 1918069 h 5973007"/>
              <a:gd name="connsiteX68727" fmla="*/ 3914972 w 6884782"/>
              <a:gd name="connsiteY68727" fmla="*/ 1915792 h 5973007"/>
              <a:gd name="connsiteX68728" fmla="*/ 3914545 w 6884782"/>
              <a:gd name="connsiteY68728" fmla="*/ 1912663 h 5973007"/>
              <a:gd name="connsiteX68729" fmla="*/ 3918173 w 6884782"/>
              <a:gd name="connsiteY68729" fmla="*/ 1911666 h 5973007"/>
              <a:gd name="connsiteX68730" fmla="*/ 3919240 w 6884782"/>
              <a:gd name="connsiteY68730" fmla="*/ 1916504 h 5973007"/>
              <a:gd name="connsiteX68731" fmla="*/ 3917960 w 6884782"/>
              <a:gd name="connsiteY68731" fmla="*/ 1917927 h 5973007"/>
              <a:gd name="connsiteX68732" fmla="*/ 3917106 w 6884782"/>
              <a:gd name="connsiteY68732" fmla="*/ 1918211 h 5973007"/>
              <a:gd name="connsiteX68733" fmla="*/ 3926710 w 6884782"/>
              <a:gd name="connsiteY68733" fmla="*/ 1919349 h 5973007"/>
              <a:gd name="connsiteX68734" fmla="*/ 3939729 w 6884782"/>
              <a:gd name="connsiteY68734" fmla="*/ 1909391 h 5973007"/>
              <a:gd name="connsiteX68735" fmla="*/ 3961924 w 6884782"/>
              <a:gd name="connsiteY68735" fmla="*/ 1859880 h 5973007"/>
              <a:gd name="connsiteX68736" fmla="*/ 3963418 w 6884782"/>
              <a:gd name="connsiteY68736" fmla="*/ 1854759 h 5973007"/>
              <a:gd name="connsiteX68737" fmla="*/ 3963205 w 6884782"/>
              <a:gd name="connsiteY68737" fmla="*/ 1854617 h 5973007"/>
              <a:gd name="connsiteX68738" fmla="*/ 3963418 w 6884782"/>
              <a:gd name="connsiteY68738" fmla="*/ 1853478 h 5973007"/>
              <a:gd name="connsiteX68739" fmla="*/ 3963205 w 6884782"/>
              <a:gd name="connsiteY68739" fmla="*/ 1847930 h 5973007"/>
              <a:gd name="connsiteX68740" fmla="*/ 3957656 w 6884782"/>
              <a:gd name="connsiteY68740" fmla="*/ 1835411 h 5973007"/>
              <a:gd name="connsiteX68741" fmla="*/ 3948692 w 6884782"/>
              <a:gd name="connsiteY68741" fmla="*/ 1829293 h 5973007"/>
              <a:gd name="connsiteX68742" fmla="*/ 3946985 w 6884782"/>
              <a:gd name="connsiteY68742" fmla="*/ 1830147 h 5973007"/>
              <a:gd name="connsiteX68743" fmla="*/ 3940155 w 6884782"/>
              <a:gd name="connsiteY68743" fmla="*/ 1826875 h 5973007"/>
              <a:gd name="connsiteX68744" fmla="*/ 3936954 w 6884782"/>
              <a:gd name="connsiteY68744" fmla="*/ 1820472 h 5973007"/>
              <a:gd name="connsiteX68745" fmla="*/ 3934393 w 6884782"/>
              <a:gd name="connsiteY68745" fmla="*/ 1817912 h 5973007"/>
              <a:gd name="connsiteX68746" fmla="*/ 3935247 w 6884782"/>
              <a:gd name="connsiteY68746" fmla="*/ 1812648 h 5973007"/>
              <a:gd name="connsiteX68747" fmla="*/ 3944637 w 6884782"/>
              <a:gd name="connsiteY68747" fmla="*/ 1807811 h 5973007"/>
              <a:gd name="connsiteX68748" fmla="*/ 3960430 w 6884782"/>
              <a:gd name="connsiteY68748" fmla="*/ 1800840 h 5973007"/>
              <a:gd name="connsiteX68749" fmla="*/ 3964272 w 6884782"/>
              <a:gd name="connsiteY68749" fmla="*/ 1790312 h 5973007"/>
              <a:gd name="connsiteX68750" fmla="*/ 3966833 w 6884782"/>
              <a:gd name="connsiteY68750" fmla="*/ 1788604 h 5973007"/>
              <a:gd name="connsiteX68751" fmla="*/ 3966833 w 6884782"/>
              <a:gd name="connsiteY68751" fmla="*/ 1784763 h 5973007"/>
              <a:gd name="connsiteX68752" fmla="*/ 3968327 w 6884782"/>
              <a:gd name="connsiteY68752" fmla="*/ 1780495 h 5973007"/>
              <a:gd name="connsiteX68753" fmla="*/ 3970461 w 6884782"/>
              <a:gd name="connsiteY68753" fmla="*/ 1778930 h 5973007"/>
              <a:gd name="connsiteX68754" fmla="*/ 3969821 w 6884782"/>
              <a:gd name="connsiteY68754" fmla="*/ 1776085 h 5973007"/>
              <a:gd name="connsiteX68755" fmla="*/ 3975156 w 6884782"/>
              <a:gd name="connsiteY68755" fmla="*/ 1769541 h 5973007"/>
              <a:gd name="connsiteX68756" fmla="*/ 3980491 w 6884782"/>
              <a:gd name="connsiteY68756" fmla="*/ 1770963 h 5973007"/>
              <a:gd name="connsiteX68757" fmla="*/ 3978784 w 6884782"/>
              <a:gd name="connsiteY68757" fmla="*/ 1778503 h 5973007"/>
              <a:gd name="connsiteX68758" fmla="*/ 3976010 w 6884782"/>
              <a:gd name="connsiteY68758" fmla="*/ 1780922 h 5973007"/>
              <a:gd name="connsiteX68759" fmla="*/ 3978144 w 6884782"/>
              <a:gd name="connsiteY68759" fmla="*/ 1783482 h 5973007"/>
              <a:gd name="connsiteX68760" fmla="*/ 3980278 w 6884782"/>
              <a:gd name="connsiteY68760" fmla="*/ 1788035 h 5973007"/>
              <a:gd name="connsiteX68761" fmla="*/ 3981986 w 6884782"/>
              <a:gd name="connsiteY68761" fmla="*/ 1788320 h 5973007"/>
              <a:gd name="connsiteX68762" fmla="*/ 3994577 w 6884782"/>
              <a:gd name="connsiteY68762" fmla="*/ 1792161 h 5973007"/>
              <a:gd name="connsiteX68763" fmla="*/ 4005462 w 6884782"/>
              <a:gd name="connsiteY68763" fmla="*/ 1768687 h 5973007"/>
              <a:gd name="connsiteX68764" fmla="*/ 4015279 w 6884782"/>
              <a:gd name="connsiteY68764" fmla="*/ 1761289 h 5973007"/>
              <a:gd name="connsiteX68765" fmla="*/ 4017627 w 6884782"/>
              <a:gd name="connsiteY68765" fmla="*/ 1755313 h 5973007"/>
              <a:gd name="connsiteX68766" fmla="*/ 4018907 w 6884782"/>
              <a:gd name="connsiteY68766" fmla="*/ 1752041 h 5973007"/>
              <a:gd name="connsiteX68767" fmla="*/ 4011864 w 6884782"/>
              <a:gd name="connsiteY68767" fmla="*/ 1728851 h 5973007"/>
              <a:gd name="connsiteX68768" fmla="*/ 4002687 w 6884782"/>
              <a:gd name="connsiteY68768" fmla="*/ 1722876 h 5973007"/>
              <a:gd name="connsiteX68769" fmla="*/ 3994364 w 6884782"/>
              <a:gd name="connsiteY68769" fmla="*/ 1718466 h 5973007"/>
              <a:gd name="connsiteX68770" fmla="*/ 3992443 w 6884782"/>
              <a:gd name="connsiteY68770" fmla="*/ 1718324 h 5973007"/>
              <a:gd name="connsiteX68771" fmla="*/ 3991803 w 6884782"/>
              <a:gd name="connsiteY68771" fmla="*/ 1717185 h 5973007"/>
              <a:gd name="connsiteX68772" fmla="*/ 3991376 w 6884782"/>
              <a:gd name="connsiteY68772" fmla="*/ 1716901 h 5973007"/>
              <a:gd name="connsiteX68773" fmla="*/ 3986254 w 6884782"/>
              <a:gd name="connsiteY68773" fmla="*/ 1705804 h 5973007"/>
              <a:gd name="connsiteX68774" fmla="*/ 3968754 w 6884782"/>
              <a:gd name="connsiteY68774" fmla="*/ 1693996 h 5973007"/>
              <a:gd name="connsiteX68775" fmla="*/ 3966192 w 6884782"/>
              <a:gd name="connsiteY68775" fmla="*/ 1688447 h 5973007"/>
              <a:gd name="connsiteX68776" fmla="*/ 3972168 w 6884782"/>
              <a:gd name="connsiteY68776" fmla="*/ 1691577 h 5973007"/>
              <a:gd name="connsiteX68777" fmla="*/ 3977717 w 6884782"/>
              <a:gd name="connsiteY68777" fmla="*/ 1697268 h 5973007"/>
              <a:gd name="connsiteX68778" fmla="*/ 3983693 w 6884782"/>
              <a:gd name="connsiteY68778" fmla="*/ 1697553 h 5973007"/>
              <a:gd name="connsiteX68779" fmla="*/ 3986467 w 6884782"/>
              <a:gd name="connsiteY68779" fmla="*/ 1703101 h 5973007"/>
              <a:gd name="connsiteX68780" fmla="*/ 3996498 w 6884782"/>
              <a:gd name="connsiteY68780" fmla="*/ 1703812 h 5973007"/>
              <a:gd name="connsiteX68781" fmla="*/ 4000126 w 6884782"/>
              <a:gd name="connsiteY68781" fmla="*/ 1703955 h 5973007"/>
              <a:gd name="connsiteX68782" fmla="*/ 3997992 w 6884782"/>
              <a:gd name="connsiteY68782" fmla="*/ 1699117 h 5973007"/>
              <a:gd name="connsiteX68783" fmla="*/ 4005462 w 6884782"/>
              <a:gd name="connsiteY68783" fmla="*/ 1696556 h 5973007"/>
              <a:gd name="connsiteX68784" fmla="*/ 4008023 w 6884782"/>
              <a:gd name="connsiteY68784" fmla="*/ 1699828 h 5973007"/>
              <a:gd name="connsiteX68785" fmla="*/ 4007596 w 6884782"/>
              <a:gd name="connsiteY68785" fmla="*/ 1701963 h 5973007"/>
              <a:gd name="connsiteX68786" fmla="*/ 4014426 w 6884782"/>
              <a:gd name="connsiteY68786" fmla="*/ 1698406 h 5973007"/>
              <a:gd name="connsiteX68787" fmla="*/ 4022962 w 6884782"/>
              <a:gd name="connsiteY68787" fmla="*/ 1695987 h 5973007"/>
              <a:gd name="connsiteX68788" fmla="*/ 4015279 w 6884782"/>
              <a:gd name="connsiteY68788" fmla="*/ 1699828 h 5973007"/>
              <a:gd name="connsiteX68789" fmla="*/ 4007383 w 6884782"/>
              <a:gd name="connsiteY68789" fmla="*/ 1702390 h 5973007"/>
              <a:gd name="connsiteX68790" fmla="*/ 4007169 w 6884782"/>
              <a:gd name="connsiteY68790" fmla="*/ 1704097 h 5973007"/>
              <a:gd name="connsiteX68791" fmla="*/ 4005675 w 6884782"/>
              <a:gd name="connsiteY68791" fmla="*/ 1705804 h 5973007"/>
              <a:gd name="connsiteX68792" fmla="*/ 4011438 w 6884782"/>
              <a:gd name="connsiteY68792" fmla="*/ 1713771 h 5973007"/>
              <a:gd name="connsiteX68793" fmla="*/ 4018480 w 6884782"/>
              <a:gd name="connsiteY68793" fmla="*/ 1721169 h 5973007"/>
              <a:gd name="connsiteX68794" fmla="*/ 4051774 w 6884782"/>
              <a:gd name="connsiteY68794" fmla="*/ 1723303 h 5973007"/>
              <a:gd name="connsiteX68795" fmla="*/ 4058176 w 6884782"/>
              <a:gd name="connsiteY68795" fmla="*/ 1711779 h 5973007"/>
              <a:gd name="connsiteX68796" fmla="*/ 4058817 w 6884782"/>
              <a:gd name="connsiteY68796" fmla="*/ 1710072 h 5973007"/>
              <a:gd name="connsiteX68797" fmla="*/ 4056683 w 6884782"/>
              <a:gd name="connsiteY68797" fmla="*/ 1711210 h 5973007"/>
              <a:gd name="connsiteX68798" fmla="*/ 4041316 w 6884782"/>
              <a:gd name="connsiteY68798" fmla="*/ 1686455 h 5973007"/>
              <a:gd name="connsiteX68799" fmla="*/ 4048572 w 6884782"/>
              <a:gd name="connsiteY68799" fmla="*/ 1686313 h 5973007"/>
              <a:gd name="connsiteX68800" fmla="*/ 4043877 w 6884782"/>
              <a:gd name="connsiteY68800" fmla="*/ 1680480 h 5973007"/>
              <a:gd name="connsiteX68801" fmla="*/ 4043664 w 6884782"/>
              <a:gd name="connsiteY68801" fmla="*/ 1672086 h 5973007"/>
              <a:gd name="connsiteX68802" fmla="*/ 4052414 w 6884782"/>
              <a:gd name="connsiteY68802" fmla="*/ 1675643 h 5973007"/>
              <a:gd name="connsiteX68803" fmla="*/ 4048786 w 6884782"/>
              <a:gd name="connsiteY68803" fmla="*/ 1686313 h 5973007"/>
              <a:gd name="connsiteX68804" fmla="*/ 4053908 w 6884782"/>
              <a:gd name="connsiteY68804" fmla="*/ 1689016 h 5973007"/>
              <a:gd name="connsiteX68805" fmla="*/ 4058603 w 6884782"/>
              <a:gd name="connsiteY68805" fmla="*/ 1693000 h 5973007"/>
              <a:gd name="connsiteX68806" fmla="*/ 4062018 w 6884782"/>
              <a:gd name="connsiteY68806" fmla="*/ 1698548 h 5973007"/>
              <a:gd name="connsiteX68807" fmla="*/ 4062018 w 6884782"/>
              <a:gd name="connsiteY68807" fmla="*/ 1698121 h 5973007"/>
              <a:gd name="connsiteX68808" fmla="*/ 4058390 w 6884782"/>
              <a:gd name="connsiteY68808" fmla="*/ 1678061 h 5973007"/>
              <a:gd name="connsiteX68809" fmla="*/ 4072689 w 6884782"/>
              <a:gd name="connsiteY68809" fmla="*/ 1673509 h 5973007"/>
              <a:gd name="connsiteX68810" fmla="*/ 4072262 w 6884782"/>
              <a:gd name="connsiteY68810" fmla="*/ 1665969 h 5973007"/>
              <a:gd name="connsiteX68811" fmla="*/ 4081866 w 6884782"/>
              <a:gd name="connsiteY68811" fmla="*/ 1661700 h 5973007"/>
              <a:gd name="connsiteX68812" fmla="*/ 4091043 w 6884782"/>
              <a:gd name="connsiteY68812" fmla="*/ 1665684 h 5973007"/>
              <a:gd name="connsiteX68813" fmla="*/ 4090403 w 6884782"/>
              <a:gd name="connsiteY68813" fmla="*/ 1670948 h 5973007"/>
              <a:gd name="connsiteX68814" fmla="*/ 4095525 w 6884782"/>
              <a:gd name="connsiteY68814" fmla="*/ 1670379 h 5973007"/>
              <a:gd name="connsiteX68815" fmla="*/ 4123269 w 6884782"/>
              <a:gd name="connsiteY68815" fmla="*/ 1666111 h 5973007"/>
              <a:gd name="connsiteX68816" fmla="*/ 4124977 w 6884782"/>
              <a:gd name="connsiteY68816" fmla="*/ 1660563 h 5973007"/>
              <a:gd name="connsiteX68817" fmla="*/ 4125831 w 6884782"/>
              <a:gd name="connsiteY68817" fmla="*/ 1654161 h 5973007"/>
              <a:gd name="connsiteX68818" fmla="*/ 4121349 w 6884782"/>
              <a:gd name="connsiteY68818" fmla="*/ 1652453 h 5973007"/>
              <a:gd name="connsiteX68819" fmla="*/ 4114306 w 6884782"/>
              <a:gd name="connsiteY68819" fmla="*/ 1646762 h 5973007"/>
              <a:gd name="connsiteX68820" fmla="*/ 4112598 w 6884782"/>
              <a:gd name="connsiteY68820" fmla="*/ 1644913 h 5973007"/>
              <a:gd name="connsiteX68821" fmla="*/ 4111958 w 6884782"/>
              <a:gd name="connsiteY68821" fmla="*/ 1645908 h 5973007"/>
              <a:gd name="connsiteX68822" fmla="*/ 4111531 w 6884782"/>
              <a:gd name="connsiteY68822" fmla="*/ 1644202 h 5973007"/>
              <a:gd name="connsiteX68823" fmla="*/ 4111105 w 6884782"/>
              <a:gd name="connsiteY68823" fmla="*/ 1644060 h 5973007"/>
              <a:gd name="connsiteX68824" fmla="*/ 4110037 w 6884782"/>
              <a:gd name="connsiteY68824" fmla="*/ 1643490 h 5973007"/>
              <a:gd name="connsiteX68825" fmla="*/ 4107690 w 6884782"/>
              <a:gd name="connsiteY68825" fmla="*/ 1638795 h 5973007"/>
              <a:gd name="connsiteX68826" fmla="*/ 4108330 w 6884782"/>
              <a:gd name="connsiteY68826" fmla="*/ 1637941 h 5973007"/>
              <a:gd name="connsiteX68827" fmla="*/ 4107476 w 6884782"/>
              <a:gd name="connsiteY68827" fmla="*/ 1637515 h 5973007"/>
              <a:gd name="connsiteX68828" fmla="*/ 4101714 w 6884782"/>
              <a:gd name="connsiteY68828" fmla="*/ 1645197 h 5973007"/>
              <a:gd name="connsiteX68829" fmla="*/ 4089336 w 6884782"/>
              <a:gd name="connsiteY68829" fmla="*/ 1650888 h 5973007"/>
              <a:gd name="connsiteX68830" fmla="*/ 4082720 w 6884782"/>
              <a:gd name="connsiteY68830" fmla="*/ 1640218 h 5973007"/>
              <a:gd name="connsiteX68831" fmla="*/ 4082720 w 6884782"/>
              <a:gd name="connsiteY68831" fmla="*/ 1637799 h 5973007"/>
              <a:gd name="connsiteX68832" fmla="*/ 4080372 w 6884782"/>
              <a:gd name="connsiteY68832" fmla="*/ 1637231 h 5973007"/>
              <a:gd name="connsiteX68833" fmla="*/ 4074823 w 6884782"/>
              <a:gd name="connsiteY68833" fmla="*/ 1634669 h 5973007"/>
              <a:gd name="connsiteX68834" fmla="*/ 4082079 w 6884782"/>
              <a:gd name="connsiteY68834" fmla="*/ 1632962 h 5973007"/>
              <a:gd name="connsiteX68835" fmla="*/ 4081653 w 6884782"/>
              <a:gd name="connsiteY68835" fmla="*/ 1628410 h 5973007"/>
              <a:gd name="connsiteX68836" fmla="*/ 4106196 w 6884782"/>
              <a:gd name="connsiteY68836" fmla="*/ 1597253 h 5973007"/>
              <a:gd name="connsiteX68837" fmla="*/ 4109397 w 6884782"/>
              <a:gd name="connsiteY68837" fmla="*/ 1598818 h 5973007"/>
              <a:gd name="connsiteX68838" fmla="*/ 4113238 w 6884782"/>
              <a:gd name="connsiteY68838" fmla="*/ 1605505 h 5973007"/>
              <a:gd name="connsiteX68839" fmla="*/ 4114733 w 6884782"/>
              <a:gd name="connsiteY68839" fmla="*/ 1619446 h 5973007"/>
              <a:gd name="connsiteX68840" fmla="*/ 4111531 w 6884782"/>
              <a:gd name="connsiteY68840" fmla="*/ 1630117 h 5973007"/>
              <a:gd name="connsiteX68841" fmla="*/ 4117721 w 6884782"/>
              <a:gd name="connsiteY68841" fmla="*/ 1634100 h 5973007"/>
              <a:gd name="connsiteX68842" fmla="*/ 4118361 w 6884782"/>
              <a:gd name="connsiteY68842" fmla="*/ 1633104 h 5973007"/>
              <a:gd name="connsiteX68843" fmla="*/ 4119001 w 6884782"/>
              <a:gd name="connsiteY68843" fmla="*/ 1630117 h 5973007"/>
              <a:gd name="connsiteX68844" fmla="*/ 4117934 w 6884782"/>
              <a:gd name="connsiteY68844" fmla="*/ 1629975 h 5973007"/>
              <a:gd name="connsiteX68845" fmla="*/ 4114306 w 6884782"/>
              <a:gd name="connsiteY68845" fmla="*/ 1626418 h 5973007"/>
              <a:gd name="connsiteX68846" fmla="*/ 4116226 w 6884782"/>
              <a:gd name="connsiteY68846" fmla="*/ 1624284 h 5973007"/>
              <a:gd name="connsiteX68847" fmla="*/ 4119001 w 6884782"/>
              <a:gd name="connsiteY68847" fmla="*/ 1626133 h 5973007"/>
              <a:gd name="connsiteX68848" fmla="*/ 4119428 w 6884782"/>
              <a:gd name="connsiteY68848" fmla="*/ 1626418 h 5973007"/>
              <a:gd name="connsiteX68849" fmla="*/ 4119641 w 6884782"/>
              <a:gd name="connsiteY68849" fmla="*/ 1625280 h 5973007"/>
              <a:gd name="connsiteX68850" fmla="*/ 4125831 w 6884782"/>
              <a:gd name="connsiteY68850" fmla="*/ 1617881 h 5973007"/>
              <a:gd name="connsiteX68851" fmla="*/ 4127751 w 6884782"/>
              <a:gd name="connsiteY68851" fmla="*/ 1619731 h 5973007"/>
              <a:gd name="connsiteX68852" fmla="*/ 4128391 w 6884782"/>
              <a:gd name="connsiteY68852" fmla="*/ 1619873 h 5973007"/>
              <a:gd name="connsiteX68853" fmla="*/ 4129885 w 6884782"/>
              <a:gd name="connsiteY68853" fmla="*/ 1619162 h 5973007"/>
              <a:gd name="connsiteX68854" fmla="*/ 4134367 w 6884782"/>
              <a:gd name="connsiteY68854" fmla="*/ 1619446 h 5973007"/>
              <a:gd name="connsiteX68855" fmla="*/ 4136502 w 6884782"/>
              <a:gd name="connsiteY68855" fmla="*/ 1622150 h 5973007"/>
              <a:gd name="connsiteX68856" fmla="*/ 4138636 w 6884782"/>
              <a:gd name="connsiteY68856" fmla="*/ 1624284 h 5973007"/>
              <a:gd name="connsiteX68857" fmla="*/ 4144825 w 6884782"/>
              <a:gd name="connsiteY68857" fmla="*/ 1625280 h 5973007"/>
              <a:gd name="connsiteX68858" fmla="*/ 4143544 w 6884782"/>
              <a:gd name="connsiteY68858" fmla="*/ 1636234 h 5973007"/>
              <a:gd name="connsiteX68859" fmla="*/ 4140130 w 6884782"/>
              <a:gd name="connsiteY68859" fmla="*/ 1636803 h 5973007"/>
              <a:gd name="connsiteX68860" fmla="*/ 4140130 w 6884782"/>
              <a:gd name="connsiteY68860" fmla="*/ 1636946 h 5973007"/>
              <a:gd name="connsiteX68861" fmla="*/ 4145251 w 6884782"/>
              <a:gd name="connsiteY68861" fmla="*/ 1637373 h 5973007"/>
              <a:gd name="connsiteX68862" fmla="*/ 4158697 w 6884782"/>
              <a:gd name="connsiteY68862" fmla="*/ 1638795 h 5973007"/>
              <a:gd name="connsiteX68863" fmla="*/ 4153789 w 6884782"/>
              <a:gd name="connsiteY68863" fmla="*/ 1625137 h 5973007"/>
              <a:gd name="connsiteX68864" fmla="*/ 4161258 w 6884782"/>
              <a:gd name="connsiteY68864" fmla="*/ 1622150 h 5973007"/>
              <a:gd name="connsiteX68865" fmla="*/ 4162539 w 6884782"/>
              <a:gd name="connsiteY68865" fmla="*/ 1622435 h 5973007"/>
              <a:gd name="connsiteX68866" fmla="*/ 4162965 w 6884782"/>
              <a:gd name="connsiteY68866" fmla="*/ 1619304 h 5973007"/>
              <a:gd name="connsiteX68867" fmla="*/ 4170435 w 6884782"/>
              <a:gd name="connsiteY68867" fmla="*/ 1613614 h 5973007"/>
              <a:gd name="connsiteX68868" fmla="*/ 4174703 w 6884782"/>
              <a:gd name="connsiteY68868" fmla="*/ 1616744 h 5973007"/>
              <a:gd name="connsiteX68869" fmla="*/ 4175984 w 6884782"/>
              <a:gd name="connsiteY68869" fmla="*/ 1621154 h 5973007"/>
              <a:gd name="connsiteX68870" fmla="*/ 4186015 w 6884782"/>
              <a:gd name="connsiteY68870" fmla="*/ 1624853 h 5973007"/>
              <a:gd name="connsiteX68871" fmla="*/ 4190497 w 6884782"/>
              <a:gd name="connsiteY68871" fmla="*/ 1636092 h 5973007"/>
              <a:gd name="connsiteX68872" fmla="*/ 4185801 w 6884782"/>
              <a:gd name="connsiteY68872" fmla="*/ 1637088 h 5973007"/>
              <a:gd name="connsiteX68873" fmla="*/ 4180466 w 6884782"/>
              <a:gd name="connsiteY68873" fmla="*/ 1628410 h 5973007"/>
              <a:gd name="connsiteX68874" fmla="*/ 4176411 w 6884782"/>
              <a:gd name="connsiteY68874" fmla="*/ 1622435 h 5973007"/>
              <a:gd name="connsiteX68875" fmla="*/ 4176624 w 6884782"/>
              <a:gd name="connsiteY68875" fmla="*/ 1623146 h 5973007"/>
              <a:gd name="connsiteX68876" fmla="*/ 4171716 w 6884782"/>
              <a:gd name="connsiteY68876" fmla="*/ 1627414 h 5973007"/>
              <a:gd name="connsiteX68877" fmla="*/ 4170008 w 6884782"/>
              <a:gd name="connsiteY68877" fmla="*/ 1627698 h 5973007"/>
              <a:gd name="connsiteX68878" fmla="*/ 4171289 w 6884782"/>
              <a:gd name="connsiteY68878" fmla="*/ 1629121 h 5973007"/>
              <a:gd name="connsiteX68879" fmla="*/ 4173636 w 6884782"/>
              <a:gd name="connsiteY68879" fmla="*/ 1642494 h 5973007"/>
              <a:gd name="connsiteX68880" fmla="*/ 4210985 w 6884782"/>
              <a:gd name="connsiteY68880" fmla="*/ 1631397 h 5973007"/>
              <a:gd name="connsiteX68881" fmla="*/ 4211625 w 6884782"/>
              <a:gd name="connsiteY68881" fmla="*/ 1615606 h 5973007"/>
              <a:gd name="connsiteX68882" fmla="*/ 4209918 w 6884782"/>
              <a:gd name="connsiteY68882" fmla="*/ 1608777 h 5973007"/>
              <a:gd name="connsiteX68883" fmla="*/ 4207784 w 6884782"/>
              <a:gd name="connsiteY68883" fmla="*/ 1610057 h 5973007"/>
              <a:gd name="connsiteX68884" fmla="*/ 4201594 w 6884782"/>
              <a:gd name="connsiteY68884" fmla="*/ 1608207 h 5973007"/>
              <a:gd name="connsiteX68885" fmla="*/ 4202448 w 6884782"/>
              <a:gd name="connsiteY68885" fmla="*/ 1601805 h 5973007"/>
              <a:gd name="connsiteX68886" fmla="*/ 4204369 w 6884782"/>
              <a:gd name="connsiteY68886" fmla="*/ 1600668 h 5973007"/>
              <a:gd name="connsiteX68887" fmla="*/ 4201381 w 6884782"/>
              <a:gd name="connsiteY68887" fmla="*/ 1599671 h 5973007"/>
              <a:gd name="connsiteX68888" fmla="*/ 4177051 w 6884782"/>
              <a:gd name="connsiteY68888" fmla="*/ 1599671 h 5973007"/>
              <a:gd name="connsiteX68889" fmla="*/ 4201808 w 6884782"/>
              <a:gd name="connsiteY68889" fmla="*/ 1593269 h 5973007"/>
              <a:gd name="connsiteX68890" fmla="*/ 4199673 w 6884782"/>
              <a:gd name="connsiteY68890" fmla="*/ 1544756 h 5973007"/>
              <a:gd name="connsiteX68891" fmla="*/ 4234888 w 6884782"/>
              <a:gd name="connsiteY68891" fmla="*/ 1606927 h 5973007"/>
              <a:gd name="connsiteX68892" fmla="*/ 4237449 w 6884782"/>
              <a:gd name="connsiteY68892" fmla="*/ 1610057 h 5973007"/>
              <a:gd name="connsiteX68893" fmla="*/ 4237022 w 6884782"/>
              <a:gd name="connsiteY68893" fmla="*/ 1607923 h 5973007"/>
              <a:gd name="connsiteX68894" fmla="*/ 4236809 w 6884782"/>
              <a:gd name="connsiteY68894" fmla="*/ 1606358 h 5973007"/>
              <a:gd name="connsiteX68895" fmla="*/ 4236169 w 6884782"/>
              <a:gd name="connsiteY68895" fmla="*/ 1604082 h 5973007"/>
              <a:gd name="connsiteX68896" fmla="*/ 4237662 w 6884782"/>
              <a:gd name="connsiteY68896" fmla="*/ 1601094 h 5973007"/>
              <a:gd name="connsiteX68897" fmla="*/ 4241290 w 6884782"/>
              <a:gd name="connsiteY68897" fmla="*/ 1605078 h 5973007"/>
              <a:gd name="connsiteX68898" fmla="*/ 4241717 w 6884782"/>
              <a:gd name="connsiteY68898" fmla="*/ 1610484 h 5973007"/>
              <a:gd name="connsiteX68899" fmla="*/ 4243425 w 6884782"/>
              <a:gd name="connsiteY68899" fmla="*/ 1616032 h 5973007"/>
              <a:gd name="connsiteX68900" fmla="*/ 4243212 w 6884782"/>
              <a:gd name="connsiteY68900" fmla="*/ 1616459 h 5973007"/>
              <a:gd name="connsiteX68901" fmla="*/ 4242998 w 6884782"/>
              <a:gd name="connsiteY68901" fmla="*/ 1617028 h 5973007"/>
              <a:gd name="connsiteX68902" fmla="*/ 4245345 w 6884782"/>
              <a:gd name="connsiteY68902" fmla="*/ 1620158 h 5973007"/>
              <a:gd name="connsiteX68903" fmla="*/ 4263699 w 6884782"/>
              <a:gd name="connsiteY68903" fmla="*/ 1618593 h 5973007"/>
              <a:gd name="connsiteX68904" fmla="*/ 4272877 w 6884782"/>
              <a:gd name="connsiteY68904" fmla="*/ 1618024 h 5973007"/>
              <a:gd name="connsiteX68905" fmla="*/ 4284615 w 6884782"/>
              <a:gd name="connsiteY68905" fmla="*/ 1617313 h 5973007"/>
              <a:gd name="connsiteX68906" fmla="*/ 4285255 w 6884782"/>
              <a:gd name="connsiteY68906" fmla="*/ 1616886 h 5973007"/>
              <a:gd name="connsiteX68907" fmla="*/ 4290591 w 6884782"/>
              <a:gd name="connsiteY68907" fmla="*/ 1616174 h 5973007"/>
              <a:gd name="connsiteX68908" fmla="*/ 4295499 w 6884782"/>
              <a:gd name="connsiteY68908" fmla="*/ 1617740 h 5973007"/>
              <a:gd name="connsiteX68909" fmla="*/ 4296566 w 6884782"/>
              <a:gd name="connsiteY68909" fmla="*/ 1618593 h 5973007"/>
              <a:gd name="connsiteX68910" fmla="*/ 4301262 w 6884782"/>
              <a:gd name="connsiteY68910" fmla="*/ 1619304 h 5973007"/>
              <a:gd name="connsiteX68911" fmla="*/ 4315347 w 6884782"/>
              <a:gd name="connsiteY68911" fmla="*/ 1619162 h 5973007"/>
              <a:gd name="connsiteX68912" fmla="*/ 4317481 w 6884782"/>
              <a:gd name="connsiteY68912" fmla="*/ 1617171 h 5973007"/>
              <a:gd name="connsiteX68913" fmla="*/ 4321109 w 6884782"/>
              <a:gd name="connsiteY68913" fmla="*/ 1613899 h 5973007"/>
              <a:gd name="connsiteX68914" fmla="*/ 4319829 w 6884782"/>
              <a:gd name="connsiteY68914" fmla="*/ 1612191 h 5973007"/>
              <a:gd name="connsiteX68915" fmla="*/ 4318121 w 6884782"/>
              <a:gd name="connsiteY68915" fmla="*/ 1609061 h 5973007"/>
              <a:gd name="connsiteX68916" fmla="*/ 4323457 w 6884782"/>
              <a:gd name="connsiteY68916" fmla="*/ 1606927 h 5973007"/>
              <a:gd name="connsiteX68917" fmla="*/ 4326232 w 6884782"/>
              <a:gd name="connsiteY68917" fmla="*/ 1609061 h 5973007"/>
              <a:gd name="connsiteX68918" fmla="*/ 4331780 w 6884782"/>
              <a:gd name="connsiteY68918" fmla="*/ 1604082 h 5973007"/>
              <a:gd name="connsiteX68919" fmla="*/ 4340744 w 6884782"/>
              <a:gd name="connsiteY68919" fmla="*/ 1589143 h 5973007"/>
              <a:gd name="connsiteX68920" fmla="*/ 4344372 w 6884782"/>
              <a:gd name="connsiteY68920" fmla="*/ 1573636 h 5973007"/>
              <a:gd name="connsiteX68921" fmla="*/ 4342025 w 6884782"/>
              <a:gd name="connsiteY68921" fmla="*/ 1573779 h 5973007"/>
              <a:gd name="connsiteX68922" fmla="*/ 4337329 w 6884782"/>
              <a:gd name="connsiteY68922" fmla="*/ 1568372 h 5973007"/>
              <a:gd name="connsiteX68923" fmla="*/ 4336476 w 6884782"/>
              <a:gd name="connsiteY68923" fmla="*/ 1565527 h 5973007"/>
              <a:gd name="connsiteX68924" fmla="*/ 4334341 w 6884782"/>
              <a:gd name="connsiteY68924" fmla="*/ 1572640 h 5973007"/>
              <a:gd name="connsiteX68925" fmla="*/ 4328792 w 6884782"/>
              <a:gd name="connsiteY68925" fmla="*/ 1581176 h 5973007"/>
              <a:gd name="connsiteX68926" fmla="*/ 4328792 w 6884782"/>
              <a:gd name="connsiteY68926" fmla="*/ 1582315 h 5973007"/>
              <a:gd name="connsiteX68927" fmla="*/ 4325592 w 6884782"/>
              <a:gd name="connsiteY68927" fmla="*/ 1587010 h 5973007"/>
              <a:gd name="connsiteX68928" fmla="*/ 4323670 w 6884782"/>
              <a:gd name="connsiteY68928" fmla="*/ 1588290 h 5973007"/>
              <a:gd name="connsiteX68929" fmla="*/ 4316841 w 6884782"/>
              <a:gd name="connsiteY68929" fmla="*/ 1580465 h 5973007"/>
              <a:gd name="connsiteX68930" fmla="*/ 4317695 w 6884782"/>
              <a:gd name="connsiteY68930" fmla="*/ 1578331 h 5973007"/>
              <a:gd name="connsiteX68931" fmla="*/ 4315774 w 6884782"/>
              <a:gd name="connsiteY68931" fmla="*/ 1577051 h 5973007"/>
              <a:gd name="connsiteX68932" fmla="*/ 4315561 w 6884782"/>
              <a:gd name="connsiteY68932" fmla="*/ 1580038 h 5973007"/>
              <a:gd name="connsiteX68933" fmla="*/ 4310865 w 6884782"/>
              <a:gd name="connsiteY68933" fmla="*/ 1578758 h 5973007"/>
              <a:gd name="connsiteX68934" fmla="*/ 4312146 w 6884782"/>
              <a:gd name="connsiteY68934" fmla="*/ 1576339 h 5973007"/>
              <a:gd name="connsiteX68935" fmla="*/ 4314280 w 6884782"/>
              <a:gd name="connsiteY68935" fmla="*/ 1575343 h 5973007"/>
              <a:gd name="connsiteX68936" fmla="*/ 4309158 w 6884782"/>
              <a:gd name="connsiteY68936" fmla="*/ 1567234 h 5973007"/>
              <a:gd name="connsiteX68937" fmla="*/ 4308091 w 6884782"/>
              <a:gd name="connsiteY68937" fmla="*/ 1570222 h 5973007"/>
              <a:gd name="connsiteX68938" fmla="*/ 4306170 w 6884782"/>
              <a:gd name="connsiteY68938" fmla="*/ 1570791 h 5973007"/>
              <a:gd name="connsiteX68939" fmla="*/ 4308091 w 6884782"/>
              <a:gd name="connsiteY68939" fmla="*/ 1574347 h 5973007"/>
              <a:gd name="connsiteX68940" fmla="*/ 4318762 w 6884782"/>
              <a:gd name="connsiteY68940" fmla="*/ 1595830 h 5973007"/>
              <a:gd name="connsiteX68941" fmla="*/ 4315774 w 6884782"/>
              <a:gd name="connsiteY68941" fmla="*/ 1595688 h 5973007"/>
              <a:gd name="connsiteX68942" fmla="*/ 4315987 w 6884782"/>
              <a:gd name="connsiteY68942" fmla="*/ 1597110 h 5973007"/>
              <a:gd name="connsiteX68943" fmla="*/ 4305530 w 6884782"/>
              <a:gd name="connsiteY68943" fmla="*/ 1601094 h 5973007"/>
              <a:gd name="connsiteX68944" fmla="*/ 4301688 w 6884782"/>
              <a:gd name="connsiteY68944" fmla="*/ 1597964 h 5973007"/>
              <a:gd name="connsiteX68945" fmla="*/ 4294859 w 6884782"/>
              <a:gd name="connsiteY68945" fmla="*/ 1601521 h 5973007"/>
              <a:gd name="connsiteX68946" fmla="*/ 4287816 w 6884782"/>
              <a:gd name="connsiteY68946" fmla="*/ 1604508 h 5973007"/>
              <a:gd name="connsiteX68947" fmla="*/ 4277145 w 6884782"/>
              <a:gd name="connsiteY68947" fmla="*/ 1603370 h 5973007"/>
              <a:gd name="connsiteX68948" fmla="*/ 4284828 w 6884782"/>
              <a:gd name="connsiteY68948" fmla="*/ 1552722 h 5973007"/>
              <a:gd name="connsiteX68949" fmla="*/ 4296566 w 6884782"/>
              <a:gd name="connsiteY68949" fmla="*/ 1557702 h 5973007"/>
              <a:gd name="connsiteX68950" fmla="*/ 4303395 w 6884782"/>
              <a:gd name="connsiteY68950" fmla="*/ 1565100 h 5973007"/>
              <a:gd name="connsiteX68951" fmla="*/ 4303395 w 6884782"/>
              <a:gd name="connsiteY68951" fmla="*/ 1565385 h 5973007"/>
              <a:gd name="connsiteX68952" fmla="*/ 4304890 w 6884782"/>
              <a:gd name="connsiteY68952" fmla="*/ 1564104 h 5973007"/>
              <a:gd name="connsiteX68953" fmla="*/ 4307878 w 6884782"/>
              <a:gd name="connsiteY68953" fmla="*/ 1563108 h 5973007"/>
              <a:gd name="connsiteX68954" fmla="*/ 4308091 w 6884782"/>
              <a:gd name="connsiteY68954" fmla="*/ 1563393 h 5973007"/>
              <a:gd name="connsiteX68955" fmla="*/ 4306383 w 6884782"/>
              <a:gd name="connsiteY68955" fmla="*/ 1554857 h 5973007"/>
              <a:gd name="connsiteX68956" fmla="*/ 4307878 w 6884782"/>
              <a:gd name="connsiteY68956" fmla="*/ 1542764 h 5973007"/>
              <a:gd name="connsiteX68957" fmla="*/ 4310652 w 6884782"/>
              <a:gd name="connsiteY68957" fmla="*/ 1538496 h 5973007"/>
              <a:gd name="connsiteX68958" fmla="*/ 4309585 w 6884782"/>
              <a:gd name="connsiteY68958" fmla="*/ 1536077 h 5973007"/>
              <a:gd name="connsiteX68959" fmla="*/ 4312146 w 6884782"/>
              <a:gd name="connsiteY68959" fmla="*/ 1533517 h 5973007"/>
              <a:gd name="connsiteX68960" fmla="*/ 4314493 w 6884782"/>
              <a:gd name="connsiteY68960" fmla="*/ 1532805 h 5973007"/>
              <a:gd name="connsiteX68961" fmla="*/ 4316841 w 6884782"/>
              <a:gd name="connsiteY68961" fmla="*/ 1529391 h 5973007"/>
              <a:gd name="connsiteX68962" fmla="*/ 4334982 w 6884782"/>
              <a:gd name="connsiteY68962" fmla="*/ 1543475 h 5973007"/>
              <a:gd name="connsiteX68963" fmla="*/ 4337756 w 6884782"/>
              <a:gd name="connsiteY68963" fmla="*/ 1552722 h 5973007"/>
              <a:gd name="connsiteX68964" fmla="*/ 4343519 w 6884782"/>
              <a:gd name="connsiteY68964" fmla="*/ 1551015 h 5973007"/>
              <a:gd name="connsiteX68965" fmla="*/ 4345653 w 6884782"/>
              <a:gd name="connsiteY68965" fmla="*/ 1551300 h 5973007"/>
              <a:gd name="connsiteX68966" fmla="*/ 4346720 w 6884782"/>
              <a:gd name="connsiteY68966" fmla="*/ 1544898 h 5973007"/>
              <a:gd name="connsiteX68967" fmla="*/ 4346293 w 6884782"/>
              <a:gd name="connsiteY68967" fmla="*/ 1535224 h 5973007"/>
              <a:gd name="connsiteX68968" fmla="*/ 4362300 w 6884782"/>
              <a:gd name="connsiteY68968" fmla="*/ 1525407 h 5973007"/>
              <a:gd name="connsiteX68969" fmla="*/ 4354830 w 6884782"/>
              <a:gd name="connsiteY68969" fmla="*/ 1621581 h 5973007"/>
              <a:gd name="connsiteX68970" fmla="*/ 4397301 w 6884782"/>
              <a:gd name="connsiteY68970" fmla="*/ 1621581 h 5973007"/>
              <a:gd name="connsiteX68971" fmla="*/ 4410960 w 6884782"/>
              <a:gd name="connsiteY68971" fmla="*/ 1603655 h 5973007"/>
              <a:gd name="connsiteX68972" fmla="*/ 4426539 w 6884782"/>
              <a:gd name="connsiteY68972" fmla="*/ 1599245 h 5973007"/>
              <a:gd name="connsiteX68973" fmla="*/ 4432728 w 6884782"/>
              <a:gd name="connsiteY68973" fmla="*/ 1634527 h 5973007"/>
              <a:gd name="connsiteX68974" fmla="*/ 4468155 w 6884782"/>
              <a:gd name="connsiteY68974" fmla="*/ 1637088 h 5973007"/>
              <a:gd name="connsiteX68975" fmla="*/ 4475412 w 6884782"/>
              <a:gd name="connsiteY68975" fmla="*/ 1634812 h 5973007"/>
              <a:gd name="connsiteX68976" fmla="*/ 4477546 w 6884782"/>
              <a:gd name="connsiteY68976" fmla="*/ 1628267 h 5973007"/>
              <a:gd name="connsiteX68977" fmla="*/ 4470503 w 6884782"/>
              <a:gd name="connsiteY68977" fmla="*/ 1625707 h 5973007"/>
              <a:gd name="connsiteX68978" fmla="*/ 4468155 w 6884782"/>
              <a:gd name="connsiteY68978" fmla="*/ 1624710 h 5973007"/>
              <a:gd name="connsiteX68979" fmla="*/ 4468369 w 6884782"/>
              <a:gd name="connsiteY68979" fmla="*/ 1625991 h 5973007"/>
              <a:gd name="connsiteX68980" fmla="*/ 4467729 w 6884782"/>
              <a:gd name="connsiteY68980" fmla="*/ 1624568 h 5973007"/>
              <a:gd name="connsiteX68981" fmla="*/ 4461327 w 6884782"/>
              <a:gd name="connsiteY68981" fmla="*/ 1621865 h 5973007"/>
              <a:gd name="connsiteX68982" fmla="*/ 4452789 w 6884782"/>
              <a:gd name="connsiteY68982" fmla="*/ 1610484 h 5973007"/>
              <a:gd name="connsiteX68983" fmla="*/ 4459406 w 6884782"/>
              <a:gd name="connsiteY68983" fmla="*/ 1612191 h 5973007"/>
              <a:gd name="connsiteX68984" fmla="*/ 4464955 w 6884782"/>
              <a:gd name="connsiteY68984" fmla="*/ 1613756 h 5973007"/>
              <a:gd name="connsiteX68985" fmla="*/ 4465168 w 6884782"/>
              <a:gd name="connsiteY68985" fmla="*/ 1612618 h 5973007"/>
              <a:gd name="connsiteX68986" fmla="*/ 4465595 w 6884782"/>
              <a:gd name="connsiteY68986" fmla="*/ 1613899 h 5973007"/>
              <a:gd name="connsiteX68987" fmla="*/ 4467729 w 6884782"/>
              <a:gd name="connsiteY68987" fmla="*/ 1614467 h 5973007"/>
              <a:gd name="connsiteX68988" fmla="*/ 4478400 w 6884782"/>
              <a:gd name="connsiteY68988" fmla="*/ 1623857 h 5973007"/>
              <a:gd name="connsiteX68989" fmla="*/ 4477973 w 6884782"/>
              <a:gd name="connsiteY68989" fmla="*/ 1626987 h 5973007"/>
              <a:gd name="connsiteX68990" fmla="*/ 4478613 w 6884782"/>
              <a:gd name="connsiteY68990" fmla="*/ 1625137 h 5973007"/>
              <a:gd name="connsiteX68991" fmla="*/ 4486723 w 6884782"/>
              <a:gd name="connsiteY68991" fmla="*/ 1616032 h 5973007"/>
              <a:gd name="connsiteX68992" fmla="*/ 4491419 w 6884782"/>
              <a:gd name="connsiteY68992" fmla="*/ 1613899 h 5973007"/>
              <a:gd name="connsiteX68993" fmla="*/ 4494406 w 6884782"/>
              <a:gd name="connsiteY68993" fmla="*/ 1608350 h 5973007"/>
              <a:gd name="connsiteX68994" fmla="*/ 4490138 w 6884782"/>
              <a:gd name="connsiteY68994" fmla="*/ 1608207 h 5973007"/>
              <a:gd name="connsiteX68995" fmla="*/ 4489711 w 6884782"/>
              <a:gd name="connsiteY68995" fmla="*/ 1600668 h 5973007"/>
              <a:gd name="connsiteX68996" fmla="*/ 4497608 w 6884782"/>
              <a:gd name="connsiteY68996" fmla="*/ 1595119 h 5973007"/>
              <a:gd name="connsiteX68997" fmla="*/ 4501663 w 6884782"/>
              <a:gd name="connsiteY68997" fmla="*/ 1596114 h 5973007"/>
              <a:gd name="connsiteX68998" fmla="*/ 4501663 w 6884782"/>
              <a:gd name="connsiteY68998" fmla="*/ 1596684 h 5973007"/>
              <a:gd name="connsiteX68999" fmla="*/ 4508492 w 6884782"/>
              <a:gd name="connsiteY68999" fmla="*/ 1587436 h 5973007"/>
              <a:gd name="connsiteX69000" fmla="*/ 4519377 w 6884782"/>
              <a:gd name="connsiteY69000" fmla="*/ 1577335 h 5973007"/>
              <a:gd name="connsiteX69001" fmla="*/ 4513614 w 6884782"/>
              <a:gd name="connsiteY69001" fmla="*/ 1575343 h 5973007"/>
              <a:gd name="connsiteX69002" fmla="*/ 4500809 w 6884782"/>
              <a:gd name="connsiteY69002" fmla="*/ 1565811 h 5973007"/>
              <a:gd name="connsiteX69003" fmla="*/ 4518950 w 6884782"/>
              <a:gd name="connsiteY69003" fmla="*/ 1565811 h 5973007"/>
              <a:gd name="connsiteX69004" fmla="*/ 4532181 w 6884782"/>
              <a:gd name="connsiteY69004" fmla="*/ 1570648 h 5973007"/>
              <a:gd name="connsiteX69005" fmla="*/ 4530474 w 6884782"/>
              <a:gd name="connsiteY69005" fmla="*/ 1583595 h 5973007"/>
              <a:gd name="connsiteX69006" fmla="*/ 4523858 w 6884782"/>
              <a:gd name="connsiteY69006" fmla="*/ 1579327 h 5973007"/>
              <a:gd name="connsiteX69007" fmla="*/ 4526419 w 6884782"/>
              <a:gd name="connsiteY69007" fmla="*/ 1590139 h 5973007"/>
              <a:gd name="connsiteX69008" fmla="*/ 4524498 w 6884782"/>
              <a:gd name="connsiteY69008" fmla="*/ 1597395 h 5973007"/>
              <a:gd name="connsiteX69009" fmla="*/ 4526633 w 6884782"/>
              <a:gd name="connsiteY69009" fmla="*/ 1596684 h 5973007"/>
              <a:gd name="connsiteX69010" fmla="*/ 4528767 w 6884782"/>
              <a:gd name="connsiteY69010" fmla="*/ 1597679 h 5973007"/>
              <a:gd name="connsiteX69011" fmla="*/ 4529407 w 6884782"/>
              <a:gd name="connsiteY69011" fmla="*/ 1600809 h 5973007"/>
              <a:gd name="connsiteX69012" fmla="*/ 4524712 w 6884782"/>
              <a:gd name="connsiteY69012" fmla="*/ 1603940 h 5973007"/>
              <a:gd name="connsiteX69013" fmla="*/ 4523005 w 6884782"/>
              <a:gd name="connsiteY69013" fmla="*/ 1603655 h 5973007"/>
              <a:gd name="connsiteX69014" fmla="*/ 4522151 w 6884782"/>
              <a:gd name="connsiteY69014" fmla="*/ 1606927 h 5973007"/>
              <a:gd name="connsiteX69015" fmla="*/ 4526419 w 6884782"/>
              <a:gd name="connsiteY69015" fmla="*/ 1611053 h 5973007"/>
              <a:gd name="connsiteX69016" fmla="*/ 4545200 w 6884782"/>
              <a:gd name="connsiteY69016" fmla="*/ 1615036 h 5973007"/>
              <a:gd name="connsiteX69017" fmla="*/ 4565049 w 6884782"/>
              <a:gd name="connsiteY69017" fmla="*/ 1646905 h 5973007"/>
              <a:gd name="connsiteX69018" fmla="*/ 4557578 w 6884782"/>
              <a:gd name="connsiteY69018" fmla="*/ 1688305 h 5973007"/>
              <a:gd name="connsiteX69019" fmla="*/ 4546907 w 6884782"/>
              <a:gd name="connsiteY69019" fmla="*/ 1693142 h 5973007"/>
              <a:gd name="connsiteX69020" fmla="*/ 4542426 w 6884782"/>
              <a:gd name="connsiteY69020" fmla="*/ 1696414 h 5973007"/>
              <a:gd name="connsiteX69021" fmla="*/ 4539865 w 6884782"/>
              <a:gd name="connsiteY69021" fmla="*/ 1711637 h 5973007"/>
              <a:gd name="connsiteX69022" fmla="*/ 4544987 w 6884782"/>
              <a:gd name="connsiteY69022" fmla="*/ 1716190 h 5973007"/>
              <a:gd name="connsiteX69023" fmla="*/ 4546907 w 6884782"/>
              <a:gd name="connsiteY69023" fmla="*/ 1713913 h 5973007"/>
              <a:gd name="connsiteX69024" fmla="*/ 4549682 w 6884782"/>
              <a:gd name="connsiteY69024" fmla="*/ 1712917 h 5973007"/>
              <a:gd name="connsiteX69025" fmla="*/ 4549682 w 6884782"/>
              <a:gd name="connsiteY69025" fmla="*/ 1722165 h 5973007"/>
              <a:gd name="connsiteX69026" fmla="*/ 4548188 w 6884782"/>
              <a:gd name="connsiteY69026" fmla="*/ 1722592 h 5973007"/>
              <a:gd name="connsiteX69027" fmla="*/ 4554591 w 6884782"/>
              <a:gd name="connsiteY69027" fmla="*/ 1726433 h 5973007"/>
              <a:gd name="connsiteX69028" fmla="*/ 4570170 w 6884782"/>
              <a:gd name="connsiteY69028" fmla="*/ 1727856 h 5973007"/>
              <a:gd name="connsiteX69029" fmla="*/ 4573799 w 6884782"/>
              <a:gd name="connsiteY69029" fmla="*/ 1724868 h 5973007"/>
              <a:gd name="connsiteX69030" fmla="*/ 4571877 w 6884782"/>
              <a:gd name="connsiteY69030" fmla="*/ 1722592 h 5973007"/>
              <a:gd name="connsiteX69031" fmla="*/ 4570170 w 6884782"/>
              <a:gd name="connsiteY69031" fmla="*/ 1707654 h 5973007"/>
              <a:gd name="connsiteX69032" fmla="*/ 4572518 w 6884782"/>
              <a:gd name="connsiteY69032" fmla="*/ 1710499 h 5973007"/>
              <a:gd name="connsiteX69033" fmla="*/ 4574225 w 6884782"/>
              <a:gd name="connsiteY69033" fmla="*/ 1718181 h 5973007"/>
              <a:gd name="connsiteX69034" fmla="*/ 4574225 w 6884782"/>
              <a:gd name="connsiteY69034" fmla="*/ 1722022 h 5973007"/>
              <a:gd name="connsiteX69035" fmla="*/ 4574225 w 6884782"/>
              <a:gd name="connsiteY69035" fmla="*/ 1724583 h 5973007"/>
              <a:gd name="connsiteX69036" fmla="*/ 4575292 w 6884782"/>
              <a:gd name="connsiteY69036" fmla="*/ 1723587 h 5973007"/>
              <a:gd name="connsiteX69037" fmla="*/ 4574225 w 6884782"/>
              <a:gd name="connsiteY69037" fmla="*/ 1722022 h 5973007"/>
              <a:gd name="connsiteX69038" fmla="*/ 4577000 w 6884782"/>
              <a:gd name="connsiteY69038" fmla="*/ 1722307 h 5973007"/>
              <a:gd name="connsiteX69039" fmla="*/ 4578067 w 6884782"/>
              <a:gd name="connsiteY69039" fmla="*/ 1721453 h 5973007"/>
              <a:gd name="connsiteX69040" fmla="*/ 4581482 w 6884782"/>
              <a:gd name="connsiteY69040" fmla="*/ 1716190 h 5973007"/>
              <a:gd name="connsiteX69041" fmla="*/ 4594074 w 6884782"/>
              <a:gd name="connsiteY69041" fmla="*/ 1709076 h 5973007"/>
              <a:gd name="connsiteX69042" fmla="*/ 4602824 w 6884782"/>
              <a:gd name="connsiteY69042" fmla="*/ 1714909 h 5973007"/>
              <a:gd name="connsiteX69043" fmla="*/ 4598769 w 6884782"/>
              <a:gd name="connsiteY69043" fmla="*/ 1728140 h 5973007"/>
              <a:gd name="connsiteX69044" fmla="*/ 4597488 w 6884782"/>
              <a:gd name="connsiteY69044" fmla="*/ 1728994 h 5973007"/>
              <a:gd name="connsiteX69045" fmla="*/ 4595567 w 6884782"/>
              <a:gd name="connsiteY69045" fmla="*/ 1730416 h 5973007"/>
              <a:gd name="connsiteX69046" fmla="*/ 4597702 w 6884782"/>
              <a:gd name="connsiteY69046" fmla="*/ 1732693 h 5973007"/>
              <a:gd name="connsiteX69047" fmla="*/ 4591939 w 6884782"/>
              <a:gd name="connsiteY69047" fmla="*/ 1733262 h 5973007"/>
              <a:gd name="connsiteX69048" fmla="*/ 4589165 w 6884782"/>
              <a:gd name="connsiteY69048" fmla="*/ 1735538 h 5973007"/>
              <a:gd name="connsiteX69049" fmla="*/ 4582762 w 6884782"/>
              <a:gd name="connsiteY69049" fmla="*/ 1737815 h 5973007"/>
              <a:gd name="connsiteX69050" fmla="*/ 4582548 w 6884782"/>
              <a:gd name="connsiteY69050" fmla="*/ 1738099 h 5973007"/>
              <a:gd name="connsiteX69051" fmla="*/ 4585536 w 6884782"/>
              <a:gd name="connsiteY69051" fmla="*/ 1743505 h 5973007"/>
              <a:gd name="connsiteX69052" fmla="*/ 4585536 w 6884782"/>
              <a:gd name="connsiteY69052" fmla="*/ 1745924 h 5973007"/>
              <a:gd name="connsiteX69053" fmla="*/ 4585750 w 6884782"/>
              <a:gd name="connsiteY69053" fmla="*/ 1745924 h 5973007"/>
              <a:gd name="connsiteX69054" fmla="*/ 4585323 w 6884782"/>
              <a:gd name="connsiteY69054" fmla="*/ 1746351 h 5973007"/>
              <a:gd name="connsiteX69055" fmla="*/ 4585323 w 6884782"/>
              <a:gd name="connsiteY69055" fmla="*/ 1747346 h 5973007"/>
              <a:gd name="connsiteX69056" fmla="*/ 4586391 w 6884782"/>
              <a:gd name="connsiteY69056" fmla="*/ 1746919 h 5973007"/>
              <a:gd name="connsiteX69057" fmla="*/ 4593860 w 6884782"/>
              <a:gd name="connsiteY69057" fmla="*/ 1747773 h 5973007"/>
              <a:gd name="connsiteX69058" fmla="*/ 4590659 w 6884782"/>
              <a:gd name="connsiteY69058" fmla="*/ 1754602 h 5973007"/>
              <a:gd name="connsiteX69059" fmla="*/ 4589805 w 6884782"/>
              <a:gd name="connsiteY69059" fmla="*/ 1754318 h 5973007"/>
              <a:gd name="connsiteX69060" fmla="*/ 4589591 w 6884782"/>
              <a:gd name="connsiteY69060" fmla="*/ 1754602 h 5973007"/>
              <a:gd name="connsiteX69061" fmla="*/ 4588738 w 6884782"/>
              <a:gd name="connsiteY69061" fmla="*/ 1757590 h 5973007"/>
              <a:gd name="connsiteX69062" fmla="*/ 4584470 w 6884782"/>
              <a:gd name="connsiteY69062" fmla="*/ 1756025 h 5973007"/>
              <a:gd name="connsiteX69063" fmla="*/ 4583829 w 6884782"/>
              <a:gd name="connsiteY69063" fmla="*/ 1754745 h 5973007"/>
              <a:gd name="connsiteX69064" fmla="*/ 4583403 w 6884782"/>
              <a:gd name="connsiteY69064" fmla="*/ 1754887 h 5973007"/>
              <a:gd name="connsiteX69065" fmla="*/ 4582335 w 6884782"/>
              <a:gd name="connsiteY69065" fmla="*/ 1756878 h 5973007"/>
              <a:gd name="connsiteX69066" fmla="*/ 4582976 w 6884782"/>
              <a:gd name="connsiteY69066" fmla="*/ 1759155 h 5973007"/>
              <a:gd name="connsiteX69067" fmla="*/ 4580841 w 6884782"/>
              <a:gd name="connsiteY69067" fmla="*/ 1759582 h 5973007"/>
              <a:gd name="connsiteX69068" fmla="*/ 4583829 w 6884782"/>
              <a:gd name="connsiteY69068" fmla="*/ 1762000 h 5973007"/>
              <a:gd name="connsiteX69069" fmla="*/ 4589378 w 6884782"/>
              <a:gd name="connsiteY69069" fmla="*/ 1764561 h 5973007"/>
              <a:gd name="connsiteX69070" fmla="*/ 4590445 w 6884782"/>
              <a:gd name="connsiteY69070" fmla="*/ 1763565 h 5973007"/>
              <a:gd name="connsiteX69071" fmla="*/ 4597702 w 6884782"/>
              <a:gd name="connsiteY69071" fmla="*/ 1762569 h 5973007"/>
              <a:gd name="connsiteX69072" fmla="*/ 4598769 w 6884782"/>
              <a:gd name="connsiteY69072" fmla="*/ 1767406 h 5973007"/>
              <a:gd name="connsiteX69073" fmla="*/ 4600903 w 6884782"/>
              <a:gd name="connsiteY69073" fmla="*/ 1767833 h 5973007"/>
              <a:gd name="connsiteX69074" fmla="*/ 4613708 w 6884782"/>
              <a:gd name="connsiteY69074" fmla="*/ 1769256 h 5973007"/>
              <a:gd name="connsiteX69075" fmla="*/ 4604745 w 6884782"/>
              <a:gd name="connsiteY69075" fmla="*/ 1800840 h 5973007"/>
              <a:gd name="connsiteX69076" fmla="*/ 4607946 w 6884782"/>
              <a:gd name="connsiteY69076" fmla="*/ 1806815 h 5973007"/>
              <a:gd name="connsiteX69077" fmla="*/ 4609013 w 6884782"/>
              <a:gd name="connsiteY69077" fmla="*/ 1805392 h 5973007"/>
              <a:gd name="connsiteX69078" fmla="*/ 4611147 w 6884782"/>
              <a:gd name="connsiteY69078" fmla="*/ 1803258 h 5973007"/>
              <a:gd name="connsiteX69079" fmla="*/ 4612214 w 6884782"/>
              <a:gd name="connsiteY69079" fmla="*/ 1800840 h 5973007"/>
              <a:gd name="connsiteX69080" fmla="*/ 4616483 w 6884782"/>
              <a:gd name="connsiteY69080" fmla="*/ 1798705 h 5973007"/>
              <a:gd name="connsiteX69081" fmla="*/ 4615629 w 6884782"/>
              <a:gd name="connsiteY69081" fmla="*/ 1800982 h 5973007"/>
              <a:gd name="connsiteX69082" fmla="*/ 4613495 w 6884782"/>
              <a:gd name="connsiteY69082" fmla="*/ 1803258 h 5973007"/>
              <a:gd name="connsiteX69083" fmla="*/ 4613495 w 6884782"/>
              <a:gd name="connsiteY69083" fmla="*/ 1805534 h 5973007"/>
              <a:gd name="connsiteX69084" fmla="*/ 4610720 w 6884782"/>
              <a:gd name="connsiteY69084" fmla="*/ 1809518 h 5973007"/>
              <a:gd name="connsiteX69085" fmla="*/ 4611574 w 6884782"/>
              <a:gd name="connsiteY69085" fmla="*/ 1809660 h 5973007"/>
              <a:gd name="connsiteX69086" fmla="*/ 4619470 w 6884782"/>
              <a:gd name="connsiteY69086" fmla="*/ 1811225 h 5973007"/>
              <a:gd name="connsiteX69087" fmla="*/ 4629928 w 6884782"/>
              <a:gd name="connsiteY69087" fmla="*/ 1805819 h 5973007"/>
              <a:gd name="connsiteX69088" fmla="*/ 4653617 w 6884782"/>
              <a:gd name="connsiteY69088" fmla="*/ 1803969 h 5973007"/>
              <a:gd name="connsiteX69089" fmla="*/ 4652764 w 6884782"/>
              <a:gd name="connsiteY69089" fmla="*/ 1814640 h 5973007"/>
              <a:gd name="connsiteX69090" fmla="*/ 4644227 w 6884782"/>
              <a:gd name="connsiteY69090" fmla="*/ 1821753 h 5973007"/>
              <a:gd name="connsiteX69091" fmla="*/ 4644654 w 6884782"/>
              <a:gd name="connsiteY69091" fmla="*/ 1822180 h 5973007"/>
              <a:gd name="connsiteX69092" fmla="*/ 4646788 w 6884782"/>
              <a:gd name="connsiteY69092" fmla="*/ 1828440 h 5973007"/>
              <a:gd name="connsiteX69093" fmla="*/ 4646574 w 6884782"/>
              <a:gd name="connsiteY69093" fmla="*/ 1833703 h 5973007"/>
              <a:gd name="connsiteX69094" fmla="*/ 4647855 w 6884782"/>
              <a:gd name="connsiteY69094" fmla="*/ 1832138 h 5973007"/>
              <a:gd name="connsiteX69095" fmla="*/ 4650416 w 6884782"/>
              <a:gd name="connsiteY69095" fmla="*/ 1830147 h 5973007"/>
              <a:gd name="connsiteX69096" fmla="*/ 4648282 w 6884782"/>
              <a:gd name="connsiteY69096" fmla="*/ 1832423 h 5973007"/>
              <a:gd name="connsiteX69097" fmla="*/ 4648496 w 6884782"/>
              <a:gd name="connsiteY69097" fmla="*/ 1834984 h 5973007"/>
              <a:gd name="connsiteX69098" fmla="*/ 4647215 w 6884782"/>
              <a:gd name="connsiteY69098" fmla="*/ 1835838 h 5973007"/>
              <a:gd name="connsiteX69099" fmla="*/ 4646361 w 6884782"/>
              <a:gd name="connsiteY69099" fmla="*/ 1835980 h 5973007"/>
              <a:gd name="connsiteX69100" fmla="*/ 4643587 w 6884782"/>
              <a:gd name="connsiteY69100" fmla="*/ 1842524 h 5973007"/>
              <a:gd name="connsiteX69101" fmla="*/ 4638891 w 6884782"/>
              <a:gd name="connsiteY69101" fmla="*/ 1848215 h 5973007"/>
              <a:gd name="connsiteX69102" fmla="*/ 4638891 w 6884782"/>
              <a:gd name="connsiteY69102" fmla="*/ 1848357 h 5973007"/>
              <a:gd name="connsiteX69103" fmla="*/ 4636971 w 6884782"/>
              <a:gd name="connsiteY69103" fmla="*/ 1850633 h 5973007"/>
              <a:gd name="connsiteX69104" fmla="*/ 4628647 w 6884782"/>
              <a:gd name="connsiteY69104" fmla="*/ 1856608 h 5973007"/>
              <a:gd name="connsiteX69105" fmla="*/ 4625019 w 6884782"/>
              <a:gd name="connsiteY69105" fmla="*/ 1857889 h 5973007"/>
              <a:gd name="connsiteX69106" fmla="*/ 4626513 w 6884782"/>
              <a:gd name="connsiteY69106" fmla="*/ 1862584 h 5973007"/>
              <a:gd name="connsiteX69107" fmla="*/ 4632275 w 6884782"/>
              <a:gd name="connsiteY69107" fmla="*/ 1868559 h 5973007"/>
              <a:gd name="connsiteX69108" fmla="*/ 4634623 w 6884782"/>
              <a:gd name="connsiteY69108" fmla="*/ 1867990 h 5973007"/>
              <a:gd name="connsiteX69109" fmla="*/ 4635050 w 6884782"/>
              <a:gd name="connsiteY69109" fmla="*/ 1867990 h 5973007"/>
              <a:gd name="connsiteX69110" fmla="*/ 4635050 w 6884782"/>
              <a:gd name="connsiteY69110" fmla="*/ 1866852 h 5973007"/>
              <a:gd name="connsiteX69111" fmla="*/ 4633770 w 6884782"/>
              <a:gd name="connsiteY69111" fmla="*/ 1866283 h 5973007"/>
              <a:gd name="connsiteX69112" fmla="*/ 4634623 w 6884782"/>
              <a:gd name="connsiteY69112" fmla="*/ 1865572 h 5973007"/>
              <a:gd name="connsiteX69113" fmla="*/ 4634837 w 6884782"/>
              <a:gd name="connsiteY69113" fmla="*/ 1864007 h 5973007"/>
              <a:gd name="connsiteX69114" fmla="*/ 4639958 w 6884782"/>
              <a:gd name="connsiteY69114" fmla="*/ 1863580 h 5973007"/>
              <a:gd name="connsiteX69115" fmla="*/ 4640172 w 6884782"/>
              <a:gd name="connsiteY69115" fmla="*/ 1863580 h 5973007"/>
              <a:gd name="connsiteX69116" fmla="*/ 4644867 w 6884782"/>
              <a:gd name="connsiteY69116" fmla="*/ 1854901 h 5973007"/>
              <a:gd name="connsiteX69117" fmla="*/ 4647215 w 6884782"/>
              <a:gd name="connsiteY69117" fmla="*/ 1853478 h 5973007"/>
              <a:gd name="connsiteX69118" fmla="*/ 4648069 w 6884782"/>
              <a:gd name="connsiteY69118" fmla="*/ 1851060 h 5973007"/>
              <a:gd name="connsiteX69119" fmla="*/ 4649136 w 6884782"/>
              <a:gd name="connsiteY69119" fmla="*/ 1852483 h 5973007"/>
              <a:gd name="connsiteX69120" fmla="*/ 4649349 w 6884782"/>
              <a:gd name="connsiteY69120" fmla="*/ 1852198 h 5973007"/>
              <a:gd name="connsiteX69121" fmla="*/ 4649562 w 6884782"/>
              <a:gd name="connsiteY69121" fmla="*/ 1852767 h 5973007"/>
              <a:gd name="connsiteX69122" fmla="*/ 4650416 w 6884782"/>
              <a:gd name="connsiteY69122" fmla="*/ 1852483 h 5973007"/>
              <a:gd name="connsiteX69123" fmla="*/ 4652977 w 6884782"/>
              <a:gd name="connsiteY69123" fmla="*/ 1853478 h 5973007"/>
              <a:gd name="connsiteX69124" fmla="*/ 4652764 w 6884782"/>
              <a:gd name="connsiteY69124" fmla="*/ 1859312 h 5973007"/>
              <a:gd name="connsiteX69125" fmla="*/ 4647001 w 6884782"/>
              <a:gd name="connsiteY69125" fmla="*/ 1862157 h 5973007"/>
              <a:gd name="connsiteX69126" fmla="*/ 4643587 w 6884782"/>
              <a:gd name="connsiteY69126" fmla="*/ 1864718 h 5973007"/>
              <a:gd name="connsiteX69127" fmla="*/ 4640812 w 6884782"/>
              <a:gd name="connsiteY69127" fmla="*/ 1863864 h 5973007"/>
              <a:gd name="connsiteX69128" fmla="*/ 4642520 w 6884782"/>
              <a:gd name="connsiteY69128" fmla="*/ 1864861 h 5973007"/>
              <a:gd name="connsiteX69129" fmla="*/ 4643587 w 6884782"/>
              <a:gd name="connsiteY69129" fmla="*/ 1866994 h 5973007"/>
              <a:gd name="connsiteX69130" fmla="*/ 4642520 w 6884782"/>
              <a:gd name="connsiteY69130" fmla="*/ 1869271 h 5973007"/>
              <a:gd name="connsiteX69131" fmla="*/ 4641026 w 6884782"/>
              <a:gd name="connsiteY69131" fmla="*/ 1871120 h 5973007"/>
              <a:gd name="connsiteX69132" fmla="*/ 4647855 w 6884782"/>
              <a:gd name="connsiteY69132" fmla="*/ 1867990 h 5973007"/>
              <a:gd name="connsiteX69133" fmla="*/ 4644867 w 6884782"/>
              <a:gd name="connsiteY69133" fmla="*/ 1877665 h 5973007"/>
              <a:gd name="connsiteX69134" fmla="*/ 4648282 w 6884782"/>
              <a:gd name="connsiteY69134" fmla="*/ 1879656 h 5973007"/>
              <a:gd name="connsiteX69135" fmla="*/ 4648922 w 6884782"/>
              <a:gd name="connsiteY69135" fmla="*/ 1878092 h 5973007"/>
              <a:gd name="connsiteX69136" fmla="*/ 4650203 w 6884782"/>
              <a:gd name="connsiteY69136" fmla="*/ 1879230 h 5973007"/>
              <a:gd name="connsiteX69137" fmla="*/ 4649989 w 6884782"/>
              <a:gd name="connsiteY69137" fmla="*/ 1880226 h 5973007"/>
              <a:gd name="connsiteX69138" fmla="*/ 4659593 w 6884782"/>
              <a:gd name="connsiteY69138" fmla="*/ 1882502 h 5973007"/>
              <a:gd name="connsiteX69139" fmla="*/ 4670264 w 6884782"/>
              <a:gd name="connsiteY69139" fmla="*/ 1883497 h 5973007"/>
              <a:gd name="connsiteX69140" fmla="*/ 4674319 w 6884782"/>
              <a:gd name="connsiteY69140" fmla="*/ 1884351 h 5973007"/>
              <a:gd name="connsiteX69141" fmla="*/ 4672825 w 6884782"/>
              <a:gd name="connsiteY69141" fmla="*/ 1879798 h 5973007"/>
              <a:gd name="connsiteX69142" fmla="*/ 4672399 w 6884782"/>
              <a:gd name="connsiteY69142" fmla="*/ 1878660 h 5973007"/>
              <a:gd name="connsiteX69143" fmla="*/ 4669624 w 6884782"/>
              <a:gd name="connsiteY69143" fmla="*/ 1878518 h 5973007"/>
              <a:gd name="connsiteX69144" fmla="*/ 4664502 w 6884782"/>
              <a:gd name="connsiteY69144" fmla="*/ 1872116 h 5973007"/>
              <a:gd name="connsiteX69145" fmla="*/ 4666423 w 6884782"/>
              <a:gd name="connsiteY69145" fmla="*/ 1870266 h 5973007"/>
              <a:gd name="connsiteX69146" fmla="*/ 4669624 w 6884782"/>
              <a:gd name="connsiteY69146" fmla="*/ 1869555 h 5973007"/>
              <a:gd name="connsiteX69147" fmla="*/ 4668343 w 6884782"/>
              <a:gd name="connsiteY69147" fmla="*/ 1864576 h 5973007"/>
              <a:gd name="connsiteX69148" fmla="*/ 4665996 w 6884782"/>
              <a:gd name="connsiteY69148" fmla="*/ 1862015 h 5973007"/>
              <a:gd name="connsiteX69149" fmla="*/ 4665783 w 6884782"/>
              <a:gd name="connsiteY69149" fmla="*/ 1861019 h 5973007"/>
              <a:gd name="connsiteX69150" fmla="*/ 4664502 w 6884782"/>
              <a:gd name="connsiteY69150" fmla="*/ 1860592 h 5973007"/>
              <a:gd name="connsiteX69151" fmla="*/ 4664502 w 6884782"/>
              <a:gd name="connsiteY69151" fmla="*/ 1859596 h 5973007"/>
              <a:gd name="connsiteX69152" fmla="*/ 4665569 w 6884782"/>
              <a:gd name="connsiteY69152" fmla="*/ 1860166 h 5973007"/>
              <a:gd name="connsiteX69153" fmla="*/ 4665356 w 6884782"/>
              <a:gd name="connsiteY69153" fmla="*/ 1858885 h 5973007"/>
              <a:gd name="connsiteX69154" fmla="*/ 4664288 w 6884782"/>
              <a:gd name="connsiteY69154" fmla="*/ 1859312 h 5973007"/>
              <a:gd name="connsiteX69155" fmla="*/ 4664715 w 6884782"/>
              <a:gd name="connsiteY69155" fmla="*/ 1856751 h 5973007"/>
              <a:gd name="connsiteX69156" fmla="*/ 4665142 w 6884782"/>
              <a:gd name="connsiteY69156" fmla="*/ 1857178 h 5973007"/>
              <a:gd name="connsiteX69157" fmla="*/ 4665356 w 6884782"/>
              <a:gd name="connsiteY69157" fmla="*/ 1858315 h 5973007"/>
              <a:gd name="connsiteX69158" fmla="*/ 4667703 w 6884782"/>
              <a:gd name="connsiteY69158" fmla="*/ 1854617 h 5973007"/>
              <a:gd name="connsiteX69159" fmla="*/ 4672825 w 6884782"/>
              <a:gd name="connsiteY69159" fmla="*/ 1853336 h 5973007"/>
              <a:gd name="connsiteX69160" fmla="*/ 4679655 w 6884782"/>
              <a:gd name="connsiteY69160" fmla="*/ 1856608 h 5973007"/>
              <a:gd name="connsiteX69161" fmla="*/ 4673466 w 6884782"/>
              <a:gd name="connsiteY69161" fmla="*/ 1865998 h 5973007"/>
              <a:gd name="connsiteX69162" fmla="*/ 4673252 w 6884782"/>
              <a:gd name="connsiteY69162" fmla="*/ 1865998 h 5973007"/>
              <a:gd name="connsiteX69163" fmla="*/ 4673252 w 6884782"/>
              <a:gd name="connsiteY69163" fmla="*/ 1866283 h 5973007"/>
              <a:gd name="connsiteX69164" fmla="*/ 4676454 w 6884782"/>
              <a:gd name="connsiteY69164" fmla="*/ 1873112 h 5973007"/>
              <a:gd name="connsiteX69165" fmla="*/ 4676454 w 6884782"/>
              <a:gd name="connsiteY69165" fmla="*/ 1874108 h 5973007"/>
              <a:gd name="connsiteX69166" fmla="*/ 4679014 w 6884782"/>
              <a:gd name="connsiteY69166" fmla="*/ 1875246 h 5973007"/>
              <a:gd name="connsiteX69167" fmla="*/ 4679655 w 6884782"/>
              <a:gd name="connsiteY69167" fmla="*/ 1878660 h 5973007"/>
              <a:gd name="connsiteX69168" fmla="*/ 4677307 w 6884782"/>
              <a:gd name="connsiteY69168" fmla="*/ 1878660 h 5973007"/>
              <a:gd name="connsiteX69169" fmla="*/ 4677307 w 6884782"/>
              <a:gd name="connsiteY69169" fmla="*/ 1878802 h 5973007"/>
              <a:gd name="connsiteX69170" fmla="*/ 4677521 w 6884782"/>
              <a:gd name="connsiteY69170" fmla="*/ 1880226 h 5973007"/>
              <a:gd name="connsiteX69171" fmla="*/ 4677947 w 6884782"/>
              <a:gd name="connsiteY69171" fmla="*/ 1882928 h 5973007"/>
              <a:gd name="connsiteX69172" fmla="*/ 4677307 w 6884782"/>
              <a:gd name="connsiteY69172" fmla="*/ 1884921 h 5973007"/>
              <a:gd name="connsiteX69173" fmla="*/ 4683496 w 6884782"/>
              <a:gd name="connsiteY69173" fmla="*/ 1886343 h 5973007"/>
              <a:gd name="connsiteX69174" fmla="*/ 4673892 w 6884782"/>
              <a:gd name="connsiteY69174" fmla="*/ 1893741 h 5973007"/>
              <a:gd name="connsiteX69175" fmla="*/ 4670478 w 6884782"/>
              <a:gd name="connsiteY69175" fmla="*/ 1898862 h 5973007"/>
              <a:gd name="connsiteX69176" fmla="*/ 4697369 w 6884782"/>
              <a:gd name="connsiteY69176" fmla="*/ 1905976 h 5973007"/>
              <a:gd name="connsiteX69177" fmla="*/ 4681149 w 6884782"/>
              <a:gd name="connsiteY69177" fmla="*/ 1909533 h 5973007"/>
              <a:gd name="connsiteX69178" fmla="*/ 4687338 w 6884782"/>
              <a:gd name="connsiteY69178" fmla="*/ 1914370 h 5973007"/>
              <a:gd name="connsiteX69179" fmla="*/ 4671758 w 6884782"/>
              <a:gd name="connsiteY69179" fmla="*/ 1931015 h 5973007"/>
              <a:gd name="connsiteX69180" fmla="*/ 4659593 w 6884782"/>
              <a:gd name="connsiteY69180" fmla="*/ 1935710 h 5973007"/>
              <a:gd name="connsiteX69181" fmla="*/ 4657886 w 6884782"/>
              <a:gd name="connsiteY69181" fmla="*/ 1941116 h 5973007"/>
              <a:gd name="connsiteX69182" fmla="*/ 4653617 w 6884782"/>
              <a:gd name="connsiteY69182" fmla="*/ 1942966 h 5973007"/>
              <a:gd name="connsiteX69183" fmla="*/ 4653617 w 6884782"/>
              <a:gd name="connsiteY69183" fmla="*/ 1943108 h 5973007"/>
              <a:gd name="connsiteX69184" fmla="*/ 4653404 w 6884782"/>
              <a:gd name="connsiteY69184" fmla="*/ 1942966 h 5973007"/>
              <a:gd name="connsiteX69185" fmla="*/ 4652337 w 6884782"/>
              <a:gd name="connsiteY69185" fmla="*/ 1943535 h 5973007"/>
              <a:gd name="connsiteX69186" fmla="*/ 4632916 w 6884782"/>
              <a:gd name="connsiteY69186" fmla="*/ 1950221 h 5973007"/>
              <a:gd name="connsiteX69187" fmla="*/ 4628434 w 6884782"/>
              <a:gd name="connsiteY69187" fmla="*/ 1955058 h 5973007"/>
              <a:gd name="connsiteX69188" fmla="*/ 4623739 w 6884782"/>
              <a:gd name="connsiteY69188" fmla="*/ 1961176 h 5973007"/>
              <a:gd name="connsiteX69189" fmla="*/ 4624592 w 6884782"/>
              <a:gd name="connsiteY69189" fmla="*/ 1963879 h 5973007"/>
              <a:gd name="connsiteX69190" fmla="*/ 4623525 w 6884782"/>
              <a:gd name="connsiteY69190" fmla="*/ 1965587 h 5973007"/>
              <a:gd name="connsiteX69191" fmla="*/ 4630782 w 6884782"/>
              <a:gd name="connsiteY69191" fmla="*/ 1964164 h 5973007"/>
              <a:gd name="connsiteX69192" fmla="*/ 4654258 w 6884782"/>
              <a:gd name="connsiteY69192" fmla="*/ 1968005 h 5973007"/>
              <a:gd name="connsiteX69193" fmla="*/ 4669624 w 6884782"/>
              <a:gd name="connsiteY69193" fmla="*/ 1992190 h 5973007"/>
              <a:gd name="connsiteX69194" fmla="*/ 4668771 w 6884782"/>
              <a:gd name="connsiteY69194" fmla="*/ 2002576 h 5973007"/>
              <a:gd name="connsiteX69195" fmla="*/ 4671331 w 6884782"/>
              <a:gd name="connsiteY69195" fmla="*/ 2003572 h 5973007"/>
              <a:gd name="connsiteX69196" fmla="*/ 4670478 w 6884782"/>
              <a:gd name="connsiteY69196" fmla="*/ 2014385 h 5973007"/>
              <a:gd name="connsiteX69197" fmla="*/ 4668557 w 6884782"/>
              <a:gd name="connsiteY69197" fmla="*/ 2014100 h 5973007"/>
              <a:gd name="connsiteX69198" fmla="*/ 4667276 w 6884782"/>
              <a:gd name="connsiteY69198" fmla="*/ 2013958 h 5973007"/>
              <a:gd name="connsiteX69199" fmla="*/ 4666423 w 6884782"/>
              <a:gd name="connsiteY69199" fmla="*/ 2017657 h 5973007"/>
              <a:gd name="connsiteX69200" fmla="*/ 4669624 w 6884782"/>
              <a:gd name="connsiteY69200" fmla="*/ 2022636 h 5973007"/>
              <a:gd name="connsiteX69201" fmla="*/ 4664929 w 6884782"/>
              <a:gd name="connsiteY69201" fmla="*/ 2023633 h 5973007"/>
              <a:gd name="connsiteX69202" fmla="*/ 4664288 w 6884782"/>
              <a:gd name="connsiteY69202" fmla="*/ 2026335 h 5973007"/>
              <a:gd name="connsiteX69203" fmla="*/ 4660447 w 6884782"/>
              <a:gd name="connsiteY69203" fmla="*/ 2033733 h 5973007"/>
              <a:gd name="connsiteX69204" fmla="*/ 4661087 w 6884782"/>
              <a:gd name="connsiteY69204" fmla="*/ 2034160 h 5973007"/>
              <a:gd name="connsiteX69205" fmla="*/ 4661087 w 6884782"/>
              <a:gd name="connsiteY69205" fmla="*/ 2037717 h 5973007"/>
              <a:gd name="connsiteX69206" fmla="*/ 4656392 w 6884782"/>
              <a:gd name="connsiteY69206" fmla="*/ 2041274 h 5973007"/>
              <a:gd name="connsiteX69207" fmla="*/ 4655965 w 6884782"/>
              <a:gd name="connsiteY69207" fmla="*/ 2042269 h 5973007"/>
              <a:gd name="connsiteX69208" fmla="*/ 4642946 w 6884782"/>
              <a:gd name="connsiteY69208" fmla="*/ 2054362 h 5973007"/>
              <a:gd name="connsiteX69209" fmla="*/ 4630995 w 6884782"/>
              <a:gd name="connsiteY69209" fmla="*/ 2059199 h 5973007"/>
              <a:gd name="connsiteX69210" fmla="*/ 4626727 w 6884782"/>
              <a:gd name="connsiteY69210" fmla="*/ 2059342 h 5973007"/>
              <a:gd name="connsiteX69211" fmla="*/ 4623952 w 6884782"/>
              <a:gd name="connsiteY69211" fmla="*/ 2060764 h 5973007"/>
              <a:gd name="connsiteX69212" fmla="*/ 4609226 w 6884782"/>
              <a:gd name="connsiteY69212" fmla="*/ 2066455 h 5973007"/>
              <a:gd name="connsiteX69213" fmla="*/ 4618190 w 6884782"/>
              <a:gd name="connsiteY69213" fmla="*/ 2061760 h 5973007"/>
              <a:gd name="connsiteX69214" fmla="*/ 4626513 w 6884782"/>
              <a:gd name="connsiteY69214" fmla="*/ 2059342 h 5973007"/>
              <a:gd name="connsiteX69215" fmla="*/ 4619897 w 6884782"/>
              <a:gd name="connsiteY69215" fmla="*/ 2059484 h 5973007"/>
              <a:gd name="connsiteX69216" fmla="*/ 4595994 w 6884782"/>
              <a:gd name="connsiteY69216" fmla="*/ 2056781 h 5973007"/>
              <a:gd name="connsiteX69217" fmla="*/ 4593219 w 6884782"/>
              <a:gd name="connsiteY69217" fmla="*/ 2048103 h 5973007"/>
              <a:gd name="connsiteX69218" fmla="*/ 4591939 w 6884782"/>
              <a:gd name="connsiteY69218" fmla="*/ 2046822 h 5973007"/>
              <a:gd name="connsiteX69219" fmla="*/ 4588311 w 6884782"/>
              <a:gd name="connsiteY69219" fmla="*/ 2047960 h 5973007"/>
              <a:gd name="connsiteX69220" fmla="*/ 4576360 w 6884782"/>
              <a:gd name="connsiteY69220" fmla="*/ 2051232 h 5973007"/>
              <a:gd name="connsiteX69221" fmla="*/ 4574225 w 6884782"/>
              <a:gd name="connsiteY69221" fmla="*/ 2057492 h 5973007"/>
              <a:gd name="connsiteX69222" fmla="*/ 4574012 w 6884782"/>
              <a:gd name="connsiteY69222" fmla="*/ 2061903 h 5973007"/>
              <a:gd name="connsiteX69223" fmla="*/ 4575720 w 6884782"/>
              <a:gd name="connsiteY69223" fmla="*/ 2065886 h 5973007"/>
              <a:gd name="connsiteX69224" fmla="*/ 4573585 w 6884782"/>
              <a:gd name="connsiteY69224" fmla="*/ 2069158 h 5973007"/>
              <a:gd name="connsiteX69225" fmla="*/ 4573585 w 6884782"/>
              <a:gd name="connsiteY69225" fmla="*/ 2069300 h 5973007"/>
              <a:gd name="connsiteX69226" fmla="*/ 4575933 w 6884782"/>
              <a:gd name="connsiteY69226" fmla="*/ 2073284 h 5973007"/>
              <a:gd name="connsiteX69227" fmla="*/ 4589805 w 6884782"/>
              <a:gd name="connsiteY69227" fmla="*/ 2073426 h 5973007"/>
              <a:gd name="connsiteX69228" fmla="*/ 4608799 w 6884782"/>
              <a:gd name="connsiteY69228" fmla="*/ 2085662 h 5973007"/>
              <a:gd name="connsiteX69229" fmla="*/ 4600262 w 6884782"/>
              <a:gd name="connsiteY69229" fmla="*/ 2107713 h 5973007"/>
              <a:gd name="connsiteX69230" fmla="*/ 4588738 w 6884782"/>
              <a:gd name="connsiteY69230" fmla="*/ 2115111 h 5973007"/>
              <a:gd name="connsiteX69231" fmla="*/ 4588671 w 6884782"/>
              <a:gd name="connsiteY69231" fmla="*/ 2115298 h 5973007"/>
              <a:gd name="connsiteX69232" fmla="*/ 4588098 w 6884782"/>
              <a:gd name="connsiteY69232" fmla="*/ 2115681 h 5973007"/>
              <a:gd name="connsiteX69233" fmla="*/ 4575506 w 6884782"/>
              <a:gd name="connsiteY69233" fmla="*/ 2117672 h 5973007"/>
              <a:gd name="connsiteX69234" fmla="*/ 4557365 w 6884782"/>
              <a:gd name="connsiteY69234" fmla="*/ 2101596 h 5973007"/>
              <a:gd name="connsiteX69235" fmla="*/ 4559073 w 6884782"/>
              <a:gd name="connsiteY69235" fmla="*/ 2092064 h 5973007"/>
              <a:gd name="connsiteX69236" fmla="*/ 4557578 w 6884782"/>
              <a:gd name="connsiteY69236" fmla="*/ 2091637 h 5973007"/>
              <a:gd name="connsiteX69237" fmla="*/ 4545200 w 6884782"/>
              <a:gd name="connsiteY69237" fmla="*/ 2097612 h 5973007"/>
              <a:gd name="connsiteX69238" fmla="*/ 4543920 w 6884782"/>
              <a:gd name="connsiteY69238" fmla="*/ 2098750 h 5973007"/>
              <a:gd name="connsiteX69239" fmla="*/ 4544133 w 6884782"/>
              <a:gd name="connsiteY69239" fmla="*/ 2099604 h 5973007"/>
              <a:gd name="connsiteX69240" fmla="*/ 4539651 w 6884782"/>
              <a:gd name="connsiteY69240" fmla="*/ 2107998 h 5973007"/>
              <a:gd name="connsiteX69241" fmla="*/ 4538157 w 6884782"/>
              <a:gd name="connsiteY69241" fmla="*/ 2107998 h 5973007"/>
              <a:gd name="connsiteX69242" fmla="*/ 4535169 w 6884782"/>
              <a:gd name="connsiteY69242" fmla="*/ 2109136 h 5973007"/>
              <a:gd name="connsiteX69243" fmla="*/ 4532181 w 6884782"/>
              <a:gd name="connsiteY69243" fmla="*/ 2110274 h 5973007"/>
              <a:gd name="connsiteX69244" fmla="*/ 4525566 w 6884782"/>
              <a:gd name="connsiteY69244" fmla="*/ 2141004 h 5973007"/>
              <a:gd name="connsiteX69245" fmla="*/ 4524925 w 6884782"/>
              <a:gd name="connsiteY69245" fmla="*/ 2144845 h 5973007"/>
              <a:gd name="connsiteX69246" fmla="*/ 4529621 w 6884782"/>
              <a:gd name="connsiteY69246" fmla="*/ 2144845 h 5973007"/>
              <a:gd name="connsiteX69247" fmla="*/ 4534743 w 6884782"/>
              <a:gd name="connsiteY69247" fmla="*/ 2151532 h 5973007"/>
              <a:gd name="connsiteX69248" fmla="*/ 4533889 w 6884782"/>
              <a:gd name="connsiteY69248" fmla="*/ 2157508 h 5973007"/>
              <a:gd name="connsiteX69249" fmla="*/ 4524925 w 6884782"/>
              <a:gd name="connsiteY69249" fmla="*/ 2161206 h 5973007"/>
              <a:gd name="connsiteX69250" fmla="*/ 4523005 w 6884782"/>
              <a:gd name="connsiteY69250" fmla="*/ 2157934 h 5973007"/>
              <a:gd name="connsiteX69251" fmla="*/ 4522365 w 6884782"/>
              <a:gd name="connsiteY69251" fmla="*/ 2162771 h 5973007"/>
              <a:gd name="connsiteX69252" fmla="*/ 4521084 w 6884782"/>
              <a:gd name="connsiteY69252" fmla="*/ 2173868 h 5973007"/>
              <a:gd name="connsiteX69253" fmla="*/ 4481174 w 6884782"/>
              <a:gd name="connsiteY69253" fmla="*/ 2177141 h 5973007"/>
              <a:gd name="connsiteX69254" fmla="*/ 4470290 w 6884782"/>
              <a:gd name="connsiteY69254" fmla="*/ 2174722 h 5973007"/>
              <a:gd name="connsiteX69255" fmla="*/ 4468796 w 6884782"/>
              <a:gd name="connsiteY69255" fmla="*/ 2184538 h 5973007"/>
              <a:gd name="connsiteX69256" fmla="*/ 4479467 w 6884782"/>
              <a:gd name="connsiteY69256" fmla="*/ 2192506 h 5973007"/>
              <a:gd name="connsiteX69257" fmla="*/ 4497608 w 6884782"/>
              <a:gd name="connsiteY69257" fmla="*/ 2199334 h 5973007"/>
              <a:gd name="connsiteX69258" fmla="*/ 4514468 w 6884782"/>
              <a:gd name="connsiteY69258" fmla="*/ 2205025 h 5973007"/>
              <a:gd name="connsiteX69259" fmla="*/ 4498888 w 6884782"/>
              <a:gd name="connsiteY69259" fmla="*/ 2205025 h 5973007"/>
              <a:gd name="connsiteX69260" fmla="*/ 4482241 w 6884782"/>
              <a:gd name="connsiteY69260" fmla="*/ 2201468 h 5973007"/>
              <a:gd name="connsiteX69261" fmla="*/ 4492485 w 6884782"/>
              <a:gd name="connsiteY69261" fmla="*/ 2210716 h 5973007"/>
              <a:gd name="connsiteX69262" fmla="*/ 4504011 w 6884782"/>
              <a:gd name="connsiteY69262" fmla="*/ 2207302 h 5973007"/>
              <a:gd name="connsiteX69263" fmla="*/ 4513614 w 6884782"/>
              <a:gd name="connsiteY69263" fmla="*/ 2214841 h 5973007"/>
              <a:gd name="connsiteX69264" fmla="*/ 4525352 w 6884782"/>
              <a:gd name="connsiteY69264" fmla="*/ 2219536 h 5973007"/>
              <a:gd name="connsiteX69265" fmla="*/ 4528127 w 6884782"/>
              <a:gd name="connsiteY69265" fmla="*/ 2211712 h 5973007"/>
              <a:gd name="connsiteX69266" fmla="*/ 4538157 w 6884782"/>
              <a:gd name="connsiteY69266" fmla="*/ 2195351 h 5973007"/>
              <a:gd name="connsiteX69267" fmla="*/ 4540719 w 6884782"/>
              <a:gd name="connsiteY69267" fmla="*/ 2198908 h 5973007"/>
              <a:gd name="connsiteX69268" fmla="*/ 4522151 w 6884782"/>
              <a:gd name="connsiteY69268" fmla="*/ 2230634 h 5973007"/>
              <a:gd name="connsiteX69269" fmla="*/ 4524712 w 6884782"/>
              <a:gd name="connsiteY69269" fmla="*/ 2221813 h 5973007"/>
              <a:gd name="connsiteX69270" fmla="*/ 4520017 w 6884782"/>
              <a:gd name="connsiteY69270" fmla="*/ 2220105 h 5973007"/>
              <a:gd name="connsiteX69271" fmla="*/ 4508065 w 6884782"/>
              <a:gd name="connsiteY69271" fmla="*/ 2218683 h 5973007"/>
              <a:gd name="connsiteX69272" fmla="*/ 4511694 w 6884782"/>
              <a:gd name="connsiteY69272" fmla="*/ 2224231 h 5973007"/>
              <a:gd name="connsiteX69273" fmla="*/ 4511694 w 6884782"/>
              <a:gd name="connsiteY69273" fmla="*/ 2223805 h 5973007"/>
              <a:gd name="connsiteX69274" fmla="*/ 4515962 w 6884782"/>
              <a:gd name="connsiteY69274" fmla="*/ 2219536 h 5973007"/>
              <a:gd name="connsiteX69275" fmla="*/ 4521297 w 6884782"/>
              <a:gd name="connsiteY69275" fmla="*/ 2230064 h 5973007"/>
              <a:gd name="connsiteX69276" fmla="*/ 4520444 w 6884782"/>
              <a:gd name="connsiteY69276" fmla="*/ 2232056 h 5973007"/>
              <a:gd name="connsiteX69277" fmla="*/ 4524925 w 6884782"/>
              <a:gd name="connsiteY69277" fmla="*/ 2235044 h 5973007"/>
              <a:gd name="connsiteX69278" fmla="*/ 4542852 w 6884782"/>
              <a:gd name="connsiteY69278" fmla="*/ 2243722 h 5973007"/>
              <a:gd name="connsiteX69279" fmla="*/ 4553097 w 6884782"/>
              <a:gd name="connsiteY69279" fmla="*/ 2250551 h 5973007"/>
              <a:gd name="connsiteX69280" fmla="*/ 4561847 w 6884782"/>
              <a:gd name="connsiteY69280" fmla="*/ 2255388 h 5973007"/>
              <a:gd name="connsiteX69281" fmla="*/ 4562914 w 6884782"/>
              <a:gd name="connsiteY69281" fmla="*/ 2254961 h 5973007"/>
              <a:gd name="connsiteX69282" fmla="*/ 4562274 w 6884782"/>
              <a:gd name="connsiteY69282" fmla="*/ 2255673 h 5973007"/>
              <a:gd name="connsiteX69283" fmla="*/ 4562701 w 6884782"/>
              <a:gd name="connsiteY69283" fmla="*/ 2255957 h 5973007"/>
              <a:gd name="connsiteX69284" fmla="*/ 4571877 w 6884782"/>
              <a:gd name="connsiteY69284" fmla="*/ 2269188 h 5973007"/>
              <a:gd name="connsiteX69285" fmla="*/ 4572091 w 6884782"/>
              <a:gd name="connsiteY69285" fmla="*/ 2268904 h 5973007"/>
              <a:gd name="connsiteX69286" fmla="*/ 4573158 w 6884782"/>
              <a:gd name="connsiteY69286" fmla="*/ 2268334 h 5973007"/>
              <a:gd name="connsiteX69287" fmla="*/ 4575720 w 6884782"/>
              <a:gd name="connsiteY69287" fmla="*/ 2263924 h 5973007"/>
              <a:gd name="connsiteX69288" fmla="*/ 4589591 w 6884782"/>
              <a:gd name="connsiteY69288" fmla="*/ 2271464 h 5973007"/>
              <a:gd name="connsiteX69289" fmla="*/ 4594287 w 6884782"/>
              <a:gd name="connsiteY69289" fmla="*/ 2277582 h 5973007"/>
              <a:gd name="connsiteX69290" fmla="*/ 4594500 w 6884782"/>
              <a:gd name="connsiteY69290" fmla="*/ 2278009 h 5973007"/>
              <a:gd name="connsiteX69291" fmla="*/ 4597062 w 6884782"/>
              <a:gd name="connsiteY69291" fmla="*/ 2280143 h 5973007"/>
              <a:gd name="connsiteX69292" fmla="*/ 4601970 w 6884782"/>
              <a:gd name="connsiteY69292" fmla="*/ 2275875 h 5973007"/>
              <a:gd name="connsiteX69293" fmla="*/ 4632489 w 6884782"/>
              <a:gd name="connsiteY69293" fmla="*/ 2264351 h 5973007"/>
              <a:gd name="connsiteX69294" fmla="*/ 4623739 w 6884782"/>
              <a:gd name="connsiteY69294" fmla="*/ 2280855 h 5973007"/>
              <a:gd name="connsiteX69295" fmla="*/ 4610933 w 6884782"/>
              <a:gd name="connsiteY69295" fmla="*/ 2291809 h 5973007"/>
              <a:gd name="connsiteX69296" fmla="*/ 4630568 w 6884782"/>
              <a:gd name="connsiteY69296" fmla="*/ 2306463 h 5973007"/>
              <a:gd name="connsiteX69297" fmla="*/ 4641666 w 6884782"/>
              <a:gd name="connsiteY69297" fmla="*/ 2314145 h 5973007"/>
              <a:gd name="connsiteX69298" fmla="*/ 4641879 w 6884782"/>
              <a:gd name="connsiteY69298" fmla="*/ 2314003 h 5973007"/>
              <a:gd name="connsiteX69299" fmla="*/ 4642733 w 6884782"/>
              <a:gd name="connsiteY69299" fmla="*/ 2314856 h 5973007"/>
              <a:gd name="connsiteX69300" fmla="*/ 4653831 w 6884782"/>
              <a:gd name="connsiteY69300" fmla="*/ 2321259 h 5973007"/>
              <a:gd name="connsiteX69301" fmla="*/ 4680935 w 6884782"/>
              <a:gd name="connsiteY69301" fmla="*/ 2332640 h 5973007"/>
              <a:gd name="connsiteX69302" fmla="*/ 4679655 w 6884782"/>
              <a:gd name="connsiteY69302" fmla="*/ 2341887 h 5973007"/>
              <a:gd name="connsiteX69303" fmla="*/ 4670691 w 6884782"/>
              <a:gd name="connsiteY69303" fmla="*/ 2330506 h 5973007"/>
              <a:gd name="connsiteX69304" fmla="*/ 4691393 w 6884782"/>
              <a:gd name="connsiteY69304" fmla="*/ 2360098 h 5973007"/>
              <a:gd name="connsiteX69305" fmla="*/ 4692460 w 6884782"/>
              <a:gd name="connsiteY69305" fmla="*/ 2350993 h 5973007"/>
              <a:gd name="connsiteX69306" fmla="*/ 4727461 w 6884782"/>
              <a:gd name="connsiteY69306" fmla="*/ 2385137 h 5973007"/>
              <a:gd name="connsiteX69307" fmla="*/ 4729809 w 6884782"/>
              <a:gd name="connsiteY69307" fmla="*/ 2389690 h 5973007"/>
              <a:gd name="connsiteX69308" fmla="*/ 4729595 w 6884782"/>
              <a:gd name="connsiteY69308" fmla="*/ 2389975 h 5973007"/>
              <a:gd name="connsiteX69309" fmla="*/ 4742613 w 6884782"/>
              <a:gd name="connsiteY69309" fmla="*/ 2402209 h 5973007"/>
              <a:gd name="connsiteX69310" fmla="*/ 4741120 w 6884782"/>
              <a:gd name="connsiteY69310" fmla="*/ 2405624 h 5973007"/>
              <a:gd name="connsiteX69311" fmla="*/ 4742827 w 6884782"/>
              <a:gd name="connsiteY69311" fmla="*/ 2406762 h 5973007"/>
              <a:gd name="connsiteX69312" fmla="*/ 4742827 w 6884782"/>
              <a:gd name="connsiteY69312" fmla="*/ 2398795 h 5973007"/>
              <a:gd name="connsiteX69313" fmla="*/ 4773986 w 6884782"/>
              <a:gd name="connsiteY69313" fmla="*/ 2423977 h 5973007"/>
              <a:gd name="connsiteX69314" fmla="*/ 4775053 w 6884782"/>
              <a:gd name="connsiteY69314" fmla="*/ 2442187 h 5973007"/>
              <a:gd name="connsiteX69315" fmla="*/ 4803651 w 6884782"/>
              <a:gd name="connsiteY69315" fmla="*/ 2462674 h 5973007"/>
              <a:gd name="connsiteX69316" fmla="*/ 4817737 w 6884782"/>
              <a:gd name="connsiteY69316" fmla="*/ 2476474 h 5973007"/>
              <a:gd name="connsiteX69317" fmla="*/ 4832036 w 6884782"/>
              <a:gd name="connsiteY69317" fmla="*/ 2491128 h 5973007"/>
              <a:gd name="connsiteX69318" fmla="*/ 4859141 w 6884782"/>
              <a:gd name="connsiteY69318" fmla="*/ 2523138 h 5973007"/>
              <a:gd name="connsiteX69319" fmla="*/ 4879629 w 6884782"/>
              <a:gd name="connsiteY69319" fmla="*/ 2556144 h 5973007"/>
              <a:gd name="connsiteX69320" fmla="*/ 4893074 w 6884782"/>
              <a:gd name="connsiteY69320" fmla="*/ 2564112 h 5973007"/>
              <a:gd name="connsiteX69321" fmla="*/ 4893715 w 6884782"/>
              <a:gd name="connsiteY69321" fmla="*/ 2554437 h 5973007"/>
              <a:gd name="connsiteX69322" fmla="*/ 4931063 w 6884782"/>
              <a:gd name="connsiteY69322" fmla="*/ 2555576 h 5973007"/>
              <a:gd name="connsiteX69323" fmla="*/ 4928929 w 6884782"/>
              <a:gd name="connsiteY69323" fmla="*/ 2572221 h 5973007"/>
              <a:gd name="connsiteX69324" fmla="*/ 4899904 w 6884782"/>
              <a:gd name="connsiteY69324" fmla="*/ 2571794 h 5973007"/>
              <a:gd name="connsiteX69325" fmla="*/ 4898410 w 6884782"/>
              <a:gd name="connsiteY69325" fmla="*/ 2570514 h 5973007"/>
              <a:gd name="connsiteX69326" fmla="*/ 4904172 w 6884782"/>
              <a:gd name="connsiteY69326" fmla="*/ 2580188 h 5973007"/>
              <a:gd name="connsiteX69327" fmla="*/ 4924874 w 6884782"/>
              <a:gd name="connsiteY69327" fmla="*/ 2607504 h 5973007"/>
              <a:gd name="connsiteX69328" fmla="*/ 4921032 w 6884782"/>
              <a:gd name="connsiteY69328" fmla="*/ 2625714 h 5973007"/>
              <a:gd name="connsiteX69329" fmla="*/ 4926154 w 6884782"/>
              <a:gd name="connsiteY69329" fmla="*/ 2626852 h 5973007"/>
              <a:gd name="connsiteX69330" fmla="*/ 4926154 w 6884782"/>
              <a:gd name="connsiteY69330" fmla="*/ 2627990 h 5973007"/>
              <a:gd name="connsiteX69331" fmla="*/ 4933838 w 6884782"/>
              <a:gd name="connsiteY69331" fmla="*/ 2639514 h 5973007"/>
              <a:gd name="connsiteX69332" fmla="*/ 4933838 w 6884782"/>
              <a:gd name="connsiteY69332" fmla="*/ 2640653 h 5973007"/>
              <a:gd name="connsiteX69333" fmla="*/ 4935332 w 6884782"/>
              <a:gd name="connsiteY69333" fmla="*/ 2640653 h 5973007"/>
              <a:gd name="connsiteX69334" fmla="*/ 4936399 w 6884782"/>
              <a:gd name="connsiteY69334" fmla="*/ 2640653 h 5973007"/>
              <a:gd name="connsiteX69335" fmla="*/ 4937893 w 6884782"/>
              <a:gd name="connsiteY69335" fmla="*/ 2646343 h 5973007"/>
              <a:gd name="connsiteX69336" fmla="*/ 4946856 w 6884782"/>
              <a:gd name="connsiteY69336" fmla="*/ 2641648 h 5973007"/>
              <a:gd name="connsiteX69337" fmla="*/ 4959875 w 6884782"/>
              <a:gd name="connsiteY69337" fmla="*/ 2650754 h 5973007"/>
              <a:gd name="connsiteX69338" fmla="*/ 4970119 w 6884782"/>
              <a:gd name="connsiteY69338" fmla="*/ 2653172 h 5973007"/>
              <a:gd name="connsiteX69339" fmla="*/ 4973961 w 6884782"/>
              <a:gd name="connsiteY69339" fmla="*/ 2654168 h 5973007"/>
              <a:gd name="connsiteX69340" fmla="*/ 4975241 w 6884782"/>
              <a:gd name="connsiteY69340" fmla="*/ 2655306 h 5973007"/>
              <a:gd name="connsiteX69341" fmla="*/ 4979083 w 6884782"/>
              <a:gd name="connsiteY69341" fmla="*/ 2660001 h 5973007"/>
              <a:gd name="connsiteX69342" fmla="*/ 4972680 w 6884782"/>
              <a:gd name="connsiteY69342" fmla="*/ 2660001 h 5973007"/>
              <a:gd name="connsiteX69343" fmla="*/ 4970119 w 6884782"/>
              <a:gd name="connsiteY69343" fmla="*/ 2658863 h 5973007"/>
              <a:gd name="connsiteX69344" fmla="*/ 4968838 w 6884782"/>
              <a:gd name="connsiteY69344" fmla="*/ 2658863 h 5973007"/>
              <a:gd name="connsiteX69345" fmla="*/ 4963503 w 6884782"/>
              <a:gd name="connsiteY69345" fmla="*/ 2656444 h 5973007"/>
              <a:gd name="connsiteX69346" fmla="*/ 4953259 w 6884782"/>
              <a:gd name="connsiteY69346" fmla="*/ 2653172 h 5973007"/>
              <a:gd name="connsiteX69347" fmla="*/ 4953259 w 6884782"/>
              <a:gd name="connsiteY69347" fmla="*/ 2663415 h 5973007"/>
              <a:gd name="connsiteX69348" fmla="*/ 4953259 w 6884782"/>
              <a:gd name="connsiteY69348" fmla="*/ 2664554 h 5973007"/>
              <a:gd name="connsiteX69349" fmla="*/ 4953259 w 6884782"/>
              <a:gd name="connsiteY69349" fmla="*/ 2665692 h 5973007"/>
              <a:gd name="connsiteX69350" fmla="*/ 4953899 w 6884782"/>
              <a:gd name="connsiteY69350" fmla="*/ 2666118 h 5973007"/>
              <a:gd name="connsiteX69351" fmla="*/ 4962436 w 6884782"/>
              <a:gd name="connsiteY69351" fmla="*/ 2667399 h 5973007"/>
              <a:gd name="connsiteX69352" fmla="*/ 4987833 w 6884782"/>
              <a:gd name="connsiteY69352" fmla="*/ 2683333 h 5973007"/>
              <a:gd name="connsiteX69353" fmla="*/ 4981217 w 6884782"/>
              <a:gd name="connsiteY69353" fmla="*/ 2695141 h 5973007"/>
              <a:gd name="connsiteX69354" fmla="*/ 4970333 w 6884782"/>
              <a:gd name="connsiteY69354" fmla="*/ 2696564 h 5973007"/>
              <a:gd name="connsiteX69355" fmla="*/ 4972680 w 6884782"/>
              <a:gd name="connsiteY69355" fmla="*/ 2698983 h 5973007"/>
              <a:gd name="connsiteX69356" fmla="*/ 4981644 w 6884782"/>
              <a:gd name="connsiteY69356" fmla="*/ 2725017 h 5973007"/>
              <a:gd name="connsiteX69357" fmla="*/ 4989540 w 6884782"/>
              <a:gd name="connsiteY69357" fmla="*/ 2722599 h 5973007"/>
              <a:gd name="connsiteX69358" fmla="*/ 4990821 w 6884782"/>
              <a:gd name="connsiteY69358" fmla="*/ 2727152 h 5973007"/>
              <a:gd name="connsiteX69359" fmla="*/ 4992101 w 6884782"/>
              <a:gd name="connsiteY69359" fmla="*/ 2731847 h 5973007"/>
              <a:gd name="connsiteX69360" fmla="*/ 4994663 w 6884782"/>
              <a:gd name="connsiteY69360" fmla="*/ 2738675 h 5973007"/>
              <a:gd name="connsiteX69361" fmla="*/ 5001065 w 6884782"/>
              <a:gd name="connsiteY69361" fmla="*/ 2753471 h 5973007"/>
              <a:gd name="connsiteX69362" fmla="*/ 5006614 w 6884782"/>
              <a:gd name="connsiteY69362" fmla="*/ 2764995 h 5973007"/>
              <a:gd name="connsiteX69363" fmla="*/ 5008321 w 6884782"/>
              <a:gd name="connsiteY69363" fmla="*/ 2761723 h 5973007"/>
              <a:gd name="connsiteX69364" fmla="*/ 5020059 w 6884782"/>
              <a:gd name="connsiteY69364" fmla="*/ 2740952 h 5973007"/>
              <a:gd name="connsiteX69365" fmla="*/ 5033291 w 6884782"/>
              <a:gd name="connsiteY69365" fmla="*/ 2720750 h 5973007"/>
              <a:gd name="connsiteX69366" fmla="*/ 5036492 w 6884782"/>
              <a:gd name="connsiteY69366" fmla="*/ 2726725 h 5973007"/>
              <a:gd name="connsiteX69367" fmla="*/ 5039694 w 6884782"/>
              <a:gd name="connsiteY69367" fmla="*/ 2703677 h 5973007"/>
              <a:gd name="connsiteX69368" fmla="*/ 5050792 w 6884782"/>
              <a:gd name="connsiteY69368" fmla="*/ 2684329 h 5973007"/>
              <a:gd name="connsiteX69369" fmla="*/ 5075122 w 6884782"/>
              <a:gd name="connsiteY69369" fmla="*/ 2658293 h 5973007"/>
              <a:gd name="connsiteX69370" fmla="*/ 5087714 w 6884782"/>
              <a:gd name="connsiteY69370" fmla="*/ 2652319 h 5973007"/>
              <a:gd name="connsiteX69371" fmla="*/ 5098598 w 6884782"/>
              <a:gd name="connsiteY69371" fmla="*/ 2641080 h 5973007"/>
              <a:gd name="connsiteX69372" fmla="*/ 5096250 w 6884782"/>
              <a:gd name="connsiteY69372" fmla="*/ 2636669 h 5973007"/>
              <a:gd name="connsiteX69373" fmla="*/ 5105854 w 6884782"/>
              <a:gd name="connsiteY69373" fmla="*/ 2625572 h 5973007"/>
              <a:gd name="connsiteX69374" fmla="*/ 5120793 w 6884782"/>
              <a:gd name="connsiteY69374" fmla="*/ 2621020 h 5973007"/>
              <a:gd name="connsiteX69375" fmla="*/ 5125489 w 6884782"/>
              <a:gd name="connsiteY69375" fmla="*/ 2618885 h 5973007"/>
              <a:gd name="connsiteX69376" fmla="*/ 5131678 w 6884782"/>
              <a:gd name="connsiteY69376" fmla="*/ 2606223 h 5973007"/>
              <a:gd name="connsiteX69377" fmla="*/ 5140428 w 6884782"/>
              <a:gd name="connsiteY69377" fmla="*/ 2603947 h 5973007"/>
              <a:gd name="connsiteX69378" fmla="*/ 5147257 w 6884782"/>
              <a:gd name="connsiteY69378" fmla="*/ 2597971 h 5973007"/>
              <a:gd name="connsiteX69379" fmla="*/ 5159209 w 6884782"/>
              <a:gd name="connsiteY69379" fmla="*/ 2586875 h 5973007"/>
              <a:gd name="connsiteX69380" fmla="*/ 5162197 w 6884782"/>
              <a:gd name="connsiteY69380" fmla="*/ 2573359 h 5973007"/>
              <a:gd name="connsiteX69381" fmla="*/ 5189088 w 6884782"/>
              <a:gd name="connsiteY69381" fmla="*/ 2550312 h 5973007"/>
              <a:gd name="connsiteX69382" fmla="*/ 5187380 w 6884782"/>
              <a:gd name="connsiteY69382" fmla="*/ 2556998 h 5973007"/>
              <a:gd name="connsiteX69383" fmla="*/ 5193783 w 6884782"/>
              <a:gd name="connsiteY69383" fmla="*/ 2551734 h 5973007"/>
              <a:gd name="connsiteX69384" fmla="*/ 5199972 w 6884782"/>
              <a:gd name="connsiteY69384" fmla="*/ 2547324 h 5973007"/>
              <a:gd name="connsiteX69385" fmla="*/ 5211710 w 6884782"/>
              <a:gd name="connsiteY69385" fmla="*/ 2538219 h 5973007"/>
              <a:gd name="connsiteX69386" fmla="*/ 5206161 w 6884782"/>
              <a:gd name="connsiteY69386" fmla="*/ 2532101 h 5973007"/>
              <a:gd name="connsiteX69387" fmla="*/ 5219820 w 6884782"/>
              <a:gd name="connsiteY69387" fmla="*/ 2525273 h 5973007"/>
              <a:gd name="connsiteX69388" fmla="*/ 5221101 w 6884782"/>
              <a:gd name="connsiteY69388" fmla="*/ 2531390 h 5973007"/>
              <a:gd name="connsiteX69389" fmla="*/ 5226649 w 6884782"/>
              <a:gd name="connsiteY69389" fmla="*/ 2527264 h 5973007"/>
              <a:gd name="connsiteX69390" fmla="*/ 5240948 w 6884782"/>
              <a:gd name="connsiteY69390" fmla="*/ 2517589 h 5973007"/>
              <a:gd name="connsiteX69391" fmla="*/ 5249912 w 6884782"/>
              <a:gd name="connsiteY69391" fmla="*/ 2510477 h 5973007"/>
              <a:gd name="connsiteX69392" fmla="*/ 5249059 w 6884782"/>
              <a:gd name="connsiteY69392" fmla="*/ 2510050 h 5973007"/>
              <a:gd name="connsiteX69393" fmla="*/ 5246924 w 6884782"/>
              <a:gd name="connsiteY69393" fmla="*/ 2500802 h 5973007"/>
              <a:gd name="connsiteX69394" fmla="*/ 5251619 w 6884782"/>
              <a:gd name="connsiteY69394" fmla="*/ 2498241 h 5973007"/>
              <a:gd name="connsiteX69395" fmla="*/ 5258236 w 6884782"/>
              <a:gd name="connsiteY69395" fmla="*/ 2498952 h 5973007"/>
              <a:gd name="connsiteX69396" fmla="*/ 5259303 w 6884782"/>
              <a:gd name="connsiteY69396" fmla="*/ 2502936 h 5973007"/>
              <a:gd name="connsiteX69397" fmla="*/ 5266773 w 6884782"/>
              <a:gd name="connsiteY69397" fmla="*/ 2496819 h 5973007"/>
              <a:gd name="connsiteX69398" fmla="*/ 5278511 w 6884782"/>
              <a:gd name="connsiteY69398" fmla="*/ 2485580 h 5973007"/>
              <a:gd name="connsiteX69399" fmla="*/ 5284059 w 6884782"/>
              <a:gd name="connsiteY69399" fmla="*/ 2478892 h 5973007"/>
              <a:gd name="connsiteX69400" fmla="*/ 5285767 w 6884782"/>
              <a:gd name="connsiteY69400" fmla="*/ 2477327 h 5973007"/>
              <a:gd name="connsiteX69401" fmla="*/ 5294303 w 6884782"/>
              <a:gd name="connsiteY69401" fmla="*/ 2472917 h 5973007"/>
              <a:gd name="connsiteX69402" fmla="*/ 5294303 w 6884782"/>
              <a:gd name="connsiteY69402" fmla="*/ 2472206 h 5973007"/>
              <a:gd name="connsiteX69403" fmla="*/ 5295158 w 6884782"/>
              <a:gd name="connsiteY69403" fmla="*/ 2471495 h 5973007"/>
              <a:gd name="connsiteX69404" fmla="*/ 5296011 w 6884782"/>
              <a:gd name="connsiteY69404" fmla="*/ 2469218 h 5973007"/>
              <a:gd name="connsiteX69405" fmla="*/ 5291956 w 6884782"/>
              <a:gd name="connsiteY69405" fmla="*/ 2466942 h 5973007"/>
              <a:gd name="connsiteX69406" fmla="*/ 5291956 w 6884782"/>
              <a:gd name="connsiteY69406" fmla="*/ 2467653 h 5973007"/>
              <a:gd name="connsiteX69407" fmla="*/ 5291102 w 6884782"/>
              <a:gd name="connsiteY69407" fmla="*/ 2467653 h 5973007"/>
              <a:gd name="connsiteX69408" fmla="*/ 5282566 w 6884782"/>
              <a:gd name="connsiteY69408" fmla="*/ 2472206 h 5973007"/>
              <a:gd name="connsiteX69409" fmla="*/ 5281712 w 6884782"/>
              <a:gd name="connsiteY69409" fmla="*/ 2472206 h 5973007"/>
              <a:gd name="connsiteX69410" fmla="*/ 5279364 w 6884782"/>
              <a:gd name="connsiteY69410" fmla="*/ 2470784 h 5973007"/>
              <a:gd name="connsiteX69411" fmla="*/ 5280218 w 6884782"/>
              <a:gd name="connsiteY69411" fmla="*/ 2469930 h 5973007"/>
              <a:gd name="connsiteX69412" fmla="*/ 5281072 w 6884782"/>
              <a:gd name="connsiteY69412" fmla="*/ 2469218 h 5973007"/>
              <a:gd name="connsiteX69413" fmla="*/ 5281499 w 6884782"/>
              <a:gd name="connsiteY69413" fmla="*/ 2468934 h 5973007"/>
              <a:gd name="connsiteX69414" fmla="*/ 5281499 w 6884782"/>
              <a:gd name="connsiteY69414" fmla="*/ 2468791 h 5973007"/>
              <a:gd name="connsiteX69415" fmla="*/ 5289608 w 6884782"/>
              <a:gd name="connsiteY69415" fmla="*/ 2464808 h 5973007"/>
              <a:gd name="connsiteX69416" fmla="*/ 5290462 w 6884782"/>
              <a:gd name="connsiteY69416" fmla="*/ 2464808 h 5973007"/>
              <a:gd name="connsiteX69417" fmla="*/ 5290462 w 6884782"/>
              <a:gd name="connsiteY69417" fmla="*/ 2463954 h 5973007"/>
              <a:gd name="connsiteX69418" fmla="*/ 5291102 w 6884782"/>
              <a:gd name="connsiteY69418" fmla="*/ 2463243 h 5973007"/>
              <a:gd name="connsiteX69419" fmla="*/ 5292810 w 6884782"/>
              <a:gd name="connsiteY69419" fmla="*/ 2461678 h 5973007"/>
              <a:gd name="connsiteX69420" fmla="*/ 5295158 w 6884782"/>
              <a:gd name="connsiteY69420" fmla="*/ 2457267 h 5973007"/>
              <a:gd name="connsiteX69421" fmla="*/ 5295158 w 6884782"/>
              <a:gd name="connsiteY69421" fmla="*/ 2462390 h 5973007"/>
              <a:gd name="connsiteX69422" fmla="*/ 5300706 w 6884782"/>
              <a:gd name="connsiteY69422" fmla="*/ 2463243 h 5973007"/>
              <a:gd name="connsiteX69423" fmla="*/ 5298999 w 6884782"/>
              <a:gd name="connsiteY69423" fmla="*/ 2458833 h 5973007"/>
              <a:gd name="connsiteX69424" fmla="*/ 5302841 w 6884782"/>
              <a:gd name="connsiteY69424" fmla="*/ 2455134 h 5973007"/>
              <a:gd name="connsiteX69425" fmla="*/ 5306042 w 6884782"/>
              <a:gd name="connsiteY69425" fmla="*/ 2458833 h 5973007"/>
              <a:gd name="connsiteX69426" fmla="*/ 5304548 w 6884782"/>
              <a:gd name="connsiteY69426" fmla="*/ 2450581 h 5973007"/>
              <a:gd name="connsiteX69427" fmla="*/ 5306042 w 6884782"/>
              <a:gd name="connsiteY69427" fmla="*/ 2450581 h 5973007"/>
              <a:gd name="connsiteX69428" fmla="*/ 5307536 w 6884782"/>
              <a:gd name="connsiteY69428" fmla="*/ 2450581 h 5973007"/>
              <a:gd name="connsiteX69429" fmla="*/ 5310097 w 6884782"/>
              <a:gd name="connsiteY69429" fmla="*/ 2453569 h 5973007"/>
              <a:gd name="connsiteX69430" fmla="*/ 5316072 w 6884782"/>
              <a:gd name="connsiteY69430" fmla="*/ 2449443 h 5973007"/>
              <a:gd name="connsiteX69431" fmla="*/ 5315645 w 6884782"/>
              <a:gd name="connsiteY69431" fmla="*/ 2448020 h 5973007"/>
              <a:gd name="connsiteX69432" fmla="*/ 5319914 w 6884782"/>
              <a:gd name="connsiteY69432" fmla="*/ 2444037 h 5973007"/>
              <a:gd name="connsiteX69433" fmla="*/ 5321195 w 6884782"/>
              <a:gd name="connsiteY69433" fmla="*/ 2446028 h 5973007"/>
              <a:gd name="connsiteX69434" fmla="*/ 5329731 w 6884782"/>
              <a:gd name="connsiteY69434" fmla="*/ 2440195 h 5973007"/>
              <a:gd name="connsiteX69435" fmla="*/ 5340189 w 6884782"/>
              <a:gd name="connsiteY69435" fmla="*/ 2434078 h 5973007"/>
              <a:gd name="connsiteX69436" fmla="*/ 5340402 w 6884782"/>
              <a:gd name="connsiteY69436" fmla="*/ 2431802 h 5973007"/>
              <a:gd name="connsiteX69437" fmla="*/ 5342750 w 6884782"/>
              <a:gd name="connsiteY69437" fmla="*/ 2432798 h 5973007"/>
              <a:gd name="connsiteX69438" fmla="*/ 5347018 w 6884782"/>
              <a:gd name="connsiteY69438" fmla="*/ 2430379 h 5973007"/>
              <a:gd name="connsiteX69439" fmla="*/ 5350220 w 6884782"/>
              <a:gd name="connsiteY69439" fmla="*/ 2429668 h 5973007"/>
              <a:gd name="connsiteX69440" fmla="*/ 5351713 w 6884782"/>
              <a:gd name="connsiteY69440" fmla="*/ 2428956 h 5973007"/>
              <a:gd name="connsiteX69441" fmla="*/ 5353208 w 6884782"/>
              <a:gd name="connsiteY69441" fmla="*/ 2428245 h 5973007"/>
              <a:gd name="connsiteX69442" fmla="*/ 5391837 w 6884782"/>
              <a:gd name="connsiteY69442" fmla="*/ 2412595 h 5973007"/>
              <a:gd name="connsiteX69443" fmla="*/ 5398452 w 6884782"/>
              <a:gd name="connsiteY69443" fmla="*/ 2410746 h 5973007"/>
              <a:gd name="connsiteX69444" fmla="*/ 5399733 w 6884782"/>
              <a:gd name="connsiteY69444" fmla="*/ 2411030 h 5973007"/>
              <a:gd name="connsiteX69445" fmla="*/ 5399093 w 6884782"/>
              <a:gd name="connsiteY69445" fmla="*/ 2409181 h 5973007"/>
              <a:gd name="connsiteX69446" fmla="*/ 5398239 w 6884782"/>
              <a:gd name="connsiteY69446" fmla="*/ 2407758 h 5973007"/>
              <a:gd name="connsiteX69447" fmla="*/ 5408910 w 6884782"/>
              <a:gd name="connsiteY69447" fmla="*/ 2404628 h 5973007"/>
              <a:gd name="connsiteX69448" fmla="*/ 5409977 w 6884782"/>
              <a:gd name="connsiteY69448" fmla="*/ 2406478 h 5973007"/>
              <a:gd name="connsiteX69449" fmla="*/ 5410191 w 6884782"/>
              <a:gd name="connsiteY69449" fmla="*/ 2406336 h 5973007"/>
              <a:gd name="connsiteX69450" fmla="*/ 5415099 w 6884782"/>
              <a:gd name="connsiteY69450" fmla="*/ 2404628 h 5973007"/>
              <a:gd name="connsiteX69451" fmla="*/ 5417020 w 6884782"/>
              <a:gd name="connsiteY69451" fmla="*/ 2400502 h 5973007"/>
              <a:gd name="connsiteX69452" fmla="*/ 5416807 w 6884782"/>
              <a:gd name="connsiteY69452" fmla="*/ 2399507 h 5973007"/>
              <a:gd name="connsiteX69453" fmla="*/ 5415526 w 6884782"/>
              <a:gd name="connsiteY69453" fmla="*/ 2399934 h 5973007"/>
              <a:gd name="connsiteX69454" fmla="*/ 5412111 w 6884782"/>
              <a:gd name="connsiteY69454" fmla="*/ 2398937 h 5973007"/>
              <a:gd name="connsiteX69455" fmla="*/ 5409977 w 6884782"/>
              <a:gd name="connsiteY69455" fmla="*/ 2395381 h 5973007"/>
              <a:gd name="connsiteX69456" fmla="*/ 5407203 w 6884782"/>
              <a:gd name="connsiteY69456" fmla="*/ 2396946 h 5973007"/>
              <a:gd name="connsiteX69457" fmla="*/ 5396745 w 6884782"/>
              <a:gd name="connsiteY69457" fmla="*/ 2394243 h 5973007"/>
              <a:gd name="connsiteX69458" fmla="*/ 5404642 w 6884782"/>
              <a:gd name="connsiteY69458" fmla="*/ 2378735 h 5973007"/>
              <a:gd name="connsiteX69459" fmla="*/ 5414672 w 6884782"/>
              <a:gd name="connsiteY69459" fmla="*/ 2389121 h 5973007"/>
              <a:gd name="connsiteX69460" fmla="*/ 5414246 w 6884782"/>
              <a:gd name="connsiteY69460" fmla="*/ 2390117 h 5973007"/>
              <a:gd name="connsiteX69461" fmla="*/ 5415313 w 6884782"/>
              <a:gd name="connsiteY69461" fmla="*/ 2389121 h 5973007"/>
              <a:gd name="connsiteX69462" fmla="*/ 5416380 w 6884782"/>
              <a:gd name="connsiteY69462" fmla="*/ 2389263 h 5973007"/>
              <a:gd name="connsiteX69463" fmla="*/ 5416380 w 6884782"/>
              <a:gd name="connsiteY69463" fmla="*/ 2387271 h 5973007"/>
              <a:gd name="connsiteX69464" fmla="*/ 5427691 w 6884782"/>
              <a:gd name="connsiteY69464" fmla="*/ 2395523 h 5973007"/>
              <a:gd name="connsiteX69465" fmla="*/ 5431960 w 6884782"/>
              <a:gd name="connsiteY69465" fmla="*/ 2402067 h 5973007"/>
              <a:gd name="connsiteX69466" fmla="*/ 5438149 w 6884782"/>
              <a:gd name="connsiteY69466" fmla="*/ 2405909 h 5973007"/>
              <a:gd name="connsiteX69467" fmla="*/ 5460131 w 6884782"/>
              <a:gd name="connsiteY69467" fmla="*/ 2396235 h 5973007"/>
              <a:gd name="connsiteX69468" fmla="*/ 5461411 w 6884782"/>
              <a:gd name="connsiteY69468" fmla="*/ 2398084 h 5973007"/>
              <a:gd name="connsiteX69469" fmla="*/ 5466533 w 6884782"/>
              <a:gd name="connsiteY69469" fmla="*/ 2396377 h 5973007"/>
              <a:gd name="connsiteX69470" fmla="*/ 5469094 w 6884782"/>
              <a:gd name="connsiteY69470" fmla="*/ 2396803 h 5973007"/>
              <a:gd name="connsiteX69471" fmla="*/ 5468454 w 6884782"/>
              <a:gd name="connsiteY69471" fmla="*/ 2399649 h 5973007"/>
              <a:gd name="connsiteX69472" fmla="*/ 5466961 w 6884782"/>
              <a:gd name="connsiteY69472" fmla="*/ 2401214 h 5973007"/>
              <a:gd name="connsiteX69473" fmla="*/ 5471869 w 6884782"/>
              <a:gd name="connsiteY69473" fmla="*/ 2401499 h 5973007"/>
              <a:gd name="connsiteX69474" fmla="*/ 5487662 w 6884782"/>
              <a:gd name="connsiteY69474" fmla="*/ 2392535 h 5973007"/>
              <a:gd name="connsiteX69475" fmla="*/ 5475924 w 6884782"/>
              <a:gd name="connsiteY69475" fmla="*/ 2391113 h 5973007"/>
              <a:gd name="connsiteX69476" fmla="*/ 5461625 w 6884782"/>
              <a:gd name="connsiteY69476" fmla="*/ 2396235 h 5973007"/>
              <a:gd name="connsiteX69477" fmla="*/ 5471656 w 6884782"/>
              <a:gd name="connsiteY69477" fmla="*/ 2389121 h 5973007"/>
              <a:gd name="connsiteX69478" fmla="*/ 5483820 w 6884782"/>
              <a:gd name="connsiteY69478" fmla="*/ 2386133 h 5973007"/>
              <a:gd name="connsiteX69479" fmla="*/ 5482753 w 6884782"/>
              <a:gd name="connsiteY69479" fmla="*/ 2383288 h 5973007"/>
              <a:gd name="connsiteX69480" fmla="*/ 5485741 w 6884782"/>
              <a:gd name="connsiteY69480" fmla="*/ 2367781 h 5973007"/>
              <a:gd name="connsiteX69481" fmla="*/ 5488943 w 6884782"/>
              <a:gd name="connsiteY69481" fmla="*/ 2368350 h 5973007"/>
              <a:gd name="connsiteX69482" fmla="*/ 5489796 w 6884782"/>
              <a:gd name="connsiteY69482" fmla="*/ 2378877 h 5973007"/>
              <a:gd name="connsiteX69483" fmla="*/ 5489369 w 6884782"/>
              <a:gd name="connsiteY69483" fmla="*/ 2384568 h 5973007"/>
              <a:gd name="connsiteX69484" fmla="*/ 5495345 w 6884782"/>
              <a:gd name="connsiteY69484" fmla="*/ 2381439 h 5973007"/>
              <a:gd name="connsiteX69485" fmla="*/ 5499400 w 6884782"/>
              <a:gd name="connsiteY69485" fmla="*/ 2380869 h 5973007"/>
              <a:gd name="connsiteX69486" fmla="*/ 5505802 w 6884782"/>
              <a:gd name="connsiteY69486" fmla="*/ 2374610 h 5973007"/>
              <a:gd name="connsiteX69487" fmla="*/ 5512632 w 6884782"/>
              <a:gd name="connsiteY69487" fmla="*/ 2373614 h 5973007"/>
              <a:gd name="connsiteX69488" fmla="*/ 5510285 w 6884782"/>
              <a:gd name="connsiteY69488" fmla="*/ 2373187 h 5973007"/>
              <a:gd name="connsiteX69489" fmla="*/ 5508364 w 6884782"/>
              <a:gd name="connsiteY69489" fmla="*/ 2371906 h 5973007"/>
              <a:gd name="connsiteX69490" fmla="*/ 5508364 w 6884782"/>
              <a:gd name="connsiteY69490" fmla="*/ 2372049 h 5973007"/>
              <a:gd name="connsiteX69491" fmla="*/ 5504735 w 6884782"/>
              <a:gd name="connsiteY69491" fmla="*/ 2374467 h 5973007"/>
              <a:gd name="connsiteX69492" fmla="*/ 5495559 w 6884782"/>
              <a:gd name="connsiteY69492" fmla="*/ 2363939 h 5973007"/>
              <a:gd name="connsiteX69493" fmla="*/ 5500681 w 6884782"/>
              <a:gd name="connsiteY69493" fmla="*/ 2360667 h 5973007"/>
              <a:gd name="connsiteX69494" fmla="*/ 5502815 w 6884782"/>
              <a:gd name="connsiteY69494" fmla="*/ 2361236 h 5973007"/>
              <a:gd name="connsiteX69495" fmla="*/ 5503455 w 6884782"/>
              <a:gd name="connsiteY69495" fmla="*/ 2359956 h 5973007"/>
              <a:gd name="connsiteX69496" fmla="*/ 5509431 w 6884782"/>
              <a:gd name="connsiteY69496" fmla="*/ 2358391 h 5973007"/>
              <a:gd name="connsiteX69497" fmla="*/ 5510925 w 6884782"/>
              <a:gd name="connsiteY69497" fmla="*/ 2359102 h 5973007"/>
              <a:gd name="connsiteX69498" fmla="*/ 5520102 w 6884782"/>
              <a:gd name="connsiteY69498" fmla="*/ 2369061 h 5973007"/>
              <a:gd name="connsiteX69499" fmla="*/ 5516260 w 6884782"/>
              <a:gd name="connsiteY69499" fmla="*/ 2373045 h 5973007"/>
              <a:gd name="connsiteX69500" fmla="*/ 5531627 w 6884782"/>
              <a:gd name="connsiteY69500" fmla="*/ 2372333 h 5973007"/>
              <a:gd name="connsiteX69501" fmla="*/ 5543365 w 6884782"/>
              <a:gd name="connsiteY69501" fmla="*/ 2371622 h 5973007"/>
              <a:gd name="connsiteX69502" fmla="*/ 5555743 w 6884782"/>
              <a:gd name="connsiteY69502" fmla="*/ 2368065 h 5973007"/>
              <a:gd name="connsiteX69503" fmla="*/ 5554036 w 6884782"/>
              <a:gd name="connsiteY69503" fmla="*/ 2366927 h 5973007"/>
              <a:gd name="connsiteX69504" fmla="*/ 5551474 w 6884782"/>
              <a:gd name="connsiteY69504" fmla="*/ 2368065 h 5973007"/>
              <a:gd name="connsiteX69505" fmla="*/ 5534614 w 6884782"/>
              <a:gd name="connsiteY69505" fmla="*/ 2367638 h 5973007"/>
              <a:gd name="connsiteX69506" fmla="*/ 5548060 w 6884782"/>
              <a:gd name="connsiteY69506" fmla="*/ 2354977 h 5973007"/>
              <a:gd name="connsiteX69507" fmla="*/ 5552115 w 6884782"/>
              <a:gd name="connsiteY69507" fmla="*/ 2354123 h 5973007"/>
              <a:gd name="connsiteX69508" fmla="*/ 5556169 w 6884782"/>
              <a:gd name="connsiteY69508" fmla="*/ 2352131 h 5973007"/>
              <a:gd name="connsiteX69509" fmla="*/ 5555956 w 6884782"/>
              <a:gd name="connsiteY69509" fmla="*/ 2350708 h 5973007"/>
              <a:gd name="connsiteX69510" fmla="*/ 5570042 w 6884782"/>
              <a:gd name="connsiteY69510" fmla="*/ 2333778 h 5973007"/>
              <a:gd name="connsiteX69511" fmla="*/ 5571323 w 6884782"/>
              <a:gd name="connsiteY69511" fmla="*/ 2332071 h 5973007"/>
              <a:gd name="connsiteX69512" fmla="*/ 5567908 w 6884782"/>
              <a:gd name="connsiteY69512" fmla="*/ 2331644 h 5973007"/>
              <a:gd name="connsiteX69513" fmla="*/ 5563426 w 6884782"/>
              <a:gd name="connsiteY69513" fmla="*/ 2326665 h 5973007"/>
              <a:gd name="connsiteX69514" fmla="*/ 5558517 w 6884782"/>
              <a:gd name="connsiteY69514" fmla="*/ 2328515 h 5973007"/>
              <a:gd name="connsiteX69515" fmla="*/ 5546353 w 6884782"/>
              <a:gd name="connsiteY69515" fmla="*/ 2326665 h 5973007"/>
              <a:gd name="connsiteX69516" fmla="*/ 5542084 w 6884782"/>
              <a:gd name="connsiteY69516" fmla="*/ 2321259 h 5973007"/>
              <a:gd name="connsiteX69517" fmla="*/ 5541444 w 6884782"/>
              <a:gd name="connsiteY69517" fmla="*/ 2321259 h 5973007"/>
              <a:gd name="connsiteX69518" fmla="*/ 5538883 w 6884782"/>
              <a:gd name="connsiteY69518" fmla="*/ 2314145 h 5973007"/>
              <a:gd name="connsiteX69519" fmla="*/ 5544432 w 6884782"/>
              <a:gd name="connsiteY69519" fmla="*/ 2311443 h 5973007"/>
              <a:gd name="connsiteX69520" fmla="*/ 5546779 w 6884782"/>
              <a:gd name="connsiteY69520" fmla="*/ 2313149 h 5973007"/>
              <a:gd name="connsiteX69521" fmla="*/ 5546993 w 6884782"/>
              <a:gd name="connsiteY69521" fmla="*/ 2314430 h 5973007"/>
              <a:gd name="connsiteX69522" fmla="*/ 5546993 w 6884782"/>
              <a:gd name="connsiteY69522" fmla="*/ 2316422 h 5973007"/>
              <a:gd name="connsiteX69523" fmla="*/ 5554249 w 6884782"/>
              <a:gd name="connsiteY69523" fmla="*/ 2311158 h 5973007"/>
              <a:gd name="connsiteX69524" fmla="*/ 5572816 w 6884782"/>
              <a:gd name="connsiteY69524" fmla="*/ 2307743 h 5973007"/>
              <a:gd name="connsiteX69525" fmla="*/ 5570683 w 6884782"/>
              <a:gd name="connsiteY69525" fmla="*/ 2323820 h 5973007"/>
              <a:gd name="connsiteX69526" fmla="*/ 5570255 w 6884782"/>
              <a:gd name="connsiteY69526" fmla="*/ 2323820 h 5973007"/>
              <a:gd name="connsiteX69527" fmla="*/ 5570683 w 6884782"/>
              <a:gd name="connsiteY69527" fmla="*/ 2324815 h 5973007"/>
              <a:gd name="connsiteX69528" fmla="*/ 5573243 w 6884782"/>
              <a:gd name="connsiteY69528" fmla="*/ 2329511 h 5973007"/>
              <a:gd name="connsiteX69529" fmla="*/ 5571749 w 6884782"/>
              <a:gd name="connsiteY69529" fmla="*/ 2331502 h 5973007"/>
              <a:gd name="connsiteX69530" fmla="*/ 5584128 w 6884782"/>
              <a:gd name="connsiteY69530" fmla="*/ 2316706 h 5973007"/>
              <a:gd name="connsiteX69531" fmla="*/ 5593945 w 6884782"/>
              <a:gd name="connsiteY69531" fmla="*/ 2316706 h 5973007"/>
              <a:gd name="connsiteX69532" fmla="*/ 5593945 w 6884782"/>
              <a:gd name="connsiteY69532" fmla="*/ 2316422 h 5973007"/>
              <a:gd name="connsiteX69533" fmla="*/ 5593518 w 6884782"/>
              <a:gd name="connsiteY69533" fmla="*/ 2315284 h 5973007"/>
              <a:gd name="connsiteX69534" fmla="*/ 5592451 w 6884782"/>
              <a:gd name="connsiteY69534" fmla="*/ 2315141 h 5973007"/>
              <a:gd name="connsiteX69535" fmla="*/ 5593518 w 6884782"/>
              <a:gd name="connsiteY69535" fmla="*/ 2312865 h 5973007"/>
              <a:gd name="connsiteX69536" fmla="*/ 5601841 w 6884782"/>
              <a:gd name="connsiteY69536" fmla="*/ 2310304 h 5973007"/>
              <a:gd name="connsiteX69537" fmla="*/ 5603122 w 6884782"/>
              <a:gd name="connsiteY69537" fmla="*/ 2313861 h 5973007"/>
              <a:gd name="connsiteX69538" fmla="*/ 5602055 w 6884782"/>
              <a:gd name="connsiteY69538" fmla="*/ 2315568 h 5973007"/>
              <a:gd name="connsiteX69539" fmla="*/ 5609311 w 6884782"/>
              <a:gd name="connsiteY69539" fmla="*/ 2314145 h 5973007"/>
              <a:gd name="connsiteX69540" fmla="*/ 5633001 w 6884782"/>
              <a:gd name="connsiteY69540" fmla="*/ 2317987 h 5973007"/>
              <a:gd name="connsiteX69541" fmla="*/ 5648154 w 6884782"/>
              <a:gd name="connsiteY69541" fmla="*/ 2342172 h 5973007"/>
              <a:gd name="connsiteX69542" fmla="*/ 5647513 w 6884782"/>
              <a:gd name="connsiteY69542" fmla="*/ 2350424 h 5973007"/>
              <a:gd name="connsiteX69543" fmla="*/ 5651995 w 6884782"/>
              <a:gd name="connsiteY69543" fmla="*/ 2349997 h 5973007"/>
              <a:gd name="connsiteX69544" fmla="*/ 5662879 w 6884782"/>
              <a:gd name="connsiteY69544" fmla="*/ 2350139 h 5973007"/>
              <a:gd name="connsiteX69545" fmla="*/ 5678459 w 6884782"/>
              <a:gd name="connsiteY69545" fmla="*/ 2348574 h 5973007"/>
              <a:gd name="connsiteX69546" fmla="*/ 5692759 w 6884782"/>
              <a:gd name="connsiteY69546" fmla="*/ 2353838 h 5973007"/>
              <a:gd name="connsiteX69547" fmla="*/ 5686356 w 6884782"/>
              <a:gd name="connsiteY69547" fmla="*/ 2355261 h 5973007"/>
              <a:gd name="connsiteX69548" fmla="*/ 5692759 w 6884782"/>
              <a:gd name="connsiteY69548" fmla="*/ 2359814 h 5973007"/>
              <a:gd name="connsiteX69549" fmla="*/ 5700655 w 6884782"/>
              <a:gd name="connsiteY69549" fmla="*/ 2356684 h 5973007"/>
              <a:gd name="connsiteX69550" fmla="*/ 5696600 w 6884782"/>
              <a:gd name="connsiteY69550" fmla="*/ 2362659 h 5973007"/>
              <a:gd name="connsiteX69551" fmla="*/ 5681020 w 6884782"/>
              <a:gd name="connsiteY69551" fmla="*/ 2368634 h 5973007"/>
              <a:gd name="connsiteX69552" fmla="*/ 5665227 w 6884782"/>
              <a:gd name="connsiteY69552" fmla="*/ 2367211 h 5973007"/>
              <a:gd name="connsiteX69553" fmla="*/ 5655837 w 6884782"/>
              <a:gd name="connsiteY69553" fmla="*/ 2370768 h 5973007"/>
              <a:gd name="connsiteX69554" fmla="*/ 5646873 w 6884782"/>
              <a:gd name="connsiteY69554" fmla="*/ 2370911 h 5973007"/>
              <a:gd name="connsiteX69555" fmla="*/ 5648154 w 6884782"/>
              <a:gd name="connsiteY69555" fmla="*/ 2372618 h 5973007"/>
              <a:gd name="connsiteX69556" fmla="*/ 5646873 w 6884782"/>
              <a:gd name="connsiteY69556" fmla="*/ 2372902 h 5973007"/>
              <a:gd name="connsiteX69557" fmla="*/ 5649007 w 6884782"/>
              <a:gd name="connsiteY69557" fmla="*/ 2374752 h 5973007"/>
              <a:gd name="connsiteX69558" fmla="*/ 5655837 w 6884782"/>
              <a:gd name="connsiteY69558" fmla="*/ 2373187 h 5973007"/>
              <a:gd name="connsiteX69559" fmla="*/ 5666721 w 6884782"/>
              <a:gd name="connsiteY69559" fmla="*/ 2374610 h 5973007"/>
              <a:gd name="connsiteX69560" fmla="*/ 5682514 w 6884782"/>
              <a:gd name="connsiteY69560" fmla="*/ 2371622 h 5973007"/>
              <a:gd name="connsiteX69561" fmla="*/ 5674618 w 6884782"/>
              <a:gd name="connsiteY69561" fmla="*/ 2374610 h 5973007"/>
              <a:gd name="connsiteX69562" fmla="*/ 5692759 w 6884782"/>
              <a:gd name="connsiteY69562" fmla="*/ 2374610 h 5973007"/>
              <a:gd name="connsiteX69563" fmla="*/ 5688704 w 6884782"/>
              <a:gd name="connsiteY69563" fmla="*/ 2373187 h 5973007"/>
              <a:gd name="connsiteX69564" fmla="*/ 5700655 w 6884782"/>
              <a:gd name="connsiteY69564" fmla="*/ 2374610 h 5973007"/>
              <a:gd name="connsiteX69565" fmla="*/ 5710686 w 6884782"/>
              <a:gd name="connsiteY69565" fmla="*/ 2370911 h 5973007"/>
              <a:gd name="connsiteX69566" fmla="*/ 5712180 w 6884782"/>
              <a:gd name="connsiteY69566" fmla="*/ 2371338 h 5973007"/>
              <a:gd name="connsiteX69567" fmla="*/ 5726265 w 6884782"/>
              <a:gd name="connsiteY69567" fmla="*/ 2363086 h 5973007"/>
              <a:gd name="connsiteX69568" fmla="*/ 5730534 w 6884782"/>
              <a:gd name="connsiteY69568" fmla="*/ 2364224 h 5973007"/>
              <a:gd name="connsiteX69569" fmla="*/ 5730960 w 6884782"/>
              <a:gd name="connsiteY69569" fmla="*/ 2365078 h 5973007"/>
              <a:gd name="connsiteX69570" fmla="*/ 5732028 w 6884782"/>
              <a:gd name="connsiteY69570" fmla="*/ 2362659 h 5973007"/>
              <a:gd name="connsiteX69571" fmla="*/ 5735443 w 6884782"/>
              <a:gd name="connsiteY69571" fmla="*/ 2364366 h 5973007"/>
              <a:gd name="connsiteX69572" fmla="*/ 5733948 w 6884782"/>
              <a:gd name="connsiteY69572" fmla="*/ 2369061 h 5973007"/>
              <a:gd name="connsiteX69573" fmla="*/ 5732028 w 6884782"/>
              <a:gd name="connsiteY69573" fmla="*/ 2369346 h 5973007"/>
              <a:gd name="connsiteX69574" fmla="*/ 5731601 w 6884782"/>
              <a:gd name="connsiteY69574" fmla="*/ 2369061 h 5973007"/>
              <a:gd name="connsiteX69575" fmla="*/ 5729467 w 6884782"/>
              <a:gd name="connsiteY69575" fmla="*/ 2372191 h 5973007"/>
              <a:gd name="connsiteX69576" fmla="*/ 5733522 w 6884782"/>
              <a:gd name="connsiteY69576" fmla="*/ 2373187 h 5973007"/>
              <a:gd name="connsiteX69577" fmla="*/ 5741418 w 6884782"/>
              <a:gd name="connsiteY69577" fmla="*/ 2376175 h 5973007"/>
              <a:gd name="connsiteX69578" fmla="*/ 5746754 w 6884782"/>
              <a:gd name="connsiteY69578" fmla="*/ 2376175 h 5973007"/>
              <a:gd name="connsiteX69579" fmla="*/ 5745686 w 6884782"/>
              <a:gd name="connsiteY69579" fmla="*/ 2371195 h 5973007"/>
              <a:gd name="connsiteX69580" fmla="*/ 5746540 w 6884782"/>
              <a:gd name="connsiteY69580" fmla="*/ 2364509 h 5973007"/>
              <a:gd name="connsiteX69581" fmla="*/ 5752302 w 6884782"/>
              <a:gd name="connsiteY69581" fmla="*/ 2365646 h 5973007"/>
              <a:gd name="connsiteX69582" fmla="*/ 5757638 w 6884782"/>
              <a:gd name="connsiteY69582" fmla="*/ 2362659 h 5973007"/>
              <a:gd name="connsiteX69583" fmla="*/ 5764468 w 6884782"/>
              <a:gd name="connsiteY69583" fmla="*/ 2360241 h 5973007"/>
              <a:gd name="connsiteX69584" fmla="*/ 5766175 w 6884782"/>
              <a:gd name="connsiteY69584" fmla="*/ 2344164 h 5973007"/>
              <a:gd name="connsiteX69585" fmla="*/ 5764681 w 6884782"/>
              <a:gd name="connsiteY69585" fmla="*/ 2338331 h 5973007"/>
              <a:gd name="connsiteX69586" fmla="*/ 5762973 w 6884782"/>
              <a:gd name="connsiteY69586" fmla="*/ 2339469 h 5973007"/>
              <a:gd name="connsiteX69587" fmla="*/ 5757211 w 6884782"/>
              <a:gd name="connsiteY69587" fmla="*/ 2342314 h 5973007"/>
              <a:gd name="connsiteX69588" fmla="*/ 5754010 w 6884782"/>
              <a:gd name="connsiteY69588" fmla="*/ 2331218 h 5973007"/>
              <a:gd name="connsiteX69589" fmla="*/ 5755077 w 6884782"/>
              <a:gd name="connsiteY69589" fmla="*/ 2330080 h 5973007"/>
              <a:gd name="connsiteX69590" fmla="*/ 5757851 w 6884782"/>
              <a:gd name="connsiteY69590" fmla="*/ 2328372 h 5973007"/>
              <a:gd name="connsiteX69591" fmla="*/ 5754010 w 6884782"/>
              <a:gd name="connsiteY69591" fmla="*/ 2326096 h 5973007"/>
              <a:gd name="connsiteX69592" fmla="*/ 5739071 w 6884782"/>
              <a:gd name="connsiteY69592" fmla="*/ 2325242 h 5973007"/>
              <a:gd name="connsiteX69593" fmla="*/ 5738003 w 6884782"/>
              <a:gd name="connsiteY69593" fmla="*/ 2314714 h 5973007"/>
              <a:gd name="connsiteX69594" fmla="*/ 5752942 w 6884782"/>
              <a:gd name="connsiteY69594" fmla="*/ 2314003 h 5973007"/>
              <a:gd name="connsiteX69595" fmla="*/ 5760839 w 6884782"/>
              <a:gd name="connsiteY69595" fmla="*/ 2307459 h 5973007"/>
              <a:gd name="connsiteX69596" fmla="*/ 5765535 w 6884782"/>
              <a:gd name="connsiteY69596" fmla="*/ 2289959 h 5973007"/>
              <a:gd name="connsiteX69597" fmla="*/ 5767669 w 6884782"/>
              <a:gd name="connsiteY69597" fmla="*/ 2286118 h 5973007"/>
              <a:gd name="connsiteX69598" fmla="*/ 5765748 w 6884782"/>
              <a:gd name="connsiteY69598" fmla="*/ 2285549 h 5973007"/>
              <a:gd name="connsiteX69599" fmla="*/ 5755930 w 6884782"/>
              <a:gd name="connsiteY69599" fmla="*/ 2265774 h 5973007"/>
              <a:gd name="connsiteX69600" fmla="*/ 5754864 w 6884782"/>
              <a:gd name="connsiteY69600" fmla="*/ 2263924 h 5973007"/>
              <a:gd name="connsiteX69601" fmla="*/ 5753156 w 6884782"/>
              <a:gd name="connsiteY69601" fmla="*/ 2266912 h 5973007"/>
              <a:gd name="connsiteX69602" fmla="*/ 5746540 w 6884782"/>
              <a:gd name="connsiteY69602" fmla="*/ 2269046 h 5973007"/>
              <a:gd name="connsiteX69603" fmla="*/ 5739071 w 6884782"/>
              <a:gd name="connsiteY69603" fmla="*/ 2267481 h 5973007"/>
              <a:gd name="connsiteX69604" fmla="*/ 5742699 w 6884782"/>
              <a:gd name="connsiteY69604" fmla="*/ 2261079 h 5973007"/>
              <a:gd name="connsiteX69605" fmla="*/ 5753370 w 6884782"/>
              <a:gd name="connsiteY69605" fmla="*/ 2261079 h 5973007"/>
              <a:gd name="connsiteX69606" fmla="*/ 5754650 w 6884782"/>
              <a:gd name="connsiteY69606" fmla="*/ 2263213 h 5973007"/>
              <a:gd name="connsiteX69607" fmla="*/ 5745900 w 6884782"/>
              <a:gd name="connsiteY69607" fmla="*/ 2246141 h 5973007"/>
              <a:gd name="connsiteX69608" fmla="*/ 5767028 w 6884782"/>
              <a:gd name="connsiteY69608" fmla="*/ 2201895 h 5973007"/>
              <a:gd name="connsiteX69609" fmla="*/ 5770870 w 6884782"/>
              <a:gd name="connsiteY69609" fmla="*/ 2202464 h 5973007"/>
              <a:gd name="connsiteX69610" fmla="*/ 5771297 w 6884782"/>
              <a:gd name="connsiteY69610" fmla="*/ 2202037 h 5973007"/>
              <a:gd name="connsiteX69611" fmla="*/ 5775139 w 6884782"/>
              <a:gd name="connsiteY69611" fmla="*/ 2200757 h 5973007"/>
              <a:gd name="connsiteX69612" fmla="*/ 5777272 w 6884782"/>
              <a:gd name="connsiteY69612" fmla="*/ 2202180 h 5973007"/>
              <a:gd name="connsiteX69613" fmla="*/ 5783889 w 6884782"/>
              <a:gd name="connsiteY69613" fmla="*/ 2200900 h 5973007"/>
              <a:gd name="connsiteX69614" fmla="*/ 5785169 w 6884782"/>
              <a:gd name="connsiteY69614" fmla="*/ 2201042 h 5973007"/>
              <a:gd name="connsiteX69615" fmla="*/ 5787517 w 6884782"/>
              <a:gd name="connsiteY69615" fmla="*/ 2200330 h 5973007"/>
              <a:gd name="connsiteX69616" fmla="*/ 5786877 w 6884782"/>
              <a:gd name="connsiteY69616" fmla="*/ 2195778 h 5973007"/>
              <a:gd name="connsiteX69617" fmla="*/ 5790078 w 6884782"/>
              <a:gd name="connsiteY69617" fmla="*/ 2192932 h 5973007"/>
              <a:gd name="connsiteX69618" fmla="*/ 5794773 w 6884782"/>
              <a:gd name="connsiteY69618" fmla="*/ 2193217 h 5973007"/>
              <a:gd name="connsiteX69619" fmla="*/ 5797548 w 6884782"/>
              <a:gd name="connsiteY69619" fmla="*/ 2195066 h 5973007"/>
              <a:gd name="connsiteX69620" fmla="*/ 5798188 w 6884782"/>
              <a:gd name="connsiteY69620" fmla="*/ 2199050 h 5973007"/>
              <a:gd name="connsiteX69621" fmla="*/ 5798188 w 6884782"/>
              <a:gd name="connsiteY69621" fmla="*/ 2199334 h 5973007"/>
              <a:gd name="connsiteX69622" fmla="*/ 5808219 w 6884782"/>
              <a:gd name="connsiteY69622" fmla="*/ 2204598 h 5973007"/>
              <a:gd name="connsiteX69623" fmla="*/ 5809285 w 6884782"/>
              <a:gd name="connsiteY69623" fmla="*/ 2199050 h 5973007"/>
              <a:gd name="connsiteX69624" fmla="*/ 5804804 w 6884782"/>
              <a:gd name="connsiteY69624" fmla="*/ 2189660 h 5973007"/>
              <a:gd name="connsiteX69625" fmla="*/ 5792212 w 6884782"/>
              <a:gd name="connsiteY69625" fmla="*/ 2181693 h 5973007"/>
              <a:gd name="connsiteX69626" fmla="*/ 5789224 w 6884782"/>
              <a:gd name="connsiteY69626" fmla="*/ 2174580 h 5973007"/>
              <a:gd name="connsiteX69627" fmla="*/ 5778553 w 6884782"/>
              <a:gd name="connsiteY69627" fmla="*/ 2166755 h 5973007"/>
              <a:gd name="connsiteX69628" fmla="*/ 5777059 w 6884782"/>
              <a:gd name="connsiteY69628" fmla="*/ 2163198 h 5973007"/>
              <a:gd name="connsiteX69629" fmla="*/ 5780474 w 6884782"/>
              <a:gd name="connsiteY69629" fmla="*/ 2165190 h 5973007"/>
              <a:gd name="connsiteX69630" fmla="*/ 5784102 w 6884782"/>
              <a:gd name="connsiteY69630" fmla="*/ 2168889 h 5973007"/>
              <a:gd name="connsiteX69631" fmla="*/ 5787730 w 6884782"/>
              <a:gd name="connsiteY69631" fmla="*/ 2169174 h 5973007"/>
              <a:gd name="connsiteX69632" fmla="*/ 5789224 w 6884782"/>
              <a:gd name="connsiteY69632" fmla="*/ 2172872 h 5973007"/>
              <a:gd name="connsiteX69633" fmla="*/ 5800322 w 6884782"/>
              <a:gd name="connsiteY69633" fmla="*/ 2173584 h 5973007"/>
              <a:gd name="connsiteX69634" fmla="*/ 5808859 w 6884782"/>
              <a:gd name="connsiteY69634" fmla="*/ 2184538 h 5973007"/>
              <a:gd name="connsiteX69635" fmla="*/ 5828920 w 6884782"/>
              <a:gd name="connsiteY69635" fmla="*/ 2185961 h 5973007"/>
              <a:gd name="connsiteX69636" fmla="*/ 5833189 w 6884782"/>
              <a:gd name="connsiteY69636" fmla="*/ 2156511 h 5973007"/>
              <a:gd name="connsiteX69637" fmla="*/ 5872458 w 6884782"/>
              <a:gd name="connsiteY69637" fmla="*/ 2148687 h 5973007"/>
              <a:gd name="connsiteX69638" fmla="*/ 5873738 w 6884782"/>
              <a:gd name="connsiteY69638" fmla="*/ 2144845 h 5973007"/>
              <a:gd name="connsiteX69639" fmla="*/ 5873952 w 6884782"/>
              <a:gd name="connsiteY69639" fmla="*/ 2142427 h 5973007"/>
              <a:gd name="connsiteX69640" fmla="*/ 5871604 w 6884782"/>
              <a:gd name="connsiteY69640" fmla="*/ 2140720 h 5973007"/>
              <a:gd name="connsiteX69641" fmla="*/ 5869470 w 6884782"/>
              <a:gd name="connsiteY69641" fmla="*/ 2130334 h 5973007"/>
              <a:gd name="connsiteX69642" fmla="*/ 5870537 w 6884782"/>
              <a:gd name="connsiteY69642" fmla="*/ 2129765 h 5973007"/>
              <a:gd name="connsiteX69643" fmla="*/ 5865202 w 6884782"/>
              <a:gd name="connsiteY69643" fmla="*/ 2124785 h 5973007"/>
              <a:gd name="connsiteX69644" fmla="*/ 5879287 w 6884782"/>
              <a:gd name="connsiteY69644" fmla="*/ 2113689 h 5973007"/>
              <a:gd name="connsiteX69645" fmla="*/ 5881848 w 6884782"/>
              <a:gd name="connsiteY69645" fmla="*/ 2112977 h 5973007"/>
              <a:gd name="connsiteX69646" fmla="*/ 5881208 w 6884782"/>
              <a:gd name="connsiteY69646" fmla="*/ 2111981 h 5973007"/>
              <a:gd name="connsiteX69647" fmla="*/ 5882916 w 6884782"/>
              <a:gd name="connsiteY69647" fmla="*/ 2112408 h 5973007"/>
              <a:gd name="connsiteX69648" fmla="*/ 5883129 w 6884782"/>
              <a:gd name="connsiteY69648" fmla="*/ 2112266 h 5973007"/>
              <a:gd name="connsiteX69649" fmla="*/ 5884196 w 6884782"/>
              <a:gd name="connsiteY69649" fmla="*/ 2111697 h 5973007"/>
              <a:gd name="connsiteX69650" fmla="*/ 5889105 w 6884782"/>
              <a:gd name="connsiteY69650" fmla="*/ 2112124 h 5973007"/>
              <a:gd name="connsiteX69651" fmla="*/ 5889958 w 6884782"/>
              <a:gd name="connsiteY69651" fmla="*/ 2114827 h 5973007"/>
              <a:gd name="connsiteX69652" fmla="*/ 5886544 w 6884782"/>
              <a:gd name="connsiteY69652" fmla="*/ 2121228 h 5973007"/>
              <a:gd name="connsiteX69653" fmla="*/ 5891025 w 6884782"/>
              <a:gd name="connsiteY69653" fmla="*/ 2128484 h 5973007"/>
              <a:gd name="connsiteX69654" fmla="*/ 5892733 w 6884782"/>
              <a:gd name="connsiteY69654" fmla="*/ 2130903 h 5973007"/>
              <a:gd name="connsiteX69655" fmla="*/ 5894227 w 6884782"/>
              <a:gd name="connsiteY69655" fmla="*/ 2130761 h 5973007"/>
              <a:gd name="connsiteX69656" fmla="*/ 5891239 w 6884782"/>
              <a:gd name="connsiteY69656" fmla="*/ 2121798 h 5973007"/>
              <a:gd name="connsiteX69657" fmla="*/ 5898708 w 6884782"/>
              <a:gd name="connsiteY69657" fmla="*/ 2120517 h 5973007"/>
              <a:gd name="connsiteX69658" fmla="*/ 5903190 w 6884782"/>
              <a:gd name="connsiteY69658" fmla="*/ 2133179 h 5973007"/>
              <a:gd name="connsiteX69659" fmla="*/ 5926026 w 6884782"/>
              <a:gd name="connsiteY69659" fmla="*/ 2125923 h 5973007"/>
              <a:gd name="connsiteX69660" fmla="*/ 5923892 w 6884782"/>
              <a:gd name="connsiteY69660" fmla="*/ 2106575 h 5973007"/>
              <a:gd name="connsiteX69661" fmla="*/ 5920050 w 6884782"/>
              <a:gd name="connsiteY69661" fmla="*/ 2105295 h 5973007"/>
              <a:gd name="connsiteX69662" fmla="*/ 5915995 w 6884782"/>
              <a:gd name="connsiteY69662" fmla="*/ 2105863 h 5973007"/>
              <a:gd name="connsiteX69663" fmla="*/ 5915995 w 6884782"/>
              <a:gd name="connsiteY69663" fmla="*/ 2107144 h 5973007"/>
              <a:gd name="connsiteX69664" fmla="*/ 5913434 w 6884782"/>
              <a:gd name="connsiteY69664" fmla="*/ 2112408 h 5973007"/>
              <a:gd name="connsiteX69665" fmla="*/ 5915355 w 6884782"/>
              <a:gd name="connsiteY69665" fmla="*/ 2113119 h 5973007"/>
              <a:gd name="connsiteX69666" fmla="*/ 5917276 w 6884782"/>
              <a:gd name="connsiteY69666" fmla="*/ 2118383 h 5973007"/>
              <a:gd name="connsiteX69667" fmla="*/ 5916636 w 6884782"/>
              <a:gd name="connsiteY69667" fmla="*/ 2117387 h 5973007"/>
              <a:gd name="connsiteX69668" fmla="*/ 5914715 w 6884782"/>
              <a:gd name="connsiteY69668" fmla="*/ 2118668 h 5973007"/>
              <a:gd name="connsiteX69669" fmla="*/ 5915142 w 6884782"/>
              <a:gd name="connsiteY69669" fmla="*/ 2119806 h 5973007"/>
              <a:gd name="connsiteX69670" fmla="*/ 5912581 w 6884782"/>
              <a:gd name="connsiteY69670" fmla="*/ 2119948 h 5973007"/>
              <a:gd name="connsiteX69671" fmla="*/ 5905751 w 6884782"/>
              <a:gd name="connsiteY69671" fmla="*/ 2114684 h 5973007"/>
              <a:gd name="connsiteX69672" fmla="*/ 5907459 w 6884782"/>
              <a:gd name="connsiteY69672" fmla="*/ 2112408 h 5973007"/>
              <a:gd name="connsiteX69673" fmla="*/ 5904471 w 6884782"/>
              <a:gd name="connsiteY69673" fmla="*/ 2112266 h 5973007"/>
              <a:gd name="connsiteX69674" fmla="*/ 5901696 w 6884782"/>
              <a:gd name="connsiteY69674" fmla="*/ 2110274 h 5973007"/>
              <a:gd name="connsiteX69675" fmla="*/ 5898068 w 6884782"/>
              <a:gd name="connsiteY69675" fmla="*/ 2105863 h 5973007"/>
              <a:gd name="connsiteX69676" fmla="*/ 5896574 w 6884782"/>
              <a:gd name="connsiteY69676" fmla="*/ 2107998 h 5973007"/>
              <a:gd name="connsiteX69677" fmla="*/ 5893800 w 6884782"/>
              <a:gd name="connsiteY69677" fmla="*/ 2109562 h 5973007"/>
              <a:gd name="connsiteX69678" fmla="*/ 5891025 w 6884782"/>
              <a:gd name="connsiteY69678" fmla="*/ 2108851 h 5973007"/>
              <a:gd name="connsiteX69679" fmla="*/ 5890812 w 6884782"/>
              <a:gd name="connsiteY69679" fmla="*/ 2107713 h 5973007"/>
              <a:gd name="connsiteX69680" fmla="*/ 5889532 w 6884782"/>
              <a:gd name="connsiteY69680" fmla="*/ 2103303 h 5973007"/>
              <a:gd name="connsiteX69681" fmla="*/ 5891879 w 6884782"/>
              <a:gd name="connsiteY69681" fmla="*/ 2100315 h 5973007"/>
              <a:gd name="connsiteX69682" fmla="*/ 5894440 w 6884782"/>
              <a:gd name="connsiteY69682" fmla="*/ 2099035 h 5973007"/>
              <a:gd name="connsiteX69683" fmla="*/ 5894013 w 6884782"/>
              <a:gd name="connsiteY69683" fmla="*/ 2097754 h 5973007"/>
              <a:gd name="connsiteX69684" fmla="*/ 5897215 w 6884782"/>
              <a:gd name="connsiteY69684" fmla="*/ 2087795 h 5973007"/>
              <a:gd name="connsiteX69685" fmla="*/ 5898495 w 6884782"/>
              <a:gd name="connsiteY69685" fmla="*/ 2088080 h 5973007"/>
              <a:gd name="connsiteX69686" fmla="*/ 5896574 w 6884782"/>
              <a:gd name="connsiteY69686" fmla="*/ 2080398 h 5973007"/>
              <a:gd name="connsiteX69687" fmla="*/ 5905324 w 6884782"/>
              <a:gd name="connsiteY69687" fmla="*/ 2078264 h 5973007"/>
              <a:gd name="connsiteX69688" fmla="*/ 5913648 w 6884782"/>
              <a:gd name="connsiteY69688" fmla="*/ 2081109 h 5973007"/>
              <a:gd name="connsiteX69689" fmla="*/ 5915995 w 6884782"/>
              <a:gd name="connsiteY69689" fmla="*/ 2082389 h 5973007"/>
              <a:gd name="connsiteX69690" fmla="*/ 5915995 w 6884782"/>
              <a:gd name="connsiteY69690" fmla="*/ 2081109 h 5973007"/>
              <a:gd name="connsiteX69691" fmla="*/ 5917276 w 6884782"/>
              <a:gd name="connsiteY69691" fmla="*/ 2082531 h 5973007"/>
              <a:gd name="connsiteX69692" fmla="*/ 5917276 w 6884782"/>
              <a:gd name="connsiteY69692" fmla="*/ 2082389 h 5973007"/>
              <a:gd name="connsiteX69693" fmla="*/ 5918983 w 6884782"/>
              <a:gd name="connsiteY69693" fmla="*/ 2069443 h 5973007"/>
              <a:gd name="connsiteX69694" fmla="*/ 5927093 w 6884782"/>
              <a:gd name="connsiteY69694" fmla="*/ 2084950 h 5973007"/>
              <a:gd name="connsiteX69695" fmla="*/ 5933709 w 6884782"/>
              <a:gd name="connsiteY69695" fmla="*/ 2097896 h 5973007"/>
              <a:gd name="connsiteX69696" fmla="*/ 5934136 w 6884782"/>
              <a:gd name="connsiteY69696" fmla="*/ 2097754 h 5973007"/>
              <a:gd name="connsiteX69697" fmla="*/ 5933709 w 6884782"/>
              <a:gd name="connsiteY69697" fmla="*/ 2098039 h 5973007"/>
              <a:gd name="connsiteX69698" fmla="*/ 5934136 w 6884782"/>
              <a:gd name="connsiteY69698" fmla="*/ 2098750 h 5973007"/>
              <a:gd name="connsiteX69699" fmla="*/ 5934776 w 6884782"/>
              <a:gd name="connsiteY69699" fmla="*/ 2100031 h 5973007"/>
              <a:gd name="connsiteX69700" fmla="*/ 5937978 w 6884782"/>
              <a:gd name="connsiteY69700" fmla="*/ 2099177 h 5973007"/>
              <a:gd name="connsiteX69701" fmla="*/ 5940325 w 6884782"/>
              <a:gd name="connsiteY69701" fmla="*/ 2101026 h 5973007"/>
              <a:gd name="connsiteX69702" fmla="*/ 5942887 w 6884782"/>
              <a:gd name="connsiteY69702" fmla="*/ 2105437 h 5973007"/>
              <a:gd name="connsiteX69703" fmla="*/ 5942673 w 6884782"/>
              <a:gd name="connsiteY69703" fmla="*/ 2106717 h 5973007"/>
              <a:gd name="connsiteX69704" fmla="*/ 5943527 w 6884782"/>
              <a:gd name="connsiteY69704" fmla="*/ 2105863 h 5973007"/>
              <a:gd name="connsiteX69705" fmla="*/ 5948222 w 6884782"/>
              <a:gd name="connsiteY69705" fmla="*/ 2105579 h 5973007"/>
              <a:gd name="connsiteX69706" fmla="*/ 5951210 w 6884782"/>
              <a:gd name="connsiteY69706" fmla="*/ 2107286 h 5973007"/>
              <a:gd name="connsiteX69707" fmla="*/ 5952490 w 6884782"/>
              <a:gd name="connsiteY69707" fmla="*/ 2111127 h 5973007"/>
              <a:gd name="connsiteX69708" fmla="*/ 5951423 w 6884782"/>
              <a:gd name="connsiteY69708" fmla="*/ 2114399 h 5973007"/>
              <a:gd name="connsiteX69709" fmla="*/ 5948435 w 6884782"/>
              <a:gd name="connsiteY69709" fmla="*/ 2116676 h 5973007"/>
              <a:gd name="connsiteX69710" fmla="*/ 5946301 w 6884782"/>
              <a:gd name="connsiteY69710" fmla="*/ 2117672 h 5973007"/>
              <a:gd name="connsiteX69711" fmla="*/ 5946942 w 6884782"/>
              <a:gd name="connsiteY69711" fmla="*/ 2118526 h 5973007"/>
              <a:gd name="connsiteX69712" fmla="*/ 5958039 w 6884782"/>
              <a:gd name="connsiteY69712" fmla="*/ 2117529 h 5973007"/>
              <a:gd name="connsiteX69713" fmla="*/ 5971271 w 6884782"/>
              <a:gd name="connsiteY69713" fmla="*/ 2116676 h 5973007"/>
              <a:gd name="connsiteX69714" fmla="*/ 5989626 w 6884782"/>
              <a:gd name="connsiteY69714" fmla="*/ 2117956 h 5973007"/>
              <a:gd name="connsiteX69715" fmla="*/ 5999442 w 6884782"/>
              <a:gd name="connsiteY69715" fmla="*/ 2108140 h 5973007"/>
              <a:gd name="connsiteX69716" fmla="*/ 6007339 w 6884782"/>
              <a:gd name="connsiteY69716" fmla="*/ 2077126 h 5973007"/>
              <a:gd name="connsiteX69717" fmla="*/ 6008406 w 6884782"/>
              <a:gd name="connsiteY69717" fmla="*/ 2063183 h 5973007"/>
              <a:gd name="connsiteX69718" fmla="*/ 6018010 w 6884782"/>
              <a:gd name="connsiteY69718" fmla="*/ 2056781 h 5973007"/>
              <a:gd name="connsiteX69719" fmla="*/ 6013528 w 6884782"/>
              <a:gd name="connsiteY69719" fmla="*/ 2119522 h 5973007"/>
              <a:gd name="connsiteX69720" fmla="*/ 6039352 w 6884782"/>
              <a:gd name="connsiteY69720" fmla="*/ 2119522 h 5973007"/>
              <a:gd name="connsiteX69721" fmla="*/ 6044261 w 6884782"/>
              <a:gd name="connsiteY69721" fmla="*/ 2113262 h 5973007"/>
              <a:gd name="connsiteX69722" fmla="*/ 6042981 w 6884782"/>
              <a:gd name="connsiteY69722" fmla="*/ 2110986 h 5973007"/>
              <a:gd name="connsiteX69723" fmla="*/ 6048529 w 6884782"/>
              <a:gd name="connsiteY69723" fmla="*/ 2105579 h 5973007"/>
              <a:gd name="connsiteX69724" fmla="*/ 6048956 w 6884782"/>
              <a:gd name="connsiteY69724" fmla="*/ 2107429 h 5973007"/>
              <a:gd name="connsiteX69725" fmla="*/ 6049169 w 6884782"/>
              <a:gd name="connsiteY69725" fmla="*/ 2107429 h 5973007"/>
              <a:gd name="connsiteX69726" fmla="*/ 6057066 w 6884782"/>
              <a:gd name="connsiteY69726" fmla="*/ 2105010 h 5973007"/>
              <a:gd name="connsiteX69727" fmla="*/ 6061121 w 6884782"/>
              <a:gd name="connsiteY69727" fmla="*/ 2128057 h 5973007"/>
              <a:gd name="connsiteX69728" fmla="*/ 6088652 w 6884782"/>
              <a:gd name="connsiteY69728" fmla="*/ 2127631 h 5973007"/>
              <a:gd name="connsiteX69729" fmla="*/ 6089506 w 6884782"/>
              <a:gd name="connsiteY69729" fmla="*/ 2127773 h 5973007"/>
              <a:gd name="connsiteX69730" fmla="*/ 6092067 w 6884782"/>
              <a:gd name="connsiteY69730" fmla="*/ 2123932 h 5973007"/>
              <a:gd name="connsiteX69731" fmla="*/ 6101031 w 6884782"/>
              <a:gd name="connsiteY69731" fmla="*/ 2106006 h 5973007"/>
              <a:gd name="connsiteX69732" fmla="*/ 6102311 w 6884782"/>
              <a:gd name="connsiteY69732" fmla="*/ 2104156 h 5973007"/>
              <a:gd name="connsiteX69733" fmla="*/ 6098469 w 6884782"/>
              <a:gd name="connsiteY69733" fmla="*/ 2101596 h 5973007"/>
              <a:gd name="connsiteX69734" fmla="*/ 6098896 w 6884782"/>
              <a:gd name="connsiteY69734" fmla="*/ 2100315 h 5973007"/>
              <a:gd name="connsiteX69735" fmla="*/ 6097402 w 6884782"/>
              <a:gd name="connsiteY69735" fmla="*/ 2100173 h 5973007"/>
              <a:gd name="connsiteX69736" fmla="*/ 6093774 w 6884782"/>
              <a:gd name="connsiteY69736" fmla="*/ 2098039 h 5973007"/>
              <a:gd name="connsiteX69737" fmla="*/ 6090786 w 6884782"/>
              <a:gd name="connsiteY69737" fmla="*/ 2082389 h 5973007"/>
              <a:gd name="connsiteX69738" fmla="*/ 6101031 w 6884782"/>
              <a:gd name="connsiteY69738" fmla="*/ 2076841 h 5973007"/>
              <a:gd name="connsiteX69739" fmla="*/ 6099750 w 6884782"/>
              <a:gd name="connsiteY69739" fmla="*/ 2076841 h 5973007"/>
              <a:gd name="connsiteX69740" fmla="*/ 6087372 w 6884782"/>
              <a:gd name="connsiteY69740" fmla="*/ 2059626 h 5973007"/>
              <a:gd name="connsiteX69741" fmla="*/ 6091000 w 6884782"/>
              <a:gd name="connsiteY69741" fmla="*/ 2061049 h 5973007"/>
              <a:gd name="connsiteX69742" fmla="*/ 6092067 w 6884782"/>
              <a:gd name="connsiteY69742" fmla="*/ 2062187 h 5973007"/>
              <a:gd name="connsiteX69743" fmla="*/ 6093348 w 6884782"/>
              <a:gd name="connsiteY69743" fmla="*/ 2062329 h 5973007"/>
              <a:gd name="connsiteX69744" fmla="*/ 6093348 w 6884782"/>
              <a:gd name="connsiteY69744" fmla="*/ 2063468 h 5973007"/>
              <a:gd name="connsiteX69745" fmla="*/ 6095908 w 6884782"/>
              <a:gd name="connsiteY69745" fmla="*/ 2066028 h 5973007"/>
              <a:gd name="connsiteX69746" fmla="*/ 6102951 w 6884782"/>
              <a:gd name="connsiteY69746" fmla="*/ 2069870 h 5973007"/>
              <a:gd name="connsiteX69747" fmla="*/ 6108073 w 6884782"/>
              <a:gd name="connsiteY69747" fmla="*/ 2077267 h 5973007"/>
              <a:gd name="connsiteX69748" fmla="*/ 6105726 w 6884782"/>
              <a:gd name="connsiteY69748" fmla="*/ 2079544 h 5973007"/>
              <a:gd name="connsiteX69749" fmla="*/ 6108073 w 6884782"/>
              <a:gd name="connsiteY69749" fmla="*/ 2081962 h 5973007"/>
              <a:gd name="connsiteX69750" fmla="*/ 6111702 w 6884782"/>
              <a:gd name="connsiteY69750" fmla="*/ 2088934 h 5973007"/>
              <a:gd name="connsiteX69751" fmla="*/ 6108927 w 6884782"/>
              <a:gd name="connsiteY69751" fmla="*/ 2094909 h 5973007"/>
              <a:gd name="connsiteX69752" fmla="*/ 6109140 w 6884782"/>
              <a:gd name="connsiteY69752" fmla="*/ 2095194 h 5973007"/>
              <a:gd name="connsiteX69753" fmla="*/ 6115756 w 6884782"/>
              <a:gd name="connsiteY69753" fmla="*/ 2088507 h 5973007"/>
              <a:gd name="connsiteX69754" fmla="*/ 6098469 w 6884782"/>
              <a:gd name="connsiteY69754" fmla="*/ 2133037 h 5973007"/>
              <a:gd name="connsiteX69755" fmla="*/ 6096548 w 6884782"/>
              <a:gd name="connsiteY69755" fmla="*/ 2134033 h 5973007"/>
              <a:gd name="connsiteX69756" fmla="*/ 6097829 w 6884782"/>
              <a:gd name="connsiteY69756" fmla="*/ 2141858 h 5973007"/>
              <a:gd name="connsiteX69757" fmla="*/ 6099750 w 6884782"/>
              <a:gd name="connsiteY69757" fmla="*/ 2155089 h 5973007"/>
              <a:gd name="connsiteX69758" fmla="*/ 6127708 w 6884782"/>
              <a:gd name="connsiteY69758" fmla="*/ 2151817 h 5973007"/>
              <a:gd name="connsiteX69759" fmla="*/ 6127281 w 6884782"/>
              <a:gd name="connsiteY69759" fmla="*/ 2158646 h 5973007"/>
              <a:gd name="connsiteX69760" fmla="*/ 6123226 w 6884782"/>
              <a:gd name="connsiteY69760" fmla="*/ 2163625 h 5973007"/>
              <a:gd name="connsiteX69761" fmla="*/ 6130909 w 6884782"/>
              <a:gd name="connsiteY69761" fmla="*/ 2185250 h 5973007"/>
              <a:gd name="connsiteX69762" fmla="*/ 6149477 w 6884782"/>
              <a:gd name="connsiteY69762" fmla="*/ 2184680 h 5973007"/>
              <a:gd name="connsiteX69763" fmla="*/ 6151611 w 6884782"/>
              <a:gd name="connsiteY69763" fmla="*/ 2181408 h 5973007"/>
              <a:gd name="connsiteX69764" fmla="*/ 6159294 w 6884782"/>
              <a:gd name="connsiteY69764" fmla="*/ 2176713 h 5973007"/>
              <a:gd name="connsiteX69765" fmla="*/ 6164629 w 6884782"/>
              <a:gd name="connsiteY69765" fmla="*/ 2180413 h 5973007"/>
              <a:gd name="connsiteX69766" fmla="*/ 6162069 w 6884782"/>
              <a:gd name="connsiteY69766" fmla="*/ 2189091 h 5973007"/>
              <a:gd name="connsiteX69767" fmla="*/ 6156093 w 6884782"/>
              <a:gd name="connsiteY69767" fmla="*/ 2193928 h 5973007"/>
              <a:gd name="connsiteX69768" fmla="*/ 6152251 w 6884782"/>
              <a:gd name="connsiteY69768" fmla="*/ 2195351 h 5973007"/>
              <a:gd name="connsiteX69769" fmla="*/ 6153105 w 6884782"/>
              <a:gd name="connsiteY69769" fmla="*/ 2211285 h 5973007"/>
              <a:gd name="connsiteX69770" fmla="*/ 6171245 w 6884782"/>
              <a:gd name="connsiteY69770" fmla="*/ 2215980 h 5973007"/>
              <a:gd name="connsiteX69771" fmla="*/ 6169112 w 6884782"/>
              <a:gd name="connsiteY69771" fmla="*/ 2243864 h 5973007"/>
              <a:gd name="connsiteX69772" fmla="*/ 6195362 w 6884782"/>
              <a:gd name="connsiteY69772" fmla="*/ 2238600 h 5973007"/>
              <a:gd name="connsiteX69773" fmla="*/ 6194935 w 6884782"/>
              <a:gd name="connsiteY69773" fmla="*/ 2245572 h 5973007"/>
              <a:gd name="connsiteX69774" fmla="*/ 6181703 w 6884782"/>
              <a:gd name="connsiteY69774" fmla="*/ 2249982 h 5973007"/>
              <a:gd name="connsiteX69775" fmla="*/ 6184691 w 6884782"/>
              <a:gd name="connsiteY69775" fmla="*/ 2283415 h 5973007"/>
              <a:gd name="connsiteX69776" fmla="*/ 6213716 w 6884782"/>
              <a:gd name="connsiteY69776" fmla="*/ 2292378 h 5973007"/>
              <a:gd name="connsiteX69777" fmla="*/ 6207741 w 6884782"/>
              <a:gd name="connsiteY69777" fmla="*/ 2297215 h 5973007"/>
              <a:gd name="connsiteX69778" fmla="*/ 6205606 w 6884782"/>
              <a:gd name="connsiteY69778" fmla="*/ 2300630 h 5973007"/>
              <a:gd name="connsiteX69779" fmla="*/ 6222040 w 6884782"/>
              <a:gd name="connsiteY69779" fmla="*/ 2305182 h 5973007"/>
              <a:gd name="connsiteX69780" fmla="*/ 6212222 w 6884782"/>
              <a:gd name="connsiteY69780" fmla="*/ 2307601 h 5973007"/>
              <a:gd name="connsiteX69781" fmla="*/ 6216064 w 6884782"/>
              <a:gd name="connsiteY69781" fmla="*/ 2310731 h 5973007"/>
              <a:gd name="connsiteX69782" fmla="*/ 6206460 w 6884782"/>
              <a:gd name="connsiteY69782" fmla="*/ 2321685 h 5973007"/>
              <a:gd name="connsiteX69783" fmla="*/ 6199204 w 6884782"/>
              <a:gd name="connsiteY69783" fmla="*/ 2324673 h 5973007"/>
              <a:gd name="connsiteX69784" fmla="*/ 6198137 w 6884782"/>
              <a:gd name="connsiteY69784" fmla="*/ 2328088 h 5973007"/>
              <a:gd name="connsiteX69785" fmla="*/ 6182771 w 6884782"/>
              <a:gd name="connsiteY69785" fmla="*/ 2334063 h 5973007"/>
              <a:gd name="connsiteX69786" fmla="*/ 6171672 w 6884782"/>
              <a:gd name="connsiteY69786" fmla="*/ 2359529 h 5973007"/>
              <a:gd name="connsiteX69787" fmla="*/ 6206246 w 6884782"/>
              <a:gd name="connsiteY69787" fmla="*/ 2368919 h 5973007"/>
              <a:gd name="connsiteX69788" fmla="*/ 6205606 w 6884782"/>
              <a:gd name="connsiteY69788" fmla="*/ 2375890 h 5973007"/>
              <a:gd name="connsiteX69789" fmla="*/ 6178288 w 6884782"/>
              <a:gd name="connsiteY69789" fmla="*/ 2377028 h 5973007"/>
              <a:gd name="connsiteX69790" fmla="*/ 6170819 w 6884782"/>
              <a:gd name="connsiteY69790" fmla="*/ 2380869 h 5973007"/>
              <a:gd name="connsiteX69791" fmla="*/ 6173380 w 6884782"/>
              <a:gd name="connsiteY69791" fmla="*/ 2382150 h 5973007"/>
              <a:gd name="connsiteX69792" fmla="*/ 6173166 w 6884782"/>
              <a:gd name="connsiteY69792" fmla="*/ 2384426 h 5973007"/>
              <a:gd name="connsiteX69793" fmla="*/ 6170179 w 6884782"/>
              <a:gd name="connsiteY69793" fmla="*/ 2382861 h 5973007"/>
              <a:gd name="connsiteX69794" fmla="*/ 6168471 w 6884782"/>
              <a:gd name="connsiteY69794" fmla="*/ 2382150 h 5973007"/>
              <a:gd name="connsiteX69795" fmla="*/ 6168258 w 6884782"/>
              <a:gd name="connsiteY69795" fmla="*/ 2382150 h 5973007"/>
              <a:gd name="connsiteX69796" fmla="*/ 6167617 w 6884782"/>
              <a:gd name="connsiteY69796" fmla="*/ 2389121 h 5973007"/>
              <a:gd name="connsiteX69797" fmla="*/ 6163989 w 6884782"/>
              <a:gd name="connsiteY69797" fmla="*/ 2390686 h 5973007"/>
              <a:gd name="connsiteX69798" fmla="*/ 6161642 w 6884782"/>
              <a:gd name="connsiteY69798" fmla="*/ 2395808 h 5973007"/>
              <a:gd name="connsiteX69799" fmla="*/ 6148410 w 6884782"/>
              <a:gd name="connsiteY69799" fmla="*/ 2400076 h 5973007"/>
              <a:gd name="connsiteX69800" fmla="*/ 6146702 w 6884782"/>
              <a:gd name="connsiteY69800" fmla="*/ 2411742 h 5973007"/>
              <a:gd name="connsiteX69801" fmla="*/ 6148196 w 6884782"/>
              <a:gd name="connsiteY69801" fmla="*/ 2414445 h 5973007"/>
              <a:gd name="connsiteX69802" fmla="*/ 6150544 w 6884782"/>
              <a:gd name="connsiteY69802" fmla="*/ 2414445 h 5973007"/>
              <a:gd name="connsiteX69803" fmla="*/ 6150544 w 6884782"/>
              <a:gd name="connsiteY69803" fmla="*/ 2413165 h 5973007"/>
              <a:gd name="connsiteX69804" fmla="*/ 6151611 w 6884782"/>
              <a:gd name="connsiteY69804" fmla="*/ 2408612 h 5973007"/>
              <a:gd name="connsiteX69805" fmla="*/ 6153318 w 6884782"/>
              <a:gd name="connsiteY69805" fmla="*/ 2411457 h 5973007"/>
              <a:gd name="connsiteX69806" fmla="*/ 6153532 w 6884782"/>
              <a:gd name="connsiteY69806" fmla="*/ 2414587 h 5973007"/>
              <a:gd name="connsiteX69807" fmla="*/ 6156520 w 6884782"/>
              <a:gd name="connsiteY69807" fmla="*/ 2414587 h 5973007"/>
              <a:gd name="connsiteX69808" fmla="*/ 6168258 w 6884782"/>
              <a:gd name="connsiteY69808" fmla="*/ 2422554 h 5973007"/>
              <a:gd name="connsiteX69809" fmla="*/ 6155453 w 6884782"/>
              <a:gd name="connsiteY69809" fmla="*/ 2442187 h 5973007"/>
              <a:gd name="connsiteX69810" fmla="*/ 6153532 w 6884782"/>
              <a:gd name="connsiteY69810" fmla="*/ 2442472 h 5973007"/>
              <a:gd name="connsiteX69811" fmla="*/ 6154599 w 6884782"/>
              <a:gd name="connsiteY69811" fmla="*/ 2444037 h 5973007"/>
              <a:gd name="connsiteX69812" fmla="*/ 6158867 w 6884782"/>
              <a:gd name="connsiteY69812" fmla="*/ 2459117 h 5973007"/>
              <a:gd name="connsiteX69813" fmla="*/ 6154172 w 6884782"/>
              <a:gd name="connsiteY69813" fmla="*/ 2458406 h 5973007"/>
              <a:gd name="connsiteX69814" fmla="*/ 6154386 w 6884782"/>
              <a:gd name="connsiteY69814" fmla="*/ 2455987 h 5973007"/>
              <a:gd name="connsiteX69815" fmla="*/ 6150117 w 6884782"/>
              <a:gd name="connsiteY69815" fmla="*/ 2447309 h 5973007"/>
              <a:gd name="connsiteX69816" fmla="*/ 6149690 w 6884782"/>
              <a:gd name="connsiteY69816" fmla="*/ 2443183 h 5973007"/>
              <a:gd name="connsiteX69817" fmla="*/ 6147983 w 6884782"/>
              <a:gd name="connsiteY69817" fmla="*/ 2443468 h 5973007"/>
              <a:gd name="connsiteX69818" fmla="*/ 6145422 w 6884782"/>
              <a:gd name="connsiteY69818" fmla="*/ 2440907 h 5973007"/>
              <a:gd name="connsiteX69819" fmla="*/ 6145635 w 6884782"/>
              <a:gd name="connsiteY69819" fmla="*/ 2445033 h 5973007"/>
              <a:gd name="connsiteX69820" fmla="*/ 6146916 w 6884782"/>
              <a:gd name="connsiteY69820" fmla="*/ 2451719 h 5973007"/>
              <a:gd name="connsiteX69821" fmla="*/ 6146434 w 6884782"/>
              <a:gd name="connsiteY69821" fmla="*/ 2455034 h 5973007"/>
              <a:gd name="connsiteX69822" fmla="*/ 6145208 w 6884782"/>
              <a:gd name="connsiteY69822" fmla="*/ 2455987 h 5973007"/>
              <a:gd name="connsiteX69823" fmla="*/ 6143715 w 6884782"/>
              <a:gd name="connsiteY69823" fmla="*/ 2441049 h 5973007"/>
              <a:gd name="connsiteX69824" fmla="*/ 6143928 w 6884782"/>
              <a:gd name="connsiteY69824" fmla="*/ 2439627 h 5973007"/>
              <a:gd name="connsiteX69825" fmla="*/ 6136885 w 6884782"/>
              <a:gd name="connsiteY69825" fmla="*/ 2432940 h 5973007"/>
              <a:gd name="connsiteX69826" fmla="*/ 6137952 w 6884782"/>
              <a:gd name="connsiteY69826" fmla="*/ 2426680 h 5973007"/>
              <a:gd name="connsiteX69827" fmla="*/ 6136885 w 6884782"/>
              <a:gd name="connsiteY69827" fmla="*/ 2426396 h 5973007"/>
              <a:gd name="connsiteX69828" fmla="*/ 6129415 w 6884782"/>
              <a:gd name="connsiteY69828" fmla="*/ 2430379 h 5973007"/>
              <a:gd name="connsiteX69829" fmla="*/ 6125361 w 6884782"/>
              <a:gd name="connsiteY69829" fmla="*/ 2437065 h 5973007"/>
              <a:gd name="connsiteX69830" fmla="*/ 6121518 w 6884782"/>
              <a:gd name="connsiteY69830" fmla="*/ 2438630 h 5973007"/>
              <a:gd name="connsiteX69831" fmla="*/ 6114690 w 6884782"/>
              <a:gd name="connsiteY69831" fmla="*/ 2480173 h 5973007"/>
              <a:gd name="connsiteX69832" fmla="*/ 6090573 w 6884782"/>
              <a:gd name="connsiteY69832" fmla="*/ 2482307 h 5973007"/>
              <a:gd name="connsiteX69833" fmla="*/ 6083957 w 6884782"/>
              <a:gd name="connsiteY69833" fmla="*/ 2480742 h 5973007"/>
              <a:gd name="connsiteX69834" fmla="*/ 6082890 w 6884782"/>
              <a:gd name="connsiteY69834" fmla="*/ 2487144 h 5973007"/>
              <a:gd name="connsiteX69835" fmla="*/ 6089506 w 6884782"/>
              <a:gd name="connsiteY69835" fmla="*/ 2492266 h 5973007"/>
              <a:gd name="connsiteX69836" fmla="*/ 6100604 w 6884782"/>
              <a:gd name="connsiteY69836" fmla="*/ 2496819 h 5973007"/>
              <a:gd name="connsiteX69837" fmla="*/ 6110634 w 6884782"/>
              <a:gd name="connsiteY69837" fmla="*/ 2500517 h 5973007"/>
              <a:gd name="connsiteX69838" fmla="*/ 6101244 w 6884782"/>
              <a:gd name="connsiteY69838" fmla="*/ 2500517 h 5973007"/>
              <a:gd name="connsiteX69839" fmla="*/ 6091000 w 6884782"/>
              <a:gd name="connsiteY69839" fmla="*/ 2498241 h 5973007"/>
              <a:gd name="connsiteX69840" fmla="*/ 6097402 w 6884782"/>
              <a:gd name="connsiteY69840" fmla="*/ 2504074 h 5973007"/>
              <a:gd name="connsiteX69841" fmla="*/ 6104445 w 6884782"/>
              <a:gd name="connsiteY69841" fmla="*/ 2501941 h 5973007"/>
              <a:gd name="connsiteX69842" fmla="*/ 6117890 w 6884782"/>
              <a:gd name="connsiteY69842" fmla="*/ 2510050 h 5973007"/>
              <a:gd name="connsiteX69843" fmla="*/ 6117887 w 6884782"/>
              <a:gd name="connsiteY69843" fmla="*/ 2510075 h 5973007"/>
              <a:gd name="connsiteX69844" fmla="*/ 6154783 w 6884782"/>
              <a:gd name="connsiteY69844" fmla="*/ 2508081 h 5973007"/>
              <a:gd name="connsiteX69845" fmla="*/ 6132945 w 6884782"/>
              <a:gd name="connsiteY69845" fmla="*/ 2529184 h 5973007"/>
              <a:gd name="connsiteX69846" fmla="*/ 6133203 w 6884782"/>
              <a:gd name="connsiteY69846" fmla="*/ 2529363 h 5973007"/>
              <a:gd name="connsiteX69847" fmla="*/ 6134324 w 6884782"/>
              <a:gd name="connsiteY69847" fmla="*/ 2530252 h 5973007"/>
              <a:gd name="connsiteX69848" fmla="*/ 6148410 w 6884782"/>
              <a:gd name="connsiteY69848" fmla="*/ 2545901 h 5973007"/>
              <a:gd name="connsiteX69849" fmla="*/ 6159508 w 6884782"/>
              <a:gd name="connsiteY69849" fmla="*/ 2548178 h 5973007"/>
              <a:gd name="connsiteX69850" fmla="*/ 6161001 w 6884782"/>
              <a:gd name="connsiteY69850" fmla="*/ 2549458 h 5973007"/>
              <a:gd name="connsiteX69851" fmla="*/ 6163989 w 6884782"/>
              <a:gd name="connsiteY69851" fmla="*/ 2546755 h 5973007"/>
              <a:gd name="connsiteX69852" fmla="*/ 6182557 w 6884782"/>
              <a:gd name="connsiteY69852" fmla="*/ 2539214 h 5973007"/>
              <a:gd name="connsiteX69853" fmla="*/ 6177221 w 6884782"/>
              <a:gd name="connsiteY69853" fmla="*/ 2550027 h 5973007"/>
              <a:gd name="connsiteX69854" fmla="*/ 6169538 w 6884782"/>
              <a:gd name="connsiteY69854" fmla="*/ 2557283 h 5973007"/>
              <a:gd name="connsiteX69855" fmla="*/ 6181490 w 6884782"/>
              <a:gd name="connsiteY69855" fmla="*/ 2566673 h 5973007"/>
              <a:gd name="connsiteX69856" fmla="*/ 6188533 w 6884782"/>
              <a:gd name="connsiteY69856" fmla="*/ 2571937 h 5973007"/>
              <a:gd name="connsiteX69857" fmla="*/ 6195575 w 6884782"/>
              <a:gd name="connsiteY69857" fmla="*/ 2576347 h 5973007"/>
              <a:gd name="connsiteX69858" fmla="*/ 6212009 w 6884782"/>
              <a:gd name="connsiteY69858" fmla="*/ 2583887 h 5973007"/>
              <a:gd name="connsiteX69859" fmla="*/ 6211674 w 6884782"/>
              <a:gd name="connsiteY69859" fmla="*/ 2587012 h 5973007"/>
              <a:gd name="connsiteX69860" fmla="*/ 6228407 w 6884782"/>
              <a:gd name="connsiteY69860" fmla="*/ 2581549 h 5973007"/>
              <a:gd name="connsiteX69861" fmla="*/ 6227082 w 6884782"/>
              <a:gd name="connsiteY69861" fmla="*/ 2573608 h 5973007"/>
              <a:gd name="connsiteX69862" fmla="*/ 6225881 w 6884782"/>
              <a:gd name="connsiteY69862" fmla="*/ 2563116 h 5973007"/>
              <a:gd name="connsiteX69863" fmla="*/ 6228442 w 6884782"/>
              <a:gd name="connsiteY69863" fmla="*/ 2562973 h 5973007"/>
              <a:gd name="connsiteX69864" fmla="*/ 6230576 w 6884782"/>
              <a:gd name="connsiteY69864" fmla="*/ 2565250 h 5973007"/>
              <a:gd name="connsiteX69865" fmla="*/ 6232711 w 6884782"/>
              <a:gd name="connsiteY69865" fmla="*/ 2576631 h 5973007"/>
              <a:gd name="connsiteX69866" fmla="*/ 6232711 w 6884782"/>
              <a:gd name="connsiteY69866" fmla="*/ 2579192 h 5973007"/>
              <a:gd name="connsiteX69867" fmla="*/ 6232711 w 6884782"/>
              <a:gd name="connsiteY69867" fmla="*/ 2580144 h 5973007"/>
              <a:gd name="connsiteX69868" fmla="*/ 6282902 w 6884782"/>
              <a:gd name="connsiteY69868" fmla="*/ 2563758 h 5973007"/>
              <a:gd name="connsiteX69869" fmla="*/ 6279673 w 6884782"/>
              <a:gd name="connsiteY69869" fmla="*/ 2621966 h 5973007"/>
              <a:gd name="connsiteX69870" fmla="*/ 6277973 w 6884782"/>
              <a:gd name="connsiteY69870" fmla="*/ 2661923 h 5973007"/>
              <a:gd name="connsiteX69871" fmla="*/ 6286706 w 6884782"/>
              <a:gd name="connsiteY69871" fmla="*/ 2668679 h 5973007"/>
              <a:gd name="connsiteX69872" fmla="*/ 6295456 w 6884782"/>
              <a:gd name="connsiteY69872" fmla="*/ 2677642 h 5973007"/>
              <a:gd name="connsiteX69873" fmla="*/ 6303992 w 6884782"/>
              <a:gd name="connsiteY69873" fmla="*/ 2687317 h 5973007"/>
              <a:gd name="connsiteX69874" fmla="*/ 6320639 w 6884782"/>
              <a:gd name="connsiteY69874" fmla="*/ 2708230 h 5973007"/>
              <a:gd name="connsiteX69875" fmla="*/ 6325588 w 6884782"/>
              <a:gd name="connsiteY69875" fmla="*/ 2716673 h 5973007"/>
              <a:gd name="connsiteX69876" fmla="*/ 6343194 w 6884782"/>
              <a:gd name="connsiteY69876" fmla="*/ 2713075 h 5973007"/>
              <a:gd name="connsiteX69877" fmla="*/ 6372263 w 6884782"/>
              <a:gd name="connsiteY69877" fmla="*/ 2708012 h 5973007"/>
              <a:gd name="connsiteX69878" fmla="*/ 6360787 w 6884782"/>
              <a:gd name="connsiteY69878" fmla="*/ 2765820 h 5973007"/>
              <a:gd name="connsiteX69879" fmla="*/ 6361136 w 6884782"/>
              <a:gd name="connsiteY69879" fmla="*/ 2769530 h 5973007"/>
              <a:gd name="connsiteX69880" fmla="*/ 6359367 w 6884782"/>
              <a:gd name="connsiteY69880" fmla="*/ 2772971 h 5973007"/>
              <a:gd name="connsiteX69881" fmla="*/ 6358887 w 6884782"/>
              <a:gd name="connsiteY69881" fmla="*/ 2775391 h 5973007"/>
              <a:gd name="connsiteX69882" fmla="*/ 6361402 w 6884782"/>
              <a:gd name="connsiteY69882" fmla="*/ 2775950 h 5973007"/>
              <a:gd name="connsiteX69883" fmla="*/ 6361402 w 6884782"/>
              <a:gd name="connsiteY69883" fmla="*/ 2776661 h 5973007"/>
              <a:gd name="connsiteX69884" fmla="*/ 6366098 w 6884782"/>
              <a:gd name="connsiteY69884" fmla="*/ 2784059 h 5973007"/>
              <a:gd name="connsiteX69885" fmla="*/ 6366098 w 6884782"/>
              <a:gd name="connsiteY69885" fmla="*/ 2784913 h 5973007"/>
              <a:gd name="connsiteX69886" fmla="*/ 6366952 w 6884782"/>
              <a:gd name="connsiteY69886" fmla="*/ 2784913 h 5973007"/>
              <a:gd name="connsiteX69887" fmla="*/ 6367592 w 6884782"/>
              <a:gd name="connsiteY69887" fmla="*/ 2784913 h 5973007"/>
              <a:gd name="connsiteX69888" fmla="*/ 6367776 w 6884782"/>
              <a:gd name="connsiteY69888" fmla="*/ 2785712 h 5973007"/>
              <a:gd name="connsiteX69889" fmla="*/ 6373851 w 6884782"/>
              <a:gd name="connsiteY69889" fmla="*/ 2785712 h 5973007"/>
              <a:gd name="connsiteX69890" fmla="*/ 6373994 w 6884782"/>
              <a:gd name="connsiteY69890" fmla="*/ 2785624 h 5973007"/>
              <a:gd name="connsiteX69891" fmla="*/ 6374110 w 6884782"/>
              <a:gd name="connsiteY69891" fmla="*/ 2785712 h 5973007"/>
              <a:gd name="connsiteX69892" fmla="*/ 6378271 w 6884782"/>
              <a:gd name="connsiteY69892" fmla="*/ 2785712 h 5973007"/>
              <a:gd name="connsiteX69893" fmla="*/ 6378372 w 6884782"/>
              <a:gd name="connsiteY69893" fmla="*/ 2788937 h 5973007"/>
              <a:gd name="connsiteX69894" fmla="*/ 6381891 w 6884782"/>
              <a:gd name="connsiteY69894" fmla="*/ 2791600 h 5973007"/>
              <a:gd name="connsiteX69895" fmla="*/ 6388080 w 6884782"/>
              <a:gd name="connsiteY69895" fmla="*/ 2793022 h 5973007"/>
              <a:gd name="connsiteX69896" fmla="*/ 6390428 w 6884782"/>
              <a:gd name="connsiteY69896" fmla="*/ 2793733 h 5973007"/>
              <a:gd name="connsiteX69897" fmla="*/ 6391282 w 6884782"/>
              <a:gd name="connsiteY69897" fmla="*/ 2794587 h 5973007"/>
              <a:gd name="connsiteX69898" fmla="*/ 6393629 w 6884782"/>
              <a:gd name="connsiteY69898" fmla="*/ 2797575 h 5973007"/>
              <a:gd name="connsiteX69899" fmla="*/ 6389787 w 6884782"/>
              <a:gd name="connsiteY69899" fmla="*/ 2797575 h 5973007"/>
              <a:gd name="connsiteX69900" fmla="*/ 6388080 w 6884782"/>
              <a:gd name="connsiteY69900" fmla="*/ 2796863 h 5973007"/>
              <a:gd name="connsiteX69901" fmla="*/ 6387227 w 6884782"/>
              <a:gd name="connsiteY69901" fmla="*/ 2796863 h 5973007"/>
              <a:gd name="connsiteX69902" fmla="*/ 6384239 w 6884782"/>
              <a:gd name="connsiteY69902" fmla="*/ 2795298 h 5973007"/>
              <a:gd name="connsiteX69903" fmla="*/ 6378507 w 6884782"/>
              <a:gd name="connsiteY69903" fmla="*/ 2793261 h 5973007"/>
              <a:gd name="connsiteX69904" fmla="*/ 6378581 w 6884782"/>
              <a:gd name="connsiteY69904" fmla="*/ 2795624 h 5973007"/>
              <a:gd name="connsiteX69905" fmla="*/ 6377836 w 6884782"/>
              <a:gd name="connsiteY69905" fmla="*/ 2795222 h 5973007"/>
              <a:gd name="connsiteX69906" fmla="*/ 6377836 w 6884782"/>
              <a:gd name="connsiteY69906" fmla="*/ 2799709 h 5973007"/>
              <a:gd name="connsiteX69907" fmla="*/ 6377836 w 6884782"/>
              <a:gd name="connsiteY69907" fmla="*/ 2800562 h 5973007"/>
              <a:gd name="connsiteX69908" fmla="*/ 6377836 w 6884782"/>
              <a:gd name="connsiteY69908" fmla="*/ 2801274 h 5973007"/>
              <a:gd name="connsiteX69909" fmla="*/ 6378689 w 6884782"/>
              <a:gd name="connsiteY69909" fmla="*/ 2801985 h 5973007"/>
              <a:gd name="connsiteX69910" fmla="*/ 6380184 w 6884782"/>
              <a:gd name="connsiteY69910" fmla="*/ 2805684 h 5973007"/>
              <a:gd name="connsiteX69911" fmla="*/ 6385092 w 6884782"/>
              <a:gd name="connsiteY69911" fmla="*/ 2811660 h 5973007"/>
              <a:gd name="connsiteX69912" fmla="*/ 6379544 w 6884782"/>
              <a:gd name="connsiteY69912" fmla="*/ 2811660 h 5973007"/>
              <a:gd name="connsiteX69913" fmla="*/ 6395123 w 6884782"/>
              <a:gd name="connsiteY69913" fmla="*/ 2839971 h 5973007"/>
              <a:gd name="connsiteX69914" fmla="*/ 6399818 w 6884782"/>
              <a:gd name="connsiteY69914" fmla="*/ 2838548 h 5973007"/>
              <a:gd name="connsiteX69915" fmla="*/ 6400672 w 6884782"/>
              <a:gd name="connsiteY69915" fmla="*/ 2841394 h 5973007"/>
              <a:gd name="connsiteX69916" fmla="*/ 6400904 w 6884782"/>
              <a:gd name="connsiteY69916" fmla="*/ 2842208 h 5973007"/>
              <a:gd name="connsiteX69917" fmla="*/ 6402188 w 6884782"/>
              <a:gd name="connsiteY69917" fmla="*/ 2837382 h 5973007"/>
              <a:gd name="connsiteX69918" fmla="*/ 6409560 w 6884782"/>
              <a:gd name="connsiteY69918" fmla="*/ 2834449 h 5973007"/>
              <a:gd name="connsiteX69919" fmla="*/ 6405843 w 6884782"/>
              <a:gd name="connsiteY69919" fmla="*/ 2814624 h 5973007"/>
              <a:gd name="connsiteX69920" fmla="*/ 6411419 w 6884782"/>
              <a:gd name="connsiteY69920" fmla="*/ 2803059 h 5973007"/>
              <a:gd name="connsiteX69921" fmla="*/ 6409560 w 6884782"/>
              <a:gd name="connsiteY69921" fmla="*/ 2798929 h 5973007"/>
              <a:gd name="connsiteX69922" fmla="*/ 6400112 w 6884782"/>
              <a:gd name="connsiteY69922" fmla="*/ 2797277 h 5973007"/>
              <a:gd name="connsiteX69923" fmla="*/ 6403984 w 6884782"/>
              <a:gd name="connsiteY69923" fmla="*/ 2788913 h 5973007"/>
              <a:gd name="connsiteX69924" fmla="*/ 6404759 w 6884782"/>
              <a:gd name="connsiteY69924" fmla="*/ 2785712 h 5973007"/>
              <a:gd name="connsiteX69925" fmla="*/ 6412522 w 6884782"/>
              <a:gd name="connsiteY69925" fmla="*/ 2785712 h 5973007"/>
              <a:gd name="connsiteX69926" fmla="*/ 6423774 w 6884782"/>
              <a:gd name="connsiteY69926" fmla="*/ 2776377 h 5973007"/>
              <a:gd name="connsiteX69927" fmla="*/ 6438020 w 6884782"/>
              <a:gd name="connsiteY69927" fmla="*/ 2771966 h 5973007"/>
              <a:gd name="connsiteX69928" fmla="*/ 6442342 w 6884782"/>
              <a:gd name="connsiteY69928" fmla="*/ 2787830 h 5973007"/>
              <a:gd name="connsiteX69929" fmla="*/ 6424844 w 6884782"/>
              <a:gd name="connsiteY69929" fmla="*/ 2798874 h 5973007"/>
              <a:gd name="connsiteX69930" fmla="*/ 6426444 w 6884782"/>
              <a:gd name="connsiteY69930" fmla="*/ 2800581 h 5973007"/>
              <a:gd name="connsiteX69931" fmla="*/ 6421797 w 6884782"/>
              <a:gd name="connsiteY69931" fmla="*/ 2823710 h 5973007"/>
              <a:gd name="connsiteX69932" fmla="*/ 6423656 w 6884782"/>
              <a:gd name="connsiteY69932" fmla="*/ 2834449 h 5973007"/>
              <a:gd name="connsiteX69933" fmla="*/ 6421797 w 6884782"/>
              <a:gd name="connsiteY69933" fmla="*/ 2842709 h 5973007"/>
              <a:gd name="connsiteX69934" fmla="*/ 6416995 w 6884782"/>
              <a:gd name="connsiteY69934" fmla="*/ 2832797 h 5973007"/>
              <a:gd name="connsiteX69935" fmla="*/ 6406772 w 6884782"/>
              <a:gd name="connsiteY69935" fmla="*/ 2836204 h 5973007"/>
              <a:gd name="connsiteX69936" fmla="*/ 6404422 w 6884782"/>
              <a:gd name="connsiteY69936" fmla="*/ 2852466 h 5973007"/>
              <a:gd name="connsiteX69937" fmla="*/ 6406861 w 6884782"/>
              <a:gd name="connsiteY69937" fmla="*/ 2858608 h 5973007"/>
              <a:gd name="connsiteX69938" fmla="*/ 6415611 w 6884782"/>
              <a:gd name="connsiteY69938" fmla="*/ 2877957 h 5973007"/>
              <a:gd name="connsiteX69939" fmla="*/ 6423508 w 6884782"/>
              <a:gd name="connsiteY69939" fmla="*/ 2898017 h 5973007"/>
              <a:gd name="connsiteX69940" fmla="*/ 6426496 w 6884782"/>
              <a:gd name="connsiteY69940" fmla="*/ 2909113 h 5973007"/>
              <a:gd name="connsiteX69941" fmla="*/ 6426796 w 6884782"/>
              <a:gd name="connsiteY69941" fmla="*/ 2910430 h 5973007"/>
              <a:gd name="connsiteX69942" fmla="*/ 6431420 w 6884782"/>
              <a:gd name="connsiteY69942" fmla="*/ 2906573 h 5973007"/>
              <a:gd name="connsiteX69943" fmla="*/ 6437597 w 6884782"/>
              <a:gd name="connsiteY69943" fmla="*/ 2890517 h 5973007"/>
              <a:gd name="connsiteX69944" fmla="*/ 6442243 w 6884782"/>
              <a:gd name="connsiteY69944" fmla="*/ 2898777 h 5973007"/>
              <a:gd name="connsiteX69945" fmla="*/ 6447975 w 6884782"/>
              <a:gd name="connsiteY69945" fmla="*/ 2904560 h 5973007"/>
              <a:gd name="connsiteX69946" fmla="*/ 6436667 w 6884782"/>
              <a:gd name="connsiteY69946" fmla="*/ 2922733 h 5973007"/>
              <a:gd name="connsiteX69947" fmla="*/ 6436347 w 6884782"/>
              <a:gd name="connsiteY69947" fmla="*/ 2923977 h 5973007"/>
              <a:gd name="connsiteX69948" fmla="*/ 6438554 w 6884782"/>
              <a:gd name="connsiteY69948" fmla="*/ 2931236 h 5973007"/>
              <a:gd name="connsiteX69949" fmla="*/ 6439941 w 6884782"/>
              <a:gd name="connsiteY69949" fmla="*/ 2940413 h 5973007"/>
              <a:gd name="connsiteX69950" fmla="*/ 6440795 w 6884782"/>
              <a:gd name="connsiteY69950" fmla="*/ 2953928 h 5973007"/>
              <a:gd name="connsiteX69951" fmla="*/ 6447838 w 6884782"/>
              <a:gd name="connsiteY69951" fmla="*/ 2956062 h 5973007"/>
              <a:gd name="connsiteX69952" fmla="*/ 6439941 w 6884782"/>
              <a:gd name="connsiteY69952" fmla="*/ 2963603 h 5973007"/>
              <a:gd name="connsiteX69953" fmla="*/ 6451679 w 6884782"/>
              <a:gd name="connsiteY69953" fmla="*/ 2983663 h 5973007"/>
              <a:gd name="connsiteX69954" fmla="*/ 6446344 w 6884782"/>
              <a:gd name="connsiteY69954" fmla="*/ 2975411 h 5973007"/>
              <a:gd name="connsiteX69955" fmla="*/ 6445490 w 6884782"/>
              <a:gd name="connsiteY69955" fmla="*/ 2992483 h 5973007"/>
              <a:gd name="connsiteX69956" fmla="*/ 6453386 w 6884782"/>
              <a:gd name="connsiteY69956" fmla="*/ 2993337 h 5973007"/>
              <a:gd name="connsiteX69957" fmla="*/ 6451039 w 6884782"/>
              <a:gd name="connsiteY69957" fmla="*/ 3011262 h 5973007"/>
              <a:gd name="connsiteX69958" fmla="*/ 6457228 w 6884782"/>
              <a:gd name="connsiteY69958" fmla="*/ 3011262 h 5973007"/>
              <a:gd name="connsiteX69959" fmla="*/ 6454881 w 6884782"/>
              <a:gd name="connsiteY69959" fmla="*/ 3027624 h 5973007"/>
              <a:gd name="connsiteX69960" fmla="*/ 6454881 w 6884782"/>
              <a:gd name="connsiteY69960" fmla="*/ 3046118 h 5973007"/>
              <a:gd name="connsiteX69961" fmla="*/ 6452533 w 6884782"/>
              <a:gd name="connsiteY69961" fmla="*/ 3040997 h 5973007"/>
              <a:gd name="connsiteX69962" fmla="*/ 6454240 w 6884782"/>
              <a:gd name="connsiteY69962" fmla="*/ 3049817 h 5973007"/>
              <a:gd name="connsiteX69963" fmla="*/ 6456374 w 6884782"/>
              <a:gd name="connsiteY69963" fmla="*/ 3045407 h 5973007"/>
              <a:gd name="connsiteX69964" fmla="*/ 6457228 w 6884782"/>
              <a:gd name="connsiteY69964" fmla="*/ 3054370 h 5973007"/>
              <a:gd name="connsiteX69965" fmla="*/ 6455734 w 6884782"/>
              <a:gd name="connsiteY69965" fmla="*/ 3066178 h 5973007"/>
              <a:gd name="connsiteX69966" fmla="*/ 6446344 w 6884782"/>
              <a:gd name="connsiteY69966" fmla="*/ 3067032 h 5973007"/>
              <a:gd name="connsiteX69967" fmla="*/ 6452960 w 6884782"/>
              <a:gd name="connsiteY69967" fmla="*/ 3070873 h 5973007"/>
              <a:gd name="connsiteX69968" fmla="*/ 6452533 w 6884782"/>
              <a:gd name="connsiteY69968" fmla="*/ 3072296 h 5973007"/>
              <a:gd name="connsiteX69969" fmla="*/ 6447838 w 6884782"/>
              <a:gd name="connsiteY69969" fmla="*/ 3072296 h 5973007"/>
              <a:gd name="connsiteX69970" fmla="*/ 6447624 w 6884782"/>
              <a:gd name="connsiteY69970" fmla="*/ 3072012 h 5973007"/>
              <a:gd name="connsiteX69971" fmla="*/ 6439941 w 6884782"/>
              <a:gd name="connsiteY69971" fmla="*/ 3071442 h 5973007"/>
              <a:gd name="connsiteX69972" fmla="*/ 6439941 w 6884782"/>
              <a:gd name="connsiteY69972" fmla="*/ 3072296 h 5973007"/>
              <a:gd name="connsiteX69973" fmla="*/ 6423295 w 6884782"/>
              <a:gd name="connsiteY69973" fmla="*/ 3072296 h 5973007"/>
              <a:gd name="connsiteX69974" fmla="*/ 6421800 w 6884782"/>
              <a:gd name="connsiteY69974" fmla="*/ 3061768 h 5973007"/>
              <a:gd name="connsiteX69975" fmla="*/ 6419666 w 6884782"/>
              <a:gd name="connsiteY69975" fmla="*/ 3050529 h 5973007"/>
              <a:gd name="connsiteX69976" fmla="*/ 6423508 w 6884782"/>
              <a:gd name="connsiteY69976" fmla="*/ 3034168 h 5973007"/>
              <a:gd name="connsiteX69977" fmla="*/ 6419666 w 6884782"/>
              <a:gd name="connsiteY69977" fmla="*/ 3017949 h 5973007"/>
              <a:gd name="connsiteX69978" fmla="*/ 6416465 w 6884782"/>
              <a:gd name="connsiteY69978" fmla="*/ 3027624 h 5973007"/>
              <a:gd name="connsiteX69979" fmla="*/ 6412410 w 6884782"/>
              <a:gd name="connsiteY69979" fmla="*/ 3014108 h 5973007"/>
              <a:gd name="connsiteX69980" fmla="*/ 6417559 w 6884782"/>
              <a:gd name="connsiteY69980" fmla="*/ 3004718 h 5973007"/>
              <a:gd name="connsiteX69981" fmla="*/ 6413520 w 6884782"/>
              <a:gd name="connsiteY69981" fmla="*/ 2989066 h 5973007"/>
              <a:gd name="connsiteX69982" fmla="*/ 6411419 w 6884782"/>
              <a:gd name="connsiteY69982" fmla="*/ 2992327 h 5973007"/>
              <a:gd name="connsiteX69983" fmla="*/ 6410966 w 6884782"/>
              <a:gd name="connsiteY69983" fmla="*/ 2993616 h 5973007"/>
              <a:gd name="connsiteX69984" fmla="*/ 6412410 w 6884782"/>
              <a:gd name="connsiteY69984" fmla="*/ 3001588 h 5973007"/>
              <a:gd name="connsiteX69985" fmla="*/ 6409797 w 6884782"/>
              <a:gd name="connsiteY69985" fmla="*/ 2996942 h 5973007"/>
              <a:gd name="connsiteX69986" fmla="*/ 6406772 w 6884782"/>
              <a:gd name="connsiteY69986" fmla="*/ 3005544 h 5973007"/>
              <a:gd name="connsiteX69987" fmla="*/ 6400112 w 6884782"/>
              <a:gd name="connsiteY69987" fmla="*/ 3020413 h 5973007"/>
              <a:gd name="connsiteX69988" fmla="*/ 6405843 w 6884782"/>
              <a:gd name="connsiteY69988" fmla="*/ 3030429 h 5973007"/>
              <a:gd name="connsiteX69989" fmla="*/ 6396532 w 6884782"/>
              <a:gd name="connsiteY69989" fmla="*/ 3031952 h 5973007"/>
              <a:gd name="connsiteX69990" fmla="*/ 6399178 w 6884782"/>
              <a:gd name="connsiteY69990" fmla="*/ 3042420 h 5973007"/>
              <a:gd name="connsiteX69991" fmla="*/ 6394483 w 6884782"/>
              <a:gd name="connsiteY69991" fmla="*/ 3043273 h 5973007"/>
              <a:gd name="connsiteX69992" fmla="*/ 6398324 w 6884782"/>
              <a:gd name="connsiteY69992" fmla="*/ 3060346 h 5973007"/>
              <a:gd name="connsiteX69993" fmla="*/ 6391922 w 6884782"/>
              <a:gd name="connsiteY69993" fmla="*/ 3047683 h 5973007"/>
              <a:gd name="connsiteX69994" fmla="*/ 6391922 w 6884782"/>
              <a:gd name="connsiteY69994" fmla="*/ 3068882 h 5973007"/>
              <a:gd name="connsiteX69995" fmla="*/ 6390428 w 6884782"/>
              <a:gd name="connsiteY69995" fmla="*/ 3072296 h 5973007"/>
              <a:gd name="connsiteX69996" fmla="*/ 6376421 w 6884782"/>
              <a:gd name="connsiteY69996" fmla="*/ 3072296 h 5973007"/>
              <a:gd name="connsiteX69997" fmla="*/ 6377652 w 6884782"/>
              <a:gd name="connsiteY69997" fmla="*/ 3074209 h 5973007"/>
              <a:gd name="connsiteX69998" fmla="*/ 6370681 w 6884782"/>
              <a:gd name="connsiteY69998" fmla="*/ 3082470 h 5973007"/>
              <a:gd name="connsiteX69999" fmla="*/ 6370372 w 6884782"/>
              <a:gd name="connsiteY69999" fmla="*/ 3084845 h 5973007"/>
              <a:gd name="connsiteX70000" fmla="*/ 6369907 w 6884782"/>
              <a:gd name="connsiteY70000" fmla="*/ 3092899 h 5973007"/>
              <a:gd name="connsiteX70001" fmla="*/ 6366943 w 6884782"/>
              <a:gd name="connsiteY70001" fmla="*/ 3096764 h 5973007"/>
              <a:gd name="connsiteX70002" fmla="*/ 6371187 w 6884782"/>
              <a:gd name="connsiteY70002" fmla="*/ 3115469 h 5973007"/>
              <a:gd name="connsiteX70003" fmla="*/ 6270375 w 6884782"/>
              <a:gd name="connsiteY70003" fmla="*/ 3269248 h 5973007"/>
              <a:gd name="connsiteX70004" fmla="*/ 6278518 w 6884782"/>
              <a:gd name="connsiteY70004" fmla="*/ 3265337 h 5973007"/>
              <a:gd name="connsiteX70005" fmla="*/ 6289516 w 6884782"/>
              <a:gd name="connsiteY70005" fmla="*/ 3260484 h 5973007"/>
              <a:gd name="connsiteX70006" fmla="*/ 6312750 w 6884782"/>
              <a:gd name="connsiteY70006" fmla="*/ 3251810 h 5973007"/>
              <a:gd name="connsiteX70007" fmla="*/ 6334436 w 6884782"/>
              <a:gd name="connsiteY70007" fmla="*/ 3247061 h 5973007"/>
              <a:gd name="connsiteX70008" fmla="*/ 6333661 w 6884782"/>
              <a:gd name="connsiteY70008" fmla="*/ 3246751 h 5973007"/>
              <a:gd name="connsiteX70009" fmla="*/ 6314454 w 6884782"/>
              <a:gd name="connsiteY70009" fmla="*/ 3234050 h 5973007"/>
              <a:gd name="connsiteX70010" fmla="*/ 6335210 w 6884782"/>
              <a:gd name="connsiteY70010" fmla="*/ 3234670 h 5973007"/>
              <a:gd name="connsiteX70011" fmla="*/ 6334900 w 6884782"/>
              <a:gd name="connsiteY70011" fmla="*/ 3233844 h 5973007"/>
              <a:gd name="connsiteX70012" fmla="*/ 6335675 w 6884782"/>
              <a:gd name="connsiteY70012" fmla="*/ 3230333 h 5973007"/>
              <a:gd name="connsiteX70013" fmla="*/ 6331957 w 6884782"/>
              <a:gd name="connsiteY70013" fmla="*/ 3229300 h 5973007"/>
              <a:gd name="connsiteX70014" fmla="*/ 6328859 w 6884782"/>
              <a:gd name="connsiteY70014" fmla="*/ 3225067 h 5973007"/>
              <a:gd name="connsiteX70015" fmla="*/ 6340167 w 6884782"/>
              <a:gd name="connsiteY70015" fmla="*/ 3219078 h 5973007"/>
              <a:gd name="connsiteX70016" fmla="*/ 6343574 w 6884782"/>
              <a:gd name="connsiteY70016" fmla="*/ 3220627 h 5973007"/>
              <a:gd name="connsiteX70017" fmla="*/ 6344349 w 6884782"/>
              <a:gd name="connsiteY70017" fmla="*/ 3219594 h 5973007"/>
              <a:gd name="connsiteX70018" fmla="*/ 6353643 w 6884782"/>
              <a:gd name="connsiteY70018" fmla="*/ 3223725 h 5973007"/>
              <a:gd name="connsiteX70019" fmla="*/ 6353023 w 6884782"/>
              <a:gd name="connsiteY70019" fmla="*/ 3231262 h 5973007"/>
              <a:gd name="connsiteX70020" fmla="*/ 6349925 w 6884782"/>
              <a:gd name="connsiteY70020" fmla="*/ 3236219 h 5973007"/>
              <a:gd name="connsiteX70021" fmla="*/ 6356121 w 6884782"/>
              <a:gd name="connsiteY70021" fmla="*/ 3237664 h 5973007"/>
              <a:gd name="connsiteX70022" fmla="*/ 6363401 w 6884782"/>
              <a:gd name="connsiteY70022" fmla="*/ 3236219 h 5973007"/>
              <a:gd name="connsiteX70023" fmla="*/ 6373315 w 6884782"/>
              <a:gd name="connsiteY70023" fmla="*/ 3232089 h 5973007"/>
              <a:gd name="connsiteX70024" fmla="*/ 6383073 w 6884782"/>
              <a:gd name="connsiteY70024" fmla="*/ 3237355 h 5973007"/>
              <a:gd name="connsiteX70025" fmla="*/ 6384622 w 6884782"/>
              <a:gd name="connsiteY70025" fmla="*/ 3234876 h 5973007"/>
              <a:gd name="connsiteX70026" fmla="*/ 6385397 w 6884782"/>
              <a:gd name="connsiteY70026" fmla="*/ 3235083 h 5973007"/>
              <a:gd name="connsiteX70027" fmla="*/ 6393296 w 6884782"/>
              <a:gd name="connsiteY70027" fmla="*/ 3233018 h 5973007"/>
              <a:gd name="connsiteX70028" fmla="*/ 6393916 w 6884782"/>
              <a:gd name="connsiteY70028" fmla="*/ 3233121 h 5973007"/>
              <a:gd name="connsiteX70029" fmla="*/ 6394226 w 6884782"/>
              <a:gd name="connsiteY70029" fmla="*/ 3232501 h 5973007"/>
              <a:gd name="connsiteX70030" fmla="*/ 6394380 w 6884782"/>
              <a:gd name="connsiteY70030" fmla="*/ 3231779 h 5973007"/>
              <a:gd name="connsiteX70031" fmla="*/ 6397943 w 6884782"/>
              <a:gd name="connsiteY70031" fmla="*/ 3232089 h 5973007"/>
              <a:gd name="connsiteX70032" fmla="*/ 6397943 w 6884782"/>
              <a:gd name="connsiteY70032" fmla="*/ 3230333 h 5973007"/>
              <a:gd name="connsiteX70033" fmla="*/ 6397633 w 6884782"/>
              <a:gd name="connsiteY70033" fmla="*/ 3228991 h 5973007"/>
              <a:gd name="connsiteX70034" fmla="*/ 6383383 w 6884782"/>
              <a:gd name="connsiteY70034" fmla="*/ 3222795 h 5973007"/>
              <a:gd name="connsiteX70035" fmla="*/ 6368358 w 6884782"/>
              <a:gd name="connsiteY70035" fmla="*/ 3211954 h 5973007"/>
              <a:gd name="connsiteX70036" fmla="*/ 6393141 w 6884782"/>
              <a:gd name="connsiteY70036" fmla="*/ 3196878 h 5973007"/>
              <a:gd name="connsiteX70037" fmla="*/ 6430936 w 6884782"/>
              <a:gd name="connsiteY70037" fmla="*/ 3221866 h 5973007"/>
              <a:gd name="connsiteX70038" fmla="*/ 6431246 w 6884782"/>
              <a:gd name="connsiteY70038" fmla="*/ 3224551 h 5973007"/>
              <a:gd name="connsiteX70039" fmla="*/ 6434498 w 6884782"/>
              <a:gd name="connsiteY70039" fmla="*/ 3223105 h 5973007"/>
              <a:gd name="connsiteX70040" fmla="*/ 6451073 w 6884782"/>
              <a:gd name="connsiteY70040" fmla="*/ 3222899 h 5973007"/>
              <a:gd name="connsiteX70041" fmla="*/ 6451227 w 6884782"/>
              <a:gd name="connsiteY70041" fmla="*/ 3218459 h 5973007"/>
              <a:gd name="connsiteX70042" fmla="*/ 6454016 w 6884782"/>
              <a:gd name="connsiteY70042" fmla="*/ 3218562 h 5973007"/>
              <a:gd name="connsiteX70043" fmla="*/ 6456959 w 6884782"/>
              <a:gd name="connsiteY70043" fmla="*/ 3218665 h 5973007"/>
              <a:gd name="connsiteX70044" fmla="*/ 6461296 w 6884782"/>
              <a:gd name="connsiteY70044" fmla="*/ 3218562 h 5973007"/>
              <a:gd name="connsiteX70045" fmla="*/ 6471054 w 6884782"/>
              <a:gd name="connsiteY70045" fmla="*/ 3217839 h 5973007"/>
              <a:gd name="connsiteX70046" fmla="*/ 6490571 w 6884782"/>
              <a:gd name="connsiteY70046" fmla="*/ 3215567 h 5973007"/>
              <a:gd name="connsiteX70047" fmla="*/ 6510707 w 6884782"/>
              <a:gd name="connsiteY70047" fmla="*/ 3214225 h 5973007"/>
              <a:gd name="connsiteX70048" fmla="*/ 6521395 w 6884782"/>
              <a:gd name="connsiteY70048" fmla="*/ 3214535 h 5973007"/>
              <a:gd name="connsiteX70049" fmla="*/ 6532083 w 6884782"/>
              <a:gd name="connsiteY70049" fmla="*/ 3215464 h 5973007"/>
              <a:gd name="connsiteX70050" fmla="*/ 6533787 w 6884782"/>
              <a:gd name="connsiteY70050" fmla="*/ 3210095 h 5973007"/>
              <a:gd name="connsiteX70051" fmla="*/ 6552994 w 6884782"/>
              <a:gd name="connsiteY70051" fmla="*/ 3211437 h 5973007"/>
              <a:gd name="connsiteX70052" fmla="*/ 6565076 w 6884782"/>
              <a:gd name="connsiteY70052" fmla="*/ 3214431 h 5973007"/>
              <a:gd name="connsiteX70053" fmla="*/ 6569103 w 6884782"/>
              <a:gd name="connsiteY70053" fmla="*/ 3208856 h 5973007"/>
              <a:gd name="connsiteX70054" fmla="*/ 6573285 w 6884782"/>
              <a:gd name="connsiteY70054" fmla="*/ 3217736 h 5973007"/>
              <a:gd name="connsiteX70055" fmla="*/ 6594506 w 6884782"/>
              <a:gd name="connsiteY70055" fmla="*/ 3212986 h 5973007"/>
              <a:gd name="connsiteX70056" fmla="*/ 6585677 w 6884782"/>
              <a:gd name="connsiteY70056" fmla="*/ 3215464 h 5973007"/>
              <a:gd name="connsiteX70057" fmla="*/ 6600547 w 6884782"/>
              <a:gd name="connsiteY70057" fmla="*/ 3220833 h 5973007"/>
              <a:gd name="connsiteX70058" fmla="*/ 6603490 w 6884782"/>
              <a:gd name="connsiteY70058" fmla="*/ 3214225 h 5973007"/>
              <a:gd name="connsiteX70059" fmla="*/ 6618670 w 6884782"/>
              <a:gd name="connsiteY70059" fmla="*/ 3221143 h 5973007"/>
              <a:gd name="connsiteX70060" fmla="*/ 6620529 w 6884782"/>
              <a:gd name="connsiteY70060" fmla="*/ 3215670 h 5973007"/>
              <a:gd name="connsiteX70061" fmla="*/ 6634314 w 6884782"/>
              <a:gd name="connsiteY70061" fmla="*/ 3222176 h 5973007"/>
              <a:gd name="connsiteX70062" fmla="*/ 6650579 w 6884782"/>
              <a:gd name="connsiteY70062" fmla="*/ 3227338 h 5973007"/>
              <a:gd name="connsiteX70063" fmla="*/ 6645312 w 6884782"/>
              <a:gd name="connsiteY70063" fmla="*/ 3227855 h 5973007"/>
              <a:gd name="connsiteX70064" fmla="*/ 6653677 w 6884782"/>
              <a:gd name="connsiteY70064" fmla="*/ 3228991 h 5973007"/>
              <a:gd name="connsiteX70065" fmla="*/ 6650424 w 6884782"/>
              <a:gd name="connsiteY70065" fmla="*/ 3225687 h 5973007"/>
              <a:gd name="connsiteX70066" fmla="*/ 6658633 w 6884782"/>
              <a:gd name="connsiteY70066" fmla="*/ 3227442 h 5973007"/>
              <a:gd name="connsiteX70067" fmla="*/ 6668547 w 6884782"/>
              <a:gd name="connsiteY70067" fmla="*/ 3232089 h 5973007"/>
              <a:gd name="connsiteX70068" fmla="*/ 6666378 w 6884782"/>
              <a:gd name="connsiteY70068" fmla="*/ 3240452 h 5973007"/>
              <a:gd name="connsiteX70069" fmla="*/ 6675982 w 6884782"/>
              <a:gd name="connsiteY70069" fmla="*/ 3238077 h 5973007"/>
              <a:gd name="connsiteX70070" fmla="*/ 6668547 w 6884782"/>
              <a:gd name="connsiteY70070" fmla="*/ 3247061 h 5973007"/>
              <a:gd name="connsiteX70071" fmla="*/ 6671645 w 6884782"/>
              <a:gd name="connsiteY70071" fmla="*/ 3248816 h 5973007"/>
              <a:gd name="connsiteX70072" fmla="*/ 6678305 w 6884782"/>
              <a:gd name="connsiteY70072" fmla="*/ 3244066 h 5973007"/>
              <a:gd name="connsiteX70073" fmla="*/ 6688838 w 6884782"/>
              <a:gd name="connsiteY70073" fmla="*/ 3255631 h 5973007"/>
              <a:gd name="connsiteX70074" fmla="*/ 6678925 w 6884782"/>
              <a:gd name="connsiteY70074" fmla="*/ 3254805 h 5973007"/>
              <a:gd name="connsiteX70075" fmla="*/ 6687599 w 6884782"/>
              <a:gd name="connsiteY70075" fmla="*/ 3261310 h 5973007"/>
              <a:gd name="connsiteX70076" fmla="*/ 6677221 w 6884782"/>
              <a:gd name="connsiteY70076" fmla="*/ 3261826 h 5973007"/>
              <a:gd name="connsiteX70077" fmla="*/ 6697822 w 6884782"/>
              <a:gd name="connsiteY70077" fmla="*/ 3267402 h 5973007"/>
              <a:gd name="connsiteX70078" fmla="*/ 6717804 w 6884782"/>
              <a:gd name="connsiteY70078" fmla="*/ 3264511 h 5973007"/>
              <a:gd name="connsiteX70079" fmla="*/ 6723225 w 6884782"/>
              <a:gd name="connsiteY70079" fmla="*/ 3267712 h 5973007"/>
              <a:gd name="connsiteX70080" fmla="*/ 6727407 w 6884782"/>
              <a:gd name="connsiteY70080" fmla="*/ 3265957 h 5973007"/>
              <a:gd name="connsiteX70081" fmla="*/ 6744601 w 6884782"/>
              <a:gd name="connsiteY70081" fmla="*/ 3275146 h 5973007"/>
              <a:gd name="connsiteX70082" fmla="*/ 6753585 w 6884782"/>
              <a:gd name="connsiteY70082" fmla="*/ 3276282 h 5973007"/>
              <a:gd name="connsiteX70083" fmla="*/ 6759626 w 6884782"/>
              <a:gd name="connsiteY70083" fmla="*/ 3279793 h 5973007"/>
              <a:gd name="connsiteX70084" fmla="*/ 6750642 w 6884782"/>
              <a:gd name="connsiteY70084" fmla="*/ 3280722 h 5973007"/>
              <a:gd name="connsiteX70085" fmla="*/ 6750642 w 6884782"/>
              <a:gd name="connsiteY70085" fmla="*/ 3287697 h 5973007"/>
              <a:gd name="connsiteX70086" fmla="*/ 6750022 w 6884782"/>
              <a:gd name="connsiteY70086" fmla="*/ 3286608 h 5973007"/>
              <a:gd name="connsiteX70087" fmla="*/ 6733448 w 6884782"/>
              <a:gd name="connsiteY70087" fmla="*/ 3284439 h 5973007"/>
              <a:gd name="connsiteX70088" fmla="*/ 6725549 w 6884782"/>
              <a:gd name="connsiteY70088" fmla="*/ 3277521 h 5973007"/>
              <a:gd name="connsiteX70089" fmla="*/ 6721831 w 6884782"/>
              <a:gd name="connsiteY70089" fmla="*/ 3277831 h 5973007"/>
              <a:gd name="connsiteX70090" fmla="*/ 6718269 w 6884782"/>
              <a:gd name="connsiteY70090" fmla="*/ 3284233 h 5973007"/>
              <a:gd name="connsiteX70091" fmla="*/ 6712537 w 6884782"/>
              <a:gd name="connsiteY70091" fmla="*/ 3279483 h 5973007"/>
              <a:gd name="connsiteX70092" fmla="*/ 6699216 w 6884782"/>
              <a:gd name="connsiteY70092" fmla="*/ 3271635 h 5973007"/>
              <a:gd name="connsiteX70093" fmla="*/ 6683726 w 6884782"/>
              <a:gd name="connsiteY70093" fmla="*/ 3266163 h 5973007"/>
              <a:gd name="connsiteX70094" fmla="*/ 6664984 w 6884782"/>
              <a:gd name="connsiteY70094" fmla="*/ 3261826 h 5973007"/>
              <a:gd name="connsiteX70095" fmla="*/ 6654606 w 6884782"/>
              <a:gd name="connsiteY70095" fmla="*/ 3260174 h 5973007"/>
              <a:gd name="connsiteX70096" fmla="*/ 6644073 w 6884782"/>
              <a:gd name="connsiteY70096" fmla="*/ 3259141 h 5973007"/>
              <a:gd name="connsiteX70097" fmla="*/ 6630907 w 6884782"/>
              <a:gd name="connsiteY70097" fmla="*/ 3251294 h 5973007"/>
              <a:gd name="connsiteX70098" fmla="*/ 6615262 w 6884782"/>
              <a:gd name="connsiteY70098" fmla="*/ 3250158 h 5973007"/>
              <a:gd name="connsiteX70099" fmla="*/ 6622852 w 6884782"/>
              <a:gd name="connsiteY70099" fmla="*/ 3255528 h 5973007"/>
              <a:gd name="connsiteX70100" fmla="*/ 6609841 w 6884782"/>
              <a:gd name="connsiteY70100" fmla="*/ 3255321 h 5973007"/>
              <a:gd name="connsiteX70101" fmla="*/ 6587071 w 6884782"/>
              <a:gd name="connsiteY70101" fmla="*/ 3247577 h 5973007"/>
              <a:gd name="connsiteX70102" fmla="*/ 6591099 w 6884782"/>
              <a:gd name="connsiteY70102" fmla="*/ 3251088 h 5973007"/>
              <a:gd name="connsiteX70103" fmla="*/ 6598689 w 6884782"/>
              <a:gd name="connsiteY70103" fmla="*/ 3251914 h 5973007"/>
              <a:gd name="connsiteX70104" fmla="*/ 6591563 w 6884782"/>
              <a:gd name="connsiteY70104" fmla="*/ 3253462 h 5973007"/>
              <a:gd name="connsiteX70105" fmla="*/ 6584748 w 6884782"/>
              <a:gd name="connsiteY70105" fmla="*/ 3254392 h 5973007"/>
              <a:gd name="connsiteX70106" fmla="*/ 6570343 w 6884782"/>
              <a:gd name="connsiteY70106" fmla="*/ 3252223 h 5973007"/>
              <a:gd name="connsiteX70107" fmla="*/ 6539363 w 6884782"/>
              <a:gd name="connsiteY70107" fmla="*/ 3249435 h 5973007"/>
              <a:gd name="connsiteX70108" fmla="*/ 6534252 w 6884782"/>
              <a:gd name="connsiteY70108" fmla="*/ 3244892 h 5973007"/>
              <a:gd name="connsiteX70109" fmla="*/ 6522634 w 6884782"/>
              <a:gd name="connsiteY70109" fmla="*/ 3247887 h 5973007"/>
              <a:gd name="connsiteX70110" fmla="*/ 6512101 w 6884782"/>
              <a:gd name="connsiteY70110" fmla="*/ 3248093 h 5973007"/>
              <a:gd name="connsiteX70111" fmla="*/ 6512101 w 6884782"/>
              <a:gd name="connsiteY70111" fmla="*/ 3250055 h 5973007"/>
              <a:gd name="connsiteX70112" fmla="*/ 6510398 w 6884782"/>
              <a:gd name="connsiteY70112" fmla="*/ 3258109 h 5973007"/>
              <a:gd name="connsiteX70113" fmla="*/ 6505751 w 6884782"/>
              <a:gd name="connsiteY70113" fmla="*/ 3264614 h 5973007"/>
              <a:gd name="connsiteX70114" fmla="*/ 6511172 w 6884782"/>
              <a:gd name="connsiteY70114" fmla="*/ 3261723 h 5973007"/>
              <a:gd name="connsiteX70115" fmla="*/ 6519381 w 6884782"/>
              <a:gd name="connsiteY70115" fmla="*/ 3256767 h 5973007"/>
              <a:gd name="connsiteX70116" fmla="*/ 6519072 w 6884782"/>
              <a:gd name="connsiteY70116" fmla="*/ 3259761 h 5973007"/>
              <a:gd name="connsiteX70117" fmla="*/ 6534097 w 6884782"/>
              <a:gd name="connsiteY70117" fmla="*/ 3260587 h 5973007"/>
              <a:gd name="connsiteX70118" fmla="*/ 6526352 w 6884782"/>
              <a:gd name="connsiteY70118" fmla="*/ 3259658 h 5973007"/>
              <a:gd name="connsiteX70119" fmla="*/ 6522324 w 6884782"/>
              <a:gd name="connsiteY70119" fmla="*/ 3265234 h 5973007"/>
              <a:gd name="connsiteX70120" fmla="*/ 6544320 w 6884782"/>
              <a:gd name="connsiteY70120" fmla="*/ 3264511 h 5973007"/>
              <a:gd name="connsiteX70121" fmla="*/ 6558570 w 6884782"/>
              <a:gd name="connsiteY70121" fmla="*/ 3265130 h 5973007"/>
              <a:gd name="connsiteX70122" fmla="*/ 6572666 w 6884782"/>
              <a:gd name="connsiteY70122" fmla="*/ 3264201 h 5973007"/>
              <a:gd name="connsiteX70123" fmla="*/ 6573905 w 6884782"/>
              <a:gd name="connsiteY70123" fmla="*/ 3269054 h 5973007"/>
              <a:gd name="connsiteX70124" fmla="*/ 6588775 w 6884782"/>
              <a:gd name="connsiteY70124" fmla="*/ 3268434 h 5973007"/>
              <a:gd name="connsiteX70125" fmla="*/ 6604575 w 6884782"/>
              <a:gd name="connsiteY70125" fmla="*/ 3271016 h 5973007"/>
              <a:gd name="connsiteX70126" fmla="*/ 6618825 w 6884782"/>
              <a:gd name="connsiteY70126" fmla="*/ 3273907 h 5973007"/>
              <a:gd name="connsiteX70127" fmla="*/ 6630907 w 6884782"/>
              <a:gd name="connsiteY70127" fmla="*/ 3274630 h 5973007"/>
              <a:gd name="connsiteX70128" fmla="*/ 6630133 w 6884782"/>
              <a:gd name="connsiteY70128" fmla="*/ 3278863 h 5973007"/>
              <a:gd name="connsiteX70129" fmla="*/ 6646242 w 6884782"/>
              <a:gd name="connsiteY70129" fmla="*/ 3280102 h 5973007"/>
              <a:gd name="connsiteX70130" fmla="*/ 6633385 w 6884782"/>
              <a:gd name="connsiteY70130" fmla="*/ 3282168 h 5973007"/>
              <a:gd name="connsiteX70131" fmla="*/ 6656775 w 6884782"/>
              <a:gd name="connsiteY70131" fmla="*/ 3292390 h 5973007"/>
              <a:gd name="connsiteX70132" fmla="*/ 6656155 w 6884782"/>
              <a:gd name="connsiteY70132" fmla="*/ 3287640 h 5973007"/>
              <a:gd name="connsiteX70133" fmla="*/ 6669011 w 6884782"/>
              <a:gd name="connsiteY70133" fmla="*/ 3294662 h 5973007"/>
              <a:gd name="connsiteX70134" fmla="*/ 6676292 w 6884782"/>
              <a:gd name="connsiteY70134" fmla="*/ 3290119 h 5973007"/>
              <a:gd name="connsiteX70135" fmla="*/ 6693640 w 6884782"/>
              <a:gd name="connsiteY70135" fmla="*/ 3294765 h 5973007"/>
              <a:gd name="connsiteX70136" fmla="*/ 6711608 w 6884782"/>
              <a:gd name="connsiteY70136" fmla="*/ 3299515 h 5973007"/>
              <a:gd name="connsiteX70137" fmla="*/ 6705722 w 6884782"/>
              <a:gd name="connsiteY70137" fmla="*/ 3308292 h 5973007"/>
              <a:gd name="connsiteX70138" fmla="*/ 6689768 w 6884782"/>
              <a:gd name="connsiteY70138" fmla="*/ 3301787 h 5973007"/>
              <a:gd name="connsiteX70139" fmla="*/ 6674743 w 6884782"/>
              <a:gd name="connsiteY70139" fmla="*/ 3303232 h 5973007"/>
              <a:gd name="connsiteX70140" fmla="*/ 6674123 w 6884782"/>
              <a:gd name="connsiteY70140" fmla="*/ 3298482 h 5973007"/>
              <a:gd name="connsiteX70141" fmla="*/ 6670405 w 6884782"/>
              <a:gd name="connsiteY70141" fmla="*/ 3301167 h 5973007"/>
              <a:gd name="connsiteX70142" fmla="*/ 6681093 w 6884782"/>
              <a:gd name="connsiteY70142" fmla="*/ 3308188 h 5973007"/>
              <a:gd name="connsiteX70143" fmla="*/ 6693175 w 6884782"/>
              <a:gd name="connsiteY70143" fmla="*/ 3306639 h 5973007"/>
              <a:gd name="connsiteX70144" fmla="*/ 6705102 w 6884782"/>
              <a:gd name="connsiteY70144" fmla="*/ 3314177 h 5973007"/>
              <a:gd name="connsiteX70145" fmla="*/ 6700920 w 6884782"/>
              <a:gd name="connsiteY70145" fmla="*/ 3321715 h 5973007"/>
              <a:gd name="connsiteX70146" fmla="*/ 6699836 w 6884782"/>
              <a:gd name="connsiteY70146" fmla="*/ 3322231 h 5973007"/>
              <a:gd name="connsiteX70147" fmla="*/ 6701230 w 6884782"/>
              <a:gd name="connsiteY70147" fmla="*/ 3323883 h 5973007"/>
              <a:gd name="connsiteX70148" fmla="*/ 6709129 w 6884782"/>
              <a:gd name="connsiteY70148" fmla="*/ 3327394 h 5973007"/>
              <a:gd name="connsiteX70149" fmla="*/ 6726323 w 6884782"/>
              <a:gd name="connsiteY70149" fmla="*/ 3331937 h 5973007"/>
              <a:gd name="connsiteX70150" fmla="*/ 6732519 w 6884782"/>
              <a:gd name="connsiteY70150" fmla="*/ 3337616 h 5973007"/>
              <a:gd name="connsiteX70151" fmla="*/ 6736546 w 6884782"/>
              <a:gd name="connsiteY70151" fmla="*/ 3340404 h 5973007"/>
              <a:gd name="connsiteX70152" fmla="*/ 6740418 w 6884782"/>
              <a:gd name="connsiteY70152" fmla="*/ 3343915 h 5973007"/>
              <a:gd name="connsiteX70153" fmla="*/ 6759936 w 6884782"/>
              <a:gd name="connsiteY70153" fmla="*/ 3356615 h 5973007"/>
              <a:gd name="connsiteX70154" fmla="*/ 6780072 w 6884782"/>
              <a:gd name="connsiteY70154" fmla="*/ 3370349 h 5973007"/>
              <a:gd name="connsiteX70155" fmla="*/ 6794322 w 6884782"/>
              <a:gd name="connsiteY70155" fmla="*/ 3383772 h 5973007"/>
              <a:gd name="connsiteX70156" fmla="*/ 6800518 w 6884782"/>
              <a:gd name="connsiteY70156" fmla="*/ 3385011 h 5973007"/>
              <a:gd name="connsiteX70157" fmla="*/ 6804546 w 6884782"/>
              <a:gd name="connsiteY70157" fmla="*/ 3387799 h 5973007"/>
              <a:gd name="connsiteX70158" fmla="*/ 6811361 w 6884782"/>
              <a:gd name="connsiteY70158" fmla="*/ 3389038 h 5973007"/>
              <a:gd name="connsiteX70159" fmla="*/ 6806405 w 6884782"/>
              <a:gd name="connsiteY70159" fmla="*/ 3390587 h 5973007"/>
              <a:gd name="connsiteX70160" fmla="*/ 6829174 w 6884782"/>
              <a:gd name="connsiteY70160" fmla="*/ 3400602 h 5973007"/>
              <a:gd name="connsiteX70161" fmla="*/ 6851634 w 6884782"/>
              <a:gd name="connsiteY70161" fmla="*/ 3411341 h 5973007"/>
              <a:gd name="connsiteX70162" fmla="*/ 6848381 w 6884782"/>
              <a:gd name="connsiteY70162" fmla="*/ 3401945 h 5973007"/>
              <a:gd name="connsiteX70163" fmla="*/ 6856746 w 6884782"/>
              <a:gd name="connsiteY70163" fmla="*/ 3409069 h 5973007"/>
              <a:gd name="connsiteX70164" fmla="*/ 6862941 w 6884782"/>
              <a:gd name="connsiteY70164" fmla="*/ 3416297 h 5973007"/>
              <a:gd name="connsiteX70165" fmla="*/ 6879051 w 6884782"/>
              <a:gd name="connsiteY70165" fmla="*/ 3424248 h 5973007"/>
              <a:gd name="connsiteX70166" fmla="*/ 6880290 w 6884782"/>
              <a:gd name="connsiteY70166" fmla="*/ 3433644 h 5973007"/>
              <a:gd name="connsiteX70167" fmla="*/ 6884163 w 6884782"/>
              <a:gd name="connsiteY70167" fmla="*/ 3432302 h 5973007"/>
              <a:gd name="connsiteX70168" fmla="*/ 6884782 w 6884782"/>
              <a:gd name="connsiteY70168" fmla="*/ 3432199 h 5973007"/>
              <a:gd name="connsiteX70169" fmla="*/ 6884782 w 6884782"/>
              <a:gd name="connsiteY70169" fmla="*/ 3435090 h 5973007"/>
              <a:gd name="connsiteX70170" fmla="*/ 6884008 w 6884782"/>
              <a:gd name="connsiteY70170" fmla="*/ 3435090 h 5973007"/>
              <a:gd name="connsiteX70171" fmla="*/ 6882459 w 6884782"/>
              <a:gd name="connsiteY70171" fmla="*/ 3435916 h 5973007"/>
              <a:gd name="connsiteX70172" fmla="*/ 6884782 w 6884782"/>
              <a:gd name="connsiteY70172" fmla="*/ 3437465 h 5973007"/>
              <a:gd name="connsiteX70173" fmla="*/ 6884782 w 6884782"/>
              <a:gd name="connsiteY70173" fmla="*/ 4413133 h 5973007"/>
              <a:gd name="connsiteX70174" fmla="*/ 6884627 w 6884782"/>
              <a:gd name="connsiteY70174" fmla="*/ 4413133 h 5973007"/>
              <a:gd name="connsiteX70175" fmla="*/ 6881219 w 6884782"/>
              <a:gd name="connsiteY70175" fmla="*/ 4416024 h 5973007"/>
              <a:gd name="connsiteX70176" fmla="*/ 6874094 w 6884782"/>
              <a:gd name="connsiteY70176" fmla="*/ 4424388 h 5973007"/>
              <a:gd name="connsiteX70177" fmla="*/ 6867743 w 6884782"/>
              <a:gd name="connsiteY70177" fmla="*/ 4432235 h 5973007"/>
              <a:gd name="connsiteX70178" fmla="*/ 6870531 w 6884782"/>
              <a:gd name="connsiteY70178" fmla="*/ 4423975 h 5973007"/>
              <a:gd name="connsiteX70179" fmla="*/ 6875488 w 6884782"/>
              <a:gd name="connsiteY70179" fmla="*/ 4415817 h 5973007"/>
              <a:gd name="connsiteX70180" fmla="*/ 6868363 w 6884782"/>
              <a:gd name="connsiteY70180" fmla="*/ 4419638 h 5973007"/>
              <a:gd name="connsiteX70181" fmla="*/ 6868208 w 6884782"/>
              <a:gd name="connsiteY70181" fmla="*/ 4426350 h 5973007"/>
              <a:gd name="connsiteX70182" fmla="*/ 6857055 w 6884782"/>
              <a:gd name="connsiteY70182" fmla="*/ 4435643 h 5973007"/>
              <a:gd name="connsiteX70183" fmla="*/ 6861083 w 6884782"/>
              <a:gd name="connsiteY70183" fmla="*/ 4426350 h 5973007"/>
              <a:gd name="connsiteX70184" fmla="*/ 6840327 w 6884782"/>
              <a:gd name="connsiteY70184" fmla="*/ 4440289 h 5973007"/>
              <a:gd name="connsiteX70185" fmla="*/ 6834596 w 6884782"/>
              <a:gd name="connsiteY70185" fmla="*/ 4444523 h 5973007"/>
              <a:gd name="connsiteX70186" fmla="*/ 6816473 w 6884782"/>
              <a:gd name="connsiteY70186" fmla="*/ 4452577 h 5973007"/>
              <a:gd name="connsiteX70187" fmla="*/ 6811361 w 6884782"/>
              <a:gd name="connsiteY70187" fmla="*/ 4461457 h 5973007"/>
              <a:gd name="connsiteX70188" fmla="*/ 6788437 w 6884782"/>
              <a:gd name="connsiteY70188" fmla="*/ 4475500 h 5973007"/>
              <a:gd name="connsiteX70189" fmla="*/ 6781621 w 6884782"/>
              <a:gd name="connsiteY70189" fmla="*/ 4480249 h 5973007"/>
              <a:gd name="connsiteX70190" fmla="*/ 6775580 w 6884782"/>
              <a:gd name="connsiteY70190" fmla="*/ 4485103 h 5973007"/>
              <a:gd name="connsiteX70191" fmla="*/ 6772327 w 6884782"/>
              <a:gd name="connsiteY70191" fmla="*/ 4488613 h 5973007"/>
              <a:gd name="connsiteX70192" fmla="*/ 6772327 w 6884782"/>
              <a:gd name="connsiteY70192" fmla="*/ 4490575 h 5973007"/>
              <a:gd name="connsiteX70193" fmla="*/ 6753895 w 6884782"/>
              <a:gd name="connsiteY70193" fmla="*/ 4507922 h 5973007"/>
              <a:gd name="connsiteX70194" fmla="*/ 6759161 w 6884782"/>
              <a:gd name="connsiteY70194" fmla="*/ 4491504 h 5973007"/>
              <a:gd name="connsiteX70195" fmla="*/ 6761020 w 6884782"/>
              <a:gd name="connsiteY70195" fmla="*/ 4490472 h 5973007"/>
              <a:gd name="connsiteX70196" fmla="*/ 6757302 w 6884782"/>
              <a:gd name="connsiteY70196" fmla="*/ 4491298 h 5973007"/>
              <a:gd name="connsiteX70197" fmla="*/ 6746615 w 6884782"/>
              <a:gd name="connsiteY70197" fmla="*/ 4498009 h 5973007"/>
              <a:gd name="connsiteX70198" fmla="*/ 6751571 w 6884782"/>
              <a:gd name="connsiteY70198" fmla="*/ 4500281 h 5973007"/>
              <a:gd name="connsiteX70199" fmla="*/ 6725549 w 6884782"/>
              <a:gd name="connsiteY70199" fmla="*/ 4512569 h 5973007"/>
              <a:gd name="connsiteX70200" fmla="*/ 6720592 w 6884782"/>
              <a:gd name="connsiteY70200" fmla="*/ 4510297 h 5973007"/>
              <a:gd name="connsiteX70201" fmla="*/ 6710369 w 6884782"/>
              <a:gd name="connsiteY70201" fmla="*/ 4516905 h 5973007"/>
              <a:gd name="connsiteX70202" fmla="*/ 6715016 w 6884782"/>
              <a:gd name="connsiteY70202" fmla="*/ 4518351 h 5973007"/>
              <a:gd name="connsiteX70203" fmla="*/ 6694879 w 6884782"/>
              <a:gd name="connsiteY70203" fmla="*/ 4530226 h 5973007"/>
              <a:gd name="connsiteX70204" fmla="*/ 6684191 w 6884782"/>
              <a:gd name="connsiteY70204" fmla="*/ 4527644 h 5973007"/>
              <a:gd name="connsiteX70205" fmla="*/ 6667153 w 6884782"/>
              <a:gd name="connsiteY70205" fmla="*/ 4539002 h 5973007"/>
              <a:gd name="connsiteX70206" fmla="*/ 6656775 w 6884782"/>
              <a:gd name="connsiteY70206" fmla="*/ 4544062 h 5973007"/>
              <a:gd name="connsiteX70207" fmla="*/ 6645777 w 6884782"/>
              <a:gd name="connsiteY70207" fmla="*/ 4549018 h 5973007"/>
              <a:gd name="connsiteX70208" fmla="*/ 6622388 w 6884782"/>
              <a:gd name="connsiteY70208" fmla="*/ 4557588 h 5973007"/>
              <a:gd name="connsiteX70209" fmla="*/ 6609376 w 6884782"/>
              <a:gd name="connsiteY70209" fmla="*/ 4560479 h 5973007"/>
              <a:gd name="connsiteX70210" fmla="*/ 6611855 w 6884782"/>
              <a:gd name="connsiteY70210" fmla="*/ 4564713 h 5973007"/>
              <a:gd name="connsiteX70211" fmla="*/ 6605504 w 6884782"/>
              <a:gd name="connsiteY70211" fmla="*/ 4562855 h 5973007"/>
              <a:gd name="connsiteX70212" fmla="*/ 6603955 w 6884782"/>
              <a:gd name="connsiteY70212" fmla="*/ 4561719 h 5973007"/>
              <a:gd name="connsiteX70213" fmla="*/ 6599618 w 6884782"/>
              <a:gd name="connsiteY70213" fmla="*/ 4562648 h 5973007"/>
              <a:gd name="connsiteX70214" fmla="*/ 6591718 w 6884782"/>
              <a:gd name="connsiteY70214" fmla="*/ 4569153 h 5973007"/>
              <a:gd name="connsiteX70215" fmla="*/ 6589395 w 6884782"/>
              <a:gd name="connsiteY70215" fmla="*/ 4569669 h 5973007"/>
              <a:gd name="connsiteX70216" fmla="*/ 6595901 w 6884782"/>
              <a:gd name="connsiteY70216" fmla="*/ 4583093 h 5973007"/>
              <a:gd name="connsiteX70217" fmla="*/ 6598069 w 6884782"/>
              <a:gd name="connsiteY70217" fmla="*/ 4600233 h 5973007"/>
              <a:gd name="connsiteX70218" fmla="*/ 6603180 w 6884782"/>
              <a:gd name="connsiteY70218" fmla="*/ 4601472 h 5973007"/>
              <a:gd name="connsiteX70219" fmla="*/ 6627035 w 6884782"/>
              <a:gd name="connsiteY70219" fmla="*/ 4604364 h 5973007"/>
              <a:gd name="connsiteX70220" fmla="*/ 6610151 w 6884782"/>
              <a:gd name="connsiteY70220" fmla="*/ 4609320 h 5973007"/>
              <a:gd name="connsiteX70221" fmla="*/ 6600237 w 6884782"/>
              <a:gd name="connsiteY70221" fmla="*/ 4606429 h 5973007"/>
              <a:gd name="connsiteX70222" fmla="*/ 6598534 w 6884782"/>
              <a:gd name="connsiteY70222" fmla="*/ 4604054 h 5973007"/>
              <a:gd name="connsiteX70223" fmla="*/ 6598843 w 6884782"/>
              <a:gd name="connsiteY70223" fmla="*/ 4605809 h 5973007"/>
              <a:gd name="connsiteX70224" fmla="*/ 6594971 w 6884782"/>
              <a:gd name="connsiteY70224" fmla="*/ 4628526 h 5973007"/>
              <a:gd name="connsiteX70225" fmla="*/ 6562753 w 6884782"/>
              <a:gd name="connsiteY70225" fmla="*/ 4671686 h 5973007"/>
              <a:gd name="connsiteX70226" fmla="*/ 6526971 w 6884782"/>
              <a:gd name="connsiteY70226" fmla="*/ 4682632 h 5973007"/>
              <a:gd name="connsiteX70227" fmla="*/ 6522479 w 6884782"/>
              <a:gd name="connsiteY70227" fmla="*/ 4681909 h 5973007"/>
              <a:gd name="connsiteX70228" fmla="*/ 6521240 w 6884782"/>
              <a:gd name="connsiteY70228" fmla="*/ 4682941 h 5973007"/>
              <a:gd name="connsiteX70229" fmla="*/ 6516748 w 6884782"/>
              <a:gd name="connsiteY70229" fmla="*/ 4685007 h 5973007"/>
              <a:gd name="connsiteX70230" fmla="*/ 6517523 w 6884782"/>
              <a:gd name="connsiteY70230" fmla="*/ 4682632 h 5973007"/>
              <a:gd name="connsiteX70231" fmla="*/ 6519072 w 6884782"/>
              <a:gd name="connsiteY70231" fmla="*/ 4681289 h 5973007"/>
              <a:gd name="connsiteX70232" fmla="*/ 6512566 w 6884782"/>
              <a:gd name="connsiteY70232" fmla="*/ 4680154 h 5973007"/>
              <a:gd name="connsiteX70233" fmla="*/ 6474617 w 6884782"/>
              <a:gd name="connsiteY70233" fmla="*/ 4653410 h 5973007"/>
              <a:gd name="connsiteX70234" fmla="*/ 6471984 w 6884782"/>
              <a:gd name="connsiteY70234" fmla="*/ 4649073 h 5973007"/>
              <a:gd name="connsiteX70235" fmla="*/ 6471364 w 6884782"/>
              <a:gd name="connsiteY70235" fmla="*/ 4649590 h 5973007"/>
              <a:gd name="connsiteX70236" fmla="*/ 6471674 w 6884782"/>
              <a:gd name="connsiteY70236" fmla="*/ 4649900 h 5973007"/>
              <a:gd name="connsiteX70237" fmla="*/ 6470899 w 6884782"/>
              <a:gd name="connsiteY70237" fmla="*/ 4649486 h 5973007"/>
              <a:gd name="connsiteX70238" fmla="*/ 6468576 w 6884782"/>
              <a:gd name="connsiteY70238" fmla="*/ 4650106 h 5973007"/>
              <a:gd name="connsiteX70239" fmla="*/ 6464239 w 6884782"/>
              <a:gd name="connsiteY70239" fmla="*/ 4653410 h 5973007"/>
              <a:gd name="connsiteX70240" fmla="*/ 6458353 w 6884782"/>
              <a:gd name="connsiteY70240" fmla="*/ 4653927 h 5973007"/>
              <a:gd name="connsiteX70241" fmla="*/ 6457578 w 6884782"/>
              <a:gd name="connsiteY70241" fmla="*/ 4651551 h 5973007"/>
              <a:gd name="connsiteX70242" fmla="*/ 6455255 w 6884782"/>
              <a:gd name="connsiteY70242" fmla="*/ 4652171 h 5973007"/>
              <a:gd name="connsiteX70243" fmla="*/ 6445806 w 6884782"/>
              <a:gd name="connsiteY70243" fmla="*/ 4645769 h 5973007"/>
              <a:gd name="connsiteX70244" fmla="*/ 6445961 w 6884782"/>
              <a:gd name="connsiteY70244" fmla="*/ 4644633 h 5973007"/>
              <a:gd name="connsiteX70245" fmla="*/ 6444412 w 6884782"/>
              <a:gd name="connsiteY70245" fmla="*/ 4643601 h 5973007"/>
              <a:gd name="connsiteX70246" fmla="*/ 6445651 w 6884782"/>
              <a:gd name="connsiteY70246" fmla="*/ 4641845 h 5973007"/>
              <a:gd name="connsiteX70247" fmla="*/ 6445342 w 6884782"/>
              <a:gd name="connsiteY70247" fmla="*/ 4640710 h 5973007"/>
              <a:gd name="connsiteX70248" fmla="*/ 6445651 w 6884782"/>
              <a:gd name="connsiteY70248" fmla="*/ 4640193 h 5973007"/>
              <a:gd name="connsiteX70249" fmla="*/ 6442243 w 6884782"/>
              <a:gd name="connsiteY70249" fmla="*/ 4639367 h 5973007"/>
              <a:gd name="connsiteX70250" fmla="*/ 6443792 w 6884782"/>
              <a:gd name="connsiteY70250" fmla="*/ 4633895 h 5973007"/>
              <a:gd name="connsiteX70251" fmla="*/ 6448130 w 6884782"/>
              <a:gd name="connsiteY70251" fmla="*/ 4635031 h 5973007"/>
              <a:gd name="connsiteX70252" fmla="*/ 6451382 w 6884782"/>
              <a:gd name="connsiteY70252" fmla="*/ 4635650 h 5973007"/>
              <a:gd name="connsiteX70253" fmla="*/ 6455874 w 6884782"/>
              <a:gd name="connsiteY70253" fmla="*/ 4632552 h 5973007"/>
              <a:gd name="connsiteX70254" fmla="*/ 6451537 w 6884782"/>
              <a:gd name="connsiteY70254" fmla="*/ 4632036 h 5973007"/>
              <a:gd name="connsiteX70255" fmla="*/ 6443947 w 6884782"/>
              <a:gd name="connsiteY70255" fmla="*/ 4627699 h 5973007"/>
              <a:gd name="connsiteX70256" fmla="*/ 6443328 w 6884782"/>
              <a:gd name="connsiteY70256" fmla="*/ 4626976 h 5973007"/>
              <a:gd name="connsiteX70257" fmla="*/ 6443947 w 6884782"/>
              <a:gd name="connsiteY70257" fmla="*/ 4628422 h 5973007"/>
              <a:gd name="connsiteX70258" fmla="*/ 6443018 w 6884782"/>
              <a:gd name="connsiteY70258" fmla="*/ 4630074 h 5973007"/>
              <a:gd name="connsiteX70259" fmla="*/ 6440075 w 6884782"/>
              <a:gd name="connsiteY70259" fmla="*/ 4633069 h 5973007"/>
              <a:gd name="connsiteX70260" fmla="*/ 6437287 w 6884782"/>
              <a:gd name="connsiteY70260" fmla="*/ 4631520 h 5973007"/>
              <a:gd name="connsiteX70261" fmla="*/ 6436512 w 6884782"/>
              <a:gd name="connsiteY70261" fmla="*/ 4627803 h 5973007"/>
              <a:gd name="connsiteX70262" fmla="*/ 6439300 w 6884782"/>
              <a:gd name="connsiteY70262" fmla="*/ 4621504 h 5973007"/>
              <a:gd name="connsiteX70263" fmla="*/ 6440695 w 6884782"/>
              <a:gd name="connsiteY70263" fmla="*/ 4622433 h 5973007"/>
              <a:gd name="connsiteX70264" fmla="*/ 6444876 w 6884782"/>
              <a:gd name="connsiteY70264" fmla="*/ 4615309 h 5973007"/>
              <a:gd name="connsiteX70265" fmla="*/ 6451692 w 6884782"/>
              <a:gd name="connsiteY70265" fmla="*/ 4610869 h 5973007"/>
              <a:gd name="connsiteX70266" fmla="*/ 6456494 w 6884782"/>
              <a:gd name="connsiteY70266" fmla="*/ 4610042 h 5973007"/>
              <a:gd name="connsiteX70267" fmla="*/ 6453396 w 6884782"/>
              <a:gd name="connsiteY70267" fmla="*/ 4607874 h 5973007"/>
              <a:gd name="connsiteX70268" fmla="*/ 6445496 w 6884782"/>
              <a:gd name="connsiteY70268" fmla="*/ 4595483 h 5973007"/>
              <a:gd name="connsiteX70269" fmla="*/ 6446890 w 6884782"/>
              <a:gd name="connsiteY70269" fmla="*/ 4593522 h 5973007"/>
              <a:gd name="connsiteX70270" fmla="*/ 6444567 w 6884782"/>
              <a:gd name="connsiteY70270" fmla="*/ 4593831 h 5973007"/>
              <a:gd name="connsiteX70271" fmla="*/ 6424585 w 6884782"/>
              <a:gd name="connsiteY70271" fmla="*/ 4595174 h 5973007"/>
              <a:gd name="connsiteX70272" fmla="*/ 6424120 w 6884782"/>
              <a:gd name="connsiteY70272" fmla="*/ 4595174 h 5973007"/>
              <a:gd name="connsiteX70273" fmla="*/ 6433414 w 6884782"/>
              <a:gd name="connsiteY70273" fmla="*/ 4600233 h 5973007"/>
              <a:gd name="connsiteX70274" fmla="*/ 6442399 w 6884782"/>
              <a:gd name="connsiteY70274" fmla="*/ 4610249 h 5973007"/>
              <a:gd name="connsiteX70275" fmla="*/ 6425515 w 6884782"/>
              <a:gd name="connsiteY70275" fmla="*/ 4600027 h 5973007"/>
              <a:gd name="connsiteX70276" fmla="*/ 6423191 w 6884782"/>
              <a:gd name="connsiteY70276" fmla="*/ 4595174 h 5973007"/>
              <a:gd name="connsiteX70277" fmla="*/ 6413742 w 6884782"/>
              <a:gd name="connsiteY70277" fmla="*/ 4594864 h 5973007"/>
              <a:gd name="connsiteX70278" fmla="*/ 6403209 w 6884782"/>
              <a:gd name="connsiteY70278" fmla="*/ 4593935 h 5973007"/>
              <a:gd name="connsiteX70279" fmla="*/ 6401351 w 6884782"/>
              <a:gd name="connsiteY70279" fmla="*/ 4599304 h 5973007"/>
              <a:gd name="connsiteX70280" fmla="*/ 6395775 w 6884782"/>
              <a:gd name="connsiteY70280" fmla="*/ 4599304 h 5973007"/>
              <a:gd name="connsiteX70281" fmla="*/ 6397478 w 6884782"/>
              <a:gd name="connsiteY70281" fmla="*/ 4602092 h 5973007"/>
              <a:gd name="connsiteX70282" fmla="*/ 6396859 w 6884782"/>
              <a:gd name="connsiteY70282" fmla="*/ 4607461 h 5973007"/>
              <a:gd name="connsiteX70283" fmla="*/ 6393141 w 6884782"/>
              <a:gd name="connsiteY70283" fmla="*/ 4609113 h 5973007"/>
              <a:gd name="connsiteX70284" fmla="*/ 6385861 w 6884782"/>
              <a:gd name="connsiteY70284" fmla="*/ 4604776 h 5973007"/>
              <a:gd name="connsiteX70285" fmla="*/ 6387100 w 6884782"/>
              <a:gd name="connsiteY70285" fmla="*/ 4599820 h 5973007"/>
              <a:gd name="connsiteX70286" fmla="*/ 6389269 w 6884782"/>
              <a:gd name="connsiteY70286" fmla="*/ 4598994 h 5973007"/>
              <a:gd name="connsiteX70287" fmla="*/ 6382298 w 6884782"/>
              <a:gd name="connsiteY70287" fmla="*/ 4597962 h 5973007"/>
              <a:gd name="connsiteX70288" fmla="*/ 6370217 w 6884782"/>
              <a:gd name="connsiteY70288" fmla="*/ 4594967 h 5973007"/>
              <a:gd name="connsiteX70289" fmla="*/ 6366189 w 6884782"/>
              <a:gd name="connsiteY70289" fmla="*/ 4600543 h 5973007"/>
              <a:gd name="connsiteX70290" fmla="*/ 6361852 w 6884782"/>
              <a:gd name="connsiteY70290" fmla="*/ 4591663 h 5973007"/>
              <a:gd name="connsiteX70291" fmla="*/ 6340631 w 6884782"/>
              <a:gd name="connsiteY70291" fmla="*/ 4596413 h 5973007"/>
              <a:gd name="connsiteX70292" fmla="*/ 6349461 w 6884782"/>
              <a:gd name="connsiteY70292" fmla="*/ 4593935 h 5973007"/>
              <a:gd name="connsiteX70293" fmla="*/ 6334745 w 6884782"/>
              <a:gd name="connsiteY70293" fmla="*/ 4588565 h 5973007"/>
              <a:gd name="connsiteX70294" fmla="*/ 6334590 w 6884782"/>
              <a:gd name="connsiteY70294" fmla="*/ 4588565 h 5973007"/>
              <a:gd name="connsiteX70295" fmla="*/ 6335210 w 6884782"/>
              <a:gd name="connsiteY70295" fmla="*/ 4594038 h 5973007"/>
              <a:gd name="connsiteX70296" fmla="*/ 6336449 w 6884782"/>
              <a:gd name="connsiteY70296" fmla="*/ 4611281 h 5973007"/>
              <a:gd name="connsiteX70297" fmla="*/ 6329789 w 6884782"/>
              <a:gd name="connsiteY70297" fmla="*/ 4600853 h 5973007"/>
              <a:gd name="connsiteX70298" fmla="*/ 6327775 w 6884782"/>
              <a:gd name="connsiteY70298" fmla="*/ 4594554 h 5973007"/>
              <a:gd name="connsiteX70299" fmla="*/ 6327620 w 6884782"/>
              <a:gd name="connsiteY70299" fmla="*/ 4592799 h 5973007"/>
              <a:gd name="connsiteX70300" fmla="*/ 6325916 w 6884782"/>
              <a:gd name="connsiteY70300" fmla="*/ 4590837 h 5973007"/>
              <a:gd name="connsiteX70301" fmla="*/ 6316622 w 6884782"/>
              <a:gd name="connsiteY70301" fmla="*/ 4588255 h 5973007"/>
              <a:gd name="connsiteX70302" fmla="*/ 6314764 w 6884782"/>
              <a:gd name="connsiteY70302" fmla="*/ 4593728 h 5973007"/>
              <a:gd name="connsiteX70303" fmla="*/ 6311666 w 6884782"/>
              <a:gd name="connsiteY70303" fmla="*/ 4591456 h 5973007"/>
              <a:gd name="connsiteX70304" fmla="*/ 6311511 w 6884782"/>
              <a:gd name="connsiteY70304" fmla="*/ 4593831 h 5973007"/>
              <a:gd name="connsiteX70305" fmla="*/ 6318172 w 6884782"/>
              <a:gd name="connsiteY70305" fmla="*/ 4605706 h 5973007"/>
              <a:gd name="connsiteX70306" fmla="*/ 6309342 w 6884782"/>
              <a:gd name="connsiteY70306" fmla="*/ 4631416 h 5973007"/>
              <a:gd name="connsiteX70307" fmla="*/ 6282236 w 6884782"/>
              <a:gd name="connsiteY70307" fmla="*/ 4647008 h 5973007"/>
              <a:gd name="connsiteX70308" fmla="*/ 6274491 w 6884782"/>
              <a:gd name="connsiteY70308" fmla="*/ 4643704 h 5973007"/>
              <a:gd name="connsiteX70309" fmla="*/ 6267830 w 6884782"/>
              <a:gd name="connsiteY70309" fmla="*/ 4642259 h 5973007"/>
              <a:gd name="connsiteX70310" fmla="*/ 6268915 w 6884782"/>
              <a:gd name="connsiteY70310" fmla="*/ 4645976 h 5973007"/>
              <a:gd name="connsiteX70311" fmla="*/ 6270154 w 6884782"/>
              <a:gd name="connsiteY70311" fmla="*/ 4652584 h 5973007"/>
              <a:gd name="connsiteX70312" fmla="*/ 6260085 w 6884782"/>
              <a:gd name="connsiteY70312" fmla="*/ 4662394 h 5973007"/>
              <a:gd name="connsiteX70313" fmla="*/ 6259311 w 6884782"/>
              <a:gd name="connsiteY70313" fmla="*/ 4661671 h 5973007"/>
              <a:gd name="connsiteX70314" fmla="*/ 6257607 w 6884782"/>
              <a:gd name="connsiteY70314" fmla="*/ 4660948 h 5973007"/>
              <a:gd name="connsiteX70315" fmla="*/ 6254974 w 6884782"/>
              <a:gd name="connsiteY70315" fmla="*/ 4661980 h 5973007"/>
              <a:gd name="connsiteX70316" fmla="*/ 6252495 w 6884782"/>
              <a:gd name="connsiteY70316" fmla="*/ 4660638 h 5973007"/>
              <a:gd name="connsiteX70317" fmla="*/ 6250947 w 6884782"/>
              <a:gd name="connsiteY70317" fmla="*/ 4656405 h 5973007"/>
              <a:gd name="connsiteX70318" fmla="*/ 6251721 w 6884782"/>
              <a:gd name="connsiteY70318" fmla="*/ 4655682 h 5973007"/>
              <a:gd name="connsiteX70319" fmla="*/ 6250327 w 6884782"/>
              <a:gd name="connsiteY70319" fmla="*/ 4650519 h 5973007"/>
              <a:gd name="connsiteX70320" fmla="*/ 6250792 w 6884782"/>
              <a:gd name="connsiteY70320" fmla="*/ 4647215 h 5973007"/>
              <a:gd name="connsiteX70321" fmla="*/ 6249552 w 6884782"/>
              <a:gd name="connsiteY70321" fmla="*/ 4652171 h 5973007"/>
              <a:gd name="connsiteX70322" fmla="*/ 6248778 w 6884782"/>
              <a:gd name="connsiteY70322" fmla="*/ 4653927 h 5973007"/>
              <a:gd name="connsiteX70323" fmla="*/ 6249707 w 6884782"/>
              <a:gd name="connsiteY70323" fmla="*/ 4654030 h 5973007"/>
              <a:gd name="connsiteX70324" fmla="*/ 6248623 w 6884782"/>
              <a:gd name="connsiteY70324" fmla="*/ 4654959 h 5973007"/>
              <a:gd name="connsiteX70325" fmla="*/ 6248623 w 6884782"/>
              <a:gd name="connsiteY70325" fmla="*/ 4655062 h 5973007"/>
              <a:gd name="connsiteX70326" fmla="*/ 6248623 w 6884782"/>
              <a:gd name="connsiteY70326" fmla="*/ 4655992 h 5973007"/>
              <a:gd name="connsiteX70327" fmla="*/ 6246145 w 6884782"/>
              <a:gd name="connsiteY70327" fmla="*/ 4658883 h 5973007"/>
              <a:gd name="connsiteX70328" fmla="*/ 6245370 w 6884782"/>
              <a:gd name="connsiteY70328" fmla="*/ 4658779 h 5973007"/>
              <a:gd name="connsiteX70329" fmla="*/ 6245525 w 6884782"/>
              <a:gd name="connsiteY70329" fmla="*/ 4663529 h 5973007"/>
              <a:gd name="connsiteX70330" fmla="*/ 6245215 w 6884782"/>
              <a:gd name="connsiteY70330" fmla="*/ 4664975 h 5973007"/>
              <a:gd name="connsiteX70331" fmla="*/ 6245680 w 6884782"/>
              <a:gd name="connsiteY70331" fmla="*/ 4665284 h 5973007"/>
              <a:gd name="connsiteX70332" fmla="*/ 6245061 w 6884782"/>
              <a:gd name="connsiteY70332" fmla="*/ 4666007 h 5973007"/>
              <a:gd name="connsiteX70333" fmla="*/ 6244286 w 6884782"/>
              <a:gd name="connsiteY70333" fmla="*/ 4670447 h 5973007"/>
              <a:gd name="connsiteX70334" fmla="*/ 6240569 w 6884782"/>
              <a:gd name="connsiteY70334" fmla="*/ 4673752 h 5973007"/>
              <a:gd name="connsiteX70335" fmla="*/ 6239794 w 6884782"/>
              <a:gd name="connsiteY70335" fmla="*/ 4667866 h 5973007"/>
              <a:gd name="connsiteX70336" fmla="*/ 6239484 w 6884782"/>
              <a:gd name="connsiteY70336" fmla="*/ 4667556 h 5973007"/>
              <a:gd name="connsiteX70337" fmla="*/ 6239639 w 6884782"/>
              <a:gd name="connsiteY70337" fmla="*/ 4667143 h 5973007"/>
              <a:gd name="connsiteX70338" fmla="*/ 6239019 w 6884782"/>
              <a:gd name="connsiteY70338" fmla="*/ 4660329 h 5973007"/>
              <a:gd name="connsiteX70339" fmla="*/ 6240104 w 6884782"/>
              <a:gd name="connsiteY70339" fmla="*/ 4653720 h 5973007"/>
              <a:gd name="connsiteX70340" fmla="*/ 6239174 w 6884782"/>
              <a:gd name="connsiteY70340" fmla="*/ 4653617 h 5973007"/>
              <a:gd name="connsiteX70341" fmla="*/ 6226938 w 6884782"/>
              <a:gd name="connsiteY70341" fmla="*/ 4652997 h 5973007"/>
              <a:gd name="connsiteX70342" fmla="*/ 6228641 w 6884782"/>
              <a:gd name="connsiteY70342" fmla="*/ 4644324 h 5973007"/>
              <a:gd name="connsiteX70343" fmla="*/ 6240414 w 6884782"/>
              <a:gd name="connsiteY70343" fmla="*/ 4638438 h 5973007"/>
              <a:gd name="connsiteX70344" fmla="*/ 6240723 w 6884782"/>
              <a:gd name="connsiteY70344" fmla="*/ 4638644 h 5973007"/>
              <a:gd name="connsiteX70345" fmla="*/ 6245680 w 6884782"/>
              <a:gd name="connsiteY70345" fmla="*/ 4638644 h 5973007"/>
              <a:gd name="connsiteX70346" fmla="*/ 6246454 w 6884782"/>
              <a:gd name="connsiteY70346" fmla="*/ 4640193 h 5973007"/>
              <a:gd name="connsiteX70347" fmla="*/ 6249397 w 6884782"/>
              <a:gd name="connsiteY70347" fmla="*/ 4639471 h 5973007"/>
              <a:gd name="connsiteX70348" fmla="*/ 6251256 w 6884782"/>
              <a:gd name="connsiteY70348" fmla="*/ 4645872 h 5973007"/>
              <a:gd name="connsiteX70349" fmla="*/ 6261480 w 6884782"/>
              <a:gd name="connsiteY70349" fmla="*/ 4640916 h 5973007"/>
              <a:gd name="connsiteX70350" fmla="*/ 6263803 w 6884782"/>
              <a:gd name="connsiteY70350" fmla="*/ 4641536 h 5973007"/>
              <a:gd name="connsiteX70351" fmla="*/ 6265042 w 6884782"/>
              <a:gd name="connsiteY70351" fmla="*/ 4641639 h 5973007"/>
              <a:gd name="connsiteX70352" fmla="*/ 6256833 w 6884782"/>
              <a:gd name="connsiteY70352" fmla="*/ 4638748 h 5973007"/>
              <a:gd name="connsiteX70353" fmla="*/ 6250947 w 6884782"/>
              <a:gd name="connsiteY70353" fmla="*/ 4632243 h 5973007"/>
              <a:gd name="connsiteX70354" fmla="*/ 6250482 w 6884782"/>
              <a:gd name="connsiteY70354" fmla="*/ 4620162 h 5973007"/>
              <a:gd name="connsiteX70355" fmla="*/ 6250327 w 6884782"/>
              <a:gd name="connsiteY70355" fmla="*/ 4619748 h 5973007"/>
              <a:gd name="connsiteX70356" fmla="*/ 6250172 w 6884782"/>
              <a:gd name="connsiteY70356" fmla="*/ 4619955 h 5973007"/>
              <a:gd name="connsiteX70357" fmla="*/ 6249707 w 6884782"/>
              <a:gd name="connsiteY70357" fmla="*/ 4619439 h 5973007"/>
              <a:gd name="connsiteX70358" fmla="*/ 6248933 w 6884782"/>
              <a:gd name="connsiteY70358" fmla="*/ 4618509 h 5973007"/>
              <a:gd name="connsiteX70359" fmla="*/ 6248778 w 6884782"/>
              <a:gd name="connsiteY70359" fmla="*/ 4618200 h 5973007"/>
              <a:gd name="connsiteX70360" fmla="*/ 6249397 w 6884782"/>
              <a:gd name="connsiteY70360" fmla="*/ 4617167 h 5973007"/>
              <a:gd name="connsiteX70361" fmla="*/ 6248778 w 6884782"/>
              <a:gd name="connsiteY70361" fmla="*/ 4615722 h 5973007"/>
              <a:gd name="connsiteX70362" fmla="*/ 6247384 w 6884782"/>
              <a:gd name="connsiteY70362" fmla="*/ 4611075 h 5973007"/>
              <a:gd name="connsiteX70363" fmla="*/ 6252495 w 6884782"/>
              <a:gd name="connsiteY70363" fmla="*/ 4599717 h 5973007"/>
              <a:gd name="connsiteX70364" fmla="*/ 6254664 w 6884782"/>
              <a:gd name="connsiteY70364" fmla="*/ 4596516 h 5973007"/>
              <a:gd name="connsiteX70365" fmla="*/ 6256213 w 6884782"/>
              <a:gd name="connsiteY70365" fmla="*/ 4593522 h 5973007"/>
              <a:gd name="connsiteX70366" fmla="*/ 6256368 w 6884782"/>
              <a:gd name="connsiteY70366" fmla="*/ 4593212 h 5973007"/>
              <a:gd name="connsiteX70367" fmla="*/ 6257452 w 6884782"/>
              <a:gd name="connsiteY70367" fmla="*/ 4586087 h 5973007"/>
              <a:gd name="connsiteX70368" fmla="*/ 6261634 w 6884782"/>
              <a:gd name="connsiteY70368" fmla="*/ 4580098 h 5973007"/>
              <a:gd name="connsiteX70369" fmla="*/ 6265352 w 6884782"/>
              <a:gd name="connsiteY70369" fmla="*/ 4578446 h 5973007"/>
              <a:gd name="connsiteX70370" fmla="*/ 6268140 w 6884782"/>
              <a:gd name="connsiteY70370" fmla="*/ 4578136 h 5973007"/>
              <a:gd name="connsiteX70371" fmla="*/ 6266746 w 6884782"/>
              <a:gd name="connsiteY70371" fmla="*/ 4577413 h 5973007"/>
              <a:gd name="connsiteX70372" fmla="*/ 6268760 w 6884782"/>
              <a:gd name="connsiteY70372" fmla="*/ 4568946 h 5973007"/>
              <a:gd name="connsiteX70373" fmla="*/ 6263493 w 6884782"/>
              <a:gd name="connsiteY70373" fmla="*/ 4573697 h 5973007"/>
              <a:gd name="connsiteX70374" fmla="*/ 6259775 w 6884782"/>
              <a:gd name="connsiteY70374" fmla="*/ 4571528 h 5973007"/>
              <a:gd name="connsiteX70375" fmla="*/ 6255748 w 6884782"/>
              <a:gd name="connsiteY70375" fmla="*/ 4571838 h 5973007"/>
              <a:gd name="connsiteX70376" fmla="*/ 6256678 w 6884782"/>
              <a:gd name="connsiteY70376" fmla="*/ 4566675 h 5973007"/>
              <a:gd name="connsiteX70377" fmla="*/ 6260240 w 6884782"/>
              <a:gd name="connsiteY70377" fmla="*/ 4569463 h 5973007"/>
              <a:gd name="connsiteX70378" fmla="*/ 6259930 w 6884782"/>
              <a:gd name="connsiteY70378" fmla="*/ 4571012 h 5973007"/>
              <a:gd name="connsiteX70379" fmla="*/ 6263958 w 6884782"/>
              <a:gd name="connsiteY70379" fmla="*/ 4568843 h 5973007"/>
              <a:gd name="connsiteX70380" fmla="*/ 6266746 w 6884782"/>
              <a:gd name="connsiteY70380" fmla="*/ 4562235 h 5973007"/>
              <a:gd name="connsiteX70381" fmla="*/ 6263648 w 6884782"/>
              <a:gd name="connsiteY70381" fmla="*/ 4560583 h 5973007"/>
              <a:gd name="connsiteX70382" fmla="*/ 6261789 w 6884782"/>
              <a:gd name="connsiteY70382" fmla="*/ 4560893 h 5973007"/>
              <a:gd name="connsiteX70383" fmla="*/ 6261944 w 6884782"/>
              <a:gd name="connsiteY70383" fmla="*/ 4561099 h 5973007"/>
              <a:gd name="connsiteX70384" fmla="*/ 6260395 w 6884782"/>
              <a:gd name="connsiteY70384" fmla="*/ 4561615 h 5973007"/>
              <a:gd name="connsiteX70385" fmla="*/ 6260240 w 6884782"/>
              <a:gd name="connsiteY70385" fmla="*/ 4563268 h 5973007"/>
              <a:gd name="connsiteX70386" fmla="*/ 6256987 w 6884782"/>
              <a:gd name="connsiteY70386" fmla="*/ 4565333 h 5973007"/>
              <a:gd name="connsiteX70387" fmla="*/ 6257607 w 6884782"/>
              <a:gd name="connsiteY70387" fmla="*/ 4562751 h 5973007"/>
              <a:gd name="connsiteX70388" fmla="*/ 6253890 w 6884782"/>
              <a:gd name="connsiteY70388" fmla="*/ 4564197 h 5973007"/>
              <a:gd name="connsiteX70389" fmla="*/ 6248623 w 6884782"/>
              <a:gd name="connsiteY70389" fmla="*/ 4558828 h 5973007"/>
              <a:gd name="connsiteX70390" fmla="*/ 6252031 w 6884782"/>
              <a:gd name="connsiteY70390" fmla="*/ 4556143 h 5973007"/>
              <a:gd name="connsiteX70391" fmla="*/ 6246454 w 6884782"/>
              <a:gd name="connsiteY70391" fmla="*/ 4553768 h 5973007"/>
              <a:gd name="connsiteX70392" fmla="*/ 6250637 w 6884782"/>
              <a:gd name="connsiteY70392" fmla="*/ 4553148 h 5973007"/>
              <a:gd name="connsiteX70393" fmla="*/ 6254354 w 6884782"/>
              <a:gd name="connsiteY70393" fmla="*/ 4554078 h 5973007"/>
              <a:gd name="connsiteX70394" fmla="*/ 6255594 w 6884782"/>
              <a:gd name="connsiteY70394" fmla="*/ 4553045 h 5973007"/>
              <a:gd name="connsiteX70395" fmla="*/ 6254354 w 6884782"/>
              <a:gd name="connsiteY70395" fmla="*/ 4550051 h 5973007"/>
              <a:gd name="connsiteX70396" fmla="*/ 6247694 w 6884782"/>
              <a:gd name="connsiteY70396" fmla="*/ 4548192 h 5973007"/>
              <a:gd name="connsiteX70397" fmla="*/ 6257917 w 6884782"/>
              <a:gd name="connsiteY70397" fmla="*/ 4547572 h 5973007"/>
              <a:gd name="connsiteX70398" fmla="*/ 6237316 w 6884782"/>
              <a:gd name="connsiteY70398" fmla="*/ 4541997 h 5973007"/>
              <a:gd name="connsiteX70399" fmla="*/ 6236231 w 6884782"/>
              <a:gd name="connsiteY70399" fmla="*/ 4541894 h 5973007"/>
              <a:gd name="connsiteX70400" fmla="*/ 6232204 w 6884782"/>
              <a:gd name="connsiteY70400" fmla="*/ 4549534 h 5973007"/>
              <a:gd name="connsiteX70401" fmla="*/ 6225543 w 6884782"/>
              <a:gd name="connsiteY70401" fmla="*/ 4557485 h 5973007"/>
              <a:gd name="connsiteX70402" fmla="*/ 6223065 w 6884782"/>
              <a:gd name="connsiteY70402" fmla="*/ 4545095 h 5973007"/>
              <a:gd name="connsiteX70403" fmla="*/ 6223530 w 6884782"/>
              <a:gd name="connsiteY70403" fmla="*/ 4542513 h 5973007"/>
              <a:gd name="connsiteX70404" fmla="*/ 6217644 w 6884782"/>
              <a:gd name="connsiteY70404" fmla="*/ 4544888 h 5973007"/>
              <a:gd name="connsiteX70405" fmla="*/ 6215011 w 6884782"/>
              <a:gd name="connsiteY70405" fmla="*/ 4543649 h 5973007"/>
              <a:gd name="connsiteX70406" fmla="*/ 6212222 w 6884782"/>
              <a:gd name="connsiteY70406" fmla="*/ 4541790 h 5973007"/>
              <a:gd name="connsiteX70407" fmla="*/ 6211448 w 6884782"/>
              <a:gd name="connsiteY70407" fmla="*/ 4542823 h 5973007"/>
              <a:gd name="connsiteX70408" fmla="*/ 6210673 w 6884782"/>
              <a:gd name="connsiteY70408" fmla="*/ 4541584 h 5973007"/>
              <a:gd name="connsiteX70409" fmla="*/ 6209744 w 6884782"/>
              <a:gd name="connsiteY70409" fmla="*/ 4541584 h 5973007"/>
              <a:gd name="connsiteX70410" fmla="*/ 6207885 w 6884782"/>
              <a:gd name="connsiteY70410" fmla="*/ 4543339 h 5973007"/>
              <a:gd name="connsiteX70411" fmla="*/ 6201999 w 6884782"/>
              <a:gd name="connsiteY70411" fmla="*/ 4538486 h 5973007"/>
              <a:gd name="connsiteX70412" fmla="*/ 6201844 w 6884782"/>
              <a:gd name="connsiteY70412" fmla="*/ 4540035 h 5973007"/>
              <a:gd name="connsiteX70413" fmla="*/ 6197817 w 6884782"/>
              <a:gd name="connsiteY70413" fmla="*/ 4542719 h 5973007"/>
              <a:gd name="connsiteX70414" fmla="*/ 6196113 w 6884782"/>
              <a:gd name="connsiteY70414" fmla="*/ 4541687 h 5973007"/>
              <a:gd name="connsiteX70415" fmla="*/ 6196888 w 6884782"/>
              <a:gd name="connsiteY70415" fmla="*/ 4537660 h 5973007"/>
              <a:gd name="connsiteX70416" fmla="*/ 6199521 w 6884782"/>
              <a:gd name="connsiteY70416" fmla="*/ 4536937 h 5973007"/>
              <a:gd name="connsiteX70417" fmla="*/ 6190692 w 6884782"/>
              <a:gd name="connsiteY70417" fmla="*/ 4534356 h 5973007"/>
              <a:gd name="connsiteX70418" fmla="*/ 6188214 w 6884782"/>
              <a:gd name="connsiteY70418" fmla="*/ 4533943 h 5973007"/>
              <a:gd name="connsiteX70419" fmla="*/ 6185426 w 6884782"/>
              <a:gd name="connsiteY70419" fmla="*/ 4535905 h 5973007"/>
              <a:gd name="connsiteX70420" fmla="*/ 6183722 w 6884782"/>
              <a:gd name="connsiteY70420" fmla="*/ 4534872 h 5973007"/>
              <a:gd name="connsiteX70421" fmla="*/ 6182018 w 6884782"/>
              <a:gd name="connsiteY70421" fmla="*/ 4533220 h 5973007"/>
              <a:gd name="connsiteX70422" fmla="*/ 6182018 w 6884782"/>
              <a:gd name="connsiteY70422" fmla="*/ 4533116 h 5973007"/>
              <a:gd name="connsiteX70423" fmla="*/ 6181708 w 6884782"/>
              <a:gd name="connsiteY70423" fmla="*/ 4533013 h 5973007"/>
              <a:gd name="connsiteX70424" fmla="*/ 6175512 w 6884782"/>
              <a:gd name="connsiteY70424" fmla="*/ 4529606 h 5973007"/>
              <a:gd name="connsiteX70425" fmla="*/ 6180004 w 6884782"/>
              <a:gd name="connsiteY70425" fmla="*/ 4529400 h 5973007"/>
              <a:gd name="connsiteX70426" fmla="*/ 6180779 w 6884782"/>
              <a:gd name="connsiteY70426" fmla="*/ 4529296 h 5973007"/>
              <a:gd name="connsiteX70427" fmla="*/ 6180469 w 6884782"/>
              <a:gd name="connsiteY70427" fmla="*/ 4528470 h 5973007"/>
              <a:gd name="connsiteX70428" fmla="*/ 6182172 w 6884782"/>
              <a:gd name="connsiteY70428" fmla="*/ 4525166 h 5973007"/>
              <a:gd name="connsiteX70429" fmla="*/ 6183567 w 6884782"/>
              <a:gd name="connsiteY70429" fmla="*/ 4524237 h 5973007"/>
              <a:gd name="connsiteX70430" fmla="*/ 6184031 w 6884782"/>
              <a:gd name="connsiteY70430" fmla="*/ 4524443 h 5973007"/>
              <a:gd name="connsiteX70431" fmla="*/ 6184496 w 6884782"/>
              <a:gd name="connsiteY70431" fmla="*/ 4520416 h 5973007"/>
              <a:gd name="connsiteX70432" fmla="*/ 6154446 w 6884782"/>
              <a:gd name="connsiteY70432" fmla="*/ 4506580 h 5973007"/>
              <a:gd name="connsiteX70433" fmla="*/ 6148405 w 6884782"/>
              <a:gd name="connsiteY70433" fmla="*/ 4503585 h 5973007"/>
              <a:gd name="connsiteX70434" fmla="*/ 6146856 w 6884782"/>
              <a:gd name="connsiteY70434" fmla="*/ 4505547 h 5973007"/>
              <a:gd name="connsiteX70435" fmla="*/ 6143448 w 6884782"/>
              <a:gd name="connsiteY70435" fmla="*/ 4501727 h 5973007"/>
              <a:gd name="connsiteX70436" fmla="*/ 6143913 w 6884782"/>
              <a:gd name="connsiteY70436" fmla="*/ 4501210 h 5973007"/>
              <a:gd name="connsiteX70437" fmla="*/ 6139731 w 6884782"/>
              <a:gd name="connsiteY70437" fmla="*/ 4499145 h 5973007"/>
              <a:gd name="connsiteX70438" fmla="*/ 6139111 w 6884782"/>
              <a:gd name="connsiteY70438" fmla="*/ 4498939 h 5973007"/>
              <a:gd name="connsiteX70439" fmla="*/ 6138492 w 6884782"/>
              <a:gd name="connsiteY70439" fmla="*/ 4500488 h 5973007"/>
              <a:gd name="connsiteX70440" fmla="*/ 6136478 w 6884782"/>
              <a:gd name="connsiteY70440" fmla="*/ 4502037 h 5973007"/>
              <a:gd name="connsiteX70441" fmla="*/ 6133690 w 6884782"/>
              <a:gd name="connsiteY70441" fmla="*/ 4501727 h 5973007"/>
              <a:gd name="connsiteX70442" fmla="*/ 6131676 w 6884782"/>
              <a:gd name="connsiteY70442" fmla="*/ 4499971 h 5973007"/>
              <a:gd name="connsiteX70443" fmla="*/ 6131057 w 6884782"/>
              <a:gd name="connsiteY70443" fmla="*/ 4497493 h 5973007"/>
              <a:gd name="connsiteX70444" fmla="*/ 6131057 w 6884782"/>
              <a:gd name="connsiteY70444" fmla="*/ 4496358 h 5973007"/>
              <a:gd name="connsiteX70445" fmla="*/ 6126565 w 6884782"/>
              <a:gd name="connsiteY70445" fmla="*/ 4495015 h 5973007"/>
              <a:gd name="connsiteX70446" fmla="*/ 6124241 w 6884782"/>
              <a:gd name="connsiteY70446" fmla="*/ 4499042 h 5973007"/>
              <a:gd name="connsiteX70447" fmla="*/ 6118355 w 6884782"/>
              <a:gd name="connsiteY70447" fmla="*/ 4502037 h 5973007"/>
              <a:gd name="connsiteX70448" fmla="*/ 6121453 w 6884782"/>
              <a:gd name="connsiteY70448" fmla="*/ 4490678 h 5973007"/>
              <a:gd name="connsiteX70449" fmla="*/ 6118665 w 6884782"/>
              <a:gd name="connsiteY70449" fmla="*/ 4487581 h 5973007"/>
              <a:gd name="connsiteX70450" fmla="*/ 6112469 w 6884782"/>
              <a:gd name="connsiteY70450" fmla="*/ 4483037 h 5973007"/>
              <a:gd name="connsiteX70451" fmla="*/ 6111695 w 6884782"/>
              <a:gd name="connsiteY70451" fmla="*/ 4482624 h 5973007"/>
              <a:gd name="connsiteX70452" fmla="*/ 6111385 w 6884782"/>
              <a:gd name="connsiteY70452" fmla="*/ 4483760 h 5973007"/>
              <a:gd name="connsiteX70453" fmla="*/ 6099768 w 6884782"/>
              <a:gd name="connsiteY70453" fmla="*/ 4488820 h 5973007"/>
              <a:gd name="connsiteX70454" fmla="*/ 6092333 w 6884782"/>
              <a:gd name="connsiteY70454" fmla="*/ 4493157 h 5973007"/>
              <a:gd name="connsiteX70455" fmla="*/ 6091558 w 6884782"/>
              <a:gd name="connsiteY70455" fmla="*/ 4493982 h 5973007"/>
              <a:gd name="connsiteX70456" fmla="*/ 6112004 w 6884782"/>
              <a:gd name="connsiteY70456" fmla="*/ 4503999 h 5973007"/>
              <a:gd name="connsiteX70457" fmla="*/ 6127804 w 6884782"/>
              <a:gd name="connsiteY70457" fmla="*/ 4517215 h 5973007"/>
              <a:gd name="connsiteX70458" fmla="*/ 6117426 w 6884782"/>
              <a:gd name="connsiteY70458" fmla="*/ 4509471 h 5973007"/>
              <a:gd name="connsiteX70459" fmla="*/ 6118820 w 6884782"/>
              <a:gd name="connsiteY70459" fmla="*/ 4515666 h 5973007"/>
              <a:gd name="connsiteX70460" fmla="*/ 6121763 w 6884782"/>
              <a:gd name="connsiteY70460" fmla="*/ 4520003 h 5973007"/>
              <a:gd name="connsiteX70461" fmla="*/ 6123777 w 6884782"/>
              <a:gd name="connsiteY70461" fmla="*/ 4518971 h 5973007"/>
              <a:gd name="connsiteX70462" fmla="*/ 6134155 w 6884782"/>
              <a:gd name="connsiteY70462" fmla="*/ 4522584 h 5973007"/>
              <a:gd name="connsiteX70463" fmla="*/ 6131831 w 6884782"/>
              <a:gd name="connsiteY70463" fmla="*/ 4527128 h 5973007"/>
              <a:gd name="connsiteX70464" fmla="*/ 6131212 w 6884782"/>
              <a:gd name="connsiteY70464" fmla="*/ 4527644 h 5973007"/>
              <a:gd name="connsiteX70465" fmla="*/ 6133690 w 6884782"/>
              <a:gd name="connsiteY70465" fmla="*/ 4529606 h 5973007"/>
              <a:gd name="connsiteX70466" fmla="*/ 6130127 w 6884782"/>
              <a:gd name="connsiteY70466" fmla="*/ 4531155 h 5973007"/>
              <a:gd name="connsiteX70467" fmla="*/ 6126720 w 6884782"/>
              <a:gd name="connsiteY70467" fmla="*/ 4530948 h 5973007"/>
              <a:gd name="connsiteX70468" fmla="*/ 6123157 w 6884782"/>
              <a:gd name="connsiteY70468" fmla="*/ 4533530 h 5973007"/>
              <a:gd name="connsiteX70469" fmla="*/ 6121763 w 6884782"/>
              <a:gd name="connsiteY70469" fmla="*/ 4531877 h 5973007"/>
              <a:gd name="connsiteX70470" fmla="*/ 6120059 w 6884782"/>
              <a:gd name="connsiteY70470" fmla="*/ 4533633 h 5973007"/>
              <a:gd name="connsiteX70471" fmla="*/ 6108442 w 6884782"/>
              <a:gd name="connsiteY70471" fmla="*/ 4521036 h 5973007"/>
              <a:gd name="connsiteX70472" fmla="*/ 6102091 w 6884782"/>
              <a:gd name="connsiteY70472" fmla="*/ 4517215 h 5973007"/>
              <a:gd name="connsiteX70473" fmla="*/ 6099768 w 6884782"/>
              <a:gd name="connsiteY70473" fmla="*/ 4520106 h 5973007"/>
              <a:gd name="connsiteX70474" fmla="*/ 6084123 w 6884782"/>
              <a:gd name="connsiteY70474" fmla="*/ 4525269 h 5973007"/>
              <a:gd name="connsiteX70475" fmla="*/ 6078702 w 6884782"/>
              <a:gd name="connsiteY70475" fmla="*/ 4524133 h 5973007"/>
              <a:gd name="connsiteX70476" fmla="*/ 6074055 w 6884782"/>
              <a:gd name="connsiteY70476" fmla="*/ 4521345 h 5973007"/>
              <a:gd name="connsiteX70477" fmla="*/ 6073435 w 6884782"/>
              <a:gd name="connsiteY70477" fmla="*/ 4522481 h 5973007"/>
              <a:gd name="connsiteX70478" fmla="*/ 6065381 w 6884782"/>
              <a:gd name="connsiteY70478" fmla="*/ 4521345 h 5973007"/>
              <a:gd name="connsiteX70479" fmla="*/ 6064916 w 6884782"/>
              <a:gd name="connsiteY70479" fmla="*/ 4514943 h 5973007"/>
              <a:gd name="connsiteX70480" fmla="*/ 6070028 w 6884782"/>
              <a:gd name="connsiteY70480" fmla="*/ 4515460 h 5973007"/>
              <a:gd name="connsiteX70481" fmla="*/ 6074055 w 6884782"/>
              <a:gd name="connsiteY70481" fmla="*/ 4518764 h 5973007"/>
              <a:gd name="connsiteX70482" fmla="*/ 6074984 w 6884782"/>
              <a:gd name="connsiteY70482" fmla="*/ 4511846 h 5973007"/>
              <a:gd name="connsiteX70483" fmla="*/ 6079476 w 6884782"/>
              <a:gd name="connsiteY70483" fmla="*/ 4504928 h 5973007"/>
              <a:gd name="connsiteX70484" fmla="*/ 6081800 w 6884782"/>
              <a:gd name="connsiteY70484" fmla="*/ 4503482 h 5973007"/>
              <a:gd name="connsiteX70485" fmla="*/ 6078392 w 6884782"/>
              <a:gd name="connsiteY70485" fmla="*/ 4501624 h 5973007"/>
              <a:gd name="connsiteX70486" fmla="*/ 6071577 w 6884782"/>
              <a:gd name="connsiteY70486" fmla="*/ 4499145 h 5973007"/>
              <a:gd name="connsiteX70487" fmla="*/ 6067085 w 6884782"/>
              <a:gd name="connsiteY70487" fmla="*/ 4491917 h 5973007"/>
              <a:gd name="connsiteX70488" fmla="*/ 6065381 w 6884782"/>
              <a:gd name="connsiteY70488" fmla="*/ 4490575 h 5973007"/>
              <a:gd name="connsiteX70489" fmla="*/ 6064761 w 6884782"/>
              <a:gd name="connsiteY70489" fmla="*/ 4491711 h 5973007"/>
              <a:gd name="connsiteX70490" fmla="*/ 6063677 w 6884782"/>
              <a:gd name="connsiteY70490" fmla="*/ 4489027 h 5973007"/>
              <a:gd name="connsiteX70491" fmla="*/ 6060579 w 6884782"/>
              <a:gd name="connsiteY70491" fmla="*/ 4486445 h 5973007"/>
              <a:gd name="connsiteX70492" fmla="*/ 6060269 w 6884782"/>
              <a:gd name="connsiteY70492" fmla="*/ 4486342 h 5973007"/>
              <a:gd name="connsiteX70493" fmla="*/ 6060114 w 6884782"/>
              <a:gd name="connsiteY70493" fmla="*/ 4486032 h 5973007"/>
              <a:gd name="connsiteX70494" fmla="*/ 6059495 w 6884782"/>
              <a:gd name="connsiteY70494" fmla="*/ 4485515 h 5973007"/>
              <a:gd name="connsiteX70495" fmla="*/ 6050201 w 6884782"/>
              <a:gd name="connsiteY70495" fmla="*/ 4478907 h 5973007"/>
              <a:gd name="connsiteX70496" fmla="*/ 6039978 w 6884782"/>
              <a:gd name="connsiteY70496" fmla="*/ 4470543 h 5973007"/>
              <a:gd name="connsiteX70497" fmla="*/ 6030684 w 6884782"/>
              <a:gd name="connsiteY70497" fmla="*/ 4472092 h 5973007"/>
              <a:gd name="connsiteX70498" fmla="*/ 6033007 w 6884782"/>
              <a:gd name="connsiteY70498" fmla="*/ 4467239 h 5973007"/>
              <a:gd name="connsiteX70499" fmla="*/ 6032078 w 6884782"/>
              <a:gd name="connsiteY70499" fmla="*/ 4463419 h 5973007"/>
              <a:gd name="connsiteX70500" fmla="*/ 6027586 w 6884782"/>
              <a:gd name="connsiteY70500" fmla="*/ 4468478 h 5973007"/>
              <a:gd name="connsiteX70501" fmla="*/ 6018137 w 6884782"/>
              <a:gd name="connsiteY70501" fmla="*/ 4474570 h 5973007"/>
              <a:gd name="connsiteX70502" fmla="*/ 6015969 w 6884782"/>
              <a:gd name="connsiteY70502" fmla="*/ 4473538 h 5973007"/>
              <a:gd name="connsiteX70503" fmla="*/ 6024643 w 6884782"/>
              <a:gd name="connsiteY70503" fmla="*/ 4462386 h 5973007"/>
              <a:gd name="connsiteX70504" fmla="*/ 6027896 w 6884782"/>
              <a:gd name="connsiteY70504" fmla="*/ 4460114 h 5973007"/>
              <a:gd name="connsiteX70505" fmla="*/ 6024179 w 6884782"/>
              <a:gd name="connsiteY70505" fmla="*/ 4457327 h 5973007"/>
              <a:gd name="connsiteX70506" fmla="*/ 6008534 w 6884782"/>
              <a:gd name="connsiteY70506" fmla="*/ 4439670 h 5973007"/>
              <a:gd name="connsiteX70507" fmla="*/ 6002957 w 6884782"/>
              <a:gd name="connsiteY70507" fmla="*/ 4441012 h 5973007"/>
              <a:gd name="connsiteX70508" fmla="*/ 5998001 w 6884782"/>
              <a:gd name="connsiteY70508" fmla="*/ 4433578 h 5973007"/>
              <a:gd name="connsiteX70509" fmla="*/ 5990101 w 6884782"/>
              <a:gd name="connsiteY70509" fmla="*/ 4430686 h 5973007"/>
              <a:gd name="connsiteX70510" fmla="*/ 5984525 w 6884782"/>
              <a:gd name="connsiteY70510" fmla="*/ 4423459 h 5973007"/>
              <a:gd name="connsiteX70511" fmla="*/ 5988552 w 6884782"/>
              <a:gd name="connsiteY70511" fmla="*/ 4422116 h 5973007"/>
              <a:gd name="connsiteX70512" fmla="*/ 5986848 w 6884782"/>
              <a:gd name="connsiteY70512" fmla="*/ 4420154 h 5973007"/>
              <a:gd name="connsiteX70513" fmla="*/ 5978794 w 6884782"/>
              <a:gd name="connsiteY70513" fmla="*/ 4411687 h 5973007"/>
              <a:gd name="connsiteX70514" fmla="*/ 5971359 w 6884782"/>
              <a:gd name="connsiteY70514" fmla="*/ 4404046 h 5973007"/>
              <a:gd name="connsiteX70515" fmla="*/ 5956334 w 6884782"/>
              <a:gd name="connsiteY70515" fmla="*/ 4388248 h 5973007"/>
              <a:gd name="connsiteX70516" fmla="*/ 5951687 w 6884782"/>
              <a:gd name="connsiteY70516" fmla="*/ 4382879 h 5973007"/>
              <a:gd name="connsiteX70517" fmla="*/ 5949518 w 6884782"/>
              <a:gd name="connsiteY70517" fmla="*/ 4382672 h 5973007"/>
              <a:gd name="connsiteX70518" fmla="*/ 5950293 w 6884782"/>
              <a:gd name="connsiteY70518" fmla="*/ 4381330 h 5973007"/>
              <a:gd name="connsiteX70519" fmla="*/ 5949364 w 6884782"/>
              <a:gd name="connsiteY70519" fmla="*/ 4380194 h 5973007"/>
              <a:gd name="connsiteX70520" fmla="*/ 5942703 w 6884782"/>
              <a:gd name="connsiteY70520" fmla="*/ 4371211 h 5973007"/>
              <a:gd name="connsiteX70521" fmla="*/ 5944717 w 6884782"/>
              <a:gd name="connsiteY70521" fmla="*/ 4370798 h 5973007"/>
              <a:gd name="connsiteX70522" fmla="*/ 5944097 w 6884782"/>
              <a:gd name="connsiteY70522" fmla="*/ 4370075 h 5973007"/>
              <a:gd name="connsiteX70523" fmla="*/ 5944407 w 6884782"/>
              <a:gd name="connsiteY70523" fmla="*/ 4368113 h 5973007"/>
              <a:gd name="connsiteX70524" fmla="*/ 5945026 w 6884782"/>
              <a:gd name="connsiteY70524" fmla="*/ 4368010 h 5973007"/>
              <a:gd name="connsiteX70525" fmla="*/ 5939295 w 6884782"/>
              <a:gd name="connsiteY70525" fmla="*/ 4365015 h 5973007"/>
              <a:gd name="connsiteX70526" fmla="*/ 5929382 w 6884782"/>
              <a:gd name="connsiteY70526" fmla="*/ 4360989 h 5973007"/>
              <a:gd name="connsiteX70527" fmla="*/ 5921172 w 6884782"/>
              <a:gd name="connsiteY70527" fmla="*/ 4346223 h 5973007"/>
              <a:gd name="connsiteX70528" fmla="*/ 5920398 w 6884782"/>
              <a:gd name="connsiteY70528" fmla="*/ 4346016 h 5973007"/>
              <a:gd name="connsiteX70529" fmla="*/ 5920398 w 6884782"/>
              <a:gd name="connsiteY70529" fmla="*/ 4346120 h 5973007"/>
              <a:gd name="connsiteX70530" fmla="*/ 5917764 w 6884782"/>
              <a:gd name="connsiteY70530" fmla="*/ 4345603 h 5973007"/>
              <a:gd name="connsiteX70531" fmla="*/ 5915596 w 6884782"/>
              <a:gd name="connsiteY70531" fmla="*/ 4346223 h 5973007"/>
              <a:gd name="connsiteX70532" fmla="*/ 5899797 w 6884782"/>
              <a:gd name="connsiteY70532" fmla="*/ 4318034 h 5973007"/>
              <a:gd name="connsiteX70533" fmla="*/ 5898402 w 6884782"/>
              <a:gd name="connsiteY70533" fmla="*/ 4305540 h 5973007"/>
              <a:gd name="connsiteX70534" fmla="*/ 5894530 w 6884782"/>
              <a:gd name="connsiteY70534" fmla="*/ 4299964 h 5973007"/>
              <a:gd name="connsiteX70535" fmla="*/ 5893601 w 6884782"/>
              <a:gd name="connsiteY70535" fmla="*/ 4299448 h 5973007"/>
              <a:gd name="connsiteX70536" fmla="*/ 5893756 w 6884782"/>
              <a:gd name="connsiteY70536" fmla="*/ 4297899 h 5973007"/>
              <a:gd name="connsiteX70537" fmla="*/ 5893601 w 6884782"/>
              <a:gd name="connsiteY70537" fmla="*/ 4297693 h 5973007"/>
              <a:gd name="connsiteX70538" fmla="*/ 5893291 w 6884782"/>
              <a:gd name="connsiteY70538" fmla="*/ 4298312 h 5973007"/>
              <a:gd name="connsiteX70539" fmla="*/ 5888489 w 6884782"/>
              <a:gd name="connsiteY70539" fmla="*/ 4297589 h 5973007"/>
              <a:gd name="connsiteX70540" fmla="*/ 5887560 w 6884782"/>
              <a:gd name="connsiteY70540" fmla="*/ 4297176 h 5973007"/>
              <a:gd name="connsiteX70541" fmla="*/ 5885856 w 6884782"/>
              <a:gd name="connsiteY70541" fmla="*/ 4298828 h 5973007"/>
              <a:gd name="connsiteX70542" fmla="*/ 5885391 w 6884782"/>
              <a:gd name="connsiteY70542" fmla="*/ 4296350 h 5973007"/>
              <a:gd name="connsiteX70543" fmla="*/ 5884617 w 6884782"/>
              <a:gd name="connsiteY70543" fmla="*/ 4296040 h 5973007"/>
              <a:gd name="connsiteX70544" fmla="*/ 5885236 w 6884782"/>
              <a:gd name="connsiteY70544" fmla="*/ 4290671 h 5973007"/>
              <a:gd name="connsiteX70545" fmla="*/ 5886011 w 6884782"/>
              <a:gd name="connsiteY70545" fmla="*/ 4289535 h 5973007"/>
              <a:gd name="connsiteX70546" fmla="*/ 5885236 w 6884782"/>
              <a:gd name="connsiteY70546" fmla="*/ 4285921 h 5973007"/>
              <a:gd name="connsiteX70547" fmla="*/ 5883223 w 6884782"/>
              <a:gd name="connsiteY70547" fmla="*/ 4283443 h 5973007"/>
              <a:gd name="connsiteX70548" fmla="*/ 5881673 w 6884782"/>
              <a:gd name="connsiteY70548" fmla="*/ 4283030 h 5973007"/>
              <a:gd name="connsiteX70549" fmla="*/ 5879505 w 6884782"/>
              <a:gd name="connsiteY70549" fmla="*/ 4284166 h 5973007"/>
              <a:gd name="connsiteX70550" fmla="*/ 5877027 w 6884782"/>
              <a:gd name="connsiteY70550" fmla="*/ 4284166 h 5973007"/>
              <a:gd name="connsiteX70551" fmla="*/ 5873929 w 6884782"/>
              <a:gd name="connsiteY70551" fmla="*/ 4281068 h 5973007"/>
              <a:gd name="connsiteX70552" fmla="*/ 5874084 w 6884782"/>
              <a:gd name="connsiteY70552" fmla="*/ 4276112 h 5973007"/>
              <a:gd name="connsiteX70553" fmla="*/ 5878111 w 6884782"/>
              <a:gd name="connsiteY70553" fmla="*/ 4272085 h 5973007"/>
              <a:gd name="connsiteX70554" fmla="*/ 5877956 w 6884782"/>
              <a:gd name="connsiteY70554" fmla="*/ 4271982 h 5973007"/>
              <a:gd name="connsiteX70555" fmla="*/ 5880589 w 6884782"/>
              <a:gd name="connsiteY70555" fmla="*/ 4268368 h 5973007"/>
              <a:gd name="connsiteX70556" fmla="*/ 5879970 w 6884782"/>
              <a:gd name="connsiteY70556" fmla="*/ 4263721 h 5973007"/>
              <a:gd name="connsiteX70557" fmla="*/ 5878730 w 6884782"/>
              <a:gd name="connsiteY70557" fmla="*/ 4262999 h 5973007"/>
              <a:gd name="connsiteX70558" fmla="*/ 5875168 w 6884782"/>
              <a:gd name="connsiteY70558" fmla="*/ 4264960 h 5973007"/>
              <a:gd name="connsiteX70559" fmla="*/ 5872845 w 6884782"/>
              <a:gd name="connsiteY70559" fmla="*/ 4263825 h 5973007"/>
              <a:gd name="connsiteX70560" fmla="*/ 5870056 w 6884782"/>
              <a:gd name="connsiteY70560" fmla="*/ 4259075 h 5973007"/>
              <a:gd name="connsiteX70561" fmla="*/ 5868972 w 6884782"/>
              <a:gd name="connsiteY70561" fmla="*/ 4248956 h 5973007"/>
              <a:gd name="connsiteX70562" fmla="*/ 5869592 w 6884782"/>
              <a:gd name="connsiteY70562" fmla="*/ 4246787 h 5973007"/>
              <a:gd name="connsiteX70563" fmla="*/ 5868817 w 6884782"/>
              <a:gd name="connsiteY70563" fmla="*/ 4247303 h 5973007"/>
              <a:gd name="connsiteX70564" fmla="*/ 5862466 w 6884782"/>
              <a:gd name="connsiteY70564" fmla="*/ 4240385 h 5973007"/>
              <a:gd name="connsiteX70565" fmla="*/ 5864790 w 6884782"/>
              <a:gd name="connsiteY70565" fmla="*/ 4236565 h 5973007"/>
              <a:gd name="connsiteX70566" fmla="*/ 5863706 w 6884782"/>
              <a:gd name="connsiteY70566" fmla="*/ 4236358 h 5973007"/>
              <a:gd name="connsiteX70567" fmla="*/ 5862312 w 6884782"/>
              <a:gd name="connsiteY70567" fmla="*/ 4234293 h 5973007"/>
              <a:gd name="connsiteX70568" fmla="*/ 5860917 w 6884782"/>
              <a:gd name="connsiteY70568" fmla="*/ 4227891 h 5973007"/>
              <a:gd name="connsiteX70569" fmla="*/ 5862466 w 6884782"/>
              <a:gd name="connsiteY70569" fmla="*/ 4228407 h 5973007"/>
              <a:gd name="connsiteX70570" fmla="*/ 5861692 w 6884782"/>
              <a:gd name="connsiteY70570" fmla="*/ 4225723 h 5973007"/>
              <a:gd name="connsiteX70571" fmla="*/ 5857355 w 6884782"/>
              <a:gd name="connsiteY70571" fmla="*/ 4224484 h 5973007"/>
              <a:gd name="connsiteX70572" fmla="*/ 5857975 w 6884782"/>
              <a:gd name="connsiteY70572" fmla="*/ 4225207 h 5973007"/>
              <a:gd name="connsiteX70573" fmla="*/ 5858594 w 6884782"/>
              <a:gd name="connsiteY70573" fmla="*/ 4233467 h 5973007"/>
              <a:gd name="connsiteX70574" fmla="*/ 5857355 w 6884782"/>
              <a:gd name="connsiteY70574" fmla="*/ 4235636 h 5973007"/>
              <a:gd name="connsiteX70575" fmla="*/ 5858129 w 6884782"/>
              <a:gd name="connsiteY70575" fmla="*/ 4235532 h 5973007"/>
              <a:gd name="connsiteX70576" fmla="*/ 5860763 w 6884782"/>
              <a:gd name="connsiteY70576" fmla="*/ 4243999 h 5973007"/>
              <a:gd name="connsiteX70577" fmla="*/ 5855806 w 6884782"/>
              <a:gd name="connsiteY70577" fmla="*/ 4245238 h 5973007"/>
              <a:gd name="connsiteX70578" fmla="*/ 5856426 w 6884782"/>
              <a:gd name="connsiteY70578" fmla="*/ 4248749 h 5973007"/>
              <a:gd name="connsiteX70579" fmla="*/ 5852863 w 6884782"/>
              <a:gd name="connsiteY70579" fmla="*/ 4249265 h 5973007"/>
              <a:gd name="connsiteX70580" fmla="*/ 5851314 w 6884782"/>
              <a:gd name="connsiteY70580" fmla="*/ 4248542 h 5973007"/>
              <a:gd name="connsiteX70581" fmla="*/ 5851624 w 6884782"/>
              <a:gd name="connsiteY70581" fmla="*/ 4246477 h 5973007"/>
              <a:gd name="connsiteX70582" fmla="*/ 5852553 w 6884782"/>
              <a:gd name="connsiteY70582" fmla="*/ 4245548 h 5973007"/>
              <a:gd name="connsiteX70583" fmla="*/ 5846977 w 6884782"/>
              <a:gd name="connsiteY70583" fmla="*/ 4244722 h 5973007"/>
              <a:gd name="connsiteX70584" fmla="*/ 5853173 w 6884782"/>
              <a:gd name="connsiteY70584" fmla="*/ 4236048 h 5973007"/>
              <a:gd name="connsiteX70585" fmla="*/ 5856116 w 6884782"/>
              <a:gd name="connsiteY70585" fmla="*/ 4235739 h 5973007"/>
              <a:gd name="connsiteX70586" fmla="*/ 5849610 w 6884782"/>
              <a:gd name="connsiteY70586" fmla="*/ 4231196 h 5973007"/>
              <a:gd name="connsiteX70587" fmla="*/ 5841865 w 6884782"/>
              <a:gd name="connsiteY70587" fmla="*/ 4227272 h 5973007"/>
              <a:gd name="connsiteX70588" fmla="*/ 5842020 w 6884782"/>
              <a:gd name="connsiteY70588" fmla="*/ 4226756 h 5973007"/>
              <a:gd name="connsiteX70589" fmla="*/ 5834740 w 6884782"/>
              <a:gd name="connsiteY70589" fmla="*/ 4228717 h 5973007"/>
              <a:gd name="connsiteX70590" fmla="*/ 5829474 w 6884782"/>
              <a:gd name="connsiteY70590" fmla="*/ 4229337 h 5973007"/>
              <a:gd name="connsiteX70591" fmla="*/ 5829938 w 6884782"/>
              <a:gd name="connsiteY70591" fmla="*/ 4229647 h 5973007"/>
              <a:gd name="connsiteX70592" fmla="*/ 5831023 w 6884782"/>
              <a:gd name="connsiteY70592" fmla="*/ 4239146 h 5973007"/>
              <a:gd name="connsiteX70593" fmla="*/ 5825601 w 6884782"/>
              <a:gd name="connsiteY70593" fmla="*/ 4245135 h 5973007"/>
              <a:gd name="connsiteX70594" fmla="*/ 5827305 w 6884782"/>
              <a:gd name="connsiteY70594" fmla="*/ 4250608 h 5973007"/>
              <a:gd name="connsiteX70595" fmla="*/ 5826066 w 6884782"/>
              <a:gd name="connsiteY70595" fmla="*/ 4256390 h 5973007"/>
              <a:gd name="connsiteX70596" fmla="*/ 5829009 w 6884782"/>
              <a:gd name="connsiteY70596" fmla="*/ 4261243 h 5973007"/>
              <a:gd name="connsiteX70597" fmla="*/ 5825601 w 6884782"/>
              <a:gd name="connsiteY70597" fmla="*/ 4262689 h 5973007"/>
              <a:gd name="connsiteX70598" fmla="*/ 5823897 w 6884782"/>
              <a:gd name="connsiteY70598" fmla="*/ 4261656 h 5973007"/>
              <a:gd name="connsiteX70599" fmla="*/ 5818786 w 6884782"/>
              <a:gd name="connsiteY70599" fmla="*/ 4267748 h 5973007"/>
              <a:gd name="connsiteX70600" fmla="*/ 5809647 w 6884782"/>
              <a:gd name="connsiteY70600" fmla="*/ 4272911 h 5973007"/>
              <a:gd name="connsiteX70601" fmla="*/ 5799579 w 6884782"/>
              <a:gd name="connsiteY70601" fmla="*/ 4274150 h 5973007"/>
              <a:gd name="connsiteX70602" fmla="*/ 5797410 w 6884782"/>
              <a:gd name="connsiteY70602" fmla="*/ 4277971 h 5973007"/>
              <a:gd name="connsiteX70603" fmla="*/ 5779752 w 6884782"/>
              <a:gd name="connsiteY70603" fmla="*/ 4281378 h 5973007"/>
              <a:gd name="connsiteX70604" fmla="*/ 5767051 w 6884782"/>
              <a:gd name="connsiteY70604" fmla="*/ 4271672 h 5973007"/>
              <a:gd name="connsiteX70605" fmla="*/ 5767670 w 6884782"/>
              <a:gd name="connsiteY70605" fmla="*/ 4266406 h 5973007"/>
              <a:gd name="connsiteX70606" fmla="*/ 5775105 w 6884782"/>
              <a:gd name="connsiteY70606" fmla="*/ 4261243 h 5973007"/>
              <a:gd name="connsiteX70607" fmla="*/ 5773556 w 6884782"/>
              <a:gd name="connsiteY70607" fmla="*/ 4259075 h 5973007"/>
              <a:gd name="connsiteX70608" fmla="*/ 5770148 w 6884782"/>
              <a:gd name="connsiteY70608" fmla="*/ 4247200 h 5973007"/>
              <a:gd name="connsiteX70609" fmla="*/ 5771233 w 6884782"/>
              <a:gd name="connsiteY70609" fmla="*/ 4246477 h 5973007"/>
              <a:gd name="connsiteX70610" fmla="*/ 5771078 w 6884782"/>
              <a:gd name="connsiteY70610" fmla="*/ 4246374 h 5973007"/>
              <a:gd name="connsiteX70611" fmla="*/ 5774021 w 6884782"/>
              <a:gd name="connsiteY70611" fmla="*/ 4243380 h 5973007"/>
              <a:gd name="connsiteX70612" fmla="*/ 5774950 w 6884782"/>
              <a:gd name="connsiteY70612" fmla="*/ 4243690 h 5973007"/>
              <a:gd name="connsiteX70613" fmla="*/ 5784089 w 6884782"/>
              <a:gd name="connsiteY70613" fmla="*/ 4236874 h 5973007"/>
              <a:gd name="connsiteX70614" fmla="*/ 5813055 w 6884782"/>
              <a:gd name="connsiteY70614" fmla="*/ 4232538 h 5973007"/>
              <a:gd name="connsiteX70615" fmla="*/ 5815998 w 6884782"/>
              <a:gd name="connsiteY70615" fmla="*/ 4233983 h 5973007"/>
              <a:gd name="connsiteX70616" fmla="*/ 5816462 w 6884782"/>
              <a:gd name="connsiteY70616" fmla="*/ 4230679 h 5973007"/>
              <a:gd name="connsiteX70617" fmla="*/ 5816772 w 6884782"/>
              <a:gd name="connsiteY70617" fmla="*/ 4230473 h 5973007"/>
              <a:gd name="connsiteX70618" fmla="*/ 5811816 w 6884782"/>
              <a:gd name="connsiteY70618" fmla="*/ 4230886 h 5973007"/>
              <a:gd name="connsiteX70619" fmla="*/ 5811661 w 6884782"/>
              <a:gd name="connsiteY70619" fmla="*/ 4226652 h 5973007"/>
              <a:gd name="connsiteX70620" fmla="*/ 5812125 w 6884782"/>
              <a:gd name="connsiteY70620" fmla="*/ 4224174 h 5973007"/>
              <a:gd name="connsiteX70621" fmla="*/ 5811041 w 6884782"/>
              <a:gd name="connsiteY70621" fmla="*/ 4224174 h 5973007"/>
              <a:gd name="connsiteX70622" fmla="*/ 5809802 w 6884782"/>
              <a:gd name="connsiteY70622" fmla="*/ 4219321 h 5973007"/>
              <a:gd name="connsiteX70623" fmla="*/ 5810421 w 6884782"/>
              <a:gd name="connsiteY70623" fmla="*/ 4217978 h 5973007"/>
              <a:gd name="connsiteX70624" fmla="*/ 5806084 w 6884782"/>
              <a:gd name="connsiteY70624" fmla="*/ 4218289 h 5973007"/>
              <a:gd name="connsiteX70625" fmla="*/ 5802367 w 6884782"/>
              <a:gd name="connsiteY70625" fmla="*/ 4216740 h 5973007"/>
              <a:gd name="connsiteX70626" fmla="*/ 5801438 w 6884782"/>
              <a:gd name="connsiteY70626" fmla="*/ 4214881 h 5973007"/>
              <a:gd name="connsiteX70627" fmla="*/ 5800198 w 6884782"/>
              <a:gd name="connsiteY70627" fmla="*/ 4216533 h 5973007"/>
              <a:gd name="connsiteX70628" fmla="*/ 5795396 w 6884782"/>
              <a:gd name="connsiteY70628" fmla="*/ 4218598 h 5973007"/>
              <a:gd name="connsiteX70629" fmla="*/ 5789975 w 6884782"/>
              <a:gd name="connsiteY70629" fmla="*/ 4218082 h 5973007"/>
              <a:gd name="connsiteX70630" fmla="*/ 5793073 w 6884782"/>
              <a:gd name="connsiteY70630" fmla="*/ 4213126 h 5973007"/>
              <a:gd name="connsiteX70631" fmla="*/ 5800663 w 6884782"/>
              <a:gd name="connsiteY70631" fmla="*/ 4212403 h 5973007"/>
              <a:gd name="connsiteX70632" fmla="*/ 5801438 w 6884782"/>
              <a:gd name="connsiteY70632" fmla="*/ 4213745 h 5973007"/>
              <a:gd name="connsiteX70633" fmla="*/ 5802367 w 6884782"/>
              <a:gd name="connsiteY70633" fmla="*/ 4210131 h 5973007"/>
              <a:gd name="connsiteX70634" fmla="*/ 5813519 w 6884782"/>
              <a:gd name="connsiteY70634" fmla="*/ 4202697 h 5973007"/>
              <a:gd name="connsiteX70635" fmla="*/ 5814759 w 6884782"/>
              <a:gd name="connsiteY70635" fmla="*/ 4211680 h 5973007"/>
              <a:gd name="connsiteX70636" fmla="*/ 5813674 w 6884782"/>
              <a:gd name="connsiteY70636" fmla="*/ 4215707 h 5973007"/>
              <a:gd name="connsiteX70637" fmla="*/ 5813984 w 6884782"/>
              <a:gd name="connsiteY70637" fmla="*/ 4215707 h 5973007"/>
              <a:gd name="connsiteX70638" fmla="*/ 5817392 w 6884782"/>
              <a:gd name="connsiteY70638" fmla="*/ 4216946 h 5973007"/>
              <a:gd name="connsiteX70639" fmla="*/ 5820180 w 6884782"/>
              <a:gd name="connsiteY70639" fmla="*/ 4220870 h 5973007"/>
              <a:gd name="connsiteX70640" fmla="*/ 5834275 w 6884782"/>
              <a:gd name="connsiteY70640" fmla="*/ 4220354 h 5973007"/>
              <a:gd name="connsiteX70641" fmla="*/ 5838303 w 6884782"/>
              <a:gd name="connsiteY70641" fmla="*/ 4217566 h 5973007"/>
              <a:gd name="connsiteX70642" fmla="*/ 5841865 w 6884782"/>
              <a:gd name="connsiteY70642" fmla="*/ 4218598 h 5973007"/>
              <a:gd name="connsiteX70643" fmla="*/ 5841401 w 6884782"/>
              <a:gd name="connsiteY70643" fmla="*/ 4219940 h 5973007"/>
              <a:gd name="connsiteX70644" fmla="*/ 5844653 w 6884782"/>
              <a:gd name="connsiteY70644" fmla="*/ 4219631 h 5973007"/>
              <a:gd name="connsiteX70645" fmla="*/ 5851159 w 6884782"/>
              <a:gd name="connsiteY70645" fmla="*/ 4219837 h 5973007"/>
              <a:gd name="connsiteX70646" fmla="*/ 5850849 w 6884782"/>
              <a:gd name="connsiteY70646" fmla="*/ 4219321 h 5973007"/>
              <a:gd name="connsiteX70647" fmla="*/ 5850849 w 6884782"/>
              <a:gd name="connsiteY70647" fmla="*/ 4210854 h 5973007"/>
              <a:gd name="connsiteX70648" fmla="*/ 5850849 w 6884782"/>
              <a:gd name="connsiteY70648" fmla="*/ 4210647 h 5973007"/>
              <a:gd name="connsiteX70649" fmla="*/ 5847906 w 6884782"/>
              <a:gd name="connsiteY70649" fmla="*/ 4211577 h 5973007"/>
              <a:gd name="connsiteX70650" fmla="*/ 5844653 w 6884782"/>
              <a:gd name="connsiteY70650" fmla="*/ 4210028 h 5973007"/>
              <a:gd name="connsiteX70651" fmla="*/ 5843879 w 6884782"/>
              <a:gd name="connsiteY70651" fmla="*/ 4206930 h 5973007"/>
              <a:gd name="connsiteX70652" fmla="*/ 5848526 w 6884782"/>
              <a:gd name="connsiteY70652" fmla="*/ 4205381 h 5973007"/>
              <a:gd name="connsiteX70653" fmla="*/ 5848991 w 6884782"/>
              <a:gd name="connsiteY70653" fmla="*/ 4205485 h 5973007"/>
              <a:gd name="connsiteX70654" fmla="*/ 5848681 w 6884782"/>
              <a:gd name="connsiteY70654" fmla="*/ 4204659 h 5973007"/>
              <a:gd name="connsiteX70655" fmla="*/ 5846512 w 6884782"/>
              <a:gd name="connsiteY70655" fmla="*/ 4201664 h 5973007"/>
              <a:gd name="connsiteX70656" fmla="*/ 5846357 w 6884782"/>
              <a:gd name="connsiteY70656" fmla="*/ 4201768 h 5973007"/>
              <a:gd name="connsiteX70657" fmla="*/ 5844189 w 6884782"/>
              <a:gd name="connsiteY70657" fmla="*/ 4202180 h 5973007"/>
              <a:gd name="connsiteX70658" fmla="*/ 5842794 w 6884782"/>
              <a:gd name="connsiteY70658" fmla="*/ 4200941 h 5973007"/>
              <a:gd name="connsiteX70659" fmla="*/ 5843105 w 6884782"/>
              <a:gd name="connsiteY70659" fmla="*/ 4200219 h 5973007"/>
              <a:gd name="connsiteX70660" fmla="*/ 5839232 w 6884782"/>
              <a:gd name="connsiteY70660" fmla="*/ 4199702 h 5973007"/>
              <a:gd name="connsiteX70661" fmla="*/ 5836754 w 6884782"/>
              <a:gd name="connsiteY70661" fmla="*/ 4195985 h 5973007"/>
              <a:gd name="connsiteX70662" fmla="*/ 5837993 w 6884782"/>
              <a:gd name="connsiteY70662" fmla="*/ 4191029 h 5973007"/>
              <a:gd name="connsiteX70663" fmla="*/ 5838922 w 6884782"/>
              <a:gd name="connsiteY70663" fmla="*/ 4190616 h 5973007"/>
              <a:gd name="connsiteX70664" fmla="*/ 5838458 w 6884782"/>
              <a:gd name="connsiteY70664" fmla="*/ 4189893 h 5973007"/>
              <a:gd name="connsiteX70665" fmla="*/ 5836909 w 6884782"/>
              <a:gd name="connsiteY70665" fmla="*/ 4192681 h 5973007"/>
              <a:gd name="connsiteX70666" fmla="*/ 5833501 w 6884782"/>
              <a:gd name="connsiteY70666" fmla="*/ 4194333 h 5973007"/>
              <a:gd name="connsiteX70667" fmla="*/ 5832262 w 6884782"/>
              <a:gd name="connsiteY70667" fmla="*/ 4193197 h 5973007"/>
              <a:gd name="connsiteX70668" fmla="*/ 5831023 w 6884782"/>
              <a:gd name="connsiteY70668" fmla="*/ 4191442 h 5973007"/>
              <a:gd name="connsiteX70669" fmla="*/ 5830558 w 6884782"/>
              <a:gd name="connsiteY70669" fmla="*/ 4186589 h 5973007"/>
              <a:gd name="connsiteX70670" fmla="*/ 5833036 w 6884782"/>
              <a:gd name="connsiteY70670" fmla="*/ 4183491 h 5973007"/>
              <a:gd name="connsiteX70671" fmla="*/ 5834585 w 6884782"/>
              <a:gd name="connsiteY70671" fmla="*/ 4182665 h 5973007"/>
              <a:gd name="connsiteX70672" fmla="*/ 5835824 w 6884782"/>
              <a:gd name="connsiteY70672" fmla="*/ 4183388 h 5973007"/>
              <a:gd name="connsiteX70673" fmla="*/ 5836134 w 6884782"/>
              <a:gd name="connsiteY70673" fmla="*/ 4182872 h 5973007"/>
              <a:gd name="connsiteX70674" fmla="*/ 5838458 w 6884782"/>
              <a:gd name="connsiteY70674" fmla="*/ 4181426 h 5973007"/>
              <a:gd name="connsiteX70675" fmla="*/ 5839851 w 6884782"/>
              <a:gd name="connsiteY70675" fmla="*/ 4183078 h 5973007"/>
              <a:gd name="connsiteX70676" fmla="*/ 5840317 w 6884782"/>
              <a:gd name="connsiteY70676" fmla="*/ 4183698 h 5973007"/>
              <a:gd name="connsiteX70677" fmla="*/ 5839077 w 6884782"/>
              <a:gd name="connsiteY70677" fmla="*/ 4179567 h 5973007"/>
              <a:gd name="connsiteX70678" fmla="*/ 5833811 w 6884782"/>
              <a:gd name="connsiteY70678" fmla="*/ 4165111 h 5973007"/>
              <a:gd name="connsiteX70679" fmla="*/ 5831642 w 6884782"/>
              <a:gd name="connsiteY70679" fmla="*/ 4158606 h 5973007"/>
              <a:gd name="connsiteX70680" fmla="*/ 5830558 w 6884782"/>
              <a:gd name="connsiteY70680" fmla="*/ 4158916 h 5973007"/>
              <a:gd name="connsiteX70681" fmla="*/ 5829164 w 6884782"/>
              <a:gd name="connsiteY70681" fmla="*/ 4158297 h 5973007"/>
              <a:gd name="connsiteX70682" fmla="*/ 5829164 w 6884782"/>
              <a:gd name="connsiteY70682" fmla="*/ 4156025 h 5973007"/>
              <a:gd name="connsiteX70683" fmla="*/ 5829783 w 6884782"/>
              <a:gd name="connsiteY70683" fmla="*/ 4154063 h 5973007"/>
              <a:gd name="connsiteX70684" fmla="*/ 5830248 w 6884782"/>
              <a:gd name="connsiteY70684" fmla="*/ 4153960 h 5973007"/>
              <a:gd name="connsiteX70685" fmla="*/ 5829164 w 6884782"/>
              <a:gd name="connsiteY70685" fmla="*/ 4150862 h 5973007"/>
              <a:gd name="connsiteX70686" fmla="*/ 5824982 w 6884782"/>
              <a:gd name="connsiteY70686" fmla="*/ 4135993 h 5973007"/>
              <a:gd name="connsiteX70687" fmla="*/ 5819715 w 6884782"/>
              <a:gd name="connsiteY70687" fmla="*/ 4121641 h 5973007"/>
              <a:gd name="connsiteX70688" fmla="*/ 5814139 w 6884782"/>
              <a:gd name="connsiteY70688" fmla="*/ 4107907 h 5973007"/>
              <a:gd name="connsiteX70689" fmla="*/ 5807943 w 6884782"/>
              <a:gd name="connsiteY70689" fmla="*/ 4094588 h 5973007"/>
              <a:gd name="connsiteX70690" fmla="*/ 5803606 w 6884782"/>
              <a:gd name="connsiteY70690" fmla="*/ 4087979 h 5973007"/>
              <a:gd name="connsiteX70691" fmla="*/ 5802676 w 6884782"/>
              <a:gd name="connsiteY70691" fmla="*/ 4086224 h 5973007"/>
              <a:gd name="connsiteX70692" fmla="*/ 5801283 w 6884782"/>
              <a:gd name="connsiteY70692" fmla="*/ 4077550 h 5973007"/>
              <a:gd name="connsiteX70693" fmla="*/ 5800663 w 6884782"/>
              <a:gd name="connsiteY70693" fmla="*/ 4077344 h 5973007"/>
              <a:gd name="connsiteX70694" fmla="*/ 5800198 w 6884782"/>
              <a:gd name="connsiteY70694" fmla="*/ 4076414 h 5973007"/>
              <a:gd name="connsiteX70695" fmla="*/ 5798494 w 6884782"/>
              <a:gd name="connsiteY70695" fmla="*/ 4075175 h 5973007"/>
              <a:gd name="connsiteX70696" fmla="*/ 5795396 w 6884782"/>
              <a:gd name="connsiteY70696" fmla="*/ 4077963 h 5973007"/>
              <a:gd name="connsiteX70697" fmla="*/ 5796016 w 6884782"/>
              <a:gd name="connsiteY70697" fmla="*/ 4078170 h 5973007"/>
              <a:gd name="connsiteX70698" fmla="*/ 5795861 w 6884782"/>
              <a:gd name="connsiteY70698" fmla="*/ 4078789 h 5973007"/>
              <a:gd name="connsiteX70699" fmla="*/ 5796636 w 6884782"/>
              <a:gd name="connsiteY70699" fmla="*/ 4083539 h 5973007"/>
              <a:gd name="connsiteX70700" fmla="*/ 5799888 w 6884782"/>
              <a:gd name="connsiteY70700" fmla="*/ 4087773 h 5973007"/>
              <a:gd name="connsiteX70701" fmla="*/ 5798340 w 6884782"/>
              <a:gd name="connsiteY70701" fmla="*/ 4091490 h 5973007"/>
              <a:gd name="connsiteX70702" fmla="*/ 5795087 w 6884782"/>
              <a:gd name="connsiteY70702" fmla="*/ 4090870 h 5973007"/>
              <a:gd name="connsiteX70703" fmla="*/ 5791524 w 6884782"/>
              <a:gd name="connsiteY70703" fmla="*/ 4083745 h 5973007"/>
              <a:gd name="connsiteX70704" fmla="*/ 5792298 w 6884782"/>
              <a:gd name="connsiteY70704" fmla="*/ 4081784 h 5973007"/>
              <a:gd name="connsiteX70705" fmla="*/ 5793073 w 6884782"/>
              <a:gd name="connsiteY70705" fmla="*/ 4081577 h 5973007"/>
              <a:gd name="connsiteX70706" fmla="*/ 5792763 w 6884782"/>
              <a:gd name="connsiteY70706" fmla="*/ 4079409 h 5973007"/>
              <a:gd name="connsiteX70707" fmla="*/ 5792918 w 6884782"/>
              <a:gd name="connsiteY70707" fmla="*/ 4078686 h 5973007"/>
              <a:gd name="connsiteX70708" fmla="*/ 5792298 w 6884782"/>
              <a:gd name="connsiteY70708" fmla="*/ 4078479 h 5973007"/>
              <a:gd name="connsiteX70709" fmla="*/ 5791834 w 6884782"/>
              <a:gd name="connsiteY70709" fmla="*/ 4077654 h 5973007"/>
              <a:gd name="connsiteX70710" fmla="*/ 5791059 w 6884782"/>
              <a:gd name="connsiteY70710" fmla="*/ 4075898 h 5973007"/>
              <a:gd name="connsiteX70711" fmla="*/ 5788891 w 6884782"/>
              <a:gd name="connsiteY70711" fmla="*/ 4073627 h 5973007"/>
              <a:gd name="connsiteX70712" fmla="*/ 5783624 w 6884782"/>
              <a:gd name="connsiteY70712" fmla="*/ 4073833 h 5973007"/>
              <a:gd name="connsiteX70713" fmla="*/ 5766276 w 6884782"/>
              <a:gd name="connsiteY70713" fmla="*/ 4068257 h 5973007"/>
              <a:gd name="connsiteX70714" fmla="*/ 5754814 w 6884782"/>
              <a:gd name="connsiteY70714" fmla="*/ 4048845 h 5973007"/>
              <a:gd name="connsiteX70715" fmla="*/ 5773091 w 6884782"/>
              <a:gd name="connsiteY70715" fmla="*/ 4006820 h 5973007"/>
              <a:gd name="connsiteX70716" fmla="*/ 5778668 w 6884782"/>
              <a:gd name="connsiteY70716" fmla="*/ 4005477 h 5973007"/>
              <a:gd name="connsiteX70717" fmla="*/ 5777893 w 6884782"/>
              <a:gd name="connsiteY70717" fmla="*/ 3994842 h 5973007"/>
              <a:gd name="connsiteX70718" fmla="*/ 5777893 w 6884782"/>
              <a:gd name="connsiteY70718" fmla="*/ 3993603 h 5973007"/>
              <a:gd name="connsiteX70719" fmla="*/ 5775725 w 6884782"/>
              <a:gd name="connsiteY70719" fmla="*/ 3992983 h 5973007"/>
              <a:gd name="connsiteX70720" fmla="*/ 5775570 w 6884782"/>
              <a:gd name="connsiteY70720" fmla="*/ 3993809 h 5973007"/>
              <a:gd name="connsiteX70721" fmla="*/ 5775260 w 6884782"/>
              <a:gd name="connsiteY70721" fmla="*/ 3992777 h 5973007"/>
              <a:gd name="connsiteX70722" fmla="*/ 5773866 w 6884782"/>
              <a:gd name="connsiteY70722" fmla="*/ 3992467 h 5973007"/>
              <a:gd name="connsiteX70723" fmla="*/ 5765966 w 6884782"/>
              <a:gd name="connsiteY70723" fmla="*/ 3985652 h 5973007"/>
              <a:gd name="connsiteX70724" fmla="*/ 5766276 w 6884782"/>
              <a:gd name="connsiteY70724" fmla="*/ 3983380 h 5973007"/>
              <a:gd name="connsiteX70725" fmla="*/ 5765811 w 6884782"/>
              <a:gd name="connsiteY70725" fmla="*/ 3984723 h 5973007"/>
              <a:gd name="connsiteX70726" fmla="*/ 5736381 w 6884782"/>
              <a:gd name="connsiteY70726" fmla="*/ 3999798 h 5973007"/>
              <a:gd name="connsiteX70727" fmla="*/ 5726526 w 6884782"/>
              <a:gd name="connsiteY70727" fmla="*/ 3992983 h 5973007"/>
              <a:gd name="connsiteX70728" fmla="*/ 5720540 w 6884782"/>
              <a:gd name="connsiteY70728" fmla="*/ 3992368 h 5973007"/>
              <a:gd name="connsiteX70729" fmla="*/ 5718744 w 6884782"/>
              <a:gd name="connsiteY70729" fmla="*/ 3993653 h 5973007"/>
              <a:gd name="connsiteX70730" fmla="*/ 5702373 w 6884782"/>
              <a:gd name="connsiteY70730" fmla="*/ 4001840 h 5973007"/>
              <a:gd name="connsiteX70731" fmla="*/ 5713805 w 6884782"/>
              <a:gd name="connsiteY70731" fmla="*/ 4003657 h 5973007"/>
              <a:gd name="connsiteX70732" fmla="*/ 5726623 w 6884782"/>
              <a:gd name="connsiteY70732" fmla="*/ 4011466 h 5973007"/>
              <a:gd name="connsiteX70733" fmla="*/ 5723680 w 6884782"/>
              <a:gd name="connsiteY70733" fmla="*/ 4019107 h 5973007"/>
              <a:gd name="connsiteX70734" fmla="*/ 5711172 w 6884782"/>
              <a:gd name="connsiteY70734" fmla="*/ 4010305 h 5973007"/>
              <a:gd name="connsiteX70735" fmla="*/ 5701775 w 6884782"/>
              <a:gd name="connsiteY70735" fmla="*/ 4002140 h 5973007"/>
              <a:gd name="connsiteX70736" fmla="*/ 5694204 w 6884782"/>
              <a:gd name="connsiteY70736" fmla="*/ 4005926 h 5973007"/>
              <a:gd name="connsiteX70737" fmla="*/ 5696263 w 6884782"/>
              <a:gd name="connsiteY70737" fmla="*/ 4005374 h 5973007"/>
              <a:gd name="connsiteX70738" fmla="*/ 5696883 w 6884782"/>
              <a:gd name="connsiteY70738" fmla="*/ 4009711 h 5973007"/>
              <a:gd name="connsiteX70739" fmla="*/ 5692391 w 6884782"/>
              <a:gd name="connsiteY70739" fmla="*/ 4012086 h 5973007"/>
              <a:gd name="connsiteX70740" fmla="*/ 5689602 w 6884782"/>
              <a:gd name="connsiteY70740" fmla="*/ 4012396 h 5973007"/>
              <a:gd name="connsiteX70741" fmla="*/ 5687124 w 6884782"/>
              <a:gd name="connsiteY70741" fmla="*/ 4011879 h 5973007"/>
              <a:gd name="connsiteX70742" fmla="*/ 5688078 w 6884782"/>
              <a:gd name="connsiteY70742" fmla="*/ 4008990 h 5973007"/>
              <a:gd name="connsiteX70743" fmla="*/ 5685512 w 6884782"/>
              <a:gd name="connsiteY70743" fmla="*/ 4010273 h 5973007"/>
              <a:gd name="connsiteX70744" fmla="*/ 5686834 w 6884782"/>
              <a:gd name="connsiteY70744" fmla="*/ 4013622 h 5973007"/>
              <a:gd name="connsiteX70745" fmla="*/ 5684026 w 6884782"/>
              <a:gd name="connsiteY70745" fmla="*/ 4020759 h 5973007"/>
              <a:gd name="connsiteX70746" fmla="*/ 5679360 w 6884782"/>
              <a:gd name="connsiteY70746" fmla="*/ 4018991 h 5973007"/>
              <a:gd name="connsiteX70747" fmla="*/ 5675993 w 6884782"/>
              <a:gd name="connsiteY70747" fmla="*/ 4015034 h 5973007"/>
              <a:gd name="connsiteX70748" fmla="*/ 5668143 w 6884782"/>
              <a:gd name="connsiteY70748" fmla="*/ 4018960 h 5973007"/>
              <a:gd name="connsiteX70749" fmla="*/ 5664015 w 6884782"/>
              <a:gd name="connsiteY70749" fmla="*/ 4019768 h 5973007"/>
              <a:gd name="connsiteX70750" fmla="*/ 5664664 w 6884782"/>
              <a:gd name="connsiteY70750" fmla="*/ 4022721 h 5973007"/>
              <a:gd name="connsiteX70751" fmla="*/ 5663890 w 6884782"/>
              <a:gd name="connsiteY70751" fmla="*/ 4026748 h 5973007"/>
              <a:gd name="connsiteX70752" fmla="*/ 5664044 w 6884782"/>
              <a:gd name="connsiteY70752" fmla="*/ 4026851 h 5973007"/>
              <a:gd name="connsiteX70753" fmla="*/ 5663580 w 6884782"/>
              <a:gd name="connsiteY70753" fmla="*/ 4033047 h 5973007"/>
              <a:gd name="connsiteX70754" fmla="*/ 5661566 w 6884782"/>
              <a:gd name="connsiteY70754" fmla="*/ 4031808 h 5973007"/>
              <a:gd name="connsiteX70755" fmla="*/ 5659397 w 6884782"/>
              <a:gd name="connsiteY70755" fmla="*/ 4034802 h 5973007"/>
              <a:gd name="connsiteX70756" fmla="*/ 5656455 w 6884782"/>
              <a:gd name="connsiteY70756" fmla="*/ 4036661 h 5973007"/>
              <a:gd name="connsiteX70757" fmla="*/ 5655680 w 6884782"/>
              <a:gd name="connsiteY70757" fmla="*/ 4039036 h 5973007"/>
              <a:gd name="connsiteX70758" fmla="*/ 5657849 w 6884782"/>
              <a:gd name="connsiteY70758" fmla="*/ 4038519 h 5973007"/>
              <a:gd name="connsiteX70759" fmla="*/ 5660792 w 6884782"/>
              <a:gd name="connsiteY70759" fmla="*/ 4040068 h 5973007"/>
              <a:gd name="connsiteX70760" fmla="*/ 5655370 w 6884782"/>
              <a:gd name="connsiteY70760" fmla="*/ 4046780 h 5973007"/>
              <a:gd name="connsiteX70761" fmla="*/ 5652737 w 6884782"/>
              <a:gd name="connsiteY70761" fmla="*/ 4044095 h 5973007"/>
              <a:gd name="connsiteX70762" fmla="*/ 5653357 w 6884782"/>
              <a:gd name="connsiteY70762" fmla="*/ 4042856 h 5973007"/>
              <a:gd name="connsiteX70763" fmla="*/ 5650723 w 6884782"/>
              <a:gd name="connsiteY70763" fmla="*/ 4046676 h 5973007"/>
              <a:gd name="connsiteX70764" fmla="*/ 5637402 w 6884782"/>
              <a:gd name="connsiteY70764" fmla="*/ 4051633 h 5973007"/>
              <a:gd name="connsiteX70765" fmla="*/ 5629347 w 6884782"/>
              <a:gd name="connsiteY70765" fmla="*/ 4048329 h 5973007"/>
              <a:gd name="connsiteX70766" fmla="*/ 5625165 w 6884782"/>
              <a:gd name="connsiteY70766" fmla="*/ 4043166 h 5973007"/>
              <a:gd name="connsiteX70767" fmla="*/ 5623461 w 6884782"/>
              <a:gd name="connsiteY70767" fmla="*/ 4038416 h 5973007"/>
              <a:gd name="connsiteX70768" fmla="*/ 5622222 w 6884782"/>
              <a:gd name="connsiteY70768" fmla="*/ 4037590 h 5973007"/>
              <a:gd name="connsiteX70769" fmla="*/ 5622997 w 6884782"/>
              <a:gd name="connsiteY70769" fmla="*/ 4036867 h 5973007"/>
              <a:gd name="connsiteX70770" fmla="*/ 5621603 w 6884782"/>
              <a:gd name="connsiteY70770" fmla="*/ 4032840 h 5973007"/>
              <a:gd name="connsiteX70771" fmla="*/ 5619912 w 6884782"/>
              <a:gd name="connsiteY70771" fmla="*/ 4028408 h 5973007"/>
              <a:gd name="connsiteX70772" fmla="*/ 5616464 w 6884782"/>
              <a:gd name="connsiteY70772" fmla="*/ 4029083 h 5973007"/>
              <a:gd name="connsiteX70773" fmla="*/ 5611938 w 6884782"/>
              <a:gd name="connsiteY70773" fmla="*/ 4029083 h 5973007"/>
              <a:gd name="connsiteX70774" fmla="*/ 5613703 w 6884782"/>
              <a:gd name="connsiteY70774" fmla="*/ 4030672 h 5973007"/>
              <a:gd name="connsiteX70775" fmla="*/ 5605803 w 6884782"/>
              <a:gd name="connsiteY70775" fmla="*/ 4045231 h 5973007"/>
              <a:gd name="connsiteX70776" fmla="*/ 5604719 w 6884782"/>
              <a:gd name="connsiteY70776" fmla="*/ 4045541 h 5973007"/>
              <a:gd name="connsiteX70777" fmla="*/ 5603945 w 6884782"/>
              <a:gd name="connsiteY70777" fmla="*/ 4046470 h 5973007"/>
              <a:gd name="connsiteX70778" fmla="*/ 5603945 w 6884782"/>
              <a:gd name="connsiteY70778" fmla="*/ 4046676 h 5973007"/>
              <a:gd name="connsiteX70779" fmla="*/ 5604100 w 6884782"/>
              <a:gd name="connsiteY70779" fmla="*/ 4047503 h 5973007"/>
              <a:gd name="connsiteX70780" fmla="*/ 5602396 w 6884782"/>
              <a:gd name="connsiteY70780" fmla="*/ 4050600 h 5973007"/>
              <a:gd name="connsiteX70781" fmla="*/ 5601466 w 6884782"/>
              <a:gd name="connsiteY70781" fmla="*/ 4050910 h 5973007"/>
              <a:gd name="connsiteX70782" fmla="*/ 5600227 w 6884782"/>
              <a:gd name="connsiteY70782" fmla="*/ 4050394 h 5973007"/>
              <a:gd name="connsiteX70783" fmla="*/ 5597129 w 6884782"/>
              <a:gd name="connsiteY70783" fmla="*/ 4046161 h 5973007"/>
              <a:gd name="connsiteX70784" fmla="*/ 5581949 w 6884782"/>
              <a:gd name="connsiteY70784" fmla="*/ 4046161 h 5973007"/>
              <a:gd name="connsiteX70785" fmla="*/ 5581485 w 6884782"/>
              <a:gd name="connsiteY70785" fmla="*/ 4037487 h 5973007"/>
              <a:gd name="connsiteX70786" fmla="*/ 5596045 w 6884782"/>
              <a:gd name="connsiteY70786" fmla="*/ 4032221 h 5973007"/>
              <a:gd name="connsiteX70787" fmla="*/ 5596200 w 6884782"/>
              <a:gd name="connsiteY70787" fmla="*/ 4033047 h 5973007"/>
              <a:gd name="connsiteX70788" fmla="*/ 5601001 w 6884782"/>
              <a:gd name="connsiteY70788" fmla="*/ 4031085 h 5973007"/>
              <a:gd name="connsiteX70789" fmla="*/ 5601466 w 6884782"/>
              <a:gd name="connsiteY70789" fmla="*/ 4031808 h 5973007"/>
              <a:gd name="connsiteX70790" fmla="*/ 5601931 w 6884782"/>
              <a:gd name="connsiteY70790" fmla="*/ 4031808 h 5973007"/>
              <a:gd name="connsiteX70791" fmla="*/ 5604247 w 6884782"/>
              <a:gd name="connsiteY70791" fmla="*/ 4029083 h 5973007"/>
              <a:gd name="connsiteX70792" fmla="*/ 5564410 w 6884782"/>
              <a:gd name="connsiteY70792" fmla="*/ 4029083 h 5973007"/>
              <a:gd name="connsiteX70793" fmla="*/ 5569228 w 6884782"/>
              <a:gd name="connsiteY70793" fmla="*/ 4038597 h 5973007"/>
              <a:gd name="connsiteX70794" fmla="*/ 5572036 w 6884782"/>
              <a:gd name="connsiteY70794" fmla="*/ 4056486 h 5973007"/>
              <a:gd name="connsiteX70795" fmla="*/ 5562278 w 6884782"/>
              <a:gd name="connsiteY70795" fmla="*/ 4075072 h 5973007"/>
              <a:gd name="connsiteX70796" fmla="*/ 5538579 w 6884782"/>
              <a:gd name="connsiteY70796" fmla="*/ 4087050 h 5973007"/>
              <a:gd name="connsiteX70797" fmla="*/ 5524793 w 6884782"/>
              <a:gd name="connsiteY70797" fmla="*/ 4082300 h 5973007"/>
              <a:gd name="connsiteX70798" fmla="*/ 5517357 w 6884782"/>
              <a:gd name="connsiteY70798" fmla="*/ 4079719 h 5973007"/>
              <a:gd name="connsiteX70799" fmla="*/ 5515654 w 6884782"/>
              <a:gd name="connsiteY70799" fmla="*/ 4083023 h 5973007"/>
              <a:gd name="connsiteX70800" fmla="*/ 5513640 w 6884782"/>
              <a:gd name="connsiteY70800" fmla="*/ 4078479 h 5973007"/>
              <a:gd name="connsiteX70801" fmla="*/ 5511007 w 6884782"/>
              <a:gd name="connsiteY70801" fmla="*/ 4077550 h 5973007"/>
              <a:gd name="connsiteX70802" fmla="*/ 5504501 w 6884782"/>
              <a:gd name="connsiteY70802" fmla="*/ 4060410 h 5973007"/>
              <a:gd name="connsiteX70803" fmla="*/ 5503572 w 6884782"/>
              <a:gd name="connsiteY70803" fmla="*/ 4057622 h 5973007"/>
              <a:gd name="connsiteX70804" fmla="*/ 5502178 w 6884782"/>
              <a:gd name="connsiteY70804" fmla="*/ 4059687 h 5973007"/>
              <a:gd name="connsiteX70805" fmla="*/ 5496292 w 6884782"/>
              <a:gd name="connsiteY70805" fmla="*/ 4039139 h 5973007"/>
              <a:gd name="connsiteX70806" fmla="*/ 5500629 w 6884782"/>
              <a:gd name="connsiteY70806" fmla="*/ 4039242 h 5973007"/>
              <a:gd name="connsiteX70807" fmla="*/ 5502488 w 6884782"/>
              <a:gd name="connsiteY70807" fmla="*/ 4043476 h 5973007"/>
              <a:gd name="connsiteX70808" fmla="*/ 5502643 w 6884782"/>
              <a:gd name="connsiteY70808" fmla="*/ 4042340 h 5973007"/>
              <a:gd name="connsiteX70809" fmla="*/ 5515654 w 6884782"/>
              <a:gd name="connsiteY70809" fmla="*/ 4024064 h 5973007"/>
              <a:gd name="connsiteX70810" fmla="*/ 5530549 w 6884782"/>
              <a:gd name="connsiteY70810" fmla="*/ 4019730 h 5973007"/>
              <a:gd name="connsiteX70811" fmla="*/ 5513115 w 6884782"/>
              <a:gd name="connsiteY70811" fmla="*/ 4014812 h 5973007"/>
              <a:gd name="connsiteX70812" fmla="*/ 5508374 w 6884782"/>
              <a:gd name="connsiteY70812" fmla="*/ 4018281 h 5973007"/>
              <a:gd name="connsiteX70813" fmla="*/ 5500474 w 6884782"/>
              <a:gd name="connsiteY70813" fmla="*/ 4013841 h 5973007"/>
              <a:gd name="connsiteX70814" fmla="*/ 5505624 w 6884782"/>
              <a:gd name="connsiteY70814" fmla="*/ 4011154 h 5973007"/>
              <a:gd name="connsiteX70815" fmla="*/ 5454969 w 6884782"/>
              <a:gd name="connsiteY70815" fmla="*/ 3978467 h 5973007"/>
              <a:gd name="connsiteX70816" fmla="*/ 5431283 w 6884782"/>
              <a:gd name="connsiteY70816" fmla="*/ 3970875 h 5973007"/>
              <a:gd name="connsiteX70817" fmla="*/ 5427761 w 6884782"/>
              <a:gd name="connsiteY70817" fmla="*/ 3971235 h 5973007"/>
              <a:gd name="connsiteX70818" fmla="*/ 5425969 w 6884782"/>
              <a:gd name="connsiteY70818" fmla="*/ 3971713 h 5973007"/>
              <a:gd name="connsiteX70819" fmla="*/ 5425802 w 6884782"/>
              <a:gd name="connsiteY70819" fmla="*/ 3971435 h 5973007"/>
              <a:gd name="connsiteX70820" fmla="*/ 5421307 w 6884782"/>
              <a:gd name="connsiteY70820" fmla="*/ 3971894 h 5973007"/>
              <a:gd name="connsiteX70821" fmla="*/ 5414507 w 6884782"/>
              <a:gd name="connsiteY70821" fmla="*/ 3976359 h 5973007"/>
              <a:gd name="connsiteX70822" fmla="*/ 5416009 w 6884782"/>
              <a:gd name="connsiteY70822" fmla="*/ 3972436 h 5973007"/>
              <a:gd name="connsiteX70823" fmla="*/ 5410617 w 6884782"/>
              <a:gd name="connsiteY70823" fmla="*/ 3972987 h 5973007"/>
              <a:gd name="connsiteX70824" fmla="*/ 5406297 w 6884782"/>
              <a:gd name="connsiteY70824" fmla="*/ 3978011 h 5973007"/>
              <a:gd name="connsiteX70825" fmla="*/ 5403088 w 6884782"/>
              <a:gd name="connsiteY70825" fmla="*/ 3974414 h 5973007"/>
              <a:gd name="connsiteX70826" fmla="*/ 5380681 w 6884782"/>
              <a:gd name="connsiteY70826" fmla="*/ 3980998 h 5973007"/>
              <a:gd name="connsiteX70827" fmla="*/ 5366310 w 6884782"/>
              <a:gd name="connsiteY70827" fmla="*/ 3988036 h 5973007"/>
              <a:gd name="connsiteX70828" fmla="*/ 5366334 w 6884782"/>
              <a:gd name="connsiteY70828" fmla="*/ 3988027 h 5973007"/>
              <a:gd name="connsiteX70829" fmla="*/ 5368038 w 6884782"/>
              <a:gd name="connsiteY70829" fmla="*/ 3990505 h 5973007"/>
              <a:gd name="connsiteX70830" fmla="*/ 5368812 w 6884782"/>
              <a:gd name="connsiteY70830" fmla="*/ 3989989 h 5973007"/>
              <a:gd name="connsiteX70831" fmla="*/ 5372529 w 6884782"/>
              <a:gd name="connsiteY70831" fmla="*/ 3988853 h 5973007"/>
              <a:gd name="connsiteX70832" fmla="*/ 5372374 w 6884782"/>
              <a:gd name="connsiteY70832" fmla="*/ 3988440 h 5973007"/>
              <a:gd name="connsiteX70833" fmla="*/ 5373149 w 6884782"/>
              <a:gd name="connsiteY70833" fmla="*/ 3985962 h 5973007"/>
              <a:gd name="connsiteX70834" fmla="*/ 5379965 w 6884782"/>
              <a:gd name="connsiteY70834" fmla="*/ 3984620 h 5973007"/>
              <a:gd name="connsiteX70835" fmla="*/ 5384147 w 6884782"/>
              <a:gd name="connsiteY70835" fmla="*/ 3983071 h 5973007"/>
              <a:gd name="connsiteX70836" fmla="*/ 5379190 w 6884782"/>
              <a:gd name="connsiteY70836" fmla="*/ 3986272 h 5973007"/>
              <a:gd name="connsiteX70837" fmla="*/ 5378416 w 6884782"/>
              <a:gd name="connsiteY70837" fmla="*/ 3988853 h 5973007"/>
              <a:gd name="connsiteX70838" fmla="*/ 5376712 w 6884782"/>
              <a:gd name="connsiteY70838" fmla="*/ 3989576 h 5973007"/>
              <a:gd name="connsiteX70839" fmla="*/ 5377021 w 6884782"/>
              <a:gd name="connsiteY70839" fmla="*/ 3990608 h 5973007"/>
              <a:gd name="connsiteX70840" fmla="*/ 5378261 w 6884782"/>
              <a:gd name="connsiteY70840" fmla="*/ 3992983 h 5973007"/>
              <a:gd name="connsiteX70841" fmla="*/ 5372220 w 6884782"/>
              <a:gd name="connsiteY70841" fmla="*/ 3995048 h 5973007"/>
              <a:gd name="connsiteX70842" fmla="*/ 5369432 w 6884782"/>
              <a:gd name="connsiteY70842" fmla="*/ 3995462 h 5973007"/>
              <a:gd name="connsiteX70843" fmla="*/ 5369432 w 6884782"/>
              <a:gd name="connsiteY70843" fmla="*/ 3995771 h 5973007"/>
              <a:gd name="connsiteX70844" fmla="*/ 5366954 w 6884782"/>
              <a:gd name="connsiteY70844" fmla="*/ 4000418 h 5973007"/>
              <a:gd name="connsiteX70845" fmla="*/ 5365559 w 6884782"/>
              <a:gd name="connsiteY70845" fmla="*/ 4001244 h 5973007"/>
              <a:gd name="connsiteX70846" fmla="*/ 5363855 w 6884782"/>
              <a:gd name="connsiteY70846" fmla="*/ 4011363 h 5973007"/>
              <a:gd name="connsiteX70847" fmla="*/ 5356421 w 6884782"/>
              <a:gd name="connsiteY70847" fmla="*/ 4009298 h 5973007"/>
              <a:gd name="connsiteX70848" fmla="*/ 5356575 w 6884782"/>
              <a:gd name="connsiteY70848" fmla="*/ 4003309 h 5973007"/>
              <a:gd name="connsiteX70849" fmla="*/ 5351928 w 6884782"/>
              <a:gd name="connsiteY70849" fmla="*/ 4000005 h 5973007"/>
              <a:gd name="connsiteX70850" fmla="*/ 5356602 w 6884782"/>
              <a:gd name="connsiteY70850" fmla="*/ 3992790 h 5973007"/>
              <a:gd name="connsiteX70851" fmla="*/ 5354841 w 6884782"/>
              <a:gd name="connsiteY70851" fmla="*/ 3993653 h 5973007"/>
              <a:gd name="connsiteX70852" fmla="*/ 5346083 w 6884782"/>
              <a:gd name="connsiteY70852" fmla="*/ 3996947 h 5973007"/>
              <a:gd name="connsiteX70853" fmla="*/ 5346294 w 6884782"/>
              <a:gd name="connsiteY70853" fmla="*/ 3997062 h 5973007"/>
              <a:gd name="connsiteX70854" fmla="*/ 5352548 w 6884782"/>
              <a:gd name="connsiteY70854" fmla="*/ 4007233 h 5973007"/>
              <a:gd name="connsiteX70855" fmla="*/ 5340621 w 6884782"/>
              <a:gd name="connsiteY70855" fmla="*/ 4001347 h 5973007"/>
              <a:gd name="connsiteX70856" fmla="*/ 5339248 w 6884782"/>
              <a:gd name="connsiteY70856" fmla="*/ 3999517 h 5973007"/>
              <a:gd name="connsiteX70857" fmla="*/ 5337430 w 6884782"/>
              <a:gd name="connsiteY70857" fmla="*/ 4000201 h 5973007"/>
              <a:gd name="connsiteX70858" fmla="*/ 5337213 w 6884782"/>
              <a:gd name="connsiteY70858" fmla="*/ 4000418 h 5973007"/>
              <a:gd name="connsiteX70859" fmla="*/ 5337833 w 6884782"/>
              <a:gd name="connsiteY70859" fmla="*/ 4000418 h 5973007"/>
              <a:gd name="connsiteX70860" fmla="*/ 5334425 w 6884782"/>
              <a:gd name="connsiteY70860" fmla="*/ 4004651 h 5973007"/>
              <a:gd name="connsiteX70861" fmla="*/ 5334115 w 6884782"/>
              <a:gd name="connsiteY70861" fmla="*/ 4005890 h 5973007"/>
              <a:gd name="connsiteX70862" fmla="*/ 5332721 w 6884782"/>
              <a:gd name="connsiteY70862" fmla="*/ 4010021 h 5973007"/>
              <a:gd name="connsiteX70863" fmla="*/ 5328849 w 6884782"/>
              <a:gd name="connsiteY70863" fmla="*/ 4008472 h 5973007"/>
              <a:gd name="connsiteX70864" fmla="*/ 5328075 w 6884782"/>
              <a:gd name="connsiteY70864" fmla="*/ 4008988 h 5973007"/>
              <a:gd name="connsiteX70865" fmla="*/ 5316922 w 6884782"/>
              <a:gd name="connsiteY70865" fmla="*/ 4010847 h 5973007"/>
              <a:gd name="connsiteX70866" fmla="*/ 5319843 w 6884782"/>
              <a:gd name="connsiteY70866" fmla="*/ 4006877 h 5973007"/>
              <a:gd name="connsiteX70867" fmla="*/ 5304063 w 6884782"/>
              <a:gd name="connsiteY70867" fmla="*/ 4012933 h 5973007"/>
              <a:gd name="connsiteX70868" fmla="*/ 5307067 w 6884782"/>
              <a:gd name="connsiteY70868" fmla="*/ 4018359 h 5973007"/>
              <a:gd name="connsiteX70869" fmla="*/ 5301587 w 6884782"/>
              <a:gd name="connsiteY70869" fmla="*/ 4023754 h 5973007"/>
              <a:gd name="connsiteX70870" fmla="*/ 5298063 w 6884782"/>
              <a:gd name="connsiteY70870" fmla="*/ 4018087 h 5973007"/>
              <a:gd name="connsiteX70871" fmla="*/ 5297644 w 6884782"/>
              <a:gd name="connsiteY70871" fmla="*/ 4015397 h 5973007"/>
              <a:gd name="connsiteX70872" fmla="*/ 5272055 w 6884782"/>
              <a:gd name="connsiteY70872" fmla="*/ 4025217 h 5973007"/>
              <a:gd name="connsiteX70873" fmla="*/ 5271847 w 6884782"/>
              <a:gd name="connsiteY70873" fmla="*/ 4025612 h 5973007"/>
              <a:gd name="connsiteX70874" fmla="*/ 5271547 w 6884782"/>
              <a:gd name="connsiteY70874" fmla="*/ 4025412 h 5973007"/>
              <a:gd name="connsiteX70875" fmla="*/ 5229691 w 6884782"/>
              <a:gd name="connsiteY70875" fmla="*/ 4041476 h 5973007"/>
              <a:gd name="connsiteX70876" fmla="*/ 5231419 w 6884782"/>
              <a:gd name="connsiteY70876" fmla="*/ 4050084 h 5973007"/>
              <a:gd name="connsiteX70877" fmla="*/ 5225223 w 6884782"/>
              <a:gd name="connsiteY70877" fmla="*/ 4045437 h 5973007"/>
              <a:gd name="connsiteX70878" fmla="*/ 5225264 w 6884782"/>
              <a:gd name="connsiteY70878" fmla="*/ 4043174 h 5973007"/>
              <a:gd name="connsiteX70879" fmla="*/ 5222573 w 6884782"/>
              <a:gd name="connsiteY70879" fmla="*/ 4044207 h 5973007"/>
              <a:gd name="connsiteX70880" fmla="*/ 5222435 w 6884782"/>
              <a:gd name="connsiteY70880" fmla="*/ 4045128 h 5973007"/>
              <a:gd name="connsiteX70881" fmla="*/ 5222125 w 6884782"/>
              <a:gd name="connsiteY70881" fmla="*/ 4046986 h 5973007"/>
              <a:gd name="connsiteX70882" fmla="*/ 5219182 w 6884782"/>
              <a:gd name="connsiteY70882" fmla="*/ 4049155 h 5973007"/>
              <a:gd name="connsiteX70883" fmla="*/ 5219182 w 6884782"/>
              <a:gd name="connsiteY70883" fmla="*/ 4045636 h 5973007"/>
              <a:gd name="connsiteX70884" fmla="*/ 5212141 w 6884782"/>
              <a:gd name="connsiteY70884" fmla="*/ 4048615 h 5973007"/>
              <a:gd name="connsiteX70885" fmla="*/ 5213761 w 6884782"/>
              <a:gd name="connsiteY70885" fmla="*/ 4053904 h 5973007"/>
              <a:gd name="connsiteX70886" fmla="*/ 5213606 w 6884782"/>
              <a:gd name="connsiteY70886" fmla="*/ 4057312 h 5973007"/>
              <a:gd name="connsiteX70887" fmla="*/ 5218562 w 6884782"/>
              <a:gd name="connsiteY70887" fmla="*/ 4061752 h 5973007"/>
              <a:gd name="connsiteX70888" fmla="*/ 5218562 w 6884782"/>
              <a:gd name="connsiteY70888" fmla="*/ 4064540 h 5973007"/>
              <a:gd name="connsiteX70889" fmla="*/ 5211438 w 6884782"/>
              <a:gd name="connsiteY70889" fmla="*/ 4072800 h 5973007"/>
              <a:gd name="connsiteX70890" fmla="*/ 5210663 w 6884782"/>
              <a:gd name="connsiteY70890" fmla="*/ 4073007 h 5973007"/>
              <a:gd name="connsiteX70891" fmla="*/ 5212831 w 6884782"/>
              <a:gd name="connsiteY70891" fmla="*/ 4074349 h 5973007"/>
              <a:gd name="connsiteX70892" fmla="*/ 5206636 w 6884782"/>
              <a:gd name="connsiteY70892" fmla="*/ 4078893 h 5973007"/>
              <a:gd name="connsiteX70893" fmla="*/ 5206171 w 6884782"/>
              <a:gd name="connsiteY70893" fmla="*/ 4075589 h 5973007"/>
              <a:gd name="connsiteX70894" fmla="*/ 5206016 w 6884782"/>
              <a:gd name="connsiteY70894" fmla="*/ 4074349 h 5973007"/>
              <a:gd name="connsiteX70895" fmla="*/ 5200595 w 6884782"/>
              <a:gd name="connsiteY70895" fmla="*/ 4075795 h 5973007"/>
              <a:gd name="connsiteX70896" fmla="*/ 5184485 w 6884782"/>
              <a:gd name="connsiteY70896" fmla="*/ 4070322 h 5973007"/>
              <a:gd name="connsiteX70897" fmla="*/ 5184021 w 6884782"/>
              <a:gd name="connsiteY70897" fmla="*/ 4069600 h 5973007"/>
              <a:gd name="connsiteX70898" fmla="*/ 5184485 w 6884782"/>
              <a:gd name="connsiteY70898" fmla="*/ 4071045 h 5973007"/>
              <a:gd name="connsiteX70899" fmla="*/ 5183556 w 6884782"/>
              <a:gd name="connsiteY70899" fmla="*/ 4072697 h 5973007"/>
              <a:gd name="connsiteX70900" fmla="*/ 5180613 w 6884782"/>
              <a:gd name="connsiteY70900" fmla="*/ 4075692 h 5973007"/>
              <a:gd name="connsiteX70901" fmla="*/ 5177825 w 6884782"/>
              <a:gd name="connsiteY70901" fmla="*/ 4074143 h 5973007"/>
              <a:gd name="connsiteX70902" fmla="*/ 5177050 w 6884782"/>
              <a:gd name="connsiteY70902" fmla="*/ 4070322 h 5973007"/>
              <a:gd name="connsiteX70903" fmla="*/ 5179839 w 6884782"/>
              <a:gd name="connsiteY70903" fmla="*/ 4064127 h 5973007"/>
              <a:gd name="connsiteX70904" fmla="*/ 5181233 w 6884782"/>
              <a:gd name="connsiteY70904" fmla="*/ 4065056 h 5973007"/>
              <a:gd name="connsiteX70905" fmla="*/ 5183810 w 6884782"/>
              <a:gd name="connsiteY70905" fmla="*/ 4060602 h 5973007"/>
              <a:gd name="connsiteX70906" fmla="*/ 5168706 w 6884782"/>
              <a:gd name="connsiteY70906" fmla="*/ 4066993 h 5973007"/>
              <a:gd name="connsiteX70907" fmla="*/ 5170390 w 6884782"/>
              <a:gd name="connsiteY70907" fmla="*/ 4067844 h 5973007"/>
              <a:gd name="connsiteX70908" fmla="*/ 5163265 w 6884782"/>
              <a:gd name="connsiteY70908" fmla="*/ 4073110 h 5973007"/>
              <a:gd name="connsiteX70909" fmla="*/ 5164828 w 6884782"/>
              <a:gd name="connsiteY70909" fmla="*/ 4068634 h 5973007"/>
              <a:gd name="connsiteX70910" fmla="*/ 5146958 w 6884782"/>
              <a:gd name="connsiteY70910" fmla="*/ 4076195 h 5973007"/>
              <a:gd name="connsiteX70911" fmla="*/ 5147775 w 6884782"/>
              <a:gd name="connsiteY70911" fmla="*/ 4076518 h 5973007"/>
              <a:gd name="connsiteX70912" fmla="*/ 5148240 w 6884782"/>
              <a:gd name="connsiteY70912" fmla="*/ 4084778 h 5973007"/>
              <a:gd name="connsiteX70913" fmla="*/ 5146691 w 6884782"/>
              <a:gd name="connsiteY70913" fmla="*/ 4087773 h 5973007"/>
              <a:gd name="connsiteX70914" fmla="*/ 5135611 w 6884782"/>
              <a:gd name="connsiteY70914" fmla="*/ 4080996 h 5973007"/>
              <a:gd name="connsiteX70915" fmla="*/ 5120417 w 6884782"/>
              <a:gd name="connsiteY70915" fmla="*/ 4087425 h 5973007"/>
              <a:gd name="connsiteX70916" fmla="*/ 5120746 w 6884782"/>
              <a:gd name="connsiteY70916" fmla="*/ 4090509 h 5973007"/>
              <a:gd name="connsiteX70917" fmla="*/ 5115247 w 6884782"/>
              <a:gd name="connsiteY70917" fmla="*/ 4096549 h 5973007"/>
              <a:gd name="connsiteX70918" fmla="*/ 5112614 w 6884782"/>
              <a:gd name="connsiteY70918" fmla="*/ 4095724 h 5973007"/>
              <a:gd name="connsiteX70919" fmla="*/ 5110586 w 6884782"/>
              <a:gd name="connsiteY70919" fmla="*/ 4092120 h 5973007"/>
              <a:gd name="connsiteX70920" fmla="*/ 5027700 w 6884782"/>
              <a:gd name="connsiteY70920" fmla="*/ 4137847 h 5973007"/>
              <a:gd name="connsiteX70921" fmla="*/ 5031912 w 6884782"/>
              <a:gd name="connsiteY70921" fmla="*/ 4138471 h 5973007"/>
              <a:gd name="connsiteX70922" fmla="*/ 5028969 w 6884782"/>
              <a:gd name="connsiteY70922" fmla="*/ 4147765 h 5973007"/>
              <a:gd name="connsiteX70923" fmla="*/ 5023180 w 6884782"/>
              <a:gd name="connsiteY70923" fmla="*/ 4143970 h 5973007"/>
              <a:gd name="connsiteX70924" fmla="*/ 5023385 w 6884782"/>
              <a:gd name="connsiteY70924" fmla="*/ 4140228 h 5973007"/>
              <a:gd name="connsiteX70925" fmla="*/ 5009241 w 6884782"/>
              <a:gd name="connsiteY70925" fmla="*/ 4148031 h 5973007"/>
              <a:gd name="connsiteX70926" fmla="*/ 5079768 w 6884782"/>
              <a:gd name="connsiteY70926" fmla="*/ 4178424 h 5973007"/>
              <a:gd name="connsiteX70927" fmla="*/ 5076058 w 6884782"/>
              <a:gd name="connsiteY70927" fmla="*/ 4171720 h 5973007"/>
              <a:gd name="connsiteX70928" fmla="*/ 5082564 w 6884782"/>
              <a:gd name="connsiteY70928" fmla="*/ 4166970 h 5973007"/>
              <a:gd name="connsiteX70929" fmla="*/ 5089224 w 6884782"/>
              <a:gd name="connsiteY70929" fmla="*/ 4180084 h 5973007"/>
              <a:gd name="connsiteX70930" fmla="*/ 5087246 w 6884782"/>
              <a:gd name="connsiteY70930" fmla="*/ 4181647 h 5973007"/>
              <a:gd name="connsiteX70931" fmla="*/ 5108946 w 6884782"/>
              <a:gd name="connsiteY70931" fmla="*/ 4190998 h 5973007"/>
              <a:gd name="connsiteX70932" fmla="*/ 5111374 w 6884782"/>
              <a:gd name="connsiteY70932" fmla="*/ 4187828 h 5973007"/>
              <a:gd name="connsiteX70933" fmla="*/ 5114705 w 6884782"/>
              <a:gd name="connsiteY70933" fmla="*/ 4193339 h 5973007"/>
              <a:gd name="connsiteX70934" fmla="*/ 5114615 w 6884782"/>
              <a:gd name="connsiteY70934" fmla="*/ 4193441 h 5973007"/>
              <a:gd name="connsiteX70935" fmla="*/ 5160702 w 6884782"/>
              <a:gd name="connsiteY70935" fmla="*/ 4213302 h 5973007"/>
              <a:gd name="connsiteX70936" fmla="*/ 5162800 w 6884782"/>
              <a:gd name="connsiteY70936" fmla="*/ 4208686 h 5973007"/>
              <a:gd name="connsiteX70937" fmla="*/ 5162840 w 6884782"/>
              <a:gd name="connsiteY70937" fmla="*/ 4214224 h 5973007"/>
              <a:gd name="connsiteX70938" fmla="*/ 5185240 w 6884782"/>
              <a:gd name="connsiteY70938" fmla="*/ 4223877 h 5973007"/>
              <a:gd name="connsiteX70939" fmla="*/ 5185725 w 6884782"/>
              <a:gd name="connsiteY70939" fmla="*/ 4220044 h 5973007"/>
              <a:gd name="connsiteX70940" fmla="*/ 5191766 w 6884782"/>
              <a:gd name="connsiteY70940" fmla="*/ 4220870 h 5973007"/>
              <a:gd name="connsiteX70941" fmla="*/ 5192570 w 6884782"/>
              <a:gd name="connsiteY70941" fmla="*/ 4227036 h 5973007"/>
              <a:gd name="connsiteX70942" fmla="*/ 5203036 w 6884782"/>
              <a:gd name="connsiteY70942" fmla="*/ 4231546 h 5973007"/>
              <a:gd name="connsiteX70943" fmla="*/ 5202316 w 6884782"/>
              <a:gd name="connsiteY70943" fmla="*/ 4240003 h 5973007"/>
              <a:gd name="connsiteX70944" fmla="*/ 5206171 w 6884782"/>
              <a:gd name="connsiteY70944" fmla="*/ 4235945 h 5973007"/>
              <a:gd name="connsiteX70945" fmla="*/ 5208495 w 6884782"/>
              <a:gd name="connsiteY70945" fmla="*/ 4233777 h 5973007"/>
              <a:gd name="connsiteX70946" fmla="*/ 5207565 w 6884782"/>
              <a:gd name="connsiteY70946" fmla="*/ 4229337 h 5973007"/>
              <a:gd name="connsiteX70947" fmla="*/ 5209888 w 6884782"/>
              <a:gd name="connsiteY70947" fmla="*/ 4225516 h 5973007"/>
              <a:gd name="connsiteX70948" fmla="*/ 5213451 w 6884782"/>
              <a:gd name="connsiteY70948" fmla="*/ 4235326 h 5973007"/>
              <a:gd name="connsiteX70949" fmla="*/ 5211902 w 6884782"/>
              <a:gd name="connsiteY70949" fmla="*/ 4235223 h 5973007"/>
              <a:gd name="connsiteX70950" fmla="*/ 5209114 w 6884782"/>
              <a:gd name="connsiteY70950" fmla="*/ 4239146 h 5973007"/>
              <a:gd name="connsiteX70951" fmla="*/ 5206791 w 6884782"/>
              <a:gd name="connsiteY70951" fmla="*/ 4240902 h 5973007"/>
              <a:gd name="connsiteX70952" fmla="*/ 5205241 w 6884782"/>
              <a:gd name="connsiteY70952" fmla="*/ 4242037 h 5973007"/>
              <a:gd name="connsiteX70953" fmla="*/ 5203848 w 6884782"/>
              <a:gd name="connsiteY70953" fmla="*/ 4243070 h 5973007"/>
              <a:gd name="connsiteX70954" fmla="*/ 5202144 w 6884782"/>
              <a:gd name="connsiteY70954" fmla="*/ 4243380 h 5973007"/>
              <a:gd name="connsiteX70955" fmla="*/ 5202035 w 6884782"/>
              <a:gd name="connsiteY70955" fmla="*/ 4243307 h 5973007"/>
              <a:gd name="connsiteX70956" fmla="*/ 5200783 w 6884782"/>
              <a:gd name="connsiteY70956" fmla="*/ 4258024 h 5973007"/>
              <a:gd name="connsiteX70957" fmla="*/ 5203848 w 6884782"/>
              <a:gd name="connsiteY70957" fmla="*/ 4257732 h 5973007"/>
              <a:gd name="connsiteX70958" fmla="*/ 5201989 w 6884782"/>
              <a:gd name="connsiteY70958" fmla="*/ 4262482 h 5973007"/>
              <a:gd name="connsiteX70959" fmla="*/ 5200466 w 6884782"/>
              <a:gd name="connsiteY70959" fmla="*/ 4261746 h 5973007"/>
              <a:gd name="connsiteX70960" fmla="*/ 5198729 w 6884782"/>
              <a:gd name="connsiteY70960" fmla="*/ 4282162 h 5973007"/>
              <a:gd name="connsiteX70961" fmla="*/ 5129709 w 6884782"/>
              <a:gd name="connsiteY70961" fmla="*/ 4260660 h 5973007"/>
              <a:gd name="connsiteX70962" fmla="*/ 5129033 w 6884782"/>
              <a:gd name="connsiteY70962" fmla="*/ 4264547 h 5973007"/>
              <a:gd name="connsiteX70963" fmla="*/ 5127709 w 6884782"/>
              <a:gd name="connsiteY70963" fmla="*/ 4260036 h 5973007"/>
              <a:gd name="connsiteX70964" fmla="*/ 5109368 w 6884782"/>
              <a:gd name="connsiteY70964" fmla="*/ 4254323 h 5973007"/>
              <a:gd name="connsiteX70965" fmla="*/ 5057662 w 6884782"/>
              <a:gd name="connsiteY70965" fmla="*/ 4239854 h 5973007"/>
              <a:gd name="connsiteX70966" fmla="*/ 5057625 w 6884782"/>
              <a:gd name="connsiteY70966" fmla="*/ 4242037 h 5973007"/>
              <a:gd name="connsiteX70967" fmla="*/ 5054527 w 6884782"/>
              <a:gd name="connsiteY70967" fmla="*/ 4240385 h 5973007"/>
              <a:gd name="connsiteX70968" fmla="*/ 5055076 w 6884782"/>
              <a:gd name="connsiteY70968" fmla="*/ 4239130 h 5973007"/>
              <a:gd name="connsiteX70969" fmla="*/ 5018931 w 6884782"/>
              <a:gd name="connsiteY70969" fmla="*/ 4229016 h 5973007"/>
              <a:gd name="connsiteX70970" fmla="*/ 4925263 w 6884782"/>
              <a:gd name="connsiteY70970" fmla="*/ 4196115 h 5973007"/>
              <a:gd name="connsiteX70971" fmla="*/ 4839389 w 6884782"/>
              <a:gd name="connsiteY70971" fmla="*/ 4171980 h 5973007"/>
              <a:gd name="connsiteX70972" fmla="*/ 4839996 w 6884782"/>
              <a:gd name="connsiteY70972" fmla="*/ 4174921 h 5973007"/>
              <a:gd name="connsiteX70973" fmla="*/ 4837373 w 6884782"/>
              <a:gd name="connsiteY70973" fmla="*/ 4171413 h 5973007"/>
              <a:gd name="connsiteX70974" fmla="*/ 4826213 w 6884782"/>
              <a:gd name="connsiteY70974" fmla="*/ 4168277 h 5973007"/>
              <a:gd name="connsiteX70975" fmla="*/ 4832724 w 6884782"/>
              <a:gd name="connsiteY70975" fmla="*/ 4191237 h 5973007"/>
              <a:gd name="connsiteX70976" fmla="*/ 4832948 w 6884782"/>
              <a:gd name="connsiteY70976" fmla="*/ 4186989 h 5973007"/>
              <a:gd name="connsiteX70977" fmla="*/ 4840151 w 6884782"/>
              <a:gd name="connsiteY70977" fmla="*/ 4177709 h 5973007"/>
              <a:gd name="connsiteX70978" fmla="*/ 4839106 w 6884782"/>
              <a:gd name="connsiteY70978" fmla="*/ 4190435 h 5973007"/>
              <a:gd name="connsiteX70979" fmla="*/ 4834402 w 6884782"/>
              <a:gd name="connsiteY70979" fmla="*/ 4197150 h 5973007"/>
              <a:gd name="connsiteX70980" fmla="*/ 4841286 w 6884782"/>
              <a:gd name="connsiteY70980" fmla="*/ 4221423 h 5973007"/>
              <a:gd name="connsiteX70981" fmla="*/ 4846554 w 6884782"/>
              <a:gd name="connsiteY70981" fmla="*/ 4241032 h 5973007"/>
              <a:gd name="connsiteX70982" fmla="*/ 4851458 w 6884782"/>
              <a:gd name="connsiteY70982" fmla="*/ 4238217 h 5973007"/>
              <a:gd name="connsiteX70983" fmla="*/ 4847769 w 6884782"/>
              <a:gd name="connsiteY70983" fmla="*/ 4245554 h 5973007"/>
              <a:gd name="connsiteX70984" fmla="*/ 4854205 w 6884782"/>
              <a:gd name="connsiteY70984" fmla="*/ 4269509 h 5973007"/>
              <a:gd name="connsiteX70985" fmla="*/ 4866048 w 6884782"/>
              <a:gd name="connsiteY70985" fmla="*/ 4312531 h 5973007"/>
              <a:gd name="connsiteX70986" fmla="*/ 4876815 w 6884782"/>
              <a:gd name="connsiteY70986" fmla="*/ 4355554 h 5973007"/>
              <a:gd name="connsiteX70987" fmla="*/ 4860724 w 6884782"/>
              <a:gd name="connsiteY70987" fmla="*/ 4351370 h 5973007"/>
              <a:gd name="connsiteX70988" fmla="*/ 4857809 w 6884782"/>
              <a:gd name="connsiteY70988" fmla="*/ 4354935 h 5973007"/>
              <a:gd name="connsiteX70989" fmla="*/ 4850684 w 6884782"/>
              <a:gd name="connsiteY70989" fmla="*/ 4359440 h 5973007"/>
              <a:gd name="connsiteX70990" fmla="*/ 4844953 w 6884782"/>
              <a:gd name="connsiteY70990" fmla="*/ 4358304 h 5973007"/>
              <a:gd name="connsiteX70991" fmla="*/ 4849660 w 6884782"/>
              <a:gd name="connsiteY70991" fmla="*/ 4348493 h 5973007"/>
              <a:gd name="connsiteX70992" fmla="*/ 4813264 w 6884782"/>
              <a:gd name="connsiteY70992" fmla="*/ 4339029 h 5973007"/>
              <a:gd name="connsiteX70993" fmla="*/ 4812270 w 6884782"/>
              <a:gd name="connsiteY70993" fmla="*/ 4339511 h 5973007"/>
              <a:gd name="connsiteX70994" fmla="*/ 4811607 w 6884782"/>
              <a:gd name="connsiteY70994" fmla="*/ 4338598 h 5973007"/>
              <a:gd name="connsiteX70995" fmla="*/ 4803677 w 6884782"/>
              <a:gd name="connsiteY70995" fmla="*/ 4336536 h 5973007"/>
              <a:gd name="connsiteX70996" fmla="*/ 4804060 w 6884782"/>
              <a:gd name="connsiteY70996" fmla="*/ 4338582 h 5973007"/>
              <a:gd name="connsiteX70997" fmla="*/ 4802511 w 6884782"/>
              <a:gd name="connsiteY70997" fmla="*/ 4339098 h 5973007"/>
              <a:gd name="connsiteX70998" fmla="*/ 4800652 w 6884782"/>
              <a:gd name="connsiteY70998" fmla="*/ 4337756 h 5973007"/>
              <a:gd name="connsiteX70999" fmla="*/ 4802399 w 6884782"/>
              <a:gd name="connsiteY70999" fmla="*/ 4336204 h 5973007"/>
              <a:gd name="connsiteX71000" fmla="*/ 4712534 w 6884782"/>
              <a:gd name="connsiteY71000" fmla="*/ 4312837 h 5973007"/>
              <a:gd name="connsiteX71001" fmla="*/ 4711897 w 6884782"/>
              <a:gd name="connsiteY71001" fmla="*/ 4314523 h 5973007"/>
              <a:gd name="connsiteX71002" fmla="*/ 4702448 w 6884782"/>
              <a:gd name="connsiteY71002" fmla="*/ 4316175 h 5973007"/>
              <a:gd name="connsiteX71003" fmla="*/ 4701519 w 6884782"/>
              <a:gd name="connsiteY71003" fmla="*/ 4317828 h 5973007"/>
              <a:gd name="connsiteX71004" fmla="*/ 4697956 w 6884782"/>
              <a:gd name="connsiteY71004" fmla="*/ 4319479 h 5973007"/>
              <a:gd name="connsiteX71005" fmla="*/ 4697337 w 6884782"/>
              <a:gd name="connsiteY71005" fmla="*/ 4317724 h 5973007"/>
              <a:gd name="connsiteX71006" fmla="*/ 4700899 w 6884782"/>
              <a:gd name="connsiteY71006" fmla="*/ 4315246 h 5973007"/>
              <a:gd name="connsiteX71007" fmla="*/ 4700899 w 6884782"/>
              <a:gd name="connsiteY71007" fmla="*/ 4314420 h 5973007"/>
              <a:gd name="connsiteX71008" fmla="*/ 4699505 w 6884782"/>
              <a:gd name="connsiteY71008" fmla="*/ 4312562 h 5973007"/>
              <a:gd name="connsiteX71009" fmla="*/ 4698518 w 6884782"/>
              <a:gd name="connsiteY71009" fmla="*/ 4309851 h 5973007"/>
              <a:gd name="connsiteX71010" fmla="*/ 4698713 w 6884782"/>
              <a:gd name="connsiteY71010" fmla="*/ 4309243 h 5973007"/>
              <a:gd name="connsiteX71011" fmla="*/ 4633495 w 6884782"/>
              <a:gd name="connsiteY71011" fmla="*/ 4292285 h 5973007"/>
              <a:gd name="connsiteX71012" fmla="*/ 4574481 w 6884782"/>
              <a:gd name="connsiteY71012" fmla="*/ 4277619 h 5973007"/>
              <a:gd name="connsiteX71013" fmla="*/ 4574481 w 6884782"/>
              <a:gd name="connsiteY71013" fmla="*/ 4384363 h 5973007"/>
              <a:gd name="connsiteX71014" fmla="*/ 4762691 w 6884782"/>
              <a:gd name="connsiteY71014" fmla="*/ 4461848 h 5973007"/>
              <a:gd name="connsiteX71015" fmla="*/ 4957563 w 6884782"/>
              <a:gd name="connsiteY71015" fmla="*/ 4547894 h 5973007"/>
              <a:gd name="connsiteX71016" fmla="*/ 4939259 w 6884782"/>
              <a:gd name="connsiteY71016" fmla="*/ 4565610 h 5973007"/>
              <a:gd name="connsiteX71017" fmla="*/ 4925263 w 6884782"/>
              <a:gd name="connsiteY71017" fmla="*/ 4578265 h 5973007"/>
              <a:gd name="connsiteX71018" fmla="*/ 4912344 w 6884782"/>
              <a:gd name="connsiteY71018" fmla="*/ 4593448 h 5973007"/>
              <a:gd name="connsiteX71019" fmla="*/ 4917727 w 6884782"/>
              <a:gd name="connsiteY71019" fmla="*/ 4628879 h 5973007"/>
              <a:gd name="connsiteX71020" fmla="*/ 4943566 w 6884782"/>
              <a:gd name="connsiteY71020" fmla="*/ 4603571 h 5973007"/>
              <a:gd name="connsiteX71021" fmla="*/ 4970482 w 6884782"/>
              <a:gd name="connsiteY71021" fmla="*/ 4578265 h 5973007"/>
              <a:gd name="connsiteX71022" fmla="*/ 4999551 w 6884782"/>
              <a:gd name="connsiteY71022" fmla="*/ 4550424 h 5973007"/>
              <a:gd name="connsiteX71023" fmla="*/ 5014624 w 6884782"/>
              <a:gd name="connsiteY71023" fmla="*/ 4590917 h 5973007"/>
              <a:gd name="connsiteX71024" fmla="*/ 5028620 w 6884782"/>
              <a:gd name="connsiteY71024" fmla="*/ 4623818 h 5973007"/>
              <a:gd name="connsiteX71025" fmla="*/ 5042617 w 6884782"/>
              <a:gd name="connsiteY71025" fmla="*/ 4651657 h 5973007"/>
              <a:gd name="connsiteX71026" fmla="*/ 5059843 w 6884782"/>
              <a:gd name="connsiteY71026" fmla="*/ 4671903 h 5973007"/>
              <a:gd name="connsiteX71027" fmla="*/ 5075992 w 6884782"/>
              <a:gd name="connsiteY71027" fmla="*/ 4684556 h 5973007"/>
              <a:gd name="connsiteX71028" fmla="*/ 5093219 w 6884782"/>
              <a:gd name="connsiteY71028" fmla="*/ 4679495 h 5973007"/>
              <a:gd name="connsiteX71029" fmla="*/ 5111521 w 6884782"/>
              <a:gd name="connsiteY71029" fmla="*/ 4664311 h 5973007"/>
              <a:gd name="connsiteX71030" fmla="*/ 5130901 w 6884782"/>
              <a:gd name="connsiteY71030" fmla="*/ 4631411 h 5973007"/>
              <a:gd name="connsiteX71031" fmla="*/ 5151357 w 6884782"/>
              <a:gd name="connsiteY71031" fmla="*/ 4580795 h 5973007"/>
              <a:gd name="connsiteX71032" fmla="*/ 5172890 w 6884782"/>
              <a:gd name="connsiteY71032" fmla="*/ 4631411 h 5973007"/>
              <a:gd name="connsiteX71033" fmla="*/ 5195499 w 6884782"/>
              <a:gd name="connsiteY71033" fmla="*/ 4669372 h 5973007"/>
              <a:gd name="connsiteX71034" fmla="*/ 5219185 w 6884782"/>
              <a:gd name="connsiteY71034" fmla="*/ 4694680 h 5973007"/>
              <a:gd name="connsiteX71035" fmla="*/ 5243948 w 6884782"/>
              <a:gd name="connsiteY71035" fmla="*/ 4709864 h 5973007"/>
              <a:gd name="connsiteX71036" fmla="*/ 5268710 w 6884782"/>
              <a:gd name="connsiteY71036" fmla="*/ 4714925 h 5973007"/>
              <a:gd name="connsiteX71037" fmla="*/ 5294550 w 6884782"/>
              <a:gd name="connsiteY71037" fmla="*/ 4714925 h 5973007"/>
              <a:gd name="connsiteX71038" fmla="*/ 5320389 w 6884782"/>
              <a:gd name="connsiteY71038" fmla="*/ 4709864 h 5973007"/>
              <a:gd name="connsiteX71039" fmla="*/ 5347305 w 6884782"/>
              <a:gd name="connsiteY71039" fmla="*/ 4702272 h 5973007"/>
              <a:gd name="connsiteX71040" fmla="*/ 5373144 w 6884782"/>
              <a:gd name="connsiteY71040" fmla="*/ 4694680 h 5973007"/>
              <a:gd name="connsiteX71041" fmla="*/ 5398983 w 6884782"/>
              <a:gd name="connsiteY71041" fmla="*/ 4689619 h 5973007"/>
              <a:gd name="connsiteX71042" fmla="*/ 5424823 w 6884782"/>
              <a:gd name="connsiteY71042" fmla="*/ 4689619 h 5973007"/>
              <a:gd name="connsiteX71043" fmla="*/ 5450662 w 6884782"/>
              <a:gd name="connsiteY71043" fmla="*/ 4692150 h 5973007"/>
              <a:gd name="connsiteX71044" fmla="*/ 5556172 w 6884782"/>
              <a:gd name="connsiteY71044" fmla="*/ 4719988 h 5973007"/>
              <a:gd name="connsiteX71045" fmla="*/ 5662760 w 6884782"/>
              <a:gd name="connsiteY71045" fmla="*/ 4737703 h 5973007"/>
              <a:gd name="connsiteX71046" fmla="*/ 5770423 w 6884782"/>
              <a:gd name="connsiteY71046" fmla="*/ 4750357 h 5973007"/>
              <a:gd name="connsiteX71047" fmla="*/ 5877010 w 6884782"/>
              <a:gd name="connsiteY71047" fmla="*/ 4765543 h 5973007"/>
              <a:gd name="connsiteX71048" fmla="*/ 5877010 w 6884782"/>
              <a:gd name="connsiteY71048" fmla="*/ 4823750 h 5973007"/>
              <a:gd name="connsiteX71049" fmla="*/ 5407597 w 6884782"/>
              <a:gd name="connsiteY71049" fmla="*/ 4823750 h 5973007"/>
              <a:gd name="connsiteX71050" fmla="*/ 5407597 w 6884782"/>
              <a:gd name="connsiteY71050" fmla="*/ 4884489 h 5973007"/>
              <a:gd name="connsiteX71051" fmla="*/ 5727358 w 6884782"/>
              <a:gd name="connsiteY71051" fmla="*/ 4884489 h 5973007"/>
              <a:gd name="connsiteX71052" fmla="*/ 5729511 w 6884782"/>
              <a:gd name="connsiteY71052" fmla="*/ 4940166 h 5973007"/>
              <a:gd name="connsiteX71053" fmla="*/ 5659530 w 6884782"/>
              <a:gd name="connsiteY71053" fmla="*/ 4968005 h 5973007"/>
              <a:gd name="connsiteX71054" fmla="*/ 5588472 w 6884782"/>
              <a:gd name="connsiteY71054" fmla="*/ 4998375 h 5973007"/>
              <a:gd name="connsiteX71055" fmla="*/ 5514184 w 6884782"/>
              <a:gd name="connsiteY71055" fmla="*/ 5026213 h 5973007"/>
              <a:gd name="connsiteX71056" fmla="*/ 5522797 w 6884782"/>
              <a:gd name="connsiteY71056" fmla="*/ 5048991 h 5973007"/>
              <a:gd name="connsiteX71057" fmla="*/ 5531410 w 6884782"/>
              <a:gd name="connsiteY71057" fmla="*/ 5071767 h 5973007"/>
              <a:gd name="connsiteX71058" fmla="*/ 5542176 w 6884782"/>
              <a:gd name="connsiteY71058" fmla="*/ 5099605 h 5973007"/>
              <a:gd name="connsiteX71059" fmla="*/ 5555096 w 6884782"/>
              <a:gd name="connsiteY71059" fmla="*/ 5132506 h 5973007"/>
              <a:gd name="connsiteX71060" fmla="*/ 5572322 w 6884782"/>
              <a:gd name="connsiteY71060" fmla="*/ 5175529 h 5973007"/>
              <a:gd name="connsiteX71061" fmla="*/ 5412980 w 6884782"/>
              <a:gd name="connsiteY71061" fmla="*/ 5193245 h 5973007"/>
              <a:gd name="connsiteX71062" fmla="*/ 5255791 w 6884782"/>
              <a:gd name="connsiteY71062" fmla="*/ 5203368 h 5973007"/>
              <a:gd name="connsiteX71063" fmla="*/ 5099679 w 6884782"/>
              <a:gd name="connsiteY71063" fmla="*/ 5213491 h 5973007"/>
              <a:gd name="connsiteX71064" fmla="*/ 4944643 w 6884782"/>
              <a:gd name="connsiteY71064" fmla="*/ 5213491 h 5973007"/>
              <a:gd name="connsiteX71065" fmla="*/ 4789607 w 6884782"/>
              <a:gd name="connsiteY71065" fmla="*/ 5203368 h 5973007"/>
              <a:gd name="connsiteX71066" fmla="*/ 4635648 w 6884782"/>
              <a:gd name="connsiteY71066" fmla="*/ 5183122 h 5973007"/>
              <a:gd name="connsiteX71067" fmla="*/ 4482766 w 6884782"/>
              <a:gd name="connsiteY71067" fmla="*/ 5152752 h 5973007"/>
              <a:gd name="connsiteX71068" fmla="*/ 4372609 w 6884782"/>
              <a:gd name="connsiteY71068" fmla="*/ 5119930 h 5973007"/>
              <a:gd name="connsiteX71069" fmla="*/ 4370863 w 6884782"/>
              <a:gd name="connsiteY71069" fmla="*/ 5125374 h 5973007"/>
              <a:gd name="connsiteX71070" fmla="*/ 4339410 w 6884782"/>
              <a:gd name="connsiteY71070" fmla="*/ 5227031 h 5973007"/>
              <a:gd name="connsiteX71071" fmla="*/ 4327822 w 6884782"/>
              <a:gd name="connsiteY71071" fmla="*/ 5183903 h 5973007"/>
              <a:gd name="connsiteX71072" fmla="*/ 4317889 w 6884782"/>
              <a:gd name="connsiteY71072" fmla="*/ 5148478 h 5973007"/>
              <a:gd name="connsiteX71073" fmla="*/ 4310440 w 6884782"/>
              <a:gd name="connsiteY71073" fmla="*/ 5117673 h 5973007"/>
              <a:gd name="connsiteX71074" fmla="*/ 4304692 w 6884782"/>
              <a:gd name="connsiteY71074" fmla="*/ 5097469 h 5973007"/>
              <a:gd name="connsiteX71075" fmla="*/ 4179154 w 6884782"/>
              <a:gd name="connsiteY71075" fmla="*/ 5048991 h 5973007"/>
              <a:gd name="connsiteX71076" fmla="*/ 4028425 w 6884782"/>
              <a:gd name="connsiteY71076" fmla="*/ 4975597 h 5973007"/>
              <a:gd name="connsiteX71077" fmla="*/ 3878772 w 6884782"/>
              <a:gd name="connsiteY71077" fmla="*/ 4881958 h 5973007"/>
              <a:gd name="connsiteX71078" fmla="*/ 3865853 w 6884782"/>
              <a:gd name="connsiteY71078" fmla="*/ 4947759 h 5973007"/>
              <a:gd name="connsiteX71079" fmla="*/ 3905688 w 6884782"/>
              <a:gd name="connsiteY71079" fmla="*/ 4998375 h 5973007"/>
              <a:gd name="connsiteX71080" fmla="*/ 3945524 w 6884782"/>
              <a:gd name="connsiteY71080" fmla="*/ 5048991 h 5973007"/>
              <a:gd name="connsiteX71081" fmla="*/ 3985359 w 6884782"/>
              <a:gd name="connsiteY71081" fmla="*/ 5094544 h 5973007"/>
              <a:gd name="connsiteX71082" fmla="*/ 4019812 w 6884782"/>
              <a:gd name="connsiteY71082" fmla="*/ 5127445 h 5973007"/>
              <a:gd name="connsiteX71083" fmla="*/ 4055341 w 6884782"/>
              <a:gd name="connsiteY71083" fmla="*/ 5160345 h 5973007"/>
              <a:gd name="connsiteX71084" fmla="*/ 4088716 w 6884782"/>
              <a:gd name="connsiteY71084" fmla="*/ 5203368 h 5973007"/>
              <a:gd name="connsiteX71085" fmla="*/ 4122092 w 6884782"/>
              <a:gd name="connsiteY71085" fmla="*/ 5256514 h 5973007"/>
              <a:gd name="connsiteX71086" fmla="*/ 3912148 w 6884782"/>
              <a:gd name="connsiteY71086" fmla="*/ 5172998 h 5973007"/>
              <a:gd name="connsiteX71087" fmla="*/ 3905688 w 6884782"/>
              <a:gd name="connsiteY71087" fmla="*/ 5226145 h 5973007"/>
              <a:gd name="connsiteX71088" fmla="*/ 3954137 w 6884782"/>
              <a:gd name="connsiteY71088" fmla="*/ 5261576 h 5973007"/>
              <a:gd name="connsiteX71089" fmla="*/ 4003662 w 6884782"/>
              <a:gd name="connsiteY71089" fmla="*/ 5299538 h 5973007"/>
              <a:gd name="connsiteX71090" fmla="*/ 4055341 w 6884782"/>
              <a:gd name="connsiteY71090" fmla="*/ 5340031 h 5973007"/>
              <a:gd name="connsiteX71091" fmla="*/ 4045651 w 6884782"/>
              <a:gd name="connsiteY71091" fmla="*/ 5360278 h 5973007"/>
              <a:gd name="connsiteX71092" fmla="*/ 4033808 w 6884782"/>
              <a:gd name="connsiteY71092" fmla="*/ 5372930 h 5973007"/>
              <a:gd name="connsiteX71093" fmla="*/ 4019812 w 6884782"/>
              <a:gd name="connsiteY71093" fmla="*/ 5380523 h 5973007"/>
              <a:gd name="connsiteX71094" fmla="*/ 4006892 w 6884782"/>
              <a:gd name="connsiteY71094" fmla="*/ 5383053 h 5973007"/>
              <a:gd name="connsiteX71095" fmla="*/ 3993973 w 6884782"/>
              <a:gd name="connsiteY71095" fmla="*/ 5380523 h 5973007"/>
              <a:gd name="connsiteX71096" fmla="*/ 3981053 w 6884782"/>
              <a:gd name="connsiteY71096" fmla="*/ 5372930 h 5973007"/>
              <a:gd name="connsiteX71097" fmla="*/ 3965980 w 6884782"/>
              <a:gd name="connsiteY71097" fmla="*/ 5370400 h 5973007"/>
              <a:gd name="connsiteX71098" fmla="*/ 3953060 w 6884782"/>
              <a:gd name="connsiteY71098" fmla="*/ 5367869 h 5973007"/>
              <a:gd name="connsiteX71099" fmla="*/ 3941217 w 6884782"/>
              <a:gd name="connsiteY71099" fmla="*/ 5367869 h 5973007"/>
              <a:gd name="connsiteX71100" fmla="*/ 3930451 w 6884782"/>
              <a:gd name="connsiteY71100" fmla="*/ 5375461 h 5973007"/>
              <a:gd name="connsiteX71101" fmla="*/ 3919685 w 6884782"/>
              <a:gd name="connsiteY71101" fmla="*/ 5390647 h 5973007"/>
              <a:gd name="connsiteX71102" fmla="*/ 3911072 w 6884782"/>
              <a:gd name="connsiteY71102" fmla="*/ 5413424 h 5973007"/>
              <a:gd name="connsiteX71103" fmla="*/ 3903535 w 6884782"/>
              <a:gd name="connsiteY71103" fmla="*/ 5446324 h 5973007"/>
              <a:gd name="connsiteX71104" fmla="*/ 3899228 w 6884782"/>
              <a:gd name="connsiteY71104" fmla="*/ 5494409 h 5973007"/>
              <a:gd name="connsiteX71105" fmla="*/ 3920761 w 6884782"/>
              <a:gd name="connsiteY71105" fmla="*/ 5527309 h 5973007"/>
              <a:gd name="connsiteX71106" fmla="*/ 3944447 w 6884782"/>
              <a:gd name="connsiteY71106" fmla="*/ 5557679 h 5973007"/>
              <a:gd name="connsiteX71107" fmla="*/ 3971363 w 6884782"/>
              <a:gd name="connsiteY71107" fmla="*/ 5595641 h 5973007"/>
              <a:gd name="connsiteX71108" fmla="*/ 3935834 w 6884782"/>
              <a:gd name="connsiteY71108" fmla="*/ 5610824 h 5973007"/>
              <a:gd name="connsiteX71109" fmla="*/ 3902458 w 6884782"/>
              <a:gd name="connsiteY71109" fmla="*/ 5631071 h 5973007"/>
              <a:gd name="connsiteX71110" fmla="*/ 3870159 w 6884782"/>
              <a:gd name="connsiteY71110" fmla="*/ 5646255 h 5973007"/>
              <a:gd name="connsiteX71111" fmla="*/ 3838937 w 6884782"/>
              <a:gd name="connsiteY71111" fmla="*/ 5653848 h 5973007"/>
              <a:gd name="connsiteX71112" fmla="*/ 3808791 w 6884782"/>
              <a:gd name="connsiteY71112" fmla="*/ 5648787 h 5973007"/>
              <a:gd name="connsiteX71113" fmla="*/ 3733902 w 6884782"/>
              <a:gd name="connsiteY71113" fmla="*/ 5617140 h 5973007"/>
              <a:gd name="connsiteX71114" fmla="*/ 3728005 w 6884782"/>
              <a:gd name="connsiteY71114" fmla="*/ 5619148 h 5973007"/>
              <a:gd name="connsiteX71115" fmla="*/ 3708449 w 6884782"/>
              <a:gd name="connsiteY71115" fmla="*/ 5614385 h 5973007"/>
              <a:gd name="connsiteX71116" fmla="*/ 3695631 w 6884782"/>
              <a:gd name="connsiteY71116" fmla="*/ 5600051 h 5973007"/>
              <a:gd name="connsiteX71117" fmla="*/ 3628780 w 6884782"/>
              <a:gd name="connsiteY71117" fmla="*/ 5568270 h 5973007"/>
              <a:gd name="connsiteX71118" fmla="*/ 3620352 w 6884782"/>
              <a:gd name="connsiteY71118" fmla="*/ 5584557 h 5973007"/>
              <a:gd name="connsiteX71119" fmla="*/ 3605772 w 6884782"/>
              <a:gd name="connsiteY71119" fmla="*/ 5567093 h 5973007"/>
              <a:gd name="connsiteX71120" fmla="*/ 3602633 w 6884782"/>
              <a:gd name="connsiteY71120" fmla="*/ 5555761 h 5973007"/>
              <a:gd name="connsiteX71121" fmla="*/ 3569815 w 6884782"/>
              <a:gd name="connsiteY71121" fmla="*/ 5539982 h 5973007"/>
              <a:gd name="connsiteX71122" fmla="*/ 3569391 w 6884782"/>
              <a:gd name="connsiteY71122" fmla="*/ 5541396 h 5973007"/>
              <a:gd name="connsiteX71123" fmla="*/ 3568461 w 6884782"/>
              <a:gd name="connsiteY71123" fmla="*/ 5540983 h 5973007"/>
              <a:gd name="connsiteX71124" fmla="*/ 3572489 w 6884782"/>
              <a:gd name="connsiteY71124" fmla="*/ 5544803 h 5973007"/>
              <a:gd name="connsiteX71125" fmla="*/ 3583332 w 6884782"/>
              <a:gd name="connsiteY71125" fmla="*/ 5566900 h 5973007"/>
              <a:gd name="connsiteX71126" fmla="*/ 3562440 w 6884782"/>
              <a:gd name="connsiteY71126" fmla="*/ 5553464 h 5973007"/>
              <a:gd name="connsiteX71127" fmla="*/ 3557193 w 6884782"/>
              <a:gd name="connsiteY71127" fmla="*/ 5533913 h 5973007"/>
              <a:gd name="connsiteX71128" fmla="*/ 3522405 w 6884782"/>
              <a:gd name="connsiteY71128" fmla="*/ 5517187 h 5973007"/>
              <a:gd name="connsiteX71129" fmla="*/ 3520481 w 6884782"/>
              <a:gd name="connsiteY71129" fmla="*/ 5516158 h 5973007"/>
              <a:gd name="connsiteX71130" fmla="*/ 3512389 w 6884782"/>
              <a:gd name="connsiteY71130" fmla="*/ 5517956 h 5973007"/>
              <a:gd name="connsiteX71131" fmla="*/ 3514868 w 6884782"/>
              <a:gd name="connsiteY71131" fmla="*/ 5522190 h 5973007"/>
              <a:gd name="connsiteX71132" fmla="*/ 3508517 w 6884782"/>
              <a:gd name="connsiteY71132" fmla="*/ 5520332 h 5973007"/>
              <a:gd name="connsiteX71133" fmla="*/ 3506968 w 6884782"/>
              <a:gd name="connsiteY71133" fmla="*/ 5519196 h 5973007"/>
              <a:gd name="connsiteX71134" fmla="*/ 3502631 w 6884782"/>
              <a:gd name="connsiteY71134" fmla="*/ 5520125 h 5973007"/>
              <a:gd name="connsiteX71135" fmla="*/ 3494731 w 6884782"/>
              <a:gd name="connsiteY71135" fmla="*/ 5526630 h 5973007"/>
              <a:gd name="connsiteX71136" fmla="*/ 3492407 w 6884782"/>
              <a:gd name="connsiteY71136" fmla="*/ 5527146 h 5973007"/>
              <a:gd name="connsiteX71137" fmla="*/ 3498913 w 6884782"/>
              <a:gd name="connsiteY71137" fmla="*/ 5540570 h 5973007"/>
              <a:gd name="connsiteX71138" fmla="*/ 3501081 w 6884782"/>
              <a:gd name="connsiteY71138" fmla="*/ 5557710 h 5973007"/>
              <a:gd name="connsiteX71139" fmla="*/ 3506193 w 6884782"/>
              <a:gd name="connsiteY71139" fmla="*/ 5558949 h 5973007"/>
              <a:gd name="connsiteX71140" fmla="*/ 3530047 w 6884782"/>
              <a:gd name="connsiteY71140" fmla="*/ 5561841 h 5973007"/>
              <a:gd name="connsiteX71141" fmla="*/ 3513164 w 6884782"/>
              <a:gd name="connsiteY71141" fmla="*/ 5566797 h 5973007"/>
              <a:gd name="connsiteX71142" fmla="*/ 3503250 w 6884782"/>
              <a:gd name="connsiteY71142" fmla="*/ 5563906 h 5973007"/>
              <a:gd name="connsiteX71143" fmla="*/ 3501546 w 6884782"/>
              <a:gd name="connsiteY71143" fmla="*/ 5561531 h 5973007"/>
              <a:gd name="connsiteX71144" fmla="*/ 3501856 w 6884782"/>
              <a:gd name="connsiteY71144" fmla="*/ 5563286 h 5973007"/>
              <a:gd name="connsiteX71145" fmla="*/ 3497984 w 6884782"/>
              <a:gd name="connsiteY71145" fmla="*/ 5586003 h 5973007"/>
              <a:gd name="connsiteX71146" fmla="*/ 3465765 w 6884782"/>
              <a:gd name="connsiteY71146" fmla="*/ 5629163 h 5973007"/>
              <a:gd name="connsiteX71147" fmla="*/ 3429984 w 6884782"/>
              <a:gd name="connsiteY71147" fmla="*/ 5640109 h 5973007"/>
              <a:gd name="connsiteX71148" fmla="*/ 3425492 w 6884782"/>
              <a:gd name="connsiteY71148" fmla="*/ 5639386 h 5973007"/>
              <a:gd name="connsiteX71149" fmla="*/ 3424253 w 6884782"/>
              <a:gd name="connsiteY71149" fmla="*/ 5640418 h 5973007"/>
              <a:gd name="connsiteX71150" fmla="*/ 3419761 w 6884782"/>
              <a:gd name="connsiteY71150" fmla="*/ 5642484 h 5973007"/>
              <a:gd name="connsiteX71151" fmla="*/ 3420535 w 6884782"/>
              <a:gd name="connsiteY71151" fmla="*/ 5640109 h 5973007"/>
              <a:gd name="connsiteX71152" fmla="*/ 3422085 w 6884782"/>
              <a:gd name="connsiteY71152" fmla="*/ 5638766 h 5973007"/>
              <a:gd name="connsiteX71153" fmla="*/ 3415579 w 6884782"/>
              <a:gd name="connsiteY71153" fmla="*/ 5637631 h 5973007"/>
              <a:gd name="connsiteX71154" fmla="*/ 3377629 w 6884782"/>
              <a:gd name="connsiteY71154" fmla="*/ 5610887 h 5973007"/>
              <a:gd name="connsiteX71155" fmla="*/ 3374996 w 6884782"/>
              <a:gd name="connsiteY71155" fmla="*/ 5606550 h 5973007"/>
              <a:gd name="connsiteX71156" fmla="*/ 3374377 w 6884782"/>
              <a:gd name="connsiteY71156" fmla="*/ 5607067 h 5973007"/>
              <a:gd name="connsiteX71157" fmla="*/ 3374686 w 6884782"/>
              <a:gd name="connsiteY71157" fmla="*/ 5607377 h 5973007"/>
              <a:gd name="connsiteX71158" fmla="*/ 3373912 w 6884782"/>
              <a:gd name="connsiteY71158" fmla="*/ 5606963 h 5973007"/>
              <a:gd name="connsiteX71159" fmla="*/ 3371589 w 6884782"/>
              <a:gd name="connsiteY71159" fmla="*/ 5607583 h 5973007"/>
              <a:gd name="connsiteX71160" fmla="*/ 3367251 w 6884782"/>
              <a:gd name="connsiteY71160" fmla="*/ 5610887 h 5973007"/>
              <a:gd name="connsiteX71161" fmla="*/ 3361365 w 6884782"/>
              <a:gd name="connsiteY71161" fmla="*/ 5611404 h 5973007"/>
              <a:gd name="connsiteX71162" fmla="*/ 3360591 w 6884782"/>
              <a:gd name="connsiteY71162" fmla="*/ 5609028 h 5973007"/>
              <a:gd name="connsiteX71163" fmla="*/ 3358267 w 6884782"/>
              <a:gd name="connsiteY71163" fmla="*/ 5609648 h 5973007"/>
              <a:gd name="connsiteX71164" fmla="*/ 3348819 w 6884782"/>
              <a:gd name="connsiteY71164" fmla="*/ 5603246 h 5973007"/>
              <a:gd name="connsiteX71165" fmla="*/ 3348974 w 6884782"/>
              <a:gd name="connsiteY71165" fmla="*/ 5602110 h 5973007"/>
              <a:gd name="connsiteX71166" fmla="*/ 3347424 w 6884782"/>
              <a:gd name="connsiteY71166" fmla="*/ 5601078 h 5973007"/>
              <a:gd name="connsiteX71167" fmla="*/ 3348664 w 6884782"/>
              <a:gd name="connsiteY71167" fmla="*/ 5599322 h 5973007"/>
              <a:gd name="connsiteX71168" fmla="*/ 3348354 w 6884782"/>
              <a:gd name="connsiteY71168" fmla="*/ 5598187 h 5973007"/>
              <a:gd name="connsiteX71169" fmla="*/ 3348664 w 6884782"/>
              <a:gd name="connsiteY71169" fmla="*/ 5597670 h 5973007"/>
              <a:gd name="connsiteX71170" fmla="*/ 3345256 w 6884782"/>
              <a:gd name="connsiteY71170" fmla="*/ 5596844 h 5973007"/>
              <a:gd name="connsiteX71171" fmla="*/ 3346805 w 6884782"/>
              <a:gd name="connsiteY71171" fmla="*/ 5591372 h 5973007"/>
              <a:gd name="connsiteX71172" fmla="*/ 3351142 w 6884782"/>
              <a:gd name="connsiteY71172" fmla="*/ 5592508 h 5973007"/>
              <a:gd name="connsiteX71173" fmla="*/ 3354395 w 6884782"/>
              <a:gd name="connsiteY71173" fmla="*/ 5593127 h 5973007"/>
              <a:gd name="connsiteX71174" fmla="*/ 3358887 w 6884782"/>
              <a:gd name="connsiteY71174" fmla="*/ 5590029 h 5973007"/>
              <a:gd name="connsiteX71175" fmla="*/ 3354550 w 6884782"/>
              <a:gd name="connsiteY71175" fmla="*/ 5589513 h 5973007"/>
              <a:gd name="connsiteX71176" fmla="*/ 3346960 w 6884782"/>
              <a:gd name="connsiteY71176" fmla="*/ 5585176 h 5973007"/>
              <a:gd name="connsiteX71177" fmla="*/ 3346340 w 6884782"/>
              <a:gd name="connsiteY71177" fmla="*/ 5584453 h 5973007"/>
              <a:gd name="connsiteX71178" fmla="*/ 3346960 w 6884782"/>
              <a:gd name="connsiteY71178" fmla="*/ 5585899 h 5973007"/>
              <a:gd name="connsiteX71179" fmla="*/ 3346031 w 6884782"/>
              <a:gd name="connsiteY71179" fmla="*/ 5587551 h 5973007"/>
              <a:gd name="connsiteX71180" fmla="*/ 3343088 w 6884782"/>
              <a:gd name="connsiteY71180" fmla="*/ 5590546 h 5973007"/>
              <a:gd name="connsiteX71181" fmla="*/ 3340299 w 6884782"/>
              <a:gd name="connsiteY71181" fmla="*/ 5588997 h 5973007"/>
              <a:gd name="connsiteX71182" fmla="*/ 3339525 w 6884782"/>
              <a:gd name="connsiteY71182" fmla="*/ 5585280 h 5973007"/>
              <a:gd name="connsiteX71183" fmla="*/ 3342313 w 6884782"/>
              <a:gd name="connsiteY71183" fmla="*/ 5578981 h 5973007"/>
              <a:gd name="connsiteX71184" fmla="*/ 3343707 w 6884782"/>
              <a:gd name="connsiteY71184" fmla="*/ 5579910 h 5973007"/>
              <a:gd name="connsiteX71185" fmla="*/ 3347889 w 6884782"/>
              <a:gd name="connsiteY71185" fmla="*/ 5572786 h 5973007"/>
              <a:gd name="connsiteX71186" fmla="*/ 3354705 w 6884782"/>
              <a:gd name="connsiteY71186" fmla="*/ 5568346 h 5973007"/>
              <a:gd name="connsiteX71187" fmla="*/ 3359506 w 6884782"/>
              <a:gd name="connsiteY71187" fmla="*/ 5567519 h 5973007"/>
              <a:gd name="connsiteX71188" fmla="*/ 3356409 w 6884782"/>
              <a:gd name="connsiteY71188" fmla="*/ 5565351 h 5973007"/>
              <a:gd name="connsiteX71189" fmla="*/ 3348509 w 6884782"/>
              <a:gd name="connsiteY71189" fmla="*/ 5552960 h 5973007"/>
              <a:gd name="connsiteX71190" fmla="*/ 3349903 w 6884782"/>
              <a:gd name="connsiteY71190" fmla="*/ 5550999 h 5973007"/>
              <a:gd name="connsiteX71191" fmla="*/ 3347579 w 6884782"/>
              <a:gd name="connsiteY71191" fmla="*/ 5551308 h 5973007"/>
              <a:gd name="connsiteX71192" fmla="*/ 3327598 w 6884782"/>
              <a:gd name="connsiteY71192" fmla="*/ 5552651 h 5973007"/>
              <a:gd name="connsiteX71193" fmla="*/ 3327133 w 6884782"/>
              <a:gd name="connsiteY71193" fmla="*/ 5552651 h 5973007"/>
              <a:gd name="connsiteX71194" fmla="*/ 3336427 w 6884782"/>
              <a:gd name="connsiteY71194" fmla="*/ 5557710 h 5973007"/>
              <a:gd name="connsiteX71195" fmla="*/ 3345411 w 6884782"/>
              <a:gd name="connsiteY71195" fmla="*/ 5567726 h 5973007"/>
              <a:gd name="connsiteX71196" fmla="*/ 3328527 w 6884782"/>
              <a:gd name="connsiteY71196" fmla="*/ 5557504 h 5973007"/>
              <a:gd name="connsiteX71197" fmla="*/ 3326204 w 6884782"/>
              <a:gd name="connsiteY71197" fmla="*/ 5552651 h 5973007"/>
              <a:gd name="connsiteX71198" fmla="*/ 3316755 w 6884782"/>
              <a:gd name="connsiteY71198" fmla="*/ 5552341 h 5973007"/>
              <a:gd name="connsiteX71199" fmla="*/ 3306222 w 6884782"/>
              <a:gd name="connsiteY71199" fmla="*/ 5551412 h 5973007"/>
              <a:gd name="connsiteX71200" fmla="*/ 3304363 w 6884782"/>
              <a:gd name="connsiteY71200" fmla="*/ 5556781 h 5973007"/>
              <a:gd name="connsiteX71201" fmla="*/ 3298787 w 6884782"/>
              <a:gd name="connsiteY71201" fmla="*/ 5556781 h 5973007"/>
              <a:gd name="connsiteX71202" fmla="*/ 3300491 w 6884782"/>
              <a:gd name="connsiteY71202" fmla="*/ 5559569 h 5973007"/>
              <a:gd name="connsiteX71203" fmla="*/ 3299871 w 6884782"/>
              <a:gd name="connsiteY71203" fmla="*/ 5564938 h 5973007"/>
              <a:gd name="connsiteX71204" fmla="*/ 3296154 w 6884782"/>
              <a:gd name="connsiteY71204" fmla="*/ 5566590 h 5973007"/>
              <a:gd name="connsiteX71205" fmla="*/ 3288874 w 6884782"/>
              <a:gd name="connsiteY71205" fmla="*/ 5562253 h 5973007"/>
              <a:gd name="connsiteX71206" fmla="*/ 3290113 w 6884782"/>
              <a:gd name="connsiteY71206" fmla="*/ 5557297 h 5973007"/>
              <a:gd name="connsiteX71207" fmla="*/ 3292281 w 6884782"/>
              <a:gd name="connsiteY71207" fmla="*/ 5556471 h 5973007"/>
              <a:gd name="connsiteX71208" fmla="*/ 3285311 w 6884782"/>
              <a:gd name="connsiteY71208" fmla="*/ 5555439 h 5973007"/>
              <a:gd name="connsiteX71209" fmla="*/ 3273229 w 6884782"/>
              <a:gd name="connsiteY71209" fmla="*/ 5552444 h 5973007"/>
              <a:gd name="connsiteX71210" fmla="*/ 3269202 w 6884782"/>
              <a:gd name="connsiteY71210" fmla="*/ 5558020 h 5973007"/>
              <a:gd name="connsiteX71211" fmla="*/ 3264865 w 6884782"/>
              <a:gd name="connsiteY71211" fmla="*/ 5549140 h 5973007"/>
              <a:gd name="connsiteX71212" fmla="*/ 3243644 w 6884782"/>
              <a:gd name="connsiteY71212" fmla="*/ 5553890 h 5973007"/>
              <a:gd name="connsiteX71213" fmla="*/ 3252473 w 6884782"/>
              <a:gd name="connsiteY71213" fmla="*/ 5551412 h 5973007"/>
              <a:gd name="connsiteX71214" fmla="*/ 3237758 w 6884782"/>
              <a:gd name="connsiteY71214" fmla="*/ 5546042 h 5973007"/>
              <a:gd name="connsiteX71215" fmla="*/ 3237603 w 6884782"/>
              <a:gd name="connsiteY71215" fmla="*/ 5546042 h 5973007"/>
              <a:gd name="connsiteX71216" fmla="*/ 3238223 w 6884782"/>
              <a:gd name="connsiteY71216" fmla="*/ 5551515 h 5973007"/>
              <a:gd name="connsiteX71217" fmla="*/ 3239462 w 6884782"/>
              <a:gd name="connsiteY71217" fmla="*/ 5568758 h 5973007"/>
              <a:gd name="connsiteX71218" fmla="*/ 3232801 w 6884782"/>
              <a:gd name="connsiteY71218" fmla="*/ 5558330 h 5973007"/>
              <a:gd name="connsiteX71219" fmla="*/ 3230787 w 6884782"/>
              <a:gd name="connsiteY71219" fmla="*/ 5552031 h 5973007"/>
              <a:gd name="connsiteX71220" fmla="*/ 3230633 w 6884782"/>
              <a:gd name="connsiteY71220" fmla="*/ 5550276 h 5973007"/>
              <a:gd name="connsiteX71221" fmla="*/ 3228929 w 6884782"/>
              <a:gd name="connsiteY71221" fmla="*/ 5548314 h 5973007"/>
              <a:gd name="connsiteX71222" fmla="*/ 3219635 w 6884782"/>
              <a:gd name="connsiteY71222" fmla="*/ 5545732 h 5973007"/>
              <a:gd name="connsiteX71223" fmla="*/ 3217776 w 6884782"/>
              <a:gd name="connsiteY71223" fmla="*/ 5551205 h 5973007"/>
              <a:gd name="connsiteX71224" fmla="*/ 3214678 w 6884782"/>
              <a:gd name="connsiteY71224" fmla="*/ 5548933 h 5973007"/>
              <a:gd name="connsiteX71225" fmla="*/ 3214523 w 6884782"/>
              <a:gd name="connsiteY71225" fmla="*/ 5551308 h 5973007"/>
              <a:gd name="connsiteX71226" fmla="*/ 3221184 w 6884782"/>
              <a:gd name="connsiteY71226" fmla="*/ 5563183 h 5973007"/>
              <a:gd name="connsiteX71227" fmla="*/ 3212355 w 6884782"/>
              <a:gd name="connsiteY71227" fmla="*/ 5588893 h 5973007"/>
              <a:gd name="connsiteX71228" fmla="*/ 3185248 w 6884782"/>
              <a:gd name="connsiteY71228" fmla="*/ 5604485 h 5973007"/>
              <a:gd name="connsiteX71229" fmla="*/ 3177503 w 6884782"/>
              <a:gd name="connsiteY71229" fmla="*/ 5601181 h 5973007"/>
              <a:gd name="connsiteX71230" fmla="*/ 3170843 w 6884782"/>
              <a:gd name="connsiteY71230" fmla="*/ 5599736 h 5973007"/>
              <a:gd name="connsiteX71231" fmla="*/ 3171927 w 6884782"/>
              <a:gd name="connsiteY71231" fmla="*/ 5603453 h 5973007"/>
              <a:gd name="connsiteX71232" fmla="*/ 3173166 w 6884782"/>
              <a:gd name="connsiteY71232" fmla="*/ 5610061 h 5973007"/>
              <a:gd name="connsiteX71233" fmla="*/ 3163098 w 6884782"/>
              <a:gd name="connsiteY71233" fmla="*/ 5619871 h 5973007"/>
              <a:gd name="connsiteX71234" fmla="*/ 3162323 w 6884782"/>
              <a:gd name="connsiteY71234" fmla="*/ 5619148 h 5973007"/>
              <a:gd name="connsiteX71235" fmla="*/ 3160619 w 6884782"/>
              <a:gd name="connsiteY71235" fmla="*/ 5618425 h 5973007"/>
              <a:gd name="connsiteX71236" fmla="*/ 3157986 w 6884782"/>
              <a:gd name="connsiteY71236" fmla="*/ 5619457 h 5973007"/>
              <a:gd name="connsiteX71237" fmla="*/ 3155508 w 6884782"/>
              <a:gd name="connsiteY71237" fmla="*/ 5618115 h 5973007"/>
              <a:gd name="connsiteX71238" fmla="*/ 3153959 w 6884782"/>
              <a:gd name="connsiteY71238" fmla="*/ 5613882 h 5973007"/>
              <a:gd name="connsiteX71239" fmla="*/ 3154733 w 6884782"/>
              <a:gd name="connsiteY71239" fmla="*/ 5613159 h 5973007"/>
              <a:gd name="connsiteX71240" fmla="*/ 3153340 w 6884782"/>
              <a:gd name="connsiteY71240" fmla="*/ 5607996 h 5973007"/>
              <a:gd name="connsiteX71241" fmla="*/ 3153804 w 6884782"/>
              <a:gd name="connsiteY71241" fmla="*/ 5604692 h 5973007"/>
              <a:gd name="connsiteX71242" fmla="*/ 3152565 w 6884782"/>
              <a:gd name="connsiteY71242" fmla="*/ 5609648 h 5973007"/>
              <a:gd name="connsiteX71243" fmla="*/ 3151791 w 6884782"/>
              <a:gd name="connsiteY71243" fmla="*/ 5611404 h 5973007"/>
              <a:gd name="connsiteX71244" fmla="*/ 3152720 w 6884782"/>
              <a:gd name="connsiteY71244" fmla="*/ 5611507 h 5973007"/>
              <a:gd name="connsiteX71245" fmla="*/ 3151636 w 6884782"/>
              <a:gd name="connsiteY71245" fmla="*/ 5612436 h 5973007"/>
              <a:gd name="connsiteX71246" fmla="*/ 3151636 w 6884782"/>
              <a:gd name="connsiteY71246" fmla="*/ 5612539 h 5973007"/>
              <a:gd name="connsiteX71247" fmla="*/ 3151636 w 6884782"/>
              <a:gd name="connsiteY71247" fmla="*/ 5613469 h 5973007"/>
              <a:gd name="connsiteX71248" fmla="*/ 3149157 w 6884782"/>
              <a:gd name="connsiteY71248" fmla="*/ 5616360 h 5973007"/>
              <a:gd name="connsiteX71249" fmla="*/ 3148383 w 6884782"/>
              <a:gd name="connsiteY71249" fmla="*/ 5616256 h 5973007"/>
              <a:gd name="connsiteX71250" fmla="*/ 3148538 w 6884782"/>
              <a:gd name="connsiteY71250" fmla="*/ 5621006 h 5973007"/>
              <a:gd name="connsiteX71251" fmla="*/ 3148228 w 6884782"/>
              <a:gd name="connsiteY71251" fmla="*/ 5622452 h 5973007"/>
              <a:gd name="connsiteX71252" fmla="*/ 3148693 w 6884782"/>
              <a:gd name="connsiteY71252" fmla="*/ 5622761 h 5973007"/>
              <a:gd name="connsiteX71253" fmla="*/ 3148073 w 6884782"/>
              <a:gd name="connsiteY71253" fmla="*/ 5623484 h 5973007"/>
              <a:gd name="connsiteX71254" fmla="*/ 3147298 w 6884782"/>
              <a:gd name="connsiteY71254" fmla="*/ 5627924 h 5973007"/>
              <a:gd name="connsiteX71255" fmla="*/ 3143581 w 6884782"/>
              <a:gd name="connsiteY71255" fmla="*/ 5631229 h 5973007"/>
              <a:gd name="connsiteX71256" fmla="*/ 3142807 w 6884782"/>
              <a:gd name="connsiteY71256" fmla="*/ 5625343 h 5973007"/>
              <a:gd name="connsiteX71257" fmla="*/ 3142497 w 6884782"/>
              <a:gd name="connsiteY71257" fmla="*/ 5625033 h 5973007"/>
              <a:gd name="connsiteX71258" fmla="*/ 3142651 w 6884782"/>
              <a:gd name="connsiteY71258" fmla="*/ 5624620 h 5973007"/>
              <a:gd name="connsiteX71259" fmla="*/ 3142032 w 6884782"/>
              <a:gd name="connsiteY71259" fmla="*/ 5617806 h 5973007"/>
              <a:gd name="connsiteX71260" fmla="*/ 3143116 w 6884782"/>
              <a:gd name="connsiteY71260" fmla="*/ 5611197 h 5973007"/>
              <a:gd name="connsiteX71261" fmla="*/ 3142187 w 6884782"/>
              <a:gd name="connsiteY71261" fmla="*/ 5611094 h 5973007"/>
              <a:gd name="connsiteX71262" fmla="*/ 3129950 w 6884782"/>
              <a:gd name="connsiteY71262" fmla="*/ 5610474 h 5973007"/>
              <a:gd name="connsiteX71263" fmla="*/ 3131654 w 6884782"/>
              <a:gd name="connsiteY71263" fmla="*/ 5601801 h 5973007"/>
              <a:gd name="connsiteX71264" fmla="*/ 3143426 w 6884782"/>
              <a:gd name="connsiteY71264" fmla="*/ 5595915 h 5973007"/>
              <a:gd name="connsiteX71265" fmla="*/ 3143736 w 6884782"/>
              <a:gd name="connsiteY71265" fmla="*/ 5596121 h 5973007"/>
              <a:gd name="connsiteX71266" fmla="*/ 3148693 w 6884782"/>
              <a:gd name="connsiteY71266" fmla="*/ 5596121 h 5973007"/>
              <a:gd name="connsiteX71267" fmla="*/ 3149467 w 6884782"/>
              <a:gd name="connsiteY71267" fmla="*/ 5597670 h 5973007"/>
              <a:gd name="connsiteX71268" fmla="*/ 3152410 w 6884782"/>
              <a:gd name="connsiteY71268" fmla="*/ 5596948 h 5973007"/>
              <a:gd name="connsiteX71269" fmla="*/ 3154269 w 6884782"/>
              <a:gd name="connsiteY71269" fmla="*/ 5603349 h 5973007"/>
              <a:gd name="connsiteX71270" fmla="*/ 3164492 w 6884782"/>
              <a:gd name="connsiteY71270" fmla="*/ 5598393 h 5973007"/>
              <a:gd name="connsiteX71271" fmla="*/ 3166816 w 6884782"/>
              <a:gd name="connsiteY71271" fmla="*/ 5599013 h 5973007"/>
              <a:gd name="connsiteX71272" fmla="*/ 3168055 w 6884782"/>
              <a:gd name="connsiteY71272" fmla="*/ 5599116 h 5973007"/>
              <a:gd name="connsiteX71273" fmla="*/ 3159845 w 6884782"/>
              <a:gd name="connsiteY71273" fmla="*/ 5596225 h 5973007"/>
              <a:gd name="connsiteX71274" fmla="*/ 3153959 w 6884782"/>
              <a:gd name="connsiteY71274" fmla="*/ 5589720 h 5973007"/>
              <a:gd name="connsiteX71275" fmla="*/ 3153495 w 6884782"/>
              <a:gd name="connsiteY71275" fmla="*/ 5577639 h 5973007"/>
              <a:gd name="connsiteX71276" fmla="*/ 3153340 w 6884782"/>
              <a:gd name="connsiteY71276" fmla="*/ 5577225 h 5973007"/>
              <a:gd name="connsiteX71277" fmla="*/ 3153185 w 6884782"/>
              <a:gd name="connsiteY71277" fmla="*/ 5577432 h 5973007"/>
              <a:gd name="connsiteX71278" fmla="*/ 3152720 w 6884782"/>
              <a:gd name="connsiteY71278" fmla="*/ 5576916 h 5973007"/>
              <a:gd name="connsiteX71279" fmla="*/ 3151945 w 6884782"/>
              <a:gd name="connsiteY71279" fmla="*/ 5575986 h 5973007"/>
              <a:gd name="connsiteX71280" fmla="*/ 3151791 w 6884782"/>
              <a:gd name="connsiteY71280" fmla="*/ 5575677 h 5973007"/>
              <a:gd name="connsiteX71281" fmla="*/ 3152410 w 6884782"/>
              <a:gd name="connsiteY71281" fmla="*/ 5574644 h 5973007"/>
              <a:gd name="connsiteX71282" fmla="*/ 3151791 w 6884782"/>
              <a:gd name="connsiteY71282" fmla="*/ 5573199 h 5973007"/>
              <a:gd name="connsiteX71283" fmla="*/ 3150396 w 6884782"/>
              <a:gd name="connsiteY71283" fmla="*/ 5568552 h 5973007"/>
              <a:gd name="connsiteX71284" fmla="*/ 3155508 w 6884782"/>
              <a:gd name="connsiteY71284" fmla="*/ 5557194 h 5973007"/>
              <a:gd name="connsiteX71285" fmla="*/ 3157676 w 6884782"/>
              <a:gd name="connsiteY71285" fmla="*/ 5553993 h 5973007"/>
              <a:gd name="connsiteX71286" fmla="*/ 3159226 w 6884782"/>
              <a:gd name="connsiteY71286" fmla="*/ 5550999 h 5973007"/>
              <a:gd name="connsiteX71287" fmla="*/ 3159380 w 6884782"/>
              <a:gd name="connsiteY71287" fmla="*/ 5550689 h 5973007"/>
              <a:gd name="connsiteX71288" fmla="*/ 3160465 w 6884782"/>
              <a:gd name="connsiteY71288" fmla="*/ 5543564 h 5973007"/>
              <a:gd name="connsiteX71289" fmla="*/ 3164647 w 6884782"/>
              <a:gd name="connsiteY71289" fmla="*/ 5537575 h 5973007"/>
              <a:gd name="connsiteX71290" fmla="*/ 3168364 w 6884782"/>
              <a:gd name="connsiteY71290" fmla="*/ 5535923 h 5973007"/>
              <a:gd name="connsiteX71291" fmla="*/ 3171152 w 6884782"/>
              <a:gd name="connsiteY71291" fmla="*/ 5535613 h 5973007"/>
              <a:gd name="connsiteX71292" fmla="*/ 3169759 w 6884782"/>
              <a:gd name="connsiteY71292" fmla="*/ 5534890 h 5973007"/>
              <a:gd name="connsiteX71293" fmla="*/ 3171772 w 6884782"/>
              <a:gd name="connsiteY71293" fmla="*/ 5526423 h 5973007"/>
              <a:gd name="connsiteX71294" fmla="*/ 3166506 w 6884782"/>
              <a:gd name="connsiteY71294" fmla="*/ 5531174 h 5973007"/>
              <a:gd name="connsiteX71295" fmla="*/ 3162788 w 6884782"/>
              <a:gd name="connsiteY71295" fmla="*/ 5529005 h 5973007"/>
              <a:gd name="connsiteX71296" fmla="*/ 3158761 w 6884782"/>
              <a:gd name="connsiteY71296" fmla="*/ 5529315 h 5973007"/>
              <a:gd name="connsiteX71297" fmla="*/ 3159690 w 6884782"/>
              <a:gd name="connsiteY71297" fmla="*/ 5524152 h 5973007"/>
              <a:gd name="connsiteX71298" fmla="*/ 3163253 w 6884782"/>
              <a:gd name="connsiteY71298" fmla="*/ 5526940 h 5973007"/>
              <a:gd name="connsiteX71299" fmla="*/ 3162943 w 6884782"/>
              <a:gd name="connsiteY71299" fmla="*/ 5528489 h 5973007"/>
              <a:gd name="connsiteX71300" fmla="*/ 3166970 w 6884782"/>
              <a:gd name="connsiteY71300" fmla="*/ 5526320 h 5973007"/>
              <a:gd name="connsiteX71301" fmla="*/ 3169759 w 6884782"/>
              <a:gd name="connsiteY71301" fmla="*/ 5519712 h 5973007"/>
              <a:gd name="connsiteX71302" fmla="*/ 3166661 w 6884782"/>
              <a:gd name="connsiteY71302" fmla="*/ 5518060 h 5973007"/>
              <a:gd name="connsiteX71303" fmla="*/ 3164802 w 6884782"/>
              <a:gd name="connsiteY71303" fmla="*/ 5518370 h 5973007"/>
              <a:gd name="connsiteX71304" fmla="*/ 3164957 w 6884782"/>
              <a:gd name="connsiteY71304" fmla="*/ 5518576 h 5973007"/>
              <a:gd name="connsiteX71305" fmla="*/ 3163408 w 6884782"/>
              <a:gd name="connsiteY71305" fmla="*/ 5519092 h 5973007"/>
              <a:gd name="connsiteX71306" fmla="*/ 3163253 w 6884782"/>
              <a:gd name="connsiteY71306" fmla="*/ 5520745 h 5973007"/>
              <a:gd name="connsiteX71307" fmla="*/ 3160000 w 6884782"/>
              <a:gd name="connsiteY71307" fmla="*/ 5522810 h 5973007"/>
              <a:gd name="connsiteX71308" fmla="*/ 3160619 w 6884782"/>
              <a:gd name="connsiteY71308" fmla="*/ 5520228 h 5973007"/>
              <a:gd name="connsiteX71309" fmla="*/ 3156902 w 6884782"/>
              <a:gd name="connsiteY71309" fmla="*/ 5521674 h 5973007"/>
              <a:gd name="connsiteX71310" fmla="*/ 3151636 w 6884782"/>
              <a:gd name="connsiteY71310" fmla="*/ 5516305 h 5973007"/>
              <a:gd name="connsiteX71311" fmla="*/ 3155043 w 6884782"/>
              <a:gd name="connsiteY71311" fmla="*/ 5513620 h 5973007"/>
              <a:gd name="connsiteX71312" fmla="*/ 3149467 w 6884782"/>
              <a:gd name="connsiteY71312" fmla="*/ 5511245 h 5973007"/>
              <a:gd name="connsiteX71313" fmla="*/ 3153649 w 6884782"/>
              <a:gd name="connsiteY71313" fmla="*/ 5510625 h 5973007"/>
              <a:gd name="connsiteX71314" fmla="*/ 3157367 w 6884782"/>
              <a:gd name="connsiteY71314" fmla="*/ 5511555 h 5973007"/>
              <a:gd name="connsiteX71315" fmla="*/ 3158606 w 6884782"/>
              <a:gd name="connsiteY71315" fmla="*/ 5510522 h 5973007"/>
              <a:gd name="connsiteX71316" fmla="*/ 3157367 w 6884782"/>
              <a:gd name="connsiteY71316" fmla="*/ 5507528 h 5973007"/>
              <a:gd name="connsiteX71317" fmla="*/ 3150706 w 6884782"/>
              <a:gd name="connsiteY71317" fmla="*/ 5505669 h 5973007"/>
              <a:gd name="connsiteX71318" fmla="*/ 3160929 w 6884782"/>
              <a:gd name="connsiteY71318" fmla="*/ 5505049 h 5973007"/>
              <a:gd name="connsiteX71319" fmla="*/ 3140328 w 6884782"/>
              <a:gd name="connsiteY71319" fmla="*/ 5499474 h 5973007"/>
              <a:gd name="connsiteX71320" fmla="*/ 3139244 w 6884782"/>
              <a:gd name="connsiteY71320" fmla="*/ 5499371 h 5973007"/>
              <a:gd name="connsiteX71321" fmla="*/ 3135216 w 6884782"/>
              <a:gd name="connsiteY71321" fmla="*/ 5507011 h 5973007"/>
              <a:gd name="connsiteX71322" fmla="*/ 3128556 w 6884782"/>
              <a:gd name="connsiteY71322" fmla="*/ 5514962 h 5973007"/>
              <a:gd name="connsiteX71323" fmla="*/ 3126078 w 6884782"/>
              <a:gd name="connsiteY71323" fmla="*/ 5502572 h 5973007"/>
              <a:gd name="connsiteX71324" fmla="*/ 3126542 w 6884782"/>
              <a:gd name="connsiteY71324" fmla="*/ 5499990 h 5973007"/>
              <a:gd name="connsiteX71325" fmla="*/ 3120656 w 6884782"/>
              <a:gd name="connsiteY71325" fmla="*/ 5502365 h 5973007"/>
              <a:gd name="connsiteX71326" fmla="*/ 3118023 w 6884782"/>
              <a:gd name="connsiteY71326" fmla="*/ 5501126 h 5973007"/>
              <a:gd name="connsiteX71327" fmla="*/ 3115235 w 6884782"/>
              <a:gd name="connsiteY71327" fmla="*/ 5499267 h 5973007"/>
              <a:gd name="connsiteX71328" fmla="*/ 3114461 w 6884782"/>
              <a:gd name="connsiteY71328" fmla="*/ 5500300 h 5973007"/>
              <a:gd name="connsiteX71329" fmla="*/ 3113686 w 6884782"/>
              <a:gd name="connsiteY71329" fmla="*/ 5499061 h 5973007"/>
              <a:gd name="connsiteX71330" fmla="*/ 3112757 w 6884782"/>
              <a:gd name="connsiteY71330" fmla="*/ 5499061 h 5973007"/>
              <a:gd name="connsiteX71331" fmla="*/ 3110898 w 6884782"/>
              <a:gd name="connsiteY71331" fmla="*/ 5500816 h 5973007"/>
              <a:gd name="connsiteX71332" fmla="*/ 3105012 w 6884782"/>
              <a:gd name="connsiteY71332" fmla="*/ 5495963 h 5973007"/>
              <a:gd name="connsiteX71333" fmla="*/ 3104857 w 6884782"/>
              <a:gd name="connsiteY71333" fmla="*/ 5497512 h 5973007"/>
              <a:gd name="connsiteX71334" fmla="*/ 3100829 w 6884782"/>
              <a:gd name="connsiteY71334" fmla="*/ 5500196 h 5973007"/>
              <a:gd name="connsiteX71335" fmla="*/ 3099126 w 6884782"/>
              <a:gd name="connsiteY71335" fmla="*/ 5499164 h 5973007"/>
              <a:gd name="connsiteX71336" fmla="*/ 3099900 w 6884782"/>
              <a:gd name="connsiteY71336" fmla="*/ 5495137 h 5973007"/>
              <a:gd name="connsiteX71337" fmla="*/ 3102533 w 6884782"/>
              <a:gd name="connsiteY71337" fmla="*/ 5494414 h 5973007"/>
              <a:gd name="connsiteX71338" fmla="*/ 3093705 w 6884782"/>
              <a:gd name="connsiteY71338" fmla="*/ 5491833 h 5973007"/>
              <a:gd name="connsiteX71339" fmla="*/ 3091226 w 6884782"/>
              <a:gd name="connsiteY71339" fmla="*/ 5491420 h 5973007"/>
              <a:gd name="connsiteX71340" fmla="*/ 3088438 w 6884782"/>
              <a:gd name="connsiteY71340" fmla="*/ 5493382 h 5973007"/>
              <a:gd name="connsiteX71341" fmla="*/ 3086734 w 6884782"/>
              <a:gd name="connsiteY71341" fmla="*/ 5492349 h 5973007"/>
              <a:gd name="connsiteX71342" fmla="*/ 3085030 w 6884782"/>
              <a:gd name="connsiteY71342" fmla="*/ 5490697 h 5973007"/>
              <a:gd name="connsiteX71343" fmla="*/ 3085030 w 6884782"/>
              <a:gd name="connsiteY71343" fmla="*/ 5490593 h 5973007"/>
              <a:gd name="connsiteX71344" fmla="*/ 3084720 w 6884782"/>
              <a:gd name="connsiteY71344" fmla="*/ 5490490 h 5973007"/>
              <a:gd name="connsiteX71345" fmla="*/ 3078525 w 6884782"/>
              <a:gd name="connsiteY71345" fmla="*/ 5487083 h 5973007"/>
              <a:gd name="connsiteX71346" fmla="*/ 3083016 w 6884782"/>
              <a:gd name="connsiteY71346" fmla="*/ 5486877 h 5973007"/>
              <a:gd name="connsiteX71347" fmla="*/ 3083791 w 6884782"/>
              <a:gd name="connsiteY71347" fmla="*/ 5486773 h 5973007"/>
              <a:gd name="connsiteX71348" fmla="*/ 3083481 w 6884782"/>
              <a:gd name="connsiteY71348" fmla="*/ 5485947 h 5973007"/>
              <a:gd name="connsiteX71349" fmla="*/ 3085185 w 6884782"/>
              <a:gd name="connsiteY71349" fmla="*/ 5482643 h 5973007"/>
              <a:gd name="connsiteX71350" fmla="*/ 3086579 w 6884782"/>
              <a:gd name="connsiteY71350" fmla="*/ 5481714 h 5973007"/>
              <a:gd name="connsiteX71351" fmla="*/ 3087044 w 6884782"/>
              <a:gd name="connsiteY71351" fmla="*/ 5481920 h 5973007"/>
              <a:gd name="connsiteX71352" fmla="*/ 3087508 w 6884782"/>
              <a:gd name="connsiteY71352" fmla="*/ 5477893 h 5973007"/>
              <a:gd name="connsiteX71353" fmla="*/ 3057459 w 6884782"/>
              <a:gd name="connsiteY71353" fmla="*/ 5464057 h 5973007"/>
              <a:gd name="connsiteX71354" fmla="*/ 3051418 w 6884782"/>
              <a:gd name="connsiteY71354" fmla="*/ 5461062 h 5973007"/>
              <a:gd name="connsiteX71355" fmla="*/ 3049869 w 6884782"/>
              <a:gd name="connsiteY71355" fmla="*/ 5463024 h 5973007"/>
              <a:gd name="connsiteX71356" fmla="*/ 3046461 w 6884782"/>
              <a:gd name="connsiteY71356" fmla="*/ 5459204 h 5973007"/>
              <a:gd name="connsiteX71357" fmla="*/ 3046926 w 6884782"/>
              <a:gd name="connsiteY71357" fmla="*/ 5458687 h 5973007"/>
              <a:gd name="connsiteX71358" fmla="*/ 3042744 w 6884782"/>
              <a:gd name="connsiteY71358" fmla="*/ 5456622 h 5973007"/>
              <a:gd name="connsiteX71359" fmla="*/ 3042124 w 6884782"/>
              <a:gd name="connsiteY71359" fmla="*/ 5456416 h 5973007"/>
              <a:gd name="connsiteX71360" fmla="*/ 3041505 w 6884782"/>
              <a:gd name="connsiteY71360" fmla="*/ 5457965 h 5973007"/>
              <a:gd name="connsiteX71361" fmla="*/ 3039491 w 6884782"/>
              <a:gd name="connsiteY71361" fmla="*/ 5459514 h 5973007"/>
              <a:gd name="connsiteX71362" fmla="*/ 3036703 w 6884782"/>
              <a:gd name="connsiteY71362" fmla="*/ 5459204 h 5973007"/>
              <a:gd name="connsiteX71363" fmla="*/ 3034689 w 6884782"/>
              <a:gd name="connsiteY71363" fmla="*/ 5457448 h 5973007"/>
              <a:gd name="connsiteX71364" fmla="*/ 3034069 w 6884782"/>
              <a:gd name="connsiteY71364" fmla="*/ 5454970 h 5973007"/>
              <a:gd name="connsiteX71365" fmla="*/ 3034069 w 6884782"/>
              <a:gd name="connsiteY71365" fmla="*/ 5453835 h 5973007"/>
              <a:gd name="connsiteX71366" fmla="*/ 3029577 w 6884782"/>
              <a:gd name="connsiteY71366" fmla="*/ 5452492 h 5973007"/>
              <a:gd name="connsiteX71367" fmla="*/ 3027254 w 6884782"/>
              <a:gd name="connsiteY71367" fmla="*/ 5456519 h 5973007"/>
              <a:gd name="connsiteX71368" fmla="*/ 3021368 w 6884782"/>
              <a:gd name="connsiteY71368" fmla="*/ 5459514 h 5973007"/>
              <a:gd name="connsiteX71369" fmla="*/ 3024466 w 6884782"/>
              <a:gd name="connsiteY71369" fmla="*/ 5448155 h 5973007"/>
              <a:gd name="connsiteX71370" fmla="*/ 3021678 w 6884782"/>
              <a:gd name="connsiteY71370" fmla="*/ 5445058 h 5973007"/>
              <a:gd name="connsiteX71371" fmla="*/ 3015482 w 6884782"/>
              <a:gd name="connsiteY71371" fmla="*/ 5440514 h 5973007"/>
              <a:gd name="connsiteX71372" fmla="*/ 3014707 w 6884782"/>
              <a:gd name="connsiteY71372" fmla="*/ 5440101 h 5973007"/>
              <a:gd name="connsiteX71373" fmla="*/ 3014397 w 6884782"/>
              <a:gd name="connsiteY71373" fmla="*/ 5441237 h 5973007"/>
              <a:gd name="connsiteX71374" fmla="*/ 3002780 w 6884782"/>
              <a:gd name="connsiteY71374" fmla="*/ 5446297 h 5973007"/>
              <a:gd name="connsiteX71375" fmla="*/ 2995345 w 6884782"/>
              <a:gd name="connsiteY71375" fmla="*/ 5450634 h 5973007"/>
              <a:gd name="connsiteX71376" fmla="*/ 2994571 w 6884782"/>
              <a:gd name="connsiteY71376" fmla="*/ 5451459 h 5973007"/>
              <a:gd name="connsiteX71377" fmla="*/ 3015017 w 6884782"/>
              <a:gd name="connsiteY71377" fmla="*/ 5461476 h 5973007"/>
              <a:gd name="connsiteX71378" fmla="*/ 3030816 w 6884782"/>
              <a:gd name="connsiteY71378" fmla="*/ 5474692 h 5973007"/>
              <a:gd name="connsiteX71379" fmla="*/ 3020438 w 6884782"/>
              <a:gd name="connsiteY71379" fmla="*/ 5466948 h 5973007"/>
              <a:gd name="connsiteX71380" fmla="*/ 3021833 w 6884782"/>
              <a:gd name="connsiteY71380" fmla="*/ 5473143 h 5973007"/>
              <a:gd name="connsiteX71381" fmla="*/ 3024776 w 6884782"/>
              <a:gd name="connsiteY71381" fmla="*/ 5477480 h 5973007"/>
              <a:gd name="connsiteX71382" fmla="*/ 3026789 w 6884782"/>
              <a:gd name="connsiteY71382" fmla="*/ 5476448 h 5973007"/>
              <a:gd name="connsiteX71383" fmla="*/ 3037167 w 6884782"/>
              <a:gd name="connsiteY71383" fmla="*/ 5480061 h 5973007"/>
              <a:gd name="connsiteX71384" fmla="*/ 3034844 w 6884782"/>
              <a:gd name="connsiteY71384" fmla="*/ 5484605 h 5973007"/>
              <a:gd name="connsiteX71385" fmla="*/ 3034224 w 6884782"/>
              <a:gd name="connsiteY71385" fmla="*/ 5485121 h 5973007"/>
              <a:gd name="connsiteX71386" fmla="*/ 3036703 w 6884782"/>
              <a:gd name="connsiteY71386" fmla="*/ 5487083 h 5973007"/>
              <a:gd name="connsiteX71387" fmla="*/ 3033140 w 6884782"/>
              <a:gd name="connsiteY71387" fmla="*/ 5488632 h 5973007"/>
              <a:gd name="connsiteX71388" fmla="*/ 3029732 w 6884782"/>
              <a:gd name="connsiteY71388" fmla="*/ 5488425 h 5973007"/>
              <a:gd name="connsiteX71389" fmla="*/ 3026170 w 6884782"/>
              <a:gd name="connsiteY71389" fmla="*/ 5491007 h 5973007"/>
              <a:gd name="connsiteX71390" fmla="*/ 3024776 w 6884782"/>
              <a:gd name="connsiteY71390" fmla="*/ 5489354 h 5973007"/>
              <a:gd name="connsiteX71391" fmla="*/ 3023072 w 6884782"/>
              <a:gd name="connsiteY71391" fmla="*/ 5491110 h 5973007"/>
              <a:gd name="connsiteX71392" fmla="*/ 3011454 w 6884782"/>
              <a:gd name="connsiteY71392" fmla="*/ 5478513 h 5973007"/>
              <a:gd name="connsiteX71393" fmla="*/ 3005104 w 6884782"/>
              <a:gd name="connsiteY71393" fmla="*/ 5474692 h 5973007"/>
              <a:gd name="connsiteX71394" fmla="*/ 3002780 w 6884782"/>
              <a:gd name="connsiteY71394" fmla="*/ 5477583 h 5973007"/>
              <a:gd name="connsiteX71395" fmla="*/ 2987136 w 6884782"/>
              <a:gd name="connsiteY71395" fmla="*/ 5482746 h 5973007"/>
              <a:gd name="connsiteX71396" fmla="*/ 2981714 w 6884782"/>
              <a:gd name="connsiteY71396" fmla="*/ 5481610 h 5973007"/>
              <a:gd name="connsiteX71397" fmla="*/ 2977068 w 6884782"/>
              <a:gd name="connsiteY71397" fmla="*/ 5478822 h 5973007"/>
              <a:gd name="connsiteX71398" fmla="*/ 2976448 w 6884782"/>
              <a:gd name="connsiteY71398" fmla="*/ 5479958 h 5973007"/>
              <a:gd name="connsiteX71399" fmla="*/ 2968393 w 6884782"/>
              <a:gd name="connsiteY71399" fmla="*/ 5478822 h 5973007"/>
              <a:gd name="connsiteX71400" fmla="*/ 2967929 w 6884782"/>
              <a:gd name="connsiteY71400" fmla="*/ 5472420 h 5973007"/>
              <a:gd name="connsiteX71401" fmla="*/ 2973040 w 6884782"/>
              <a:gd name="connsiteY71401" fmla="*/ 5472937 h 5973007"/>
              <a:gd name="connsiteX71402" fmla="*/ 2977068 w 6884782"/>
              <a:gd name="connsiteY71402" fmla="*/ 5476241 h 5973007"/>
              <a:gd name="connsiteX71403" fmla="*/ 2977997 w 6884782"/>
              <a:gd name="connsiteY71403" fmla="*/ 5469323 h 5973007"/>
              <a:gd name="connsiteX71404" fmla="*/ 2982489 w 6884782"/>
              <a:gd name="connsiteY71404" fmla="*/ 5462405 h 5973007"/>
              <a:gd name="connsiteX71405" fmla="*/ 2984812 w 6884782"/>
              <a:gd name="connsiteY71405" fmla="*/ 5460959 h 5973007"/>
              <a:gd name="connsiteX71406" fmla="*/ 2981404 w 6884782"/>
              <a:gd name="connsiteY71406" fmla="*/ 5459101 h 5973007"/>
              <a:gd name="connsiteX71407" fmla="*/ 2974589 w 6884782"/>
              <a:gd name="connsiteY71407" fmla="*/ 5456622 h 5973007"/>
              <a:gd name="connsiteX71408" fmla="*/ 2970097 w 6884782"/>
              <a:gd name="connsiteY71408" fmla="*/ 5449394 h 5973007"/>
              <a:gd name="connsiteX71409" fmla="*/ 2968393 w 6884782"/>
              <a:gd name="connsiteY71409" fmla="*/ 5448052 h 5973007"/>
              <a:gd name="connsiteX71410" fmla="*/ 2967774 w 6884782"/>
              <a:gd name="connsiteY71410" fmla="*/ 5449188 h 5973007"/>
              <a:gd name="connsiteX71411" fmla="*/ 2966690 w 6884782"/>
              <a:gd name="connsiteY71411" fmla="*/ 5446504 h 5973007"/>
              <a:gd name="connsiteX71412" fmla="*/ 2963592 w 6884782"/>
              <a:gd name="connsiteY71412" fmla="*/ 5443922 h 5973007"/>
              <a:gd name="connsiteX71413" fmla="*/ 2963282 w 6884782"/>
              <a:gd name="connsiteY71413" fmla="*/ 5443819 h 5973007"/>
              <a:gd name="connsiteX71414" fmla="*/ 2963127 w 6884782"/>
              <a:gd name="connsiteY71414" fmla="*/ 5443509 h 5973007"/>
              <a:gd name="connsiteX71415" fmla="*/ 2962507 w 6884782"/>
              <a:gd name="connsiteY71415" fmla="*/ 5442992 h 5973007"/>
              <a:gd name="connsiteX71416" fmla="*/ 2953214 w 6884782"/>
              <a:gd name="connsiteY71416" fmla="*/ 5436384 h 5973007"/>
              <a:gd name="connsiteX71417" fmla="*/ 2942990 w 6884782"/>
              <a:gd name="connsiteY71417" fmla="*/ 5428020 h 5973007"/>
              <a:gd name="connsiteX71418" fmla="*/ 2933697 w 6884782"/>
              <a:gd name="connsiteY71418" fmla="*/ 5429569 h 5973007"/>
              <a:gd name="connsiteX71419" fmla="*/ 2936020 w 6884782"/>
              <a:gd name="connsiteY71419" fmla="*/ 5424716 h 5973007"/>
              <a:gd name="connsiteX71420" fmla="*/ 2935091 w 6884782"/>
              <a:gd name="connsiteY71420" fmla="*/ 5420896 h 5973007"/>
              <a:gd name="connsiteX71421" fmla="*/ 2930599 w 6884782"/>
              <a:gd name="connsiteY71421" fmla="*/ 5425955 h 5973007"/>
              <a:gd name="connsiteX71422" fmla="*/ 2921150 w 6884782"/>
              <a:gd name="connsiteY71422" fmla="*/ 5432047 h 5973007"/>
              <a:gd name="connsiteX71423" fmla="*/ 2918981 w 6884782"/>
              <a:gd name="connsiteY71423" fmla="*/ 5431015 h 5973007"/>
              <a:gd name="connsiteX71424" fmla="*/ 2927656 w 6884782"/>
              <a:gd name="connsiteY71424" fmla="*/ 5419863 h 5973007"/>
              <a:gd name="connsiteX71425" fmla="*/ 2930908 w 6884782"/>
              <a:gd name="connsiteY71425" fmla="*/ 5417591 h 5973007"/>
              <a:gd name="connsiteX71426" fmla="*/ 2927191 w 6884782"/>
              <a:gd name="connsiteY71426" fmla="*/ 5414804 h 5973007"/>
              <a:gd name="connsiteX71427" fmla="*/ 2911547 w 6884782"/>
              <a:gd name="connsiteY71427" fmla="*/ 5397147 h 5973007"/>
              <a:gd name="connsiteX71428" fmla="*/ 2905970 w 6884782"/>
              <a:gd name="connsiteY71428" fmla="*/ 5398489 h 5973007"/>
              <a:gd name="connsiteX71429" fmla="*/ 2901013 w 6884782"/>
              <a:gd name="connsiteY71429" fmla="*/ 5391055 h 5973007"/>
              <a:gd name="connsiteX71430" fmla="*/ 2893114 w 6884782"/>
              <a:gd name="connsiteY71430" fmla="*/ 5388163 h 5973007"/>
              <a:gd name="connsiteX71431" fmla="*/ 2887537 w 6884782"/>
              <a:gd name="connsiteY71431" fmla="*/ 5380936 h 5973007"/>
              <a:gd name="connsiteX71432" fmla="*/ 2891565 w 6884782"/>
              <a:gd name="connsiteY71432" fmla="*/ 5379593 h 5973007"/>
              <a:gd name="connsiteX71433" fmla="*/ 2889861 w 6884782"/>
              <a:gd name="connsiteY71433" fmla="*/ 5377631 h 5973007"/>
              <a:gd name="connsiteX71434" fmla="*/ 2881806 w 6884782"/>
              <a:gd name="connsiteY71434" fmla="*/ 5369164 h 5973007"/>
              <a:gd name="connsiteX71435" fmla="*/ 2874371 w 6884782"/>
              <a:gd name="connsiteY71435" fmla="*/ 5361523 h 5973007"/>
              <a:gd name="connsiteX71436" fmla="*/ 2859346 w 6884782"/>
              <a:gd name="connsiteY71436" fmla="*/ 5345725 h 5973007"/>
              <a:gd name="connsiteX71437" fmla="*/ 2854700 w 6884782"/>
              <a:gd name="connsiteY71437" fmla="*/ 5340356 h 5973007"/>
              <a:gd name="connsiteX71438" fmla="*/ 2852531 w 6884782"/>
              <a:gd name="connsiteY71438" fmla="*/ 5340149 h 5973007"/>
              <a:gd name="connsiteX71439" fmla="*/ 2853305 w 6884782"/>
              <a:gd name="connsiteY71439" fmla="*/ 5338807 h 5973007"/>
              <a:gd name="connsiteX71440" fmla="*/ 2852376 w 6884782"/>
              <a:gd name="connsiteY71440" fmla="*/ 5337671 h 5973007"/>
              <a:gd name="connsiteX71441" fmla="*/ 2845715 w 6884782"/>
              <a:gd name="connsiteY71441" fmla="*/ 5328688 h 5973007"/>
              <a:gd name="connsiteX71442" fmla="*/ 2847729 w 6884782"/>
              <a:gd name="connsiteY71442" fmla="*/ 5328275 h 5973007"/>
              <a:gd name="connsiteX71443" fmla="*/ 2847109 w 6884782"/>
              <a:gd name="connsiteY71443" fmla="*/ 5327552 h 5973007"/>
              <a:gd name="connsiteX71444" fmla="*/ 2847419 w 6884782"/>
              <a:gd name="connsiteY71444" fmla="*/ 5325590 h 5973007"/>
              <a:gd name="connsiteX71445" fmla="*/ 2848039 w 6884782"/>
              <a:gd name="connsiteY71445" fmla="*/ 5325487 h 5973007"/>
              <a:gd name="connsiteX71446" fmla="*/ 2842308 w 6884782"/>
              <a:gd name="connsiteY71446" fmla="*/ 5322492 h 5973007"/>
              <a:gd name="connsiteX71447" fmla="*/ 2832394 w 6884782"/>
              <a:gd name="connsiteY71447" fmla="*/ 5318466 h 5973007"/>
              <a:gd name="connsiteX71448" fmla="*/ 2824185 w 6884782"/>
              <a:gd name="connsiteY71448" fmla="*/ 5303700 h 5973007"/>
              <a:gd name="connsiteX71449" fmla="*/ 2823411 w 6884782"/>
              <a:gd name="connsiteY71449" fmla="*/ 5303493 h 5973007"/>
              <a:gd name="connsiteX71450" fmla="*/ 2823411 w 6884782"/>
              <a:gd name="connsiteY71450" fmla="*/ 5303597 h 5973007"/>
              <a:gd name="connsiteX71451" fmla="*/ 2820777 w 6884782"/>
              <a:gd name="connsiteY71451" fmla="*/ 5303080 h 5973007"/>
              <a:gd name="connsiteX71452" fmla="*/ 2818609 w 6884782"/>
              <a:gd name="connsiteY71452" fmla="*/ 5303700 h 5973007"/>
              <a:gd name="connsiteX71453" fmla="*/ 2802809 w 6884782"/>
              <a:gd name="connsiteY71453" fmla="*/ 5275511 h 5973007"/>
              <a:gd name="connsiteX71454" fmla="*/ 2801415 w 6884782"/>
              <a:gd name="connsiteY71454" fmla="*/ 5263017 h 5973007"/>
              <a:gd name="connsiteX71455" fmla="*/ 2797543 w 6884782"/>
              <a:gd name="connsiteY71455" fmla="*/ 5257441 h 5973007"/>
              <a:gd name="connsiteX71456" fmla="*/ 2796613 w 6884782"/>
              <a:gd name="connsiteY71456" fmla="*/ 5256925 h 5973007"/>
              <a:gd name="connsiteX71457" fmla="*/ 2796768 w 6884782"/>
              <a:gd name="connsiteY71457" fmla="*/ 5255376 h 5973007"/>
              <a:gd name="connsiteX71458" fmla="*/ 2796613 w 6884782"/>
              <a:gd name="connsiteY71458" fmla="*/ 5255170 h 5973007"/>
              <a:gd name="connsiteX71459" fmla="*/ 2796303 w 6884782"/>
              <a:gd name="connsiteY71459" fmla="*/ 5255789 h 5973007"/>
              <a:gd name="connsiteX71460" fmla="*/ 2791502 w 6884782"/>
              <a:gd name="connsiteY71460" fmla="*/ 5255066 h 5973007"/>
              <a:gd name="connsiteX71461" fmla="*/ 2790572 w 6884782"/>
              <a:gd name="connsiteY71461" fmla="*/ 5254653 h 5973007"/>
              <a:gd name="connsiteX71462" fmla="*/ 2788868 w 6884782"/>
              <a:gd name="connsiteY71462" fmla="*/ 5256305 h 5973007"/>
              <a:gd name="connsiteX71463" fmla="*/ 2788404 w 6884782"/>
              <a:gd name="connsiteY71463" fmla="*/ 5253827 h 5973007"/>
              <a:gd name="connsiteX71464" fmla="*/ 2787629 w 6884782"/>
              <a:gd name="connsiteY71464" fmla="*/ 5253517 h 5973007"/>
              <a:gd name="connsiteX71465" fmla="*/ 2788249 w 6884782"/>
              <a:gd name="connsiteY71465" fmla="*/ 5248148 h 5973007"/>
              <a:gd name="connsiteX71466" fmla="*/ 2789023 w 6884782"/>
              <a:gd name="connsiteY71466" fmla="*/ 5247012 h 5973007"/>
              <a:gd name="connsiteX71467" fmla="*/ 2788249 w 6884782"/>
              <a:gd name="connsiteY71467" fmla="*/ 5243398 h 5973007"/>
              <a:gd name="connsiteX71468" fmla="*/ 2786235 w 6884782"/>
              <a:gd name="connsiteY71468" fmla="*/ 5240920 h 5973007"/>
              <a:gd name="connsiteX71469" fmla="*/ 2784686 w 6884782"/>
              <a:gd name="connsiteY71469" fmla="*/ 5240507 h 5973007"/>
              <a:gd name="connsiteX71470" fmla="*/ 2782518 w 6884782"/>
              <a:gd name="connsiteY71470" fmla="*/ 5241643 h 5973007"/>
              <a:gd name="connsiteX71471" fmla="*/ 2780039 w 6884782"/>
              <a:gd name="connsiteY71471" fmla="*/ 5241643 h 5973007"/>
              <a:gd name="connsiteX71472" fmla="*/ 2776941 w 6884782"/>
              <a:gd name="connsiteY71472" fmla="*/ 5238545 h 5973007"/>
              <a:gd name="connsiteX71473" fmla="*/ 2777096 w 6884782"/>
              <a:gd name="connsiteY71473" fmla="*/ 5233589 h 5973007"/>
              <a:gd name="connsiteX71474" fmla="*/ 2781124 w 6884782"/>
              <a:gd name="connsiteY71474" fmla="*/ 5229562 h 5973007"/>
              <a:gd name="connsiteX71475" fmla="*/ 2780969 w 6884782"/>
              <a:gd name="connsiteY71475" fmla="*/ 5229459 h 5973007"/>
              <a:gd name="connsiteX71476" fmla="*/ 2783602 w 6884782"/>
              <a:gd name="connsiteY71476" fmla="*/ 5225845 h 5973007"/>
              <a:gd name="connsiteX71477" fmla="*/ 2782982 w 6884782"/>
              <a:gd name="connsiteY71477" fmla="*/ 5221198 h 5973007"/>
              <a:gd name="connsiteX71478" fmla="*/ 2781743 w 6884782"/>
              <a:gd name="connsiteY71478" fmla="*/ 5220476 h 5973007"/>
              <a:gd name="connsiteX71479" fmla="*/ 2778181 w 6884782"/>
              <a:gd name="connsiteY71479" fmla="*/ 5222437 h 5973007"/>
              <a:gd name="connsiteX71480" fmla="*/ 2775857 w 6884782"/>
              <a:gd name="connsiteY71480" fmla="*/ 5221302 h 5973007"/>
              <a:gd name="connsiteX71481" fmla="*/ 2773069 w 6884782"/>
              <a:gd name="connsiteY71481" fmla="*/ 5216552 h 5973007"/>
              <a:gd name="connsiteX71482" fmla="*/ 2771985 w 6884782"/>
              <a:gd name="connsiteY71482" fmla="*/ 5206433 h 5973007"/>
              <a:gd name="connsiteX71483" fmla="*/ 2772604 w 6884782"/>
              <a:gd name="connsiteY71483" fmla="*/ 5204264 h 5973007"/>
              <a:gd name="connsiteX71484" fmla="*/ 2771830 w 6884782"/>
              <a:gd name="connsiteY71484" fmla="*/ 5204780 h 5973007"/>
              <a:gd name="connsiteX71485" fmla="*/ 2765479 w 6884782"/>
              <a:gd name="connsiteY71485" fmla="*/ 5197862 h 5973007"/>
              <a:gd name="connsiteX71486" fmla="*/ 2767803 w 6884782"/>
              <a:gd name="connsiteY71486" fmla="*/ 5194042 h 5973007"/>
              <a:gd name="connsiteX71487" fmla="*/ 2766718 w 6884782"/>
              <a:gd name="connsiteY71487" fmla="*/ 5193835 h 5973007"/>
              <a:gd name="connsiteX71488" fmla="*/ 2765324 w 6884782"/>
              <a:gd name="connsiteY71488" fmla="*/ 5191770 h 5973007"/>
              <a:gd name="connsiteX71489" fmla="*/ 2763930 w 6884782"/>
              <a:gd name="connsiteY71489" fmla="*/ 5185368 h 5973007"/>
              <a:gd name="connsiteX71490" fmla="*/ 2765479 w 6884782"/>
              <a:gd name="connsiteY71490" fmla="*/ 5185884 h 5973007"/>
              <a:gd name="connsiteX71491" fmla="*/ 2764705 w 6884782"/>
              <a:gd name="connsiteY71491" fmla="*/ 5183200 h 5973007"/>
              <a:gd name="connsiteX71492" fmla="*/ 2760367 w 6884782"/>
              <a:gd name="connsiteY71492" fmla="*/ 5181961 h 5973007"/>
              <a:gd name="connsiteX71493" fmla="*/ 2760987 w 6884782"/>
              <a:gd name="connsiteY71493" fmla="*/ 5182684 h 5973007"/>
              <a:gd name="connsiteX71494" fmla="*/ 2761607 w 6884782"/>
              <a:gd name="connsiteY71494" fmla="*/ 5190944 h 5973007"/>
              <a:gd name="connsiteX71495" fmla="*/ 2760367 w 6884782"/>
              <a:gd name="connsiteY71495" fmla="*/ 5193113 h 5973007"/>
              <a:gd name="connsiteX71496" fmla="*/ 2761142 w 6884782"/>
              <a:gd name="connsiteY71496" fmla="*/ 5193009 h 5973007"/>
              <a:gd name="connsiteX71497" fmla="*/ 2763775 w 6884782"/>
              <a:gd name="connsiteY71497" fmla="*/ 5201476 h 5973007"/>
              <a:gd name="connsiteX71498" fmla="*/ 2758819 w 6884782"/>
              <a:gd name="connsiteY71498" fmla="*/ 5202715 h 5973007"/>
              <a:gd name="connsiteX71499" fmla="*/ 2759438 w 6884782"/>
              <a:gd name="connsiteY71499" fmla="*/ 5206226 h 5973007"/>
              <a:gd name="connsiteX71500" fmla="*/ 2755875 w 6884782"/>
              <a:gd name="connsiteY71500" fmla="*/ 5206742 h 5973007"/>
              <a:gd name="connsiteX71501" fmla="*/ 2754327 w 6884782"/>
              <a:gd name="connsiteY71501" fmla="*/ 5206019 h 5973007"/>
              <a:gd name="connsiteX71502" fmla="*/ 2754636 w 6884782"/>
              <a:gd name="connsiteY71502" fmla="*/ 5203954 h 5973007"/>
              <a:gd name="connsiteX71503" fmla="*/ 2755566 w 6884782"/>
              <a:gd name="connsiteY71503" fmla="*/ 5203025 h 5973007"/>
              <a:gd name="connsiteX71504" fmla="*/ 2749989 w 6884782"/>
              <a:gd name="connsiteY71504" fmla="*/ 5202199 h 5973007"/>
              <a:gd name="connsiteX71505" fmla="*/ 2756186 w 6884782"/>
              <a:gd name="connsiteY71505" fmla="*/ 5193525 h 5973007"/>
              <a:gd name="connsiteX71506" fmla="*/ 2759128 w 6884782"/>
              <a:gd name="connsiteY71506" fmla="*/ 5193216 h 5973007"/>
              <a:gd name="connsiteX71507" fmla="*/ 2752623 w 6884782"/>
              <a:gd name="connsiteY71507" fmla="*/ 5188673 h 5973007"/>
              <a:gd name="connsiteX71508" fmla="*/ 2744878 w 6884782"/>
              <a:gd name="connsiteY71508" fmla="*/ 5184749 h 5973007"/>
              <a:gd name="connsiteX71509" fmla="*/ 2745033 w 6884782"/>
              <a:gd name="connsiteY71509" fmla="*/ 5184233 h 5973007"/>
              <a:gd name="connsiteX71510" fmla="*/ 2737753 w 6884782"/>
              <a:gd name="connsiteY71510" fmla="*/ 5186194 h 5973007"/>
              <a:gd name="connsiteX71511" fmla="*/ 2732486 w 6884782"/>
              <a:gd name="connsiteY71511" fmla="*/ 5186814 h 5973007"/>
              <a:gd name="connsiteX71512" fmla="*/ 2732951 w 6884782"/>
              <a:gd name="connsiteY71512" fmla="*/ 5187124 h 5973007"/>
              <a:gd name="connsiteX71513" fmla="*/ 2734035 w 6884782"/>
              <a:gd name="connsiteY71513" fmla="*/ 5196623 h 5973007"/>
              <a:gd name="connsiteX71514" fmla="*/ 2728614 w 6884782"/>
              <a:gd name="connsiteY71514" fmla="*/ 5202612 h 5973007"/>
              <a:gd name="connsiteX71515" fmla="*/ 2730318 w 6884782"/>
              <a:gd name="connsiteY71515" fmla="*/ 5208085 h 5973007"/>
              <a:gd name="connsiteX71516" fmla="*/ 2729078 w 6884782"/>
              <a:gd name="connsiteY71516" fmla="*/ 5213867 h 5973007"/>
              <a:gd name="connsiteX71517" fmla="*/ 2732021 w 6884782"/>
              <a:gd name="connsiteY71517" fmla="*/ 5218720 h 5973007"/>
              <a:gd name="connsiteX71518" fmla="*/ 2728614 w 6884782"/>
              <a:gd name="connsiteY71518" fmla="*/ 5220166 h 5973007"/>
              <a:gd name="connsiteX71519" fmla="*/ 2726910 w 6884782"/>
              <a:gd name="connsiteY71519" fmla="*/ 5219133 h 5973007"/>
              <a:gd name="connsiteX71520" fmla="*/ 2721798 w 6884782"/>
              <a:gd name="connsiteY71520" fmla="*/ 5225225 h 5973007"/>
              <a:gd name="connsiteX71521" fmla="*/ 2712660 w 6884782"/>
              <a:gd name="connsiteY71521" fmla="*/ 5230388 h 5973007"/>
              <a:gd name="connsiteX71522" fmla="*/ 2702591 w 6884782"/>
              <a:gd name="connsiteY71522" fmla="*/ 5231627 h 5973007"/>
              <a:gd name="connsiteX71523" fmla="*/ 2700423 w 6884782"/>
              <a:gd name="connsiteY71523" fmla="*/ 5235448 h 5973007"/>
              <a:gd name="connsiteX71524" fmla="*/ 2682764 w 6884782"/>
              <a:gd name="connsiteY71524" fmla="*/ 5238855 h 5973007"/>
              <a:gd name="connsiteX71525" fmla="*/ 2670063 w 6884782"/>
              <a:gd name="connsiteY71525" fmla="*/ 5229149 h 5973007"/>
              <a:gd name="connsiteX71526" fmla="*/ 2670683 w 6884782"/>
              <a:gd name="connsiteY71526" fmla="*/ 5223883 h 5973007"/>
              <a:gd name="connsiteX71527" fmla="*/ 2678118 w 6884782"/>
              <a:gd name="connsiteY71527" fmla="*/ 5218720 h 5973007"/>
              <a:gd name="connsiteX71528" fmla="*/ 2676569 w 6884782"/>
              <a:gd name="connsiteY71528" fmla="*/ 5216552 h 5973007"/>
              <a:gd name="connsiteX71529" fmla="*/ 2673161 w 6884782"/>
              <a:gd name="connsiteY71529" fmla="*/ 5204677 h 5973007"/>
              <a:gd name="connsiteX71530" fmla="*/ 2674245 w 6884782"/>
              <a:gd name="connsiteY71530" fmla="*/ 5203954 h 5973007"/>
              <a:gd name="connsiteX71531" fmla="*/ 2674090 w 6884782"/>
              <a:gd name="connsiteY71531" fmla="*/ 5203851 h 5973007"/>
              <a:gd name="connsiteX71532" fmla="*/ 2677033 w 6884782"/>
              <a:gd name="connsiteY71532" fmla="*/ 5200857 h 5973007"/>
              <a:gd name="connsiteX71533" fmla="*/ 2677963 w 6884782"/>
              <a:gd name="connsiteY71533" fmla="*/ 5201167 h 5973007"/>
              <a:gd name="connsiteX71534" fmla="*/ 2687102 w 6884782"/>
              <a:gd name="connsiteY71534" fmla="*/ 5194351 h 5973007"/>
              <a:gd name="connsiteX71535" fmla="*/ 2716067 w 6884782"/>
              <a:gd name="connsiteY71535" fmla="*/ 5190015 h 5973007"/>
              <a:gd name="connsiteX71536" fmla="*/ 2719010 w 6884782"/>
              <a:gd name="connsiteY71536" fmla="*/ 5191460 h 5973007"/>
              <a:gd name="connsiteX71537" fmla="*/ 2719475 w 6884782"/>
              <a:gd name="connsiteY71537" fmla="*/ 5188156 h 5973007"/>
              <a:gd name="connsiteX71538" fmla="*/ 2719784 w 6884782"/>
              <a:gd name="connsiteY71538" fmla="*/ 5187950 h 5973007"/>
              <a:gd name="connsiteX71539" fmla="*/ 2714828 w 6884782"/>
              <a:gd name="connsiteY71539" fmla="*/ 5188363 h 5973007"/>
              <a:gd name="connsiteX71540" fmla="*/ 2714673 w 6884782"/>
              <a:gd name="connsiteY71540" fmla="*/ 5184129 h 5973007"/>
              <a:gd name="connsiteX71541" fmla="*/ 2715138 w 6884782"/>
              <a:gd name="connsiteY71541" fmla="*/ 5181651 h 5973007"/>
              <a:gd name="connsiteX71542" fmla="*/ 2714053 w 6884782"/>
              <a:gd name="connsiteY71542" fmla="*/ 5181651 h 5973007"/>
              <a:gd name="connsiteX71543" fmla="*/ 2712814 w 6884782"/>
              <a:gd name="connsiteY71543" fmla="*/ 5176798 h 5973007"/>
              <a:gd name="connsiteX71544" fmla="*/ 2713434 w 6884782"/>
              <a:gd name="connsiteY71544" fmla="*/ 5175455 h 5973007"/>
              <a:gd name="connsiteX71545" fmla="*/ 2709097 w 6884782"/>
              <a:gd name="connsiteY71545" fmla="*/ 5175766 h 5973007"/>
              <a:gd name="connsiteX71546" fmla="*/ 2705379 w 6884782"/>
              <a:gd name="connsiteY71546" fmla="*/ 5174217 h 5973007"/>
              <a:gd name="connsiteX71547" fmla="*/ 2704450 w 6884782"/>
              <a:gd name="connsiteY71547" fmla="*/ 5172358 h 5973007"/>
              <a:gd name="connsiteX71548" fmla="*/ 2703211 w 6884782"/>
              <a:gd name="connsiteY71548" fmla="*/ 5174010 h 5973007"/>
              <a:gd name="connsiteX71549" fmla="*/ 2698409 w 6884782"/>
              <a:gd name="connsiteY71549" fmla="*/ 5176075 h 5973007"/>
              <a:gd name="connsiteX71550" fmla="*/ 2692988 w 6884782"/>
              <a:gd name="connsiteY71550" fmla="*/ 5175559 h 5973007"/>
              <a:gd name="connsiteX71551" fmla="*/ 2696086 w 6884782"/>
              <a:gd name="connsiteY71551" fmla="*/ 5170603 h 5973007"/>
              <a:gd name="connsiteX71552" fmla="*/ 2703676 w 6884782"/>
              <a:gd name="connsiteY71552" fmla="*/ 5169880 h 5973007"/>
              <a:gd name="connsiteX71553" fmla="*/ 2704450 w 6884782"/>
              <a:gd name="connsiteY71553" fmla="*/ 5171222 h 5973007"/>
              <a:gd name="connsiteX71554" fmla="*/ 2705379 w 6884782"/>
              <a:gd name="connsiteY71554" fmla="*/ 5167608 h 5973007"/>
              <a:gd name="connsiteX71555" fmla="*/ 2716532 w 6884782"/>
              <a:gd name="connsiteY71555" fmla="*/ 5160174 h 5973007"/>
              <a:gd name="connsiteX71556" fmla="*/ 2717771 w 6884782"/>
              <a:gd name="connsiteY71556" fmla="*/ 5169157 h 5973007"/>
              <a:gd name="connsiteX71557" fmla="*/ 2716687 w 6884782"/>
              <a:gd name="connsiteY71557" fmla="*/ 5173184 h 5973007"/>
              <a:gd name="connsiteX71558" fmla="*/ 2716996 w 6884782"/>
              <a:gd name="connsiteY71558" fmla="*/ 5173184 h 5973007"/>
              <a:gd name="connsiteX71559" fmla="*/ 2720404 w 6884782"/>
              <a:gd name="connsiteY71559" fmla="*/ 5174423 h 5973007"/>
              <a:gd name="connsiteX71560" fmla="*/ 2723192 w 6884782"/>
              <a:gd name="connsiteY71560" fmla="*/ 5178347 h 5973007"/>
              <a:gd name="connsiteX71561" fmla="*/ 2737288 w 6884782"/>
              <a:gd name="connsiteY71561" fmla="*/ 5177831 h 5973007"/>
              <a:gd name="connsiteX71562" fmla="*/ 2741315 w 6884782"/>
              <a:gd name="connsiteY71562" fmla="*/ 5175043 h 5973007"/>
              <a:gd name="connsiteX71563" fmla="*/ 2744878 w 6884782"/>
              <a:gd name="connsiteY71563" fmla="*/ 5176075 h 5973007"/>
              <a:gd name="connsiteX71564" fmla="*/ 2744413 w 6884782"/>
              <a:gd name="connsiteY71564" fmla="*/ 5177417 h 5973007"/>
              <a:gd name="connsiteX71565" fmla="*/ 2747666 w 6884782"/>
              <a:gd name="connsiteY71565" fmla="*/ 5177108 h 5973007"/>
              <a:gd name="connsiteX71566" fmla="*/ 2754172 w 6884782"/>
              <a:gd name="connsiteY71566" fmla="*/ 5177314 h 5973007"/>
              <a:gd name="connsiteX71567" fmla="*/ 2753862 w 6884782"/>
              <a:gd name="connsiteY71567" fmla="*/ 5176798 h 5973007"/>
              <a:gd name="connsiteX71568" fmla="*/ 2753862 w 6884782"/>
              <a:gd name="connsiteY71568" fmla="*/ 5168331 h 5973007"/>
              <a:gd name="connsiteX71569" fmla="*/ 2753862 w 6884782"/>
              <a:gd name="connsiteY71569" fmla="*/ 5168124 h 5973007"/>
              <a:gd name="connsiteX71570" fmla="*/ 2750919 w 6884782"/>
              <a:gd name="connsiteY71570" fmla="*/ 5169054 h 5973007"/>
              <a:gd name="connsiteX71571" fmla="*/ 2747666 w 6884782"/>
              <a:gd name="connsiteY71571" fmla="*/ 5167505 h 5973007"/>
              <a:gd name="connsiteX71572" fmla="*/ 2746892 w 6884782"/>
              <a:gd name="connsiteY71572" fmla="*/ 5164407 h 5973007"/>
              <a:gd name="connsiteX71573" fmla="*/ 2751539 w 6884782"/>
              <a:gd name="connsiteY71573" fmla="*/ 5162858 h 5973007"/>
              <a:gd name="connsiteX71574" fmla="*/ 2752003 w 6884782"/>
              <a:gd name="connsiteY71574" fmla="*/ 5162962 h 5973007"/>
              <a:gd name="connsiteX71575" fmla="*/ 2751693 w 6884782"/>
              <a:gd name="connsiteY71575" fmla="*/ 5162136 h 5973007"/>
              <a:gd name="connsiteX71576" fmla="*/ 2749525 w 6884782"/>
              <a:gd name="connsiteY71576" fmla="*/ 5159141 h 5973007"/>
              <a:gd name="connsiteX71577" fmla="*/ 2749370 w 6884782"/>
              <a:gd name="connsiteY71577" fmla="*/ 5159245 h 5973007"/>
              <a:gd name="connsiteX71578" fmla="*/ 2747201 w 6884782"/>
              <a:gd name="connsiteY71578" fmla="*/ 5159657 h 5973007"/>
              <a:gd name="connsiteX71579" fmla="*/ 2745807 w 6884782"/>
              <a:gd name="connsiteY71579" fmla="*/ 5158418 h 5973007"/>
              <a:gd name="connsiteX71580" fmla="*/ 2746117 w 6884782"/>
              <a:gd name="connsiteY71580" fmla="*/ 5157696 h 5973007"/>
              <a:gd name="connsiteX71581" fmla="*/ 2742245 w 6884782"/>
              <a:gd name="connsiteY71581" fmla="*/ 5157179 h 5973007"/>
              <a:gd name="connsiteX71582" fmla="*/ 2739766 w 6884782"/>
              <a:gd name="connsiteY71582" fmla="*/ 5153462 h 5973007"/>
              <a:gd name="connsiteX71583" fmla="*/ 2741006 w 6884782"/>
              <a:gd name="connsiteY71583" fmla="*/ 5148506 h 5973007"/>
              <a:gd name="connsiteX71584" fmla="*/ 2741935 w 6884782"/>
              <a:gd name="connsiteY71584" fmla="*/ 5148093 h 5973007"/>
              <a:gd name="connsiteX71585" fmla="*/ 2741470 w 6884782"/>
              <a:gd name="connsiteY71585" fmla="*/ 5147370 h 5973007"/>
              <a:gd name="connsiteX71586" fmla="*/ 2739921 w 6884782"/>
              <a:gd name="connsiteY71586" fmla="*/ 5150158 h 5973007"/>
              <a:gd name="connsiteX71587" fmla="*/ 2736514 w 6884782"/>
              <a:gd name="connsiteY71587" fmla="*/ 5151810 h 5973007"/>
              <a:gd name="connsiteX71588" fmla="*/ 2735274 w 6884782"/>
              <a:gd name="connsiteY71588" fmla="*/ 5150674 h 5973007"/>
              <a:gd name="connsiteX71589" fmla="*/ 2734035 w 6884782"/>
              <a:gd name="connsiteY71589" fmla="*/ 5148919 h 5973007"/>
              <a:gd name="connsiteX71590" fmla="*/ 2733571 w 6884782"/>
              <a:gd name="connsiteY71590" fmla="*/ 5144066 h 5973007"/>
              <a:gd name="connsiteX71591" fmla="*/ 2736049 w 6884782"/>
              <a:gd name="connsiteY71591" fmla="*/ 5140968 h 5973007"/>
              <a:gd name="connsiteX71592" fmla="*/ 2737598 w 6884782"/>
              <a:gd name="connsiteY71592" fmla="*/ 5140142 h 5973007"/>
              <a:gd name="connsiteX71593" fmla="*/ 2738837 w 6884782"/>
              <a:gd name="connsiteY71593" fmla="*/ 5140865 h 5973007"/>
              <a:gd name="connsiteX71594" fmla="*/ 2739147 w 6884782"/>
              <a:gd name="connsiteY71594" fmla="*/ 5140349 h 5973007"/>
              <a:gd name="connsiteX71595" fmla="*/ 2741470 w 6884782"/>
              <a:gd name="connsiteY71595" fmla="*/ 5138903 h 5973007"/>
              <a:gd name="connsiteX71596" fmla="*/ 2742864 w 6884782"/>
              <a:gd name="connsiteY71596" fmla="*/ 5140555 h 5973007"/>
              <a:gd name="connsiteX71597" fmla="*/ 2743329 w 6884782"/>
              <a:gd name="connsiteY71597" fmla="*/ 5141175 h 5973007"/>
              <a:gd name="connsiteX71598" fmla="*/ 2742090 w 6884782"/>
              <a:gd name="connsiteY71598" fmla="*/ 5137044 h 5973007"/>
              <a:gd name="connsiteX71599" fmla="*/ 2740508 w 6884782"/>
              <a:gd name="connsiteY71599" fmla="*/ 5132701 h 5973007"/>
              <a:gd name="connsiteX71600" fmla="*/ 2734468 w 6884782"/>
              <a:gd name="connsiteY71600" fmla="*/ 5137696 h 5973007"/>
              <a:gd name="connsiteX71601" fmla="*/ 2712948 w 6884782"/>
              <a:gd name="connsiteY71601" fmla="*/ 5145397 h 5973007"/>
              <a:gd name="connsiteX71602" fmla="*/ 2711936 w 6884782"/>
              <a:gd name="connsiteY71602" fmla="*/ 5145188 h 5973007"/>
              <a:gd name="connsiteX71603" fmla="*/ 2712350 w 6884782"/>
              <a:gd name="connsiteY71603" fmla="*/ 5150984 h 5973007"/>
              <a:gd name="connsiteX71604" fmla="*/ 2710491 w 6884782"/>
              <a:gd name="connsiteY71604" fmla="*/ 5151190 h 5973007"/>
              <a:gd name="connsiteX71605" fmla="*/ 2708167 w 6884782"/>
              <a:gd name="connsiteY71605" fmla="*/ 5149745 h 5973007"/>
              <a:gd name="connsiteX71606" fmla="*/ 2707393 w 6884782"/>
              <a:gd name="connsiteY71606" fmla="*/ 5147267 h 5973007"/>
              <a:gd name="connsiteX71607" fmla="*/ 2711041 w 6884782"/>
              <a:gd name="connsiteY71607" fmla="*/ 5145003 h 5973007"/>
              <a:gd name="connsiteX71608" fmla="*/ 2690600 w 6884782"/>
              <a:gd name="connsiteY71608" fmla="*/ 5140776 h 5973007"/>
              <a:gd name="connsiteX71609" fmla="*/ 2689035 w 6884782"/>
              <a:gd name="connsiteY71609" fmla="*/ 5139880 h 5973007"/>
              <a:gd name="connsiteX71610" fmla="*/ 2691168 w 6884782"/>
              <a:gd name="connsiteY71610" fmla="*/ 5148815 h 5973007"/>
              <a:gd name="connsiteX71611" fmla="*/ 2690199 w 6884782"/>
              <a:gd name="connsiteY71611" fmla="*/ 5160071 h 5973007"/>
              <a:gd name="connsiteX71612" fmla="*/ 2683539 w 6884782"/>
              <a:gd name="connsiteY71612" fmla="*/ 5149642 h 5973007"/>
              <a:gd name="connsiteX71613" fmla="*/ 2681421 w 6884782"/>
              <a:gd name="connsiteY71613" fmla="*/ 5135521 h 5973007"/>
              <a:gd name="connsiteX71614" fmla="*/ 2672192 w 6884782"/>
              <a:gd name="connsiteY71614" fmla="*/ 5130237 h 5973007"/>
              <a:gd name="connsiteX71615" fmla="*/ 2664022 w 6884782"/>
              <a:gd name="connsiteY71615" fmla="*/ 5127029 h 5973007"/>
              <a:gd name="connsiteX71616" fmla="*/ 2666824 w 6884782"/>
              <a:gd name="connsiteY71616" fmla="*/ 5126105 h 5973007"/>
              <a:gd name="connsiteX71617" fmla="*/ 2662041 w 6884782"/>
              <a:gd name="connsiteY71617" fmla="*/ 5121120 h 5973007"/>
              <a:gd name="connsiteX71618" fmla="*/ 2660305 w 6884782"/>
              <a:gd name="connsiteY71618" fmla="*/ 5125273 h 5973007"/>
              <a:gd name="connsiteX71619" fmla="*/ 2656742 w 6884782"/>
              <a:gd name="connsiteY71619" fmla="*/ 5130746 h 5973007"/>
              <a:gd name="connsiteX71620" fmla="*/ 2656277 w 6884782"/>
              <a:gd name="connsiteY71620" fmla="*/ 5126409 h 5973007"/>
              <a:gd name="connsiteX71621" fmla="*/ 2654574 w 6884782"/>
              <a:gd name="connsiteY71621" fmla="*/ 5127235 h 5973007"/>
              <a:gd name="connsiteX71622" fmla="*/ 2653954 w 6884782"/>
              <a:gd name="connsiteY71622" fmla="*/ 5124653 h 5973007"/>
              <a:gd name="connsiteX71623" fmla="*/ 2652560 w 6884782"/>
              <a:gd name="connsiteY71623" fmla="*/ 5124860 h 5973007"/>
              <a:gd name="connsiteX71624" fmla="*/ 2647139 w 6884782"/>
              <a:gd name="connsiteY71624" fmla="*/ 5124034 h 5973007"/>
              <a:gd name="connsiteX71625" fmla="*/ 2647139 w 6884782"/>
              <a:gd name="connsiteY71625" fmla="*/ 5125480 h 5973007"/>
              <a:gd name="connsiteX71626" fmla="*/ 2651011 w 6884782"/>
              <a:gd name="connsiteY71626" fmla="*/ 5127029 h 5973007"/>
              <a:gd name="connsiteX71627" fmla="*/ 2656742 w 6884782"/>
              <a:gd name="connsiteY71627" fmla="*/ 5130746 h 5973007"/>
              <a:gd name="connsiteX71628" fmla="*/ 2657981 w 6884782"/>
              <a:gd name="connsiteY71628" fmla="*/ 5131365 h 5973007"/>
              <a:gd name="connsiteX71629" fmla="*/ 2665881 w 6884782"/>
              <a:gd name="connsiteY71629" fmla="*/ 5135702 h 5973007"/>
              <a:gd name="connsiteX71630" fmla="*/ 2671922 w 6884782"/>
              <a:gd name="connsiteY71630" fmla="*/ 5154391 h 5973007"/>
              <a:gd name="connsiteX71631" fmla="*/ 2666965 w 6884782"/>
              <a:gd name="connsiteY71631" fmla="*/ 5166473 h 5973007"/>
              <a:gd name="connsiteX71632" fmla="*/ 2665261 w 6884782"/>
              <a:gd name="connsiteY71632" fmla="*/ 5172668 h 5973007"/>
              <a:gd name="connsiteX71633" fmla="*/ 2665726 w 6884782"/>
              <a:gd name="connsiteY71633" fmla="*/ 5172461 h 5973007"/>
              <a:gd name="connsiteX71634" fmla="*/ 2671922 w 6884782"/>
              <a:gd name="connsiteY71634" fmla="*/ 5177211 h 5973007"/>
              <a:gd name="connsiteX71635" fmla="*/ 2667895 w 6884782"/>
              <a:gd name="connsiteY71635" fmla="*/ 5176901 h 5973007"/>
              <a:gd name="connsiteX71636" fmla="*/ 2664487 w 6884782"/>
              <a:gd name="connsiteY71636" fmla="*/ 5175766 h 5973007"/>
              <a:gd name="connsiteX71637" fmla="*/ 2663248 w 6884782"/>
              <a:gd name="connsiteY71637" fmla="*/ 5180102 h 5973007"/>
              <a:gd name="connsiteX71638" fmla="*/ 2649616 w 6884782"/>
              <a:gd name="connsiteY71638" fmla="*/ 5187950 h 5973007"/>
              <a:gd name="connsiteX71639" fmla="*/ 2648842 w 6884782"/>
              <a:gd name="connsiteY71639" fmla="*/ 5188363 h 5973007"/>
              <a:gd name="connsiteX71640" fmla="*/ 2652095 w 6884782"/>
              <a:gd name="connsiteY71640" fmla="*/ 5190944 h 5973007"/>
              <a:gd name="connsiteX71641" fmla="*/ 2655193 w 6884782"/>
              <a:gd name="connsiteY71641" fmla="*/ 5187330 h 5973007"/>
              <a:gd name="connsiteX71642" fmla="*/ 2666346 w 6884782"/>
              <a:gd name="connsiteY71642" fmla="*/ 5192700 h 5973007"/>
              <a:gd name="connsiteX71643" fmla="*/ 2658756 w 6884782"/>
              <a:gd name="connsiteY71643" fmla="*/ 5200237 h 5973007"/>
              <a:gd name="connsiteX71644" fmla="*/ 2656122 w 6884782"/>
              <a:gd name="connsiteY71644" fmla="*/ 5197346 h 5973007"/>
              <a:gd name="connsiteX71645" fmla="*/ 2655813 w 6884782"/>
              <a:gd name="connsiteY71645" fmla="*/ 5197656 h 5973007"/>
              <a:gd name="connsiteX71646" fmla="*/ 2655348 w 6884782"/>
              <a:gd name="connsiteY71646" fmla="*/ 5199721 h 5973007"/>
              <a:gd name="connsiteX71647" fmla="*/ 2657052 w 6884782"/>
              <a:gd name="connsiteY71647" fmla="*/ 5201063 h 5973007"/>
              <a:gd name="connsiteX71648" fmla="*/ 2654728 w 6884782"/>
              <a:gd name="connsiteY71648" fmla="*/ 5202612 h 5973007"/>
              <a:gd name="connsiteX71649" fmla="*/ 2654418 w 6884782"/>
              <a:gd name="connsiteY71649" fmla="*/ 5202406 h 5973007"/>
              <a:gd name="connsiteX71650" fmla="*/ 2652250 w 6884782"/>
              <a:gd name="connsiteY71650" fmla="*/ 5205193 h 5973007"/>
              <a:gd name="connsiteX71651" fmla="*/ 2644350 w 6884782"/>
              <a:gd name="connsiteY71651" fmla="*/ 5208808 h 5973007"/>
              <a:gd name="connsiteX71652" fmla="*/ 2637999 w 6884782"/>
              <a:gd name="connsiteY71652" fmla="*/ 5205503 h 5973007"/>
              <a:gd name="connsiteX71653" fmla="*/ 2634747 w 6884782"/>
              <a:gd name="connsiteY71653" fmla="*/ 5195590 h 5973007"/>
              <a:gd name="connsiteX71654" fmla="*/ 2635056 w 6884782"/>
              <a:gd name="connsiteY71654" fmla="*/ 5195281 h 5973007"/>
              <a:gd name="connsiteX71655" fmla="*/ 2628241 w 6884782"/>
              <a:gd name="connsiteY71655" fmla="*/ 5192390 h 5973007"/>
              <a:gd name="connsiteX71656" fmla="*/ 2621581 w 6884782"/>
              <a:gd name="connsiteY71656" fmla="*/ 5190944 h 5973007"/>
              <a:gd name="connsiteX71657" fmla="*/ 2622820 w 6884782"/>
              <a:gd name="connsiteY71657" fmla="*/ 5194661 h 5973007"/>
              <a:gd name="connsiteX71658" fmla="*/ 2623904 w 6884782"/>
              <a:gd name="connsiteY71658" fmla="*/ 5201270 h 5973007"/>
              <a:gd name="connsiteX71659" fmla="*/ 2613991 w 6884782"/>
              <a:gd name="connsiteY71659" fmla="*/ 5210976 h 5973007"/>
              <a:gd name="connsiteX71660" fmla="*/ 2613061 w 6884782"/>
              <a:gd name="connsiteY71660" fmla="*/ 5210356 h 5973007"/>
              <a:gd name="connsiteX71661" fmla="*/ 2611357 w 6884782"/>
              <a:gd name="connsiteY71661" fmla="*/ 5209634 h 5973007"/>
              <a:gd name="connsiteX71662" fmla="*/ 2608724 w 6884782"/>
              <a:gd name="connsiteY71662" fmla="*/ 5210666 h 5973007"/>
              <a:gd name="connsiteX71663" fmla="*/ 2606246 w 6884782"/>
              <a:gd name="connsiteY71663" fmla="*/ 5209324 h 5973007"/>
              <a:gd name="connsiteX71664" fmla="*/ 2604852 w 6884782"/>
              <a:gd name="connsiteY71664" fmla="*/ 5205090 h 5973007"/>
              <a:gd name="connsiteX71665" fmla="*/ 2605471 w 6884782"/>
              <a:gd name="connsiteY71665" fmla="*/ 5204368 h 5973007"/>
              <a:gd name="connsiteX71666" fmla="*/ 2604232 w 6884782"/>
              <a:gd name="connsiteY71666" fmla="*/ 5199205 h 5973007"/>
              <a:gd name="connsiteX71667" fmla="*/ 2604697 w 6884782"/>
              <a:gd name="connsiteY71667" fmla="*/ 5196004 h 5973007"/>
              <a:gd name="connsiteX71668" fmla="*/ 2603303 w 6884782"/>
              <a:gd name="connsiteY71668" fmla="*/ 5200857 h 5973007"/>
              <a:gd name="connsiteX71669" fmla="*/ 2602683 w 6884782"/>
              <a:gd name="connsiteY71669" fmla="*/ 5202715 h 5973007"/>
              <a:gd name="connsiteX71670" fmla="*/ 2603458 w 6884782"/>
              <a:gd name="connsiteY71670" fmla="*/ 5202715 h 5973007"/>
              <a:gd name="connsiteX71671" fmla="*/ 2602528 w 6884782"/>
              <a:gd name="connsiteY71671" fmla="*/ 5203645 h 5973007"/>
              <a:gd name="connsiteX71672" fmla="*/ 2602373 w 6884782"/>
              <a:gd name="connsiteY71672" fmla="*/ 5203851 h 5973007"/>
              <a:gd name="connsiteX71673" fmla="*/ 2602373 w 6884782"/>
              <a:gd name="connsiteY71673" fmla="*/ 5204677 h 5973007"/>
              <a:gd name="connsiteX71674" fmla="*/ 2600050 w 6884782"/>
              <a:gd name="connsiteY71674" fmla="*/ 5207569 h 5973007"/>
              <a:gd name="connsiteX71675" fmla="*/ 2599120 w 6884782"/>
              <a:gd name="connsiteY71675" fmla="*/ 5207362 h 5973007"/>
              <a:gd name="connsiteX71676" fmla="*/ 2599275 w 6884782"/>
              <a:gd name="connsiteY71676" fmla="*/ 5212215 h 5973007"/>
              <a:gd name="connsiteX71677" fmla="*/ 2598966 w 6884782"/>
              <a:gd name="connsiteY71677" fmla="*/ 5213557 h 5973007"/>
              <a:gd name="connsiteX71678" fmla="*/ 2599430 w 6884782"/>
              <a:gd name="connsiteY71678" fmla="*/ 5213970 h 5973007"/>
              <a:gd name="connsiteX71679" fmla="*/ 2598811 w 6884782"/>
              <a:gd name="connsiteY71679" fmla="*/ 5214796 h 5973007"/>
              <a:gd name="connsiteX71680" fmla="*/ 2598036 w 6884782"/>
              <a:gd name="connsiteY71680" fmla="*/ 5219133 h 5973007"/>
              <a:gd name="connsiteX71681" fmla="*/ 2594473 w 6884782"/>
              <a:gd name="connsiteY71681" fmla="*/ 5222437 h 5973007"/>
              <a:gd name="connsiteX71682" fmla="*/ 2593544 w 6884782"/>
              <a:gd name="connsiteY71682" fmla="*/ 5216552 h 5973007"/>
              <a:gd name="connsiteX71683" fmla="*/ 2593389 w 6884782"/>
              <a:gd name="connsiteY71683" fmla="*/ 5216242 h 5973007"/>
              <a:gd name="connsiteX71684" fmla="*/ 2593389 w 6884782"/>
              <a:gd name="connsiteY71684" fmla="*/ 5215829 h 5973007"/>
              <a:gd name="connsiteX71685" fmla="*/ 2592770 w 6884782"/>
              <a:gd name="connsiteY71685" fmla="*/ 5208911 h 5973007"/>
              <a:gd name="connsiteX71686" fmla="*/ 2593854 w 6884782"/>
              <a:gd name="connsiteY71686" fmla="*/ 5202406 h 5973007"/>
              <a:gd name="connsiteX71687" fmla="*/ 2593080 w 6884782"/>
              <a:gd name="connsiteY71687" fmla="*/ 5202303 h 5973007"/>
              <a:gd name="connsiteX71688" fmla="*/ 2580688 w 6884782"/>
              <a:gd name="connsiteY71688" fmla="*/ 5201683 h 5973007"/>
              <a:gd name="connsiteX71689" fmla="*/ 2582392 w 6884782"/>
              <a:gd name="connsiteY71689" fmla="*/ 5193009 h 5973007"/>
              <a:gd name="connsiteX71690" fmla="*/ 2594319 w 6884782"/>
              <a:gd name="connsiteY71690" fmla="*/ 5187227 h 5973007"/>
              <a:gd name="connsiteX71691" fmla="*/ 2594629 w 6884782"/>
              <a:gd name="connsiteY71691" fmla="*/ 5187330 h 5973007"/>
              <a:gd name="connsiteX71692" fmla="*/ 2599430 w 6884782"/>
              <a:gd name="connsiteY71692" fmla="*/ 5187330 h 5973007"/>
              <a:gd name="connsiteX71693" fmla="*/ 2600205 w 6884782"/>
              <a:gd name="connsiteY71693" fmla="*/ 5188982 h 5973007"/>
              <a:gd name="connsiteX71694" fmla="*/ 2603148 w 6884782"/>
              <a:gd name="connsiteY71694" fmla="*/ 5188156 h 5973007"/>
              <a:gd name="connsiteX71695" fmla="*/ 2605006 w 6884782"/>
              <a:gd name="connsiteY71695" fmla="*/ 5194558 h 5973007"/>
              <a:gd name="connsiteX71696" fmla="*/ 2615384 w 6884782"/>
              <a:gd name="connsiteY71696" fmla="*/ 5189705 h 5973007"/>
              <a:gd name="connsiteX71697" fmla="*/ 2617708 w 6884782"/>
              <a:gd name="connsiteY71697" fmla="*/ 5190221 h 5973007"/>
              <a:gd name="connsiteX71698" fmla="*/ 2618947 w 6884782"/>
              <a:gd name="connsiteY71698" fmla="*/ 5190324 h 5973007"/>
              <a:gd name="connsiteX71699" fmla="*/ 2610583 w 6884782"/>
              <a:gd name="connsiteY71699" fmla="*/ 5187434 h 5973007"/>
              <a:gd name="connsiteX71700" fmla="*/ 2604697 w 6884782"/>
              <a:gd name="connsiteY71700" fmla="*/ 5181032 h 5973007"/>
              <a:gd name="connsiteX71701" fmla="*/ 2604232 w 6884782"/>
              <a:gd name="connsiteY71701" fmla="*/ 5168847 h 5973007"/>
              <a:gd name="connsiteX71702" fmla="*/ 2604232 w 6884782"/>
              <a:gd name="connsiteY71702" fmla="*/ 5168641 h 5973007"/>
              <a:gd name="connsiteX71703" fmla="*/ 2602063 w 6884782"/>
              <a:gd name="connsiteY71703" fmla="*/ 5170809 h 5973007"/>
              <a:gd name="connsiteX71704" fmla="*/ 2601134 w 6884782"/>
              <a:gd name="connsiteY71704" fmla="*/ 5176282 h 5973007"/>
              <a:gd name="connsiteX71705" fmla="*/ 2601444 w 6884782"/>
              <a:gd name="connsiteY71705" fmla="*/ 5180206 h 5973007"/>
              <a:gd name="connsiteX71706" fmla="*/ 2600360 w 6884782"/>
              <a:gd name="connsiteY71706" fmla="*/ 5181857 h 5973007"/>
              <a:gd name="connsiteX71707" fmla="*/ 2595093 w 6884782"/>
              <a:gd name="connsiteY71707" fmla="*/ 5185265 h 5973007"/>
              <a:gd name="connsiteX71708" fmla="*/ 2593699 w 6884782"/>
              <a:gd name="connsiteY71708" fmla="*/ 5181238 h 5973007"/>
              <a:gd name="connsiteX71709" fmla="*/ 2594629 w 6884782"/>
              <a:gd name="connsiteY71709" fmla="*/ 5178037 h 5973007"/>
              <a:gd name="connsiteX71710" fmla="*/ 2594009 w 6884782"/>
              <a:gd name="connsiteY71710" fmla="*/ 5178553 h 5973007"/>
              <a:gd name="connsiteX71711" fmla="*/ 2585954 w 6884782"/>
              <a:gd name="connsiteY71711" fmla="*/ 5180928 h 5973007"/>
              <a:gd name="connsiteX71712" fmla="*/ 2595248 w 6884782"/>
              <a:gd name="connsiteY71712" fmla="*/ 5165750 h 5973007"/>
              <a:gd name="connsiteX71713" fmla="*/ 2602063 w 6884782"/>
              <a:gd name="connsiteY71713" fmla="*/ 5162652 h 5973007"/>
              <a:gd name="connsiteX71714" fmla="*/ 2601134 w 6884782"/>
              <a:gd name="connsiteY71714" fmla="*/ 5159864 h 5973007"/>
              <a:gd name="connsiteX71715" fmla="*/ 2606246 w 6884782"/>
              <a:gd name="connsiteY71715" fmla="*/ 5148506 h 5973007"/>
              <a:gd name="connsiteX71716" fmla="*/ 2608569 w 6884782"/>
              <a:gd name="connsiteY71716" fmla="*/ 5145202 h 5973007"/>
              <a:gd name="connsiteX71717" fmla="*/ 2609963 w 6884782"/>
              <a:gd name="connsiteY71717" fmla="*/ 5142207 h 5973007"/>
              <a:gd name="connsiteX71718" fmla="*/ 2610118 w 6884782"/>
              <a:gd name="connsiteY71718" fmla="*/ 5141897 h 5973007"/>
              <a:gd name="connsiteX71719" fmla="*/ 2610428 w 6884782"/>
              <a:gd name="connsiteY71719" fmla="*/ 5139832 h 5973007"/>
              <a:gd name="connsiteX71720" fmla="*/ 2609344 w 6884782"/>
              <a:gd name="connsiteY71720" fmla="*/ 5141072 h 5973007"/>
              <a:gd name="connsiteX71721" fmla="*/ 2603148 w 6884782"/>
              <a:gd name="connsiteY71721" fmla="*/ 5142723 h 5973007"/>
              <a:gd name="connsiteX71722" fmla="*/ 2597417 w 6884782"/>
              <a:gd name="connsiteY71722" fmla="*/ 5135496 h 5973007"/>
              <a:gd name="connsiteX71723" fmla="*/ 2595558 w 6884782"/>
              <a:gd name="connsiteY71723" fmla="*/ 5135702 h 5973007"/>
              <a:gd name="connsiteX71724" fmla="*/ 2592615 w 6884782"/>
              <a:gd name="connsiteY71724" fmla="*/ 5133637 h 5973007"/>
              <a:gd name="connsiteX71725" fmla="*/ 2593699 w 6884782"/>
              <a:gd name="connsiteY71725" fmla="*/ 5131882 h 5973007"/>
              <a:gd name="connsiteX71726" fmla="*/ 2597417 w 6884782"/>
              <a:gd name="connsiteY71726" fmla="*/ 5133534 h 5973007"/>
              <a:gd name="connsiteX71727" fmla="*/ 2598191 w 6884782"/>
              <a:gd name="connsiteY71727" fmla="*/ 5133120 h 5973007"/>
              <a:gd name="connsiteX71728" fmla="*/ 2598966 w 6884782"/>
              <a:gd name="connsiteY71728" fmla="*/ 5130746 h 5973007"/>
              <a:gd name="connsiteX71729" fmla="*/ 2606246 w 6884782"/>
              <a:gd name="connsiteY71729" fmla="*/ 5126099 h 5973007"/>
              <a:gd name="connsiteX71730" fmla="*/ 2611667 w 6884782"/>
              <a:gd name="connsiteY71730" fmla="*/ 5130333 h 5973007"/>
              <a:gd name="connsiteX71731" fmla="*/ 2612752 w 6884782"/>
              <a:gd name="connsiteY71731" fmla="*/ 5132708 h 5973007"/>
              <a:gd name="connsiteX71732" fmla="*/ 2615384 w 6884782"/>
              <a:gd name="connsiteY71732" fmla="*/ 5128887 h 5973007"/>
              <a:gd name="connsiteX71733" fmla="*/ 2622665 w 6884782"/>
              <a:gd name="connsiteY71733" fmla="*/ 5126822 h 5973007"/>
              <a:gd name="connsiteX71734" fmla="*/ 2624988 w 6884782"/>
              <a:gd name="connsiteY71734" fmla="*/ 5128061 h 5973007"/>
              <a:gd name="connsiteX71735" fmla="*/ 2634747 w 6884782"/>
              <a:gd name="connsiteY71735" fmla="*/ 5124034 h 5973007"/>
              <a:gd name="connsiteX71736" fmla="*/ 2635056 w 6884782"/>
              <a:gd name="connsiteY71736" fmla="*/ 5124034 h 5973007"/>
              <a:gd name="connsiteX71737" fmla="*/ 2636296 w 6884782"/>
              <a:gd name="connsiteY71737" fmla="*/ 5123002 h 5973007"/>
              <a:gd name="connsiteX71738" fmla="*/ 2635831 w 6884782"/>
              <a:gd name="connsiteY71738" fmla="*/ 5121246 h 5973007"/>
              <a:gd name="connsiteX71739" fmla="*/ 2628241 w 6884782"/>
              <a:gd name="connsiteY71739" fmla="*/ 5113295 h 5973007"/>
              <a:gd name="connsiteX71740" fmla="*/ 2633662 w 6884782"/>
              <a:gd name="connsiteY71740" fmla="*/ 5113192 h 5973007"/>
              <a:gd name="connsiteX71741" fmla="*/ 2633043 w 6884782"/>
              <a:gd name="connsiteY71741" fmla="*/ 5112056 h 5973007"/>
              <a:gd name="connsiteX71742" fmla="*/ 2631649 w 6884782"/>
              <a:gd name="connsiteY71742" fmla="*/ 5103693 h 5973007"/>
              <a:gd name="connsiteX71743" fmla="*/ 2631649 w 6884782"/>
              <a:gd name="connsiteY71743" fmla="*/ 5098840 h 5973007"/>
              <a:gd name="connsiteX71744" fmla="*/ 2629945 w 6884782"/>
              <a:gd name="connsiteY71744" fmla="*/ 5100285 h 5973007"/>
              <a:gd name="connsiteX71745" fmla="*/ 2622974 w 6884782"/>
              <a:gd name="connsiteY71745" fmla="*/ 5101937 h 5973007"/>
              <a:gd name="connsiteX71746" fmla="*/ 2622820 w 6884782"/>
              <a:gd name="connsiteY71746" fmla="*/ 5093883 h 5973007"/>
              <a:gd name="connsiteX71747" fmla="*/ 2626537 w 6884782"/>
              <a:gd name="connsiteY71747" fmla="*/ 5090992 h 5973007"/>
              <a:gd name="connsiteX71748" fmla="*/ 2630100 w 6884782"/>
              <a:gd name="connsiteY71748" fmla="*/ 5091405 h 5973007"/>
              <a:gd name="connsiteX71749" fmla="*/ 2631804 w 6884782"/>
              <a:gd name="connsiteY71749" fmla="*/ 5091302 h 5973007"/>
              <a:gd name="connsiteX71750" fmla="*/ 2632114 w 6884782"/>
              <a:gd name="connsiteY71750" fmla="*/ 5082938 h 5973007"/>
              <a:gd name="connsiteX71751" fmla="*/ 2630255 w 6884782"/>
              <a:gd name="connsiteY71751" fmla="*/ 5084900 h 5973007"/>
              <a:gd name="connsiteX71752" fmla="*/ 2625143 w 6884782"/>
              <a:gd name="connsiteY71752" fmla="*/ 5078395 h 5973007"/>
              <a:gd name="connsiteX71753" fmla="*/ 2627759 w 6884782"/>
              <a:gd name="connsiteY71753" fmla="*/ 5073005 h 5973007"/>
              <a:gd name="connsiteX71754" fmla="*/ 2609483 w 6884782"/>
              <a:gd name="connsiteY71754" fmla="*/ 5036040 h 5973007"/>
              <a:gd name="connsiteX71755" fmla="*/ 2606786 w 6884782"/>
              <a:gd name="connsiteY71755" fmla="*/ 5030708 h 5973007"/>
              <a:gd name="connsiteX71756" fmla="*/ 2600534 w 6884782"/>
              <a:gd name="connsiteY71756" fmla="*/ 5036641 h 5973007"/>
              <a:gd name="connsiteX71757" fmla="*/ 2586419 w 6884782"/>
              <a:gd name="connsiteY71757" fmla="*/ 5046385 h 5973007"/>
              <a:gd name="connsiteX71758" fmla="*/ 2577590 w 6884782"/>
              <a:gd name="connsiteY71758" fmla="*/ 5024185 h 5973007"/>
              <a:gd name="connsiteX71759" fmla="*/ 2577125 w 6884782"/>
              <a:gd name="connsiteY71759" fmla="*/ 5021810 h 5973007"/>
              <a:gd name="connsiteX71760" fmla="*/ 2573408 w 6884782"/>
              <a:gd name="connsiteY71760" fmla="*/ 5020571 h 5973007"/>
              <a:gd name="connsiteX71761" fmla="*/ 2572324 w 6884782"/>
              <a:gd name="connsiteY71761" fmla="*/ 5018713 h 5973007"/>
              <a:gd name="connsiteX71762" fmla="*/ 2574337 w 6884782"/>
              <a:gd name="connsiteY71762" fmla="*/ 5017474 h 5973007"/>
              <a:gd name="connsiteX71763" fmla="*/ 2577125 w 6884782"/>
              <a:gd name="connsiteY71763" fmla="*/ 5018713 h 5973007"/>
              <a:gd name="connsiteX71764" fmla="*/ 2577435 w 6884782"/>
              <a:gd name="connsiteY71764" fmla="*/ 5016131 h 5973007"/>
              <a:gd name="connsiteX71765" fmla="*/ 2589758 w 6884782"/>
              <a:gd name="connsiteY71765" fmla="*/ 5003154 h 5973007"/>
              <a:gd name="connsiteX71766" fmla="*/ 2581341 w 6884782"/>
              <a:gd name="connsiteY71766" fmla="*/ 4994453 h 5973007"/>
              <a:gd name="connsiteX71767" fmla="*/ 2567270 w 6884782"/>
              <a:gd name="connsiteY71767" fmla="*/ 4986751 h 5973007"/>
              <a:gd name="connsiteX71768" fmla="*/ 2566872 w 6884782"/>
              <a:gd name="connsiteY71768" fmla="*/ 4986790 h 5973007"/>
              <a:gd name="connsiteX71769" fmla="*/ 2566592 w 6884782"/>
              <a:gd name="connsiteY71769" fmla="*/ 4990524 h 5973007"/>
              <a:gd name="connsiteX71770" fmla="*/ 2564579 w 6884782"/>
              <a:gd name="connsiteY71770" fmla="*/ 4989285 h 5973007"/>
              <a:gd name="connsiteX71771" fmla="*/ 2562410 w 6884782"/>
              <a:gd name="connsiteY71771" fmla="*/ 4992279 h 5973007"/>
              <a:gd name="connsiteX71772" fmla="*/ 2559467 w 6884782"/>
              <a:gd name="connsiteY71772" fmla="*/ 4994138 h 5973007"/>
              <a:gd name="connsiteX71773" fmla="*/ 2558692 w 6884782"/>
              <a:gd name="connsiteY71773" fmla="*/ 4996513 h 5973007"/>
              <a:gd name="connsiteX71774" fmla="*/ 2560861 w 6884782"/>
              <a:gd name="connsiteY71774" fmla="*/ 4995996 h 5973007"/>
              <a:gd name="connsiteX71775" fmla="*/ 2563804 w 6884782"/>
              <a:gd name="connsiteY71775" fmla="*/ 4997545 h 5973007"/>
              <a:gd name="connsiteX71776" fmla="*/ 2558383 w 6884782"/>
              <a:gd name="connsiteY71776" fmla="*/ 5004257 h 5973007"/>
              <a:gd name="connsiteX71777" fmla="*/ 2555749 w 6884782"/>
              <a:gd name="connsiteY71777" fmla="*/ 5001572 h 5973007"/>
              <a:gd name="connsiteX71778" fmla="*/ 2556369 w 6884782"/>
              <a:gd name="connsiteY71778" fmla="*/ 5000333 h 5973007"/>
              <a:gd name="connsiteX71779" fmla="*/ 2553736 w 6884782"/>
              <a:gd name="connsiteY71779" fmla="*/ 5004153 h 5973007"/>
              <a:gd name="connsiteX71780" fmla="*/ 2540415 w 6884782"/>
              <a:gd name="connsiteY71780" fmla="*/ 5009110 h 5973007"/>
              <a:gd name="connsiteX71781" fmla="*/ 2532360 w 6884782"/>
              <a:gd name="connsiteY71781" fmla="*/ 5005806 h 5973007"/>
              <a:gd name="connsiteX71782" fmla="*/ 2528178 w 6884782"/>
              <a:gd name="connsiteY71782" fmla="*/ 5000643 h 5973007"/>
              <a:gd name="connsiteX71783" fmla="*/ 2528067 w 6884782"/>
              <a:gd name="connsiteY71783" fmla="*/ 5000333 h 5973007"/>
              <a:gd name="connsiteX71784" fmla="*/ 2520918 w 6884782"/>
              <a:gd name="connsiteY71784" fmla="*/ 5005233 h 5973007"/>
              <a:gd name="connsiteX71785" fmla="*/ 2511705 w 6884782"/>
              <a:gd name="connsiteY71785" fmla="*/ 5012853 h 5973007"/>
              <a:gd name="connsiteX71786" fmla="*/ 2512534 w 6884782"/>
              <a:gd name="connsiteY71786" fmla="*/ 5015615 h 5973007"/>
              <a:gd name="connsiteX71787" fmla="*/ 2509591 w 6884782"/>
              <a:gd name="connsiteY71787" fmla="*/ 5016957 h 5973007"/>
              <a:gd name="connsiteX71788" fmla="*/ 2507422 w 6884782"/>
              <a:gd name="connsiteY71788" fmla="*/ 5016544 h 5973007"/>
              <a:gd name="connsiteX71789" fmla="*/ 2507380 w 6884782"/>
              <a:gd name="connsiteY71789" fmla="*/ 5016430 h 5973007"/>
              <a:gd name="connsiteX71790" fmla="*/ 2506019 w 6884782"/>
              <a:gd name="connsiteY71790" fmla="*/ 5017556 h 5973007"/>
              <a:gd name="connsiteX71791" fmla="*/ 2490293 w 6884782"/>
              <a:gd name="connsiteY71791" fmla="*/ 5032958 h 5973007"/>
              <a:gd name="connsiteX71792" fmla="*/ 2478704 w 6884782"/>
              <a:gd name="connsiteY71792" fmla="*/ 5048362 h 5973007"/>
              <a:gd name="connsiteX71793" fmla="*/ 2467116 w 6884782"/>
              <a:gd name="connsiteY71793" fmla="*/ 5068384 h 5973007"/>
              <a:gd name="connsiteX71794" fmla="*/ 2455528 w 6884782"/>
              <a:gd name="connsiteY71794" fmla="*/ 5088407 h 5973007"/>
              <a:gd name="connsiteX71795" fmla="*/ 2443113 w 6884782"/>
              <a:gd name="connsiteY71795" fmla="*/ 5113052 h 5973007"/>
              <a:gd name="connsiteX71796" fmla="*/ 2437550 w 6884782"/>
              <a:gd name="connsiteY71796" fmla="*/ 5093501 h 5973007"/>
              <a:gd name="connsiteX71797" fmla="*/ 2434156 w 6884782"/>
              <a:gd name="connsiteY71797" fmla="*/ 5097704 h 5973007"/>
              <a:gd name="connsiteX71798" fmla="*/ 2424552 w 6884782"/>
              <a:gd name="connsiteY71798" fmla="*/ 5095329 h 5973007"/>
              <a:gd name="connsiteX71799" fmla="*/ 2422539 w 6884782"/>
              <a:gd name="connsiteY71799" fmla="*/ 5094606 h 5973007"/>
              <a:gd name="connsiteX71800" fmla="*/ 2424398 w 6884782"/>
              <a:gd name="connsiteY71800" fmla="*/ 5097084 h 5973007"/>
              <a:gd name="connsiteX71801" fmla="*/ 2427650 w 6884782"/>
              <a:gd name="connsiteY71801" fmla="*/ 5111953 h 5973007"/>
              <a:gd name="connsiteX71802" fmla="*/ 2425637 w 6884782"/>
              <a:gd name="connsiteY71802" fmla="*/ 5113605 h 5973007"/>
              <a:gd name="connsiteX71803" fmla="*/ 2420060 w 6884782"/>
              <a:gd name="connsiteY71803" fmla="*/ 5114225 h 5973007"/>
              <a:gd name="connsiteX71804" fmla="*/ 2396981 w 6884782"/>
              <a:gd name="connsiteY71804" fmla="*/ 5085003 h 5973007"/>
              <a:gd name="connsiteX71805" fmla="*/ 2405965 w 6884782"/>
              <a:gd name="connsiteY71805" fmla="*/ 5083868 h 5973007"/>
              <a:gd name="connsiteX71806" fmla="*/ 2406120 w 6884782"/>
              <a:gd name="connsiteY71806" fmla="*/ 5083971 h 5973007"/>
              <a:gd name="connsiteX71807" fmla="*/ 2406430 w 6884782"/>
              <a:gd name="connsiteY71807" fmla="*/ 5081906 h 5973007"/>
              <a:gd name="connsiteX71808" fmla="*/ 2406120 w 6884782"/>
              <a:gd name="connsiteY71808" fmla="*/ 5080357 h 5973007"/>
              <a:gd name="connsiteX71809" fmla="*/ 2404106 w 6884782"/>
              <a:gd name="connsiteY71809" fmla="*/ 5081389 h 5973007"/>
              <a:gd name="connsiteX71810" fmla="*/ 2393109 w 6884782"/>
              <a:gd name="connsiteY71810" fmla="*/ 5077569 h 5973007"/>
              <a:gd name="connsiteX71811" fmla="*/ 2409992 w 6884782"/>
              <a:gd name="connsiteY71811" fmla="*/ 5065694 h 5973007"/>
              <a:gd name="connsiteX71812" fmla="*/ 2412470 w 6884782"/>
              <a:gd name="connsiteY71812" fmla="*/ 5069928 h 5973007"/>
              <a:gd name="connsiteX71813" fmla="*/ 2416033 w 6884782"/>
              <a:gd name="connsiteY71813" fmla="*/ 5068069 h 5973007"/>
              <a:gd name="connsiteX71814" fmla="*/ 2418976 w 6884782"/>
              <a:gd name="connsiteY71814" fmla="*/ 5067656 h 5973007"/>
              <a:gd name="connsiteX71815" fmla="*/ 2418821 w 6884782"/>
              <a:gd name="connsiteY71815" fmla="*/ 5063629 h 5973007"/>
              <a:gd name="connsiteX71816" fmla="*/ 2423933 w 6884782"/>
              <a:gd name="connsiteY71816" fmla="*/ 5064145 h 5973007"/>
              <a:gd name="connsiteX71817" fmla="*/ 2427805 w 6884782"/>
              <a:gd name="connsiteY71817" fmla="*/ 5067450 h 5973007"/>
              <a:gd name="connsiteX71818" fmla="*/ 2428554 w 6884782"/>
              <a:gd name="connsiteY71818" fmla="*/ 5061878 h 5973007"/>
              <a:gd name="connsiteX71819" fmla="*/ 2428214 w 6884782"/>
              <a:gd name="connsiteY71819" fmla="*/ 5060683 h 5973007"/>
              <a:gd name="connsiteX71820" fmla="*/ 2421298 w 6884782"/>
              <a:gd name="connsiteY71820" fmla="*/ 5037518 h 5973007"/>
              <a:gd name="connsiteX71821" fmla="*/ 2420370 w 6884782"/>
              <a:gd name="connsiteY71821" fmla="*/ 5037196 h 5973007"/>
              <a:gd name="connsiteX71822" fmla="*/ 2418666 w 6884782"/>
              <a:gd name="connsiteY71822" fmla="*/ 5040500 h 5973007"/>
              <a:gd name="connsiteX71823" fmla="*/ 2417012 w 6884782"/>
              <a:gd name="connsiteY71823" fmla="*/ 5036768 h 5973007"/>
              <a:gd name="connsiteX71824" fmla="*/ 2395105 w 6884782"/>
              <a:gd name="connsiteY71824" fmla="*/ 5065304 h 5973007"/>
              <a:gd name="connsiteX71825" fmla="*/ 2371101 w 6884782"/>
              <a:gd name="connsiteY71825" fmla="*/ 5099190 h 5973007"/>
              <a:gd name="connsiteX71826" fmla="*/ 2365307 w 6884782"/>
              <a:gd name="connsiteY71826" fmla="*/ 5094569 h 5973007"/>
              <a:gd name="connsiteX71827" fmla="*/ 2359513 w 6884782"/>
              <a:gd name="connsiteY71827" fmla="*/ 5091488 h 5973007"/>
              <a:gd name="connsiteX71828" fmla="*/ 2355375 w 6884782"/>
              <a:gd name="connsiteY71828" fmla="*/ 5083787 h 5973007"/>
              <a:gd name="connsiteX71829" fmla="*/ 2336337 w 6884782"/>
              <a:gd name="connsiteY71829" fmla="*/ 5043740 h 5973007"/>
              <a:gd name="connsiteX71830" fmla="*/ 2315644 w 6884782"/>
              <a:gd name="connsiteY71830" fmla="*/ 5006774 h 5973007"/>
              <a:gd name="connsiteX71831" fmla="*/ 2315386 w 6884782"/>
              <a:gd name="connsiteY71831" fmla="*/ 5006371 h 5973007"/>
              <a:gd name="connsiteX71832" fmla="*/ 2313337 w 6884782"/>
              <a:gd name="connsiteY71832" fmla="*/ 5007045 h 5973007"/>
              <a:gd name="connsiteX71833" fmla="*/ 2314731 w 6884782"/>
              <a:gd name="connsiteY71833" fmla="*/ 5010039 h 5973007"/>
              <a:gd name="connsiteX71834" fmla="*/ 2315351 w 6884782"/>
              <a:gd name="connsiteY71834" fmla="*/ 5015821 h 5973007"/>
              <a:gd name="connsiteX71835" fmla="*/ 2320617 w 6884782"/>
              <a:gd name="connsiteY71835" fmla="*/ 5021294 h 5973007"/>
              <a:gd name="connsiteX71836" fmla="*/ 2315815 w 6884782"/>
              <a:gd name="connsiteY71836" fmla="*/ 5021294 h 5973007"/>
              <a:gd name="connsiteX71837" fmla="*/ 2315970 w 6884782"/>
              <a:gd name="connsiteY71837" fmla="*/ 5022017 h 5973007"/>
              <a:gd name="connsiteX71838" fmla="*/ 2314421 w 6884782"/>
              <a:gd name="connsiteY71838" fmla="*/ 5029761 h 5973007"/>
              <a:gd name="connsiteX71839" fmla="*/ 2308225 w 6884782"/>
              <a:gd name="connsiteY71839" fmla="*/ 5024598 h 5973007"/>
              <a:gd name="connsiteX71840" fmla="*/ 2306366 w 6884782"/>
              <a:gd name="connsiteY71840" fmla="*/ 5017680 h 5973007"/>
              <a:gd name="connsiteX71841" fmla="*/ 2305127 w 6884782"/>
              <a:gd name="connsiteY71841" fmla="*/ 5016648 h 5973007"/>
              <a:gd name="connsiteX71842" fmla="*/ 2302030 w 6884782"/>
              <a:gd name="connsiteY71842" fmla="*/ 5019229 h 5973007"/>
              <a:gd name="connsiteX71843" fmla="*/ 2290723 w 6884782"/>
              <a:gd name="connsiteY71843" fmla="*/ 5022430 h 5973007"/>
              <a:gd name="connsiteX71844" fmla="*/ 2295989 w 6884782"/>
              <a:gd name="connsiteY71844" fmla="*/ 5014582 h 5973007"/>
              <a:gd name="connsiteX71845" fmla="*/ 2300016 w 6884782"/>
              <a:gd name="connsiteY71845" fmla="*/ 5011381 h 5973007"/>
              <a:gd name="connsiteX71846" fmla="*/ 2298467 w 6884782"/>
              <a:gd name="connsiteY71846" fmla="*/ 5009110 h 5973007"/>
              <a:gd name="connsiteX71847" fmla="*/ 2298157 w 6884782"/>
              <a:gd name="connsiteY71847" fmla="*/ 5003844 h 5973007"/>
              <a:gd name="connsiteX71848" fmla="*/ 2303888 w 6884782"/>
              <a:gd name="connsiteY71848" fmla="*/ 5008181 h 5973007"/>
              <a:gd name="connsiteX71849" fmla="*/ 2304043 w 6884782"/>
              <a:gd name="connsiteY71849" fmla="*/ 5008387 h 5973007"/>
              <a:gd name="connsiteX71850" fmla="*/ 2304663 w 6884782"/>
              <a:gd name="connsiteY71850" fmla="*/ 5007871 h 5973007"/>
              <a:gd name="connsiteX71851" fmla="*/ 2306057 w 6884782"/>
              <a:gd name="connsiteY71851" fmla="*/ 5000437 h 5973007"/>
              <a:gd name="connsiteX71852" fmla="*/ 2307141 w 6884782"/>
              <a:gd name="connsiteY71852" fmla="*/ 4999301 h 5973007"/>
              <a:gd name="connsiteX71853" fmla="*/ 2306986 w 6884782"/>
              <a:gd name="connsiteY71853" fmla="*/ 4995067 h 5973007"/>
              <a:gd name="connsiteX71854" fmla="*/ 2308670 w 6884782"/>
              <a:gd name="connsiteY71854" fmla="*/ 4995873 h 5973007"/>
              <a:gd name="connsiteX71855" fmla="*/ 2308076 w 6884782"/>
              <a:gd name="connsiteY71855" fmla="*/ 4994945 h 5973007"/>
              <a:gd name="connsiteX71856" fmla="*/ 2307915 w 6884782"/>
              <a:gd name="connsiteY71856" fmla="*/ 4994964 h 5973007"/>
              <a:gd name="connsiteX71857" fmla="*/ 2307141 w 6884782"/>
              <a:gd name="connsiteY71857" fmla="*/ 4993931 h 5973007"/>
              <a:gd name="connsiteX71858" fmla="*/ 2306985 w 6884782"/>
              <a:gd name="connsiteY71858" fmla="*/ 4993239 h 5973007"/>
              <a:gd name="connsiteX71859" fmla="*/ 2294952 w 6884782"/>
              <a:gd name="connsiteY71859" fmla="*/ 4974429 h 5973007"/>
              <a:gd name="connsiteX71860" fmla="*/ 2274460 w 6884782"/>
              <a:gd name="connsiteY71860" fmla="*/ 4952640 h 5973007"/>
              <a:gd name="connsiteX71861" fmla="*/ 2272445 w 6884782"/>
              <a:gd name="connsiteY71861" fmla="*/ 4952939 h 5973007"/>
              <a:gd name="connsiteX71862" fmla="*/ 2272445 w 6884782"/>
              <a:gd name="connsiteY71862" fmla="*/ 4953248 h 5973007"/>
              <a:gd name="connsiteX71863" fmla="*/ 2269967 w 6884782"/>
              <a:gd name="connsiteY71863" fmla="*/ 4957895 h 5973007"/>
              <a:gd name="connsiteX71864" fmla="*/ 2268572 w 6884782"/>
              <a:gd name="connsiteY71864" fmla="*/ 4958721 h 5973007"/>
              <a:gd name="connsiteX71865" fmla="*/ 2266868 w 6884782"/>
              <a:gd name="connsiteY71865" fmla="*/ 4968840 h 5973007"/>
              <a:gd name="connsiteX71866" fmla="*/ 2259434 w 6884782"/>
              <a:gd name="connsiteY71866" fmla="*/ 4966775 h 5973007"/>
              <a:gd name="connsiteX71867" fmla="*/ 2259589 w 6884782"/>
              <a:gd name="connsiteY71867" fmla="*/ 4960786 h 5973007"/>
              <a:gd name="connsiteX71868" fmla="*/ 2254942 w 6884782"/>
              <a:gd name="connsiteY71868" fmla="*/ 4957482 h 5973007"/>
              <a:gd name="connsiteX71869" fmla="*/ 2260401 w 6884782"/>
              <a:gd name="connsiteY71869" fmla="*/ 4949054 h 5973007"/>
              <a:gd name="connsiteX71870" fmla="*/ 2267537 w 6884782"/>
              <a:gd name="connsiteY71870" fmla="*/ 4946222 h 5973007"/>
              <a:gd name="connsiteX71871" fmla="*/ 2246116 w 6884782"/>
              <a:gd name="connsiteY71871" fmla="*/ 4928221 h 5973007"/>
              <a:gd name="connsiteX71872" fmla="*/ 2241424 w 6884782"/>
              <a:gd name="connsiteY71872" fmla="*/ 4925686 h 5973007"/>
              <a:gd name="connsiteX71873" fmla="*/ 2241155 w 6884782"/>
              <a:gd name="connsiteY71873" fmla="*/ 4926402 h 5973007"/>
              <a:gd name="connsiteX71874" fmla="*/ 2239088 w 6884782"/>
              <a:gd name="connsiteY71874" fmla="*/ 4924424 h 5973007"/>
              <a:gd name="connsiteX71875" fmla="*/ 2220458 w 6884782"/>
              <a:gd name="connsiteY71875" fmla="*/ 4914360 h 5973007"/>
              <a:gd name="connsiteX71876" fmla="*/ 2192315 w 6884782"/>
              <a:gd name="connsiteY71876" fmla="*/ 4905118 h 5973007"/>
              <a:gd name="connsiteX71877" fmla="*/ 2181902 w 6884782"/>
              <a:gd name="connsiteY71877" fmla="*/ 4905118 h 5973007"/>
              <a:gd name="connsiteX71878" fmla="*/ 2175634 w 6884782"/>
              <a:gd name="connsiteY71878" fmla="*/ 4908435 h 5973007"/>
              <a:gd name="connsiteX71879" fmla="*/ 2176630 w 6884782"/>
              <a:gd name="connsiteY71879" fmla="*/ 4905118 h 5973007"/>
              <a:gd name="connsiteX71880" fmla="*/ 2169329 w 6884782"/>
              <a:gd name="connsiteY71880" fmla="*/ 4905118 h 5973007"/>
              <a:gd name="connsiteX71881" fmla="*/ 2173001 w 6884782"/>
              <a:gd name="connsiteY71881" fmla="*/ 4916283 h 5973007"/>
              <a:gd name="connsiteX71882" fmla="*/ 2162158 w 6884782"/>
              <a:gd name="connsiteY71882" fmla="*/ 4912875 h 5973007"/>
              <a:gd name="connsiteX71883" fmla="*/ 2168623 w 6884782"/>
              <a:gd name="connsiteY71883" fmla="*/ 4905118 h 5973007"/>
              <a:gd name="connsiteX71884" fmla="*/ 2162678 w 6884782"/>
              <a:gd name="connsiteY71884" fmla="*/ 4905118 h 5973007"/>
              <a:gd name="connsiteX71885" fmla="*/ 2161694 w 6884782"/>
              <a:gd name="connsiteY71885" fmla="*/ 4906267 h 5973007"/>
              <a:gd name="connsiteX71886" fmla="*/ 2159990 w 6884782"/>
              <a:gd name="connsiteY71886" fmla="*/ 4904615 h 5973007"/>
              <a:gd name="connsiteX71887" fmla="*/ 2159959 w 6884782"/>
              <a:gd name="connsiteY71887" fmla="*/ 4904474 h 5973007"/>
              <a:gd name="connsiteX71888" fmla="*/ 2152235 w 6884782"/>
              <a:gd name="connsiteY71888" fmla="*/ 4901599 h 5973007"/>
              <a:gd name="connsiteX71889" fmla="*/ 2148992 w 6884782"/>
              <a:gd name="connsiteY71889" fmla="*/ 4901414 h 5973007"/>
              <a:gd name="connsiteX71890" fmla="*/ 2147335 w 6884782"/>
              <a:gd name="connsiteY71890" fmla="*/ 4898694 h 5973007"/>
              <a:gd name="connsiteX71891" fmla="*/ 2137686 w 6884782"/>
              <a:gd name="connsiteY71891" fmla="*/ 4889715 h 5973007"/>
              <a:gd name="connsiteX71892" fmla="*/ 2136007 w 6884782"/>
              <a:gd name="connsiteY71892" fmla="*/ 4887632 h 5973007"/>
              <a:gd name="connsiteX71893" fmla="*/ 2135362 w 6884782"/>
              <a:gd name="connsiteY71893" fmla="*/ 4890572 h 5973007"/>
              <a:gd name="connsiteX71894" fmla="*/ 2131799 w 6884782"/>
              <a:gd name="connsiteY71894" fmla="*/ 4887371 h 5973007"/>
              <a:gd name="connsiteX71895" fmla="*/ 2135171 w 6884782"/>
              <a:gd name="connsiteY71895" fmla="*/ 4886596 h 5973007"/>
              <a:gd name="connsiteX71896" fmla="*/ 2125270 w 6884782"/>
              <a:gd name="connsiteY71896" fmla="*/ 4874312 h 5973007"/>
              <a:gd name="connsiteX71897" fmla="*/ 2113682 w 6884782"/>
              <a:gd name="connsiteY71897" fmla="*/ 4855829 h 5973007"/>
              <a:gd name="connsiteX71898" fmla="*/ 2105858 w 6884782"/>
              <a:gd name="connsiteY71898" fmla="*/ 4844181 h 5973007"/>
              <a:gd name="connsiteX71899" fmla="*/ 2099271 w 6884782"/>
              <a:gd name="connsiteY71899" fmla="*/ 4846069 h 5973007"/>
              <a:gd name="connsiteX71900" fmla="*/ 2090752 w 6884782"/>
              <a:gd name="connsiteY71900" fmla="*/ 4842454 h 5973007"/>
              <a:gd name="connsiteX71901" fmla="*/ 2085795 w 6884782"/>
              <a:gd name="connsiteY71901" fmla="*/ 4837085 h 5973007"/>
              <a:gd name="connsiteX71902" fmla="*/ 2085795 w 6884782"/>
              <a:gd name="connsiteY71902" fmla="*/ 4836879 h 5973007"/>
              <a:gd name="connsiteX71903" fmla="*/ 2084710 w 6884782"/>
              <a:gd name="connsiteY71903" fmla="*/ 4837808 h 5973007"/>
              <a:gd name="connsiteX71904" fmla="*/ 2082542 w 6884782"/>
              <a:gd name="connsiteY71904" fmla="*/ 4838531 h 5973007"/>
              <a:gd name="connsiteX71905" fmla="*/ 2082387 w 6884782"/>
              <a:gd name="connsiteY71905" fmla="*/ 4838324 h 5973007"/>
              <a:gd name="connsiteX71906" fmla="*/ 2083627 w 6884782"/>
              <a:gd name="connsiteY71906" fmla="*/ 4844519 h 5973007"/>
              <a:gd name="connsiteX71907" fmla="*/ 2082542 w 6884782"/>
              <a:gd name="connsiteY71907" fmla="*/ 4853296 h 5973007"/>
              <a:gd name="connsiteX71908" fmla="*/ 2080528 w 6884782"/>
              <a:gd name="connsiteY71908" fmla="*/ 4856394 h 5973007"/>
              <a:gd name="connsiteX71909" fmla="*/ 2081303 w 6884782"/>
              <a:gd name="connsiteY71909" fmla="*/ 4858149 h 5973007"/>
              <a:gd name="connsiteX71910" fmla="*/ 2079444 w 6884782"/>
              <a:gd name="connsiteY71910" fmla="*/ 4860008 h 5973007"/>
              <a:gd name="connsiteX71911" fmla="*/ 2077740 w 6884782"/>
              <a:gd name="connsiteY71911" fmla="*/ 4860524 h 5973007"/>
              <a:gd name="connsiteX71912" fmla="*/ 2076036 w 6884782"/>
              <a:gd name="connsiteY71912" fmla="*/ 4863002 h 5973007"/>
              <a:gd name="connsiteX71913" fmla="*/ 2062870 w 6884782"/>
              <a:gd name="connsiteY71913" fmla="*/ 4852780 h 5973007"/>
              <a:gd name="connsiteX71914" fmla="*/ 2060856 w 6884782"/>
              <a:gd name="connsiteY71914" fmla="*/ 4846069 h 5973007"/>
              <a:gd name="connsiteX71915" fmla="*/ 2056674 w 6884782"/>
              <a:gd name="connsiteY71915" fmla="*/ 4847308 h 5973007"/>
              <a:gd name="connsiteX71916" fmla="*/ 2055125 w 6884782"/>
              <a:gd name="connsiteY71916" fmla="*/ 4847101 h 5973007"/>
              <a:gd name="connsiteX71917" fmla="*/ 2054351 w 6884782"/>
              <a:gd name="connsiteY71917" fmla="*/ 4851747 h 5973007"/>
              <a:gd name="connsiteX71918" fmla="*/ 2054661 w 6884782"/>
              <a:gd name="connsiteY71918" fmla="*/ 4858769 h 5973007"/>
              <a:gd name="connsiteX71919" fmla="*/ 2043043 w 6884782"/>
              <a:gd name="connsiteY71919" fmla="*/ 4865894 h 5973007"/>
              <a:gd name="connsiteX71920" fmla="*/ 2048465 w 6884782"/>
              <a:gd name="connsiteY71920" fmla="*/ 4796092 h 5973007"/>
              <a:gd name="connsiteX71921" fmla="*/ 2017640 w 6884782"/>
              <a:gd name="connsiteY71921" fmla="*/ 4796092 h 5973007"/>
              <a:gd name="connsiteX71922" fmla="*/ 2007727 w 6884782"/>
              <a:gd name="connsiteY71922" fmla="*/ 4809103 h 5973007"/>
              <a:gd name="connsiteX71923" fmla="*/ 1996419 w 6884782"/>
              <a:gd name="connsiteY71923" fmla="*/ 4812304 h 5973007"/>
              <a:gd name="connsiteX71924" fmla="*/ 1991927 w 6884782"/>
              <a:gd name="connsiteY71924" fmla="*/ 4786696 h 5973007"/>
              <a:gd name="connsiteX71925" fmla="*/ 1966215 w 6884782"/>
              <a:gd name="connsiteY71925" fmla="*/ 4784838 h 5973007"/>
              <a:gd name="connsiteX71926" fmla="*/ 1960948 w 6884782"/>
              <a:gd name="connsiteY71926" fmla="*/ 4786489 h 5973007"/>
              <a:gd name="connsiteX71927" fmla="*/ 1959399 w 6884782"/>
              <a:gd name="connsiteY71927" fmla="*/ 4791239 h 5973007"/>
              <a:gd name="connsiteX71928" fmla="*/ 1964511 w 6884782"/>
              <a:gd name="connsiteY71928" fmla="*/ 4793098 h 5973007"/>
              <a:gd name="connsiteX71929" fmla="*/ 1966215 w 6884782"/>
              <a:gd name="connsiteY71929" fmla="*/ 4793821 h 5973007"/>
              <a:gd name="connsiteX71930" fmla="*/ 1966060 w 6884782"/>
              <a:gd name="connsiteY71930" fmla="*/ 4792891 h 5973007"/>
              <a:gd name="connsiteX71931" fmla="*/ 1966525 w 6884782"/>
              <a:gd name="connsiteY71931" fmla="*/ 4793924 h 5973007"/>
              <a:gd name="connsiteX71932" fmla="*/ 1971171 w 6884782"/>
              <a:gd name="connsiteY71932" fmla="*/ 4795886 h 5973007"/>
              <a:gd name="connsiteX71933" fmla="*/ 1977367 w 6884782"/>
              <a:gd name="connsiteY71933" fmla="*/ 4804146 h 5973007"/>
              <a:gd name="connsiteX71934" fmla="*/ 1972565 w 6884782"/>
              <a:gd name="connsiteY71934" fmla="*/ 4802907 h 5973007"/>
              <a:gd name="connsiteX71935" fmla="*/ 1968538 w 6884782"/>
              <a:gd name="connsiteY71935" fmla="*/ 4801772 h 5973007"/>
              <a:gd name="connsiteX71936" fmla="*/ 1968384 w 6884782"/>
              <a:gd name="connsiteY71936" fmla="*/ 4802598 h 5973007"/>
              <a:gd name="connsiteX71937" fmla="*/ 1968073 w 6884782"/>
              <a:gd name="connsiteY71937" fmla="*/ 4801668 h 5973007"/>
              <a:gd name="connsiteX71938" fmla="*/ 1966525 w 6884782"/>
              <a:gd name="connsiteY71938" fmla="*/ 4801255 h 5973007"/>
              <a:gd name="connsiteX71939" fmla="*/ 1958780 w 6884782"/>
              <a:gd name="connsiteY71939" fmla="*/ 4794440 h 5973007"/>
              <a:gd name="connsiteX71940" fmla="*/ 1959090 w 6884782"/>
              <a:gd name="connsiteY71940" fmla="*/ 4792169 h 5973007"/>
              <a:gd name="connsiteX71941" fmla="*/ 1958625 w 6884782"/>
              <a:gd name="connsiteY71941" fmla="*/ 4793511 h 5973007"/>
              <a:gd name="connsiteX71942" fmla="*/ 1952739 w 6884782"/>
              <a:gd name="connsiteY71942" fmla="*/ 4800119 h 5973007"/>
              <a:gd name="connsiteX71943" fmla="*/ 1949331 w 6884782"/>
              <a:gd name="connsiteY71943" fmla="*/ 4801668 h 5973007"/>
              <a:gd name="connsiteX71944" fmla="*/ 1947163 w 6884782"/>
              <a:gd name="connsiteY71944" fmla="*/ 4805695 h 5973007"/>
              <a:gd name="connsiteX71945" fmla="*/ 1950260 w 6884782"/>
              <a:gd name="connsiteY71945" fmla="*/ 4805799 h 5973007"/>
              <a:gd name="connsiteX71946" fmla="*/ 1950570 w 6884782"/>
              <a:gd name="connsiteY71946" fmla="*/ 4811271 h 5973007"/>
              <a:gd name="connsiteX71947" fmla="*/ 1944839 w 6884782"/>
              <a:gd name="connsiteY71947" fmla="*/ 4815298 h 5973007"/>
              <a:gd name="connsiteX71948" fmla="*/ 1941896 w 6884782"/>
              <a:gd name="connsiteY71948" fmla="*/ 4814575 h 5973007"/>
              <a:gd name="connsiteX71949" fmla="*/ 1941896 w 6884782"/>
              <a:gd name="connsiteY71949" fmla="*/ 4814162 h 5973007"/>
              <a:gd name="connsiteX71950" fmla="*/ 1936939 w 6884782"/>
              <a:gd name="connsiteY71950" fmla="*/ 4820874 h 5973007"/>
              <a:gd name="connsiteX71951" fmla="*/ 1929039 w 6884782"/>
              <a:gd name="connsiteY71951" fmla="*/ 4828205 h 5973007"/>
              <a:gd name="connsiteX71952" fmla="*/ 1933222 w 6884782"/>
              <a:gd name="connsiteY71952" fmla="*/ 4829651 h 5973007"/>
              <a:gd name="connsiteX71953" fmla="*/ 1942515 w 6884782"/>
              <a:gd name="connsiteY71953" fmla="*/ 4836569 h 5973007"/>
              <a:gd name="connsiteX71954" fmla="*/ 1929349 w 6884782"/>
              <a:gd name="connsiteY71954" fmla="*/ 4836569 h 5973007"/>
              <a:gd name="connsiteX71955" fmla="*/ 1919746 w 6884782"/>
              <a:gd name="connsiteY71955" fmla="*/ 4833058 h 5973007"/>
              <a:gd name="connsiteX71956" fmla="*/ 1920985 w 6884782"/>
              <a:gd name="connsiteY71956" fmla="*/ 4823662 h 5973007"/>
              <a:gd name="connsiteX71957" fmla="*/ 1925787 w 6884782"/>
              <a:gd name="connsiteY71957" fmla="*/ 4826759 h 5973007"/>
              <a:gd name="connsiteX71958" fmla="*/ 1923928 w 6884782"/>
              <a:gd name="connsiteY71958" fmla="*/ 4818912 h 5973007"/>
              <a:gd name="connsiteX71959" fmla="*/ 1925322 w 6884782"/>
              <a:gd name="connsiteY71959" fmla="*/ 4813646 h 5973007"/>
              <a:gd name="connsiteX71960" fmla="*/ 1923773 w 6884782"/>
              <a:gd name="connsiteY71960" fmla="*/ 4814162 h 5973007"/>
              <a:gd name="connsiteX71961" fmla="*/ 1922224 w 6884782"/>
              <a:gd name="connsiteY71961" fmla="*/ 4813440 h 5973007"/>
              <a:gd name="connsiteX71962" fmla="*/ 1921759 w 6884782"/>
              <a:gd name="connsiteY71962" fmla="*/ 4811168 h 5973007"/>
              <a:gd name="connsiteX71963" fmla="*/ 1925167 w 6884782"/>
              <a:gd name="connsiteY71963" fmla="*/ 4808896 h 5973007"/>
              <a:gd name="connsiteX71964" fmla="*/ 1926406 w 6884782"/>
              <a:gd name="connsiteY71964" fmla="*/ 4809103 h 5973007"/>
              <a:gd name="connsiteX71965" fmla="*/ 1927026 w 6884782"/>
              <a:gd name="connsiteY71965" fmla="*/ 4806728 h 5973007"/>
              <a:gd name="connsiteX71966" fmla="*/ 1923928 w 6884782"/>
              <a:gd name="connsiteY71966" fmla="*/ 4803734 h 5973007"/>
              <a:gd name="connsiteX71967" fmla="*/ 1910297 w 6884782"/>
              <a:gd name="connsiteY71967" fmla="*/ 4800842 h 5973007"/>
              <a:gd name="connsiteX71968" fmla="*/ 1895892 w 6884782"/>
              <a:gd name="connsiteY71968" fmla="*/ 4777713 h 5973007"/>
              <a:gd name="connsiteX71969" fmla="*/ 1901313 w 6884782"/>
              <a:gd name="connsiteY71969" fmla="*/ 4747665 h 5973007"/>
              <a:gd name="connsiteX71970" fmla="*/ 1909058 w 6884782"/>
              <a:gd name="connsiteY71970" fmla="*/ 4744154 h 5973007"/>
              <a:gd name="connsiteX71971" fmla="*/ 1912311 w 6884782"/>
              <a:gd name="connsiteY71971" fmla="*/ 4741780 h 5973007"/>
              <a:gd name="connsiteX71972" fmla="*/ 1914169 w 6884782"/>
              <a:gd name="connsiteY71972" fmla="*/ 4730731 h 5973007"/>
              <a:gd name="connsiteX71973" fmla="*/ 1910452 w 6884782"/>
              <a:gd name="connsiteY71973" fmla="*/ 4727427 h 5973007"/>
              <a:gd name="connsiteX71974" fmla="*/ 1909058 w 6884782"/>
              <a:gd name="connsiteY71974" fmla="*/ 4729079 h 5973007"/>
              <a:gd name="connsiteX71975" fmla="*/ 1907044 w 6884782"/>
              <a:gd name="connsiteY71975" fmla="*/ 4729802 h 5973007"/>
              <a:gd name="connsiteX71976" fmla="*/ 1907044 w 6884782"/>
              <a:gd name="connsiteY71976" fmla="*/ 4723090 h 5973007"/>
              <a:gd name="connsiteX71977" fmla="*/ 1908129 w 6884782"/>
              <a:gd name="connsiteY71977" fmla="*/ 4722780 h 5973007"/>
              <a:gd name="connsiteX71978" fmla="*/ 1903482 w 6884782"/>
              <a:gd name="connsiteY71978" fmla="*/ 4719993 h 5973007"/>
              <a:gd name="connsiteX71979" fmla="*/ 1892174 w 6884782"/>
              <a:gd name="connsiteY71979" fmla="*/ 4718960 h 5973007"/>
              <a:gd name="connsiteX71980" fmla="*/ 1889541 w 6884782"/>
              <a:gd name="connsiteY71980" fmla="*/ 4721128 h 5973007"/>
              <a:gd name="connsiteX71981" fmla="*/ 1890935 w 6884782"/>
              <a:gd name="connsiteY71981" fmla="*/ 4722780 h 5973007"/>
              <a:gd name="connsiteX71982" fmla="*/ 1892174 w 6884782"/>
              <a:gd name="connsiteY71982" fmla="*/ 4733622 h 5973007"/>
              <a:gd name="connsiteX71983" fmla="*/ 1890470 w 6884782"/>
              <a:gd name="connsiteY71983" fmla="*/ 4731557 h 5973007"/>
              <a:gd name="connsiteX71984" fmla="*/ 1889231 w 6884782"/>
              <a:gd name="connsiteY71984" fmla="*/ 4725981 h 5973007"/>
              <a:gd name="connsiteX71985" fmla="*/ 1889231 w 6884782"/>
              <a:gd name="connsiteY71985" fmla="*/ 4723194 h 5973007"/>
              <a:gd name="connsiteX71986" fmla="*/ 1889231 w 6884782"/>
              <a:gd name="connsiteY71986" fmla="*/ 4721335 h 5973007"/>
              <a:gd name="connsiteX71987" fmla="*/ 1888457 w 6884782"/>
              <a:gd name="connsiteY71987" fmla="*/ 4722058 h 5973007"/>
              <a:gd name="connsiteX71988" fmla="*/ 1889231 w 6884782"/>
              <a:gd name="connsiteY71988" fmla="*/ 4723194 h 5973007"/>
              <a:gd name="connsiteX71989" fmla="*/ 1887218 w 6884782"/>
              <a:gd name="connsiteY71989" fmla="*/ 4722987 h 5973007"/>
              <a:gd name="connsiteX71990" fmla="*/ 1886443 w 6884782"/>
              <a:gd name="connsiteY71990" fmla="*/ 4723607 h 5973007"/>
              <a:gd name="connsiteX71991" fmla="*/ 1883965 w 6884782"/>
              <a:gd name="connsiteY71991" fmla="*/ 4727427 h 5973007"/>
              <a:gd name="connsiteX71992" fmla="*/ 1874826 w 6884782"/>
              <a:gd name="connsiteY71992" fmla="*/ 4732590 h 5973007"/>
              <a:gd name="connsiteX71993" fmla="*/ 1868476 w 6884782"/>
              <a:gd name="connsiteY71993" fmla="*/ 4728356 h 5973007"/>
              <a:gd name="connsiteX71994" fmla="*/ 1871418 w 6884782"/>
              <a:gd name="connsiteY71994" fmla="*/ 4718753 h 5973007"/>
              <a:gd name="connsiteX71995" fmla="*/ 1872348 w 6884782"/>
              <a:gd name="connsiteY71995" fmla="*/ 4718134 h 5973007"/>
              <a:gd name="connsiteX71996" fmla="*/ 1873742 w 6884782"/>
              <a:gd name="connsiteY71996" fmla="*/ 4717102 h 5973007"/>
              <a:gd name="connsiteX71997" fmla="*/ 1872193 w 6884782"/>
              <a:gd name="connsiteY71997" fmla="*/ 4715449 h 5973007"/>
              <a:gd name="connsiteX71998" fmla="*/ 1876375 w 6884782"/>
              <a:gd name="connsiteY71998" fmla="*/ 4715036 h 5973007"/>
              <a:gd name="connsiteX71999" fmla="*/ 1878389 w 6884782"/>
              <a:gd name="connsiteY71999" fmla="*/ 4713384 h 5973007"/>
              <a:gd name="connsiteX72000" fmla="*/ 1883035 w 6884782"/>
              <a:gd name="connsiteY72000" fmla="*/ 4711732 h 5973007"/>
              <a:gd name="connsiteX72001" fmla="*/ 1883191 w 6884782"/>
              <a:gd name="connsiteY72001" fmla="*/ 4711526 h 5973007"/>
              <a:gd name="connsiteX72002" fmla="*/ 1881022 w 6884782"/>
              <a:gd name="connsiteY72002" fmla="*/ 4707602 h 5973007"/>
              <a:gd name="connsiteX72003" fmla="*/ 1881022 w 6884782"/>
              <a:gd name="connsiteY72003" fmla="*/ 4705846 h 5973007"/>
              <a:gd name="connsiteX72004" fmla="*/ 1880867 w 6884782"/>
              <a:gd name="connsiteY72004" fmla="*/ 4705846 h 5973007"/>
              <a:gd name="connsiteX72005" fmla="*/ 1881177 w 6884782"/>
              <a:gd name="connsiteY72005" fmla="*/ 4705537 h 5973007"/>
              <a:gd name="connsiteX72006" fmla="*/ 1881177 w 6884782"/>
              <a:gd name="connsiteY72006" fmla="*/ 4704814 h 5973007"/>
              <a:gd name="connsiteX72007" fmla="*/ 1880402 w 6884782"/>
              <a:gd name="connsiteY72007" fmla="*/ 4705124 h 5973007"/>
              <a:gd name="connsiteX72008" fmla="*/ 1874981 w 6884782"/>
              <a:gd name="connsiteY72008" fmla="*/ 4704504 h 5973007"/>
              <a:gd name="connsiteX72009" fmla="*/ 1877304 w 6884782"/>
              <a:gd name="connsiteY72009" fmla="*/ 4699548 h 5973007"/>
              <a:gd name="connsiteX72010" fmla="*/ 1877924 w 6884782"/>
              <a:gd name="connsiteY72010" fmla="*/ 4699754 h 5973007"/>
              <a:gd name="connsiteX72011" fmla="*/ 1878079 w 6884782"/>
              <a:gd name="connsiteY72011" fmla="*/ 4699548 h 5973007"/>
              <a:gd name="connsiteX72012" fmla="*/ 1878698 w 6884782"/>
              <a:gd name="connsiteY72012" fmla="*/ 4697379 h 5973007"/>
              <a:gd name="connsiteX72013" fmla="*/ 1881796 w 6884782"/>
              <a:gd name="connsiteY72013" fmla="*/ 4698515 h 5973007"/>
              <a:gd name="connsiteX72014" fmla="*/ 1882261 w 6884782"/>
              <a:gd name="connsiteY72014" fmla="*/ 4699445 h 5973007"/>
              <a:gd name="connsiteX72015" fmla="*/ 1882571 w 6884782"/>
              <a:gd name="connsiteY72015" fmla="*/ 4699341 h 5973007"/>
              <a:gd name="connsiteX72016" fmla="*/ 1883346 w 6884782"/>
              <a:gd name="connsiteY72016" fmla="*/ 4697896 h 5973007"/>
              <a:gd name="connsiteX72017" fmla="*/ 1882880 w 6884782"/>
              <a:gd name="connsiteY72017" fmla="*/ 4696244 h 5973007"/>
              <a:gd name="connsiteX72018" fmla="*/ 1884430 w 6884782"/>
              <a:gd name="connsiteY72018" fmla="*/ 4695934 h 5973007"/>
              <a:gd name="connsiteX72019" fmla="*/ 1882261 w 6884782"/>
              <a:gd name="connsiteY72019" fmla="*/ 4694178 h 5973007"/>
              <a:gd name="connsiteX72020" fmla="*/ 1878234 w 6884782"/>
              <a:gd name="connsiteY72020" fmla="*/ 4692320 h 5973007"/>
              <a:gd name="connsiteX72021" fmla="*/ 1877459 w 6884782"/>
              <a:gd name="connsiteY72021" fmla="*/ 4693043 h 5973007"/>
              <a:gd name="connsiteX72022" fmla="*/ 1872193 w 6884782"/>
              <a:gd name="connsiteY72022" fmla="*/ 4693766 h 5973007"/>
              <a:gd name="connsiteX72023" fmla="*/ 1871418 w 6884782"/>
              <a:gd name="connsiteY72023" fmla="*/ 4690255 h 5973007"/>
              <a:gd name="connsiteX72024" fmla="*/ 1869869 w 6884782"/>
              <a:gd name="connsiteY72024" fmla="*/ 4689945 h 5973007"/>
              <a:gd name="connsiteX72025" fmla="*/ 1860576 w 6884782"/>
              <a:gd name="connsiteY72025" fmla="*/ 4688912 h 5973007"/>
              <a:gd name="connsiteX72026" fmla="*/ 1867081 w 6884782"/>
              <a:gd name="connsiteY72026" fmla="*/ 4665989 h 5973007"/>
              <a:gd name="connsiteX72027" fmla="*/ 1864758 w 6884782"/>
              <a:gd name="connsiteY72027" fmla="*/ 4661653 h 5973007"/>
              <a:gd name="connsiteX72028" fmla="*/ 1863983 w 6884782"/>
              <a:gd name="connsiteY72028" fmla="*/ 4662685 h 5973007"/>
              <a:gd name="connsiteX72029" fmla="*/ 1862434 w 6884782"/>
              <a:gd name="connsiteY72029" fmla="*/ 4664234 h 5973007"/>
              <a:gd name="connsiteX72030" fmla="*/ 1861660 w 6884782"/>
              <a:gd name="connsiteY72030" fmla="*/ 4665989 h 5973007"/>
              <a:gd name="connsiteX72031" fmla="*/ 1858562 w 6884782"/>
              <a:gd name="connsiteY72031" fmla="*/ 4667538 h 5973007"/>
              <a:gd name="connsiteX72032" fmla="*/ 1859181 w 6884782"/>
              <a:gd name="connsiteY72032" fmla="*/ 4665886 h 5973007"/>
              <a:gd name="connsiteX72033" fmla="*/ 1860731 w 6884782"/>
              <a:gd name="connsiteY72033" fmla="*/ 4664234 h 5973007"/>
              <a:gd name="connsiteX72034" fmla="*/ 1860731 w 6884782"/>
              <a:gd name="connsiteY72034" fmla="*/ 4662582 h 5973007"/>
              <a:gd name="connsiteX72035" fmla="*/ 1862744 w 6884782"/>
              <a:gd name="connsiteY72035" fmla="*/ 4659691 h 5973007"/>
              <a:gd name="connsiteX72036" fmla="*/ 1862124 w 6884782"/>
              <a:gd name="connsiteY72036" fmla="*/ 4659588 h 5973007"/>
              <a:gd name="connsiteX72037" fmla="*/ 1856393 w 6884782"/>
              <a:gd name="connsiteY72037" fmla="*/ 4658452 h 5973007"/>
              <a:gd name="connsiteX72038" fmla="*/ 1848803 w 6884782"/>
              <a:gd name="connsiteY72038" fmla="*/ 4662376 h 5973007"/>
              <a:gd name="connsiteX72039" fmla="*/ 1831610 w 6884782"/>
              <a:gd name="connsiteY72039" fmla="*/ 4663718 h 5973007"/>
              <a:gd name="connsiteX72040" fmla="*/ 1832229 w 6884782"/>
              <a:gd name="connsiteY72040" fmla="*/ 4655974 h 5973007"/>
              <a:gd name="connsiteX72041" fmla="*/ 1838425 w 6884782"/>
              <a:gd name="connsiteY72041" fmla="*/ 4650811 h 5973007"/>
              <a:gd name="connsiteX72042" fmla="*/ 1838116 w 6884782"/>
              <a:gd name="connsiteY72042" fmla="*/ 4650501 h 5973007"/>
              <a:gd name="connsiteX72043" fmla="*/ 1836567 w 6884782"/>
              <a:gd name="connsiteY72043" fmla="*/ 4645958 h 5973007"/>
              <a:gd name="connsiteX72044" fmla="*/ 1836722 w 6884782"/>
              <a:gd name="connsiteY72044" fmla="*/ 4642137 h 5973007"/>
              <a:gd name="connsiteX72045" fmla="*/ 1835792 w 6884782"/>
              <a:gd name="connsiteY72045" fmla="*/ 4643273 h 5973007"/>
              <a:gd name="connsiteX72046" fmla="*/ 1833933 w 6884782"/>
              <a:gd name="connsiteY72046" fmla="*/ 4644719 h 5973007"/>
              <a:gd name="connsiteX72047" fmla="*/ 1835483 w 6884782"/>
              <a:gd name="connsiteY72047" fmla="*/ 4643067 h 5973007"/>
              <a:gd name="connsiteX72048" fmla="*/ 1835327 w 6884782"/>
              <a:gd name="connsiteY72048" fmla="*/ 4641208 h 5973007"/>
              <a:gd name="connsiteX72049" fmla="*/ 1836256 w 6884782"/>
              <a:gd name="connsiteY72049" fmla="*/ 4640588 h 5973007"/>
              <a:gd name="connsiteX72050" fmla="*/ 1836876 w 6884782"/>
              <a:gd name="connsiteY72050" fmla="*/ 4640485 h 5973007"/>
              <a:gd name="connsiteX72051" fmla="*/ 1838890 w 6884782"/>
              <a:gd name="connsiteY72051" fmla="*/ 4635736 h 5973007"/>
              <a:gd name="connsiteX72052" fmla="*/ 1842298 w 6884782"/>
              <a:gd name="connsiteY72052" fmla="*/ 4631605 h 5973007"/>
              <a:gd name="connsiteX72053" fmla="*/ 1842298 w 6884782"/>
              <a:gd name="connsiteY72053" fmla="*/ 4631502 h 5973007"/>
              <a:gd name="connsiteX72054" fmla="*/ 1843692 w 6884782"/>
              <a:gd name="connsiteY72054" fmla="*/ 4629850 h 5973007"/>
              <a:gd name="connsiteX72055" fmla="*/ 1849733 w 6884782"/>
              <a:gd name="connsiteY72055" fmla="*/ 4625513 h 5973007"/>
              <a:gd name="connsiteX72056" fmla="*/ 1852366 w 6884782"/>
              <a:gd name="connsiteY72056" fmla="*/ 4624584 h 5973007"/>
              <a:gd name="connsiteX72057" fmla="*/ 1851281 w 6884782"/>
              <a:gd name="connsiteY72057" fmla="*/ 4621176 h 5973007"/>
              <a:gd name="connsiteX72058" fmla="*/ 1847100 w 6884782"/>
              <a:gd name="connsiteY72058" fmla="*/ 4616840 h 5973007"/>
              <a:gd name="connsiteX72059" fmla="*/ 1845396 w 6884782"/>
              <a:gd name="connsiteY72059" fmla="*/ 4617252 h 5973007"/>
              <a:gd name="connsiteX72060" fmla="*/ 1845086 w 6884782"/>
              <a:gd name="connsiteY72060" fmla="*/ 4617252 h 5973007"/>
              <a:gd name="connsiteX72061" fmla="*/ 1845086 w 6884782"/>
              <a:gd name="connsiteY72061" fmla="*/ 4618079 h 5973007"/>
              <a:gd name="connsiteX72062" fmla="*/ 1846015 w 6884782"/>
              <a:gd name="connsiteY72062" fmla="*/ 4618492 h 5973007"/>
              <a:gd name="connsiteX72063" fmla="*/ 1845396 w 6884782"/>
              <a:gd name="connsiteY72063" fmla="*/ 4619008 h 5973007"/>
              <a:gd name="connsiteX72064" fmla="*/ 1845241 w 6884782"/>
              <a:gd name="connsiteY72064" fmla="*/ 4620144 h 5973007"/>
              <a:gd name="connsiteX72065" fmla="*/ 1841523 w 6884782"/>
              <a:gd name="connsiteY72065" fmla="*/ 4620453 h 5973007"/>
              <a:gd name="connsiteX72066" fmla="*/ 1841368 w 6884782"/>
              <a:gd name="connsiteY72066" fmla="*/ 4620453 h 5973007"/>
              <a:gd name="connsiteX72067" fmla="*/ 1837960 w 6884782"/>
              <a:gd name="connsiteY72067" fmla="*/ 4626752 h 5973007"/>
              <a:gd name="connsiteX72068" fmla="*/ 1836256 w 6884782"/>
              <a:gd name="connsiteY72068" fmla="*/ 4627785 h 5973007"/>
              <a:gd name="connsiteX72069" fmla="*/ 1835637 w 6884782"/>
              <a:gd name="connsiteY72069" fmla="*/ 4629540 h 5973007"/>
              <a:gd name="connsiteX72070" fmla="*/ 1834863 w 6884782"/>
              <a:gd name="connsiteY72070" fmla="*/ 4628508 h 5973007"/>
              <a:gd name="connsiteX72071" fmla="*/ 1834708 w 6884782"/>
              <a:gd name="connsiteY72071" fmla="*/ 4628714 h 5973007"/>
              <a:gd name="connsiteX72072" fmla="*/ 1834553 w 6884782"/>
              <a:gd name="connsiteY72072" fmla="*/ 4628301 h 5973007"/>
              <a:gd name="connsiteX72073" fmla="*/ 1833933 w 6884782"/>
              <a:gd name="connsiteY72073" fmla="*/ 4628508 h 5973007"/>
              <a:gd name="connsiteX72074" fmla="*/ 1832075 w 6884782"/>
              <a:gd name="connsiteY72074" fmla="*/ 4627785 h 5973007"/>
              <a:gd name="connsiteX72075" fmla="*/ 1832229 w 6884782"/>
              <a:gd name="connsiteY72075" fmla="*/ 4623551 h 5973007"/>
              <a:gd name="connsiteX72076" fmla="*/ 1836412 w 6884782"/>
              <a:gd name="connsiteY72076" fmla="*/ 4621486 h 5973007"/>
              <a:gd name="connsiteX72077" fmla="*/ 1838890 w 6884782"/>
              <a:gd name="connsiteY72077" fmla="*/ 4619628 h 5973007"/>
              <a:gd name="connsiteX72078" fmla="*/ 1840903 w 6884782"/>
              <a:gd name="connsiteY72078" fmla="*/ 4620247 h 5973007"/>
              <a:gd name="connsiteX72079" fmla="*/ 1839664 w 6884782"/>
              <a:gd name="connsiteY72079" fmla="*/ 4619524 h 5973007"/>
              <a:gd name="connsiteX72080" fmla="*/ 1838890 w 6884782"/>
              <a:gd name="connsiteY72080" fmla="*/ 4617975 h 5973007"/>
              <a:gd name="connsiteX72081" fmla="*/ 1839664 w 6884782"/>
              <a:gd name="connsiteY72081" fmla="*/ 4616323 h 5973007"/>
              <a:gd name="connsiteX72082" fmla="*/ 1840749 w 6884782"/>
              <a:gd name="connsiteY72082" fmla="*/ 4614981 h 5973007"/>
              <a:gd name="connsiteX72083" fmla="*/ 1835792 w 6884782"/>
              <a:gd name="connsiteY72083" fmla="*/ 4617252 h 5973007"/>
              <a:gd name="connsiteX72084" fmla="*/ 1837960 w 6884782"/>
              <a:gd name="connsiteY72084" fmla="*/ 4610231 h 5973007"/>
              <a:gd name="connsiteX72085" fmla="*/ 1835483 w 6884782"/>
              <a:gd name="connsiteY72085" fmla="*/ 4608785 h 5973007"/>
              <a:gd name="connsiteX72086" fmla="*/ 1835017 w 6884782"/>
              <a:gd name="connsiteY72086" fmla="*/ 4609921 h 5973007"/>
              <a:gd name="connsiteX72087" fmla="*/ 1834088 w 6884782"/>
              <a:gd name="connsiteY72087" fmla="*/ 4609095 h 5973007"/>
              <a:gd name="connsiteX72088" fmla="*/ 1834244 w 6884782"/>
              <a:gd name="connsiteY72088" fmla="*/ 4608373 h 5973007"/>
              <a:gd name="connsiteX72089" fmla="*/ 1827273 w 6884782"/>
              <a:gd name="connsiteY72089" fmla="*/ 4606720 h 5973007"/>
              <a:gd name="connsiteX72090" fmla="*/ 1819528 w 6884782"/>
              <a:gd name="connsiteY72090" fmla="*/ 4605998 h 5973007"/>
              <a:gd name="connsiteX72091" fmla="*/ 1816585 w 6884782"/>
              <a:gd name="connsiteY72091" fmla="*/ 4605378 h 5973007"/>
              <a:gd name="connsiteX72092" fmla="*/ 1817669 w 6884782"/>
              <a:gd name="connsiteY72092" fmla="*/ 4608682 h 5973007"/>
              <a:gd name="connsiteX72093" fmla="*/ 1817979 w 6884782"/>
              <a:gd name="connsiteY72093" fmla="*/ 4609508 h 5973007"/>
              <a:gd name="connsiteX72094" fmla="*/ 1819992 w 6884782"/>
              <a:gd name="connsiteY72094" fmla="*/ 4609612 h 5973007"/>
              <a:gd name="connsiteX72095" fmla="*/ 1823710 w 6884782"/>
              <a:gd name="connsiteY72095" fmla="*/ 4614258 h 5973007"/>
              <a:gd name="connsiteX72096" fmla="*/ 1822316 w 6884782"/>
              <a:gd name="connsiteY72096" fmla="*/ 4615601 h 5973007"/>
              <a:gd name="connsiteX72097" fmla="*/ 1819992 w 6884782"/>
              <a:gd name="connsiteY72097" fmla="*/ 4616117 h 5973007"/>
              <a:gd name="connsiteX72098" fmla="*/ 1820922 w 6884782"/>
              <a:gd name="connsiteY72098" fmla="*/ 4619731 h 5973007"/>
              <a:gd name="connsiteX72099" fmla="*/ 1822626 w 6884782"/>
              <a:gd name="connsiteY72099" fmla="*/ 4621589 h 5973007"/>
              <a:gd name="connsiteX72100" fmla="*/ 1822781 w 6884782"/>
              <a:gd name="connsiteY72100" fmla="*/ 4622312 h 5973007"/>
              <a:gd name="connsiteX72101" fmla="*/ 1823710 w 6884782"/>
              <a:gd name="connsiteY72101" fmla="*/ 4622622 h 5973007"/>
              <a:gd name="connsiteX72102" fmla="*/ 1823710 w 6884782"/>
              <a:gd name="connsiteY72102" fmla="*/ 4623345 h 5973007"/>
              <a:gd name="connsiteX72103" fmla="*/ 1822935 w 6884782"/>
              <a:gd name="connsiteY72103" fmla="*/ 4622932 h 5973007"/>
              <a:gd name="connsiteX72104" fmla="*/ 1823091 w 6884782"/>
              <a:gd name="connsiteY72104" fmla="*/ 4623861 h 5973007"/>
              <a:gd name="connsiteX72105" fmla="*/ 1823865 w 6884782"/>
              <a:gd name="connsiteY72105" fmla="*/ 4623551 h 5973007"/>
              <a:gd name="connsiteX72106" fmla="*/ 1823555 w 6884782"/>
              <a:gd name="connsiteY72106" fmla="*/ 4625410 h 5973007"/>
              <a:gd name="connsiteX72107" fmla="*/ 1823246 w 6884782"/>
              <a:gd name="connsiteY72107" fmla="*/ 4625100 h 5973007"/>
              <a:gd name="connsiteX72108" fmla="*/ 1823091 w 6884782"/>
              <a:gd name="connsiteY72108" fmla="*/ 4624274 h 5973007"/>
              <a:gd name="connsiteX72109" fmla="*/ 1821387 w 6884782"/>
              <a:gd name="connsiteY72109" fmla="*/ 4626959 h 5973007"/>
              <a:gd name="connsiteX72110" fmla="*/ 1817669 w 6884782"/>
              <a:gd name="connsiteY72110" fmla="*/ 4627888 h 5973007"/>
              <a:gd name="connsiteX72111" fmla="*/ 1812712 w 6884782"/>
              <a:gd name="connsiteY72111" fmla="*/ 4625513 h 5973007"/>
              <a:gd name="connsiteX72112" fmla="*/ 1817204 w 6884782"/>
              <a:gd name="connsiteY72112" fmla="*/ 4618698 h 5973007"/>
              <a:gd name="connsiteX72113" fmla="*/ 1817359 w 6884782"/>
              <a:gd name="connsiteY72113" fmla="*/ 4618698 h 5973007"/>
              <a:gd name="connsiteX72114" fmla="*/ 1817359 w 6884782"/>
              <a:gd name="connsiteY72114" fmla="*/ 4618492 h 5973007"/>
              <a:gd name="connsiteX72115" fmla="*/ 1815036 w 6884782"/>
              <a:gd name="connsiteY72115" fmla="*/ 4613536 h 5973007"/>
              <a:gd name="connsiteX72116" fmla="*/ 1815036 w 6884782"/>
              <a:gd name="connsiteY72116" fmla="*/ 4612813 h 5973007"/>
              <a:gd name="connsiteX72117" fmla="*/ 1813177 w 6884782"/>
              <a:gd name="connsiteY72117" fmla="*/ 4611986 h 5973007"/>
              <a:gd name="connsiteX72118" fmla="*/ 1812712 w 6884782"/>
              <a:gd name="connsiteY72118" fmla="*/ 4609508 h 5973007"/>
              <a:gd name="connsiteX72119" fmla="*/ 1814416 w 6884782"/>
              <a:gd name="connsiteY72119" fmla="*/ 4609508 h 5973007"/>
              <a:gd name="connsiteX72120" fmla="*/ 1814416 w 6884782"/>
              <a:gd name="connsiteY72120" fmla="*/ 4609405 h 5973007"/>
              <a:gd name="connsiteX72121" fmla="*/ 1814261 w 6884782"/>
              <a:gd name="connsiteY72121" fmla="*/ 4608373 h 5973007"/>
              <a:gd name="connsiteX72122" fmla="*/ 1813952 w 6884782"/>
              <a:gd name="connsiteY72122" fmla="*/ 4606411 h 5973007"/>
              <a:gd name="connsiteX72123" fmla="*/ 1814416 w 6884782"/>
              <a:gd name="connsiteY72123" fmla="*/ 4604965 h 5973007"/>
              <a:gd name="connsiteX72124" fmla="*/ 1809924 w 6884782"/>
              <a:gd name="connsiteY72124" fmla="*/ 4603933 h 5973007"/>
              <a:gd name="connsiteX72125" fmla="*/ 1816895 w 6884782"/>
              <a:gd name="connsiteY72125" fmla="*/ 4598563 h 5973007"/>
              <a:gd name="connsiteX72126" fmla="*/ 1819373 w 6884782"/>
              <a:gd name="connsiteY72126" fmla="*/ 4594846 h 5973007"/>
              <a:gd name="connsiteX72127" fmla="*/ 1799856 w 6884782"/>
              <a:gd name="connsiteY72127" fmla="*/ 4589683 h 5973007"/>
              <a:gd name="connsiteX72128" fmla="*/ 1811628 w 6884782"/>
              <a:gd name="connsiteY72128" fmla="*/ 4587102 h 5973007"/>
              <a:gd name="connsiteX72129" fmla="*/ 1807137 w 6884782"/>
              <a:gd name="connsiteY72129" fmla="*/ 4583591 h 5973007"/>
              <a:gd name="connsiteX72130" fmla="*/ 1818444 w 6884782"/>
              <a:gd name="connsiteY72130" fmla="*/ 4571510 h 5973007"/>
              <a:gd name="connsiteX72131" fmla="*/ 1827273 w 6884782"/>
              <a:gd name="connsiteY72131" fmla="*/ 4568103 h 5973007"/>
              <a:gd name="connsiteX72132" fmla="*/ 1828512 w 6884782"/>
              <a:gd name="connsiteY72132" fmla="*/ 4564179 h 5973007"/>
              <a:gd name="connsiteX72133" fmla="*/ 1831610 w 6884782"/>
              <a:gd name="connsiteY72133" fmla="*/ 4562837 h 5973007"/>
              <a:gd name="connsiteX72134" fmla="*/ 1831610 w 6884782"/>
              <a:gd name="connsiteY72134" fmla="*/ 4562734 h 5973007"/>
              <a:gd name="connsiteX72135" fmla="*/ 1831765 w 6884782"/>
              <a:gd name="connsiteY72135" fmla="*/ 4562837 h 5973007"/>
              <a:gd name="connsiteX72136" fmla="*/ 1832539 w 6884782"/>
              <a:gd name="connsiteY72136" fmla="*/ 4562424 h 5973007"/>
              <a:gd name="connsiteX72137" fmla="*/ 1846635 w 6884782"/>
              <a:gd name="connsiteY72137" fmla="*/ 4557571 h 5973007"/>
              <a:gd name="connsiteX72138" fmla="*/ 1849888 w 6884782"/>
              <a:gd name="connsiteY72138" fmla="*/ 4554060 h 5973007"/>
              <a:gd name="connsiteX72139" fmla="*/ 1853296 w 6884782"/>
              <a:gd name="connsiteY72139" fmla="*/ 4549620 h 5973007"/>
              <a:gd name="connsiteX72140" fmla="*/ 1852676 w 6884782"/>
              <a:gd name="connsiteY72140" fmla="*/ 4547658 h 5973007"/>
              <a:gd name="connsiteX72141" fmla="*/ 1853450 w 6884782"/>
              <a:gd name="connsiteY72141" fmla="*/ 4546419 h 5973007"/>
              <a:gd name="connsiteX72142" fmla="*/ 1848184 w 6884782"/>
              <a:gd name="connsiteY72142" fmla="*/ 4547451 h 5973007"/>
              <a:gd name="connsiteX72143" fmla="*/ 1831145 w 6884782"/>
              <a:gd name="connsiteY72143" fmla="*/ 4544664 h 5973007"/>
              <a:gd name="connsiteX72144" fmla="*/ 1819992 w 6884782"/>
              <a:gd name="connsiteY72144" fmla="*/ 4527110 h 5973007"/>
              <a:gd name="connsiteX72145" fmla="*/ 1820612 w 6884782"/>
              <a:gd name="connsiteY72145" fmla="*/ 4519572 h 5973007"/>
              <a:gd name="connsiteX72146" fmla="*/ 1818753 w 6884782"/>
              <a:gd name="connsiteY72146" fmla="*/ 4518849 h 5973007"/>
              <a:gd name="connsiteX72147" fmla="*/ 1819373 w 6884782"/>
              <a:gd name="connsiteY72147" fmla="*/ 4511002 h 5973007"/>
              <a:gd name="connsiteX72148" fmla="*/ 1820768 w 6884782"/>
              <a:gd name="connsiteY72148" fmla="*/ 4511208 h 5973007"/>
              <a:gd name="connsiteX72149" fmla="*/ 1821696 w 6884782"/>
              <a:gd name="connsiteY72149" fmla="*/ 4511312 h 5973007"/>
              <a:gd name="connsiteX72150" fmla="*/ 1822316 w 6884782"/>
              <a:gd name="connsiteY72150" fmla="*/ 4508627 h 5973007"/>
              <a:gd name="connsiteX72151" fmla="*/ 1819992 w 6884782"/>
              <a:gd name="connsiteY72151" fmla="*/ 4505013 h 5973007"/>
              <a:gd name="connsiteX72152" fmla="*/ 1823401 w 6884782"/>
              <a:gd name="connsiteY72152" fmla="*/ 4504290 h 5973007"/>
              <a:gd name="connsiteX72153" fmla="*/ 1823865 w 6884782"/>
              <a:gd name="connsiteY72153" fmla="*/ 4502329 h 5973007"/>
              <a:gd name="connsiteX72154" fmla="*/ 1826654 w 6884782"/>
              <a:gd name="connsiteY72154" fmla="*/ 4496959 h 5973007"/>
              <a:gd name="connsiteX72155" fmla="*/ 1826189 w 6884782"/>
              <a:gd name="connsiteY72155" fmla="*/ 4496649 h 5973007"/>
              <a:gd name="connsiteX72156" fmla="*/ 1826189 w 6884782"/>
              <a:gd name="connsiteY72156" fmla="*/ 4494068 h 5973007"/>
              <a:gd name="connsiteX72157" fmla="*/ 1829596 w 6884782"/>
              <a:gd name="connsiteY72157" fmla="*/ 4491486 h 5973007"/>
              <a:gd name="connsiteX72158" fmla="*/ 1829906 w 6884782"/>
              <a:gd name="connsiteY72158" fmla="*/ 4490764 h 5973007"/>
              <a:gd name="connsiteX72159" fmla="*/ 1839355 w 6884782"/>
              <a:gd name="connsiteY72159" fmla="*/ 4481987 h 5973007"/>
              <a:gd name="connsiteX72160" fmla="*/ 1848029 w 6884782"/>
              <a:gd name="connsiteY72160" fmla="*/ 4478476 h 5973007"/>
              <a:gd name="connsiteX72161" fmla="*/ 1851127 w 6884782"/>
              <a:gd name="connsiteY72161" fmla="*/ 4478373 h 5973007"/>
              <a:gd name="connsiteX72162" fmla="*/ 1851198 w 6884782"/>
              <a:gd name="connsiteY72162" fmla="*/ 4478336 h 5973007"/>
              <a:gd name="connsiteX72163" fmla="*/ 1831430 w 6884782"/>
              <a:gd name="connsiteY72163" fmla="*/ 4444581 h 5973007"/>
              <a:gd name="connsiteX72164" fmla="*/ 1826313 w 6884782"/>
              <a:gd name="connsiteY72164" fmla="*/ 4433867 h 5973007"/>
              <a:gd name="connsiteX72165" fmla="*/ 1820457 w 6884782"/>
              <a:gd name="connsiteY72165" fmla="*/ 4439239 h 5973007"/>
              <a:gd name="connsiteX72166" fmla="*/ 1818134 w 6884782"/>
              <a:gd name="connsiteY72166" fmla="*/ 4436141 h 5973007"/>
              <a:gd name="connsiteX72167" fmla="*/ 1823652 w 6884782"/>
              <a:gd name="connsiteY72167" fmla="*/ 4428325 h 5973007"/>
              <a:gd name="connsiteX72168" fmla="*/ 1817359 w 6884782"/>
              <a:gd name="connsiteY72168" fmla="*/ 4415316 h 5973007"/>
              <a:gd name="connsiteX72169" fmla="*/ 1810946 w 6884782"/>
              <a:gd name="connsiteY72169" fmla="*/ 4403381 h 5973007"/>
              <a:gd name="connsiteX72170" fmla="*/ 1810389 w 6884782"/>
              <a:gd name="connsiteY72170" fmla="*/ 4404545 h 5973007"/>
              <a:gd name="connsiteX72171" fmla="*/ 1806362 w 6884782"/>
              <a:gd name="connsiteY72171" fmla="*/ 4400208 h 5973007"/>
              <a:gd name="connsiteX72172" fmla="*/ 1807881 w 6884782"/>
              <a:gd name="connsiteY72172" fmla="*/ 4397677 h 5973007"/>
              <a:gd name="connsiteX72173" fmla="*/ 1802461 w 6884782"/>
              <a:gd name="connsiteY72173" fmla="*/ 4387591 h 5973007"/>
              <a:gd name="connsiteX72174" fmla="*/ 1795011 w 6884782"/>
              <a:gd name="connsiteY72174" fmla="*/ 4376810 h 5973007"/>
              <a:gd name="connsiteX72175" fmla="*/ 1793299 w 6884782"/>
              <a:gd name="connsiteY72175" fmla="*/ 4375361 h 5973007"/>
              <a:gd name="connsiteX72176" fmla="*/ 1793660 w 6884782"/>
              <a:gd name="connsiteY72176" fmla="*/ 4377388 h 5973007"/>
              <a:gd name="connsiteX72177" fmla="*/ 1791027 w 6884782"/>
              <a:gd name="connsiteY72177" fmla="*/ 4377802 h 5973007"/>
              <a:gd name="connsiteX72178" fmla="*/ 1790562 w 6884782"/>
              <a:gd name="connsiteY72178" fmla="*/ 4374187 h 5973007"/>
              <a:gd name="connsiteX72179" fmla="*/ 1791417 w 6884782"/>
              <a:gd name="connsiteY72179" fmla="*/ 4373770 h 5973007"/>
              <a:gd name="connsiteX72180" fmla="*/ 1785906 w 6884782"/>
              <a:gd name="connsiteY72180" fmla="*/ 4369108 h 5973007"/>
              <a:gd name="connsiteX72181" fmla="*/ 1775147 w 6884782"/>
              <a:gd name="connsiteY72181" fmla="*/ 4366027 h 5973007"/>
              <a:gd name="connsiteX72182" fmla="*/ 1764386 w 6884782"/>
              <a:gd name="connsiteY72182" fmla="*/ 4369108 h 5973007"/>
              <a:gd name="connsiteX72183" fmla="*/ 1750315 w 6884782"/>
              <a:gd name="connsiteY72183" fmla="*/ 4378349 h 5973007"/>
              <a:gd name="connsiteX72184" fmla="*/ 1744521 w 6884782"/>
              <a:gd name="connsiteY72184" fmla="*/ 4379891 h 5973007"/>
              <a:gd name="connsiteX72185" fmla="*/ 1737899 w 6884782"/>
              <a:gd name="connsiteY72185" fmla="*/ 4378349 h 5973007"/>
              <a:gd name="connsiteX72186" fmla="*/ 1730450 w 6884782"/>
              <a:gd name="connsiteY72186" fmla="*/ 4370649 h 5973007"/>
              <a:gd name="connsiteX72187" fmla="*/ 1722173 w 6884782"/>
              <a:gd name="connsiteY72187" fmla="*/ 4364487 h 5973007"/>
              <a:gd name="connsiteX72188" fmla="*/ 1714723 w 6884782"/>
              <a:gd name="connsiteY72188" fmla="*/ 4358327 h 5973007"/>
              <a:gd name="connsiteX72189" fmla="*/ 1707273 w 6884782"/>
              <a:gd name="connsiteY72189" fmla="*/ 4353706 h 5973007"/>
              <a:gd name="connsiteX72190" fmla="*/ 1699824 w 6884782"/>
              <a:gd name="connsiteY72190" fmla="*/ 4346004 h 5973007"/>
              <a:gd name="connsiteX72191" fmla="*/ 1691547 w 6884782"/>
              <a:gd name="connsiteY72191" fmla="*/ 4338304 h 5973007"/>
              <a:gd name="connsiteX72192" fmla="*/ 1684098 w 6884782"/>
              <a:gd name="connsiteY72192" fmla="*/ 4332142 h 5973007"/>
              <a:gd name="connsiteX72193" fmla="*/ 1677476 w 6884782"/>
              <a:gd name="connsiteY72193" fmla="*/ 4330602 h 5973007"/>
              <a:gd name="connsiteX72194" fmla="*/ 1672509 w 6884782"/>
              <a:gd name="connsiteY72194" fmla="*/ 4332142 h 5973007"/>
              <a:gd name="connsiteX72195" fmla="*/ 1660405 w 6884782"/>
              <a:gd name="connsiteY72195" fmla="*/ 4345852 h 5973007"/>
              <a:gd name="connsiteX72196" fmla="*/ 1664884 w 6884782"/>
              <a:gd name="connsiteY72196" fmla="*/ 4344411 h 5973007"/>
              <a:gd name="connsiteX72197" fmla="*/ 1675784 w 6884782"/>
              <a:gd name="connsiteY72197" fmla="*/ 4348890 h 5973007"/>
              <a:gd name="connsiteX72198" fmla="*/ 1675784 w 6884782"/>
              <a:gd name="connsiteY72198" fmla="*/ 4350026 h 5973007"/>
              <a:gd name="connsiteX72199" fmla="*/ 1676869 w 6884782"/>
              <a:gd name="connsiteY72199" fmla="*/ 4346308 h 5973007"/>
              <a:gd name="connsiteX72200" fmla="*/ 1681051 w 6884782"/>
              <a:gd name="connsiteY72200" fmla="*/ 4346618 h 5973007"/>
              <a:gd name="connsiteX72201" fmla="*/ 1682290 w 6884782"/>
              <a:gd name="connsiteY72201" fmla="*/ 4347961 h 5973007"/>
              <a:gd name="connsiteX72202" fmla="*/ 1682599 w 6884782"/>
              <a:gd name="connsiteY72202" fmla="*/ 4345585 h 5973007"/>
              <a:gd name="connsiteX72203" fmla="*/ 1688486 w 6884782"/>
              <a:gd name="connsiteY72203" fmla="*/ 4346411 h 5973007"/>
              <a:gd name="connsiteX72204" fmla="*/ 1687711 w 6884782"/>
              <a:gd name="connsiteY72204" fmla="*/ 4350955 h 5973007"/>
              <a:gd name="connsiteX72205" fmla="*/ 1684613 w 6884782"/>
              <a:gd name="connsiteY72205" fmla="*/ 4351058 h 5973007"/>
              <a:gd name="connsiteX72206" fmla="*/ 1685543 w 6884782"/>
              <a:gd name="connsiteY72206" fmla="*/ 4353330 h 5973007"/>
              <a:gd name="connsiteX72207" fmla="*/ 1694217 w 6884782"/>
              <a:gd name="connsiteY72207" fmla="*/ 4355188 h 5973007"/>
              <a:gd name="connsiteX72208" fmla="*/ 1685233 w 6884782"/>
              <a:gd name="connsiteY72208" fmla="*/ 4361384 h 5973007"/>
              <a:gd name="connsiteX72209" fmla="*/ 1680896 w 6884782"/>
              <a:gd name="connsiteY72209" fmla="*/ 4359732 h 5973007"/>
              <a:gd name="connsiteX72210" fmla="*/ 1681206 w 6884782"/>
              <a:gd name="connsiteY72210" fmla="*/ 4358286 h 5973007"/>
              <a:gd name="connsiteX72211" fmla="*/ 1678882 w 6884782"/>
              <a:gd name="connsiteY72211" fmla="*/ 4356737 h 5973007"/>
              <a:gd name="connsiteX72212" fmla="*/ 1675629 w 6884782"/>
              <a:gd name="connsiteY72212" fmla="*/ 4350439 h 5973007"/>
              <a:gd name="connsiteX72213" fmla="*/ 1674855 w 6884782"/>
              <a:gd name="connsiteY72213" fmla="*/ 4357667 h 5973007"/>
              <a:gd name="connsiteX72214" fmla="*/ 1659520 w 6884782"/>
              <a:gd name="connsiteY72214" fmla="*/ 4370367 h 5973007"/>
              <a:gd name="connsiteX72215" fmla="*/ 1653014 w 6884782"/>
              <a:gd name="connsiteY72215" fmla="*/ 4366134 h 5973007"/>
              <a:gd name="connsiteX72216" fmla="*/ 1651621 w 6884782"/>
              <a:gd name="connsiteY72216" fmla="*/ 4362313 h 5973007"/>
              <a:gd name="connsiteX72217" fmla="*/ 1649916 w 6884782"/>
              <a:gd name="connsiteY72217" fmla="*/ 4359732 h 5973007"/>
              <a:gd name="connsiteX72218" fmla="*/ 1650226 w 6884782"/>
              <a:gd name="connsiteY72218" fmla="*/ 4360558 h 5973007"/>
              <a:gd name="connsiteX72219" fmla="*/ 1648367 w 6884782"/>
              <a:gd name="connsiteY72219" fmla="*/ 4364998 h 5973007"/>
              <a:gd name="connsiteX72220" fmla="*/ 1649452 w 6884782"/>
              <a:gd name="connsiteY72220" fmla="*/ 4365720 h 5973007"/>
              <a:gd name="connsiteX72221" fmla="*/ 1647749 w 6884782"/>
              <a:gd name="connsiteY72221" fmla="*/ 4366237 h 5973007"/>
              <a:gd name="connsiteX72222" fmla="*/ 1646664 w 6884782"/>
              <a:gd name="connsiteY72222" fmla="*/ 4368818 h 5973007"/>
              <a:gd name="connsiteX72223" fmla="*/ 1642482 w 6884782"/>
              <a:gd name="connsiteY72223" fmla="*/ 4373774 h 5973007"/>
              <a:gd name="connsiteX72224" fmla="*/ 1642327 w 6884782"/>
              <a:gd name="connsiteY72224" fmla="*/ 4371090 h 5973007"/>
              <a:gd name="connsiteX72225" fmla="*/ 1642791 w 6884782"/>
              <a:gd name="connsiteY72225" fmla="*/ 4369851 h 5973007"/>
              <a:gd name="connsiteX72226" fmla="*/ 1642482 w 6884782"/>
              <a:gd name="connsiteY72226" fmla="*/ 4369128 h 5973007"/>
              <a:gd name="connsiteX72227" fmla="*/ 1643256 w 6884782"/>
              <a:gd name="connsiteY72227" fmla="*/ 4368715 h 5973007"/>
              <a:gd name="connsiteX72228" fmla="*/ 1643411 w 6884782"/>
              <a:gd name="connsiteY72228" fmla="*/ 4368508 h 5973007"/>
              <a:gd name="connsiteX72229" fmla="*/ 1643720 w 6884782"/>
              <a:gd name="connsiteY72229" fmla="*/ 4367476 h 5973007"/>
              <a:gd name="connsiteX72230" fmla="*/ 1640313 w 6884782"/>
              <a:gd name="connsiteY72230" fmla="*/ 4368508 h 5973007"/>
              <a:gd name="connsiteX72231" fmla="*/ 1641087 w 6884782"/>
              <a:gd name="connsiteY72231" fmla="*/ 4369541 h 5973007"/>
              <a:gd name="connsiteX72232" fmla="*/ 1638454 w 6884782"/>
              <a:gd name="connsiteY72232" fmla="*/ 4373671 h 5973007"/>
              <a:gd name="connsiteX72233" fmla="*/ 1636596 w 6884782"/>
              <a:gd name="connsiteY72233" fmla="*/ 4375530 h 5973007"/>
              <a:gd name="connsiteX72234" fmla="*/ 1639694 w 6884782"/>
              <a:gd name="connsiteY72234" fmla="*/ 4378111 h 5973007"/>
              <a:gd name="connsiteX72235" fmla="*/ 1647438 w 6884782"/>
              <a:gd name="connsiteY72235" fmla="*/ 4383171 h 5973007"/>
              <a:gd name="connsiteX72236" fmla="*/ 1643411 w 6884782"/>
              <a:gd name="connsiteY72236" fmla="*/ 4388231 h 5973007"/>
              <a:gd name="connsiteX72237" fmla="*/ 1631329 w 6884782"/>
              <a:gd name="connsiteY72237" fmla="*/ 4382861 h 5973007"/>
              <a:gd name="connsiteX72238" fmla="*/ 1630554 w 6884782"/>
              <a:gd name="connsiteY72238" fmla="*/ 4374497 h 5973007"/>
              <a:gd name="connsiteX72239" fmla="*/ 1630864 w 6884782"/>
              <a:gd name="connsiteY72239" fmla="*/ 4373878 h 5973007"/>
              <a:gd name="connsiteX72240" fmla="*/ 1629006 w 6884782"/>
              <a:gd name="connsiteY72240" fmla="*/ 4370780 h 5973007"/>
              <a:gd name="connsiteX72241" fmla="*/ 1630209 w 6884782"/>
              <a:gd name="connsiteY72241" fmla="*/ 4367755 h 5973007"/>
              <a:gd name="connsiteX72242" fmla="*/ 1620363 w 6884782"/>
              <a:gd name="connsiteY72242" fmla="*/ 4370649 h 5973007"/>
              <a:gd name="connsiteX72243" fmla="*/ 1619834 w 6884782"/>
              <a:gd name="connsiteY72243" fmla="*/ 4370649 h 5973007"/>
              <a:gd name="connsiteX72244" fmla="*/ 1622500 w 6884782"/>
              <a:gd name="connsiteY72244" fmla="*/ 4372948 h 5973007"/>
              <a:gd name="connsiteX72245" fmla="*/ 1617544 w 6884782"/>
              <a:gd name="connsiteY72245" fmla="*/ 4380279 h 5973007"/>
              <a:gd name="connsiteX72246" fmla="*/ 1610728 w 6884782"/>
              <a:gd name="connsiteY72246" fmla="*/ 4372432 h 5973007"/>
              <a:gd name="connsiteX72247" fmla="*/ 1613609 w 6884782"/>
              <a:gd name="connsiteY72247" fmla="*/ 4370649 h 5973007"/>
              <a:gd name="connsiteX72248" fmla="*/ 1606292 w 6884782"/>
              <a:gd name="connsiteY72248" fmla="*/ 4370649 h 5973007"/>
              <a:gd name="connsiteX72249" fmla="*/ 1603049 w 6884782"/>
              <a:gd name="connsiteY72249" fmla="*/ 4369039 h 5973007"/>
              <a:gd name="connsiteX72250" fmla="*/ 1600195 w 6884782"/>
              <a:gd name="connsiteY72250" fmla="*/ 4373878 h 5973007"/>
              <a:gd name="connsiteX72251" fmla="*/ 1590282 w 6884782"/>
              <a:gd name="connsiteY72251" fmla="*/ 4376872 h 5973007"/>
              <a:gd name="connsiteX72252" fmla="*/ 1585480 w 6884782"/>
              <a:gd name="connsiteY72252" fmla="*/ 4378008 h 5973007"/>
              <a:gd name="connsiteX72253" fmla="*/ 1582227 w 6884782"/>
              <a:gd name="connsiteY72253" fmla="*/ 4379144 h 5973007"/>
              <a:gd name="connsiteX72254" fmla="*/ 1581917 w 6884782"/>
              <a:gd name="connsiteY72254" fmla="*/ 4378214 h 5973007"/>
              <a:gd name="connsiteX72255" fmla="*/ 1579748 w 6884782"/>
              <a:gd name="connsiteY72255" fmla="*/ 4378318 h 5973007"/>
              <a:gd name="connsiteX72256" fmla="*/ 1572004 w 6884782"/>
              <a:gd name="connsiteY72256" fmla="*/ 4375840 h 5973007"/>
              <a:gd name="connsiteX72257" fmla="*/ 1583389 w 6884782"/>
              <a:gd name="connsiteY72257" fmla="*/ 4356428 h 5973007"/>
              <a:gd name="connsiteX72258" fmla="*/ 1583901 w 6884782"/>
              <a:gd name="connsiteY72258" fmla="*/ 4355205 h 5973007"/>
              <a:gd name="connsiteX72259" fmla="*/ 1580633 w 6884782"/>
              <a:gd name="connsiteY72259" fmla="*/ 4352166 h 5973007"/>
              <a:gd name="connsiteX72260" fmla="*/ 1570700 w 6884782"/>
              <a:gd name="connsiteY72260" fmla="*/ 4336762 h 5973007"/>
              <a:gd name="connsiteX72261" fmla="*/ 1559940 w 6884782"/>
              <a:gd name="connsiteY72261" fmla="*/ 4316740 h 5973007"/>
              <a:gd name="connsiteX72262" fmla="*/ 1549179 w 6884782"/>
              <a:gd name="connsiteY72262" fmla="*/ 4298257 h 5973007"/>
              <a:gd name="connsiteX72263" fmla="*/ 1543025 w 6884782"/>
              <a:gd name="connsiteY72263" fmla="*/ 4284895 h 5973007"/>
              <a:gd name="connsiteX72264" fmla="*/ 1541644 w 6884782"/>
              <a:gd name="connsiteY72264" fmla="*/ 4284665 h 5973007"/>
              <a:gd name="connsiteX72265" fmla="*/ 1541354 w 6884782"/>
              <a:gd name="connsiteY72265" fmla="*/ 4281554 h 5973007"/>
              <a:gd name="connsiteX72266" fmla="*/ 1541424 w 6884782"/>
              <a:gd name="connsiteY72266" fmla="*/ 4281420 h 5973007"/>
              <a:gd name="connsiteX72267" fmla="*/ 1539248 w 6884782"/>
              <a:gd name="connsiteY72267" fmla="*/ 4276693 h 5973007"/>
              <a:gd name="connsiteX72268" fmla="*/ 1530142 w 6884782"/>
              <a:gd name="connsiteY72268" fmla="*/ 4256669 h 5973007"/>
              <a:gd name="connsiteX72269" fmla="*/ 1528889 w 6884782"/>
              <a:gd name="connsiteY72269" fmla="*/ 4253948 h 5973007"/>
              <a:gd name="connsiteX72270" fmla="*/ 1523986 w 6884782"/>
              <a:gd name="connsiteY72270" fmla="*/ 4256063 h 5973007"/>
              <a:gd name="connsiteX72271" fmla="*/ 1517325 w 6884782"/>
              <a:gd name="connsiteY72271" fmla="*/ 4254410 h 5973007"/>
              <a:gd name="connsiteX72272" fmla="*/ 1512717 w 6884782"/>
              <a:gd name="connsiteY72272" fmla="*/ 4241439 h 5973007"/>
              <a:gd name="connsiteX72273" fmla="*/ 1520054 w 6884782"/>
              <a:gd name="connsiteY72273" fmla="*/ 4234838 h 5973007"/>
              <a:gd name="connsiteX72274" fmla="*/ 1509449 w 6884782"/>
              <a:gd name="connsiteY72274" fmla="*/ 4216622 h 5973007"/>
              <a:gd name="connsiteX72275" fmla="*/ 1499516 w 6884782"/>
              <a:gd name="connsiteY72275" fmla="*/ 4201220 h 5973007"/>
              <a:gd name="connsiteX72276" fmla="*/ 1495020 w 6884782"/>
              <a:gd name="connsiteY72276" fmla="*/ 4197037 h 5973007"/>
              <a:gd name="connsiteX72277" fmla="*/ 1495639 w 6884782"/>
              <a:gd name="connsiteY72277" fmla="*/ 4207119 h 5973007"/>
              <a:gd name="connsiteX72278" fmla="*/ 1491612 w 6884782"/>
              <a:gd name="connsiteY72278" fmla="*/ 4203711 h 5973007"/>
              <a:gd name="connsiteX72279" fmla="*/ 1490683 w 6884782"/>
              <a:gd name="connsiteY72279" fmla="*/ 4204331 h 5973007"/>
              <a:gd name="connsiteX72280" fmla="*/ 1487121 w 6884782"/>
              <a:gd name="connsiteY72280" fmla="*/ 4204744 h 5973007"/>
              <a:gd name="connsiteX72281" fmla="*/ 1485261 w 6884782"/>
              <a:gd name="connsiteY72281" fmla="*/ 4197413 h 5973007"/>
              <a:gd name="connsiteX72282" fmla="*/ 1487740 w 6884782"/>
              <a:gd name="connsiteY72282" fmla="*/ 4197103 h 5973007"/>
              <a:gd name="connsiteX72283" fmla="*/ 1488050 w 6884782"/>
              <a:gd name="connsiteY72283" fmla="*/ 4197000 h 5973007"/>
              <a:gd name="connsiteX72284" fmla="*/ 1487361 w 6884782"/>
              <a:gd name="connsiteY72284" fmla="*/ 4189910 h 5973007"/>
              <a:gd name="connsiteX72285" fmla="*/ 1463097 w 6884782"/>
              <a:gd name="connsiteY72285" fmla="*/ 4167335 h 5973007"/>
              <a:gd name="connsiteX72286" fmla="*/ 1455118 w 6884782"/>
              <a:gd name="connsiteY72286" fmla="*/ 4156336 h 5973007"/>
              <a:gd name="connsiteX72287" fmla="*/ 1446382 w 6884782"/>
              <a:gd name="connsiteY72287" fmla="*/ 4160653 h 5973007"/>
              <a:gd name="connsiteX72288" fmla="*/ 1438483 w 6884782"/>
              <a:gd name="connsiteY72288" fmla="*/ 4151980 h 5973007"/>
              <a:gd name="connsiteX72289" fmla="*/ 1445572 w 6884782"/>
              <a:gd name="connsiteY72289" fmla="*/ 4143178 h 5973007"/>
              <a:gd name="connsiteX72290" fmla="*/ 1440749 w 6884782"/>
              <a:gd name="connsiteY72290" fmla="*/ 4136530 h 5973007"/>
              <a:gd name="connsiteX72291" fmla="*/ 1433226 w 6884782"/>
              <a:gd name="connsiteY72291" fmla="*/ 4125640 h 5973007"/>
              <a:gd name="connsiteX72292" fmla="*/ 1426556 w 6884782"/>
              <a:gd name="connsiteY72292" fmla="*/ 4130812 h 5973007"/>
              <a:gd name="connsiteX72293" fmla="*/ 1430583 w 6884782"/>
              <a:gd name="connsiteY72293" fmla="*/ 4135252 h 5973007"/>
              <a:gd name="connsiteX72294" fmla="*/ 1420670 w 6884782"/>
              <a:gd name="connsiteY72294" fmla="*/ 4140209 h 5973007"/>
              <a:gd name="connsiteX72295" fmla="*/ 1419741 w 6884782"/>
              <a:gd name="connsiteY72295" fmla="*/ 4135769 h 5973007"/>
              <a:gd name="connsiteX72296" fmla="*/ 1415713 w 6884782"/>
              <a:gd name="connsiteY72296" fmla="*/ 4138763 h 5973007"/>
              <a:gd name="connsiteX72297" fmla="*/ 1405335 w 6884782"/>
              <a:gd name="connsiteY72297" fmla="*/ 4145785 h 5973007"/>
              <a:gd name="connsiteX72298" fmla="*/ 1398829 w 6884782"/>
              <a:gd name="connsiteY72298" fmla="*/ 4150947 h 5973007"/>
              <a:gd name="connsiteX72299" fmla="*/ 1399449 w 6884782"/>
              <a:gd name="connsiteY72299" fmla="*/ 4151257 h 5973007"/>
              <a:gd name="connsiteX72300" fmla="*/ 1400998 w 6884782"/>
              <a:gd name="connsiteY72300" fmla="*/ 4157969 h 5973007"/>
              <a:gd name="connsiteX72301" fmla="*/ 1397590 w 6884782"/>
              <a:gd name="connsiteY72301" fmla="*/ 4159828 h 5973007"/>
              <a:gd name="connsiteX72302" fmla="*/ 1392789 w 6884782"/>
              <a:gd name="connsiteY72302" fmla="*/ 4159311 h 5973007"/>
              <a:gd name="connsiteX72303" fmla="*/ 1392014 w 6884782"/>
              <a:gd name="connsiteY72303" fmla="*/ 4156420 h 5973007"/>
              <a:gd name="connsiteX72304" fmla="*/ 1386592 w 6884782"/>
              <a:gd name="connsiteY72304" fmla="*/ 4160860 h 5973007"/>
              <a:gd name="connsiteX72305" fmla="*/ 1378074 w 6884782"/>
              <a:gd name="connsiteY72305" fmla="*/ 4169017 h 5973007"/>
              <a:gd name="connsiteX72306" fmla="*/ 1374047 w 6884782"/>
              <a:gd name="connsiteY72306" fmla="*/ 4173870 h 5973007"/>
              <a:gd name="connsiteX72307" fmla="*/ 1372807 w 6884782"/>
              <a:gd name="connsiteY72307" fmla="*/ 4175006 h 5973007"/>
              <a:gd name="connsiteX72308" fmla="*/ 1366611 w 6884782"/>
              <a:gd name="connsiteY72308" fmla="*/ 4178207 h 5973007"/>
              <a:gd name="connsiteX72309" fmla="*/ 1366611 w 6884782"/>
              <a:gd name="connsiteY72309" fmla="*/ 4178723 h 5973007"/>
              <a:gd name="connsiteX72310" fmla="*/ 1365992 w 6884782"/>
              <a:gd name="connsiteY72310" fmla="*/ 4179240 h 5973007"/>
              <a:gd name="connsiteX72311" fmla="*/ 1365372 w 6884782"/>
              <a:gd name="connsiteY72311" fmla="*/ 4180892 h 5973007"/>
              <a:gd name="connsiteX72312" fmla="*/ 1368315 w 6884782"/>
              <a:gd name="connsiteY72312" fmla="*/ 4182544 h 5973007"/>
              <a:gd name="connsiteX72313" fmla="*/ 1368315 w 6884782"/>
              <a:gd name="connsiteY72313" fmla="*/ 4182028 h 5973007"/>
              <a:gd name="connsiteX72314" fmla="*/ 1368935 w 6884782"/>
              <a:gd name="connsiteY72314" fmla="*/ 4182028 h 5973007"/>
              <a:gd name="connsiteX72315" fmla="*/ 1375130 w 6884782"/>
              <a:gd name="connsiteY72315" fmla="*/ 4178723 h 5973007"/>
              <a:gd name="connsiteX72316" fmla="*/ 1375750 w 6884782"/>
              <a:gd name="connsiteY72316" fmla="*/ 4178723 h 5973007"/>
              <a:gd name="connsiteX72317" fmla="*/ 1377454 w 6884782"/>
              <a:gd name="connsiteY72317" fmla="*/ 4179756 h 5973007"/>
              <a:gd name="connsiteX72318" fmla="*/ 1376835 w 6884782"/>
              <a:gd name="connsiteY72318" fmla="*/ 4180376 h 5973007"/>
              <a:gd name="connsiteX72319" fmla="*/ 1376214 w 6884782"/>
              <a:gd name="connsiteY72319" fmla="*/ 4180892 h 5973007"/>
              <a:gd name="connsiteX72320" fmla="*/ 1375905 w 6884782"/>
              <a:gd name="connsiteY72320" fmla="*/ 4181099 h 5973007"/>
              <a:gd name="connsiteX72321" fmla="*/ 1375905 w 6884782"/>
              <a:gd name="connsiteY72321" fmla="*/ 4181202 h 5973007"/>
              <a:gd name="connsiteX72322" fmla="*/ 1370019 w 6884782"/>
              <a:gd name="connsiteY72322" fmla="*/ 4184093 h 5973007"/>
              <a:gd name="connsiteX72323" fmla="*/ 1369399 w 6884782"/>
              <a:gd name="connsiteY72323" fmla="*/ 4184093 h 5973007"/>
              <a:gd name="connsiteX72324" fmla="*/ 1369399 w 6884782"/>
              <a:gd name="connsiteY72324" fmla="*/ 4184712 h 5973007"/>
              <a:gd name="connsiteX72325" fmla="*/ 1368935 w 6884782"/>
              <a:gd name="connsiteY72325" fmla="*/ 4185229 h 5973007"/>
              <a:gd name="connsiteX72326" fmla="*/ 1367695 w 6884782"/>
              <a:gd name="connsiteY72326" fmla="*/ 4186365 h 5973007"/>
              <a:gd name="connsiteX72327" fmla="*/ 1365992 w 6884782"/>
              <a:gd name="connsiteY72327" fmla="*/ 4189566 h 5973007"/>
              <a:gd name="connsiteX72328" fmla="*/ 1365992 w 6884782"/>
              <a:gd name="connsiteY72328" fmla="*/ 4185848 h 5973007"/>
              <a:gd name="connsiteX72329" fmla="*/ 1361965 w 6884782"/>
              <a:gd name="connsiteY72329" fmla="*/ 4185229 h 5973007"/>
              <a:gd name="connsiteX72330" fmla="*/ 1363203 w 6884782"/>
              <a:gd name="connsiteY72330" fmla="*/ 4188430 h 5973007"/>
              <a:gd name="connsiteX72331" fmla="*/ 1360415 w 6884782"/>
              <a:gd name="connsiteY72331" fmla="*/ 4191114 h 5973007"/>
              <a:gd name="connsiteX72332" fmla="*/ 1358092 w 6884782"/>
              <a:gd name="connsiteY72332" fmla="*/ 4188430 h 5973007"/>
              <a:gd name="connsiteX72333" fmla="*/ 1359176 w 6884782"/>
              <a:gd name="connsiteY72333" fmla="*/ 4194418 h 5973007"/>
              <a:gd name="connsiteX72334" fmla="*/ 1358092 w 6884782"/>
              <a:gd name="connsiteY72334" fmla="*/ 4194418 h 5973007"/>
              <a:gd name="connsiteX72335" fmla="*/ 1357007 w 6884782"/>
              <a:gd name="connsiteY72335" fmla="*/ 4194418 h 5973007"/>
              <a:gd name="connsiteX72336" fmla="*/ 1355149 w 6884782"/>
              <a:gd name="connsiteY72336" fmla="*/ 4192250 h 5973007"/>
              <a:gd name="connsiteX72337" fmla="*/ 1350812 w 6884782"/>
              <a:gd name="connsiteY72337" fmla="*/ 4195244 h 5973007"/>
              <a:gd name="connsiteX72338" fmla="*/ 1351122 w 6884782"/>
              <a:gd name="connsiteY72338" fmla="*/ 4196277 h 5973007"/>
              <a:gd name="connsiteX72339" fmla="*/ 1348024 w 6884782"/>
              <a:gd name="connsiteY72339" fmla="*/ 4199168 h 5973007"/>
              <a:gd name="connsiteX72340" fmla="*/ 1347094 w 6884782"/>
              <a:gd name="connsiteY72340" fmla="*/ 4197723 h 5973007"/>
              <a:gd name="connsiteX72341" fmla="*/ 1340899 w 6884782"/>
              <a:gd name="connsiteY72341" fmla="*/ 4201956 h 5973007"/>
              <a:gd name="connsiteX72342" fmla="*/ 1333309 w 6884782"/>
              <a:gd name="connsiteY72342" fmla="*/ 4206396 h 5973007"/>
              <a:gd name="connsiteX72343" fmla="*/ 1333153 w 6884782"/>
              <a:gd name="connsiteY72343" fmla="*/ 4208048 h 5973007"/>
              <a:gd name="connsiteX72344" fmla="*/ 1331449 w 6884782"/>
              <a:gd name="connsiteY72344" fmla="*/ 4207325 h 5973007"/>
              <a:gd name="connsiteX72345" fmla="*/ 1328352 w 6884782"/>
              <a:gd name="connsiteY72345" fmla="*/ 4209081 h 5973007"/>
              <a:gd name="connsiteX72346" fmla="*/ 1326028 w 6884782"/>
              <a:gd name="connsiteY72346" fmla="*/ 4209597 h 5973007"/>
              <a:gd name="connsiteX72347" fmla="*/ 1324944 w 6884782"/>
              <a:gd name="connsiteY72347" fmla="*/ 4210113 h 5973007"/>
              <a:gd name="connsiteX72348" fmla="*/ 1323860 w 6884782"/>
              <a:gd name="connsiteY72348" fmla="*/ 4210630 h 5973007"/>
              <a:gd name="connsiteX72349" fmla="*/ 1295824 w 6884782"/>
              <a:gd name="connsiteY72349" fmla="*/ 4221988 h 5973007"/>
              <a:gd name="connsiteX72350" fmla="*/ 1291022 w 6884782"/>
              <a:gd name="connsiteY72350" fmla="*/ 4223330 h 5973007"/>
              <a:gd name="connsiteX72351" fmla="*/ 1290092 w 6884782"/>
              <a:gd name="connsiteY72351" fmla="*/ 4223124 h 5973007"/>
              <a:gd name="connsiteX72352" fmla="*/ 1290557 w 6884782"/>
              <a:gd name="connsiteY72352" fmla="*/ 4224466 h 5973007"/>
              <a:gd name="connsiteX72353" fmla="*/ 1291177 w 6884782"/>
              <a:gd name="connsiteY72353" fmla="*/ 4225499 h 5973007"/>
              <a:gd name="connsiteX72354" fmla="*/ 1283432 w 6884782"/>
              <a:gd name="connsiteY72354" fmla="*/ 4227770 h 5973007"/>
              <a:gd name="connsiteX72355" fmla="*/ 1282657 w 6884782"/>
              <a:gd name="connsiteY72355" fmla="*/ 4226428 h 5973007"/>
              <a:gd name="connsiteX72356" fmla="*/ 1282502 w 6884782"/>
              <a:gd name="connsiteY72356" fmla="*/ 4226531 h 5973007"/>
              <a:gd name="connsiteX72357" fmla="*/ 1278940 w 6884782"/>
              <a:gd name="connsiteY72357" fmla="*/ 4227770 h 5973007"/>
              <a:gd name="connsiteX72358" fmla="*/ 1277546 w 6884782"/>
              <a:gd name="connsiteY72358" fmla="*/ 4230765 h 5973007"/>
              <a:gd name="connsiteX72359" fmla="*/ 1277701 w 6884782"/>
              <a:gd name="connsiteY72359" fmla="*/ 4231487 h 5973007"/>
              <a:gd name="connsiteX72360" fmla="*/ 1278630 w 6884782"/>
              <a:gd name="connsiteY72360" fmla="*/ 4231178 h 5973007"/>
              <a:gd name="connsiteX72361" fmla="*/ 1281108 w 6884782"/>
              <a:gd name="connsiteY72361" fmla="*/ 4231901 h 5973007"/>
              <a:gd name="connsiteX72362" fmla="*/ 1282657 w 6884782"/>
              <a:gd name="connsiteY72362" fmla="*/ 4234482 h 5973007"/>
              <a:gd name="connsiteX72363" fmla="*/ 1284671 w 6884782"/>
              <a:gd name="connsiteY72363" fmla="*/ 4233346 h 5973007"/>
              <a:gd name="connsiteX72364" fmla="*/ 1292261 w 6884782"/>
              <a:gd name="connsiteY72364" fmla="*/ 4235308 h 5973007"/>
              <a:gd name="connsiteX72365" fmla="*/ 1286530 w 6884782"/>
              <a:gd name="connsiteY72365" fmla="*/ 4246563 h 5973007"/>
              <a:gd name="connsiteX72366" fmla="*/ 1279249 w 6884782"/>
              <a:gd name="connsiteY72366" fmla="*/ 4239025 h 5973007"/>
              <a:gd name="connsiteX72367" fmla="*/ 1279560 w 6884782"/>
              <a:gd name="connsiteY72367" fmla="*/ 4238302 h 5973007"/>
              <a:gd name="connsiteX72368" fmla="*/ 1278785 w 6884782"/>
              <a:gd name="connsiteY72368" fmla="*/ 4239025 h 5973007"/>
              <a:gd name="connsiteX72369" fmla="*/ 1278011 w 6884782"/>
              <a:gd name="connsiteY72369" fmla="*/ 4238922 h 5973007"/>
              <a:gd name="connsiteX72370" fmla="*/ 1278011 w 6884782"/>
              <a:gd name="connsiteY72370" fmla="*/ 4240368 h 5973007"/>
              <a:gd name="connsiteX72371" fmla="*/ 1269801 w 6884782"/>
              <a:gd name="connsiteY72371" fmla="*/ 4234378 h 5973007"/>
              <a:gd name="connsiteX72372" fmla="*/ 1266703 w 6884782"/>
              <a:gd name="connsiteY72372" fmla="*/ 4229629 h 5973007"/>
              <a:gd name="connsiteX72373" fmla="*/ 1262211 w 6884782"/>
              <a:gd name="connsiteY72373" fmla="*/ 4226841 h 5973007"/>
              <a:gd name="connsiteX72374" fmla="*/ 1246257 w 6884782"/>
              <a:gd name="connsiteY72374" fmla="*/ 4233862 h 5973007"/>
              <a:gd name="connsiteX72375" fmla="*/ 1245327 w 6884782"/>
              <a:gd name="connsiteY72375" fmla="*/ 4232520 h 5973007"/>
              <a:gd name="connsiteX72376" fmla="*/ 1241610 w 6884782"/>
              <a:gd name="connsiteY72376" fmla="*/ 4233759 h 5973007"/>
              <a:gd name="connsiteX72377" fmla="*/ 1239751 w 6884782"/>
              <a:gd name="connsiteY72377" fmla="*/ 4233449 h 5973007"/>
              <a:gd name="connsiteX72378" fmla="*/ 1240216 w 6884782"/>
              <a:gd name="connsiteY72378" fmla="*/ 4231384 h 5973007"/>
              <a:gd name="connsiteX72379" fmla="*/ 1241300 w 6884782"/>
              <a:gd name="connsiteY72379" fmla="*/ 4230248 h 5973007"/>
              <a:gd name="connsiteX72380" fmla="*/ 1237738 w 6884782"/>
              <a:gd name="connsiteY72380" fmla="*/ 4230042 h 5973007"/>
              <a:gd name="connsiteX72381" fmla="*/ 1226275 w 6884782"/>
              <a:gd name="connsiteY72381" fmla="*/ 4236547 h 5973007"/>
              <a:gd name="connsiteX72382" fmla="*/ 1234795 w 6884782"/>
              <a:gd name="connsiteY72382" fmla="*/ 4237579 h 5973007"/>
              <a:gd name="connsiteX72383" fmla="*/ 1245172 w 6884782"/>
              <a:gd name="connsiteY72383" fmla="*/ 4233862 h 5973007"/>
              <a:gd name="connsiteX72384" fmla="*/ 1237892 w 6884782"/>
              <a:gd name="connsiteY72384" fmla="*/ 4239025 h 5973007"/>
              <a:gd name="connsiteX72385" fmla="*/ 1229063 w 6884782"/>
              <a:gd name="connsiteY72385" fmla="*/ 4241194 h 5973007"/>
              <a:gd name="connsiteX72386" fmla="*/ 1229838 w 6884782"/>
              <a:gd name="connsiteY72386" fmla="*/ 4243259 h 5973007"/>
              <a:gd name="connsiteX72387" fmla="*/ 1227669 w 6884782"/>
              <a:gd name="connsiteY72387" fmla="*/ 4254513 h 5973007"/>
              <a:gd name="connsiteX72388" fmla="*/ 1225345 w 6884782"/>
              <a:gd name="connsiteY72388" fmla="*/ 4254101 h 5973007"/>
              <a:gd name="connsiteX72389" fmla="*/ 1224726 w 6884782"/>
              <a:gd name="connsiteY72389" fmla="*/ 4246460 h 5973007"/>
              <a:gd name="connsiteX72390" fmla="*/ 1225036 w 6884782"/>
              <a:gd name="connsiteY72390" fmla="*/ 4242330 h 5973007"/>
              <a:gd name="connsiteX72391" fmla="*/ 1220699 w 6884782"/>
              <a:gd name="connsiteY72391" fmla="*/ 4244601 h 5973007"/>
              <a:gd name="connsiteX72392" fmla="*/ 1217756 w 6884782"/>
              <a:gd name="connsiteY72392" fmla="*/ 4245014 h 5973007"/>
              <a:gd name="connsiteX72393" fmla="*/ 1213109 w 6884782"/>
              <a:gd name="connsiteY72393" fmla="*/ 4249557 h 5973007"/>
              <a:gd name="connsiteX72394" fmla="*/ 1208152 w 6884782"/>
              <a:gd name="connsiteY72394" fmla="*/ 4250280 h 5973007"/>
              <a:gd name="connsiteX72395" fmla="*/ 1209856 w 6884782"/>
              <a:gd name="connsiteY72395" fmla="*/ 4250590 h 5973007"/>
              <a:gd name="connsiteX72396" fmla="*/ 1211250 w 6884782"/>
              <a:gd name="connsiteY72396" fmla="*/ 4251519 h 5973007"/>
              <a:gd name="connsiteX72397" fmla="*/ 1211250 w 6884782"/>
              <a:gd name="connsiteY72397" fmla="*/ 4251416 h 5973007"/>
              <a:gd name="connsiteX72398" fmla="*/ 1213883 w 6884782"/>
              <a:gd name="connsiteY72398" fmla="*/ 4249661 h 5973007"/>
              <a:gd name="connsiteX72399" fmla="*/ 1220544 w 6884782"/>
              <a:gd name="connsiteY72399" fmla="*/ 4257302 h 5973007"/>
              <a:gd name="connsiteX72400" fmla="*/ 1216827 w 6884782"/>
              <a:gd name="connsiteY72400" fmla="*/ 4259676 h 5973007"/>
              <a:gd name="connsiteX72401" fmla="*/ 1215277 w 6884782"/>
              <a:gd name="connsiteY72401" fmla="*/ 4259264 h 5973007"/>
              <a:gd name="connsiteX72402" fmla="*/ 1214813 w 6884782"/>
              <a:gd name="connsiteY72402" fmla="*/ 4260193 h 5973007"/>
              <a:gd name="connsiteX72403" fmla="*/ 1210476 w 6884782"/>
              <a:gd name="connsiteY72403" fmla="*/ 4261329 h 5973007"/>
              <a:gd name="connsiteX72404" fmla="*/ 1209392 w 6884782"/>
              <a:gd name="connsiteY72404" fmla="*/ 4260812 h 5973007"/>
              <a:gd name="connsiteX72405" fmla="*/ 1202731 w 6884782"/>
              <a:gd name="connsiteY72405" fmla="*/ 4253584 h 5973007"/>
              <a:gd name="connsiteX72406" fmla="*/ 1205519 w 6884782"/>
              <a:gd name="connsiteY72406" fmla="*/ 4250693 h 5973007"/>
              <a:gd name="connsiteX72407" fmla="*/ 1194366 w 6884782"/>
              <a:gd name="connsiteY72407" fmla="*/ 4251209 h 5973007"/>
              <a:gd name="connsiteX72408" fmla="*/ 1185847 w 6884782"/>
              <a:gd name="connsiteY72408" fmla="*/ 4251726 h 5973007"/>
              <a:gd name="connsiteX72409" fmla="*/ 1176863 w 6884782"/>
              <a:gd name="connsiteY72409" fmla="*/ 4254307 h 5973007"/>
              <a:gd name="connsiteX72410" fmla="*/ 1178102 w 6884782"/>
              <a:gd name="connsiteY72410" fmla="*/ 4255133 h 5973007"/>
              <a:gd name="connsiteX72411" fmla="*/ 1179961 w 6884782"/>
              <a:gd name="connsiteY72411" fmla="*/ 4254307 h 5973007"/>
              <a:gd name="connsiteX72412" fmla="*/ 1192198 w 6884782"/>
              <a:gd name="connsiteY72412" fmla="*/ 4254617 h 5973007"/>
              <a:gd name="connsiteX72413" fmla="*/ 1182439 w 6884782"/>
              <a:gd name="connsiteY72413" fmla="*/ 4263807 h 5973007"/>
              <a:gd name="connsiteX72414" fmla="*/ 1179496 w 6884782"/>
              <a:gd name="connsiteY72414" fmla="*/ 4264426 h 5973007"/>
              <a:gd name="connsiteX72415" fmla="*/ 1176554 w 6884782"/>
              <a:gd name="connsiteY72415" fmla="*/ 4265872 h 5973007"/>
              <a:gd name="connsiteX72416" fmla="*/ 1176709 w 6884782"/>
              <a:gd name="connsiteY72416" fmla="*/ 4266904 h 5973007"/>
              <a:gd name="connsiteX72417" fmla="*/ 1166486 w 6884782"/>
              <a:gd name="connsiteY72417" fmla="*/ 4279192 h 5973007"/>
              <a:gd name="connsiteX72418" fmla="*/ 1165556 w 6884782"/>
              <a:gd name="connsiteY72418" fmla="*/ 4280431 h 5973007"/>
              <a:gd name="connsiteX72419" fmla="*/ 1168034 w 6884782"/>
              <a:gd name="connsiteY72419" fmla="*/ 4280741 h 5973007"/>
              <a:gd name="connsiteX72420" fmla="*/ 1171287 w 6884782"/>
              <a:gd name="connsiteY72420" fmla="*/ 4284355 h 5973007"/>
              <a:gd name="connsiteX72421" fmla="*/ 1174849 w 6884782"/>
              <a:gd name="connsiteY72421" fmla="*/ 4283012 h 5973007"/>
              <a:gd name="connsiteX72422" fmla="*/ 1183678 w 6884782"/>
              <a:gd name="connsiteY72422" fmla="*/ 4284355 h 5973007"/>
              <a:gd name="connsiteX72423" fmla="*/ 1186777 w 6884782"/>
              <a:gd name="connsiteY72423" fmla="*/ 4288278 h 5973007"/>
              <a:gd name="connsiteX72424" fmla="*/ 1187242 w 6884782"/>
              <a:gd name="connsiteY72424" fmla="*/ 4288278 h 5973007"/>
              <a:gd name="connsiteX72425" fmla="*/ 1189100 w 6884782"/>
              <a:gd name="connsiteY72425" fmla="*/ 4293441 h 5973007"/>
              <a:gd name="connsiteX72426" fmla="*/ 1185073 w 6884782"/>
              <a:gd name="connsiteY72426" fmla="*/ 4295403 h 5973007"/>
              <a:gd name="connsiteX72427" fmla="*/ 1183369 w 6884782"/>
              <a:gd name="connsiteY72427" fmla="*/ 4294164 h 5973007"/>
              <a:gd name="connsiteX72428" fmla="*/ 1183214 w 6884782"/>
              <a:gd name="connsiteY72428" fmla="*/ 4293235 h 5973007"/>
              <a:gd name="connsiteX72429" fmla="*/ 1183214 w 6884782"/>
              <a:gd name="connsiteY72429" fmla="*/ 4291789 h 5973007"/>
              <a:gd name="connsiteX72430" fmla="*/ 1177948 w 6884782"/>
              <a:gd name="connsiteY72430" fmla="*/ 4295609 h 5973007"/>
              <a:gd name="connsiteX72431" fmla="*/ 1164472 w 6884782"/>
              <a:gd name="connsiteY72431" fmla="*/ 4298088 h 5973007"/>
              <a:gd name="connsiteX72432" fmla="*/ 1166020 w 6884782"/>
              <a:gd name="connsiteY72432" fmla="*/ 4286420 h 5973007"/>
              <a:gd name="connsiteX72433" fmla="*/ 1166330 w 6884782"/>
              <a:gd name="connsiteY72433" fmla="*/ 4286420 h 5973007"/>
              <a:gd name="connsiteX72434" fmla="*/ 1166020 w 6884782"/>
              <a:gd name="connsiteY72434" fmla="*/ 4285697 h 5973007"/>
              <a:gd name="connsiteX72435" fmla="*/ 1164162 w 6884782"/>
              <a:gd name="connsiteY72435" fmla="*/ 4282289 h 5973007"/>
              <a:gd name="connsiteX72436" fmla="*/ 1165246 w 6884782"/>
              <a:gd name="connsiteY72436" fmla="*/ 4280844 h 5973007"/>
              <a:gd name="connsiteX72437" fmla="*/ 1156262 w 6884782"/>
              <a:gd name="connsiteY72437" fmla="*/ 4291582 h 5973007"/>
              <a:gd name="connsiteX72438" fmla="*/ 1149137 w 6884782"/>
              <a:gd name="connsiteY72438" fmla="*/ 4291582 h 5973007"/>
              <a:gd name="connsiteX72439" fmla="*/ 1149137 w 6884782"/>
              <a:gd name="connsiteY72439" fmla="*/ 4291789 h 5973007"/>
              <a:gd name="connsiteX72440" fmla="*/ 1149446 w 6884782"/>
              <a:gd name="connsiteY72440" fmla="*/ 4292615 h 5973007"/>
              <a:gd name="connsiteX72441" fmla="*/ 1150221 w 6884782"/>
              <a:gd name="connsiteY72441" fmla="*/ 4292718 h 5973007"/>
              <a:gd name="connsiteX72442" fmla="*/ 1149446 w 6884782"/>
              <a:gd name="connsiteY72442" fmla="*/ 4294370 h 5973007"/>
              <a:gd name="connsiteX72443" fmla="*/ 1143406 w 6884782"/>
              <a:gd name="connsiteY72443" fmla="*/ 4296229 h 5973007"/>
              <a:gd name="connsiteX72444" fmla="*/ 1142476 w 6884782"/>
              <a:gd name="connsiteY72444" fmla="*/ 4293647 h 5973007"/>
              <a:gd name="connsiteX72445" fmla="*/ 1143251 w 6884782"/>
              <a:gd name="connsiteY72445" fmla="*/ 4292409 h 5973007"/>
              <a:gd name="connsiteX72446" fmla="*/ 1137984 w 6884782"/>
              <a:gd name="connsiteY72446" fmla="*/ 4293441 h 5973007"/>
              <a:gd name="connsiteX72447" fmla="*/ 1120791 w 6884782"/>
              <a:gd name="connsiteY72447" fmla="*/ 4290653 h 5973007"/>
              <a:gd name="connsiteX72448" fmla="*/ 1109793 w 6884782"/>
              <a:gd name="connsiteY72448" fmla="*/ 4273100 h 5973007"/>
              <a:gd name="connsiteX72449" fmla="*/ 1110258 w 6884782"/>
              <a:gd name="connsiteY72449" fmla="*/ 4267111 h 5973007"/>
              <a:gd name="connsiteX72450" fmla="*/ 1107005 w 6884782"/>
              <a:gd name="connsiteY72450" fmla="*/ 4267421 h 5973007"/>
              <a:gd name="connsiteX72451" fmla="*/ 1099105 w 6884782"/>
              <a:gd name="connsiteY72451" fmla="*/ 4267317 h 5973007"/>
              <a:gd name="connsiteX72452" fmla="*/ 1087798 w 6884782"/>
              <a:gd name="connsiteY72452" fmla="*/ 4268453 h 5973007"/>
              <a:gd name="connsiteX72453" fmla="*/ 1077419 w 6884782"/>
              <a:gd name="connsiteY72453" fmla="*/ 4264633 h 5973007"/>
              <a:gd name="connsiteX72454" fmla="*/ 1082066 w 6884782"/>
              <a:gd name="connsiteY72454" fmla="*/ 4263600 h 5973007"/>
              <a:gd name="connsiteX72455" fmla="*/ 1077419 w 6884782"/>
              <a:gd name="connsiteY72455" fmla="*/ 4260296 h 5973007"/>
              <a:gd name="connsiteX72456" fmla="*/ 1071689 w 6884782"/>
              <a:gd name="connsiteY72456" fmla="*/ 4262568 h 5973007"/>
              <a:gd name="connsiteX72457" fmla="*/ 1074631 w 6884782"/>
              <a:gd name="connsiteY72457" fmla="*/ 4258231 h 5973007"/>
              <a:gd name="connsiteX72458" fmla="*/ 1085939 w 6884782"/>
              <a:gd name="connsiteY72458" fmla="*/ 4253894 h 5973007"/>
              <a:gd name="connsiteX72459" fmla="*/ 1097401 w 6884782"/>
              <a:gd name="connsiteY72459" fmla="*/ 4254927 h 5973007"/>
              <a:gd name="connsiteX72460" fmla="*/ 1104217 w 6884782"/>
              <a:gd name="connsiteY72460" fmla="*/ 4252345 h 5973007"/>
              <a:gd name="connsiteX72461" fmla="*/ 1110723 w 6884782"/>
              <a:gd name="connsiteY72461" fmla="*/ 4252242 h 5973007"/>
              <a:gd name="connsiteX72462" fmla="*/ 1109793 w 6884782"/>
              <a:gd name="connsiteY72462" fmla="*/ 4251003 h 5973007"/>
              <a:gd name="connsiteX72463" fmla="*/ 1110723 w 6884782"/>
              <a:gd name="connsiteY72463" fmla="*/ 4250797 h 5973007"/>
              <a:gd name="connsiteX72464" fmla="*/ 1109174 w 6884782"/>
              <a:gd name="connsiteY72464" fmla="*/ 4249454 h 5973007"/>
              <a:gd name="connsiteX72465" fmla="*/ 1104217 w 6884782"/>
              <a:gd name="connsiteY72465" fmla="*/ 4250590 h 5973007"/>
              <a:gd name="connsiteX72466" fmla="*/ 1096317 w 6884782"/>
              <a:gd name="connsiteY72466" fmla="*/ 4249557 h 5973007"/>
              <a:gd name="connsiteX72467" fmla="*/ 1084855 w 6884782"/>
              <a:gd name="connsiteY72467" fmla="*/ 4251726 h 5973007"/>
              <a:gd name="connsiteX72468" fmla="*/ 1090586 w 6884782"/>
              <a:gd name="connsiteY72468" fmla="*/ 4249557 h 5973007"/>
              <a:gd name="connsiteX72469" fmla="*/ 1077419 w 6884782"/>
              <a:gd name="connsiteY72469" fmla="*/ 4249557 h 5973007"/>
              <a:gd name="connsiteX72470" fmla="*/ 1080363 w 6884782"/>
              <a:gd name="connsiteY72470" fmla="*/ 4250590 h 5973007"/>
              <a:gd name="connsiteX72471" fmla="*/ 1071689 w 6884782"/>
              <a:gd name="connsiteY72471" fmla="*/ 4249557 h 5973007"/>
              <a:gd name="connsiteX72472" fmla="*/ 1064408 w 6884782"/>
              <a:gd name="connsiteY72472" fmla="*/ 4252242 h 5973007"/>
              <a:gd name="connsiteX72473" fmla="*/ 1063324 w 6884782"/>
              <a:gd name="connsiteY72473" fmla="*/ 4251932 h 5973007"/>
              <a:gd name="connsiteX72474" fmla="*/ 1053101 w 6884782"/>
              <a:gd name="connsiteY72474" fmla="*/ 4257921 h 5973007"/>
              <a:gd name="connsiteX72475" fmla="*/ 1050003 w 6884782"/>
              <a:gd name="connsiteY72475" fmla="*/ 4257095 h 5973007"/>
              <a:gd name="connsiteX72476" fmla="*/ 1049693 w 6884782"/>
              <a:gd name="connsiteY72476" fmla="*/ 4256475 h 5973007"/>
              <a:gd name="connsiteX72477" fmla="*/ 1048919 w 6884782"/>
              <a:gd name="connsiteY72477" fmla="*/ 4258231 h 5973007"/>
              <a:gd name="connsiteX72478" fmla="*/ 1046441 w 6884782"/>
              <a:gd name="connsiteY72478" fmla="*/ 4256992 h 5973007"/>
              <a:gd name="connsiteX72479" fmla="*/ 1047525 w 6884782"/>
              <a:gd name="connsiteY72479" fmla="*/ 4253584 h 5973007"/>
              <a:gd name="connsiteX72480" fmla="*/ 1048919 w 6884782"/>
              <a:gd name="connsiteY72480" fmla="*/ 4253378 h 5973007"/>
              <a:gd name="connsiteX72481" fmla="*/ 1049229 w 6884782"/>
              <a:gd name="connsiteY72481" fmla="*/ 4253584 h 5973007"/>
              <a:gd name="connsiteX72482" fmla="*/ 1050777 w 6884782"/>
              <a:gd name="connsiteY72482" fmla="*/ 4251312 h 5973007"/>
              <a:gd name="connsiteX72483" fmla="*/ 1047835 w 6884782"/>
              <a:gd name="connsiteY72483" fmla="*/ 4250590 h 5973007"/>
              <a:gd name="connsiteX72484" fmla="*/ 1042103 w 6884782"/>
              <a:gd name="connsiteY72484" fmla="*/ 4248421 h 5973007"/>
              <a:gd name="connsiteX72485" fmla="*/ 1038231 w 6884782"/>
              <a:gd name="connsiteY72485" fmla="*/ 4248421 h 5973007"/>
              <a:gd name="connsiteX72486" fmla="*/ 1039006 w 6884782"/>
              <a:gd name="connsiteY72486" fmla="*/ 4252035 h 5973007"/>
              <a:gd name="connsiteX72487" fmla="*/ 1038386 w 6884782"/>
              <a:gd name="connsiteY72487" fmla="*/ 4256888 h 5973007"/>
              <a:gd name="connsiteX72488" fmla="*/ 1034204 w 6884782"/>
              <a:gd name="connsiteY72488" fmla="*/ 4256063 h 5973007"/>
              <a:gd name="connsiteX72489" fmla="*/ 1030331 w 6884782"/>
              <a:gd name="connsiteY72489" fmla="*/ 4258231 h 5973007"/>
              <a:gd name="connsiteX72490" fmla="*/ 1025375 w 6884782"/>
              <a:gd name="connsiteY72490" fmla="*/ 4259986 h 5973007"/>
              <a:gd name="connsiteX72491" fmla="*/ 1024135 w 6884782"/>
              <a:gd name="connsiteY72491" fmla="*/ 4271654 h 5973007"/>
              <a:gd name="connsiteX72492" fmla="*/ 1025220 w 6884782"/>
              <a:gd name="connsiteY72492" fmla="*/ 4275888 h 5973007"/>
              <a:gd name="connsiteX72493" fmla="*/ 1026459 w 6884782"/>
              <a:gd name="connsiteY72493" fmla="*/ 4275062 h 5973007"/>
              <a:gd name="connsiteX72494" fmla="*/ 1030641 w 6884782"/>
              <a:gd name="connsiteY72494" fmla="*/ 4272997 h 5973007"/>
              <a:gd name="connsiteX72495" fmla="*/ 1032964 w 6884782"/>
              <a:gd name="connsiteY72495" fmla="*/ 4281050 h 5973007"/>
              <a:gd name="connsiteX72496" fmla="*/ 1032190 w 6884782"/>
              <a:gd name="connsiteY72496" fmla="*/ 4281876 h 5973007"/>
              <a:gd name="connsiteX72497" fmla="*/ 1030176 w 6884782"/>
              <a:gd name="connsiteY72497" fmla="*/ 4283115 h 5973007"/>
              <a:gd name="connsiteX72498" fmla="*/ 1032964 w 6884782"/>
              <a:gd name="connsiteY72498" fmla="*/ 4284768 h 5973007"/>
              <a:gd name="connsiteX72499" fmla="*/ 1043807 w 6884782"/>
              <a:gd name="connsiteY72499" fmla="*/ 4285387 h 5973007"/>
              <a:gd name="connsiteX72500" fmla="*/ 1044582 w 6884782"/>
              <a:gd name="connsiteY72500" fmla="*/ 4293028 h 5973007"/>
              <a:gd name="connsiteX72501" fmla="*/ 1033739 w 6884782"/>
              <a:gd name="connsiteY72501" fmla="*/ 4293544 h 5973007"/>
              <a:gd name="connsiteX72502" fmla="*/ 1028008 w 6884782"/>
              <a:gd name="connsiteY72502" fmla="*/ 4298294 h 5973007"/>
              <a:gd name="connsiteX72503" fmla="*/ 1024600 w 6884782"/>
              <a:gd name="connsiteY72503" fmla="*/ 4310995 h 5973007"/>
              <a:gd name="connsiteX72504" fmla="*/ 1023051 w 6884782"/>
              <a:gd name="connsiteY72504" fmla="*/ 4313782 h 5973007"/>
              <a:gd name="connsiteX72505" fmla="*/ 1024445 w 6884782"/>
              <a:gd name="connsiteY72505" fmla="*/ 4314196 h 5973007"/>
              <a:gd name="connsiteX72506" fmla="*/ 1031571 w 6884782"/>
              <a:gd name="connsiteY72506" fmla="*/ 4328548 h 5973007"/>
              <a:gd name="connsiteX72507" fmla="*/ 1032345 w 6884782"/>
              <a:gd name="connsiteY72507" fmla="*/ 4329891 h 5973007"/>
              <a:gd name="connsiteX72508" fmla="*/ 1033584 w 6884782"/>
              <a:gd name="connsiteY72508" fmla="*/ 4327722 h 5973007"/>
              <a:gd name="connsiteX72509" fmla="*/ 1038386 w 6884782"/>
              <a:gd name="connsiteY72509" fmla="*/ 4326173 h 5973007"/>
              <a:gd name="connsiteX72510" fmla="*/ 1043807 w 6884782"/>
              <a:gd name="connsiteY72510" fmla="*/ 4327309 h 5973007"/>
              <a:gd name="connsiteX72511" fmla="*/ 1041174 w 6884782"/>
              <a:gd name="connsiteY72511" fmla="*/ 4331956 h 5973007"/>
              <a:gd name="connsiteX72512" fmla="*/ 1033429 w 6884782"/>
              <a:gd name="connsiteY72512" fmla="*/ 4331956 h 5973007"/>
              <a:gd name="connsiteX72513" fmla="*/ 1032500 w 6884782"/>
              <a:gd name="connsiteY72513" fmla="*/ 4330407 h 5973007"/>
              <a:gd name="connsiteX72514" fmla="*/ 1038851 w 6884782"/>
              <a:gd name="connsiteY72514" fmla="*/ 4342798 h 5973007"/>
              <a:gd name="connsiteX72515" fmla="*/ 1023516 w 6884782"/>
              <a:gd name="connsiteY72515" fmla="*/ 4374910 h 5973007"/>
              <a:gd name="connsiteX72516" fmla="*/ 1020728 w 6884782"/>
              <a:gd name="connsiteY72516" fmla="*/ 4374497 h 5973007"/>
              <a:gd name="connsiteX72517" fmla="*/ 1020418 w 6884782"/>
              <a:gd name="connsiteY72517" fmla="*/ 4374807 h 5973007"/>
              <a:gd name="connsiteX72518" fmla="*/ 1017630 w 6884782"/>
              <a:gd name="connsiteY72518" fmla="*/ 4375736 h 5973007"/>
              <a:gd name="connsiteX72519" fmla="*/ 1016081 w 6884782"/>
              <a:gd name="connsiteY72519" fmla="*/ 4374704 h 5973007"/>
              <a:gd name="connsiteX72520" fmla="*/ 1011279 w 6884782"/>
              <a:gd name="connsiteY72520" fmla="*/ 4375633 h 5973007"/>
              <a:gd name="connsiteX72521" fmla="*/ 1010350 w 6884782"/>
              <a:gd name="connsiteY72521" fmla="*/ 4375530 h 5973007"/>
              <a:gd name="connsiteX72522" fmla="*/ 1008646 w 6884782"/>
              <a:gd name="connsiteY72522" fmla="*/ 4376046 h 5973007"/>
              <a:gd name="connsiteX72523" fmla="*/ 1009111 w 6884782"/>
              <a:gd name="connsiteY72523" fmla="*/ 4379350 h 5973007"/>
              <a:gd name="connsiteX72524" fmla="*/ 1006787 w 6884782"/>
              <a:gd name="connsiteY72524" fmla="*/ 4381415 h 5973007"/>
              <a:gd name="connsiteX72525" fmla="*/ 1003379 w 6884782"/>
              <a:gd name="connsiteY72525" fmla="*/ 4381209 h 5973007"/>
              <a:gd name="connsiteX72526" fmla="*/ 1001366 w 6884782"/>
              <a:gd name="connsiteY72526" fmla="*/ 4379867 h 5973007"/>
              <a:gd name="connsiteX72527" fmla="*/ 1000901 w 6884782"/>
              <a:gd name="connsiteY72527" fmla="*/ 4376975 h 5973007"/>
              <a:gd name="connsiteX72528" fmla="*/ 1000901 w 6884782"/>
              <a:gd name="connsiteY72528" fmla="*/ 4376769 h 5973007"/>
              <a:gd name="connsiteX72529" fmla="*/ 993621 w 6884782"/>
              <a:gd name="connsiteY72529" fmla="*/ 4372948 h 5973007"/>
              <a:gd name="connsiteX72530" fmla="*/ 992846 w 6884782"/>
              <a:gd name="connsiteY72530" fmla="*/ 4376975 h 5973007"/>
              <a:gd name="connsiteX72531" fmla="*/ 996099 w 6884782"/>
              <a:gd name="connsiteY72531" fmla="*/ 4383790 h 5973007"/>
              <a:gd name="connsiteX72532" fmla="*/ 1005238 w 6884782"/>
              <a:gd name="connsiteY72532" fmla="*/ 4389573 h 5973007"/>
              <a:gd name="connsiteX72533" fmla="*/ 1007407 w 6884782"/>
              <a:gd name="connsiteY72533" fmla="*/ 4394736 h 5973007"/>
              <a:gd name="connsiteX72534" fmla="*/ 1015152 w 6884782"/>
              <a:gd name="connsiteY72534" fmla="*/ 4400414 h 5973007"/>
              <a:gd name="connsiteX72535" fmla="*/ 1016236 w 6884782"/>
              <a:gd name="connsiteY72535" fmla="*/ 4402996 h 5973007"/>
              <a:gd name="connsiteX72536" fmla="*/ 1013758 w 6884782"/>
              <a:gd name="connsiteY72536" fmla="*/ 4401550 h 5973007"/>
              <a:gd name="connsiteX72537" fmla="*/ 1011124 w 6884782"/>
              <a:gd name="connsiteY72537" fmla="*/ 4398866 h 5973007"/>
              <a:gd name="connsiteX72538" fmla="*/ 1008491 w 6884782"/>
              <a:gd name="connsiteY72538" fmla="*/ 4398659 h 5973007"/>
              <a:gd name="connsiteX72539" fmla="*/ 1007407 w 6884782"/>
              <a:gd name="connsiteY72539" fmla="*/ 4395975 h 5973007"/>
              <a:gd name="connsiteX72540" fmla="*/ 999352 w 6884782"/>
              <a:gd name="connsiteY72540" fmla="*/ 4395458 h 5973007"/>
              <a:gd name="connsiteX72541" fmla="*/ 993156 w 6884782"/>
              <a:gd name="connsiteY72541" fmla="*/ 4387508 h 5973007"/>
              <a:gd name="connsiteX72542" fmla="*/ 978596 w 6884782"/>
              <a:gd name="connsiteY72542" fmla="*/ 4386475 h 5973007"/>
              <a:gd name="connsiteX72543" fmla="*/ 975498 w 6884782"/>
              <a:gd name="connsiteY72543" fmla="*/ 4407849 h 5973007"/>
              <a:gd name="connsiteX72544" fmla="*/ 946997 w 6884782"/>
              <a:gd name="connsiteY72544" fmla="*/ 4413528 h 5973007"/>
              <a:gd name="connsiteX72545" fmla="*/ 946068 w 6884782"/>
              <a:gd name="connsiteY72545" fmla="*/ 4416316 h 5973007"/>
              <a:gd name="connsiteX72546" fmla="*/ 945913 w 6884782"/>
              <a:gd name="connsiteY72546" fmla="*/ 4418071 h 5973007"/>
              <a:gd name="connsiteX72547" fmla="*/ 947617 w 6884782"/>
              <a:gd name="connsiteY72547" fmla="*/ 4419310 h 5973007"/>
              <a:gd name="connsiteX72548" fmla="*/ 949166 w 6884782"/>
              <a:gd name="connsiteY72548" fmla="*/ 4426848 h 5973007"/>
              <a:gd name="connsiteX72549" fmla="*/ 948391 w 6884782"/>
              <a:gd name="connsiteY72549" fmla="*/ 4427261 h 5973007"/>
              <a:gd name="connsiteX72550" fmla="*/ 952264 w 6884782"/>
              <a:gd name="connsiteY72550" fmla="*/ 4430875 h 5973007"/>
              <a:gd name="connsiteX72551" fmla="*/ 942040 w 6884782"/>
              <a:gd name="connsiteY72551" fmla="*/ 4438929 h 5973007"/>
              <a:gd name="connsiteX72552" fmla="*/ 940182 w 6884782"/>
              <a:gd name="connsiteY72552" fmla="*/ 4439445 h 5973007"/>
              <a:gd name="connsiteX72553" fmla="*/ 940646 w 6884782"/>
              <a:gd name="connsiteY72553" fmla="*/ 4440168 h 5973007"/>
              <a:gd name="connsiteX72554" fmla="*/ 939407 w 6884782"/>
              <a:gd name="connsiteY72554" fmla="*/ 4439858 h 5973007"/>
              <a:gd name="connsiteX72555" fmla="*/ 939252 w 6884782"/>
              <a:gd name="connsiteY72555" fmla="*/ 4439962 h 5973007"/>
              <a:gd name="connsiteX72556" fmla="*/ 938478 w 6884782"/>
              <a:gd name="connsiteY72556" fmla="*/ 4440375 h 5973007"/>
              <a:gd name="connsiteX72557" fmla="*/ 934915 w 6884782"/>
              <a:gd name="connsiteY72557" fmla="*/ 4440065 h 5973007"/>
              <a:gd name="connsiteX72558" fmla="*/ 934296 w 6884782"/>
              <a:gd name="connsiteY72558" fmla="*/ 4438103 h 5973007"/>
              <a:gd name="connsiteX72559" fmla="*/ 936774 w 6884782"/>
              <a:gd name="connsiteY72559" fmla="*/ 4433457 h 5973007"/>
              <a:gd name="connsiteX72560" fmla="*/ 933521 w 6884782"/>
              <a:gd name="connsiteY72560" fmla="*/ 4428191 h 5973007"/>
              <a:gd name="connsiteX72561" fmla="*/ 932282 w 6884782"/>
              <a:gd name="connsiteY72561" fmla="*/ 4426435 h 5973007"/>
              <a:gd name="connsiteX72562" fmla="*/ 931198 w 6884782"/>
              <a:gd name="connsiteY72562" fmla="*/ 4426538 h 5973007"/>
              <a:gd name="connsiteX72563" fmla="*/ 933366 w 6884782"/>
              <a:gd name="connsiteY72563" fmla="*/ 4433043 h 5973007"/>
              <a:gd name="connsiteX72564" fmla="*/ 927945 w 6884782"/>
              <a:gd name="connsiteY72564" fmla="*/ 4433973 h 5973007"/>
              <a:gd name="connsiteX72565" fmla="*/ 924693 w 6884782"/>
              <a:gd name="connsiteY72565" fmla="*/ 4424783 h 5973007"/>
              <a:gd name="connsiteX72566" fmla="*/ 908118 w 6884782"/>
              <a:gd name="connsiteY72566" fmla="*/ 4430049 h 5973007"/>
              <a:gd name="connsiteX72567" fmla="*/ 909668 w 6884782"/>
              <a:gd name="connsiteY72567" fmla="*/ 4444092 h 5973007"/>
              <a:gd name="connsiteX72568" fmla="*/ 912455 w 6884782"/>
              <a:gd name="connsiteY72568" fmla="*/ 4445021 h 5973007"/>
              <a:gd name="connsiteX72569" fmla="*/ 915398 w 6884782"/>
              <a:gd name="connsiteY72569" fmla="*/ 4444608 h 5973007"/>
              <a:gd name="connsiteX72570" fmla="*/ 915398 w 6884782"/>
              <a:gd name="connsiteY72570" fmla="*/ 4443679 h 5973007"/>
              <a:gd name="connsiteX72571" fmla="*/ 917257 w 6884782"/>
              <a:gd name="connsiteY72571" fmla="*/ 4439858 h 5973007"/>
              <a:gd name="connsiteX72572" fmla="*/ 915863 w 6884782"/>
              <a:gd name="connsiteY72572" fmla="*/ 4439342 h 5973007"/>
              <a:gd name="connsiteX72573" fmla="*/ 914469 w 6884782"/>
              <a:gd name="connsiteY72573" fmla="*/ 4435522 h 5973007"/>
              <a:gd name="connsiteX72574" fmla="*/ 914934 w 6884782"/>
              <a:gd name="connsiteY72574" fmla="*/ 4436244 h 5973007"/>
              <a:gd name="connsiteX72575" fmla="*/ 916328 w 6884782"/>
              <a:gd name="connsiteY72575" fmla="*/ 4435315 h 5973007"/>
              <a:gd name="connsiteX72576" fmla="*/ 916018 w 6884782"/>
              <a:gd name="connsiteY72576" fmla="*/ 4434489 h 5973007"/>
              <a:gd name="connsiteX72577" fmla="*/ 917876 w 6884782"/>
              <a:gd name="connsiteY72577" fmla="*/ 4434386 h 5973007"/>
              <a:gd name="connsiteX72578" fmla="*/ 922833 w 6884782"/>
              <a:gd name="connsiteY72578" fmla="*/ 4438206 h 5973007"/>
              <a:gd name="connsiteX72579" fmla="*/ 921594 w 6884782"/>
              <a:gd name="connsiteY72579" fmla="*/ 4439858 h 5973007"/>
              <a:gd name="connsiteX72580" fmla="*/ 923763 w 6884782"/>
              <a:gd name="connsiteY72580" fmla="*/ 4439962 h 5973007"/>
              <a:gd name="connsiteX72581" fmla="*/ 925776 w 6884782"/>
              <a:gd name="connsiteY72581" fmla="*/ 4441407 h 5973007"/>
              <a:gd name="connsiteX72582" fmla="*/ 928409 w 6884782"/>
              <a:gd name="connsiteY72582" fmla="*/ 4444608 h 5973007"/>
              <a:gd name="connsiteX72583" fmla="*/ 929494 w 6884782"/>
              <a:gd name="connsiteY72583" fmla="*/ 4443059 h 5973007"/>
              <a:gd name="connsiteX72584" fmla="*/ 931507 w 6884782"/>
              <a:gd name="connsiteY72584" fmla="*/ 4441924 h 5973007"/>
              <a:gd name="connsiteX72585" fmla="*/ 933521 w 6884782"/>
              <a:gd name="connsiteY72585" fmla="*/ 4442440 h 5973007"/>
              <a:gd name="connsiteX72586" fmla="*/ 933676 w 6884782"/>
              <a:gd name="connsiteY72586" fmla="*/ 4443266 h 5973007"/>
              <a:gd name="connsiteX72587" fmla="*/ 934605 w 6884782"/>
              <a:gd name="connsiteY72587" fmla="*/ 4446467 h 5973007"/>
              <a:gd name="connsiteX72588" fmla="*/ 932902 w 6884782"/>
              <a:gd name="connsiteY72588" fmla="*/ 4448635 h 5973007"/>
              <a:gd name="connsiteX72589" fmla="*/ 931043 w 6884782"/>
              <a:gd name="connsiteY72589" fmla="*/ 4449565 h 5973007"/>
              <a:gd name="connsiteX72590" fmla="*/ 931353 w 6884782"/>
              <a:gd name="connsiteY72590" fmla="*/ 4450494 h 5973007"/>
              <a:gd name="connsiteX72591" fmla="*/ 929029 w 6884782"/>
              <a:gd name="connsiteY72591" fmla="*/ 4457722 h 5973007"/>
              <a:gd name="connsiteX72592" fmla="*/ 928100 w 6884782"/>
              <a:gd name="connsiteY72592" fmla="*/ 4457515 h 5973007"/>
              <a:gd name="connsiteX72593" fmla="*/ 929494 w 6884782"/>
              <a:gd name="connsiteY72593" fmla="*/ 4463091 h 5973007"/>
              <a:gd name="connsiteX72594" fmla="*/ 923143 w 6884782"/>
              <a:gd name="connsiteY72594" fmla="*/ 4464640 h 5973007"/>
              <a:gd name="connsiteX72595" fmla="*/ 917102 w 6884782"/>
              <a:gd name="connsiteY72595" fmla="*/ 4462575 h 5973007"/>
              <a:gd name="connsiteX72596" fmla="*/ 915398 w 6884782"/>
              <a:gd name="connsiteY72596" fmla="*/ 4461645 h 5973007"/>
              <a:gd name="connsiteX72597" fmla="*/ 915398 w 6884782"/>
              <a:gd name="connsiteY72597" fmla="*/ 4462575 h 5973007"/>
              <a:gd name="connsiteX72598" fmla="*/ 914469 w 6884782"/>
              <a:gd name="connsiteY72598" fmla="*/ 4461542 h 5973007"/>
              <a:gd name="connsiteX72599" fmla="*/ 914469 w 6884782"/>
              <a:gd name="connsiteY72599" fmla="*/ 4461645 h 5973007"/>
              <a:gd name="connsiteX72600" fmla="*/ 913229 w 6884782"/>
              <a:gd name="connsiteY72600" fmla="*/ 4471042 h 5973007"/>
              <a:gd name="connsiteX72601" fmla="*/ 907344 w 6884782"/>
              <a:gd name="connsiteY72601" fmla="*/ 4459787 h 5973007"/>
              <a:gd name="connsiteX72602" fmla="*/ 902542 w 6884782"/>
              <a:gd name="connsiteY72602" fmla="*/ 4450391 h 5973007"/>
              <a:gd name="connsiteX72603" fmla="*/ 902232 w 6884782"/>
              <a:gd name="connsiteY72603" fmla="*/ 4450494 h 5973007"/>
              <a:gd name="connsiteX72604" fmla="*/ 902542 w 6884782"/>
              <a:gd name="connsiteY72604" fmla="*/ 4450287 h 5973007"/>
              <a:gd name="connsiteX72605" fmla="*/ 902232 w 6884782"/>
              <a:gd name="connsiteY72605" fmla="*/ 4449771 h 5973007"/>
              <a:gd name="connsiteX72606" fmla="*/ 901767 w 6884782"/>
              <a:gd name="connsiteY72606" fmla="*/ 4448842 h 5973007"/>
              <a:gd name="connsiteX72607" fmla="*/ 899444 w 6884782"/>
              <a:gd name="connsiteY72607" fmla="*/ 4449461 h 5973007"/>
              <a:gd name="connsiteX72608" fmla="*/ 897740 w 6884782"/>
              <a:gd name="connsiteY72608" fmla="*/ 4448119 h 5973007"/>
              <a:gd name="connsiteX72609" fmla="*/ 895881 w 6884782"/>
              <a:gd name="connsiteY72609" fmla="*/ 4444918 h 5973007"/>
              <a:gd name="connsiteX72610" fmla="*/ 896037 w 6884782"/>
              <a:gd name="connsiteY72610" fmla="*/ 4443989 h 5973007"/>
              <a:gd name="connsiteX72611" fmla="*/ 895417 w 6884782"/>
              <a:gd name="connsiteY72611" fmla="*/ 4444608 h 5973007"/>
              <a:gd name="connsiteX72612" fmla="*/ 892009 w 6884782"/>
              <a:gd name="connsiteY72612" fmla="*/ 4444815 h 5973007"/>
              <a:gd name="connsiteX72613" fmla="*/ 889840 w 6884782"/>
              <a:gd name="connsiteY72613" fmla="*/ 4443576 h 5973007"/>
              <a:gd name="connsiteX72614" fmla="*/ 888911 w 6884782"/>
              <a:gd name="connsiteY72614" fmla="*/ 4440788 h 5973007"/>
              <a:gd name="connsiteX72615" fmla="*/ 889685 w 6884782"/>
              <a:gd name="connsiteY72615" fmla="*/ 4438413 h 5973007"/>
              <a:gd name="connsiteX72616" fmla="*/ 891854 w 6884782"/>
              <a:gd name="connsiteY72616" fmla="*/ 4436761 h 5973007"/>
              <a:gd name="connsiteX72617" fmla="*/ 893404 w 6884782"/>
              <a:gd name="connsiteY72617" fmla="*/ 4436038 h 5973007"/>
              <a:gd name="connsiteX72618" fmla="*/ 892938 w 6884782"/>
              <a:gd name="connsiteY72618" fmla="*/ 4435418 h 5973007"/>
              <a:gd name="connsiteX72619" fmla="*/ 884884 w 6884782"/>
              <a:gd name="connsiteY72619" fmla="*/ 4436141 h 5973007"/>
              <a:gd name="connsiteX72620" fmla="*/ 875280 w 6884782"/>
              <a:gd name="connsiteY72620" fmla="*/ 4436761 h 5973007"/>
              <a:gd name="connsiteX72621" fmla="*/ 861959 w 6884782"/>
              <a:gd name="connsiteY72621" fmla="*/ 4435832 h 5973007"/>
              <a:gd name="connsiteX72622" fmla="*/ 854834 w 6884782"/>
              <a:gd name="connsiteY72622" fmla="*/ 4442956 h 5973007"/>
              <a:gd name="connsiteX72623" fmla="*/ 849102 w 6884782"/>
              <a:gd name="connsiteY72623" fmla="*/ 4465466 h 5973007"/>
              <a:gd name="connsiteX72624" fmla="*/ 848328 w 6884782"/>
              <a:gd name="connsiteY72624" fmla="*/ 4475585 h 5973007"/>
              <a:gd name="connsiteX72625" fmla="*/ 841357 w 6884782"/>
              <a:gd name="connsiteY72625" fmla="*/ 4480232 h 5973007"/>
              <a:gd name="connsiteX72626" fmla="*/ 844611 w 6884782"/>
              <a:gd name="connsiteY72626" fmla="*/ 4434696 h 5973007"/>
              <a:gd name="connsiteX72627" fmla="*/ 825868 w 6884782"/>
              <a:gd name="connsiteY72627" fmla="*/ 4434696 h 5973007"/>
              <a:gd name="connsiteX72628" fmla="*/ 822306 w 6884782"/>
              <a:gd name="connsiteY72628" fmla="*/ 4439239 h 5973007"/>
              <a:gd name="connsiteX72629" fmla="*/ 823235 w 6884782"/>
              <a:gd name="connsiteY72629" fmla="*/ 4440891 h 5973007"/>
              <a:gd name="connsiteX72630" fmla="*/ 819208 w 6884782"/>
              <a:gd name="connsiteY72630" fmla="*/ 4444815 h 5973007"/>
              <a:gd name="connsiteX72631" fmla="*/ 818898 w 6884782"/>
              <a:gd name="connsiteY72631" fmla="*/ 4443472 h 5973007"/>
              <a:gd name="connsiteX72632" fmla="*/ 818743 w 6884782"/>
              <a:gd name="connsiteY72632" fmla="*/ 4443472 h 5973007"/>
              <a:gd name="connsiteX72633" fmla="*/ 813012 w 6884782"/>
              <a:gd name="connsiteY72633" fmla="*/ 4445228 h 5973007"/>
              <a:gd name="connsiteX72634" fmla="*/ 810068 w 6884782"/>
              <a:gd name="connsiteY72634" fmla="*/ 4428500 h 5973007"/>
              <a:gd name="connsiteX72635" fmla="*/ 790087 w 6884782"/>
              <a:gd name="connsiteY72635" fmla="*/ 4428810 h 5973007"/>
              <a:gd name="connsiteX72636" fmla="*/ 789467 w 6884782"/>
              <a:gd name="connsiteY72636" fmla="*/ 4428707 h 5973007"/>
              <a:gd name="connsiteX72637" fmla="*/ 787609 w 6884782"/>
              <a:gd name="connsiteY72637" fmla="*/ 4431495 h 5973007"/>
              <a:gd name="connsiteX72638" fmla="*/ 781103 w 6884782"/>
              <a:gd name="connsiteY72638" fmla="*/ 4444505 h 5973007"/>
              <a:gd name="connsiteX72639" fmla="*/ 780174 w 6884782"/>
              <a:gd name="connsiteY72639" fmla="*/ 4445847 h 5973007"/>
              <a:gd name="connsiteX72640" fmla="*/ 782962 w 6884782"/>
              <a:gd name="connsiteY72640" fmla="*/ 4447706 h 5973007"/>
              <a:gd name="connsiteX72641" fmla="*/ 782652 w 6884782"/>
              <a:gd name="connsiteY72641" fmla="*/ 4448635 h 5973007"/>
              <a:gd name="connsiteX72642" fmla="*/ 783736 w 6884782"/>
              <a:gd name="connsiteY72642" fmla="*/ 4448739 h 5973007"/>
              <a:gd name="connsiteX72643" fmla="*/ 786370 w 6884782"/>
              <a:gd name="connsiteY72643" fmla="*/ 4450287 h 5973007"/>
              <a:gd name="connsiteX72644" fmla="*/ 788538 w 6884782"/>
              <a:gd name="connsiteY72644" fmla="*/ 4461645 h 5973007"/>
              <a:gd name="connsiteX72645" fmla="*/ 781103 w 6884782"/>
              <a:gd name="connsiteY72645" fmla="*/ 4465673 h 5973007"/>
              <a:gd name="connsiteX72646" fmla="*/ 782033 w 6884782"/>
              <a:gd name="connsiteY72646" fmla="*/ 4465673 h 5973007"/>
              <a:gd name="connsiteX72647" fmla="*/ 791017 w 6884782"/>
              <a:gd name="connsiteY72647" fmla="*/ 4478167 h 5973007"/>
              <a:gd name="connsiteX72648" fmla="*/ 788383 w 6884782"/>
              <a:gd name="connsiteY72648" fmla="*/ 4477134 h 5973007"/>
              <a:gd name="connsiteX72649" fmla="*/ 787609 w 6884782"/>
              <a:gd name="connsiteY72649" fmla="*/ 4476308 h 5973007"/>
              <a:gd name="connsiteX72650" fmla="*/ 786680 w 6884782"/>
              <a:gd name="connsiteY72650" fmla="*/ 4476205 h 5973007"/>
              <a:gd name="connsiteX72651" fmla="*/ 786680 w 6884782"/>
              <a:gd name="connsiteY72651" fmla="*/ 4475379 h 5973007"/>
              <a:gd name="connsiteX72652" fmla="*/ 784821 w 6884782"/>
              <a:gd name="connsiteY72652" fmla="*/ 4473520 h 5973007"/>
              <a:gd name="connsiteX72653" fmla="*/ 779709 w 6884782"/>
              <a:gd name="connsiteY72653" fmla="*/ 4470732 h 5973007"/>
              <a:gd name="connsiteX72654" fmla="*/ 775992 w 6884782"/>
              <a:gd name="connsiteY72654" fmla="*/ 4465363 h 5973007"/>
              <a:gd name="connsiteX72655" fmla="*/ 777696 w 6884782"/>
              <a:gd name="connsiteY72655" fmla="*/ 4463711 h 5973007"/>
              <a:gd name="connsiteX72656" fmla="*/ 775992 w 6884782"/>
              <a:gd name="connsiteY72656" fmla="*/ 4461955 h 5973007"/>
              <a:gd name="connsiteX72657" fmla="*/ 773358 w 6884782"/>
              <a:gd name="connsiteY72657" fmla="*/ 4456896 h 5973007"/>
              <a:gd name="connsiteX72658" fmla="*/ 775372 w 6884782"/>
              <a:gd name="connsiteY72658" fmla="*/ 4452559 h 5973007"/>
              <a:gd name="connsiteX72659" fmla="*/ 775217 w 6884782"/>
              <a:gd name="connsiteY72659" fmla="*/ 4452352 h 5973007"/>
              <a:gd name="connsiteX72660" fmla="*/ 770415 w 6884782"/>
              <a:gd name="connsiteY72660" fmla="*/ 4457206 h 5973007"/>
              <a:gd name="connsiteX72661" fmla="*/ 782962 w 6884782"/>
              <a:gd name="connsiteY72661" fmla="*/ 4424886 h 5973007"/>
              <a:gd name="connsiteX72662" fmla="*/ 784356 w 6884782"/>
              <a:gd name="connsiteY72662" fmla="*/ 4424164 h 5973007"/>
              <a:gd name="connsiteX72663" fmla="*/ 783427 w 6884782"/>
              <a:gd name="connsiteY72663" fmla="*/ 4418484 h 5973007"/>
              <a:gd name="connsiteX72664" fmla="*/ 782033 w 6884782"/>
              <a:gd name="connsiteY72664" fmla="*/ 4408881 h 5973007"/>
              <a:gd name="connsiteX72665" fmla="*/ 761741 w 6884782"/>
              <a:gd name="connsiteY72665" fmla="*/ 4411256 h 5973007"/>
              <a:gd name="connsiteX72666" fmla="*/ 762051 w 6884782"/>
              <a:gd name="connsiteY72666" fmla="*/ 4406300 h 5973007"/>
              <a:gd name="connsiteX72667" fmla="*/ 764994 w 6884782"/>
              <a:gd name="connsiteY72667" fmla="*/ 4402686 h 5973007"/>
              <a:gd name="connsiteX72668" fmla="*/ 759418 w 6884782"/>
              <a:gd name="connsiteY72668" fmla="*/ 4386991 h 5973007"/>
              <a:gd name="connsiteX72669" fmla="*/ 745942 w 6884782"/>
              <a:gd name="connsiteY72669" fmla="*/ 4387404 h 5973007"/>
              <a:gd name="connsiteX72670" fmla="*/ 744393 w 6884782"/>
              <a:gd name="connsiteY72670" fmla="*/ 4389779 h 5973007"/>
              <a:gd name="connsiteX72671" fmla="*/ 738817 w 6884782"/>
              <a:gd name="connsiteY72671" fmla="*/ 4393187 h 5973007"/>
              <a:gd name="connsiteX72672" fmla="*/ 734944 w 6884782"/>
              <a:gd name="connsiteY72672" fmla="*/ 4390502 h 5973007"/>
              <a:gd name="connsiteX72673" fmla="*/ 736803 w 6884782"/>
              <a:gd name="connsiteY72673" fmla="*/ 4384203 h 5973007"/>
              <a:gd name="connsiteX72674" fmla="*/ 741140 w 6884782"/>
              <a:gd name="connsiteY72674" fmla="*/ 4380693 h 5973007"/>
              <a:gd name="connsiteX72675" fmla="*/ 743928 w 6884782"/>
              <a:gd name="connsiteY72675" fmla="*/ 4379660 h 5973007"/>
              <a:gd name="connsiteX72676" fmla="*/ 743309 w 6884782"/>
              <a:gd name="connsiteY72676" fmla="*/ 4368096 h 5973007"/>
              <a:gd name="connsiteX72677" fmla="*/ 730143 w 6884782"/>
              <a:gd name="connsiteY72677" fmla="*/ 4364688 h 5973007"/>
              <a:gd name="connsiteX72678" fmla="*/ 731691 w 6884782"/>
              <a:gd name="connsiteY72678" fmla="*/ 4344450 h 5973007"/>
              <a:gd name="connsiteX72679" fmla="*/ 712639 w 6884782"/>
              <a:gd name="connsiteY72679" fmla="*/ 4348270 h 5973007"/>
              <a:gd name="connsiteX72680" fmla="*/ 712949 w 6884782"/>
              <a:gd name="connsiteY72680" fmla="*/ 4343211 h 5973007"/>
              <a:gd name="connsiteX72681" fmla="*/ 722553 w 6884782"/>
              <a:gd name="connsiteY72681" fmla="*/ 4340010 h 5973007"/>
              <a:gd name="connsiteX72682" fmla="*/ 720384 w 6884782"/>
              <a:gd name="connsiteY72682" fmla="*/ 4315744 h 5973007"/>
              <a:gd name="connsiteX72683" fmla="*/ 699318 w 6884782"/>
              <a:gd name="connsiteY72683" fmla="*/ 4309239 h 5973007"/>
              <a:gd name="connsiteX72684" fmla="*/ 703655 w 6884782"/>
              <a:gd name="connsiteY72684" fmla="*/ 4305729 h 5973007"/>
              <a:gd name="connsiteX72685" fmla="*/ 705204 w 6884782"/>
              <a:gd name="connsiteY72685" fmla="*/ 4303250 h 5973007"/>
              <a:gd name="connsiteX72686" fmla="*/ 693277 w 6884782"/>
              <a:gd name="connsiteY72686" fmla="*/ 4299946 h 5973007"/>
              <a:gd name="connsiteX72687" fmla="*/ 700402 w 6884782"/>
              <a:gd name="connsiteY72687" fmla="*/ 4298191 h 5973007"/>
              <a:gd name="connsiteX72688" fmla="*/ 697614 w 6884782"/>
              <a:gd name="connsiteY72688" fmla="*/ 4295919 h 5973007"/>
              <a:gd name="connsiteX72689" fmla="*/ 704585 w 6884782"/>
              <a:gd name="connsiteY72689" fmla="*/ 4287969 h 5973007"/>
              <a:gd name="connsiteX72690" fmla="*/ 709851 w 6884782"/>
              <a:gd name="connsiteY72690" fmla="*/ 4285800 h 5973007"/>
              <a:gd name="connsiteX72691" fmla="*/ 710625 w 6884782"/>
              <a:gd name="connsiteY72691" fmla="*/ 4283322 h 5973007"/>
              <a:gd name="connsiteX72692" fmla="*/ 721778 w 6884782"/>
              <a:gd name="connsiteY72692" fmla="*/ 4278985 h 5973007"/>
              <a:gd name="connsiteX72693" fmla="*/ 729833 w 6884782"/>
              <a:gd name="connsiteY72693" fmla="*/ 4260502 h 5973007"/>
              <a:gd name="connsiteX72694" fmla="*/ 704739 w 6884782"/>
              <a:gd name="connsiteY72694" fmla="*/ 4253687 h 5973007"/>
              <a:gd name="connsiteX72695" fmla="*/ 705204 w 6884782"/>
              <a:gd name="connsiteY72695" fmla="*/ 4248628 h 5973007"/>
              <a:gd name="connsiteX72696" fmla="*/ 725031 w 6884782"/>
              <a:gd name="connsiteY72696" fmla="*/ 4247802 h 5973007"/>
              <a:gd name="connsiteX72697" fmla="*/ 730452 w 6884782"/>
              <a:gd name="connsiteY72697" fmla="*/ 4245014 h 5973007"/>
              <a:gd name="connsiteX72698" fmla="*/ 728593 w 6884782"/>
              <a:gd name="connsiteY72698" fmla="*/ 4244085 h 5973007"/>
              <a:gd name="connsiteX72699" fmla="*/ 728748 w 6884782"/>
              <a:gd name="connsiteY72699" fmla="*/ 4242433 h 5973007"/>
              <a:gd name="connsiteX72700" fmla="*/ 730917 w 6884782"/>
              <a:gd name="connsiteY72700" fmla="*/ 4243568 h 5973007"/>
              <a:gd name="connsiteX72701" fmla="*/ 732156 w 6884782"/>
              <a:gd name="connsiteY72701" fmla="*/ 4244085 h 5973007"/>
              <a:gd name="connsiteX72702" fmla="*/ 732311 w 6884782"/>
              <a:gd name="connsiteY72702" fmla="*/ 4244085 h 5973007"/>
              <a:gd name="connsiteX72703" fmla="*/ 732776 w 6884782"/>
              <a:gd name="connsiteY72703" fmla="*/ 4239025 h 5973007"/>
              <a:gd name="connsiteX72704" fmla="*/ 735409 w 6884782"/>
              <a:gd name="connsiteY72704" fmla="*/ 4237889 h 5973007"/>
              <a:gd name="connsiteX72705" fmla="*/ 737113 w 6884782"/>
              <a:gd name="connsiteY72705" fmla="*/ 4234172 h 5973007"/>
              <a:gd name="connsiteX72706" fmla="*/ 746716 w 6884782"/>
              <a:gd name="connsiteY72706" fmla="*/ 4231074 h 5973007"/>
              <a:gd name="connsiteX72707" fmla="*/ 747955 w 6884782"/>
              <a:gd name="connsiteY72707" fmla="*/ 4222607 h 5973007"/>
              <a:gd name="connsiteX72708" fmla="*/ 746871 w 6884782"/>
              <a:gd name="connsiteY72708" fmla="*/ 4220645 h 5973007"/>
              <a:gd name="connsiteX72709" fmla="*/ 745167 w 6884782"/>
              <a:gd name="connsiteY72709" fmla="*/ 4220645 h 5973007"/>
              <a:gd name="connsiteX72710" fmla="*/ 745167 w 6884782"/>
              <a:gd name="connsiteY72710" fmla="*/ 4221575 h 5973007"/>
              <a:gd name="connsiteX72711" fmla="*/ 744393 w 6884782"/>
              <a:gd name="connsiteY72711" fmla="*/ 4224879 h 5973007"/>
              <a:gd name="connsiteX72712" fmla="*/ 743154 w 6884782"/>
              <a:gd name="connsiteY72712" fmla="*/ 4222814 h 5973007"/>
              <a:gd name="connsiteX72713" fmla="*/ 742999 w 6884782"/>
              <a:gd name="connsiteY72713" fmla="*/ 4220542 h 5973007"/>
              <a:gd name="connsiteX72714" fmla="*/ 740831 w 6884782"/>
              <a:gd name="connsiteY72714" fmla="*/ 4220542 h 5973007"/>
              <a:gd name="connsiteX72715" fmla="*/ 732311 w 6884782"/>
              <a:gd name="connsiteY72715" fmla="*/ 4214760 h 5973007"/>
              <a:gd name="connsiteX72716" fmla="*/ 741604 w 6884782"/>
              <a:gd name="connsiteY72716" fmla="*/ 4200510 h 5973007"/>
              <a:gd name="connsiteX72717" fmla="*/ 742999 w 6884782"/>
              <a:gd name="connsiteY72717" fmla="*/ 4200304 h 5973007"/>
              <a:gd name="connsiteX72718" fmla="*/ 742224 w 6884782"/>
              <a:gd name="connsiteY72718" fmla="*/ 4199168 h 5973007"/>
              <a:gd name="connsiteX72719" fmla="*/ 739126 w 6884782"/>
              <a:gd name="connsiteY72719" fmla="*/ 4188223 h 5973007"/>
              <a:gd name="connsiteX72720" fmla="*/ 742534 w 6884782"/>
              <a:gd name="connsiteY72720" fmla="*/ 4188739 h 5973007"/>
              <a:gd name="connsiteX72721" fmla="*/ 742379 w 6884782"/>
              <a:gd name="connsiteY72721" fmla="*/ 4190495 h 5973007"/>
              <a:gd name="connsiteX72722" fmla="*/ 745477 w 6884782"/>
              <a:gd name="connsiteY72722" fmla="*/ 4196793 h 5973007"/>
              <a:gd name="connsiteX72723" fmla="*/ 745787 w 6884782"/>
              <a:gd name="connsiteY72723" fmla="*/ 4199788 h 5973007"/>
              <a:gd name="connsiteX72724" fmla="*/ 747026 w 6884782"/>
              <a:gd name="connsiteY72724" fmla="*/ 4199581 h 5973007"/>
              <a:gd name="connsiteX72725" fmla="*/ 748885 w 6884782"/>
              <a:gd name="connsiteY72725" fmla="*/ 4201440 h 5973007"/>
              <a:gd name="connsiteX72726" fmla="*/ 748730 w 6884782"/>
              <a:gd name="connsiteY72726" fmla="*/ 4198445 h 5973007"/>
              <a:gd name="connsiteX72727" fmla="*/ 747800 w 6884782"/>
              <a:gd name="connsiteY72727" fmla="*/ 4193592 h 5973007"/>
              <a:gd name="connsiteX72728" fmla="*/ 748150 w 6884782"/>
              <a:gd name="connsiteY72728" fmla="*/ 4191187 h 5973007"/>
              <a:gd name="connsiteX72729" fmla="*/ 749040 w 6884782"/>
              <a:gd name="connsiteY72729" fmla="*/ 4190495 h 5973007"/>
              <a:gd name="connsiteX72730" fmla="*/ 750124 w 6884782"/>
              <a:gd name="connsiteY72730" fmla="*/ 4201337 h 5973007"/>
              <a:gd name="connsiteX72731" fmla="*/ 749969 w 6884782"/>
              <a:gd name="connsiteY72731" fmla="*/ 4202369 h 5973007"/>
              <a:gd name="connsiteX72732" fmla="*/ 755080 w 6884782"/>
              <a:gd name="connsiteY72732" fmla="*/ 4207222 h 5973007"/>
              <a:gd name="connsiteX72733" fmla="*/ 754306 w 6884782"/>
              <a:gd name="connsiteY72733" fmla="*/ 4211766 h 5973007"/>
              <a:gd name="connsiteX72734" fmla="*/ 755080 w 6884782"/>
              <a:gd name="connsiteY72734" fmla="*/ 4211972 h 5973007"/>
              <a:gd name="connsiteX72735" fmla="*/ 760502 w 6884782"/>
              <a:gd name="connsiteY72735" fmla="*/ 4209081 h 5973007"/>
              <a:gd name="connsiteX72736" fmla="*/ 763445 w 6884782"/>
              <a:gd name="connsiteY72736" fmla="*/ 4204228 h 5973007"/>
              <a:gd name="connsiteX72737" fmla="*/ 766233 w 6884782"/>
              <a:gd name="connsiteY72737" fmla="*/ 4203092 h 5973007"/>
              <a:gd name="connsiteX72738" fmla="*/ 771190 w 6884782"/>
              <a:gd name="connsiteY72738" fmla="*/ 4172941 h 5973007"/>
              <a:gd name="connsiteX72739" fmla="*/ 788693 w 6884782"/>
              <a:gd name="connsiteY72739" fmla="*/ 4171392 h 5973007"/>
              <a:gd name="connsiteX72740" fmla="*/ 793495 w 6884782"/>
              <a:gd name="connsiteY72740" fmla="*/ 4172528 h 5973007"/>
              <a:gd name="connsiteX72741" fmla="*/ 794269 w 6884782"/>
              <a:gd name="connsiteY72741" fmla="*/ 4167881 h 5973007"/>
              <a:gd name="connsiteX72742" fmla="*/ 789467 w 6884782"/>
              <a:gd name="connsiteY72742" fmla="*/ 4164165 h 5973007"/>
              <a:gd name="connsiteX72743" fmla="*/ 781413 w 6884782"/>
              <a:gd name="connsiteY72743" fmla="*/ 4160860 h 5973007"/>
              <a:gd name="connsiteX72744" fmla="*/ 774133 w 6884782"/>
              <a:gd name="connsiteY72744" fmla="*/ 4158175 h 5973007"/>
              <a:gd name="connsiteX72745" fmla="*/ 780948 w 6884782"/>
              <a:gd name="connsiteY72745" fmla="*/ 4158175 h 5973007"/>
              <a:gd name="connsiteX72746" fmla="*/ 788383 w 6884782"/>
              <a:gd name="connsiteY72746" fmla="*/ 4159828 h 5973007"/>
              <a:gd name="connsiteX72747" fmla="*/ 783736 w 6884782"/>
              <a:gd name="connsiteY72747" fmla="*/ 4155594 h 5973007"/>
              <a:gd name="connsiteX72748" fmla="*/ 778625 w 6884782"/>
              <a:gd name="connsiteY72748" fmla="*/ 4157143 h 5973007"/>
              <a:gd name="connsiteX72749" fmla="*/ 768866 w 6884782"/>
              <a:gd name="connsiteY72749" fmla="*/ 4151257 h 5973007"/>
              <a:gd name="connsiteX72750" fmla="*/ 769021 w 6884782"/>
              <a:gd name="connsiteY72750" fmla="*/ 4150018 h 5973007"/>
              <a:gd name="connsiteX72751" fmla="*/ 770260 w 6884782"/>
              <a:gd name="connsiteY72751" fmla="*/ 4150535 h 5973007"/>
              <a:gd name="connsiteX72752" fmla="*/ 772274 w 6884782"/>
              <a:gd name="connsiteY72752" fmla="*/ 4146507 h 5973007"/>
              <a:gd name="connsiteX72753" fmla="*/ 772584 w 6884782"/>
              <a:gd name="connsiteY72753" fmla="*/ 4146301 h 5973007"/>
              <a:gd name="connsiteX72754" fmla="*/ 769486 w 6884782"/>
              <a:gd name="connsiteY72754" fmla="*/ 4144030 h 5973007"/>
              <a:gd name="connsiteX72755" fmla="*/ 761586 w 6884782"/>
              <a:gd name="connsiteY72755" fmla="*/ 4139899 h 5973007"/>
              <a:gd name="connsiteX72756" fmla="*/ 756940 w 6884782"/>
              <a:gd name="connsiteY72756" fmla="*/ 4136595 h 5973007"/>
              <a:gd name="connsiteX72757" fmla="*/ 746716 w 6884782"/>
              <a:gd name="connsiteY72757" fmla="*/ 4125237 h 5973007"/>
              <a:gd name="connsiteX72758" fmla="*/ 738661 w 6884782"/>
              <a:gd name="connsiteY72758" fmla="*/ 4123584 h 5973007"/>
              <a:gd name="connsiteX72759" fmla="*/ 737577 w 6884782"/>
              <a:gd name="connsiteY72759" fmla="*/ 4122655 h 5973007"/>
              <a:gd name="connsiteX72760" fmla="*/ 735409 w 6884782"/>
              <a:gd name="connsiteY72760" fmla="*/ 4124617 h 5973007"/>
              <a:gd name="connsiteX72761" fmla="*/ 721933 w 6884782"/>
              <a:gd name="connsiteY72761" fmla="*/ 4130090 h 5973007"/>
              <a:gd name="connsiteX72762" fmla="*/ 725805 w 6884782"/>
              <a:gd name="connsiteY72762" fmla="*/ 4122242 h 5973007"/>
              <a:gd name="connsiteX72763" fmla="*/ 731381 w 6884782"/>
              <a:gd name="connsiteY72763" fmla="*/ 4116976 h 5973007"/>
              <a:gd name="connsiteX72764" fmla="*/ 722707 w 6884782"/>
              <a:gd name="connsiteY72764" fmla="*/ 4110161 h 5973007"/>
              <a:gd name="connsiteX72765" fmla="*/ 717596 w 6884782"/>
              <a:gd name="connsiteY72765" fmla="*/ 4106341 h 5973007"/>
              <a:gd name="connsiteX72766" fmla="*/ 712484 w 6884782"/>
              <a:gd name="connsiteY72766" fmla="*/ 4103140 h 5973007"/>
              <a:gd name="connsiteX72767" fmla="*/ 700557 w 6884782"/>
              <a:gd name="connsiteY72767" fmla="*/ 4097667 h 5973007"/>
              <a:gd name="connsiteX72768" fmla="*/ 701022 w 6884782"/>
              <a:gd name="connsiteY72768" fmla="*/ 4093331 h 5973007"/>
              <a:gd name="connsiteX72769" fmla="*/ 705049 w 6884782"/>
              <a:gd name="connsiteY72769" fmla="*/ 4098803 h 5973007"/>
              <a:gd name="connsiteX72770" fmla="*/ 695910 w 6884782"/>
              <a:gd name="connsiteY72770" fmla="*/ 4084657 h 5973007"/>
              <a:gd name="connsiteX72771" fmla="*/ 695291 w 6884782"/>
              <a:gd name="connsiteY72771" fmla="*/ 4088994 h 5973007"/>
              <a:gd name="connsiteX72772" fmla="*/ 679956 w 6884782"/>
              <a:gd name="connsiteY72772" fmla="*/ 4072782 h 5973007"/>
              <a:gd name="connsiteX72773" fmla="*/ 679027 w 6884782"/>
              <a:gd name="connsiteY72773" fmla="*/ 4070717 h 5973007"/>
              <a:gd name="connsiteX72774" fmla="*/ 679027 w 6884782"/>
              <a:gd name="connsiteY72774" fmla="*/ 4070614 h 5973007"/>
              <a:gd name="connsiteX72775" fmla="*/ 673296 w 6884782"/>
              <a:gd name="connsiteY72775" fmla="*/ 4064729 h 5973007"/>
              <a:gd name="connsiteX72776" fmla="*/ 673915 w 6884782"/>
              <a:gd name="connsiteY72776" fmla="*/ 4063076 h 5973007"/>
              <a:gd name="connsiteX72777" fmla="*/ 673141 w 6884782"/>
              <a:gd name="connsiteY72777" fmla="*/ 4062560 h 5973007"/>
              <a:gd name="connsiteX72778" fmla="*/ 673141 w 6884782"/>
              <a:gd name="connsiteY72778" fmla="*/ 4066381 h 5973007"/>
              <a:gd name="connsiteX72779" fmla="*/ 659355 w 6884782"/>
              <a:gd name="connsiteY72779" fmla="*/ 4054403 h 5973007"/>
              <a:gd name="connsiteX72780" fmla="*/ 658890 w 6884782"/>
              <a:gd name="connsiteY72780" fmla="*/ 4045833 h 5973007"/>
              <a:gd name="connsiteX72781" fmla="*/ 646343 w 6884782"/>
              <a:gd name="connsiteY72781" fmla="*/ 4036127 h 5973007"/>
              <a:gd name="connsiteX72782" fmla="*/ 639993 w 6884782"/>
              <a:gd name="connsiteY72782" fmla="*/ 4029621 h 5973007"/>
              <a:gd name="connsiteX72783" fmla="*/ 633797 w 6884782"/>
              <a:gd name="connsiteY72783" fmla="*/ 4022600 h 5973007"/>
              <a:gd name="connsiteX72784" fmla="*/ 621715 w 6884782"/>
              <a:gd name="connsiteY72784" fmla="*/ 4007421 h 5973007"/>
              <a:gd name="connsiteX72785" fmla="*/ 612576 w 6884782"/>
              <a:gd name="connsiteY72785" fmla="*/ 3991830 h 5973007"/>
              <a:gd name="connsiteX72786" fmla="*/ 606690 w 6884782"/>
              <a:gd name="connsiteY72786" fmla="*/ 3988009 h 5973007"/>
              <a:gd name="connsiteX72787" fmla="*/ 606535 w 6884782"/>
              <a:gd name="connsiteY72787" fmla="*/ 3992656 h 5973007"/>
              <a:gd name="connsiteX72788" fmla="*/ 589961 w 6884782"/>
              <a:gd name="connsiteY72788" fmla="*/ 3992139 h 5973007"/>
              <a:gd name="connsiteX72789" fmla="*/ 590891 w 6884782"/>
              <a:gd name="connsiteY72789" fmla="*/ 3984189 h 5973007"/>
              <a:gd name="connsiteX72790" fmla="*/ 603747 w 6884782"/>
              <a:gd name="connsiteY72790" fmla="*/ 3984395 h 5973007"/>
              <a:gd name="connsiteX72791" fmla="*/ 604366 w 6884782"/>
              <a:gd name="connsiteY72791" fmla="*/ 3985015 h 5973007"/>
              <a:gd name="connsiteX72792" fmla="*/ 601888 w 6884782"/>
              <a:gd name="connsiteY72792" fmla="*/ 3980472 h 5973007"/>
              <a:gd name="connsiteX72793" fmla="*/ 592749 w 6884782"/>
              <a:gd name="connsiteY72793" fmla="*/ 3967461 h 5973007"/>
              <a:gd name="connsiteX72794" fmla="*/ 594453 w 6884782"/>
              <a:gd name="connsiteY72794" fmla="*/ 3958788 h 5973007"/>
              <a:gd name="connsiteX72795" fmla="*/ 592130 w 6884782"/>
              <a:gd name="connsiteY72795" fmla="*/ 3958271 h 5973007"/>
              <a:gd name="connsiteX72796" fmla="*/ 592130 w 6884782"/>
              <a:gd name="connsiteY72796" fmla="*/ 3957755 h 5973007"/>
              <a:gd name="connsiteX72797" fmla="*/ 588722 w 6884782"/>
              <a:gd name="connsiteY72797" fmla="*/ 3952386 h 5973007"/>
              <a:gd name="connsiteX72798" fmla="*/ 588722 w 6884782"/>
              <a:gd name="connsiteY72798" fmla="*/ 3951766 h 5973007"/>
              <a:gd name="connsiteX72799" fmla="*/ 588103 w 6884782"/>
              <a:gd name="connsiteY72799" fmla="*/ 3951766 h 5973007"/>
              <a:gd name="connsiteX72800" fmla="*/ 587638 w 6884782"/>
              <a:gd name="connsiteY72800" fmla="*/ 3951766 h 5973007"/>
              <a:gd name="connsiteX72801" fmla="*/ 587018 w 6884782"/>
              <a:gd name="connsiteY72801" fmla="*/ 3949081 h 5973007"/>
              <a:gd name="connsiteX72802" fmla="*/ 582991 w 6884782"/>
              <a:gd name="connsiteY72802" fmla="*/ 3951250 h 5973007"/>
              <a:gd name="connsiteX72803" fmla="*/ 577260 w 6884782"/>
              <a:gd name="connsiteY72803" fmla="*/ 3946913 h 5973007"/>
              <a:gd name="connsiteX72804" fmla="*/ 572767 w 6884782"/>
              <a:gd name="connsiteY72804" fmla="*/ 3945880 h 5973007"/>
              <a:gd name="connsiteX72805" fmla="*/ 571063 w 6884782"/>
              <a:gd name="connsiteY72805" fmla="*/ 3945365 h 5973007"/>
              <a:gd name="connsiteX72806" fmla="*/ 570444 w 6884782"/>
              <a:gd name="connsiteY72806" fmla="*/ 3944745 h 5973007"/>
              <a:gd name="connsiteX72807" fmla="*/ 568740 w 6884782"/>
              <a:gd name="connsiteY72807" fmla="*/ 3942576 h 5973007"/>
              <a:gd name="connsiteX72808" fmla="*/ 571528 w 6884782"/>
              <a:gd name="connsiteY72808" fmla="*/ 3942576 h 5973007"/>
              <a:gd name="connsiteX72809" fmla="*/ 572767 w 6884782"/>
              <a:gd name="connsiteY72809" fmla="*/ 3943093 h 5973007"/>
              <a:gd name="connsiteX72810" fmla="*/ 573387 w 6884782"/>
              <a:gd name="connsiteY72810" fmla="*/ 3943093 h 5973007"/>
              <a:gd name="connsiteX72811" fmla="*/ 575556 w 6884782"/>
              <a:gd name="connsiteY72811" fmla="*/ 3944229 h 5973007"/>
              <a:gd name="connsiteX72812" fmla="*/ 580203 w 6884782"/>
              <a:gd name="connsiteY72812" fmla="*/ 3945880 h 5973007"/>
              <a:gd name="connsiteX72813" fmla="*/ 580203 w 6884782"/>
              <a:gd name="connsiteY72813" fmla="*/ 3941028 h 5973007"/>
              <a:gd name="connsiteX72814" fmla="*/ 580203 w 6884782"/>
              <a:gd name="connsiteY72814" fmla="*/ 3940408 h 5973007"/>
              <a:gd name="connsiteX72815" fmla="*/ 580203 w 6884782"/>
              <a:gd name="connsiteY72815" fmla="*/ 3939892 h 5973007"/>
              <a:gd name="connsiteX72816" fmla="*/ 579584 w 6884782"/>
              <a:gd name="connsiteY72816" fmla="*/ 3939375 h 5973007"/>
              <a:gd name="connsiteX72817" fmla="*/ 578499 w 6884782"/>
              <a:gd name="connsiteY72817" fmla="*/ 3936691 h 5973007"/>
              <a:gd name="connsiteX72818" fmla="*/ 574936 w 6884782"/>
              <a:gd name="connsiteY72818" fmla="*/ 3932354 h 5973007"/>
              <a:gd name="connsiteX72819" fmla="*/ 578963 w 6884782"/>
              <a:gd name="connsiteY72819" fmla="*/ 3932354 h 5973007"/>
              <a:gd name="connsiteX72820" fmla="*/ 567656 w 6884782"/>
              <a:gd name="connsiteY72820" fmla="*/ 3911806 h 5973007"/>
              <a:gd name="connsiteX72821" fmla="*/ 564249 w 6884782"/>
              <a:gd name="connsiteY72821" fmla="*/ 3912839 h 5973007"/>
              <a:gd name="connsiteX72822" fmla="*/ 563629 w 6884782"/>
              <a:gd name="connsiteY72822" fmla="*/ 3910774 h 5973007"/>
              <a:gd name="connsiteX72823" fmla="*/ 563009 w 6884782"/>
              <a:gd name="connsiteY72823" fmla="*/ 3908605 h 5973007"/>
              <a:gd name="connsiteX72824" fmla="*/ 561925 w 6884782"/>
              <a:gd name="connsiteY72824" fmla="*/ 3905301 h 5973007"/>
              <a:gd name="connsiteX72825" fmla="*/ 559137 w 6884782"/>
              <a:gd name="connsiteY72825" fmla="*/ 3898280 h 5973007"/>
              <a:gd name="connsiteX72826" fmla="*/ 552786 w 6884782"/>
              <a:gd name="connsiteY72826" fmla="*/ 3884237 h 5973007"/>
              <a:gd name="connsiteX72827" fmla="*/ 547055 w 6884782"/>
              <a:gd name="connsiteY72827" fmla="*/ 3869678 h 5973007"/>
              <a:gd name="connsiteX72828" fmla="*/ 544886 w 6884782"/>
              <a:gd name="connsiteY72828" fmla="*/ 3861624 h 5973007"/>
              <a:gd name="connsiteX72829" fmla="*/ 543028 w 6884782"/>
              <a:gd name="connsiteY72829" fmla="*/ 3853467 h 5973007"/>
              <a:gd name="connsiteX72830" fmla="*/ 538535 w 6884782"/>
              <a:gd name="connsiteY72830" fmla="*/ 3853467 h 5973007"/>
              <a:gd name="connsiteX72831" fmla="*/ 535128 w 6884782"/>
              <a:gd name="connsiteY72831" fmla="*/ 3838907 h 5973007"/>
              <a:gd name="connsiteX72832" fmla="*/ 534508 w 6884782"/>
              <a:gd name="connsiteY72832" fmla="*/ 3829098 h 5973007"/>
              <a:gd name="connsiteX72833" fmla="*/ 529397 w 6884782"/>
              <a:gd name="connsiteY72833" fmla="*/ 3827549 h 5973007"/>
              <a:gd name="connsiteX72834" fmla="*/ 535128 w 6884782"/>
              <a:gd name="connsiteY72834" fmla="*/ 3822076 h 5973007"/>
              <a:gd name="connsiteX72835" fmla="*/ 526609 w 6884782"/>
              <a:gd name="connsiteY72835" fmla="*/ 3807517 h 5973007"/>
              <a:gd name="connsiteX72836" fmla="*/ 530481 w 6884782"/>
              <a:gd name="connsiteY72836" fmla="*/ 3813506 h 5973007"/>
              <a:gd name="connsiteX72837" fmla="*/ 531101 w 6884782"/>
              <a:gd name="connsiteY72837" fmla="*/ 3801115 h 5973007"/>
              <a:gd name="connsiteX72838" fmla="*/ 525370 w 6884782"/>
              <a:gd name="connsiteY72838" fmla="*/ 3800496 h 5973007"/>
              <a:gd name="connsiteX72839" fmla="*/ 527325 w 6884782"/>
              <a:gd name="connsiteY72839" fmla="*/ 3795036 h 5973007"/>
              <a:gd name="connsiteX72840" fmla="*/ 527101 w 6884782"/>
              <a:gd name="connsiteY72840" fmla="*/ 3788337 h 5973007"/>
              <a:gd name="connsiteX72841" fmla="*/ 526917 w 6884782"/>
              <a:gd name="connsiteY72841" fmla="*/ 3788166 h 5973007"/>
              <a:gd name="connsiteX72842" fmla="*/ 524955 w 6884782"/>
              <a:gd name="connsiteY72842" fmla="*/ 3788166 h 5973007"/>
              <a:gd name="connsiteX72843" fmla="*/ 523515 w 6884782"/>
              <a:gd name="connsiteY72843" fmla="*/ 3787427 h 5973007"/>
              <a:gd name="connsiteX72844" fmla="*/ 522581 w 6884782"/>
              <a:gd name="connsiteY72844" fmla="*/ 3787486 h 5973007"/>
              <a:gd name="connsiteX72845" fmla="*/ 522653 w 6884782"/>
              <a:gd name="connsiteY72845" fmla="*/ 3786985 h 5973007"/>
              <a:gd name="connsiteX72846" fmla="*/ 513339 w 6884782"/>
              <a:gd name="connsiteY72846" fmla="*/ 3782203 h 5973007"/>
              <a:gd name="connsiteX72847" fmla="*/ 507608 w 6884782"/>
              <a:gd name="connsiteY72847" fmla="*/ 3769734 h 5973007"/>
              <a:gd name="connsiteX72848" fmla="*/ 524025 w 6884782"/>
              <a:gd name="connsiteY72848" fmla="*/ 3775000 h 5973007"/>
              <a:gd name="connsiteX72849" fmla="*/ 524285 w 6884782"/>
              <a:gd name="connsiteY72849" fmla="*/ 3775467 h 5973007"/>
              <a:gd name="connsiteX72850" fmla="*/ 524285 w 6884782"/>
              <a:gd name="connsiteY72850" fmla="*/ 3773379 h 5973007"/>
              <a:gd name="connsiteX72851" fmla="*/ 524232 w 6884782"/>
              <a:gd name="connsiteY72851" fmla="*/ 3773141 h 5973007"/>
              <a:gd name="connsiteX72852" fmla="*/ 517520 w 6884782"/>
              <a:gd name="connsiteY72852" fmla="*/ 3762453 h 5973007"/>
              <a:gd name="connsiteX72853" fmla="*/ 515249 w 6884782"/>
              <a:gd name="connsiteY72853" fmla="*/ 3767410 h 5973007"/>
              <a:gd name="connsiteX72854" fmla="*/ 502961 w 6884782"/>
              <a:gd name="connsiteY72854" fmla="*/ 3741388 h 5973007"/>
              <a:gd name="connsiteX72855" fmla="*/ 505233 w 6884782"/>
              <a:gd name="connsiteY72855" fmla="*/ 3736431 h 5973007"/>
              <a:gd name="connsiteX72856" fmla="*/ 498624 w 6884782"/>
              <a:gd name="connsiteY72856" fmla="*/ 3726208 h 5973007"/>
              <a:gd name="connsiteX72857" fmla="*/ 497179 w 6884782"/>
              <a:gd name="connsiteY72857" fmla="*/ 3730855 h 5973007"/>
              <a:gd name="connsiteX72858" fmla="*/ 485304 w 6884782"/>
              <a:gd name="connsiteY72858" fmla="*/ 3710718 h 5973007"/>
              <a:gd name="connsiteX72859" fmla="*/ 487886 w 6884782"/>
              <a:gd name="connsiteY72859" fmla="*/ 3700030 h 5973007"/>
              <a:gd name="connsiteX72860" fmla="*/ 476528 w 6884782"/>
              <a:gd name="connsiteY72860" fmla="*/ 3682991 h 5973007"/>
              <a:gd name="connsiteX72861" fmla="*/ 471468 w 6884782"/>
              <a:gd name="connsiteY72861" fmla="*/ 3672613 h 5973007"/>
              <a:gd name="connsiteX72862" fmla="*/ 466512 w 6884782"/>
              <a:gd name="connsiteY72862" fmla="*/ 3661616 h 5973007"/>
              <a:gd name="connsiteX72863" fmla="*/ 457942 w 6884782"/>
              <a:gd name="connsiteY72863" fmla="*/ 3638227 h 5973007"/>
              <a:gd name="connsiteX72864" fmla="*/ 455050 w 6884782"/>
              <a:gd name="connsiteY72864" fmla="*/ 3625215 h 5973007"/>
              <a:gd name="connsiteX72865" fmla="*/ 450817 w 6884782"/>
              <a:gd name="connsiteY72865" fmla="*/ 3627694 h 5973007"/>
              <a:gd name="connsiteX72866" fmla="*/ 452675 w 6884782"/>
              <a:gd name="connsiteY72866" fmla="*/ 3621343 h 5973007"/>
              <a:gd name="connsiteX72867" fmla="*/ 453811 w 6884782"/>
              <a:gd name="connsiteY72867" fmla="*/ 3619794 h 5973007"/>
              <a:gd name="connsiteX72868" fmla="*/ 452882 w 6884782"/>
              <a:gd name="connsiteY72868" fmla="*/ 3615457 h 5973007"/>
              <a:gd name="connsiteX72869" fmla="*/ 446377 w 6884782"/>
              <a:gd name="connsiteY72869" fmla="*/ 3607557 h 5973007"/>
              <a:gd name="connsiteX72870" fmla="*/ 445860 w 6884782"/>
              <a:gd name="connsiteY72870" fmla="*/ 3605234 h 5973007"/>
              <a:gd name="connsiteX72871" fmla="*/ 432437 w 6884782"/>
              <a:gd name="connsiteY72871" fmla="*/ 3611739 h 5973007"/>
              <a:gd name="connsiteX72872" fmla="*/ 415297 w 6884782"/>
              <a:gd name="connsiteY72872" fmla="*/ 3613908 h 5973007"/>
              <a:gd name="connsiteX72873" fmla="*/ 414058 w 6884782"/>
              <a:gd name="connsiteY72873" fmla="*/ 3619019 h 5973007"/>
              <a:gd name="connsiteX72874" fmla="*/ 411166 w 6884782"/>
              <a:gd name="connsiteY72874" fmla="*/ 3642874 h 5973007"/>
              <a:gd name="connsiteX72875" fmla="*/ 406210 w 6884782"/>
              <a:gd name="connsiteY72875" fmla="*/ 3625990 h 5973007"/>
              <a:gd name="connsiteX72876" fmla="*/ 409101 w 6884782"/>
              <a:gd name="connsiteY72876" fmla="*/ 3616076 h 5973007"/>
              <a:gd name="connsiteX72877" fmla="*/ 411476 w 6884782"/>
              <a:gd name="connsiteY72877" fmla="*/ 3614373 h 5973007"/>
              <a:gd name="connsiteX72878" fmla="*/ 409721 w 6884782"/>
              <a:gd name="connsiteY72878" fmla="*/ 3614682 h 5973007"/>
              <a:gd name="connsiteX72879" fmla="*/ 387004 w 6884782"/>
              <a:gd name="connsiteY72879" fmla="*/ 3610810 h 5973007"/>
              <a:gd name="connsiteX72880" fmla="*/ 343844 w 6884782"/>
              <a:gd name="connsiteY72880" fmla="*/ 3578591 h 5973007"/>
              <a:gd name="connsiteX72881" fmla="*/ 332898 w 6884782"/>
              <a:gd name="connsiteY72881" fmla="*/ 3542810 h 5973007"/>
              <a:gd name="connsiteX72882" fmla="*/ 333621 w 6884782"/>
              <a:gd name="connsiteY72882" fmla="*/ 3538318 h 5973007"/>
              <a:gd name="connsiteX72883" fmla="*/ 332588 w 6884782"/>
              <a:gd name="connsiteY72883" fmla="*/ 3537079 h 5973007"/>
              <a:gd name="connsiteX72884" fmla="*/ 330523 w 6884782"/>
              <a:gd name="connsiteY72884" fmla="*/ 3532587 h 5973007"/>
              <a:gd name="connsiteX72885" fmla="*/ 332898 w 6884782"/>
              <a:gd name="connsiteY72885" fmla="*/ 3533361 h 5973007"/>
              <a:gd name="connsiteX72886" fmla="*/ 334241 w 6884782"/>
              <a:gd name="connsiteY72886" fmla="*/ 3534911 h 5973007"/>
              <a:gd name="connsiteX72887" fmla="*/ 335376 w 6884782"/>
              <a:gd name="connsiteY72887" fmla="*/ 3528405 h 5973007"/>
              <a:gd name="connsiteX72888" fmla="*/ 362120 w 6884782"/>
              <a:gd name="connsiteY72888" fmla="*/ 3490455 h 5973007"/>
              <a:gd name="connsiteX72889" fmla="*/ 366456 w 6884782"/>
              <a:gd name="connsiteY72889" fmla="*/ 3487822 h 5973007"/>
              <a:gd name="connsiteX72890" fmla="*/ 365940 w 6884782"/>
              <a:gd name="connsiteY72890" fmla="*/ 3487203 h 5973007"/>
              <a:gd name="connsiteX72891" fmla="*/ 365630 w 6884782"/>
              <a:gd name="connsiteY72891" fmla="*/ 3487512 h 5973007"/>
              <a:gd name="connsiteX72892" fmla="*/ 366044 w 6884782"/>
              <a:gd name="connsiteY72892" fmla="*/ 3486738 h 5973007"/>
              <a:gd name="connsiteX72893" fmla="*/ 365424 w 6884782"/>
              <a:gd name="connsiteY72893" fmla="*/ 3484415 h 5973007"/>
              <a:gd name="connsiteX72894" fmla="*/ 362120 w 6884782"/>
              <a:gd name="connsiteY72894" fmla="*/ 3480077 h 5973007"/>
              <a:gd name="connsiteX72895" fmla="*/ 361604 w 6884782"/>
              <a:gd name="connsiteY72895" fmla="*/ 3474191 h 5973007"/>
              <a:gd name="connsiteX72896" fmla="*/ 363979 w 6884782"/>
              <a:gd name="connsiteY72896" fmla="*/ 3473417 h 5973007"/>
              <a:gd name="connsiteX72897" fmla="*/ 363359 w 6884782"/>
              <a:gd name="connsiteY72897" fmla="*/ 3471093 h 5973007"/>
              <a:gd name="connsiteX72898" fmla="*/ 369761 w 6884782"/>
              <a:gd name="connsiteY72898" fmla="*/ 3461645 h 5973007"/>
              <a:gd name="connsiteX72899" fmla="*/ 370896 w 6884782"/>
              <a:gd name="connsiteY72899" fmla="*/ 3461800 h 5973007"/>
              <a:gd name="connsiteX72900" fmla="*/ 371929 w 6884782"/>
              <a:gd name="connsiteY72900" fmla="*/ 3460250 h 5973007"/>
              <a:gd name="connsiteX72901" fmla="*/ 373685 w 6884782"/>
              <a:gd name="connsiteY72901" fmla="*/ 3461490 h 5973007"/>
              <a:gd name="connsiteX72902" fmla="*/ 374820 w 6884782"/>
              <a:gd name="connsiteY72902" fmla="*/ 3461180 h 5973007"/>
              <a:gd name="connsiteX72903" fmla="*/ 375337 w 6884782"/>
              <a:gd name="connsiteY72903" fmla="*/ 3461490 h 5973007"/>
              <a:gd name="connsiteX72904" fmla="*/ 376162 w 6884782"/>
              <a:gd name="connsiteY72904" fmla="*/ 3458082 h 5973007"/>
              <a:gd name="connsiteX72905" fmla="*/ 381635 w 6884782"/>
              <a:gd name="connsiteY72905" fmla="*/ 3459631 h 5973007"/>
              <a:gd name="connsiteX72906" fmla="*/ 380499 w 6884782"/>
              <a:gd name="connsiteY72906" fmla="*/ 3463968 h 5973007"/>
              <a:gd name="connsiteX72907" fmla="*/ 379880 w 6884782"/>
              <a:gd name="connsiteY72907" fmla="*/ 3467221 h 5973007"/>
              <a:gd name="connsiteX72908" fmla="*/ 382978 w 6884782"/>
              <a:gd name="connsiteY72908" fmla="*/ 3471713 h 5973007"/>
              <a:gd name="connsiteX72909" fmla="*/ 383494 w 6884782"/>
              <a:gd name="connsiteY72909" fmla="*/ 3467376 h 5973007"/>
              <a:gd name="connsiteX72910" fmla="*/ 387830 w 6884782"/>
              <a:gd name="connsiteY72910" fmla="*/ 3459786 h 5973007"/>
              <a:gd name="connsiteX72911" fmla="*/ 388554 w 6884782"/>
              <a:gd name="connsiteY72911" fmla="*/ 3459166 h 5973007"/>
              <a:gd name="connsiteX72912" fmla="*/ 387108 w 6884782"/>
              <a:gd name="connsiteY72912" fmla="*/ 3459786 h 5973007"/>
              <a:gd name="connsiteX72913" fmla="*/ 385456 w 6884782"/>
              <a:gd name="connsiteY72913" fmla="*/ 3458857 h 5973007"/>
              <a:gd name="connsiteX72914" fmla="*/ 382461 w 6884782"/>
              <a:gd name="connsiteY72914" fmla="*/ 3455914 h 5973007"/>
              <a:gd name="connsiteX72915" fmla="*/ 384010 w 6884782"/>
              <a:gd name="connsiteY72915" fmla="*/ 3453126 h 5973007"/>
              <a:gd name="connsiteX72916" fmla="*/ 387727 w 6884782"/>
              <a:gd name="connsiteY72916" fmla="*/ 3452351 h 5973007"/>
              <a:gd name="connsiteX72917" fmla="*/ 394026 w 6884782"/>
              <a:gd name="connsiteY72917" fmla="*/ 3455139 h 5973007"/>
              <a:gd name="connsiteX72918" fmla="*/ 393096 w 6884782"/>
              <a:gd name="connsiteY72918" fmla="*/ 3456533 h 5973007"/>
              <a:gd name="connsiteX72919" fmla="*/ 400221 w 6884782"/>
              <a:gd name="connsiteY72919" fmla="*/ 3460715 h 5973007"/>
              <a:gd name="connsiteX72920" fmla="*/ 404661 w 6884782"/>
              <a:gd name="connsiteY72920" fmla="*/ 3467531 h 5973007"/>
              <a:gd name="connsiteX72921" fmla="*/ 405487 w 6884782"/>
              <a:gd name="connsiteY72921" fmla="*/ 3472333 h 5973007"/>
              <a:gd name="connsiteX72922" fmla="*/ 407656 w 6884782"/>
              <a:gd name="connsiteY72922" fmla="*/ 3469235 h 5973007"/>
              <a:gd name="connsiteX72923" fmla="*/ 420047 w 6884782"/>
              <a:gd name="connsiteY72923" fmla="*/ 3461335 h 5973007"/>
              <a:gd name="connsiteX72924" fmla="*/ 422008 w 6884782"/>
              <a:gd name="connsiteY72924" fmla="*/ 3462729 h 5973007"/>
              <a:gd name="connsiteX72925" fmla="*/ 421698 w 6884782"/>
              <a:gd name="connsiteY72925" fmla="*/ 3460405 h 5973007"/>
              <a:gd name="connsiteX72926" fmla="*/ 420356 w 6884782"/>
              <a:gd name="connsiteY72926" fmla="*/ 3440424 h 5973007"/>
              <a:gd name="connsiteX72927" fmla="*/ 420356 w 6884782"/>
              <a:gd name="connsiteY72927" fmla="*/ 3439959 h 5973007"/>
              <a:gd name="connsiteX72928" fmla="*/ 415297 w 6884782"/>
              <a:gd name="connsiteY72928" fmla="*/ 3449253 h 5973007"/>
              <a:gd name="connsiteX72929" fmla="*/ 405281 w 6884782"/>
              <a:gd name="connsiteY72929" fmla="*/ 3458237 h 5973007"/>
              <a:gd name="connsiteX72930" fmla="*/ 415503 w 6884782"/>
              <a:gd name="connsiteY72930" fmla="*/ 3441353 h 5973007"/>
              <a:gd name="connsiteX72931" fmla="*/ 420356 w 6884782"/>
              <a:gd name="connsiteY72931" fmla="*/ 3439030 h 5973007"/>
              <a:gd name="connsiteX72932" fmla="*/ 420666 w 6884782"/>
              <a:gd name="connsiteY72932" fmla="*/ 3429581 h 5973007"/>
              <a:gd name="connsiteX72933" fmla="*/ 421595 w 6884782"/>
              <a:gd name="connsiteY72933" fmla="*/ 3419048 h 5973007"/>
              <a:gd name="connsiteX72934" fmla="*/ 416226 w 6884782"/>
              <a:gd name="connsiteY72934" fmla="*/ 3417190 h 5973007"/>
              <a:gd name="connsiteX72935" fmla="*/ 416226 w 6884782"/>
              <a:gd name="connsiteY72935" fmla="*/ 3411613 h 5973007"/>
              <a:gd name="connsiteX72936" fmla="*/ 413438 w 6884782"/>
              <a:gd name="connsiteY72936" fmla="*/ 3413317 h 5973007"/>
              <a:gd name="connsiteX72937" fmla="*/ 408069 w 6884782"/>
              <a:gd name="connsiteY72937" fmla="*/ 3412697 h 5973007"/>
              <a:gd name="connsiteX72938" fmla="*/ 406417 w 6884782"/>
              <a:gd name="connsiteY72938" fmla="*/ 3408980 h 5973007"/>
              <a:gd name="connsiteX72939" fmla="*/ 410753 w 6884782"/>
              <a:gd name="connsiteY72939" fmla="*/ 3401700 h 5973007"/>
              <a:gd name="connsiteX72940" fmla="*/ 415710 w 6884782"/>
              <a:gd name="connsiteY72940" fmla="*/ 3402939 h 5973007"/>
              <a:gd name="connsiteX72941" fmla="*/ 416536 w 6884782"/>
              <a:gd name="connsiteY72941" fmla="*/ 3405108 h 5973007"/>
              <a:gd name="connsiteX72942" fmla="*/ 417568 w 6884782"/>
              <a:gd name="connsiteY72942" fmla="*/ 3398137 h 5973007"/>
              <a:gd name="connsiteX72943" fmla="*/ 420563 w 6884782"/>
              <a:gd name="connsiteY72943" fmla="*/ 3386055 h 5973007"/>
              <a:gd name="connsiteX72944" fmla="*/ 414987 w 6884782"/>
              <a:gd name="connsiteY72944" fmla="*/ 3382028 h 5973007"/>
              <a:gd name="connsiteX72945" fmla="*/ 423867 w 6884782"/>
              <a:gd name="connsiteY72945" fmla="*/ 3377691 h 5973007"/>
              <a:gd name="connsiteX72946" fmla="*/ 419117 w 6884782"/>
              <a:gd name="connsiteY72946" fmla="*/ 3356470 h 5973007"/>
              <a:gd name="connsiteX72947" fmla="*/ 421595 w 6884782"/>
              <a:gd name="connsiteY72947" fmla="*/ 3365299 h 5973007"/>
              <a:gd name="connsiteX72948" fmla="*/ 426965 w 6884782"/>
              <a:gd name="connsiteY72948" fmla="*/ 3350584 h 5973007"/>
              <a:gd name="connsiteX72949" fmla="*/ 426965 w 6884782"/>
              <a:gd name="connsiteY72949" fmla="*/ 3350429 h 5973007"/>
              <a:gd name="connsiteX72950" fmla="*/ 421492 w 6884782"/>
              <a:gd name="connsiteY72950" fmla="*/ 3351049 h 5973007"/>
              <a:gd name="connsiteX72951" fmla="*/ 404248 w 6884782"/>
              <a:gd name="connsiteY72951" fmla="*/ 3352288 h 5973007"/>
              <a:gd name="connsiteX72952" fmla="*/ 414677 w 6884782"/>
              <a:gd name="connsiteY72952" fmla="*/ 3345627 h 5973007"/>
              <a:gd name="connsiteX72953" fmla="*/ 420976 w 6884782"/>
              <a:gd name="connsiteY72953" fmla="*/ 3343614 h 5973007"/>
              <a:gd name="connsiteX72954" fmla="*/ 422731 w 6884782"/>
              <a:gd name="connsiteY72954" fmla="*/ 3343459 h 5973007"/>
              <a:gd name="connsiteX72955" fmla="*/ 424693 w 6884782"/>
              <a:gd name="connsiteY72955" fmla="*/ 3341755 h 5973007"/>
              <a:gd name="connsiteX72956" fmla="*/ 427275 w 6884782"/>
              <a:gd name="connsiteY72956" fmla="*/ 3332461 h 5973007"/>
              <a:gd name="connsiteX72957" fmla="*/ 421802 w 6884782"/>
              <a:gd name="connsiteY72957" fmla="*/ 3330602 h 5973007"/>
              <a:gd name="connsiteX72958" fmla="*/ 424074 w 6884782"/>
              <a:gd name="connsiteY72958" fmla="*/ 3327504 h 5973007"/>
              <a:gd name="connsiteX72959" fmla="*/ 421698 w 6884782"/>
              <a:gd name="connsiteY72959" fmla="*/ 3327350 h 5973007"/>
              <a:gd name="connsiteX72960" fmla="*/ 409824 w 6884782"/>
              <a:gd name="connsiteY72960" fmla="*/ 3334010 h 5973007"/>
              <a:gd name="connsiteX72961" fmla="*/ 384114 w 6884782"/>
              <a:gd name="connsiteY72961" fmla="*/ 3325181 h 5973007"/>
              <a:gd name="connsiteX72962" fmla="*/ 368522 w 6884782"/>
              <a:gd name="connsiteY72962" fmla="*/ 3298074 h 5973007"/>
              <a:gd name="connsiteX72963" fmla="*/ 371826 w 6884782"/>
              <a:gd name="connsiteY72963" fmla="*/ 3290329 h 5973007"/>
              <a:gd name="connsiteX72964" fmla="*/ 373271 w 6884782"/>
              <a:gd name="connsiteY72964" fmla="*/ 3283669 h 5973007"/>
              <a:gd name="connsiteX72965" fmla="*/ 369554 w 6884782"/>
              <a:gd name="connsiteY72965" fmla="*/ 3284753 h 5973007"/>
              <a:gd name="connsiteX72966" fmla="*/ 362946 w 6884782"/>
              <a:gd name="connsiteY72966" fmla="*/ 3285992 h 5973007"/>
              <a:gd name="connsiteX72967" fmla="*/ 353136 w 6884782"/>
              <a:gd name="connsiteY72967" fmla="*/ 3275924 h 5973007"/>
              <a:gd name="connsiteX72968" fmla="*/ 353860 w 6884782"/>
              <a:gd name="connsiteY72968" fmla="*/ 3275150 h 5973007"/>
              <a:gd name="connsiteX72969" fmla="*/ 354582 w 6884782"/>
              <a:gd name="connsiteY72969" fmla="*/ 3273446 h 5973007"/>
              <a:gd name="connsiteX72970" fmla="*/ 353550 w 6884782"/>
              <a:gd name="connsiteY72970" fmla="*/ 3270812 h 5973007"/>
              <a:gd name="connsiteX72971" fmla="*/ 354892 w 6884782"/>
              <a:gd name="connsiteY72971" fmla="*/ 3268334 h 5973007"/>
              <a:gd name="connsiteX72972" fmla="*/ 359125 w 6884782"/>
              <a:gd name="connsiteY72972" fmla="*/ 3266785 h 5973007"/>
              <a:gd name="connsiteX72973" fmla="*/ 359848 w 6884782"/>
              <a:gd name="connsiteY72973" fmla="*/ 3267560 h 5973007"/>
              <a:gd name="connsiteX72974" fmla="*/ 365011 w 6884782"/>
              <a:gd name="connsiteY72974" fmla="*/ 3266166 h 5973007"/>
              <a:gd name="connsiteX72975" fmla="*/ 368315 w 6884782"/>
              <a:gd name="connsiteY72975" fmla="*/ 3266630 h 5973007"/>
              <a:gd name="connsiteX72976" fmla="*/ 363359 w 6884782"/>
              <a:gd name="connsiteY72976" fmla="*/ 3265391 h 5973007"/>
              <a:gd name="connsiteX72977" fmla="*/ 361604 w 6884782"/>
              <a:gd name="connsiteY72977" fmla="*/ 3264617 h 5973007"/>
              <a:gd name="connsiteX72978" fmla="*/ 361500 w 6884782"/>
              <a:gd name="connsiteY72978" fmla="*/ 3265546 h 5973007"/>
              <a:gd name="connsiteX72979" fmla="*/ 360571 w 6884782"/>
              <a:gd name="connsiteY72979" fmla="*/ 3264462 h 5973007"/>
              <a:gd name="connsiteX72980" fmla="*/ 360468 w 6884782"/>
              <a:gd name="connsiteY72980" fmla="*/ 3264462 h 5973007"/>
              <a:gd name="connsiteX72981" fmla="*/ 359538 w 6884782"/>
              <a:gd name="connsiteY72981" fmla="*/ 3264462 h 5973007"/>
              <a:gd name="connsiteX72982" fmla="*/ 356647 w 6884782"/>
              <a:gd name="connsiteY72982" fmla="*/ 3261983 h 5973007"/>
              <a:gd name="connsiteX72983" fmla="*/ 356751 w 6884782"/>
              <a:gd name="connsiteY72983" fmla="*/ 3261209 h 5973007"/>
              <a:gd name="connsiteX72984" fmla="*/ 352001 w 6884782"/>
              <a:gd name="connsiteY72984" fmla="*/ 3261364 h 5973007"/>
              <a:gd name="connsiteX72985" fmla="*/ 350555 w 6884782"/>
              <a:gd name="connsiteY72985" fmla="*/ 3261054 h 5973007"/>
              <a:gd name="connsiteX72986" fmla="*/ 350245 w 6884782"/>
              <a:gd name="connsiteY72986" fmla="*/ 3261519 h 5973007"/>
              <a:gd name="connsiteX72987" fmla="*/ 349522 w 6884782"/>
              <a:gd name="connsiteY72987" fmla="*/ 3260899 h 5973007"/>
              <a:gd name="connsiteX72988" fmla="*/ 345083 w 6884782"/>
              <a:gd name="connsiteY72988" fmla="*/ 3260124 h 5973007"/>
              <a:gd name="connsiteX72989" fmla="*/ 341778 w 6884782"/>
              <a:gd name="connsiteY72989" fmla="*/ 3256407 h 5973007"/>
              <a:gd name="connsiteX72990" fmla="*/ 347664 w 6884782"/>
              <a:gd name="connsiteY72990" fmla="*/ 3255633 h 5973007"/>
              <a:gd name="connsiteX72991" fmla="*/ 347974 w 6884782"/>
              <a:gd name="connsiteY72991" fmla="*/ 3255323 h 5973007"/>
              <a:gd name="connsiteX72992" fmla="*/ 348387 w 6884782"/>
              <a:gd name="connsiteY72992" fmla="*/ 3255478 h 5973007"/>
              <a:gd name="connsiteX72993" fmla="*/ 355202 w 6884782"/>
              <a:gd name="connsiteY72993" fmla="*/ 3254858 h 5973007"/>
              <a:gd name="connsiteX72994" fmla="*/ 361810 w 6884782"/>
              <a:gd name="connsiteY72994" fmla="*/ 3255943 h 5973007"/>
              <a:gd name="connsiteX72995" fmla="*/ 361913 w 6884782"/>
              <a:gd name="connsiteY72995" fmla="*/ 3255013 h 5973007"/>
              <a:gd name="connsiteX72996" fmla="*/ 362533 w 6884782"/>
              <a:gd name="connsiteY72996" fmla="*/ 3242776 h 5973007"/>
              <a:gd name="connsiteX72997" fmla="*/ 371206 w 6884782"/>
              <a:gd name="connsiteY72997" fmla="*/ 3244480 h 5973007"/>
              <a:gd name="connsiteX72998" fmla="*/ 377092 w 6884782"/>
              <a:gd name="connsiteY72998" fmla="*/ 3256252 h 5973007"/>
              <a:gd name="connsiteX72999" fmla="*/ 376886 w 6884782"/>
              <a:gd name="connsiteY72999" fmla="*/ 3256562 h 5973007"/>
              <a:gd name="connsiteX73000" fmla="*/ 376886 w 6884782"/>
              <a:gd name="connsiteY73000" fmla="*/ 3261519 h 5973007"/>
              <a:gd name="connsiteX73001" fmla="*/ 375337 w 6884782"/>
              <a:gd name="connsiteY73001" fmla="*/ 3262293 h 5973007"/>
              <a:gd name="connsiteX73002" fmla="*/ 376059 w 6884782"/>
              <a:gd name="connsiteY73002" fmla="*/ 3265236 h 5973007"/>
              <a:gd name="connsiteX73003" fmla="*/ 369657 w 6884782"/>
              <a:gd name="connsiteY73003" fmla="*/ 3267095 h 5973007"/>
              <a:gd name="connsiteX73004" fmla="*/ 374614 w 6884782"/>
              <a:gd name="connsiteY73004" fmla="*/ 3277318 h 5973007"/>
              <a:gd name="connsiteX73005" fmla="*/ 373994 w 6884782"/>
              <a:gd name="connsiteY73005" fmla="*/ 3279642 h 5973007"/>
              <a:gd name="connsiteX73006" fmla="*/ 373891 w 6884782"/>
              <a:gd name="connsiteY73006" fmla="*/ 3280881 h 5973007"/>
              <a:gd name="connsiteX73007" fmla="*/ 376782 w 6884782"/>
              <a:gd name="connsiteY73007" fmla="*/ 3272671 h 5973007"/>
              <a:gd name="connsiteX73008" fmla="*/ 383288 w 6884782"/>
              <a:gd name="connsiteY73008" fmla="*/ 3266785 h 5973007"/>
              <a:gd name="connsiteX73009" fmla="*/ 395368 w 6884782"/>
              <a:gd name="connsiteY73009" fmla="*/ 3266321 h 5973007"/>
              <a:gd name="connsiteX73010" fmla="*/ 395781 w 6884782"/>
              <a:gd name="connsiteY73010" fmla="*/ 3266166 h 5973007"/>
              <a:gd name="connsiteX73011" fmla="*/ 395575 w 6884782"/>
              <a:gd name="connsiteY73011" fmla="*/ 3266011 h 5973007"/>
              <a:gd name="connsiteX73012" fmla="*/ 396091 w 6884782"/>
              <a:gd name="connsiteY73012" fmla="*/ 3265546 h 5973007"/>
              <a:gd name="connsiteX73013" fmla="*/ 397020 w 6884782"/>
              <a:gd name="connsiteY73013" fmla="*/ 3264771 h 5973007"/>
              <a:gd name="connsiteX73014" fmla="*/ 397330 w 6884782"/>
              <a:gd name="connsiteY73014" fmla="*/ 3264617 h 5973007"/>
              <a:gd name="connsiteX73015" fmla="*/ 398363 w 6884782"/>
              <a:gd name="connsiteY73015" fmla="*/ 3265236 h 5973007"/>
              <a:gd name="connsiteX73016" fmla="*/ 399808 w 6884782"/>
              <a:gd name="connsiteY73016" fmla="*/ 3264617 h 5973007"/>
              <a:gd name="connsiteX73017" fmla="*/ 404455 w 6884782"/>
              <a:gd name="connsiteY73017" fmla="*/ 3263222 h 5973007"/>
              <a:gd name="connsiteX73018" fmla="*/ 415813 w 6884782"/>
              <a:gd name="connsiteY73018" fmla="*/ 3268334 h 5973007"/>
              <a:gd name="connsiteX73019" fmla="*/ 419014 w 6884782"/>
              <a:gd name="connsiteY73019" fmla="*/ 3270503 h 5973007"/>
              <a:gd name="connsiteX73020" fmla="*/ 422008 w 6884782"/>
              <a:gd name="connsiteY73020" fmla="*/ 3272052 h 5973007"/>
              <a:gd name="connsiteX73021" fmla="*/ 422318 w 6884782"/>
              <a:gd name="connsiteY73021" fmla="*/ 3272207 h 5973007"/>
              <a:gd name="connsiteX73022" fmla="*/ 429443 w 6884782"/>
              <a:gd name="connsiteY73022" fmla="*/ 3273291 h 5973007"/>
              <a:gd name="connsiteX73023" fmla="*/ 435431 w 6884782"/>
              <a:gd name="connsiteY73023" fmla="*/ 3277473 h 5973007"/>
              <a:gd name="connsiteX73024" fmla="*/ 437084 w 6884782"/>
              <a:gd name="connsiteY73024" fmla="*/ 3281190 h 5973007"/>
              <a:gd name="connsiteX73025" fmla="*/ 437394 w 6884782"/>
              <a:gd name="connsiteY73025" fmla="*/ 3283978 h 5973007"/>
              <a:gd name="connsiteX73026" fmla="*/ 438116 w 6884782"/>
              <a:gd name="connsiteY73026" fmla="*/ 3282585 h 5973007"/>
              <a:gd name="connsiteX73027" fmla="*/ 446583 w 6884782"/>
              <a:gd name="connsiteY73027" fmla="*/ 3284598 h 5973007"/>
              <a:gd name="connsiteX73028" fmla="*/ 441833 w 6884782"/>
              <a:gd name="connsiteY73028" fmla="*/ 3279332 h 5973007"/>
              <a:gd name="connsiteX73029" fmla="*/ 444002 w 6884782"/>
              <a:gd name="connsiteY73029" fmla="*/ 3275614 h 5973007"/>
              <a:gd name="connsiteX73030" fmla="*/ 443692 w 6884782"/>
              <a:gd name="connsiteY73030" fmla="*/ 3271587 h 5973007"/>
              <a:gd name="connsiteX73031" fmla="*/ 448855 w 6884782"/>
              <a:gd name="connsiteY73031" fmla="*/ 3272516 h 5973007"/>
              <a:gd name="connsiteX73032" fmla="*/ 446067 w 6884782"/>
              <a:gd name="connsiteY73032" fmla="*/ 3276079 h 5973007"/>
              <a:gd name="connsiteX73033" fmla="*/ 444518 w 6884782"/>
              <a:gd name="connsiteY73033" fmla="*/ 3275769 h 5973007"/>
              <a:gd name="connsiteX73034" fmla="*/ 446687 w 6884782"/>
              <a:gd name="connsiteY73034" fmla="*/ 3279796 h 5973007"/>
              <a:gd name="connsiteX73035" fmla="*/ 453295 w 6884782"/>
              <a:gd name="connsiteY73035" fmla="*/ 3282585 h 5973007"/>
              <a:gd name="connsiteX73036" fmla="*/ 454947 w 6884782"/>
              <a:gd name="connsiteY73036" fmla="*/ 3279487 h 5973007"/>
              <a:gd name="connsiteX73037" fmla="*/ 454637 w 6884782"/>
              <a:gd name="connsiteY73037" fmla="*/ 3277628 h 5973007"/>
              <a:gd name="connsiteX73038" fmla="*/ 454431 w 6884782"/>
              <a:gd name="connsiteY73038" fmla="*/ 3277783 h 5973007"/>
              <a:gd name="connsiteX73039" fmla="*/ 453915 w 6884782"/>
              <a:gd name="connsiteY73039" fmla="*/ 3276234 h 5973007"/>
              <a:gd name="connsiteX73040" fmla="*/ 452262 w 6884782"/>
              <a:gd name="connsiteY73040" fmla="*/ 3276079 h 5973007"/>
              <a:gd name="connsiteX73041" fmla="*/ 450198 w 6884782"/>
              <a:gd name="connsiteY73041" fmla="*/ 3272826 h 5973007"/>
              <a:gd name="connsiteX73042" fmla="*/ 452779 w 6884782"/>
              <a:gd name="connsiteY73042" fmla="*/ 3273446 h 5973007"/>
              <a:gd name="connsiteX73043" fmla="*/ 451333 w 6884782"/>
              <a:gd name="connsiteY73043" fmla="*/ 3269728 h 5973007"/>
              <a:gd name="connsiteX73044" fmla="*/ 456703 w 6884782"/>
              <a:gd name="connsiteY73044" fmla="*/ 3264462 h 5973007"/>
              <a:gd name="connsiteX73045" fmla="*/ 459387 w 6884782"/>
              <a:gd name="connsiteY73045" fmla="*/ 3267869 h 5973007"/>
              <a:gd name="connsiteX73046" fmla="*/ 461762 w 6884782"/>
              <a:gd name="connsiteY73046" fmla="*/ 3262293 h 5973007"/>
              <a:gd name="connsiteX73047" fmla="*/ 462382 w 6884782"/>
              <a:gd name="connsiteY73047" fmla="*/ 3266475 h 5973007"/>
              <a:gd name="connsiteX73048" fmla="*/ 461453 w 6884782"/>
              <a:gd name="connsiteY73048" fmla="*/ 3270193 h 5973007"/>
              <a:gd name="connsiteX73049" fmla="*/ 462485 w 6884782"/>
              <a:gd name="connsiteY73049" fmla="*/ 3271432 h 5973007"/>
              <a:gd name="connsiteX73050" fmla="*/ 465479 w 6884782"/>
              <a:gd name="connsiteY73050" fmla="*/ 3270193 h 5973007"/>
              <a:gd name="connsiteX73051" fmla="*/ 467338 w 6884782"/>
              <a:gd name="connsiteY73051" fmla="*/ 3263532 h 5973007"/>
              <a:gd name="connsiteX73052" fmla="*/ 467958 w 6884782"/>
              <a:gd name="connsiteY73052" fmla="*/ 3273755 h 5973007"/>
              <a:gd name="connsiteX73053" fmla="*/ 473533 w 6884782"/>
              <a:gd name="connsiteY73053" fmla="*/ 3253154 h 5973007"/>
              <a:gd name="connsiteX73054" fmla="*/ 473636 w 6884782"/>
              <a:gd name="connsiteY73054" fmla="*/ 3252070 h 5973007"/>
              <a:gd name="connsiteX73055" fmla="*/ 465995 w 6884782"/>
              <a:gd name="connsiteY73055" fmla="*/ 3248042 h 5973007"/>
              <a:gd name="connsiteX73056" fmla="*/ 458045 w 6884782"/>
              <a:gd name="connsiteY73056" fmla="*/ 3241382 h 5973007"/>
              <a:gd name="connsiteX73057" fmla="*/ 470435 w 6884782"/>
              <a:gd name="connsiteY73057" fmla="*/ 3238904 h 5973007"/>
              <a:gd name="connsiteX73058" fmla="*/ 473017 w 6884782"/>
              <a:gd name="connsiteY73058" fmla="*/ 3239368 h 5973007"/>
              <a:gd name="connsiteX73059" fmla="*/ 470642 w 6884782"/>
              <a:gd name="connsiteY73059" fmla="*/ 3233482 h 5973007"/>
              <a:gd name="connsiteX73060" fmla="*/ 471881 w 6884782"/>
              <a:gd name="connsiteY73060" fmla="*/ 3230849 h 5973007"/>
              <a:gd name="connsiteX73061" fmla="*/ 473740 w 6884782"/>
              <a:gd name="connsiteY73061" fmla="*/ 3228061 h 5973007"/>
              <a:gd name="connsiteX73062" fmla="*/ 472707 w 6884782"/>
              <a:gd name="connsiteY73062" fmla="*/ 3227287 h 5973007"/>
              <a:gd name="connsiteX73063" fmla="*/ 473946 w 6884782"/>
              <a:gd name="connsiteY73063" fmla="*/ 3226512 h 5973007"/>
              <a:gd name="connsiteX73064" fmla="*/ 473946 w 6884782"/>
              <a:gd name="connsiteY73064" fmla="*/ 3225583 h 5973007"/>
              <a:gd name="connsiteX73065" fmla="*/ 472191 w 6884782"/>
              <a:gd name="connsiteY73065" fmla="*/ 3223724 h 5973007"/>
              <a:gd name="connsiteX73066" fmla="*/ 477044 w 6884782"/>
              <a:gd name="connsiteY73066" fmla="*/ 3217838 h 5973007"/>
              <a:gd name="connsiteX73067" fmla="*/ 475495 w 6884782"/>
              <a:gd name="connsiteY73067" fmla="*/ 3217683 h 5973007"/>
              <a:gd name="connsiteX73068" fmla="*/ 472811 w 6884782"/>
              <a:gd name="connsiteY73068" fmla="*/ 3213656 h 5973007"/>
              <a:gd name="connsiteX73069" fmla="*/ 473843 w 6884782"/>
              <a:gd name="connsiteY73069" fmla="*/ 3211952 h 5973007"/>
              <a:gd name="connsiteX73070" fmla="*/ 477870 w 6884782"/>
              <a:gd name="connsiteY73070" fmla="*/ 3212726 h 5973007"/>
              <a:gd name="connsiteX73071" fmla="*/ 478593 w 6884782"/>
              <a:gd name="connsiteY73071" fmla="*/ 3215360 h 5973007"/>
              <a:gd name="connsiteX73072" fmla="*/ 481174 w 6884782"/>
              <a:gd name="connsiteY73072" fmla="*/ 3206531 h 5973007"/>
              <a:gd name="connsiteX73073" fmla="*/ 481587 w 6884782"/>
              <a:gd name="connsiteY73073" fmla="*/ 3204052 h 5973007"/>
              <a:gd name="connsiteX73074" fmla="*/ 479626 w 6884782"/>
              <a:gd name="connsiteY73074" fmla="*/ 3201264 h 5973007"/>
              <a:gd name="connsiteX73075" fmla="*/ 480658 w 6884782"/>
              <a:gd name="connsiteY73075" fmla="*/ 3199560 h 5973007"/>
              <a:gd name="connsiteX73076" fmla="*/ 482310 w 6884782"/>
              <a:gd name="connsiteY73076" fmla="*/ 3197856 h 5973007"/>
              <a:gd name="connsiteX73077" fmla="*/ 482413 w 6884782"/>
              <a:gd name="connsiteY73077" fmla="*/ 3197856 h 5973007"/>
              <a:gd name="connsiteX73078" fmla="*/ 482517 w 6884782"/>
              <a:gd name="connsiteY73078" fmla="*/ 3197546 h 5973007"/>
              <a:gd name="connsiteX73079" fmla="*/ 485924 w 6884782"/>
              <a:gd name="connsiteY73079" fmla="*/ 3191351 h 5973007"/>
              <a:gd name="connsiteX73080" fmla="*/ 486131 w 6884782"/>
              <a:gd name="connsiteY73080" fmla="*/ 3195842 h 5973007"/>
              <a:gd name="connsiteX73081" fmla="*/ 486234 w 6884782"/>
              <a:gd name="connsiteY73081" fmla="*/ 3196617 h 5973007"/>
              <a:gd name="connsiteX73082" fmla="*/ 487060 w 6884782"/>
              <a:gd name="connsiteY73082" fmla="*/ 3196307 h 5973007"/>
              <a:gd name="connsiteX73083" fmla="*/ 490364 w 6884782"/>
              <a:gd name="connsiteY73083" fmla="*/ 3198011 h 5973007"/>
              <a:gd name="connsiteX73084" fmla="*/ 491294 w 6884782"/>
              <a:gd name="connsiteY73084" fmla="*/ 3199405 h 5973007"/>
              <a:gd name="connsiteX73085" fmla="*/ 491087 w 6884782"/>
              <a:gd name="connsiteY73085" fmla="*/ 3199870 h 5973007"/>
              <a:gd name="connsiteX73086" fmla="*/ 495114 w 6884782"/>
              <a:gd name="connsiteY73086" fmla="*/ 3200335 h 5973007"/>
              <a:gd name="connsiteX73087" fmla="*/ 508950 w 6884782"/>
              <a:gd name="connsiteY73087" fmla="*/ 3170285 h 5973007"/>
              <a:gd name="connsiteX73088" fmla="*/ 511945 w 6884782"/>
              <a:gd name="connsiteY73088" fmla="*/ 3164244 h 5973007"/>
              <a:gd name="connsiteX73089" fmla="*/ 509983 w 6884782"/>
              <a:gd name="connsiteY73089" fmla="*/ 3162695 h 5973007"/>
              <a:gd name="connsiteX73090" fmla="*/ 513803 w 6884782"/>
              <a:gd name="connsiteY73090" fmla="*/ 3159287 h 5973007"/>
              <a:gd name="connsiteX73091" fmla="*/ 514320 w 6884782"/>
              <a:gd name="connsiteY73091" fmla="*/ 3159752 h 5973007"/>
              <a:gd name="connsiteX73092" fmla="*/ 516385 w 6884782"/>
              <a:gd name="connsiteY73092" fmla="*/ 3155570 h 5973007"/>
              <a:gd name="connsiteX73093" fmla="*/ 516591 w 6884782"/>
              <a:gd name="connsiteY73093" fmla="*/ 3154950 h 5973007"/>
              <a:gd name="connsiteX73094" fmla="*/ 515042 w 6884782"/>
              <a:gd name="connsiteY73094" fmla="*/ 3154331 h 5973007"/>
              <a:gd name="connsiteX73095" fmla="*/ 513493 w 6884782"/>
              <a:gd name="connsiteY73095" fmla="*/ 3152317 h 5973007"/>
              <a:gd name="connsiteX73096" fmla="*/ 513803 w 6884782"/>
              <a:gd name="connsiteY73096" fmla="*/ 3149529 h 5973007"/>
              <a:gd name="connsiteX73097" fmla="*/ 515559 w 6884782"/>
              <a:gd name="connsiteY73097" fmla="*/ 3147515 h 5973007"/>
              <a:gd name="connsiteX73098" fmla="*/ 518037 w 6884782"/>
              <a:gd name="connsiteY73098" fmla="*/ 3146896 h 5973007"/>
              <a:gd name="connsiteX73099" fmla="*/ 519172 w 6884782"/>
              <a:gd name="connsiteY73099" fmla="*/ 3146896 h 5973007"/>
              <a:gd name="connsiteX73100" fmla="*/ 520515 w 6884782"/>
              <a:gd name="connsiteY73100" fmla="*/ 3142403 h 5973007"/>
              <a:gd name="connsiteX73101" fmla="*/ 516488 w 6884782"/>
              <a:gd name="connsiteY73101" fmla="*/ 3140080 h 5973007"/>
              <a:gd name="connsiteX73102" fmla="*/ 513493 w 6884782"/>
              <a:gd name="connsiteY73102" fmla="*/ 3134194 h 5973007"/>
              <a:gd name="connsiteX73103" fmla="*/ 524852 w 6884782"/>
              <a:gd name="connsiteY73103" fmla="*/ 3137292 h 5973007"/>
              <a:gd name="connsiteX73104" fmla="*/ 527949 w 6884782"/>
              <a:gd name="connsiteY73104" fmla="*/ 3134504 h 5973007"/>
              <a:gd name="connsiteX73105" fmla="*/ 532493 w 6884782"/>
              <a:gd name="connsiteY73105" fmla="*/ 3128308 h 5973007"/>
              <a:gd name="connsiteX73106" fmla="*/ 532906 w 6884782"/>
              <a:gd name="connsiteY73106" fmla="*/ 3127533 h 5973007"/>
              <a:gd name="connsiteX73107" fmla="*/ 531770 w 6884782"/>
              <a:gd name="connsiteY73107" fmla="*/ 3127224 h 5973007"/>
              <a:gd name="connsiteX73108" fmla="*/ 526710 w 6884782"/>
              <a:gd name="connsiteY73108" fmla="*/ 3115606 h 5973007"/>
              <a:gd name="connsiteX73109" fmla="*/ 522373 w 6884782"/>
              <a:gd name="connsiteY73109" fmla="*/ 3108171 h 5973007"/>
              <a:gd name="connsiteX73110" fmla="*/ 521548 w 6884782"/>
              <a:gd name="connsiteY73110" fmla="*/ 3107397 h 5973007"/>
              <a:gd name="connsiteX73111" fmla="*/ 511531 w 6884782"/>
              <a:gd name="connsiteY73111" fmla="*/ 3127843 h 5973007"/>
              <a:gd name="connsiteX73112" fmla="*/ 498315 w 6884782"/>
              <a:gd name="connsiteY73112" fmla="*/ 3143642 h 5973007"/>
              <a:gd name="connsiteX73113" fmla="*/ 506059 w 6884782"/>
              <a:gd name="connsiteY73113" fmla="*/ 3133264 h 5973007"/>
              <a:gd name="connsiteX73114" fmla="*/ 499863 w 6884782"/>
              <a:gd name="connsiteY73114" fmla="*/ 3134659 h 5973007"/>
              <a:gd name="connsiteX73115" fmla="*/ 495527 w 6884782"/>
              <a:gd name="connsiteY73115" fmla="*/ 3137602 h 5973007"/>
              <a:gd name="connsiteX73116" fmla="*/ 496559 w 6884782"/>
              <a:gd name="connsiteY73116" fmla="*/ 3139615 h 5973007"/>
              <a:gd name="connsiteX73117" fmla="*/ 492946 w 6884782"/>
              <a:gd name="connsiteY73117" fmla="*/ 3149993 h 5973007"/>
              <a:gd name="connsiteX73118" fmla="*/ 488402 w 6884782"/>
              <a:gd name="connsiteY73118" fmla="*/ 3147670 h 5973007"/>
              <a:gd name="connsiteX73119" fmla="*/ 487886 w 6884782"/>
              <a:gd name="connsiteY73119" fmla="*/ 3147050 h 5973007"/>
              <a:gd name="connsiteX73120" fmla="*/ 485924 w 6884782"/>
              <a:gd name="connsiteY73120" fmla="*/ 3149529 h 5973007"/>
              <a:gd name="connsiteX73121" fmla="*/ 484375 w 6884782"/>
              <a:gd name="connsiteY73121" fmla="*/ 3145966 h 5973007"/>
              <a:gd name="connsiteX73122" fmla="*/ 484582 w 6884782"/>
              <a:gd name="connsiteY73122" fmla="*/ 3142558 h 5973007"/>
              <a:gd name="connsiteX73123" fmla="*/ 482000 w 6884782"/>
              <a:gd name="connsiteY73123" fmla="*/ 3138996 h 5973007"/>
              <a:gd name="connsiteX73124" fmla="*/ 483653 w 6884782"/>
              <a:gd name="connsiteY73124" fmla="*/ 3137602 h 5973007"/>
              <a:gd name="connsiteX73125" fmla="*/ 481897 w 6884782"/>
              <a:gd name="connsiteY73125" fmla="*/ 3135898 h 5973007"/>
              <a:gd name="connsiteX73126" fmla="*/ 494494 w 6884782"/>
              <a:gd name="connsiteY73126" fmla="*/ 3124281 h 5973007"/>
              <a:gd name="connsiteX73127" fmla="*/ 498315 w 6884782"/>
              <a:gd name="connsiteY73127" fmla="*/ 3117930 h 5973007"/>
              <a:gd name="connsiteX73128" fmla="*/ 495424 w 6884782"/>
              <a:gd name="connsiteY73128" fmla="*/ 3115606 h 5973007"/>
              <a:gd name="connsiteX73129" fmla="*/ 490261 w 6884782"/>
              <a:gd name="connsiteY73129" fmla="*/ 3099962 h 5973007"/>
              <a:gd name="connsiteX73130" fmla="*/ 491397 w 6884782"/>
              <a:gd name="connsiteY73130" fmla="*/ 3094540 h 5973007"/>
              <a:gd name="connsiteX73131" fmla="*/ 494185 w 6884782"/>
              <a:gd name="connsiteY73131" fmla="*/ 3089894 h 5973007"/>
              <a:gd name="connsiteX73132" fmla="*/ 493049 w 6884782"/>
              <a:gd name="connsiteY73132" fmla="*/ 3089274 h 5973007"/>
              <a:gd name="connsiteX73133" fmla="*/ 494185 w 6884782"/>
              <a:gd name="connsiteY73133" fmla="*/ 3081219 h 5973007"/>
              <a:gd name="connsiteX73134" fmla="*/ 500586 w 6884782"/>
              <a:gd name="connsiteY73134" fmla="*/ 3080755 h 5973007"/>
              <a:gd name="connsiteX73135" fmla="*/ 500070 w 6884782"/>
              <a:gd name="connsiteY73135" fmla="*/ 3085866 h 5973007"/>
              <a:gd name="connsiteX73136" fmla="*/ 496766 w 6884782"/>
              <a:gd name="connsiteY73136" fmla="*/ 3089894 h 5973007"/>
              <a:gd name="connsiteX73137" fmla="*/ 503684 w 6884782"/>
              <a:gd name="connsiteY73137" fmla="*/ 3090823 h 5973007"/>
              <a:gd name="connsiteX73138" fmla="*/ 510602 w 6884782"/>
              <a:gd name="connsiteY73138" fmla="*/ 3095315 h 5973007"/>
              <a:gd name="connsiteX73139" fmla="*/ 512048 w 6884782"/>
              <a:gd name="connsiteY73139" fmla="*/ 3097638 h 5973007"/>
              <a:gd name="connsiteX73140" fmla="*/ 513906 w 6884782"/>
              <a:gd name="connsiteY73140" fmla="*/ 3094230 h 5973007"/>
              <a:gd name="connsiteX73141" fmla="*/ 516385 w 6884782"/>
              <a:gd name="connsiteY73141" fmla="*/ 3087415 h 5973007"/>
              <a:gd name="connsiteX73142" fmla="*/ 523613 w 6884782"/>
              <a:gd name="connsiteY73142" fmla="*/ 3082923 h 5973007"/>
              <a:gd name="connsiteX73143" fmla="*/ 524955 w 6884782"/>
              <a:gd name="connsiteY73143" fmla="*/ 3081219 h 5973007"/>
              <a:gd name="connsiteX73144" fmla="*/ 523819 w 6884782"/>
              <a:gd name="connsiteY73144" fmla="*/ 3080600 h 5973007"/>
              <a:gd name="connsiteX73145" fmla="*/ 526503 w 6884782"/>
              <a:gd name="connsiteY73145" fmla="*/ 3079516 h 5973007"/>
              <a:gd name="connsiteX73146" fmla="*/ 529085 w 6884782"/>
              <a:gd name="connsiteY73146" fmla="*/ 3076418 h 5973007"/>
              <a:gd name="connsiteX73147" fmla="*/ 529188 w 6884782"/>
              <a:gd name="connsiteY73147" fmla="*/ 3076108 h 5973007"/>
              <a:gd name="connsiteX73148" fmla="*/ 529498 w 6884782"/>
              <a:gd name="connsiteY73148" fmla="*/ 3075953 h 5973007"/>
              <a:gd name="connsiteX73149" fmla="*/ 530015 w 6884782"/>
              <a:gd name="connsiteY73149" fmla="*/ 3075333 h 5973007"/>
              <a:gd name="connsiteX73150" fmla="*/ 536623 w 6884782"/>
              <a:gd name="connsiteY73150" fmla="*/ 3066040 h 5973007"/>
              <a:gd name="connsiteX73151" fmla="*/ 544987 w 6884782"/>
              <a:gd name="connsiteY73151" fmla="*/ 3055817 h 5973007"/>
              <a:gd name="connsiteX73152" fmla="*/ 543438 w 6884782"/>
              <a:gd name="connsiteY73152" fmla="*/ 3046523 h 5973007"/>
              <a:gd name="connsiteX73153" fmla="*/ 548291 w 6884782"/>
              <a:gd name="connsiteY73153" fmla="*/ 3048846 h 5973007"/>
              <a:gd name="connsiteX73154" fmla="*/ 552111 w 6884782"/>
              <a:gd name="connsiteY73154" fmla="*/ 3047917 h 5973007"/>
              <a:gd name="connsiteX73155" fmla="*/ 547052 w 6884782"/>
              <a:gd name="connsiteY73155" fmla="*/ 3043425 h 5973007"/>
              <a:gd name="connsiteX73156" fmla="*/ 540959 w 6884782"/>
              <a:gd name="connsiteY73156" fmla="*/ 3033976 h 5973007"/>
              <a:gd name="connsiteX73157" fmla="*/ 541992 w 6884782"/>
              <a:gd name="connsiteY73157" fmla="*/ 3031807 h 5973007"/>
              <a:gd name="connsiteX73158" fmla="*/ 553144 w 6884782"/>
              <a:gd name="connsiteY73158" fmla="*/ 3040482 h 5973007"/>
              <a:gd name="connsiteX73159" fmla="*/ 555416 w 6884782"/>
              <a:gd name="connsiteY73159" fmla="*/ 3043734 h 5973007"/>
              <a:gd name="connsiteX73160" fmla="*/ 558203 w 6884782"/>
              <a:gd name="connsiteY73160" fmla="*/ 3040017 h 5973007"/>
              <a:gd name="connsiteX73161" fmla="*/ 575860 w 6884782"/>
              <a:gd name="connsiteY73161" fmla="*/ 3024373 h 5973007"/>
              <a:gd name="connsiteX73162" fmla="*/ 574518 w 6884782"/>
              <a:gd name="connsiteY73162" fmla="*/ 3018796 h 5973007"/>
              <a:gd name="connsiteX73163" fmla="*/ 581952 w 6884782"/>
              <a:gd name="connsiteY73163" fmla="*/ 3013839 h 5973007"/>
              <a:gd name="connsiteX73164" fmla="*/ 584844 w 6884782"/>
              <a:gd name="connsiteY73164" fmla="*/ 3005940 h 5973007"/>
              <a:gd name="connsiteX73165" fmla="*/ 592071 w 6884782"/>
              <a:gd name="connsiteY73165" fmla="*/ 3000363 h 5973007"/>
              <a:gd name="connsiteX73166" fmla="*/ 593414 w 6884782"/>
              <a:gd name="connsiteY73166" fmla="*/ 3004391 h 5973007"/>
              <a:gd name="connsiteX73167" fmla="*/ 595376 w 6884782"/>
              <a:gd name="connsiteY73167" fmla="*/ 3002687 h 5973007"/>
              <a:gd name="connsiteX73168" fmla="*/ 603843 w 6884782"/>
              <a:gd name="connsiteY73168" fmla="*/ 2994632 h 5973007"/>
              <a:gd name="connsiteX73169" fmla="*/ 611484 w 6884782"/>
              <a:gd name="connsiteY73169" fmla="*/ 2987197 h 5973007"/>
              <a:gd name="connsiteX73170" fmla="*/ 627282 w 6884782"/>
              <a:gd name="connsiteY73170" fmla="*/ 2972172 h 5973007"/>
              <a:gd name="connsiteX73171" fmla="*/ 632651 w 6884782"/>
              <a:gd name="connsiteY73171" fmla="*/ 2967526 h 5973007"/>
              <a:gd name="connsiteX73172" fmla="*/ 632858 w 6884782"/>
              <a:gd name="connsiteY73172" fmla="*/ 2965357 h 5973007"/>
              <a:gd name="connsiteX73173" fmla="*/ 634200 w 6884782"/>
              <a:gd name="connsiteY73173" fmla="*/ 2966131 h 5973007"/>
              <a:gd name="connsiteX73174" fmla="*/ 635335 w 6884782"/>
              <a:gd name="connsiteY73174" fmla="*/ 2965202 h 5973007"/>
              <a:gd name="connsiteX73175" fmla="*/ 644319 w 6884782"/>
              <a:gd name="connsiteY73175" fmla="*/ 2958541 h 5973007"/>
              <a:gd name="connsiteX73176" fmla="*/ 644732 w 6884782"/>
              <a:gd name="connsiteY73176" fmla="*/ 2960555 h 5973007"/>
              <a:gd name="connsiteX73177" fmla="*/ 645455 w 6884782"/>
              <a:gd name="connsiteY73177" fmla="*/ 2959935 h 5973007"/>
              <a:gd name="connsiteX73178" fmla="*/ 647417 w 6884782"/>
              <a:gd name="connsiteY73178" fmla="*/ 2960245 h 5973007"/>
              <a:gd name="connsiteX73179" fmla="*/ 647520 w 6884782"/>
              <a:gd name="connsiteY73179" fmla="*/ 2960865 h 5973007"/>
              <a:gd name="connsiteX73180" fmla="*/ 650515 w 6884782"/>
              <a:gd name="connsiteY73180" fmla="*/ 2955134 h 5973007"/>
              <a:gd name="connsiteX73181" fmla="*/ 654541 w 6884782"/>
              <a:gd name="connsiteY73181" fmla="*/ 2945220 h 5973007"/>
              <a:gd name="connsiteX73182" fmla="*/ 669307 w 6884782"/>
              <a:gd name="connsiteY73182" fmla="*/ 2937011 h 5973007"/>
              <a:gd name="connsiteX73183" fmla="*/ 669514 w 6884782"/>
              <a:gd name="connsiteY73183" fmla="*/ 2936237 h 5973007"/>
              <a:gd name="connsiteX73184" fmla="*/ 669410 w 6884782"/>
              <a:gd name="connsiteY73184" fmla="*/ 2936237 h 5973007"/>
              <a:gd name="connsiteX73185" fmla="*/ 669927 w 6884782"/>
              <a:gd name="connsiteY73185" fmla="*/ 2933603 h 5973007"/>
              <a:gd name="connsiteX73186" fmla="*/ 669307 w 6884782"/>
              <a:gd name="connsiteY73186" fmla="*/ 2931435 h 5973007"/>
              <a:gd name="connsiteX73187" fmla="*/ 697496 w 6884782"/>
              <a:gd name="connsiteY73187" fmla="*/ 2915635 h 5973007"/>
              <a:gd name="connsiteX73188" fmla="*/ 709990 w 6884782"/>
              <a:gd name="connsiteY73188" fmla="*/ 2914241 h 5973007"/>
              <a:gd name="connsiteX73189" fmla="*/ 715566 w 6884782"/>
              <a:gd name="connsiteY73189" fmla="*/ 2910369 h 5973007"/>
              <a:gd name="connsiteX73190" fmla="*/ 716082 w 6884782"/>
              <a:gd name="connsiteY73190" fmla="*/ 2909439 h 5973007"/>
              <a:gd name="connsiteX73191" fmla="*/ 717631 w 6884782"/>
              <a:gd name="connsiteY73191" fmla="*/ 2909594 h 5973007"/>
              <a:gd name="connsiteX73192" fmla="*/ 717837 w 6884782"/>
              <a:gd name="connsiteY73192" fmla="*/ 2909439 h 5973007"/>
              <a:gd name="connsiteX73193" fmla="*/ 717218 w 6884782"/>
              <a:gd name="connsiteY73193" fmla="*/ 2909130 h 5973007"/>
              <a:gd name="connsiteX73194" fmla="*/ 717941 w 6884782"/>
              <a:gd name="connsiteY73194" fmla="*/ 2904328 h 5973007"/>
              <a:gd name="connsiteX73195" fmla="*/ 718354 w 6884782"/>
              <a:gd name="connsiteY73195" fmla="*/ 2903399 h 5973007"/>
              <a:gd name="connsiteX73196" fmla="*/ 716701 w 6884782"/>
              <a:gd name="connsiteY73196" fmla="*/ 2901695 h 5973007"/>
              <a:gd name="connsiteX73197" fmla="*/ 719180 w 6884782"/>
              <a:gd name="connsiteY73197" fmla="*/ 2901230 h 5973007"/>
              <a:gd name="connsiteX73198" fmla="*/ 719490 w 6884782"/>
              <a:gd name="connsiteY73198" fmla="*/ 2900455 h 5973007"/>
              <a:gd name="connsiteX73199" fmla="*/ 724859 w 6884782"/>
              <a:gd name="connsiteY73199" fmla="*/ 2901075 h 5973007"/>
              <a:gd name="connsiteX73200" fmla="*/ 725995 w 6884782"/>
              <a:gd name="connsiteY73200" fmla="*/ 2901849 h 5973007"/>
              <a:gd name="connsiteX73201" fmla="*/ 729609 w 6884782"/>
              <a:gd name="connsiteY73201" fmla="*/ 2901075 h 5973007"/>
              <a:gd name="connsiteX73202" fmla="*/ 732087 w 6884782"/>
              <a:gd name="connsiteY73202" fmla="*/ 2899061 h 5973007"/>
              <a:gd name="connsiteX73203" fmla="*/ 732500 w 6884782"/>
              <a:gd name="connsiteY73203" fmla="*/ 2897512 h 5973007"/>
              <a:gd name="connsiteX73204" fmla="*/ 731364 w 6884782"/>
              <a:gd name="connsiteY73204" fmla="*/ 2895344 h 5973007"/>
              <a:gd name="connsiteX73205" fmla="*/ 731364 w 6884782"/>
              <a:gd name="connsiteY73205" fmla="*/ 2892866 h 5973007"/>
              <a:gd name="connsiteX73206" fmla="*/ 734462 w 6884782"/>
              <a:gd name="connsiteY73206" fmla="*/ 2889767 h 5973007"/>
              <a:gd name="connsiteX73207" fmla="*/ 739418 w 6884782"/>
              <a:gd name="connsiteY73207" fmla="*/ 2889923 h 5973007"/>
              <a:gd name="connsiteX73208" fmla="*/ 743445 w 6884782"/>
              <a:gd name="connsiteY73208" fmla="*/ 2893950 h 5973007"/>
              <a:gd name="connsiteX73209" fmla="*/ 743548 w 6884782"/>
              <a:gd name="connsiteY73209" fmla="*/ 2893795 h 5973007"/>
              <a:gd name="connsiteX73210" fmla="*/ 747162 w 6884782"/>
              <a:gd name="connsiteY73210" fmla="*/ 2896428 h 5973007"/>
              <a:gd name="connsiteX73211" fmla="*/ 751809 w 6884782"/>
              <a:gd name="connsiteY73211" fmla="*/ 2895808 h 5973007"/>
              <a:gd name="connsiteX73212" fmla="*/ 752531 w 6884782"/>
              <a:gd name="connsiteY73212" fmla="*/ 2894569 h 5973007"/>
              <a:gd name="connsiteX73213" fmla="*/ 750570 w 6884782"/>
              <a:gd name="connsiteY73213" fmla="*/ 2891007 h 5973007"/>
              <a:gd name="connsiteX73214" fmla="*/ 751706 w 6884782"/>
              <a:gd name="connsiteY73214" fmla="*/ 2888683 h 5973007"/>
              <a:gd name="connsiteX73215" fmla="*/ 756455 w 6884782"/>
              <a:gd name="connsiteY73215" fmla="*/ 2885895 h 5973007"/>
              <a:gd name="connsiteX73216" fmla="*/ 766574 w 6884782"/>
              <a:gd name="connsiteY73216" fmla="*/ 2884811 h 5973007"/>
              <a:gd name="connsiteX73217" fmla="*/ 768743 w 6884782"/>
              <a:gd name="connsiteY73217" fmla="*/ 2885430 h 5973007"/>
              <a:gd name="connsiteX73218" fmla="*/ 768226 w 6884782"/>
              <a:gd name="connsiteY73218" fmla="*/ 2884656 h 5973007"/>
              <a:gd name="connsiteX73219" fmla="*/ 775145 w 6884782"/>
              <a:gd name="connsiteY73219" fmla="*/ 2878305 h 5973007"/>
              <a:gd name="connsiteX73220" fmla="*/ 778965 w 6884782"/>
              <a:gd name="connsiteY73220" fmla="*/ 2880629 h 5973007"/>
              <a:gd name="connsiteX73221" fmla="*/ 779172 w 6884782"/>
              <a:gd name="connsiteY73221" fmla="*/ 2879544 h 5973007"/>
              <a:gd name="connsiteX73222" fmla="*/ 781237 w 6884782"/>
              <a:gd name="connsiteY73222" fmla="*/ 2878150 h 5973007"/>
              <a:gd name="connsiteX73223" fmla="*/ 787639 w 6884782"/>
              <a:gd name="connsiteY73223" fmla="*/ 2876756 h 5973007"/>
              <a:gd name="connsiteX73224" fmla="*/ 787122 w 6884782"/>
              <a:gd name="connsiteY73224" fmla="*/ 2878305 h 5973007"/>
              <a:gd name="connsiteX73225" fmla="*/ 789807 w 6884782"/>
              <a:gd name="connsiteY73225" fmla="*/ 2877531 h 5973007"/>
              <a:gd name="connsiteX73226" fmla="*/ 791046 w 6884782"/>
              <a:gd name="connsiteY73226" fmla="*/ 2873194 h 5973007"/>
              <a:gd name="connsiteX73227" fmla="*/ 790324 w 6884782"/>
              <a:gd name="connsiteY73227" fmla="*/ 2873814 h 5973007"/>
              <a:gd name="connsiteX73228" fmla="*/ 782063 w 6884782"/>
              <a:gd name="connsiteY73228" fmla="*/ 2874433 h 5973007"/>
              <a:gd name="connsiteX73229" fmla="*/ 779894 w 6884782"/>
              <a:gd name="connsiteY73229" fmla="*/ 2873194 h 5973007"/>
              <a:gd name="connsiteX73230" fmla="*/ 779998 w 6884782"/>
              <a:gd name="connsiteY73230" fmla="*/ 2873968 h 5973007"/>
              <a:gd name="connsiteX73231" fmla="*/ 771531 w 6884782"/>
              <a:gd name="connsiteY73231" fmla="*/ 2876602 h 5973007"/>
              <a:gd name="connsiteX73232" fmla="*/ 770292 w 6884782"/>
              <a:gd name="connsiteY73232" fmla="*/ 2871645 h 5973007"/>
              <a:gd name="connsiteX73233" fmla="*/ 766781 w 6884782"/>
              <a:gd name="connsiteY73233" fmla="*/ 2872264 h 5973007"/>
              <a:gd name="connsiteX73234" fmla="*/ 766264 w 6884782"/>
              <a:gd name="connsiteY73234" fmla="*/ 2868701 h 5973007"/>
              <a:gd name="connsiteX73235" fmla="*/ 766987 w 6884782"/>
              <a:gd name="connsiteY73235" fmla="*/ 2867153 h 5973007"/>
              <a:gd name="connsiteX73236" fmla="*/ 769053 w 6884782"/>
              <a:gd name="connsiteY73236" fmla="*/ 2867462 h 5973007"/>
              <a:gd name="connsiteX73237" fmla="*/ 769982 w 6884782"/>
              <a:gd name="connsiteY73237" fmla="*/ 2868392 h 5973007"/>
              <a:gd name="connsiteX73238" fmla="*/ 770808 w 6884782"/>
              <a:gd name="connsiteY73238" fmla="*/ 2862815 h 5973007"/>
              <a:gd name="connsiteX73239" fmla="*/ 779482 w 6884782"/>
              <a:gd name="connsiteY73239" fmla="*/ 2869012 h 5973007"/>
              <a:gd name="connsiteX73240" fmla="*/ 779791 w 6884782"/>
              <a:gd name="connsiteY73240" fmla="*/ 2871955 h 5973007"/>
              <a:gd name="connsiteX73241" fmla="*/ 784334 w 6884782"/>
              <a:gd name="connsiteY73241" fmla="*/ 2865449 h 5973007"/>
              <a:gd name="connsiteX73242" fmla="*/ 788258 w 6884782"/>
              <a:gd name="connsiteY73242" fmla="*/ 2857704 h 5973007"/>
              <a:gd name="connsiteX73243" fmla="*/ 788774 w 6884782"/>
              <a:gd name="connsiteY73243" fmla="*/ 2857859 h 5973007"/>
              <a:gd name="connsiteX73244" fmla="*/ 786813 w 6884782"/>
              <a:gd name="connsiteY73244" fmla="*/ 2850579 h 5973007"/>
              <a:gd name="connsiteX73245" fmla="*/ 786193 w 6884782"/>
              <a:gd name="connsiteY73245" fmla="*/ 2845312 h 5973007"/>
              <a:gd name="connsiteX73246" fmla="*/ 785883 w 6884782"/>
              <a:gd name="connsiteY73246" fmla="*/ 2845777 h 5973007"/>
              <a:gd name="connsiteX73247" fmla="*/ 776384 w 6884782"/>
              <a:gd name="connsiteY73247" fmla="*/ 2846861 h 5973007"/>
              <a:gd name="connsiteX73248" fmla="*/ 770395 w 6884782"/>
              <a:gd name="connsiteY73248" fmla="*/ 2841440 h 5973007"/>
              <a:gd name="connsiteX73249" fmla="*/ 764922 w 6884782"/>
              <a:gd name="connsiteY73249" fmla="*/ 2843144 h 5973007"/>
              <a:gd name="connsiteX73250" fmla="*/ 759140 w 6884782"/>
              <a:gd name="connsiteY73250" fmla="*/ 2841905 h 5973007"/>
              <a:gd name="connsiteX73251" fmla="*/ 754287 w 6884782"/>
              <a:gd name="connsiteY73251" fmla="*/ 2844847 h 5973007"/>
              <a:gd name="connsiteX73252" fmla="*/ 752841 w 6884782"/>
              <a:gd name="connsiteY73252" fmla="*/ 2841440 h 5973007"/>
              <a:gd name="connsiteX73253" fmla="*/ 753874 w 6884782"/>
              <a:gd name="connsiteY73253" fmla="*/ 2839736 h 5973007"/>
              <a:gd name="connsiteX73254" fmla="*/ 747782 w 6884782"/>
              <a:gd name="connsiteY73254" fmla="*/ 2834624 h 5973007"/>
              <a:gd name="connsiteX73255" fmla="*/ 742619 w 6884782"/>
              <a:gd name="connsiteY73255" fmla="*/ 2825486 h 5973007"/>
              <a:gd name="connsiteX73256" fmla="*/ 741380 w 6884782"/>
              <a:gd name="connsiteY73256" fmla="*/ 2815417 h 5973007"/>
              <a:gd name="connsiteX73257" fmla="*/ 737560 w 6884782"/>
              <a:gd name="connsiteY73257" fmla="*/ 2813249 h 5973007"/>
              <a:gd name="connsiteX73258" fmla="*/ 734152 w 6884782"/>
              <a:gd name="connsiteY73258" fmla="*/ 2795590 h 5973007"/>
              <a:gd name="connsiteX73259" fmla="*/ 743858 w 6884782"/>
              <a:gd name="connsiteY73259" fmla="*/ 2782889 h 5973007"/>
              <a:gd name="connsiteX73260" fmla="*/ 749124 w 6884782"/>
              <a:gd name="connsiteY73260" fmla="*/ 2783509 h 5973007"/>
              <a:gd name="connsiteX73261" fmla="*/ 754287 w 6884782"/>
              <a:gd name="connsiteY73261" fmla="*/ 2790944 h 5973007"/>
              <a:gd name="connsiteX73262" fmla="*/ 756455 w 6884782"/>
              <a:gd name="connsiteY73262" fmla="*/ 2789395 h 5973007"/>
              <a:gd name="connsiteX73263" fmla="*/ 768330 w 6884782"/>
              <a:gd name="connsiteY73263" fmla="*/ 2785987 h 5973007"/>
              <a:gd name="connsiteX73264" fmla="*/ 769053 w 6884782"/>
              <a:gd name="connsiteY73264" fmla="*/ 2787071 h 5973007"/>
              <a:gd name="connsiteX73265" fmla="*/ 769156 w 6884782"/>
              <a:gd name="connsiteY73265" fmla="*/ 2786916 h 5973007"/>
              <a:gd name="connsiteX73266" fmla="*/ 772150 w 6884782"/>
              <a:gd name="connsiteY73266" fmla="*/ 2789859 h 5973007"/>
              <a:gd name="connsiteX73267" fmla="*/ 771840 w 6884782"/>
              <a:gd name="connsiteY73267" fmla="*/ 2790789 h 5973007"/>
              <a:gd name="connsiteX73268" fmla="*/ 778656 w 6884782"/>
              <a:gd name="connsiteY73268" fmla="*/ 2799928 h 5973007"/>
              <a:gd name="connsiteX73269" fmla="*/ 782992 w 6884782"/>
              <a:gd name="connsiteY73269" fmla="*/ 2828893 h 5973007"/>
              <a:gd name="connsiteX73270" fmla="*/ 781547 w 6884782"/>
              <a:gd name="connsiteY73270" fmla="*/ 2831836 h 5973007"/>
              <a:gd name="connsiteX73271" fmla="*/ 784851 w 6884782"/>
              <a:gd name="connsiteY73271" fmla="*/ 2832301 h 5973007"/>
              <a:gd name="connsiteX73272" fmla="*/ 785058 w 6884782"/>
              <a:gd name="connsiteY73272" fmla="*/ 2832610 h 5973007"/>
              <a:gd name="connsiteX73273" fmla="*/ 784644 w 6884782"/>
              <a:gd name="connsiteY73273" fmla="*/ 2827654 h 5973007"/>
              <a:gd name="connsiteX73274" fmla="*/ 788878 w 6884782"/>
              <a:gd name="connsiteY73274" fmla="*/ 2827499 h 5973007"/>
              <a:gd name="connsiteX73275" fmla="*/ 791356 w 6884782"/>
              <a:gd name="connsiteY73275" fmla="*/ 2827964 h 5973007"/>
              <a:gd name="connsiteX73276" fmla="*/ 791356 w 6884782"/>
              <a:gd name="connsiteY73276" fmla="*/ 2826879 h 5973007"/>
              <a:gd name="connsiteX73277" fmla="*/ 796209 w 6884782"/>
              <a:gd name="connsiteY73277" fmla="*/ 2825640 h 5973007"/>
              <a:gd name="connsiteX73278" fmla="*/ 797551 w 6884782"/>
              <a:gd name="connsiteY73278" fmla="*/ 2826260 h 5973007"/>
              <a:gd name="connsiteX73279" fmla="*/ 797241 w 6884782"/>
              <a:gd name="connsiteY73279" fmla="*/ 2821923 h 5973007"/>
              <a:gd name="connsiteX73280" fmla="*/ 798790 w 6884782"/>
              <a:gd name="connsiteY73280" fmla="*/ 2818205 h 5973007"/>
              <a:gd name="connsiteX73281" fmla="*/ 800649 w 6884782"/>
              <a:gd name="connsiteY73281" fmla="*/ 2817276 h 5973007"/>
              <a:gd name="connsiteX73282" fmla="*/ 798997 w 6884782"/>
              <a:gd name="connsiteY73282" fmla="*/ 2816037 h 5973007"/>
              <a:gd name="connsiteX73283" fmla="*/ 796932 w 6884782"/>
              <a:gd name="connsiteY73283" fmla="*/ 2811235 h 5973007"/>
              <a:gd name="connsiteX73284" fmla="*/ 797448 w 6884782"/>
              <a:gd name="connsiteY73284" fmla="*/ 2805814 h 5973007"/>
              <a:gd name="connsiteX73285" fmla="*/ 802404 w 6884782"/>
              <a:gd name="connsiteY73285" fmla="*/ 2808912 h 5973007"/>
              <a:gd name="connsiteX73286" fmla="*/ 803127 w 6884782"/>
              <a:gd name="connsiteY73286" fmla="*/ 2816502 h 5973007"/>
              <a:gd name="connsiteX73287" fmla="*/ 801785 w 6884782"/>
              <a:gd name="connsiteY73287" fmla="*/ 2817276 h 5973007"/>
              <a:gd name="connsiteX73288" fmla="*/ 805399 w 6884782"/>
              <a:gd name="connsiteY73288" fmla="*/ 2818205 h 5973007"/>
              <a:gd name="connsiteX73289" fmla="*/ 812833 w 6884782"/>
              <a:gd name="connsiteY73289" fmla="*/ 2829358 h 5973007"/>
              <a:gd name="connsiteX73290" fmla="*/ 803850 w 6884782"/>
              <a:gd name="connsiteY73290" fmla="*/ 2830597 h 5973007"/>
              <a:gd name="connsiteX73291" fmla="*/ 799823 w 6884782"/>
              <a:gd name="connsiteY73291" fmla="*/ 2829513 h 5973007"/>
              <a:gd name="connsiteX73292" fmla="*/ 799823 w 6884782"/>
              <a:gd name="connsiteY73292" fmla="*/ 2829822 h 5973007"/>
              <a:gd name="connsiteX73293" fmla="*/ 798584 w 6884782"/>
              <a:gd name="connsiteY73293" fmla="*/ 2833230 h 5973007"/>
              <a:gd name="connsiteX73294" fmla="*/ 794660 w 6884782"/>
              <a:gd name="connsiteY73294" fmla="*/ 2836018 h 5973007"/>
              <a:gd name="connsiteX73295" fmla="*/ 795176 w 6884782"/>
              <a:gd name="connsiteY73295" fmla="*/ 2850114 h 5973007"/>
              <a:gd name="connsiteX73296" fmla="*/ 797964 w 6884782"/>
              <a:gd name="connsiteY73296" fmla="*/ 2854142 h 5973007"/>
              <a:gd name="connsiteX73297" fmla="*/ 796932 w 6884782"/>
              <a:gd name="connsiteY73297" fmla="*/ 2857704 h 5973007"/>
              <a:gd name="connsiteX73298" fmla="*/ 795590 w 6884782"/>
              <a:gd name="connsiteY73298" fmla="*/ 2857239 h 5973007"/>
              <a:gd name="connsiteX73299" fmla="*/ 795899 w 6884782"/>
              <a:gd name="connsiteY73299" fmla="*/ 2860492 h 5973007"/>
              <a:gd name="connsiteX73300" fmla="*/ 795693 w 6884782"/>
              <a:gd name="connsiteY73300" fmla="*/ 2866998 h 5973007"/>
              <a:gd name="connsiteX73301" fmla="*/ 796209 w 6884782"/>
              <a:gd name="connsiteY73301" fmla="*/ 2866688 h 5973007"/>
              <a:gd name="connsiteX73302" fmla="*/ 804676 w 6884782"/>
              <a:gd name="connsiteY73302" fmla="*/ 2866688 h 5973007"/>
              <a:gd name="connsiteX73303" fmla="*/ 804883 w 6884782"/>
              <a:gd name="connsiteY73303" fmla="*/ 2866688 h 5973007"/>
              <a:gd name="connsiteX73304" fmla="*/ 803953 w 6884782"/>
              <a:gd name="connsiteY73304" fmla="*/ 2863745 h 5973007"/>
              <a:gd name="connsiteX73305" fmla="*/ 805502 w 6884782"/>
              <a:gd name="connsiteY73305" fmla="*/ 2860492 h 5973007"/>
              <a:gd name="connsiteX73306" fmla="*/ 808600 w 6884782"/>
              <a:gd name="connsiteY73306" fmla="*/ 2859718 h 5973007"/>
              <a:gd name="connsiteX73307" fmla="*/ 810149 w 6884782"/>
              <a:gd name="connsiteY73307" fmla="*/ 2864365 h 5973007"/>
              <a:gd name="connsiteX73308" fmla="*/ 810045 w 6884782"/>
              <a:gd name="connsiteY73308" fmla="*/ 2864829 h 5973007"/>
              <a:gd name="connsiteX73309" fmla="*/ 810871 w 6884782"/>
              <a:gd name="connsiteY73309" fmla="*/ 2864519 h 5973007"/>
              <a:gd name="connsiteX73310" fmla="*/ 813866 w 6884782"/>
              <a:gd name="connsiteY73310" fmla="*/ 2862351 h 5973007"/>
              <a:gd name="connsiteX73311" fmla="*/ 813762 w 6884782"/>
              <a:gd name="connsiteY73311" fmla="*/ 2862196 h 5973007"/>
              <a:gd name="connsiteX73312" fmla="*/ 813350 w 6884782"/>
              <a:gd name="connsiteY73312" fmla="*/ 2860027 h 5973007"/>
              <a:gd name="connsiteX73313" fmla="*/ 814589 w 6884782"/>
              <a:gd name="connsiteY73313" fmla="*/ 2858633 h 5973007"/>
              <a:gd name="connsiteX73314" fmla="*/ 815311 w 6884782"/>
              <a:gd name="connsiteY73314" fmla="*/ 2858943 h 5973007"/>
              <a:gd name="connsiteX73315" fmla="*/ 815828 w 6884782"/>
              <a:gd name="connsiteY73315" fmla="*/ 2855071 h 5973007"/>
              <a:gd name="connsiteX73316" fmla="*/ 819545 w 6884782"/>
              <a:gd name="connsiteY73316" fmla="*/ 2852592 h 5973007"/>
              <a:gd name="connsiteX73317" fmla="*/ 824501 w 6884782"/>
              <a:gd name="connsiteY73317" fmla="*/ 2853832 h 5973007"/>
              <a:gd name="connsiteX73318" fmla="*/ 824914 w 6884782"/>
              <a:gd name="connsiteY73318" fmla="*/ 2854761 h 5973007"/>
              <a:gd name="connsiteX73319" fmla="*/ 825637 w 6884782"/>
              <a:gd name="connsiteY73319" fmla="*/ 2854296 h 5973007"/>
              <a:gd name="connsiteX73320" fmla="*/ 822849 w 6884782"/>
              <a:gd name="connsiteY73320" fmla="*/ 2852747 h 5973007"/>
              <a:gd name="connsiteX73321" fmla="*/ 821197 w 6884782"/>
              <a:gd name="connsiteY73321" fmla="*/ 2849340 h 5973007"/>
              <a:gd name="connsiteX73322" fmla="*/ 822333 w 6884782"/>
              <a:gd name="connsiteY73322" fmla="*/ 2848100 h 5973007"/>
              <a:gd name="connsiteX73323" fmla="*/ 824088 w 6884782"/>
              <a:gd name="connsiteY73323" fmla="*/ 2846861 h 5973007"/>
              <a:gd name="connsiteX73324" fmla="*/ 828941 w 6884782"/>
              <a:gd name="connsiteY73324" fmla="*/ 2846397 h 5973007"/>
              <a:gd name="connsiteX73325" fmla="*/ 832039 w 6884782"/>
              <a:gd name="connsiteY73325" fmla="*/ 2848875 h 5973007"/>
              <a:gd name="connsiteX73326" fmla="*/ 832865 w 6884782"/>
              <a:gd name="connsiteY73326" fmla="*/ 2850424 h 5973007"/>
              <a:gd name="connsiteX73327" fmla="*/ 832142 w 6884782"/>
              <a:gd name="connsiteY73327" fmla="*/ 2851663 h 5973007"/>
              <a:gd name="connsiteX73328" fmla="*/ 832659 w 6884782"/>
              <a:gd name="connsiteY73328" fmla="*/ 2851973 h 5973007"/>
              <a:gd name="connsiteX73329" fmla="*/ 834104 w 6884782"/>
              <a:gd name="connsiteY73329" fmla="*/ 2854296 h 5973007"/>
              <a:gd name="connsiteX73330" fmla="*/ 832452 w 6884782"/>
              <a:gd name="connsiteY73330" fmla="*/ 2855690 h 5973007"/>
              <a:gd name="connsiteX73331" fmla="*/ 831832 w 6884782"/>
              <a:gd name="connsiteY73331" fmla="*/ 2856155 h 5973007"/>
              <a:gd name="connsiteX73332" fmla="*/ 835962 w 6884782"/>
              <a:gd name="connsiteY73332" fmla="*/ 2854916 h 5973007"/>
              <a:gd name="connsiteX73333" fmla="*/ 850419 w 6884782"/>
              <a:gd name="connsiteY73333" fmla="*/ 2849649 h 5973007"/>
              <a:gd name="connsiteX73334" fmla="*/ 856924 w 6884782"/>
              <a:gd name="connsiteY73334" fmla="*/ 2847481 h 5973007"/>
              <a:gd name="connsiteX73335" fmla="*/ 856614 w 6884782"/>
              <a:gd name="connsiteY73335" fmla="*/ 2846397 h 5973007"/>
              <a:gd name="connsiteX73336" fmla="*/ 857233 w 6884782"/>
              <a:gd name="connsiteY73336" fmla="*/ 2845002 h 5973007"/>
              <a:gd name="connsiteX73337" fmla="*/ 859505 w 6884782"/>
              <a:gd name="connsiteY73337" fmla="*/ 2845002 h 5973007"/>
              <a:gd name="connsiteX73338" fmla="*/ 861467 w 6884782"/>
              <a:gd name="connsiteY73338" fmla="*/ 2845622 h 5973007"/>
              <a:gd name="connsiteX73339" fmla="*/ 861570 w 6884782"/>
              <a:gd name="connsiteY73339" fmla="*/ 2846087 h 5973007"/>
              <a:gd name="connsiteX73340" fmla="*/ 864668 w 6884782"/>
              <a:gd name="connsiteY73340" fmla="*/ 2845002 h 5973007"/>
              <a:gd name="connsiteX73341" fmla="*/ 879536 w 6884782"/>
              <a:gd name="connsiteY73341" fmla="*/ 2840820 h 5973007"/>
              <a:gd name="connsiteX73342" fmla="*/ 893889 w 6884782"/>
              <a:gd name="connsiteY73342" fmla="*/ 2835554 h 5973007"/>
              <a:gd name="connsiteX73343" fmla="*/ 907622 w 6884782"/>
              <a:gd name="connsiteY73343" fmla="*/ 2829978 h 5973007"/>
              <a:gd name="connsiteX73344" fmla="*/ 920942 w 6884782"/>
              <a:gd name="connsiteY73344" fmla="*/ 2823782 h 5973007"/>
              <a:gd name="connsiteX73345" fmla="*/ 927551 w 6884782"/>
              <a:gd name="connsiteY73345" fmla="*/ 2819445 h 5973007"/>
              <a:gd name="connsiteX73346" fmla="*/ 929306 w 6884782"/>
              <a:gd name="connsiteY73346" fmla="*/ 2818515 h 5973007"/>
              <a:gd name="connsiteX73347" fmla="*/ 937980 w 6884782"/>
              <a:gd name="connsiteY73347" fmla="*/ 2817121 h 5973007"/>
              <a:gd name="connsiteX73348" fmla="*/ 938186 w 6884782"/>
              <a:gd name="connsiteY73348" fmla="*/ 2816502 h 5973007"/>
              <a:gd name="connsiteX73349" fmla="*/ 939116 w 6884782"/>
              <a:gd name="connsiteY73349" fmla="*/ 2816037 h 5973007"/>
              <a:gd name="connsiteX73350" fmla="*/ 940355 w 6884782"/>
              <a:gd name="connsiteY73350" fmla="*/ 2814333 h 5973007"/>
              <a:gd name="connsiteX73351" fmla="*/ 937567 w 6884782"/>
              <a:gd name="connsiteY73351" fmla="*/ 2811235 h 5973007"/>
              <a:gd name="connsiteX73352" fmla="*/ 937360 w 6884782"/>
              <a:gd name="connsiteY73352" fmla="*/ 2811854 h 5973007"/>
              <a:gd name="connsiteX73353" fmla="*/ 936741 w 6884782"/>
              <a:gd name="connsiteY73353" fmla="*/ 2811700 h 5973007"/>
              <a:gd name="connsiteX73354" fmla="*/ 931991 w 6884782"/>
              <a:gd name="connsiteY73354" fmla="*/ 2812474 h 5973007"/>
              <a:gd name="connsiteX73355" fmla="*/ 927758 w 6884782"/>
              <a:gd name="connsiteY73355" fmla="*/ 2815727 h 5973007"/>
              <a:gd name="connsiteX73356" fmla="*/ 924040 w 6884782"/>
              <a:gd name="connsiteY73356" fmla="*/ 2814178 h 5973007"/>
              <a:gd name="connsiteX73357" fmla="*/ 924660 w 6884782"/>
              <a:gd name="connsiteY73357" fmla="*/ 2810925 h 5973007"/>
              <a:gd name="connsiteX73358" fmla="*/ 931785 w 6884782"/>
              <a:gd name="connsiteY73358" fmla="*/ 2807363 h 5973007"/>
              <a:gd name="connsiteX73359" fmla="*/ 933746 w 6884782"/>
              <a:gd name="connsiteY73359" fmla="*/ 2808137 h 5973007"/>
              <a:gd name="connsiteX73360" fmla="*/ 933953 w 6884782"/>
              <a:gd name="connsiteY73360" fmla="*/ 2808912 h 5973007"/>
              <a:gd name="connsiteX73361" fmla="*/ 936121 w 6884782"/>
              <a:gd name="connsiteY73361" fmla="*/ 2808602 h 5973007"/>
              <a:gd name="connsiteX73362" fmla="*/ 936844 w 6884782"/>
              <a:gd name="connsiteY73362" fmla="*/ 2808757 h 5973007"/>
              <a:gd name="connsiteX73363" fmla="*/ 937051 w 6884782"/>
              <a:gd name="connsiteY73363" fmla="*/ 2808137 h 5973007"/>
              <a:gd name="connsiteX73364" fmla="*/ 937876 w 6884782"/>
              <a:gd name="connsiteY73364" fmla="*/ 2807672 h 5973007"/>
              <a:gd name="connsiteX73365" fmla="*/ 939632 w 6884782"/>
              <a:gd name="connsiteY73365" fmla="*/ 2806898 h 5973007"/>
              <a:gd name="connsiteX73366" fmla="*/ 941904 w 6884782"/>
              <a:gd name="connsiteY73366" fmla="*/ 2804729 h 5973007"/>
              <a:gd name="connsiteX73367" fmla="*/ 941697 w 6884782"/>
              <a:gd name="connsiteY73367" fmla="*/ 2799463 h 5973007"/>
              <a:gd name="connsiteX73368" fmla="*/ 947273 w 6884782"/>
              <a:gd name="connsiteY73368" fmla="*/ 2782115 h 5973007"/>
              <a:gd name="connsiteX73369" fmla="*/ 966685 w 6884782"/>
              <a:gd name="connsiteY73369" fmla="*/ 2770652 h 5973007"/>
              <a:gd name="connsiteX73370" fmla="*/ 1008710 w 6884782"/>
              <a:gd name="connsiteY73370" fmla="*/ 2788930 h 5973007"/>
              <a:gd name="connsiteX73371" fmla="*/ 1010053 w 6884782"/>
              <a:gd name="connsiteY73371" fmla="*/ 2794506 h 5973007"/>
              <a:gd name="connsiteX73372" fmla="*/ 1020688 w 6884782"/>
              <a:gd name="connsiteY73372" fmla="*/ 2793732 h 5973007"/>
              <a:gd name="connsiteX73373" fmla="*/ 1021927 w 6884782"/>
              <a:gd name="connsiteY73373" fmla="*/ 2793732 h 5973007"/>
              <a:gd name="connsiteX73374" fmla="*/ 1022547 w 6884782"/>
              <a:gd name="connsiteY73374" fmla="*/ 2791563 h 5973007"/>
              <a:gd name="connsiteX73375" fmla="*/ 1021721 w 6884782"/>
              <a:gd name="connsiteY73375" fmla="*/ 2791408 h 5973007"/>
              <a:gd name="connsiteX73376" fmla="*/ 1022753 w 6884782"/>
              <a:gd name="connsiteY73376" fmla="*/ 2791099 h 5973007"/>
              <a:gd name="connsiteX73377" fmla="*/ 1023063 w 6884782"/>
              <a:gd name="connsiteY73377" fmla="*/ 2789704 h 5973007"/>
              <a:gd name="connsiteX73378" fmla="*/ 1029878 w 6884782"/>
              <a:gd name="connsiteY73378" fmla="*/ 2781805 h 5973007"/>
              <a:gd name="connsiteX73379" fmla="*/ 1032150 w 6884782"/>
              <a:gd name="connsiteY73379" fmla="*/ 2782115 h 5973007"/>
              <a:gd name="connsiteX73380" fmla="*/ 1030807 w 6884782"/>
              <a:gd name="connsiteY73380" fmla="*/ 2781650 h 5973007"/>
              <a:gd name="connsiteX73381" fmla="*/ 1015732 w 6884782"/>
              <a:gd name="connsiteY73381" fmla="*/ 2752220 h 5973007"/>
              <a:gd name="connsiteX73382" fmla="*/ 1023476 w 6884782"/>
              <a:gd name="connsiteY73382" fmla="*/ 2733322 h 5973007"/>
              <a:gd name="connsiteX73383" fmla="*/ 1035040 w 6884782"/>
              <a:gd name="connsiteY73383" fmla="*/ 2727126 h 5973007"/>
              <a:gd name="connsiteX73384" fmla="*/ 1043404 w 6884782"/>
              <a:gd name="connsiteY73384" fmla="*/ 2721240 h 5973007"/>
              <a:gd name="connsiteX73385" fmla="*/ 1044540 w 6884782"/>
              <a:gd name="connsiteY73385" fmla="*/ 2717523 h 5973007"/>
              <a:gd name="connsiteX73386" fmla="*/ 1057034 w 6884782"/>
              <a:gd name="connsiteY73386" fmla="*/ 2711172 h 5973007"/>
              <a:gd name="connsiteX73387" fmla="*/ 1062610 w 6884782"/>
              <a:gd name="connsiteY73387" fmla="*/ 2719382 h 5973007"/>
              <a:gd name="connsiteX73388" fmla="*/ 1063642 w 6884782"/>
              <a:gd name="connsiteY73388" fmla="*/ 2722015 h 5973007"/>
              <a:gd name="connsiteX73389" fmla="*/ 1076653 w 6884782"/>
              <a:gd name="connsiteY73389" fmla="*/ 2724339 h 5973007"/>
              <a:gd name="connsiteX73390" fmla="*/ 1080164 w 6884782"/>
              <a:gd name="connsiteY73390" fmla="*/ 2732083 h 5973007"/>
              <a:gd name="connsiteX73391" fmla="*/ 1082538 w 6884782"/>
              <a:gd name="connsiteY73391" fmla="*/ 2735491 h 5973007"/>
              <a:gd name="connsiteX73392" fmla="*/ 1084914 w 6884782"/>
              <a:gd name="connsiteY73392" fmla="*/ 2735800 h 5973007"/>
              <a:gd name="connsiteX73393" fmla="*/ 1087908 w 6884782"/>
              <a:gd name="connsiteY73393" fmla="*/ 2734407 h 5973007"/>
              <a:gd name="connsiteX73394" fmla="*/ 1090489 w 6884782"/>
              <a:gd name="connsiteY73394" fmla="*/ 2736730 h 5973007"/>
              <a:gd name="connsiteX73395" fmla="*/ 1094723 w 6884782"/>
              <a:gd name="connsiteY73395" fmla="*/ 2737350 h 5973007"/>
              <a:gd name="connsiteX73396" fmla="*/ 1103087 w 6884782"/>
              <a:gd name="connsiteY73396" fmla="*/ 2742306 h 5973007"/>
              <a:gd name="connsiteX73397" fmla="*/ 1106288 w 6884782"/>
              <a:gd name="connsiteY73397" fmla="*/ 2745869 h 5973007"/>
              <a:gd name="connsiteX73398" fmla="*/ 1109385 w 6884782"/>
              <a:gd name="connsiteY73398" fmla="*/ 2741687 h 5973007"/>
              <a:gd name="connsiteX73399" fmla="*/ 1124460 w 6884782"/>
              <a:gd name="connsiteY73399" fmla="*/ 2730534 h 5973007"/>
              <a:gd name="connsiteX73400" fmla="*/ 1108869 w 6884782"/>
              <a:gd name="connsiteY73400" fmla="*/ 2747418 h 5973007"/>
              <a:gd name="connsiteX73401" fmla="*/ 1107113 w 6884782"/>
              <a:gd name="connsiteY73401" fmla="*/ 2746798 h 5973007"/>
              <a:gd name="connsiteX73402" fmla="*/ 1108662 w 6884782"/>
              <a:gd name="connsiteY73402" fmla="*/ 2748812 h 5973007"/>
              <a:gd name="connsiteX73403" fmla="*/ 1119298 w 6884782"/>
              <a:gd name="connsiteY73403" fmla="*/ 2763992 h 5973007"/>
              <a:gd name="connsiteX73404" fmla="*/ 1118162 w 6884782"/>
              <a:gd name="connsiteY73404" fmla="*/ 2766160 h 5973007"/>
              <a:gd name="connsiteX73405" fmla="*/ 1118781 w 6884782"/>
              <a:gd name="connsiteY73405" fmla="*/ 2765386 h 5973007"/>
              <a:gd name="connsiteX73406" fmla="*/ 1121260 w 6884782"/>
              <a:gd name="connsiteY73406" fmla="*/ 2763063 h 5973007"/>
              <a:gd name="connsiteX73407" fmla="*/ 1117129 w 6884782"/>
              <a:gd name="connsiteY73407" fmla="*/ 2769258 h 5973007"/>
              <a:gd name="connsiteX73408" fmla="*/ 1116200 w 6884782"/>
              <a:gd name="connsiteY73408" fmla="*/ 2770187 h 5973007"/>
              <a:gd name="connsiteX73409" fmla="*/ 1115890 w 6884782"/>
              <a:gd name="connsiteY73409" fmla="*/ 2774679 h 5973007"/>
              <a:gd name="connsiteX73410" fmla="*/ 1117955 w 6884782"/>
              <a:gd name="connsiteY73410" fmla="*/ 2783509 h 5973007"/>
              <a:gd name="connsiteX73411" fmla="*/ 1108766 w 6884782"/>
              <a:gd name="connsiteY73411" fmla="*/ 2791254 h 5973007"/>
              <a:gd name="connsiteX73412" fmla="*/ 1101951 w 6884782"/>
              <a:gd name="connsiteY73412" fmla="*/ 2798843 h 5973007"/>
              <a:gd name="connsiteX73413" fmla="*/ 1102570 w 6884782"/>
              <a:gd name="connsiteY73413" fmla="*/ 2798689 h 5973007"/>
              <a:gd name="connsiteX73414" fmla="*/ 1111450 w 6884782"/>
              <a:gd name="connsiteY73414" fmla="*/ 2806743 h 5973007"/>
              <a:gd name="connsiteX73415" fmla="*/ 1127455 w 6884782"/>
              <a:gd name="connsiteY73415" fmla="*/ 2803645 h 5973007"/>
              <a:gd name="connsiteX73416" fmla="*/ 1117646 w 6884782"/>
              <a:gd name="connsiteY73416" fmla="*/ 2798689 h 5973007"/>
              <a:gd name="connsiteX73417" fmla="*/ 1103912 w 6884782"/>
              <a:gd name="connsiteY73417" fmla="*/ 2799153 h 5973007"/>
              <a:gd name="connsiteX73418" fmla="*/ 1127248 w 6884782"/>
              <a:gd name="connsiteY73418" fmla="*/ 2796985 h 5973007"/>
              <a:gd name="connsiteX73419" fmla="*/ 1130759 w 6884782"/>
              <a:gd name="connsiteY73419" fmla="*/ 2797140 h 5973007"/>
              <a:gd name="connsiteX73420" fmla="*/ 1132721 w 6884782"/>
              <a:gd name="connsiteY73420" fmla="*/ 2797294 h 5973007"/>
              <a:gd name="connsiteX73421" fmla="*/ 1131585 w 6884782"/>
              <a:gd name="connsiteY73421" fmla="*/ 2790944 h 5973007"/>
              <a:gd name="connsiteX73422" fmla="*/ 1131069 w 6884782"/>
              <a:gd name="connsiteY73422" fmla="*/ 2790944 h 5973007"/>
              <a:gd name="connsiteX73423" fmla="*/ 1131792 w 6884782"/>
              <a:gd name="connsiteY73423" fmla="*/ 2793887 h 5973007"/>
              <a:gd name="connsiteX73424" fmla="*/ 1130759 w 6884782"/>
              <a:gd name="connsiteY73424" fmla="*/ 2797140 h 5973007"/>
              <a:gd name="connsiteX73425" fmla="*/ 1129107 w 6884782"/>
              <a:gd name="connsiteY73425" fmla="*/ 2793422 h 5973007"/>
              <a:gd name="connsiteX73426" fmla="*/ 1128694 w 6884782"/>
              <a:gd name="connsiteY73426" fmla="*/ 2791718 h 5973007"/>
              <a:gd name="connsiteX73427" fmla="*/ 1130036 w 6884782"/>
              <a:gd name="connsiteY73427" fmla="*/ 2790944 h 5973007"/>
              <a:gd name="connsiteX73428" fmla="*/ 1129623 w 6884782"/>
              <a:gd name="connsiteY73428" fmla="*/ 2790944 h 5973007"/>
              <a:gd name="connsiteX73429" fmla="*/ 1124667 w 6884782"/>
              <a:gd name="connsiteY73429" fmla="*/ 2788465 h 5973007"/>
              <a:gd name="connsiteX73430" fmla="*/ 1130243 w 6884782"/>
              <a:gd name="connsiteY73430" fmla="*/ 2783354 h 5973007"/>
              <a:gd name="connsiteX73431" fmla="*/ 1130759 w 6884782"/>
              <a:gd name="connsiteY73431" fmla="*/ 2782579 h 5973007"/>
              <a:gd name="connsiteX73432" fmla="*/ 1131069 w 6884782"/>
              <a:gd name="connsiteY73432" fmla="*/ 2778862 h 5973007"/>
              <a:gd name="connsiteX73433" fmla="*/ 1131482 w 6884782"/>
              <a:gd name="connsiteY73433" fmla="*/ 2777777 h 5973007"/>
              <a:gd name="connsiteX73434" fmla="*/ 1130243 w 6884782"/>
              <a:gd name="connsiteY73434" fmla="*/ 2776074 h 5973007"/>
              <a:gd name="connsiteX73435" fmla="*/ 1130036 w 6884782"/>
              <a:gd name="connsiteY73435" fmla="*/ 2773440 h 5973007"/>
              <a:gd name="connsiteX73436" fmla="*/ 1134683 w 6884782"/>
              <a:gd name="connsiteY73436" fmla="*/ 2765541 h 5973007"/>
              <a:gd name="connsiteX73437" fmla="*/ 1133857 w 6884782"/>
              <a:gd name="connsiteY73437" fmla="*/ 2766160 h 5973007"/>
              <a:gd name="connsiteX73438" fmla="*/ 1121776 w 6884782"/>
              <a:gd name="connsiteY73438" fmla="*/ 2763217 h 5973007"/>
              <a:gd name="connsiteX73439" fmla="*/ 1121569 w 6884782"/>
              <a:gd name="connsiteY73439" fmla="*/ 2763063 h 5973007"/>
              <a:gd name="connsiteX73440" fmla="*/ 1121363 w 6884782"/>
              <a:gd name="connsiteY73440" fmla="*/ 2763217 h 5973007"/>
              <a:gd name="connsiteX73441" fmla="*/ 1121260 w 6884782"/>
              <a:gd name="connsiteY73441" fmla="*/ 2762753 h 5973007"/>
              <a:gd name="connsiteX73442" fmla="*/ 1120124 w 6884782"/>
              <a:gd name="connsiteY73442" fmla="*/ 2761668 h 5973007"/>
              <a:gd name="connsiteX73443" fmla="*/ 1122808 w 6884782"/>
              <a:gd name="connsiteY73443" fmla="*/ 2760739 h 5973007"/>
              <a:gd name="connsiteX73444" fmla="*/ 1124047 w 6884782"/>
              <a:gd name="connsiteY73444" fmla="*/ 2761049 h 5973007"/>
              <a:gd name="connsiteX73445" fmla="*/ 1124770 w 6884782"/>
              <a:gd name="connsiteY73445" fmla="*/ 2760429 h 5973007"/>
              <a:gd name="connsiteX73446" fmla="*/ 1125183 w 6884782"/>
              <a:gd name="connsiteY73446" fmla="*/ 2761204 h 5973007"/>
              <a:gd name="connsiteX73447" fmla="*/ 1127661 w 6884782"/>
              <a:gd name="connsiteY73447" fmla="*/ 2761513 h 5973007"/>
              <a:gd name="connsiteX73448" fmla="*/ 1133444 w 6884782"/>
              <a:gd name="connsiteY73448" fmla="*/ 2760584 h 5973007"/>
              <a:gd name="connsiteX73449" fmla="*/ 1139123 w 6884782"/>
              <a:gd name="connsiteY73449" fmla="*/ 2762598 h 5973007"/>
              <a:gd name="connsiteX73450" fmla="*/ 1138503 w 6884782"/>
              <a:gd name="connsiteY73450" fmla="*/ 2764921 h 5973007"/>
              <a:gd name="connsiteX73451" fmla="*/ 1140878 w 6884782"/>
              <a:gd name="connsiteY73451" fmla="*/ 2765231 h 5973007"/>
              <a:gd name="connsiteX73452" fmla="*/ 1145938 w 6884782"/>
              <a:gd name="connsiteY73452" fmla="*/ 2774525 h 5973007"/>
              <a:gd name="connsiteX73453" fmla="*/ 1143460 w 6884782"/>
              <a:gd name="connsiteY73453" fmla="*/ 2779017 h 5973007"/>
              <a:gd name="connsiteX73454" fmla="*/ 1140465 w 6884782"/>
              <a:gd name="connsiteY73454" fmla="*/ 2780876 h 5973007"/>
              <a:gd name="connsiteX73455" fmla="*/ 1140362 w 6884782"/>
              <a:gd name="connsiteY73455" fmla="*/ 2780876 h 5973007"/>
              <a:gd name="connsiteX73456" fmla="*/ 1138400 w 6884782"/>
              <a:gd name="connsiteY73456" fmla="*/ 2786142 h 5973007"/>
              <a:gd name="connsiteX73457" fmla="*/ 1137987 w 6884782"/>
              <a:gd name="connsiteY73457" fmla="*/ 2786761 h 5973007"/>
              <a:gd name="connsiteX73458" fmla="*/ 1137987 w 6884782"/>
              <a:gd name="connsiteY73458" fmla="*/ 2787071 h 5973007"/>
              <a:gd name="connsiteX73459" fmla="*/ 1135612 w 6884782"/>
              <a:gd name="connsiteY73459" fmla="*/ 2796210 h 5973007"/>
              <a:gd name="connsiteX73460" fmla="*/ 1133960 w 6884782"/>
              <a:gd name="connsiteY73460" fmla="*/ 2797294 h 5973007"/>
              <a:gd name="connsiteX73461" fmla="*/ 1139329 w 6884782"/>
              <a:gd name="connsiteY73461" fmla="*/ 2797604 h 5973007"/>
              <a:gd name="connsiteX73462" fmla="*/ 1148003 w 6884782"/>
              <a:gd name="connsiteY73462" fmla="*/ 2793267 h 5973007"/>
              <a:gd name="connsiteX73463" fmla="*/ 1160497 w 6884782"/>
              <a:gd name="connsiteY73463" fmla="*/ 2795590 h 5973007"/>
              <a:gd name="connsiteX73464" fmla="*/ 1161323 w 6884782"/>
              <a:gd name="connsiteY73464" fmla="*/ 2795901 h 5973007"/>
              <a:gd name="connsiteX73465" fmla="*/ 1161323 w 6884782"/>
              <a:gd name="connsiteY73465" fmla="*/ 2795590 h 5973007"/>
              <a:gd name="connsiteX73466" fmla="*/ 1164214 w 6884782"/>
              <a:gd name="connsiteY73466" fmla="*/ 2792338 h 5973007"/>
              <a:gd name="connsiteX73467" fmla="*/ 1166279 w 6884782"/>
              <a:gd name="connsiteY73467" fmla="*/ 2792648 h 5973007"/>
              <a:gd name="connsiteX73468" fmla="*/ 1166692 w 6884782"/>
              <a:gd name="connsiteY73468" fmla="*/ 2793422 h 5973007"/>
              <a:gd name="connsiteX73469" fmla="*/ 1167415 w 6884782"/>
              <a:gd name="connsiteY73469" fmla="*/ 2794816 h 5973007"/>
              <a:gd name="connsiteX73470" fmla="*/ 1170616 w 6884782"/>
              <a:gd name="connsiteY73470" fmla="*/ 2789085 h 5973007"/>
              <a:gd name="connsiteX73471" fmla="*/ 1181871 w 6884782"/>
              <a:gd name="connsiteY73471" fmla="*/ 2781495 h 5973007"/>
              <a:gd name="connsiteX73472" fmla="*/ 1186414 w 6884782"/>
              <a:gd name="connsiteY73472" fmla="*/ 2786452 h 5973007"/>
              <a:gd name="connsiteX73473" fmla="*/ 1185898 w 6884782"/>
              <a:gd name="connsiteY73473" fmla="*/ 2789240 h 5973007"/>
              <a:gd name="connsiteX73474" fmla="*/ 1187240 w 6884782"/>
              <a:gd name="connsiteY73474" fmla="*/ 2788930 h 5973007"/>
              <a:gd name="connsiteX73475" fmla="*/ 1186931 w 6884782"/>
              <a:gd name="connsiteY73475" fmla="*/ 2782579 h 5973007"/>
              <a:gd name="connsiteX73476" fmla="*/ 1188789 w 6884782"/>
              <a:gd name="connsiteY73476" fmla="*/ 2774370 h 5973007"/>
              <a:gd name="connsiteX73477" fmla="*/ 1184349 w 6884782"/>
              <a:gd name="connsiteY73477" fmla="*/ 2772976 h 5973007"/>
              <a:gd name="connsiteX73478" fmla="*/ 1180941 w 6884782"/>
              <a:gd name="connsiteY73478" fmla="*/ 2766625 h 5973007"/>
              <a:gd name="connsiteX73479" fmla="*/ 1186827 w 6884782"/>
              <a:gd name="connsiteY73479" fmla="*/ 2763992 h 5973007"/>
              <a:gd name="connsiteX73480" fmla="*/ 1184762 w 6884782"/>
              <a:gd name="connsiteY73480" fmla="*/ 2763837 h 5973007"/>
              <a:gd name="connsiteX73481" fmla="*/ 1182284 w 6884782"/>
              <a:gd name="connsiteY73481" fmla="*/ 2755627 h 5973007"/>
              <a:gd name="connsiteX73482" fmla="*/ 1190958 w 6884782"/>
              <a:gd name="connsiteY73482" fmla="*/ 2746798 h 5973007"/>
              <a:gd name="connsiteX73483" fmla="*/ 1192300 w 6884782"/>
              <a:gd name="connsiteY73483" fmla="*/ 2746953 h 5973007"/>
              <a:gd name="connsiteX73484" fmla="*/ 1192300 w 6884782"/>
              <a:gd name="connsiteY73484" fmla="*/ 2746643 h 5973007"/>
              <a:gd name="connsiteX73485" fmla="*/ 1192094 w 6884782"/>
              <a:gd name="connsiteY73485" fmla="*/ 2744940 h 5973007"/>
              <a:gd name="connsiteX73486" fmla="*/ 1191164 w 6884782"/>
              <a:gd name="connsiteY73486" fmla="*/ 2746024 h 5973007"/>
              <a:gd name="connsiteX73487" fmla="*/ 1189615 w 6884782"/>
              <a:gd name="connsiteY73487" fmla="*/ 2743700 h 5973007"/>
              <a:gd name="connsiteX73488" fmla="*/ 1187447 w 6884782"/>
              <a:gd name="connsiteY73488" fmla="*/ 2741687 h 5973007"/>
              <a:gd name="connsiteX73489" fmla="*/ 1187240 w 6884782"/>
              <a:gd name="connsiteY73489" fmla="*/ 2740293 h 5973007"/>
              <a:gd name="connsiteX73490" fmla="*/ 1183523 w 6884782"/>
              <a:gd name="connsiteY73490" fmla="*/ 2735026 h 5973007"/>
              <a:gd name="connsiteX73491" fmla="*/ 1182594 w 6884782"/>
              <a:gd name="connsiteY73491" fmla="*/ 2731309 h 5973007"/>
              <a:gd name="connsiteX73492" fmla="*/ 1182491 w 6884782"/>
              <a:gd name="connsiteY73492" fmla="*/ 2731309 h 5973007"/>
              <a:gd name="connsiteX73493" fmla="*/ 1177844 w 6884782"/>
              <a:gd name="connsiteY73493" fmla="*/ 2732703 h 5973007"/>
              <a:gd name="connsiteX73494" fmla="*/ 1175572 w 6884782"/>
              <a:gd name="connsiteY73494" fmla="*/ 2731309 h 5973007"/>
              <a:gd name="connsiteX73495" fmla="*/ 1175056 w 6884782"/>
              <a:gd name="connsiteY73495" fmla="*/ 2726043 h 5973007"/>
              <a:gd name="connsiteX73496" fmla="*/ 1178051 w 6884782"/>
              <a:gd name="connsiteY73496" fmla="*/ 2720621 h 5973007"/>
              <a:gd name="connsiteX73497" fmla="*/ 1181251 w 6884782"/>
              <a:gd name="connsiteY73497" fmla="*/ 2718142 h 5973007"/>
              <a:gd name="connsiteX73498" fmla="*/ 1181355 w 6884782"/>
              <a:gd name="connsiteY73498" fmla="*/ 2716284 h 5973007"/>
              <a:gd name="connsiteX73499" fmla="*/ 1184349 w 6884782"/>
              <a:gd name="connsiteY73499" fmla="*/ 2717058 h 5973007"/>
              <a:gd name="connsiteX73500" fmla="*/ 1187137 w 6884782"/>
              <a:gd name="connsiteY73500" fmla="*/ 2717213 h 5973007"/>
              <a:gd name="connsiteX73501" fmla="*/ 1188892 w 6884782"/>
              <a:gd name="connsiteY73501" fmla="*/ 2719846 h 5973007"/>
              <a:gd name="connsiteX73502" fmla="*/ 1188479 w 6884782"/>
              <a:gd name="connsiteY73502" fmla="*/ 2720776 h 5973007"/>
              <a:gd name="connsiteX73503" fmla="*/ 1190028 w 6884782"/>
              <a:gd name="connsiteY73503" fmla="*/ 2724183 h 5973007"/>
              <a:gd name="connsiteX73504" fmla="*/ 1191577 w 6884782"/>
              <a:gd name="connsiteY73504" fmla="*/ 2724958 h 5973007"/>
              <a:gd name="connsiteX73505" fmla="*/ 1194365 w 6884782"/>
              <a:gd name="connsiteY73505" fmla="*/ 2723563 h 5973007"/>
              <a:gd name="connsiteX73506" fmla="*/ 1195707 w 6884782"/>
              <a:gd name="connsiteY73506" fmla="*/ 2722170 h 5973007"/>
              <a:gd name="connsiteX73507" fmla="*/ 1195191 w 6884782"/>
              <a:gd name="connsiteY73507" fmla="*/ 2720156 h 5973007"/>
              <a:gd name="connsiteX73508" fmla="*/ 1194881 w 6884782"/>
              <a:gd name="connsiteY73508" fmla="*/ 2712411 h 5973007"/>
              <a:gd name="connsiteX73509" fmla="*/ 1196017 w 6884782"/>
              <a:gd name="connsiteY73509" fmla="*/ 2713031 h 5973007"/>
              <a:gd name="connsiteX73510" fmla="*/ 1197463 w 6884782"/>
              <a:gd name="connsiteY73510" fmla="*/ 2719072 h 5973007"/>
              <a:gd name="connsiteX73511" fmla="*/ 1197669 w 6884782"/>
              <a:gd name="connsiteY73511" fmla="*/ 2720311 h 5973007"/>
              <a:gd name="connsiteX73512" fmla="*/ 1199218 w 6884782"/>
              <a:gd name="connsiteY73512" fmla="*/ 2718917 h 5973007"/>
              <a:gd name="connsiteX73513" fmla="*/ 1209854 w 6884782"/>
              <a:gd name="connsiteY73513" fmla="*/ 2710552 h 5973007"/>
              <a:gd name="connsiteX73514" fmla="*/ 1213984 w 6884782"/>
              <a:gd name="connsiteY73514" fmla="*/ 2709778 h 5973007"/>
              <a:gd name="connsiteX73515" fmla="*/ 1211196 w 6884782"/>
              <a:gd name="connsiteY73515" fmla="*/ 2706680 h 5973007"/>
              <a:gd name="connsiteX73516" fmla="*/ 1208408 w 6884782"/>
              <a:gd name="connsiteY73516" fmla="*/ 2703582 h 5973007"/>
              <a:gd name="connsiteX73517" fmla="*/ 1203761 w 6884782"/>
              <a:gd name="connsiteY73517" fmla="*/ 2697696 h 5973007"/>
              <a:gd name="connsiteX73518" fmla="*/ 1201386 w 6884782"/>
              <a:gd name="connsiteY73518" fmla="*/ 2696767 h 5973007"/>
              <a:gd name="connsiteX73519" fmla="*/ 1200973 w 6884782"/>
              <a:gd name="connsiteY73519" fmla="*/ 2696302 h 5973007"/>
              <a:gd name="connsiteX73520" fmla="*/ 1200044 w 6884782"/>
              <a:gd name="connsiteY73520" fmla="*/ 2696302 h 5973007"/>
              <a:gd name="connsiteX73521" fmla="*/ 1199734 w 6884782"/>
              <a:gd name="connsiteY73521" fmla="*/ 2695528 h 5973007"/>
              <a:gd name="connsiteX73522" fmla="*/ 1200560 w 6884782"/>
              <a:gd name="connsiteY73522" fmla="*/ 2695682 h 5973007"/>
              <a:gd name="connsiteX73523" fmla="*/ 1199838 w 6884782"/>
              <a:gd name="connsiteY73523" fmla="*/ 2694753 h 5973007"/>
              <a:gd name="connsiteX73524" fmla="*/ 1203348 w 6884782"/>
              <a:gd name="connsiteY73524" fmla="*/ 2689022 h 5973007"/>
              <a:gd name="connsiteX73525" fmla="*/ 1208821 w 6884782"/>
              <a:gd name="connsiteY73525" fmla="*/ 2689177 h 5973007"/>
              <a:gd name="connsiteX73526" fmla="*/ 1207582 w 6884782"/>
              <a:gd name="connsiteY73526" fmla="*/ 2697232 h 5973007"/>
              <a:gd name="connsiteX73527" fmla="*/ 1207375 w 6884782"/>
              <a:gd name="connsiteY73527" fmla="*/ 2697386 h 5973007"/>
              <a:gd name="connsiteX73528" fmla="*/ 1207478 w 6884782"/>
              <a:gd name="connsiteY73528" fmla="*/ 2697386 h 5973007"/>
              <a:gd name="connsiteX73529" fmla="*/ 1213364 w 6884782"/>
              <a:gd name="connsiteY73529" fmla="*/ 2703892 h 5973007"/>
              <a:gd name="connsiteX73530" fmla="*/ 1214500 w 6884782"/>
              <a:gd name="connsiteY73530" fmla="*/ 2705441 h 5973007"/>
              <a:gd name="connsiteX73531" fmla="*/ 1215532 w 6884782"/>
              <a:gd name="connsiteY73531" fmla="*/ 2707145 h 5973007"/>
              <a:gd name="connsiteX73532" fmla="*/ 1214500 w 6884782"/>
              <a:gd name="connsiteY73532" fmla="*/ 2710552 h 5973007"/>
              <a:gd name="connsiteX73533" fmla="*/ 1214397 w 6884782"/>
              <a:gd name="connsiteY73533" fmla="*/ 2710243 h 5973007"/>
              <a:gd name="connsiteX73534" fmla="*/ 1214087 w 6884782"/>
              <a:gd name="connsiteY73534" fmla="*/ 2713341 h 5973007"/>
              <a:gd name="connsiteX73535" fmla="*/ 1210886 w 6884782"/>
              <a:gd name="connsiteY73535" fmla="*/ 2719227 h 5973007"/>
              <a:gd name="connsiteX73536" fmla="*/ 1206033 w 6884782"/>
              <a:gd name="connsiteY73536" fmla="*/ 2723874 h 5973007"/>
              <a:gd name="connsiteX73537" fmla="*/ 1205930 w 6884782"/>
              <a:gd name="connsiteY73537" fmla="*/ 2724648 h 5973007"/>
              <a:gd name="connsiteX73538" fmla="*/ 1202626 w 6884782"/>
              <a:gd name="connsiteY73538" fmla="*/ 2728056 h 5973007"/>
              <a:gd name="connsiteX73539" fmla="*/ 1202832 w 6884782"/>
              <a:gd name="connsiteY73539" fmla="*/ 2728056 h 5973007"/>
              <a:gd name="connsiteX73540" fmla="*/ 1211402 w 6884782"/>
              <a:gd name="connsiteY73540" fmla="*/ 2730534 h 5973007"/>
              <a:gd name="connsiteX73541" fmla="*/ 1211712 w 6884782"/>
              <a:gd name="connsiteY73541" fmla="*/ 2731309 h 5973007"/>
              <a:gd name="connsiteX73542" fmla="*/ 1210267 w 6884782"/>
              <a:gd name="connsiteY73542" fmla="*/ 2732703 h 5973007"/>
              <a:gd name="connsiteX73543" fmla="*/ 1206549 w 6884782"/>
              <a:gd name="connsiteY73543" fmla="*/ 2731928 h 5973007"/>
              <a:gd name="connsiteX73544" fmla="*/ 1201799 w 6884782"/>
              <a:gd name="connsiteY73544" fmla="*/ 2729914 h 5973007"/>
              <a:gd name="connsiteX73545" fmla="*/ 1201076 w 6884782"/>
              <a:gd name="connsiteY73545" fmla="*/ 2729605 h 5973007"/>
              <a:gd name="connsiteX73546" fmla="*/ 1194158 w 6884782"/>
              <a:gd name="connsiteY73546" fmla="*/ 2735800 h 5973007"/>
              <a:gd name="connsiteX73547" fmla="*/ 1194262 w 6884782"/>
              <a:gd name="connsiteY73547" fmla="*/ 2737969 h 5973007"/>
              <a:gd name="connsiteX73548" fmla="*/ 1194571 w 6884782"/>
              <a:gd name="connsiteY73548" fmla="*/ 2737969 h 5973007"/>
              <a:gd name="connsiteX73549" fmla="*/ 1197772 w 6884782"/>
              <a:gd name="connsiteY73549" fmla="*/ 2742616 h 5973007"/>
              <a:gd name="connsiteX73550" fmla="*/ 1198186 w 6884782"/>
              <a:gd name="connsiteY73550" fmla="*/ 2745249 h 5973007"/>
              <a:gd name="connsiteX73551" fmla="*/ 1198289 w 6884782"/>
              <a:gd name="connsiteY73551" fmla="*/ 2745094 h 5973007"/>
              <a:gd name="connsiteX73552" fmla="*/ 1199941 w 6884782"/>
              <a:gd name="connsiteY73552" fmla="*/ 2744940 h 5973007"/>
              <a:gd name="connsiteX73553" fmla="*/ 1204794 w 6884782"/>
              <a:gd name="connsiteY73553" fmla="*/ 2749896 h 5973007"/>
              <a:gd name="connsiteX73554" fmla="*/ 1205620 w 6884782"/>
              <a:gd name="connsiteY73554" fmla="*/ 2753768 h 5973007"/>
              <a:gd name="connsiteX73555" fmla="*/ 1212744 w 6884782"/>
              <a:gd name="connsiteY73555" fmla="*/ 2751445 h 5973007"/>
              <a:gd name="connsiteX73556" fmla="*/ 1231021 w 6884782"/>
              <a:gd name="connsiteY73556" fmla="*/ 2748037 h 5973007"/>
              <a:gd name="connsiteX73557" fmla="*/ 1248161 w 6884782"/>
              <a:gd name="connsiteY73557" fmla="*/ 2757176 h 5973007"/>
              <a:gd name="connsiteX73558" fmla="*/ 1256835 w 6884782"/>
              <a:gd name="connsiteY73558" fmla="*/ 2780411 h 5973007"/>
              <a:gd name="connsiteX73559" fmla="*/ 1250020 w 6884782"/>
              <a:gd name="connsiteY73559" fmla="*/ 2794352 h 5973007"/>
              <a:gd name="connsiteX73560" fmla="*/ 1247335 w 6884782"/>
              <a:gd name="connsiteY73560" fmla="*/ 2799928 h 5973007"/>
              <a:gd name="connsiteX73561" fmla="*/ 1250949 w 6884782"/>
              <a:gd name="connsiteY73561" fmla="*/ 2802406 h 5973007"/>
              <a:gd name="connsiteX73562" fmla="*/ 1248058 w 6884782"/>
              <a:gd name="connsiteY73562" fmla="*/ 2804420 h 5973007"/>
              <a:gd name="connsiteX73563" fmla="*/ 1245683 w 6884782"/>
              <a:gd name="connsiteY73563" fmla="*/ 2803491 h 5973007"/>
              <a:gd name="connsiteX73564" fmla="*/ 1243308 w 6884782"/>
              <a:gd name="connsiteY73564" fmla="*/ 2808447 h 5973007"/>
              <a:gd name="connsiteX73565" fmla="*/ 1241346 w 6884782"/>
              <a:gd name="connsiteY73565" fmla="*/ 2809066 h 5973007"/>
              <a:gd name="connsiteX73566" fmla="*/ 1247542 w 6884782"/>
              <a:gd name="connsiteY73566" fmla="*/ 2809841 h 5973007"/>
              <a:gd name="connsiteX73567" fmla="*/ 1255905 w 6884782"/>
              <a:gd name="connsiteY73567" fmla="*/ 2811854 h 5973007"/>
              <a:gd name="connsiteX73568" fmla="*/ 1263650 w 6884782"/>
              <a:gd name="connsiteY73568" fmla="*/ 2816037 h 5973007"/>
              <a:gd name="connsiteX73569" fmla="*/ 1265095 w 6884782"/>
              <a:gd name="connsiteY73569" fmla="*/ 2815882 h 5973007"/>
              <a:gd name="connsiteX73570" fmla="*/ 1261998 w 6884782"/>
              <a:gd name="connsiteY73570" fmla="*/ 2814643 h 5973007"/>
              <a:gd name="connsiteX73571" fmla="*/ 1257351 w 6884782"/>
              <a:gd name="connsiteY73571" fmla="*/ 2807363 h 5973007"/>
              <a:gd name="connsiteX73572" fmla="*/ 1273769 w 6884782"/>
              <a:gd name="connsiteY73572" fmla="*/ 2810925 h 5973007"/>
              <a:gd name="connsiteX73573" fmla="*/ 1274182 w 6884782"/>
              <a:gd name="connsiteY73573" fmla="*/ 2810925 h 5973007"/>
              <a:gd name="connsiteX73574" fmla="*/ 1278106 w 6884782"/>
              <a:gd name="connsiteY73574" fmla="*/ 2808602 h 5973007"/>
              <a:gd name="connsiteX73575" fmla="*/ 1282030 w 6884782"/>
              <a:gd name="connsiteY73575" fmla="*/ 2808292 h 5973007"/>
              <a:gd name="connsiteX73576" fmla="*/ 1282442 w 6884782"/>
              <a:gd name="connsiteY73576" fmla="*/ 2808602 h 5973007"/>
              <a:gd name="connsiteX73577" fmla="*/ 1282236 w 6884782"/>
              <a:gd name="connsiteY73577" fmla="*/ 2807827 h 5973007"/>
              <a:gd name="connsiteX73578" fmla="*/ 1281823 w 6884782"/>
              <a:gd name="connsiteY73578" fmla="*/ 2806123 h 5973007"/>
              <a:gd name="connsiteX73579" fmla="*/ 1283785 w 6884782"/>
              <a:gd name="connsiteY73579" fmla="*/ 2804420 h 5973007"/>
              <a:gd name="connsiteX73580" fmla="*/ 1284198 w 6884782"/>
              <a:gd name="connsiteY73580" fmla="*/ 2805194 h 5973007"/>
              <a:gd name="connsiteX73581" fmla="*/ 1286573 w 6884782"/>
              <a:gd name="connsiteY73581" fmla="*/ 2807982 h 5973007"/>
              <a:gd name="connsiteX73582" fmla="*/ 1283475 w 6884782"/>
              <a:gd name="connsiteY73582" fmla="*/ 2809222 h 5973007"/>
              <a:gd name="connsiteX73583" fmla="*/ 1286366 w 6884782"/>
              <a:gd name="connsiteY73583" fmla="*/ 2811235 h 5973007"/>
              <a:gd name="connsiteX73584" fmla="*/ 1287605 w 6884782"/>
              <a:gd name="connsiteY73584" fmla="*/ 2814798 h 5973007"/>
              <a:gd name="connsiteX73585" fmla="*/ 1290187 w 6884782"/>
              <a:gd name="connsiteY73585" fmla="*/ 2816192 h 5973007"/>
              <a:gd name="connsiteX73586" fmla="*/ 1288535 w 6884782"/>
              <a:gd name="connsiteY73586" fmla="*/ 2817121 h 5973007"/>
              <a:gd name="connsiteX73587" fmla="*/ 1290909 w 6884782"/>
              <a:gd name="connsiteY73587" fmla="*/ 2818050 h 5973007"/>
              <a:gd name="connsiteX73588" fmla="*/ 1304952 w 6884782"/>
              <a:gd name="connsiteY73588" fmla="*/ 2821458 h 5973007"/>
              <a:gd name="connsiteX73589" fmla="*/ 1307534 w 6884782"/>
              <a:gd name="connsiteY73589" fmla="*/ 2826725 h 5973007"/>
              <a:gd name="connsiteX73590" fmla="*/ 1308876 w 6884782"/>
              <a:gd name="connsiteY73590" fmla="*/ 2827499 h 5973007"/>
              <a:gd name="connsiteX73591" fmla="*/ 1309908 w 6884782"/>
              <a:gd name="connsiteY73591" fmla="*/ 2826415 h 5973007"/>
              <a:gd name="connsiteX73592" fmla="*/ 1315691 w 6884782"/>
              <a:gd name="connsiteY73592" fmla="*/ 2825176 h 5973007"/>
              <a:gd name="connsiteX73593" fmla="*/ 1318582 w 6884782"/>
              <a:gd name="connsiteY73593" fmla="*/ 2826105 h 5973007"/>
              <a:gd name="connsiteX73594" fmla="*/ 1318582 w 6884782"/>
              <a:gd name="connsiteY73594" fmla="*/ 2824401 h 5973007"/>
              <a:gd name="connsiteX73595" fmla="*/ 1318169 w 6884782"/>
              <a:gd name="connsiteY73595" fmla="*/ 2824247 h 5973007"/>
              <a:gd name="connsiteX73596" fmla="*/ 1316930 w 6884782"/>
              <a:gd name="connsiteY73596" fmla="*/ 2816811 h 5973007"/>
              <a:gd name="connsiteX73597" fmla="*/ 1317653 w 6884782"/>
              <a:gd name="connsiteY73597" fmla="*/ 2810151 h 5973007"/>
              <a:gd name="connsiteX73598" fmla="*/ 1319202 w 6884782"/>
              <a:gd name="connsiteY73598" fmla="*/ 2806278 h 5973007"/>
              <a:gd name="connsiteX73599" fmla="*/ 1321060 w 6884782"/>
              <a:gd name="connsiteY73599" fmla="*/ 2797759 h 5973007"/>
              <a:gd name="connsiteX73600" fmla="*/ 1323848 w 6884782"/>
              <a:gd name="connsiteY73600" fmla="*/ 2792493 h 5973007"/>
              <a:gd name="connsiteX73601" fmla="*/ 1323022 w 6884782"/>
              <a:gd name="connsiteY73601" fmla="*/ 2791099 h 5973007"/>
              <a:gd name="connsiteX73602" fmla="*/ 1321886 w 6884782"/>
              <a:gd name="connsiteY73602" fmla="*/ 2785833 h 5973007"/>
              <a:gd name="connsiteX73603" fmla="*/ 1324158 w 6884782"/>
              <a:gd name="connsiteY73603" fmla="*/ 2780256 h 5973007"/>
              <a:gd name="connsiteX73604" fmla="*/ 1336033 w 6884782"/>
              <a:gd name="connsiteY73604" fmla="*/ 2797294 h 5973007"/>
              <a:gd name="connsiteX73605" fmla="*/ 1335309 w 6884782"/>
              <a:gd name="connsiteY73605" fmla="*/ 2799773 h 5973007"/>
              <a:gd name="connsiteX73606" fmla="*/ 1335103 w 6884782"/>
              <a:gd name="connsiteY73606" fmla="*/ 2800702 h 5973007"/>
              <a:gd name="connsiteX73607" fmla="*/ 1336445 w 6884782"/>
              <a:gd name="connsiteY73607" fmla="*/ 2802716 h 5973007"/>
              <a:gd name="connsiteX73608" fmla="*/ 1336549 w 6884782"/>
              <a:gd name="connsiteY73608" fmla="*/ 2809686 h 5973007"/>
              <a:gd name="connsiteX73609" fmla="*/ 1336549 w 6884782"/>
              <a:gd name="connsiteY73609" fmla="*/ 2809841 h 5973007"/>
              <a:gd name="connsiteX73610" fmla="*/ 1338098 w 6884782"/>
              <a:gd name="connsiteY73610" fmla="*/ 2808757 h 5973007"/>
              <a:gd name="connsiteX73611" fmla="*/ 1338511 w 6884782"/>
              <a:gd name="connsiteY73611" fmla="*/ 2814488 h 5973007"/>
              <a:gd name="connsiteX73612" fmla="*/ 1335929 w 6884782"/>
              <a:gd name="connsiteY73612" fmla="*/ 2816037 h 5973007"/>
              <a:gd name="connsiteX73613" fmla="*/ 1336962 w 6884782"/>
              <a:gd name="connsiteY73613" fmla="*/ 2818050 h 5973007"/>
              <a:gd name="connsiteX73614" fmla="*/ 1335000 w 6884782"/>
              <a:gd name="connsiteY73614" fmla="*/ 2825486 h 5973007"/>
              <a:gd name="connsiteX73615" fmla="*/ 1333348 w 6884782"/>
              <a:gd name="connsiteY73615" fmla="*/ 2825331 h 5973007"/>
              <a:gd name="connsiteX73616" fmla="*/ 1330043 w 6884782"/>
              <a:gd name="connsiteY73616" fmla="*/ 2826105 h 5973007"/>
              <a:gd name="connsiteX73617" fmla="*/ 1326326 w 6884782"/>
              <a:gd name="connsiteY73617" fmla="*/ 2826415 h 5973007"/>
              <a:gd name="connsiteX73618" fmla="*/ 1323538 w 6884782"/>
              <a:gd name="connsiteY73618" fmla="*/ 2825640 h 5973007"/>
              <a:gd name="connsiteX73619" fmla="*/ 1321886 w 6884782"/>
              <a:gd name="connsiteY73619" fmla="*/ 2827654 h 5973007"/>
              <a:gd name="connsiteX73620" fmla="*/ 1326223 w 6884782"/>
              <a:gd name="connsiteY73620" fmla="*/ 2831681 h 5973007"/>
              <a:gd name="connsiteX73621" fmla="*/ 1329218 w 6884782"/>
              <a:gd name="connsiteY73621" fmla="*/ 2837723 h 5973007"/>
              <a:gd name="connsiteX73622" fmla="*/ 1329437 w 6884782"/>
              <a:gd name="connsiteY73622" fmla="*/ 2844422 h 5973007"/>
              <a:gd name="connsiteX73623" fmla="*/ 1325716 w 6884782"/>
              <a:gd name="connsiteY73623" fmla="*/ 2850873 h 5973007"/>
              <a:gd name="connsiteX73624" fmla="*/ 1325603 w 6884782"/>
              <a:gd name="connsiteY73624" fmla="*/ 2850889 h 5973007"/>
              <a:gd name="connsiteX73625" fmla="*/ 1325707 w 6884782"/>
              <a:gd name="connsiteY73625" fmla="*/ 2850889 h 5973007"/>
              <a:gd name="connsiteX73626" fmla="*/ 1325716 w 6884782"/>
              <a:gd name="connsiteY73626" fmla="*/ 2850873 h 5973007"/>
              <a:gd name="connsiteX73627" fmla="*/ 1326739 w 6884782"/>
              <a:gd name="connsiteY73627" fmla="*/ 2850734 h 5973007"/>
              <a:gd name="connsiteX73628" fmla="*/ 1327978 w 6884782"/>
              <a:gd name="connsiteY73628" fmla="*/ 2851508 h 5973007"/>
              <a:gd name="connsiteX73629" fmla="*/ 1327978 w 6884782"/>
              <a:gd name="connsiteY73629" fmla="*/ 2851353 h 5973007"/>
              <a:gd name="connsiteX73630" fmla="*/ 1342228 w 6884782"/>
              <a:gd name="connsiteY73630" fmla="*/ 2848255 h 5973007"/>
              <a:gd name="connsiteX73631" fmla="*/ 1345738 w 6884782"/>
              <a:gd name="connsiteY73631" fmla="*/ 2850579 h 5973007"/>
              <a:gd name="connsiteX73632" fmla="*/ 1346358 w 6884782"/>
              <a:gd name="connsiteY73632" fmla="*/ 2854451 h 5973007"/>
              <a:gd name="connsiteX73633" fmla="*/ 1342641 w 6884782"/>
              <a:gd name="connsiteY73633" fmla="*/ 2857239 h 5973007"/>
              <a:gd name="connsiteX73634" fmla="*/ 1345945 w 6884782"/>
              <a:gd name="connsiteY73634" fmla="*/ 2859408 h 5973007"/>
              <a:gd name="connsiteX73635" fmla="*/ 1351934 w 6884782"/>
              <a:gd name="connsiteY73635" fmla="*/ 2864365 h 5973007"/>
              <a:gd name="connsiteX73636" fmla="*/ 1357406 w 6884782"/>
              <a:gd name="connsiteY73636" fmla="*/ 2866223 h 5973007"/>
              <a:gd name="connsiteX73637" fmla="*/ 1357200 w 6884782"/>
              <a:gd name="connsiteY73637" fmla="*/ 2861731 h 5973007"/>
              <a:gd name="connsiteX73638" fmla="*/ 1359059 w 6884782"/>
              <a:gd name="connsiteY73638" fmla="*/ 2865449 h 5973007"/>
              <a:gd name="connsiteX73639" fmla="*/ 1360504 w 6884782"/>
              <a:gd name="connsiteY73639" fmla="*/ 2866688 h 5973007"/>
              <a:gd name="connsiteX73640" fmla="*/ 1359678 w 6884782"/>
              <a:gd name="connsiteY73640" fmla="*/ 2864674 h 5973007"/>
              <a:gd name="connsiteX73641" fmla="*/ 1362879 w 6884782"/>
              <a:gd name="connsiteY73641" fmla="*/ 2858478 h 5973007"/>
              <a:gd name="connsiteX73642" fmla="*/ 1376199 w 6884782"/>
              <a:gd name="connsiteY73642" fmla="*/ 2857084 h 5973007"/>
              <a:gd name="connsiteX73643" fmla="*/ 1381465 w 6884782"/>
              <a:gd name="connsiteY73643" fmla="*/ 2829668 h 5973007"/>
              <a:gd name="connsiteX73644" fmla="*/ 1363912 w 6884782"/>
              <a:gd name="connsiteY73644" fmla="*/ 2818825 h 5973007"/>
              <a:gd name="connsiteX73645" fmla="*/ 1362672 w 6884782"/>
              <a:gd name="connsiteY73645" fmla="*/ 2815262 h 5973007"/>
              <a:gd name="connsiteX73646" fmla="*/ 1362776 w 6884782"/>
              <a:gd name="connsiteY73646" fmla="*/ 2814953 h 5973007"/>
              <a:gd name="connsiteX73647" fmla="*/ 1359988 w 6884782"/>
              <a:gd name="connsiteY73647" fmla="*/ 2815262 h 5973007"/>
              <a:gd name="connsiteX73648" fmla="*/ 1353999 w 6884782"/>
              <a:gd name="connsiteY73648" fmla="*/ 2814178 h 5973007"/>
              <a:gd name="connsiteX73649" fmla="*/ 1354515 w 6884782"/>
              <a:gd name="connsiteY73649" fmla="*/ 2816811 h 5973007"/>
              <a:gd name="connsiteX73650" fmla="*/ 1344809 w 6884782"/>
              <a:gd name="connsiteY73650" fmla="*/ 2824401 h 5973007"/>
              <a:gd name="connsiteX73651" fmla="*/ 1342641 w 6884782"/>
              <a:gd name="connsiteY73651" fmla="*/ 2816811 h 5973007"/>
              <a:gd name="connsiteX73652" fmla="*/ 1344293 w 6884782"/>
              <a:gd name="connsiteY73652" fmla="*/ 2815572 h 5973007"/>
              <a:gd name="connsiteX73653" fmla="*/ 1345016 w 6884782"/>
              <a:gd name="connsiteY73653" fmla="*/ 2814333 h 5973007"/>
              <a:gd name="connsiteX73654" fmla="*/ 1343364 w 6884782"/>
              <a:gd name="connsiteY73654" fmla="*/ 2812629 h 5973007"/>
              <a:gd name="connsiteX73655" fmla="*/ 1339543 w 6884782"/>
              <a:gd name="connsiteY73655" fmla="*/ 2810770 h 5973007"/>
              <a:gd name="connsiteX73656" fmla="*/ 1343983 w 6884782"/>
              <a:gd name="connsiteY73656" fmla="*/ 2808137 h 5973007"/>
              <a:gd name="connsiteX73657" fmla="*/ 1349043 w 6884782"/>
              <a:gd name="connsiteY73657" fmla="*/ 2807208 h 5973007"/>
              <a:gd name="connsiteX73658" fmla="*/ 1349353 w 6884782"/>
              <a:gd name="connsiteY73658" fmla="*/ 2812629 h 5973007"/>
              <a:gd name="connsiteX73659" fmla="*/ 1351211 w 6884782"/>
              <a:gd name="connsiteY73659" fmla="*/ 2812165 h 5973007"/>
              <a:gd name="connsiteX73660" fmla="*/ 1353586 w 6884782"/>
              <a:gd name="connsiteY73660" fmla="*/ 2812629 h 5973007"/>
              <a:gd name="connsiteX73661" fmla="*/ 1353896 w 6884782"/>
              <a:gd name="connsiteY73661" fmla="*/ 2813868 h 5973007"/>
              <a:gd name="connsiteX73662" fmla="*/ 1357716 w 6884782"/>
              <a:gd name="connsiteY73662" fmla="*/ 2809686 h 5973007"/>
              <a:gd name="connsiteX73663" fmla="*/ 1361537 w 6884782"/>
              <a:gd name="connsiteY73663" fmla="*/ 2808137 h 5973007"/>
              <a:gd name="connsiteX73664" fmla="*/ 1367938 w 6884782"/>
              <a:gd name="connsiteY73664" fmla="*/ 2807672 h 5973007"/>
              <a:gd name="connsiteX73665" fmla="*/ 1368455 w 6884782"/>
              <a:gd name="connsiteY73665" fmla="*/ 2807672 h 5973007"/>
              <a:gd name="connsiteX73666" fmla="*/ 1369591 w 6884782"/>
              <a:gd name="connsiteY73666" fmla="*/ 2805349 h 5973007"/>
              <a:gd name="connsiteX73667" fmla="*/ 1371656 w 6884782"/>
              <a:gd name="connsiteY73667" fmla="*/ 2807982 h 5973007"/>
              <a:gd name="connsiteX73668" fmla="*/ 1374754 w 6884782"/>
              <a:gd name="connsiteY73668" fmla="*/ 2808292 h 5973007"/>
              <a:gd name="connsiteX73669" fmla="*/ 1373824 w 6884782"/>
              <a:gd name="connsiteY73669" fmla="*/ 2810461 h 5973007"/>
              <a:gd name="connsiteX73670" fmla="*/ 1378884 w 6884782"/>
              <a:gd name="connsiteY73670" fmla="*/ 2812939 h 5973007"/>
              <a:gd name="connsiteX73671" fmla="*/ 1380123 w 6884782"/>
              <a:gd name="connsiteY73671" fmla="*/ 2812629 h 5973007"/>
              <a:gd name="connsiteX73672" fmla="*/ 1380949 w 6884782"/>
              <a:gd name="connsiteY73672" fmla="*/ 2810615 h 5973007"/>
              <a:gd name="connsiteX73673" fmla="*/ 1384460 w 6884782"/>
              <a:gd name="connsiteY73673" fmla="*/ 2809066 h 5973007"/>
              <a:gd name="connsiteX73674" fmla="*/ 1385079 w 6884782"/>
              <a:gd name="connsiteY73674" fmla="*/ 2810770 h 5973007"/>
              <a:gd name="connsiteX73675" fmla="*/ 1385802 w 6884782"/>
              <a:gd name="connsiteY73675" fmla="*/ 2810461 h 5973007"/>
              <a:gd name="connsiteX73676" fmla="*/ 1385492 w 6884782"/>
              <a:gd name="connsiteY73676" fmla="*/ 2809686 h 5973007"/>
              <a:gd name="connsiteX73677" fmla="*/ 1384253 w 6884782"/>
              <a:gd name="connsiteY73677" fmla="*/ 2803181 h 5973007"/>
              <a:gd name="connsiteX73678" fmla="*/ 1386628 w 6884782"/>
              <a:gd name="connsiteY73678" fmla="*/ 2809222 h 5973007"/>
              <a:gd name="connsiteX73679" fmla="*/ 1386834 w 6884782"/>
              <a:gd name="connsiteY73679" fmla="*/ 2809996 h 5973007"/>
              <a:gd name="connsiteX73680" fmla="*/ 1387454 w 6884782"/>
              <a:gd name="connsiteY73680" fmla="*/ 2809531 h 5973007"/>
              <a:gd name="connsiteX73681" fmla="*/ 1408002 w 6884782"/>
              <a:gd name="connsiteY73681" fmla="*/ 2785057 h 5973007"/>
              <a:gd name="connsiteX73682" fmla="*/ 1410170 w 6884782"/>
              <a:gd name="connsiteY73682" fmla="*/ 2770187 h 5973007"/>
              <a:gd name="connsiteX73683" fmla="*/ 1403149 w 6884782"/>
              <a:gd name="connsiteY73683" fmla="*/ 2760274 h 5973007"/>
              <a:gd name="connsiteX73684" fmla="*/ 1402323 w 6884782"/>
              <a:gd name="connsiteY73684" fmla="*/ 2752994 h 5973007"/>
              <a:gd name="connsiteX73685" fmla="*/ 1408105 w 6884782"/>
              <a:gd name="connsiteY73685" fmla="*/ 2751910 h 5973007"/>
              <a:gd name="connsiteX73686" fmla="*/ 1410583 w 6884782"/>
              <a:gd name="connsiteY73686" fmla="*/ 2751445 h 5973007"/>
              <a:gd name="connsiteX73687" fmla="*/ 1408105 w 6884782"/>
              <a:gd name="connsiteY73687" fmla="*/ 2748037 h 5973007"/>
              <a:gd name="connsiteX73688" fmla="*/ 1408002 w 6884782"/>
              <a:gd name="connsiteY73688" fmla="*/ 2744630 h 5973007"/>
              <a:gd name="connsiteX73689" fmla="*/ 1412959 w 6884782"/>
              <a:gd name="connsiteY73689" fmla="*/ 2740912 h 5973007"/>
              <a:gd name="connsiteX73690" fmla="*/ 1417192 w 6884782"/>
              <a:gd name="connsiteY73690" fmla="*/ 2741687 h 5973007"/>
              <a:gd name="connsiteX73691" fmla="*/ 1419819 w 6884782"/>
              <a:gd name="connsiteY73691" fmla="*/ 2747903 h 5973007"/>
              <a:gd name="connsiteX73692" fmla="*/ 1419609 w 6884782"/>
              <a:gd name="connsiteY73692" fmla="*/ 2748192 h 5973007"/>
              <a:gd name="connsiteX73693" fmla="*/ 1415333 w 6884782"/>
              <a:gd name="connsiteY73693" fmla="*/ 2750671 h 5973007"/>
              <a:gd name="connsiteX73694" fmla="*/ 1416882 w 6884782"/>
              <a:gd name="connsiteY73694" fmla="*/ 2750671 h 5973007"/>
              <a:gd name="connsiteX73695" fmla="*/ 1417811 w 6884782"/>
              <a:gd name="connsiteY73695" fmla="*/ 2750671 h 5973007"/>
              <a:gd name="connsiteX73696" fmla="*/ 1419609 w 6884782"/>
              <a:gd name="connsiteY73696" fmla="*/ 2748192 h 5973007"/>
              <a:gd name="connsiteX73697" fmla="*/ 1419876 w 6884782"/>
              <a:gd name="connsiteY73697" fmla="*/ 2748037 h 5973007"/>
              <a:gd name="connsiteX73698" fmla="*/ 1419819 w 6884782"/>
              <a:gd name="connsiteY73698" fmla="*/ 2747903 h 5973007"/>
              <a:gd name="connsiteX73699" fmla="*/ 1421632 w 6884782"/>
              <a:gd name="connsiteY73699" fmla="*/ 2745404 h 5973007"/>
              <a:gd name="connsiteX73700" fmla="*/ 1437327 w 6884782"/>
              <a:gd name="connsiteY73700" fmla="*/ 2751910 h 5973007"/>
              <a:gd name="connsiteX73701" fmla="*/ 1444245 w 6884782"/>
              <a:gd name="connsiteY73701" fmla="*/ 2742771 h 5973007"/>
              <a:gd name="connsiteX73702" fmla="*/ 1447239 w 6884782"/>
              <a:gd name="connsiteY73702" fmla="*/ 2740447 h 5973007"/>
              <a:gd name="connsiteX73703" fmla="*/ 1444658 w 6884782"/>
              <a:gd name="connsiteY73703" fmla="*/ 2738434 h 5973007"/>
              <a:gd name="connsiteX73704" fmla="*/ 1447342 w 6884782"/>
              <a:gd name="connsiteY73704" fmla="*/ 2736730 h 5973007"/>
              <a:gd name="connsiteX73705" fmla="*/ 1453538 w 6884782"/>
              <a:gd name="connsiteY73705" fmla="*/ 2737195 h 5973007"/>
              <a:gd name="connsiteX73706" fmla="*/ 1453951 w 6884782"/>
              <a:gd name="connsiteY73706" fmla="*/ 2737350 h 5973007"/>
              <a:gd name="connsiteX73707" fmla="*/ 1457668 w 6884782"/>
              <a:gd name="connsiteY73707" fmla="*/ 2730689 h 5973007"/>
              <a:gd name="connsiteX73708" fmla="*/ 1457152 w 6884782"/>
              <a:gd name="connsiteY73708" fmla="*/ 2721860 h 5973007"/>
              <a:gd name="connsiteX73709" fmla="*/ 1455500 w 6884782"/>
              <a:gd name="connsiteY73709" fmla="*/ 2715819 h 5973007"/>
              <a:gd name="connsiteX73710" fmla="*/ 1453848 w 6884782"/>
              <a:gd name="connsiteY73710" fmla="*/ 2713650 h 5973007"/>
              <a:gd name="connsiteX73711" fmla="*/ 1453228 w 6884782"/>
              <a:gd name="connsiteY73711" fmla="*/ 2712876 h 5973007"/>
              <a:gd name="connsiteX73712" fmla="*/ 1453641 w 6884782"/>
              <a:gd name="connsiteY73712" fmla="*/ 2722170 h 5973007"/>
              <a:gd name="connsiteX73713" fmla="*/ 1452608 w 6884782"/>
              <a:gd name="connsiteY73713" fmla="*/ 2732393 h 5973007"/>
              <a:gd name="connsiteX73714" fmla="*/ 1436810 w 6884782"/>
              <a:gd name="connsiteY73714" fmla="*/ 2707455 h 5973007"/>
              <a:gd name="connsiteX73715" fmla="*/ 1439702 w 6884782"/>
              <a:gd name="connsiteY73715" fmla="*/ 2695682 h 5973007"/>
              <a:gd name="connsiteX73716" fmla="*/ 1447652 w 6884782"/>
              <a:gd name="connsiteY73716" fmla="*/ 2702033 h 5973007"/>
              <a:gd name="connsiteX73717" fmla="*/ 1448169 w 6884782"/>
              <a:gd name="connsiteY73717" fmla="*/ 2700794 h 5973007"/>
              <a:gd name="connsiteX73718" fmla="*/ 1441147 w 6884782"/>
              <a:gd name="connsiteY73718" fmla="*/ 2690726 h 5973007"/>
              <a:gd name="connsiteX73719" fmla="*/ 1440837 w 6884782"/>
              <a:gd name="connsiteY73719" fmla="*/ 2687163 h 5973007"/>
              <a:gd name="connsiteX73720" fmla="*/ 1443316 w 6884782"/>
              <a:gd name="connsiteY73720" fmla="*/ 2689951 h 5973007"/>
              <a:gd name="connsiteX73721" fmla="*/ 1445277 w 6884782"/>
              <a:gd name="connsiteY73721" fmla="*/ 2694288 h 5973007"/>
              <a:gd name="connsiteX73722" fmla="*/ 1448375 w 6884782"/>
              <a:gd name="connsiteY73722" fmla="*/ 2695528 h 5973007"/>
              <a:gd name="connsiteX73723" fmla="*/ 1448788 w 6884782"/>
              <a:gd name="connsiteY73723" fmla="*/ 2699245 h 5973007"/>
              <a:gd name="connsiteX73724" fmla="*/ 1458185 w 6884782"/>
              <a:gd name="connsiteY73724" fmla="*/ 2703118 h 5973007"/>
              <a:gd name="connsiteX73725" fmla="*/ 1459320 w 6884782"/>
              <a:gd name="connsiteY73725" fmla="*/ 2706990 h 5973007"/>
              <a:gd name="connsiteX73726" fmla="*/ 1463038 w 6884782"/>
              <a:gd name="connsiteY73726" fmla="*/ 2703118 h 5973007"/>
              <a:gd name="connsiteX73727" fmla="*/ 1451370 w 6884782"/>
              <a:gd name="connsiteY73727" fmla="*/ 2697386 h 5973007"/>
              <a:gd name="connsiteX73728" fmla="*/ 1449614 w 6884782"/>
              <a:gd name="connsiteY73728" fmla="*/ 2678489 h 5973007"/>
              <a:gd name="connsiteX73729" fmla="*/ 1446207 w 6884782"/>
              <a:gd name="connsiteY73729" fmla="*/ 2664239 h 5973007"/>
              <a:gd name="connsiteX73730" fmla="*/ 1443109 w 6884782"/>
              <a:gd name="connsiteY73730" fmla="*/ 2663619 h 5973007"/>
              <a:gd name="connsiteX73731" fmla="*/ 1444245 w 6884782"/>
              <a:gd name="connsiteY73731" fmla="*/ 2662999 h 5973007"/>
              <a:gd name="connsiteX73732" fmla="*/ 1446000 w 6884782"/>
              <a:gd name="connsiteY73732" fmla="*/ 2663464 h 5973007"/>
              <a:gd name="connsiteX73733" fmla="*/ 1444761 w 6884782"/>
              <a:gd name="connsiteY73733" fmla="*/ 2658197 h 5973007"/>
              <a:gd name="connsiteX73734" fmla="*/ 1440631 w 6884782"/>
              <a:gd name="connsiteY73734" fmla="*/ 2636667 h 5973007"/>
              <a:gd name="connsiteX73735" fmla="*/ 1439805 w 6884782"/>
              <a:gd name="connsiteY73735" fmla="*/ 2625360 h 5973007"/>
              <a:gd name="connsiteX73736" fmla="*/ 1440837 w 6884782"/>
              <a:gd name="connsiteY73736" fmla="*/ 2618234 h 5973007"/>
              <a:gd name="connsiteX73737" fmla="*/ 1440321 w 6884782"/>
              <a:gd name="connsiteY73737" fmla="*/ 2619163 h 5973007"/>
              <a:gd name="connsiteX73738" fmla="*/ 1437637 w 6884782"/>
              <a:gd name="connsiteY73738" fmla="*/ 2618544 h 5973007"/>
              <a:gd name="connsiteX73739" fmla="*/ 1438256 w 6884782"/>
              <a:gd name="connsiteY73739" fmla="*/ 2616531 h 5973007"/>
              <a:gd name="connsiteX73740" fmla="*/ 1441147 w 6884782"/>
              <a:gd name="connsiteY73740" fmla="*/ 2616220 h 5973007"/>
              <a:gd name="connsiteX73741" fmla="*/ 1441457 w 6884782"/>
              <a:gd name="connsiteY73741" fmla="*/ 2614052 h 5973007"/>
              <a:gd name="connsiteX73742" fmla="*/ 1434849 w 6884782"/>
              <a:gd name="connsiteY73742" fmla="*/ 2609405 h 5973007"/>
              <a:gd name="connsiteX73743" fmla="*/ 1433197 w 6884782"/>
              <a:gd name="connsiteY73743" fmla="*/ 2579510 h 5973007"/>
              <a:gd name="connsiteX73744" fmla="*/ 1431544 w 6884782"/>
              <a:gd name="connsiteY73744" fmla="*/ 2560613 h 5973007"/>
              <a:gd name="connsiteX73745" fmla="*/ 1437327 w 6884782"/>
              <a:gd name="connsiteY73745" fmla="*/ 2543884 h 5973007"/>
              <a:gd name="connsiteX73746" fmla="*/ 1438979 w 6884782"/>
              <a:gd name="connsiteY73746" fmla="*/ 2551319 h 5973007"/>
              <a:gd name="connsiteX73747" fmla="*/ 1443935 w 6884782"/>
              <a:gd name="connsiteY73747" fmla="*/ 2543884 h 5973007"/>
              <a:gd name="connsiteX73748" fmla="*/ 1440218 w 6884782"/>
              <a:gd name="connsiteY73748" fmla="*/ 2539857 h 5973007"/>
              <a:gd name="connsiteX73749" fmla="*/ 1440425 w 6884782"/>
              <a:gd name="connsiteY73749" fmla="*/ 2537378 h 5973007"/>
              <a:gd name="connsiteX73750" fmla="*/ 1440115 w 6884782"/>
              <a:gd name="connsiteY73750" fmla="*/ 2537378 h 5973007"/>
              <a:gd name="connsiteX73751" fmla="*/ 1437430 w 6884782"/>
              <a:gd name="connsiteY73751" fmla="*/ 2532267 h 5973007"/>
              <a:gd name="connsiteX73752" fmla="*/ 1439082 w 6884782"/>
              <a:gd name="connsiteY73752" fmla="*/ 2527620 h 5973007"/>
              <a:gd name="connsiteX73753" fmla="*/ 1442696 w 6884782"/>
              <a:gd name="connsiteY73753" fmla="*/ 2527775 h 5973007"/>
              <a:gd name="connsiteX73754" fmla="*/ 1443832 w 6884782"/>
              <a:gd name="connsiteY73754" fmla="*/ 2534590 h 5973007"/>
              <a:gd name="connsiteX73755" fmla="*/ 1444968 w 6884782"/>
              <a:gd name="connsiteY73755" fmla="*/ 2539702 h 5973007"/>
              <a:gd name="connsiteX73756" fmla="*/ 1447239 w 6884782"/>
              <a:gd name="connsiteY73756" fmla="*/ 2539237 h 5973007"/>
              <a:gd name="connsiteX73757" fmla="*/ 1453848 w 6884782"/>
              <a:gd name="connsiteY73757" fmla="*/ 2557825 h 5973007"/>
              <a:gd name="connsiteX73758" fmla="*/ 1452196 w 6884782"/>
              <a:gd name="connsiteY73758" fmla="*/ 2576568 h 5973007"/>
              <a:gd name="connsiteX73759" fmla="*/ 1456326 w 6884782"/>
              <a:gd name="connsiteY73759" fmla="*/ 2601041 h 5973007"/>
              <a:gd name="connsiteX73760" fmla="*/ 1458907 w 6884782"/>
              <a:gd name="connsiteY73760" fmla="*/ 2587874 h 5973007"/>
              <a:gd name="connsiteX73761" fmla="*/ 1460456 w 6884782"/>
              <a:gd name="connsiteY73761" fmla="*/ 2574708 h 5973007"/>
              <a:gd name="connsiteX73762" fmla="*/ 1457152 w 6884782"/>
              <a:gd name="connsiteY73762" fmla="*/ 2555966 h 5973007"/>
              <a:gd name="connsiteX73763" fmla="*/ 1460456 w 6884782"/>
              <a:gd name="connsiteY73763" fmla="*/ 2565415 h 5973007"/>
              <a:gd name="connsiteX73764" fmla="*/ 1460456 w 6884782"/>
              <a:gd name="connsiteY73764" fmla="*/ 2543884 h 5973007"/>
              <a:gd name="connsiteX73765" fmla="*/ 1458907 w 6884782"/>
              <a:gd name="connsiteY73765" fmla="*/ 2548531 h 5973007"/>
              <a:gd name="connsiteX73766" fmla="*/ 1460456 w 6884782"/>
              <a:gd name="connsiteY73766" fmla="*/ 2534436 h 5973007"/>
              <a:gd name="connsiteX73767" fmla="*/ 1456326 w 6884782"/>
              <a:gd name="connsiteY73767" fmla="*/ 2522199 h 5973007"/>
              <a:gd name="connsiteX73768" fmla="*/ 1456842 w 6884782"/>
              <a:gd name="connsiteY73768" fmla="*/ 2520495 h 5973007"/>
              <a:gd name="connsiteX73769" fmla="*/ 1447652 w 6884782"/>
              <a:gd name="connsiteY73769" fmla="*/ 2503921 h 5973007"/>
              <a:gd name="connsiteX73770" fmla="*/ 1448892 w 6884782"/>
              <a:gd name="connsiteY73770" fmla="*/ 2498654 h 5973007"/>
              <a:gd name="connsiteX73771" fmla="*/ 1453125 w 6884782"/>
              <a:gd name="connsiteY73771" fmla="*/ 2496486 h 5973007"/>
              <a:gd name="connsiteX73772" fmla="*/ 1457668 w 6884782"/>
              <a:gd name="connsiteY73772" fmla="*/ 2500049 h 5973007"/>
              <a:gd name="connsiteX73773" fmla="*/ 1458907 w 6884782"/>
              <a:gd name="connsiteY73773" fmla="*/ 2495092 h 5973007"/>
              <a:gd name="connsiteX73774" fmla="*/ 1459217 w 6884782"/>
              <a:gd name="connsiteY73774" fmla="*/ 2494008 h 5973007"/>
              <a:gd name="connsiteX73775" fmla="*/ 1456842 w 6884782"/>
              <a:gd name="connsiteY73775" fmla="*/ 2491994 h 5973007"/>
              <a:gd name="connsiteX73776" fmla="*/ 1454054 w 6884782"/>
              <a:gd name="connsiteY73776" fmla="*/ 2482545 h 5973007"/>
              <a:gd name="connsiteX73777" fmla="*/ 1458081 w 6884782"/>
              <a:gd name="connsiteY73777" fmla="*/ 2476349 h 5973007"/>
              <a:gd name="connsiteX73778" fmla="*/ 1456016 w 6884782"/>
              <a:gd name="connsiteY73778" fmla="*/ 2476504 h 5973007"/>
              <a:gd name="connsiteX73779" fmla="*/ 1451266 w 6884782"/>
              <a:gd name="connsiteY73779" fmla="*/ 2474336 h 5973007"/>
              <a:gd name="connsiteX73780" fmla="*/ 1447136 w 6884782"/>
              <a:gd name="connsiteY73780" fmla="*/ 2466281 h 5973007"/>
              <a:gd name="connsiteX73781" fmla="*/ 1446103 w 6884782"/>
              <a:gd name="connsiteY73781" fmla="*/ 2463028 h 5973007"/>
              <a:gd name="connsiteX73782" fmla="*/ 1441147 w 6884782"/>
              <a:gd name="connsiteY73782" fmla="*/ 2470463 h 5973007"/>
              <a:gd name="connsiteX73783" fmla="*/ 1436088 w 6884782"/>
              <a:gd name="connsiteY73783" fmla="*/ 2466436 h 5973007"/>
              <a:gd name="connsiteX73784" fmla="*/ 1439185 w 6884782"/>
              <a:gd name="connsiteY73784" fmla="*/ 2457142 h 5973007"/>
              <a:gd name="connsiteX73785" fmla="*/ 1439805 w 6884782"/>
              <a:gd name="connsiteY73785" fmla="*/ 2456523 h 5973007"/>
              <a:gd name="connsiteX73786" fmla="*/ 1436810 w 6884782"/>
              <a:gd name="connsiteY73786" fmla="*/ 2455439 h 5973007"/>
              <a:gd name="connsiteX73787" fmla="*/ 1417089 w 6884782"/>
              <a:gd name="connsiteY73787" fmla="*/ 2459001 h 5973007"/>
              <a:gd name="connsiteX73788" fmla="*/ 1416159 w 6884782"/>
              <a:gd name="connsiteY73788" fmla="*/ 2459466 h 5973007"/>
              <a:gd name="connsiteX73789" fmla="*/ 1416985 w 6884782"/>
              <a:gd name="connsiteY73789" fmla="*/ 2459930 h 5973007"/>
              <a:gd name="connsiteX73790" fmla="*/ 1419670 w 6884782"/>
              <a:gd name="connsiteY73790" fmla="*/ 2465042 h 5973007"/>
              <a:gd name="connsiteX73791" fmla="*/ 1417605 w 6884782"/>
              <a:gd name="connsiteY73791" fmla="*/ 2466591 h 5973007"/>
              <a:gd name="connsiteX73792" fmla="*/ 1419154 w 6884782"/>
              <a:gd name="connsiteY73792" fmla="*/ 2468450 h 5973007"/>
              <a:gd name="connsiteX73793" fmla="*/ 1420806 w 6884782"/>
              <a:gd name="connsiteY73793" fmla="*/ 2470618 h 5973007"/>
              <a:gd name="connsiteX73794" fmla="*/ 1422871 w 6884782"/>
              <a:gd name="connsiteY73794" fmla="*/ 2470773 h 5973007"/>
              <a:gd name="connsiteX73795" fmla="*/ 1425866 w 6884782"/>
              <a:gd name="connsiteY73795" fmla="*/ 2472012 h 5973007"/>
              <a:gd name="connsiteX73796" fmla="*/ 1422148 w 6884782"/>
              <a:gd name="connsiteY73796" fmla="*/ 2477124 h 5973007"/>
              <a:gd name="connsiteX73797" fmla="*/ 1419773 w 6884782"/>
              <a:gd name="connsiteY73797" fmla="*/ 2474800 h 5973007"/>
              <a:gd name="connsiteX73798" fmla="*/ 1416469 w 6884782"/>
              <a:gd name="connsiteY73798" fmla="*/ 2479137 h 5973007"/>
              <a:gd name="connsiteX73799" fmla="*/ 1411719 w 6884782"/>
              <a:gd name="connsiteY73799" fmla="*/ 2481306 h 5973007"/>
              <a:gd name="connsiteX73800" fmla="*/ 1408415 w 6884782"/>
              <a:gd name="connsiteY73800" fmla="*/ 2480841 h 5973007"/>
              <a:gd name="connsiteX73801" fmla="*/ 1406350 w 6884782"/>
              <a:gd name="connsiteY73801" fmla="*/ 2479602 h 5973007"/>
              <a:gd name="connsiteX73802" fmla="*/ 1406866 w 6884782"/>
              <a:gd name="connsiteY73802" fmla="*/ 2483474 h 5973007"/>
              <a:gd name="connsiteX73803" fmla="*/ 1405627 w 6884782"/>
              <a:gd name="connsiteY73803" fmla="*/ 2488431 h 5973007"/>
              <a:gd name="connsiteX73804" fmla="*/ 1393856 w 6884782"/>
              <a:gd name="connsiteY73804" fmla="*/ 2489670 h 5973007"/>
              <a:gd name="connsiteX73805" fmla="*/ 1392824 w 6884782"/>
              <a:gd name="connsiteY73805" fmla="*/ 2487037 h 5973007"/>
              <a:gd name="connsiteX73806" fmla="*/ 1391584 w 6884782"/>
              <a:gd name="connsiteY73806" fmla="*/ 2489051 h 5973007"/>
              <a:gd name="connsiteX73807" fmla="*/ 1387454 w 6884782"/>
              <a:gd name="connsiteY73807" fmla="*/ 2489360 h 5973007"/>
              <a:gd name="connsiteX73808" fmla="*/ 1389003 w 6884782"/>
              <a:gd name="connsiteY73808" fmla="*/ 2485179 h 5973007"/>
              <a:gd name="connsiteX73809" fmla="*/ 1392204 w 6884782"/>
              <a:gd name="connsiteY73809" fmla="*/ 2485489 h 5973007"/>
              <a:gd name="connsiteX73810" fmla="*/ 1391997 w 6884782"/>
              <a:gd name="connsiteY73810" fmla="*/ 2480686 h 5973007"/>
              <a:gd name="connsiteX73811" fmla="*/ 1392101 w 6884782"/>
              <a:gd name="connsiteY73811" fmla="*/ 2479757 h 5973007"/>
              <a:gd name="connsiteX73812" fmla="*/ 1390448 w 6884782"/>
              <a:gd name="connsiteY73812" fmla="*/ 2480531 h 5973007"/>
              <a:gd name="connsiteX73813" fmla="*/ 1388177 w 6884782"/>
              <a:gd name="connsiteY73813" fmla="*/ 2480841 h 5973007"/>
              <a:gd name="connsiteX73814" fmla="*/ 1387454 w 6884782"/>
              <a:gd name="connsiteY73814" fmla="*/ 2478208 h 5973007"/>
              <a:gd name="connsiteX73815" fmla="*/ 1390965 w 6884782"/>
              <a:gd name="connsiteY73815" fmla="*/ 2477434 h 5973007"/>
              <a:gd name="connsiteX73816" fmla="*/ 1391997 w 6884782"/>
              <a:gd name="connsiteY73816" fmla="*/ 2478363 h 5973007"/>
              <a:gd name="connsiteX73817" fmla="*/ 1392204 w 6884782"/>
              <a:gd name="connsiteY73817" fmla="*/ 2478983 h 5973007"/>
              <a:gd name="connsiteX73818" fmla="*/ 1393030 w 6884782"/>
              <a:gd name="connsiteY73818" fmla="*/ 2472012 h 5973007"/>
              <a:gd name="connsiteX73819" fmla="*/ 1385802 w 6884782"/>
              <a:gd name="connsiteY73819" fmla="*/ 2462563 h 5973007"/>
              <a:gd name="connsiteX73820" fmla="*/ 1349869 w 6884782"/>
              <a:gd name="connsiteY73820" fmla="*/ 2446455 h 5973007"/>
              <a:gd name="connsiteX73821" fmla="*/ 1346152 w 6884782"/>
              <a:gd name="connsiteY73821" fmla="*/ 2445370 h 5973007"/>
              <a:gd name="connsiteX73822" fmla="*/ 1346048 w 6884782"/>
              <a:gd name="connsiteY73822" fmla="*/ 2445525 h 5973007"/>
              <a:gd name="connsiteX73823" fmla="*/ 1345222 w 6884782"/>
              <a:gd name="connsiteY73823" fmla="*/ 2445370 h 5973007"/>
              <a:gd name="connsiteX73824" fmla="*/ 1341196 w 6884782"/>
              <a:gd name="connsiteY73824" fmla="*/ 2445525 h 5973007"/>
              <a:gd name="connsiteX73825" fmla="*/ 1332109 w 6884782"/>
              <a:gd name="connsiteY73825" fmla="*/ 2449552 h 5973007"/>
              <a:gd name="connsiteX73826" fmla="*/ 1327669 w 6884782"/>
              <a:gd name="connsiteY73826" fmla="*/ 2456058 h 5973007"/>
              <a:gd name="connsiteX73827" fmla="*/ 1328288 w 6884782"/>
              <a:gd name="connsiteY73827" fmla="*/ 2457297 h 5973007"/>
              <a:gd name="connsiteX73828" fmla="*/ 1325913 w 6884782"/>
              <a:gd name="connsiteY73828" fmla="*/ 2462254 h 5973007"/>
              <a:gd name="connsiteX73829" fmla="*/ 1321267 w 6884782"/>
              <a:gd name="connsiteY73829" fmla="*/ 2464577 h 5973007"/>
              <a:gd name="connsiteX73830" fmla="*/ 1319408 w 6884782"/>
              <a:gd name="connsiteY73830" fmla="*/ 2466436 h 5973007"/>
              <a:gd name="connsiteX73831" fmla="*/ 1315588 w 6884782"/>
              <a:gd name="connsiteY73831" fmla="*/ 2465817 h 5973007"/>
              <a:gd name="connsiteX73832" fmla="*/ 1312077 w 6884782"/>
              <a:gd name="connsiteY73832" fmla="*/ 2459001 h 5973007"/>
              <a:gd name="connsiteX73833" fmla="*/ 1307018 w 6884782"/>
              <a:gd name="connsiteY73833" fmla="*/ 2447538 h 5973007"/>
              <a:gd name="connsiteX73834" fmla="*/ 1299376 w 6884782"/>
              <a:gd name="connsiteY73834" fmla="*/ 2444751 h 5973007"/>
              <a:gd name="connsiteX73835" fmla="*/ 1298137 w 6884782"/>
              <a:gd name="connsiteY73835" fmla="*/ 2442892 h 5973007"/>
              <a:gd name="connsiteX73836" fmla="*/ 1295350 w 6884782"/>
              <a:gd name="connsiteY73836" fmla="*/ 2442892 h 5973007"/>
              <a:gd name="connsiteX73837" fmla="*/ 1292252 w 6884782"/>
              <a:gd name="connsiteY73837" fmla="*/ 2441807 h 5973007"/>
              <a:gd name="connsiteX73838" fmla="*/ 1291116 w 6884782"/>
              <a:gd name="connsiteY73838" fmla="*/ 2440258 h 5973007"/>
              <a:gd name="connsiteX73839" fmla="*/ 1289051 w 6884782"/>
              <a:gd name="connsiteY73839" fmla="*/ 2440723 h 5973007"/>
              <a:gd name="connsiteX73840" fmla="*/ 1284301 w 6884782"/>
              <a:gd name="connsiteY73840" fmla="*/ 2436851 h 5973007"/>
              <a:gd name="connsiteX73841" fmla="*/ 1285334 w 6884782"/>
              <a:gd name="connsiteY73841" fmla="*/ 2432978 h 5973007"/>
              <a:gd name="connsiteX73842" fmla="*/ 1290806 w 6884782"/>
              <a:gd name="connsiteY73842" fmla="*/ 2434218 h 5973007"/>
              <a:gd name="connsiteX73843" fmla="*/ 1292562 w 6884782"/>
              <a:gd name="connsiteY73843" fmla="*/ 2436231 h 5973007"/>
              <a:gd name="connsiteX73844" fmla="*/ 1294420 w 6884782"/>
              <a:gd name="connsiteY73844" fmla="*/ 2434682 h 5973007"/>
              <a:gd name="connsiteX73845" fmla="*/ 1297725 w 6884782"/>
              <a:gd name="connsiteY73845" fmla="*/ 2433133 h 5973007"/>
              <a:gd name="connsiteX73846" fmla="*/ 1297931 w 6884782"/>
              <a:gd name="connsiteY73846" fmla="*/ 2431894 h 5973007"/>
              <a:gd name="connsiteX73847" fmla="*/ 1300719 w 6884782"/>
              <a:gd name="connsiteY73847" fmla="*/ 2422755 h 5973007"/>
              <a:gd name="connsiteX73848" fmla="*/ 1283682 w 6884782"/>
              <a:gd name="connsiteY73848" fmla="*/ 2414856 h 5973007"/>
              <a:gd name="connsiteX73849" fmla="*/ 1278312 w 6884782"/>
              <a:gd name="connsiteY73849" fmla="*/ 2407730 h 5973007"/>
              <a:gd name="connsiteX73850" fmla="*/ 1273975 w 6884782"/>
              <a:gd name="connsiteY73850" fmla="*/ 2406027 h 5973007"/>
              <a:gd name="connsiteX73851" fmla="*/ 1271600 w 6884782"/>
              <a:gd name="connsiteY73851" fmla="*/ 2405097 h 5973007"/>
              <a:gd name="connsiteX73852" fmla="*/ 1254770 w 6884782"/>
              <a:gd name="connsiteY73852" fmla="*/ 2410209 h 5973007"/>
              <a:gd name="connsiteX73853" fmla="*/ 1250433 w 6884782"/>
              <a:gd name="connsiteY73853" fmla="*/ 2416870 h 5973007"/>
              <a:gd name="connsiteX73854" fmla="*/ 1247232 w 6884782"/>
              <a:gd name="connsiteY73854" fmla="*/ 2422910 h 5973007"/>
              <a:gd name="connsiteX73855" fmla="*/ 1247129 w 6884782"/>
              <a:gd name="connsiteY73855" fmla="*/ 2424304 h 5973007"/>
              <a:gd name="connsiteX73856" fmla="*/ 1246303 w 6884782"/>
              <a:gd name="connsiteY73856" fmla="*/ 2424769 h 5973007"/>
              <a:gd name="connsiteX73857" fmla="*/ 1246097 w 6884782"/>
              <a:gd name="connsiteY73857" fmla="*/ 2425079 h 5973007"/>
              <a:gd name="connsiteX73858" fmla="*/ 1238042 w 6884782"/>
              <a:gd name="connsiteY73858" fmla="*/ 2428796 h 5973007"/>
              <a:gd name="connsiteX73859" fmla="*/ 1229472 w 6884782"/>
              <a:gd name="connsiteY73859" fmla="*/ 2441498 h 5973007"/>
              <a:gd name="connsiteX73860" fmla="*/ 1225445 w 6884782"/>
              <a:gd name="connsiteY73860" fmla="*/ 2443356 h 5973007"/>
              <a:gd name="connsiteX73861" fmla="*/ 1227717 w 6884782"/>
              <a:gd name="connsiteY73861" fmla="*/ 2439019 h 5973007"/>
              <a:gd name="connsiteX73862" fmla="*/ 1231847 w 6884782"/>
              <a:gd name="connsiteY73862" fmla="*/ 2434992 h 5973007"/>
              <a:gd name="connsiteX73863" fmla="*/ 1232054 w 6884782"/>
              <a:gd name="connsiteY73863" fmla="*/ 2430655 h 5973007"/>
              <a:gd name="connsiteX73864" fmla="*/ 1236080 w 6884782"/>
              <a:gd name="connsiteY73864" fmla="*/ 2428641 h 5973007"/>
              <a:gd name="connsiteX73865" fmla="*/ 1236597 w 6884782"/>
              <a:gd name="connsiteY73865" fmla="*/ 2421361 h 5973007"/>
              <a:gd name="connsiteX73866" fmla="*/ 1236700 w 6884782"/>
              <a:gd name="connsiteY73866" fmla="*/ 2418728 h 5973007"/>
              <a:gd name="connsiteX73867" fmla="*/ 1233189 w 6884782"/>
              <a:gd name="connsiteY73867" fmla="*/ 2420277 h 5973007"/>
              <a:gd name="connsiteX73868" fmla="*/ 1231331 w 6884782"/>
              <a:gd name="connsiteY73868" fmla="*/ 2414856 h 5973007"/>
              <a:gd name="connsiteX73869" fmla="*/ 1233705 w 6884782"/>
              <a:gd name="connsiteY73869" fmla="*/ 2412997 h 5973007"/>
              <a:gd name="connsiteX73870" fmla="*/ 1235255 w 6884782"/>
              <a:gd name="connsiteY73870" fmla="*/ 2413306 h 5973007"/>
              <a:gd name="connsiteX73871" fmla="*/ 1232673 w 6884782"/>
              <a:gd name="connsiteY73871" fmla="*/ 2408350 h 5973007"/>
              <a:gd name="connsiteX73872" fmla="*/ 1230918 w 6884782"/>
              <a:gd name="connsiteY73872" fmla="*/ 2402154 h 5973007"/>
              <a:gd name="connsiteX73873" fmla="*/ 1233705 w 6884782"/>
              <a:gd name="connsiteY73873" fmla="*/ 2407730 h 5973007"/>
              <a:gd name="connsiteX73874" fmla="*/ 1235564 w 6884782"/>
              <a:gd name="connsiteY73874" fmla="*/ 2413461 h 5973007"/>
              <a:gd name="connsiteX73875" fmla="*/ 1236803 w 6884782"/>
              <a:gd name="connsiteY73875" fmla="*/ 2413616 h 5973007"/>
              <a:gd name="connsiteX73876" fmla="*/ 1238042 w 6884782"/>
              <a:gd name="connsiteY73876" fmla="*/ 2414701 h 5973007"/>
              <a:gd name="connsiteX73877" fmla="*/ 1243825 w 6884782"/>
              <a:gd name="connsiteY73877" fmla="*/ 2410518 h 5973007"/>
              <a:gd name="connsiteX73878" fmla="*/ 1249194 w 6884782"/>
              <a:gd name="connsiteY73878" fmla="*/ 2405407 h 5973007"/>
              <a:gd name="connsiteX73879" fmla="*/ 1250743 w 6884782"/>
              <a:gd name="connsiteY73879" fmla="*/ 2381243 h 5973007"/>
              <a:gd name="connsiteX73880" fmla="*/ 1242379 w 6884782"/>
              <a:gd name="connsiteY73880" fmla="*/ 2376596 h 5973007"/>
              <a:gd name="connsiteX73881" fmla="*/ 1241140 w 6884782"/>
              <a:gd name="connsiteY73881" fmla="*/ 2376132 h 5973007"/>
              <a:gd name="connsiteX73882" fmla="*/ 1241966 w 6884782"/>
              <a:gd name="connsiteY73882" fmla="*/ 2377680 h 5973007"/>
              <a:gd name="connsiteX73883" fmla="*/ 1223999 w 6884782"/>
              <a:gd name="connsiteY73883" fmla="*/ 2388833 h 5973007"/>
              <a:gd name="connsiteX73884" fmla="*/ 1223896 w 6884782"/>
              <a:gd name="connsiteY73884" fmla="*/ 2383566 h 5973007"/>
              <a:gd name="connsiteX73885" fmla="*/ 1219663 w 6884782"/>
              <a:gd name="connsiteY73885" fmla="*/ 2386974 h 5973007"/>
              <a:gd name="connsiteX73886" fmla="*/ 1213570 w 6884782"/>
              <a:gd name="connsiteY73886" fmla="*/ 2387129 h 5973007"/>
              <a:gd name="connsiteX73887" fmla="*/ 1216152 w 6884782"/>
              <a:gd name="connsiteY73887" fmla="*/ 2380778 h 5973007"/>
              <a:gd name="connsiteX73888" fmla="*/ 1223896 w 6884782"/>
              <a:gd name="connsiteY73888" fmla="*/ 2383412 h 5973007"/>
              <a:gd name="connsiteX73889" fmla="*/ 1225858 w 6884782"/>
              <a:gd name="connsiteY73889" fmla="*/ 2379694 h 5973007"/>
              <a:gd name="connsiteX73890" fmla="*/ 1228749 w 6884782"/>
              <a:gd name="connsiteY73890" fmla="*/ 2376286 h 5973007"/>
              <a:gd name="connsiteX73891" fmla="*/ 1232776 w 6884782"/>
              <a:gd name="connsiteY73891" fmla="*/ 2373808 h 5973007"/>
              <a:gd name="connsiteX73892" fmla="*/ 1232466 w 6884782"/>
              <a:gd name="connsiteY73892" fmla="*/ 2373808 h 5973007"/>
              <a:gd name="connsiteX73893" fmla="*/ 1217907 w 6884782"/>
              <a:gd name="connsiteY73893" fmla="*/ 2376442 h 5973007"/>
              <a:gd name="connsiteX73894" fmla="*/ 1214603 w 6884782"/>
              <a:gd name="connsiteY73894" fmla="*/ 2366063 h 5973007"/>
              <a:gd name="connsiteX73895" fmla="*/ 1209131 w 6884782"/>
              <a:gd name="connsiteY73895" fmla="*/ 2366373 h 5973007"/>
              <a:gd name="connsiteX73896" fmla="*/ 1206033 w 6884782"/>
              <a:gd name="connsiteY73896" fmla="*/ 2359402 h 5973007"/>
              <a:gd name="connsiteX73897" fmla="*/ 1208924 w 6884782"/>
              <a:gd name="connsiteY73897" fmla="*/ 2352742 h 5973007"/>
              <a:gd name="connsiteX73898" fmla="*/ 1212744 w 6884782"/>
              <a:gd name="connsiteY73898" fmla="*/ 2353207 h 5973007"/>
              <a:gd name="connsiteX73899" fmla="*/ 1212331 w 6884782"/>
              <a:gd name="connsiteY73899" fmla="*/ 2349489 h 5973007"/>
              <a:gd name="connsiteX73900" fmla="*/ 1209234 w 6884782"/>
              <a:gd name="connsiteY73900" fmla="*/ 2329353 h 5973007"/>
              <a:gd name="connsiteX73901" fmla="*/ 1205207 w 6884782"/>
              <a:gd name="connsiteY73901" fmla="*/ 2328113 h 5973007"/>
              <a:gd name="connsiteX73902" fmla="*/ 1200560 w 6884782"/>
              <a:gd name="connsiteY73902" fmla="*/ 2327494 h 5973007"/>
              <a:gd name="connsiteX73903" fmla="*/ 1199321 w 6884782"/>
              <a:gd name="connsiteY73903" fmla="*/ 2330747 h 5973007"/>
              <a:gd name="connsiteX73904" fmla="*/ 1195191 w 6884782"/>
              <a:gd name="connsiteY73904" fmla="*/ 2335858 h 5973007"/>
              <a:gd name="connsiteX73905" fmla="*/ 1193849 w 6884782"/>
              <a:gd name="connsiteY73905" fmla="*/ 2337098 h 5973007"/>
              <a:gd name="connsiteX73906" fmla="*/ 1194571 w 6884782"/>
              <a:gd name="connsiteY73906" fmla="*/ 2337562 h 5973007"/>
              <a:gd name="connsiteX73907" fmla="*/ 1193333 w 6884782"/>
              <a:gd name="connsiteY73907" fmla="*/ 2337872 h 5973007"/>
              <a:gd name="connsiteX73908" fmla="*/ 1193229 w 6884782"/>
              <a:gd name="connsiteY73908" fmla="*/ 2338182 h 5973007"/>
              <a:gd name="connsiteX73909" fmla="*/ 1192816 w 6884782"/>
              <a:gd name="connsiteY73909" fmla="*/ 2338956 h 5973007"/>
              <a:gd name="connsiteX73910" fmla="*/ 1189408 w 6884782"/>
              <a:gd name="connsiteY73910" fmla="*/ 2340660 h 5973007"/>
              <a:gd name="connsiteX73911" fmla="*/ 1188789 w 6884782"/>
              <a:gd name="connsiteY73911" fmla="*/ 2340195 h 5973007"/>
              <a:gd name="connsiteX73912" fmla="*/ 1188479 w 6884782"/>
              <a:gd name="connsiteY73912" fmla="*/ 2340815 h 5973007"/>
              <a:gd name="connsiteX73913" fmla="*/ 1194055 w 6884782"/>
              <a:gd name="connsiteY73913" fmla="*/ 2344997 h 5973007"/>
              <a:gd name="connsiteX73914" fmla="*/ 1198186 w 6884782"/>
              <a:gd name="connsiteY73914" fmla="*/ 2353981 h 5973007"/>
              <a:gd name="connsiteX73915" fmla="*/ 1190441 w 6884782"/>
              <a:gd name="connsiteY73915" fmla="*/ 2358783 h 5973007"/>
              <a:gd name="connsiteX73916" fmla="*/ 1188686 w 6884782"/>
              <a:gd name="connsiteY73916" fmla="*/ 2358783 h 5973007"/>
              <a:gd name="connsiteX73917" fmla="*/ 1188273 w 6884782"/>
              <a:gd name="connsiteY73917" fmla="*/ 2360487 h 5973007"/>
              <a:gd name="connsiteX73918" fmla="*/ 1186414 w 6884782"/>
              <a:gd name="connsiteY73918" fmla="*/ 2364514 h 5973007"/>
              <a:gd name="connsiteX73919" fmla="*/ 1185175 w 6884782"/>
              <a:gd name="connsiteY73919" fmla="*/ 2359248 h 5973007"/>
              <a:gd name="connsiteX73920" fmla="*/ 1181871 w 6884782"/>
              <a:gd name="connsiteY73920" fmla="*/ 2359557 h 5973007"/>
              <a:gd name="connsiteX73921" fmla="*/ 1159258 w 6884782"/>
              <a:gd name="connsiteY73921" fmla="*/ 2341745 h 5973007"/>
              <a:gd name="connsiteX73922" fmla="*/ 1160394 w 6884782"/>
              <a:gd name="connsiteY73922" fmla="*/ 2339421 h 5973007"/>
              <a:gd name="connsiteX73923" fmla="*/ 1165247 w 6884782"/>
              <a:gd name="connsiteY73923" fmla="*/ 2336633 h 5973007"/>
              <a:gd name="connsiteX73924" fmla="*/ 1175366 w 6884782"/>
              <a:gd name="connsiteY73924" fmla="*/ 2335548 h 5973007"/>
              <a:gd name="connsiteX73925" fmla="*/ 1183110 w 6884782"/>
              <a:gd name="connsiteY73925" fmla="*/ 2337872 h 5973007"/>
              <a:gd name="connsiteX73926" fmla="*/ 1186001 w 6884782"/>
              <a:gd name="connsiteY73926" fmla="*/ 2333380 h 5973007"/>
              <a:gd name="connsiteX73927" fmla="*/ 1185278 w 6884782"/>
              <a:gd name="connsiteY73927" fmla="*/ 2332915 h 5973007"/>
              <a:gd name="connsiteX73928" fmla="*/ 1183110 w 6884782"/>
              <a:gd name="connsiteY73928" fmla="*/ 2332451 h 5973007"/>
              <a:gd name="connsiteX73929" fmla="*/ 1183007 w 6884782"/>
              <a:gd name="connsiteY73929" fmla="*/ 2333225 h 5973007"/>
              <a:gd name="connsiteX73930" fmla="*/ 1180425 w 6884782"/>
              <a:gd name="connsiteY73930" fmla="*/ 2335858 h 5973007"/>
              <a:gd name="connsiteX73931" fmla="*/ 1178876 w 6884782"/>
              <a:gd name="connsiteY73931" fmla="*/ 2334464 h 5973007"/>
              <a:gd name="connsiteX73932" fmla="*/ 1180219 w 6884782"/>
              <a:gd name="connsiteY73932" fmla="*/ 2332451 h 5973007"/>
              <a:gd name="connsiteX73933" fmla="*/ 1180425 w 6884782"/>
              <a:gd name="connsiteY73933" fmla="*/ 2332141 h 5973007"/>
              <a:gd name="connsiteX73934" fmla="*/ 1179599 w 6884782"/>
              <a:gd name="connsiteY73934" fmla="*/ 2331986 h 5973007"/>
              <a:gd name="connsiteX73935" fmla="*/ 1174230 w 6884782"/>
              <a:gd name="connsiteY73935" fmla="*/ 2327494 h 5973007"/>
              <a:gd name="connsiteX73936" fmla="*/ 1175572 w 6884782"/>
              <a:gd name="connsiteY73936" fmla="*/ 2326100 h 5973007"/>
              <a:gd name="connsiteX73937" fmla="*/ 1175675 w 6884782"/>
              <a:gd name="connsiteY73937" fmla="*/ 2325635 h 5973007"/>
              <a:gd name="connsiteX73938" fmla="*/ 1175159 w 6884782"/>
              <a:gd name="connsiteY73938" fmla="*/ 2324551 h 5973007"/>
              <a:gd name="connsiteX73939" fmla="*/ 1175366 w 6884782"/>
              <a:gd name="connsiteY73939" fmla="*/ 2321298 h 5973007"/>
              <a:gd name="connsiteX73940" fmla="*/ 1177328 w 6884782"/>
              <a:gd name="connsiteY73940" fmla="*/ 2319749 h 5973007"/>
              <a:gd name="connsiteX73941" fmla="*/ 1178876 w 6884782"/>
              <a:gd name="connsiteY73941" fmla="*/ 2318200 h 5973007"/>
              <a:gd name="connsiteX73942" fmla="*/ 1179599 w 6884782"/>
              <a:gd name="connsiteY73942" fmla="*/ 2313708 h 5973007"/>
              <a:gd name="connsiteX73943" fmla="*/ 1187550 w 6884782"/>
              <a:gd name="connsiteY73943" fmla="*/ 2314638 h 5973007"/>
              <a:gd name="connsiteX73944" fmla="*/ 1187963 w 6884782"/>
              <a:gd name="connsiteY73944" fmla="*/ 2317116 h 5973007"/>
              <a:gd name="connsiteX73945" fmla="*/ 1188066 w 6884782"/>
              <a:gd name="connsiteY73945" fmla="*/ 2317116 h 5973007"/>
              <a:gd name="connsiteX73946" fmla="*/ 1188376 w 6884782"/>
              <a:gd name="connsiteY73946" fmla="*/ 2313398 h 5973007"/>
              <a:gd name="connsiteX73947" fmla="*/ 1189408 w 6884782"/>
              <a:gd name="connsiteY73947" fmla="*/ 2303640 h 5973007"/>
              <a:gd name="connsiteX73948" fmla="*/ 1179496 w 6884782"/>
              <a:gd name="connsiteY73948" fmla="*/ 2307202 h 5973007"/>
              <a:gd name="connsiteX73949" fmla="*/ 1177328 w 6884782"/>
              <a:gd name="connsiteY73949" fmla="*/ 2301781 h 5973007"/>
              <a:gd name="connsiteX73950" fmla="*/ 1177534 w 6884782"/>
              <a:gd name="connsiteY73950" fmla="*/ 2300852 h 5973007"/>
              <a:gd name="connsiteX73951" fmla="*/ 1175263 w 6884782"/>
              <a:gd name="connsiteY73951" fmla="*/ 2300542 h 5973007"/>
              <a:gd name="connsiteX73952" fmla="*/ 1171132 w 6884782"/>
              <a:gd name="connsiteY73952" fmla="*/ 2295121 h 5973007"/>
              <a:gd name="connsiteX73953" fmla="*/ 1173404 w 6884782"/>
              <a:gd name="connsiteY73953" fmla="*/ 2292023 h 5973007"/>
              <a:gd name="connsiteX73954" fmla="*/ 1176605 w 6884782"/>
              <a:gd name="connsiteY73954" fmla="*/ 2291093 h 5973007"/>
              <a:gd name="connsiteX73955" fmla="*/ 1179290 w 6884782"/>
              <a:gd name="connsiteY73955" fmla="*/ 2283813 h 5973007"/>
              <a:gd name="connsiteX73956" fmla="*/ 1187447 w 6884782"/>
              <a:gd name="connsiteY73956" fmla="*/ 2280560 h 5973007"/>
              <a:gd name="connsiteX73957" fmla="*/ 1188169 w 6884782"/>
              <a:gd name="connsiteY73957" fmla="*/ 2283968 h 5973007"/>
              <a:gd name="connsiteX73958" fmla="*/ 1181871 w 6884782"/>
              <a:gd name="connsiteY73958" fmla="*/ 2287841 h 5973007"/>
              <a:gd name="connsiteX73959" fmla="*/ 1177534 w 6884782"/>
              <a:gd name="connsiteY73959" fmla="*/ 2290783 h 5973007"/>
              <a:gd name="connsiteX73960" fmla="*/ 1178051 w 6884782"/>
              <a:gd name="connsiteY73960" fmla="*/ 2290629 h 5973007"/>
              <a:gd name="connsiteX73961" fmla="*/ 1181148 w 6884782"/>
              <a:gd name="connsiteY73961" fmla="*/ 2294191 h 5973007"/>
              <a:gd name="connsiteX73962" fmla="*/ 1181355 w 6884782"/>
              <a:gd name="connsiteY73962" fmla="*/ 2295430 h 5973007"/>
              <a:gd name="connsiteX73963" fmla="*/ 1182387 w 6884782"/>
              <a:gd name="connsiteY73963" fmla="*/ 2294501 h 5973007"/>
              <a:gd name="connsiteX73964" fmla="*/ 1192094 w 6884782"/>
              <a:gd name="connsiteY73964" fmla="*/ 2292797 h 5973007"/>
              <a:gd name="connsiteX73965" fmla="*/ 1184039 w 6884782"/>
              <a:gd name="connsiteY73965" fmla="*/ 2265690 h 5973007"/>
              <a:gd name="connsiteX73966" fmla="*/ 1172578 w 6884782"/>
              <a:gd name="connsiteY73966" fmla="*/ 2265226 h 5973007"/>
              <a:gd name="connsiteX73967" fmla="*/ 1167622 w 6884782"/>
              <a:gd name="connsiteY73967" fmla="*/ 2266465 h 5973007"/>
              <a:gd name="connsiteX73968" fmla="*/ 1168551 w 6884782"/>
              <a:gd name="connsiteY73968" fmla="*/ 2268014 h 5973007"/>
              <a:gd name="connsiteX73969" fmla="*/ 1167208 w 6884782"/>
              <a:gd name="connsiteY73969" fmla="*/ 2272506 h 5973007"/>
              <a:gd name="connsiteX73970" fmla="*/ 1162562 w 6884782"/>
              <a:gd name="connsiteY73970" fmla="*/ 2271886 h 5973007"/>
              <a:gd name="connsiteX73971" fmla="*/ 1161736 w 6884782"/>
              <a:gd name="connsiteY73971" fmla="*/ 2270492 h 5973007"/>
              <a:gd name="connsiteX73972" fmla="*/ 1161013 w 6884782"/>
              <a:gd name="connsiteY73972" fmla="*/ 2272661 h 5973007"/>
              <a:gd name="connsiteX73973" fmla="*/ 1161013 w 6884782"/>
              <a:gd name="connsiteY73973" fmla="*/ 2290319 h 5973007"/>
              <a:gd name="connsiteX73974" fmla="*/ 1156367 w 6884782"/>
              <a:gd name="connsiteY73974" fmla="*/ 2272351 h 5973007"/>
              <a:gd name="connsiteX73975" fmla="*/ 1121156 w 6884782"/>
              <a:gd name="connsiteY73975" fmla="*/ 2273900 h 5973007"/>
              <a:gd name="connsiteX73976" fmla="*/ 1166279 w 6884782"/>
              <a:gd name="connsiteY73976" fmla="*/ 2248342 h 5973007"/>
              <a:gd name="connsiteX73977" fmla="*/ 1168551 w 6884782"/>
              <a:gd name="connsiteY73977" fmla="*/ 2246483 h 5973007"/>
              <a:gd name="connsiteX73978" fmla="*/ 1167002 w 6884782"/>
              <a:gd name="connsiteY73978" fmla="*/ 2246793 h 5973007"/>
              <a:gd name="connsiteX73979" fmla="*/ 1165866 w 6884782"/>
              <a:gd name="connsiteY73979" fmla="*/ 2246948 h 5973007"/>
              <a:gd name="connsiteX73980" fmla="*/ 1164214 w 6884782"/>
              <a:gd name="connsiteY73980" fmla="*/ 2247412 h 5973007"/>
              <a:gd name="connsiteX73981" fmla="*/ 1162046 w 6884782"/>
              <a:gd name="connsiteY73981" fmla="*/ 2246329 h 5973007"/>
              <a:gd name="connsiteX73982" fmla="*/ 1164937 w 6884782"/>
              <a:gd name="connsiteY73982" fmla="*/ 2243695 h 5973007"/>
              <a:gd name="connsiteX73983" fmla="*/ 1168861 w 6884782"/>
              <a:gd name="connsiteY73983" fmla="*/ 2243385 h 5973007"/>
              <a:gd name="connsiteX73984" fmla="*/ 1172888 w 6884782"/>
              <a:gd name="connsiteY73984" fmla="*/ 2242146 h 5973007"/>
              <a:gd name="connsiteX73985" fmla="*/ 1173197 w 6884782"/>
              <a:gd name="connsiteY73985" fmla="*/ 2242301 h 5973007"/>
              <a:gd name="connsiteX73986" fmla="*/ 1173610 w 6884782"/>
              <a:gd name="connsiteY73986" fmla="*/ 2242456 h 5973007"/>
              <a:gd name="connsiteX73987" fmla="*/ 1175882 w 6884782"/>
              <a:gd name="connsiteY73987" fmla="*/ 2240752 h 5973007"/>
              <a:gd name="connsiteX73988" fmla="*/ 1174746 w 6884782"/>
              <a:gd name="connsiteY73988" fmla="*/ 2227431 h 5973007"/>
              <a:gd name="connsiteX73989" fmla="*/ 1174333 w 6884782"/>
              <a:gd name="connsiteY73989" fmla="*/ 2220770 h 5973007"/>
              <a:gd name="connsiteX73990" fmla="*/ 1173817 w 6884782"/>
              <a:gd name="connsiteY73990" fmla="*/ 2212251 h 5973007"/>
              <a:gd name="connsiteX73991" fmla="*/ 1173507 w 6884782"/>
              <a:gd name="connsiteY73991" fmla="*/ 2211787 h 5973007"/>
              <a:gd name="connsiteX73992" fmla="*/ 1172991 w 6884782"/>
              <a:gd name="connsiteY73992" fmla="*/ 2207914 h 5973007"/>
              <a:gd name="connsiteX73993" fmla="*/ 1174127 w 6884782"/>
              <a:gd name="connsiteY73993" fmla="*/ 2204351 h 5973007"/>
              <a:gd name="connsiteX73994" fmla="*/ 1174746 w 6884782"/>
              <a:gd name="connsiteY73994" fmla="*/ 2203577 h 5973007"/>
              <a:gd name="connsiteX73995" fmla="*/ 1175263 w 6884782"/>
              <a:gd name="connsiteY73995" fmla="*/ 2200169 h 5973007"/>
              <a:gd name="connsiteX73996" fmla="*/ 1175159 w 6884782"/>
              <a:gd name="connsiteY73996" fmla="*/ 2189946 h 5973007"/>
              <a:gd name="connsiteX73997" fmla="*/ 1173714 w 6884782"/>
              <a:gd name="connsiteY73997" fmla="*/ 2188397 h 5973007"/>
              <a:gd name="connsiteX73998" fmla="*/ 1171339 w 6884782"/>
              <a:gd name="connsiteY73998" fmla="*/ 2185764 h 5973007"/>
              <a:gd name="connsiteX73999" fmla="*/ 1170100 w 6884782"/>
              <a:gd name="connsiteY73999" fmla="*/ 2186693 h 5973007"/>
              <a:gd name="connsiteX74000" fmla="*/ 1167828 w 6884782"/>
              <a:gd name="connsiteY74000" fmla="*/ 2187933 h 5973007"/>
              <a:gd name="connsiteX74001" fmla="*/ 1166279 w 6884782"/>
              <a:gd name="connsiteY74001" fmla="*/ 2184060 h 5973007"/>
              <a:gd name="connsiteX74002" fmla="*/ 1167828 w 6884782"/>
              <a:gd name="connsiteY74002" fmla="*/ 2182046 h 5973007"/>
              <a:gd name="connsiteX74003" fmla="*/ 1164214 w 6884782"/>
              <a:gd name="connsiteY74003" fmla="*/ 2178020 h 5973007"/>
              <a:gd name="connsiteX74004" fmla="*/ 1153372 w 6884782"/>
              <a:gd name="connsiteY74004" fmla="*/ 2171513 h 5973007"/>
              <a:gd name="connsiteX74005" fmla="*/ 1142117 w 6884782"/>
              <a:gd name="connsiteY74005" fmla="*/ 2168880 h 5973007"/>
              <a:gd name="connsiteX74006" fmla="*/ 1142221 w 6884782"/>
              <a:gd name="connsiteY74006" fmla="*/ 2170584 h 5973007"/>
              <a:gd name="connsiteX74007" fmla="*/ 1138297 w 6884782"/>
              <a:gd name="connsiteY74007" fmla="*/ 2173992 h 5973007"/>
              <a:gd name="connsiteX74008" fmla="*/ 1136232 w 6884782"/>
              <a:gd name="connsiteY74008" fmla="*/ 2174611 h 5973007"/>
              <a:gd name="connsiteX74009" fmla="*/ 1141395 w 6884782"/>
              <a:gd name="connsiteY74009" fmla="*/ 2176160 h 5973007"/>
              <a:gd name="connsiteX74010" fmla="*/ 1147590 w 6884782"/>
              <a:gd name="connsiteY74010" fmla="*/ 2180188 h 5973007"/>
              <a:gd name="connsiteX74011" fmla="*/ 1148416 w 6884782"/>
              <a:gd name="connsiteY74011" fmla="*/ 2180188 h 5973007"/>
              <a:gd name="connsiteX74012" fmla="*/ 1151823 w 6884782"/>
              <a:gd name="connsiteY74012" fmla="*/ 2182511 h 5973007"/>
              <a:gd name="connsiteX74013" fmla="*/ 1152753 w 6884782"/>
              <a:gd name="connsiteY74013" fmla="*/ 2183905 h 5973007"/>
              <a:gd name="connsiteX74014" fmla="*/ 1147073 w 6884782"/>
              <a:gd name="connsiteY74014" fmla="*/ 2188862 h 5973007"/>
              <a:gd name="connsiteX74015" fmla="*/ 1145525 w 6884782"/>
              <a:gd name="connsiteY74015" fmla="*/ 2188243 h 5973007"/>
              <a:gd name="connsiteX74016" fmla="*/ 1144596 w 6884782"/>
              <a:gd name="connsiteY74016" fmla="*/ 2189636 h 5973007"/>
              <a:gd name="connsiteX74017" fmla="*/ 1146764 w 6884782"/>
              <a:gd name="connsiteY74017" fmla="*/ 2189791 h 5973007"/>
              <a:gd name="connsiteX74018" fmla="*/ 1145834 w 6884782"/>
              <a:gd name="connsiteY74018" fmla="*/ 2193199 h 5973007"/>
              <a:gd name="connsiteX74019" fmla="*/ 1144079 w 6884782"/>
              <a:gd name="connsiteY74019" fmla="*/ 2192269 h 5973007"/>
              <a:gd name="connsiteX74020" fmla="*/ 1143357 w 6884782"/>
              <a:gd name="connsiteY74020" fmla="*/ 2190721 h 5973007"/>
              <a:gd name="connsiteX74021" fmla="*/ 1137471 w 6884782"/>
              <a:gd name="connsiteY74021" fmla="*/ 2194438 h 5973007"/>
              <a:gd name="connsiteX74022" fmla="*/ 1139639 w 6884782"/>
              <a:gd name="connsiteY74022" fmla="*/ 2195212 h 5973007"/>
              <a:gd name="connsiteX74023" fmla="*/ 1140052 w 6884782"/>
              <a:gd name="connsiteY74023" fmla="*/ 2196607 h 5973007"/>
              <a:gd name="connsiteX74024" fmla="*/ 1142633 w 6884782"/>
              <a:gd name="connsiteY74024" fmla="*/ 2195212 h 5973007"/>
              <a:gd name="connsiteX74025" fmla="*/ 1158225 w 6884782"/>
              <a:gd name="connsiteY74025" fmla="*/ 2187468 h 5973007"/>
              <a:gd name="connsiteX74026" fmla="*/ 1158122 w 6884782"/>
              <a:gd name="connsiteY74026" fmla="*/ 2189636 h 5973007"/>
              <a:gd name="connsiteX74027" fmla="*/ 1159155 w 6884782"/>
              <a:gd name="connsiteY74027" fmla="*/ 2189481 h 5973007"/>
              <a:gd name="connsiteX74028" fmla="*/ 1162046 w 6884782"/>
              <a:gd name="connsiteY74028" fmla="*/ 2197072 h 5973007"/>
              <a:gd name="connsiteX74029" fmla="*/ 1159774 w 6884782"/>
              <a:gd name="connsiteY74029" fmla="*/ 2199859 h 5973007"/>
              <a:gd name="connsiteX74030" fmla="*/ 1162356 w 6884782"/>
              <a:gd name="connsiteY74030" fmla="*/ 2204816 h 5973007"/>
              <a:gd name="connsiteX74031" fmla="*/ 1164524 w 6884782"/>
              <a:gd name="connsiteY74031" fmla="*/ 2209928 h 5973007"/>
              <a:gd name="connsiteX74032" fmla="*/ 1163698 w 6884782"/>
              <a:gd name="connsiteY74032" fmla="*/ 2217673 h 5973007"/>
              <a:gd name="connsiteX74033" fmla="*/ 1126939 w 6884782"/>
              <a:gd name="connsiteY74033" fmla="*/ 2212096 h 5973007"/>
              <a:gd name="connsiteX74034" fmla="*/ 1130553 w 6884782"/>
              <a:gd name="connsiteY74034" fmla="*/ 2203577 h 5973007"/>
              <a:gd name="connsiteX74035" fmla="*/ 1135922 w 6884782"/>
              <a:gd name="connsiteY74035" fmla="*/ 2198620 h 5973007"/>
              <a:gd name="connsiteX74036" fmla="*/ 1136128 w 6884782"/>
              <a:gd name="connsiteY74036" fmla="*/ 2198620 h 5973007"/>
              <a:gd name="connsiteX74037" fmla="*/ 1135199 w 6884782"/>
              <a:gd name="connsiteY74037" fmla="*/ 2197536 h 5973007"/>
              <a:gd name="connsiteX74038" fmla="*/ 1134476 w 6884782"/>
              <a:gd name="connsiteY74038" fmla="*/ 2195367 h 5973007"/>
              <a:gd name="connsiteX74039" fmla="*/ 1134683 w 6884782"/>
              <a:gd name="connsiteY74039" fmla="*/ 2195212 h 5973007"/>
              <a:gd name="connsiteX74040" fmla="*/ 1128488 w 6884782"/>
              <a:gd name="connsiteY74040" fmla="*/ 2196452 h 5973007"/>
              <a:gd name="connsiteX74041" fmla="*/ 1119711 w 6884782"/>
              <a:gd name="connsiteY74041" fmla="*/ 2195367 h 5973007"/>
              <a:gd name="connsiteX74042" fmla="*/ 1116613 w 6884782"/>
              <a:gd name="connsiteY74042" fmla="*/ 2193354 h 5973007"/>
              <a:gd name="connsiteX74043" fmla="*/ 1114858 w 6884782"/>
              <a:gd name="connsiteY74043" fmla="*/ 2194128 h 5973007"/>
              <a:gd name="connsiteX74044" fmla="*/ 1112999 w 6884782"/>
              <a:gd name="connsiteY74044" fmla="*/ 2192269 h 5973007"/>
              <a:gd name="connsiteX74045" fmla="*/ 1112483 w 6884782"/>
              <a:gd name="connsiteY74045" fmla="*/ 2190566 h 5973007"/>
              <a:gd name="connsiteX74046" fmla="*/ 1110005 w 6884782"/>
              <a:gd name="connsiteY74046" fmla="*/ 2188862 h 5973007"/>
              <a:gd name="connsiteX74047" fmla="*/ 1120227 w 6884782"/>
              <a:gd name="connsiteY74047" fmla="*/ 2175696 h 5973007"/>
              <a:gd name="connsiteX74048" fmla="*/ 1126939 w 6884782"/>
              <a:gd name="connsiteY74048" fmla="*/ 2173682 h 5973007"/>
              <a:gd name="connsiteX74049" fmla="*/ 1125699 w 6884782"/>
              <a:gd name="connsiteY74049" fmla="*/ 2169500 h 5973007"/>
              <a:gd name="connsiteX74050" fmla="*/ 1125906 w 6884782"/>
              <a:gd name="connsiteY74050" fmla="*/ 2167951 h 5973007"/>
              <a:gd name="connsiteX74051" fmla="*/ 1121260 w 6884782"/>
              <a:gd name="connsiteY74051" fmla="*/ 2167177 h 5973007"/>
              <a:gd name="connsiteX74052" fmla="*/ 1114238 w 6884782"/>
              <a:gd name="connsiteY74052" fmla="*/ 2167486 h 5973007"/>
              <a:gd name="connsiteX74053" fmla="*/ 1107113 w 6884782"/>
              <a:gd name="connsiteY74053" fmla="*/ 2155869 h 5973007"/>
              <a:gd name="connsiteX74054" fmla="*/ 1176915 w 6884782"/>
              <a:gd name="connsiteY74054" fmla="*/ 2161290 h 5973007"/>
              <a:gd name="connsiteX74055" fmla="*/ 1176915 w 6884782"/>
              <a:gd name="connsiteY74055" fmla="*/ 2130466 h 5973007"/>
              <a:gd name="connsiteX74056" fmla="*/ 1163904 w 6884782"/>
              <a:gd name="connsiteY74056" fmla="*/ 2120552 h 5973007"/>
              <a:gd name="connsiteX74057" fmla="*/ 1160703 w 6884782"/>
              <a:gd name="connsiteY74057" fmla="*/ 2109245 h 5973007"/>
              <a:gd name="connsiteX74058" fmla="*/ 1186311 w 6884782"/>
              <a:gd name="connsiteY74058" fmla="*/ 2104753 h 5973007"/>
              <a:gd name="connsiteX74059" fmla="*/ 1188169 w 6884782"/>
              <a:gd name="connsiteY74059" fmla="*/ 2079040 h 5973007"/>
              <a:gd name="connsiteX74060" fmla="*/ 1186518 w 6884782"/>
              <a:gd name="connsiteY74060" fmla="*/ 2073774 h 5973007"/>
              <a:gd name="connsiteX74061" fmla="*/ 1181768 w 6884782"/>
              <a:gd name="connsiteY74061" fmla="*/ 2072225 h 5973007"/>
              <a:gd name="connsiteX74062" fmla="*/ 1179909 w 6884782"/>
              <a:gd name="connsiteY74062" fmla="*/ 2077336 h 5973007"/>
              <a:gd name="connsiteX74063" fmla="*/ 1179186 w 6884782"/>
              <a:gd name="connsiteY74063" fmla="*/ 2079040 h 5973007"/>
              <a:gd name="connsiteX74064" fmla="*/ 1180116 w 6884782"/>
              <a:gd name="connsiteY74064" fmla="*/ 2078885 h 5973007"/>
              <a:gd name="connsiteX74065" fmla="*/ 1179083 w 6884782"/>
              <a:gd name="connsiteY74065" fmla="*/ 2079350 h 5973007"/>
              <a:gd name="connsiteX74066" fmla="*/ 1177121 w 6884782"/>
              <a:gd name="connsiteY74066" fmla="*/ 2083997 h 5973007"/>
              <a:gd name="connsiteX74067" fmla="*/ 1168861 w 6884782"/>
              <a:gd name="connsiteY74067" fmla="*/ 2090193 h 5973007"/>
              <a:gd name="connsiteX74068" fmla="*/ 1170100 w 6884782"/>
              <a:gd name="connsiteY74068" fmla="*/ 2085391 h 5973007"/>
              <a:gd name="connsiteX74069" fmla="*/ 1171235 w 6884782"/>
              <a:gd name="connsiteY74069" fmla="*/ 2081364 h 5973007"/>
              <a:gd name="connsiteX74070" fmla="*/ 1170409 w 6884782"/>
              <a:gd name="connsiteY74070" fmla="*/ 2081209 h 5973007"/>
              <a:gd name="connsiteX74071" fmla="*/ 1171339 w 6884782"/>
              <a:gd name="connsiteY74071" fmla="*/ 2080899 h 5973007"/>
              <a:gd name="connsiteX74072" fmla="*/ 1171752 w 6884782"/>
              <a:gd name="connsiteY74072" fmla="*/ 2079350 h 5973007"/>
              <a:gd name="connsiteX74073" fmla="*/ 1178567 w 6884782"/>
              <a:gd name="connsiteY74073" fmla="*/ 2071605 h 5973007"/>
              <a:gd name="connsiteX74074" fmla="*/ 1180838 w 6884782"/>
              <a:gd name="connsiteY74074" fmla="*/ 2071915 h 5973007"/>
              <a:gd name="connsiteX74075" fmla="*/ 1179496 w 6884782"/>
              <a:gd name="connsiteY74075" fmla="*/ 2071451 h 5973007"/>
              <a:gd name="connsiteX74076" fmla="*/ 1172888 w 6884782"/>
              <a:gd name="connsiteY74076" fmla="*/ 2065564 h 5973007"/>
              <a:gd name="connsiteX74077" fmla="*/ 1171339 w 6884782"/>
              <a:gd name="connsiteY74077" fmla="*/ 2062157 h 5973007"/>
              <a:gd name="connsiteX74078" fmla="*/ 1167312 w 6884782"/>
              <a:gd name="connsiteY74078" fmla="*/ 2059988 h 5973007"/>
              <a:gd name="connsiteX74079" fmla="*/ 1167208 w 6884782"/>
              <a:gd name="connsiteY74079" fmla="*/ 2063086 h 5973007"/>
              <a:gd name="connsiteX74080" fmla="*/ 1161736 w 6884782"/>
              <a:gd name="connsiteY74080" fmla="*/ 2063396 h 5973007"/>
              <a:gd name="connsiteX74081" fmla="*/ 1157709 w 6884782"/>
              <a:gd name="connsiteY74081" fmla="*/ 2057664 h 5973007"/>
              <a:gd name="connsiteX74082" fmla="*/ 1158432 w 6884782"/>
              <a:gd name="connsiteY74082" fmla="*/ 2054721 h 5973007"/>
              <a:gd name="connsiteX74083" fmla="*/ 1158845 w 6884782"/>
              <a:gd name="connsiteY74083" fmla="*/ 2054721 h 5973007"/>
              <a:gd name="connsiteX74084" fmla="*/ 1152133 w 6884782"/>
              <a:gd name="connsiteY74084" fmla="*/ 2049765 h 5973007"/>
              <a:gd name="connsiteX74085" fmla="*/ 1144802 w 6884782"/>
              <a:gd name="connsiteY74085" fmla="*/ 2041865 h 5973007"/>
              <a:gd name="connsiteX74086" fmla="*/ 1143357 w 6884782"/>
              <a:gd name="connsiteY74086" fmla="*/ 2046047 h 5973007"/>
              <a:gd name="connsiteX74087" fmla="*/ 1136438 w 6884782"/>
              <a:gd name="connsiteY74087" fmla="*/ 2055341 h 5973007"/>
              <a:gd name="connsiteX74088" fmla="*/ 1136438 w 6884782"/>
              <a:gd name="connsiteY74088" fmla="*/ 2042175 h 5973007"/>
              <a:gd name="connsiteX74089" fmla="*/ 1139949 w 6884782"/>
              <a:gd name="connsiteY74089" fmla="*/ 2032572 h 5973007"/>
              <a:gd name="connsiteX74090" fmla="*/ 1149345 w 6884782"/>
              <a:gd name="connsiteY74090" fmla="*/ 2033811 h 5973007"/>
              <a:gd name="connsiteX74091" fmla="*/ 1146248 w 6884782"/>
              <a:gd name="connsiteY74091" fmla="*/ 2038612 h 5973007"/>
              <a:gd name="connsiteX74092" fmla="*/ 1154095 w 6884782"/>
              <a:gd name="connsiteY74092" fmla="*/ 2036754 h 5973007"/>
              <a:gd name="connsiteX74093" fmla="*/ 1159361 w 6884782"/>
              <a:gd name="connsiteY74093" fmla="*/ 2038148 h 5973007"/>
              <a:gd name="connsiteX74094" fmla="*/ 1158845 w 6884782"/>
              <a:gd name="connsiteY74094" fmla="*/ 2036599 h 5973007"/>
              <a:gd name="connsiteX74095" fmla="*/ 1159567 w 6884782"/>
              <a:gd name="connsiteY74095" fmla="*/ 2035050 h 5973007"/>
              <a:gd name="connsiteX74096" fmla="*/ 1161839 w 6884782"/>
              <a:gd name="connsiteY74096" fmla="*/ 2034585 h 5973007"/>
              <a:gd name="connsiteX74097" fmla="*/ 1164111 w 6884782"/>
              <a:gd name="connsiteY74097" fmla="*/ 2037993 h 5973007"/>
              <a:gd name="connsiteX74098" fmla="*/ 1163904 w 6884782"/>
              <a:gd name="connsiteY74098" fmla="*/ 2039232 h 5973007"/>
              <a:gd name="connsiteX74099" fmla="*/ 1166279 w 6884782"/>
              <a:gd name="connsiteY74099" fmla="*/ 2039851 h 5973007"/>
              <a:gd name="connsiteX74100" fmla="*/ 1169274 w 6884782"/>
              <a:gd name="connsiteY74100" fmla="*/ 2036754 h 5973007"/>
              <a:gd name="connsiteX74101" fmla="*/ 1172165 w 6884782"/>
              <a:gd name="connsiteY74101" fmla="*/ 2023123 h 5973007"/>
              <a:gd name="connsiteX74102" fmla="*/ 1195294 w 6884782"/>
              <a:gd name="connsiteY74102" fmla="*/ 2008717 h 5973007"/>
              <a:gd name="connsiteX74103" fmla="*/ 1225342 w 6884782"/>
              <a:gd name="connsiteY74103" fmla="*/ 2014139 h 5973007"/>
              <a:gd name="connsiteX74104" fmla="*/ 1228853 w 6884782"/>
              <a:gd name="connsiteY74104" fmla="*/ 2021884 h 5973007"/>
              <a:gd name="connsiteX74105" fmla="*/ 1231227 w 6884782"/>
              <a:gd name="connsiteY74105" fmla="*/ 2025136 h 5973007"/>
              <a:gd name="connsiteX74106" fmla="*/ 1242276 w 6884782"/>
              <a:gd name="connsiteY74106" fmla="*/ 2026995 h 5973007"/>
              <a:gd name="connsiteX74107" fmla="*/ 1245580 w 6884782"/>
              <a:gd name="connsiteY74107" fmla="*/ 2023278 h 5973007"/>
              <a:gd name="connsiteX74108" fmla="*/ 1243928 w 6884782"/>
              <a:gd name="connsiteY74108" fmla="*/ 2021884 h 5973007"/>
              <a:gd name="connsiteX74109" fmla="*/ 1243205 w 6884782"/>
              <a:gd name="connsiteY74109" fmla="*/ 2019870 h 5973007"/>
              <a:gd name="connsiteX74110" fmla="*/ 1249917 w 6884782"/>
              <a:gd name="connsiteY74110" fmla="*/ 2019870 h 5973007"/>
              <a:gd name="connsiteX74111" fmla="*/ 1250227 w 6884782"/>
              <a:gd name="connsiteY74111" fmla="*/ 2020954 h 5973007"/>
              <a:gd name="connsiteX74112" fmla="*/ 1253014 w 6884782"/>
              <a:gd name="connsiteY74112" fmla="*/ 2016307 h 5973007"/>
              <a:gd name="connsiteX74113" fmla="*/ 1254047 w 6884782"/>
              <a:gd name="connsiteY74113" fmla="*/ 2005000 h 5973007"/>
              <a:gd name="connsiteX74114" fmla="*/ 1251879 w 6884782"/>
              <a:gd name="connsiteY74114" fmla="*/ 2002367 h 5973007"/>
              <a:gd name="connsiteX74115" fmla="*/ 1250227 w 6884782"/>
              <a:gd name="connsiteY74115" fmla="*/ 2003761 h 5973007"/>
              <a:gd name="connsiteX74116" fmla="*/ 1239385 w 6884782"/>
              <a:gd name="connsiteY74116" fmla="*/ 2005000 h 5973007"/>
              <a:gd name="connsiteX74117" fmla="*/ 1241450 w 6884782"/>
              <a:gd name="connsiteY74117" fmla="*/ 2003296 h 5973007"/>
              <a:gd name="connsiteX74118" fmla="*/ 1247026 w 6884782"/>
              <a:gd name="connsiteY74118" fmla="*/ 2002057 h 5973007"/>
              <a:gd name="connsiteX74119" fmla="*/ 1249813 w 6884782"/>
              <a:gd name="connsiteY74119" fmla="*/ 2002057 h 5973007"/>
              <a:gd name="connsiteX74120" fmla="*/ 1251672 w 6884782"/>
              <a:gd name="connsiteY74120" fmla="*/ 2002057 h 5973007"/>
              <a:gd name="connsiteX74121" fmla="*/ 1250949 w 6884782"/>
              <a:gd name="connsiteY74121" fmla="*/ 2001283 h 5973007"/>
              <a:gd name="connsiteX74122" fmla="*/ 1249813 w 6884782"/>
              <a:gd name="connsiteY74122" fmla="*/ 2002057 h 5973007"/>
              <a:gd name="connsiteX74123" fmla="*/ 1250020 w 6884782"/>
              <a:gd name="connsiteY74123" fmla="*/ 2000043 h 5973007"/>
              <a:gd name="connsiteX74124" fmla="*/ 1249400 w 6884782"/>
              <a:gd name="connsiteY74124" fmla="*/ 1999269 h 5973007"/>
              <a:gd name="connsiteX74125" fmla="*/ 1245580 w 6884782"/>
              <a:gd name="connsiteY74125" fmla="*/ 1996790 h 5973007"/>
              <a:gd name="connsiteX74126" fmla="*/ 1240417 w 6884782"/>
              <a:gd name="connsiteY74126" fmla="*/ 1987651 h 5973007"/>
              <a:gd name="connsiteX74127" fmla="*/ 1244651 w 6884782"/>
              <a:gd name="connsiteY74127" fmla="*/ 1981301 h 5973007"/>
              <a:gd name="connsiteX74128" fmla="*/ 1254254 w 6884782"/>
              <a:gd name="connsiteY74128" fmla="*/ 1984244 h 5973007"/>
              <a:gd name="connsiteX74129" fmla="*/ 1254873 w 6884782"/>
              <a:gd name="connsiteY74129" fmla="*/ 1985173 h 5973007"/>
              <a:gd name="connsiteX74130" fmla="*/ 1255905 w 6884782"/>
              <a:gd name="connsiteY74130" fmla="*/ 1986567 h 5973007"/>
              <a:gd name="connsiteX74131" fmla="*/ 1257558 w 6884782"/>
              <a:gd name="connsiteY74131" fmla="*/ 1985018 h 5973007"/>
              <a:gd name="connsiteX74132" fmla="*/ 1257971 w 6884782"/>
              <a:gd name="connsiteY74132" fmla="*/ 1989200 h 5973007"/>
              <a:gd name="connsiteX74133" fmla="*/ 1259623 w 6884782"/>
              <a:gd name="connsiteY74133" fmla="*/ 1991214 h 5973007"/>
              <a:gd name="connsiteX74134" fmla="*/ 1261275 w 6884782"/>
              <a:gd name="connsiteY74134" fmla="*/ 1995861 h 5973007"/>
              <a:gd name="connsiteX74135" fmla="*/ 1261481 w 6884782"/>
              <a:gd name="connsiteY74135" fmla="*/ 1996016 h 5973007"/>
              <a:gd name="connsiteX74136" fmla="*/ 1265405 w 6884782"/>
              <a:gd name="connsiteY74136" fmla="*/ 1993847 h 5973007"/>
              <a:gd name="connsiteX74137" fmla="*/ 1267161 w 6884782"/>
              <a:gd name="connsiteY74137" fmla="*/ 1993847 h 5973007"/>
              <a:gd name="connsiteX74138" fmla="*/ 1267161 w 6884782"/>
              <a:gd name="connsiteY74138" fmla="*/ 1993693 h 5973007"/>
              <a:gd name="connsiteX74139" fmla="*/ 1267470 w 6884782"/>
              <a:gd name="connsiteY74139" fmla="*/ 1994002 h 5973007"/>
              <a:gd name="connsiteX74140" fmla="*/ 1268193 w 6884782"/>
              <a:gd name="connsiteY74140" fmla="*/ 1994002 h 5973007"/>
              <a:gd name="connsiteX74141" fmla="*/ 1267883 w 6884782"/>
              <a:gd name="connsiteY74141" fmla="*/ 1993228 h 5973007"/>
              <a:gd name="connsiteX74142" fmla="*/ 1268503 w 6884782"/>
              <a:gd name="connsiteY74142" fmla="*/ 1987807 h 5973007"/>
              <a:gd name="connsiteX74143" fmla="*/ 1273459 w 6884782"/>
              <a:gd name="connsiteY74143" fmla="*/ 1990130 h 5973007"/>
              <a:gd name="connsiteX74144" fmla="*/ 1273253 w 6884782"/>
              <a:gd name="connsiteY74144" fmla="*/ 1990750 h 5973007"/>
              <a:gd name="connsiteX74145" fmla="*/ 1273459 w 6884782"/>
              <a:gd name="connsiteY74145" fmla="*/ 1990904 h 5973007"/>
              <a:gd name="connsiteX74146" fmla="*/ 1275628 w 6884782"/>
              <a:gd name="connsiteY74146" fmla="*/ 1991524 h 5973007"/>
              <a:gd name="connsiteX74147" fmla="*/ 1274492 w 6884782"/>
              <a:gd name="connsiteY74147" fmla="*/ 1994622 h 5973007"/>
              <a:gd name="connsiteX74148" fmla="*/ 1273562 w 6884782"/>
              <a:gd name="connsiteY74148" fmla="*/ 1995086 h 5973007"/>
              <a:gd name="connsiteX74149" fmla="*/ 1273666 w 6884782"/>
              <a:gd name="connsiteY74149" fmla="*/ 1995396 h 5973007"/>
              <a:gd name="connsiteX74150" fmla="*/ 1275111 w 6884782"/>
              <a:gd name="connsiteY74150" fmla="*/ 1996171 h 5973007"/>
              <a:gd name="connsiteX74151" fmla="*/ 1276763 w 6884782"/>
              <a:gd name="connsiteY74151" fmla="*/ 1995706 h 5973007"/>
              <a:gd name="connsiteX74152" fmla="*/ 1277073 w 6884782"/>
              <a:gd name="connsiteY74152" fmla="*/ 1997255 h 5973007"/>
              <a:gd name="connsiteX74153" fmla="*/ 1278829 w 6884782"/>
              <a:gd name="connsiteY74153" fmla="*/ 1995086 h 5973007"/>
              <a:gd name="connsiteX74154" fmla="*/ 1280687 w 6884782"/>
              <a:gd name="connsiteY74154" fmla="*/ 1991059 h 5973007"/>
              <a:gd name="connsiteX74155" fmla="*/ 1279964 w 6884782"/>
              <a:gd name="connsiteY74155" fmla="*/ 1990285 h 5973007"/>
              <a:gd name="connsiteX74156" fmla="*/ 1279241 w 6884782"/>
              <a:gd name="connsiteY74156" fmla="*/ 1985018 h 5973007"/>
              <a:gd name="connsiteX74157" fmla="*/ 1282752 w 6884782"/>
              <a:gd name="connsiteY74157" fmla="*/ 1984244 h 5973007"/>
              <a:gd name="connsiteX74158" fmla="*/ 1283062 w 6884782"/>
              <a:gd name="connsiteY74158" fmla="*/ 1982695 h 5973007"/>
              <a:gd name="connsiteX74159" fmla="*/ 1284095 w 6884782"/>
              <a:gd name="connsiteY74159" fmla="*/ 1973401 h 5973007"/>
              <a:gd name="connsiteX74160" fmla="*/ 1307018 w 6884782"/>
              <a:gd name="connsiteY74160" fmla="*/ 1979906 h 5973007"/>
              <a:gd name="connsiteX74161" fmla="*/ 1311354 w 6884782"/>
              <a:gd name="connsiteY74161" fmla="*/ 1977583 h 5973007"/>
              <a:gd name="connsiteX74162" fmla="*/ 1310322 w 6884782"/>
              <a:gd name="connsiteY74162" fmla="*/ 1976809 h 5973007"/>
              <a:gd name="connsiteX74163" fmla="*/ 1308773 w 6884782"/>
              <a:gd name="connsiteY74163" fmla="*/ 1975260 h 5973007"/>
              <a:gd name="connsiteX74164" fmla="*/ 1307018 w 6884782"/>
              <a:gd name="connsiteY74164" fmla="*/ 1974485 h 5973007"/>
              <a:gd name="connsiteX74165" fmla="*/ 1305469 w 6884782"/>
              <a:gd name="connsiteY74165" fmla="*/ 1971387 h 5973007"/>
              <a:gd name="connsiteX74166" fmla="*/ 1307121 w 6884782"/>
              <a:gd name="connsiteY74166" fmla="*/ 1972007 h 5973007"/>
              <a:gd name="connsiteX74167" fmla="*/ 1308773 w 6884782"/>
              <a:gd name="connsiteY74167" fmla="*/ 1973556 h 5973007"/>
              <a:gd name="connsiteX74168" fmla="*/ 1310425 w 6884782"/>
              <a:gd name="connsiteY74168" fmla="*/ 1973556 h 5973007"/>
              <a:gd name="connsiteX74169" fmla="*/ 1313316 w 6884782"/>
              <a:gd name="connsiteY74169" fmla="*/ 1975570 h 5973007"/>
              <a:gd name="connsiteX74170" fmla="*/ 1313419 w 6884782"/>
              <a:gd name="connsiteY74170" fmla="*/ 1974950 h 5973007"/>
              <a:gd name="connsiteX74171" fmla="*/ 1314555 w 6884782"/>
              <a:gd name="connsiteY74171" fmla="*/ 1969219 h 5973007"/>
              <a:gd name="connsiteX74172" fmla="*/ 1310631 w 6884782"/>
              <a:gd name="connsiteY74172" fmla="*/ 1961629 h 5973007"/>
              <a:gd name="connsiteX74173" fmla="*/ 1309289 w 6884782"/>
              <a:gd name="connsiteY74173" fmla="*/ 1944436 h 5973007"/>
              <a:gd name="connsiteX74174" fmla="*/ 1317033 w 6884782"/>
              <a:gd name="connsiteY74174" fmla="*/ 1945055 h 5973007"/>
              <a:gd name="connsiteX74175" fmla="*/ 1322196 w 6884782"/>
              <a:gd name="connsiteY74175" fmla="*/ 1951251 h 5973007"/>
              <a:gd name="connsiteX74176" fmla="*/ 1322506 w 6884782"/>
              <a:gd name="connsiteY74176" fmla="*/ 1950941 h 5973007"/>
              <a:gd name="connsiteX74177" fmla="*/ 1327049 w 6884782"/>
              <a:gd name="connsiteY74177" fmla="*/ 1949393 h 5973007"/>
              <a:gd name="connsiteX74178" fmla="*/ 1330870 w 6884782"/>
              <a:gd name="connsiteY74178" fmla="*/ 1949547 h 5973007"/>
              <a:gd name="connsiteX74179" fmla="*/ 1329734 w 6884782"/>
              <a:gd name="connsiteY74179" fmla="*/ 1948617 h 5973007"/>
              <a:gd name="connsiteX74180" fmla="*/ 1328288 w 6884782"/>
              <a:gd name="connsiteY74180" fmla="*/ 1946759 h 5973007"/>
              <a:gd name="connsiteX74181" fmla="*/ 1329940 w 6884782"/>
              <a:gd name="connsiteY74181" fmla="*/ 1948308 h 5973007"/>
              <a:gd name="connsiteX74182" fmla="*/ 1331799 w 6884782"/>
              <a:gd name="connsiteY74182" fmla="*/ 1948153 h 5973007"/>
              <a:gd name="connsiteX74183" fmla="*/ 1332419 w 6884782"/>
              <a:gd name="connsiteY74183" fmla="*/ 1949082 h 5973007"/>
              <a:gd name="connsiteX74184" fmla="*/ 1332522 w 6884782"/>
              <a:gd name="connsiteY74184" fmla="*/ 1949702 h 5973007"/>
              <a:gd name="connsiteX74185" fmla="*/ 1337272 w 6884782"/>
              <a:gd name="connsiteY74185" fmla="*/ 1951715 h 5973007"/>
              <a:gd name="connsiteX74186" fmla="*/ 1341402 w 6884782"/>
              <a:gd name="connsiteY74186" fmla="*/ 1955123 h 5973007"/>
              <a:gd name="connsiteX74187" fmla="*/ 1341505 w 6884782"/>
              <a:gd name="connsiteY74187" fmla="*/ 1955123 h 5973007"/>
              <a:gd name="connsiteX74188" fmla="*/ 1343157 w 6884782"/>
              <a:gd name="connsiteY74188" fmla="*/ 1956517 h 5973007"/>
              <a:gd name="connsiteX74189" fmla="*/ 1347494 w 6884782"/>
              <a:gd name="connsiteY74189" fmla="*/ 1962558 h 5973007"/>
              <a:gd name="connsiteX74190" fmla="*/ 1348423 w 6884782"/>
              <a:gd name="connsiteY74190" fmla="*/ 1965192 h 5973007"/>
              <a:gd name="connsiteX74191" fmla="*/ 1351831 w 6884782"/>
              <a:gd name="connsiteY74191" fmla="*/ 1964107 h 5973007"/>
              <a:gd name="connsiteX74192" fmla="*/ 1356167 w 6884782"/>
              <a:gd name="connsiteY74192" fmla="*/ 1959926 h 5973007"/>
              <a:gd name="connsiteX74193" fmla="*/ 1355755 w 6884782"/>
              <a:gd name="connsiteY74193" fmla="*/ 1958222 h 5973007"/>
              <a:gd name="connsiteX74194" fmla="*/ 1355755 w 6884782"/>
              <a:gd name="connsiteY74194" fmla="*/ 1957912 h 5973007"/>
              <a:gd name="connsiteX74195" fmla="*/ 1354928 w 6884782"/>
              <a:gd name="connsiteY74195" fmla="*/ 1957912 h 5973007"/>
              <a:gd name="connsiteX74196" fmla="*/ 1354515 w 6884782"/>
              <a:gd name="connsiteY74196" fmla="*/ 1958841 h 5973007"/>
              <a:gd name="connsiteX74197" fmla="*/ 1353999 w 6884782"/>
              <a:gd name="connsiteY74197" fmla="*/ 1958222 h 5973007"/>
              <a:gd name="connsiteX74198" fmla="*/ 1352863 w 6884782"/>
              <a:gd name="connsiteY74198" fmla="*/ 1958066 h 5973007"/>
              <a:gd name="connsiteX74199" fmla="*/ 1352554 w 6884782"/>
              <a:gd name="connsiteY74199" fmla="*/ 1954349 h 5973007"/>
              <a:gd name="connsiteX74200" fmla="*/ 1352554 w 6884782"/>
              <a:gd name="connsiteY74200" fmla="*/ 1954194 h 5973007"/>
              <a:gd name="connsiteX74201" fmla="*/ 1346255 w 6884782"/>
              <a:gd name="connsiteY74201" fmla="*/ 1950786 h 5973007"/>
              <a:gd name="connsiteX74202" fmla="*/ 1345222 w 6884782"/>
              <a:gd name="connsiteY74202" fmla="*/ 1949082 h 5973007"/>
              <a:gd name="connsiteX74203" fmla="*/ 1343467 w 6884782"/>
              <a:gd name="connsiteY74203" fmla="*/ 1948463 h 5973007"/>
              <a:gd name="connsiteX74204" fmla="*/ 1344499 w 6884782"/>
              <a:gd name="connsiteY74204" fmla="*/ 1947688 h 5973007"/>
              <a:gd name="connsiteX74205" fmla="*/ 1344293 w 6884782"/>
              <a:gd name="connsiteY74205" fmla="*/ 1947533 h 5973007"/>
              <a:gd name="connsiteX74206" fmla="*/ 1344706 w 6884782"/>
              <a:gd name="connsiteY74206" fmla="*/ 1947379 h 5973007"/>
              <a:gd name="connsiteX74207" fmla="*/ 1344499 w 6884782"/>
              <a:gd name="connsiteY74207" fmla="*/ 1946759 h 5973007"/>
              <a:gd name="connsiteX74208" fmla="*/ 1345222 w 6884782"/>
              <a:gd name="connsiteY74208" fmla="*/ 1944900 h 5973007"/>
              <a:gd name="connsiteX74209" fmla="*/ 1349456 w 6884782"/>
              <a:gd name="connsiteY74209" fmla="*/ 1945055 h 5973007"/>
              <a:gd name="connsiteX74210" fmla="*/ 1351521 w 6884782"/>
              <a:gd name="connsiteY74210" fmla="*/ 1949237 h 5973007"/>
              <a:gd name="connsiteX74211" fmla="*/ 1353379 w 6884782"/>
              <a:gd name="connsiteY74211" fmla="*/ 1951715 h 5973007"/>
              <a:gd name="connsiteX74212" fmla="*/ 1352760 w 6884782"/>
              <a:gd name="connsiteY74212" fmla="*/ 1953729 h 5973007"/>
              <a:gd name="connsiteX74213" fmla="*/ 1353483 w 6884782"/>
              <a:gd name="connsiteY74213" fmla="*/ 1952490 h 5973007"/>
              <a:gd name="connsiteX74214" fmla="*/ 1355032 w 6884782"/>
              <a:gd name="connsiteY74214" fmla="*/ 1951715 h 5973007"/>
              <a:gd name="connsiteX74215" fmla="*/ 1356684 w 6884782"/>
              <a:gd name="connsiteY74215" fmla="*/ 1952490 h 5973007"/>
              <a:gd name="connsiteX74216" fmla="*/ 1358026 w 6884782"/>
              <a:gd name="connsiteY74216" fmla="*/ 1953574 h 5973007"/>
              <a:gd name="connsiteX74217" fmla="*/ 1355755 w 6884782"/>
              <a:gd name="connsiteY74217" fmla="*/ 1948617 h 5973007"/>
              <a:gd name="connsiteX74218" fmla="*/ 1362776 w 6884782"/>
              <a:gd name="connsiteY74218" fmla="*/ 1950786 h 5973007"/>
              <a:gd name="connsiteX74219" fmla="*/ 1364222 w 6884782"/>
              <a:gd name="connsiteY74219" fmla="*/ 1948308 h 5973007"/>
              <a:gd name="connsiteX74220" fmla="*/ 1363086 w 6884782"/>
              <a:gd name="connsiteY74220" fmla="*/ 1947843 h 5973007"/>
              <a:gd name="connsiteX74221" fmla="*/ 1363912 w 6884782"/>
              <a:gd name="connsiteY74221" fmla="*/ 1946914 h 5973007"/>
              <a:gd name="connsiteX74222" fmla="*/ 1364634 w 6884782"/>
              <a:gd name="connsiteY74222" fmla="*/ 1947069 h 5973007"/>
              <a:gd name="connsiteX74223" fmla="*/ 1366287 w 6884782"/>
              <a:gd name="connsiteY74223" fmla="*/ 1940098 h 5973007"/>
              <a:gd name="connsiteX74224" fmla="*/ 1367009 w 6884782"/>
              <a:gd name="connsiteY74224" fmla="*/ 1932353 h 5973007"/>
              <a:gd name="connsiteX74225" fmla="*/ 1367629 w 6884782"/>
              <a:gd name="connsiteY74225" fmla="*/ 1929410 h 5973007"/>
              <a:gd name="connsiteX74226" fmla="*/ 1364325 w 6884782"/>
              <a:gd name="connsiteY74226" fmla="*/ 1930495 h 5973007"/>
              <a:gd name="connsiteX74227" fmla="*/ 1363499 w 6884782"/>
              <a:gd name="connsiteY74227" fmla="*/ 1930804 h 5973007"/>
              <a:gd name="connsiteX74228" fmla="*/ 1363395 w 6884782"/>
              <a:gd name="connsiteY74228" fmla="*/ 1932818 h 5973007"/>
              <a:gd name="connsiteX74229" fmla="*/ 1358749 w 6884782"/>
              <a:gd name="connsiteY74229" fmla="*/ 1936536 h 5973007"/>
              <a:gd name="connsiteX74230" fmla="*/ 1357406 w 6884782"/>
              <a:gd name="connsiteY74230" fmla="*/ 1935142 h 5973007"/>
              <a:gd name="connsiteX74231" fmla="*/ 1356890 w 6884782"/>
              <a:gd name="connsiteY74231" fmla="*/ 1932818 h 5973007"/>
              <a:gd name="connsiteX74232" fmla="*/ 1353276 w 6884782"/>
              <a:gd name="connsiteY74232" fmla="*/ 1933748 h 5973007"/>
              <a:gd name="connsiteX74233" fmla="*/ 1351418 w 6884782"/>
              <a:gd name="connsiteY74233" fmla="*/ 1935451 h 5973007"/>
              <a:gd name="connsiteX74234" fmla="*/ 1350695 w 6884782"/>
              <a:gd name="connsiteY74234" fmla="*/ 1935606 h 5973007"/>
              <a:gd name="connsiteX74235" fmla="*/ 1350385 w 6884782"/>
              <a:gd name="connsiteY74235" fmla="*/ 1936536 h 5973007"/>
              <a:gd name="connsiteX74236" fmla="*/ 1349662 w 6884782"/>
              <a:gd name="connsiteY74236" fmla="*/ 1936536 h 5973007"/>
              <a:gd name="connsiteX74237" fmla="*/ 1350075 w 6884782"/>
              <a:gd name="connsiteY74237" fmla="*/ 1935761 h 5973007"/>
              <a:gd name="connsiteX74238" fmla="*/ 1349146 w 6884782"/>
              <a:gd name="connsiteY74238" fmla="*/ 1935916 h 5973007"/>
              <a:gd name="connsiteX74239" fmla="*/ 1349456 w 6884782"/>
              <a:gd name="connsiteY74239" fmla="*/ 1936691 h 5973007"/>
              <a:gd name="connsiteX74240" fmla="*/ 1347597 w 6884782"/>
              <a:gd name="connsiteY74240" fmla="*/ 1936381 h 5973007"/>
              <a:gd name="connsiteX74241" fmla="*/ 1347907 w 6884782"/>
              <a:gd name="connsiteY74241" fmla="*/ 1936071 h 5973007"/>
              <a:gd name="connsiteX74242" fmla="*/ 1348733 w 6884782"/>
              <a:gd name="connsiteY74242" fmla="*/ 1935916 h 5973007"/>
              <a:gd name="connsiteX74243" fmla="*/ 1346048 w 6884782"/>
              <a:gd name="connsiteY74243" fmla="*/ 1934212 h 5973007"/>
              <a:gd name="connsiteX74244" fmla="*/ 1345119 w 6884782"/>
              <a:gd name="connsiteY74244" fmla="*/ 1930495 h 5973007"/>
              <a:gd name="connsiteX74245" fmla="*/ 1347494 w 6884782"/>
              <a:gd name="connsiteY74245" fmla="*/ 1925538 h 5973007"/>
              <a:gd name="connsiteX74246" fmla="*/ 1354309 w 6884782"/>
              <a:gd name="connsiteY74246" fmla="*/ 1930030 h 5973007"/>
              <a:gd name="connsiteX74247" fmla="*/ 1354309 w 6884782"/>
              <a:gd name="connsiteY74247" fmla="*/ 1930185 h 5973007"/>
              <a:gd name="connsiteX74248" fmla="*/ 1354515 w 6884782"/>
              <a:gd name="connsiteY74248" fmla="*/ 1930185 h 5973007"/>
              <a:gd name="connsiteX74249" fmla="*/ 1359471 w 6884782"/>
              <a:gd name="connsiteY74249" fmla="*/ 1927861 h 5973007"/>
              <a:gd name="connsiteX74250" fmla="*/ 1360194 w 6884782"/>
              <a:gd name="connsiteY74250" fmla="*/ 1927861 h 5973007"/>
              <a:gd name="connsiteX74251" fmla="*/ 1361021 w 6884782"/>
              <a:gd name="connsiteY74251" fmla="*/ 1926003 h 5973007"/>
              <a:gd name="connsiteX74252" fmla="*/ 1363499 w 6884782"/>
              <a:gd name="connsiteY74252" fmla="*/ 1925538 h 5973007"/>
              <a:gd name="connsiteX74253" fmla="*/ 1363499 w 6884782"/>
              <a:gd name="connsiteY74253" fmla="*/ 1927242 h 5973007"/>
              <a:gd name="connsiteX74254" fmla="*/ 1363602 w 6884782"/>
              <a:gd name="connsiteY74254" fmla="*/ 1927242 h 5973007"/>
              <a:gd name="connsiteX74255" fmla="*/ 1364634 w 6884782"/>
              <a:gd name="connsiteY74255" fmla="*/ 1927087 h 5973007"/>
              <a:gd name="connsiteX74256" fmla="*/ 1366596 w 6884782"/>
              <a:gd name="connsiteY74256" fmla="*/ 1926777 h 5973007"/>
              <a:gd name="connsiteX74257" fmla="*/ 1368042 w 6884782"/>
              <a:gd name="connsiteY74257" fmla="*/ 1927242 h 5973007"/>
              <a:gd name="connsiteX74258" fmla="*/ 1369074 w 6884782"/>
              <a:gd name="connsiteY74258" fmla="*/ 1922750 h 5973007"/>
              <a:gd name="connsiteX74259" fmla="*/ 1374444 w 6884782"/>
              <a:gd name="connsiteY74259" fmla="*/ 1929721 h 5973007"/>
              <a:gd name="connsiteX74260" fmla="*/ 1378161 w 6884782"/>
              <a:gd name="connsiteY74260" fmla="*/ 1932199 h 5973007"/>
              <a:gd name="connsiteX74261" fmla="*/ 1383324 w 6884782"/>
              <a:gd name="connsiteY74261" fmla="*/ 1912681 h 5973007"/>
              <a:gd name="connsiteX74262" fmla="*/ 1385905 w 6884782"/>
              <a:gd name="connsiteY74262" fmla="*/ 1924454 h 5973007"/>
              <a:gd name="connsiteX74263" fmla="*/ 1389416 w 6884782"/>
              <a:gd name="connsiteY74263" fmla="*/ 1919962 h 5973007"/>
              <a:gd name="connsiteX74264" fmla="*/ 1401497 w 6884782"/>
              <a:gd name="connsiteY74264" fmla="*/ 1931269 h 5973007"/>
              <a:gd name="connsiteX74265" fmla="*/ 1404904 w 6884782"/>
              <a:gd name="connsiteY74265" fmla="*/ 1940098 h 5973007"/>
              <a:gd name="connsiteX74266" fmla="*/ 1408828 w 6884782"/>
              <a:gd name="connsiteY74266" fmla="*/ 1941337 h 5973007"/>
              <a:gd name="connsiteX74267" fmla="*/ 1410170 w 6884782"/>
              <a:gd name="connsiteY74267" fmla="*/ 1944436 h 5973007"/>
              <a:gd name="connsiteX74268" fmla="*/ 1410273 w 6884782"/>
              <a:gd name="connsiteY74268" fmla="*/ 1944436 h 5973007"/>
              <a:gd name="connsiteX74269" fmla="*/ 1410170 w 6884782"/>
              <a:gd name="connsiteY74269" fmla="*/ 1944590 h 5973007"/>
              <a:gd name="connsiteX74270" fmla="*/ 1410583 w 6884782"/>
              <a:gd name="connsiteY74270" fmla="*/ 1945365 h 5973007"/>
              <a:gd name="connsiteX74271" fmla="*/ 1415436 w 6884782"/>
              <a:gd name="connsiteY74271" fmla="*/ 1959460 h 5973007"/>
              <a:gd name="connsiteX74272" fmla="*/ 1418947 w 6884782"/>
              <a:gd name="connsiteY74272" fmla="*/ 1962713 h 5973007"/>
              <a:gd name="connsiteX74273" fmla="*/ 1423387 w 6884782"/>
              <a:gd name="connsiteY74273" fmla="*/ 1966121 h 5973007"/>
              <a:gd name="connsiteX74274" fmla="*/ 1425349 w 6884782"/>
              <a:gd name="connsiteY74274" fmla="*/ 1965501 h 5973007"/>
              <a:gd name="connsiteX74275" fmla="*/ 1426588 w 6884782"/>
              <a:gd name="connsiteY74275" fmla="*/ 1966276 h 5973007"/>
              <a:gd name="connsiteX74276" fmla="*/ 1425556 w 6884782"/>
              <a:gd name="connsiteY74276" fmla="*/ 1961009 h 5973007"/>
              <a:gd name="connsiteX74277" fmla="*/ 1428343 w 6884782"/>
              <a:gd name="connsiteY74277" fmla="*/ 1943971 h 5973007"/>
              <a:gd name="connsiteX74278" fmla="*/ 1445897 w 6884782"/>
              <a:gd name="connsiteY74278" fmla="*/ 1932818 h 5973007"/>
              <a:gd name="connsiteX74279" fmla="*/ 1453435 w 6884782"/>
              <a:gd name="connsiteY74279" fmla="*/ 1933438 h 5973007"/>
              <a:gd name="connsiteX74280" fmla="*/ 1454158 w 6884782"/>
              <a:gd name="connsiteY74280" fmla="*/ 1931579 h 5973007"/>
              <a:gd name="connsiteX74281" fmla="*/ 1462005 w 6884782"/>
              <a:gd name="connsiteY74281" fmla="*/ 1932199 h 5973007"/>
              <a:gd name="connsiteX74282" fmla="*/ 1461799 w 6884782"/>
              <a:gd name="connsiteY74282" fmla="*/ 1933593 h 5973007"/>
              <a:gd name="connsiteX74283" fmla="*/ 1461696 w 6884782"/>
              <a:gd name="connsiteY74283" fmla="*/ 1934522 h 5973007"/>
              <a:gd name="connsiteX74284" fmla="*/ 1464380 w 6884782"/>
              <a:gd name="connsiteY74284" fmla="*/ 1935142 h 5973007"/>
              <a:gd name="connsiteX74285" fmla="*/ 1467994 w 6884782"/>
              <a:gd name="connsiteY74285" fmla="*/ 1932818 h 5973007"/>
              <a:gd name="connsiteX74286" fmla="*/ 1468717 w 6884782"/>
              <a:gd name="connsiteY74286" fmla="*/ 1936226 h 5973007"/>
              <a:gd name="connsiteX74287" fmla="*/ 1470678 w 6884782"/>
              <a:gd name="connsiteY74287" fmla="*/ 1936691 h 5973007"/>
              <a:gd name="connsiteX74288" fmla="*/ 1476048 w 6884782"/>
              <a:gd name="connsiteY74288" fmla="*/ 1939479 h 5973007"/>
              <a:gd name="connsiteX74289" fmla="*/ 1476358 w 6884782"/>
              <a:gd name="connsiteY74289" fmla="*/ 1939014 h 5973007"/>
              <a:gd name="connsiteX74290" fmla="*/ 1478939 w 6884782"/>
              <a:gd name="connsiteY74290" fmla="*/ 1939014 h 5973007"/>
              <a:gd name="connsiteX74291" fmla="*/ 1481521 w 6884782"/>
              <a:gd name="connsiteY74291" fmla="*/ 1942422 h 5973007"/>
              <a:gd name="connsiteX74292" fmla="*/ 1482243 w 6884782"/>
              <a:gd name="connsiteY74292" fmla="*/ 1942732 h 5973007"/>
              <a:gd name="connsiteX74293" fmla="*/ 1491020 w 6884782"/>
              <a:gd name="connsiteY74293" fmla="*/ 1952180 h 5973007"/>
              <a:gd name="connsiteX74294" fmla="*/ 1494531 w 6884782"/>
              <a:gd name="connsiteY74294" fmla="*/ 1960854 h 5973007"/>
              <a:gd name="connsiteX74295" fmla="*/ 1494634 w 6884782"/>
              <a:gd name="connsiteY74295" fmla="*/ 1963952 h 5973007"/>
              <a:gd name="connsiteX74296" fmla="*/ 1495667 w 6884782"/>
              <a:gd name="connsiteY74296" fmla="*/ 1965966 h 5973007"/>
              <a:gd name="connsiteX74297" fmla="*/ 1499797 w 6884782"/>
              <a:gd name="connsiteY74297" fmla="*/ 1976654 h 5973007"/>
              <a:gd name="connsiteX74298" fmla="*/ 1496390 w 6884782"/>
              <a:gd name="connsiteY74298" fmla="*/ 1970148 h 5973007"/>
              <a:gd name="connsiteX74299" fmla="*/ 1494634 w 6884782"/>
              <a:gd name="connsiteY74299" fmla="*/ 1964107 h 5973007"/>
              <a:gd name="connsiteX74300" fmla="*/ 1494737 w 6884782"/>
              <a:gd name="connsiteY74300" fmla="*/ 1968909 h 5973007"/>
              <a:gd name="connsiteX74301" fmla="*/ 1492775 w 6884782"/>
              <a:gd name="connsiteY74301" fmla="*/ 1986257 h 5973007"/>
              <a:gd name="connsiteX74302" fmla="*/ 1486477 w 6884782"/>
              <a:gd name="connsiteY74302" fmla="*/ 1988271 h 5973007"/>
              <a:gd name="connsiteX74303" fmla="*/ 1485547 w 6884782"/>
              <a:gd name="connsiteY74303" fmla="*/ 1989200 h 5973007"/>
              <a:gd name="connsiteX74304" fmla="*/ 1486374 w 6884782"/>
              <a:gd name="connsiteY74304" fmla="*/ 1991834 h 5973007"/>
              <a:gd name="connsiteX74305" fmla="*/ 1488748 w 6884782"/>
              <a:gd name="connsiteY74305" fmla="*/ 2000508 h 5973007"/>
              <a:gd name="connsiteX74306" fmla="*/ 1493292 w 6884782"/>
              <a:gd name="connsiteY74306" fmla="*/ 2002057 h 5973007"/>
              <a:gd name="connsiteX74307" fmla="*/ 1496493 w 6884782"/>
              <a:gd name="connsiteY74307" fmla="*/ 2002212 h 5973007"/>
              <a:gd name="connsiteX74308" fmla="*/ 1499384 w 6884782"/>
              <a:gd name="connsiteY74308" fmla="*/ 2000972 h 5973007"/>
              <a:gd name="connsiteX74309" fmla="*/ 1501759 w 6884782"/>
              <a:gd name="connsiteY74309" fmla="*/ 2002521 h 5973007"/>
              <a:gd name="connsiteX74310" fmla="*/ 1501862 w 6884782"/>
              <a:gd name="connsiteY74310" fmla="*/ 2002521 h 5973007"/>
              <a:gd name="connsiteX74311" fmla="*/ 1504753 w 6884782"/>
              <a:gd name="connsiteY74311" fmla="*/ 2000817 h 5973007"/>
              <a:gd name="connsiteX74312" fmla="*/ 1504857 w 6884782"/>
              <a:gd name="connsiteY74312" fmla="*/ 1990750 h 5973007"/>
              <a:gd name="connsiteX74313" fmla="*/ 1513736 w 6884782"/>
              <a:gd name="connsiteY74313" fmla="*/ 1976964 h 5973007"/>
              <a:gd name="connsiteX74314" fmla="*/ 1529741 w 6884782"/>
              <a:gd name="connsiteY74314" fmla="*/ 1983160 h 5973007"/>
              <a:gd name="connsiteX74315" fmla="*/ 1535110 w 6884782"/>
              <a:gd name="connsiteY74315" fmla="*/ 1991524 h 5973007"/>
              <a:gd name="connsiteX74316" fmla="*/ 1535246 w 6884782"/>
              <a:gd name="connsiteY74316" fmla="*/ 1991572 h 5973007"/>
              <a:gd name="connsiteX74317" fmla="*/ 1535524 w 6884782"/>
              <a:gd name="connsiteY74317" fmla="*/ 1991989 h 5973007"/>
              <a:gd name="connsiteX74318" fmla="*/ 1536969 w 6884782"/>
              <a:gd name="connsiteY74318" fmla="*/ 2001128 h 5973007"/>
              <a:gd name="connsiteX74319" fmla="*/ 1525301 w 6884782"/>
              <a:gd name="connsiteY74319" fmla="*/ 2014294 h 5973007"/>
              <a:gd name="connsiteX74320" fmla="*/ 1518383 w 6884782"/>
              <a:gd name="connsiteY74320" fmla="*/ 2013054 h 5973007"/>
              <a:gd name="connsiteX74321" fmla="*/ 1518073 w 6884782"/>
              <a:gd name="connsiteY74321" fmla="*/ 2014139 h 5973007"/>
              <a:gd name="connsiteX74322" fmla="*/ 1522410 w 6884782"/>
              <a:gd name="connsiteY74322" fmla="*/ 2023123 h 5973007"/>
              <a:gd name="connsiteX74323" fmla="*/ 1523236 w 6884782"/>
              <a:gd name="connsiteY74323" fmla="*/ 2024052 h 5973007"/>
              <a:gd name="connsiteX74324" fmla="*/ 1523856 w 6884782"/>
              <a:gd name="connsiteY74324" fmla="*/ 2023897 h 5973007"/>
              <a:gd name="connsiteX74325" fmla="*/ 1529948 w 6884782"/>
              <a:gd name="connsiteY74325" fmla="*/ 2027150 h 5973007"/>
              <a:gd name="connsiteX74326" fmla="*/ 1529948 w 6884782"/>
              <a:gd name="connsiteY74326" fmla="*/ 2028235 h 5973007"/>
              <a:gd name="connsiteX74327" fmla="*/ 1530773 w 6884782"/>
              <a:gd name="connsiteY74327" fmla="*/ 2030403 h 5973007"/>
              <a:gd name="connsiteX74328" fmla="*/ 1531600 w 6884782"/>
              <a:gd name="connsiteY74328" fmla="*/ 2032572 h 5973007"/>
              <a:gd name="connsiteX74329" fmla="*/ 1553903 w 6884782"/>
              <a:gd name="connsiteY74329" fmla="*/ 2037373 h 5973007"/>
              <a:gd name="connsiteX74330" fmla="*/ 1556691 w 6884782"/>
              <a:gd name="connsiteY74330" fmla="*/ 2037838 h 5973007"/>
              <a:gd name="connsiteX74331" fmla="*/ 1556691 w 6884782"/>
              <a:gd name="connsiteY74331" fmla="*/ 2034430 h 5973007"/>
              <a:gd name="connsiteX74332" fmla="*/ 1561544 w 6884782"/>
              <a:gd name="connsiteY74332" fmla="*/ 2030713 h 5973007"/>
              <a:gd name="connsiteX74333" fmla="*/ 1565881 w 6884782"/>
              <a:gd name="connsiteY74333" fmla="*/ 2031332 h 5973007"/>
              <a:gd name="connsiteX74334" fmla="*/ 1568566 w 6884782"/>
              <a:gd name="connsiteY74334" fmla="*/ 2037838 h 5973007"/>
              <a:gd name="connsiteX74335" fmla="*/ 1566191 w 6884782"/>
              <a:gd name="connsiteY74335" fmla="*/ 2039232 h 5973007"/>
              <a:gd name="connsiteX74336" fmla="*/ 1569701 w 6884782"/>
              <a:gd name="connsiteY74336" fmla="*/ 2039696 h 5973007"/>
              <a:gd name="connsiteX74337" fmla="*/ 1577755 w 6884782"/>
              <a:gd name="connsiteY74337" fmla="*/ 2040626 h 5973007"/>
              <a:gd name="connsiteX74338" fmla="*/ 1580130 w 6884782"/>
              <a:gd name="connsiteY74338" fmla="*/ 2069592 h 5973007"/>
              <a:gd name="connsiteX74339" fmla="*/ 1578375 w 6884782"/>
              <a:gd name="connsiteY74339" fmla="*/ 2077492 h 5973007"/>
              <a:gd name="connsiteX74340" fmla="*/ 1585499 w 6884782"/>
              <a:gd name="connsiteY74340" fmla="*/ 2078575 h 5973007"/>
              <a:gd name="connsiteX74341" fmla="*/ 1591282 w 6884782"/>
              <a:gd name="connsiteY74341" fmla="*/ 2070831 h 5973007"/>
              <a:gd name="connsiteX74342" fmla="*/ 1596238 w 6884782"/>
              <a:gd name="connsiteY74342" fmla="*/ 2057664 h 5973007"/>
              <a:gd name="connsiteX74343" fmla="*/ 1600369 w 6884782"/>
              <a:gd name="connsiteY74343" fmla="*/ 2045428 h 5973007"/>
              <a:gd name="connsiteX74344" fmla="*/ 1600369 w 6884782"/>
              <a:gd name="connsiteY74344" fmla="*/ 2056735 h 5973007"/>
              <a:gd name="connsiteX74345" fmla="*/ 1597787 w 6884782"/>
              <a:gd name="connsiteY74345" fmla="*/ 2068817 h 5973007"/>
              <a:gd name="connsiteX74346" fmla="*/ 1604499 w 6884782"/>
              <a:gd name="connsiteY74346" fmla="*/ 2061382 h 5973007"/>
              <a:gd name="connsiteX74347" fmla="*/ 1602021 w 6884782"/>
              <a:gd name="connsiteY74347" fmla="*/ 2053017 h 5973007"/>
              <a:gd name="connsiteX74348" fmla="*/ 1607493 w 6884782"/>
              <a:gd name="connsiteY74348" fmla="*/ 2046047 h 5973007"/>
              <a:gd name="connsiteX74349" fmla="*/ 1610901 w 6884782"/>
              <a:gd name="connsiteY74349" fmla="*/ 2037528 h 5973007"/>
              <a:gd name="connsiteX74350" fmla="*/ 1605222 w 6884782"/>
              <a:gd name="connsiteY74350" fmla="*/ 2035515 h 5973007"/>
              <a:gd name="connsiteX74351" fmla="*/ 1593347 w 6884782"/>
              <a:gd name="connsiteY74351" fmla="*/ 2028235 h 5973007"/>
              <a:gd name="connsiteX74352" fmla="*/ 1595928 w 6884782"/>
              <a:gd name="connsiteY74352" fmla="*/ 2026375 h 5973007"/>
              <a:gd name="connsiteX74353" fmla="*/ 1618955 w 6884782"/>
              <a:gd name="connsiteY74353" fmla="*/ 2039851 h 5973007"/>
              <a:gd name="connsiteX74354" fmla="*/ 1612553 w 6884782"/>
              <a:gd name="connsiteY74354" fmla="*/ 2037993 h 5973007"/>
              <a:gd name="connsiteX74355" fmla="*/ 1611313 w 6884782"/>
              <a:gd name="connsiteY74355" fmla="*/ 2041400 h 5973007"/>
              <a:gd name="connsiteX74356" fmla="*/ 1610967 w 6884782"/>
              <a:gd name="connsiteY74356" fmla="*/ 2044310 h 5973007"/>
              <a:gd name="connsiteX74357" fmla="*/ 1610901 w 6884782"/>
              <a:gd name="connsiteY74357" fmla="*/ 2044343 h 5973007"/>
              <a:gd name="connsiteX74358" fmla="*/ 1610956 w 6884782"/>
              <a:gd name="connsiteY74358" fmla="*/ 2044399 h 5973007"/>
              <a:gd name="connsiteX74359" fmla="*/ 1610281 w 6884782"/>
              <a:gd name="connsiteY74359" fmla="*/ 2050075 h 5973007"/>
              <a:gd name="connsiteX74360" fmla="*/ 1614308 w 6884782"/>
              <a:gd name="connsiteY74360" fmla="*/ 2047441 h 5973007"/>
              <a:gd name="connsiteX74361" fmla="*/ 1613998 w 6884782"/>
              <a:gd name="connsiteY74361" fmla="*/ 2047441 h 5973007"/>
              <a:gd name="connsiteX74362" fmla="*/ 1610956 w 6884782"/>
              <a:gd name="connsiteY74362" fmla="*/ 2044399 h 5973007"/>
              <a:gd name="connsiteX74363" fmla="*/ 1610967 w 6884782"/>
              <a:gd name="connsiteY74363" fmla="*/ 2044310 h 5973007"/>
              <a:gd name="connsiteX74364" fmla="*/ 1618541 w 6884782"/>
              <a:gd name="connsiteY74364" fmla="*/ 2040471 h 5973007"/>
              <a:gd name="connsiteX74365" fmla="*/ 1619987 w 6884782"/>
              <a:gd name="connsiteY74365" fmla="*/ 2041091 h 5973007"/>
              <a:gd name="connsiteX74366" fmla="*/ 1622156 w 6884782"/>
              <a:gd name="connsiteY74366" fmla="*/ 2037838 h 5973007"/>
              <a:gd name="connsiteX74367" fmla="*/ 1628454 w 6884782"/>
              <a:gd name="connsiteY74367" fmla="*/ 2024827 h 5973007"/>
              <a:gd name="connsiteX74368" fmla="*/ 1633410 w 6884782"/>
              <a:gd name="connsiteY74368" fmla="*/ 2017392 h 5973007"/>
              <a:gd name="connsiteX74369" fmla="*/ 1636921 w 6884782"/>
              <a:gd name="connsiteY74369" fmla="*/ 2011041 h 5973007"/>
              <a:gd name="connsiteX74370" fmla="*/ 1636611 w 6884782"/>
              <a:gd name="connsiteY74370" fmla="*/ 2010266 h 5973007"/>
              <a:gd name="connsiteX74371" fmla="*/ 1637128 w 6884782"/>
              <a:gd name="connsiteY74371" fmla="*/ 2010731 h 5973007"/>
              <a:gd name="connsiteX74372" fmla="*/ 1637334 w 6884782"/>
              <a:gd name="connsiteY74372" fmla="*/ 2010421 h 5973007"/>
              <a:gd name="connsiteX74373" fmla="*/ 1646937 w 6884782"/>
              <a:gd name="connsiteY74373" fmla="*/ 2003761 h 5973007"/>
              <a:gd name="connsiteX74374" fmla="*/ 1646731 w 6884782"/>
              <a:gd name="connsiteY74374" fmla="*/ 2003606 h 5973007"/>
              <a:gd name="connsiteX74375" fmla="*/ 1646317 w 6884782"/>
              <a:gd name="connsiteY74375" fmla="*/ 2002831 h 5973007"/>
              <a:gd name="connsiteX74376" fmla="*/ 1643116 w 6884782"/>
              <a:gd name="connsiteY74376" fmla="*/ 2000972 h 5973007"/>
              <a:gd name="connsiteX74377" fmla="*/ 1648589 w 6884782"/>
              <a:gd name="connsiteY74377" fmla="*/ 1990904 h 5973007"/>
              <a:gd name="connsiteX74378" fmla="*/ 1653029 w 6884782"/>
              <a:gd name="connsiteY74378" fmla="*/ 1987497 h 5973007"/>
              <a:gd name="connsiteX74379" fmla="*/ 1653339 w 6884782"/>
              <a:gd name="connsiteY74379" fmla="*/ 1987342 h 5973007"/>
              <a:gd name="connsiteX74380" fmla="*/ 1654888 w 6884782"/>
              <a:gd name="connsiteY74380" fmla="*/ 1985483 h 5973007"/>
              <a:gd name="connsiteX74381" fmla="*/ 1651790 w 6884782"/>
              <a:gd name="connsiteY74381" fmla="*/ 1981920 h 5973007"/>
              <a:gd name="connsiteX74382" fmla="*/ 1643426 w 6884782"/>
              <a:gd name="connsiteY74382" fmla="*/ 1959770 h 5973007"/>
              <a:gd name="connsiteX74383" fmla="*/ 1655404 w 6884782"/>
              <a:gd name="connsiteY74383" fmla="*/ 1966121 h 5973007"/>
              <a:gd name="connsiteX74384" fmla="*/ 1663355 w 6884782"/>
              <a:gd name="connsiteY74384" fmla="*/ 1975415 h 5973007"/>
              <a:gd name="connsiteX74385" fmla="*/ 1673990 w 6884782"/>
              <a:gd name="connsiteY74385" fmla="*/ 1961164 h 5973007"/>
              <a:gd name="connsiteX74386" fmla="*/ 1679566 w 6884782"/>
              <a:gd name="connsiteY74386" fmla="*/ 1953110 h 5973007"/>
              <a:gd name="connsiteX74387" fmla="*/ 1679463 w 6884782"/>
              <a:gd name="connsiteY74387" fmla="*/ 1952955 h 5973007"/>
              <a:gd name="connsiteX74388" fmla="*/ 1680082 w 6884782"/>
              <a:gd name="connsiteY74388" fmla="*/ 1952335 h 5973007"/>
              <a:gd name="connsiteX74389" fmla="*/ 1684729 w 6884782"/>
              <a:gd name="connsiteY74389" fmla="*/ 1944281 h 5973007"/>
              <a:gd name="connsiteX74390" fmla="*/ 1692989 w 6884782"/>
              <a:gd name="connsiteY74390" fmla="*/ 1924609 h 5973007"/>
              <a:gd name="connsiteX74391" fmla="*/ 1699701 w 6884782"/>
              <a:gd name="connsiteY74391" fmla="*/ 1925538 h 5973007"/>
              <a:gd name="connsiteX74392" fmla="*/ 1691440 w 6884782"/>
              <a:gd name="connsiteY74392" fmla="*/ 1932044 h 5973007"/>
              <a:gd name="connsiteX74393" fmla="*/ 1712918 w 6884782"/>
              <a:gd name="connsiteY74393" fmla="*/ 1917019 h 5973007"/>
              <a:gd name="connsiteX74394" fmla="*/ 1706309 w 6884782"/>
              <a:gd name="connsiteY74394" fmla="*/ 1916244 h 5973007"/>
              <a:gd name="connsiteX74395" fmla="*/ 1731091 w 6884782"/>
              <a:gd name="connsiteY74395" fmla="*/ 1890841 h 5973007"/>
              <a:gd name="connsiteX74396" fmla="*/ 1734395 w 6884782"/>
              <a:gd name="connsiteY74396" fmla="*/ 1889137 h 5973007"/>
              <a:gd name="connsiteX74397" fmla="*/ 1734601 w 6884782"/>
              <a:gd name="connsiteY74397" fmla="*/ 1889292 h 5973007"/>
              <a:gd name="connsiteX74398" fmla="*/ 1743481 w 6884782"/>
              <a:gd name="connsiteY74398" fmla="*/ 1879844 h 5973007"/>
              <a:gd name="connsiteX74399" fmla="*/ 1745960 w 6884782"/>
              <a:gd name="connsiteY74399" fmla="*/ 1880928 h 5973007"/>
              <a:gd name="connsiteX74400" fmla="*/ 1746786 w 6884782"/>
              <a:gd name="connsiteY74400" fmla="*/ 1879689 h 5973007"/>
              <a:gd name="connsiteX74401" fmla="*/ 1741003 w 6884782"/>
              <a:gd name="connsiteY74401" fmla="*/ 1879689 h 5973007"/>
              <a:gd name="connsiteX74402" fmla="*/ 1759280 w 6884782"/>
              <a:gd name="connsiteY74402" fmla="*/ 1857074 h 5973007"/>
              <a:gd name="connsiteX74403" fmla="*/ 1772497 w 6884782"/>
              <a:gd name="connsiteY74403" fmla="*/ 1856299 h 5973007"/>
              <a:gd name="connsiteX74404" fmla="*/ 1787365 w 6884782"/>
              <a:gd name="connsiteY74404" fmla="*/ 1835543 h 5973007"/>
              <a:gd name="connsiteX74405" fmla="*/ 1797381 w 6884782"/>
              <a:gd name="connsiteY74405" fmla="*/ 1825320 h 5973007"/>
              <a:gd name="connsiteX74406" fmla="*/ 1808017 w 6884782"/>
              <a:gd name="connsiteY74406" fmla="*/ 1814942 h 5973007"/>
              <a:gd name="connsiteX74407" fmla="*/ 1831249 w 6884782"/>
              <a:gd name="connsiteY74407" fmla="*/ 1795270 h 5973007"/>
              <a:gd name="connsiteX74408" fmla="*/ 1855205 w 6884782"/>
              <a:gd name="connsiteY74408" fmla="*/ 1780401 h 5973007"/>
              <a:gd name="connsiteX74409" fmla="*/ 1860987 w 6884782"/>
              <a:gd name="connsiteY74409" fmla="*/ 1770642 h 5973007"/>
              <a:gd name="connsiteX74410" fmla="*/ 1853966 w 6884782"/>
              <a:gd name="connsiteY74410" fmla="*/ 1770178 h 5973007"/>
              <a:gd name="connsiteX74411" fmla="*/ 1854792 w 6884782"/>
              <a:gd name="connsiteY74411" fmla="*/ 1743070 h 5973007"/>
              <a:gd name="connsiteX74412" fmla="*/ 1866873 w 6884782"/>
              <a:gd name="connsiteY74412" fmla="*/ 1744620 h 5973007"/>
              <a:gd name="connsiteX74413" fmla="*/ 1866563 w 6884782"/>
              <a:gd name="connsiteY74413" fmla="*/ 1765685 h 5973007"/>
              <a:gd name="connsiteX74414" fmla="*/ 1865634 w 6884782"/>
              <a:gd name="connsiteY74414" fmla="*/ 1766770 h 5973007"/>
              <a:gd name="connsiteX74415" fmla="*/ 1872655 w 6884782"/>
              <a:gd name="connsiteY74415" fmla="*/ 1762588 h 5973007"/>
              <a:gd name="connsiteX74416" fmla="*/ 1892480 w 6884782"/>
              <a:gd name="connsiteY74416" fmla="*/ 1747562 h 5973007"/>
              <a:gd name="connsiteX74417" fmla="*/ 1905697 w 6884782"/>
              <a:gd name="connsiteY74417" fmla="*/ 1750351 h 5973007"/>
              <a:gd name="connsiteX74418" fmla="*/ 1906523 w 6884782"/>
              <a:gd name="connsiteY74418" fmla="*/ 1746633 h 5973007"/>
              <a:gd name="connsiteX74419" fmla="*/ 1907349 w 6884782"/>
              <a:gd name="connsiteY74419" fmla="*/ 1746633 h 5973007"/>
              <a:gd name="connsiteX74420" fmla="*/ 1915713 w 6884782"/>
              <a:gd name="connsiteY74420" fmla="*/ 1741057 h 5973007"/>
              <a:gd name="connsiteX74421" fmla="*/ 1916539 w 6884782"/>
              <a:gd name="connsiteY74421" fmla="*/ 1741057 h 5973007"/>
              <a:gd name="connsiteX74422" fmla="*/ 1916539 w 6884782"/>
              <a:gd name="connsiteY74422" fmla="*/ 1739973 h 5973007"/>
              <a:gd name="connsiteX74423" fmla="*/ 1916539 w 6884782"/>
              <a:gd name="connsiteY74423" fmla="*/ 1739198 h 5973007"/>
              <a:gd name="connsiteX74424" fmla="*/ 1920669 w 6884782"/>
              <a:gd name="connsiteY74424" fmla="*/ 1738114 h 5973007"/>
              <a:gd name="connsiteX74425" fmla="*/ 1917262 w 6884782"/>
              <a:gd name="connsiteY74425" fmla="*/ 1731608 h 5973007"/>
              <a:gd name="connsiteX74426" fmla="*/ 1923870 w 6884782"/>
              <a:gd name="connsiteY74426" fmla="*/ 1722159 h 5973007"/>
              <a:gd name="connsiteX74427" fmla="*/ 1925626 w 6884782"/>
              <a:gd name="connsiteY74427" fmla="*/ 1714724 h 5973007"/>
              <a:gd name="connsiteX74428" fmla="*/ 1926348 w 6884782"/>
              <a:gd name="connsiteY74428" fmla="*/ 1711936 h 5973007"/>
              <a:gd name="connsiteX74429" fmla="*/ 1927174 w 6884782"/>
              <a:gd name="connsiteY74429" fmla="*/ 1711007 h 5973007"/>
              <a:gd name="connsiteX74430" fmla="*/ 1930582 w 6884782"/>
              <a:gd name="connsiteY74430" fmla="*/ 1708219 h 5973007"/>
              <a:gd name="connsiteX74431" fmla="*/ 1930582 w 6884782"/>
              <a:gd name="connsiteY74431" fmla="*/ 1712866 h 5973007"/>
              <a:gd name="connsiteX74432" fmla="*/ 1929756 w 6884782"/>
              <a:gd name="connsiteY74432" fmla="*/ 1714724 h 5973007"/>
              <a:gd name="connsiteX74433" fmla="*/ 1929756 w 6884782"/>
              <a:gd name="connsiteY74433" fmla="*/ 1715654 h 5973007"/>
              <a:gd name="connsiteX74434" fmla="*/ 1928001 w 6884782"/>
              <a:gd name="connsiteY74434" fmla="*/ 1719526 h 5973007"/>
              <a:gd name="connsiteX74435" fmla="*/ 1925626 w 6884782"/>
              <a:gd name="connsiteY74435" fmla="*/ 1726961 h 5973007"/>
              <a:gd name="connsiteX74436" fmla="*/ 1933060 w 6884782"/>
              <a:gd name="connsiteY74436" fmla="*/ 1726961 h 5973007"/>
              <a:gd name="connsiteX74437" fmla="*/ 1933886 w 6884782"/>
              <a:gd name="connsiteY74437" fmla="*/ 1726961 h 5973007"/>
              <a:gd name="connsiteX74438" fmla="*/ 1934712 w 6884782"/>
              <a:gd name="connsiteY74438" fmla="*/ 1726961 h 5973007"/>
              <a:gd name="connsiteX74439" fmla="*/ 1935022 w 6884782"/>
              <a:gd name="connsiteY74439" fmla="*/ 1726496 h 5973007"/>
              <a:gd name="connsiteX74440" fmla="*/ 1935951 w 6884782"/>
              <a:gd name="connsiteY74440" fmla="*/ 1720301 h 5973007"/>
              <a:gd name="connsiteX74441" fmla="*/ 1947516 w 6884782"/>
              <a:gd name="connsiteY74441" fmla="*/ 1701868 h 5973007"/>
              <a:gd name="connsiteX74442" fmla="*/ 1956086 w 6884782"/>
              <a:gd name="connsiteY74442" fmla="*/ 1706670 h 5973007"/>
              <a:gd name="connsiteX74443" fmla="*/ 1957119 w 6884782"/>
              <a:gd name="connsiteY74443" fmla="*/ 1714570 h 5973007"/>
              <a:gd name="connsiteX74444" fmla="*/ 1958339 w 6884782"/>
              <a:gd name="connsiteY74444" fmla="*/ 1713385 h 5973007"/>
              <a:gd name="connsiteX74445" fmla="*/ 1958339 w 6884782"/>
              <a:gd name="connsiteY74445" fmla="*/ 1658683 h 5973007"/>
              <a:gd name="connsiteX74446" fmla="*/ 1957312 w 6884782"/>
              <a:gd name="connsiteY74446" fmla="*/ 1657239 h 5973007"/>
              <a:gd name="connsiteX74447" fmla="*/ 1948238 w 6884782"/>
              <a:gd name="connsiteY74447" fmla="*/ 1656174 h 5973007"/>
              <a:gd name="connsiteX74448" fmla="*/ 1929343 w 6884782"/>
              <a:gd name="connsiteY74448" fmla="*/ 1638515 h 5973007"/>
              <a:gd name="connsiteX74449" fmla="*/ 1925006 w 6884782"/>
              <a:gd name="connsiteY74449" fmla="*/ 1629376 h 5973007"/>
              <a:gd name="connsiteX74450" fmla="*/ 1916849 w 6884782"/>
              <a:gd name="connsiteY74450" fmla="*/ 1621477 h 5973007"/>
              <a:gd name="connsiteX74451" fmla="*/ 1913648 w 6884782"/>
              <a:gd name="connsiteY74451" fmla="*/ 1623181 h 5973007"/>
              <a:gd name="connsiteX74452" fmla="*/ 1905594 w 6884782"/>
              <a:gd name="connsiteY74452" fmla="*/ 1616210 h 5973007"/>
              <a:gd name="connsiteX74453" fmla="*/ 1902290 w 6884782"/>
              <a:gd name="connsiteY74453" fmla="*/ 1605368 h 5973007"/>
              <a:gd name="connsiteX74454" fmla="*/ 1900741 w 6884782"/>
              <a:gd name="connsiteY74454" fmla="*/ 1601960 h 5973007"/>
              <a:gd name="connsiteX74455" fmla="*/ 1891551 w 6884782"/>
              <a:gd name="connsiteY74455" fmla="*/ 1597468 h 5973007"/>
              <a:gd name="connsiteX74456" fmla="*/ 1889899 w 6884782"/>
              <a:gd name="connsiteY74456" fmla="*/ 1591117 h 5973007"/>
              <a:gd name="connsiteX74457" fmla="*/ 1885562 w 6884782"/>
              <a:gd name="connsiteY74457" fmla="*/ 1586160 h 5973007"/>
              <a:gd name="connsiteX74458" fmla="*/ 1877508 w 6884782"/>
              <a:gd name="connsiteY74458" fmla="*/ 1577486 h 5973007"/>
              <a:gd name="connsiteX74459" fmla="*/ 1867699 w 6884782"/>
              <a:gd name="connsiteY74459" fmla="*/ 1575318 h 5973007"/>
              <a:gd name="connsiteX74460" fmla="*/ 1850971 w 6884782"/>
              <a:gd name="connsiteY74460" fmla="*/ 1555801 h 5973007"/>
              <a:gd name="connsiteX74461" fmla="*/ 1855825 w 6884782"/>
              <a:gd name="connsiteY74461" fmla="*/ 1557040 h 5973007"/>
              <a:gd name="connsiteX74462" fmla="*/ 1852004 w 6884782"/>
              <a:gd name="connsiteY74462" fmla="*/ 1552393 h 5973007"/>
              <a:gd name="connsiteX74463" fmla="*/ 1848803 w 6884782"/>
              <a:gd name="connsiteY74463" fmla="*/ 1547901 h 5973007"/>
              <a:gd name="connsiteX74464" fmla="*/ 1842195 w 6884782"/>
              <a:gd name="connsiteY74464" fmla="*/ 1539382 h 5973007"/>
              <a:gd name="connsiteX74465" fmla="*/ 1837755 w 6884782"/>
              <a:gd name="connsiteY74465" fmla="*/ 1543409 h 5973007"/>
              <a:gd name="connsiteX74466" fmla="*/ 1832798 w 6884782"/>
              <a:gd name="connsiteY74466" fmla="*/ 1533496 h 5973007"/>
              <a:gd name="connsiteX74467" fmla="*/ 1837238 w 6884782"/>
              <a:gd name="connsiteY74467" fmla="*/ 1532566 h 5973007"/>
              <a:gd name="connsiteX74468" fmla="*/ 1834244 w 6884782"/>
              <a:gd name="connsiteY74468" fmla="*/ 1528539 h 5973007"/>
              <a:gd name="connsiteX74469" fmla="*/ 1827222 w 6884782"/>
              <a:gd name="connsiteY74469" fmla="*/ 1518161 h 5973007"/>
              <a:gd name="connsiteX74470" fmla="*/ 1822060 w 6884782"/>
              <a:gd name="connsiteY74470" fmla="*/ 1511655 h 5973007"/>
              <a:gd name="connsiteX74471" fmla="*/ 1821750 w 6884782"/>
              <a:gd name="connsiteY74471" fmla="*/ 1512275 h 5973007"/>
              <a:gd name="connsiteX74472" fmla="*/ 1815038 w 6884782"/>
              <a:gd name="connsiteY74472" fmla="*/ 1513824 h 5973007"/>
              <a:gd name="connsiteX74473" fmla="*/ 1813179 w 6884782"/>
              <a:gd name="connsiteY74473" fmla="*/ 1510416 h 5973007"/>
              <a:gd name="connsiteX74474" fmla="*/ 1813696 w 6884782"/>
              <a:gd name="connsiteY74474" fmla="*/ 1505615 h 5973007"/>
              <a:gd name="connsiteX74475" fmla="*/ 1816587 w 6884782"/>
              <a:gd name="connsiteY74475" fmla="*/ 1504840 h 5973007"/>
              <a:gd name="connsiteX74476" fmla="*/ 1812147 w 6884782"/>
              <a:gd name="connsiteY74476" fmla="*/ 1499418 h 5973007"/>
              <a:gd name="connsiteX74477" fmla="*/ 1803990 w 6884782"/>
              <a:gd name="connsiteY74477" fmla="*/ 1490899 h 5973007"/>
              <a:gd name="connsiteX74478" fmla="*/ 1799137 w 6884782"/>
              <a:gd name="connsiteY74478" fmla="*/ 1486872 h 5973007"/>
              <a:gd name="connsiteX74479" fmla="*/ 1798001 w 6884782"/>
              <a:gd name="connsiteY74479" fmla="*/ 1485633 h 5973007"/>
              <a:gd name="connsiteX74480" fmla="*/ 1794800 w 6884782"/>
              <a:gd name="connsiteY74480" fmla="*/ 1479437 h 5973007"/>
              <a:gd name="connsiteX74481" fmla="*/ 1794284 w 6884782"/>
              <a:gd name="connsiteY74481" fmla="*/ 1479437 h 5973007"/>
              <a:gd name="connsiteX74482" fmla="*/ 1793767 w 6884782"/>
              <a:gd name="connsiteY74482" fmla="*/ 1478817 h 5973007"/>
              <a:gd name="connsiteX74483" fmla="*/ 1792115 w 6884782"/>
              <a:gd name="connsiteY74483" fmla="*/ 1478198 h 5973007"/>
              <a:gd name="connsiteX74484" fmla="*/ 1790463 w 6884782"/>
              <a:gd name="connsiteY74484" fmla="*/ 1481141 h 5973007"/>
              <a:gd name="connsiteX74485" fmla="*/ 1790979 w 6884782"/>
              <a:gd name="connsiteY74485" fmla="*/ 1481141 h 5973007"/>
              <a:gd name="connsiteX74486" fmla="*/ 1790979 w 6884782"/>
              <a:gd name="connsiteY74486" fmla="*/ 1481761 h 5973007"/>
              <a:gd name="connsiteX74487" fmla="*/ 1794284 w 6884782"/>
              <a:gd name="connsiteY74487" fmla="*/ 1487956 h 5973007"/>
              <a:gd name="connsiteX74488" fmla="*/ 1794284 w 6884782"/>
              <a:gd name="connsiteY74488" fmla="*/ 1488576 h 5973007"/>
              <a:gd name="connsiteX74489" fmla="*/ 1793251 w 6884782"/>
              <a:gd name="connsiteY74489" fmla="*/ 1490280 h 5973007"/>
              <a:gd name="connsiteX74490" fmla="*/ 1792631 w 6884782"/>
              <a:gd name="connsiteY74490" fmla="*/ 1489660 h 5973007"/>
              <a:gd name="connsiteX74491" fmla="*/ 1792115 w 6884782"/>
              <a:gd name="connsiteY74491" fmla="*/ 1489040 h 5973007"/>
              <a:gd name="connsiteX74492" fmla="*/ 1791909 w 6884782"/>
              <a:gd name="connsiteY74492" fmla="*/ 1488730 h 5973007"/>
              <a:gd name="connsiteX74493" fmla="*/ 1791806 w 6884782"/>
              <a:gd name="connsiteY74493" fmla="*/ 1488730 h 5973007"/>
              <a:gd name="connsiteX74494" fmla="*/ 1788914 w 6884782"/>
              <a:gd name="connsiteY74494" fmla="*/ 1482845 h 5973007"/>
              <a:gd name="connsiteX74495" fmla="*/ 1788914 w 6884782"/>
              <a:gd name="connsiteY74495" fmla="*/ 1482225 h 5973007"/>
              <a:gd name="connsiteX74496" fmla="*/ 1788295 w 6884782"/>
              <a:gd name="connsiteY74496" fmla="*/ 1482225 h 5973007"/>
              <a:gd name="connsiteX74497" fmla="*/ 1787778 w 6884782"/>
              <a:gd name="connsiteY74497" fmla="*/ 1481761 h 5973007"/>
              <a:gd name="connsiteX74498" fmla="*/ 1786643 w 6884782"/>
              <a:gd name="connsiteY74498" fmla="*/ 1480521 h 5973007"/>
              <a:gd name="connsiteX74499" fmla="*/ 1783441 w 6884782"/>
              <a:gd name="connsiteY74499" fmla="*/ 1478817 h 5973007"/>
              <a:gd name="connsiteX74500" fmla="*/ 1787159 w 6884782"/>
              <a:gd name="connsiteY74500" fmla="*/ 1478817 h 5973007"/>
              <a:gd name="connsiteX74501" fmla="*/ 1787778 w 6884782"/>
              <a:gd name="connsiteY74501" fmla="*/ 1474790 h 5973007"/>
              <a:gd name="connsiteX74502" fmla="*/ 1784577 w 6884782"/>
              <a:gd name="connsiteY74502" fmla="*/ 1476029 h 5973007"/>
              <a:gd name="connsiteX74503" fmla="*/ 1781893 w 6884782"/>
              <a:gd name="connsiteY74503" fmla="*/ 1473241 h 5973007"/>
              <a:gd name="connsiteX74504" fmla="*/ 1784577 w 6884782"/>
              <a:gd name="connsiteY74504" fmla="*/ 1470918 h 5973007"/>
              <a:gd name="connsiteX74505" fmla="*/ 1778589 w 6884782"/>
              <a:gd name="connsiteY74505" fmla="*/ 1472002 h 5973007"/>
              <a:gd name="connsiteX74506" fmla="*/ 1778589 w 6884782"/>
              <a:gd name="connsiteY74506" fmla="*/ 1470918 h 5973007"/>
              <a:gd name="connsiteX74507" fmla="*/ 1778589 w 6884782"/>
              <a:gd name="connsiteY74507" fmla="*/ 1469833 h 5973007"/>
              <a:gd name="connsiteX74508" fmla="*/ 1780757 w 6884782"/>
              <a:gd name="connsiteY74508" fmla="*/ 1467974 h 5973007"/>
              <a:gd name="connsiteX74509" fmla="*/ 1777763 w 6884782"/>
              <a:gd name="connsiteY74509" fmla="*/ 1463638 h 5973007"/>
              <a:gd name="connsiteX74510" fmla="*/ 1776730 w 6884782"/>
              <a:gd name="connsiteY74510" fmla="*/ 1463948 h 5973007"/>
              <a:gd name="connsiteX74511" fmla="*/ 1773839 w 6884782"/>
              <a:gd name="connsiteY74511" fmla="*/ 1460849 h 5973007"/>
              <a:gd name="connsiteX74512" fmla="*/ 1775284 w 6884782"/>
              <a:gd name="connsiteY74512" fmla="*/ 1459920 h 5973007"/>
              <a:gd name="connsiteX74513" fmla="*/ 1771051 w 6884782"/>
              <a:gd name="connsiteY74513" fmla="*/ 1453724 h 5973007"/>
              <a:gd name="connsiteX74514" fmla="*/ 1766611 w 6884782"/>
              <a:gd name="connsiteY74514" fmla="*/ 1446134 h 5973007"/>
              <a:gd name="connsiteX74515" fmla="*/ 1764959 w 6884782"/>
              <a:gd name="connsiteY74515" fmla="*/ 1445979 h 5973007"/>
              <a:gd name="connsiteX74516" fmla="*/ 1765682 w 6884782"/>
              <a:gd name="connsiteY74516" fmla="*/ 1444275 h 5973007"/>
              <a:gd name="connsiteX74517" fmla="*/ 1763926 w 6884782"/>
              <a:gd name="connsiteY74517" fmla="*/ 1441178 h 5973007"/>
              <a:gd name="connsiteX74518" fmla="*/ 1763410 w 6884782"/>
              <a:gd name="connsiteY74518" fmla="*/ 1438854 h 5973007"/>
              <a:gd name="connsiteX74519" fmla="*/ 1762894 w 6884782"/>
              <a:gd name="connsiteY74519" fmla="*/ 1437770 h 5973007"/>
              <a:gd name="connsiteX74520" fmla="*/ 1762377 w 6884782"/>
              <a:gd name="connsiteY74520" fmla="*/ 1436685 h 5973007"/>
              <a:gd name="connsiteX74521" fmla="*/ 1751019 w 6884782"/>
              <a:gd name="connsiteY74521" fmla="*/ 1408649 h 5973007"/>
              <a:gd name="connsiteX74522" fmla="*/ 1749677 w 6884782"/>
              <a:gd name="connsiteY74522" fmla="*/ 1403848 h 5973007"/>
              <a:gd name="connsiteX74523" fmla="*/ 1749883 w 6884782"/>
              <a:gd name="connsiteY74523" fmla="*/ 1402918 h 5973007"/>
              <a:gd name="connsiteX74524" fmla="*/ 1748541 w 6884782"/>
              <a:gd name="connsiteY74524" fmla="*/ 1403383 h 5973007"/>
              <a:gd name="connsiteX74525" fmla="*/ 1747508 w 6884782"/>
              <a:gd name="connsiteY74525" fmla="*/ 1404003 h 5973007"/>
              <a:gd name="connsiteX74526" fmla="*/ 1745237 w 6884782"/>
              <a:gd name="connsiteY74526" fmla="*/ 1396258 h 5973007"/>
              <a:gd name="connsiteX74527" fmla="*/ 1746579 w 6884782"/>
              <a:gd name="connsiteY74527" fmla="*/ 1395483 h 5973007"/>
              <a:gd name="connsiteX74528" fmla="*/ 1746476 w 6884782"/>
              <a:gd name="connsiteY74528" fmla="*/ 1395328 h 5973007"/>
              <a:gd name="connsiteX74529" fmla="*/ 1745237 w 6884782"/>
              <a:gd name="connsiteY74529" fmla="*/ 1391766 h 5973007"/>
              <a:gd name="connsiteX74530" fmla="*/ 1742242 w 6884782"/>
              <a:gd name="connsiteY74530" fmla="*/ 1390371 h 5973007"/>
              <a:gd name="connsiteX74531" fmla="*/ 1741520 w 6884782"/>
              <a:gd name="connsiteY74531" fmla="*/ 1390526 h 5973007"/>
              <a:gd name="connsiteX74532" fmla="*/ 1741830 w 6884782"/>
              <a:gd name="connsiteY74532" fmla="*/ 1391456 h 5973007"/>
              <a:gd name="connsiteX74533" fmla="*/ 1741106 w 6884782"/>
              <a:gd name="connsiteY74533" fmla="*/ 1393934 h 5973007"/>
              <a:gd name="connsiteX74534" fmla="*/ 1738525 w 6884782"/>
              <a:gd name="connsiteY74534" fmla="*/ 1395483 h 5973007"/>
              <a:gd name="connsiteX74535" fmla="*/ 1739661 w 6884782"/>
              <a:gd name="connsiteY74535" fmla="*/ 1397497 h 5973007"/>
              <a:gd name="connsiteX74536" fmla="*/ 1737699 w 6884782"/>
              <a:gd name="connsiteY74536" fmla="*/ 1405087 h 5973007"/>
              <a:gd name="connsiteX74537" fmla="*/ 1726444 w 6884782"/>
              <a:gd name="connsiteY74537" fmla="*/ 1399355 h 5973007"/>
              <a:gd name="connsiteX74538" fmla="*/ 1733982 w 6884782"/>
              <a:gd name="connsiteY74538" fmla="*/ 1392075 h 5973007"/>
              <a:gd name="connsiteX74539" fmla="*/ 1734705 w 6884782"/>
              <a:gd name="connsiteY74539" fmla="*/ 1392385 h 5973007"/>
              <a:gd name="connsiteX74540" fmla="*/ 1733982 w 6884782"/>
              <a:gd name="connsiteY74540" fmla="*/ 1391611 h 5973007"/>
              <a:gd name="connsiteX74541" fmla="*/ 1734085 w 6884782"/>
              <a:gd name="connsiteY74541" fmla="*/ 1390836 h 5973007"/>
              <a:gd name="connsiteX74542" fmla="*/ 1732640 w 6884782"/>
              <a:gd name="connsiteY74542" fmla="*/ 1390836 h 5973007"/>
              <a:gd name="connsiteX74543" fmla="*/ 1738629 w 6884782"/>
              <a:gd name="connsiteY74543" fmla="*/ 1382627 h 5973007"/>
              <a:gd name="connsiteX74544" fmla="*/ 1743378 w 6884782"/>
              <a:gd name="connsiteY74544" fmla="*/ 1379529 h 5973007"/>
              <a:gd name="connsiteX74545" fmla="*/ 1746166 w 6884782"/>
              <a:gd name="connsiteY74545" fmla="*/ 1375037 h 5973007"/>
              <a:gd name="connsiteX74546" fmla="*/ 1739145 w 6884782"/>
              <a:gd name="connsiteY74546" fmla="*/ 1359082 h 5973007"/>
              <a:gd name="connsiteX74547" fmla="*/ 1740487 w 6884782"/>
              <a:gd name="connsiteY74547" fmla="*/ 1358153 h 5973007"/>
              <a:gd name="connsiteX74548" fmla="*/ 1739248 w 6884782"/>
              <a:gd name="connsiteY74548" fmla="*/ 1354436 h 5973007"/>
              <a:gd name="connsiteX74549" fmla="*/ 1739558 w 6884782"/>
              <a:gd name="connsiteY74549" fmla="*/ 1352577 h 5973007"/>
              <a:gd name="connsiteX74550" fmla="*/ 1741623 w 6884782"/>
              <a:gd name="connsiteY74550" fmla="*/ 1353042 h 5973007"/>
              <a:gd name="connsiteX74551" fmla="*/ 1742759 w 6884782"/>
              <a:gd name="connsiteY74551" fmla="*/ 1354126 h 5973007"/>
              <a:gd name="connsiteX74552" fmla="*/ 1742965 w 6884782"/>
              <a:gd name="connsiteY74552" fmla="*/ 1350563 h 5973007"/>
              <a:gd name="connsiteX74553" fmla="*/ 1736460 w 6884782"/>
              <a:gd name="connsiteY74553" fmla="*/ 1339101 h 5973007"/>
              <a:gd name="connsiteX74554" fmla="*/ 1735428 w 6884782"/>
              <a:gd name="connsiteY74554" fmla="*/ 1347620 h 5973007"/>
              <a:gd name="connsiteX74555" fmla="*/ 1739145 w 6884782"/>
              <a:gd name="connsiteY74555" fmla="*/ 1357998 h 5973007"/>
              <a:gd name="connsiteX74556" fmla="*/ 1733982 w 6884782"/>
              <a:gd name="connsiteY74556" fmla="*/ 1350718 h 5973007"/>
              <a:gd name="connsiteX74557" fmla="*/ 1731813 w 6884782"/>
              <a:gd name="connsiteY74557" fmla="*/ 1341889 h 5973007"/>
              <a:gd name="connsiteX74558" fmla="*/ 1729748 w 6884782"/>
              <a:gd name="connsiteY74558" fmla="*/ 1342664 h 5973007"/>
              <a:gd name="connsiteX74559" fmla="*/ 1718494 w 6884782"/>
              <a:gd name="connsiteY74559" fmla="*/ 1340495 h 5973007"/>
              <a:gd name="connsiteX74560" fmla="*/ 1718906 w 6884782"/>
              <a:gd name="connsiteY74560" fmla="*/ 1338171 h 5973007"/>
              <a:gd name="connsiteX74561" fmla="*/ 1726547 w 6884782"/>
              <a:gd name="connsiteY74561" fmla="*/ 1337552 h 5973007"/>
              <a:gd name="connsiteX74562" fmla="*/ 1730677 w 6884782"/>
              <a:gd name="connsiteY74562" fmla="*/ 1337861 h 5973007"/>
              <a:gd name="connsiteX74563" fmla="*/ 1728406 w 6884782"/>
              <a:gd name="connsiteY74563" fmla="*/ 1333525 h 5973007"/>
              <a:gd name="connsiteX74564" fmla="*/ 1727993 w 6884782"/>
              <a:gd name="connsiteY74564" fmla="*/ 1330582 h 5973007"/>
              <a:gd name="connsiteX74565" fmla="*/ 1723450 w 6884782"/>
              <a:gd name="connsiteY74565" fmla="*/ 1325935 h 5973007"/>
              <a:gd name="connsiteX74566" fmla="*/ 1722727 w 6884782"/>
              <a:gd name="connsiteY74566" fmla="*/ 1320978 h 5973007"/>
              <a:gd name="connsiteX74567" fmla="*/ 1722417 w 6884782"/>
              <a:gd name="connsiteY74567" fmla="*/ 1322682 h 5973007"/>
              <a:gd name="connsiteX74568" fmla="*/ 1721488 w 6884782"/>
              <a:gd name="connsiteY74568" fmla="*/ 1324076 h 5973007"/>
              <a:gd name="connsiteX74569" fmla="*/ 1721591 w 6884782"/>
              <a:gd name="connsiteY74569" fmla="*/ 1324076 h 5973007"/>
              <a:gd name="connsiteX74570" fmla="*/ 1723346 w 6884782"/>
              <a:gd name="connsiteY74570" fmla="*/ 1326709 h 5973007"/>
              <a:gd name="connsiteX74571" fmla="*/ 1715705 w 6884782"/>
              <a:gd name="connsiteY74571" fmla="*/ 1333370 h 5973007"/>
              <a:gd name="connsiteX74572" fmla="*/ 1713331 w 6884782"/>
              <a:gd name="connsiteY74572" fmla="*/ 1329652 h 5973007"/>
              <a:gd name="connsiteX74573" fmla="*/ 1713744 w 6884782"/>
              <a:gd name="connsiteY74573" fmla="*/ 1328103 h 5973007"/>
              <a:gd name="connsiteX74574" fmla="*/ 1712814 w 6884782"/>
              <a:gd name="connsiteY74574" fmla="*/ 1327638 h 5973007"/>
              <a:gd name="connsiteX74575" fmla="*/ 1711678 w 6884782"/>
              <a:gd name="connsiteY74575" fmla="*/ 1323302 h 5973007"/>
              <a:gd name="connsiteX74576" fmla="*/ 1712195 w 6884782"/>
              <a:gd name="connsiteY74576" fmla="*/ 1322217 h 5973007"/>
              <a:gd name="connsiteX74577" fmla="*/ 1719423 w 6884782"/>
              <a:gd name="connsiteY74577" fmla="*/ 1315557 h 5973007"/>
              <a:gd name="connsiteX74578" fmla="*/ 1722314 w 6884782"/>
              <a:gd name="connsiteY74578" fmla="*/ 1318345 h 5973007"/>
              <a:gd name="connsiteX74579" fmla="*/ 1721798 w 6884782"/>
              <a:gd name="connsiteY74579" fmla="*/ 1307192 h 5973007"/>
              <a:gd name="connsiteX74580" fmla="*/ 1721281 w 6884782"/>
              <a:gd name="connsiteY74580" fmla="*/ 1298673 h 5973007"/>
              <a:gd name="connsiteX74581" fmla="*/ 1718700 w 6884782"/>
              <a:gd name="connsiteY74581" fmla="*/ 1289689 h 5973007"/>
              <a:gd name="connsiteX74582" fmla="*/ 1717874 w 6884782"/>
              <a:gd name="connsiteY74582" fmla="*/ 1290928 h 5973007"/>
              <a:gd name="connsiteX74583" fmla="*/ 1718700 w 6884782"/>
              <a:gd name="connsiteY74583" fmla="*/ 1292787 h 5973007"/>
              <a:gd name="connsiteX74584" fmla="*/ 1718390 w 6884782"/>
              <a:gd name="connsiteY74584" fmla="*/ 1305024 h 5973007"/>
              <a:gd name="connsiteX74585" fmla="*/ 1709200 w 6884782"/>
              <a:gd name="connsiteY74585" fmla="*/ 1295265 h 5973007"/>
              <a:gd name="connsiteX74586" fmla="*/ 1708581 w 6884782"/>
              <a:gd name="connsiteY74586" fmla="*/ 1292322 h 5973007"/>
              <a:gd name="connsiteX74587" fmla="*/ 1707135 w 6884782"/>
              <a:gd name="connsiteY74587" fmla="*/ 1289379 h 5973007"/>
              <a:gd name="connsiteX74588" fmla="*/ 1706103 w 6884782"/>
              <a:gd name="connsiteY74588" fmla="*/ 1289534 h 5973007"/>
              <a:gd name="connsiteX74589" fmla="*/ 1693815 w 6884782"/>
              <a:gd name="connsiteY74589" fmla="*/ 1279311 h 5973007"/>
              <a:gd name="connsiteX74590" fmla="*/ 1692576 w 6884782"/>
              <a:gd name="connsiteY74590" fmla="*/ 1278381 h 5973007"/>
              <a:gd name="connsiteX74591" fmla="*/ 1692266 w 6884782"/>
              <a:gd name="connsiteY74591" fmla="*/ 1280860 h 5973007"/>
              <a:gd name="connsiteX74592" fmla="*/ 1688652 w 6884782"/>
              <a:gd name="connsiteY74592" fmla="*/ 1284113 h 5973007"/>
              <a:gd name="connsiteX74593" fmla="*/ 1689995 w 6884782"/>
              <a:gd name="connsiteY74593" fmla="*/ 1287675 h 5973007"/>
              <a:gd name="connsiteX74594" fmla="*/ 1688652 w 6884782"/>
              <a:gd name="connsiteY74594" fmla="*/ 1296504 h 5973007"/>
              <a:gd name="connsiteX74595" fmla="*/ 1684729 w 6884782"/>
              <a:gd name="connsiteY74595" fmla="*/ 1299602 h 5973007"/>
              <a:gd name="connsiteX74596" fmla="*/ 1684729 w 6884782"/>
              <a:gd name="connsiteY74596" fmla="*/ 1300067 h 5973007"/>
              <a:gd name="connsiteX74597" fmla="*/ 1679566 w 6884782"/>
              <a:gd name="connsiteY74597" fmla="*/ 1301926 h 5973007"/>
              <a:gd name="connsiteX74598" fmla="*/ 1677604 w 6884782"/>
              <a:gd name="connsiteY74598" fmla="*/ 1297899 h 5973007"/>
              <a:gd name="connsiteX74599" fmla="*/ 1678843 w 6884782"/>
              <a:gd name="connsiteY74599" fmla="*/ 1296195 h 5973007"/>
              <a:gd name="connsiteX74600" fmla="*/ 1679772 w 6884782"/>
              <a:gd name="connsiteY74600" fmla="*/ 1296040 h 5973007"/>
              <a:gd name="connsiteX74601" fmla="*/ 1681218 w 6884782"/>
              <a:gd name="connsiteY74601" fmla="*/ 1296040 h 5973007"/>
              <a:gd name="connsiteX74602" fmla="*/ 1677398 w 6884782"/>
              <a:gd name="connsiteY74602" fmla="*/ 1290773 h 5973007"/>
              <a:gd name="connsiteX74603" fmla="*/ 1674919 w 6884782"/>
              <a:gd name="connsiteY74603" fmla="*/ 1277297 h 5973007"/>
              <a:gd name="connsiteX74604" fmla="*/ 1686587 w 6884782"/>
              <a:gd name="connsiteY74604" fmla="*/ 1278846 h 5973007"/>
              <a:gd name="connsiteX74605" fmla="*/ 1686587 w 6884782"/>
              <a:gd name="connsiteY74605" fmla="*/ 1279156 h 5973007"/>
              <a:gd name="connsiteX74606" fmla="*/ 1687310 w 6884782"/>
              <a:gd name="connsiteY74606" fmla="*/ 1278846 h 5973007"/>
              <a:gd name="connsiteX74607" fmla="*/ 1690718 w 6884782"/>
              <a:gd name="connsiteY74607" fmla="*/ 1276988 h 5973007"/>
              <a:gd name="connsiteX74608" fmla="*/ 1692163 w 6884782"/>
              <a:gd name="connsiteY74608" fmla="*/ 1278072 h 5973007"/>
              <a:gd name="connsiteX74609" fmla="*/ 1681425 w 6884782"/>
              <a:gd name="connsiteY74609" fmla="*/ 1269088 h 5973007"/>
              <a:gd name="connsiteX74610" fmla="*/ 1681425 w 6884782"/>
              <a:gd name="connsiteY74610" fmla="*/ 1261963 h 5973007"/>
              <a:gd name="connsiteX74611" fmla="*/ 1681218 w 6884782"/>
              <a:gd name="connsiteY74611" fmla="*/ 1261963 h 5973007"/>
              <a:gd name="connsiteX74612" fmla="*/ 1680392 w 6884782"/>
              <a:gd name="connsiteY74612" fmla="*/ 1262272 h 5973007"/>
              <a:gd name="connsiteX74613" fmla="*/ 1680289 w 6884782"/>
              <a:gd name="connsiteY74613" fmla="*/ 1263047 h 5973007"/>
              <a:gd name="connsiteX74614" fmla="*/ 1678637 w 6884782"/>
              <a:gd name="connsiteY74614" fmla="*/ 1262272 h 5973007"/>
              <a:gd name="connsiteX74615" fmla="*/ 1676778 w 6884782"/>
              <a:gd name="connsiteY74615" fmla="*/ 1256232 h 5973007"/>
              <a:gd name="connsiteX74616" fmla="*/ 1679360 w 6884782"/>
              <a:gd name="connsiteY74616" fmla="*/ 1255302 h 5973007"/>
              <a:gd name="connsiteX74617" fmla="*/ 1680598 w 6884782"/>
              <a:gd name="connsiteY74617" fmla="*/ 1256077 h 5973007"/>
              <a:gd name="connsiteX74618" fmla="*/ 1679566 w 6884782"/>
              <a:gd name="connsiteY74618" fmla="*/ 1250810 h 5973007"/>
              <a:gd name="connsiteX74619" fmla="*/ 1682354 w 6884782"/>
              <a:gd name="connsiteY74619" fmla="*/ 1233617 h 5973007"/>
              <a:gd name="connsiteX74620" fmla="*/ 1699907 w 6884782"/>
              <a:gd name="connsiteY74620" fmla="*/ 1222619 h 5973007"/>
              <a:gd name="connsiteX74621" fmla="*/ 1705897 w 6884782"/>
              <a:gd name="connsiteY74621" fmla="*/ 1223084 h 5973007"/>
              <a:gd name="connsiteX74622" fmla="*/ 1705586 w 6884782"/>
              <a:gd name="connsiteY74622" fmla="*/ 1219831 h 5973007"/>
              <a:gd name="connsiteX74623" fmla="*/ 1705690 w 6884782"/>
              <a:gd name="connsiteY74623" fmla="*/ 1211931 h 5973007"/>
              <a:gd name="connsiteX74624" fmla="*/ 1704554 w 6884782"/>
              <a:gd name="connsiteY74624" fmla="*/ 1200623 h 5973007"/>
              <a:gd name="connsiteX74625" fmla="*/ 1708374 w 6884782"/>
              <a:gd name="connsiteY74625" fmla="*/ 1190245 h 5973007"/>
              <a:gd name="connsiteX74626" fmla="*/ 1709407 w 6884782"/>
              <a:gd name="connsiteY74626" fmla="*/ 1194892 h 5973007"/>
              <a:gd name="connsiteX74627" fmla="*/ 1712711 w 6884782"/>
              <a:gd name="connsiteY74627" fmla="*/ 1190245 h 5973007"/>
              <a:gd name="connsiteX74628" fmla="*/ 1710439 w 6884782"/>
              <a:gd name="connsiteY74628" fmla="*/ 1184514 h 5973007"/>
              <a:gd name="connsiteX74629" fmla="*/ 1714776 w 6884782"/>
              <a:gd name="connsiteY74629" fmla="*/ 1187457 h 5973007"/>
              <a:gd name="connsiteX74630" fmla="*/ 1719113 w 6884782"/>
              <a:gd name="connsiteY74630" fmla="*/ 1198765 h 5973007"/>
              <a:gd name="connsiteX74631" fmla="*/ 1718080 w 6884782"/>
              <a:gd name="connsiteY74631" fmla="*/ 1210227 h 5973007"/>
              <a:gd name="connsiteX74632" fmla="*/ 1720662 w 6884782"/>
              <a:gd name="connsiteY74632" fmla="*/ 1217043 h 5973007"/>
              <a:gd name="connsiteX74633" fmla="*/ 1720765 w 6884782"/>
              <a:gd name="connsiteY74633" fmla="*/ 1223548 h 5973007"/>
              <a:gd name="connsiteX74634" fmla="*/ 1722004 w 6884782"/>
              <a:gd name="connsiteY74634" fmla="*/ 1222619 h 5973007"/>
              <a:gd name="connsiteX74635" fmla="*/ 1722210 w 6884782"/>
              <a:gd name="connsiteY74635" fmla="*/ 1223548 h 5973007"/>
              <a:gd name="connsiteX74636" fmla="*/ 1723553 w 6884782"/>
              <a:gd name="connsiteY74636" fmla="*/ 1221999 h 5973007"/>
              <a:gd name="connsiteX74637" fmla="*/ 1722417 w 6884782"/>
              <a:gd name="connsiteY74637" fmla="*/ 1217043 h 5973007"/>
              <a:gd name="connsiteX74638" fmla="*/ 1723450 w 6884782"/>
              <a:gd name="connsiteY74638" fmla="*/ 1209143 h 5973007"/>
              <a:gd name="connsiteX74639" fmla="*/ 1721281 w 6884782"/>
              <a:gd name="connsiteY74639" fmla="*/ 1197681 h 5973007"/>
              <a:gd name="connsiteX74640" fmla="*/ 1723450 w 6884782"/>
              <a:gd name="connsiteY74640" fmla="*/ 1203412 h 5973007"/>
              <a:gd name="connsiteX74641" fmla="*/ 1723450 w 6884782"/>
              <a:gd name="connsiteY74641" fmla="*/ 1190245 h 5973007"/>
              <a:gd name="connsiteX74642" fmla="*/ 1722417 w 6884782"/>
              <a:gd name="connsiteY74642" fmla="*/ 1193188 h 5973007"/>
              <a:gd name="connsiteX74643" fmla="*/ 1723450 w 6884782"/>
              <a:gd name="connsiteY74643" fmla="*/ 1184514 h 5973007"/>
              <a:gd name="connsiteX74644" fmla="*/ 1720765 w 6884782"/>
              <a:gd name="connsiteY74644" fmla="*/ 1177234 h 5973007"/>
              <a:gd name="connsiteX74645" fmla="*/ 1721075 w 6884782"/>
              <a:gd name="connsiteY74645" fmla="*/ 1176150 h 5973007"/>
              <a:gd name="connsiteX74646" fmla="*/ 1715086 w 6884782"/>
              <a:gd name="connsiteY74646" fmla="*/ 1165927 h 5973007"/>
              <a:gd name="connsiteX74647" fmla="*/ 1715912 w 6884782"/>
              <a:gd name="connsiteY74647" fmla="*/ 1162829 h 5973007"/>
              <a:gd name="connsiteX74648" fmla="*/ 1716532 w 6884782"/>
              <a:gd name="connsiteY74648" fmla="*/ 1162519 h 5973007"/>
              <a:gd name="connsiteX74649" fmla="*/ 1714776 w 6884782"/>
              <a:gd name="connsiteY74649" fmla="*/ 1161745 h 5973007"/>
              <a:gd name="connsiteX74650" fmla="*/ 1716015 w 6884782"/>
              <a:gd name="connsiteY74650" fmla="*/ 1159266 h 5973007"/>
              <a:gd name="connsiteX74651" fmla="*/ 1719423 w 6884782"/>
              <a:gd name="connsiteY74651" fmla="*/ 1160351 h 5973007"/>
              <a:gd name="connsiteX74652" fmla="*/ 1719629 w 6884782"/>
              <a:gd name="connsiteY74652" fmla="*/ 1161745 h 5973007"/>
              <a:gd name="connsiteX74653" fmla="*/ 1719423 w 6884782"/>
              <a:gd name="connsiteY74653" fmla="*/ 1162054 h 5973007"/>
              <a:gd name="connsiteX74654" fmla="*/ 1721695 w 6884782"/>
              <a:gd name="connsiteY74654" fmla="*/ 1163603 h 5973007"/>
              <a:gd name="connsiteX74655" fmla="*/ 1722417 w 6884782"/>
              <a:gd name="connsiteY74655" fmla="*/ 1160660 h 5973007"/>
              <a:gd name="connsiteX74656" fmla="*/ 1724586 w 6884782"/>
              <a:gd name="connsiteY74656" fmla="*/ 1154929 h 5973007"/>
              <a:gd name="connsiteX74657" fmla="*/ 1724586 w 6884782"/>
              <a:gd name="connsiteY74657" fmla="*/ 1151057 h 5973007"/>
              <a:gd name="connsiteX74658" fmla="*/ 1720972 w 6884782"/>
              <a:gd name="connsiteY74658" fmla="*/ 1151832 h 5973007"/>
              <a:gd name="connsiteX74659" fmla="*/ 1716119 w 6884782"/>
              <a:gd name="connsiteY74659" fmla="*/ 1151212 h 5973007"/>
              <a:gd name="connsiteX74660" fmla="*/ 1716944 w 6884782"/>
              <a:gd name="connsiteY74660" fmla="*/ 1147030 h 5973007"/>
              <a:gd name="connsiteX74661" fmla="*/ 1714776 w 6884782"/>
              <a:gd name="connsiteY74661" fmla="*/ 1143157 h 5973007"/>
              <a:gd name="connsiteX74662" fmla="*/ 1713021 w 6884782"/>
              <a:gd name="connsiteY74662" fmla="*/ 1138200 h 5973007"/>
              <a:gd name="connsiteX74663" fmla="*/ 1701353 w 6884782"/>
              <a:gd name="connsiteY74663" fmla="*/ 1136961 h 5973007"/>
              <a:gd name="connsiteX74664" fmla="*/ 1697119 w 6884782"/>
              <a:gd name="connsiteY74664" fmla="*/ 1138045 h 5973007"/>
              <a:gd name="connsiteX74665" fmla="*/ 1697945 w 6884782"/>
              <a:gd name="connsiteY74665" fmla="*/ 1139285 h 5973007"/>
              <a:gd name="connsiteX74666" fmla="*/ 1700010 w 6884782"/>
              <a:gd name="connsiteY74666" fmla="*/ 1143467 h 5973007"/>
              <a:gd name="connsiteX74667" fmla="*/ 1691957 w 6884782"/>
              <a:gd name="connsiteY74667" fmla="*/ 1145790 h 5973007"/>
              <a:gd name="connsiteX74668" fmla="*/ 1691131 w 6884782"/>
              <a:gd name="connsiteY74668" fmla="*/ 1145016 h 5973007"/>
              <a:gd name="connsiteX74669" fmla="*/ 1689892 w 6884782"/>
              <a:gd name="connsiteY74669" fmla="*/ 1143002 h 5973007"/>
              <a:gd name="connsiteX74670" fmla="*/ 1688239 w 6884782"/>
              <a:gd name="connsiteY74670" fmla="*/ 1145790 h 5973007"/>
              <a:gd name="connsiteX74671" fmla="*/ 1687620 w 6884782"/>
              <a:gd name="connsiteY74671" fmla="*/ 1156633 h 5973007"/>
              <a:gd name="connsiteX74672" fmla="*/ 1679979 w 6884782"/>
              <a:gd name="connsiteY74672" fmla="*/ 1157408 h 5973007"/>
              <a:gd name="connsiteX74673" fmla="*/ 1679463 w 6884782"/>
              <a:gd name="connsiteY74673" fmla="*/ 1146565 h 5973007"/>
              <a:gd name="connsiteX74674" fmla="*/ 1674713 w 6884782"/>
              <a:gd name="connsiteY74674" fmla="*/ 1140833 h 5973007"/>
              <a:gd name="connsiteX74675" fmla="*/ 1662012 w 6884782"/>
              <a:gd name="connsiteY74675" fmla="*/ 1137426 h 5973007"/>
              <a:gd name="connsiteX74676" fmla="*/ 1659225 w 6884782"/>
              <a:gd name="connsiteY74676" fmla="*/ 1135877 h 5973007"/>
              <a:gd name="connsiteX74677" fmla="*/ 1658811 w 6884782"/>
              <a:gd name="connsiteY74677" fmla="*/ 1137271 h 5973007"/>
              <a:gd name="connsiteX74678" fmla="*/ 1644459 w 6884782"/>
              <a:gd name="connsiteY74678" fmla="*/ 1144396 h 5973007"/>
              <a:gd name="connsiteX74679" fmla="*/ 1643116 w 6884782"/>
              <a:gd name="connsiteY74679" fmla="*/ 1145171 h 5973007"/>
              <a:gd name="connsiteX74680" fmla="*/ 1645285 w 6884782"/>
              <a:gd name="connsiteY74680" fmla="*/ 1146410 h 5973007"/>
              <a:gd name="connsiteX74681" fmla="*/ 1646834 w 6884782"/>
              <a:gd name="connsiteY74681" fmla="*/ 1151212 h 5973007"/>
              <a:gd name="connsiteX74682" fmla="*/ 1645698 w 6884782"/>
              <a:gd name="connsiteY74682" fmla="*/ 1156633 h 5973007"/>
              <a:gd name="connsiteX74683" fmla="*/ 1641051 w 6884782"/>
              <a:gd name="connsiteY74683" fmla="*/ 1154000 h 5973007"/>
              <a:gd name="connsiteX74684" fmla="*/ 1641051 w 6884782"/>
              <a:gd name="connsiteY74684" fmla="*/ 1146255 h 5973007"/>
              <a:gd name="connsiteX74685" fmla="*/ 1642600 w 6884782"/>
              <a:gd name="connsiteY74685" fmla="*/ 1145326 h 5973007"/>
              <a:gd name="connsiteX74686" fmla="*/ 1630209 w 6884782"/>
              <a:gd name="connsiteY74686" fmla="*/ 1151676 h 5973007"/>
              <a:gd name="connsiteX74687" fmla="*/ 1598097 w 6884782"/>
              <a:gd name="connsiteY74687" fmla="*/ 1136342 h 5973007"/>
              <a:gd name="connsiteX74688" fmla="*/ 1598510 w 6884782"/>
              <a:gd name="connsiteY74688" fmla="*/ 1133554 h 5973007"/>
              <a:gd name="connsiteX74689" fmla="*/ 1598200 w 6884782"/>
              <a:gd name="connsiteY74689" fmla="*/ 1133244 h 5973007"/>
              <a:gd name="connsiteX74690" fmla="*/ 1597271 w 6884782"/>
              <a:gd name="connsiteY74690" fmla="*/ 1130456 h 5973007"/>
              <a:gd name="connsiteX74691" fmla="*/ 1598303 w 6884782"/>
              <a:gd name="connsiteY74691" fmla="*/ 1128907 h 5973007"/>
              <a:gd name="connsiteX74692" fmla="*/ 1597374 w 6884782"/>
              <a:gd name="connsiteY74692" fmla="*/ 1124105 h 5973007"/>
              <a:gd name="connsiteX74693" fmla="*/ 1597477 w 6884782"/>
              <a:gd name="connsiteY74693" fmla="*/ 1123176 h 5973007"/>
              <a:gd name="connsiteX74694" fmla="*/ 1596961 w 6884782"/>
              <a:gd name="connsiteY74694" fmla="*/ 1121471 h 5973007"/>
              <a:gd name="connsiteX74695" fmla="*/ 1593657 w 6884782"/>
              <a:gd name="connsiteY74695" fmla="*/ 1121936 h 5973007"/>
              <a:gd name="connsiteX74696" fmla="*/ 1591592 w 6884782"/>
              <a:gd name="connsiteY74696" fmla="*/ 1119613 h 5973007"/>
              <a:gd name="connsiteX74697" fmla="*/ 1591798 w 6884782"/>
              <a:gd name="connsiteY74697" fmla="*/ 1116205 h 5973007"/>
              <a:gd name="connsiteX74698" fmla="*/ 1593140 w 6884782"/>
              <a:gd name="connsiteY74698" fmla="*/ 1114192 h 5973007"/>
              <a:gd name="connsiteX74699" fmla="*/ 1596032 w 6884782"/>
              <a:gd name="connsiteY74699" fmla="*/ 1113727 h 5973007"/>
              <a:gd name="connsiteX74700" fmla="*/ 1596238 w 6884782"/>
              <a:gd name="connsiteY74700" fmla="*/ 1113727 h 5973007"/>
              <a:gd name="connsiteX74701" fmla="*/ 1600059 w 6884782"/>
              <a:gd name="connsiteY74701" fmla="*/ 1106447 h 5973007"/>
              <a:gd name="connsiteX74702" fmla="*/ 1596032 w 6884782"/>
              <a:gd name="connsiteY74702" fmla="*/ 1105672 h 5973007"/>
              <a:gd name="connsiteX74703" fmla="*/ 1589217 w 6884782"/>
              <a:gd name="connsiteY74703" fmla="*/ 1108925 h 5973007"/>
              <a:gd name="connsiteX74704" fmla="*/ 1583434 w 6884782"/>
              <a:gd name="connsiteY74704" fmla="*/ 1118064 h 5973007"/>
              <a:gd name="connsiteX74705" fmla="*/ 1578271 w 6884782"/>
              <a:gd name="connsiteY74705" fmla="*/ 1120232 h 5973007"/>
              <a:gd name="connsiteX74706" fmla="*/ 1572593 w 6884782"/>
              <a:gd name="connsiteY74706" fmla="*/ 1127977 h 5973007"/>
              <a:gd name="connsiteX74707" fmla="*/ 1570011 w 6884782"/>
              <a:gd name="connsiteY74707" fmla="*/ 1129062 h 5973007"/>
              <a:gd name="connsiteX74708" fmla="*/ 1571457 w 6884782"/>
              <a:gd name="connsiteY74708" fmla="*/ 1126583 h 5973007"/>
              <a:gd name="connsiteX74709" fmla="*/ 1574141 w 6884782"/>
              <a:gd name="connsiteY74709" fmla="*/ 1123950 h 5973007"/>
              <a:gd name="connsiteX74710" fmla="*/ 1574348 w 6884782"/>
              <a:gd name="connsiteY74710" fmla="*/ 1121317 h 5973007"/>
              <a:gd name="connsiteX74711" fmla="*/ 1577032 w 6884782"/>
              <a:gd name="connsiteY74711" fmla="*/ 1120232 h 5973007"/>
              <a:gd name="connsiteX74712" fmla="*/ 1577549 w 6884782"/>
              <a:gd name="connsiteY74712" fmla="*/ 1112178 h 5973007"/>
              <a:gd name="connsiteX74713" fmla="*/ 1585499 w 6884782"/>
              <a:gd name="connsiteY74713" fmla="*/ 1105982 h 5973007"/>
              <a:gd name="connsiteX74714" fmla="*/ 1586532 w 6884782"/>
              <a:gd name="connsiteY74714" fmla="*/ 1091422 h 5973007"/>
              <a:gd name="connsiteX74715" fmla="*/ 1565158 w 6884782"/>
              <a:gd name="connsiteY74715" fmla="*/ 1088324 h 5973007"/>
              <a:gd name="connsiteX74716" fmla="*/ 1559479 w 6884782"/>
              <a:gd name="connsiteY74716" fmla="*/ 1059823 h 5973007"/>
              <a:gd name="connsiteX74717" fmla="*/ 1556691 w 6884782"/>
              <a:gd name="connsiteY74717" fmla="*/ 1058893 h 5973007"/>
              <a:gd name="connsiteX74718" fmla="*/ 1554936 w 6884782"/>
              <a:gd name="connsiteY74718" fmla="*/ 1058739 h 5973007"/>
              <a:gd name="connsiteX74719" fmla="*/ 1553697 w 6884782"/>
              <a:gd name="connsiteY74719" fmla="*/ 1060442 h 5973007"/>
              <a:gd name="connsiteX74720" fmla="*/ 1546159 w 6884782"/>
              <a:gd name="connsiteY74720" fmla="*/ 1061991 h 5973007"/>
              <a:gd name="connsiteX74721" fmla="*/ 1545746 w 6884782"/>
              <a:gd name="connsiteY74721" fmla="*/ 1061217 h 5973007"/>
              <a:gd name="connsiteX74722" fmla="*/ 1542132 w 6884782"/>
              <a:gd name="connsiteY74722" fmla="*/ 1065089 h 5973007"/>
              <a:gd name="connsiteX74723" fmla="*/ 1534078 w 6884782"/>
              <a:gd name="connsiteY74723" fmla="*/ 1054866 h 5973007"/>
              <a:gd name="connsiteX74724" fmla="*/ 1533562 w 6884782"/>
              <a:gd name="connsiteY74724" fmla="*/ 1053008 h 5973007"/>
              <a:gd name="connsiteX74725" fmla="*/ 1532839 w 6884782"/>
              <a:gd name="connsiteY74725" fmla="*/ 1053472 h 5973007"/>
              <a:gd name="connsiteX74726" fmla="*/ 1533149 w 6884782"/>
              <a:gd name="connsiteY74726" fmla="*/ 1052233 h 5973007"/>
              <a:gd name="connsiteX74727" fmla="*/ 1533045 w 6884782"/>
              <a:gd name="connsiteY74727" fmla="*/ 1052078 h 5973007"/>
              <a:gd name="connsiteX74728" fmla="*/ 1532632 w 6884782"/>
              <a:gd name="connsiteY74728" fmla="*/ 1051304 h 5973007"/>
              <a:gd name="connsiteX74729" fmla="*/ 1532942 w 6884782"/>
              <a:gd name="connsiteY74729" fmla="*/ 1047741 h 5973007"/>
              <a:gd name="connsiteX74730" fmla="*/ 1534904 w 6884782"/>
              <a:gd name="connsiteY74730" fmla="*/ 1047121 h 5973007"/>
              <a:gd name="connsiteX74731" fmla="*/ 1539550 w 6884782"/>
              <a:gd name="connsiteY74731" fmla="*/ 1049600 h 5973007"/>
              <a:gd name="connsiteX74732" fmla="*/ 1544816 w 6884782"/>
              <a:gd name="connsiteY74732" fmla="*/ 1046347 h 5973007"/>
              <a:gd name="connsiteX74733" fmla="*/ 1546572 w 6884782"/>
              <a:gd name="connsiteY74733" fmla="*/ 1045108 h 5973007"/>
              <a:gd name="connsiteX74734" fmla="*/ 1546469 w 6884782"/>
              <a:gd name="connsiteY74734" fmla="*/ 1044024 h 5973007"/>
              <a:gd name="connsiteX74735" fmla="*/ 1539964 w 6884782"/>
              <a:gd name="connsiteY74735" fmla="*/ 1046192 h 5973007"/>
              <a:gd name="connsiteX74736" fmla="*/ 1539034 w 6884782"/>
              <a:gd name="connsiteY74736" fmla="*/ 1040771 h 5973007"/>
              <a:gd name="connsiteX74737" fmla="*/ 1548224 w 6884782"/>
              <a:gd name="connsiteY74737" fmla="*/ 1037518 h 5973007"/>
              <a:gd name="connsiteX74738" fmla="*/ 1542958 w 6884782"/>
              <a:gd name="connsiteY74738" fmla="*/ 1020944 h 5973007"/>
              <a:gd name="connsiteX74739" fmla="*/ 1528915 w 6884782"/>
              <a:gd name="connsiteY74739" fmla="*/ 1022493 h 5973007"/>
              <a:gd name="connsiteX74740" fmla="*/ 1527986 w 6884782"/>
              <a:gd name="connsiteY74740" fmla="*/ 1025281 h 5973007"/>
              <a:gd name="connsiteX74741" fmla="*/ 1528399 w 6884782"/>
              <a:gd name="connsiteY74741" fmla="*/ 1028224 h 5973007"/>
              <a:gd name="connsiteX74742" fmla="*/ 1529328 w 6884782"/>
              <a:gd name="connsiteY74742" fmla="*/ 1028224 h 5973007"/>
              <a:gd name="connsiteX74743" fmla="*/ 1533149 w 6884782"/>
              <a:gd name="connsiteY74743" fmla="*/ 1030083 h 5973007"/>
              <a:gd name="connsiteX74744" fmla="*/ 1533665 w 6884782"/>
              <a:gd name="connsiteY74744" fmla="*/ 1028688 h 5973007"/>
              <a:gd name="connsiteX74745" fmla="*/ 1537485 w 6884782"/>
              <a:gd name="connsiteY74745" fmla="*/ 1027295 h 5973007"/>
              <a:gd name="connsiteX74746" fmla="*/ 1536763 w 6884782"/>
              <a:gd name="connsiteY74746" fmla="*/ 1027759 h 5973007"/>
              <a:gd name="connsiteX74747" fmla="*/ 1537692 w 6884782"/>
              <a:gd name="connsiteY74747" fmla="*/ 1029153 h 5973007"/>
              <a:gd name="connsiteX74748" fmla="*/ 1538518 w 6884782"/>
              <a:gd name="connsiteY74748" fmla="*/ 1028844 h 5973007"/>
              <a:gd name="connsiteX74749" fmla="*/ 1538621 w 6884782"/>
              <a:gd name="connsiteY74749" fmla="*/ 1030702 h 5973007"/>
              <a:gd name="connsiteX74750" fmla="*/ 1534801 w 6884782"/>
              <a:gd name="connsiteY74750" fmla="*/ 1035659 h 5973007"/>
              <a:gd name="connsiteX74751" fmla="*/ 1533149 w 6884782"/>
              <a:gd name="connsiteY74751" fmla="*/ 1034420 h 5973007"/>
              <a:gd name="connsiteX74752" fmla="*/ 1533045 w 6884782"/>
              <a:gd name="connsiteY74752" fmla="*/ 1036588 h 5973007"/>
              <a:gd name="connsiteX74753" fmla="*/ 1531600 w 6884782"/>
              <a:gd name="connsiteY74753" fmla="*/ 1038602 h 5973007"/>
              <a:gd name="connsiteX74754" fmla="*/ 1528399 w 6884782"/>
              <a:gd name="connsiteY74754" fmla="*/ 1041235 h 5973007"/>
              <a:gd name="connsiteX74755" fmla="*/ 1529948 w 6884782"/>
              <a:gd name="connsiteY74755" fmla="*/ 1042319 h 5973007"/>
              <a:gd name="connsiteX74756" fmla="*/ 1531083 w 6884782"/>
              <a:gd name="connsiteY74756" fmla="*/ 1044333 h 5973007"/>
              <a:gd name="connsiteX74757" fmla="*/ 1530567 w 6884782"/>
              <a:gd name="connsiteY74757" fmla="*/ 1046347 h 5973007"/>
              <a:gd name="connsiteX74758" fmla="*/ 1529741 w 6884782"/>
              <a:gd name="connsiteY74758" fmla="*/ 1046502 h 5973007"/>
              <a:gd name="connsiteX74759" fmla="*/ 1526540 w 6884782"/>
              <a:gd name="connsiteY74759" fmla="*/ 1047431 h 5973007"/>
              <a:gd name="connsiteX74760" fmla="*/ 1524372 w 6884782"/>
              <a:gd name="connsiteY74760" fmla="*/ 1045728 h 5973007"/>
              <a:gd name="connsiteX74761" fmla="*/ 1523442 w 6884782"/>
              <a:gd name="connsiteY74761" fmla="*/ 1043869 h 5973007"/>
              <a:gd name="connsiteX74762" fmla="*/ 1522513 w 6884782"/>
              <a:gd name="connsiteY74762" fmla="*/ 1044178 h 5973007"/>
              <a:gd name="connsiteX74763" fmla="*/ 1515285 w 6884782"/>
              <a:gd name="connsiteY74763" fmla="*/ 1041855 h 5973007"/>
              <a:gd name="connsiteX74764" fmla="*/ 1515492 w 6884782"/>
              <a:gd name="connsiteY74764" fmla="*/ 1040925 h 5973007"/>
              <a:gd name="connsiteX74765" fmla="*/ 1509916 w 6884782"/>
              <a:gd name="connsiteY74765" fmla="*/ 1042319 h 5973007"/>
              <a:gd name="connsiteX74766" fmla="*/ 1508367 w 6884782"/>
              <a:gd name="connsiteY74766" fmla="*/ 1035969 h 5973007"/>
              <a:gd name="connsiteX74767" fmla="*/ 1510432 w 6884782"/>
              <a:gd name="connsiteY74767" fmla="*/ 1029928 h 5973007"/>
              <a:gd name="connsiteX74768" fmla="*/ 1511362 w 6884782"/>
              <a:gd name="connsiteY74768" fmla="*/ 1028224 h 5973007"/>
              <a:gd name="connsiteX74769" fmla="*/ 1510432 w 6884782"/>
              <a:gd name="connsiteY74769" fmla="*/ 1028224 h 5973007"/>
              <a:gd name="connsiteX74770" fmla="*/ 1511465 w 6884782"/>
              <a:gd name="connsiteY74770" fmla="*/ 1027295 h 5973007"/>
              <a:gd name="connsiteX74771" fmla="*/ 1511362 w 6884782"/>
              <a:gd name="connsiteY74771" fmla="*/ 1027295 h 5973007"/>
              <a:gd name="connsiteX74772" fmla="*/ 1501965 w 6884782"/>
              <a:gd name="connsiteY74772" fmla="*/ 1026055 h 5973007"/>
              <a:gd name="connsiteX74773" fmla="*/ 1513220 w 6884782"/>
              <a:gd name="connsiteY74773" fmla="*/ 1020169 h 5973007"/>
              <a:gd name="connsiteX74774" fmla="*/ 1522616 w 6884782"/>
              <a:gd name="connsiteY74774" fmla="*/ 1015368 h 5973007"/>
              <a:gd name="connsiteX74775" fmla="*/ 1522513 w 6884782"/>
              <a:gd name="connsiteY74775" fmla="*/ 1015058 h 5973007"/>
              <a:gd name="connsiteX74776" fmla="*/ 1522720 w 6884782"/>
              <a:gd name="connsiteY74776" fmla="*/ 1015368 h 5973007"/>
              <a:gd name="connsiteX74777" fmla="*/ 1523236 w 6884782"/>
              <a:gd name="connsiteY74777" fmla="*/ 1015058 h 5973007"/>
              <a:gd name="connsiteX74778" fmla="*/ 1524165 w 6884782"/>
              <a:gd name="connsiteY74778" fmla="*/ 1014593 h 5973007"/>
              <a:gd name="connsiteX74779" fmla="*/ 1523546 w 6884782"/>
              <a:gd name="connsiteY74779" fmla="*/ 1012270 h 5973007"/>
              <a:gd name="connsiteX74780" fmla="*/ 1524888 w 6884782"/>
              <a:gd name="connsiteY74780" fmla="*/ 1010566 h 5973007"/>
              <a:gd name="connsiteX74781" fmla="*/ 1528089 w 6884782"/>
              <a:gd name="connsiteY74781" fmla="*/ 1008707 h 5973007"/>
              <a:gd name="connsiteX74782" fmla="*/ 1529018 w 6884782"/>
              <a:gd name="connsiteY74782" fmla="*/ 1008862 h 5973007"/>
              <a:gd name="connsiteX74783" fmla="*/ 1528399 w 6884782"/>
              <a:gd name="connsiteY74783" fmla="*/ 1008242 h 5973007"/>
              <a:gd name="connsiteX74784" fmla="*/ 1528192 w 6884782"/>
              <a:gd name="connsiteY74784" fmla="*/ 1004835 h 5973007"/>
              <a:gd name="connsiteX74785" fmla="*/ 1529431 w 6884782"/>
              <a:gd name="connsiteY74785" fmla="*/ 1002666 h 5973007"/>
              <a:gd name="connsiteX74786" fmla="*/ 1532219 w 6884782"/>
              <a:gd name="connsiteY74786" fmla="*/ 1001737 h 5973007"/>
              <a:gd name="connsiteX74787" fmla="*/ 1534594 w 6884782"/>
              <a:gd name="connsiteY74787" fmla="*/ 1002511 h 5973007"/>
              <a:gd name="connsiteX74788" fmla="*/ 1536246 w 6884782"/>
              <a:gd name="connsiteY74788" fmla="*/ 1004680 h 5973007"/>
              <a:gd name="connsiteX74789" fmla="*/ 1536969 w 6884782"/>
              <a:gd name="connsiteY74789" fmla="*/ 1006229 h 5973007"/>
              <a:gd name="connsiteX74790" fmla="*/ 1537589 w 6884782"/>
              <a:gd name="connsiteY74790" fmla="*/ 1005764 h 5973007"/>
              <a:gd name="connsiteX74791" fmla="*/ 1536866 w 6884782"/>
              <a:gd name="connsiteY74791" fmla="*/ 997709 h 5973007"/>
              <a:gd name="connsiteX74792" fmla="*/ 1536246 w 6884782"/>
              <a:gd name="connsiteY74792" fmla="*/ 988106 h 5973007"/>
              <a:gd name="connsiteX74793" fmla="*/ 1537175 w 6884782"/>
              <a:gd name="connsiteY74793" fmla="*/ 974785 h 5973007"/>
              <a:gd name="connsiteX74794" fmla="*/ 1530051 w 6884782"/>
              <a:gd name="connsiteY74794" fmla="*/ 967660 h 5973007"/>
              <a:gd name="connsiteX74795" fmla="*/ 1507541 w 6884782"/>
              <a:gd name="connsiteY74795" fmla="*/ 961928 h 5973007"/>
              <a:gd name="connsiteX74796" fmla="*/ 1497422 w 6884782"/>
              <a:gd name="connsiteY74796" fmla="*/ 961154 h 5973007"/>
              <a:gd name="connsiteX74797" fmla="*/ 1492775 w 6884782"/>
              <a:gd name="connsiteY74797" fmla="*/ 954183 h 5973007"/>
              <a:gd name="connsiteX74798" fmla="*/ 1538311 w 6884782"/>
              <a:gd name="connsiteY74798" fmla="*/ 957437 h 5973007"/>
              <a:gd name="connsiteX74799" fmla="*/ 1538311 w 6884782"/>
              <a:gd name="connsiteY74799" fmla="*/ 938694 h 5973007"/>
              <a:gd name="connsiteX74800" fmla="*/ 1533768 w 6884782"/>
              <a:gd name="connsiteY74800" fmla="*/ 935131 h 5973007"/>
              <a:gd name="connsiteX74801" fmla="*/ 1532116 w 6884782"/>
              <a:gd name="connsiteY74801" fmla="*/ 936061 h 5973007"/>
              <a:gd name="connsiteX74802" fmla="*/ 1528192 w 6884782"/>
              <a:gd name="connsiteY74802" fmla="*/ 932034 h 5973007"/>
              <a:gd name="connsiteX74803" fmla="*/ 1529535 w 6884782"/>
              <a:gd name="connsiteY74803" fmla="*/ 931724 h 5973007"/>
              <a:gd name="connsiteX74804" fmla="*/ 1529535 w 6884782"/>
              <a:gd name="connsiteY74804" fmla="*/ 931569 h 5973007"/>
              <a:gd name="connsiteX74805" fmla="*/ 1527779 w 6884782"/>
              <a:gd name="connsiteY74805" fmla="*/ 925838 h 5973007"/>
              <a:gd name="connsiteX74806" fmla="*/ 1544507 w 6884782"/>
              <a:gd name="connsiteY74806" fmla="*/ 922894 h 5973007"/>
              <a:gd name="connsiteX74807" fmla="*/ 1544197 w 6884782"/>
              <a:gd name="connsiteY74807" fmla="*/ 902913 h 5973007"/>
              <a:gd name="connsiteX74808" fmla="*/ 1544300 w 6884782"/>
              <a:gd name="connsiteY74808" fmla="*/ 902293 h 5973007"/>
              <a:gd name="connsiteX74809" fmla="*/ 1541512 w 6884782"/>
              <a:gd name="connsiteY74809" fmla="*/ 900435 h 5973007"/>
              <a:gd name="connsiteX74810" fmla="*/ 1528502 w 6884782"/>
              <a:gd name="connsiteY74810" fmla="*/ 893929 h 5973007"/>
              <a:gd name="connsiteX74811" fmla="*/ 1527160 w 6884782"/>
              <a:gd name="connsiteY74811" fmla="*/ 893000 h 5973007"/>
              <a:gd name="connsiteX74812" fmla="*/ 1525301 w 6884782"/>
              <a:gd name="connsiteY74812" fmla="*/ 895788 h 5973007"/>
              <a:gd name="connsiteX74813" fmla="*/ 1524372 w 6884782"/>
              <a:gd name="connsiteY74813" fmla="*/ 895478 h 5973007"/>
              <a:gd name="connsiteX74814" fmla="*/ 1524268 w 6884782"/>
              <a:gd name="connsiteY74814" fmla="*/ 896562 h 5973007"/>
              <a:gd name="connsiteX74815" fmla="*/ 1522720 w 6884782"/>
              <a:gd name="connsiteY74815" fmla="*/ 899195 h 5973007"/>
              <a:gd name="connsiteX74816" fmla="*/ 1511362 w 6884782"/>
              <a:gd name="connsiteY74816" fmla="*/ 901364 h 5973007"/>
              <a:gd name="connsiteX74817" fmla="*/ 1507334 w 6884782"/>
              <a:gd name="connsiteY74817" fmla="*/ 893929 h 5973007"/>
              <a:gd name="connsiteX74818" fmla="*/ 1507334 w 6884782"/>
              <a:gd name="connsiteY74818" fmla="*/ 894859 h 5973007"/>
              <a:gd name="connsiteX74819" fmla="*/ 1494840 w 6884782"/>
              <a:gd name="connsiteY74819" fmla="*/ 903842 h 5973007"/>
              <a:gd name="connsiteX74820" fmla="*/ 1495873 w 6884782"/>
              <a:gd name="connsiteY74820" fmla="*/ 901209 h 5973007"/>
              <a:gd name="connsiteX74821" fmla="*/ 1496699 w 6884782"/>
              <a:gd name="connsiteY74821" fmla="*/ 900435 h 5973007"/>
              <a:gd name="connsiteX74822" fmla="*/ 1496802 w 6884782"/>
              <a:gd name="connsiteY74822" fmla="*/ 899505 h 5973007"/>
              <a:gd name="connsiteX74823" fmla="*/ 1497629 w 6884782"/>
              <a:gd name="connsiteY74823" fmla="*/ 899505 h 5973007"/>
              <a:gd name="connsiteX74824" fmla="*/ 1499487 w 6884782"/>
              <a:gd name="connsiteY74824" fmla="*/ 897647 h 5973007"/>
              <a:gd name="connsiteX74825" fmla="*/ 1502275 w 6884782"/>
              <a:gd name="connsiteY74825" fmla="*/ 892535 h 5973007"/>
              <a:gd name="connsiteX74826" fmla="*/ 1507644 w 6884782"/>
              <a:gd name="connsiteY74826" fmla="*/ 888817 h 5973007"/>
              <a:gd name="connsiteX74827" fmla="*/ 1509297 w 6884782"/>
              <a:gd name="connsiteY74827" fmla="*/ 890521 h 5973007"/>
              <a:gd name="connsiteX74828" fmla="*/ 1511052 w 6884782"/>
              <a:gd name="connsiteY74828" fmla="*/ 888817 h 5973007"/>
              <a:gd name="connsiteX74829" fmla="*/ 1516111 w 6884782"/>
              <a:gd name="connsiteY74829" fmla="*/ 886184 h 5973007"/>
              <a:gd name="connsiteX74830" fmla="*/ 1520448 w 6884782"/>
              <a:gd name="connsiteY74830" fmla="*/ 888198 h 5973007"/>
              <a:gd name="connsiteX74831" fmla="*/ 1520655 w 6884782"/>
              <a:gd name="connsiteY74831" fmla="*/ 888043 h 5973007"/>
              <a:gd name="connsiteX74832" fmla="*/ 1515802 w 6884782"/>
              <a:gd name="connsiteY74832" fmla="*/ 883241 h 5973007"/>
              <a:gd name="connsiteX74833" fmla="*/ 1548121 w 6884782"/>
              <a:gd name="connsiteY74833" fmla="*/ 895788 h 5973007"/>
              <a:gd name="connsiteX74834" fmla="*/ 1548843 w 6884782"/>
              <a:gd name="connsiteY74834" fmla="*/ 897182 h 5973007"/>
              <a:gd name="connsiteX74835" fmla="*/ 1554523 w 6884782"/>
              <a:gd name="connsiteY74835" fmla="*/ 896252 h 5973007"/>
              <a:gd name="connsiteX74836" fmla="*/ 1564126 w 6884782"/>
              <a:gd name="connsiteY74836" fmla="*/ 894859 h 5973007"/>
              <a:gd name="connsiteX74837" fmla="*/ 1561751 w 6884782"/>
              <a:gd name="connsiteY74837" fmla="*/ 874567 h 5973007"/>
              <a:gd name="connsiteX74838" fmla="*/ 1566707 w 6884782"/>
              <a:gd name="connsiteY74838" fmla="*/ 874877 h 5973007"/>
              <a:gd name="connsiteX74839" fmla="*/ 1570321 w 6884782"/>
              <a:gd name="connsiteY74839" fmla="*/ 877820 h 5973007"/>
              <a:gd name="connsiteX74840" fmla="*/ 1586016 w 6884782"/>
              <a:gd name="connsiteY74840" fmla="*/ 872244 h 5973007"/>
              <a:gd name="connsiteX74841" fmla="*/ 1585603 w 6884782"/>
              <a:gd name="connsiteY74841" fmla="*/ 858768 h 5973007"/>
              <a:gd name="connsiteX74842" fmla="*/ 1583228 w 6884782"/>
              <a:gd name="connsiteY74842" fmla="*/ 857219 h 5973007"/>
              <a:gd name="connsiteX74843" fmla="*/ 1579820 w 6884782"/>
              <a:gd name="connsiteY74843" fmla="*/ 851642 h 5973007"/>
              <a:gd name="connsiteX74844" fmla="*/ 1582505 w 6884782"/>
              <a:gd name="connsiteY74844" fmla="*/ 847770 h 5973007"/>
              <a:gd name="connsiteX74845" fmla="*/ 1588804 w 6884782"/>
              <a:gd name="connsiteY74845" fmla="*/ 849628 h 5973007"/>
              <a:gd name="connsiteX74846" fmla="*/ 1592314 w 6884782"/>
              <a:gd name="connsiteY74846" fmla="*/ 853966 h 5973007"/>
              <a:gd name="connsiteX74847" fmla="*/ 1593347 w 6884782"/>
              <a:gd name="connsiteY74847" fmla="*/ 856754 h 5973007"/>
              <a:gd name="connsiteX74848" fmla="*/ 1604911 w 6884782"/>
              <a:gd name="connsiteY74848" fmla="*/ 856134 h 5973007"/>
              <a:gd name="connsiteX74849" fmla="*/ 1608319 w 6884782"/>
              <a:gd name="connsiteY74849" fmla="*/ 842968 h 5973007"/>
              <a:gd name="connsiteX74850" fmla="*/ 1628557 w 6884782"/>
              <a:gd name="connsiteY74850" fmla="*/ 844517 h 5973007"/>
              <a:gd name="connsiteX74851" fmla="*/ 1624737 w 6884782"/>
              <a:gd name="connsiteY74851" fmla="*/ 825465 h 5973007"/>
              <a:gd name="connsiteX74852" fmla="*/ 1629796 w 6884782"/>
              <a:gd name="connsiteY74852" fmla="*/ 825775 h 5973007"/>
              <a:gd name="connsiteX74853" fmla="*/ 1632997 w 6884782"/>
              <a:gd name="connsiteY74853" fmla="*/ 835378 h 5973007"/>
              <a:gd name="connsiteX74854" fmla="*/ 1657263 w 6884782"/>
              <a:gd name="connsiteY74854" fmla="*/ 833210 h 5973007"/>
              <a:gd name="connsiteX74855" fmla="*/ 1663768 w 6884782"/>
              <a:gd name="connsiteY74855" fmla="*/ 812144 h 5973007"/>
              <a:gd name="connsiteX74856" fmla="*/ 1667278 w 6884782"/>
              <a:gd name="connsiteY74856" fmla="*/ 816481 h 5973007"/>
              <a:gd name="connsiteX74857" fmla="*/ 1669757 w 6884782"/>
              <a:gd name="connsiteY74857" fmla="*/ 818030 h 5973007"/>
              <a:gd name="connsiteX74858" fmla="*/ 1673061 w 6884782"/>
              <a:gd name="connsiteY74858" fmla="*/ 806103 h 5973007"/>
              <a:gd name="connsiteX74859" fmla="*/ 1674816 w 6884782"/>
              <a:gd name="connsiteY74859" fmla="*/ 813228 h 5973007"/>
              <a:gd name="connsiteX74860" fmla="*/ 1677088 w 6884782"/>
              <a:gd name="connsiteY74860" fmla="*/ 810440 h 5973007"/>
              <a:gd name="connsiteX74861" fmla="*/ 1685038 w 6884782"/>
              <a:gd name="connsiteY74861" fmla="*/ 817410 h 5973007"/>
              <a:gd name="connsiteX74862" fmla="*/ 1687207 w 6884782"/>
              <a:gd name="connsiteY74862" fmla="*/ 822677 h 5973007"/>
              <a:gd name="connsiteX74863" fmla="*/ 1689685 w 6884782"/>
              <a:gd name="connsiteY74863" fmla="*/ 823451 h 5973007"/>
              <a:gd name="connsiteX74864" fmla="*/ 1694022 w 6884782"/>
              <a:gd name="connsiteY74864" fmla="*/ 834604 h 5973007"/>
              <a:gd name="connsiteX74865" fmla="*/ 1712505 w 6884782"/>
              <a:gd name="connsiteY74865" fmla="*/ 842659 h 5973007"/>
              <a:gd name="connsiteX74866" fmla="*/ 1719320 w 6884782"/>
              <a:gd name="connsiteY74866" fmla="*/ 817565 h 5973007"/>
              <a:gd name="connsiteX74867" fmla="*/ 1724379 w 6884782"/>
              <a:gd name="connsiteY74867" fmla="*/ 818030 h 5973007"/>
              <a:gd name="connsiteX74868" fmla="*/ 1725205 w 6884782"/>
              <a:gd name="connsiteY74868" fmla="*/ 837857 h 5973007"/>
              <a:gd name="connsiteX74869" fmla="*/ 1727993 w 6884782"/>
              <a:gd name="connsiteY74869" fmla="*/ 843278 h 5973007"/>
              <a:gd name="connsiteX74870" fmla="*/ 1728922 w 6884782"/>
              <a:gd name="connsiteY74870" fmla="*/ 841419 h 5973007"/>
              <a:gd name="connsiteX74871" fmla="*/ 1730574 w 6884782"/>
              <a:gd name="connsiteY74871" fmla="*/ 841574 h 5973007"/>
              <a:gd name="connsiteX74872" fmla="*/ 1729439 w 6884782"/>
              <a:gd name="connsiteY74872" fmla="*/ 843743 h 5973007"/>
              <a:gd name="connsiteX74873" fmla="*/ 1728922 w 6884782"/>
              <a:gd name="connsiteY74873" fmla="*/ 844982 h 5973007"/>
              <a:gd name="connsiteX74874" fmla="*/ 1728922 w 6884782"/>
              <a:gd name="connsiteY74874" fmla="*/ 845136 h 5973007"/>
              <a:gd name="connsiteX74875" fmla="*/ 1733982 w 6884782"/>
              <a:gd name="connsiteY74875" fmla="*/ 845602 h 5973007"/>
              <a:gd name="connsiteX74876" fmla="*/ 1735118 w 6884782"/>
              <a:gd name="connsiteY74876" fmla="*/ 848235 h 5973007"/>
              <a:gd name="connsiteX74877" fmla="*/ 1738835 w 6884782"/>
              <a:gd name="connsiteY74877" fmla="*/ 849938 h 5973007"/>
              <a:gd name="connsiteX74878" fmla="*/ 1741933 w 6884782"/>
              <a:gd name="connsiteY74878" fmla="*/ 859542 h 5973007"/>
              <a:gd name="connsiteX74879" fmla="*/ 1750400 w 6884782"/>
              <a:gd name="connsiteY74879" fmla="*/ 860781 h 5973007"/>
              <a:gd name="connsiteX74880" fmla="*/ 1752362 w 6884782"/>
              <a:gd name="connsiteY74880" fmla="*/ 859697 h 5973007"/>
              <a:gd name="connsiteX74881" fmla="*/ 1752362 w 6884782"/>
              <a:gd name="connsiteY74881" fmla="*/ 857993 h 5973007"/>
              <a:gd name="connsiteX74882" fmla="*/ 1751432 w 6884782"/>
              <a:gd name="connsiteY74882" fmla="*/ 857993 h 5973007"/>
              <a:gd name="connsiteX74883" fmla="*/ 1748128 w 6884782"/>
              <a:gd name="connsiteY74883" fmla="*/ 857219 h 5973007"/>
              <a:gd name="connsiteX74884" fmla="*/ 1750193 w 6884782"/>
              <a:gd name="connsiteY74884" fmla="*/ 855980 h 5973007"/>
              <a:gd name="connsiteX74885" fmla="*/ 1752465 w 6884782"/>
              <a:gd name="connsiteY74885" fmla="*/ 855825 h 5973007"/>
              <a:gd name="connsiteX74886" fmla="*/ 1752465 w 6884782"/>
              <a:gd name="connsiteY74886" fmla="*/ 853656 h 5973007"/>
              <a:gd name="connsiteX74887" fmla="*/ 1758247 w 6884782"/>
              <a:gd name="connsiteY74887" fmla="*/ 845136 h 5973007"/>
              <a:gd name="connsiteX74888" fmla="*/ 1772497 w 6884782"/>
              <a:gd name="connsiteY74888" fmla="*/ 854430 h 5973007"/>
              <a:gd name="connsiteX74889" fmla="*/ 1772703 w 6884782"/>
              <a:gd name="connsiteY74889" fmla="*/ 855825 h 5973007"/>
              <a:gd name="connsiteX74890" fmla="*/ 1773839 w 6884782"/>
              <a:gd name="connsiteY74890" fmla="*/ 855050 h 5973007"/>
              <a:gd name="connsiteX74891" fmla="*/ 1784784 w 6884782"/>
              <a:gd name="connsiteY74891" fmla="*/ 851952 h 5973007"/>
              <a:gd name="connsiteX74892" fmla="*/ 1784268 w 6884782"/>
              <a:gd name="connsiteY74892" fmla="*/ 855360 h 5973007"/>
              <a:gd name="connsiteX74893" fmla="*/ 1782512 w 6884782"/>
              <a:gd name="connsiteY74893" fmla="*/ 855205 h 5973007"/>
              <a:gd name="connsiteX74894" fmla="*/ 1776214 w 6884782"/>
              <a:gd name="connsiteY74894" fmla="*/ 858303 h 5973007"/>
              <a:gd name="connsiteX74895" fmla="*/ 1773219 w 6884782"/>
              <a:gd name="connsiteY74895" fmla="*/ 858613 h 5973007"/>
              <a:gd name="connsiteX74896" fmla="*/ 1773426 w 6884782"/>
              <a:gd name="connsiteY74896" fmla="*/ 859852 h 5973007"/>
              <a:gd name="connsiteX74897" fmla="*/ 1771567 w 6884782"/>
              <a:gd name="connsiteY74897" fmla="*/ 861711 h 5973007"/>
              <a:gd name="connsiteX74898" fmla="*/ 1774562 w 6884782"/>
              <a:gd name="connsiteY74898" fmla="*/ 861556 h 5973007"/>
              <a:gd name="connsiteX74899" fmla="*/ 1779415 w 6884782"/>
              <a:gd name="connsiteY74899" fmla="*/ 860626 h 5973007"/>
              <a:gd name="connsiteX74900" fmla="*/ 1781820 w 6884782"/>
              <a:gd name="connsiteY74900" fmla="*/ 860976 h 5973007"/>
              <a:gd name="connsiteX74901" fmla="*/ 1782512 w 6884782"/>
              <a:gd name="connsiteY74901" fmla="*/ 861865 h 5973007"/>
              <a:gd name="connsiteX74902" fmla="*/ 1771670 w 6884782"/>
              <a:gd name="connsiteY74902" fmla="*/ 862950 h 5973007"/>
              <a:gd name="connsiteX74903" fmla="*/ 1770638 w 6884782"/>
              <a:gd name="connsiteY74903" fmla="*/ 862795 h 5973007"/>
              <a:gd name="connsiteX74904" fmla="*/ 1765785 w 6884782"/>
              <a:gd name="connsiteY74904" fmla="*/ 867906 h 5973007"/>
              <a:gd name="connsiteX74905" fmla="*/ 1761241 w 6884782"/>
              <a:gd name="connsiteY74905" fmla="*/ 867132 h 5973007"/>
              <a:gd name="connsiteX74906" fmla="*/ 1761035 w 6884782"/>
              <a:gd name="connsiteY74906" fmla="*/ 867906 h 5973007"/>
              <a:gd name="connsiteX74907" fmla="*/ 1763926 w 6884782"/>
              <a:gd name="connsiteY74907" fmla="*/ 873328 h 5973007"/>
              <a:gd name="connsiteX74908" fmla="*/ 1768779 w 6884782"/>
              <a:gd name="connsiteY74908" fmla="*/ 876271 h 5973007"/>
              <a:gd name="connsiteX74909" fmla="*/ 1769915 w 6884782"/>
              <a:gd name="connsiteY74909" fmla="*/ 879059 h 5973007"/>
              <a:gd name="connsiteX74910" fmla="*/ 1800066 w 6884782"/>
              <a:gd name="connsiteY74910" fmla="*/ 884015 h 5973007"/>
              <a:gd name="connsiteX74911" fmla="*/ 1801615 w 6884782"/>
              <a:gd name="connsiteY74911" fmla="*/ 901519 h 5973007"/>
              <a:gd name="connsiteX74912" fmla="*/ 1800479 w 6884782"/>
              <a:gd name="connsiteY74912" fmla="*/ 906321 h 5973007"/>
              <a:gd name="connsiteX74913" fmla="*/ 1805126 w 6884782"/>
              <a:gd name="connsiteY74913" fmla="*/ 907095 h 5973007"/>
              <a:gd name="connsiteX74914" fmla="*/ 1808842 w 6884782"/>
              <a:gd name="connsiteY74914" fmla="*/ 902293 h 5973007"/>
              <a:gd name="connsiteX74915" fmla="*/ 1812147 w 6884782"/>
              <a:gd name="connsiteY74915" fmla="*/ 894239 h 5973007"/>
              <a:gd name="connsiteX74916" fmla="*/ 1814832 w 6884782"/>
              <a:gd name="connsiteY74916" fmla="*/ 886959 h 5973007"/>
              <a:gd name="connsiteX74917" fmla="*/ 1814832 w 6884782"/>
              <a:gd name="connsiteY74917" fmla="*/ 893774 h 5973007"/>
              <a:gd name="connsiteX74918" fmla="*/ 1813179 w 6884782"/>
              <a:gd name="connsiteY74918" fmla="*/ 901209 h 5973007"/>
              <a:gd name="connsiteX74919" fmla="*/ 1817413 w 6884782"/>
              <a:gd name="connsiteY74919" fmla="*/ 896562 h 5973007"/>
              <a:gd name="connsiteX74920" fmla="*/ 1815864 w 6884782"/>
              <a:gd name="connsiteY74920" fmla="*/ 891450 h 5973007"/>
              <a:gd name="connsiteX74921" fmla="*/ 1821750 w 6884782"/>
              <a:gd name="connsiteY74921" fmla="*/ 881692 h 5973007"/>
              <a:gd name="connsiteX74922" fmla="*/ 1822989 w 6884782"/>
              <a:gd name="connsiteY74922" fmla="*/ 881847 h 5973007"/>
              <a:gd name="connsiteX74923" fmla="*/ 1822472 w 6884782"/>
              <a:gd name="connsiteY74923" fmla="*/ 883086 h 5973007"/>
              <a:gd name="connsiteX74924" fmla="*/ 1826500 w 6884782"/>
              <a:gd name="connsiteY74924" fmla="*/ 885100 h 5973007"/>
              <a:gd name="connsiteX74925" fmla="*/ 1826706 w 6884782"/>
              <a:gd name="connsiteY74925" fmla="*/ 885410 h 5973007"/>
              <a:gd name="connsiteX74926" fmla="*/ 1828978 w 6884782"/>
              <a:gd name="connsiteY74926" fmla="*/ 882312 h 5973007"/>
              <a:gd name="connsiteX74927" fmla="*/ 1833108 w 6884782"/>
              <a:gd name="connsiteY74927" fmla="*/ 874412 h 5973007"/>
              <a:gd name="connsiteX74928" fmla="*/ 1836412 w 6884782"/>
              <a:gd name="connsiteY74928" fmla="*/ 869765 h 5973007"/>
              <a:gd name="connsiteX74929" fmla="*/ 1847770 w 6884782"/>
              <a:gd name="connsiteY74929" fmla="*/ 859542 h 5973007"/>
              <a:gd name="connsiteX74930" fmla="*/ 1849423 w 6884782"/>
              <a:gd name="connsiteY74930" fmla="*/ 851487 h 5973007"/>
              <a:gd name="connsiteX74931" fmla="*/ 1850352 w 6884782"/>
              <a:gd name="connsiteY74931" fmla="*/ 850403 h 5973007"/>
              <a:gd name="connsiteX74932" fmla="*/ 1848390 w 6884782"/>
              <a:gd name="connsiteY74932" fmla="*/ 848235 h 5973007"/>
              <a:gd name="connsiteX74933" fmla="*/ 1842917 w 6884782"/>
              <a:gd name="connsiteY74933" fmla="*/ 834759 h 5973007"/>
              <a:gd name="connsiteX74934" fmla="*/ 1850765 w 6884782"/>
              <a:gd name="connsiteY74934" fmla="*/ 838631 h 5973007"/>
              <a:gd name="connsiteX74935" fmla="*/ 1856031 w 6884782"/>
              <a:gd name="connsiteY74935" fmla="*/ 844207 h 5973007"/>
              <a:gd name="connsiteX74936" fmla="*/ 1862846 w 6884782"/>
              <a:gd name="connsiteY74936" fmla="*/ 835533 h 5973007"/>
              <a:gd name="connsiteX74937" fmla="*/ 1866666 w 6884782"/>
              <a:gd name="connsiteY74937" fmla="*/ 830422 h 5973007"/>
              <a:gd name="connsiteX74938" fmla="*/ 1869867 w 6884782"/>
              <a:gd name="connsiteY74938" fmla="*/ 825310 h 5973007"/>
              <a:gd name="connsiteX74939" fmla="*/ 1875340 w 6884782"/>
              <a:gd name="connsiteY74939" fmla="*/ 813383 h 5973007"/>
              <a:gd name="connsiteX74940" fmla="*/ 1879676 w 6884782"/>
              <a:gd name="connsiteY74940" fmla="*/ 813847 h 5973007"/>
              <a:gd name="connsiteX74941" fmla="*/ 1874204 w 6884782"/>
              <a:gd name="connsiteY74941" fmla="*/ 817875 h 5973007"/>
              <a:gd name="connsiteX74942" fmla="*/ 1888350 w 6884782"/>
              <a:gd name="connsiteY74942" fmla="*/ 808736 h 5973007"/>
              <a:gd name="connsiteX74943" fmla="*/ 1884013 w 6884782"/>
              <a:gd name="connsiteY74943" fmla="*/ 808116 h 5973007"/>
              <a:gd name="connsiteX74944" fmla="*/ 1900225 w 6884782"/>
              <a:gd name="connsiteY74944" fmla="*/ 792782 h 5973007"/>
              <a:gd name="connsiteX74945" fmla="*/ 1902290 w 6884782"/>
              <a:gd name="connsiteY74945" fmla="*/ 791852 h 5973007"/>
              <a:gd name="connsiteX74946" fmla="*/ 1902393 w 6884782"/>
              <a:gd name="connsiteY74946" fmla="*/ 791852 h 5973007"/>
              <a:gd name="connsiteX74947" fmla="*/ 1908278 w 6884782"/>
              <a:gd name="connsiteY74947" fmla="*/ 786121 h 5973007"/>
              <a:gd name="connsiteX74948" fmla="*/ 1909931 w 6884782"/>
              <a:gd name="connsiteY74948" fmla="*/ 786741 h 5973007"/>
              <a:gd name="connsiteX74949" fmla="*/ 1910447 w 6884782"/>
              <a:gd name="connsiteY74949" fmla="*/ 785966 h 5973007"/>
              <a:gd name="connsiteX74950" fmla="*/ 1906626 w 6884782"/>
              <a:gd name="connsiteY74950" fmla="*/ 785966 h 5973007"/>
              <a:gd name="connsiteX74951" fmla="*/ 1918604 w 6884782"/>
              <a:gd name="connsiteY74951" fmla="*/ 772180 h 5973007"/>
              <a:gd name="connsiteX74952" fmla="*/ 1927174 w 6884782"/>
              <a:gd name="connsiteY74952" fmla="*/ 771716 h 5973007"/>
              <a:gd name="connsiteX74953" fmla="*/ 1936880 w 6884782"/>
              <a:gd name="connsiteY74953" fmla="*/ 759169 h 5973007"/>
              <a:gd name="connsiteX74954" fmla="*/ 1943386 w 6884782"/>
              <a:gd name="connsiteY74954" fmla="*/ 752819 h 5973007"/>
              <a:gd name="connsiteX74955" fmla="*/ 1950407 w 6884782"/>
              <a:gd name="connsiteY74955" fmla="*/ 746623 h 5973007"/>
              <a:gd name="connsiteX74956" fmla="*/ 1965586 w 6884782"/>
              <a:gd name="connsiteY74956" fmla="*/ 734541 h 5973007"/>
              <a:gd name="connsiteX74957" fmla="*/ 1981177 w 6884782"/>
              <a:gd name="connsiteY74957" fmla="*/ 725402 h 5973007"/>
              <a:gd name="connsiteX74958" fmla="*/ 1984998 w 6884782"/>
              <a:gd name="connsiteY74958" fmla="*/ 719516 h 5973007"/>
              <a:gd name="connsiteX74959" fmla="*/ 1980351 w 6884782"/>
              <a:gd name="connsiteY74959" fmla="*/ 719361 h 5973007"/>
              <a:gd name="connsiteX74960" fmla="*/ 1980867 w 6884782"/>
              <a:gd name="connsiteY74960" fmla="*/ 702787 h 5973007"/>
              <a:gd name="connsiteX74961" fmla="*/ 1988818 w 6884782"/>
              <a:gd name="connsiteY74961" fmla="*/ 703716 h 5973007"/>
              <a:gd name="connsiteX74962" fmla="*/ 1988612 w 6884782"/>
              <a:gd name="connsiteY74962" fmla="*/ 716573 h 5973007"/>
              <a:gd name="connsiteX74963" fmla="*/ 1987992 w 6884782"/>
              <a:gd name="connsiteY74963" fmla="*/ 717192 h 5973007"/>
              <a:gd name="connsiteX74964" fmla="*/ 1992535 w 6884782"/>
              <a:gd name="connsiteY74964" fmla="*/ 714714 h 5973007"/>
              <a:gd name="connsiteX74965" fmla="*/ 2005546 w 6884782"/>
              <a:gd name="connsiteY74965" fmla="*/ 705575 h 5973007"/>
              <a:gd name="connsiteX74966" fmla="*/ 2014219 w 6884782"/>
              <a:gd name="connsiteY74966" fmla="*/ 707279 h 5973007"/>
              <a:gd name="connsiteX74967" fmla="*/ 2014735 w 6884782"/>
              <a:gd name="connsiteY74967" fmla="*/ 704956 h 5973007"/>
              <a:gd name="connsiteX74968" fmla="*/ 2015252 w 6884782"/>
              <a:gd name="connsiteY74968" fmla="*/ 704956 h 5973007"/>
              <a:gd name="connsiteX74969" fmla="*/ 2020621 w 6884782"/>
              <a:gd name="connsiteY74969" fmla="*/ 701548 h 5973007"/>
              <a:gd name="connsiteX74970" fmla="*/ 2021240 w 6884782"/>
              <a:gd name="connsiteY74970" fmla="*/ 701548 h 5973007"/>
              <a:gd name="connsiteX74971" fmla="*/ 2021240 w 6884782"/>
              <a:gd name="connsiteY74971" fmla="*/ 700928 h 5973007"/>
              <a:gd name="connsiteX74972" fmla="*/ 2021240 w 6884782"/>
              <a:gd name="connsiteY74972" fmla="*/ 700464 h 5973007"/>
              <a:gd name="connsiteX74973" fmla="*/ 2023925 w 6884782"/>
              <a:gd name="connsiteY74973" fmla="*/ 699844 h 5973007"/>
              <a:gd name="connsiteX74974" fmla="*/ 2021757 w 6884782"/>
              <a:gd name="connsiteY74974" fmla="*/ 695817 h 5973007"/>
              <a:gd name="connsiteX74975" fmla="*/ 2026094 w 6884782"/>
              <a:gd name="connsiteY74975" fmla="*/ 690086 h 5973007"/>
              <a:gd name="connsiteX74976" fmla="*/ 2027126 w 6884782"/>
              <a:gd name="connsiteY74976" fmla="*/ 685593 h 5973007"/>
              <a:gd name="connsiteX74977" fmla="*/ 2027642 w 6884782"/>
              <a:gd name="connsiteY74977" fmla="*/ 683889 h 5973007"/>
              <a:gd name="connsiteX74978" fmla="*/ 2028262 w 6884782"/>
              <a:gd name="connsiteY74978" fmla="*/ 683270 h 5973007"/>
              <a:gd name="connsiteX74979" fmla="*/ 2030430 w 6884782"/>
              <a:gd name="connsiteY74979" fmla="*/ 681566 h 5973007"/>
              <a:gd name="connsiteX74980" fmla="*/ 2030430 w 6884782"/>
              <a:gd name="connsiteY74980" fmla="*/ 684354 h 5973007"/>
              <a:gd name="connsiteX74981" fmla="*/ 2029914 w 6884782"/>
              <a:gd name="connsiteY74981" fmla="*/ 685593 h 5973007"/>
              <a:gd name="connsiteX74982" fmla="*/ 2029914 w 6884782"/>
              <a:gd name="connsiteY74982" fmla="*/ 686213 h 5973007"/>
              <a:gd name="connsiteX74983" fmla="*/ 2028778 w 6884782"/>
              <a:gd name="connsiteY74983" fmla="*/ 688382 h 5973007"/>
              <a:gd name="connsiteX74984" fmla="*/ 2027126 w 6884782"/>
              <a:gd name="connsiteY74984" fmla="*/ 693029 h 5973007"/>
              <a:gd name="connsiteX74985" fmla="*/ 2031979 w 6884782"/>
              <a:gd name="connsiteY74985" fmla="*/ 693029 h 5973007"/>
              <a:gd name="connsiteX74986" fmla="*/ 2032599 w 6884782"/>
              <a:gd name="connsiteY74986" fmla="*/ 693029 h 5973007"/>
              <a:gd name="connsiteX74987" fmla="*/ 2033115 w 6884782"/>
              <a:gd name="connsiteY74987" fmla="*/ 693029 h 5973007"/>
              <a:gd name="connsiteX74988" fmla="*/ 2033631 w 6884782"/>
              <a:gd name="connsiteY74988" fmla="*/ 692409 h 5973007"/>
              <a:gd name="connsiteX74989" fmla="*/ 2036316 w 6884782"/>
              <a:gd name="connsiteY74989" fmla="*/ 691325 h 5973007"/>
              <a:gd name="connsiteX74990" fmla="*/ 2040653 w 6884782"/>
              <a:gd name="connsiteY74990" fmla="*/ 687762 h 5973007"/>
              <a:gd name="connsiteX74991" fmla="*/ 2040653 w 6884782"/>
              <a:gd name="connsiteY74991" fmla="*/ 691789 h 5973007"/>
              <a:gd name="connsiteX74992" fmla="*/ 2061201 w 6884782"/>
              <a:gd name="connsiteY74992" fmla="*/ 680482 h 5973007"/>
              <a:gd name="connsiteX74993" fmla="*/ 2060169 w 6884782"/>
              <a:gd name="connsiteY74993" fmla="*/ 677074 h 5973007"/>
              <a:gd name="connsiteX74994" fmla="*/ 2062233 w 6884782"/>
              <a:gd name="connsiteY74994" fmla="*/ 676455 h 5973007"/>
              <a:gd name="connsiteX74995" fmla="*/ 2064402 w 6884782"/>
              <a:gd name="connsiteY74995" fmla="*/ 675835 h 5973007"/>
              <a:gd name="connsiteX74996" fmla="*/ 2065554 w 6884782"/>
              <a:gd name="connsiteY74996" fmla="*/ 675457 h 5973007"/>
              <a:gd name="connsiteX74997" fmla="*/ 2069531 w 6884782"/>
              <a:gd name="connsiteY74997" fmla="*/ 667383 h 5973007"/>
              <a:gd name="connsiteX74998" fmla="*/ 2079562 w 6884782"/>
              <a:gd name="connsiteY74998" fmla="*/ 661551 h 5973007"/>
              <a:gd name="connsiteX74999" fmla="*/ 2080415 w 6884782"/>
              <a:gd name="connsiteY74999" fmla="*/ 652730 h 5973007"/>
              <a:gd name="connsiteX75000" fmla="*/ 2086178 w 6884782"/>
              <a:gd name="connsiteY75000" fmla="*/ 647750 h 5973007"/>
              <a:gd name="connsiteX75001" fmla="*/ 2091300 w 6884782"/>
              <a:gd name="connsiteY75001" fmla="*/ 646043 h 5973007"/>
              <a:gd name="connsiteX75002" fmla="*/ 2105812 w 6884782"/>
              <a:gd name="connsiteY75002" fmla="*/ 656287 h 5973007"/>
              <a:gd name="connsiteX75003" fmla="*/ 2106690 w 6884782"/>
              <a:gd name="connsiteY75003" fmla="*/ 658976 h 5973007"/>
              <a:gd name="connsiteX75004" fmla="*/ 2111383 w 6884782"/>
              <a:gd name="connsiteY75004" fmla="*/ 657712 h 5973007"/>
              <a:gd name="connsiteX75005" fmla="*/ 2119540 w 6884782"/>
              <a:gd name="connsiteY75005" fmla="*/ 655854 h 5973007"/>
              <a:gd name="connsiteX75006" fmla="*/ 2119540 w 6884782"/>
              <a:gd name="connsiteY75006" fmla="*/ 651361 h 5973007"/>
              <a:gd name="connsiteX75007" fmla="*/ 2134100 w 6884782"/>
              <a:gd name="connsiteY75007" fmla="*/ 647954 h 5973007"/>
              <a:gd name="connsiteX75008" fmla="*/ 2135365 w 6884782"/>
              <a:gd name="connsiteY75008" fmla="*/ 645901 h 5973007"/>
              <a:gd name="connsiteX75009" fmla="*/ 2140056 w 6884782"/>
              <a:gd name="connsiteY75009" fmla="*/ 646688 h 5973007"/>
              <a:gd name="connsiteX75010" fmla="*/ 2139960 w 6884782"/>
              <a:gd name="connsiteY75010" fmla="*/ 634235 h 5973007"/>
              <a:gd name="connsiteX75011" fmla="*/ 2145457 w 6884782"/>
              <a:gd name="connsiteY75011" fmla="*/ 642226 h 5973007"/>
              <a:gd name="connsiteX75012" fmla="*/ 2145458 w 6884782"/>
              <a:gd name="connsiteY75012" fmla="*/ 642222 h 5973007"/>
              <a:gd name="connsiteX75013" fmla="*/ 2150931 w 6884782"/>
              <a:gd name="connsiteY75013" fmla="*/ 647954 h 5973007"/>
              <a:gd name="connsiteX75014" fmla="*/ 2165490 w 6884782"/>
              <a:gd name="connsiteY75014" fmla="*/ 639434 h 5973007"/>
              <a:gd name="connsiteX75015" fmla="*/ 2159501 w 6884782"/>
              <a:gd name="connsiteY75015" fmla="*/ 643307 h 5973007"/>
              <a:gd name="connsiteX75016" fmla="*/ 2171892 w 6884782"/>
              <a:gd name="connsiteY75016" fmla="*/ 643926 h 5973007"/>
              <a:gd name="connsiteX75017" fmla="*/ 2172511 w 6884782"/>
              <a:gd name="connsiteY75017" fmla="*/ 638195 h 5973007"/>
              <a:gd name="connsiteX75018" fmla="*/ 2185521 w 6884782"/>
              <a:gd name="connsiteY75018" fmla="*/ 639899 h 5973007"/>
              <a:gd name="connsiteX75019" fmla="*/ 2185521 w 6884782"/>
              <a:gd name="connsiteY75019" fmla="*/ 635407 h 5973007"/>
              <a:gd name="connsiteX75020" fmla="*/ 2197396 w 6884782"/>
              <a:gd name="connsiteY75020" fmla="*/ 637111 h 5973007"/>
              <a:gd name="connsiteX75021" fmla="*/ 2210819 w 6884782"/>
              <a:gd name="connsiteY75021" fmla="*/ 637111 h 5973007"/>
              <a:gd name="connsiteX75022" fmla="*/ 2207102 w 6884782"/>
              <a:gd name="connsiteY75022" fmla="*/ 638815 h 5973007"/>
              <a:gd name="connsiteX75023" fmla="*/ 2213504 w 6884782"/>
              <a:gd name="connsiteY75023" fmla="*/ 637576 h 5973007"/>
              <a:gd name="connsiteX75024" fmla="*/ 2210303 w 6884782"/>
              <a:gd name="connsiteY75024" fmla="*/ 636027 h 5973007"/>
              <a:gd name="connsiteX75025" fmla="*/ 2216808 w 6884782"/>
              <a:gd name="connsiteY75025" fmla="*/ 635407 h 5973007"/>
              <a:gd name="connsiteX75026" fmla="*/ 2225378 w 6884782"/>
              <a:gd name="connsiteY75026" fmla="*/ 636491 h 5973007"/>
              <a:gd name="connsiteX75027" fmla="*/ 2225998 w 6884782"/>
              <a:gd name="connsiteY75027" fmla="*/ 643307 h 5973007"/>
              <a:gd name="connsiteX75028" fmla="*/ 2228786 w 6884782"/>
              <a:gd name="connsiteY75028" fmla="*/ 638505 h 5973007"/>
              <a:gd name="connsiteX75029" fmla="*/ 2229818 w 6884782"/>
              <a:gd name="connsiteY75029" fmla="*/ 638815 h 5973007"/>
              <a:gd name="connsiteX75030" fmla="*/ 2229818 w 6884782"/>
              <a:gd name="connsiteY75030" fmla="*/ 642222 h 5973007"/>
              <a:gd name="connsiteX75031" fmla="*/ 2229612 w 6884782"/>
              <a:gd name="connsiteY75031" fmla="*/ 642377 h 5973007"/>
              <a:gd name="connsiteX75032" fmla="*/ 2229199 w 6884782"/>
              <a:gd name="connsiteY75032" fmla="*/ 647954 h 5973007"/>
              <a:gd name="connsiteX75033" fmla="*/ 2229818 w 6884782"/>
              <a:gd name="connsiteY75033" fmla="*/ 647954 h 5973007"/>
              <a:gd name="connsiteX75034" fmla="*/ 2229818 w 6884782"/>
              <a:gd name="connsiteY75034" fmla="*/ 657752 h 5973007"/>
              <a:gd name="connsiteX75035" fmla="*/ 2237839 w 6884782"/>
              <a:gd name="connsiteY75035" fmla="*/ 646310 h 5973007"/>
              <a:gd name="connsiteX75036" fmla="*/ 2266626 w 6884782"/>
              <a:gd name="connsiteY75036" fmla="*/ 611448 h 5973007"/>
              <a:gd name="connsiteX75037" fmla="*/ 2257127 w 6884782"/>
              <a:gd name="connsiteY75037" fmla="*/ 601798 h 5973007"/>
              <a:gd name="connsiteX75038" fmla="*/ 2259261 w 6884782"/>
              <a:gd name="connsiteY75038" fmla="*/ 594684 h 5973007"/>
              <a:gd name="connsiteX75039" fmla="*/ 2260542 w 6884782"/>
              <a:gd name="connsiteY75039" fmla="*/ 595253 h 5973007"/>
              <a:gd name="connsiteX75040" fmla="*/ 2254993 w 6884782"/>
              <a:gd name="connsiteY75040" fmla="*/ 589989 h 5973007"/>
              <a:gd name="connsiteX75041" fmla="*/ 2240053 w 6884782"/>
              <a:gd name="connsiteY75041" fmla="*/ 559544 h 5973007"/>
              <a:gd name="connsiteX75042" fmla="*/ 2268838 w 6884782"/>
              <a:gd name="connsiteY75042" fmla="*/ 578056 h 5973007"/>
              <a:gd name="connsiteX75043" fmla="*/ 2275059 w 6884782"/>
              <a:gd name="connsiteY75043" fmla="*/ 601235 h 5973007"/>
              <a:gd name="connsiteX75044" fmla="*/ 2289985 w 6884782"/>
              <a:gd name="connsiteY75044" fmla="*/ 583159 h 5973007"/>
              <a:gd name="connsiteX75045" fmla="*/ 2314817 w 6884782"/>
              <a:gd name="connsiteY75045" fmla="*/ 558514 h 5973007"/>
              <a:gd name="connsiteX75046" fmla="*/ 2330283 w 6884782"/>
              <a:gd name="connsiteY75046" fmla="*/ 548921 h 5973007"/>
              <a:gd name="connsiteX75047" fmla="*/ 2329903 w 6884782"/>
              <a:gd name="connsiteY75047" fmla="*/ 548447 h 5973007"/>
              <a:gd name="connsiteX75048" fmla="*/ 2329690 w 6884782"/>
              <a:gd name="connsiteY75048" fmla="*/ 544321 h 5973007"/>
              <a:gd name="connsiteX75049" fmla="*/ 2331824 w 6884782"/>
              <a:gd name="connsiteY75049" fmla="*/ 541618 h 5973007"/>
              <a:gd name="connsiteX75050" fmla="*/ 2337136 w 6884782"/>
              <a:gd name="connsiteY75050" fmla="*/ 544671 h 5973007"/>
              <a:gd name="connsiteX75051" fmla="*/ 2342132 w 6884782"/>
              <a:gd name="connsiteY75051" fmla="*/ 541572 h 5973007"/>
              <a:gd name="connsiteX75052" fmla="*/ 2357476 w 6884782"/>
              <a:gd name="connsiteY75052" fmla="*/ 534230 h 5973007"/>
              <a:gd name="connsiteX75053" fmla="*/ 2357648 w 6884782"/>
              <a:gd name="connsiteY75053" fmla="*/ 533224 h 5973007"/>
              <a:gd name="connsiteX75054" fmla="*/ 2402039 w 6884782"/>
              <a:gd name="connsiteY75054" fmla="*/ 473756 h 5973007"/>
              <a:gd name="connsiteX75055" fmla="*/ 2451339 w 6884782"/>
              <a:gd name="connsiteY75055" fmla="*/ 458675 h 5973007"/>
              <a:gd name="connsiteX75056" fmla="*/ 2457528 w 6884782"/>
              <a:gd name="connsiteY75056" fmla="*/ 459671 h 5973007"/>
              <a:gd name="connsiteX75057" fmla="*/ 2459235 w 6884782"/>
              <a:gd name="connsiteY75057" fmla="*/ 458248 h 5973007"/>
              <a:gd name="connsiteX75058" fmla="*/ 2465425 w 6884782"/>
              <a:gd name="connsiteY75058" fmla="*/ 455403 h 5973007"/>
              <a:gd name="connsiteX75059" fmla="*/ 2282737 w 6884782"/>
              <a:gd name="connsiteY75059" fmla="*/ 453980 h 5973007"/>
              <a:gd name="connsiteX75060" fmla="*/ 2282097 w 6884782"/>
              <a:gd name="connsiteY75060" fmla="*/ 455118 h 5973007"/>
              <a:gd name="connsiteX75061" fmla="*/ 2283591 w 6884782"/>
              <a:gd name="connsiteY75061" fmla="*/ 454549 h 5973007"/>
              <a:gd name="connsiteX75062" fmla="*/ 2278896 w 6884782"/>
              <a:gd name="connsiteY75062" fmla="*/ 470483 h 5973007"/>
              <a:gd name="connsiteX75063" fmla="*/ 2277829 w 6884782"/>
              <a:gd name="connsiteY75063" fmla="*/ 469914 h 5973007"/>
              <a:gd name="connsiteX75064" fmla="*/ 2280390 w 6884782"/>
              <a:gd name="connsiteY75064" fmla="*/ 457679 h 5973007"/>
              <a:gd name="connsiteX75065" fmla="*/ 2282737 w 6884782"/>
              <a:gd name="connsiteY75065" fmla="*/ 453980 h 5973007"/>
              <a:gd name="connsiteX75066" fmla="*/ 3010712 w 6884782"/>
              <a:gd name="connsiteY75066" fmla="*/ 453696 h 5973007"/>
              <a:gd name="connsiteX75067" fmla="*/ 3016475 w 6884782"/>
              <a:gd name="connsiteY75067" fmla="*/ 454834 h 5973007"/>
              <a:gd name="connsiteX75068" fmla="*/ 3003242 w 6884782"/>
              <a:gd name="connsiteY75068" fmla="*/ 468491 h 5973007"/>
              <a:gd name="connsiteX75069" fmla="*/ 3010712 w 6884782"/>
              <a:gd name="connsiteY75069" fmla="*/ 453696 h 5973007"/>
              <a:gd name="connsiteX75070" fmla="*/ 2605855 w 6884782"/>
              <a:gd name="connsiteY75070" fmla="*/ 452700 h 5973007"/>
              <a:gd name="connsiteX75071" fmla="*/ 2610337 w 6884782"/>
              <a:gd name="connsiteY75071" fmla="*/ 454407 h 5973007"/>
              <a:gd name="connsiteX75072" fmla="*/ 2610337 w 6884782"/>
              <a:gd name="connsiteY75072" fmla="*/ 458106 h 5973007"/>
              <a:gd name="connsiteX75073" fmla="*/ 2603721 w 6884782"/>
              <a:gd name="connsiteY75073" fmla="*/ 457964 h 5973007"/>
              <a:gd name="connsiteX75074" fmla="*/ 2605855 w 6884782"/>
              <a:gd name="connsiteY75074" fmla="*/ 452700 h 5973007"/>
              <a:gd name="connsiteX75075" fmla="*/ 2767840 w 6884782"/>
              <a:gd name="connsiteY75075" fmla="*/ 449854 h 5973007"/>
              <a:gd name="connsiteX75076" fmla="*/ 2771042 w 6884782"/>
              <a:gd name="connsiteY75076" fmla="*/ 456541 h 5973007"/>
              <a:gd name="connsiteX75077" fmla="*/ 2768694 w 6884782"/>
              <a:gd name="connsiteY75077" fmla="*/ 468349 h 5973007"/>
              <a:gd name="connsiteX75078" fmla="*/ 2767200 w 6884782"/>
              <a:gd name="connsiteY75078" fmla="*/ 470483 h 5973007"/>
              <a:gd name="connsiteX75079" fmla="*/ 2766987 w 6884782"/>
              <a:gd name="connsiteY75079" fmla="*/ 471337 h 5973007"/>
              <a:gd name="connsiteX75080" fmla="*/ 2765706 w 6884782"/>
              <a:gd name="connsiteY75080" fmla="*/ 472618 h 5973007"/>
              <a:gd name="connsiteX75081" fmla="*/ 2762292 w 6884782"/>
              <a:gd name="connsiteY75081" fmla="*/ 477881 h 5973007"/>
              <a:gd name="connsiteX75082" fmla="*/ 2751407 w 6884782"/>
              <a:gd name="connsiteY75082" fmla="*/ 473898 h 5973007"/>
              <a:gd name="connsiteX75083" fmla="*/ 2767840 w 6884782"/>
              <a:gd name="connsiteY75083" fmla="*/ 449854 h 5973007"/>
              <a:gd name="connsiteX75084" fmla="*/ 2801561 w 6884782"/>
              <a:gd name="connsiteY75084" fmla="*/ 449712 h 5973007"/>
              <a:gd name="connsiteX75085" fmla="*/ 2811164 w 6884782"/>
              <a:gd name="connsiteY75085" fmla="*/ 460098 h 5973007"/>
              <a:gd name="connsiteX75086" fmla="*/ 2800067 w 6884782"/>
              <a:gd name="connsiteY75086" fmla="*/ 466500 h 5973007"/>
              <a:gd name="connsiteX75087" fmla="*/ 2799213 w 6884782"/>
              <a:gd name="connsiteY75087" fmla="*/ 463797 h 5973007"/>
              <a:gd name="connsiteX75088" fmla="*/ 2798573 w 6884782"/>
              <a:gd name="connsiteY75088" fmla="*/ 464508 h 5973007"/>
              <a:gd name="connsiteX75089" fmla="*/ 2792810 w 6884782"/>
              <a:gd name="connsiteY75089" fmla="*/ 466073 h 5973007"/>
              <a:gd name="connsiteX75090" fmla="*/ 2796652 w 6884782"/>
              <a:gd name="connsiteY75090" fmla="*/ 462659 h 5973007"/>
              <a:gd name="connsiteX75091" fmla="*/ 2798360 w 6884782"/>
              <a:gd name="connsiteY75091" fmla="*/ 461378 h 5973007"/>
              <a:gd name="connsiteX75092" fmla="*/ 2797293 w 6884782"/>
              <a:gd name="connsiteY75092" fmla="*/ 458106 h 5973007"/>
              <a:gd name="connsiteX75093" fmla="*/ 2801561 w 6884782"/>
              <a:gd name="connsiteY75093" fmla="*/ 449712 h 5973007"/>
              <a:gd name="connsiteX75094" fmla="*/ 2271426 w 6884782"/>
              <a:gd name="connsiteY75094" fmla="*/ 446582 h 5973007"/>
              <a:gd name="connsiteX75095" fmla="*/ 2275695 w 6884782"/>
              <a:gd name="connsiteY75095" fmla="*/ 449001 h 5973007"/>
              <a:gd name="connsiteX75096" fmla="*/ 2274628 w 6884782"/>
              <a:gd name="connsiteY75096" fmla="*/ 451135 h 5973007"/>
              <a:gd name="connsiteX75097" fmla="*/ 2272707 w 6884782"/>
              <a:gd name="connsiteY75097" fmla="*/ 469914 h 5973007"/>
              <a:gd name="connsiteX75098" fmla="*/ 2271426 w 6884782"/>
              <a:gd name="connsiteY75098" fmla="*/ 446582 h 5973007"/>
              <a:gd name="connsiteX75099" fmla="*/ 3112940 w 6884782"/>
              <a:gd name="connsiteY75099" fmla="*/ 446155 h 5973007"/>
              <a:gd name="connsiteX75100" fmla="*/ 3118702 w 6884782"/>
              <a:gd name="connsiteY75100" fmla="*/ 449712 h 5973007"/>
              <a:gd name="connsiteX75101" fmla="*/ 3095653 w 6884782"/>
              <a:gd name="connsiteY75101" fmla="*/ 458533 h 5973007"/>
              <a:gd name="connsiteX75102" fmla="*/ 3112940 w 6884782"/>
              <a:gd name="connsiteY75102" fmla="*/ 446155 h 5973007"/>
              <a:gd name="connsiteX75103" fmla="*/ 2590062 w 6884782"/>
              <a:gd name="connsiteY75103" fmla="*/ 444448 h 5973007"/>
              <a:gd name="connsiteX75104" fmla="*/ 2594330 w 6884782"/>
              <a:gd name="connsiteY75104" fmla="*/ 448716 h 5973007"/>
              <a:gd name="connsiteX75105" fmla="*/ 2588354 w 6884782"/>
              <a:gd name="connsiteY75105" fmla="*/ 461662 h 5973007"/>
              <a:gd name="connsiteX75106" fmla="*/ 2579604 w 6884782"/>
              <a:gd name="connsiteY75106" fmla="*/ 455688 h 5973007"/>
              <a:gd name="connsiteX75107" fmla="*/ 2582592 w 6884782"/>
              <a:gd name="connsiteY75107" fmla="*/ 446582 h 5973007"/>
              <a:gd name="connsiteX75108" fmla="*/ 2590062 w 6884782"/>
              <a:gd name="connsiteY75108" fmla="*/ 444448 h 5973007"/>
              <a:gd name="connsiteX75109" fmla="*/ 2962906 w 6884782"/>
              <a:gd name="connsiteY75109" fmla="*/ 444022 h 5973007"/>
              <a:gd name="connsiteX75110" fmla="*/ 2969096 w 6884782"/>
              <a:gd name="connsiteY75110" fmla="*/ 450566 h 5973007"/>
              <a:gd name="connsiteX75111" fmla="*/ 2968241 w 6884782"/>
              <a:gd name="connsiteY75111" fmla="*/ 453553 h 5973007"/>
              <a:gd name="connsiteX75112" fmla="*/ 2962906 w 6884782"/>
              <a:gd name="connsiteY75112" fmla="*/ 444022 h 5973007"/>
              <a:gd name="connsiteX75113" fmla="*/ 2757383 w 6884782"/>
              <a:gd name="connsiteY75113" fmla="*/ 442314 h 5973007"/>
              <a:gd name="connsiteX75114" fmla="*/ 2765066 w 6884782"/>
              <a:gd name="connsiteY75114" fmla="*/ 448432 h 5973007"/>
              <a:gd name="connsiteX75115" fmla="*/ 2757810 w 6884782"/>
              <a:gd name="connsiteY75115" fmla="*/ 443879 h 5973007"/>
              <a:gd name="connsiteX75116" fmla="*/ 2757383 w 6884782"/>
              <a:gd name="connsiteY75116" fmla="*/ 442314 h 5973007"/>
              <a:gd name="connsiteX75117" fmla="*/ 2555488 w 6884782"/>
              <a:gd name="connsiteY75117" fmla="*/ 442314 h 5973007"/>
              <a:gd name="connsiteX75118" fmla="*/ 2574269 w 6884782"/>
              <a:gd name="connsiteY75118" fmla="*/ 453553 h 5973007"/>
              <a:gd name="connsiteX75119" fmla="*/ 2560396 w 6884782"/>
              <a:gd name="connsiteY75119" fmla="*/ 452273 h 5973007"/>
              <a:gd name="connsiteX75120" fmla="*/ 2548872 w 6884782"/>
              <a:gd name="connsiteY75120" fmla="*/ 443025 h 5973007"/>
              <a:gd name="connsiteX75121" fmla="*/ 2555488 w 6884782"/>
              <a:gd name="connsiteY75121" fmla="*/ 442314 h 5973007"/>
              <a:gd name="connsiteX75122" fmla="*/ 2389020 w 6884782"/>
              <a:gd name="connsiteY75122" fmla="*/ 441176 h 5973007"/>
              <a:gd name="connsiteX75123" fmla="*/ 2396277 w 6884782"/>
              <a:gd name="connsiteY75123" fmla="*/ 441887 h 5973007"/>
              <a:gd name="connsiteX75124" fmla="*/ 2395423 w 6884782"/>
              <a:gd name="connsiteY75124" fmla="*/ 456114 h 5973007"/>
              <a:gd name="connsiteX75125" fmla="*/ 2390514 w 6884782"/>
              <a:gd name="connsiteY75125" fmla="*/ 456114 h 5973007"/>
              <a:gd name="connsiteX75126" fmla="*/ 2389020 w 6884782"/>
              <a:gd name="connsiteY75126" fmla="*/ 441176 h 5973007"/>
              <a:gd name="connsiteX75127" fmla="*/ 3291146 w 6884782"/>
              <a:gd name="connsiteY75127" fmla="*/ 439042 h 5973007"/>
              <a:gd name="connsiteX75128" fmla="*/ 3292640 w 6884782"/>
              <a:gd name="connsiteY75128" fmla="*/ 441318 h 5973007"/>
              <a:gd name="connsiteX75129" fmla="*/ 3288585 w 6884782"/>
              <a:gd name="connsiteY75129" fmla="*/ 445159 h 5973007"/>
              <a:gd name="connsiteX75130" fmla="*/ 3288798 w 6884782"/>
              <a:gd name="connsiteY75130" fmla="*/ 446298 h 5973007"/>
              <a:gd name="connsiteX75131" fmla="*/ 3291359 w 6884782"/>
              <a:gd name="connsiteY75131" fmla="*/ 448716 h 5973007"/>
              <a:gd name="connsiteX75132" fmla="*/ 3293066 w 6884782"/>
              <a:gd name="connsiteY75132" fmla="*/ 460525 h 5973007"/>
              <a:gd name="connsiteX75133" fmla="*/ 3280902 w 6884782"/>
              <a:gd name="connsiteY75133" fmla="*/ 464792 h 5973007"/>
              <a:gd name="connsiteX75134" fmla="*/ 3274712 w 6884782"/>
              <a:gd name="connsiteY75134" fmla="*/ 461662 h 5973007"/>
              <a:gd name="connsiteX75135" fmla="*/ 3273859 w 6884782"/>
              <a:gd name="connsiteY75135" fmla="*/ 447294 h 5973007"/>
              <a:gd name="connsiteX75136" fmla="*/ 3286024 w 6884782"/>
              <a:gd name="connsiteY75136" fmla="*/ 444164 h 5973007"/>
              <a:gd name="connsiteX75137" fmla="*/ 3286878 w 6884782"/>
              <a:gd name="connsiteY75137" fmla="*/ 441603 h 5973007"/>
              <a:gd name="connsiteX75138" fmla="*/ 3291146 w 6884782"/>
              <a:gd name="connsiteY75138" fmla="*/ 439042 h 5973007"/>
              <a:gd name="connsiteX75139" fmla="*/ 2873057 w 6884782"/>
              <a:gd name="connsiteY75139" fmla="*/ 434631 h 5973007"/>
              <a:gd name="connsiteX75140" fmla="*/ 2876685 w 6884782"/>
              <a:gd name="connsiteY75140" fmla="*/ 435485 h 5973007"/>
              <a:gd name="connsiteX75141" fmla="*/ 2878819 w 6884782"/>
              <a:gd name="connsiteY75141" fmla="*/ 437762 h 5973007"/>
              <a:gd name="connsiteX75142" fmla="*/ 2878178 w 6884782"/>
              <a:gd name="connsiteY75142" fmla="*/ 445017 h 5973007"/>
              <a:gd name="connsiteX75143" fmla="*/ 2867934 w 6884782"/>
              <a:gd name="connsiteY75143" fmla="*/ 444875 h 5973007"/>
              <a:gd name="connsiteX75144" fmla="*/ 2869855 w 6884782"/>
              <a:gd name="connsiteY75144" fmla="*/ 436481 h 5973007"/>
              <a:gd name="connsiteX75145" fmla="*/ 2873057 w 6884782"/>
              <a:gd name="connsiteY75145" fmla="*/ 434631 h 5973007"/>
              <a:gd name="connsiteX75146" fmla="*/ 3396788 w 6884782"/>
              <a:gd name="connsiteY75146" fmla="*/ 431644 h 5973007"/>
              <a:gd name="connsiteX75147" fmla="*/ 3398923 w 6884782"/>
              <a:gd name="connsiteY75147" fmla="*/ 431928 h 5973007"/>
              <a:gd name="connsiteX75148" fmla="*/ 3399990 w 6884782"/>
              <a:gd name="connsiteY75148" fmla="*/ 434489 h 5973007"/>
              <a:gd name="connsiteX75149" fmla="*/ 3399350 w 6884782"/>
              <a:gd name="connsiteY75149" fmla="*/ 439184 h 5973007"/>
              <a:gd name="connsiteX75150" fmla="*/ 3396788 w 6884782"/>
              <a:gd name="connsiteY75150" fmla="*/ 441603 h 5973007"/>
              <a:gd name="connsiteX75151" fmla="*/ 3394655 w 6884782"/>
              <a:gd name="connsiteY75151" fmla="*/ 440465 h 5973007"/>
              <a:gd name="connsiteX75152" fmla="*/ 3392520 w 6884782"/>
              <a:gd name="connsiteY75152" fmla="*/ 440322 h 5973007"/>
              <a:gd name="connsiteX75153" fmla="*/ 3392520 w 6884782"/>
              <a:gd name="connsiteY75153" fmla="*/ 439184 h 5973007"/>
              <a:gd name="connsiteX75154" fmla="*/ 3391453 w 6884782"/>
              <a:gd name="connsiteY75154" fmla="*/ 437904 h 5973007"/>
              <a:gd name="connsiteX75155" fmla="*/ 3394228 w 6884782"/>
              <a:gd name="connsiteY75155" fmla="*/ 433066 h 5973007"/>
              <a:gd name="connsiteX75156" fmla="*/ 3396788 w 6884782"/>
              <a:gd name="connsiteY75156" fmla="*/ 431644 h 5973007"/>
              <a:gd name="connsiteX75157" fmla="*/ 3003883 w 6884782"/>
              <a:gd name="connsiteY75157" fmla="*/ 430506 h 5973007"/>
              <a:gd name="connsiteX75158" fmla="*/ 2996200 w 6884782"/>
              <a:gd name="connsiteY75158" fmla="*/ 437335 h 5973007"/>
              <a:gd name="connsiteX75159" fmla="*/ 3003883 w 6884782"/>
              <a:gd name="connsiteY75159" fmla="*/ 430506 h 5973007"/>
              <a:gd name="connsiteX75160" fmla="*/ 2479084 w 6884782"/>
              <a:gd name="connsiteY75160" fmla="*/ 428514 h 5973007"/>
              <a:gd name="connsiteX75161" fmla="*/ 2484206 w 6884782"/>
              <a:gd name="connsiteY75161" fmla="*/ 428799 h 5973007"/>
              <a:gd name="connsiteX75162" fmla="*/ 2483352 w 6884782"/>
              <a:gd name="connsiteY75162" fmla="*/ 436197 h 5973007"/>
              <a:gd name="connsiteX75163" fmla="*/ 2478230 w 6884782"/>
              <a:gd name="connsiteY75163" fmla="*/ 435912 h 5973007"/>
              <a:gd name="connsiteX75164" fmla="*/ 2479084 w 6884782"/>
              <a:gd name="connsiteY75164" fmla="*/ 428514 h 5973007"/>
              <a:gd name="connsiteX75165" fmla="*/ 2780006 w 6884782"/>
              <a:gd name="connsiteY75165" fmla="*/ 427661 h 5973007"/>
              <a:gd name="connsiteX75166" fmla="*/ 2787475 w 6884782"/>
              <a:gd name="connsiteY75166" fmla="*/ 442030 h 5973007"/>
              <a:gd name="connsiteX75167" fmla="*/ 2775951 w 6884782"/>
              <a:gd name="connsiteY75167" fmla="*/ 440465 h 5973007"/>
              <a:gd name="connsiteX75168" fmla="*/ 2780006 w 6884782"/>
              <a:gd name="connsiteY75168" fmla="*/ 427661 h 5973007"/>
              <a:gd name="connsiteX75169" fmla="*/ 3144313 w 6884782"/>
              <a:gd name="connsiteY75169" fmla="*/ 426807 h 5973007"/>
              <a:gd name="connsiteX75170" fmla="*/ 3145380 w 6884782"/>
              <a:gd name="connsiteY75170" fmla="*/ 427803 h 5973007"/>
              <a:gd name="connsiteX75171" fmla="*/ 3143246 w 6884782"/>
              <a:gd name="connsiteY75171" fmla="*/ 427803 h 5973007"/>
              <a:gd name="connsiteX75172" fmla="*/ 3144313 w 6884782"/>
              <a:gd name="connsiteY75172" fmla="*/ 426807 h 5973007"/>
              <a:gd name="connsiteX75173" fmla="*/ 2534999 w 6884782"/>
              <a:gd name="connsiteY75173" fmla="*/ 426238 h 5973007"/>
              <a:gd name="connsiteX75174" fmla="*/ 2549298 w 6884782"/>
              <a:gd name="connsiteY75174" fmla="*/ 437619 h 5973007"/>
              <a:gd name="connsiteX75175" fmla="*/ 2540122 w 6884782"/>
              <a:gd name="connsiteY75175" fmla="*/ 442172 h 5973007"/>
              <a:gd name="connsiteX75176" fmla="*/ 2533932 w 6884782"/>
              <a:gd name="connsiteY75176" fmla="*/ 438900 h 5973007"/>
              <a:gd name="connsiteX75177" fmla="*/ 2529664 w 6884782"/>
              <a:gd name="connsiteY75177" fmla="*/ 428229 h 5973007"/>
              <a:gd name="connsiteX75178" fmla="*/ 2534999 w 6884782"/>
              <a:gd name="connsiteY75178" fmla="*/ 426238 h 5973007"/>
              <a:gd name="connsiteX75179" fmla="*/ 2807964 w 6884782"/>
              <a:gd name="connsiteY75179" fmla="*/ 425527 h 5973007"/>
              <a:gd name="connsiteX75180" fmla="*/ 2815220 w 6884782"/>
              <a:gd name="connsiteY75180" fmla="*/ 425953 h 5973007"/>
              <a:gd name="connsiteX75181" fmla="*/ 2812232 w 6884782"/>
              <a:gd name="connsiteY75181" fmla="*/ 440322 h 5973007"/>
              <a:gd name="connsiteX75182" fmla="*/ 2807323 w 6884782"/>
              <a:gd name="connsiteY75182" fmla="*/ 440465 h 5973007"/>
              <a:gd name="connsiteX75183" fmla="*/ 2807964 w 6884782"/>
              <a:gd name="connsiteY75183" fmla="*/ 425527 h 5973007"/>
              <a:gd name="connsiteX75184" fmla="*/ 2567653 w 6884782"/>
              <a:gd name="connsiteY75184" fmla="*/ 424957 h 5973007"/>
              <a:gd name="connsiteX75185" fmla="*/ 2579604 w 6884782"/>
              <a:gd name="connsiteY75185" fmla="*/ 428087 h 5973007"/>
              <a:gd name="connsiteX75186" fmla="*/ 2568080 w 6884782"/>
              <a:gd name="connsiteY75186" fmla="*/ 439753 h 5973007"/>
              <a:gd name="connsiteX75187" fmla="*/ 2564665 w 6884782"/>
              <a:gd name="connsiteY75187" fmla="*/ 435201 h 5973007"/>
              <a:gd name="connsiteX75188" fmla="*/ 2567653 w 6884782"/>
              <a:gd name="connsiteY75188" fmla="*/ 424957 h 5973007"/>
              <a:gd name="connsiteX75189" fmla="*/ 2738602 w 6884782"/>
              <a:gd name="connsiteY75189" fmla="*/ 424246 h 5973007"/>
              <a:gd name="connsiteX75190" fmla="*/ 2751621 w 6884782"/>
              <a:gd name="connsiteY75190" fmla="*/ 436908 h 5973007"/>
              <a:gd name="connsiteX75191" fmla="*/ 2738602 w 6884782"/>
              <a:gd name="connsiteY75191" fmla="*/ 424246 h 5973007"/>
              <a:gd name="connsiteX75192" fmla="*/ 3128306 w 6884782"/>
              <a:gd name="connsiteY75192" fmla="*/ 423535 h 5973007"/>
              <a:gd name="connsiteX75193" fmla="*/ 3131935 w 6884782"/>
              <a:gd name="connsiteY75193" fmla="*/ 432782 h 5973007"/>
              <a:gd name="connsiteX75194" fmla="*/ 3129801 w 6884782"/>
              <a:gd name="connsiteY75194" fmla="*/ 434205 h 5973007"/>
              <a:gd name="connsiteX75195" fmla="*/ 3127239 w 6884782"/>
              <a:gd name="connsiteY75195" fmla="*/ 431928 h 5973007"/>
              <a:gd name="connsiteX75196" fmla="*/ 3126172 w 6884782"/>
              <a:gd name="connsiteY75196" fmla="*/ 424957 h 5973007"/>
              <a:gd name="connsiteX75197" fmla="*/ 3128306 w 6884782"/>
              <a:gd name="connsiteY75197" fmla="*/ 423535 h 5973007"/>
              <a:gd name="connsiteX75198" fmla="*/ 3141752 w 6884782"/>
              <a:gd name="connsiteY75198" fmla="*/ 423108 h 5973007"/>
              <a:gd name="connsiteX75199" fmla="*/ 3144740 w 6884782"/>
              <a:gd name="connsiteY75199" fmla="*/ 424815 h 5973007"/>
              <a:gd name="connsiteX75200" fmla="*/ 3141752 w 6884782"/>
              <a:gd name="connsiteY75200" fmla="*/ 428514 h 5973007"/>
              <a:gd name="connsiteX75201" fmla="*/ 3140044 w 6884782"/>
              <a:gd name="connsiteY75201" fmla="*/ 423962 h 5973007"/>
              <a:gd name="connsiteX75202" fmla="*/ 3141752 w 6884782"/>
              <a:gd name="connsiteY75202" fmla="*/ 423108 h 5973007"/>
              <a:gd name="connsiteX75203" fmla="*/ 2075080 w 6884782"/>
              <a:gd name="connsiteY75203" fmla="*/ 422823 h 5973007"/>
              <a:gd name="connsiteX75204" fmla="*/ 2088952 w 6884782"/>
              <a:gd name="connsiteY75204" fmla="*/ 436054 h 5973007"/>
              <a:gd name="connsiteX75205" fmla="*/ 2055018 w 6884782"/>
              <a:gd name="connsiteY75205" fmla="*/ 438046 h 5973007"/>
              <a:gd name="connsiteX75206" fmla="*/ 2050750 w 6884782"/>
              <a:gd name="connsiteY75206" fmla="*/ 428799 h 5973007"/>
              <a:gd name="connsiteX75207" fmla="*/ 2075080 w 6884782"/>
              <a:gd name="connsiteY75207" fmla="*/ 422823 h 5973007"/>
              <a:gd name="connsiteX75208" fmla="*/ 3315263 w 6884782"/>
              <a:gd name="connsiteY75208" fmla="*/ 421827 h 5973007"/>
              <a:gd name="connsiteX75209" fmla="*/ 3323799 w 6884782"/>
              <a:gd name="connsiteY75209" fmla="*/ 425384 h 5973007"/>
              <a:gd name="connsiteX75210" fmla="*/ 3324653 w 6884782"/>
              <a:gd name="connsiteY75210" fmla="*/ 432356 h 5973007"/>
              <a:gd name="connsiteX75211" fmla="*/ 3307366 w 6884782"/>
              <a:gd name="connsiteY75211" fmla="*/ 430506 h 5973007"/>
              <a:gd name="connsiteX75212" fmla="*/ 3315263 w 6884782"/>
              <a:gd name="connsiteY75212" fmla="*/ 421827 h 5973007"/>
              <a:gd name="connsiteX75213" fmla="*/ 2737322 w 6884782"/>
              <a:gd name="connsiteY75213" fmla="*/ 421827 h 5973007"/>
              <a:gd name="connsiteX75214" fmla="*/ 2738602 w 6884782"/>
              <a:gd name="connsiteY75214" fmla="*/ 424104 h 5973007"/>
              <a:gd name="connsiteX75215" fmla="*/ 2737108 w 6884782"/>
              <a:gd name="connsiteY75215" fmla="*/ 424388 h 5973007"/>
              <a:gd name="connsiteX75216" fmla="*/ 2737322 w 6884782"/>
              <a:gd name="connsiteY75216" fmla="*/ 421827 h 5973007"/>
              <a:gd name="connsiteX75217" fmla="*/ 2878178 w 6884782"/>
              <a:gd name="connsiteY75217" fmla="*/ 420832 h 5973007"/>
              <a:gd name="connsiteX75218" fmla="*/ 2883941 w 6884782"/>
              <a:gd name="connsiteY75218" fmla="*/ 421970 h 5973007"/>
              <a:gd name="connsiteX75219" fmla="*/ 2885861 w 6884782"/>
              <a:gd name="connsiteY75219" fmla="*/ 427091 h 5973007"/>
              <a:gd name="connsiteX75220" fmla="*/ 2878178 w 6884782"/>
              <a:gd name="connsiteY75220" fmla="*/ 420832 h 5973007"/>
              <a:gd name="connsiteX75221" fmla="*/ 2656862 w 6884782"/>
              <a:gd name="connsiteY75221" fmla="*/ 420832 h 5973007"/>
              <a:gd name="connsiteX75222" fmla="*/ 2664972 w 6884782"/>
              <a:gd name="connsiteY75222" fmla="*/ 423108 h 5973007"/>
              <a:gd name="connsiteX75223" fmla="*/ 2665826 w 6884782"/>
              <a:gd name="connsiteY75223" fmla="*/ 427803 h 5973007"/>
              <a:gd name="connsiteX75224" fmla="*/ 2666039 w 6884782"/>
              <a:gd name="connsiteY75224" fmla="*/ 427376 h 5973007"/>
              <a:gd name="connsiteX75225" fmla="*/ 2673936 w 6884782"/>
              <a:gd name="connsiteY75225" fmla="*/ 421400 h 5973007"/>
              <a:gd name="connsiteX75226" fmla="*/ 2686101 w 6884782"/>
              <a:gd name="connsiteY75226" fmla="*/ 447009 h 5973007"/>
              <a:gd name="connsiteX75227" fmla="*/ 2662198 w 6884782"/>
              <a:gd name="connsiteY75227" fmla="*/ 451561 h 5973007"/>
              <a:gd name="connsiteX75228" fmla="*/ 2661771 w 6884782"/>
              <a:gd name="connsiteY75228" fmla="*/ 434489 h 5973007"/>
              <a:gd name="connsiteX75229" fmla="*/ 2665186 w 6884782"/>
              <a:gd name="connsiteY75229" fmla="*/ 428799 h 5973007"/>
              <a:gd name="connsiteX75230" fmla="*/ 2661984 w 6884782"/>
              <a:gd name="connsiteY75230" fmla="*/ 430648 h 5973007"/>
              <a:gd name="connsiteX75231" fmla="*/ 2649606 w 6884782"/>
              <a:gd name="connsiteY75231" fmla="*/ 426095 h 5973007"/>
              <a:gd name="connsiteX75232" fmla="*/ 2656862 w 6884782"/>
              <a:gd name="connsiteY75232" fmla="*/ 420832 h 5973007"/>
              <a:gd name="connsiteX75233" fmla="*/ 3198095 w 6884782"/>
              <a:gd name="connsiteY75233" fmla="*/ 419978 h 5973007"/>
              <a:gd name="connsiteX75234" fmla="*/ 3208765 w 6884782"/>
              <a:gd name="connsiteY75234" fmla="*/ 429083 h 5973007"/>
              <a:gd name="connsiteX75235" fmla="*/ 3210046 w 6884782"/>
              <a:gd name="connsiteY75235" fmla="*/ 433209 h 5973007"/>
              <a:gd name="connsiteX75236" fmla="*/ 3206632 w 6884782"/>
              <a:gd name="connsiteY75236" fmla="*/ 437904 h 5973007"/>
              <a:gd name="connsiteX75237" fmla="*/ 3195534 w 6884782"/>
              <a:gd name="connsiteY75237" fmla="*/ 425100 h 5973007"/>
              <a:gd name="connsiteX75238" fmla="*/ 3198095 w 6884782"/>
              <a:gd name="connsiteY75238" fmla="*/ 419978 h 5973007"/>
              <a:gd name="connsiteX75239" fmla="*/ 2628477 w 6884782"/>
              <a:gd name="connsiteY75239" fmla="*/ 419267 h 5973007"/>
              <a:gd name="connsiteX75240" fmla="*/ 2638081 w 6884782"/>
              <a:gd name="connsiteY75240" fmla="*/ 433778 h 5973007"/>
              <a:gd name="connsiteX75241" fmla="*/ 2620154 w 6884782"/>
              <a:gd name="connsiteY75241" fmla="*/ 432213 h 5973007"/>
              <a:gd name="connsiteX75242" fmla="*/ 2628477 w 6884782"/>
              <a:gd name="connsiteY75242" fmla="*/ 419267 h 5973007"/>
              <a:gd name="connsiteX75243" fmla="*/ 2732413 w 6884782"/>
              <a:gd name="connsiteY75243" fmla="*/ 418840 h 5973007"/>
              <a:gd name="connsiteX75244" fmla="*/ 2733693 w 6884782"/>
              <a:gd name="connsiteY75244" fmla="*/ 419835 h 5973007"/>
              <a:gd name="connsiteX75245" fmla="*/ 2733907 w 6884782"/>
              <a:gd name="connsiteY75245" fmla="*/ 420974 h 5973007"/>
              <a:gd name="connsiteX75246" fmla="*/ 2731772 w 6884782"/>
              <a:gd name="connsiteY75246" fmla="*/ 419835 h 5973007"/>
              <a:gd name="connsiteX75247" fmla="*/ 2732413 w 6884782"/>
              <a:gd name="connsiteY75247" fmla="*/ 418840 h 5973007"/>
              <a:gd name="connsiteX75248" fmla="*/ 2304720 w 6884782"/>
              <a:gd name="connsiteY75248" fmla="*/ 416848 h 5973007"/>
              <a:gd name="connsiteX75249" fmla="*/ 2319659 w 6884782"/>
              <a:gd name="connsiteY75249" fmla="*/ 436908 h 5973007"/>
              <a:gd name="connsiteX75250" fmla="*/ 2321367 w 6884782"/>
              <a:gd name="connsiteY75250" fmla="*/ 438473 h 5973007"/>
              <a:gd name="connsiteX75251" fmla="*/ 2321367 w 6884782"/>
              <a:gd name="connsiteY75251" fmla="*/ 437050 h 5973007"/>
              <a:gd name="connsiteX75252" fmla="*/ 2332678 w 6884782"/>
              <a:gd name="connsiteY75252" fmla="*/ 430648 h 5973007"/>
              <a:gd name="connsiteX75253" fmla="*/ 2341428 w 6884782"/>
              <a:gd name="connsiteY75253" fmla="*/ 453269 h 5973007"/>
              <a:gd name="connsiteX75254" fmla="*/ 2335452 w 6884782"/>
              <a:gd name="connsiteY75254" fmla="*/ 454407 h 5973007"/>
              <a:gd name="connsiteX75255" fmla="*/ 2331397 w 6884782"/>
              <a:gd name="connsiteY75255" fmla="*/ 459387 h 5973007"/>
              <a:gd name="connsiteX75256" fmla="*/ 2321153 w 6884782"/>
              <a:gd name="connsiteY75256" fmla="*/ 464650 h 5973007"/>
              <a:gd name="connsiteX75257" fmla="*/ 2293835 w 6884782"/>
              <a:gd name="connsiteY75257" fmla="*/ 444875 h 5973007"/>
              <a:gd name="connsiteX75258" fmla="*/ 2298744 w 6884782"/>
              <a:gd name="connsiteY75258" fmla="*/ 423108 h 5973007"/>
              <a:gd name="connsiteX75259" fmla="*/ 2304720 w 6884782"/>
              <a:gd name="connsiteY75259" fmla="*/ 416848 h 5973007"/>
              <a:gd name="connsiteX75260" fmla="*/ 3033975 w 6884782"/>
              <a:gd name="connsiteY75260" fmla="*/ 416563 h 5973007"/>
              <a:gd name="connsiteX75261" fmla="*/ 3036536 w 6884782"/>
              <a:gd name="connsiteY75261" fmla="*/ 422112 h 5973007"/>
              <a:gd name="connsiteX75262" fmla="*/ 3031627 w 6884782"/>
              <a:gd name="connsiteY75262" fmla="*/ 437050 h 5973007"/>
              <a:gd name="connsiteX75263" fmla="*/ 3026719 w 6884782"/>
              <a:gd name="connsiteY75263" fmla="*/ 427091 h 5973007"/>
              <a:gd name="connsiteX75264" fmla="*/ 3033975 w 6884782"/>
              <a:gd name="connsiteY75264" fmla="*/ 416563 h 5973007"/>
              <a:gd name="connsiteX75265" fmla="*/ 2728358 w 6884782"/>
              <a:gd name="connsiteY75265" fmla="*/ 413007 h 5973007"/>
              <a:gd name="connsiteX75266" fmla="*/ 2730492 w 6884782"/>
              <a:gd name="connsiteY75266" fmla="*/ 415994 h 5973007"/>
              <a:gd name="connsiteX75267" fmla="*/ 2731132 w 6884782"/>
              <a:gd name="connsiteY75267" fmla="*/ 419267 h 5973007"/>
              <a:gd name="connsiteX75268" fmla="*/ 2727291 w 6884782"/>
              <a:gd name="connsiteY75268" fmla="*/ 416706 h 5973007"/>
              <a:gd name="connsiteX75269" fmla="*/ 2728358 w 6884782"/>
              <a:gd name="connsiteY75269" fmla="*/ 413007 h 5973007"/>
              <a:gd name="connsiteX75270" fmla="*/ 3145807 w 6884782"/>
              <a:gd name="connsiteY75270" fmla="*/ 412011 h 5973007"/>
              <a:gd name="connsiteX75271" fmla="*/ 3148581 w 6884782"/>
              <a:gd name="connsiteY75271" fmla="*/ 412011 h 5973007"/>
              <a:gd name="connsiteX75272" fmla="*/ 3152423 w 6884782"/>
              <a:gd name="connsiteY75272" fmla="*/ 413576 h 5973007"/>
              <a:gd name="connsiteX75273" fmla="*/ 3155198 w 6884782"/>
              <a:gd name="connsiteY75273" fmla="*/ 418270 h 5973007"/>
              <a:gd name="connsiteX75274" fmla="*/ 3155624 w 6884782"/>
              <a:gd name="connsiteY75274" fmla="*/ 420690 h 5973007"/>
              <a:gd name="connsiteX75275" fmla="*/ 3145807 w 6884782"/>
              <a:gd name="connsiteY75275" fmla="*/ 423677 h 5973007"/>
              <a:gd name="connsiteX75276" fmla="*/ 3140898 w 6884782"/>
              <a:gd name="connsiteY75276" fmla="*/ 414287 h 5973007"/>
              <a:gd name="connsiteX75277" fmla="*/ 3143032 w 6884782"/>
              <a:gd name="connsiteY75277" fmla="*/ 412864 h 5973007"/>
              <a:gd name="connsiteX75278" fmla="*/ 3145807 w 6884782"/>
              <a:gd name="connsiteY75278" fmla="*/ 412011 h 5973007"/>
              <a:gd name="connsiteX75279" fmla="*/ 3059159 w 6884782"/>
              <a:gd name="connsiteY75279" fmla="*/ 410731 h 5973007"/>
              <a:gd name="connsiteX75280" fmla="*/ 3058732 w 6884782"/>
              <a:gd name="connsiteY75280" fmla="*/ 411442 h 5973007"/>
              <a:gd name="connsiteX75281" fmla="*/ 3059159 w 6884782"/>
              <a:gd name="connsiteY75281" fmla="*/ 414856 h 5973007"/>
              <a:gd name="connsiteX75282" fmla="*/ 3064494 w 6884782"/>
              <a:gd name="connsiteY75282" fmla="*/ 420974 h 5973007"/>
              <a:gd name="connsiteX75283" fmla="*/ 3064067 w 6884782"/>
              <a:gd name="connsiteY75283" fmla="*/ 423677 h 5973007"/>
              <a:gd name="connsiteX75284" fmla="*/ 3060652 w 6884782"/>
              <a:gd name="connsiteY75284" fmla="*/ 422965 h 5973007"/>
              <a:gd name="connsiteX75285" fmla="*/ 3060652 w 6884782"/>
              <a:gd name="connsiteY75285" fmla="*/ 418555 h 5973007"/>
              <a:gd name="connsiteX75286" fmla="*/ 3057664 w 6884782"/>
              <a:gd name="connsiteY75286" fmla="*/ 415283 h 5973007"/>
              <a:gd name="connsiteX75287" fmla="*/ 3057664 w 6884782"/>
              <a:gd name="connsiteY75287" fmla="*/ 410873 h 5973007"/>
              <a:gd name="connsiteX75288" fmla="*/ 3059159 w 6884782"/>
              <a:gd name="connsiteY75288" fmla="*/ 410731 h 5973007"/>
              <a:gd name="connsiteX75289" fmla="*/ 2783420 w 6884782"/>
              <a:gd name="connsiteY75289" fmla="*/ 410019 h 5973007"/>
              <a:gd name="connsiteX75290" fmla="*/ 2787689 w 6884782"/>
              <a:gd name="connsiteY75290" fmla="*/ 411584 h 5973007"/>
              <a:gd name="connsiteX75291" fmla="*/ 2782139 w 6884782"/>
              <a:gd name="connsiteY75291" fmla="*/ 413861 h 5973007"/>
              <a:gd name="connsiteX75292" fmla="*/ 2778298 w 6884782"/>
              <a:gd name="connsiteY75292" fmla="*/ 411299 h 5973007"/>
              <a:gd name="connsiteX75293" fmla="*/ 2783420 w 6884782"/>
              <a:gd name="connsiteY75293" fmla="*/ 410019 h 5973007"/>
              <a:gd name="connsiteX75294" fmla="*/ 3285810 w 6884782"/>
              <a:gd name="connsiteY75294" fmla="*/ 409592 h 5973007"/>
              <a:gd name="connsiteX75295" fmla="*/ 3287517 w 6884782"/>
              <a:gd name="connsiteY75295" fmla="*/ 414429 h 5973007"/>
              <a:gd name="connsiteX75296" fmla="*/ 3280475 w 6884782"/>
              <a:gd name="connsiteY75296" fmla="*/ 416706 h 5973007"/>
              <a:gd name="connsiteX75297" fmla="*/ 3278554 w 6884782"/>
              <a:gd name="connsiteY75297" fmla="*/ 412011 h 5973007"/>
              <a:gd name="connsiteX75298" fmla="*/ 3285810 w 6884782"/>
              <a:gd name="connsiteY75298" fmla="*/ 409592 h 5973007"/>
              <a:gd name="connsiteX75299" fmla="*/ 2791743 w 6884782"/>
              <a:gd name="connsiteY75299" fmla="*/ 409450 h 5973007"/>
              <a:gd name="connsiteX75300" fmla="*/ 2791957 w 6884782"/>
              <a:gd name="connsiteY75300" fmla="*/ 411157 h 5973007"/>
              <a:gd name="connsiteX75301" fmla="*/ 2792597 w 6884782"/>
              <a:gd name="connsiteY75301" fmla="*/ 410019 h 5973007"/>
              <a:gd name="connsiteX75302" fmla="*/ 2792170 w 6884782"/>
              <a:gd name="connsiteY75302" fmla="*/ 411726 h 5973007"/>
              <a:gd name="connsiteX75303" fmla="*/ 2791317 w 6884782"/>
              <a:gd name="connsiteY75303" fmla="*/ 412153 h 5973007"/>
              <a:gd name="connsiteX75304" fmla="*/ 2787902 w 6884782"/>
              <a:gd name="connsiteY75304" fmla="*/ 411442 h 5973007"/>
              <a:gd name="connsiteX75305" fmla="*/ 2791743 w 6884782"/>
              <a:gd name="connsiteY75305" fmla="*/ 409450 h 5973007"/>
              <a:gd name="connsiteX75306" fmla="*/ 3091598 w 6884782"/>
              <a:gd name="connsiteY75306" fmla="*/ 406036 h 5973007"/>
              <a:gd name="connsiteX75307" fmla="*/ 3095867 w 6884782"/>
              <a:gd name="connsiteY75307" fmla="*/ 406036 h 5973007"/>
              <a:gd name="connsiteX75308" fmla="*/ 3100135 w 6884782"/>
              <a:gd name="connsiteY75308" fmla="*/ 410304 h 5973007"/>
              <a:gd name="connsiteX75309" fmla="*/ 3087757 w 6884782"/>
              <a:gd name="connsiteY75309" fmla="*/ 422681 h 5973007"/>
              <a:gd name="connsiteX75310" fmla="*/ 3083702 w 6884782"/>
              <a:gd name="connsiteY75310" fmla="*/ 415283 h 5973007"/>
              <a:gd name="connsiteX75311" fmla="*/ 3091598 w 6884782"/>
              <a:gd name="connsiteY75311" fmla="*/ 406036 h 5973007"/>
              <a:gd name="connsiteX75312" fmla="*/ 3416209 w 6884782"/>
              <a:gd name="connsiteY75312" fmla="*/ 405182 h 5973007"/>
              <a:gd name="connsiteX75313" fmla="*/ 3426668 w 6884782"/>
              <a:gd name="connsiteY75313" fmla="*/ 408596 h 5973007"/>
              <a:gd name="connsiteX75314" fmla="*/ 3428801 w 6884782"/>
              <a:gd name="connsiteY75314" fmla="*/ 409877 h 5973007"/>
              <a:gd name="connsiteX75315" fmla="*/ 3431149 w 6884782"/>
              <a:gd name="connsiteY75315" fmla="*/ 411157 h 5973007"/>
              <a:gd name="connsiteX75316" fmla="*/ 3432430 w 6884782"/>
              <a:gd name="connsiteY75316" fmla="*/ 413149 h 5973007"/>
              <a:gd name="connsiteX75317" fmla="*/ 3431789 w 6884782"/>
              <a:gd name="connsiteY75317" fmla="*/ 415994 h 5973007"/>
              <a:gd name="connsiteX75318" fmla="*/ 3411728 w 6884782"/>
              <a:gd name="connsiteY75318" fmla="*/ 408312 h 5973007"/>
              <a:gd name="connsiteX75319" fmla="*/ 3413009 w 6884782"/>
              <a:gd name="connsiteY75319" fmla="*/ 405893 h 5973007"/>
              <a:gd name="connsiteX75320" fmla="*/ 3416209 w 6884782"/>
              <a:gd name="connsiteY75320" fmla="*/ 405182 h 5973007"/>
              <a:gd name="connsiteX75321" fmla="*/ 3210900 w 6884782"/>
              <a:gd name="connsiteY75321" fmla="*/ 403048 h 5973007"/>
              <a:gd name="connsiteX75322" fmla="*/ 3219224 w 6884782"/>
              <a:gd name="connsiteY75322" fmla="*/ 408454 h 5973007"/>
              <a:gd name="connsiteX75323" fmla="*/ 3219010 w 6884782"/>
              <a:gd name="connsiteY75323" fmla="*/ 421400 h 5973007"/>
              <a:gd name="connsiteX75324" fmla="*/ 3212821 w 6884782"/>
              <a:gd name="connsiteY75324" fmla="*/ 423108 h 5973007"/>
              <a:gd name="connsiteX75325" fmla="*/ 3212394 w 6884782"/>
              <a:gd name="connsiteY75325" fmla="*/ 422681 h 5973007"/>
              <a:gd name="connsiteX75326" fmla="*/ 3200869 w 6884782"/>
              <a:gd name="connsiteY75326" fmla="*/ 416706 h 5973007"/>
              <a:gd name="connsiteX75327" fmla="*/ 3199162 w 6884782"/>
              <a:gd name="connsiteY75327" fmla="*/ 409308 h 5973007"/>
              <a:gd name="connsiteX75328" fmla="*/ 3202790 w 6884782"/>
              <a:gd name="connsiteY75328" fmla="*/ 408169 h 5973007"/>
              <a:gd name="connsiteX75329" fmla="*/ 3207912 w 6884782"/>
              <a:gd name="connsiteY75329" fmla="*/ 411299 h 5973007"/>
              <a:gd name="connsiteX75330" fmla="*/ 3207912 w 6884782"/>
              <a:gd name="connsiteY75330" fmla="*/ 408739 h 5973007"/>
              <a:gd name="connsiteX75331" fmla="*/ 3210900 w 6884782"/>
              <a:gd name="connsiteY75331" fmla="*/ 403048 h 5973007"/>
              <a:gd name="connsiteX75332" fmla="*/ 3055317 w 6884782"/>
              <a:gd name="connsiteY75332" fmla="*/ 402052 h 5973007"/>
              <a:gd name="connsiteX75333" fmla="*/ 3056811 w 6884782"/>
              <a:gd name="connsiteY75333" fmla="*/ 410446 h 5973007"/>
              <a:gd name="connsiteX75334" fmla="*/ 3056171 w 6884782"/>
              <a:gd name="connsiteY75334" fmla="*/ 407032 h 5973007"/>
              <a:gd name="connsiteX75335" fmla="*/ 3054250 w 6884782"/>
              <a:gd name="connsiteY75335" fmla="*/ 405751 h 5973007"/>
              <a:gd name="connsiteX75336" fmla="*/ 3055317 w 6884782"/>
              <a:gd name="connsiteY75336" fmla="*/ 402052 h 5973007"/>
              <a:gd name="connsiteX75337" fmla="*/ 3026079 w 6884782"/>
              <a:gd name="connsiteY75337" fmla="*/ 402052 h 5973007"/>
              <a:gd name="connsiteX75338" fmla="*/ 3028853 w 6884782"/>
              <a:gd name="connsiteY75338" fmla="*/ 407458 h 5973007"/>
              <a:gd name="connsiteX75339" fmla="*/ 3023517 w 6884782"/>
              <a:gd name="connsiteY75339" fmla="*/ 427234 h 5973007"/>
              <a:gd name="connsiteX75340" fmla="*/ 3012633 w 6884782"/>
              <a:gd name="connsiteY75340" fmla="*/ 424246 h 5973007"/>
              <a:gd name="connsiteX75341" fmla="*/ 3026079 w 6884782"/>
              <a:gd name="connsiteY75341" fmla="*/ 402052 h 5973007"/>
              <a:gd name="connsiteX75342" fmla="*/ 3243980 w 6884782"/>
              <a:gd name="connsiteY75342" fmla="*/ 400487 h 5973007"/>
              <a:gd name="connsiteX75343" fmla="*/ 3255718 w 6884782"/>
              <a:gd name="connsiteY75343" fmla="*/ 408169 h 5973007"/>
              <a:gd name="connsiteX75344" fmla="*/ 3240565 w 6884782"/>
              <a:gd name="connsiteY75344" fmla="*/ 400772 h 5973007"/>
              <a:gd name="connsiteX75345" fmla="*/ 3243980 w 6884782"/>
              <a:gd name="connsiteY75345" fmla="*/ 400487 h 5973007"/>
              <a:gd name="connsiteX75346" fmla="*/ 2508749 w 6884782"/>
              <a:gd name="connsiteY75346" fmla="*/ 400060 h 5973007"/>
              <a:gd name="connsiteX75347" fmla="*/ 2515365 w 6884782"/>
              <a:gd name="connsiteY75347" fmla="*/ 402195 h 5973007"/>
              <a:gd name="connsiteX75348" fmla="*/ 2506828 w 6884782"/>
              <a:gd name="connsiteY75348" fmla="*/ 417133 h 5973007"/>
              <a:gd name="connsiteX75349" fmla="*/ 2508749 w 6884782"/>
              <a:gd name="connsiteY75349" fmla="*/ 400060 h 5973007"/>
              <a:gd name="connsiteX75350" fmla="*/ 2983608 w 6884782"/>
              <a:gd name="connsiteY75350" fmla="*/ 399633 h 5973007"/>
              <a:gd name="connsiteX75351" fmla="*/ 2987876 w 6884782"/>
              <a:gd name="connsiteY75351" fmla="*/ 413861 h 5973007"/>
              <a:gd name="connsiteX75352" fmla="*/ 2979553 w 6884782"/>
              <a:gd name="connsiteY75352" fmla="*/ 412011 h 5973007"/>
              <a:gd name="connsiteX75353" fmla="*/ 2978059 w 6884782"/>
              <a:gd name="connsiteY75353" fmla="*/ 408454 h 5973007"/>
              <a:gd name="connsiteX75354" fmla="*/ 2978059 w 6884782"/>
              <a:gd name="connsiteY75354" fmla="*/ 401198 h 5973007"/>
              <a:gd name="connsiteX75355" fmla="*/ 2976992 w 6884782"/>
              <a:gd name="connsiteY75355" fmla="*/ 401341 h 5973007"/>
              <a:gd name="connsiteX75356" fmla="*/ 2983608 w 6884782"/>
              <a:gd name="connsiteY75356" fmla="*/ 399633 h 5973007"/>
              <a:gd name="connsiteX75357" fmla="*/ 2680552 w 6884782"/>
              <a:gd name="connsiteY75357" fmla="*/ 393943 h 5973007"/>
              <a:gd name="connsiteX75358" fmla="*/ 2688235 w 6884782"/>
              <a:gd name="connsiteY75358" fmla="*/ 398068 h 5973007"/>
              <a:gd name="connsiteX75359" fmla="*/ 2688448 w 6884782"/>
              <a:gd name="connsiteY75359" fmla="*/ 402052 h 5973007"/>
              <a:gd name="connsiteX75360" fmla="*/ 2684607 w 6884782"/>
              <a:gd name="connsiteY75360" fmla="*/ 406036 h 5973007"/>
              <a:gd name="connsiteX75361" fmla="*/ 2678417 w 6884782"/>
              <a:gd name="connsiteY75361" fmla="*/ 396788 h 5973007"/>
              <a:gd name="connsiteX75362" fmla="*/ 2680552 w 6884782"/>
              <a:gd name="connsiteY75362" fmla="*/ 393943 h 5973007"/>
              <a:gd name="connsiteX75363" fmla="*/ 2962479 w 6884782"/>
              <a:gd name="connsiteY75363" fmla="*/ 392947 h 5973007"/>
              <a:gd name="connsiteX75364" fmla="*/ 2966748 w 6884782"/>
              <a:gd name="connsiteY75364" fmla="*/ 394512 h 5973007"/>
              <a:gd name="connsiteX75365" fmla="*/ 2961199 w 6884782"/>
              <a:gd name="connsiteY75365" fmla="*/ 406178 h 5973007"/>
              <a:gd name="connsiteX75366" fmla="*/ 2960132 w 6884782"/>
              <a:gd name="connsiteY75366" fmla="*/ 409308 h 5973007"/>
              <a:gd name="connsiteX75367" fmla="*/ 2963760 w 6884782"/>
              <a:gd name="connsiteY75367" fmla="*/ 408454 h 5973007"/>
              <a:gd name="connsiteX75368" fmla="*/ 2971443 w 6884782"/>
              <a:gd name="connsiteY75368" fmla="*/ 411015 h 5973007"/>
              <a:gd name="connsiteX75369" fmla="*/ 2976779 w 6884782"/>
              <a:gd name="connsiteY75369" fmla="*/ 432356 h 5973007"/>
              <a:gd name="connsiteX75370" fmla="*/ 2974858 w 6884782"/>
              <a:gd name="connsiteY75370" fmla="*/ 434774 h 5973007"/>
              <a:gd name="connsiteX75371" fmla="*/ 2973150 w 6884782"/>
              <a:gd name="connsiteY75371" fmla="*/ 439753 h 5973007"/>
              <a:gd name="connsiteX75372" fmla="*/ 2958425 w 6884782"/>
              <a:gd name="connsiteY75372" fmla="*/ 434631 h 5973007"/>
              <a:gd name="connsiteX75373" fmla="*/ 2950528 w 6884782"/>
              <a:gd name="connsiteY75373" fmla="*/ 418840 h 5973007"/>
              <a:gd name="connsiteX75374" fmla="*/ 2952022 w 6884782"/>
              <a:gd name="connsiteY75374" fmla="*/ 415141 h 5973007"/>
              <a:gd name="connsiteX75375" fmla="*/ 2949247 w 6884782"/>
              <a:gd name="connsiteY75375" fmla="*/ 412722 h 5973007"/>
              <a:gd name="connsiteX75376" fmla="*/ 2951808 w 6884782"/>
              <a:gd name="connsiteY75376" fmla="*/ 395081 h 5973007"/>
              <a:gd name="connsiteX75377" fmla="*/ 2962479 w 6884782"/>
              <a:gd name="connsiteY75377" fmla="*/ 392947 h 5973007"/>
              <a:gd name="connsiteX75378" fmla="*/ 2352525 w 6884782"/>
              <a:gd name="connsiteY75378" fmla="*/ 390955 h 5973007"/>
              <a:gd name="connsiteX75379" fmla="*/ 2364691 w 6884782"/>
              <a:gd name="connsiteY75379" fmla="*/ 402621 h 5973007"/>
              <a:gd name="connsiteX75380" fmla="*/ 2358288 w 6884782"/>
              <a:gd name="connsiteY75380" fmla="*/ 409734 h 5973007"/>
              <a:gd name="connsiteX75381" fmla="*/ 2346337 w 6884782"/>
              <a:gd name="connsiteY75381" fmla="*/ 394796 h 5973007"/>
              <a:gd name="connsiteX75382" fmla="*/ 2352525 w 6884782"/>
              <a:gd name="connsiteY75382" fmla="*/ 390955 h 5973007"/>
              <a:gd name="connsiteX75383" fmla="*/ 3040591 w 6884782"/>
              <a:gd name="connsiteY75383" fmla="*/ 390101 h 5973007"/>
              <a:gd name="connsiteX75384" fmla="*/ 3050408 w 6884782"/>
              <a:gd name="connsiteY75384" fmla="*/ 427945 h 5973007"/>
              <a:gd name="connsiteX75385" fmla="*/ 3040591 w 6884782"/>
              <a:gd name="connsiteY75385" fmla="*/ 390101 h 5973007"/>
              <a:gd name="connsiteX75386" fmla="*/ 2372587 w 6884782"/>
              <a:gd name="connsiteY75386" fmla="*/ 388394 h 5973007"/>
              <a:gd name="connsiteX75387" fmla="*/ 2382618 w 6884782"/>
              <a:gd name="connsiteY75387" fmla="*/ 399776 h 5973007"/>
              <a:gd name="connsiteX75388" fmla="*/ 2372587 w 6884782"/>
              <a:gd name="connsiteY75388" fmla="*/ 388394 h 5973007"/>
              <a:gd name="connsiteX75389" fmla="*/ 2925985 w 6884782"/>
              <a:gd name="connsiteY75389" fmla="*/ 386260 h 5973007"/>
              <a:gd name="connsiteX75390" fmla="*/ 2928759 w 6884782"/>
              <a:gd name="connsiteY75390" fmla="*/ 391666 h 5973007"/>
              <a:gd name="connsiteX75391" fmla="*/ 2925985 w 6884782"/>
              <a:gd name="connsiteY75391" fmla="*/ 413434 h 5973007"/>
              <a:gd name="connsiteX75392" fmla="*/ 2931960 w 6884782"/>
              <a:gd name="connsiteY75392" fmla="*/ 426238 h 5973007"/>
              <a:gd name="connsiteX75393" fmla="*/ 2900801 w 6884782"/>
              <a:gd name="connsiteY75393" fmla="*/ 413576 h 5973007"/>
              <a:gd name="connsiteX75394" fmla="*/ 2894612 w 6884782"/>
              <a:gd name="connsiteY75394" fmla="*/ 405324 h 5973007"/>
              <a:gd name="connsiteX75395" fmla="*/ 2917021 w 6884782"/>
              <a:gd name="connsiteY75395" fmla="*/ 407885 h 5973007"/>
              <a:gd name="connsiteX75396" fmla="*/ 2925985 w 6884782"/>
              <a:gd name="connsiteY75396" fmla="*/ 386260 h 5973007"/>
              <a:gd name="connsiteX75397" fmla="*/ 3154770 w 6884782"/>
              <a:gd name="connsiteY75397" fmla="*/ 385691 h 5973007"/>
              <a:gd name="connsiteX75398" fmla="*/ 3156478 w 6884782"/>
              <a:gd name="connsiteY75398" fmla="*/ 388964 h 5973007"/>
              <a:gd name="connsiteX75399" fmla="*/ 3155411 w 6884782"/>
              <a:gd name="connsiteY75399" fmla="*/ 393516 h 5973007"/>
              <a:gd name="connsiteX75400" fmla="*/ 3156051 w 6884782"/>
              <a:gd name="connsiteY75400" fmla="*/ 394654 h 5973007"/>
              <a:gd name="connsiteX75401" fmla="*/ 3154343 w 6884782"/>
              <a:gd name="connsiteY75401" fmla="*/ 398068 h 5973007"/>
              <a:gd name="connsiteX75402" fmla="*/ 3153063 w 6884782"/>
              <a:gd name="connsiteY75402" fmla="*/ 398922 h 5973007"/>
              <a:gd name="connsiteX75403" fmla="*/ 3150075 w 6884782"/>
              <a:gd name="connsiteY75403" fmla="*/ 402763 h 5973007"/>
              <a:gd name="connsiteX75404" fmla="*/ 3149222 w 6884782"/>
              <a:gd name="connsiteY75404" fmla="*/ 400772 h 5973007"/>
              <a:gd name="connsiteX75405" fmla="*/ 3144740 w 6884782"/>
              <a:gd name="connsiteY75405" fmla="*/ 400203 h 5973007"/>
              <a:gd name="connsiteX75406" fmla="*/ 3138764 w 6884782"/>
              <a:gd name="connsiteY75406" fmla="*/ 402479 h 5973007"/>
              <a:gd name="connsiteX75407" fmla="*/ 3146234 w 6884782"/>
              <a:gd name="connsiteY75407" fmla="*/ 397926 h 5973007"/>
              <a:gd name="connsiteX75408" fmla="*/ 3146874 w 6884782"/>
              <a:gd name="connsiteY75408" fmla="*/ 396361 h 5973007"/>
              <a:gd name="connsiteX75409" fmla="*/ 3146660 w 6884782"/>
              <a:gd name="connsiteY75409" fmla="*/ 396077 h 5973007"/>
              <a:gd name="connsiteX75410" fmla="*/ 3147087 w 6884782"/>
              <a:gd name="connsiteY75410" fmla="*/ 395650 h 5973007"/>
              <a:gd name="connsiteX75411" fmla="*/ 3147728 w 6884782"/>
              <a:gd name="connsiteY75411" fmla="*/ 394370 h 5973007"/>
              <a:gd name="connsiteX75412" fmla="*/ 3148155 w 6884782"/>
              <a:gd name="connsiteY75412" fmla="*/ 394227 h 5973007"/>
              <a:gd name="connsiteX75413" fmla="*/ 3149648 w 6884782"/>
              <a:gd name="connsiteY75413" fmla="*/ 391382 h 5973007"/>
              <a:gd name="connsiteX75414" fmla="*/ 3151783 w 6884782"/>
              <a:gd name="connsiteY75414" fmla="*/ 386118 h 5973007"/>
              <a:gd name="connsiteX75415" fmla="*/ 3154770 w 6884782"/>
              <a:gd name="connsiteY75415" fmla="*/ 385691 h 5973007"/>
              <a:gd name="connsiteX75416" fmla="*/ 2258834 w 6884782"/>
              <a:gd name="connsiteY75416" fmla="*/ 385407 h 5973007"/>
              <a:gd name="connsiteX75417" fmla="*/ 2261396 w 6884782"/>
              <a:gd name="connsiteY75417" fmla="*/ 385407 h 5973007"/>
              <a:gd name="connsiteX75418" fmla="*/ 2262676 w 6884782"/>
              <a:gd name="connsiteY75418" fmla="*/ 391524 h 5973007"/>
              <a:gd name="connsiteX75419" fmla="*/ 2263743 w 6884782"/>
              <a:gd name="connsiteY75419" fmla="*/ 392093 h 5973007"/>
              <a:gd name="connsiteX75420" fmla="*/ 2266731 w 6884782"/>
              <a:gd name="connsiteY75420" fmla="*/ 391097 h 5973007"/>
              <a:gd name="connsiteX75421" fmla="*/ 2277188 w 6884782"/>
              <a:gd name="connsiteY75421" fmla="*/ 397073 h 5973007"/>
              <a:gd name="connsiteX75422" fmla="*/ 2275055 w 6884782"/>
              <a:gd name="connsiteY75422" fmla="*/ 410446 h 5973007"/>
              <a:gd name="connsiteX75423" fmla="*/ 2269292 w 6884782"/>
              <a:gd name="connsiteY75423" fmla="*/ 413861 h 5973007"/>
              <a:gd name="connsiteX75424" fmla="*/ 2257340 w 6884782"/>
              <a:gd name="connsiteY75424" fmla="*/ 405751 h 5973007"/>
              <a:gd name="connsiteX75425" fmla="*/ 2260755 w 6884782"/>
              <a:gd name="connsiteY75425" fmla="*/ 392947 h 5973007"/>
              <a:gd name="connsiteX75426" fmla="*/ 2259048 w 6884782"/>
              <a:gd name="connsiteY75426" fmla="*/ 390813 h 5973007"/>
              <a:gd name="connsiteX75427" fmla="*/ 2258834 w 6884782"/>
              <a:gd name="connsiteY75427" fmla="*/ 385407 h 5973007"/>
              <a:gd name="connsiteX75428" fmla="*/ 2789823 w 6884782"/>
              <a:gd name="connsiteY75428" fmla="*/ 383557 h 5973007"/>
              <a:gd name="connsiteX75429" fmla="*/ 2794091 w 6884782"/>
              <a:gd name="connsiteY75429" fmla="*/ 385834 h 5973007"/>
              <a:gd name="connsiteX75430" fmla="*/ 2796652 w 6884782"/>
              <a:gd name="connsiteY75430" fmla="*/ 390101 h 5973007"/>
              <a:gd name="connsiteX75431" fmla="*/ 2798146 w 6884782"/>
              <a:gd name="connsiteY75431" fmla="*/ 394370 h 5973007"/>
              <a:gd name="connsiteX75432" fmla="*/ 2787475 w 6884782"/>
              <a:gd name="connsiteY75432" fmla="*/ 394227 h 5973007"/>
              <a:gd name="connsiteX75433" fmla="*/ 2786408 w 6884782"/>
              <a:gd name="connsiteY75433" fmla="*/ 391809 h 5973007"/>
              <a:gd name="connsiteX75434" fmla="*/ 2785981 w 6884782"/>
              <a:gd name="connsiteY75434" fmla="*/ 385691 h 5973007"/>
              <a:gd name="connsiteX75435" fmla="*/ 2789823 w 6884782"/>
              <a:gd name="connsiteY75435" fmla="*/ 383557 h 5973007"/>
              <a:gd name="connsiteX75436" fmla="*/ 2679485 w 6884782"/>
              <a:gd name="connsiteY75436" fmla="*/ 383557 h 5973007"/>
              <a:gd name="connsiteX75437" fmla="*/ 2665399 w 6884782"/>
              <a:gd name="connsiteY75437" fmla="*/ 400772 h 5973007"/>
              <a:gd name="connsiteX75438" fmla="*/ 2679485 w 6884782"/>
              <a:gd name="connsiteY75438" fmla="*/ 383557 h 5973007"/>
              <a:gd name="connsiteX75439" fmla="*/ 3096293 w 6884782"/>
              <a:gd name="connsiteY75439" fmla="*/ 380000 h 5973007"/>
              <a:gd name="connsiteX75440" fmla="*/ 3097574 w 6884782"/>
              <a:gd name="connsiteY75440" fmla="*/ 382277 h 5973007"/>
              <a:gd name="connsiteX75441" fmla="*/ 3098001 w 6884782"/>
              <a:gd name="connsiteY75441" fmla="*/ 385407 h 5973007"/>
              <a:gd name="connsiteX75442" fmla="*/ 3098641 w 6884782"/>
              <a:gd name="connsiteY75442" fmla="*/ 388679 h 5973007"/>
              <a:gd name="connsiteX75443" fmla="*/ 3099922 w 6884782"/>
              <a:gd name="connsiteY75443" fmla="*/ 390813 h 5973007"/>
              <a:gd name="connsiteX75444" fmla="*/ 3099068 w 6884782"/>
              <a:gd name="connsiteY75444" fmla="*/ 396077 h 5973007"/>
              <a:gd name="connsiteX75445" fmla="*/ 3098001 w 6884782"/>
              <a:gd name="connsiteY75445" fmla="*/ 393943 h 5973007"/>
              <a:gd name="connsiteX75446" fmla="*/ 3097361 w 6884782"/>
              <a:gd name="connsiteY75446" fmla="*/ 390671 h 5973007"/>
              <a:gd name="connsiteX75447" fmla="*/ 3095440 w 6884782"/>
              <a:gd name="connsiteY75447" fmla="*/ 389390 h 5973007"/>
              <a:gd name="connsiteX75448" fmla="*/ 3096293 w 6884782"/>
              <a:gd name="connsiteY75448" fmla="*/ 380000 h 5973007"/>
              <a:gd name="connsiteX75449" fmla="*/ 2702747 w 6884782"/>
              <a:gd name="connsiteY75449" fmla="*/ 378578 h 5973007"/>
              <a:gd name="connsiteX75450" fmla="*/ 2715126 w 6884782"/>
              <a:gd name="connsiteY75450" fmla="*/ 394654 h 5973007"/>
              <a:gd name="connsiteX75451" fmla="*/ 2706162 w 6884782"/>
              <a:gd name="connsiteY75451" fmla="*/ 401056 h 5973007"/>
              <a:gd name="connsiteX75452" fmla="*/ 2696985 w 6884782"/>
              <a:gd name="connsiteY75452" fmla="*/ 382988 h 5973007"/>
              <a:gd name="connsiteX75453" fmla="*/ 2702747 w 6884782"/>
              <a:gd name="connsiteY75453" fmla="*/ 378578 h 5973007"/>
              <a:gd name="connsiteX75454" fmla="*/ 2397557 w 6884782"/>
              <a:gd name="connsiteY75454" fmla="*/ 376159 h 5973007"/>
              <a:gd name="connsiteX75455" fmla="*/ 2401185 w 6884782"/>
              <a:gd name="connsiteY75455" fmla="*/ 376159 h 5973007"/>
              <a:gd name="connsiteX75456" fmla="*/ 2408655 w 6884782"/>
              <a:gd name="connsiteY75456" fmla="*/ 393231 h 5973007"/>
              <a:gd name="connsiteX75457" fmla="*/ 2398838 w 6884782"/>
              <a:gd name="connsiteY75457" fmla="*/ 398068 h 5973007"/>
              <a:gd name="connsiteX75458" fmla="*/ 2393502 w 6884782"/>
              <a:gd name="connsiteY75458" fmla="*/ 377724 h 5973007"/>
              <a:gd name="connsiteX75459" fmla="*/ 2397557 w 6884782"/>
              <a:gd name="connsiteY75459" fmla="*/ 376159 h 5973007"/>
              <a:gd name="connsiteX75460" fmla="*/ 2444083 w 6884782"/>
              <a:gd name="connsiteY75460" fmla="*/ 374736 h 5973007"/>
              <a:gd name="connsiteX75461" fmla="*/ 2461157 w 6884782"/>
              <a:gd name="connsiteY75461" fmla="*/ 400345 h 5973007"/>
              <a:gd name="connsiteX75462" fmla="*/ 2456247 w 6884782"/>
              <a:gd name="connsiteY75462" fmla="*/ 410731 h 5973007"/>
              <a:gd name="connsiteX75463" fmla="*/ 2437253 w 6884782"/>
              <a:gd name="connsiteY75463" fmla="*/ 393943 h 5973007"/>
              <a:gd name="connsiteX75464" fmla="*/ 2437467 w 6884782"/>
              <a:gd name="connsiteY75464" fmla="*/ 385549 h 5973007"/>
              <a:gd name="connsiteX75465" fmla="*/ 2438107 w 6884782"/>
              <a:gd name="connsiteY75465" fmla="*/ 384411 h 5973007"/>
              <a:gd name="connsiteX75466" fmla="*/ 2438961 w 6884782"/>
              <a:gd name="connsiteY75466" fmla="*/ 382277 h 5973007"/>
              <a:gd name="connsiteX75467" fmla="*/ 2662198 w 6884782"/>
              <a:gd name="connsiteY75467" fmla="*/ 373456 h 5973007"/>
              <a:gd name="connsiteX75468" fmla="*/ 2663905 w 6884782"/>
              <a:gd name="connsiteY75468" fmla="*/ 378151 h 5973007"/>
              <a:gd name="connsiteX75469" fmla="*/ 2654728 w 6884782"/>
              <a:gd name="connsiteY75469" fmla="*/ 383272 h 5973007"/>
              <a:gd name="connsiteX75470" fmla="*/ 2662198 w 6884782"/>
              <a:gd name="connsiteY75470" fmla="*/ 373456 h 5973007"/>
              <a:gd name="connsiteX75471" fmla="*/ 3136843 w 6884782"/>
              <a:gd name="connsiteY75471" fmla="*/ 371180 h 5973007"/>
              <a:gd name="connsiteX75472" fmla="*/ 3139404 w 6884782"/>
              <a:gd name="connsiteY75472" fmla="*/ 372460 h 5973007"/>
              <a:gd name="connsiteX75473" fmla="*/ 3140898 w 6884782"/>
              <a:gd name="connsiteY75473" fmla="*/ 374736 h 5973007"/>
              <a:gd name="connsiteX75474" fmla="*/ 3138764 w 6884782"/>
              <a:gd name="connsiteY75474" fmla="*/ 378578 h 5973007"/>
              <a:gd name="connsiteX75475" fmla="*/ 3133642 w 6884782"/>
              <a:gd name="connsiteY75475" fmla="*/ 383272 h 5973007"/>
              <a:gd name="connsiteX75476" fmla="*/ 3132148 w 6884782"/>
              <a:gd name="connsiteY75476" fmla="*/ 386972 h 5973007"/>
              <a:gd name="connsiteX75477" fmla="*/ 3131081 w 6884782"/>
              <a:gd name="connsiteY75477" fmla="*/ 386972 h 5973007"/>
              <a:gd name="connsiteX75478" fmla="*/ 3134709 w 6884782"/>
              <a:gd name="connsiteY75478" fmla="*/ 372460 h 5973007"/>
              <a:gd name="connsiteX75479" fmla="*/ 3136843 w 6884782"/>
              <a:gd name="connsiteY75479" fmla="*/ 371180 h 5973007"/>
              <a:gd name="connsiteX75480" fmla="*/ 2622715 w 6884782"/>
              <a:gd name="connsiteY75480" fmla="*/ 370469 h 5973007"/>
              <a:gd name="connsiteX75481" fmla="*/ 2635307 w 6884782"/>
              <a:gd name="connsiteY75481" fmla="*/ 392378 h 5973007"/>
              <a:gd name="connsiteX75482" fmla="*/ 2619727 w 6884782"/>
              <a:gd name="connsiteY75482" fmla="*/ 377440 h 5973007"/>
              <a:gd name="connsiteX75483" fmla="*/ 2622715 w 6884782"/>
              <a:gd name="connsiteY75483" fmla="*/ 370469 h 5973007"/>
              <a:gd name="connsiteX75484" fmla="*/ 2520060 w 6884782"/>
              <a:gd name="connsiteY75484" fmla="*/ 366200 h 5973007"/>
              <a:gd name="connsiteX75485" fmla="*/ 2532866 w 6884782"/>
              <a:gd name="connsiteY75485" fmla="*/ 374025 h 5973007"/>
              <a:gd name="connsiteX75486" fmla="*/ 2533079 w 6884782"/>
              <a:gd name="connsiteY75486" fmla="*/ 380285 h 5973007"/>
              <a:gd name="connsiteX75487" fmla="*/ 2522408 w 6884782"/>
              <a:gd name="connsiteY75487" fmla="*/ 378151 h 5973007"/>
              <a:gd name="connsiteX75488" fmla="*/ 2520060 w 6884782"/>
              <a:gd name="connsiteY75488" fmla="*/ 366200 h 5973007"/>
              <a:gd name="connsiteX75489" fmla="*/ 2664546 w 6884782"/>
              <a:gd name="connsiteY75489" fmla="*/ 361932 h 5973007"/>
              <a:gd name="connsiteX75490" fmla="*/ 2666679 w 6884782"/>
              <a:gd name="connsiteY75490" fmla="*/ 372460 h 5973007"/>
              <a:gd name="connsiteX75491" fmla="*/ 2664546 w 6884782"/>
              <a:gd name="connsiteY75491" fmla="*/ 361932 h 5973007"/>
              <a:gd name="connsiteX75492" fmla="*/ 3102483 w 6884782"/>
              <a:gd name="connsiteY75492" fmla="*/ 361221 h 5973007"/>
              <a:gd name="connsiteX75493" fmla="*/ 3103336 w 6884782"/>
              <a:gd name="connsiteY75493" fmla="*/ 363640 h 5973007"/>
              <a:gd name="connsiteX75494" fmla="*/ 3103123 w 6884782"/>
              <a:gd name="connsiteY75494" fmla="*/ 367339 h 5973007"/>
              <a:gd name="connsiteX75495" fmla="*/ 3096934 w 6884782"/>
              <a:gd name="connsiteY75495" fmla="*/ 368477 h 5973007"/>
              <a:gd name="connsiteX75496" fmla="*/ 3096080 w 6884782"/>
              <a:gd name="connsiteY75496" fmla="*/ 366058 h 5973007"/>
              <a:gd name="connsiteX75497" fmla="*/ 3097574 w 6884782"/>
              <a:gd name="connsiteY75497" fmla="*/ 362359 h 5973007"/>
              <a:gd name="connsiteX75498" fmla="*/ 3102483 w 6884782"/>
              <a:gd name="connsiteY75498" fmla="*/ 361221 h 5973007"/>
              <a:gd name="connsiteX75499" fmla="*/ 2443443 w 6884782"/>
              <a:gd name="connsiteY75499" fmla="*/ 359513 h 5973007"/>
              <a:gd name="connsiteX75500" fmla="*/ 2442589 w 6884782"/>
              <a:gd name="connsiteY75500" fmla="*/ 373171 h 5973007"/>
              <a:gd name="connsiteX75501" fmla="*/ 2438961 w 6884782"/>
              <a:gd name="connsiteY75501" fmla="*/ 382277 h 5973007"/>
              <a:gd name="connsiteX75502" fmla="*/ 2437467 w 6884782"/>
              <a:gd name="connsiteY75502" fmla="*/ 384553 h 5973007"/>
              <a:gd name="connsiteX75503" fmla="*/ 2437467 w 6884782"/>
              <a:gd name="connsiteY75503" fmla="*/ 385549 h 5973007"/>
              <a:gd name="connsiteX75504" fmla="*/ 2431491 w 6884782"/>
              <a:gd name="connsiteY75504" fmla="*/ 394938 h 5973007"/>
              <a:gd name="connsiteX75505" fmla="*/ 2417405 w 6884782"/>
              <a:gd name="connsiteY75505" fmla="*/ 407885 h 5973007"/>
              <a:gd name="connsiteX75506" fmla="*/ 2421033 w 6884782"/>
              <a:gd name="connsiteY75506" fmla="*/ 379858 h 5973007"/>
              <a:gd name="connsiteX75507" fmla="*/ 2443443 w 6884782"/>
              <a:gd name="connsiteY75507" fmla="*/ 359513 h 5973007"/>
              <a:gd name="connsiteX75508" fmla="*/ 2833574 w 6884782"/>
              <a:gd name="connsiteY75508" fmla="*/ 358376 h 5973007"/>
              <a:gd name="connsiteX75509" fmla="*/ 2812872 w 6884782"/>
              <a:gd name="connsiteY75509" fmla="*/ 387399 h 5973007"/>
              <a:gd name="connsiteX75510" fmla="*/ 2833574 w 6884782"/>
              <a:gd name="connsiteY75510" fmla="*/ 358376 h 5973007"/>
              <a:gd name="connsiteX75511" fmla="*/ 3217303 w 6884782"/>
              <a:gd name="connsiteY75511" fmla="*/ 356241 h 5973007"/>
              <a:gd name="connsiteX75512" fmla="*/ 3227120 w 6884782"/>
              <a:gd name="connsiteY75512" fmla="*/ 374310 h 5973007"/>
              <a:gd name="connsiteX75513" fmla="*/ 3217516 w 6884782"/>
              <a:gd name="connsiteY75513" fmla="*/ 374879 h 5973007"/>
              <a:gd name="connsiteX75514" fmla="*/ 3217303 w 6884782"/>
              <a:gd name="connsiteY75514" fmla="*/ 356241 h 5973007"/>
              <a:gd name="connsiteX75515" fmla="*/ 3051048 w 6884782"/>
              <a:gd name="connsiteY75515" fmla="*/ 355388 h 5973007"/>
              <a:gd name="connsiteX75516" fmla="*/ 3040164 w 6884782"/>
              <a:gd name="connsiteY75516" fmla="*/ 386402 h 5973007"/>
              <a:gd name="connsiteX75517" fmla="*/ 3051048 w 6884782"/>
              <a:gd name="connsiteY75517" fmla="*/ 355388 h 5973007"/>
              <a:gd name="connsiteX75518" fmla="*/ 2301945 w 6884782"/>
              <a:gd name="connsiteY75518" fmla="*/ 354676 h 5973007"/>
              <a:gd name="connsiteX75519" fmla="*/ 2306213 w 6884782"/>
              <a:gd name="connsiteY75519" fmla="*/ 360936 h 5973007"/>
              <a:gd name="connsiteX75520" fmla="*/ 2304506 w 6884782"/>
              <a:gd name="connsiteY75520" fmla="*/ 370611 h 5973007"/>
              <a:gd name="connsiteX75521" fmla="*/ 2274841 w 6884782"/>
              <a:gd name="connsiteY75521" fmla="*/ 385834 h 5973007"/>
              <a:gd name="connsiteX75522" fmla="*/ 2276121 w 6884782"/>
              <a:gd name="connsiteY75522" fmla="*/ 376159 h 5973007"/>
              <a:gd name="connsiteX75523" fmla="*/ 2301945 w 6884782"/>
              <a:gd name="connsiteY75523" fmla="*/ 354676 h 5973007"/>
              <a:gd name="connsiteX75524" fmla="*/ 3073244 w 6884782"/>
              <a:gd name="connsiteY75524" fmla="*/ 353681 h 5973007"/>
              <a:gd name="connsiteX75525" fmla="*/ 3077086 w 6884782"/>
              <a:gd name="connsiteY75525" fmla="*/ 355673 h 5973007"/>
              <a:gd name="connsiteX75526" fmla="*/ 3079006 w 6884782"/>
              <a:gd name="connsiteY75526" fmla="*/ 360367 h 5973007"/>
              <a:gd name="connsiteX75527" fmla="*/ 3070043 w 6884782"/>
              <a:gd name="connsiteY75527" fmla="*/ 363213 h 5973007"/>
              <a:gd name="connsiteX75528" fmla="*/ 3070256 w 6884782"/>
              <a:gd name="connsiteY75528" fmla="*/ 356099 h 5973007"/>
              <a:gd name="connsiteX75529" fmla="*/ 3073244 w 6884782"/>
              <a:gd name="connsiteY75529" fmla="*/ 353681 h 5973007"/>
              <a:gd name="connsiteX75530" fmla="*/ 2767840 w 6884782"/>
              <a:gd name="connsiteY75530" fmla="*/ 351120 h 5973007"/>
              <a:gd name="connsiteX75531" fmla="*/ 2775524 w 6884782"/>
              <a:gd name="connsiteY75531" fmla="*/ 355388 h 5973007"/>
              <a:gd name="connsiteX75532" fmla="*/ 2764853 w 6884782"/>
              <a:gd name="connsiteY75532" fmla="*/ 364777 h 5973007"/>
              <a:gd name="connsiteX75533" fmla="*/ 2767840 w 6884782"/>
              <a:gd name="connsiteY75533" fmla="*/ 351120 h 5973007"/>
              <a:gd name="connsiteX75534" fmla="*/ 2708937 w 6884782"/>
              <a:gd name="connsiteY75534" fmla="*/ 350835 h 5973007"/>
              <a:gd name="connsiteX75535" fmla="*/ 2706589 w 6884782"/>
              <a:gd name="connsiteY75535" fmla="*/ 361932 h 5973007"/>
              <a:gd name="connsiteX75536" fmla="*/ 2700400 w 6884782"/>
              <a:gd name="connsiteY75536" fmla="*/ 365489 h 5973007"/>
              <a:gd name="connsiteX75537" fmla="*/ 2690369 w 6884782"/>
              <a:gd name="connsiteY75537" fmla="*/ 362786 h 5973007"/>
              <a:gd name="connsiteX75538" fmla="*/ 2692076 w 6884782"/>
              <a:gd name="connsiteY75538" fmla="*/ 356811 h 5973007"/>
              <a:gd name="connsiteX75539" fmla="*/ 2708937 w 6884782"/>
              <a:gd name="connsiteY75539" fmla="*/ 350835 h 5973007"/>
              <a:gd name="connsiteX75540" fmla="*/ 2416551 w 6884782"/>
              <a:gd name="connsiteY75540" fmla="*/ 347137 h 5973007"/>
              <a:gd name="connsiteX75541" fmla="*/ 2417618 w 6884782"/>
              <a:gd name="connsiteY75541" fmla="*/ 347563 h 5973007"/>
              <a:gd name="connsiteX75542" fmla="*/ 2415911 w 6884782"/>
              <a:gd name="connsiteY75542" fmla="*/ 354392 h 5973007"/>
              <a:gd name="connsiteX75543" fmla="*/ 2413563 w 6884782"/>
              <a:gd name="connsiteY75543" fmla="*/ 359656 h 5973007"/>
              <a:gd name="connsiteX75544" fmla="*/ 2401612 w 6884782"/>
              <a:gd name="connsiteY75544" fmla="*/ 373741 h 5973007"/>
              <a:gd name="connsiteX75545" fmla="*/ 2403747 w 6884782"/>
              <a:gd name="connsiteY75545" fmla="*/ 365774 h 5973007"/>
              <a:gd name="connsiteX75546" fmla="*/ 2411643 w 6884782"/>
              <a:gd name="connsiteY75546" fmla="*/ 349412 h 5973007"/>
              <a:gd name="connsiteX75547" fmla="*/ 2414631 w 6884782"/>
              <a:gd name="connsiteY75547" fmla="*/ 348417 h 5973007"/>
              <a:gd name="connsiteX75548" fmla="*/ 2415058 w 6884782"/>
              <a:gd name="connsiteY75548" fmla="*/ 347421 h 5973007"/>
              <a:gd name="connsiteX75549" fmla="*/ 2416551 w 6884782"/>
              <a:gd name="connsiteY75549" fmla="*/ 347137 h 5973007"/>
              <a:gd name="connsiteX75550" fmla="*/ 2725584 w 6884782"/>
              <a:gd name="connsiteY75550" fmla="*/ 345287 h 5973007"/>
              <a:gd name="connsiteX75551" fmla="*/ 2726224 w 6884782"/>
              <a:gd name="connsiteY75551" fmla="*/ 348986 h 5973007"/>
              <a:gd name="connsiteX75552" fmla="*/ 2720675 w 6884782"/>
              <a:gd name="connsiteY75552" fmla="*/ 347563 h 5973007"/>
              <a:gd name="connsiteX75553" fmla="*/ 2725584 w 6884782"/>
              <a:gd name="connsiteY75553" fmla="*/ 345287 h 5973007"/>
              <a:gd name="connsiteX75554" fmla="*/ 2860038 w 6884782"/>
              <a:gd name="connsiteY75554" fmla="*/ 341588 h 5973007"/>
              <a:gd name="connsiteX75555" fmla="*/ 2863239 w 6884782"/>
              <a:gd name="connsiteY75555" fmla="*/ 345145 h 5973007"/>
              <a:gd name="connsiteX75556" fmla="*/ 2862599 w 6884782"/>
              <a:gd name="connsiteY75556" fmla="*/ 346994 h 5973007"/>
              <a:gd name="connsiteX75557" fmla="*/ 2862172 w 6884782"/>
              <a:gd name="connsiteY75557" fmla="*/ 348844 h 5973007"/>
              <a:gd name="connsiteX75558" fmla="*/ 2864093 w 6884782"/>
              <a:gd name="connsiteY75558" fmla="*/ 349839 h 5973007"/>
              <a:gd name="connsiteX75559" fmla="*/ 2869642 w 6884782"/>
              <a:gd name="connsiteY75559" fmla="*/ 352969 h 5973007"/>
              <a:gd name="connsiteX75560" fmla="*/ 2864093 w 6884782"/>
              <a:gd name="connsiteY75560" fmla="*/ 358945 h 5973007"/>
              <a:gd name="connsiteX75561" fmla="*/ 2860251 w 6884782"/>
              <a:gd name="connsiteY75561" fmla="*/ 353681 h 5973007"/>
              <a:gd name="connsiteX75562" fmla="*/ 2861745 w 6884782"/>
              <a:gd name="connsiteY75562" fmla="*/ 348986 h 5973007"/>
              <a:gd name="connsiteX75563" fmla="*/ 2860891 w 6884782"/>
              <a:gd name="connsiteY75563" fmla="*/ 349128 h 5973007"/>
              <a:gd name="connsiteX75564" fmla="*/ 2861105 w 6884782"/>
              <a:gd name="connsiteY75564" fmla="*/ 348274 h 5973007"/>
              <a:gd name="connsiteX75565" fmla="*/ 2856623 w 6884782"/>
              <a:gd name="connsiteY75565" fmla="*/ 346852 h 5973007"/>
              <a:gd name="connsiteX75566" fmla="*/ 2860038 w 6884782"/>
              <a:gd name="connsiteY75566" fmla="*/ 341588 h 5973007"/>
              <a:gd name="connsiteX75567" fmla="*/ 2545244 w 6884782"/>
              <a:gd name="connsiteY75567" fmla="*/ 334048 h 5973007"/>
              <a:gd name="connsiteX75568" fmla="*/ 2547805 w 6884782"/>
              <a:gd name="connsiteY75568" fmla="*/ 334190 h 5973007"/>
              <a:gd name="connsiteX75569" fmla="*/ 2552073 w 6884782"/>
              <a:gd name="connsiteY75569" fmla="*/ 336608 h 5973007"/>
              <a:gd name="connsiteX75570" fmla="*/ 2553140 w 6884782"/>
              <a:gd name="connsiteY75570" fmla="*/ 339881 h 5973007"/>
              <a:gd name="connsiteX75571" fmla="*/ 2551220 w 6884782"/>
              <a:gd name="connsiteY75571" fmla="*/ 341303 h 5973007"/>
              <a:gd name="connsiteX75572" fmla="*/ 2550153 w 6884782"/>
              <a:gd name="connsiteY75572" fmla="*/ 343437 h 5973007"/>
              <a:gd name="connsiteX75573" fmla="*/ 2549298 w 6884782"/>
              <a:gd name="connsiteY75573" fmla="*/ 342726 h 5973007"/>
              <a:gd name="connsiteX75574" fmla="*/ 2547591 w 6884782"/>
              <a:gd name="connsiteY75574" fmla="*/ 343295 h 5973007"/>
              <a:gd name="connsiteX75575" fmla="*/ 2544390 w 6884782"/>
              <a:gd name="connsiteY75575" fmla="*/ 338743 h 5973007"/>
              <a:gd name="connsiteX75576" fmla="*/ 2543963 w 6884782"/>
              <a:gd name="connsiteY75576" fmla="*/ 335897 h 5973007"/>
              <a:gd name="connsiteX75577" fmla="*/ 2545244 w 6884782"/>
              <a:gd name="connsiteY75577" fmla="*/ 334048 h 5973007"/>
              <a:gd name="connsiteX75578" fmla="*/ 2672229 w 6884782"/>
              <a:gd name="connsiteY75578" fmla="*/ 331202 h 5973007"/>
              <a:gd name="connsiteX75579" fmla="*/ 2673509 w 6884782"/>
              <a:gd name="connsiteY75579" fmla="*/ 332625 h 5973007"/>
              <a:gd name="connsiteX75580" fmla="*/ 2674789 w 6884782"/>
              <a:gd name="connsiteY75580" fmla="*/ 335328 h 5973007"/>
              <a:gd name="connsiteX75581" fmla="*/ 2669454 w 6884782"/>
              <a:gd name="connsiteY75581" fmla="*/ 337320 h 5973007"/>
              <a:gd name="connsiteX75582" fmla="*/ 2666679 w 6884782"/>
              <a:gd name="connsiteY75582" fmla="*/ 334901 h 5973007"/>
              <a:gd name="connsiteX75583" fmla="*/ 2668814 w 6884782"/>
              <a:gd name="connsiteY75583" fmla="*/ 332056 h 5973007"/>
              <a:gd name="connsiteX75584" fmla="*/ 2672229 w 6884782"/>
              <a:gd name="connsiteY75584" fmla="*/ 331202 h 5973007"/>
              <a:gd name="connsiteX75585" fmla="*/ 2797719 w 6884782"/>
              <a:gd name="connsiteY75585" fmla="*/ 330206 h 5973007"/>
              <a:gd name="connsiteX75586" fmla="*/ 2803055 w 6884782"/>
              <a:gd name="connsiteY75586" fmla="*/ 330491 h 5973007"/>
              <a:gd name="connsiteX75587" fmla="*/ 2810524 w 6884782"/>
              <a:gd name="connsiteY75587" fmla="*/ 336181 h 5973007"/>
              <a:gd name="connsiteX75588" fmla="*/ 2798573 w 6884782"/>
              <a:gd name="connsiteY75588" fmla="*/ 349982 h 5973007"/>
              <a:gd name="connsiteX75589" fmla="*/ 2791317 w 6884782"/>
              <a:gd name="connsiteY75589" fmla="*/ 342584 h 5973007"/>
              <a:gd name="connsiteX75590" fmla="*/ 2797719 w 6884782"/>
              <a:gd name="connsiteY75590" fmla="*/ 330206 h 5973007"/>
              <a:gd name="connsiteX75591" fmla="*/ 2992358 w 6884782"/>
              <a:gd name="connsiteY75591" fmla="*/ 329210 h 5973007"/>
              <a:gd name="connsiteX75592" fmla="*/ 3006444 w 6884782"/>
              <a:gd name="connsiteY75592" fmla="*/ 346994 h 5973007"/>
              <a:gd name="connsiteX75593" fmla="*/ 3006871 w 6884782"/>
              <a:gd name="connsiteY75593" fmla="*/ 349697 h 5973007"/>
              <a:gd name="connsiteX75594" fmla="*/ 3004737 w 6884782"/>
              <a:gd name="connsiteY75594" fmla="*/ 351831 h 5973007"/>
              <a:gd name="connsiteX75595" fmla="*/ 2992998 w 6884782"/>
              <a:gd name="connsiteY75595" fmla="*/ 342868 h 5973007"/>
              <a:gd name="connsiteX75596" fmla="*/ 2992571 w 6884782"/>
              <a:gd name="connsiteY75596" fmla="*/ 339596 h 5973007"/>
              <a:gd name="connsiteX75597" fmla="*/ 2991291 w 6884782"/>
              <a:gd name="connsiteY75597" fmla="*/ 337320 h 5973007"/>
              <a:gd name="connsiteX75598" fmla="*/ 2992358 w 6884782"/>
              <a:gd name="connsiteY75598" fmla="*/ 329210 h 5973007"/>
              <a:gd name="connsiteX75599" fmla="*/ 2958851 w 6884782"/>
              <a:gd name="connsiteY75599" fmla="*/ 327503 h 5973007"/>
              <a:gd name="connsiteX75600" fmla="*/ 2960985 w 6884782"/>
              <a:gd name="connsiteY75600" fmla="*/ 328784 h 5973007"/>
              <a:gd name="connsiteX75601" fmla="*/ 2962479 w 6884782"/>
              <a:gd name="connsiteY75601" fmla="*/ 330917 h 5973007"/>
              <a:gd name="connsiteX75602" fmla="*/ 2958211 w 6884782"/>
              <a:gd name="connsiteY75602" fmla="*/ 332340 h 5973007"/>
              <a:gd name="connsiteX75603" fmla="*/ 2957997 w 6884782"/>
              <a:gd name="connsiteY75603" fmla="*/ 330064 h 5973007"/>
              <a:gd name="connsiteX75604" fmla="*/ 2956717 w 6884782"/>
              <a:gd name="connsiteY75604" fmla="*/ 330206 h 5973007"/>
              <a:gd name="connsiteX75605" fmla="*/ 2957570 w 6884782"/>
              <a:gd name="connsiteY75605" fmla="*/ 327787 h 5973007"/>
              <a:gd name="connsiteX75606" fmla="*/ 2958638 w 6884782"/>
              <a:gd name="connsiteY75606" fmla="*/ 327787 h 5973007"/>
              <a:gd name="connsiteX75607" fmla="*/ 2958851 w 6884782"/>
              <a:gd name="connsiteY75607" fmla="*/ 327503 h 5973007"/>
              <a:gd name="connsiteX75608" fmla="*/ 3396788 w 6884782"/>
              <a:gd name="connsiteY75608" fmla="*/ 326650 h 5973007"/>
              <a:gd name="connsiteX75609" fmla="*/ 3400843 w 6884782"/>
              <a:gd name="connsiteY75609" fmla="*/ 327361 h 5973007"/>
              <a:gd name="connsiteX75610" fmla="*/ 3396575 w 6884782"/>
              <a:gd name="connsiteY75610" fmla="*/ 335897 h 5973007"/>
              <a:gd name="connsiteX75611" fmla="*/ 3393374 w 6884782"/>
              <a:gd name="connsiteY75611" fmla="*/ 327361 h 5973007"/>
              <a:gd name="connsiteX75612" fmla="*/ 3396788 w 6884782"/>
              <a:gd name="connsiteY75612" fmla="*/ 326650 h 5973007"/>
              <a:gd name="connsiteX75613" fmla="*/ 3375446 w 6884782"/>
              <a:gd name="connsiteY75613" fmla="*/ 325512 h 5973007"/>
              <a:gd name="connsiteX75614" fmla="*/ 3381849 w 6884782"/>
              <a:gd name="connsiteY75614" fmla="*/ 327219 h 5973007"/>
              <a:gd name="connsiteX75615" fmla="*/ 3381849 w 6884782"/>
              <a:gd name="connsiteY75615" fmla="*/ 337035 h 5973007"/>
              <a:gd name="connsiteX75616" fmla="*/ 3361788 w 6884782"/>
              <a:gd name="connsiteY75616" fmla="*/ 340165 h 5973007"/>
              <a:gd name="connsiteX75617" fmla="*/ 3375446 w 6884782"/>
              <a:gd name="connsiteY75617" fmla="*/ 325512 h 5973007"/>
              <a:gd name="connsiteX75618" fmla="*/ 3240565 w 6884782"/>
              <a:gd name="connsiteY75618" fmla="*/ 324658 h 5973007"/>
              <a:gd name="connsiteX75619" fmla="*/ 3254865 w 6884782"/>
              <a:gd name="connsiteY75619" fmla="*/ 335186 h 5973007"/>
              <a:gd name="connsiteX75620" fmla="*/ 3242059 w 6884782"/>
              <a:gd name="connsiteY75620" fmla="*/ 348274 h 5973007"/>
              <a:gd name="connsiteX75621" fmla="*/ 3237151 w 6884782"/>
              <a:gd name="connsiteY75621" fmla="*/ 341872 h 5973007"/>
              <a:gd name="connsiteX75622" fmla="*/ 3234163 w 6884782"/>
              <a:gd name="connsiteY75622" fmla="*/ 344149 h 5973007"/>
              <a:gd name="connsiteX75623" fmla="*/ 3226693 w 6884782"/>
              <a:gd name="connsiteY75623" fmla="*/ 344433 h 5973007"/>
              <a:gd name="connsiteX75624" fmla="*/ 3224772 w 6884782"/>
              <a:gd name="connsiteY75624" fmla="*/ 339881 h 5973007"/>
              <a:gd name="connsiteX75625" fmla="*/ 3229040 w 6884782"/>
              <a:gd name="connsiteY75625" fmla="*/ 333621 h 5973007"/>
              <a:gd name="connsiteX75626" fmla="*/ 3230535 w 6884782"/>
              <a:gd name="connsiteY75626" fmla="*/ 333479 h 5973007"/>
              <a:gd name="connsiteX75627" fmla="*/ 3230535 w 6884782"/>
              <a:gd name="connsiteY75627" fmla="*/ 333194 h 5973007"/>
              <a:gd name="connsiteX75628" fmla="*/ 3240565 w 6884782"/>
              <a:gd name="connsiteY75628" fmla="*/ 324658 h 5973007"/>
              <a:gd name="connsiteX75629" fmla="*/ 2781286 w 6884782"/>
              <a:gd name="connsiteY75629" fmla="*/ 321670 h 5973007"/>
              <a:gd name="connsiteX75630" fmla="*/ 2785981 w 6884782"/>
              <a:gd name="connsiteY75630" fmla="*/ 322097 h 5973007"/>
              <a:gd name="connsiteX75631" fmla="*/ 2771468 w 6884782"/>
              <a:gd name="connsiteY75631" fmla="*/ 345429 h 5973007"/>
              <a:gd name="connsiteX75632" fmla="*/ 2767200 w 6884782"/>
              <a:gd name="connsiteY75632" fmla="*/ 340876 h 5973007"/>
              <a:gd name="connsiteX75633" fmla="*/ 2781286 w 6884782"/>
              <a:gd name="connsiteY75633" fmla="*/ 321670 h 5973007"/>
              <a:gd name="connsiteX75634" fmla="*/ 2649819 w 6884782"/>
              <a:gd name="connsiteY75634" fmla="*/ 321101 h 5973007"/>
              <a:gd name="connsiteX75635" fmla="*/ 2656435 w 6884782"/>
              <a:gd name="connsiteY75635" fmla="*/ 332625 h 5973007"/>
              <a:gd name="connsiteX75636" fmla="*/ 2644697 w 6884782"/>
              <a:gd name="connsiteY75636" fmla="*/ 324942 h 5973007"/>
              <a:gd name="connsiteX75637" fmla="*/ 2649819 w 6884782"/>
              <a:gd name="connsiteY75637" fmla="*/ 321101 h 5973007"/>
              <a:gd name="connsiteX75638" fmla="*/ 2606282 w 6884782"/>
              <a:gd name="connsiteY75638" fmla="*/ 320248 h 5973007"/>
              <a:gd name="connsiteX75639" fmla="*/ 2595611 w 6884782"/>
              <a:gd name="connsiteY75639" fmla="*/ 343580 h 5973007"/>
              <a:gd name="connsiteX75640" fmla="*/ 2606282 w 6884782"/>
              <a:gd name="connsiteY75640" fmla="*/ 320248 h 5973007"/>
              <a:gd name="connsiteX75641" fmla="*/ 3119343 w 6884782"/>
              <a:gd name="connsiteY75641" fmla="*/ 319963 h 5973007"/>
              <a:gd name="connsiteX75642" fmla="*/ 3122758 w 6884782"/>
              <a:gd name="connsiteY75642" fmla="*/ 320816 h 5973007"/>
              <a:gd name="connsiteX75643" fmla="*/ 3122117 w 6884782"/>
              <a:gd name="connsiteY75643" fmla="*/ 328072 h 5973007"/>
              <a:gd name="connsiteX75644" fmla="*/ 3114434 w 6884782"/>
              <a:gd name="connsiteY75644" fmla="*/ 324231 h 5973007"/>
              <a:gd name="connsiteX75645" fmla="*/ 3115928 w 6884782"/>
              <a:gd name="connsiteY75645" fmla="*/ 321955 h 5973007"/>
              <a:gd name="connsiteX75646" fmla="*/ 3119343 w 6884782"/>
              <a:gd name="connsiteY75646" fmla="*/ 319963 h 5973007"/>
              <a:gd name="connsiteX75647" fmla="*/ 3312701 w 6884782"/>
              <a:gd name="connsiteY75647" fmla="*/ 315411 h 5973007"/>
              <a:gd name="connsiteX75648" fmla="*/ 3330842 w 6884782"/>
              <a:gd name="connsiteY75648" fmla="*/ 315979 h 5973007"/>
              <a:gd name="connsiteX75649" fmla="*/ 3332976 w 6884782"/>
              <a:gd name="connsiteY75649" fmla="*/ 318398 h 5973007"/>
              <a:gd name="connsiteX75650" fmla="*/ 3334043 w 6884782"/>
              <a:gd name="connsiteY75650" fmla="*/ 318398 h 5973007"/>
              <a:gd name="connsiteX75651" fmla="*/ 3334897 w 6884782"/>
              <a:gd name="connsiteY75651" fmla="*/ 319536 h 5973007"/>
              <a:gd name="connsiteX75652" fmla="*/ 3334897 w 6884782"/>
              <a:gd name="connsiteY75652" fmla="*/ 320816 h 5973007"/>
              <a:gd name="connsiteX75653" fmla="*/ 3328067 w 6884782"/>
              <a:gd name="connsiteY75653" fmla="*/ 321955 h 5973007"/>
              <a:gd name="connsiteX75654" fmla="*/ 3322305 w 6884782"/>
              <a:gd name="connsiteY75654" fmla="*/ 321813 h 5973007"/>
              <a:gd name="connsiteX75655" fmla="*/ 3304592 w 6884782"/>
              <a:gd name="connsiteY75655" fmla="*/ 316691 h 5973007"/>
              <a:gd name="connsiteX75656" fmla="*/ 3312701 w 6884782"/>
              <a:gd name="connsiteY75656" fmla="*/ 315411 h 5973007"/>
              <a:gd name="connsiteX75657" fmla="*/ 3082208 w 6884782"/>
              <a:gd name="connsiteY75657" fmla="*/ 314272 h 5973007"/>
              <a:gd name="connsiteX75658" fmla="*/ 3085836 w 6884782"/>
              <a:gd name="connsiteY75658" fmla="*/ 314557 h 5973007"/>
              <a:gd name="connsiteX75659" fmla="*/ 3078153 w 6884782"/>
              <a:gd name="connsiteY75659" fmla="*/ 323378 h 5973007"/>
              <a:gd name="connsiteX75660" fmla="*/ 3082208 w 6884782"/>
              <a:gd name="connsiteY75660" fmla="*/ 314272 h 5973007"/>
              <a:gd name="connsiteX75661" fmla="*/ 3092665 w 6884782"/>
              <a:gd name="connsiteY75661" fmla="*/ 314130 h 5973007"/>
              <a:gd name="connsiteX75662" fmla="*/ 3108245 w 6884782"/>
              <a:gd name="connsiteY75662" fmla="*/ 332767 h 5973007"/>
              <a:gd name="connsiteX75663" fmla="*/ 3104190 w 6884782"/>
              <a:gd name="connsiteY75663" fmla="*/ 357238 h 5973007"/>
              <a:gd name="connsiteX75664" fmla="*/ 3092665 w 6884782"/>
              <a:gd name="connsiteY75664" fmla="*/ 314130 h 5973007"/>
              <a:gd name="connsiteX75665" fmla="*/ 3184649 w 6884782"/>
              <a:gd name="connsiteY75665" fmla="*/ 313703 h 5973007"/>
              <a:gd name="connsiteX75666" fmla="*/ 3195961 w 6884782"/>
              <a:gd name="connsiteY75666" fmla="*/ 314841 h 5973007"/>
              <a:gd name="connsiteX75667" fmla="*/ 3198095 w 6884782"/>
              <a:gd name="connsiteY75667" fmla="*/ 314984 h 5973007"/>
              <a:gd name="connsiteX75668" fmla="*/ 3200229 w 6884782"/>
              <a:gd name="connsiteY75668" fmla="*/ 317402 h 5973007"/>
              <a:gd name="connsiteX75669" fmla="*/ 3189771 w 6884782"/>
              <a:gd name="connsiteY75669" fmla="*/ 318398 h 5973007"/>
              <a:gd name="connsiteX75670" fmla="*/ 3184009 w 6884782"/>
              <a:gd name="connsiteY75670" fmla="*/ 318256 h 5973007"/>
              <a:gd name="connsiteX75671" fmla="*/ 3182088 w 6884782"/>
              <a:gd name="connsiteY75671" fmla="*/ 315837 h 5973007"/>
              <a:gd name="connsiteX75672" fmla="*/ 3182088 w 6884782"/>
              <a:gd name="connsiteY75672" fmla="*/ 314699 h 5973007"/>
              <a:gd name="connsiteX75673" fmla="*/ 3184649 w 6884782"/>
              <a:gd name="connsiteY75673" fmla="*/ 313703 h 5973007"/>
              <a:gd name="connsiteX75674" fmla="*/ 2735401 w 6884782"/>
              <a:gd name="connsiteY75674" fmla="*/ 311284 h 5973007"/>
              <a:gd name="connsiteX75675" fmla="*/ 2749273 w 6884782"/>
              <a:gd name="connsiteY75675" fmla="*/ 321386 h 5973007"/>
              <a:gd name="connsiteX75676" fmla="*/ 2752901 w 6884782"/>
              <a:gd name="connsiteY75676" fmla="*/ 338600 h 5973007"/>
              <a:gd name="connsiteX75677" fmla="*/ 2742017 w 6884782"/>
              <a:gd name="connsiteY75677" fmla="*/ 327361 h 5973007"/>
              <a:gd name="connsiteX75678" fmla="*/ 2735401 w 6884782"/>
              <a:gd name="connsiteY75678" fmla="*/ 311284 h 5973007"/>
              <a:gd name="connsiteX75679" fmla="*/ 2303226 w 6884782"/>
              <a:gd name="connsiteY75679" fmla="*/ 311000 h 5973007"/>
              <a:gd name="connsiteX75680" fmla="*/ 2304933 w 6884782"/>
              <a:gd name="connsiteY75680" fmla="*/ 323378 h 5973007"/>
              <a:gd name="connsiteX75681" fmla="*/ 2303226 w 6884782"/>
              <a:gd name="connsiteY75681" fmla="*/ 311000 h 5973007"/>
              <a:gd name="connsiteX75682" fmla="*/ 2564452 w 6884782"/>
              <a:gd name="connsiteY75682" fmla="*/ 310858 h 5973007"/>
              <a:gd name="connsiteX75683" fmla="*/ 2565945 w 6884782"/>
              <a:gd name="connsiteY75683" fmla="*/ 314557 h 5973007"/>
              <a:gd name="connsiteX75684" fmla="*/ 2564024 w 6884782"/>
              <a:gd name="connsiteY75684" fmla="*/ 327930 h 5973007"/>
              <a:gd name="connsiteX75685" fmla="*/ 2555915 w 6884782"/>
              <a:gd name="connsiteY75685" fmla="*/ 326792 h 5973007"/>
              <a:gd name="connsiteX75686" fmla="*/ 2564452 w 6884782"/>
              <a:gd name="connsiteY75686" fmla="*/ 310858 h 5973007"/>
              <a:gd name="connsiteX75687" fmla="*/ 2848300 w 6884782"/>
              <a:gd name="connsiteY75687" fmla="*/ 306732 h 5973007"/>
              <a:gd name="connsiteX75688" fmla="*/ 2855129 w 6884782"/>
              <a:gd name="connsiteY75688" fmla="*/ 308439 h 5973007"/>
              <a:gd name="connsiteX75689" fmla="*/ 2842964 w 6884782"/>
              <a:gd name="connsiteY75689" fmla="*/ 315979 h 5973007"/>
              <a:gd name="connsiteX75690" fmla="*/ 2841257 w 6884782"/>
              <a:gd name="connsiteY75690" fmla="*/ 308724 h 5973007"/>
              <a:gd name="connsiteX75691" fmla="*/ 2848300 w 6884782"/>
              <a:gd name="connsiteY75691" fmla="*/ 306732 h 5973007"/>
              <a:gd name="connsiteX75692" fmla="*/ 2824183 w 6884782"/>
              <a:gd name="connsiteY75692" fmla="*/ 305594 h 5973007"/>
              <a:gd name="connsiteX75693" fmla="*/ 2827385 w 6884782"/>
              <a:gd name="connsiteY75693" fmla="*/ 325512 h 5973007"/>
              <a:gd name="connsiteX75694" fmla="*/ 2817994 w 6884782"/>
              <a:gd name="connsiteY75694" fmla="*/ 322382 h 5973007"/>
              <a:gd name="connsiteX75695" fmla="*/ 2824183 w 6884782"/>
              <a:gd name="connsiteY75695" fmla="*/ 305594 h 5973007"/>
              <a:gd name="connsiteX75696" fmla="*/ 3048701 w 6884782"/>
              <a:gd name="connsiteY75696" fmla="*/ 302606 h 5973007"/>
              <a:gd name="connsiteX75697" fmla="*/ 3047634 w 6884782"/>
              <a:gd name="connsiteY75697" fmla="*/ 309435 h 5973007"/>
              <a:gd name="connsiteX75698" fmla="*/ 3043152 w 6884782"/>
              <a:gd name="connsiteY75698" fmla="*/ 307728 h 5973007"/>
              <a:gd name="connsiteX75699" fmla="*/ 3048701 w 6884782"/>
              <a:gd name="connsiteY75699" fmla="*/ 302606 h 5973007"/>
              <a:gd name="connsiteX75700" fmla="*/ 2710217 w 6884782"/>
              <a:gd name="connsiteY75700" fmla="*/ 298054 h 5973007"/>
              <a:gd name="connsiteX75701" fmla="*/ 2719608 w 6884782"/>
              <a:gd name="connsiteY75701" fmla="*/ 310858 h 5973007"/>
              <a:gd name="connsiteX75702" fmla="*/ 2723663 w 6884782"/>
              <a:gd name="connsiteY75702" fmla="*/ 329922 h 5973007"/>
              <a:gd name="connsiteX75703" fmla="*/ 2708083 w 6884782"/>
              <a:gd name="connsiteY75703" fmla="*/ 328357 h 5973007"/>
              <a:gd name="connsiteX75704" fmla="*/ 2710217 w 6884782"/>
              <a:gd name="connsiteY75704" fmla="*/ 298054 h 5973007"/>
              <a:gd name="connsiteX75705" fmla="*/ 2740523 w 6884782"/>
              <a:gd name="connsiteY75705" fmla="*/ 297769 h 5973007"/>
              <a:gd name="connsiteX75706" fmla="*/ 2744791 w 6884782"/>
              <a:gd name="connsiteY75706" fmla="*/ 300045 h 5973007"/>
              <a:gd name="connsiteX75707" fmla="*/ 2740310 w 6884782"/>
              <a:gd name="connsiteY75707" fmla="*/ 310147 h 5973007"/>
              <a:gd name="connsiteX75708" fmla="*/ 2740523 w 6884782"/>
              <a:gd name="connsiteY75708" fmla="*/ 297769 h 5973007"/>
              <a:gd name="connsiteX75709" fmla="*/ 2893118 w 6884782"/>
              <a:gd name="connsiteY75709" fmla="*/ 297342 h 5973007"/>
              <a:gd name="connsiteX75710" fmla="*/ 2901228 w 6884782"/>
              <a:gd name="connsiteY75710" fmla="*/ 304740 h 5973007"/>
              <a:gd name="connsiteX75711" fmla="*/ 2895892 w 6884782"/>
              <a:gd name="connsiteY75711" fmla="*/ 309150 h 5973007"/>
              <a:gd name="connsiteX75712" fmla="*/ 2893118 w 6884782"/>
              <a:gd name="connsiteY75712" fmla="*/ 297342 h 5973007"/>
              <a:gd name="connsiteX75713" fmla="*/ 3279407 w 6884782"/>
              <a:gd name="connsiteY75713" fmla="*/ 296204 h 5973007"/>
              <a:gd name="connsiteX75714" fmla="*/ 3273005 w 6884782"/>
              <a:gd name="connsiteY75714" fmla="*/ 309862 h 5973007"/>
              <a:gd name="connsiteX75715" fmla="*/ 3279407 w 6884782"/>
              <a:gd name="connsiteY75715" fmla="*/ 296204 h 5973007"/>
              <a:gd name="connsiteX75716" fmla="*/ 2541402 w 6884782"/>
              <a:gd name="connsiteY75716" fmla="*/ 295919 h 5973007"/>
              <a:gd name="connsiteX75717" fmla="*/ 2543963 w 6884782"/>
              <a:gd name="connsiteY75717" fmla="*/ 297626 h 5973007"/>
              <a:gd name="connsiteX75718" fmla="*/ 2528810 w 6884782"/>
              <a:gd name="connsiteY75718" fmla="*/ 312849 h 5973007"/>
              <a:gd name="connsiteX75719" fmla="*/ 2527103 w 6884782"/>
              <a:gd name="connsiteY75719" fmla="*/ 310715 h 5973007"/>
              <a:gd name="connsiteX75720" fmla="*/ 2527743 w 6884782"/>
              <a:gd name="connsiteY75720" fmla="*/ 307443 h 5973007"/>
              <a:gd name="connsiteX75721" fmla="*/ 2534999 w 6884782"/>
              <a:gd name="connsiteY75721" fmla="*/ 299191 h 5973007"/>
              <a:gd name="connsiteX75722" fmla="*/ 2537134 w 6884782"/>
              <a:gd name="connsiteY75722" fmla="*/ 297769 h 5973007"/>
              <a:gd name="connsiteX75723" fmla="*/ 2539268 w 6884782"/>
              <a:gd name="connsiteY75723" fmla="*/ 296204 h 5973007"/>
              <a:gd name="connsiteX75724" fmla="*/ 2541402 w 6884782"/>
              <a:gd name="connsiteY75724" fmla="*/ 295919 h 5973007"/>
              <a:gd name="connsiteX75725" fmla="*/ 2450486 w 6884782"/>
              <a:gd name="connsiteY75725" fmla="*/ 289944 h 5973007"/>
              <a:gd name="connsiteX75726" fmla="*/ 2456461 w 6884782"/>
              <a:gd name="connsiteY75726" fmla="*/ 297342 h 5973007"/>
              <a:gd name="connsiteX75727" fmla="*/ 2447284 w 6884782"/>
              <a:gd name="connsiteY75727" fmla="*/ 296916 h 5973007"/>
              <a:gd name="connsiteX75728" fmla="*/ 2450486 w 6884782"/>
              <a:gd name="connsiteY75728" fmla="*/ 289944 h 5973007"/>
              <a:gd name="connsiteX75729" fmla="*/ 2614605 w 6884782"/>
              <a:gd name="connsiteY75729" fmla="*/ 281408 h 5973007"/>
              <a:gd name="connsiteX75730" fmla="*/ 2617593 w 6884782"/>
              <a:gd name="connsiteY75730" fmla="*/ 281693 h 5973007"/>
              <a:gd name="connsiteX75731" fmla="*/ 2630185 w 6884782"/>
              <a:gd name="connsiteY75731" fmla="*/ 287810 h 5973007"/>
              <a:gd name="connsiteX75732" fmla="*/ 2625703 w 6884782"/>
              <a:gd name="connsiteY75732" fmla="*/ 299049 h 5973007"/>
              <a:gd name="connsiteX75733" fmla="*/ 2609696 w 6884782"/>
              <a:gd name="connsiteY75733" fmla="*/ 290087 h 5973007"/>
              <a:gd name="connsiteX75734" fmla="*/ 2614605 w 6884782"/>
              <a:gd name="connsiteY75734" fmla="*/ 281408 h 5973007"/>
              <a:gd name="connsiteX75735" fmla="*/ 2847233 w 6884782"/>
              <a:gd name="connsiteY75735" fmla="*/ 276144 h 5973007"/>
              <a:gd name="connsiteX75736" fmla="*/ 2850434 w 6884782"/>
              <a:gd name="connsiteY75736" fmla="*/ 277851 h 5973007"/>
              <a:gd name="connsiteX75737" fmla="*/ 2835494 w 6884782"/>
              <a:gd name="connsiteY75737" fmla="*/ 298481 h 5973007"/>
              <a:gd name="connsiteX75738" fmla="*/ 2833147 w 6884782"/>
              <a:gd name="connsiteY75738" fmla="*/ 294924 h 5973007"/>
              <a:gd name="connsiteX75739" fmla="*/ 2847233 w 6884782"/>
              <a:gd name="connsiteY75739" fmla="*/ 276144 h 5973007"/>
              <a:gd name="connsiteX75740" fmla="*/ 3042725 w 6884782"/>
              <a:gd name="connsiteY75740" fmla="*/ 275433 h 5973007"/>
              <a:gd name="connsiteX75741" fmla="*/ 3044859 w 6884782"/>
              <a:gd name="connsiteY75741" fmla="*/ 276002 h 5973007"/>
              <a:gd name="connsiteX75742" fmla="*/ 3024584 w 6884782"/>
              <a:gd name="connsiteY75742" fmla="*/ 302891 h 5973007"/>
              <a:gd name="connsiteX75743" fmla="*/ 3037603 w 6884782"/>
              <a:gd name="connsiteY75743" fmla="*/ 276998 h 5973007"/>
              <a:gd name="connsiteX75744" fmla="*/ 3042725 w 6884782"/>
              <a:gd name="connsiteY75744" fmla="*/ 275433 h 5973007"/>
              <a:gd name="connsiteX75745" fmla="*/ 3262975 w 6884782"/>
              <a:gd name="connsiteY75745" fmla="*/ 274579 h 5973007"/>
              <a:gd name="connsiteX75746" fmla="*/ 3268950 w 6884782"/>
              <a:gd name="connsiteY75746" fmla="*/ 278705 h 5973007"/>
              <a:gd name="connsiteX75747" fmla="*/ 3263188 w 6884782"/>
              <a:gd name="connsiteY75747" fmla="*/ 294497 h 5973007"/>
              <a:gd name="connsiteX75748" fmla="*/ 3254011 w 6884782"/>
              <a:gd name="connsiteY75748" fmla="*/ 291652 h 5973007"/>
              <a:gd name="connsiteX75749" fmla="*/ 3262975 w 6884782"/>
              <a:gd name="connsiteY75749" fmla="*/ 274579 h 5973007"/>
              <a:gd name="connsiteX75750" fmla="*/ 3120837 w 6884782"/>
              <a:gd name="connsiteY75750" fmla="*/ 273868 h 5973007"/>
              <a:gd name="connsiteX75751" fmla="*/ 3126172 w 6884782"/>
              <a:gd name="connsiteY75751" fmla="*/ 275717 h 5973007"/>
              <a:gd name="connsiteX75752" fmla="*/ 3112940 w 6884782"/>
              <a:gd name="connsiteY75752" fmla="*/ 284680 h 5973007"/>
              <a:gd name="connsiteX75753" fmla="*/ 3115501 w 6884782"/>
              <a:gd name="connsiteY75753" fmla="*/ 274721 h 5973007"/>
              <a:gd name="connsiteX75754" fmla="*/ 3120837 w 6884782"/>
              <a:gd name="connsiteY75754" fmla="*/ 273868 h 5973007"/>
              <a:gd name="connsiteX75755" fmla="*/ 2541615 w 6884782"/>
              <a:gd name="connsiteY75755" fmla="*/ 269600 h 5973007"/>
              <a:gd name="connsiteX75756" fmla="*/ 2552500 w 6884782"/>
              <a:gd name="connsiteY75756" fmla="*/ 274721 h 5973007"/>
              <a:gd name="connsiteX75757" fmla="*/ 2539054 w 6884782"/>
              <a:gd name="connsiteY75757" fmla="*/ 276144 h 5973007"/>
              <a:gd name="connsiteX75758" fmla="*/ 2541615 w 6884782"/>
              <a:gd name="connsiteY75758" fmla="*/ 269600 h 5973007"/>
              <a:gd name="connsiteX75759" fmla="*/ 2642136 w 6884782"/>
              <a:gd name="connsiteY75759" fmla="*/ 266755 h 5973007"/>
              <a:gd name="connsiteX75760" fmla="*/ 2637868 w 6884782"/>
              <a:gd name="connsiteY75760" fmla="*/ 304455 h 5973007"/>
              <a:gd name="connsiteX75761" fmla="*/ 2642136 w 6884782"/>
              <a:gd name="connsiteY75761" fmla="*/ 266755 h 5973007"/>
              <a:gd name="connsiteX75762" fmla="*/ 2944766 w 6884782"/>
              <a:gd name="connsiteY75762" fmla="*/ 265332 h 5973007"/>
              <a:gd name="connsiteX75763" fmla="*/ 2956290 w 6884782"/>
              <a:gd name="connsiteY75763" fmla="*/ 278563 h 5973007"/>
              <a:gd name="connsiteX75764" fmla="*/ 2958638 w 6884782"/>
              <a:gd name="connsiteY75764" fmla="*/ 287099 h 5973007"/>
              <a:gd name="connsiteX75765" fmla="*/ 2959492 w 6884782"/>
              <a:gd name="connsiteY75765" fmla="*/ 302037 h 5973007"/>
              <a:gd name="connsiteX75766" fmla="*/ 2956504 w 6884782"/>
              <a:gd name="connsiteY75766" fmla="*/ 304882 h 5973007"/>
              <a:gd name="connsiteX75767" fmla="*/ 2937083 w 6884782"/>
              <a:gd name="connsiteY75767" fmla="*/ 292363 h 5973007"/>
              <a:gd name="connsiteX75768" fmla="*/ 2937723 w 6884782"/>
              <a:gd name="connsiteY75768" fmla="*/ 266328 h 5973007"/>
              <a:gd name="connsiteX75769" fmla="*/ 2944766 w 6884782"/>
              <a:gd name="connsiteY75769" fmla="*/ 265332 h 5973007"/>
              <a:gd name="connsiteX75770" fmla="*/ 3001322 w 6884782"/>
              <a:gd name="connsiteY75770" fmla="*/ 252243 h 5973007"/>
              <a:gd name="connsiteX75771" fmla="*/ 3003669 w 6884782"/>
              <a:gd name="connsiteY75771" fmla="*/ 253950 h 5973007"/>
              <a:gd name="connsiteX75772" fmla="*/ 3002602 w 6884782"/>
              <a:gd name="connsiteY75772" fmla="*/ 260495 h 5973007"/>
              <a:gd name="connsiteX75773" fmla="*/ 3000041 w 6884782"/>
              <a:gd name="connsiteY75773" fmla="*/ 261775 h 5973007"/>
              <a:gd name="connsiteX75774" fmla="*/ 2999188 w 6884782"/>
              <a:gd name="connsiteY75774" fmla="*/ 261206 h 5973007"/>
              <a:gd name="connsiteX75775" fmla="*/ 2995346 w 6884782"/>
              <a:gd name="connsiteY75775" fmla="*/ 258787 h 5973007"/>
              <a:gd name="connsiteX75776" fmla="*/ 2996840 w 6884782"/>
              <a:gd name="connsiteY75776" fmla="*/ 252385 h 5973007"/>
              <a:gd name="connsiteX75777" fmla="*/ 3001322 w 6884782"/>
              <a:gd name="connsiteY75777" fmla="*/ 252243 h 5973007"/>
              <a:gd name="connsiteX75778" fmla="*/ 3128093 w 6884782"/>
              <a:gd name="connsiteY75778" fmla="*/ 250251 h 5973007"/>
              <a:gd name="connsiteX75779" fmla="*/ 3130654 w 6884782"/>
              <a:gd name="connsiteY75779" fmla="*/ 250536 h 5973007"/>
              <a:gd name="connsiteX75780" fmla="*/ 3130441 w 6884782"/>
              <a:gd name="connsiteY75780" fmla="*/ 253950 h 5973007"/>
              <a:gd name="connsiteX75781" fmla="*/ 3119770 w 6884782"/>
              <a:gd name="connsiteY75781" fmla="*/ 258503 h 5973007"/>
              <a:gd name="connsiteX75782" fmla="*/ 3128093 w 6884782"/>
              <a:gd name="connsiteY75782" fmla="*/ 250251 h 5973007"/>
              <a:gd name="connsiteX75783" fmla="*/ 3086049 w 6884782"/>
              <a:gd name="connsiteY75783" fmla="*/ 241858 h 5973007"/>
              <a:gd name="connsiteX75784" fmla="*/ 3089891 w 6884782"/>
              <a:gd name="connsiteY75784" fmla="*/ 250678 h 5973007"/>
              <a:gd name="connsiteX75785" fmla="*/ 3076446 w 6884782"/>
              <a:gd name="connsiteY75785" fmla="*/ 279843 h 5973007"/>
              <a:gd name="connsiteX75786" fmla="*/ 3086049 w 6884782"/>
              <a:gd name="connsiteY75786" fmla="*/ 241858 h 5973007"/>
              <a:gd name="connsiteX75787" fmla="*/ 2846379 w 6884782"/>
              <a:gd name="connsiteY75787" fmla="*/ 240719 h 5973007"/>
              <a:gd name="connsiteX75788" fmla="*/ 2858331 w 6884782"/>
              <a:gd name="connsiteY75788" fmla="*/ 244133 h 5973007"/>
              <a:gd name="connsiteX75789" fmla="*/ 2846379 w 6884782"/>
              <a:gd name="connsiteY75789" fmla="*/ 240719 h 5973007"/>
              <a:gd name="connsiteX75790" fmla="*/ 3178673 w 6884782"/>
              <a:gd name="connsiteY75790" fmla="*/ 239866 h 5973007"/>
              <a:gd name="connsiteX75791" fmla="*/ 3182942 w 6884782"/>
              <a:gd name="connsiteY75791" fmla="*/ 240435 h 5973007"/>
              <a:gd name="connsiteX75792" fmla="*/ 3181661 w 6884782"/>
              <a:gd name="connsiteY75792" fmla="*/ 240435 h 5973007"/>
              <a:gd name="connsiteX75793" fmla="*/ 3182728 w 6884782"/>
              <a:gd name="connsiteY75793" fmla="*/ 241573 h 5973007"/>
              <a:gd name="connsiteX75794" fmla="*/ 3166295 w 6884782"/>
              <a:gd name="connsiteY75794" fmla="*/ 243707 h 5973007"/>
              <a:gd name="connsiteX75795" fmla="*/ 3166509 w 6884782"/>
              <a:gd name="connsiteY75795" fmla="*/ 242426 h 5973007"/>
              <a:gd name="connsiteX75796" fmla="*/ 3178673 w 6884782"/>
              <a:gd name="connsiteY75796" fmla="*/ 239866 h 5973007"/>
              <a:gd name="connsiteX75797" fmla="*/ 3159679 w 6884782"/>
              <a:gd name="connsiteY75797" fmla="*/ 239866 h 5973007"/>
              <a:gd name="connsiteX75798" fmla="*/ 3160746 w 6884782"/>
              <a:gd name="connsiteY75798" fmla="*/ 241146 h 5973007"/>
              <a:gd name="connsiteX75799" fmla="*/ 3154770 w 6884782"/>
              <a:gd name="connsiteY75799" fmla="*/ 243423 h 5973007"/>
              <a:gd name="connsiteX75800" fmla="*/ 3159679 w 6884782"/>
              <a:gd name="connsiteY75800" fmla="*/ 239866 h 5973007"/>
              <a:gd name="connsiteX75801" fmla="*/ 2654088 w 6884782"/>
              <a:gd name="connsiteY75801" fmla="*/ 238016 h 5973007"/>
              <a:gd name="connsiteX75802" fmla="*/ 2662838 w 6884782"/>
              <a:gd name="connsiteY75802" fmla="*/ 241573 h 5973007"/>
              <a:gd name="connsiteX75803" fmla="*/ 2662411 w 6884782"/>
              <a:gd name="connsiteY75803" fmla="*/ 244987 h 5973007"/>
              <a:gd name="connsiteX75804" fmla="*/ 2645124 w 6884782"/>
              <a:gd name="connsiteY75804" fmla="*/ 245698 h 5973007"/>
              <a:gd name="connsiteX75805" fmla="*/ 2643417 w 6884782"/>
              <a:gd name="connsiteY75805" fmla="*/ 240719 h 5973007"/>
              <a:gd name="connsiteX75806" fmla="*/ 2654088 w 6884782"/>
              <a:gd name="connsiteY75806" fmla="*/ 238016 h 5973007"/>
              <a:gd name="connsiteX75807" fmla="*/ 2752474 w 6884782"/>
              <a:gd name="connsiteY75807" fmla="*/ 228769 h 5973007"/>
              <a:gd name="connsiteX75808" fmla="*/ 2760798 w 6884782"/>
              <a:gd name="connsiteY75808" fmla="*/ 234032 h 5973007"/>
              <a:gd name="connsiteX75809" fmla="*/ 2755462 w 6884782"/>
              <a:gd name="connsiteY75809" fmla="*/ 241146 h 5973007"/>
              <a:gd name="connsiteX75810" fmla="*/ 2748206 w 6884782"/>
              <a:gd name="connsiteY75810" fmla="*/ 233464 h 5973007"/>
              <a:gd name="connsiteX75811" fmla="*/ 2752474 w 6884782"/>
              <a:gd name="connsiteY75811" fmla="*/ 228769 h 5973007"/>
              <a:gd name="connsiteX75812" fmla="*/ 3185290 w 6884782"/>
              <a:gd name="connsiteY75812" fmla="*/ 227204 h 5973007"/>
              <a:gd name="connsiteX75813" fmla="*/ 3184649 w 6884782"/>
              <a:gd name="connsiteY75813" fmla="*/ 232041 h 5973007"/>
              <a:gd name="connsiteX75814" fmla="*/ 3182302 w 6884782"/>
              <a:gd name="connsiteY75814" fmla="*/ 232041 h 5973007"/>
              <a:gd name="connsiteX75815" fmla="*/ 3164374 w 6884782"/>
              <a:gd name="connsiteY75815" fmla="*/ 237874 h 5973007"/>
              <a:gd name="connsiteX75816" fmla="*/ 3185290 w 6884782"/>
              <a:gd name="connsiteY75816" fmla="*/ 227204 h 5973007"/>
              <a:gd name="connsiteX75817" fmla="*/ 3116142 w 6884782"/>
              <a:gd name="connsiteY75817" fmla="*/ 226065 h 5973007"/>
              <a:gd name="connsiteX75818" fmla="*/ 3117849 w 6884782"/>
              <a:gd name="connsiteY75818" fmla="*/ 227773 h 5973007"/>
              <a:gd name="connsiteX75819" fmla="*/ 3116995 w 6884782"/>
              <a:gd name="connsiteY75819" fmla="*/ 229765 h 5973007"/>
              <a:gd name="connsiteX75820" fmla="*/ 3114434 w 6884782"/>
              <a:gd name="connsiteY75820" fmla="*/ 232041 h 5973007"/>
              <a:gd name="connsiteX75821" fmla="*/ 3112940 w 6884782"/>
              <a:gd name="connsiteY75821" fmla="*/ 234459 h 5973007"/>
              <a:gd name="connsiteX75822" fmla="*/ 3109312 w 6884782"/>
              <a:gd name="connsiteY75822" fmla="*/ 234317 h 5973007"/>
              <a:gd name="connsiteX75823" fmla="*/ 3110806 w 6884782"/>
              <a:gd name="connsiteY75823" fmla="*/ 231899 h 5973007"/>
              <a:gd name="connsiteX75824" fmla="*/ 3116142 w 6884782"/>
              <a:gd name="connsiteY75824" fmla="*/ 226065 h 5973007"/>
              <a:gd name="connsiteX75825" fmla="*/ 2859824 w 6884782"/>
              <a:gd name="connsiteY75825" fmla="*/ 219806 h 5973007"/>
              <a:gd name="connsiteX75826" fmla="*/ 2863666 w 6884782"/>
              <a:gd name="connsiteY75826" fmla="*/ 220801 h 5973007"/>
              <a:gd name="connsiteX75827" fmla="*/ 2865160 w 6884782"/>
              <a:gd name="connsiteY75827" fmla="*/ 224358 h 5973007"/>
              <a:gd name="connsiteX75828" fmla="*/ 2864306 w 6884782"/>
              <a:gd name="connsiteY75828" fmla="*/ 226777 h 5973007"/>
              <a:gd name="connsiteX75829" fmla="*/ 2842964 w 6884782"/>
              <a:gd name="connsiteY75829" fmla="*/ 233606 h 5973007"/>
              <a:gd name="connsiteX75830" fmla="*/ 2846379 w 6884782"/>
              <a:gd name="connsiteY75830" fmla="*/ 222936 h 5973007"/>
              <a:gd name="connsiteX75831" fmla="*/ 2850861 w 6884782"/>
              <a:gd name="connsiteY75831" fmla="*/ 220517 h 5973007"/>
              <a:gd name="connsiteX75832" fmla="*/ 2855769 w 6884782"/>
              <a:gd name="connsiteY75832" fmla="*/ 220801 h 5973007"/>
              <a:gd name="connsiteX75833" fmla="*/ 2859824 w 6884782"/>
              <a:gd name="connsiteY75833" fmla="*/ 219806 h 5973007"/>
              <a:gd name="connsiteX75834" fmla="*/ 3110166 w 6884782"/>
              <a:gd name="connsiteY75834" fmla="*/ 216391 h 5973007"/>
              <a:gd name="connsiteX75835" fmla="*/ 3112300 w 6884782"/>
              <a:gd name="connsiteY75835" fmla="*/ 216391 h 5973007"/>
              <a:gd name="connsiteX75836" fmla="*/ 3109312 w 6884782"/>
              <a:gd name="connsiteY75836" fmla="*/ 223789 h 5973007"/>
              <a:gd name="connsiteX75837" fmla="*/ 3105897 w 6884782"/>
              <a:gd name="connsiteY75837" fmla="*/ 225070 h 5973007"/>
              <a:gd name="connsiteX75838" fmla="*/ 3106324 w 6884782"/>
              <a:gd name="connsiteY75838" fmla="*/ 221228 h 5973007"/>
              <a:gd name="connsiteX75839" fmla="*/ 3108672 w 6884782"/>
              <a:gd name="connsiteY75839" fmla="*/ 220090 h 5973007"/>
              <a:gd name="connsiteX75840" fmla="*/ 3110166 w 6884782"/>
              <a:gd name="connsiteY75840" fmla="*/ 216391 h 5973007"/>
              <a:gd name="connsiteX75841" fmla="*/ 2661771 w 6884782"/>
              <a:gd name="connsiteY75841" fmla="*/ 215111 h 5973007"/>
              <a:gd name="connsiteX75842" fmla="*/ 2657503 w 6884782"/>
              <a:gd name="connsiteY75842" fmla="*/ 230191 h 5973007"/>
              <a:gd name="connsiteX75843" fmla="*/ 2653448 w 6884782"/>
              <a:gd name="connsiteY75843" fmla="*/ 216676 h 5973007"/>
              <a:gd name="connsiteX75844" fmla="*/ 2661771 w 6884782"/>
              <a:gd name="connsiteY75844" fmla="*/ 215111 h 5973007"/>
              <a:gd name="connsiteX75845" fmla="*/ 2791743 w 6884782"/>
              <a:gd name="connsiteY75845" fmla="*/ 214257 h 5973007"/>
              <a:gd name="connsiteX75846" fmla="*/ 2798360 w 6884782"/>
              <a:gd name="connsiteY75846" fmla="*/ 214257 h 5973007"/>
              <a:gd name="connsiteX75847" fmla="*/ 2806683 w 6884782"/>
              <a:gd name="connsiteY75847" fmla="*/ 216960 h 5973007"/>
              <a:gd name="connsiteX75848" fmla="*/ 2803481 w 6884782"/>
              <a:gd name="connsiteY75848" fmla="*/ 235313 h 5973007"/>
              <a:gd name="connsiteX75849" fmla="*/ 2764426 w 6884782"/>
              <a:gd name="connsiteY75849" fmla="*/ 253950 h 5973007"/>
              <a:gd name="connsiteX75850" fmla="*/ 2759090 w 6884782"/>
              <a:gd name="connsiteY75850" fmla="*/ 243565 h 5973007"/>
              <a:gd name="connsiteX75851" fmla="*/ 2791743 w 6884782"/>
              <a:gd name="connsiteY75851" fmla="*/ 214257 h 5973007"/>
              <a:gd name="connsiteX75852" fmla="*/ 3128947 w 6884782"/>
              <a:gd name="connsiteY75852" fmla="*/ 209989 h 5973007"/>
              <a:gd name="connsiteX75853" fmla="*/ 3131508 w 6884782"/>
              <a:gd name="connsiteY75853" fmla="*/ 210843 h 5973007"/>
              <a:gd name="connsiteX75854" fmla="*/ 3129801 w 6884782"/>
              <a:gd name="connsiteY75854" fmla="*/ 216818 h 5973007"/>
              <a:gd name="connsiteX75855" fmla="*/ 3119130 w 6884782"/>
              <a:gd name="connsiteY75855" fmla="*/ 220233 h 5973007"/>
              <a:gd name="connsiteX75856" fmla="*/ 3119556 w 6884782"/>
              <a:gd name="connsiteY75856" fmla="*/ 215538 h 5973007"/>
              <a:gd name="connsiteX75857" fmla="*/ 3128947 w 6884782"/>
              <a:gd name="connsiteY75857" fmla="*/ 209989 h 5973007"/>
              <a:gd name="connsiteX75858" fmla="*/ 3318890 w 6884782"/>
              <a:gd name="connsiteY75858" fmla="*/ 200315 h 5973007"/>
              <a:gd name="connsiteX75859" fmla="*/ 3322091 w 6884782"/>
              <a:gd name="connsiteY75859" fmla="*/ 201311 h 5973007"/>
              <a:gd name="connsiteX75860" fmla="*/ 3311420 w 6884782"/>
              <a:gd name="connsiteY75860" fmla="*/ 207998 h 5973007"/>
              <a:gd name="connsiteX75861" fmla="*/ 3318890 w 6884782"/>
              <a:gd name="connsiteY75861" fmla="*/ 200315 h 5973007"/>
              <a:gd name="connsiteX75862" fmla="*/ 3236083 w 6884782"/>
              <a:gd name="connsiteY75862" fmla="*/ 190925 h 5973007"/>
              <a:gd name="connsiteX75863" fmla="*/ 3236937 w 6884782"/>
              <a:gd name="connsiteY75863" fmla="*/ 193344 h 5973007"/>
              <a:gd name="connsiteX75864" fmla="*/ 3232028 w 6884782"/>
              <a:gd name="connsiteY75864" fmla="*/ 196758 h 5973007"/>
              <a:gd name="connsiteX75865" fmla="*/ 3232028 w 6884782"/>
              <a:gd name="connsiteY75865" fmla="*/ 198039 h 5973007"/>
              <a:gd name="connsiteX75866" fmla="*/ 3233949 w 6884782"/>
              <a:gd name="connsiteY75866" fmla="*/ 200457 h 5973007"/>
              <a:gd name="connsiteX75867" fmla="*/ 3232669 w 6884782"/>
              <a:gd name="connsiteY75867" fmla="*/ 212407 h 5973007"/>
              <a:gd name="connsiteX75868" fmla="*/ 3219650 w 6884782"/>
              <a:gd name="connsiteY75868" fmla="*/ 215822 h 5973007"/>
              <a:gd name="connsiteX75869" fmla="*/ 3214315 w 6884782"/>
              <a:gd name="connsiteY75869" fmla="*/ 212123 h 5973007"/>
              <a:gd name="connsiteX75870" fmla="*/ 3216876 w 6884782"/>
              <a:gd name="connsiteY75870" fmla="*/ 197754 h 5973007"/>
              <a:gd name="connsiteX75871" fmla="*/ 3229894 w 6884782"/>
              <a:gd name="connsiteY75871" fmla="*/ 195620 h 5973007"/>
              <a:gd name="connsiteX75872" fmla="*/ 3231175 w 6884782"/>
              <a:gd name="connsiteY75872" fmla="*/ 193202 h 5973007"/>
              <a:gd name="connsiteX75873" fmla="*/ 3236083 w 6884782"/>
              <a:gd name="connsiteY75873" fmla="*/ 190925 h 5973007"/>
              <a:gd name="connsiteX75874" fmla="*/ 2708510 w 6884782"/>
              <a:gd name="connsiteY75874" fmla="*/ 177125 h 5973007"/>
              <a:gd name="connsiteX75875" fmla="*/ 2711285 w 6884782"/>
              <a:gd name="connsiteY75875" fmla="*/ 177694 h 5973007"/>
              <a:gd name="connsiteX75876" fmla="*/ 2711925 w 6884782"/>
              <a:gd name="connsiteY75876" fmla="*/ 178974 h 5973007"/>
              <a:gd name="connsiteX75877" fmla="*/ 2709363 w 6884782"/>
              <a:gd name="connsiteY75877" fmla="*/ 183669 h 5973007"/>
              <a:gd name="connsiteX75878" fmla="*/ 2705949 w 6884782"/>
              <a:gd name="connsiteY75878" fmla="*/ 184808 h 5973007"/>
              <a:gd name="connsiteX75879" fmla="*/ 2705095 w 6884782"/>
              <a:gd name="connsiteY75879" fmla="*/ 181109 h 5973007"/>
              <a:gd name="connsiteX75880" fmla="*/ 2706589 w 6884782"/>
              <a:gd name="connsiteY75880" fmla="*/ 177552 h 5973007"/>
              <a:gd name="connsiteX75881" fmla="*/ 2708510 w 6884782"/>
              <a:gd name="connsiteY75881" fmla="*/ 177125 h 5973007"/>
              <a:gd name="connsiteX75882" fmla="*/ 2804549 w 6884782"/>
              <a:gd name="connsiteY75882" fmla="*/ 167166 h 5973007"/>
              <a:gd name="connsiteX75883" fmla="*/ 2804976 w 6884782"/>
              <a:gd name="connsiteY75883" fmla="*/ 181393 h 5973007"/>
              <a:gd name="connsiteX75884" fmla="*/ 2777444 w 6884782"/>
              <a:gd name="connsiteY75884" fmla="*/ 203871 h 5973007"/>
              <a:gd name="connsiteX75885" fmla="*/ 2767627 w 6884782"/>
              <a:gd name="connsiteY75885" fmla="*/ 206859 h 5973007"/>
              <a:gd name="connsiteX75886" fmla="*/ 2768267 w 6884782"/>
              <a:gd name="connsiteY75886" fmla="*/ 208424 h 5973007"/>
              <a:gd name="connsiteX75887" fmla="*/ 2767840 w 6884782"/>
              <a:gd name="connsiteY75887" fmla="*/ 211839 h 5973007"/>
              <a:gd name="connsiteX75888" fmla="*/ 2757597 w 6884782"/>
              <a:gd name="connsiteY75888" fmla="*/ 211697 h 5973007"/>
              <a:gd name="connsiteX75889" fmla="*/ 2756743 w 6884782"/>
              <a:gd name="connsiteY75889" fmla="*/ 207998 h 5973007"/>
              <a:gd name="connsiteX75890" fmla="*/ 2764212 w 6884782"/>
              <a:gd name="connsiteY75890" fmla="*/ 203729 h 5973007"/>
              <a:gd name="connsiteX75891" fmla="*/ 2766987 w 6884782"/>
              <a:gd name="connsiteY75891" fmla="*/ 205721 h 5973007"/>
              <a:gd name="connsiteX75892" fmla="*/ 2764212 w 6884782"/>
              <a:gd name="connsiteY75892" fmla="*/ 200315 h 5973007"/>
              <a:gd name="connsiteX75893" fmla="*/ 2765066 w 6884782"/>
              <a:gd name="connsiteY75893" fmla="*/ 193628 h 5973007"/>
              <a:gd name="connsiteX75894" fmla="*/ 2804549 w 6884782"/>
              <a:gd name="connsiteY75894" fmla="*/ 167166 h 5973007"/>
              <a:gd name="connsiteX75895" fmla="*/ 3092025 w 6884782"/>
              <a:gd name="connsiteY75895" fmla="*/ 163894 h 5973007"/>
              <a:gd name="connsiteX75896" fmla="*/ 3094586 w 6884782"/>
              <a:gd name="connsiteY75896" fmla="*/ 165886 h 5973007"/>
              <a:gd name="connsiteX75897" fmla="*/ 3090745 w 6884782"/>
              <a:gd name="connsiteY75897" fmla="*/ 169300 h 5973007"/>
              <a:gd name="connsiteX75898" fmla="*/ 3090104 w 6884782"/>
              <a:gd name="connsiteY75898" fmla="*/ 164606 h 5973007"/>
              <a:gd name="connsiteX75899" fmla="*/ 3092025 w 6884782"/>
              <a:gd name="connsiteY75899" fmla="*/ 163894 h 5973007"/>
              <a:gd name="connsiteX75900" fmla="*/ 3078580 w 6884782"/>
              <a:gd name="connsiteY75900" fmla="*/ 163325 h 5973007"/>
              <a:gd name="connsiteX75901" fmla="*/ 3081994 w 6884782"/>
              <a:gd name="connsiteY75901" fmla="*/ 167735 h 5973007"/>
              <a:gd name="connsiteX75902" fmla="*/ 3079860 w 6884782"/>
              <a:gd name="connsiteY75902" fmla="*/ 172857 h 5973007"/>
              <a:gd name="connsiteX75903" fmla="*/ 3077513 w 6884782"/>
              <a:gd name="connsiteY75903" fmla="*/ 173995 h 5973007"/>
              <a:gd name="connsiteX75904" fmla="*/ 3075592 w 6884782"/>
              <a:gd name="connsiteY75904" fmla="*/ 171719 h 5973007"/>
              <a:gd name="connsiteX75905" fmla="*/ 3076232 w 6884782"/>
              <a:gd name="connsiteY75905" fmla="*/ 164606 h 5973007"/>
              <a:gd name="connsiteX75906" fmla="*/ 3078580 w 6884782"/>
              <a:gd name="connsiteY75906" fmla="*/ 163325 h 5973007"/>
              <a:gd name="connsiteX75907" fmla="*/ 3098641 w 6884782"/>
              <a:gd name="connsiteY75907" fmla="*/ 153224 h 5973007"/>
              <a:gd name="connsiteX75908" fmla="*/ 3104617 w 6884782"/>
              <a:gd name="connsiteY75908" fmla="*/ 155358 h 5973007"/>
              <a:gd name="connsiteX75909" fmla="*/ 3106324 w 6884782"/>
              <a:gd name="connsiteY75909" fmla="*/ 158204 h 5973007"/>
              <a:gd name="connsiteX75910" fmla="*/ 3106538 w 6884782"/>
              <a:gd name="connsiteY75910" fmla="*/ 160053 h 5973007"/>
              <a:gd name="connsiteX75911" fmla="*/ 3106324 w 6884782"/>
              <a:gd name="connsiteY75911" fmla="*/ 162471 h 5973007"/>
              <a:gd name="connsiteX75912" fmla="*/ 3095867 w 6884782"/>
              <a:gd name="connsiteY75912" fmla="*/ 164748 h 5973007"/>
              <a:gd name="connsiteX75913" fmla="*/ 3093305 w 6884782"/>
              <a:gd name="connsiteY75913" fmla="*/ 155073 h 5973007"/>
              <a:gd name="connsiteX75914" fmla="*/ 3095653 w 6884782"/>
              <a:gd name="connsiteY75914" fmla="*/ 153935 h 5973007"/>
              <a:gd name="connsiteX75915" fmla="*/ 3098641 w 6884782"/>
              <a:gd name="connsiteY75915" fmla="*/ 153224 h 5973007"/>
              <a:gd name="connsiteX75916" fmla="*/ 2736468 w 6884782"/>
              <a:gd name="connsiteY75916" fmla="*/ 150094 h 5973007"/>
              <a:gd name="connsiteX75917" fmla="*/ 2738815 w 6884782"/>
              <a:gd name="connsiteY75917" fmla="*/ 151090 h 5973007"/>
              <a:gd name="connsiteX75918" fmla="*/ 2737108 w 6884782"/>
              <a:gd name="connsiteY75918" fmla="*/ 159768 h 5973007"/>
              <a:gd name="connsiteX75919" fmla="*/ 2730492 w 6884782"/>
              <a:gd name="connsiteY75919" fmla="*/ 152655 h 5973007"/>
              <a:gd name="connsiteX75920" fmla="*/ 2736468 w 6884782"/>
              <a:gd name="connsiteY75920" fmla="*/ 150094 h 5973007"/>
              <a:gd name="connsiteX75921" fmla="*/ 2384112 w 6884782"/>
              <a:gd name="connsiteY75921" fmla="*/ 149240 h 5973007"/>
              <a:gd name="connsiteX75922" fmla="*/ 2378136 w 6884782"/>
              <a:gd name="connsiteY75922" fmla="*/ 182673 h 5973007"/>
              <a:gd name="connsiteX75923" fmla="*/ 2359782 w 6884782"/>
              <a:gd name="connsiteY75923" fmla="*/ 206859 h 5973007"/>
              <a:gd name="connsiteX75924" fmla="*/ 2357434 w 6884782"/>
              <a:gd name="connsiteY75924" fmla="*/ 173568 h 5973007"/>
              <a:gd name="connsiteX75925" fmla="*/ 2384112 w 6884782"/>
              <a:gd name="connsiteY75925" fmla="*/ 149240 h 5973007"/>
              <a:gd name="connsiteX75926" fmla="*/ 3025651 w 6884782"/>
              <a:gd name="connsiteY75926" fmla="*/ 136009 h 5973007"/>
              <a:gd name="connsiteX75927" fmla="*/ 3033548 w 6884782"/>
              <a:gd name="connsiteY75927" fmla="*/ 137574 h 5973007"/>
              <a:gd name="connsiteX75928" fmla="*/ 3010925 w 6884782"/>
              <a:gd name="connsiteY75928" fmla="*/ 156496 h 5973007"/>
              <a:gd name="connsiteX75929" fmla="*/ 3008578 w 6884782"/>
              <a:gd name="connsiteY75929" fmla="*/ 150948 h 5973007"/>
              <a:gd name="connsiteX75930" fmla="*/ 3025651 w 6884782"/>
              <a:gd name="connsiteY75930" fmla="*/ 136009 h 5973007"/>
              <a:gd name="connsiteX75931" fmla="*/ 2919369 w 6884782"/>
              <a:gd name="connsiteY75931" fmla="*/ 136009 h 5973007"/>
              <a:gd name="connsiteX75932" fmla="*/ 2926198 w 6884782"/>
              <a:gd name="connsiteY75932" fmla="*/ 139139 h 5973007"/>
              <a:gd name="connsiteX75933" fmla="*/ 2929826 w 6884782"/>
              <a:gd name="connsiteY75933" fmla="*/ 143265 h 5973007"/>
              <a:gd name="connsiteX75934" fmla="*/ 2926412 w 6884782"/>
              <a:gd name="connsiteY75934" fmla="*/ 160764 h 5973007"/>
              <a:gd name="connsiteX75935" fmla="*/ 2923850 w 6884782"/>
              <a:gd name="connsiteY75935" fmla="*/ 163041 h 5973007"/>
              <a:gd name="connsiteX75936" fmla="*/ 2921076 w 6884782"/>
              <a:gd name="connsiteY75936" fmla="*/ 167735 h 5973007"/>
              <a:gd name="connsiteX75937" fmla="*/ 2907844 w 6884782"/>
              <a:gd name="connsiteY75937" fmla="*/ 161618 h 5973007"/>
              <a:gd name="connsiteX75938" fmla="*/ 2906350 w 6884782"/>
              <a:gd name="connsiteY75938" fmla="*/ 141131 h 5973007"/>
              <a:gd name="connsiteX75939" fmla="*/ 2919369 w 6884782"/>
              <a:gd name="connsiteY75939" fmla="*/ 136009 h 5973007"/>
              <a:gd name="connsiteX75940" fmla="*/ 2941137 w 6884782"/>
              <a:gd name="connsiteY75940" fmla="*/ 128753 h 5973007"/>
              <a:gd name="connsiteX75941" fmla="*/ 2945192 w 6884782"/>
              <a:gd name="connsiteY75941" fmla="*/ 133591 h 5973007"/>
              <a:gd name="connsiteX75942" fmla="*/ 2941991 w 6884782"/>
              <a:gd name="connsiteY75942" fmla="*/ 143265 h 5973007"/>
              <a:gd name="connsiteX75943" fmla="*/ 2934095 w 6884782"/>
              <a:gd name="connsiteY75943" fmla="*/ 140704 h 5973007"/>
              <a:gd name="connsiteX75944" fmla="*/ 2933454 w 6884782"/>
              <a:gd name="connsiteY75944" fmla="*/ 137147 h 5973007"/>
              <a:gd name="connsiteX75945" fmla="*/ 2935162 w 6884782"/>
              <a:gd name="connsiteY75945" fmla="*/ 129892 h 5973007"/>
              <a:gd name="connsiteX75946" fmla="*/ 2934095 w 6884782"/>
              <a:gd name="connsiteY75946" fmla="*/ 129892 h 5973007"/>
              <a:gd name="connsiteX75947" fmla="*/ 2941137 w 6884782"/>
              <a:gd name="connsiteY75947" fmla="*/ 128753 h 5973007"/>
              <a:gd name="connsiteX75948" fmla="*/ 2172826 w 6884782"/>
              <a:gd name="connsiteY75948" fmla="*/ 104710 h 5973007"/>
              <a:gd name="connsiteX75949" fmla="*/ 2191394 w 6884782"/>
              <a:gd name="connsiteY75949" fmla="*/ 119079 h 5973007"/>
              <a:gd name="connsiteX75950" fmla="*/ 2190540 w 6884782"/>
              <a:gd name="connsiteY75950" fmla="*/ 125624 h 5973007"/>
              <a:gd name="connsiteX75951" fmla="*/ 2159594 w 6884782"/>
              <a:gd name="connsiteY75951" fmla="*/ 147818 h 5973007"/>
              <a:gd name="connsiteX75952" fmla="*/ 2154472 w 6884782"/>
              <a:gd name="connsiteY75952" fmla="*/ 110543 h 5973007"/>
              <a:gd name="connsiteX75953" fmla="*/ 2163863 w 6884782"/>
              <a:gd name="connsiteY75953" fmla="*/ 104852 h 5973007"/>
              <a:gd name="connsiteX75954" fmla="*/ 2172826 w 6884782"/>
              <a:gd name="connsiteY75954" fmla="*/ 104710 h 5973007"/>
              <a:gd name="connsiteX75955" fmla="*/ 3040805 w 6884782"/>
              <a:gd name="connsiteY75955" fmla="*/ 89914 h 5973007"/>
              <a:gd name="connsiteX75956" fmla="*/ 3044219 w 6884782"/>
              <a:gd name="connsiteY75956" fmla="*/ 92190 h 5973007"/>
              <a:gd name="connsiteX75957" fmla="*/ 3044859 w 6884782"/>
              <a:gd name="connsiteY75957" fmla="*/ 97027 h 5973007"/>
              <a:gd name="connsiteX75958" fmla="*/ 3035255 w 6884782"/>
              <a:gd name="connsiteY75958" fmla="*/ 99162 h 5973007"/>
              <a:gd name="connsiteX75959" fmla="*/ 3037176 w 6884782"/>
              <a:gd name="connsiteY75959" fmla="*/ 92048 h 5973007"/>
              <a:gd name="connsiteX75960" fmla="*/ 3040805 w 6884782"/>
              <a:gd name="connsiteY75960" fmla="*/ 89914 h 5973007"/>
              <a:gd name="connsiteX75961" fmla="*/ 2603080 w 6884782"/>
              <a:gd name="connsiteY75961" fmla="*/ 70708 h 5973007"/>
              <a:gd name="connsiteX75962" fmla="*/ 2612471 w 6884782"/>
              <a:gd name="connsiteY75962" fmla="*/ 81094 h 5973007"/>
              <a:gd name="connsiteX75963" fmla="*/ 2614819 w 6884782"/>
              <a:gd name="connsiteY75963" fmla="*/ 91337 h 5973007"/>
              <a:gd name="connsiteX75964" fmla="*/ 2587074 w 6884782"/>
              <a:gd name="connsiteY75964" fmla="*/ 90056 h 5973007"/>
              <a:gd name="connsiteX75965" fmla="*/ 2603080 w 6884782"/>
              <a:gd name="connsiteY75965" fmla="*/ 70708 h 5973007"/>
              <a:gd name="connsiteX75966" fmla="*/ 2933881 w 6884782"/>
              <a:gd name="connsiteY75966" fmla="*/ 55343 h 5973007"/>
              <a:gd name="connsiteX75967" fmla="*/ 2935588 w 6884782"/>
              <a:gd name="connsiteY75967" fmla="*/ 56765 h 5973007"/>
              <a:gd name="connsiteX75968" fmla="*/ 2936869 w 6884782"/>
              <a:gd name="connsiteY75968" fmla="*/ 57904 h 5973007"/>
              <a:gd name="connsiteX75969" fmla="*/ 2936656 w 6884782"/>
              <a:gd name="connsiteY75969" fmla="*/ 59042 h 5973007"/>
              <a:gd name="connsiteX75970" fmla="*/ 2931960 w 6884782"/>
              <a:gd name="connsiteY75970" fmla="*/ 60038 h 5973007"/>
              <a:gd name="connsiteX75971" fmla="*/ 2932174 w 6884782"/>
              <a:gd name="connsiteY75971" fmla="*/ 57904 h 5973007"/>
              <a:gd name="connsiteX75972" fmla="*/ 2931107 w 6884782"/>
              <a:gd name="connsiteY75972" fmla="*/ 57904 h 5973007"/>
              <a:gd name="connsiteX75973" fmla="*/ 2932387 w 6884782"/>
              <a:gd name="connsiteY75973" fmla="*/ 55627 h 5973007"/>
              <a:gd name="connsiteX75974" fmla="*/ 2933454 w 6884782"/>
              <a:gd name="connsiteY75974" fmla="*/ 55627 h 5973007"/>
              <a:gd name="connsiteX75975" fmla="*/ 2933881 w 6884782"/>
              <a:gd name="connsiteY75975" fmla="*/ 55343 h 5973007"/>
              <a:gd name="connsiteX75976" fmla="*/ 2177308 w 6884782"/>
              <a:gd name="connsiteY75976" fmla="*/ 0 h 5973007"/>
              <a:gd name="connsiteX75977" fmla="*/ 2184137 w 6884782"/>
              <a:gd name="connsiteY75977" fmla="*/ 14085 h 5973007"/>
              <a:gd name="connsiteX75978" fmla="*/ 2181790 w 6884782"/>
              <a:gd name="connsiteY75978" fmla="*/ 34145 h 5973007"/>
              <a:gd name="connsiteX75979" fmla="*/ 2168345 w 6884782"/>
              <a:gd name="connsiteY75979" fmla="*/ 53635 h 5973007"/>
              <a:gd name="connsiteX75980" fmla="*/ 2157887 w 6884782"/>
              <a:gd name="connsiteY75980" fmla="*/ 26747 h 5973007"/>
              <a:gd name="connsiteX75981" fmla="*/ 2164503 w 6884782"/>
              <a:gd name="connsiteY75981" fmla="*/ 13516 h 597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  <a:cxn ang="0">
                <a:pos x="connsiteX44590" y="connsiteY44590"/>
              </a:cxn>
              <a:cxn ang="0">
                <a:pos x="connsiteX44591" y="connsiteY44591"/>
              </a:cxn>
              <a:cxn ang="0">
                <a:pos x="connsiteX44592" y="connsiteY44592"/>
              </a:cxn>
              <a:cxn ang="0">
                <a:pos x="connsiteX44593" y="connsiteY44593"/>
              </a:cxn>
              <a:cxn ang="0">
                <a:pos x="connsiteX44594" y="connsiteY44594"/>
              </a:cxn>
              <a:cxn ang="0">
                <a:pos x="connsiteX44595" y="connsiteY44595"/>
              </a:cxn>
              <a:cxn ang="0">
                <a:pos x="connsiteX44596" y="connsiteY44596"/>
              </a:cxn>
              <a:cxn ang="0">
                <a:pos x="connsiteX44597" y="connsiteY44597"/>
              </a:cxn>
              <a:cxn ang="0">
                <a:pos x="connsiteX44598" y="connsiteY44598"/>
              </a:cxn>
              <a:cxn ang="0">
                <a:pos x="connsiteX44599" y="connsiteY44599"/>
              </a:cxn>
              <a:cxn ang="0">
                <a:pos x="connsiteX44600" y="connsiteY44600"/>
              </a:cxn>
              <a:cxn ang="0">
                <a:pos x="connsiteX44601" y="connsiteY44601"/>
              </a:cxn>
              <a:cxn ang="0">
                <a:pos x="connsiteX44602" y="connsiteY44602"/>
              </a:cxn>
              <a:cxn ang="0">
                <a:pos x="connsiteX44603" y="connsiteY44603"/>
              </a:cxn>
              <a:cxn ang="0">
                <a:pos x="connsiteX44604" y="connsiteY44604"/>
              </a:cxn>
              <a:cxn ang="0">
                <a:pos x="connsiteX44605" y="connsiteY44605"/>
              </a:cxn>
              <a:cxn ang="0">
                <a:pos x="connsiteX44606" y="connsiteY44606"/>
              </a:cxn>
              <a:cxn ang="0">
                <a:pos x="connsiteX44607" y="connsiteY44607"/>
              </a:cxn>
              <a:cxn ang="0">
                <a:pos x="connsiteX44608" y="connsiteY44608"/>
              </a:cxn>
              <a:cxn ang="0">
                <a:pos x="connsiteX44609" y="connsiteY44609"/>
              </a:cxn>
              <a:cxn ang="0">
                <a:pos x="connsiteX44610" y="connsiteY44610"/>
              </a:cxn>
              <a:cxn ang="0">
                <a:pos x="connsiteX44611" y="connsiteY44611"/>
              </a:cxn>
              <a:cxn ang="0">
                <a:pos x="connsiteX44612" y="connsiteY44612"/>
              </a:cxn>
              <a:cxn ang="0">
                <a:pos x="connsiteX44613" y="connsiteY44613"/>
              </a:cxn>
              <a:cxn ang="0">
                <a:pos x="connsiteX44614" y="connsiteY44614"/>
              </a:cxn>
              <a:cxn ang="0">
                <a:pos x="connsiteX44615" y="connsiteY44615"/>
              </a:cxn>
              <a:cxn ang="0">
                <a:pos x="connsiteX44616" y="connsiteY44616"/>
              </a:cxn>
              <a:cxn ang="0">
                <a:pos x="connsiteX44617" y="connsiteY44617"/>
              </a:cxn>
              <a:cxn ang="0">
                <a:pos x="connsiteX44618" y="connsiteY44618"/>
              </a:cxn>
              <a:cxn ang="0">
                <a:pos x="connsiteX44619" y="connsiteY44619"/>
              </a:cxn>
              <a:cxn ang="0">
                <a:pos x="connsiteX44620" y="connsiteY44620"/>
              </a:cxn>
              <a:cxn ang="0">
                <a:pos x="connsiteX44621" y="connsiteY44621"/>
              </a:cxn>
              <a:cxn ang="0">
                <a:pos x="connsiteX44622" y="connsiteY44622"/>
              </a:cxn>
              <a:cxn ang="0">
                <a:pos x="connsiteX44623" y="connsiteY44623"/>
              </a:cxn>
              <a:cxn ang="0">
                <a:pos x="connsiteX44624" y="connsiteY44624"/>
              </a:cxn>
              <a:cxn ang="0">
                <a:pos x="connsiteX44625" y="connsiteY44625"/>
              </a:cxn>
              <a:cxn ang="0">
                <a:pos x="connsiteX44626" y="connsiteY44626"/>
              </a:cxn>
              <a:cxn ang="0">
                <a:pos x="connsiteX44627" y="connsiteY44627"/>
              </a:cxn>
              <a:cxn ang="0">
                <a:pos x="connsiteX44628" y="connsiteY44628"/>
              </a:cxn>
              <a:cxn ang="0">
                <a:pos x="connsiteX44629" y="connsiteY44629"/>
              </a:cxn>
              <a:cxn ang="0">
                <a:pos x="connsiteX44630" y="connsiteY44630"/>
              </a:cxn>
              <a:cxn ang="0">
                <a:pos x="connsiteX44631" y="connsiteY44631"/>
              </a:cxn>
              <a:cxn ang="0">
                <a:pos x="connsiteX44632" y="connsiteY44632"/>
              </a:cxn>
              <a:cxn ang="0">
                <a:pos x="connsiteX44633" y="connsiteY44633"/>
              </a:cxn>
              <a:cxn ang="0">
                <a:pos x="connsiteX44634" y="connsiteY44634"/>
              </a:cxn>
              <a:cxn ang="0">
                <a:pos x="connsiteX44635" y="connsiteY44635"/>
              </a:cxn>
              <a:cxn ang="0">
                <a:pos x="connsiteX44636" y="connsiteY44636"/>
              </a:cxn>
              <a:cxn ang="0">
                <a:pos x="connsiteX44637" y="connsiteY44637"/>
              </a:cxn>
              <a:cxn ang="0">
                <a:pos x="connsiteX44638" y="connsiteY44638"/>
              </a:cxn>
              <a:cxn ang="0">
                <a:pos x="connsiteX44639" y="connsiteY44639"/>
              </a:cxn>
              <a:cxn ang="0">
                <a:pos x="connsiteX44640" y="connsiteY44640"/>
              </a:cxn>
              <a:cxn ang="0">
                <a:pos x="connsiteX44641" y="connsiteY44641"/>
              </a:cxn>
              <a:cxn ang="0">
                <a:pos x="connsiteX44642" y="connsiteY44642"/>
              </a:cxn>
              <a:cxn ang="0">
                <a:pos x="connsiteX44643" y="connsiteY44643"/>
              </a:cxn>
              <a:cxn ang="0">
                <a:pos x="connsiteX44644" y="connsiteY44644"/>
              </a:cxn>
              <a:cxn ang="0">
                <a:pos x="connsiteX44645" y="connsiteY44645"/>
              </a:cxn>
              <a:cxn ang="0">
                <a:pos x="connsiteX44646" y="connsiteY44646"/>
              </a:cxn>
              <a:cxn ang="0">
                <a:pos x="connsiteX44647" y="connsiteY44647"/>
              </a:cxn>
              <a:cxn ang="0">
                <a:pos x="connsiteX44648" y="connsiteY44648"/>
              </a:cxn>
              <a:cxn ang="0">
                <a:pos x="connsiteX44649" y="connsiteY44649"/>
              </a:cxn>
              <a:cxn ang="0">
                <a:pos x="connsiteX44650" y="connsiteY44650"/>
              </a:cxn>
              <a:cxn ang="0">
                <a:pos x="connsiteX44651" y="connsiteY44651"/>
              </a:cxn>
              <a:cxn ang="0">
                <a:pos x="connsiteX44652" y="connsiteY44652"/>
              </a:cxn>
              <a:cxn ang="0">
                <a:pos x="connsiteX44653" y="connsiteY44653"/>
              </a:cxn>
              <a:cxn ang="0">
                <a:pos x="connsiteX44654" y="connsiteY44654"/>
              </a:cxn>
              <a:cxn ang="0">
                <a:pos x="connsiteX44655" y="connsiteY44655"/>
              </a:cxn>
              <a:cxn ang="0">
                <a:pos x="connsiteX44656" y="connsiteY44656"/>
              </a:cxn>
              <a:cxn ang="0">
                <a:pos x="connsiteX44657" y="connsiteY44657"/>
              </a:cxn>
              <a:cxn ang="0">
                <a:pos x="connsiteX44658" y="connsiteY44658"/>
              </a:cxn>
              <a:cxn ang="0">
                <a:pos x="connsiteX44659" y="connsiteY44659"/>
              </a:cxn>
              <a:cxn ang="0">
                <a:pos x="connsiteX44660" y="connsiteY44660"/>
              </a:cxn>
              <a:cxn ang="0">
                <a:pos x="connsiteX44661" y="connsiteY44661"/>
              </a:cxn>
              <a:cxn ang="0">
                <a:pos x="connsiteX44662" y="connsiteY44662"/>
              </a:cxn>
              <a:cxn ang="0">
                <a:pos x="connsiteX44663" y="connsiteY44663"/>
              </a:cxn>
              <a:cxn ang="0">
                <a:pos x="connsiteX44664" y="connsiteY44664"/>
              </a:cxn>
              <a:cxn ang="0">
                <a:pos x="connsiteX44665" y="connsiteY44665"/>
              </a:cxn>
              <a:cxn ang="0">
                <a:pos x="connsiteX44666" y="connsiteY44666"/>
              </a:cxn>
              <a:cxn ang="0">
                <a:pos x="connsiteX44667" y="connsiteY44667"/>
              </a:cxn>
              <a:cxn ang="0">
                <a:pos x="connsiteX44668" y="connsiteY44668"/>
              </a:cxn>
              <a:cxn ang="0">
                <a:pos x="connsiteX44669" y="connsiteY44669"/>
              </a:cxn>
              <a:cxn ang="0">
                <a:pos x="connsiteX44670" y="connsiteY44670"/>
              </a:cxn>
              <a:cxn ang="0">
                <a:pos x="connsiteX44671" y="connsiteY44671"/>
              </a:cxn>
              <a:cxn ang="0">
                <a:pos x="connsiteX44672" y="connsiteY44672"/>
              </a:cxn>
              <a:cxn ang="0">
                <a:pos x="connsiteX44673" y="connsiteY44673"/>
              </a:cxn>
              <a:cxn ang="0">
                <a:pos x="connsiteX44674" y="connsiteY44674"/>
              </a:cxn>
              <a:cxn ang="0">
                <a:pos x="connsiteX44675" y="connsiteY44675"/>
              </a:cxn>
              <a:cxn ang="0">
                <a:pos x="connsiteX44676" y="connsiteY44676"/>
              </a:cxn>
              <a:cxn ang="0">
                <a:pos x="connsiteX44677" y="connsiteY44677"/>
              </a:cxn>
              <a:cxn ang="0">
                <a:pos x="connsiteX44678" y="connsiteY44678"/>
              </a:cxn>
              <a:cxn ang="0">
                <a:pos x="connsiteX44679" y="connsiteY44679"/>
              </a:cxn>
              <a:cxn ang="0">
                <a:pos x="connsiteX44680" y="connsiteY44680"/>
              </a:cxn>
              <a:cxn ang="0">
                <a:pos x="connsiteX44681" y="connsiteY44681"/>
              </a:cxn>
              <a:cxn ang="0">
                <a:pos x="connsiteX44682" y="connsiteY44682"/>
              </a:cxn>
              <a:cxn ang="0">
                <a:pos x="connsiteX44683" y="connsiteY44683"/>
              </a:cxn>
              <a:cxn ang="0">
                <a:pos x="connsiteX44684" y="connsiteY44684"/>
              </a:cxn>
              <a:cxn ang="0">
                <a:pos x="connsiteX44685" y="connsiteY44685"/>
              </a:cxn>
              <a:cxn ang="0">
                <a:pos x="connsiteX44686" y="connsiteY44686"/>
              </a:cxn>
              <a:cxn ang="0">
                <a:pos x="connsiteX44687" y="connsiteY44687"/>
              </a:cxn>
              <a:cxn ang="0">
                <a:pos x="connsiteX44688" y="connsiteY44688"/>
              </a:cxn>
              <a:cxn ang="0">
                <a:pos x="connsiteX44689" y="connsiteY44689"/>
              </a:cxn>
              <a:cxn ang="0">
                <a:pos x="connsiteX44690" y="connsiteY44690"/>
              </a:cxn>
              <a:cxn ang="0">
                <a:pos x="connsiteX44691" y="connsiteY44691"/>
              </a:cxn>
              <a:cxn ang="0">
                <a:pos x="connsiteX44692" y="connsiteY44692"/>
              </a:cxn>
              <a:cxn ang="0">
                <a:pos x="connsiteX44693" y="connsiteY44693"/>
              </a:cxn>
              <a:cxn ang="0">
                <a:pos x="connsiteX44694" y="connsiteY44694"/>
              </a:cxn>
              <a:cxn ang="0">
                <a:pos x="connsiteX44695" y="connsiteY44695"/>
              </a:cxn>
              <a:cxn ang="0">
                <a:pos x="connsiteX44696" y="connsiteY44696"/>
              </a:cxn>
              <a:cxn ang="0">
                <a:pos x="connsiteX44697" y="connsiteY44697"/>
              </a:cxn>
              <a:cxn ang="0">
                <a:pos x="connsiteX44698" y="connsiteY44698"/>
              </a:cxn>
              <a:cxn ang="0">
                <a:pos x="connsiteX44699" y="connsiteY44699"/>
              </a:cxn>
              <a:cxn ang="0">
                <a:pos x="connsiteX44700" y="connsiteY44700"/>
              </a:cxn>
              <a:cxn ang="0">
                <a:pos x="connsiteX44701" y="connsiteY44701"/>
              </a:cxn>
              <a:cxn ang="0">
                <a:pos x="connsiteX44702" y="connsiteY44702"/>
              </a:cxn>
              <a:cxn ang="0">
                <a:pos x="connsiteX44703" y="connsiteY44703"/>
              </a:cxn>
              <a:cxn ang="0">
                <a:pos x="connsiteX44704" y="connsiteY44704"/>
              </a:cxn>
              <a:cxn ang="0">
                <a:pos x="connsiteX44705" y="connsiteY44705"/>
              </a:cxn>
              <a:cxn ang="0">
                <a:pos x="connsiteX44706" y="connsiteY44706"/>
              </a:cxn>
              <a:cxn ang="0">
                <a:pos x="connsiteX44707" y="connsiteY44707"/>
              </a:cxn>
              <a:cxn ang="0">
                <a:pos x="connsiteX44708" y="connsiteY44708"/>
              </a:cxn>
              <a:cxn ang="0">
                <a:pos x="connsiteX44709" y="connsiteY44709"/>
              </a:cxn>
              <a:cxn ang="0">
                <a:pos x="connsiteX44710" y="connsiteY44710"/>
              </a:cxn>
              <a:cxn ang="0">
                <a:pos x="connsiteX44711" y="connsiteY44711"/>
              </a:cxn>
              <a:cxn ang="0">
                <a:pos x="connsiteX44712" y="connsiteY44712"/>
              </a:cxn>
              <a:cxn ang="0">
                <a:pos x="connsiteX44713" y="connsiteY44713"/>
              </a:cxn>
              <a:cxn ang="0">
                <a:pos x="connsiteX44714" y="connsiteY44714"/>
              </a:cxn>
              <a:cxn ang="0">
                <a:pos x="connsiteX44715" y="connsiteY44715"/>
              </a:cxn>
              <a:cxn ang="0">
                <a:pos x="connsiteX44716" y="connsiteY44716"/>
              </a:cxn>
              <a:cxn ang="0">
                <a:pos x="connsiteX44717" y="connsiteY44717"/>
              </a:cxn>
              <a:cxn ang="0">
                <a:pos x="connsiteX44718" y="connsiteY44718"/>
              </a:cxn>
              <a:cxn ang="0">
                <a:pos x="connsiteX44719" y="connsiteY44719"/>
              </a:cxn>
              <a:cxn ang="0">
                <a:pos x="connsiteX44720" y="connsiteY44720"/>
              </a:cxn>
              <a:cxn ang="0">
                <a:pos x="connsiteX44721" y="connsiteY44721"/>
              </a:cxn>
              <a:cxn ang="0">
                <a:pos x="connsiteX44722" y="connsiteY44722"/>
              </a:cxn>
              <a:cxn ang="0">
                <a:pos x="connsiteX44723" y="connsiteY44723"/>
              </a:cxn>
              <a:cxn ang="0">
                <a:pos x="connsiteX44724" y="connsiteY44724"/>
              </a:cxn>
              <a:cxn ang="0">
                <a:pos x="connsiteX44725" y="connsiteY44725"/>
              </a:cxn>
              <a:cxn ang="0">
                <a:pos x="connsiteX44726" y="connsiteY44726"/>
              </a:cxn>
              <a:cxn ang="0">
                <a:pos x="connsiteX44727" y="connsiteY44727"/>
              </a:cxn>
              <a:cxn ang="0">
                <a:pos x="connsiteX44728" y="connsiteY44728"/>
              </a:cxn>
              <a:cxn ang="0">
                <a:pos x="connsiteX44729" y="connsiteY44729"/>
              </a:cxn>
              <a:cxn ang="0">
                <a:pos x="connsiteX44730" y="connsiteY44730"/>
              </a:cxn>
              <a:cxn ang="0">
                <a:pos x="connsiteX44731" y="connsiteY44731"/>
              </a:cxn>
              <a:cxn ang="0">
                <a:pos x="connsiteX44732" y="connsiteY44732"/>
              </a:cxn>
              <a:cxn ang="0">
                <a:pos x="connsiteX44733" y="connsiteY44733"/>
              </a:cxn>
              <a:cxn ang="0">
                <a:pos x="connsiteX44734" y="connsiteY44734"/>
              </a:cxn>
              <a:cxn ang="0">
                <a:pos x="connsiteX44735" y="connsiteY44735"/>
              </a:cxn>
              <a:cxn ang="0">
                <a:pos x="connsiteX44736" y="connsiteY44736"/>
              </a:cxn>
              <a:cxn ang="0">
                <a:pos x="connsiteX44737" y="connsiteY44737"/>
              </a:cxn>
              <a:cxn ang="0">
                <a:pos x="connsiteX44738" y="connsiteY44738"/>
              </a:cxn>
              <a:cxn ang="0">
                <a:pos x="connsiteX44739" y="connsiteY44739"/>
              </a:cxn>
              <a:cxn ang="0">
                <a:pos x="connsiteX44740" y="connsiteY44740"/>
              </a:cxn>
              <a:cxn ang="0">
                <a:pos x="connsiteX44741" y="connsiteY44741"/>
              </a:cxn>
              <a:cxn ang="0">
                <a:pos x="connsiteX44742" y="connsiteY44742"/>
              </a:cxn>
              <a:cxn ang="0">
                <a:pos x="connsiteX44743" y="connsiteY44743"/>
              </a:cxn>
              <a:cxn ang="0">
                <a:pos x="connsiteX44744" y="connsiteY44744"/>
              </a:cxn>
              <a:cxn ang="0">
                <a:pos x="connsiteX44745" y="connsiteY44745"/>
              </a:cxn>
              <a:cxn ang="0">
                <a:pos x="connsiteX44746" y="connsiteY44746"/>
              </a:cxn>
              <a:cxn ang="0">
                <a:pos x="connsiteX44747" y="connsiteY44747"/>
              </a:cxn>
              <a:cxn ang="0">
                <a:pos x="connsiteX44748" y="connsiteY44748"/>
              </a:cxn>
              <a:cxn ang="0">
                <a:pos x="connsiteX44749" y="connsiteY44749"/>
              </a:cxn>
              <a:cxn ang="0">
                <a:pos x="connsiteX44750" y="connsiteY44750"/>
              </a:cxn>
              <a:cxn ang="0">
                <a:pos x="connsiteX44751" y="connsiteY44751"/>
              </a:cxn>
              <a:cxn ang="0">
                <a:pos x="connsiteX44752" y="connsiteY44752"/>
              </a:cxn>
              <a:cxn ang="0">
                <a:pos x="connsiteX44753" y="connsiteY44753"/>
              </a:cxn>
              <a:cxn ang="0">
                <a:pos x="connsiteX44754" y="connsiteY44754"/>
              </a:cxn>
              <a:cxn ang="0">
                <a:pos x="connsiteX44755" y="connsiteY44755"/>
              </a:cxn>
              <a:cxn ang="0">
                <a:pos x="connsiteX44756" y="connsiteY44756"/>
              </a:cxn>
              <a:cxn ang="0">
                <a:pos x="connsiteX44757" y="connsiteY44757"/>
              </a:cxn>
              <a:cxn ang="0">
                <a:pos x="connsiteX44758" y="connsiteY44758"/>
              </a:cxn>
              <a:cxn ang="0">
                <a:pos x="connsiteX44759" y="connsiteY44759"/>
              </a:cxn>
              <a:cxn ang="0">
                <a:pos x="connsiteX44760" y="connsiteY44760"/>
              </a:cxn>
              <a:cxn ang="0">
                <a:pos x="connsiteX44761" y="connsiteY44761"/>
              </a:cxn>
              <a:cxn ang="0">
                <a:pos x="connsiteX44762" y="connsiteY44762"/>
              </a:cxn>
              <a:cxn ang="0">
                <a:pos x="connsiteX44763" y="connsiteY44763"/>
              </a:cxn>
              <a:cxn ang="0">
                <a:pos x="connsiteX44764" y="connsiteY44764"/>
              </a:cxn>
              <a:cxn ang="0">
                <a:pos x="connsiteX44765" y="connsiteY44765"/>
              </a:cxn>
              <a:cxn ang="0">
                <a:pos x="connsiteX44766" y="connsiteY44766"/>
              </a:cxn>
              <a:cxn ang="0">
                <a:pos x="connsiteX44767" y="connsiteY44767"/>
              </a:cxn>
              <a:cxn ang="0">
                <a:pos x="connsiteX44768" y="connsiteY44768"/>
              </a:cxn>
              <a:cxn ang="0">
                <a:pos x="connsiteX44769" y="connsiteY44769"/>
              </a:cxn>
              <a:cxn ang="0">
                <a:pos x="connsiteX44770" y="connsiteY44770"/>
              </a:cxn>
              <a:cxn ang="0">
                <a:pos x="connsiteX44771" y="connsiteY44771"/>
              </a:cxn>
              <a:cxn ang="0">
                <a:pos x="connsiteX44772" y="connsiteY44772"/>
              </a:cxn>
              <a:cxn ang="0">
                <a:pos x="connsiteX44773" y="connsiteY44773"/>
              </a:cxn>
              <a:cxn ang="0">
                <a:pos x="connsiteX44774" y="connsiteY44774"/>
              </a:cxn>
              <a:cxn ang="0">
                <a:pos x="connsiteX44775" y="connsiteY44775"/>
              </a:cxn>
              <a:cxn ang="0">
                <a:pos x="connsiteX44776" y="connsiteY44776"/>
              </a:cxn>
              <a:cxn ang="0">
                <a:pos x="connsiteX44777" y="connsiteY44777"/>
              </a:cxn>
              <a:cxn ang="0">
                <a:pos x="connsiteX44778" y="connsiteY44778"/>
              </a:cxn>
              <a:cxn ang="0">
                <a:pos x="connsiteX44779" y="connsiteY44779"/>
              </a:cxn>
              <a:cxn ang="0">
                <a:pos x="connsiteX44780" y="connsiteY44780"/>
              </a:cxn>
              <a:cxn ang="0">
                <a:pos x="connsiteX44781" y="connsiteY44781"/>
              </a:cxn>
              <a:cxn ang="0">
                <a:pos x="connsiteX44782" y="connsiteY44782"/>
              </a:cxn>
              <a:cxn ang="0">
                <a:pos x="connsiteX44783" y="connsiteY44783"/>
              </a:cxn>
              <a:cxn ang="0">
                <a:pos x="connsiteX44784" y="connsiteY44784"/>
              </a:cxn>
              <a:cxn ang="0">
                <a:pos x="connsiteX44785" y="connsiteY44785"/>
              </a:cxn>
              <a:cxn ang="0">
                <a:pos x="connsiteX44786" y="connsiteY44786"/>
              </a:cxn>
              <a:cxn ang="0">
                <a:pos x="connsiteX44787" y="connsiteY44787"/>
              </a:cxn>
              <a:cxn ang="0">
                <a:pos x="connsiteX44788" y="connsiteY44788"/>
              </a:cxn>
              <a:cxn ang="0">
                <a:pos x="connsiteX44789" y="connsiteY44789"/>
              </a:cxn>
              <a:cxn ang="0">
                <a:pos x="connsiteX44790" y="connsiteY44790"/>
              </a:cxn>
              <a:cxn ang="0">
                <a:pos x="connsiteX44791" y="connsiteY44791"/>
              </a:cxn>
              <a:cxn ang="0">
                <a:pos x="connsiteX44792" y="connsiteY44792"/>
              </a:cxn>
              <a:cxn ang="0">
                <a:pos x="connsiteX44793" y="connsiteY44793"/>
              </a:cxn>
              <a:cxn ang="0">
                <a:pos x="connsiteX44794" y="connsiteY44794"/>
              </a:cxn>
              <a:cxn ang="0">
                <a:pos x="connsiteX44795" y="connsiteY44795"/>
              </a:cxn>
              <a:cxn ang="0">
                <a:pos x="connsiteX44796" y="connsiteY44796"/>
              </a:cxn>
              <a:cxn ang="0">
                <a:pos x="connsiteX44797" y="connsiteY44797"/>
              </a:cxn>
              <a:cxn ang="0">
                <a:pos x="connsiteX44798" y="connsiteY44798"/>
              </a:cxn>
              <a:cxn ang="0">
                <a:pos x="connsiteX44799" y="connsiteY44799"/>
              </a:cxn>
              <a:cxn ang="0">
                <a:pos x="connsiteX44800" y="connsiteY44800"/>
              </a:cxn>
              <a:cxn ang="0">
                <a:pos x="connsiteX44801" y="connsiteY44801"/>
              </a:cxn>
              <a:cxn ang="0">
                <a:pos x="connsiteX44802" y="connsiteY44802"/>
              </a:cxn>
              <a:cxn ang="0">
                <a:pos x="connsiteX44803" y="connsiteY44803"/>
              </a:cxn>
              <a:cxn ang="0">
                <a:pos x="connsiteX44804" y="connsiteY44804"/>
              </a:cxn>
              <a:cxn ang="0">
                <a:pos x="connsiteX44805" y="connsiteY44805"/>
              </a:cxn>
              <a:cxn ang="0">
                <a:pos x="connsiteX44806" y="connsiteY44806"/>
              </a:cxn>
              <a:cxn ang="0">
                <a:pos x="connsiteX44807" y="connsiteY44807"/>
              </a:cxn>
              <a:cxn ang="0">
                <a:pos x="connsiteX44808" y="connsiteY44808"/>
              </a:cxn>
              <a:cxn ang="0">
                <a:pos x="connsiteX44809" y="connsiteY44809"/>
              </a:cxn>
              <a:cxn ang="0">
                <a:pos x="connsiteX44810" y="connsiteY44810"/>
              </a:cxn>
              <a:cxn ang="0">
                <a:pos x="connsiteX44811" y="connsiteY44811"/>
              </a:cxn>
              <a:cxn ang="0">
                <a:pos x="connsiteX44812" y="connsiteY44812"/>
              </a:cxn>
              <a:cxn ang="0">
                <a:pos x="connsiteX44813" y="connsiteY44813"/>
              </a:cxn>
              <a:cxn ang="0">
                <a:pos x="connsiteX44814" y="connsiteY44814"/>
              </a:cxn>
              <a:cxn ang="0">
                <a:pos x="connsiteX44815" y="connsiteY44815"/>
              </a:cxn>
              <a:cxn ang="0">
                <a:pos x="connsiteX44816" y="connsiteY44816"/>
              </a:cxn>
              <a:cxn ang="0">
                <a:pos x="connsiteX44817" y="connsiteY44817"/>
              </a:cxn>
              <a:cxn ang="0">
                <a:pos x="connsiteX44818" y="connsiteY44818"/>
              </a:cxn>
              <a:cxn ang="0">
                <a:pos x="connsiteX44819" y="connsiteY44819"/>
              </a:cxn>
              <a:cxn ang="0">
                <a:pos x="connsiteX44820" y="connsiteY44820"/>
              </a:cxn>
              <a:cxn ang="0">
                <a:pos x="connsiteX44821" y="connsiteY44821"/>
              </a:cxn>
              <a:cxn ang="0">
                <a:pos x="connsiteX44822" y="connsiteY44822"/>
              </a:cxn>
              <a:cxn ang="0">
                <a:pos x="connsiteX44823" y="connsiteY44823"/>
              </a:cxn>
              <a:cxn ang="0">
                <a:pos x="connsiteX44824" y="connsiteY44824"/>
              </a:cxn>
              <a:cxn ang="0">
                <a:pos x="connsiteX44825" y="connsiteY44825"/>
              </a:cxn>
              <a:cxn ang="0">
                <a:pos x="connsiteX44826" y="connsiteY44826"/>
              </a:cxn>
              <a:cxn ang="0">
                <a:pos x="connsiteX44827" y="connsiteY44827"/>
              </a:cxn>
              <a:cxn ang="0">
                <a:pos x="connsiteX44828" y="connsiteY44828"/>
              </a:cxn>
              <a:cxn ang="0">
                <a:pos x="connsiteX44829" y="connsiteY44829"/>
              </a:cxn>
              <a:cxn ang="0">
                <a:pos x="connsiteX44830" y="connsiteY44830"/>
              </a:cxn>
              <a:cxn ang="0">
                <a:pos x="connsiteX44831" y="connsiteY44831"/>
              </a:cxn>
              <a:cxn ang="0">
                <a:pos x="connsiteX44832" y="connsiteY44832"/>
              </a:cxn>
              <a:cxn ang="0">
                <a:pos x="connsiteX44833" y="connsiteY44833"/>
              </a:cxn>
              <a:cxn ang="0">
                <a:pos x="connsiteX44834" y="connsiteY44834"/>
              </a:cxn>
              <a:cxn ang="0">
                <a:pos x="connsiteX44835" y="connsiteY44835"/>
              </a:cxn>
              <a:cxn ang="0">
                <a:pos x="connsiteX44836" y="connsiteY44836"/>
              </a:cxn>
              <a:cxn ang="0">
                <a:pos x="connsiteX44837" y="connsiteY44837"/>
              </a:cxn>
              <a:cxn ang="0">
                <a:pos x="connsiteX44838" y="connsiteY44838"/>
              </a:cxn>
              <a:cxn ang="0">
                <a:pos x="connsiteX44839" y="connsiteY44839"/>
              </a:cxn>
              <a:cxn ang="0">
                <a:pos x="connsiteX44840" y="connsiteY44840"/>
              </a:cxn>
              <a:cxn ang="0">
                <a:pos x="connsiteX44841" y="connsiteY44841"/>
              </a:cxn>
              <a:cxn ang="0">
                <a:pos x="connsiteX44842" y="connsiteY44842"/>
              </a:cxn>
              <a:cxn ang="0">
                <a:pos x="connsiteX44843" y="connsiteY44843"/>
              </a:cxn>
              <a:cxn ang="0">
                <a:pos x="connsiteX44844" y="connsiteY44844"/>
              </a:cxn>
              <a:cxn ang="0">
                <a:pos x="connsiteX44845" y="connsiteY44845"/>
              </a:cxn>
              <a:cxn ang="0">
                <a:pos x="connsiteX44846" y="connsiteY44846"/>
              </a:cxn>
              <a:cxn ang="0">
                <a:pos x="connsiteX44847" y="connsiteY44847"/>
              </a:cxn>
              <a:cxn ang="0">
                <a:pos x="connsiteX44848" y="connsiteY44848"/>
              </a:cxn>
              <a:cxn ang="0">
                <a:pos x="connsiteX44849" y="connsiteY44849"/>
              </a:cxn>
              <a:cxn ang="0">
                <a:pos x="connsiteX44850" y="connsiteY44850"/>
              </a:cxn>
              <a:cxn ang="0">
                <a:pos x="connsiteX44851" y="connsiteY44851"/>
              </a:cxn>
              <a:cxn ang="0">
                <a:pos x="connsiteX44852" y="connsiteY44852"/>
              </a:cxn>
              <a:cxn ang="0">
                <a:pos x="connsiteX44853" y="connsiteY44853"/>
              </a:cxn>
              <a:cxn ang="0">
                <a:pos x="connsiteX44854" y="connsiteY44854"/>
              </a:cxn>
              <a:cxn ang="0">
                <a:pos x="connsiteX44855" y="connsiteY44855"/>
              </a:cxn>
              <a:cxn ang="0">
                <a:pos x="connsiteX44856" y="connsiteY44856"/>
              </a:cxn>
              <a:cxn ang="0">
                <a:pos x="connsiteX44857" y="connsiteY44857"/>
              </a:cxn>
              <a:cxn ang="0">
                <a:pos x="connsiteX44858" y="connsiteY44858"/>
              </a:cxn>
              <a:cxn ang="0">
                <a:pos x="connsiteX44859" y="connsiteY44859"/>
              </a:cxn>
              <a:cxn ang="0">
                <a:pos x="connsiteX44860" y="connsiteY44860"/>
              </a:cxn>
              <a:cxn ang="0">
                <a:pos x="connsiteX44861" y="connsiteY44861"/>
              </a:cxn>
              <a:cxn ang="0">
                <a:pos x="connsiteX44862" y="connsiteY44862"/>
              </a:cxn>
              <a:cxn ang="0">
                <a:pos x="connsiteX44863" y="connsiteY44863"/>
              </a:cxn>
              <a:cxn ang="0">
                <a:pos x="connsiteX44864" y="connsiteY44864"/>
              </a:cxn>
              <a:cxn ang="0">
                <a:pos x="connsiteX44865" y="connsiteY44865"/>
              </a:cxn>
              <a:cxn ang="0">
                <a:pos x="connsiteX44866" y="connsiteY44866"/>
              </a:cxn>
              <a:cxn ang="0">
                <a:pos x="connsiteX44867" y="connsiteY44867"/>
              </a:cxn>
              <a:cxn ang="0">
                <a:pos x="connsiteX44868" y="connsiteY44868"/>
              </a:cxn>
              <a:cxn ang="0">
                <a:pos x="connsiteX44869" y="connsiteY44869"/>
              </a:cxn>
              <a:cxn ang="0">
                <a:pos x="connsiteX44870" y="connsiteY44870"/>
              </a:cxn>
              <a:cxn ang="0">
                <a:pos x="connsiteX44871" y="connsiteY44871"/>
              </a:cxn>
              <a:cxn ang="0">
                <a:pos x="connsiteX44872" y="connsiteY44872"/>
              </a:cxn>
              <a:cxn ang="0">
                <a:pos x="connsiteX44873" y="connsiteY44873"/>
              </a:cxn>
              <a:cxn ang="0">
                <a:pos x="connsiteX44874" y="connsiteY44874"/>
              </a:cxn>
              <a:cxn ang="0">
                <a:pos x="connsiteX44875" y="connsiteY44875"/>
              </a:cxn>
              <a:cxn ang="0">
                <a:pos x="connsiteX44876" y="connsiteY44876"/>
              </a:cxn>
              <a:cxn ang="0">
                <a:pos x="connsiteX44877" y="connsiteY44877"/>
              </a:cxn>
              <a:cxn ang="0">
                <a:pos x="connsiteX44878" y="connsiteY44878"/>
              </a:cxn>
              <a:cxn ang="0">
                <a:pos x="connsiteX44879" y="connsiteY44879"/>
              </a:cxn>
              <a:cxn ang="0">
                <a:pos x="connsiteX44880" y="connsiteY44880"/>
              </a:cxn>
              <a:cxn ang="0">
                <a:pos x="connsiteX44881" y="connsiteY44881"/>
              </a:cxn>
              <a:cxn ang="0">
                <a:pos x="connsiteX44882" y="connsiteY44882"/>
              </a:cxn>
              <a:cxn ang="0">
                <a:pos x="connsiteX44883" y="connsiteY44883"/>
              </a:cxn>
              <a:cxn ang="0">
                <a:pos x="connsiteX44884" y="connsiteY44884"/>
              </a:cxn>
              <a:cxn ang="0">
                <a:pos x="connsiteX44885" y="connsiteY44885"/>
              </a:cxn>
              <a:cxn ang="0">
                <a:pos x="connsiteX44886" y="connsiteY44886"/>
              </a:cxn>
              <a:cxn ang="0">
                <a:pos x="connsiteX44887" y="connsiteY44887"/>
              </a:cxn>
              <a:cxn ang="0">
                <a:pos x="connsiteX44888" y="connsiteY44888"/>
              </a:cxn>
              <a:cxn ang="0">
                <a:pos x="connsiteX44889" y="connsiteY44889"/>
              </a:cxn>
              <a:cxn ang="0">
                <a:pos x="connsiteX44890" y="connsiteY44890"/>
              </a:cxn>
              <a:cxn ang="0">
                <a:pos x="connsiteX44891" y="connsiteY44891"/>
              </a:cxn>
              <a:cxn ang="0">
                <a:pos x="connsiteX44892" y="connsiteY44892"/>
              </a:cxn>
              <a:cxn ang="0">
                <a:pos x="connsiteX44893" y="connsiteY44893"/>
              </a:cxn>
              <a:cxn ang="0">
                <a:pos x="connsiteX44894" y="connsiteY44894"/>
              </a:cxn>
              <a:cxn ang="0">
                <a:pos x="connsiteX44895" y="connsiteY44895"/>
              </a:cxn>
              <a:cxn ang="0">
                <a:pos x="connsiteX44896" y="connsiteY44896"/>
              </a:cxn>
              <a:cxn ang="0">
                <a:pos x="connsiteX44897" y="connsiteY44897"/>
              </a:cxn>
              <a:cxn ang="0">
                <a:pos x="connsiteX44898" y="connsiteY44898"/>
              </a:cxn>
              <a:cxn ang="0">
                <a:pos x="connsiteX44899" y="connsiteY44899"/>
              </a:cxn>
              <a:cxn ang="0">
                <a:pos x="connsiteX44900" y="connsiteY44900"/>
              </a:cxn>
              <a:cxn ang="0">
                <a:pos x="connsiteX44901" y="connsiteY44901"/>
              </a:cxn>
              <a:cxn ang="0">
                <a:pos x="connsiteX44902" y="connsiteY44902"/>
              </a:cxn>
              <a:cxn ang="0">
                <a:pos x="connsiteX44903" y="connsiteY44903"/>
              </a:cxn>
              <a:cxn ang="0">
                <a:pos x="connsiteX44904" y="connsiteY44904"/>
              </a:cxn>
              <a:cxn ang="0">
                <a:pos x="connsiteX44905" y="connsiteY44905"/>
              </a:cxn>
              <a:cxn ang="0">
                <a:pos x="connsiteX44906" y="connsiteY44906"/>
              </a:cxn>
              <a:cxn ang="0">
                <a:pos x="connsiteX44907" y="connsiteY44907"/>
              </a:cxn>
              <a:cxn ang="0">
                <a:pos x="connsiteX44908" y="connsiteY44908"/>
              </a:cxn>
              <a:cxn ang="0">
                <a:pos x="connsiteX44909" y="connsiteY44909"/>
              </a:cxn>
              <a:cxn ang="0">
                <a:pos x="connsiteX44910" y="connsiteY44910"/>
              </a:cxn>
              <a:cxn ang="0">
                <a:pos x="connsiteX44911" y="connsiteY44911"/>
              </a:cxn>
              <a:cxn ang="0">
                <a:pos x="connsiteX44912" y="connsiteY44912"/>
              </a:cxn>
              <a:cxn ang="0">
                <a:pos x="connsiteX44913" y="connsiteY44913"/>
              </a:cxn>
              <a:cxn ang="0">
                <a:pos x="connsiteX44914" y="connsiteY44914"/>
              </a:cxn>
              <a:cxn ang="0">
                <a:pos x="connsiteX44915" y="connsiteY44915"/>
              </a:cxn>
              <a:cxn ang="0">
                <a:pos x="connsiteX44916" y="connsiteY44916"/>
              </a:cxn>
              <a:cxn ang="0">
                <a:pos x="connsiteX44917" y="connsiteY44917"/>
              </a:cxn>
              <a:cxn ang="0">
                <a:pos x="connsiteX44918" y="connsiteY44918"/>
              </a:cxn>
              <a:cxn ang="0">
                <a:pos x="connsiteX44919" y="connsiteY44919"/>
              </a:cxn>
              <a:cxn ang="0">
                <a:pos x="connsiteX44920" y="connsiteY44920"/>
              </a:cxn>
              <a:cxn ang="0">
                <a:pos x="connsiteX44921" y="connsiteY44921"/>
              </a:cxn>
              <a:cxn ang="0">
                <a:pos x="connsiteX44922" y="connsiteY44922"/>
              </a:cxn>
              <a:cxn ang="0">
                <a:pos x="connsiteX44923" y="connsiteY44923"/>
              </a:cxn>
              <a:cxn ang="0">
                <a:pos x="connsiteX44924" y="connsiteY44924"/>
              </a:cxn>
              <a:cxn ang="0">
                <a:pos x="connsiteX44925" y="connsiteY44925"/>
              </a:cxn>
              <a:cxn ang="0">
                <a:pos x="connsiteX44926" y="connsiteY44926"/>
              </a:cxn>
              <a:cxn ang="0">
                <a:pos x="connsiteX44927" y="connsiteY44927"/>
              </a:cxn>
              <a:cxn ang="0">
                <a:pos x="connsiteX44928" y="connsiteY44928"/>
              </a:cxn>
              <a:cxn ang="0">
                <a:pos x="connsiteX44929" y="connsiteY44929"/>
              </a:cxn>
              <a:cxn ang="0">
                <a:pos x="connsiteX44930" y="connsiteY44930"/>
              </a:cxn>
              <a:cxn ang="0">
                <a:pos x="connsiteX44931" y="connsiteY44931"/>
              </a:cxn>
              <a:cxn ang="0">
                <a:pos x="connsiteX44932" y="connsiteY44932"/>
              </a:cxn>
              <a:cxn ang="0">
                <a:pos x="connsiteX44933" y="connsiteY44933"/>
              </a:cxn>
              <a:cxn ang="0">
                <a:pos x="connsiteX44934" y="connsiteY44934"/>
              </a:cxn>
              <a:cxn ang="0">
                <a:pos x="connsiteX44935" y="connsiteY44935"/>
              </a:cxn>
              <a:cxn ang="0">
                <a:pos x="connsiteX44936" y="connsiteY44936"/>
              </a:cxn>
              <a:cxn ang="0">
                <a:pos x="connsiteX44937" y="connsiteY44937"/>
              </a:cxn>
              <a:cxn ang="0">
                <a:pos x="connsiteX44938" y="connsiteY44938"/>
              </a:cxn>
              <a:cxn ang="0">
                <a:pos x="connsiteX44939" y="connsiteY44939"/>
              </a:cxn>
              <a:cxn ang="0">
                <a:pos x="connsiteX44940" y="connsiteY44940"/>
              </a:cxn>
              <a:cxn ang="0">
                <a:pos x="connsiteX44941" y="connsiteY44941"/>
              </a:cxn>
              <a:cxn ang="0">
                <a:pos x="connsiteX44942" y="connsiteY44942"/>
              </a:cxn>
              <a:cxn ang="0">
                <a:pos x="connsiteX44943" y="connsiteY44943"/>
              </a:cxn>
              <a:cxn ang="0">
                <a:pos x="connsiteX44944" y="connsiteY44944"/>
              </a:cxn>
              <a:cxn ang="0">
                <a:pos x="connsiteX44945" y="connsiteY44945"/>
              </a:cxn>
              <a:cxn ang="0">
                <a:pos x="connsiteX44946" y="connsiteY44946"/>
              </a:cxn>
              <a:cxn ang="0">
                <a:pos x="connsiteX44947" y="connsiteY44947"/>
              </a:cxn>
              <a:cxn ang="0">
                <a:pos x="connsiteX44948" y="connsiteY44948"/>
              </a:cxn>
              <a:cxn ang="0">
                <a:pos x="connsiteX44949" y="connsiteY44949"/>
              </a:cxn>
              <a:cxn ang="0">
                <a:pos x="connsiteX44950" y="connsiteY44950"/>
              </a:cxn>
              <a:cxn ang="0">
                <a:pos x="connsiteX44951" y="connsiteY44951"/>
              </a:cxn>
              <a:cxn ang="0">
                <a:pos x="connsiteX44952" y="connsiteY44952"/>
              </a:cxn>
              <a:cxn ang="0">
                <a:pos x="connsiteX44953" y="connsiteY44953"/>
              </a:cxn>
              <a:cxn ang="0">
                <a:pos x="connsiteX44954" y="connsiteY44954"/>
              </a:cxn>
              <a:cxn ang="0">
                <a:pos x="connsiteX44955" y="connsiteY44955"/>
              </a:cxn>
              <a:cxn ang="0">
                <a:pos x="connsiteX44956" y="connsiteY44956"/>
              </a:cxn>
              <a:cxn ang="0">
                <a:pos x="connsiteX44957" y="connsiteY44957"/>
              </a:cxn>
              <a:cxn ang="0">
                <a:pos x="connsiteX44958" y="connsiteY44958"/>
              </a:cxn>
              <a:cxn ang="0">
                <a:pos x="connsiteX44959" y="connsiteY44959"/>
              </a:cxn>
              <a:cxn ang="0">
                <a:pos x="connsiteX44960" y="connsiteY44960"/>
              </a:cxn>
              <a:cxn ang="0">
                <a:pos x="connsiteX44961" y="connsiteY44961"/>
              </a:cxn>
              <a:cxn ang="0">
                <a:pos x="connsiteX44962" y="connsiteY44962"/>
              </a:cxn>
              <a:cxn ang="0">
                <a:pos x="connsiteX44963" y="connsiteY44963"/>
              </a:cxn>
              <a:cxn ang="0">
                <a:pos x="connsiteX44964" y="connsiteY44964"/>
              </a:cxn>
              <a:cxn ang="0">
                <a:pos x="connsiteX44965" y="connsiteY44965"/>
              </a:cxn>
              <a:cxn ang="0">
                <a:pos x="connsiteX44966" y="connsiteY44966"/>
              </a:cxn>
              <a:cxn ang="0">
                <a:pos x="connsiteX44967" y="connsiteY44967"/>
              </a:cxn>
              <a:cxn ang="0">
                <a:pos x="connsiteX44968" y="connsiteY44968"/>
              </a:cxn>
              <a:cxn ang="0">
                <a:pos x="connsiteX44969" y="connsiteY44969"/>
              </a:cxn>
              <a:cxn ang="0">
                <a:pos x="connsiteX44970" y="connsiteY44970"/>
              </a:cxn>
              <a:cxn ang="0">
                <a:pos x="connsiteX44971" y="connsiteY44971"/>
              </a:cxn>
              <a:cxn ang="0">
                <a:pos x="connsiteX44972" y="connsiteY44972"/>
              </a:cxn>
              <a:cxn ang="0">
                <a:pos x="connsiteX44973" y="connsiteY44973"/>
              </a:cxn>
              <a:cxn ang="0">
                <a:pos x="connsiteX44974" y="connsiteY44974"/>
              </a:cxn>
              <a:cxn ang="0">
                <a:pos x="connsiteX44975" y="connsiteY44975"/>
              </a:cxn>
              <a:cxn ang="0">
                <a:pos x="connsiteX44976" y="connsiteY44976"/>
              </a:cxn>
              <a:cxn ang="0">
                <a:pos x="connsiteX44977" y="connsiteY44977"/>
              </a:cxn>
              <a:cxn ang="0">
                <a:pos x="connsiteX44978" y="connsiteY44978"/>
              </a:cxn>
              <a:cxn ang="0">
                <a:pos x="connsiteX44979" y="connsiteY44979"/>
              </a:cxn>
              <a:cxn ang="0">
                <a:pos x="connsiteX44980" y="connsiteY44980"/>
              </a:cxn>
              <a:cxn ang="0">
                <a:pos x="connsiteX44981" y="connsiteY44981"/>
              </a:cxn>
              <a:cxn ang="0">
                <a:pos x="connsiteX44982" y="connsiteY44982"/>
              </a:cxn>
              <a:cxn ang="0">
                <a:pos x="connsiteX44983" y="connsiteY44983"/>
              </a:cxn>
              <a:cxn ang="0">
                <a:pos x="connsiteX44984" y="connsiteY44984"/>
              </a:cxn>
              <a:cxn ang="0">
                <a:pos x="connsiteX44985" y="connsiteY44985"/>
              </a:cxn>
              <a:cxn ang="0">
                <a:pos x="connsiteX44986" y="connsiteY44986"/>
              </a:cxn>
              <a:cxn ang="0">
                <a:pos x="connsiteX44987" y="connsiteY44987"/>
              </a:cxn>
              <a:cxn ang="0">
                <a:pos x="connsiteX44988" y="connsiteY44988"/>
              </a:cxn>
              <a:cxn ang="0">
                <a:pos x="connsiteX44989" y="connsiteY44989"/>
              </a:cxn>
              <a:cxn ang="0">
                <a:pos x="connsiteX44990" y="connsiteY44990"/>
              </a:cxn>
              <a:cxn ang="0">
                <a:pos x="connsiteX44991" y="connsiteY44991"/>
              </a:cxn>
              <a:cxn ang="0">
                <a:pos x="connsiteX44992" y="connsiteY44992"/>
              </a:cxn>
              <a:cxn ang="0">
                <a:pos x="connsiteX44993" y="connsiteY44993"/>
              </a:cxn>
              <a:cxn ang="0">
                <a:pos x="connsiteX44994" y="connsiteY44994"/>
              </a:cxn>
              <a:cxn ang="0">
                <a:pos x="connsiteX44995" y="connsiteY44995"/>
              </a:cxn>
              <a:cxn ang="0">
                <a:pos x="connsiteX44996" y="connsiteY44996"/>
              </a:cxn>
              <a:cxn ang="0">
                <a:pos x="connsiteX44997" y="connsiteY44997"/>
              </a:cxn>
              <a:cxn ang="0">
                <a:pos x="connsiteX44998" y="connsiteY44998"/>
              </a:cxn>
              <a:cxn ang="0">
                <a:pos x="connsiteX44999" y="connsiteY44999"/>
              </a:cxn>
              <a:cxn ang="0">
                <a:pos x="connsiteX45000" y="connsiteY45000"/>
              </a:cxn>
              <a:cxn ang="0">
                <a:pos x="connsiteX45001" y="connsiteY45001"/>
              </a:cxn>
              <a:cxn ang="0">
                <a:pos x="connsiteX45002" y="connsiteY45002"/>
              </a:cxn>
              <a:cxn ang="0">
                <a:pos x="connsiteX45003" y="connsiteY45003"/>
              </a:cxn>
              <a:cxn ang="0">
                <a:pos x="connsiteX45004" y="connsiteY45004"/>
              </a:cxn>
              <a:cxn ang="0">
                <a:pos x="connsiteX45005" y="connsiteY45005"/>
              </a:cxn>
              <a:cxn ang="0">
                <a:pos x="connsiteX45006" y="connsiteY45006"/>
              </a:cxn>
              <a:cxn ang="0">
                <a:pos x="connsiteX45007" y="connsiteY45007"/>
              </a:cxn>
              <a:cxn ang="0">
                <a:pos x="connsiteX45008" y="connsiteY45008"/>
              </a:cxn>
              <a:cxn ang="0">
                <a:pos x="connsiteX45009" y="connsiteY45009"/>
              </a:cxn>
              <a:cxn ang="0">
                <a:pos x="connsiteX45010" y="connsiteY45010"/>
              </a:cxn>
              <a:cxn ang="0">
                <a:pos x="connsiteX45011" y="connsiteY45011"/>
              </a:cxn>
              <a:cxn ang="0">
                <a:pos x="connsiteX45012" y="connsiteY45012"/>
              </a:cxn>
              <a:cxn ang="0">
                <a:pos x="connsiteX45013" y="connsiteY45013"/>
              </a:cxn>
              <a:cxn ang="0">
                <a:pos x="connsiteX45014" y="connsiteY45014"/>
              </a:cxn>
              <a:cxn ang="0">
                <a:pos x="connsiteX45015" y="connsiteY45015"/>
              </a:cxn>
              <a:cxn ang="0">
                <a:pos x="connsiteX45016" y="connsiteY45016"/>
              </a:cxn>
              <a:cxn ang="0">
                <a:pos x="connsiteX45017" y="connsiteY45017"/>
              </a:cxn>
              <a:cxn ang="0">
                <a:pos x="connsiteX45018" y="connsiteY45018"/>
              </a:cxn>
              <a:cxn ang="0">
                <a:pos x="connsiteX45019" y="connsiteY45019"/>
              </a:cxn>
              <a:cxn ang="0">
                <a:pos x="connsiteX45020" y="connsiteY45020"/>
              </a:cxn>
              <a:cxn ang="0">
                <a:pos x="connsiteX45021" y="connsiteY45021"/>
              </a:cxn>
              <a:cxn ang="0">
                <a:pos x="connsiteX45022" y="connsiteY45022"/>
              </a:cxn>
              <a:cxn ang="0">
                <a:pos x="connsiteX45023" y="connsiteY45023"/>
              </a:cxn>
              <a:cxn ang="0">
                <a:pos x="connsiteX45024" y="connsiteY45024"/>
              </a:cxn>
              <a:cxn ang="0">
                <a:pos x="connsiteX45025" y="connsiteY45025"/>
              </a:cxn>
              <a:cxn ang="0">
                <a:pos x="connsiteX45026" y="connsiteY45026"/>
              </a:cxn>
              <a:cxn ang="0">
                <a:pos x="connsiteX45027" y="connsiteY45027"/>
              </a:cxn>
              <a:cxn ang="0">
                <a:pos x="connsiteX45028" y="connsiteY45028"/>
              </a:cxn>
              <a:cxn ang="0">
                <a:pos x="connsiteX45029" y="connsiteY45029"/>
              </a:cxn>
              <a:cxn ang="0">
                <a:pos x="connsiteX45030" y="connsiteY45030"/>
              </a:cxn>
              <a:cxn ang="0">
                <a:pos x="connsiteX45031" y="connsiteY45031"/>
              </a:cxn>
              <a:cxn ang="0">
                <a:pos x="connsiteX45032" y="connsiteY45032"/>
              </a:cxn>
              <a:cxn ang="0">
                <a:pos x="connsiteX45033" y="connsiteY45033"/>
              </a:cxn>
              <a:cxn ang="0">
                <a:pos x="connsiteX45034" y="connsiteY45034"/>
              </a:cxn>
              <a:cxn ang="0">
                <a:pos x="connsiteX45035" y="connsiteY45035"/>
              </a:cxn>
              <a:cxn ang="0">
                <a:pos x="connsiteX45036" y="connsiteY45036"/>
              </a:cxn>
              <a:cxn ang="0">
                <a:pos x="connsiteX45037" y="connsiteY45037"/>
              </a:cxn>
              <a:cxn ang="0">
                <a:pos x="connsiteX45038" y="connsiteY45038"/>
              </a:cxn>
              <a:cxn ang="0">
                <a:pos x="connsiteX45039" y="connsiteY45039"/>
              </a:cxn>
              <a:cxn ang="0">
                <a:pos x="connsiteX45040" y="connsiteY45040"/>
              </a:cxn>
              <a:cxn ang="0">
                <a:pos x="connsiteX45041" y="connsiteY45041"/>
              </a:cxn>
              <a:cxn ang="0">
                <a:pos x="connsiteX45042" y="connsiteY45042"/>
              </a:cxn>
              <a:cxn ang="0">
                <a:pos x="connsiteX45043" y="connsiteY45043"/>
              </a:cxn>
              <a:cxn ang="0">
                <a:pos x="connsiteX45044" y="connsiteY45044"/>
              </a:cxn>
              <a:cxn ang="0">
                <a:pos x="connsiteX45045" y="connsiteY45045"/>
              </a:cxn>
              <a:cxn ang="0">
                <a:pos x="connsiteX45046" y="connsiteY45046"/>
              </a:cxn>
              <a:cxn ang="0">
                <a:pos x="connsiteX45047" y="connsiteY45047"/>
              </a:cxn>
              <a:cxn ang="0">
                <a:pos x="connsiteX45048" y="connsiteY45048"/>
              </a:cxn>
              <a:cxn ang="0">
                <a:pos x="connsiteX45049" y="connsiteY45049"/>
              </a:cxn>
              <a:cxn ang="0">
                <a:pos x="connsiteX45050" y="connsiteY45050"/>
              </a:cxn>
              <a:cxn ang="0">
                <a:pos x="connsiteX45051" y="connsiteY45051"/>
              </a:cxn>
              <a:cxn ang="0">
                <a:pos x="connsiteX45052" y="connsiteY45052"/>
              </a:cxn>
              <a:cxn ang="0">
                <a:pos x="connsiteX45053" y="connsiteY45053"/>
              </a:cxn>
              <a:cxn ang="0">
                <a:pos x="connsiteX45054" y="connsiteY45054"/>
              </a:cxn>
              <a:cxn ang="0">
                <a:pos x="connsiteX45055" y="connsiteY45055"/>
              </a:cxn>
              <a:cxn ang="0">
                <a:pos x="connsiteX45056" y="connsiteY45056"/>
              </a:cxn>
              <a:cxn ang="0">
                <a:pos x="connsiteX45057" y="connsiteY45057"/>
              </a:cxn>
              <a:cxn ang="0">
                <a:pos x="connsiteX45058" y="connsiteY45058"/>
              </a:cxn>
              <a:cxn ang="0">
                <a:pos x="connsiteX45059" y="connsiteY45059"/>
              </a:cxn>
              <a:cxn ang="0">
                <a:pos x="connsiteX45060" y="connsiteY45060"/>
              </a:cxn>
              <a:cxn ang="0">
                <a:pos x="connsiteX45061" y="connsiteY45061"/>
              </a:cxn>
              <a:cxn ang="0">
                <a:pos x="connsiteX45062" y="connsiteY45062"/>
              </a:cxn>
              <a:cxn ang="0">
                <a:pos x="connsiteX45063" y="connsiteY45063"/>
              </a:cxn>
              <a:cxn ang="0">
                <a:pos x="connsiteX45064" y="connsiteY45064"/>
              </a:cxn>
              <a:cxn ang="0">
                <a:pos x="connsiteX45065" y="connsiteY45065"/>
              </a:cxn>
              <a:cxn ang="0">
                <a:pos x="connsiteX45066" y="connsiteY45066"/>
              </a:cxn>
              <a:cxn ang="0">
                <a:pos x="connsiteX45067" y="connsiteY45067"/>
              </a:cxn>
              <a:cxn ang="0">
                <a:pos x="connsiteX45068" y="connsiteY45068"/>
              </a:cxn>
              <a:cxn ang="0">
                <a:pos x="connsiteX45069" y="connsiteY45069"/>
              </a:cxn>
              <a:cxn ang="0">
                <a:pos x="connsiteX45070" y="connsiteY45070"/>
              </a:cxn>
              <a:cxn ang="0">
                <a:pos x="connsiteX45071" y="connsiteY45071"/>
              </a:cxn>
              <a:cxn ang="0">
                <a:pos x="connsiteX45072" y="connsiteY45072"/>
              </a:cxn>
              <a:cxn ang="0">
                <a:pos x="connsiteX45073" y="connsiteY45073"/>
              </a:cxn>
              <a:cxn ang="0">
                <a:pos x="connsiteX45074" y="connsiteY45074"/>
              </a:cxn>
              <a:cxn ang="0">
                <a:pos x="connsiteX45075" y="connsiteY45075"/>
              </a:cxn>
              <a:cxn ang="0">
                <a:pos x="connsiteX45076" y="connsiteY45076"/>
              </a:cxn>
              <a:cxn ang="0">
                <a:pos x="connsiteX45077" y="connsiteY45077"/>
              </a:cxn>
              <a:cxn ang="0">
                <a:pos x="connsiteX45078" y="connsiteY45078"/>
              </a:cxn>
              <a:cxn ang="0">
                <a:pos x="connsiteX45079" y="connsiteY45079"/>
              </a:cxn>
              <a:cxn ang="0">
                <a:pos x="connsiteX45080" y="connsiteY45080"/>
              </a:cxn>
              <a:cxn ang="0">
                <a:pos x="connsiteX45081" y="connsiteY45081"/>
              </a:cxn>
              <a:cxn ang="0">
                <a:pos x="connsiteX45082" y="connsiteY45082"/>
              </a:cxn>
              <a:cxn ang="0">
                <a:pos x="connsiteX45083" y="connsiteY45083"/>
              </a:cxn>
              <a:cxn ang="0">
                <a:pos x="connsiteX45084" y="connsiteY45084"/>
              </a:cxn>
              <a:cxn ang="0">
                <a:pos x="connsiteX45085" y="connsiteY45085"/>
              </a:cxn>
              <a:cxn ang="0">
                <a:pos x="connsiteX45086" y="connsiteY45086"/>
              </a:cxn>
              <a:cxn ang="0">
                <a:pos x="connsiteX45087" y="connsiteY45087"/>
              </a:cxn>
              <a:cxn ang="0">
                <a:pos x="connsiteX45088" y="connsiteY45088"/>
              </a:cxn>
              <a:cxn ang="0">
                <a:pos x="connsiteX45089" y="connsiteY45089"/>
              </a:cxn>
              <a:cxn ang="0">
                <a:pos x="connsiteX45090" y="connsiteY45090"/>
              </a:cxn>
              <a:cxn ang="0">
                <a:pos x="connsiteX45091" y="connsiteY45091"/>
              </a:cxn>
              <a:cxn ang="0">
                <a:pos x="connsiteX45092" y="connsiteY45092"/>
              </a:cxn>
              <a:cxn ang="0">
                <a:pos x="connsiteX45093" y="connsiteY45093"/>
              </a:cxn>
              <a:cxn ang="0">
                <a:pos x="connsiteX45094" y="connsiteY45094"/>
              </a:cxn>
              <a:cxn ang="0">
                <a:pos x="connsiteX45095" y="connsiteY45095"/>
              </a:cxn>
              <a:cxn ang="0">
                <a:pos x="connsiteX45096" y="connsiteY45096"/>
              </a:cxn>
              <a:cxn ang="0">
                <a:pos x="connsiteX45097" y="connsiteY45097"/>
              </a:cxn>
              <a:cxn ang="0">
                <a:pos x="connsiteX45098" y="connsiteY45098"/>
              </a:cxn>
              <a:cxn ang="0">
                <a:pos x="connsiteX45099" y="connsiteY45099"/>
              </a:cxn>
              <a:cxn ang="0">
                <a:pos x="connsiteX45100" y="connsiteY45100"/>
              </a:cxn>
              <a:cxn ang="0">
                <a:pos x="connsiteX45101" y="connsiteY45101"/>
              </a:cxn>
              <a:cxn ang="0">
                <a:pos x="connsiteX45102" y="connsiteY45102"/>
              </a:cxn>
              <a:cxn ang="0">
                <a:pos x="connsiteX45103" y="connsiteY45103"/>
              </a:cxn>
              <a:cxn ang="0">
                <a:pos x="connsiteX45104" y="connsiteY45104"/>
              </a:cxn>
              <a:cxn ang="0">
                <a:pos x="connsiteX45105" y="connsiteY45105"/>
              </a:cxn>
              <a:cxn ang="0">
                <a:pos x="connsiteX45106" y="connsiteY45106"/>
              </a:cxn>
              <a:cxn ang="0">
                <a:pos x="connsiteX45107" y="connsiteY45107"/>
              </a:cxn>
              <a:cxn ang="0">
                <a:pos x="connsiteX45108" y="connsiteY45108"/>
              </a:cxn>
              <a:cxn ang="0">
                <a:pos x="connsiteX45109" y="connsiteY45109"/>
              </a:cxn>
              <a:cxn ang="0">
                <a:pos x="connsiteX45110" y="connsiteY45110"/>
              </a:cxn>
              <a:cxn ang="0">
                <a:pos x="connsiteX45111" y="connsiteY45111"/>
              </a:cxn>
              <a:cxn ang="0">
                <a:pos x="connsiteX45112" y="connsiteY45112"/>
              </a:cxn>
              <a:cxn ang="0">
                <a:pos x="connsiteX45113" y="connsiteY45113"/>
              </a:cxn>
              <a:cxn ang="0">
                <a:pos x="connsiteX45114" y="connsiteY45114"/>
              </a:cxn>
              <a:cxn ang="0">
                <a:pos x="connsiteX45115" y="connsiteY45115"/>
              </a:cxn>
              <a:cxn ang="0">
                <a:pos x="connsiteX45116" y="connsiteY45116"/>
              </a:cxn>
              <a:cxn ang="0">
                <a:pos x="connsiteX45117" y="connsiteY45117"/>
              </a:cxn>
              <a:cxn ang="0">
                <a:pos x="connsiteX45118" y="connsiteY45118"/>
              </a:cxn>
              <a:cxn ang="0">
                <a:pos x="connsiteX45119" y="connsiteY45119"/>
              </a:cxn>
              <a:cxn ang="0">
                <a:pos x="connsiteX45120" y="connsiteY45120"/>
              </a:cxn>
              <a:cxn ang="0">
                <a:pos x="connsiteX45121" y="connsiteY45121"/>
              </a:cxn>
              <a:cxn ang="0">
                <a:pos x="connsiteX45122" y="connsiteY45122"/>
              </a:cxn>
              <a:cxn ang="0">
                <a:pos x="connsiteX45123" y="connsiteY45123"/>
              </a:cxn>
              <a:cxn ang="0">
                <a:pos x="connsiteX45124" y="connsiteY45124"/>
              </a:cxn>
              <a:cxn ang="0">
                <a:pos x="connsiteX45125" y="connsiteY45125"/>
              </a:cxn>
              <a:cxn ang="0">
                <a:pos x="connsiteX45126" y="connsiteY45126"/>
              </a:cxn>
              <a:cxn ang="0">
                <a:pos x="connsiteX45127" y="connsiteY45127"/>
              </a:cxn>
              <a:cxn ang="0">
                <a:pos x="connsiteX45128" y="connsiteY45128"/>
              </a:cxn>
              <a:cxn ang="0">
                <a:pos x="connsiteX45129" y="connsiteY45129"/>
              </a:cxn>
              <a:cxn ang="0">
                <a:pos x="connsiteX45130" y="connsiteY45130"/>
              </a:cxn>
              <a:cxn ang="0">
                <a:pos x="connsiteX45131" y="connsiteY45131"/>
              </a:cxn>
              <a:cxn ang="0">
                <a:pos x="connsiteX45132" y="connsiteY45132"/>
              </a:cxn>
              <a:cxn ang="0">
                <a:pos x="connsiteX45133" y="connsiteY45133"/>
              </a:cxn>
              <a:cxn ang="0">
                <a:pos x="connsiteX45134" y="connsiteY45134"/>
              </a:cxn>
              <a:cxn ang="0">
                <a:pos x="connsiteX45135" y="connsiteY45135"/>
              </a:cxn>
              <a:cxn ang="0">
                <a:pos x="connsiteX45136" y="connsiteY45136"/>
              </a:cxn>
              <a:cxn ang="0">
                <a:pos x="connsiteX45137" y="connsiteY45137"/>
              </a:cxn>
              <a:cxn ang="0">
                <a:pos x="connsiteX45138" y="connsiteY45138"/>
              </a:cxn>
              <a:cxn ang="0">
                <a:pos x="connsiteX45139" y="connsiteY45139"/>
              </a:cxn>
              <a:cxn ang="0">
                <a:pos x="connsiteX45140" y="connsiteY45140"/>
              </a:cxn>
              <a:cxn ang="0">
                <a:pos x="connsiteX45141" y="connsiteY45141"/>
              </a:cxn>
              <a:cxn ang="0">
                <a:pos x="connsiteX45142" y="connsiteY45142"/>
              </a:cxn>
              <a:cxn ang="0">
                <a:pos x="connsiteX45143" y="connsiteY45143"/>
              </a:cxn>
              <a:cxn ang="0">
                <a:pos x="connsiteX45144" y="connsiteY45144"/>
              </a:cxn>
              <a:cxn ang="0">
                <a:pos x="connsiteX45145" y="connsiteY45145"/>
              </a:cxn>
              <a:cxn ang="0">
                <a:pos x="connsiteX45146" y="connsiteY45146"/>
              </a:cxn>
              <a:cxn ang="0">
                <a:pos x="connsiteX45147" y="connsiteY45147"/>
              </a:cxn>
              <a:cxn ang="0">
                <a:pos x="connsiteX45148" y="connsiteY45148"/>
              </a:cxn>
              <a:cxn ang="0">
                <a:pos x="connsiteX45149" y="connsiteY45149"/>
              </a:cxn>
              <a:cxn ang="0">
                <a:pos x="connsiteX45150" y="connsiteY45150"/>
              </a:cxn>
              <a:cxn ang="0">
                <a:pos x="connsiteX45151" y="connsiteY45151"/>
              </a:cxn>
              <a:cxn ang="0">
                <a:pos x="connsiteX45152" y="connsiteY45152"/>
              </a:cxn>
              <a:cxn ang="0">
                <a:pos x="connsiteX45153" y="connsiteY45153"/>
              </a:cxn>
              <a:cxn ang="0">
                <a:pos x="connsiteX45154" y="connsiteY45154"/>
              </a:cxn>
              <a:cxn ang="0">
                <a:pos x="connsiteX45155" y="connsiteY45155"/>
              </a:cxn>
              <a:cxn ang="0">
                <a:pos x="connsiteX45156" y="connsiteY45156"/>
              </a:cxn>
              <a:cxn ang="0">
                <a:pos x="connsiteX45157" y="connsiteY45157"/>
              </a:cxn>
              <a:cxn ang="0">
                <a:pos x="connsiteX45158" y="connsiteY45158"/>
              </a:cxn>
              <a:cxn ang="0">
                <a:pos x="connsiteX45159" y="connsiteY45159"/>
              </a:cxn>
              <a:cxn ang="0">
                <a:pos x="connsiteX45160" y="connsiteY45160"/>
              </a:cxn>
              <a:cxn ang="0">
                <a:pos x="connsiteX45161" y="connsiteY45161"/>
              </a:cxn>
              <a:cxn ang="0">
                <a:pos x="connsiteX45162" y="connsiteY45162"/>
              </a:cxn>
              <a:cxn ang="0">
                <a:pos x="connsiteX45163" y="connsiteY45163"/>
              </a:cxn>
              <a:cxn ang="0">
                <a:pos x="connsiteX45164" y="connsiteY45164"/>
              </a:cxn>
              <a:cxn ang="0">
                <a:pos x="connsiteX45165" y="connsiteY45165"/>
              </a:cxn>
              <a:cxn ang="0">
                <a:pos x="connsiteX45166" y="connsiteY45166"/>
              </a:cxn>
              <a:cxn ang="0">
                <a:pos x="connsiteX45167" y="connsiteY45167"/>
              </a:cxn>
              <a:cxn ang="0">
                <a:pos x="connsiteX45168" y="connsiteY45168"/>
              </a:cxn>
              <a:cxn ang="0">
                <a:pos x="connsiteX45169" y="connsiteY45169"/>
              </a:cxn>
              <a:cxn ang="0">
                <a:pos x="connsiteX45170" y="connsiteY45170"/>
              </a:cxn>
              <a:cxn ang="0">
                <a:pos x="connsiteX45171" y="connsiteY45171"/>
              </a:cxn>
              <a:cxn ang="0">
                <a:pos x="connsiteX45172" y="connsiteY45172"/>
              </a:cxn>
              <a:cxn ang="0">
                <a:pos x="connsiteX45173" y="connsiteY45173"/>
              </a:cxn>
              <a:cxn ang="0">
                <a:pos x="connsiteX45174" y="connsiteY45174"/>
              </a:cxn>
              <a:cxn ang="0">
                <a:pos x="connsiteX45175" y="connsiteY45175"/>
              </a:cxn>
              <a:cxn ang="0">
                <a:pos x="connsiteX45176" y="connsiteY45176"/>
              </a:cxn>
              <a:cxn ang="0">
                <a:pos x="connsiteX45177" y="connsiteY45177"/>
              </a:cxn>
              <a:cxn ang="0">
                <a:pos x="connsiteX45178" y="connsiteY45178"/>
              </a:cxn>
              <a:cxn ang="0">
                <a:pos x="connsiteX45179" y="connsiteY45179"/>
              </a:cxn>
              <a:cxn ang="0">
                <a:pos x="connsiteX45180" y="connsiteY45180"/>
              </a:cxn>
              <a:cxn ang="0">
                <a:pos x="connsiteX45181" y="connsiteY45181"/>
              </a:cxn>
              <a:cxn ang="0">
                <a:pos x="connsiteX45182" y="connsiteY45182"/>
              </a:cxn>
              <a:cxn ang="0">
                <a:pos x="connsiteX45183" y="connsiteY45183"/>
              </a:cxn>
              <a:cxn ang="0">
                <a:pos x="connsiteX45184" y="connsiteY45184"/>
              </a:cxn>
              <a:cxn ang="0">
                <a:pos x="connsiteX45185" y="connsiteY45185"/>
              </a:cxn>
              <a:cxn ang="0">
                <a:pos x="connsiteX45186" y="connsiteY45186"/>
              </a:cxn>
              <a:cxn ang="0">
                <a:pos x="connsiteX45187" y="connsiteY45187"/>
              </a:cxn>
              <a:cxn ang="0">
                <a:pos x="connsiteX45188" y="connsiteY45188"/>
              </a:cxn>
              <a:cxn ang="0">
                <a:pos x="connsiteX45189" y="connsiteY45189"/>
              </a:cxn>
              <a:cxn ang="0">
                <a:pos x="connsiteX45190" y="connsiteY45190"/>
              </a:cxn>
              <a:cxn ang="0">
                <a:pos x="connsiteX45191" y="connsiteY45191"/>
              </a:cxn>
              <a:cxn ang="0">
                <a:pos x="connsiteX45192" y="connsiteY45192"/>
              </a:cxn>
              <a:cxn ang="0">
                <a:pos x="connsiteX45193" y="connsiteY45193"/>
              </a:cxn>
              <a:cxn ang="0">
                <a:pos x="connsiteX45194" y="connsiteY45194"/>
              </a:cxn>
              <a:cxn ang="0">
                <a:pos x="connsiteX45195" y="connsiteY45195"/>
              </a:cxn>
              <a:cxn ang="0">
                <a:pos x="connsiteX45196" y="connsiteY45196"/>
              </a:cxn>
              <a:cxn ang="0">
                <a:pos x="connsiteX45197" y="connsiteY45197"/>
              </a:cxn>
              <a:cxn ang="0">
                <a:pos x="connsiteX45198" y="connsiteY45198"/>
              </a:cxn>
              <a:cxn ang="0">
                <a:pos x="connsiteX45199" y="connsiteY45199"/>
              </a:cxn>
              <a:cxn ang="0">
                <a:pos x="connsiteX45200" y="connsiteY45200"/>
              </a:cxn>
              <a:cxn ang="0">
                <a:pos x="connsiteX45201" y="connsiteY45201"/>
              </a:cxn>
              <a:cxn ang="0">
                <a:pos x="connsiteX45202" y="connsiteY45202"/>
              </a:cxn>
              <a:cxn ang="0">
                <a:pos x="connsiteX45203" y="connsiteY45203"/>
              </a:cxn>
              <a:cxn ang="0">
                <a:pos x="connsiteX45204" y="connsiteY45204"/>
              </a:cxn>
              <a:cxn ang="0">
                <a:pos x="connsiteX45205" y="connsiteY45205"/>
              </a:cxn>
              <a:cxn ang="0">
                <a:pos x="connsiteX45206" y="connsiteY45206"/>
              </a:cxn>
              <a:cxn ang="0">
                <a:pos x="connsiteX45207" y="connsiteY45207"/>
              </a:cxn>
              <a:cxn ang="0">
                <a:pos x="connsiteX45208" y="connsiteY45208"/>
              </a:cxn>
              <a:cxn ang="0">
                <a:pos x="connsiteX45209" y="connsiteY45209"/>
              </a:cxn>
              <a:cxn ang="0">
                <a:pos x="connsiteX45210" y="connsiteY45210"/>
              </a:cxn>
              <a:cxn ang="0">
                <a:pos x="connsiteX45211" y="connsiteY45211"/>
              </a:cxn>
              <a:cxn ang="0">
                <a:pos x="connsiteX45212" y="connsiteY45212"/>
              </a:cxn>
              <a:cxn ang="0">
                <a:pos x="connsiteX45213" y="connsiteY45213"/>
              </a:cxn>
              <a:cxn ang="0">
                <a:pos x="connsiteX45214" y="connsiteY45214"/>
              </a:cxn>
              <a:cxn ang="0">
                <a:pos x="connsiteX45215" y="connsiteY45215"/>
              </a:cxn>
              <a:cxn ang="0">
                <a:pos x="connsiteX45216" y="connsiteY45216"/>
              </a:cxn>
              <a:cxn ang="0">
                <a:pos x="connsiteX45217" y="connsiteY45217"/>
              </a:cxn>
              <a:cxn ang="0">
                <a:pos x="connsiteX45218" y="connsiteY45218"/>
              </a:cxn>
              <a:cxn ang="0">
                <a:pos x="connsiteX45219" y="connsiteY45219"/>
              </a:cxn>
              <a:cxn ang="0">
                <a:pos x="connsiteX45220" y="connsiteY45220"/>
              </a:cxn>
              <a:cxn ang="0">
                <a:pos x="connsiteX45221" y="connsiteY45221"/>
              </a:cxn>
              <a:cxn ang="0">
                <a:pos x="connsiteX45222" y="connsiteY45222"/>
              </a:cxn>
              <a:cxn ang="0">
                <a:pos x="connsiteX45223" y="connsiteY45223"/>
              </a:cxn>
              <a:cxn ang="0">
                <a:pos x="connsiteX45224" y="connsiteY45224"/>
              </a:cxn>
              <a:cxn ang="0">
                <a:pos x="connsiteX45225" y="connsiteY45225"/>
              </a:cxn>
              <a:cxn ang="0">
                <a:pos x="connsiteX45226" y="connsiteY45226"/>
              </a:cxn>
              <a:cxn ang="0">
                <a:pos x="connsiteX45227" y="connsiteY45227"/>
              </a:cxn>
              <a:cxn ang="0">
                <a:pos x="connsiteX45228" y="connsiteY45228"/>
              </a:cxn>
              <a:cxn ang="0">
                <a:pos x="connsiteX45229" y="connsiteY45229"/>
              </a:cxn>
              <a:cxn ang="0">
                <a:pos x="connsiteX45230" y="connsiteY45230"/>
              </a:cxn>
              <a:cxn ang="0">
                <a:pos x="connsiteX45231" y="connsiteY45231"/>
              </a:cxn>
              <a:cxn ang="0">
                <a:pos x="connsiteX45232" y="connsiteY45232"/>
              </a:cxn>
              <a:cxn ang="0">
                <a:pos x="connsiteX45233" y="connsiteY45233"/>
              </a:cxn>
              <a:cxn ang="0">
                <a:pos x="connsiteX45234" y="connsiteY45234"/>
              </a:cxn>
              <a:cxn ang="0">
                <a:pos x="connsiteX45235" y="connsiteY45235"/>
              </a:cxn>
              <a:cxn ang="0">
                <a:pos x="connsiteX45236" y="connsiteY45236"/>
              </a:cxn>
              <a:cxn ang="0">
                <a:pos x="connsiteX45237" y="connsiteY45237"/>
              </a:cxn>
              <a:cxn ang="0">
                <a:pos x="connsiteX45238" y="connsiteY45238"/>
              </a:cxn>
              <a:cxn ang="0">
                <a:pos x="connsiteX45239" y="connsiteY45239"/>
              </a:cxn>
              <a:cxn ang="0">
                <a:pos x="connsiteX45240" y="connsiteY45240"/>
              </a:cxn>
              <a:cxn ang="0">
                <a:pos x="connsiteX45241" y="connsiteY45241"/>
              </a:cxn>
              <a:cxn ang="0">
                <a:pos x="connsiteX45242" y="connsiteY45242"/>
              </a:cxn>
              <a:cxn ang="0">
                <a:pos x="connsiteX45243" y="connsiteY45243"/>
              </a:cxn>
              <a:cxn ang="0">
                <a:pos x="connsiteX45244" y="connsiteY45244"/>
              </a:cxn>
              <a:cxn ang="0">
                <a:pos x="connsiteX45245" y="connsiteY45245"/>
              </a:cxn>
              <a:cxn ang="0">
                <a:pos x="connsiteX45246" y="connsiteY45246"/>
              </a:cxn>
              <a:cxn ang="0">
                <a:pos x="connsiteX45247" y="connsiteY45247"/>
              </a:cxn>
              <a:cxn ang="0">
                <a:pos x="connsiteX45248" y="connsiteY45248"/>
              </a:cxn>
              <a:cxn ang="0">
                <a:pos x="connsiteX45249" y="connsiteY45249"/>
              </a:cxn>
              <a:cxn ang="0">
                <a:pos x="connsiteX45250" y="connsiteY45250"/>
              </a:cxn>
              <a:cxn ang="0">
                <a:pos x="connsiteX45251" y="connsiteY45251"/>
              </a:cxn>
              <a:cxn ang="0">
                <a:pos x="connsiteX45252" y="connsiteY45252"/>
              </a:cxn>
              <a:cxn ang="0">
                <a:pos x="connsiteX45253" y="connsiteY45253"/>
              </a:cxn>
              <a:cxn ang="0">
                <a:pos x="connsiteX45254" y="connsiteY45254"/>
              </a:cxn>
              <a:cxn ang="0">
                <a:pos x="connsiteX45255" y="connsiteY45255"/>
              </a:cxn>
              <a:cxn ang="0">
                <a:pos x="connsiteX45256" y="connsiteY45256"/>
              </a:cxn>
              <a:cxn ang="0">
                <a:pos x="connsiteX45257" y="connsiteY45257"/>
              </a:cxn>
              <a:cxn ang="0">
                <a:pos x="connsiteX45258" y="connsiteY45258"/>
              </a:cxn>
              <a:cxn ang="0">
                <a:pos x="connsiteX45259" y="connsiteY45259"/>
              </a:cxn>
              <a:cxn ang="0">
                <a:pos x="connsiteX45260" y="connsiteY45260"/>
              </a:cxn>
              <a:cxn ang="0">
                <a:pos x="connsiteX45261" y="connsiteY45261"/>
              </a:cxn>
              <a:cxn ang="0">
                <a:pos x="connsiteX45262" y="connsiteY45262"/>
              </a:cxn>
              <a:cxn ang="0">
                <a:pos x="connsiteX45263" y="connsiteY45263"/>
              </a:cxn>
              <a:cxn ang="0">
                <a:pos x="connsiteX45264" y="connsiteY45264"/>
              </a:cxn>
              <a:cxn ang="0">
                <a:pos x="connsiteX45265" y="connsiteY45265"/>
              </a:cxn>
              <a:cxn ang="0">
                <a:pos x="connsiteX45266" y="connsiteY45266"/>
              </a:cxn>
              <a:cxn ang="0">
                <a:pos x="connsiteX45267" y="connsiteY45267"/>
              </a:cxn>
              <a:cxn ang="0">
                <a:pos x="connsiteX45268" y="connsiteY45268"/>
              </a:cxn>
              <a:cxn ang="0">
                <a:pos x="connsiteX45269" y="connsiteY45269"/>
              </a:cxn>
              <a:cxn ang="0">
                <a:pos x="connsiteX45270" y="connsiteY45270"/>
              </a:cxn>
              <a:cxn ang="0">
                <a:pos x="connsiteX45271" y="connsiteY45271"/>
              </a:cxn>
              <a:cxn ang="0">
                <a:pos x="connsiteX45272" y="connsiteY45272"/>
              </a:cxn>
              <a:cxn ang="0">
                <a:pos x="connsiteX45273" y="connsiteY45273"/>
              </a:cxn>
              <a:cxn ang="0">
                <a:pos x="connsiteX45274" y="connsiteY45274"/>
              </a:cxn>
              <a:cxn ang="0">
                <a:pos x="connsiteX45275" y="connsiteY45275"/>
              </a:cxn>
              <a:cxn ang="0">
                <a:pos x="connsiteX45276" y="connsiteY45276"/>
              </a:cxn>
              <a:cxn ang="0">
                <a:pos x="connsiteX45277" y="connsiteY45277"/>
              </a:cxn>
              <a:cxn ang="0">
                <a:pos x="connsiteX45278" y="connsiteY45278"/>
              </a:cxn>
              <a:cxn ang="0">
                <a:pos x="connsiteX45279" y="connsiteY45279"/>
              </a:cxn>
              <a:cxn ang="0">
                <a:pos x="connsiteX45280" y="connsiteY45280"/>
              </a:cxn>
              <a:cxn ang="0">
                <a:pos x="connsiteX45281" y="connsiteY45281"/>
              </a:cxn>
              <a:cxn ang="0">
                <a:pos x="connsiteX45282" y="connsiteY45282"/>
              </a:cxn>
              <a:cxn ang="0">
                <a:pos x="connsiteX45283" y="connsiteY45283"/>
              </a:cxn>
              <a:cxn ang="0">
                <a:pos x="connsiteX45284" y="connsiteY45284"/>
              </a:cxn>
              <a:cxn ang="0">
                <a:pos x="connsiteX45285" y="connsiteY45285"/>
              </a:cxn>
              <a:cxn ang="0">
                <a:pos x="connsiteX45286" y="connsiteY45286"/>
              </a:cxn>
              <a:cxn ang="0">
                <a:pos x="connsiteX45287" y="connsiteY45287"/>
              </a:cxn>
              <a:cxn ang="0">
                <a:pos x="connsiteX45288" y="connsiteY45288"/>
              </a:cxn>
              <a:cxn ang="0">
                <a:pos x="connsiteX45289" y="connsiteY45289"/>
              </a:cxn>
              <a:cxn ang="0">
                <a:pos x="connsiteX45290" y="connsiteY45290"/>
              </a:cxn>
              <a:cxn ang="0">
                <a:pos x="connsiteX45291" y="connsiteY45291"/>
              </a:cxn>
              <a:cxn ang="0">
                <a:pos x="connsiteX45292" y="connsiteY45292"/>
              </a:cxn>
              <a:cxn ang="0">
                <a:pos x="connsiteX45293" y="connsiteY45293"/>
              </a:cxn>
              <a:cxn ang="0">
                <a:pos x="connsiteX45294" y="connsiteY45294"/>
              </a:cxn>
              <a:cxn ang="0">
                <a:pos x="connsiteX45295" y="connsiteY45295"/>
              </a:cxn>
              <a:cxn ang="0">
                <a:pos x="connsiteX45296" y="connsiteY45296"/>
              </a:cxn>
              <a:cxn ang="0">
                <a:pos x="connsiteX45297" y="connsiteY45297"/>
              </a:cxn>
              <a:cxn ang="0">
                <a:pos x="connsiteX45298" y="connsiteY45298"/>
              </a:cxn>
              <a:cxn ang="0">
                <a:pos x="connsiteX45299" y="connsiteY45299"/>
              </a:cxn>
              <a:cxn ang="0">
                <a:pos x="connsiteX45300" y="connsiteY45300"/>
              </a:cxn>
              <a:cxn ang="0">
                <a:pos x="connsiteX45301" y="connsiteY45301"/>
              </a:cxn>
              <a:cxn ang="0">
                <a:pos x="connsiteX45302" y="connsiteY45302"/>
              </a:cxn>
              <a:cxn ang="0">
                <a:pos x="connsiteX45303" y="connsiteY45303"/>
              </a:cxn>
              <a:cxn ang="0">
                <a:pos x="connsiteX45304" y="connsiteY45304"/>
              </a:cxn>
              <a:cxn ang="0">
                <a:pos x="connsiteX45305" y="connsiteY45305"/>
              </a:cxn>
              <a:cxn ang="0">
                <a:pos x="connsiteX45306" y="connsiteY45306"/>
              </a:cxn>
              <a:cxn ang="0">
                <a:pos x="connsiteX45307" y="connsiteY45307"/>
              </a:cxn>
              <a:cxn ang="0">
                <a:pos x="connsiteX45308" y="connsiteY45308"/>
              </a:cxn>
              <a:cxn ang="0">
                <a:pos x="connsiteX45309" y="connsiteY45309"/>
              </a:cxn>
              <a:cxn ang="0">
                <a:pos x="connsiteX45310" y="connsiteY45310"/>
              </a:cxn>
              <a:cxn ang="0">
                <a:pos x="connsiteX45311" y="connsiteY45311"/>
              </a:cxn>
              <a:cxn ang="0">
                <a:pos x="connsiteX45312" y="connsiteY45312"/>
              </a:cxn>
              <a:cxn ang="0">
                <a:pos x="connsiteX45313" y="connsiteY45313"/>
              </a:cxn>
              <a:cxn ang="0">
                <a:pos x="connsiteX45314" y="connsiteY45314"/>
              </a:cxn>
              <a:cxn ang="0">
                <a:pos x="connsiteX45315" y="connsiteY45315"/>
              </a:cxn>
              <a:cxn ang="0">
                <a:pos x="connsiteX45316" y="connsiteY45316"/>
              </a:cxn>
              <a:cxn ang="0">
                <a:pos x="connsiteX45317" y="connsiteY45317"/>
              </a:cxn>
              <a:cxn ang="0">
                <a:pos x="connsiteX45318" y="connsiteY45318"/>
              </a:cxn>
              <a:cxn ang="0">
                <a:pos x="connsiteX45319" y="connsiteY45319"/>
              </a:cxn>
              <a:cxn ang="0">
                <a:pos x="connsiteX45320" y="connsiteY45320"/>
              </a:cxn>
              <a:cxn ang="0">
                <a:pos x="connsiteX45321" y="connsiteY45321"/>
              </a:cxn>
              <a:cxn ang="0">
                <a:pos x="connsiteX45322" y="connsiteY45322"/>
              </a:cxn>
              <a:cxn ang="0">
                <a:pos x="connsiteX45323" y="connsiteY45323"/>
              </a:cxn>
              <a:cxn ang="0">
                <a:pos x="connsiteX45324" y="connsiteY45324"/>
              </a:cxn>
              <a:cxn ang="0">
                <a:pos x="connsiteX45325" y="connsiteY45325"/>
              </a:cxn>
              <a:cxn ang="0">
                <a:pos x="connsiteX45326" y="connsiteY45326"/>
              </a:cxn>
              <a:cxn ang="0">
                <a:pos x="connsiteX45327" y="connsiteY45327"/>
              </a:cxn>
              <a:cxn ang="0">
                <a:pos x="connsiteX45328" y="connsiteY45328"/>
              </a:cxn>
              <a:cxn ang="0">
                <a:pos x="connsiteX45329" y="connsiteY45329"/>
              </a:cxn>
              <a:cxn ang="0">
                <a:pos x="connsiteX45330" y="connsiteY45330"/>
              </a:cxn>
              <a:cxn ang="0">
                <a:pos x="connsiteX45331" y="connsiteY45331"/>
              </a:cxn>
              <a:cxn ang="0">
                <a:pos x="connsiteX45332" y="connsiteY45332"/>
              </a:cxn>
              <a:cxn ang="0">
                <a:pos x="connsiteX45333" y="connsiteY45333"/>
              </a:cxn>
              <a:cxn ang="0">
                <a:pos x="connsiteX45334" y="connsiteY45334"/>
              </a:cxn>
              <a:cxn ang="0">
                <a:pos x="connsiteX45335" y="connsiteY45335"/>
              </a:cxn>
              <a:cxn ang="0">
                <a:pos x="connsiteX45336" y="connsiteY45336"/>
              </a:cxn>
              <a:cxn ang="0">
                <a:pos x="connsiteX45337" y="connsiteY45337"/>
              </a:cxn>
              <a:cxn ang="0">
                <a:pos x="connsiteX45338" y="connsiteY45338"/>
              </a:cxn>
              <a:cxn ang="0">
                <a:pos x="connsiteX45339" y="connsiteY45339"/>
              </a:cxn>
              <a:cxn ang="0">
                <a:pos x="connsiteX45340" y="connsiteY45340"/>
              </a:cxn>
              <a:cxn ang="0">
                <a:pos x="connsiteX45341" y="connsiteY45341"/>
              </a:cxn>
              <a:cxn ang="0">
                <a:pos x="connsiteX45342" y="connsiteY45342"/>
              </a:cxn>
              <a:cxn ang="0">
                <a:pos x="connsiteX45343" y="connsiteY45343"/>
              </a:cxn>
              <a:cxn ang="0">
                <a:pos x="connsiteX45344" y="connsiteY45344"/>
              </a:cxn>
              <a:cxn ang="0">
                <a:pos x="connsiteX45345" y="connsiteY45345"/>
              </a:cxn>
              <a:cxn ang="0">
                <a:pos x="connsiteX45346" y="connsiteY45346"/>
              </a:cxn>
              <a:cxn ang="0">
                <a:pos x="connsiteX45347" y="connsiteY45347"/>
              </a:cxn>
              <a:cxn ang="0">
                <a:pos x="connsiteX45348" y="connsiteY45348"/>
              </a:cxn>
              <a:cxn ang="0">
                <a:pos x="connsiteX45349" y="connsiteY45349"/>
              </a:cxn>
              <a:cxn ang="0">
                <a:pos x="connsiteX45350" y="connsiteY45350"/>
              </a:cxn>
              <a:cxn ang="0">
                <a:pos x="connsiteX45351" y="connsiteY45351"/>
              </a:cxn>
              <a:cxn ang="0">
                <a:pos x="connsiteX45352" y="connsiteY45352"/>
              </a:cxn>
              <a:cxn ang="0">
                <a:pos x="connsiteX45353" y="connsiteY45353"/>
              </a:cxn>
              <a:cxn ang="0">
                <a:pos x="connsiteX45354" y="connsiteY45354"/>
              </a:cxn>
              <a:cxn ang="0">
                <a:pos x="connsiteX45355" y="connsiteY45355"/>
              </a:cxn>
              <a:cxn ang="0">
                <a:pos x="connsiteX45356" y="connsiteY45356"/>
              </a:cxn>
              <a:cxn ang="0">
                <a:pos x="connsiteX45357" y="connsiteY45357"/>
              </a:cxn>
              <a:cxn ang="0">
                <a:pos x="connsiteX45358" y="connsiteY45358"/>
              </a:cxn>
              <a:cxn ang="0">
                <a:pos x="connsiteX45359" y="connsiteY45359"/>
              </a:cxn>
              <a:cxn ang="0">
                <a:pos x="connsiteX45360" y="connsiteY45360"/>
              </a:cxn>
              <a:cxn ang="0">
                <a:pos x="connsiteX45361" y="connsiteY45361"/>
              </a:cxn>
              <a:cxn ang="0">
                <a:pos x="connsiteX45362" y="connsiteY45362"/>
              </a:cxn>
              <a:cxn ang="0">
                <a:pos x="connsiteX45363" y="connsiteY45363"/>
              </a:cxn>
              <a:cxn ang="0">
                <a:pos x="connsiteX45364" y="connsiteY45364"/>
              </a:cxn>
              <a:cxn ang="0">
                <a:pos x="connsiteX45365" y="connsiteY45365"/>
              </a:cxn>
              <a:cxn ang="0">
                <a:pos x="connsiteX45366" y="connsiteY45366"/>
              </a:cxn>
              <a:cxn ang="0">
                <a:pos x="connsiteX45367" y="connsiteY45367"/>
              </a:cxn>
              <a:cxn ang="0">
                <a:pos x="connsiteX45368" y="connsiteY45368"/>
              </a:cxn>
              <a:cxn ang="0">
                <a:pos x="connsiteX45369" y="connsiteY45369"/>
              </a:cxn>
              <a:cxn ang="0">
                <a:pos x="connsiteX45370" y="connsiteY45370"/>
              </a:cxn>
              <a:cxn ang="0">
                <a:pos x="connsiteX45371" y="connsiteY45371"/>
              </a:cxn>
              <a:cxn ang="0">
                <a:pos x="connsiteX45372" y="connsiteY45372"/>
              </a:cxn>
              <a:cxn ang="0">
                <a:pos x="connsiteX45373" y="connsiteY45373"/>
              </a:cxn>
              <a:cxn ang="0">
                <a:pos x="connsiteX45374" y="connsiteY45374"/>
              </a:cxn>
              <a:cxn ang="0">
                <a:pos x="connsiteX45375" y="connsiteY45375"/>
              </a:cxn>
              <a:cxn ang="0">
                <a:pos x="connsiteX45376" y="connsiteY45376"/>
              </a:cxn>
              <a:cxn ang="0">
                <a:pos x="connsiteX45377" y="connsiteY45377"/>
              </a:cxn>
              <a:cxn ang="0">
                <a:pos x="connsiteX45378" y="connsiteY45378"/>
              </a:cxn>
              <a:cxn ang="0">
                <a:pos x="connsiteX45379" y="connsiteY45379"/>
              </a:cxn>
              <a:cxn ang="0">
                <a:pos x="connsiteX45380" y="connsiteY45380"/>
              </a:cxn>
              <a:cxn ang="0">
                <a:pos x="connsiteX45381" y="connsiteY45381"/>
              </a:cxn>
              <a:cxn ang="0">
                <a:pos x="connsiteX45382" y="connsiteY45382"/>
              </a:cxn>
              <a:cxn ang="0">
                <a:pos x="connsiteX45383" y="connsiteY45383"/>
              </a:cxn>
              <a:cxn ang="0">
                <a:pos x="connsiteX45384" y="connsiteY45384"/>
              </a:cxn>
              <a:cxn ang="0">
                <a:pos x="connsiteX45385" y="connsiteY45385"/>
              </a:cxn>
              <a:cxn ang="0">
                <a:pos x="connsiteX45386" y="connsiteY45386"/>
              </a:cxn>
              <a:cxn ang="0">
                <a:pos x="connsiteX45387" y="connsiteY45387"/>
              </a:cxn>
              <a:cxn ang="0">
                <a:pos x="connsiteX45388" y="connsiteY45388"/>
              </a:cxn>
              <a:cxn ang="0">
                <a:pos x="connsiteX45389" y="connsiteY45389"/>
              </a:cxn>
              <a:cxn ang="0">
                <a:pos x="connsiteX45390" y="connsiteY45390"/>
              </a:cxn>
              <a:cxn ang="0">
                <a:pos x="connsiteX45391" y="connsiteY45391"/>
              </a:cxn>
              <a:cxn ang="0">
                <a:pos x="connsiteX45392" y="connsiteY45392"/>
              </a:cxn>
              <a:cxn ang="0">
                <a:pos x="connsiteX45393" y="connsiteY45393"/>
              </a:cxn>
              <a:cxn ang="0">
                <a:pos x="connsiteX45394" y="connsiteY45394"/>
              </a:cxn>
              <a:cxn ang="0">
                <a:pos x="connsiteX45395" y="connsiteY45395"/>
              </a:cxn>
              <a:cxn ang="0">
                <a:pos x="connsiteX45396" y="connsiteY45396"/>
              </a:cxn>
              <a:cxn ang="0">
                <a:pos x="connsiteX45397" y="connsiteY45397"/>
              </a:cxn>
              <a:cxn ang="0">
                <a:pos x="connsiteX45398" y="connsiteY45398"/>
              </a:cxn>
              <a:cxn ang="0">
                <a:pos x="connsiteX45399" y="connsiteY45399"/>
              </a:cxn>
              <a:cxn ang="0">
                <a:pos x="connsiteX45400" y="connsiteY45400"/>
              </a:cxn>
              <a:cxn ang="0">
                <a:pos x="connsiteX45401" y="connsiteY45401"/>
              </a:cxn>
              <a:cxn ang="0">
                <a:pos x="connsiteX45402" y="connsiteY45402"/>
              </a:cxn>
              <a:cxn ang="0">
                <a:pos x="connsiteX45403" y="connsiteY45403"/>
              </a:cxn>
              <a:cxn ang="0">
                <a:pos x="connsiteX45404" y="connsiteY45404"/>
              </a:cxn>
              <a:cxn ang="0">
                <a:pos x="connsiteX45405" y="connsiteY45405"/>
              </a:cxn>
              <a:cxn ang="0">
                <a:pos x="connsiteX45406" y="connsiteY45406"/>
              </a:cxn>
              <a:cxn ang="0">
                <a:pos x="connsiteX45407" y="connsiteY45407"/>
              </a:cxn>
              <a:cxn ang="0">
                <a:pos x="connsiteX45408" y="connsiteY45408"/>
              </a:cxn>
              <a:cxn ang="0">
                <a:pos x="connsiteX45409" y="connsiteY45409"/>
              </a:cxn>
              <a:cxn ang="0">
                <a:pos x="connsiteX45410" y="connsiteY45410"/>
              </a:cxn>
              <a:cxn ang="0">
                <a:pos x="connsiteX45411" y="connsiteY45411"/>
              </a:cxn>
              <a:cxn ang="0">
                <a:pos x="connsiteX45412" y="connsiteY45412"/>
              </a:cxn>
              <a:cxn ang="0">
                <a:pos x="connsiteX45413" y="connsiteY45413"/>
              </a:cxn>
              <a:cxn ang="0">
                <a:pos x="connsiteX45414" y="connsiteY45414"/>
              </a:cxn>
              <a:cxn ang="0">
                <a:pos x="connsiteX45415" y="connsiteY45415"/>
              </a:cxn>
              <a:cxn ang="0">
                <a:pos x="connsiteX45416" y="connsiteY45416"/>
              </a:cxn>
              <a:cxn ang="0">
                <a:pos x="connsiteX45417" y="connsiteY45417"/>
              </a:cxn>
              <a:cxn ang="0">
                <a:pos x="connsiteX45418" y="connsiteY45418"/>
              </a:cxn>
              <a:cxn ang="0">
                <a:pos x="connsiteX45419" y="connsiteY45419"/>
              </a:cxn>
              <a:cxn ang="0">
                <a:pos x="connsiteX45420" y="connsiteY45420"/>
              </a:cxn>
              <a:cxn ang="0">
                <a:pos x="connsiteX45421" y="connsiteY45421"/>
              </a:cxn>
              <a:cxn ang="0">
                <a:pos x="connsiteX45422" y="connsiteY45422"/>
              </a:cxn>
              <a:cxn ang="0">
                <a:pos x="connsiteX45423" y="connsiteY45423"/>
              </a:cxn>
              <a:cxn ang="0">
                <a:pos x="connsiteX45424" y="connsiteY45424"/>
              </a:cxn>
              <a:cxn ang="0">
                <a:pos x="connsiteX45425" y="connsiteY45425"/>
              </a:cxn>
              <a:cxn ang="0">
                <a:pos x="connsiteX45426" y="connsiteY45426"/>
              </a:cxn>
              <a:cxn ang="0">
                <a:pos x="connsiteX45427" y="connsiteY45427"/>
              </a:cxn>
              <a:cxn ang="0">
                <a:pos x="connsiteX45428" y="connsiteY45428"/>
              </a:cxn>
              <a:cxn ang="0">
                <a:pos x="connsiteX45429" y="connsiteY45429"/>
              </a:cxn>
              <a:cxn ang="0">
                <a:pos x="connsiteX45430" y="connsiteY45430"/>
              </a:cxn>
              <a:cxn ang="0">
                <a:pos x="connsiteX45431" y="connsiteY45431"/>
              </a:cxn>
              <a:cxn ang="0">
                <a:pos x="connsiteX45432" y="connsiteY45432"/>
              </a:cxn>
              <a:cxn ang="0">
                <a:pos x="connsiteX45433" y="connsiteY45433"/>
              </a:cxn>
              <a:cxn ang="0">
                <a:pos x="connsiteX45434" y="connsiteY45434"/>
              </a:cxn>
              <a:cxn ang="0">
                <a:pos x="connsiteX45435" y="connsiteY45435"/>
              </a:cxn>
              <a:cxn ang="0">
                <a:pos x="connsiteX45436" y="connsiteY45436"/>
              </a:cxn>
              <a:cxn ang="0">
                <a:pos x="connsiteX45437" y="connsiteY45437"/>
              </a:cxn>
              <a:cxn ang="0">
                <a:pos x="connsiteX45438" y="connsiteY45438"/>
              </a:cxn>
              <a:cxn ang="0">
                <a:pos x="connsiteX45439" y="connsiteY45439"/>
              </a:cxn>
              <a:cxn ang="0">
                <a:pos x="connsiteX45440" y="connsiteY45440"/>
              </a:cxn>
              <a:cxn ang="0">
                <a:pos x="connsiteX45441" y="connsiteY45441"/>
              </a:cxn>
              <a:cxn ang="0">
                <a:pos x="connsiteX45442" y="connsiteY45442"/>
              </a:cxn>
              <a:cxn ang="0">
                <a:pos x="connsiteX45443" y="connsiteY45443"/>
              </a:cxn>
              <a:cxn ang="0">
                <a:pos x="connsiteX45444" y="connsiteY45444"/>
              </a:cxn>
              <a:cxn ang="0">
                <a:pos x="connsiteX45445" y="connsiteY45445"/>
              </a:cxn>
              <a:cxn ang="0">
                <a:pos x="connsiteX45446" y="connsiteY45446"/>
              </a:cxn>
              <a:cxn ang="0">
                <a:pos x="connsiteX45447" y="connsiteY45447"/>
              </a:cxn>
              <a:cxn ang="0">
                <a:pos x="connsiteX45448" y="connsiteY45448"/>
              </a:cxn>
              <a:cxn ang="0">
                <a:pos x="connsiteX45449" y="connsiteY45449"/>
              </a:cxn>
              <a:cxn ang="0">
                <a:pos x="connsiteX45450" y="connsiteY45450"/>
              </a:cxn>
              <a:cxn ang="0">
                <a:pos x="connsiteX45451" y="connsiteY45451"/>
              </a:cxn>
              <a:cxn ang="0">
                <a:pos x="connsiteX45452" y="connsiteY45452"/>
              </a:cxn>
              <a:cxn ang="0">
                <a:pos x="connsiteX45453" y="connsiteY45453"/>
              </a:cxn>
              <a:cxn ang="0">
                <a:pos x="connsiteX45454" y="connsiteY45454"/>
              </a:cxn>
              <a:cxn ang="0">
                <a:pos x="connsiteX45455" y="connsiteY45455"/>
              </a:cxn>
              <a:cxn ang="0">
                <a:pos x="connsiteX45456" y="connsiteY45456"/>
              </a:cxn>
              <a:cxn ang="0">
                <a:pos x="connsiteX45457" y="connsiteY45457"/>
              </a:cxn>
              <a:cxn ang="0">
                <a:pos x="connsiteX45458" y="connsiteY45458"/>
              </a:cxn>
              <a:cxn ang="0">
                <a:pos x="connsiteX45459" y="connsiteY45459"/>
              </a:cxn>
              <a:cxn ang="0">
                <a:pos x="connsiteX45460" y="connsiteY45460"/>
              </a:cxn>
              <a:cxn ang="0">
                <a:pos x="connsiteX45461" y="connsiteY45461"/>
              </a:cxn>
              <a:cxn ang="0">
                <a:pos x="connsiteX45462" y="connsiteY45462"/>
              </a:cxn>
              <a:cxn ang="0">
                <a:pos x="connsiteX45463" y="connsiteY45463"/>
              </a:cxn>
              <a:cxn ang="0">
                <a:pos x="connsiteX45464" y="connsiteY45464"/>
              </a:cxn>
              <a:cxn ang="0">
                <a:pos x="connsiteX45465" y="connsiteY45465"/>
              </a:cxn>
              <a:cxn ang="0">
                <a:pos x="connsiteX45466" y="connsiteY45466"/>
              </a:cxn>
              <a:cxn ang="0">
                <a:pos x="connsiteX45467" y="connsiteY45467"/>
              </a:cxn>
              <a:cxn ang="0">
                <a:pos x="connsiteX45468" y="connsiteY45468"/>
              </a:cxn>
              <a:cxn ang="0">
                <a:pos x="connsiteX45469" y="connsiteY45469"/>
              </a:cxn>
              <a:cxn ang="0">
                <a:pos x="connsiteX45470" y="connsiteY45470"/>
              </a:cxn>
              <a:cxn ang="0">
                <a:pos x="connsiteX45471" y="connsiteY45471"/>
              </a:cxn>
              <a:cxn ang="0">
                <a:pos x="connsiteX45472" y="connsiteY45472"/>
              </a:cxn>
              <a:cxn ang="0">
                <a:pos x="connsiteX45473" y="connsiteY45473"/>
              </a:cxn>
              <a:cxn ang="0">
                <a:pos x="connsiteX45474" y="connsiteY45474"/>
              </a:cxn>
              <a:cxn ang="0">
                <a:pos x="connsiteX45475" y="connsiteY45475"/>
              </a:cxn>
              <a:cxn ang="0">
                <a:pos x="connsiteX45476" y="connsiteY45476"/>
              </a:cxn>
              <a:cxn ang="0">
                <a:pos x="connsiteX45477" y="connsiteY45477"/>
              </a:cxn>
              <a:cxn ang="0">
                <a:pos x="connsiteX45478" y="connsiteY45478"/>
              </a:cxn>
              <a:cxn ang="0">
                <a:pos x="connsiteX45479" y="connsiteY45479"/>
              </a:cxn>
              <a:cxn ang="0">
                <a:pos x="connsiteX45480" y="connsiteY45480"/>
              </a:cxn>
              <a:cxn ang="0">
                <a:pos x="connsiteX45481" y="connsiteY45481"/>
              </a:cxn>
              <a:cxn ang="0">
                <a:pos x="connsiteX45482" y="connsiteY45482"/>
              </a:cxn>
              <a:cxn ang="0">
                <a:pos x="connsiteX45483" y="connsiteY45483"/>
              </a:cxn>
              <a:cxn ang="0">
                <a:pos x="connsiteX45484" y="connsiteY45484"/>
              </a:cxn>
              <a:cxn ang="0">
                <a:pos x="connsiteX45485" y="connsiteY45485"/>
              </a:cxn>
              <a:cxn ang="0">
                <a:pos x="connsiteX45486" y="connsiteY45486"/>
              </a:cxn>
              <a:cxn ang="0">
                <a:pos x="connsiteX45487" y="connsiteY45487"/>
              </a:cxn>
              <a:cxn ang="0">
                <a:pos x="connsiteX45488" y="connsiteY45488"/>
              </a:cxn>
              <a:cxn ang="0">
                <a:pos x="connsiteX45489" y="connsiteY45489"/>
              </a:cxn>
              <a:cxn ang="0">
                <a:pos x="connsiteX45490" y="connsiteY45490"/>
              </a:cxn>
              <a:cxn ang="0">
                <a:pos x="connsiteX45491" y="connsiteY45491"/>
              </a:cxn>
              <a:cxn ang="0">
                <a:pos x="connsiteX45492" y="connsiteY45492"/>
              </a:cxn>
              <a:cxn ang="0">
                <a:pos x="connsiteX45493" y="connsiteY45493"/>
              </a:cxn>
              <a:cxn ang="0">
                <a:pos x="connsiteX45494" y="connsiteY45494"/>
              </a:cxn>
              <a:cxn ang="0">
                <a:pos x="connsiteX45495" y="connsiteY45495"/>
              </a:cxn>
              <a:cxn ang="0">
                <a:pos x="connsiteX45496" y="connsiteY45496"/>
              </a:cxn>
              <a:cxn ang="0">
                <a:pos x="connsiteX45497" y="connsiteY45497"/>
              </a:cxn>
              <a:cxn ang="0">
                <a:pos x="connsiteX45498" y="connsiteY45498"/>
              </a:cxn>
              <a:cxn ang="0">
                <a:pos x="connsiteX45499" y="connsiteY45499"/>
              </a:cxn>
              <a:cxn ang="0">
                <a:pos x="connsiteX45500" y="connsiteY45500"/>
              </a:cxn>
              <a:cxn ang="0">
                <a:pos x="connsiteX45501" y="connsiteY45501"/>
              </a:cxn>
              <a:cxn ang="0">
                <a:pos x="connsiteX45502" y="connsiteY45502"/>
              </a:cxn>
              <a:cxn ang="0">
                <a:pos x="connsiteX45503" y="connsiteY45503"/>
              </a:cxn>
              <a:cxn ang="0">
                <a:pos x="connsiteX45504" y="connsiteY45504"/>
              </a:cxn>
              <a:cxn ang="0">
                <a:pos x="connsiteX45505" y="connsiteY45505"/>
              </a:cxn>
              <a:cxn ang="0">
                <a:pos x="connsiteX45506" y="connsiteY45506"/>
              </a:cxn>
              <a:cxn ang="0">
                <a:pos x="connsiteX45507" y="connsiteY45507"/>
              </a:cxn>
              <a:cxn ang="0">
                <a:pos x="connsiteX45508" y="connsiteY45508"/>
              </a:cxn>
              <a:cxn ang="0">
                <a:pos x="connsiteX45509" y="connsiteY45509"/>
              </a:cxn>
              <a:cxn ang="0">
                <a:pos x="connsiteX45510" y="connsiteY45510"/>
              </a:cxn>
              <a:cxn ang="0">
                <a:pos x="connsiteX45511" y="connsiteY45511"/>
              </a:cxn>
              <a:cxn ang="0">
                <a:pos x="connsiteX45512" y="connsiteY45512"/>
              </a:cxn>
              <a:cxn ang="0">
                <a:pos x="connsiteX45513" y="connsiteY45513"/>
              </a:cxn>
              <a:cxn ang="0">
                <a:pos x="connsiteX45514" y="connsiteY45514"/>
              </a:cxn>
              <a:cxn ang="0">
                <a:pos x="connsiteX45515" y="connsiteY45515"/>
              </a:cxn>
              <a:cxn ang="0">
                <a:pos x="connsiteX45516" y="connsiteY45516"/>
              </a:cxn>
              <a:cxn ang="0">
                <a:pos x="connsiteX45517" y="connsiteY45517"/>
              </a:cxn>
              <a:cxn ang="0">
                <a:pos x="connsiteX45518" y="connsiteY45518"/>
              </a:cxn>
              <a:cxn ang="0">
                <a:pos x="connsiteX45519" y="connsiteY45519"/>
              </a:cxn>
              <a:cxn ang="0">
                <a:pos x="connsiteX45520" y="connsiteY45520"/>
              </a:cxn>
              <a:cxn ang="0">
                <a:pos x="connsiteX45521" y="connsiteY45521"/>
              </a:cxn>
              <a:cxn ang="0">
                <a:pos x="connsiteX45522" y="connsiteY45522"/>
              </a:cxn>
              <a:cxn ang="0">
                <a:pos x="connsiteX45523" y="connsiteY45523"/>
              </a:cxn>
              <a:cxn ang="0">
                <a:pos x="connsiteX45524" y="connsiteY45524"/>
              </a:cxn>
              <a:cxn ang="0">
                <a:pos x="connsiteX45525" y="connsiteY45525"/>
              </a:cxn>
              <a:cxn ang="0">
                <a:pos x="connsiteX45526" y="connsiteY45526"/>
              </a:cxn>
              <a:cxn ang="0">
                <a:pos x="connsiteX45527" y="connsiteY45527"/>
              </a:cxn>
              <a:cxn ang="0">
                <a:pos x="connsiteX45528" y="connsiteY45528"/>
              </a:cxn>
              <a:cxn ang="0">
                <a:pos x="connsiteX45529" y="connsiteY45529"/>
              </a:cxn>
              <a:cxn ang="0">
                <a:pos x="connsiteX45530" y="connsiteY45530"/>
              </a:cxn>
              <a:cxn ang="0">
                <a:pos x="connsiteX45531" y="connsiteY45531"/>
              </a:cxn>
              <a:cxn ang="0">
                <a:pos x="connsiteX45532" y="connsiteY45532"/>
              </a:cxn>
              <a:cxn ang="0">
                <a:pos x="connsiteX45533" y="connsiteY45533"/>
              </a:cxn>
              <a:cxn ang="0">
                <a:pos x="connsiteX45534" y="connsiteY45534"/>
              </a:cxn>
              <a:cxn ang="0">
                <a:pos x="connsiteX45535" y="connsiteY45535"/>
              </a:cxn>
              <a:cxn ang="0">
                <a:pos x="connsiteX45536" y="connsiteY45536"/>
              </a:cxn>
              <a:cxn ang="0">
                <a:pos x="connsiteX45537" y="connsiteY45537"/>
              </a:cxn>
              <a:cxn ang="0">
                <a:pos x="connsiteX45538" y="connsiteY45538"/>
              </a:cxn>
              <a:cxn ang="0">
                <a:pos x="connsiteX45539" y="connsiteY45539"/>
              </a:cxn>
              <a:cxn ang="0">
                <a:pos x="connsiteX45540" y="connsiteY45540"/>
              </a:cxn>
              <a:cxn ang="0">
                <a:pos x="connsiteX45541" y="connsiteY45541"/>
              </a:cxn>
              <a:cxn ang="0">
                <a:pos x="connsiteX45542" y="connsiteY45542"/>
              </a:cxn>
              <a:cxn ang="0">
                <a:pos x="connsiteX45543" y="connsiteY45543"/>
              </a:cxn>
              <a:cxn ang="0">
                <a:pos x="connsiteX45544" y="connsiteY45544"/>
              </a:cxn>
              <a:cxn ang="0">
                <a:pos x="connsiteX45545" y="connsiteY45545"/>
              </a:cxn>
              <a:cxn ang="0">
                <a:pos x="connsiteX45546" y="connsiteY45546"/>
              </a:cxn>
              <a:cxn ang="0">
                <a:pos x="connsiteX45547" y="connsiteY45547"/>
              </a:cxn>
              <a:cxn ang="0">
                <a:pos x="connsiteX45548" y="connsiteY45548"/>
              </a:cxn>
              <a:cxn ang="0">
                <a:pos x="connsiteX45549" y="connsiteY45549"/>
              </a:cxn>
              <a:cxn ang="0">
                <a:pos x="connsiteX45550" y="connsiteY45550"/>
              </a:cxn>
              <a:cxn ang="0">
                <a:pos x="connsiteX45551" y="connsiteY45551"/>
              </a:cxn>
              <a:cxn ang="0">
                <a:pos x="connsiteX45552" y="connsiteY45552"/>
              </a:cxn>
              <a:cxn ang="0">
                <a:pos x="connsiteX45553" y="connsiteY45553"/>
              </a:cxn>
              <a:cxn ang="0">
                <a:pos x="connsiteX45554" y="connsiteY45554"/>
              </a:cxn>
              <a:cxn ang="0">
                <a:pos x="connsiteX45555" y="connsiteY45555"/>
              </a:cxn>
              <a:cxn ang="0">
                <a:pos x="connsiteX45556" y="connsiteY45556"/>
              </a:cxn>
              <a:cxn ang="0">
                <a:pos x="connsiteX45557" y="connsiteY45557"/>
              </a:cxn>
              <a:cxn ang="0">
                <a:pos x="connsiteX45558" y="connsiteY45558"/>
              </a:cxn>
              <a:cxn ang="0">
                <a:pos x="connsiteX45559" y="connsiteY45559"/>
              </a:cxn>
              <a:cxn ang="0">
                <a:pos x="connsiteX45560" y="connsiteY45560"/>
              </a:cxn>
              <a:cxn ang="0">
                <a:pos x="connsiteX45561" y="connsiteY45561"/>
              </a:cxn>
              <a:cxn ang="0">
                <a:pos x="connsiteX45562" y="connsiteY45562"/>
              </a:cxn>
              <a:cxn ang="0">
                <a:pos x="connsiteX45563" y="connsiteY45563"/>
              </a:cxn>
              <a:cxn ang="0">
                <a:pos x="connsiteX45564" y="connsiteY45564"/>
              </a:cxn>
              <a:cxn ang="0">
                <a:pos x="connsiteX45565" y="connsiteY45565"/>
              </a:cxn>
              <a:cxn ang="0">
                <a:pos x="connsiteX45566" y="connsiteY45566"/>
              </a:cxn>
              <a:cxn ang="0">
                <a:pos x="connsiteX45567" y="connsiteY45567"/>
              </a:cxn>
              <a:cxn ang="0">
                <a:pos x="connsiteX45568" y="connsiteY45568"/>
              </a:cxn>
              <a:cxn ang="0">
                <a:pos x="connsiteX45569" y="connsiteY45569"/>
              </a:cxn>
              <a:cxn ang="0">
                <a:pos x="connsiteX45570" y="connsiteY45570"/>
              </a:cxn>
              <a:cxn ang="0">
                <a:pos x="connsiteX45571" y="connsiteY45571"/>
              </a:cxn>
              <a:cxn ang="0">
                <a:pos x="connsiteX45572" y="connsiteY45572"/>
              </a:cxn>
              <a:cxn ang="0">
                <a:pos x="connsiteX45573" y="connsiteY45573"/>
              </a:cxn>
              <a:cxn ang="0">
                <a:pos x="connsiteX45574" y="connsiteY45574"/>
              </a:cxn>
              <a:cxn ang="0">
                <a:pos x="connsiteX45575" y="connsiteY45575"/>
              </a:cxn>
              <a:cxn ang="0">
                <a:pos x="connsiteX45576" y="connsiteY45576"/>
              </a:cxn>
              <a:cxn ang="0">
                <a:pos x="connsiteX45577" y="connsiteY45577"/>
              </a:cxn>
              <a:cxn ang="0">
                <a:pos x="connsiteX45578" y="connsiteY45578"/>
              </a:cxn>
              <a:cxn ang="0">
                <a:pos x="connsiteX45579" y="connsiteY45579"/>
              </a:cxn>
              <a:cxn ang="0">
                <a:pos x="connsiteX45580" y="connsiteY45580"/>
              </a:cxn>
              <a:cxn ang="0">
                <a:pos x="connsiteX45581" y="connsiteY45581"/>
              </a:cxn>
              <a:cxn ang="0">
                <a:pos x="connsiteX45582" y="connsiteY45582"/>
              </a:cxn>
              <a:cxn ang="0">
                <a:pos x="connsiteX45583" y="connsiteY45583"/>
              </a:cxn>
              <a:cxn ang="0">
                <a:pos x="connsiteX45584" y="connsiteY45584"/>
              </a:cxn>
              <a:cxn ang="0">
                <a:pos x="connsiteX45585" y="connsiteY45585"/>
              </a:cxn>
              <a:cxn ang="0">
                <a:pos x="connsiteX45586" y="connsiteY45586"/>
              </a:cxn>
              <a:cxn ang="0">
                <a:pos x="connsiteX45587" y="connsiteY45587"/>
              </a:cxn>
              <a:cxn ang="0">
                <a:pos x="connsiteX45588" y="connsiteY45588"/>
              </a:cxn>
              <a:cxn ang="0">
                <a:pos x="connsiteX45589" y="connsiteY45589"/>
              </a:cxn>
              <a:cxn ang="0">
                <a:pos x="connsiteX45590" y="connsiteY45590"/>
              </a:cxn>
              <a:cxn ang="0">
                <a:pos x="connsiteX45591" y="connsiteY45591"/>
              </a:cxn>
              <a:cxn ang="0">
                <a:pos x="connsiteX45592" y="connsiteY45592"/>
              </a:cxn>
              <a:cxn ang="0">
                <a:pos x="connsiteX45593" y="connsiteY45593"/>
              </a:cxn>
              <a:cxn ang="0">
                <a:pos x="connsiteX45594" y="connsiteY45594"/>
              </a:cxn>
              <a:cxn ang="0">
                <a:pos x="connsiteX45595" y="connsiteY45595"/>
              </a:cxn>
              <a:cxn ang="0">
                <a:pos x="connsiteX45596" y="connsiteY45596"/>
              </a:cxn>
              <a:cxn ang="0">
                <a:pos x="connsiteX45597" y="connsiteY45597"/>
              </a:cxn>
              <a:cxn ang="0">
                <a:pos x="connsiteX45598" y="connsiteY45598"/>
              </a:cxn>
              <a:cxn ang="0">
                <a:pos x="connsiteX45599" y="connsiteY45599"/>
              </a:cxn>
              <a:cxn ang="0">
                <a:pos x="connsiteX45600" y="connsiteY45600"/>
              </a:cxn>
              <a:cxn ang="0">
                <a:pos x="connsiteX45601" y="connsiteY45601"/>
              </a:cxn>
              <a:cxn ang="0">
                <a:pos x="connsiteX45602" y="connsiteY45602"/>
              </a:cxn>
              <a:cxn ang="0">
                <a:pos x="connsiteX45603" y="connsiteY45603"/>
              </a:cxn>
              <a:cxn ang="0">
                <a:pos x="connsiteX45604" y="connsiteY45604"/>
              </a:cxn>
              <a:cxn ang="0">
                <a:pos x="connsiteX45605" y="connsiteY45605"/>
              </a:cxn>
              <a:cxn ang="0">
                <a:pos x="connsiteX45606" y="connsiteY45606"/>
              </a:cxn>
              <a:cxn ang="0">
                <a:pos x="connsiteX45607" y="connsiteY45607"/>
              </a:cxn>
              <a:cxn ang="0">
                <a:pos x="connsiteX45608" y="connsiteY45608"/>
              </a:cxn>
              <a:cxn ang="0">
                <a:pos x="connsiteX45609" y="connsiteY45609"/>
              </a:cxn>
              <a:cxn ang="0">
                <a:pos x="connsiteX45610" y="connsiteY45610"/>
              </a:cxn>
              <a:cxn ang="0">
                <a:pos x="connsiteX45611" y="connsiteY45611"/>
              </a:cxn>
              <a:cxn ang="0">
                <a:pos x="connsiteX45612" y="connsiteY45612"/>
              </a:cxn>
              <a:cxn ang="0">
                <a:pos x="connsiteX45613" y="connsiteY45613"/>
              </a:cxn>
              <a:cxn ang="0">
                <a:pos x="connsiteX45614" y="connsiteY45614"/>
              </a:cxn>
              <a:cxn ang="0">
                <a:pos x="connsiteX45615" y="connsiteY45615"/>
              </a:cxn>
              <a:cxn ang="0">
                <a:pos x="connsiteX45616" y="connsiteY45616"/>
              </a:cxn>
              <a:cxn ang="0">
                <a:pos x="connsiteX45617" y="connsiteY45617"/>
              </a:cxn>
              <a:cxn ang="0">
                <a:pos x="connsiteX45618" y="connsiteY45618"/>
              </a:cxn>
              <a:cxn ang="0">
                <a:pos x="connsiteX45619" y="connsiteY45619"/>
              </a:cxn>
              <a:cxn ang="0">
                <a:pos x="connsiteX45620" y="connsiteY45620"/>
              </a:cxn>
              <a:cxn ang="0">
                <a:pos x="connsiteX45621" y="connsiteY45621"/>
              </a:cxn>
              <a:cxn ang="0">
                <a:pos x="connsiteX45622" y="connsiteY45622"/>
              </a:cxn>
              <a:cxn ang="0">
                <a:pos x="connsiteX45623" y="connsiteY45623"/>
              </a:cxn>
              <a:cxn ang="0">
                <a:pos x="connsiteX45624" y="connsiteY45624"/>
              </a:cxn>
              <a:cxn ang="0">
                <a:pos x="connsiteX45625" y="connsiteY45625"/>
              </a:cxn>
              <a:cxn ang="0">
                <a:pos x="connsiteX45626" y="connsiteY45626"/>
              </a:cxn>
              <a:cxn ang="0">
                <a:pos x="connsiteX45627" y="connsiteY45627"/>
              </a:cxn>
              <a:cxn ang="0">
                <a:pos x="connsiteX45628" y="connsiteY45628"/>
              </a:cxn>
              <a:cxn ang="0">
                <a:pos x="connsiteX45629" y="connsiteY45629"/>
              </a:cxn>
              <a:cxn ang="0">
                <a:pos x="connsiteX45630" y="connsiteY45630"/>
              </a:cxn>
              <a:cxn ang="0">
                <a:pos x="connsiteX45631" y="connsiteY45631"/>
              </a:cxn>
              <a:cxn ang="0">
                <a:pos x="connsiteX45632" y="connsiteY45632"/>
              </a:cxn>
              <a:cxn ang="0">
                <a:pos x="connsiteX45633" y="connsiteY45633"/>
              </a:cxn>
              <a:cxn ang="0">
                <a:pos x="connsiteX45634" y="connsiteY45634"/>
              </a:cxn>
              <a:cxn ang="0">
                <a:pos x="connsiteX45635" y="connsiteY45635"/>
              </a:cxn>
              <a:cxn ang="0">
                <a:pos x="connsiteX45636" y="connsiteY45636"/>
              </a:cxn>
              <a:cxn ang="0">
                <a:pos x="connsiteX45637" y="connsiteY45637"/>
              </a:cxn>
              <a:cxn ang="0">
                <a:pos x="connsiteX45638" y="connsiteY45638"/>
              </a:cxn>
              <a:cxn ang="0">
                <a:pos x="connsiteX45639" y="connsiteY45639"/>
              </a:cxn>
              <a:cxn ang="0">
                <a:pos x="connsiteX45640" y="connsiteY45640"/>
              </a:cxn>
              <a:cxn ang="0">
                <a:pos x="connsiteX45641" y="connsiteY45641"/>
              </a:cxn>
              <a:cxn ang="0">
                <a:pos x="connsiteX45642" y="connsiteY45642"/>
              </a:cxn>
              <a:cxn ang="0">
                <a:pos x="connsiteX45643" y="connsiteY45643"/>
              </a:cxn>
              <a:cxn ang="0">
                <a:pos x="connsiteX45644" y="connsiteY45644"/>
              </a:cxn>
              <a:cxn ang="0">
                <a:pos x="connsiteX45645" y="connsiteY45645"/>
              </a:cxn>
              <a:cxn ang="0">
                <a:pos x="connsiteX45646" y="connsiteY45646"/>
              </a:cxn>
              <a:cxn ang="0">
                <a:pos x="connsiteX45647" y="connsiteY45647"/>
              </a:cxn>
              <a:cxn ang="0">
                <a:pos x="connsiteX45648" y="connsiteY45648"/>
              </a:cxn>
              <a:cxn ang="0">
                <a:pos x="connsiteX45649" y="connsiteY45649"/>
              </a:cxn>
              <a:cxn ang="0">
                <a:pos x="connsiteX45650" y="connsiteY45650"/>
              </a:cxn>
              <a:cxn ang="0">
                <a:pos x="connsiteX45651" y="connsiteY45651"/>
              </a:cxn>
              <a:cxn ang="0">
                <a:pos x="connsiteX45652" y="connsiteY45652"/>
              </a:cxn>
              <a:cxn ang="0">
                <a:pos x="connsiteX45653" y="connsiteY45653"/>
              </a:cxn>
              <a:cxn ang="0">
                <a:pos x="connsiteX45654" y="connsiteY45654"/>
              </a:cxn>
              <a:cxn ang="0">
                <a:pos x="connsiteX45655" y="connsiteY45655"/>
              </a:cxn>
              <a:cxn ang="0">
                <a:pos x="connsiteX45656" y="connsiteY45656"/>
              </a:cxn>
              <a:cxn ang="0">
                <a:pos x="connsiteX45657" y="connsiteY45657"/>
              </a:cxn>
              <a:cxn ang="0">
                <a:pos x="connsiteX45658" y="connsiteY45658"/>
              </a:cxn>
              <a:cxn ang="0">
                <a:pos x="connsiteX45659" y="connsiteY45659"/>
              </a:cxn>
              <a:cxn ang="0">
                <a:pos x="connsiteX45660" y="connsiteY45660"/>
              </a:cxn>
              <a:cxn ang="0">
                <a:pos x="connsiteX45661" y="connsiteY45661"/>
              </a:cxn>
              <a:cxn ang="0">
                <a:pos x="connsiteX45662" y="connsiteY45662"/>
              </a:cxn>
              <a:cxn ang="0">
                <a:pos x="connsiteX45663" y="connsiteY45663"/>
              </a:cxn>
              <a:cxn ang="0">
                <a:pos x="connsiteX45664" y="connsiteY45664"/>
              </a:cxn>
              <a:cxn ang="0">
                <a:pos x="connsiteX45665" y="connsiteY45665"/>
              </a:cxn>
              <a:cxn ang="0">
                <a:pos x="connsiteX45666" y="connsiteY45666"/>
              </a:cxn>
              <a:cxn ang="0">
                <a:pos x="connsiteX45667" y="connsiteY45667"/>
              </a:cxn>
              <a:cxn ang="0">
                <a:pos x="connsiteX45668" y="connsiteY45668"/>
              </a:cxn>
              <a:cxn ang="0">
                <a:pos x="connsiteX45669" y="connsiteY45669"/>
              </a:cxn>
              <a:cxn ang="0">
                <a:pos x="connsiteX45670" y="connsiteY45670"/>
              </a:cxn>
              <a:cxn ang="0">
                <a:pos x="connsiteX45671" y="connsiteY45671"/>
              </a:cxn>
              <a:cxn ang="0">
                <a:pos x="connsiteX45672" y="connsiteY45672"/>
              </a:cxn>
              <a:cxn ang="0">
                <a:pos x="connsiteX45673" y="connsiteY45673"/>
              </a:cxn>
              <a:cxn ang="0">
                <a:pos x="connsiteX45674" y="connsiteY45674"/>
              </a:cxn>
              <a:cxn ang="0">
                <a:pos x="connsiteX45675" y="connsiteY45675"/>
              </a:cxn>
              <a:cxn ang="0">
                <a:pos x="connsiteX45676" y="connsiteY45676"/>
              </a:cxn>
              <a:cxn ang="0">
                <a:pos x="connsiteX45677" y="connsiteY45677"/>
              </a:cxn>
              <a:cxn ang="0">
                <a:pos x="connsiteX45678" y="connsiteY45678"/>
              </a:cxn>
              <a:cxn ang="0">
                <a:pos x="connsiteX45679" y="connsiteY45679"/>
              </a:cxn>
              <a:cxn ang="0">
                <a:pos x="connsiteX45680" y="connsiteY45680"/>
              </a:cxn>
              <a:cxn ang="0">
                <a:pos x="connsiteX45681" y="connsiteY45681"/>
              </a:cxn>
              <a:cxn ang="0">
                <a:pos x="connsiteX45682" y="connsiteY45682"/>
              </a:cxn>
              <a:cxn ang="0">
                <a:pos x="connsiteX45683" y="connsiteY45683"/>
              </a:cxn>
              <a:cxn ang="0">
                <a:pos x="connsiteX45684" y="connsiteY45684"/>
              </a:cxn>
              <a:cxn ang="0">
                <a:pos x="connsiteX45685" y="connsiteY45685"/>
              </a:cxn>
              <a:cxn ang="0">
                <a:pos x="connsiteX45686" y="connsiteY45686"/>
              </a:cxn>
              <a:cxn ang="0">
                <a:pos x="connsiteX45687" y="connsiteY45687"/>
              </a:cxn>
              <a:cxn ang="0">
                <a:pos x="connsiteX45688" y="connsiteY45688"/>
              </a:cxn>
              <a:cxn ang="0">
                <a:pos x="connsiteX45689" y="connsiteY45689"/>
              </a:cxn>
              <a:cxn ang="0">
                <a:pos x="connsiteX45690" y="connsiteY45690"/>
              </a:cxn>
              <a:cxn ang="0">
                <a:pos x="connsiteX45691" y="connsiteY45691"/>
              </a:cxn>
              <a:cxn ang="0">
                <a:pos x="connsiteX45692" y="connsiteY45692"/>
              </a:cxn>
              <a:cxn ang="0">
                <a:pos x="connsiteX45693" y="connsiteY45693"/>
              </a:cxn>
              <a:cxn ang="0">
                <a:pos x="connsiteX45694" y="connsiteY45694"/>
              </a:cxn>
              <a:cxn ang="0">
                <a:pos x="connsiteX45695" y="connsiteY45695"/>
              </a:cxn>
              <a:cxn ang="0">
                <a:pos x="connsiteX45696" y="connsiteY45696"/>
              </a:cxn>
              <a:cxn ang="0">
                <a:pos x="connsiteX45697" y="connsiteY45697"/>
              </a:cxn>
              <a:cxn ang="0">
                <a:pos x="connsiteX45698" y="connsiteY45698"/>
              </a:cxn>
              <a:cxn ang="0">
                <a:pos x="connsiteX45699" y="connsiteY45699"/>
              </a:cxn>
              <a:cxn ang="0">
                <a:pos x="connsiteX45700" y="connsiteY45700"/>
              </a:cxn>
              <a:cxn ang="0">
                <a:pos x="connsiteX45701" y="connsiteY45701"/>
              </a:cxn>
              <a:cxn ang="0">
                <a:pos x="connsiteX45702" y="connsiteY45702"/>
              </a:cxn>
              <a:cxn ang="0">
                <a:pos x="connsiteX45703" y="connsiteY45703"/>
              </a:cxn>
              <a:cxn ang="0">
                <a:pos x="connsiteX45704" y="connsiteY45704"/>
              </a:cxn>
              <a:cxn ang="0">
                <a:pos x="connsiteX45705" y="connsiteY45705"/>
              </a:cxn>
              <a:cxn ang="0">
                <a:pos x="connsiteX45706" y="connsiteY45706"/>
              </a:cxn>
              <a:cxn ang="0">
                <a:pos x="connsiteX45707" y="connsiteY45707"/>
              </a:cxn>
              <a:cxn ang="0">
                <a:pos x="connsiteX45708" y="connsiteY45708"/>
              </a:cxn>
              <a:cxn ang="0">
                <a:pos x="connsiteX45709" y="connsiteY45709"/>
              </a:cxn>
              <a:cxn ang="0">
                <a:pos x="connsiteX45710" y="connsiteY45710"/>
              </a:cxn>
              <a:cxn ang="0">
                <a:pos x="connsiteX45711" y="connsiteY45711"/>
              </a:cxn>
              <a:cxn ang="0">
                <a:pos x="connsiteX45712" y="connsiteY45712"/>
              </a:cxn>
              <a:cxn ang="0">
                <a:pos x="connsiteX45713" y="connsiteY45713"/>
              </a:cxn>
              <a:cxn ang="0">
                <a:pos x="connsiteX45714" y="connsiteY45714"/>
              </a:cxn>
              <a:cxn ang="0">
                <a:pos x="connsiteX45715" y="connsiteY45715"/>
              </a:cxn>
              <a:cxn ang="0">
                <a:pos x="connsiteX45716" y="connsiteY45716"/>
              </a:cxn>
              <a:cxn ang="0">
                <a:pos x="connsiteX45717" y="connsiteY45717"/>
              </a:cxn>
              <a:cxn ang="0">
                <a:pos x="connsiteX45718" y="connsiteY45718"/>
              </a:cxn>
              <a:cxn ang="0">
                <a:pos x="connsiteX45719" y="connsiteY45719"/>
              </a:cxn>
              <a:cxn ang="0">
                <a:pos x="connsiteX45720" y="connsiteY45720"/>
              </a:cxn>
              <a:cxn ang="0">
                <a:pos x="connsiteX45721" y="connsiteY45721"/>
              </a:cxn>
              <a:cxn ang="0">
                <a:pos x="connsiteX45722" y="connsiteY45722"/>
              </a:cxn>
              <a:cxn ang="0">
                <a:pos x="connsiteX45723" y="connsiteY45723"/>
              </a:cxn>
              <a:cxn ang="0">
                <a:pos x="connsiteX45724" y="connsiteY45724"/>
              </a:cxn>
              <a:cxn ang="0">
                <a:pos x="connsiteX45725" y="connsiteY45725"/>
              </a:cxn>
              <a:cxn ang="0">
                <a:pos x="connsiteX45726" y="connsiteY45726"/>
              </a:cxn>
              <a:cxn ang="0">
                <a:pos x="connsiteX45727" y="connsiteY45727"/>
              </a:cxn>
              <a:cxn ang="0">
                <a:pos x="connsiteX45728" y="connsiteY45728"/>
              </a:cxn>
              <a:cxn ang="0">
                <a:pos x="connsiteX45729" y="connsiteY45729"/>
              </a:cxn>
              <a:cxn ang="0">
                <a:pos x="connsiteX45730" y="connsiteY45730"/>
              </a:cxn>
              <a:cxn ang="0">
                <a:pos x="connsiteX45731" y="connsiteY45731"/>
              </a:cxn>
              <a:cxn ang="0">
                <a:pos x="connsiteX45732" y="connsiteY45732"/>
              </a:cxn>
              <a:cxn ang="0">
                <a:pos x="connsiteX45733" y="connsiteY45733"/>
              </a:cxn>
              <a:cxn ang="0">
                <a:pos x="connsiteX45734" y="connsiteY45734"/>
              </a:cxn>
              <a:cxn ang="0">
                <a:pos x="connsiteX45735" y="connsiteY45735"/>
              </a:cxn>
              <a:cxn ang="0">
                <a:pos x="connsiteX45736" y="connsiteY45736"/>
              </a:cxn>
              <a:cxn ang="0">
                <a:pos x="connsiteX45737" y="connsiteY45737"/>
              </a:cxn>
              <a:cxn ang="0">
                <a:pos x="connsiteX45738" y="connsiteY45738"/>
              </a:cxn>
              <a:cxn ang="0">
                <a:pos x="connsiteX45739" y="connsiteY45739"/>
              </a:cxn>
              <a:cxn ang="0">
                <a:pos x="connsiteX45740" y="connsiteY45740"/>
              </a:cxn>
              <a:cxn ang="0">
                <a:pos x="connsiteX45741" y="connsiteY45741"/>
              </a:cxn>
              <a:cxn ang="0">
                <a:pos x="connsiteX45742" y="connsiteY45742"/>
              </a:cxn>
              <a:cxn ang="0">
                <a:pos x="connsiteX45743" y="connsiteY45743"/>
              </a:cxn>
              <a:cxn ang="0">
                <a:pos x="connsiteX45744" y="connsiteY45744"/>
              </a:cxn>
              <a:cxn ang="0">
                <a:pos x="connsiteX45745" y="connsiteY45745"/>
              </a:cxn>
              <a:cxn ang="0">
                <a:pos x="connsiteX45746" y="connsiteY45746"/>
              </a:cxn>
              <a:cxn ang="0">
                <a:pos x="connsiteX45747" y="connsiteY45747"/>
              </a:cxn>
              <a:cxn ang="0">
                <a:pos x="connsiteX45748" y="connsiteY45748"/>
              </a:cxn>
              <a:cxn ang="0">
                <a:pos x="connsiteX45749" y="connsiteY45749"/>
              </a:cxn>
              <a:cxn ang="0">
                <a:pos x="connsiteX45750" y="connsiteY45750"/>
              </a:cxn>
              <a:cxn ang="0">
                <a:pos x="connsiteX45751" y="connsiteY45751"/>
              </a:cxn>
              <a:cxn ang="0">
                <a:pos x="connsiteX45752" y="connsiteY45752"/>
              </a:cxn>
              <a:cxn ang="0">
                <a:pos x="connsiteX45753" y="connsiteY45753"/>
              </a:cxn>
              <a:cxn ang="0">
                <a:pos x="connsiteX45754" y="connsiteY45754"/>
              </a:cxn>
              <a:cxn ang="0">
                <a:pos x="connsiteX45755" y="connsiteY45755"/>
              </a:cxn>
              <a:cxn ang="0">
                <a:pos x="connsiteX45756" y="connsiteY45756"/>
              </a:cxn>
              <a:cxn ang="0">
                <a:pos x="connsiteX45757" y="connsiteY45757"/>
              </a:cxn>
              <a:cxn ang="0">
                <a:pos x="connsiteX45758" y="connsiteY45758"/>
              </a:cxn>
              <a:cxn ang="0">
                <a:pos x="connsiteX45759" y="connsiteY45759"/>
              </a:cxn>
              <a:cxn ang="0">
                <a:pos x="connsiteX45760" y="connsiteY45760"/>
              </a:cxn>
              <a:cxn ang="0">
                <a:pos x="connsiteX45761" y="connsiteY45761"/>
              </a:cxn>
              <a:cxn ang="0">
                <a:pos x="connsiteX45762" y="connsiteY45762"/>
              </a:cxn>
              <a:cxn ang="0">
                <a:pos x="connsiteX45763" y="connsiteY45763"/>
              </a:cxn>
              <a:cxn ang="0">
                <a:pos x="connsiteX45764" y="connsiteY45764"/>
              </a:cxn>
              <a:cxn ang="0">
                <a:pos x="connsiteX45765" y="connsiteY45765"/>
              </a:cxn>
              <a:cxn ang="0">
                <a:pos x="connsiteX45766" y="connsiteY45766"/>
              </a:cxn>
              <a:cxn ang="0">
                <a:pos x="connsiteX45767" y="connsiteY45767"/>
              </a:cxn>
              <a:cxn ang="0">
                <a:pos x="connsiteX45768" y="connsiteY45768"/>
              </a:cxn>
              <a:cxn ang="0">
                <a:pos x="connsiteX45769" y="connsiteY45769"/>
              </a:cxn>
              <a:cxn ang="0">
                <a:pos x="connsiteX45770" y="connsiteY45770"/>
              </a:cxn>
              <a:cxn ang="0">
                <a:pos x="connsiteX45771" y="connsiteY45771"/>
              </a:cxn>
              <a:cxn ang="0">
                <a:pos x="connsiteX45772" y="connsiteY45772"/>
              </a:cxn>
              <a:cxn ang="0">
                <a:pos x="connsiteX45773" y="connsiteY45773"/>
              </a:cxn>
              <a:cxn ang="0">
                <a:pos x="connsiteX45774" y="connsiteY45774"/>
              </a:cxn>
              <a:cxn ang="0">
                <a:pos x="connsiteX45775" y="connsiteY45775"/>
              </a:cxn>
              <a:cxn ang="0">
                <a:pos x="connsiteX45776" y="connsiteY45776"/>
              </a:cxn>
              <a:cxn ang="0">
                <a:pos x="connsiteX45777" y="connsiteY45777"/>
              </a:cxn>
              <a:cxn ang="0">
                <a:pos x="connsiteX45778" y="connsiteY45778"/>
              </a:cxn>
              <a:cxn ang="0">
                <a:pos x="connsiteX45779" y="connsiteY45779"/>
              </a:cxn>
              <a:cxn ang="0">
                <a:pos x="connsiteX45780" y="connsiteY45780"/>
              </a:cxn>
              <a:cxn ang="0">
                <a:pos x="connsiteX45781" y="connsiteY45781"/>
              </a:cxn>
              <a:cxn ang="0">
                <a:pos x="connsiteX45782" y="connsiteY45782"/>
              </a:cxn>
              <a:cxn ang="0">
                <a:pos x="connsiteX45783" y="connsiteY45783"/>
              </a:cxn>
              <a:cxn ang="0">
                <a:pos x="connsiteX45784" y="connsiteY45784"/>
              </a:cxn>
              <a:cxn ang="0">
                <a:pos x="connsiteX45785" y="connsiteY45785"/>
              </a:cxn>
              <a:cxn ang="0">
                <a:pos x="connsiteX45786" y="connsiteY45786"/>
              </a:cxn>
              <a:cxn ang="0">
                <a:pos x="connsiteX45787" y="connsiteY45787"/>
              </a:cxn>
              <a:cxn ang="0">
                <a:pos x="connsiteX45788" y="connsiteY45788"/>
              </a:cxn>
              <a:cxn ang="0">
                <a:pos x="connsiteX45789" y="connsiteY45789"/>
              </a:cxn>
              <a:cxn ang="0">
                <a:pos x="connsiteX45790" y="connsiteY45790"/>
              </a:cxn>
              <a:cxn ang="0">
                <a:pos x="connsiteX45791" y="connsiteY45791"/>
              </a:cxn>
              <a:cxn ang="0">
                <a:pos x="connsiteX45792" y="connsiteY45792"/>
              </a:cxn>
              <a:cxn ang="0">
                <a:pos x="connsiteX45793" y="connsiteY45793"/>
              </a:cxn>
              <a:cxn ang="0">
                <a:pos x="connsiteX45794" y="connsiteY45794"/>
              </a:cxn>
              <a:cxn ang="0">
                <a:pos x="connsiteX45795" y="connsiteY45795"/>
              </a:cxn>
              <a:cxn ang="0">
                <a:pos x="connsiteX45796" y="connsiteY45796"/>
              </a:cxn>
              <a:cxn ang="0">
                <a:pos x="connsiteX45797" y="connsiteY45797"/>
              </a:cxn>
              <a:cxn ang="0">
                <a:pos x="connsiteX45798" y="connsiteY45798"/>
              </a:cxn>
              <a:cxn ang="0">
                <a:pos x="connsiteX45799" y="connsiteY45799"/>
              </a:cxn>
              <a:cxn ang="0">
                <a:pos x="connsiteX45800" y="connsiteY45800"/>
              </a:cxn>
              <a:cxn ang="0">
                <a:pos x="connsiteX45801" y="connsiteY45801"/>
              </a:cxn>
              <a:cxn ang="0">
                <a:pos x="connsiteX45802" y="connsiteY45802"/>
              </a:cxn>
              <a:cxn ang="0">
                <a:pos x="connsiteX45803" y="connsiteY45803"/>
              </a:cxn>
              <a:cxn ang="0">
                <a:pos x="connsiteX45804" y="connsiteY45804"/>
              </a:cxn>
              <a:cxn ang="0">
                <a:pos x="connsiteX45805" y="connsiteY45805"/>
              </a:cxn>
              <a:cxn ang="0">
                <a:pos x="connsiteX45806" y="connsiteY45806"/>
              </a:cxn>
              <a:cxn ang="0">
                <a:pos x="connsiteX45807" y="connsiteY45807"/>
              </a:cxn>
              <a:cxn ang="0">
                <a:pos x="connsiteX45808" y="connsiteY45808"/>
              </a:cxn>
              <a:cxn ang="0">
                <a:pos x="connsiteX45809" y="connsiteY45809"/>
              </a:cxn>
              <a:cxn ang="0">
                <a:pos x="connsiteX45810" y="connsiteY45810"/>
              </a:cxn>
              <a:cxn ang="0">
                <a:pos x="connsiteX45811" y="connsiteY45811"/>
              </a:cxn>
              <a:cxn ang="0">
                <a:pos x="connsiteX45812" y="connsiteY45812"/>
              </a:cxn>
              <a:cxn ang="0">
                <a:pos x="connsiteX45813" y="connsiteY45813"/>
              </a:cxn>
              <a:cxn ang="0">
                <a:pos x="connsiteX45814" y="connsiteY45814"/>
              </a:cxn>
              <a:cxn ang="0">
                <a:pos x="connsiteX45815" y="connsiteY45815"/>
              </a:cxn>
              <a:cxn ang="0">
                <a:pos x="connsiteX45816" y="connsiteY45816"/>
              </a:cxn>
              <a:cxn ang="0">
                <a:pos x="connsiteX45817" y="connsiteY45817"/>
              </a:cxn>
              <a:cxn ang="0">
                <a:pos x="connsiteX45818" y="connsiteY45818"/>
              </a:cxn>
              <a:cxn ang="0">
                <a:pos x="connsiteX45819" y="connsiteY45819"/>
              </a:cxn>
              <a:cxn ang="0">
                <a:pos x="connsiteX45820" y="connsiteY45820"/>
              </a:cxn>
              <a:cxn ang="0">
                <a:pos x="connsiteX45821" y="connsiteY45821"/>
              </a:cxn>
              <a:cxn ang="0">
                <a:pos x="connsiteX45822" y="connsiteY45822"/>
              </a:cxn>
              <a:cxn ang="0">
                <a:pos x="connsiteX45823" y="connsiteY45823"/>
              </a:cxn>
              <a:cxn ang="0">
                <a:pos x="connsiteX45824" y="connsiteY45824"/>
              </a:cxn>
              <a:cxn ang="0">
                <a:pos x="connsiteX45825" y="connsiteY45825"/>
              </a:cxn>
              <a:cxn ang="0">
                <a:pos x="connsiteX45826" y="connsiteY45826"/>
              </a:cxn>
              <a:cxn ang="0">
                <a:pos x="connsiteX45827" y="connsiteY45827"/>
              </a:cxn>
              <a:cxn ang="0">
                <a:pos x="connsiteX45828" y="connsiteY45828"/>
              </a:cxn>
              <a:cxn ang="0">
                <a:pos x="connsiteX45829" y="connsiteY45829"/>
              </a:cxn>
              <a:cxn ang="0">
                <a:pos x="connsiteX45830" y="connsiteY45830"/>
              </a:cxn>
              <a:cxn ang="0">
                <a:pos x="connsiteX45831" y="connsiteY45831"/>
              </a:cxn>
              <a:cxn ang="0">
                <a:pos x="connsiteX45832" y="connsiteY45832"/>
              </a:cxn>
              <a:cxn ang="0">
                <a:pos x="connsiteX45833" y="connsiteY45833"/>
              </a:cxn>
              <a:cxn ang="0">
                <a:pos x="connsiteX45834" y="connsiteY45834"/>
              </a:cxn>
              <a:cxn ang="0">
                <a:pos x="connsiteX45835" y="connsiteY45835"/>
              </a:cxn>
              <a:cxn ang="0">
                <a:pos x="connsiteX45836" y="connsiteY45836"/>
              </a:cxn>
              <a:cxn ang="0">
                <a:pos x="connsiteX45837" y="connsiteY45837"/>
              </a:cxn>
              <a:cxn ang="0">
                <a:pos x="connsiteX45838" y="connsiteY45838"/>
              </a:cxn>
              <a:cxn ang="0">
                <a:pos x="connsiteX45839" y="connsiteY45839"/>
              </a:cxn>
              <a:cxn ang="0">
                <a:pos x="connsiteX45840" y="connsiteY45840"/>
              </a:cxn>
              <a:cxn ang="0">
                <a:pos x="connsiteX45841" y="connsiteY45841"/>
              </a:cxn>
              <a:cxn ang="0">
                <a:pos x="connsiteX45842" y="connsiteY45842"/>
              </a:cxn>
              <a:cxn ang="0">
                <a:pos x="connsiteX45843" y="connsiteY45843"/>
              </a:cxn>
              <a:cxn ang="0">
                <a:pos x="connsiteX45844" y="connsiteY45844"/>
              </a:cxn>
              <a:cxn ang="0">
                <a:pos x="connsiteX45845" y="connsiteY45845"/>
              </a:cxn>
              <a:cxn ang="0">
                <a:pos x="connsiteX45846" y="connsiteY45846"/>
              </a:cxn>
              <a:cxn ang="0">
                <a:pos x="connsiteX45847" y="connsiteY45847"/>
              </a:cxn>
              <a:cxn ang="0">
                <a:pos x="connsiteX45848" y="connsiteY45848"/>
              </a:cxn>
              <a:cxn ang="0">
                <a:pos x="connsiteX45849" y="connsiteY45849"/>
              </a:cxn>
              <a:cxn ang="0">
                <a:pos x="connsiteX45850" y="connsiteY45850"/>
              </a:cxn>
              <a:cxn ang="0">
                <a:pos x="connsiteX45851" y="connsiteY45851"/>
              </a:cxn>
              <a:cxn ang="0">
                <a:pos x="connsiteX45852" y="connsiteY45852"/>
              </a:cxn>
              <a:cxn ang="0">
                <a:pos x="connsiteX45853" y="connsiteY45853"/>
              </a:cxn>
              <a:cxn ang="0">
                <a:pos x="connsiteX45854" y="connsiteY45854"/>
              </a:cxn>
              <a:cxn ang="0">
                <a:pos x="connsiteX45855" y="connsiteY45855"/>
              </a:cxn>
              <a:cxn ang="0">
                <a:pos x="connsiteX45856" y="connsiteY45856"/>
              </a:cxn>
              <a:cxn ang="0">
                <a:pos x="connsiteX45857" y="connsiteY45857"/>
              </a:cxn>
              <a:cxn ang="0">
                <a:pos x="connsiteX45858" y="connsiteY45858"/>
              </a:cxn>
              <a:cxn ang="0">
                <a:pos x="connsiteX45859" y="connsiteY45859"/>
              </a:cxn>
              <a:cxn ang="0">
                <a:pos x="connsiteX45860" y="connsiteY45860"/>
              </a:cxn>
              <a:cxn ang="0">
                <a:pos x="connsiteX45861" y="connsiteY45861"/>
              </a:cxn>
              <a:cxn ang="0">
                <a:pos x="connsiteX45862" y="connsiteY45862"/>
              </a:cxn>
              <a:cxn ang="0">
                <a:pos x="connsiteX45863" y="connsiteY45863"/>
              </a:cxn>
              <a:cxn ang="0">
                <a:pos x="connsiteX45864" y="connsiteY45864"/>
              </a:cxn>
              <a:cxn ang="0">
                <a:pos x="connsiteX45865" y="connsiteY45865"/>
              </a:cxn>
              <a:cxn ang="0">
                <a:pos x="connsiteX45866" y="connsiteY45866"/>
              </a:cxn>
              <a:cxn ang="0">
                <a:pos x="connsiteX45867" y="connsiteY45867"/>
              </a:cxn>
              <a:cxn ang="0">
                <a:pos x="connsiteX45868" y="connsiteY45868"/>
              </a:cxn>
              <a:cxn ang="0">
                <a:pos x="connsiteX45869" y="connsiteY45869"/>
              </a:cxn>
              <a:cxn ang="0">
                <a:pos x="connsiteX45870" y="connsiteY45870"/>
              </a:cxn>
              <a:cxn ang="0">
                <a:pos x="connsiteX45871" y="connsiteY45871"/>
              </a:cxn>
              <a:cxn ang="0">
                <a:pos x="connsiteX45872" y="connsiteY45872"/>
              </a:cxn>
              <a:cxn ang="0">
                <a:pos x="connsiteX45873" y="connsiteY45873"/>
              </a:cxn>
              <a:cxn ang="0">
                <a:pos x="connsiteX45874" y="connsiteY45874"/>
              </a:cxn>
              <a:cxn ang="0">
                <a:pos x="connsiteX45875" y="connsiteY45875"/>
              </a:cxn>
              <a:cxn ang="0">
                <a:pos x="connsiteX45876" y="connsiteY45876"/>
              </a:cxn>
              <a:cxn ang="0">
                <a:pos x="connsiteX45877" y="connsiteY45877"/>
              </a:cxn>
              <a:cxn ang="0">
                <a:pos x="connsiteX45878" y="connsiteY45878"/>
              </a:cxn>
              <a:cxn ang="0">
                <a:pos x="connsiteX45879" y="connsiteY45879"/>
              </a:cxn>
              <a:cxn ang="0">
                <a:pos x="connsiteX45880" y="connsiteY45880"/>
              </a:cxn>
              <a:cxn ang="0">
                <a:pos x="connsiteX45881" y="connsiteY45881"/>
              </a:cxn>
              <a:cxn ang="0">
                <a:pos x="connsiteX45882" y="connsiteY45882"/>
              </a:cxn>
              <a:cxn ang="0">
                <a:pos x="connsiteX45883" y="connsiteY45883"/>
              </a:cxn>
              <a:cxn ang="0">
                <a:pos x="connsiteX45884" y="connsiteY45884"/>
              </a:cxn>
              <a:cxn ang="0">
                <a:pos x="connsiteX45885" y="connsiteY45885"/>
              </a:cxn>
              <a:cxn ang="0">
                <a:pos x="connsiteX45886" y="connsiteY45886"/>
              </a:cxn>
              <a:cxn ang="0">
                <a:pos x="connsiteX45887" y="connsiteY45887"/>
              </a:cxn>
              <a:cxn ang="0">
                <a:pos x="connsiteX45888" y="connsiteY45888"/>
              </a:cxn>
              <a:cxn ang="0">
                <a:pos x="connsiteX45889" y="connsiteY45889"/>
              </a:cxn>
              <a:cxn ang="0">
                <a:pos x="connsiteX45890" y="connsiteY45890"/>
              </a:cxn>
              <a:cxn ang="0">
                <a:pos x="connsiteX45891" y="connsiteY45891"/>
              </a:cxn>
              <a:cxn ang="0">
                <a:pos x="connsiteX45892" y="connsiteY45892"/>
              </a:cxn>
              <a:cxn ang="0">
                <a:pos x="connsiteX45893" y="connsiteY45893"/>
              </a:cxn>
              <a:cxn ang="0">
                <a:pos x="connsiteX45894" y="connsiteY45894"/>
              </a:cxn>
              <a:cxn ang="0">
                <a:pos x="connsiteX45895" y="connsiteY45895"/>
              </a:cxn>
              <a:cxn ang="0">
                <a:pos x="connsiteX45896" y="connsiteY45896"/>
              </a:cxn>
              <a:cxn ang="0">
                <a:pos x="connsiteX45897" y="connsiteY45897"/>
              </a:cxn>
              <a:cxn ang="0">
                <a:pos x="connsiteX45898" y="connsiteY45898"/>
              </a:cxn>
              <a:cxn ang="0">
                <a:pos x="connsiteX45899" y="connsiteY45899"/>
              </a:cxn>
              <a:cxn ang="0">
                <a:pos x="connsiteX45900" y="connsiteY45900"/>
              </a:cxn>
              <a:cxn ang="0">
                <a:pos x="connsiteX45901" y="connsiteY45901"/>
              </a:cxn>
              <a:cxn ang="0">
                <a:pos x="connsiteX45902" y="connsiteY45902"/>
              </a:cxn>
              <a:cxn ang="0">
                <a:pos x="connsiteX45903" y="connsiteY45903"/>
              </a:cxn>
              <a:cxn ang="0">
                <a:pos x="connsiteX45904" y="connsiteY45904"/>
              </a:cxn>
              <a:cxn ang="0">
                <a:pos x="connsiteX45905" y="connsiteY45905"/>
              </a:cxn>
              <a:cxn ang="0">
                <a:pos x="connsiteX45906" y="connsiteY45906"/>
              </a:cxn>
              <a:cxn ang="0">
                <a:pos x="connsiteX45907" y="connsiteY45907"/>
              </a:cxn>
              <a:cxn ang="0">
                <a:pos x="connsiteX45908" y="connsiteY45908"/>
              </a:cxn>
              <a:cxn ang="0">
                <a:pos x="connsiteX45909" y="connsiteY45909"/>
              </a:cxn>
              <a:cxn ang="0">
                <a:pos x="connsiteX45910" y="connsiteY45910"/>
              </a:cxn>
              <a:cxn ang="0">
                <a:pos x="connsiteX45911" y="connsiteY45911"/>
              </a:cxn>
              <a:cxn ang="0">
                <a:pos x="connsiteX45912" y="connsiteY45912"/>
              </a:cxn>
              <a:cxn ang="0">
                <a:pos x="connsiteX45913" y="connsiteY45913"/>
              </a:cxn>
              <a:cxn ang="0">
                <a:pos x="connsiteX45914" y="connsiteY45914"/>
              </a:cxn>
              <a:cxn ang="0">
                <a:pos x="connsiteX45915" y="connsiteY45915"/>
              </a:cxn>
              <a:cxn ang="0">
                <a:pos x="connsiteX45916" y="connsiteY45916"/>
              </a:cxn>
              <a:cxn ang="0">
                <a:pos x="connsiteX45917" y="connsiteY45917"/>
              </a:cxn>
              <a:cxn ang="0">
                <a:pos x="connsiteX45918" y="connsiteY45918"/>
              </a:cxn>
              <a:cxn ang="0">
                <a:pos x="connsiteX45919" y="connsiteY45919"/>
              </a:cxn>
              <a:cxn ang="0">
                <a:pos x="connsiteX45920" y="connsiteY45920"/>
              </a:cxn>
              <a:cxn ang="0">
                <a:pos x="connsiteX45921" y="connsiteY45921"/>
              </a:cxn>
              <a:cxn ang="0">
                <a:pos x="connsiteX45922" y="connsiteY45922"/>
              </a:cxn>
              <a:cxn ang="0">
                <a:pos x="connsiteX45923" y="connsiteY45923"/>
              </a:cxn>
              <a:cxn ang="0">
                <a:pos x="connsiteX45924" y="connsiteY45924"/>
              </a:cxn>
              <a:cxn ang="0">
                <a:pos x="connsiteX45925" y="connsiteY45925"/>
              </a:cxn>
              <a:cxn ang="0">
                <a:pos x="connsiteX45926" y="connsiteY45926"/>
              </a:cxn>
              <a:cxn ang="0">
                <a:pos x="connsiteX45927" y="connsiteY45927"/>
              </a:cxn>
              <a:cxn ang="0">
                <a:pos x="connsiteX45928" y="connsiteY45928"/>
              </a:cxn>
              <a:cxn ang="0">
                <a:pos x="connsiteX45929" y="connsiteY45929"/>
              </a:cxn>
              <a:cxn ang="0">
                <a:pos x="connsiteX45930" y="connsiteY45930"/>
              </a:cxn>
              <a:cxn ang="0">
                <a:pos x="connsiteX45931" y="connsiteY45931"/>
              </a:cxn>
              <a:cxn ang="0">
                <a:pos x="connsiteX45932" y="connsiteY45932"/>
              </a:cxn>
              <a:cxn ang="0">
                <a:pos x="connsiteX45933" y="connsiteY45933"/>
              </a:cxn>
              <a:cxn ang="0">
                <a:pos x="connsiteX45934" y="connsiteY45934"/>
              </a:cxn>
              <a:cxn ang="0">
                <a:pos x="connsiteX45935" y="connsiteY45935"/>
              </a:cxn>
              <a:cxn ang="0">
                <a:pos x="connsiteX45936" y="connsiteY45936"/>
              </a:cxn>
              <a:cxn ang="0">
                <a:pos x="connsiteX45937" y="connsiteY45937"/>
              </a:cxn>
              <a:cxn ang="0">
                <a:pos x="connsiteX45938" y="connsiteY45938"/>
              </a:cxn>
              <a:cxn ang="0">
                <a:pos x="connsiteX45939" y="connsiteY45939"/>
              </a:cxn>
              <a:cxn ang="0">
                <a:pos x="connsiteX45940" y="connsiteY45940"/>
              </a:cxn>
              <a:cxn ang="0">
                <a:pos x="connsiteX45941" y="connsiteY45941"/>
              </a:cxn>
              <a:cxn ang="0">
                <a:pos x="connsiteX45942" y="connsiteY45942"/>
              </a:cxn>
              <a:cxn ang="0">
                <a:pos x="connsiteX45943" y="connsiteY45943"/>
              </a:cxn>
              <a:cxn ang="0">
                <a:pos x="connsiteX45944" y="connsiteY45944"/>
              </a:cxn>
              <a:cxn ang="0">
                <a:pos x="connsiteX45945" y="connsiteY45945"/>
              </a:cxn>
              <a:cxn ang="0">
                <a:pos x="connsiteX45946" y="connsiteY45946"/>
              </a:cxn>
              <a:cxn ang="0">
                <a:pos x="connsiteX45947" y="connsiteY45947"/>
              </a:cxn>
              <a:cxn ang="0">
                <a:pos x="connsiteX45948" y="connsiteY45948"/>
              </a:cxn>
              <a:cxn ang="0">
                <a:pos x="connsiteX45949" y="connsiteY45949"/>
              </a:cxn>
              <a:cxn ang="0">
                <a:pos x="connsiteX45950" y="connsiteY45950"/>
              </a:cxn>
              <a:cxn ang="0">
                <a:pos x="connsiteX45951" y="connsiteY45951"/>
              </a:cxn>
              <a:cxn ang="0">
                <a:pos x="connsiteX45952" y="connsiteY45952"/>
              </a:cxn>
              <a:cxn ang="0">
                <a:pos x="connsiteX45953" y="connsiteY45953"/>
              </a:cxn>
              <a:cxn ang="0">
                <a:pos x="connsiteX45954" y="connsiteY45954"/>
              </a:cxn>
              <a:cxn ang="0">
                <a:pos x="connsiteX45955" y="connsiteY45955"/>
              </a:cxn>
              <a:cxn ang="0">
                <a:pos x="connsiteX45956" y="connsiteY45956"/>
              </a:cxn>
              <a:cxn ang="0">
                <a:pos x="connsiteX45957" y="connsiteY45957"/>
              </a:cxn>
              <a:cxn ang="0">
                <a:pos x="connsiteX45958" y="connsiteY45958"/>
              </a:cxn>
              <a:cxn ang="0">
                <a:pos x="connsiteX45959" y="connsiteY45959"/>
              </a:cxn>
              <a:cxn ang="0">
                <a:pos x="connsiteX45960" y="connsiteY45960"/>
              </a:cxn>
              <a:cxn ang="0">
                <a:pos x="connsiteX45961" y="connsiteY45961"/>
              </a:cxn>
              <a:cxn ang="0">
                <a:pos x="connsiteX45962" y="connsiteY45962"/>
              </a:cxn>
              <a:cxn ang="0">
                <a:pos x="connsiteX45963" y="connsiteY45963"/>
              </a:cxn>
              <a:cxn ang="0">
                <a:pos x="connsiteX45964" y="connsiteY45964"/>
              </a:cxn>
              <a:cxn ang="0">
                <a:pos x="connsiteX45965" y="connsiteY45965"/>
              </a:cxn>
              <a:cxn ang="0">
                <a:pos x="connsiteX45966" y="connsiteY45966"/>
              </a:cxn>
              <a:cxn ang="0">
                <a:pos x="connsiteX45967" y="connsiteY45967"/>
              </a:cxn>
              <a:cxn ang="0">
                <a:pos x="connsiteX45968" y="connsiteY45968"/>
              </a:cxn>
              <a:cxn ang="0">
                <a:pos x="connsiteX45969" y="connsiteY45969"/>
              </a:cxn>
              <a:cxn ang="0">
                <a:pos x="connsiteX45970" y="connsiteY45970"/>
              </a:cxn>
              <a:cxn ang="0">
                <a:pos x="connsiteX45971" y="connsiteY45971"/>
              </a:cxn>
              <a:cxn ang="0">
                <a:pos x="connsiteX45972" y="connsiteY45972"/>
              </a:cxn>
              <a:cxn ang="0">
                <a:pos x="connsiteX45973" y="connsiteY45973"/>
              </a:cxn>
              <a:cxn ang="0">
                <a:pos x="connsiteX45974" y="connsiteY45974"/>
              </a:cxn>
              <a:cxn ang="0">
                <a:pos x="connsiteX45975" y="connsiteY45975"/>
              </a:cxn>
              <a:cxn ang="0">
                <a:pos x="connsiteX45976" y="connsiteY45976"/>
              </a:cxn>
              <a:cxn ang="0">
                <a:pos x="connsiteX45977" y="connsiteY45977"/>
              </a:cxn>
              <a:cxn ang="0">
                <a:pos x="connsiteX45978" y="connsiteY45978"/>
              </a:cxn>
              <a:cxn ang="0">
                <a:pos x="connsiteX45979" y="connsiteY45979"/>
              </a:cxn>
              <a:cxn ang="0">
                <a:pos x="connsiteX45980" y="connsiteY45980"/>
              </a:cxn>
              <a:cxn ang="0">
                <a:pos x="connsiteX45981" y="connsiteY45981"/>
              </a:cxn>
              <a:cxn ang="0">
                <a:pos x="connsiteX45982" y="connsiteY45982"/>
              </a:cxn>
              <a:cxn ang="0">
                <a:pos x="connsiteX45983" y="connsiteY45983"/>
              </a:cxn>
              <a:cxn ang="0">
                <a:pos x="connsiteX45984" y="connsiteY45984"/>
              </a:cxn>
              <a:cxn ang="0">
                <a:pos x="connsiteX45985" y="connsiteY45985"/>
              </a:cxn>
              <a:cxn ang="0">
                <a:pos x="connsiteX45986" y="connsiteY45986"/>
              </a:cxn>
              <a:cxn ang="0">
                <a:pos x="connsiteX45987" y="connsiteY45987"/>
              </a:cxn>
              <a:cxn ang="0">
                <a:pos x="connsiteX45988" y="connsiteY45988"/>
              </a:cxn>
              <a:cxn ang="0">
                <a:pos x="connsiteX45989" y="connsiteY45989"/>
              </a:cxn>
              <a:cxn ang="0">
                <a:pos x="connsiteX45990" y="connsiteY45990"/>
              </a:cxn>
              <a:cxn ang="0">
                <a:pos x="connsiteX45991" y="connsiteY45991"/>
              </a:cxn>
              <a:cxn ang="0">
                <a:pos x="connsiteX45992" y="connsiteY45992"/>
              </a:cxn>
              <a:cxn ang="0">
                <a:pos x="connsiteX45993" y="connsiteY45993"/>
              </a:cxn>
              <a:cxn ang="0">
                <a:pos x="connsiteX45994" y="connsiteY45994"/>
              </a:cxn>
              <a:cxn ang="0">
                <a:pos x="connsiteX45995" y="connsiteY45995"/>
              </a:cxn>
              <a:cxn ang="0">
                <a:pos x="connsiteX45996" y="connsiteY45996"/>
              </a:cxn>
              <a:cxn ang="0">
                <a:pos x="connsiteX45997" y="connsiteY45997"/>
              </a:cxn>
              <a:cxn ang="0">
                <a:pos x="connsiteX45998" y="connsiteY45998"/>
              </a:cxn>
              <a:cxn ang="0">
                <a:pos x="connsiteX45999" y="connsiteY45999"/>
              </a:cxn>
              <a:cxn ang="0">
                <a:pos x="connsiteX46000" y="connsiteY46000"/>
              </a:cxn>
              <a:cxn ang="0">
                <a:pos x="connsiteX46001" y="connsiteY46001"/>
              </a:cxn>
              <a:cxn ang="0">
                <a:pos x="connsiteX46002" y="connsiteY46002"/>
              </a:cxn>
              <a:cxn ang="0">
                <a:pos x="connsiteX46003" y="connsiteY46003"/>
              </a:cxn>
              <a:cxn ang="0">
                <a:pos x="connsiteX46004" y="connsiteY46004"/>
              </a:cxn>
              <a:cxn ang="0">
                <a:pos x="connsiteX46005" y="connsiteY46005"/>
              </a:cxn>
              <a:cxn ang="0">
                <a:pos x="connsiteX46006" y="connsiteY46006"/>
              </a:cxn>
              <a:cxn ang="0">
                <a:pos x="connsiteX46007" y="connsiteY46007"/>
              </a:cxn>
              <a:cxn ang="0">
                <a:pos x="connsiteX46008" y="connsiteY46008"/>
              </a:cxn>
              <a:cxn ang="0">
                <a:pos x="connsiteX46009" y="connsiteY46009"/>
              </a:cxn>
              <a:cxn ang="0">
                <a:pos x="connsiteX46010" y="connsiteY46010"/>
              </a:cxn>
              <a:cxn ang="0">
                <a:pos x="connsiteX46011" y="connsiteY46011"/>
              </a:cxn>
              <a:cxn ang="0">
                <a:pos x="connsiteX46012" y="connsiteY46012"/>
              </a:cxn>
              <a:cxn ang="0">
                <a:pos x="connsiteX46013" y="connsiteY46013"/>
              </a:cxn>
              <a:cxn ang="0">
                <a:pos x="connsiteX46014" y="connsiteY46014"/>
              </a:cxn>
              <a:cxn ang="0">
                <a:pos x="connsiteX46015" y="connsiteY46015"/>
              </a:cxn>
              <a:cxn ang="0">
                <a:pos x="connsiteX46016" y="connsiteY46016"/>
              </a:cxn>
              <a:cxn ang="0">
                <a:pos x="connsiteX46017" y="connsiteY46017"/>
              </a:cxn>
              <a:cxn ang="0">
                <a:pos x="connsiteX46018" y="connsiteY46018"/>
              </a:cxn>
              <a:cxn ang="0">
                <a:pos x="connsiteX46019" y="connsiteY46019"/>
              </a:cxn>
              <a:cxn ang="0">
                <a:pos x="connsiteX46020" y="connsiteY46020"/>
              </a:cxn>
              <a:cxn ang="0">
                <a:pos x="connsiteX46021" y="connsiteY46021"/>
              </a:cxn>
              <a:cxn ang="0">
                <a:pos x="connsiteX46022" y="connsiteY46022"/>
              </a:cxn>
              <a:cxn ang="0">
                <a:pos x="connsiteX46023" y="connsiteY46023"/>
              </a:cxn>
              <a:cxn ang="0">
                <a:pos x="connsiteX46024" y="connsiteY46024"/>
              </a:cxn>
              <a:cxn ang="0">
                <a:pos x="connsiteX46025" y="connsiteY46025"/>
              </a:cxn>
              <a:cxn ang="0">
                <a:pos x="connsiteX46026" y="connsiteY46026"/>
              </a:cxn>
              <a:cxn ang="0">
                <a:pos x="connsiteX46027" y="connsiteY46027"/>
              </a:cxn>
              <a:cxn ang="0">
                <a:pos x="connsiteX46028" y="connsiteY46028"/>
              </a:cxn>
              <a:cxn ang="0">
                <a:pos x="connsiteX46029" y="connsiteY46029"/>
              </a:cxn>
              <a:cxn ang="0">
                <a:pos x="connsiteX46030" y="connsiteY46030"/>
              </a:cxn>
              <a:cxn ang="0">
                <a:pos x="connsiteX46031" y="connsiteY46031"/>
              </a:cxn>
              <a:cxn ang="0">
                <a:pos x="connsiteX46032" y="connsiteY46032"/>
              </a:cxn>
              <a:cxn ang="0">
                <a:pos x="connsiteX46033" y="connsiteY46033"/>
              </a:cxn>
              <a:cxn ang="0">
                <a:pos x="connsiteX46034" y="connsiteY46034"/>
              </a:cxn>
              <a:cxn ang="0">
                <a:pos x="connsiteX46035" y="connsiteY46035"/>
              </a:cxn>
              <a:cxn ang="0">
                <a:pos x="connsiteX46036" y="connsiteY46036"/>
              </a:cxn>
              <a:cxn ang="0">
                <a:pos x="connsiteX46037" y="connsiteY46037"/>
              </a:cxn>
              <a:cxn ang="0">
                <a:pos x="connsiteX46038" y="connsiteY46038"/>
              </a:cxn>
              <a:cxn ang="0">
                <a:pos x="connsiteX46039" y="connsiteY46039"/>
              </a:cxn>
              <a:cxn ang="0">
                <a:pos x="connsiteX46040" y="connsiteY46040"/>
              </a:cxn>
              <a:cxn ang="0">
                <a:pos x="connsiteX46041" y="connsiteY46041"/>
              </a:cxn>
              <a:cxn ang="0">
                <a:pos x="connsiteX46042" y="connsiteY46042"/>
              </a:cxn>
              <a:cxn ang="0">
                <a:pos x="connsiteX46043" y="connsiteY46043"/>
              </a:cxn>
              <a:cxn ang="0">
                <a:pos x="connsiteX46044" y="connsiteY46044"/>
              </a:cxn>
              <a:cxn ang="0">
                <a:pos x="connsiteX46045" y="connsiteY46045"/>
              </a:cxn>
              <a:cxn ang="0">
                <a:pos x="connsiteX46046" y="connsiteY46046"/>
              </a:cxn>
              <a:cxn ang="0">
                <a:pos x="connsiteX46047" y="connsiteY46047"/>
              </a:cxn>
              <a:cxn ang="0">
                <a:pos x="connsiteX46048" y="connsiteY46048"/>
              </a:cxn>
              <a:cxn ang="0">
                <a:pos x="connsiteX46049" y="connsiteY46049"/>
              </a:cxn>
              <a:cxn ang="0">
                <a:pos x="connsiteX46050" y="connsiteY46050"/>
              </a:cxn>
              <a:cxn ang="0">
                <a:pos x="connsiteX46051" y="connsiteY46051"/>
              </a:cxn>
              <a:cxn ang="0">
                <a:pos x="connsiteX46052" y="connsiteY46052"/>
              </a:cxn>
              <a:cxn ang="0">
                <a:pos x="connsiteX46053" y="connsiteY46053"/>
              </a:cxn>
              <a:cxn ang="0">
                <a:pos x="connsiteX46054" y="connsiteY46054"/>
              </a:cxn>
              <a:cxn ang="0">
                <a:pos x="connsiteX46055" y="connsiteY46055"/>
              </a:cxn>
              <a:cxn ang="0">
                <a:pos x="connsiteX46056" y="connsiteY46056"/>
              </a:cxn>
              <a:cxn ang="0">
                <a:pos x="connsiteX46057" y="connsiteY46057"/>
              </a:cxn>
              <a:cxn ang="0">
                <a:pos x="connsiteX46058" y="connsiteY46058"/>
              </a:cxn>
              <a:cxn ang="0">
                <a:pos x="connsiteX46059" y="connsiteY46059"/>
              </a:cxn>
              <a:cxn ang="0">
                <a:pos x="connsiteX46060" y="connsiteY46060"/>
              </a:cxn>
              <a:cxn ang="0">
                <a:pos x="connsiteX46061" y="connsiteY46061"/>
              </a:cxn>
              <a:cxn ang="0">
                <a:pos x="connsiteX46062" y="connsiteY46062"/>
              </a:cxn>
              <a:cxn ang="0">
                <a:pos x="connsiteX46063" y="connsiteY46063"/>
              </a:cxn>
              <a:cxn ang="0">
                <a:pos x="connsiteX46064" y="connsiteY46064"/>
              </a:cxn>
              <a:cxn ang="0">
                <a:pos x="connsiteX46065" y="connsiteY46065"/>
              </a:cxn>
              <a:cxn ang="0">
                <a:pos x="connsiteX46066" y="connsiteY46066"/>
              </a:cxn>
              <a:cxn ang="0">
                <a:pos x="connsiteX46067" y="connsiteY46067"/>
              </a:cxn>
              <a:cxn ang="0">
                <a:pos x="connsiteX46068" y="connsiteY46068"/>
              </a:cxn>
              <a:cxn ang="0">
                <a:pos x="connsiteX46069" y="connsiteY46069"/>
              </a:cxn>
              <a:cxn ang="0">
                <a:pos x="connsiteX46070" y="connsiteY46070"/>
              </a:cxn>
              <a:cxn ang="0">
                <a:pos x="connsiteX46071" y="connsiteY46071"/>
              </a:cxn>
              <a:cxn ang="0">
                <a:pos x="connsiteX46072" y="connsiteY46072"/>
              </a:cxn>
              <a:cxn ang="0">
                <a:pos x="connsiteX46073" y="connsiteY46073"/>
              </a:cxn>
              <a:cxn ang="0">
                <a:pos x="connsiteX46074" y="connsiteY46074"/>
              </a:cxn>
              <a:cxn ang="0">
                <a:pos x="connsiteX46075" y="connsiteY46075"/>
              </a:cxn>
              <a:cxn ang="0">
                <a:pos x="connsiteX46076" y="connsiteY46076"/>
              </a:cxn>
              <a:cxn ang="0">
                <a:pos x="connsiteX46077" y="connsiteY46077"/>
              </a:cxn>
              <a:cxn ang="0">
                <a:pos x="connsiteX46078" y="connsiteY46078"/>
              </a:cxn>
              <a:cxn ang="0">
                <a:pos x="connsiteX46079" y="connsiteY46079"/>
              </a:cxn>
              <a:cxn ang="0">
                <a:pos x="connsiteX46080" y="connsiteY46080"/>
              </a:cxn>
              <a:cxn ang="0">
                <a:pos x="connsiteX46081" y="connsiteY46081"/>
              </a:cxn>
              <a:cxn ang="0">
                <a:pos x="connsiteX46082" y="connsiteY46082"/>
              </a:cxn>
              <a:cxn ang="0">
                <a:pos x="connsiteX46083" y="connsiteY46083"/>
              </a:cxn>
              <a:cxn ang="0">
                <a:pos x="connsiteX46084" y="connsiteY46084"/>
              </a:cxn>
              <a:cxn ang="0">
                <a:pos x="connsiteX46085" y="connsiteY46085"/>
              </a:cxn>
              <a:cxn ang="0">
                <a:pos x="connsiteX46086" y="connsiteY46086"/>
              </a:cxn>
              <a:cxn ang="0">
                <a:pos x="connsiteX46087" y="connsiteY46087"/>
              </a:cxn>
              <a:cxn ang="0">
                <a:pos x="connsiteX46088" y="connsiteY46088"/>
              </a:cxn>
              <a:cxn ang="0">
                <a:pos x="connsiteX46089" y="connsiteY46089"/>
              </a:cxn>
              <a:cxn ang="0">
                <a:pos x="connsiteX46090" y="connsiteY46090"/>
              </a:cxn>
              <a:cxn ang="0">
                <a:pos x="connsiteX46091" y="connsiteY46091"/>
              </a:cxn>
              <a:cxn ang="0">
                <a:pos x="connsiteX46092" y="connsiteY46092"/>
              </a:cxn>
              <a:cxn ang="0">
                <a:pos x="connsiteX46093" y="connsiteY46093"/>
              </a:cxn>
              <a:cxn ang="0">
                <a:pos x="connsiteX46094" y="connsiteY46094"/>
              </a:cxn>
              <a:cxn ang="0">
                <a:pos x="connsiteX46095" y="connsiteY46095"/>
              </a:cxn>
              <a:cxn ang="0">
                <a:pos x="connsiteX46096" y="connsiteY46096"/>
              </a:cxn>
              <a:cxn ang="0">
                <a:pos x="connsiteX46097" y="connsiteY46097"/>
              </a:cxn>
              <a:cxn ang="0">
                <a:pos x="connsiteX46098" y="connsiteY46098"/>
              </a:cxn>
              <a:cxn ang="0">
                <a:pos x="connsiteX46099" y="connsiteY46099"/>
              </a:cxn>
              <a:cxn ang="0">
                <a:pos x="connsiteX46100" y="connsiteY46100"/>
              </a:cxn>
              <a:cxn ang="0">
                <a:pos x="connsiteX46101" y="connsiteY46101"/>
              </a:cxn>
              <a:cxn ang="0">
                <a:pos x="connsiteX46102" y="connsiteY46102"/>
              </a:cxn>
              <a:cxn ang="0">
                <a:pos x="connsiteX46103" y="connsiteY46103"/>
              </a:cxn>
              <a:cxn ang="0">
                <a:pos x="connsiteX46104" y="connsiteY46104"/>
              </a:cxn>
              <a:cxn ang="0">
                <a:pos x="connsiteX46105" y="connsiteY46105"/>
              </a:cxn>
              <a:cxn ang="0">
                <a:pos x="connsiteX46106" y="connsiteY46106"/>
              </a:cxn>
              <a:cxn ang="0">
                <a:pos x="connsiteX46107" y="connsiteY46107"/>
              </a:cxn>
              <a:cxn ang="0">
                <a:pos x="connsiteX46108" y="connsiteY46108"/>
              </a:cxn>
              <a:cxn ang="0">
                <a:pos x="connsiteX46109" y="connsiteY46109"/>
              </a:cxn>
              <a:cxn ang="0">
                <a:pos x="connsiteX46110" y="connsiteY46110"/>
              </a:cxn>
              <a:cxn ang="0">
                <a:pos x="connsiteX46111" y="connsiteY46111"/>
              </a:cxn>
              <a:cxn ang="0">
                <a:pos x="connsiteX46112" y="connsiteY46112"/>
              </a:cxn>
              <a:cxn ang="0">
                <a:pos x="connsiteX46113" y="connsiteY46113"/>
              </a:cxn>
              <a:cxn ang="0">
                <a:pos x="connsiteX46114" y="connsiteY46114"/>
              </a:cxn>
              <a:cxn ang="0">
                <a:pos x="connsiteX46115" y="connsiteY46115"/>
              </a:cxn>
              <a:cxn ang="0">
                <a:pos x="connsiteX46116" y="connsiteY46116"/>
              </a:cxn>
              <a:cxn ang="0">
                <a:pos x="connsiteX46117" y="connsiteY46117"/>
              </a:cxn>
              <a:cxn ang="0">
                <a:pos x="connsiteX46118" y="connsiteY46118"/>
              </a:cxn>
              <a:cxn ang="0">
                <a:pos x="connsiteX46119" y="connsiteY46119"/>
              </a:cxn>
              <a:cxn ang="0">
                <a:pos x="connsiteX46120" y="connsiteY46120"/>
              </a:cxn>
              <a:cxn ang="0">
                <a:pos x="connsiteX46121" y="connsiteY46121"/>
              </a:cxn>
              <a:cxn ang="0">
                <a:pos x="connsiteX46122" y="connsiteY46122"/>
              </a:cxn>
              <a:cxn ang="0">
                <a:pos x="connsiteX46123" y="connsiteY46123"/>
              </a:cxn>
              <a:cxn ang="0">
                <a:pos x="connsiteX46124" y="connsiteY46124"/>
              </a:cxn>
              <a:cxn ang="0">
                <a:pos x="connsiteX46125" y="connsiteY46125"/>
              </a:cxn>
              <a:cxn ang="0">
                <a:pos x="connsiteX46126" y="connsiteY46126"/>
              </a:cxn>
              <a:cxn ang="0">
                <a:pos x="connsiteX46127" y="connsiteY46127"/>
              </a:cxn>
              <a:cxn ang="0">
                <a:pos x="connsiteX46128" y="connsiteY46128"/>
              </a:cxn>
              <a:cxn ang="0">
                <a:pos x="connsiteX46129" y="connsiteY46129"/>
              </a:cxn>
              <a:cxn ang="0">
                <a:pos x="connsiteX46130" y="connsiteY46130"/>
              </a:cxn>
              <a:cxn ang="0">
                <a:pos x="connsiteX46131" y="connsiteY46131"/>
              </a:cxn>
              <a:cxn ang="0">
                <a:pos x="connsiteX46132" y="connsiteY46132"/>
              </a:cxn>
              <a:cxn ang="0">
                <a:pos x="connsiteX46133" y="connsiteY46133"/>
              </a:cxn>
              <a:cxn ang="0">
                <a:pos x="connsiteX46134" y="connsiteY46134"/>
              </a:cxn>
              <a:cxn ang="0">
                <a:pos x="connsiteX46135" y="connsiteY46135"/>
              </a:cxn>
              <a:cxn ang="0">
                <a:pos x="connsiteX46136" y="connsiteY46136"/>
              </a:cxn>
              <a:cxn ang="0">
                <a:pos x="connsiteX46137" y="connsiteY46137"/>
              </a:cxn>
              <a:cxn ang="0">
                <a:pos x="connsiteX46138" y="connsiteY46138"/>
              </a:cxn>
              <a:cxn ang="0">
                <a:pos x="connsiteX46139" y="connsiteY46139"/>
              </a:cxn>
              <a:cxn ang="0">
                <a:pos x="connsiteX46140" y="connsiteY46140"/>
              </a:cxn>
              <a:cxn ang="0">
                <a:pos x="connsiteX46141" y="connsiteY46141"/>
              </a:cxn>
              <a:cxn ang="0">
                <a:pos x="connsiteX46142" y="connsiteY46142"/>
              </a:cxn>
              <a:cxn ang="0">
                <a:pos x="connsiteX46143" y="connsiteY46143"/>
              </a:cxn>
              <a:cxn ang="0">
                <a:pos x="connsiteX46144" y="connsiteY46144"/>
              </a:cxn>
              <a:cxn ang="0">
                <a:pos x="connsiteX46145" y="connsiteY46145"/>
              </a:cxn>
              <a:cxn ang="0">
                <a:pos x="connsiteX46146" y="connsiteY46146"/>
              </a:cxn>
              <a:cxn ang="0">
                <a:pos x="connsiteX46147" y="connsiteY46147"/>
              </a:cxn>
              <a:cxn ang="0">
                <a:pos x="connsiteX46148" y="connsiteY46148"/>
              </a:cxn>
              <a:cxn ang="0">
                <a:pos x="connsiteX46149" y="connsiteY46149"/>
              </a:cxn>
              <a:cxn ang="0">
                <a:pos x="connsiteX46150" y="connsiteY46150"/>
              </a:cxn>
              <a:cxn ang="0">
                <a:pos x="connsiteX46151" y="connsiteY46151"/>
              </a:cxn>
              <a:cxn ang="0">
                <a:pos x="connsiteX46152" y="connsiteY46152"/>
              </a:cxn>
              <a:cxn ang="0">
                <a:pos x="connsiteX46153" y="connsiteY46153"/>
              </a:cxn>
              <a:cxn ang="0">
                <a:pos x="connsiteX46154" y="connsiteY46154"/>
              </a:cxn>
              <a:cxn ang="0">
                <a:pos x="connsiteX46155" y="connsiteY46155"/>
              </a:cxn>
              <a:cxn ang="0">
                <a:pos x="connsiteX46156" y="connsiteY46156"/>
              </a:cxn>
              <a:cxn ang="0">
                <a:pos x="connsiteX46157" y="connsiteY46157"/>
              </a:cxn>
              <a:cxn ang="0">
                <a:pos x="connsiteX46158" y="connsiteY46158"/>
              </a:cxn>
              <a:cxn ang="0">
                <a:pos x="connsiteX46159" y="connsiteY46159"/>
              </a:cxn>
              <a:cxn ang="0">
                <a:pos x="connsiteX46160" y="connsiteY46160"/>
              </a:cxn>
              <a:cxn ang="0">
                <a:pos x="connsiteX46161" y="connsiteY46161"/>
              </a:cxn>
              <a:cxn ang="0">
                <a:pos x="connsiteX46162" y="connsiteY46162"/>
              </a:cxn>
              <a:cxn ang="0">
                <a:pos x="connsiteX46163" y="connsiteY46163"/>
              </a:cxn>
              <a:cxn ang="0">
                <a:pos x="connsiteX46164" y="connsiteY46164"/>
              </a:cxn>
              <a:cxn ang="0">
                <a:pos x="connsiteX46165" y="connsiteY46165"/>
              </a:cxn>
              <a:cxn ang="0">
                <a:pos x="connsiteX46166" y="connsiteY46166"/>
              </a:cxn>
              <a:cxn ang="0">
                <a:pos x="connsiteX46167" y="connsiteY46167"/>
              </a:cxn>
              <a:cxn ang="0">
                <a:pos x="connsiteX46168" y="connsiteY46168"/>
              </a:cxn>
              <a:cxn ang="0">
                <a:pos x="connsiteX46169" y="connsiteY46169"/>
              </a:cxn>
              <a:cxn ang="0">
                <a:pos x="connsiteX46170" y="connsiteY46170"/>
              </a:cxn>
              <a:cxn ang="0">
                <a:pos x="connsiteX46171" y="connsiteY46171"/>
              </a:cxn>
              <a:cxn ang="0">
                <a:pos x="connsiteX46172" y="connsiteY46172"/>
              </a:cxn>
              <a:cxn ang="0">
                <a:pos x="connsiteX46173" y="connsiteY46173"/>
              </a:cxn>
              <a:cxn ang="0">
                <a:pos x="connsiteX46174" y="connsiteY46174"/>
              </a:cxn>
              <a:cxn ang="0">
                <a:pos x="connsiteX46175" y="connsiteY46175"/>
              </a:cxn>
              <a:cxn ang="0">
                <a:pos x="connsiteX46176" y="connsiteY46176"/>
              </a:cxn>
              <a:cxn ang="0">
                <a:pos x="connsiteX46177" y="connsiteY46177"/>
              </a:cxn>
              <a:cxn ang="0">
                <a:pos x="connsiteX46178" y="connsiteY46178"/>
              </a:cxn>
              <a:cxn ang="0">
                <a:pos x="connsiteX46179" y="connsiteY46179"/>
              </a:cxn>
              <a:cxn ang="0">
                <a:pos x="connsiteX46180" y="connsiteY46180"/>
              </a:cxn>
              <a:cxn ang="0">
                <a:pos x="connsiteX46181" y="connsiteY46181"/>
              </a:cxn>
              <a:cxn ang="0">
                <a:pos x="connsiteX46182" y="connsiteY46182"/>
              </a:cxn>
              <a:cxn ang="0">
                <a:pos x="connsiteX46183" y="connsiteY46183"/>
              </a:cxn>
              <a:cxn ang="0">
                <a:pos x="connsiteX46184" y="connsiteY46184"/>
              </a:cxn>
              <a:cxn ang="0">
                <a:pos x="connsiteX46185" y="connsiteY46185"/>
              </a:cxn>
              <a:cxn ang="0">
                <a:pos x="connsiteX46186" y="connsiteY46186"/>
              </a:cxn>
              <a:cxn ang="0">
                <a:pos x="connsiteX46187" y="connsiteY46187"/>
              </a:cxn>
              <a:cxn ang="0">
                <a:pos x="connsiteX46188" y="connsiteY46188"/>
              </a:cxn>
              <a:cxn ang="0">
                <a:pos x="connsiteX46189" y="connsiteY46189"/>
              </a:cxn>
              <a:cxn ang="0">
                <a:pos x="connsiteX46190" y="connsiteY46190"/>
              </a:cxn>
              <a:cxn ang="0">
                <a:pos x="connsiteX46191" y="connsiteY46191"/>
              </a:cxn>
              <a:cxn ang="0">
                <a:pos x="connsiteX46192" y="connsiteY46192"/>
              </a:cxn>
              <a:cxn ang="0">
                <a:pos x="connsiteX46193" y="connsiteY46193"/>
              </a:cxn>
              <a:cxn ang="0">
                <a:pos x="connsiteX46194" y="connsiteY46194"/>
              </a:cxn>
              <a:cxn ang="0">
                <a:pos x="connsiteX46195" y="connsiteY46195"/>
              </a:cxn>
              <a:cxn ang="0">
                <a:pos x="connsiteX46196" y="connsiteY46196"/>
              </a:cxn>
              <a:cxn ang="0">
                <a:pos x="connsiteX46197" y="connsiteY46197"/>
              </a:cxn>
              <a:cxn ang="0">
                <a:pos x="connsiteX46198" y="connsiteY46198"/>
              </a:cxn>
              <a:cxn ang="0">
                <a:pos x="connsiteX46199" y="connsiteY46199"/>
              </a:cxn>
              <a:cxn ang="0">
                <a:pos x="connsiteX46200" y="connsiteY46200"/>
              </a:cxn>
              <a:cxn ang="0">
                <a:pos x="connsiteX46201" y="connsiteY46201"/>
              </a:cxn>
              <a:cxn ang="0">
                <a:pos x="connsiteX46202" y="connsiteY46202"/>
              </a:cxn>
              <a:cxn ang="0">
                <a:pos x="connsiteX46203" y="connsiteY46203"/>
              </a:cxn>
              <a:cxn ang="0">
                <a:pos x="connsiteX46204" y="connsiteY46204"/>
              </a:cxn>
              <a:cxn ang="0">
                <a:pos x="connsiteX46205" y="connsiteY46205"/>
              </a:cxn>
              <a:cxn ang="0">
                <a:pos x="connsiteX46206" y="connsiteY46206"/>
              </a:cxn>
              <a:cxn ang="0">
                <a:pos x="connsiteX46207" y="connsiteY46207"/>
              </a:cxn>
              <a:cxn ang="0">
                <a:pos x="connsiteX46208" y="connsiteY46208"/>
              </a:cxn>
              <a:cxn ang="0">
                <a:pos x="connsiteX46209" y="connsiteY46209"/>
              </a:cxn>
              <a:cxn ang="0">
                <a:pos x="connsiteX46210" y="connsiteY46210"/>
              </a:cxn>
              <a:cxn ang="0">
                <a:pos x="connsiteX46211" y="connsiteY46211"/>
              </a:cxn>
              <a:cxn ang="0">
                <a:pos x="connsiteX46212" y="connsiteY46212"/>
              </a:cxn>
              <a:cxn ang="0">
                <a:pos x="connsiteX46213" y="connsiteY46213"/>
              </a:cxn>
              <a:cxn ang="0">
                <a:pos x="connsiteX46214" y="connsiteY46214"/>
              </a:cxn>
              <a:cxn ang="0">
                <a:pos x="connsiteX46215" y="connsiteY46215"/>
              </a:cxn>
              <a:cxn ang="0">
                <a:pos x="connsiteX46216" y="connsiteY46216"/>
              </a:cxn>
              <a:cxn ang="0">
                <a:pos x="connsiteX46217" y="connsiteY46217"/>
              </a:cxn>
              <a:cxn ang="0">
                <a:pos x="connsiteX46218" y="connsiteY46218"/>
              </a:cxn>
              <a:cxn ang="0">
                <a:pos x="connsiteX46219" y="connsiteY46219"/>
              </a:cxn>
              <a:cxn ang="0">
                <a:pos x="connsiteX46220" y="connsiteY46220"/>
              </a:cxn>
              <a:cxn ang="0">
                <a:pos x="connsiteX46221" y="connsiteY46221"/>
              </a:cxn>
              <a:cxn ang="0">
                <a:pos x="connsiteX46222" y="connsiteY46222"/>
              </a:cxn>
              <a:cxn ang="0">
                <a:pos x="connsiteX46223" y="connsiteY46223"/>
              </a:cxn>
              <a:cxn ang="0">
                <a:pos x="connsiteX46224" y="connsiteY46224"/>
              </a:cxn>
              <a:cxn ang="0">
                <a:pos x="connsiteX46225" y="connsiteY46225"/>
              </a:cxn>
              <a:cxn ang="0">
                <a:pos x="connsiteX46226" y="connsiteY46226"/>
              </a:cxn>
              <a:cxn ang="0">
                <a:pos x="connsiteX46227" y="connsiteY46227"/>
              </a:cxn>
              <a:cxn ang="0">
                <a:pos x="connsiteX46228" y="connsiteY46228"/>
              </a:cxn>
              <a:cxn ang="0">
                <a:pos x="connsiteX46229" y="connsiteY46229"/>
              </a:cxn>
              <a:cxn ang="0">
                <a:pos x="connsiteX46230" y="connsiteY46230"/>
              </a:cxn>
              <a:cxn ang="0">
                <a:pos x="connsiteX46231" y="connsiteY46231"/>
              </a:cxn>
              <a:cxn ang="0">
                <a:pos x="connsiteX46232" y="connsiteY46232"/>
              </a:cxn>
              <a:cxn ang="0">
                <a:pos x="connsiteX46233" y="connsiteY46233"/>
              </a:cxn>
              <a:cxn ang="0">
                <a:pos x="connsiteX46234" y="connsiteY46234"/>
              </a:cxn>
              <a:cxn ang="0">
                <a:pos x="connsiteX46235" y="connsiteY46235"/>
              </a:cxn>
              <a:cxn ang="0">
                <a:pos x="connsiteX46236" y="connsiteY46236"/>
              </a:cxn>
              <a:cxn ang="0">
                <a:pos x="connsiteX46237" y="connsiteY46237"/>
              </a:cxn>
              <a:cxn ang="0">
                <a:pos x="connsiteX46238" y="connsiteY46238"/>
              </a:cxn>
              <a:cxn ang="0">
                <a:pos x="connsiteX46239" y="connsiteY46239"/>
              </a:cxn>
              <a:cxn ang="0">
                <a:pos x="connsiteX46240" y="connsiteY46240"/>
              </a:cxn>
              <a:cxn ang="0">
                <a:pos x="connsiteX46241" y="connsiteY46241"/>
              </a:cxn>
              <a:cxn ang="0">
                <a:pos x="connsiteX46242" y="connsiteY46242"/>
              </a:cxn>
              <a:cxn ang="0">
                <a:pos x="connsiteX46243" y="connsiteY46243"/>
              </a:cxn>
              <a:cxn ang="0">
                <a:pos x="connsiteX46244" y="connsiteY46244"/>
              </a:cxn>
              <a:cxn ang="0">
                <a:pos x="connsiteX46245" y="connsiteY46245"/>
              </a:cxn>
              <a:cxn ang="0">
                <a:pos x="connsiteX46246" y="connsiteY46246"/>
              </a:cxn>
              <a:cxn ang="0">
                <a:pos x="connsiteX46247" y="connsiteY46247"/>
              </a:cxn>
              <a:cxn ang="0">
                <a:pos x="connsiteX46248" y="connsiteY46248"/>
              </a:cxn>
              <a:cxn ang="0">
                <a:pos x="connsiteX46249" y="connsiteY46249"/>
              </a:cxn>
              <a:cxn ang="0">
                <a:pos x="connsiteX46250" y="connsiteY46250"/>
              </a:cxn>
              <a:cxn ang="0">
                <a:pos x="connsiteX46251" y="connsiteY46251"/>
              </a:cxn>
              <a:cxn ang="0">
                <a:pos x="connsiteX46252" y="connsiteY46252"/>
              </a:cxn>
              <a:cxn ang="0">
                <a:pos x="connsiteX46253" y="connsiteY46253"/>
              </a:cxn>
              <a:cxn ang="0">
                <a:pos x="connsiteX46254" y="connsiteY46254"/>
              </a:cxn>
              <a:cxn ang="0">
                <a:pos x="connsiteX46255" y="connsiteY46255"/>
              </a:cxn>
              <a:cxn ang="0">
                <a:pos x="connsiteX46256" y="connsiteY46256"/>
              </a:cxn>
              <a:cxn ang="0">
                <a:pos x="connsiteX46257" y="connsiteY46257"/>
              </a:cxn>
              <a:cxn ang="0">
                <a:pos x="connsiteX46258" y="connsiteY46258"/>
              </a:cxn>
              <a:cxn ang="0">
                <a:pos x="connsiteX46259" y="connsiteY46259"/>
              </a:cxn>
              <a:cxn ang="0">
                <a:pos x="connsiteX46260" y="connsiteY46260"/>
              </a:cxn>
              <a:cxn ang="0">
                <a:pos x="connsiteX46261" y="connsiteY46261"/>
              </a:cxn>
              <a:cxn ang="0">
                <a:pos x="connsiteX46262" y="connsiteY46262"/>
              </a:cxn>
              <a:cxn ang="0">
                <a:pos x="connsiteX46263" y="connsiteY46263"/>
              </a:cxn>
              <a:cxn ang="0">
                <a:pos x="connsiteX46264" y="connsiteY46264"/>
              </a:cxn>
              <a:cxn ang="0">
                <a:pos x="connsiteX46265" y="connsiteY46265"/>
              </a:cxn>
              <a:cxn ang="0">
                <a:pos x="connsiteX46266" y="connsiteY46266"/>
              </a:cxn>
              <a:cxn ang="0">
                <a:pos x="connsiteX46267" y="connsiteY46267"/>
              </a:cxn>
              <a:cxn ang="0">
                <a:pos x="connsiteX46268" y="connsiteY46268"/>
              </a:cxn>
              <a:cxn ang="0">
                <a:pos x="connsiteX46269" y="connsiteY46269"/>
              </a:cxn>
              <a:cxn ang="0">
                <a:pos x="connsiteX46270" y="connsiteY46270"/>
              </a:cxn>
              <a:cxn ang="0">
                <a:pos x="connsiteX46271" y="connsiteY46271"/>
              </a:cxn>
              <a:cxn ang="0">
                <a:pos x="connsiteX46272" y="connsiteY46272"/>
              </a:cxn>
              <a:cxn ang="0">
                <a:pos x="connsiteX46273" y="connsiteY46273"/>
              </a:cxn>
              <a:cxn ang="0">
                <a:pos x="connsiteX46274" y="connsiteY46274"/>
              </a:cxn>
              <a:cxn ang="0">
                <a:pos x="connsiteX46275" y="connsiteY46275"/>
              </a:cxn>
              <a:cxn ang="0">
                <a:pos x="connsiteX46276" y="connsiteY46276"/>
              </a:cxn>
              <a:cxn ang="0">
                <a:pos x="connsiteX46277" y="connsiteY46277"/>
              </a:cxn>
              <a:cxn ang="0">
                <a:pos x="connsiteX46278" y="connsiteY46278"/>
              </a:cxn>
              <a:cxn ang="0">
                <a:pos x="connsiteX46279" y="connsiteY46279"/>
              </a:cxn>
              <a:cxn ang="0">
                <a:pos x="connsiteX46280" y="connsiteY46280"/>
              </a:cxn>
              <a:cxn ang="0">
                <a:pos x="connsiteX46281" y="connsiteY46281"/>
              </a:cxn>
              <a:cxn ang="0">
                <a:pos x="connsiteX46282" y="connsiteY46282"/>
              </a:cxn>
              <a:cxn ang="0">
                <a:pos x="connsiteX46283" y="connsiteY46283"/>
              </a:cxn>
              <a:cxn ang="0">
                <a:pos x="connsiteX46284" y="connsiteY46284"/>
              </a:cxn>
              <a:cxn ang="0">
                <a:pos x="connsiteX46285" y="connsiteY46285"/>
              </a:cxn>
              <a:cxn ang="0">
                <a:pos x="connsiteX46286" y="connsiteY46286"/>
              </a:cxn>
              <a:cxn ang="0">
                <a:pos x="connsiteX46287" y="connsiteY46287"/>
              </a:cxn>
              <a:cxn ang="0">
                <a:pos x="connsiteX46288" y="connsiteY46288"/>
              </a:cxn>
              <a:cxn ang="0">
                <a:pos x="connsiteX46289" y="connsiteY46289"/>
              </a:cxn>
              <a:cxn ang="0">
                <a:pos x="connsiteX46290" y="connsiteY46290"/>
              </a:cxn>
              <a:cxn ang="0">
                <a:pos x="connsiteX46291" y="connsiteY46291"/>
              </a:cxn>
              <a:cxn ang="0">
                <a:pos x="connsiteX46292" y="connsiteY46292"/>
              </a:cxn>
              <a:cxn ang="0">
                <a:pos x="connsiteX46293" y="connsiteY46293"/>
              </a:cxn>
              <a:cxn ang="0">
                <a:pos x="connsiteX46294" y="connsiteY46294"/>
              </a:cxn>
              <a:cxn ang="0">
                <a:pos x="connsiteX46295" y="connsiteY46295"/>
              </a:cxn>
              <a:cxn ang="0">
                <a:pos x="connsiteX46296" y="connsiteY46296"/>
              </a:cxn>
              <a:cxn ang="0">
                <a:pos x="connsiteX46297" y="connsiteY46297"/>
              </a:cxn>
              <a:cxn ang="0">
                <a:pos x="connsiteX46298" y="connsiteY46298"/>
              </a:cxn>
              <a:cxn ang="0">
                <a:pos x="connsiteX46299" y="connsiteY46299"/>
              </a:cxn>
              <a:cxn ang="0">
                <a:pos x="connsiteX46300" y="connsiteY46300"/>
              </a:cxn>
              <a:cxn ang="0">
                <a:pos x="connsiteX46301" y="connsiteY46301"/>
              </a:cxn>
              <a:cxn ang="0">
                <a:pos x="connsiteX46302" y="connsiteY46302"/>
              </a:cxn>
              <a:cxn ang="0">
                <a:pos x="connsiteX46303" y="connsiteY46303"/>
              </a:cxn>
              <a:cxn ang="0">
                <a:pos x="connsiteX46304" y="connsiteY46304"/>
              </a:cxn>
              <a:cxn ang="0">
                <a:pos x="connsiteX46305" y="connsiteY46305"/>
              </a:cxn>
              <a:cxn ang="0">
                <a:pos x="connsiteX46306" y="connsiteY46306"/>
              </a:cxn>
              <a:cxn ang="0">
                <a:pos x="connsiteX46307" y="connsiteY46307"/>
              </a:cxn>
              <a:cxn ang="0">
                <a:pos x="connsiteX46308" y="connsiteY46308"/>
              </a:cxn>
              <a:cxn ang="0">
                <a:pos x="connsiteX46309" y="connsiteY46309"/>
              </a:cxn>
              <a:cxn ang="0">
                <a:pos x="connsiteX46310" y="connsiteY46310"/>
              </a:cxn>
              <a:cxn ang="0">
                <a:pos x="connsiteX46311" y="connsiteY46311"/>
              </a:cxn>
              <a:cxn ang="0">
                <a:pos x="connsiteX46312" y="connsiteY46312"/>
              </a:cxn>
              <a:cxn ang="0">
                <a:pos x="connsiteX46313" y="connsiteY46313"/>
              </a:cxn>
              <a:cxn ang="0">
                <a:pos x="connsiteX46314" y="connsiteY46314"/>
              </a:cxn>
              <a:cxn ang="0">
                <a:pos x="connsiteX46315" y="connsiteY46315"/>
              </a:cxn>
              <a:cxn ang="0">
                <a:pos x="connsiteX46316" y="connsiteY46316"/>
              </a:cxn>
              <a:cxn ang="0">
                <a:pos x="connsiteX46317" y="connsiteY46317"/>
              </a:cxn>
              <a:cxn ang="0">
                <a:pos x="connsiteX46318" y="connsiteY46318"/>
              </a:cxn>
              <a:cxn ang="0">
                <a:pos x="connsiteX46319" y="connsiteY46319"/>
              </a:cxn>
              <a:cxn ang="0">
                <a:pos x="connsiteX46320" y="connsiteY46320"/>
              </a:cxn>
              <a:cxn ang="0">
                <a:pos x="connsiteX46321" y="connsiteY46321"/>
              </a:cxn>
              <a:cxn ang="0">
                <a:pos x="connsiteX46322" y="connsiteY46322"/>
              </a:cxn>
              <a:cxn ang="0">
                <a:pos x="connsiteX46323" y="connsiteY46323"/>
              </a:cxn>
              <a:cxn ang="0">
                <a:pos x="connsiteX46324" y="connsiteY46324"/>
              </a:cxn>
              <a:cxn ang="0">
                <a:pos x="connsiteX46325" y="connsiteY46325"/>
              </a:cxn>
              <a:cxn ang="0">
                <a:pos x="connsiteX46326" y="connsiteY46326"/>
              </a:cxn>
              <a:cxn ang="0">
                <a:pos x="connsiteX46327" y="connsiteY46327"/>
              </a:cxn>
              <a:cxn ang="0">
                <a:pos x="connsiteX46328" y="connsiteY46328"/>
              </a:cxn>
              <a:cxn ang="0">
                <a:pos x="connsiteX46329" y="connsiteY46329"/>
              </a:cxn>
              <a:cxn ang="0">
                <a:pos x="connsiteX46330" y="connsiteY46330"/>
              </a:cxn>
              <a:cxn ang="0">
                <a:pos x="connsiteX46331" y="connsiteY46331"/>
              </a:cxn>
              <a:cxn ang="0">
                <a:pos x="connsiteX46332" y="connsiteY46332"/>
              </a:cxn>
              <a:cxn ang="0">
                <a:pos x="connsiteX46333" y="connsiteY46333"/>
              </a:cxn>
              <a:cxn ang="0">
                <a:pos x="connsiteX46334" y="connsiteY46334"/>
              </a:cxn>
              <a:cxn ang="0">
                <a:pos x="connsiteX46335" y="connsiteY46335"/>
              </a:cxn>
              <a:cxn ang="0">
                <a:pos x="connsiteX46336" y="connsiteY46336"/>
              </a:cxn>
              <a:cxn ang="0">
                <a:pos x="connsiteX46337" y="connsiteY46337"/>
              </a:cxn>
              <a:cxn ang="0">
                <a:pos x="connsiteX46338" y="connsiteY46338"/>
              </a:cxn>
              <a:cxn ang="0">
                <a:pos x="connsiteX46339" y="connsiteY46339"/>
              </a:cxn>
              <a:cxn ang="0">
                <a:pos x="connsiteX46340" y="connsiteY46340"/>
              </a:cxn>
              <a:cxn ang="0">
                <a:pos x="connsiteX46341" y="connsiteY46341"/>
              </a:cxn>
              <a:cxn ang="0">
                <a:pos x="connsiteX46342" y="connsiteY46342"/>
              </a:cxn>
              <a:cxn ang="0">
                <a:pos x="connsiteX46343" y="connsiteY46343"/>
              </a:cxn>
              <a:cxn ang="0">
                <a:pos x="connsiteX46344" y="connsiteY46344"/>
              </a:cxn>
              <a:cxn ang="0">
                <a:pos x="connsiteX46345" y="connsiteY46345"/>
              </a:cxn>
              <a:cxn ang="0">
                <a:pos x="connsiteX46346" y="connsiteY46346"/>
              </a:cxn>
              <a:cxn ang="0">
                <a:pos x="connsiteX46347" y="connsiteY46347"/>
              </a:cxn>
              <a:cxn ang="0">
                <a:pos x="connsiteX46348" y="connsiteY46348"/>
              </a:cxn>
              <a:cxn ang="0">
                <a:pos x="connsiteX46349" y="connsiteY46349"/>
              </a:cxn>
              <a:cxn ang="0">
                <a:pos x="connsiteX46350" y="connsiteY46350"/>
              </a:cxn>
              <a:cxn ang="0">
                <a:pos x="connsiteX46351" y="connsiteY46351"/>
              </a:cxn>
              <a:cxn ang="0">
                <a:pos x="connsiteX46352" y="connsiteY46352"/>
              </a:cxn>
              <a:cxn ang="0">
                <a:pos x="connsiteX46353" y="connsiteY46353"/>
              </a:cxn>
              <a:cxn ang="0">
                <a:pos x="connsiteX46354" y="connsiteY46354"/>
              </a:cxn>
              <a:cxn ang="0">
                <a:pos x="connsiteX46355" y="connsiteY46355"/>
              </a:cxn>
              <a:cxn ang="0">
                <a:pos x="connsiteX46356" y="connsiteY46356"/>
              </a:cxn>
              <a:cxn ang="0">
                <a:pos x="connsiteX46357" y="connsiteY46357"/>
              </a:cxn>
              <a:cxn ang="0">
                <a:pos x="connsiteX46358" y="connsiteY46358"/>
              </a:cxn>
              <a:cxn ang="0">
                <a:pos x="connsiteX46359" y="connsiteY46359"/>
              </a:cxn>
              <a:cxn ang="0">
                <a:pos x="connsiteX46360" y="connsiteY46360"/>
              </a:cxn>
              <a:cxn ang="0">
                <a:pos x="connsiteX46361" y="connsiteY46361"/>
              </a:cxn>
              <a:cxn ang="0">
                <a:pos x="connsiteX46362" y="connsiteY46362"/>
              </a:cxn>
              <a:cxn ang="0">
                <a:pos x="connsiteX46363" y="connsiteY46363"/>
              </a:cxn>
              <a:cxn ang="0">
                <a:pos x="connsiteX46364" y="connsiteY46364"/>
              </a:cxn>
              <a:cxn ang="0">
                <a:pos x="connsiteX46365" y="connsiteY46365"/>
              </a:cxn>
              <a:cxn ang="0">
                <a:pos x="connsiteX46366" y="connsiteY46366"/>
              </a:cxn>
              <a:cxn ang="0">
                <a:pos x="connsiteX46367" y="connsiteY46367"/>
              </a:cxn>
              <a:cxn ang="0">
                <a:pos x="connsiteX46368" y="connsiteY46368"/>
              </a:cxn>
              <a:cxn ang="0">
                <a:pos x="connsiteX46369" y="connsiteY46369"/>
              </a:cxn>
              <a:cxn ang="0">
                <a:pos x="connsiteX46370" y="connsiteY46370"/>
              </a:cxn>
              <a:cxn ang="0">
                <a:pos x="connsiteX46371" y="connsiteY46371"/>
              </a:cxn>
              <a:cxn ang="0">
                <a:pos x="connsiteX46372" y="connsiteY46372"/>
              </a:cxn>
              <a:cxn ang="0">
                <a:pos x="connsiteX46373" y="connsiteY46373"/>
              </a:cxn>
              <a:cxn ang="0">
                <a:pos x="connsiteX46374" y="connsiteY46374"/>
              </a:cxn>
              <a:cxn ang="0">
                <a:pos x="connsiteX46375" y="connsiteY46375"/>
              </a:cxn>
              <a:cxn ang="0">
                <a:pos x="connsiteX46376" y="connsiteY46376"/>
              </a:cxn>
              <a:cxn ang="0">
                <a:pos x="connsiteX46377" y="connsiteY46377"/>
              </a:cxn>
              <a:cxn ang="0">
                <a:pos x="connsiteX46378" y="connsiteY46378"/>
              </a:cxn>
              <a:cxn ang="0">
                <a:pos x="connsiteX46379" y="connsiteY46379"/>
              </a:cxn>
              <a:cxn ang="0">
                <a:pos x="connsiteX46380" y="connsiteY46380"/>
              </a:cxn>
              <a:cxn ang="0">
                <a:pos x="connsiteX46381" y="connsiteY46381"/>
              </a:cxn>
              <a:cxn ang="0">
                <a:pos x="connsiteX46382" y="connsiteY46382"/>
              </a:cxn>
              <a:cxn ang="0">
                <a:pos x="connsiteX46383" y="connsiteY46383"/>
              </a:cxn>
              <a:cxn ang="0">
                <a:pos x="connsiteX46384" y="connsiteY46384"/>
              </a:cxn>
              <a:cxn ang="0">
                <a:pos x="connsiteX46385" y="connsiteY46385"/>
              </a:cxn>
              <a:cxn ang="0">
                <a:pos x="connsiteX46386" y="connsiteY46386"/>
              </a:cxn>
              <a:cxn ang="0">
                <a:pos x="connsiteX46387" y="connsiteY46387"/>
              </a:cxn>
              <a:cxn ang="0">
                <a:pos x="connsiteX46388" y="connsiteY46388"/>
              </a:cxn>
              <a:cxn ang="0">
                <a:pos x="connsiteX46389" y="connsiteY46389"/>
              </a:cxn>
              <a:cxn ang="0">
                <a:pos x="connsiteX46390" y="connsiteY46390"/>
              </a:cxn>
              <a:cxn ang="0">
                <a:pos x="connsiteX46391" y="connsiteY46391"/>
              </a:cxn>
              <a:cxn ang="0">
                <a:pos x="connsiteX46392" y="connsiteY46392"/>
              </a:cxn>
              <a:cxn ang="0">
                <a:pos x="connsiteX46393" y="connsiteY46393"/>
              </a:cxn>
              <a:cxn ang="0">
                <a:pos x="connsiteX46394" y="connsiteY46394"/>
              </a:cxn>
              <a:cxn ang="0">
                <a:pos x="connsiteX46395" y="connsiteY46395"/>
              </a:cxn>
              <a:cxn ang="0">
                <a:pos x="connsiteX46396" y="connsiteY46396"/>
              </a:cxn>
              <a:cxn ang="0">
                <a:pos x="connsiteX46397" y="connsiteY46397"/>
              </a:cxn>
              <a:cxn ang="0">
                <a:pos x="connsiteX46398" y="connsiteY46398"/>
              </a:cxn>
              <a:cxn ang="0">
                <a:pos x="connsiteX46399" y="connsiteY46399"/>
              </a:cxn>
              <a:cxn ang="0">
                <a:pos x="connsiteX46400" y="connsiteY46400"/>
              </a:cxn>
              <a:cxn ang="0">
                <a:pos x="connsiteX46401" y="connsiteY46401"/>
              </a:cxn>
              <a:cxn ang="0">
                <a:pos x="connsiteX46402" y="connsiteY46402"/>
              </a:cxn>
              <a:cxn ang="0">
                <a:pos x="connsiteX46403" y="connsiteY46403"/>
              </a:cxn>
              <a:cxn ang="0">
                <a:pos x="connsiteX46404" y="connsiteY46404"/>
              </a:cxn>
              <a:cxn ang="0">
                <a:pos x="connsiteX46405" y="connsiteY46405"/>
              </a:cxn>
              <a:cxn ang="0">
                <a:pos x="connsiteX46406" y="connsiteY46406"/>
              </a:cxn>
              <a:cxn ang="0">
                <a:pos x="connsiteX46407" y="connsiteY46407"/>
              </a:cxn>
              <a:cxn ang="0">
                <a:pos x="connsiteX46408" y="connsiteY46408"/>
              </a:cxn>
              <a:cxn ang="0">
                <a:pos x="connsiteX46409" y="connsiteY46409"/>
              </a:cxn>
              <a:cxn ang="0">
                <a:pos x="connsiteX46410" y="connsiteY46410"/>
              </a:cxn>
              <a:cxn ang="0">
                <a:pos x="connsiteX46411" y="connsiteY46411"/>
              </a:cxn>
              <a:cxn ang="0">
                <a:pos x="connsiteX46412" y="connsiteY46412"/>
              </a:cxn>
              <a:cxn ang="0">
                <a:pos x="connsiteX46413" y="connsiteY46413"/>
              </a:cxn>
              <a:cxn ang="0">
                <a:pos x="connsiteX46414" y="connsiteY46414"/>
              </a:cxn>
              <a:cxn ang="0">
                <a:pos x="connsiteX46415" y="connsiteY46415"/>
              </a:cxn>
              <a:cxn ang="0">
                <a:pos x="connsiteX46416" y="connsiteY46416"/>
              </a:cxn>
              <a:cxn ang="0">
                <a:pos x="connsiteX46417" y="connsiteY46417"/>
              </a:cxn>
              <a:cxn ang="0">
                <a:pos x="connsiteX46418" y="connsiteY46418"/>
              </a:cxn>
              <a:cxn ang="0">
                <a:pos x="connsiteX46419" y="connsiteY46419"/>
              </a:cxn>
              <a:cxn ang="0">
                <a:pos x="connsiteX46420" y="connsiteY46420"/>
              </a:cxn>
              <a:cxn ang="0">
                <a:pos x="connsiteX46421" y="connsiteY46421"/>
              </a:cxn>
              <a:cxn ang="0">
                <a:pos x="connsiteX46422" y="connsiteY46422"/>
              </a:cxn>
              <a:cxn ang="0">
                <a:pos x="connsiteX46423" y="connsiteY46423"/>
              </a:cxn>
              <a:cxn ang="0">
                <a:pos x="connsiteX46424" y="connsiteY46424"/>
              </a:cxn>
              <a:cxn ang="0">
                <a:pos x="connsiteX46425" y="connsiteY46425"/>
              </a:cxn>
              <a:cxn ang="0">
                <a:pos x="connsiteX46426" y="connsiteY46426"/>
              </a:cxn>
              <a:cxn ang="0">
                <a:pos x="connsiteX46427" y="connsiteY46427"/>
              </a:cxn>
              <a:cxn ang="0">
                <a:pos x="connsiteX46428" y="connsiteY46428"/>
              </a:cxn>
              <a:cxn ang="0">
                <a:pos x="connsiteX46429" y="connsiteY46429"/>
              </a:cxn>
              <a:cxn ang="0">
                <a:pos x="connsiteX46430" y="connsiteY46430"/>
              </a:cxn>
              <a:cxn ang="0">
                <a:pos x="connsiteX46431" y="connsiteY46431"/>
              </a:cxn>
              <a:cxn ang="0">
                <a:pos x="connsiteX46432" y="connsiteY46432"/>
              </a:cxn>
              <a:cxn ang="0">
                <a:pos x="connsiteX46433" y="connsiteY46433"/>
              </a:cxn>
              <a:cxn ang="0">
                <a:pos x="connsiteX46434" y="connsiteY46434"/>
              </a:cxn>
              <a:cxn ang="0">
                <a:pos x="connsiteX46435" y="connsiteY46435"/>
              </a:cxn>
              <a:cxn ang="0">
                <a:pos x="connsiteX46436" y="connsiteY46436"/>
              </a:cxn>
              <a:cxn ang="0">
                <a:pos x="connsiteX46437" y="connsiteY46437"/>
              </a:cxn>
              <a:cxn ang="0">
                <a:pos x="connsiteX46438" y="connsiteY46438"/>
              </a:cxn>
              <a:cxn ang="0">
                <a:pos x="connsiteX46439" y="connsiteY46439"/>
              </a:cxn>
              <a:cxn ang="0">
                <a:pos x="connsiteX46440" y="connsiteY46440"/>
              </a:cxn>
              <a:cxn ang="0">
                <a:pos x="connsiteX46441" y="connsiteY46441"/>
              </a:cxn>
              <a:cxn ang="0">
                <a:pos x="connsiteX46442" y="connsiteY46442"/>
              </a:cxn>
              <a:cxn ang="0">
                <a:pos x="connsiteX46443" y="connsiteY46443"/>
              </a:cxn>
              <a:cxn ang="0">
                <a:pos x="connsiteX46444" y="connsiteY46444"/>
              </a:cxn>
              <a:cxn ang="0">
                <a:pos x="connsiteX46445" y="connsiteY46445"/>
              </a:cxn>
              <a:cxn ang="0">
                <a:pos x="connsiteX46446" y="connsiteY46446"/>
              </a:cxn>
              <a:cxn ang="0">
                <a:pos x="connsiteX46447" y="connsiteY46447"/>
              </a:cxn>
              <a:cxn ang="0">
                <a:pos x="connsiteX46448" y="connsiteY46448"/>
              </a:cxn>
              <a:cxn ang="0">
                <a:pos x="connsiteX46449" y="connsiteY46449"/>
              </a:cxn>
              <a:cxn ang="0">
                <a:pos x="connsiteX46450" y="connsiteY46450"/>
              </a:cxn>
              <a:cxn ang="0">
                <a:pos x="connsiteX46451" y="connsiteY46451"/>
              </a:cxn>
              <a:cxn ang="0">
                <a:pos x="connsiteX46452" y="connsiteY46452"/>
              </a:cxn>
              <a:cxn ang="0">
                <a:pos x="connsiteX46453" y="connsiteY46453"/>
              </a:cxn>
              <a:cxn ang="0">
                <a:pos x="connsiteX46454" y="connsiteY46454"/>
              </a:cxn>
              <a:cxn ang="0">
                <a:pos x="connsiteX46455" y="connsiteY46455"/>
              </a:cxn>
              <a:cxn ang="0">
                <a:pos x="connsiteX46456" y="connsiteY46456"/>
              </a:cxn>
              <a:cxn ang="0">
                <a:pos x="connsiteX46457" y="connsiteY46457"/>
              </a:cxn>
              <a:cxn ang="0">
                <a:pos x="connsiteX46458" y="connsiteY46458"/>
              </a:cxn>
              <a:cxn ang="0">
                <a:pos x="connsiteX46459" y="connsiteY46459"/>
              </a:cxn>
              <a:cxn ang="0">
                <a:pos x="connsiteX46460" y="connsiteY46460"/>
              </a:cxn>
              <a:cxn ang="0">
                <a:pos x="connsiteX46461" y="connsiteY46461"/>
              </a:cxn>
              <a:cxn ang="0">
                <a:pos x="connsiteX46462" y="connsiteY46462"/>
              </a:cxn>
              <a:cxn ang="0">
                <a:pos x="connsiteX46463" y="connsiteY46463"/>
              </a:cxn>
              <a:cxn ang="0">
                <a:pos x="connsiteX46464" y="connsiteY46464"/>
              </a:cxn>
              <a:cxn ang="0">
                <a:pos x="connsiteX46465" y="connsiteY46465"/>
              </a:cxn>
              <a:cxn ang="0">
                <a:pos x="connsiteX46466" y="connsiteY46466"/>
              </a:cxn>
              <a:cxn ang="0">
                <a:pos x="connsiteX46467" y="connsiteY46467"/>
              </a:cxn>
              <a:cxn ang="0">
                <a:pos x="connsiteX46468" y="connsiteY46468"/>
              </a:cxn>
              <a:cxn ang="0">
                <a:pos x="connsiteX46469" y="connsiteY46469"/>
              </a:cxn>
              <a:cxn ang="0">
                <a:pos x="connsiteX46470" y="connsiteY46470"/>
              </a:cxn>
              <a:cxn ang="0">
                <a:pos x="connsiteX46471" y="connsiteY46471"/>
              </a:cxn>
              <a:cxn ang="0">
                <a:pos x="connsiteX46472" y="connsiteY46472"/>
              </a:cxn>
              <a:cxn ang="0">
                <a:pos x="connsiteX46473" y="connsiteY46473"/>
              </a:cxn>
              <a:cxn ang="0">
                <a:pos x="connsiteX46474" y="connsiteY46474"/>
              </a:cxn>
              <a:cxn ang="0">
                <a:pos x="connsiteX46475" y="connsiteY46475"/>
              </a:cxn>
              <a:cxn ang="0">
                <a:pos x="connsiteX46476" y="connsiteY46476"/>
              </a:cxn>
              <a:cxn ang="0">
                <a:pos x="connsiteX46477" y="connsiteY46477"/>
              </a:cxn>
              <a:cxn ang="0">
                <a:pos x="connsiteX46478" y="connsiteY46478"/>
              </a:cxn>
              <a:cxn ang="0">
                <a:pos x="connsiteX46479" y="connsiteY46479"/>
              </a:cxn>
              <a:cxn ang="0">
                <a:pos x="connsiteX46480" y="connsiteY46480"/>
              </a:cxn>
              <a:cxn ang="0">
                <a:pos x="connsiteX46481" y="connsiteY46481"/>
              </a:cxn>
              <a:cxn ang="0">
                <a:pos x="connsiteX46482" y="connsiteY46482"/>
              </a:cxn>
              <a:cxn ang="0">
                <a:pos x="connsiteX46483" y="connsiteY46483"/>
              </a:cxn>
              <a:cxn ang="0">
                <a:pos x="connsiteX46484" y="connsiteY46484"/>
              </a:cxn>
              <a:cxn ang="0">
                <a:pos x="connsiteX46485" y="connsiteY46485"/>
              </a:cxn>
              <a:cxn ang="0">
                <a:pos x="connsiteX46486" y="connsiteY46486"/>
              </a:cxn>
              <a:cxn ang="0">
                <a:pos x="connsiteX46487" y="connsiteY46487"/>
              </a:cxn>
              <a:cxn ang="0">
                <a:pos x="connsiteX46488" y="connsiteY46488"/>
              </a:cxn>
              <a:cxn ang="0">
                <a:pos x="connsiteX46489" y="connsiteY46489"/>
              </a:cxn>
              <a:cxn ang="0">
                <a:pos x="connsiteX46490" y="connsiteY46490"/>
              </a:cxn>
              <a:cxn ang="0">
                <a:pos x="connsiteX46491" y="connsiteY46491"/>
              </a:cxn>
              <a:cxn ang="0">
                <a:pos x="connsiteX46492" y="connsiteY46492"/>
              </a:cxn>
              <a:cxn ang="0">
                <a:pos x="connsiteX46493" y="connsiteY46493"/>
              </a:cxn>
              <a:cxn ang="0">
                <a:pos x="connsiteX46494" y="connsiteY46494"/>
              </a:cxn>
              <a:cxn ang="0">
                <a:pos x="connsiteX46495" y="connsiteY46495"/>
              </a:cxn>
              <a:cxn ang="0">
                <a:pos x="connsiteX46496" y="connsiteY46496"/>
              </a:cxn>
              <a:cxn ang="0">
                <a:pos x="connsiteX46497" y="connsiteY46497"/>
              </a:cxn>
              <a:cxn ang="0">
                <a:pos x="connsiteX46498" y="connsiteY46498"/>
              </a:cxn>
              <a:cxn ang="0">
                <a:pos x="connsiteX46499" y="connsiteY46499"/>
              </a:cxn>
              <a:cxn ang="0">
                <a:pos x="connsiteX46500" y="connsiteY46500"/>
              </a:cxn>
              <a:cxn ang="0">
                <a:pos x="connsiteX46501" y="connsiteY46501"/>
              </a:cxn>
              <a:cxn ang="0">
                <a:pos x="connsiteX46502" y="connsiteY46502"/>
              </a:cxn>
              <a:cxn ang="0">
                <a:pos x="connsiteX46503" y="connsiteY46503"/>
              </a:cxn>
              <a:cxn ang="0">
                <a:pos x="connsiteX46504" y="connsiteY46504"/>
              </a:cxn>
              <a:cxn ang="0">
                <a:pos x="connsiteX46505" y="connsiteY46505"/>
              </a:cxn>
              <a:cxn ang="0">
                <a:pos x="connsiteX46506" y="connsiteY46506"/>
              </a:cxn>
              <a:cxn ang="0">
                <a:pos x="connsiteX46507" y="connsiteY46507"/>
              </a:cxn>
              <a:cxn ang="0">
                <a:pos x="connsiteX46508" y="connsiteY46508"/>
              </a:cxn>
              <a:cxn ang="0">
                <a:pos x="connsiteX46509" y="connsiteY46509"/>
              </a:cxn>
              <a:cxn ang="0">
                <a:pos x="connsiteX46510" y="connsiteY46510"/>
              </a:cxn>
              <a:cxn ang="0">
                <a:pos x="connsiteX46511" y="connsiteY46511"/>
              </a:cxn>
              <a:cxn ang="0">
                <a:pos x="connsiteX46512" y="connsiteY46512"/>
              </a:cxn>
              <a:cxn ang="0">
                <a:pos x="connsiteX46513" y="connsiteY46513"/>
              </a:cxn>
              <a:cxn ang="0">
                <a:pos x="connsiteX46514" y="connsiteY46514"/>
              </a:cxn>
              <a:cxn ang="0">
                <a:pos x="connsiteX46515" y="connsiteY46515"/>
              </a:cxn>
              <a:cxn ang="0">
                <a:pos x="connsiteX46516" y="connsiteY46516"/>
              </a:cxn>
              <a:cxn ang="0">
                <a:pos x="connsiteX46517" y="connsiteY46517"/>
              </a:cxn>
              <a:cxn ang="0">
                <a:pos x="connsiteX46518" y="connsiteY46518"/>
              </a:cxn>
              <a:cxn ang="0">
                <a:pos x="connsiteX46519" y="connsiteY46519"/>
              </a:cxn>
              <a:cxn ang="0">
                <a:pos x="connsiteX46520" y="connsiteY46520"/>
              </a:cxn>
              <a:cxn ang="0">
                <a:pos x="connsiteX46521" y="connsiteY46521"/>
              </a:cxn>
              <a:cxn ang="0">
                <a:pos x="connsiteX46522" y="connsiteY46522"/>
              </a:cxn>
              <a:cxn ang="0">
                <a:pos x="connsiteX46523" y="connsiteY46523"/>
              </a:cxn>
              <a:cxn ang="0">
                <a:pos x="connsiteX46524" y="connsiteY46524"/>
              </a:cxn>
              <a:cxn ang="0">
                <a:pos x="connsiteX46525" y="connsiteY46525"/>
              </a:cxn>
              <a:cxn ang="0">
                <a:pos x="connsiteX46526" y="connsiteY46526"/>
              </a:cxn>
              <a:cxn ang="0">
                <a:pos x="connsiteX46527" y="connsiteY46527"/>
              </a:cxn>
              <a:cxn ang="0">
                <a:pos x="connsiteX46528" y="connsiteY46528"/>
              </a:cxn>
              <a:cxn ang="0">
                <a:pos x="connsiteX46529" y="connsiteY46529"/>
              </a:cxn>
              <a:cxn ang="0">
                <a:pos x="connsiteX46530" y="connsiteY46530"/>
              </a:cxn>
              <a:cxn ang="0">
                <a:pos x="connsiteX46531" y="connsiteY46531"/>
              </a:cxn>
              <a:cxn ang="0">
                <a:pos x="connsiteX46532" y="connsiteY46532"/>
              </a:cxn>
              <a:cxn ang="0">
                <a:pos x="connsiteX46533" y="connsiteY46533"/>
              </a:cxn>
              <a:cxn ang="0">
                <a:pos x="connsiteX46534" y="connsiteY46534"/>
              </a:cxn>
              <a:cxn ang="0">
                <a:pos x="connsiteX46535" y="connsiteY46535"/>
              </a:cxn>
              <a:cxn ang="0">
                <a:pos x="connsiteX46536" y="connsiteY46536"/>
              </a:cxn>
              <a:cxn ang="0">
                <a:pos x="connsiteX46537" y="connsiteY46537"/>
              </a:cxn>
              <a:cxn ang="0">
                <a:pos x="connsiteX46538" y="connsiteY46538"/>
              </a:cxn>
              <a:cxn ang="0">
                <a:pos x="connsiteX46539" y="connsiteY46539"/>
              </a:cxn>
              <a:cxn ang="0">
                <a:pos x="connsiteX46540" y="connsiteY46540"/>
              </a:cxn>
              <a:cxn ang="0">
                <a:pos x="connsiteX46541" y="connsiteY46541"/>
              </a:cxn>
              <a:cxn ang="0">
                <a:pos x="connsiteX46542" y="connsiteY46542"/>
              </a:cxn>
              <a:cxn ang="0">
                <a:pos x="connsiteX46543" y="connsiteY46543"/>
              </a:cxn>
              <a:cxn ang="0">
                <a:pos x="connsiteX46544" y="connsiteY46544"/>
              </a:cxn>
              <a:cxn ang="0">
                <a:pos x="connsiteX46545" y="connsiteY46545"/>
              </a:cxn>
              <a:cxn ang="0">
                <a:pos x="connsiteX46546" y="connsiteY46546"/>
              </a:cxn>
              <a:cxn ang="0">
                <a:pos x="connsiteX46547" y="connsiteY46547"/>
              </a:cxn>
              <a:cxn ang="0">
                <a:pos x="connsiteX46548" y="connsiteY46548"/>
              </a:cxn>
              <a:cxn ang="0">
                <a:pos x="connsiteX46549" y="connsiteY46549"/>
              </a:cxn>
              <a:cxn ang="0">
                <a:pos x="connsiteX46550" y="connsiteY46550"/>
              </a:cxn>
              <a:cxn ang="0">
                <a:pos x="connsiteX46551" y="connsiteY46551"/>
              </a:cxn>
              <a:cxn ang="0">
                <a:pos x="connsiteX46552" y="connsiteY46552"/>
              </a:cxn>
              <a:cxn ang="0">
                <a:pos x="connsiteX46553" y="connsiteY46553"/>
              </a:cxn>
              <a:cxn ang="0">
                <a:pos x="connsiteX46554" y="connsiteY46554"/>
              </a:cxn>
              <a:cxn ang="0">
                <a:pos x="connsiteX46555" y="connsiteY46555"/>
              </a:cxn>
              <a:cxn ang="0">
                <a:pos x="connsiteX46556" y="connsiteY46556"/>
              </a:cxn>
              <a:cxn ang="0">
                <a:pos x="connsiteX46557" y="connsiteY46557"/>
              </a:cxn>
              <a:cxn ang="0">
                <a:pos x="connsiteX46558" y="connsiteY46558"/>
              </a:cxn>
              <a:cxn ang="0">
                <a:pos x="connsiteX46559" y="connsiteY46559"/>
              </a:cxn>
              <a:cxn ang="0">
                <a:pos x="connsiteX46560" y="connsiteY46560"/>
              </a:cxn>
              <a:cxn ang="0">
                <a:pos x="connsiteX46561" y="connsiteY46561"/>
              </a:cxn>
              <a:cxn ang="0">
                <a:pos x="connsiteX46562" y="connsiteY46562"/>
              </a:cxn>
              <a:cxn ang="0">
                <a:pos x="connsiteX46563" y="connsiteY46563"/>
              </a:cxn>
              <a:cxn ang="0">
                <a:pos x="connsiteX46564" y="connsiteY46564"/>
              </a:cxn>
              <a:cxn ang="0">
                <a:pos x="connsiteX46565" y="connsiteY46565"/>
              </a:cxn>
              <a:cxn ang="0">
                <a:pos x="connsiteX46566" y="connsiteY46566"/>
              </a:cxn>
              <a:cxn ang="0">
                <a:pos x="connsiteX46567" y="connsiteY46567"/>
              </a:cxn>
              <a:cxn ang="0">
                <a:pos x="connsiteX46568" y="connsiteY46568"/>
              </a:cxn>
              <a:cxn ang="0">
                <a:pos x="connsiteX46569" y="connsiteY46569"/>
              </a:cxn>
              <a:cxn ang="0">
                <a:pos x="connsiteX46570" y="connsiteY46570"/>
              </a:cxn>
              <a:cxn ang="0">
                <a:pos x="connsiteX46571" y="connsiteY46571"/>
              </a:cxn>
              <a:cxn ang="0">
                <a:pos x="connsiteX46572" y="connsiteY46572"/>
              </a:cxn>
              <a:cxn ang="0">
                <a:pos x="connsiteX46573" y="connsiteY46573"/>
              </a:cxn>
              <a:cxn ang="0">
                <a:pos x="connsiteX46574" y="connsiteY46574"/>
              </a:cxn>
              <a:cxn ang="0">
                <a:pos x="connsiteX46575" y="connsiteY46575"/>
              </a:cxn>
              <a:cxn ang="0">
                <a:pos x="connsiteX46576" y="connsiteY46576"/>
              </a:cxn>
              <a:cxn ang="0">
                <a:pos x="connsiteX46577" y="connsiteY46577"/>
              </a:cxn>
              <a:cxn ang="0">
                <a:pos x="connsiteX46578" y="connsiteY46578"/>
              </a:cxn>
              <a:cxn ang="0">
                <a:pos x="connsiteX46579" y="connsiteY46579"/>
              </a:cxn>
              <a:cxn ang="0">
                <a:pos x="connsiteX46580" y="connsiteY46580"/>
              </a:cxn>
              <a:cxn ang="0">
                <a:pos x="connsiteX46581" y="connsiteY46581"/>
              </a:cxn>
              <a:cxn ang="0">
                <a:pos x="connsiteX46582" y="connsiteY46582"/>
              </a:cxn>
              <a:cxn ang="0">
                <a:pos x="connsiteX46583" y="connsiteY46583"/>
              </a:cxn>
              <a:cxn ang="0">
                <a:pos x="connsiteX46584" y="connsiteY46584"/>
              </a:cxn>
              <a:cxn ang="0">
                <a:pos x="connsiteX46585" y="connsiteY46585"/>
              </a:cxn>
              <a:cxn ang="0">
                <a:pos x="connsiteX46586" y="connsiteY46586"/>
              </a:cxn>
              <a:cxn ang="0">
                <a:pos x="connsiteX46587" y="connsiteY46587"/>
              </a:cxn>
              <a:cxn ang="0">
                <a:pos x="connsiteX46588" y="connsiteY46588"/>
              </a:cxn>
              <a:cxn ang="0">
                <a:pos x="connsiteX46589" y="connsiteY46589"/>
              </a:cxn>
              <a:cxn ang="0">
                <a:pos x="connsiteX46590" y="connsiteY46590"/>
              </a:cxn>
              <a:cxn ang="0">
                <a:pos x="connsiteX46591" y="connsiteY46591"/>
              </a:cxn>
              <a:cxn ang="0">
                <a:pos x="connsiteX46592" y="connsiteY46592"/>
              </a:cxn>
              <a:cxn ang="0">
                <a:pos x="connsiteX46593" y="connsiteY46593"/>
              </a:cxn>
              <a:cxn ang="0">
                <a:pos x="connsiteX46594" y="connsiteY46594"/>
              </a:cxn>
              <a:cxn ang="0">
                <a:pos x="connsiteX46595" y="connsiteY46595"/>
              </a:cxn>
              <a:cxn ang="0">
                <a:pos x="connsiteX46596" y="connsiteY46596"/>
              </a:cxn>
              <a:cxn ang="0">
                <a:pos x="connsiteX46597" y="connsiteY46597"/>
              </a:cxn>
              <a:cxn ang="0">
                <a:pos x="connsiteX46598" y="connsiteY46598"/>
              </a:cxn>
              <a:cxn ang="0">
                <a:pos x="connsiteX46599" y="connsiteY46599"/>
              </a:cxn>
              <a:cxn ang="0">
                <a:pos x="connsiteX46600" y="connsiteY46600"/>
              </a:cxn>
              <a:cxn ang="0">
                <a:pos x="connsiteX46601" y="connsiteY46601"/>
              </a:cxn>
              <a:cxn ang="0">
                <a:pos x="connsiteX46602" y="connsiteY46602"/>
              </a:cxn>
              <a:cxn ang="0">
                <a:pos x="connsiteX46603" y="connsiteY46603"/>
              </a:cxn>
              <a:cxn ang="0">
                <a:pos x="connsiteX46604" y="connsiteY46604"/>
              </a:cxn>
              <a:cxn ang="0">
                <a:pos x="connsiteX46605" y="connsiteY46605"/>
              </a:cxn>
              <a:cxn ang="0">
                <a:pos x="connsiteX46606" y="connsiteY46606"/>
              </a:cxn>
              <a:cxn ang="0">
                <a:pos x="connsiteX46607" y="connsiteY46607"/>
              </a:cxn>
              <a:cxn ang="0">
                <a:pos x="connsiteX46608" y="connsiteY46608"/>
              </a:cxn>
              <a:cxn ang="0">
                <a:pos x="connsiteX46609" y="connsiteY46609"/>
              </a:cxn>
              <a:cxn ang="0">
                <a:pos x="connsiteX46610" y="connsiteY46610"/>
              </a:cxn>
              <a:cxn ang="0">
                <a:pos x="connsiteX46611" y="connsiteY46611"/>
              </a:cxn>
              <a:cxn ang="0">
                <a:pos x="connsiteX46612" y="connsiteY46612"/>
              </a:cxn>
              <a:cxn ang="0">
                <a:pos x="connsiteX46613" y="connsiteY46613"/>
              </a:cxn>
              <a:cxn ang="0">
                <a:pos x="connsiteX46614" y="connsiteY46614"/>
              </a:cxn>
              <a:cxn ang="0">
                <a:pos x="connsiteX46615" y="connsiteY46615"/>
              </a:cxn>
              <a:cxn ang="0">
                <a:pos x="connsiteX46616" y="connsiteY46616"/>
              </a:cxn>
              <a:cxn ang="0">
                <a:pos x="connsiteX46617" y="connsiteY46617"/>
              </a:cxn>
              <a:cxn ang="0">
                <a:pos x="connsiteX46618" y="connsiteY46618"/>
              </a:cxn>
              <a:cxn ang="0">
                <a:pos x="connsiteX46619" y="connsiteY46619"/>
              </a:cxn>
              <a:cxn ang="0">
                <a:pos x="connsiteX46620" y="connsiteY46620"/>
              </a:cxn>
              <a:cxn ang="0">
                <a:pos x="connsiteX46621" y="connsiteY46621"/>
              </a:cxn>
              <a:cxn ang="0">
                <a:pos x="connsiteX46622" y="connsiteY46622"/>
              </a:cxn>
              <a:cxn ang="0">
                <a:pos x="connsiteX46623" y="connsiteY46623"/>
              </a:cxn>
              <a:cxn ang="0">
                <a:pos x="connsiteX46624" y="connsiteY46624"/>
              </a:cxn>
              <a:cxn ang="0">
                <a:pos x="connsiteX46625" y="connsiteY46625"/>
              </a:cxn>
              <a:cxn ang="0">
                <a:pos x="connsiteX46626" y="connsiteY46626"/>
              </a:cxn>
              <a:cxn ang="0">
                <a:pos x="connsiteX46627" y="connsiteY46627"/>
              </a:cxn>
              <a:cxn ang="0">
                <a:pos x="connsiteX46628" y="connsiteY46628"/>
              </a:cxn>
              <a:cxn ang="0">
                <a:pos x="connsiteX46629" y="connsiteY46629"/>
              </a:cxn>
              <a:cxn ang="0">
                <a:pos x="connsiteX46630" y="connsiteY46630"/>
              </a:cxn>
              <a:cxn ang="0">
                <a:pos x="connsiteX46631" y="connsiteY46631"/>
              </a:cxn>
              <a:cxn ang="0">
                <a:pos x="connsiteX46632" y="connsiteY46632"/>
              </a:cxn>
              <a:cxn ang="0">
                <a:pos x="connsiteX46633" y="connsiteY46633"/>
              </a:cxn>
              <a:cxn ang="0">
                <a:pos x="connsiteX46634" y="connsiteY46634"/>
              </a:cxn>
              <a:cxn ang="0">
                <a:pos x="connsiteX46635" y="connsiteY46635"/>
              </a:cxn>
              <a:cxn ang="0">
                <a:pos x="connsiteX46636" y="connsiteY46636"/>
              </a:cxn>
              <a:cxn ang="0">
                <a:pos x="connsiteX46637" y="connsiteY46637"/>
              </a:cxn>
              <a:cxn ang="0">
                <a:pos x="connsiteX46638" y="connsiteY46638"/>
              </a:cxn>
              <a:cxn ang="0">
                <a:pos x="connsiteX46639" y="connsiteY46639"/>
              </a:cxn>
              <a:cxn ang="0">
                <a:pos x="connsiteX46640" y="connsiteY46640"/>
              </a:cxn>
              <a:cxn ang="0">
                <a:pos x="connsiteX46641" y="connsiteY46641"/>
              </a:cxn>
              <a:cxn ang="0">
                <a:pos x="connsiteX46642" y="connsiteY46642"/>
              </a:cxn>
              <a:cxn ang="0">
                <a:pos x="connsiteX46643" y="connsiteY46643"/>
              </a:cxn>
              <a:cxn ang="0">
                <a:pos x="connsiteX46644" y="connsiteY46644"/>
              </a:cxn>
              <a:cxn ang="0">
                <a:pos x="connsiteX46645" y="connsiteY46645"/>
              </a:cxn>
              <a:cxn ang="0">
                <a:pos x="connsiteX46646" y="connsiteY46646"/>
              </a:cxn>
              <a:cxn ang="0">
                <a:pos x="connsiteX46647" y="connsiteY46647"/>
              </a:cxn>
              <a:cxn ang="0">
                <a:pos x="connsiteX46648" y="connsiteY46648"/>
              </a:cxn>
              <a:cxn ang="0">
                <a:pos x="connsiteX46649" y="connsiteY46649"/>
              </a:cxn>
              <a:cxn ang="0">
                <a:pos x="connsiteX46650" y="connsiteY46650"/>
              </a:cxn>
              <a:cxn ang="0">
                <a:pos x="connsiteX46651" y="connsiteY46651"/>
              </a:cxn>
              <a:cxn ang="0">
                <a:pos x="connsiteX46652" y="connsiteY46652"/>
              </a:cxn>
              <a:cxn ang="0">
                <a:pos x="connsiteX46653" y="connsiteY46653"/>
              </a:cxn>
              <a:cxn ang="0">
                <a:pos x="connsiteX46654" y="connsiteY46654"/>
              </a:cxn>
              <a:cxn ang="0">
                <a:pos x="connsiteX46655" y="connsiteY46655"/>
              </a:cxn>
              <a:cxn ang="0">
                <a:pos x="connsiteX46656" y="connsiteY46656"/>
              </a:cxn>
              <a:cxn ang="0">
                <a:pos x="connsiteX46657" y="connsiteY46657"/>
              </a:cxn>
              <a:cxn ang="0">
                <a:pos x="connsiteX46658" y="connsiteY46658"/>
              </a:cxn>
              <a:cxn ang="0">
                <a:pos x="connsiteX46659" y="connsiteY46659"/>
              </a:cxn>
              <a:cxn ang="0">
                <a:pos x="connsiteX46660" y="connsiteY46660"/>
              </a:cxn>
              <a:cxn ang="0">
                <a:pos x="connsiteX46661" y="connsiteY46661"/>
              </a:cxn>
              <a:cxn ang="0">
                <a:pos x="connsiteX46662" y="connsiteY46662"/>
              </a:cxn>
              <a:cxn ang="0">
                <a:pos x="connsiteX46663" y="connsiteY46663"/>
              </a:cxn>
              <a:cxn ang="0">
                <a:pos x="connsiteX46664" y="connsiteY46664"/>
              </a:cxn>
              <a:cxn ang="0">
                <a:pos x="connsiteX46665" y="connsiteY46665"/>
              </a:cxn>
              <a:cxn ang="0">
                <a:pos x="connsiteX46666" y="connsiteY46666"/>
              </a:cxn>
              <a:cxn ang="0">
                <a:pos x="connsiteX46667" y="connsiteY46667"/>
              </a:cxn>
              <a:cxn ang="0">
                <a:pos x="connsiteX46668" y="connsiteY46668"/>
              </a:cxn>
              <a:cxn ang="0">
                <a:pos x="connsiteX46669" y="connsiteY46669"/>
              </a:cxn>
              <a:cxn ang="0">
                <a:pos x="connsiteX46670" y="connsiteY46670"/>
              </a:cxn>
              <a:cxn ang="0">
                <a:pos x="connsiteX46671" y="connsiteY46671"/>
              </a:cxn>
              <a:cxn ang="0">
                <a:pos x="connsiteX46672" y="connsiteY46672"/>
              </a:cxn>
              <a:cxn ang="0">
                <a:pos x="connsiteX46673" y="connsiteY46673"/>
              </a:cxn>
              <a:cxn ang="0">
                <a:pos x="connsiteX46674" y="connsiteY46674"/>
              </a:cxn>
              <a:cxn ang="0">
                <a:pos x="connsiteX46675" y="connsiteY46675"/>
              </a:cxn>
              <a:cxn ang="0">
                <a:pos x="connsiteX46676" y="connsiteY46676"/>
              </a:cxn>
              <a:cxn ang="0">
                <a:pos x="connsiteX46677" y="connsiteY46677"/>
              </a:cxn>
              <a:cxn ang="0">
                <a:pos x="connsiteX46678" y="connsiteY46678"/>
              </a:cxn>
              <a:cxn ang="0">
                <a:pos x="connsiteX46679" y="connsiteY46679"/>
              </a:cxn>
              <a:cxn ang="0">
                <a:pos x="connsiteX46680" y="connsiteY46680"/>
              </a:cxn>
              <a:cxn ang="0">
                <a:pos x="connsiteX46681" y="connsiteY46681"/>
              </a:cxn>
              <a:cxn ang="0">
                <a:pos x="connsiteX46682" y="connsiteY46682"/>
              </a:cxn>
              <a:cxn ang="0">
                <a:pos x="connsiteX46683" y="connsiteY46683"/>
              </a:cxn>
              <a:cxn ang="0">
                <a:pos x="connsiteX46684" y="connsiteY46684"/>
              </a:cxn>
              <a:cxn ang="0">
                <a:pos x="connsiteX46685" y="connsiteY46685"/>
              </a:cxn>
              <a:cxn ang="0">
                <a:pos x="connsiteX46686" y="connsiteY46686"/>
              </a:cxn>
              <a:cxn ang="0">
                <a:pos x="connsiteX46687" y="connsiteY46687"/>
              </a:cxn>
              <a:cxn ang="0">
                <a:pos x="connsiteX46688" y="connsiteY46688"/>
              </a:cxn>
              <a:cxn ang="0">
                <a:pos x="connsiteX46689" y="connsiteY46689"/>
              </a:cxn>
              <a:cxn ang="0">
                <a:pos x="connsiteX46690" y="connsiteY46690"/>
              </a:cxn>
              <a:cxn ang="0">
                <a:pos x="connsiteX46691" y="connsiteY46691"/>
              </a:cxn>
              <a:cxn ang="0">
                <a:pos x="connsiteX46692" y="connsiteY46692"/>
              </a:cxn>
              <a:cxn ang="0">
                <a:pos x="connsiteX46693" y="connsiteY46693"/>
              </a:cxn>
              <a:cxn ang="0">
                <a:pos x="connsiteX46694" y="connsiteY46694"/>
              </a:cxn>
              <a:cxn ang="0">
                <a:pos x="connsiteX46695" y="connsiteY46695"/>
              </a:cxn>
              <a:cxn ang="0">
                <a:pos x="connsiteX46696" y="connsiteY46696"/>
              </a:cxn>
              <a:cxn ang="0">
                <a:pos x="connsiteX46697" y="connsiteY46697"/>
              </a:cxn>
              <a:cxn ang="0">
                <a:pos x="connsiteX46698" y="connsiteY46698"/>
              </a:cxn>
              <a:cxn ang="0">
                <a:pos x="connsiteX46699" y="connsiteY46699"/>
              </a:cxn>
              <a:cxn ang="0">
                <a:pos x="connsiteX46700" y="connsiteY46700"/>
              </a:cxn>
              <a:cxn ang="0">
                <a:pos x="connsiteX46701" y="connsiteY46701"/>
              </a:cxn>
              <a:cxn ang="0">
                <a:pos x="connsiteX46702" y="connsiteY46702"/>
              </a:cxn>
              <a:cxn ang="0">
                <a:pos x="connsiteX46703" y="connsiteY46703"/>
              </a:cxn>
              <a:cxn ang="0">
                <a:pos x="connsiteX46704" y="connsiteY46704"/>
              </a:cxn>
              <a:cxn ang="0">
                <a:pos x="connsiteX46705" y="connsiteY46705"/>
              </a:cxn>
              <a:cxn ang="0">
                <a:pos x="connsiteX46706" y="connsiteY46706"/>
              </a:cxn>
              <a:cxn ang="0">
                <a:pos x="connsiteX46707" y="connsiteY46707"/>
              </a:cxn>
              <a:cxn ang="0">
                <a:pos x="connsiteX46708" y="connsiteY46708"/>
              </a:cxn>
              <a:cxn ang="0">
                <a:pos x="connsiteX46709" y="connsiteY46709"/>
              </a:cxn>
              <a:cxn ang="0">
                <a:pos x="connsiteX46710" y="connsiteY46710"/>
              </a:cxn>
              <a:cxn ang="0">
                <a:pos x="connsiteX46711" y="connsiteY46711"/>
              </a:cxn>
              <a:cxn ang="0">
                <a:pos x="connsiteX46712" y="connsiteY46712"/>
              </a:cxn>
              <a:cxn ang="0">
                <a:pos x="connsiteX46713" y="connsiteY46713"/>
              </a:cxn>
              <a:cxn ang="0">
                <a:pos x="connsiteX46714" y="connsiteY46714"/>
              </a:cxn>
              <a:cxn ang="0">
                <a:pos x="connsiteX46715" y="connsiteY46715"/>
              </a:cxn>
              <a:cxn ang="0">
                <a:pos x="connsiteX46716" y="connsiteY46716"/>
              </a:cxn>
              <a:cxn ang="0">
                <a:pos x="connsiteX46717" y="connsiteY46717"/>
              </a:cxn>
              <a:cxn ang="0">
                <a:pos x="connsiteX46718" y="connsiteY46718"/>
              </a:cxn>
              <a:cxn ang="0">
                <a:pos x="connsiteX46719" y="connsiteY46719"/>
              </a:cxn>
              <a:cxn ang="0">
                <a:pos x="connsiteX46720" y="connsiteY46720"/>
              </a:cxn>
              <a:cxn ang="0">
                <a:pos x="connsiteX46721" y="connsiteY46721"/>
              </a:cxn>
              <a:cxn ang="0">
                <a:pos x="connsiteX46722" y="connsiteY46722"/>
              </a:cxn>
              <a:cxn ang="0">
                <a:pos x="connsiteX46723" y="connsiteY46723"/>
              </a:cxn>
              <a:cxn ang="0">
                <a:pos x="connsiteX46724" y="connsiteY46724"/>
              </a:cxn>
              <a:cxn ang="0">
                <a:pos x="connsiteX46725" y="connsiteY46725"/>
              </a:cxn>
              <a:cxn ang="0">
                <a:pos x="connsiteX46726" y="connsiteY46726"/>
              </a:cxn>
              <a:cxn ang="0">
                <a:pos x="connsiteX46727" y="connsiteY46727"/>
              </a:cxn>
              <a:cxn ang="0">
                <a:pos x="connsiteX46728" y="connsiteY46728"/>
              </a:cxn>
              <a:cxn ang="0">
                <a:pos x="connsiteX46729" y="connsiteY46729"/>
              </a:cxn>
              <a:cxn ang="0">
                <a:pos x="connsiteX46730" y="connsiteY46730"/>
              </a:cxn>
              <a:cxn ang="0">
                <a:pos x="connsiteX46731" y="connsiteY46731"/>
              </a:cxn>
              <a:cxn ang="0">
                <a:pos x="connsiteX46732" y="connsiteY46732"/>
              </a:cxn>
              <a:cxn ang="0">
                <a:pos x="connsiteX46733" y="connsiteY46733"/>
              </a:cxn>
              <a:cxn ang="0">
                <a:pos x="connsiteX46734" y="connsiteY46734"/>
              </a:cxn>
              <a:cxn ang="0">
                <a:pos x="connsiteX46735" y="connsiteY46735"/>
              </a:cxn>
              <a:cxn ang="0">
                <a:pos x="connsiteX46736" y="connsiteY46736"/>
              </a:cxn>
              <a:cxn ang="0">
                <a:pos x="connsiteX46737" y="connsiteY46737"/>
              </a:cxn>
              <a:cxn ang="0">
                <a:pos x="connsiteX46738" y="connsiteY46738"/>
              </a:cxn>
              <a:cxn ang="0">
                <a:pos x="connsiteX46739" y="connsiteY46739"/>
              </a:cxn>
              <a:cxn ang="0">
                <a:pos x="connsiteX46740" y="connsiteY46740"/>
              </a:cxn>
              <a:cxn ang="0">
                <a:pos x="connsiteX46741" y="connsiteY46741"/>
              </a:cxn>
              <a:cxn ang="0">
                <a:pos x="connsiteX46742" y="connsiteY46742"/>
              </a:cxn>
              <a:cxn ang="0">
                <a:pos x="connsiteX46743" y="connsiteY46743"/>
              </a:cxn>
              <a:cxn ang="0">
                <a:pos x="connsiteX46744" y="connsiteY46744"/>
              </a:cxn>
              <a:cxn ang="0">
                <a:pos x="connsiteX46745" y="connsiteY46745"/>
              </a:cxn>
              <a:cxn ang="0">
                <a:pos x="connsiteX46746" y="connsiteY46746"/>
              </a:cxn>
              <a:cxn ang="0">
                <a:pos x="connsiteX46747" y="connsiteY46747"/>
              </a:cxn>
              <a:cxn ang="0">
                <a:pos x="connsiteX46748" y="connsiteY46748"/>
              </a:cxn>
              <a:cxn ang="0">
                <a:pos x="connsiteX46749" y="connsiteY46749"/>
              </a:cxn>
              <a:cxn ang="0">
                <a:pos x="connsiteX46750" y="connsiteY46750"/>
              </a:cxn>
              <a:cxn ang="0">
                <a:pos x="connsiteX46751" y="connsiteY46751"/>
              </a:cxn>
              <a:cxn ang="0">
                <a:pos x="connsiteX46752" y="connsiteY46752"/>
              </a:cxn>
              <a:cxn ang="0">
                <a:pos x="connsiteX46753" y="connsiteY46753"/>
              </a:cxn>
              <a:cxn ang="0">
                <a:pos x="connsiteX46754" y="connsiteY46754"/>
              </a:cxn>
              <a:cxn ang="0">
                <a:pos x="connsiteX46755" y="connsiteY46755"/>
              </a:cxn>
              <a:cxn ang="0">
                <a:pos x="connsiteX46756" y="connsiteY46756"/>
              </a:cxn>
              <a:cxn ang="0">
                <a:pos x="connsiteX46757" y="connsiteY46757"/>
              </a:cxn>
              <a:cxn ang="0">
                <a:pos x="connsiteX46758" y="connsiteY46758"/>
              </a:cxn>
              <a:cxn ang="0">
                <a:pos x="connsiteX46759" y="connsiteY46759"/>
              </a:cxn>
              <a:cxn ang="0">
                <a:pos x="connsiteX46760" y="connsiteY46760"/>
              </a:cxn>
              <a:cxn ang="0">
                <a:pos x="connsiteX46761" y="connsiteY46761"/>
              </a:cxn>
              <a:cxn ang="0">
                <a:pos x="connsiteX46762" y="connsiteY46762"/>
              </a:cxn>
              <a:cxn ang="0">
                <a:pos x="connsiteX46763" y="connsiteY46763"/>
              </a:cxn>
              <a:cxn ang="0">
                <a:pos x="connsiteX46764" y="connsiteY46764"/>
              </a:cxn>
              <a:cxn ang="0">
                <a:pos x="connsiteX46765" y="connsiteY46765"/>
              </a:cxn>
              <a:cxn ang="0">
                <a:pos x="connsiteX46766" y="connsiteY46766"/>
              </a:cxn>
              <a:cxn ang="0">
                <a:pos x="connsiteX46767" y="connsiteY46767"/>
              </a:cxn>
              <a:cxn ang="0">
                <a:pos x="connsiteX46768" y="connsiteY46768"/>
              </a:cxn>
              <a:cxn ang="0">
                <a:pos x="connsiteX46769" y="connsiteY46769"/>
              </a:cxn>
              <a:cxn ang="0">
                <a:pos x="connsiteX46770" y="connsiteY46770"/>
              </a:cxn>
              <a:cxn ang="0">
                <a:pos x="connsiteX46771" y="connsiteY46771"/>
              </a:cxn>
              <a:cxn ang="0">
                <a:pos x="connsiteX46772" y="connsiteY46772"/>
              </a:cxn>
              <a:cxn ang="0">
                <a:pos x="connsiteX46773" y="connsiteY46773"/>
              </a:cxn>
              <a:cxn ang="0">
                <a:pos x="connsiteX46774" y="connsiteY46774"/>
              </a:cxn>
              <a:cxn ang="0">
                <a:pos x="connsiteX46775" y="connsiteY46775"/>
              </a:cxn>
              <a:cxn ang="0">
                <a:pos x="connsiteX46776" y="connsiteY46776"/>
              </a:cxn>
              <a:cxn ang="0">
                <a:pos x="connsiteX46777" y="connsiteY46777"/>
              </a:cxn>
              <a:cxn ang="0">
                <a:pos x="connsiteX46778" y="connsiteY46778"/>
              </a:cxn>
              <a:cxn ang="0">
                <a:pos x="connsiteX46779" y="connsiteY46779"/>
              </a:cxn>
              <a:cxn ang="0">
                <a:pos x="connsiteX46780" y="connsiteY46780"/>
              </a:cxn>
              <a:cxn ang="0">
                <a:pos x="connsiteX46781" y="connsiteY46781"/>
              </a:cxn>
              <a:cxn ang="0">
                <a:pos x="connsiteX46782" y="connsiteY46782"/>
              </a:cxn>
              <a:cxn ang="0">
                <a:pos x="connsiteX46783" y="connsiteY46783"/>
              </a:cxn>
              <a:cxn ang="0">
                <a:pos x="connsiteX46784" y="connsiteY46784"/>
              </a:cxn>
              <a:cxn ang="0">
                <a:pos x="connsiteX46785" y="connsiteY46785"/>
              </a:cxn>
              <a:cxn ang="0">
                <a:pos x="connsiteX46786" y="connsiteY46786"/>
              </a:cxn>
              <a:cxn ang="0">
                <a:pos x="connsiteX46787" y="connsiteY46787"/>
              </a:cxn>
              <a:cxn ang="0">
                <a:pos x="connsiteX46788" y="connsiteY46788"/>
              </a:cxn>
              <a:cxn ang="0">
                <a:pos x="connsiteX46789" y="connsiteY46789"/>
              </a:cxn>
              <a:cxn ang="0">
                <a:pos x="connsiteX46790" y="connsiteY46790"/>
              </a:cxn>
              <a:cxn ang="0">
                <a:pos x="connsiteX46791" y="connsiteY46791"/>
              </a:cxn>
              <a:cxn ang="0">
                <a:pos x="connsiteX46792" y="connsiteY46792"/>
              </a:cxn>
              <a:cxn ang="0">
                <a:pos x="connsiteX46793" y="connsiteY46793"/>
              </a:cxn>
              <a:cxn ang="0">
                <a:pos x="connsiteX46794" y="connsiteY46794"/>
              </a:cxn>
              <a:cxn ang="0">
                <a:pos x="connsiteX46795" y="connsiteY46795"/>
              </a:cxn>
              <a:cxn ang="0">
                <a:pos x="connsiteX46796" y="connsiteY46796"/>
              </a:cxn>
              <a:cxn ang="0">
                <a:pos x="connsiteX46797" y="connsiteY46797"/>
              </a:cxn>
              <a:cxn ang="0">
                <a:pos x="connsiteX46798" y="connsiteY46798"/>
              </a:cxn>
              <a:cxn ang="0">
                <a:pos x="connsiteX46799" y="connsiteY46799"/>
              </a:cxn>
              <a:cxn ang="0">
                <a:pos x="connsiteX46800" y="connsiteY46800"/>
              </a:cxn>
              <a:cxn ang="0">
                <a:pos x="connsiteX46801" y="connsiteY46801"/>
              </a:cxn>
              <a:cxn ang="0">
                <a:pos x="connsiteX46802" y="connsiteY46802"/>
              </a:cxn>
              <a:cxn ang="0">
                <a:pos x="connsiteX46803" y="connsiteY46803"/>
              </a:cxn>
              <a:cxn ang="0">
                <a:pos x="connsiteX46804" y="connsiteY46804"/>
              </a:cxn>
              <a:cxn ang="0">
                <a:pos x="connsiteX46805" y="connsiteY46805"/>
              </a:cxn>
              <a:cxn ang="0">
                <a:pos x="connsiteX46806" y="connsiteY46806"/>
              </a:cxn>
              <a:cxn ang="0">
                <a:pos x="connsiteX46807" y="connsiteY46807"/>
              </a:cxn>
              <a:cxn ang="0">
                <a:pos x="connsiteX46808" y="connsiteY46808"/>
              </a:cxn>
              <a:cxn ang="0">
                <a:pos x="connsiteX46809" y="connsiteY46809"/>
              </a:cxn>
              <a:cxn ang="0">
                <a:pos x="connsiteX46810" y="connsiteY46810"/>
              </a:cxn>
              <a:cxn ang="0">
                <a:pos x="connsiteX46811" y="connsiteY46811"/>
              </a:cxn>
              <a:cxn ang="0">
                <a:pos x="connsiteX46812" y="connsiteY46812"/>
              </a:cxn>
              <a:cxn ang="0">
                <a:pos x="connsiteX46813" y="connsiteY46813"/>
              </a:cxn>
              <a:cxn ang="0">
                <a:pos x="connsiteX46814" y="connsiteY46814"/>
              </a:cxn>
              <a:cxn ang="0">
                <a:pos x="connsiteX46815" y="connsiteY46815"/>
              </a:cxn>
              <a:cxn ang="0">
                <a:pos x="connsiteX46816" y="connsiteY46816"/>
              </a:cxn>
              <a:cxn ang="0">
                <a:pos x="connsiteX46817" y="connsiteY46817"/>
              </a:cxn>
              <a:cxn ang="0">
                <a:pos x="connsiteX46818" y="connsiteY46818"/>
              </a:cxn>
              <a:cxn ang="0">
                <a:pos x="connsiteX46819" y="connsiteY46819"/>
              </a:cxn>
              <a:cxn ang="0">
                <a:pos x="connsiteX46820" y="connsiteY46820"/>
              </a:cxn>
              <a:cxn ang="0">
                <a:pos x="connsiteX46821" y="connsiteY46821"/>
              </a:cxn>
              <a:cxn ang="0">
                <a:pos x="connsiteX46822" y="connsiteY46822"/>
              </a:cxn>
              <a:cxn ang="0">
                <a:pos x="connsiteX46823" y="connsiteY46823"/>
              </a:cxn>
              <a:cxn ang="0">
                <a:pos x="connsiteX46824" y="connsiteY46824"/>
              </a:cxn>
              <a:cxn ang="0">
                <a:pos x="connsiteX46825" y="connsiteY46825"/>
              </a:cxn>
              <a:cxn ang="0">
                <a:pos x="connsiteX46826" y="connsiteY46826"/>
              </a:cxn>
              <a:cxn ang="0">
                <a:pos x="connsiteX46827" y="connsiteY46827"/>
              </a:cxn>
              <a:cxn ang="0">
                <a:pos x="connsiteX46828" y="connsiteY46828"/>
              </a:cxn>
              <a:cxn ang="0">
                <a:pos x="connsiteX46829" y="connsiteY46829"/>
              </a:cxn>
              <a:cxn ang="0">
                <a:pos x="connsiteX46830" y="connsiteY46830"/>
              </a:cxn>
              <a:cxn ang="0">
                <a:pos x="connsiteX46831" y="connsiteY46831"/>
              </a:cxn>
              <a:cxn ang="0">
                <a:pos x="connsiteX46832" y="connsiteY46832"/>
              </a:cxn>
              <a:cxn ang="0">
                <a:pos x="connsiteX46833" y="connsiteY46833"/>
              </a:cxn>
              <a:cxn ang="0">
                <a:pos x="connsiteX46834" y="connsiteY46834"/>
              </a:cxn>
              <a:cxn ang="0">
                <a:pos x="connsiteX46835" y="connsiteY46835"/>
              </a:cxn>
              <a:cxn ang="0">
                <a:pos x="connsiteX46836" y="connsiteY46836"/>
              </a:cxn>
              <a:cxn ang="0">
                <a:pos x="connsiteX46837" y="connsiteY46837"/>
              </a:cxn>
              <a:cxn ang="0">
                <a:pos x="connsiteX46838" y="connsiteY46838"/>
              </a:cxn>
              <a:cxn ang="0">
                <a:pos x="connsiteX46839" y="connsiteY46839"/>
              </a:cxn>
              <a:cxn ang="0">
                <a:pos x="connsiteX46840" y="connsiteY46840"/>
              </a:cxn>
              <a:cxn ang="0">
                <a:pos x="connsiteX46841" y="connsiteY46841"/>
              </a:cxn>
              <a:cxn ang="0">
                <a:pos x="connsiteX46842" y="connsiteY46842"/>
              </a:cxn>
              <a:cxn ang="0">
                <a:pos x="connsiteX46843" y="connsiteY46843"/>
              </a:cxn>
              <a:cxn ang="0">
                <a:pos x="connsiteX46844" y="connsiteY46844"/>
              </a:cxn>
              <a:cxn ang="0">
                <a:pos x="connsiteX46845" y="connsiteY46845"/>
              </a:cxn>
              <a:cxn ang="0">
                <a:pos x="connsiteX46846" y="connsiteY46846"/>
              </a:cxn>
              <a:cxn ang="0">
                <a:pos x="connsiteX46847" y="connsiteY46847"/>
              </a:cxn>
              <a:cxn ang="0">
                <a:pos x="connsiteX46848" y="connsiteY46848"/>
              </a:cxn>
              <a:cxn ang="0">
                <a:pos x="connsiteX46849" y="connsiteY46849"/>
              </a:cxn>
              <a:cxn ang="0">
                <a:pos x="connsiteX46850" y="connsiteY46850"/>
              </a:cxn>
              <a:cxn ang="0">
                <a:pos x="connsiteX46851" y="connsiteY46851"/>
              </a:cxn>
              <a:cxn ang="0">
                <a:pos x="connsiteX46852" y="connsiteY46852"/>
              </a:cxn>
              <a:cxn ang="0">
                <a:pos x="connsiteX46853" y="connsiteY46853"/>
              </a:cxn>
              <a:cxn ang="0">
                <a:pos x="connsiteX46854" y="connsiteY46854"/>
              </a:cxn>
              <a:cxn ang="0">
                <a:pos x="connsiteX46855" y="connsiteY46855"/>
              </a:cxn>
              <a:cxn ang="0">
                <a:pos x="connsiteX46856" y="connsiteY46856"/>
              </a:cxn>
              <a:cxn ang="0">
                <a:pos x="connsiteX46857" y="connsiteY46857"/>
              </a:cxn>
              <a:cxn ang="0">
                <a:pos x="connsiteX46858" y="connsiteY46858"/>
              </a:cxn>
              <a:cxn ang="0">
                <a:pos x="connsiteX46859" y="connsiteY46859"/>
              </a:cxn>
              <a:cxn ang="0">
                <a:pos x="connsiteX46860" y="connsiteY46860"/>
              </a:cxn>
              <a:cxn ang="0">
                <a:pos x="connsiteX46861" y="connsiteY46861"/>
              </a:cxn>
              <a:cxn ang="0">
                <a:pos x="connsiteX46862" y="connsiteY46862"/>
              </a:cxn>
              <a:cxn ang="0">
                <a:pos x="connsiteX46863" y="connsiteY46863"/>
              </a:cxn>
              <a:cxn ang="0">
                <a:pos x="connsiteX46864" y="connsiteY46864"/>
              </a:cxn>
              <a:cxn ang="0">
                <a:pos x="connsiteX46865" y="connsiteY46865"/>
              </a:cxn>
              <a:cxn ang="0">
                <a:pos x="connsiteX46866" y="connsiteY46866"/>
              </a:cxn>
              <a:cxn ang="0">
                <a:pos x="connsiteX46867" y="connsiteY46867"/>
              </a:cxn>
              <a:cxn ang="0">
                <a:pos x="connsiteX46868" y="connsiteY46868"/>
              </a:cxn>
              <a:cxn ang="0">
                <a:pos x="connsiteX46869" y="connsiteY46869"/>
              </a:cxn>
              <a:cxn ang="0">
                <a:pos x="connsiteX46870" y="connsiteY46870"/>
              </a:cxn>
              <a:cxn ang="0">
                <a:pos x="connsiteX46871" y="connsiteY46871"/>
              </a:cxn>
              <a:cxn ang="0">
                <a:pos x="connsiteX46872" y="connsiteY46872"/>
              </a:cxn>
              <a:cxn ang="0">
                <a:pos x="connsiteX46873" y="connsiteY46873"/>
              </a:cxn>
              <a:cxn ang="0">
                <a:pos x="connsiteX46874" y="connsiteY46874"/>
              </a:cxn>
              <a:cxn ang="0">
                <a:pos x="connsiteX46875" y="connsiteY46875"/>
              </a:cxn>
              <a:cxn ang="0">
                <a:pos x="connsiteX46876" y="connsiteY46876"/>
              </a:cxn>
              <a:cxn ang="0">
                <a:pos x="connsiteX46877" y="connsiteY46877"/>
              </a:cxn>
              <a:cxn ang="0">
                <a:pos x="connsiteX46878" y="connsiteY46878"/>
              </a:cxn>
              <a:cxn ang="0">
                <a:pos x="connsiteX46879" y="connsiteY46879"/>
              </a:cxn>
              <a:cxn ang="0">
                <a:pos x="connsiteX46880" y="connsiteY46880"/>
              </a:cxn>
              <a:cxn ang="0">
                <a:pos x="connsiteX46881" y="connsiteY46881"/>
              </a:cxn>
              <a:cxn ang="0">
                <a:pos x="connsiteX46882" y="connsiteY46882"/>
              </a:cxn>
              <a:cxn ang="0">
                <a:pos x="connsiteX46883" y="connsiteY46883"/>
              </a:cxn>
              <a:cxn ang="0">
                <a:pos x="connsiteX46884" y="connsiteY46884"/>
              </a:cxn>
              <a:cxn ang="0">
                <a:pos x="connsiteX46885" y="connsiteY46885"/>
              </a:cxn>
              <a:cxn ang="0">
                <a:pos x="connsiteX46886" y="connsiteY46886"/>
              </a:cxn>
              <a:cxn ang="0">
                <a:pos x="connsiteX46887" y="connsiteY46887"/>
              </a:cxn>
              <a:cxn ang="0">
                <a:pos x="connsiteX46888" y="connsiteY46888"/>
              </a:cxn>
              <a:cxn ang="0">
                <a:pos x="connsiteX46889" y="connsiteY46889"/>
              </a:cxn>
              <a:cxn ang="0">
                <a:pos x="connsiteX46890" y="connsiteY46890"/>
              </a:cxn>
              <a:cxn ang="0">
                <a:pos x="connsiteX46891" y="connsiteY46891"/>
              </a:cxn>
              <a:cxn ang="0">
                <a:pos x="connsiteX46892" y="connsiteY46892"/>
              </a:cxn>
              <a:cxn ang="0">
                <a:pos x="connsiteX46893" y="connsiteY46893"/>
              </a:cxn>
              <a:cxn ang="0">
                <a:pos x="connsiteX46894" y="connsiteY46894"/>
              </a:cxn>
              <a:cxn ang="0">
                <a:pos x="connsiteX46895" y="connsiteY46895"/>
              </a:cxn>
              <a:cxn ang="0">
                <a:pos x="connsiteX46896" y="connsiteY46896"/>
              </a:cxn>
              <a:cxn ang="0">
                <a:pos x="connsiteX46897" y="connsiteY46897"/>
              </a:cxn>
              <a:cxn ang="0">
                <a:pos x="connsiteX46898" y="connsiteY46898"/>
              </a:cxn>
              <a:cxn ang="0">
                <a:pos x="connsiteX46899" y="connsiteY46899"/>
              </a:cxn>
              <a:cxn ang="0">
                <a:pos x="connsiteX46900" y="connsiteY46900"/>
              </a:cxn>
              <a:cxn ang="0">
                <a:pos x="connsiteX46901" y="connsiteY46901"/>
              </a:cxn>
              <a:cxn ang="0">
                <a:pos x="connsiteX46902" y="connsiteY46902"/>
              </a:cxn>
              <a:cxn ang="0">
                <a:pos x="connsiteX46903" y="connsiteY46903"/>
              </a:cxn>
              <a:cxn ang="0">
                <a:pos x="connsiteX46904" y="connsiteY46904"/>
              </a:cxn>
              <a:cxn ang="0">
                <a:pos x="connsiteX46905" y="connsiteY46905"/>
              </a:cxn>
              <a:cxn ang="0">
                <a:pos x="connsiteX46906" y="connsiteY46906"/>
              </a:cxn>
              <a:cxn ang="0">
                <a:pos x="connsiteX46907" y="connsiteY46907"/>
              </a:cxn>
              <a:cxn ang="0">
                <a:pos x="connsiteX46908" y="connsiteY46908"/>
              </a:cxn>
              <a:cxn ang="0">
                <a:pos x="connsiteX46909" y="connsiteY46909"/>
              </a:cxn>
              <a:cxn ang="0">
                <a:pos x="connsiteX46910" y="connsiteY46910"/>
              </a:cxn>
              <a:cxn ang="0">
                <a:pos x="connsiteX46911" y="connsiteY46911"/>
              </a:cxn>
              <a:cxn ang="0">
                <a:pos x="connsiteX46912" y="connsiteY46912"/>
              </a:cxn>
              <a:cxn ang="0">
                <a:pos x="connsiteX46913" y="connsiteY46913"/>
              </a:cxn>
              <a:cxn ang="0">
                <a:pos x="connsiteX46914" y="connsiteY46914"/>
              </a:cxn>
              <a:cxn ang="0">
                <a:pos x="connsiteX46915" y="connsiteY46915"/>
              </a:cxn>
              <a:cxn ang="0">
                <a:pos x="connsiteX46916" y="connsiteY46916"/>
              </a:cxn>
              <a:cxn ang="0">
                <a:pos x="connsiteX46917" y="connsiteY46917"/>
              </a:cxn>
              <a:cxn ang="0">
                <a:pos x="connsiteX46918" y="connsiteY46918"/>
              </a:cxn>
              <a:cxn ang="0">
                <a:pos x="connsiteX46919" y="connsiteY46919"/>
              </a:cxn>
              <a:cxn ang="0">
                <a:pos x="connsiteX46920" y="connsiteY46920"/>
              </a:cxn>
              <a:cxn ang="0">
                <a:pos x="connsiteX46921" y="connsiteY46921"/>
              </a:cxn>
              <a:cxn ang="0">
                <a:pos x="connsiteX46922" y="connsiteY46922"/>
              </a:cxn>
              <a:cxn ang="0">
                <a:pos x="connsiteX46923" y="connsiteY46923"/>
              </a:cxn>
              <a:cxn ang="0">
                <a:pos x="connsiteX46924" y="connsiteY46924"/>
              </a:cxn>
              <a:cxn ang="0">
                <a:pos x="connsiteX46925" y="connsiteY46925"/>
              </a:cxn>
              <a:cxn ang="0">
                <a:pos x="connsiteX46926" y="connsiteY46926"/>
              </a:cxn>
              <a:cxn ang="0">
                <a:pos x="connsiteX46927" y="connsiteY46927"/>
              </a:cxn>
              <a:cxn ang="0">
                <a:pos x="connsiteX46928" y="connsiteY46928"/>
              </a:cxn>
              <a:cxn ang="0">
                <a:pos x="connsiteX46929" y="connsiteY46929"/>
              </a:cxn>
              <a:cxn ang="0">
                <a:pos x="connsiteX46930" y="connsiteY46930"/>
              </a:cxn>
              <a:cxn ang="0">
                <a:pos x="connsiteX46931" y="connsiteY46931"/>
              </a:cxn>
              <a:cxn ang="0">
                <a:pos x="connsiteX46932" y="connsiteY46932"/>
              </a:cxn>
              <a:cxn ang="0">
                <a:pos x="connsiteX46933" y="connsiteY46933"/>
              </a:cxn>
              <a:cxn ang="0">
                <a:pos x="connsiteX46934" y="connsiteY46934"/>
              </a:cxn>
              <a:cxn ang="0">
                <a:pos x="connsiteX46935" y="connsiteY46935"/>
              </a:cxn>
              <a:cxn ang="0">
                <a:pos x="connsiteX46936" y="connsiteY46936"/>
              </a:cxn>
              <a:cxn ang="0">
                <a:pos x="connsiteX46937" y="connsiteY46937"/>
              </a:cxn>
              <a:cxn ang="0">
                <a:pos x="connsiteX46938" y="connsiteY46938"/>
              </a:cxn>
              <a:cxn ang="0">
                <a:pos x="connsiteX46939" y="connsiteY46939"/>
              </a:cxn>
              <a:cxn ang="0">
                <a:pos x="connsiteX46940" y="connsiteY46940"/>
              </a:cxn>
              <a:cxn ang="0">
                <a:pos x="connsiteX46941" y="connsiteY46941"/>
              </a:cxn>
              <a:cxn ang="0">
                <a:pos x="connsiteX46942" y="connsiteY46942"/>
              </a:cxn>
              <a:cxn ang="0">
                <a:pos x="connsiteX46943" y="connsiteY46943"/>
              </a:cxn>
              <a:cxn ang="0">
                <a:pos x="connsiteX46944" y="connsiteY46944"/>
              </a:cxn>
              <a:cxn ang="0">
                <a:pos x="connsiteX46945" y="connsiteY46945"/>
              </a:cxn>
              <a:cxn ang="0">
                <a:pos x="connsiteX46946" y="connsiteY46946"/>
              </a:cxn>
              <a:cxn ang="0">
                <a:pos x="connsiteX46947" y="connsiteY46947"/>
              </a:cxn>
              <a:cxn ang="0">
                <a:pos x="connsiteX46948" y="connsiteY46948"/>
              </a:cxn>
              <a:cxn ang="0">
                <a:pos x="connsiteX46949" y="connsiteY46949"/>
              </a:cxn>
              <a:cxn ang="0">
                <a:pos x="connsiteX46950" y="connsiteY46950"/>
              </a:cxn>
              <a:cxn ang="0">
                <a:pos x="connsiteX46951" y="connsiteY46951"/>
              </a:cxn>
              <a:cxn ang="0">
                <a:pos x="connsiteX46952" y="connsiteY46952"/>
              </a:cxn>
              <a:cxn ang="0">
                <a:pos x="connsiteX46953" y="connsiteY46953"/>
              </a:cxn>
              <a:cxn ang="0">
                <a:pos x="connsiteX46954" y="connsiteY46954"/>
              </a:cxn>
              <a:cxn ang="0">
                <a:pos x="connsiteX46955" y="connsiteY46955"/>
              </a:cxn>
              <a:cxn ang="0">
                <a:pos x="connsiteX46956" y="connsiteY46956"/>
              </a:cxn>
              <a:cxn ang="0">
                <a:pos x="connsiteX46957" y="connsiteY46957"/>
              </a:cxn>
              <a:cxn ang="0">
                <a:pos x="connsiteX46958" y="connsiteY46958"/>
              </a:cxn>
              <a:cxn ang="0">
                <a:pos x="connsiteX46959" y="connsiteY46959"/>
              </a:cxn>
              <a:cxn ang="0">
                <a:pos x="connsiteX46960" y="connsiteY46960"/>
              </a:cxn>
              <a:cxn ang="0">
                <a:pos x="connsiteX46961" y="connsiteY46961"/>
              </a:cxn>
              <a:cxn ang="0">
                <a:pos x="connsiteX46962" y="connsiteY46962"/>
              </a:cxn>
              <a:cxn ang="0">
                <a:pos x="connsiteX46963" y="connsiteY46963"/>
              </a:cxn>
              <a:cxn ang="0">
                <a:pos x="connsiteX46964" y="connsiteY46964"/>
              </a:cxn>
              <a:cxn ang="0">
                <a:pos x="connsiteX46965" y="connsiteY46965"/>
              </a:cxn>
              <a:cxn ang="0">
                <a:pos x="connsiteX46966" y="connsiteY46966"/>
              </a:cxn>
              <a:cxn ang="0">
                <a:pos x="connsiteX46967" y="connsiteY46967"/>
              </a:cxn>
              <a:cxn ang="0">
                <a:pos x="connsiteX46968" y="connsiteY46968"/>
              </a:cxn>
              <a:cxn ang="0">
                <a:pos x="connsiteX46969" y="connsiteY46969"/>
              </a:cxn>
              <a:cxn ang="0">
                <a:pos x="connsiteX46970" y="connsiteY46970"/>
              </a:cxn>
              <a:cxn ang="0">
                <a:pos x="connsiteX46971" y="connsiteY46971"/>
              </a:cxn>
              <a:cxn ang="0">
                <a:pos x="connsiteX46972" y="connsiteY46972"/>
              </a:cxn>
              <a:cxn ang="0">
                <a:pos x="connsiteX46973" y="connsiteY46973"/>
              </a:cxn>
              <a:cxn ang="0">
                <a:pos x="connsiteX46974" y="connsiteY46974"/>
              </a:cxn>
              <a:cxn ang="0">
                <a:pos x="connsiteX46975" y="connsiteY46975"/>
              </a:cxn>
              <a:cxn ang="0">
                <a:pos x="connsiteX46976" y="connsiteY46976"/>
              </a:cxn>
              <a:cxn ang="0">
                <a:pos x="connsiteX46977" y="connsiteY46977"/>
              </a:cxn>
              <a:cxn ang="0">
                <a:pos x="connsiteX46978" y="connsiteY46978"/>
              </a:cxn>
              <a:cxn ang="0">
                <a:pos x="connsiteX46979" y="connsiteY46979"/>
              </a:cxn>
              <a:cxn ang="0">
                <a:pos x="connsiteX46980" y="connsiteY46980"/>
              </a:cxn>
              <a:cxn ang="0">
                <a:pos x="connsiteX46981" y="connsiteY46981"/>
              </a:cxn>
              <a:cxn ang="0">
                <a:pos x="connsiteX46982" y="connsiteY46982"/>
              </a:cxn>
              <a:cxn ang="0">
                <a:pos x="connsiteX46983" y="connsiteY46983"/>
              </a:cxn>
              <a:cxn ang="0">
                <a:pos x="connsiteX46984" y="connsiteY46984"/>
              </a:cxn>
              <a:cxn ang="0">
                <a:pos x="connsiteX46985" y="connsiteY46985"/>
              </a:cxn>
              <a:cxn ang="0">
                <a:pos x="connsiteX46986" y="connsiteY46986"/>
              </a:cxn>
              <a:cxn ang="0">
                <a:pos x="connsiteX46987" y="connsiteY46987"/>
              </a:cxn>
              <a:cxn ang="0">
                <a:pos x="connsiteX46988" y="connsiteY46988"/>
              </a:cxn>
              <a:cxn ang="0">
                <a:pos x="connsiteX46989" y="connsiteY46989"/>
              </a:cxn>
              <a:cxn ang="0">
                <a:pos x="connsiteX46990" y="connsiteY46990"/>
              </a:cxn>
              <a:cxn ang="0">
                <a:pos x="connsiteX46991" y="connsiteY46991"/>
              </a:cxn>
              <a:cxn ang="0">
                <a:pos x="connsiteX46992" y="connsiteY46992"/>
              </a:cxn>
              <a:cxn ang="0">
                <a:pos x="connsiteX46993" y="connsiteY46993"/>
              </a:cxn>
              <a:cxn ang="0">
                <a:pos x="connsiteX46994" y="connsiteY46994"/>
              </a:cxn>
              <a:cxn ang="0">
                <a:pos x="connsiteX46995" y="connsiteY46995"/>
              </a:cxn>
              <a:cxn ang="0">
                <a:pos x="connsiteX46996" y="connsiteY46996"/>
              </a:cxn>
              <a:cxn ang="0">
                <a:pos x="connsiteX46997" y="connsiteY46997"/>
              </a:cxn>
              <a:cxn ang="0">
                <a:pos x="connsiteX46998" y="connsiteY46998"/>
              </a:cxn>
              <a:cxn ang="0">
                <a:pos x="connsiteX46999" y="connsiteY46999"/>
              </a:cxn>
              <a:cxn ang="0">
                <a:pos x="connsiteX47000" y="connsiteY47000"/>
              </a:cxn>
              <a:cxn ang="0">
                <a:pos x="connsiteX47001" y="connsiteY47001"/>
              </a:cxn>
              <a:cxn ang="0">
                <a:pos x="connsiteX47002" y="connsiteY47002"/>
              </a:cxn>
              <a:cxn ang="0">
                <a:pos x="connsiteX47003" y="connsiteY47003"/>
              </a:cxn>
              <a:cxn ang="0">
                <a:pos x="connsiteX47004" y="connsiteY47004"/>
              </a:cxn>
              <a:cxn ang="0">
                <a:pos x="connsiteX47005" y="connsiteY47005"/>
              </a:cxn>
              <a:cxn ang="0">
                <a:pos x="connsiteX47006" y="connsiteY47006"/>
              </a:cxn>
              <a:cxn ang="0">
                <a:pos x="connsiteX47007" y="connsiteY47007"/>
              </a:cxn>
              <a:cxn ang="0">
                <a:pos x="connsiteX47008" y="connsiteY47008"/>
              </a:cxn>
              <a:cxn ang="0">
                <a:pos x="connsiteX47009" y="connsiteY47009"/>
              </a:cxn>
              <a:cxn ang="0">
                <a:pos x="connsiteX47010" y="connsiteY47010"/>
              </a:cxn>
              <a:cxn ang="0">
                <a:pos x="connsiteX47011" y="connsiteY47011"/>
              </a:cxn>
              <a:cxn ang="0">
                <a:pos x="connsiteX47012" y="connsiteY47012"/>
              </a:cxn>
              <a:cxn ang="0">
                <a:pos x="connsiteX47013" y="connsiteY47013"/>
              </a:cxn>
              <a:cxn ang="0">
                <a:pos x="connsiteX47014" y="connsiteY47014"/>
              </a:cxn>
              <a:cxn ang="0">
                <a:pos x="connsiteX47015" y="connsiteY47015"/>
              </a:cxn>
              <a:cxn ang="0">
                <a:pos x="connsiteX47016" y="connsiteY47016"/>
              </a:cxn>
              <a:cxn ang="0">
                <a:pos x="connsiteX47017" y="connsiteY47017"/>
              </a:cxn>
              <a:cxn ang="0">
                <a:pos x="connsiteX47018" y="connsiteY47018"/>
              </a:cxn>
              <a:cxn ang="0">
                <a:pos x="connsiteX47019" y="connsiteY47019"/>
              </a:cxn>
              <a:cxn ang="0">
                <a:pos x="connsiteX47020" y="connsiteY47020"/>
              </a:cxn>
              <a:cxn ang="0">
                <a:pos x="connsiteX47021" y="connsiteY47021"/>
              </a:cxn>
              <a:cxn ang="0">
                <a:pos x="connsiteX47022" y="connsiteY47022"/>
              </a:cxn>
              <a:cxn ang="0">
                <a:pos x="connsiteX47023" y="connsiteY47023"/>
              </a:cxn>
              <a:cxn ang="0">
                <a:pos x="connsiteX47024" y="connsiteY47024"/>
              </a:cxn>
              <a:cxn ang="0">
                <a:pos x="connsiteX47025" y="connsiteY47025"/>
              </a:cxn>
              <a:cxn ang="0">
                <a:pos x="connsiteX47026" y="connsiteY47026"/>
              </a:cxn>
              <a:cxn ang="0">
                <a:pos x="connsiteX47027" y="connsiteY47027"/>
              </a:cxn>
              <a:cxn ang="0">
                <a:pos x="connsiteX47028" y="connsiteY47028"/>
              </a:cxn>
              <a:cxn ang="0">
                <a:pos x="connsiteX47029" y="connsiteY47029"/>
              </a:cxn>
              <a:cxn ang="0">
                <a:pos x="connsiteX47030" y="connsiteY47030"/>
              </a:cxn>
              <a:cxn ang="0">
                <a:pos x="connsiteX47031" y="connsiteY47031"/>
              </a:cxn>
              <a:cxn ang="0">
                <a:pos x="connsiteX47032" y="connsiteY47032"/>
              </a:cxn>
              <a:cxn ang="0">
                <a:pos x="connsiteX47033" y="connsiteY47033"/>
              </a:cxn>
              <a:cxn ang="0">
                <a:pos x="connsiteX47034" y="connsiteY47034"/>
              </a:cxn>
              <a:cxn ang="0">
                <a:pos x="connsiteX47035" y="connsiteY47035"/>
              </a:cxn>
              <a:cxn ang="0">
                <a:pos x="connsiteX47036" y="connsiteY47036"/>
              </a:cxn>
              <a:cxn ang="0">
                <a:pos x="connsiteX47037" y="connsiteY47037"/>
              </a:cxn>
              <a:cxn ang="0">
                <a:pos x="connsiteX47038" y="connsiteY47038"/>
              </a:cxn>
              <a:cxn ang="0">
                <a:pos x="connsiteX47039" y="connsiteY47039"/>
              </a:cxn>
              <a:cxn ang="0">
                <a:pos x="connsiteX47040" y="connsiteY47040"/>
              </a:cxn>
              <a:cxn ang="0">
                <a:pos x="connsiteX47041" y="connsiteY47041"/>
              </a:cxn>
              <a:cxn ang="0">
                <a:pos x="connsiteX47042" y="connsiteY47042"/>
              </a:cxn>
              <a:cxn ang="0">
                <a:pos x="connsiteX47043" y="connsiteY47043"/>
              </a:cxn>
              <a:cxn ang="0">
                <a:pos x="connsiteX47044" y="connsiteY47044"/>
              </a:cxn>
              <a:cxn ang="0">
                <a:pos x="connsiteX47045" y="connsiteY47045"/>
              </a:cxn>
              <a:cxn ang="0">
                <a:pos x="connsiteX47046" y="connsiteY47046"/>
              </a:cxn>
              <a:cxn ang="0">
                <a:pos x="connsiteX47047" y="connsiteY47047"/>
              </a:cxn>
              <a:cxn ang="0">
                <a:pos x="connsiteX47048" y="connsiteY47048"/>
              </a:cxn>
              <a:cxn ang="0">
                <a:pos x="connsiteX47049" y="connsiteY47049"/>
              </a:cxn>
              <a:cxn ang="0">
                <a:pos x="connsiteX47050" y="connsiteY47050"/>
              </a:cxn>
              <a:cxn ang="0">
                <a:pos x="connsiteX47051" y="connsiteY47051"/>
              </a:cxn>
              <a:cxn ang="0">
                <a:pos x="connsiteX47052" y="connsiteY47052"/>
              </a:cxn>
              <a:cxn ang="0">
                <a:pos x="connsiteX47053" y="connsiteY47053"/>
              </a:cxn>
              <a:cxn ang="0">
                <a:pos x="connsiteX47054" y="connsiteY47054"/>
              </a:cxn>
              <a:cxn ang="0">
                <a:pos x="connsiteX47055" y="connsiteY47055"/>
              </a:cxn>
              <a:cxn ang="0">
                <a:pos x="connsiteX47056" y="connsiteY47056"/>
              </a:cxn>
              <a:cxn ang="0">
                <a:pos x="connsiteX47057" y="connsiteY47057"/>
              </a:cxn>
              <a:cxn ang="0">
                <a:pos x="connsiteX47058" y="connsiteY47058"/>
              </a:cxn>
              <a:cxn ang="0">
                <a:pos x="connsiteX47059" y="connsiteY47059"/>
              </a:cxn>
              <a:cxn ang="0">
                <a:pos x="connsiteX47060" y="connsiteY47060"/>
              </a:cxn>
              <a:cxn ang="0">
                <a:pos x="connsiteX47061" y="connsiteY47061"/>
              </a:cxn>
              <a:cxn ang="0">
                <a:pos x="connsiteX47062" y="connsiteY47062"/>
              </a:cxn>
              <a:cxn ang="0">
                <a:pos x="connsiteX47063" y="connsiteY47063"/>
              </a:cxn>
              <a:cxn ang="0">
                <a:pos x="connsiteX47064" y="connsiteY47064"/>
              </a:cxn>
              <a:cxn ang="0">
                <a:pos x="connsiteX47065" y="connsiteY47065"/>
              </a:cxn>
              <a:cxn ang="0">
                <a:pos x="connsiteX47066" y="connsiteY47066"/>
              </a:cxn>
              <a:cxn ang="0">
                <a:pos x="connsiteX47067" y="connsiteY47067"/>
              </a:cxn>
              <a:cxn ang="0">
                <a:pos x="connsiteX47068" y="connsiteY47068"/>
              </a:cxn>
              <a:cxn ang="0">
                <a:pos x="connsiteX47069" y="connsiteY47069"/>
              </a:cxn>
              <a:cxn ang="0">
                <a:pos x="connsiteX47070" y="connsiteY47070"/>
              </a:cxn>
              <a:cxn ang="0">
                <a:pos x="connsiteX47071" y="connsiteY47071"/>
              </a:cxn>
              <a:cxn ang="0">
                <a:pos x="connsiteX47072" y="connsiteY47072"/>
              </a:cxn>
              <a:cxn ang="0">
                <a:pos x="connsiteX47073" y="connsiteY47073"/>
              </a:cxn>
              <a:cxn ang="0">
                <a:pos x="connsiteX47074" y="connsiteY47074"/>
              </a:cxn>
              <a:cxn ang="0">
                <a:pos x="connsiteX47075" y="connsiteY47075"/>
              </a:cxn>
              <a:cxn ang="0">
                <a:pos x="connsiteX47076" y="connsiteY47076"/>
              </a:cxn>
              <a:cxn ang="0">
                <a:pos x="connsiteX47077" y="connsiteY47077"/>
              </a:cxn>
              <a:cxn ang="0">
                <a:pos x="connsiteX47078" y="connsiteY47078"/>
              </a:cxn>
              <a:cxn ang="0">
                <a:pos x="connsiteX47079" y="connsiteY47079"/>
              </a:cxn>
              <a:cxn ang="0">
                <a:pos x="connsiteX47080" y="connsiteY47080"/>
              </a:cxn>
              <a:cxn ang="0">
                <a:pos x="connsiteX47081" y="connsiteY47081"/>
              </a:cxn>
              <a:cxn ang="0">
                <a:pos x="connsiteX47082" y="connsiteY47082"/>
              </a:cxn>
              <a:cxn ang="0">
                <a:pos x="connsiteX47083" y="connsiteY47083"/>
              </a:cxn>
              <a:cxn ang="0">
                <a:pos x="connsiteX47084" y="connsiteY47084"/>
              </a:cxn>
              <a:cxn ang="0">
                <a:pos x="connsiteX47085" y="connsiteY47085"/>
              </a:cxn>
              <a:cxn ang="0">
                <a:pos x="connsiteX47086" y="connsiteY47086"/>
              </a:cxn>
              <a:cxn ang="0">
                <a:pos x="connsiteX47087" y="connsiteY47087"/>
              </a:cxn>
              <a:cxn ang="0">
                <a:pos x="connsiteX47088" y="connsiteY47088"/>
              </a:cxn>
              <a:cxn ang="0">
                <a:pos x="connsiteX47089" y="connsiteY47089"/>
              </a:cxn>
              <a:cxn ang="0">
                <a:pos x="connsiteX47090" y="connsiteY47090"/>
              </a:cxn>
              <a:cxn ang="0">
                <a:pos x="connsiteX47091" y="connsiteY47091"/>
              </a:cxn>
              <a:cxn ang="0">
                <a:pos x="connsiteX47092" y="connsiteY47092"/>
              </a:cxn>
              <a:cxn ang="0">
                <a:pos x="connsiteX47093" y="connsiteY47093"/>
              </a:cxn>
              <a:cxn ang="0">
                <a:pos x="connsiteX47094" y="connsiteY47094"/>
              </a:cxn>
              <a:cxn ang="0">
                <a:pos x="connsiteX47095" y="connsiteY47095"/>
              </a:cxn>
              <a:cxn ang="0">
                <a:pos x="connsiteX47096" y="connsiteY47096"/>
              </a:cxn>
              <a:cxn ang="0">
                <a:pos x="connsiteX47097" y="connsiteY47097"/>
              </a:cxn>
              <a:cxn ang="0">
                <a:pos x="connsiteX47098" y="connsiteY47098"/>
              </a:cxn>
              <a:cxn ang="0">
                <a:pos x="connsiteX47099" y="connsiteY47099"/>
              </a:cxn>
              <a:cxn ang="0">
                <a:pos x="connsiteX47100" y="connsiteY47100"/>
              </a:cxn>
              <a:cxn ang="0">
                <a:pos x="connsiteX47101" y="connsiteY47101"/>
              </a:cxn>
              <a:cxn ang="0">
                <a:pos x="connsiteX47102" y="connsiteY47102"/>
              </a:cxn>
              <a:cxn ang="0">
                <a:pos x="connsiteX47103" y="connsiteY47103"/>
              </a:cxn>
              <a:cxn ang="0">
                <a:pos x="connsiteX47104" y="connsiteY47104"/>
              </a:cxn>
              <a:cxn ang="0">
                <a:pos x="connsiteX47105" y="connsiteY47105"/>
              </a:cxn>
              <a:cxn ang="0">
                <a:pos x="connsiteX47106" y="connsiteY47106"/>
              </a:cxn>
              <a:cxn ang="0">
                <a:pos x="connsiteX47107" y="connsiteY47107"/>
              </a:cxn>
              <a:cxn ang="0">
                <a:pos x="connsiteX47108" y="connsiteY47108"/>
              </a:cxn>
              <a:cxn ang="0">
                <a:pos x="connsiteX47109" y="connsiteY47109"/>
              </a:cxn>
              <a:cxn ang="0">
                <a:pos x="connsiteX47110" y="connsiteY47110"/>
              </a:cxn>
              <a:cxn ang="0">
                <a:pos x="connsiteX47111" y="connsiteY47111"/>
              </a:cxn>
              <a:cxn ang="0">
                <a:pos x="connsiteX47112" y="connsiteY47112"/>
              </a:cxn>
              <a:cxn ang="0">
                <a:pos x="connsiteX47113" y="connsiteY47113"/>
              </a:cxn>
              <a:cxn ang="0">
                <a:pos x="connsiteX47114" y="connsiteY47114"/>
              </a:cxn>
              <a:cxn ang="0">
                <a:pos x="connsiteX47115" y="connsiteY47115"/>
              </a:cxn>
              <a:cxn ang="0">
                <a:pos x="connsiteX47116" y="connsiteY47116"/>
              </a:cxn>
              <a:cxn ang="0">
                <a:pos x="connsiteX47117" y="connsiteY47117"/>
              </a:cxn>
              <a:cxn ang="0">
                <a:pos x="connsiteX47118" y="connsiteY47118"/>
              </a:cxn>
              <a:cxn ang="0">
                <a:pos x="connsiteX47119" y="connsiteY47119"/>
              </a:cxn>
              <a:cxn ang="0">
                <a:pos x="connsiteX47120" y="connsiteY47120"/>
              </a:cxn>
              <a:cxn ang="0">
                <a:pos x="connsiteX47121" y="connsiteY47121"/>
              </a:cxn>
              <a:cxn ang="0">
                <a:pos x="connsiteX47122" y="connsiteY47122"/>
              </a:cxn>
              <a:cxn ang="0">
                <a:pos x="connsiteX47123" y="connsiteY47123"/>
              </a:cxn>
              <a:cxn ang="0">
                <a:pos x="connsiteX47124" y="connsiteY47124"/>
              </a:cxn>
              <a:cxn ang="0">
                <a:pos x="connsiteX47125" y="connsiteY47125"/>
              </a:cxn>
              <a:cxn ang="0">
                <a:pos x="connsiteX47126" y="connsiteY47126"/>
              </a:cxn>
              <a:cxn ang="0">
                <a:pos x="connsiteX47127" y="connsiteY47127"/>
              </a:cxn>
              <a:cxn ang="0">
                <a:pos x="connsiteX47128" y="connsiteY47128"/>
              </a:cxn>
              <a:cxn ang="0">
                <a:pos x="connsiteX47129" y="connsiteY47129"/>
              </a:cxn>
              <a:cxn ang="0">
                <a:pos x="connsiteX47130" y="connsiteY47130"/>
              </a:cxn>
              <a:cxn ang="0">
                <a:pos x="connsiteX47131" y="connsiteY47131"/>
              </a:cxn>
              <a:cxn ang="0">
                <a:pos x="connsiteX47132" y="connsiteY47132"/>
              </a:cxn>
              <a:cxn ang="0">
                <a:pos x="connsiteX47133" y="connsiteY47133"/>
              </a:cxn>
              <a:cxn ang="0">
                <a:pos x="connsiteX47134" y="connsiteY47134"/>
              </a:cxn>
              <a:cxn ang="0">
                <a:pos x="connsiteX47135" y="connsiteY47135"/>
              </a:cxn>
              <a:cxn ang="0">
                <a:pos x="connsiteX47136" y="connsiteY47136"/>
              </a:cxn>
              <a:cxn ang="0">
                <a:pos x="connsiteX47137" y="connsiteY47137"/>
              </a:cxn>
              <a:cxn ang="0">
                <a:pos x="connsiteX47138" y="connsiteY47138"/>
              </a:cxn>
              <a:cxn ang="0">
                <a:pos x="connsiteX47139" y="connsiteY47139"/>
              </a:cxn>
              <a:cxn ang="0">
                <a:pos x="connsiteX47140" y="connsiteY47140"/>
              </a:cxn>
              <a:cxn ang="0">
                <a:pos x="connsiteX47141" y="connsiteY47141"/>
              </a:cxn>
              <a:cxn ang="0">
                <a:pos x="connsiteX47142" y="connsiteY47142"/>
              </a:cxn>
              <a:cxn ang="0">
                <a:pos x="connsiteX47143" y="connsiteY47143"/>
              </a:cxn>
              <a:cxn ang="0">
                <a:pos x="connsiteX47144" y="connsiteY47144"/>
              </a:cxn>
              <a:cxn ang="0">
                <a:pos x="connsiteX47145" y="connsiteY47145"/>
              </a:cxn>
              <a:cxn ang="0">
                <a:pos x="connsiteX47146" y="connsiteY47146"/>
              </a:cxn>
              <a:cxn ang="0">
                <a:pos x="connsiteX47147" y="connsiteY47147"/>
              </a:cxn>
              <a:cxn ang="0">
                <a:pos x="connsiteX47148" y="connsiteY47148"/>
              </a:cxn>
              <a:cxn ang="0">
                <a:pos x="connsiteX47149" y="connsiteY47149"/>
              </a:cxn>
              <a:cxn ang="0">
                <a:pos x="connsiteX47150" y="connsiteY47150"/>
              </a:cxn>
              <a:cxn ang="0">
                <a:pos x="connsiteX47151" y="connsiteY47151"/>
              </a:cxn>
              <a:cxn ang="0">
                <a:pos x="connsiteX47152" y="connsiteY47152"/>
              </a:cxn>
              <a:cxn ang="0">
                <a:pos x="connsiteX47153" y="connsiteY47153"/>
              </a:cxn>
              <a:cxn ang="0">
                <a:pos x="connsiteX47154" y="connsiteY47154"/>
              </a:cxn>
              <a:cxn ang="0">
                <a:pos x="connsiteX47155" y="connsiteY47155"/>
              </a:cxn>
              <a:cxn ang="0">
                <a:pos x="connsiteX47156" y="connsiteY47156"/>
              </a:cxn>
              <a:cxn ang="0">
                <a:pos x="connsiteX47157" y="connsiteY47157"/>
              </a:cxn>
              <a:cxn ang="0">
                <a:pos x="connsiteX47158" y="connsiteY47158"/>
              </a:cxn>
              <a:cxn ang="0">
                <a:pos x="connsiteX47159" y="connsiteY47159"/>
              </a:cxn>
              <a:cxn ang="0">
                <a:pos x="connsiteX47160" y="connsiteY47160"/>
              </a:cxn>
              <a:cxn ang="0">
                <a:pos x="connsiteX47161" y="connsiteY47161"/>
              </a:cxn>
              <a:cxn ang="0">
                <a:pos x="connsiteX47162" y="connsiteY47162"/>
              </a:cxn>
              <a:cxn ang="0">
                <a:pos x="connsiteX47163" y="connsiteY47163"/>
              </a:cxn>
              <a:cxn ang="0">
                <a:pos x="connsiteX47164" y="connsiteY47164"/>
              </a:cxn>
              <a:cxn ang="0">
                <a:pos x="connsiteX47165" y="connsiteY47165"/>
              </a:cxn>
              <a:cxn ang="0">
                <a:pos x="connsiteX47166" y="connsiteY47166"/>
              </a:cxn>
              <a:cxn ang="0">
                <a:pos x="connsiteX47167" y="connsiteY47167"/>
              </a:cxn>
              <a:cxn ang="0">
                <a:pos x="connsiteX47168" y="connsiteY47168"/>
              </a:cxn>
              <a:cxn ang="0">
                <a:pos x="connsiteX47169" y="connsiteY47169"/>
              </a:cxn>
              <a:cxn ang="0">
                <a:pos x="connsiteX47170" y="connsiteY47170"/>
              </a:cxn>
              <a:cxn ang="0">
                <a:pos x="connsiteX47171" y="connsiteY47171"/>
              </a:cxn>
              <a:cxn ang="0">
                <a:pos x="connsiteX47172" y="connsiteY47172"/>
              </a:cxn>
              <a:cxn ang="0">
                <a:pos x="connsiteX47173" y="connsiteY47173"/>
              </a:cxn>
              <a:cxn ang="0">
                <a:pos x="connsiteX47174" y="connsiteY47174"/>
              </a:cxn>
              <a:cxn ang="0">
                <a:pos x="connsiteX47175" y="connsiteY47175"/>
              </a:cxn>
              <a:cxn ang="0">
                <a:pos x="connsiteX47176" y="connsiteY47176"/>
              </a:cxn>
              <a:cxn ang="0">
                <a:pos x="connsiteX47177" y="connsiteY47177"/>
              </a:cxn>
              <a:cxn ang="0">
                <a:pos x="connsiteX47178" y="connsiteY47178"/>
              </a:cxn>
              <a:cxn ang="0">
                <a:pos x="connsiteX47179" y="connsiteY47179"/>
              </a:cxn>
              <a:cxn ang="0">
                <a:pos x="connsiteX47180" y="connsiteY47180"/>
              </a:cxn>
              <a:cxn ang="0">
                <a:pos x="connsiteX47181" y="connsiteY47181"/>
              </a:cxn>
              <a:cxn ang="0">
                <a:pos x="connsiteX47182" y="connsiteY47182"/>
              </a:cxn>
              <a:cxn ang="0">
                <a:pos x="connsiteX47183" y="connsiteY47183"/>
              </a:cxn>
              <a:cxn ang="0">
                <a:pos x="connsiteX47184" y="connsiteY47184"/>
              </a:cxn>
              <a:cxn ang="0">
                <a:pos x="connsiteX47185" y="connsiteY47185"/>
              </a:cxn>
              <a:cxn ang="0">
                <a:pos x="connsiteX47186" y="connsiteY47186"/>
              </a:cxn>
              <a:cxn ang="0">
                <a:pos x="connsiteX47187" y="connsiteY47187"/>
              </a:cxn>
              <a:cxn ang="0">
                <a:pos x="connsiteX47188" y="connsiteY47188"/>
              </a:cxn>
              <a:cxn ang="0">
                <a:pos x="connsiteX47189" y="connsiteY47189"/>
              </a:cxn>
              <a:cxn ang="0">
                <a:pos x="connsiteX47190" y="connsiteY47190"/>
              </a:cxn>
              <a:cxn ang="0">
                <a:pos x="connsiteX47191" y="connsiteY47191"/>
              </a:cxn>
              <a:cxn ang="0">
                <a:pos x="connsiteX47192" y="connsiteY47192"/>
              </a:cxn>
              <a:cxn ang="0">
                <a:pos x="connsiteX47193" y="connsiteY47193"/>
              </a:cxn>
              <a:cxn ang="0">
                <a:pos x="connsiteX47194" y="connsiteY47194"/>
              </a:cxn>
              <a:cxn ang="0">
                <a:pos x="connsiteX47195" y="connsiteY47195"/>
              </a:cxn>
              <a:cxn ang="0">
                <a:pos x="connsiteX47196" y="connsiteY47196"/>
              </a:cxn>
              <a:cxn ang="0">
                <a:pos x="connsiteX47197" y="connsiteY47197"/>
              </a:cxn>
              <a:cxn ang="0">
                <a:pos x="connsiteX47198" y="connsiteY47198"/>
              </a:cxn>
              <a:cxn ang="0">
                <a:pos x="connsiteX47199" y="connsiteY47199"/>
              </a:cxn>
              <a:cxn ang="0">
                <a:pos x="connsiteX47200" y="connsiteY47200"/>
              </a:cxn>
              <a:cxn ang="0">
                <a:pos x="connsiteX47201" y="connsiteY47201"/>
              </a:cxn>
              <a:cxn ang="0">
                <a:pos x="connsiteX47202" y="connsiteY47202"/>
              </a:cxn>
              <a:cxn ang="0">
                <a:pos x="connsiteX47203" y="connsiteY47203"/>
              </a:cxn>
              <a:cxn ang="0">
                <a:pos x="connsiteX47204" y="connsiteY47204"/>
              </a:cxn>
              <a:cxn ang="0">
                <a:pos x="connsiteX47205" y="connsiteY47205"/>
              </a:cxn>
              <a:cxn ang="0">
                <a:pos x="connsiteX47206" y="connsiteY47206"/>
              </a:cxn>
              <a:cxn ang="0">
                <a:pos x="connsiteX47207" y="connsiteY47207"/>
              </a:cxn>
              <a:cxn ang="0">
                <a:pos x="connsiteX47208" y="connsiteY47208"/>
              </a:cxn>
              <a:cxn ang="0">
                <a:pos x="connsiteX47209" y="connsiteY47209"/>
              </a:cxn>
              <a:cxn ang="0">
                <a:pos x="connsiteX47210" y="connsiteY47210"/>
              </a:cxn>
              <a:cxn ang="0">
                <a:pos x="connsiteX47211" y="connsiteY47211"/>
              </a:cxn>
              <a:cxn ang="0">
                <a:pos x="connsiteX47212" y="connsiteY47212"/>
              </a:cxn>
              <a:cxn ang="0">
                <a:pos x="connsiteX47213" y="connsiteY47213"/>
              </a:cxn>
              <a:cxn ang="0">
                <a:pos x="connsiteX47214" y="connsiteY47214"/>
              </a:cxn>
              <a:cxn ang="0">
                <a:pos x="connsiteX47215" y="connsiteY47215"/>
              </a:cxn>
              <a:cxn ang="0">
                <a:pos x="connsiteX47216" y="connsiteY47216"/>
              </a:cxn>
              <a:cxn ang="0">
                <a:pos x="connsiteX47217" y="connsiteY47217"/>
              </a:cxn>
              <a:cxn ang="0">
                <a:pos x="connsiteX47218" y="connsiteY47218"/>
              </a:cxn>
              <a:cxn ang="0">
                <a:pos x="connsiteX47219" y="connsiteY47219"/>
              </a:cxn>
              <a:cxn ang="0">
                <a:pos x="connsiteX47220" y="connsiteY47220"/>
              </a:cxn>
              <a:cxn ang="0">
                <a:pos x="connsiteX47221" y="connsiteY47221"/>
              </a:cxn>
              <a:cxn ang="0">
                <a:pos x="connsiteX47222" y="connsiteY47222"/>
              </a:cxn>
              <a:cxn ang="0">
                <a:pos x="connsiteX47223" y="connsiteY47223"/>
              </a:cxn>
              <a:cxn ang="0">
                <a:pos x="connsiteX47224" y="connsiteY47224"/>
              </a:cxn>
              <a:cxn ang="0">
                <a:pos x="connsiteX47225" y="connsiteY47225"/>
              </a:cxn>
              <a:cxn ang="0">
                <a:pos x="connsiteX47226" y="connsiteY47226"/>
              </a:cxn>
              <a:cxn ang="0">
                <a:pos x="connsiteX47227" y="connsiteY47227"/>
              </a:cxn>
              <a:cxn ang="0">
                <a:pos x="connsiteX47228" y="connsiteY47228"/>
              </a:cxn>
              <a:cxn ang="0">
                <a:pos x="connsiteX47229" y="connsiteY47229"/>
              </a:cxn>
              <a:cxn ang="0">
                <a:pos x="connsiteX47230" y="connsiteY47230"/>
              </a:cxn>
              <a:cxn ang="0">
                <a:pos x="connsiteX47231" y="connsiteY47231"/>
              </a:cxn>
              <a:cxn ang="0">
                <a:pos x="connsiteX47232" y="connsiteY47232"/>
              </a:cxn>
              <a:cxn ang="0">
                <a:pos x="connsiteX47233" y="connsiteY47233"/>
              </a:cxn>
              <a:cxn ang="0">
                <a:pos x="connsiteX47234" y="connsiteY47234"/>
              </a:cxn>
              <a:cxn ang="0">
                <a:pos x="connsiteX47235" y="connsiteY47235"/>
              </a:cxn>
              <a:cxn ang="0">
                <a:pos x="connsiteX47236" y="connsiteY47236"/>
              </a:cxn>
              <a:cxn ang="0">
                <a:pos x="connsiteX47237" y="connsiteY47237"/>
              </a:cxn>
              <a:cxn ang="0">
                <a:pos x="connsiteX47238" y="connsiteY47238"/>
              </a:cxn>
              <a:cxn ang="0">
                <a:pos x="connsiteX47239" y="connsiteY47239"/>
              </a:cxn>
              <a:cxn ang="0">
                <a:pos x="connsiteX47240" y="connsiteY47240"/>
              </a:cxn>
              <a:cxn ang="0">
                <a:pos x="connsiteX47241" y="connsiteY47241"/>
              </a:cxn>
              <a:cxn ang="0">
                <a:pos x="connsiteX47242" y="connsiteY47242"/>
              </a:cxn>
              <a:cxn ang="0">
                <a:pos x="connsiteX47243" y="connsiteY47243"/>
              </a:cxn>
              <a:cxn ang="0">
                <a:pos x="connsiteX47244" y="connsiteY47244"/>
              </a:cxn>
              <a:cxn ang="0">
                <a:pos x="connsiteX47245" y="connsiteY47245"/>
              </a:cxn>
              <a:cxn ang="0">
                <a:pos x="connsiteX47246" y="connsiteY47246"/>
              </a:cxn>
              <a:cxn ang="0">
                <a:pos x="connsiteX47247" y="connsiteY47247"/>
              </a:cxn>
              <a:cxn ang="0">
                <a:pos x="connsiteX47248" y="connsiteY47248"/>
              </a:cxn>
              <a:cxn ang="0">
                <a:pos x="connsiteX47249" y="connsiteY47249"/>
              </a:cxn>
              <a:cxn ang="0">
                <a:pos x="connsiteX47250" y="connsiteY47250"/>
              </a:cxn>
              <a:cxn ang="0">
                <a:pos x="connsiteX47251" y="connsiteY47251"/>
              </a:cxn>
              <a:cxn ang="0">
                <a:pos x="connsiteX47252" y="connsiteY47252"/>
              </a:cxn>
              <a:cxn ang="0">
                <a:pos x="connsiteX47253" y="connsiteY47253"/>
              </a:cxn>
              <a:cxn ang="0">
                <a:pos x="connsiteX47254" y="connsiteY47254"/>
              </a:cxn>
              <a:cxn ang="0">
                <a:pos x="connsiteX47255" y="connsiteY47255"/>
              </a:cxn>
              <a:cxn ang="0">
                <a:pos x="connsiteX47256" y="connsiteY47256"/>
              </a:cxn>
              <a:cxn ang="0">
                <a:pos x="connsiteX47257" y="connsiteY47257"/>
              </a:cxn>
              <a:cxn ang="0">
                <a:pos x="connsiteX47258" y="connsiteY47258"/>
              </a:cxn>
              <a:cxn ang="0">
                <a:pos x="connsiteX47259" y="connsiteY47259"/>
              </a:cxn>
              <a:cxn ang="0">
                <a:pos x="connsiteX47260" y="connsiteY47260"/>
              </a:cxn>
              <a:cxn ang="0">
                <a:pos x="connsiteX47261" y="connsiteY47261"/>
              </a:cxn>
              <a:cxn ang="0">
                <a:pos x="connsiteX47262" y="connsiteY47262"/>
              </a:cxn>
              <a:cxn ang="0">
                <a:pos x="connsiteX47263" y="connsiteY47263"/>
              </a:cxn>
              <a:cxn ang="0">
                <a:pos x="connsiteX47264" y="connsiteY47264"/>
              </a:cxn>
              <a:cxn ang="0">
                <a:pos x="connsiteX47265" y="connsiteY47265"/>
              </a:cxn>
              <a:cxn ang="0">
                <a:pos x="connsiteX47266" y="connsiteY47266"/>
              </a:cxn>
              <a:cxn ang="0">
                <a:pos x="connsiteX47267" y="connsiteY47267"/>
              </a:cxn>
              <a:cxn ang="0">
                <a:pos x="connsiteX47268" y="connsiteY47268"/>
              </a:cxn>
              <a:cxn ang="0">
                <a:pos x="connsiteX47269" y="connsiteY47269"/>
              </a:cxn>
              <a:cxn ang="0">
                <a:pos x="connsiteX47270" y="connsiteY47270"/>
              </a:cxn>
              <a:cxn ang="0">
                <a:pos x="connsiteX47271" y="connsiteY47271"/>
              </a:cxn>
              <a:cxn ang="0">
                <a:pos x="connsiteX47272" y="connsiteY47272"/>
              </a:cxn>
              <a:cxn ang="0">
                <a:pos x="connsiteX47273" y="connsiteY47273"/>
              </a:cxn>
              <a:cxn ang="0">
                <a:pos x="connsiteX47274" y="connsiteY47274"/>
              </a:cxn>
              <a:cxn ang="0">
                <a:pos x="connsiteX47275" y="connsiteY47275"/>
              </a:cxn>
              <a:cxn ang="0">
                <a:pos x="connsiteX47276" y="connsiteY47276"/>
              </a:cxn>
              <a:cxn ang="0">
                <a:pos x="connsiteX47277" y="connsiteY47277"/>
              </a:cxn>
              <a:cxn ang="0">
                <a:pos x="connsiteX47278" y="connsiteY47278"/>
              </a:cxn>
              <a:cxn ang="0">
                <a:pos x="connsiteX47279" y="connsiteY47279"/>
              </a:cxn>
              <a:cxn ang="0">
                <a:pos x="connsiteX47280" y="connsiteY47280"/>
              </a:cxn>
              <a:cxn ang="0">
                <a:pos x="connsiteX47281" y="connsiteY47281"/>
              </a:cxn>
              <a:cxn ang="0">
                <a:pos x="connsiteX47282" y="connsiteY47282"/>
              </a:cxn>
              <a:cxn ang="0">
                <a:pos x="connsiteX47283" y="connsiteY47283"/>
              </a:cxn>
              <a:cxn ang="0">
                <a:pos x="connsiteX47284" y="connsiteY47284"/>
              </a:cxn>
              <a:cxn ang="0">
                <a:pos x="connsiteX47285" y="connsiteY47285"/>
              </a:cxn>
              <a:cxn ang="0">
                <a:pos x="connsiteX47286" y="connsiteY47286"/>
              </a:cxn>
              <a:cxn ang="0">
                <a:pos x="connsiteX47287" y="connsiteY47287"/>
              </a:cxn>
              <a:cxn ang="0">
                <a:pos x="connsiteX47288" y="connsiteY47288"/>
              </a:cxn>
              <a:cxn ang="0">
                <a:pos x="connsiteX47289" y="connsiteY47289"/>
              </a:cxn>
              <a:cxn ang="0">
                <a:pos x="connsiteX47290" y="connsiteY47290"/>
              </a:cxn>
              <a:cxn ang="0">
                <a:pos x="connsiteX47291" y="connsiteY47291"/>
              </a:cxn>
              <a:cxn ang="0">
                <a:pos x="connsiteX47292" y="connsiteY47292"/>
              </a:cxn>
              <a:cxn ang="0">
                <a:pos x="connsiteX47293" y="connsiteY47293"/>
              </a:cxn>
              <a:cxn ang="0">
                <a:pos x="connsiteX47294" y="connsiteY47294"/>
              </a:cxn>
              <a:cxn ang="0">
                <a:pos x="connsiteX47295" y="connsiteY47295"/>
              </a:cxn>
              <a:cxn ang="0">
                <a:pos x="connsiteX47296" y="connsiteY47296"/>
              </a:cxn>
              <a:cxn ang="0">
                <a:pos x="connsiteX47297" y="connsiteY47297"/>
              </a:cxn>
              <a:cxn ang="0">
                <a:pos x="connsiteX47298" y="connsiteY47298"/>
              </a:cxn>
              <a:cxn ang="0">
                <a:pos x="connsiteX47299" y="connsiteY47299"/>
              </a:cxn>
              <a:cxn ang="0">
                <a:pos x="connsiteX47300" y="connsiteY47300"/>
              </a:cxn>
              <a:cxn ang="0">
                <a:pos x="connsiteX47301" y="connsiteY47301"/>
              </a:cxn>
              <a:cxn ang="0">
                <a:pos x="connsiteX47302" y="connsiteY47302"/>
              </a:cxn>
              <a:cxn ang="0">
                <a:pos x="connsiteX47303" y="connsiteY47303"/>
              </a:cxn>
              <a:cxn ang="0">
                <a:pos x="connsiteX47304" y="connsiteY47304"/>
              </a:cxn>
              <a:cxn ang="0">
                <a:pos x="connsiteX47305" y="connsiteY47305"/>
              </a:cxn>
              <a:cxn ang="0">
                <a:pos x="connsiteX47306" y="connsiteY47306"/>
              </a:cxn>
              <a:cxn ang="0">
                <a:pos x="connsiteX47307" y="connsiteY47307"/>
              </a:cxn>
              <a:cxn ang="0">
                <a:pos x="connsiteX47308" y="connsiteY47308"/>
              </a:cxn>
              <a:cxn ang="0">
                <a:pos x="connsiteX47309" y="connsiteY47309"/>
              </a:cxn>
              <a:cxn ang="0">
                <a:pos x="connsiteX47310" y="connsiteY47310"/>
              </a:cxn>
              <a:cxn ang="0">
                <a:pos x="connsiteX47311" y="connsiteY47311"/>
              </a:cxn>
              <a:cxn ang="0">
                <a:pos x="connsiteX47312" y="connsiteY47312"/>
              </a:cxn>
              <a:cxn ang="0">
                <a:pos x="connsiteX47313" y="connsiteY47313"/>
              </a:cxn>
              <a:cxn ang="0">
                <a:pos x="connsiteX47314" y="connsiteY47314"/>
              </a:cxn>
              <a:cxn ang="0">
                <a:pos x="connsiteX47315" y="connsiteY47315"/>
              </a:cxn>
              <a:cxn ang="0">
                <a:pos x="connsiteX47316" y="connsiteY47316"/>
              </a:cxn>
              <a:cxn ang="0">
                <a:pos x="connsiteX47317" y="connsiteY47317"/>
              </a:cxn>
              <a:cxn ang="0">
                <a:pos x="connsiteX47318" y="connsiteY47318"/>
              </a:cxn>
              <a:cxn ang="0">
                <a:pos x="connsiteX47319" y="connsiteY47319"/>
              </a:cxn>
              <a:cxn ang="0">
                <a:pos x="connsiteX47320" y="connsiteY47320"/>
              </a:cxn>
              <a:cxn ang="0">
                <a:pos x="connsiteX47321" y="connsiteY47321"/>
              </a:cxn>
              <a:cxn ang="0">
                <a:pos x="connsiteX47322" y="connsiteY47322"/>
              </a:cxn>
              <a:cxn ang="0">
                <a:pos x="connsiteX47323" y="connsiteY47323"/>
              </a:cxn>
              <a:cxn ang="0">
                <a:pos x="connsiteX47324" y="connsiteY47324"/>
              </a:cxn>
              <a:cxn ang="0">
                <a:pos x="connsiteX47325" y="connsiteY47325"/>
              </a:cxn>
              <a:cxn ang="0">
                <a:pos x="connsiteX47326" y="connsiteY47326"/>
              </a:cxn>
              <a:cxn ang="0">
                <a:pos x="connsiteX47327" y="connsiteY47327"/>
              </a:cxn>
              <a:cxn ang="0">
                <a:pos x="connsiteX47328" y="connsiteY47328"/>
              </a:cxn>
              <a:cxn ang="0">
                <a:pos x="connsiteX47329" y="connsiteY47329"/>
              </a:cxn>
              <a:cxn ang="0">
                <a:pos x="connsiteX47330" y="connsiteY47330"/>
              </a:cxn>
              <a:cxn ang="0">
                <a:pos x="connsiteX47331" y="connsiteY47331"/>
              </a:cxn>
              <a:cxn ang="0">
                <a:pos x="connsiteX47332" y="connsiteY47332"/>
              </a:cxn>
              <a:cxn ang="0">
                <a:pos x="connsiteX47333" y="connsiteY47333"/>
              </a:cxn>
              <a:cxn ang="0">
                <a:pos x="connsiteX47334" y="connsiteY47334"/>
              </a:cxn>
              <a:cxn ang="0">
                <a:pos x="connsiteX47335" y="connsiteY47335"/>
              </a:cxn>
              <a:cxn ang="0">
                <a:pos x="connsiteX47336" y="connsiteY47336"/>
              </a:cxn>
              <a:cxn ang="0">
                <a:pos x="connsiteX47337" y="connsiteY47337"/>
              </a:cxn>
              <a:cxn ang="0">
                <a:pos x="connsiteX47338" y="connsiteY47338"/>
              </a:cxn>
              <a:cxn ang="0">
                <a:pos x="connsiteX47339" y="connsiteY47339"/>
              </a:cxn>
              <a:cxn ang="0">
                <a:pos x="connsiteX47340" y="connsiteY47340"/>
              </a:cxn>
              <a:cxn ang="0">
                <a:pos x="connsiteX47341" y="connsiteY47341"/>
              </a:cxn>
              <a:cxn ang="0">
                <a:pos x="connsiteX47342" y="connsiteY47342"/>
              </a:cxn>
              <a:cxn ang="0">
                <a:pos x="connsiteX47343" y="connsiteY47343"/>
              </a:cxn>
              <a:cxn ang="0">
                <a:pos x="connsiteX47344" y="connsiteY47344"/>
              </a:cxn>
              <a:cxn ang="0">
                <a:pos x="connsiteX47345" y="connsiteY47345"/>
              </a:cxn>
              <a:cxn ang="0">
                <a:pos x="connsiteX47346" y="connsiteY47346"/>
              </a:cxn>
              <a:cxn ang="0">
                <a:pos x="connsiteX47347" y="connsiteY47347"/>
              </a:cxn>
              <a:cxn ang="0">
                <a:pos x="connsiteX47348" y="connsiteY47348"/>
              </a:cxn>
              <a:cxn ang="0">
                <a:pos x="connsiteX47349" y="connsiteY47349"/>
              </a:cxn>
              <a:cxn ang="0">
                <a:pos x="connsiteX47350" y="connsiteY47350"/>
              </a:cxn>
              <a:cxn ang="0">
                <a:pos x="connsiteX47351" y="connsiteY47351"/>
              </a:cxn>
              <a:cxn ang="0">
                <a:pos x="connsiteX47352" y="connsiteY47352"/>
              </a:cxn>
              <a:cxn ang="0">
                <a:pos x="connsiteX47353" y="connsiteY47353"/>
              </a:cxn>
              <a:cxn ang="0">
                <a:pos x="connsiteX47354" y="connsiteY47354"/>
              </a:cxn>
              <a:cxn ang="0">
                <a:pos x="connsiteX47355" y="connsiteY47355"/>
              </a:cxn>
              <a:cxn ang="0">
                <a:pos x="connsiteX47356" y="connsiteY47356"/>
              </a:cxn>
              <a:cxn ang="0">
                <a:pos x="connsiteX47357" y="connsiteY47357"/>
              </a:cxn>
              <a:cxn ang="0">
                <a:pos x="connsiteX47358" y="connsiteY47358"/>
              </a:cxn>
              <a:cxn ang="0">
                <a:pos x="connsiteX47359" y="connsiteY47359"/>
              </a:cxn>
              <a:cxn ang="0">
                <a:pos x="connsiteX47360" y="connsiteY47360"/>
              </a:cxn>
              <a:cxn ang="0">
                <a:pos x="connsiteX47361" y="connsiteY47361"/>
              </a:cxn>
              <a:cxn ang="0">
                <a:pos x="connsiteX47362" y="connsiteY47362"/>
              </a:cxn>
              <a:cxn ang="0">
                <a:pos x="connsiteX47363" y="connsiteY47363"/>
              </a:cxn>
              <a:cxn ang="0">
                <a:pos x="connsiteX47364" y="connsiteY47364"/>
              </a:cxn>
              <a:cxn ang="0">
                <a:pos x="connsiteX47365" y="connsiteY47365"/>
              </a:cxn>
              <a:cxn ang="0">
                <a:pos x="connsiteX47366" y="connsiteY47366"/>
              </a:cxn>
              <a:cxn ang="0">
                <a:pos x="connsiteX47367" y="connsiteY47367"/>
              </a:cxn>
              <a:cxn ang="0">
                <a:pos x="connsiteX47368" y="connsiteY47368"/>
              </a:cxn>
              <a:cxn ang="0">
                <a:pos x="connsiteX47369" y="connsiteY47369"/>
              </a:cxn>
              <a:cxn ang="0">
                <a:pos x="connsiteX47370" y="connsiteY47370"/>
              </a:cxn>
              <a:cxn ang="0">
                <a:pos x="connsiteX47371" y="connsiteY47371"/>
              </a:cxn>
              <a:cxn ang="0">
                <a:pos x="connsiteX47372" y="connsiteY47372"/>
              </a:cxn>
              <a:cxn ang="0">
                <a:pos x="connsiteX47373" y="connsiteY47373"/>
              </a:cxn>
              <a:cxn ang="0">
                <a:pos x="connsiteX47374" y="connsiteY47374"/>
              </a:cxn>
              <a:cxn ang="0">
                <a:pos x="connsiteX47375" y="connsiteY47375"/>
              </a:cxn>
              <a:cxn ang="0">
                <a:pos x="connsiteX47376" y="connsiteY47376"/>
              </a:cxn>
              <a:cxn ang="0">
                <a:pos x="connsiteX47377" y="connsiteY47377"/>
              </a:cxn>
              <a:cxn ang="0">
                <a:pos x="connsiteX47378" y="connsiteY47378"/>
              </a:cxn>
              <a:cxn ang="0">
                <a:pos x="connsiteX47379" y="connsiteY47379"/>
              </a:cxn>
              <a:cxn ang="0">
                <a:pos x="connsiteX47380" y="connsiteY47380"/>
              </a:cxn>
              <a:cxn ang="0">
                <a:pos x="connsiteX47381" y="connsiteY47381"/>
              </a:cxn>
              <a:cxn ang="0">
                <a:pos x="connsiteX47382" y="connsiteY47382"/>
              </a:cxn>
              <a:cxn ang="0">
                <a:pos x="connsiteX47383" y="connsiteY47383"/>
              </a:cxn>
              <a:cxn ang="0">
                <a:pos x="connsiteX47384" y="connsiteY47384"/>
              </a:cxn>
              <a:cxn ang="0">
                <a:pos x="connsiteX47385" y="connsiteY47385"/>
              </a:cxn>
              <a:cxn ang="0">
                <a:pos x="connsiteX47386" y="connsiteY47386"/>
              </a:cxn>
              <a:cxn ang="0">
                <a:pos x="connsiteX47387" y="connsiteY47387"/>
              </a:cxn>
              <a:cxn ang="0">
                <a:pos x="connsiteX47388" y="connsiteY47388"/>
              </a:cxn>
              <a:cxn ang="0">
                <a:pos x="connsiteX47389" y="connsiteY47389"/>
              </a:cxn>
              <a:cxn ang="0">
                <a:pos x="connsiteX47390" y="connsiteY47390"/>
              </a:cxn>
              <a:cxn ang="0">
                <a:pos x="connsiteX47391" y="connsiteY47391"/>
              </a:cxn>
              <a:cxn ang="0">
                <a:pos x="connsiteX47392" y="connsiteY47392"/>
              </a:cxn>
              <a:cxn ang="0">
                <a:pos x="connsiteX47393" y="connsiteY47393"/>
              </a:cxn>
              <a:cxn ang="0">
                <a:pos x="connsiteX47394" y="connsiteY47394"/>
              </a:cxn>
              <a:cxn ang="0">
                <a:pos x="connsiteX47395" y="connsiteY47395"/>
              </a:cxn>
              <a:cxn ang="0">
                <a:pos x="connsiteX47396" y="connsiteY47396"/>
              </a:cxn>
              <a:cxn ang="0">
                <a:pos x="connsiteX47397" y="connsiteY47397"/>
              </a:cxn>
              <a:cxn ang="0">
                <a:pos x="connsiteX47398" y="connsiteY47398"/>
              </a:cxn>
              <a:cxn ang="0">
                <a:pos x="connsiteX47399" y="connsiteY47399"/>
              </a:cxn>
              <a:cxn ang="0">
                <a:pos x="connsiteX47400" y="connsiteY47400"/>
              </a:cxn>
              <a:cxn ang="0">
                <a:pos x="connsiteX47401" y="connsiteY47401"/>
              </a:cxn>
              <a:cxn ang="0">
                <a:pos x="connsiteX47402" y="connsiteY47402"/>
              </a:cxn>
              <a:cxn ang="0">
                <a:pos x="connsiteX47403" y="connsiteY47403"/>
              </a:cxn>
              <a:cxn ang="0">
                <a:pos x="connsiteX47404" y="connsiteY47404"/>
              </a:cxn>
              <a:cxn ang="0">
                <a:pos x="connsiteX47405" y="connsiteY47405"/>
              </a:cxn>
              <a:cxn ang="0">
                <a:pos x="connsiteX47406" y="connsiteY47406"/>
              </a:cxn>
              <a:cxn ang="0">
                <a:pos x="connsiteX47407" y="connsiteY47407"/>
              </a:cxn>
              <a:cxn ang="0">
                <a:pos x="connsiteX47408" y="connsiteY47408"/>
              </a:cxn>
              <a:cxn ang="0">
                <a:pos x="connsiteX47409" y="connsiteY47409"/>
              </a:cxn>
              <a:cxn ang="0">
                <a:pos x="connsiteX47410" y="connsiteY47410"/>
              </a:cxn>
              <a:cxn ang="0">
                <a:pos x="connsiteX47411" y="connsiteY47411"/>
              </a:cxn>
              <a:cxn ang="0">
                <a:pos x="connsiteX47412" y="connsiteY47412"/>
              </a:cxn>
              <a:cxn ang="0">
                <a:pos x="connsiteX47413" y="connsiteY47413"/>
              </a:cxn>
              <a:cxn ang="0">
                <a:pos x="connsiteX47414" y="connsiteY47414"/>
              </a:cxn>
              <a:cxn ang="0">
                <a:pos x="connsiteX47415" y="connsiteY47415"/>
              </a:cxn>
              <a:cxn ang="0">
                <a:pos x="connsiteX47416" y="connsiteY47416"/>
              </a:cxn>
              <a:cxn ang="0">
                <a:pos x="connsiteX47417" y="connsiteY47417"/>
              </a:cxn>
              <a:cxn ang="0">
                <a:pos x="connsiteX47418" y="connsiteY47418"/>
              </a:cxn>
              <a:cxn ang="0">
                <a:pos x="connsiteX47419" y="connsiteY47419"/>
              </a:cxn>
              <a:cxn ang="0">
                <a:pos x="connsiteX47420" y="connsiteY47420"/>
              </a:cxn>
              <a:cxn ang="0">
                <a:pos x="connsiteX47421" y="connsiteY47421"/>
              </a:cxn>
              <a:cxn ang="0">
                <a:pos x="connsiteX47422" y="connsiteY47422"/>
              </a:cxn>
              <a:cxn ang="0">
                <a:pos x="connsiteX47423" y="connsiteY47423"/>
              </a:cxn>
              <a:cxn ang="0">
                <a:pos x="connsiteX47424" y="connsiteY47424"/>
              </a:cxn>
              <a:cxn ang="0">
                <a:pos x="connsiteX47425" y="connsiteY47425"/>
              </a:cxn>
              <a:cxn ang="0">
                <a:pos x="connsiteX47426" y="connsiteY47426"/>
              </a:cxn>
              <a:cxn ang="0">
                <a:pos x="connsiteX47427" y="connsiteY47427"/>
              </a:cxn>
              <a:cxn ang="0">
                <a:pos x="connsiteX47428" y="connsiteY47428"/>
              </a:cxn>
              <a:cxn ang="0">
                <a:pos x="connsiteX47429" y="connsiteY47429"/>
              </a:cxn>
              <a:cxn ang="0">
                <a:pos x="connsiteX47430" y="connsiteY47430"/>
              </a:cxn>
              <a:cxn ang="0">
                <a:pos x="connsiteX47431" y="connsiteY47431"/>
              </a:cxn>
              <a:cxn ang="0">
                <a:pos x="connsiteX47432" y="connsiteY47432"/>
              </a:cxn>
              <a:cxn ang="0">
                <a:pos x="connsiteX47433" y="connsiteY47433"/>
              </a:cxn>
              <a:cxn ang="0">
                <a:pos x="connsiteX47434" y="connsiteY47434"/>
              </a:cxn>
              <a:cxn ang="0">
                <a:pos x="connsiteX47435" y="connsiteY47435"/>
              </a:cxn>
              <a:cxn ang="0">
                <a:pos x="connsiteX47436" y="connsiteY47436"/>
              </a:cxn>
              <a:cxn ang="0">
                <a:pos x="connsiteX47437" y="connsiteY47437"/>
              </a:cxn>
              <a:cxn ang="0">
                <a:pos x="connsiteX47438" y="connsiteY47438"/>
              </a:cxn>
              <a:cxn ang="0">
                <a:pos x="connsiteX47439" y="connsiteY47439"/>
              </a:cxn>
              <a:cxn ang="0">
                <a:pos x="connsiteX47440" y="connsiteY47440"/>
              </a:cxn>
              <a:cxn ang="0">
                <a:pos x="connsiteX47441" y="connsiteY47441"/>
              </a:cxn>
              <a:cxn ang="0">
                <a:pos x="connsiteX47442" y="connsiteY47442"/>
              </a:cxn>
              <a:cxn ang="0">
                <a:pos x="connsiteX47443" y="connsiteY47443"/>
              </a:cxn>
              <a:cxn ang="0">
                <a:pos x="connsiteX47444" y="connsiteY47444"/>
              </a:cxn>
              <a:cxn ang="0">
                <a:pos x="connsiteX47445" y="connsiteY47445"/>
              </a:cxn>
              <a:cxn ang="0">
                <a:pos x="connsiteX47446" y="connsiteY47446"/>
              </a:cxn>
              <a:cxn ang="0">
                <a:pos x="connsiteX47447" y="connsiteY47447"/>
              </a:cxn>
              <a:cxn ang="0">
                <a:pos x="connsiteX47448" y="connsiteY47448"/>
              </a:cxn>
              <a:cxn ang="0">
                <a:pos x="connsiteX47449" y="connsiteY47449"/>
              </a:cxn>
              <a:cxn ang="0">
                <a:pos x="connsiteX47450" y="connsiteY47450"/>
              </a:cxn>
              <a:cxn ang="0">
                <a:pos x="connsiteX47451" y="connsiteY47451"/>
              </a:cxn>
              <a:cxn ang="0">
                <a:pos x="connsiteX47452" y="connsiteY47452"/>
              </a:cxn>
              <a:cxn ang="0">
                <a:pos x="connsiteX47453" y="connsiteY47453"/>
              </a:cxn>
              <a:cxn ang="0">
                <a:pos x="connsiteX47454" y="connsiteY47454"/>
              </a:cxn>
              <a:cxn ang="0">
                <a:pos x="connsiteX47455" y="connsiteY47455"/>
              </a:cxn>
              <a:cxn ang="0">
                <a:pos x="connsiteX47456" y="connsiteY47456"/>
              </a:cxn>
              <a:cxn ang="0">
                <a:pos x="connsiteX47457" y="connsiteY47457"/>
              </a:cxn>
              <a:cxn ang="0">
                <a:pos x="connsiteX47458" y="connsiteY47458"/>
              </a:cxn>
              <a:cxn ang="0">
                <a:pos x="connsiteX47459" y="connsiteY47459"/>
              </a:cxn>
              <a:cxn ang="0">
                <a:pos x="connsiteX47460" y="connsiteY47460"/>
              </a:cxn>
              <a:cxn ang="0">
                <a:pos x="connsiteX47461" y="connsiteY47461"/>
              </a:cxn>
              <a:cxn ang="0">
                <a:pos x="connsiteX47462" y="connsiteY47462"/>
              </a:cxn>
              <a:cxn ang="0">
                <a:pos x="connsiteX47463" y="connsiteY47463"/>
              </a:cxn>
              <a:cxn ang="0">
                <a:pos x="connsiteX47464" y="connsiteY47464"/>
              </a:cxn>
              <a:cxn ang="0">
                <a:pos x="connsiteX47465" y="connsiteY47465"/>
              </a:cxn>
              <a:cxn ang="0">
                <a:pos x="connsiteX47466" y="connsiteY47466"/>
              </a:cxn>
              <a:cxn ang="0">
                <a:pos x="connsiteX47467" y="connsiteY47467"/>
              </a:cxn>
              <a:cxn ang="0">
                <a:pos x="connsiteX47468" y="connsiteY47468"/>
              </a:cxn>
              <a:cxn ang="0">
                <a:pos x="connsiteX47469" y="connsiteY47469"/>
              </a:cxn>
              <a:cxn ang="0">
                <a:pos x="connsiteX47470" y="connsiteY47470"/>
              </a:cxn>
              <a:cxn ang="0">
                <a:pos x="connsiteX47471" y="connsiteY47471"/>
              </a:cxn>
              <a:cxn ang="0">
                <a:pos x="connsiteX47472" y="connsiteY47472"/>
              </a:cxn>
              <a:cxn ang="0">
                <a:pos x="connsiteX47473" y="connsiteY47473"/>
              </a:cxn>
              <a:cxn ang="0">
                <a:pos x="connsiteX47474" y="connsiteY47474"/>
              </a:cxn>
              <a:cxn ang="0">
                <a:pos x="connsiteX47475" y="connsiteY47475"/>
              </a:cxn>
              <a:cxn ang="0">
                <a:pos x="connsiteX47476" y="connsiteY47476"/>
              </a:cxn>
              <a:cxn ang="0">
                <a:pos x="connsiteX47477" y="connsiteY47477"/>
              </a:cxn>
              <a:cxn ang="0">
                <a:pos x="connsiteX47478" y="connsiteY47478"/>
              </a:cxn>
              <a:cxn ang="0">
                <a:pos x="connsiteX47479" y="connsiteY47479"/>
              </a:cxn>
              <a:cxn ang="0">
                <a:pos x="connsiteX47480" y="connsiteY47480"/>
              </a:cxn>
              <a:cxn ang="0">
                <a:pos x="connsiteX47481" y="connsiteY47481"/>
              </a:cxn>
              <a:cxn ang="0">
                <a:pos x="connsiteX47482" y="connsiteY47482"/>
              </a:cxn>
              <a:cxn ang="0">
                <a:pos x="connsiteX47483" y="connsiteY47483"/>
              </a:cxn>
              <a:cxn ang="0">
                <a:pos x="connsiteX47484" y="connsiteY47484"/>
              </a:cxn>
              <a:cxn ang="0">
                <a:pos x="connsiteX47485" y="connsiteY47485"/>
              </a:cxn>
              <a:cxn ang="0">
                <a:pos x="connsiteX47486" y="connsiteY47486"/>
              </a:cxn>
              <a:cxn ang="0">
                <a:pos x="connsiteX47487" y="connsiteY47487"/>
              </a:cxn>
              <a:cxn ang="0">
                <a:pos x="connsiteX47488" y="connsiteY47488"/>
              </a:cxn>
              <a:cxn ang="0">
                <a:pos x="connsiteX47489" y="connsiteY47489"/>
              </a:cxn>
              <a:cxn ang="0">
                <a:pos x="connsiteX47490" y="connsiteY47490"/>
              </a:cxn>
              <a:cxn ang="0">
                <a:pos x="connsiteX47491" y="connsiteY47491"/>
              </a:cxn>
              <a:cxn ang="0">
                <a:pos x="connsiteX47492" y="connsiteY47492"/>
              </a:cxn>
              <a:cxn ang="0">
                <a:pos x="connsiteX47493" y="connsiteY47493"/>
              </a:cxn>
              <a:cxn ang="0">
                <a:pos x="connsiteX47494" y="connsiteY47494"/>
              </a:cxn>
              <a:cxn ang="0">
                <a:pos x="connsiteX47495" y="connsiteY47495"/>
              </a:cxn>
              <a:cxn ang="0">
                <a:pos x="connsiteX47496" y="connsiteY47496"/>
              </a:cxn>
              <a:cxn ang="0">
                <a:pos x="connsiteX47497" y="connsiteY47497"/>
              </a:cxn>
              <a:cxn ang="0">
                <a:pos x="connsiteX47498" y="connsiteY47498"/>
              </a:cxn>
              <a:cxn ang="0">
                <a:pos x="connsiteX47499" y="connsiteY47499"/>
              </a:cxn>
              <a:cxn ang="0">
                <a:pos x="connsiteX47500" y="connsiteY47500"/>
              </a:cxn>
              <a:cxn ang="0">
                <a:pos x="connsiteX47501" y="connsiteY47501"/>
              </a:cxn>
              <a:cxn ang="0">
                <a:pos x="connsiteX47502" y="connsiteY47502"/>
              </a:cxn>
              <a:cxn ang="0">
                <a:pos x="connsiteX47503" y="connsiteY47503"/>
              </a:cxn>
              <a:cxn ang="0">
                <a:pos x="connsiteX47504" y="connsiteY47504"/>
              </a:cxn>
              <a:cxn ang="0">
                <a:pos x="connsiteX47505" y="connsiteY47505"/>
              </a:cxn>
              <a:cxn ang="0">
                <a:pos x="connsiteX47506" y="connsiteY47506"/>
              </a:cxn>
              <a:cxn ang="0">
                <a:pos x="connsiteX47507" y="connsiteY47507"/>
              </a:cxn>
              <a:cxn ang="0">
                <a:pos x="connsiteX47508" y="connsiteY47508"/>
              </a:cxn>
              <a:cxn ang="0">
                <a:pos x="connsiteX47509" y="connsiteY47509"/>
              </a:cxn>
              <a:cxn ang="0">
                <a:pos x="connsiteX47510" y="connsiteY47510"/>
              </a:cxn>
              <a:cxn ang="0">
                <a:pos x="connsiteX47511" y="connsiteY47511"/>
              </a:cxn>
              <a:cxn ang="0">
                <a:pos x="connsiteX47512" y="connsiteY47512"/>
              </a:cxn>
              <a:cxn ang="0">
                <a:pos x="connsiteX47513" y="connsiteY47513"/>
              </a:cxn>
              <a:cxn ang="0">
                <a:pos x="connsiteX47514" y="connsiteY47514"/>
              </a:cxn>
              <a:cxn ang="0">
                <a:pos x="connsiteX47515" y="connsiteY47515"/>
              </a:cxn>
              <a:cxn ang="0">
                <a:pos x="connsiteX47516" y="connsiteY47516"/>
              </a:cxn>
              <a:cxn ang="0">
                <a:pos x="connsiteX47517" y="connsiteY47517"/>
              </a:cxn>
              <a:cxn ang="0">
                <a:pos x="connsiteX47518" y="connsiteY47518"/>
              </a:cxn>
              <a:cxn ang="0">
                <a:pos x="connsiteX47519" y="connsiteY47519"/>
              </a:cxn>
              <a:cxn ang="0">
                <a:pos x="connsiteX47520" y="connsiteY47520"/>
              </a:cxn>
              <a:cxn ang="0">
                <a:pos x="connsiteX47521" y="connsiteY47521"/>
              </a:cxn>
              <a:cxn ang="0">
                <a:pos x="connsiteX47522" y="connsiteY47522"/>
              </a:cxn>
              <a:cxn ang="0">
                <a:pos x="connsiteX47523" y="connsiteY47523"/>
              </a:cxn>
              <a:cxn ang="0">
                <a:pos x="connsiteX47524" y="connsiteY47524"/>
              </a:cxn>
              <a:cxn ang="0">
                <a:pos x="connsiteX47525" y="connsiteY47525"/>
              </a:cxn>
              <a:cxn ang="0">
                <a:pos x="connsiteX47526" y="connsiteY47526"/>
              </a:cxn>
              <a:cxn ang="0">
                <a:pos x="connsiteX47527" y="connsiteY47527"/>
              </a:cxn>
              <a:cxn ang="0">
                <a:pos x="connsiteX47528" y="connsiteY47528"/>
              </a:cxn>
              <a:cxn ang="0">
                <a:pos x="connsiteX47529" y="connsiteY47529"/>
              </a:cxn>
              <a:cxn ang="0">
                <a:pos x="connsiteX47530" y="connsiteY47530"/>
              </a:cxn>
              <a:cxn ang="0">
                <a:pos x="connsiteX47531" y="connsiteY47531"/>
              </a:cxn>
              <a:cxn ang="0">
                <a:pos x="connsiteX47532" y="connsiteY47532"/>
              </a:cxn>
              <a:cxn ang="0">
                <a:pos x="connsiteX47533" y="connsiteY47533"/>
              </a:cxn>
              <a:cxn ang="0">
                <a:pos x="connsiteX47534" y="connsiteY47534"/>
              </a:cxn>
              <a:cxn ang="0">
                <a:pos x="connsiteX47535" y="connsiteY47535"/>
              </a:cxn>
              <a:cxn ang="0">
                <a:pos x="connsiteX47536" y="connsiteY47536"/>
              </a:cxn>
              <a:cxn ang="0">
                <a:pos x="connsiteX47537" y="connsiteY47537"/>
              </a:cxn>
              <a:cxn ang="0">
                <a:pos x="connsiteX47538" y="connsiteY47538"/>
              </a:cxn>
              <a:cxn ang="0">
                <a:pos x="connsiteX47539" y="connsiteY47539"/>
              </a:cxn>
              <a:cxn ang="0">
                <a:pos x="connsiteX47540" y="connsiteY47540"/>
              </a:cxn>
              <a:cxn ang="0">
                <a:pos x="connsiteX47541" y="connsiteY47541"/>
              </a:cxn>
              <a:cxn ang="0">
                <a:pos x="connsiteX47542" y="connsiteY47542"/>
              </a:cxn>
              <a:cxn ang="0">
                <a:pos x="connsiteX47543" y="connsiteY47543"/>
              </a:cxn>
              <a:cxn ang="0">
                <a:pos x="connsiteX47544" y="connsiteY47544"/>
              </a:cxn>
              <a:cxn ang="0">
                <a:pos x="connsiteX47545" y="connsiteY47545"/>
              </a:cxn>
              <a:cxn ang="0">
                <a:pos x="connsiteX47546" y="connsiteY47546"/>
              </a:cxn>
              <a:cxn ang="0">
                <a:pos x="connsiteX47547" y="connsiteY47547"/>
              </a:cxn>
              <a:cxn ang="0">
                <a:pos x="connsiteX47548" y="connsiteY47548"/>
              </a:cxn>
              <a:cxn ang="0">
                <a:pos x="connsiteX47549" y="connsiteY47549"/>
              </a:cxn>
              <a:cxn ang="0">
                <a:pos x="connsiteX47550" y="connsiteY47550"/>
              </a:cxn>
              <a:cxn ang="0">
                <a:pos x="connsiteX47551" y="connsiteY47551"/>
              </a:cxn>
              <a:cxn ang="0">
                <a:pos x="connsiteX47552" y="connsiteY47552"/>
              </a:cxn>
              <a:cxn ang="0">
                <a:pos x="connsiteX47553" y="connsiteY47553"/>
              </a:cxn>
              <a:cxn ang="0">
                <a:pos x="connsiteX47554" y="connsiteY47554"/>
              </a:cxn>
              <a:cxn ang="0">
                <a:pos x="connsiteX47555" y="connsiteY47555"/>
              </a:cxn>
              <a:cxn ang="0">
                <a:pos x="connsiteX47556" y="connsiteY47556"/>
              </a:cxn>
              <a:cxn ang="0">
                <a:pos x="connsiteX47557" y="connsiteY47557"/>
              </a:cxn>
              <a:cxn ang="0">
                <a:pos x="connsiteX47558" y="connsiteY47558"/>
              </a:cxn>
              <a:cxn ang="0">
                <a:pos x="connsiteX47559" y="connsiteY47559"/>
              </a:cxn>
              <a:cxn ang="0">
                <a:pos x="connsiteX47560" y="connsiteY47560"/>
              </a:cxn>
              <a:cxn ang="0">
                <a:pos x="connsiteX47561" y="connsiteY47561"/>
              </a:cxn>
              <a:cxn ang="0">
                <a:pos x="connsiteX47562" y="connsiteY47562"/>
              </a:cxn>
              <a:cxn ang="0">
                <a:pos x="connsiteX47563" y="connsiteY47563"/>
              </a:cxn>
              <a:cxn ang="0">
                <a:pos x="connsiteX47564" y="connsiteY47564"/>
              </a:cxn>
              <a:cxn ang="0">
                <a:pos x="connsiteX47565" y="connsiteY47565"/>
              </a:cxn>
              <a:cxn ang="0">
                <a:pos x="connsiteX47566" y="connsiteY47566"/>
              </a:cxn>
              <a:cxn ang="0">
                <a:pos x="connsiteX47567" y="connsiteY47567"/>
              </a:cxn>
              <a:cxn ang="0">
                <a:pos x="connsiteX47568" y="connsiteY47568"/>
              </a:cxn>
              <a:cxn ang="0">
                <a:pos x="connsiteX47569" y="connsiteY47569"/>
              </a:cxn>
              <a:cxn ang="0">
                <a:pos x="connsiteX47570" y="connsiteY47570"/>
              </a:cxn>
              <a:cxn ang="0">
                <a:pos x="connsiteX47571" y="connsiteY47571"/>
              </a:cxn>
              <a:cxn ang="0">
                <a:pos x="connsiteX47572" y="connsiteY47572"/>
              </a:cxn>
              <a:cxn ang="0">
                <a:pos x="connsiteX47573" y="connsiteY47573"/>
              </a:cxn>
              <a:cxn ang="0">
                <a:pos x="connsiteX47574" y="connsiteY47574"/>
              </a:cxn>
              <a:cxn ang="0">
                <a:pos x="connsiteX47575" y="connsiteY47575"/>
              </a:cxn>
              <a:cxn ang="0">
                <a:pos x="connsiteX47576" y="connsiteY47576"/>
              </a:cxn>
              <a:cxn ang="0">
                <a:pos x="connsiteX47577" y="connsiteY47577"/>
              </a:cxn>
              <a:cxn ang="0">
                <a:pos x="connsiteX47578" y="connsiteY47578"/>
              </a:cxn>
              <a:cxn ang="0">
                <a:pos x="connsiteX47579" y="connsiteY47579"/>
              </a:cxn>
              <a:cxn ang="0">
                <a:pos x="connsiteX47580" y="connsiteY47580"/>
              </a:cxn>
              <a:cxn ang="0">
                <a:pos x="connsiteX47581" y="connsiteY47581"/>
              </a:cxn>
              <a:cxn ang="0">
                <a:pos x="connsiteX47582" y="connsiteY47582"/>
              </a:cxn>
              <a:cxn ang="0">
                <a:pos x="connsiteX47583" y="connsiteY47583"/>
              </a:cxn>
              <a:cxn ang="0">
                <a:pos x="connsiteX47584" y="connsiteY47584"/>
              </a:cxn>
              <a:cxn ang="0">
                <a:pos x="connsiteX47585" y="connsiteY47585"/>
              </a:cxn>
              <a:cxn ang="0">
                <a:pos x="connsiteX47586" y="connsiteY47586"/>
              </a:cxn>
              <a:cxn ang="0">
                <a:pos x="connsiteX47587" y="connsiteY47587"/>
              </a:cxn>
              <a:cxn ang="0">
                <a:pos x="connsiteX47588" y="connsiteY47588"/>
              </a:cxn>
              <a:cxn ang="0">
                <a:pos x="connsiteX47589" y="connsiteY47589"/>
              </a:cxn>
              <a:cxn ang="0">
                <a:pos x="connsiteX47590" y="connsiteY47590"/>
              </a:cxn>
              <a:cxn ang="0">
                <a:pos x="connsiteX47591" y="connsiteY47591"/>
              </a:cxn>
              <a:cxn ang="0">
                <a:pos x="connsiteX47592" y="connsiteY47592"/>
              </a:cxn>
              <a:cxn ang="0">
                <a:pos x="connsiteX47593" y="connsiteY47593"/>
              </a:cxn>
              <a:cxn ang="0">
                <a:pos x="connsiteX47594" y="connsiteY47594"/>
              </a:cxn>
              <a:cxn ang="0">
                <a:pos x="connsiteX47595" y="connsiteY47595"/>
              </a:cxn>
              <a:cxn ang="0">
                <a:pos x="connsiteX47596" y="connsiteY47596"/>
              </a:cxn>
              <a:cxn ang="0">
                <a:pos x="connsiteX47597" y="connsiteY47597"/>
              </a:cxn>
              <a:cxn ang="0">
                <a:pos x="connsiteX47598" y="connsiteY47598"/>
              </a:cxn>
              <a:cxn ang="0">
                <a:pos x="connsiteX47599" y="connsiteY47599"/>
              </a:cxn>
              <a:cxn ang="0">
                <a:pos x="connsiteX47600" y="connsiteY47600"/>
              </a:cxn>
              <a:cxn ang="0">
                <a:pos x="connsiteX47601" y="connsiteY47601"/>
              </a:cxn>
              <a:cxn ang="0">
                <a:pos x="connsiteX47602" y="connsiteY47602"/>
              </a:cxn>
              <a:cxn ang="0">
                <a:pos x="connsiteX47603" y="connsiteY47603"/>
              </a:cxn>
              <a:cxn ang="0">
                <a:pos x="connsiteX47604" y="connsiteY47604"/>
              </a:cxn>
              <a:cxn ang="0">
                <a:pos x="connsiteX47605" y="connsiteY47605"/>
              </a:cxn>
              <a:cxn ang="0">
                <a:pos x="connsiteX47606" y="connsiteY47606"/>
              </a:cxn>
              <a:cxn ang="0">
                <a:pos x="connsiteX47607" y="connsiteY47607"/>
              </a:cxn>
              <a:cxn ang="0">
                <a:pos x="connsiteX47608" y="connsiteY47608"/>
              </a:cxn>
              <a:cxn ang="0">
                <a:pos x="connsiteX47609" y="connsiteY47609"/>
              </a:cxn>
              <a:cxn ang="0">
                <a:pos x="connsiteX47610" y="connsiteY47610"/>
              </a:cxn>
              <a:cxn ang="0">
                <a:pos x="connsiteX47611" y="connsiteY47611"/>
              </a:cxn>
              <a:cxn ang="0">
                <a:pos x="connsiteX47612" y="connsiteY47612"/>
              </a:cxn>
              <a:cxn ang="0">
                <a:pos x="connsiteX47613" y="connsiteY47613"/>
              </a:cxn>
              <a:cxn ang="0">
                <a:pos x="connsiteX47614" y="connsiteY47614"/>
              </a:cxn>
              <a:cxn ang="0">
                <a:pos x="connsiteX47615" y="connsiteY47615"/>
              </a:cxn>
              <a:cxn ang="0">
                <a:pos x="connsiteX47616" y="connsiteY47616"/>
              </a:cxn>
              <a:cxn ang="0">
                <a:pos x="connsiteX47617" y="connsiteY47617"/>
              </a:cxn>
              <a:cxn ang="0">
                <a:pos x="connsiteX47618" y="connsiteY47618"/>
              </a:cxn>
              <a:cxn ang="0">
                <a:pos x="connsiteX47619" y="connsiteY47619"/>
              </a:cxn>
              <a:cxn ang="0">
                <a:pos x="connsiteX47620" y="connsiteY47620"/>
              </a:cxn>
              <a:cxn ang="0">
                <a:pos x="connsiteX47621" y="connsiteY47621"/>
              </a:cxn>
              <a:cxn ang="0">
                <a:pos x="connsiteX47622" y="connsiteY47622"/>
              </a:cxn>
              <a:cxn ang="0">
                <a:pos x="connsiteX47623" y="connsiteY47623"/>
              </a:cxn>
              <a:cxn ang="0">
                <a:pos x="connsiteX47624" y="connsiteY47624"/>
              </a:cxn>
              <a:cxn ang="0">
                <a:pos x="connsiteX47625" y="connsiteY47625"/>
              </a:cxn>
              <a:cxn ang="0">
                <a:pos x="connsiteX47626" y="connsiteY47626"/>
              </a:cxn>
              <a:cxn ang="0">
                <a:pos x="connsiteX47627" y="connsiteY47627"/>
              </a:cxn>
              <a:cxn ang="0">
                <a:pos x="connsiteX47628" y="connsiteY47628"/>
              </a:cxn>
              <a:cxn ang="0">
                <a:pos x="connsiteX47629" y="connsiteY47629"/>
              </a:cxn>
              <a:cxn ang="0">
                <a:pos x="connsiteX47630" y="connsiteY47630"/>
              </a:cxn>
              <a:cxn ang="0">
                <a:pos x="connsiteX47631" y="connsiteY47631"/>
              </a:cxn>
              <a:cxn ang="0">
                <a:pos x="connsiteX47632" y="connsiteY47632"/>
              </a:cxn>
              <a:cxn ang="0">
                <a:pos x="connsiteX47633" y="connsiteY47633"/>
              </a:cxn>
              <a:cxn ang="0">
                <a:pos x="connsiteX47634" y="connsiteY47634"/>
              </a:cxn>
              <a:cxn ang="0">
                <a:pos x="connsiteX47635" y="connsiteY47635"/>
              </a:cxn>
              <a:cxn ang="0">
                <a:pos x="connsiteX47636" y="connsiteY47636"/>
              </a:cxn>
              <a:cxn ang="0">
                <a:pos x="connsiteX47637" y="connsiteY47637"/>
              </a:cxn>
              <a:cxn ang="0">
                <a:pos x="connsiteX47638" y="connsiteY47638"/>
              </a:cxn>
              <a:cxn ang="0">
                <a:pos x="connsiteX47639" y="connsiteY47639"/>
              </a:cxn>
              <a:cxn ang="0">
                <a:pos x="connsiteX47640" y="connsiteY47640"/>
              </a:cxn>
              <a:cxn ang="0">
                <a:pos x="connsiteX47641" y="connsiteY47641"/>
              </a:cxn>
              <a:cxn ang="0">
                <a:pos x="connsiteX47642" y="connsiteY47642"/>
              </a:cxn>
              <a:cxn ang="0">
                <a:pos x="connsiteX47643" y="connsiteY47643"/>
              </a:cxn>
              <a:cxn ang="0">
                <a:pos x="connsiteX47644" y="connsiteY47644"/>
              </a:cxn>
              <a:cxn ang="0">
                <a:pos x="connsiteX47645" y="connsiteY47645"/>
              </a:cxn>
              <a:cxn ang="0">
                <a:pos x="connsiteX47646" y="connsiteY47646"/>
              </a:cxn>
              <a:cxn ang="0">
                <a:pos x="connsiteX47647" y="connsiteY47647"/>
              </a:cxn>
              <a:cxn ang="0">
                <a:pos x="connsiteX47648" y="connsiteY47648"/>
              </a:cxn>
              <a:cxn ang="0">
                <a:pos x="connsiteX47649" y="connsiteY47649"/>
              </a:cxn>
              <a:cxn ang="0">
                <a:pos x="connsiteX47650" y="connsiteY47650"/>
              </a:cxn>
              <a:cxn ang="0">
                <a:pos x="connsiteX47651" y="connsiteY47651"/>
              </a:cxn>
              <a:cxn ang="0">
                <a:pos x="connsiteX47652" y="connsiteY47652"/>
              </a:cxn>
              <a:cxn ang="0">
                <a:pos x="connsiteX47653" y="connsiteY47653"/>
              </a:cxn>
              <a:cxn ang="0">
                <a:pos x="connsiteX47654" y="connsiteY47654"/>
              </a:cxn>
              <a:cxn ang="0">
                <a:pos x="connsiteX47655" y="connsiteY47655"/>
              </a:cxn>
              <a:cxn ang="0">
                <a:pos x="connsiteX47656" y="connsiteY47656"/>
              </a:cxn>
              <a:cxn ang="0">
                <a:pos x="connsiteX47657" y="connsiteY47657"/>
              </a:cxn>
              <a:cxn ang="0">
                <a:pos x="connsiteX47658" y="connsiteY47658"/>
              </a:cxn>
              <a:cxn ang="0">
                <a:pos x="connsiteX47659" y="connsiteY47659"/>
              </a:cxn>
              <a:cxn ang="0">
                <a:pos x="connsiteX47660" y="connsiteY47660"/>
              </a:cxn>
              <a:cxn ang="0">
                <a:pos x="connsiteX47661" y="connsiteY47661"/>
              </a:cxn>
              <a:cxn ang="0">
                <a:pos x="connsiteX47662" y="connsiteY47662"/>
              </a:cxn>
              <a:cxn ang="0">
                <a:pos x="connsiteX47663" y="connsiteY47663"/>
              </a:cxn>
              <a:cxn ang="0">
                <a:pos x="connsiteX47664" y="connsiteY47664"/>
              </a:cxn>
              <a:cxn ang="0">
                <a:pos x="connsiteX47665" y="connsiteY47665"/>
              </a:cxn>
              <a:cxn ang="0">
                <a:pos x="connsiteX47666" y="connsiteY47666"/>
              </a:cxn>
              <a:cxn ang="0">
                <a:pos x="connsiteX47667" y="connsiteY47667"/>
              </a:cxn>
              <a:cxn ang="0">
                <a:pos x="connsiteX47668" y="connsiteY47668"/>
              </a:cxn>
              <a:cxn ang="0">
                <a:pos x="connsiteX47669" y="connsiteY47669"/>
              </a:cxn>
              <a:cxn ang="0">
                <a:pos x="connsiteX47670" y="connsiteY47670"/>
              </a:cxn>
              <a:cxn ang="0">
                <a:pos x="connsiteX47671" y="connsiteY47671"/>
              </a:cxn>
              <a:cxn ang="0">
                <a:pos x="connsiteX47672" y="connsiteY47672"/>
              </a:cxn>
              <a:cxn ang="0">
                <a:pos x="connsiteX47673" y="connsiteY47673"/>
              </a:cxn>
              <a:cxn ang="0">
                <a:pos x="connsiteX47674" y="connsiteY47674"/>
              </a:cxn>
              <a:cxn ang="0">
                <a:pos x="connsiteX47675" y="connsiteY47675"/>
              </a:cxn>
              <a:cxn ang="0">
                <a:pos x="connsiteX47676" y="connsiteY47676"/>
              </a:cxn>
              <a:cxn ang="0">
                <a:pos x="connsiteX47677" y="connsiteY47677"/>
              </a:cxn>
              <a:cxn ang="0">
                <a:pos x="connsiteX47678" y="connsiteY47678"/>
              </a:cxn>
              <a:cxn ang="0">
                <a:pos x="connsiteX47679" y="connsiteY47679"/>
              </a:cxn>
              <a:cxn ang="0">
                <a:pos x="connsiteX47680" y="connsiteY47680"/>
              </a:cxn>
              <a:cxn ang="0">
                <a:pos x="connsiteX47681" y="connsiteY47681"/>
              </a:cxn>
              <a:cxn ang="0">
                <a:pos x="connsiteX47682" y="connsiteY47682"/>
              </a:cxn>
              <a:cxn ang="0">
                <a:pos x="connsiteX47683" y="connsiteY47683"/>
              </a:cxn>
              <a:cxn ang="0">
                <a:pos x="connsiteX47684" y="connsiteY47684"/>
              </a:cxn>
              <a:cxn ang="0">
                <a:pos x="connsiteX47685" y="connsiteY47685"/>
              </a:cxn>
              <a:cxn ang="0">
                <a:pos x="connsiteX47686" y="connsiteY47686"/>
              </a:cxn>
              <a:cxn ang="0">
                <a:pos x="connsiteX47687" y="connsiteY47687"/>
              </a:cxn>
              <a:cxn ang="0">
                <a:pos x="connsiteX47688" y="connsiteY47688"/>
              </a:cxn>
              <a:cxn ang="0">
                <a:pos x="connsiteX47689" y="connsiteY47689"/>
              </a:cxn>
              <a:cxn ang="0">
                <a:pos x="connsiteX47690" y="connsiteY47690"/>
              </a:cxn>
              <a:cxn ang="0">
                <a:pos x="connsiteX47691" y="connsiteY47691"/>
              </a:cxn>
              <a:cxn ang="0">
                <a:pos x="connsiteX47692" y="connsiteY47692"/>
              </a:cxn>
              <a:cxn ang="0">
                <a:pos x="connsiteX47693" y="connsiteY47693"/>
              </a:cxn>
              <a:cxn ang="0">
                <a:pos x="connsiteX47694" y="connsiteY47694"/>
              </a:cxn>
              <a:cxn ang="0">
                <a:pos x="connsiteX47695" y="connsiteY47695"/>
              </a:cxn>
              <a:cxn ang="0">
                <a:pos x="connsiteX47696" y="connsiteY47696"/>
              </a:cxn>
              <a:cxn ang="0">
                <a:pos x="connsiteX47697" y="connsiteY47697"/>
              </a:cxn>
              <a:cxn ang="0">
                <a:pos x="connsiteX47698" y="connsiteY47698"/>
              </a:cxn>
              <a:cxn ang="0">
                <a:pos x="connsiteX47699" y="connsiteY47699"/>
              </a:cxn>
              <a:cxn ang="0">
                <a:pos x="connsiteX47700" y="connsiteY47700"/>
              </a:cxn>
              <a:cxn ang="0">
                <a:pos x="connsiteX47701" y="connsiteY47701"/>
              </a:cxn>
              <a:cxn ang="0">
                <a:pos x="connsiteX47702" y="connsiteY47702"/>
              </a:cxn>
              <a:cxn ang="0">
                <a:pos x="connsiteX47703" y="connsiteY47703"/>
              </a:cxn>
              <a:cxn ang="0">
                <a:pos x="connsiteX47704" y="connsiteY47704"/>
              </a:cxn>
              <a:cxn ang="0">
                <a:pos x="connsiteX47705" y="connsiteY47705"/>
              </a:cxn>
              <a:cxn ang="0">
                <a:pos x="connsiteX47706" y="connsiteY47706"/>
              </a:cxn>
              <a:cxn ang="0">
                <a:pos x="connsiteX47707" y="connsiteY47707"/>
              </a:cxn>
              <a:cxn ang="0">
                <a:pos x="connsiteX47708" y="connsiteY47708"/>
              </a:cxn>
              <a:cxn ang="0">
                <a:pos x="connsiteX47709" y="connsiteY47709"/>
              </a:cxn>
              <a:cxn ang="0">
                <a:pos x="connsiteX47710" y="connsiteY47710"/>
              </a:cxn>
              <a:cxn ang="0">
                <a:pos x="connsiteX47711" y="connsiteY47711"/>
              </a:cxn>
              <a:cxn ang="0">
                <a:pos x="connsiteX47712" y="connsiteY47712"/>
              </a:cxn>
              <a:cxn ang="0">
                <a:pos x="connsiteX47713" y="connsiteY47713"/>
              </a:cxn>
              <a:cxn ang="0">
                <a:pos x="connsiteX47714" y="connsiteY47714"/>
              </a:cxn>
              <a:cxn ang="0">
                <a:pos x="connsiteX47715" y="connsiteY47715"/>
              </a:cxn>
              <a:cxn ang="0">
                <a:pos x="connsiteX47716" y="connsiteY47716"/>
              </a:cxn>
              <a:cxn ang="0">
                <a:pos x="connsiteX47717" y="connsiteY47717"/>
              </a:cxn>
              <a:cxn ang="0">
                <a:pos x="connsiteX47718" y="connsiteY47718"/>
              </a:cxn>
              <a:cxn ang="0">
                <a:pos x="connsiteX47719" y="connsiteY47719"/>
              </a:cxn>
              <a:cxn ang="0">
                <a:pos x="connsiteX47720" y="connsiteY47720"/>
              </a:cxn>
              <a:cxn ang="0">
                <a:pos x="connsiteX47721" y="connsiteY47721"/>
              </a:cxn>
              <a:cxn ang="0">
                <a:pos x="connsiteX47722" y="connsiteY47722"/>
              </a:cxn>
              <a:cxn ang="0">
                <a:pos x="connsiteX47723" y="connsiteY47723"/>
              </a:cxn>
              <a:cxn ang="0">
                <a:pos x="connsiteX47724" y="connsiteY47724"/>
              </a:cxn>
              <a:cxn ang="0">
                <a:pos x="connsiteX47725" y="connsiteY47725"/>
              </a:cxn>
              <a:cxn ang="0">
                <a:pos x="connsiteX47726" y="connsiteY47726"/>
              </a:cxn>
              <a:cxn ang="0">
                <a:pos x="connsiteX47727" y="connsiteY47727"/>
              </a:cxn>
              <a:cxn ang="0">
                <a:pos x="connsiteX47728" y="connsiteY47728"/>
              </a:cxn>
              <a:cxn ang="0">
                <a:pos x="connsiteX47729" y="connsiteY47729"/>
              </a:cxn>
              <a:cxn ang="0">
                <a:pos x="connsiteX47730" y="connsiteY47730"/>
              </a:cxn>
              <a:cxn ang="0">
                <a:pos x="connsiteX47731" y="connsiteY47731"/>
              </a:cxn>
              <a:cxn ang="0">
                <a:pos x="connsiteX47732" y="connsiteY47732"/>
              </a:cxn>
              <a:cxn ang="0">
                <a:pos x="connsiteX47733" y="connsiteY47733"/>
              </a:cxn>
              <a:cxn ang="0">
                <a:pos x="connsiteX47734" y="connsiteY47734"/>
              </a:cxn>
              <a:cxn ang="0">
                <a:pos x="connsiteX47735" y="connsiteY47735"/>
              </a:cxn>
              <a:cxn ang="0">
                <a:pos x="connsiteX47736" y="connsiteY47736"/>
              </a:cxn>
              <a:cxn ang="0">
                <a:pos x="connsiteX47737" y="connsiteY47737"/>
              </a:cxn>
              <a:cxn ang="0">
                <a:pos x="connsiteX47738" y="connsiteY47738"/>
              </a:cxn>
              <a:cxn ang="0">
                <a:pos x="connsiteX47739" y="connsiteY47739"/>
              </a:cxn>
              <a:cxn ang="0">
                <a:pos x="connsiteX47740" y="connsiteY47740"/>
              </a:cxn>
              <a:cxn ang="0">
                <a:pos x="connsiteX47741" y="connsiteY47741"/>
              </a:cxn>
              <a:cxn ang="0">
                <a:pos x="connsiteX47742" y="connsiteY47742"/>
              </a:cxn>
              <a:cxn ang="0">
                <a:pos x="connsiteX47743" y="connsiteY47743"/>
              </a:cxn>
              <a:cxn ang="0">
                <a:pos x="connsiteX47744" y="connsiteY47744"/>
              </a:cxn>
              <a:cxn ang="0">
                <a:pos x="connsiteX47745" y="connsiteY47745"/>
              </a:cxn>
              <a:cxn ang="0">
                <a:pos x="connsiteX47746" y="connsiteY47746"/>
              </a:cxn>
              <a:cxn ang="0">
                <a:pos x="connsiteX47747" y="connsiteY47747"/>
              </a:cxn>
              <a:cxn ang="0">
                <a:pos x="connsiteX47748" y="connsiteY47748"/>
              </a:cxn>
              <a:cxn ang="0">
                <a:pos x="connsiteX47749" y="connsiteY47749"/>
              </a:cxn>
              <a:cxn ang="0">
                <a:pos x="connsiteX47750" y="connsiteY47750"/>
              </a:cxn>
              <a:cxn ang="0">
                <a:pos x="connsiteX47751" y="connsiteY47751"/>
              </a:cxn>
              <a:cxn ang="0">
                <a:pos x="connsiteX47752" y="connsiteY47752"/>
              </a:cxn>
              <a:cxn ang="0">
                <a:pos x="connsiteX47753" y="connsiteY47753"/>
              </a:cxn>
              <a:cxn ang="0">
                <a:pos x="connsiteX47754" y="connsiteY47754"/>
              </a:cxn>
              <a:cxn ang="0">
                <a:pos x="connsiteX47755" y="connsiteY47755"/>
              </a:cxn>
              <a:cxn ang="0">
                <a:pos x="connsiteX47756" y="connsiteY47756"/>
              </a:cxn>
              <a:cxn ang="0">
                <a:pos x="connsiteX47757" y="connsiteY47757"/>
              </a:cxn>
              <a:cxn ang="0">
                <a:pos x="connsiteX47758" y="connsiteY47758"/>
              </a:cxn>
              <a:cxn ang="0">
                <a:pos x="connsiteX47759" y="connsiteY47759"/>
              </a:cxn>
              <a:cxn ang="0">
                <a:pos x="connsiteX47760" y="connsiteY47760"/>
              </a:cxn>
              <a:cxn ang="0">
                <a:pos x="connsiteX47761" y="connsiteY47761"/>
              </a:cxn>
              <a:cxn ang="0">
                <a:pos x="connsiteX47762" y="connsiteY47762"/>
              </a:cxn>
              <a:cxn ang="0">
                <a:pos x="connsiteX47763" y="connsiteY47763"/>
              </a:cxn>
              <a:cxn ang="0">
                <a:pos x="connsiteX47764" y="connsiteY47764"/>
              </a:cxn>
              <a:cxn ang="0">
                <a:pos x="connsiteX47765" y="connsiteY47765"/>
              </a:cxn>
              <a:cxn ang="0">
                <a:pos x="connsiteX47766" y="connsiteY47766"/>
              </a:cxn>
              <a:cxn ang="0">
                <a:pos x="connsiteX47767" y="connsiteY47767"/>
              </a:cxn>
              <a:cxn ang="0">
                <a:pos x="connsiteX47768" y="connsiteY47768"/>
              </a:cxn>
              <a:cxn ang="0">
                <a:pos x="connsiteX47769" y="connsiteY47769"/>
              </a:cxn>
              <a:cxn ang="0">
                <a:pos x="connsiteX47770" y="connsiteY47770"/>
              </a:cxn>
              <a:cxn ang="0">
                <a:pos x="connsiteX47771" y="connsiteY47771"/>
              </a:cxn>
              <a:cxn ang="0">
                <a:pos x="connsiteX47772" y="connsiteY47772"/>
              </a:cxn>
              <a:cxn ang="0">
                <a:pos x="connsiteX47773" y="connsiteY47773"/>
              </a:cxn>
              <a:cxn ang="0">
                <a:pos x="connsiteX47774" y="connsiteY47774"/>
              </a:cxn>
              <a:cxn ang="0">
                <a:pos x="connsiteX47775" y="connsiteY47775"/>
              </a:cxn>
              <a:cxn ang="0">
                <a:pos x="connsiteX47776" y="connsiteY47776"/>
              </a:cxn>
              <a:cxn ang="0">
                <a:pos x="connsiteX47777" y="connsiteY47777"/>
              </a:cxn>
              <a:cxn ang="0">
                <a:pos x="connsiteX47778" y="connsiteY47778"/>
              </a:cxn>
              <a:cxn ang="0">
                <a:pos x="connsiteX47779" y="connsiteY47779"/>
              </a:cxn>
              <a:cxn ang="0">
                <a:pos x="connsiteX47780" y="connsiteY47780"/>
              </a:cxn>
              <a:cxn ang="0">
                <a:pos x="connsiteX47781" y="connsiteY47781"/>
              </a:cxn>
              <a:cxn ang="0">
                <a:pos x="connsiteX47782" y="connsiteY47782"/>
              </a:cxn>
              <a:cxn ang="0">
                <a:pos x="connsiteX47783" y="connsiteY47783"/>
              </a:cxn>
              <a:cxn ang="0">
                <a:pos x="connsiteX47784" y="connsiteY47784"/>
              </a:cxn>
              <a:cxn ang="0">
                <a:pos x="connsiteX47785" y="connsiteY47785"/>
              </a:cxn>
              <a:cxn ang="0">
                <a:pos x="connsiteX47786" y="connsiteY47786"/>
              </a:cxn>
              <a:cxn ang="0">
                <a:pos x="connsiteX47787" y="connsiteY47787"/>
              </a:cxn>
              <a:cxn ang="0">
                <a:pos x="connsiteX47788" y="connsiteY47788"/>
              </a:cxn>
              <a:cxn ang="0">
                <a:pos x="connsiteX47789" y="connsiteY47789"/>
              </a:cxn>
              <a:cxn ang="0">
                <a:pos x="connsiteX47790" y="connsiteY47790"/>
              </a:cxn>
              <a:cxn ang="0">
                <a:pos x="connsiteX47791" y="connsiteY47791"/>
              </a:cxn>
              <a:cxn ang="0">
                <a:pos x="connsiteX47792" y="connsiteY47792"/>
              </a:cxn>
              <a:cxn ang="0">
                <a:pos x="connsiteX47793" y="connsiteY47793"/>
              </a:cxn>
              <a:cxn ang="0">
                <a:pos x="connsiteX47794" y="connsiteY47794"/>
              </a:cxn>
              <a:cxn ang="0">
                <a:pos x="connsiteX47795" y="connsiteY47795"/>
              </a:cxn>
              <a:cxn ang="0">
                <a:pos x="connsiteX47796" y="connsiteY47796"/>
              </a:cxn>
              <a:cxn ang="0">
                <a:pos x="connsiteX47797" y="connsiteY47797"/>
              </a:cxn>
              <a:cxn ang="0">
                <a:pos x="connsiteX47798" y="connsiteY47798"/>
              </a:cxn>
              <a:cxn ang="0">
                <a:pos x="connsiteX47799" y="connsiteY47799"/>
              </a:cxn>
              <a:cxn ang="0">
                <a:pos x="connsiteX47800" y="connsiteY47800"/>
              </a:cxn>
              <a:cxn ang="0">
                <a:pos x="connsiteX47801" y="connsiteY47801"/>
              </a:cxn>
              <a:cxn ang="0">
                <a:pos x="connsiteX47802" y="connsiteY47802"/>
              </a:cxn>
              <a:cxn ang="0">
                <a:pos x="connsiteX47803" y="connsiteY47803"/>
              </a:cxn>
              <a:cxn ang="0">
                <a:pos x="connsiteX47804" y="connsiteY47804"/>
              </a:cxn>
              <a:cxn ang="0">
                <a:pos x="connsiteX47805" y="connsiteY47805"/>
              </a:cxn>
              <a:cxn ang="0">
                <a:pos x="connsiteX47806" y="connsiteY47806"/>
              </a:cxn>
              <a:cxn ang="0">
                <a:pos x="connsiteX47807" y="connsiteY47807"/>
              </a:cxn>
              <a:cxn ang="0">
                <a:pos x="connsiteX47808" y="connsiteY47808"/>
              </a:cxn>
              <a:cxn ang="0">
                <a:pos x="connsiteX47809" y="connsiteY47809"/>
              </a:cxn>
              <a:cxn ang="0">
                <a:pos x="connsiteX47810" y="connsiteY47810"/>
              </a:cxn>
              <a:cxn ang="0">
                <a:pos x="connsiteX47811" y="connsiteY47811"/>
              </a:cxn>
              <a:cxn ang="0">
                <a:pos x="connsiteX47812" y="connsiteY47812"/>
              </a:cxn>
              <a:cxn ang="0">
                <a:pos x="connsiteX47813" y="connsiteY47813"/>
              </a:cxn>
              <a:cxn ang="0">
                <a:pos x="connsiteX47814" y="connsiteY47814"/>
              </a:cxn>
              <a:cxn ang="0">
                <a:pos x="connsiteX47815" y="connsiteY47815"/>
              </a:cxn>
              <a:cxn ang="0">
                <a:pos x="connsiteX47816" y="connsiteY47816"/>
              </a:cxn>
              <a:cxn ang="0">
                <a:pos x="connsiteX47817" y="connsiteY47817"/>
              </a:cxn>
              <a:cxn ang="0">
                <a:pos x="connsiteX47818" y="connsiteY47818"/>
              </a:cxn>
              <a:cxn ang="0">
                <a:pos x="connsiteX47819" y="connsiteY47819"/>
              </a:cxn>
              <a:cxn ang="0">
                <a:pos x="connsiteX47820" y="connsiteY47820"/>
              </a:cxn>
              <a:cxn ang="0">
                <a:pos x="connsiteX47821" y="connsiteY47821"/>
              </a:cxn>
              <a:cxn ang="0">
                <a:pos x="connsiteX47822" y="connsiteY47822"/>
              </a:cxn>
              <a:cxn ang="0">
                <a:pos x="connsiteX47823" y="connsiteY47823"/>
              </a:cxn>
              <a:cxn ang="0">
                <a:pos x="connsiteX47824" y="connsiteY47824"/>
              </a:cxn>
              <a:cxn ang="0">
                <a:pos x="connsiteX47825" y="connsiteY47825"/>
              </a:cxn>
              <a:cxn ang="0">
                <a:pos x="connsiteX47826" y="connsiteY47826"/>
              </a:cxn>
              <a:cxn ang="0">
                <a:pos x="connsiteX47827" y="connsiteY47827"/>
              </a:cxn>
              <a:cxn ang="0">
                <a:pos x="connsiteX47828" y="connsiteY47828"/>
              </a:cxn>
              <a:cxn ang="0">
                <a:pos x="connsiteX47829" y="connsiteY47829"/>
              </a:cxn>
              <a:cxn ang="0">
                <a:pos x="connsiteX47830" y="connsiteY47830"/>
              </a:cxn>
              <a:cxn ang="0">
                <a:pos x="connsiteX47831" y="connsiteY47831"/>
              </a:cxn>
              <a:cxn ang="0">
                <a:pos x="connsiteX47832" y="connsiteY47832"/>
              </a:cxn>
              <a:cxn ang="0">
                <a:pos x="connsiteX47833" y="connsiteY47833"/>
              </a:cxn>
              <a:cxn ang="0">
                <a:pos x="connsiteX47834" y="connsiteY47834"/>
              </a:cxn>
              <a:cxn ang="0">
                <a:pos x="connsiteX47835" y="connsiteY47835"/>
              </a:cxn>
              <a:cxn ang="0">
                <a:pos x="connsiteX47836" y="connsiteY47836"/>
              </a:cxn>
              <a:cxn ang="0">
                <a:pos x="connsiteX47837" y="connsiteY47837"/>
              </a:cxn>
              <a:cxn ang="0">
                <a:pos x="connsiteX47838" y="connsiteY47838"/>
              </a:cxn>
              <a:cxn ang="0">
                <a:pos x="connsiteX47839" y="connsiteY47839"/>
              </a:cxn>
              <a:cxn ang="0">
                <a:pos x="connsiteX47840" y="connsiteY47840"/>
              </a:cxn>
              <a:cxn ang="0">
                <a:pos x="connsiteX47841" y="connsiteY47841"/>
              </a:cxn>
              <a:cxn ang="0">
                <a:pos x="connsiteX47842" y="connsiteY47842"/>
              </a:cxn>
              <a:cxn ang="0">
                <a:pos x="connsiteX47843" y="connsiteY47843"/>
              </a:cxn>
              <a:cxn ang="0">
                <a:pos x="connsiteX47844" y="connsiteY47844"/>
              </a:cxn>
              <a:cxn ang="0">
                <a:pos x="connsiteX47845" y="connsiteY47845"/>
              </a:cxn>
              <a:cxn ang="0">
                <a:pos x="connsiteX47846" y="connsiteY47846"/>
              </a:cxn>
              <a:cxn ang="0">
                <a:pos x="connsiteX47847" y="connsiteY47847"/>
              </a:cxn>
              <a:cxn ang="0">
                <a:pos x="connsiteX47848" y="connsiteY47848"/>
              </a:cxn>
              <a:cxn ang="0">
                <a:pos x="connsiteX47849" y="connsiteY47849"/>
              </a:cxn>
              <a:cxn ang="0">
                <a:pos x="connsiteX47850" y="connsiteY47850"/>
              </a:cxn>
              <a:cxn ang="0">
                <a:pos x="connsiteX47851" y="connsiteY47851"/>
              </a:cxn>
              <a:cxn ang="0">
                <a:pos x="connsiteX47852" y="connsiteY47852"/>
              </a:cxn>
              <a:cxn ang="0">
                <a:pos x="connsiteX47853" y="connsiteY47853"/>
              </a:cxn>
              <a:cxn ang="0">
                <a:pos x="connsiteX47854" y="connsiteY47854"/>
              </a:cxn>
              <a:cxn ang="0">
                <a:pos x="connsiteX47855" y="connsiteY47855"/>
              </a:cxn>
              <a:cxn ang="0">
                <a:pos x="connsiteX47856" y="connsiteY47856"/>
              </a:cxn>
              <a:cxn ang="0">
                <a:pos x="connsiteX47857" y="connsiteY47857"/>
              </a:cxn>
              <a:cxn ang="0">
                <a:pos x="connsiteX47858" y="connsiteY47858"/>
              </a:cxn>
              <a:cxn ang="0">
                <a:pos x="connsiteX47859" y="connsiteY47859"/>
              </a:cxn>
              <a:cxn ang="0">
                <a:pos x="connsiteX47860" y="connsiteY47860"/>
              </a:cxn>
              <a:cxn ang="0">
                <a:pos x="connsiteX47861" y="connsiteY47861"/>
              </a:cxn>
              <a:cxn ang="0">
                <a:pos x="connsiteX47862" y="connsiteY47862"/>
              </a:cxn>
              <a:cxn ang="0">
                <a:pos x="connsiteX47863" y="connsiteY47863"/>
              </a:cxn>
              <a:cxn ang="0">
                <a:pos x="connsiteX47864" y="connsiteY47864"/>
              </a:cxn>
              <a:cxn ang="0">
                <a:pos x="connsiteX47865" y="connsiteY47865"/>
              </a:cxn>
              <a:cxn ang="0">
                <a:pos x="connsiteX47866" y="connsiteY47866"/>
              </a:cxn>
              <a:cxn ang="0">
                <a:pos x="connsiteX47867" y="connsiteY47867"/>
              </a:cxn>
              <a:cxn ang="0">
                <a:pos x="connsiteX47868" y="connsiteY47868"/>
              </a:cxn>
              <a:cxn ang="0">
                <a:pos x="connsiteX47869" y="connsiteY47869"/>
              </a:cxn>
              <a:cxn ang="0">
                <a:pos x="connsiteX47870" y="connsiteY47870"/>
              </a:cxn>
              <a:cxn ang="0">
                <a:pos x="connsiteX47871" y="connsiteY47871"/>
              </a:cxn>
              <a:cxn ang="0">
                <a:pos x="connsiteX47872" y="connsiteY47872"/>
              </a:cxn>
              <a:cxn ang="0">
                <a:pos x="connsiteX47873" y="connsiteY47873"/>
              </a:cxn>
              <a:cxn ang="0">
                <a:pos x="connsiteX47874" y="connsiteY47874"/>
              </a:cxn>
              <a:cxn ang="0">
                <a:pos x="connsiteX47875" y="connsiteY47875"/>
              </a:cxn>
              <a:cxn ang="0">
                <a:pos x="connsiteX47876" y="connsiteY47876"/>
              </a:cxn>
              <a:cxn ang="0">
                <a:pos x="connsiteX47877" y="connsiteY47877"/>
              </a:cxn>
              <a:cxn ang="0">
                <a:pos x="connsiteX47878" y="connsiteY47878"/>
              </a:cxn>
              <a:cxn ang="0">
                <a:pos x="connsiteX47879" y="connsiteY47879"/>
              </a:cxn>
              <a:cxn ang="0">
                <a:pos x="connsiteX47880" y="connsiteY47880"/>
              </a:cxn>
              <a:cxn ang="0">
                <a:pos x="connsiteX47881" y="connsiteY47881"/>
              </a:cxn>
              <a:cxn ang="0">
                <a:pos x="connsiteX47882" y="connsiteY47882"/>
              </a:cxn>
              <a:cxn ang="0">
                <a:pos x="connsiteX47883" y="connsiteY47883"/>
              </a:cxn>
              <a:cxn ang="0">
                <a:pos x="connsiteX47884" y="connsiteY47884"/>
              </a:cxn>
              <a:cxn ang="0">
                <a:pos x="connsiteX47885" y="connsiteY47885"/>
              </a:cxn>
              <a:cxn ang="0">
                <a:pos x="connsiteX47886" y="connsiteY47886"/>
              </a:cxn>
              <a:cxn ang="0">
                <a:pos x="connsiteX47887" y="connsiteY47887"/>
              </a:cxn>
              <a:cxn ang="0">
                <a:pos x="connsiteX47888" y="connsiteY47888"/>
              </a:cxn>
              <a:cxn ang="0">
                <a:pos x="connsiteX47889" y="connsiteY47889"/>
              </a:cxn>
              <a:cxn ang="0">
                <a:pos x="connsiteX47890" y="connsiteY47890"/>
              </a:cxn>
              <a:cxn ang="0">
                <a:pos x="connsiteX47891" y="connsiteY47891"/>
              </a:cxn>
              <a:cxn ang="0">
                <a:pos x="connsiteX47892" y="connsiteY47892"/>
              </a:cxn>
              <a:cxn ang="0">
                <a:pos x="connsiteX47893" y="connsiteY47893"/>
              </a:cxn>
              <a:cxn ang="0">
                <a:pos x="connsiteX47894" y="connsiteY47894"/>
              </a:cxn>
              <a:cxn ang="0">
                <a:pos x="connsiteX47895" y="connsiteY47895"/>
              </a:cxn>
              <a:cxn ang="0">
                <a:pos x="connsiteX47896" y="connsiteY47896"/>
              </a:cxn>
              <a:cxn ang="0">
                <a:pos x="connsiteX47897" y="connsiteY47897"/>
              </a:cxn>
              <a:cxn ang="0">
                <a:pos x="connsiteX47898" y="connsiteY47898"/>
              </a:cxn>
              <a:cxn ang="0">
                <a:pos x="connsiteX47899" y="connsiteY47899"/>
              </a:cxn>
              <a:cxn ang="0">
                <a:pos x="connsiteX47900" y="connsiteY47900"/>
              </a:cxn>
              <a:cxn ang="0">
                <a:pos x="connsiteX47901" y="connsiteY47901"/>
              </a:cxn>
              <a:cxn ang="0">
                <a:pos x="connsiteX47902" y="connsiteY47902"/>
              </a:cxn>
              <a:cxn ang="0">
                <a:pos x="connsiteX47903" y="connsiteY47903"/>
              </a:cxn>
              <a:cxn ang="0">
                <a:pos x="connsiteX47904" y="connsiteY47904"/>
              </a:cxn>
              <a:cxn ang="0">
                <a:pos x="connsiteX47905" y="connsiteY47905"/>
              </a:cxn>
              <a:cxn ang="0">
                <a:pos x="connsiteX47906" y="connsiteY47906"/>
              </a:cxn>
              <a:cxn ang="0">
                <a:pos x="connsiteX47907" y="connsiteY47907"/>
              </a:cxn>
              <a:cxn ang="0">
                <a:pos x="connsiteX47908" y="connsiteY47908"/>
              </a:cxn>
              <a:cxn ang="0">
                <a:pos x="connsiteX47909" y="connsiteY47909"/>
              </a:cxn>
              <a:cxn ang="0">
                <a:pos x="connsiteX47910" y="connsiteY47910"/>
              </a:cxn>
              <a:cxn ang="0">
                <a:pos x="connsiteX47911" y="connsiteY47911"/>
              </a:cxn>
              <a:cxn ang="0">
                <a:pos x="connsiteX47912" y="connsiteY47912"/>
              </a:cxn>
              <a:cxn ang="0">
                <a:pos x="connsiteX47913" y="connsiteY47913"/>
              </a:cxn>
              <a:cxn ang="0">
                <a:pos x="connsiteX47914" y="connsiteY47914"/>
              </a:cxn>
              <a:cxn ang="0">
                <a:pos x="connsiteX47915" y="connsiteY47915"/>
              </a:cxn>
              <a:cxn ang="0">
                <a:pos x="connsiteX47916" y="connsiteY47916"/>
              </a:cxn>
              <a:cxn ang="0">
                <a:pos x="connsiteX47917" y="connsiteY47917"/>
              </a:cxn>
              <a:cxn ang="0">
                <a:pos x="connsiteX47918" y="connsiteY47918"/>
              </a:cxn>
              <a:cxn ang="0">
                <a:pos x="connsiteX47919" y="connsiteY47919"/>
              </a:cxn>
              <a:cxn ang="0">
                <a:pos x="connsiteX47920" y="connsiteY47920"/>
              </a:cxn>
              <a:cxn ang="0">
                <a:pos x="connsiteX47921" y="connsiteY47921"/>
              </a:cxn>
              <a:cxn ang="0">
                <a:pos x="connsiteX47922" y="connsiteY47922"/>
              </a:cxn>
              <a:cxn ang="0">
                <a:pos x="connsiteX47923" y="connsiteY47923"/>
              </a:cxn>
              <a:cxn ang="0">
                <a:pos x="connsiteX47924" y="connsiteY47924"/>
              </a:cxn>
              <a:cxn ang="0">
                <a:pos x="connsiteX47925" y="connsiteY47925"/>
              </a:cxn>
              <a:cxn ang="0">
                <a:pos x="connsiteX47926" y="connsiteY47926"/>
              </a:cxn>
              <a:cxn ang="0">
                <a:pos x="connsiteX47927" y="connsiteY47927"/>
              </a:cxn>
              <a:cxn ang="0">
                <a:pos x="connsiteX47928" y="connsiteY47928"/>
              </a:cxn>
              <a:cxn ang="0">
                <a:pos x="connsiteX47929" y="connsiteY47929"/>
              </a:cxn>
              <a:cxn ang="0">
                <a:pos x="connsiteX47930" y="connsiteY47930"/>
              </a:cxn>
              <a:cxn ang="0">
                <a:pos x="connsiteX47931" y="connsiteY47931"/>
              </a:cxn>
              <a:cxn ang="0">
                <a:pos x="connsiteX47932" y="connsiteY47932"/>
              </a:cxn>
              <a:cxn ang="0">
                <a:pos x="connsiteX47933" y="connsiteY47933"/>
              </a:cxn>
              <a:cxn ang="0">
                <a:pos x="connsiteX47934" y="connsiteY47934"/>
              </a:cxn>
              <a:cxn ang="0">
                <a:pos x="connsiteX47935" y="connsiteY47935"/>
              </a:cxn>
              <a:cxn ang="0">
                <a:pos x="connsiteX47936" y="connsiteY47936"/>
              </a:cxn>
              <a:cxn ang="0">
                <a:pos x="connsiteX47937" y="connsiteY47937"/>
              </a:cxn>
              <a:cxn ang="0">
                <a:pos x="connsiteX47938" y="connsiteY47938"/>
              </a:cxn>
              <a:cxn ang="0">
                <a:pos x="connsiteX47939" y="connsiteY47939"/>
              </a:cxn>
              <a:cxn ang="0">
                <a:pos x="connsiteX47940" y="connsiteY47940"/>
              </a:cxn>
              <a:cxn ang="0">
                <a:pos x="connsiteX47941" y="connsiteY47941"/>
              </a:cxn>
              <a:cxn ang="0">
                <a:pos x="connsiteX47942" y="connsiteY47942"/>
              </a:cxn>
              <a:cxn ang="0">
                <a:pos x="connsiteX47943" y="connsiteY47943"/>
              </a:cxn>
              <a:cxn ang="0">
                <a:pos x="connsiteX47944" y="connsiteY47944"/>
              </a:cxn>
              <a:cxn ang="0">
                <a:pos x="connsiteX47945" y="connsiteY47945"/>
              </a:cxn>
              <a:cxn ang="0">
                <a:pos x="connsiteX47946" y="connsiteY47946"/>
              </a:cxn>
              <a:cxn ang="0">
                <a:pos x="connsiteX47947" y="connsiteY47947"/>
              </a:cxn>
              <a:cxn ang="0">
                <a:pos x="connsiteX47948" y="connsiteY47948"/>
              </a:cxn>
              <a:cxn ang="0">
                <a:pos x="connsiteX47949" y="connsiteY47949"/>
              </a:cxn>
              <a:cxn ang="0">
                <a:pos x="connsiteX47950" y="connsiteY47950"/>
              </a:cxn>
              <a:cxn ang="0">
                <a:pos x="connsiteX47951" y="connsiteY47951"/>
              </a:cxn>
              <a:cxn ang="0">
                <a:pos x="connsiteX47952" y="connsiteY47952"/>
              </a:cxn>
              <a:cxn ang="0">
                <a:pos x="connsiteX47953" y="connsiteY47953"/>
              </a:cxn>
              <a:cxn ang="0">
                <a:pos x="connsiteX47954" y="connsiteY47954"/>
              </a:cxn>
              <a:cxn ang="0">
                <a:pos x="connsiteX47955" y="connsiteY47955"/>
              </a:cxn>
              <a:cxn ang="0">
                <a:pos x="connsiteX47956" y="connsiteY47956"/>
              </a:cxn>
              <a:cxn ang="0">
                <a:pos x="connsiteX47957" y="connsiteY47957"/>
              </a:cxn>
              <a:cxn ang="0">
                <a:pos x="connsiteX47958" y="connsiteY47958"/>
              </a:cxn>
              <a:cxn ang="0">
                <a:pos x="connsiteX47959" y="connsiteY47959"/>
              </a:cxn>
              <a:cxn ang="0">
                <a:pos x="connsiteX47960" y="connsiteY47960"/>
              </a:cxn>
              <a:cxn ang="0">
                <a:pos x="connsiteX47961" y="connsiteY47961"/>
              </a:cxn>
              <a:cxn ang="0">
                <a:pos x="connsiteX47962" y="connsiteY47962"/>
              </a:cxn>
              <a:cxn ang="0">
                <a:pos x="connsiteX47963" y="connsiteY47963"/>
              </a:cxn>
              <a:cxn ang="0">
                <a:pos x="connsiteX47964" y="connsiteY47964"/>
              </a:cxn>
              <a:cxn ang="0">
                <a:pos x="connsiteX47965" y="connsiteY47965"/>
              </a:cxn>
              <a:cxn ang="0">
                <a:pos x="connsiteX47966" y="connsiteY47966"/>
              </a:cxn>
              <a:cxn ang="0">
                <a:pos x="connsiteX47967" y="connsiteY47967"/>
              </a:cxn>
              <a:cxn ang="0">
                <a:pos x="connsiteX47968" y="connsiteY47968"/>
              </a:cxn>
              <a:cxn ang="0">
                <a:pos x="connsiteX47969" y="connsiteY47969"/>
              </a:cxn>
              <a:cxn ang="0">
                <a:pos x="connsiteX47970" y="connsiteY47970"/>
              </a:cxn>
              <a:cxn ang="0">
                <a:pos x="connsiteX47971" y="connsiteY47971"/>
              </a:cxn>
              <a:cxn ang="0">
                <a:pos x="connsiteX47972" y="connsiteY47972"/>
              </a:cxn>
              <a:cxn ang="0">
                <a:pos x="connsiteX47973" y="connsiteY47973"/>
              </a:cxn>
              <a:cxn ang="0">
                <a:pos x="connsiteX47974" y="connsiteY47974"/>
              </a:cxn>
              <a:cxn ang="0">
                <a:pos x="connsiteX47975" y="connsiteY47975"/>
              </a:cxn>
              <a:cxn ang="0">
                <a:pos x="connsiteX47976" y="connsiteY47976"/>
              </a:cxn>
              <a:cxn ang="0">
                <a:pos x="connsiteX47977" y="connsiteY47977"/>
              </a:cxn>
              <a:cxn ang="0">
                <a:pos x="connsiteX47978" y="connsiteY47978"/>
              </a:cxn>
              <a:cxn ang="0">
                <a:pos x="connsiteX47979" y="connsiteY47979"/>
              </a:cxn>
              <a:cxn ang="0">
                <a:pos x="connsiteX47980" y="connsiteY47980"/>
              </a:cxn>
              <a:cxn ang="0">
                <a:pos x="connsiteX47981" y="connsiteY47981"/>
              </a:cxn>
              <a:cxn ang="0">
                <a:pos x="connsiteX47982" y="connsiteY47982"/>
              </a:cxn>
              <a:cxn ang="0">
                <a:pos x="connsiteX47983" y="connsiteY47983"/>
              </a:cxn>
              <a:cxn ang="0">
                <a:pos x="connsiteX47984" y="connsiteY47984"/>
              </a:cxn>
              <a:cxn ang="0">
                <a:pos x="connsiteX47985" y="connsiteY47985"/>
              </a:cxn>
              <a:cxn ang="0">
                <a:pos x="connsiteX47986" y="connsiteY47986"/>
              </a:cxn>
              <a:cxn ang="0">
                <a:pos x="connsiteX47987" y="connsiteY47987"/>
              </a:cxn>
              <a:cxn ang="0">
                <a:pos x="connsiteX47988" y="connsiteY47988"/>
              </a:cxn>
              <a:cxn ang="0">
                <a:pos x="connsiteX47989" y="connsiteY47989"/>
              </a:cxn>
              <a:cxn ang="0">
                <a:pos x="connsiteX47990" y="connsiteY47990"/>
              </a:cxn>
              <a:cxn ang="0">
                <a:pos x="connsiteX47991" y="connsiteY47991"/>
              </a:cxn>
              <a:cxn ang="0">
                <a:pos x="connsiteX47992" y="connsiteY47992"/>
              </a:cxn>
              <a:cxn ang="0">
                <a:pos x="connsiteX47993" y="connsiteY47993"/>
              </a:cxn>
              <a:cxn ang="0">
                <a:pos x="connsiteX47994" y="connsiteY47994"/>
              </a:cxn>
              <a:cxn ang="0">
                <a:pos x="connsiteX47995" y="connsiteY47995"/>
              </a:cxn>
              <a:cxn ang="0">
                <a:pos x="connsiteX47996" y="connsiteY47996"/>
              </a:cxn>
              <a:cxn ang="0">
                <a:pos x="connsiteX47997" y="connsiteY47997"/>
              </a:cxn>
              <a:cxn ang="0">
                <a:pos x="connsiteX47998" y="connsiteY47998"/>
              </a:cxn>
              <a:cxn ang="0">
                <a:pos x="connsiteX47999" y="connsiteY47999"/>
              </a:cxn>
              <a:cxn ang="0">
                <a:pos x="connsiteX48000" y="connsiteY48000"/>
              </a:cxn>
              <a:cxn ang="0">
                <a:pos x="connsiteX48001" y="connsiteY48001"/>
              </a:cxn>
              <a:cxn ang="0">
                <a:pos x="connsiteX48002" y="connsiteY48002"/>
              </a:cxn>
              <a:cxn ang="0">
                <a:pos x="connsiteX48003" y="connsiteY48003"/>
              </a:cxn>
              <a:cxn ang="0">
                <a:pos x="connsiteX48004" y="connsiteY48004"/>
              </a:cxn>
              <a:cxn ang="0">
                <a:pos x="connsiteX48005" y="connsiteY48005"/>
              </a:cxn>
              <a:cxn ang="0">
                <a:pos x="connsiteX48006" y="connsiteY48006"/>
              </a:cxn>
              <a:cxn ang="0">
                <a:pos x="connsiteX48007" y="connsiteY48007"/>
              </a:cxn>
              <a:cxn ang="0">
                <a:pos x="connsiteX48008" y="connsiteY48008"/>
              </a:cxn>
              <a:cxn ang="0">
                <a:pos x="connsiteX48009" y="connsiteY48009"/>
              </a:cxn>
              <a:cxn ang="0">
                <a:pos x="connsiteX48010" y="connsiteY48010"/>
              </a:cxn>
              <a:cxn ang="0">
                <a:pos x="connsiteX48011" y="connsiteY48011"/>
              </a:cxn>
              <a:cxn ang="0">
                <a:pos x="connsiteX48012" y="connsiteY48012"/>
              </a:cxn>
              <a:cxn ang="0">
                <a:pos x="connsiteX48013" y="connsiteY48013"/>
              </a:cxn>
              <a:cxn ang="0">
                <a:pos x="connsiteX48014" y="connsiteY48014"/>
              </a:cxn>
              <a:cxn ang="0">
                <a:pos x="connsiteX48015" y="connsiteY48015"/>
              </a:cxn>
              <a:cxn ang="0">
                <a:pos x="connsiteX48016" y="connsiteY48016"/>
              </a:cxn>
              <a:cxn ang="0">
                <a:pos x="connsiteX48017" y="connsiteY48017"/>
              </a:cxn>
              <a:cxn ang="0">
                <a:pos x="connsiteX48018" y="connsiteY48018"/>
              </a:cxn>
              <a:cxn ang="0">
                <a:pos x="connsiteX48019" y="connsiteY48019"/>
              </a:cxn>
              <a:cxn ang="0">
                <a:pos x="connsiteX48020" y="connsiteY48020"/>
              </a:cxn>
              <a:cxn ang="0">
                <a:pos x="connsiteX48021" y="connsiteY48021"/>
              </a:cxn>
              <a:cxn ang="0">
                <a:pos x="connsiteX48022" y="connsiteY48022"/>
              </a:cxn>
              <a:cxn ang="0">
                <a:pos x="connsiteX48023" y="connsiteY48023"/>
              </a:cxn>
              <a:cxn ang="0">
                <a:pos x="connsiteX48024" y="connsiteY48024"/>
              </a:cxn>
              <a:cxn ang="0">
                <a:pos x="connsiteX48025" y="connsiteY48025"/>
              </a:cxn>
              <a:cxn ang="0">
                <a:pos x="connsiteX48026" y="connsiteY48026"/>
              </a:cxn>
              <a:cxn ang="0">
                <a:pos x="connsiteX48027" y="connsiteY48027"/>
              </a:cxn>
              <a:cxn ang="0">
                <a:pos x="connsiteX48028" y="connsiteY48028"/>
              </a:cxn>
              <a:cxn ang="0">
                <a:pos x="connsiteX48029" y="connsiteY48029"/>
              </a:cxn>
              <a:cxn ang="0">
                <a:pos x="connsiteX48030" y="connsiteY48030"/>
              </a:cxn>
              <a:cxn ang="0">
                <a:pos x="connsiteX48031" y="connsiteY48031"/>
              </a:cxn>
              <a:cxn ang="0">
                <a:pos x="connsiteX48032" y="connsiteY48032"/>
              </a:cxn>
              <a:cxn ang="0">
                <a:pos x="connsiteX48033" y="connsiteY48033"/>
              </a:cxn>
              <a:cxn ang="0">
                <a:pos x="connsiteX48034" y="connsiteY48034"/>
              </a:cxn>
              <a:cxn ang="0">
                <a:pos x="connsiteX48035" y="connsiteY48035"/>
              </a:cxn>
              <a:cxn ang="0">
                <a:pos x="connsiteX48036" y="connsiteY48036"/>
              </a:cxn>
              <a:cxn ang="0">
                <a:pos x="connsiteX48037" y="connsiteY48037"/>
              </a:cxn>
              <a:cxn ang="0">
                <a:pos x="connsiteX48038" y="connsiteY48038"/>
              </a:cxn>
              <a:cxn ang="0">
                <a:pos x="connsiteX48039" y="connsiteY48039"/>
              </a:cxn>
              <a:cxn ang="0">
                <a:pos x="connsiteX48040" y="connsiteY48040"/>
              </a:cxn>
              <a:cxn ang="0">
                <a:pos x="connsiteX48041" y="connsiteY48041"/>
              </a:cxn>
              <a:cxn ang="0">
                <a:pos x="connsiteX48042" y="connsiteY48042"/>
              </a:cxn>
              <a:cxn ang="0">
                <a:pos x="connsiteX48043" y="connsiteY48043"/>
              </a:cxn>
              <a:cxn ang="0">
                <a:pos x="connsiteX48044" y="connsiteY48044"/>
              </a:cxn>
              <a:cxn ang="0">
                <a:pos x="connsiteX48045" y="connsiteY48045"/>
              </a:cxn>
              <a:cxn ang="0">
                <a:pos x="connsiteX48046" y="connsiteY48046"/>
              </a:cxn>
              <a:cxn ang="0">
                <a:pos x="connsiteX48047" y="connsiteY48047"/>
              </a:cxn>
              <a:cxn ang="0">
                <a:pos x="connsiteX48048" y="connsiteY48048"/>
              </a:cxn>
              <a:cxn ang="0">
                <a:pos x="connsiteX48049" y="connsiteY48049"/>
              </a:cxn>
              <a:cxn ang="0">
                <a:pos x="connsiteX48050" y="connsiteY48050"/>
              </a:cxn>
              <a:cxn ang="0">
                <a:pos x="connsiteX48051" y="connsiteY48051"/>
              </a:cxn>
              <a:cxn ang="0">
                <a:pos x="connsiteX48052" y="connsiteY48052"/>
              </a:cxn>
              <a:cxn ang="0">
                <a:pos x="connsiteX48053" y="connsiteY48053"/>
              </a:cxn>
              <a:cxn ang="0">
                <a:pos x="connsiteX48054" y="connsiteY48054"/>
              </a:cxn>
              <a:cxn ang="0">
                <a:pos x="connsiteX48055" y="connsiteY48055"/>
              </a:cxn>
              <a:cxn ang="0">
                <a:pos x="connsiteX48056" y="connsiteY48056"/>
              </a:cxn>
              <a:cxn ang="0">
                <a:pos x="connsiteX48057" y="connsiteY48057"/>
              </a:cxn>
              <a:cxn ang="0">
                <a:pos x="connsiteX48058" y="connsiteY48058"/>
              </a:cxn>
              <a:cxn ang="0">
                <a:pos x="connsiteX48059" y="connsiteY48059"/>
              </a:cxn>
              <a:cxn ang="0">
                <a:pos x="connsiteX48060" y="connsiteY48060"/>
              </a:cxn>
              <a:cxn ang="0">
                <a:pos x="connsiteX48061" y="connsiteY48061"/>
              </a:cxn>
              <a:cxn ang="0">
                <a:pos x="connsiteX48062" y="connsiteY48062"/>
              </a:cxn>
              <a:cxn ang="0">
                <a:pos x="connsiteX48063" y="connsiteY48063"/>
              </a:cxn>
              <a:cxn ang="0">
                <a:pos x="connsiteX48064" y="connsiteY48064"/>
              </a:cxn>
              <a:cxn ang="0">
                <a:pos x="connsiteX48065" y="connsiteY48065"/>
              </a:cxn>
              <a:cxn ang="0">
                <a:pos x="connsiteX48066" y="connsiteY48066"/>
              </a:cxn>
              <a:cxn ang="0">
                <a:pos x="connsiteX48067" y="connsiteY48067"/>
              </a:cxn>
              <a:cxn ang="0">
                <a:pos x="connsiteX48068" y="connsiteY48068"/>
              </a:cxn>
              <a:cxn ang="0">
                <a:pos x="connsiteX48069" y="connsiteY48069"/>
              </a:cxn>
              <a:cxn ang="0">
                <a:pos x="connsiteX48070" y="connsiteY48070"/>
              </a:cxn>
              <a:cxn ang="0">
                <a:pos x="connsiteX48071" y="connsiteY48071"/>
              </a:cxn>
              <a:cxn ang="0">
                <a:pos x="connsiteX48072" y="connsiteY48072"/>
              </a:cxn>
              <a:cxn ang="0">
                <a:pos x="connsiteX48073" y="connsiteY48073"/>
              </a:cxn>
              <a:cxn ang="0">
                <a:pos x="connsiteX48074" y="connsiteY48074"/>
              </a:cxn>
              <a:cxn ang="0">
                <a:pos x="connsiteX48075" y="connsiteY48075"/>
              </a:cxn>
              <a:cxn ang="0">
                <a:pos x="connsiteX48076" y="connsiteY48076"/>
              </a:cxn>
              <a:cxn ang="0">
                <a:pos x="connsiteX48077" y="connsiteY48077"/>
              </a:cxn>
              <a:cxn ang="0">
                <a:pos x="connsiteX48078" y="connsiteY48078"/>
              </a:cxn>
              <a:cxn ang="0">
                <a:pos x="connsiteX48079" y="connsiteY48079"/>
              </a:cxn>
              <a:cxn ang="0">
                <a:pos x="connsiteX48080" y="connsiteY48080"/>
              </a:cxn>
              <a:cxn ang="0">
                <a:pos x="connsiteX48081" y="connsiteY48081"/>
              </a:cxn>
              <a:cxn ang="0">
                <a:pos x="connsiteX48082" y="connsiteY48082"/>
              </a:cxn>
              <a:cxn ang="0">
                <a:pos x="connsiteX48083" y="connsiteY48083"/>
              </a:cxn>
              <a:cxn ang="0">
                <a:pos x="connsiteX48084" y="connsiteY48084"/>
              </a:cxn>
              <a:cxn ang="0">
                <a:pos x="connsiteX48085" y="connsiteY48085"/>
              </a:cxn>
              <a:cxn ang="0">
                <a:pos x="connsiteX48086" y="connsiteY48086"/>
              </a:cxn>
              <a:cxn ang="0">
                <a:pos x="connsiteX48087" y="connsiteY48087"/>
              </a:cxn>
              <a:cxn ang="0">
                <a:pos x="connsiteX48088" y="connsiteY48088"/>
              </a:cxn>
              <a:cxn ang="0">
                <a:pos x="connsiteX48089" y="connsiteY48089"/>
              </a:cxn>
              <a:cxn ang="0">
                <a:pos x="connsiteX48090" y="connsiteY48090"/>
              </a:cxn>
              <a:cxn ang="0">
                <a:pos x="connsiteX48091" y="connsiteY48091"/>
              </a:cxn>
              <a:cxn ang="0">
                <a:pos x="connsiteX48092" y="connsiteY48092"/>
              </a:cxn>
              <a:cxn ang="0">
                <a:pos x="connsiteX48093" y="connsiteY48093"/>
              </a:cxn>
              <a:cxn ang="0">
                <a:pos x="connsiteX48094" y="connsiteY48094"/>
              </a:cxn>
              <a:cxn ang="0">
                <a:pos x="connsiteX48095" y="connsiteY48095"/>
              </a:cxn>
              <a:cxn ang="0">
                <a:pos x="connsiteX48096" y="connsiteY48096"/>
              </a:cxn>
              <a:cxn ang="0">
                <a:pos x="connsiteX48097" y="connsiteY48097"/>
              </a:cxn>
              <a:cxn ang="0">
                <a:pos x="connsiteX48098" y="connsiteY48098"/>
              </a:cxn>
              <a:cxn ang="0">
                <a:pos x="connsiteX48099" y="connsiteY48099"/>
              </a:cxn>
              <a:cxn ang="0">
                <a:pos x="connsiteX48100" y="connsiteY48100"/>
              </a:cxn>
              <a:cxn ang="0">
                <a:pos x="connsiteX48101" y="connsiteY48101"/>
              </a:cxn>
              <a:cxn ang="0">
                <a:pos x="connsiteX48102" y="connsiteY48102"/>
              </a:cxn>
              <a:cxn ang="0">
                <a:pos x="connsiteX48103" y="connsiteY48103"/>
              </a:cxn>
              <a:cxn ang="0">
                <a:pos x="connsiteX48104" y="connsiteY48104"/>
              </a:cxn>
              <a:cxn ang="0">
                <a:pos x="connsiteX48105" y="connsiteY48105"/>
              </a:cxn>
              <a:cxn ang="0">
                <a:pos x="connsiteX48106" y="connsiteY48106"/>
              </a:cxn>
              <a:cxn ang="0">
                <a:pos x="connsiteX48107" y="connsiteY48107"/>
              </a:cxn>
              <a:cxn ang="0">
                <a:pos x="connsiteX48108" y="connsiteY48108"/>
              </a:cxn>
              <a:cxn ang="0">
                <a:pos x="connsiteX48109" y="connsiteY48109"/>
              </a:cxn>
              <a:cxn ang="0">
                <a:pos x="connsiteX48110" y="connsiteY48110"/>
              </a:cxn>
              <a:cxn ang="0">
                <a:pos x="connsiteX48111" y="connsiteY48111"/>
              </a:cxn>
              <a:cxn ang="0">
                <a:pos x="connsiteX48112" y="connsiteY48112"/>
              </a:cxn>
              <a:cxn ang="0">
                <a:pos x="connsiteX48113" y="connsiteY48113"/>
              </a:cxn>
              <a:cxn ang="0">
                <a:pos x="connsiteX48114" y="connsiteY48114"/>
              </a:cxn>
              <a:cxn ang="0">
                <a:pos x="connsiteX48115" y="connsiteY48115"/>
              </a:cxn>
              <a:cxn ang="0">
                <a:pos x="connsiteX48116" y="connsiteY48116"/>
              </a:cxn>
              <a:cxn ang="0">
                <a:pos x="connsiteX48117" y="connsiteY48117"/>
              </a:cxn>
              <a:cxn ang="0">
                <a:pos x="connsiteX48118" y="connsiteY48118"/>
              </a:cxn>
              <a:cxn ang="0">
                <a:pos x="connsiteX48119" y="connsiteY48119"/>
              </a:cxn>
              <a:cxn ang="0">
                <a:pos x="connsiteX48120" y="connsiteY48120"/>
              </a:cxn>
              <a:cxn ang="0">
                <a:pos x="connsiteX48121" y="connsiteY48121"/>
              </a:cxn>
              <a:cxn ang="0">
                <a:pos x="connsiteX48122" y="connsiteY48122"/>
              </a:cxn>
              <a:cxn ang="0">
                <a:pos x="connsiteX48123" y="connsiteY48123"/>
              </a:cxn>
              <a:cxn ang="0">
                <a:pos x="connsiteX48124" y="connsiteY48124"/>
              </a:cxn>
              <a:cxn ang="0">
                <a:pos x="connsiteX48125" y="connsiteY48125"/>
              </a:cxn>
              <a:cxn ang="0">
                <a:pos x="connsiteX48126" y="connsiteY48126"/>
              </a:cxn>
              <a:cxn ang="0">
                <a:pos x="connsiteX48127" y="connsiteY48127"/>
              </a:cxn>
              <a:cxn ang="0">
                <a:pos x="connsiteX48128" y="connsiteY48128"/>
              </a:cxn>
              <a:cxn ang="0">
                <a:pos x="connsiteX48129" y="connsiteY48129"/>
              </a:cxn>
              <a:cxn ang="0">
                <a:pos x="connsiteX48130" y="connsiteY48130"/>
              </a:cxn>
              <a:cxn ang="0">
                <a:pos x="connsiteX48131" y="connsiteY48131"/>
              </a:cxn>
              <a:cxn ang="0">
                <a:pos x="connsiteX48132" y="connsiteY48132"/>
              </a:cxn>
              <a:cxn ang="0">
                <a:pos x="connsiteX48133" y="connsiteY48133"/>
              </a:cxn>
              <a:cxn ang="0">
                <a:pos x="connsiteX48134" y="connsiteY48134"/>
              </a:cxn>
              <a:cxn ang="0">
                <a:pos x="connsiteX48135" y="connsiteY48135"/>
              </a:cxn>
              <a:cxn ang="0">
                <a:pos x="connsiteX48136" y="connsiteY48136"/>
              </a:cxn>
              <a:cxn ang="0">
                <a:pos x="connsiteX48137" y="connsiteY48137"/>
              </a:cxn>
              <a:cxn ang="0">
                <a:pos x="connsiteX48138" y="connsiteY48138"/>
              </a:cxn>
              <a:cxn ang="0">
                <a:pos x="connsiteX48139" y="connsiteY48139"/>
              </a:cxn>
              <a:cxn ang="0">
                <a:pos x="connsiteX48140" y="connsiteY48140"/>
              </a:cxn>
              <a:cxn ang="0">
                <a:pos x="connsiteX48141" y="connsiteY48141"/>
              </a:cxn>
              <a:cxn ang="0">
                <a:pos x="connsiteX48142" y="connsiteY48142"/>
              </a:cxn>
              <a:cxn ang="0">
                <a:pos x="connsiteX48143" y="connsiteY48143"/>
              </a:cxn>
              <a:cxn ang="0">
                <a:pos x="connsiteX48144" y="connsiteY48144"/>
              </a:cxn>
              <a:cxn ang="0">
                <a:pos x="connsiteX48145" y="connsiteY48145"/>
              </a:cxn>
              <a:cxn ang="0">
                <a:pos x="connsiteX48146" y="connsiteY48146"/>
              </a:cxn>
              <a:cxn ang="0">
                <a:pos x="connsiteX48147" y="connsiteY48147"/>
              </a:cxn>
              <a:cxn ang="0">
                <a:pos x="connsiteX48148" y="connsiteY48148"/>
              </a:cxn>
              <a:cxn ang="0">
                <a:pos x="connsiteX48149" y="connsiteY48149"/>
              </a:cxn>
              <a:cxn ang="0">
                <a:pos x="connsiteX48150" y="connsiteY48150"/>
              </a:cxn>
              <a:cxn ang="0">
                <a:pos x="connsiteX48151" y="connsiteY48151"/>
              </a:cxn>
              <a:cxn ang="0">
                <a:pos x="connsiteX48152" y="connsiteY48152"/>
              </a:cxn>
              <a:cxn ang="0">
                <a:pos x="connsiteX48153" y="connsiteY48153"/>
              </a:cxn>
              <a:cxn ang="0">
                <a:pos x="connsiteX48154" y="connsiteY48154"/>
              </a:cxn>
              <a:cxn ang="0">
                <a:pos x="connsiteX48155" y="connsiteY48155"/>
              </a:cxn>
              <a:cxn ang="0">
                <a:pos x="connsiteX48156" y="connsiteY48156"/>
              </a:cxn>
              <a:cxn ang="0">
                <a:pos x="connsiteX48157" y="connsiteY48157"/>
              </a:cxn>
              <a:cxn ang="0">
                <a:pos x="connsiteX48158" y="connsiteY48158"/>
              </a:cxn>
              <a:cxn ang="0">
                <a:pos x="connsiteX48159" y="connsiteY48159"/>
              </a:cxn>
              <a:cxn ang="0">
                <a:pos x="connsiteX48160" y="connsiteY48160"/>
              </a:cxn>
              <a:cxn ang="0">
                <a:pos x="connsiteX48161" y="connsiteY48161"/>
              </a:cxn>
              <a:cxn ang="0">
                <a:pos x="connsiteX48162" y="connsiteY48162"/>
              </a:cxn>
              <a:cxn ang="0">
                <a:pos x="connsiteX48163" y="connsiteY48163"/>
              </a:cxn>
              <a:cxn ang="0">
                <a:pos x="connsiteX48164" y="connsiteY48164"/>
              </a:cxn>
              <a:cxn ang="0">
                <a:pos x="connsiteX48165" y="connsiteY48165"/>
              </a:cxn>
              <a:cxn ang="0">
                <a:pos x="connsiteX48166" y="connsiteY48166"/>
              </a:cxn>
              <a:cxn ang="0">
                <a:pos x="connsiteX48167" y="connsiteY48167"/>
              </a:cxn>
              <a:cxn ang="0">
                <a:pos x="connsiteX48168" y="connsiteY48168"/>
              </a:cxn>
              <a:cxn ang="0">
                <a:pos x="connsiteX48169" y="connsiteY48169"/>
              </a:cxn>
              <a:cxn ang="0">
                <a:pos x="connsiteX48170" y="connsiteY48170"/>
              </a:cxn>
              <a:cxn ang="0">
                <a:pos x="connsiteX48171" y="connsiteY48171"/>
              </a:cxn>
              <a:cxn ang="0">
                <a:pos x="connsiteX48172" y="connsiteY48172"/>
              </a:cxn>
              <a:cxn ang="0">
                <a:pos x="connsiteX48173" y="connsiteY48173"/>
              </a:cxn>
              <a:cxn ang="0">
                <a:pos x="connsiteX48174" y="connsiteY48174"/>
              </a:cxn>
              <a:cxn ang="0">
                <a:pos x="connsiteX48175" y="connsiteY48175"/>
              </a:cxn>
              <a:cxn ang="0">
                <a:pos x="connsiteX48176" y="connsiteY48176"/>
              </a:cxn>
              <a:cxn ang="0">
                <a:pos x="connsiteX48177" y="connsiteY48177"/>
              </a:cxn>
              <a:cxn ang="0">
                <a:pos x="connsiteX48178" y="connsiteY48178"/>
              </a:cxn>
              <a:cxn ang="0">
                <a:pos x="connsiteX48179" y="connsiteY48179"/>
              </a:cxn>
              <a:cxn ang="0">
                <a:pos x="connsiteX48180" y="connsiteY48180"/>
              </a:cxn>
              <a:cxn ang="0">
                <a:pos x="connsiteX48181" y="connsiteY48181"/>
              </a:cxn>
              <a:cxn ang="0">
                <a:pos x="connsiteX48182" y="connsiteY48182"/>
              </a:cxn>
              <a:cxn ang="0">
                <a:pos x="connsiteX48183" y="connsiteY48183"/>
              </a:cxn>
              <a:cxn ang="0">
                <a:pos x="connsiteX48184" y="connsiteY48184"/>
              </a:cxn>
              <a:cxn ang="0">
                <a:pos x="connsiteX48185" y="connsiteY48185"/>
              </a:cxn>
              <a:cxn ang="0">
                <a:pos x="connsiteX48186" y="connsiteY48186"/>
              </a:cxn>
              <a:cxn ang="0">
                <a:pos x="connsiteX48187" y="connsiteY48187"/>
              </a:cxn>
              <a:cxn ang="0">
                <a:pos x="connsiteX48188" y="connsiteY48188"/>
              </a:cxn>
              <a:cxn ang="0">
                <a:pos x="connsiteX48189" y="connsiteY48189"/>
              </a:cxn>
              <a:cxn ang="0">
                <a:pos x="connsiteX48190" y="connsiteY48190"/>
              </a:cxn>
              <a:cxn ang="0">
                <a:pos x="connsiteX48191" y="connsiteY48191"/>
              </a:cxn>
              <a:cxn ang="0">
                <a:pos x="connsiteX48192" y="connsiteY48192"/>
              </a:cxn>
              <a:cxn ang="0">
                <a:pos x="connsiteX48193" y="connsiteY48193"/>
              </a:cxn>
              <a:cxn ang="0">
                <a:pos x="connsiteX48194" y="connsiteY48194"/>
              </a:cxn>
              <a:cxn ang="0">
                <a:pos x="connsiteX48195" y="connsiteY48195"/>
              </a:cxn>
              <a:cxn ang="0">
                <a:pos x="connsiteX48196" y="connsiteY48196"/>
              </a:cxn>
              <a:cxn ang="0">
                <a:pos x="connsiteX48197" y="connsiteY48197"/>
              </a:cxn>
              <a:cxn ang="0">
                <a:pos x="connsiteX48198" y="connsiteY48198"/>
              </a:cxn>
              <a:cxn ang="0">
                <a:pos x="connsiteX48199" y="connsiteY48199"/>
              </a:cxn>
              <a:cxn ang="0">
                <a:pos x="connsiteX48200" y="connsiteY48200"/>
              </a:cxn>
              <a:cxn ang="0">
                <a:pos x="connsiteX48201" y="connsiteY48201"/>
              </a:cxn>
              <a:cxn ang="0">
                <a:pos x="connsiteX48202" y="connsiteY48202"/>
              </a:cxn>
              <a:cxn ang="0">
                <a:pos x="connsiteX48203" y="connsiteY48203"/>
              </a:cxn>
              <a:cxn ang="0">
                <a:pos x="connsiteX48204" y="connsiteY48204"/>
              </a:cxn>
              <a:cxn ang="0">
                <a:pos x="connsiteX48205" y="connsiteY48205"/>
              </a:cxn>
              <a:cxn ang="0">
                <a:pos x="connsiteX48206" y="connsiteY48206"/>
              </a:cxn>
              <a:cxn ang="0">
                <a:pos x="connsiteX48207" y="connsiteY48207"/>
              </a:cxn>
              <a:cxn ang="0">
                <a:pos x="connsiteX48208" y="connsiteY48208"/>
              </a:cxn>
              <a:cxn ang="0">
                <a:pos x="connsiteX48209" y="connsiteY48209"/>
              </a:cxn>
              <a:cxn ang="0">
                <a:pos x="connsiteX48210" y="connsiteY48210"/>
              </a:cxn>
              <a:cxn ang="0">
                <a:pos x="connsiteX48211" y="connsiteY48211"/>
              </a:cxn>
              <a:cxn ang="0">
                <a:pos x="connsiteX48212" y="connsiteY48212"/>
              </a:cxn>
              <a:cxn ang="0">
                <a:pos x="connsiteX48213" y="connsiteY48213"/>
              </a:cxn>
              <a:cxn ang="0">
                <a:pos x="connsiteX48214" y="connsiteY48214"/>
              </a:cxn>
              <a:cxn ang="0">
                <a:pos x="connsiteX48215" y="connsiteY48215"/>
              </a:cxn>
              <a:cxn ang="0">
                <a:pos x="connsiteX48216" y="connsiteY48216"/>
              </a:cxn>
              <a:cxn ang="0">
                <a:pos x="connsiteX48217" y="connsiteY48217"/>
              </a:cxn>
              <a:cxn ang="0">
                <a:pos x="connsiteX48218" y="connsiteY48218"/>
              </a:cxn>
              <a:cxn ang="0">
                <a:pos x="connsiteX48219" y="connsiteY48219"/>
              </a:cxn>
              <a:cxn ang="0">
                <a:pos x="connsiteX48220" y="connsiteY48220"/>
              </a:cxn>
              <a:cxn ang="0">
                <a:pos x="connsiteX48221" y="connsiteY48221"/>
              </a:cxn>
              <a:cxn ang="0">
                <a:pos x="connsiteX48222" y="connsiteY48222"/>
              </a:cxn>
              <a:cxn ang="0">
                <a:pos x="connsiteX48223" y="connsiteY48223"/>
              </a:cxn>
              <a:cxn ang="0">
                <a:pos x="connsiteX48224" y="connsiteY48224"/>
              </a:cxn>
              <a:cxn ang="0">
                <a:pos x="connsiteX48225" y="connsiteY48225"/>
              </a:cxn>
              <a:cxn ang="0">
                <a:pos x="connsiteX48226" y="connsiteY48226"/>
              </a:cxn>
              <a:cxn ang="0">
                <a:pos x="connsiteX48227" y="connsiteY48227"/>
              </a:cxn>
              <a:cxn ang="0">
                <a:pos x="connsiteX48228" y="connsiteY48228"/>
              </a:cxn>
              <a:cxn ang="0">
                <a:pos x="connsiteX48229" y="connsiteY48229"/>
              </a:cxn>
              <a:cxn ang="0">
                <a:pos x="connsiteX48230" y="connsiteY48230"/>
              </a:cxn>
              <a:cxn ang="0">
                <a:pos x="connsiteX48231" y="connsiteY48231"/>
              </a:cxn>
              <a:cxn ang="0">
                <a:pos x="connsiteX48232" y="connsiteY48232"/>
              </a:cxn>
              <a:cxn ang="0">
                <a:pos x="connsiteX48233" y="connsiteY48233"/>
              </a:cxn>
              <a:cxn ang="0">
                <a:pos x="connsiteX48234" y="connsiteY48234"/>
              </a:cxn>
              <a:cxn ang="0">
                <a:pos x="connsiteX48235" y="connsiteY48235"/>
              </a:cxn>
              <a:cxn ang="0">
                <a:pos x="connsiteX48236" y="connsiteY48236"/>
              </a:cxn>
              <a:cxn ang="0">
                <a:pos x="connsiteX48237" y="connsiteY48237"/>
              </a:cxn>
              <a:cxn ang="0">
                <a:pos x="connsiteX48238" y="connsiteY48238"/>
              </a:cxn>
              <a:cxn ang="0">
                <a:pos x="connsiteX48239" y="connsiteY48239"/>
              </a:cxn>
              <a:cxn ang="0">
                <a:pos x="connsiteX48240" y="connsiteY48240"/>
              </a:cxn>
              <a:cxn ang="0">
                <a:pos x="connsiteX48241" y="connsiteY48241"/>
              </a:cxn>
              <a:cxn ang="0">
                <a:pos x="connsiteX48242" y="connsiteY48242"/>
              </a:cxn>
              <a:cxn ang="0">
                <a:pos x="connsiteX48243" y="connsiteY48243"/>
              </a:cxn>
              <a:cxn ang="0">
                <a:pos x="connsiteX48244" y="connsiteY48244"/>
              </a:cxn>
              <a:cxn ang="0">
                <a:pos x="connsiteX48245" y="connsiteY48245"/>
              </a:cxn>
              <a:cxn ang="0">
                <a:pos x="connsiteX48246" y="connsiteY48246"/>
              </a:cxn>
              <a:cxn ang="0">
                <a:pos x="connsiteX48247" y="connsiteY48247"/>
              </a:cxn>
              <a:cxn ang="0">
                <a:pos x="connsiteX48248" y="connsiteY48248"/>
              </a:cxn>
              <a:cxn ang="0">
                <a:pos x="connsiteX48249" y="connsiteY48249"/>
              </a:cxn>
              <a:cxn ang="0">
                <a:pos x="connsiteX48250" y="connsiteY48250"/>
              </a:cxn>
              <a:cxn ang="0">
                <a:pos x="connsiteX48251" y="connsiteY48251"/>
              </a:cxn>
              <a:cxn ang="0">
                <a:pos x="connsiteX48252" y="connsiteY48252"/>
              </a:cxn>
              <a:cxn ang="0">
                <a:pos x="connsiteX48253" y="connsiteY48253"/>
              </a:cxn>
              <a:cxn ang="0">
                <a:pos x="connsiteX48254" y="connsiteY48254"/>
              </a:cxn>
              <a:cxn ang="0">
                <a:pos x="connsiteX48255" y="connsiteY48255"/>
              </a:cxn>
              <a:cxn ang="0">
                <a:pos x="connsiteX48256" y="connsiteY48256"/>
              </a:cxn>
              <a:cxn ang="0">
                <a:pos x="connsiteX48257" y="connsiteY48257"/>
              </a:cxn>
              <a:cxn ang="0">
                <a:pos x="connsiteX48258" y="connsiteY48258"/>
              </a:cxn>
              <a:cxn ang="0">
                <a:pos x="connsiteX48259" y="connsiteY48259"/>
              </a:cxn>
              <a:cxn ang="0">
                <a:pos x="connsiteX48260" y="connsiteY48260"/>
              </a:cxn>
              <a:cxn ang="0">
                <a:pos x="connsiteX48261" y="connsiteY48261"/>
              </a:cxn>
              <a:cxn ang="0">
                <a:pos x="connsiteX48262" y="connsiteY48262"/>
              </a:cxn>
              <a:cxn ang="0">
                <a:pos x="connsiteX48263" y="connsiteY48263"/>
              </a:cxn>
              <a:cxn ang="0">
                <a:pos x="connsiteX48264" y="connsiteY48264"/>
              </a:cxn>
              <a:cxn ang="0">
                <a:pos x="connsiteX48265" y="connsiteY48265"/>
              </a:cxn>
              <a:cxn ang="0">
                <a:pos x="connsiteX48266" y="connsiteY48266"/>
              </a:cxn>
              <a:cxn ang="0">
                <a:pos x="connsiteX48267" y="connsiteY48267"/>
              </a:cxn>
              <a:cxn ang="0">
                <a:pos x="connsiteX48268" y="connsiteY48268"/>
              </a:cxn>
              <a:cxn ang="0">
                <a:pos x="connsiteX48269" y="connsiteY48269"/>
              </a:cxn>
              <a:cxn ang="0">
                <a:pos x="connsiteX48270" y="connsiteY48270"/>
              </a:cxn>
              <a:cxn ang="0">
                <a:pos x="connsiteX48271" y="connsiteY48271"/>
              </a:cxn>
              <a:cxn ang="0">
                <a:pos x="connsiteX48272" y="connsiteY48272"/>
              </a:cxn>
              <a:cxn ang="0">
                <a:pos x="connsiteX48273" y="connsiteY48273"/>
              </a:cxn>
              <a:cxn ang="0">
                <a:pos x="connsiteX48274" y="connsiteY48274"/>
              </a:cxn>
              <a:cxn ang="0">
                <a:pos x="connsiteX48275" y="connsiteY48275"/>
              </a:cxn>
              <a:cxn ang="0">
                <a:pos x="connsiteX48276" y="connsiteY48276"/>
              </a:cxn>
              <a:cxn ang="0">
                <a:pos x="connsiteX48277" y="connsiteY48277"/>
              </a:cxn>
              <a:cxn ang="0">
                <a:pos x="connsiteX48278" y="connsiteY48278"/>
              </a:cxn>
              <a:cxn ang="0">
                <a:pos x="connsiteX48279" y="connsiteY48279"/>
              </a:cxn>
              <a:cxn ang="0">
                <a:pos x="connsiteX48280" y="connsiteY48280"/>
              </a:cxn>
              <a:cxn ang="0">
                <a:pos x="connsiteX48281" y="connsiteY48281"/>
              </a:cxn>
              <a:cxn ang="0">
                <a:pos x="connsiteX48282" y="connsiteY48282"/>
              </a:cxn>
              <a:cxn ang="0">
                <a:pos x="connsiteX48283" y="connsiteY48283"/>
              </a:cxn>
              <a:cxn ang="0">
                <a:pos x="connsiteX48284" y="connsiteY48284"/>
              </a:cxn>
              <a:cxn ang="0">
                <a:pos x="connsiteX48285" y="connsiteY48285"/>
              </a:cxn>
              <a:cxn ang="0">
                <a:pos x="connsiteX48286" y="connsiteY48286"/>
              </a:cxn>
              <a:cxn ang="0">
                <a:pos x="connsiteX48287" y="connsiteY48287"/>
              </a:cxn>
              <a:cxn ang="0">
                <a:pos x="connsiteX48288" y="connsiteY48288"/>
              </a:cxn>
              <a:cxn ang="0">
                <a:pos x="connsiteX48289" y="connsiteY48289"/>
              </a:cxn>
              <a:cxn ang="0">
                <a:pos x="connsiteX48290" y="connsiteY48290"/>
              </a:cxn>
              <a:cxn ang="0">
                <a:pos x="connsiteX48291" y="connsiteY48291"/>
              </a:cxn>
              <a:cxn ang="0">
                <a:pos x="connsiteX48292" y="connsiteY48292"/>
              </a:cxn>
              <a:cxn ang="0">
                <a:pos x="connsiteX48293" y="connsiteY48293"/>
              </a:cxn>
              <a:cxn ang="0">
                <a:pos x="connsiteX48294" y="connsiteY48294"/>
              </a:cxn>
              <a:cxn ang="0">
                <a:pos x="connsiteX48295" y="connsiteY48295"/>
              </a:cxn>
              <a:cxn ang="0">
                <a:pos x="connsiteX48296" y="connsiteY48296"/>
              </a:cxn>
              <a:cxn ang="0">
                <a:pos x="connsiteX48297" y="connsiteY48297"/>
              </a:cxn>
              <a:cxn ang="0">
                <a:pos x="connsiteX48298" y="connsiteY48298"/>
              </a:cxn>
              <a:cxn ang="0">
                <a:pos x="connsiteX48299" y="connsiteY48299"/>
              </a:cxn>
              <a:cxn ang="0">
                <a:pos x="connsiteX48300" y="connsiteY48300"/>
              </a:cxn>
              <a:cxn ang="0">
                <a:pos x="connsiteX48301" y="connsiteY48301"/>
              </a:cxn>
              <a:cxn ang="0">
                <a:pos x="connsiteX48302" y="connsiteY48302"/>
              </a:cxn>
              <a:cxn ang="0">
                <a:pos x="connsiteX48303" y="connsiteY48303"/>
              </a:cxn>
              <a:cxn ang="0">
                <a:pos x="connsiteX48304" y="connsiteY48304"/>
              </a:cxn>
              <a:cxn ang="0">
                <a:pos x="connsiteX48305" y="connsiteY48305"/>
              </a:cxn>
              <a:cxn ang="0">
                <a:pos x="connsiteX48306" y="connsiteY48306"/>
              </a:cxn>
              <a:cxn ang="0">
                <a:pos x="connsiteX48307" y="connsiteY48307"/>
              </a:cxn>
              <a:cxn ang="0">
                <a:pos x="connsiteX48308" y="connsiteY48308"/>
              </a:cxn>
              <a:cxn ang="0">
                <a:pos x="connsiteX48309" y="connsiteY48309"/>
              </a:cxn>
              <a:cxn ang="0">
                <a:pos x="connsiteX48310" y="connsiteY48310"/>
              </a:cxn>
              <a:cxn ang="0">
                <a:pos x="connsiteX48311" y="connsiteY48311"/>
              </a:cxn>
              <a:cxn ang="0">
                <a:pos x="connsiteX48312" y="connsiteY48312"/>
              </a:cxn>
              <a:cxn ang="0">
                <a:pos x="connsiteX48313" y="connsiteY48313"/>
              </a:cxn>
              <a:cxn ang="0">
                <a:pos x="connsiteX48314" y="connsiteY48314"/>
              </a:cxn>
              <a:cxn ang="0">
                <a:pos x="connsiteX48315" y="connsiteY48315"/>
              </a:cxn>
              <a:cxn ang="0">
                <a:pos x="connsiteX48316" y="connsiteY48316"/>
              </a:cxn>
              <a:cxn ang="0">
                <a:pos x="connsiteX48317" y="connsiteY48317"/>
              </a:cxn>
              <a:cxn ang="0">
                <a:pos x="connsiteX48318" y="connsiteY48318"/>
              </a:cxn>
              <a:cxn ang="0">
                <a:pos x="connsiteX48319" y="connsiteY48319"/>
              </a:cxn>
              <a:cxn ang="0">
                <a:pos x="connsiteX48320" y="connsiteY48320"/>
              </a:cxn>
              <a:cxn ang="0">
                <a:pos x="connsiteX48321" y="connsiteY48321"/>
              </a:cxn>
              <a:cxn ang="0">
                <a:pos x="connsiteX48322" y="connsiteY48322"/>
              </a:cxn>
              <a:cxn ang="0">
                <a:pos x="connsiteX48323" y="connsiteY48323"/>
              </a:cxn>
              <a:cxn ang="0">
                <a:pos x="connsiteX48324" y="connsiteY48324"/>
              </a:cxn>
              <a:cxn ang="0">
                <a:pos x="connsiteX48325" y="connsiteY48325"/>
              </a:cxn>
              <a:cxn ang="0">
                <a:pos x="connsiteX48326" y="connsiteY48326"/>
              </a:cxn>
              <a:cxn ang="0">
                <a:pos x="connsiteX48327" y="connsiteY48327"/>
              </a:cxn>
              <a:cxn ang="0">
                <a:pos x="connsiteX48328" y="connsiteY48328"/>
              </a:cxn>
              <a:cxn ang="0">
                <a:pos x="connsiteX48329" y="connsiteY48329"/>
              </a:cxn>
              <a:cxn ang="0">
                <a:pos x="connsiteX48330" y="connsiteY48330"/>
              </a:cxn>
              <a:cxn ang="0">
                <a:pos x="connsiteX48331" y="connsiteY48331"/>
              </a:cxn>
              <a:cxn ang="0">
                <a:pos x="connsiteX48332" y="connsiteY48332"/>
              </a:cxn>
              <a:cxn ang="0">
                <a:pos x="connsiteX48333" y="connsiteY48333"/>
              </a:cxn>
              <a:cxn ang="0">
                <a:pos x="connsiteX48334" y="connsiteY48334"/>
              </a:cxn>
              <a:cxn ang="0">
                <a:pos x="connsiteX48335" y="connsiteY48335"/>
              </a:cxn>
              <a:cxn ang="0">
                <a:pos x="connsiteX48336" y="connsiteY48336"/>
              </a:cxn>
              <a:cxn ang="0">
                <a:pos x="connsiteX48337" y="connsiteY48337"/>
              </a:cxn>
              <a:cxn ang="0">
                <a:pos x="connsiteX48338" y="connsiteY48338"/>
              </a:cxn>
              <a:cxn ang="0">
                <a:pos x="connsiteX48339" y="connsiteY48339"/>
              </a:cxn>
              <a:cxn ang="0">
                <a:pos x="connsiteX48340" y="connsiteY48340"/>
              </a:cxn>
              <a:cxn ang="0">
                <a:pos x="connsiteX48341" y="connsiteY48341"/>
              </a:cxn>
              <a:cxn ang="0">
                <a:pos x="connsiteX48342" y="connsiteY48342"/>
              </a:cxn>
              <a:cxn ang="0">
                <a:pos x="connsiteX48343" y="connsiteY48343"/>
              </a:cxn>
              <a:cxn ang="0">
                <a:pos x="connsiteX48344" y="connsiteY48344"/>
              </a:cxn>
              <a:cxn ang="0">
                <a:pos x="connsiteX48345" y="connsiteY48345"/>
              </a:cxn>
              <a:cxn ang="0">
                <a:pos x="connsiteX48346" y="connsiteY48346"/>
              </a:cxn>
              <a:cxn ang="0">
                <a:pos x="connsiteX48347" y="connsiteY48347"/>
              </a:cxn>
              <a:cxn ang="0">
                <a:pos x="connsiteX48348" y="connsiteY48348"/>
              </a:cxn>
              <a:cxn ang="0">
                <a:pos x="connsiteX48349" y="connsiteY48349"/>
              </a:cxn>
              <a:cxn ang="0">
                <a:pos x="connsiteX48350" y="connsiteY48350"/>
              </a:cxn>
              <a:cxn ang="0">
                <a:pos x="connsiteX48351" y="connsiteY48351"/>
              </a:cxn>
              <a:cxn ang="0">
                <a:pos x="connsiteX48352" y="connsiteY48352"/>
              </a:cxn>
              <a:cxn ang="0">
                <a:pos x="connsiteX48353" y="connsiteY48353"/>
              </a:cxn>
              <a:cxn ang="0">
                <a:pos x="connsiteX48354" y="connsiteY48354"/>
              </a:cxn>
              <a:cxn ang="0">
                <a:pos x="connsiteX48355" y="connsiteY48355"/>
              </a:cxn>
              <a:cxn ang="0">
                <a:pos x="connsiteX48356" y="connsiteY48356"/>
              </a:cxn>
              <a:cxn ang="0">
                <a:pos x="connsiteX48357" y="connsiteY48357"/>
              </a:cxn>
              <a:cxn ang="0">
                <a:pos x="connsiteX48358" y="connsiteY48358"/>
              </a:cxn>
              <a:cxn ang="0">
                <a:pos x="connsiteX48359" y="connsiteY48359"/>
              </a:cxn>
              <a:cxn ang="0">
                <a:pos x="connsiteX48360" y="connsiteY48360"/>
              </a:cxn>
              <a:cxn ang="0">
                <a:pos x="connsiteX48361" y="connsiteY48361"/>
              </a:cxn>
              <a:cxn ang="0">
                <a:pos x="connsiteX48362" y="connsiteY48362"/>
              </a:cxn>
              <a:cxn ang="0">
                <a:pos x="connsiteX48363" y="connsiteY48363"/>
              </a:cxn>
              <a:cxn ang="0">
                <a:pos x="connsiteX48364" y="connsiteY48364"/>
              </a:cxn>
              <a:cxn ang="0">
                <a:pos x="connsiteX48365" y="connsiteY48365"/>
              </a:cxn>
              <a:cxn ang="0">
                <a:pos x="connsiteX48366" y="connsiteY48366"/>
              </a:cxn>
              <a:cxn ang="0">
                <a:pos x="connsiteX48367" y="connsiteY48367"/>
              </a:cxn>
              <a:cxn ang="0">
                <a:pos x="connsiteX48368" y="connsiteY48368"/>
              </a:cxn>
              <a:cxn ang="0">
                <a:pos x="connsiteX48369" y="connsiteY48369"/>
              </a:cxn>
              <a:cxn ang="0">
                <a:pos x="connsiteX48370" y="connsiteY48370"/>
              </a:cxn>
              <a:cxn ang="0">
                <a:pos x="connsiteX48371" y="connsiteY48371"/>
              </a:cxn>
              <a:cxn ang="0">
                <a:pos x="connsiteX48372" y="connsiteY48372"/>
              </a:cxn>
              <a:cxn ang="0">
                <a:pos x="connsiteX48373" y="connsiteY48373"/>
              </a:cxn>
              <a:cxn ang="0">
                <a:pos x="connsiteX48374" y="connsiteY48374"/>
              </a:cxn>
              <a:cxn ang="0">
                <a:pos x="connsiteX48375" y="connsiteY48375"/>
              </a:cxn>
              <a:cxn ang="0">
                <a:pos x="connsiteX48376" y="connsiteY48376"/>
              </a:cxn>
              <a:cxn ang="0">
                <a:pos x="connsiteX48377" y="connsiteY48377"/>
              </a:cxn>
              <a:cxn ang="0">
                <a:pos x="connsiteX48378" y="connsiteY48378"/>
              </a:cxn>
              <a:cxn ang="0">
                <a:pos x="connsiteX48379" y="connsiteY48379"/>
              </a:cxn>
              <a:cxn ang="0">
                <a:pos x="connsiteX48380" y="connsiteY48380"/>
              </a:cxn>
              <a:cxn ang="0">
                <a:pos x="connsiteX48381" y="connsiteY48381"/>
              </a:cxn>
              <a:cxn ang="0">
                <a:pos x="connsiteX48382" y="connsiteY48382"/>
              </a:cxn>
              <a:cxn ang="0">
                <a:pos x="connsiteX48383" y="connsiteY48383"/>
              </a:cxn>
              <a:cxn ang="0">
                <a:pos x="connsiteX48384" y="connsiteY48384"/>
              </a:cxn>
              <a:cxn ang="0">
                <a:pos x="connsiteX48385" y="connsiteY48385"/>
              </a:cxn>
              <a:cxn ang="0">
                <a:pos x="connsiteX48386" y="connsiteY48386"/>
              </a:cxn>
              <a:cxn ang="0">
                <a:pos x="connsiteX48387" y="connsiteY48387"/>
              </a:cxn>
              <a:cxn ang="0">
                <a:pos x="connsiteX48388" y="connsiteY48388"/>
              </a:cxn>
              <a:cxn ang="0">
                <a:pos x="connsiteX48389" y="connsiteY48389"/>
              </a:cxn>
              <a:cxn ang="0">
                <a:pos x="connsiteX48390" y="connsiteY48390"/>
              </a:cxn>
              <a:cxn ang="0">
                <a:pos x="connsiteX48391" y="connsiteY48391"/>
              </a:cxn>
              <a:cxn ang="0">
                <a:pos x="connsiteX48392" y="connsiteY48392"/>
              </a:cxn>
              <a:cxn ang="0">
                <a:pos x="connsiteX48393" y="connsiteY48393"/>
              </a:cxn>
              <a:cxn ang="0">
                <a:pos x="connsiteX48394" y="connsiteY48394"/>
              </a:cxn>
              <a:cxn ang="0">
                <a:pos x="connsiteX48395" y="connsiteY48395"/>
              </a:cxn>
              <a:cxn ang="0">
                <a:pos x="connsiteX48396" y="connsiteY48396"/>
              </a:cxn>
              <a:cxn ang="0">
                <a:pos x="connsiteX48397" y="connsiteY48397"/>
              </a:cxn>
              <a:cxn ang="0">
                <a:pos x="connsiteX48398" y="connsiteY48398"/>
              </a:cxn>
              <a:cxn ang="0">
                <a:pos x="connsiteX48399" y="connsiteY48399"/>
              </a:cxn>
              <a:cxn ang="0">
                <a:pos x="connsiteX48400" y="connsiteY48400"/>
              </a:cxn>
              <a:cxn ang="0">
                <a:pos x="connsiteX48401" y="connsiteY48401"/>
              </a:cxn>
              <a:cxn ang="0">
                <a:pos x="connsiteX48402" y="connsiteY48402"/>
              </a:cxn>
              <a:cxn ang="0">
                <a:pos x="connsiteX48403" y="connsiteY48403"/>
              </a:cxn>
              <a:cxn ang="0">
                <a:pos x="connsiteX48404" y="connsiteY48404"/>
              </a:cxn>
              <a:cxn ang="0">
                <a:pos x="connsiteX48405" y="connsiteY48405"/>
              </a:cxn>
              <a:cxn ang="0">
                <a:pos x="connsiteX48406" y="connsiteY48406"/>
              </a:cxn>
              <a:cxn ang="0">
                <a:pos x="connsiteX48407" y="connsiteY48407"/>
              </a:cxn>
              <a:cxn ang="0">
                <a:pos x="connsiteX48408" y="connsiteY48408"/>
              </a:cxn>
              <a:cxn ang="0">
                <a:pos x="connsiteX48409" y="connsiteY48409"/>
              </a:cxn>
              <a:cxn ang="0">
                <a:pos x="connsiteX48410" y="connsiteY48410"/>
              </a:cxn>
              <a:cxn ang="0">
                <a:pos x="connsiteX48411" y="connsiteY48411"/>
              </a:cxn>
              <a:cxn ang="0">
                <a:pos x="connsiteX48412" y="connsiteY48412"/>
              </a:cxn>
              <a:cxn ang="0">
                <a:pos x="connsiteX48413" y="connsiteY48413"/>
              </a:cxn>
              <a:cxn ang="0">
                <a:pos x="connsiteX48414" y="connsiteY48414"/>
              </a:cxn>
              <a:cxn ang="0">
                <a:pos x="connsiteX48415" y="connsiteY48415"/>
              </a:cxn>
              <a:cxn ang="0">
                <a:pos x="connsiteX48416" y="connsiteY48416"/>
              </a:cxn>
              <a:cxn ang="0">
                <a:pos x="connsiteX48417" y="connsiteY48417"/>
              </a:cxn>
              <a:cxn ang="0">
                <a:pos x="connsiteX48418" y="connsiteY48418"/>
              </a:cxn>
              <a:cxn ang="0">
                <a:pos x="connsiteX48419" y="connsiteY48419"/>
              </a:cxn>
              <a:cxn ang="0">
                <a:pos x="connsiteX48420" y="connsiteY48420"/>
              </a:cxn>
              <a:cxn ang="0">
                <a:pos x="connsiteX48421" y="connsiteY48421"/>
              </a:cxn>
              <a:cxn ang="0">
                <a:pos x="connsiteX48422" y="connsiteY48422"/>
              </a:cxn>
              <a:cxn ang="0">
                <a:pos x="connsiteX48423" y="connsiteY48423"/>
              </a:cxn>
              <a:cxn ang="0">
                <a:pos x="connsiteX48424" y="connsiteY48424"/>
              </a:cxn>
              <a:cxn ang="0">
                <a:pos x="connsiteX48425" y="connsiteY48425"/>
              </a:cxn>
              <a:cxn ang="0">
                <a:pos x="connsiteX48426" y="connsiteY48426"/>
              </a:cxn>
              <a:cxn ang="0">
                <a:pos x="connsiteX48427" y="connsiteY48427"/>
              </a:cxn>
              <a:cxn ang="0">
                <a:pos x="connsiteX48428" y="connsiteY48428"/>
              </a:cxn>
              <a:cxn ang="0">
                <a:pos x="connsiteX48429" y="connsiteY48429"/>
              </a:cxn>
              <a:cxn ang="0">
                <a:pos x="connsiteX48430" y="connsiteY48430"/>
              </a:cxn>
              <a:cxn ang="0">
                <a:pos x="connsiteX48431" y="connsiteY48431"/>
              </a:cxn>
              <a:cxn ang="0">
                <a:pos x="connsiteX48432" y="connsiteY48432"/>
              </a:cxn>
              <a:cxn ang="0">
                <a:pos x="connsiteX48433" y="connsiteY48433"/>
              </a:cxn>
              <a:cxn ang="0">
                <a:pos x="connsiteX48434" y="connsiteY48434"/>
              </a:cxn>
              <a:cxn ang="0">
                <a:pos x="connsiteX48435" y="connsiteY48435"/>
              </a:cxn>
              <a:cxn ang="0">
                <a:pos x="connsiteX48436" y="connsiteY48436"/>
              </a:cxn>
              <a:cxn ang="0">
                <a:pos x="connsiteX48437" y="connsiteY48437"/>
              </a:cxn>
              <a:cxn ang="0">
                <a:pos x="connsiteX48438" y="connsiteY48438"/>
              </a:cxn>
              <a:cxn ang="0">
                <a:pos x="connsiteX48439" y="connsiteY48439"/>
              </a:cxn>
              <a:cxn ang="0">
                <a:pos x="connsiteX48440" y="connsiteY48440"/>
              </a:cxn>
              <a:cxn ang="0">
                <a:pos x="connsiteX48441" y="connsiteY48441"/>
              </a:cxn>
              <a:cxn ang="0">
                <a:pos x="connsiteX48442" y="connsiteY48442"/>
              </a:cxn>
              <a:cxn ang="0">
                <a:pos x="connsiteX48443" y="connsiteY48443"/>
              </a:cxn>
              <a:cxn ang="0">
                <a:pos x="connsiteX48444" y="connsiteY48444"/>
              </a:cxn>
              <a:cxn ang="0">
                <a:pos x="connsiteX48445" y="connsiteY48445"/>
              </a:cxn>
              <a:cxn ang="0">
                <a:pos x="connsiteX48446" y="connsiteY48446"/>
              </a:cxn>
              <a:cxn ang="0">
                <a:pos x="connsiteX48447" y="connsiteY48447"/>
              </a:cxn>
              <a:cxn ang="0">
                <a:pos x="connsiteX48448" y="connsiteY48448"/>
              </a:cxn>
              <a:cxn ang="0">
                <a:pos x="connsiteX48449" y="connsiteY48449"/>
              </a:cxn>
              <a:cxn ang="0">
                <a:pos x="connsiteX48450" y="connsiteY48450"/>
              </a:cxn>
              <a:cxn ang="0">
                <a:pos x="connsiteX48451" y="connsiteY48451"/>
              </a:cxn>
              <a:cxn ang="0">
                <a:pos x="connsiteX48452" y="connsiteY48452"/>
              </a:cxn>
              <a:cxn ang="0">
                <a:pos x="connsiteX48453" y="connsiteY48453"/>
              </a:cxn>
              <a:cxn ang="0">
                <a:pos x="connsiteX48454" y="connsiteY48454"/>
              </a:cxn>
              <a:cxn ang="0">
                <a:pos x="connsiteX48455" y="connsiteY48455"/>
              </a:cxn>
              <a:cxn ang="0">
                <a:pos x="connsiteX48456" y="connsiteY48456"/>
              </a:cxn>
              <a:cxn ang="0">
                <a:pos x="connsiteX48457" y="connsiteY48457"/>
              </a:cxn>
              <a:cxn ang="0">
                <a:pos x="connsiteX48458" y="connsiteY48458"/>
              </a:cxn>
              <a:cxn ang="0">
                <a:pos x="connsiteX48459" y="connsiteY48459"/>
              </a:cxn>
              <a:cxn ang="0">
                <a:pos x="connsiteX48460" y="connsiteY48460"/>
              </a:cxn>
              <a:cxn ang="0">
                <a:pos x="connsiteX48461" y="connsiteY48461"/>
              </a:cxn>
              <a:cxn ang="0">
                <a:pos x="connsiteX48462" y="connsiteY48462"/>
              </a:cxn>
              <a:cxn ang="0">
                <a:pos x="connsiteX48463" y="connsiteY48463"/>
              </a:cxn>
              <a:cxn ang="0">
                <a:pos x="connsiteX48464" y="connsiteY48464"/>
              </a:cxn>
              <a:cxn ang="0">
                <a:pos x="connsiteX48465" y="connsiteY48465"/>
              </a:cxn>
              <a:cxn ang="0">
                <a:pos x="connsiteX48466" y="connsiteY48466"/>
              </a:cxn>
              <a:cxn ang="0">
                <a:pos x="connsiteX48467" y="connsiteY48467"/>
              </a:cxn>
              <a:cxn ang="0">
                <a:pos x="connsiteX48468" y="connsiteY48468"/>
              </a:cxn>
              <a:cxn ang="0">
                <a:pos x="connsiteX48469" y="connsiteY48469"/>
              </a:cxn>
              <a:cxn ang="0">
                <a:pos x="connsiteX48470" y="connsiteY48470"/>
              </a:cxn>
              <a:cxn ang="0">
                <a:pos x="connsiteX48471" y="connsiteY48471"/>
              </a:cxn>
              <a:cxn ang="0">
                <a:pos x="connsiteX48472" y="connsiteY48472"/>
              </a:cxn>
              <a:cxn ang="0">
                <a:pos x="connsiteX48473" y="connsiteY48473"/>
              </a:cxn>
              <a:cxn ang="0">
                <a:pos x="connsiteX48474" y="connsiteY48474"/>
              </a:cxn>
              <a:cxn ang="0">
                <a:pos x="connsiteX48475" y="connsiteY48475"/>
              </a:cxn>
              <a:cxn ang="0">
                <a:pos x="connsiteX48476" y="connsiteY48476"/>
              </a:cxn>
              <a:cxn ang="0">
                <a:pos x="connsiteX48477" y="connsiteY48477"/>
              </a:cxn>
              <a:cxn ang="0">
                <a:pos x="connsiteX48478" y="connsiteY48478"/>
              </a:cxn>
              <a:cxn ang="0">
                <a:pos x="connsiteX48479" y="connsiteY48479"/>
              </a:cxn>
              <a:cxn ang="0">
                <a:pos x="connsiteX48480" y="connsiteY48480"/>
              </a:cxn>
              <a:cxn ang="0">
                <a:pos x="connsiteX48481" y="connsiteY48481"/>
              </a:cxn>
              <a:cxn ang="0">
                <a:pos x="connsiteX48482" y="connsiteY48482"/>
              </a:cxn>
              <a:cxn ang="0">
                <a:pos x="connsiteX48483" y="connsiteY48483"/>
              </a:cxn>
              <a:cxn ang="0">
                <a:pos x="connsiteX48484" y="connsiteY48484"/>
              </a:cxn>
              <a:cxn ang="0">
                <a:pos x="connsiteX48485" y="connsiteY48485"/>
              </a:cxn>
              <a:cxn ang="0">
                <a:pos x="connsiteX48486" y="connsiteY48486"/>
              </a:cxn>
              <a:cxn ang="0">
                <a:pos x="connsiteX48487" y="connsiteY48487"/>
              </a:cxn>
              <a:cxn ang="0">
                <a:pos x="connsiteX48488" y="connsiteY48488"/>
              </a:cxn>
              <a:cxn ang="0">
                <a:pos x="connsiteX48489" y="connsiteY48489"/>
              </a:cxn>
              <a:cxn ang="0">
                <a:pos x="connsiteX48490" y="connsiteY48490"/>
              </a:cxn>
              <a:cxn ang="0">
                <a:pos x="connsiteX48491" y="connsiteY48491"/>
              </a:cxn>
              <a:cxn ang="0">
                <a:pos x="connsiteX48492" y="connsiteY48492"/>
              </a:cxn>
              <a:cxn ang="0">
                <a:pos x="connsiteX48493" y="connsiteY48493"/>
              </a:cxn>
              <a:cxn ang="0">
                <a:pos x="connsiteX48494" y="connsiteY48494"/>
              </a:cxn>
              <a:cxn ang="0">
                <a:pos x="connsiteX48495" y="connsiteY48495"/>
              </a:cxn>
              <a:cxn ang="0">
                <a:pos x="connsiteX48496" y="connsiteY48496"/>
              </a:cxn>
              <a:cxn ang="0">
                <a:pos x="connsiteX48497" y="connsiteY48497"/>
              </a:cxn>
              <a:cxn ang="0">
                <a:pos x="connsiteX48498" y="connsiteY48498"/>
              </a:cxn>
              <a:cxn ang="0">
                <a:pos x="connsiteX48499" y="connsiteY48499"/>
              </a:cxn>
              <a:cxn ang="0">
                <a:pos x="connsiteX48500" y="connsiteY48500"/>
              </a:cxn>
              <a:cxn ang="0">
                <a:pos x="connsiteX48501" y="connsiteY48501"/>
              </a:cxn>
              <a:cxn ang="0">
                <a:pos x="connsiteX48502" y="connsiteY48502"/>
              </a:cxn>
              <a:cxn ang="0">
                <a:pos x="connsiteX48503" y="connsiteY48503"/>
              </a:cxn>
              <a:cxn ang="0">
                <a:pos x="connsiteX48504" y="connsiteY48504"/>
              </a:cxn>
              <a:cxn ang="0">
                <a:pos x="connsiteX48505" y="connsiteY48505"/>
              </a:cxn>
              <a:cxn ang="0">
                <a:pos x="connsiteX48506" y="connsiteY48506"/>
              </a:cxn>
              <a:cxn ang="0">
                <a:pos x="connsiteX48507" y="connsiteY48507"/>
              </a:cxn>
              <a:cxn ang="0">
                <a:pos x="connsiteX48508" y="connsiteY48508"/>
              </a:cxn>
              <a:cxn ang="0">
                <a:pos x="connsiteX48509" y="connsiteY48509"/>
              </a:cxn>
              <a:cxn ang="0">
                <a:pos x="connsiteX48510" y="connsiteY48510"/>
              </a:cxn>
              <a:cxn ang="0">
                <a:pos x="connsiteX48511" y="connsiteY48511"/>
              </a:cxn>
              <a:cxn ang="0">
                <a:pos x="connsiteX48512" y="connsiteY48512"/>
              </a:cxn>
              <a:cxn ang="0">
                <a:pos x="connsiteX48513" y="connsiteY48513"/>
              </a:cxn>
              <a:cxn ang="0">
                <a:pos x="connsiteX48514" y="connsiteY48514"/>
              </a:cxn>
              <a:cxn ang="0">
                <a:pos x="connsiteX48515" y="connsiteY48515"/>
              </a:cxn>
              <a:cxn ang="0">
                <a:pos x="connsiteX48516" y="connsiteY48516"/>
              </a:cxn>
              <a:cxn ang="0">
                <a:pos x="connsiteX48517" y="connsiteY48517"/>
              </a:cxn>
              <a:cxn ang="0">
                <a:pos x="connsiteX48518" y="connsiteY48518"/>
              </a:cxn>
              <a:cxn ang="0">
                <a:pos x="connsiteX48519" y="connsiteY48519"/>
              </a:cxn>
              <a:cxn ang="0">
                <a:pos x="connsiteX48520" y="connsiteY48520"/>
              </a:cxn>
              <a:cxn ang="0">
                <a:pos x="connsiteX48521" y="connsiteY48521"/>
              </a:cxn>
              <a:cxn ang="0">
                <a:pos x="connsiteX48522" y="connsiteY48522"/>
              </a:cxn>
              <a:cxn ang="0">
                <a:pos x="connsiteX48523" y="connsiteY48523"/>
              </a:cxn>
              <a:cxn ang="0">
                <a:pos x="connsiteX48524" y="connsiteY48524"/>
              </a:cxn>
              <a:cxn ang="0">
                <a:pos x="connsiteX48525" y="connsiteY48525"/>
              </a:cxn>
              <a:cxn ang="0">
                <a:pos x="connsiteX48526" y="connsiteY48526"/>
              </a:cxn>
              <a:cxn ang="0">
                <a:pos x="connsiteX48527" y="connsiteY48527"/>
              </a:cxn>
              <a:cxn ang="0">
                <a:pos x="connsiteX48528" y="connsiteY48528"/>
              </a:cxn>
              <a:cxn ang="0">
                <a:pos x="connsiteX48529" y="connsiteY48529"/>
              </a:cxn>
              <a:cxn ang="0">
                <a:pos x="connsiteX48530" y="connsiteY48530"/>
              </a:cxn>
              <a:cxn ang="0">
                <a:pos x="connsiteX48531" y="connsiteY48531"/>
              </a:cxn>
              <a:cxn ang="0">
                <a:pos x="connsiteX48532" y="connsiteY48532"/>
              </a:cxn>
              <a:cxn ang="0">
                <a:pos x="connsiteX48533" y="connsiteY48533"/>
              </a:cxn>
              <a:cxn ang="0">
                <a:pos x="connsiteX48534" y="connsiteY48534"/>
              </a:cxn>
              <a:cxn ang="0">
                <a:pos x="connsiteX48535" y="connsiteY48535"/>
              </a:cxn>
              <a:cxn ang="0">
                <a:pos x="connsiteX48536" y="connsiteY48536"/>
              </a:cxn>
              <a:cxn ang="0">
                <a:pos x="connsiteX48537" y="connsiteY48537"/>
              </a:cxn>
              <a:cxn ang="0">
                <a:pos x="connsiteX48538" y="connsiteY48538"/>
              </a:cxn>
              <a:cxn ang="0">
                <a:pos x="connsiteX48539" y="connsiteY48539"/>
              </a:cxn>
              <a:cxn ang="0">
                <a:pos x="connsiteX48540" y="connsiteY48540"/>
              </a:cxn>
              <a:cxn ang="0">
                <a:pos x="connsiteX48541" y="connsiteY48541"/>
              </a:cxn>
              <a:cxn ang="0">
                <a:pos x="connsiteX48542" y="connsiteY48542"/>
              </a:cxn>
              <a:cxn ang="0">
                <a:pos x="connsiteX48543" y="connsiteY48543"/>
              </a:cxn>
              <a:cxn ang="0">
                <a:pos x="connsiteX48544" y="connsiteY48544"/>
              </a:cxn>
              <a:cxn ang="0">
                <a:pos x="connsiteX48545" y="connsiteY48545"/>
              </a:cxn>
              <a:cxn ang="0">
                <a:pos x="connsiteX48546" y="connsiteY48546"/>
              </a:cxn>
              <a:cxn ang="0">
                <a:pos x="connsiteX48547" y="connsiteY48547"/>
              </a:cxn>
              <a:cxn ang="0">
                <a:pos x="connsiteX48548" y="connsiteY48548"/>
              </a:cxn>
              <a:cxn ang="0">
                <a:pos x="connsiteX48549" y="connsiteY48549"/>
              </a:cxn>
              <a:cxn ang="0">
                <a:pos x="connsiteX48550" y="connsiteY48550"/>
              </a:cxn>
              <a:cxn ang="0">
                <a:pos x="connsiteX48551" y="connsiteY48551"/>
              </a:cxn>
              <a:cxn ang="0">
                <a:pos x="connsiteX48552" y="connsiteY48552"/>
              </a:cxn>
              <a:cxn ang="0">
                <a:pos x="connsiteX48553" y="connsiteY48553"/>
              </a:cxn>
              <a:cxn ang="0">
                <a:pos x="connsiteX48554" y="connsiteY48554"/>
              </a:cxn>
              <a:cxn ang="0">
                <a:pos x="connsiteX48555" y="connsiteY48555"/>
              </a:cxn>
              <a:cxn ang="0">
                <a:pos x="connsiteX48556" y="connsiteY48556"/>
              </a:cxn>
              <a:cxn ang="0">
                <a:pos x="connsiteX48557" y="connsiteY48557"/>
              </a:cxn>
              <a:cxn ang="0">
                <a:pos x="connsiteX48558" y="connsiteY48558"/>
              </a:cxn>
              <a:cxn ang="0">
                <a:pos x="connsiteX48559" y="connsiteY48559"/>
              </a:cxn>
              <a:cxn ang="0">
                <a:pos x="connsiteX48560" y="connsiteY48560"/>
              </a:cxn>
              <a:cxn ang="0">
                <a:pos x="connsiteX48561" y="connsiteY48561"/>
              </a:cxn>
              <a:cxn ang="0">
                <a:pos x="connsiteX48562" y="connsiteY48562"/>
              </a:cxn>
              <a:cxn ang="0">
                <a:pos x="connsiteX48563" y="connsiteY48563"/>
              </a:cxn>
              <a:cxn ang="0">
                <a:pos x="connsiteX48564" y="connsiteY48564"/>
              </a:cxn>
              <a:cxn ang="0">
                <a:pos x="connsiteX48565" y="connsiteY48565"/>
              </a:cxn>
              <a:cxn ang="0">
                <a:pos x="connsiteX48566" y="connsiteY48566"/>
              </a:cxn>
              <a:cxn ang="0">
                <a:pos x="connsiteX48567" y="connsiteY48567"/>
              </a:cxn>
              <a:cxn ang="0">
                <a:pos x="connsiteX48568" y="connsiteY48568"/>
              </a:cxn>
              <a:cxn ang="0">
                <a:pos x="connsiteX48569" y="connsiteY48569"/>
              </a:cxn>
              <a:cxn ang="0">
                <a:pos x="connsiteX48570" y="connsiteY48570"/>
              </a:cxn>
              <a:cxn ang="0">
                <a:pos x="connsiteX48571" y="connsiteY48571"/>
              </a:cxn>
              <a:cxn ang="0">
                <a:pos x="connsiteX48572" y="connsiteY48572"/>
              </a:cxn>
              <a:cxn ang="0">
                <a:pos x="connsiteX48573" y="connsiteY48573"/>
              </a:cxn>
              <a:cxn ang="0">
                <a:pos x="connsiteX48574" y="connsiteY48574"/>
              </a:cxn>
              <a:cxn ang="0">
                <a:pos x="connsiteX48575" y="connsiteY48575"/>
              </a:cxn>
              <a:cxn ang="0">
                <a:pos x="connsiteX48576" y="connsiteY48576"/>
              </a:cxn>
              <a:cxn ang="0">
                <a:pos x="connsiteX48577" y="connsiteY48577"/>
              </a:cxn>
              <a:cxn ang="0">
                <a:pos x="connsiteX48578" y="connsiteY48578"/>
              </a:cxn>
              <a:cxn ang="0">
                <a:pos x="connsiteX48579" y="connsiteY48579"/>
              </a:cxn>
              <a:cxn ang="0">
                <a:pos x="connsiteX48580" y="connsiteY48580"/>
              </a:cxn>
              <a:cxn ang="0">
                <a:pos x="connsiteX48581" y="connsiteY48581"/>
              </a:cxn>
              <a:cxn ang="0">
                <a:pos x="connsiteX48582" y="connsiteY48582"/>
              </a:cxn>
              <a:cxn ang="0">
                <a:pos x="connsiteX48583" y="connsiteY48583"/>
              </a:cxn>
              <a:cxn ang="0">
                <a:pos x="connsiteX48584" y="connsiteY48584"/>
              </a:cxn>
              <a:cxn ang="0">
                <a:pos x="connsiteX48585" y="connsiteY48585"/>
              </a:cxn>
              <a:cxn ang="0">
                <a:pos x="connsiteX48586" y="connsiteY48586"/>
              </a:cxn>
              <a:cxn ang="0">
                <a:pos x="connsiteX48587" y="connsiteY48587"/>
              </a:cxn>
              <a:cxn ang="0">
                <a:pos x="connsiteX48588" y="connsiteY48588"/>
              </a:cxn>
              <a:cxn ang="0">
                <a:pos x="connsiteX48589" y="connsiteY48589"/>
              </a:cxn>
              <a:cxn ang="0">
                <a:pos x="connsiteX48590" y="connsiteY48590"/>
              </a:cxn>
              <a:cxn ang="0">
                <a:pos x="connsiteX48591" y="connsiteY48591"/>
              </a:cxn>
              <a:cxn ang="0">
                <a:pos x="connsiteX48592" y="connsiteY48592"/>
              </a:cxn>
              <a:cxn ang="0">
                <a:pos x="connsiteX48593" y="connsiteY48593"/>
              </a:cxn>
              <a:cxn ang="0">
                <a:pos x="connsiteX48594" y="connsiteY48594"/>
              </a:cxn>
              <a:cxn ang="0">
                <a:pos x="connsiteX48595" y="connsiteY48595"/>
              </a:cxn>
              <a:cxn ang="0">
                <a:pos x="connsiteX48596" y="connsiteY48596"/>
              </a:cxn>
              <a:cxn ang="0">
                <a:pos x="connsiteX48597" y="connsiteY48597"/>
              </a:cxn>
              <a:cxn ang="0">
                <a:pos x="connsiteX48598" y="connsiteY48598"/>
              </a:cxn>
              <a:cxn ang="0">
                <a:pos x="connsiteX48599" y="connsiteY48599"/>
              </a:cxn>
              <a:cxn ang="0">
                <a:pos x="connsiteX48600" y="connsiteY48600"/>
              </a:cxn>
              <a:cxn ang="0">
                <a:pos x="connsiteX48601" y="connsiteY48601"/>
              </a:cxn>
              <a:cxn ang="0">
                <a:pos x="connsiteX48602" y="connsiteY48602"/>
              </a:cxn>
              <a:cxn ang="0">
                <a:pos x="connsiteX48603" y="connsiteY48603"/>
              </a:cxn>
              <a:cxn ang="0">
                <a:pos x="connsiteX48604" y="connsiteY48604"/>
              </a:cxn>
              <a:cxn ang="0">
                <a:pos x="connsiteX48605" y="connsiteY48605"/>
              </a:cxn>
              <a:cxn ang="0">
                <a:pos x="connsiteX48606" y="connsiteY48606"/>
              </a:cxn>
              <a:cxn ang="0">
                <a:pos x="connsiteX48607" y="connsiteY48607"/>
              </a:cxn>
              <a:cxn ang="0">
                <a:pos x="connsiteX48608" y="connsiteY48608"/>
              </a:cxn>
              <a:cxn ang="0">
                <a:pos x="connsiteX48609" y="connsiteY48609"/>
              </a:cxn>
              <a:cxn ang="0">
                <a:pos x="connsiteX48610" y="connsiteY48610"/>
              </a:cxn>
              <a:cxn ang="0">
                <a:pos x="connsiteX48611" y="connsiteY48611"/>
              </a:cxn>
              <a:cxn ang="0">
                <a:pos x="connsiteX48612" y="connsiteY48612"/>
              </a:cxn>
              <a:cxn ang="0">
                <a:pos x="connsiteX48613" y="connsiteY48613"/>
              </a:cxn>
              <a:cxn ang="0">
                <a:pos x="connsiteX48614" y="connsiteY48614"/>
              </a:cxn>
              <a:cxn ang="0">
                <a:pos x="connsiteX48615" y="connsiteY48615"/>
              </a:cxn>
              <a:cxn ang="0">
                <a:pos x="connsiteX48616" y="connsiteY48616"/>
              </a:cxn>
              <a:cxn ang="0">
                <a:pos x="connsiteX48617" y="connsiteY48617"/>
              </a:cxn>
              <a:cxn ang="0">
                <a:pos x="connsiteX48618" y="connsiteY48618"/>
              </a:cxn>
              <a:cxn ang="0">
                <a:pos x="connsiteX48619" y="connsiteY48619"/>
              </a:cxn>
              <a:cxn ang="0">
                <a:pos x="connsiteX48620" y="connsiteY48620"/>
              </a:cxn>
              <a:cxn ang="0">
                <a:pos x="connsiteX48621" y="connsiteY48621"/>
              </a:cxn>
              <a:cxn ang="0">
                <a:pos x="connsiteX48622" y="connsiteY48622"/>
              </a:cxn>
              <a:cxn ang="0">
                <a:pos x="connsiteX48623" y="connsiteY48623"/>
              </a:cxn>
              <a:cxn ang="0">
                <a:pos x="connsiteX48624" y="connsiteY48624"/>
              </a:cxn>
              <a:cxn ang="0">
                <a:pos x="connsiteX48625" y="connsiteY48625"/>
              </a:cxn>
              <a:cxn ang="0">
                <a:pos x="connsiteX48626" y="connsiteY48626"/>
              </a:cxn>
              <a:cxn ang="0">
                <a:pos x="connsiteX48627" y="connsiteY48627"/>
              </a:cxn>
              <a:cxn ang="0">
                <a:pos x="connsiteX48628" y="connsiteY48628"/>
              </a:cxn>
              <a:cxn ang="0">
                <a:pos x="connsiteX48629" y="connsiteY48629"/>
              </a:cxn>
              <a:cxn ang="0">
                <a:pos x="connsiteX48630" y="connsiteY48630"/>
              </a:cxn>
              <a:cxn ang="0">
                <a:pos x="connsiteX48631" y="connsiteY48631"/>
              </a:cxn>
              <a:cxn ang="0">
                <a:pos x="connsiteX48632" y="connsiteY48632"/>
              </a:cxn>
              <a:cxn ang="0">
                <a:pos x="connsiteX48633" y="connsiteY48633"/>
              </a:cxn>
              <a:cxn ang="0">
                <a:pos x="connsiteX48634" y="connsiteY48634"/>
              </a:cxn>
              <a:cxn ang="0">
                <a:pos x="connsiteX48635" y="connsiteY48635"/>
              </a:cxn>
              <a:cxn ang="0">
                <a:pos x="connsiteX48636" y="connsiteY48636"/>
              </a:cxn>
              <a:cxn ang="0">
                <a:pos x="connsiteX48637" y="connsiteY48637"/>
              </a:cxn>
              <a:cxn ang="0">
                <a:pos x="connsiteX48638" y="connsiteY48638"/>
              </a:cxn>
              <a:cxn ang="0">
                <a:pos x="connsiteX48639" y="connsiteY48639"/>
              </a:cxn>
              <a:cxn ang="0">
                <a:pos x="connsiteX48640" y="connsiteY48640"/>
              </a:cxn>
              <a:cxn ang="0">
                <a:pos x="connsiteX48641" y="connsiteY48641"/>
              </a:cxn>
              <a:cxn ang="0">
                <a:pos x="connsiteX48642" y="connsiteY48642"/>
              </a:cxn>
              <a:cxn ang="0">
                <a:pos x="connsiteX48643" y="connsiteY48643"/>
              </a:cxn>
              <a:cxn ang="0">
                <a:pos x="connsiteX48644" y="connsiteY48644"/>
              </a:cxn>
              <a:cxn ang="0">
                <a:pos x="connsiteX48645" y="connsiteY48645"/>
              </a:cxn>
              <a:cxn ang="0">
                <a:pos x="connsiteX48646" y="connsiteY48646"/>
              </a:cxn>
              <a:cxn ang="0">
                <a:pos x="connsiteX48647" y="connsiteY48647"/>
              </a:cxn>
              <a:cxn ang="0">
                <a:pos x="connsiteX48648" y="connsiteY48648"/>
              </a:cxn>
              <a:cxn ang="0">
                <a:pos x="connsiteX48649" y="connsiteY48649"/>
              </a:cxn>
              <a:cxn ang="0">
                <a:pos x="connsiteX48650" y="connsiteY48650"/>
              </a:cxn>
              <a:cxn ang="0">
                <a:pos x="connsiteX48651" y="connsiteY48651"/>
              </a:cxn>
              <a:cxn ang="0">
                <a:pos x="connsiteX48652" y="connsiteY48652"/>
              </a:cxn>
              <a:cxn ang="0">
                <a:pos x="connsiteX48653" y="connsiteY48653"/>
              </a:cxn>
              <a:cxn ang="0">
                <a:pos x="connsiteX48654" y="connsiteY48654"/>
              </a:cxn>
              <a:cxn ang="0">
                <a:pos x="connsiteX48655" y="connsiteY48655"/>
              </a:cxn>
              <a:cxn ang="0">
                <a:pos x="connsiteX48656" y="connsiteY48656"/>
              </a:cxn>
              <a:cxn ang="0">
                <a:pos x="connsiteX48657" y="connsiteY48657"/>
              </a:cxn>
              <a:cxn ang="0">
                <a:pos x="connsiteX48658" y="connsiteY48658"/>
              </a:cxn>
              <a:cxn ang="0">
                <a:pos x="connsiteX48659" y="connsiteY48659"/>
              </a:cxn>
              <a:cxn ang="0">
                <a:pos x="connsiteX48660" y="connsiteY48660"/>
              </a:cxn>
              <a:cxn ang="0">
                <a:pos x="connsiteX48661" y="connsiteY48661"/>
              </a:cxn>
              <a:cxn ang="0">
                <a:pos x="connsiteX48662" y="connsiteY48662"/>
              </a:cxn>
              <a:cxn ang="0">
                <a:pos x="connsiteX48663" y="connsiteY48663"/>
              </a:cxn>
              <a:cxn ang="0">
                <a:pos x="connsiteX48664" y="connsiteY48664"/>
              </a:cxn>
              <a:cxn ang="0">
                <a:pos x="connsiteX48665" y="connsiteY48665"/>
              </a:cxn>
              <a:cxn ang="0">
                <a:pos x="connsiteX48666" y="connsiteY48666"/>
              </a:cxn>
              <a:cxn ang="0">
                <a:pos x="connsiteX48667" y="connsiteY48667"/>
              </a:cxn>
              <a:cxn ang="0">
                <a:pos x="connsiteX48668" y="connsiteY48668"/>
              </a:cxn>
              <a:cxn ang="0">
                <a:pos x="connsiteX48669" y="connsiteY48669"/>
              </a:cxn>
              <a:cxn ang="0">
                <a:pos x="connsiteX48670" y="connsiteY48670"/>
              </a:cxn>
              <a:cxn ang="0">
                <a:pos x="connsiteX48671" y="connsiteY48671"/>
              </a:cxn>
              <a:cxn ang="0">
                <a:pos x="connsiteX48672" y="connsiteY48672"/>
              </a:cxn>
              <a:cxn ang="0">
                <a:pos x="connsiteX48673" y="connsiteY48673"/>
              </a:cxn>
              <a:cxn ang="0">
                <a:pos x="connsiteX48674" y="connsiteY48674"/>
              </a:cxn>
              <a:cxn ang="0">
                <a:pos x="connsiteX48675" y="connsiteY48675"/>
              </a:cxn>
              <a:cxn ang="0">
                <a:pos x="connsiteX48676" y="connsiteY48676"/>
              </a:cxn>
              <a:cxn ang="0">
                <a:pos x="connsiteX48677" y="connsiteY48677"/>
              </a:cxn>
              <a:cxn ang="0">
                <a:pos x="connsiteX48678" y="connsiteY48678"/>
              </a:cxn>
              <a:cxn ang="0">
                <a:pos x="connsiteX48679" y="connsiteY48679"/>
              </a:cxn>
              <a:cxn ang="0">
                <a:pos x="connsiteX48680" y="connsiteY48680"/>
              </a:cxn>
              <a:cxn ang="0">
                <a:pos x="connsiteX48681" y="connsiteY48681"/>
              </a:cxn>
              <a:cxn ang="0">
                <a:pos x="connsiteX48682" y="connsiteY48682"/>
              </a:cxn>
              <a:cxn ang="0">
                <a:pos x="connsiteX48683" y="connsiteY48683"/>
              </a:cxn>
              <a:cxn ang="0">
                <a:pos x="connsiteX48684" y="connsiteY48684"/>
              </a:cxn>
              <a:cxn ang="0">
                <a:pos x="connsiteX48685" y="connsiteY48685"/>
              </a:cxn>
              <a:cxn ang="0">
                <a:pos x="connsiteX48686" y="connsiteY48686"/>
              </a:cxn>
              <a:cxn ang="0">
                <a:pos x="connsiteX48687" y="connsiteY48687"/>
              </a:cxn>
              <a:cxn ang="0">
                <a:pos x="connsiteX48688" y="connsiteY48688"/>
              </a:cxn>
              <a:cxn ang="0">
                <a:pos x="connsiteX48689" y="connsiteY48689"/>
              </a:cxn>
              <a:cxn ang="0">
                <a:pos x="connsiteX48690" y="connsiteY48690"/>
              </a:cxn>
              <a:cxn ang="0">
                <a:pos x="connsiteX48691" y="connsiteY48691"/>
              </a:cxn>
              <a:cxn ang="0">
                <a:pos x="connsiteX48692" y="connsiteY48692"/>
              </a:cxn>
              <a:cxn ang="0">
                <a:pos x="connsiteX48693" y="connsiteY48693"/>
              </a:cxn>
              <a:cxn ang="0">
                <a:pos x="connsiteX48694" y="connsiteY48694"/>
              </a:cxn>
              <a:cxn ang="0">
                <a:pos x="connsiteX48695" y="connsiteY48695"/>
              </a:cxn>
              <a:cxn ang="0">
                <a:pos x="connsiteX48696" y="connsiteY48696"/>
              </a:cxn>
              <a:cxn ang="0">
                <a:pos x="connsiteX48697" y="connsiteY48697"/>
              </a:cxn>
              <a:cxn ang="0">
                <a:pos x="connsiteX48698" y="connsiteY48698"/>
              </a:cxn>
              <a:cxn ang="0">
                <a:pos x="connsiteX48699" y="connsiteY48699"/>
              </a:cxn>
              <a:cxn ang="0">
                <a:pos x="connsiteX48700" y="connsiteY48700"/>
              </a:cxn>
              <a:cxn ang="0">
                <a:pos x="connsiteX48701" y="connsiteY48701"/>
              </a:cxn>
              <a:cxn ang="0">
                <a:pos x="connsiteX48702" y="connsiteY48702"/>
              </a:cxn>
              <a:cxn ang="0">
                <a:pos x="connsiteX48703" y="connsiteY48703"/>
              </a:cxn>
              <a:cxn ang="0">
                <a:pos x="connsiteX48704" y="connsiteY48704"/>
              </a:cxn>
              <a:cxn ang="0">
                <a:pos x="connsiteX48705" y="connsiteY48705"/>
              </a:cxn>
              <a:cxn ang="0">
                <a:pos x="connsiteX48706" y="connsiteY48706"/>
              </a:cxn>
              <a:cxn ang="0">
                <a:pos x="connsiteX48707" y="connsiteY48707"/>
              </a:cxn>
              <a:cxn ang="0">
                <a:pos x="connsiteX48708" y="connsiteY48708"/>
              </a:cxn>
              <a:cxn ang="0">
                <a:pos x="connsiteX48709" y="connsiteY48709"/>
              </a:cxn>
              <a:cxn ang="0">
                <a:pos x="connsiteX48710" y="connsiteY48710"/>
              </a:cxn>
              <a:cxn ang="0">
                <a:pos x="connsiteX48711" y="connsiteY48711"/>
              </a:cxn>
              <a:cxn ang="0">
                <a:pos x="connsiteX48712" y="connsiteY48712"/>
              </a:cxn>
              <a:cxn ang="0">
                <a:pos x="connsiteX48713" y="connsiteY48713"/>
              </a:cxn>
              <a:cxn ang="0">
                <a:pos x="connsiteX48714" y="connsiteY48714"/>
              </a:cxn>
              <a:cxn ang="0">
                <a:pos x="connsiteX48715" y="connsiteY48715"/>
              </a:cxn>
              <a:cxn ang="0">
                <a:pos x="connsiteX48716" y="connsiteY48716"/>
              </a:cxn>
              <a:cxn ang="0">
                <a:pos x="connsiteX48717" y="connsiteY48717"/>
              </a:cxn>
              <a:cxn ang="0">
                <a:pos x="connsiteX48718" y="connsiteY48718"/>
              </a:cxn>
              <a:cxn ang="0">
                <a:pos x="connsiteX48719" y="connsiteY48719"/>
              </a:cxn>
              <a:cxn ang="0">
                <a:pos x="connsiteX48720" y="connsiteY48720"/>
              </a:cxn>
              <a:cxn ang="0">
                <a:pos x="connsiteX48721" y="connsiteY48721"/>
              </a:cxn>
              <a:cxn ang="0">
                <a:pos x="connsiteX48722" y="connsiteY48722"/>
              </a:cxn>
              <a:cxn ang="0">
                <a:pos x="connsiteX48723" y="connsiteY48723"/>
              </a:cxn>
              <a:cxn ang="0">
                <a:pos x="connsiteX48724" y="connsiteY48724"/>
              </a:cxn>
              <a:cxn ang="0">
                <a:pos x="connsiteX48725" y="connsiteY48725"/>
              </a:cxn>
              <a:cxn ang="0">
                <a:pos x="connsiteX48726" y="connsiteY48726"/>
              </a:cxn>
              <a:cxn ang="0">
                <a:pos x="connsiteX48727" y="connsiteY48727"/>
              </a:cxn>
              <a:cxn ang="0">
                <a:pos x="connsiteX48728" y="connsiteY48728"/>
              </a:cxn>
              <a:cxn ang="0">
                <a:pos x="connsiteX48729" y="connsiteY48729"/>
              </a:cxn>
              <a:cxn ang="0">
                <a:pos x="connsiteX48730" y="connsiteY48730"/>
              </a:cxn>
              <a:cxn ang="0">
                <a:pos x="connsiteX48731" y="connsiteY48731"/>
              </a:cxn>
              <a:cxn ang="0">
                <a:pos x="connsiteX48732" y="connsiteY48732"/>
              </a:cxn>
              <a:cxn ang="0">
                <a:pos x="connsiteX48733" y="connsiteY48733"/>
              </a:cxn>
              <a:cxn ang="0">
                <a:pos x="connsiteX48734" y="connsiteY48734"/>
              </a:cxn>
              <a:cxn ang="0">
                <a:pos x="connsiteX48735" y="connsiteY48735"/>
              </a:cxn>
              <a:cxn ang="0">
                <a:pos x="connsiteX48736" y="connsiteY48736"/>
              </a:cxn>
              <a:cxn ang="0">
                <a:pos x="connsiteX48737" y="connsiteY48737"/>
              </a:cxn>
              <a:cxn ang="0">
                <a:pos x="connsiteX48738" y="connsiteY48738"/>
              </a:cxn>
              <a:cxn ang="0">
                <a:pos x="connsiteX48739" y="connsiteY48739"/>
              </a:cxn>
              <a:cxn ang="0">
                <a:pos x="connsiteX48740" y="connsiteY48740"/>
              </a:cxn>
              <a:cxn ang="0">
                <a:pos x="connsiteX48741" y="connsiteY48741"/>
              </a:cxn>
              <a:cxn ang="0">
                <a:pos x="connsiteX48742" y="connsiteY48742"/>
              </a:cxn>
              <a:cxn ang="0">
                <a:pos x="connsiteX48743" y="connsiteY48743"/>
              </a:cxn>
              <a:cxn ang="0">
                <a:pos x="connsiteX48744" y="connsiteY48744"/>
              </a:cxn>
              <a:cxn ang="0">
                <a:pos x="connsiteX48745" y="connsiteY48745"/>
              </a:cxn>
              <a:cxn ang="0">
                <a:pos x="connsiteX48746" y="connsiteY48746"/>
              </a:cxn>
              <a:cxn ang="0">
                <a:pos x="connsiteX48747" y="connsiteY48747"/>
              </a:cxn>
              <a:cxn ang="0">
                <a:pos x="connsiteX48748" y="connsiteY48748"/>
              </a:cxn>
              <a:cxn ang="0">
                <a:pos x="connsiteX48749" y="connsiteY48749"/>
              </a:cxn>
              <a:cxn ang="0">
                <a:pos x="connsiteX48750" y="connsiteY48750"/>
              </a:cxn>
              <a:cxn ang="0">
                <a:pos x="connsiteX48751" y="connsiteY48751"/>
              </a:cxn>
              <a:cxn ang="0">
                <a:pos x="connsiteX48752" y="connsiteY48752"/>
              </a:cxn>
              <a:cxn ang="0">
                <a:pos x="connsiteX48753" y="connsiteY48753"/>
              </a:cxn>
              <a:cxn ang="0">
                <a:pos x="connsiteX48754" y="connsiteY48754"/>
              </a:cxn>
              <a:cxn ang="0">
                <a:pos x="connsiteX48755" y="connsiteY48755"/>
              </a:cxn>
              <a:cxn ang="0">
                <a:pos x="connsiteX48756" y="connsiteY48756"/>
              </a:cxn>
              <a:cxn ang="0">
                <a:pos x="connsiteX48757" y="connsiteY48757"/>
              </a:cxn>
              <a:cxn ang="0">
                <a:pos x="connsiteX48758" y="connsiteY48758"/>
              </a:cxn>
              <a:cxn ang="0">
                <a:pos x="connsiteX48759" y="connsiteY48759"/>
              </a:cxn>
              <a:cxn ang="0">
                <a:pos x="connsiteX48760" y="connsiteY48760"/>
              </a:cxn>
              <a:cxn ang="0">
                <a:pos x="connsiteX48761" y="connsiteY48761"/>
              </a:cxn>
              <a:cxn ang="0">
                <a:pos x="connsiteX48762" y="connsiteY48762"/>
              </a:cxn>
              <a:cxn ang="0">
                <a:pos x="connsiteX48763" y="connsiteY48763"/>
              </a:cxn>
              <a:cxn ang="0">
                <a:pos x="connsiteX48764" y="connsiteY48764"/>
              </a:cxn>
              <a:cxn ang="0">
                <a:pos x="connsiteX48765" y="connsiteY48765"/>
              </a:cxn>
              <a:cxn ang="0">
                <a:pos x="connsiteX48766" y="connsiteY48766"/>
              </a:cxn>
              <a:cxn ang="0">
                <a:pos x="connsiteX48767" y="connsiteY48767"/>
              </a:cxn>
              <a:cxn ang="0">
                <a:pos x="connsiteX48768" y="connsiteY48768"/>
              </a:cxn>
              <a:cxn ang="0">
                <a:pos x="connsiteX48769" y="connsiteY48769"/>
              </a:cxn>
              <a:cxn ang="0">
                <a:pos x="connsiteX48770" y="connsiteY48770"/>
              </a:cxn>
              <a:cxn ang="0">
                <a:pos x="connsiteX48771" y="connsiteY48771"/>
              </a:cxn>
              <a:cxn ang="0">
                <a:pos x="connsiteX48772" y="connsiteY48772"/>
              </a:cxn>
              <a:cxn ang="0">
                <a:pos x="connsiteX48773" y="connsiteY48773"/>
              </a:cxn>
              <a:cxn ang="0">
                <a:pos x="connsiteX48774" y="connsiteY48774"/>
              </a:cxn>
              <a:cxn ang="0">
                <a:pos x="connsiteX48775" y="connsiteY48775"/>
              </a:cxn>
              <a:cxn ang="0">
                <a:pos x="connsiteX48776" y="connsiteY48776"/>
              </a:cxn>
              <a:cxn ang="0">
                <a:pos x="connsiteX48777" y="connsiteY48777"/>
              </a:cxn>
              <a:cxn ang="0">
                <a:pos x="connsiteX48778" y="connsiteY48778"/>
              </a:cxn>
              <a:cxn ang="0">
                <a:pos x="connsiteX48779" y="connsiteY48779"/>
              </a:cxn>
              <a:cxn ang="0">
                <a:pos x="connsiteX48780" y="connsiteY48780"/>
              </a:cxn>
              <a:cxn ang="0">
                <a:pos x="connsiteX48781" y="connsiteY48781"/>
              </a:cxn>
              <a:cxn ang="0">
                <a:pos x="connsiteX48782" y="connsiteY48782"/>
              </a:cxn>
              <a:cxn ang="0">
                <a:pos x="connsiteX48783" y="connsiteY48783"/>
              </a:cxn>
              <a:cxn ang="0">
                <a:pos x="connsiteX48784" y="connsiteY48784"/>
              </a:cxn>
              <a:cxn ang="0">
                <a:pos x="connsiteX48785" y="connsiteY48785"/>
              </a:cxn>
              <a:cxn ang="0">
                <a:pos x="connsiteX48786" y="connsiteY48786"/>
              </a:cxn>
              <a:cxn ang="0">
                <a:pos x="connsiteX48787" y="connsiteY48787"/>
              </a:cxn>
              <a:cxn ang="0">
                <a:pos x="connsiteX48788" y="connsiteY48788"/>
              </a:cxn>
              <a:cxn ang="0">
                <a:pos x="connsiteX48789" y="connsiteY48789"/>
              </a:cxn>
              <a:cxn ang="0">
                <a:pos x="connsiteX48790" y="connsiteY48790"/>
              </a:cxn>
              <a:cxn ang="0">
                <a:pos x="connsiteX48791" y="connsiteY48791"/>
              </a:cxn>
              <a:cxn ang="0">
                <a:pos x="connsiteX48792" y="connsiteY48792"/>
              </a:cxn>
              <a:cxn ang="0">
                <a:pos x="connsiteX48793" y="connsiteY48793"/>
              </a:cxn>
              <a:cxn ang="0">
                <a:pos x="connsiteX48794" y="connsiteY48794"/>
              </a:cxn>
              <a:cxn ang="0">
                <a:pos x="connsiteX48795" y="connsiteY48795"/>
              </a:cxn>
              <a:cxn ang="0">
                <a:pos x="connsiteX48796" y="connsiteY48796"/>
              </a:cxn>
              <a:cxn ang="0">
                <a:pos x="connsiteX48797" y="connsiteY48797"/>
              </a:cxn>
              <a:cxn ang="0">
                <a:pos x="connsiteX48798" y="connsiteY48798"/>
              </a:cxn>
              <a:cxn ang="0">
                <a:pos x="connsiteX48799" y="connsiteY48799"/>
              </a:cxn>
              <a:cxn ang="0">
                <a:pos x="connsiteX48800" y="connsiteY48800"/>
              </a:cxn>
              <a:cxn ang="0">
                <a:pos x="connsiteX48801" y="connsiteY48801"/>
              </a:cxn>
              <a:cxn ang="0">
                <a:pos x="connsiteX48802" y="connsiteY48802"/>
              </a:cxn>
              <a:cxn ang="0">
                <a:pos x="connsiteX48803" y="connsiteY48803"/>
              </a:cxn>
              <a:cxn ang="0">
                <a:pos x="connsiteX48804" y="connsiteY48804"/>
              </a:cxn>
              <a:cxn ang="0">
                <a:pos x="connsiteX48805" y="connsiteY48805"/>
              </a:cxn>
              <a:cxn ang="0">
                <a:pos x="connsiteX48806" y="connsiteY48806"/>
              </a:cxn>
              <a:cxn ang="0">
                <a:pos x="connsiteX48807" y="connsiteY48807"/>
              </a:cxn>
              <a:cxn ang="0">
                <a:pos x="connsiteX48808" y="connsiteY48808"/>
              </a:cxn>
              <a:cxn ang="0">
                <a:pos x="connsiteX48809" y="connsiteY48809"/>
              </a:cxn>
              <a:cxn ang="0">
                <a:pos x="connsiteX48810" y="connsiteY48810"/>
              </a:cxn>
              <a:cxn ang="0">
                <a:pos x="connsiteX48811" y="connsiteY48811"/>
              </a:cxn>
              <a:cxn ang="0">
                <a:pos x="connsiteX48812" y="connsiteY48812"/>
              </a:cxn>
              <a:cxn ang="0">
                <a:pos x="connsiteX48813" y="connsiteY48813"/>
              </a:cxn>
              <a:cxn ang="0">
                <a:pos x="connsiteX48814" y="connsiteY48814"/>
              </a:cxn>
              <a:cxn ang="0">
                <a:pos x="connsiteX48815" y="connsiteY48815"/>
              </a:cxn>
              <a:cxn ang="0">
                <a:pos x="connsiteX48816" y="connsiteY48816"/>
              </a:cxn>
              <a:cxn ang="0">
                <a:pos x="connsiteX48817" y="connsiteY48817"/>
              </a:cxn>
              <a:cxn ang="0">
                <a:pos x="connsiteX48818" y="connsiteY48818"/>
              </a:cxn>
              <a:cxn ang="0">
                <a:pos x="connsiteX48819" y="connsiteY48819"/>
              </a:cxn>
              <a:cxn ang="0">
                <a:pos x="connsiteX48820" y="connsiteY48820"/>
              </a:cxn>
              <a:cxn ang="0">
                <a:pos x="connsiteX48821" y="connsiteY48821"/>
              </a:cxn>
              <a:cxn ang="0">
                <a:pos x="connsiteX48822" y="connsiteY48822"/>
              </a:cxn>
              <a:cxn ang="0">
                <a:pos x="connsiteX48823" y="connsiteY48823"/>
              </a:cxn>
              <a:cxn ang="0">
                <a:pos x="connsiteX48824" y="connsiteY48824"/>
              </a:cxn>
              <a:cxn ang="0">
                <a:pos x="connsiteX48825" y="connsiteY48825"/>
              </a:cxn>
              <a:cxn ang="0">
                <a:pos x="connsiteX48826" y="connsiteY48826"/>
              </a:cxn>
              <a:cxn ang="0">
                <a:pos x="connsiteX48827" y="connsiteY48827"/>
              </a:cxn>
              <a:cxn ang="0">
                <a:pos x="connsiteX48828" y="connsiteY48828"/>
              </a:cxn>
              <a:cxn ang="0">
                <a:pos x="connsiteX48829" y="connsiteY48829"/>
              </a:cxn>
              <a:cxn ang="0">
                <a:pos x="connsiteX48830" y="connsiteY48830"/>
              </a:cxn>
              <a:cxn ang="0">
                <a:pos x="connsiteX48831" y="connsiteY48831"/>
              </a:cxn>
              <a:cxn ang="0">
                <a:pos x="connsiteX48832" y="connsiteY48832"/>
              </a:cxn>
              <a:cxn ang="0">
                <a:pos x="connsiteX48833" y="connsiteY48833"/>
              </a:cxn>
              <a:cxn ang="0">
                <a:pos x="connsiteX48834" y="connsiteY48834"/>
              </a:cxn>
              <a:cxn ang="0">
                <a:pos x="connsiteX48835" y="connsiteY48835"/>
              </a:cxn>
              <a:cxn ang="0">
                <a:pos x="connsiteX48836" y="connsiteY48836"/>
              </a:cxn>
              <a:cxn ang="0">
                <a:pos x="connsiteX48837" y="connsiteY48837"/>
              </a:cxn>
              <a:cxn ang="0">
                <a:pos x="connsiteX48838" y="connsiteY48838"/>
              </a:cxn>
              <a:cxn ang="0">
                <a:pos x="connsiteX48839" y="connsiteY48839"/>
              </a:cxn>
              <a:cxn ang="0">
                <a:pos x="connsiteX48840" y="connsiteY48840"/>
              </a:cxn>
              <a:cxn ang="0">
                <a:pos x="connsiteX48841" y="connsiteY48841"/>
              </a:cxn>
              <a:cxn ang="0">
                <a:pos x="connsiteX48842" y="connsiteY48842"/>
              </a:cxn>
              <a:cxn ang="0">
                <a:pos x="connsiteX48843" y="connsiteY48843"/>
              </a:cxn>
              <a:cxn ang="0">
                <a:pos x="connsiteX48844" y="connsiteY48844"/>
              </a:cxn>
              <a:cxn ang="0">
                <a:pos x="connsiteX48845" y="connsiteY48845"/>
              </a:cxn>
              <a:cxn ang="0">
                <a:pos x="connsiteX48846" y="connsiteY48846"/>
              </a:cxn>
              <a:cxn ang="0">
                <a:pos x="connsiteX48847" y="connsiteY48847"/>
              </a:cxn>
              <a:cxn ang="0">
                <a:pos x="connsiteX48848" y="connsiteY48848"/>
              </a:cxn>
              <a:cxn ang="0">
                <a:pos x="connsiteX48849" y="connsiteY48849"/>
              </a:cxn>
              <a:cxn ang="0">
                <a:pos x="connsiteX48850" y="connsiteY48850"/>
              </a:cxn>
              <a:cxn ang="0">
                <a:pos x="connsiteX48851" y="connsiteY48851"/>
              </a:cxn>
              <a:cxn ang="0">
                <a:pos x="connsiteX48852" y="connsiteY48852"/>
              </a:cxn>
              <a:cxn ang="0">
                <a:pos x="connsiteX48853" y="connsiteY48853"/>
              </a:cxn>
              <a:cxn ang="0">
                <a:pos x="connsiteX48854" y="connsiteY48854"/>
              </a:cxn>
              <a:cxn ang="0">
                <a:pos x="connsiteX48855" y="connsiteY48855"/>
              </a:cxn>
              <a:cxn ang="0">
                <a:pos x="connsiteX48856" y="connsiteY48856"/>
              </a:cxn>
              <a:cxn ang="0">
                <a:pos x="connsiteX48857" y="connsiteY48857"/>
              </a:cxn>
              <a:cxn ang="0">
                <a:pos x="connsiteX48858" y="connsiteY48858"/>
              </a:cxn>
              <a:cxn ang="0">
                <a:pos x="connsiteX48859" y="connsiteY48859"/>
              </a:cxn>
              <a:cxn ang="0">
                <a:pos x="connsiteX48860" y="connsiteY48860"/>
              </a:cxn>
              <a:cxn ang="0">
                <a:pos x="connsiteX48861" y="connsiteY48861"/>
              </a:cxn>
              <a:cxn ang="0">
                <a:pos x="connsiteX48862" y="connsiteY48862"/>
              </a:cxn>
              <a:cxn ang="0">
                <a:pos x="connsiteX48863" y="connsiteY48863"/>
              </a:cxn>
              <a:cxn ang="0">
                <a:pos x="connsiteX48864" y="connsiteY48864"/>
              </a:cxn>
              <a:cxn ang="0">
                <a:pos x="connsiteX48865" y="connsiteY48865"/>
              </a:cxn>
              <a:cxn ang="0">
                <a:pos x="connsiteX48866" y="connsiteY48866"/>
              </a:cxn>
              <a:cxn ang="0">
                <a:pos x="connsiteX48867" y="connsiteY48867"/>
              </a:cxn>
              <a:cxn ang="0">
                <a:pos x="connsiteX48868" y="connsiteY48868"/>
              </a:cxn>
              <a:cxn ang="0">
                <a:pos x="connsiteX48869" y="connsiteY48869"/>
              </a:cxn>
              <a:cxn ang="0">
                <a:pos x="connsiteX48870" y="connsiteY48870"/>
              </a:cxn>
              <a:cxn ang="0">
                <a:pos x="connsiteX48871" y="connsiteY48871"/>
              </a:cxn>
              <a:cxn ang="0">
                <a:pos x="connsiteX48872" y="connsiteY48872"/>
              </a:cxn>
              <a:cxn ang="0">
                <a:pos x="connsiteX48873" y="connsiteY48873"/>
              </a:cxn>
              <a:cxn ang="0">
                <a:pos x="connsiteX48874" y="connsiteY48874"/>
              </a:cxn>
              <a:cxn ang="0">
                <a:pos x="connsiteX48875" y="connsiteY48875"/>
              </a:cxn>
              <a:cxn ang="0">
                <a:pos x="connsiteX48876" y="connsiteY48876"/>
              </a:cxn>
              <a:cxn ang="0">
                <a:pos x="connsiteX48877" y="connsiteY48877"/>
              </a:cxn>
              <a:cxn ang="0">
                <a:pos x="connsiteX48878" y="connsiteY48878"/>
              </a:cxn>
              <a:cxn ang="0">
                <a:pos x="connsiteX48879" y="connsiteY48879"/>
              </a:cxn>
              <a:cxn ang="0">
                <a:pos x="connsiteX48880" y="connsiteY48880"/>
              </a:cxn>
              <a:cxn ang="0">
                <a:pos x="connsiteX48881" y="connsiteY48881"/>
              </a:cxn>
              <a:cxn ang="0">
                <a:pos x="connsiteX48882" y="connsiteY48882"/>
              </a:cxn>
              <a:cxn ang="0">
                <a:pos x="connsiteX48883" y="connsiteY48883"/>
              </a:cxn>
              <a:cxn ang="0">
                <a:pos x="connsiteX48884" y="connsiteY48884"/>
              </a:cxn>
              <a:cxn ang="0">
                <a:pos x="connsiteX48885" y="connsiteY48885"/>
              </a:cxn>
              <a:cxn ang="0">
                <a:pos x="connsiteX48886" y="connsiteY48886"/>
              </a:cxn>
              <a:cxn ang="0">
                <a:pos x="connsiteX48887" y="connsiteY48887"/>
              </a:cxn>
              <a:cxn ang="0">
                <a:pos x="connsiteX48888" y="connsiteY48888"/>
              </a:cxn>
              <a:cxn ang="0">
                <a:pos x="connsiteX48889" y="connsiteY48889"/>
              </a:cxn>
              <a:cxn ang="0">
                <a:pos x="connsiteX48890" y="connsiteY48890"/>
              </a:cxn>
              <a:cxn ang="0">
                <a:pos x="connsiteX48891" y="connsiteY48891"/>
              </a:cxn>
              <a:cxn ang="0">
                <a:pos x="connsiteX48892" y="connsiteY48892"/>
              </a:cxn>
              <a:cxn ang="0">
                <a:pos x="connsiteX48893" y="connsiteY48893"/>
              </a:cxn>
              <a:cxn ang="0">
                <a:pos x="connsiteX48894" y="connsiteY48894"/>
              </a:cxn>
              <a:cxn ang="0">
                <a:pos x="connsiteX48895" y="connsiteY48895"/>
              </a:cxn>
              <a:cxn ang="0">
                <a:pos x="connsiteX48896" y="connsiteY48896"/>
              </a:cxn>
              <a:cxn ang="0">
                <a:pos x="connsiteX48897" y="connsiteY48897"/>
              </a:cxn>
              <a:cxn ang="0">
                <a:pos x="connsiteX48898" y="connsiteY48898"/>
              </a:cxn>
              <a:cxn ang="0">
                <a:pos x="connsiteX48899" y="connsiteY48899"/>
              </a:cxn>
              <a:cxn ang="0">
                <a:pos x="connsiteX48900" y="connsiteY48900"/>
              </a:cxn>
              <a:cxn ang="0">
                <a:pos x="connsiteX48901" y="connsiteY48901"/>
              </a:cxn>
              <a:cxn ang="0">
                <a:pos x="connsiteX48902" y="connsiteY48902"/>
              </a:cxn>
              <a:cxn ang="0">
                <a:pos x="connsiteX48903" y="connsiteY48903"/>
              </a:cxn>
              <a:cxn ang="0">
                <a:pos x="connsiteX48904" y="connsiteY48904"/>
              </a:cxn>
              <a:cxn ang="0">
                <a:pos x="connsiteX48905" y="connsiteY48905"/>
              </a:cxn>
              <a:cxn ang="0">
                <a:pos x="connsiteX48906" y="connsiteY48906"/>
              </a:cxn>
              <a:cxn ang="0">
                <a:pos x="connsiteX48907" y="connsiteY48907"/>
              </a:cxn>
              <a:cxn ang="0">
                <a:pos x="connsiteX48908" y="connsiteY48908"/>
              </a:cxn>
              <a:cxn ang="0">
                <a:pos x="connsiteX48909" y="connsiteY48909"/>
              </a:cxn>
              <a:cxn ang="0">
                <a:pos x="connsiteX48910" y="connsiteY48910"/>
              </a:cxn>
              <a:cxn ang="0">
                <a:pos x="connsiteX48911" y="connsiteY48911"/>
              </a:cxn>
              <a:cxn ang="0">
                <a:pos x="connsiteX48912" y="connsiteY48912"/>
              </a:cxn>
              <a:cxn ang="0">
                <a:pos x="connsiteX48913" y="connsiteY48913"/>
              </a:cxn>
              <a:cxn ang="0">
                <a:pos x="connsiteX48914" y="connsiteY48914"/>
              </a:cxn>
              <a:cxn ang="0">
                <a:pos x="connsiteX48915" y="connsiteY48915"/>
              </a:cxn>
              <a:cxn ang="0">
                <a:pos x="connsiteX48916" y="connsiteY48916"/>
              </a:cxn>
              <a:cxn ang="0">
                <a:pos x="connsiteX48917" y="connsiteY48917"/>
              </a:cxn>
              <a:cxn ang="0">
                <a:pos x="connsiteX48918" y="connsiteY48918"/>
              </a:cxn>
              <a:cxn ang="0">
                <a:pos x="connsiteX48919" y="connsiteY48919"/>
              </a:cxn>
              <a:cxn ang="0">
                <a:pos x="connsiteX48920" y="connsiteY48920"/>
              </a:cxn>
              <a:cxn ang="0">
                <a:pos x="connsiteX48921" y="connsiteY48921"/>
              </a:cxn>
              <a:cxn ang="0">
                <a:pos x="connsiteX48922" y="connsiteY48922"/>
              </a:cxn>
              <a:cxn ang="0">
                <a:pos x="connsiteX48923" y="connsiteY48923"/>
              </a:cxn>
              <a:cxn ang="0">
                <a:pos x="connsiteX48924" y="connsiteY48924"/>
              </a:cxn>
              <a:cxn ang="0">
                <a:pos x="connsiteX48925" y="connsiteY48925"/>
              </a:cxn>
              <a:cxn ang="0">
                <a:pos x="connsiteX48926" y="connsiteY48926"/>
              </a:cxn>
              <a:cxn ang="0">
                <a:pos x="connsiteX48927" y="connsiteY48927"/>
              </a:cxn>
              <a:cxn ang="0">
                <a:pos x="connsiteX48928" y="connsiteY48928"/>
              </a:cxn>
              <a:cxn ang="0">
                <a:pos x="connsiteX48929" y="connsiteY48929"/>
              </a:cxn>
              <a:cxn ang="0">
                <a:pos x="connsiteX48930" y="connsiteY48930"/>
              </a:cxn>
              <a:cxn ang="0">
                <a:pos x="connsiteX48931" y="connsiteY48931"/>
              </a:cxn>
              <a:cxn ang="0">
                <a:pos x="connsiteX48932" y="connsiteY48932"/>
              </a:cxn>
              <a:cxn ang="0">
                <a:pos x="connsiteX48933" y="connsiteY48933"/>
              </a:cxn>
              <a:cxn ang="0">
                <a:pos x="connsiteX48934" y="connsiteY48934"/>
              </a:cxn>
              <a:cxn ang="0">
                <a:pos x="connsiteX48935" y="connsiteY48935"/>
              </a:cxn>
              <a:cxn ang="0">
                <a:pos x="connsiteX48936" y="connsiteY48936"/>
              </a:cxn>
              <a:cxn ang="0">
                <a:pos x="connsiteX48937" y="connsiteY48937"/>
              </a:cxn>
              <a:cxn ang="0">
                <a:pos x="connsiteX48938" y="connsiteY48938"/>
              </a:cxn>
              <a:cxn ang="0">
                <a:pos x="connsiteX48939" y="connsiteY48939"/>
              </a:cxn>
              <a:cxn ang="0">
                <a:pos x="connsiteX48940" y="connsiteY48940"/>
              </a:cxn>
              <a:cxn ang="0">
                <a:pos x="connsiteX48941" y="connsiteY48941"/>
              </a:cxn>
              <a:cxn ang="0">
                <a:pos x="connsiteX48942" y="connsiteY48942"/>
              </a:cxn>
              <a:cxn ang="0">
                <a:pos x="connsiteX48943" y="connsiteY48943"/>
              </a:cxn>
              <a:cxn ang="0">
                <a:pos x="connsiteX48944" y="connsiteY48944"/>
              </a:cxn>
              <a:cxn ang="0">
                <a:pos x="connsiteX48945" y="connsiteY48945"/>
              </a:cxn>
              <a:cxn ang="0">
                <a:pos x="connsiteX48946" y="connsiteY48946"/>
              </a:cxn>
              <a:cxn ang="0">
                <a:pos x="connsiteX48947" y="connsiteY48947"/>
              </a:cxn>
              <a:cxn ang="0">
                <a:pos x="connsiteX48948" y="connsiteY48948"/>
              </a:cxn>
              <a:cxn ang="0">
                <a:pos x="connsiteX48949" y="connsiteY48949"/>
              </a:cxn>
              <a:cxn ang="0">
                <a:pos x="connsiteX48950" y="connsiteY48950"/>
              </a:cxn>
              <a:cxn ang="0">
                <a:pos x="connsiteX48951" y="connsiteY48951"/>
              </a:cxn>
              <a:cxn ang="0">
                <a:pos x="connsiteX48952" y="connsiteY48952"/>
              </a:cxn>
              <a:cxn ang="0">
                <a:pos x="connsiteX48953" y="connsiteY48953"/>
              </a:cxn>
              <a:cxn ang="0">
                <a:pos x="connsiteX48954" y="connsiteY48954"/>
              </a:cxn>
              <a:cxn ang="0">
                <a:pos x="connsiteX48955" y="connsiteY48955"/>
              </a:cxn>
              <a:cxn ang="0">
                <a:pos x="connsiteX48956" y="connsiteY48956"/>
              </a:cxn>
              <a:cxn ang="0">
                <a:pos x="connsiteX48957" y="connsiteY48957"/>
              </a:cxn>
              <a:cxn ang="0">
                <a:pos x="connsiteX48958" y="connsiteY48958"/>
              </a:cxn>
              <a:cxn ang="0">
                <a:pos x="connsiteX48959" y="connsiteY48959"/>
              </a:cxn>
              <a:cxn ang="0">
                <a:pos x="connsiteX48960" y="connsiteY48960"/>
              </a:cxn>
              <a:cxn ang="0">
                <a:pos x="connsiteX48961" y="connsiteY48961"/>
              </a:cxn>
              <a:cxn ang="0">
                <a:pos x="connsiteX48962" y="connsiteY48962"/>
              </a:cxn>
              <a:cxn ang="0">
                <a:pos x="connsiteX48963" y="connsiteY48963"/>
              </a:cxn>
              <a:cxn ang="0">
                <a:pos x="connsiteX48964" y="connsiteY48964"/>
              </a:cxn>
              <a:cxn ang="0">
                <a:pos x="connsiteX48965" y="connsiteY48965"/>
              </a:cxn>
              <a:cxn ang="0">
                <a:pos x="connsiteX48966" y="connsiteY48966"/>
              </a:cxn>
              <a:cxn ang="0">
                <a:pos x="connsiteX48967" y="connsiteY48967"/>
              </a:cxn>
              <a:cxn ang="0">
                <a:pos x="connsiteX48968" y="connsiteY48968"/>
              </a:cxn>
              <a:cxn ang="0">
                <a:pos x="connsiteX48969" y="connsiteY48969"/>
              </a:cxn>
              <a:cxn ang="0">
                <a:pos x="connsiteX48970" y="connsiteY48970"/>
              </a:cxn>
              <a:cxn ang="0">
                <a:pos x="connsiteX48971" y="connsiteY48971"/>
              </a:cxn>
              <a:cxn ang="0">
                <a:pos x="connsiteX48972" y="connsiteY48972"/>
              </a:cxn>
              <a:cxn ang="0">
                <a:pos x="connsiteX48973" y="connsiteY48973"/>
              </a:cxn>
              <a:cxn ang="0">
                <a:pos x="connsiteX48974" y="connsiteY48974"/>
              </a:cxn>
              <a:cxn ang="0">
                <a:pos x="connsiteX48975" y="connsiteY48975"/>
              </a:cxn>
              <a:cxn ang="0">
                <a:pos x="connsiteX48976" y="connsiteY48976"/>
              </a:cxn>
              <a:cxn ang="0">
                <a:pos x="connsiteX48977" y="connsiteY48977"/>
              </a:cxn>
              <a:cxn ang="0">
                <a:pos x="connsiteX48978" y="connsiteY48978"/>
              </a:cxn>
              <a:cxn ang="0">
                <a:pos x="connsiteX48979" y="connsiteY48979"/>
              </a:cxn>
              <a:cxn ang="0">
                <a:pos x="connsiteX48980" y="connsiteY48980"/>
              </a:cxn>
              <a:cxn ang="0">
                <a:pos x="connsiteX48981" y="connsiteY48981"/>
              </a:cxn>
              <a:cxn ang="0">
                <a:pos x="connsiteX48982" y="connsiteY48982"/>
              </a:cxn>
              <a:cxn ang="0">
                <a:pos x="connsiteX48983" y="connsiteY48983"/>
              </a:cxn>
              <a:cxn ang="0">
                <a:pos x="connsiteX48984" y="connsiteY48984"/>
              </a:cxn>
              <a:cxn ang="0">
                <a:pos x="connsiteX48985" y="connsiteY48985"/>
              </a:cxn>
              <a:cxn ang="0">
                <a:pos x="connsiteX48986" y="connsiteY48986"/>
              </a:cxn>
              <a:cxn ang="0">
                <a:pos x="connsiteX48987" y="connsiteY48987"/>
              </a:cxn>
              <a:cxn ang="0">
                <a:pos x="connsiteX48988" y="connsiteY48988"/>
              </a:cxn>
              <a:cxn ang="0">
                <a:pos x="connsiteX48989" y="connsiteY48989"/>
              </a:cxn>
              <a:cxn ang="0">
                <a:pos x="connsiteX48990" y="connsiteY48990"/>
              </a:cxn>
              <a:cxn ang="0">
                <a:pos x="connsiteX48991" y="connsiteY48991"/>
              </a:cxn>
              <a:cxn ang="0">
                <a:pos x="connsiteX48992" y="connsiteY48992"/>
              </a:cxn>
              <a:cxn ang="0">
                <a:pos x="connsiteX48993" y="connsiteY48993"/>
              </a:cxn>
              <a:cxn ang="0">
                <a:pos x="connsiteX48994" y="connsiteY48994"/>
              </a:cxn>
              <a:cxn ang="0">
                <a:pos x="connsiteX48995" y="connsiteY48995"/>
              </a:cxn>
              <a:cxn ang="0">
                <a:pos x="connsiteX48996" y="connsiteY48996"/>
              </a:cxn>
              <a:cxn ang="0">
                <a:pos x="connsiteX48997" y="connsiteY48997"/>
              </a:cxn>
              <a:cxn ang="0">
                <a:pos x="connsiteX48998" y="connsiteY48998"/>
              </a:cxn>
              <a:cxn ang="0">
                <a:pos x="connsiteX48999" y="connsiteY48999"/>
              </a:cxn>
              <a:cxn ang="0">
                <a:pos x="connsiteX49000" y="connsiteY49000"/>
              </a:cxn>
              <a:cxn ang="0">
                <a:pos x="connsiteX49001" y="connsiteY49001"/>
              </a:cxn>
              <a:cxn ang="0">
                <a:pos x="connsiteX49002" y="connsiteY49002"/>
              </a:cxn>
              <a:cxn ang="0">
                <a:pos x="connsiteX49003" y="connsiteY49003"/>
              </a:cxn>
              <a:cxn ang="0">
                <a:pos x="connsiteX49004" y="connsiteY49004"/>
              </a:cxn>
              <a:cxn ang="0">
                <a:pos x="connsiteX49005" y="connsiteY49005"/>
              </a:cxn>
              <a:cxn ang="0">
                <a:pos x="connsiteX49006" y="connsiteY49006"/>
              </a:cxn>
              <a:cxn ang="0">
                <a:pos x="connsiteX49007" y="connsiteY49007"/>
              </a:cxn>
              <a:cxn ang="0">
                <a:pos x="connsiteX49008" y="connsiteY49008"/>
              </a:cxn>
              <a:cxn ang="0">
                <a:pos x="connsiteX49009" y="connsiteY49009"/>
              </a:cxn>
              <a:cxn ang="0">
                <a:pos x="connsiteX49010" y="connsiteY49010"/>
              </a:cxn>
              <a:cxn ang="0">
                <a:pos x="connsiteX49011" y="connsiteY49011"/>
              </a:cxn>
              <a:cxn ang="0">
                <a:pos x="connsiteX49012" y="connsiteY49012"/>
              </a:cxn>
              <a:cxn ang="0">
                <a:pos x="connsiteX49013" y="connsiteY49013"/>
              </a:cxn>
              <a:cxn ang="0">
                <a:pos x="connsiteX49014" y="connsiteY49014"/>
              </a:cxn>
              <a:cxn ang="0">
                <a:pos x="connsiteX49015" y="connsiteY49015"/>
              </a:cxn>
              <a:cxn ang="0">
                <a:pos x="connsiteX49016" y="connsiteY49016"/>
              </a:cxn>
              <a:cxn ang="0">
                <a:pos x="connsiteX49017" y="connsiteY49017"/>
              </a:cxn>
              <a:cxn ang="0">
                <a:pos x="connsiteX49018" y="connsiteY49018"/>
              </a:cxn>
              <a:cxn ang="0">
                <a:pos x="connsiteX49019" y="connsiteY49019"/>
              </a:cxn>
              <a:cxn ang="0">
                <a:pos x="connsiteX49020" y="connsiteY49020"/>
              </a:cxn>
              <a:cxn ang="0">
                <a:pos x="connsiteX49021" y="connsiteY49021"/>
              </a:cxn>
              <a:cxn ang="0">
                <a:pos x="connsiteX49022" y="connsiteY49022"/>
              </a:cxn>
              <a:cxn ang="0">
                <a:pos x="connsiteX49023" y="connsiteY49023"/>
              </a:cxn>
              <a:cxn ang="0">
                <a:pos x="connsiteX49024" y="connsiteY49024"/>
              </a:cxn>
              <a:cxn ang="0">
                <a:pos x="connsiteX49025" y="connsiteY49025"/>
              </a:cxn>
              <a:cxn ang="0">
                <a:pos x="connsiteX49026" y="connsiteY49026"/>
              </a:cxn>
              <a:cxn ang="0">
                <a:pos x="connsiteX49027" y="connsiteY49027"/>
              </a:cxn>
              <a:cxn ang="0">
                <a:pos x="connsiteX49028" y="connsiteY49028"/>
              </a:cxn>
              <a:cxn ang="0">
                <a:pos x="connsiteX49029" y="connsiteY49029"/>
              </a:cxn>
              <a:cxn ang="0">
                <a:pos x="connsiteX49030" y="connsiteY49030"/>
              </a:cxn>
              <a:cxn ang="0">
                <a:pos x="connsiteX49031" y="connsiteY49031"/>
              </a:cxn>
              <a:cxn ang="0">
                <a:pos x="connsiteX49032" y="connsiteY49032"/>
              </a:cxn>
              <a:cxn ang="0">
                <a:pos x="connsiteX49033" y="connsiteY49033"/>
              </a:cxn>
              <a:cxn ang="0">
                <a:pos x="connsiteX49034" y="connsiteY49034"/>
              </a:cxn>
              <a:cxn ang="0">
                <a:pos x="connsiteX49035" y="connsiteY49035"/>
              </a:cxn>
              <a:cxn ang="0">
                <a:pos x="connsiteX49036" y="connsiteY49036"/>
              </a:cxn>
              <a:cxn ang="0">
                <a:pos x="connsiteX49037" y="connsiteY49037"/>
              </a:cxn>
              <a:cxn ang="0">
                <a:pos x="connsiteX49038" y="connsiteY49038"/>
              </a:cxn>
              <a:cxn ang="0">
                <a:pos x="connsiteX49039" y="connsiteY49039"/>
              </a:cxn>
              <a:cxn ang="0">
                <a:pos x="connsiteX49040" y="connsiteY49040"/>
              </a:cxn>
              <a:cxn ang="0">
                <a:pos x="connsiteX49041" y="connsiteY49041"/>
              </a:cxn>
              <a:cxn ang="0">
                <a:pos x="connsiteX49042" y="connsiteY49042"/>
              </a:cxn>
              <a:cxn ang="0">
                <a:pos x="connsiteX49043" y="connsiteY49043"/>
              </a:cxn>
              <a:cxn ang="0">
                <a:pos x="connsiteX49044" y="connsiteY49044"/>
              </a:cxn>
              <a:cxn ang="0">
                <a:pos x="connsiteX49045" y="connsiteY49045"/>
              </a:cxn>
              <a:cxn ang="0">
                <a:pos x="connsiteX49046" y="connsiteY49046"/>
              </a:cxn>
              <a:cxn ang="0">
                <a:pos x="connsiteX49047" y="connsiteY49047"/>
              </a:cxn>
              <a:cxn ang="0">
                <a:pos x="connsiteX49048" y="connsiteY49048"/>
              </a:cxn>
              <a:cxn ang="0">
                <a:pos x="connsiteX49049" y="connsiteY49049"/>
              </a:cxn>
              <a:cxn ang="0">
                <a:pos x="connsiteX49050" y="connsiteY49050"/>
              </a:cxn>
              <a:cxn ang="0">
                <a:pos x="connsiteX49051" y="connsiteY49051"/>
              </a:cxn>
              <a:cxn ang="0">
                <a:pos x="connsiteX49052" y="connsiteY49052"/>
              </a:cxn>
              <a:cxn ang="0">
                <a:pos x="connsiteX49053" y="connsiteY49053"/>
              </a:cxn>
              <a:cxn ang="0">
                <a:pos x="connsiteX49054" y="connsiteY49054"/>
              </a:cxn>
              <a:cxn ang="0">
                <a:pos x="connsiteX49055" y="connsiteY49055"/>
              </a:cxn>
              <a:cxn ang="0">
                <a:pos x="connsiteX49056" y="connsiteY49056"/>
              </a:cxn>
              <a:cxn ang="0">
                <a:pos x="connsiteX49057" y="connsiteY49057"/>
              </a:cxn>
              <a:cxn ang="0">
                <a:pos x="connsiteX49058" y="connsiteY49058"/>
              </a:cxn>
              <a:cxn ang="0">
                <a:pos x="connsiteX49059" y="connsiteY49059"/>
              </a:cxn>
              <a:cxn ang="0">
                <a:pos x="connsiteX49060" y="connsiteY49060"/>
              </a:cxn>
              <a:cxn ang="0">
                <a:pos x="connsiteX49061" y="connsiteY49061"/>
              </a:cxn>
              <a:cxn ang="0">
                <a:pos x="connsiteX49062" y="connsiteY49062"/>
              </a:cxn>
              <a:cxn ang="0">
                <a:pos x="connsiteX49063" y="connsiteY49063"/>
              </a:cxn>
              <a:cxn ang="0">
                <a:pos x="connsiteX49064" y="connsiteY49064"/>
              </a:cxn>
              <a:cxn ang="0">
                <a:pos x="connsiteX49065" y="connsiteY49065"/>
              </a:cxn>
              <a:cxn ang="0">
                <a:pos x="connsiteX49066" y="connsiteY49066"/>
              </a:cxn>
              <a:cxn ang="0">
                <a:pos x="connsiteX49067" y="connsiteY49067"/>
              </a:cxn>
              <a:cxn ang="0">
                <a:pos x="connsiteX49068" y="connsiteY49068"/>
              </a:cxn>
              <a:cxn ang="0">
                <a:pos x="connsiteX49069" y="connsiteY49069"/>
              </a:cxn>
              <a:cxn ang="0">
                <a:pos x="connsiteX49070" y="connsiteY49070"/>
              </a:cxn>
              <a:cxn ang="0">
                <a:pos x="connsiteX49071" y="connsiteY49071"/>
              </a:cxn>
              <a:cxn ang="0">
                <a:pos x="connsiteX49072" y="connsiteY49072"/>
              </a:cxn>
              <a:cxn ang="0">
                <a:pos x="connsiteX49073" y="connsiteY49073"/>
              </a:cxn>
              <a:cxn ang="0">
                <a:pos x="connsiteX49074" y="connsiteY49074"/>
              </a:cxn>
              <a:cxn ang="0">
                <a:pos x="connsiteX49075" y="connsiteY49075"/>
              </a:cxn>
              <a:cxn ang="0">
                <a:pos x="connsiteX49076" y="connsiteY49076"/>
              </a:cxn>
              <a:cxn ang="0">
                <a:pos x="connsiteX49077" y="connsiteY49077"/>
              </a:cxn>
              <a:cxn ang="0">
                <a:pos x="connsiteX49078" y="connsiteY49078"/>
              </a:cxn>
              <a:cxn ang="0">
                <a:pos x="connsiteX49079" y="connsiteY49079"/>
              </a:cxn>
              <a:cxn ang="0">
                <a:pos x="connsiteX49080" y="connsiteY49080"/>
              </a:cxn>
              <a:cxn ang="0">
                <a:pos x="connsiteX49081" y="connsiteY49081"/>
              </a:cxn>
              <a:cxn ang="0">
                <a:pos x="connsiteX49082" y="connsiteY49082"/>
              </a:cxn>
              <a:cxn ang="0">
                <a:pos x="connsiteX49083" y="connsiteY49083"/>
              </a:cxn>
              <a:cxn ang="0">
                <a:pos x="connsiteX49084" y="connsiteY49084"/>
              </a:cxn>
              <a:cxn ang="0">
                <a:pos x="connsiteX49085" y="connsiteY49085"/>
              </a:cxn>
              <a:cxn ang="0">
                <a:pos x="connsiteX49086" y="connsiteY49086"/>
              </a:cxn>
              <a:cxn ang="0">
                <a:pos x="connsiteX49087" y="connsiteY49087"/>
              </a:cxn>
              <a:cxn ang="0">
                <a:pos x="connsiteX49088" y="connsiteY49088"/>
              </a:cxn>
              <a:cxn ang="0">
                <a:pos x="connsiteX49089" y="connsiteY49089"/>
              </a:cxn>
              <a:cxn ang="0">
                <a:pos x="connsiteX49090" y="connsiteY49090"/>
              </a:cxn>
              <a:cxn ang="0">
                <a:pos x="connsiteX49091" y="connsiteY49091"/>
              </a:cxn>
              <a:cxn ang="0">
                <a:pos x="connsiteX49092" y="connsiteY49092"/>
              </a:cxn>
              <a:cxn ang="0">
                <a:pos x="connsiteX49093" y="connsiteY49093"/>
              </a:cxn>
              <a:cxn ang="0">
                <a:pos x="connsiteX49094" y="connsiteY49094"/>
              </a:cxn>
              <a:cxn ang="0">
                <a:pos x="connsiteX49095" y="connsiteY49095"/>
              </a:cxn>
              <a:cxn ang="0">
                <a:pos x="connsiteX49096" y="connsiteY49096"/>
              </a:cxn>
              <a:cxn ang="0">
                <a:pos x="connsiteX49097" y="connsiteY49097"/>
              </a:cxn>
              <a:cxn ang="0">
                <a:pos x="connsiteX49098" y="connsiteY49098"/>
              </a:cxn>
              <a:cxn ang="0">
                <a:pos x="connsiteX49099" y="connsiteY49099"/>
              </a:cxn>
              <a:cxn ang="0">
                <a:pos x="connsiteX49100" y="connsiteY49100"/>
              </a:cxn>
              <a:cxn ang="0">
                <a:pos x="connsiteX49101" y="connsiteY49101"/>
              </a:cxn>
              <a:cxn ang="0">
                <a:pos x="connsiteX49102" y="connsiteY49102"/>
              </a:cxn>
              <a:cxn ang="0">
                <a:pos x="connsiteX49103" y="connsiteY49103"/>
              </a:cxn>
              <a:cxn ang="0">
                <a:pos x="connsiteX49104" y="connsiteY49104"/>
              </a:cxn>
              <a:cxn ang="0">
                <a:pos x="connsiteX49105" y="connsiteY49105"/>
              </a:cxn>
              <a:cxn ang="0">
                <a:pos x="connsiteX49106" y="connsiteY49106"/>
              </a:cxn>
              <a:cxn ang="0">
                <a:pos x="connsiteX49107" y="connsiteY49107"/>
              </a:cxn>
              <a:cxn ang="0">
                <a:pos x="connsiteX49108" y="connsiteY49108"/>
              </a:cxn>
              <a:cxn ang="0">
                <a:pos x="connsiteX49109" y="connsiteY49109"/>
              </a:cxn>
              <a:cxn ang="0">
                <a:pos x="connsiteX49110" y="connsiteY49110"/>
              </a:cxn>
              <a:cxn ang="0">
                <a:pos x="connsiteX49111" y="connsiteY49111"/>
              </a:cxn>
              <a:cxn ang="0">
                <a:pos x="connsiteX49112" y="connsiteY49112"/>
              </a:cxn>
              <a:cxn ang="0">
                <a:pos x="connsiteX49113" y="connsiteY49113"/>
              </a:cxn>
              <a:cxn ang="0">
                <a:pos x="connsiteX49114" y="connsiteY49114"/>
              </a:cxn>
              <a:cxn ang="0">
                <a:pos x="connsiteX49115" y="connsiteY49115"/>
              </a:cxn>
              <a:cxn ang="0">
                <a:pos x="connsiteX49116" y="connsiteY49116"/>
              </a:cxn>
              <a:cxn ang="0">
                <a:pos x="connsiteX49117" y="connsiteY49117"/>
              </a:cxn>
              <a:cxn ang="0">
                <a:pos x="connsiteX49118" y="connsiteY49118"/>
              </a:cxn>
              <a:cxn ang="0">
                <a:pos x="connsiteX49119" y="connsiteY49119"/>
              </a:cxn>
              <a:cxn ang="0">
                <a:pos x="connsiteX49120" y="connsiteY49120"/>
              </a:cxn>
              <a:cxn ang="0">
                <a:pos x="connsiteX49121" y="connsiteY49121"/>
              </a:cxn>
              <a:cxn ang="0">
                <a:pos x="connsiteX49122" y="connsiteY49122"/>
              </a:cxn>
              <a:cxn ang="0">
                <a:pos x="connsiteX49123" y="connsiteY49123"/>
              </a:cxn>
              <a:cxn ang="0">
                <a:pos x="connsiteX49124" y="connsiteY49124"/>
              </a:cxn>
              <a:cxn ang="0">
                <a:pos x="connsiteX49125" y="connsiteY49125"/>
              </a:cxn>
              <a:cxn ang="0">
                <a:pos x="connsiteX49126" y="connsiteY49126"/>
              </a:cxn>
              <a:cxn ang="0">
                <a:pos x="connsiteX49127" y="connsiteY49127"/>
              </a:cxn>
              <a:cxn ang="0">
                <a:pos x="connsiteX49128" y="connsiteY49128"/>
              </a:cxn>
              <a:cxn ang="0">
                <a:pos x="connsiteX49129" y="connsiteY49129"/>
              </a:cxn>
              <a:cxn ang="0">
                <a:pos x="connsiteX49130" y="connsiteY49130"/>
              </a:cxn>
              <a:cxn ang="0">
                <a:pos x="connsiteX49131" y="connsiteY49131"/>
              </a:cxn>
              <a:cxn ang="0">
                <a:pos x="connsiteX49132" y="connsiteY49132"/>
              </a:cxn>
              <a:cxn ang="0">
                <a:pos x="connsiteX49133" y="connsiteY49133"/>
              </a:cxn>
              <a:cxn ang="0">
                <a:pos x="connsiteX49134" y="connsiteY49134"/>
              </a:cxn>
              <a:cxn ang="0">
                <a:pos x="connsiteX49135" y="connsiteY49135"/>
              </a:cxn>
              <a:cxn ang="0">
                <a:pos x="connsiteX49136" y="connsiteY49136"/>
              </a:cxn>
              <a:cxn ang="0">
                <a:pos x="connsiteX49137" y="connsiteY49137"/>
              </a:cxn>
              <a:cxn ang="0">
                <a:pos x="connsiteX49138" y="connsiteY49138"/>
              </a:cxn>
              <a:cxn ang="0">
                <a:pos x="connsiteX49139" y="connsiteY49139"/>
              </a:cxn>
              <a:cxn ang="0">
                <a:pos x="connsiteX49140" y="connsiteY49140"/>
              </a:cxn>
              <a:cxn ang="0">
                <a:pos x="connsiteX49141" y="connsiteY49141"/>
              </a:cxn>
              <a:cxn ang="0">
                <a:pos x="connsiteX49142" y="connsiteY49142"/>
              </a:cxn>
              <a:cxn ang="0">
                <a:pos x="connsiteX49143" y="connsiteY49143"/>
              </a:cxn>
              <a:cxn ang="0">
                <a:pos x="connsiteX49144" y="connsiteY49144"/>
              </a:cxn>
              <a:cxn ang="0">
                <a:pos x="connsiteX49145" y="connsiteY49145"/>
              </a:cxn>
              <a:cxn ang="0">
                <a:pos x="connsiteX49146" y="connsiteY49146"/>
              </a:cxn>
              <a:cxn ang="0">
                <a:pos x="connsiteX49147" y="connsiteY49147"/>
              </a:cxn>
              <a:cxn ang="0">
                <a:pos x="connsiteX49148" y="connsiteY49148"/>
              </a:cxn>
              <a:cxn ang="0">
                <a:pos x="connsiteX49149" y="connsiteY49149"/>
              </a:cxn>
              <a:cxn ang="0">
                <a:pos x="connsiteX49150" y="connsiteY49150"/>
              </a:cxn>
              <a:cxn ang="0">
                <a:pos x="connsiteX49151" y="connsiteY49151"/>
              </a:cxn>
              <a:cxn ang="0">
                <a:pos x="connsiteX49152" y="connsiteY49152"/>
              </a:cxn>
              <a:cxn ang="0">
                <a:pos x="connsiteX49153" y="connsiteY49153"/>
              </a:cxn>
              <a:cxn ang="0">
                <a:pos x="connsiteX49154" y="connsiteY49154"/>
              </a:cxn>
              <a:cxn ang="0">
                <a:pos x="connsiteX49155" y="connsiteY49155"/>
              </a:cxn>
              <a:cxn ang="0">
                <a:pos x="connsiteX49156" y="connsiteY49156"/>
              </a:cxn>
              <a:cxn ang="0">
                <a:pos x="connsiteX49157" y="connsiteY49157"/>
              </a:cxn>
              <a:cxn ang="0">
                <a:pos x="connsiteX49158" y="connsiteY49158"/>
              </a:cxn>
              <a:cxn ang="0">
                <a:pos x="connsiteX49159" y="connsiteY49159"/>
              </a:cxn>
              <a:cxn ang="0">
                <a:pos x="connsiteX49160" y="connsiteY49160"/>
              </a:cxn>
              <a:cxn ang="0">
                <a:pos x="connsiteX49161" y="connsiteY49161"/>
              </a:cxn>
              <a:cxn ang="0">
                <a:pos x="connsiteX49162" y="connsiteY49162"/>
              </a:cxn>
              <a:cxn ang="0">
                <a:pos x="connsiteX49163" y="connsiteY49163"/>
              </a:cxn>
              <a:cxn ang="0">
                <a:pos x="connsiteX49164" y="connsiteY49164"/>
              </a:cxn>
              <a:cxn ang="0">
                <a:pos x="connsiteX49165" y="connsiteY49165"/>
              </a:cxn>
              <a:cxn ang="0">
                <a:pos x="connsiteX49166" y="connsiteY49166"/>
              </a:cxn>
              <a:cxn ang="0">
                <a:pos x="connsiteX49167" y="connsiteY49167"/>
              </a:cxn>
              <a:cxn ang="0">
                <a:pos x="connsiteX49168" y="connsiteY49168"/>
              </a:cxn>
              <a:cxn ang="0">
                <a:pos x="connsiteX49169" y="connsiteY49169"/>
              </a:cxn>
              <a:cxn ang="0">
                <a:pos x="connsiteX49170" y="connsiteY49170"/>
              </a:cxn>
              <a:cxn ang="0">
                <a:pos x="connsiteX49171" y="connsiteY49171"/>
              </a:cxn>
              <a:cxn ang="0">
                <a:pos x="connsiteX49172" y="connsiteY49172"/>
              </a:cxn>
              <a:cxn ang="0">
                <a:pos x="connsiteX49173" y="connsiteY49173"/>
              </a:cxn>
              <a:cxn ang="0">
                <a:pos x="connsiteX49174" y="connsiteY49174"/>
              </a:cxn>
              <a:cxn ang="0">
                <a:pos x="connsiteX49175" y="connsiteY49175"/>
              </a:cxn>
              <a:cxn ang="0">
                <a:pos x="connsiteX49176" y="connsiteY49176"/>
              </a:cxn>
              <a:cxn ang="0">
                <a:pos x="connsiteX49177" y="connsiteY49177"/>
              </a:cxn>
              <a:cxn ang="0">
                <a:pos x="connsiteX49178" y="connsiteY49178"/>
              </a:cxn>
              <a:cxn ang="0">
                <a:pos x="connsiteX49179" y="connsiteY49179"/>
              </a:cxn>
              <a:cxn ang="0">
                <a:pos x="connsiteX49180" y="connsiteY49180"/>
              </a:cxn>
              <a:cxn ang="0">
                <a:pos x="connsiteX49181" y="connsiteY49181"/>
              </a:cxn>
              <a:cxn ang="0">
                <a:pos x="connsiteX49182" y="connsiteY49182"/>
              </a:cxn>
              <a:cxn ang="0">
                <a:pos x="connsiteX49183" y="connsiteY49183"/>
              </a:cxn>
              <a:cxn ang="0">
                <a:pos x="connsiteX49184" y="connsiteY49184"/>
              </a:cxn>
              <a:cxn ang="0">
                <a:pos x="connsiteX49185" y="connsiteY49185"/>
              </a:cxn>
              <a:cxn ang="0">
                <a:pos x="connsiteX49186" y="connsiteY49186"/>
              </a:cxn>
              <a:cxn ang="0">
                <a:pos x="connsiteX49187" y="connsiteY49187"/>
              </a:cxn>
              <a:cxn ang="0">
                <a:pos x="connsiteX49188" y="connsiteY49188"/>
              </a:cxn>
              <a:cxn ang="0">
                <a:pos x="connsiteX49189" y="connsiteY49189"/>
              </a:cxn>
              <a:cxn ang="0">
                <a:pos x="connsiteX49190" y="connsiteY49190"/>
              </a:cxn>
              <a:cxn ang="0">
                <a:pos x="connsiteX49191" y="connsiteY49191"/>
              </a:cxn>
              <a:cxn ang="0">
                <a:pos x="connsiteX49192" y="connsiteY49192"/>
              </a:cxn>
              <a:cxn ang="0">
                <a:pos x="connsiteX49193" y="connsiteY49193"/>
              </a:cxn>
              <a:cxn ang="0">
                <a:pos x="connsiteX49194" y="connsiteY49194"/>
              </a:cxn>
              <a:cxn ang="0">
                <a:pos x="connsiteX49195" y="connsiteY49195"/>
              </a:cxn>
              <a:cxn ang="0">
                <a:pos x="connsiteX49196" y="connsiteY49196"/>
              </a:cxn>
              <a:cxn ang="0">
                <a:pos x="connsiteX49197" y="connsiteY49197"/>
              </a:cxn>
              <a:cxn ang="0">
                <a:pos x="connsiteX49198" y="connsiteY49198"/>
              </a:cxn>
              <a:cxn ang="0">
                <a:pos x="connsiteX49199" y="connsiteY49199"/>
              </a:cxn>
              <a:cxn ang="0">
                <a:pos x="connsiteX49200" y="connsiteY49200"/>
              </a:cxn>
              <a:cxn ang="0">
                <a:pos x="connsiteX49201" y="connsiteY49201"/>
              </a:cxn>
              <a:cxn ang="0">
                <a:pos x="connsiteX49202" y="connsiteY49202"/>
              </a:cxn>
              <a:cxn ang="0">
                <a:pos x="connsiteX49203" y="connsiteY49203"/>
              </a:cxn>
              <a:cxn ang="0">
                <a:pos x="connsiteX49204" y="connsiteY49204"/>
              </a:cxn>
              <a:cxn ang="0">
                <a:pos x="connsiteX49205" y="connsiteY49205"/>
              </a:cxn>
              <a:cxn ang="0">
                <a:pos x="connsiteX49206" y="connsiteY49206"/>
              </a:cxn>
              <a:cxn ang="0">
                <a:pos x="connsiteX49207" y="connsiteY49207"/>
              </a:cxn>
              <a:cxn ang="0">
                <a:pos x="connsiteX49208" y="connsiteY49208"/>
              </a:cxn>
              <a:cxn ang="0">
                <a:pos x="connsiteX49209" y="connsiteY49209"/>
              </a:cxn>
              <a:cxn ang="0">
                <a:pos x="connsiteX49210" y="connsiteY49210"/>
              </a:cxn>
              <a:cxn ang="0">
                <a:pos x="connsiteX49211" y="connsiteY49211"/>
              </a:cxn>
              <a:cxn ang="0">
                <a:pos x="connsiteX49212" y="connsiteY49212"/>
              </a:cxn>
              <a:cxn ang="0">
                <a:pos x="connsiteX49213" y="connsiteY49213"/>
              </a:cxn>
              <a:cxn ang="0">
                <a:pos x="connsiteX49214" y="connsiteY49214"/>
              </a:cxn>
              <a:cxn ang="0">
                <a:pos x="connsiteX49215" y="connsiteY49215"/>
              </a:cxn>
              <a:cxn ang="0">
                <a:pos x="connsiteX49216" y="connsiteY49216"/>
              </a:cxn>
              <a:cxn ang="0">
                <a:pos x="connsiteX49217" y="connsiteY49217"/>
              </a:cxn>
              <a:cxn ang="0">
                <a:pos x="connsiteX49218" y="connsiteY49218"/>
              </a:cxn>
              <a:cxn ang="0">
                <a:pos x="connsiteX49219" y="connsiteY49219"/>
              </a:cxn>
              <a:cxn ang="0">
                <a:pos x="connsiteX49220" y="connsiteY49220"/>
              </a:cxn>
              <a:cxn ang="0">
                <a:pos x="connsiteX49221" y="connsiteY49221"/>
              </a:cxn>
              <a:cxn ang="0">
                <a:pos x="connsiteX49222" y="connsiteY49222"/>
              </a:cxn>
              <a:cxn ang="0">
                <a:pos x="connsiteX49223" y="connsiteY49223"/>
              </a:cxn>
              <a:cxn ang="0">
                <a:pos x="connsiteX49224" y="connsiteY49224"/>
              </a:cxn>
              <a:cxn ang="0">
                <a:pos x="connsiteX49225" y="connsiteY49225"/>
              </a:cxn>
              <a:cxn ang="0">
                <a:pos x="connsiteX49226" y="connsiteY49226"/>
              </a:cxn>
              <a:cxn ang="0">
                <a:pos x="connsiteX49227" y="connsiteY49227"/>
              </a:cxn>
              <a:cxn ang="0">
                <a:pos x="connsiteX49228" y="connsiteY49228"/>
              </a:cxn>
              <a:cxn ang="0">
                <a:pos x="connsiteX49229" y="connsiteY49229"/>
              </a:cxn>
              <a:cxn ang="0">
                <a:pos x="connsiteX49230" y="connsiteY49230"/>
              </a:cxn>
              <a:cxn ang="0">
                <a:pos x="connsiteX49231" y="connsiteY49231"/>
              </a:cxn>
              <a:cxn ang="0">
                <a:pos x="connsiteX49232" y="connsiteY49232"/>
              </a:cxn>
              <a:cxn ang="0">
                <a:pos x="connsiteX49233" y="connsiteY49233"/>
              </a:cxn>
              <a:cxn ang="0">
                <a:pos x="connsiteX49234" y="connsiteY49234"/>
              </a:cxn>
              <a:cxn ang="0">
                <a:pos x="connsiteX49235" y="connsiteY49235"/>
              </a:cxn>
              <a:cxn ang="0">
                <a:pos x="connsiteX49236" y="connsiteY49236"/>
              </a:cxn>
              <a:cxn ang="0">
                <a:pos x="connsiteX49237" y="connsiteY49237"/>
              </a:cxn>
              <a:cxn ang="0">
                <a:pos x="connsiteX49238" y="connsiteY49238"/>
              </a:cxn>
              <a:cxn ang="0">
                <a:pos x="connsiteX49239" y="connsiteY49239"/>
              </a:cxn>
              <a:cxn ang="0">
                <a:pos x="connsiteX49240" y="connsiteY49240"/>
              </a:cxn>
              <a:cxn ang="0">
                <a:pos x="connsiteX49241" y="connsiteY49241"/>
              </a:cxn>
              <a:cxn ang="0">
                <a:pos x="connsiteX49242" y="connsiteY49242"/>
              </a:cxn>
              <a:cxn ang="0">
                <a:pos x="connsiteX49243" y="connsiteY49243"/>
              </a:cxn>
              <a:cxn ang="0">
                <a:pos x="connsiteX49244" y="connsiteY49244"/>
              </a:cxn>
              <a:cxn ang="0">
                <a:pos x="connsiteX49245" y="connsiteY49245"/>
              </a:cxn>
              <a:cxn ang="0">
                <a:pos x="connsiteX49246" y="connsiteY49246"/>
              </a:cxn>
              <a:cxn ang="0">
                <a:pos x="connsiteX49247" y="connsiteY49247"/>
              </a:cxn>
              <a:cxn ang="0">
                <a:pos x="connsiteX49248" y="connsiteY49248"/>
              </a:cxn>
              <a:cxn ang="0">
                <a:pos x="connsiteX49249" y="connsiteY49249"/>
              </a:cxn>
              <a:cxn ang="0">
                <a:pos x="connsiteX49250" y="connsiteY49250"/>
              </a:cxn>
              <a:cxn ang="0">
                <a:pos x="connsiteX49251" y="connsiteY49251"/>
              </a:cxn>
              <a:cxn ang="0">
                <a:pos x="connsiteX49252" y="connsiteY49252"/>
              </a:cxn>
              <a:cxn ang="0">
                <a:pos x="connsiteX49253" y="connsiteY49253"/>
              </a:cxn>
              <a:cxn ang="0">
                <a:pos x="connsiteX49254" y="connsiteY49254"/>
              </a:cxn>
              <a:cxn ang="0">
                <a:pos x="connsiteX49255" y="connsiteY49255"/>
              </a:cxn>
              <a:cxn ang="0">
                <a:pos x="connsiteX49256" y="connsiteY49256"/>
              </a:cxn>
              <a:cxn ang="0">
                <a:pos x="connsiteX49257" y="connsiteY49257"/>
              </a:cxn>
              <a:cxn ang="0">
                <a:pos x="connsiteX49258" y="connsiteY49258"/>
              </a:cxn>
              <a:cxn ang="0">
                <a:pos x="connsiteX49259" y="connsiteY49259"/>
              </a:cxn>
              <a:cxn ang="0">
                <a:pos x="connsiteX49260" y="connsiteY49260"/>
              </a:cxn>
              <a:cxn ang="0">
                <a:pos x="connsiteX49261" y="connsiteY49261"/>
              </a:cxn>
              <a:cxn ang="0">
                <a:pos x="connsiteX49262" y="connsiteY49262"/>
              </a:cxn>
              <a:cxn ang="0">
                <a:pos x="connsiteX49263" y="connsiteY49263"/>
              </a:cxn>
              <a:cxn ang="0">
                <a:pos x="connsiteX49264" y="connsiteY49264"/>
              </a:cxn>
              <a:cxn ang="0">
                <a:pos x="connsiteX49265" y="connsiteY49265"/>
              </a:cxn>
              <a:cxn ang="0">
                <a:pos x="connsiteX49266" y="connsiteY49266"/>
              </a:cxn>
              <a:cxn ang="0">
                <a:pos x="connsiteX49267" y="connsiteY49267"/>
              </a:cxn>
              <a:cxn ang="0">
                <a:pos x="connsiteX49268" y="connsiteY49268"/>
              </a:cxn>
              <a:cxn ang="0">
                <a:pos x="connsiteX49269" y="connsiteY49269"/>
              </a:cxn>
              <a:cxn ang="0">
                <a:pos x="connsiteX49270" y="connsiteY49270"/>
              </a:cxn>
              <a:cxn ang="0">
                <a:pos x="connsiteX49271" y="connsiteY49271"/>
              </a:cxn>
              <a:cxn ang="0">
                <a:pos x="connsiteX49272" y="connsiteY49272"/>
              </a:cxn>
              <a:cxn ang="0">
                <a:pos x="connsiteX49273" y="connsiteY49273"/>
              </a:cxn>
              <a:cxn ang="0">
                <a:pos x="connsiteX49274" y="connsiteY49274"/>
              </a:cxn>
              <a:cxn ang="0">
                <a:pos x="connsiteX49275" y="connsiteY49275"/>
              </a:cxn>
              <a:cxn ang="0">
                <a:pos x="connsiteX49276" y="connsiteY49276"/>
              </a:cxn>
              <a:cxn ang="0">
                <a:pos x="connsiteX49277" y="connsiteY49277"/>
              </a:cxn>
              <a:cxn ang="0">
                <a:pos x="connsiteX49278" y="connsiteY49278"/>
              </a:cxn>
              <a:cxn ang="0">
                <a:pos x="connsiteX49279" y="connsiteY49279"/>
              </a:cxn>
              <a:cxn ang="0">
                <a:pos x="connsiteX49280" y="connsiteY49280"/>
              </a:cxn>
              <a:cxn ang="0">
                <a:pos x="connsiteX49281" y="connsiteY49281"/>
              </a:cxn>
              <a:cxn ang="0">
                <a:pos x="connsiteX49282" y="connsiteY49282"/>
              </a:cxn>
              <a:cxn ang="0">
                <a:pos x="connsiteX49283" y="connsiteY49283"/>
              </a:cxn>
              <a:cxn ang="0">
                <a:pos x="connsiteX49284" y="connsiteY49284"/>
              </a:cxn>
              <a:cxn ang="0">
                <a:pos x="connsiteX49285" y="connsiteY49285"/>
              </a:cxn>
              <a:cxn ang="0">
                <a:pos x="connsiteX49286" y="connsiteY49286"/>
              </a:cxn>
              <a:cxn ang="0">
                <a:pos x="connsiteX49287" y="connsiteY49287"/>
              </a:cxn>
              <a:cxn ang="0">
                <a:pos x="connsiteX49288" y="connsiteY49288"/>
              </a:cxn>
              <a:cxn ang="0">
                <a:pos x="connsiteX49289" y="connsiteY49289"/>
              </a:cxn>
              <a:cxn ang="0">
                <a:pos x="connsiteX49290" y="connsiteY49290"/>
              </a:cxn>
              <a:cxn ang="0">
                <a:pos x="connsiteX49291" y="connsiteY49291"/>
              </a:cxn>
              <a:cxn ang="0">
                <a:pos x="connsiteX49292" y="connsiteY49292"/>
              </a:cxn>
              <a:cxn ang="0">
                <a:pos x="connsiteX49293" y="connsiteY49293"/>
              </a:cxn>
              <a:cxn ang="0">
                <a:pos x="connsiteX49294" y="connsiteY49294"/>
              </a:cxn>
              <a:cxn ang="0">
                <a:pos x="connsiteX49295" y="connsiteY49295"/>
              </a:cxn>
              <a:cxn ang="0">
                <a:pos x="connsiteX49296" y="connsiteY49296"/>
              </a:cxn>
              <a:cxn ang="0">
                <a:pos x="connsiteX49297" y="connsiteY49297"/>
              </a:cxn>
              <a:cxn ang="0">
                <a:pos x="connsiteX49298" y="connsiteY49298"/>
              </a:cxn>
              <a:cxn ang="0">
                <a:pos x="connsiteX49299" y="connsiteY49299"/>
              </a:cxn>
              <a:cxn ang="0">
                <a:pos x="connsiteX49300" y="connsiteY49300"/>
              </a:cxn>
              <a:cxn ang="0">
                <a:pos x="connsiteX49301" y="connsiteY49301"/>
              </a:cxn>
              <a:cxn ang="0">
                <a:pos x="connsiteX49302" y="connsiteY49302"/>
              </a:cxn>
              <a:cxn ang="0">
                <a:pos x="connsiteX49303" y="connsiteY49303"/>
              </a:cxn>
              <a:cxn ang="0">
                <a:pos x="connsiteX49304" y="connsiteY49304"/>
              </a:cxn>
              <a:cxn ang="0">
                <a:pos x="connsiteX49305" y="connsiteY49305"/>
              </a:cxn>
              <a:cxn ang="0">
                <a:pos x="connsiteX49306" y="connsiteY49306"/>
              </a:cxn>
              <a:cxn ang="0">
                <a:pos x="connsiteX49307" y="connsiteY49307"/>
              </a:cxn>
              <a:cxn ang="0">
                <a:pos x="connsiteX49308" y="connsiteY49308"/>
              </a:cxn>
              <a:cxn ang="0">
                <a:pos x="connsiteX49309" y="connsiteY49309"/>
              </a:cxn>
              <a:cxn ang="0">
                <a:pos x="connsiteX49310" y="connsiteY49310"/>
              </a:cxn>
              <a:cxn ang="0">
                <a:pos x="connsiteX49311" y="connsiteY49311"/>
              </a:cxn>
              <a:cxn ang="0">
                <a:pos x="connsiteX49312" y="connsiteY49312"/>
              </a:cxn>
              <a:cxn ang="0">
                <a:pos x="connsiteX49313" y="connsiteY49313"/>
              </a:cxn>
              <a:cxn ang="0">
                <a:pos x="connsiteX49314" y="connsiteY49314"/>
              </a:cxn>
              <a:cxn ang="0">
                <a:pos x="connsiteX49315" y="connsiteY49315"/>
              </a:cxn>
              <a:cxn ang="0">
                <a:pos x="connsiteX49316" y="connsiteY49316"/>
              </a:cxn>
              <a:cxn ang="0">
                <a:pos x="connsiteX49317" y="connsiteY49317"/>
              </a:cxn>
              <a:cxn ang="0">
                <a:pos x="connsiteX49318" y="connsiteY49318"/>
              </a:cxn>
              <a:cxn ang="0">
                <a:pos x="connsiteX49319" y="connsiteY49319"/>
              </a:cxn>
              <a:cxn ang="0">
                <a:pos x="connsiteX49320" y="connsiteY49320"/>
              </a:cxn>
              <a:cxn ang="0">
                <a:pos x="connsiteX49321" y="connsiteY49321"/>
              </a:cxn>
              <a:cxn ang="0">
                <a:pos x="connsiteX49322" y="connsiteY49322"/>
              </a:cxn>
              <a:cxn ang="0">
                <a:pos x="connsiteX49323" y="connsiteY49323"/>
              </a:cxn>
              <a:cxn ang="0">
                <a:pos x="connsiteX49324" y="connsiteY49324"/>
              </a:cxn>
              <a:cxn ang="0">
                <a:pos x="connsiteX49325" y="connsiteY49325"/>
              </a:cxn>
              <a:cxn ang="0">
                <a:pos x="connsiteX49326" y="connsiteY49326"/>
              </a:cxn>
              <a:cxn ang="0">
                <a:pos x="connsiteX49327" y="connsiteY49327"/>
              </a:cxn>
              <a:cxn ang="0">
                <a:pos x="connsiteX49328" y="connsiteY49328"/>
              </a:cxn>
              <a:cxn ang="0">
                <a:pos x="connsiteX49329" y="connsiteY49329"/>
              </a:cxn>
              <a:cxn ang="0">
                <a:pos x="connsiteX49330" y="connsiteY49330"/>
              </a:cxn>
              <a:cxn ang="0">
                <a:pos x="connsiteX49331" y="connsiteY49331"/>
              </a:cxn>
              <a:cxn ang="0">
                <a:pos x="connsiteX49332" y="connsiteY49332"/>
              </a:cxn>
              <a:cxn ang="0">
                <a:pos x="connsiteX49333" y="connsiteY49333"/>
              </a:cxn>
              <a:cxn ang="0">
                <a:pos x="connsiteX49334" y="connsiteY49334"/>
              </a:cxn>
              <a:cxn ang="0">
                <a:pos x="connsiteX49335" y="connsiteY49335"/>
              </a:cxn>
              <a:cxn ang="0">
                <a:pos x="connsiteX49336" y="connsiteY49336"/>
              </a:cxn>
              <a:cxn ang="0">
                <a:pos x="connsiteX49337" y="connsiteY49337"/>
              </a:cxn>
              <a:cxn ang="0">
                <a:pos x="connsiteX49338" y="connsiteY49338"/>
              </a:cxn>
              <a:cxn ang="0">
                <a:pos x="connsiteX49339" y="connsiteY49339"/>
              </a:cxn>
              <a:cxn ang="0">
                <a:pos x="connsiteX49340" y="connsiteY49340"/>
              </a:cxn>
              <a:cxn ang="0">
                <a:pos x="connsiteX49341" y="connsiteY49341"/>
              </a:cxn>
              <a:cxn ang="0">
                <a:pos x="connsiteX49342" y="connsiteY49342"/>
              </a:cxn>
              <a:cxn ang="0">
                <a:pos x="connsiteX49343" y="connsiteY49343"/>
              </a:cxn>
              <a:cxn ang="0">
                <a:pos x="connsiteX49344" y="connsiteY49344"/>
              </a:cxn>
              <a:cxn ang="0">
                <a:pos x="connsiteX49345" y="connsiteY49345"/>
              </a:cxn>
              <a:cxn ang="0">
                <a:pos x="connsiteX49346" y="connsiteY49346"/>
              </a:cxn>
              <a:cxn ang="0">
                <a:pos x="connsiteX49347" y="connsiteY49347"/>
              </a:cxn>
              <a:cxn ang="0">
                <a:pos x="connsiteX49348" y="connsiteY49348"/>
              </a:cxn>
              <a:cxn ang="0">
                <a:pos x="connsiteX49349" y="connsiteY49349"/>
              </a:cxn>
              <a:cxn ang="0">
                <a:pos x="connsiteX49350" y="connsiteY49350"/>
              </a:cxn>
              <a:cxn ang="0">
                <a:pos x="connsiteX49351" y="connsiteY49351"/>
              </a:cxn>
              <a:cxn ang="0">
                <a:pos x="connsiteX49352" y="connsiteY49352"/>
              </a:cxn>
              <a:cxn ang="0">
                <a:pos x="connsiteX49353" y="connsiteY49353"/>
              </a:cxn>
              <a:cxn ang="0">
                <a:pos x="connsiteX49354" y="connsiteY49354"/>
              </a:cxn>
              <a:cxn ang="0">
                <a:pos x="connsiteX49355" y="connsiteY49355"/>
              </a:cxn>
              <a:cxn ang="0">
                <a:pos x="connsiteX49356" y="connsiteY49356"/>
              </a:cxn>
              <a:cxn ang="0">
                <a:pos x="connsiteX49357" y="connsiteY49357"/>
              </a:cxn>
              <a:cxn ang="0">
                <a:pos x="connsiteX49358" y="connsiteY49358"/>
              </a:cxn>
              <a:cxn ang="0">
                <a:pos x="connsiteX49359" y="connsiteY49359"/>
              </a:cxn>
              <a:cxn ang="0">
                <a:pos x="connsiteX49360" y="connsiteY49360"/>
              </a:cxn>
              <a:cxn ang="0">
                <a:pos x="connsiteX49361" y="connsiteY49361"/>
              </a:cxn>
              <a:cxn ang="0">
                <a:pos x="connsiteX49362" y="connsiteY49362"/>
              </a:cxn>
              <a:cxn ang="0">
                <a:pos x="connsiteX49363" y="connsiteY49363"/>
              </a:cxn>
              <a:cxn ang="0">
                <a:pos x="connsiteX49364" y="connsiteY49364"/>
              </a:cxn>
              <a:cxn ang="0">
                <a:pos x="connsiteX49365" y="connsiteY49365"/>
              </a:cxn>
              <a:cxn ang="0">
                <a:pos x="connsiteX49366" y="connsiteY49366"/>
              </a:cxn>
              <a:cxn ang="0">
                <a:pos x="connsiteX49367" y="connsiteY49367"/>
              </a:cxn>
              <a:cxn ang="0">
                <a:pos x="connsiteX49368" y="connsiteY49368"/>
              </a:cxn>
              <a:cxn ang="0">
                <a:pos x="connsiteX49369" y="connsiteY49369"/>
              </a:cxn>
              <a:cxn ang="0">
                <a:pos x="connsiteX49370" y="connsiteY49370"/>
              </a:cxn>
              <a:cxn ang="0">
                <a:pos x="connsiteX49371" y="connsiteY49371"/>
              </a:cxn>
              <a:cxn ang="0">
                <a:pos x="connsiteX49372" y="connsiteY49372"/>
              </a:cxn>
              <a:cxn ang="0">
                <a:pos x="connsiteX49373" y="connsiteY49373"/>
              </a:cxn>
              <a:cxn ang="0">
                <a:pos x="connsiteX49374" y="connsiteY49374"/>
              </a:cxn>
              <a:cxn ang="0">
                <a:pos x="connsiteX49375" y="connsiteY49375"/>
              </a:cxn>
              <a:cxn ang="0">
                <a:pos x="connsiteX49376" y="connsiteY49376"/>
              </a:cxn>
              <a:cxn ang="0">
                <a:pos x="connsiteX49377" y="connsiteY49377"/>
              </a:cxn>
              <a:cxn ang="0">
                <a:pos x="connsiteX49378" y="connsiteY49378"/>
              </a:cxn>
              <a:cxn ang="0">
                <a:pos x="connsiteX49379" y="connsiteY49379"/>
              </a:cxn>
              <a:cxn ang="0">
                <a:pos x="connsiteX49380" y="connsiteY49380"/>
              </a:cxn>
              <a:cxn ang="0">
                <a:pos x="connsiteX49381" y="connsiteY49381"/>
              </a:cxn>
              <a:cxn ang="0">
                <a:pos x="connsiteX49382" y="connsiteY49382"/>
              </a:cxn>
              <a:cxn ang="0">
                <a:pos x="connsiteX49383" y="connsiteY49383"/>
              </a:cxn>
              <a:cxn ang="0">
                <a:pos x="connsiteX49384" y="connsiteY49384"/>
              </a:cxn>
              <a:cxn ang="0">
                <a:pos x="connsiteX49385" y="connsiteY49385"/>
              </a:cxn>
              <a:cxn ang="0">
                <a:pos x="connsiteX49386" y="connsiteY49386"/>
              </a:cxn>
              <a:cxn ang="0">
                <a:pos x="connsiteX49387" y="connsiteY49387"/>
              </a:cxn>
              <a:cxn ang="0">
                <a:pos x="connsiteX49388" y="connsiteY49388"/>
              </a:cxn>
              <a:cxn ang="0">
                <a:pos x="connsiteX49389" y="connsiteY49389"/>
              </a:cxn>
              <a:cxn ang="0">
                <a:pos x="connsiteX49390" y="connsiteY49390"/>
              </a:cxn>
              <a:cxn ang="0">
                <a:pos x="connsiteX49391" y="connsiteY49391"/>
              </a:cxn>
              <a:cxn ang="0">
                <a:pos x="connsiteX49392" y="connsiteY49392"/>
              </a:cxn>
              <a:cxn ang="0">
                <a:pos x="connsiteX49393" y="connsiteY49393"/>
              </a:cxn>
              <a:cxn ang="0">
                <a:pos x="connsiteX49394" y="connsiteY49394"/>
              </a:cxn>
              <a:cxn ang="0">
                <a:pos x="connsiteX49395" y="connsiteY49395"/>
              </a:cxn>
              <a:cxn ang="0">
                <a:pos x="connsiteX49396" y="connsiteY49396"/>
              </a:cxn>
              <a:cxn ang="0">
                <a:pos x="connsiteX49397" y="connsiteY49397"/>
              </a:cxn>
              <a:cxn ang="0">
                <a:pos x="connsiteX49398" y="connsiteY49398"/>
              </a:cxn>
              <a:cxn ang="0">
                <a:pos x="connsiteX49399" y="connsiteY49399"/>
              </a:cxn>
              <a:cxn ang="0">
                <a:pos x="connsiteX49400" y="connsiteY49400"/>
              </a:cxn>
              <a:cxn ang="0">
                <a:pos x="connsiteX49401" y="connsiteY49401"/>
              </a:cxn>
              <a:cxn ang="0">
                <a:pos x="connsiteX49402" y="connsiteY49402"/>
              </a:cxn>
              <a:cxn ang="0">
                <a:pos x="connsiteX49403" y="connsiteY49403"/>
              </a:cxn>
              <a:cxn ang="0">
                <a:pos x="connsiteX49404" y="connsiteY49404"/>
              </a:cxn>
              <a:cxn ang="0">
                <a:pos x="connsiteX49405" y="connsiteY49405"/>
              </a:cxn>
              <a:cxn ang="0">
                <a:pos x="connsiteX49406" y="connsiteY49406"/>
              </a:cxn>
              <a:cxn ang="0">
                <a:pos x="connsiteX49407" y="connsiteY49407"/>
              </a:cxn>
              <a:cxn ang="0">
                <a:pos x="connsiteX49408" y="connsiteY49408"/>
              </a:cxn>
              <a:cxn ang="0">
                <a:pos x="connsiteX49409" y="connsiteY49409"/>
              </a:cxn>
              <a:cxn ang="0">
                <a:pos x="connsiteX49410" y="connsiteY49410"/>
              </a:cxn>
              <a:cxn ang="0">
                <a:pos x="connsiteX49411" y="connsiteY49411"/>
              </a:cxn>
              <a:cxn ang="0">
                <a:pos x="connsiteX49412" y="connsiteY49412"/>
              </a:cxn>
              <a:cxn ang="0">
                <a:pos x="connsiteX49413" y="connsiteY49413"/>
              </a:cxn>
              <a:cxn ang="0">
                <a:pos x="connsiteX49414" y="connsiteY49414"/>
              </a:cxn>
              <a:cxn ang="0">
                <a:pos x="connsiteX49415" y="connsiteY49415"/>
              </a:cxn>
              <a:cxn ang="0">
                <a:pos x="connsiteX49416" y="connsiteY49416"/>
              </a:cxn>
              <a:cxn ang="0">
                <a:pos x="connsiteX49417" y="connsiteY49417"/>
              </a:cxn>
              <a:cxn ang="0">
                <a:pos x="connsiteX49418" y="connsiteY49418"/>
              </a:cxn>
              <a:cxn ang="0">
                <a:pos x="connsiteX49419" y="connsiteY49419"/>
              </a:cxn>
              <a:cxn ang="0">
                <a:pos x="connsiteX49420" y="connsiteY49420"/>
              </a:cxn>
              <a:cxn ang="0">
                <a:pos x="connsiteX49421" y="connsiteY49421"/>
              </a:cxn>
              <a:cxn ang="0">
                <a:pos x="connsiteX49422" y="connsiteY49422"/>
              </a:cxn>
              <a:cxn ang="0">
                <a:pos x="connsiteX49423" y="connsiteY49423"/>
              </a:cxn>
              <a:cxn ang="0">
                <a:pos x="connsiteX49424" y="connsiteY49424"/>
              </a:cxn>
              <a:cxn ang="0">
                <a:pos x="connsiteX49425" y="connsiteY49425"/>
              </a:cxn>
              <a:cxn ang="0">
                <a:pos x="connsiteX49426" y="connsiteY49426"/>
              </a:cxn>
              <a:cxn ang="0">
                <a:pos x="connsiteX49427" y="connsiteY49427"/>
              </a:cxn>
              <a:cxn ang="0">
                <a:pos x="connsiteX49428" y="connsiteY49428"/>
              </a:cxn>
              <a:cxn ang="0">
                <a:pos x="connsiteX49429" y="connsiteY49429"/>
              </a:cxn>
              <a:cxn ang="0">
                <a:pos x="connsiteX49430" y="connsiteY49430"/>
              </a:cxn>
              <a:cxn ang="0">
                <a:pos x="connsiteX49431" y="connsiteY49431"/>
              </a:cxn>
              <a:cxn ang="0">
                <a:pos x="connsiteX49432" y="connsiteY49432"/>
              </a:cxn>
              <a:cxn ang="0">
                <a:pos x="connsiteX49433" y="connsiteY49433"/>
              </a:cxn>
              <a:cxn ang="0">
                <a:pos x="connsiteX49434" y="connsiteY49434"/>
              </a:cxn>
              <a:cxn ang="0">
                <a:pos x="connsiteX49435" y="connsiteY49435"/>
              </a:cxn>
              <a:cxn ang="0">
                <a:pos x="connsiteX49436" y="connsiteY49436"/>
              </a:cxn>
              <a:cxn ang="0">
                <a:pos x="connsiteX49437" y="connsiteY49437"/>
              </a:cxn>
              <a:cxn ang="0">
                <a:pos x="connsiteX49438" y="connsiteY49438"/>
              </a:cxn>
              <a:cxn ang="0">
                <a:pos x="connsiteX49439" y="connsiteY49439"/>
              </a:cxn>
              <a:cxn ang="0">
                <a:pos x="connsiteX49440" y="connsiteY49440"/>
              </a:cxn>
              <a:cxn ang="0">
                <a:pos x="connsiteX49441" y="connsiteY49441"/>
              </a:cxn>
              <a:cxn ang="0">
                <a:pos x="connsiteX49442" y="connsiteY49442"/>
              </a:cxn>
              <a:cxn ang="0">
                <a:pos x="connsiteX49443" y="connsiteY49443"/>
              </a:cxn>
              <a:cxn ang="0">
                <a:pos x="connsiteX49444" y="connsiteY49444"/>
              </a:cxn>
              <a:cxn ang="0">
                <a:pos x="connsiteX49445" y="connsiteY49445"/>
              </a:cxn>
              <a:cxn ang="0">
                <a:pos x="connsiteX49446" y="connsiteY49446"/>
              </a:cxn>
              <a:cxn ang="0">
                <a:pos x="connsiteX49447" y="connsiteY49447"/>
              </a:cxn>
              <a:cxn ang="0">
                <a:pos x="connsiteX49448" y="connsiteY49448"/>
              </a:cxn>
              <a:cxn ang="0">
                <a:pos x="connsiteX49449" y="connsiteY49449"/>
              </a:cxn>
              <a:cxn ang="0">
                <a:pos x="connsiteX49450" y="connsiteY49450"/>
              </a:cxn>
              <a:cxn ang="0">
                <a:pos x="connsiteX49451" y="connsiteY49451"/>
              </a:cxn>
              <a:cxn ang="0">
                <a:pos x="connsiteX49452" y="connsiteY49452"/>
              </a:cxn>
              <a:cxn ang="0">
                <a:pos x="connsiteX49453" y="connsiteY49453"/>
              </a:cxn>
              <a:cxn ang="0">
                <a:pos x="connsiteX49454" y="connsiteY49454"/>
              </a:cxn>
              <a:cxn ang="0">
                <a:pos x="connsiteX49455" y="connsiteY49455"/>
              </a:cxn>
              <a:cxn ang="0">
                <a:pos x="connsiteX49456" y="connsiteY49456"/>
              </a:cxn>
              <a:cxn ang="0">
                <a:pos x="connsiteX49457" y="connsiteY49457"/>
              </a:cxn>
              <a:cxn ang="0">
                <a:pos x="connsiteX49458" y="connsiteY49458"/>
              </a:cxn>
              <a:cxn ang="0">
                <a:pos x="connsiteX49459" y="connsiteY49459"/>
              </a:cxn>
              <a:cxn ang="0">
                <a:pos x="connsiteX49460" y="connsiteY49460"/>
              </a:cxn>
              <a:cxn ang="0">
                <a:pos x="connsiteX49461" y="connsiteY49461"/>
              </a:cxn>
              <a:cxn ang="0">
                <a:pos x="connsiteX49462" y="connsiteY49462"/>
              </a:cxn>
              <a:cxn ang="0">
                <a:pos x="connsiteX49463" y="connsiteY49463"/>
              </a:cxn>
              <a:cxn ang="0">
                <a:pos x="connsiteX49464" y="connsiteY49464"/>
              </a:cxn>
              <a:cxn ang="0">
                <a:pos x="connsiteX49465" y="connsiteY49465"/>
              </a:cxn>
              <a:cxn ang="0">
                <a:pos x="connsiteX49466" y="connsiteY49466"/>
              </a:cxn>
              <a:cxn ang="0">
                <a:pos x="connsiteX49467" y="connsiteY49467"/>
              </a:cxn>
              <a:cxn ang="0">
                <a:pos x="connsiteX49468" y="connsiteY49468"/>
              </a:cxn>
              <a:cxn ang="0">
                <a:pos x="connsiteX49469" y="connsiteY49469"/>
              </a:cxn>
              <a:cxn ang="0">
                <a:pos x="connsiteX49470" y="connsiteY49470"/>
              </a:cxn>
              <a:cxn ang="0">
                <a:pos x="connsiteX49471" y="connsiteY49471"/>
              </a:cxn>
              <a:cxn ang="0">
                <a:pos x="connsiteX49472" y="connsiteY49472"/>
              </a:cxn>
              <a:cxn ang="0">
                <a:pos x="connsiteX49473" y="connsiteY49473"/>
              </a:cxn>
              <a:cxn ang="0">
                <a:pos x="connsiteX49474" y="connsiteY49474"/>
              </a:cxn>
              <a:cxn ang="0">
                <a:pos x="connsiteX49475" y="connsiteY49475"/>
              </a:cxn>
              <a:cxn ang="0">
                <a:pos x="connsiteX49476" y="connsiteY49476"/>
              </a:cxn>
              <a:cxn ang="0">
                <a:pos x="connsiteX49477" y="connsiteY49477"/>
              </a:cxn>
              <a:cxn ang="0">
                <a:pos x="connsiteX49478" y="connsiteY49478"/>
              </a:cxn>
              <a:cxn ang="0">
                <a:pos x="connsiteX49479" y="connsiteY49479"/>
              </a:cxn>
              <a:cxn ang="0">
                <a:pos x="connsiteX49480" y="connsiteY49480"/>
              </a:cxn>
              <a:cxn ang="0">
                <a:pos x="connsiteX49481" y="connsiteY49481"/>
              </a:cxn>
              <a:cxn ang="0">
                <a:pos x="connsiteX49482" y="connsiteY49482"/>
              </a:cxn>
              <a:cxn ang="0">
                <a:pos x="connsiteX49483" y="connsiteY49483"/>
              </a:cxn>
              <a:cxn ang="0">
                <a:pos x="connsiteX49484" y="connsiteY49484"/>
              </a:cxn>
              <a:cxn ang="0">
                <a:pos x="connsiteX49485" y="connsiteY49485"/>
              </a:cxn>
              <a:cxn ang="0">
                <a:pos x="connsiteX49486" y="connsiteY49486"/>
              </a:cxn>
              <a:cxn ang="0">
                <a:pos x="connsiteX49487" y="connsiteY49487"/>
              </a:cxn>
              <a:cxn ang="0">
                <a:pos x="connsiteX49488" y="connsiteY49488"/>
              </a:cxn>
              <a:cxn ang="0">
                <a:pos x="connsiteX49489" y="connsiteY49489"/>
              </a:cxn>
              <a:cxn ang="0">
                <a:pos x="connsiteX49490" y="connsiteY49490"/>
              </a:cxn>
              <a:cxn ang="0">
                <a:pos x="connsiteX49491" y="connsiteY49491"/>
              </a:cxn>
              <a:cxn ang="0">
                <a:pos x="connsiteX49492" y="connsiteY49492"/>
              </a:cxn>
              <a:cxn ang="0">
                <a:pos x="connsiteX49493" y="connsiteY49493"/>
              </a:cxn>
              <a:cxn ang="0">
                <a:pos x="connsiteX49494" y="connsiteY49494"/>
              </a:cxn>
              <a:cxn ang="0">
                <a:pos x="connsiteX49495" y="connsiteY49495"/>
              </a:cxn>
              <a:cxn ang="0">
                <a:pos x="connsiteX49496" y="connsiteY49496"/>
              </a:cxn>
              <a:cxn ang="0">
                <a:pos x="connsiteX49497" y="connsiteY49497"/>
              </a:cxn>
              <a:cxn ang="0">
                <a:pos x="connsiteX49498" y="connsiteY49498"/>
              </a:cxn>
              <a:cxn ang="0">
                <a:pos x="connsiteX49499" y="connsiteY49499"/>
              </a:cxn>
              <a:cxn ang="0">
                <a:pos x="connsiteX49500" y="connsiteY49500"/>
              </a:cxn>
              <a:cxn ang="0">
                <a:pos x="connsiteX49501" y="connsiteY49501"/>
              </a:cxn>
              <a:cxn ang="0">
                <a:pos x="connsiteX49502" y="connsiteY49502"/>
              </a:cxn>
              <a:cxn ang="0">
                <a:pos x="connsiteX49503" y="connsiteY49503"/>
              </a:cxn>
              <a:cxn ang="0">
                <a:pos x="connsiteX49504" y="connsiteY49504"/>
              </a:cxn>
              <a:cxn ang="0">
                <a:pos x="connsiteX49505" y="connsiteY49505"/>
              </a:cxn>
              <a:cxn ang="0">
                <a:pos x="connsiteX49506" y="connsiteY49506"/>
              </a:cxn>
              <a:cxn ang="0">
                <a:pos x="connsiteX49507" y="connsiteY49507"/>
              </a:cxn>
              <a:cxn ang="0">
                <a:pos x="connsiteX49508" y="connsiteY49508"/>
              </a:cxn>
              <a:cxn ang="0">
                <a:pos x="connsiteX49509" y="connsiteY49509"/>
              </a:cxn>
              <a:cxn ang="0">
                <a:pos x="connsiteX49510" y="connsiteY49510"/>
              </a:cxn>
              <a:cxn ang="0">
                <a:pos x="connsiteX49511" y="connsiteY49511"/>
              </a:cxn>
              <a:cxn ang="0">
                <a:pos x="connsiteX49512" y="connsiteY49512"/>
              </a:cxn>
              <a:cxn ang="0">
                <a:pos x="connsiteX49513" y="connsiteY49513"/>
              </a:cxn>
              <a:cxn ang="0">
                <a:pos x="connsiteX49514" y="connsiteY49514"/>
              </a:cxn>
              <a:cxn ang="0">
                <a:pos x="connsiteX49515" y="connsiteY49515"/>
              </a:cxn>
              <a:cxn ang="0">
                <a:pos x="connsiteX49516" y="connsiteY49516"/>
              </a:cxn>
              <a:cxn ang="0">
                <a:pos x="connsiteX49517" y="connsiteY49517"/>
              </a:cxn>
              <a:cxn ang="0">
                <a:pos x="connsiteX49518" y="connsiteY49518"/>
              </a:cxn>
              <a:cxn ang="0">
                <a:pos x="connsiteX49519" y="connsiteY49519"/>
              </a:cxn>
              <a:cxn ang="0">
                <a:pos x="connsiteX49520" y="connsiteY49520"/>
              </a:cxn>
              <a:cxn ang="0">
                <a:pos x="connsiteX49521" y="connsiteY49521"/>
              </a:cxn>
              <a:cxn ang="0">
                <a:pos x="connsiteX49522" y="connsiteY49522"/>
              </a:cxn>
              <a:cxn ang="0">
                <a:pos x="connsiteX49523" y="connsiteY49523"/>
              </a:cxn>
              <a:cxn ang="0">
                <a:pos x="connsiteX49524" y="connsiteY49524"/>
              </a:cxn>
              <a:cxn ang="0">
                <a:pos x="connsiteX49525" y="connsiteY49525"/>
              </a:cxn>
              <a:cxn ang="0">
                <a:pos x="connsiteX49526" y="connsiteY49526"/>
              </a:cxn>
              <a:cxn ang="0">
                <a:pos x="connsiteX49527" y="connsiteY49527"/>
              </a:cxn>
              <a:cxn ang="0">
                <a:pos x="connsiteX49528" y="connsiteY49528"/>
              </a:cxn>
              <a:cxn ang="0">
                <a:pos x="connsiteX49529" y="connsiteY49529"/>
              </a:cxn>
              <a:cxn ang="0">
                <a:pos x="connsiteX49530" y="connsiteY49530"/>
              </a:cxn>
              <a:cxn ang="0">
                <a:pos x="connsiteX49531" y="connsiteY49531"/>
              </a:cxn>
              <a:cxn ang="0">
                <a:pos x="connsiteX49532" y="connsiteY49532"/>
              </a:cxn>
              <a:cxn ang="0">
                <a:pos x="connsiteX49533" y="connsiteY49533"/>
              </a:cxn>
              <a:cxn ang="0">
                <a:pos x="connsiteX49534" y="connsiteY49534"/>
              </a:cxn>
              <a:cxn ang="0">
                <a:pos x="connsiteX49535" y="connsiteY49535"/>
              </a:cxn>
              <a:cxn ang="0">
                <a:pos x="connsiteX49536" y="connsiteY49536"/>
              </a:cxn>
              <a:cxn ang="0">
                <a:pos x="connsiteX49537" y="connsiteY49537"/>
              </a:cxn>
              <a:cxn ang="0">
                <a:pos x="connsiteX49538" y="connsiteY49538"/>
              </a:cxn>
              <a:cxn ang="0">
                <a:pos x="connsiteX49539" y="connsiteY49539"/>
              </a:cxn>
              <a:cxn ang="0">
                <a:pos x="connsiteX49540" y="connsiteY49540"/>
              </a:cxn>
              <a:cxn ang="0">
                <a:pos x="connsiteX49541" y="connsiteY49541"/>
              </a:cxn>
              <a:cxn ang="0">
                <a:pos x="connsiteX49542" y="connsiteY49542"/>
              </a:cxn>
              <a:cxn ang="0">
                <a:pos x="connsiteX49543" y="connsiteY49543"/>
              </a:cxn>
              <a:cxn ang="0">
                <a:pos x="connsiteX49544" y="connsiteY49544"/>
              </a:cxn>
              <a:cxn ang="0">
                <a:pos x="connsiteX49545" y="connsiteY49545"/>
              </a:cxn>
              <a:cxn ang="0">
                <a:pos x="connsiteX49546" y="connsiteY49546"/>
              </a:cxn>
              <a:cxn ang="0">
                <a:pos x="connsiteX49547" y="connsiteY49547"/>
              </a:cxn>
              <a:cxn ang="0">
                <a:pos x="connsiteX49548" y="connsiteY49548"/>
              </a:cxn>
              <a:cxn ang="0">
                <a:pos x="connsiteX49549" y="connsiteY49549"/>
              </a:cxn>
              <a:cxn ang="0">
                <a:pos x="connsiteX49550" y="connsiteY49550"/>
              </a:cxn>
              <a:cxn ang="0">
                <a:pos x="connsiteX49551" y="connsiteY49551"/>
              </a:cxn>
              <a:cxn ang="0">
                <a:pos x="connsiteX49552" y="connsiteY49552"/>
              </a:cxn>
              <a:cxn ang="0">
                <a:pos x="connsiteX49553" y="connsiteY49553"/>
              </a:cxn>
              <a:cxn ang="0">
                <a:pos x="connsiteX49554" y="connsiteY49554"/>
              </a:cxn>
              <a:cxn ang="0">
                <a:pos x="connsiteX49555" y="connsiteY49555"/>
              </a:cxn>
              <a:cxn ang="0">
                <a:pos x="connsiteX49556" y="connsiteY49556"/>
              </a:cxn>
              <a:cxn ang="0">
                <a:pos x="connsiteX49557" y="connsiteY49557"/>
              </a:cxn>
              <a:cxn ang="0">
                <a:pos x="connsiteX49558" y="connsiteY49558"/>
              </a:cxn>
              <a:cxn ang="0">
                <a:pos x="connsiteX49559" y="connsiteY49559"/>
              </a:cxn>
              <a:cxn ang="0">
                <a:pos x="connsiteX49560" y="connsiteY49560"/>
              </a:cxn>
              <a:cxn ang="0">
                <a:pos x="connsiteX49561" y="connsiteY49561"/>
              </a:cxn>
              <a:cxn ang="0">
                <a:pos x="connsiteX49562" y="connsiteY49562"/>
              </a:cxn>
              <a:cxn ang="0">
                <a:pos x="connsiteX49563" y="connsiteY49563"/>
              </a:cxn>
              <a:cxn ang="0">
                <a:pos x="connsiteX49564" y="connsiteY49564"/>
              </a:cxn>
              <a:cxn ang="0">
                <a:pos x="connsiteX49565" y="connsiteY49565"/>
              </a:cxn>
              <a:cxn ang="0">
                <a:pos x="connsiteX49566" y="connsiteY49566"/>
              </a:cxn>
              <a:cxn ang="0">
                <a:pos x="connsiteX49567" y="connsiteY49567"/>
              </a:cxn>
              <a:cxn ang="0">
                <a:pos x="connsiteX49568" y="connsiteY49568"/>
              </a:cxn>
              <a:cxn ang="0">
                <a:pos x="connsiteX49569" y="connsiteY49569"/>
              </a:cxn>
              <a:cxn ang="0">
                <a:pos x="connsiteX49570" y="connsiteY49570"/>
              </a:cxn>
              <a:cxn ang="0">
                <a:pos x="connsiteX49571" y="connsiteY49571"/>
              </a:cxn>
              <a:cxn ang="0">
                <a:pos x="connsiteX49572" y="connsiteY49572"/>
              </a:cxn>
              <a:cxn ang="0">
                <a:pos x="connsiteX49573" y="connsiteY49573"/>
              </a:cxn>
              <a:cxn ang="0">
                <a:pos x="connsiteX49574" y="connsiteY49574"/>
              </a:cxn>
              <a:cxn ang="0">
                <a:pos x="connsiteX49575" y="connsiteY49575"/>
              </a:cxn>
              <a:cxn ang="0">
                <a:pos x="connsiteX49576" y="connsiteY49576"/>
              </a:cxn>
              <a:cxn ang="0">
                <a:pos x="connsiteX49577" y="connsiteY49577"/>
              </a:cxn>
              <a:cxn ang="0">
                <a:pos x="connsiteX49578" y="connsiteY49578"/>
              </a:cxn>
              <a:cxn ang="0">
                <a:pos x="connsiteX49579" y="connsiteY49579"/>
              </a:cxn>
              <a:cxn ang="0">
                <a:pos x="connsiteX49580" y="connsiteY49580"/>
              </a:cxn>
              <a:cxn ang="0">
                <a:pos x="connsiteX49581" y="connsiteY49581"/>
              </a:cxn>
              <a:cxn ang="0">
                <a:pos x="connsiteX49582" y="connsiteY49582"/>
              </a:cxn>
              <a:cxn ang="0">
                <a:pos x="connsiteX49583" y="connsiteY49583"/>
              </a:cxn>
              <a:cxn ang="0">
                <a:pos x="connsiteX49584" y="connsiteY49584"/>
              </a:cxn>
              <a:cxn ang="0">
                <a:pos x="connsiteX49585" y="connsiteY49585"/>
              </a:cxn>
              <a:cxn ang="0">
                <a:pos x="connsiteX49586" y="connsiteY49586"/>
              </a:cxn>
              <a:cxn ang="0">
                <a:pos x="connsiteX49587" y="connsiteY49587"/>
              </a:cxn>
              <a:cxn ang="0">
                <a:pos x="connsiteX49588" y="connsiteY49588"/>
              </a:cxn>
              <a:cxn ang="0">
                <a:pos x="connsiteX49589" y="connsiteY49589"/>
              </a:cxn>
              <a:cxn ang="0">
                <a:pos x="connsiteX49590" y="connsiteY49590"/>
              </a:cxn>
              <a:cxn ang="0">
                <a:pos x="connsiteX49591" y="connsiteY49591"/>
              </a:cxn>
              <a:cxn ang="0">
                <a:pos x="connsiteX49592" y="connsiteY49592"/>
              </a:cxn>
              <a:cxn ang="0">
                <a:pos x="connsiteX49593" y="connsiteY49593"/>
              </a:cxn>
              <a:cxn ang="0">
                <a:pos x="connsiteX49594" y="connsiteY49594"/>
              </a:cxn>
              <a:cxn ang="0">
                <a:pos x="connsiteX49595" y="connsiteY49595"/>
              </a:cxn>
              <a:cxn ang="0">
                <a:pos x="connsiteX49596" y="connsiteY49596"/>
              </a:cxn>
              <a:cxn ang="0">
                <a:pos x="connsiteX49597" y="connsiteY49597"/>
              </a:cxn>
              <a:cxn ang="0">
                <a:pos x="connsiteX49598" y="connsiteY49598"/>
              </a:cxn>
              <a:cxn ang="0">
                <a:pos x="connsiteX49599" y="connsiteY49599"/>
              </a:cxn>
              <a:cxn ang="0">
                <a:pos x="connsiteX49600" y="connsiteY49600"/>
              </a:cxn>
              <a:cxn ang="0">
                <a:pos x="connsiteX49601" y="connsiteY49601"/>
              </a:cxn>
              <a:cxn ang="0">
                <a:pos x="connsiteX49602" y="connsiteY49602"/>
              </a:cxn>
              <a:cxn ang="0">
                <a:pos x="connsiteX49603" y="connsiteY49603"/>
              </a:cxn>
              <a:cxn ang="0">
                <a:pos x="connsiteX49604" y="connsiteY49604"/>
              </a:cxn>
              <a:cxn ang="0">
                <a:pos x="connsiteX49605" y="connsiteY49605"/>
              </a:cxn>
              <a:cxn ang="0">
                <a:pos x="connsiteX49606" y="connsiteY49606"/>
              </a:cxn>
              <a:cxn ang="0">
                <a:pos x="connsiteX49607" y="connsiteY49607"/>
              </a:cxn>
              <a:cxn ang="0">
                <a:pos x="connsiteX49608" y="connsiteY49608"/>
              </a:cxn>
              <a:cxn ang="0">
                <a:pos x="connsiteX49609" y="connsiteY49609"/>
              </a:cxn>
              <a:cxn ang="0">
                <a:pos x="connsiteX49610" y="connsiteY49610"/>
              </a:cxn>
              <a:cxn ang="0">
                <a:pos x="connsiteX49611" y="connsiteY49611"/>
              </a:cxn>
              <a:cxn ang="0">
                <a:pos x="connsiteX49612" y="connsiteY49612"/>
              </a:cxn>
              <a:cxn ang="0">
                <a:pos x="connsiteX49613" y="connsiteY49613"/>
              </a:cxn>
              <a:cxn ang="0">
                <a:pos x="connsiteX49614" y="connsiteY49614"/>
              </a:cxn>
              <a:cxn ang="0">
                <a:pos x="connsiteX49615" y="connsiteY49615"/>
              </a:cxn>
              <a:cxn ang="0">
                <a:pos x="connsiteX49616" y="connsiteY49616"/>
              </a:cxn>
              <a:cxn ang="0">
                <a:pos x="connsiteX49617" y="connsiteY49617"/>
              </a:cxn>
              <a:cxn ang="0">
                <a:pos x="connsiteX49618" y="connsiteY49618"/>
              </a:cxn>
              <a:cxn ang="0">
                <a:pos x="connsiteX49619" y="connsiteY49619"/>
              </a:cxn>
              <a:cxn ang="0">
                <a:pos x="connsiteX49620" y="connsiteY49620"/>
              </a:cxn>
              <a:cxn ang="0">
                <a:pos x="connsiteX49621" y="connsiteY49621"/>
              </a:cxn>
              <a:cxn ang="0">
                <a:pos x="connsiteX49622" y="connsiteY49622"/>
              </a:cxn>
              <a:cxn ang="0">
                <a:pos x="connsiteX49623" y="connsiteY49623"/>
              </a:cxn>
              <a:cxn ang="0">
                <a:pos x="connsiteX49624" y="connsiteY49624"/>
              </a:cxn>
              <a:cxn ang="0">
                <a:pos x="connsiteX49625" y="connsiteY49625"/>
              </a:cxn>
              <a:cxn ang="0">
                <a:pos x="connsiteX49626" y="connsiteY49626"/>
              </a:cxn>
              <a:cxn ang="0">
                <a:pos x="connsiteX49627" y="connsiteY49627"/>
              </a:cxn>
              <a:cxn ang="0">
                <a:pos x="connsiteX49628" y="connsiteY49628"/>
              </a:cxn>
              <a:cxn ang="0">
                <a:pos x="connsiteX49629" y="connsiteY49629"/>
              </a:cxn>
              <a:cxn ang="0">
                <a:pos x="connsiteX49630" y="connsiteY49630"/>
              </a:cxn>
              <a:cxn ang="0">
                <a:pos x="connsiteX49631" y="connsiteY49631"/>
              </a:cxn>
              <a:cxn ang="0">
                <a:pos x="connsiteX49632" y="connsiteY49632"/>
              </a:cxn>
              <a:cxn ang="0">
                <a:pos x="connsiteX49633" y="connsiteY49633"/>
              </a:cxn>
              <a:cxn ang="0">
                <a:pos x="connsiteX49634" y="connsiteY49634"/>
              </a:cxn>
              <a:cxn ang="0">
                <a:pos x="connsiteX49635" y="connsiteY49635"/>
              </a:cxn>
              <a:cxn ang="0">
                <a:pos x="connsiteX49636" y="connsiteY49636"/>
              </a:cxn>
              <a:cxn ang="0">
                <a:pos x="connsiteX49637" y="connsiteY49637"/>
              </a:cxn>
              <a:cxn ang="0">
                <a:pos x="connsiteX49638" y="connsiteY49638"/>
              </a:cxn>
              <a:cxn ang="0">
                <a:pos x="connsiteX49639" y="connsiteY49639"/>
              </a:cxn>
              <a:cxn ang="0">
                <a:pos x="connsiteX49640" y="connsiteY49640"/>
              </a:cxn>
              <a:cxn ang="0">
                <a:pos x="connsiteX49641" y="connsiteY49641"/>
              </a:cxn>
              <a:cxn ang="0">
                <a:pos x="connsiteX49642" y="connsiteY49642"/>
              </a:cxn>
              <a:cxn ang="0">
                <a:pos x="connsiteX49643" y="connsiteY49643"/>
              </a:cxn>
              <a:cxn ang="0">
                <a:pos x="connsiteX49644" y="connsiteY49644"/>
              </a:cxn>
              <a:cxn ang="0">
                <a:pos x="connsiteX49645" y="connsiteY49645"/>
              </a:cxn>
              <a:cxn ang="0">
                <a:pos x="connsiteX49646" y="connsiteY49646"/>
              </a:cxn>
              <a:cxn ang="0">
                <a:pos x="connsiteX49647" y="connsiteY49647"/>
              </a:cxn>
              <a:cxn ang="0">
                <a:pos x="connsiteX49648" y="connsiteY49648"/>
              </a:cxn>
              <a:cxn ang="0">
                <a:pos x="connsiteX49649" y="connsiteY49649"/>
              </a:cxn>
              <a:cxn ang="0">
                <a:pos x="connsiteX49650" y="connsiteY49650"/>
              </a:cxn>
              <a:cxn ang="0">
                <a:pos x="connsiteX49651" y="connsiteY49651"/>
              </a:cxn>
              <a:cxn ang="0">
                <a:pos x="connsiteX49652" y="connsiteY49652"/>
              </a:cxn>
              <a:cxn ang="0">
                <a:pos x="connsiteX49653" y="connsiteY49653"/>
              </a:cxn>
              <a:cxn ang="0">
                <a:pos x="connsiteX49654" y="connsiteY49654"/>
              </a:cxn>
              <a:cxn ang="0">
                <a:pos x="connsiteX49655" y="connsiteY49655"/>
              </a:cxn>
              <a:cxn ang="0">
                <a:pos x="connsiteX49656" y="connsiteY49656"/>
              </a:cxn>
              <a:cxn ang="0">
                <a:pos x="connsiteX49657" y="connsiteY49657"/>
              </a:cxn>
              <a:cxn ang="0">
                <a:pos x="connsiteX49658" y="connsiteY49658"/>
              </a:cxn>
              <a:cxn ang="0">
                <a:pos x="connsiteX49659" y="connsiteY49659"/>
              </a:cxn>
              <a:cxn ang="0">
                <a:pos x="connsiteX49660" y="connsiteY49660"/>
              </a:cxn>
              <a:cxn ang="0">
                <a:pos x="connsiteX49661" y="connsiteY49661"/>
              </a:cxn>
              <a:cxn ang="0">
                <a:pos x="connsiteX49662" y="connsiteY49662"/>
              </a:cxn>
              <a:cxn ang="0">
                <a:pos x="connsiteX49663" y="connsiteY49663"/>
              </a:cxn>
              <a:cxn ang="0">
                <a:pos x="connsiteX49664" y="connsiteY49664"/>
              </a:cxn>
              <a:cxn ang="0">
                <a:pos x="connsiteX49665" y="connsiteY49665"/>
              </a:cxn>
              <a:cxn ang="0">
                <a:pos x="connsiteX49666" y="connsiteY49666"/>
              </a:cxn>
              <a:cxn ang="0">
                <a:pos x="connsiteX49667" y="connsiteY49667"/>
              </a:cxn>
              <a:cxn ang="0">
                <a:pos x="connsiteX49668" y="connsiteY49668"/>
              </a:cxn>
              <a:cxn ang="0">
                <a:pos x="connsiteX49669" y="connsiteY49669"/>
              </a:cxn>
              <a:cxn ang="0">
                <a:pos x="connsiteX49670" y="connsiteY49670"/>
              </a:cxn>
              <a:cxn ang="0">
                <a:pos x="connsiteX49671" y="connsiteY49671"/>
              </a:cxn>
              <a:cxn ang="0">
                <a:pos x="connsiteX49672" y="connsiteY49672"/>
              </a:cxn>
              <a:cxn ang="0">
                <a:pos x="connsiteX49673" y="connsiteY49673"/>
              </a:cxn>
              <a:cxn ang="0">
                <a:pos x="connsiteX49674" y="connsiteY49674"/>
              </a:cxn>
              <a:cxn ang="0">
                <a:pos x="connsiteX49675" y="connsiteY49675"/>
              </a:cxn>
              <a:cxn ang="0">
                <a:pos x="connsiteX49676" y="connsiteY49676"/>
              </a:cxn>
              <a:cxn ang="0">
                <a:pos x="connsiteX49677" y="connsiteY49677"/>
              </a:cxn>
              <a:cxn ang="0">
                <a:pos x="connsiteX49678" y="connsiteY49678"/>
              </a:cxn>
              <a:cxn ang="0">
                <a:pos x="connsiteX49679" y="connsiteY49679"/>
              </a:cxn>
              <a:cxn ang="0">
                <a:pos x="connsiteX49680" y="connsiteY49680"/>
              </a:cxn>
              <a:cxn ang="0">
                <a:pos x="connsiteX49681" y="connsiteY49681"/>
              </a:cxn>
              <a:cxn ang="0">
                <a:pos x="connsiteX49682" y="connsiteY49682"/>
              </a:cxn>
              <a:cxn ang="0">
                <a:pos x="connsiteX49683" y="connsiteY49683"/>
              </a:cxn>
              <a:cxn ang="0">
                <a:pos x="connsiteX49684" y="connsiteY49684"/>
              </a:cxn>
              <a:cxn ang="0">
                <a:pos x="connsiteX49685" y="connsiteY49685"/>
              </a:cxn>
              <a:cxn ang="0">
                <a:pos x="connsiteX49686" y="connsiteY49686"/>
              </a:cxn>
              <a:cxn ang="0">
                <a:pos x="connsiteX49687" y="connsiteY49687"/>
              </a:cxn>
              <a:cxn ang="0">
                <a:pos x="connsiteX49688" y="connsiteY49688"/>
              </a:cxn>
              <a:cxn ang="0">
                <a:pos x="connsiteX49689" y="connsiteY49689"/>
              </a:cxn>
              <a:cxn ang="0">
                <a:pos x="connsiteX49690" y="connsiteY49690"/>
              </a:cxn>
              <a:cxn ang="0">
                <a:pos x="connsiteX49691" y="connsiteY49691"/>
              </a:cxn>
              <a:cxn ang="0">
                <a:pos x="connsiteX49692" y="connsiteY49692"/>
              </a:cxn>
              <a:cxn ang="0">
                <a:pos x="connsiteX49693" y="connsiteY49693"/>
              </a:cxn>
              <a:cxn ang="0">
                <a:pos x="connsiteX49694" y="connsiteY49694"/>
              </a:cxn>
              <a:cxn ang="0">
                <a:pos x="connsiteX49695" y="connsiteY49695"/>
              </a:cxn>
              <a:cxn ang="0">
                <a:pos x="connsiteX49696" y="connsiteY49696"/>
              </a:cxn>
              <a:cxn ang="0">
                <a:pos x="connsiteX49697" y="connsiteY49697"/>
              </a:cxn>
              <a:cxn ang="0">
                <a:pos x="connsiteX49698" y="connsiteY49698"/>
              </a:cxn>
              <a:cxn ang="0">
                <a:pos x="connsiteX49699" y="connsiteY49699"/>
              </a:cxn>
              <a:cxn ang="0">
                <a:pos x="connsiteX49700" y="connsiteY49700"/>
              </a:cxn>
              <a:cxn ang="0">
                <a:pos x="connsiteX49701" y="connsiteY49701"/>
              </a:cxn>
              <a:cxn ang="0">
                <a:pos x="connsiteX49702" y="connsiteY49702"/>
              </a:cxn>
              <a:cxn ang="0">
                <a:pos x="connsiteX49703" y="connsiteY49703"/>
              </a:cxn>
              <a:cxn ang="0">
                <a:pos x="connsiteX49704" y="connsiteY49704"/>
              </a:cxn>
              <a:cxn ang="0">
                <a:pos x="connsiteX49705" y="connsiteY49705"/>
              </a:cxn>
              <a:cxn ang="0">
                <a:pos x="connsiteX49706" y="connsiteY49706"/>
              </a:cxn>
              <a:cxn ang="0">
                <a:pos x="connsiteX49707" y="connsiteY49707"/>
              </a:cxn>
              <a:cxn ang="0">
                <a:pos x="connsiteX49708" y="connsiteY49708"/>
              </a:cxn>
              <a:cxn ang="0">
                <a:pos x="connsiteX49709" y="connsiteY49709"/>
              </a:cxn>
              <a:cxn ang="0">
                <a:pos x="connsiteX49710" y="connsiteY49710"/>
              </a:cxn>
              <a:cxn ang="0">
                <a:pos x="connsiteX49711" y="connsiteY49711"/>
              </a:cxn>
              <a:cxn ang="0">
                <a:pos x="connsiteX49712" y="connsiteY49712"/>
              </a:cxn>
              <a:cxn ang="0">
                <a:pos x="connsiteX49713" y="connsiteY49713"/>
              </a:cxn>
              <a:cxn ang="0">
                <a:pos x="connsiteX49714" y="connsiteY49714"/>
              </a:cxn>
              <a:cxn ang="0">
                <a:pos x="connsiteX49715" y="connsiteY49715"/>
              </a:cxn>
              <a:cxn ang="0">
                <a:pos x="connsiteX49716" y="connsiteY49716"/>
              </a:cxn>
              <a:cxn ang="0">
                <a:pos x="connsiteX49717" y="connsiteY49717"/>
              </a:cxn>
              <a:cxn ang="0">
                <a:pos x="connsiteX49718" y="connsiteY49718"/>
              </a:cxn>
              <a:cxn ang="0">
                <a:pos x="connsiteX49719" y="connsiteY49719"/>
              </a:cxn>
              <a:cxn ang="0">
                <a:pos x="connsiteX49720" y="connsiteY49720"/>
              </a:cxn>
              <a:cxn ang="0">
                <a:pos x="connsiteX49721" y="connsiteY49721"/>
              </a:cxn>
              <a:cxn ang="0">
                <a:pos x="connsiteX49722" y="connsiteY49722"/>
              </a:cxn>
              <a:cxn ang="0">
                <a:pos x="connsiteX49723" y="connsiteY49723"/>
              </a:cxn>
              <a:cxn ang="0">
                <a:pos x="connsiteX49724" y="connsiteY49724"/>
              </a:cxn>
              <a:cxn ang="0">
                <a:pos x="connsiteX49725" y="connsiteY49725"/>
              </a:cxn>
              <a:cxn ang="0">
                <a:pos x="connsiteX49726" y="connsiteY49726"/>
              </a:cxn>
              <a:cxn ang="0">
                <a:pos x="connsiteX49727" y="connsiteY49727"/>
              </a:cxn>
              <a:cxn ang="0">
                <a:pos x="connsiteX49728" y="connsiteY49728"/>
              </a:cxn>
              <a:cxn ang="0">
                <a:pos x="connsiteX49729" y="connsiteY49729"/>
              </a:cxn>
              <a:cxn ang="0">
                <a:pos x="connsiteX49730" y="connsiteY49730"/>
              </a:cxn>
              <a:cxn ang="0">
                <a:pos x="connsiteX49731" y="connsiteY49731"/>
              </a:cxn>
              <a:cxn ang="0">
                <a:pos x="connsiteX49732" y="connsiteY49732"/>
              </a:cxn>
              <a:cxn ang="0">
                <a:pos x="connsiteX49733" y="connsiteY49733"/>
              </a:cxn>
              <a:cxn ang="0">
                <a:pos x="connsiteX49734" y="connsiteY49734"/>
              </a:cxn>
              <a:cxn ang="0">
                <a:pos x="connsiteX49735" y="connsiteY49735"/>
              </a:cxn>
              <a:cxn ang="0">
                <a:pos x="connsiteX49736" y="connsiteY49736"/>
              </a:cxn>
              <a:cxn ang="0">
                <a:pos x="connsiteX49737" y="connsiteY49737"/>
              </a:cxn>
              <a:cxn ang="0">
                <a:pos x="connsiteX49738" y="connsiteY49738"/>
              </a:cxn>
              <a:cxn ang="0">
                <a:pos x="connsiteX49739" y="connsiteY49739"/>
              </a:cxn>
              <a:cxn ang="0">
                <a:pos x="connsiteX49740" y="connsiteY49740"/>
              </a:cxn>
              <a:cxn ang="0">
                <a:pos x="connsiteX49741" y="connsiteY49741"/>
              </a:cxn>
              <a:cxn ang="0">
                <a:pos x="connsiteX49742" y="connsiteY49742"/>
              </a:cxn>
              <a:cxn ang="0">
                <a:pos x="connsiteX49743" y="connsiteY49743"/>
              </a:cxn>
              <a:cxn ang="0">
                <a:pos x="connsiteX49744" y="connsiteY49744"/>
              </a:cxn>
              <a:cxn ang="0">
                <a:pos x="connsiteX49745" y="connsiteY49745"/>
              </a:cxn>
              <a:cxn ang="0">
                <a:pos x="connsiteX49746" y="connsiteY49746"/>
              </a:cxn>
              <a:cxn ang="0">
                <a:pos x="connsiteX49747" y="connsiteY49747"/>
              </a:cxn>
              <a:cxn ang="0">
                <a:pos x="connsiteX49748" y="connsiteY49748"/>
              </a:cxn>
              <a:cxn ang="0">
                <a:pos x="connsiteX49749" y="connsiteY49749"/>
              </a:cxn>
              <a:cxn ang="0">
                <a:pos x="connsiteX49750" y="connsiteY49750"/>
              </a:cxn>
              <a:cxn ang="0">
                <a:pos x="connsiteX49751" y="connsiteY49751"/>
              </a:cxn>
              <a:cxn ang="0">
                <a:pos x="connsiteX49752" y="connsiteY49752"/>
              </a:cxn>
              <a:cxn ang="0">
                <a:pos x="connsiteX49753" y="connsiteY49753"/>
              </a:cxn>
              <a:cxn ang="0">
                <a:pos x="connsiteX49754" y="connsiteY49754"/>
              </a:cxn>
              <a:cxn ang="0">
                <a:pos x="connsiteX49755" y="connsiteY49755"/>
              </a:cxn>
              <a:cxn ang="0">
                <a:pos x="connsiteX49756" y="connsiteY49756"/>
              </a:cxn>
              <a:cxn ang="0">
                <a:pos x="connsiteX49757" y="connsiteY49757"/>
              </a:cxn>
              <a:cxn ang="0">
                <a:pos x="connsiteX49758" y="connsiteY49758"/>
              </a:cxn>
              <a:cxn ang="0">
                <a:pos x="connsiteX49759" y="connsiteY49759"/>
              </a:cxn>
              <a:cxn ang="0">
                <a:pos x="connsiteX49760" y="connsiteY49760"/>
              </a:cxn>
              <a:cxn ang="0">
                <a:pos x="connsiteX49761" y="connsiteY49761"/>
              </a:cxn>
              <a:cxn ang="0">
                <a:pos x="connsiteX49762" y="connsiteY49762"/>
              </a:cxn>
              <a:cxn ang="0">
                <a:pos x="connsiteX49763" y="connsiteY49763"/>
              </a:cxn>
              <a:cxn ang="0">
                <a:pos x="connsiteX49764" y="connsiteY49764"/>
              </a:cxn>
              <a:cxn ang="0">
                <a:pos x="connsiteX49765" y="connsiteY49765"/>
              </a:cxn>
              <a:cxn ang="0">
                <a:pos x="connsiteX49766" y="connsiteY49766"/>
              </a:cxn>
              <a:cxn ang="0">
                <a:pos x="connsiteX49767" y="connsiteY49767"/>
              </a:cxn>
              <a:cxn ang="0">
                <a:pos x="connsiteX49768" y="connsiteY49768"/>
              </a:cxn>
              <a:cxn ang="0">
                <a:pos x="connsiteX49769" y="connsiteY49769"/>
              </a:cxn>
              <a:cxn ang="0">
                <a:pos x="connsiteX49770" y="connsiteY49770"/>
              </a:cxn>
              <a:cxn ang="0">
                <a:pos x="connsiteX49771" y="connsiteY49771"/>
              </a:cxn>
              <a:cxn ang="0">
                <a:pos x="connsiteX49772" y="connsiteY49772"/>
              </a:cxn>
              <a:cxn ang="0">
                <a:pos x="connsiteX49773" y="connsiteY49773"/>
              </a:cxn>
              <a:cxn ang="0">
                <a:pos x="connsiteX49774" y="connsiteY49774"/>
              </a:cxn>
              <a:cxn ang="0">
                <a:pos x="connsiteX49775" y="connsiteY49775"/>
              </a:cxn>
              <a:cxn ang="0">
                <a:pos x="connsiteX49776" y="connsiteY49776"/>
              </a:cxn>
              <a:cxn ang="0">
                <a:pos x="connsiteX49777" y="connsiteY49777"/>
              </a:cxn>
              <a:cxn ang="0">
                <a:pos x="connsiteX49778" y="connsiteY49778"/>
              </a:cxn>
              <a:cxn ang="0">
                <a:pos x="connsiteX49779" y="connsiteY49779"/>
              </a:cxn>
              <a:cxn ang="0">
                <a:pos x="connsiteX49780" y="connsiteY49780"/>
              </a:cxn>
              <a:cxn ang="0">
                <a:pos x="connsiteX49781" y="connsiteY49781"/>
              </a:cxn>
              <a:cxn ang="0">
                <a:pos x="connsiteX49782" y="connsiteY49782"/>
              </a:cxn>
              <a:cxn ang="0">
                <a:pos x="connsiteX49783" y="connsiteY49783"/>
              </a:cxn>
              <a:cxn ang="0">
                <a:pos x="connsiteX49784" y="connsiteY49784"/>
              </a:cxn>
              <a:cxn ang="0">
                <a:pos x="connsiteX49785" y="connsiteY49785"/>
              </a:cxn>
              <a:cxn ang="0">
                <a:pos x="connsiteX49786" y="connsiteY49786"/>
              </a:cxn>
              <a:cxn ang="0">
                <a:pos x="connsiteX49787" y="connsiteY49787"/>
              </a:cxn>
              <a:cxn ang="0">
                <a:pos x="connsiteX49788" y="connsiteY49788"/>
              </a:cxn>
              <a:cxn ang="0">
                <a:pos x="connsiteX49789" y="connsiteY49789"/>
              </a:cxn>
              <a:cxn ang="0">
                <a:pos x="connsiteX49790" y="connsiteY49790"/>
              </a:cxn>
              <a:cxn ang="0">
                <a:pos x="connsiteX49791" y="connsiteY49791"/>
              </a:cxn>
              <a:cxn ang="0">
                <a:pos x="connsiteX49792" y="connsiteY49792"/>
              </a:cxn>
              <a:cxn ang="0">
                <a:pos x="connsiteX49793" y="connsiteY49793"/>
              </a:cxn>
              <a:cxn ang="0">
                <a:pos x="connsiteX49794" y="connsiteY49794"/>
              </a:cxn>
              <a:cxn ang="0">
                <a:pos x="connsiteX49795" y="connsiteY49795"/>
              </a:cxn>
              <a:cxn ang="0">
                <a:pos x="connsiteX49796" y="connsiteY49796"/>
              </a:cxn>
              <a:cxn ang="0">
                <a:pos x="connsiteX49797" y="connsiteY49797"/>
              </a:cxn>
              <a:cxn ang="0">
                <a:pos x="connsiteX49798" y="connsiteY49798"/>
              </a:cxn>
              <a:cxn ang="0">
                <a:pos x="connsiteX49799" y="connsiteY49799"/>
              </a:cxn>
              <a:cxn ang="0">
                <a:pos x="connsiteX49800" y="connsiteY49800"/>
              </a:cxn>
              <a:cxn ang="0">
                <a:pos x="connsiteX49801" y="connsiteY49801"/>
              </a:cxn>
              <a:cxn ang="0">
                <a:pos x="connsiteX49802" y="connsiteY49802"/>
              </a:cxn>
              <a:cxn ang="0">
                <a:pos x="connsiteX49803" y="connsiteY49803"/>
              </a:cxn>
              <a:cxn ang="0">
                <a:pos x="connsiteX49804" y="connsiteY49804"/>
              </a:cxn>
              <a:cxn ang="0">
                <a:pos x="connsiteX49805" y="connsiteY49805"/>
              </a:cxn>
              <a:cxn ang="0">
                <a:pos x="connsiteX49806" y="connsiteY49806"/>
              </a:cxn>
              <a:cxn ang="0">
                <a:pos x="connsiteX49807" y="connsiteY49807"/>
              </a:cxn>
              <a:cxn ang="0">
                <a:pos x="connsiteX49808" y="connsiteY49808"/>
              </a:cxn>
              <a:cxn ang="0">
                <a:pos x="connsiteX49809" y="connsiteY49809"/>
              </a:cxn>
              <a:cxn ang="0">
                <a:pos x="connsiteX49810" y="connsiteY49810"/>
              </a:cxn>
              <a:cxn ang="0">
                <a:pos x="connsiteX49811" y="connsiteY49811"/>
              </a:cxn>
              <a:cxn ang="0">
                <a:pos x="connsiteX49812" y="connsiteY49812"/>
              </a:cxn>
              <a:cxn ang="0">
                <a:pos x="connsiteX49813" y="connsiteY49813"/>
              </a:cxn>
              <a:cxn ang="0">
                <a:pos x="connsiteX49814" y="connsiteY49814"/>
              </a:cxn>
              <a:cxn ang="0">
                <a:pos x="connsiteX49815" y="connsiteY49815"/>
              </a:cxn>
              <a:cxn ang="0">
                <a:pos x="connsiteX49816" y="connsiteY49816"/>
              </a:cxn>
              <a:cxn ang="0">
                <a:pos x="connsiteX49817" y="connsiteY49817"/>
              </a:cxn>
              <a:cxn ang="0">
                <a:pos x="connsiteX49818" y="connsiteY49818"/>
              </a:cxn>
              <a:cxn ang="0">
                <a:pos x="connsiteX49819" y="connsiteY49819"/>
              </a:cxn>
              <a:cxn ang="0">
                <a:pos x="connsiteX49820" y="connsiteY49820"/>
              </a:cxn>
              <a:cxn ang="0">
                <a:pos x="connsiteX49821" y="connsiteY49821"/>
              </a:cxn>
              <a:cxn ang="0">
                <a:pos x="connsiteX49822" y="connsiteY49822"/>
              </a:cxn>
              <a:cxn ang="0">
                <a:pos x="connsiteX49823" y="connsiteY49823"/>
              </a:cxn>
              <a:cxn ang="0">
                <a:pos x="connsiteX49824" y="connsiteY49824"/>
              </a:cxn>
              <a:cxn ang="0">
                <a:pos x="connsiteX49825" y="connsiteY49825"/>
              </a:cxn>
              <a:cxn ang="0">
                <a:pos x="connsiteX49826" y="connsiteY49826"/>
              </a:cxn>
              <a:cxn ang="0">
                <a:pos x="connsiteX49827" y="connsiteY49827"/>
              </a:cxn>
              <a:cxn ang="0">
                <a:pos x="connsiteX49828" y="connsiteY49828"/>
              </a:cxn>
              <a:cxn ang="0">
                <a:pos x="connsiteX49829" y="connsiteY49829"/>
              </a:cxn>
              <a:cxn ang="0">
                <a:pos x="connsiteX49830" y="connsiteY49830"/>
              </a:cxn>
              <a:cxn ang="0">
                <a:pos x="connsiteX49831" y="connsiteY49831"/>
              </a:cxn>
              <a:cxn ang="0">
                <a:pos x="connsiteX49832" y="connsiteY49832"/>
              </a:cxn>
              <a:cxn ang="0">
                <a:pos x="connsiteX49833" y="connsiteY49833"/>
              </a:cxn>
              <a:cxn ang="0">
                <a:pos x="connsiteX49834" y="connsiteY49834"/>
              </a:cxn>
              <a:cxn ang="0">
                <a:pos x="connsiteX49835" y="connsiteY49835"/>
              </a:cxn>
              <a:cxn ang="0">
                <a:pos x="connsiteX49836" y="connsiteY49836"/>
              </a:cxn>
              <a:cxn ang="0">
                <a:pos x="connsiteX49837" y="connsiteY49837"/>
              </a:cxn>
              <a:cxn ang="0">
                <a:pos x="connsiteX49838" y="connsiteY49838"/>
              </a:cxn>
              <a:cxn ang="0">
                <a:pos x="connsiteX49839" y="connsiteY49839"/>
              </a:cxn>
              <a:cxn ang="0">
                <a:pos x="connsiteX49840" y="connsiteY49840"/>
              </a:cxn>
              <a:cxn ang="0">
                <a:pos x="connsiteX49841" y="connsiteY49841"/>
              </a:cxn>
              <a:cxn ang="0">
                <a:pos x="connsiteX49842" y="connsiteY49842"/>
              </a:cxn>
              <a:cxn ang="0">
                <a:pos x="connsiteX49843" y="connsiteY49843"/>
              </a:cxn>
              <a:cxn ang="0">
                <a:pos x="connsiteX49844" y="connsiteY49844"/>
              </a:cxn>
              <a:cxn ang="0">
                <a:pos x="connsiteX49845" y="connsiteY49845"/>
              </a:cxn>
              <a:cxn ang="0">
                <a:pos x="connsiteX49846" y="connsiteY49846"/>
              </a:cxn>
              <a:cxn ang="0">
                <a:pos x="connsiteX49847" y="connsiteY49847"/>
              </a:cxn>
              <a:cxn ang="0">
                <a:pos x="connsiteX49848" y="connsiteY49848"/>
              </a:cxn>
              <a:cxn ang="0">
                <a:pos x="connsiteX49849" y="connsiteY49849"/>
              </a:cxn>
              <a:cxn ang="0">
                <a:pos x="connsiteX49850" y="connsiteY49850"/>
              </a:cxn>
              <a:cxn ang="0">
                <a:pos x="connsiteX49851" y="connsiteY49851"/>
              </a:cxn>
              <a:cxn ang="0">
                <a:pos x="connsiteX49852" y="connsiteY49852"/>
              </a:cxn>
              <a:cxn ang="0">
                <a:pos x="connsiteX49853" y="connsiteY49853"/>
              </a:cxn>
              <a:cxn ang="0">
                <a:pos x="connsiteX49854" y="connsiteY49854"/>
              </a:cxn>
              <a:cxn ang="0">
                <a:pos x="connsiteX49855" y="connsiteY49855"/>
              </a:cxn>
              <a:cxn ang="0">
                <a:pos x="connsiteX49856" y="connsiteY49856"/>
              </a:cxn>
              <a:cxn ang="0">
                <a:pos x="connsiteX49857" y="connsiteY49857"/>
              </a:cxn>
              <a:cxn ang="0">
                <a:pos x="connsiteX49858" y="connsiteY49858"/>
              </a:cxn>
              <a:cxn ang="0">
                <a:pos x="connsiteX49859" y="connsiteY49859"/>
              </a:cxn>
              <a:cxn ang="0">
                <a:pos x="connsiteX49860" y="connsiteY49860"/>
              </a:cxn>
              <a:cxn ang="0">
                <a:pos x="connsiteX49861" y="connsiteY49861"/>
              </a:cxn>
              <a:cxn ang="0">
                <a:pos x="connsiteX49862" y="connsiteY49862"/>
              </a:cxn>
              <a:cxn ang="0">
                <a:pos x="connsiteX49863" y="connsiteY49863"/>
              </a:cxn>
              <a:cxn ang="0">
                <a:pos x="connsiteX49864" y="connsiteY49864"/>
              </a:cxn>
              <a:cxn ang="0">
                <a:pos x="connsiteX49865" y="connsiteY49865"/>
              </a:cxn>
              <a:cxn ang="0">
                <a:pos x="connsiteX49866" y="connsiteY49866"/>
              </a:cxn>
              <a:cxn ang="0">
                <a:pos x="connsiteX49867" y="connsiteY49867"/>
              </a:cxn>
              <a:cxn ang="0">
                <a:pos x="connsiteX49868" y="connsiteY49868"/>
              </a:cxn>
              <a:cxn ang="0">
                <a:pos x="connsiteX49869" y="connsiteY49869"/>
              </a:cxn>
              <a:cxn ang="0">
                <a:pos x="connsiteX49870" y="connsiteY49870"/>
              </a:cxn>
              <a:cxn ang="0">
                <a:pos x="connsiteX49871" y="connsiteY49871"/>
              </a:cxn>
              <a:cxn ang="0">
                <a:pos x="connsiteX49872" y="connsiteY49872"/>
              </a:cxn>
              <a:cxn ang="0">
                <a:pos x="connsiteX49873" y="connsiteY49873"/>
              </a:cxn>
              <a:cxn ang="0">
                <a:pos x="connsiteX49874" y="connsiteY49874"/>
              </a:cxn>
              <a:cxn ang="0">
                <a:pos x="connsiteX49875" y="connsiteY49875"/>
              </a:cxn>
              <a:cxn ang="0">
                <a:pos x="connsiteX49876" y="connsiteY49876"/>
              </a:cxn>
              <a:cxn ang="0">
                <a:pos x="connsiteX49877" y="connsiteY49877"/>
              </a:cxn>
              <a:cxn ang="0">
                <a:pos x="connsiteX49878" y="connsiteY49878"/>
              </a:cxn>
              <a:cxn ang="0">
                <a:pos x="connsiteX49879" y="connsiteY49879"/>
              </a:cxn>
              <a:cxn ang="0">
                <a:pos x="connsiteX49880" y="connsiteY49880"/>
              </a:cxn>
              <a:cxn ang="0">
                <a:pos x="connsiteX49881" y="connsiteY49881"/>
              </a:cxn>
              <a:cxn ang="0">
                <a:pos x="connsiteX49882" y="connsiteY49882"/>
              </a:cxn>
              <a:cxn ang="0">
                <a:pos x="connsiteX49883" y="connsiteY49883"/>
              </a:cxn>
              <a:cxn ang="0">
                <a:pos x="connsiteX49884" y="connsiteY49884"/>
              </a:cxn>
              <a:cxn ang="0">
                <a:pos x="connsiteX49885" y="connsiteY49885"/>
              </a:cxn>
              <a:cxn ang="0">
                <a:pos x="connsiteX49886" y="connsiteY49886"/>
              </a:cxn>
              <a:cxn ang="0">
                <a:pos x="connsiteX49887" y="connsiteY49887"/>
              </a:cxn>
              <a:cxn ang="0">
                <a:pos x="connsiteX49888" y="connsiteY49888"/>
              </a:cxn>
              <a:cxn ang="0">
                <a:pos x="connsiteX49889" y="connsiteY49889"/>
              </a:cxn>
              <a:cxn ang="0">
                <a:pos x="connsiteX49890" y="connsiteY49890"/>
              </a:cxn>
              <a:cxn ang="0">
                <a:pos x="connsiteX49891" y="connsiteY49891"/>
              </a:cxn>
              <a:cxn ang="0">
                <a:pos x="connsiteX49892" y="connsiteY49892"/>
              </a:cxn>
              <a:cxn ang="0">
                <a:pos x="connsiteX49893" y="connsiteY49893"/>
              </a:cxn>
              <a:cxn ang="0">
                <a:pos x="connsiteX49894" y="connsiteY49894"/>
              </a:cxn>
              <a:cxn ang="0">
                <a:pos x="connsiteX49895" y="connsiteY49895"/>
              </a:cxn>
              <a:cxn ang="0">
                <a:pos x="connsiteX49896" y="connsiteY49896"/>
              </a:cxn>
              <a:cxn ang="0">
                <a:pos x="connsiteX49897" y="connsiteY49897"/>
              </a:cxn>
              <a:cxn ang="0">
                <a:pos x="connsiteX49898" y="connsiteY49898"/>
              </a:cxn>
              <a:cxn ang="0">
                <a:pos x="connsiteX49899" y="connsiteY49899"/>
              </a:cxn>
              <a:cxn ang="0">
                <a:pos x="connsiteX49900" y="connsiteY49900"/>
              </a:cxn>
              <a:cxn ang="0">
                <a:pos x="connsiteX49901" y="connsiteY49901"/>
              </a:cxn>
              <a:cxn ang="0">
                <a:pos x="connsiteX49902" y="connsiteY49902"/>
              </a:cxn>
              <a:cxn ang="0">
                <a:pos x="connsiteX49903" y="connsiteY49903"/>
              </a:cxn>
              <a:cxn ang="0">
                <a:pos x="connsiteX49904" y="connsiteY49904"/>
              </a:cxn>
              <a:cxn ang="0">
                <a:pos x="connsiteX49905" y="connsiteY49905"/>
              </a:cxn>
              <a:cxn ang="0">
                <a:pos x="connsiteX49906" y="connsiteY49906"/>
              </a:cxn>
              <a:cxn ang="0">
                <a:pos x="connsiteX49907" y="connsiteY49907"/>
              </a:cxn>
              <a:cxn ang="0">
                <a:pos x="connsiteX49908" y="connsiteY49908"/>
              </a:cxn>
              <a:cxn ang="0">
                <a:pos x="connsiteX49909" y="connsiteY49909"/>
              </a:cxn>
              <a:cxn ang="0">
                <a:pos x="connsiteX49910" y="connsiteY49910"/>
              </a:cxn>
              <a:cxn ang="0">
                <a:pos x="connsiteX49911" y="connsiteY49911"/>
              </a:cxn>
              <a:cxn ang="0">
                <a:pos x="connsiteX49912" y="connsiteY49912"/>
              </a:cxn>
              <a:cxn ang="0">
                <a:pos x="connsiteX49913" y="connsiteY49913"/>
              </a:cxn>
              <a:cxn ang="0">
                <a:pos x="connsiteX49914" y="connsiteY49914"/>
              </a:cxn>
              <a:cxn ang="0">
                <a:pos x="connsiteX49915" y="connsiteY49915"/>
              </a:cxn>
              <a:cxn ang="0">
                <a:pos x="connsiteX49916" y="connsiteY49916"/>
              </a:cxn>
              <a:cxn ang="0">
                <a:pos x="connsiteX49917" y="connsiteY49917"/>
              </a:cxn>
              <a:cxn ang="0">
                <a:pos x="connsiteX49918" y="connsiteY49918"/>
              </a:cxn>
              <a:cxn ang="0">
                <a:pos x="connsiteX49919" y="connsiteY49919"/>
              </a:cxn>
              <a:cxn ang="0">
                <a:pos x="connsiteX49920" y="connsiteY49920"/>
              </a:cxn>
              <a:cxn ang="0">
                <a:pos x="connsiteX49921" y="connsiteY49921"/>
              </a:cxn>
              <a:cxn ang="0">
                <a:pos x="connsiteX49922" y="connsiteY49922"/>
              </a:cxn>
              <a:cxn ang="0">
                <a:pos x="connsiteX49923" y="connsiteY49923"/>
              </a:cxn>
              <a:cxn ang="0">
                <a:pos x="connsiteX49924" y="connsiteY49924"/>
              </a:cxn>
              <a:cxn ang="0">
                <a:pos x="connsiteX49925" y="connsiteY49925"/>
              </a:cxn>
              <a:cxn ang="0">
                <a:pos x="connsiteX49926" y="connsiteY49926"/>
              </a:cxn>
              <a:cxn ang="0">
                <a:pos x="connsiteX49927" y="connsiteY49927"/>
              </a:cxn>
              <a:cxn ang="0">
                <a:pos x="connsiteX49928" y="connsiteY49928"/>
              </a:cxn>
              <a:cxn ang="0">
                <a:pos x="connsiteX49929" y="connsiteY49929"/>
              </a:cxn>
              <a:cxn ang="0">
                <a:pos x="connsiteX49930" y="connsiteY49930"/>
              </a:cxn>
              <a:cxn ang="0">
                <a:pos x="connsiteX49931" y="connsiteY49931"/>
              </a:cxn>
              <a:cxn ang="0">
                <a:pos x="connsiteX49932" y="connsiteY49932"/>
              </a:cxn>
              <a:cxn ang="0">
                <a:pos x="connsiteX49933" y="connsiteY49933"/>
              </a:cxn>
              <a:cxn ang="0">
                <a:pos x="connsiteX49934" y="connsiteY49934"/>
              </a:cxn>
              <a:cxn ang="0">
                <a:pos x="connsiteX49935" y="connsiteY49935"/>
              </a:cxn>
              <a:cxn ang="0">
                <a:pos x="connsiteX49936" y="connsiteY49936"/>
              </a:cxn>
              <a:cxn ang="0">
                <a:pos x="connsiteX49937" y="connsiteY49937"/>
              </a:cxn>
              <a:cxn ang="0">
                <a:pos x="connsiteX49938" y="connsiteY49938"/>
              </a:cxn>
              <a:cxn ang="0">
                <a:pos x="connsiteX49939" y="connsiteY49939"/>
              </a:cxn>
              <a:cxn ang="0">
                <a:pos x="connsiteX49940" y="connsiteY49940"/>
              </a:cxn>
              <a:cxn ang="0">
                <a:pos x="connsiteX49941" y="connsiteY49941"/>
              </a:cxn>
              <a:cxn ang="0">
                <a:pos x="connsiteX49942" y="connsiteY49942"/>
              </a:cxn>
              <a:cxn ang="0">
                <a:pos x="connsiteX49943" y="connsiteY49943"/>
              </a:cxn>
              <a:cxn ang="0">
                <a:pos x="connsiteX49944" y="connsiteY49944"/>
              </a:cxn>
              <a:cxn ang="0">
                <a:pos x="connsiteX49945" y="connsiteY49945"/>
              </a:cxn>
              <a:cxn ang="0">
                <a:pos x="connsiteX49946" y="connsiteY49946"/>
              </a:cxn>
              <a:cxn ang="0">
                <a:pos x="connsiteX49947" y="connsiteY49947"/>
              </a:cxn>
              <a:cxn ang="0">
                <a:pos x="connsiteX49948" y="connsiteY49948"/>
              </a:cxn>
              <a:cxn ang="0">
                <a:pos x="connsiteX49949" y="connsiteY49949"/>
              </a:cxn>
              <a:cxn ang="0">
                <a:pos x="connsiteX49950" y="connsiteY49950"/>
              </a:cxn>
              <a:cxn ang="0">
                <a:pos x="connsiteX49951" y="connsiteY49951"/>
              </a:cxn>
              <a:cxn ang="0">
                <a:pos x="connsiteX49952" y="connsiteY49952"/>
              </a:cxn>
              <a:cxn ang="0">
                <a:pos x="connsiteX49953" y="connsiteY49953"/>
              </a:cxn>
              <a:cxn ang="0">
                <a:pos x="connsiteX49954" y="connsiteY49954"/>
              </a:cxn>
              <a:cxn ang="0">
                <a:pos x="connsiteX49955" y="connsiteY49955"/>
              </a:cxn>
              <a:cxn ang="0">
                <a:pos x="connsiteX49956" y="connsiteY49956"/>
              </a:cxn>
              <a:cxn ang="0">
                <a:pos x="connsiteX49957" y="connsiteY49957"/>
              </a:cxn>
              <a:cxn ang="0">
                <a:pos x="connsiteX49958" y="connsiteY49958"/>
              </a:cxn>
              <a:cxn ang="0">
                <a:pos x="connsiteX49959" y="connsiteY49959"/>
              </a:cxn>
              <a:cxn ang="0">
                <a:pos x="connsiteX49960" y="connsiteY49960"/>
              </a:cxn>
              <a:cxn ang="0">
                <a:pos x="connsiteX49961" y="connsiteY49961"/>
              </a:cxn>
              <a:cxn ang="0">
                <a:pos x="connsiteX49962" y="connsiteY49962"/>
              </a:cxn>
              <a:cxn ang="0">
                <a:pos x="connsiteX49963" y="connsiteY49963"/>
              </a:cxn>
              <a:cxn ang="0">
                <a:pos x="connsiteX49964" y="connsiteY49964"/>
              </a:cxn>
              <a:cxn ang="0">
                <a:pos x="connsiteX49965" y="connsiteY49965"/>
              </a:cxn>
              <a:cxn ang="0">
                <a:pos x="connsiteX49966" y="connsiteY49966"/>
              </a:cxn>
              <a:cxn ang="0">
                <a:pos x="connsiteX49967" y="connsiteY49967"/>
              </a:cxn>
              <a:cxn ang="0">
                <a:pos x="connsiteX49968" y="connsiteY49968"/>
              </a:cxn>
              <a:cxn ang="0">
                <a:pos x="connsiteX49969" y="connsiteY49969"/>
              </a:cxn>
              <a:cxn ang="0">
                <a:pos x="connsiteX49970" y="connsiteY49970"/>
              </a:cxn>
              <a:cxn ang="0">
                <a:pos x="connsiteX49971" y="connsiteY49971"/>
              </a:cxn>
              <a:cxn ang="0">
                <a:pos x="connsiteX49972" y="connsiteY49972"/>
              </a:cxn>
              <a:cxn ang="0">
                <a:pos x="connsiteX49973" y="connsiteY49973"/>
              </a:cxn>
              <a:cxn ang="0">
                <a:pos x="connsiteX49974" y="connsiteY49974"/>
              </a:cxn>
              <a:cxn ang="0">
                <a:pos x="connsiteX49975" y="connsiteY49975"/>
              </a:cxn>
              <a:cxn ang="0">
                <a:pos x="connsiteX49976" y="connsiteY49976"/>
              </a:cxn>
              <a:cxn ang="0">
                <a:pos x="connsiteX49977" y="connsiteY49977"/>
              </a:cxn>
              <a:cxn ang="0">
                <a:pos x="connsiteX49978" y="connsiteY49978"/>
              </a:cxn>
              <a:cxn ang="0">
                <a:pos x="connsiteX49979" y="connsiteY49979"/>
              </a:cxn>
              <a:cxn ang="0">
                <a:pos x="connsiteX49980" y="connsiteY49980"/>
              </a:cxn>
              <a:cxn ang="0">
                <a:pos x="connsiteX49981" y="connsiteY49981"/>
              </a:cxn>
              <a:cxn ang="0">
                <a:pos x="connsiteX49982" y="connsiteY49982"/>
              </a:cxn>
              <a:cxn ang="0">
                <a:pos x="connsiteX49983" y="connsiteY49983"/>
              </a:cxn>
              <a:cxn ang="0">
                <a:pos x="connsiteX49984" y="connsiteY49984"/>
              </a:cxn>
              <a:cxn ang="0">
                <a:pos x="connsiteX49985" y="connsiteY49985"/>
              </a:cxn>
              <a:cxn ang="0">
                <a:pos x="connsiteX49986" y="connsiteY49986"/>
              </a:cxn>
              <a:cxn ang="0">
                <a:pos x="connsiteX49987" y="connsiteY49987"/>
              </a:cxn>
              <a:cxn ang="0">
                <a:pos x="connsiteX49988" y="connsiteY49988"/>
              </a:cxn>
              <a:cxn ang="0">
                <a:pos x="connsiteX49989" y="connsiteY49989"/>
              </a:cxn>
              <a:cxn ang="0">
                <a:pos x="connsiteX49990" y="connsiteY49990"/>
              </a:cxn>
              <a:cxn ang="0">
                <a:pos x="connsiteX49991" y="connsiteY49991"/>
              </a:cxn>
              <a:cxn ang="0">
                <a:pos x="connsiteX49992" y="connsiteY49992"/>
              </a:cxn>
              <a:cxn ang="0">
                <a:pos x="connsiteX49993" y="connsiteY49993"/>
              </a:cxn>
              <a:cxn ang="0">
                <a:pos x="connsiteX49994" y="connsiteY49994"/>
              </a:cxn>
              <a:cxn ang="0">
                <a:pos x="connsiteX49995" y="connsiteY49995"/>
              </a:cxn>
              <a:cxn ang="0">
                <a:pos x="connsiteX49996" y="connsiteY49996"/>
              </a:cxn>
              <a:cxn ang="0">
                <a:pos x="connsiteX49997" y="connsiteY49997"/>
              </a:cxn>
              <a:cxn ang="0">
                <a:pos x="connsiteX49998" y="connsiteY49998"/>
              </a:cxn>
              <a:cxn ang="0">
                <a:pos x="connsiteX49999" y="connsiteY49999"/>
              </a:cxn>
              <a:cxn ang="0">
                <a:pos x="connsiteX50000" y="connsiteY50000"/>
              </a:cxn>
              <a:cxn ang="0">
                <a:pos x="connsiteX50001" y="connsiteY50001"/>
              </a:cxn>
              <a:cxn ang="0">
                <a:pos x="connsiteX50002" y="connsiteY50002"/>
              </a:cxn>
              <a:cxn ang="0">
                <a:pos x="connsiteX50003" y="connsiteY50003"/>
              </a:cxn>
              <a:cxn ang="0">
                <a:pos x="connsiteX50004" y="connsiteY50004"/>
              </a:cxn>
              <a:cxn ang="0">
                <a:pos x="connsiteX50005" y="connsiteY50005"/>
              </a:cxn>
              <a:cxn ang="0">
                <a:pos x="connsiteX50006" y="connsiteY50006"/>
              </a:cxn>
              <a:cxn ang="0">
                <a:pos x="connsiteX50007" y="connsiteY50007"/>
              </a:cxn>
              <a:cxn ang="0">
                <a:pos x="connsiteX50008" y="connsiteY50008"/>
              </a:cxn>
              <a:cxn ang="0">
                <a:pos x="connsiteX50009" y="connsiteY50009"/>
              </a:cxn>
              <a:cxn ang="0">
                <a:pos x="connsiteX50010" y="connsiteY50010"/>
              </a:cxn>
              <a:cxn ang="0">
                <a:pos x="connsiteX50011" y="connsiteY50011"/>
              </a:cxn>
              <a:cxn ang="0">
                <a:pos x="connsiteX50012" y="connsiteY50012"/>
              </a:cxn>
              <a:cxn ang="0">
                <a:pos x="connsiteX50013" y="connsiteY50013"/>
              </a:cxn>
              <a:cxn ang="0">
                <a:pos x="connsiteX50014" y="connsiteY50014"/>
              </a:cxn>
              <a:cxn ang="0">
                <a:pos x="connsiteX50015" y="connsiteY50015"/>
              </a:cxn>
              <a:cxn ang="0">
                <a:pos x="connsiteX50016" y="connsiteY50016"/>
              </a:cxn>
              <a:cxn ang="0">
                <a:pos x="connsiteX50017" y="connsiteY50017"/>
              </a:cxn>
              <a:cxn ang="0">
                <a:pos x="connsiteX50018" y="connsiteY50018"/>
              </a:cxn>
              <a:cxn ang="0">
                <a:pos x="connsiteX50019" y="connsiteY50019"/>
              </a:cxn>
              <a:cxn ang="0">
                <a:pos x="connsiteX50020" y="connsiteY50020"/>
              </a:cxn>
              <a:cxn ang="0">
                <a:pos x="connsiteX50021" y="connsiteY50021"/>
              </a:cxn>
              <a:cxn ang="0">
                <a:pos x="connsiteX50022" y="connsiteY50022"/>
              </a:cxn>
              <a:cxn ang="0">
                <a:pos x="connsiteX50023" y="connsiteY50023"/>
              </a:cxn>
              <a:cxn ang="0">
                <a:pos x="connsiteX50024" y="connsiteY50024"/>
              </a:cxn>
              <a:cxn ang="0">
                <a:pos x="connsiteX50025" y="connsiteY50025"/>
              </a:cxn>
              <a:cxn ang="0">
                <a:pos x="connsiteX50026" y="connsiteY50026"/>
              </a:cxn>
              <a:cxn ang="0">
                <a:pos x="connsiteX50027" y="connsiteY50027"/>
              </a:cxn>
              <a:cxn ang="0">
                <a:pos x="connsiteX50028" y="connsiteY50028"/>
              </a:cxn>
              <a:cxn ang="0">
                <a:pos x="connsiteX50029" y="connsiteY50029"/>
              </a:cxn>
              <a:cxn ang="0">
                <a:pos x="connsiteX50030" y="connsiteY50030"/>
              </a:cxn>
              <a:cxn ang="0">
                <a:pos x="connsiteX50031" y="connsiteY50031"/>
              </a:cxn>
              <a:cxn ang="0">
                <a:pos x="connsiteX50032" y="connsiteY50032"/>
              </a:cxn>
              <a:cxn ang="0">
                <a:pos x="connsiteX50033" y="connsiteY50033"/>
              </a:cxn>
              <a:cxn ang="0">
                <a:pos x="connsiteX50034" y="connsiteY50034"/>
              </a:cxn>
              <a:cxn ang="0">
                <a:pos x="connsiteX50035" y="connsiteY50035"/>
              </a:cxn>
              <a:cxn ang="0">
                <a:pos x="connsiteX50036" y="connsiteY50036"/>
              </a:cxn>
              <a:cxn ang="0">
                <a:pos x="connsiteX50037" y="connsiteY50037"/>
              </a:cxn>
              <a:cxn ang="0">
                <a:pos x="connsiteX50038" y="connsiteY50038"/>
              </a:cxn>
              <a:cxn ang="0">
                <a:pos x="connsiteX50039" y="connsiteY50039"/>
              </a:cxn>
              <a:cxn ang="0">
                <a:pos x="connsiteX50040" y="connsiteY50040"/>
              </a:cxn>
              <a:cxn ang="0">
                <a:pos x="connsiteX50041" y="connsiteY50041"/>
              </a:cxn>
              <a:cxn ang="0">
                <a:pos x="connsiteX50042" y="connsiteY50042"/>
              </a:cxn>
              <a:cxn ang="0">
                <a:pos x="connsiteX50043" y="connsiteY50043"/>
              </a:cxn>
              <a:cxn ang="0">
                <a:pos x="connsiteX50044" y="connsiteY50044"/>
              </a:cxn>
              <a:cxn ang="0">
                <a:pos x="connsiteX50045" y="connsiteY50045"/>
              </a:cxn>
              <a:cxn ang="0">
                <a:pos x="connsiteX50046" y="connsiteY50046"/>
              </a:cxn>
              <a:cxn ang="0">
                <a:pos x="connsiteX50047" y="connsiteY50047"/>
              </a:cxn>
              <a:cxn ang="0">
                <a:pos x="connsiteX50048" y="connsiteY50048"/>
              </a:cxn>
              <a:cxn ang="0">
                <a:pos x="connsiteX50049" y="connsiteY50049"/>
              </a:cxn>
              <a:cxn ang="0">
                <a:pos x="connsiteX50050" y="connsiteY50050"/>
              </a:cxn>
              <a:cxn ang="0">
                <a:pos x="connsiteX50051" y="connsiteY50051"/>
              </a:cxn>
              <a:cxn ang="0">
                <a:pos x="connsiteX50052" y="connsiteY50052"/>
              </a:cxn>
              <a:cxn ang="0">
                <a:pos x="connsiteX50053" y="connsiteY50053"/>
              </a:cxn>
              <a:cxn ang="0">
                <a:pos x="connsiteX50054" y="connsiteY50054"/>
              </a:cxn>
              <a:cxn ang="0">
                <a:pos x="connsiteX50055" y="connsiteY50055"/>
              </a:cxn>
              <a:cxn ang="0">
                <a:pos x="connsiteX50056" y="connsiteY50056"/>
              </a:cxn>
              <a:cxn ang="0">
                <a:pos x="connsiteX50057" y="connsiteY50057"/>
              </a:cxn>
              <a:cxn ang="0">
                <a:pos x="connsiteX50058" y="connsiteY50058"/>
              </a:cxn>
              <a:cxn ang="0">
                <a:pos x="connsiteX50059" y="connsiteY50059"/>
              </a:cxn>
              <a:cxn ang="0">
                <a:pos x="connsiteX50060" y="connsiteY50060"/>
              </a:cxn>
              <a:cxn ang="0">
                <a:pos x="connsiteX50061" y="connsiteY50061"/>
              </a:cxn>
              <a:cxn ang="0">
                <a:pos x="connsiteX50062" y="connsiteY50062"/>
              </a:cxn>
              <a:cxn ang="0">
                <a:pos x="connsiteX50063" y="connsiteY50063"/>
              </a:cxn>
              <a:cxn ang="0">
                <a:pos x="connsiteX50064" y="connsiteY50064"/>
              </a:cxn>
              <a:cxn ang="0">
                <a:pos x="connsiteX50065" y="connsiteY50065"/>
              </a:cxn>
              <a:cxn ang="0">
                <a:pos x="connsiteX50066" y="connsiteY50066"/>
              </a:cxn>
              <a:cxn ang="0">
                <a:pos x="connsiteX50067" y="connsiteY50067"/>
              </a:cxn>
              <a:cxn ang="0">
                <a:pos x="connsiteX50068" y="connsiteY50068"/>
              </a:cxn>
              <a:cxn ang="0">
                <a:pos x="connsiteX50069" y="connsiteY50069"/>
              </a:cxn>
              <a:cxn ang="0">
                <a:pos x="connsiteX50070" y="connsiteY50070"/>
              </a:cxn>
              <a:cxn ang="0">
                <a:pos x="connsiteX50071" y="connsiteY50071"/>
              </a:cxn>
              <a:cxn ang="0">
                <a:pos x="connsiteX50072" y="connsiteY50072"/>
              </a:cxn>
              <a:cxn ang="0">
                <a:pos x="connsiteX50073" y="connsiteY50073"/>
              </a:cxn>
              <a:cxn ang="0">
                <a:pos x="connsiteX50074" y="connsiteY50074"/>
              </a:cxn>
              <a:cxn ang="0">
                <a:pos x="connsiteX50075" y="connsiteY50075"/>
              </a:cxn>
              <a:cxn ang="0">
                <a:pos x="connsiteX50076" y="connsiteY50076"/>
              </a:cxn>
              <a:cxn ang="0">
                <a:pos x="connsiteX50077" y="connsiteY50077"/>
              </a:cxn>
              <a:cxn ang="0">
                <a:pos x="connsiteX50078" y="connsiteY50078"/>
              </a:cxn>
              <a:cxn ang="0">
                <a:pos x="connsiteX50079" y="connsiteY50079"/>
              </a:cxn>
              <a:cxn ang="0">
                <a:pos x="connsiteX50080" y="connsiteY50080"/>
              </a:cxn>
              <a:cxn ang="0">
                <a:pos x="connsiteX50081" y="connsiteY50081"/>
              </a:cxn>
              <a:cxn ang="0">
                <a:pos x="connsiteX50082" y="connsiteY50082"/>
              </a:cxn>
              <a:cxn ang="0">
                <a:pos x="connsiteX50083" y="connsiteY50083"/>
              </a:cxn>
              <a:cxn ang="0">
                <a:pos x="connsiteX50084" y="connsiteY50084"/>
              </a:cxn>
              <a:cxn ang="0">
                <a:pos x="connsiteX50085" y="connsiteY50085"/>
              </a:cxn>
              <a:cxn ang="0">
                <a:pos x="connsiteX50086" y="connsiteY50086"/>
              </a:cxn>
              <a:cxn ang="0">
                <a:pos x="connsiteX50087" y="connsiteY50087"/>
              </a:cxn>
              <a:cxn ang="0">
                <a:pos x="connsiteX50088" y="connsiteY50088"/>
              </a:cxn>
              <a:cxn ang="0">
                <a:pos x="connsiteX50089" y="connsiteY50089"/>
              </a:cxn>
              <a:cxn ang="0">
                <a:pos x="connsiteX50090" y="connsiteY50090"/>
              </a:cxn>
              <a:cxn ang="0">
                <a:pos x="connsiteX50091" y="connsiteY50091"/>
              </a:cxn>
              <a:cxn ang="0">
                <a:pos x="connsiteX50092" y="connsiteY50092"/>
              </a:cxn>
              <a:cxn ang="0">
                <a:pos x="connsiteX50093" y="connsiteY50093"/>
              </a:cxn>
              <a:cxn ang="0">
                <a:pos x="connsiteX50094" y="connsiteY50094"/>
              </a:cxn>
              <a:cxn ang="0">
                <a:pos x="connsiteX50095" y="connsiteY50095"/>
              </a:cxn>
              <a:cxn ang="0">
                <a:pos x="connsiteX50096" y="connsiteY50096"/>
              </a:cxn>
              <a:cxn ang="0">
                <a:pos x="connsiteX50097" y="connsiteY50097"/>
              </a:cxn>
              <a:cxn ang="0">
                <a:pos x="connsiteX50098" y="connsiteY50098"/>
              </a:cxn>
              <a:cxn ang="0">
                <a:pos x="connsiteX50099" y="connsiteY50099"/>
              </a:cxn>
              <a:cxn ang="0">
                <a:pos x="connsiteX50100" y="connsiteY50100"/>
              </a:cxn>
              <a:cxn ang="0">
                <a:pos x="connsiteX50101" y="connsiteY50101"/>
              </a:cxn>
              <a:cxn ang="0">
                <a:pos x="connsiteX50102" y="connsiteY50102"/>
              </a:cxn>
              <a:cxn ang="0">
                <a:pos x="connsiteX50103" y="connsiteY50103"/>
              </a:cxn>
              <a:cxn ang="0">
                <a:pos x="connsiteX50104" y="connsiteY50104"/>
              </a:cxn>
              <a:cxn ang="0">
                <a:pos x="connsiteX50105" y="connsiteY50105"/>
              </a:cxn>
              <a:cxn ang="0">
                <a:pos x="connsiteX50106" y="connsiteY50106"/>
              </a:cxn>
              <a:cxn ang="0">
                <a:pos x="connsiteX50107" y="connsiteY50107"/>
              </a:cxn>
              <a:cxn ang="0">
                <a:pos x="connsiteX50108" y="connsiteY50108"/>
              </a:cxn>
              <a:cxn ang="0">
                <a:pos x="connsiteX50109" y="connsiteY50109"/>
              </a:cxn>
              <a:cxn ang="0">
                <a:pos x="connsiteX50110" y="connsiteY50110"/>
              </a:cxn>
              <a:cxn ang="0">
                <a:pos x="connsiteX50111" y="connsiteY50111"/>
              </a:cxn>
              <a:cxn ang="0">
                <a:pos x="connsiteX50112" y="connsiteY50112"/>
              </a:cxn>
              <a:cxn ang="0">
                <a:pos x="connsiteX50113" y="connsiteY50113"/>
              </a:cxn>
              <a:cxn ang="0">
                <a:pos x="connsiteX50114" y="connsiteY50114"/>
              </a:cxn>
              <a:cxn ang="0">
                <a:pos x="connsiteX50115" y="connsiteY50115"/>
              </a:cxn>
              <a:cxn ang="0">
                <a:pos x="connsiteX50116" y="connsiteY50116"/>
              </a:cxn>
              <a:cxn ang="0">
                <a:pos x="connsiteX50117" y="connsiteY50117"/>
              </a:cxn>
              <a:cxn ang="0">
                <a:pos x="connsiteX50118" y="connsiteY50118"/>
              </a:cxn>
              <a:cxn ang="0">
                <a:pos x="connsiteX50119" y="connsiteY50119"/>
              </a:cxn>
              <a:cxn ang="0">
                <a:pos x="connsiteX50120" y="connsiteY50120"/>
              </a:cxn>
              <a:cxn ang="0">
                <a:pos x="connsiteX50121" y="connsiteY50121"/>
              </a:cxn>
              <a:cxn ang="0">
                <a:pos x="connsiteX50122" y="connsiteY50122"/>
              </a:cxn>
              <a:cxn ang="0">
                <a:pos x="connsiteX50123" y="connsiteY50123"/>
              </a:cxn>
              <a:cxn ang="0">
                <a:pos x="connsiteX50124" y="connsiteY50124"/>
              </a:cxn>
              <a:cxn ang="0">
                <a:pos x="connsiteX50125" y="connsiteY50125"/>
              </a:cxn>
              <a:cxn ang="0">
                <a:pos x="connsiteX50126" y="connsiteY50126"/>
              </a:cxn>
              <a:cxn ang="0">
                <a:pos x="connsiteX50127" y="connsiteY50127"/>
              </a:cxn>
              <a:cxn ang="0">
                <a:pos x="connsiteX50128" y="connsiteY50128"/>
              </a:cxn>
              <a:cxn ang="0">
                <a:pos x="connsiteX50129" y="connsiteY50129"/>
              </a:cxn>
              <a:cxn ang="0">
                <a:pos x="connsiteX50130" y="connsiteY50130"/>
              </a:cxn>
              <a:cxn ang="0">
                <a:pos x="connsiteX50131" y="connsiteY50131"/>
              </a:cxn>
              <a:cxn ang="0">
                <a:pos x="connsiteX50132" y="connsiteY50132"/>
              </a:cxn>
              <a:cxn ang="0">
                <a:pos x="connsiteX50133" y="connsiteY50133"/>
              </a:cxn>
              <a:cxn ang="0">
                <a:pos x="connsiteX50134" y="connsiteY50134"/>
              </a:cxn>
              <a:cxn ang="0">
                <a:pos x="connsiteX50135" y="connsiteY50135"/>
              </a:cxn>
              <a:cxn ang="0">
                <a:pos x="connsiteX50136" y="connsiteY50136"/>
              </a:cxn>
              <a:cxn ang="0">
                <a:pos x="connsiteX50137" y="connsiteY50137"/>
              </a:cxn>
              <a:cxn ang="0">
                <a:pos x="connsiteX50138" y="connsiteY50138"/>
              </a:cxn>
              <a:cxn ang="0">
                <a:pos x="connsiteX50139" y="connsiteY50139"/>
              </a:cxn>
              <a:cxn ang="0">
                <a:pos x="connsiteX50140" y="connsiteY50140"/>
              </a:cxn>
              <a:cxn ang="0">
                <a:pos x="connsiteX50141" y="connsiteY50141"/>
              </a:cxn>
              <a:cxn ang="0">
                <a:pos x="connsiteX50142" y="connsiteY50142"/>
              </a:cxn>
              <a:cxn ang="0">
                <a:pos x="connsiteX50143" y="connsiteY50143"/>
              </a:cxn>
              <a:cxn ang="0">
                <a:pos x="connsiteX50144" y="connsiteY50144"/>
              </a:cxn>
              <a:cxn ang="0">
                <a:pos x="connsiteX50145" y="connsiteY50145"/>
              </a:cxn>
              <a:cxn ang="0">
                <a:pos x="connsiteX50146" y="connsiteY50146"/>
              </a:cxn>
              <a:cxn ang="0">
                <a:pos x="connsiteX50147" y="connsiteY50147"/>
              </a:cxn>
              <a:cxn ang="0">
                <a:pos x="connsiteX50148" y="connsiteY50148"/>
              </a:cxn>
              <a:cxn ang="0">
                <a:pos x="connsiteX50149" y="connsiteY50149"/>
              </a:cxn>
              <a:cxn ang="0">
                <a:pos x="connsiteX50150" y="connsiteY50150"/>
              </a:cxn>
              <a:cxn ang="0">
                <a:pos x="connsiteX50151" y="connsiteY50151"/>
              </a:cxn>
              <a:cxn ang="0">
                <a:pos x="connsiteX50152" y="connsiteY50152"/>
              </a:cxn>
              <a:cxn ang="0">
                <a:pos x="connsiteX50153" y="connsiteY50153"/>
              </a:cxn>
              <a:cxn ang="0">
                <a:pos x="connsiteX50154" y="connsiteY50154"/>
              </a:cxn>
              <a:cxn ang="0">
                <a:pos x="connsiteX50155" y="connsiteY50155"/>
              </a:cxn>
              <a:cxn ang="0">
                <a:pos x="connsiteX50156" y="connsiteY50156"/>
              </a:cxn>
              <a:cxn ang="0">
                <a:pos x="connsiteX50157" y="connsiteY50157"/>
              </a:cxn>
              <a:cxn ang="0">
                <a:pos x="connsiteX50158" y="connsiteY50158"/>
              </a:cxn>
              <a:cxn ang="0">
                <a:pos x="connsiteX50159" y="connsiteY50159"/>
              </a:cxn>
              <a:cxn ang="0">
                <a:pos x="connsiteX50160" y="connsiteY50160"/>
              </a:cxn>
              <a:cxn ang="0">
                <a:pos x="connsiteX50161" y="connsiteY50161"/>
              </a:cxn>
              <a:cxn ang="0">
                <a:pos x="connsiteX50162" y="connsiteY50162"/>
              </a:cxn>
              <a:cxn ang="0">
                <a:pos x="connsiteX50163" y="connsiteY50163"/>
              </a:cxn>
              <a:cxn ang="0">
                <a:pos x="connsiteX50164" y="connsiteY50164"/>
              </a:cxn>
              <a:cxn ang="0">
                <a:pos x="connsiteX50165" y="connsiteY50165"/>
              </a:cxn>
              <a:cxn ang="0">
                <a:pos x="connsiteX50166" y="connsiteY50166"/>
              </a:cxn>
              <a:cxn ang="0">
                <a:pos x="connsiteX50167" y="connsiteY50167"/>
              </a:cxn>
              <a:cxn ang="0">
                <a:pos x="connsiteX50168" y="connsiteY50168"/>
              </a:cxn>
              <a:cxn ang="0">
                <a:pos x="connsiteX50169" y="connsiteY50169"/>
              </a:cxn>
              <a:cxn ang="0">
                <a:pos x="connsiteX50170" y="connsiteY50170"/>
              </a:cxn>
              <a:cxn ang="0">
                <a:pos x="connsiteX50171" y="connsiteY50171"/>
              </a:cxn>
              <a:cxn ang="0">
                <a:pos x="connsiteX50172" y="connsiteY50172"/>
              </a:cxn>
              <a:cxn ang="0">
                <a:pos x="connsiteX50173" y="connsiteY50173"/>
              </a:cxn>
              <a:cxn ang="0">
                <a:pos x="connsiteX50174" y="connsiteY50174"/>
              </a:cxn>
              <a:cxn ang="0">
                <a:pos x="connsiteX50175" y="connsiteY50175"/>
              </a:cxn>
              <a:cxn ang="0">
                <a:pos x="connsiteX50176" y="connsiteY50176"/>
              </a:cxn>
              <a:cxn ang="0">
                <a:pos x="connsiteX50177" y="connsiteY50177"/>
              </a:cxn>
              <a:cxn ang="0">
                <a:pos x="connsiteX50178" y="connsiteY50178"/>
              </a:cxn>
              <a:cxn ang="0">
                <a:pos x="connsiteX50179" y="connsiteY50179"/>
              </a:cxn>
              <a:cxn ang="0">
                <a:pos x="connsiteX50180" y="connsiteY50180"/>
              </a:cxn>
              <a:cxn ang="0">
                <a:pos x="connsiteX50181" y="connsiteY50181"/>
              </a:cxn>
              <a:cxn ang="0">
                <a:pos x="connsiteX50182" y="connsiteY50182"/>
              </a:cxn>
              <a:cxn ang="0">
                <a:pos x="connsiteX50183" y="connsiteY50183"/>
              </a:cxn>
              <a:cxn ang="0">
                <a:pos x="connsiteX50184" y="connsiteY50184"/>
              </a:cxn>
              <a:cxn ang="0">
                <a:pos x="connsiteX50185" y="connsiteY50185"/>
              </a:cxn>
              <a:cxn ang="0">
                <a:pos x="connsiteX50186" y="connsiteY50186"/>
              </a:cxn>
              <a:cxn ang="0">
                <a:pos x="connsiteX50187" y="connsiteY50187"/>
              </a:cxn>
              <a:cxn ang="0">
                <a:pos x="connsiteX50188" y="connsiteY50188"/>
              </a:cxn>
              <a:cxn ang="0">
                <a:pos x="connsiteX50189" y="connsiteY50189"/>
              </a:cxn>
              <a:cxn ang="0">
                <a:pos x="connsiteX50190" y="connsiteY50190"/>
              </a:cxn>
              <a:cxn ang="0">
                <a:pos x="connsiteX50191" y="connsiteY50191"/>
              </a:cxn>
              <a:cxn ang="0">
                <a:pos x="connsiteX50192" y="connsiteY50192"/>
              </a:cxn>
              <a:cxn ang="0">
                <a:pos x="connsiteX50193" y="connsiteY50193"/>
              </a:cxn>
              <a:cxn ang="0">
                <a:pos x="connsiteX50194" y="connsiteY50194"/>
              </a:cxn>
              <a:cxn ang="0">
                <a:pos x="connsiteX50195" y="connsiteY50195"/>
              </a:cxn>
              <a:cxn ang="0">
                <a:pos x="connsiteX50196" y="connsiteY50196"/>
              </a:cxn>
              <a:cxn ang="0">
                <a:pos x="connsiteX50197" y="connsiteY50197"/>
              </a:cxn>
              <a:cxn ang="0">
                <a:pos x="connsiteX50198" y="connsiteY50198"/>
              </a:cxn>
              <a:cxn ang="0">
                <a:pos x="connsiteX50199" y="connsiteY50199"/>
              </a:cxn>
              <a:cxn ang="0">
                <a:pos x="connsiteX50200" y="connsiteY50200"/>
              </a:cxn>
              <a:cxn ang="0">
                <a:pos x="connsiteX50201" y="connsiteY50201"/>
              </a:cxn>
              <a:cxn ang="0">
                <a:pos x="connsiteX50202" y="connsiteY50202"/>
              </a:cxn>
              <a:cxn ang="0">
                <a:pos x="connsiteX50203" y="connsiteY50203"/>
              </a:cxn>
              <a:cxn ang="0">
                <a:pos x="connsiteX50204" y="connsiteY50204"/>
              </a:cxn>
              <a:cxn ang="0">
                <a:pos x="connsiteX50205" y="connsiteY50205"/>
              </a:cxn>
              <a:cxn ang="0">
                <a:pos x="connsiteX50206" y="connsiteY50206"/>
              </a:cxn>
              <a:cxn ang="0">
                <a:pos x="connsiteX50207" y="connsiteY50207"/>
              </a:cxn>
              <a:cxn ang="0">
                <a:pos x="connsiteX50208" y="connsiteY50208"/>
              </a:cxn>
              <a:cxn ang="0">
                <a:pos x="connsiteX50209" y="connsiteY50209"/>
              </a:cxn>
              <a:cxn ang="0">
                <a:pos x="connsiteX50210" y="connsiteY50210"/>
              </a:cxn>
              <a:cxn ang="0">
                <a:pos x="connsiteX50211" y="connsiteY50211"/>
              </a:cxn>
              <a:cxn ang="0">
                <a:pos x="connsiteX50212" y="connsiteY50212"/>
              </a:cxn>
              <a:cxn ang="0">
                <a:pos x="connsiteX50213" y="connsiteY50213"/>
              </a:cxn>
              <a:cxn ang="0">
                <a:pos x="connsiteX50214" y="connsiteY50214"/>
              </a:cxn>
              <a:cxn ang="0">
                <a:pos x="connsiteX50215" y="connsiteY50215"/>
              </a:cxn>
              <a:cxn ang="0">
                <a:pos x="connsiteX50216" y="connsiteY50216"/>
              </a:cxn>
              <a:cxn ang="0">
                <a:pos x="connsiteX50217" y="connsiteY50217"/>
              </a:cxn>
              <a:cxn ang="0">
                <a:pos x="connsiteX50218" y="connsiteY50218"/>
              </a:cxn>
              <a:cxn ang="0">
                <a:pos x="connsiteX50219" y="connsiteY50219"/>
              </a:cxn>
              <a:cxn ang="0">
                <a:pos x="connsiteX50220" y="connsiteY50220"/>
              </a:cxn>
              <a:cxn ang="0">
                <a:pos x="connsiteX50221" y="connsiteY50221"/>
              </a:cxn>
              <a:cxn ang="0">
                <a:pos x="connsiteX50222" y="connsiteY50222"/>
              </a:cxn>
              <a:cxn ang="0">
                <a:pos x="connsiteX50223" y="connsiteY50223"/>
              </a:cxn>
              <a:cxn ang="0">
                <a:pos x="connsiteX50224" y="connsiteY50224"/>
              </a:cxn>
              <a:cxn ang="0">
                <a:pos x="connsiteX50225" y="connsiteY50225"/>
              </a:cxn>
              <a:cxn ang="0">
                <a:pos x="connsiteX50226" y="connsiteY50226"/>
              </a:cxn>
              <a:cxn ang="0">
                <a:pos x="connsiteX50227" y="connsiteY50227"/>
              </a:cxn>
              <a:cxn ang="0">
                <a:pos x="connsiteX50228" y="connsiteY50228"/>
              </a:cxn>
              <a:cxn ang="0">
                <a:pos x="connsiteX50229" y="connsiteY50229"/>
              </a:cxn>
              <a:cxn ang="0">
                <a:pos x="connsiteX50230" y="connsiteY50230"/>
              </a:cxn>
              <a:cxn ang="0">
                <a:pos x="connsiteX50231" y="connsiteY50231"/>
              </a:cxn>
              <a:cxn ang="0">
                <a:pos x="connsiteX50232" y="connsiteY50232"/>
              </a:cxn>
              <a:cxn ang="0">
                <a:pos x="connsiteX50233" y="connsiteY50233"/>
              </a:cxn>
              <a:cxn ang="0">
                <a:pos x="connsiteX50234" y="connsiteY50234"/>
              </a:cxn>
              <a:cxn ang="0">
                <a:pos x="connsiteX50235" y="connsiteY50235"/>
              </a:cxn>
              <a:cxn ang="0">
                <a:pos x="connsiteX50236" y="connsiteY50236"/>
              </a:cxn>
              <a:cxn ang="0">
                <a:pos x="connsiteX50237" y="connsiteY50237"/>
              </a:cxn>
              <a:cxn ang="0">
                <a:pos x="connsiteX50238" y="connsiteY50238"/>
              </a:cxn>
              <a:cxn ang="0">
                <a:pos x="connsiteX50239" y="connsiteY50239"/>
              </a:cxn>
              <a:cxn ang="0">
                <a:pos x="connsiteX50240" y="connsiteY50240"/>
              </a:cxn>
              <a:cxn ang="0">
                <a:pos x="connsiteX50241" y="connsiteY50241"/>
              </a:cxn>
              <a:cxn ang="0">
                <a:pos x="connsiteX50242" y="connsiteY50242"/>
              </a:cxn>
              <a:cxn ang="0">
                <a:pos x="connsiteX50243" y="connsiteY50243"/>
              </a:cxn>
              <a:cxn ang="0">
                <a:pos x="connsiteX50244" y="connsiteY50244"/>
              </a:cxn>
              <a:cxn ang="0">
                <a:pos x="connsiteX50245" y="connsiteY50245"/>
              </a:cxn>
              <a:cxn ang="0">
                <a:pos x="connsiteX50246" y="connsiteY50246"/>
              </a:cxn>
              <a:cxn ang="0">
                <a:pos x="connsiteX50247" y="connsiteY50247"/>
              </a:cxn>
              <a:cxn ang="0">
                <a:pos x="connsiteX50248" y="connsiteY50248"/>
              </a:cxn>
              <a:cxn ang="0">
                <a:pos x="connsiteX50249" y="connsiteY50249"/>
              </a:cxn>
              <a:cxn ang="0">
                <a:pos x="connsiteX50250" y="connsiteY50250"/>
              </a:cxn>
              <a:cxn ang="0">
                <a:pos x="connsiteX50251" y="connsiteY50251"/>
              </a:cxn>
              <a:cxn ang="0">
                <a:pos x="connsiteX50252" y="connsiteY50252"/>
              </a:cxn>
              <a:cxn ang="0">
                <a:pos x="connsiteX50253" y="connsiteY50253"/>
              </a:cxn>
              <a:cxn ang="0">
                <a:pos x="connsiteX50254" y="connsiteY50254"/>
              </a:cxn>
              <a:cxn ang="0">
                <a:pos x="connsiteX50255" y="connsiteY50255"/>
              </a:cxn>
              <a:cxn ang="0">
                <a:pos x="connsiteX50256" y="connsiteY50256"/>
              </a:cxn>
              <a:cxn ang="0">
                <a:pos x="connsiteX50257" y="connsiteY50257"/>
              </a:cxn>
              <a:cxn ang="0">
                <a:pos x="connsiteX50258" y="connsiteY50258"/>
              </a:cxn>
              <a:cxn ang="0">
                <a:pos x="connsiteX50259" y="connsiteY50259"/>
              </a:cxn>
              <a:cxn ang="0">
                <a:pos x="connsiteX50260" y="connsiteY50260"/>
              </a:cxn>
              <a:cxn ang="0">
                <a:pos x="connsiteX50261" y="connsiteY50261"/>
              </a:cxn>
              <a:cxn ang="0">
                <a:pos x="connsiteX50262" y="connsiteY50262"/>
              </a:cxn>
              <a:cxn ang="0">
                <a:pos x="connsiteX50263" y="connsiteY50263"/>
              </a:cxn>
              <a:cxn ang="0">
                <a:pos x="connsiteX50264" y="connsiteY50264"/>
              </a:cxn>
              <a:cxn ang="0">
                <a:pos x="connsiteX50265" y="connsiteY50265"/>
              </a:cxn>
              <a:cxn ang="0">
                <a:pos x="connsiteX50266" y="connsiteY50266"/>
              </a:cxn>
              <a:cxn ang="0">
                <a:pos x="connsiteX50267" y="connsiteY50267"/>
              </a:cxn>
              <a:cxn ang="0">
                <a:pos x="connsiteX50268" y="connsiteY50268"/>
              </a:cxn>
              <a:cxn ang="0">
                <a:pos x="connsiteX50269" y="connsiteY50269"/>
              </a:cxn>
              <a:cxn ang="0">
                <a:pos x="connsiteX50270" y="connsiteY50270"/>
              </a:cxn>
              <a:cxn ang="0">
                <a:pos x="connsiteX50271" y="connsiteY50271"/>
              </a:cxn>
              <a:cxn ang="0">
                <a:pos x="connsiteX50272" y="connsiteY50272"/>
              </a:cxn>
              <a:cxn ang="0">
                <a:pos x="connsiteX50273" y="connsiteY50273"/>
              </a:cxn>
              <a:cxn ang="0">
                <a:pos x="connsiteX50274" y="connsiteY50274"/>
              </a:cxn>
              <a:cxn ang="0">
                <a:pos x="connsiteX50275" y="connsiteY50275"/>
              </a:cxn>
              <a:cxn ang="0">
                <a:pos x="connsiteX50276" y="connsiteY50276"/>
              </a:cxn>
              <a:cxn ang="0">
                <a:pos x="connsiteX50277" y="connsiteY50277"/>
              </a:cxn>
              <a:cxn ang="0">
                <a:pos x="connsiteX50278" y="connsiteY50278"/>
              </a:cxn>
              <a:cxn ang="0">
                <a:pos x="connsiteX50279" y="connsiteY50279"/>
              </a:cxn>
              <a:cxn ang="0">
                <a:pos x="connsiteX50280" y="connsiteY50280"/>
              </a:cxn>
              <a:cxn ang="0">
                <a:pos x="connsiteX50281" y="connsiteY50281"/>
              </a:cxn>
              <a:cxn ang="0">
                <a:pos x="connsiteX50282" y="connsiteY50282"/>
              </a:cxn>
              <a:cxn ang="0">
                <a:pos x="connsiteX50283" y="connsiteY50283"/>
              </a:cxn>
              <a:cxn ang="0">
                <a:pos x="connsiteX50284" y="connsiteY50284"/>
              </a:cxn>
              <a:cxn ang="0">
                <a:pos x="connsiteX50285" y="connsiteY50285"/>
              </a:cxn>
              <a:cxn ang="0">
                <a:pos x="connsiteX50286" y="connsiteY50286"/>
              </a:cxn>
              <a:cxn ang="0">
                <a:pos x="connsiteX50287" y="connsiteY50287"/>
              </a:cxn>
              <a:cxn ang="0">
                <a:pos x="connsiteX50288" y="connsiteY50288"/>
              </a:cxn>
              <a:cxn ang="0">
                <a:pos x="connsiteX50289" y="connsiteY50289"/>
              </a:cxn>
              <a:cxn ang="0">
                <a:pos x="connsiteX50290" y="connsiteY50290"/>
              </a:cxn>
              <a:cxn ang="0">
                <a:pos x="connsiteX50291" y="connsiteY50291"/>
              </a:cxn>
              <a:cxn ang="0">
                <a:pos x="connsiteX50292" y="connsiteY50292"/>
              </a:cxn>
              <a:cxn ang="0">
                <a:pos x="connsiteX50293" y="connsiteY50293"/>
              </a:cxn>
              <a:cxn ang="0">
                <a:pos x="connsiteX50294" y="connsiteY50294"/>
              </a:cxn>
              <a:cxn ang="0">
                <a:pos x="connsiteX50295" y="connsiteY50295"/>
              </a:cxn>
              <a:cxn ang="0">
                <a:pos x="connsiteX50296" y="connsiteY50296"/>
              </a:cxn>
              <a:cxn ang="0">
                <a:pos x="connsiteX50297" y="connsiteY50297"/>
              </a:cxn>
              <a:cxn ang="0">
                <a:pos x="connsiteX50298" y="connsiteY50298"/>
              </a:cxn>
              <a:cxn ang="0">
                <a:pos x="connsiteX50299" y="connsiteY50299"/>
              </a:cxn>
              <a:cxn ang="0">
                <a:pos x="connsiteX50300" y="connsiteY50300"/>
              </a:cxn>
              <a:cxn ang="0">
                <a:pos x="connsiteX50301" y="connsiteY50301"/>
              </a:cxn>
              <a:cxn ang="0">
                <a:pos x="connsiteX50302" y="connsiteY50302"/>
              </a:cxn>
              <a:cxn ang="0">
                <a:pos x="connsiteX50303" y="connsiteY50303"/>
              </a:cxn>
              <a:cxn ang="0">
                <a:pos x="connsiteX50304" y="connsiteY50304"/>
              </a:cxn>
              <a:cxn ang="0">
                <a:pos x="connsiteX50305" y="connsiteY50305"/>
              </a:cxn>
              <a:cxn ang="0">
                <a:pos x="connsiteX50306" y="connsiteY50306"/>
              </a:cxn>
              <a:cxn ang="0">
                <a:pos x="connsiteX50307" y="connsiteY50307"/>
              </a:cxn>
              <a:cxn ang="0">
                <a:pos x="connsiteX50308" y="connsiteY50308"/>
              </a:cxn>
              <a:cxn ang="0">
                <a:pos x="connsiteX50309" y="connsiteY50309"/>
              </a:cxn>
              <a:cxn ang="0">
                <a:pos x="connsiteX50310" y="connsiteY50310"/>
              </a:cxn>
              <a:cxn ang="0">
                <a:pos x="connsiteX50311" y="connsiteY50311"/>
              </a:cxn>
              <a:cxn ang="0">
                <a:pos x="connsiteX50312" y="connsiteY50312"/>
              </a:cxn>
              <a:cxn ang="0">
                <a:pos x="connsiteX50313" y="connsiteY50313"/>
              </a:cxn>
              <a:cxn ang="0">
                <a:pos x="connsiteX50314" y="connsiteY50314"/>
              </a:cxn>
              <a:cxn ang="0">
                <a:pos x="connsiteX50315" y="connsiteY50315"/>
              </a:cxn>
              <a:cxn ang="0">
                <a:pos x="connsiteX50316" y="connsiteY50316"/>
              </a:cxn>
              <a:cxn ang="0">
                <a:pos x="connsiteX50317" y="connsiteY50317"/>
              </a:cxn>
              <a:cxn ang="0">
                <a:pos x="connsiteX50318" y="connsiteY50318"/>
              </a:cxn>
              <a:cxn ang="0">
                <a:pos x="connsiteX50319" y="connsiteY50319"/>
              </a:cxn>
              <a:cxn ang="0">
                <a:pos x="connsiteX50320" y="connsiteY50320"/>
              </a:cxn>
              <a:cxn ang="0">
                <a:pos x="connsiteX50321" y="connsiteY50321"/>
              </a:cxn>
              <a:cxn ang="0">
                <a:pos x="connsiteX50322" y="connsiteY50322"/>
              </a:cxn>
              <a:cxn ang="0">
                <a:pos x="connsiteX50323" y="connsiteY50323"/>
              </a:cxn>
              <a:cxn ang="0">
                <a:pos x="connsiteX50324" y="connsiteY50324"/>
              </a:cxn>
              <a:cxn ang="0">
                <a:pos x="connsiteX50325" y="connsiteY50325"/>
              </a:cxn>
              <a:cxn ang="0">
                <a:pos x="connsiteX50326" y="connsiteY50326"/>
              </a:cxn>
              <a:cxn ang="0">
                <a:pos x="connsiteX50327" y="connsiteY50327"/>
              </a:cxn>
              <a:cxn ang="0">
                <a:pos x="connsiteX50328" y="connsiteY50328"/>
              </a:cxn>
              <a:cxn ang="0">
                <a:pos x="connsiteX50329" y="connsiteY50329"/>
              </a:cxn>
              <a:cxn ang="0">
                <a:pos x="connsiteX50330" y="connsiteY50330"/>
              </a:cxn>
              <a:cxn ang="0">
                <a:pos x="connsiteX50331" y="connsiteY50331"/>
              </a:cxn>
              <a:cxn ang="0">
                <a:pos x="connsiteX50332" y="connsiteY50332"/>
              </a:cxn>
              <a:cxn ang="0">
                <a:pos x="connsiteX50333" y="connsiteY50333"/>
              </a:cxn>
              <a:cxn ang="0">
                <a:pos x="connsiteX50334" y="connsiteY50334"/>
              </a:cxn>
              <a:cxn ang="0">
                <a:pos x="connsiteX50335" y="connsiteY50335"/>
              </a:cxn>
              <a:cxn ang="0">
                <a:pos x="connsiteX50336" y="connsiteY50336"/>
              </a:cxn>
              <a:cxn ang="0">
                <a:pos x="connsiteX50337" y="connsiteY50337"/>
              </a:cxn>
              <a:cxn ang="0">
                <a:pos x="connsiteX50338" y="connsiteY50338"/>
              </a:cxn>
              <a:cxn ang="0">
                <a:pos x="connsiteX50339" y="connsiteY50339"/>
              </a:cxn>
              <a:cxn ang="0">
                <a:pos x="connsiteX50340" y="connsiteY50340"/>
              </a:cxn>
              <a:cxn ang="0">
                <a:pos x="connsiteX50341" y="connsiteY50341"/>
              </a:cxn>
              <a:cxn ang="0">
                <a:pos x="connsiteX50342" y="connsiteY50342"/>
              </a:cxn>
              <a:cxn ang="0">
                <a:pos x="connsiteX50343" y="connsiteY50343"/>
              </a:cxn>
              <a:cxn ang="0">
                <a:pos x="connsiteX50344" y="connsiteY50344"/>
              </a:cxn>
              <a:cxn ang="0">
                <a:pos x="connsiteX50345" y="connsiteY50345"/>
              </a:cxn>
              <a:cxn ang="0">
                <a:pos x="connsiteX50346" y="connsiteY50346"/>
              </a:cxn>
              <a:cxn ang="0">
                <a:pos x="connsiteX50347" y="connsiteY50347"/>
              </a:cxn>
              <a:cxn ang="0">
                <a:pos x="connsiteX50348" y="connsiteY50348"/>
              </a:cxn>
              <a:cxn ang="0">
                <a:pos x="connsiteX50349" y="connsiteY50349"/>
              </a:cxn>
              <a:cxn ang="0">
                <a:pos x="connsiteX50350" y="connsiteY50350"/>
              </a:cxn>
              <a:cxn ang="0">
                <a:pos x="connsiteX50351" y="connsiteY50351"/>
              </a:cxn>
              <a:cxn ang="0">
                <a:pos x="connsiteX50352" y="connsiteY50352"/>
              </a:cxn>
              <a:cxn ang="0">
                <a:pos x="connsiteX50353" y="connsiteY50353"/>
              </a:cxn>
              <a:cxn ang="0">
                <a:pos x="connsiteX50354" y="connsiteY50354"/>
              </a:cxn>
              <a:cxn ang="0">
                <a:pos x="connsiteX50355" y="connsiteY50355"/>
              </a:cxn>
              <a:cxn ang="0">
                <a:pos x="connsiteX50356" y="connsiteY50356"/>
              </a:cxn>
              <a:cxn ang="0">
                <a:pos x="connsiteX50357" y="connsiteY50357"/>
              </a:cxn>
              <a:cxn ang="0">
                <a:pos x="connsiteX50358" y="connsiteY50358"/>
              </a:cxn>
              <a:cxn ang="0">
                <a:pos x="connsiteX50359" y="connsiteY50359"/>
              </a:cxn>
              <a:cxn ang="0">
                <a:pos x="connsiteX50360" y="connsiteY50360"/>
              </a:cxn>
              <a:cxn ang="0">
                <a:pos x="connsiteX50361" y="connsiteY50361"/>
              </a:cxn>
              <a:cxn ang="0">
                <a:pos x="connsiteX50362" y="connsiteY50362"/>
              </a:cxn>
              <a:cxn ang="0">
                <a:pos x="connsiteX50363" y="connsiteY50363"/>
              </a:cxn>
              <a:cxn ang="0">
                <a:pos x="connsiteX50364" y="connsiteY50364"/>
              </a:cxn>
              <a:cxn ang="0">
                <a:pos x="connsiteX50365" y="connsiteY50365"/>
              </a:cxn>
              <a:cxn ang="0">
                <a:pos x="connsiteX50366" y="connsiteY50366"/>
              </a:cxn>
              <a:cxn ang="0">
                <a:pos x="connsiteX50367" y="connsiteY50367"/>
              </a:cxn>
              <a:cxn ang="0">
                <a:pos x="connsiteX50368" y="connsiteY50368"/>
              </a:cxn>
              <a:cxn ang="0">
                <a:pos x="connsiteX50369" y="connsiteY50369"/>
              </a:cxn>
              <a:cxn ang="0">
                <a:pos x="connsiteX50370" y="connsiteY50370"/>
              </a:cxn>
              <a:cxn ang="0">
                <a:pos x="connsiteX50371" y="connsiteY50371"/>
              </a:cxn>
              <a:cxn ang="0">
                <a:pos x="connsiteX50372" y="connsiteY50372"/>
              </a:cxn>
              <a:cxn ang="0">
                <a:pos x="connsiteX50373" y="connsiteY50373"/>
              </a:cxn>
              <a:cxn ang="0">
                <a:pos x="connsiteX50374" y="connsiteY50374"/>
              </a:cxn>
              <a:cxn ang="0">
                <a:pos x="connsiteX50375" y="connsiteY50375"/>
              </a:cxn>
              <a:cxn ang="0">
                <a:pos x="connsiteX50376" y="connsiteY50376"/>
              </a:cxn>
              <a:cxn ang="0">
                <a:pos x="connsiteX50377" y="connsiteY50377"/>
              </a:cxn>
              <a:cxn ang="0">
                <a:pos x="connsiteX50378" y="connsiteY50378"/>
              </a:cxn>
              <a:cxn ang="0">
                <a:pos x="connsiteX50379" y="connsiteY50379"/>
              </a:cxn>
              <a:cxn ang="0">
                <a:pos x="connsiteX50380" y="connsiteY50380"/>
              </a:cxn>
              <a:cxn ang="0">
                <a:pos x="connsiteX50381" y="connsiteY50381"/>
              </a:cxn>
              <a:cxn ang="0">
                <a:pos x="connsiteX50382" y="connsiteY50382"/>
              </a:cxn>
              <a:cxn ang="0">
                <a:pos x="connsiteX50383" y="connsiteY50383"/>
              </a:cxn>
              <a:cxn ang="0">
                <a:pos x="connsiteX50384" y="connsiteY50384"/>
              </a:cxn>
              <a:cxn ang="0">
                <a:pos x="connsiteX50385" y="connsiteY50385"/>
              </a:cxn>
              <a:cxn ang="0">
                <a:pos x="connsiteX50386" y="connsiteY50386"/>
              </a:cxn>
              <a:cxn ang="0">
                <a:pos x="connsiteX50387" y="connsiteY50387"/>
              </a:cxn>
              <a:cxn ang="0">
                <a:pos x="connsiteX50388" y="connsiteY50388"/>
              </a:cxn>
              <a:cxn ang="0">
                <a:pos x="connsiteX50389" y="connsiteY50389"/>
              </a:cxn>
              <a:cxn ang="0">
                <a:pos x="connsiteX50390" y="connsiteY50390"/>
              </a:cxn>
              <a:cxn ang="0">
                <a:pos x="connsiteX50391" y="connsiteY50391"/>
              </a:cxn>
              <a:cxn ang="0">
                <a:pos x="connsiteX50392" y="connsiteY50392"/>
              </a:cxn>
              <a:cxn ang="0">
                <a:pos x="connsiteX50393" y="connsiteY50393"/>
              </a:cxn>
              <a:cxn ang="0">
                <a:pos x="connsiteX50394" y="connsiteY50394"/>
              </a:cxn>
              <a:cxn ang="0">
                <a:pos x="connsiteX50395" y="connsiteY50395"/>
              </a:cxn>
              <a:cxn ang="0">
                <a:pos x="connsiteX50396" y="connsiteY50396"/>
              </a:cxn>
              <a:cxn ang="0">
                <a:pos x="connsiteX50397" y="connsiteY50397"/>
              </a:cxn>
              <a:cxn ang="0">
                <a:pos x="connsiteX50398" y="connsiteY50398"/>
              </a:cxn>
              <a:cxn ang="0">
                <a:pos x="connsiteX50399" y="connsiteY50399"/>
              </a:cxn>
              <a:cxn ang="0">
                <a:pos x="connsiteX50400" y="connsiteY50400"/>
              </a:cxn>
              <a:cxn ang="0">
                <a:pos x="connsiteX50401" y="connsiteY50401"/>
              </a:cxn>
              <a:cxn ang="0">
                <a:pos x="connsiteX50402" y="connsiteY50402"/>
              </a:cxn>
              <a:cxn ang="0">
                <a:pos x="connsiteX50403" y="connsiteY50403"/>
              </a:cxn>
              <a:cxn ang="0">
                <a:pos x="connsiteX50404" y="connsiteY50404"/>
              </a:cxn>
              <a:cxn ang="0">
                <a:pos x="connsiteX50405" y="connsiteY50405"/>
              </a:cxn>
              <a:cxn ang="0">
                <a:pos x="connsiteX50406" y="connsiteY50406"/>
              </a:cxn>
              <a:cxn ang="0">
                <a:pos x="connsiteX50407" y="connsiteY50407"/>
              </a:cxn>
              <a:cxn ang="0">
                <a:pos x="connsiteX50408" y="connsiteY50408"/>
              </a:cxn>
              <a:cxn ang="0">
                <a:pos x="connsiteX50409" y="connsiteY50409"/>
              </a:cxn>
              <a:cxn ang="0">
                <a:pos x="connsiteX50410" y="connsiteY50410"/>
              </a:cxn>
              <a:cxn ang="0">
                <a:pos x="connsiteX50411" y="connsiteY50411"/>
              </a:cxn>
              <a:cxn ang="0">
                <a:pos x="connsiteX50412" y="connsiteY50412"/>
              </a:cxn>
              <a:cxn ang="0">
                <a:pos x="connsiteX50413" y="connsiteY50413"/>
              </a:cxn>
              <a:cxn ang="0">
                <a:pos x="connsiteX50414" y="connsiteY50414"/>
              </a:cxn>
              <a:cxn ang="0">
                <a:pos x="connsiteX50415" y="connsiteY50415"/>
              </a:cxn>
              <a:cxn ang="0">
                <a:pos x="connsiteX50416" y="connsiteY50416"/>
              </a:cxn>
              <a:cxn ang="0">
                <a:pos x="connsiteX50417" y="connsiteY50417"/>
              </a:cxn>
              <a:cxn ang="0">
                <a:pos x="connsiteX50418" y="connsiteY50418"/>
              </a:cxn>
              <a:cxn ang="0">
                <a:pos x="connsiteX50419" y="connsiteY50419"/>
              </a:cxn>
              <a:cxn ang="0">
                <a:pos x="connsiteX50420" y="connsiteY50420"/>
              </a:cxn>
              <a:cxn ang="0">
                <a:pos x="connsiteX50421" y="connsiteY50421"/>
              </a:cxn>
              <a:cxn ang="0">
                <a:pos x="connsiteX50422" y="connsiteY50422"/>
              </a:cxn>
              <a:cxn ang="0">
                <a:pos x="connsiteX50423" y="connsiteY50423"/>
              </a:cxn>
              <a:cxn ang="0">
                <a:pos x="connsiteX50424" y="connsiteY50424"/>
              </a:cxn>
              <a:cxn ang="0">
                <a:pos x="connsiteX50425" y="connsiteY50425"/>
              </a:cxn>
              <a:cxn ang="0">
                <a:pos x="connsiteX50426" y="connsiteY50426"/>
              </a:cxn>
              <a:cxn ang="0">
                <a:pos x="connsiteX50427" y="connsiteY50427"/>
              </a:cxn>
              <a:cxn ang="0">
                <a:pos x="connsiteX50428" y="connsiteY50428"/>
              </a:cxn>
              <a:cxn ang="0">
                <a:pos x="connsiteX50429" y="connsiteY50429"/>
              </a:cxn>
              <a:cxn ang="0">
                <a:pos x="connsiteX50430" y="connsiteY50430"/>
              </a:cxn>
              <a:cxn ang="0">
                <a:pos x="connsiteX50431" y="connsiteY50431"/>
              </a:cxn>
              <a:cxn ang="0">
                <a:pos x="connsiteX50432" y="connsiteY50432"/>
              </a:cxn>
              <a:cxn ang="0">
                <a:pos x="connsiteX50433" y="connsiteY50433"/>
              </a:cxn>
              <a:cxn ang="0">
                <a:pos x="connsiteX50434" y="connsiteY50434"/>
              </a:cxn>
              <a:cxn ang="0">
                <a:pos x="connsiteX50435" y="connsiteY50435"/>
              </a:cxn>
              <a:cxn ang="0">
                <a:pos x="connsiteX50436" y="connsiteY50436"/>
              </a:cxn>
              <a:cxn ang="0">
                <a:pos x="connsiteX50437" y="connsiteY50437"/>
              </a:cxn>
              <a:cxn ang="0">
                <a:pos x="connsiteX50438" y="connsiteY50438"/>
              </a:cxn>
              <a:cxn ang="0">
                <a:pos x="connsiteX50439" y="connsiteY50439"/>
              </a:cxn>
              <a:cxn ang="0">
                <a:pos x="connsiteX50440" y="connsiteY50440"/>
              </a:cxn>
              <a:cxn ang="0">
                <a:pos x="connsiteX50441" y="connsiteY50441"/>
              </a:cxn>
              <a:cxn ang="0">
                <a:pos x="connsiteX50442" y="connsiteY50442"/>
              </a:cxn>
              <a:cxn ang="0">
                <a:pos x="connsiteX50443" y="connsiteY50443"/>
              </a:cxn>
              <a:cxn ang="0">
                <a:pos x="connsiteX50444" y="connsiteY50444"/>
              </a:cxn>
              <a:cxn ang="0">
                <a:pos x="connsiteX50445" y="connsiteY50445"/>
              </a:cxn>
              <a:cxn ang="0">
                <a:pos x="connsiteX50446" y="connsiteY50446"/>
              </a:cxn>
              <a:cxn ang="0">
                <a:pos x="connsiteX50447" y="connsiteY50447"/>
              </a:cxn>
              <a:cxn ang="0">
                <a:pos x="connsiteX50448" y="connsiteY50448"/>
              </a:cxn>
              <a:cxn ang="0">
                <a:pos x="connsiteX50449" y="connsiteY50449"/>
              </a:cxn>
              <a:cxn ang="0">
                <a:pos x="connsiteX50450" y="connsiteY50450"/>
              </a:cxn>
              <a:cxn ang="0">
                <a:pos x="connsiteX50451" y="connsiteY50451"/>
              </a:cxn>
              <a:cxn ang="0">
                <a:pos x="connsiteX50452" y="connsiteY50452"/>
              </a:cxn>
              <a:cxn ang="0">
                <a:pos x="connsiteX50453" y="connsiteY50453"/>
              </a:cxn>
              <a:cxn ang="0">
                <a:pos x="connsiteX50454" y="connsiteY50454"/>
              </a:cxn>
              <a:cxn ang="0">
                <a:pos x="connsiteX50455" y="connsiteY50455"/>
              </a:cxn>
              <a:cxn ang="0">
                <a:pos x="connsiteX50456" y="connsiteY50456"/>
              </a:cxn>
              <a:cxn ang="0">
                <a:pos x="connsiteX50457" y="connsiteY50457"/>
              </a:cxn>
              <a:cxn ang="0">
                <a:pos x="connsiteX50458" y="connsiteY50458"/>
              </a:cxn>
              <a:cxn ang="0">
                <a:pos x="connsiteX50459" y="connsiteY50459"/>
              </a:cxn>
              <a:cxn ang="0">
                <a:pos x="connsiteX50460" y="connsiteY50460"/>
              </a:cxn>
              <a:cxn ang="0">
                <a:pos x="connsiteX50461" y="connsiteY50461"/>
              </a:cxn>
              <a:cxn ang="0">
                <a:pos x="connsiteX50462" y="connsiteY50462"/>
              </a:cxn>
              <a:cxn ang="0">
                <a:pos x="connsiteX50463" y="connsiteY50463"/>
              </a:cxn>
              <a:cxn ang="0">
                <a:pos x="connsiteX50464" y="connsiteY50464"/>
              </a:cxn>
              <a:cxn ang="0">
                <a:pos x="connsiteX50465" y="connsiteY50465"/>
              </a:cxn>
              <a:cxn ang="0">
                <a:pos x="connsiteX50466" y="connsiteY50466"/>
              </a:cxn>
              <a:cxn ang="0">
                <a:pos x="connsiteX50467" y="connsiteY50467"/>
              </a:cxn>
              <a:cxn ang="0">
                <a:pos x="connsiteX50468" y="connsiteY50468"/>
              </a:cxn>
              <a:cxn ang="0">
                <a:pos x="connsiteX50469" y="connsiteY50469"/>
              </a:cxn>
              <a:cxn ang="0">
                <a:pos x="connsiteX50470" y="connsiteY50470"/>
              </a:cxn>
              <a:cxn ang="0">
                <a:pos x="connsiteX50471" y="connsiteY50471"/>
              </a:cxn>
              <a:cxn ang="0">
                <a:pos x="connsiteX50472" y="connsiteY50472"/>
              </a:cxn>
              <a:cxn ang="0">
                <a:pos x="connsiteX50473" y="connsiteY50473"/>
              </a:cxn>
              <a:cxn ang="0">
                <a:pos x="connsiteX50474" y="connsiteY50474"/>
              </a:cxn>
              <a:cxn ang="0">
                <a:pos x="connsiteX50475" y="connsiteY50475"/>
              </a:cxn>
              <a:cxn ang="0">
                <a:pos x="connsiteX50476" y="connsiteY50476"/>
              </a:cxn>
              <a:cxn ang="0">
                <a:pos x="connsiteX50477" y="connsiteY50477"/>
              </a:cxn>
              <a:cxn ang="0">
                <a:pos x="connsiteX50478" y="connsiteY50478"/>
              </a:cxn>
              <a:cxn ang="0">
                <a:pos x="connsiteX50479" y="connsiteY50479"/>
              </a:cxn>
              <a:cxn ang="0">
                <a:pos x="connsiteX50480" y="connsiteY50480"/>
              </a:cxn>
              <a:cxn ang="0">
                <a:pos x="connsiteX50481" y="connsiteY50481"/>
              </a:cxn>
              <a:cxn ang="0">
                <a:pos x="connsiteX50482" y="connsiteY50482"/>
              </a:cxn>
              <a:cxn ang="0">
                <a:pos x="connsiteX50483" y="connsiteY50483"/>
              </a:cxn>
              <a:cxn ang="0">
                <a:pos x="connsiteX50484" y="connsiteY50484"/>
              </a:cxn>
              <a:cxn ang="0">
                <a:pos x="connsiteX50485" y="connsiteY50485"/>
              </a:cxn>
              <a:cxn ang="0">
                <a:pos x="connsiteX50486" y="connsiteY50486"/>
              </a:cxn>
              <a:cxn ang="0">
                <a:pos x="connsiteX50487" y="connsiteY50487"/>
              </a:cxn>
              <a:cxn ang="0">
                <a:pos x="connsiteX50488" y="connsiteY50488"/>
              </a:cxn>
              <a:cxn ang="0">
                <a:pos x="connsiteX50489" y="connsiteY50489"/>
              </a:cxn>
              <a:cxn ang="0">
                <a:pos x="connsiteX50490" y="connsiteY50490"/>
              </a:cxn>
              <a:cxn ang="0">
                <a:pos x="connsiteX50491" y="connsiteY50491"/>
              </a:cxn>
              <a:cxn ang="0">
                <a:pos x="connsiteX50492" y="connsiteY50492"/>
              </a:cxn>
              <a:cxn ang="0">
                <a:pos x="connsiteX50493" y="connsiteY50493"/>
              </a:cxn>
              <a:cxn ang="0">
                <a:pos x="connsiteX50494" y="connsiteY50494"/>
              </a:cxn>
              <a:cxn ang="0">
                <a:pos x="connsiteX50495" y="connsiteY50495"/>
              </a:cxn>
              <a:cxn ang="0">
                <a:pos x="connsiteX50496" y="connsiteY50496"/>
              </a:cxn>
              <a:cxn ang="0">
                <a:pos x="connsiteX50497" y="connsiteY50497"/>
              </a:cxn>
              <a:cxn ang="0">
                <a:pos x="connsiteX50498" y="connsiteY50498"/>
              </a:cxn>
              <a:cxn ang="0">
                <a:pos x="connsiteX50499" y="connsiteY50499"/>
              </a:cxn>
              <a:cxn ang="0">
                <a:pos x="connsiteX50500" y="connsiteY50500"/>
              </a:cxn>
              <a:cxn ang="0">
                <a:pos x="connsiteX50501" y="connsiteY50501"/>
              </a:cxn>
              <a:cxn ang="0">
                <a:pos x="connsiteX50502" y="connsiteY50502"/>
              </a:cxn>
              <a:cxn ang="0">
                <a:pos x="connsiteX50503" y="connsiteY50503"/>
              </a:cxn>
              <a:cxn ang="0">
                <a:pos x="connsiteX50504" y="connsiteY50504"/>
              </a:cxn>
              <a:cxn ang="0">
                <a:pos x="connsiteX50505" y="connsiteY50505"/>
              </a:cxn>
              <a:cxn ang="0">
                <a:pos x="connsiteX50506" y="connsiteY50506"/>
              </a:cxn>
              <a:cxn ang="0">
                <a:pos x="connsiteX50507" y="connsiteY50507"/>
              </a:cxn>
              <a:cxn ang="0">
                <a:pos x="connsiteX50508" y="connsiteY50508"/>
              </a:cxn>
              <a:cxn ang="0">
                <a:pos x="connsiteX50509" y="connsiteY50509"/>
              </a:cxn>
              <a:cxn ang="0">
                <a:pos x="connsiteX50510" y="connsiteY50510"/>
              </a:cxn>
              <a:cxn ang="0">
                <a:pos x="connsiteX50511" y="connsiteY50511"/>
              </a:cxn>
              <a:cxn ang="0">
                <a:pos x="connsiteX50512" y="connsiteY50512"/>
              </a:cxn>
              <a:cxn ang="0">
                <a:pos x="connsiteX50513" y="connsiteY50513"/>
              </a:cxn>
              <a:cxn ang="0">
                <a:pos x="connsiteX50514" y="connsiteY50514"/>
              </a:cxn>
              <a:cxn ang="0">
                <a:pos x="connsiteX50515" y="connsiteY50515"/>
              </a:cxn>
              <a:cxn ang="0">
                <a:pos x="connsiteX50516" y="connsiteY50516"/>
              </a:cxn>
              <a:cxn ang="0">
                <a:pos x="connsiteX50517" y="connsiteY50517"/>
              </a:cxn>
              <a:cxn ang="0">
                <a:pos x="connsiteX50518" y="connsiteY50518"/>
              </a:cxn>
              <a:cxn ang="0">
                <a:pos x="connsiteX50519" y="connsiteY50519"/>
              </a:cxn>
              <a:cxn ang="0">
                <a:pos x="connsiteX50520" y="connsiteY50520"/>
              </a:cxn>
              <a:cxn ang="0">
                <a:pos x="connsiteX50521" y="connsiteY50521"/>
              </a:cxn>
              <a:cxn ang="0">
                <a:pos x="connsiteX50522" y="connsiteY50522"/>
              </a:cxn>
              <a:cxn ang="0">
                <a:pos x="connsiteX50523" y="connsiteY50523"/>
              </a:cxn>
              <a:cxn ang="0">
                <a:pos x="connsiteX50524" y="connsiteY50524"/>
              </a:cxn>
              <a:cxn ang="0">
                <a:pos x="connsiteX50525" y="connsiteY50525"/>
              </a:cxn>
              <a:cxn ang="0">
                <a:pos x="connsiteX50526" y="connsiteY50526"/>
              </a:cxn>
              <a:cxn ang="0">
                <a:pos x="connsiteX50527" y="connsiteY50527"/>
              </a:cxn>
              <a:cxn ang="0">
                <a:pos x="connsiteX50528" y="connsiteY50528"/>
              </a:cxn>
              <a:cxn ang="0">
                <a:pos x="connsiteX50529" y="connsiteY50529"/>
              </a:cxn>
              <a:cxn ang="0">
                <a:pos x="connsiteX50530" y="connsiteY50530"/>
              </a:cxn>
              <a:cxn ang="0">
                <a:pos x="connsiteX50531" y="connsiteY50531"/>
              </a:cxn>
              <a:cxn ang="0">
                <a:pos x="connsiteX50532" y="connsiteY50532"/>
              </a:cxn>
              <a:cxn ang="0">
                <a:pos x="connsiteX50533" y="connsiteY50533"/>
              </a:cxn>
              <a:cxn ang="0">
                <a:pos x="connsiteX50534" y="connsiteY50534"/>
              </a:cxn>
              <a:cxn ang="0">
                <a:pos x="connsiteX50535" y="connsiteY50535"/>
              </a:cxn>
              <a:cxn ang="0">
                <a:pos x="connsiteX50536" y="connsiteY50536"/>
              </a:cxn>
              <a:cxn ang="0">
                <a:pos x="connsiteX50537" y="connsiteY50537"/>
              </a:cxn>
              <a:cxn ang="0">
                <a:pos x="connsiteX50538" y="connsiteY50538"/>
              </a:cxn>
              <a:cxn ang="0">
                <a:pos x="connsiteX50539" y="connsiteY50539"/>
              </a:cxn>
              <a:cxn ang="0">
                <a:pos x="connsiteX50540" y="connsiteY50540"/>
              </a:cxn>
              <a:cxn ang="0">
                <a:pos x="connsiteX50541" y="connsiteY50541"/>
              </a:cxn>
              <a:cxn ang="0">
                <a:pos x="connsiteX50542" y="connsiteY50542"/>
              </a:cxn>
              <a:cxn ang="0">
                <a:pos x="connsiteX50543" y="connsiteY50543"/>
              </a:cxn>
              <a:cxn ang="0">
                <a:pos x="connsiteX50544" y="connsiteY50544"/>
              </a:cxn>
              <a:cxn ang="0">
                <a:pos x="connsiteX50545" y="connsiteY50545"/>
              </a:cxn>
              <a:cxn ang="0">
                <a:pos x="connsiteX50546" y="connsiteY50546"/>
              </a:cxn>
              <a:cxn ang="0">
                <a:pos x="connsiteX50547" y="connsiteY50547"/>
              </a:cxn>
              <a:cxn ang="0">
                <a:pos x="connsiteX50548" y="connsiteY50548"/>
              </a:cxn>
              <a:cxn ang="0">
                <a:pos x="connsiteX50549" y="connsiteY50549"/>
              </a:cxn>
              <a:cxn ang="0">
                <a:pos x="connsiteX50550" y="connsiteY50550"/>
              </a:cxn>
              <a:cxn ang="0">
                <a:pos x="connsiteX50551" y="connsiteY50551"/>
              </a:cxn>
              <a:cxn ang="0">
                <a:pos x="connsiteX50552" y="connsiteY50552"/>
              </a:cxn>
              <a:cxn ang="0">
                <a:pos x="connsiteX50553" y="connsiteY50553"/>
              </a:cxn>
              <a:cxn ang="0">
                <a:pos x="connsiteX50554" y="connsiteY50554"/>
              </a:cxn>
              <a:cxn ang="0">
                <a:pos x="connsiteX50555" y="connsiteY50555"/>
              </a:cxn>
              <a:cxn ang="0">
                <a:pos x="connsiteX50556" y="connsiteY50556"/>
              </a:cxn>
              <a:cxn ang="0">
                <a:pos x="connsiteX50557" y="connsiteY50557"/>
              </a:cxn>
              <a:cxn ang="0">
                <a:pos x="connsiteX50558" y="connsiteY50558"/>
              </a:cxn>
              <a:cxn ang="0">
                <a:pos x="connsiteX50559" y="connsiteY50559"/>
              </a:cxn>
              <a:cxn ang="0">
                <a:pos x="connsiteX50560" y="connsiteY50560"/>
              </a:cxn>
              <a:cxn ang="0">
                <a:pos x="connsiteX50561" y="connsiteY50561"/>
              </a:cxn>
              <a:cxn ang="0">
                <a:pos x="connsiteX50562" y="connsiteY50562"/>
              </a:cxn>
              <a:cxn ang="0">
                <a:pos x="connsiteX50563" y="connsiteY50563"/>
              </a:cxn>
              <a:cxn ang="0">
                <a:pos x="connsiteX50564" y="connsiteY50564"/>
              </a:cxn>
              <a:cxn ang="0">
                <a:pos x="connsiteX50565" y="connsiteY50565"/>
              </a:cxn>
              <a:cxn ang="0">
                <a:pos x="connsiteX50566" y="connsiteY50566"/>
              </a:cxn>
              <a:cxn ang="0">
                <a:pos x="connsiteX50567" y="connsiteY50567"/>
              </a:cxn>
              <a:cxn ang="0">
                <a:pos x="connsiteX50568" y="connsiteY50568"/>
              </a:cxn>
              <a:cxn ang="0">
                <a:pos x="connsiteX50569" y="connsiteY50569"/>
              </a:cxn>
              <a:cxn ang="0">
                <a:pos x="connsiteX50570" y="connsiteY50570"/>
              </a:cxn>
              <a:cxn ang="0">
                <a:pos x="connsiteX50571" y="connsiteY50571"/>
              </a:cxn>
              <a:cxn ang="0">
                <a:pos x="connsiteX50572" y="connsiteY50572"/>
              </a:cxn>
              <a:cxn ang="0">
                <a:pos x="connsiteX50573" y="connsiteY50573"/>
              </a:cxn>
              <a:cxn ang="0">
                <a:pos x="connsiteX50574" y="connsiteY50574"/>
              </a:cxn>
              <a:cxn ang="0">
                <a:pos x="connsiteX50575" y="connsiteY50575"/>
              </a:cxn>
              <a:cxn ang="0">
                <a:pos x="connsiteX50576" y="connsiteY50576"/>
              </a:cxn>
              <a:cxn ang="0">
                <a:pos x="connsiteX50577" y="connsiteY50577"/>
              </a:cxn>
              <a:cxn ang="0">
                <a:pos x="connsiteX50578" y="connsiteY50578"/>
              </a:cxn>
              <a:cxn ang="0">
                <a:pos x="connsiteX50579" y="connsiteY50579"/>
              </a:cxn>
              <a:cxn ang="0">
                <a:pos x="connsiteX50580" y="connsiteY50580"/>
              </a:cxn>
              <a:cxn ang="0">
                <a:pos x="connsiteX50581" y="connsiteY50581"/>
              </a:cxn>
              <a:cxn ang="0">
                <a:pos x="connsiteX50582" y="connsiteY50582"/>
              </a:cxn>
              <a:cxn ang="0">
                <a:pos x="connsiteX50583" y="connsiteY50583"/>
              </a:cxn>
              <a:cxn ang="0">
                <a:pos x="connsiteX50584" y="connsiteY50584"/>
              </a:cxn>
              <a:cxn ang="0">
                <a:pos x="connsiteX50585" y="connsiteY50585"/>
              </a:cxn>
              <a:cxn ang="0">
                <a:pos x="connsiteX50586" y="connsiteY50586"/>
              </a:cxn>
              <a:cxn ang="0">
                <a:pos x="connsiteX50587" y="connsiteY50587"/>
              </a:cxn>
              <a:cxn ang="0">
                <a:pos x="connsiteX50588" y="connsiteY50588"/>
              </a:cxn>
              <a:cxn ang="0">
                <a:pos x="connsiteX50589" y="connsiteY50589"/>
              </a:cxn>
              <a:cxn ang="0">
                <a:pos x="connsiteX50590" y="connsiteY50590"/>
              </a:cxn>
              <a:cxn ang="0">
                <a:pos x="connsiteX50591" y="connsiteY50591"/>
              </a:cxn>
              <a:cxn ang="0">
                <a:pos x="connsiteX50592" y="connsiteY50592"/>
              </a:cxn>
              <a:cxn ang="0">
                <a:pos x="connsiteX50593" y="connsiteY50593"/>
              </a:cxn>
              <a:cxn ang="0">
                <a:pos x="connsiteX50594" y="connsiteY50594"/>
              </a:cxn>
              <a:cxn ang="0">
                <a:pos x="connsiteX50595" y="connsiteY50595"/>
              </a:cxn>
              <a:cxn ang="0">
                <a:pos x="connsiteX50596" y="connsiteY50596"/>
              </a:cxn>
              <a:cxn ang="0">
                <a:pos x="connsiteX50597" y="connsiteY50597"/>
              </a:cxn>
              <a:cxn ang="0">
                <a:pos x="connsiteX50598" y="connsiteY50598"/>
              </a:cxn>
              <a:cxn ang="0">
                <a:pos x="connsiteX50599" y="connsiteY50599"/>
              </a:cxn>
              <a:cxn ang="0">
                <a:pos x="connsiteX50600" y="connsiteY50600"/>
              </a:cxn>
              <a:cxn ang="0">
                <a:pos x="connsiteX50601" y="connsiteY50601"/>
              </a:cxn>
              <a:cxn ang="0">
                <a:pos x="connsiteX50602" y="connsiteY50602"/>
              </a:cxn>
              <a:cxn ang="0">
                <a:pos x="connsiteX50603" y="connsiteY50603"/>
              </a:cxn>
              <a:cxn ang="0">
                <a:pos x="connsiteX50604" y="connsiteY50604"/>
              </a:cxn>
              <a:cxn ang="0">
                <a:pos x="connsiteX50605" y="connsiteY50605"/>
              </a:cxn>
              <a:cxn ang="0">
                <a:pos x="connsiteX50606" y="connsiteY50606"/>
              </a:cxn>
              <a:cxn ang="0">
                <a:pos x="connsiteX50607" y="connsiteY50607"/>
              </a:cxn>
              <a:cxn ang="0">
                <a:pos x="connsiteX50608" y="connsiteY50608"/>
              </a:cxn>
              <a:cxn ang="0">
                <a:pos x="connsiteX50609" y="connsiteY50609"/>
              </a:cxn>
              <a:cxn ang="0">
                <a:pos x="connsiteX50610" y="connsiteY50610"/>
              </a:cxn>
              <a:cxn ang="0">
                <a:pos x="connsiteX50611" y="connsiteY50611"/>
              </a:cxn>
              <a:cxn ang="0">
                <a:pos x="connsiteX50612" y="connsiteY50612"/>
              </a:cxn>
              <a:cxn ang="0">
                <a:pos x="connsiteX50613" y="connsiteY50613"/>
              </a:cxn>
              <a:cxn ang="0">
                <a:pos x="connsiteX50614" y="connsiteY50614"/>
              </a:cxn>
              <a:cxn ang="0">
                <a:pos x="connsiteX50615" y="connsiteY50615"/>
              </a:cxn>
              <a:cxn ang="0">
                <a:pos x="connsiteX50616" y="connsiteY50616"/>
              </a:cxn>
              <a:cxn ang="0">
                <a:pos x="connsiteX50617" y="connsiteY50617"/>
              </a:cxn>
              <a:cxn ang="0">
                <a:pos x="connsiteX50618" y="connsiteY50618"/>
              </a:cxn>
              <a:cxn ang="0">
                <a:pos x="connsiteX50619" y="connsiteY50619"/>
              </a:cxn>
              <a:cxn ang="0">
                <a:pos x="connsiteX50620" y="connsiteY50620"/>
              </a:cxn>
              <a:cxn ang="0">
                <a:pos x="connsiteX50621" y="connsiteY50621"/>
              </a:cxn>
              <a:cxn ang="0">
                <a:pos x="connsiteX50622" y="connsiteY50622"/>
              </a:cxn>
              <a:cxn ang="0">
                <a:pos x="connsiteX50623" y="connsiteY50623"/>
              </a:cxn>
              <a:cxn ang="0">
                <a:pos x="connsiteX50624" y="connsiteY50624"/>
              </a:cxn>
              <a:cxn ang="0">
                <a:pos x="connsiteX50625" y="connsiteY50625"/>
              </a:cxn>
              <a:cxn ang="0">
                <a:pos x="connsiteX50626" y="connsiteY50626"/>
              </a:cxn>
              <a:cxn ang="0">
                <a:pos x="connsiteX50627" y="connsiteY50627"/>
              </a:cxn>
              <a:cxn ang="0">
                <a:pos x="connsiteX50628" y="connsiteY50628"/>
              </a:cxn>
              <a:cxn ang="0">
                <a:pos x="connsiteX50629" y="connsiteY50629"/>
              </a:cxn>
              <a:cxn ang="0">
                <a:pos x="connsiteX50630" y="connsiteY50630"/>
              </a:cxn>
              <a:cxn ang="0">
                <a:pos x="connsiteX50631" y="connsiteY50631"/>
              </a:cxn>
              <a:cxn ang="0">
                <a:pos x="connsiteX50632" y="connsiteY50632"/>
              </a:cxn>
              <a:cxn ang="0">
                <a:pos x="connsiteX50633" y="connsiteY50633"/>
              </a:cxn>
              <a:cxn ang="0">
                <a:pos x="connsiteX50634" y="connsiteY50634"/>
              </a:cxn>
              <a:cxn ang="0">
                <a:pos x="connsiteX50635" y="connsiteY50635"/>
              </a:cxn>
              <a:cxn ang="0">
                <a:pos x="connsiteX50636" y="connsiteY50636"/>
              </a:cxn>
              <a:cxn ang="0">
                <a:pos x="connsiteX50637" y="connsiteY50637"/>
              </a:cxn>
              <a:cxn ang="0">
                <a:pos x="connsiteX50638" y="connsiteY50638"/>
              </a:cxn>
              <a:cxn ang="0">
                <a:pos x="connsiteX50639" y="connsiteY50639"/>
              </a:cxn>
              <a:cxn ang="0">
                <a:pos x="connsiteX50640" y="connsiteY50640"/>
              </a:cxn>
              <a:cxn ang="0">
                <a:pos x="connsiteX50641" y="connsiteY50641"/>
              </a:cxn>
              <a:cxn ang="0">
                <a:pos x="connsiteX50642" y="connsiteY50642"/>
              </a:cxn>
              <a:cxn ang="0">
                <a:pos x="connsiteX50643" y="connsiteY50643"/>
              </a:cxn>
              <a:cxn ang="0">
                <a:pos x="connsiteX50644" y="connsiteY50644"/>
              </a:cxn>
              <a:cxn ang="0">
                <a:pos x="connsiteX50645" y="connsiteY50645"/>
              </a:cxn>
              <a:cxn ang="0">
                <a:pos x="connsiteX50646" y="connsiteY50646"/>
              </a:cxn>
              <a:cxn ang="0">
                <a:pos x="connsiteX50647" y="connsiteY50647"/>
              </a:cxn>
              <a:cxn ang="0">
                <a:pos x="connsiteX50648" y="connsiteY50648"/>
              </a:cxn>
              <a:cxn ang="0">
                <a:pos x="connsiteX50649" y="connsiteY50649"/>
              </a:cxn>
              <a:cxn ang="0">
                <a:pos x="connsiteX50650" y="connsiteY50650"/>
              </a:cxn>
              <a:cxn ang="0">
                <a:pos x="connsiteX50651" y="connsiteY50651"/>
              </a:cxn>
              <a:cxn ang="0">
                <a:pos x="connsiteX50652" y="connsiteY50652"/>
              </a:cxn>
              <a:cxn ang="0">
                <a:pos x="connsiteX50653" y="connsiteY50653"/>
              </a:cxn>
              <a:cxn ang="0">
                <a:pos x="connsiteX50654" y="connsiteY50654"/>
              </a:cxn>
              <a:cxn ang="0">
                <a:pos x="connsiteX50655" y="connsiteY50655"/>
              </a:cxn>
              <a:cxn ang="0">
                <a:pos x="connsiteX50656" y="connsiteY50656"/>
              </a:cxn>
              <a:cxn ang="0">
                <a:pos x="connsiteX50657" y="connsiteY50657"/>
              </a:cxn>
              <a:cxn ang="0">
                <a:pos x="connsiteX50658" y="connsiteY50658"/>
              </a:cxn>
              <a:cxn ang="0">
                <a:pos x="connsiteX50659" y="connsiteY50659"/>
              </a:cxn>
              <a:cxn ang="0">
                <a:pos x="connsiteX50660" y="connsiteY50660"/>
              </a:cxn>
              <a:cxn ang="0">
                <a:pos x="connsiteX50661" y="connsiteY50661"/>
              </a:cxn>
              <a:cxn ang="0">
                <a:pos x="connsiteX50662" y="connsiteY50662"/>
              </a:cxn>
              <a:cxn ang="0">
                <a:pos x="connsiteX50663" y="connsiteY50663"/>
              </a:cxn>
              <a:cxn ang="0">
                <a:pos x="connsiteX50664" y="connsiteY50664"/>
              </a:cxn>
              <a:cxn ang="0">
                <a:pos x="connsiteX50665" y="connsiteY50665"/>
              </a:cxn>
              <a:cxn ang="0">
                <a:pos x="connsiteX50666" y="connsiteY50666"/>
              </a:cxn>
              <a:cxn ang="0">
                <a:pos x="connsiteX50667" y="connsiteY50667"/>
              </a:cxn>
              <a:cxn ang="0">
                <a:pos x="connsiteX50668" y="connsiteY50668"/>
              </a:cxn>
              <a:cxn ang="0">
                <a:pos x="connsiteX50669" y="connsiteY50669"/>
              </a:cxn>
              <a:cxn ang="0">
                <a:pos x="connsiteX50670" y="connsiteY50670"/>
              </a:cxn>
              <a:cxn ang="0">
                <a:pos x="connsiteX50671" y="connsiteY50671"/>
              </a:cxn>
              <a:cxn ang="0">
                <a:pos x="connsiteX50672" y="connsiteY50672"/>
              </a:cxn>
              <a:cxn ang="0">
                <a:pos x="connsiteX50673" y="connsiteY50673"/>
              </a:cxn>
              <a:cxn ang="0">
                <a:pos x="connsiteX50674" y="connsiteY50674"/>
              </a:cxn>
              <a:cxn ang="0">
                <a:pos x="connsiteX50675" y="connsiteY50675"/>
              </a:cxn>
              <a:cxn ang="0">
                <a:pos x="connsiteX50676" y="connsiteY50676"/>
              </a:cxn>
              <a:cxn ang="0">
                <a:pos x="connsiteX50677" y="connsiteY50677"/>
              </a:cxn>
              <a:cxn ang="0">
                <a:pos x="connsiteX50678" y="connsiteY50678"/>
              </a:cxn>
              <a:cxn ang="0">
                <a:pos x="connsiteX50679" y="connsiteY50679"/>
              </a:cxn>
              <a:cxn ang="0">
                <a:pos x="connsiteX50680" y="connsiteY50680"/>
              </a:cxn>
              <a:cxn ang="0">
                <a:pos x="connsiteX50681" y="connsiteY50681"/>
              </a:cxn>
              <a:cxn ang="0">
                <a:pos x="connsiteX50682" y="connsiteY50682"/>
              </a:cxn>
              <a:cxn ang="0">
                <a:pos x="connsiteX50683" y="connsiteY50683"/>
              </a:cxn>
              <a:cxn ang="0">
                <a:pos x="connsiteX50684" y="connsiteY50684"/>
              </a:cxn>
              <a:cxn ang="0">
                <a:pos x="connsiteX50685" y="connsiteY50685"/>
              </a:cxn>
              <a:cxn ang="0">
                <a:pos x="connsiteX50686" y="connsiteY50686"/>
              </a:cxn>
              <a:cxn ang="0">
                <a:pos x="connsiteX50687" y="connsiteY50687"/>
              </a:cxn>
              <a:cxn ang="0">
                <a:pos x="connsiteX50688" y="connsiteY50688"/>
              </a:cxn>
              <a:cxn ang="0">
                <a:pos x="connsiteX50689" y="connsiteY50689"/>
              </a:cxn>
              <a:cxn ang="0">
                <a:pos x="connsiteX50690" y="connsiteY50690"/>
              </a:cxn>
              <a:cxn ang="0">
                <a:pos x="connsiteX50691" y="connsiteY50691"/>
              </a:cxn>
              <a:cxn ang="0">
                <a:pos x="connsiteX50692" y="connsiteY50692"/>
              </a:cxn>
              <a:cxn ang="0">
                <a:pos x="connsiteX50693" y="connsiteY50693"/>
              </a:cxn>
              <a:cxn ang="0">
                <a:pos x="connsiteX50694" y="connsiteY50694"/>
              </a:cxn>
              <a:cxn ang="0">
                <a:pos x="connsiteX50695" y="connsiteY50695"/>
              </a:cxn>
              <a:cxn ang="0">
                <a:pos x="connsiteX50696" y="connsiteY50696"/>
              </a:cxn>
              <a:cxn ang="0">
                <a:pos x="connsiteX50697" y="connsiteY50697"/>
              </a:cxn>
              <a:cxn ang="0">
                <a:pos x="connsiteX50698" y="connsiteY50698"/>
              </a:cxn>
              <a:cxn ang="0">
                <a:pos x="connsiteX50699" y="connsiteY50699"/>
              </a:cxn>
              <a:cxn ang="0">
                <a:pos x="connsiteX50700" y="connsiteY50700"/>
              </a:cxn>
              <a:cxn ang="0">
                <a:pos x="connsiteX50701" y="connsiteY50701"/>
              </a:cxn>
              <a:cxn ang="0">
                <a:pos x="connsiteX50702" y="connsiteY50702"/>
              </a:cxn>
              <a:cxn ang="0">
                <a:pos x="connsiteX50703" y="connsiteY50703"/>
              </a:cxn>
              <a:cxn ang="0">
                <a:pos x="connsiteX50704" y="connsiteY50704"/>
              </a:cxn>
              <a:cxn ang="0">
                <a:pos x="connsiteX50705" y="connsiteY50705"/>
              </a:cxn>
              <a:cxn ang="0">
                <a:pos x="connsiteX50706" y="connsiteY50706"/>
              </a:cxn>
              <a:cxn ang="0">
                <a:pos x="connsiteX50707" y="connsiteY50707"/>
              </a:cxn>
              <a:cxn ang="0">
                <a:pos x="connsiteX50708" y="connsiteY50708"/>
              </a:cxn>
              <a:cxn ang="0">
                <a:pos x="connsiteX50709" y="connsiteY50709"/>
              </a:cxn>
              <a:cxn ang="0">
                <a:pos x="connsiteX50710" y="connsiteY50710"/>
              </a:cxn>
              <a:cxn ang="0">
                <a:pos x="connsiteX50711" y="connsiteY50711"/>
              </a:cxn>
              <a:cxn ang="0">
                <a:pos x="connsiteX50712" y="connsiteY50712"/>
              </a:cxn>
              <a:cxn ang="0">
                <a:pos x="connsiteX50713" y="connsiteY50713"/>
              </a:cxn>
              <a:cxn ang="0">
                <a:pos x="connsiteX50714" y="connsiteY50714"/>
              </a:cxn>
              <a:cxn ang="0">
                <a:pos x="connsiteX50715" y="connsiteY50715"/>
              </a:cxn>
              <a:cxn ang="0">
                <a:pos x="connsiteX50716" y="connsiteY50716"/>
              </a:cxn>
              <a:cxn ang="0">
                <a:pos x="connsiteX50717" y="connsiteY50717"/>
              </a:cxn>
              <a:cxn ang="0">
                <a:pos x="connsiteX50718" y="connsiteY50718"/>
              </a:cxn>
              <a:cxn ang="0">
                <a:pos x="connsiteX50719" y="connsiteY50719"/>
              </a:cxn>
              <a:cxn ang="0">
                <a:pos x="connsiteX50720" y="connsiteY50720"/>
              </a:cxn>
              <a:cxn ang="0">
                <a:pos x="connsiteX50721" y="connsiteY50721"/>
              </a:cxn>
              <a:cxn ang="0">
                <a:pos x="connsiteX50722" y="connsiteY50722"/>
              </a:cxn>
              <a:cxn ang="0">
                <a:pos x="connsiteX50723" y="connsiteY50723"/>
              </a:cxn>
              <a:cxn ang="0">
                <a:pos x="connsiteX50724" y="connsiteY50724"/>
              </a:cxn>
              <a:cxn ang="0">
                <a:pos x="connsiteX50725" y="connsiteY50725"/>
              </a:cxn>
              <a:cxn ang="0">
                <a:pos x="connsiteX50726" y="connsiteY50726"/>
              </a:cxn>
              <a:cxn ang="0">
                <a:pos x="connsiteX50727" y="connsiteY50727"/>
              </a:cxn>
              <a:cxn ang="0">
                <a:pos x="connsiteX50728" y="connsiteY50728"/>
              </a:cxn>
              <a:cxn ang="0">
                <a:pos x="connsiteX50729" y="connsiteY50729"/>
              </a:cxn>
              <a:cxn ang="0">
                <a:pos x="connsiteX50730" y="connsiteY50730"/>
              </a:cxn>
              <a:cxn ang="0">
                <a:pos x="connsiteX50731" y="connsiteY50731"/>
              </a:cxn>
              <a:cxn ang="0">
                <a:pos x="connsiteX50732" y="connsiteY50732"/>
              </a:cxn>
              <a:cxn ang="0">
                <a:pos x="connsiteX50733" y="connsiteY50733"/>
              </a:cxn>
              <a:cxn ang="0">
                <a:pos x="connsiteX50734" y="connsiteY50734"/>
              </a:cxn>
              <a:cxn ang="0">
                <a:pos x="connsiteX50735" y="connsiteY50735"/>
              </a:cxn>
              <a:cxn ang="0">
                <a:pos x="connsiteX50736" y="connsiteY50736"/>
              </a:cxn>
              <a:cxn ang="0">
                <a:pos x="connsiteX50737" y="connsiteY50737"/>
              </a:cxn>
              <a:cxn ang="0">
                <a:pos x="connsiteX50738" y="connsiteY50738"/>
              </a:cxn>
              <a:cxn ang="0">
                <a:pos x="connsiteX50739" y="connsiteY50739"/>
              </a:cxn>
              <a:cxn ang="0">
                <a:pos x="connsiteX50740" y="connsiteY50740"/>
              </a:cxn>
              <a:cxn ang="0">
                <a:pos x="connsiteX50741" y="connsiteY50741"/>
              </a:cxn>
              <a:cxn ang="0">
                <a:pos x="connsiteX50742" y="connsiteY50742"/>
              </a:cxn>
              <a:cxn ang="0">
                <a:pos x="connsiteX50743" y="connsiteY50743"/>
              </a:cxn>
              <a:cxn ang="0">
                <a:pos x="connsiteX50744" y="connsiteY50744"/>
              </a:cxn>
              <a:cxn ang="0">
                <a:pos x="connsiteX50745" y="connsiteY50745"/>
              </a:cxn>
              <a:cxn ang="0">
                <a:pos x="connsiteX50746" y="connsiteY50746"/>
              </a:cxn>
              <a:cxn ang="0">
                <a:pos x="connsiteX50747" y="connsiteY50747"/>
              </a:cxn>
              <a:cxn ang="0">
                <a:pos x="connsiteX50748" y="connsiteY50748"/>
              </a:cxn>
              <a:cxn ang="0">
                <a:pos x="connsiteX50749" y="connsiteY50749"/>
              </a:cxn>
              <a:cxn ang="0">
                <a:pos x="connsiteX50750" y="connsiteY50750"/>
              </a:cxn>
              <a:cxn ang="0">
                <a:pos x="connsiteX50751" y="connsiteY50751"/>
              </a:cxn>
              <a:cxn ang="0">
                <a:pos x="connsiteX50752" y="connsiteY50752"/>
              </a:cxn>
              <a:cxn ang="0">
                <a:pos x="connsiteX50753" y="connsiteY50753"/>
              </a:cxn>
              <a:cxn ang="0">
                <a:pos x="connsiteX50754" y="connsiteY50754"/>
              </a:cxn>
              <a:cxn ang="0">
                <a:pos x="connsiteX50755" y="connsiteY50755"/>
              </a:cxn>
              <a:cxn ang="0">
                <a:pos x="connsiteX50756" y="connsiteY50756"/>
              </a:cxn>
              <a:cxn ang="0">
                <a:pos x="connsiteX50757" y="connsiteY50757"/>
              </a:cxn>
              <a:cxn ang="0">
                <a:pos x="connsiteX50758" y="connsiteY50758"/>
              </a:cxn>
              <a:cxn ang="0">
                <a:pos x="connsiteX50759" y="connsiteY50759"/>
              </a:cxn>
              <a:cxn ang="0">
                <a:pos x="connsiteX50760" y="connsiteY50760"/>
              </a:cxn>
              <a:cxn ang="0">
                <a:pos x="connsiteX50761" y="connsiteY50761"/>
              </a:cxn>
              <a:cxn ang="0">
                <a:pos x="connsiteX50762" y="connsiteY50762"/>
              </a:cxn>
              <a:cxn ang="0">
                <a:pos x="connsiteX50763" y="connsiteY50763"/>
              </a:cxn>
              <a:cxn ang="0">
                <a:pos x="connsiteX50764" y="connsiteY50764"/>
              </a:cxn>
              <a:cxn ang="0">
                <a:pos x="connsiteX50765" y="connsiteY50765"/>
              </a:cxn>
              <a:cxn ang="0">
                <a:pos x="connsiteX50766" y="connsiteY50766"/>
              </a:cxn>
              <a:cxn ang="0">
                <a:pos x="connsiteX50767" y="connsiteY50767"/>
              </a:cxn>
              <a:cxn ang="0">
                <a:pos x="connsiteX50768" y="connsiteY50768"/>
              </a:cxn>
              <a:cxn ang="0">
                <a:pos x="connsiteX50769" y="connsiteY50769"/>
              </a:cxn>
              <a:cxn ang="0">
                <a:pos x="connsiteX50770" y="connsiteY50770"/>
              </a:cxn>
              <a:cxn ang="0">
                <a:pos x="connsiteX50771" y="connsiteY50771"/>
              </a:cxn>
              <a:cxn ang="0">
                <a:pos x="connsiteX50772" y="connsiteY50772"/>
              </a:cxn>
              <a:cxn ang="0">
                <a:pos x="connsiteX50773" y="connsiteY50773"/>
              </a:cxn>
              <a:cxn ang="0">
                <a:pos x="connsiteX50774" y="connsiteY50774"/>
              </a:cxn>
              <a:cxn ang="0">
                <a:pos x="connsiteX50775" y="connsiteY50775"/>
              </a:cxn>
              <a:cxn ang="0">
                <a:pos x="connsiteX50776" y="connsiteY50776"/>
              </a:cxn>
              <a:cxn ang="0">
                <a:pos x="connsiteX50777" y="connsiteY50777"/>
              </a:cxn>
              <a:cxn ang="0">
                <a:pos x="connsiteX50778" y="connsiteY50778"/>
              </a:cxn>
              <a:cxn ang="0">
                <a:pos x="connsiteX50779" y="connsiteY50779"/>
              </a:cxn>
              <a:cxn ang="0">
                <a:pos x="connsiteX50780" y="connsiteY50780"/>
              </a:cxn>
              <a:cxn ang="0">
                <a:pos x="connsiteX50781" y="connsiteY50781"/>
              </a:cxn>
              <a:cxn ang="0">
                <a:pos x="connsiteX50782" y="connsiteY50782"/>
              </a:cxn>
              <a:cxn ang="0">
                <a:pos x="connsiteX50783" y="connsiteY50783"/>
              </a:cxn>
              <a:cxn ang="0">
                <a:pos x="connsiteX50784" y="connsiteY50784"/>
              </a:cxn>
              <a:cxn ang="0">
                <a:pos x="connsiteX50785" y="connsiteY50785"/>
              </a:cxn>
              <a:cxn ang="0">
                <a:pos x="connsiteX50786" y="connsiteY50786"/>
              </a:cxn>
              <a:cxn ang="0">
                <a:pos x="connsiteX50787" y="connsiteY50787"/>
              </a:cxn>
              <a:cxn ang="0">
                <a:pos x="connsiteX50788" y="connsiteY50788"/>
              </a:cxn>
              <a:cxn ang="0">
                <a:pos x="connsiteX50789" y="connsiteY50789"/>
              </a:cxn>
              <a:cxn ang="0">
                <a:pos x="connsiteX50790" y="connsiteY50790"/>
              </a:cxn>
              <a:cxn ang="0">
                <a:pos x="connsiteX50791" y="connsiteY50791"/>
              </a:cxn>
              <a:cxn ang="0">
                <a:pos x="connsiteX50792" y="connsiteY50792"/>
              </a:cxn>
              <a:cxn ang="0">
                <a:pos x="connsiteX50793" y="connsiteY50793"/>
              </a:cxn>
              <a:cxn ang="0">
                <a:pos x="connsiteX50794" y="connsiteY50794"/>
              </a:cxn>
              <a:cxn ang="0">
                <a:pos x="connsiteX50795" y="connsiteY50795"/>
              </a:cxn>
              <a:cxn ang="0">
                <a:pos x="connsiteX50796" y="connsiteY50796"/>
              </a:cxn>
              <a:cxn ang="0">
                <a:pos x="connsiteX50797" y="connsiteY50797"/>
              </a:cxn>
              <a:cxn ang="0">
                <a:pos x="connsiteX50798" y="connsiteY50798"/>
              </a:cxn>
              <a:cxn ang="0">
                <a:pos x="connsiteX50799" y="connsiteY50799"/>
              </a:cxn>
              <a:cxn ang="0">
                <a:pos x="connsiteX50800" y="connsiteY50800"/>
              </a:cxn>
              <a:cxn ang="0">
                <a:pos x="connsiteX50801" y="connsiteY50801"/>
              </a:cxn>
              <a:cxn ang="0">
                <a:pos x="connsiteX50802" y="connsiteY50802"/>
              </a:cxn>
              <a:cxn ang="0">
                <a:pos x="connsiteX50803" y="connsiteY50803"/>
              </a:cxn>
              <a:cxn ang="0">
                <a:pos x="connsiteX50804" y="connsiteY50804"/>
              </a:cxn>
              <a:cxn ang="0">
                <a:pos x="connsiteX50805" y="connsiteY50805"/>
              </a:cxn>
              <a:cxn ang="0">
                <a:pos x="connsiteX50806" y="connsiteY50806"/>
              </a:cxn>
              <a:cxn ang="0">
                <a:pos x="connsiteX50807" y="connsiteY50807"/>
              </a:cxn>
              <a:cxn ang="0">
                <a:pos x="connsiteX50808" y="connsiteY50808"/>
              </a:cxn>
              <a:cxn ang="0">
                <a:pos x="connsiteX50809" y="connsiteY50809"/>
              </a:cxn>
              <a:cxn ang="0">
                <a:pos x="connsiteX50810" y="connsiteY50810"/>
              </a:cxn>
              <a:cxn ang="0">
                <a:pos x="connsiteX50811" y="connsiteY50811"/>
              </a:cxn>
              <a:cxn ang="0">
                <a:pos x="connsiteX50812" y="connsiteY50812"/>
              </a:cxn>
              <a:cxn ang="0">
                <a:pos x="connsiteX50813" y="connsiteY50813"/>
              </a:cxn>
              <a:cxn ang="0">
                <a:pos x="connsiteX50814" y="connsiteY50814"/>
              </a:cxn>
              <a:cxn ang="0">
                <a:pos x="connsiteX50815" y="connsiteY50815"/>
              </a:cxn>
              <a:cxn ang="0">
                <a:pos x="connsiteX50816" y="connsiteY50816"/>
              </a:cxn>
              <a:cxn ang="0">
                <a:pos x="connsiteX50817" y="connsiteY50817"/>
              </a:cxn>
              <a:cxn ang="0">
                <a:pos x="connsiteX50818" y="connsiteY50818"/>
              </a:cxn>
              <a:cxn ang="0">
                <a:pos x="connsiteX50819" y="connsiteY50819"/>
              </a:cxn>
              <a:cxn ang="0">
                <a:pos x="connsiteX50820" y="connsiteY50820"/>
              </a:cxn>
              <a:cxn ang="0">
                <a:pos x="connsiteX50821" y="connsiteY50821"/>
              </a:cxn>
              <a:cxn ang="0">
                <a:pos x="connsiteX50822" y="connsiteY50822"/>
              </a:cxn>
              <a:cxn ang="0">
                <a:pos x="connsiteX50823" y="connsiteY50823"/>
              </a:cxn>
              <a:cxn ang="0">
                <a:pos x="connsiteX50824" y="connsiteY50824"/>
              </a:cxn>
              <a:cxn ang="0">
                <a:pos x="connsiteX50825" y="connsiteY50825"/>
              </a:cxn>
              <a:cxn ang="0">
                <a:pos x="connsiteX50826" y="connsiteY50826"/>
              </a:cxn>
              <a:cxn ang="0">
                <a:pos x="connsiteX50827" y="connsiteY50827"/>
              </a:cxn>
              <a:cxn ang="0">
                <a:pos x="connsiteX50828" y="connsiteY50828"/>
              </a:cxn>
              <a:cxn ang="0">
                <a:pos x="connsiteX50829" y="connsiteY50829"/>
              </a:cxn>
              <a:cxn ang="0">
                <a:pos x="connsiteX50830" y="connsiteY50830"/>
              </a:cxn>
              <a:cxn ang="0">
                <a:pos x="connsiteX50831" y="connsiteY50831"/>
              </a:cxn>
              <a:cxn ang="0">
                <a:pos x="connsiteX50832" y="connsiteY50832"/>
              </a:cxn>
              <a:cxn ang="0">
                <a:pos x="connsiteX50833" y="connsiteY50833"/>
              </a:cxn>
              <a:cxn ang="0">
                <a:pos x="connsiteX50834" y="connsiteY50834"/>
              </a:cxn>
              <a:cxn ang="0">
                <a:pos x="connsiteX50835" y="connsiteY50835"/>
              </a:cxn>
              <a:cxn ang="0">
                <a:pos x="connsiteX50836" y="connsiteY50836"/>
              </a:cxn>
              <a:cxn ang="0">
                <a:pos x="connsiteX50837" y="connsiteY50837"/>
              </a:cxn>
              <a:cxn ang="0">
                <a:pos x="connsiteX50838" y="connsiteY50838"/>
              </a:cxn>
              <a:cxn ang="0">
                <a:pos x="connsiteX50839" y="connsiteY50839"/>
              </a:cxn>
              <a:cxn ang="0">
                <a:pos x="connsiteX50840" y="connsiteY50840"/>
              </a:cxn>
              <a:cxn ang="0">
                <a:pos x="connsiteX50841" y="connsiteY50841"/>
              </a:cxn>
              <a:cxn ang="0">
                <a:pos x="connsiteX50842" y="connsiteY50842"/>
              </a:cxn>
              <a:cxn ang="0">
                <a:pos x="connsiteX50843" y="connsiteY50843"/>
              </a:cxn>
              <a:cxn ang="0">
                <a:pos x="connsiteX50844" y="connsiteY50844"/>
              </a:cxn>
              <a:cxn ang="0">
                <a:pos x="connsiteX50845" y="connsiteY50845"/>
              </a:cxn>
              <a:cxn ang="0">
                <a:pos x="connsiteX50846" y="connsiteY50846"/>
              </a:cxn>
              <a:cxn ang="0">
                <a:pos x="connsiteX50847" y="connsiteY50847"/>
              </a:cxn>
              <a:cxn ang="0">
                <a:pos x="connsiteX50848" y="connsiteY50848"/>
              </a:cxn>
              <a:cxn ang="0">
                <a:pos x="connsiteX50849" y="connsiteY50849"/>
              </a:cxn>
              <a:cxn ang="0">
                <a:pos x="connsiteX50850" y="connsiteY50850"/>
              </a:cxn>
              <a:cxn ang="0">
                <a:pos x="connsiteX50851" y="connsiteY50851"/>
              </a:cxn>
              <a:cxn ang="0">
                <a:pos x="connsiteX50852" y="connsiteY50852"/>
              </a:cxn>
              <a:cxn ang="0">
                <a:pos x="connsiteX50853" y="connsiteY50853"/>
              </a:cxn>
              <a:cxn ang="0">
                <a:pos x="connsiteX50854" y="connsiteY50854"/>
              </a:cxn>
              <a:cxn ang="0">
                <a:pos x="connsiteX50855" y="connsiteY50855"/>
              </a:cxn>
              <a:cxn ang="0">
                <a:pos x="connsiteX50856" y="connsiteY50856"/>
              </a:cxn>
              <a:cxn ang="0">
                <a:pos x="connsiteX50857" y="connsiteY50857"/>
              </a:cxn>
              <a:cxn ang="0">
                <a:pos x="connsiteX50858" y="connsiteY50858"/>
              </a:cxn>
              <a:cxn ang="0">
                <a:pos x="connsiteX50859" y="connsiteY50859"/>
              </a:cxn>
              <a:cxn ang="0">
                <a:pos x="connsiteX50860" y="connsiteY50860"/>
              </a:cxn>
              <a:cxn ang="0">
                <a:pos x="connsiteX50861" y="connsiteY50861"/>
              </a:cxn>
              <a:cxn ang="0">
                <a:pos x="connsiteX50862" y="connsiteY50862"/>
              </a:cxn>
              <a:cxn ang="0">
                <a:pos x="connsiteX50863" y="connsiteY50863"/>
              </a:cxn>
              <a:cxn ang="0">
                <a:pos x="connsiteX50864" y="connsiteY50864"/>
              </a:cxn>
              <a:cxn ang="0">
                <a:pos x="connsiteX50865" y="connsiteY50865"/>
              </a:cxn>
              <a:cxn ang="0">
                <a:pos x="connsiteX50866" y="connsiteY50866"/>
              </a:cxn>
              <a:cxn ang="0">
                <a:pos x="connsiteX50867" y="connsiteY50867"/>
              </a:cxn>
              <a:cxn ang="0">
                <a:pos x="connsiteX50868" y="connsiteY50868"/>
              </a:cxn>
              <a:cxn ang="0">
                <a:pos x="connsiteX50869" y="connsiteY50869"/>
              </a:cxn>
              <a:cxn ang="0">
                <a:pos x="connsiteX50870" y="connsiteY50870"/>
              </a:cxn>
              <a:cxn ang="0">
                <a:pos x="connsiteX50871" y="connsiteY50871"/>
              </a:cxn>
              <a:cxn ang="0">
                <a:pos x="connsiteX50872" y="connsiteY50872"/>
              </a:cxn>
              <a:cxn ang="0">
                <a:pos x="connsiteX50873" y="connsiteY50873"/>
              </a:cxn>
              <a:cxn ang="0">
                <a:pos x="connsiteX50874" y="connsiteY50874"/>
              </a:cxn>
              <a:cxn ang="0">
                <a:pos x="connsiteX50875" y="connsiteY50875"/>
              </a:cxn>
              <a:cxn ang="0">
                <a:pos x="connsiteX50876" y="connsiteY50876"/>
              </a:cxn>
              <a:cxn ang="0">
                <a:pos x="connsiteX50877" y="connsiteY50877"/>
              </a:cxn>
              <a:cxn ang="0">
                <a:pos x="connsiteX50878" y="connsiteY50878"/>
              </a:cxn>
              <a:cxn ang="0">
                <a:pos x="connsiteX50879" y="connsiteY50879"/>
              </a:cxn>
              <a:cxn ang="0">
                <a:pos x="connsiteX50880" y="connsiteY50880"/>
              </a:cxn>
              <a:cxn ang="0">
                <a:pos x="connsiteX50881" y="connsiteY50881"/>
              </a:cxn>
              <a:cxn ang="0">
                <a:pos x="connsiteX50882" y="connsiteY50882"/>
              </a:cxn>
              <a:cxn ang="0">
                <a:pos x="connsiteX50883" y="connsiteY50883"/>
              </a:cxn>
              <a:cxn ang="0">
                <a:pos x="connsiteX50884" y="connsiteY50884"/>
              </a:cxn>
              <a:cxn ang="0">
                <a:pos x="connsiteX50885" y="connsiteY50885"/>
              </a:cxn>
              <a:cxn ang="0">
                <a:pos x="connsiteX50886" y="connsiteY50886"/>
              </a:cxn>
              <a:cxn ang="0">
                <a:pos x="connsiteX50887" y="connsiteY50887"/>
              </a:cxn>
              <a:cxn ang="0">
                <a:pos x="connsiteX50888" y="connsiteY50888"/>
              </a:cxn>
              <a:cxn ang="0">
                <a:pos x="connsiteX50889" y="connsiteY50889"/>
              </a:cxn>
              <a:cxn ang="0">
                <a:pos x="connsiteX50890" y="connsiteY50890"/>
              </a:cxn>
              <a:cxn ang="0">
                <a:pos x="connsiteX50891" y="connsiteY50891"/>
              </a:cxn>
              <a:cxn ang="0">
                <a:pos x="connsiteX50892" y="connsiteY50892"/>
              </a:cxn>
              <a:cxn ang="0">
                <a:pos x="connsiteX50893" y="connsiteY50893"/>
              </a:cxn>
              <a:cxn ang="0">
                <a:pos x="connsiteX50894" y="connsiteY50894"/>
              </a:cxn>
              <a:cxn ang="0">
                <a:pos x="connsiteX50895" y="connsiteY50895"/>
              </a:cxn>
              <a:cxn ang="0">
                <a:pos x="connsiteX50896" y="connsiteY50896"/>
              </a:cxn>
              <a:cxn ang="0">
                <a:pos x="connsiteX50897" y="connsiteY50897"/>
              </a:cxn>
              <a:cxn ang="0">
                <a:pos x="connsiteX50898" y="connsiteY50898"/>
              </a:cxn>
              <a:cxn ang="0">
                <a:pos x="connsiteX50899" y="connsiteY50899"/>
              </a:cxn>
              <a:cxn ang="0">
                <a:pos x="connsiteX50900" y="connsiteY50900"/>
              </a:cxn>
              <a:cxn ang="0">
                <a:pos x="connsiteX50901" y="connsiteY50901"/>
              </a:cxn>
              <a:cxn ang="0">
                <a:pos x="connsiteX50902" y="connsiteY50902"/>
              </a:cxn>
              <a:cxn ang="0">
                <a:pos x="connsiteX50903" y="connsiteY50903"/>
              </a:cxn>
              <a:cxn ang="0">
                <a:pos x="connsiteX50904" y="connsiteY50904"/>
              </a:cxn>
              <a:cxn ang="0">
                <a:pos x="connsiteX50905" y="connsiteY50905"/>
              </a:cxn>
              <a:cxn ang="0">
                <a:pos x="connsiteX50906" y="connsiteY50906"/>
              </a:cxn>
              <a:cxn ang="0">
                <a:pos x="connsiteX50907" y="connsiteY50907"/>
              </a:cxn>
              <a:cxn ang="0">
                <a:pos x="connsiteX50908" y="connsiteY50908"/>
              </a:cxn>
              <a:cxn ang="0">
                <a:pos x="connsiteX50909" y="connsiteY50909"/>
              </a:cxn>
              <a:cxn ang="0">
                <a:pos x="connsiteX50910" y="connsiteY50910"/>
              </a:cxn>
              <a:cxn ang="0">
                <a:pos x="connsiteX50911" y="connsiteY50911"/>
              </a:cxn>
              <a:cxn ang="0">
                <a:pos x="connsiteX50912" y="connsiteY50912"/>
              </a:cxn>
              <a:cxn ang="0">
                <a:pos x="connsiteX50913" y="connsiteY50913"/>
              </a:cxn>
              <a:cxn ang="0">
                <a:pos x="connsiteX50914" y="connsiteY50914"/>
              </a:cxn>
              <a:cxn ang="0">
                <a:pos x="connsiteX50915" y="connsiteY50915"/>
              </a:cxn>
              <a:cxn ang="0">
                <a:pos x="connsiteX50916" y="connsiteY50916"/>
              </a:cxn>
              <a:cxn ang="0">
                <a:pos x="connsiteX50917" y="connsiteY50917"/>
              </a:cxn>
              <a:cxn ang="0">
                <a:pos x="connsiteX50918" y="connsiteY50918"/>
              </a:cxn>
              <a:cxn ang="0">
                <a:pos x="connsiteX50919" y="connsiteY50919"/>
              </a:cxn>
              <a:cxn ang="0">
                <a:pos x="connsiteX50920" y="connsiteY50920"/>
              </a:cxn>
              <a:cxn ang="0">
                <a:pos x="connsiteX50921" y="connsiteY50921"/>
              </a:cxn>
              <a:cxn ang="0">
                <a:pos x="connsiteX50922" y="connsiteY50922"/>
              </a:cxn>
              <a:cxn ang="0">
                <a:pos x="connsiteX50923" y="connsiteY50923"/>
              </a:cxn>
              <a:cxn ang="0">
                <a:pos x="connsiteX50924" y="connsiteY50924"/>
              </a:cxn>
              <a:cxn ang="0">
                <a:pos x="connsiteX50925" y="connsiteY50925"/>
              </a:cxn>
              <a:cxn ang="0">
                <a:pos x="connsiteX50926" y="connsiteY50926"/>
              </a:cxn>
              <a:cxn ang="0">
                <a:pos x="connsiteX50927" y="connsiteY50927"/>
              </a:cxn>
              <a:cxn ang="0">
                <a:pos x="connsiteX50928" y="connsiteY50928"/>
              </a:cxn>
              <a:cxn ang="0">
                <a:pos x="connsiteX50929" y="connsiteY50929"/>
              </a:cxn>
              <a:cxn ang="0">
                <a:pos x="connsiteX50930" y="connsiteY50930"/>
              </a:cxn>
              <a:cxn ang="0">
                <a:pos x="connsiteX50931" y="connsiteY50931"/>
              </a:cxn>
              <a:cxn ang="0">
                <a:pos x="connsiteX50932" y="connsiteY50932"/>
              </a:cxn>
              <a:cxn ang="0">
                <a:pos x="connsiteX50933" y="connsiteY50933"/>
              </a:cxn>
              <a:cxn ang="0">
                <a:pos x="connsiteX50934" y="connsiteY50934"/>
              </a:cxn>
              <a:cxn ang="0">
                <a:pos x="connsiteX50935" y="connsiteY50935"/>
              </a:cxn>
              <a:cxn ang="0">
                <a:pos x="connsiteX50936" y="connsiteY50936"/>
              </a:cxn>
              <a:cxn ang="0">
                <a:pos x="connsiteX50937" y="connsiteY50937"/>
              </a:cxn>
              <a:cxn ang="0">
                <a:pos x="connsiteX50938" y="connsiteY50938"/>
              </a:cxn>
              <a:cxn ang="0">
                <a:pos x="connsiteX50939" y="connsiteY50939"/>
              </a:cxn>
              <a:cxn ang="0">
                <a:pos x="connsiteX50940" y="connsiteY50940"/>
              </a:cxn>
              <a:cxn ang="0">
                <a:pos x="connsiteX50941" y="connsiteY50941"/>
              </a:cxn>
              <a:cxn ang="0">
                <a:pos x="connsiteX50942" y="connsiteY50942"/>
              </a:cxn>
              <a:cxn ang="0">
                <a:pos x="connsiteX50943" y="connsiteY50943"/>
              </a:cxn>
              <a:cxn ang="0">
                <a:pos x="connsiteX50944" y="connsiteY50944"/>
              </a:cxn>
              <a:cxn ang="0">
                <a:pos x="connsiteX50945" y="connsiteY50945"/>
              </a:cxn>
              <a:cxn ang="0">
                <a:pos x="connsiteX50946" y="connsiteY50946"/>
              </a:cxn>
              <a:cxn ang="0">
                <a:pos x="connsiteX50947" y="connsiteY50947"/>
              </a:cxn>
              <a:cxn ang="0">
                <a:pos x="connsiteX50948" y="connsiteY50948"/>
              </a:cxn>
              <a:cxn ang="0">
                <a:pos x="connsiteX50949" y="connsiteY50949"/>
              </a:cxn>
              <a:cxn ang="0">
                <a:pos x="connsiteX50950" y="connsiteY50950"/>
              </a:cxn>
              <a:cxn ang="0">
                <a:pos x="connsiteX50951" y="connsiteY50951"/>
              </a:cxn>
              <a:cxn ang="0">
                <a:pos x="connsiteX50952" y="connsiteY50952"/>
              </a:cxn>
              <a:cxn ang="0">
                <a:pos x="connsiteX50953" y="connsiteY50953"/>
              </a:cxn>
              <a:cxn ang="0">
                <a:pos x="connsiteX50954" y="connsiteY50954"/>
              </a:cxn>
              <a:cxn ang="0">
                <a:pos x="connsiteX50955" y="connsiteY50955"/>
              </a:cxn>
              <a:cxn ang="0">
                <a:pos x="connsiteX50956" y="connsiteY50956"/>
              </a:cxn>
              <a:cxn ang="0">
                <a:pos x="connsiteX50957" y="connsiteY50957"/>
              </a:cxn>
              <a:cxn ang="0">
                <a:pos x="connsiteX50958" y="connsiteY50958"/>
              </a:cxn>
              <a:cxn ang="0">
                <a:pos x="connsiteX50959" y="connsiteY50959"/>
              </a:cxn>
              <a:cxn ang="0">
                <a:pos x="connsiteX50960" y="connsiteY50960"/>
              </a:cxn>
              <a:cxn ang="0">
                <a:pos x="connsiteX50961" y="connsiteY50961"/>
              </a:cxn>
              <a:cxn ang="0">
                <a:pos x="connsiteX50962" y="connsiteY50962"/>
              </a:cxn>
              <a:cxn ang="0">
                <a:pos x="connsiteX50963" y="connsiteY50963"/>
              </a:cxn>
              <a:cxn ang="0">
                <a:pos x="connsiteX50964" y="connsiteY50964"/>
              </a:cxn>
              <a:cxn ang="0">
                <a:pos x="connsiteX50965" y="connsiteY50965"/>
              </a:cxn>
              <a:cxn ang="0">
                <a:pos x="connsiteX50966" y="connsiteY50966"/>
              </a:cxn>
              <a:cxn ang="0">
                <a:pos x="connsiteX50967" y="connsiteY50967"/>
              </a:cxn>
              <a:cxn ang="0">
                <a:pos x="connsiteX50968" y="connsiteY50968"/>
              </a:cxn>
              <a:cxn ang="0">
                <a:pos x="connsiteX50969" y="connsiteY50969"/>
              </a:cxn>
              <a:cxn ang="0">
                <a:pos x="connsiteX50970" y="connsiteY50970"/>
              </a:cxn>
              <a:cxn ang="0">
                <a:pos x="connsiteX50971" y="connsiteY50971"/>
              </a:cxn>
              <a:cxn ang="0">
                <a:pos x="connsiteX50972" y="connsiteY50972"/>
              </a:cxn>
              <a:cxn ang="0">
                <a:pos x="connsiteX50973" y="connsiteY50973"/>
              </a:cxn>
              <a:cxn ang="0">
                <a:pos x="connsiteX50974" y="connsiteY50974"/>
              </a:cxn>
              <a:cxn ang="0">
                <a:pos x="connsiteX50975" y="connsiteY50975"/>
              </a:cxn>
              <a:cxn ang="0">
                <a:pos x="connsiteX50976" y="connsiteY50976"/>
              </a:cxn>
              <a:cxn ang="0">
                <a:pos x="connsiteX50977" y="connsiteY50977"/>
              </a:cxn>
              <a:cxn ang="0">
                <a:pos x="connsiteX50978" y="connsiteY50978"/>
              </a:cxn>
              <a:cxn ang="0">
                <a:pos x="connsiteX50979" y="connsiteY50979"/>
              </a:cxn>
              <a:cxn ang="0">
                <a:pos x="connsiteX50980" y="connsiteY50980"/>
              </a:cxn>
              <a:cxn ang="0">
                <a:pos x="connsiteX50981" y="connsiteY50981"/>
              </a:cxn>
              <a:cxn ang="0">
                <a:pos x="connsiteX50982" y="connsiteY50982"/>
              </a:cxn>
              <a:cxn ang="0">
                <a:pos x="connsiteX50983" y="connsiteY50983"/>
              </a:cxn>
              <a:cxn ang="0">
                <a:pos x="connsiteX50984" y="connsiteY50984"/>
              </a:cxn>
              <a:cxn ang="0">
                <a:pos x="connsiteX50985" y="connsiteY50985"/>
              </a:cxn>
              <a:cxn ang="0">
                <a:pos x="connsiteX50986" y="connsiteY50986"/>
              </a:cxn>
              <a:cxn ang="0">
                <a:pos x="connsiteX50987" y="connsiteY50987"/>
              </a:cxn>
              <a:cxn ang="0">
                <a:pos x="connsiteX50988" y="connsiteY50988"/>
              </a:cxn>
              <a:cxn ang="0">
                <a:pos x="connsiteX50989" y="connsiteY50989"/>
              </a:cxn>
              <a:cxn ang="0">
                <a:pos x="connsiteX50990" y="connsiteY50990"/>
              </a:cxn>
              <a:cxn ang="0">
                <a:pos x="connsiteX50991" y="connsiteY50991"/>
              </a:cxn>
              <a:cxn ang="0">
                <a:pos x="connsiteX50992" y="connsiteY50992"/>
              </a:cxn>
              <a:cxn ang="0">
                <a:pos x="connsiteX50993" y="connsiteY50993"/>
              </a:cxn>
              <a:cxn ang="0">
                <a:pos x="connsiteX50994" y="connsiteY50994"/>
              </a:cxn>
              <a:cxn ang="0">
                <a:pos x="connsiteX50995" y="connsiteY50995"/>
              </a:cxn>
              <a:cxn ang="0">
                <a:pos x="connsiteX50996" y="connsiteY50996"/>
              </a:cxn>
              <a:cxn ang="0">
                <a:pos x="connsiteX50997" y="connsiteY50997"/>
              </a:cxn>
              <a:cxn ang="0">
                <a:pos x="connsiteX50998" y="connsiteY50998"/>
              </a:cxn>
              <a:cxn ang="0">
                <a:pos x="connsiteX50999" y="connsiteY50999"/>
              </a:cxn>
              <a:cxn ang="0">
                <a:pos x="connsiteX51000" y="connsiteY51000"/>
              </a:cxn>
              <a:cxn ang="0">
                <a:pos x="connsiteX51001" y="connsiteY51001"/>
              </a:cxn>
              <a:cxn ang="0">
                <a:pos x="connsiteX51002" y="connsiteY51002"/>
              </a:cxn>
              <a:cxn ang="0">
                <a:pos x="connsiteX51003" y="connsiteY51003"/>
              </a:cxn>
              <a:cxn ang="0">
                <a:pos x="connsiteX51004" y="connsiteY51004"/>
              </a:cxn>
              <a:cxn ang="0">
                <a:pos x="connsiteX51005" y="connsiteY51005"/>
              </a:cxn>
              <a:cxn ang="0">
                <a:pos x="connsiteX51006" y="connsiteY51006"/>
              </a:cxn>
              <a:cxn ang="0">
                <a:pos x="connsiteX51007" y="connsiteY51007"/>
              </a:cxn>
              <a:cxn ang="0">
                <a:pos x="connsiteX51008" y="connsiteY51008"/>
              </a:cxn>
              <a:cxn ang="0">
                <a:pos x="connsiteX51009" y="connsiteY51009"/>
              </a:cxn>
              <a:cxn ang="0">
                <a:pos x="connsiteX51010" y="connsiteY51010"/>
              </a:cxn>
              <a:cxn ang="0">
                <a:pos x="connsiteX51011" y="connsiteY51011"/>
              </a:cxn>
              <a:cxn ang="0">
                <a:pos x="connsiteX51012" y="connsiteY51012"/>
              </a:cxn>
              <a:cxn ang="0">
                <a:pos x="connsiteX51013" y="connsiteY51013"/>
              </a:cxn>
              <a:cxn ang="0">
                <a:pos x="connsiteX51014" y="connsiteY51014"/>
              </a:cxn>
              <a:cxn ang="0">
                <a:pos x="connsiteX51015" y="connsiteY51015"/>
              </a:cxn>
              <a:cxn ang="0">
                <a:pos x="connsiteX51016" y="connsiteY51016"/>
              </a:cxn>
              <a:cxn ang="0">
                <a:pos x="connsiteX51017" y="connsiteY51017"/>
              </a:cxn>
              <a:cxn ang="0">
                <a:pos x="connsiteX51018" y="connsiteY51018"/>
              </a:cxn>
              <a:cxn ang="0">
                <a:pos x="connsiteX51019" y="connsiteY51019"/>
              </a:cxn>
              <a:cxn ang="0">
                <a:pos x="connsiteX51020" y="connsiteY51020"/>
              </a:cxn>
              <a:cxn ang="0">
                <a:pos x="connsiteX51021" y="connsiteY51021"/>
              </a:cxn>
              <a:cxn ang="0">
                <a:pos x="connsiteX51022" y="connsiteY51022"/>
              </a:cxn>
              <a:cxn ang="0">
                <a:pos x="connsiteX51023" y="connsiteY51023"/>
              </a:cxn>
              <a:cxn ang="0">
                <a:pos x="connsiteX51024" y="connsiteY51024"/>
              </a:cxn>
              <a:cxn ang="0">
                <a:pos x="connsiteX51025" y="connsiteY51025"/>
              </a:cxn>
              <a:cxn ang="0">
                <a:pos x="connsiteX51026" y="connsiteY51026"/>
              </a:cxn>
              <a:cxn ang="0">
                <a:pos x="connsiteX51027" y="connsiteY51027"/>
              </a:cxn>
              <a:cxn ang="0">
                <a:pos x="connsiteX51028" y="connsiteY51028"/>
              </a:cxn>
              <a:cxn ang="0">
                <a:pos x="connsiteX51029" y="connsiteY51029"/>
              </a:cxn>
              <a:cxn ang="0">
                <a:pos x="connsiteX51030" y="connsiteY51030"/>
              </a:cxn>
              <a:cxn ang="0">
                <a:pos x="connsiteX51031" y="connsiteY51031"/>
              </a:cxn>
              <a:cxn ang="0">
                <a:pos x="connsiteX51032" y="connsiteY51032"/>
              </a:cxn>
              <a:cxn ang="0">
                <a:pos x="connsiteX51033" y="connsiteY51033"/>
              </a:cxn>
              <a:cxn ang="0">
                <a:pos x="connsiteX51034" y="connsiteY51034"/>
              </a:cxn>
              <a:cxn ang="0">
                <a:pos x="connsiteX51035" y="connsiteY51035"/>
              </a:cxn>
              <a:cxn ang="0">
                <a:pos x="connsiteX51036" y="connsiteY51036"/>
              </a:cxn>
              <a:cxn ang="0">
                <a:pos x="connsiteX51037" y="connsiteY51037"/>
              </a:cxn>
              <a:cxn ang="0">
                <a:pos x="connsiteX51038" y="connsiteY51038"/>
              </a:cxn>
              <a:cxn ang="0">
                <a:pos x="connsiteX51039" y="connsiteY51039"/>
              </a:cxn>
              <a:cxn ang="0">
                <a:pos x="connsiteX51040" y="connsiteY51040"/>
              </a:cxn>
              <a:cxn ang="0">
                <a:pos x="connsiteX51041" y="connsiteY51041"/>
              </a:cxn>
              <a:cxn ang="0">
                <a:pos x="connsiteX51042" y="connsiteY51042"/>
              </a:cxn>
              <a:cxn ang="0">
                <a:pos x="connsiteX51043" y="connsiteY51043"/>
              </a:cxn>
              <a:cxn ang="0">
                <a:pos x="connsiteX51044" y="connsiteY51044"/>
              </a:cxn>
              <a:cxn ang="0">
                <a:pos x="connsiteX51045" y="connsiteY51045"/>
              </a:cxn>
              <a:cxn ang="0">
                <a:pos x="connsiteX51046" y="connsiteY51046"/>
              </a:cxn>
              <a:cxn ang="0">
                <a:pos x="connsiteX51047" y="connsiteY51047"/>
              </a:cxn>
              <a:cxn ang="0">
                <a:pos x="connsiteX51048" y="connsiteY51048"/>
              </a:cxn>
              <a:cxn ang="0">
                <a:pos x="connsiteX51049" y="connsiteY51049"/>
              </a:cxn>
              <a:cxn ang="0">
                <a:pos x="connsiteX51050" y="connsiteY51050"/>
              </a:cxn>
              <a:cxn ang="0">
                <a:pos x="connsiteX51051" y="connsiteY51051"/>
              </a:cxn>
              <a:cxn ang="0">
                <a:pos x="connsiteX51052" y="connsiteY51052"/>
              </a:cxn>
              <a:cxn ang="0">
                <a:pos x="connsiteX51053" y="connsiteY51053"/>
              </a:cxn>
              <a:cxn ang="0">
                <a:pos x="connsiteX51054" y="connsiteY51054"/>
              </a:cxn>
              <a:cxn ang="0">
                <a:pos x="connsiteX51055" y="connsiteY51055"/>
              </a:cxn>
              <a:cxn ang="0">
                <a:pos x="connsiteX51056" y="connsiteY51056"/>
              </a:cxn>
              <a:cxn ang="0">
                <a:pos x="connsiteX51057" y="connsiteY51057"/>
              </a:cxn>
              <a:cxn ang="0">
                <a:pos x="connsiteX51058" y="connsiteY51058"/>
              </a:cxn>
              <a:cxn ang="0">
                <a:pos x="connsiteX51059" y="connsiteY51059"/>
              </a:cxn>
              <a:cxn ang="0">
                <a:pos x="connsiteX51060" y="connsiteY51060"/>
              </a:cxn>
              <a:cxn ang="0">
                <a:pos x="connsiteX51061" y="connsiteY51061"/>
              </a:cxn>
              <a:cxn ang="0">
                <a:pos x="connsiteX51062" y="connsiteY51062"/>
              </a:cxn>
              <a:cxn ang="0">
                <a:pos x="connsiteX51063" y="connsiteY51063"/>
              </a:cxn>
              <a:cxn ang="0">
                <a:pos x="connsiteX51064" y="connsiteY51064"/>
              </a:cxn>
              <a:cxn ang="0">
                <a:pos x="connsiteX51065" y="connsiteY51065"/>
              </a:cxn>
              <a:cxn ang="0">
                <a:pos x="connsiteX51066" y="connsiteY51066"/>
              </a:cxn>
              <a:cxn ang="0">
                <a:pos x="connsiteX51067" y="connsiteY51067"/>
              </a:cxn>
              <a:cxn ang="0">
                <a:pos x="connsiteX51068" y="connsiteY51068"/>
              </a:cxn>
              <a:cxn ang="0">
                <a:pos x="connsiteX51069" y="connsiteY51069"/>
              </a:cxn>
              <a:cxn ang="0">
                <a:pos x="connsiteX51070" y="connsiteY51070"/>
              </a:cxn>
              <a:cxn ang="0">
                <a:pos x="connsiteX51071" y="connsiteY51071"/>
              </a:cxn>
              <a:cxn ang="0">
                <a:pos x="connsiteX51072" y="connsiteY51072"/>
              </a:cxn>
              <a:cxn ang="0">
                <a:pos x="connsiteX51073" y="connsiteY51073"/>
              </a:cxn>
              <a:cxn ang="0">
                <a:pos x="connsiteX51074" y="connsiteY51074"/>
              </a:cxn>
              <a:cxn ang="0">
                <a:pos x="connsiteX51075" y="connsiteY51075"/>
              </a:cxn>
              <a:cxn ang="0">
                <a:pos x="connsiteX51076" y="connsiteY51076"/>
              </a:cxn>
              <a:cxn ang="0">
                <a:pos x="connsiteX51077" y="connsiteY51077"/>
              </a:cxn>
              <a:cxn ang="0">
                <a:pos x="connsiteX51078" y="connsiteY51078"/>
              </a:cxn>
              <a:cxn ang="0">
                <a:pos x="connsiteX51079" y="connsiteY51079"/>
              </a:cxn>
              <a:cxn ang="0">
                <a:pos x="connsiteX51080" y="connsiteY51080"/>
              </a:cxn>
              <a:cxn ang="0">
                <a:pos x="connsiteX51081" y="connsiteY51081"/>
              </a:cxn>
              <a:cxn ang="0">
                <a:pos x="connsiteX51082" y="connsiteY51082"/>
              </a:cxn>
              <a:cxn ang="0">
                <a:pos x="connsiteX51083" y="connsiteY51083"/>
              </a:cxn>
              <a:cxn ang="0">
                <a:pos x="connsiteX51084" y="connsiteY51084"/>
              </a:cxn>
              <a:cxn ang="0">
                <a:pos x="connsiteX51085" y="connsiteY51085"/>
              </a:cxn>
              <a:cxn ang="0">
                <a:pos x="connsiteX51086" y="connsiteY51086"/>
              </a:cxn>
              <a:cxn ang="0">
                <a:pos x="connsiteX51087" y="connsiteY51087"/>
              </a:cxn>
              <a:cxn ang="0">
                <a:pos x="connsiteX51088" y="connsiteY51088"/>
              </a:cxn>
              <a:cxn ang="0">
                <a:pos x="connsiteX51089" y="connsiteY51089"/>
              </a:cxn>
              <a:cxn ang="0">
                <a:pos x="connsiteX51090" y="connsiteY51090"/>
              </a:cxn>
              <a:cxn ang="0">
                <a:pos x="connsiteX51091" y="connsiteY51091"/>
              </a:cxn>
              <a:cxn ang="0">
                <a:pos x="connsiteX51092" y="connsiteY51092"/>
              </a:cxn>
              <a:cxn ang="0">
                <a:pos x="connsiteX51093" y="connsiteY51093"/>
              </a:cxn>
              <a:cxn ang="0">
                <a:pos x="connsiteX51094" y="connsiteY51094"/>
              </a:cxn>
              <a:cxn ang="0">
                <a:pos x="connsiteX51095" y="connsiteY51095"/>
              </a:cxn>
              <a:cxn ang="0">
                <a:pos x="connsiteX51096" y="connsiteY51096"/>
              </a:cxn>
              <a:cxn ang="0">
                <a:pos x="connsiteX51097" y="connsiteY51097"/>
              </a:cxn>
              <a:cxn ang="0">
                <a:pos x="connsiteX51098" y="connsiteY51098"/>
              </a:cxn>
              <a:cxn ang="0">
                <a:pos x="connsiteX51099" y="connsiteY51099"/>
              </a:cxn>
              <a:cxn ang="0">
                <a:pos x="connsiteX51100" y="connsiteY51100"/>
              </a:cxn>
              <a:cxn ang="0">
                <a:pos x="connsiteX51101" y="connsiteY51101"/>
              </a:cxn>
              <a:cxn ang="0">
                <a:pos x="connsiteX51102" y="connsiteY51102"/>
              </a:cxn>
              <a:cxn ang="0">
                <a:pos x="connsiteX51103" y="connsiteY51103"/>
              </a:cxn>
              <a:cxn ang="0">
                <a:pos x="connsiteX51104" y="connsiteY51104"/>
              </a:cxn>
              <a:cxn ang="0">
                <a:pos x="connsiteX51105" y="connsiteY51105"/>
              </a:cxn>
              <a:cxn ang="0">
                <a:pos x="connsiteX51106" y="connsiteY51106"/>
              </a:cxn>
              <a:cxn ang="0">
                <a:pos x="connsiteX51107" y="connsiteY51107"/>
              </a:cxn>
              <a:cxn ang="0">
                <a:pos x="connsiteX51108" y="connsiteY51108"/>
              </a:cxn>
              <a:cxn ang="0">
                <a:pos x="connsiteX51109" y="connsiteY51109"/>
              </a:cxn>
              <a:cxn ang="0">
                <a:pos x="connsiteX51110" y="connsiteY51110"/>
              </a:cxn>
              <a:cxn ang="0">
                <a:pos x="connsiteX51111" y="connsiteY51111"/>
              </a:cxn>
              <a:cxn ang="0">
                <a:pos x="connsiteX51112" y="connsiteY51112"/>
              </a:cxn>
              <a:cxn ang="0">
                <a:pos x="connsiteX51113" y="connsiteY51113"/>
              </a:cxn>
              <a:cxn ang="0">
                <a:pos x="connsiteX51114" y="connsiteY51114"/>
              </a:cxn>
              <a:cxn ang="0">
                <a:pos x="connsiteX51115" y="connsiteY51115"/>
              </a:cxn>
              <a:cxn ang="0">
                <a:pos x="connsiteX51116" y="connsiteY51116"/>
              </a:cxn>
              <a:cxn ang="0">
                <a:pos x="connsiteX51117" y="connsiteY51117"/>
              </a:cxn>
              <a:cxn ang="0">
                <a:pos x="connsiteX51118" y="connsiteY51118"/>
              </a:cxn>
              <a:cxn ang="0">
                <a:pos x="connsiteX51119" y="connsiteY51119"/>
              </a:cxn>
              <a:cxn ang="0">
                <a:pos x="connsiteX51120" y="connsiteY51120"/>
              </a:cxn>
              <a:cxn ang="0">
                <a:pos x="connsiteX51121" y="connsiteY51121"/>
              </a:cxn>
              <a:cxn ang="0">
                <a:pos x="connsiteX51122" y="connsiteY51122"/>
              </a:cxn>
              <a:cxn ang="0">
                <a:pos x="connsiteX51123" y="connsiteY51123"/>
              </a:cxn>
              <a:cxn ang="0">
                <a:pos x="connsiteX51124" y="connsiteY51124"/>
              </a:cxn>
              <a:cxn ang="0">
                <a:pos x="connsiteX51125" y="connsiteY51125"/>
              </a:cxn>
              <a:cxn ang="0">
                <a:pos x="connsiteX51126" y="connsiteY51126"/>
              </a:cxn>
              <a:cxn ang="0">
                <a:pos x="connsiteX51127" y="connsiteY51127"/>
              </a:cxn>
              <a:cxn ang="0">
                <a:pos x="connsiteX51128" y="connsiteY51128"/>
              </a:cxn>
              <a:cxn ang="0">
                <a:pos x="connsiteX51129" y="connsiteY51129"/>
              </a:cxn>
              <a:cxn ang="0">
                <a:pos x="connsiteX51130" y="connsiteY51130"/>
              </a:cxn>
              <a:cxn ang="0">
                <a:pos x="connsiteX51131" y="connsiteY51131"/>
              </a:cxn>
              <a:cxn ang="0">
                <a:pos x="connsiteX51132" y="connsiteY51132"/>
              </a:cxn>
              <a:cxn ang="0">
                <a:pos x="connsiteX51133" y="connsiteY51133"/>
              </a:cxn>
              <a:cxn ang="0">
                <a:pos x="connsiteX51134" y="connsiteY51134"/>
              </a:cxn>
              <a:cxn ang="0">
                <a:pos x="connsiteX51135" y="connsiteY51135"/>
              </a:cxn>
              <a:cxn ang="0">
                <a:pos x="connsiteX51136" y="connsiteY51136"/>
              </a:cxn>
              <a:cxn ang="0">
                <a:pos x="connsiteX51137" y="connsiteY51137"/>
              </a:cxn>
              <a:cxn ang="0">
                <a:pos x="connsiteX51138" y="connsiteY51138"/>
              </a:cxn>
              <a:cxn ang="0">
                <a:pos x="connsiteX51139" y="connsiteY51139"/>
              </a:cxn>
              <a:cxn ang="0">
                <a:pos x="connsiteX51140" y="connsiteY51140"/>
              </a:cxn>
              <a:cxn ang="0">
                <a:pos x="connsiteX51141" y="connsiteY51141"/>
              </a:cxn>
              <a:cxn ang="0">
                <a:pos x="connsiteX51142" y="connsiteY51142"/>
              </a:cxn>
              <a:cxn ang="0">
                <a:pos x="connsiteX51143" y="connsiteY51143"/>
              </a:cxn>
              <a:cxn ang="0">
                <a:pos x="connsiteX51144" y="connsiteY51144"/>
              </a:cxn>
              <a:cxn ang="0">
                <a:pos x="connsiteX51145" y="connsiteY51145"/>
              </a:cxn>
              <a:cxn ang="0">
                <a:pos x="connsiteX51146" y="connsiteY51146"/>
              </a:cxn>
              <a:cxn ang="0">
                <a:pos x="connsiteX51147" y="connsiteY51147"/>
              </a:cxn>
              <a:cxn ang="0">
                <a:pos x="connsiteX51148" y="connsiteY51148"/>
              </a:cxn>
              <a:cxn ang="0">
                <a:pos x="connsiteX51149" y="connsiteY51149"/>
              </a:cxn>
              <a:cxn ang="0">
                <a:pos x="connsiteX51150" y="connsiteY51150"/>
              </a:cxn>
              <a:cxn ang="0">
                <a:pos x="connsiteX51151" y="connsiteY51151"/>
              </a:cxn>
              <a:cxn ang="0">
                <a:pos x="connsiteX51152" y="connsiteY51152"/>
              </a:cxn>
              <a:cxn ang="0">
                <a:pos x="connsiteX51153" y="connsiteY51153"/>
              </a:cxn>
              <a:cxn ang="0">
                <a:pos x="connsiteX51154" y="connsiteY51154"/>
              </a:cxn>
              <a:cxn ang="0">
                <a:pos x="connsiteX51155" y="connsiteY51155"/>
              </a:cxn>
              <a:cxn ang="0">
                <a:pos x="connsiteX51156" y="connsiteY51156"/>
              </a:cxn>
              <a:cxn ang="0">
                <a:pos x="connsiteX51157" y="connsiteY51157"/>
              </a:cxn>
              <a:cxn ang="0">
                <a:pos x="connsiteX51158" y="connsiteY51158"/>
              </a:cxn>
              <a:cxn ang="0">
                <a:pos x="connsiteX51159" y="connsiteY51159"/>
              </a:cxn>
              <a:cxn ang="0">
                <a:pos x="connsiteX51160" y="connsiteY51160"/>
              </a:cxn>
              <a:cxn ang="0">
                <a:pos x="connsiteX51161" y="connsiteY51161"/>
              </a:cxn>
              <a:cxn ang="0">
                <a:pos x="connsiteX51162" y="connsiteY51162"/>
              </a:cxn>
              <a:cxn ang="0">
                <a:pos x="connsiteX51163" y="connsiteY51163"/>
              </a:cxn>
              <a:cxn ang="0">
                <a:pos x="connsiteX51164" y="connsiteY51164"/>
              </a:cxn>
              <a:cxn ang="0">
                <a:pos x="connsiteX51165" y="connsiteY51165"/>
              </a:cxn>
              <a:cxn ang="0">
                <a:pos x="connsiteX51166" y="connsiteY51166"/>
              </a:cxn>
              <a:cxn ang="0">
                <a:pos x="connsiteX51167" y="connsiteY51167"/>
              </a:cxn>
              <a:cxn ang="0">
                <a:pos x="connsiteX51168" y="connsiteY51168"/>
              </a:cxn>
              <a:cxn ang="0">
                <a:pos x="connsiteX51169" y="connsiteY51169"/>
              </a:cxn>
              <a:cxn ang="0">
                <a:pos x="connsiteX51170" y="connsiteY51170"/>
              </a:cxn>
              <a:cxn ang="0">
                <a:pos x="connsiteX51171" y="connsiteY51171"/>
              </a:cxn>
              <a:cxn ang="0">
                <a:pos x="connsiteX51172" y="connsiteY51172"/>
              </a:cxn>
              <a:cxn ang="0">
                <a:pos x="connsiteX51173" y="connsiteY51173"/>
              </a:cxn>
              <a:cxn ang="0">
                <a:pos x="connsiteX51174" y="connsiteY51174"/>
              </a:cxn>
              <a:cxn ang="0">
                <a:pos x="connsiteX51175" y="connsiteY51175"/>
              </a:cxn>
              <a:cxn ang="0">
                <a:pos x="connsiteX51176" y="connsiteY51176"/>
              </a:cxn>
              <a:cxn ang="0">
                <a:pos x="connsiteX51177" y="connsiteY51177"/>
              </a:cxn>
              <a:cxn ang="0">
                <a:pos x="connsiteX51178" y="connsiteY51178"/>
              </a:cxn>
              <a:cxn ang="0">
                <a:pos x="connsiteX51179" y="connsiteY51179"/>
              </a:cxn>
              <a:cxn ang="0">
                <a:pos x="connsiteX51180" y="connsiteY51180"/>
              </a:cxn>
              <a:cxn ang="0">
                <a:pos x="connsiteX51181" y="connsiteY51181"/>
              </a:cxn>
              <a:cxn ang="0">
                <a:pos x="connsiteX51182" y="connsiteY51182"/>
              </a:cxn>
              <a:cxn ang="0">
                <a:pos x="connsiteX51183" y="connsiteY51183"/>
              </a:cxn>
              <a:cxn ang="0">
                <a:pos x="connsiteX51184" y="connsiteY51184"/>
              </a:cxn>
              <a:cxn ang="0">
                <a:pos x="connsiteX51185" y="connsiteY51185"/>
              </a:cxn>
              <a:cxn ang="0">
                <a:pos x="connsiteX51186" y="connsiteY51186"/>
              </a:cxn>
              <a:cxn ang="0">
                <a:pos x="connsiteX51187" y="connsiteY51187"/>
              </a:cxn>
              <a:cxn ang="0">
                <a:pos x="connsiteX51188" y="connsiteY51188"/>
              </a:cxn>
              <a:cxn ang="0">
                <a:pos x="connsiteX51189" y="connsiteY51189"/>
              </a:cxn>
              <a:cxn ang="0">
                <a:pos x="connsiteX51190" y="connsiteY51190"/>
              </a:cxn>
              <a:cxn ang="0">
                <a:pos x="connsiteX51191" y="connsiteY51191"/>
              </a:cxn>
              <a:cxn ang="0">
                <a:pos x="connsiteX51192" y="connsiteY51192"/>
              </a:cxn>
              <a:cxn ang="0">
                <a:pos x="connsiteX51193" y="connsiteY51193"/>
              </a:cxn>
              <a:cxn ang="0">
                <a:pos x="connsiteX51194" y="connsiteY51194"/>
              </a:cxn>
              <a:cxn ang="0">
                <a:pos x="connsiteX51195" y="connsiteY51195"/>
              </a:cxn>
              <a:cxn ang="0">
                <a:pos x="connsiteX51196" y="connsiteY51196"/>
              </a:cxn>
              <a:cxn ang="0">
                <a:pos x="connsiteX51197" y="connsiteY51197"/>
              </a:cxn>
              <a:cxn ang="0">
                <a:pos x="connsiteX51198" y="connsiteY51198"/>
              </a:cxn>
              <a:cxn ang="0">
                <a:pos x="connsiteX51199" y="connsiteY51199"/>
              </a:cxn>
              <a:cxn ang="0">
                <a:pos x="connsiteX51200" y="connsiteY51200"/>
              </a:cxn>
              <a:cxn ang="0">
                <a:pos x="connsiteX51201" y="connsiteY51201"/>
              </a:cxn>
              <a:cxn ang="0">
                <a:pos x="connsiteX51202" y="connsiteY51202"/>
              </a:cxn>
              <a:cxn ang="0">
                <a:pos x="connsiteX51203" y="connsiteY51203"/>
              </a:cxn>
              <a:cxn ang="0">
                <a:pos x="connsiteX51204" y="connsiteY51204"/>
              </a:cxn>
              <a:cxn ang="0">
                <a:pos x="connsiteX51205" y="connsiteY51205"/>
              </a:cxn>
              <a:cxn ang="0">
                <a:pos x="connsiteX51206" y="connsiteY51206"/>
              </a:cxn>
              <a:cxn ang="0">
                <a:pos x="connsiteX51207" y="connsiteY51207"/>
              </a:cxn>
              <a:cxn ang="0">
                <a:pos x="connsiteX51208" y="connsiteY51208"/>
              </a:cxn>
              <a:cxn ang="0">
                <a:pos x="connsiteX51209" y="connsiteY51209"/>
              </a:cxn>
              <a:cxn ang="0">
                <a:pos x="connsiteX51210" y="connsiteY51210"/>
              </a:cxn>
              <a:cxn ang="0">
                <a:pos x="connsiteX51211" y="connsiteY51211"/>
              </a:cxn>
              <a:cxn ang="0">
                <a:pos x="connsiteX51212" y="connsiteY51212"/>
              </a:cxn>
              <a:cxn ang="0">
                <a:pos x="connsiteX51213" y="connsiteY51213"/>
              </a:cxn>
              <a:cxn ang="0">
                <a:pos x="connsiteX51214" y="connsiteY51214"/>
              </a:cxn>
              <a:cxn ang="0">
                <a:pos x="connsiteX51215" y="connsiteY51215"/>
              </a:cxn>
              <a:cxn ang="0">
                <a:pos x="connsiteX51216" y="connsiteY51216"/>
              </a:cxn>
              <a:cxn ang="0">
                <a:pos x="connsiteX51217" y="connsiteY51217"/>
              </a:cxn>
              <a:cxn ang="0">
                <a:pos x="connsiteX51218" y="connsiteY51218"/>
              </a:cxn>
              <a:cxn ang="0">
                <a:pos x="connsiteX51219" y="connsiteY51219"/>
              </a:cxn>
              <a:cxn ang="0">
                <a:pos x="connsiteX51220" y="connsiteY51220"/>
              </a:cxn>
              <a:cxn ang="0">
                <a:pos x="connsiteX51221" y="connsiteY51221"/>
              </a:cxn>
              <a:cxn ang="0">
                <a:pos x="connsiteX51222" y="connsiteY51222"/>
              </a:cxn>
              <a:cxn ang="0">
                <a:pos x="connsiteX51223" y="connsiteY51223"/>
              </a:cxn>
              <a:cxn ang="0">
                <a:pos x="connsiteX51224" y="connsiteY51224"/>
              </a:cxn>
              <a:cxn ang="0">
                <a:pos x="connsiteX51225" y="connsiteY51225"/>
              </a:cxn>
              <a:cxn ang="0">
                <a:pos x="connsiteX51226" y="connsiteY51226"/>
              </a:cxn>
              <a:cxn ang="0">
                <a:pos x="connsiteX51227" y="connsiteY51227"/>
              </a:cxn>
              <a:cxn ang="0">
                <a:pos x="connsiteX51228" y="connsiteY51228"/>
              </a:cxn>
              <a:cxn ang="0">
                <a:pos x="connsiteX51229" y="connsiteY51229"/>
              </a:cxn>
              <a:cxn ang="0">
                <a:pos x="connsiteX51230" y="connsiteY51230"/>
              </a:cxn>
              <a:cxn ang="0">
                <a:pos x="connsiteX51231" y="connsiteY51231"/>
              </a:cxn>
              <a:cxn ang="0">
                <a:pos x="connsiteX51232" y="connsiteY51232"/>
              </a:cxn>
              <a:cxn ang="0">
                <a:pos x="connsiteX51233" y="connsiteY51233"/>
              </a:cxn>
              <a:cxn ang="0">
                <a:pos x="connsiteX51234" y="connsiteY51234"/>
              </a:cxn>
              <a:cxn ang="0">
                <a:pos x="connsiteX51235" y="connsiteY51235"/>
              </a:cxn>
              <a:cxn ang="0">
                <a:pos x="connsiteX51236" y="connsiteY51236"/>
              </a:cxn>
              <a:cxn ang="0">
                <a:pos x="connsiteX51237" y="connsiteY51237"/>
              </a:cxn>
              <a:cxn ang="0">
                <a:pos x="connsiteX51238" y="connsiteY51238"/>
              </a:cxn>
              <a:cxn ang="0">
                <a:pos x="connsiteX51239" y="connsiteY51239"/>
              </a:cxn>
              <a:cxn ang="0">
                <a:pos x="connsiteX51240" y="connsiteY51240"/>
              </a:cxn>
              <a:cxn ang="0">
                <a:pos x="connsiteX51241" y="connsiteY51241"/>
              </a:cxn>
              <a:cxn ang="0">
                <a:pos x="connsiteX51242" y="connsiteY51242"/>
              </a:cxn>
              <a:cxn ang="0">
                <a:pos x="connsiteX51243" y="connsiteY51243"/>
              </a:cxn>
              <a:cxn ang="0">
                <a:pos x="connsiteX51244" y="connsiteY51244"/>
              </a:cxn>
              <a:cxn ang="0">
                <a:pos x="connsiteX51245" y="connsiteY51245"/>
              </a:cxn>
              <a:cxn ang="0">
                <a:pos x="connsiteX51246" y="connsiteY51246"/>
              </a:cxn>
              <a:cxn ang="0">
                <a:pos x="connsiteX51247" y="connsiteY51247"/>
              </a:cxn>
              <a:cxn ang="0">
                <a:pos x="connsiteX51248" y="connsiteY51248"/>
              </a:cxn>
              <a:cxn ang="0">
                <a:pos x="connsiteX51249" y="connsiteY51249"/>
              </a:cxn>
              <a:cxn ang="0">
                <a:pos x="connsiteX51250" y="connsiteY51250"/>
              </a:cxn>
              <a:cxn ang="0">
                <a:pos x="connsiteX51251" y="connsiteY51251"/>
              </a:cxn>
              <a:cxn ang="0">
                <a:pos x="connsiteX51252" y="connsiteY51252"/>
              </a:cxn>
              <a:cxn ang="0">
                <a:pos x="connsiteX51253" y="connsiteY51253"/>
              </a:cxn>
              <a:cxn ang="0">
                <a:pos x="connsiteX51254" y="connsiteY51254"/>
              </a:cxn>
              <a:cxn ang="0">
                <a:pos x="connsiteX51255" y="connsiteY51255"/>
              </a:cxn>
              <a:cxn ang="0">
                <a:pos x="connsiteX51256" y="connsiteY51256"/>
              </a:cxn>
              <a:cxn ang="0">
                <a:pos x="connsiteX51257" y="connsiteY51257"/>
              </a:cxn>
              <a:cxn ang="0">
                <a:pos x="connsiteX51258" y="connsiteY51258"/>
              </a:cxn>
              <a:cxn ang="0">
                <a:pos x="connsiteX51259" y="connsiteY51259"/>
              </a:cxn>
              <a:cxn ang="0">
                <a:pos x="connsiteX51260" y="connsiteY51260"/>
              </a:cxn>
              <a:cxn ang="0">
                <a:pos x="connsiteX51261" y="connsiteY51261"/>
              </a:cxn>
              <a:cxn ang="0">
                <a:pos x="connsiteX51262" y="connsiteY51262"/>
              </a:cxn>
              <a:cxn ang="0">
                <a:pos x="connsiteX51263" y="connsiteY51263"/>
              </a:cxn>
              <a:cxn ang="0">
                <a:pos x="connsiteX51264" y="connsiteY51264"/>
              </a:cxn>
              <a:cxn ang="0">
                <a:pos x="connsiteX51265" y="connsiteY51265"/>
              </a:cxn>
              <a:cxn ang="0">
                <a:pos x="connsiteX51266" y="connsiteY51266"/>
              </a:cxn>
              <a:cxn ang="0">
                <a:pos x="connsiteX51267" y="connsiteY51267"/>
              </a:cxn>
              <a:cxn ang="0">
                <a:pos x="connsiteX51268" y="connsiteY51268"/>
              </a:cxn>
              <a:cxn ang="0">
                <a:pos x="connsiteX51269" y="connsiteY51269"/>
              </a:cxn>
              <a:cxn ang="0">
                <a:pos x="connsiteX51270" y="connsiteY51270"/>
              </a:cxn>
              <a:cxn ang="0">
                <a:pos x="connsiteX51271" y="connsiteY51271"/>
              </a:cxn>
              <a:cxn ang="0">
                <a:pos x="connsiteX51272" y="connsiteY51272"/>
              </a:cxn>
              <a:cxn ang="0">
                <a:pos x="connsiteX51273" y="connsiteY51273"/>
              </a:cxn>
              <a:cxn ang="0">
                <a:pos x="connsiteX51274" y="connsiteY51274"/>
              </a:cxn>
              <a:cxn ang="0">
                <a:pos x="connsiteX51275" y="connsiteY51275"/>
              </a:cxn>
              <a:cxn ang="0">
                <a:pos x="connsiteX51276" y="connsiteY51276"/>
              </a:cxn>
              <a:cxn ang="0">
                <a:pos x="connsiteX51277" y="connsiteY51277"/>
              </a:cxn>
              <a:cxn ang="0">
                <a:pos x="connsiteX51278" y="connsiteY51278"/>
              </a:cxn>
              <a:cxn ang="0">
                <a:pos x="connsiteX51279" y="connsiteY51279"/>
              </a:cxn>
              <a:cxn ang="0">
                <a:pos x="connsiteX51280" y="connsiteY51280"/>
              </a:cxn>
              <a:cxn ang="0">
                <a:pos x="connsiteX51281" y="connsiteY51281"/>
              </a:cxn>
              <a:cxn ang="0">
                <a:pos x="connsiteX51282" y="connsiteY51282"/>
              </a:cxn>
              <a:cxn ang="0">
                <a:pos x="connsiteX51283" y="connsiteY51283"/>
              </a:cxn>
              <a:cxn ang="0">
                <a:pos x="connsiteX51284" y="connsiteY51284"/>
              </a:cxn>
              <a:cxn ang="0">
                <a:pos x="connsiteX51285" y="connsiteY51285"/>
              </a:cxn>
              <a:cxn ang="0">
                <a:pos x="connsiteX51286" y="connsiteY51286"/>
              </a:cxn>
              <a:cxn ang="0">
                <a:pos x="connsiteX51287" y="connsiteY51287"/>
              </a:cxn>
              <a:cxn ang="0">
                <a:pos x="connsiteX51288" y="connsiteY51288"/>
              </a:cxn>
              <a:cxn ang="0">
                <a:pos x="connsiteX51289" y="connsiteY51289"/>
              </a:cxn>
              <a:cxn ang="0">
                <a:pos x="connsiteX51290" y="connsiteY51290"/>
              </a:cxn>
              <a:cxn ang="0">
                <a:pos x="connsiteX51291" y="connsiteY51291"/>
              </a:cxn>
              <a:cxn ang="0">
                <a:pos x="connsiteX51292" y="connsiteY51292"/>
              </a:cxn>
              <a:cxn ang="0">
                <a:pos x="connsiteX51293" y="connsiteY51293"/>
              </a:cxn>
              <a:cxn ang="0">
                <a:pos x="connsiteX51294" y="connsiteY51294"/>
              </a:cxn>
              <a:cxn ang="0">
                <a:pos x="connsiteX51295" y="connsiteY51295"/>
              </a:cxn>
              <a:cxn ang="0">
                <a:pos x="connsiteX51296" y="connsiteY51296"/>
              </a:cxn>
              <a:cxn ang="0">
                <a:pos x="connsiteX51297" y="connsiteY51297"/>
              </a:cxn>
              <a:cxn ang="0">
                <a:pos x="connsiteX51298" y="connsiteY51298"/>
              </a:cxn>
              <a:cxn ang="0">
                <a:pos x="connsiteX51299" y="connsiteY51299"/>
              </a:cxn>
              <a:cxn ang="0">
                <a:pos x="connsiteX51300" y="connsiteY51300"/>
              </a:cxn>
              <a:cxn ang="0">
                <a:pos x="connsiteX51301" y="connsiteY51301"/>
              </a:cxn>
              <a:cxn ang="0">
                <a:pos x="connsiteX51302" y="connsiteY51302"/>
              </a:cxn>
              <a:cxn ang="0">
                <a:pos x="connsiteX51303" y="connsiteY51303"/>
              </a:cxn>
              <a:cxn ang="0">
                <a:pos x="connsiteX51304" y="connsiteY51304"/>
              </a:cxn>
              <a:cxn ang="0">
                <a:pos x="connsiteX51305" y="connsiteY51305"/>
              </a:cxn>
              <a:cxn ang="0">
                <a:pos x="connsiteX51306" y="connsiteY51306"/>
              </a:cxn>
              <a:cxn ang="0">
                <a:pos x="connsiteX51307" y="connsiteY51307"/>
              </a:cxn>
              <a:cxn ang="0">
                <a:pos x="connsiteX51308" y="connsiteY51308"/>
              </a:cxn>
              <a:cxn ang="0">
                <a:pos x="connsiteX51309" y="connsiteY51309"/>
              </a:cxn>
              <a:cxn ang="0">
                <a:pos x="connsiteX51310" y="connsiteY51310"/>
              </a:cxn>
              <a:cxn ang="0">
                <a:pos x="connsiteX51311" y="connsiteY51311"/>
              </a:cxn>
              <a:cxn ang="0">
                <a:pos x="connsiteX51312" y="connsiteY51312"/>
              </a:cxn>
              <a:cxn ang="0">
                <a:pos x="connsiteX51313" y="connsiteY51313"/>
              </a:cxn>
              <a:cxn ang="0">
                <a:pos x="connsiteX51314" y="connsiteY51314"/>
              </a:cxn>
              <a:cxn ang="0">
                <a:pos x="connsiteX51315" y="connsiteY51315"/>
              </a:cxn>
              <a:cxn ang="0">
                <a:pos x="connsiteX51316" y="connsiteY51316"/>
              </a:cxn>
              <a:cxn ang="0">
                <a:pos x="connsiteX51317" y="connsiteY51317"/>
              </a:cxn>
              <a:cxn ang="0">
                <a:pos x="connsiteX51318" y="connsiteY51318"/>
              </a:cxn>
              <a:cxn ang="0">
                <a:pos x="connsiteX51319" y="connsiteY51319"/>
              </a:cxn>
              <a:cxn ang="0">
                <a:pos x="connsiteX51320" y="connsiteY51320"/>
              </a:cxn>
              <a:cxn ang="0">
                <a:pos x="connsiteX51321" y="connsiteY51321"/>
              </a:cxn>
              <a:cxn ang="0">
                <a:pos x="connsiteX51322" y="connsiteY51322"/>
              </a:cxn>
              <a:cxn ang="0">
                <a:pos x="connsiteX51323" y="connsiteY51323"/>
              </a:cxn>
              <a:cxn ang="0">
                <a:pos x="connsiteX51324" y="connsiteY51324"/>
              </a:cxn>
              <a:cxn ang="0">
                <a:pos x="connsiteX51325" y="connsiteY51325"/>
              </a:cxn>
              <a:cxn ang="0">
                <a:pos x="connsiteX51326" y="connsiteY51326"/>
              </a:cxn>
              <a:cxn ang="0">
                <a:pos x="connsiteX51327" y="connsiteY51327"/>
              </a:cxn>
              <a:cxn ang="0">
                <a:pos x="connsiteX51328" y="connsiteY51328"/>
              </a:cxn>
              <a:cxn ang="0">
                <a:pos x="connsiteX51329" y="connsiteY51329"/>
              </a:cxn>
              <a:cxn ang="0">
                <a:pos x="connsiteX51330" y="connsiteY51330"/>
              </a:cxn>
              <a:cxn ang="0">
                <a:pos x="connsiteX51331" y="connsiteY51331"/>
              </a:cxn>
              <a:cxn ang="0">
                <a:pos x="connsiteX51332" y="connsiteY51332"/>
              </a:cxn>
              <a:cxn ang="0">
                <a:pos x="connsiteX51333" y="connsiteY51333"/>
              </a:cxn>
              <a:cxn ang="0">
                <a:pos x="connsiteX51334" y="connsiteY51334"/>
              </a:cxn>
              <a:cxn ang="0">
                <a:pos x="connsiteX51335" y="connsiteY51335"/>
              </a:cxn>
              <a:cxn ang="0">
                <a:pos x="connsiteX51336" y="connsiteY51336"/>
              </a:cxn>
              <a:cxn ang="0">
                <a:pos x="connsiteX51337" y="connsiteY51337"/>
              </a:cxn>
              <a:cxn ang="0">
                <a:pos x="connsiteX51338" y="connsiteY51338"/>
              </a:cxn>
              <a:cxn ang="0">
                <a:pos x="connsiteX51339" y="connsiteY51339"/>
              </a:cxn>
              <a:cxn ang="0">
                <a:pos x="connsiteX51340" y="connsiteY51340"/>
              </a:cxn>
              <a:cxn ang="0">
                <a:pos x="connsiteX51341" y="connsiteY51341"/>
              </a:cxn>
              <a:cxn ang="0">
                <a:pos x="connsiteX51342" y="connsiteY51342"/>
              </a:cxn>
              <a:cxn ang="0">
                <a:pos x="connsiteX51343" y="connsiteY51343"/>
              </a:cxn>
              <a:cxn ang="0">
                <a:pos x="connsiteX51344" y="connsiteY51344"/>
              </a:cxn>
              <a:cxn ang="0">
                <a:pos x="connsiteX51345" y="connsiteY51345"/>
              </a:cxn>
              <a:cxn ang="0">
                <a:pos x="connsiteX51346" y="connsiteY51346"/>
              </a:cxn>
              <a:cxn ang="0">
                <a:pos x="connsiteX51347" y="connsiteY51347"/>
              </a:cxn>
              <a:cxn ang="0">
                <a:pos x="connsiteX51348" y="connsiteY51348"/>
              </a:cxn>
              <a:cxn ang="0">
                <a:pos x="connsiteX51349" y="connsiteY51349"/>
              </a:cxn>
              <a:cxn ang="0">
                <a:pos x="connsiteX51350" y="connsiteY51350"/>
              </a:cxn>
              <a:cxn ang="0">
                <a:pos x="connsiteX51351" y="connsiteY51351"/>
              </a:cxn>
              <a:cxn ang="0">
                <a:pos x="connsiteX51352" y="connsiteY51352"/>
              </a:cxn>
              <a:cxn ang="0">
                <a:pos x="connsiteX51353" y="connsiteY51353"/>
              </a:cxn>
              <a:cxn ang="0">
                <a:pos x="connsiteX51354" y="connsiteY51354"/>
              </a:cxn>
              <a:cxn ang="0">
                <a:pos x="connsiteX51355" y="connsiteY51355"/>
              </a:cxn>
              <a:cxn ang="0">
                <a:pos x="connsiteX51356" y="connsiteY51356"/>
              </a:cxn>
              <a:cxn ang="0">
                <a:pos x="connsiteX51357" y="connsiteY51357"/>
              </a:cxn>
              <a:cxn ang="0">
                <a:pos x="connsiteX51358" y="connsiteY51358"/>
              </a:cxn>
              <a:cxn ang="0">
                <a:pos x="connsiteX51359" y="connsiteY51359"/>
              </a:cxn>
              <a:cxn ang="0">
                <a:pos x="connsiteX51360" y="connsiteY51360"/>
              </a:cxn>
              <a:cxn ang="0">
                <a:pos x="connsiteX51361" y="connsiteY51361"/>
              </a:cxn>
              <a:cxn ang="0">
                <a:pos x="connsiteX51362" y="connsiteY51362"/>
              </a:cxn>
              <a:cxn ang="0">
                <a:pos x="connsiteX51363" y="connsiteY51363"/>
              </a:cxn>
              <a:cxn ang="0">
                <a:pos x="connsiteX51364" y="connsiteY51364"/>
              </a:cxn>
              <a:cxn ang="0">
                <a:pos x="connsiteX51365" y="connsiteY51365"/>
              </a:cxn>
              <a:cxn ang="0">
                <a:pos x="connsiteX51366" y="connsiteY51366"/>
              </a:cxn>
              <a:cxn ang="0">
                <a:pos x="connsiteX51367" y="connsiteY51367"/>
              </a:cxn>
              <a:cxn ang="0">
                <a:pos x="connsiteX51368" y="connsiteY51368"/>
              </a:cxn>
              <a:cxn ang="0">
                <a:pos x="connsiteX51369" y="connsiteY51369"/>
              </a:cxn>
              <a:cxn ang="0">
                <a:pos x="connsiteX51370" y="connsiteY51370"/>
              </a:cxn>
              <a:cxn ang="0">
                <a:pos x="connsiteX51371" y="connsiteY51371"/>
              </a:cxn>
              <a:cxn ang="0">
                <a:pos x="connsiteX51372" y="connsiteY51372"/>
              </a:cxn>
              <a:cxn ang="0">
                <a:pos x="connsiteX51373" y="connsiteY51373"/>
              </a:cxn>
              <a:cxn ang="0">
                <a:pos x="connsiteX51374" y="connsiteY51374"/>
              </a:cxn>
              <a:cxn ang="0">
                <a:pos x="connsiteX51375" y="connsiteY51375"/>
              </a:cxn>
              <a:cxn ang="0">
                <a:pos x="connsiteX51376" y="connsiteY51376"/>
              </a:cxn>
              <a:cxn ang="0">
                <a:pos x="connsiteX51377" y="connsiteY51377"/>
              </a:cxn>
              <a:cxn ang="0">
                <a:pos x="connsiteX51378" y="connsiteY51378"/>
              </a:cxn>
              <a:cxn ang="0">
                <a:pos x="connsiteX51379" y="connsiteY51379"/>
              </a:cxn>
              <a:cxn ang="0">
                <a:pos x="connsiteX51380" y="connsiteY51380"/>
              </a:cxn>
              <a:cxn ang="0">
                <a:pos x="connsiteX51381" y="connsiteY51381"/>
              </a:cxn>
              <a:cxn ang="0">
                <a:pos x="connsiteX51382" y="connsiteY51382"/>
              </a:cxn>
              <a:cxn ang="0">
                <a:pos x="connsiteX51383" y="connsiteY51383"/>
              </a:cxn>
              <a:cxn ang="0">
                <a:pos x="connsiteX51384" y="connsiteY51384"/>
              </a:cxn>
              <a:cxn ang="0">
                <a:pos x="connsiteX51385" y="connsiteY51385"/>
              </a:cxn>
              <a:cxn ang="0">
                <a:pos x="connsiteX51386" y="connsiteY51386"/>
              </a:cxn>
              <a:cxn ang="0">
                <a:pos x="connsiteX51387" y="connsiteY51387"/>
              </a:cxn>
              <a:cxn ang="0">
                <a:pos x="connsiteX51388" y="connsiteY51388"/>
              </a:cxn>
              <a:cxn ang="0">
                <a:pos x="connsiteX51389" y="connsiteY51389"/>
              </a:cxn>
              <a:cxn ang="0">
                <a:pos x="connsiteX51390" y="connsiteY51390"/>
              </a:cxn>
              <a:cxn ang="0">
                <a:pos x="connsiteX51391" y="connsiteY51391"/>
              </a:cxn>
              <a:cxn ang="0">
                <a:pos x="connsiteX51392" y="connsiteY51392"/>
              </a:cxn>
              <a:cxn ang="0">
                <a:pos x="connsiteX51393" y="connsiteY51393"/>
              </a:cxn>
              <a:cxn ang="0">
                <a:pos x="connsiteX51394" y="connsiteY51394"/>
              </a:cxn>
              <a:cxn ang="0">
                <a:pos x="connsiteX51395" y="connsiteY51395"/>
              </a:cxn>
              <a:cxn ang="0">
                <a:pos x="connsiteX51396" y="connsiteY51396"/>
              </a:cxn>
              <a:cxn ang="0">
                <a:pos x="connsiteX51397" y="connsiteY51397"/>
              </a:cxn>
              <a:cxn ang="0">
                <a:pos x="connsiteX51398" y="connsiteY51398"/>
              </a:cxn>
              <a:cxn ang="0">
                <a:pos x="connsiteX51399" y="connsiteY51399"/>
              </a:cxn>
              <a:cxn ang="0">
                <a:pos x="connsiteX51400" y="connsiteY51400"/>
              </a:cxn>
              <a:cxn ang="0">
                <a:pos x="connsiteX51401" y="connsiteY51401"/>
              </a:cxn>
              <a:cxn ang="0">
                <a:pos x="connsiteX51402" y="connsiteY51402"/>
              </a:cxn>
              <a:cxn ang="0">
                <a:pos x="connsiteX51403" y="connsiteY51403"/>
              </a:cxn>
              <a:cxn ang="0">
                <a:pos x="connsiteX51404" y="connsiteY51404"/>
              </a:cxn>
              <a:cxn ang="0">
                <a:pos x="connsiteX51405" y="connsiteY51405"/>
              </a:cxn>
              <a:cxn ang="0">
                <a:pos x="connsiteX51406" y="connsiteY51406"/>
              </a:cxn>
              <a:cxn ang="0">
                <a:pos x="connsiteX51407" y="connsiteY51407"/>
              </a:cxn>
              <a:cxn ang="0">
                <a:pos x="connsiteX51408" y="connsiteY51408"/>
              </a:cxn>
              <a:cxn ang="0">
                <a:pos x="connsiteX51409" y="connsiteY51409"/>
              </a:cxn>
              <a:cxn ang="0">
                <a:pos x="connsiteX51410" y="connsiteY51410"/>
              </a:cxn>
              <a:cxn ang="0">
                <a:pos x="connsiteX51411" y="connsiteY51411"/>
              </a:cxn>
              <a:cxn ang="0">
                <a:pos x="connsiteX51412" y="connsiteY51412"/>
              </a:cxn>
              <a:cxn ang="0">
                <a:pos x="connsiteX51413" y="connsiteY51413"/>
              </a:cxn>
              <a:cxn ang="0">
                <a:pos x="connsiteX51414" y="connsiteY51414"/>
              </a:cxn>
              <a:cxn ang="0">
                <a:pos x="connsiteX51415" y="connsiteY51415"/>
              </a:cxn>
              <a:cxn ang="0">
                <a:pos x="connsiteX51416" y="connsiteY51416"/>
              </a:cxn>
              <a:cxn ang="0">
                <a:pos x="connsiteX51417" y="connsiteY51417"/>
              </a:cxn>
              <a:cxn ang="0">
                <a:pos x="connsiteX51418" y="connsiteY51418"/>
              </a:cxn>
              <a:cxn ang="0">
                <a:pos x="connsiteX51419" y="connsiteY51419"/>
              </a:cxn>
              <a:cxn ang="0">
                <a:pos x="connsiteX51420" y="connsiteY51420"/>
              </a:cxn>
              <a:cxn ang="0">
                <a:pos x="connsiteX51421" y="connsiteY51421"/>
              </a:cxn>
              <a:cxn ang="0">
                <a:pos x="connsiteX51422" y="connsiteY51422"/>
              </a:cxn>
              <a:cxn ang="0">
                <a:pos x="connsiteX51423" y="connsiteY51423"/>
              </a:cxn>
              <a:cxn ang="0">
                <a:pos x="connsiteX51424" y="connsiteY51424"/>
              </a:cxn>
              <a:cxn ang="0">
                <a:pos x="connsiteX51425" y="connsiteY51425"/>
              </a:cxn>
              <a:cxn ang="0">
                <a:pos x="connsiteX51426" y="connsiteY51426"/>
              </a:cxn>
              <a:cxn ang="0">
                <a:pos x="connsiteX51427" y="connsiteY51427"/>
              </a:cxn>
              <a:cxn ang="0">
                <a:pos x="connsiteX51428" y="connsiteY51428"/>
              </a:cxn>
              <a:cxn ang="0">
                <a:pos x="connsiteX51429" y="connsiteY51429"/>
              </a:cxn>
              <a:cxn ang="0">
                <a:pos x="connsiteX51430" y="connsiteY51430"/>
              </a:cxn>
              <a:cxn ang="0">
                <a:pos x="connsiteX51431" y="connsiteY51431"/>
              </a:cxn>
              <a:cxn ang="0">
                <a:pos x="connsiteX51432" y="connsiteY51432"/>
              </a:cxn>
              <a:cxn ang="0">
                <a:pos x="connsiteX51433" y="connsiteY51433"/>
              </a:cxn>
              <a:cxn ang="0">
                <a:pos x="connsiteX51434" y="connsiteY51434"/>
              </a:cxn>
              <a:cxn ang="0">
                <a:pos x="connsiteX51435" y="connsiteY51435"/>
              </a:cxn>
              <a:cxn ang="0">
                <a:pos x="connsiteX51436" y="connsiteY51436"/>
              </a:cxn>
              <a:cxn ang="0">
                <a:pos x="connsiteX51437" y="connsiteY51437"/>
              </a:cxn>
              <a:cxn ang="0">
                <a:pos x="connsiteX51438" y="connsiteY51438"/>
              </a:cxn>
              <a:cxn ang="0">
                <a:pos x="connsiteX51439" y="connsiteY51439"/>
              </a:cxn>
              <a:cxn ang="0">
                <a:pos x="connsiteX51440" y="connsiteY51440"/>
              </a:cxn>
              <a:cxn ang="0">
                <a:pos x="connsiteX51441" y="connsiteY51441"/>
              </a:cxn>
              <a:cxn ang="0">
                <a:pos x="connsiteX51442" y="connsiteY51442"/>
              </a:cxn>
              <a:cxn ang="0">
                <a:pos x="connsiteX51443" y="connsiteY51443"/>
              </a:cxn>
              <a:cxn ang="0">
                <a:pos x="connsiteX51444" y="connsiteY51444"/>
              </a:cxn>
              <a:cxn ang="0">
                <a:pos x="connsiteX51445" y="connsiteY51445"/>
              </a:cxn>
              <a:cxn ang="0">
                <a:pos x="connsiteX51446" y="connsiteY51446"/>
              </a:cxn>
              <a:cxn ang="0">
                <a:pos x="connsiteX51447" y="connsiteY51447"/>
              </a:cxn>
              <a:cxn ang="0">
                <a:pos x="connsiteX51448" y="connsiteY51448"/>
              </a:cxn>
              <a:cxn ang="0">
                <a:pos x="connsiteX51449" y="connsiteY51449"/>
              </a:cxn>
              <a:cxn ang="0">
                <a:pos x="connsiteX51450" y="connsiteY51450"/>
              </a:cxn>
              <a:cxn ang="0">
                <a:pos x="connsiteX51451" y="connsiteY51451"/>
              </a:cxn>
              <a:cxn ang="0">
                <a:pos x="connsiteX51452" y="connsiteY51452"/>
              </a:cxn>
              <a:cxn ang="0">
                <a:pos x="connsiteX51453" y="connsiteY51453"/>
              </a:cxn>
              <a:cxn ang="0">
                <a:pos x="connsiteX51454" y="connsiteY51454"/>
              </a:cxn>
              <a:cxn ang="0">
                <a:pos x="connsiteX51455" y="connsiteY51455"/>
              </a:cxn>
              <a:cxn ang="0">
                <a:pos x="connsiteX51456" y="connsiteY51456"/>
              </a:cxn>
              <a:cxn ang="0">
                <a:pos x="connsiteX51457" y="connsiteY51457"/>
              </a:cxn>
              <a:cxn ang="0">
                <a:pos x="connsiteX51458" y="connsiteY51458"/>
              </a:cxn>
              <a:cxn ang="0">
                <a:pos x="connsiteX51459" y="connsiteY51459"/>
              </a:cxn>
              <a:cxn ang="0">
                <a:pos x="connsiteX51460" y="connsiteY51460"/>
              </a:cxn>
              <a:cxn ang="0">
                <a:pos x="connsiteX51461" y="connsiteY51461"/>
              </a:cxn>
              <a:cxn ang="0">
                <a:pos x="connsiteX51462" y="connsiteY51462"/>
              </a:cxn>
              <a:cxn ang="0">
                <a:pos x="connsiteX51463" y="connsiteY51463"/>
              </a:cxn>
              <a:cxn ang="0">
                <a:pos x="connsiteX51464" y="connsiteY51464"/>
              </a:cxn>
              <a:cxn ang="0">
                <a:pos x="connsiteX51465" y="connsiteY51465"/>
              </a:cxn>
              <a:cxn ang="0">
                <a:pos x="connsiteX51466" y="connsiteY51466"/>
              </a:cxn>
              <a:cxn ang="0">
                <a:pos x="connsiteX51467" y="connsiteY51467"/>
              </a:cxn>
              <a:cxn ang="0">
                <a:pos x="connsiteX51468" y="connsiteY51468"/>
              </a:cxn>
              <a:cxn ang="0">
                <a:pos x="connsiteX51469" y="connsiteY51469"/>
              </a:cxn>
              <a:cxn ang="0">
                <a:pos x="connsiteX51470" y="connsiteY51470"/>
              </a:cxn>
              <a:cxn ang="0">
                <a:pos x="connsiteX51471" y="connsiteY51471"/>
              </a:cxn>
              <a:cxn ang="0">
                <a:pos x="connsiteX51472" y="connsiteY51472"/>
              </a:cxn>
              <a:cxn ang="0">
                <a:pos x="connsiteX51473" y="connsiteY51473"/>
              </a:cxn>
              <a:cxn ang="0">
                <a:pos x="connsiteX51474" y="connsiteY51474"/>
              </a:cxn>
              <a:cxn ang="0">
                <a:pos x="connsiteX51475" y="connsiteY51475"/>
              </a:cxn>
              <a:cxn ang="0">
                <a:pos x="connsiteX51476" y="connsiteY51476"/>
              </a:cxn>
              <a:cxn ang="0">
                <a:pos x="connsiteX51477" y="connsiteY51477"/>
              </a:cxn>
              <a:cxn ang="0">
                <a:pos x="connsiteX51478" y="connsiteY51478"/>
              </a:cxn>
              <a:cxn ang="0">
                <a:pos x="connsiteX51479" y="connsiteY51479"/>
              </a:cxn>
              <a:cxn ang="0">
                <a:pos x="connsiteX51480" y="connsiteY51480"/>
              </a:cxn>
              <a:cxn ang="0">
                <a:pos x="connsiteX51481" y="connsiteY51481"/>
              </a:cxn>
              <a:cxn ang="0">
                <a:pos x="connsiteX51482" y="connsiteY51482"/>
              </a:cxn>
              <a:cxn ang="0">
                <a:pos x="connsiteX51483" y="connsiteY51483"/>
              </a:cxn>
              <a:cxn ang="0">
                <a:pos x="connsiteX51484" y="connsiteY51484"/>
              </a:cxn>
              <a:cxn ang="0">
                <a:pos x="connsiteX51485" y="connsiteY51485"/>
              </a:cxn>
              <a:cxn ang="0">
                <a:pos x="connsiteX51486" y="connsiteY51486"/>
              </a:cxn>
              <a:cxn ang="0">
                <a:pos x="connsiteX51487" y="connsiteY51487"/>
              </a:cxn>
              <a:cxn ang="0">
                <a:pos x="connsiteX51488" y="connsiteY51488"/>
              </a:cxn>
              <a:cxn ang="0">
                <a:pos x="connsiteX51489" y="connsiteY51489"/>
              </a:cxn>
              <a:cxn ang="0">
                <a:pos x="connsiteX51490" y="connsiteY51490"/>
              </a:cxn>
              <a:cxn ang="0">
                <a:pos x="connsiteX51491" y="connsiteY51491"/>
              </a:cxn>
              <a:cxn ang="0">
                <a:pos x="connsiteX51492" y="connsiteY51492"/>
              </a:cxn>
              <a:cxn ang="0">
                <a:pos x="connsiteX51493" y="connsiteY51493"/>
              </a:cxn>
              <a:cxn ang="0">
                <a:pos x="connsiteX51494" y="connsiteY51494"/>
              </a:cxn>
              <a:cxn ang="0">
                <a:pos x="connsiteX51495" y="connsiteY51495"/>
              </a:cxn>
              <a:cxn ang="0">
                <a:pos x="connsiteX51496" y="connsiteY51496"/>
              </a:cxn>
              <a:cxn ang="0">
                <a:pos x="connsiteX51497" y="connsiteY51497"/>
              </a:cxn>
              <a:cxn ang="0">
                <a:pos x="connsiteX51498" y="connsiteY51498"/>
              </a:cxn>
              <a:cxn ang="0">
                <a:pos x="connsiteX51499" y="connsiteY51499"/>
              </a:cxn>
              <a:cxn ang="0">
                <a:pos x="connsiteX51500" y="connsiteY51500"/>
              </a:cxn>
              <a:cxn ang="0">
                <a:pos x="connsiteX51501" y="connsiteY51501"/>
              </a:cxn>
              <a:cxn ang="0">
                <a:pos x="connsiteX51502" y="connsiteY51502"/>
              </a:cxn>
              <a:cxn ang="0">
                <a:pos x="connsiteX51503" y="connsiteY51503"/>
              </a:cxn>
              <a:cxn ang="0">
                <a:pos x="connsiteX51504" y="connsiteY51504"/>
              </a:cxn>
              <a:cxn ang="0">
                <a:pos x="connsiteX51505" y="connsiteY51505"/>
              </a:cxn>
              <a:cxn ang="0">
                <a:pos x="connsiteX51506" y="connsiteY51506"/>
              </a:cxn>
              <a:cxn ang="0">
                <a:pos x="connsiteX51507" y="connsiteY51507"/>
              </a:cxn>
              <a:cxn ang="0">
                <a:pos x="connsiteX51508" y="connsiteY51508"/>
              </a:cxn>
              <a:cxn ang="0">
                <a:pos x="connsiteX51509" y="connsiteY51509"/>
              </a:cxn>
              <a:cxn ang="0">
                <a:pos x="connsiteX51510" y="connsiteY51510"/>
              </a:cxn>
              <a:cxn ang="0">
                <a:pos x="connsiteX51511" y="connsiteY51511"/>
              </a:cxn>
              <a:cxn ang="0">
                <a:pos x="connsiteX51512" y="connsiteY51512"/>
              </a:cxn>
              <a:cxn ang="0">
                <a:pos x="connsiteX51513" y="connsiteY51513"/>
              </a:cxn>
              <a:cxn ang="0">
                <a:pos x="connsiteX51514" y="connsiteY51514"/>
              </a:cxn>
              <a:cxn ang="0">
                <a:pos x="connsiteX51515" y="connsiteY51515"/>
              </a:cxn>
              <a:cxn ang="0">
                <a:pos x="connsiteX51516" y="connsiteY51516"/>
              </a:cxn>
              <a:cxn ang="0">
                <a:pos x="connsiteX51517" y="connsiteY51517"/>
              </a:cxn>
              <a:cxn ang="0">
                <a:pos x="connsiteX51518" y="connsiteY51518"/>
              </a:cxn>
              <a:cxn ang="0">
                <a:pos x="connsiteX51519" y="connsiteY51519"/>
              </a:cxn>
              <a:cxn ang="0">
                <a:pos x="connsiteX51520" y="connsiteY51520"/>
              </a:cxn>
              <a:cxn ang="0">
                <a:pos x="connsiteX51521" y="connsiteY51521"/>
              </a:cxn>
              <a:cxn ang="0">
                <a:pos x="connsiteX51522" y="connsiteY51522"/>
              </a:cxn>
              <a:cxn ang="0">
                <a:pos x="connsiteX51523" y="connsiteY51523"/>
              </a:cxn>
              <a:cxn ang="0">
                <a:pos x="connsiteX51524" y="connsiteY51524"/>
              </a:cxn>
              <a:cxn ang="0">
                <a:pos x="connsiteX51525" y="connsiteY51525"/>
              </a:cxn>
              <a:cxn ang="0">
                <a:pos x="connsiteX51526" y="connsiteY51526"/>
              </a:cxn>
              <a:cxn ang="0">
                <a:pos x="connsiteX51527" y="connsiteY51527"/>
              </a:cxn>
              <a:cxn ang="0">
                <a:pos x="connsiteX51528" y="connsiteY51528"/>
              </a:cxn>
              <a:cxn ang="0">
                <a:pos x="connsiteX51529" y="connsiteY51529"/>
              </a:cxn>
              <a:cxn ang="0">
                <a:pos x="connsiteX51530" y="connsiteY51530"/>
              </a:cxn>
              <a:cxn ang="0">
                <a:pos x="connsiteX51531" y="connsiteY51531"/>
              </a:cxn>
              <a:cxn ang="0">
                <a:pos x="connsiteX51532" y="connsiteY51532"/>
              </a:cxn>
              <a:cxn ang="0">
                <a:pos x="connsiteX51533" y="connsiteY51533"/>
              </a:cxn>
              <a:cxn ang="0">
                <a:pos x="connsiteX51534" y="connsiteY51534"/>
              </a:cxn>
              <a:cxn ang="0">
                <a:pos x="connsiteX51535" y="connsiteY51535"/>
              </a:cxn>
              <a:cxn ang="0">
                <a:pos x="connsiteX51536" y="connsiteY51536"/>
              </a:cxn>
              <a:cxn ang="0">
                <a:pos x="connsiteX51537" y="connsiteY51537"/>
              </a:cxn>
              <a:cxn ang="0">
                <a:pos x="connsiteX51538" y="connsiteY51538"/>
              </a:cxn>
              <a:cxn ang="0">
                <a:pos x="connsiteX51539" y="connsiteY51539"/>
              </a:cxn>
              <a:cxn ang="0">
                <a:pos x="connsiteX51540" y="connsiteY51540"/>
              </a:cxn>
              <a:cxn ang="0">
                <a:pos x="connsiteX51541" y="connsiteY51541"/>
              </a:cxn>
              <a:cxn ang="0">
                <a:pos x="connsiteX51542" y="connsiteY51542"/>
              </a:cxn>
              <a:cxn ang="0">
                <a:pos x="connsiteX51543" y="connsiteY51543"/>
              </a:cxn>
              <a:cxn ang="0">
                <a:pos x="connsiteX51544" y="connsiteY51544"/>
              </a:cxn>
              <a:cxn ang="0">
                <a:pos x="connsiteX51545" y="connsiteY51545"/>
              </a:cxn>
              <a:cxn ang="0">
                <a:pos x="connsiteX51546" y="connsiteY51546"/>
              </a:cxn>
              <a:cxn ang="0">
                <a:pos x="connsiteX51547" y="connsiteY51547"/>
              </a:cxn>
              <a:cxn ang="0">
                <a:pos x="connsiteX51548" y="connsiteY51548"/>
              </a:cxn>
              <a:cxn ang="0">
                <a:pos x="connsiteX51549" y="connsiteY51549"/>
              </a:cxn>
              <a:cxn ang="0">
                <a:pos x="connsiteX51550" y="connsiteY51550"/>
              </a:cxn>
              <a:cxn ang="0">
                <a:pos x="connsiteX51551" y="connsiteY51551"/>
              </a:cxn>
              <a:cxn ang="0">
                <a:pos x="connsiteX51552" y="connsiteY51552"/>
              </a:cxn>
              <a:cxn ang="0">
                <a:pos x="connsiteX51553" y="connsiteY51553"/>
              </a:cxn>
              <a:cxn ang="0">
                <a:pos x="connsiteX51554" y="connsiteY51554"/>
              </a:cxn>
              <a:cxn ang="0">
                <a:pos x="connsiteX51555" y="connsiteY51555"/>
              </a:cxn>
              <a:cxn ang="0">
                <a:pos x="connsiteX51556" y="connsiteY51556"/>
              </a:cxn>
              <a:cxn ang="0">
                <a:pos x="connsiteX51557" y="connsiteY51557"/>
              </a:cxn>
              <a:cxn ang="0">
                <a:pos x="connsiteX51558" y="connsiteY51558"/>
              </a:cxn>
              <a:cxn ang="0">
                <a:pos x="connsiteX51559" y="connsiteY51559"/>
              </a:cxn>
              <a:cxn ang="0">
                <a:pos x="connsiteX51560" y="connsiteY51560"/>
              </a:cxn>
              <a:cxn ang="0">
                <a:pos x="connsiteX51561" y="connsiteY51561"/>
              </a:cxn>
              <a:cxn ang="0">
                <a:pos x="connsiteX51562" y="connsiteY51562"/>
              </a:cxn>
              <a:cxn ang="0">
                <a:pos x="connsiteX51563" y="connsiteY51563"/>
              </a:cxn>
              <a:cxn ang="0">
                <a:pos x="connsiteX51564" y="connsiteY51564"/>
              </a:cxn>
              <a:cxn ang="0">
                <a:pos x="connsiteX51565" y="connsiteY51565"/>
              </a:cxn>
              <a:cxn ang="0">
                <a:pos x="connsiteX51566" y="connsiteY51566"/>
              </a:cxn>
              <a:cxn ang="0">
                <a:pos x="connsiteX51567" y="connsiteY51567"/>
              </a:cxn>
              <a:cxn ang="0">
                <a:pos x="connsiteX51568" y="connsiteY51568"/>
              </a:cxn>
              <a:cxn ang="0">
                <a:pos x="connsiteX51569" y="connsiteY51569"/>
              </a:cxn>
              <a:cxn ang="0">
                <a:pos x="connsiteX51570" y="connsiteY51570"/>
              </a:cxn>
              <a:cxn ang="0">
                <a:pos x="connsiteX51571" y="connsiteY51571"/>
              </a:cxn>
              <a:cxn ang="0">
                <a:pos x="connsiteX51572" y="connsiteY51572"/>
              </a:cxn>
              <a:cxn ang="0">
                <a:pos x="connsiteX51573" y="connsiteY51573"/>
              </a:cxn>
              <a:cxn ang="0">
                <a:pos x="connsiteX51574" y="connsiteY51574"/>
              </a:cxn>
              <a:cxn ang="0">
                <a:pos x="connsiteX51575" y="connsiteY51575"/>
              </a:cxn>
              <a:cxn ang="0">
                <a:pos x="connsiteX51576" y="connsiteY51576"/>
              </a:cxn>
              <a:cxn ang="0">
                <a:pos x="connsiteX51577" y="connsiteY51577"/>
              </a:cxn>
              <a:cxn ang="0">
                <a:pos x="connsiteX51578" y="connsiteY51578"/>
              </a:cxn>
              <a:cxn ang="0">
                <a:pos x="connsiteX51579" y="connsiteY51579"/>
              </a:cxn>
              <a:cxn ang="0">
                <a:pos x="connsiteX51580" y="connsiteY51580"/>
              </a:cxn>
              <a:cxn ang="0">
                <a:pos x="connsiteX51581" y="connsiteY51581"/>
              </a:cxn>
              <a:cxn ang="0">
                <a:pos x="connsiteX51582" y="connsiteY51582"/>
              </a:cxn>
              <a:cxn ang="0">
                <a:pos x="connsiteX51583" y="connsiteY51583"/>
              </a:cxn>
              <a:cxn ang="0">
                <a:pos x="connsiteX51584" y="connsiteY51584"/>
              </a:cxn>
              <a:cxn ang="0">
                <a:pos x="connsiteX51585" y="connsiteY51585"/>
              </a:cxn>
              <a:cxn ang="0">
                <a:pos x="connsiteX51586" y="connsiteY51586"/>
              </a:cxn>
              <a:cxn ang="0">
                <a:pos x="connsiteX51587" y="connsiteY51587"/>
              </a:cxn>
              <a:cxn ang="0">
                <a:pos x="connsiteX51588" y="connsiteY51588"/>
              </a:cxn>
              <a:cxn ang="0">
                <a:pos x="connsiteX51589" y="connsiteY51589"/>
              </a:cxn>
              <a:cxn ang="0">
                <a:pos x="connsiteX51590" y="connsiteY51590"/>
              </a:cxn>
              <a:cxn ang="0">
                <a:pos x="connsiteX51591" y="connsiteY51591"/>
              </a:cxn>
              <a:cxn ang="0">
                <a:pos x="connsiteX51592" y="connsiteY51592"/>
              </a:cxn>
              <a:cxn ang="0">
                <a:pos x="connsiteX51593" y="connsiteY51593"/>
              </a:cxn>
              <a:cxn ang="0">
                <a:pos x="connsiteX51594" y="connsiteY51594"/>
              </a:cxn>
              <a:cxn ang="0">
                <a:pos x="connsiteX51595" y="connsiteY51595"/>
              </a:cxn>
              <a:cxn ang="0">
                <a:pos x="connsiteX51596" y="connsiteY51596"/>
              </a:cxn>
              <a:cxn ang="0">
                <a:pos x="connsiteX51597" y="connsiteY51597"/>
              </a:cxn>
              <a:cxn ang="0">
                <a:pos x="connsiteX51598" y="connsiteY51598"/>
              </a:cxn>
              <a:cxn ang="0">
                <a:pos x="connsiteX51599" y="connsiteY51599"/>
              </a:cxn>
              <a:cxn ang="0">
                <a:pos x="connsiteX51600" y="connsiteY51600"/>
              </a:cxn>
              <a:cxn ang="0">
                <a:pos x="connsiteX51601" y="connsiteY51601"/>
              </a:cxn>
              <a:cxn ang="0">
                <a:pos x="connsiteX51602" y="connsiteY51602"/>
              </a:cxn>
              <a:cxn ang="0">
                <a:pos x="connsiteX51603" y="connsiteY51603"/>
              </a:cxn>
              <a:cxn ang="0">
                <a:pos x="connsiteX51604" y="connsiteY51604"/>
              </a:cxn>
              <a:cxn ang="0">
                <a:pos x="connsiteX51605" y="connsiteY51605"/>
              </a:cxn>
              <a:cxn ang="0">
                <a:pos x="connsiteX51606" y="connsiteY51606"/>
              </a:cxn>
              <a:cxn ang="0">
                <a:pos x="connsiteX51607" y="connsiteY51607"/>
              </a:cxn>
              <a:cxn ang="0">
                <a:pos x="connsiteX51608" y="connsiteY51608"/>
              </a:cxn>
              <a:cxn ang="0">
                <a:pos x="connsiteX51609" y="connsiteY51609"/>
              </a:cxn>
              <a:cxn ang="0">
                <a:pos x="connsiteX51610" y="connsiteY51610"/>
              </a:cxn>
              <a:cxn ang="0">
                <a:pos x="connsiteX51611" y="connsiteY51611"/>
              </a:cxn>
              <a:cxn ang="0">
                <a:pos x="connsiteX51612" y="connsiteY51612"/>
              </a:cxn>
              <a:cxn ang="0">
                <a:pos x="connsiteX51613" y="connsiteY51613"/>
              </a:cxn>
              <a:cxn ang="0">
                <a:pos x="connsiteX51614" y="connsiteY51614"/>
              </a:cxn>
              <a:cxn ang="0">
                <a:pos x="connsiteX51615" y="connsiteY51615"/>
              </a:cxn>
              <a:cxn ang="0">
                <a:pos x="connsiteX51616" y="connsiteY51616"/>
              </a:cxn>
              <a:cxn ang="0">
                <a:pos x="connsiteX51617" y="connsiteY51617"/>
              </a:cxn>
              <a:cxn ang="0">
                <a:pos x="connsiteX51618" y="connsiteY51618"/>
              </a:cxn>
              <a:cxn ang="0">
                <a:pos x="connsiteX51619" y="connsiteY51619"/>
              </a:cxn>
              <a:cxn ang="0">
                <a:pos x="connsiteX51620" y="connsiteY51620"/>
              </a:cxn>
              <a:cxn ang="0">
                <a:pos x="connsiteX51621" y="connsiteY51621"/>
              </a:cxn>
              <a:cxn ang="0">
                <a:pos x="connsiteX51622" y="connsiteY51622"/>
              </a:cxn>
              <a:cxn ang="0">
                <a:pos x="connsiteX51623" y="connsiteY51623"/>
              </a:cxn>
              <a:cxn ang="0">
                <a:pos x="connsiteX51624" y="connsiteY51624"/>
              </a:cxn>
              <a:cxn ang="0">
                <a:pos x="connsiteX51625" y="connsiteY51625"/>
              </a:cxn>
              <a:cxn ang="0">
                <a:pos x="connsiteX51626" y="connsiteY51626"/>
              </a:cxn>
              <a:cxn ang="0">
                <a:pos x="connsiteX51627" y="connsiteY51627"/>
              </a:cxn>
              <a:cxn ang="0">
                <a:pos x="connsiteX51628" y="connsiteY51628"/>
              </a:cxn>
              <a:cxn ang="0">
                <a:pos x="connsiteX51629" y="connsiteY51629"/>
              </a:cxn>
              <a:cxn ang="0">
                <a:pos x="connsiteX51630" y="connsiteY51630"/>
              </a:cxn>
              <a:cxn ang="0">
                <a:pos x="connsiteX51631" y="connsiteY51631"/>
              </a:cxn>
              <a:cxn ang="0">
                <a:pos x="connsiteX51632" y="connsiteY51632"/>
              </a:cxn>
              <a:cxn ang="0">
                <a:pos x="connsiteX51633" y="connsiteY51633"/>
              </a:cxn>
              <a:cxn ang="0">
                <a:pos x="connsiteX51634" y="connsiteY51634"/>
              </a:cxn>
              <a:cxn ang="0">
                <a:pos x="connsiteX51635" y="connsiteY51635"/>
              </a:cxn>
              <a:cxn ang="0">
                <a:pos x="connsiteX51636" y="connsiteY51636"/>
              </a:cxn>
              <a:cxn ang="0">
                <a:pos x="connsiteX51637" y="connsiteY51637"/>
              </a:cxn>
              <a:cxn ang="0">
                <a:pos x="connsiteX51638" y="connsiteY51638"/>
              </a:cxn>
              <a:cxn ang="0">
                <a:pos x="connsiteX51639" y="connsiteY51639"/>
              </a:cxn>
              <a:cxn ang="0">
                <a:pos x="connsiteX51640" y="connsiteY51640"/>
              </a:cxn>
              <a:cxn ang="0">
                <a:pos x="connsiteX51641" y="connsiteY51641"/>
              </a:cxn>
              <a:cxn ang="0">
                <a:pos x="connsiteX51642" y="connsiteY51642"/>
              </a:cxn>
              <a:cxn ang="0">
                <a:pos x="connsiteX51643" y="connsiteY51643"/>
              </a:cxn>
              <a:cxn ang="0">
                <a:pos x="connsiteX51644" y="connsiteY51644"/>
              </a:cxn>
              <a:cxn ang="0">
                <a:pos x="connsiteX51645" y="connsiteY51645"/>
              </a:cxn>
              <a:cxn ang="0">
                <a:pos x="connsiteX51646" y="connsiteY51646"/>
              </a:cxn>
              <a:cxn ang="0">
                <a:pos x="connsiteX51647" y="connsiteY51647"/>
              </a:cxn>
              <a:cxn ang="0">
                <a:pos x="connsiteX51648" y="connsiteY51648"/>
              </a:cxn>
              <a:cxn ang="0">
                <a:pos x="connsiteX51649" y="connsiteY51649"/>
              </a:cxn>
              <a:cxn ang="0">
                <a:pos x="connsiteX51650" y="connsiteY51650"/>
              </a:cxn>
              <a:cxn ang="0">
                <a:pos x="connsiteX51651" y="connsiteY51651"/>
              </a:cxn>
              <a:cxn ang="0">
                <a:pos x="connsiteX51652" y="connsiteY51652"/>
              </a:cxn>
              <a:cxn ang="0">
                <a:pos x="connsiteX51653" y="connsiteY51653"/>
              </a:cxn>
              <a:cxn ang="0">
                <a:pos x="connsiteX51654" y="connsiteY51654"/>
              </a:cxn>
              <a:cxn ang="0">
                <a:pos x="connsiteX51655" y="connsiteY51655"/>
              </a:cxn>
              <a:cxn ang="0">
                <a:pos x="connsiteX51656" y="connsiteY51656"/>
              </a:cxn>
              <a:cxn ang="0">
                <a:pos x="connsiteX51657" y="connsiteY51657"/>
              </a:cxn>
              <a:cxn ang="0">
                <a:pos x="connsiteX51658" y="connsiteY51658"/>
              </a:cxn>
              <a:cxn ang="0">
                <a:pos x="connsiteX51659" y="connsiteY51659"/>
              </a:cxn>
              <a:cxn ang="0">
                <a:pos x="connsiteX51660" y="connsiteY51660"/>
              </a:cxn>
              <a:cxn ang="0">
                <a:pos x="connsiteX51661" y="connsiteY51661"/>
              </a:cxn>
              <a:cxn ang="0">
                <a:pos x="connsiteX51662" y="connsiteY51662"/>
              </a:cxn>
              <a:cxn ang="0">
                <a:pos x="connsiteX51663" y="connsiteY51663"/>
              </a:cxn>
              <a:cxn ang="0">
                <a:pos x="connsiteX51664" y="connsiteY51664"/>
              </a:cxn>
              <a:cxn ang="0">
                <a:pos x="connsiteX51665" y="connsiteY51665"/>
              </a:cxn>
              <a:cxn ang="0">
                <a:pos x="connsiteX51666" y="connsiteY51666"/>
              </a:cxn>
              <a:cxn ang="0">
                <a:pos x="connsiteX51667" y="connsiteY51667"/>
              </a:cxn>
              <a:cxn ang="0">
                <a:pos x="connsiteX51668" y="connsiteY51668"/>
              </a:cxn>
              <a:cxn ang="0">
                <a:pos x="connsiteX51669" y="connsiteY51669"/>
              </a:cxn>
              <a:cxn ang="0">
                <a:pos x="connsiteX51670" y="connsiteY51670"/>
              </a:cxn>
              <a:cxn ang="0">
                <a:pos x="connsiteX51671" y="connsiteY51671"/>
              </a:cxn>
              <a:cxn ang="0">
                <a:pos x="connsiteX51672" y="connsiteY51672"/>
              </a:cxn>
              <a:cxn ang="0">
                <a:pos x="connsiteX51673" y="connsiteY51673"/>
              </a:cxn>
              <a:cxn ang="0">
                <a:pos x="connsiteX51674" y="connsiteY51674"/>
              </a:cxn>
              <a:cxn ang="0">
                <a:pos x="connsiteX51675" y="connsiteY51675"/>
              </a:cxn>
              <a:cxn ang="0">
                <a:pos x="connsiteX51676" y="connsiteY51676"/>
              </a:cxn>
              <a:cxn ang="0">
                <a:pos x="connsiteX51677" y="connsiteY51677"/>
              </a:cxn>
              <a:cxn ang="0">
                <a:pos x="connsiteX51678" y="connsiteY51678"/>
              </a:cxn>
              <a:cxn ang="0">
                <a:pos x="connsiteX51679" y="connsiteY51679"/>
              </a:cxn>
              <a:cxn ang="0">
                <a:pos x="connsiteX51680" y="connsiteY51680"/>
              </a:cxn>
              <a:cxn ang="0">
                <a:pos x="connsiteX51681" y="connsiteY51681"/>
              </a:cxn>
              <a:cxn ang="0">
                <a:pos x="connsiteX51682" y="connsiteY51682"/>
              </a:cxn>
              <a:cxn ang="0">
                <a:pos x="connsiteX51683" y="connsiteY51683"/>
              </a:cxn>
              <a:cxn ang="0">
                <a:pos x="connsiteX51684" y="connsiteY51684"/>
              </a:cxn>
              <a:cxn ang="0">
                <a:pos x="connsiteX51685" y="connsiteY51685"/>
              </a:cxn>
              <a:cxn ang="0">
                <a:pos x="connsiteX51686" y="connsiteY51686"/>
              </a:cxn>
              <a:cxn ang="0">
                <a:pos x="connsiteX51687" y="connsiteY51687"/>
              </a:cxn>
              <a:cxn ang="0">
                <a:pos x="connsiteX51688" y="connsiteY51688"/>
              </a:cxn>
              <a:cxn ang="0">
                <a:pos x="connsiteX51689" y="connsiteY51689"/>
              </a:cxn>
              <a:cxn ang="0">
                <a:pos x="connsiteX51690" y="connsiteY51690"/>
              </a:cxn>
              <a:cxn ang="0">
                <a:pos x="connsiteX51691" y="connsiteY51691"/>
              </a:cxn>
              <a:cxn ang="0">
                <a:pos x="connsiteX51692" y="connsiteY51692"/>
              </a:cxn>
              <a:cxn ang="0">
                <a:pos x="connsiteX51693" y="connsiteY51693"/>
              </a:cxn>
              <a:cxn ang="0">
                <a:pos x="connsiteX51694" y="connsiteY51694"/>
              </a:cxn>
              <a:cxn ang="0">
                <a:pos x="connsiteX51695" y="connsiteY51695"/>
              </a:cxn>
              <a:cxn ang="0">
                <a:pos x="connsiteX51696" y="connsiteY51696"/>
              </a:cxn>
              <a:cxn ang="0">
                <a:pos x="connsiteX51697" y="connsiteY51697"/>
              </a:cxn>
              <a:cxn ang="0">
                <a:pos x="connsiteX51698" y="connsiteY51698"/>
              </a:cxn>
              <a:cxn ang="0">
                <a:pos x="connsiteX51699" y="connsiteY51699"/>
              </a:cxn>
              <a:cxn ang="0">
                <a:pos x="connsiteX51700" y="connsiteY51700"/>
              </a:cxn>
              <a:cxn ang="0">
                <a:pos x="connsiteX51701" y="connsiteY51701"/>
              </a:cxn>
              <a:cxn ang="0">
                <a:pos x="connsiteX51702" y="connsiteY51702"/>
              </a:cxn>
              <a:cxn ang="0">
                <a:pos x="connsiteX51703" y="connsiteY51703"/>
              </a:cxn>
              <a:cxn ang="0">
                <a:pos x="connsiteX51704" y="connsiteY51704"/>
              </a:cxn>
              <a:cxn ang="0">
                <a:pos x="connsiteX51705" y="connsiteY51705"/>
              </a:cxn>
              <a:cxn ang="0">
                <a:pos x="connsiteX51706" y="connsiteY51706"/>
              </a:cxn>
              <a:cxn ang="0">
                <a:pos x="connsiteX51707" y="connsiteY51707"/>
              </a:cxn>
              <a:cxn ang="0">
                <a:pos x="connsiteX51708" y="connsiteY51708"/>
              </a:cxn>
              <a:cxn ang="0">
                <a:pos x="connsiteX51709" y="connsiteY51709"/>
              </a:cxn>
              <a:cxn ang="0">
                <a:pos x="connsiteX51710" y="connsiteY51710"/>
              </a:cxn>
              <a:cxn ang="0">
                <a:pos x="connsiteX51711" y="connsiteY51711"/>
              </a:cxn>
              <a:cxn ang="0">
                <a:pos x="connsiteX51712" y="connsiteY51712"/>
              </a:cxn>
              <a:cxn ang="0">
                <a:pos x="connsiteX51713" y="connsiteY51713"/>
              </a:cxn>
              <a:cxn ang="0">
                <a:pos x="connsiteX51714" y="connsiteY51714"/>
              </a:cxn>
              <a:cxn ang="0">
                <a:pos x="connsiteX51715" y="connsiteY51715"/>
              </a:cxn>
              <a:cxn ang="0">
                <a:pos x="connsiteX51716" y="connsiteY51716"/>
              </a:cxn>
              <a:cxn ang="0">
                <a:pos x="connsiteX51717" y="connsiteY51717"/>
              </a:cxn>
              <a:cxn ang="0">
                <a:pos x="connsiteX51718" y="connsiteY51718"/>
              </a:cxn>
              <a:cxn ang="0">
                <a:pos x="connsiteX51719" y="connsiteY51719"/>
              </a:cxn>
              <a:cxn ang="0">
                <a:pos x="connsiteX51720" y="connsiteY51720"/>
              </a:cxn>
              <a:cxn ang="0">
                <a:pos x="connsiteX51721" y="connsiteY51721"/>
              </a:cxn>
              <a:cxn ang="0">
                <a:pos x="connsiteX51722" y="connsiteY51722"/>
              </a:cxn>
              <a:cxn ang="0">
                <a:pos x="connsiteX51723" y="connsiteY51723"/>
              </a:cxn>
              <a:cxn ang="0">
                <a:pos x="connsiteX51724" y="connsiteY51724"/>
              </a:cxn>
              <a:cxn ang="0">
                <a:pos x="connsiteX51725" y="connsiteY51725"/>
              </a:cxn>
              <a:cxn ang="0">
                <a:pos x="connsiteX51726" y="connsiteY51726"/>
              </a:cxn>
              <a:cxn ang="0">
                <a:pos x="connsiteX51727" y="connsiteY51727"/>
              </a:cxn>
              <a:cxn ang="0">
                <a:pos x="connsiteX51728" y="connsiteY51728"/>
              </a:cxn>
              <a:cxn ang="0">
                <a:pos x="connsiteX51729" y="connsiteY51729"/>
              </a:cxn>
              <a:cxn ang="0">
                <a:pos x="connsiteX51730" y="connsiteY51730"/>
              </a:cxn>
              <a:cxn ang="0">
                <a:pos x="connsiteX51731" y="connsiteY51731"/>
              </a:cxn>
              <a:cxn ang="0">
                <a:pos x="connsiteX51732" y="connsiteY51732"/>
              </a:cxn>
              <a:cxn ang="0">
                <a:pos x="connsiteX51733" y="connsiteY51733"/>
              </a:cxn>
              <a:cxn ang="0">
                <a:pos x="connsiteX51734" y="connsiteY51734"/>
              </a:cxn>
              <a:cxn ang="0">
                <a:pos x="connsiteX51735" y="connsiteY51735"/>
              </a:cxn>
              <a:cxn ang="0">
                <a:pos x="connsiteX51736" y="connsiteY51736"/>
              </a:cxn>
              <a:cxn ang="0">
                <a:pos x="connsiteX51737" y="connsiteY51737"/>
              </a:cxn>
              <a:cxn ang="0">
                <a:pos x="connsiteX51738" y="connsiteY51738"/>
              </a:cxn>
              <a:cxn ang="0">
                <a:pos x="connsiteX51739" y="connsiteY51739"/>
              </a:cxn>
              <a:cxn ang="0">
                <a:pos x="connsiteX51740" y="connsiteY51740"/>
              </a:cxn>
              <a:cxn ang="0">
                <a:pos x="connsiteX51741" y="connsiteY51741"/>
              </a:cxn>
              <a:cxn ang="0">
                <a:pos x="connsiteX51742" y="connsiteY51742"/>
              </a:cxn>
              <a:cxn ang="0">
                <a:pos x="connsiteX51743" y="connsiteY51743"/>
              </a:cxn>
              <a:cxn ang="0">
                <a:pos x="connsiteX51744" y="connsiteY51744"/>
              </a:cxn>
              <a:cxn ang="0">
                <a:pos x="connsiteX51745" y="connsiteY51745"/>
              </a:cxn>
              <a:cxn ang="0">
                <a:pos x="connsiteX51746" y="connsiteY51746"/>
              </a:cxn>
              <a:cxn ang="0">
                <a:pos x="connsiteX51747" y="connsiteY51747"/>
              </a:cxn>
              <a:cxn ang="0">
                <a:pos x="connsiteX51748" y="connsiteY51748"/>
              </a:cxn>
              <a:cxn ang="0">
                <a:pos x="connsiteX51749" y="connsiteY51749"/>
              </a:cxn>
              <a:cxn ang="0">
                <a:pos x="connsiteX51750" y="connsiteY51750"/>
              </a:cxn>
              <a:cxn ang="0">
                <a:pos x="connsiteX51751" y="connsiteY51751"/>
              </a:cxn>
              <a:cxn ang="0">
                <a:pos x="connsiteX51752" y="connsiteY51752"/>
              </a:cxn>
              <a:cxn ang="0">
                <a:pos x="connsiteX51753" y="connsiteY51753"/>
              </a:cxn>
              <a:cxn ang="0">
                <a:pos x="connsiteX51754" y="connsiteY51754"/>
              </a:cxn>
              <a:cxn ang="0">
                <a:pos x="connsiteX51755" y="connsiteY51755"/>
              </a:cxn>
              <a:cxn ang="0">
                <a:pos x="connsiteX51756" y="connsiteY51756"/>
              </a:cxn>
              <a:cxn ang="0">
                <a:pos x="connsiteX51757" y="connsiteY51757"/>
              </a:cxn>
              <a:cxn ang="0">
                <a:pos x="connsiteX51758" y="connsiteY51758"/>
              </a:cxn>
              <a:cxn ang="0">
                <a:pos x="connsiteX51759" y="connsiteY51759"/>
              </a:cxn>
              <a:cxn ang="0">
                <a:pos x="connsiteX51760" y="connsiteY51760"/>
              </a:cxn>
              <a:cxn ang="0">
                <a:pos x="connsiteX51761" y="connsiteY51761"/>
              </a:cxn>
              <a:cxn ang="0">
                <a:pos x="connsiteX51762" y="connsiteY51762"/>
              </a:cxn>
              <a:cxn ang="0">
                <a:pos x="connsiteX51763" y="connsiteY51763"/>
              </a:cxn>
              <a:cxn ang="0">
                <a:pos x="connsiteX51764" y="connsiteY51764"/>
              </a:cxn>
              <a:cxn ang="0">
                <a:pos x="connsiteX51765" y="connsiteY51765"/>
              </a:cxn>
              <a:cxn ang="0">
                <a:pos x="connsiteX51766" y="connsiteY51766"/>
              </a:cxn>
              <a:cxn ang="0">
                <a:pos x="connsiteX51767" y="connsiteY51767"/>
              </a:cxn>
              <a:cxn ang="0">
                <a:pos x="connsiteX51768" y="connsiteY51768"/>
              </a:cxn>
              <a:cxn ang="0">
                <a:pos x="connsiteX51769" y="connsiteY51769"/>
              </a:cxn>
              <a:cxn ang="0">
                <a:pos x="connsiteX51770" y="connsiteY51770"/>
              </a:cxn>
              <a:cxn ang="0">
                <a:pos x="connsiteX51771" y="connsiteY51771"/>
              </a:cxn>
              <a:cxn ang="0">
                <a:pos x="connsiteX51772" y="connsiteY51772"/>
              </a:cxn>
              <a:cxn ang="0">
                <a:pos x="connsiteX51773" y="connsiteY51773"/>
              </a:cxn>
              <a:cxn ang="0">
                <a:pos x="connsiteX51774" y="connsiteY51774"/>
              </a:cxn>
              <a:cxn ang="0">
                <a:pos x="connsiteX51775" y="connsiteY51775"/>
              </a:cxn>
              <a:cxn ang="0">
                <a:pos x="connsiteX51776" y="connsiteY51776"/>
              </a:cxn>
              <a:cxn ang="0">
                <a:pos x="connsiteX51777" y="connsiteY51777"/>
              </a:cxn>
              <a:cxn ang="0">
                <a:pos x="connsiteX51778" y="connsiteY51778"/>
              </a:cxn>
              <a:cxn ang="0">
                <a:pos x="connsiteX51779" y="connsiteY51779"/>
              </a:cxn>
              <a:cxn ang="0">
                <a:pos x="connsiteX51780" y="connsiteY51780"/>
              </a:cxn>
              <a:cxn ang="0">
                <a:pos x="connsiteX51781" y="connsiteY51781"/>
              </a:cxn>
              <a:cxn ang="0">
                <a:pos x="connsiteX51782" y="connsiteY51782"/>
              </a:cxn>
              <a:cxn ang="0">
                <a:pos x="connsiteX51783" y="connsiteY51783"/>
              </a:cxn>
              <a:cxn ang="0">
                <a:pos x="connsiteX51784" y="connsiteY51784"/>
              </a:cxn>
              <a:cxn ang="0">
                <a:pos x="connsiteX51785" y="connsiteY51785"/>
              </a:cxn>
              <a:cxn ang="0">
                <a:pos x="connsiteX51786" y="connsiteY51786"/>
              </a:cxn>
              <a:cxn ang="0">
                <a:pos x="connsiteX51787" y="connsiteY51787"/>
              </a:cxn>
              <a:cxn ang="0">
                <a:pos x="connsiteX51788" y="connsiteY51788"/>
              </a:cxn>
              <a:cxn ang="0">
                <a:pos x="connsiteX51789" y="connsiteY51789"/>
              </a:cxn>
              <a:cxn ang="0">
                <a:pos x="connsiteX51790" y="connsiteY51790"/>
              </a:cxn>
              <a:cxn ang="0">
                <a:pos x="connsiteX51791" y="connsiteY51791"/>
              </a:cxn>
              <a:cxn ang="0">
                <a:pos x="connsiteX51792" y="connsiteY51792"/>
              </a:cxn>
              <a:cxn ang="0">
                <a:pos x="connsiteX51793" y="connsiteY51793"/>
              </a:cxn>
              <a:cxn ang="0">
                <a:pos x="connsiteX51794" y="connsiteY51794"/>
              </a:cxn>
              <a:cxn ang="0">
                <a:pos x="connsiteX51795" y="connsiteY51795"/>
              </a:cxn>
              <a:cxn ang="0">
                <a:pos x="connsiteX51796" y="connsiteY51796"/>
              </a:cxn>
              <a:cxn ang="0">
                <a:pos x="connsiteX51797" y="connsiteY51797"/>
              </a:cxn>
              <a:cxn ang="0">
                <a:pos x="connsiteX51798" y="connsiteY51798"/>
              </a:cxn>
              <a:cxn ang="0">
                <a:pos x="connsiteX51799" y="connsiteY51799"/>
              </a:cxn>
              <a:cxn ang="0">
                <a:pos x="connsiteX51800" y="connsiteY51800"/>
              </a:cxn>
              <a:cxn ang="0">
                <a:pos x="connsiteX51801" y="connsiteY51801"/>
              </a:cxn>
              <a:cxn ang="0">
                <a:pos x="connsiteX51802" y="connsiteY51802"/>
              </a:cxn>
              <a:cxn ang="0">
                <a:pos x="connsiteX51803" y="connsiteY51803"/>
              </a:cxn>
              <a:cxn ang="0">
                <a:pos x="connsiteX51804" y="connsiteY51804"/>
              </a:cxn>
              <a:cxn ang="0">
                <a:pos x="connsiteX51805" y="connsiteY51805"/>
              </a:cxn>
              <a:cxn ang="0">
                <a:pos x="connsiteX51806" y="connsiteY51806"/>
              </a:cxn>
              <a:cxn ang="0">
                <a:pos x="connsiteX51807" y="connsiteY51807"/>
              </a:cxn>
              <a:cxn ang="0">
                <a:pos x="connsiteX51808" y="connsiteY51808"/>
              </a:cxn>
              <a:cxn ang="0">
                <a:pos x="connsiteX51809" y="connsiteY51809"/>
              </a:cxn>
              <a:cxn ang="0">
                <a:pos x="connsiteX51810" y="connsiteY51810"/>
              </a:cxn>
              <a:cxn ang="0">
                <a:pos x="connsiteX51811" y="connsiteY51811"/>
              </a:cxn>
              <a:cxn ang="0">
                <a:pos x="connsiteX51812" y="connsiteY51812"/>
              </a:cxn>
              <a:cxn ang="0">
                <a:pos x="connsiteX51813" y="connsiteY51813"/>
              </a:cxn>
              <a:cxn ang="0">
                <a:pos x="connsiteX51814" y="connsiteY51814"/>
              </a:cxn>
              <a:cxn ang="0">
                <a:pos x="connsiteX51815" y="connsiteY51815"/>
              </a:cxn>
              <a:cxn ang="0">
                <a:pos x="connsiteX51816" y="connsiteY51816"/>
              </a:cxn>
              <a:cxn ang="0">
                <a:pos x="connsiteX51817" y="connsiteY51817"/>
              </a:cxn>
              <a:cxn ang="0">
                <a:pos x="connsiteX51818" y="connsiteY51818"/>
              </a:cxn>
              <a:cxn ang="0">
                <a:pos x="connsiteX51819" y="connsiteY51819"/>
              </a:cxn>
              <a:cxn ang="0">
                <a:pos x="connsiteX51820" y="connsiteY51820"/>
              </a:cxn>
              <a:cxn ang="0">
                <a:pos x="connsiteX51821" y="connsiteY51821"/>
              </a:cxn>
              <a:cxn ang="0">
                <a:pos x="connsiteX51822" y="connsiteY51822"/>
              </a:cxn>
              <a:cxn ang="0">
                <a:pos x="connsiteX51823" y="connsiteY51823"/>
              </a:cxn>
              <a:cxn ang="0">
                <a:pos x="connsiteX51824" y="connsiteY51824"/>
              </a:cxn>
              <a:cxn ang="0">
                <a:pos x="connsiteX51825" y="connsiteY51825"/>
              </a:cxn>
              <a:cxn ang="0">
                <a:pos x="connsiteX51826" y="connsiteY51826"/>
              </a:cxn>
              <a:cxn ang="0">
                <a:pos x="connsiteX51827" y="connsiteY51827"/>
              </a:cxn>
              <a:cxn ang="0">
                <a:pos x="connsiteX51828" y="connsiteY51828"/>
              </a:cxn>
              <a:cxn ang="0">
                <a:pos x="connsiteX51829" y="connsiteY51829"/>
              </a:cxn>
              <a:cxn ang="0">
                <a:pos x="connsiteX51830" y="connsiteY51830"/>
              </a:cxn>
              <a:cxn ang="0">
                <a:pos x="connsiteX51831" y="connsiteY51831"/>
              </a:cxn>
              <a:cxn ang="0">
                <a:pos x="connsiteX51832" y="connsiteY51832"/>
              </a:cxn>
              <a:cxn ang="0">
                <a:pos x="connsiteX51833" y="connsiteY51833"/>
              </a:cxn>
              <a:cxn ang="0">
                <a:pos x="connsiteX51834" y="connsiteY51834"/>
              </a:cxn>
              <a:cxn ang="0">
                <a:pos x="connsiteX51835" y="connsiteY51835"/>
              </a:cxn>
              <a:cxn ang="0">
                <a:pos x="connsiteX51836" y="connsiteY51836"/>
              </a:cxn>
              <a:cxn ang="0">
                <a:pos x="connsiteX51837" y="connsiteY51837"/>
              </a:cxn>
              <a:cxn ang="0">
                <a:pos x="connsiteX51838" y="connsiteY51838"/>
              </a:cxn>
              <a:cxn ang="0">
                <a:pos x="connsiteX51839" y="connsiteY51839"/>
              </a:cxn>
              <a:cxn ang="0">
                <a:pos x="connsiteX51840" y="connsiteY51840"/>
              </a:cxn>
              <a:cxn ang="0">
                <a:pos x="connsiteX51841" y="connsiteY51841"/>
              </a:cxn>
              <a:cxn ang="0">
                <a:pos x="connsiteX51842" y="connsiteY51842"/>
              </a:cxn>
              <a:cxn ang="0">
                <a:pos x="connsiteX51843" y="connsiteY51843"/>
              </a:cxn>
              <a:cxn ang="0">
                <a:pos x="connsiteX51844" y="connsiteY51844"/>
              </a:cxn>
              <a:cxn ang="0">
                <a:pos x="connsiteX51845" y="connsiteY51845"/>
              </a:cxn>
              <a:cxn ang="0">
                <a:pos x="connsiteX51846" y="connsiteY51846"/>
              </a:cxn>
              <a:cxn ang="0">
                <a:pos x="connsiteX51847" y="connsiteY51847"/>
              </a:cxn>
              <a:cxn ang="0">
                <a:pos x="connsiteX51848" y="connsiteY51848"/>
              </a:cxn>
              <a:cxn ang="0">
                <a:pos x="connsiteX51849" y="connsiteY51849"/>
              </a:cxn>
              <a:cxn ang="0">
                <a:pos x="connsiteX51850" y="connsiteY51850"/>
              </a:cxn>
              <a:cxn ang="0">
                <a:pos x="connsiteX51851" y="connsiteY51851"/>
              </a:cxn>
              <a:cxn ang="0">
                <a:pos x="connsiteX51852" y="connsiteY51852"/>
              </a:cxn>
              <a:cxn ang="0">
                <a:pos x="connsiteX51853" y="connsiteY51853"/>
              </a:cxn>
              <a:cxn ang="0">
                <a:pos x="connsiteX51854" y="connsiteY51854"/>
              </a:cxn>
              <a:cxn ang="0">
                <a:pos x="connsiteX51855" y="connsiteY51855"/>
              </a:cxn>
              <a:cxn ang="0">
                <a:pos x="connsiteX51856" y="connsiteY51856"/>
              </a:cxn>
              <a:cxn ang="0">
                <a:pos x="connsiteX51857" y="connsiteY51857"/>
              </a:cxn>
              <a:cxn ang="0">
                <a:pos x="connsiteX51858" y="connsiteY51858"/>
              </a:cxn>
              <a:cxn ang="0">
                <a:pos x="connsiteX51859" y="connsiteY51859"/>
              </a:cxn>
              <a:cxn ang="0">
                <a:pos x="connsiteX51860" y="connsiteY51860"/>
              </a:cxn>
              <a:cxn ang="0">
                <a:pos x="connsiteX51861" y="connsiteY51861"/>
              </a:cxn>
              <a:cxn ang="0">
                <a:pos x="connsiteX51862" y="connsiteY51862"/>
              </a:cxn>
              <a:cxn ang="0">
                <a:pos x="connsiteX51863" y="connsiteY51863"/>
              </a:cxn>
              <a:cxn ang="0">
                <a:pos x="connsiteX51864" y="connsiteY51864"/>
              </a:cxn>
              <a:cxn ang="0">
                <a:pos x="connsiteX51865" y="connsiteY51865"/>
              </a:cxn>
              <a:cxn ang="0">
                <a:pos x="connsiteX51866" y="connsiteY51866"/>
              </a:cxn>
              <a:cxn ang="0">
                <a:pos x="connsiteX51867" y="connsiteY51867"/>
              </a:cxn>
              <a:cxn ang="0">
                <a:pos x="connsiteX51868" y="connsiteY51868"/>
              </a:cxn>
              <a:cxn ang="0">
                <a:pos x="connsiteX51869" y="connsiteY51869"/>
              </a:cxn>
              <a:cxn ang="0">
                <a:pos x="connsiteX51870" y="connsiteY51870"/>
              </a:cxn>
              <a:cxn ang="0">
                <a:pos x="connsiteX51871" y="connsiteY51871"/>
              </a:cxn>
              <a:cxn ang="0">
                <a:pos x="connsiteX51872" y="connsiteY51872"/>
              </a:cxn>
              <a:cxn ang="0">
                <a:pos x="connsiteX51873" y="connsiteY51873"/>
              </a:cxn>
              <a:cxn ang="0">
                <a:pos x="connsiteX51874" y="connsiteY51874"/>
              </a:cxn>
              <a:cxn ang="0">
                <a:pos x="connsiteX51875" y="connsiteY51875"/>
              </a:cxn>
              <a:cxn ang="0">
                <a:pos x="connsiteX51876" y="connsiteY51876"/>
              </a:cxn>
              <a:cxn ang="0">
                <a:pos x="connsiteX51877" y="connsiteY51877"/>
              </a:cxn>
              <a:cxn ang="0">
                <a:pos x="connsiteX51878" y="connsiteY51878"/>
              </a:cxn>
              <a:cxn ang="0">
                <a:pos x="connsiteX51879" y="connsiteY51879"/>
              </a:cxn>
              <a:cxn ang="0">
                <a:pos x="connsiteX51880" y="connsiteY51880"/>
              </a:cxn>
              <a:cxn ang="0">
                <a:pos x="connsiteX51881" y="connsiteY51881"/>
              </a:cxn>
              <a:cxn ang="0">
                <a:pos x="connsiteX51882" y="connsiteY51882"/>
              </a:cxn>
              <a:cxn ang="0">
                <a:pos x="connsiteX51883" y="connsiteY51883"/>
              </a:cxn>
              <a:cxn ang="0">
                <a:pos x="connsiteX51884" y="connsiteY51884"/>
              </a:cxn>
              <a:cxn ang="0">
                <a:pos x="connsiteX51885" y="connsiteY51885"/>
              </a:cxn>
              <a:cxn ang="0">
                <a:pos x="connsiteX51886" y="connsiteY51886"/>
              </a:cxn>
              <a:cxn ang="0">
                <a:pos x="connsiteX51887" y="connsiteY51887"/>
              </a:cxn>
              <a:cxn ang="0">
                <a:pos x="connsiteX51888" y="connsiteY51888"/>
              </a:cxn>
              <a:cxn ang="0">
                <a:pos x="connsiteX51889" y="connsiteY51889"/>
              </a:cxn>
              <a:cxn ang="0">
                <a:pos x="connsiteX51890" y="connsiteY51890"/>
              </a:cxn>
              <a:cxn ang="0">
                <a:pos x="connsiteX51891" y="connsiteY51891"/>
              </a:cxn>
              <a:cxn ang="0">
                <a:pos x="connsiteX51892" y="connsiteY51892"/>
              </a:cxn>
              <a:cxn ang="0">
                <a:pos x="connsiteX51893" y="connsiteY51893"/>
              </a:cxn>
              <a:cxn ang="0">
                <a:pos x="connsiteX51894" y="connsiteY51894"/>
              </a:cxn>
              <a:cxn ang="0">
                <a:pos x="connsiteX51895" y="connsiteY51895"/>
              </a:cxn>
              <a:cxn ang="0">
                <a:pos x="connsiteX51896" y="connsiteY51896"/>
              </a:cxn>
              <a:cxn ang="0">
                <a:pos x="connsiteX51897" y="connsiteY51897"/>
              </a:cxn>
              <a:cxn ang="0">
                <a:pos x="connsiteX51898" y="connsiteY51898"/>
              </a:cxn>
              <a:cxn ang="0">
                <a:pos x="connsiteX51899" y="connsiteY51899"/>
              </a:cxn>
              <a:cxn ang="0">
                <a:pos x="connsiteX51900" y="connsiteY51900"/>
              </a:cxn>
              <a:cxn ang="0">
                <a:pos x="connsiteX51901" y="connsiteY51901"/>
              </a:cxn>
              <a:cxn ang="0">
                <a:pos x="connsiteX51902" y="connsiteY51902"/>
              </a:cxn>
              <a:cxn ang="0">
                <a:pos x="connsiteX51903" y="connsiteY51903"/>
              </a:cxn>
              <a:cxn ang="0">
                <a:pos x="connsiteX51904" y="connsiteY51904"/>
              </a:cxn>
              <a:cxn ang="0">
                <a:pos x="connsiteX51905" y="connsiteY51905"/>
              </a:cxn>
              <a:cxn ang="0">
                <a:pos x="connsiteX51906" y="connsiteY51906"/>
              </a:cxn>
              <a:cxn ang="0">
                <a:pos x="connsiteX51907" y="connsiteY51907"/>
              </a:cxn>
              <a:cxn ang="0">
                <a:pos x="connsiteX51908" y="connsiteY51908"/>
              </a:cxn>
              <a:cxn ang="0">
                <a:pos x="connsiteX51909" y="connsiteY51909"/>
              </a:cxn>
              <a:cxn ang="0">
                <a:pos x="connsiteX51910" y="connsiteY51910"/>
              </a:cxn>
              <a:cxn ang="0">
                <a:pos x="connsiteX51911" y="connsiteY51911"/>
              </a:cxn>
              <a:cxn ang="0">
                <a:pos x="connsiteX51912" y="connsiteY51912"/>
              </a:cxn>
              <a:cxn ang="0">
                <a:pos x="connsiteX51913" y="connsiteY51913"/>
              </a:cxn>
              <a:cxn ang="0">
                <a:pos x="connsiteX51914" y="connsiteY51914"/>
              </a:cxn>
              <a:cxn ang="0">
                <a:pos x="connsiteX51915" y="connsiteY51915"/>
              </a:cxn>
              <a:cxn ang="0">
                <a:pos x="connsiteX51916" y="connsiteY51916"/>
              </a:cxn>
              <a:cxn ang="0">
                <a:pos x="connsiteX51917" y="connsiteY51917"/>
              </a:cxn>
              <a:cxn ang="0">
                <a:pos x="connsiteX51918" y="connsiteY51918"/>
              </a:cxn>
              <a:cxn ang="0">
                <a:pos x="connsiteX51919" y="connsiteY51919"/>
              </a:cxn>
              <a:cxn ang="0">
                <a:pos x="connsiteX51920" y="connsiteY51920"/>
              </a:cxn>
              <a:cxn ang="0">
                <a:pos x="connsiteX51921" y="connsiteY51921"/>
              </a:cxn>
              <a:cxn ang="0">
                <a:pos x="connsiteX51922" y="connsiteY51922"/>
              </a:cxn>
              <a:cxn ang="0">
                <a:pos x="connsiteX51923" y="connsiteY51923"/>
              </a:cxn>
              <a:cxn ang="0">
                <a:pos x="connsiteX51924" y="connsiteY51924"/>
              </a:cxn>
              <a:cxn ang="0">
                <a:pos x="connsiteX51925" y="connsiteY51925"/>
              </a:cxn>
              <a:cxn ang="0">
                <a:pos x="connsiteX51926" y="connsiteY51926"/>
              </a:cxn>
              <a:cxn ang="0">
                <a:pos x="connsiteX51927" y="connsiteY51927"/>
              </a:cxn>
              <a:cxn ang="0">
                <a:pos x="connsiteX51928" y="connsiteY51928"/>
              </a:cxn>
              <a:cxn ang="0">
                <a:pos x="connsiteX51929" y="connsiteY51929"/>
              </a:cxn>
              <a:cxn ang="0">
                <a:pos x="connsiteX51930" y="connsiteY51930"/>
              </a:cxn>
              <a:cxn ang="0">
                <a:pos x="connsiteX51931" y="connsiteY51931"/>
              </a:cxn>
              <a:cxn ang="0">
                <a:pos x="connsiteX51932" y="connsiteY51932"/>
              </a:cxn>
              <a:cxn ang="0">
                <a:pos x="connsiteX51933" y="connsiteY51933"/>
              </a:cxn>
              <a:cxn ang="0">
                <a:pos x="connsiteX51934" y="connsiteY51934"/>
              </a:cxn>
              <a:cxn ang="0">
                <a:pos x="connsiteX51935" y="connsiteY51935"/>
              </a:cxn>
              <a:cxn ang="0">
                <a:pos x="connsiteX51936" y="connsiteY51936"/>
              </a:cxn>
              <a:cxn ang="0">
                <a:pos x="connsiteX51937" y="connsiteY51937"/>
              </a:cxn>
              <a:cxn ang="0">
                <a:pos x="connsiteX51938" y="connsiteY51938"/>
              </a:cxn>
              <a:cxn ang="0">
                <a:pos x="connsiteX51939" y="connsiteY51939"/>
              </a:cxn>
              <a:cxn ang="0">
                <a:pos x="connsiteX51940" y="connsiteY51940"/>
              </a:cxn>
              <a:cxn ang="0">
                <a:pos x="connsiteX51941" y="connsiteY51941"/>
              </a:cxn>
              <a:cxn ang="0">
                <a:pos x="connsiteX51942" y="connsiteY51942"/>
              </a:cxn>
              <a:cxn ang="0">
                <a:pos x="connsiteX51943" y="connsiteY51943"/>
              </a:cxn>
              <a:cxn ang="0">
                <a:pos x="connsiteX51944" y="connsiteY51944"/>
              </a:cxn>
              <a:cxn ang="0">
                <a:pos x="connsiteX51945" y="connsiteY51945"/>
              </a:cxn>
              <a:cxn ang="0">
                <a:pos x="connsiteX51946" y="connsiteY51946"/>
              </a:cxn>
              <a:cxn ang="0">
                <a:pos x="connsiteX51947" y="connsiteY51947"/>
              </a:cxn>
              <a:cxn ang="0">
                <a:pos x="connsiteX51948" y="connsiteY51948"/>
              </a:cxn>
              <a:cxn ang="0">
                <a:pos x="connsiteX51949" y="connsiteY51949"/>
              </a:cxn>
              <a:cxn ang="0">
                <a:pos x="connsiteX51950" y="connsiteY51950"/>
              </a:cxn>
              <a:cxn ang="0">
                <a:pos x="connsiteX51951" y="connsiteY51951"/>
              </a:cxn>
              <a:cxn ang="0">
                <a:pos x="connsiteX51952" y="connsiteY51952"/>
              </a:cxn>
              <a:cxn ang="0">
                <a:pos x="connsiteX51953" y="connsiteY51953"/>
              </a:cxn>
              <a:cxn ang="0">
                <a:pos x="connsiteX51954" y="connsiteY51954"/>
              </a:cxn>
              <a:cxn ang="0">
                <a:pos x="connsiteX51955" y="connsiteY51955"/>
              </a:cxn>
              <a:cxn ang="0">
                <a:pos x="connsiteX51956" y="connsiteY51956"/>
              </a:cxn>
              <a:cxn ang="0">
                <a:pos x="connsiteX51957" y="connsiteY51957"/>
              </a:cxn>
              <a:cxn ang="0">
                <a:pos x="connsiteX51958" y="connsiteY51958"/>
              </a:cxn>
              <a:cxn ang="0">
                <a:pos x="connsiteX51959" y="connsiteY51959"/>
              </a:cxn>
              <a:cxn ang="0">
                <a:pos x="connsiteX51960" y="connsiteY51960"/>
              </a:cxn>
              <a:cxn ang="0">
                <a:pos x="connsiteX51961" y="connsiteY51961"/>
              </a:cxn>
              <a:cxn ang="0">
                <a:pos x="connsiteX51962" y="connsiteY51962"/>
              </a:cxn>
              <a:cxn ang="0">
                <a:pos x="connsiteX51963" y="connsiteY51963"/>
              </a:cxn>
              <a:cxn ang="0">
                <a:pos x="connsiteX51964" y="connsiteY51964"/>
              </a:cxn>
              <a:cxn ang="0">
                <a:pos x="connsiteX51965" y="connsiteY51965"/>
              </a:cxn>
              <a:cxn ang="0">
                <a:pos x="connsiteX51966" y="connsiteY51966"/>
              </a:cxn>
              <a:cxn ang="0">
                <a:pos x="connsiteX51967" y="connsiteY51967"/>
              </a:cxn>
              <a:cxn ang="0">
                <a:pos x="connsiteX51968" y="connsiteY51968"/>
              </a:cxn>
              <a:cxn ang="0">
                <a:pos x="connsiteX51969" y="connsiteY51969"/>
              </a:cxn>
              <a:cxn ang="0">
                <a:pos x="connsiteX51970" y="connsiteY51970"/>
              </a:cxn>
              <a:cxn ang="0">
                <a:pos x="connsiteX51971" y="connsiteY51971"/>
              </a:cxn>
              <a:cxn ang="0">
                <a:pos x="connsiteX51972" y="connsiteY51972"/>
              </a:cxn>
              <a:cxn ang="0">
                <a:pos x="connsiteX51973" y="connsiteY51973"/>
              </a:cxn>
              <a:cxn ang="0">
                <a:pos x="connsiteX51974" y="connsiteY51974"/>
              </a:cxn>
              <a:cxn ang="0">
                <a:pos x="connsiteX51975" y="connsiteY51975"/>
              </a:cxn>
              <a:cxn ang="0">
                <a:pos x="connsiteX51976" y="connsiteY51976"/>
              </a:cxn>
              <a:cxn ang="0">
                <a:pos x="connsiteX51977" y="connsiteY51977"/>
              </a:cxn>
              <a:cxn ang="0">
                <a:pos x="connsiteX51978" y="connsiteY51978"/>
              </a:cxn>
              <a:cxn ang="0">
                <a:pos x="connsiteX51979" y="connsiteY51979"/>
              </a:cxn>
              <a:cxn ang="0">
                <a:pos x="connsiteX51980" y="connsiteY51980"/>
              </a:cxn>
              <a:cxn ang="0">
                <a:pos x="connsiteX51981" y="connsiteY51981"/>
              </a:cxn>
              <a:cxn ang="0">
                <a:pos x="connsiteX51982" y="connsiteY51982"/>
              </a:cxn>
              <a:cxn ang="0">
                <a:pos x="connsiteX51983" y="connsiteY51983"/>
              </a:cxn>
              <a:cxn ang="0">
                <a:pos x="connsiteX51984" y="connsiteY51984"/>
              </a:cxn>
              <a:cxn ang="0">
                <a:pos x="connsiteX51985" y="connsiteY51985"/>
              </a:cxn>
              <a:cxn ang="0">
                <a:pos x="connsiteX51986" y="connsiteY51986"/>
              </a:cxn>
              <a:cxn ang="0">
                <a:pos x="connsiteX51987" y="connsiteY51987"/>
              </a:cxn>
              <a:cxn ang="0">
                <a:pos x="connsiteX51988" y="connsiteY51988"/>
              </a:cxn>
              <a:cxn ang="0">
                <a:pos x="connsiteX51989" y="connsiteY51989"/>
              </a:cxn>
              <a:cxn ang="0">
                <a:pos x="connsiteX51990" y="connsiteY51990"/>
              </a:cxn>
              <a:cxn ang="0">
                <a:pos x="connsiteX51991" y="connsiteY51991"/>
              </a:cxn>
              <a:cxn ang="0">
                <a:pos x="connsiteX51992" y="connsiteY51992"/>
              </a:cxn>
              <a:cxn ang="0">
                <a:pos x="connsiteX51993" y="connsiteY51993"/>
              </a:cxn>
              <a:cxn ang="0">
                <a:pos x="connsiteX51994" y="connsiteY51994"/>
              </a:cxn>
              <a:cxn ang="0">
                <a:pos x="connsiteX51995" y="connsiteY51995"/>
              </a:cxn>
              <a:cxn ang="0">
                <a:pos x="connsiteX51996" y="connsiteY51996"/>
              </a:cxn>
              <a:cxn ang="0">
                <a:pos x="connsiteX51997" y="connsiteY51997"/>
              </a:cxn>
              <a:cxn ang="0">
                <a:pos x="connsiteX51998" y="connsiteY51998"/>
              </a:cxn>
              <a:cxn ang="0">
                <a:pos x="connsiteX51999" y="connsiteY51999"/>
              </a:cxn>
              <a:cxn ang="0">
                <a:pos x="connsiteX52000" y="connsiteY52000"/>
              </a:cxn>
              <a:cxn ang="0">
                <a:pos x="connsiteX52001" y="connsiteY52001"/>
              </a:cxn>
              <a:cxn ang="0">
                <a:pos x="connsiteX52002" y="connsiteY52002"/>
              </a:cxn>
              <a:cxn ang="0">
                <a:pos x="connsiteX52003" y="connsiteY52003"/>
              </a:cxn>
              <a:cxn ang="0">
                <a:pos x="connsiteX52004" y="connsiteY52004"/>
              </a:cxn>
              <a:cxn ang="0">
                <a:pos x="connsiteX52005" y="connsiteY52005"/>
              </a:cxn>
              <a:cxn ang="0">
                <a:pos x="connsiteX52006" y="connsiteY52006"/>
              </a:cxn>
              <a:cxn ang="0">
                <a:pos x="connsiteX52007" y="connsiteY52007"/>
              </a:cxn>
              <a:cxn ang="0">
                <a:pos x="connsiteX52008" y="connsiteY52008"/>
              </a:cxn>
              <a:cxn ang="0">
                <a:pos x="connsiteX52009" y="connsiteY52009"/>
              </a:cxn>
              <a:cxn ang="0">
                <a:pos x="connsiteX52010" y="connsiteY52010"/>
              </a:cxn>
              <a:cxn ang="0">
                <a:pos x="connsiteX52011" y="connsiteY52011"/>
              </a:cxn>
              <a:cxn ang="0">
                <a:pos x="connsiteX52012" y="connsiteY52012"/>
              </a:cxn>
              <a:cxn ang="0">
                <a:pos x="connsiteX52013" y="connsiteY52013"/>
              </a:cxn>
              <a:cxn ang="0">
                <a:pos x="connsiteX52014" y="connsiteY52014"/>
              </a:cxn>
              <a:cxn ang="0">
                <a:pos x="connsiteX52015" y="connsiteY52015"/>
              </a:cxn>
              <a:cxn ang="0">
                <a:pos x="connsiteX52016" y="connsiteY52016"/>
              </a:cxn>
              <a:cxn ang="0">
                <a:pos x="connsiteX52017" y="connsiteY52017"/>
              </a:cxn>
              <a:cxn ang="0">
                <a:pos x="connsiteX52018" y="connsiteY52018"/>
              </a:cxn>
              <a:cxn ang="0">
                <a:pos x="connsiteX52019" y="connsiteY52019"/>
              </a:cxn>
              <a:cxn ang="0">
                <a:pos x="connsiteX52020" y="connsiteY52020"/>
              </a:cxn>
              <a:cxn ang="0">
                <a:pos x="connsiteX52021" y="connsiteY52021"/>
              </a:cxn>
              <a:cxn ang="0">
                <a:pos x="connsiteX52022" y="connsiteY52022"/>
              </a:cxn>
              <a:cxn ang="0">
                <a:pos x="connsiteX52023" y="connsiteY52023"/>
              </a:cxn>
              <a:cxn ang="0">
                <a:pos x="connsiteX52024" y="connsiteY52024"/>
              </a:cxn>
              <a:cxn ang="0">
                <a:pos x="connsiteX52025" y="connsiteY52025"/>
              </a:cxn>
              <a:cxn ang="0">
                <a:pos x="connsiteX52026" y="connsiteY52026"/>
              </a:cxn>
              <a:cxn ang="0">
                <a:pos x="connsiteX52027" y="connsiteY52027"/>
              </a:cxn>
              <a:cxn ang="0">
                <a:pos x="connsiteX52028" y="connsiteY52028"/>
              </a:cxn>
              <a:cxn ang="0">
                <a:pos x="connsiteX52029" y="connsiteY52029"/>
              </a:cxn>
              <a:cxn ang="0">
                <a:pos x="connsiteX52030" y="connsiteY52030"/>
              </a:cxn>
              <a:cxn ang="0">
                <a:pos x="connsiteX52031" y="connsiteY52031"/>
              </a:cxn>
              <a:cxn ang="0">
                <a:pos x="connsiteX52032" y="connsiteY52032"/>
              </a:cxn>
              <a:cxn ang="0">
                <a:pos x="connsiteX52033" y="connsiteY52033"/>
              </a:cxn>
              <a:cxn ang="0">
                <a:pos x="connsiteX52034" y="connsiteY52034"/>
              </a:cxn>
              <a:cxn ang="0">
                <a:pos x="connsiteX52035" y="connsiteY52035"/>
              </a:cxn>
              <a:cxn ang="0">
                <a:pos x="connsiteX52036" y="connsiteY52036"/>
              </a:cxn>
              <a:cxn ang="0">
                <a:pos x="connsiteX52037" y="connsiteY52037"/>
              </a:cxn>
              <a:cxn ang="0">
                <a:pos x="connsiteX52038" y="connsiteY52038"/>
              </a:cxn>
              <a:cxn ang="0">
                <a:pos x="connsiteX52039" y="connsiteY52039"/>
              </a:cxn>
              <a:cxn ang="0">
                <a:pos x="connsiteX52040" y="connsiteY52040"/>
              </a:cxn>
              <a:cxn ang="0">
                <a:pos x="connsiteX52041" y="connsiteY52041"/>
              </a:cxn>
              <a:cxn ang="0">
                <a:pos x="connsiteX52042" y="connsiteY52042"/>
              </a:cxn>
              <a:cxn ang="0">
                <a:pos x="connsiteX52043" y="connsiteY52043"/>
              </a:cxn>
              <a:cxn ang="0">
                <a:pos x="connsiteX52044" y="connsiteY52044"/>
              </a:cxn>
              <a:cxn ang="0">
                <a:pos x="connsiteX52045" y="connsiteY52045"/>
              </a:cxn>
              <a:cxn ang="0">
                <a:pos x="connsiteX52046" y="connsiteY52046"/>
              </a:cxn>
              <a:cxn ang="0">
                <a:pos x="connsiteX52047" y="connsiteY52047"/>
              </a:cxn>
              <a:cxn ang="0">
                <a:pos x="connsiteX52048" y="connsiteY52048"/>
              </a:cxn>
              <a:cxn ang="0">
                <a:pos x="connsiteX52049" y="connsiteY52049"/>
              </a:cxn>
              <a:cxn ang="0">
                <a:pos x="connsiteX52050" y="connsiteY52050"/>
              </a:cxn>
              <a:cxn ang="0">
                <a:pos x="connsiteX52051" y="connsiteY52051"/>
              </a:cxn>
              <a:cxn ang="0">
                <a:pos x="connsiteX52052" y="connsiteY52052"/>
              </a:cxn>
              <a:cxn ang="0">
                <a:pos x="connsiteX52053" y="connsiteY52053"/>
              </a:cxn>
              <a:cxn ang="0">
                <a:pos x="connsiteX52054" y="connsiteY52054"/>
              </a:cxn>
              <a:cxn ang="0">
                <a:pos x="connsiteX52055" y="connsiteY52055"/>
              </a:cxn>
              <a:cxn ang="0">
                <a:pos x="connsiteX52056" y="connsiteY52056"/>
              </a:cxn>
              <a:cxn ang="0">
                <a:pos x="connsiteX52057" y="connsiteY52057"/>
              </a:cxn>
              <a:cxn ang="0">
                <a:pos x="connsiteX52058" y="connsiteY52058"/>
              </a:cxn>
              <a:cxn ang="0">
                <a:pos x="connsiteX52059" y="connsiteY52059"/>
              </a:cxn>
              <a:cxn ang="0">
                <a:pos x="connsiteX52060" y="connsiteY52060"/>
              </a:cxn>
              <a:cxn ang="0">
                <a:pos x="connsiteX52061" y="connsiteY52061"/>
              </a:cxn>
              <a:cxn ang="0">
                <a:pos x="connsiteX52062" y="connsiteY52062"/>
              </a:cxn>
              <a:cxn ang="0">
                <a:pos x="connsiteX52063" y="connsiteY52063"/>
              </a:cxn>
              <a:cxn ang="0">
                <a:pos x="connsiteX52064" y="connsiteY52064"/>
              </a:cxn>
              <a:cxn ang="0">
                <a:pos x="connsiteX52065" y="connsiteY52065"/>
              </a:cxn>
              <a:cxn ang="0">
                <a:pos x="connsiteX52066" y="connsiteY52066"/>
              </a:cxn>
              <a:cxn ang="0">
                <a:pos x="connsiteX52067" y="connsiteY52067"/>
              </a:cxn>
              <a:cxn ang="0">
                <a:pos x="connsiteX52068" y="connsiteY52068"/>
              </a:cxn>
              <a:cxn ang="0">
                <a:pos x="connsiteX52069" y="connsiteY52069"/>
              </a:cxn>
              <a:cxn ang="0">
                <a:pos x="connsiteX52070" y="connsiteY52070"/>
              </a:cxn>
              <a:cxn ang="0">
                <a:pos x="connsiteX52071" y="connsiteY52071"/>
              </a:cxn>
              <a:cxn ang="0">
                <a:pos x="connsiteX52072" y="connsiteY52072"/>
              </a:cxn>
              <a:cxn ang="0">
                <a:pos x="connsiteX52073" y="connsiteY52073"/>
              </a:cxn>
              <a:cxn ang="0">
                <a:pos x="connsiteX52074" y="connsiteY52074"/>
              </a:cxn>
              <a:cxn ang="0">
                <a:pos x="connsiteX52075" y="connsiteY52075"/>
              </a:cxn>
              <a:cxn ang="0">
                <a:pos x="connsiteX52076" y="connsiteY52076"/>
              </a:cxn>
              <a:cxn ang="0">
                <a:pos x="connsiteX52077" y="connsiteY52077"/>
              </a:cxn>
              <a:cxn ang="0">
                <a:pos x="connsiteX52078" y="connsiteY52078"/>
              </a:cxn>
              <a:cxn ang="0">
                <a:pos x="connsiteX52079" y="connsiteY52079"/>
              </a:cxn>
              <a:cxn ang="0">
                <a:pos x="connsiteX52080" y="connsiteY52080"/>
              </a:cxn>
              <a:cxn ang="0">
                <a:pos x="connsiteX52081" y="connsiteY52081"/>
              </a:cxn>
              <a:cxn ang="0">
                <a:pos x="connsiteX52082" y="connsiteY52082"/>
              </a:cxn>
              <a:cxn ang="0">
                <a:pos x="connsiteX52083" y="connsiteY52083"/>
              </a:cxn>
              <a:cxn ang="0">
                <a:pos x="connsiteX52084" y="connsiteY52084"/>
              </a:cxn>
              <a:cxn ang="0">
                <a:pos x="connsiteX52085" y="connsiteY52085"/>
              </a:cxn>
              <a:cxn ang="0">
                <a:pos x="connsiteX52086" y="connsiteY52086"/>
              </a:cxn>
              <a:cxn ang="0">
                <a:pos x="connsiteX52087" y="connsiteY52087"/>
              </a:cxn>
              <a:cxn ang="0">
                <a:pos x="connsiteX52088" y="connsiteY52088"/>
              </a:cxn>
              <a:cxn ang="0">
                <a:pos x="connsiteX52089" y="connsiteY52089"/>
              </a:cxn>
              <a:cxn ang="0">
                <a:pos x="connsiteX52090" y="connsiteY52090"/>
              </a:cxn>
              <a:cxn ang="0">
                <a:pos x="connsiteX52091" y="connsiteY52091"/>
              </a:cxn>
              <a:cxn ang="0">
                <a:pos x="connsiteX52092" y="connsiteY52092"/>
              </a:cxn>
              <a:cxn ang="0">
                <a:pos x="connsiteX52093" y="connsiteY52093"/>
              </a:cxn>
              <a:cxn ang="0">
                <a:pos x="connsiteX52094" y="connsiteY52094"/>
              </a:cxn>
              <a:cxn ang="0">
                <a:pos x="connsiteX52095" y="connsiteY52095"/>
              </a:cxn>
              <a:cxn ang="0">
                <a:pos x="connsiteX52096" y="connsiteY52096"/>
              </a:cxn>
              <a:cxn ang="0">
                <a:pos x="connsiteX52097" y="connsiteY52097"/>
              </a:cxn>
              <a:cxn ang="0">
                <a:pos x="connsiteX52098" y="connsiteY52098"/>
              </a:cxn>
              <a:cxn ang="0">
                <a:pos x="connsiteX52099" y="connsiteY52099"/>
              </a:cxn>
              <a:cxn ang="0">
                <a:pos x="connsiteX52100" y="connsiteY52100"/>
              </a:cxn>
              <a:cxn ang="0">
                <a:pos x="connsiteX52101" y="connsiteY52101"/>
              </a:cxn>
              <a:cxn ang="0">
                <a:pos x="connsiteX52102" y="connsiteY52102"/>
              </a:cxn>
              <a:cxn ang="0">
                <a:pos x="connsiteX52103" y="connsiteY52103"/>
              </a:cxn>
              <a:cxn ang="0">
                <a:pos x="connsiteX52104" y="connsiteY52104"/>
              </a:cxn>
              <a:cxn ang="0">
                <a:pos x="connsiteX52105" y="connsiteY52105"/>
              </a:cxn>
              <a:cxn ang="0">
                <a:pos x="connsiteX52106" y="connsiteY52106"/>
              </a:cxn>
              <a:cxn ang="0">
                <a:pos x="connsiteX52107" y="connsiteY52107"/>
              </a:cxn>
              <a:cxn ang="0">
                <a:pos x="connsiteX52108" y="connsiteY52108"/>
              </a:cxn>
              <a:cxn ang="0">
                <a:pos x="connsiteX52109" y="connsiteY52109"/>
              </a:cxn>
              <a:cxn ang="0">
                <a:pos x="connsiteX52110" y="connsiteY52110"/>
              </a:cxn>
              <a:cxn ang="0">
                <a:pos x="connsiteX52111" y="connsiteY52111"/>
              </a:cxn>
              <a:cxn ang="0">
                <a:pos x="connsiteX52112" y="connsiteY52112"/>
              </a:cxn>
              <a:cxn ang="0">
                <a:pos x="connsiteX52113" y="connsiteY52113"/>
              </a:cxn>
              <a:cxn ang="0">
                <a:pos x="connsiteX52114" y="connsiteY52114"/>
              </a:cxn>
              <a:cxn ang="0">
                <a:pos x="connsiteX52115" y="connsiteY52115"/>
              </a:cxn>
              <a:cxn ang="0">
                <a:pos x="connsiteX52116" y="connsiteY52116"/>
              </a:cxn>
              <a:cxn ang="0">
                <a:pos x="connsiteX52117" y="connsiteY52117"/>
              </a:cxn>
              <a:cxn ang="0">
                <a:pos x="connsiteX52118" y="connsiteY52118"/>
              </a:cxn>
              <a:cxn ang="0">
                <a:pos x="connsiteX52119" y="connsiteY52119"/>
              </a:cxn>
              <a:cxn ang="0">
                <a:pos x="connsiteX52120" y="connsiteY52120"/>
              </a:cxn>
              <a:cxn ang="0">
                <a:pos x="connsiteX52121" y="connsiteY52121"/>
              </a:cxn>
              <a:cxn ang="0">
                <a:pos x="connsiteX52122" y="connsiteY52122"/>
              </a:cxn>
              <a:cxn ang="0">
                <a:pos x="connsiteX52123" y="connsiteY52123"/>
              </a:cxn>
              <a:cxn ang="0">
                <a:pos x="connsiteX52124" y="connsiteY52124"/>
              </a:cxn>
              <a:cxn ang="0">
                <a:pos x="connsiteX52125" y="connsiteY52125"/>
              </a:cxn>
              <a:cxn ang="0">
                <a:pos x="connsiteX52126" y="connsiteY52126"/>
              </a:cxn>
              <a:cxn ang="0">
                <a:pos x="connsiteX52127" y="connsiteY52127"/>
              </a:cxn>
              <a:cxn ang="0">
                <a:pos x="connsiteX52128" y="connsiteY52128"/>
              </a:cxn>
              <a:cxn ang="0">
                <a:pos x="connsiteX52129" y="connsiteY52129"/>
              </a:cxn>
              <a:cxn ang="0">
                <a:pos x="connsiteX52130" y="connsiteY52130"/>
              </a:cxn>
              <a:cxn ang="0">
                <a:pos x="connsiteX52131" y="connsiteY52131"/>
              </a:cxn>
              <a:cxn ang="0">
                <a:pos x="connsiteX52132" y="connsiteY52132"/>
              </a:cxn>
              <a:cxn ang="0">
                <a:pos x="connsiteX52133" y="connsiteY52133"/>
              </a:cxn>
              <a:cxn ang="0">
                <a:pos x="connsiteX52134" y="connsiteY52134"/>
              </a:cxn>
              <a:cxn ang="0">
                <a:pos x="connsiteX52135" y="connsiteY52135"/>
              </a:cxn>
              <a:cxn ang="0">
                <a:pos x="connsiteX52136" y="connsiteY52136"/>
              </a:cxn>
              <a:cxn ang="0">
                <a:pos x="connsiteX52137" y="connsiteY52137"/>
              </a:cxn>
              <a:cxn ang="0">
                <a:pos x="connsiteX52138" y="connsiteY52138"/>
              </a:cxn>
              <a:cxn ang="0">
                <a:pos x="connsiteX52139" y="connsiteY52139"/>
              </a:cxn>
              <a:cxn ang="0">
                <a:pos x="connsiteX52140" y="connsiteY52140"/>
              </a:cxn>
              <a:cxn ang="0">
                <a:pos x="connsiteX52141" y="connsiteY52141"/>
              </a:cxn>
              <a:cxn ang="0">
                <a:pos x="connsiteX52142" y="connsiteY52142"/>
              </a:cxn>
              <a:cxn ang="0">
                <a:pos x="connsiteX52143" y="connsiteY52143"/>
              </a:cxn>
              <a:cxn ang="0">
                <a:pos x="connsiteX52144" y="connsiteY52144"/>
              </a:cxn>
              <a:cxn ang="0">
                <a:pos x="connsiteX52145" y="connsiteY52145"/>
              </a:cxn>
              <a:cxn ang="0">
                <a:pos x="connsiteX52146" y="connsiteY52146"/>
              </a:cxn>
              <a:cxn ang="0">
                <a:pos x="connsiteX52147" y="connsiteY52147"/>
              </a:cxn>
              <a:cxn ang="0">
                <a:pos x="connsiteX52148" y="connsiteY52148"/>
              </a:cxn>
              <a:cxn ang="0">
                <a:pos x="connsiteX52149" y="connsiteY52149"/>
              </a:cxn>
              <a:cxn ang="0">
                <a:pos x="connsiteX52150" y="connsiteY52150"/>
              </a:cxn>
              <a:cxn ang="0">
                <a:pos x="connsiteX52151" y="connsiteY52151"/>
              </a:cxn>
              <a:cxn ang="0">
                <a:pos x="connsiteX52152" y="connsiteY52152"/>
              </a:cxn>
              <a:cxn ang="0">
                <a:pos x="connsiteX52153" y="connsiteY52153"/>
              </a:cxn>
              <a:cxn ang="0">
                <a:pos x="connsiteX52154" y="connsiteY52154"/>
              </a:cxn>
              <a:cxn ang="0">
                <a:pos x="connsiteX52155" y="connsiteY52155"/>
              </a:cxn>
              <a:cxn ang="0">
                <a:pos x="connsiteX52156" y="connsiteY52156"/>
              </a:cxn>
              <a:cxn ang="0">
                <a:pos x="connsiteX52157" y="connsiteY52157"/>
              </a:cxn>
              <a:cxn ang="0">
                <a:pos x="connsiteX52158" y="connsiteY52158"/>
              </a:cxn>
              <a:cxn ang="0">
                <a:pos x="connsiteX52159" y="connsiteY52159"/>
              </a:cxn>
              <a:cxn ang="0">
                <a:pos x="connsiteX52160" y="connsiteY52160"/>
              </a:cxn>
              <a:cxn ang="0">
                <a:pos x="connsiteX52161" y="connsiteY52161"/>
              </a:cxn>
              <a:cxn ang="0">
                <a:pos x="connsiteX52162" y="connsiteY52162"/>
              </a:cxn>
              <a:cxn ang="0">
                <a:pos x="connsiteX52163" y="connsiteY52163"/>
              </a:cxn>
              <a:cxn ang="0">
                <a:pos x="connsiteX52164" y="connsiteY52164"/>
              </a:cxn>
              <a:cxn ang="0">
                <a:pos x="connsiteX52165" y="connsiteY52165"/>
              </a:cxn>
              <a:cxn ang="0">
                <a:pos x="connsiteX52166" y="connsiteY52166"/>
              </a:cxn>
              <a:cxn ang="0">
                <a:pos x="connsiteX52167" y="connsiteY52167"/>
              </a:cxn>
              <a:cxn ang="0">
                <a:pos x="connsiteX52168" y="connsiteY52168"/>
              </a:cxn>
              <a:cxn ang="0">
                <a:pos x="connsiteX52169" y="connsiteY52169"/>
              </a:cxn>
              <a:cxn ang="0">
                <a:pos x="connsiteX52170" y="connsiteY52170"/>
              </a:cxn>
              <a:cxn ang="0">
                <a:pos x="connsiteX52171" y="connsiteY52171"/>
              </a:cxn>
              <a:cxn ang="0">
                <a:pos x="connsiteX52172" y="connsiteY52172"/>
              </a:cxn>
              <a:cxn ang="0">
                <a:pos x="connsiteX52173" y="connsiteY52173"/>
              </a:cxn>
              <a:cxn ang="0">
                <a:pos x="connsiteX52174" y="connsiteY52174"/>
              </a:cxn>
              <a:cxn ang="0">
                <a:pos x="connsiteX52175" y="connsiteY52175"/>
              </a:cxn>
              <a:cxn ang="0">
                <a:pos x="connsiteX52176" y="connsiteY52176"/>
              </a:cxn>
              <a:cxn ang="0">
                <a:pos x="connsiteX52177" y="connsiteY52177"/>
              </a:cxn>
              <a:cxn ang="0">
                <a:pos x="connsiteX52178" y="connsiteY52178"/>
              </a:cxn>
              <a:cxn ang="0">
                <a:pos x="connsiteX52179" y="connsiteY52179"/>
              </a:cxn>
              <a:cxn ang="0">
                <a:pos x="connsiteX52180" y="connsiteY52180"/>
              </a:cxn>
              <a:cxn ang="0">
                <a:pos x="connsiteX52181" y="connsiteY52181"/>
              </a:cxn>
              <a:cxn ang="0">
                <a:pos x="connsiteX52182" y="connsiteY52182"/>
              </a:cxn>
              <a:cxn ang="0">
                <a:pos x="connsiteX52183" y="connsiteY52183"/>
              </a:cxn>
              <a:cxn ang="0">
                <a:pos x="connsiteX52184" y="connsiteY52184"/>
              </a:cxn>
              <a:cxn ang="0">
                <a:pos x="connsiteX52185" y="connsiteY52185"/>
              </a:cxn>
              <a:cxn ang="0">
                <a:pos x="connsiteX52186" y="connsiteY52186"/>
              </a:cxn>
              <a:cxn ang="0">
                <a:pos x="connsiteX52187" y="connsiteY52187"/>
              </a:cxn>
              <a:cxn ang="0">
                <a:pos x="connsiteX52188" y="connsiteY52188"/>
              </a:cxn>
              <a:cxn ang="0">
                <a:pos x="connsiteX52189" y="connsiteY52189"/>
              </a:cxn>
              <a:cxn ang="0">
                <a:pos x="connsiteX52190" y="connsiteY52190"/>
              </a:cxn>
              <a:cxn ang="0">
                <a:pos x="connsiteX52191" y="connsiteY52191"/>
              </a:cxn>
              <a:cxn ang="0">
                <a:pos x="connsiteX52192" y="connsiteY52192"/>
              </a:cxn>
              <a:cxn ang="0">
                <a:pos x="connsiteX52193" y="connsiteY52193"/>
              </a:cxn>
              <a:cxn ang="0">
                <a:pos x="connsiteX52194" y="connsiteY52194"/>
              </a:cxn>
              <a:cxn ang="0">
                <a:pos x="connsiteX52195" y="connsiteY52195"/>
              </a:cxn>
              <a:cxn ang="0">
                <a:pos x="connsiteX52196" y="connsiteY52196"/>
              </a:cxn>
              <a:cxn ang="0">
                <a:pos x="connsiteX52197" y="connsiteY52197"/>
              </a:cxn>
              <a:cxn ang="0">
                <a:pos x="connsiteX52198" y="connsiteY52198"/>
              </a:cxn>
              <a:cxn ang="0">
                <a:pos x="connsiteX52199" y="connsiteY52199"/>
              </a:cxn>
              <a:cxn ang="0">
                <a:pos x="connsiteX52200" y="connsiteY52200"/>
              </a:cxn>
              <a:cxn ang="0">
                <a:pos x="connsiteX52201" y="connsiteY52201"/>
              </a:cxn>
              <a:cxn ang="0">
                <a:pos x="connsiteX52202" y="connsiteY52202"/>
              </a:cxn>
              <a:cxn ang="0">
                <a:pos x="connsiteX52203" y="connsiteY52203"/>
              </a:cxn>
              <a:cxn ang="0">
                <a:pos x="connsiteX52204" y="connsiteY52204"/>
              </a:cxn>
              <a:cxn ang="0">
                <a:pos x="connsiteX52205" y="connsiteY52205"/>
              </a:cxn>
              <a:cxn ang="0">
                <a:pos x="connsiteX52206" y="connsiteY52206"/>
              </a:cxn>
              <a:cxn ang="0">
                <a:pos x="connsiteX52207" y="connsiteY52207"/>
              </a:cxn>
              <a:cxn ang="0">
                <a:pos x="connsiteX52208" y="connsiteY52208"/>
              </a:cxn>
              <a:cxn ang="0">
                <a:pos x="connsiteX52209" y="connsiteY52209"/>
              </a:cxn>
              <a:cxn ang="0">
                <a:pos x="connsiteX52210" y="connsiteY52210"/>
              </a:cxn>
              <a:cxn ang="0">
                <a:pos x="connsiteX52211" y="connsiteY52211"/>
              </a:cxn>
              <a:cxn ang="0">
                <a:pos x="connsiteX52212" y="connsiteY52212"/>
              </a:cxn>
              <a:cxn ang="0">
                <a:pos x="connsiteX52213" y="connsiteY52213"/>
              </a:cxn>
              <a:cxn ang="0">
                <a:pos x="connsiteX52214" y="connsiteY52214"/>
              </a:cxn>
              <a:cxn ang="0">
                <a:pos x="connsiteX52215" y="connsiteY52215"/>
              </a:cxn>
              <a:cxn ang="0">
                <a:pos x="connsiteX52216" y="connsiteY52216"/>
              </a:cxn>
              <a:cxn ang="0">
                <a:pos x="connsiteX52217" y="connsiteY52217"/>
              </a:cxn>
              <a:cxn ang="0">
                <a:pos x="connsiteX52218" y="connsiteY52218"/>
              </a:cxn>
              <a:cxn ang="0">
                <a:pos x="connsiteX52219" y="connsiteY52219"/>
              </a:cxn>
              <a:cxn ang="0">
                <a:pos x="connsiteX52220" y="connsiteY52220"/>
              </a:cxn>
              <a:cxn ang="0">
                <a:pos x="connsiteX52221" y="connsiteY52221"/>
              </a:cxn>
              <a:cxn ang="0">
                <a:pos x="connsiteX52222" y="connsiteY52222"/>
              </a:cxn>
              <a:cxn ang="0">
                <a:pos x="connsiteX52223" y="connsiteY52223"/>
              </a:cxn>
              <a:cxn ang="0">
                <a:pos x="connsiteX52224" y="connsiteY52224"/>
              </a:cxn>
              <a:cxn ang="0">
                <a:pos x="connsiteX52225" y="connsiteY52225"/>
              </a:cxn>
              <a:cxn ang="0">
                <a:pos x="connsiteX52226" y="connsiteY52226"/>
              </a:cxn>
              <a:cxn ang="0">
                <a:pos x="connsiteX52227" y="connsiteY52227"/>
              </a:cxn>
              <a:cxn ang="0">
                <a:pos x="connsiteX52228" y="connsiteY52228"/>
              </a:cxn>
              <a:cxn ang="0">
                <a:pos x="connsiteX52229" y="connsiteY52229"/>
              </a:cxn>
              <a:cxn ang="0">
                <a:pos x="connsiteX52230" y="connsiteY52230"/>
              </a:cxn>
              <a:cxn ang="0">
                <a:pos x="connsiteX52231" y="connsiteY52231"/>
              </a:cxn>
              <a:cxn ang="0">
                <a:pos x="connsiteX52232" y="connsiteY52232"/>
              </a:cxn>
              <a:cxn ang="0">
                <a:pos x="connsiteX52233" y="connsiteY52233"/>
              </a:cxn>
              <a:cxn ang="0">
                <a:pos x="connsiteX52234" y="connsiteY52234"/>
              </a:cxn>
              <a:cxn ang="0">
                <a:pos x="connsiteX52235" y="connsiteY52235"/>
              </a:cxn>
              <a:cxn ang="0">
                <a:pos x="connsiteX52236" y="connsiteY52236"/>
              </a:cxn>
              <a:cxn ang="0">
                <a:pos x="connsiteX52237" y="connsiteY52237"/>
              </a:cxn>
              <a:cxn ang="0">
                <a:pos x="connsiteX52238" y="connsiteY52238"/>
              </a:cxn>
              <a:cxn ang="0">
                <a:pos x="connsiteX52239" y="connsiteY52239"/>
              </a:cxn>
              <a:cxn ang="0">
                <a:pos x="connsiteX52240" y="connsiteY52240"/>
              </a:cxn>
              <a:cxn ang="0">
                <a:pos x="connsiteX52241" y="connsiteY52241"/>
              </a:cxn>
              <a:cxn ang="0">
                <a:pos x="connsiteX52242" y="connsiteY52242"/>
              </a:cxn>
              <a:cxn ang="0">
                <a:pos x="connsiteX52243" y="connsiteY52243"/>
              </a:cxn>
              <a:cxn ang="0">
                <a:pos x="connsiteX52244" y="connsiteY52244"/>
              </a:cxn>
              <a:cxn ang="0">
                <a:pos x="connsiteX52245" y="connsiteY52245"/>
              </a:cxn>
              <a:cxn ang="0">
                <a:pos x="connsiteX52246" y="connsiteY52246"/>
              </a:cxn>
              <a:cxn ang="0">
                <a:pos x="connsiteX52247" y="connsiteY52247"/>
              </a:cxn>
              <a:cxn ang="0">
                <a:pos x="connsiteX52248" y="connsiteY52248"/>
              </a:cxn>
              <a:cxn ang="0">
                <a:pos x="connsiteX52249" y="connsiteY52249"/>
              </a:cxn>
              <a:cxn ang="0">
                <a:pos x="connsiteX52250" y="connsiteY52250"/>
              </a:cxn>
              <a:cxn ang="0">
                <a:pos x="connsiteX52251" y="connsiteY52251"/>
              </a:cxn>
              <a:cxn ang="0">
                <a:pos x="connsiteX52252" y="connsiteY52252"/>
              </a:cxn>
              <a:cxn ang="0">
                <a:pos x="connsiteX52253" y="connsiteY52253"/>
              </a:cxn>
              <a:cxn ang="0">
                <a:pos x="connsiteX52254" y="connsiteY52254"/>
              </a:cxn>
              <a:cxn ang="0">
                <a:pos x="connsiteX52255" y="connsiteY52255"/>
              </a:cxn>
              <a:cxn ang="0">
                <a:pos x="connsiteX52256" y="connsiteY52256"/>
              </a:cxn>
              <a:cxn ang="0">
                <a:pos x="connsiteX52257" y="connsiteY52257"/>
              </a:cxn>
              <a:cxn ang="0">
                <a:pos x="connsiteX52258" y="connsiteY52258"/>
              </a:cxn>
              <a:cxn ang="0">
                <a:pos x="connsiteX52259" y="connsiteY52259"/>
              </a:cxn>
              <a:cxn ang="0">
                <a:pos x="connsiteX52260" y="connsiteY52260"/>
              </a:cxn>
              <a:cxn ang="0">
                <a:pos x="connsiteX52261" y="connsiteY52261"/>
              </a:cxn>
              <a:cxn ang="0">
                <a:pos x="connsiteX52262" y="connsiteY52262"/>
              </a:cxn>
              <a:cxn ang="0">
                <a:pos x="connsiteX52263" y="connsiteY52263"/>
              </a:cxn>
              <a:cxn ang="0">
                <a:pos x="connsiteX52264" y="connsiteY52264"/>
              </a:cxn>
              <a:cxn ang="0">
                <a:pos x="connsiteX52265" y="connsiteY52265"/>
              </a:cxn>
              <a:cxn ang="0">
                <a:pos x="connsiteX52266" y="connsiteY52266"/>
              </a:cxn>
              <a:cxn ang="0">
                <a:pos x="connsiteX52267" y="connsiteY52267"/>
              </a:cxn>
              <a:cxn ang="0">
                <a:pos x="connsiteX52268" y="connsiteY52268"/>
              </a:cxn>
              <a:cxn ang="0">
                <a:pos x="connsiteX52269" y="connsiteY52269"/>
              </a:cxn>
              <a:cxn ang="0">
                <a:pos x="connsiteX52270" y="connsiteY52270"/>
              </a:cxn>
              <a:cxn ang="0">
                <a:pos x="connsiteX52271" y="connsiteY52271"/>
              </a:cxn>
              <a:cxn ang="0">
                <a:pos x="connsiteX52272" y="connsiteY52272"/>
              </a:cxn>
              <a:cxn ang="0">
                <a:pos x="connsiteX52273" y="connsiteY52273"/>
              </a:cxn>
              <a:cxn ang="0">
                <a:pos x="connsiteX52274" y="connsiteY52274"/>
              </a:cxn>
              <a:cxn ang="0">
                <a:pos x="connsiteX52275" y="connsiteY52275"/>
              </a:cxn>
              <a:cxn ang="0">
                <a:pos x="connsiteX52276" y="connsiteY52276"/>
              </a:cxn>
              <a:cxn ang="0">
                <a:pos x="connsiteX52277" y="connsiteY52277"/>
              </a:cxn>
              <a:cxn ang="0">
                <a:pos x="connsiteX52278" y="connsiteY52278"/>
              </a:cxn>
              <a:cxn ang="0">
                <a:pos x="connsiteX52279" y="connsiteY52279"/>
              </a:cxn>
              <a:cxn ang="0">
                <a:pos x="connsiteX52280" y="connsiteY52280"/>
              </a:cxn>
              <a:cxn ang="0">
                <a:pos x="connsiteX52281" y="connsiteY52281"/>
              </a:cxn>
              <a:cxn ang="0">
                <a:pos x="connsiteX52282" y="connsiteY52282"/>
              </a:cxn>
              <a:cxn ang="0">
                <a:pos x="connsiteX52283" y="connsiteY52283"/>
              </a:cxn>
              <a:cxn ang="0">
                <a:pos x="connsiteX52284" y="connsiteY52284"/>
              </a:cxn>
              <a:cxn ang="0">
                <a:pos x="connsiteX52285" y="connsiteY52285"/>
              </a:cxn>
              <a:cxn ang="0">
                <a:pos x="connsiteX52286" y="connsiteY52286"/>
              </a:cxn>
              <a:cxn ang="0">
                <a:pos x="connsiteX52287" y="connsiteY52287"/>
              </a:cxn>
              <a:cxn ang="0">
                <a:pos x="connsiteX52288" y="connsiteY52288"/>
              </a:cxn>
              <a:cxn ang="0">
                <a:pos x="connsiteX52289" y="connsiteY52289"/>
              </a:cxn>
              <a:cxn ang="0">
                <a:pos x="connsiteX52290" y="connsiteY52290"/>
              </a:cxn>
              <a:cxn ang="0">
                <a:pos x="connsiteX52291" y="connsiteY52291"/>
              </a:cxn>
              <a:cxn ang="0">
                <a:pos x="connsiteX52292" y="connsiteY52292"/>
              </a:cxn>
              <a:cxn ang="0">
                <a:pos x="connsiteX52293" y="connsiteY52293"/>
              </a:cxn>
              <a:cxn ang="0">
                <a:pos x="connsiteX52294" y="connsiteY52294"/>
              </a:cxn>
              <a:cxn ang="0">
                <a:pos x="connsiteX52295" y="connsiteY52295"/>
              </a:cxn>
              <a:cxn ang="0">
                <a:pos x="connsiteX52296" y="connsiteY52296"/>
              </a:cxn>
              <a:cxn ang="0">
                <a:pos x="connsiteX52297" y="connsiteY52297"/>
              </a:cxn>
              <a:cxn ang="0">
                <a:pos x="connsiteX52298" y="connsiteY52298"/>
              </a:cxn>
              <a:cxn ang="0">
                <a:pos x="connsiteX52299" y="connsiteY52299"/>
              </a:cxn>
              <a:cxn ang="0">
                <a:pos x="connsiteX52300" y="connsiteY52300"/>
              </a:cxn>
              <a:cxn ang="0">
                <a:pos x="connsiteX52301" y="connsiteY52301"/>
              </a:cxn>
              <a:cxn ang="0">
                <a:pos x="connsiteX52302" y="connsiteY52302"/>
              </a:cxn>
              <a:cxn ang="0">
                <a:pos x="connsiteX52303" y="connsiteY52303"/>
              </a:cxn>
              <a:cxn ang="0">
                <a:pos x="connsiteX52304" y="connsiteY52304"/>
              </a:cxn>
              <a:cxn ang="0">
                <a:pos x="connsiteX52305" y="connsiteY52305"/>
              </a:cxn>
              <a:cxn ang="0">
                <a:pos x="connsiteX52306" y="connsiteY52306"/>
              </a:cxn>
              <a:cxn ang="0">
                <a:pos x="connsiteX52307" y="connsiteY52307"/>
              </a:cxn>
              <a:cxn ang="0">
                <a:pos x="connsiteX52308" y="connsiteY52308"/>
              </a:cxn>
              <a:cxn ang="0">
                <a:pos x="connsiteX52309" y="connsiteY52309"/>
              </a:cxn>
              <a:cxn ang="0">
                <a:pos x="connsiteX52310" y="connsiteY52310"/>
              </a:cxn>
              <a:cxn ang="0">
                <a:pos x="connsiteX52311" y="connsiteY52311"/>
              </a:cxn>
              <a:cxn ang="0">
                <a:pos x="connsiteX52312" y="connsiteY52312"/>
              </a:cxn>
              <a:cxn ang="0">
                <a:pos x="connsiteX52313" y="connsiteY52313"/>
              </a:cxn>
              <a:cxn ang="0">
                <a:pos x="connsiteX52314" y="connsiteY52314"/>
              </a:cxn>
              <a:cxn ang="0">
                <a:pos x="connsiteX52315" y="connsiteY52315"/>
              </a:cxn>
              <a:cxn ang="0">
                <a:pos x="connsiteX52316" y="connsiteY52316"/>
              </a:cxn>
              <a:cxn ang="0">
                <a:pos x="connsiteX52317" y="connsiteY52317"/>
              </a:cxn>
              <a:cxn ang="0">
                <a:pos x="connsiteX52318" y="connsiteY52318"/>
              </a:cxn>
              <a:cxn ang="0">
                <a:pos x="connsiteX52319" y="connsiteY52319"/>
              </a:cxn>
              <a:cxn ang="0">
                <a:pos x="connsiteX52320" y="connsiteY52320"/>
              </a:cxn>
              <a:cxn ang="0">
                <a:pos x="connsiteX52321" y="connsiteY52321"/>
              </a:cxn>
              <a:cxn ang="0">
                <a:pos x="connsiteX52322" y="connsiteY52322"/>
              </a:cxn>
              <a:cxn ang="0">
                <a:pos x="connsiteX52323" y="connsiteY52323"/>
              </a:cxn>
              <a:cxn ang="0">
                <a:pos x="connsiteX52324" y="connsiteY52324"/>
              </a:cxn>
              <a:cxn ang="0">
                <a:pos x="connsiteX52325" y="connsiteY52325"/>
              </a:cxn>
              <a:cxn ang="0">
                <a:pos x="connsiteX52326" y="connsiteY52326"/>
              </a:cxn>
              <a:cxn ang="0">
                <a:pos x="connsiteX52327" y="connsiteY52327"/>
              </a:cxn>
              <a:cxn ang="0">
                <a:pos x="connsiteX52328" y="connsiteY52328"/>
              </a:cxn>
              <a:cxn ang="0">
                <a:pos x="connsiteX52329" y="connsiteY52329"/>
              </a:cxn>
              <a:cxn ang="0">
                <a:pos x="connsiteX52330" y="connsiteY52330"/>
              </a:cxn>
              <a:cxn ang="0">
                <a:pos x="connsiteX52331" y="connsiteY52331"/>
              </a:cxn>
              <a:cxn ang="0">
                <a:pos x="connsiteX52332" y="connsiteY52332"/>
              </a:cxn>
              <a:cxn ang="0">
                <a:pos x="connsiteX52333" y="connsiteY52333"/>
              </a:cxn>
              <a:cxn ang="0">
                <a:pos x="connsiteX52334" y="connsiteY52334"/>
              </a:cxn>
              <a:cxn ang="0">
                <a:pos x="connsiteX52335" y="connsiteY52335"/>
              </a:cxn>
              <a:cxn ang="0">
                <a:pos x="connsiteX52336" y="connsiteY52336"/>
              </a:cxn>
              <a:cxn ang="0">
                <a:pos x="connsiteX52337" y="connsiteY52337"/>
              </a:cxn>
              <a:cxn ang="0">
                <a:pos x="connsiteX52338" y="connsiteY52338"/>
              </a:cxn>
              <a:cxn ang="0">
                <a:pos x="connsiteX52339" y="connsiteY52339"/>
              </a:cxn>
              <a:cxn ang="0">
                <a:pos x="connsiteX52340" y="connsiteY52340"/>
              </a:cxn>
              <a:cxn ang="0">
                <a:pos x="connsiteX52341" y="connsiteY52341"/>
              </a:cxn>
              <a:cxn ang="0">
                <a:pos x="connsiteX52342" y="connsiteY52342"/>
              </a:cxn>
              <a:cxn ang="0">
                <a:pos x="connsiteX52343" y="connsiteY52343"/>
              </a:cxn>
              <a:cxn ang="0">
                <a:pos x="connsiteX52344" y="connsiteY52344"/>
              </a:cxn>
              <a:cxn ang="0">
                <a:pos x="connsiteX52345" y="connsiteY52345"/>
              </a:cxn>
              <a:cxn ang="0">
                <a:pos x="connsiteX52346" y="connsiteY52346"/>
              </a:cxn>
              <a:cxn ang="0">
                <a:pos x="connsiteX52347" y="connsiteY52347"/>
              </a:cxn>
              <a:cxn ang="0">
                <a:pos x="connsiteX52348" y="connsiteY52348"/>
              </a:cxn>
              <a:cxn ang="0">
                <a:pos x="connsiteX52349" y="connsiteY52349"/>
              </a:cxn>
              <a:cxn ang="0">
                <a:pos x="connsiteX52350" y="connsiteY52350"/>
              </a:cxn>
              <a:cxn ang="0">
                <a:pos x="connsiteX52351" y="connsiteY52351"/>
              </a:cxn>
              <a:cxn ang="0">
                <a:pos x="connsiteX52352" y="connsiteY52352"/>
              </a:cxn>
              <a:cxn ang="0">
                <a:pos x="connsiteX52353" y="connsiteY52353"/>
              </a:cxn>
              <a:cxn ang="0">
                <a:pos x="connsiteX52354" y="connsiteY52354"/>
              </a:cxn>
              <a:cxn ang="0">
                <a:pos x="connsiteX52355" y="connsiteY52355"/>
              </a:cxn>
              <a:cxn ang="0">
                <a:pos x="connsiteX52356" y="connsiteY52356"/>
              </a:cxn>
              <a:cxn ang="0">
                <a:pos x="connsiteX52357" y="connsiteY52357"/>
              </a:cxn>
              <a:cxn ang="0">
                <a:pos x="connsiteX52358" y="connsiteY52358"/>
              </a:cxn>
              <a:cxn ang="0">
                <a:pos x="connsiteX52359" y="connsiteY52359"/>
              </a:cxn>
              <a:cxn ang="0">
                <a:pos x="connsiteX52360" y="connsiteY52360"/>
              </a:cxn>
              <a:cxn ang="0">
                <a:pos x="connsiteX52361" y="connsiteY52361"/>
              </a:cxn>
              <a:cxn ang="0">
                <a:pos x="connsiteX52362" y="connsiteY52362"/>
              </a:cxn>
              <a:cxn ang="0">
                <a:pos x="connsiteX52363" y="connsiteY52363"/>
              </a:cxn>
              <a:cxn ang="0">
                <a:pos x="connsiteX52364" y="connsiteY52364"/>
              </a:cxn>
              <a:cxn ang="0">
                <a:pos x="connsiteX52365" y="connsiteY52365"/>
              </a:cxn>
              <a:cxn ang="0">
                <a:pos x="connsiteX52366" y="connsiteY52366"/>
              </a:cxn>
              <a:cxn ang="0">
                <a:pos x="connsiteX52367" y="connsiteY52367"/>
              </a:cxn>
              <a:cxn ang="0">
                <a:pos x="connsiteX52368" y="connsiteY52368"/>
              </a:cxn>
              <a:cxn ang="0">
                <a:pos x="connsiteX52369" y="connsiteY52369"/>
              </a:cxn>
              <a:cxn ang="0">
                <a:pos x="connsiteX52370" y="connsiteY52370"/>
              </a:cxn>
              <a:cxn ang="0">
                <a:pos x="connsiteX52371" y="connsiteY52371"/>
              </a:cxn>
              <a:cxn ang="0">
                <a:pos x="connsiteX52372" y="connsiteY52372"/>
              </a:cxn>
              <a:cxn ang="0">
                <a:pos x="connsiteX52373" y="connsiteY52373"/>
              </a:cxn>
              <a:cxn ang="0">
                <a:pos x="connsiteX52374" y="connsiteY52374"/>
              </a:cxn>
              <a:cxn ang="0">
                <a:pos x="connsiteX52375" y="connsiteY52375"/>
              </a:cxn>
              <a:cxn ang="0">
                <a:pos x="connsiteX52376" y="connsiteY52376"/>
              </a:cxn>
              <a:cxn ang="0">
                <a:pos x="connsiteX52377" y="connsiteY52377"/>
              </a:cxn>
              <a:cxn ang="0">
                <a:pos x="connsiteX52378" y="connsiteY52378"/>
              </a:cxn>
              <a:cxn ang="0">
                <a:pos x="connsiteX52379" y="connsiteY52379"/>
              </a:cxn>
              <a:cxn ang="0">
                <a:pos x="connsiteX52380" y="connsiteY52380"/>
              </a:cxn>
              <a:cxn ang="0">
                <a:pos x="connsiteX52381" y="connsiteY52381"/>
              </a:cxn>
              <a:cxn ang="0">
                <a:pos x="connsiteX52382" y="connsiteY52382"/>
              </a:cxn>
              <a:cxn ang="0">
                <a:pos x="connsiteX52383" y="connsiteY52383"/>
              </a:cxn>
              <a:cxn ang="0">
                <a:pos x="connsiteX52384" y="connsiteY52384"/>
              </a:cxn>
              <a:cxn ang="0">
                <a:pos x="connsiteX52385" y="connsiteY52385"/>
              </a:cxn>
              <a:cxn ang="0">
                <a:pos x="connsiteX52386" y="connsiteY52386"/>
              </a:cxn>
              <a:cxn ang="0">
                <a:pos x="connsiteX52387" y="connsiteY52387"/>
              </a:cxn>
              <a:cxn ang="0">
                <a:pos x="connsiteX52388" y="connsiteY52388"/>
              </a:cxn>
              <a:cxn ang="0">
                <a:pos x="connsiteX52389" y="connsiteY52389"/>
              </a:cxn>
              <a:cxn ang="0">
                <a:pos x="connsiteX52390" y="connsiteY52390"/>
              </a:cxn>
              <a:cxn ang="0">
                <a:pos x="connsiteX52391" y="connsiteY52391"/>
              </a:cxn>
              <a:cxn ang="0">
                <a:pos x="connsiteX52392" y="connsiteY52392"/>
              </a:cxn>
              <a:cxn ang="0">
                <a:pos x="connsiteX52393" y="connsiteY52393"/>
              </a:cxn>
              <a:cxn ang="0">
                <a:pos x="connsiteX52394" y="connsiteY52394"/>
              </a:cxn>
              <a:cxn ang="0">
                <a:pos x="connsiteX52395" y="connsiteY52395"/>
              </a:cxn>
              <a:cxn ang="0">
                <a:pos x="connsiteX52396" y="connsiteY52396"/>
              </a:cxn>
              <a:cxn ang="0">
                <a:pos x="connsiteX52397" y="connsiteY52397"/>
              </a:cxn>
              <a:cxn ang="0">
                <a:pos x="connsiteX52398" y="connsiteY52398"/>
              </a:cxn>
              <a:cxn ang="0">
                <a:pos x="connsiteX52399" y="connsiteY52399"/>
              </a:cxn>
              <a:cxn ang="0">
                <a:pos x="connsiteX52400" y="connsiteY52400"/>
              </a:cxn>
              <a:cxn ang="0">
                <a:pos x="connsiteX52401" y="connsiteY52401"/>
              </a:cxn>
              <a:cxn ang="0">
                <a:pos x="connsiteX52402" y="connsiteY52402"/>
              </a:cxn>
              <a:cxn ang="0">
                <a:pos x="connsiteX52403" y="connsiteY52403"/>
              </a:cxn>
              <a:cxn ang="0">
                <a:pos x="connsiteX52404" y="connsiteY52404"/>
              </a:cxn>
              <a:cxn ang="0">
                <a:pos x="connsiteX52405" y="connsiteY52405"/>
              </a:cxn>
              <a:cxn ang="0">
                <a:pos x="connsiteX52406" y="connsiteY52406"/>
              </a:cxn>
              <a:cxn ang="0">
                <a:pos x="connsiteX52407" y="connsiteY52407"/>
              </a:cxn>
              <a:cxn ang="0">
                <a:pos x="connsiteX52408" y="connsiteY52408"/>
              </a:cxn>
              <a:cxn ang="0">
                <a:pos x="connsiteX52409" y="connsiteY52409"/>
              </a:cxn>
              <a:cxn ang="0">
                <a:pos x="connsiteX52410" y="connsiteY52410"/>
              </a:cxn>
              <a:cxn ang="0">
                <a:pos x="connsiteX52411" y="connsiteY52411"/>
              </a:cxn>
              <a:cxn ang="0">
                <a:pos x="connsiteX52412" y="connsiteY52412"/>
              </a:cxn>
              <a:cxn ang="0">
                <a:pos x="connsiteX52413" y="connsiteY52413"/>
              </a:cxn>
              <a:cxn ang="0">
                <a:pos x="connsiteX52414" y="connsiteY52414"/>
              </a:cxn>
              <a:cxn ang="0">
                <a:pos x="connsiteX52415" y="connsiteY52415"/>
              </a:cxn>
              <a:cxn ang="0">
                <a:pos x="connsiteX52416" y="connsiteY52416"/>
              </a:cxn>
              <a:cxn ang="0">
                <a:pos x="connsiteX52417" y="connsiteY52417"/>
              </a:cxn>
              <a:cxn ang="0">
                <a:pos x="connsiteX52418" y="connsiteY52418"/>
              </a:cxn>
              <a:cxn ang="0">
                <a:pos x="connsiteX52419" y="connsiteY52419"/>
              </a:cxn>
              <a:cxn ang="0">
                <a:pos x="connsiteX52420" y="connsiteY52420"/>
              </a:cxn>
              <a:cxn ang="0">
                <a:pos x="connsiteX52421" y="connsiteY52421"/>
              </a:cxn>
              <a:cxn ang="0">
                <a:pos x="connsiteX52422" y="connsiteY52422"/>
              </a:cxn>
              <a:cxn ang="0">
                <a:pos x="connsiteX52423" y="connsiteY52423"/>
              </a:cxn>
              <a:cxn ang="0">
                <a:pos x="connsiteX52424" y="connsiteY52424"/>
              </a:cxn>
              <a:cxn ang="0">
                <a:pos x="connsiteX52425" y="connsiteY52425"/>
              </a:cxn>
              <a:cxn ang="0">
                <a:pos x="connsiteX52426" y="connsiteY52426"/>
              </a:cxn>
              <a:cxn ang="0">
                <a:pos x="connsiteX52427" y="connsiteY52427"/>
              </a:cxn>
              <a:cxn ang="0">
                <a:pos x="connsiteX52428" y="connsiteY52428"/>
              </a:cxn>
              <a:cxn ang="0">
                <a:pos x="connsiteX52429" y="connsiteY52429"/>
              </a:cxn>
              <a:cxn ang="0">
                <a:pos x="connsiteX52430" y="connsiteY52430"/>
              </a:cxn>
              <a:cxn ang="0">
                <a:pos x="connsiteX52431" y="connsiteY52431"/>
              </a:cxn>
              <a:cxn ang="0">
                <a:pos x="connsiteX52432" y="connsiteY52432"/>
              </a:cxn>
              <a:cxn ang="0">
                <a:pos x="connsiteX52433" y="connsiteY52433"/>
              </a:cxn>
              <a:cxn ang="0">
                <a:pos x="connsiteX52434" y="connsiteY52434"/>
              </a:cxn>
              <a:cxn ang="0">
                <a:pos x="connsiteX52435" y="connsiteY52435"/>
              </a:cxn>
              <a:cxn ang="0">
                <a:pos x="connsiteX52436" y="connsiteY52436"/>
              </a:cxn>
              <a:cxn ang="0">
                <a:pos x="connsiteX52437" y="connsiteY52437"/>
              </a:cxn>
              <a:cxn ang="0">
                <a:pos x="connsiteX52438" y="connsiteY52438"/>
              </a:cxn>
              <a:cxn ang="0">
                <a:pos x="connsiteX52439" y="connsiteY52439"/>
              </a:cxn>
              <a:cxn ang="0">
                <a:pos x="connsiteX52440" y="connsiteY52440"/>
              </a:cxn>
              <a:cxn ang="0">
                <a:pos x="connsiteX52441" y="connsiteY52441"/>
              </a:cxn>
              <a:cxn ang="0">
                <a:pos x="connsiteX52442" y="connsiteY52442"/>
              </a:cxn>
              <a:cxn ang="0">
                <a:pos x="connsiteX52443" y="connsiteY52443"/>
              </a:cxn>
              <a:cxn ang="0">
                <a:pos x="connsiteX52444" y="connsiteY52444"/>
              </a:cxn>
              <a:cxn ang="0">
                <a:pos x="connsiteX52445" y="connsiteY52445"/>
              </a:cxn>
              <a:cxn ang="0">
                <a:pos x="connsiteX52446" y="connsiteY52446"/>
              </a:cxn>
              <a:cxn ang="0">
                <a:pos x="connsiteX52447" y="connsiteY52447"/>
              </a:cxn>
              <a:cxn ang="0">
                <a:pos x="connsiteX52448" y="connsiteY52448"/>
              </a:cxn>
              <a:cxn ang="0">
                <a:pos x="connsiteX52449" y="connsiteY52449"/>
              </a:cxn>
              <a:cxn ang="0">
                <a:pos x="connsiteX52450" y="connsiteY52450"/>
              </a:cxn>
              <a:cxn ang="0">
                <a:pos x="connsiteX52451" y="connsiteY52451"/>
              </a:cxn>
              <a:cxn ang="0">
                <a:pos x="connsiteX52452" y="connsiteY52452"/>
              </a:cxn>
              <a:cxn ang="0">
                <a:pos x="connsiteX52453" y="connsiteY52453"/>
              </a:cxn>
              <a:cxn ang="0">
                <a:pos x="connsiteX52454" y="connsiteY52454"/>
              </a:cxn>
              <a:cxn ang="0">
                <a:pos x="connsiteX52455" y="connsiteY52455"/>
              </a:cxn>
              <a:cxn ang="0">
                <a:pos x="connsiteX52456" y="connsiteY52456"/>
              </a:cxn>
              <a:cxn ang="0">
                <a:pos x="connsiteX52457" y="connsiteY52457"/>
              </a:cxn>
              <a:cxn ang="0">
                <a:pos x="connsiteX52458" y="connsiteY52458"/>
              </a:cxn>
              <a:cxn ang="0">
                <a:pos x="connsiteX52459" y="connsiteY52459"/>
              </a:cxn>
              <a:cxn ang="0">
                <a:pos x="connsiteX52460" y="connsiteY52460"/>
              </a:cxn>
              <a:cxn ang="0">
                <a:pos x="connsiteX52461" y="connsiteY52461"/>
              </a:cxn>
              <a:cxn ang="0">
                <a:pos x="connsiteX52462" y="connsiteY52462"/>
              </a:cxn>
              <a:cxn ang="0">
                <a:pos x="connsiteX52463" y="connsiteY52463"/>
              </a:cxn>
              <a:cxn ang="0">
                <a:pos x="connsiteX52464" y="connsiteY52464"/>
              </a:cxn>
              <a:cxn ang="0">
                <a:pos x="connsiteX52465" y="connsiteY52465"/>
              </a:cxn>
              <a:cxn ang="0">
                <a:pos x="connsiteX52466" y="connsiteY52466"/>
              </a:cxn>
              <a:cxn ang="0">
                <a:pos x="connsiteX52467" y="connsiteY52467"/>
              </a:cxn>
              <a:cxn ang="0">
                <a:pos x="connsiteX52468" y="connsiteY52468"/>
              </a:cxn>
              <a:cxn ang="0">
                <a:pos x="connsiteX52469" y="connsiteY52469"/>
              </a:cxn>
              <a:cxn ang="0">
                <a:pos x="connsiteX52470" y="connsiteY52470"/>
              </a:cxn>
              <a:cxn ang="0">
                <a:pos x="connsiteX52471" y="connsiteY52471"/>
              </a:cxn>
              <a:cxn ang="0">
                <a:pos x="connsiteX52472" y="connsiteY52472"/>
              </a:cxn>
              <a:cxn ang="0">
                <a:pos x="connsiteX52473" y="connsiteY52473"/>
              </a:cxn>
              <a:cxn ang="0">
                <a:pos x="connsiteX52474" y="connsiteY52474"/>
              </a:cxn>
              <a:cxn ang="0">
                <a:pos x="connsiteX52475" y="connsiteY52475"/>
              </a:cxn>
              <a:cxn ang="0">
                <a:pos x="connsiteX52476" y="connsiteY52476"/>
              </a:cxn>
              <a:cxn ang="0">
                <a:pos x="connsiteX52477" y="connsiteY52477"/>
              </a:cxn>
              <a:cxn ang="0">
                <a:pos x="connsiteX52478" y="connsiteY52478"/>
              </a:cxn>
              <a:cxn ang="0">
                <a:pos x="connsiteX52479" y="connsiteY52479"/>
              </a:cxn>
              <a:cxn ang="0">
                <a:pos x="connsiteX52480" y="connsiteY52480"/>
              </a:cxn>
              <a:cxn ang="0">
                <a:pos x="connsiteX52481" y="connsiteY52481"/>
              </a:cxn>
              <a:cxn ang="0">
                <a:pos x="connsiteX52482" y="connsiteY52482"/>
              </a:cxn>
              <a:cxn ang="0">
                <a:pos x="connsiteX52483" y="connsiteY52483"/>
              </a:cxn>
              <a:cxn ang="0">
                <a:pos x="connsiteX52484" y="connsiteY52484"/>
              </a:cxn>
              <a:cxn ang="0">
                <a:pos x="connsiteX52485" y="connsiteY52485"/>
              </a:cxn>
              <a:cxn ang="0">
                <a:pos x="connsiteX52486" y="connsiteY52486"/>
              </a:cxn>
              <a:cxn ang="0">
                <a:pos x="connsiteX52487" y="connsiteY52487"/>
              </a:cxn>
              <a:cxn ang="0">
                <a:pos x="connsiteX52488" y="connsiteY52488"/>
              </a:cxn>
              <a:cxn ang="0">
                <a:pos x="connsiteX52489" y="connsiteY52489"/>
              </a:cxn>
              <a:cxn ang="0">
                <a:pos x="connsiteX52490" y="connsiteY52490"/>
              </a:cxn>
              <a:cxn ang="0">
                <a:pos x="connsiteX52491" y="connsiteY52491"/>
              </a:cxn>
              <a:cxn ang="0">
                <a:pos x="connsiteX52492" y="connsiteY52492"/>
              </a:cxn>
              <a:cxn ang="0">
                <a:pos x="connsiteX52493" y="connsiteY52493"/>
              </a:cxn>
              <a:cxn ang="0">
                <a:pos x="connsiteX52494" y="connsiteY52494"/>
              </a:cxn>
              <a:cxn ang="0">
                <a:pos x="connsiteX52495" y="connsiteY52495"/>
              </a:cxn>
              <a:cxn ang="0">
                <a:pos x="connsiteX52496" y="connsiteY52496"/>
              </a:cxn>
              <a:cxn ang="0">
                <a:pos x="connsiteX52497" y="connsiteY52497"/>
              </a:cxn>
              <a:cxn ang="0">
                <a:pos x="connsiteX52498" y="connsiteY52498"/>
              </a:cxn>
              <a:cxn ang="0">
                <a:pos x="connsiteX52499" y="connsiteY52499"/>
              </a:cxn>
              <a:cxn ang="0">
                <a:pos x="connsiteX52500" y="connsiteY52500"/>
              </a:cxn>
              <a:cxn ang="0">
                <a:pos x="connsiteX52501" y="connsiteY52501"/>
              </a:cxn>
              <a:cxn ang="0">
                <a:pos x="connsiteX52502" y="connsiteY52502"/>
              </a:cxn>
              <a:cxn ang="0">
                <a:pos x="connsiteX52503" y="connsiteY52503"/>
              </a:cxn>
              <a:cxn ang="0">
                <a:pos x="connsiteX52504" y="connsiteY52504"/>
              </a:cxn>
              <a:cxn ang="0">
                <a:pos x="connsiteX52505" y="connsiteY52505"/>
              </a:cxn>
              <a:cxn ang="0">
                <a:pos x="connsiteX52506" y="connsiteY52506"/>
              </a:cxn>
              <a:cxn ang="0">
                <a:pos x="connsiteX52507" y="connsiteY52507"/>
              </a:cxn>
              <a:cxn ang="0">
                <a:pos x="connsiteX52508" y="connsiteY52508"/>
              </a:cxn>
              <a:cxn ang="0">
                <a:pos x="connsiteX52509" y="connsiteY52509"/>
              </a:cxn>
              <a:cxn ang="0">
                <a:pos x="connsiteX52510" y="connsiteY52510"/>
              </a:cxn>
              <a:cxn ang="0">
                <a:pos x="connsiteX52511" y="connsiteY52511"/>
              </a:cxn>
              <a:cxn ang="0">
                <a:pos x="connsiteX52512" y="connsiteY52512"/>
              </a:cxn>
              <a:cxn ang="0">
                <a:pos x="connsiteX52513" y="connsiteY52513"/>
              </a:cxn>
              <a:cxn ang="0">
                <a:pos x="connsiteX52514" y="connsiteY52514"/>
              </a:cxn>
              <a:cxn ang="0">
                <a:pos x="connsiteX52515" y="connsiteY52515"/>
              </a:cxn>
              <a:cxn ang="0">
                <a:pos x="connsiteX52516" y="connsiteY52516"/>
              </a:cxn>
              <a:cxn ang="0">
                <a:pos x="connsiteX52517" y="connsiteY52517"/>
              </a:cxn>
              <a:cxn ang="0">
                <a:pos x="connsiteX52518" y="connsiteY52518"/>
              </a:cxn>
              <a:cxn ang="0">
                <a:pos x="connsiteX52519" y="connsiteY52519"/>
              </a:cxn>
              <a:cxn ang="0">
                <a:pos x="connsiteX52520" y="connsiteY52520"/>
              </a:cxn>
              <a:cxn ang="0">
                <a:pos x="connsiteX52521" y="connsiteY52521"/>
              </a:cxn>
              <a:cxn ang="0">
                <a:pos x="connsiteX52522" y="connsiteY52522"/>
              </a:cxn>
              <a:cxn ang="0">
                <a:pos x="connsiteX52523" y="connsiteY52523"/>
              </a:cxn>
              <a:cxn ang="0">
                <a:pos x="connsiteX52524" y="connsiteY52524"/>
              </a:cxn>
              <a:cxn ang="0">
                <a:pos x="connsiteX52525" y="connsiteY52525"/>
              </a:cxn>
              <a:cxn ang="0">
                <a:pos x="connsiteX52526" y="connsiteY52526"/>
              </a:cxn>
              <a:cxn ang="0">
                <a:pos x="connsiteX52527" y="connsiteY52527"/>
              </a:cxn>
              <a:cxn ang="0">
                <a:pos x="connsiteX52528" y="connsiteY52528"/>
              </a:cxn>
              <a:cxn ang="0">
                <a:pos x="connsiteX52529" y="connsiteY52529"/>
              </a:cxn>
              <a:cxn ang="0">
                <a:pos x="connsiteX52530" y="connsiteY52530"/>
              </a:cxn>
              <a:cxn ang="0">
                <a:pos x="connsiteX52531" y="connsiteY52531"/>
              </a:cxn>
              <a:cxn ang="0">
                <a:pos x="connsiteX52532" y="connsiteY52532"/>
              </a:cxn>
              <a:cxn ang="0">
                <a:pos x="connsiteX52533" y="connsiteY52533"/>
              </a:cxn>
              <a:cxn ang="0">
                <a:pos x="connsiteX52534" y="connsiteY52534"/>
              </a:cxn>
              <a:cxn ang="0">
                <a:pos x="connsiteX52535" y="connsiteY52535"/>
              </a:cxn>
              <a:cxn ang="0">
                <a:pos x="connsiteX52536" y="connsiteY52536"/>
              </a:cxn>
              <a:cxn ang="0">
                <a:pos x="connsiteX52537" y="connsiteY52537"/>
              </a:cxn>
              <a:cxn ang="0">
                <a:pos x="connsiteX52538" y="connsiteY52538"/>
              </a:cxn>
              <a:cxn ang="0">
                <a:pos x="connsiteX52539" y="connsiteY52539"/>
              </a:cxn>
              <a:cxn ang="0">
                <a:pos x="connsiteX52540" y="connsiteY52540"/>
              </a:cxn>
              <a:cxn ang="0">
                <a:pos x="connsiteX52541" y="connsiteY52541"/>
              </a:cxn>
              <a:cxn ang="0">
                <a:pos x="connsiteX52542" y="connsiteY52542"/>
              </a:cxn>
              <a:cxn ang="0">
                <a:pos x="connsiteX52543" y="connsiteY52543"/>
              </a:cxn>
              <a:cxn ang="0">
                <a:pos x="connsiteX52544" y="connsiteY52544"/>
              </a:cxn>
              <a:cxn ang="0">
                <a:pos x="connsiteX52545" y="connsiteY52545"/>
              </a:cxn>
              <a:cxn ang="0">
                <a:pos x="connsiteX52546" y="connsiteY52546"/>
              </a:cxn>
              <a:cxn ang="0">
                <a:pos x="connsiteX52547" y="connsiteY52547"/>
              </a:cxn>
              <a:cxn ang="0">
                <a:pos x="connsiteX52548" y="connsiteY52548"/>
              </a:cxn>
              <a:cxn ang="0">
                <a:pos x="connsiteX52549" y="connsiteY52549"/>
              </a:cxn>
              <a:cxn ang="0">
                <a:pos x="connsiteX52550" y="connsiteY52550"/>
              </a:cxn>
              <a:cxn ang="0">
                <a:pos x="connsiteX52551" y="connsiteY52551"/>
              </a:cxn>
              <a:cxn ang="0">
                <a:pos x="connsiteX52552" y="connsiteY52552"/>
              </a:cxn>
              <a:cxn ang="0">
                <a:pos x="connsiteX52553" y="connsiteY52553"/>
              </a:cxn>
              <a:cxn ang="0">
                <a:pos x="connsiteX52554" y="connsiteY52554"/>
              </a:cxn>
              <a:cxn ang="0">
                <a:pos x="connsiteX52555" y="connsiteY52555"/>
              </a:cxn>
              <a:cxn ang="0">
                <a:pos x="connsiteX52556" y="connsiteY52556"/>
              </a:cxn>
              <a:cxn ang="0">
                <a:pos x="connsiteX52557" y="connsiteY52557"/>
              </a:cxn>
              <a:cxn ang="0">
                <a:pos x="connsiteX52558" y="connsiteY52558"/>
              </a:cxn>
              <a:cxn ang="0">
                <a:pos x="connsiteX52559" y="connsiteY52559"/>
              </a:cxn>
              <a:cxn ang="0">
                <a:pos x="connsiteX52560" y="connsiteY52560"/>
              </a:cxn>
              <a:cxn ang="0">
                <a:pos x="connsiteX52561" y="connsiteY52561"/>
              </a:cxn>
              <a:cxn ang="0">
                <a:pos x="connsiteX52562" y="connsiteY52562"/>
              </a:cxn>
              <a:cxn ang="0">
                <a:pos x="connsiteX52563" y="connsiteY52563"/>
              </a:cxn>
              <a:cxn ang="0">
                <a:pos x="connsiteX52564" y="connsiteY52564"/>
              </a:cxn>
              <a:cxn ang="0">
                <a:pos x="connsiteX52565" y="connsiteY52565"/>
              </a:cxn>
              <a:cxn ang="0">
                <a:pos x="connsiteX52566" y="connsiteY52566"/>
              </a:cxn>
              <a:cxn ang="0">
                <a:pos x="connsiteX52567" y="connsiteY52567"/>
              </a:cxn>
              <a:cxn ang="0">
                <a:pos x="connsiteX52568" y="connsiteY52568"/>
              </a:cxn>
              <a:cxn ang="0">
                <a:pos x="connsiteX52569" y="connsiteY52569"/>
              </a:cxn>
              <a:cxn ang="0">
                <a:pos x="connsiteX52570" y="connsiteY52570"/>
              </a:cxn>
              <a:cxn ang="0">
                <a:pos x="connsiteX52571" y="connsiteY52571"/>
              </a:cxn>
              <a:cxn ang="0">
                <a:pos x="connsiteX52572" y="connsiteY52572"/>
              </a:cxn>
              <a:cxn ang="0">
                <a:pos x="connsiteX52573" y="connsiteY52573"/>
              </a:cxn>
              <a:cxn ang="0">
                <a:pos x="connsiteX52574" y="connsiteY52574"/>
              </a:cxn>
              <a:cxn ang="0">
                <a:pos x="connsiteX52575" y="connsiteY52575"/>
              </a:cxn>
              <a:cxn ang="0">
                <a:pos x="connsiteX52576" y="connsiteY52576"/>
              </a:cxn>
              <a:cxn ang="0">
                <a:pos x="connsiteX52577" y="connsiteY52577"/>
              </a:cxn>
              <a:cxn ang="0">
                <a:pos x="connsiteX52578" y="connsiteY52578"/>
              </a:cxn>
              <a:cxn ang="0">
                <a:pos x="connsiteX52579" y="connsiteY52579"/>
              </a:cxn>
              <a:cxn ang="0">
                <a:pos x="connsiteX52580" y="connsiteY52580"/>
              </a:cxn>
              <a:cxn ang="0">
                <a:pos x="connsiteX52581" y="connsiteY52581"/>
              </a:cxn>
              <a:cxn ang="0">
                <a:pos x="connsiteX52582" y="connsiteY52582"/>
              </a:cxn>
              <a:cxn ang="0">
                <a:pos x="connsiteX52583" y="connsiteY52583"/>
              </a:cxn>
              <a:cxn ang="0">
                <a:pos x="connsiteX52584" y="connsiteY52584"/>
              </a:cxn>
              <a:cxn ang="0">
                <a:pos x="connsiteX52585" y="connsiteY52585"/>
              </a:cxn>
              <a:cxn ang="0">
                <a:pos x="connsiteX52586" y="connsiteY52586"/>
              </a:cxn>
              <a:cxn ang="0">
                <a:pos x="connsiteX52587" y="connsiteY52587"/>
              </a:cxn>
              <a:cxn ang="0">
                <a:pos x="connsiteX52588" y="connsiteY52588"/>
              </a:cxn>
              <a:cxn ang="0">
                <a:pos x="connsiteX52589" y="connsiteY52589"/>
              </a:cxn>
              <a:cxn ang="0">
                <a:pos x="connsiteX52590" y="connsiteY52590"/>
              </a:cxn>
              <a:cxn ang="0">
                <a:pos x="connsiteX52591" y="connsiteY52591"/>
              </a:cxn>
              <a:cxn ang="0">
                <a:pos x="connsiteX52592" y="connsiteY52592"/>
              </a:cxn>
              <a:cxn ang="0">
                <a:pos x="connsiteX52593" y="connsiteY52593"/>
              </a:cxn>
              <a:cxn ang="0">
                <a:pos x="connsiteX52594" y="connsiteY52594"/>
              </a:cxn>
              <a:cxn ang="0">
                <a:pos x="connsiteX52595" y="connsiteY52595"/>
              </a:cxn>
              <a:cxn ang="0">
                <a:pos x="connsiteX52596" y="connsiteY52596"/>
              </a:cxn>
              <a:cxn ang="0">
                <a:pos x="connsiteX52597" y="connsiteY52597"/>
              </a:cxn>
              <a:cxn ang="0">
                <a:pos x="connsiteX52598" y="connsiteY52598"/>
              </a:cxn>
              <a:cxn ang="0">
                <a:pos x="connsiteX52599" y="connsiteY52599"/>
              </a:cxn>
              <a:cxn ang="0">
                <a:pos x="connsiteX52600" y="connsiteY52600"/>
              </a:cxn>
              <a:cxn ang="0">
                <a:pos x="connsiteX52601" y="connsiteY52601"/>
              </a:cxn>
              <a:cxn ang="0">
                <a:pos x="connsiteX52602" y="connsiteY52602"/>
              </a:cxn>
              <a:cxn ang="0">
                <a:pos x="connsiteX52603" y="connsiteY52603"/>
              </a:cxn>
              <a:cxn ang="0">
                <a:pos x="connsiteX52604" y="connsiteY52604"/>
              </a:cxn>
              <a:cxn ang="0">
                <a:pos x="connsiteX52605" y="connsiteY52605"/>
              </a:cxn>
              <a:cxn ang="0">
                <a:pos x="connsiteX52606" y="connsiteY52606"/>
              </a:cxn>
              <a:cxn ang="0">
                <a:pos x="connsiteX52607" y="connsiteY52607"/>
              </a:cxn>
              <a:cxn ang="0">
                <a:pos x="connsiteX52608" y="connsiteY52608"/>
              </a:cxn>
              <a:cxn ang="0">
                <a:pos x="connsiteX52609" y="connsiteY52609"/>
              </a:cxn>
              <a:cxn ang="0">
                <a:pos x="connsiteX52610" y="connsiteY52610"/>
              </a:cxn>
              <a:cxn ang="0">
                <a:pos x="connsiteX52611" y="connsiteY52611"/>
              </a:cxn>
              <a:cxn ang="0">
                <a:pos x="connsiteX52612" y="connsiteY52612"/>
              </a:cxn>
              <a:cxn ang="0">
                <a:pos x="connsiteX52613" y="connsiteY52613"/>
              </a:cxn>
              <a:cxn ang="0">
                <a:pos x="connsiteX52614" y="connsiteY52614"/>
              </a:cxn>
              <a:cxn ang="0">
                <a:pos x="connsiteX52615" y="connsiteY52615"/>
              </a:cxn>
              <a:cxn ang="0">
                <a:pos x="connsiteX52616" y="connsiteY52616"/>
              </a:cxn>
              <a:cxn ang="0">
                <a:pos x="connsiteX52617" y="connsiteY52617"/>
              </a:cxn>
              <a:cxn ang="0">
                <a:pos x="connsiteX52618" y="connsiteY52618"/>
              </a:cxn>
              <a:cxn ang="0">
                <a:pos x="connsiteX52619" y="connsiteY52619"/>
              </a:cxn>
              <a:cxn ang="0">
                <a:pos x="connsiteX52620" y="connsiteY52620"/>
              </a:cxn>
              <a:cxn ang="0">
                <a:pos x="connsiteX52621" y="connsiteY52621"/>
              </a:cxn>
              <a:cxn ang="0">
                <a:pos x="connsiteX52622" y="connsiteY52622"/>
              </a:cxn>
              <a:cxn ang="0">
                <a:pos x="connsiteX52623" y="connsiteY52623"/>
              </a:cxn>
              <a:cxn ang="0">
                <a:pos x="connsiteX52624" y="connsiteY52624"/>
              </a:cxn>
              <a:cxn ang="0">
                <a:pos x="connsiteX52625" y="connsiteY52625"/>
              </a:cxn>
              <a:cxn ang="0">
                <a:pos x="connsiteX52626" y="connsiteY52626"/>
              </a:cxn>
              <a:cxn ang="0">
                <a:pos x="connsiteX52627" y="connsiteY52627"/>
              </a:cxn>
              <a:cxn ang="0">
                <a:pos x="connsiteX52628" y="connsiteY52628"/>
              </a:cxn>
              <a:cxn ang="0">
                <a:pos x="connsiteX52629" y="connsiteY52629"/>
              </a:cxn>
              <a:cxn ang="0">
                <a:pos x="connsiteX52630" y="connsiteY52630"/>
              </a:cxn>
              <a:cxn ang="0">
                <a:pos x="connsiteX52631" y="connsiteY52631"/>
              </a:cxn>
              <a:cxn ang="0">
                <a:pos x="connsiteX52632" y="connsiteY52632"/>
              </a:cxn>
              <a:cxn ang="0">
                <a:pos x="connsiteX52633" y="connsiteY52633"/>
              </a:cxn>
              <a:cxn ang="0">
                <a:pos x="connsiteX52634" y="connsiteY52634"/>
              </a:cxn>
              <a:cxn ang="0">
                <a:pos x="connsiteX52635" y="connsiteY52635"/>
              </a:cxn>
              <a:cxn ang="0">
                <a:pos x="connsiteX52636" y="connsiteY52636"/>
              </a:cxn>
              <a:cxn ang="0">
                <a:pos x="connsiteX52637" y="connsiteY52637"/>
              </a:cxn>
              <a:cxn ang="0">
                <a:pos x="connsiteX52638" y="connsiteY52638"/>
              </a:cxn>
              <a:cxn ang="0">
                <a:pos x="connsiteX52639" y="connsiteY52639"/>
              </a:cxn>
              <a:cxn ang="0">
                <a:pos x="connsiteX52640" y="connsiteY52640"/>
              </a:cxn>
              <a:cxn ang="0">
                <a:pos x="connsiteX52641" y="connsiteY52641"/>
              </a:cxn>
              <a:cxn ang="0">
                <a:pos x="connsiteX52642" y="connsiteY52642"/>
              </a:cxn>
              <a:cxn ang="0">
                <a:pos x="connsiteX52643" y="connsiteY52643"/>
              </a:cxn>
              <a:cxn ang="0">
                <a:pos x="connsiteX52644" y="connsiteY52644"/>
              </a:cxn>
              <a:cxn ang="0">
                <a:pos x="connsiteX52645" y="connsiteY52645"/>
              </a:cxn>
              <a:cxn ang="0">
                <a:pos x="connsiteX52646" y="connsiteY52646"/>
              </a:cxn>
              <a:cxn ang="0">
                <a:pos x="connsiteX52647" y="connsiteY52647"/>
              </a:cxn>
              <a:cxn ang="0">
                <a:pos x="connsiteX52648" y="connsiteY52648"/>
              </a:cxn>
              <a:cxn ang="0">
                <a:pos x="connsiteX52649" y="connsiteY52649"/>
              </a:cxn>
              <a:cxn ang="0">
                <a:pos x="connsiteX52650" y="connsiteY52650"/>
              </a:cxn>
              <a:cxn ang="0">
                <a:pos x="connsiteX52651" y="connsiteY52651"/>
              </a:cxn>
              <a:cxn ang="0">
                <a:pos x="connsiteX52652" y="connsiteY52652"/>
              </a:cxn>
              <a:cxn ang="0">
                <a:pos x="connsiteX52653" y="connsiteY52653"/>
              </a:cxn>
              <a:cxn ang="0">
                <a:pos x="connsiteX52654" y="connsiteY52654"/>
              </a:cxn>
              <a:cxn ang="0">
                <a:pos x="connsiteX52655" y="connsiteY52655"/>
              </a:cxn>
              <a:cxn ang="0">
                <a:pos x="connsiteX52656" y="connsiteY52656"/>
              </a:cxn>
              <a:cxn ang="0">
                <a:pos x="connsiteX52657" y="connsiteY52657"/>
              </a:cxn>
              <a:cxn ang="0">
                <a:pos x="connsiteX52658" y="connsiteY52658"/>
              </a:cxn>
              <a:cxn ang="0">
                <a:pos x="connsiteX52659" y="connsiteY52659"/>
              </a:cxn>
              <a:cxn ang="0">
                <a:pos x="connsiteX52660" y="connsiteY52660"/>
              </a:cxn>
              <a:cxn ang="0">
                <a:pos x="connsiteX52661" y="connsiteY52661"/>
              </a:cxn>
              <a:cxn ang="0">
                <a:pos x="connsiteX52662" y="connsiteY52662"/>
              </a:cxn>
              <a:cxn ang="0">
                <a:pos x="connsiteX52663" y="connsiteY52663"/>
              </a:cxn>
              <a:cxn ang="0">
                <a:pos x="connsiteX52664" y="connsiteY52664"/>
              </a:cxn>
              <a:cxn ang="0">
                <a:pos x="connsiteX52665" y="connsiteY52665"/>
              </a:cxn>
              <a:cxn ang="0">
                <a:pos x="connsiteX52666" y="connsiteY52666"/>
              </a:cxn>
              <a:cxn ang="0">
                <a:pos x="connsiteX52667" y="connsiteY52667"/>
              </a:cxn>
              <a:cxn ang="0">
                <a:pos x="connsiteX52668" y="connsiteY52668"/>
              </a:cxn>
              <a:cxn ang="0">
                <a:pos x="connsiteX52669" y="connsiteY52669"/>
              </a:cxn>
              <a:cxn ang="0">
                <a:pos x="connsiteX52670" y="connsiteY52670"/>
              </a:cxn>
              <a:cxn ang="0">
                <a:pos x="connsiteX52671" y="connsiteY52671"/>
              </a:cxn>
              <a:cxn ang="0">
                <a:pos x="connsiteX52672" y="connsiteY52672"/>
              </a:cxn>
              <a:cxn ang="0">
                <a:pos x="connsiteX52673" y="connsiteY52673"/>
              </a:cxn>
              <a:cxn ang="0">
                <a:pos x="connsiteX52674" y="connsiteY52674"/>
              </a:cxn>
              <a:cxn ang="0">
                <a:pos x="connsiteX52675" y="connsiteY52675"/>
              </a:cxn>
              <a:cxn ang="0">
                <a:pos x="connsiteX52676" y="connsiteY52676"/>
              </a:cxn>
              <a:cxn ang="0">
                <a:pos x="connsiteX52677" y="connsiteY52677"/>
              </a:cxn>
              <a:cxn ang="0">
                <a:pos x="connsiteX52678" y="connsiteY52678"/>
              </a:cxn>
              <a:cxn ang="0">
                <a:pos x="connsiteX52679" y="connsiteY52679"/>
              </a:cxn>
              <a:cxn ang="0">
                <a:pos x="connsiteX52680" y="connsiteY52680"/>
              </a:cxn>
              <a:cxn ang="0">
                <a:pos x="connsiteX52681" y="connsiteY52681"/>
              </a:cxn>
              <a:cxn ang="0">
                <a:pos x="connsiteX52682" y="connsiteY52682"/>
              </a:cxn>
              <a:cxn ang="0">
                <a:pos x="connsiteX52683" y="connsiteY52683"/>
              </a:cxn>
              <a:cxn ang="0">
                <a:pos x="connsiteX52684" y="connsiteY52684"/>
              </a:cxn>
              <a:cxn ang="0">
                <a:pos x="connsiteX52685" y="connsiteY52685"/>
              </a:cxn>
              <a:cxn ang="0">
                <a:pos x="connsiteX52686" y="connsiteY52686"/>
              </a:cxn>
              <a:cxn ang="0">
                <a:pos x="connsiteX52687" y="connsiteY52687"/>
              </a:cxn>
              <a:cxn ang="0">
                <a:pos x="connsiteX52688" y="connsiteY52688"/>
              </a:cxn>
              <a:cxn ang="0">
                <a:pos x="connsiteX52689" y="connsiteY52689"/>
              </a:cxn>
              <a:cxn ang="0">
                <a:pos x="connsiteX52690" y="connsiteY52690"/>
              </a:cxn>
              <a:cxn ang="0">
                <a:pos x="connsiteX52691" y="connsiteY52691"/>
              </a:cxn>
              <a:cxn ang="0">
                <a:pos x="connsiteX52692" y="connsiteY52692"/>
              </a:cxn>
              <a:cxn ang="0">
                <a:pos x="connsiteX52693" y="connsiteY52693"/>
              </a:cxn>
              <a:cxn ang="0">
                <a:pos x="connsiteX52694" y="connsiteY52694"/>
              </a:cxn>
              <a:cxn ang="0">
                <a:pos x="connsiteX52695" y="connsiteY52695"/>
              </a:cxn>
              <a:cxn ang="0">
                <a:pos x="connsiteX52696" y="connsiteY52696"/>
              </a:cxn>
              <a:cxn ang="0">
                <a:pos x="connsiteX52697" y="connsiteY52697"/>
              </a:cxn>
              <a:cxn ang="0">
                <a:pos x="connsiteX52698" y="connsiteY52698"/>
              </a:cxn>
              <a:cxn ang="0">
                <a:pos x="connsiteX52699" y="connsiteY52699"/>
              </a:cxn>
              <a:cxn ang="0">
                <a:pos x="connsiteX52700" y="connsiteY52700"/>
              </a:cxn>
              <a:cxn ang="0">
                <a:pos x="connsiteX52701" y="connsiteY52701"/>
              </a:cxn>
              <a:cxn ang="0">
                <a:pos x="connsiteX52702" y="connsiteY52702"/>
              </a:cxn>
              <a:cxn ang="0">
                <a:pos x="connsiteX52703" y="connsiteY52703"/>
              </a:cxn>
              <a:cxn ang="0">
                <a:pos x="connsiteX52704" y="connsiteY52704"/>
              </a:cxn>
              <a:cxn ang="0">
                <a:pos x="connsiteX52705" y="connsiteY52705"/>
              </a:cxn>
              <a:cxn ang="0">
                <a:pos x="connsiteX52706" y="connsiteY52706"/>
              </a:cxn>
              <a:cxn ang="0">
                <a:pos x="connsiteX52707" y="connsiteY52707"/>
              </a:cxn>
              <a:cxn ang="0">
                <a:pos x="connsiteX52708" y="connsiteY52708"/>
              </a:cxn>
              <a:cxn ang="0">
                <a:pos x="connsiteX52709" y="connsiteY52709"/>
              </a:cxn>
              <a:cxn ang="0">
                <a:pos x="connsiteX52710" y="connsiteY52710"/>
              </a:cxn>
              <a:cxn ang="0">
                <a:pos x="connsiteX52711" y="connsiteY52711"/>
              </a:cxn>
              <a:cxn ang="0">
                <a:pos x="connsiteX52712" y="connsiteY52712"/>
              </a:cxn>
              <a:cxn ang="0">
                <a:pos x="connsiteX52713" y="connsiteY52713"/>
              </a:cxn>
              <a:cxn ang="0">
                <a:pos x="connsiteX52714" y="connsiteY52714"/>
              </a:cxn>
              <a:cxn ang="0">
                <a:pos x="connsiteX52715" y="connsiteY52715"/>
              </a:cxn>
              <a:cxn ang="0">
                <a:pos x="connsiteX52716" y="connsiteY52716"/>
              </a:cxn>
              <a:cxn ang="0">
                <a:pos x="connsiteX52717" y="connsiteY52717"/>
              </a:cxn>
              <a:cxn ang="0">
                <a:pos x="connsiteX52718" y="connsiteY52718"/>
              </a:cxn>
              <a:cxn ang="0">
                <a:pos x="connsiteX52719" y="connsiteY52719"/>
              </a:cxn>
              <a:cxn ang="0">
                <a:pos x="connsiteX52720" y="connsiteY52720"/>
              </a:cxn>
              <a:cxn ang="0">
                <a:pos x="connsiteX52721" y="connsiteY52721"/>
              </a:cxn>
              <a:cxn ang="0">
                <a:pos x="connsiteX52722" y="connsiteY52722"/>
              </a:cxn>
              <a:cxn ang="0">
                <a:pos x="connsiteX52723" y="connsiteY52723"/>
              </a:cxn>
              <a:cxn ang="0">
                <a:pos x="connsiteX52724" y="connsiteY52724"/>
              </a:cxn>
              <a:cxn ang="0">
                <a:pos x="connsiteX52725" y="connsiteY52725"/>
              </a:cxn>
              <a:cxn ang="0">
                <a:pos x="connsiteX52726" y="connsiteY52726"/>
              </a:cxn>
              <a:cxn ang="0">
                <a:pos x="connsiteX52727" y="connsiteY52727"/>
              </a:cxn>
              <a:cxn ang="0">
                <a:pos x="connsiteX52728" y="connsiteY52728"/>
              </a:cxn>
              <a:cxn ang="0">
                <a:pos x="connsiteX52729" y="connsiteY52729"/>
              </a:cxn>
              <a:cxn ang="0">
                <a:pos x="connsiteX52730" y="connsiteY52730"/>
              </a:cxn>
              <a:cxn ang="0">
                <a:pos x="connsiteX52731" y="connsiteY52731"/>
              </a:cxn>
              <a:cxn ang="0">
                <a:pos x="connsiteX52732" y="connsiteY52732"/>
              </a:cxn>
              <a:cxn ang="0">
                <a:pos x="connsiteX52733" y="connsiteY52733"/>
              </a:cxn>
              <a:cxn ang="0">
                <a:pos x="connsiteX52734" y="connsiteY52734"/>
              </a:cxn>
              <a:cxn ang="0">
                <a:pos x="connsiteX52735" y="connsiteY52735"/>
              </a:cxn>
              <a:cxn ang="0">
                <a:pos x="connsiteX52736" y="connsiteY52736"/>
              </a:cxn>
              <a:cxn ang="0">
                <a:pos x="connsiteX52737" y="connsiteY52737"/>
              </a:cxn>
              <a:cxn ang="0">
                <a:pos x="connsiteX52738" y="connsiteY52738"/>
              </a:cxn>
              <a:cxn ang="0">
                <a:pos x="connsiteX52739" y="connsiteY52739"/>
              </a:cxn>
              <a:cxn ang="0">
                <a:pos x="connsiteX52740" y="connsiteY52740"/>
              </a:cxn>
              <a:cxn ang="0">
                <a:pos x="connsiteX52741" y="connsiteY52741"/>
              </a:cxn>
              <a:cxn ang="0">
                <a:pos x="connsiteX52742" y="connsiteY52742"/>
              </a:cxn>
              <a:cxn ang="0">
                <a:pos x="connsiteX52743" y="connsiteY52743"/>
              </a:cxn>
              <a:cxn ang="0">
                <a:pos x="connsiteX52744" y="connsiteY52744"/>
              </a:cxn>
              <a:cxn ang="0">
                <a:pos x="connsiteX52745" y="connsiteY52745"/>
              </a:cxn>
              <a:cxn ang="0">
                <a:pos x="connsiteX52746" y="connsiteY52746"/>
              </a:cxn>
              <a:cxn ang="0">
                <a:pos x="connsiteX52747" y="connsiteY52747"/>
              </a:cxn>
              <a:cxn ang="0">
                <a:pos x="connsiteX52748" y="connsiteY52748"/>
              </a:cxn>
              <a:cxn ang="0">
                <a:pos x="connsiteX52749" y="connsiteY52749"/>
              </a:cxn>
              <a:cxn ang="0">
                <a:pos x="connsiteX52750" y="connsiteY52750"/>
              </a:cxn>
              <a:cxn ang="0">
                <a:pos x="connsiteX52751" y="connsiteY52751"/>
              </a:cxn>
              <a:cxn ang="0">
                <a:pos x="connsiteX52752" y="connsiteY52752"/>
              </a:cxn>
              <a:cxn ang="0">
                <a:pos x="connsiteX52753" y="connsiteY52753"/>
              </a:cxn>
              <a:cxn ang="0">
                <a:pos x="connsiteX52754" y="connsiteY52754"/>
              </a:cxn>
              <a:cxn ang="0">
                <a:pos x="connsiteX52755" y="connsiteY52755"/>
              </a:cxn>
              <a:cxn ang="0">
                <a:pos x="connsiteX52756" y="connsiteY52756"/>
              </a:cxn>
              <a:cxn ang="0">
                <a:pos x="connsiteX52757" y="connsiteY52757"/>
              </a:cxn>
              <a:cxn ang="0">
                <a:pos x="connsiteX52758" y="connsiteY52758"/>
              </a:cxn>
              <a:cxn ang="0">
                <a:pos x="connsiteX52759" y="connsiteY52759"/>
              </a:cxn>
              <a:cxn ang="0">
                <a:pos x="connsiteX52760" y="connsiteY52760"/>
              </a:cxn>
              <a:cxn ang="0">
                <a:pos x="connsiteX52761" y="connsiteY52761"/>
              </a:cxn>
              <a:cxn ang="0">
                <a:pos x="connsiteX52762" y="connsiteY52762"/>
              </a:cxn>
              <a:cxn ang="0">
                <a:pos x="connsiteX52763" y="connsiteY52763"/>
              </a:cxn>
              <a:cxn ang="0">
                <a:pos x="connsiteX52764" y="connsiteY52764"/>
              </a:cxn>
              <a:cxn ang="0">
                <a:pos x="connsiteX52765" y="connsiteY52765"/>
              </a:cxn>
              <a:cxn ang="0">
                <a:pos x="connsiteX52766" y="connsiteY52766"/>
              </a:cxn>
              <a:cxn ang="0">
                <a:pos x="connsiteX52767" y="connsiteY52767"/>
              </a:cxn>
              <a:cxn ang="0">
                <a:pos x="connsiteX52768" y="connsiteY52768"/>
              </a:cxn>
              <a:cxn ang="0">
                <a:pos x="connsiteX52769" y="connsiteY52769"/>
              </a:cxn>
              <a:cxn ang="0">
                <a:pos x="connsiteX52770" y="connsiteY52770"/>
              </a:cxn>
              <a:cxn ang="0">
                <a:pos x="connsiteX52771" y="connsiteY52771"/>
              </a:cxn>
              <a:cxn ang="0">
                <a:pos x="connsiteX52772" y="connsiteY52772"/>
              </a:cxn>
              <a:cxn ang="0">
                <a:pos x="connsiteX52773" y="connsiteY52773"/>
              </a:cxn>
              <a:cxn ang="0">
                <a:pos x="connsiteX52774" y="connsiteY52774"/>
              </a:cxn>
              <a:cxn ang="0">
                <a:pos x="connsiteX52775" y="connsiteY52775"/>
              </a:cxn>
              <a:cxn ang="0">
                <a:pos x="connsiteX52776" y="connsiteY52776"/>
              </a:cxn>
              <a:cxn ang="0">
                <a:pos x="connsiteX52777" y="connsiteY52777"/>
              </a:cxn>
              <a:cxn ang="0">
                <a:pos x="connsiteX52778" y="connsiteY52778"/>
              </a:cxn>
              <a:cxn ang="0">
                <a:pos x="connsiteX52779" y="connsiteY52779"/>
              </a:cxn>
              <a:cxn ang="0">
                <a:pos x="connsiteX52780" y="connsiteY52780"/>
              </a:cxn>
              <a:cxn ang="0">
                <a:pos x="connsiteX52781" y="connsiteY52781"/>
              </a:cxn>
              <a:cxn ang="0">
                <a:pos x="connsiteX52782" y="connsiteY52782"/>
              </a:cxn>
              <a:cxn ang="0">
                <a:pos x="connsiteX52783" y="connsiteY52783"/>
              </a:cxn>
              <a:cxn ang="0">
                <a:pos x="connsiteX52784" y="connsiteY52784"/>
              </a:cxn>
              <a:cxn ang="0">
                <a:pos x="connsiteX52785" y="connsiteY52785"/>
              </a:cxn>
              <a:cxn ang="0">
                <a:pos x="connsiteX52786" y="connsiteY52786"/>
              </a:cxn>
              <a:cxn ang="0">
                <a:pos x="connsiteX52787" y="connsiteY52787"/>
              </a:cxn>
              <a:cxn ang="0">
                <a:pos x="connsiteX52788" y="connsiteY52788"/>
              </a:cxn>
              <a:cxn ang="0">
                <a:pos x="connsiteX52789" y="connsiteY52789"/>
              </a:cxn>
              <a:cxn ang="0">
                <a:pos x="connsiteX52790" y="connsiteY52790"/>
              </a:cxn>
              <a:cxn ang="0">
                <a:pos x="connsiteX52791" y="connsiteY52791"/>
              </a:cxn>
              <a:cxn ang="0">
                <a:pos x="connsiteX52792" y="connsiteY52792"/>
              </a:cxn>
              <a:cxn ang="0">
                <a:pos x="connsiteX52793" y="connsiteY52793"/>
              </a:cxn>
              <a:cxn ang="0">
                <a:pos x="connsiteX52794" y="connsiteY52794"/>
              </a:cxn>
              <a:cxn ang="0">
                <a:pos x="connsiteX52795" y="connsiteY52795"/>
              </a:cxn>
              <a:cxn ang="0">
                <a:pos x="connsiteX52796" y="connsiteY52796"/>
              </a:cxn>
              <a:cxn ang="0">
                <a:pos x="connsiteX52797" y="connsiteY52797"/>
              </a:cxn>
              <a:cxn ang="0">
                <a:pos x="connsiteX52798" y="connsiteY52798"/>
              </a:cxn>
              <a:cxn ang="0">
                <a:pos x="connsiteX52799" y="connsiteY52799"/>
              </a:cxn>
              <a:cxn ang="0">
                <a:pos x="connsiteX52800" y="connsiteY52800"/>
              </a:cxn>
              <a:cxn ang="0">
                <a:pos x="connsiteX52801" y="connsiteY52801"/>
              </a:cxn>
              <a:cxn ang="0">
                <a:pos x="connsiteX52802" y="connsiteY52802"/>
              </a:cxn>
              <a:cxn ang="0">
                <a:pos x="connsiteX52803" y="connsiteY52803"/>
              </a:cxn>
              <a:cxn ang="0">
                <a:pos x="connsiteX52804" y="connsiteY52804"/>
              </a:cxn>
              <a:cxn ang="0">
                <a:pos x="connsiteX52805" y="connsiteY52805"/>
              </a:cxn>
              <a:cxn ang="0">
                <a:pos x="connsiteX52806" y="connsiteY52806"/>
              </a:cxn>
              <a:cxn ang="0">
                <a:pos x="connsiteX52807" y="connsiteY52807"/>
              </a:cxn>
              <a:cxn ang="0">
                <a:pos x="connsiteX52808" y="connsiteY52808"/>
              </a:cxn>
              <a:cxn ang="0">
                <a:pos x="connsiteX52809" y="connsiteY52809"/>
              </a:cxn>
              <a:cxn ang="0">
                <a:pos x="connsiteX52810" y="connsiteY52810"/>
              </a:cxn>
              <a:cxn ang="0">
                <a:pos x="connsiteX52811" y="connsiteY52811"/>
              </a:cxn>
              <a:cxn ang="0">
                <a:pos x="connsiteX52812" y="connsiteY52812"/>
              </a:cxn>
              <a:cxn ang="0">
                <a:pos x="connsiteX52813" y="connsiteY52813"/>
              </a:cxn>
              <a:cxn ang="0">
                <a:pos x="connsiteX52814" y="connsiteY52814"/>
              </a:cxn>
              <a:cxn ang="0">
                <a:pos x="connsiteX52815" y="connsiteY52815"/>
              </a:cxn>
              <a:cxn ang="0">
                <a:pos x="connsiteX52816" y="connsiteY52816"/>
              </a:cxn>
              <a:cxn ang="0">
                <a:pos x="connsiteX52817" y="connsiteY52817"/>
              </a:cxn>
              <a:cxn ang="0">
                <a:pos x="connsiteX52818" y="connsiteY52818"/>
              </a:cxn>
              <a:cxn ang="0">
                <a:pos x="connsiteX52819" y="connsiteY52819"/>
              </a:cxn>
              <a:cxn ang="0">
                <a:pos x="connsiteX52820" y="connsiteY52820"/>
              </a:cxn>
              <a:cxn ang="0">
                <a:pos x="connsiteX52821" y="connsiteY52821"/>
              </a:cxn>
              <a:cxn ang="0">
                <a:pos x="connsiteX52822" y="connsiteY52822"/>
              </a:cxn>
              <a:cxn ang="0">
                <a:pos x="connsiteX52823" y="connsiteY52823"/>
              </a:cxn>
              <a:cxn ang="0">
                <a:pos x="connsiteX52824" y="connsiteY52824"/>
              </a:cxn>
              <a:cxn ang="0">
                <a:pos x="connsiteX52825" y="connsiteY52825"/>
              </a:cxn>
              <a:cxn ang="0">
                <a:pos x="connsiteX52826" y="connsiteY52826"/>
              </a:cxn>
              <a:cxn ang="0">
                <a:pos x="connsiteX52827" y="connsiteY52827"/>
              </a:cxn>
              <a:cxn ang="0">
                <a:pos x="connsiteX52828" y="connsiteY52828"/>
              </a:cxn>
              <a:cxn ang="0">
                <a:pos x="connsiteX52829" y="connsiteY52829"/>
              </a:cxn>
              <a:cxn ang="0">
                <a:pos x="connsiteX52830" y="connsiteY52830"/>
              </a:cxn>
              <a:cxn ang="0">
                <a:pos x="connsiteX52831" y="connsiteY52831"/>
              </a:cxn>
              <a:cxn ang="0">
                <a:pos x="connsiteX52832" y="connsiteY52832"/>
              </a:cxn>
              <a:cxn ang="0">
                <a:pos x="connsiteX52833" y="connsiteY52833"/>
              </a:cxn>
              <a:cxn ang="0">
                <a:pos x="connsiteX52834" y="connsiteY52834"/>
              </a:cxn>
              <a:cxn ang="0">
                <a:pos x="connsiteX52835" y="connsiteY52835"/>
              </a:cxn>
              <a:cxn ang="0">
                <a:pos x="connsiteX52836" y="connsiteY52836"/>
              </a:cxn>
              <a:cxn ang="0">
                <a:pos x="connsiteX52837" y="connsiteY52837"/>
              </a:cxn>
              <a:cxn ang="0">
                <a:pos x="connsiteX52838" y="connsiteY52838"/>
              </a:cxn>
              <a:cxn ang="0">
                <a:pos x="connsiteX52839" y="connsiteY52839"/>
              </a:cxn>
              <a:cxn ang="0">
                <a:pos x="connsiteX52840" y="connsiteY52840"/>
              </a:cxn>
              <a:cxn ang="0">
                <a:pos x="connsiteX52841" y="connsiteY52841"/>
              </a:cxn>
              <a:cxn ang="0">
                <a:pos x="connsiteX52842" y="connsiteY52842"/>
              </a:cxn>
              <a:cxn ang="0">
                <a:pos x="connsiteX52843" y="connsiteY52843"/>
              </a:cxn>
              <a:cxn ang="0">
                <a:pos x="connsiteX52844" y="connsiteY52844"/>
              </a:cxn>
              <a:cxn ang="0">
                <a:pos x="connsiteX52845" y="connsiteY52845"/>
              </a:cxn>
              <a:cxn ang="0">
                <a:pos x="connsiteX52846" y="connsiteY52846"/>
              </a:cxn>
              <a:cxn ang="0">
                <a:pos x="connsiteX52847" y="connsiteY52847"/>
              </a:cxn>
              <a:cxn ang="0">
                <a:pos x="connsiteX52848" y="connsiteY52848"/>
              </a:cxn>
              <a:cxn ang="0">
                <a:pos x="connsiteX52849" y="connsiteY52849"/>
              </a:cxn>
              <a:cxn ang="0">
                <a:pos x="connsiteX52850" y="connsiteY52850"/>
              </a:cxn>
              <a:cxn ang="0">
                <a:pos x="connsiteX52851" y="connsiteY52851"/>
              </a:cxn>
              <a:cxn ang="0">
                <a:pos x="connsiteX52852" y="connsiteY52852"/>
              </a:cxn>
              <a:cxn ang="0">
                <a:pos x="connsiteX52853" y="connsiteY52853"/>
              </a:cxn>
              <a:cxn ang="0">
                <a:pos x="connsiteX52854" y="connsiteY52854"/>
              </a:cxn>
              <a:cxn ang="0">
                <a:pos x="connsiteX52855" y="connsiteY52855"/>
              </a:cxn>
              <a:cxn ang="0">
                <a:pos x="connsiteX52856" y="connsiteY52856"/>
              </a:cxn>
              <a:cxn ang="0">
                <a:pos x="connsiteX52857" y="connsiteY52857"/>
              </a:cxn>
              <a:cxn ang="0">
                <a:pos x="connsiteX52858" y="connsiteY52858"/>
              </a:cxn>
              <a:cxn ang="0">
                <a:pos x="connsiteX52859" y="connsiteY52859"/>
              </a:cxn>
              <a:cxn ang="0">
                <a:pos x="connsiteX52860" y="connsiteY52860"/>
              </a:cxn>
              <a:cxn ang="0">
                <a:pos x="connsiteX52861" y="connsiteY52861"/>
              </a:cxn>
              <a:cxn ang="0">
                <a:pos x="connsiteX52862" y="connsiteY52862"/>
              </a:cxn>
              <a:cxn ang="0">
                <a:pos x="connsiteX52863" y="connsiteY52863"/>
              </a:cxn>
              <a:cxn ang="0">
                <a:pos x="connsiteX52864" y="connsiteY52864"/>
              </a:cxn>
              <a:cxn ang="0">
                <a:pos x="connsiteX52865" y="connsiteY52865"/>
              </a:cxn>
              <a:cxn ang="0">
                <a:pos x="connsiteX52866" y="connsiteY52866"/>
              </a:cxn>
              <a:cxn ang="0">
                <a:pos x="connsiteX52867" y="connsiteY52867"/>
              </a:cxn>
              <a:cxn ang="0">
                <a:pos x="connsiteX52868" y="connsiteY52868"/>
              </a:cxn>
              <a:cxn ang="0">
                <a:pos x="connsiteX52869" y="connsiteY52869"/>
              </a:cxn>
              <a:cxn ang="0">
                <a:pos x="connsiteX52870" y="connsiteY52870"/>
              </a:cxn>
              <a:cxn ang="0">
                <a:pos x="connsiteX52871" y="connsiteY52871"/>
              </a:cxn>
              <a:cxn ang="0">
                <a:pos x="connsiteX52872" y="connsiteY52872"/>
              </a:cxn>
              <a:cxn ang="0">
                <a:pos x="connsiteX52873" y="connsiteY52873"/>
              </a:cxn>
              <a:cxn ang="0">
                <a:pos x="connsiteX52874" y="connsiteY52874"/>
              </a:cxn>
              <a:cxn ang="0">
                <a:pos x="connsiteX52875" y="connsiteY52875"/>
              </a:cxn>
              <a:cxn ang="0">
                <a:pos x="connsiteX52876" y="connsiteY52876"/>
              </a:cxn>
              <a:cxn ang="0">
                <a:pos x="connsiteX52877" y="connsiteY52877"/>
              </a:cxn>
              <a:cxn ang="0">
                <a:pos x="connsiteX52878" y="connsiteY52878"/>
              </a:cxn>
              <a:cxn ang="0">
                <a:pos x="connsiteX52879" y="connsiteY52879"/>
              </a:cxn>
              <a:cxn ang="0">
                <a:pos x="connsiteX52880" y="connsiteY52880"/>
              </a:cxn>
              <a:cxn ang="0">
                <a:pos x="connsiteX52881" y="connsiteY52881"/>
              </a:cxn>
              <a:cxn ang="0">
                <a:pos x="connsiteX52882" y="connsiteY52882"/>
              </a:cxn>
              <a:cxn ang="0">
                <a:pos x="connsiteX52883" y="connsiteY52883"/>
              </a:cxn>
              <a:cxn ang="0">
                <a:pos x="connsiteX52884" y="connsiteY52884"/>
              </a:cxn>
              <a:cxn ang="0">
                <a:pos x="connsiteX52885" y="connsiteY52885"/>
              </a:cxn>
              <a:cxn ang="0">
                <a:pos x="connsiteX52886" y="connsiteY52886"/>
              </a:cxn>
              <a:cxn ang="0">
                <a:pos x="connsiteX52887" y="connsiteY52887"/>
              </a:cxn>
              <a:cxn ang="0">
                <a:pos x="connsiteX52888" y="connsiteY52888"/>
              </a:cxn>
              <a:cxn ang="0">
                <a:pos x="connsiteX52889" y="connsiteY52889"/>
              </a:cxn>
              <a:cxn ang="0">
                <a:pos x="connsiteX52890" y="connsiteY52890"/>
              </a:cxn>
              <a:cxn ang="0">
                <a:pos x="connsiteX52891" y="connsiteY52891"/>
              </a:cxn>
              <a:cxn ang="0">
                <a:pos x="connsiteX52892" y="connsiteY52892"/>
              </a:cxn>
              <a:cxn ang="0">
                <a:pos x="connsiteX52893" y="connsiteY52893"/>
              </a:cxn>
              <a:cxn ang="0">
                <a:pos x="connsiteX52894" y="connsiteY52894"/>
              </a:cxn>
              <a:cxn ang="0">
                <a:pos x="connsiteX52895" y="connsiteY52895"/>
              </a:cxn>
              <a:cxn ang="0">
                <a:pos x="connsiteX52896" y="connsiteY52896"/>
              </a:cxn>
              <a:cxn ang="0">
                <a:pos x="connsiteX52897" y="connsiteY52897"/>
              </a:cxn>
              <a:cxn ang="0">
                <a:pos x="connsiteX52898" y="connsiteY52898"/>
              </a:cxn>
              <a:cxn ang="0">
                <a:pos x="connsiteX52899" y="connsiteY52899"/>
              </a:cxn>
              <a:cxn ang="0">
                <a:pos x="connsiteX52900" y="connsiteY52900"/>
              </a:cxn>
              <a:cxn ang="0">
                <a:pos x="connsiteX52901" y="connsiteY52901"/>
              </a:cxn>
              <a:cxn ang="0">
                <a:pos x="connsiteX52902" y="connsiteY52902"/>
              </a:cxn>
              <a:cxn ang="0">
                <a:pos x="connsiteX52903" y="connsiteY52903"/>
              </a:cxn>
              <a:cxn ang="0">
                <a:pos x="connsiteX52904" y="connsiteY52904"/>
              </a:cxn>
              <a:cxn ang="0">
                <a:pos x="connsiteX52905" y="connsiteY52905"/>
              </a:cxn>
              <a:cxn ang="0">
                <a:pos x="connsiteX52906" y="connsiteY52906"/>
              </a:cxn>
              <a:cxn ang="0">
                <a:pos x="connsiteX52907" y="connsiteY52907"/>
              </a:cxn>
              <a:cxn ang="0">
                <a:pos x="connsiteX52908" y="connsiteY52908"/>
              </a:cxn>
              <a:cxn ang="0">
                <a:pos x="connsiteX52909" y="connsiteY52909"/>
              </a:cxn>
              <a:cxn ang="0">
                <a:pos x="connsiteX52910" y="connsiteY52910"/>
              </a:cxn>
              <a:cxn ang="0">
                <a:pos x="connsiteX52911" y="connsiteY52911"/>
              </a:cxn>
              <a:cxn ang="0">
                <a:pos x="connsiteX52912" y="connsiteY52912"/>
              </a:cxn>
              <a:cxn ang="0">
                <a:pos x="connsiteX52913" y="connsiteY52913"/>
              </a:cxn>
              <a:cxn ang="0">
                <a:pos x="connsiteX52914" y="connsiteY52914"/>
              </a:cxn>
              <a:cxn ang="0">
                <a:pos x="connsiteX52915" y="connsiteY52915"/>
              </a:cxn>
              <a:cxn ang="0">
                <a:pos x="connsiteX52916" y="connsiteY52916"/>
              </a:cxn>
              <a:cxn ang="0">
                <a:pos x="connsiteX52917" y="connsiteY52917"/>
              </a:cxn>
              <a:cxn ang="0">
                <a:pos x="connsiteX52918" y="connsiteY52918"/>
              </a:cxn>
              <a:cxn ang="0">
                <a:pos x="connsiteX52919" y="connsiteY52919"/>
              </a:cxn>
              <a:cxn ang="0">
                <a:pos x="connsiteX52920" y="connsiteY52920"/>
              </a:cxn>
              <a:cxn ang="0">
                <a:pos x="connsiteX52921" y="connsiteY52921"/>
              </a:cxn>
              <a:cxn ang="0">
                <a:pos x="connsiteX52922" y="connsiteY52922"/>
              </a:cxn>
              <a:cxn ang="0">
                <a:pos x="connsiteX52923" y="connsiteY52923"/>
              </a:cxn>
              <a:cxn ang="0">
                <a:pos x="connsiteX52924" y="connsiteY52924"/>
              </a:cxn>
              <a:cxn ang="0">
                <a:pos x="connsiteX52925" y="connsiteY52925"/>
              </a:cxn>
              <a:cxn ang="0">
                <a:pos x="connsiteX52926" y="connsiteY52926"/>
              </a:cxn>
              <a:cxn ang="0">
                <a:pos x="connsiteX52927" y="connsiteY52927"/>
              </a:cxn>
              <a:cxn ang="0">
                <a:pos x="connsiteX52928" y="connsiteY52928"/>
              </a:cxn>
              <a:cxn ang="0">
                <a:pos x="connsiteX52929" y="connsiteY52929"/>
              </a:cxn>
              <a:cxn ang="0">
                <a:pos x="connsiteX52930" y="connsiteY52930"/>
              </a:cxn>
              <a:cxn ang="0">
                <a:pos x="connsiteX52931" y="connsiteY52931"/>
              </a:cxn>
              <a:cxn ang="0">
                <a:pos x="connsiteX52932" y="connsiteY52932"/>
              </a:cxn>
              <a:cxn ang="0">
                <a:pos x="connsiteX52933" y="connsiteY52933"/>
              </a:cxn>
              <a:cxn ang="0">
                <a:pos x="connsiteX52934" y="connsiteY52934"/>
              </a:cxn>
              <a:cxn ang="0">
                <a:pos x="connsiteX52935" y="connsiteY52935"/>
              </a:cxn>
              <a:cxn ang="0">
                <a:pos x="connsiteX52936" y="connsiteY52936"/>
              </a:cxn>
              <a:cxn ang="0">
                <a:pos x="connsiteX52937" y="connsiteY52937"/>
              </a:cxn>
              <a:cxn ang="0">
                <a:pos x="connsiteX52938" y="connsiteY52938"/>
              </a:cxn>
              <a:cxn ang="0">
                <a:pos x="connsiteX52939" y="connsiteY52939"/>
              </a:cxn>
              <a:cxn ang="0">
                <a:pos x="connsiteX52940" y="connsiteY52940"/>
              </a:cxn>
              <a:cxn ang="0">
                <a:pos x="connsiteX52941" y="connsiteY52941"/>
              </a:cxn>
              <a:cxn ang="0">
                <a:pos x="connsiteX52942" y="connsiteY52942"/>
              </a:cxn>
              <a:cxn ang="0">
                <a:pos x="connsiteX52943" y="connsiteY52943"/>
              </a:cxn>
              <a:cxn ang="0">
                <a:pos x="connsiteX52944" y="connsiteY52944"/>
              </a:cxn>
              <a:cxn ang="0">
                <a:pos x="connsiteX52945" y="connsiteY52945"/>
              </a:cxn>
              <a:cxn ang="0">
                <a:pos x="connsiteX52946" y="connsiteY52946"/>
              </a:cxn>
              <a:cxn ang="0">
                <a:pos x="connsiteX52947" y="connsiteY52947"/>
              </a:cxn>
              <a:cxn ang="0">
                <a:pos x="connsiteX52948" y="connsiteY52948"/>
              </a:cxn>
              <a:cxn ang="0">
                <a:pos x="connsiteX52949" y="connsiteY52949"/>
              </a:cxn>
              <a:cxn ang="0">
                <a:pos x="connsiteX52950" y="connsiteY52950"/>
              </a:cxn>
              <a:cxn ang="0">
                <a:pos x="connsiteX52951" y="connsiteY52951"/>
              </a:cxn>
              <a:cxn ang="0">
                <a:pos x="connsiteX52952" y="connsiteY52952"/>
              </a:cxn>
              <a:cxn ang="0">
                <a:pos x="connsiteX52953" y="connsiteY52953"/>
              </a:cxn>
              <a:cxn ang="0">
                <a:pos x="connsiteX52954" y="connsiteY52954"/>
              </a:cxn>
              <a:cxn ang="0">
                <a:pos x="connsiteX52955" y="connsiteY52955"/>
              </a:cxn>
              <a:cxn ang="0">
                <a:pos x="connsiteX52956" y="connsiteY52956"/>
              </a:cxn>
              <a:cxn ang="0">
                <a:pos x="connsiteX52957" y="connsiteY52957"/>
              </a:cxn>
              <a:cxn ang="0">
                <a:pos x="connsiteX52958" y="connsiteY52958"/>
              </a:cxn>
              <a:cxn ang="0">
                <a:pos x="connsiteX52959" y="connsiteY52959"/>
              </a:cxn>
              <a:cxn ang="0">
                <a:pos x="connsiteX52960" y="connsiteY52960"/>
              </a:cxn>
              <a:cxn ang="0">
                <a:pos x="connsiteX52961" y="connsiteY52961"/>
              </a:cxn>
              <a:cxn ang="0">
                <a:pos x="connsiteX52962" y="connsiteY52962"/>
              </a:cxn>
              <a:cxn ang="0">
                <a:pos x="connsiteX52963" y="connsiteY52963"/>
              </a:cxn>
              <a:cxn ang="0">
                <a:pos x="connsiteX52964" y="connsiteY52964"/>
              </a:cxn>
              <a:cxn ang="0">
                <a:pos x="connsiteX52965" y="connsiteY52965"/>
              </a:cxn>
              <a:cxn ang="0">
                <a:pos x="connsiteX52966" y="connsiteY52966"/>
              </a:cxn>
              <a:cxn ang="0">
                <a:pos x="connsiteX52967" y="connsiteY52967"/>
              </a:cxn>
              <a:cxn ang="0">
                <a:pos x="connsiteX52968" y="connsiteY52968"/>
              </a:cxn>
              <a:cxn ang="0">
                <a:pos x="connsiteX52969" y="connsiteY52969"/>
              </a:cxn>
              <a:cxn ang="0">
                <a:pos x="connsiteX52970" y="connsiteY52970"/>
              </a:cxn>
              <a:cxn ang="0">
                <a:pos x="connsiteX52971" y="connsiteY52971"/>
              </a:cxn>
              <a:cxn ang="0">
                <a:pos x="connsiteX52972" y="connsiteY52972"/>
              </a:cxn>
              <a:cxn ang="0">
                <a:pos x="connsiteX52973" y="connsiteY52973"/>
              </a:cxn>
              <a:cxn ang="0">
                <a:pos x="connsiteX52974" y="connsiteY52974"/>
              </a:cxn>
              <a:cxn ang="0">
                <a:pos x="connsiteX52975" y="connsiteY52975"/>
              </a:cxn>
              <a:cxn ang="0">
                <a:pos x="connsiteX52976" y="connsiteY52976"/>
              </a:cxn>
              <a:cxn ang="0">
                <a:pos x="connsiteX52977" y="connsiteY52977"/>
              </a:cxn>
              <a:cxn ang="0">
                <a:pos x="connsiteX52978" y="connsiteY52978"/>
              </a:cxn>
              <a:cxn ang="0">
                <a:pos x="connsiteX52979" y="connsiteY52979"/>
              </a:cxn>
              <a:cxn ang="0">
                <a:pos x="connsiteX52980" y="connsiteY52980"/>
              </a:cxn>
              <a:cxn ang="0">
                <a:pos x="connsiteX52981" y="connsiteY52981"/>
              </a:cxn>
              <a:cxn ang="0">
                <a:pos x="connsiteX52982" y="connsiteY52982"/>
              </a:cxn>
              <a:cxn ang="0">
                <a:pos x="connsiteX52983" y="connsiteY52983"/>
              </a:cxn>
              <a:cxn ang="0">
                <a:pos x="connsiteX52984" y="connsiteY52984"/>
              </a:cxn>
              <a:cxn ang="0">
                <a:pos x="connsiteX52985" y="connsiteY52985"/>
              </a:cxn>
              <a:cxn ang="0">
                <a:pos x="connsiteX52986" y="connsiteY52986"/>
              </a:cxn>
              <a:cxn ang="0">
                <a:pos x="connsiteX52987" y="connsiteY52987"/>
              </a:cxn>
              <a:cxn ang="0">
                <a:pos x="connsiteX52988" y="connsiteY52988"/>
              </a:cxn>
              <a:cxn ang="0">
                <a:pos x="connsiteX52989" y="connsiteY52989"/>
              </a:cxn>
              <a:cxn ang="0">
                <a:pos x="connsiteX52990" y="connsiteY52990"/>
              </a:cxn>
              <a:cxn ang="0">
                <a:pos x="connsiteX52991" y="connsiteY52991"/>
              </a:cxn>
              <a:cxn ang="0">
                <a:pos x="connsiteX52992" y="connsiteY52992"/>
              </a:cxn>
              <a:cxn ang="0">
                <a:pos x="connsiteX52993" y="connsiteY52993"/>
              </a:cxn>
              <a:cxn ang="0">
                <a:pos x="connsiteX52994" y="connsiteY52994"/>
              </a:cxn>
              <a:cxn ang="0">
                <a:pos x="connsiteX52995" y="connsiteY52995"/>
              </a:cxn>
              <a:cxn ang="0">
                <a:pos x="connsiteX52996" y="connsiteY52996"/>
              </a:cxn>
              <a:cxn ang="0">
                <a:pos x="connsiteX52997" y="connsiteY52997"/>
              </a:cxn>
              <a:cxn ang="0">
                <a:pos x="connsiteX52998" y="connsiteY52998"/>
              </a:cxn>
              <a:cxn ang="0">
                <a:pos x="connsiteX52999" y="connsiteY52999"/>
              </a:cxn>
              <a:cxn ang="0">
                <a:pos x="connsiteX53000" y="connsiteY53000"/>
              </a:cxn>
              <a:cxn ang="0">
                <a:pos x="connsiteX53001" y="connsiteY53001"/>
              </a:cxn>
              <a:cxn ang="0">
                <a:pos x="connsiteX53002" y="connsiteY53002"/>
              </a:cxn>
              <a:cxn ang="0">
                <a:pos x="connsiteX53003" y="connsiteY53003"/>
              </a:cxn>
              <a:cxn ang="0">
                <a:pos x="connsiteX53004" y="connsiteY53004"/>
              </a:cxn>
              <a:cxn ang="0">
                <a:pos x="connsiteX53005" y="connsiteY53005"/>
              </a:cxn>
              <a:cxn ang="0">
                <a:pos x="connsiteX53006" y="connsiteY53006"/>
              </a:cxn>
              <a:cxn ang="0">
                <a:pos x="connsiteX53007" y="connsiteY53007"/>
              </a:cxn>
              <a:cxn ang="0">
                <a:pos x="connsiteX53008" y="connsiteY53008"/>
              </a:cxn>
              <a:cxn ang="0">
                <a:pos x="connsiteX53009" y="connsiteY53009"/>
              </a:cxn>
              <a:cxn ang="0">
                <a:pos x="connsiteX53010" y="connsiteY53010"/>
              </a:cxn>
              <a:cxn ang="0">
                <a:pos x="connsiteX53011" y="connsiteY53011"/>
              </a:cxn>
              <a:cxn ang="0">
                <a:pos x="connsiteX53012" y="connsiteY53012"/>
              </a:cxn>
              <a:cxn ang="0">
                <a:pos x="connsiteX53013" y="connsiteY53013"/>
              </a:cxn>
              <a:cxn ang="0">
                <a:pos x="connsiteX53014" y="connsiteY53014"/>
              </a:cxn>
              <a:cxn ang="0">
                <a:pos x="connsiteX53015" y="connsiteY53015"/>
              </a:cxn>
              <a:cxn ang="0">
                <a:pos x="connsiteX53016" y="connsiteY53016"/>
              </a:cxn>
              <a:cxn ang="0">
                <a:pos x="connsiteX53017" y="connsiteY53017"/>
              </a:cxn>
              <a:cxn ang="0">
                <a:pos x="connsiteX53018" y="connsiteY53018"/>
              </a:cxn>
              <a:cxn ang="0">
                <a:pos x="connsiteX53019" y="connsiteY53019"/>
              </a:cxn>
              <a:cxn ang="0">
                <a:pos x="connsiteX53020" y="connsiteY53020"/>
              </a:cxn>
              <a:cxn ang="0">
                <a:pos x="connsiteX53021" y="connsiteY53021"/>
              </a:cxn>
              <a:cxn ang="0">
                <a:pos x="connsiteX53022" y="connsiteY53022"/>
              </a:cxn>
              <a:cxn ang="0">
                <a:pos x="connsiteX53023" y="connsiteY53023"/>
              </a:cxn>
              <a:cxn ang="0">
                <a:pos x="connsiteX53024" y="connsiteY53024"/>
              </a:cxn>
              <a:cxn ang="0">
                <a:pos x="connsiteX53025" y="connsiteY53025"/>
              </a:cxn>
              <a:cxn ang="0">
                <a:pos x="connsiteX53026" y="connsiteY53026"/>
              </a:cxn>
              <a:cxn ang="0">
                <a:pos x="connsiteX53027" y="connsiteY53027"/>
              </a:cxn>
              <a:cxn ang="0">
                <a:pos x="connsiteX53028" y="connsiteY53028"/>
              </a:cxn>
              <a:cxn ang="0">
                <a:pos x="connsiteX53029" y="connsiteY53029"/>
              </a:cxn>
              <a:cxn ang="0">
                <a:pos x="connsiteX53030" y="connsiteY53030"/>
              </a:cxn>
              <a:cxn ang="0">
                <a:pos x="connsiteX53031" y="connsiteY53031"/>
              </a:cxn>
              <a:cxn ang="0">
                <a:pos x="connsiteX53032" y="connsiteY53032"/>
              </a:cxn>
              <a:cxn ang="0">
                <a:pos x="connsiteX53033" y="connsiteY53033"/>
              </a:cxn>
              <a:cxn ang="0">
                <a:pos x="connsiteX53034" y="connsiteY53034"/>
              </a:cxn>
              <a:cxn ang="0">
                <a:pos x="connsiteX53035" y="connsiteY53035"/>
              </a:cxn>
              <a:cxn ang="0">
                <a:pos x="connsiteX53036" y="connsiteY53036"/>
              </a:cxn>
              <a:cxn ang="0">
                <a:pos x="connsiteX53037" y="connsiteY53037"/>
              </a:cxn>
              <a:cxn ang="0">
                <a:pos x="connsiteX53038" y="connsiteY53038"/>
              </a:cxn>
              <a:cxn ang="0">
                <a:pos x="connsiteX53039" y="connsiteY53039"/>
              </a:cxn>
              <a:cxn ang="0">
                <a:pos x="connsiteX53040" y="connsiteY53040"/>
              </a:cxn>
              <a:cxn ang="0">
                <a:pos x="connsiteX53041" y="connsiteY53041"/>
              </a:cxn>
              <a:cxn ang="0">
                <a:pos x="connsiteX53042" y="connsiteY53042"/>
              </a:cxn>
              <a:cxn ang="0">
                <a:pos x="connsiteX53043" y="connsiteY53043"/>
              </a:cxn>
              <a:cxn ang="0">
                <a:pos x="connsiteX53044" y="connsiteY53044"/>
              </a:cxn>
              <a:cxn ang="0">
                <a:pos x="connsiteX53045" y="connsiteY53045"/>
              </a:cxn>
              <a:cxn ang="0">
                <a:pos x="connsiteX53046" y="connsiteY53046"/>
              </a:cxn>
              <a:cxn ang="0">
                <a:pos x="connsiteX53047" y="connsiteY53047"/>
              </a:cxn>
              <a:cxn ang="0">
                <a:pos x="connsiteX53048" y="connsiteY53048"/>
              </a:cxn>
              <a:cxn ang="0">
                <a:pos x="connsiteX53049" y="connsiteY53049"/>
              </a:cxn>
              <a:cxn ang="0">
                <a:pos x="connsiteX53050" y="connsiteY53050"/>
              </a:cxn>
              <a:cxn ang="0">
                <a:pos x="connsiteX53051" y="connsiteY53051"/>
              </a:cxn>
              <a:cxn ang="0">
                <a:pos x="connsiteX53052" y="connsiteY53052"/>
              </a:cxn>
              <a:cxn ang="0">
                <a:pos x="connsiteX53053" y="connsiteY53053"/>
              </a:cxn>
              <a:cxn ang="0">
                <a:pos x="connsiteX53054" y="connsiteY53054"/>
              </a:cxn>
              <a:cxn ang="0">
                <a:pos x="connsiteX53055" y="connsiteY53055"/>
              </a:cxn>
              <a:cxn ang="0">
                <a:pos x="connsiteX53056" y="connsiteY53056"/>
              </a:cxn>
              <a:cxn ang="0">
                <a:pos x="connsiteX53057" y="connsiteY53057"/>
              </a:cxn>
              <a:cxn ang="0">
                <a:pos x="connsiteX53058" y="connsiteY53058"/>
              </a:cxn>
              <a:cxn ang="0">
                <a:pos x="connsiteX53059" y="connsiteY53059"/>
              </a:cxn>
              <a:cxn ang="0">
                <a:pos x="connsiteX53060" y="connsiteY53060"/>
              </a:cxn>
              <a:cxn ang="0">
                <a:pos x="connsiteX53061" y="connsiteY53061"/>
              </a:cxn>
              <a:cxn ang="0">
                <a:pos x="connsiteX53062" y="connsiteY53062"/>
              </a:cxn>
              <a:cxn ang="0">
                <a:pos x="connsiteX53063" y="connsiteY53063"/>
              </a:cxn>
              <a:cxn ang="0">
                <a:pos x="connsiteX53064" y="connsiteY53064"/>
              </a:cxn>
              <a:cxn ang="0">
                <a:pos x="connsiteX53065" y="connsiteY53065"/>
              </a:cxn>
              <a:cxn ang="0">
                <a:pos x="connsiteX53066" y="connsiteY53066"/>
              </a:cxn>
              <a:cxn ang="0">
                <a:pos x="connsiteX53067" y="connsiteY53067"/>
              </a:cxn>
              <a:cxn ang="0">
                <a:pos x="connsiteX53068" y="connsiteY53068"/>
              </a:cxn>
              <a:cxn ang="0">
                <a:pos x="connsiteX53069" y="connsiteY53069"/>
              </a:cxn>
              <a:cxn ang="0">
                <a:pos x="connsiteX53070" y="connsiteY53070"/>
              </a:cxn>
              <a:cxn ang="0">
                <a:pos x="connsiteX53071" y="connsiteY53071"/>
              </a:cxn>
              <a:cxn ang="0">
                <a:pos x="connsiteX53072" y="connsiteY53072"/>
              </a:cxn>
              <a:cxn ang="0">
                <a:pos x="connsiteX53073" y="connsiteY53073"/>
              </a:cxn>
              <a:cxn ang="0">
                <a:pos x="connsiteX53074" y="connsiteY53074"/>
              </a:cxn>
              <a:cxn ang="0">
                <a:pos x="connsiteX53075" y="connsiteY53075"/>
              </a:cxn>
              <a:cxn ang="0">
                <a:pos x="connsiteX53076" y="connsiteY53076"/>
              </a:cxn>
              <a:cxn ang="0">
                <a:pos x="connsiteX53077" y="connsiteY53077"/>
              </a:cxn>
              <a:cxn ang="0">
                <a:pos x="connsiteX53078" y="connsiteY53078"/>
              </a:cxn>
              <a:cxn ang="0">
                <a:pos x="connsiteX53079" y="connsiteY53079"/>
              </a:cxn>
              <a:cxn ang="0">
                <a:pos x="connsiteX53080" y="connsiteY53080"/>
              </a:cxn>
              <a:cxn ang="0">
                <a:pos x="connsiteX53081" y="connsiteY53081"/>
              </a:cxn>
              <a:cxn ang="0">
                <a:pos x="connsiteX53082" y="connsiteY53082"/>
              </a:cxn>
              <a:cxn ang="0">
                <a:pos x="connsiteX53083" y="connsiteY53083"/>
              </a:cxn>
              <a:cxn ang="0">
                <a:pos x="connsiteX53084" y="connsiteY53084"/>
              </a:cxn>
              <a:cxn ang="0">
                <a:pos x="connsiteX53085" y="connsiteY53085"/>
              </a:cxn>
              <a:cxn ang="0">
                <a:pos x="connsiteX53086" y="connsiteY53086"/>
              </a:cxn>
              <a:cxn ang="0">
                <a:pos x="connsiteX53087" y="connsiteY53087"/>
              </a:cxn>
              <a:cxn ang="0">
                <a:pos x="connsiteX53088" y="connsiteY53088"/>
              </a:cxn>
              <a:cxn ang="0">
                <a:pos x="connsiteX53089" y="connsiteY53089"/>
              </a:cxn>
              <a:cxn ang="0">
                <a:pos x="connsiteX53090" y="connsiteY53090"/>
              </a:cxn>
              <a:cxn ang="0">
                <a:pos x="connsiteX53091" y="connsiteY53091"/>
              </a:cxn>
              <a:cxn ang="0">
                <a:pos x="connsiteX53092" y="connsiteY53092"/>
              </a:cxn>
              <a:cxn ang="0">
                <a:pos x="connsiteX53093" y="connsiteY53093"/>
              </a:cxn>
              <a:cxn ang="0">
                <a:pos x="connsiteX53094" y="connsiteY53094"/>
              </a:cxn>
              <a:cxn ang="0">
                <a:pos x="connsiteX53095" y="connsiteY53095"/>
              </a:cxn>
              <a:cxn ang="0">
                <a:pos x="connsiteX53096" y="connsiteY53096"/>
              </a:cxn>
              <a:cxn ang="0">
                <a:pos x="connsiteX53097" y="connsiteY53097"/>
              </a:cxn>
              <a:cxn ang="0">
                <a:pos x="connsiteX53098" y="connsiteY53098"/>
              </a:cxn>
              <a:cxn ang="0">
                <a:pos x="connsiteX53099" y="connsiteY53099"/>
              </a:cxn>
              <a:cxn ang="0">
                <a:pos x="connsiteX53100" y="connsiteY53100"/>
              </a:cxn>
              <a:cxn ang="0">
                <a:pos x="connsiteX53101" y="connsiteY53101"/>
              </a:cxn>
              <a:cxn ang="0">
                <a:pos x="connsiteX53102" y="connsiteY53102"/>
              </a:cxn>
              <a:cxn ang="0">
                <a:pos x="connsiteX53103" y="connsiteY53103"/>
              </a:cxn>
              <a:cxn ang="0">
                <a:pos x="connsiteX53104" y="connsiteY53104"/>
              </a:cxn>
              <a:cxn ang="0">
                <a:pos x="connsiteX53105" y="connsiteY53105"/>
              </a:cxn>
              <a:cxn ang="0">
                <a:pos x="connsiteX53106" y="connsiteY53106"/>
              </a:cxn>
              <a:cxn ang="0">
                <a:pos x="connsiteX53107" y="connsiteY53107"/>
              </a:cxn>
              <a:cxn ang="0">
                <a:pos x="connsiteX53108" y="connsiteY53108"/>
              </a:cxn>
              <a:cxn ang="0">
                <a:pos x="connsiteX53109" y="connsiteY53109"/>
              </a:cxn>
              <a:cxn ang="0">
                <a:pos x="connsiteX53110" y="connsiteY53110"/>
              </a:cxn>
              <a:cxn ang="0">
                <a:pos x="connsiteX53111" y="connsiteY53111"/>
              </a:cxn>
              <a:cxn ang="0">
                <a:pos x="connsiteX53112" y="connsiteY53112"/>
              </a:cxn>
              <a:cxn ang="0">
                <a:pos x="connsiteX53113" y="connsiteY53113"/>
              </a:cxn>
              <a:cxn ang="0">
                <a:pos x="connsiteX53114" y="connsiteY53114"/>
              </a:cxn>
              <a:cxn ang="0">
                <a:pos x="connsiteX53115" y="connsiteY53115"/>
              </a:cxn>
              <a:cxn ang="0">
                <a:pos x="connsiteX53116" y="connsiteY53116"/>
              </a:cxn>
              <a:cxn ang="0">
                <a:pos x="connsiteX53117" y="connsiteY53117"/>
              </a:cxn>
              <a:cxn ang="0">
                <a:pos x="connsiteX53118" y="connsiteY53118"/>
              </a:cxn>
              <a:cxn ang="0">
                <a:pos x="connsiteX53119" y="connsiteY53119"/>
              </a:cxn>
              <a:cxn ang="0">
                <a:pos x="connsiteX53120" y="connsiteY53120"/>
              </a:cxn>
              <a:cxn ang="0">
                <a:pos x="connsiteX53121" y="connsiteY53121"/>
              </a:cxn>
              <a:cxn ang="0">
                <a:pos x="connsiteX53122" y="connsiteY53122"/>
              </a:cxn>
              <a:cxn ang="0">
                <a:pos x="connsiteX53123" y="connsiteY53123"/>
              </a:cxn>
              <a:cxn ang="0">
                <a:pos x="connsiteX53124" y="connsiteY53124"/>
              </a:cxn>
              <a:cxn ang="0">
                <a:pos x="connsiteX53125" y="connsiteY53125"/>
              </a:cxn>
              <a:cxn ang="0">
                <a:pos x="connsiteX53126" y="connsiteY53126"/>
              </a:cxn>
              <a:cxn ang="0">
                <a:pos x="connsiteX53127" y="connsiteY53127"/>
              </a:cxn>
              <a:cxn ang="0">
                <a:pos x="connsiteX53128" y="connsiteY53128"/>
              </a:cxn>
              <a:cxn ang="0">
                <a:pos x="connsiteX53129" y="connsiteY53129"/>
              </a:cxn>
              <a:cxn ang="0">
                <a:pos x="connsiteX53130" y="connsiteY53130"/>
              </a:cxn>
              <a:cxn ang="0">
                <a:pos x="connsiteX53131" y="connsiteY53131"/>
              </a:cxn>
              <a:cxn ang="0">
                <a:pos x="connsiteX53132" y="connsiteY53132"/>
              </a:cxn>
              <a:cxn ang="0">
                <a:pos x="connsiteX53133" y="connsiteY53133"/>
              </a:cxn>
              <a:cxn ang="0">
                <a:pos x="connsiteX53134" y="connsiteY53134"/>
              </a:cxn>
              <a:cxn ang="0">
                <a:pos x="connsiteX53135" y="connsiteY53135"/>
              </a:cxn>
              <a:cxn ang="0">
                <a:pos x="connsiteX53136" y="connsiteY53136"/>
              </a:cxn>
              <a:cxn ang="0">
                <a:pos x="connsiteX53137" y="connsiteY53137"/>
              </a:cxn>
              <a:cxn ang="0">
                <a:pos x="connsiteX53138" y="connsiteY53138"/>
              </a:cxn>
              <a:cxn ang="0">
                <a:pos x="connsiteX53139" y="connsiteY53139"/>
              </a:cxn>
              <a:cxn ang="0">
                <a:pos x="connsiteX53140" y="connsiteY53140"/>
              </a:cxn>
              <a:cxn ang="0">
                <a:pos x="connsiteX53141" y="connsiteY53141"/>
              </a:cxn>
              <a:cxn ang="0">
                <a:pos x="connsiteX53142" y="connsiteY53142"/>
              </a:cxn>
              <a:cxn ang="0">
                <a:pos x="connsiteX53143" y="connsiteY53143"/>
              </a:cxn>
              <a:cxn ang="0">
                <a:pos x="connsiteX53144" y="connsiteY53144"/>
              </a:cxn>
              <a:cxn ang="0">
                <a:pos x="connsiteX53145" y="connsiteY53145"/>
              </a:cxn>
              <a:cxn ang="0">
                <a:pos x="connsiteX53146" y="connsiteY53146"/>
              </a:cxn>
              <a:cxn ang="0">
                <a:pos x="connsiteX53147" y="connsiteY53147"/>
              </a:cxn>
              <a:cxn ang="0">
                <a:pos x="connsiteX53148" y="connsiteY53148"/>
              </a:cxn>
              <a:cxn ang="0">
                <a:pos x="connsiteX53149" y="connsiteY53149"/>
              </a:cxn>
              <a:cxn ang="0">
                <a:pos x="connsiteX53150" y="connsiteY53150"/>
              </a:cxn>
              <a:cxn ang="0">
                <a:pos x="connsiteX53151" y="connsiteY53151"/>
              </a:cxn>
              <a:cxn ang="0">
                <a:pos x="connsiteX53152" y="connsiteY53152"/>
              </a:cxn>
              <a:cxn ang="0">
                <a:pos x="connsiteX53153" y="connsiteY53153"/>
              </a:cxn>
              <a:cxn ang="0">
                <a:pos x="connsiteX53154" y="connsiteY53154"/>
              </a:cxn>
              <a:cxn ang="0">
                <a:pos x="connsiteX53155" y="connsiteY53155"/>
              </a:cxn>
              <a:cxn ang="0">
                <a:pos x="connsiteX53156" y="connsiteY53156"/>
              </a:cxn>
              <a:cxn ang="0">
                <a:pos x="connsiteX53157" y="connsiteY53157"/>
              </a:cxn>
              <a:cxn ang="0">
                <a:pos x="connsiteX53158" y="connsiteY53158"/>
              </a:cxn>
              <a:cxn ang="0">
                <a:pos x="connsiteX53159" y="connsiteY53159"/>
              </a:cxn>
              <a:cxn ang="0">
                <a:pos x="connsiteX53160" y="connsiteY53160"/>
              </a:cxn>
              <a:cxn ang="0">
                <a:pos x="connsiteX53161" y="connsiteY53161"/>
              </a:cxn>
              <a:cxn ang="0">
                <a:pos x="connsiteX53162" y="connsiteY53162"/>
              </a:cxn>
              <a:cxn ang="0">
                <a:pos x="connsiteX53163" y="connsiteY53163"/>
              </a:cxn>
              <a:cxn ang="0">
                <a:pos x="connsiteX53164" y="connsiteY53164"/>
              </a:cxn>
              <a:cxn ang="0">
                <a:pos x="connsiteX53165" y="connsiteY53165"/>
              </a:cxn>
              <a:cxn ang="0">
                <a:pos x="connsiteX53166" y="connsiteY53166"/>
              </a:cxn>
              <a:cxn ang="0">
                <a:pos x="connsiteX53167" y="connsiteY53167"/>
              </a:cxn>
              <a:cxn ang="0">
                <a:pos x="connsiteX53168" y="connsiteY53168"/>
              </a:cxn>
              <a:cxn ang="0">
                <a:pos x="connsiteX53169" y="connsiteY53169"/>
              </a:cxn>
              <a:cxn ang="0">
                <a:pos x="connsiteX53170" y="connsiteY53170"/>
              </a:cxn>
              <a:cxn ang="0">
                <a:pos x="connsiteX53171" y="connsiteY53171"/>
              </a:cxn>
              <a:cxn ang="0">
                <a:pos x="connsiteX53172" y="connsiteY53172"/>
              </a:cxn>
              <a:cxn ang="0">
                <a:pos x="connsiteX53173" y="connsiteY53173"/>
              </a:cxn>
              <a:cxn ang="0">
                <a:pos x="connsiteX53174" y="connsiteY53174"/>
              </a:cxn>
              <a:cxn ang="0">
                <a:pos x="connsiteX53175" y="connsiteY53175"/>
              </a:cxn>
              <a:cxn ang="0">
                <a:pos x="connsiteX53176" y="connsiteY53176"/>
              </a:cxn>
              <a:cxn ang="0">
                <a:pos x="connsiteX53177" y="connsiteY53177"/>
              </a:cxn>
              <a:cxn ang="0">
                <a:pos x="connsiteX53178" y="connsiteY53178"/>
              </a:cxn>
              <a:cxn ang="0">
                <a:pos x="connsiteX53179" y="connsiteY53179"/>
              </a:cxn>
              <a:cxn ang="0">
                <a:pos x="connsiteX53180" y="connsiteY53180"/>
              </a:cxn>
              <a:cxn ang="0">
                <a:pos x="connsiteX53181" y="connsiteY53181"/>
              </a:cxn>
              <a:cxn ang="0">
                <a:pos x="connsiteX53182" y="connsiteY53182"/>
              </a:cxn>
              <a:cxn ang="0">
                <a:pos x="connsiteX53183" y="connsiteY53183"/>
              </a:cxn>
              <a:cxn ang="0">
                <a:pos x="connsiteX53184" y="connsiteY53184"/>
              </a:cxn>
              <a:cxn ang="0">
                <a:pos x="connsiteX53185" y="connsiteY53185"/>
              </a:cxn>
              <a:cxn ang="0">
                <a:pos x="connsiteX53186" y="connsiteY53186"/>
              </a:cxn>
              <a:cxn ang="0">
                <a:pos x="connsiteX53187" y="connsiteY53187"/>
              </a:cxn>
              <a:cxn ang="0">
                <a:pos x="connsiteX53188" y="connsiteY53188"/>
              </a:cxn>
              <a:cxn ang="0">
                <a:pos x="connsiteX53189" y="connsiteY53189"/>
              </a:cxn>
              <a:cxn ang="0">
                <a:pos x="connsiteX53190" y="connsiteY53190"/>
              </a:cxn>
              <a:cxn ang="0">
                <a:pos x="connsiteX53191" y="connsiteY53191"/>
              </a:cxn>
              <a:cxn ang="0">
                <a:pos x="connsiteX53192" y="connsiteY53192"/>
              </a:cxn>
              <a:cxn ang="0">
                <a:pos x="connsiteX53193" y="connsiteY53193"/>
              </a:cxn>
              <a:cxn ang="0">
                <a:pos x="connsiteX53194" y="connsiteY53194"/>
              </a:cxn>
              <a:cxn ang="0">
                <a:pos x="connsiteX53195" y="connsiteY53195"/>
              </a:cxn>
              <a:cxn ang="0">
                <a:pos x="connsiteX53196" y="connsiteY53196"/>
              </a:cxn>
              <a:cxn ang="0">
                <a:pos x="connsiteX53197" y="connsiteY53197"/>
              </a:cxn>
              <a:cxn ang="0">
                <a:pos x="connsiteX53198" y="connsiteY53198"/>
              </a:cxn>
              <a:cxn ang="0">
                <a:pos x="connsiteX53199" y="connsiteY53199"/>
              </a:cxn>
              <a:cxn ang="0">
                <a:pos x="connsiteX53200" y="connsiteY53200"/>
              </a:cxn>
              <a:cxn ang="0">
                <a:pos x="connsiteX53201" y="connsiteY53201"/>
              </a:cxn>
              <a:cxn ang="0">
                <a:pos x="connsiteX53202" y="connsiteY53202"/>
              </a:cxn>
              <a:cxn ang="0">
                <a:pos x="connsiteX53203" y="connsiteY53203"/>
              </a:cxn>
              <a:cxn ang="0">
                <a:pos x="connsiteX53204" y="connsiteY53204"/>
              </a:cxn>
              <a:cxn ang="0">
                <a:pos x="connsiteX53205" y="connsiteY53205"/>
              </a:cxn>
              <a:cxn ang="0">
                <a:pos x="connsiteX53206" y="connsiteY53206"/>
              </a:cxn>
              <a:cxn ang="0">
                <a:pos x="connsiteX53207" y="connsiteY53207"/>
              </a:cxn>
              <a:cxn ang="0">
                <a:pos x="connsiteX53208" y="connsiteY53208"/>
              </a:cxn>
              <a:cxn ang="0">
                <a:pos x="connsiteX53209" y="connsiteY53209"/>
              </a:cxn>
              <a:cxn ang="0">
                <a:pos x="connsiteX53210" y="connsiteY53210"/>
              </a:cxn>
              <a:cxn ang="0">
                <a:pos x="connsiteX53211" y="connsiteY53211"/>
              </a:cxn>
              <a:cxn ang="0">
                <a:pos x="connsiteX53212" y="connsiteY53212"/>
              </a:cxn>
              <a:cxn ang="0">
                <a:pos x="connsiteX53213" y="connsiteY53213"/>
              </a:cxn>
              <a:cxn ang="0">
                <a:pos x="connsiteX53214" y="connsiteY53214"/>
              </a:cxn>
              <a:cxn ang="0">
                <a:pos x="connsiteX53215" y="connsiteY53215"/>
              </a:cxn>
              <a:cxn ang="0">
                <a:pos x="connsiteX53216" y="connsiteY53216"/>
              </a:cxn>
              <a:cxn ang="0">
                <a:pos x="connsiteX53217" y="connsiteY53217"/>
              </a:cxn>
              <a:cxn ang="0">
                <a:pos x="connsiteX53218" y="connsiteY53218"/>
              </a:cxn>
              <a:cxn ang="0">
                <a:pos x="connsiteX53219" y="connsiteY53219"/>
              </a:cxn>
              <a:cxn ang="0">
                <a:pos x="connsiteX53220" y="connsiteY53220"/>
              </a:cxn>
              <a:cxn ang="0">
                <a:pos x="connsiteX53221" y="connsiteY53221"/>
              </a:cxn>
              <a:cxn ang="0">
                <a:pos x="connsiteX53222" y="connsiteY53222"/>
              </a:cxn>
              <a:cxn ang="0">
                <a:pos x="connsiteX53223" y="connsiteY53223"/>
              </a:cxn>
              <a:cxn ang="0">
                <a:pos x="connsiteX53224" y="connsiteY53224"/>
              </a:cxn>
              <a:cxn ang="0">
                <a:pos x="connsiteX53225" y="connsiteY53225"/>
              </a:cxn>
              <a:cxn ang="0">
                <a:pos x="connsiteX53226" y="connsiteY53226"/>
              </a:cxn>
              <a:cxn ang="0">
                <a:pos x="connsiteX53227" y="connsiteY53227"/>
              </a:cxn>
              <a:cxn ang="0">
                <a:pos x="connsiteX53228" y="connsiteY53228"/>
              </a:cxn>
              <a:cxn ang="0">
                <a:pos x="connsiteX53229" y="connsiteY53229"/>
              </a:cxn>
              <a:cxn ang="0">
                <a:pos x="connsiteX53230" y="connsiteY53230"/>
              </a:cxn>
              <a:cxn ang="0">
                <a:pos x="connsiteX53231" y="connsiteY53231"/>
              </a:cxn>
              <a:cxn ang="0">
                <a:pos x="connsiteX53232" y="connsiteY53232"/>
              </a:cxn>
              <a:cxn ang="0">
                <a:pos x="connsiteX53233" y="connsiteY53233"/>
              </a:cxn>
              <a:cxn ang="0">
                <a:pos x="connsiteX53234" y="connsiteY53234"/>
              </a:cxn>
              <a:cxn ang="0">
                <a:pos x="connsiteX53235" y="connsiteY53235"/>
              </a:cxn>
              <a:cxn ang="0">
                <a:pos x="connsiteX53236" y="connsiteY53236"/>
              </a:cxn>
              <a:cxn ang="0">
                <a:pos x="connsiteX53237" y="connsiteY53237"/>
              </a:cxn>
              <a:cxn ang="0">
                <a:pos x="connsiteX53238" y="connsiteY53238"/>
              </a:cxn>
              <a:cxn ang="0">
                <a:pos x="connsiteX53239" y="connsiteY53239"/>
              </a:cxn>
              <a:cxn ang="0">
                <a:pos x="connsiteX53240" y="connsiteY53240"/>
              </a:cxn>
              <a:cxn ang="0">
                <a:pos x="connsiteX53241" y="connsiteY53241"/>
              </a:cxn>
              <a:cxn ang="0">
                <a:pos x="connsiteX53242" y="connsiteY53242"/>
              </a:cxn>
              <a:cxn ang="0">
                <a:pos x="connsiteX53243" y="connsiteY53243"/>
              </a:cxn>
              <a:cxn ang="0">
                <a:pos x="connsiteX53244" y="connsiteY53244"/>
              </a:cxn>
              <a:cxn ang="0">
                <a:pos x="connsiteX53245" y="connsiteY53245"/>
              </a:cxn>
              <a:cxn ang="0">
                <a:pos x="connsiteX53246" y="connsiteY53246"/>
              </a:cxn>
              <a:cxn ang="0">
                <a:pos x="connsiteX53247" y="connsiteY53247"/>
              </a:cxn>
              <a:cxn ang="0">
                <a:pos x="connsiteX53248" y="connsiteY53248"/>
              </a:cxn>
              <a:cxn ang="0">
                <a:pos x="connsiteX53249" y="connsiteY53249"/>
              </a:cxn>
              <a:cxn ang="0">
                <a:pos x="connsiteX53250" y="connsiteY53250"/>
              </a:cxn>
              <a:cxn ang="0">
                <a:pos x="connsiteX53251" y="connsiteY53251"/>
              </a:cxn>
              <a:cxn ang="0">
                <a:pos x="connsiteX53252" y="connsiteY53252"/>
              </a:cxn>
              <a:cxn ang="0">
                <a:pos x="connsiteX53253" y="connsiteY53253"/>
              </a:cxn>
              <a:cxn ang="0">
                <a:pos x="connsiteX53254" y="connsiteY53254"/>
              </a:cxn>
              <a:cxn ang="0">
                <a:pos x="connsiteX53255" y="connsiteY53255"/>
              </a:cxn>
              <a:cxn ang="0">
                <a:pos x="connsiteX53256" y="connsiteY53256"/>
              </a:cxn>
              <a:cxn ang="0">
                <a:pos x="connsiteX53257" y="connsiteY53257"/>
              </a:cxn>
              <a:cxn ang="0">
                <a:pos x="connsiteX53258" y="connsiteY53258"/>
              </a:cxn>
              <a:cxn ang="0">
                <a:pos x="connsiteX53259" y="connsiteY53259"/>
              </a:cxn>
              <a:cxn ang="0">
                <a:pos x="connsiteX53260" y="connsiteY53260"/>
              </a:cxn>
              <a:cxn ang="0">
                <a:pos x="connsiteX53261" y="connsiteY53261"/>
              </a:cxn>
              <a:cxn ang="0">
                <a:pos x="connsiteX53262" y="connsiteY53262"/>
              </a:cxn>
              <a:cxn ang="0">
                <a:pos x="connsiteX53263" y="connsiteY53263"/>
              </a:cxn>
              <a:cxn ang="0">
                <a:pos x="connsiteX53264" y="connsiteY53264"/>
              </a:cxn>
              <a:cxn ang="0">
                <a:pos x="connsiteX53265" y="connsiteY53265"/>
              </a:cxn>
              <a:cxn ang="0">
                <a:pos x="connsiteX53266" y="connsiteY53266"/>
              </a:cxn>
              <a:cxn ang="0">
                <a:pos x="connsiteX53267" y="connsiteY53267"/>
              </a:cxn>
              <a:cxn ang="0">
                <a:pos x="connsiteX53268" y="connsiteY53268"/>
              </a:cxn>
              <a:cxn ang="0">
                <a:pos x="connsiteX53269" y="connsiteY53269"/>
              </a:cxn>
              <a:cxn ang="0">
                <a:pos x="connsiteX53270" y="connsiteY53270"/>
              </a:cxn>
              <a:cxn ang="0">
                <a:pos x="connsiteX53271" y="connsiteY53271"/>
              </a:cxn>
              <a:cxn ang="0">
                <a:pos x="connsiteX53272" y="connsiteY53272"/>
              </a:cxn>
              <a:cxn ang="0">
                <a:pos x="connsiteX53273" y="connsiteY53273"/>
              </a:cxn>
              <a:cxn ang="0">
                <a:pos x="connsiteX53274" y="connsiteY53274"/>
              </a:cxn>
              <a:cxn ang="0">
                <a:pos x="connsiteX53275" y="connsiteY53275"/>
              </a:cxn>
              <a:cxn ang="0">
                <a:pos x="connsiteX53276" y="connsiteY53276"/>
              </a:cxn>
              <a:cxn ang="0">
                <a:pos x="connsiteX53277" y="connsiteY53277"/>
              </a:cxn>
              <a:cxn ang="0">
                <a:pos x="connsiteX53278" y="connsiteY53278"/>
              </a:cxn>
              <a:cxn ang="0">
                <a:pos x="connsiteX53279" y="connsiteY53279"/>
              </a:cxn>
              <a:cxn ang="0">
                <a:pos x="connsiteX53280" y="connsiteY53280"/>
              </a:cxn>
              <a:cxn ang="0">
                <a:pos x="connsiteX53281" y="connsiteY53281"/>
              </a:cxn>
              <a:cxn ang="0">
                <a:pos x="connsiteX53282" y="connsiteY53282"/>
              </a:cxn>
              <a:cxn ang="0">
                <a:pos x="connsiteX53283" y="connsiteY53283"/>
              </a:cxn>
              <a:cxn ang="0">
                <a:pos x="connsiteX53284" y="connsiteY53284"/>
              </a:cxn>
              <a:cxn ang="0">
                <a:pos x="connsiteX53285" y="connsiteY53285"/>
              </a:cxn>
              <a:cxn ang="0">
                <a:pos x="connsiteX53286" y="connsiteY53286"/>
              </a:cxn>
              <a:cxn ang="0">
                <a:pos x="connsiteX53287" y="connsiteY53287"/>
              </a:cxn>
              <a:cxn ang="0">
                <a:pos x="connsiteX53288" y="connsiteY53288"/>
              </a:cxn>
              <a:cxn ang="0">
                <a:pos x="connsiteX53289" y="connsiteY53289"/>
              </a:cxn>
              <a:cxn ang="0">
                <a:pos x="connsiteX53290" y="connsiteY53290"/>
              </a:cxn>
              <a:cxn ang="0">
                <a:pos x="connsiteX53291" y="connsiteY53291"/>
              </a:cxn>
              <a:cxn ang="0">
                <a:pos x="connsiteX53292" y="connsiteY53292"/>
              </a:cxn>
              <a:cxn ang="0">
                <a:pos x="connsiteX53293" y="connsiteY53293"/>
              </a:cxn>
              <a:cxn ang="0">
                <a:pos x="connsiteX53294" y="connsiteY53294"/>
              </a:cxn>
              <a:cxn ang="0">
                <a:pos x="connsiteX53295" y="connsiteY53295"/>
              </a:cxn>
              <a:cxn ang="0">
                <a:pos x="connsiteX53296" y="connsiteY53296"/>
              </a:cxn>
              <a:cxn ang="0">
                <a:pos x="connsiteX53297" y="connsiteY53297"/>
              </a:cxn>
              <a:cxn ang="0">
                <a:pos x="connsiteX53298" y="connsiteY53298"/>
              </a:cxn>
              <a:cxn ang="0">
                <a:pos x="connsiteX53299" y="connsiteY53299"/>
              </a:cxn>
              <a:cxn ang="0">
                <a:pos x="connsiteX53300" y="connsiteY53300"/>
              </a:cxn>
              <a:cxn ang="0">
                <a:pos x="connsiteX53301" y="connsiteY53301"/>
              </a:cxn>
              <a:cxn ang="0">
                <a:pos x="connsiteX53302" y="connsiteY53302"/>
              </a:cxn>
              <a:cxn ang="0">
                <a:pos x="connsiteX53303" y="connsiteY53303"/>
              </a:cxn>
              <a:cxn ang="0">
                <a:pos x="connsiteX53304" y="connsiteY53304"/>
              </a:cxn>
              <a:cxn ang="0">
                <a:pos x="connsiteX53305" y="connsiteY53305"/>
              </a:cxn>
              <a:cxn ang="0">
                <a:pos x="connsiteX53306" y="connsiteY53306"/>
              </a:cxn>
              <a:cxn ang="0">
                <a:pos x="connsiteX53307" y="connsiteY53307"/>
              </a:cxn>
              <a:cxn ang="0">
                <a:pos x="connsiteX53308" y="connsiteY53308"/>
              </a:cxn>
              <a:cxn ang="0">
                <a:pos x="connsiteX53309" y="connsiteY53309"/>
              </a:cxn>
              <a:cxn ang="0">
                <a:pos x="connsiteX53310" y="connsiteY53310"/>
              </a:cxn>
              <a:cxn ang="0">
                <a:pos x="connsiteX53311" y="connsiteY53311"/>
              </a:cxn>
              <a:cxn ang="0">
                <a:pos x="connsiteX53312" y="connsiteY53312"/>
              </a:cxn>
              <a:cxn ang="0">
                <a:pos x="connsiteX53313" y="connsiteY53313"/>
              </a:cxn>
              <a:cxn ang="0">
                <a:pos x="connsiteX53314" y="connsiteY53314"/>
              </a:cxn>
              <a:cxn ang="0">
                <a:pos x="connsiteX53315" y="connsiteY53315"/>
              </a:cxn>
              <a:cxn ang="0">
                <a:pos x="connsiteX53316" y="connsiteY53316"/>
              </a:cxn>
              <a:cxn ang="0">
                <a:pos x="connsiteX53317" y="connsiteY53317"/>
              </a:cxn>
              <a:cxn ang="0">
                <a:pos x="connsiteX53318" y="connsiteY53318"/>
              </a:cxn>
              <a:cxn ang="0">
                <a:pos x="connsiteX53319" y="connsiteY53319"/>
              </a:cxn>
              <a:cxn ang="0">
                <a:pos x="connsiteX53320" y="connsiteY53320"/>
              </a:cxn>
              <a:cxn ang="0">
                <a:pos x="connsiteX53321" y="connsiteY53321"/>
              </a:cxn>
              <a:cxn ang="0">
                <a:pos x="connsiteX53322" y="connsiteY53322"/>
              </a:cxn>
              <a:cxn ang="0">
                <a:pos x="connsiteX53323" y="connsiteY53323"/>
              </a:cxn>
              <a:cxn ang="0">
                <a:pos x="connsiteX53324" y="connsiteY53324"/>
              </a:cxn>
              <a:cxn ang="0">
                <a:pos x="connsiteX53325" y="connsiteY53325"/>
              </a:cxn>
              <a:cxn ang="0">
                <a:pos x="connsiteX53326" y="connsiteY53326"/>
              </a:cxn>
              <a:cxn ang="0">
                <a:pos x="connsiteX53327" y="connsiteY53327"/>
              </a:cxn>
              <a:cxn ang="0">
                <a:pos x="connsiteX53328" y="connsiteY53328"/>
              </a:cxn>
              <a:cxn ang="0">
                <a:pos x="connsiteX53329" y="connsiteY53329"/>
              </a:cxn>
              <a:cxn ang="0">
                <a:pos x="connsiteX53330" y="connsiteY53330"/>
              </a:cxn>
              <a:cxn ang="0">
                <a:pos x="connsiteX53331" y="connsiteY53331"/>
              </a:cxn>
              <a:cxn ang="0">
                <a:pos x="connsiteX53332" y="connsiteY53332"/>
              </a:cxn>
              <a:cxn ang="0">
                <a:pos x="connsiteX53333" y="connsiteY53333"/>
              </a:cxn>
              <a:cxn ang="0">
                <a:pos x="connsiteX53334" y="connsiteY53334"/>
              </a:cxn>
              <a:cxn ang="0">
                <a:pos x="connsiteX53335" y="connsiteY53335"/>
              </a:cxn>
              <a:cxn ang="0">
                <a:pos x="connsiteX53336" y="connsiteY53336"/>
              </a:cxn>
              <a:cxn ang="0">
                <a:pos x="connsiteX53337" y="connsiteY53337"/>
              </a:cxn>
              <a:cxn ang="0">
                <a:pos x="connsiteX53338" y="connsiteY53338"/>
              </a:cxn>
              <a:cxn ang="0">
                <a:pos x="connsiteX53339" y="connsiteY53339"/>
              </a:cxn>
              <a:cxn ang="0">
                <a:pos x="connsiteX53340" y="connsiteY53340"/>
              </a:cxn>
              <a:cxn ang="0">
                <a:pos x="connsiteX53341" y="connsiteY53341"/>
              </a:cxn>
              <a:cxn ang="0">
                <a:pos x="connsiteX53342" y="connsiteY53342"/>
              </a:cxn>
              <a:cxn ang="0">
                <a:pos x="connsiteX53343" y="connsiteY53343"/>
              </a:cxn>
              <a:cxn ang="0">
                <a:pos x="connsiteX53344" y="connsiteY53344"/>
              </a:cxn>
              <a:cxn ang="0">
                <a:pos x="connsiteX53345" y="connsiteY53345"/>
              </a:cxn>
              <a:cxn ang="0">
                <a:pos x="connsiteX53346" y="connsiteY53346"/>
              </a:cxn>
              <a:cxn ang="0">
                <a:pos x="connsiteX53347" y="connsiteY53347"/>
              </a:cxn>
              <a:cxn ang="0">
                <a:pos x="connsiteX53348" y="connsiteY53348"/>
              </a:cxn>
              <a:cxn ang="0">
                <a:pos x="connsiteX53349" y="connsiteY53349"/>
              </a:cxn>
              <a:cxn ang="0">
                <a:pos x="connsiteX53350" y="connsiteY53350"/>
              </a:cxn>
              <a:cxn ang="0">
                <a:pos x="connsiteX53351" y="connsiteY53351"/>
              </a:cxn>
              <a:cxn ang="0">
                <a:pos x="connsiteX53352" y="connsiteY53352"/>
              </a:cxn>
              <a:cxn ang="0">
                <a:pos x="connsiteX53353" y="connsiteY53353"/>
              </a:cxn>
              <a:cxn ang="0">
                <a:pos x="connsiteX53354" y="connsiteY53354"/>
              </a:cxn>
              <a:cxn ang="0">
                <a:pos x="connsiteX53355" y="connsiteY53355"/>
              </a:cxn>
              <a:cxn ang="0">
                <a:pos x="connsiteX53356" y="connsiteY53356"/>
              </a:cxn>
              <a:cxn ang="0">
                <a:pos x="connsiteX53357" y="connsiteY53357"/>
              </a:cxn>
              <a:cxn ang="0">
                <a:pos x="connsiteX53358" y="connsiteY53358"/>
              </a:cxn>
              <a:cxn ang="0">
                <a:pos x="connsiteX53359" y="connsiteY53359"/>
              </a:cxn>
              <a:cxn ang="0">
                <a:pos x="connsiteX53360" y="connsiteY53360"/>
              </a:cxn>
              <a:cxn ang="0">
                <a:pos x="connsiteX53361" y="connsiteY53361"/>
              </a:cxn>
              <a:cxn ang="0">
                <a:pos x="connsiteX53362" y="connsiteY53362"/>
              </a:cxn>
              <a:cxn ang="0">
                <a:pos x="connsiteX53363" y="connsiteY53363"/>
              </a:cxn>
              <a:cxn ang="0">
                <a:pos x="connsiteX53364" y="connsiteY53364"/>
              </a:cxn>
              <a:cxn ang="0">
                <a:pos x="connsiteX53365" y="connsiteY53365"/>
              </a:cxn>
              <a:cxn ang="0">
                <a:pos x="connsiteX53366" y="connsiteY53366"/>
              </a:cxn>
              <a:cxn ang="0">
                <a:pos x="connsiteX53367" y="connsiteY53367"/>
              </a:cxn>
              <a:cxn ang="0">
                <a:pos x="connsiteX53368" y="connsiteY53368"/>
              </a:cxn>
              <a:cxn ang="0">
                <a:pos x="connsiteX53369" y="connsiteY53369"/>
              </a:cxn>
              <a:cxn ang="0">
                <a:pos x="connsiteX53370" y="connsiteY53370"/>
              </a:cxn>
              <a:cxn ang="0">
                <a:pos x="connsiteX53371" y="connsiteY53371"/>
              </a:cxn>
              <a:cxn ang="0">
                <a:pos x="connsiteX53372" y="connsiteY53372"/>
              </a:cxn>
              <a:cxn ang="0">
                <a:pos x="connsiteX53373" y="connsiteY53373"/>
              </a:cxn>
              <a:cxn ang="0">
                <a:pos x="connsiteX53374" y="connsiteY53374"/>
              </a:cxn>
              <a:cxn ang="0">
                <a:pos x="connsiteX53375" y="connsiteY53375"/>
              </a:cxn>
              <a:cxn ang="0">
                <a:pos x="connsiteX53376" y="connsiteY53376"/>
              </a:cxn>
              <a:cxn ang="0">
                <a:pos x="connsiteX53377" y="connsiteY53377"/>
              </a:cxn>
              <a:cxn ang="0">
                <a:pos x="connsiteX53378" y="connsiteY53378"/>
              </a:cxn>
              <a:cxn ang="0">
                <a:pos x="connsiteX53379" y="connsiteY53379"/>
              </a:cxn>
              <a:cxn ang="0">
                <a:pos x="connsiteX53380" y="connsiteY53380"/>
              </a:cxn>
              <a:cxn ang="0">
                <a:pos x="connsiteX53381" y="connsiteY53381"/>
              </a:cxn>
              <a:cxn ang="0">
                <a:pos x="connsiteX53382" y="connsiteY53382"/>
              </a:cxn>
              <a:cxn ang="0">
                <a:pos x="connsiteX53383" y="connsiteY53383"/>
              </a:cxn>
              <a:cxn ang="0">
                <a:pos x="connsiteX53384" y="connsiteY53384"/>
              </a:cxn>
              <a:cxn ang="0">
                <a:pos x="connsiteX53385" y="connsiteY53385"/>
              </a:cxn>
              <a:cxn ang="0">
                <a:pos x="connsiteX53386" y="connsiteY53386"/>
              </a:cxn>
              <a:cxn ang="0">
                <a:pos x="connsiteX53387" y="connsiteY53387"/>
              </a:cxn>
              <a:cxn ang="0">
                <a:pos x="connsiteX53388" y="connsiteY53388"/>
              </a:cxn>
              <a:cxn ang="0">
                <a:pos x="connsiteX53389" y="connsiteY53389"/>
              </a:cxn>
              <a:cxn ang="0">
                <a:pos x="connsiteX53390" y="connsiteY53390"/>
              </a:cxn>
              <a:cxn ang="0">
                <a:pos x="connsiteX53391" y="connsiteY53391"/>
              </a:cxn>
              <a:cxn ang="0">
                <a:pos x="connsiteX53392" y="connsiteY53392"/>
              </a:cxn>
              <a:cxn ang="0">
                <a:pos x="connsiteX53393" y="connsiteY53393"/>
              </a:cxn>
              <a:cxn ang="0">
                <a:pos x="connsiteX53394" y="connsiteY53394"/>
              </a:cxn>
              <a:cxn ang="0">
                <a:pos x="connsiteX53395" y="connsiteY53395"/>
              </a:cxn>
              <a:cxn ang="0">
                <a:pos x="connsiteX53396" y="connsiteY53396"/>
              </a:cxn>
              <a:cxn ang="0">
                <a:pos x="connsiteX53397" y="connsiteY53397"/>
              </a:cxn>
              <a:cxn ang="0">
                <a:pos x="connsiteX53398" y="connsiteY53398"/>
              </a:cxn>
              <a:cxn ang="0">
                <a:pos x="connsiteX53399" y="connsiteY53399"/>
              </a:cxn>
              <a:cxn ang="0">
                <a:pos x="connsiteX53400" y="connsiteY53400"/>
              </a:cxn>
              <a:cxn ang="0">
                <a:pos x="connsiteX53401" y="connsiteY53401"/>
              </a:cxn>
              <a:cxn ang="0">
                <a:pos x="connsiteX53402" y="connsiteY53402"/>
              </a:cxn>
              <a:cxn ang="0">
                <a:pos x="connsiteX53403" y="connsiteY53403"/>
              </a:cxn>
              <a:cxn ang="0">
                <a:pos x="connsiteX53404" y="connsiteY53404"/>
              </a:cxn>
              <a:cxn ang="0">
                <a:pos x="connsiteX53405" y="connsiteY53405"/>
              </a:cxn>
              <a:cxn ang="0">
                <a:pos x="connsiteX53406" y="connsiteY53406"/>
              </a:cxn>
              <a:cxn ang="0">
                <a:pos x="connsiteX53407" y="connsiteY53407"/>
              </a:cxn>
              <a:cxn ang="0">
                <a:pos x="connsiteX53408" y="connsiteY53408"/>
              </a:cxn>
              <a:cxn ang="0">
                <a:pos x="connsiteX53409" y="connsiteY53409"/>
              </a:cxn>
              <a:cxn ang="0">
                <a:pos x="connsiteX53410" y="connsiteY53410"/>
              </a:cxn>
              <a:cxn ang="0">
                <a:pos x="connsiteX53411" y="connsiteY53411"/>
              </a:cxn>
              <a:cxn ang="0">
                <a:pos x="connsiteX53412" y="connsiteY53412"/>
              </a:cxn>
              <a:cxn ang="0">
                <a:pos x="connsiteX53413" y="connsiteY53413"/>
              </a:cxn>
              <a:cxn ang="0">
                <a:pos x="connsiteX53414" y="connsiteY53414"/>
              </a:cxn>
              <a:cxn ang="0">
                <a:pos x="connsiteX53415" y="connsiteY53415"/>
              </a:cxn>
              <a:cxn ang="0">
                <a:pos x="connsiteX53416" y="connsiteY53416"/>
              </a:cxn>
              <a:cxn ang="0">
                <a:pos x="connsiteX53417" y="connsiteY53417"/>
              </a:cxn>
              <a:cxn ang="0">
                <a:pos x="connsiteX53418" y="connsiteY53418"/>
              </a:cxn>
              <a:cxn ang="0">
                <a:pos x="connsiteX53419" y="connsiteY53419"/>
              </a:cxn>
              <a:cxn ang="0">
                <a:pos x="connsiteX53420" y="connsiteY53420"/>
              </a:cxn>
              <a:cxn ang="0">
                <a:pos x="connsiteX53421" y="connsiteY53421"/>
              </a:cxn>
              <a:cxn ang="0">
                <a:pos x="connsiteX53422" y="connsiteY53422"/>
              </a:cxn>
              <a:cxn ang="0">
                <a:pos x="connsiteX53423" y="connsiteY53423"/>
              </a:cxn>
              <a:cxn ang="0">
                <a:pos x="connsiteX53424" y="connsiteY53424"/>
              </a:cxn>
              <a:cxn ang="0">
                <a:pos x="connsiteX53425" y="connsiteY53425"/>
              </a:cxn>
              <a:cxn ang="0">
                <a:pos x="connsiteX53426" y="connsiteY53426"/>
              </a:cxn>
              <a:cxn ang="0">
                <a:pos x="connsiteX53427" y="connsiteY53427"/>
              </a:cxn>
              <a:cxn ang="0">
                <a:pos x="connsiteX53428" y="connsiteY53428"/>
              </a:cxn>
              <a:cxn ang="0">
                <a:pos x="connsiteX53429" y="connsiteY53429"/>
              </a:cxn>
              <a:cxn ang="0">
                <a:pos x="connsiteX53430" y="connsiteY53430"/>
              </a:cxn>
              <a:cxn ang="0">
                <a:pos x="connsiteX53431" y="connsiteY53431"/>
              </a:cxn>
              <a:cxn ang="0">
                <a:pos x="connsiteX53432" y="connsiteY53432"/>
              </a:cxn>
              <a:cxn ang="0">
                <a:pos x="connsiteX53433" y="connsiteY53433"/>
              </a:cxn>
              <a:cxn ang="0">
                <a:pos x="connsiteX53434" y="connsiteY53434"/>
              </a:cxn>
              <a:cxn ang="0">
                <a:pos x="connsiteX53435" y="connsiteY53435"/>
              </a:cxn>
              <a:cxn ang="0">
                <a:pos x="connsiteX53436" y="connsiteY53436"/>
              </a:cxn>
              <a:cxn ang="0">
                <a:pos x="connsiteX53437" y="connsiteY53437"/>
              </a:cxn>
              <a:cxn ang="0">
                <a:pos x="connsiteX53438" y="connsiteY53438"/>
              </a:cxn>
              <a:cxn ang="0">
                <a:pos x="connsiteX53439" y="connsiteY53439"/>
              </a:cxn>
              <a:cxn ang="0">
                <a:pos x="connsiteX53440" y="connsiteY53440"/>
              </a:cxn>
              <a:cxn ang="0">
                <a:pos x="connsiteX53441" y="connsiteY53441"/>
              </a:cxn>
              <a:cxn ang="0">
                <a:pos x="connsiteX53442" y="connsiteY53442"/>
              </a:cxn>
              <a:cxn ang="0">
                <a:pos x="connsiteX53443" y="connsiteY53443"/>
              </a:cxn>
              <a:cxn ang="0">
                <a:pos x="connsiteX53444" y="connsiteY53444"/>
              </a:cxn>
              <a:cxn ang="0">
                <a:pos x="connsiteX53445" y="connsiteY53445"/>
              </a:cxn>
              <a:cxn ang="0">
                <a:pos x="connsiteX53446" y="connsiteY53446"/>
              </a:cxn>
              <a:cxn ang="0">
                <a:pos x="connsiteX53447" y="connsiteY53447"/>
              </a:cxn>
              <a:cxn ang="0">
                <a:pos x="connsiteX53448" y="connsiteY53448"/>
              </a:cxn>
              <a:cxn ang="0">
                <a:pos x="connsiteX53449" y="connsiteY53449"/>
              </a:cxn>
              <a:cxn ang="0">
                <a:pos x="connsiteX53450" y="connsiteY53450"/>
              </a:cxn>
              <a:cxn ang="0">
                <a:pos x="connsiteX53451" y="connsiteY53451"/>
              </a:cxn>
              <a:cxn ang="0">
                <a:pos x="connsiteX53452" y="connsiteY53452"/>
              </a:cxn>
              <a:cxn ang="0">
                <a:pos x="connsiteX53453" y="connsiteY53453"/>
              </a:cxn>
              <a:cxn ang="0">
                <a:pos x="connsiteX53454" y="connsiteY53454"/>
              </a:cxn>
              <a:cxn ang="0">
                <a:pos x="connsiteX53455" y="connsiteY53455"/>
              </a:cxn>
              <a:cxn ang="0">
                <a:pos x="connsiteX53456" y="connsiteY53456"/>
              </a:cxn>
              <a:cxn ang="0">
                <a:pos x="connsiteX53457" y="connsiteY53457"/>
              </a:cxn>
              <a:cxn ang="0">
                <a:pos x="connsiteX53458" y="connsiteY53458"/>
              </a:cxn>
              <a:cxn ang="0">
                <a:pos x="connsiteX53459" y="connsiteY53459"/>
              </a:cxn>
              <a:cxn ang="0">
                <a:pos x="connsiteX53460" y="connsiteY53460"/>
              </a:cxn>
              <a:cxn ang="0">
                <a:pos x="connsiteX53461" y="connsiteY53461"/>
              </a:cxn>
              <a:cxn ang="0">
                <a:pos x="connsiteX53462" y="connsiteY53462"/>
              </a:cxn>
              <a:cxn ang="0">
                <a:pos x="connsiteX53463" y="connsiteY53463"/>
              </a:cxn>
              <a:cxn ang="0">
                <a:pos x="connsiteX53464" y="connsiteY53464"/>
              </a:cxn>
              <a:cxn ang="0">
                <a:pos x="connsiteX53465" y="connsiteY53465"/>
              </a:cxn>
              <a:cxn ang="0">
                <a:pos x="connsiteX53466" y="connsiteY53466"/>
              </a:cxn>
              <a:cxn ang="0">
                <a:pos x="connsiteX53467" y="connsiteY53467"/>
              </a:cxn>
              <a:cxn ang="0">
                <a:pos x="connsiteX53468" y="connsiteY53468"/>
              </a:cxn>
              <a:cxn ang="0">
                <a:pos x="connsiteX53469" y="connsiteY53469"/>
              </a:cxn>
              <a:cxn ang="0">
                <a:pos x="connsiteX53470" y="connsiteY53470"/>
              </a:cxn>
              <a:cxn ang="0">
                <a:pos x="connsiteX53471" y="connsiteY53471"/>
              </a:cxn>
              <a:cxn ang="0">
                <a:pos x="connsiteX53472" y="connsiteY53472"/>
              </a:cxn>
              <a:cxn ang="0">
                <a:pos x="connsiteX53473" y="connsiteY53473"/>
              </a:cxn>
              <a:cxn ang="0">
                <a:pos x="connsiteX53474" y="connsiteY53474"/>
              </a:cxn>
              <a:cxn ang="0">
                <a:pos x="connsiteX53475" y="connsiteY53475"/>
              </a:cxn>
              <a:cxn ang="0">
                <a:pos x="connsiteX53476" y="connsiteY53476"/>
              </a:cxn>
              <a:cxn ang="0">
                <a:pos x="connsiteX53477" y="connsiteY53477"/>
              </a:cxn>
              <a:cxn ang="0">
                <a:pos x="connsiteX53478" y="connsiteY53478"/>
              </a:cxn>
              <a:cxn ang="0">
                <a:pos x="connsiteX53479" y="connsiteY53479"/>
              </a:cxn>
              <a:cxn ang="0">
                <a:pos x="connsiteX53480" y="connsiteY53480"/>
              </a:cxn>
              <a:cxn ang="0">
                <a:pos x="connsiteX53481" y="connsiteY53481"/>
              </a:cxn>
              <a:cxn ang="0">
                <a:pos x="connsiteX53482" y="connsiteY53482"/>
              </a:cxn>
              <a:cxn ang="0">
                <a:pos x="connsiteX53483" y="connsiteY53483"/>
              </a:cxn>
              <a:cxn ang="0">
                <a:pos x="connsiteX53484" y="connsiteY53484"/>
              </a:cxn>
              <a:cxn ang="0">
                <a:pos x="connsiteX53485" y="connsiteY53485"/>
              </a:cxn>
              <a:cxn ang="0">
                <a:pos x="connsiteX53486" y="connsiteY53486"/>
              </a:cxn>
              <a:cxn ang="0">
                <a:pos x="connsiteX53487" y="connsiteY53487"/>
              </a:cxn>
              <a:cxn ang="0">
                <a:pos x="connsiteX53488" y="connsiteY53488"/>
              </a:cxn>
              <a:cxn ang="0">
                <a:pos x="connsiteX53489" y="connsiteY53489"/>
              </a:cxn>
              <a:cxn ang="0">
                <a:pos x="connsiteX53490" y="connsiteY53490"/>
              </a:cxn>
              <a:cxn ang="0">
                <a:pos x="connsiteX53491" y="connsiteY53491"/>
              </a:cxn>
              <a:cxn ang="0">
                <a:pos x="connsiteX53492" y="connsiteY53492"/>
              </a:cxn>
              <a:cxn ang="0">
                <a:pos x="connsiteX53493" y="connsiteY53493"/>
              </a:cxn>
              <a:cxn ang="0">
                <a:pos x="connsiteX53494" y="connsiteY53494"/>
              </a:cxn>
              <a:cxn ang="0">
                <a:pos x="connsiteX53495" y="connsiteY53495"/>
              </a:cxn>
              <a:cxn ang="0">
                <a:pos x="connsiteX53496" y="connsiteY53496"/>
              </a:cxn>
              <a:cxn ang="0">
                <a:pos x="connsiteX53497" y="connsiteY53497"/>
              </a:cxn>
              <a:cxn ang="0">
                <a:pos x="connsiteX53498" y="connsiteY53498"/>
              </a:cxn>
              <a:cxn ang="0">
                <a:pos x="connsiteX53499" y="connsiteY53499"/>
              </a:cxn>
              <a:cxn ang="0">
                <a:pos x="connsiteX53500" y="connsiteY53500"/>
              </a:cxn>
              <a:cxn ang="0">
                <a:pos x="connsiteX53501" y="connsiteY53501"/>
              </a:cxn>
              <a:cxn ang="0">
                <a:pos x="connsiteX53502" y="connsiteY53502"/>
              </a:cxn>
              <a:cxn ang="0">
                <a:pos x="connsiteX53503" y="connsiteY53503"/>
              </a:cxn>
              <a:cxn ang="0">
                <a:pos x="connsiteX53504" y="connsiteY53504"/>
              </a:cxn>
              <a:cxn ang="0">
                <a:pos x="connsiteX53505" y="connsiteY53505"/>
              </a:cxn>
              <a:cxn ang="0">
                <a:pos x="connsiteX53506" y="connsiteY53506"/>
              </a:cxn>
              <a:cxn ang="0">
                <a:pos x="connsiteX53507" y="connsiteY53507"/>
              </a:cxn>
              <a:cxn ang="0">
                <a:pos x="connsiteX53508" y="connsiteY53508"/>
              </a:cxn>
              <a:cxn ang="0">
                <a:pos x="connsiteX53509" y="connsiteY53509"/>
              </a:cxn>
              <a:cxn ang="0">
                <a:pos x="connsiteX53510" y="connsiteY53510"/>
              </a:cxn>
              <a:cxn ang="0">
                <a:pos x="connsiteX53511" y="connsiteY53511"/>
              </a:cxn>
              <a:cxn ang="0">
                <a:pos x="connsiteX53512" y="connsiteY53512"/>
              </a:cxn>
              <a:cxn ang="0">
                <a:pos x="connsiteX53513" y="connsiteY53513"/>
              </a:cxn>
              <a:cxn ang="0">
                <a:pos x="connsiteX53514" y="connsiteY53514"/>
              </a:cxn>
              <a:cxn ang="0">
                <a:pos x="connsiteX53515" y="connsiteY53515"/>
              </a:cxn>
              <a:cxn ang="0">
                <a:pos x="connsiteX53516" y="connsiteY53516"/>
              </a:cxn>
              <a:cxn ang="0">
                <a:pos x="connsiteX53517" y="connsiteY53517"/>
              </a:cxn>
              <a:cxn ang="0">
                <a:pos x="connsiteX53518" y="connsiteY53518"/>
              </a:cxn>
              <a:cxn ang="0">
                <a:pos x="connsiteX53519" y="connsiteY53519"/>
              </a:cxn>
              <a:cxn ang="0">
                <a:pos x="connsiteX53520" y="connsiteY53520"/>
              </a:cxn>
              <a:cxn ang="0">
                <a:pos x="connsiteX53521" y="connsiteY53521"/>
              </a:cxn>
              <a:cxn ang="0">
                <a:pos x="connsiteX53522" y="connsiteY53522"/>
              </a:cxn>
              <a:cxn ang="0">
                <a:pos x="connsiteX53523" y="connsiteY53523"/>
              </a:cxn>
              <a:cxn ang="0">
                <a:pos x="connsiteX53524" y="connsiteY53524"/>
              </a:cxn>
              <a:cxn ang="0">
                <a:pos x="connsiteX53525" y="connsiteY53525"/>
              </a:cxn>
              <a:cxn ang="0">
                <a:pos x="connsiteX53526" y="connsiteY53526"/>
              </a:cxn>
              <a:cxn ang="0">
                <a:pos x="connsiteX53527" y="connsiteY53527"/>
              </a:cxn>
              <a:cxn ang="0">
                <a:pos x="connsiteX53528" y="connsiteY53528"/>
              </a:cxn>
              <a:cxn ang="0">
                <a:pos x="connsiteX53529" y="connsiteY53529"/>
              </a:cxn>
              <a:cxn ang="0">
                <a:pos x="connsiteX53530" y="connsiteY53530"/>
              </a:cxn>
              <a:cxn ang="0">
                <a:pos x="connsiteX53531" y="connsiteY53531"/>
              </a:cxn>
              <a:cxn ang="0">
                <a:pos x="connsiteX53532" y="connsiteY53532"/>
              </a:cxn>
              <a:cxn ang="0">
                <a:pos x="connsiteX53533" y="connsiteY53533"/>
              </a:cxn>
              <a:cxn ang="0">
                <a:pos x="connsiteX53534" y="connsiteY53534"/>
              </a:cxn>
              <a:cxn ang="0">
                <a:pos x="connsiteX53535" y="connsiteY53535"/>
              </a:cxn>
              <a:cxn ang="0">
                <a:pos x="connsiteX53536" y="connsiteY53536"/>
              </a:cxn>
              <a:cxn ang="0">
                <a:pos x="connsiteX53537" y="connsiteY53537"/>
              </a:cxn>
              <a:cxn ang="0">
                <a:pos x="connsiteX53538" y="connsiteY53538"/>
              </a:cxn>
              <a:cxn ang="0">
                <a:pos x="connsiteX53539" y="connsiteY53539"/>
              </a:cxn>
              <a:cxn ang="0">
                <a:pos x="connsiteX53540" y="connsiteY53540"/>
              </a:cxn>
              <a:cxn ang="0">
                <a:pos x="connsiteX53541" y="connsiteY53541"/>
              </a:cxn>
              <a:cxn ang="0">
                <a:pos x="connsiteX53542" y="connsiteY53542"/>
              </a:cxn>
              <a:cxn ang="0">
                <a:pos x="connsiteX53543" y="connsiteY53543"/>
              </a:cxn>
              <a:cxn ang="0">
                <a:pos x="connsiteX53544" y="connsiteY53544"/>
              </a:cxn>
              <a:cxn ang="0">
                <a:pos x="connsiteX53545" y="connsiteY53545"/>
              </a:cxn>
              <a:cxn ang="0">
                <a:pos x="connsiteX53546" y="connsiteY53546"/>
              </a:cxn>
              <a:cxn ang="0">
                <a:pos x="connsiteX53547" y="connsiteY53547"/>
              </a:cxn>
              <a:cxn ang="0">
                <a:pos x="connsiteX53548" y="connsiteY53548"/>
              </a:cxn>
              <a:cxn ang="0">
                <a:pos x="connsiteX53549" y="connsiteY53549"/>
              </a:cxn>
              <a:cxn ang="0">
                <a:pos x="connsiteX53550" y="connsiteY53550"/>
              </a:cxn>
              <a:cxn ang="0">
                <a:pos x="connsiteX53551" y="connsiteY53551"/>
              </a:cxn>
              <a:cxn ang="0">
                <a:pos x="connsiteX53552" y="connsiteY53552"/>
              </a:cxn>
              <a:cxn ang="0">
                <a:pos x="connsiteX53553" y="connsiteY53553"/>
              </a:cxn>
              <a:cxn ang="0">
                <a:pos x="connsiteX53554" y="connsiteY53554"/>
              </a:cxn>
              <a:cxn ang="0">
                <a:pos x="connsiteX53555" y="connsiteY53555"/>
              </a:cxn>
              <a:cxn ang="0">
                <a:pos x="connsiteX53556" y="connsiteY53556"/>
              </a:cxn>
              <a:cxn ang="0">
                <a:pos x="connsiteX53557" y="connsiteY53557"/>
              </a:cxn>
              <a:cxn ang="0">
                <a:pos x="connsiteX53558" y="connsiteY53558"/>
              </a:cxn>
              <a:cxn ang="0">
                <a:pos x="connsiteX53559" y="connsiteY53559"/>
              </a:cxn>
              <a:cxn ang="0">
                <a:pos x="connsiteX53560" y="connsiteY53560"/>
              </a:cxn>
              <a:cxn ang="0">
                <a:pos x="connsiteX53561" y="connsiteY53561"/>
              </a:cxn>
              <a:cxn ang="0">
                <a:pos x="connsiteX53562" y="connsiteY53562"/>
              </a:cxn>
              <a:cxn ang="0">
                <a:pos x="connsiteX53563" y="connsiteY53563"/>
              </a:cxn>
              <a:cxn ang="0">
                <a:pos x="connsiteX53564" y="connsiteY53564"/>
              </a:cxn>
              <a:cxn ang="0">
                <a:pos x="connsiteX53565" y="connsiteY53565"/>
              </a:cxn>
              <a:cxn ang="0">
                <a:pos x="connsiteX53566" y="connsiteY53566"/>
              </a:cxn>
              <a:cxn ang="0">
                <a:pos x="connsiteX53567" y="connsiteY53567"/>
              </a:cxn>
              <a:cxn ang="0">
                <a:pos x="connsiteX53568" y="connsiteY53568"/>
              </a:cxn>
              <a:cxn ang="0">
                <a:pos x="connsiteX53569" y="connsiteY53569"/>
              </a:cxn>
              <a:cxn ang="0">
                <a:pos x="connsiteX53570" y="connsiteY53570"/>
              </a:cxn>
              <a:cxn ang="0">
                <a:pos x="connsiteX53571" y="connsiteY53571"/>
              </a:cxn>
              <a:cxn ang="0">
                <a:pos x="connsiteX53572" y="connsiteY53572"/>
              </a:cxn>
              <a:cxn ang="0">
                <a:pos x="connsiteX53573" y="connsiteY53573"/>
              </a:cxn>
              <a:cxn ang="0">
                <a:pos x="connsiteX53574" y="connsiteY53574"/>
              </a:cxn>
              <a:cxn ang="0">
                <a:pos x="connsiteX53575" y="connsiteY53575"/>
              </a:cxn>
              <a:cxn ang="0">
                <a:pos x="connsiteX53576" y="connsiteY53576"/>
              </a:cxn>
              <a:cxn ang="0">
                <a:pos x="connsiteX53577" y="connsiteY53577"/>
              </a:cxn>
              <a:cxn ang="0">
                <a:pos x="connsiteX53578" y="connsiteY53578"/>
              </a:cxn>
              <a:cxn ang="0">
                <a:pos x="connsiteX53579" y="connsiteY53579"/>
              </a:cxn>
              <a:cxn ang="0">
                <a:pos x="connsiteX53580" y="connsiteY53580"/>
              </a:cxn>
              <a:cxn ang="0">
                <a:pos x="connsiteX53581" y="connsiteY53581"/>
              </a:cxn>
              <a:cxn ang="0">
                <a:pos x="connsiteX53582" y="connsiteY53582"/>
              </a:cxn>
              <a:cxn ang="0">
                <a:pos x="connsiteX53583" y="connsiteY53583"/>
              </a:cxn>
              <a:cxn ang="0">
                <a:pos x="connsiteX53584" y="connsiteY53584"/>
              </a:cxn>
              <a:cxn ang="0">
                <a:pos x="connsiteX53585" y="connsiteY53585"/>
              </a:cxn>
              <a:cxn ang="0">
                <a:pos x="connsiteX53586" y="connsiteY53586"/>
              </a:cxn>
              <a:cxn ang="0">
                <a:pos x="connsiteX53587" y="connsiteY53587"/>
              </a:cxn>
              <a:cxn ang="0">
                <a:pos x="connsiteX53588" y="connsiteY53588"/>
              </a:cxn>
              <a:cxn ang="0">
                <a:pos x="connsiteX53589" y="connsiteY53589"/>
              </a:cxn>
              <a:cxn ang="0">
                <a:pos x="connsiteX53590" y="connsiteY53590"/>
              </a:cxn>
              <a:cxn ang="0">
                <a:pos x="connsiteX53591" y="connsiteY53591"/>
              </a:cxn>
              <a:cxn ang="0">
                <a:pos x="connsiteX53592" y="connsiteY53592"/>
              </a:cxn>
              <a:cxn ang="0">
                <a:pos x="connsiteX53593" y="connsiteY53593"/>
              </a:cxn>
              <a:cxn ang="0">
                <a:pos x="connsiteX53594" y="connsiteY53594"/>
              </a:cxn>
              <a:cxn ang="0">
                <a:pos x="connsiteX53595" y="connsiteY53595"/>
              </a:cxn>
              <a:cxn ang="0">
                <a:pos x="connsiteX53596" y="connsiteY53596"/>
              </a:cxn>
              <a:cxn ang="0">
                <a:pos x="connsiteX53597" y="connsiteY53597"/>
              </a:cxn>
              <a:cxn ang="0">
                <a:pos x="connsiteX53598" y="connsiteY53598"/>
              </a:cxn>
              <a:cxn ang="0">
                <a:pos x="connsiteX53599" y="connsiteY53599"/>
              </a:cxn>
              <a:cxn ang="0">
                <a:pos x="connsiteX53600" y="connsiteY53600"/>
              </a:cxn>
              <a:cxn ang="0">
                <a:pos x="connsiteX53601" y="connsiteY53601"/>
              </a:cxn>
              <a:cxn ang="0">
                <a:pos x="connsiteX53602" y="connsiteY53602"/>
              </a:cxn>
              <a:cxn ang="0">
                <a:pos x="connsiteX53603" y="connsiteY53603"/>
              </a:cxn>
              <a:cxn ang="0">
                <a:pos x="connsiteX53604" y="connsiteY53604"/>
              </a:cxn>
              <a:cxn ang="0">
                <a:pos x="connsiteX53605" y="connsiteY53605"/>
              </a:cxn>
              <a:cxn ang="0">
                <a:pos x="connsiteX53606" y="connsiteY53606"/>
              </a:cxn>
              <a:cxn ang="0">
                <a:pos x="connsiteX53607" y="connsiteY53607"/>
              </a:cxn>
              <a:cxn ang="0">
                <a:pos x="connsiteX53608" y="connsiteY53608"/>
              </a:cxn>
              <a:cxn ang="0">
                <a:pos x="connsiteX53609" y="connsiteY53609"/>
              </a:cxn>
              <a:cxn ang="0">
                <a:pos x="connsiteX53610" y="connsiteY53610"/>
              </a:cxn>
              <a:cxn ang="0">
                <a:pos x="connsiteX53611" y="connsiteY53611"/>
              </a:cxn>
              <a:cxn ang="0">
                <a:pos x="connsiteX53612" y="connsiteY53612"/>
              </a:cxn>
              <a:cxn ang="0">
                <a:pos x="connsiteX53613" y="connsiteY53613"/>
              </a:cxn>
              <a:cxn ang="0">
                <a:pos x="connsiteX53614" y="connsiteY53614"/>
              </a:cxn>
              <a:cxn ang="0">
                <a:pos x="connsiteX53615" y="connsiteY53615"/>
              </a:cxn>
              <a:cxn ang="0">
                <a:pos x="connsiteX53616" y="connsiteY53616"/>
              </a:cxn>
              <a:cxn ang="0">
                <a:pos x="connsiteX53617" y="connsiteY53617"/>
              </a:cxn>
              <a:cxn ang="0">
                <a:pos x="connsiteX53618" y="connsiteY53618"/>
              </a:cxn>
              <a:cxn ang="0">
                <a:pos x="connsiteX53619" y="connsiteY53619"/>
              </a:cxn>
              <a:cxn ang="0">
                <a:pos x="connsiteX53620" y="connsiteY53620"/>
              </a:cxn>
              <a:cxn ang="0">
                <a:pos x="connsiteX53621" y="connsiteY53621"/>
              </a:cxn>
              <a:cxn ang="0">
                <a:pos x="connsiteX53622" y="connsiteY53622"/>
              </a:cxn>
              <a:cxn ang="0">
                <a:pos x="connsiteX53623" y="connsiteY53623"/>
              </a:cxn>
              <a:cxn ang="0">
                <a:pos x="connsiteX53624" y="connsiteY53624"/>
              </a:cxn>
              <a:cxn ang="0">
                <a:pos x="connsiteX53625" y="connsiteY53625"/>
              </a:cxn>
              <a:cxn ang="0">
                <a:pos x="connsiteX53626" y="connsiteY53626"/>
              </a:cxn>
              <a:cxn ang="0">
                <a:pos x="connsiteX53627" y="connsiteY53627"/>
              </a:cxn>
              <a:cxn ang="0">
                <a:pos x="connsiteX53628" y="connsiteY53628"/>
              </a:cxn>
              <a:cxn ang="0">
                <a:pos x="connsiteX53629" y="connsiteY53629"/>
              </a:cxn>
              <a:cxn ang="0">
                <a:pos x="connsiteX53630" y="connsiteY53630"/>
              </a:cxn>
              <a:cxn ang="0">
                <a:pos x="connsiteX53631" y="connsiteY53631"/>
              </a:cxn>
              <a:cxn ang="0">
                <a:pos x="connsiteX53632" y="connsiteY53632"/>
              </a:cxn>
              <a:cxn ang="0">
                <a:pos x="connsiteX53633" y="connsiteY53633"/>
              </a:cxn>
              <a:cxn ang="0">
                <a:pos x="connsiteX53634" y="connsiteY53634"/>
              </a:cxn>
              <a:cxn ang="0">
                <a:pos x="connsiteX53635" y="connsiteY53635"/>
              </a:cxn>
              <a:cxn ang="0">
                <a:pos x="connsiteX53636" y="connsiteY53636"/>
              </a:cxn>
              <a:cxn ang="0">
                <a:pos x="connsiteX53637" y="connsiteY53637"/>
              </a:cxn>
              <a:cxn ang="0">
                <a:pos x="connsiteX53638" y="connsiteY53638"/>
              </a:cxn>
              <a:cxn ang="0">
                <a:pos x="connsiteX53639" y="connsiteY53639"/>
              </a:cxn>
              <a:cxn ang="0">
                <a:pos x="connsiteX53640" y="connsiteY53640"/>
              </a:cxn>
              <a:cxn ang="0">
                <a:pos x="connsiteX53641" y="connsiteY53641"/>
              </a:cxn>
              <a:cxn ang="0">
                <a:pos x="connsiteX53642" y="connsiteY53642"/>
              </a:cxn>
              <a:cxn ang="0">
                <a:pos x="connsiteX53643" y="connsiteY53643"/>
              </a:cxn>
              <a:cxn ang="0">
                <a:pos x="connsiteX53644" y="connsiteY53644"/>
              </a:cxn>
              <a:cxn ang="0">
                <a:pos x="connsiteX53645" y="connsiteY53645"/>
              </a:cxn>
              <a:cxn ang="0">
                <a:pos x="connsiteX53646" y="connsiteY53646"/>
              </a:cxn>
              <a:cxn ang="0">
                <a:pos x="connsiteX53647" y="connsiteY53647"/>
              </a:cxn>
              <a:cxn ang="0">
                <a:pos x="connsiteX53648" y="connsiteY53648"/>
              </a:cxn>
              <a:cxn ang="0">
                <a:pos x="connsiteX53649" y="connsiteY53649"/>
              </a:cxn>
              <a:cxn ang="0">
                <a:pos x="connsiteX53650" y="connsiteY53650"/>
              </a:cxn>
              <a:cxn ang="0">
                <a:pos x="connsiteX53651" y="connsiteY53651"/>
              </a:cxn>
              <a:cxn ang="0">
                <a:pos x="connsiteX53652" y="connsiteY53652"/>
              </a:cxn>
              <a:cxn ang="0">
                <a:pos x="connsiteX53653" y="connsiteY53653"/>
              </a:cxn>
              <a:cxn ang="0">
                <a:pos x="connsiteX53654" y="connsiteY53654"/>
              </a:cxn>
              <a:cxn ang="0">
                <a:pos x="connsiteX53655" y="connsiteY53655"/>
              </a:cxn>
              <a:cxn ang="0">
                <a:pos x="connsiteX53656" y="connsiteY53656"/>
              </a:cxn>
              <a:cxn ang="0">
                <a:pos x="connsiteX53657" y="connsiteY53657"/>
              </a:cxn>
              <a:cxn ang="0">
                <a:pos x="connsiteX53658" y="connsiteY53658"/>
              </a:cxn>
              <a:cxn ang="0">
                <a:pos x="connsiteX53659" y="connsiteY53659"/>
              </a:cxn>
              <a:cxn ang="0">
                <a:pos x="connsiteX53660" y="connsiteY53660"/>
              </a:cxn>
              <a:cxn ang="0">
                <a:pos x="connsiteX53661" y="connsiteY53661"/>
              </a:cxn>
              <a:cxn ang="0">
                <a:pos x="connsiteX53662" y="connsiteY53662"/>
              </a:cxn>
              <a:cxn ang="0">
                <a:pos x="connsiteX53663" y="connsiteY53663"/>
              </a:cxn>
              <a:cxn ang="0">
                <a:pos x="connsiteX53664" y="connsiteY53664"/>
              </a:cxn>
              <a:cxn ang="0">
                <a:pos x="connsiteX53665" y="connsiteY53665"/>
              </a:cxn>
              <a:cxn ang="0">
                <a:pos x="connsiteX53666" y="connsiteY53666"/>
              </a:cxn>
              <a:cxn ang="0">
                <a:pos x="connsiteX53667" y="connsiteY53667"/>
              </a:cxn>
              <a:cxn ang="0">
                <a:pos x="connsiteX53668" y="connsiteY53668"/>
              </a:cxn>
              <a:cxn ang="0">
                <a:pos x="connsiteX53669" y="connsiteY53669"/>
              </a:cxn>
              <a:cxn ang="0">
                <a:pos x="connsiteX53670" y="connsiteY53670"/>
              </a:cxn>
              <a:cxn ang="0">
                <a:pos x="connsiteX53671" y="connsiteY53671"/>
              </a:cxn>
              <a:cxn ang="0">
                <a:pos x="connsiteX53672" y="connsiteY53672"/>
              </a:cxn>
              <a:cxn ang="0">
                <a:pos x="connsiteX53673" y="connsiteY53673"/>
              </a:cxn>
              <a:cxn ang="0">
                <a:pos x="connsiteX53674" y="connsiteY53674"/>
              </a:cxn>
              <a:cxn ang="0">
                <a:pos x="connsiteX53675" y="connsiteY53675"/>
              </a:cxn>
              <a:cxn ang="0">
                <a:pos x="connsiteX53676" y="connsiteY53676"/>
              </a:cxn>
              <a:cxn ang="0">
                <a:pos x="connsiteX53677" y="connsiteY53677"/>
              </a:cxn>
              <a:cxn ang="0">
                <a:pos x="connsiteX53678" y="connsiteY53678"/>
              </a:cxn>
              <a:cxn ang="0">
                <a:pos x="connsiteX53679" y="connsiteY53679"/>
              </a:cxn>
              <a:cxn ang="0">
                <a:pos x="connsiteX53680" y="connsiteY53680"/>
              </a:cxn>
              <a:cxn ang="0">
                <a:pos x="connsiteX53681" y="connsiteY53681"/>
              </a:cxn>
              <a:cxn ang="0">
                <a:pos x="connsiteX53682" y="connsiteY53682"/>
              </a:cxn>
              <a:cxn ang="0">
                <a:pos x="connsiteX53683" y="connsiteY53683"/>
              </a:cxn>
              <a:cxn ang="0">
                <a:pos x="connsiteX53684" y="connsiteY53684"/>
              </a:cxn>
              <a:cxn ang="0">
                <a:pos x="connsiteX53685" y="connsiteY53685"/>
              </a:cxn>
              <a:cxn ang="0">
                <a:pos x="connsiteX53686" y="connsiteY53686"/>
              </a:cxn>
              <a:cxn ang="0">
                <a:pos x="connsiteX53687" y="connsiteY53687"/>
              </a:cxn>
              <a:cxn ang="0">
                <a:pos x="connsiteX53688" y="connsiteY53688"/>
              </a:cxn>
              <a:cxn ang="0">
                <a:pos x="connsiteX53689" y="connsiteY53689"/>
              </a:cxn>
              <a:cxn ang="0">
                <a:pos x="connsiteX53690" y="connsiteY53690"/>
              </a:cxn>
              <a:cxn ang="0">
                <a:pos x="connsiteX53691" y="connsiteY53691"/>
              </a:cxn>
              <a:cxn ang="0">
                <a:pos x="connsiteX53692" y="connsiteY53692"/>
              </a:cxn>
              <a:cxn ang="0">
                <a:pos x="connsiteX53693" y="connsiteY53693"/>
              </a:cxn>
              <a:cxn ang="0">
                <a:pos x="connsiteX53694" y="connsiteY53694"/>
              </a:cxn>
              <a:cxn ang="0">
                <a:pos x="connsiteX53695" y="connsiteY53695"/>
              </a:cxn>
              <a:cxn ang="0">
                <a:pos x="connsiteX53696" y="connsiteY53696"/>
              </a:cxn>
              <a:cxn ang="0">
                <a:pos x="connsiteX53697" y="connsiteY53697"/>
              </a:cxn>
              <a:cxn ang="0">
                <a:pos x="connsiteX53698" y="connsiteY53698"/>
              </a:cxn>
              <a:cxn ang="0">
                <a:pos x="connsiteX53699" y="connsiteY53699"/>
              </a:cxn>
              <a:cxn ang="0">
                <a:pos x="connsiteX53700" y="connsiteY53700"/>
              </a:cxn>
              <a:cxn ang="0">
                <a:pos x="connsiteX53701" y="connsiteY53701"/>
              </a:cxn>
              <a:cxn ang="0">
                <a:pos x="connsiteX53702" y="connsiteY53702"/>
              </a:cxn>
              <a:cxn ang="0">
                <a:pos x="connsiteX53703" y="connsiteY53703"/>
              </a:cxn>
              <a:cxn ang="0">
                <a:pos x="connsiteX53704" y="connsiteY53704"/>
              </a:cxn>
              <a:cxn ang="0">
                <a:pos x="connsiteX53705" y="connsiteY53705"/>
              </a:cxn>
              <a:cxn ang="0">
                <a:pos x="connsiteX53706" y="connsiteY53706"/>
              </a:cxn>
              <a:cxn ang="0">
                <a:pos x="connsiteX53707" y="connsiteY53707"/>
              </a:cxn>
              <a:cxn ang="0">
                <a:pos x="connsiteX53708" y="connsiteY53708"/>
              </a:cxn>
              <a:cxn ang="0">
                <a:pos x="connsiteX53709" y="connsiteY53709"/>
              </a:cxn>
              <a:cxn ang="0">
                <a:pos x="connsiteX53710" y="connsiteY53710"/>
              </a:cxn>
              <a:cxn ang="0">
                <a:pos x="connsiteX53711" y="connsiteY53711"/>
              </a:cxn>
              <a:cxn ang="0">
                <a:pos x="connsiteX53712" y="connsiteY53712"/>
              </a:cxn>
              <a:cxn ang="0">
                <a:pos x="connsiteX53713" y="connsiteY53713"/>
              </a:cxn>
              <a:cxn ang="0">
                <a:pos x="connsiteX53714" y="connsiteY53714"/>
              </a:cxn>
              <a:cxn ang="0">
                <a:pos x="connsiteX53715" y="connsiteY53715"/>
              </a:cxn>
              <a:cxn ang="0">
                <a:pos x="connsiteX53716" y="connsiteY53716"/>
              </a:cxn>
              <a:cxn ang="0">
                <a:pos x="connsiteX53717" y="connsiteY53717"/>
              </a:cxn>
              <a:cxn ang="0">
                <a:pos x="connsiteX53718" y="connsiteY53718"/>
              </a:cxn>
              <a:cxn ang="0">
                <a:pos x="connsiteX53719" y="connsiteY53719"/>
              </a:cxn>
              <a:cxn ang="0">
                <a:pos x="connsiteX53720" y="connsiteY53720"/>
              </a:cxn>
              <a:cxn ang="0">
                <a:pos x="connsiteX53721" y="connsiteY53721"/>
              </a:cxn>
              <a:cxn ang="0">
                <a:pos x="connsiteX53722" y="connsiteY53722"/>
              </a:cxn>
              <a:cxn ang="0">
                <a:pos x="connsiteX53723" y="connsiteY53723"/>
              </a:cxn>
              <a:cxn ang="0">
                <a:pos x="connsiteX53724" y="connsiteY53724"/>
              </a:cxn>
              <a:cxn ang="0">
                <a:pos x="connsiteX53725" y="connsiteY53725"/>
              </a:cxn>
              <a:cxn ang="0">
                <a:pos x="connsiteX53726" y="connsiteY53726"/>
              </a:cxn>
              <a:cxn ang="0">
                <a:pos x="connsiteX53727" y="connsiteY53727"/>
              </a:cxn>
              <a:cxn ang="0">
                <a:pos x="connsiteX53728" y="connsiteY53728"/>
              </a:cxn>
              <a:cxn ang="0">
                <a:pos x="connsiteX53729" y="connsiteY53729"/>
              </a:cxn>
              <a:cxn ang="0">
                <a:pos x="connsiteX53730" y="connsiteY53730"/>
              </a:cxn>
              <a:cxn ang="0">
                <a:pos x="connsiteX53731" y="connsiteY53731"/>
              </a:cxn>
              <a:cxn ang="0">
                <a:pos x="connsiteX53732" y="connsiteY53732"/>
              </a:cxn>
              <a:cxn ang="0">
                <a:pos x="connsiteX53733" y="connsiteY53733"/>
              </a:cxn>
              <a:cxn ang="0">
                <a:pos x="connsiteX53734" y="connsiteY53734"/>
              </a:cxn>
              <a:cxn ang="0">
                <a:pos x="connsiteX53735" y="connsiteY53735"/>
              </a:cxn>
              <a:cxn ang="0">
                <a:pos x="connsiteX53736" y="connsiteY53736"/>
              </a:cxn>
              <a:cxn ang="0">
                <a:pos x="connsiteX53737" y="connsiteY53737"/>
              </a:cxn>
              <a:cxn ang="0">
                <a:pos x="connsiteX53738" y="connsiteY53738"/>
              </a:cxn>
              <a:cxn ang="0">
                <a:pos x="connsiteX53739" y="connsiteY53739"/>
              </a:cxn>
              <a:cxn ang="0">
                <a:pos x="connsiteX53740" y="connsiteY53740"/>
              </a:cxn>
              <a:cxn ang="0">
                <a:pos x="connsiteX53741" y="connsiteY53741"/>
              </a:cxn>
              <a:cxn ang="0">
                <a:pos x="connsiteX53742" y="connsiteY53742"/>
              </a:cxn>
              <a:cxn ang="0">
                <a:pos x="connsiteX53743" y="connsiteY53743"/>
              </a:cxn>
              <a:cxn ang="0">
                <a:pos x="connsiteX53744" y="connsiteY53744"/>
              </a:cxn>
              <a:cxn ang="0">
                <a:pos x="connsiteX53745" y="connsiteY53745"/>
              </a:cxn>
              <a:cxn ang="0">
                <a:pos x="connsiteX53746" y="connsiteY53746"/>
              </a:cxn>
              <a:cxn ang="0">
                <a:pos x="connsiteX53747" y="connsiteY53747"/>
              </a:cxn>
              <a:cxn ang="0">
                <a:pos x="connsiteX53748" y="connsiteY53748"/>
              </a:cxn>
              <a:cxn ang="0">
                <a:pos x="connsiteX53749" y="connsiteY53749"/>
              </a:cxn>
              <a:cxn ang="0">
                <a:pos x="connsiteX53750" y="connsiteY53750"/>
              </a:cxn>
              <a:cxn ang="0">
                <a:pos x="connsiteX53751" y="connsiteY53751"/>
              </a:cxn>
              <a:cxn ang="0">
                <a:pos x="connsiteX53752" y="connsiteY53752"/>
              </a:cxn>
              <a:cxn ang="0">
                <a:pos x="connsiteX53753" y="connsiteY53753"/>
              </a:cxn>
              <a:cxn ang="0">
                <a:pos x="connsiteX53754" y="connsiteY53754"/>
              </a:cxn>
              <a:cxn ang="0">
                <a:pos x="connsiteX53755" y="connsiteY53755"/>
              </a:cxn>
              <a:cxn ang="0">
                <a:pos x="connsiteX53756" y="connsiteY53756"/>
              </a:cxn>
              <a:cxn ang="0">
                <a:pos x="connsiteX53757" y="connsiteY53757"/>
              </a:cxn>
              <a:cxn ang="0">
                <a:pos x="connsiteX53758" y="connsiteY53758"/>
              </a:cxn>
              <a:cxn ang="0">
                <a:pos x="connsiteX53759" y="connsiteY53759"/>
              </a:cxn>
              <a:cxn ang="0">
                <a:pos x="connsiteX53760" y="connsiteY53760"/>
              </a:cxn>
              <a:cxn ang="0">
                <a:pos x="connsiteX53761" y="connsiteY53761"/>
              </a:cxn>
              <a:cxn ang="0">
                <a:pos x="connsiteX53762" y="connsiteY53762"/>
              </a:cxn>
              <a:cxn ang="0">
                <a:pos x="connsiteX53763" y="connsiteY53763"/>
              </a:cxn>
              <a:cxn ang="0">
                <a:pos x="connsiteX53764" y="connsiteY53764"/>
              </a:cxn>
              <a:cxn ang="0">
                <a:pos x="connsiteX53765" y="connsiteY53765"/>
              </a:cxn>
              <a:cxn ang="0">
                <a:pos x="connsiteX53766" y="connsiteY53766"/>
              </a:cxn>
              <a:cxn ang="0">
                <a:pos x="connsiteX53767" y="connsiteY53767"/>
              </a:cxn>
              <a:cxn ang="0">
                <a:pos x="connsiteX53768" y="connsiteY53768"/>
              </a:cxn>
              <a:cxn ang="0">
                <a:pos x="connsiteX53769" y="connsiteY53769"/>
              </a:cxn>
              <a:cxn ang="0">
                <a:pos x="connsiteX53770" y="connsiteY53770"/>
              </a:cxn>
              <a:cxn ang="0">
                <a:pos x="connsiteX53771" y="connsiteY53771"/>
              </a:cxn>
              <a:cxn ang="0">
                <a:pos x="connsiteX53772" y="connsiteY53772"/>
              </a:cxn>
              <a:cxn ang="0">
                <a:pos x="connsiteX53773" y="connsiteY53773"/>
              </a:cxn>
              <a:cxn ang="0">
                <a:pos x="connsiteX53774" y="connsiteY53774"/>
              </a:cxn>
              <a:cxn ang="0">
                <a:pos x="connsiteX53775" y="connsiteY53775"/>
              </a:cxn>
              <a:cxn ang="0">
                <a:pos x="connsiteX53776" y="connsiteY53776"/>
              </a:cxn>
              <a:cxn ang="0">
                <a:pos x="connsiteX53777" y="connsiteY53777"/>
              </a:cxn>
              <a:cxn ang="0">
                <a:pos x="connsiteX53778" y="connsiteY53778"/>
              </a:cxn>
              <a:cxn ang="0">
                <a:pos x="connsiteX53779" y="connsiteY53779"/>
              </a:cxn>
              <a:cxn ang="0">
                <a:pos x="connsiteX53780" y="connsiteY53780"/>
              </a:cxn>
              <a:cxn ang="0">
                <a:pos x="connsiteX53781" y="connsiteY53781"/>
              </a:cxn>
              <a:cxn ang="0">
                <a:pos x="connsiteX53782" y="connsiteY53782"/>
              </a:cxn>
              <a:cxn ang="0">
                <a:pos x="connsiteX53783" y="connsiteY53783"/>
              </a:cxn>
              <a:cxn ang="0">
                <a:pos x="connsiteX53784" y="connsiteY53784"/>
              </a:cxn>
              <a:cxn ang="0">
                <a:pos x="connsiteX53785" y="connsiteY53785"/>
              </a:cxn>
              <a:cxn ang="0">
                <a:pos x="connsiteX53786" y="connsiteY53786"/>
              </a:cxn>
              <a:cxn ang="0">
                <a:pos x="connsiteX53787" y="connsiteY53787"/>
              </a:cxn>
              <a:cxn ang="0">
                <a:pos x="connsiteX53788" y="connsiteY53788"/>
              </a:cxn>
              <a:cxn ang="0">
                <a:pos x="connsiteX53789" y="connsiteY53789"/>
              </a:cxn>
              <a:cxn ang="0">
                <a:pos x="connsiteX53790" y="connsiteY53790"/>
              </a:cxn>
              <a:cxn ang="0">
                <a:pos x="connsiteX53791" y="connsiteY53791"/>
              </a:cxn>
              <a:cxn ang="0">
                <a:pos x="connsiteX53792" y="connsiteY53792"/>
              </a:cxn>
              <a:cxn ang="0">
                <a:pos x="connsiteX53793" y="connsiteY53793"/>
              </a:cxn>
              <a:cxn ang="0">
                <a:pos x="connsiteX53794" y="connsiteY53794"/>
              </a:cxn>
              <a:cxn ang="0">
                <a:pos x="connsiteX53795" y="connsiteY53795"/>
              </a:cxn>
              <a:cxn ang="0">
                <a:pos x="connsiteX53796" y="connsiteY53796"/>
              </a:cxn>
              <a:cxn ang="0">
                <a:pos x="connsiteX53797" y="connsiteY53797"/>
              </a:cxn>
              <a:cxn ang="0">
                <a:pos x="connsiteX53798" y="connsiteY53798"/>
              </a:cxn>
              <a:cxn ang="0">
                <a:pos x="connsiteX53799" y="connsiteY53799"/>
              </a:cxn>
              <a:cxn ang="0">
                <a:pos x="connsiteX53800" y="connsiteY53800"/>
              </a:cxn>
              <a:cxn ang="0">
                <a:pos x="connsiteX53801" y="connsiteY53801"/>
              </a:cxn>
              <a:cxn ang="0">
                <a:pos x="connsiteX53802" y="connsiteY53802"/>
              </a:cxn>
              <a:cxn ang="0">
                <a:pos x="connsiteX53803" y="connsiteY53803"/>
              </a:cxn>
              <a:cxn ang="0">
                <a:pos x="connsiteX53804" y="connsiteY53804"/>
              </a:cxn>
              <a:cxn ang="0">
                <a:pos x="connsiteX53805" y="connsiteY53805"/>
              </a:cxn>
              <a:cxn ang="0">
                <a:pos x="connsiteX53806" y="connsiteY53806"/>
              </a:cxn>
              <a:cxn ang="0">
                <a:pos x="connsiteX53807" y="connsiteY53807"/>
              </a:cxn>
              <a:cxn ang="0">
                <a:pos x="connsiteX53808" y="connsiteY53808"/>
              </a:cxn>
              <a:cxn ang="0">
                <a:pos x="connsiteX53809" y="connsiteY53809"/>
              </a:cxn>
              <a:cxn ang="0">
                <a:pos x="connsiteX53810" y="connsiteY53810"/>
              </a:cxn>
              <a:cxn ang="0">
                <a:pos x="connsiteX53811" y="connsiteY53811"/>
              </a:cxn>
              <a:cxn ang="0">
                <a:pos x="connsiteX53812" y="connsiteY53812"/>
              </a:cxn>
              <a:cxn ang="0">
                <a:pos x="connsiteX53813" y="connsiteY53813"/>
              </a:cxn>
              <a:cxn ang="0">
                <a:pos x="connsiteX53814" y="connsiteY53814"/>
              </a:cxn>
              <a:cxn ang="0">
                <a:pos x="connsiteX53815" y="connsiteY53815"/>
              </a:cxn>
              <a:cxn ang="0">
                <a:pos x="connsiteX53816" y="connsiteY53816"/>
              </a:cxn>
              <a:cxn ang="0">
                <a:pos x="connsiteX53817" y="connsiteY53817"/>
              </a:cxn>
              <a:cxn ang="0">
                <a:pos x="connsiteX53818" y="connsiteY53818"/>
              </a:cxn>
              <a:cxn ang="0">
                <a:pos x="connsiteX53819" y="connsiteY53819"/>
              </a:cxn>
              <a:cxn ang="0">
                <a:pos x="connsiteX53820" y="connsiteY53820"/>
              </a:cxn>
              <a:cxn ang="0">
                <a:pos x="connsiteX53821" y="connsiteY53821"/>
              </a:cxn>
              <a:cxn ang="0">
                <a:pos x="connsiteX53822" y="connsiteY53822"/>
              </a:cxn>
              <a:cxn ang="0">
                <a:pos x="connsiteX53823" y="connsiteY53823"/>
              </a:cxn>
              <a:cxn ang="0">
                <a:pos x="connsiteX53824" y="connsiteY53824"/>
              </a:cxn>
              <a:cxn ang="0">
                <a:pos x="connsiteX53825" y="connsiteY53825"/>
              </a:cxn>
              <a:cxn ang="0">
                <a:pos x="connsiteX53826" y="connsiteY53826"/>
              </a:cxn>
              <a:cxn ang="0">
                <a:pos x="connsiteX53827" y="connsiteY53827"/>
              </a:cxn>
              <a:cxn ang="0">
                <a:pos x="connsiteX53828" y="connsiteY53828"/>
              </a:cxn>
              <a:cxn ang="0">
                <a:pos x="connsiteX53829" y="connsiteY53829"/>
              </a:cxn>
              <a:cxn ang="0">
                <a:pos x="connsiteX53830" y="connsiteY53830"/>
              </a:cxn>
              <a:cxn ang="0">
                <a:pos x="connsiteX53831" y="connsiteY53831"/>
              </a:cxn>
              <a:cxn ang="0">
                <a:pos x="connsiteX53832" y="connsiteY53832"/>
              </a:cxn>
              <a:cxn ang="0">
                <a:pos x="connsiteX53833" y="connsiteY53833"/>
              </a:cxn>
              <a:cxn ang="0">
                <a:pos x="connsiteX53834" y="connsiteY53834"/>
              </a:cxn>
              <a:cxn ang="0">
                <a:pos x="connsiteX53835" y="connsiteY53835"/>
              </a:cxn>
              <a:cxn ang="0">
                <a:pos x="connsiteX53836" y="connsiteY53836"/>
              </a:cxn>
              <a:cxn ang="0">
                <a:pos x="connsiteX53837" y="connsiteY53837"/>
              </a:cxn>
              <a:cxn ang="0">
                <a:pos x="connsiteX53838" y="connsiteY53838"/>
              </a:cxn>
              <a:cxn ang="0">
                <a:pos x="connsiteX53839" y="connsiteY53839"/>
              </a:cxn>
              <a:cxn ang="0">
                <a:pos x="connsiteX53840" y="connsiteY53840"/>
              </a:cxn>
              <a:cxn ang="0">
                <a:pos x="connsiteX53841" y="connsiteY53841"/>
              </a:cxn>
              <a:cxn ang="0">
                <a:pos x="connsiteX53842" y="connsiteY53842"/>
              </a:cxn>
              <a:cxn ang="0">
                <a:pos x="connsiteX53843" y="connsiteY53843"/>
              </a:cxn>
              <a:cxn ang="0">
                <a:pos x="connsiteX53844" y="connsiteY53844"/>
              </a:cxn>
              <a:cxn ang="0">
                <a:pos x="connsiteX53845" y="connsiteY53845"/>
              </a:cxn>
              <a:cxn ang="0">
                <a:pos x="connsiteX53846" y="connsiteY53846"/>
              </a:cxn>
              <a:cxn ang="0">
                <a:pos x="connsiteX53847" y="connsiteY53847"/>
              </a:cxn>
              <a:cxn ang="0">
                <a:pos x="connsiteX53848" y="connsiteY53848"/>
              </a:cxn>
              <a:cxn ang="0">
                <a:pos x="connsiteX53849" y="connsiteY53849"/>
              </a:cxn>
              <a:cxn ang="0">
                <a:pos x="connsiteX53850" y="connsiteY53850"/>
              </a:cxn>
              <a:cxn ang="0">
                <a:pos x="connsiteX53851" y="connsiteY53851"/>
              </a:cxn>
              <a:cxn ang="0">
                <a:pos x="connsiteX53852" y="connsiteY53852"/>
              </a:cxn>
              <a:cxn ang="0">
                <a:pos x="connsiteX53853" y="connsiteY53853"/>
              </a:cxn>
              <a:cxn ang="0">
                <a:pos x="connsiteX53854" y="connsiteY53854"/>
              </a:cxn>
              <a:cxn ang="0">
                <a:pos x="connsiteX53855" y="connsiteY53855"/>
              </a:cxn>
              <a:cxn ang="0">
                <a:pos x="connsiteX53856" y="connsiteY53856"/>
              </a:cxn>
              <a:cxn ang="0">
                <a:pos x="connsiteX53857" y="connsiteY53857"/>
              </a:cxn>
              <a:cxn ang="0">
                <a:pos x="connsiteX53858" y="connsiteY53858"/>
              </a:cxn>
              <a:cxn ang="0">
                <a:pos x="connsiteX53859" y="connsiteY53859"/>
              </a:cxn>
              <a:cxn ang="0">
                <a:pos x="connsiteX53860" y="connsiteY53860"/>
              </a:cxn>
              <a:cxn ang="0">
                <a:pos x="connsiteX53861" y="connsiteY53861"/>
              </a:cxn>
              <a:cxn ang="0">
                <a:pos x="connsiteX53862" y="connsiteY53862"/>
              </a:cxn>
              <a:cxn ang="0">
                <a:pos x="connsiteX53863" y="connsiteY53863"/>
              </a:cxn>
              <a:cxn ang="0">
                <a:pos x="connsiteX53864" y="connsiteY53864"/>
              </a:cxn>
              <a:cxn ang="0">
                <a:pos x="connsiteX53865" y="connsiteY53865"/>
              </a:cxn>
              <a:cxn ang="0">
                <a:pos x="connsiteX53866" y="connsiteY53866"/>
              </a:cxn>
              <a:cxn ang="0">
                <a:pos x="connsiteX53867" y="connsiteY53867"/>
              </a:cxn>
              <a:cxn ang="0">
                <a:pos x="connsiteX53868" y="connsiteY53868"/>
              </a:cxn>
              <a:cxn ang="0">
                <a:pos x="connsiteX53869" y="connsiteY53869"/>
              </a:cxn>
              <a:cxn ang="0">
                <a:pos x="connsiteX53870" y="connsiteY53870"/>
              </a:cxn>
              <a:cxn ang="0">
                <a:pos x="connsiteX53871" y="connsiteY53871"/>
              </a:cxn>
              <a:cxn ang="0">
                <a:pos x="connsiteX53872" y="connsiteY53872"/>
              </a:cxn>
              <a:cxn ang="0">
                <a:pos x="connsiteX53873" y="connsiteY53873"/>
              </a:cxn>
              <a:cxn ang="0">
                <a:pos x="connsiteX53874" y="connsiteY53874"/>
              </a:cxn>
              <a:cxn ang="0">
                <a:pos x="connsiteX53875" y="connsiteY53875"/>
              </a:cxn>
              <a:cxn ang="0">
                <a:pos x="connsiteX53876" y="connsiteY53876"/>
              </a:cxn>
              <a:cxn ang="0">
                <a:pos x="connsiteX53877" y="connsiteY53877"/>
              </a:cxn>
              <a:cxn ang="0">
                <a:pos x="connsiteX53878" y="connsiteY53878"/>
              </a:cxn>
              <a:cxn ang="0">
                <a:pos x="connsiteX53879" y="connsiteY53879"/>
              </a:cxn>
              <a:cxn ang="0">
                <a:pos x="connsiteX53880" y="connsiteY53880"/>
              </a:cxn>
              <a:cxn ang="0">
                <a:pos x="connsiteX53881" y="connsiteY53881"/>
              </a:cxn>
              <a:cxn ang="0">
                <a:pos x="connsiteX53882" y="connsiteY53882"/>
              </a:cxn>
              <a:cxn ang="0">
                <a:pos x="connsiteX53883" y="connsiteY53883"/>
              </a:cxn>
              <a:cxn ang="0">
                <a:pos x="connsiteX53884" y="connsiteY53884"/>
              </a:cxn>
              <a:cxn ang="0">
                <a:pos x="connsiteX53885" y="connsiteY53885"/>
              </a:cxn>
              <a:cxn ang="0">
                <a:pos x="connsiteX53886" y="connsiteY53886"/>
              </a:cxn>
              <a:cxn ang="0">
                <a:pos x="connsiteX53887" y="connsiteY53887"/>
              </a:cxn>
              <a:cxn ang="0">
                <a:pos x="connsiteX53888" y="connsiteY53888"/>
              </a:cxn>
              <a:cxn ang="0">
                <a:pos x="connsiteX53889" y="connsiteY53889"/>
              </a:cxn>
              <a:cxn ang="0">
                <a:pos x="connsiteX53890" y="connsiteY53890"/>
              </a:cxn>
              <a:cxn ang="0">
                <a:pos x="connsiteX53891" y="connsiteY53891"/>
              </a:cxn>
              <a:cxn ang="0">
                <a:pos x="connsiteX53892" y="connsiteY53892"/>
              </a:cxn>
              <a:cxn ang="0">
                <a:pos x="connsiteX53893" y="connsiteY53893"/>
              </a:cxn>
              <a:cxn ang="0">
                <a:pos x="connsiteX53894" y="connsiteY53894"/>
              </a:cxn>
              <a:cxn ang="0">
                <a:pos x="connsiteX53895" y="connsiteY53895"/>
              </a:cxn>
              <a:cxn ang="0">
                <a:pos x="connsiteX53896" y="connsiteY53896"/>
              </a:cxn>
              <a:cxn ang="0">
                <a:pos x="connsiteX53897" y="connsiteY53897"/>
              </a:cxn>
              <a:cxn ang="0">
                <a:pos x="connsiteX53898" y="connsiteY53898"/>
              </a:cxn>
              <a:cxn ang="0">
                <a:pos x="connsiteX53899" y="connsiteY53899"/>
              </a:cxn>
              <a:cxn ang="0">
                <a:pos x="connsiteX53900" y="connsiteY53900"/>
              </a:cxn>
              <a:cxn ang="0">
                <a:pos x="connsiteX53901" y="connsiteY53901"/>
              </a:cxn>
              <a:cxn ang="0">
                <a:pos x="connsiteX53902" y="connsiteY53902"/>
              </a:cxn>
              <a:cxn ang="0">
                <a:pos x="connsiteX53903" y="connsiteY53903"/>
              </a:cxn>
              <a:cxn ang="0">
                <a:pos x="connsiteX53904" y="connsiteY53904"/>
              </a:cxn>
              <a:cxn ang="0">
                <a:pos x="connsiteX53905" y="connsiteY53905"/>
              </a:cxn>
              <a:cxn ang="0">
                <a:pos x="connsiteX53906" y="connsiteY53906"/>
              </a:cxn>
              <a:cxn ang="0">
                <a:pos x="connsiteX53907" y="connsiteY53907"/>
              </a:cxn>
              <a:cxn ang="0">
                <a:pos x="connsiteX53908" y="connsiteY53908"/>
              </a:cxn>
              <a:cxn ang="0">
                <a:pos x="connsiteX53909" y="connsiteY53909"/>
              </a:cxn>
              <a:cxn ang="0">
                <a:pos x="connsiteX53910" y="connsiteY53910"/>
              </a:cxn>
              <a:cxn ang="0">
                <a:pos x="connsiteX53911" y="connsiteY53911"/>
              </a:cxn>
              <a:cxn ang="0">
                <a:pos x="connsiteX53912" y="connsiteY53912"/>
              </a:cxn>
              <a:cxn ang="0">
                <a:pos x="connsiteX53913" y="connsiteY53913"/>
              </a:cxn>
              <a:cxn ang="0">
                <a:pos x="connsiteX53914" y="connsiteY53914"/>
              </a:cxn>
              <a:cxn ang="0">
                <a:pos x="connsiteX53915" y="connsiteY53915"/>
              </a:cxn>
              <a:cxn ang="0">
                <a:pos x="connsiteX53916" y="connsiteY53916"/>
              </a:cxn>
              <a:cxn ang="0">
                <a:pos x="connsiteX53917" y="connsiteY53917"/>
              </a:cxn>
              <a:cxn ang="0">
                <a:pos x="connsiteX53918" y="connsiteY53918"/>
              </a:cxn>
              <a:cxn ang="0">
                <a:pos x="connsiteX53919" y="connsiteY53919"/>
              </a:cxn>
              <a:cxn ang="0">
                <a:pos x="connsiteX53920" y="connsiteY53920"/>
              </a:cxn>
              <a:cxn ang="0">
                <a:pos x="connsiteX53921" y="connsiteY53921"/>
              </a:cxn>
              <a:cxn ang="0">
                <a:pos x="connsiteX53922" y="connsiteY53922"/>
              </a:cxn>
              <a:cxn ang="0">
                <a:pos x="connsiteX53923" y="connsiteY53923"/>
              </a:cxn>
              <a:cxn ang="0">
                <a:pos x="connsiteX53924" y="connsiteY53924"/>
              </a:cxn>
              <a:cxn ang="0">
                <a:pos x="connsiteX53925" y="connsiteY53925"/>
              </a:cxn>
              <a:cxn ang="0">
                <a:pos x="connsiteX53926" y="connsiteY53926"/>
              </a:cxn>
              <a:cxn ang="0">
                <a:pos x="connsiteX53927" y="connsiteY53927"/>
              </a:cxn>
              <a:cxn ang="0">
                <a:pos x="connsiteX53928" y="connsiteY53928"/>
              </a:cxn>
              <a:cxn ang="0">
                <a:pos x="connsiteX53929" y="connsiteY53929"/>
              </a:cxn>
              <a:cxn ang="0">
                <a:pos x="connsiteX53930" y="connsiteY53930"/>
              </a:cxn>
              <a:cxn ang="0">
                <a:pos x="connsiteX53931" y="connsiteY53931"/>
              </a:cxn>
              <a:cxn ang="0">
                <a:pos x="connsiteX53932" y="connsiteY53932"/>
              </a:cxn>
              <a:cxn ang="0">
                <a:pos x="connsiteX53933" y="connsiteY53933"/>
              </a:cxn>
              <a:cxn ang="0">
                <a:pos x="connsiteX53934" y="connsiteY53934"/>
              </a:cxn>
              <a:cxn ang="0">
                <a:pos x="connsiteX53935" y="connsiteY53935"/>
              </a:cxn>
              <a:cxn ang="0">
                <a:pos x="connsiteX53936" y="connsiteY53936"/>
              </a:cxn>
              <a:cxn ang="0">
                <a:pos x="connsiteX53937" y="connsiteY53937"/>
              </a:cxn>
              <a:cxn ang="0">
                <a:pos x="connsiteX53938" y="connsiteY53938"/>
              </a:cxn>
              <a:cxn ang="0">
                <a:pos x="connsiteX53939" y="connsiteY53939"/>
              </a:cxn>
              <a:cxn ang="0">
                <a:pos x="connsiteX53940" y="connsiteY53940"/>
              </a:cxn>
              <a:cxn ang="0">
                <a:pos x="connsiteX53941" y="connsiteY53941"/>
              </a:cxn>
              <a:cxn ang="0">
                <a:pos x="connsiteX53942" y="connsiteY53942"/>
              </a:cxn>
              <a:cxn ang="0">
                <a:pos x="connsiteX53943" y="connsiteY53943"/>
              </a:cxn>
              <a:cxn ang="0">
                <a:pos x="connsiteX53944" y="connsiteY53944"/>
              </a:cxn>
              <a:cxn ang="0">
                <a:pos x="connsiteX53945" y="connsiteY53945"/>
              </a:cxn>
              <a:cxn ang="0">
                <a:pos x="connsiteX53946" y="connsiteY53946"/>
              </a:cxn>
              <a:cxn ang="0">
                <a:pos x="connsiteX53947" y="connsiteY53947"/>
              </a:cxn>
              <a:cxn ang="0">
                <a:pos x="connsiteX53948" y="connsiteY53948"/>
              </a:cxn>
              <a:cxn ang="0">
                <a:pos x="connsiteX53949" y="connsiteY53949"/>
              </a:cxn>
              <a:cxn ang="0">
                <a:pos x="connsiteX53950" y="connsiteY53950"/>
              </a:cxn>
              <a:cxn ang="0">
                <a:pos x="connsiteX53951" y="connsiteY53951"/>
              </a:cxn>
              <a:cxn ang="0">
                <a:pos x="connsiteX53952" y="connsiteY53952"/>
              </a:cxn>
              <a:cxn ang="0">
                <a:pos x="connsiteX53953" y="connsiteY53953"/>
              </a:cxn>
              <a:cxn ang="0">
                <a:pos x="connsiteX53954" y="connsiteY53954"/>
              </a:cxn>
              <a:cxn ang="0">
                <a:pos x="connsiteX53955" y="connsiteY53955"/>
              </a:cxn>
              <a:cxn ang="0">
                <a:pos x="connsiteX53956" y="connsiteY53956"/>
              </a:cxn>
              <a:cxn ang="0">
                <a:pos x="connsiteX53957" y="connsiteY53957"/>
              </a:cxn>
              <a:cxn ang="0">
                <a:pos x="connsiteX53958" y="connsiteY53958"/>
              </a:cxn>
              <a:cxn ang="0">
                <a:pos x="connsiteX53959" y="connsiteY53959"/>
              </a:cxn>
              <a:cxn ang="0">
                <a:pos x="connsiteX53960" y="connsiteY53960"/>
              </a:cxn>
              <a:cxn ang="0">
                <a:pos x="connsiteX53961" y="connsiteY53961"/>
              </a:cxn>
              <a:cxn ang="0">
                <a:pos x="connsiteX53962" y="connsiteY53962"/>
              </a:cxn>
              <a:cxn ang="0">
                <a:pos x="connsiteX53963" y="connsiteY53963"/>
              </a:cxn>
              <a:cxn ang="0">
                <a:pos x="connsiteX53964" y="connsiteY53964"/>
              </a:cxn>
              <a:cxn ang="0">
                <a:pos x="connsiteX53965" y="connsiteY53965"/>
              </a:cxn>
              <a:cxn ang="0">
                <a:pos x="connsiteX53966" y="connsiteY53966"/>
              </a:cxn>
              <a:cxn ang="0">
                <a:pos x="connsiteX53967" y="connsiteY53967"/>
              </a:cxn>
              <a:cxn ang="0">
                <a:pos x="connsiteX53968" y="connsiteY53968"/>
              </a:cxn>
              <a:cxn ang="0">
                <a:pos x="connsiteX53969" y="connsiteY53969"/>
              </a:cxn>
              <a:cxn ang="0">
                <a:pos x="connsiteX53970" y="connsiteY53970"/>
              </a:cxn>
              <a:cxn ang="0">
                <a:pos x="connsiteX53971" y="connsiteY53971"/>
              </a:cxn>
              <a:cxn ang="0">
                <a:pos x="connsiteX53972" y="connsiteY53972"/>
              </a:cxn>
              <a:cxn ang="0">
                <a:pos x="connsiteX53973" y="connsiteY53973"/>
              </a:cxn>
              <a:cxn ang="0">
                <a:pos x="connsiteX53974" y="connsiteY53974"/>
              </a:cxn>
              <a:cxn ang="0">
                <a:pos x="connsiteX53975" y="connsiteY53975"/>
              </a:cxn>
              <a:cxn ang="0">
                <a:pos x="connsiteX53976" y="connsiteY53976"/>
              </a:cxn>
              <a:cxn ang="0">
                <a:pos x="connsiteX53977" y="connsiteY53977"/>
              </a:cxn>
              <a:cxn ang="0">
                <a:pos x="connsiteX53978" y="connsiteY53978"/>
              </a:cxn>
              <a:cxn ang="0">
                <a:pos x="connsiteX53979" y="connsiteY53979"/>
              </a:cxn>
              <a:cxn ang="0">
                <a:pos x="connsiteX53980" y="connsiteY53980"/>
              </a:cxn>
              <a:cxn ang="0">
                <a:pos x="connsiteX53981" y="connsiteY53981"/>
              </a:cxn>
              <a:cxn ang="0">
                <a:pos x="connsiteX53982" y="connsiteY53982"/>
              </a:cxn>
              <a:cxn ang="0">
                <a:pos x="connsiteX53983" y="connsiteY53983"/>
              </a:cxn>
              <a:cxn ang="0">
                <a:pos x="connsiteX53984" y="connsiteY53984"/>
              </a:cxn>
              <a:cxn ang="0">
                <a:pos x="connsiteX53985" y="connsiteY53985"/>
              </a:cxn>
              <a:cxn ang="0">
                <a:pos x="connsiteX53986" y="connsiteY53986"/>
              </a:cxn>
              <a:cxn ang="0">
                <a:pos x="connsiteX53987" y="connsiteY53987"/>
              </a:cxn>
              <a:cxn ang="0">
                <a:pos x="connsiteX53988" y="connsiteY53988"/>
              </a:cxn>
              <a:cxn ang="0">
                <a:pos x="connsiteX53989" y="connsiteY53989"/>
              </a:cxn>
              <a:cxn ang="0">
                <a:pos x="connsiteX53990" y="connsiteY53990"/>
              </a:cxn>
              <a:cxn ang="0">
                <a:pos x="connsiteX53991" y="connsiteY53991"/>
              </a:cxn>
              <a:cxn ang="0">
                <a:pos x="connsiteX53992" y="connsiteY53992"/>
              </a:cxn>
              <a:cxn ang="0">
                <a:pos x="connsiteX53993" y="connsiteY53993"/>
              </a:cxn>
              <a:cxn ang="0">
                <a:pos x="connsiteX53994" y="connsiteY53994"/>
              </a:cxn>
              <a:cxn ang="0">
                <a:pos x="connsiteX53995" y="connsiteY53995"/>
              </a:cxn>
              <a:cxn ang="0">
                <a:pos x="connsiteX53996" y="connsiteY53996"/>
              </a:cxn>
              <a:cxn ang="0">
                <a:pos x="connsiteX53997" y="connsiteY53997"/>
              </a:cxn>
              <a:cxn ang="0">
                <a:pos x="connsiteX53998" y="connsiteY53998"/>
              </a:cxn>
              <a:cxn ang="0">
                <a:pos x="connsiteX53999" y="connsiteY53999"/>
              </a:cxn>
              <a:cxn ang="0">
                <a:pos x="connsiteX54000" y="connsiteY54000"/>
              </a:cxn>
              <a:cxn ang="0">
                <a:pos x="connsiteX54001" y="connsiteY54001"/>
              </a:cxn>
              <a:cxn ang="0">
                <a:pos x="connsiteX54002" y="connsiteY54002"/>
              </a:cxn>
              <a:cxn ang="0">
                <a:pos x="connsiteX54003" y="connsiteY54003"/>
              </a:cxn>
              <a:cxn ang="0">
                <a:pos x="connsiteX54004" y="connsiteY54004"/>
              </a:cxn>
              <a:cxn ang="0">
                <a:pos x="connsiteX54005" y="connsiteY54005"/>
              </a:cxn>
              <a:cxn ang="0">
                <a:pos x="connsiteX54006" y="connsiteY54006"/>
              </a:cxn>
              <a:cxn ang="0">
                <a:pos x="connsiteX54007" y="connsiteY54007"/>
              </a:cxn>
              <a:cxn ang="0">
                <a:pos x="connsiteX54008" y="connsiteY54008"/>
              </a:cxn>
              <a:cxn ang="0">
                <a:pos x="connsiteX54009" y="connsiteY54009"/>
              </a:cxn>
              <a:cxn ang="0">
                <a:pos x="connsiteX54010" y="connsiteY54010"/>
              </a:cxn>
              <a:cxn ang="0">
                <a:pos x="connsiteX54011" y="connsiteY54011"/>
              </a:cxn>
              <a:cxn ang="0">
                <a:pos x="connsiteX54012" y="connsiteY54012"/>
              </a:cxn>
              <a:cxn ang="0">
                <a:pos x="connsiteX54013" y="connsiteY54013"/>
              </a:cxn>
              <a:cxn ang="0">
                <a:pos x="connsiteX54014" y="connsiteY54014"/>
              </a:cxn>
              <a:cxn ang="0">
                <a:pos x="connsiteX54015" y="connsiteY54015"/>
              </a:cxn>
              <a:cxn ang="0">
                <a:pos x="connsiteX54016" y="connsiteY54016"/>
              </a:cxn>
              <a:cxn ang="0">
                <a:pos x="connsiteX54017" y="connsiteY54017"/>
              </a:cxn>
              <a:cxn ang="0">
                <a:pos x="connsiteX54018" y="connsiteY54018"/>
              </a:cxn>
              <a:cxn ang="0">
                <a:pos x="connsiteX54019" y="connsiteY54019"/>
              </a:cxn>
              <a:cxn ang="0">
                <a:pos x="connsiteX54020" y="connsiteY54020"/>
              </a:cxn>
              <a:cxn ang="0">
                <a:pos x="connsiteX54021" y="connsiteY54021"/>
              </a:cxn>
              <a:cxn ang="0">
                <a:pos x="connsiteX54022" y="connsiteY54022"/>
              </a:cxn>
              <a:cxn ang="0">
                <a:pos x="connsiteX54023" y="connsiteY54023"/>
              </a:cxn>
              <a:cxn ang="0">
                <a:pos x="connsiteX54024" y="connsiteY54024"/>
              </a:cxn>
              <a:cxn ang="0">
                <a:pos x="connsiteX54025" y="connsiteY54025"/>
              </a:cxn>
              <a:cxn ang="0">
                <a:pos x="connsiteX54026" y="connsiteY54026"/>
              </a:cxn>
              <a:cxn ang="0">
                <a:pos x="connsiteX54027" y="connsiteY54027"/>
              </a:cxn>
              <a:cxn ang="0">
                <a:pos x="connsiteX54028" y="connsiteY54028"/>
              </a:cxn>
              <a:cxn ang="0">
                <a:pos x="connsiteX54029" y="connsiteY54029"/>
              </a:cxn>
              <a:cxn ang="0">
                <a:pos x="connsiteX54030" y="connsiteY54030"/>
              </a:cxn>
              <a:cxn ang="0">
                <a:pos x="connsiteX54031" y="connsiteY54031"/>
              </a:cxn>
              <a:cxn ang="0">
                <a:pos x="connsiteX54032" y="connsiteY54032"/>
              </a:cxn>
              <a:cxn ang="0">
                <a:pos x="connsiteX54033" y="connsiteY54033"/>
              </a:cxn>
              <a:cxn ang="0">
                <a:pos x="connsiteX54034" y="connsiteY54034"/>
              </a:cxn>
              <a:cxn ang="0">
                <a:pos x="connsiteX54035" y="connsiteY54035"/>
              </a:cxn>
              <a:cxn ang="0">
                <a:pos x="connsiteX54036" y="connsiteY54036"/>
              </a:cxn>
              <a:cxn ang="0">
                <a:pos x="connsiteX54037" y="connsiteY54037"/>
              </a:cxn>
              <a:cxn ang="0">
                <a:pos x="connsiteX54038" y="connsiteY54038"/>
              </a:cxn>
              <a:cxn ang="0">
                <a:pos x="connsiteX54039" y="connsiteY54039"/>
              </a:cxn>
              <a:cxn ang="0">
                <a:pos x="connsiteX54040" y="connsiteY54040"/>
              </a:cxn>
              <a:cxn ang="0">
                <a:pos x="connsiteX54041" y="connsiteY54041"/>
              </a:cxn>
              <a:cxn ang="0">
                <a:pos x="connsiteX54042" y="connsiteY54042"/>
              </a:cxn>
              <a:cxn ang="0">
                <a:pos x="connsiteX54043" y="connsiteY54043"/>
              </a:cxn>
              <a:cxn ang="0">
                <a:pos x="connsiteX54044" y="connsiteY54044"/>
              </a:cxn>
              <a:cxn ang="0">
                <a:pos x="connsiteX54045" y="connsiteY54045"/>
              </a:cxn>
              <a:cxn ang="0">
                <a:pos x="connsiteX54046" y="connsiteY54046"/>
              </a:cxn>
              <a:cxn ang="0">
                <a:pos x="connsiteX54047" y="connsiteY54047"/>
              </a:cxn>
              <a:cxn ang="0">
                <a:pos x="connsiteX54048" y="connsiteY54048"/>
              </a:cxn>
              <a:cxn ang="0">
                <a:pos x="connsiteX54049" y="connsiteY54049"/>
              </a:cxn>
              <a:cxn ang="0">
                <a:pos x="connsiteX54050" y="connsiteY54050"/>
              </a:cxn>
              <a:cxn ang="0">
                <a:pos x="connsiteX54051" y="connsiteY54051"/>
              </a:cxn>
              <a:cxn ang="0">
                <a:pos x="connsiteX54052" y="connsiteY54052"/>
              </a:cxn>
              <a:cxn ang="0">
                <a:pos x="connsiteX54053" y="connsiteY54053"/>
              </a:cxn>
              <a:cxn ang="0">
                <a:pos x="connsiteX54054" y="connsiteY54054"/>
              </a:cxn>
              <a:cxn ang="0">
                <a:pos x="connsiteX54055" y="connsiteY54055"/>
              </a:cxn>
              <a:cxn ang="0">
                <a:pos x="connsiteX54056" y="connsiteY54056"/>
              </a:cxn>
              <a:cxn ang="0">
                <a:pos x="connsiteX54057" y="connsiteY54057"/>
              </a:cxn>
              <a:cxn ang="0">
                <a:pos x="connsiteX54058" y="connsiteY54058"/>
              </a:cxn>
              <a:cxn ang="0">
                <a:pos x="connsiteX54059" y="connsiteY54059"/>
              </a:cxn>
              <a:cxn ang="0">
                <a:pos x="connsiteX54060" y="connsiteY54060"/>
              </a:cxn>
              <a:cxn ang="0">
                <a:pos x="connsiteX54061" y="connsiteY54061"/>
              </a:cxn>
              <a:cxn ang="0">
                <a:pos x="connsiteX54062" y="connsiteY54062"/>
              </a:cxn>
              <a:cxn ang="0">
                <a:pos x="connsiteX54063" y="connsiteY54063"/>
              </a:cxn>
              <a:cxn ang="0">
                <a:pos x="connsiteX54064" y="connsiteY54064"/>
              </a:cxn>
              <a:cxn ang="0">
                <a:pos x="connsiteX54065" y="connsiteY54065"/>
              </a:cxn>
              <a:cxn ang="0">
                <a:pos x="connsiteX54066" y="connsiteY54066"/>
              </a:cxn>
              <a:cxn ang="0">
                <a:pos x="connsiteX54067" y="connsiteY54067"/>
              </a:cxn>
              <a:cxn ang="0">
                <a:pos x="connsiteX54068" y="connsiteY54068"/>
              </a:cxn>
              <a:cxn ang="0">
                <a:pos x="connsiteX54069" y="connsiteY54069"/>
              </a:cxn>
              <a:cxn ang="0">
                <a:pos x="connsiteX54070" y="connsiteY54070"/>
              </a:cxn>
              <a:cxn ang="0">
                <a:pos x="connsiteX54071" y="connsiteY54071"/>
              </a:cxn>
              <a:cxn ang="0">
                <a:pos x="connsiteX54072" y="connsiteY54072"/>
              </a:cxn>
              <a:cxn ang="0">
                <a:pos x="connsiteX54073" y="connsiteY54073"/>
              </a:cxn>
              <a:cxn ang="0">
                <a:pos x="connsiteX54074" y="connsiteY54074"/>
              </a:cxn>
              <a:cxn ang="0">
                <a:pos x="connsiteX54075" y="connsiteY54075"/>
              </a:cxn>
              <a:cxn ang="0">
                <a:pos x="connsiteX54076" y="connsiteY54076"/>
              </a:cxn>
              <a:cxn ang="0">
                <a:pos x="connsiteX54077" y="connsiteY54077"/>
              </a:cxn>
              <a:cxn ang="0">
                <a:pos x="connsiteX54078" y="connsiteY54078"/>
              </a:cxn>
              <a:cxn ang="0">
                <a:pos x="connsiteX54079" y="connsiteY54079"/>
              </a:cxn>
              <a:cxn ang="0">
                <a:pos x="connsiteX54080" y="connsiteY54080"/>
              </a:cxn>
              <a:cxn ang="0">
                <a:pos x="connsiteX54081" y="connsiteY54081"/>
              </a:cxn>
              <a:cxn ang="0">
                <a:pos x="connsiteX54082" y="connsiteY54082"/>
              </a:cxn>
              <a:cxn ang="0">
                <a:pos x="connsiteX54083" y="connsiteY54083"/>
              </a:cxn>
              <a:cxn ang="0">
                <a:pos x="connsiteX54084" y="connsiteY54084"/>
              </a:cxn>
              <a:cxn ang="0">
                <a:pos x="connsiteX54085" y="connsiteY54085"/>
              </a:cxn>
              <a:cxn ang="0">
                <a:pos x="connsiteX54086" y="connsiteY54086"/>
              </a:cxn>
              <a:cxn ang="0">
                <a:pos x="connsiteX54087" y="connsiteY54087"/>
              </a:cxn>
              <a:cxn ang="0">
                <a:pos x="connsiteX54088" y="connsiteY54088"/>
              </a:cxn>
              <a:cxn ang="0">
                <a:pos x="connsiteX54089" y="connsiteY54089"/>
              </a:cxn>
              <a:cxn ang="0">
                <a:pos x="connsiteX54090" y="connsiteY54090"/>
              </a:cxn>
              <a:cxn ang="0">
                <a:pos x="connsiteX54091" y="connsiteY54091"/>
              </a:cxn>
              <a:cxn ang="0">
                <a:pos x="connsiteX54092" y="connsiteY54092"/>
              </a:cxn>
              <a:cxn ang="0">
                <a:pos x="connsiteX54093" y="connsiteY54093"/>
              </a:cxn>
              <a:cxn ang="0">
                <a:pos x="connsiteX54094" y="connsiteY54094"/>
              </a:cxn>
              <a:cxn ang="0">
                <a:pos x="connsiteX54095" y="connsiteY54095"/>
              </a:cxn>
              <a:cxn ang="0">
                <a:pos x="connsiteX54096" y="connsiteY54096"/>
              </a:cxn>
              <a:cxn ang="0">
                <a:pos x="connsiteX54097" y="connsiteY54097"/>
              </a:cxn>
              <a:cxn ang="0">
                <a:pos x="connsiteX54098" y="connsiteY54098"/>
              </a:cxn>
              <a:cxn ang="0">
                <a:pos x="connsiteX54099" y="connsiteY54099"/>
              </a:cxn>
              <a:cxn ang="0">
                <a:pos x="connsiteX54100" y="connsiteY54100"/>
              </a:cxn>
              <a:cxn ang="0">
                <a:pos x="connsiteX54101" y="connsiteY54101"/>
              </a:cxn>
              <a:cxn ang="0">
                <a:pos x="connsiteX54102" y="connsiteY54102"/>
              </a:cxn>
              <a:cxn ang="0">
                <a:pos x="connsiteX54103" y="connsiteY54103"/>
              </a:cxn>
              <a:cxn ang="0">
                <a:pos x="connsiteX54104" y="connsiteY54104"/>
              </a:cxn>
              <a:cxn ang="0">
                <a:pos x="connsiteX54105" y="connsiteY54105"/>
              </a:cxn>
              <a:cxn ang="0">
                <a:pos x="connsiteX54106" y="connsiteY54106"/>
              </a:cxn>
              <a:cxn ang="0">
                <a:pos x="connsiteX54107" y="connsiteY54107"/>
              </a:cxn>
              <a:cxn ang="0">
                <a:pos x="connsiteX54108" y="connsiteY54108"/>
              </a:cxn>
              <a:cxn ang="0">
                <a:pos x="connsiteX54109" y="connsiteY54109"/>
              </a:cxn>
              <a:cxn ang="0">
                <a:pos x="connsiteX54110" y="connsiteY54110"/>
              </a:cxn>
              <a:cxn ang="0">
                <a:pos x="connsiteX54111" y="connsiteY54111"/>
              </a:cxn>
              <a:cxn ang="0">
                <a:pos x="connsiteX54112" y="connsiteY54112"/>
              </a:cxn>
              <a:cxn ang="0">
                <a:pos x="connsiteX54113" y="connsiteY54113"/>
              </a:cxn>
              <a:cxn ang="0">
                <a:pos x="connsiteX54114" y="connsiteY54114"/>
              </a:cxn>
              <a:cxn ang="0">
                <a:pos x="connsiteX54115" y="connsiteY54115"/>
              </a:cxn>
              <a:cxn ang="0">
                <a:pos x="connsiteX54116" y="connsiteY54116"/>
              </a:cxn>
              <a:cxn ang="0">
                <a:pos x="connsiteX54117" y="connsiteY54117"/>
              </a:cxn>
              <a:cxn ang="0">
                <a:pos x="connsiteX54118" y="connsiteY54118"/>
              </a:cxn>
              <a:cxn ang="0">
                <a:pos x="connsiteX54119" y="connsiteY54119"/>
              </a:cxn>
              <a:cxn ang="0">
                <a:pos x="connsiteX54120" y="connsiteY54120"/>
              </a:cxn>
              <a:cxn ang="0">
                <a:pos x="connsiteX54121" y="connsiteY54121"/>
              </a:cxn>
              <a:cxn ang="0">
                <a:pos x="connsiteX54122" y="connsiteY54122"/>
              </a:cxn>
              <a:cxn ang="0">
                <a:pos x="connsiteX54123" y="connsiteY54123"/>
              </a:cxn>
              <a:cxn ang="0">
                <a:pos x="connsiteX54124" y="connsiteY54124"/>
              </a:cxn>
              <a:cxn ang="0">
                <a:pos x="connsiteX54125" y="connsiteY54125"/>
              </a:cxn>
              <a:cxn ang="0">
                <a:pos x="connsiteX54126" y="connsiteY54126"/>
              </a:cxn>
              <a:cxn ang="0">
                <a:pos x="connsiteX54127" y="connsiteY54127"/>
              </a:cxn>
              <a:cxn ang="0">
                <a:pos x="connsiteX54128" y="connsiteY54128"/>
              </a:cxn>
              <a:cxn ang="0">
                <a:pos x="connsiteX54129" y="connsiteY54129"/>
              </a:cxn>
              <a:cxn ang="0">
                <a:pos x="connsiteX54130" y="connsiteY54130"/>
              </a:cxn>
              <a:cxn ang="0">
                <a:pos x="connsiteX54131" y="connsiteY54131"/>
              </a:cxn>
              <a:cxn ang="0">
                <a:pos x="connsiteX54132" y="connsiteY54132"/>
              </a:cxn>
              <a:cxn ang="0">
                <a:pos x="connsiteX54133" y="connsiteY54133"/>
              </a:cxn>
              <a:cxn ang="0">
                <a:pos x="connsiteX54134" y="connsiteY54134"/>
              </a:cxn>
              <a:cxn ang="0">
                <a:pos x="connsiteX54135" y="connsiteY54135"/>
              </a:cxn>
              <a:cxn ang="0">
                <a:pos x="connsiteX54136" y="connsiteY54136"/>
              </a:cxn>
              <a:cxn ang="0">
                <a:pos x="connsiteX54137" y="connsiteY54137"/>
              </a:cxn>
              <a:cxn ang="0">
                <a:pos x="connsiteX54138" y="connsiteY54138"/>
              </a:cxn>
              <a:cxn ang="0">
                <a:pos x="connsiteX54139" y="connsiteY54139"/>
              </a:cxn>
              <a:cxn ang="0">
                <a:pos x="connsiteX54140" y="connsiteY54140"/>
              </a:cxn>
              <a:cxn ang="0">
                <a:pos x="connsiteX54141" y="connsiteY54141"/>
              </a:cxn>
              <a:cxn ang="0">
                <a:pos x="connsiteX54142" y="connsiteY54142"/>
              </a:cxn>
              <a:cxn ang="0">
                <a:pos x="connsiteX54143" y="connsiteY54143"/>
              </a:cxn>
              <a:cxn ang="0">
                <a:pos x="connsiteX54144" y="connsiteY54144"/>
              </a:cxn>
              <a:cxn ang="0">
                <a:pos x="connsiteX54145" y="connsiteY54145"/>
              </a:cxn>
              <a:cxn ang="0">
                <a:pos x="connsiteX54146" y="connsiteY54146"/>
              </a:cxn>
              <a:cxn ang="0">
                <a:pos x="connsiteX54147" y="connsiteY54147"/>
              </a:cxn>
              <a:cxn ang="0">
                <a:pos x="connsiteX54148" y="connsiteY54148"/>
              </a:cxn>
              <a:cxn ang="0">
                <a:pos x="connsiteX54149" y="connsiteY54149"/>
              </a:cxn>
              <a:cxn ang="0">
                <a:pos x="connsiteX54150" y="connsiteY54150"/>
              </a:cxn>
              <a:cxn ang="0">
                <a:pos x="connsiteX54151" y="connsiteY54151"/>
              </a:cxn>
              <a:cxn ang="0">
                <a:pos x="connsiteX54152" y="connsiteY54152"/>
              </a:cxn>
              <a:cxn ang="0">
                <a:pos x="connsiteX54153" y="connsiteY54153"/>
              </a:cxn>
              <a:cxn ang="0">
                <a:pos x="connsiteX54154" y="connsiteY54154"/>
              </a:cxn>
              <a:cxn ang="0">
                <a:pos x="connsiteX54155" y="connsiteY54155"/>
              </a:cxn>
              <a:cxn ang="0">
                <a:pos x="connsiteX54156" y="connsiteY54156"/>
              </a:cxn>
              <a:cxn ang="0">
                <a:pos x="connsiteX54157" y="connsiteY54157"/>
              </a:cxn>
              <a:cxn ang="0">
                <a:pos x="connsiteX54158" y="connsiteY54158"/>
              </a:cxn>
              <a:cxn ang="0">
                <a:pos x="connsiteX54159" y="connsiteY54159"/>
              </a:cxn>
              <a:cxn ang="0">
                <a:pos x="connsiteX54160" y="connsiteY54160"/>
              </a:cxn>
              <a:cxn ang="0">
                <a:pos x="connsiteX54161" y="connsiteY54161"/>
              </a:cxn>
              <a:cxn ang="0">
                <a:pos x="connsiteX54162" y="connsiteY54162"/>
              </a:cxn>
              <a:cxn ang="0">
                <a:pos x="connsiteX54163" y="connsiteY54163"/>
              </a:cxn>
              <a:cxn ang="0">
                <a:pos x="connsiteX54164" y="connsiteY54164"/>
              </a:cxn>
              <a:cxn ang="0">
                <a:pos x="connsiteX54165" y="connsiteY54165"/>
              </a:cxn>
              <a:cxn ang="0">
                <a:pos x="connsiteX54166" y="connsiteY54166"/>
              </a:cxn>
              <a:cxn ang="0">
                <a:pos x="connsiteX54167" y="connsiteY54167"/>
              </a:cxn>
              <a:cxn ang="0">
                <a:pos x="connsiteX54168" y="connsiteY54168"/>
              </a:cxn>
              <a:cxn ang="0">
                <a:pos x="connsiteX54169" y="connsiteY54169"/>
              </a:cxn>
              <a:cxn ang="0">
                <a:pos x="connsiteX54170" y="connsiteY54170"/>
              </a:cxn>
              <a:cxn ang="0">
                <a:pos x="connsiteX54171" y="connsiteY54171"/>
              </a:cxn>
              <a:cxn ang="0">
                <a:pos x="connsiteX54172" y="connsiteY54172"/>
              </a:cxn>
              <a:cxn ang="0">
                <a:pos x="connsiteX54173" y="connsiteY54173"/>
              </a:cxn>
              <a:cxn ang="0">
                <a:pos x="connsiteX54174" y="connsiteY54174"/>
              </a:cxn>
              <a:cxn ang="0">
                <a:pos x="connsiteX54175" y="connsiteY54175"/>
              </a:cxn>
              <a:cxn ang="0">
                <a:pos x="connsiteX54176" y="connsiteY54176"/>
              </a:cxn>
              <a:cxn ang="0">
                <a:pos x="connsiteX54177" y="connsiteY54177"/>
              </a:cxn>
              <a:cxn ang="0">
                <a:pos x="connsiteX54178" y="connsiteY54178"/>
              </a:cxn>
              <a:cxn ang="0">
                <a:pos x="connsiteX54179" y="connsiteY54179"/>
              </a:cxn>
              <a:cxn ang="0">
                <a:pos x="connsiteX54180" y="connsiteY54180"/>
              </a:cxn>
              <a:cxn ang="0">
                <a:pos x="connsiteX54181" y="connsiteY54181"/>
              </a:cxn>
              <a:cxn ang="0">
                <a:pos x="connsiteX54182" y="connsiteY54182"/>
              </a:cxn>
              <a:cxn ang="0">
                <a:pos x="connsiteX54183" y="connsiteY54183"/>
              </a:cxn>
              <a:cxn ang="0">
                <a:pos x="connsiteX54184" y="connsiteY54184"/>
              </a:cxn>
              <a:cxn ang="0">
                <a:pos x="connsiteX54185" y="connsiteY54185"/>
              </a:cxn>
              <a:cxn ang="0">
                <a:pos x="connsiteX54186" y="connsiteY54186"/>
              </a:cxn>
              <a:cxn ang="0">
                <a:pos x="connsiteX54187" y="connsiteY54187"/>
              </a:cxn>
              <a:cxn ang="0">
                <a:pos x="connsiteX54188" y="connsiteY54188"/>
              </a:cxn>
              <a:cxn ang="0">
                <a:pos x="connsiteX54189" y="connsiteY54189"/>
              </a:cxn>
              <a:cxn ang="0">
                <a:pos x="connsiteX54190" y="connsiteY54190"/>
              </a:cxn>
              <a:cxn ang="0">
                <a:pos x="connsiteX54191" y="connsiteY54191"/>
              </a:cxn>
              <a:cxn ang="0">
                <a:pos x="connsiteX54192" y="connsiteY54192"/>
              </a:cxn>
              <a:cxn ang="0">
                <a:pos x="connsiteX54193" y="connsiteY54193"/>
              </a:cxn>
              <a:cxn ang="0">
                <a:pos x="connsiteX54194" y="connsiteY54194"/>
              </a:cxn>
              <a:cxn ang="0">
                <a:pos x="connsiteX54195" y="connsiteY54195"/>
              </a:cxn>
              <a:cxn ang="0">
                <a:pos x="connsiteX54196" y="connsiteY54196"/>
              </a:cxn>
              <a:cxn ang="0">
                <a:pos x="connsiteX54197" y="connsiteY54197"/>
              </a:cxn>
              <a:cxn ang="0">
                <a:pos x="connsiteX54198" y="connsiteY54198"/>
              </a:cxn>
              <a:cxn ang="0">
                <a:pos x="connsiteX54199" y="connsiteY54199"/>
              </a:cxn>
              <a:cxn ang="0">
                <a:pos x="connsiteX54200" y="connsiteY54200"/>
              </a:cxn>
              <a:cxn ang="0">
                <a:pos x="connsiteX54201" y="connsiteY54201"/>
              </a:cxn>
              <a:cxn ang="0">
                <a:pos x="connsiteX54202" y="connsiteY54202"/>
              </a:cxn>
              <a:cxn ang="0">
                <a:pos x="connsiteX54203" y="connsiteY54203"/>
              </a:cxn>
              <a:cxn ang="0">
                <a:pos x="connsiteX54204" y="connsiteY54204"/>
              </a:cxn>
              <a:cxn ang="0">
                <a:pos x="connsiteX54205" y="connsiteY54205"/>
              </a:cxn>
              <a:cxn ang="0">
                <a:pos x="connsiteX54206" y="connsiteY54206"/>
              </a:cxn>
              <a:cxn ang="0">
                <a:pos x="connsiteX54207" y="connsiteY54207"/>
              </a:cxn>
              <a:cxn ang="0">
                <a:pos x="connsiteX54208" y="connsiteY54208"/>
              </a:cxn>
              <a:cxn ang="0">
                <a:pos x="connsiteX54209" y="connsiteY54209"/>
              </a:cxn>
              <a:cxn ang="0">
                <a:pos x="connsiteX54210" y="connsiteY54210"/>
              </a:cxn>
              <a:cxn ang="0">
                <a:pos x="connsiteX54211" y="connsiteY54211"/>
              </a:cxn>
              <a:cxn ang="0">
                <a:pos x="connsiteX54212" y="connsiteY54212"/>
              </a:cxn>
              <a:cxn ang="0">
                <a:pos x="connsiteX54213" y="connsiteY54213"/>
              </a:cxn>
              <a:cxn ang="0">
                <a:pos x="connsiteX54214" y="connsiteY54214"/>
              </a:cxn>
              <a:cxn ang="0">
                <a:pos x="connsiteX54215" y="connsiteY54215"/>
              </a:cxn>
              <a:cxn ang="0">
                <a:pos x="connsiteX54216" y="connsiteY54216"/>
              </a:cxn>
              <a:cxn ang="0">
                <a:pos x="connsiteX54217" y="connsiteY54217"/>
              </a:cxn>
              <a:cxn ang="0">
                <a:pos x="connsiteX54218" y="connsiteY54218"/>
              </a:cxn>
              <a:cxn ang="0">
                <a:pos x="connsiteX54219" y="connsiteY54219"/>
              </a:cxn>
              <a:cxn ang="0">
                <a:pos x="connsiteX54220" y="connsiteY54220"/>
              </a:cxn>
              <a:cxn ang="0">
                <a:pos x="connsiteX54221" y="connsiteY54221"/>
              </a:cxn>
              <a:cxn ang="0">
                <a:pos x="connsiteX54222" y="connsiteY54222"/>
              </a:cxn>
              <a:cxn ang="0">
                <a:pos x="connsiteX54223" y="connsiteY54223"/>
              </a:cxn>
              <a:cxn ang="0">
                <a:pos x="connsiteX54224" y="connsiteY54224"/>
              </a:cxn>
              <a:cxn ang="0">
                <a:pos x="connsiteX54225" y="connsiteY54225"/>
              </a:cxn>
              <a:cxn ang="0">
                <a:pos x="connsiteX54226" y="connsiteY54226"/>
              </a:cxn>
              <a:cxn ang="0">
                <a:pos x="connsiteX54227" y="connsiteY54227"/>
              </a:cxn>
              <a:cxn ang="0">
                <a:pos x="connsiteX54228" y="connsiteY54228"/>
              </a:cxn>
              <a:cxn ang="0">
                <a:pos x="connsiteX54229" y="connsiteY54229"/>
              </a:cxn>
              <a:cxn ang="0">
                <a:pos x="connsiteX54230" y="connsiteY54230"/>
              </a:cxn>
              <a:cxn ang="0">
                <a:pos x="connsiteX54231" y="connsiteY54231"/>
              </a:cxn>
              <a:cxn ang="0">
                <a:pos x="connsiteX54232" y="connsiteY54232"/>
              </a:cxn>
              <a:cxn ang="0">
                <a:pos x="connsiteX54233" y="connsiteY54233"/>
              </a:cxn>
              <a:cxn ang="0">
                <a:pos x="connsiteX54234" y="connsiteY54234"/>
              </a:cxn>
              <a:cxn ang="0">
                <a:pos x="connsiteX54235" y="connsiteY54235"/>
              </a:cxn>
              <a:cxn ang="0">
                <a:pos x="connsiteX54236" y="connsiteY54236"/>
              </a:cxn>
              <a:cxn ang="0">
                <a:pos x="connsiteX54237" y="connsiteY54237"/>
              </a:cxn>
              <a:cxn ang="0">
                <a:pos x="connsiteX54238" y="connsiteY54238"/>
              </a:cxn>
              <a:cxn ang="0">
                <a:pos x="connsiteX54239" y="connsiteY54239"/>
              </a:cxn>
              <a:cxn ang="0">
                <a:pos x="connsiteX54240" y="connsiteY54240"/>
              </a:cxn>
              <a:cxn ang="0">
                <a:pos x="connsiteX54241" y="connsiteY54241"/>
              </a:cxn>
              <a:cxn ang="0">
                <a:pos x="connsiteX54242" y="connsiteY54242"/>
              </a:cxn>
              <a:cxn ang="0">
                <a:pos x="connsiteX54243" y="connsiteY54243"/>
              </a:cxn>
              <a:cxn ang="0">
                <a:pos x="connsiteX54244" y="connsiteY54244"/>
              </a:cxn>
              <a:cxn ang="0">
                <a:pos x="connsiteX54245" y="connsiteY54245"/>
              </a:cxn>
              <a:cxn ang="0">
                <a:pos x="connsiteX54246" y="connsiteY54246"/>
              </a:cxn>
              <a:cxn ang="0">
                <a:pos x="connsiteX54247" y="connsiteY54247"/>
              </a:cxn>
              <a:cxn ang="0">
                <a:pos x="connsiteX54248" y="connsiteY54248"/>
              </a:cxn>
              <a:cxn ang="0">
                <a:pos x="connsiteX54249" y="connsiteY54249"/>
              </a:cxn>
              <a:cxn ang="0">
                <a:pos x="connsiteX54250" y="connsiteY54250"/>
              </a:cxn>
              <a:cxn ang="0">
                <a:pos x="connsiteX54251" y="connsiteY54251"/>
              </a:cxn>
              <a:cxn ang="0">
                <a:pos x="connsiteX54252" y="connsiteY54252"/>
              </a:cxn>
              <a:cxn ang="0">
                <a:pos x="connsiteX54253" y="connsiteY54253"/>
              </a:cxn>
              <a:cxn ang="0">
                <a:pos x="connsiteX54254" y="connsiteY54254"/>
              </a:cxn>
              <a:cxn ang="0">
                <a:pos x="connsiteX54255" y="connsiteY54255"/>
              </a:cxn>
              <a:cxn ang="0">
                <a:pos x="connsiteX54256" y="connsiteY54256"/>
              </a:cxn>
              <a:cxn ang="0">
                <a:pos x="connsiteX54257" y="connsiteY54257"/>
              </a:cxn>
              <a:cxn ang="0">
                <a:pos x="connsiteX54258" y="connsiteY54258"/>
              </a:cxn>
              <a:cxn ang="0">
                <a:pos x="connsiteX54259" y="connsiteY54259"/>
              </a:cxn>
              <a:cxn ang="0">
                <a:pos x="connsiteX54260" y="connsiteY54260"/>
              </a:cxn>
              <a:cxn ang="0">
                <a:pos x="connsiteX54261" y="connsiteY54261"/>
              </a:cxn>
              <a:cxn ang="0">
                <a:pos x="connsiteX54262" y="connsiteY54262"/>
              </a:cxn>
              <a:cxn ang="0">
                <a:pos x="connsiteX54263" y="connsiteY54263"/>
              </a:cxn>
              <a:cxn ang="0">
                <a:pos x="connsiteX54264" y="connsiteY54264"/>
              </a:cxn>
              <a:cxn ang="0">
                <a:pos x="connsiteX54265" y="connsiteY54265"/>
              </a:cxn>
              <a:cxn ang="0">
                <a:pos x="connsiteX54266" y="connsiteY54266"/>
              </a:cxn>
              <a:cxn ang="0">
                <a:pos x="connsiteX54267" y="connsiteY54267"/>
              </a:cxn>
              <a:cxn ang="0">
                <a:pos x="connsiteX54268" y="connsiteY54268"/>
              </a:cxn>
              <a:cxn ang="0">
                <a:pos x="connsiteX54269" y="connsiteY54269"/>
              </a:cxn>
              <a:cxn ang="0">
                <a:pos x="connsiteX54270" y="connsiteY54270"/>
              </a:cxn>
              <a:cxn ang="0">
                <a:pos x="connsiteX54271" y="connsiteY54271"/>
              </a:cxn>
              <a:cxn ang="0">
                <a:pos x="connsiteX54272" y="connsiteY54272"/>
              </a:cxn>
              <a:cxn ang="0">
                <a:pos x="connsiteX54273" y="connsiteY54273"/>
              </a:cxn>
              <a:cxn ang="0">
                <a:pos x="connsiteX54274" y="connsiteY54274"/>
              </a:cxn>
              <a:cxn ang="0">
                <a:pos x="connsiteX54275" y="connsiteY54275"/>
              </a:cxn>
              <a:cxn ang="0">
                <a:pos x="connsiteX54276" y="connsiteY54276"/>
              </a:cxn>
              <a:cxn ang="0">
                <a:pos x="connsiteX54277" y="connsiteY54277"/>
              </a:cxn>
              <a:cxn ang="0">
                <a:pos x="connsiteX54278" y="connsiteY54278"/>
              </a:cxn>
              <a:cxn ang="0">
                <a:pos x="connsiteX54279" y="connsiteY54279"/>
              </a:cxn>
              <a:cxn ang="0">
                <a:pos x="connsiteX54280" y="connsiteY54280"/>
              </a:cxn>
              <a:cxn ang="0">
                <a:pos x="connsiteX54281" y="connsiteY54281"/>
              </a:cxn>
              <a:cxn ang="0">
                <a:pos x="connsiteX54282" y="connsiteY54282"/>
              </a:cxn>
              <a:cxn ang="0">
                <a:pos x="connsiteX54283" y="connsiteY54283"/>
              </a:cxn>
              <a:cxn ang="0">
                <a:pos x="connsiteX54284" y="connsiteY54284"/>
              </a:cxn>
              <a:cxn ang="0">
                <a:pos x="connsiteX54285" y="connsiteY54285"/>
              </a:cxn>
              <a:cxn ang="0">
                <a:pos x="connsiteX54286" y="connsiteY54286"/>
              </a:cxn>
              <a:cxn ang="0">
                <a:pos x="connsiteX54287" y="connsiteY54287"/>
              </a:cxn>
              <a:cxn ang="0">
                <a:pos x="connsiteX54288" y="connsiteY54288"/>
              </a:cxn>
              <a:cxn ang="0">
                <a:pos x="connsiteX54289" y="connsiteY54289"/>
              </a:cxn>
              <a:cxn ang="0">
                <a:pos x="connsiteX54290" y="connsiteY54290"/>
              </a:cxn>
              <a:cxn ang="0">
                <a:pos x="connsiteX54291" y="connsiteY54291"/>
              </a:cxn>
              <a:cxn ang="0">
                <a:pos x="connsiteX54292" y="connsiteY54292"/>
              </a:cxn>
              <a:cxn ang="0">
                <a:pos x="connsiteX54293" y="connsiteY54293"/>
              </a:cxn>
              <a:cxn ang="0">
                <a:pos x="connsiteX54294" y="connsiteY54294"/>
              </a:cxn>
              <a:cxn ang="0">
                <a:pos x="connsiteX54295" y="connsiteY54295"/>
              </a:cxn>
              <a:cxn ang="0">
                <a:pos x="connsiteX54296" y="connsiteY54296"/>
              </a:cxn>
              <a:cxn ang="0">
                <a:pos x="connsiteX54297" y="connsiteY54297"/>
              </a:cxn>
              <a:cxn ang="0">
                <a:pos x="connsiteX54298" y="connsiteY54298"/>
              </a:cxn>
              <a:cxn ang="0">
                <a:pos x="connsiteX54299" y="connsiteY54299"/>
              </a:cxn>
              <a:cxn ang="0">
                <a:pos x="connsiteX54300" y="connsiteY54300"/>
              </a:cxn>
              <a:cxn ang="0">
                <a:pos x="connsiteX54301" y="connsiteY54301"/>
              </a:cxn>
              <a:cxn ang="0">
                <a:pos x="connsiteX54302" y="connsiteY54302"/>
              </a:cxn>
              <a:cxn ang="0">
                <a:pos x="connsiteX54303" y="connsiteY54303"/>
              </a:cxn>
              <a:cxn ang="0">
                <a:pos x="connsiteX54304" y="connsiteY54304"/>
              </a:cxn>
              <a:cxn ang="0">
                <a:pos x="connsiteX54305" y="connsiteY54305"/>
              </a:cxn>
              <a:cxn ang="0">
                <a:pos x="connsiteX54306" y="connsiteY54306"/>
              </a:cxn>
              <a:cxn ang="0">
                <a:pos x="connsiteX54307" y="connsiteY54307"/>
              </a:cxn>
              <a:cxn ang="0">
                <a:pos x="connsiteX54308" y="connsiteY54308"/>
              </a:cxn>
              <a:cxn ang="0">
                <a:pos x="connsiteX54309" y="connsiteY54309"/>
              </a:cxn>
              <a:cxn ang="0">
                <a:pos x="connsiteX54310" y="connsiteY54310"/>
              </a:cxn>
              <a:cxn ang="0">
                <a:pos x="connsiteX54311" y="connsiteY54311"/>
              </a:cxn>
              <a:cxn ang="0">
                <a:pos x="connsiteX54312" y="connsiteY54312"/>
              </a:cxn>
              <a:cxn ang="0">
                <a:pos x="connsiteX54313" y="connsiteY54313"/>
              </a:cxn>
              <a:cxn ang="0">
                <a:pos x="connsiteX54314" y="connsiteY54314"/>
              </a:cxn>
              <a:cxn ang="0">
                <a:pos x="connsiteX54315" y="connsiteY54315"/>
              </a:cxn>
              <a:cxn ang="0">
                <a:pos x="connsiteX54316" y="connsiteY54316"/>
              </a:cxn>
              <a:cxn ang="0">
                <a:pos x="connsiteX54317" y="connsiteY54317"/>
              </a:cxn>
              <a:cxn ang="0">
                <a:pos x="connsiteX54318" y="connsiteY54318"/>
              </a:cxn>
              <a:cxn ang="0">
                <a:pos x="connsiteX54319" y="connsiteY54319"/>
              </a:cxn>
              <a:cxn ang="0">
                <a:pos x="connsiteX54320" y="connsiteY54320"/>
              </a:cxn>
              <a:cxn ang="0">
                <a:pos x="connsiteX54321" y="connsiteY54321"/>
              </a:cxn>
              <a:cxn ang="0">
                <a:pos x="connsiteX54322" y="connsiteY54322"/>
              </a:cxn>
              <a:cxn ang="0">
                <a:pos x="connsiteX54323" y="connsiteY54323"/>
              </a:cxn>
              <a:cxn ang="0">
                <a:pos x="connsiteX54324" y="connsiteY54324"/>
              </a:cxn>
              <a:cxn ang="0">
                <a:pos x="connsiteX54325" y="connsiteY54325"/>
              </a:cxn>
              <a:cxn ang="0">
                <a:pos x="connsiteX54326" y="connsiteY54326"/>
              </a:cxn>
              <a:cxn ang="0">
                <a:pos x="connsiteX54327" y="connsiteY54327"/>
              </a:cxn>
              <a:cxn ang="0">
                <a:pos x="connsiteX54328" y="connsiteY54328"/>
              </a:cxn>
              <a:cxn ang="0">
                <a:pos x="connsiteX54329" y="connsiteY54329"/>
              </a:cxn>
              <a:cxn ang="0">
                <a:pos x="connsiteX54330" y="connsiteY54330"/>
              </a:cxn>
              <a:cxn ang="0">
                <a:pos x="connsiteX54331" y="connsiteY54331"/>
              </a:cxn>
              <a:cxn ang="0">
                <a:pos x="connsiteX54332" y="connsiteY54332"/>
              </a:cxn>
              <a:cxn ang="0">
                <a:pos x="connsiteX54333" y="connsiteY54333"/>
              </a:cxn>
              <a:cxn ang="0">
                <a:pos x="connsiteX54334" y="connsiteY54334"/>
              </a:cxn>
              <a:cxn ang="0">
                <a:pos x="connsiteX54335" y="connsiteY54335"/>
              </a:cxn>
              <a:cxn ang="0">
                <a:pos x="connsiteX54336" y="connsiteY54336"/>
              </a:cxn>
              <a:cxn ang="0">
                <a:pos x="connsiteX54337" y="connsiteY54337"/>
              </a:cxn>
              <a:cxn ang="0">
                <a:pos x="connsiteX54338" y="connsiteY54338"/>
              </a:cxn>
              <a:cxn ang="0">
                <a:pos x="connsiteX54339" y="connsiteY54339"/>
              </a:cxn>
              <a:cxn ang="0">
                <a:pos x="connsiteX54340" y="connsiteY54340"/>
              </a:cxn>
              <a:cxn ang="0">
                <a:pos x="connsiteX54341" y="connsiteY54341"/>
              </a:cxn>
              <a:cxn ang="0">
                <a:pos x="connsiteX54342" y="connsiteY54342"/>
              </a:cxn>
              <a:cxn ang="0">
                <a:pos x="connsiteX54343" y="connsiteY54343"/>
              </a:cxn>
              <a:cxn ang="0">
                <a:pos x="connsiteX54344" y="connsiteY54344"/>
              </a:cxn>
              <a:cxn ang="0">
                <a:pos x="connsiteX54345" y="connsiteY54345"/>
              </a:cxn>
              <a:cxn ang="0">
                <a:pos x="connsiteX54346" y="connsiteY54346"/>
              </a:cxn>
              <a:cxn ang="0">
                <a:pos x="connsiteX54347" y="connsiteY54347"/>
              </a:cxn>
              <a:cxn ang="0">
                <a:pos x="connsiteX54348" y="connsiteY54348"/>
              </a:cxn>
              <a:cxn ang="0">
                <a:pos x="connsiteX54349" y="connsiteY54349"/>
              </a:cxn>
              <a:cxn ang="0">
                <a:pos x="connsiteX54350" y="connsiteY54350"/>
              </a:cxn>
              <a:cxn ang="0">
                <a:pos x="connsiteX54351" y="connsiteY54351"/>
              </a:cxn>
              <a:cxn ang="0">
                <a:pos x="connsiteX54352" y="connsiteY54352"/>
              </a:cxn>
              <a:cxn ang="0">
                <a:pos x="connsiteX54353" y="connsiteY54353"/>
              </a:cxn>
              <a:cxn ang="0">
                <a:pos x="connsiteX54354" y="connsiteY54354"/>
              </a:cxn>
              <a:cxn ang="0">
                <a:pos x="connsiteX54355" y="connsiteY54355"/>
              </a:cxn>
              <a:cxn ang="0">
                <a:pos x="connsiteX54356" y="connsiteY54356"/>
              </a:cxn>
              <a:cxn ang="0">
                <a:pos x="connsiteX54357" y="connsiteY54357"/>
              </a:cxn>
              <a:cxn ang="0">
                <a:pos x="connsiteX54358" y="connsiteY54358"/>
              </a:cxn>
              <a:cxn ang="0">
                <a:pos x="connsiteX54359" y="connsiteY54359"/>
              </a:cxn>
              <a:cxn ang="0">
                <a:pos x="connsiteX54360" y="connsiteY54360"/>
              </a:cxn>
              <a:cxn ang="0">
                <a:pos x="connsiteX54361" y="connsiteY54361"/>
              </a:cxn>
              <a:cxn ang="0">
                <a:pos x="connsiteX54362" y="connsiteY54362"/>
              </a:cxn>
              <a:cxn ang="0">
                <a:pos x="connsiteX54363" y="connsiteY54363"/>
              </a:cxn>
              <a:cxn ang="0">
                <a:pos x="connsiteX54364" y="connsiteY54364"/>
              </a:cxn>
              <a:cxn ang="0">
                <a:pos x="connsiteX54365" y="connsiteY54365"/>
              </a:cxn>
              <a:cxn ang="0">
                <a:pos x="connsiteX54366" y="connsiteY54366"/>
              </a:cxn>
              <a:cxn ang="0">
                <a:pos x="connsiteX54367" y="connsiteY54367"/>
              </a:cxn>
              <a:cxn ang="0">
                <a:pos x="connsiteX54368" y="connsiteY54368"/>
              </a:cxn>
              <a:cxn ang="0">
                <a:pos x="connsiteX54369" y="connsiteY54369"/>
              </a:cxn>
              <a:cxn ang="0">
                <a:pos x="connsiteX54370" y="connsiteY54370"/>
              </a:cxn>
              <a:cxn ang="0">
                <a:pos x="connsiteX54371" y="connsiteY54371"/>
              </a:cxn>
              <a:cxn ang="0">
                <a:pos x="connsiteX54372" y="connsiteY54372"/>
              </a:cxn>
              <a:cxn ang="0">
                <a:pos x="connsiteX54373" y="connsiteY54373"/>
              </a:cxn>
              <a:cxn ang="0">
                <a:pos x="connsiteX54374" y="connsiteY54374"/>
              </a:cxn>
              <a:cxn ang="0">
                <a:pos x="connsiteX54375" y="connsiteY54375"/>
              </a:cxn>
              <a:cxn ang="0">
                <a:pos x="connsiteX54376" y="connsiteY54376"/>
              </a:cxn>
              <a:cxn ang="0">
                <a:pos x="connsiteX54377" y="connsiteY54377"/>
              </a:cxn>
              <a:cxn ang="0">
                <a:pos x="connsiteX54378" y="connsiteY54378"/>
              </a:cxn>
              <a:cxn ang="0">
                <a:pos x="connsiteX54379" y="connsiteY54379"/>
              </a:cxn>
              <a:cxn ang="0">
                <a:pos x="connsiteX54380" y="connsiteY54380"/>
              </a:cxn>
              <a:cxn ang="0">
                <a:pos x="connsiteX54381" y="connsiteY54381"/>
              </a:cxn>
              <a:cxn ang="0">
                <a:pos x="connsiteX54382" y="connsiteY54382"/>
              </a:cxn>
              <a:cxn ang="0">
                <a:pos x="connsiteX54383" y="connsiteY54383"/>
              </a:cxn>
              <a:cxn ang="0">
                <a:pos x="connsiteX54384" y="connsiteY54384"/>
              </a:cxn>
              <a:cxn ang="0">
                <a:pos x="connsiteX54385" y="connsiteY54385"/>
              </a:cxn>
              <a:cxn ang="0">
                <a:pos x="connsiteX54386" y="connsiteY54386"/>
              </a:cxn>
              <a:cxn ang="0">
                <a:pos x="connsiteX54387" y="connsiteY54387"/>
              </a:cxn>
              <a:cxn ang="0">
                <a:pos x="connsiteX54388" y="connsiteY54388"/>
              </a:cxn>
              <a:cxn ang="0">
                <a:pos x="connsiteX54389" y="connsiteY54389"/>
              </a:cxn>
              <a:cxn ang="0">
                <a:pos x="connsiteX54390" y="connsiteY54390"/>
              </a:cxn>
              <a:cxn ang="0">
                <a:pos x="connsiteX54391" y="connsiteY54391"/>
              </a:cxn>
              <a:cxn ang="0">
                <a:pos x="connsiteX54392" y="connsiteY54392"/>
              </a:cxn>
              <a:cxn ang="0">
                <a:pos x="connsiteX54393" y="connsiteY54393"/>
              </a:cxn>
              <a:cxn ang="0">
                <a:pos x="connsiteX54394" y="connsiteY54394"/>
              </a:cxn>
              <a:cxn ang="0">
                <a:pos x="connsiteX54395" y="connsiteY54395"/>
              </a:cxn>
              <a:cxn ang="0">
                <a:pos x="connsiteX54396" y="connsiteY54396"/>
              </a:cxn>
              <a:cxn ang="0">
                <a:pos x="connsiteX54397" y="connsiteY54397"/>
              </a:cxn>
              <a:cxn ang="0">
                <a:pos x="connsiteX54398" y="connsiteY54398"/>
              </a:cxn>
              <a:cxn ang="0">
                <a:pos x="connsiteX54399" y="connsiteY54399"/>
              </a:cxn>
              <a:cxn ang="0">
                <a:pos x="connsiteX54400" y="connsiteY54400"/>
              </a:cxn>
              <a:cxn ang="0">
                <a:pos x="connsiteX54401" y="connsiteY54401"/>
              </a:cxn>
              <a:cxn ang="0">
                <a:pos x="connsiteX54402" y="connsiteY54402"/>
              </a:cxn>
              <a:cxn ang="0">
                <a:pos x="connsiteX54403" y="connsiteY54403"/>
              </a:cxn>
              <a:cxn ang="0">
                <a:pos x="connsiteX54404" y="connsiteY54404"/>
              </a:cxn>
              <a:cxn ang="0">
                <a:pos x="connsiteX54405" y="connsiteY54405"/>
              </a:cxn>
              <a:cxn ang="0">
                <a:pos x="connsiteX54406" y="connsiteY54406"/>
              </a:cxn>
              <a:cxn ang="0">
                <a:pos x="connsiteX54407" y="connsiteY54407"/>
              </a:cxn>
              <a:cxn ang="0">
                <a:pos x="connsiteX54408" y="connsiteY54408"/>
              </a:cxn>
              <a:cxn ang="0">
                <a:pos x="connsiteX54409" y="connsiteY54409"/>
              </a:cxn>
              <a:cxn ang="0">
                <a:pos x="connsiteX54410" y="connsiteY54410"/>
              </a:cxn>
              <a:cxn ang="0">
                <a:pos x="connsiteX54411" y="connsiteY54411"/>
              </a:cxn>
              <a:cxn ang="0">
                <a:pos x="connsiteX54412" y="connsiteY54412"/>
              </a:cxn>
              <a:cxn ang="0">
                <a:pos x="connsiteX54413" y="connsiteY54413"/>
              </a:cxn>
              <a:cxn ang="0">
                <a:pos x="connsiteX54414" y="connsiteY54414"/>
              </a:cxn>
              <a:cxn ang="0">
                <a:pos x="connsiteX54415" y="connsiteY54415"/>
              </a:cxn>
              <a:cxn ang="0">
                <a:pos x="connsiteX54416" y="connsiteY54416"/>
              </a:cxn>
              <a:cxn ang="0">
                <a:pos x="connsiteX54417" y="connsiteY54417"/>
              </a:cxn>
              <a:cxn ang="0">
                <a:pos x="connsiteX54418" y="connsiteY54418"/>
              </a:cxn>
              <a:cxn ang="0">
                <a:pos x="connsiteX54419" y="connsiteY54419"/>
              </a:cxn>
              <a:cxn ang="0">
                <a:pos x="connsiteX54420" y="connsiteY54420"/>
              </a:cxn>
              <a:cxn ang="0">
                <a:pos x="connsiteX54421" y="connsiteY54421"/>
              </a:cxn>
              <a:cxn ang="0">
                <a:pos x="connsiteX54422" y="connsiteY54422"/>
              </a:cxn>
              <a:cxn ang="0">
                <a:pos x="connsiteX54423" y="connsiteY54423"/>
              </a:cxn>
              <a:cxn ang="0">
                <a:pos x="connsiteX54424" y="connsiteY54424"/>
              </a:cxn>
              <a:cxn ang="0">
                <a:pos x="connsiteX54425" y="connsiteY54425"/>
              </a:cxn>
              <a:cxn ang="0">
                <a:pos x="connsiteX54426" y="connsiteY54426"/>
              </a:cxn>
              <a:cxn ang="0">
                <a:pos x="connsiteX54427" y="connsiteY54427"/>
              </a:cxn>
              <a:cxn ang="0">
                <a:pos x="connsiteX54428" y="connsiteY54428"/>
              </a:cxn>
              <a:cxn ang="0">
                <a:pos x="connsiteX54429" y="connsiteY54429"/>
              </a:cxn>
              <a:cxn ang="0">
                <a:pos x="connsiteX54430" y="connsiteY54430"/>
              </a:cxn>
              <a:cxn ang="0">
                <a:pos x="connsiteX54431" y="connsiteY54431"/>
              </a:cxn>
              <a:cxn ang="0">
                <a:pos x="connsiteX54432" y="connsiteY54432"/>
              </a:cxn>
              <a:cxn ang="0">
                <a:pos x="connsiteX54433" y="connsiteY54433"/>
              </a:cxn>
              <a:cxn ang="0">
                <a:pos x="connsiteX54434" y="connsiteY54434"/>
              </a:cxn>
              <a:cxn ang="0">
                <a:pos x="connsiteX54435" y="connsiteY54435"/>
              </a:cxn>
              <a:cxn ang="0">
                <a:pos x="connsiteX54436" y="connsiteY54436"/>
              </a:cxn>
              <a:cxn ang="0">
                <a:pos x="connsiteX54437" y="connsiteY54437"/>
              </a:cxn>
              <a:cxn ang="0">
                <a:pos x="connsiteX54438" y="connsiteY54438"/>
              </a:cxn>
              <a:cxn ang="0">
                <a:pos x="connsiteX54439" y="connsiteY54439"/>
              </a:cxn>
              <a:cxn ang="0">
                <a:pos x="connsiteX54440" y="connsiteY54440"/>
              </a:cxn>
              <a:cxn ang="0">
                <a:pos x="connsiteX54441" y="connsiteY54441"/>
              </a:cxn>
              <a:cxn ang="0">
                <a:pos x="connsiteX54442" y="connsiteY54442"/>
              </a:cxn>
              <a:cxn ang="0">
                <a:pos x="connsiteX54443" y="connsiteY54443"/>
              </a:cxn>
              <a:cxn ang="0">
                <a:pos x="connsiteX54444" y="connsiteY54444"/>
              </a:cxn>
              <a:cxn ang="0">
                <a:pos x="connsiteX54445" y="connsiteY54445"/>
              </a:cxn>
              <a:cxn ang="0">
                <a:pos x="connsiteX54446" y="connsiteY54446"/>
              </a:cxn>
              <a:cxn ang="0">
                <a:pos x="connsiteX54447" y="connsiteY54447"/>
              </a:cxn>
              <a:cxn ang="0">
                <a:pos x="connsiteX54448" y="connsiteY54448"/>
              </a:cxn>
              <a:cxn ang="0">
                <a:pos x="connsiteX54449" y="connsiteY54449"/>
              </a:cxn>
              <a:cxn ang="0">
                <a:pos x="connsiteX54450" y="connsiteY54450"/>
              </a:cxn>
              <a:cxn ang="0">
                <a:pos x="connsiteX54451" y="connsiteY54451"/>
              </a:cxn>
              <a:cxn ang="0">
                <a:pos x="connsiteX54452" y="connsiteY54452"/>
              </a:cxn>
              <a:cxn ang="0">
                <a:pos x="connsiteX54453" y="connsiteY54453"/>
              </a:cxn>
              <a:cxn ang="0">
                <a:pos x="connsiteX54454" y="connsiteY54454"/>
              </a:cxn>
              <a:cxn ang="0">
                <a:pos x="connsiteX54455" y="connsiteY54455"/>
              </a:cxn>
              <a:cxn ang="0">
                <a:pos x="connsiteX54456" y="connsiteY54456"/>
              </a:cxn>
              <a:cxn ang="0">
                <a:pos x="connsiteX54457" y="connsiteY54457"/>
              </a:cxn>
              <a:cxn ang="0">
                <a:pos x="connsiteX54458" y="connsiteY54458"/>
              </a:cxn>
              <a:cxn ang="0">
                <a:pos x="connsiteX54459" y="connsiteY54459"/>
              </a:cxn>
              <a:cxn ang="0">
                <a:pos x="connsiteX54460" y="connsiteY54460"/>
              </a:cxn>
              <a:cxn ang="0">
                <a:pos x="connsiteX54461" y="connsiteY54461"/>
              </a:cxn>
              <a:cxn ang="0">
                <a:pos x="connsiteX54462" y="connsiteY54462"/>
              </a:cxn>
              <a:cxn ang="0">
                <a:pos x="connsiteX54463" y="connsiteY54463"/>
              </a:cxn>
              <a:cxn ang="0">
                <a:pos x="connsiteX54464" y="connsiteY54464"/>
              </a:cxn>
              <a:cxn ang="0">
                <a:pos x="connsiteX54465" y="connsiteY54465"/>
              </a:cxn>
              <a:cxn ang="0">
                <a:pos x="connsiteX54466" y="connsiteY54466"/>
              </a:cxn>
              <a:cxn ang="0">
                <a:pos x="connsiteX54467" y="connsiteY54467"/>
              </a:cxn>
              <a:cxn ang="0">
                <a:pos x="connsiteX54468" y="connsiteY54468"/>
              </a:cxn>
              <a:cxn ang="0">
                <a:pos x="connsiteX54469" y="connsiteY54469"/>
              </a:cxn>
              <a:cxn ang="0">
                <a:pos x="connsiteX54470" y="connsiteY54470"/>
              </a:cxn>
              <a:cxn ang="0">
                <a:pos x="connsiteX54471" y="connsiteY54471"/>
              </a:cxn>
              <a:cxn ang="0">
                <a:pos x="connsiteX54472" y="connsiteY54472"/>
              </a:cxn>
              <a:cxn ang="0">
                <a:pos x="connsiteX54473" y="connsiteY54473"/>
              </a:cxn>
              <a:cxn ang="0">
                <a:pos x="connsiteX54474" y="connsiteY54474"/>
              </a:cxn>
              <a:cxn ang="0">
                <a:pos x="connsiteX54475" y="connsiteY54475"/>
              </a:cxn>
              <a:cxn ang="0">
                <a:pos x="connsiteX54476" y="connsiteY54476"/>
              </a:cxn>
              <a:cxn ang="0">
                <a:pos x="connsiteX54477" y="connsiteY54477"/>
              </a:cxn>
              <a:cxn ang="0">
                <a:pos x="connsiteX54478" y="connsiteY54478"/>
              </a:cxn>
              <a:cxn ang="0">
                <a:pos x="connsiteX54479" y="connsiteY54479"/>
              </a:cxn>
              <a:cxn ang="0">
                <a:pos x="connsiteX54480" y="connsiteY54480"/>
              </a:cxn>
              <a:cxn ang="0">
                <a:pos x="connsiteX54481" y="connsiteY54481"/>
              </a:cxn>
              <a:cxn ang="0">
                <a:pos x="connsiteX54482" y="connsiteY54482"/>
              </a:cxn>
              <a:cxn ang="0">
                <a:pos x="connsiteX54483" y="connsiteY54483"/>
              </a:cxn>
              <a:cxn ang="0">
                <a:pos x="connsiteX54484" y="connsiteY54484"/>
              </a:cxn>
              <a:cxn ang="0">
                <a:pos x="connsiteX54485" y="connsiteY54485"/>
              </a:cxn>
              <a:cxn ang="0">
                <a:pos x="connsiteX54486" y="connsiteY54486"/>
              </a:cxn>
              <a:cxn ang="0">
                <a:pos x="connsiteX54487" y="connsiteY54487"/>
              </a:cxn>
              <a:cxn ang="0">
                <a:pos x="connsiteX54488" y="connsiteY54488"/>
              </a:cxn>
              <a:cxn ang="0">
                <a:pos x="connsiteX54489" y="connsiteY54489"/>
              </a:cxn>
              <a:cxn ang="0">
                <a:pos x="connsiteX54490" y="connsiteY54490"/>
              </a:cxn>
              <a:cxn ang="0">
                <a:pos x="connsiteX54491" y="connsiteY54491"/>
              </a:cxn>
              <a:cxn ang="0">
                <a:pos x="connsiteX54492" y="connsiteY54492"/>
              </a:cxn>
              <a:cxn ang="0">
                <a:pos x="connsiteX54493" y="connsiteY54493"/>
              </a:cxn>
              <a:cxn ang="0">
                <a:pos x="connsiteX54494" y="connsiteY54494"/>
              </a:cxn>
              <a:cxn ang="0">
                <a:pos x="connsiteX54495" y="connsiteY54495"/>
              </a:cxn>
              <a:cxn ang="0">
                <a:pos x="connsiteX54496" y="connsiteY54496"/>
              </a:cxn>
              <a:cxn ang="0">
                <a:pos x="connsiteX54497" y="connsiteY54497"/>
              </a:cxn>
              <a:cxn ang="0">
                <a:pos x="connsiteX54498" y="connsiteY54498"/>
              </a:cxn>
              <a:cxn ang="0">
                <a:pos x="connsiteX54499" y="connsiteY54499"/>
              </a:cxn>
              <a:cxn ang="0">
                <a:pos x="connsiteX54500" y="connsiteY54500"/>
              </a:cxn>
              <a:cxn ang="0">
                <a:pos x="connsiteX54501" y="connsiteY54501"/>
              </a:cxn>
              <a:cxn ang="0">
                <a:pos x="connsiteX54502" y="connsiteY54502"/>
              </a:cxn>
              <a:cxn ang="0">
                <a:pos x="connsiteX54503" y="connsiteY54503"/>
              </a:cxn>
              <a:cxn ang="0">
                <a:pos x="connsiteX54504" y="connsiteY54504"/>
              </a:cxn>
              <a:cxn ang="0">
                <a:pos x="connsiteX54505" y="connsiteY54505"/>
              </a:cxn>
              <a:cxn ang="0">
                <a:pos x="connsiteX54506" y="connsiteY54506"/>
              </a:cxn>
              <a:cxn ang="0">
                <a:pos x="connsiteX54507" y="connsiteY54507"/>
              </a:cxn>
              <a:cxn ang="0">
                <a:pos x="connsiteX54508" y="connsiteY54508"/>
              </a:cxn>
              <a:cxn ang="0">
                <a:pos x="connsiteX54509" y="connsiteY54509"/>
              </a:cxn>
              <a:cxn ang="0">
                <a:pos x="connsiteX54510" y="connsiteY54510"/>
              </a:cxn>
              <a:cxn ang="0">
                <a:pos x="connsiteX54511" y="connsiteY54511"/>
              </a:cxn>
              <a:cxn ang="0">
                <a:pos x="connsiteX54512" y="connsiteY54512"/>
              </a:cxn>
              <a:cxn ang="0">
                <a:pos x="connsiteX54513" y="connsiteY54513"/>
              </a:cxn>
              <a:cxn ang="0">
                <a:pos x="connsiteX54514" y="connsiteY54514"/>
              </a:cxn>
              <a:cxn ang="0">
                <a:pos x="connsiteX54515" y="connsiteY54515"/>
              </a:cxn>
              <a:cxn ang="0">
                <a:pos x="connsiteX54516" y="connsiteY54516"/>
              </a:cxn>
              <a:cxn ang="0">
                <a:pos x="connsiteX54517" y="connsiteY54517"/>
              </a:cxn>
              <a:cxn ang="0">
                <a:pos x="connsiteX54518" y="connsiteY54518"/>
              </a:cxn>
              <a:cxn ang="0">
                <a:pos x="connsiteX54519" y="connsiteY54519"/>
              </a:cxn>
              <a:cxn ang="0">
                <a:pos x="connsiteX54520" y="connsiteY54520"/>
              </a:cxn>
              <a:cxn ang="0">
                <a:pos x="connsiteX54521" y="connsiteY54521"/>
              </a:cxn>
              <a:cxn ang="0">
                <a:pos x="connsiteX54522" y="connsiteY54522"/>
              </a:cxn>
              <a:cxn ang="0">
                <a:pos x="connsiteX54523" y="connsiteY54523"/>
              </a:cxn>
              <a:cxn ang="0">
                <a:pos x="connsiteX54524" y="connsiteY54524"/>
              </a:cxn>
              <a:cxn ang="0">
                <a:pos x="connsiteX54525" y="connsiteY54525"/>
              </a:cxn>
              <a:cxn ang="0">
                <a:pos x="connsiteX54526" y="connsiteY54526"/>
              </a:cxn>
              <a:cxn ang="0">
                <a:pos x="connsiteX54527" y="connsiteY54527"/>
              </a:cxn>
              <a:cxn ang="0">
                <a:pos x="connsiteX54528" y="connsiteY54528"/>
              </a:cxn>
              <a:cxn ang="0">
                <a:pos x="connsiteX54529" y="connsiteY54529"/>
              </a:cxn>
              <a:cxn ang="0">
                <a:pos x="connsiteX54530" y="connsiteY54530"/>
              </a:cxn>
              <a:cxn ang="0">
                <a:pos x="connsiteX54531" y="connsiteY54531"/>
              </a:cxn>
              <a:cxn ang="0">
                <a:pos x="connsiteX54532" y="connsiteY54532"/>
              </a:cxn>
              <a:cxn ang="0">
                <a:pos x="connsiteX54533" y="connsiteY54533"/>
              </a:cxn>
              <a:cxn ang="0">
                <a:pos x="connsiteX54534" y="connsiteY54534"/>
              </a:cxn>
              <a:cxn ang="0">
                <a:pos x="connsiteX54535" y="connsiteY54535"/>
              </a:cxn>
              <a:cxn ang="0">
                <a:pos x="connsiteX54536" y="connsiteY54536"/>
              </a:cxn>
              <a:cxn ang="0">
                <a:pos x="connsiteX54537" y="connsiteY54537"/>
              </a:cxn>
              <a:cxn ang="0">
                <a:pos x="connsiteX54538" y="connsiteY54538"/>
              </a:cxn>
              <a:cxn ang="0">
                <a:pos x="connsiteX54539" y="connsiteY54539"/>
              </a:cxn>
              <a:cxn ang="0">
                <a:pos x="connsiteX54540" y="connsiteY54540"/>
              </a:cxn>
              <a:cxn ang="0">
                <a:pos x="connsiteX54541" y="connsiteY54541"/>
              </a:cxn>
              <a:cxn ang="0">
                <a:pos x="connsiteX54542" y="connsiteY54542"/>
              </a:cxn>
              <a:cxn ang="0">
                <a:pos x="connsiteX54543" y="connsiteY54543"/>
              </a:cxn>
              <a:cxn ang="0">
                <a:pos x="connsiteX54544" y="connsiteY54544"/>
              </a:cxn>
              <a:cxn ang="0">
                <a:pos x="connsiteX54545" y="connsiteY54545"/>
              </a:cxn>
              <a:cxn ang="0">
                <a:pos x="connsiteX54546" y="connsiteY54546"/>
              </a:cxn>
              <a:cxn ang="0">
                <a:pos x="connsiteX54547" y="connsiteY54547"/>
              </a:cxn>
              <a:cxn ang="0">
                <a:pos x="connsiteX54548" y="connsiteY54548"/>
              </a:cxn>
              <a:cxn ang="0">
                <a:pos x="connsiteX54549" y="connsiteY54549"/>
              </a:cxn>
              <a:cxn ang="0">
                <a:pos x="connsiteX54550" y="connsiteY54550"/>
              </a:cxn>
              <a:cxn ang="0">
                <a:pos x="connsiteX54551" y="connsiteY54551"/>
              </a:cxn>
              <a:cxn ang="0">
                <a:pos x="connsiteX54552" y="connsiteY54552"/>
              </a:cxn>
              <a:cxn ang="0">
                <a:pos x="connsiteX54553" y="connsiteY54553"/>
              </a:cxn>
              <a:cxn ang="0">
                <a:pos x="connsiteX54554" y="connsiteY54554"/>
              </a:cxn>
              <a:cxn ang="0">
                <a:pos x="connsiteX54555" y="connsiteY54555"/>
              </a:cxn>
              <a:cxn ang="0">
                <a:pos x="connsiteX54556" y="connsiteY54556"/>
              </a:cxn>
              <a:cxn ang="0">
                <a:pos x="connsiteX54557" y="connsiteY54557"/>
              </a:cxn>
              <a:cxn ang="0">
                <a:pos x="connsiteX54558" y="connsiteY54558"/>
              </a:cxn>
              <a:cxn ang="0">
                <a:pos x="connsiteX54559" y="connsiteY54559"/>
              </a:cxn>
              <a:cxn ang="0">
                <a:pos x="connsiteX54560" y="connsiteY54560"/>
              </a:cxn>
              <a:cxn ang="0">
                <a:pos x="connsiteX54561" y="connsiteY54561"/>
              </a:cxn>
              <a:cxn ang="0">
                <a:pos x="connsiteX54562" y="connsiteY54562"/>
              </a:cxn>
              <a:cxn ang="0">
                <a:pos x="connsiteX54563" y="connsiteY54563"/>
              </a:cxn>
              <a:cxn ang="0">
                <a:pos x="connsiteX54564" y="connsiteY54564"/>
              </a:cxn>
              <a:cxn ang="0">
                <a:pos x="connsiteX54565" y="connsiteY54565"/>
              </a:cxn>
              <a:cxn ang="0">
                <a:pos x="connsiteX54566" y="connsiteY54566"/>
              </a:cxn>
              <a:cxn ang="0">
                <a:pos x="connsiteX54567" y="connsiteY54567"/>
              </a:cxn>
              <a:cxn ang="0">
                <a:pos x="connsiteX54568" y="connsiteY54568"/>
              </a:cxn>
              <a:cxn ang="0">
                <a:pos x="connsiteX54569" y="connsiteY54569"/>
              </a:cxn>
              <a:cxn ang="0">
                <a:pos x="connsiteX54570" y="connsiteY54570"/>
              </a:cxn>
              <a:cxn ang="0">
                <a:pos x="connsiteX54571" y="connsiteY54571"/>
              </a:cxn>
              <a:cxn ang="0">
                <a:pos x="connsiteX54572" y="connsiteY54572"/>
              </a:cxn>
              <a:cxn ang="0">
                <a:pos x="connsiteX54573" y="connsiteY54573"/>
              </a:cxn>
              <a:cxn ang="0">
                <a:pos x="connsiteX54574" y="connsiteY54574"/>
              </a:cxn>
              <a:cxn ang="0">
                <a:pos x="connsiteX54575" y="connsiteY54575"/>
              </a:cxn>
              <a:cxn ang="0">
                <a:pos x="connsiteX54576" y="connsiteY54576"/>
              </a:cxn>
              <a:cxn ang="0">
                <a:pos x="connsiteX54577" y="connsiteY54577"/>
              </a:cxn>
              <a:cxn ang="0">
                <a:pos x="connsiteX54578" y="connsiteY54578"/>
              </a:cxn>
              <a:cxn ang="0">
                <a:pos x="connsiteX54579" y="connsiteY54579"/>
              </a:cxn>
              <a:cxn ang="0">
                <a:pos x="connsiteX54580" y="connsiteY54580"/>
              </a:cxn>
              <a:cxn ang="0">
                <a:pos x="connsiteX54581" y="connsiteY54581"/>
              </a:cxn>
              <a:cxn ang="0">
                <a:pos x="connsiteX54582" y="connsiteY54582"/>
              </a:cxn>
              <a:cxn ang="0">
                <a:pos x="connsiteX54583" y="connsiteY54583"/>
              </a:cxn>
              <a:cxn ang="0">
                <a:pos x="connsiteX54584" y="connsiteY54584"/>
              </a:cxn>
              <a:cxn ang="0">
                <a:pos x="connsiteX54585" y="connsiteY54585"/>
              </a:cxn>
              <a:cxn ang="0">
                <a:pos x="connsiteX54586" y="connsiteY54586"/>
              </a:cxn>
              <a:cxn ang="0">
                <a:pos x="connsiteX54587" y="connsiteY54587"/>
              </a:cxn>
              <a:cxn ang="0">
                <a:pos x="connsiteX54588" y="connsiteY54588"/>
              </a:cxn>
              <a:cxn ang="0">
                <a:pos x="connsiteX54589" y="connsiteY54589"/>
              </a:cxn>
              <a:cxn ang="0">
                <a:pos x="connsiteX54590" y="connsiteY54590"/>
              </a:cxn>
              <a:cxn ang="0">
                <a:pos x="connsiteX54591" y="connsiteY54591"/>
              </a:cxn>
              <a:cxn ang="0">
                <a:pos x="connsiteX54592" y="connsiteY54592"/>
              </a:cxn>
              <a:cxn ang="0">
                <a:pos x="connsiteX54593" y="connsiteY54593"/>
              </a:cxn>
              <a:cxn ang="0">
                <a:pos x="connsiteX54594" y="connsiteY54594"/>
              </a:cxn>
              <a:cxn ang="0">
                <a:pos x="connsiteX54595" y="connsiteY54595"/>
              </a:cxn>
              <a:cxn ang="0">
                <a:pos x="connsiteX54596" y="connsiteY54596"/>
              </a:cxn>
              <a:cxn ang="0">
                <a:pos x="connsiteX54597" y="connsiteY54597"/>
              </a:cxn>
              <a:cxn ang="0">
                <a:pos x="connsiteX54598" y="connsiteY54598"/>
              </a:cxn>
              <a:cxn ang="0">
                <a:pos x="connsiteX54599" y="connsiteY54599"/>
              </a:cxn>
              <a:cxn ang="0">
                <a:pos x="connsiteX54600" y="connsiteY54600"/>
              </a:cxn>
              <a:cxn ang="0">
                <a:pos x="connsiteX54601" y="connsiteY54601"/>
              </a:cxn>
              <a:cxn ang="0">
                <a:pos x="connsiteX54602" y="connsiteY54602"/>
              </a:cxn>
              <a:cxn ang="0">
                <a:pos x="connsiteX54603" y="connsiteY54603"/>
              </a:cxn>
              <a:cxn ang="0">
                <a:pos x="connsiteX54604" y="connsiteY54604"/>
              </a:cxn>
              <a:cxn ang="0">
                <a:pos x="connsiteX54605" y="connsiteY54605"/>
              </a:cxn>
              <a:cxn ang="0">
                <a:pos x="connsiteX54606" y="connsiteY54606"/>
              </a:cxn>
              <a:cxn ang="0">
                <a:pos x="connsiteX54607" y="connsiteY54607"/>
              </a:cxn>
              <a:cxn ang="0">
                <a:pos x="connsiteX54608" y="connsiteY54608"/>
              </a:cxn>
              <a:cxn ang="0">
                <a:pos x="connsiteX54609" y="connsiteY54609"/>
              </a:cxn>
              <a:cxn ang="0">
                <a:pos x="connsiteX54610" y="connsiteY54610"/>
              </a:cxn>
              <a:cxn ang="0">
                <a:pos x="connsiteX54611" y="connsiteY54611"/>
              </a:cxn>
              <a:cxn ang="0">
                <a:pos x="connsiteX54612" y="connsiteY54612"/>
              </a:cxn>
              <a:cxn ang="0">
                <a:pos x="connsiteX54613" y="connsiteY54613"/>
              </a:cxn>
              <a:cxn ang="0">
                <a:pos x="connsiteX54614" y="connsiteY54614"/>
              </a:cxn>
              <a:cxn ang="0">
                <a:pos x="connsiteX54615" y="connsiteY54615"/>
              </a:cxn>
              <a:cxn ang="0">
                <a:pos x="connsiteX54616" y="connsiteY54616"/>
              </a:cxn>
              <a:cxn ang="0">
                <a:pos x="connsiteX54617" y="connsiteY54617"/>
              </a:cxn>
              <a:cxn ang="0">
                <a:pos x="connsiteX54618" y="connsiteY54618"/>
              </a:cxn>
              <a:cxn ang="0">
                <a:pos x="connsiteX54619" y="connsiteY54619"/>
              </a:cxn>
              <a:cxn ang="0">
                <a:pos x="connsiteX54620" y="connsiteY54620"/>
              </a:cxn>
              <a:cxn ang="0">
                <a:pos x="connsiteX54621" y="connsiteY54621"/>
              </a:cxn>
              <a:cxn ang="0">
                <a:pos x="connsiteX54622" y="connsiteY54622"/>
              </a:cxn>
              <a:cxn ang="0">
                <a:pos x="connsiteX54623" y="connsiteY54623"/>
              </a:cxn>
              <a:cxn ang="0">
                <a:pos x="connsiteX54624" y="connsiteY54624"/>
              </a:cxn>
              <a:cxn ang="0">
                <a:pos x="connsiteX54625" y="connsiteY54625"/>
              </a:cxn>
              <a:cxn ang="0">
                <a:pos x="connsiteX54626" y="connsiteY54626"/>
              </a:cxn>
              <a:cxn ang="0">
                <a:pos x="connsiteX54627" y="connsiteY54627"/>
              </a:cxn>
              <a:cxn ang="0">
                <a:pos x="connsiteX54628" y="connsiteY54628"/>
              </a:cxn>
              <a:cxn ang="0">
                <a:pos x="connsiteX54629" y="connsiteY54629"/>
              </a:cxn>
              <a:cxn ang="0">
                <a:pos x="connsiteX54630" y="connsiteY54630"/>
              </a:cxn>
              <a:cxn ang="0">
                <a:pos x="connsiteX54631" y="connsiteY54631"/>
              </a:cxn>
              <a:cxn ang="0">
                <a:pos x="connsiteX54632" y="connsiteY54632"/>
              </a:cxn>
              <a:cxn ang="0">
                <a:pos x="connsiteX54633" y="connsiteY54633"/>
              </a:cxn>
              <a:cxn ang="0">
                <a:pos x="connsiteX54634" y="connsiteY54634"/>
              </a:cxn>
              <a:cxn ang="0">
                <a:pos x="connsiteX54635" y="connsiteY54635"/>
              </a:cxn>
              <a:cxn ang="0">
                <a:pos x="connsiteX54636" y="connsiteY54636"/>
              </a:cxn>
              <a:cxn ang="0">
                <a:pos x="connsiteX54637" y="connsiteY54637"/>
              </a:cxn>
              <a:cxn ang="0">
                <a:pos x="connsiteX54638" y="connsiteY54638"/>
              </a:cxn>
              <a:cxn ang="0">
                <a:pos x="connsiteX54639" y="connsiteY54639"/>
              </a:cxn>
              <a:cxn ang="0">
                <a:pos x="connsiteX54640" y="connsiteY54640"/>
              </a:cxn>
              <a:cxn ang="0">
                <a:pos x="connsiteX54641" y="connsiteY54641"/>
              </a:cxn>
              <a:cxn ang="0">
                <a:pos x="connsiteX54642" y="connsiteY54642"/>
              </a:cxn>
              <a:cxn ang="0">
                <a:pos x="connsiteX54643" y="connsiteY54643"/>
              </a:cxn>
              <a:cxn ang="0">
                <a:pos x="connsiteX54644" y="connsiteY54644"/>
              </a:cxn>
              <a:cxn ang="0">
                <a:pos x="connsiteX54645" y="connsiteY54645"/>
              </a:cxn>
              <a:cxn ang="0">
                <a:pos x="connsiteX54646" y="connsiteY54646"/>
              </a:cxn>
              <a:cxn ang="0">
                <a:pos x="connsiteX54647" y="connsiteY54647"/>
              </a:cxn>
              <a:cxn ang="0">
                <a:pos x="connsiteX54648" y="connsiteY54648"/>
              </a:cxn>
              <a:cxn ang="0">
                <a:pos x="connsiteX54649" y="connsiteY54649"/>
              </a:cxn>
              <a:cxn ang="0">
                <a:pos x="connsiteX54650" y="connsiteY54650"/>
              </a:cxn>
              <a:cxn ang="0">
                <a:pos x="connsiteX54651" y="connsiteY54651"/>
              </a:cxn>
              <a:cxn ang="0">
                <a:pos x="connsiteX54652" y="connsiteY54652"/>
              </a:cxn>
              <a:cxn ang="0">
                <a:pos x="connsiteX54653" y="connsiteY54653"/>
              </a:cxn>
              <a:cxn ang="0">
                <a:pos x="connsiteX54654" y="connsiteY54654"/>
              </a:cxn>
              <a:cxn ang="0">
                <a:pos x="connsiteX54655" y="connsiteY54655"/>
              </a:cxn>
              <a:cxn ang="0">
                <a:pos x="connsiteX54656" y="connsiteY54656"/>
              </a:cxn>
              <a:cxn ang="0">
                <a:pos x="connsiteX54657" y="connsiteY54657"/>
              </a:cxn>
              <a:cxn ang="0">
                <a:pos x="connsiteX54658" y="connsiteY54658"/>
              </a:cxn>
              <a:cxn ang="0">
                <a:pos x="connsiteX54659" y="connsiteY54659"/>
              </a:cxn>
              <a:cxn ang="0">
                <a:pos x="connsiteX54660" y="connsiteY54660"/>
              </a:cxn>
              <a:cxn ang="0">
                <a:pos x="connsiteX54661" y="connsiteY54661"/>
              </a:cxn>
              <a:cxn ang="0">
                <a:pos x="connsiteX54662" y="connsiteY54662"/>
              </a:cxn>
              <a:cxn ang="0">
                <a:pos x="connsiteX54663" y="connsiteY54663"/>
              </a:cxn>
              <a:cxn ang="0">
                <a:pos x="connsiteX54664" y="connsiteY54664"/>
              </a:cxn>
              <a:cxn ang="0">
                <a:pos x="connsiteX54665" y="connsiteY54665"/>
              </a:cxn>
              <a:cxn ang="0">
                <a:pos x="connsiteX54666" y="connsiteY54666"/>
              </a:cxn>
              <a:cxn ang="0">
                <a:pos x="connsiteX54667" y="connsiteY54667"/>
              </a:cxn>
              <a:cxn ang="0">
                <a:pos x="connsiteX54668" y="connsiteY54668"/>
              </a:cxn>
              <a:cxn ang="0">
                <a:pos x="connsiteX54669" y="connsiteY54669"/>
              </a:cxn>
              <a:cxn ang="0">
                <a:pos x="connsiteX54670" y="connsiteY54670"/>
              </a:cxn>
              <a:cxn ang="0">
                <a:pos x="connsiteX54671" y="connsiteY54671"/>
              </a:cxn>
              <a:cxn ang="0">
                <a:pos x="connsiteX54672" y="connsiteY54672"/>
              </a:cxn>
              <a:cxn ang="0">
                <a:pos x="connsiteX54673" y="connsiteY54673"/>
              </a:cxn>
              <a:cxn ang="0">
                <a:pos x="connsiteX54674" y="connsiteY54674"/>
              </a:cxn>
              <a:cxn ang="0">
                <a:pos x="connsiteX54675" y="connsiteY54675"/>
              </a:cxn>
              <a:cxn ang="0">
                <a:pos x="connsiteX54676" y="connsiteY54676"/>
              </a:cxn>
              <a:cxn ang="0">
                <a:pos x="connsiteX54677" y="connsiteY54677"/>
              </a:cxn>
              <a:cxn ang="0">
                <a:pos x="connsiteX54678" y="connsiteY54678"/>
              </a:cxn>
              <a:cxn ang="0">
                <a:pos x="connsiteX54679" y="connsiteY54679"/>
              </a:cxn>
              <a:cxn ang="0">
                <a:pos x="connsiteX54680" y="connsiteY54680"/>
              </a:cxn>
              <a:cxn ang="0">
                <a:pos x="connsiteX54681" y="connsiteY54681"/>
              </a:cxn>
              <a:cxn ang="0">
                <a:pos x="connsiteX54682" y="connsiteY54682"/>
              </a:cxn>
              <a:cxn ang="0">
                <a:pos x="connsiteX54683" y="connsiteY54683"/>
              </a:cxn>
              <a:cxn ang="0">
                <a:pos x="connsiteX54684" y="connsiteY54684"/>
              </a:cxn>
              <a:cxn ang="0">
                <a:pos x="connsiteX54685" y="connsiteY54685"/>
              </a:cxn>
              <a:cxn ang="0">
                <a:pos x="connsiteX54686" y="connsiteY54686"/>
              </a:cxn>
              <a:cxn ang="0">
                <a:pos x="connsiteX54687" y="connsiteY54687"/>
              </a:cxn>
              <a:cxn ang="0">
                <a:pos x="connsiteX54688" y="connsiteY54688"/>
              </a:cxn>
              <a:cxn ang="0">
                <a:pos x="connsiteX54689" y="connsiteY54689"/>
              </a:cxn>
              <a:cxn ang="0">
                <a:pos x="connsiteX54690" y="connsiteY54690"/>
              </a:cxn>
              <a:cxn ang="0">
                <a:pos x="connsiteX54691" y="connsiteY54691"/>
              </a:cxn>
              <a:cxn ang="0">
                <a:pos x="connsiteX54692" y="connsiteY54692"/>
              </a:cxn>
              <a:cxn ang="0">
                <a:pos x="connsiteX54693" y="connsiteY54693"/>
              </a:cxn>
              <a:cxn ang="0">
                <a:pos x="connsiteX54694" y="connsiteY54694"/>
              </a:cxn>
              <a:cxn ang="0">
                <a:pos x="connsiteX54695" y="connsiteY54695"/>
              </a:cxn>
              <a:cxn ang="0">
                <a:pos x="connsiteX54696" y="connsiteY54696"/>
              </a:cxn>
              <a:cxn ang="0">
                <a:pos x="connsiteX54697" y="connsiteY54697"/>
              </a:cxn>
              <a:cxn ang="0">
                <a:pos x="connsiteX54698" y="connsiteY54698"/>
              </a:cxn>
              <a:cxn ang="0">
                <a:pos x="connsiteX54699" y="connsiteY54699"/>
              </a:cxn>
              <a:cxn ang="0">
                <a:pos x="connsiteX54700" y="connsiteY54700"/>
              </a:cxn>
              <a:cxn ang="0">
                <a:pos x="connsiteX54701" y="connsiteY54701"/>
              </a:cxn>
              <a:cxn ang="0">
                <a:pos x="connsiteX54702" y="connsiteY54702"/>
              </a:cxn>
              <a:cxn ang="0">
                <a:pos x="connsiteX54703" y="connsiteY54703"/>
              </a:cxn>
              <a:cxn ang="0">
                <a:pos x="connsiteX54704" y="connsiteY54704"/>
              </a:cxn>
              <a:cxn ang="0">
                <a:pos x="connsiteX54705" y="connsiteY54705"/>
              </a:cxn>
              <a:cxn ang="0">
                <a:pos x="connsiteX54706" y="connsiteY54706"/>
              </a:cxn>
              <a:cxn ang="0">
                <a:pos x="connsiteX54707" y="connsiteY54707"/>
              </a:cxn>
              <a:cxn ang="0">
                <a:pos x="connsiteX54708" y="connsiteY54708"/>
              </a:cxn>
              <a:cxn ang="0">
                <a:pos x="connsiteX54709" y="connsiteY54709"/>
              </a:cxn>
              <a:cxn ang="0">
                <a:pos x="connsiteX54710" y="connsiteY54710"/>
              </a:cxn>
              <a:cxn ang="0">
                <a:pos x="connsiteX54711" y="connsiteY54711"/>
              </a:cxn>
              <a:cxn ang="0">
                <a:pos x="connsiteX54712" y="connsiteY54712"/>
              </a:cxn>
              <a:cxn ang="0">
                <a:pos x="connsiteX54713" y="connsiteY54713"/>
              </a:cxn>
              <a:cxn ang="0">
                <a:pos x="connsiteX54714" y="connsiteY54714"/>
              </a:cxn>
              <a:cxn ang="0">
                <a:pos x="connsiteX54715" y="connsiteY54715"/>
              </a:cxn>
              <a:cxn ang="0">
                <a:pos x="connsiteX54716" y="connsiteY54716"/>
              </a:cxn>
              <a:cxn ang="0">
                <a:pos x="connsiteX54717" y="connsiteY54717"/>
              </a:cxn>
              <a:cxn ang="0">
                <a:pos x="connsiteX54718" y="connsiteY54718"/>
              </a:cxn>
              <a:cxn ang="0">
                <a:pos x="connsiteX54719" y="connsiteY54719"/>
              </a:cxn>
              <a:cxn ang="0">
                <a:pos x="connsiteX54720" y="connsiteY54720"/>
              </a:cxn>
              <a:cxn ang="0">
                <a:pos x="connsiteX54721" y="connsiteY54721"/>
              </a:cxn>
              <a:cxn ang="0">
                <a:pos x="connsiteX54722" y="connsiteY54722"/>
              </a:cxn>
              <a:cxn ang="0">
                <a:pos x="connsiteX54723" y="connsiteY54723"/>
              </a:cxn>
              <a:cxn ang="0">
                <a:pos x="connsiteX54724" y="connsiteY54724"/>
              </a:cxn>
              <a:cxn ang="0">
                <a:pos x="connsiteX54725" y="connsiteY54725"/>
              </a:cxn>
              <a:cxn ang="0">
                <a:pos x="connsiteX54726" y="connsiteY54726"/>
              </a:cxn>
              <a:cxn ang="0">
                <a:pos x="connsiteX54727" y="connsiteY54727"/>
              </a:cxn>
              <a:cxn ang="0">
                <a:pos x="connsiteX54728" y="connsiteY54728"/>
              </a:cxn>
              <a:cxn ang="0">
                <a:pos x="connsiteX54729" y="connsiteY54729"/>
              </a:cxn>
              <a:cxn ang="0">
                <a:pos x="connsiteX54730" y="connsiteY54730"/>
              </a:cxn>
              <a:cxn ang="0">
                <a:pos x="connsiteX54731" y="connsiteY54731"/>
              </a:cxn>
              <a:cxn ang="0">
                <a:pos x="connsiteX54732" y="connsiteY54732"/>
              </a:cxn>
              <a:cxn ang="0">
                <a:pos x="connsiteX54733" y="connsiteY54733"/>
              </a:cxn>
              <a:cxn ang="0">
                <a:pos x="connsiteX54734" y="connsiteY54734"/>
              </a:cxn>
              <a:cxn ang="0">
                <a:pos x="connsiteX54735" y="connsiteY54735"/>
              </a:cxn>
              <a:cxn ang="0">
                <a:pos x="connsiteX54736" y="connsiteY54736"/>
              </a:cxn>
              <a:cxn ang="0">
                <a:pos x="connsiteX54737" y="connsiteY54737"/>
              </a:cxn>
              <a:cxn ang="0">
                <a:pos x="connsiteX54738" y="connsiteY54738"/>
              </a:cxn>
              <a:cxn ang="0">
                <a:pos x="connsiteX54739" y="connsiteY54739"/>
              </a:cxn>
              <a:cxn ang="0">
                <a:pos x="connsiteX54740" y="connsiteY54740"/>
              </a:cxn>
              <a:cxn ang="0">
                <a:pos x="connsiteX54741" y="connsiteY54741"/>
              </a:cxn>
              <a:cxn ang="0">
                <a:pos x="connsiteX54742" y="connsiteY54742"/>
              </a:cxn>
              <a:cxn ang="0">
                <a:pos x="connsiteX54743" y="connsiteY54743"/>
              </a:cxn>
              <a:cxn ang="0">
                <a:pos x="connsiteX54744" y="connsiteY54744"/>
              </a:cxn>
              <a:cxn ang="0">
                <a:pos x="connsiteX54745" y="connsiteY54745"/>
              </a:cxn>
              <a:cxn ang="0">
                <a:pos x="connsiteX54746" y="connsiteY54746"/>
              </a:cxn>
              <a:cxn ang="0">
                <a:pos x="connsiteX54747" y="connsiteY54747"/>
              </a:cxn>
              <a:cxn ang="0">
                <a:pos x="connsiteX54748" y="connsiteY54748"/>
              </a:cxn>
              <a:cxn ang="0">
                <a:pos x="connsiteX54749" y="connsiteY54749"/>
              </a:cxn>
              <a:cxn ang="0">
                <a:pos x="connsiteX54750" y="connsiteY54750"/>
              </a:cxn>
              <a:cxn ang="0">
                <a:pos x="connsiteX54751" y="connsiteY54751"/>
              </a:cxn>
              <a:cxn ang="0">
                <a:pos x="connsiteX54752" y="connsiteY54752"/>
              </a:cxn>
              <a:cxn ang="0">
                <a:pos x="connsiteX54753" y="connsiteY54753"/>
              </a:cxn>
              <a:cxn ang="0">
                <a:pos x="connsiteX54754" y="connsiteY54754"/>
              </a:cxn>
              <a:cxn ang="0">
                <a:pos x="connsiteX54755" y="connsiteY54755"/>
              </a:cxn>
              <a:cxn ang="0">
                <a:pos x="connsiteX54756" y="connsiteY54756"/>
              </a:cxn>
              <a:cxn ang="0">
                <a:pos x="connsiteX54757" y="connsiteY54757"/>
              </a:cxn>
              <a:cxn ang="0">
                <a:pos x="connsiteX54758" y="connsiteY54758"/>
              </a:cxn>
              <a:cxn ang="0">
                <a:pos x="connsiteX54759" y="connsiteY54759"/>
              </a:cxn>
              <a:cxn ang="0">
                <a:pos x="connsiteX54760" y="connsiteY54760"/>
              </a:cxn>
              <a:cxn ang="0">
                <a:pos x="connsiteX54761" y="connsiteY54761"/>
              </a:cxn>
              <a:cxn ang="0">
                <a:pos x="connsiteX54762" y="connsiteY54762"/>
              </a:cxn>
              <a:cxn ang="0">
                <a:pos x="connsiteX54763" y="connsiteY54763"/>
              </a:cxn>
              <a:cxn ang="0">
                <a:pos x="connsiteX54764" y="connsiteY54764"/>
              </a:cxn>
              <a:cxn ang="0">
                <a:pos x="connsiteX54765" y="connsiteY54765"/>
              </a:cxn>
              <a:cxn ang="0">
                <a:pos x="connsiteX54766" y="connsiteY54766"/>
              </a:cxn>
              <a:cxn ang="0">
                <a:pos x="connsiteX54767" y="connsiteY54767"/>
              </a:cxn>
              <a:cxn ang="0">
                <a:pos x="connsiteX54768" y="connsiteY54768"/>
              </a:cxn>
              <a:cxn ang="0">
                <a:pos x="connsiteX54769" y="connsiteY54769"/>
              </a:cxn>
              <a:cxn ang="0">
                <a:pos x="connsiteX54770" y="connsiteY54770"/>
              </a:cxn>
              <a:cxn ang="0">
                <a:pos x="connsiteX54771" y="connsiteY54771"/>
              </a:cxn>
              <a:cxn ang="0">
                <a:pos x="connsiteX54772" y="connsiteY54772"/>
              </a:cxn>
              <a:cxn ang="0">
                <a:pos x="connsiteX54773" y="connsiteY54773"/>
              </a:cxn>
              <a:cxn ang="0">
                <a:pos x="connsiteX54774" y="connsiteY54774"/>
              </a:cxn>
              <a:cxn ang="0">
                <a:pos x="connsiteX54775" y="connsiteY54775"/>
              </a:cxn>
              <a:cxn ang="0">
                <a:pos x="connsiteX54776" y="connsiteY54776"/>
              </a:cxn>
              <a:cxn ang="0">
                <a:pos x="connsiteX54777" y="connsiteY54777"/>
              </a:cxn>
              <a:cxn ang="0">
                <a:pos x="connsiteX54778" y="connsiteY54778"/>
              </a:cxn>
              <a:cxn ang="0">
                <a:pos x="connsiteX54779" y="connsiteY54779"/>
              </a:cxn>
              <a:cxn ang="0">
                <a:pos x="connsiteX54780" y="connsiteY54780"/>
              </a:cxn>
              <a:cxn ang="0">
                <a:pos x="connsiteX54781" y="connsiteY54781"/>
              </a:cxn>
              <a:cxn ang="0">
                <a:pos x="connsiteX54782" y="connsiteY54782"/>
              </a:cxn>
              <a:cxn ang="0">
                <a:pos x="connsiteX54783" y="connsiteY54783"/>
              </a:cxn>
              <a:cxn ang="0">
                <a:pos x="connsiteX54784" y="connsiteY54784"/>
              </a:cxn>
              <a:cxn ang="0">
                <a:pos x="connsiteX54785" y="connsiteY54785"/>
              </a:cxn>
              <a:cxn ang="0">
                <a:pos x="connsiteX54786" y="connsiteY54786"/>
              </a:cxn>
              <a:cxn ang="0">
                <a:pos x="connsiteX54787" y="connsiteY54787"/>
              </a:cxn>
              <a:cxn ang="0">
                <a:pos x="connsiteX54788" y="connsiteY54788"/>
              </a:cxn>
              <a:cxn ang="0">
                <a:pos x="connsiteX54789" y="connsiteY54789"/>
              </a:cxn>
              <a:cxn ang="0">
                <a:pos x="connsiteX54790" y="connsiteY54790"/>
              </a:cxn>
              <a:cxn ang="0">
                <a:pos x="connsiteX54791" y="connsiteY54791"/>
              </a:cxn>
              <a:cxn ang="0">
                <a:pos x="connsiteX54792" y="connsiteY54792"/>
              </a:cxn>
              <a:cxn ang="0">
                <a:pos x="connsiteX54793" y="connsiteY54793"/>
              </a:cxn>
              <a:cxn ang="0">
                <a:pos x="connsiteX54794" y="connsiteY54794"/>
              </a:cxn>
              <a:cxn ang="0">
                <a:pos x="connsiteX54795" y="connsiteY54795"/>
              </a:cxn>
              <a:cxn ang="0">
                <a:pos x="connsiteX54796" y="connsiteY54796"/>
              </a:cxn>
              <a:cxn ang="0">
                <a:pos x="connsiteX54797" y="connsiteY54797"/>
              </a:cxn>
              <a:cxn ang="0">
                <a:pos x="connsiteX54798" y="connsiteY54798"/>
              </a:cxn>
              <a:cxn ang="0">
                <a:pos x="connsiteX54799" y="connsiteY54799"/>
              </a:cxn>
              <a:cxn ang="0">
                <a:pos x="connsiteX54800" y="connsiteY54800"/>
              </a:cxn>
              <a:cxn ang="0">
                <a:pos x="connsiteX54801" y="connsiteY54801"/>
              </a:cxn>
              <a:cxn ang="0">
                <a:pos x="connsiteX54802" y="connsiteY54802"/>
              </a:cxn>
              <a:cxn ang="0">
                <a:pos x="connsiteX54803" y="connsiteY54803"/>
              </a:cxn>
              <a:cxn ang="0">
                <a:pos x="connsiteX54804" y="connsiteY54804"/>
              </a:cxn>
              <a:cxn ang="0">
                <a:pos x="connsiteX54805" y="connsiteY54805"/>
              </a:cxn>
              <a:cxn ang="0">
                <a:pos x="connsiteX54806" y="connsiteY54806"/>
              </a:cxn>
              <a:cxn ang="0">
                <a:pos x="connsiteX54807" y="connsiteY54807"/>
              </a:cxn>
              <a:cxn ang="0">
                <a:pos x="connsiteX54808" y="connsiteY54808"/>
              </a:cxn>
              <a:cxn ang="0">
                <a:pos x="connsiteX54809" y="connsiteY54809"/>
              </a:cxn>
              <a:cxn ang="0">
                <a:pos x="connsiteX54810" y="connsiteY54810"/>
              </a:cxn>
              <a:cxn ang="0">
                <a:pos x="connsiteX54811" y="connsiteY54811"/>
              </a:cxn>
              <a:cxn ang="0">
                <a:pos x="connsiteX54812" y="connsiteY54812"/>
              </a:cxn>
              <a:cxn ang="0">
                <a:pos x="connsiteX54813" y="connsiteY54813"/>
              </a:cxn>
              <a:cxn ang="0">
                <a:pos x="connsiteX54814" y="connsiteY54814"/>
              </a:cxn>
              <a:cxn ang="0">
                <a:pos x="connsiteX54815" y="connsiteY54815"/>
              </a:cxn>
              <a:cxn ang="0">
                <a:pos x="connsiteX54816" y="connsiteY54816"/>
              </a:cxn>
              <a:cxn ang="0">
                <a:pos x="connsiteX54817" y="connsiteY54817"/>
              </a:cxn>
              <a:cxn ang="0">
                <a:pos x="connsiteX54818" y="connsiteY54818"/>
              </a:cxn>
              <a:cxn ang="0">
                <a:pos x="connsiteX54819" y="connsiteY54819"/>
              </a:cxn>
              <a:cxn ang="0">
                <a:pos x="connsiteX54820" y="connsiteY54820"/>
              </a:cxn>
              <a:cxn ang="0">
                <a:pos x="connsiteX54821" y="connsiteY54821"/>
              </a:cxn>
              <a:cxn ang="0">
                <a:pos x="connsiteX54822" y="connsiteY54822"/>
              </a:cxn>
              <a:cxn ang="0">
                <a:pos x="connsiteX54823" y="connsiteY54823"/>
              </a:cxn>
              <a:cxn ang="0">
                <a:pos x="connsiteX54824" y="connsiteY54824"/>
              </a:cxn>
              <a:cxn ang="0">
                <a:pos x="connsiteX54825" y="connsiteY54825"/>
              </a:cxn>
              <a:cxn ang="0">
                <a:pos x="connsiteX54826" y="connsiteY54826"/>
              </a:cxn>
              <a:cxn ang="0">
                <a:pos x="connsiteX54827" y="connsiteY54827"/>
              </a:cxn>
              <a:cxn ang="0">
                <a:pos x="connsiteX54828" y="connsiteY54828"/>
              </a:cxn>
              <a:cxn ang="0">
                <a:pos x="connsiteX54829" y="connsiteY54829"/>
              </a:cxn>
              <a:cxn ang="0">
                <a:pos x="connsiteX54830" y="connsiteY54830"/>
              </a:cxn>
              <a:cxn ang="0">
                <a:pos x="connsiteX54831" y="connsiteY54831"/>
              </a:cxn>
              <a:cxn ang="0">
                <a:pos x="connsiteX54832" y="connsiteY54832"/>
              </a:cxn>
              <a:cxn ang="0">
                <a:pos x="connsiteX54833" y="connsiteY54833"/>
              </a:cxn>
              <a:cxn ang="0">
                <a:pos x="connsiteX54834" y="connsiteY54834"/>
              </a:cxn>
              <a:cxn ang="0">
                <a:pos x="connsiteX54835" y="connsiteY54835"/>
              </a:cxn>
              <a:cxn ang="0">
                <a:pos x="connsiteX54836" y="connsiteY54836"/>
              </a:cxn>
              <a:cxn ang="0">
                <a:pos x="connsiteX54837" y="connsiteY54837"/>
              </a:cxn>
              <a:cxn ang="0">
                <a:pos x="connsiteX54838" y="connsiteY54838"/>
              </a:cxn>
              <a:cxn ang="0">
                <a:pos x="connsiteX54839" y="connsiteY54839"/>
              </a:cxn>
              <a:cxn ang="0">
                <a:pos x="connsiteX54840" y="connsiteY54840"/>
              </a:cxn>
              <a:cxn ang="0">
                <a:pos x="connsiteX54841" y="connsiteY54841"/>
              </a:cxn>
              <a:cxn ang="0">
                <a:pos x="connsiteX54842" y="connsiteY54842"/>
              </a:cxn>
              <a:cxn ang="0">
                <a:pos x="connsiteX54843" y="connsiteY54843"/>
              </a:cxn>
              <a:cxn ang="0">
                <a:pos x="connsiteX54844" y="connsiteY54844"/>
              </a:cxn>
              <a:cxn ang="0">
                <a:pos x="connsiteX54845" y="connsiteY54845"/>
              </a:cxn>
              <a:cxn ang="0">
                <a:pos x="connsiteX54846" y="connsiteY54846"/>
              </a:cxn>
              <a:cxn ang="0">
                <a:pos x="connsiteX54847" y="connsiteY54847"/>
              </a:cxn>
              <a:cxn ang="0">
                <a:pos x="connsiteX54848" y="connsiteY54848"/>
              </a:cxn>
              <a:cxn ang="0">
                <a:pos x="connsiteX54849" y="connsiteY54849"/>
              </a:cxn>
              <a:cxn ang="0">
                <a:pos x="connsiteX54850" y="connsiteY54850"/>
              </a:cxn>
              <a:cxn ang="0">
                <a:pos x="connsiteX54851" y="connsiteY54851"/>
              </a:cxn>
              <a:cxn ang="0">
                <a:pos x="connsiteX54852" y="connsiteY54852"/>
              </a:cxn>
              <a:cxn ang="0">
                <a:pos x="connsiteX54853" y="connsiteY54853"/>
              </a:cxn>
              <a:cxn ang="0">
                <a:pos x="connsiteX54854" y="connsiteY54854"/>
              </a:cxn>
              <a:cxn ang="0">
                <a:pos x="connsiteX54855" y="connsiteY54855"/>
              </a:cxn>
              <a:cxn ang="0">
                <a:pos x="connsiteX54856" y="connsiteY54856"/>
              </a:cxn>
              <a:cxn ang="0">
                <a:pos x="connsiteX54857" y="connsiteY54857"/>
              </a:cxn>
              <a:cxn ang="0">
                <a:pos x="connsiteX54858" y="connsiteY54858"/>
              </a:cxn>
              <a:cxn ang="0">
                <a:pos x="connsiteX54859" y="connsiteY54859"/>
              </a:cxn>
              <a:cxn ang="0">
                <a:pos x="connsiteX54860" y="connsiteY54860"/>
              </a:cxn>
              <a:cxn ang="0">
                <a:pos x="connsiteX54861" y="connsiteY54861"/>
              </a:cxn>
              <a:cxn ang="0">
                <a:pos x="connsiteX54862" y="connsiteY54862"/>
              </a:cxn>
              <a:cxn ang="0">
                <a:pos x="connsiteX54863" y="connsiteY54863"/>
              </a:cxn>
              <a:cxn ang="0">
                <a:pos x="connsiteX54864" y="connsiteY54864"/>
              </a:cxn>
              <a:cxn ang="0">
                <a:pos x="connsiteX54865" y="connsiteY54865"/>
              </a:cxn>
              <a:cxn ang="0">
                <a:pos x="connsiteX54866" y="connsiteY54866"/>
              </a:cxn>
              <a:cxn ang="0">
                <a:pos x="connsiteX54867" y="connsiteY54867"/>
              </a:cxn>
              <a:cxn ang="0">
                <a:pos x="connsiteX54868" y="connsiteY54868"/>
              </a:cxn>
              <a:cxn ang="0">
                <a:pos x="connsiteX54869" y="connsiteY54869"/>
              </a:cxn>
              <a:cxn ang="0">
                <a:pos x="connsiteX54870" y="connsiteY54870"/>
              </a:cxn>
              <a:cxn ang="0">
                <a:pos x="connsiteX54871" y="connsiteY54871"/>
              </a:cxn>
              <a:cxn ang="0">
                <a:pos x="connsiteX54872" y="connsiteY54872"/>
              </a:cxn>
              <a:cxn ang="0">
                <a:pos x="connsiteX54873" y="connsiteY54873"/>
              </a:cxn>
              <a:cxn ang="0">
                <a:pos x="connsiteX54874" y="connsiteY54874"/>
              </a:cxn>
              <a:cxn ang="0">
                <a:pos x="connsiteX54875" y="connsiteY54875"/>
              </a:cxn>
              <a:cxn ang="0">
                <a:pos x="connsiteX54876" y="connsiteY54876"/>
              </a:cxn>
              <a:cxn ang="0">
                <a:pos x="connsiteX54877" y="connsiteY54877"/>
              </a:cxn>
              <a:cxn ang="0">
                <a:pos x="connsiteX54878" y="connsiteY54878"/>
              </a:cxn>
              <a:cxn ang="0">
                <a:pos x="connsiteX54879" y="connsiteY54879"/>
              </a:cxn>
              <a:cxn ang="0">
                <a:pos x="connsiteX54880" y="connsiteY54880"/>
              </a:cxn>
              <a:cxn ang="0">
                <a:pos x="connsiteX54881" y="connsiteY54881"/>
              </a:cxn>
              <a:cxn ang="0">
                <a:pos x="connsiteX54882" y="connsiteY54882"/>
              </a:cxn>
              <a:cxn ang="0">
                <a:pos x="connsiteX54883" y="connsiteY54883"/>
              </a:cxn>
              <a:cxn ang="0">
                <a:pos x="connsiteX54884" y="connsiteY54884"/>
              </a:cxn>
              <a:cxn ang="0">
                <a:pos x="connsiteX54885" y="connsiteY54885"/>
              </a:cxn>
              <a:cxn ang="0">
                <a:pos x="connsiteX54886" y="connsiteY54886"/>
              </a:cxn>
              <a:cxn ang="0">
                <a:pos x="connsiteX54887" y="connsiteY54887"/>
              </a:cxn>
              <a:cxn ang="0">
                <a:pos x="connsiteX54888" y="connsiteY54888"/>
              </a:cxn>
              <a:cxn ang="0">
                <a:pos x="connsiteX54889" y="connsiteY54889"/>
              </a:cxn>
              <a:cxn ang="0">
                <a:pos x="connsiteX54890" y="connsiteY54890"/>
              </a:cxn>
              <a:cxn ang="0">
                <a:pos x="connsiteX54891" y="connsiteY54891"/>
              </a:cxn>
              <a:cxn ang="0">
                <a:pos x="connsiteX54892" y="connsiteY54892"/>
              </a:cxn>
              <a:cxn ang="0">
                <a:pos x="connsiteX54893" y="connsiteY54893"/>
              </a:cxn>
              <a:cxn ang="0">
                <a:pos x="connsiteX54894" y="connsiteY54894"/>
              </a:cxn>
              <a:cxn ang="0">
                <a:pos x="connsiteX54895" y="connsiteY54895"/>
              </a:cxn>
              <a:cxn ang="0">
                <a:pos x="connsiteX54896" y="connsiteY54896"/>
              </a:cxn>
              <a:cxn ang="0">
                <a:pos x="connsiteX54897" y="connsiteY54897"/>
              </a:cxn>
              <a:cxn ang="0">
                <a:pos x="connsiteX54898" y="connsiteY54898"/>
              </a:cxn>
              <a:cxn ang="0">
                <a:pos x="connsiteX54899" y="connsiteY54899"/>
              </a:cxn>
              <a:cxn ang="0">
                <a:pos x="connsiteX54900" y="connsiteY54900"/>
              </a:cxn>
              <a:cxn ang="0">
                <a:pos x="connsiteX54901" y="connsiteY54901"/>
              </a:cxn>
              <a:cxn ang="0">
                <a:pos x="connsiteX54902" y="connsiteY54902"/>
              </a:cxn>
              <a:cxn ang="0">
                <a:pos x="connsiteX54903" y="connsiteY54903"/>
              </a:cxn>
              <a:cxn ang="0">
                <a:pos x="connsiteX54904" y="connsiteY54904"/>
              </a:cxn>
              <a:cxn ang="0">
                <a:pos x="connsiteX54905" y="connsiteY54905"/>
              </a:cxn>
              <a:cxn ang="0">
                <a:pos x="connsiteX54906" y="connsiteY54906"/>
              </a:cxn>
              <a:cxn ang="0">
                <a:pos x="connsiteX54907" y="connsiteY54907"/>
              </a:cxn>
              <a:cxn ang="0">
                <a:pos x="connsiteX54908" y="connsiteY54908"/>
              </a:cxn>
              <a:cxn ang="0">
                <a:pos x="connsiteX54909" y="connsiteY54909"/>
              </a:cxn>
              <a:cxn ang="0">
                <a:pos x="connsiteX54910" y="connsiteY54910"/>
              </a:cxn>
              <a:cxn ang="0">
                <a:pos x="connsiteX54911" y="connsiteY54911"/>
              </a:cxn>
              <a:cxn ang="0">
                <a:pos x="connsiteX54912" y="connsiteY54912"/>
              </a:cxn>
              <a:cxn ang="0">
                <a:pos x="connsiteX54913" y="connsiteY54913"/>
              </a:cxn>
              <a:cxn ang="0">
                <a:pos x="connsiteX54914" y="connsiteY54914"/>
              </a:cxn>
              <a:cxn ang="0">
                <a:pos x="connsiteX54915" y="connsiteY54915"/>
              </a:cxn>
              <a:cxn ang="0">
                <a:pos x="connsiteX54916" y="connsiteY54916"/>
              </a:cxn>
              <a:cxn ang="0">
                <a:pos x="connsiteX54917" y="connsiteY54917"/>
              </a:cxn>
              <a:cxn ang="0">
                <a:pos x="connsiteX54918" y="connsiteY54918"/>
              </a:cxn>
              <a:cxn ang="0">
                <a:pos x="connsiteX54919" y="connsiteY54919"/>
              </a:cxn>
              <a:cxn ang="0">
                <a:pos x="connsiteX54920" y="connsiteY54920"/>
              </a:cxn>
              <a:cxn ang="0">
                <a:pos x="connsiteX54921" y="connsiteY54921"/>
              </a:cxn>
              <a:cxn ang="0">
                <a:pos x="connsiteX54922" y="connsiteY54922"/>
              </a:cxn>
              <a:cxn ang="0">
                <a:pos x="connsiteX54923" y="connsiteY54923"/>
              </a:cxn>
              <a:cxn ang="0">
                <a:pos x="connsiteX54924" y="connsiteY54924"/>
              </a:cxn>
              <a:cxn ang="0">
                <a:pos x="connsiteX54925" y="connsiteY54925"/>
              </a:cxn>
              <a:cxn ang="0">
                <a:pos x="connsiteX54926" y="connsiteY54926"/>
              </a:cxn>
              <a:cxn ang="0">
                <a:pos x="connsiteX54927" y="connsiteY54927"/>
              </a:cxn>
              <a:cxn ang="0">
                <a:pos x="connsiteX54928" y="connsiteY54928"/>
              </a:cxn>
              <a:cxn ang="0">
                <a:pos x="connsiteX54929" y="connsiteY54929"/>
              </a:cxn>
              <a:cxn ang="0">
                <a:pos x="connsiteX54930" y="connsiteY54930"/>
              </a:cxn>
              <a:cxn ang="0">
                <a:pos x="connsiteX54931" y="connsiteY54931"/>
              </a:cxn>
              <a:cxn ang="0">
                <a:pos x="connsiteX54932" y="connsiteY54932"/>
              </a:cxn>
              <a:cxn ang="0">
                <a:pos x="connsiteX54933" y="connsiteY54933"/>
              </a:cxn>
              <a:cxn ang="0">
                <a:pos x="connsiteX54934" y="connsiteY54934"/>
              </a:cxn>
              <a:cxn ang="0">
                <a:pos x="connsiteX54935" y="connsiteY54935"/>
              </a:cxn>
              <a:cxn ang="0">
                <a:pos x="connsiteX54936" y="connsiteY54936"/>
              </a:cxn>
              <a:cxn ang="0">
                <a:pos x="connsiteX54937" y="connsiteY54937"/>
              </a:cxn>
              <a:cxn ang="0">
                <a:pos x="connsiteX54938" y="connsiteY54938"/>
              </a:cxn>
              <a:cxn ang="0">
                <a:pos x="connsiteX54939" y="connsiteY54939"/>
              </a:cxn>
              <a:cxn ang="0">
                <a:pos x="connsiteX54940" y="connsiteY54940"/>
              </a:cxn>
              <a:cxn ang="0">
                <a:pos x="connsiteX54941" y="connsiteY54941"/>
              </a:cxn>
              <a:cxn ang="0">
                <a:pos x="connsiteX54942" y="connsiteY54942"/>
              </a:cxn>
              <a:cxn ang="0">
                <a:pos x="connsiteX54943" y="connsiteY54943"/>
              </a:cxn>
              <a:cxn ang="0">
                <a:pos x="connsiteX54944" y="connsiteY54944"/>
              </a:cxn>
              <a:cxn ang="0">
                <a:pos x="connsiteX54945" y="connsiteY54945"/>
              </a:cxn>
              <a:cxn ang="0">
                <a:pos x="connsiteX54946" y="connsiteY54946"/>
              </a:cxn>
              <a:cxn ang="0">
                <a:pos x="connsiteX54947" y="connsiteY54947"/>
              </a:cxn>
              <a:cxn ang="0">
                <a:pos x="connsiteX54948" y="connsiteY54948"/>
              </a:cxn>
              <a:cxn ang="0">
                <a:pos x="connsiteX54949" y="connsiteY54949"/>
              </a:cxn>
              <a:cxn ang="0">
                <a:pos x="connsiteX54950" y="connsiteY54950"/>
              </a:cxn>
              <a:cxn ang="0">
                <a:pos x="connsiteX54951" y="connsiteY54951"/>
              </a:cxn>
              <a:cxn ang="0">
                <a:pos x="connsiteX54952" y="connsiteY54952"/>
              </a:cxn>
              <a:cxn ang="0">
                <a:pos x="connsiteX54953" y="connsiteY54953"/>
              </a:cxn>
              <a:cxn ang="0">
                <a:pos x="connsiteX54954" y="connsiteY54954"/>
              </a:cxn>
              <a:cxn ang="0">
                <a:pos x="connsiteX54955" y="connsiteY54955"/>
              </a:cxn>
              <a:cxn ang="0">
                <a:pos x="connsiteX54956" y="connsiteY54956"/>
              </a:cxn>
              <a:cxn ang="0">
                <a:pos x="connsiteX54957" y="connsiteY54957"/>
              </a:cxn>
              <a:cxn ang="0">
                <a:pos x="connsiteX54958" y="connsiteY54958"/>
              </a:cxn>
              <a:cxn ang="0">
                <a:pos x="connsiteX54959" y="connsiteY54959"/>
              </a:cxn>
              <a:cxn ang="0">
                <a:pos x="connsiteX54960" y="connsiteY54960"/>
              </a:cxn>
              <a:cxn ang="0">
                <a:pos x="connsiteX54961" y="connsiteY54961"/>
              </a:cxn>
              <a:cxn ang="0">
                <a:pos x="connsiteX54962" y="connsiteY54962"/>
              </a:cxn>
              <a:cxn ang="0">
                <a:pos x="connsiteX54963" y="connsiteY54963"/>
              </a:cxn>
              <a:cxn ang="0">
                <a:pos x="connsiteX54964" y="connsiteY54964"/>
              </a:cxn>
              <a:cxn ang="0">
                <a:pos x="connsiteX54965" y="connsiteY54965"/>
              </a:cxn>
              <a:cxn ang="0">
                <a:pos x="connsiteX54966" y="connsiteY54966"/>
              </a:cxn>
              <a:cxn ang="0">
                <a:pos x="connsiteX54967" y="connsiteY54967"/>
              </a:cxn>
              <a:cxn ang="0">
                <a:pos x="connsiteX54968" y="connsiteY54968"/>
              </a:cxn>
              <a:cxn ang="0">
                <a:pos x="connsiteX54969" y="connsiteY54969"/>
              </a:cxn>
              <a:cxn ang="0">
                <a:pos x="connsiteX54970" y="connsiteY54970"/>
              </a:cxn>
              <a:cxn ang="0">
                <a:pos x="connsiteX54971" y="connsiteY54971"/>
              </a:cxn>
              <a:cxn ang="0">
                <a:pos x="connsiteX54972" y="connsiteY54972"/>
              </a:cxn>
              <a:cxn ang="0">
                <a:pos x="connsiteX54973" y="connsiteY54973"/>
              </a:cxn>
              <a:cxn ang="0">
                <a:pos x="connsiteX54974" y="connsiteY54974"/>
              </a:cxn>
              <a:cxn ang="0">
                <a:pos x="connsiteX54975" y="connsiteY54975"/>
              </a:cxn>
              <a:cxn ang="0">
                <a:pos x="connsiteX54976" y="connsiteY54976"/>
              </a:cxn>
              <a:cxn ang="0">
                <a:pos x="connsiteX54977" y="connsiteY54977"/>
              </a:cxn>
              <a:cxn ang="0">
                <a:pos x="connsiteX54978" y="connsiteY54978"/>
              </a:cxn>
              <a:cxn ang="0">
                <a:pos x="connsiteX54979" y="connsiteY54979"/>
              </a:cxn>
              <a:cxn ang="0">
                <a:pos x="connsiteX54980" y="connsiteY54980"/>
              </a:cxn>
              <a:cxn ang="0">
                <a:pos x="connsiteX54981" y="connsiteY54981"/>
              </a:cxn>
              <a:cxn ang="0">
                <a:pos x="connsiteX54982" y="connsiteY54982"/>
              </a:cxn>
              <a:cxn ang="0">
                <a:pos x="connsiteX54983" y="connsiteY54983"/>
              </a:cxn>
              <a:cxn ang="0">
                <a:pos x="connsiteX54984" y="connsiteY54984"/>
              </a:cxn>
              <a:cxn ang="0">
                <a:pos x="connsiteX54985" y="connsiteY54985"/>
              </a:cxn>
              <a:cxn ang="0">
                <a:pos x="connsiteX54986" y="connsiteY54986"/>
              </a:cxn>
              <a:cxn ang="0">
                <a:pos x="connsiteX54987" y="connsiteY54987"/>
              </a:cxn>
              <a:cxn ang="0">
                <a:pos x="connsiteX54988" y="connsiteY54988"/>
              </a:cxn>
              <a:cxn ang="0">
                <a:pos x="connsiteX54989" y="connsiteY54989"/>
              </a:cxn>
              <a:cxn ang="0">
                <a:pos x="connsiteX54990" y="connsiteY54990"/>
              </a:cxn>
              <a:cxn ang="0">
                <a:pos x="connsiteX54991" y="connsiteY54991"/>
              </a:cxn>
              <a:cxn ang="0">
                <a:pos x="connsiteX54992" y="connsiteY54992"/>
              </a:cxn>
              <a:cxn ang="0">
                <a:pos x="connsiteX54993" y="connsiteY54993"/>
              </a:cxn>
              <a:cxn ang="0">
                <a:pos x="connsiteX54994" y="connsiteY54994"/>
              </a:cxn>
              <a:cxn ang="0">
                <a:pos x="connsiteX54995" y="connsiteY54995"/>
              </a:cxn>
              <a:cxn ang="0">
                <a:pos x="connsiteX54996" y="connsiteY54996"/>
              </a:cxn>
              <a:cxn ang="0">
                <a:pos x="connsiteX54997" y="connsiteY54997"/>
              </a:cxn>
              <a:cxn ang="0">
                <a:pos x="connsiteX54998" y="connsiteY54998"/>
              </a:cxn>
              <a:cxn ang="0">
                <a:pos x="connsiteX54999" y="connsiteY54999"/>
              </a:cxn>
              <a:cxn ang="0">
                <a:pos x="connsiteX55000" y="connsiteY55000"/>
              </a:cxn>
              <a:cxn ang="0">
                <a:pos x="connsiteX55001" y="connsiteY55001"/>
              </a:cxn>
              <a:cxn ang="0">
                <a:pos x="connsiteX55002" y="connsiteY55002"/>
              </a:cxn>
              <a:cxn ang="0">
                <a:pos x="connsiteX55003" y="connsiteY55003"/>
              </a:cxn>
              <a:cxn ang="0">
                <a:pos x="connsiteX55004" y="connsiteY55004"/>
              </a:cxn>
              <a:cxn ang="0">
                <a:pos x="connsiteX55005" y="connsiteY55005"/>
              </a:cxn>
              <a:cxn ang="0">
                <a:pos x="connsiteX55006" y="connsiteY55006"/>
              </a:cxn>
              <a:cxn ang="0">
                <a:pos x="connsiteX55007" y="connsiteY55007"/>
              </a:cxn>
              <a:cxn ang="0">
                <a:pos x="connsiteX55008" y="connsiteY55008"/>
              </a:cxn>
              <a:cxn ang="0">
                <a:pos x="connsiteX55009" y="connsiteY55009"/>
              </a:cxn>
              <a:cxn ang="0">
                <a:pos x="connsiteX55010" y="connsiteY55010"/>
              </a:cxn>
              <a:cxn ang="0">
                <a:pos x="connsiteX55011" y="connsiteY55011"/>
              </a:cxn>
              <a:cxn ang="0">
                <a:pos x="connsiteX55012" y="connsiteY55012"/>
              </a:cxn>
              <a:cxn ang="0">
                <a:pos x="connsiteX55013" y="connsiteY55013"/>
              </a:cxn>
              <a:cxn ang="0">
                <a:pos x="connsiteX55014" y="connsiteY55014"/>
              </a:cxn>
              <a:cxn ang="0">
                <a:pos x="connsiteX55015" y="connsiteY55015"/>
              </a:cxn>
              <a:cxn ang="0">
                <a:pos x="connsiteX55016" y="connsiteY55016"/>
              </a:cxn>
              <a:cxn ang="0">
                <a:pos x="connsiteX55017" y="connsiteY55017"/>
              </a:cxn>
              <a:cxn ang="0">
                <a:pos x="connsiteX55018" y="connsiteY55018"/>
              </a:cxn>
              <a:cxn ang="0">
                <a:pos x="connsiteX55019" y="connsiteY55019"/>
              </a:cxn>
              <a:cxn ang="0">
                <a:pos x="connsiteX55020" y="connsiteY55020"/>
              </a:cxn>
              <a:cxn ang="0">
                <a:pos x="connsiteX55021" y="connsiteY55021"/>
              </a:cxn>
              <a:cxn ang="0">
                <a:pos x="connsiteX55022" y="connsiteY55022"/>
              </a:cxn>
              <a:cxn ang="0">
                <a:pos x="connsiteX55023" y="connsiteY55023"/>
              </a:cxn>
              <a:cxn ang="0">
                <a:pos x="connsiteX55024" y="connsiteY55024"/>
              </a:cxn>
              <a:cxn ang="0">
                <a:pos x="connsiteX55025" y="connsiteY55025"/>
              </a:cxn>
              <a:cxn ang="0">
                <a:pos x="connsiteX55026" y="connsiteY55026"/>
              </a:cxn>
              <a:cxn ang="0">
                <a:pos x="connsiteX55027" y="connsiteY55027"/>
              </a:cxn>
              <a:cxn ang="0">
                <a:pos x="connsiteX55028" y="connsiteY55028"/>
              </a:cxn>
              <a:cxn ang="0">
                <a:pos x="connsiteX55029" y="connsiteY55029"/>
              </a:cxn>
              <a:cxn ang="0">
                <a:pos x="connsiteX55030" y="connsiteY55030"/>
              </a:cxn>
              <a:cxn ang="0">
                <a:pos x="connsiteX55031" y="connsiteY55031"/>
              </a:cxn>
              <a:cxn ang="0">
                <a:pos x="connsiteX55032" y="connsiteY55032"/>
              </a:cxn>
              <a:cxn ang="0">
                <a:pos x="connsiteX55033" y="connsiteY55033"/>
              </a:cxn>
              <a:cxn ang="0">
                <a:pos x="connsiteX55034" y="connsiteY55034"/>
              </a:cxn>
              <a:cxn ang="0">
                <a:pos x="connsiteX55035" y="connsiteY55035"/>
              </a:cxn>
              <a:cxn ang="0">
                <a:pos x="connsiteX55036" y="connsiteY55036"/>
              </a:cxn>
              <a:cxn ang="0">
                <a:pos x="connsiteX55037" y="connsiteY55037"/>
              </a:cxn>
              <a:cxn ang="0">
                <a:pos x="connsiteX55038" y="connsiteY55038"/>
              </a:cxn>
              <a:cxn ang="0">
                <a:pos x="connsiteX55039" y="connsiteY55039"/>
              </a:cxn>
              <a:cxn ang="0">
                <a:pos x="connsiteX55040" y="connsiteY55040"/>
              </a:cxn>
              <a:cxn ang="0">
                <a:pos x="connsiteX55041" y="connsiteY55041"/>
              </a:cxn>
              <a:cxn ang="0">
                <a:pos x="connsiteX55042" y="connsiteY55042"/>
              </a:cxn>
              <a:cxn ang="0">
                <a:pos x="connsiteX55043" y="connsiteY55043"/>
              </a:cxn>
              <a:cxn ang="0">
                <a:pos x="connsiteX55044" y="connsiteY55044"/>
              </a:cxn>
              <a:cxn ang="0">
                <a:pos x="connsiteX55045" y="connsiteY55045"/>
              </a:cxn>
              <a:cxn ang="0">
                <a:pos x="connsiteX55046" y="connsiteY55046"/>
              </a:cxn>
              <a:cxn ang="0">
                <a:pos x="connsiteX55047" y="connsiteY55047"/>
              </a:cxn>
              <a:cxn ang="0">
                <a:pos x="connsiteX55048" y="connsiteY55048"/>
              </a:cxn>
              <a:cxn ang="0">
                <a:pos x="connsiteX55049" y="connsiteY55049"/>
              </a:cxn>
              <a:cxn ang="0">
                <a:pos x="connsiteX55050" y="connsiteY55050"/>
              </a:cxn>
              <a:cxn ang="0">
                <a:pos x="connsiteX55051" y="connsiteY55051"/>
              </a:cxn>
              <a:cxn ang="0">
                <a:pos x="connsiteX55052" y="connsiteY55052"/>
              </a:cxn>
              <a:cxn ang="0">
                <a:pos x="connsiteX55053" y="connsiteY55053"/>
              </a:cxn>
              <a:cxn ang="0">
                <a:pos x="connsiteX55054" y="connsiteY55054"/>
              </a:cxn>
              <a:cxn ang="0">
                <a:pos x="connsiteX55055" y="connsiteY55055"/>
              </a:cxn>
              <a:cxn ang="0">
                <a:pos x="connsiteX55056" y="connsiteY55056"/>
              </a:cxn>
              <a:cxn ang="0">
                <a:pos x="connsiteX55057" y="connsiteY55057"/>
              </a:cxn>
              <a:cxn ang="0">
                <a:pos x="connsiteX55058" y="connsiteY55058"/>
              </a:cxn>
              <a:cxn ang="0">
                <a:pos x="connsiteX55059" y="connsiteY55059"/>
              </a:cxn>
              <a:cxn ang="0">
                <a:pos x="connsiteX55060" y="connsiteY55060"/>
              </a:cxn>
              <a:cxn ang="0">
                <a:pos x="connsiteX55061" y="connsiteY55061"/>
              </a:cxn>
              <a:cxn ang="0">
                <a:pos x="connsiteX55062" y="connsiteY55062"/>
              </a:cxn>
              <a:cxn ang="0">
                <a:pos x="connsiteX55063" y="connsiteY55063"/>
              </a:cxn>
              <a:cxn ang="0">
                <a:pos x="connsiteX55064" y="connsiteY55064"/>
              </a:cxn>
              <a:cxn ang="0">
                <a:pos x="connsiteX55065" y="connsiteY55065"/>
              </a:cxn>
              <a:cxn ang="0">
                <a:pos x="connsiteX55066" y="connsiteY55066"/>
              </a:cxn>
              <a:cxn ang="0">
                <a:pos x="connsiteX55067" y="connsiteY55067"/>
              </a:cxn>
              <a:cxn ang="0">
                <a:pos x="connsiteX55068" y="connsiteY55068"/>
              </a:cxn>
              <a:cxn ang="0">
                <a:pos x="connsiteX55069" y="connsiteY55069"/>
              </a:cxn>
              <a:cxn ang="0">
                <a:pos x="connsiteX55070" y="connsiteY55070"/>
              </a:cxn>
              <a:cxn ang="0">
                <a:pos x="connsiteX55071" y="connsiteY55071"/>
              </a:cxn>
              <a:cxn ang="0">
                <a:pos x="connsiteX55072" y="connsiteY55072"/>
              </a:cxn>
              <a:cxn ang="0">
                <a:pos x="connsiteX55073" y="connsiteY55073"/>
              </a:cxn>
              <a:cxn ang="0">
                <a:pos x="connsiteX55074" y="connsiteY55074"/>
              </a:cxn>
              <a:cxn ang="0">
                <a:pos x="connsiteX55075" y="connsiteY55075"/>
              </a:cxn>
              <a:cxn ang="0">
                <a:pos x="connsiteX55076" y="connsiteY55076"/>
              </a:cxn>
              <a:cxn ang="0">
                <a:pos x="connsiteX55077" y="connsiteY55077"/>
              </a:cxn>
              <a:cxn ang="0">
                <a:pos x="connsiteX55078" y="connsiteY55078"/>
              </a:cxn>
              <a:cxn ang="0">
                <a:pos x="connsiteX55079" y="connsiteY55079"/>
              </a:cxn>
              <a:cxn ang="0">
                <a:pos x="connsiteX55080" y="connsiteY55080"/>
              </a:cxn>
              <a:cxn ang="0">
                <a:pos x="connsiteX55081" y="connsiteY55081"/>
              </a:cxn>
              <a:cxn ang="0">
                <a:pos x="connsiteX55082" y="connsiteY55082"/>
              </a:cxn>
              <a:cxn ang="0">
                <a:pos x="connsiteX55083" y="connsiteY55083"/>
              </a:cxn>
              <a:cxn ang="0">
                <a:pos x="connsiteX55084" y="connsiteY55084"/>
              </a:cxn>
              <a:cxn ang="0">
                <a:pos x="connsiteX55085" y="connsiteY55085"/>
              </a:cxn>
              <a:cxn ang="0">
                <a:pos x="connsiteX55086" y="connsiteY55086"/>
              </a:cxn>
              <a:cxn ang="0">
                <a:pos x="connsiteX55087" y="connsiteY55087"/>
              </a:cxn>
              <a:cxn ang="0">
                <a:pos x="connsiteX55088" y="connsiteY55088"/>
              </a:cxn>
              <a:cxn ang="0">
                <a:pos x="connsiteX55089" y="connsiteY55089"/>
              </a:cxn>
              <a:cxn ang="0">
                <a:pos x="connsiteX55090" y="connsiteY55090"/>
              </a:cxn>
              <a:cxn ang="0">
                <a:pos x="connsiteX55091" y="connsiteY55091"/>
              </a:cxn>
              <a:cxn ang="0">
                <a:pos x="connsiteX55092" y="connsiteY55092"/>
              </a:cxn>
              <a:cxn ang="0">
                <a:pos x="connsiteX55093" y="connsiteY55093"/>
              </a:cxn>
              <a:cxn ang="0">
                <a:pos x="connsiteX55094" y="connsiteY55094"/>
              </a:cxn>
              <a:cxn ang="0">
                <a:pos x="connsiteX55095" y="connsiteY55095"/>
              </a:cxn>
              <a:cxn ang="0">
                <a:pos x="connsiteX55096" y="connsiteY55096"/>
              </a:cxn>
              <a:cxn ang="0">
                <a:pos x="connsiteX55097" y="connsiteY55097"/>
              </a:cxn>
              <a:cxn ang="0">
                <a:pos x="connsiteX55098" y="connsiteY55098"/>
              </a:cxn>
              <a:cxn ang="0">
                <a:pos x="connsiteX55099" y="connsiteY55099"/>
              </a:cxn>
              <a:cxn ang="0">
                <a:pos x="connsiteX55100" y="connsiteY55100"/>
              </a:cxn>
              <a:cxn ang="0">
                <a:pos x="connsiteX55101" y="connsiteY55101"/>
              </a:cxn>
              <a:cxn ang="0">
                <a:pos x="connsiteX55102" y="connsiteY55102"/>
              </a:cxn>
              <a:cxn ang="0">
                <a:pos x="connsiteX55103" y="connsiteY55103"/>
              </a:cxn>
              <a:cxn ang="0">
                <a:pos x="connsiteX55104" y="connsiteY55104"/>
              </a:cxn>
              <a:cxn ang="0">
                <a:pos x="connsiteX55105" y="connsiteY55105"/>
              </a:cxn>
              <a:cxn ang="0">
                <a:pos x="connsiteX55106" y="connsiteY55106"/>
              </a:cxn>
              <a:cxn ang="0">
                <a:pos x="connsiteX55107" y="connsiteY55107"/>
              </a:cxn>
              <a:cxn ang="0">
                <a:pos x="connsiteX55108" y="connsiteY55108"/>
              </a:cxn>
              <a:cxn ang="0">
                <a:pos x="connsiteX55109" y="connsiteY55109"/>
              </a:cxn>
              <a:cxn ang="0">
                <a:pos x="connsiteX55110" y="connsiteY55110"/>
              </a:cxn>
              <a:cxn ang="0">
                <a:pos x="connsiteX55111" y="connsiteY55111"/>
              </a:cxn>
              <a:cxn ang="0">
                <a:pos x="connsiteX55112" y="connsiteY55112"/>
              </a:cxn>
              <a:cxn ang="0">
                <a:pos x="connsiteX55113" y="connsiteY55113"/>
              </a:cxn>
              <a:cxn ang="0">
                <a:pos x="connsiteX55114" y="connsiteY55114"/>
              </a:cxn>
              <a:cxn ang="0">
                <a:pos x="connsiteX55115" y="connsiteY55115"/>
              </a:cxn>
              <a:cxn ang="0">
                <a:pos x="connsiteX55116" y="connsiteY55116"/>
              </a:cxn>
              <a:cxn ang="0">
                <a:pos x="connsiteX55117" y="connsiteY55117"/>
              </a:cxn>
              <a:cxn ang="0">
                <a:pos x="connsiteX55118" y="connsiteY55118"/>
              </a:cxn>
              <a:cxn ang="0">
                <a:pos x="connsiteX55119" y="connsiteY55119"/>
              </a:cxn>
              <a:cxn ang="0">
                <a:pos x="connsiteX55120" y="connsiteY55120"/>
              </a:cxn>
              <a:cxn ang="0">
                <a:pos x="connsiteX55121" y="connsiteY55121"/>
              </a:cxn>
              <a:cxn ang="0">
                <a:pos x="connsiteX55122" y="connsiteY55122"/>
              </a:cxn>
              <a:cxn ang="0">
                <a:pos x="connsiteX55123" y="connsiteY55123"/>
              </a:cxn>
              <a:cxn ang="0">
                <a:pos x="connsiteX55124" y="connsiteY55124"/>
              </a:cxn>
              <a:cxn ang="0">
                <a:pos x="connsiteX55125" y="connsiteY55125"/>
              </a:cxn>
              <a:cxn ang="0">
                <a:pos x="connsiteX55126" y="connsiteY55126"/>
              </a:cxn>
              <a:cxn ang="0">
                <a:pos x="connsiteX55127" y="connsiteY55127"/>
              </a:cxn>
              <a:cxn ang="0">
                <a:pos x="connsiteX55128" y="connsiteY55128"/>
              </a:cxn>
              <a:cxn ang="0">
                <a:pos x="connsiteX55129" y="connsiteY55129"/>
              </a:cxn>
              <a:cxn ang="0">
                <a:pos x="connsiteX55130" y="connsiteY55130"/>
              </a:cxn>
              <a:cxn ang="0">
                <a:pos x="connsiteX55131" y="connsiteY55131"/>
              </a:cxn>
              <a:cxn ang="0">
                <a:pos x="connsiteX55132" y="connsiteY55132"/>
              </a:cxn>
              <a:cxn ang="0">
                <a:pos x="connsiteX55133" y="connsiteY55133"/>
              </a:cxn>
              <a:cxn ang="0">
                <a:pos x="connsiteX55134" y="connsiteY55134"/>
              </a:cxn>
              <a:cxn ang="0">
                <a:pos x="connsiteX55135" y="connsiteY55135"/>
              </a:cxn>
              <a:cxn ang="0">
                <a:pos x="connsiteX55136" y="connsiteY55136"/>
              </a:cxn>
              <a:cxn ang="0">
                <a:pos x="connsiteX55137" y="connsiteY55137"/>
              </a:cxn>
              <a:cxn ang="0">
                <a:pos x="connsiteX55138" y="connsiteY55138"/>
              </a:cxn>
              <a:cxn ang="0">
                <a:pos x="connsiteX55139" y="connsiteY55139"/>
              </a:cxn>
              <a:cxn ang="0">
                <a:pos x="connsiteX55140" y="connsiteY55140"/>
              </a:cxn>
              <a:cxn ang="0">
                <a:pos x="connsiteX55141" y="connsiteY55141"/>
              </a:cxn>
              <a:cxn ang="0">
                <a:pos x="connsiteX55142" y="connsiteY55142"/>
              </a:cxn>
              <a:cxn ang="0">
                <a:pos x="connsiteX55143" y="connsiteY55143"/>
              </a:cxn>
              <a:cxn ang="0">
                <a:pos x="connsiteX55144" y="connsiteY55144"/>
              </a:cxn>
              <a:cxn ang="0">
                <a:pos x="connsiteX55145" y="connsiteY55145"/>
              </a:cxn>
              <a:cxn ang="0">
                <a:pos x="connsiteX55146" y="connsiteY55146"/>
              </a:cxn>
              <a:cxn ang="0">
                <a:pos x="connsiteX55147" y="connsiteY55147"/>
              </a:cxn>
              <a:cxn ang="0">
                <a:pos x="connsiteX55148" y="connsiteY55148"/>
              </a:cxn>
              <a:cxn ang="0">
                <a:pos x="connsiteX55149" y="connsiteY55149"/>
              </a:cxn>
              <a:cxn ang="0">
                <a:pos x="connsiteX55150" y="connsiteY55150"/>
              </a:cxn>
              <a:cxn ang="0">
                <a:pos x="connsiteX55151" y="connsiteY55151"/>
              </a:cxn>
              <a:cxn ang="0">
                <a:pos x="connsiteX55152" y="connsiteY55152"/>
              </a:cxn>
              <a:cxn ang="0">
                <a:pos x="connsiteX55153" y="connsiteY55153"/>
              </a:cxn>
              <a:cxn ang="0">
                <a:pos x="connsiteX55154" y="connsiteY55154"/>
              </a:cxn>
              <a:cxn ang="0">
                <a:pos x="connsiteX55155" y="connsiteY55155"/>
              </a:cxn>
              <a:cxn ang="0">
                <a:pos x="connsiteX55156" y="connsiteY55156"/>
              </a:cxn>
              <a:cxn ang="0">
                <a:pos x="connsiteX55157" y="connsiteY55157"/>
              </a:cxn>
              <a:cxn ang="0">
                <a:pos x="connsiteX55158" y="connsiteY55158"/>
              </a:cxn>
              <a:cxn ang="0">
                <a:pos x="connsiteX55159" y="connsiteY55159"/>
              </a:cxn>
              <a:cxn ang="0">
                <a:pos x="connsiteX55160" y="connsiteY55160"/>
              </a:cxn>
              <a:cxn ang="0">
                <a:pos x="connsiteX55161" y="connsiteY55161"/>
              </a:cxn>
              <a:cxn ang="0">
                <a:pos x="connsiteX55162" y="connsiteY55162"/>
              </a:cxn>
              <a:cxn ang="0">
                <a:pos x="connsiteX55163" y="connsiteY55163"/>
              </a:cxn>
              <a:cxn ang="0">
                <a:pos x="connsiteX55164" y="connsiteY55164"/>
              </a:cxn>
              <a:cxn ang="0">
                <a:pos x="connsiteX55165" y="connsiteY55165"/>
              </a:cxn>
              <a:cxn ang="0">
                <a:pos x="connsiteX55166" y="connsiteY55166"/>
              </a:cxn>
              <a:cxn ang="0">
                <a:pos x="connsiteX55167" y="connsiteY55167"/>
              </a:cxn>
              <a:cxn ang="0">
                <a:pos x="connsiteX55168" y="connsiteY55168"/>
              </a:cxn>
              <a:cxn ang="0">
                <a:pos x="connsiteX55169" y="connsiteY55169"/>
              </a:cxn>
              <a:cxn ang="0">
                <a:pos x="connsiteX55170" y="connsiteY55170"/>
              </a:cxn>
              <a:cxn ang="0">
                <a:pos x="connsiteX55171" y="connsiteY55171"/>
              </a:cxn>
              <a:cxn ang="0">
                <a:pos x="connsiteX55172" y="connsiteY55172"/>
              </a:cxn>
              <a:cxn ang="0">
                <a:pos x="connsiteX55173" y="connsiteY55173"/>
              </a:cxn>
              <a:cxn ang="0">
                <a:pos x="connsiteX55174" y="connsiteY55174"/>
              </a:cxn>
              <a:cxn ang="0">
                <a:pos x="connsiteX55175" y="connsiteY55175"/>
              </a:cxn>
              <a:cxn ang="0">
                <a:pos x="connsiteX55176" y="connsiteY55176"/>
              </a:cxn>
              <a:cxn ang="0">
                <a:pos x="connsiteX55177" y="connsiteY55177"/>
              </a:cxn>
              <a:cxn ang="0">
                <a:pos x="connsiteX55178" y="connsiteY55178"/>
              </a:cxn>
              <a:cxn ang="0">
                <a:pos x="connsiteX55179" y="connsiteY55179"/>
              </a:cxn>
              <a:cxn ang="0">
                <a:pos x="connsiteX55180" y="connsiteY55180"/>
              </a:cxn>
              <a:cxn ang="0">
                <a:pos x="connsiteX55181" y="connsiteY55181"/>
              </a:cxn>
              <a:cxn ang="0">
                <a:pos x="connsiteX55182" y="connsiteY55182"/>
              </a:cxn>
              <a:cxn ang="0">
                <a:pos x="connsiteX55183" y="connsiteY55183"/>
              </a:cxn>
              <a:cxn ang="0">
                <a:pos x="connsiteX55184" y="connsiteY55184"/>
              </a:cxn>
              <a:cxn ang="0">
                <a:pos x="connsiteX55185" y="connsiteY55185"/>
              </a:cxn>
              <a:cxn ang="0">
                <a:pos x="connsiteX55186" y="connsiteY55186"/>
              </a:cxn>
              <a:cxn ang="0">
                <a:pos x="connsiteX55187" y="connsiteY55187"/>
              </a:cxn>
              <a:cxn ang="0">
                <a:pos x="connsiteX55188" y="connsiteY55188"/>
              </a:cxn>
              <a:cxn ang="0">
                <a:pos x="connsiteX55189" y="connsiteY55189"/>
              </a:cxn>
              <a:cxn ang="0">
                <a:pos x="connsiteX55190" y="connsiteY55190"/>
              </a:cxn>
              <a:cxn ang="0">
                <a:pos x="connsiteX55191" y="connsiteY55191"/>
              </a:cxn>
              <a:cxn ang="0">
                <a:pos x="connsiteX55192" y="connsiteY55192"/>
              </a:cxn>
              <a:cxn ang="0">
                <a:pos x="connsiteX55193" y="connsiteY55193"/>
              </a:cxn>
              <a:cxn ang="0">
                <a:pos x="connsiteX55194" y="connsiteY55194"/>
              </a:cxn>
              <a:cxn ang="0">
                <a:pos x="connsiteX55195" y="connsiteY55195"/>
              </a:cxn>
              <a:cxn ang="0">
                <a:pos x="connsiteX55196" y="connsiteY55196"/>
              </a:cxn>
              <a:cxn ang="0">
                <a:pos x="connsiteX55197" y="connsiteY55197"/>
              </a:cxn>
              <a:cxn ang="0">
                <a:pos x="connsiteX55198" y="connsiteY55198"/>
              </a:cxn>
              <a:cxn ang="0">
                <a:pos x="connsiteX55199" y="connsiteY55199"/>
              </a:cxn>
              <a:cxn ang="0">
                <a:pos x="connsiteX55200" y="connsiteY55200"/>
              </a:cxn>
              <a:cxn ang="0">
                <a:pos x="connsiteX55201" y="connsiteY55201"/>
              </a:cxn>
              <a:cxn ang="0">
                <a:pos x="connsiteX55202" y="connsiteY55202"/>
              </a:cxn>
              <a:cxn ang="0">
                <a:pos x="connsiteX55203" y="connsiteY55203"/>
              </a:cxn>
              <a:cxn ang="0">
                <a:pos x="connsiteX55204" y="connsiteY55204"/>
              </a:cxn>
              <a:cxn ang="0">
                <a:pos x="connsiteX55205" y="connsiteY55205"/>
              </a:cxn>
              <a:cxn ang="0">
                <a:pos x="connsiteX55206" y="connsiteY55206"/>
              </a:cxn>
              <a:cxn ang="0">
                <a:pos x="connsiteX55207" y="connsiteY55207"/>
              </a:cxn>
              <a:cxn ang="0">
                <a:pos x="connsiteX55208" y="connsiteY55208"/>
              </a:cxn>
              <a:cxn ang="0">
                <a:pos x="connsiteX55209" y="connsiteY55209"/>
              </a:cxn>
              <a:cxn ang="0">
                <a:pos x="connsiteX55210" y="connsiteY55210"/>
              </a:cxn>
              <a:cxn ang="0">
                <a:pos x="connsiteX55211" y="connsiteY55211"/>
              </a:cxn>
              <a:cxn ang="0">
                <a:pos x="connsiteX55212" y="connsiteY55212"/>
              </a:cxn>
              <a:cxn ang="0">
                <a:pos x="connsiteX55213" y="connsiteY55213"/>
              </a:cxn>
              <a:cxn ang="0">
                <a:pos x="connsiteX55214" y="connsiteY55214"/>
              </a:cxn>
              <a:cxn ang="0">
                <a:pos x="connsiteX55215" y="connsiteY55215"/>
              </a:cxn>
              <a:cxn ang="0">
                <a:pos x="connsiteX55216" y="connsiteY55216"/>
              </a:cxn>
              <a:cxn ang="0">
                <a:pos x="connsiteX55217" y="connsiteY55217"/>
              </a:cxn>
              <a:cxn ang="0">
                <a:pos x="connsiteX55218" y="connsiteY55218"/>
              </a:cxn>
              <a:cxn ang="0">
                <a:pos x="connsiteX55219" y="connsiteY55219"/>
              </a:cxn>
              <a:cxn ang="0">
                <a:pos x="connsiteX55220" y="connsiteY55220"/>
              </a:cxn>
              <a:cxn ang="0">
                <a:pos x="connsiteX55221" y="connsiteY55221"/>
              </a:cxn>
              <a:cxn ang="0">
                <a:pos x="connsiteX55222" y="connsiteY55222"/>
              </a:cxn>
              <a:cxn ang="0">
                <a:pos x="connsiteX55223" y="connsiteY55223"/>
              </a:cxn>
              <a:cxn ang="0">
                <a:pos x="connsiteX55224" y="connsiteY55224"/>
              </a:cxn>
              <a:cxn ang="0">
                <a:pos x="connsiteX55225" y="connsiteY55225"/>
              </a:cxn>
              <a:cxn ang="0">
                <a:pos x="connsiteX55226" y="connsiteY55226"/>
              </a:cxn>
              <a:cxn ang="0">
                <a:pos x="connsiteX55227" y="connsiteY55227"/>
              </a:cxn>
              <a:cxn ang="0">
                <a:pos x="connsiteX55228" y="connsiteY55228"/>
              </a:cxn>
              <a:cxn ang="0">
                <a:pos x="connsiteX55229" y="connsiteY55229"/>
              </a:cxn>
              <a:cxn ang="0">
                <a:pos x="connsiteX55230" y="connsiteY55230"/>
              </a:cxn>
              <a:cxn ang="0">
                <a:pos x="connsiteX55231" y="connsiteY55231"/>
              </a:cxn>
              <a:cxn ang="0">
                <a:pos x="connsiteX55232" y="connsiteY55232"/>
              </a:cxn>
              <a:cxn ang="0">
                <a:pos x="connsiteX55233" y="connsiteY55233"/>
              </a:cxn>
              <a:cxn ang="0">
                <a:pos x="connsiteX55234" y="connsiteY55234"/>
              </a:cxn>
              <a:cxn ang="0">
                <a:pos x="connsiteX55235" y="connsiteY55235"/>
              </a:cxn>
              <a:cxn ang="0">
                <a:pos x="connsiteX55236" y="connsiteY55236"/>
              </a:cxn>
              <a:cxn ang="0">
                <a:pos x="connsiteX55237" y="connsiteY55237"/>
              </a:cxn>
              <a:cxn ang="0">
                <a:pos x="connsiteX55238" y="connsiteY55238"/>
              </a:cxn>
              <a:cxn ang="0">
                <a:pos x="connsiteX55239" y="connsiteY55239"/>
              </a:cxn>
              <a:cxn ang="0">
                <a:pos x="connsiteX55240" y="connsiteY55240"/>
              </a:cxn>
              <a:cxn ang="0">
                <a:pos x="connsiteX55241" y="connsiteY55241"/>
              </a:cxn>
              <a:cxn ang="0">
                <a:pos x="connsiteX55242" y="connsiteY55242"/>
              </a:cxn>
              <a:cxn ang="0">
                <a:pos x="connsiteX55243" y="connsiteY55243"/>
              </a:cxn>
              <a:cxn ang="0">
                <a:pos x="connsiteX55244" y="connsiteY55244"/>
              </a:cxn>
              <a:cxn ang="0">
                <a:pos x="connsiteX55245" y="connsiteY55245"/>
              </a:cxn>
              <a:cxn ang="0">
                <a:pos x="connsiteX55246" y="connsiteY55246"/>
              </a:cxn>
              <a:cxn ang="0">
                <a:pos x="connsiteX55247" y="connsiteY55247"/>
              </a:cxn>
              <a:cxn ang="0">
                <a:pos x="connsiteX55248" y="connsiteY55248"/>
              </a:cxn>
              <a:cxn ang="0">
                <a:pos x="connsiteX55249" y="connsiteY55249"/>
              </a:cxn>
              <a:cxn ang="0">
                <a:pos x="connsiteX55250" y="connsiteY55250"/>
              </a:cxn>
              <a:cxn ang="0">
                <a:pos x="connsiteX55251" y="connsiteY55251"/>
              </a:cxn>
              <a:cxn ang="0">
                <a:pos x="connsiteX55252" y="connsiteY55252"/>
              </a:cxn>
              <a:cxn ang="0">
                <a:pos x="connsiteX55253" y="connsiteY55253"/>
              </a:cxn>
              <a:cxn ang="0">
                <a:pos x="connsiteX55254" y="connsiteY55254"/>
              </a:cxn>
              <a:cxn ang="0">
                <a:pos x="connsiteX55255" y="connsiteY55255"/>
              </a:cxn>
              <a:cxn ang="0">
                <a:pos x="connsiteX55256" y="connsiteY55256"/>
              </a:cxn>
              <a:cxn ang="0">
                <a:pos x="connsiteX55257" y="connsiteY55257"/>
              </a:cxn>
              <a:cxn ang="0">
                <a:pos x="connsiteX55258" y="connsiteY55258"/>
              </a:cxn>
              <a:cxn ang="0">
                <a:pos x="connsiteX55259" y="connsiteY55259"/>
              </a:cxn>
              <a:cxn ang="0">
                <a:pos x="connsiteX55260" y="connsiteY55260"/>
              </a:cxn>
              <a:cxn ang="0">
                <a:pos x="connsiteX55261" y="connsiteY55261"/>
              </a:cxn>
              <a:cxn ang="0">
                <a:pos x="connsiteX55262" y="connsiteY55262"/>
              </a:cxn>
              <a:cxn ang="0">
                <a:pos x="connsiteX55263" y="connsiteY55263"/>
              </a:cxn>
              <a:cxn ang="0">
                <a:pos x="connsiteX55264" y="connsiteY55264"/>
              </a:cxn>
              <a:cxn ang="0">
                <a:pos x="connsiteX55265" y="connsiteY55265"/>
              </a:cxn>
              <a:cxn ang="0">
                <a:pos x="connsiteX55266" y="connsiteY55266"/>
              </a:cxn>
              <a:cxn ang="0">
                <a:pos x="connsiteX55267" y="connsiteY55267"/>
              </a:cxn>
              <a:cxn ang="0">
                <a:pos x="connsiteX55268" y="connsiteY55268"/>
              </a:cxn>
              <a:cxn ang="0">
                <a:pos x="connsiteX55269" y="connsiteY55269"/>
              </a:cxn>
              <a:cxn ang="0">
                <a:pos x="connsiteX55270" y="connsiteY55270"/>
              </a:cxn>
              <a:cxn ang="0">
                <a:pos x="connsiteX55271" y="connsiteY55271"/>
              </a:cxn>
              <a:cxn ang="0">
                <a:pos x="connsiteX55272" y="connsiteY55272"/>
              </a:cxn>
              <a:cxn ang="0">
                <a:pos x="connsiteX55273" y="connsiteY55273"/>
              </a:cxn>
              <a:cxn ang="0">
                <a:pos x="connsiteX55274" y="connsiteY55274"/>
              </a:cxn>
              <a:cxn ang="0">
                <a:pos x="connsiteX55275" y="connsiteY55275"/>
              </a:cxn>
              <a:cxn ang="0">
                <a:pos x="connsiteX55276" y="connsiteY55276"/>
              </a:cxn>
              <a:cxn ang="0">
                <a:pos x="connsiteX55277" y="connsiteY55277"/>
              </a:cxn>
              <a:cxn ang="0">
                <a:pos x="connsiteX55278" y="connsiteY55278"/>
              </a:cxn>
              <a:cxn ang="0">
                <a:pos x="connsiteX55279" y="connsiteY55279"/>
              </a:cxn>
              <a:cxn ang="0">
                <a:pos x="connsiteX55280" y="connsiteY55280"/>
              </a:cxn>
              <a:cxn ang="0">
                <a:pos x="connsiteX55281" y="connsiteY55281"/>
              </a:cxn>
              <a:cxn ang="0">
                <a:pos x="connsiteX55282" y="connsiteY55282"/>
              </a:cxn>
              <a:cxn ang="0">
                <a:pos x="connsiteX55283" y="connsiteY55283"/>
              </a:cxn>
              <a:cxn ang="0">
                <a:pos x="connsiteX55284" y="connsiteY55284"/>
              </a:cxn>
              <a:cxn ang="0">
                <a:pos x="connsiteX55285" y="connsiteY55285"/>
              </a:cxn>
              <a:cxn ang="0">
                <a:pos x="connsiteX55286" y="connsiteY55286"/>
              </a:cxn>
              <a:cxn ang="0">
                <a:pos x="connsiteX55287" y="connsiteY55287"/>
              </a:cxn>
              <a:cxn ang="0">
                <a:pos x="connsiteX55288" y="connsiteY55288"/>
              </a:cxn>
              <a:cxn ang="0">
                <a:pos x="connsiteX55289" y="connsiteY55289"/>
              </a:cxn>
              <a:cxn ang="0">
                <a:pos x="connsiteX55290" y="connsiteY55290"/>
              </a:cxn>
              <a:cxn ang="0">
                <a:pos x="connsiteX55291" y="connsiteY55291"/>
              </a:cxn>
              <a:cxn ang="0">
                <a:pos x="connsiteX55292" y="connsiteY55292"/>
              </a:cxn>
              <a:cxn ang="0">
                <a:pos x="connsiteX55293" y="connsiteY55293"/>
              </a:cxn>
              <a:cxn ang="0">
                <a:pos x="connsiteX55294" y="connsiteY55294"/>
              </a:cxn>
              <a:cxn ang="0">
                <a:pos x="connsiteX55295" y="connsiteY55295"/>
              </a:cxn>
              <a:cxn ang="0">
                <a:pos x="connsiteX55296" y="connsiteY55296"/>
              </a:cxn>
              <a:cxn ang="0">
                <a:pos x="connsiteX55297" y="connsiteY55297"/>
              </a:cxn>
              <a:cxn ang="0">
                <a:pos x="connsiteX55298" y="connsiteY55298"/>
              </a:cxn>
              <a:cxn ang="0">
                <a:pos x="connsiteX55299" y="connsiteY55299"/>
              </a:cxn>
              <a:cxn ang="0">
                <a:pos x="connsiteX55300" y="connsiteY55300"/>
              </a:cxn>
              <a:cxn ang="0">
                <a:pos x="connsiteX55301" y="connsiteY55301"/>
              </a:cxn>
              <a:cxn ang="0">
                <a:pos x="connsiteX55302" y="connsiteY55302"/>
              </a:cxn>
              <a:cxn ang="0">
                <a:pos x="connsiteX55303" y="connsiteY55303"/>
              </a:cxn>
              <a:cxn ang="0">
                <a:pos x="connsiteX55304" y="connsiteY55304"/>
              </a:cxn>
              <a:cxn ang="0">
                <a:pos x="connsiteX55305" y="connsiteY55305"/>
              </a:cxn>
              <a:cxn ang="0">
                <a:pos x="connsiteX55306" y="connsiteY55306"/>
              </a:cxn>
              <a:cxn ang="0">
                <a:pos x="connsiteX55307" y="connsiteY55307"/>
              </a:cxn>
              <a:cxn ang="0">
                <a:pos x="connsiteX55308" y="connsiteY55308"/>
              </a:cxn>
              <a:cxn ang="0">
                <a:pos x="connsiteX55309" y="connsiteY55309"/>
              </a:cxn>
              <a:cxn ang="0">
                <a:pos x="connsiteX55310" y="connsiteY55310"/>
              </a:cxn>
              <a:cxn ang="0">
                <a:pos x="connsiteX55311" y="connsiteY55311"/>
              </a:cxn>
              <a:cxn ang="0">
                <a:pos x="connsiteX55312" y="connsiteY55312"/>
              </a:cxn>
              <a:cxn ang="0">
                <a:pos x="connsiteX55313" y="connsiteY55313"/>
              </a:cxn>
              <a:cxn ang="0">
                <a:pos x="connsiteX55314" y="connsiteY55314"/>
              </a:cxn>
              <a:cxn ang="0">
                <a:pos x="connsiteX55315" y="connsiteY55315"/>
              </a:cxn>
              <a:cxn ang="0">
                <a:pos x="connsiteX55316" y="connsiteY55316"/>
              </a:cxn>
              <a:cxn ang="0">
                <a:pos x="connsiteX55317" y="connsiteY55317"/>
              </a:cxn>
              <a:cxn ang="0">
                <a:pos x="connsiteX55318" y="connsiteY55318"/>
              </a:cxn>
              <a:cxn ang="0">
                <a:pos x="connsiteX55319" y="connsiteY55319"/>
              </a:cxn>
              <a:cxn ang="0">
                <a:pos x="connsiteX55320" y="connsiteY55320"/>
              </a:cxn>
              <a:cxn ang="0">
                <a:pos x="connsiteX55321" y="connsiteY55321"/>
              </a:cxn>
              <a:cxn ang="0">
                <a:pos x="connsiteX55322" y="connsiteY55322"/>
              </a:cxn>
              <a:cxn ang="0">
                <a:pos x="connsiteX55323" y="connsiteY55323"/>
              </a:cxn>
              <a:cxn ang="0">
                <a:pos x="connsiteX55324" y="connsiteY55324"/>
              </a:cxn>
              <a:cxn ang="0">
                <a:pos x="connsiteX55325" y="connsiteY55325"/>
              </a:cxn>
              <a:cxn ang="0">
                <a:pos x="connsiteX55326" y="connsiteY55326"/>
              </a:cxn>
              <a:cxn ang="0">
                <a:pos x="connsiteX55327" y="connsiteY55327"/>
              </a:cxn>
              <a:cxn ang="0">
                <a:pos x="connsiteX55328" y="connsiteY55328"/>
              </a:cxn>
              <a:cxn ang="0">
                <a:pos x="connsiteX55329" y="connsiteY55329"/>
              </a:cxn>
              <a:cxn ang="0">
                <a:pos x="connsiteX55330" y="connsiteY55330"/>
              </a:cxn>
              <a:cxn ang="0">
                <a:pos x="connsiteX55331" y="connsiteY55331"/>
              </a:cxn>
              <a:cxn ang="0">
                <a:pos x="connsiteX55332" y="connsiteY55332"/>
              </a:cxn>
              <a:cxn ang="0">
                <a:pos x="connsiteX55333" y="connsiteY55333"/>
              </a:cxn>
              <a:cxn ang="0">
                <a:pos x="connsiteX55334" y="connsiteY55334"/>
              </a:cxn>
              <a:cxn ang="0">
                <a:pos x="connsiteX55335" y="connsiteY55335"/>
              </a:cxn>
              <a:cxn ang="0">
                <a:pos x="connsiteX55336" y="connsiteY55336"/>
              </a:cxn>
              <a:cxn ang="0">
                <a:pos x="connsiteX55337" y="connsiteY55337"/>
              </a:cxn>
              <a:cxn ang="0">
                <a:pos x="connsiteX55338" y="connsiteY55338"/>
              </a:cxn>
              <a:cxn ang="0">
                <a:pos x="connsiteX55339" y="connsiteY55339"/>
              </a:cxn>
              <a:cxn ang="0">
                <a:pos x="connsiteX55340" y="connsiteY55340"/>
              </a:cxn>
              <a:cxn ang="0">
                <a:pos x="connsiteX55341" y="connsiteY55341"/>
              </a:cxn>
              <a:cxn ang="0">
                <a:pos x="connsiteX55342" y="connsiteY55342"/>
              </a:cxn>
              <a:cxn ang="0">
                <a:pos x="connsiteX55343" y="connsiteY55343"/>
              </a:cxn>
              <a:cxn ang="0">
                <a:pos x="connsiteX55344" y="connsiteY55344"/>
              </a:cxn>
              <a:cxn ang="0">
                <a:pos x="connsiteX55345" y="connsiteY55345"/>
              </a:cxn>
              <a:cxn ang="0">
                <a:pos x="connsiteX55346" y="connsiteY55346"/>
              </a:cxn>
              <a:cxn ang="0">
                <a:pos x="connsiteX55347" y="connsiteY55347"/>
              </a:cxn>
              <a:cxn ang="0">
                <a:pos x="connsiteX55348" y="connsiteY55348"/>
              </a:cxn>
              <a:cxn ang="0">
                <a:pos x="connsiteX55349" y="connsiteY55349"/>
              </a:cxn>
              <a:cxn ang="0">
                <a:pos x="connsiteX55350" y="connsiteY55350"/>
              </a:cxn>
              <a:cxn ang="0">
                <a:pos x="connsiteX55351" y="connsiteY55351"/>
              </a:cxn>
              <a:cxn ang="0">
                <a:pos x="connsiteX55352" y="connsiteY55352"/>
              </a:cxn>
              <a:cxn ang="0">
                <a:pos x="connsiteX55353" y="connsiteY55353"/>
              </a:cxn>
              <a:cxn ang="0">
                <a:pos x="connsiteX55354" y="connsiteY55354"/>
              </a:cxn>
              <a:cxn ang="0">
                <a:pos x="connsiteX55355" y="connsiteY55355"/>
              </a:cxn>
              <a:cxn ang="0">
                <a:pos x="connsiteX55356" y="connsiteY55356"/>
              </a:cxn>
              <a:cxn ang="0">
                <a:pos x="connsiteX55357" y="connsiteY55357"/>
              </a:cxn>
              <a:cxn ang="0">
                <a:pos x="connsiteX55358" y="connsiteY55358"/>
              </a:cxn>
              <a:cxn ang="0">
                <a:pos x="connsiteX55359" y="connsiteY55359"/>
              </a:cxn>
              <a:cxn ang="0">
                <a:pos x="connsiteX55360" y="connsiteY55360"/>
              </a:cxn>
              <a:cxn ang="0">
                <a:pos x="connsiteX55361" y="connsiteY55361"/>
              </a:cxn>
              <a:cxn ang="0">
                <a:pos x="connsiteX55362" y="connsiteY55362"/>
              </a:cxn>
              <a:cxn ang="0">
                <a:pos x="connsiteX55363" y="connsiteY55363"/>
              </a:cxn>
              <a:cxn ang="0">
                <a:pos x="connsiteX55364" y="connsiteY55364"/>
              </a:cxn>
              <a:cxn ang="0">
                <a:pos x="connsiteX55365" y="connsiteY55365"/>
              </a:cxn>
              <a:cxn ang="0">
                <a:pos x="connsiteX55366" y="connsiteY55366"/>
              </a:cxn>
              <a:cxn ang="0">
                <a:pos x="connsiteX55367" y="connsiteY55367"/>
              </a:cxn>
              <a:cxn ang="0">
                <a:pos x="connsiteX55368" y="connsiteY55368"/>
              </a:cxn>
              <a:cxn ang="0">
                <a:pos x="connsiteX55369" y="connsiteY55369"/>
              </a:cxn>
              <a:cxn ang="0">
                <a:pos x="connsiteX55370" y="connsiteY55370"/>
              </a:cxn>
              <a:cxn ang="0">
                <a:pos x="connsiteX55371" y="connsiteY55371"/>
              </a:cxn>
              <a:cxn ang="0">
                <a:pos x="connsiteX55372" y="connsiteY55372"/>
              </a:cxn>
              <a:cxn ang="0">
                <a:pos x="connsiteX55373" y="connsiteY55373"/>
              </a:cxn>
              <a:cxn ang="0">
                <a:pos x="connsiteX55374" y="connsiteY55374"/>
              </a:cxn>
              <a:cxn ang="0">
                <a:pos x="connsiteX55375" y="connsiteY55375"/>
              </a:cxn>
              <a:cxn ang="0">
                <a:pos x="connsiteX55376" y="connsiteY55376"/>
              </a:cxn>
              <a:cxn ang="0">
                <a:pos x="connsiteX55377" y="connsiteY55377"/>
              </a:cxn>
              <a:cxn ang="0">
                <a:pos x="connsiteX55378" y="connsiteY55378"/>
              </a:cxn>
              <a:cxn ang="0">
                <a:pos x="connsiteX55379" y="connsiteY55379"/>
              </a:cxn>
              <a:cxn ang="0">
                <a:pos x="connsiteX55380" y="connsiteY55380"/>
              </a:cxn>
              <a:cxn ang="0">
                <a:pos x="connsiteX55381" y="connsiteY55381"/>
              </a:cxn>
              <a:cxn ang="0">
                <a:pos x="connsiteX55382" y="connsiteY55382"/>
              </a:cxn>
              <a:cxn ang="0">
                <a:pos x="connsiteX55383" y="connsiteY55383"/>
              </a:cxn>
              <a:cxn ang="0">
                <a:pos x="connsiteX55384" y="connsiteY55384"/>
              </a:cxn>
              <a:cxn ang="0">
                <a:pos x="connsiteX55385" y="connsiteY55385"/>
              </a:cxn>
              <a:cxn ang="0">
                <a:pos x="connsiteX55386" y="connsiteY55386"/>
              </a:cxn>
              <a:cxn ang="0">
                <a:pos x="connsiteX55387" y="connsiteY55387"/>
              </a:cxn>
              <a:cxn ang="0">
                <a:pos x="connsiteX55388" y="connsiteY55388"/>
              </a:cxn>
              <a:cxn ang="0">
                <a:pos x="connsiteX55389" y="connsiteY55389"/>
              </a:cxn>
              <a:cxn ang="0">
                <a:pos x="connsiteX55390" y="connsiteY55390"/>
              </a:cxn>
              <a:cxn ang="0">
                <a:pos x="connsiteX55391" y="connsiteY55391"/>
              </a:cxn>
              <a:cxn ang="0">
                <a:pos x="connsiteX55392" y="connsiteY55392"/>
              </a:cxn>
              <a:cxn ang="0">
                <a:pos x="connsiteX55393" y="connsiteY55393"/>
              </a:cxn>
              <a:cxn ang="0">
                <a:pos x="connsiteX55394" y="connsiteY55394"/>
              </a:cxn>
              <a:cxn ang="0">
                <a:pos x="connsiteX55395" y="connsiteY55395"/>
              </a:cxn>
              <a:cxn ang="0">
                <a:pos x="connsiteX55396" y="connsiteY55396"/>
              </a:cxn>
              <a:cxn ang="0">
                <a:pos x="connsiteX55397" y="connsiteY55397"/>
              </a:cxn>
              <a:cxn ang="0">
                <a:pos x="connsiteX55398" y="connsiteY55398"/>
              </a:cxn>
              <a:cxn ang="0">
                <a:pos x="connsiteX55399" y="connsiteY55399"/>
              </a:cxn>
              <a:cxn ang="0">
                <a:pos x="connsiteX55400" y="connsiteY55400"/>
              </a:cxn>
              <a:cxn ang="0">
                <a:pos x="connsiteX55401" y="connsiteY55401"/>
              </a:cxn>
              <a:cxn ang="0">
                <a:pos x="connsiteX55402" y="connsiteY55402"/>
              </a:cxn>
              <a:cxn ang="0">
                <a:pos x="connsiteX55403" y="connsiteY55403"/>
              </a:cxn>
              <a:cxn ang="0">
                <a:pos x="connsiteX55404" y="connsiteY55404"/>
              </a:cxn>
              <a:cxn ang="0">
                <a:pos x="connsiteX55405" y="connsiteY55405"/>
              </a:cxn>
              <a:cxn ang="0">
                <a:pos x="connsiteX55406" y="connsiteY55406"/>
              </a:cxn>
              <a:cxn ang="0">
                <a:pos x="connsiteX55407" y="connsiteY55407"/>
              </a:cxn>
              <a:cxn ang="0">
                <a:pos x="connsiteX55408" y="connsiteY55408"/>
              </a:cxn>
              <a:cxn ang="0">
                <a:pos x="connsiteX55409" y="connsiteY55409"/>
              </a:cxn>
              <a:cxn ang="0">
                <a:pos x="connsiteX55410" y="connsiteY55410"/>
              </a:cxn>
              <a:cxn ang="0">
                <a:pos x="connsiteX55411" y="connsiteY55411"/>
              </a:cxn>
              <a:cxn ang="0">
                <a:pos x="connsiteX55412" y="connsiteY55412"/>
              </a:cxn>
              <a:cxn ang="0">
                <a:pos x="connsiteX55413" y="connsiteY55413"/>
              </a:cxn>
              <a:cxn ang="0">
                <a:pos x="connsiteX55414" y="connsiteY55414"/>
              </a:cxn>
              <a:cxn ang="0">
                <a:pos x="connsiteX55415" y="connsiteY55415"/>
              </a:cxn>
              <a:cxn ang="0">
                <a:pos x="connsiteX55416" y="connsiteY55416"/>
              </a:cxn>
              <a:cxn ang="0">
                <a:pos x="connsiteX55417" y="connsiteY55417"/>
              </a:cxn>
              <a:cxn ang="0">
                <a:pos x="connsiteX55418" y="connsiteY55418"/>
              </a:cxn>
              <a:cxn ang="0">
                <a:pos x="connsiteX55419" y="connsiteY55419"/>
              </a:cxn>
              <a:cxn ang="0">
                <a:pos x="connsiteX55420" y="connsiteY55420"/>
              </a:cxn>
              <a:cxn ang="0">
                <a:pos x="connsiteX55421" y="connsiteY55421"/>
              </a:cxn>
              <a:cxn ang="0">
                <a:pos x="connsiteX55422" y="connsiteY55422"/>
              </a:cxn>
              <a:cxn ang="0">
                <a:pos x="connsiteX55423" y="connsiteY55423"/>
              </a:cxn>
              <a:cxn ang="0">
                <a:pos x="connsiteX55424" y="connsiteY55424"/>
              </a:cxn>
              <a:cxn ang="0">
                <a:pos x="connsiteX55425" y="connsiteY55425"/>
              </a:cxn>
              <a:cxn ang="0">
                <a:pos x="connsiteX55426" y="connsiteY55426"/>
              </a:cxn>
              <a:cxn ang="0">
                <a:pos x="connsiteX55427" y="connsiteY55427"/>
              </a:cxn>
              <a:cxn ang="0">
                <a:pos x="connsiteX55428" y="connsiteY55428"/>
              </a:cxn>
              <a:cxn ang="0">
                <a:pos x="connsiteX55429" y="connsiteY55429"/>
              </a:cxn>
              <a:cxn ang="0">
                <a:pos x="connsiteX55430" y="connsiteY55430"/>
              </a:cxn>
              <a:cxn ang="0">
                <a:pos x="connsiteX55431" y="connsiteY55431"/>
              </a:cxn>
              <a:cxn ang="0">
                <a:pos x="connsiteX55432" y="connsiteY55432"/>
              </a:cxn>
              <a:cxn ang="0">
                <a:pos x="connsiteX55433" y="connsiteY55433"/>
              </a:cxn>
              <a:cxn ang="0">
                <a:pos x="connsiteX55434" y="connsiteY55434"/>
              </a:cxn>
              <a:cxn ang="0">
                <a:pos x="connsiteX55435" y="connsiteY55435"/>
              </a:cxn>
              <a:cxn ang="0">
                <a:pos x="connsiteX55436" y="connsiteY55436"/>
              </a:cxn>
              <a:cxn ang="0">
                <a:pos x="connsiteX55437" y="connsiteY55437"/>
              </a:cxn>
              <a:cxn ang="0">
                <a:pos x="connsiteX55438" y="connsiteY55438"/>
              </a:cxn>
              <a:cxn ang="0">
                <a:pos x="connsiteX55439" y="connsiteY55439"/>
              </a:cxn>
              <a:cxn ang="0">
                <a:pos x="connsiteX55440" y="connsiteY55440"/>
              </a:cxn>
              <a:cxn ang="0">
                <a:pos x="connsiteX55441" y="connsiteY55441"/>
              </a:cxn>
              <a:cxn ang="0">
                <a:pos x="connsiteX55442" y="connsiteY55442"/>
              </a:cxn>
              <a:cxn ang="0">
                <a:pos x="connsiteX55443" y="connsiteY55443"/>
              </a:cxn>
              <a:cxn ang="0">
                <a:pos x="connsiteX55444" y="connsiteY55444"/>
              </a:cxn>
              <a:cxn ang="0">
                <a:pos x="connsiteX55445" y="connsiteY55445"/>
              </a:cxn>
              <a:cxn ang="0">
                <a:pos x="connsiteX55446" y="connsiteY55446"/>
              </a:cxn>
              <a:cxn ang="0">
                <a:pos x="connsiteX55447" y="connsiteY55447"/>
              </a:cxn>
              <a:cxn ang="0">
                <a:pos x="connsiteX55448" y="connsiteY55448"/>
              </a:cxn>
              <a:cxn ang="0">
                <a:pos x="connsiteX55449" y="connsiteY55449"/>
              </a:cxn>
              <a:cxn ang="0">
                <a:pos x="connsiteX55450" y="connsiteY55450"/>
              </a:cxn>
              <a:cxn ang="0">
                <a:pos x="connsiteX55451" y="connsiteY55451"/>
              </a:cxn>
              <a:cxn ang="0">
                <a:pos x="connsiteX55452" y="connsiteY55452"/>
              </a:cxn>
              <a:cxn ang="0">
                <a:pos x="connsiteX55453" y="connsiteY55453"/>
              </a:cxn>
              <a:cxn ang="0">
                <a:pos x="connsiteX55454" y="connsiteY55454"/>
              </a:cxn>
              <a:cxn ang="0">
                <a:pos x="connsiteX55455" y="connsiteY55455"/>
              </a:cxn>
              <a:cxn ang="0">
                <a:pos x="connsiteX55456" y="connsiteY55456"/>
              </a:cxn>
              <a:cxn ang="0">
                <a:pos x="connsiteX55457" y="connsiteY55457"/>
              </a:cxn>
              <a:cxn ang="0">
                <a:pos x="connsiteX55458" y="connsiteY55458"/>
              </a:cxn>
              <a:cxn ang="0">
                <a:pos x="connsiteX55459" y="connsiteY55459"/>
              </a:cxn>
              <a:cxn ang="0">
                <a:pos x="connsiteX55460" y="connsiteY55460"/>
              </a:cxn>
              <a:cxn ang="0">
                <a:pos x="connsiteX55461" y="connsiteY55461"/>
              </a:cxn>
              <a:cxn ang="0">
                <a:pos x="connsiteX55462" y="connsiteY55462"/>
              </a:cxn>
              <a:cxn ang="0">
                <a:pos x="connsiteX55463" y="connsiteY55463"/>
              </a:cxn>
              <a:cxn ang="0">
                <a:pos x="connsiteX55464" y="connsiteY55464"/>
              </a:cxn>
              <a:cxn ang="0">
                <a:pos x="connsiteX55465" y="connsiteY55465"/>
              </a:cxn>
              <a:cxn ang="0">
                <a:pos x="connsiteX55466" y="connsiteY55466"/>
              </a:cxn>
              <a:cxn ang="0">
                <a:pos x="connsiteX55467" y="connsiteY55467"/>
              </a:cxn>
              <a:cxn ang="0">
                <a:pos x="connsiteX55468" y="connsiteY55468"/>
              </a:cxn>
              <a:cxn ang="0">
                <a:pos x="connsiteX55469" y="connsiteY55469"/>
              </a:cxn>
              <a:cxn ang="0">
                <a:pos x="connsiteX55470" y="connsiteY55470"/>
              </a:cxn>
              <a:cxn ang="0">
                <a:pos x="connsiteX55471" y="connsiteY55471"/>
              </a:cxn>
              <a:cxn ang="0">
                <a:pos x="connsiteX55472" y="connsiteY55472"/>
              </a:cxn>
              <a:cxn ang="0">
                <a:pos x="connsiteX55473" y="connsiteY55473"/>
              </a:cxn>
              <a:cxn ang="0">
                <a:pos x="connsiteX55474" y="connsiteY55474"/>
              </a:cxn>
              <a:cxn ang="0">
                <a:pos x="connsiteX55475" y="connsiteY55475"/>
              </a:cxn>
              <a:cxn ang="0">
                <a:pos x="connsiteX55476" y="connsiteY55476"/>
              </a:cxn>
              <a:cxn ang="0">
                <a:pos x="connsiteX55477" y="connsiteY55477"/>
              </a:cxn>
              <a:cxn ang="0">
                <a:pos x="connsiteX55478" y="connsiteY55478"/>
              </a:cxn>
              <a:cxn ang="0">
                <a:pos x="connsiteX55479" y="connsiteY55479"/>
              </a:cxn>
              <a:cxn ang="0">
                <a:pos x="connsiteX55480" y="connsiteY55480"/>
              </a:cxn>
              <a:cxn ang="0">
                <a:pos x="connsiteX55481" y="connsiteY55481"/>
              </a:cxn>
              <a:cxn ang="0">
                <a:pos x="connsiteX55482" y="connsiteY55482"/>
              </a:cxn>
              <a:cxn ang="0">
                <a:pos x="connsiteX55483" y="connsiteY55483"/>
              </a:cxn>
              <a:cxn ang="0">
                <a:pos x="connsiteX55484" y="connsiteY55484"/>
              </a:cxn>
              <a:cxn ang="0">
                <a:pos x="connsiteX55485" y="connsiteY55485"/>
              </a:cxn>
              <a:cxn ang="0">
                <a:pos x="connsiteX55486" y="connsiteY55486"/>
              </a:cxn>
              <a:cxn ang="0">
                <a:pos x="connsiteX55487" y="connsiteY55487"/>
              </a:cxn>
              <a:cxn ang="0">
                <a:pos x="connsiteX55488" y="connsiteY55488"/>
              </a:cxn>
              <a:cxn ang="0">
                <a:pos x="connsiteX55489" y="connsiteY55489"/>
              </a:cxn>
              <a:cxn ang="0">
                <a:pos x="connsiteX55490" y="connsiteY55490"/>
              </a:cxn>
              <a:cxn ang="0">
                <a:pos x="connsiteX55491" y="connsiteY55491"/>
              </a:cxn>
              <a:cxn ang="0">
                <a:pos x="connsiteX55492" y="connsiteY55492"/>
              </a:cxn>
              <a:cxn ang="0">
                <a:pos x="connsiteX55493" y="connsiteY55493"/>
              </a:cxn>
              <a:cxn ang="0">
                <a:pos x="connsiteX55494" y="connsiteY55494"/>
              </a:cxn>
              <a:cxn ang="0">
                <a:pos x="connsiteX55495" y="connsiteY55495"/>
              </a:cxn>
              <a:cxn ang="0">
                <a:pos x="connsiteX55496" y="connsiteY55496"/>
              </a:cxn>
              <a:cxn ang="0">
                <a:pos x="connsiteX55497" y="connsiteY55497"/>
              </a:cxn>
              <a:cxn ang="0">
                <a:pos x="connsiteX55498" y="connsiteY55498"/>
              </a:cxn>
              <a:cxn ang="0">
                <a:pos x="connsiteX55499" y="connsiteY55499"/>
              </a:cxn>
              <a:cxn ang="0">
                <a:pos x="connsiteX55500" y="connsiteY55500"/>
              </a:cxn>
              <a:cxn ang="0">
                <a:pos x="connsiteX55501" y="connsiteY55501"/>
              </a:cxn>
              <a:cxn ang="0">
                <a:pos x="connsiteX55502" y="connsiteY55502"/>
              </a:cxn>
              <a:cxn ang="0">
                <a:pos x="connsiteX55503" y="connsiteY55503"/>
              </a:cxn>
              <a:cxn ang="0">
                <a:pos x="connsiteX55504" y="connsiteY55504"/>
              </a:cxn>
              <a:cxn ang="0">
                <a:pos x="connsiteX55505" y="connsiteY55505"/>
              </a:cxn>
              <a:cxn ang="0">
                <a:pos x="connsiteX55506" y="connsiteY55506"/>
              </a:cxn>
              <a:cxn ang="0">
                <a:pos x="connsiteX55507" y="connsiteY55507"/>
              </a:cxn>
              <a:cxn ang="0">
                <a:pos x="connsiteX55508" y="connsiteY55508"/>
              </a:cxn>
              <a:cxn ang="0">
                <a:pos x="connsiteX55509" y="connsiteY55509"/>
              </a:cxn>
              <a:cxn ang="0">
                <a:pos x="connsiteX55510" y="connsiteY55510"/>
              </a:cxn>
              <a:cxn ang="0">
                <a:pos x="connsiteX55511" y="connsiteY55511"/>
              </a:cxn>
              <a:cxn ang="0">
                <a:pos x="connsiteX55512" y="connsiteY55512"/>
              </a:cxn>
              <a:cxn ang="0">
                <a:pos x="connsiteX55513" y="connsiteY55513"/>
              </a:cxn>
              <a:cxn ang="0">
                <a:pos x="connsiteX55514" y="connsiteY55514"/>
              </a:cxn>
              <a:cxn ang="0">
                <a:pos x="connsiteX55515" y="connsiteY55515"/>
              </a:cxn>
              <a:cxn ang="0">
                <a:pos x="connsiteX55516" y="connsiteY55516"/>
              </a:cxn>
              <a:cxn ang="0">
                <a:pos x="connsiteX55517" y="connsiteY55517"/>
              </a:cxn>
              <a:cxn ang="0">
                <a:pos x="connsiteX55518" y="connsiteY55518"/>
              </a:cxn>
              <a:cxn ang="0">
                <a:pos x="connsiteX55519" y="connsiteY55519"/>
              </a:cxn>
              <a:cxn ang="0">
                <a:pos x="connsiteX55520" y="connsiteY55520"/>
              </a:cxn>
              <a:cxn ang="0">
                <a:pos x="connsiteX55521" y="connsiteY55521"/>
              </a:cxn>
              <a:cxn ang="0">
                <a:pos x="connsiteX55522" y="connsiteY55522"/>
              </a:cxn>
              <a:cxn ang="0">
                <a:pos x="connsiteX55523" y="connsiteY55523"/>
              </a:cxn>
              <a:cxn ang="0">
                <a:pos x="connsiteX55524" y="connsiteY55524"/>
              </a:cxn>
              <a:cxn ang="0">
                <a:pos x="connsiteX55525" y="connsiteY55525"/>
              </a:cxn>
              <a:cxn ang="0">
                <a:pos x="connsiteX55526" y="connsiteY55526"/>
              </a:cxn>
              <a:cxn ang="0">
                <a:pos x="connsiteX55527" y="connsiteY55527"/>
              </a:cxn>
              <a:cxn ang="0">
                <a:pos x="connsiteX55528" y="connsiteY55528"/>
              </a:cxn>
              <a:cxn ang="0">
                <a:pos x="connsiteX55529" y="connsiteY55529"/>
              </a:cxn>
              <a:cxn ang="0">
                <a:pos x="connsiteX55530" y="connsiteY55530"/>
              </a:cxn>
              <a:cxn ang="0">
                <a:pos x="connsiteX55531" y="connsiteY55531"/>
              </a:cxn>
              <a:cxn ang="0">
                <a:pos x="connsiteX55532" y="connsiteY55532"/>
              </a:cxn>
              <a:cxn ang="0">
                <a:pos x="connsiteX55533" y="connsiteY55533"/>
              </a:cxn>
              <a:cxn ang="0">
                <a:pos x="connsiteX55534" y="connsiteY55534"/>
              </a:cxn>
              <a:cxn ang="0">
                <a:pos x="connsiteX55535" y="connsiteY55535"/>
              </a:cxn>
              <a:cxn ang="0">
                <a:pos x="connsiteX55536" y="connsiteY55536"/>
              </a:cxn>
              <a:cxn ang="0">
                <a:pos x="connsiteX55537" y="connsiteY55537"/>
              </a:cxn>
              <a:cxn ang="0">
                <a:pos x="connsiteX55538" y="connsiteY55538"/>
              </a:cxn>
              <a:cxn ang="0">
                <a:pos x="connsiteX55539" y="connsiteY55539"/>
              </a:cxn>
              <a:cxn ang="0">
                <a:pos x="connsiteX55540" y="connsiteY55540"/>
              </a:cxn>
              <a:cxn ang="0">
                <a:pos x="connsiteX55541" y="connsiteY55541"/>
              </a:cxn>
              <a:cxn ang="0">
                <a:pos x="connsiteX55542" y="connsiteY55542"/>
              </a:cxn>
              <a:cxn ang="0">
                <a:pos x="connsiteX55543" y="connsiteY55543"/>
              </a:cxn>
              <a:cxn ang="0">
                <a:pos x="connsiteX55544" y="connsiteY55544"/>
              </a:cxn>
              <a:cxn ang="0">
                <a:pos x="connsiteX55545" y="connsiteY55545"/>
              </a:cxn>
              <a:cxn ang="0">
                <a:pos x="connsiteX55546" y="connsiteY55546"/>
              </a:cxn>
              <a:cxn ang="0">
                <a:pos x="connsiteX55547" y="connsiteY55547"/>
              </a:cxn>
              <a:cxn ang="0">
                <a:pos x="connsiteX55548" y="connsiteY55548"/>
              </a:cxn>
              <a:cxn ang="0">
                <a:pos x="connsiteX55549" y="connsiteY55549"/>
              </a:cxn>
              <a:cxn ang="0">
                <a:pos x="connsiteX55550" y="connsiteY55550"/>
              </a:cxn>
              <a:cxn ang="0">
                <a:pos x="connsiteX55551" y="connsiteY55551"/>
              </a:cxn>
              <a:cxn ang="0">
                <a:pos x="connsiteX55552" y="connsiteY55552"/>
              </a:cxn>
              <a:cxn ang="0">
                <a:pos x="connsiteX55553" y="connsiteY55553"/>
              </a:cxn>
              <a:cxn ang="0">
                <a:pos x="connsiteX55554" y="connsiteY55554"/>
              </a:cxn>
              <a:cxn ang="0">
                <a:pos x="connsiteX55555" y="connsiteY55555"/>
              </a:cxn>
              <a:cxn ang="0">
                <a:pos x="connsiteX55556" y="connsiteY55556"/>
              </a:cxn>
              <a:cxn ang="0">
                <a:pos x="connsiteX55557" y="connsiteY55557"/>
              </a:cxn>
              <a:cxn ang="0">
                <a:pos x="connsiteX55558" y="connsiteY55558"/>
              </a:cxn>
              <a:cxn ang="0">
                <a:pos x="connsiteX55559" y="connsiteY55559"/>
              </a:cxn>
              <a:cxn ang="0">
                <a:pos x="connsiteX55560" y="connsiteY55560"/>
              </a:cxn>
              <a:cxn ang="0">
                <a:pos x="connsiteX55561" y="connsiteY55561"/>
              </a:cxn>
              <a:cxn ang="0">
                <a:pos x="connsiteX55562" y="connsiteY55562"/>
              </a:cxn>
              <a:cxn ang="0">
                <a:pos x="connsiteX55563" y="connsiteY55563"/>
              </a:cxn>
              <a:cxn ang="0">
                <a:pos x="connsiteX55564" y="connsiteY55564"/>
              </a:cxn>
              <a:cxn ang="0">
                <a:pos x="connsiteX55565" y="connsiteY55565"/>
              </a:cxn>
              <a:cxn ang="0">
                <a:pos x="connsiteX55566" y="connsiteY55566"/>
              </a:cxn>
              <a:cxn ang="0">
                <a:pos x="connsiteX55567" y="connsiteY55567"/>
              </a:cxn>
              <a:cxn ang="0">
                <a:pos x="connsiteX55568" y="connsiteY55568"/>
              </a:cxn>
              <a:cxn ang="0">
                <a:pos x="connsiteX55569" y="connsiteY55569"/>
              </a:cxn>
              <a:cxn ang="0">
                <a:pos x="connsiteX55570" y="connsiteY55570"/>
              </a:cxn>
              <a:cxn ang="0">
                <a:pos x="connsiteX55571" y="connsiteY55571"/>
              </a:cxn>
              <a:cxn ang="0">
                <a:pos x="connsiteX55572" y="connsiteY55572"/>
              </a:cxn>
              <a:cxn ang="0">
                <a:pos x="connsiteX55573" y="connsiteY55573"/>
              </a:cxn>
              <a:cxn ang="0">
                <a:pos x="connsiteX55574" y="connsiteY55574"/>
              </a:cxn>
              <a:cxn ang="0">
                <a:pos x="connsiteX55575" y="connsiteY55575"/>
              </a:cxn>
              <a:cxn ang="0">
                <a:pos x="connsiteX55576" y="connsiteY55576"/>
              </a:cxn>
              <a:cxn ang="0">
                <a:pos x="connsiteX55577" y="connsiteY55577"/>
              </a:cxn>
              <a:cxn ang="0">
                <a:pos x="connsiteX55578" y="connsiteY55578"/>
              </a:cxn>
              <a:cxn ang="0">
                <a:pos x="connsiteX55579" y="connsiteY55579"/>
              </a:cxn>
              <a:cxn ang="0">
                <a:pos x="connsiteX55580" y="connsiteY55580"/>
              </a:cxn>
              <a:cxn ang="0">
                <a:pos x="connsiteX55581" y="connsiteY55581"/>
              </a:cxn>
              <a:cxn ang="0">
                <a:pos x="connsiteX55582" y="connsiteY55582"/>
              </a:cxn>
              <a:cxn ang="0">
                <a:pos x="connsiteX55583" y="connsiteY55583"/>
              </a:cxn>
              <a:cxn ang="0">
                <a:pos x="connsiteX55584" y="connsiteY55584"/>
              </a:cxn>
              <a:cxn ang="0">
                <a:pos x="connsiteX55585" y="connsiteY55585"/>
              </a:cxn>
              <a:cxn ang="0">
                <a:pos x="connsiteX55586" y="connsiteY55586"/>
              </a:cxn>
              <a:cxn ang="0">
                <a:pos x="connsiteX55587" y="connsiteY55587"/>
              </a:cxn>
              <a:cxn ang="0">
                <a:pos x="connsiteX55588" y="connsiteY55588"/>
              </a:cxn>
              <a:cxn ang="0">
                <a:pos x="connsiteX55589" y="connsiteY55589"/>
              </a:cxn>
              <a:cxn ang="0">
                <a:pos x="connsiteX55590" y="connsiteY55590"/>
              </a:cxn>
              <a:cxn ang="0">
                <a:pos x="connsiteX55591" y="connsiteY55591"/>
              </a:cxn>
              <a:cxn ang="0">
                <a:pos x="connsiteX55592" y="connsiteY55592"/>
              </a:cxn>
              <a:cxn ang="0">
                <a:pos x="connsiteX55593" y="connsiteY55593"/>
              </a:cxn>
              <a:cxn ang="0">
                <a:pos x="connsiteX55594" y="connsiteY55594"/>
              </a:cxn>
              <a:cxn ang="0">
                <a:pos x="connsiteX55595" y="connsiteY55595"/>
              </a:cxn>
              <a:cxn ang="0">
                <a:pos x="connsiteX55596" y="connsiteY55596"/>
              </a:cxn>
              <a:cxn ang="0">
                <a:pos x="connsiteX55597" y="connsiteY55597"/>
              </a:cxn>
              <a:cxn ang="0">
                <a:pos x="connsiteX55598" y="connsiteY55598"/>
              </a:cxn>
              <a:cxn ang="0">
                <a:pos x="connsiteX55599" y="connsiteY55599"/>
              </a:cxn>
              <a:cxn ang="0">
                <a:pos x="connsiteX55600" y="connsiteY55600"/>
              </a:cxn>
              <a:cxn ang="0">
                <a:pos x="connsiteX55601" y="connsiteY55601"/>
              </a:cxn>
              <a:cxn ang="0">
                <a:pos x="connsiteX55602" y="connsiteY55602"/>
              </a:cxn>
              <a:cxn ang="0">
                <a:pos x="connsiteX55603" y="connsiteY55603"/>
              </a:cxn>
              <a:cxn ang="0">
                <a:pos x="connsiteX55604" y="connsiteY55604"/>
              </a:cxn>
              <a:cxn ang="0">
                <a:pos x="connsiteX55605" y="connsiteY55605"/>
              </a:cxn>
              <a:cxn ang="0">
                <a:pos x="connsiteX55606" y="connsiteY55606"/>
              </a:cxn>
              <a:cxn ang="0">
                <a:pos x="connsiteX55607" y="connsiteY55607"/>
              </a:cxn>
              <a:cxn ang="0">
                <a:pos x="connsiteX55608" y="connsiteY55608"/>
              </a:cxn>
              <a:cxn ang="0">
                <a:pos x="connsiteX55609" y="connsiteY55609"/>
              </a:cxn>
              <a:cxn ang="0">
                <a:pos x="connsiteX55610" y="connsiteY55610"/>
              </a:cxn>
              <a:cxn ang="0">
                <a:pos x="connsiteX55611" y="connsiteY55611"/>
              </a:cxn>
              <a:cxn ang="0">
                <a:pos x="connsiteX55612" y="connsiteY55612"/>
              </a:cxn>
              <a:cxn ang="0">
                <a:pos x="connsiteX55613" y="connsiteY55613"/>
              </a:cxn>
              <a:cxn ang="0">
                <a:pos x="connsiteX55614" y="connsiteY55614"/>
              </a:cxn>
              <a:cxn ang="0">
                <a:pos x="connsiteX55615" y="connsiteY55615"/>
              </a:cxn>
              <a:cxn ang="0">
                <a:pos x="connsiteX55616" y="connsiteY55616"/>
              </a:cxn>
              <a:cxn ang="0">
                <a:pos x="connsiteX55617" y="connsiteY55617"/>
              </a:cxn>
              <a:cxn ang="0">
                <a:pos x="connsiteX55618" y="connsiteY55618"/>
              </a:cxn>
              <a:cxn ang="0">
                <a:pos x="connsiteX55619" y="connsiteY55619"/>
              </a:cxn>
              <a:cxn ang="0">
                <a:pos x="connsiteX55620" y="connsiteY55620"/>
              </a:cxn>
              <a:cxn ang="0">
                <a:pos x="connsiteX55621" y="connsiteY55621"/>
              </a:cxn>
              <a:cxn ang="0">
                <a:pos x="connsiteX55622" y="connsiteY55622"/>
              </a:cxn>
              <a:cxn ang="0">
                <a:pos x="connsiteX55623" y="connsiteY55623"/>
              </a:cxn>
              <a:cxn ang="0">
                <a:pos x="connsiteX55624" y="connsiteY55624"/>
              </a:cxn>
              <a:cxn ang="0">
                <a:pos x="connsiteX55625" y="connsiteY55625"/>
              </a:cxn>
              <a:cxn ang="0">
                <a:pos x="connsiteX55626" y="connsiteY55626"/>
              </a:cxn>
              <a:cxn ang="0">
                <a:pos x="connsiteX55627" y="connsiteY55627"/>
              </a:cxn>
              <a:cxn ang="0">
                <a:pos x="connsiteX55628" y="connsiteY55628"/>
              </a:cxn>
              <a:cxn ang="0">
                <a:pos x="connsiteX55629" y="connsiteY55629"/>
              </a:cxn>
              <a:cxn ang="0">
                <a:pos x="connsiteX55630" y="connsiteY55630"/>
              </a:cxn>
              <a:cxn ang="0">
                <a:pos x="connsiteX55631" y="connsiteY55631"/>
              </a:cxn>
              <a:cxn ang="0">
                <a:pos x="connsiteX55632" y="connsiteY55632"/>
              </a:cxn>
              <a:cxn ang="0">
                <a:pos x="connsiteX55633" y="connsiteY55633"/>
              </a:cxn>
              <a:cxn ang="0">
                <a:pos x="connsiteX55634" y="connsiteY55634"/>
              </a:cxn>
              <a:cxn ang="0">
                <a:pos x="connsiteX55635" y="connsiteY55635"/>
              </a:cxn>
              <a:cxn ang="0">
                <a:pos x="connsiteX55636" y="connsiteY55636"/>
              </a:cxn>
              <a:cxn ang="0">
                <a:pos x="connsiteX55637" y="connsiteY55637"/>
              </a:cxn>
              <a:cxn ang="0">
                <a:pos x="connsiteX55638" y="connsiteY55638"/>
              </a:cxn>
              <a:cxn ang="0">
                <a:pos x="connsiteX55639" y="connsiteY55639"/>
              </a:cxn>
              <a:cxn ang="0">
                <a:pos x="connsiteX55640" y="connsiteY55640"/>
              </a:cxn>
              <a:cxn ang="0">
                <a:pos x="connsiteX55641" y="connsiteY55641"/>
              </a:cxn>
              <a:cxn ang="0">
                <a:pos x="connsiteX55642" y="connsiteY55642"/>
              </a:cxn>
              <a:cxn ang="0">
                <a:pos x="connsiteX55643" y="connsiteY55643"/>
              </a:cxn>
              <a:cxn ang="0">
                <a:pos x="connsiteX55644" y="connsiteY55644"/>
              </a:cxn>
              <a:cxn ang="0">
                <a:pos x="connsiteX55645" y="connsiteY55645"/>
              </a:cxn>
              <a:cxn ang="0">
                <a:pos x="connsiteX55646" y="connsiteY55646"/>
              </a:cxn>
              <a:cxn ang="0">
                <a:pos x="connsiteX55647" y="connsiteY55647"/>
              </a:cxn>
              <a:cxn ang="0">
                <a:pos x="connsiteX55648" y="connsiteY55648"/>
              </a:cxn>
              <a:cxn ang="0">
                <a:pos x="connsiteX55649" y="connsiteY55649"/>
              </a:cxn>
              <a:cxn ang="0">
                <a:pos x="connsiteX55650" y="connsiteY55650"/>
              </a:cxn>
              <a:cxn ang="0">
                <a:pos x="connsiteX55651" y="connsiteY55651"/>
              </a:cxn>
              <a:cxn ang="0">
                <a:pos x="connsiteX55652" y="connsiteY55652"/>
              </a:cxn>
              <a:cxn ang="0">
                <a:pos x="connsiteX55653" y="connsiteY55653"/>
              </a:cxn>
              <a:cxn ang="0">
                <a:pos x="connsiteX55654" y="connsiteY55654"/>
              </a:cxn>
              <a:cxn ang="0">
                <a:pos x="connsiteX55655" y="connsiteY55655"/>
              </a:cxn>
              <a:cxn ang="0">
                <a:pos x="connsiteX55656" y="connsiteY55656"/>
              </a:cxn>
              <a:cxn ang="0">
                <a:pos x="connsiteX55657" y="connsiteY55657"/>
              </a:cxn>
              <a:cxn ang="0">
                <a:pos x="connsiteX55658" y="connsiteY55658"/>
              </a:cxn>
              <a:cxn ang="0">
                <a:pos x="connsiteX55659" y="connsiteY55659"/>
              </a:cxn>
              <a:cxn ang="0">
                <a:pos x="connsiteX55660" y="connsiteY55660"/>
              </a:cxn>
              <a:cxn ang="0">
                <a:pos x="connsiteX55661" y="connsiteY55661"/>
              </a:cxn>
              <a:cxn ang="0">
                <a:pos x="connsiteX55662" y="connsiteY55662"/>
              </a:cxn>
              <a:cxn ang="0">
                <a:pos x="connsiteX55663" y="connsiteY55663"/>
              </a:cxn>
              <a:cxn ang="0">
                <a:pos x="connsiteX55664" y="connsiteY55664"/>
              </a:cxn>
              <a:cxn ang="0">
                <a:pos x="connsiteX55665" y="connsiteY55665"/>
              </a:cxn>
              <a:cxn ang="0">
                <a:pos x="connsiteX55666" y="connsiteY55666"/>
              </a:cxn>
              <a:cxn ang="0">
                <a:pos x="connsiteX55667" y="connsiteY55667"/>
              </a:cxn>
              <a:cxn ang="0">
                <a:pos x="connsiteX55668" y="connsiteY55668"/>
              </a:cxn>
              <a:cxn ang="0">
                <a:pos x="connsiteX55669" y="connsiteY55669"/>
              </a:cxn>
              <a:cxn ang="0">
                <a:pos x="connsiteX55670" y="connsiteY55670"/>
              </a:cxn>
              <a:cxn ang="0">
                <a:pos x="connsiteX55671" y="connsiteY55671"/>
              </a:cxn>
              <a:cxn ang="0">
                <a:pos x="connsiteX55672" y="connsiteY55672"/>
              </a:cxn>
              <a:cxn ang="0">
                <a:pos x="connsiteX55673" y="connsiteY55673"/>
              </a:cxn>
              <a:cxn ang="0">
                <a:pos x="connsiteX55674" y="connsiteY55674"/>
              </a:cxn>
              <a:cxn ang="0">
                <a:pos x="connsiteX55675" y="connsiteY55675"/>
              </a:cxn>
              <a:cxn ang="0">
                <a:pos x="connsiteX55676" y="connsiteY55676"/>
              </a:cxn>
              <a:cxn ang="0">
                <a:pos x="connsiteX55677" y="connsiteY55677"/>
              </a:cxn>
              <a:cxn ang="0">
                <a:pos x="connsiteX55678" y="connsiteY55678"/>
              </a:cxn>
              <a:cxn ang="0">
                <a:pos x="connsiteX55679" y="connsiteY55679"/>
              </a:cxn>
              <a:cxn ang="0">
                <a:pos x="connsiteX55680" y="connsiteY55680"/>
              </a:cxn>
              <a:cxn ang="0">
                <a:pos x="connsiteX55681" y="connsiteY55681"/>
              </a:cxn>
              <a:cxn ang="0">
                <a:pos x="connsiteX55682" y="connsiteY55682"/>
              </a:cxn>
              <a:cxn ang="0">
                <a:pos x="connsiteX55683" y="connsiteY55683"/>
              </a:cxn>
              <a:cxn ang="0">
                <a:pos x="connsiteX55684" y="connsiteY55684"/>
              </a:cxn>
              <a:cxn ang="0">
                <a:pos x="connsiteX55685" y="connsiteY55685"/>
              </a:cxn>
              <a:cxn ang="0">
                <a:pos x="connsiteX55686" y="connsiteY55686"/>
              </a:cxn>
              <a:cxn ang="0">
                <a:pos x="connsiteX55687" y="connsiteY55687"/>
              </a:cxn>
              <a:cxn ang="0">
                <a:pos x="connsiteX55688" y="connsiteY55688"/>
              </a:cxn>
              <a:cxn ang="0">
                <a:pos x="connsiteX55689" y="connsiteY55689"/>
              </a:cxn>
              <a:cxn ang="0">
                <a:pos x="connsiteX55690" y="connsiteY55690"/>
              </a:cxn>
              <a:cxn ang="0">
                <a:pos x="connsiteX55691" y="connsiteY55691"/>
              </a:cxn>
              <a:cxn ang="0">
                <a:pos x="connsiteX55692" y="connsiteY55692"/>
              </a:cxn>
              <a:cxn ang="0">
                <a:pos x="connsiteX55693" y="connsiteY55693"/>
              </a:cxn>
              <a:cxn ang="0">
                <a:pos x="connsiteX55694" y="connsiteY55694"/>
              </a:cxn>
              <a:cxn ang="0">
                <a:pos x="connsiteX55695" y="connsiteY55695"/>
              </a:cxn>
              <a:cxn ang="0">
                <a:pos x="connsiteX55696" y="connsiteY55696"/>
              </a:cxn>
              <a:cxn ang="0">
                <a:pos x="connsiteX55697" y="connsiteY55697"/>
              </a:cxn>
              <a:cxn ang="0">
                <a:pos x="connsiteX55698" y="connsiteY55698"/>
              </a:cxn>
              <a:cxn ang="0">
                <a:pos x="connsiteX55699" y="connsiteY55699"/>
              </a:cxn>
              <a:cxn ang="0">
                <a:pos x="connsiteX55700" y="connsiteY55700"/>
              </a:cxn>
              <a:cxn ang="0">
                <a:pos x="connsiteX55701" y="connsiteY55701"/>
              </a:cxn>
              <a:cxn ang="0">
                <a:pos x="connsiteX55702" y="connsiteY55702"/>
              </a:cxn>
              <a:cxn ang="0">
                <a:pos x="connsiteX55703" y="connsiteY55703"/>
              </a:cxn>
              <a:cxn ang="0">
                <a:pos x="connsiteX55704" y="connsiteY55704"/>
              </a:cxn>
              <a:cxn ang="0">
                <a:pos x="connsiteX55705" y="connsiteY55705"/>
              </a:cxn>
              <a:cxn ang="0">
                <a:pos x="connsiteX55706" y="connsiteY55706"/>
              </a:cxn>
              <a:cxn ang="0">
                <a:pos x="connsiteX55707" y="connsiteY55707"/>
              </a:cxn>
              <a:cxn ang="0">
                <a:pos x="connsiteX55708" y="connsiteY55708"/>
              </a:cxn>
              <a:cxn ang="0">
                <a:pos x="connsiteX55709" y="connsiteY55709"/>
              </a:cxn>
              <a:cxn ang="0">
                <a:pos x="connsiteX55710" y="connsiteY55710"/>
              </a:cxn>
              <a:cxn ang="0">
                <a:pos x="connsiteX55711" y="connsiteY55711"/>
              </a:cxn>
              <a:cxn ang="0">
                <a:pos x="connsiteX55712" y="connsiteY55712"/>
              </a:cxn>
              <a:cxn ang="0">
                <a:pos x="connsiteX55713" y="connsiteY55713"/>
              </a:cxn>
              <a:cxn ang="0">
                <a:pos x="connsiteX55714" y="connsiteY55714"/>
              </a:cxn>
              <a:cxn ang="0">
                <a:pos x="connsiteX55715" y="connsiteY55715"/>
              </a:cxn>
              <a:cxn ang="0">
                <a:pos x="connsiteX55716" y="connsiteY55716"/>
              </a:cxn>
              <a:cxn ang="0">
                <a:pos x="connsiteX55717" y="connsiteY55717"/>
              </a:cxn>
              <a:cxn ang="0">
                <a:pos x="connsiteX55718" y="connsiteY55718"/>
              </a:cxn>
              <a:cxn ang="0">
                <a:pos x="connsiteX55719" y="connsiteY55719"/>
              </a:cxn>
              <a:cxn ang="0">
                <a:pos x="connsiteX55720" y="connsiteY55720"/>
              </a:cxn>
              <a:cxn ang="0">
                <a:pos x="connsiteX55721" y="connsiteY55721"/>
              </a:cxn>
              <a:cxn ang="0">
                <a:pos x="connsiteX55722" y="connsiteY55722"/>
              </a:cxn>
              <a:cxn ang="0">
                <a:pos x="connsiteX55723" y="connsiteY55723"/>
              </a:cxn>
              <a:cxn ang="0">
                <a:pos x="connsiteX55724" y="connsiteY55724"/>
              </a:cxn>
              <a:cxn ang="0">
                <a:pos x="connsiteX55725" y="connsiteY55725"/>
              </a:cxn>
              <a:cxn ang="0">
                <a:pos x="connsiteX55726" y="connsiteY55726"/>
              </a:cxn>
              <a:cxn ang="0">
                <a:pos x="connsiteX55727" y="connsiteY55727"/>
              </a:cxn>
              <a:cxn ang="0">
                <a:pos x="connsiteX55728" y="connsiteY55728"/>
              </a:cxn>
              <a:cxn ang="0">
                <a:pos x="connsiteX55729" y="connsiteY55729"/>
              </a:cxn>
              <a:cxn ang="0">
                <a:pos x="connsiteX55730" y="connsiteY55730"/>
              </a:cxn>
              <a:cxn ang="0">
                <a:pos x="connsiteX55731" y="connsiteY55731"/>
              </a:cxn>
              <a:cxn ang="0">
                <a:pos x="connsiteX55732" y="connsiteY55732"/>
              </a:cxn>
              <a:cxn ang="0">
                <a:pos x="connsiteX55733" y="connsiteY55733"/>
              </a:cxn>
              <a:cxn ang="0">
                <a:pos x="connsiteX55734" y="connsiteY55734"/>
              </a:cxn>
              <a:cxn ang="0">
                <a:pos x="connsiteX55735" y="connsiteY55735"/>
              </a:cxn>
              <a:cxn ang="0">
                <a:pos x="connsiteX55736" y="connsiteY55736"/>
              </a:cxn>
              <a:cxn ang="0">
                <a:pos x="connsiteX55737" y="connsiteY55737"/>
              </a:cxn>
              <a:cxn ang="0">
                <a:pos x="connsiteX55738" y="connsiteY55738"/>
              </a:cxn>
              <a:cxn ang="0">
                <a:pos x="connsiteX55739" y="connsiteY55739"/>
              </a:cxn>
              <a:cxn ang="0">
                <a:pos x="connsiteX55740" y="connsiteY55740"/>
              </a:cxn>
              <a:cxn ang="0">
                <a:pos x="connsiteX55741" y="connsiteY55741"/>
              </a:cxn>
              <a:cxn ang="0">
                <a:pos x="connsiteX55742" y="connsiteY55742"/>
              </a:cxn>
              <a:cxn ang="0">
                <a:pos x="connsiteX55743" y="connsiteY55743"/>
              </a:cxn>
              <a:cxn ang="0">
                <a:pos x="connsiteX55744" y="connsiteY55744"/>
              </a:cxn>
              <a:cxn ang="0">
                <a:pos x="connsiteX55745" y="connsiteY55745"/>
              </a:cxn>
              <a:cxn ang="0">
                <a:pos x="connsiteX55746" y="connsiteY55746"/>
              </a:cxn>
              <a:cxn ang="0">
                <a:pos x="connsiteX55747" y="connsiteY55747"/>
              </a:cxn>
              <a:cxn ang="0">
                <a:pos x="connsiteX55748" y="connsiteY55748"/>
              </a:cxn>
              <a:cxn ang="0">
                <a:pos x="connsiteX55749" y="connsiteY55749"/>
              </a:cxn>
              <a:cxn ang="0">
                <a:pos x="connsiteX55750" y="connsiteY55750"/>
              </a:cxn>
              <a:cxn ang="0">
                <a:pos x="connsiteX55751" y="connsiteY55751"/>
              </a:cxn>
              <a:cxn ang="0">
                <a:pos x="connsiteX55752" y="connsiteY55752"/>
              </a:cxn>
              <a:cxn ang="0">
                <a:pos x="connsiteX55753" y="connsiteY55753"/>
              </a:cxn>
              <a:cxn ang="0">
                <a:pos x="connsiteX55754" y="connsiteY55754"/>
              </a:cxn>
              <a:cxn ang="0">
                <a:pos x="connsiteX55755" y="connsiteY55755"/>
              </a:cxn>
              <a:cxn ang="0">
                <a:pos x="connsiteX55756" y="connsiteY55756"/>
              </a:cxn>
              <a:cxn ang="0">
                <a:pos x="connsiteX55757" y="connsiteY55757"/>
              </a:cxn>
              <a:cxn ang="0">
                <a:pos x="connsiteX55758" y="connsiteY55758"/>
              </a:cxn>
              <a:cxn ang="0">
                <a:pos x="connsiteX55759" y="connsiteY55759"/>
              </a:cxn>
              <a:cxn ang="0">
                <a:pos x="connsiteX55760" y="connsiteY55760"/>
              </a:cxn>
              <a:cxn ang="0">
                <a:pos x="connsiteX55761" y="connsiteY55761"/>
              </a:cxn>
              <a:cxn ang="0">
                <a:pos x="connsiteX55762" y="connsiteY55762"/>
              </a:cxn>
              <a:cxn ang="0">
                <a:pos x="connsiteX55763" y="connsiteY55763"/>
              </a:cxn>
              <a:cxn ang="0">
                <a:pos x="connsiteX55764" y="connsiteY55764"/>
              </a:cxn>
              <a:cxn ang="0">
                <a:pos x="connsiteX55765" y="connsiteY55765"/>
              </a:cxn>
              <a:cxn ang="0">
                <a:pos x="connsiteX55766" y="connsiteY55766"/>
              </a:cxn>
              <a:cxn ang="0">
                <a:pos x="connsiteX55767" y="connsiteY55767"/>
              </a:cxn>
              <a:cxn ang="0">
                <a:pos x="connsiteX55768" y="connsiteY55768"/>
              </a:cxn>
              <a:cxn ang="0">
                <a:pos x="connsiteX55769" y="connsiteY55769"/>
              </a:cxn>
              <a:cxn ang="0">
                <a:pos x="connsiteX55770" y="connsiteY55770"/>
              </a:cxn>
              <a:cxn ang="0">
                <a:pos x="connsiteX55771" y="connsiteY55771"/>
              </a:cxn>
              <a:cxn ang="0">
                <a:pos x="connsiteX55772" y="connsiteY55772"/>
              </a:cxn>
              <a:cxn ang="0">
                <a:pos x="connsiteX55773" y="connsiteY55773"/>
              </a:cxn>
              <a:cxn ang="0">
                <a:pos x="connsiteX55774" y="connsiteY55774"/>
              </a:cxn>
              <a:cxn ang="0">
                <a:pos x="connsiteX55775" y="connsiteY55775"/>
              </a:cxn>
              <a:cxn ang="0">
                <a:pos x="connsiteX55776" y="connsiteY55776"/>
              </a:cxn>
              <a:cxn ang="0">
                <a:pos x="connsiteX55777" y="connsiteY55777"/>
              </a:cxn>
              <a:cxn ang="0">
                <a:pos x="connsiteX55778" y="connsiteY55778"/>
              </a:cxn>
              <a:cxn ang="0">
                <a:pos x="connsiteX55779" y="connsiteY55779"/>
              </a:cxn>
              <a:cxn ang="0">
                <a:pos x="connsiteX55780" y="connsiteY55780"/>
              </a:cxn>
              <a:cxn ang="0">
                <a:pos x="connsiteX55781" y="connsiteY55781"/>
              </a:cxn>
              <a:cxn ang="0">
                <a:pos x="connsiteX55782" y="connsiteY55782"/>
              </a:cxn>
              <a:cxn ang="0">
                <a:pos x="connsiteX55783" y="connsiteY55783"/>
              </a:cxn>
              <a:cxn ang="0">
                <a:pos x="connsiteX55784" y="connsiteY55784"/>
              </a:cxn>
              <a:cxn ang="0">
                <a:pos x="connsiteX55785" y="connsiteY55785"/>
              </a:cxn>
              <a:cxn ang="0">
                <a:pos x="connsiteX55786" y="connsiteY55786"/>
              </a:cxn>
              <a:cxn ang="0">
                <a:pos x="connsiteX55787" y="connsiteY55787"/>
              </a:cxn>
              <a:cxn ang="0">
                <a:pos x="connsiteX55788" y="connsiteY55788"/>
              </a:cxn>
              <a:cxn ang="0">
                <a:pos x="connsiteX55789" y="connsiteY55789"/>
              </a:cxn>
              <a:cxn ang="0">
                <a:pos x="connsiteX55790" y="connsiteY55790"/>
              </a:cxn>
              <a:cxn ang="0">
                <a:pos x="connsiteX55791" y="connsiteY55791"/>
              </a:cxn>
              <a:cxn ang="0">
                <a:pos x="connsiteX55792" y="connsiteY55792"/>
              </a:cxn>
              <a:cxn ang="0">
                <a:pos x="connsiteX55793" y="connsiteY55793"/>
              </a:cxn>
              <a:cxn ang="0">
                <a:pos x="connsiteX55794" y="connsiteY55794"/>
              </a:cxn>
              <a:cxn ang="0">
                <a:pos x="connsiteX55795" y="connsiteY55795"/>
              </a:cxn>
              <a:cxn ang="0">
                <a:pos x="connsiteX55796" y="connsiteY55796"/>
              </a:cxn>
              <a:cxn ang="0">
                <a:pos x="connsiteX55797" y="connsiteY55797"/>
              </a:cxn>
              <a:cxn ang="0">
                <a:pos x="connsiteX55798" y="connsiteY55798"/>
              </a:cxn>
              <a:cxn ang="0">
                <a:pos x="connsiteX55799" y="connsiteY55799"/>
              </a:cxn>
              <a:cxn ang="0">
                <a:pos x="connsiteX55800" y="connsiteY55800"/>
              </a:cxn>
              <a:cxn ang="0">
                <a:pos x="connsiteX55801" y="connsiteY55801"/>
              </a:cxn>
              <a:cxn ang="0">
                <a:pos x="connsiteX55802" y="connsiteY55802"/>
              </a:cxn>
              <a:cxn ang="0">
                <a:pos x="connsiteX55803" y="connsiteY55803"/>
              </a:cxn>
              <a:cxn ang="0">
                <a:pos x="connsiteX55804" y="connsiteY55804"/>
              </a:cxn>
              <a:cxn ang="0">
                <a:pos x="connsiteX55805" y="connsiteY55805"/>
              </a:cxn>
              <a:cxn ang="0">
                <a:pos x="connsiteX55806" y="connsiteY55806"/>
              </a:cxn>
              <a:cxn ang="0">
                <a:pos x="connsiteX55807" y="connsiteY55807"/>
              </a:cxn>
              <a:cxn ang="0">
                <a:pos x="connsiteX55808" y="connsiteY55808"/>
              </a:cxn>
              <a:cxn ang="0">
                <a:pos x="connsiteX55809" y="connsiteY55809"/>
              </a:cxn>
              <a:cxn ang="0">
                <a:pos x="connsiteX55810" y="connsiteY55810"/>
              </a:cxn>
              <a:cxn ang="0">
                <a:pos x="connsiteX55811" y="connsiteY55811"/>
              </a:cxn>
              <a:cxn ang="0">
                <a:pos x="connsiteX55812" y="connsiteY55812"/>
              </a:cxn>
              <a:cxn ang="0">
                <a:pos x="connsiteX55813" y="connsiteY55813"/>
              </a:cxn>
              <a:cxn ang="0">
                <a:pos x="connsiteX55814" y="connsiteY55814"/>
              </a:cxn>
              <a:cxn ang="0">
                <a:pos x="connsiteX55815" y="connsiteY55815"/>
              </a:cxn>
              <a:cxn ang="0">
                <a:pos x="connsiteX55816" y="connsiteY55816"/>
              </a:cxn>
              <a:cxn ang="0">
                <a:pos x="connsiteX55817" y="connsiteY55817"/>
              </a:cxn>
              <a:cxn ang="0">
                <a:pos x="connsiteX55818" y="connsiteY55818"/>
              </a:cxn>
              <a:cxn ang="0">
                <a:pos x="connsiteX55819" y="connsiteY55819"/>
              </a:cxn>
              <a:cxn ang="0">
                <a:pos x="connsiteX55820" y="connsiteY55820"/>
              </a:cxn>
              <a:cxn ang="0">
                <a:pos x="connsiteX55821" y="connsiteY55821"/>
              </a:cxn>
              <a:cxn ang="0">
                <a:pos x="connsiteX55822" y="connsiteY55822"/>
              </a:cxn>
              <a:cxn ang="0">
                <a:pos x="connsiteX55823" y="connsiteY55823"/>
              </a:cxn>
              <a:cxn ang="0">
                <a:pos x="connsiteX55824" y="connsiteY55824"/>
              </a:cxn>
              <a:cxn ang="0">
                <a:pos x="connsiteX55825" y="connsiteY55825"/>
              </a:cxn>
              <a:cxn ang="0">
                <a:pos x="connsiteX55826" y="connsiteY55826"/>
              </a:cxn>
              <a:cxn ang="0">
                <a:pos x="connsiteX55827" y="connsiteY55827"/>
              </a:cxn>
              <a:cxn ang="0">
                <a:pos x="connsiteX55828" y="connsiteY55828"/>
              </a:cxn>
              <a:cxn ang="0">
                <a:pos x="connsiteX55829" y="connsiteY55829"/>
              </a:cxn>
              <a:cxn ang="0">
                <a:pos x="connsiteX55830" y="connsiteY55830"/>
              </a:cxn>
              <a:cxn ang="0">
                <a:pos x="connsiteX55831" y="connsiteY55831"/>
              </a:cxn>
              <a:cxn ang="0">
                <a:pos x="connsiteX55832" y="connsiteY55832"/>
              </a:cxn>
              <a:cxn ang="0">
                <a:pos x="connsiteX55833" y="connsiteY55833"/>
              </a:cxn>
              <a:cxn ang="0">
                <a:pos x="connsiteX55834" y="connsiteY55834"/>
              </a:cxn>
              <a:cxn ang="0">
                <a:pos x="connsiteX55835" y="connsiteY55835"/>
              </a:cxn>
              <a:cxn ang="0">
                <a:pos x="connsiteX55836" y="connsiteY55836"/>
              </a:cxn>
              <a:cxn ang="0">
                <a:pos x="connsiteX55837" y="connsiteY55837"/>
              </a:cxn>
              <a:cxn ang="0">
                <a:pos x="connsiteX55838" y="connsiteY55838"/>
              </a:cxn>
              <a:cxn ang="0">
                <a:pos x="connsiteX55839" y="connsiteY55839"/>
              </a:cxn>
              <a:cxn ang="0">
                <a:pos x="connsiteX55840" y="connsiteY55840"/>
              </a:cxn>
              <a:cxn ang="0">
                <a:pos x="connsiteX55841" y="connsiteY55841"/>
              </a:cxn>
              <a:cxn ang="0">
                <a:pos x="connsiteX55842" y="connsiteY55842"/>
              </a:cxn>
              <a:cxn ang="0">
                <a:pos x="connsiteX55843" y="connsiteY55843"/>
              </a:cxn>
              <a:cxn ang="0">
                <a:pos x="connsiteX55844" y="connsiteY55844"/>
              </a:cxn>
              <a:cxn ang="0">
                <a:pos x="connsiteX55845" y="connsiteY55845"/>
              </a:cxn>
              <a:cxn ang="0">
                <a:pos x="connsiteX55846" y="connsiteY55846"/>
              </a:cxn>
              <a:cxn ang="0">
                <a:pos x="connsiteX55847" y="connsiteY55847"/>
              </a:cxn>
              <a:cxn ang="0">
                <a:pos x="connsiteX55848" y="connsiteY55848"/>
              </a:cxn>
              <a:cxn ang="0">
                <a:pos x="connsiteX55849" y="connsiteY55849"/>
              </a:cxn>
              <a:cxn ang="0">
                <a:pos x="connsiteX55850" y="connsiteY55850"/>
              </a:cxn>
              <a:cxn ang="0">
                <a:pos x="connsiteX55851" y="connsiteY55851"/>
              </a:cxn>
              <a:cxn ang="0">
                <a:pos x="connsiteX55852" y="connsiteY55852"/>
              </a:cxn>
              <a:cxn ang="0">
                <a:pos x="connsiteX55853" y="connsiteY55853"/>
              </a:cxn>
              <a:cxn ang="0">
                <a:pos x="connsiteX55854" y="connsiteY55854"/>
              </a:cxn>
              <a:cxn ang="0">
                <a:pos x="connsiteX55855" y="connsiteY55855"/>
              </a:cxn>
              <a:cxn ang="0">
                <a:pos x="connsiteX55856" y="connsiteY55856"/>
              </a:cxn>
              <a:cxn ang="0">
                <a:pos x="connsiteX55857" y="connsiteY55857"/>
              </a:cxn>
              <a:cxn ang="0">
                <a:pos x="connsiteX55858" y="connsiteY55858"/>
              </a:cxn>
              <a:cxn ang="0">
                <a:pos x="connsiteX55859" y="connsiteY55859"/>
              </a:cxn>
              <a:cxn ang="0">
                <a:pos x="connsiteX55860" y="connsiteY55860"/>
              </a:cxn>
              <a:cxn ang="0">
                <a:pos x="connsiteX55861" y="connsiteY55861"/>
              </a:cxn>
              <a:cxn ang="0">
                <a:pos x="connsiteX55862" y="connsiteY55862"/>
              </a:cxn>
              <a:cxn ang="0">
                <a:pos x="connsiteX55863" y="connsiteY55863"/>
              </a:cxn>
              <a:cxn ang="0">
                <a:pos x="connsiteX55864" y="connsiteY55864"/>
              </a:cxn>
              <a:cxn ang="0">
                <a:pos x="connsiteX55865" y="connsiteY55865"/>
              </a:cxn>
              <a:cxn ang="0">
                <a:pos x="connsiteX55866" y="connsiteY55866"/>
              </a:cxn>
              <a:cxn ang="0">
                <a:pos x="connsiteX55867" y="connsiteY55867"/>
              </a:cxn>
              <a:cxn ang="0">
                <a:pos x="connsiteX55868" y="connsiteY55868"/>
              </a:cxn>
              <a:cxn ang="0">
                <a:pos x="connsiteX55869" y="connsiteY55869"/>
              </a:cxn>
              <a:cxn ang="0">
                <a:pos x="connsiteX55870" y="connsiteY55870"/>
              </a:cxn>
              <a:cxn ang="0">
                <a:pos x="connsiteX55871" y="connsiteY55871"/>
              </a:cxn>
              <a:cxn ang="0">
                <a:pos x="connsiteX55872" y="connsiteY55872"/>
              </a:cxn>
              <a:cxn ang="0">
                <a:pos x="connsiteX55873" y="connsiteY55873"/>
              </a:cxn>
              <a:cxn ang="0">
                <a:pos x="connsiteX55874" y="connsiteY55874"/>
              </a:cxn>
              <a:cxn ang="0">
                <a:pos x="connsiteX55875" y="connsiteY55875"/>
              </a:cxn>
              <a:cxn ang="0">
                <a:pos x="connsiteX55876" y="connsiteY55876"/>
              </a:cxn>
              <a:cxn ang="0">
                <a:pos x="connsiteX55877" y="connsiteY55877"/>
              </a:cxn>
              <a:cxn ang="0">
                <a:pos x="connsiteX55878" y="connsiteY55878"/>
              </a:cxn>
              <a:cxn ang="0">
                <a:pos x="connsiteX55879" y="connsiteY55879"/>
              </a:cxn>
              <a:cxn ang="0">
                <a:pos x="connsiteX55880" y="connsiteY55880"/>
              </a:cxn>
              <a:cxn ang="0">
                <a:pos x="connsiteX55881" y="connsiteY55881"/>
              </a:cxn>
              <a:cxn ang="0">
                <a:pos x="connsiteX55882" y="connsiteY55882"/>
              </a:cxn>
              <a:cxn ang="0">
                <a:pos x="connsiteX55883" y="connsiteY55883"/>
              </a:cxn>
              <a:cxn ang="0">
                <a:pos x="connsiteX55884" y="connsiteY55884"/>
              </a:cxn>
              <a:cxn ang="0">
                <a:pos x="connsiteX55885" y="connsiteY55885"/>
              </a:cxn>
              <a:cxn ang="0">
                <a:pos x="connsiteX55886" y="connsiteY55886"/>
              </a:cxn>
              <a:cxn ang="0">
                <a:pos x="connsiteX55887" y="connsiteY55887"/>
              </a:cxn>
              <a:cxn ang="0">
                <a:pos x="connsiteX55888" y="connsiteY55888"/>
              </a:cxn>
              <a:cxn ang="0">
                <a:pos x="connsiteX55889" y="connsiteY55889"/>
              </a:cxn>
              <a:cxn ang="0">
                <a:pos x="connsiteX55890" y="connsiteY55890"/>
              </a:cxn>
              <a:cxn ang="0">
                <a:pos x="connsiteX55891" y="connsiteY55891"/>
              </a:cxn>
              <a:cxn ang="0">
                <a:pos x="connsiteX55892" y="connsiteY55892"/>
              </a:cxn>
              <a:cxn ang="0">
                <a:pos x="connsiteX55893" y="connsiteY55893"/>
              </a:cxn>
              <a:cxn ang="0">
                <a:pos x="connsiteX55894" y="connsiteY55894"/>
              </a:cxn>
              <a:cxn ang="0">
                <a:pos x="connsiteX55895" y="connsiteY55895"/>
              </a:cxn>
              <a:cxn ang="0">
                <a:pos x="connsiteX55896" y="connsiteY55896"/>
              </a:cxn>
              <a:cxn ang="0">
                <a:pos x="connsiteX55897" y="connsiteY55897"/>
              </a:cxn>
              <a:cxn ang="0">
                <a:pos x="connsiteX55898" y="connsiteY55898"/>
              </a:cxn>
              <a:cxn ang="0">
                <a:pos x="connsiteX55899" y="connsiteY55899"/>
              </a:cxn>
              <a:cxn ang="0">
                <a:pos x="connsiteX55900" y="connsiteY55900"/>
              </a:cxn>
              <a:cxn ang="0">
                <a:pos x="connsiteX55901" y="connsiteY55901"/>
              </a:cxn>
              <a:cxn ang="0">
                <a:pos x="connsiteX55902" y="connsiteY55902"/>
              </a:cxn>
              <a:cxn ang="0">
                <a:pos x="connsiteX55903" y="connsiteY55903"/>
              </a:cxn>
              <a:cxn ang="0">
                <a:pos x="connsiteX55904" y="connsiteY55904"/>
              </a:cxn>
              <a:cxn ang="0">
                <a:pos x="connsiteX55905" y="connsiteY55905"/>
              </a:cxn>
              <a:cxn ang="0">
                <a:pos x="connsiteX55906" y="connsiteY55906"/>
              </a:cxn>
              <a:cxn ang="0">
                <a:pos x="connsiteX55907" y="connsiteY55907"/>
              </a:cxn>
              <a:cxn ang="0">
                <a:pos x="connsiteX55908" y="connsiteY55908"/>
              </a:cxn>
              <a:cxn ang="0">
                <a:pos x="connsiteX55909" y="connsiteY55909"/>
              </a:cxn>
              <a:cxn ang="0">
                <a:pos x="connsiteX55910" y="connsiteY55910"/>
              </a:cxn>
              <a:cxn ang="0">
                <a:pos x="connsiteX55911" y="connsiteY55911"/>
              </a:cxn>
              <a:cxn ang="0">
                <a:pos x="connsiteX55912" y="connsiteY55912"/>
              </a:cxn>
              <a:cxn ang="0">
                <a:pos x="connsiteX55913" y="connsiteY55913"/>
              </a:cxn>
              <a:cxn ang="0">
                <a:pos x="connsiteX55914" y="connsiteY55914"/>
              </a:cxn>
              <a:cxn ang="0">
                <a:pos x="connsiteX55915" y="connsiteY55915"/>
              </a:cxn>
              <a:cxn ang="0">
                <a:pos x="connsiteX55916" y="connsiteY55916"/>
              </a:cxn>
              <a:cxn ang="0">
                <a:pos x="connsiteX55917" y="connsiteY55917"/>
              </a:cxn>
              <a:cxn ang="0">
                <a:pos x="connsiteX55918" y="connsiteY55918"/>
              </a:cxn>
              <a:cxn ang="0">
                <a:pos x="connsiteX55919" y="connsiteY55919"/>
              </a:cxn>
              <a:cxn ang="0">
                <a:pos x="connsiteX55920" y="connsiteY55920"/>
              </a:cxn>
              <a:cxn ang="0">
                <a:pos x="connsiteX55921" y="connsiteY55921"/>
              </a:cxn>
              <a:cxn ang="0">
                <a:pos x="connsiteX55922" y="connsiteY55922"/>
              </a:cxn>
              <a:cxn ang="0">
                <a:pos x="connsiteX55923" y="connsiteY55923"/>
              </a:cxn>
              <a:cxn ang="0">
                <a:pos x="connsiteX55924" y="connsiteY55924"/>
              </a:cxn>
              <a:cxn ang="0">
                <a:pos x="connsiteX55925" y="connsiteY55925"/>
              </a:cxn>
              <a:cxn ang="0">
                <a:pos x="connsiteX55926" y="connsiteY55926"/>
              </a:cxn>
              <a:cxn ang="0">
                <a:pos x="connsiteX55927" y="connsiteY55927"/>
              </a:cxn>
              <a:cxn ang="0">
                <a:pos x="connsiteX55928" y="connsiteY55928"/>
              </a:cxn>
              <a:cxn ang="0">
                <a:pos x="connsiteX55929" y="connsiteY55929"/>
              </a:cxn>
              <a:cxn ang="0">
                <a:pos x="connsiteX55930" y="connsiteY55930"/>
              </a:cxn>
              <a:cxn ang="0">
                <a:pos x="connsiteX55931" y="connsiteY55931"/>
              </a:cxn>
              <a:cxn ang="0">
                <a:pos x="connsiteX55932" y="connsiteY55932"/>
              </a:cxn>
              <a:cxn ang="0">
                <a:pos x="connsiteX55933" y="connsiteY55933"/>
              </a:cxn>
              <a:cxn ang="0">
                <a:pos x="connsiteX55934" y="connsiteY55934"/>
              </a:cxn>
              <a:cxn ang="0">
                <a:pos x="connsiteX55935" y="connsiteY55935"/>
              </a:cxn>
              <a:cxn ang="0">
                <a:pos x="connsiteX55936" y="connsiteY55936"/>
              </a:cxn>
              <a:cxn ang="0">
                <a:pos x="connsiteX55937" y="connsiteY55937"/>
              </a:cxn>
              <a:cxn ang="0">
                <a:pos x="connsiteX55938" y="connsiteY55938"/>
              </a:cxn>
              <a:cxn ang="0">
                <a:pos x="connsiteX55939" y="connsiteY55939"/>
              </a:cxn>
              <a:cxn ang="0">
                <a:pos x="connsiteX55940" y="connsiteY55940"/>
              </a:cxn>
              <a:cxn ang="0">
                <a:pos x="connsiteX55941" y="connsiteY55941"/>
              </a:cxn>
              <a:cxn ang="0">
                <a:pos x="connsiteX55942" y="connsiteY55942"/>
              </a:cxn>
              <a:cxn ang="0">
                <a:pos x="connsiteX55943" y="connsiteY55943"/>
              </a:cxn>
              <a:cxn ang="0">
                <a:pos x="connsiteX55944" y="connsiteY55944"/>
              </a:cxn>
              <a:cxn ang="0">
                <a:pos x="connsiteX55945" y="connsiteY55945"/>
              </a:cxn>
              <a:cxn ang="0">
                <a:pos x="connsiteX55946" y="connsiteY55946"/>
              </a:cxn>
              <a:cxn ang="0">
                <a:pos x="connsiteX55947" y="connsiteY55947"/>
              </a:cxn>
              <a:cxn ang="0">
                <a:pos x="connsiteX55948" y="connsiteY55948"/>
              </a:cxn>
              <a:cxn ang="0">
                <a:pos x="connsiteX55949" y="connsiteY55949"/>
              </a:cxn>
              <a:cxn ang="0">
                <a:pos x="connsiteX55950" y="connsiteY55950"/>
              </a:cxn>
              <a:cxn ang="0">
                <a:pos x="connsiteX55951" y="connsiteY55951"/>
              </a:cxn>
              <a:cxn ang="0">
                <a:pos x="connsiteX55952" y="connsiteY55952"/>
              </a:cxn>
              <a:cxn ang="0">
                <a:pos x="connsiteX55953" y="connsiteY55953"/>
              </a:cxn>
              <a:cxn ang="0">
                <a:pos x="connsiteX55954" y="connsiteY55954"/>
              </a:cxn>
              <a:cxn ang="0">
                <a:pos x="connsiteX55955" y="connsiteY55955"/>
              </a:cxn>
              <a:cxn ang="0">
                <a:pos x="connsiteX55956" y="connsiteY55956"/>
              </a:cxn>
              <a:cxn ang="0">
                <a:pos x="connsiteX55957" y="connsiteY55957"/>
              </a:cxn>
              <a:cxn ang="0">
                <a:pos x="connsiteX55958" y="connsiteY55958"/>
              </a:cxn>
              <a:cxn ang="0">
                <a:pos x="connsiteX55959" y="connsiteY55959"/>
              </a:cxn>
              <a:cxn ang="0">
                <a:pos x="connsiteX55960" y="connsiteY55960"/>
              </a:cxn>
              <a:cxn ang="0">
                <a:pos x="connsiteX55961" y="connsiteY55961"/>
              </a:cxn>
              <a:cxn ang="0">
                <a:pos x="connsiteX55962" y="connsiteY55962"/>
              </a:cxn>
              <a:cxn ang="0">
                <a:pos x="connsiteX55963" y="connsiteY55963"/>
              </a:cxn>
              <a:cxn ang="0">
                <a:pos x="connsiteX55964" y="connsiteY55964"/>
              </a:cxn>
              <a:cxn ang="0">
                <a:pos x="connsiteX55965" y="connsiteY55965"/>
              </a:cxn>
              <a:cxn ang="0">
                <a:pos x="connsiteX55966" y="connsiteY55966"/>
              </a:cxn>
              <a:cxn ang="0">
                <a:pos x="connsiteX55967" y="connsiteY55967"/>
              </a:cxn>
              <a:cxn ang="0">
                <a:pos x="connsiteX55968" y="connsiteY55968"/>
              </a:cxn>
              <a:cxn ang="0">
                <a:pos x="connsiteX55969" y="connsiteY55969"/>
              </a:cxn>
              <a:cxn ang="0">
                <a:pos x="connsiteX55970" y="connsiteY55970"/>
              </a:cxn>
              <a:cxn ang="0">
                <a:pos x="connsiteX55971" y="connsiteY55971"/>
              </a:cxn>
              <a:cxn ang="0">
                <a:pos x="connsiteX55972" y="connsiteY55972"/>
              </a:cxn>
              <a:cxn ang="0">
                <a:pos x="connsiteX55973" y="connsiteY55973"/>
              </a:cxn>
              <a:cxn ang="0">
                <a:pos x="connsiteX55974" y="connsiteY55974"/>
              </a:cxn>
              <a:cxn ang="0">
                <a:pos x="connsiteX55975" y="connsiteY55975"/>
              </a:cxn>
              <a:cxn ang="0">
                <a:pos x="connsiteX55976" y="connsiteY55976"/>
              </a:cxn>
              <a:cxn ang="0">
                <a:pos x="connsiteX55977" y="connsiteY55977"/>
              </a:cxn>
              <a:cxn ang="0">
                <a:pos x="connsiteX55978" y="connsiteY55978"/>
              </a:cxn>
              <a:cxn ang="0">
                <a:pos x="connsiteX55979" y="connsiteY55979"/>
              </a:cxn>
              <a:cxn ang="0">
                <a:pos x="connsiteX55980" y="connsiteY55980"/>
              </a:cxn>
              <a:cxn ang="0">
                <a:pos x="connsiteX55981" y="connsiteY55981"/>
              </a:cxn>
              <a:cxn ang="0">
                <a:pos x="connsiteX55982" y="connsiteY55982"/>
              </a:cxn>
              <a:cxn ang="0">
                <a:pos x="connsiteX55983" y="connsiteY55983"/>
              </a:cxn>
              <a:cxn ang="0">
                <a:pos x="connsiteX55984" y="connsiteY55984"/>
              </a:cxn>
              <a:cxn ang="0">
                <a:pos x="connsiteX55985" y="connsiteY55985"/>
              </a:cxn>
              <a:cxn ang="0">
                <a:pos x="connsiteX55986" y="connsiteY55986"/>
              </a:cxn>
              <a:cxn ang="0">
                <a:pos x="connsiteX55987" y="connsiteY55987"/>
              </a:cxn>
              <a:cxn ang="0">
                <a:pos x="connsiteX55988" y="connsiteY55988"/>
              </a:cxn>
              <a:cxn ang="0">
                <a:pos x="connsiteX55989" y="connsiteY55989"/>
              </a:cxn>
              <a:cxn ang="0">
                <a:pos x="connsiteX55990" y="connsiteY55990"/>
              </a:cxn>
              <a:cxn ang="0">
                <a:pos x="connsiteX55991" y="connsiteY55991"/>
              </a:cxn>
              <a:cxn ang="0">
                <a:pos x="connsiteX55992" y="connsiteY55992"/>
              </a:cxn>
              <a:cxn ang="0">
                <a:pos x="connsiteX55993" y="connsiteY55993"/>
              </a:cxn>
              <a:cxn ang="0">
                <a:pos x="connsiteX55994" y="connsiteY55994"/>
              </a:cxn>
              <a:cxn ang="0">
                <a:pos x="connsiteX55995" y="connsiteY55995"/>
              </a:cxn>
              <a:cxn ang="0">
                <a:pos x="connsiteX55996" y="connsiteY55996"/>
              </a:cxn>
              <a:cxn ang="0">
                <a:pos x="connsiteX55997" y="connsiteY55997"/>
              </a:cxn>
              <a:cxn ang="0">
                <a:pos x="connsiteX55998" y="connsiteY55998"/>
              </a:cxn>
              <a:cxn ang="0">
                <a:pos x="connsiteX55999" y="connsiteY55999"/>
              </a:cxn>
              <a:cxn ang="0">
                <a:pos x="connsiteX56000" y="connsiteY56000"/>
              </a:cxn>
              <a:cxn ang="0">
                <a:pos x="connsiteX56001" y="connsiteY56001"/>
              </a:cxn>
              <a:cxn ang="0">
                <a:pos x="connsiteX56002" y="connsiteY56002"/>
              </a:cxn>
              <a:cxn ang="0">
                <a:pos x="connsiteX56003" y="connsiteY56003"/>
              </a:cxn>
              <a:cxn ang="0">
                <a:pos x="connsiteX56004" y="connsiteY56004"/>
              </a:cxn>
              <a:cxn ang="0">
                <a:pos x="connsiteX56005" y="connsiteY56005"/>
              </a:cxn>
              <a:cxn ang="0">
                <a:pos x="connsiteX56006" y="connsiteY56006"/>
              </a:cxn>
              <a:cxn ang="0">
                <a:pos x="connsiteX56007" y="connsiteY56007"/>
              </a:cxn>
              <a:cxn ang="0">
                <a:pos x="connsiteX56008" y="connsiteY56008"/>
              </a:cxn>
              <a:cxn ang="0">
                <a:pos x="connsiteX56009" y="connsiteY56009"/>
              </a:cxn>
              <a:cxn ang="0">
                <a:pos x="connsiteX56010" y="connsiteY56010"/>
              </a:cxn>
              <a:cxn ang="0">
                <a:pos x="connsiteX56011" y="connsiteY56011"/>
              </a:cxn>
              <a:cxn ang="0">
                <a:pos x="connsiteX56012" y="connsiteY56012"/>
              </a:cxn>
              <a:cxn ang="0">
                <a:pos x="connsiteX56013" y="connsiteY56013"/>
              </a:cxn>
              <a:cxn ang="0">
                <a:pos x="connsiteX56014" y="connsiteY56014"/>
              </a:cxn>
              <a:cxn ang="0">
                <a:pos x="connsiteX56015" y="connsiteY56015"/>
              </a:cxn>
              <a:cxn ang="0">
                <a:pos x="connsiteX56016" y="connsiteY56016"/>
              </a:cxn>
              <a:cxn ang="0">
                <a:pos x="connsiteX56017" y="connsiteY56017"/>
              </a:cxn>
              <a:cxn ang="0">
                <a:pos x="connsiteX56018" y="connsiteY56018"/>
              </a:cxn>
              <a:cxn ang="0">
                <a:pos x="connsiteX56019" y="connsiteY56019"/>
              </a:cxn>
              <a:cxn ang="0">
                <a:pos x="connsiteX56020" y="connsiteY56020"/>
              </a:cxn>
              <a:cxn ang="0">
                <a:pos x="connsiteX56021" y="connsiteY56021"/>
              </a:cxn>
              <a:cxn ang="0">
                <a:pos x="connsiteX56022" y="connsiteY56022"/>
              </a:cxn>
              <a:cxn ang="0">
                <a:pos x="connsiteX56023" y="connsiteY56023"/>
              </a:cxn>
              <a:cxn ang="0">
                <a:pos x="connsiteX56024" y="connsiteY56024"/>
              </a:cxn>
              <a:cxn ang="0">
                <a:pos x="connsiteX56025" y="connsiteY56025"/>
              </a:cxn>
              <a:cxn ang="0">
                <a:pos x="connsiteX56026" y="connsiteY56026"/>
              </a:cxn>
              <a:cxn ang="0">
                <a:pos x="connsiteX56027" y="connsiteY56027"/>
              </a:cxn>
              <a:cxn ang="0">
                <a:pos x="connsiteX56028" y="connsiteY56028"/>
              </a:cxn>
              <a:cxn ang="0">
                <a:pos x="connsiteX56029" y="connsiteY56029"/>
              </a:cxn>
              <a:cxn ang="0">
                <a:pos x="connsiteX56030" y="connsiteY56030"/>
              </a:cxn>
              <a:cxn ang="0">
                <a:pos x="connsiteX56031" y="connsiteY56031"/>
              </a:cxn>
              <a:cxn ang="0">
                <a:pos x="connsiteX56032" y="connsiteY56032"/>
              </a:cxn>
              <a:cxn ang="0">
                <a:pos x="connsiteX56033" y="connsiteY56033"/>
              </a:cxn>
              <a:cxn ang="0">
                <a:pos x="connsiteX56034" y="connsiteY56034"/>
              </a:cxn>
              <a:cxn ang="0">
                <a:pos x="connsiteX56035" y="connsiteY56035"/>
              </a:cxn>
              <a:cxn ang="0">
                <a:pos x="connsiteX56036" y="connsiteY56036"/>
              </a:cxn>
              <a:cxn ang="0">
                <a:pos x="connsiteX56037" y="connsiteY56037"/>
              </a:cxn>
              <a:cxn ang="0">
                <a:pos x="connsiteX56038" y="connsiteY56038"/>
              </a:cxn>
              <a:cxn ang="0">
                <a:pos x="connsiteX56039" y="connsiteY56039"/>
              </a:cxn>
              <a:cxn ang="0">
                <a:pos x="connsiteX56040" y="connsiteY56040"/>
              </a:cxn>
              <a:cxn ang="0">
                <a:pos x="connsiteX56041" y="connsiteY56041"/>
              </a:cxn>
              <a:cxn ang="0">
                <a:pos x="connsiteX56042" y="connsiteY56042"/>
              </a:cxn>
              <a:cxn ang="0">
                <a:pos x="connsiteX56043" y="connsiteY56043"/>
              </a:cxn>
              <a:cxn ang="0">
                <a:pos x="connsiteX56044" y="connsiteY56044"/>
              </a:cxn>
              <a:cxn ang="0">
                <a:pos x="connsiteX56045" y="connsiteY56045"/>
              </a:cxn>
              <a:cxn ang="0">
                <a:pos x="connsiteX56046" y="connsiteY56046"/>
              </a:cxn>
              <a:cxn ang="0">
                <a:pos x="connsiteX56047" y="connsiteY56047"/>
              </a:cxn>
              <a:cxn ang="0">
                <a:pos x="connsiteX56048" y="connsiteY56048"/>
              </a:cxn>
              <a:cxn ang="0">
                <a:pos x="connsiteX56049" y="connsiteY56049"/>
              </a:cxn>
              <a:cxn ang="0">
                <a:pos x="connsiteX56050" y="connsiteY56050"/>
              </a:cxn>
              <a:cxn ang="0">
                <a:pos x="connsiteX56051" y="connsiteY56051"/>
              </a:cxn>
              <a:cxn ang="0">
                <a:pos x="connsiteX56052" y="connsiteY56052"/>
              </a:cxn>
              <a:cxn ang="0">
                <a:pos x="connsiteX56053" y="connsiteY56053"/>
              </a:cxn>
              <a:cxn ang="0">
                <a:pos x="connsiteX56054" y="connsiteY56054"/>
              </a:cxn>
              <a:cxn ang="0">
                <a:pos x="connsiteX56055" y="connsiteY56055"/>
              </a:cxn>
              <a:cxn ang="0">
                <a:pos x="connsiteX56056" y="connsiteY56056"/>
              </a:cxn>
              <a:cxn ang="0">
                <a:pos x="connsiteX56057" y="connsiteY56057"/>
              </a:cxn>
              <a:cxn ang="0">
                <a:pos x="connsiteX56058" y="connsiteY56058"/>
              </a:cxn>
              <a:cxn ang="0">
                <a:pos x="connsiteX56059" y="connsiteY56059"/>
              </a:cxn>
              <a:cxn ang="0">
                <a:pos x="connsiteX56060" y="connsiteY56060"/>
              </a:cxn>
              <a:cxn ang="0">
                <a:pos x="connsiteX56061" y="connsiteY56061"/>
              </a:cxn>
              <a:cxn ang="0">
                <a:pos x="connsiteX56062" y="connsiteY56062"/>
              </a:cxn>
              <a:cxn ang="0">
                <a:pos x="connsiteX56063" y="connsiteY56063"/>
              </a:cxn>
              <a:cxn ang="0">
                <a:pos x="connsiteX56064" y="connsiteY56064"/>
              </a:cxn>
              <a:cxn ang="0">
                <a:pos x="connsiteX56065" y="connsiteY56065"/>
              </a:cxn>
              <a:cxn ang="0">
                <a:pos x="connsiteX56066" y="connsiteY56066"/>
              </a:cxn>
              <a:cxn ang="0">
                <a:pos x="connsiteX56067" y="connsiteY56067"/>
              </a:cxn>
              <a:cxn ang="0">
                <a:pos x="connsiteX56068" y="connsiteY56068"/>
              </a:cxn>
              <a:cxn ang="0">
                <a:pos x="connsiteX56069" y="connsiteY56069"/>
              </a:cxn>
              <a:cxn ang="0">
                <a:pos x="connsiteX56070" y="connsiteY56070"/>
              </a:cxn>
              <a:cxn ang="0">
                <a:pos x="connsiteX56071" y="connsiteY56071"/>
              </a:cxn>
              <a:cxn ang="0">
                <a:pos x="connsiteX56072" y="connsiteY56072"/>
              </a:cxn>
              <a:cxn ang="0">
                <a:pos x="connsiteX56073" y="connsiteY56073"/>
              </a:cxn>
              <a:cxn ang="0">
                <a:pos x="connsiteX56074" y="connsiteY56074"/>
              </a:cxn>
              <a:cxn ang="0">
                <a:pos x="connsiteX56075" y="connsiteY56075"/>
              </a:cxn>
              <a:cxn ang="0">
                <a:pos x="connsiteX56076" y="connsiteY56076"/>
              </a:cxn>
              <a:cxn ang="0">
                <a:pos x="connsiteX56077" y="connsiteY56077"/>
              </a:cxn>
              <a:cxn ang="0">
                <a:pos x="connsiteX56078" y="connsiteY56078"/>
              </a:cxn>
              <a:cxn ang="0">
                <a:pos x="connsiteX56079" y="connsiteY56079"/>
              </a:cxn>
              <a:cxn ang="0">
                <a:pos x="connsiteX56080" y="connsiteY56080"/>
              </a:cxn>
              <a:cxn ang="0">
                <a:pos x="connsiteX56081" y="connsiteY56081"/>
              </a:cxn>
              <a:cxn ang="0">
                <a:pos x="connsiteX56082" y="connsiteY56082"/>
              </a:cxn>
              <a:cxn ang="0">
                <a:pos x="connsiteX56083" y="connsiteY56083"/>
              </a:cxn>
              <a:cxn ang="0">
                <a:pos x="connsiteX56084" y="connsiteY56084"/>
              </a:cxn>
              <a:cxn ang="0">
                <a:pos x="connsiteX56085" y="connsiteY56085"/>
              </a:cxn>
              <a:cxn ang="0">
                <a:pos x="connsiteX56086" y="connsiteY56086"/>
              </a:cxn>
              <a:cxn ang="0">
                <a:pos x="connsiteX56087" y="connsiteY56087"/>
              </a:cxn>
              <a:cxn ang="0">
                <a:pos x="connsiteX56088" y="connsiteY56088"/>
              </a:cxn>
              <a:cxn ang="0">
                <a:pos x="connsiteX56089" y="connsiteY56089"/>
              </a:cxn>
              <a:cxn ang="0">
                <a:pos x="connsiteX56090" y="connsiteY56090"/>
              </a:cxn>
              <a:cxn ang="0">
                <a:pos x="connsiteX56091" y="connsiteY56091"/>
              </a:cxn>
              <a:cxn ang="0">
                <a:pos x="connsiteX56092" y="connsiteY56092"/>
              </a:cxn>
              <a:cxn ang="0">
                <a:pos x="connsiteX56093" y="connsiteY56093"/>
              </a:cxn>
              <a:cxn ang="0">
                <a:pos x="connsiteX56094" y="connsiteY56094"/>
              </a:cxn>
              <a:cxn ang="0">
                <a:pos x="connsiteX56095" y="connsiteY56095"/>
              </a:cxn>
              <a:cxn ang="0">
                <a:pos x="connsiteX56096" y="connsiteY56096"/>
              </a:cxn>
              <a:cxn ang="0">
                <a:pos x="connsiteX56097" y="connsiteY56097"/>
              </a:cxn>
              <a:cxn ang="0">
                <a:pos x="connsiteX56098" y="connsiteY56098"/>
              </a:cxn>
              <a:cxn ang="0">
                <a:pos x="connsiteX56099" y="connsiteY56099"/>
              </a:cxn>
              <a:cxn ang="0">
                <a:pos x="connsiteX56100" y="connsiteY56100"/>
              </a:cxn>
              <a:cxn ang="0">
                <a:pos x="connsiteX56101" y="connsiteY56101"/>
              </a:cxn>
              <a:cxn ang="0">
                <a:pos x="connsiteX56102" y="connsiteY56102"/>
              </a:cxn>
              <a:cxn ang="0">
                <a:pos x="connsiteX56103" y="connsiteY56103"/>
              </a:cxn>
              <a:cxn ang="0">
                <a:pos x="connsiteX56104" y="connsiteY56104"/>
              </a:cxn>
              <a:cxn ang="0">
                <a:pos x="connsiteX56105" y="connsiteY56105"/>
              </a:cxn>
              <a:cxn ang="0">
                <a:pos x="connsiteX56106" y="connsiteY56106"/>
              </a:cxn>
              <a:cxn ang="0">
                <a:pos x="connsiteX56107" y="connsiteY56107"/>
              </a:cxn>
              <a:cxn ang="0">
                <a:pos x="connsiteX56108" y="connsiteY56108"/>
              </a:cxn>
              <a:cxn ang="0">
                <a:pos x="connsiteX56109" y="connsiteY56109"/>
              </a:cxn>
              <a:cxn ang="0">
                <a:pos x="connsiteX56110" y="connsiteY56110"/>
              </a:cxn>
              <a:cxn ang="0">
                <a:pos x="connsiteX56111" y="connsiteY56111"/>
              </a:cxn>
              <a:cxn ang="0">
                <a:pos x="connsiteX56112" y="connsiteY56112"/>
              </a:cxn>
              <a:cxn ang="0">
                <a:pos x="connsiteX56113" y="connsiteY56113"/>
              </a:cxn>
              <a:cxn ang="0">
                <a:pos x="connsiteX56114" y="connsiteY56114"/>
              </a:cxn>
              <a:cxn ang="0">
                <a:pos x="connsiteX56115" y="connsiteY56115"/>
              </a:cxn>
              <a:cxn ang="0">
                <a:pos x="connsiteX56116" y="connsiteY56116"/>
              </a:cxn>
              <a:cxn ang="0">
                <a:pos x="connsiteX56117" y="connsiteY56117"/>
              </a:cxn>
              <a:cxn ang="0">
                <a:pos x="connsiteX56118" y="connsiteY56118"/>
              </a:cxn>
              <a:cxn ang="0">
                <a:pos x="connsiteX56119" y="connsiteY56119"/>
              </a:cxn>
              <a:cxn ang="0">
                <a:pos x="connsiteX56120" y="connsiteY56120"/>
              </a:cxn>
              <a:cxn ang="0">
                <a:pos x="connsiteX56121" y="connsiteY56121"/>
              </a:cxn>
              <a:cxn ang="0">
                <a:pos x="connsiteX56122" y="connsiteY56122"/>
              </a:cxn>
              <a:cxn ang="0">
                <a:pos x="connsiteX56123" y="connsiteY56123"/>
              </a:cxn>
              <a:cxn ang="0">
                <a:pos x="connsiteX56124" y="connsiteY56124"/>
              </a:cxn>
              <a:cxn ang="0">
                <a:pos x="connsiteX56125" y="connsiteY56125"/>
              </a:cxn>
              <a:cxn ang="0">
                <a:pos x="connsiteX56126" y="connsiteY56126"/>
              </a:cxn>
              <a:cxn ang="0">
                <a:pos x="connsiteX56127" y="connsiteY56127"/>
              </a:cxn>
              <a:cxn ang="0">
                <a:pos x="connsiteX56128" y="connsiteY56128"/>
              </a:cxn>
              <a:cxn ang="0">
                <a:pos x="connsiteX56129" y="connsiteY56129"/>
              </a:cxn>
              <a:cxn ang="0">
                <a:pos x="connsiteX56130" y="connsiteY56130"/>
              </a:cxn>
              <a:cxn ang="0">
                <a:pos x="connsiteX56131" y="connsiteY56131"/>
              </a:cxn>
              <a:cxn ang="0">
                <a:pos x="connsiteX56132" y="connsiteY56132"/>
              </a:cxn>
              <a:cxn ang="0">
                <a:pos x="connsiteX56133" y="connsiteY56133"/>
              </a:cxn>
              <a:cxn ang="0">
                <a:pos x="connsiteX56134" y="connsiteY56134"/>
              </a:cxn>
              <a:cxn ang="0">
                <a:pos x="connsiteX56135" y="connsiteY56135"/>
              </a:cxn>
              <a:cxn ang="0">
                <a:pos x="connsiteX56136" y="connsiteY56136"/>
              </a:cxn>
              <a:cxn ang="0">
                <a:pos x="connsiteX56137" y="connsiteY56137"/>
              </a:cxn>
              <a:cxn ang="0">
                <a:pos x="connsiteX56138" y="connsiteY56138"/>
              </a:cxn>
              <a:cxn ang="0">
                <a:pos x="connsiteX56139" y="connsiteY56139"/>
              </a:cxn>
              <a:cxn ang="0">
                <a:pos x="connsiteX56140" y="connsiteY56140"/>
              </a:cxn>
              <a:cxn ang="0">
                <a:pos x="connsiteX56141" y="connsiteY56141"/>
              </a:cxn>
              <a:cxn ang="0">
                <a:pos x="connsiteX56142" y="connsiteY56142"/>
              </a:cxn>
              <a:cxn ang="0">
                <a:pos x="connsiteX56143" y="connsiteY56143"/>
              </a:cxn>
              <a:cxn ang="0">
                <a:pos x="connsiteX56144" y="connsiteY56144"/>
              </a:cxn>
              <a:cxn ang="0">
                <a:pos x="connsiteX56145" y="connsiteY56145"/>
              </a:cxn>
              <a:cxn ang="0">
                <a:pos x="connsiteX56146" y="connsiteY56146"/>
              </a:cxn>
              <a:cxn ang="0">
                <a:pos x="connsiteX56147" y="connsiteY56147"/>
              </a:cxn>
              <a:cxn ang="0">
                <a:pos x="connsiteX56148" y="connsiteY56148"/>
              </a:cxn>
              <a:cxn ang="0">
                <a:pos x="connsiteX56149" y="connsiteY56149"/>
              </a:cxn>
              <a:cxn ang="0">
                <a:pos x="connsiteX56150" y="connsiteY56150"/>
              </a:cxn>
              <a:cxn ang="0">
                <a:pos x="connsiteX56151" y="connsiteY56151"/>
              </a:cxn>
              <a:cxn ang="0">
                <a:pos x="connsiteX56152" y="connsiteY56152"/>
              </a:cxn>
              <a:cxn ang="0">
                <a:pos x="connsiteX56153" y="connsiteY56153"/>
              </a:cxn>
              <a:cxn ang="0">
                <a:pos x="connsiteX56154" y="connsiteY56154"/>
              </a:cxn>
              <a:cxn ang="0">
                <a:pos x="connsiteX56155" y="connsiteY56155"/>
              </a:cxn>
              <a:cxn ang="0">
                <a:pos x="connsiteX56156" y="connsiteY56156"/>
              </a:cxn>
              <a:cxn ang="0">
                <a:pos x="connsiteX56157" y="connsiteY56157"/>
              </a:cxn>
              <a:cxn ang="0">
                <a:pos x="connsiteX56158" y="connsiteY56158"/>
              </a:cxn>
              <a:cxn ang="0">
                <a:pos x="connsiteX56159" y="connsiteY56159"/>
              </a:cxn>
              <a:cxn ang="0">
                <a:pos x="connsiteX56160" y="connsiteY56160"/>
              </a:cxn>
              <a:cxn ang="0">
                <a:pos x="connsiteX56161" y="connsiteY56161"/>
              </a:cxn>
              <a:cxn ang="0">
                <a:pos x="connsiteX56162" y="connsiteY56162"/>
              </a:cxn>
              <a:cxn ang="0">
                <a:pos x="connsiteX56163" y="connsiteY56163"/>
              </a:cxn>
              <a:cxn ang="0">
                <a:pos x="connsiteX56164" y="connsiteY56164"/>
              </a:cxn>
              <a:cxn ang="0">
                <a:pos x="connsiteX56165" y="connsiteY56165"/>
              </a:cxn>
              <a:cxn ang="0">
                <a:pos x="connsiteX56166" y="connsiteY56166"/>
              </a:cxn>
              <a:cxn ang="0">
                <a:pos x="connsiteX56167" y="connsiteY56167"/>
              </a:cxn>
              <a:cxn ang="0">
                <a:pos x="connsiteX56168" y="connsiteY56168"/>
              </a:cxn>
              <a:cxn ang="0">
                <a:pos x="connsiteX56169" y="connsiteY56169"/>
              </a:cxn>
              <a:cxn ang="0">
                <a:pos x="connsiteX56170" y="connsiteY56170"/>
              </a:cxn>
              <a:cxn ang="0">
                <a:pos x="connsiteX56171" y="connsiteY56171"/>
              </a:cxn>
              <a:cxn ang="0">
                <a:pos x="connsiteX56172" y="connsiteY56172"/>
              </a:cxn>
              <a:cxn ang="0">
                <a:pos x="connsiteX56173" y="connsiteY56173"/>
              </a:cxn>
              <a:cxn ang="0">
                <a:pos x="connsiteX56174" y="connsiteY56174"/>
              </a:cxn>
              <a:cxn ang="0">
                <a:pos x="connsiteX56175" y="connsiteY56175"/>
              </a:cxn>
              <a:cxn ang="0">
                <a:pos x="connsiteX56176" y="connsiteY56176"/>
              </a:cxn>
              <a:cxn ang="0">
                <a:pos x="connsiteX56177" y="connsiteY56177"/>
              </a:cxn>
              <a:cxn ang="0">
                <a:pos x="connsiteX56178" y="connsiteY56178"/>
              </a:cxn>
              <a:cxn ang="0">
                <a:pos x="connsiteX56179" y="connsiteY56179"/>
              </a:cxn>
              <a:cxn ang="0">
                <a:pos x="connsiteX56180" y="connsiteY56180"/>
              </a:cxn>
              <a:cxn ang="0">
                <a:pos x="connsiteX56181" y="connsiteY56181"/>
              </a:cxn>
              <a:cxn ang="0">
                <a:pos x="connsiteX56182" y="connsiteY56182"/>
              </a:cxn>
              <a:cxn ang="0">
                <a:pos x="connsiteX56183" y="connsiteY56183"/>
              </a:cxn>
              <a:cxn ang="0">
                <a:pos x="connsiteX56184" y="connsiteY56184"/>
              </a:cxn>
              <a:cxn ang="0">
                <a:pos x="connsiteX56185" y="connsiteY56185"/>
              </a:cxn>
              <a:cxn ang="0">
                <a:pos x="connsiteX56186" y="connsiteY56186"/>
              </a:cxn>
              <a:cxn ang="0">
                <a:pos x="connsiteX56187" y="connsiteY56187"/>
              </a:cxn>
              <a:cxn ang="0">
                <a:pos x="connsiteX56188" y="connsiteY56188"/>
              </a:cxn>
              <a:cxn ang="0">
                <a:pos x="connsiteX56189" y="connsiteY56189"/>
              </a:cxn>
              <a:cxn ang="0">
                <a:pos x="connsiteX56190" y="connsiteY56190"/>
              </a:cxn>
              <a:cxn ang="0">
                <a:pos x="connsiteX56191" y="connsiteY56191"/>
              </a:cxn>
              <a:cxn ang="0">
                <a:pos x="connsiteX56192" y="connsiteY56192"/>
              </a:cxn>
              <a:cxn ang="0">
                <a:pos x="connsiteX56193" y="connsiteY56193"/>
              </a:cxn>
              <a:cxn ang="0">
                <a:pos x="connsiteX56194" y="connsiteY56194"/>
              </a:cxn>
              <a:cxn ang="0">
                <a:pos x="connsiteX56195" y="connsiteY56195"/>
              </a:cxn>
              <a:cxn ang="0">
                <a:pos x="connsiteX56196" y="connsiteY56196"/>
              </a:cxn>
              <a:cxn ang="0">
                <a:pos x="connsiteX56197" y="connsiteY56197"/>
              </a:cxn>
              <a:cxn ang="0">
                <a:pos x="connsiteX56198" y="connsiteY56198"/>
              </a:cxn>
              <a:cxn ang="0">
                <a:pos x="connsiteX56199" y="connsiteY56199"/>
              </a:cxn>
              <a:cxn ang="0">
                <a:pos x="connsiteX56200" y="connsiteY56200"/>
              </a:cxn>
              <a:cxn ang="0">
                <a:pos x="connsiteX56201" y="connsiteY56201"/>
              </a:cxn>
              <a:cxn ang="0">
                <a:pos x="connsiteX56202" y="connsiteY56202"/>
              </a:cxn>
              <a:cxn ang="0">
                <a:pos x="connsiteX56203" y="connsiteY56203"/>
              </a:cxn>
              <a:cxn ang="0">
                <a:pos x="connsiteX56204" y="connsiteY56204"/>
              </a:cxn>
              <a:cxn ang="0">
                <a:pos x="connsiteX56205" y="connsiteY56205"/>
              </a:cxn>
              <a:cxn ang="0">
                <a:pos x="connsiteX56206" y="connsiteY56206"/>
              </a:cxn>
              <a:cxn ang="0">
                <a:pos x="connsiteX56207" y="connsiteY56207"/>
              </a:cxn>
              <a:cxn ang="0">
                <a:pos x="connsiteX56208" y="connsiteY56208"/>
              </a:cxn>
              <a:cxn ang="0">
                <a:pos x="connsiteX56209" y="connsiteY56209"/>
              </a:cxn>
              <a:cxn ang="0">
                <a:pos x="connsiteX56210" y="connsiteY56210"/>
              </a:cxn>
              <a:cxn ang="0">
                <a:pos x="connsiteX56211" y="connsiteY56211"/>
              </a:cxn>
              <a:cxn ang="0">
                <a:pos x="connsiteX56212" y="connsiteY56212"/>
              </a:cxn>
              <a:cxn ang="0">
                <a:pos x="connsiteX56213" y="connsiteY56213"/>
              </a:cxn>
              <a:cxn ang="0">
                <a:pos x="connsiteX56214" y="connsiteY56214"/>
              </a:cxn>
              <a:cxn ang="0">
                <a:pos x="connsiteX56215" y="connsiteY56215"/>
              </a:cxn>
              <a:cxn ang="0">
                <a:pos x="connsiteX56216" y="connsiteY56216"/>
              </a:cxn>
              <a:cxn ang="0">
                <a:pos x="connsiteX56217" y="connsiteY56217"/>
              </a:cxn>
              <a:cxn ang="0">
                <a:pos x="connsiteX56218" y="connsiteY56218"/>
              </a:cxn>
              <a:cxn ang="0">
                <a:pos x="connsiteX56219" y="connsiteY56219"/>
              </a:cxn>
              <a:cxn ang="0">
                <a:pos x="connsiteX56220" y="connsiteY56220"/>
              </a:cxn>
              <a:cxn ang="0">
                <a:pos x="connsiteX56221" y="connsiteY56221"/>
              </a:cxn>
              <a:cxn ang="0">
                <a:pos x="connsiteX56222" y="connsiteY56222"/>
              </a:cxn>
              <a:cxn ang="0">
                <a:pos x="connsiteX56223" y="connsiteY56223"/>
              </a:cxn>
              <a:cxn ang="0">
                <a:pos x="connsiteX56224" y="connsiteY56224"/>
              </a:cxn>
              <a:cxn ang="0">
                <a:pos x="connsiteX56225" y="connsiteY56225"/>
              </a:cxn>
              <a:cxn ang="0">
                <a:pos x="connsiteX56226" y="connsiteY56226"/>
              </a:cxn>
              <a:cxn ang="0">
                <a:pos x="connsiteX56227" y="connsiteY56227"/>
              </a:cxn>
              <a:cxn ang="0">
                <a:pos x="connsiteX56228" y="connsiteY56228"/>
              </a:cxn>
              <a:cxn ang="0">
                <a:pos x="connsiteX56229" y="connsiteY56229"/>
              </a:cxn>
              <a:cxn ang="0">
                <a:pos x="connsiteX56230" y="connsiteY56230"/>
              </a:cxn>
              <a:cxn ang="0">
                <a:pos x="connsiteX56231" y="connsiteY56231"/>
              </a:cxn>
              <a:cxn ang="0">
                <a:pos x="connsiteX56232" y="connsiteY56232"/>
              </a:cxn>
              <a:cxn ang="0">
                <a:pos x="connsiteX56233" y="connsiteY56233"/>
              </a:cxn>
              <a:cxn ang="0">
                <a:pos x="connsiteX56234" y="connsiteY56234"/>
              </a:cxn>
              <a:cxn ang="0">
                <a:pos x="connsiteX56235" y="connsiteY56235"/>
              </a:cxn>
              <a:cxn ang="0">
                <a:pos x="connsiteX56236" y="connsiteY56236"/>
              </a:cxn>
              <a:cxn ang="0">
                <a:pos x="connsiteX56237" y="connsiteY56237"/>
              </a:cxn>
              <a:cxn ang="0">
                <a:pos x="connsiteX56238" y="connsiteY56238"/>
              </a:cxn>
              <a:cxn ang="0">
                <a:pos x="connsiteX56239" y="connsiteY56239"/>
              </a:cxn>
              <a:cxn ang="0">
                <a:pos x="connsiteX56240" y="connsiteY56240"/>
              </a:cxn>
              <a:cxn ang="0">
                <a:pos x="connsiteX56241" y="connsiteY56241"/>
              </a:cxn>
              <a:cxn ang="0">
                <a:pos x="connsiteX56242" y="connsiteY56242"/>
              </a:cxn>
              <a:cxn ang="0">
                <a:pos x="connsiteX56243" y="connsiteY56243"/>
              </a:cxn>
              <a:cxn ang="0">
                <a:pos x="connsiteX56244" y="connsiteY56244"/>
              </a:cxn>
              <a:cxn ang="0">
                <a:pos x="connsiteX56245" y="connsiteY56245"/>
              </a:cxn>
              <a:cxn ang="0">
                <a:pos x="connsiteX56246" y="connsiteY56246"/>
              </a:cxn>
              <a:cxn ang="0">
                <a:pos x="connsiteX56247" y="connsiteY56247"/>
              </a:cxn>
              <a:cxn ang="0">
                <a:pos x="connsiteX56248" y="connsiteY56248"/>
              </a:cxn>
              <a:cxn ang="0">
                <a:pos x="connsiteX56249" y="connsiteY56249"/>
              </a:cxn>
              <a:cxn ang="0">
                <a:pos x="connsiteX56250" y="connsiteY56250"/>
              </a:cxn>
              <a:cxn ang="0">
                <a:pos x="connsiteX56251" y="connsiteY56251"/>
              </a:cxn>
              <a:cxn ang="0">
                <a:pos x="connsiteX56252" y="connsiteY56252"/>
              </a:cxn>
              <a:cxn ang="0">
                <a:pos x="connsiteX56253" y="connsiteY56253"/>
              </a:cxn>
              <a:cxn ang="0">
                <a:pos x="connsiteX56254" y="connsiteY56254"/>
              </a:cxn>
              <a:cxn ang="0">
                <a:pos x="connsiteX56255" y="connsiteY56255"/>
              </a:cxn>
              <a:cxn ang="0">
                <a:pos x="connsiteX56256" y="connsiteY56256"/>
              </a:cxn>
              <a:cxn ang="0">
                <a:pos x="connsiteX56257" y="connsiteY56257"/>
              </a:cxn>
              <a:cxn ang="0">
                <a:pos x="connsiteX56258" y="connsiteY56258"/>
              </a:cxn>
              <a:cxn ang="0">
                <a:pos x="connsiteX56259" y="connsiteY56259"/>
              </a:cxn>
              <a:cxn ang="0">
                <a:pos x="connsiteX56260" y="connsiteY56260"/>
              </a:cxn>
              <a:cxn ang="0">
                <a:pos x="connsiteX56261" y="connsiteY56261"/>
              </a:cxn>
              <a:cxn ang="0">
                <a:pos x="connsiteX56262" y="connsiteY56262"/>
              </a:cxn>
              <a:cxn ang="0">
                <a:pos x="connsiteX56263" y="connsiteY56263"/>
              </a:cxn>
              <a:cxn ang="0">
                <a:pos x="connsiteX56264" y="connsiteY56264"/>
              </a:cxn>
              <a:cxn ang="0">
                <a:pos x="connsiteX56265" y="connsiteY56265"/>
              </a:cxn>
              <a:cxn ang="0">
                <a:pos x="connsiteX56266" y="connsiteY56266"/>
              </a:cxn>
              <a:cxn ang="0">
                <a:pos x="connsiteX56267" y="connsiteY56267"/>
              </a:cxn>
              <a:cxn ang="0">
                <a:pos x="connsiteX56268" y="connsiteY56268"/>
              </a:cxn>
              <a:cxn ang="0">
                <a:pos x="connsiteX56269" y="connsiteY56269"/>
              </a:cxn>
              <a:cxn ang="0">
                <a:pos x="connsiteX56270" y="connsiteY56270"/>
              </a:cxn>
              <a:cxn ang="0">
                <a:pos x="connsiteX56271" y="connsiteY56271"/>
              </a:cxn>
              <a:cxn ang="0">
                <a:pos x="connsiteX56272" y="connsiteY56272"/>
              </a:cxn>
              <a:cxn ang="0">
                <a:pos x="connsiteX56273" y="connsiteY56273"/>
              </a:cxn>
              <a:cxn ang="0">
                <a:pos x="connsiteX56274" y="connsiteY56274"/>
              </a:cxn>
              <a:cxn ang="0">
                <a:pos x="connsiteX56275" y="connsiteY56275"/>
              </a:cxn>
              <a:cxn ang="0">
                <a:pos x="connsiteX56276" y="connsiteY56276"/>
              </a:cxn>
              <a:cxn ang="0">
                <a:pos x="connsiteX56277" y="connsiteY56277"/>
              </a:cxn>
              <a:cxn ang="0">
                <a:pos x="connsiteX56278" y="connsiteY56278"/>
              </a:cxn>
              <a:cxn ang="0">
                <a:pos x="connsiteX56279" y="connsiteY56279"/>
              </a:cxn>
              <a:cxn ang="0">
                <a:pos x="connsiteX56280" y="connsiteY56280"/>
              </a:cxn>
              <a:cxn ang="0">
                <a:pos x="connsiteX56281" y="connsiteY56281"/>
              </a:cxn>
              <a:cxn ang="0">
                <a:pos x="connsiteX56282" y="connsiteY56282"/>
              </a:cxn>
              <a:cxn ang="0">
                <a:pos x="connsiteX56283" y="connsiteY56283"/>
              </a:cxn>
              <a:cxn ang="0">
                <a:pos x="connsiteX56284" y="connsiteY56284"/>
              </a:cxn>
              <a:cxn ang="0">
                <a:pos x="connsiteX56285" y="connsiteY56285"/>
              </a:cxn>
              <a:cxn ang="0">
                <a:pos x="connsiteX56286" y="connsiteY56286"/>
              </a:cxn>
              <a:cxn ang="0">
                <a:pos x="connsiteX56287" y="connsiteY56287"/>
              </a:cxn>
              <a:cxn ang="0">
                <a:pos x="connsiteX56288" y="connsiteY56288"/>
              </a:cxn>
              <a:cxn ang="0">
                <a:pos x="connsiteX56289" y="connsiteY56289"/>
              </a:cxn>
              <a:cxn ang="0">
                <a:pos x="connsiteX56290" y="connsiteY56290"/>
              </a:cxn>
              <a:cxn ang="0">
                <a:pos x="connsiteX56291" y="connsiteY56291"/>
              </a:cxn>
              <a:cxn ang="0">
                <a:pos x="connsiteX56292" y="connsiteY56292"/>
              </a:cxn>
              <a:cxn ang="0">
                <a:pos x="connsiteX56293" y="connsiteY56293"/>
              </a:cxn>
              <a:cxn ang="0">
                <a:pos x="connsiteX56294" y="connsiteY56294"/>
              </a:cxn>
              <a:cxn ang="0">
                <a:pos x="connsiteX56295" y="connsiteY56295"/>
              </a:cxn>
              <a:cxn ang="0">
                <a:pos x="connsiteX56296" y="connsiteY56296"/>
              </a:cxn>
              <a:cxn ang="0">
                <a:pos x="connsiteX56297" y="connsiteY56297"/>
              </a:cxn>
              <a:cxn ang="0">
                <a:pos x="connsiteX56298" y="connsiteY56298"/>
              </a:cxn>
              <a:cxn ang="0">
                <a:pos x="connsiteX56299" y="connsiteY56299"/>
              </a:cxn>
              <a:cxn ang="0">
                <a:pos x="connsiteX56300" y="connsiteY56300"/>
              </a:cxn>
              <a:cxn ang="0">
                <a:pos x="connsiteX56301" y="connsiteY56301"/>
              </a:cxn>
              <a:cxn ang="0">
                <a:pos x="connsiteX56302" y="connsiteY56302"/>
              </a:cxn>
              <a:cxn ang="0">
                <a:pos x="connsiteX56303" y="connsiteY56303"/>
              </a:cxn>
              <a:cxn ang="0">
                <a:pos x="connsiteX56304" y="connsiteY56304"/>
              </a:cxn>
              <a:cxn ang="0">
                <a:pos x="connsiteX56305" y="connsiteY56305"/>
              </a:cxn>
              <a:cxn ang="0">
                <a:pos x="connsiteX56306" y="connsiteY56306"/>
              </a:cxn>
              <a:cxn ang="0">
                <a:pos x="connsiteX56307" y="connsiteY56307"/>
              </a:cxn>
              <a:cxn ang="0">
                <a:pos x="connsiteX56308" y="connsiteY56308"/>
              </a:cxn>
              <a:cxn ang="0">
                <a:pos x="connsiteX56309" y="connsiteY56309"/>
              </a:cxn>
              <a:cxn ang="0">
                <a:pos x="connsiteX56310" y="connsiteY56310"/>
              </a:cxn>
              <a:cxn ang="0">
                <a:pos x="connsiteX56311" y="connsiteY56311"/>
              </a:cxn>
              <a:cxn ang="0">
                <a:pos x="connsiteX56312" y="connsiteY56312"/>
              </a:cxn>
              <a:cxn ang="0">
                <a:pos x="connsiteX56313" y="connsiteY56313"/>
              </a:cxn>
              <a:cxn ang="0">
                <a:pos x="connsiteX56314" y="connsiteY56314"/>
              </a:cxn>
              <a:cxn ang="0">
                <a:pos x="connsiteX56315" y="connsiteY56315"/>
              </a:cxn>
              <a:cxn ang="0">
                <a:pos x="connsiteX56316" y="connsiteY56316"/>
              </a:cxn>
              <a:cxn ang="0">
                <a:pos x="connsiteX56317" y="connsiteY56317"/>
              </a:cxn>
              <a:cxn ang="0">
                <a:pos x="connsiteX56318" y="connsiteY56318"/>
              </a:cxn>
              <a:cxn ang="0">
                <a:pos x="connsiteX56319" y="connsiteY56319"/>
              </a:cxn>
              <a:cxn ang="0">
                <a:pos x="connsiteX56320" y="connsiteY56320"/>
              </a:cxn>
              <a:cxn ang="0">
                <a:pos x="connsiteX56321" y="connsiteY56321"/>
              </a:cxn>
              <a:cxn ang="0">
                <a:pos x="connsiteX56322" y="connsiteY56322"/>
              </a:cxn>
              <a:cxn ang="0">
                <a:pos x="connsiteX56323" y="connsiteY56323"/>
              </a:cxn>
              <a:cxn ang="0">
                <a:pos x="connsiteX56324" y="connsiteY56324"/>
              </a:cxn>
              <a:cxn ang="0">
                <a:pos x="connsiteX56325" y="connsiteY56325"/>
              </a:cxn>
              <a:cxn ang="0">
                <a:pos x="connsiteX56326" y="connsiteY56326"/>
              </a:cxn>
              <a:cxn ang="0">
                <a:pos x="connsiteX56327" y="connsiteY56327"/>
              </a:cxn>
              <a:cxn ang="0">
                <a:pos x="connsiteX56328" y="connsiteY56328"/>
              </a:cxn>
              <a:cxn ang="0">
                <a:pos x="connsiteX56329" y="connsiteY56329"/>
              </a:cxn>
              <a:cxn ang="0">
                <a:pos x="connsiteX56330" y="connsiteY56330"/>
              </a:cxn>
              <a:cxn ang="0">
                <a:pos x="connsiteX56331" y="connsiteY56331"/>
              </a:cxn>
              <a:cxn ang="0">
                <a:pos x="connsiteX56332" y="connsiteY56332"/>
              </a:cxn>
              <a:cxn ang="0">
                <a:pos x="connsiteX56333" y="connsiteY56333"/>
              </a:cxn>
              <a:cxn ang="0">
                <a:pos x="connsiteX56334" y="connsiteY56334"/>
              </a:cxn>
              <a:cxn ang="0">
                <a:pos x="connsiteX56335" y="connsiteY56335"/>
              </a:cxn>
              <a:cxn ang="0">
                <a:pos x="connsiteX56336" y="connsiteY56336"/>
              </a:cxn>
              <a:cxn ang="0">
                <a:pos x="connsiteX56337" y="connsiteY56337"/>
              </a:cxn>
              <a:cxn ang="0">
                <a:pos x="connsiteX56338" y="connsiteY56338"/>
              </a:cxn>
              <a:cxn ang="0">
                <a:pos x="connsiteX56339" y="connsiteY56339"/>
              </a:cxn>
              <a:cxn ang="0">
                <a:pos x="connsiteX56340" y="connsiteY56340"/>
              </a:cxn>
              <a:cxn ang="0">
                <a:pos x="connsiteX56341" y="connsiteY56341"/>
              </a:cxn>
              <a:cxn ang="0">
                <a:pos x="connsiteX56342" y="connsiteY56342"/>
              </a:cxn>
              <a:cxn ang="0">
                <a:pos x="connsiteX56343" y="connsiteY56343"/>
              </a:cxn>
              <a:cxn ang="0">
                <a:pos x="connsiteX56344" y="connsiteY56344"/>
              </a:cxn>
              <a:cxn ang="0">
                <a:pos x="connsiteX56345" y="connsiteY56345"/>
              </a:cxn>
              <a:cxn ang="0">
                <a:pos x="connsiteX56346" y="connsiteY56346"/>
              </a:cxn>
              <a:cxn ang="0">
                <a:pos x="connsiteX56347" y="connsiteY56347"/>
              </a:cxn>
              <a:cxn ang="0">
                <a:pos x="connsiteX56348" y="connsiteY56348"/>
              </a:cxn>
              <a:cxn ang="0">
                <a:pos x="connsiteX56349" y="connsiteY56349"/>
              </a:cxn>
              <a:cxn ang="0">
                <a:pos x="connsiteX56350" y="connsiteY56350"/>
              </a:cxn>
              <a:cxn ang="0">
                <a:pos x="connsiteX56351" y="connsiteY56351"/>
              </a:cxn>
              <a:cxn ang="0">
                <a:pos x="connsiteX56352" y="connsiteY56352"/>
              </a:cxn>
              <a:cxn ang="0">
                <a:pos x="connsiteX56353" y="connsiteY56353"/>
              </a:cxn>
              <a:cxn ang="0">
                <a:pos x="connsiteX56354" y="connsiteY56354"/>
              </a:cxn>
              <a:cxn ang="0">
                <a:pos x="connsiteX56355" y="connsiteY56355"/>
              </a:cxn>
              <a:cxn ang="0">
                <a:pos x="connsiteX56356" y="connsiteY56356"/>
              </a:cxn>
              <a:cxn ang="0">
                <a:pos x="connsiteX56357" y="connsiteY56357"/>
              </a:cxn>
              <a:cxn ang="0">
                <a:pos x="connsiteX56358" y="connsiteY56358"/>
              </a:cxn>
              <a:cxn ang="0">
                <a:pos x="connsiteX56359" y="connsiteY56359"/>
              </a:cxn>
              <a:cxn ang="0">
                <a:pos x="connsiteX56360" y="connsiteY56360"/>
              </a:cxn>
              <a:cxn ang="0">
                <a:pos x="connsiteX56361" y="connsiteY56361"/>
              </a:cxn>
              <a:cxn ang="0">
                <a:pos x="connsiteX56362" y="connsiteY56362"/>
              </a:cxn>
              <a:cxn ang="0">
                <a:pos x="connsiteX56363" y="connsiteY56363"/>
              </a:cxn>
              <a:cxn ang="0">
                <a:pos x="connsiteX56364" y="connsiteY56364"/>
              </a:cxn>
              <a:cxn ang="0">
                <a:pos x="connsiteX56365" y="connsiteY56365"/>
              </a:cxn>
              <a:cxn ang="0">
                <a:pos x="connsiteX56366" y="connsiteY56366"/>
              </a:cxn>
              <a:cxn ang="0">
                <a:pos x="connsiteX56367" y="connsiteY56367"/>
              </a:cxn>
              <a:cxn ang="0">
                <a:pos x="connsiteX56368" y="connsiteY56368"/>
              </a:cxn>
              <a:cxn ang="0">
                <a:pos x="connsiteX56369" y="connsiteY56369"/>
              </a:cxn>
              <a:cxn ang="0">
                <a:pos x="connsiteX56370" y="connsiteY56370"/>
              </a:cxn>
              <a:cxn ang="0">
                <a:pos x="connsiteX56371" y="connsiteY56371"/>
              </a:cxn>
              <a:cxn ang="0">
                <a:pos x="connsiteX56372" y="connsiteY56372"/>
              </a:cxn>
              <a:cxn ang="0">
                <a:pos x="connsiteX56373" y="connsiteY56373"/>
              </a:cxn>
              <a:cxn ang="0">
                <a:pos x="connsiteX56374" y="connsiteY56374"/>
              </a:cxn>
              <a:cxn ang="0">
                <a:pos x="connsiteX56375" y="connsiteY56375"/>
              </a:cxn>
              <a:cxn ang="0">
                <a:pos x="connsiteX56376" y="connsiteY56376"/>
              </a:cxn>
              <a:cxn ang="0">
                <a:pos x="connsiteX56377" y="connsiteY56377"/>
              </a:cxn>
              <a:cxn ang="0">
                <a:pos x="connsiteX56378" y="connsiteY56378"/>
              </a:cxn>
              <a:cxn ang="0">
                <a:pos x="connsiteX56379" y="connsiteY56379"/>
              </a:cxn>
              <a:cxn ang="0">
                <a:pos x="connsiteX56380" y="connsiteY56380"/>
              </a:cxn>
              <a:cxn ang="0">
                <a:pos x="connsiteX56381" y="connsiteY56381"/>
              </a:cxn>
              <a:cxn ang="0">
                <a:pos x="connsiteX56382" y="connsiteY56382"/>
              </a:cxn>
              <a:cxn ang="0">
                <a:pos x="connsiteX56383" y="connsiteY56383"/>
              </a:cxn>
              <a:cxn ang="0">
                <a:pos x="connsiteX56384" y="connsiteY56384"/>
              </a:cxn>
              <a:cxn ang="0">
                <a:pos x="connsiteX56385" y="connsiteY56385"/>
              </a:cxn>
              <a:cxn ang="0">
                <a:pos x="connsiteX56386" y="connsiteY56386"/>
              </a:cxn>
              <a:cxn ang="0">
                <a:pos x="connsiteX56387" y="connsiteY56387"/>
              </a:cxn>
              <a:cxn ang="0">
                <a:pos x="connsiteX56388" y="connsiteY56388"/>
              </a:cxn>
              <a:cxn ang="0">
                <a:pos x="connsiteX56389" y="connsiteY56389"/>
              </a:cxn>
              <a:cxn ang="0">
                <a:pos x="connsiteX56390" y="connsiteY56390"/>
              </a:cxn>
              <a:cxn ang="0">
                <a:pos x="connsiteX56391" y="connsiteY56391"/>
              </a:cxn>
              <a:cxn ang="0">
                <a:pos x="connsiteX56392" y="connsiteY56392"/>
              </a:cxn>
              <a:cxn ang="0">
                <a:pos x="connsiteX56393" y="connsiteY56393"/>
              </a:cxn>
              <a:cxn ang="0">
                <a:pos x="connsiteX56394" y="connsiteY56394"/>
              </a:cxn>
              <a:cxn ang="0">
                <a:pos x="connsiteX56395" y="connsiteY56395"/>
              </a:cxn>
              <a:cxn ang="0">
                <a:pos x="connsiteX56396" y="connsiteY56396"/>
              </a:cxn>
              <a:cxn ang="0">
                <a:pos x="connsiteX56397" y="connsiteY56397"/>
              </a:cxn>
              <a:cxn ang="0">
                <a:pos x="connsiteX56398" y="connsiteY56398"/>
              </a:cxn>
              <a:cxn ang="0">
                <a:pos x="connsiteX56399" y="connsiteY56399"/>
              </a:cxn>
              <a:cxn ang="0">
                <a:pos x="connsiteX56400" y="connsiteY56400"/>
              </a:cxn>
              <a:cxn ang="0">
                <a:pos x="connsiteX56401" y="connsiteY56401"/>
              </a:cxn>
              <a:cxn ang="0">
                <a:pos x="connsiteX56402" y="connsiteY56402"/>
              </a:cxn>
              <a:cxn ang="0">
                <a:pos x="connsiteX56403" y="connsiteY56403"/>
              </a:cxn>
              <a:cxn ang="0">
                <a:pos x="connsiteX56404" y="connsiteY56404"/>
              </a:cxn>
              <a:cxn ang="0">
                <a:pos x="connsiteX56405" y="connsiteY56405"/>
              </a:cxn>
              <a:cxn ang="0">
                <a:pos x="connsiteX56406" y="connsiteY56406"/>
              </a:cxn>
              <a:cxn ang="0">
                <a:pos x="connsiteX56407" y="connsiteY56407"/>
              </a:cxn>
              <a:cxn ang="0">
                <a:pos x="connsiteX56408" y="connsiteY56408"/>
              </a:cxn>
              <a:cxn ang="0">
                <a:pos x="connsiteX56409" y="connsiteY56409"/>
              </a:cxn>
              <a:cxn ang="0">
                <a:pos x="connsiteX56410" y="connsiteY56410"/>
              </a:cxn>
              <a:cxn ang="0">
                <a:pos x="connsiteX56411" y="connsiteY56411"/>
              </a:cxn>
              <a:cxn ang="0">
                <a:pos x="connsiteX56412" y="connsiteY56412"/>
              </a:cxn>
              <a:cxn ang="0">
                <a:pos x="connsiteX56413" y="connsiteY56413"/>
              </a:cxn>
              <a:cxn ang="0">
                <a:pos x="connsiteX56414" y="connsiteY56414"/>
              </a:cxn>
              <a:cxn ang="0">
                <a:pos x="connsiteX56415" y="connsiteY56415"/>
              </a:cxn>
              <a:cxn ang="0">
                <a:pos x="connsiteX56416" y="connsiteY56416"/>
              </a:cxn>
              <a:cxn ang="0">
                <a:pos x="connsiteX56417" y="connsiteY56417"/>
              </a:cxn>
              <a:cxn ang="0">
                <a:pos x="connsiteX56418" y="connsiteY56418"/>
              </a:cxn>
              <a:cxn ang="0">
                <a:pos x="connsiteX56419" y="connsiteY56419"/>
              </a:cxn>
              <a:cxn ang="0">
                <a:pos x="connsiteX56420" y="connsiteY56420"/>
              </a:cxn>
              <a:cxn ang="0">
                <a:pos x="connsiteX56421" y="connsiteY56421"/>
              </a:cxn>
              <a:cxn ang="0">
                <a:pos x="connsiteX56422" y="connsiteY56422"/>
              </a:cxn>
              <a:cxn ang="0">
                <a:pos x="connsiteX56423" y="connsiteY56423"/>
              </a:cxn>
              <a:cxn ang="0">
                <a:pos x="connsiteX56424" y="connsiteY56424"/>
              </a:cxn>
              <a:cxn ang="0">
                <a:pos x="connsiteX56425" y="connsiteY56425"/>
              </a:cxn>
              <a:cxn ang="0">
                <a:pos x="connsiteX56426" y="connsiteY56426"/>
              </a:cxn>
              <a:cxn ang="0">
                <a:pos x="connsiteX56427" y="connsiteY56427"/>
              </a:cxn>
              <a:cxn ang="0">
                <a:pos x="connsiteX56428" y="connsiteY56428"/>
              </a:cxn>
              <a:cxn ang="0">
                <a:pos x="connsiteX56429" y="connsiteY56429"/>
              </a:cxn>
              <a:cxn ang="0">
                <a:pos x="connsiteX56430" y="connsiteY56430"/>
              </a:cxn>
              <a:cxn ang="0">
                <a:pos x="connsiteX56431" y="connsiteY56431"/>
              </a:cxn>
              <a:cxn ang="0">
                <a:pos x="connsiteX56432" y="connsiteY56432"/>
              </a:cxn>
              <a:cxn ang="0">
                <a:pos x="connsiteX56433" y="connsiteY56433"/>
              </a:cxn>
              <a:cxn ang="0">
                <a:pos x="connsiteX56434" y="connsiteY56434"/>
              </a:cxn>
              <a:cxn ang="0">
                <a:pos x="connsiteX56435" y="connsiteY56435"/>
              </a:cxn>
              <a:cxn ang="0">
                <a:pos x="connsiteX56436" y="connsiteY56436"/>
              </a:cxn>
              <a:cxn ang="0">
                <a:pos x="connsiteX56437" y="connsiteY56437"/>
              </a:cxn>
              <a:cxn ang="0">
                <a:pos x="connsiteX56438" y="connsiteY56438"/>
              </a:cxn>
              <a:cxn ang="0">
                <a:pos x="connsiteX56439" y="connsiteY56439"/>
              </a:cxn>
              <a:cxn ang="0">
                <a:pos x="connsiteX56440" y="connsiteY56440"/>
              </a:cxn>
              <a:cxn ang="0">
                <a:pos x="connsiteX56441" y="connsiteY56441"/>
              </a:cxn>
              <a:cxn ang="0">
                <a:pos x="connsiteX56442" y="connsiteY56442"/>
              </a:cxn>
              <a:cxn ang="0">
                <a:pos x="connsiteX56443" y="connsiteY56443"/>
              </a:cxn>
              <a:cxn ang="0">
                <a:pos x="connsiteX56444" y="connsiteY56444"/>
              </a:cxn>
              <a:cxn ang="0">
                <a:pos x="connsiteX56445" y="connsiteY56445"/>
              </a:cxn>
              <a:cxn ang="0">
                <a:pos x="connsiteX56446" y="connsiteY56446"/>
              </a:cxn>
              <a:cxn ang="0">
                <a:pos x="connsiteX56447" y="connsiteY56447"/>
              </a:cxn>
              <a:cxn ang="0">
                <a:pos x="connsiteX56448" y="connsiteY56448"/>
              </a:cxn>
              <a:cxn ang="0">
                <a:pos x="connsiteX56449" y="connsiteY56449"/>
              </a:cxn>
              <a:cxn ang="0">
                <a:pos x="connsiteX56450" y="connsiteY56450"/>
              </a:cxn>
              <a:cxn ang="0">
                <a:pos x="connsiteX56451" y="connsiteY56451"/>
              </a:cxn>
              <a:cxn ang="0">
                <a:pos x="connsiteX56452" y="connsiteY56452"/>
              </a:cxn>
              <a:cxn ang="0">
                <a:pos x="connsiteX56453" y="connsiteY56453"/>
              </a:cxn>
              <a:cxn ang="0">
                <a:pos x="connsiteX56454" y="connsiteY56454"/>
              </a:cxn>
              <a:cxn ang="0">
                <a:pos x="connsiteX56455" y="connsiteY56455"/>
              </a:cxn>
              <a:cxn ang="0">
                <a:pos x="connsiteX56456" y="connsiteY56456"/>
              </a:cxn>
              <a:cxn ang="0">
                <a:pos x="connsiteX56457" y="connsiteY56457"/>
              </a:cxn>
              <a:cxn ang="0">
                <a:pos x="connsiteX56458" y="connsiteY56458"/>
              </a:cxn>
              <a:cxn ang="0">
                <a:pos x="connsiteX56459" y="connsiteY56459"/>
              </a:cxn>
              <a:cxn ang="0">
                <a:pos x="connsiteX56460" y="connsiteY56460"/>
              </a:cxn>
              <a:cxn ang="0">
                <a:pos x="connsiteX56461" y="connsiteY56461"/>
              </a:cxn>
              <a:cxn ang="0">
                <a:pos x="connsiteX56462" y="connsiteY56462"/>
              </a:cxn>
              <a:cxn ang="0">
                <a:pos x="connsiteX56463" y="connsiteY56463"/>
              </a:cxn>
              <a:cxn ang="0">
                <a:pos x="connsiteX56464" y="connsiteY56464"/>
              </a:cxn>
              <a:cxn ang="0">
                <a:pos x="connsiteX56465" y="connsiteY56465"/>
              </a:cxn>
              <a:cxn ang="0">
                <a:pos x="connsiteX56466" y="connsiteY56466"/>
              </a:cxn>
              <a:cxn ang="0">
                <a:pos x="connsiteX56467" y="connsiteY56467"/>
              </a:cxn>
              <a:cxn ang="0">
                <a:pos x="connsiteX56468" y="connsiteY56468"/>
              </a:cxn>
              <a:cxn ang="0">
                <a:pos x="connsiteX56469" y="connsiteY56469"/>
              </a:cxn>
              <a:cxn ang="0">
                <a:pos x="connsiteX56470" y="connsiteY56470"/>
              </a:cxn>
              <a:cxn ang="0">
                <a:pos x="connsiteX56471" y="connsiteY56471"/>
              </a:cxn>
              <a:cxn ang="0">
                <a:pos x="connsiteX56472" y="connsiteY56472"/>
              </a:cxn>
              <a:cxn ang="0">
                <a:pos x="connsiteX56473" y="connsiteY56473"/>
              </a:cxn>
              <a:cxn ang="0">
                <a:pos x="connsiteX56474" y="connsiteY56474"/>
              </a:cxn>
              <a:cxn ang="0">
                <a:pos x="connsiteX56475" y="connsiteY56475"/>
              </a:cxn>
              <a:cxn ang="0">
                <a:pos x="connsiteX56476" y="connsiteY56476"/>
              </a:cxn>
              <a:cxn ang="0">
                <a:pos x="connsiteX56477" y="connsiteY56477"/>
              </a:cxn>
              <a:cxn ang="0">
                <a:pos x="connsiteX56478" y="connsiteY56478"/>
              </a:cxn>
              <a:cxn ang="0">
                <a:pos x="connsiteX56479" y="connsiteY56479"/>
              </a:cxn>
              <a:cxn ang="0">
                <a:pos x="connsiteX56480" y="connsiteY56480"/>
              </a:cxn>
              <a:cxn ang="0">
                <a:pos x="connsiteX56481" y="connsiteY56481"/>
              </a:cxn>
              <a:cxn ang="0">
                <a:pos x="connsiteX56482" y="connsiteY56482"/>
              </a:cxn>
              <a:cxn ang="0">
                <a:pos x="connsiteX56483" y="connsiteY56483"/>
              </a:cxn>
              <a:cxn ang="0">
                <a:pos x="connsiteX56484" y="connsiteY56484"/>
              </a:cxn>
              <a:cxn ang="0">
                <a:pos x="connsiteX56485" y="connsiteY56485"/>
              </a:cxn>
              <a:cxn ang="0">
                <a:pos x="connsiteX56486" y="connsiteY56486"/>
              </a:cxn>
              <a:cxn ang="0">
                <a:pos x="connsiteX56487" y="connsiteY56487"/>
              </a:cxn>
              <a:cxn ang="0">
                <a:pos x="connsiteX56488" y="connsiteY56488"/>
              </a:cxn>
              <a:cxn ang="0">
                <a:pos x="connsiteX56489" y="connsiteY56489"/>
              </a:cxn>
              <a:cxn ang="0">
                <a:pos x="connsiteX56490" y="connsiteY56490"/>
              </a:cxn>
              <a:cxn ang="0">
                <a:pos x="connsiteX56491" y="connsiteY56491"/>
              </a:cxn>
              <a:cxn ang="0">
                <a:pos x="connsiteX56492" y="connsiteY56492"/>
              </a:cxn>
              <a:cxn ang="0">
                <a:pos x="connsiteX56493" y="connsiteY56493"/>
              </a:cxn>
              <a:cxn ang="0">
                <a:pos x="connsiteX56494" y="connsiteY56494"/>
              </a:cxn>
              <a:cxn ang="0">
                <a:pos x="connsiteX56495" y="connsiteY56495"/>
              </a:cxn>
              <a:cxn ang="0">
                <a:pos x="connsiteX56496" y="connsiteY56496"/>
              </a:cxn>
              <a:cxn ang="0">
                <a:pos x="connsiteX56497" y="connsiteY56497"/>
              </a:cxn>
              <a:cxn ang="0">
                <a:pos x="connsiteX56498" y="connsiteY56498"/>
              </a:cxn>
              <a:cxn ang="0">
                <a:pos x="connsiteX56499" y="connsiteY56499"/>
              </a:cxn>
              <a:cxn ang="0">
                <a:pos x="connsiteX56500" y="connsiteY56500"/>
              </a:cxn>
              <a:cxn ang="0">
                <a:pos x="connsiteX56501" y="connsiteY56501"/>
              </a:cxn>
              <a:cxn ang="0">
                <a:pos x="connsiteX56502" y="connsiteY56502"/>
              </a:cxn>
              <a:cxn ang="0">
                <a:pos x="connsiteX56503" y="connsiteY56503"/>
              </a:cxn>
              <a:cxn ang="0">
                <a:pos x="connsiteX56504" y="connsiteY56504"/>
              </a:cxn>
              <a:cxn ang="0">
                <a:pos x="connsiteX56505" y="connsiteY56505"/>
              </a:cxn>
              <a:cxn ang="0">
                <a:pos x="connsiteX56506" y="connsiteY56506"/>
              </a:cxn>
              <a:cxn ang="0">
                <a:pos x="connsiteX56507" y="connsiteY56507"/>
              </a:cxn>
              <a:cxn ang="0">
                <a:pos x="connsiteX56508" y="connsiteY56508"/>
              </a:cxn>
              <a:cxn ang="0">
                <a:pos x="connsiteX56509" y="connsiteY56509"/>
              </a:cxn>
              <a:cxn ang="0">
                <a:pos x="connsiteX56510" y="connsiteY56510"/>
              </a:cxn>
              <a:cxn ang="0">
                <a:pos x="connsiteX56511" y="connsiteY56511"/>
              </a:cxn>
              <a:cxn ang="0">
                <a:pos x="connsiteX56512" y="connsiteY56512"/>
              </a:cxn>
              <a:cxn ang="0">
                <a:pos x="connsiteX56513" y="connsiteY56513"/>
              </a:cxn>
              <a:cxn ang="0">
                <a:pos x="connsiteX56514" y="connsiteY56514"/>
              </a:cxn>
              <a:cxn ang="0">
                <a:pos x="connsiteX56515" y="connsiteY56515"/>
              </a:cxn>
              <a:cxn ang="0">
                <a:pos x="connsiteX56516" y="connsiteY56516"/>
              </a:cxn>
              <a:cxn ang="0">
                <a:pos x="connsiteX56517" y="connsiteY56517"/>
              </a:cxn>
              <a:cxn ang="0">
                <a:pos x="connsiteX56518" y="connsiteY56518"/>
              </a:cxn>
              <a:cxn ang="0">
                <a:pos x="connsiteX56519" y="connsiteY56519"/>
              </a:cxn>
              <a:cxn ang="0">
                <a:pos x="connsiteX56520" y="connsiteY56520"/>
              </a:cxn>
              <a:cxn ang="0">
                <a:pos x="connsiteX56521" y="connsiteY56521"/>
              </a:cxn>
              <a:cxn ang="0">
                <a:pos x="connsiteX56522" y="connsiteY56522"/>
              </a:cxn>
              <a:cxn ang="0">
                <a:pos x="connsiteX56523" y="connsiteY56523"/>
              </a:cxn>
              <a:cxn ang="0">
                <a:pos x="connsiteX56524" y="connsiteY56524"/>
              </a:cxn>
              <a:cxn ang="0">
                <a:pos x="connsiteX56525" y="connsiteY56525"/>
              </a:cxn>
              <a:cxn ang="0">
                <a:pos x="connsiteX56526" y="connsiteY56526"/>
              </a:cxn>
              <a:cxn ang="0">
                <a:pos x="connsiteX56527" y="connsiteY56527"/>
              </a:cxn>
              <a:cxn ang="0">
                <a:pos x="connsiteX56528" y="connsiteY56528"/>
              </a:cxn>
              <a:cxn ang="0">
                <a:pos x="connsiteX56529" y="connsiteY56529"/>
              </a:cxn>
              <a:cxn ang="0">
                <a:pos x="connsiteX56530" y="connsiteY56530"/>
              </a:cxn>
              <a:cxn ang="0">
                <a:pos x="connsiteX56531" y="connsiteY56531"/>
              </a:cxn>
              <a:cxn ang="0">
                <a:pos x="connsiteX56532" y="connsiteY56532"/>
              </a:cxn>
              <a:cxn ang="0">
                <a:pos x="connsiteX56533" y="connsiteY56533"/>
              </a:cxn>
              <a:cxn ang="0">
                <a:pos x="connsiteX56534" y="connsiteY56534"/>
              </a:cxn>
              <a:cxn ang="0">
                <a:pos x="connsiteX56535" y="connsiteY56535"/>
              </a:cxn>
              <a:cxn ang="0">
                <a:pos x="connsiteX56536" y="connsiteY56536"/>
              </a:cxn>
              <a:cxn ang="0">
                <a:pos x="connsiteX56537" y="connsiteY56537"/>
              </a:cxn>
              <a:cxn ang="0">
                <a:pos x="connsiteX56538" y="connsiteY56538"/>
              </a:cxn>
              <a:cxn ang="0">
                <a:pos x="connsiteX56539" y="connsiteY56539"/>
              </a:cxn>
              <a:cxn ang="0">
                <a:pos x="connsiteX56540" y="connsiteY56540"/>
              </a:cxn>
              <a:cxn ang="0">
                <a:pos x="connsiteX56541" y="connsiteY56541"/>
              </a:cxn>
              <a:cxn ang="0">
                <a:pos x="connsiteX56542" y="connsiteY56542"/>
              </a:cxn>
              <a:cxn ang="0">
                <a:pos x="connsiteX56543" y="connsiteY56543"/>
              </a:cxn>
              <a:cxn ang="0">
                <a:pos x="connsiteX56544" y="connsiteY56544"/>
              </a:cxn>
              <a:cxn ang="0">
                <a:pos x="connsiteX56545" y="connsiteY56545"/>
              </a:cxn>
              <a:cxn ang="0">
                <a:pos x="connsiteX56546" y="connsiteY56546"/>
              </a:cxn>
              <a:cxn ang="0">
                <a:pos x="connsiteX56547" y="connsiteY56547"/>
              </a:cxn>
              <a:cxn ang="0">
                <a:pos x="connsiteX56548" y="connsiteY56548"/>
              </a:cxn>
              <a:cxn ang="0">
                <a:pos x="connsiteX56549" y="connsiteY56549"/>
              </a:cxn>
              <a:cxn ang="0">
                <a:pos x="connsiteX56550" y="connsiteY56550"/>
              </a:cxn>
              <a:cxn ang="0">
                <a:pos x="connsiteX56551" y="connsiteY56551"/>
              </a:cxn>
              <a:cxn ang="0">
                <a:pos x="connsiteX56552" y="connsiteY56552"/>
              </a:cxn>
              <a:cxn ang="0">
                <a:pos x="connsiteX56553" y="connsiteY56553"/>
              </a:cxn>
              <a:cxn ang="0">
                <a:pos x="connsiteX56554" y="connsiteY56554"/>
              </a:cxn>
              <a:cxn ang="0">
                <a:pos x="connsiteX56555" y="connsiteY56555"/>
              </a:cxn>
              <a:cxn ang="0">
                <a:pos x="connsiteX56556" y="connsiteY56556"/>
              </a:cxn>
              <a:cxn ang="0">
                <a:pos x="connsiteX56557" y="connsiteY56557"/>
              </a:cxn>
              <a:cxn ang="0">
                <a:pos x="connsiteX56558" y="connsiteY56558"/>
              </a:cxn>
              <a:cxn ang="0">
                <a:pos x="connsiteX56559" y="connsiteY56559"/>
              </a:cxn>
              <a:cxn ang="0">
                <a:pos x="connsiteX56560" y="connsiteY56560"/>
              </a:cxn>
              <a:cxn ang="0">
                <a:pos x="connsiteX56561" y="connsiteY56561"/>
              </a:cxn>
              <a:cxn ang="0">
                <a:pos x="connsiteX56562" y="connsiteY56562"/>
              </a:cxn>
              <a:cxn ang="0">
                <a:pos x="connsiteX56563" y="connsiteY56563"/>
              </a:cxn>
              <a:cxn ang="0">
                <a:pos x="connsiteX56564" y="connsiteY56564"/>
              </a:cxn>
              <a:cxn ang="0">
                <a:pos x="connsiteX56565" y="connsiteY56565"/>
              </a:cxn>
              <a:cxn ang="0">
                <a:pos x="connsiteX56566" y="connsiteY56566"/>
              </a:cxn>
              <a:cxn ang="0">
                <a:pos x="connsiteX56567" y="connsiteY56567"/>
              </a:cxn>
              <a:cxn ang="0">
                <a:pos x="connsiteX56568" y="connsiteY56568"/>
              </a:cxn>
              <a:cxn ang="0">
                <a:pos x="connsiteX56569" y="connsiteY56569"/>
              </a:cxn>
              <a:cxn ang="0">
                <a:pos x="connsiteX56570" y="connsiteY56570"/>
              </a:cxn>
              <a:cxn ang="0">
                <a:pos x="connsiteX56571" y="connsiteY56571"/>
              </a:cxn>
              <a:cxn ang="0">
                <a:pos x="connsiteX56572" y="connsiteY56572"/>
              </a:cxn>
              <a:cxn ang="0">
                <a:pos x="connsiteX56573" y="connsiteY56573"/>
              </a:cxn>
              <a:cxn ang="0">
                <a:pos x="connsiteX56574" y="connsiteY56574"/>
              </a:cxn>
              <a:cxn ang="0">
                <a:pos x="connsiteX56575" y="connsiteY56575"/>
              </a:cxn>
              <a:cxn ang="0">
                <a:pos x="connsiteX56576" y="connsiteY56576"/>
              </a:cxn>
              <a:cxn ang="0">
                <a:pos x="connsiteX56577" y="connsiteY56577"/>
              </a:cxn>
              <a:cxn ang="0">
                <a:pos x="connsiteX56578" y="connsiteY56578"/>
              </a:cxn>
              <a:cxn ang="0">
                <a:pos x="connsiteX56579" y="connsiteY56579"/>
              </a:cxn>
              <a:cxn ang="0">
                <a:pos x="connsiteX56580" y="connsiteY56580"/>
              </a:cxn>
              <a:cxn ang="0">
                <a:pos x="connsiteX56581" y="connsiteY56581"/>
              </a:cxn>
              <a:cxn ang="0">
                <a:pos x="connsiteX56582" y="connsiteY56582"/>
              </a:cxn>
              <a:cxn ang="0">
                <a:pos x="connsiteX56583" y="connsiteY56583"/>
              </a:cxn>
              <a:cxn ang="0">
                <a:pos x="connsiteX56584" y="connsiteY56584"/>
              </a:cxn>
              <a:cxn ang="0">
                <a:pos x="connsiteX56585" y="connsiteY56585"/>
              </a:cxn>
              <a:cxn ang="0">
                <a:pos x="connsiteX56586" y="connsiteY56586"/>
              </a:cxn>
              <a:cxn ang="0">
                <a:pos x="connsiteX56587" y="connsiteY56587"/>
              </a:cxn>
              <a:cxn ang="0">
                <a:pos x="connsiteX56588" y="connsiteY56588"/>
              </a:cxn>
              <a:cxn ang="0">
                <a:pos x="connsiteX56589" y="connsiteY56589"/>
              </a:cxn>
              <a:cxn ang="0">
                <a:pos x="connsiteX56590" y="connsiteY56590"/>
              </a:cxn>
              <a:cxn ang="0">
                <a:pos x="connsiteX56591" y="connsiteY56591"/>
              </a:cxn>
              <a:cxn ang="0">
                <a:pos x="connsiteX56592" y="connsiteY56592"/>
              </a:cxn>
              <a:cxn ang="0">
                <a:pos x="connsiteX56593" y="connsiteY56593"/>
              </a:cxn>
              <a:cxn ang="0">
                <a:pos x="connsiteX56594" y="connsiteY56594"/>
              </a:cxn>
              <a:cxn ang="0">
                <a:pos x="connsiteX56595" y="connsiteY56595"/>
              </a:cxn>
              <a:cxn ang="0">
                <a:pos x="connsiteX56596" y="connsiteY56596"/>
              </a:cxn>
              <a:cxn ang="0">
                <a:pos x="connsiteX56597" y="connsiteY56597"/>
              </a:cxn>
              <a:cxn ang="0">
                <a:pos x="connsiteX56598" y="connsiteY56598"/>
              </a:cxn>
              <a:cxn ang="0">
                <a:pos x="connsiteX56599" y="connsiteY56599"/>
              </a:cxn>
              <a:cxn ang="0">
                <a:pos x="connsiteX56600" y="connsiteY56600"/>
              </a:cxn>
              <a:cxn ang="0">
                <a:pos x="connsiteX56601" y="connsiteY56601"/>
              </a:cxn>
              <a:cxn ang="0">
                <a:pos x="connsiteX56602" y="connsiteY56602"/>
              </a:cxn>
              <a:cxn ang="0">
                <a:pos x="connsiteX56603" y="connsiteY56603"/>
              </a:cxn>
              <a:cxn ang="0">
                <a:pos x="connsiteX56604" y="connsiteY56604"/>
              </a:cxn>
              <a:cxn ang="0">
                <a:pos x="connsiteX56605" y="connsiteY56605"/>
              </a:cxn>
              <a:cxn ang="0">
                <a:pos x="connsiteX56606" y="connsiteY56606"/>
              </a:cxn>
              <a:cxn ang="0">
                <a:pos x="connsiteX56607" y="connsiteY56607"/>
              </a:cxn>
              <a:cxn ang="0">
                <a:pos x="connsiteX56608" y="connsiteY56608"/>
              </a:cxn>
              <a:cxn ang="0">
                <a:pos x="connsiteX56609" y="connsiteY56609"/>
              </a:cxn>
              <a:cxn ang="0">
                <a:pos x="connsiteX56610" y="connsiteY56610"/>
              </a:cxn>
              <a:cxn ang="0">
                <a:pos x="connsiteX56611" y="connsiteY56611"/>
              </a:cxn>
              <a:cxn ang="0">
                <a:pos x="connsiteX56612" y="connsiteY56612"/>
              </a:cxn>
              <a:cxn ang="0">
                <a:pos x="connsiteX56613" y="connsiteY56613"/>
              </a:cxn>
              <a:cxn ang="0">
                <a:pos x="connsiteX56614" y="connsiteY56614"/>
              </a:cxn>
              <a:cxn ang="0">
                <a:pos x="connsiteX56615" y="connsiteY56615"/>
              </a:cxn>
              <a:cxn ang="0">
                <a:pos x="connsiteX56616" y="connsiteY56616"/>
              </a:cxn>
              <a:cxn ang="0">
                <a:pos x="connsiteX56617" y="connsiteY56617"/>
              </a:cxn>
              <a:cxn ang="0">
                <a:pos x="connsiteX56618" y="connsiteY56618"/>
              </a:cxn>
              <a:cxn ang="0">
                <a:pos x="connsiteX56619" y="connsiteY56619"/>
              </a:cxn>
              <a:cxn ang="0">
                <a:pos x="connsiteX56620" y="connsiteY56620"/>
              </a:cxn>
              <a:cxn ang="0">
                <a:pos x="connsiteX56621" y="connsiteY56621"/>
              </a:cxn>
              <a:cxn ang="0">
                <a:pos x="connsiteX56622" y="connsiteY56622"/>
              </a:cxn>
              <a:cxn ang="0">
                <a:pos x="connsiteX56623" y="connsiteY56623"/>
              </a:cxn>
              <a:cxn ang="0">
                <a:pos x="connsiteX56624" y="connsiteY56624"/>
              </a:cxn>
              <a:cxn ang="0">
                <a:pos x="connsiteX56625" y="connsiteY56625"/>
              </a:cxn>
              <a:cxn ang="0">
                <a:pos x="connsiteX56626" y="connsiteY56626"/>
              </a:cxn>
              <a:cxn ang="0">
                <a:pos x="connsiteX56627" y="connsiteY56627"/>
              </a:cxn>
              <a:cxn ang="0">
                <a:pos x="connsiteX56628" y="connsiteY56628"/>
              </a:cxn>
              <a:cxn ang="0">
                <a:pos x="connsiteX56629" y="connsiteY56629"/>
              </a:cxn>
              <a:cxn ang="0">
                <a:pos x="connsiteX56630" y="connsiteY56630"/>
              </a:cxn>
              <a:cxn ang="0">
                <a:pos x="connsiteX56631" y="connsiteY56631"/>
              </a:cxn>
              <a:cxn ang="0">
                <a:pos x="connsiteX56632" y="connsiteY56632"/>
              </a:cxn>
              <a:cxn ang="0">
                <a:pos x="connsiteX56633" y="connsiteY56633"/>
              </a:cxn>
              <a:cxn ang="0">
                <a:pos x="connsiteX56634" y="connsiteY56634"/>
              </a:cxn>
              <a:cxn ang="0">
                <a:pos x="connsiteX56635" y="connsiteY56635"/>
              </a:cxn>
              <a:cxn ang="0">
                <a:pos x="connsiteX56636" y="connsiteY56636"/>
              </a:cxn>
              <a:cxn ang="0">
                <a:pos x="connsiteX56637" y="connsiteY56637"/>
              </a:cxn>
              <a:cxn ang="0">
                <a:pos x="connsiteX56638" y="connsiteY56638"/>
              </a:cxn>
              <a:cxn ang="0">
                <a:pos x="connsiteX56639" y="connsiteY56639"/>
              </a:cxn>
              <a:cxn ang="0">
                <a:pos x="connsiteX56640" y="connsiteY56640"/>
              </a:cxn>
              <a:cxn ang="0">
                <a:pos x="connsiteX56641" y="connsiteY56641"/>
              </a:cxn>
              <a:cxn ang="0">
                <a:pos x="connsiteX56642" y="connsiteY56642"/>
              </a:cxn>
              <a:cxn ang="0">
                <a:pos x="connsiteX56643" y="connsiteY56643"/>
              </a:cxn>
              <a:cxn ang="0">
                <a:pos x="connsiteX56644" y="connsiteY56644"/>
              </a:cxn>
              <a:cxn ang="0">
                <a:pos x="connsiteX56645" y="connsiteY56645"/>
              </a:cxn>
              <a:cxn ang="0">
                <a:pos x="connsiteX56646" y="connsiteY56646"/>
              </a:cxn>
              <a:cxn ang="0">
                <a:pos x="connsiteX56647" y="connsiteY56647"/>
              </a:cxn>
              <a:cxn ang="0">
                <a:pos x="connsiteX56648" y="connsiteY56648"/>
              </a:cxn>
              <a:cxn ang="0">
                <a:pos x="connsiteX56649" y="connsiteY56649"/>
              </a:cxn>
              <a:cxn ang="0">
                <a:pos x="connsiteX56650" y="connsiteY56650"/>
              </a:cxn>
              <a:cxn ang="0">
                <a:pos x="connsiteX56651" y="connsiteY56651"/>
              </a:cxn>
              <a:cxn ang="0">
                <a:pos x="connsiteX56652" y="connsiteY56652"/>
              </a:cxn>
              <a:cxn ang="0">
                <a:pos x="connsiteX56653" y="connsiteY56653"/>
              </a:cxn>
              <a:cxn ang="0">
                <a:pos x="connsiteX56654" y="connsiteY56654"/>
              </a:cxn>
              <a:cxn ang="0">
                <a:pos x="connsiteX56655" y="connsiteY56655"/>
              </a:cxn>
              <a:cxn ang="0">
                <a:pos x="connsiteX56656" y="connsiteY56656"/>
              </a:cxn>
              <a:cxn ang="0">
                <a:pos x="connsiteX56657" y="connsiteY56657"/>
              </a:cxn>
              <a:cxn ang="0">
                <a:pos x="connsiteX56658" y="connsiteY56658"/>
              </a:cxn>
              <a:cxn ang="0">
                <a:pos x="connsiteX56659" y="connsiteY56659"/>
              </a:cxn>
              <a:cxn ang="0">
                <a:pos x="connsiteX56660" y="connsiteY56660"/>
              </a:cxn>
              <a:cxn ang="0">
                <a:pos x="connsiteX56661" y="connsiteY56661"/>
              </a:cxn>
              <a:cxn ang="0">
                <a:pos x="connsiteX56662" y="connsiteY56662"/>
              </a:cxn>
              <a:cxn ang="0">
                <a:pos x="connsiteX56663" y="connsiteY56663"/>
              </a:cxn>
              <a:cxn ang="0">
                <a:pos x="connsiteX56664" y="connsiteY56664"/>
              </a:cxn>
              <a:cxn ang="0">
                <a:pos x="connsiteX56665" y="connsiteY56665"/>
              </a:cxn>
              <a:cxn ang="0">
                <a:pos x="connsiteX56666" y="connsiteY56666"/>
              </a:cxn>
              <a:cxn ang="0">
                <a:pos x="connsiteX56667" y="connsiteY56667"/>
              </a:cxn>
              <a:cxn ang="0">
                <a:pos x="connsiteX56668" y="connsiteY56668"/>
              </a:cxn>
              <a:cxn ang="0">
                <a:pos x="connsiteX56669" y="connsiteY56669"/>
              </a:cxn>
              <a:cxn ang="0">
                <a:pos x="connsiteX56670" y="connsiteY56670"/>
              </a:cxn>
              <a:cxn ang="0">
                <a:pos x="connsiteX56671" y="connsiteY56671"/>
              </a:cxn>
              <a:cxn ang="0">
                <a:pos x="connsiteX56672" y="connsiteY56672"/>
              </a:cxn>
              <a:cxn ang="0">
                <a:pos x="connsiteX56673" y="connsiteY56673"/>
              </a:cxn>
              <a:cxn ang="0">
                <a:pos x="connsiteX56674" y="connsiteY56674"/>
              </a:cxn>
              <a:cxn ang="0">
                <a:pos x="connsiteX56675" y="connsiteY56675"/>
              </a:cxn>
              <a:cxn ang="0">
                <a:pos x="connsiteX56676" y="connsiteY56676"/>
              </a:cxn>
              <a:cxn ang="0">
                <a:pos x="connsiteX56677" y="connsiteY56677"/>
              </a:cxn>
              <a:cxn ang="0">
                <a:pos x="connsiteX56678" y="connsiteY56678"/>
              </a:cxn>
              <a:cxn ang="0">
                <a:pos x="connsiteX56679" y="connsiteY56679"/>
              </a:cxn>
              <a:cxn ang="0">
                <a:pos x="connsiteX56680" y="connsiteY56680"/>
              </a:cxn>
              <a:cxn ang="0">
                <a:pos x="connsiteX56681" y="connsiteY56681"/>
              </a:cxn>
              <a:cxn ang="0">
                <a:pos x="connsiteX56682" y="connsiteY56682"/>
              </a:cxn>
              <a:cxn ang="0">
                <a:pos x="connsiteX56683" y="connsiteY56683"/>
              </a:cxn>
              <a:cxn ang="0">
                <a:pos x="connsiteX56684" y="connsiteY56684"/>
              </a:cxn>
              <a:cxn ang="0">
                <a:pos x="connsiteX56685" y="connsiteY56685"/>
              </a:cxn>
              <a:cxn ang="0">
                <a:pos x="connsiteX56686" y="connsiteY56686"/>
              </a:cxn>
              <a:cxn ang="0">
                <a:pos x="connsiteX56687" y="connsiteY56687"/>
              </a:cxn>
              <a:cxn ang="0">
                <a:pos x="connsiteX56688" y="connsiteY56688"/>
              </a:cxn>
              <a:cxn ang="0">
                <a:pos x="connsiteX56689" y="connsiteY56689"/>
              </a:cxn>
              <a:cxn ang="0">
                <a:pos x="connsiteX56690" y="connsiteY56690"/>
              </a:cxn>
              <a:cxn ang="0">
                <a:pos x="connsiteX56691" y="connsiteY56691"/>
              </a:cxn>
              <a:cxn ang="0">
                <a:pos x="connsiteX56692" y="connsiteY56692"/>
              </a:cxn>
              <a:cxn ang="0">
                <a:pos x="connsiteX56693" y="connsiteY56693"/>
              </a:cxn>
              <a:cxn ang="0">
                <a:pos x="connsiteX56694" y="connsiteY56694"/>
              </a:cxn>
              <a:cxn ang="0">
                <a:pos x="connsiteX56695" y="connsiteY56695"/>
              </a:cxn>
              <a:cxn ang="0">
                <a:pos x="connsiteX56696" y="connsiteY56696"/>
              </a:cxn>
              <a:cxn ang="0">
                <a:pos x="connsiteX56697" y="connsiteY56697"/>
              </a:cxn>
              <a:cxn ang="0">
                <a:pos x="connsiteX56698" y="connsiteY56698"/>
              </a:cxn>
              <a:cxn ang="0">
                <a:pos x="connsiteX56699" y="connsiteY56699"/>
              </a:cxn>
              <a:cxn ang="0">
                <a:pos x="connsiteX56700" y="connsiteY56700"/>
              </a:cxn>
              <a:cxn ang="0">
                <a:pos x="connsiteX56701" y="connsiteY56701"/>
              </a:cxn>
              <a:cxn ang="0">
                <a:pos x="connsiteX56702" y="connsiteY56702"/>
              </a:cxn>
              <a:cxn ang="0">
                <a:pos x="connsiteX56703" y="connsiteY56703"/>
              </a:cxn>
              <a:cxn ang="0">
                <a:pos x="connsiteX56704" y="connsiteY56704"/>
              </a:cxn>
              <a:cxn ang="0">
                <a:pos x="connsiteX56705" y="connsiteY56705"/>
              </a:cxn>
              <a:cxn ang="0">
                <a:pos x="connsiteX56706" y="connsiteY56706"/>
              </a:cxn>
              <a:cxn ang="0">
                <a:pos x="connsiteX56707" y="connsiteY56707"/>
              </a:cxn>
              <a:cxn ang="0">
                <a:pos x="connsiteX56708" y="connsiteY56708"/>
              </a:cxn>
              <a:cxn ang="0">
                <a:pos x="connsiteX56709" y="connsiteY56709"/>
              </a:cxn>
              <a:cxn ang="0">
                <a:pos x="connsiteX56710" y="connsiteY56710"/>
              </a:cxn>
              <a:cxn ang="0">
                <a:pos x="connsiteX56711" y="connsiteY56711"/>
              </a:cxn>
              <a:cxn ang="0">
                <a:pos x="connsiteX56712" y="connsiteY56712"/>
              </a:cxn>
              <a:cxn ang="0">
                <a:pos x="connsiteX56713" y="connsiteY56713"/>
              </a:cxn>
              <a:cxn ang="0">
                <a:pos x="connsiteX56714" y="connsiteY56714"/>
              </a:cxn>
              <a:cxn ang="0">
                <a:pos x="connsiteX56715" y="connsiteY56715"/>
              </a:cxn>
              <a:cxn ang="0">
                <a:pos x="connsiteX56716" y="connsiteY56716"/>
              </a:cxn>
              <a:cxn ang="0">
                <a:pos x="connsiteX56717" y="connsiteY56717"/>
              </a:cxn>
              <a:cxn ang="0">
                <a:pos x="connsiteX56718" y="connsiteY56718"/>
              </a:cxn>
              <a:cxn ang="0">
                <a:pos x="connsiteX56719" y="connsiteY56719"/>
              </a:cxn>
              <a:cxn ang="0">
                <a:pos x="connsiteX56720" y="connsiteY56720"/>
              </a:cxn>
              <a:cxn ang="0">
                <a:pos x="connsiteX56721" y="connsiteY56721"/>
              </a:cxn>
              <a:cxn ang="0">
                <a:pos x="connsiteX56722" y="connsiteY56722"/>
              </a:cxn>
              <a:cxn ang="0">
                <a:pos x="connsiteX56723" y="connsiteY56723"/>
              </a:cxn>
              <a:cxn ang="0">
                <a:pos x="connsiteX56724" y="connsiteY56724"/>
              </a:cxn>
              <a:cxn ang="0">
                <a:pos x="connsiteX56725" y="connsiteY56725"/>
              </a:cxn>
              <a:cxn ang="0">
                <a:pos x="connsiteX56726" y="connsiteY56726"/>
              </a:cxn>
              <a:cxn ang="0">
                <a:pos x="connsiteX56727" y="connsiteY56727"/>
              </a:cxn>
              <a:cxn ang="0">
                <a:pos x="connsiteX56728" y="connsiteY56728"/>
              </a:cxn>
              <a:cxn ang="0">
                <a:pos x="connsiteX56729" y="connsiteY56729"/>
              </a:cxn>
              <a:cxn ang="0">
                <a:pos x="connsiteX56730" y="connsiteY56730"/>
              </a:cxn>
              <a:cxn ang="0">
                <a:pos x="connsiteX56731" y="connsiteY56731"/>
              </a:cxn>
              <a:cxn ang="0">
                <a:pos x="connsiteX56732" y="connsiteY56732"/>
              </a:cxn>
              <a:cxn ang="0">
                <a:pos x="connsiteX56733" y="connsiteY56733"/>
              </a:cxn>
              <a:cxn ang="0">
                <a:pos x="connsiteX56734" y="connsiteY56734"/>
              </a:cxn>
              <a:cxn ang="0">
                <a:pos x="connsiteX56735" y="connsiteY56735"/>
              </a:cxn>
              <a:cxn ang="0">
                <a:pos x="connsiteX56736" y="connsiteY56736"/>
              </a:cxn>
              <a:cxn ang="0">
                <a:pos x="connsiteX56737" y="connsiteY56737"/>
              </a:cxn>
              <a:cxn ang="0">
                <a:pos x="connsiteX56738" y="connsiteY56738"/>
              </a:cxn>
              <a:cxn ang="0">
                <a:pos x="connsiteX56739" y="connsiteY56739"/>
              </a:cxn>
              <a:cxn ang="0">
                <a:pos x="connsiteX56740" y="connsiteY56740"/>
              </a:cxn>
              <a:cxn ang="0">
                <a:pos x="connsiteX56741" y="connsiteY56741"/>
              </a:cxn>
              <a:cxn ang="0">
                <a:pos x="connsiteX56742" y="connsiteY56742"/>
              </a:cxn>
              <a:cxn ang="0">
                <a:pos x="connsiteX56743" y="connsiteY56743"/>
              </a:cxn>
              <a:cxn ang="0">
                <a:pos x="connsiteX56744" y="connsiteY56744"/>
              </a:cxn>
              <a:cxn ang="0">
                <a:pos x="connsiteX56745" y="connsiteY56745"/>
              </a:cxn>
              <a:cxn ang="0">
                <a:pos x="connsiteX56746" y="connsiteY56746"/>
              </a:cxn>
              <a:cxn ang="0">
                <a:pos x="connsiteX56747" y="connsiteY56747"/>
              </a:cxn>
              <a:cxn ang="0">
                <a:pos x="connsiteX56748" y="connsiteY56748"/>
              </a:cxn>
              <a:cxn ang="0">
                <a:pos x="connsiteX56749" y="connsiteY56749"/>
              </a:cxn>
              <a:cxn ang="0">
                <a:pos x="connsiteX56750" y="connsiteY56750"/>
              </a:cxn>
              <a:cxn ang="0">
                <a:pos x="connsiteX56751" y="connsiteY56751"/>
              </a:cxn>
              <a:cxn ang="0">
                <a:pos x="connsiteX56752" y="connsiteY56752"/>
              </a:cxn>
              <a:cxn ang="0">
                <a:pos x="connsiteX56753" y="connsiteY56753"/>
              </a:cxn>
              <a:cxn ang="0">
                <a:pos x="connsiteX56754" y="connsiteY56754"/>
              </a:cxn>
              <a:cxn ang="0">
                <a:pos x="connsiteX56755" y="connsiteY56755"/>
              </a:cxn>
              <a:cxn ang="0">
                <a:pos x="connsiteX56756" y="connsiteY56756"/>
              </a:cxn>
              <a:cxn ang="0">
                <a:pos x="connsiteX56757" y="connsiteY56757"/>
              </a:cxn>
              <a:cxn ang="0">
                <a:pos x="connsiteX56758" y="connsiteY56758"/>
              </a:cxn>
              <a:cxn ang="0">
                <a:pos x="connsiteX56759" y="connsiteY56759"/>
              </a:cxn>
              <a:cxn ang="0">
                <a:pos x="connsiteX56760" y="connsiteY56760"/>
              </a:cxn>
              <a:cxn ang="0">
                <a:pos x="connsiteX56761" y="connsiteY56761"/>
              </a:cxn>
              <a:cxn ang="0">
                <a:pos x="connsiteX56762" y="connsiteY56762"/>
              </a:cxn>
              <a:cxn ang="0">
                <a:pos x="connsiteX56763" y="connsiteY56763"/>
              </a:cxn>
              <a:cxn ang="0">
                <a:pos x="connsiteX56764" y="connsiteY56764"/>
              </a:cxn>
              <a:cxn ang="0">
                <a:pos x="connsiteX56765" y="connsiteY56765"/>
              </a:cxn>
              <a:cxn ang="0">
                <a:pos x="connsiteX56766" y="connsiteY56766"/>
              </a:cxn>
              <a:cxn ang="0">
                <a:pos x="connsiteX56767" y="connsiteY56767"/>
              </a:cxn>
              <a:cxn ang="0">
                <a:pos x="connsiteX56768" y="connsiteY56768"/>
              </a:cxn>
              <a:cxn ang="0">
                <a:pos x="connsiteX56769" y="connsiteY56769"/>
              </a:cxn>
              <a:cxn ang="0">
                <a:pos x="connsiteX56770" y="connsiteY56770"/>
              </a:cxn>
              <a:cxn ang="0">
                <a:pos x="connsiteX56771" y="connsiteY56771"/>
              </a:cxn>
              <a:cxn ang="0">
                <a:pos x="connsiteX56772" y="connsiteY56772"/>
              </a:cxn>
              <a:cxn ang="0">
                <a:pos x="connsiteX56773" y="connsiteY56773"/>
              </a:cxn>
              <a:cxn ang="0">
                <a:pos x="connsiteX56774" y="connsiteY56774"/>
              </a:cxn>
              <a:cxn ang="0">
                <a:pos x="connsiteX56775" y="connsiteY56775"/>
              </a:cxn>
              <a:cxn ang="0">
                <a:pos x="connsiteX56776" y="connsiteY56776"/>
              </a:cxn>
              <a:cxn ang="0">
                <a:pos x="connsiteX56777" y="connsiteY56777"/>
              </a:cxn>
              <a:cxn ang="0">
                <a:pos x="connsiteX56778" y="connsiteY56778"/>
              </a:cxn>
              <a:cxn ang="0">
                <a:pos x="connsiteX56779" y="connsiteY56779"/>
              </a:cxn>
              <a:cxn ang="0">
                <a:pos x="connsiteX56780" y="connsiteY56780"/>
              </a:cxn>
              <a:cxn ang="0">
                <a:pos x="connsiteX56781" y="connsiteY56781"/>
              </a:cxn>
              <a:cxn ang="0">
                <a:pos x="connsiteX56782" y="connsiteY56782"/>
              </a:cxn>
              <a:cxn ang="0">
                <a:pos x="connsiteX56783" y="connsiteY56783"/>
              </a:cxn>
              <a:cxn ang="0">
                <a:pos x="connsiteX56784" y="connsiteY56784"/>
              </a:cxn>
              <a:cxn ang="0">
                <a:pos x="connsiteX56785" y="connsiteY56785"/>
              </a:cxn>
              <a:cxn ang="0">
                <a:pos x="connsiteX56786" y="connsiteY56786"/>
              </a:cxn>
              <a:cxn ang="0">
                <a:pos x="connsiteX56787" y="connsiteY56787"/>
              </a:cxn>
              <a:cxn ang="0">
                <a:pos x="connsiteX56788" y="connsiteY56788"/>
              </a:cxn>
              <a:cxn ang="0">
                <a:pos x="connsiteX56789" y="connsiteY56789"/>
              </a:cxn>
              <a:cxn ang="0">
                <a:pos x="connsiteX56790" y="connsiteY56790"/>
              </a:cxn>
              <a:cxn ang="0">
                <a:pos x="connsiteX56791" y="connsiteY56791"/>
              </a:cxn>
              <a:cxn ang="0">
                <a:pos x="connsiteX56792" y="connsiteY56792"/>
              </a:cxn>
              <a:cxn ang="0">
                <a:pos x="connsiteX56793" y="connsiteY56793"/>
              </a:cxn>
              <a:cxn ang="0">
                <a:pos x="connsiteX56794" y="connsiteY56794"/>
              </a:cxn>
              <a:cxn ang="0">
                <a:pos x="connsiteX56795" y="connsiteY56795"/>
              </a:cxn>
              <a:cxn ang="0">
                <a:pos x="connsiteX56796" y="connsiteY56796"/>
              </a:cxn>
              <a:cxn ang="0">
                <a:pos x="connsiteX56797" y="connsiteY56797"/>
              </a:cxn>
              <a:cxn ang="0">
                <a:pos x="connsiteX56798" y="connsiteY56798"/>
              </a:cxn>
              <a:cxn ang="0">
                <a:pos x="connsiteX56799" y="connsiteY56799"/>
              </a:cxn>
              <a:cxn ang="0">
                <a:pos x="connsiteX56800" y="connsiteY56800"/>
              </a:cxn>
              <a:cxn ang="0">
                <a:pos x="connsiteX56801" y="connsiteY56801"/>
              </a:cxn>
              <a:cxn ang="0">
                <a:pos x="connsiteX56802" y="connsiteY56802"/>
              </a:cxn>
              <a:cxn ang="0">
                <a:pos x="connsiteX56803" y="connsiteY56803"/>
              </a:cxn>
              <a:cxn ang="0">
                <a:pos x="connsiteX56804" y="connsiteY56804"/>
              </a:cxn>
              <a:cxn ang="0">
                <a:pos x="connsiteX56805" y="connsiteY56805"/>
              </a:cxn>
              <a:cxn ang="0">
                <a:pos x="connsiteX56806" y="connsiteY56806"/>
              </a:cxn>
              <a:cxn ang="0">
                <a:pos x="connsiteX56807" y="connsiteY56807"/>
              </a:cxn>
              <a:cxn ang="0">
                <a:pos x="connsiteX56808" y="connsiteY56808"/>
              </a:cxn>
              <a:cxn ang="0">
                <a:pos x="connsiteX56809" y="connsiteY56809"/>
              </a:cxn>
              <a:cxn ang="0">
                <a:pos x="connsiteX56810" y="connsiteY56810"/>
              </a:cxn>
              <a:cxn ang="0">
                <a:pos x="connsiteX56811" y="connsiteY56811"/>
              </a:cxn>
              <a:cxn ang="0">
                <a:pos x="connsiteX56812" y="connsiteY56812"/>
              </a:cxn>
              <a:cxn ang="0">
                <a:pos x="connsiteX56813" y="connsiteY56813"/>
              </a:cxn>
              <a:cxn ang="0">
                <a:pos x="connsiteX56814" y="connsiteY56814"/>
              </a:cxn>
              <a:cxn ang="0">
                <a:pos x="connsiteX56815" y="connsiteY56815"/>
              </a:cxn>
              <a:cxn ang="0">
                <a:pos x="connsiteX56816" y="connsiteY56816"/>
              </a:cxn>
              <a:cxn ang="0">
                <a:pos x="connsiteX56817" y="connsiteY56817"/>
              </a:cxn>
              <a:cxn ang="0">
                <a:pos x="connsiteX56818" y="connsiteY56818"/>
              </a:cxn>
              <a:cxn ang="0">
                <a:pos x="connsiteX56819" y="connsiteY56819"/>
              </a:cxn>
              <a:cxn ang="0">
                <a:pos x="connsiteX56820" y="connsiteY56820"/>
              </a:cxn>
              <a:cxn ang="0">
                <a:pos x="connsiteX56821" y="connsiteY56821"/>
              </a:cxn>
              <a:cxn ang="0">
                <a:pos x="connsiteX56822" y="connsiteY56822"/>
              </a:cxn>
              <a:cxn ang="0">
                <a:pos x="connsiteX56823" y="connsiteY56823"/>
              </a:cxn>
              <a:cxn ang="0">
                <a:pos x="connsiteX56824" y="connsiteY56824"/>
              </a:cxn>
              <a:cxn ang="0">
                <a:pos x="connsiteX56825" y="connsiteY56825"/>
              </a:cxn>
              <a:cxn ang="0">
                <a:pos x="connsiteX56826" y="connsiteY56826"/>
              </a:cxn>
              <a:cxn ang="0">
                <a:pos x="connsiteX56827" y="connsiteY56827"/>
              </a:cxn>
              <a:cxn ang="0">
                <a:pos x="connsiteX56828" y="connsiteY56828"/>
              </a:cxn>
              <a:cxn ang="0">
                <a:pos x="connsiteX56829" y="connsiteY56829"/>
              </a:cxn>
              <a:cxn ang="0">
                <a:pos x="connsiteX56830" y="connsiteY56830"/>
              </a:cxn>
              <a:cxn ang="0">
                <a:pos x="connsiteX56831" y="connsiteY56831"/>
              </a:cxn>
              <a:cxn ang="0">
                <a:pos x="connsiteX56832" y="connsiteY56832"/>
              </a:cxn>
              <a:cxn ang="0">
                <a:pos x="connsiteX56833" y="connsiteY56833"/>
              </a:cxn>
              <a:cxn ang="0">
                <a:pos x="connsiteX56834" y="connsiteY56834"/>
              </a:cxn>
              <a:cxn ang="0">
                <a:pos x="connsiteX56835" y="connsiteY56835"/>
              </a:cxn>
              <a:cxn ang="0">
                <a:pos x="connsiteX56836" y="connsiteY56836"/>
              </a:cxn>
              <a:cxn ang="0">
                <a:pos x="connsiteX56837" y="connsiteY56837"/>
              </a:cxn>
              <a:cxn ang="0">
                <a:pos x="connsiteX56838" y="connsiteY56838"/>
              </a:cxn>
              <a:cxn ang="0">
                <a:pos x="connsiteX56839" y="connsiteY56839"/>
              </a:cxn>
              <a:cxn ang="0">
                <a:pos x="connsiteX56840" y="connsiteY56840"/>
              </a:cxn>
              <a:cxn ang="0">
                <a:pos x="connsiteX56841" y="connsiteY56841"/>
              </a:cxn>
              <a:cxn ang="0">
                <a:pos x="connsiteX56842" y="connsiteY56842"/>
              </a:cxn>
              <a:cxn ang="0">
                <a:pos x="connsiteX56843" y="connsiteY56843"/>
              </a:cxn>
              <a:cxn ang="0">
                <a:pos x="connsiteX56844" y="connsiteY56844"/>
              </a:cxn>
              <a:cxn ang="0">
                <a:pos x="connsiteX56845" y="connsiteY56845"/>
              </a:cxn>
              <a:cxn ang="0">
                <a:pos x="connsiteX56846" y="connsiteY56846"/>
              </a:cxn>
              <a:cxn ang="0">
                <a:pos x="connsiteX56847" y="connsiteY56847"/>
              </a:cxn>
              <a:cxn ang="0">
                <a:pos x="connsiteX56848" y="connsiteY56848"/>
              </a:cxn>
              <a:cxn ang="0">
                <a:pos x="connsiteX56849" y="connsiteY56849"/>
              </a:cxn>
              <a:cxn ang="0">
                <a:pos x="connsiteX56850" y="connsiteY56850"/>
              </a:cxn>
              <a:cxn ang="0">
                <a:pos x="connsiteX56851" y="connsiteY56851"/>
              </a:cxn>
              <a:cxn ang="0">
                <a:pos x="connsiteX56852" y="connsiteY56852"/>
              </a:cxn>
              <a:cxn ang="0">
                <a:pos x="connsiteX56853" y="connsiteY56853"/>
              </a:cxn>
              <a:cxn ang="0">
                <a:pos x="connsiteX56854" y="connsiteY56854"/>
              </a:cxn>
              <a:cxn ang="0">
                <a:pos x="connsiteX56855" y="connsiteY56855"/>
              </a:cxn>
              <a:cxn ang="0">
                <a:pos x="connsiteX56856" y="connsiteY56856"/>
              </a:cxn>
              <a:cxn ang="0">
                <a:pos x="connsiteX56857" y="connsiteY56857"/>
              </a:cxn>
              <a:cxn ang="0">
                <a:pos x="connsiteX56858" y="connsiteY56858"/>
              </a:cxn>
              <a:cxn ang="0">
                <a:pos x="connsiteX56859" y="connsiteY56859"/>
              </a:cxn>
              <a:cxn ang="0">
                <a:pos x="connsiteX56860" y="connsiteY56860"/>
              </a:cxn>
              <a:cxn ang="0">
                <a:pos x="connsiteX56861" y="connsiteY56861"/>
              </a:cxn>
              <a:cxn ang="0">
                <a:pos x="connsiteX56862" y="connsiteY56862"/>
              </a:cxn>
              <a:cxn ang="0">
                <a:pos x="connsiteX56863" y="connsiteY56863"/>
              </a:cxn>
              <a:cxn ang="0">
                <a:pos x="connsiteX56864" y="connsiteY56864"/>
              </a:cxn>
              <a:cxn ang="0">
                <a:pos x="connsiteX56865" y="connsiteY56865"/>
              </a:cxn>
              <a:cxn ang="0">
                <a:pos x="connsiteX56866" y="connsiteY56866"/>
              </a:cxn>
              <a:cxn ang="0">
                <a:pos x="connsiteX56867" y="connsiteY56867"/>
              </a:cxn>
              <a:cxn ang="0">
                <a:pos x="connsiteX56868" y="connsiteY56868"/>
              </a:cxn>
              <a:cxn ang="0">
                <a:pos x="connsiteX56869" y="connsiteY56869"/>
              </a:cxn>
              <a:cxn ang="0">
                <a:pos x="connsiteX56870" y="connsiteY56870"/>
              </a:cxn>
              <a:cxn ang="0">
                <a:pos x="connsiteX56871" y="connsiteY56871"/>
              </a:cxn>
              <a:cxn ang="0">
                <a:pos x="connsiteX56872" y="connsiteY56872"/>
              </a:cxn>
              <a:cxn ang="0">
                <a:pos x="connsiteX56873" y="connsiteY56873"/>
              </a:cxn>
              <a:cxn ang="0">
                <a:pos x="connsiteX56874" y="connsiteY56874"/>
              </a:cxn>
              <a:cxn ang="0">
                <a:pos x="connsiteX56875" y="connsiteY56875"/>
              </a:cxn>
              <a:cxn ang="0">
                <a:pos x="connsiteX56876" y="connsiteY56876"/>
              </a:cxn>
              <a:cxn ang="0">
                <a:pos x="connsiteX56877" y="connsiteY56877"/>
              </a:cxn>
              <a:cxn ang="0">
                <a:pos x="connsiteX56878" y="connsiteY56878"/>
              </a:cxn>
              <a:cxn ang="0">
                <a:pos x="connsiteX56879" y="connsiteY56879"/>
              </a:cxn>
              <a:cxn ang="0">
                <a:pos x="connsiteX56880" y="connsiteY56880"/>
              </a:cxn>
              <a:cxn ang="0">
                <a:pos x="connsiteX56881" y="connsiteY56881"/>
              </a:cxn>
              <a:cxn ang="0">
                <a:pos x="connsiteX56882" y="connsiteY56882"/>
              </a:cxn>
              <a:cxn ang="0">
                <a:pos x="connsiteX56883" y="connsiteY56883"/>
              </a:cxn>
              <a:cxn ang="0">
                <a:pos x="connsiteX56884" y="connsiteY56884"/>
              </a:cxn>
              <a:cxn ang="0">
                <a:pos x="connsiteX56885" y="connsiteY56885"/>
              </a:cxn>
              <a:cxn ang="0">
                <a:pos x="connsiteX56886" y="connsiteY56886"/>
              </a:cxn>
              <a:cxn ang="0">
                <a:pos x="connsiteX56887" y="connsiteY56887"/>
              </a:cxn>
              <a:cxn ang="0">
                <a:pos x="connsiteX56888" y="connsiteY56888"/>
              </a:cxn>
              <a:cxn ang="0">
                <a:pos x="connsiteX56889" y="connsiteY56889"/>
              </a:cxn>
              <a:cxn ang="0">
                <a:pos x="connsiteX56890" y="connsiteY56890"/>
              </a:cxn>
              <a:cxn ang="0">
                <a:pos x="connsiteX56891" y="connsiteY56891"/>
              </a:cxn>
              <a:cxn ang="0">
                <a:pos x="connsiteX56892" y="connsiteY56892"/>
              </a:cxn>
              <a:cxn ang="0">
                <a:pos x="connsiteX56893" y="connsiteY56893"/>
              </a:cxn>
              <a:cxn ang="0">
                <a:pos x="connsiteX56894" y="connsiteY56894"/>
              </a:cxn>
              <a:cxn ang="0">
                <a:pos x="connsiteX56895" y="connsiteY56895"/>
              </a:cxn>
              <a:cxn ang="0">
                <a:pos x="connsiteX56896" y="connsiteY56896"/>
              </a:cxn>
              <a:cxn ang="0">
                <a:pos x="connsiteX56897" y="connsiteY56897"/>
              </a:cxn>
              <a:cxn ang="0">
                <a:pos x="connsiteX56898" y="connsiteY56898"/>
              </a:cxn>
              <a:cxn ang="0">
                <a:pos x="connsiteX56899" y="connsiteY56899"/>
              </a:cxn>
              <a:cxn ang="0">
                <a:pos x="connsiteX56900" y="connsiteY56900"/>
              </a:cxn>
              <a:cxn ang="0">
                <a:pos x="connsiteX56901" y="connsiteY56901"/>
              </a:cxn>
              <a:cxn ang="0">
                <a:pos x="connsiteX56902" y="connsiteY56902"/>
              </a:cxn>
              <a:cxn ang="0">
                <a:pos x="connsiteX56903" y="connsiteY56903"/>
              </a:cxn>
              <a:cxn ang="0">
                <a:pos x="connsiteX56904" y="connsiteY56904"/>
              </a:cxn>
              <a:cxn ang="0">
                <a:pos x="connsiteX56905" y="connsiteY56905"/>
              </a:cxn>
              <a:cxn ang="0">
                <a:pos x="connsiteX56906" y="connsiteY56906"/>
              </a:cxn>
              <a:cxn ang="0">
                <a:pos x="connsiteX56907" y="connsiteY56907"/>
              </a:cxn>
              <a:cxn ang="0">
                <a:pos x="connsiteX56908" y="connsiteY56908"/>
              </a:cxn>
              <a:cxn ang="0">
                <a:pos x="connsiteX56909" y="connsiteY56909"/>
              </a:cxn>
              <a:cxn ang="0">
                <a:pos x="connsiteX56910" y="connsiteY56910"/>
              </a:cxn>
              <a:cxn ang="0">
                <a:pos x="connsiteX56911" y="connsiteY56911"/>
              </a:cxn>
              <a:cxn ang="0">
                <a:pos x="connsiteX56912" y="connsiteY56912"/>
              </a:cxn>
              <a:cxn ang="0">
                <a:pos x="connsiteX56913" y="connsiteY56913"/>
              </a:cxn>
              <a:cxn ang="0">
                <a:pos x="connsiteX56914" y="connsiteY56914"/>
              </a:cxn>
              <a:cxn ang="0">
                <a:pos x="connsiteX56915" y="connsiteY56915"/>
              </a:cxn>
              <a:cxn ang="0">
                <a:pos x="connsiteX56916" y="connsiteY56916"/>
              </a:cxn>
              <a:cxn ang="0">
                <a:pos x="connsiteX56917" y="connsiteY56917"/>
              </a:cxn>
              <a:cxn ang="0">
                <a:pos x="connsiteX56918" y="connsiteY56918"/>
              </a:cxn>
              <a:cxn ang="0">
                <a:pos x="connsiteX56919" y="connsiteY56919"/>
              </a:cxn>
              <a:cxn ang="0">
                <a:pos x="connsiteX56920" y="connsiteY56920"/>
              </a:cxn>
              <a:cxn ang="0">
                <a:pos x="connsiteX56921" y="connsiteY56921"/>
              </a:cxn>
              <a:cxn ang="0">
                <a:pos x="connsiteX56922" y="connsiteY56922"/>
              </a:cxn>
              <a:cxn ang="0">
                <a:pos x="connsiteX56923" y="connsiteY56923"/>
              </a:cxn>
              <a:cxn ang="0">
                <a:pos x="connsiteX56924" y="connsiteY56924"/>
              </a:cxn>
              <a:cxn ang="0">
                <a:pos x="connsiteX56925" y="connsiteY56925"/>
              </a:cxn>
              <a:cxn ang="0">
                <a:pos x="connsiteX56926" y="connsiteY56926"/>
              </a:cxn>
              <a:cxn ang="0">
                <a:pos x="connsiteX56927" y="connsiteY56927"/>
              </a:cxn>
              <a:cxn ang="0">
                <a:pos x="connsiteX56928" y="connsiteY56928"/>
              </a:cxn>
              <a:cxn ang="0">
                <a:pos x="connsiteX56929" y="connsiteY56929"/>
              </a:cxn>
              <a:cxn ang="0">
                <a:pos x="connsiteX56930" y="connsiteY56930"/>
              </a:cxn>
              <a:cxn ang="0">
                <a:pos x="connsiteX56931" y="connsiteY56931"/>
              </a:cxn>
              <a:cxn ang="0">
                <a:pos x="connsiteX56932" y="connsiteY56932"/>
              </a:cxn>
              <a:cxn ang="0">
                <a:pos x="connsiteX56933" y="connsiteY56933"/>
              </a:cxn>
              <a:cxn ang="0">
                <a:pos x="connsiteX56934" y="connsiteY56934"/>
              </a:cxn>
              <a:cxn ang="0">
                <a:pos x="connsiteX56935" y="connsiteY56935"/>
              </a:cxn>
              <a:cxn ang="0">
                <a:pos x="connsiteX56936" y="connsiteY56936"/>
              </a:cxn>
              <a:cxn ang="0">
                <a:pos x="connsiteX56937" y="connsiteY56937"/>
              </a:cxn>
              <a:cxn ang="0">
                <a:pos x="connsiteX56938" y="connsiteY56938"/>
              </a:cxn>
              <a:cxn ang="0">
                <a:pos x="connsiteX56939" y="connsiteY56939"/>
              </a:cxn>
              <a:cxn ang="0">
                <a:pos x="connsiteX56940" y="connsiteY56940"/>
              </a:cxn>
              <a:cxn ang="0">
                <a:pos x="connsiteX56941" y="connsiteY56941"/>
              </a:cxn>
              <a:cxn ang="0">
                <a:pos x="connsiteX56942" y="connsiteY56942"/>
              </a:cxn>
              <a:cxn ang="0">
                <a:pos x="connsiteX56943" y="connsiteY56943"/>
              </a:cxn>
              <a:cxn ang="0">
                <a:pos x="connsiteX56944" y="connsiteY56944"/>
              </a:cxn>
              <a:cxn ang="0">
                <a:pos x="connsiteX56945" y="connsiteY56945"/>
              </a:cxn>
              <a:cxn ang="0">
                <a:pos x="connsiteX56946" y="connsiteY56946"/>
              </a:cxn>
              <a:cxn ang="0">
                <a:pos x="connsiteX56947" y="connsiteY56947"/>
              </a:cxn>
              <a:cxn ang="0">
                <a:pos x="connsiteX56948" y="connsiteY56948"/>
              </a:cxn>
              <a:cxn ang="0">
                <a:pos x="connsiteX56949" y="connsiteY56949"/>
              </a:cxn>
              <a:cxn ang="0">
                <a:pos x="connsiteX56950" y="connsiteY56950"/>
              </a:cxn>
              <a:cxn ang="0">
                <a:pos x="connsiteX56951" y="connsiteY56951"/>
              </a:cxn>
              <a:cxn ang="0">
                <a:pos x="connsiteX56952" y="connsiteY56952"/>
              </a:cxn>
              <a:cxn ang="0">
                <a:pos x="connsiteX56953" y="connsiteY56953"/>
              </a:cxn>
              <a:cxn ang="0">
                <a:pos x="connsiteX56954" y="connsiteY56954"/>
              </a:cxn>
              <a:cxn ang="0">
                <a:pos x="connsiteX56955" y="connsiteY56955"/>
              </a:cxn>
              <a:cxn ang="0">
                <a:pos x="connsiteX56956" y="connsiteY56956"/>
              </a:cxn>
              <a:cxn ang="0">
                <a:pos x="connsiteX56957" y="connsiteY56957"/>
              </a:cxn>
              <a:cxn ang="0">
                <a:pos x="connsiteX56958" y="connsiteY56958"/>
              </a:cxn>
              <a:cxn ang="0">
                <a:pos x="connsiteX56959" y="connsiteY56959"/>
              </a:cxn>
              <a:cxn ang="0">
                <a:pos x="connsiteX56960" y="connsiteY56960"/>
              </a:cxn>
              <a:cxn ang="0">
                <a:pos x="connsiteX56961" y="connsiteY56961"/>
              </a:cxn>
              <a:cxn ang="0">
                <a:pos x="connsiteX56962" y="connsiteY56962"/>
              </a:cxn>
              <a:cxn ang="0">
                <a:pos x="connsiteX56963" y="connsiteY56963"/>
              </a:cxn>
              <a:cxn ang="0">
                <a:pos x="connsiteX56964" y="connsiteY56964"/>
              </a:cxn>
              <a:cxn ang="0">
                <a:pos x="connsiteX56965" y="connsiteY56965"/>
              </a:cxn>
              <a:cxn ang="0">
                <a:pos x="connsiteX56966" y="connsiteY56966"/>
              </a:cxn>
              <a:cxn ang="0">
                <a:pos x="connsiteX56967" y="connsiteY56967"/>
              </a:cxn>
              <a:cxn ang="0">
                <a:pos x="connsiteX56968" y="connsiteY56968"/>
              </a:cxn>
              <a:cxn ang="0">
                <a:pos x="connsiteX56969" y="connsiteY56969"/>
              </a:cxn>
              <a:cxn ang="0">
                <a:pos x="connsiteX56970" y="connsiteY56970"/>
              </a:cxn>
              <a:cxn ang="0">
                <a:pos x="connsiteX56971" y="connsiteY56971"/>
              </a:cxn>
              <a:cxn ang="0">
                <a:pos x="connsiteX56972" y="connsiteY56972"/>
              </a:cxn>
              <a:cxn ang="0">
                <a:pos x="connsiteX56973" y="connsiteY56973"/>
              </a:cxn>
              <a:cxn ang="0">
                <a:pos x="connsiteX56974" y="connsiteY56974"/>
              </a:cxn>
              <a:cxn ang="0">
                <a:pos x="connsiteX56975" y="connsiteY56975"/>
              </a:cxn>
              <a:cxn ang="0">
                <a:pos x="connsiteX56976" y="connsiteY56976"/>
              </a:cxn>
              <a:cxn ang="0">
                <a:pos x="connsiteX56977" y="connsiteY56977"/>
              </a:cxn>
              <a:cxn ang="0">
                <a:pos x="connsiteX56978" y="connsiteY56978"/>
              </a:cxn>
              <a:cxn ang="0">
                <a:pos x="connsiteX56979" y="connsiteY56979"/>
              </a:cxn>
              <a:cxn ang="0">
                <a:pos x="connsiteX56980" y="connsiteY56980"/>
              </a:cxn>
              <a:cxn ang="0">
                <a:pos x="connsiteX56981" y="connsiteY56981"/>
              </a:cxn>
              <a:cxn ang="0">
                <a:pos x="connsiteX56982" y="connsiteY56982"/>
              </a:cxn>
              <a:cxn ang="0">
                <a:pos x="connsiteX56983" y="connsiteY56983"/>
              </a:cxn>
              <a:cxn ang="0">
                <a:pos x="connsiteX56984" y="connsiteY56984"/>
              </a:cxn>
              <a:cxn ang="0">
                <a:pos x="connsiteX56985" y="connsiteY56985"/>
              </a:cxn>
              <a:cxn ang="0">
                <a:pos x="connsiteX56986" y="connsiteY56986"/>
              </a:cxn>
              <a:cxn ang="0">
                <a:pos x="connsiteX56987" y="connsiteY56987"/>
              </a:cxn>
              <a:cxn ang="0">
                <a:pos x="connsiteX56988" y="connsiteY56988"/>
              </a:cxn>
              <a:cxn ang="0">
                <a:pos x="connsiteX56989" y="connsiteY56989"/>
              </a:cxn>
              <a:cxn ang="0">
                <a:pos x="connsiteX56990" y="connsiteY56990"/>
              </a:cxn>
              <a:cxn ang="0">
                <a:pos x="connsiteX56991" y="connsiteY56991"/>
              </a:cxn>
              <a:cxn ang="0">
                <a:pos x="connsiteX56992" y="connsiteY56992"/>
              </a:cxn>
              <a:cxn ang="0">
                <a:pos x="connsiteX56993" y="connsiteY56993"/>
              </a:cxn>
              <a:cxn ang="0">
                <a:pos x="connsiteX56994" y="connsiteY56994"/>
              </a:cxn>
              <a:cxn ang="0">
                <a:pos x="connsiteX56995" y="connsiteY56995"/>
              </a:cxn>
              <a:cxn ang="0">
                <a:pos x="connsiteX56996" y="connsiteY56996"/>
              </a:cxn>
              <a:cxn ang="0">
                <a:pos x="connsiteX56997" y="connsiteY56997"/>
              </a:cxn>
              <a:cxn ang="0">
                <a:pos x="connsiteX56998" y="connsiteY56998"/>
              </a:cxn>
              <a:cxn ang="0">
                <a:pos x="connsiteX56999" y="connsiteY56999"/>
              </a:cxn>
              <a:cxn ang="0">
                <a:pos x="connsiteX57000" y="connsiteY57000"/>
              </a:cxn>
              <a:cxn ang="0">
                <a:pos x="connsiteX57001" y="connsiteY57001"/>
              </a:cxn>
              <a:cxn ang="0">
                <a:pos x="connsiteX57002" y="connsiteY57002"/>
              </a:cxn>
              <a:cxn ang="0">
                <a:pos x="connsiteX57003" y="connsiteY57003"/>
              </a:cxn>
              <a:cxn ang="0">
                <a:pos x="connsiteX57004" y="connsiteY57004"/>
              </a:cxn>
              <a:cxn ang="0">
                <a:pos x="connsiteX57005" y="connsiteY57005"/>
              </a:cxn>
              <a:cxn ang="0">
                <a:pos x="connsiteX57006" y="connsiteY57006"/>
              </a:cxn>
              <a:cxn ang="0">
                <a:pos x="connsiteX57007" y="connsiteY57007"/>
              </a:cxn>
              <a:cxn ang="0">
                <a:pos x="connsiteX57008" y="connsiteY57008"/>
              </a:cxn>
              <a:cxn ang="0">
                <a:pos x="connsiteX57009" y="connsiteY57009"/>
              </a:cxn>
              <a:cxn ang="0">
                <a:pos x="connsiteX57010" y="connsiteY57010"/>
              </a:cxn>
              <a:cxn ang="0">
                <a:pos x="connsiteX57011" y="connsiteY57011"/>
              </a:cxn>
              <a:cxn ang="0">
                <a:pos x="connsiteX57012" y="connsiteY57012"/>
              </a:cxn>
              <a:cxn ang="0">
                <a:pos x="connsiteX57013" y="connsiteY57013"/>
              </a:cxn>
              <a:cxn ang="0">
                <a:pos x="connsiteX57014" y="connsiteY57014"/>
              </a:cxn>
              <a:cxn ang="0">
                <a:pos x="connsiteX57015" y="connsiteY57015"/>
              </a:cxn>
              <a:cxn ang="0">
                <a:pos x="connsiteX57016" y="connsiteY57016"/>
              </a:cxn>
              <a:cxn ang="0">
                <a:pos x="connsiteX57017" y="connsiteY57017"/>
              </a:cxn>
              <a:cxn ang="0">
                <a:pos x="connsiteX57018" y="connsiteY57018"/>
              </a:cxn>
              <a:cxn ang="0">
                <a:pos x="connsiteX57019" y="connsiteY57019"/>
              </a:cxn>
              <a:cxn ang="0">
                <a:pos x="connsiteX57020" y="connsiteY57020"/>
              </a:cxn>
              <a:cxn ang="0">
                <a:pos x="connsiteX57021" y="connsiteY57021"/>
              </a:cxn>
              <a:cxn ang="0">
                <a:pos x="connsiteX57022" y="connsiteY57022"/>
              </a:cxn>
              <a:cxn ang="0">
                <a:pos x="connsiteX57023" y="connsiteY57023"/>
              </a:cxn>
              <a:cxn ang="0">
                <a:pos x="connsiteX57024" y="connsiteY57024"/>
              </a:cxn>
              <a:cxn ang="0">
                <a:pos x="connsiteX57025" y="connsiteY57025"/>
              </a:cxn>
              <a:cxn ang="0">
                <a:pos x="connsiteX57026" y="connsiteY57026"/>
              </a:cxn>
              <a:cxn ang="0">
                <a:pos x="connsiteX57027" y="connsiteY57027"/>
              </a:cxn>
              <a:cxn ang="0">
                <a:pos x="connsiteX57028" y="connsiteY57028"/>
              </a:cxn>
              <a:cxn ang="0">
                <a:pos x="connsiteX57029" y="connsiteY57029"/>
              </a:cxn>
              <a:cxn ang="0">
                <a:pos x="connsiteX57030" y="connsiteY57030"/>
              </a:cxn>
              <a:cxn ang="0">
                <a:pos x="connsiteX57031" y="connsiteY57031"/>
              </a:cxn>
              <a:cxn ang="0">
                <a:pos x="connsiteX57032" y="connsiteY57032"/>
              </a:cxn>
              <a:cxn ang="0">
                <a:pos x="connsiteX57033" y="connsiteY57033"/>
              </a:cxn>
              <a:cxn ang="0">
                <a:pos x="connsiteX57034" y="connsiteY57034"/>
              </a:cxn>
              <a:cxn ang="0">
                <a:pos x="connsiteX57035" y="connsiteY57035"/>
              </a:cxn>
              <a:cxn ang="0">
                <a:pos x="connsiteX57036" y="connsiteY57036"/>
              </a:cxn>
              <a:cxn ang="0">
                <a:pos x="connsiteX57037" y="connsiteY57037"/>
              </a:cxn>
              <a:cxn ang="0">
                <a:pos x="connsiteX57038" y="connsiteY57038"/>
              </a:cxn>
              <a:cxn ang="0">
                <a:pos x="connsiteX57039" y="connsiteY57039"/>
              </a:cxn>
              <a:cxn ang="0">
                <a:pos x="connsiteX57040" y="connsiteY57040"/>
              </a:cxn>
              <a:cxn ang="0">
                <a:pos x="connsiteX57041" y="connsiteY57041"/>
              </a:cxn>
              <a:cxn ang="0">
                <a:pos x="connsiteX57042" y="connsiteY57042"/>
              </a:cxn>
              <a:cxn ang="0">
                <a:pos x="connsiteX57043" y="connsiteY57043"/>
              </a:cxn>
              <a:cxn ang="0">
                <a:pos x="connsiteX57044" y="connsiteY57044"/>
              </a:cxn>
              <a:cxn ang="0">
                <a:pos x="connsiteX57045" y="connsiteY57045"/>
              </a:cxn>
              <a:cxn ang="0">
                <a:pos x="connsiteX57046" y="connsiteY57046"/>
              </a:cxn>
              <a:cxn ang="0">
                <a:pos x="connsiteX57047" y="connsiteY57047"/>
              </a:cxn>
              <a:cxn ang="0">
                <a:pos x="connsiteX57048" y="connsiteY57048"/>
              </a:cxn>
              <a:cxn ang="0">
                <a:pos x="connsiteX57049" y="connsiteY57049"/>
              </a:cxn>
              <a:cxn ang="0">
                <a:pos x="connsiteX57050" y="connsiteY57050"/>
              </a:cxn>
              <a:cxn ang="0">
                <a:pos x="connsiteX57051" y="connsiteY57051"/>
              </a:cxn>
              <a:cxn ang="0">
                <a:pos x="connsiteX57052" y="connsiteY57052"/>
              </a:cxn>
              <a:cxn ang="0">
                <a:pos x="connsiteX57053" y="connsiteY57053"/>
              </a:cxn>
              <a:cxn ang="0">
                <a:pos x="connsiteX57054" y="connsiteY57054"/>
              </a:cxn>
              <a:cxn ang="0">
                <a:pos x="connsiteX57055" y="connsiteY57055"/>
              </a:cxn>
              <a:cxn ang="0">
                <a:pos x="connsiteX57056" y="connsiteY57056"/>
              </a:cxn>
              <a:cxn ang="0">
                <a:pos x="connsiteX57057" y="connsiteY57057"/>
              </a:cxn>
              <a:cxn ang="0">
                <a:pos x="connsiteX57058" y="connsiteY57058"/>
              </a:cxn>
              <a:cxn ang="0">
                <a:pos x="connsiteX57059" y="connsiteY57059"/>
              </a:cxn>
              <a:cxn ang="0">
                <a:pos x="connsiteX57060" y="connsiteY57060"/>
              </a:cxn>
              <a:cxn ang="0">
                <a:pos x="connsiteX57061" y="connsiteY57061"/>
              </a:cxn>
              <a:cxn ang="0">
                <a:pos x="connsiteX57062" y="connsiteY57062"/>
              </a:cxn>
              <a:cxn ang="0">
                <a:pos x="connsiteX57063" y="connsiteY57063"/>
              </a:cxn>
              <a:cxn ang="0">
                <a:pos x="connsiteX57064" y="connsiteY57064"/>
              </a:cxn>
              <a:cxn ang="0">
                <a:pos x="connsiteX57065" y="connsiteY57065"/>
              </a:cxn>
              <a:cxn ang="0">
                <a:pos x="connsiteX57066" y="connsiteY57066"/>
              </a:cxn>
              <a:cxn ang="0">
                <a:pos x="connsiteX57067" y="connsiteY57067"/>
              </a:cxn>
              <a:cxn ang="0">
                <a:pos x="connsiteX57068" y="connsiteY57068"/>
              </a:cxn>
              <a:cxn ang="0">
                <a:pos x="connsiteX57069" y="connsiteY57069"/>
              </a:cxn>
              <a:cxn ang="0">
                <a:pos x="connsiteX57070" y="connsiteY57070"/>
              </a:cxn>
              <a:cxn ang="0">
                <a:pos x="connsiteX57071" y="connsiteY57071"/>
              </a:cxn>
              <a:cxn ang="0">
                <a:pos x="connsiteX57072" y="connsiteY57072"/>
              </a:cxn>
              <a:cxn ang="0">
                <a:pos x="connsiteX57073" y="connsiteY57073"/>
              </a:cxn>
              <a:cxn ang="0">
                <a:pos x="connsiteX57074" y="connsiteY57074"/>
              </a:cxn>
              <a:cxn ang="0">
                <a:pos x="connsiteX57075" y="connsiteY57075"/>
              </a:cxn>
              <a:cxn ang="0">
                <a:pos x="connsiteX57076" y="connsiteY57076"/>
              </a:cxn>
              <a:cxn ang="0">
                <a:pos x="connsiteX57077" y="connsiteY57077"/>
              </a:cxn>
              <a:cxn ang="0">
                <a:pos x="connsiteX57078" y="connsiteY57078"/>
              </a:cxn>
              <a:cxn ang="0">
                <a:pos x="connsiteX57079" y="connsiteY57079"/>
              </a:cxn>
              <a:cxn ang="0">
                <a:pos x="connsiteX57080" y="connsiteY57080"/>
              </a:cxn>
              <a:cxn ang="0">
                <a:pos x="connsiteX57081" y="connsiteY57081"/>
              </a:cxn>
              <a:cxn ang="0">
                <a:pos x="connsiteX57082" y="connsiteY57082"/>
              </a:cxn>
              <a:cxn ang="0">
                <a:pos x="connsiteX57083" y="connsiteY57083"/>
              </a:cxn>
              <a:cxn ang="0">
                <a:pos x="connsiteX57084" y="connsiteY57084"/>
              </a:cxn>
              <a:cxn ang="0">
                <a:pos x="connsiteX57085" y="connsiteY57085"/>
              </a:cxn>
              <a:cxn ang="0">
                <a:pos x="connsiteX57086" y="connsiteY57086"/>
              </a:cxn>
              <a:cxn ang="0">
                <a:pos x="connsiteX57087" y="connsiteY57087"/>
              </a:cxn>
              <a:cxn ang="0">
                <a:pos x="connsiteX57088" y="connsiteY57088"/>
              </a:cxn>
              <a:cxn ang="0">
                <a:pos x="connsiteX57089" y="connsiteY57089"/>
              </a:cxn>
              <a:cxn ang="0">
                <a:pos x="connsiteX57090" y="connsiteY57090"/>
              </a:cxn>
              <a:cxn ang="0">
                <a:pos x="connsiteX57091" y="connsiteY57091"/>
              </a:cxn>
              <a:cxn ang="0">
                <a:pos x="connsiteX57092" y="connsiteY57092"/>
              </a:cxn>
              <a:cxn ang="0">
                <a:pos x="connsiteX57093" y="connsiteY57093"/>
              </a:cxn>
              <a:cxn ang="0">
                <a:pos x="connsiteX57094" y="connsiteY57094"/>
              </a:cxn>
              <a:cxn ang="0">
                <a:pos x="connsiteX57095" y="connsiteY57095"/>
              </a:cxn>
              <a:cxn ang="0">
                <a:pos x="connsiteX57096" y="connsiteY57096"/>
              </a:cxn>
              <a:cxn ang="0">
                <a:pos x="connsiteX57097" y="connsiteY57097"/>
              </a:cxn>
              <a:cxn ang="0">
                <a:pos x="connsiteX57098" y="connsiteY57098"/>
              </a:cxn>
              <a:cxn ang="0">
                <a:pos x="connsiteX57099" y="connsiteY57099"/>
              </a:cxn>
              <a:cxn ang="0">
                <a:pos x="connsiteX57100" y="connsiteY57100"/>
              </a:cxn>
              <a:cxn ang="0">
                <a:pos x="connsiteX57101" y="connsiteY57101"/>
              </a:cxn>
              <a:cxn ang="0">
                <a:pos x="connsiteX57102" y="connsiteY57102"/>
              </a:cxn>
              <a:cxn ang="0">
                <a:pos x="connsiteX57103" y="connsiteY57103"/>
              </a:cxn>
              <a:cxn ang="0">
                <a:pos x="connsiteX57104" y="connsiteY57104"/>
              </a:cxn>
              <a:cxn ang="0">
                <a:pos x="connsiteX57105" y="connsiteY57105"/>
              </a:cxn>
              <a:cxn ang="0">
                <a:pos x="connsiteX57106" y="connsiteY57106"/>
              </a:cxn>
              <a:cxn ang="0">
                <a:pos x="connsiteX57107" y="connsiteY57107"/>
              </a:cxn>
              <a:cxn ang="0">
                <a:pos x="connsiteX57108" y="connsiteY57108"/>
              </a:cxn>
              <a:cxn ang="0">
                <a:pos x="connsiteX57109" y="connsiteY57109"/>
              </a:cxn>
              <a:cxn ang="0">
                <a:pos x="connsiteX57110" y="connsiteY57110"/>
              </a:cxn>
              <a:cxn ang="0">
                <a:pos x="connsiteX57111" y="connsiteY57111"/>
              </a:cxn>
              <a:cxn ang="0">
                <a:pos x="connsiteX57112" y="connsiteY57112"/>
              </a:cxn>
              <a:cxn ang="0">
                <a:pos x="connsiteX57113" y="connsiteY57113"/>
              </a:cxn>
              <a:cxn ang="0">
                <a:pos x="connsiteX57114" y="connsiteY57114"/>
              </a:cxn>
              <a:cxn ang="0">
                <a:pos x="connsiteX57115" y="connsiteY57115"/>
              </a:cxn>
              <a:cxn ang="0">
                <a:pos x="connsiteX57116" y="connsiteY57116"/>
              </a:cxn>
              <a:cxn ang="0">
                <a:pos x="connsiteX57117" y="connsiteY57117"/>
              </a:cxn>
              <a:cxn ang="0">
                <a:pos x="connsiteX57118" y="connsiteY57118"/>
              </a:cxn>
              <a:cxn ang="0">
                <a:pos x="connsiteX57119" y="connsiteY57119"/>
              </a:cxn>
              <a:cxn ang="0">
                <a:pos x="connsiteX57120" y="connsiteY57120"/>
              </a:cxn>
              <a:cxn ang="0">
                <a:pos x="connsiteX57121" y="connsiteY57121"/>
              </a:cxn>
              <a:cxn ang="0">
                <a:pos x="connsiteX57122" y="connsiteY57122"/>
              </a:cxn>
              <a:cxn ang="0">
                <a:pos x="connsiteX57123" y="connsiteY57123"/>
              </a:cxn>
              <a:cxn ang="0">
                <a:pos x="connsiteX57124" y="connsiteY57124"/>
              </a:cxn>
              <a:cxn ang="0">
                <a:pos x="connsiteX57125" y="connsiteY57125"/>
              </a:cxn>
              <a:cxn ang="0">
                <a:pos x="connsiteX57126" y="connsiteY57126"/>
              </a:cxn>
              <a:cxn ang="0">
                <a:pos x="connsiteX57127" y="connsiteY57127"/>
              </a:cxn>
              <a:cxn ang="0">
                <a:pos x="connsiteX57128" y="connsiteY57128"/>
              </a:cxn>
              <a:cxn ang="0">
                <a:pos x="connsiteX57129" y="connsiteY57129"/>
              </a:cxn>
              <a:cxn ang="0">
                <a:pos x="connsiteX57130" y="connsiteY57130"/>
              </a:cxn>
              <a:cxn ang="0">
                <a:pos x="connsiteX57131" y="connsiteY57131"/>
              </a:cxn>
              <a:cxn ang="0">
                <a:pos x="connsiteX57132" y="connsiteY57132"/>
              </a:cxn>
              <a:cxn ang="0">
                <a:pos x="connsiteX57133" y="connsiteY57133"/>
              </a:cxn>
              <a:cxn ang="0">
                <a:pos x="connsiteX57134" y="connsiteY57134"/>
              </a:cxn>
              <a:cxn ang="0">
                <a:pos x="connsiteX57135" y="connsiteY57135"/>
              </a:cxn>
              <a:cxn ang="0">
                <a:pos x="connsiteX57136" y="connsiteY57136"/>
              </a:cxn>
              <a:cxn ang="0">
                <a:pos x="connsiteX57137" y="connsiteY57137"/>
              </a:cxn>
              <a:cxn ang="0">
                <a:pos x="connsiteX57138" y="connsiteY57138"/>
              </a:cxn>
              <a:cxn ang="0">
                <a:pos x="connsiteX57139" y="connsiteY57139"/>
              </a:cxn>
              <a:cxn ang="0">
                <a:pos x="connsiteX57140" y="connsiteY57140"/>
              </a:cxn>
              <a:cxn ang="0">
                <a:pos x="connsiteX57141" y="connsiteY57141"/>
              </a:cxn>
              <a:cxn ang="0">
                <a:pos x="connsiteX57142" y="connsiteY57142"/>
              </a:cxn>
              <a:cxn ang="0">
                <a:pos x="connsiteX57143" y="connsiteY57143"/>
              </a:cxn>
              <a:cxn ang="0">
                <a:pos x="connsiteX57144" y="connsiteY57144"/>
              </a:cxn>
              <a:cxn ang="0">
                <a:pos x="connsiteX57145" y="connsiteY57145"/>
              </a:cxn>
              <a:cxn ang="0">
                <a:pos x="connsiteX57146" y="connsiteY57146"/>
              </a:cxn>
              <a:cxn ang="0">
                <a:pos x="connsiteX57147" y="connsiteY57147"/>
              </a:cxn>
              <a:cxn ang="0">
                <a:pos x="connsiteX57148" y="connsiteY57148"/>
              </a:cxn>
              <a:cxn ang="0">
                <a:pos x="connsiteX57149" y="connsiteY57149"/>
              </a:cxn>
              <a:cxn ang="0">
                <a:pos x="connsiteX57150" y="connsiteY57150"/>
              </a:cxn>
              <a:cxn ang="0">
                <a:pos x="connsiteX57151" y="connsiteY57151"/>
              </a:cxn>
              <a:cxn ang="0">
                <a:pos x="connsiteX57152" y="connsiteY57152"/>
              </a:cxn>
              <a:cxn ang="0">
                <a:pos x="connsiteX57153" y="connsiteY57153"/>
              </a:cxn>
              <a:cxn ang="0">
                <a:pos x="connsiteX57154" y="connsiteY57154"/>
              </a:cxn>
              <a:cxn ang="0">
                <a:pos x="connsiteX57155" y="connsiteY57155"/>
              </a:cxn>
              <a:cxn ang="0">
                <a:pos x="connsiteX57156" y="connsiteY57156"/>
              </a:cxn>
              <a:cxn ang="0">
                <a:pos x="connsiteX57157" y="connsiteY57157"/>
              </a:cxn>
              <a:cxn ang="0">
                <a:pos x="connsiteX57158" y="connsiteY57158"/>
              </a:cxn>
              <a:cxn ang="0">
                <a:pos x="connsiteX57159" y="connsiteY57159"/>
              </a:cxn>
              <a:cxn ang="0">
                <a:pos x="connsiteX57160" y="connsiteY57160"/>
              </a:cxn>
              <a:cxn ang="0">
                <a:pos x="connsiteX57161" y="connsiteY57161"/>
              </a:cxn>
              <a:cxn ang="0">
                <a:pos x="connsiteX57162" y="connsiteY57162"/>
              </a:cxn>
              <a:cxn ang="0">
                <a:pos x="connsiteX57163" y="connsiteY57163"/>
              </a:cxn>
              <a:cxn ang="0">
                <a:pos x="connsiteX57164" y="connsiteY57164"/>
              </a:cxn>
              <a:cxn ang="0">
                <a:pos x="connsiteX57165" y="connsiteY57165"/>
              </a:cxn>
              <a:cxn ang="0">
                <a:pos x="connsiteX57166" y="connsiteY57166"/>
              </a:cxn>
              <a:cxn ang="0">
                <a:pos x="connsiteX57167" y="connsiteY57167"/>
              </a:cxn>
              <a:cxn ang="0">
                <a:pos x="connsiteX57168" y="connsiteY57168"/>
              </a:cxn>
              <a:cxn ang="0">
                <a:pos x="connsiteX57169" y="connsiteY57169"/>
              </a:cxn>
              <a:cxn ang="0">
                <a:pos x="connsiteX57170" y="connsiteY57170"/>
              </a:cxn>
              <a:cxn ang="0">
                <a:pos x="connsiteX57171" y="connsiteY57171"/>
              </a:cxn>
              <a:cxn ang="0">
                <a:pos x="connsiteX57172" y="connsiteY57172"/>
              </a:cxn>
              <a:cxn ang="0">
                <a:pos x="connsiteX57173" y="connsiteY57173"/>
              </a:cxn>
              <a:cxn ang="0">
                <a:pos x="connsiteX57174" y="connsiteY57174"/>
              </a:cxn>
              <a:cxn ang="0">
                <a:pos x="connsiteX57175" y="connsiteY57175"/>
              </a:cxn>
              <a:cxn ang="0">
                <a:pos x="connsiteX57176" y="connsiteY57176"/>
              </a:cxn>
              <a:cxn ang="0">
                <a:pos x="connsiteX57177" y="connsiteY57177"/>
              </a:cxn>
              <a:cxn ang="0">
                <a:pos x="connsiteX57178" y="connsiteY57178"/>
              </a:cxn>
              <a:cxn ang="0">
                <a:pos x="connsiteX57179" y="connsiteY57179"/>
              </a:cxn>
              <a:cxn ang="0">
                <a:pos x="connsiteX57180" y="connsiteY57180"/>
              </a:cxn>
              <a:cxn ang="0">
                <a:pos x="connsiteX57181" y="connsiteY57181"/>
              </a:cxn>
              <a:cxn ang="0">
                <a:pos x="connsiteX57182" y="connsiteY57182"/>
              </a:cxn>
              <a:cxn ang="0">
                <a:pos x="connsiteX57183" y="connsiteY57183"/>
              </a:cxn>
              <a:cxn ang="0">
                <a:pos x="connsiteX57184" y="connsiteY57184"/>
              </a:cxn>
              <a:cxn ang="0">
                <a:pos x="connsiteX57185" y="connsiteY57185"/>
              </a:cxn>
              <a:cxn ang="0">
                <a:pos x="connsiteX57186" y="connsiteY57186"/>
              </a:cxn>
              <a:cxn ang="0">
                <a:pos x="connsiteX57187" y="connsiteY57187"/>
              </a:cxn>
              <a:cxn ang="0">
                <a:pos x="connsiteX57188" y="connsiteY57188"/>
              </a:cxn>
              <a:cxn ang="0">
                <a:pos x="connsiteX57189" y="connsiteY57189"/>
              </a:cxn>
              <a:cxn ang="0">
                <a:pos x="connsiteX57190" y="connsiteY57190"/>
              </a:cxn>
              <a:cxn ang="0">
                <a:pos x="connsiteX57191" y="connsiteY57191"/>
              </a:cxn>
              <a:cxn ang="0">
                <a:pos x="connsiteX57192" y="connsiteY57192"/>
              </a:cxn>
              <a:cxn ang="0">
                <a:pos x="connsiteX57193" y="connsiteY57193"/>
              </a:cxn>
              <a:cxn ang="0">
                <a:pos x="connsiteX57194" y="connsiteY57194"/>
              </a:cxn>
              <a:cxn ang="0">
                <a:pos x="connsiteX57195" y="connsiteY57195"/>
              </a:cxn>
              <a:cxn ang="0">
                <a:pos x="connsiteX57196" y="connsiteY57196"/>
              </a:cxn>
              <a:cxn ang="0">
                <a:pos x="connsiteX57197" y="connsiteY57197"/>
              </a:cxn>
              <a:cxn ang="0">
                <a:pos x="connsiteX57198" y="connsiteY57198"/>
              </a:cxn>
              <a:cxn ang="0">
                <a:pos x="connsiteX57199" y="connsiteY57199"/>
              </a:cxn>
              <a:cxn ang="0">
                <a:pos x="connsiteX57200" y="connsiteY57200"/>
              </a:cxn>
              <a:cxn ang="0">
                <a:pos x="connsiteX57201" y="connsiteY57201"/>
              </a:cxn>
              <a:cxn ang="0">
                <a:pos x="connsiteX57202" y="connsiteY57202"/>
              </a:cxn>
              <a:cxn ang="0">
                <a:pos x="connsiteX57203" y="connsiteY57203"/>
              </a:cxn>
              <a:cxn ang="0">
                <a:pos x="connsiteX57204" y="connsiteY57204"/>
              </a:cxn>
              <a:cxn ang="0">
                <a:pos x="connsiteX57205" y="connsiteY57205"/>
              </a:cxn>
              <a:cxn ang="0">
                <a:pos x="connsiteX57206" y="connsiteY57206"/>
              </a:cxn>
              <a:cxn ang="0">
                <a:pos x="connsiteX57207" y="connsiteY57207"/>
              </a:cxn>
              <a:cxn ang="0">
                <a:pos x="connsiteX57208" y="connsiteY57208"/>
              </a:cxn>
              <a:cxn ang="0">
                <a:pos x="connsiteX57209" y="connsiteY57209"/>
              </a:cxn>
              <a:cxn ang="0">
                <a:pos x="connsiteX57210" y="connsiteY57210"/>
              </a:cxn>
              <a:cxn ang="0">
                <a:pos x="connsiteX57211" y="connsiteY57211"/>
              </a:cxn>
              <a:cxn ang="0">
                <a:pos x="connsiteX57212" y="connsiteY57212"/>
              </a:cxn>
              <a:cxn ang="0">
                <a:pos x="connsiteX57213" y="connsiteY57213"/>
              </a:cxn>
              <a:cxn ang="0">
                <a:pos x="connsiteX57214" y="connsiteY57214"/>
              </a:cxn>
              <a:cxn ang="0">
                <a:pos x="connsiteX57215" y="connsiteY57215"/>
              </a:cxn>
              <a:cxn ang="0">
                <a:pos x="connsiteX57216" y="connsiteY57216"/>
              </a:cxn>
              <a:cxn ang="0">
                <a:pos x="connsiteX57217" y="connsiteY57217"/>
              </a:cxn>
              <a:cxn ang="0">
                <a:pos x="connsiteX57218" y="connsiteY57218"/>
              </a:cxn>
              <a:cxn ang="0">
                <a:pos x="connsiteX57219" y="connsiteY57219"/>
              </a:cxn>
              <a:cxn ang="0">
                <a:pos x="connsiteX57220" y="connsiteY57220"/>
              </a:cxn>
              <a:cxn ang="0">
                <a:pos x="connsiteX57221" y="connsiteY57221"/>
              </a:cxn>
              <a:cxn ang="0">
                <a:pos x="connsiteX57222" y="connsiteY57222"/>
              </a:cxn>
              <a:cxn ang="0">
                <a:pos x="connsiteX57223" y="connsiteY57223"/>
              </a:cxn>
              <a:cxn ang="0">
                <a:pos x="connsiteX57224" y="connsiteY57224"/>
              </a:cxn>
              <a:cxn ang="0">
                <a:pos x="connsiteX57225" y="connsiteY57225"/>
              </a:cxn>
              <a:cxn ang="0">
                <a:pos x="connsiteX57226" y="connsiteY57226"/>
              </a:cxn>
              <a:cxn ang="0">
                <a:pos x="connsiteX57227" y="connsiteY57227"/>
              </a:cxn>
              <a:cxn ang="0">
                <a:pos x="connsiteX57228" y="connsiteY57228"/>
              </a:cxn>
              <a:cxn ang="0">
                <a:pos x="connsiteX57229" y="connsiteY57229"/>
              </a:cxn>
              <a:cxn ang="0">
                <a:pos x="connsiteX57230" y="connsiteY57230"/>
              </a:cxn>
              <a:cxn ang="0">
                <a:pos x="connsiteX57231" y="connsiteY57231"/>
              </a:cxn>
              <a:cxn ang="0">
                <a:pos x="connsiteX57232" y="connsiteY57232"/>
              </a:cxn>
              <a:cxn ang="0">
                <a:pos x="connsiteX57233" y="connsiteY57233"/>
              </a:cxn>
              <a:cxn ang="0">
                <a:pos x="connsiteX57234" y="connsiteY57234"/>
              </a:cxn>
              <a:cxn ang="0">
                <a:pos x="connsiteX57235" y="connsiteY57235"/>
              </a:cxn>
              <a:cxn ang="0">
                <a:pos x="connsiteX57236" y="connsiteY57236"/>
              </a:cxn>
              <a:cxn ang="0">
                <a:pos x="connsiteX57237" y="connsiteY57237"/>
              </a:cxn>
              <a:cxn ang="0">
                <a:pos x="connsiteX57238" y="connsiteY57238"/>
              </a:cxn>
              <a:cxn ang="0">
                <a:pos x="connsiteX57239" y="connsiteY57239"/>
              </a:cxn>
              <a:cxn ang="0">
                <a:pos x="connsiteX57240" y="connsiteY57240"/>
              </a:cxn>
              <a:cxn ang="0">
                <a:pos x="connsiteX57241" y="connsiteY57241"/>
              </a:cxn>
              <a:cxn ang="0">
                <a:pos x="connsiteX57242" y="connsiteY57242"/>
              </a:cxn>
              <a:cxn ang="0">
                <a:pos x="connsiteX57243" y="connsiteY57243"/>
              </a:cxn>
              <a:cxn ang="0">
                <a:pos x="connsiteX57244" y="connsiteY57244"/>
              </a:cxn>
              <a:cxn ang="0">
                <a:pos x="connsiteX57245" y="connsiteY57245"/>
              </a:cxn>
              <a:cxn ang="0">
                <a:pos x="connsiteX57246" y="connsiteY57246"/>
              </a:cxn>
              <a:cxn ang="0">
                <a:pos x="connsiteX57247" y="connsiteY57247"/>
              </a:cxn>
              <a:cxn ang="0">
                <a:pos x="connsiteX57248" y="connsiteY57248"/>
              </a:cxn>
              <a:cxn ang="0">
                <a:pos x="connsiteX57249" y="connsiteY57249"/>
              </a:cxn>
              <a:cxn ang="0">
                <a:pos x="connsiteX57250" y="connsiteY57250"/>
              </a:cxn>
              <a:cxn ang="0">
                <a:pos x="connsiteX57251" y="connsiteY57251"/>
              </a:cxn>
              <a:cxn ang="0">
                <a:pos x="connsiteX57252" y="connsiteY57252"/>
              </a:cxn>
              <a:cxn ang="0">
                <a:pos x="connsiteX57253" y="connsiteY57253"/>
              </a:cxn>
              <a:cxn ang="0">
                <a:pos x="connsiteX57254" y="connsiteY57254"/>
              </a:cxn>
              <a:cxn ang="0">
                <a:pos x="connsiteX57255" y="connsiteY57255"/>
              </a:cxn>
              <a:cxn ang="0">
                <a:pos x="connsiteX57256" y="connsiteY57256"/>
              </a:cxn>
              <a:cxn ang="0">
                <a:pos x="connsiteX57257" y="connsiteY57257"/>
              </a:cxn>
              <a:cxn ang="0">
                <a:pos x="connsiteX57258" y="connsiteY57258"/>
              </a:cxn>
              <a:cxn ang="0">
                <a:pos x="connsiteX57259" y="connsiteY57259"/>
              </a:cxn>
              <a:cxn ang="0">
                <a:pos x="connsiteX57260" y="connsiteY57260"/>
              </a:cxn>
              <a:cxn ang="0">
                <a:pos x="connsiteX57261" y="connsiteY57261"/>
              </a:cxn>
              <a:cxn ang="0">
                <a:pos x="connsiteX57262" y="connsiteY57262"/>
              </a:cxn>
              <a:cxn ang="0">
                <a:pos x="connsiteX57263" y="connsiteY57263"/>
              </a:cxn>
              <a:cxn ang="0">
                <a:pos x="connsiteX57264" y="connsiteY57264"/>
              </a:cxn>
              <a:cxn ang="0">
                <a:pos x="connsiteX57265" y="connsiteY57265"/>
              </a:cxn>
              <a:cxn ang="0">
                <a:pos x="connsiteX57266" y="connsiteY57266"/>
              </a:cxn>
              <a:cxn ang="0">
                <a:pos x="connsiteX57267" y="connsiteY57267"/>
              </a:cxn>
              <a:cxn ang="0">
                <a:pos x="connsiteX57268" y="connsiteY57268"/>
              </a:cxn>
              <a:cxn ang="0">
                <a:pos x="connsiteX57269" y="connsiteY57269"/>
              </a:cxn>
              <a:cxn ang="0">
                <a:pos x="connsiteX57270" y="connsiteY57270"/>
              </a:cxn>
              <a:cxn ang="0">
                <a:pos x="connsiteX57271" y="connsiteY57271"/>
              </a:cxn>
              <a:cxn ang="0">
                <a:pos x="connsiteX57272" y="connsiteY57272"/>
              </a:cxn>
              <a:cxn ang="0">
                <a:pos x="connsiteX57273" y="connsiteY57273"/>
              </a:cxn>
              <a:cxn ang="0">
                <a:pos x="connsiteX57274" y="connsiteY57274"/>
              </a:cxn>
              <a:cxn ang="0">
                <a:pos x="connsiteX57275" y="connsiteY57275"/>
              </a:cxn>
              <a:cxn ang="0">
                <a:pos x="connsiteX57276" y="connsiteY57276"/>
              </a:cxn>
              <a:cxn ang="0">
                <a:pos x="connsiteX57277" y="connsiteY57277"/>
              </a:cxn>
              <a:cxn ang="0">
                <a:pos x="connsiteX57278" y="connsiteY57278"/>
              </a:cxn>
              <a:cxn ang="0">
                <a:pos x="connsiteX57279" y="connsiteY57279"/>
              </a:cxn>
              <a:cxn ang="0">
                <a:pos x="connsiteX57280" y="connsiteY57280"/>
              </a:cxn>
              <a:cxn ang="0">
                <a:pos x="connsiteX57281" y="connsiteY57281"/>
              </a:cxn>
              <a:cxn ang="0">
                <a:pos x="connsiteX57282" y="connsiteY57282"/>
              </a:cxn>
              <a:cxn ang="0">
                <a:pos x="connsiteX57283" y="connsiteY57283"/>
              </a:cxn>
              <a:cxn ang="0">
                <a:pos x="connsiteX57284" y="connsiteY57284"/>
              </a:cxn>
              <a:cxn ang="0">
                <a:pos x="connsiteX57285" y="connsiteY57285"/>
              </a:cxn>
              <a:cxn ang="0">
                <a:pos x="connsiteX57286" y="connsiteY57286"/>
              </a:cxn>
              <a:cxn ang="0">
                <a:pos x="connsiteX57287" y="connsiteY57287"/>
              </a:cxn>
              <a:cxn ang="0">
                <a:pos x="connsiteX57288" y="connsiteY57288"/>
              </a:cxn>
              <a:cxn ang="0">
                <a:pos x="connsiteX57289" y="connsiteY57289"/>
              </a:cxn>
              <a:cxn ang="0">
                <a:pos x="connsiteX57290" y="connsiteY57290"/>
              </a:cxn>
              <a:cxn ang="0">
                <a:pos x="connsiteX57291" y="connsiteY57291"/>
              </a:cxn>
              <a:cxn ang="0">
                <a:pos x="connsiteX57292" y="connsiteY57292"/>
              </a:cxn>
              <a:cxn ang="0">
                <a:pos x="connsiteX57293" y="connsiteY57293"/>
              </a:cxn>
              <a:cxn ang="0">
                <a:pos x="connsiteX57294" y="connsiteY57294"/>
              </a:cxn>
              <a:cxn ang="0">
                <a:pos x="connsiteX57295" y="connsiteY57295"/>
              </a:cxn>
              <a:cxn ang="0">
                <a:pos x="connsiteX57296" y="connsiteY57296"/>
              </a:cxn>
              <a:cxn ang="0">
                <a:pos x="connsiteX57297" y="connsiteY57297"/>
              </a:cxn>
              <a:cxn ang="0">
                <a:pos x="connsiteX57298" y="connsiteY57298"/>
              </a:cxn>
              <a:cxn ang="0">
                <a:pos x="connsiteX57299" y="connsiteY57299"/>
              </a:cxn>
              <a:cxn ang="0">
                <a:pos x="connsiteX57300" y="connsiteY57300"/>
              </a:cxn>
              <a:cxn ang="0">
                <a:pos x="connsiteX57301" y="connsiteY57301"/>
              </a:cxn>
              <a:cxn ang="0">
                <a:pos x="connsiteX57302" y="connsiteY57302"/>
              </a:cxn>
              <a:cxn ang="0">
                <a:pos x="connsiteX57303" y="connsiteY57303"/>
              </a:cxn>
              <a:cxn ang="0">
                <a:pos x="connsiteX57304" y="connsiteY57304"/>
              </a:cxn>
              <a:cxn ang="0">
                <a:pos x="connsiteX57305" y="connsiteY57305"/>
              </a:cxn>
              <a:cxn ang="0">
                <a:pos x="connsiteX57306" y="connsiteY57306"/>
              </a:cxn>
              <a:cxn ang="0">
                <a:pos x="connsiteX57307" y="connsiteY57307"/>
              </a:cxn>
              <a:cxn ang="0">
                <a:pos x="connsiteX57308" y="connsiteY57308"/>
              </a:cxn>
              <a:cxn ang="0">
                <a:pos x="connsiteX57309" y="connsiteY57309"/>
              </a:cxn>
              <a:cxn ang="0">
                <a:pos x="connsiteX57310" y="connsiteY57310"/>
              </a:cxn>
              <a:cxn ang="0">
                <a:pos x="connsiteX57311" y="connsiteY57311"/>
              </a:cxn>
              <a:cxn ang="0">
                <a:pos x="connsiteX57312" y="connsiteY57312"/>
              </a:cxn>
              <a:cxn ang="0">
                <a:pos x="connsiteX57313" y="connsiteY57313"/>
              </a:cxn>
              <a:cxn ang="0">
                <a:pos x="connsiteX57314" y="connsiteY57314"/>
              </a:cxn>
              <a:cxn ang="0">
                <a:pos x="connsiteX57315" y="connsiteY57315"/>
              </a:cxn>
              <a:cxn ang="0">
                <a:pos x="connsiteX57316" y="connsiteY57316"/>
              </a:cxn>
              <a:cxn ang="0">
                <a:pos x="connsiteX57317" y="connsiteY57317"/>
              </a:cxn>
              <a:cxn ang="0">
                <a:pos x="connsiteX57318" y="connsiteY57318"/>
              </a:cxn>
              <a:cxn ang="0">
                <a:pos x="connsiteX57319" y="connsiteY57319"/>
              </a:cxn>
              <a:cxn ang="0">
                <a:pos x="connsiteX57320" y="connsiteY57320"/>
              </a:cxn>
              <a:cxn ang="0">
                <a:pos x="connsiteX57321" y="connsiteY57321"/>
              </a:cxn>
              <a:cxn ang="0">
                <a:pos x="connsiteX57322" y="connsiteY57322"/>
              </a:cxn>
              <a:cxn ang="0">
                <a:pos x="connsiteX57323" y="connsiteY57323"/>
              </a:cxn>
              <a:cxn ang="0">
                <a:pos x="connsiteX57324" y="connsiteY57324"/>
              </a:cxn>
              <a:cxn ang="0">
                <a:pos x="connsiteX57325" y="connsiteY57325"/>
              </a:cxn>
              <a:cxn ang="0">
                <a:pos x="connsiteX57326" y="connsiteY57326"/>
              </a:cxn>
              <a:cxn ang="0">
                <a:pos x="connsiteX57327" y="connsiteY57327"/>
              </a:cxn>
              <a:cxn ang="0">
                <a:pos x="connsiteX57328" y="connsiteY57328"/>
              </a:cxn>
              <a:cxn ang="0">
                <a:pos x="connsiteX57329" y="connsiteY57329"/>
              </a:cxn>
              <a:cxn ang="0">
                <a:pos x="connsiteX57330" y="connsiteY57330"/>
              </a:cxn>
              <a:cxn ang="0">
                <a:pos x="connsiteX57331" y="connsiteY57331"/>
              </a:cxn>
              <a:cxn ang="0">
                <a:pos x="connsiteX57332" y="connsiteY57332"/>
              </a:cxn>
              <a:cxn ang="0">
                <a:pos x="connsiteX57333" y="connsiteY57333"/>
              </a:cxn>
              <a:cxn ang="0">
                <a:pos x="connsiteX57334" y="connsiteY57334"/>
              </a:cxn>
              <a:cxn ang="0">
                <a:pos x="connsiteX57335" y="connsiteY57335"/>
              </a:cxn>
              <a:cxn ang="0">
                <a:pos x="connsiteX57336" y="connsiteY57336"/>
              </a:cxn>
              <a:cxn ang="0">
                <a:pos x="connsiteX57337" y="connsiteY57337"/>
              </a:cxn>
              <a:cxn ang="0">
                <a:pos x="connsiteX57338" y="connsiteY57338"/>
              </a:cxn>
              <a:cxn ang="0">
                <a:pos x="connsiteX57339" y="connsiteY57339"/>
              </a:cxn>
              <a:cxn ang="0">
                <a:pos x="connsiteX57340" y="connsiteY57340"/>
              </a:cxn>
              <a:cxn ang="0">
                <a:pos x="connsiteX57341" y="connsiteY57341"/>
              </a:cxn>
              <a:cxn ang="0">
                <a:pos x="connsiteX57342" y="connsiteY57342"/>
              </a:cxn>
              <a:cxn ang="0">
                <a:pos x="connsiteX57343" y="connsiteY57343"/>
              </a:cxn>
              <a:cxn ang="0">
                <a:pos x="connsiteX57344" y="connsiteY57344"/>
              </a:cxn>
              <a:cxn ang="0">
                <a:pos x="connsiteX57345" y="connsiteY57345"/>
              </a:cxn>
              <a:cxn ang="0">
                <a:pos x="connsiteX57346" y="connsiteY57346"/>
              </a:cxn>
              <a:cxn ang="0">
                <a:pos x="connsiteX57347" y="connsiteY57347"/>
              </a:cxn>
              <a:cxn ang="0">
                <a:pos x="connsiteX57348" y="connsiteY57348"/>
              </a:cxn>
              <a:cxn ang="0">
                <a:pos x="connsiteX57349" y="connsiteY57349"/>
              </a:cxn>
              <a:cxn ang="0">
                <a:pos x="connsiteX57350" y="connsiteY57350"/>
              </a:cxn>
              <a:cxn ang="0">
                <a:pos x="connsiteX57351" y="connsiteY57351"/>
              </a:cxn>
              <a:cxn ang="0">
                <a:pos x="connsiteX57352" y="connsiteY57352"/>
              </a:cxn>
              <a:cxn ang="0">
                <a:pos x="connsiteX57353" y="connsiteY57353"/>
              </a:cxn>
              <a:cxn ang="0">
                <a:pos x="connsiteX57354" y="connsiteY57354"/>
              </a:cxn>
              <a:cxn ang="0">
                <a:pos x="connsiteX57355" y="connsiteY57355"/>
              </a:cxn>
              <a:cxn ang="0">
                <a:pos x="connsiteX57356" y="connsiteY57356"/>
              </a:cxn>
              <a:cxn ang="0">
                <a:pos x="connsiteX57357" y="connsiteY57357"/>
              </a:cxn>
              <a:cxn ang="0">
                <a:pos x="connsiteX57358" y="connsiteY57358"/>
              </a:cxn>
              <a:cxn ang="0">
                <a:pos x="connsiteX57359" y="connsiteY57359"/>
              </a:cxn>
              <a:cxn ang="0">
                <a:pos x="connsiteX57360" y="connsiteY57360"/>
              </a:cxn>
              <a:cxn ang="0">
                <a:pos x="connsiteX57361" y="connsiteY57361"/>
              </a:cxn>
              <a:cxn ang="0">
                <a:pos x="connsiteX57362" y="connsiteY57362"/>
              </a:cxn>
              <a:cxn ang="0">
                <a:pos x="connsiteX57363" y="connsiteY57363"/>
              </a:cxn>
              <a:cxn ang="0">
                <a:pos x="connsiteX57364" y="connsiteY57364"/>
              </a:cxn>
              <a:cxn ang="0">
                <a:pos x="connsiteX57365" y="connsiteY57365"/>
              </a:cxn>
              <a:cxn ang="0">
                <a:pos x="connsiteX57366" y="connsiteY57366"/>
              </a:cxn>
              <a:cxn ang="0">
                <a:pos x="connsiteX57367" y="connsiteY57367"/>
              </a:cxn>
              <a:cxn ang="0">
                <a:pos x="connsiteX57368" y="connsiteY57368"/>
              </a:cxn>
              <a:cxn ang="0">
                <a:pos x="connsiteX57369" y="connsiteY57369"/>
              </a:cxn>
              <a:cxn ang="0">
                <a:pos x="connsiteX57370" y="connsiteY57370"/>
              </a:cxn>
              <a:cxn ang="0">
                <a:pos x="connsiteX57371" y="connsiteY57371"/>
              </a:cxn>
              <a:cxn ang="0">
                <a:pos x="connsiteX57372" y="connsiteY57372"/>
              </a:cxn>
              <a:cxn ang="0">
                <a:pos x="connsiteX57373" y="connsiteY57373"/>
              </a:cxn>
              <a:cxn ang="0">
                <a:pos x="connsiteX57374" y="connsiteY57374"/>
              </a:cxn>
              <a:cxn ang="0">
                <a:pos x="connsiteX57375" y="connsiteY57375"/>
              </a:cxn>
              <a:cxn ang="0">
                <a:pos x="connsiteX57376" y="connsiteY57376"/>
              </a:cxn>
              <a:cxn ang="0">
                <a:pos x="connsiteX57377" y="connsiteY57377"/>
              </a:cxn>
              <a:cxn ang="0">
                <a:pos x="connsiteX57378" y="connsiteY57378"/>
              </a:cxn>
              <a:cxn ang="0">
                <a:pos x="connsiteX57379" y="connsiteY57379"/>
              </a:cxn>
              <a:cxn ang="0">
                <a:pos x="connsiteX57380" y="connsiteY57380"/>
              </a:cxn>
              <a:cxn ang="0">
                <a:pos x="connsiteX57381" y="connsiteY57381"/>
              </a:cxn>
              <a:cxn ang="0">
                <a:pos x="connsiteX57382" y="connsiteY57382"/>
              </a:cxn>
              <a:cxn ang="0">
                <a:pos x="connsiteX57383" y="connsiteY57383"/>
              </a:cxn>
              <a:cxn ang="0">
                <a:pos x="connsiteX57384" y="connsiteY57384"/>
              </a:cxn>
              <a:cxn ang="0">
                <a:pos x="connsiteX57385" y="connsiteY57385"/>
              </a:cxn>
              <a:cxn ang="0">
                <a:pos x="connsiteX57386" y="connsiteY57386"/>
              </a:cxn>
              <a:cxn ang="0">
                <a:pos x="connsiteX57387" y="connsiteY57387"/>
              </a:cxn>
              <a:cxn ang="0">
                <a:pos x="connsiteX57388" y="connsiteY57388"/>
              </a:cxn>
              <a:cxn ang="0">
                <a:pos x="connsiteX57389" y="connsiteY57389"/>
              </a:cxn>
              <a:cxn ang="0">
                <a:pos x="connsiteX57390" y="connsiteY57390"/>
              </a:cxn>
              <a:cxn ang="0">
                <a:pos x="connsiteX57391" y="connsiteY57391"/>
              </a:cxn>
              <a:cxn ang="0">
                <a:pos x="connsiteX57392" y="connsiteY57392"/>
              </a:cxn>
              <a:cxn ang="0">
                <a:pos x="connsiteX57393" y="connsiteY57393"/>
              </a:cxn>
              <a:cxn ang="0">
                <a:pos x="connsiteX57394" y="connsiteY57394"/>
              </a:cxn>
              <a:cxn ang="0">
                <a:pos x="connsiteX57395" y="connsiteY57395"/>
              </a:cxn>
              <a:cxn ang="0">
                <a:pos x="connsiteX57396" y="connsiteY57396"/>
              </a:cxn>
              <a:cxn ang="0">
                <a:pos x="connsiteX57397" y="connsiteY57397"/>
              </a:cxn>
              <a:cxn ang="0">
                <a:pos x="connsiteX57398" y="connsiteY57398"/>
              </a:cxn>
              <a:cxn ang="0">
                <a:pos x="connsiteX57399" y="connsiteY57399"/>
              </a:cxn>
              <a:cxn ang="0">
                <a:pos x="connsiteX57400" y="connsiteY57400"/>
              </a:cxn>
              <a:cxn ang="0">
                <a:pos x="connsiteX57401" y="connsiteY57401"/>
              </a:cxn>
              <a:cxn ang="0">
                <a:pos x="connsiteX57402" y="connsiteY57402"/>
              </a:cxn>
              <a:cxn ang="0">
                <a:pos x="connsiteX57403" y="connsiteY57403"/>
              </a:cxn>
              <a:cxn ang="0">
                <a:pos x="connsiteX57404" y="connsiteY57404"/>
              </a:cxn>
              <a:cxn ang="0">
                <a:pos x="connsiteX57405" y="connsiteY57405"/>
              </a:cxn>
              <a:cxn ang="0">
                <a:pos x="connsiteX57406" y="connsiteY57406"/>
              </a:cxn>
              <a:cxn ang="0">
                <a:pos x="connsiteX57407" y="connsiteY57407"/>
              </a:cxn>
              <a:cxn ang="0">
                <a:pos x="connsiteX57408" y="connsiteY57408"/>
              </a:cxn>
              <a:cxn ang="0">
                <a:pos x="connsiteX57409" y="connsiteY57409"/>
              </a:cxn>
              <a:cxn ang="0">
                <a:pos x="connsiteX57410" y="connsiteY57410"/>
              </a:cxn>
              <a:cxn ang="0">
                <a:pos x="connsiteX57411" y="connsiteY57411"/>
              </a:cxn>
              <a:cxn ang="0">
                <a:pos x="connsiteX57412" y="connsiteY57412"/>
              </a:cxn>
              <a:cxn ang="0">
                <a:pos x="connsiteX57413" y="connsiteY57413"/>
              </a:cxn>
              <a:cxn ang="0">
                <a:pos x="connsiteX57414" y="connsiteY57414"/>
              </a:cxn>
              <a:cxn ang="0">
                <a:pos x="connsiteX57415" y="connsiteY57415"/>
              </a:cxn>
              <a:cxn ang="0">
                <a:pos x="connsiteX57416" y="connsiteY57416"/>
              </a:cxn>
              <a:cxn ang="0">
                <a:pos x="connsiteX57417" y="connsiteY57417"/>
              </a:cxn>
              <a:cxn ang="0">
                <a:pos x="connsiteX57418" y="connsiteY57418"/>
              </a:cxn>
              <a:cxn ang="0">
                <a:pos x="connsiteX57419" y="connsiteY57419"/>
              </a:cxn>
              <a:cxn ang="0">
                <a:pos x="connsiteX57420" y="connsiteY57420"/>
              </a:cxn>
              <a:cxn ang="0">
                <a:pos x="connsiteX57421" y="connsiteY57421"/>
              </a:cxn>
              <a:cxn ang="0">
                <a:pos x="connsiteX57422" y="connsiteY57422"/>
              </a:cxn>
              <a:cxn ang="0">
                <a:pos x="connsiteX57423" y="connsiteY57423"/>
              </a:cxn>
              <a:cxn ang="0">
                <a:pos x="connsiteX57424" y="connsiteY57424"/>
              </a:cxn>
              <a:cxn ang="0">
                <a:pos x="connsiteX57425" y="connsiteY57425"/>
              </a:cxn>
              <a:cxn ang="0">
                <a:pos x="connsiteX57426" y="connsiteY57426"/>
              </a:cxn>
              <a:cxn ang="0">
                <a:pos x="connsiteX57427" y="connsiteY57427"/>
              </a:cxn>
              <a:cxn ang="0">
                <a:pos x="connsiteX57428" y="connsiteY57428"/>
              </a:cxn>
              <a:cxn ang="0">
                <a:pos x="connsiteX57429" y="connsiteY57429"/>
              </a:cxn>
              <a:cxn ang="0">
                <a:pos x="connsiteX57430" y="connsiteY57430"/>
              </a:cxn>
              <a:cxn ang="0">
                <a:pos x="connsiteX57431" y="connsiteY57431"/>
              </a:cxn>
              <a:cxn ang="0">
                <a:pos x="connsiteX57432" y="connsiteY57432"/>
              </a:cxn>
              <a:cxn ang="0">
                <a:pos x="connsiteX57433" y="connsiteY57433"/>
              </a:cxn>
              <a:cxn ang="0">
                <a:pos x="connsiteX57434" y="connsiteY57434"/>
              </a:cxn>
              <a:cxn ang="0">
                <a:pos x="connsiteX57435" y="connsiteY57435"/>
              </a:cxn>
              <a:cxn ang="0">
                <a:pos x="connsiteX57436" y="connsiteY57436"/>
              </a:cxn>
              <a:cxn ang="0">
                <a:pos x="connsiteX57437" y="connsiteY57437"/>
              </a:cxn>
              <a:cxn ang="0">
                <a:pos x="connsiteX57438" y="connsiteY57438"/>
              </a:cxn>
              <a:cxn ang="0">
                <a:pos x="connsiteX57439" y="connsiteY57439"/>
              </a:cxn>
              <a:cxn ang="0">
                <a:pos x="connsiteX57440" y="connsiteY57440"/>
              </a:cxn>
              <a:cxn ang="0">
                <a:pos x="connsiteX57441" y="connsiteY57441"/>
              </a:cxn>
              <a:cxn ang="0">
                <a:pos x="connsiteX57442" y="connsiteY57442"/>
              </a:cxn>
              <a:cxn ang="0">
                <a:pos x="connsiteX57443" y="connsiteY57443"/>
              </a:cxn>
              <a:cxn ang="0">
                <a:pos x="connsiteX57444" y="connsiteY57444"/>
              </a:cxn>
              <a:cxn ang="0">
                <a:pos x="connsiteX57445" y="connsiteY57445"/>
              </a:cxn>
              <a:cxn ang="0">
                <a:pos x="connsiteX57446" y="connsiteY57446"/>
              </a:cxn>
              <a:cxn ang="0">
                <a:pos x="connsiteX57447" y="connsiteY57447"/>
              </a:cxn>
              <a:cxn ang="0">
                <a:pos x="connsiteX57448" y="connsiteY57448"/>
              </a:cxn>
              <a:cxn ang="0">
                <a:pos x="connsiteX57449" y="connsiteY57449"/>
              </a:cxn>
              <a:cxn ang="0">
                <a:pos x="connsiteX57450" y="connsiteY57450"/>
              </a:cxn>
              <a:cxn ang="0">
                <a:pos x="connsiteX57451" y="connsiteY57451"/>
              </a:cxn>
              <a:cxn ang="0">
                <a:pos x="connsiteX57452" y="connsiteY57452"/>
              </a:cxn>
              <a:cxn ang="0">
                <a:pos x="connsiteX57453" y="connsiteY57453"/>
              </a:cxn>
              <a:cxn ang="0">
                <a:pos x="connsiteX57454" y="connsiteY57454"/>
              </a:cxn>
              <a:cxn ang="0">
                <a:pos x="connsiteX57455" y="connsiteY57455"/>
              </a:cxn>
              <a:cxn ang="0">
                <a:pos x="connsiteX57456" y="connsiteY57456"/>
              </a:cxn>
              <a:cxn ang="0">
                <a:pos x="connsiteX57457" y="connsiteY57457"/>
              </a:cxn>
              <a:cxn ang="0">
                <a:pos x="connsiteX57458" y="connsiteY57458"/>
              </a:cxn>
              <a:cxn ang="0">
                <a:pos x="connsiteX57459" y="connsiteY57459"/>
              </a:cxn>
              <a:cxn ang="0">
                <a:pos x="connsiteX57460" y="connsiteY57460"/>
              </a:cxn>
              <a:cxn ang="0">
                <a:pos x="connsiteX57461" y="connsiteY57461"/>
              </a:cxn>
              <a:cxn ang="0">
                <a:pos x="connsiteX57462" y="connsiteY57462"/>
              </a:cxn>
              <a:cxn ang="0">
                <a:pos x="connsiteX57463" y="connsiteY57463"/>
              </a:cxn>
              <a:cxn ang="0">
                <a:pos x="connsiteX57464" y="connsiteY57464"/>
              </a:cxn>
              <a:cxn ang="0">
                <a:pos x="connsiteX57465" y="connsiteY57465"/>
              </a:cxn>
              <a:cxn ang="0">
                <a:pos x="connsiteX57466" y="connsiteY57466"/>
              </a:cxn>
              <a:cxn ang="0">
                <a:pos x="connsiteX57467" y="connsiteY57467"/>
              </a:cxn>
              <a:cxn ang="0">
                <a:pos x="connsiteX57468" y="connsiteY57468"/>
              </a:cxn>
              <a:cxn ang="0">
                <a:pos x="connsiteX57469" y="connsiteY57469"/>
              </a:cxn>
              <a:cxn ang="0">
                <a:pos x="connsiteX57470" y="connsiteY57470"/>
              </a:cxn>
              <a:cxn ang="0">
                <a:pos x="connsiteX57471" y="connsiteY57471"/>
              </a:cxn>
              <a:cxn ang="0">
                <a:pos x="connsiteX57472" y="connsiteY57472"/>
              </a:cxn>
              <a:cxn ang="0">
                <a:pos x="connsiteX57473" y="connsiteY57473"/>
              </a:cxn>
              <a:cxn ang="0">
                <a:pos x="connsiteX57474" y="connsiteY57474"/>
              </a:cxn>
              <a:cxn ang="0">
                <a:pos x="connsiteX57475" y="connsiteY57475"/>
              </a:cxn>
              <a:cxn ang="0">
                <a:pos x="connsiteX57476" y="connsiteY57476"/>
              </a:cxn>
              <a:cxn ang="0">
                <a:pos x="connsiteX57477" y="connsiteY57477"/>
              </a:cxn>
              <a:cxn ang="0">
                <a:pos x="connsiteX57478" y="connsiteY57478"/>
              </a:cxn>
              <a:cxn ang="0">
                <a:pos x="connsiteX57479" y="connsiteY57479"/>
              </a:cxn>
              <a:cxn ang="0">
                <a:pos x="connsiteX57480" y="connsiteY57480"/>
              </a:cxn>
              <a:cxn ang="0">
                <a:pos x="connsiteX57481" y="connsiteY57481"/>
              </a:cxn>
              <a:cxn ang="0">
                <a:pos x="connsiteX57482" y="connsiteY57482"/>
              </a:cxn>
              <a:cxn ang="0">
                <a:pos x="connsiteX57483" y="connsiteY57483"/>
              </a:cxn>
              <a:cxn ang="0">
                <a:pos x="connsiteX57484" y="connsiteY57484"/>
              </a:cxn>
              <a:cxn ang="0">
                <a:pos x="connsiteX57485" y="connsiteY57485"/>
              </a:cxn>
              <a:cxn ang="0">
                <a:pos x="connsiteX57486" y="connsiteY57486"/>
              </a:cxn>
              <a:cxn ang="0">
                <a:pos x="connsiteX57487" y="connsiteY57487"/>
              </a:cxn>
              <a:cxn ang="0">
                <a:pos x="connsiteX57488" y="connsiteY57488"/>
              </a:cxn>
              <a:cxn ang="0">
                <a:pos x="connsiteX57489" y="connsiteY57489"/>
              </a:cxn>
              <a:cxn ang="0">
                <a:pos x="connsiteX57490" y="connsiteY57490"/>
              </a:cxn>
              <a:cxn ang="0">
                <a:pos x="connsiteX57491" y="connsiteY57491"/>
              </a:cxn>
              <a:cxn ang="0">
                <a:pos x="connsiteX57492" y="connsiteY57492"/>
              </a:cxn>
              <a:cxn ang="0">
                <a:pos x="connsiteX57493" y="connsiteY57493"/>
              </a:cxn>
              <a:cxn ang="0">
                <a:pos x="connsiteX57494" y="connsiteY57494"/>
              </a:cxn>
              <a:cxn ang="0">
                <a:pos x="connsiteX57495" y="connsiteY57495"/>
              </a:cxn>
              <a:cxn ang="0">
                <a:pos x="connsiteX57496" y="connsiteY57496"/>
              </a:cxn>
              <a:cxn ang="0">
                <a:pos x="connsiteX57497" y="connsiteY57497"/>
              </a:cxn>
              <a:cxn ang="0">
                <a:pos x="connsiteX57498" y="connsiteY57498"/>
              </a:cxn>
              <a:cxn ang="0">
                <a:pos x="connsiteX57499" y="connsiteY57499"/>
              </a:cxn>
              <a:cxn ang="0">
                <a:pos x="connsiteX57500" y="connsiteY57500"/>
              </a:cxn>
              <a:cxn ang="0">
                <a:pos x="connsiteX57501" y="connsiteY57501"/>
              </a:cxn>
              <a:cxn ang="0">
                <a:pos x="connsiteX57502" y="connsiteY57502"/>
              </a:cxn>
              <a:cxn ang="0">
                <a:pos x="connsiteX57503" y="connsiteY57503"/>
              </a:cxn>
              <a:cxn ang="0">
                <a:pos x="connsiteX57504" y="connsiteY57504"/>
              </a:cxn>
              <a:cxn ang="0">
                <a:pos x="connsiteX57505" y="connsiteY57505"/>
              </a:cxn>
              <a:cxn ang="0">
                <a:pos x="connsiteX57506" y="connsiteY57506"/>
              </a:cxn>
              <a:cxn ang="0">
                <a:pos x="connsiteX57507" y="connsiteY57507"/>
              </a:cxn>
              <a:cxn ang="0">
                <a:pos x="connsiteX57508" y="connsiteY57508"/>
              </a:cxn>
              <a:cxn ang="0">
                <a:pos x="connsiteX57509" y="connsiteY57509"/>
              </a:cxn>
              <a:cxn ang="0">
                <a:pos x="connsiteX57510" y="connsiteY57510"/>
              </a:cxn>
              <a:cxn ang="0">
                <a:pos x="connsiteX57511" y="connsiteY57511"/>
              </a:cxn>
              <a:cxn ang="0">
                <a:pos x="connsiteX57512" y="connsiteY57512"/>
              </a:cxn>
              <a:cxn ang="0">
                <a:pos x="connsiteX57513" y="connsiteY57513"/>
              </a:cxn>
              <a:cxn ang="0">
                <a:pos x="connsiteX57514" y="connsiteY57514"/>
              </a:cxn>
              <a:cxn ang="0">
                <a:pos x="connsiteX57515" y="connsiteY57515"/>
              </a:cxn>
              <a:cxn ang="0">
                <a:pos x="connsiteX57516" y="connsiteY57516"/>
              </a:cxn>
              <a:cxn ang="0">
                <a:pos x="connsiteX57517" y="connsiteY57517"/>
              </a:cxn>
              <a:cxn ang="0">
                <a:pos x="connsiteX57518" y="connsiteY57518"/>
              </a:cxn>
              <a:cxn ang="0">
                <a:pos x="connsiteX57519" y="connsiteY57519"/>
              </a:cxn>
              <a:cxn ang="0">
                <a:pos x="connsiteX57520" y="connsiteY57520"/>
              </a:cxn>
              <a:cxn ang="0">
                <a:pos x="connsiteX57521" y="connsiteY57521"/>
              </a:cxn>
              <a:cxn ang="0">
                <a:pos x="connsiteX57522" y="connsiteY57522"/>
              </a:cxn>
              <a:cxn ang="0">
                <a:pos x="connsiteX57523" y="connsiteY57523"/>
              </a:cxn>
              <a:cxn ang="0">
                <a:pos x="connsiteX57524" y="connsiteY57524"/>
              </a:cxn>
              <a:cxn ang="0">
                <a:pos x="connsiteX57525" y="connsiteY57525"/>
              </a:cxn>
              <a:cxn ang="0">
                <a:pos x="connsiteX57526" y="connsiteY57526"/>
              </a:cxn>
              <a:cxn ang="0">
                <a:pos x="connsiteX57527" y="connsiteY57527"/>
              </a:cxn>
              <a:cxn ang="0">
                <a:pos x="connsiteX57528" y="connsiteY57528"/>
              </a:cxn>
              <a:cxn ang="0">
                <a:pos x="connsiteX57529" y="connsiteY57529"/>
              </a:cxn>
              <a:cxn ang="0">
                <a:pos x="connsiteX57530" y="connsiteY57530"/>
              </a:cxn>
              <a:cxn ang="0">
                <a:pos x="connsiteX57531" y="connsiteY57531"/>
              </a:cxn>
              <a:cxn ang="0">
                <a:pos x="connsiteX57532" y="connsiteY57532"/>
              </a:cxn>
              <a:cxn ang="0">
                <a:pos x="connsiteX57533" y="connsiteY57533"/>
              </a:cxn>
              <a:cxn ang="0">
                <a:pos x="connsiteX57534" y="connsiteY57534"/>
              </a:cxn>
              <a:cxn ang="0">
                <a:pos x="connsiteX57535" y="connsiteY57535"/>
              </a:cxn>
              <a:cxn ang="0">
                <a:pos x="connsiteX57536" y="connsiteY57536"/>
              </a:cxn>
              <a:cxn ang="0">
                <a:pos x="connsiteX57537" y="connsiteY57537"/>
              </a:cxn>
              <a:cxn ang="0">
                <a:pos x="connsiteX57538" y="connsiteY57538"/>
              </a:cxn>
              <a:cxn ang="0">
                <a:pos x="connsiteX57539" y="connsiteY57539"/>
              </a:cxn>
              <a:cxn ang="0">
                <a:pos x="connsiteX57540" y="connsiteY57540"/>
              </a:cxn>
              <a:cxn ang="0">
                <a:pos x="connsiteX57541" y="connsiteY57541"/>
              </a:cxn>
              <a:cxn ang="0">
                <a:pos x="connsiteX57542" y="connsiteY57542"/>
              </a:cxn>
              <a:cxn ang="0">
                <a:pos x="connsiteX57543" y="connsiteY57543"/>
              </a:cxn>
              <a:cxn ang="0">
                <a:pos x="connsiteX57544" y="connsiteY57544"/>
              </a:cxn>
              <a:cxn ang="0">
                <a:pos x="connsiteX57545" y="connsiteY57545"/>
              </a:cxn>
              <a:cxn ang="0">
                <a:pos x="connsiteX57546" y="connsiteY57546"/>
              </a:cxn>
              <a:cxn ang="0">
                <a:pos x="connsiteX57547" y="connsiteY57547"/>
              </a:cxn>
              <a:cxn ang="0">
                <a:pos x="connsiteX57548" y="connsiteY57548"/>
              </a:cxn>
              <a:cxn ang="0">
                <a:pos x="connsiteX57549" y="connsiteY57549"/>
              </a:cxn>
              <a:cxn ang="0">
                <a:pos x="connsiteX57550" y="connsiteY57550"/>
              </a:cxn>
              <a:cxn ang="0">
                <a:pos x="connsiteX57551" y="connsiteY57551"/>
              </a:cxn>
              <a:cxn ang="0">
                <a:pos x="connsiteX57552" y="connsiteY57552"/>
              </a:cxn>
              <a:cxn ang="0">
                <a:pos x="connsiteX57553" y="connsiteY57553"/>
              </a:cxn>
              <a:cxn ang="0">
                <a:pos x="connsiteX57554" y="connsiteY57554"/>
              </a:cxn>
              <a:cxn ang="0">
                <a:pos x="connsiteX57555" y="connsiteY57555"/>
              </a:cxn>
              <a:cxn ang="0">
                <a:pos x="connsiteX57556" y="connsiteY57556"/>
              </a:cxn>
              <a:cxn ang="0">
                <a:pos x="connsiteX57557" y="connsiteY57557"/>
              </a:cxn>
              <a:cxn ang="0">
                <a:pos x="connsiteX57558" y="connsiteY57558"/>
              </a:cxn>
              <a:cxn ang="0">
                <a:pos x="connsiteX57559" y="connsiteY57559"/>
              </a:cxn>
              <a:cxn ang="0">
                <a:pos x="connsiteX57560" y="connsiteY57560"/>
              </a:cxn>
              <a:cxn ang="0">
                <a:pos x="connsiteX57561" y="connsiteY57561"/>
              </a:cxn>
              <a:cxn ang="0">
                <a:pos x="connsiteX57562" y="connsiteY57562"/>
              </a:cxn>
              <a:cxn ang="0">
                <a:pos x="connsiteX57563" y="connsiteY57563"/>
              </a:cxn>
              <a:cxn ang="0">
                <a:pos x="connsiteX57564" y="connsiteY57564"/>
              </a:cxn>
              <a:cxn ang="0">
                <a:pos x="connsiteX57565" y="connsiteY57565"/>
              </a:cxn>
              <a:cxn ang="0">
                <a:pos x="connsiteX57566" y="connsiteY57566"/>
              </a:cxn>
              <a:cxn ang="0">
                <a:pos x="connsiteX57567" y="connsiteY57567"/>
              </a:cxn>
              <a:cxn ang="0">
                <a:pos x="connsiteX57568" y="connsiteY57568"/>
              </a:cxn>
              <a:cxn ang="0">
                <a:pos x="connsiteX57569" y="connsiteY57569"/>
              </a:cxn>
              <a:cxn ang="0">
                <a:pos x="connsiteX57570" y="connsiteY57570"/>
              </a:cxn>
              <a:cxn ang="0">
                <a:pos x="connsiteX57571" y="connsiteY57571"/>
              </a:cxn>
              <a:cxn ang="0">
                <a:pos x="connsiteX57572" y="connsiteY57572"/>
              </a:cxn>
              <a:cxn ang="0">
                <a:pos x="connsiteX57573" y="connsiteY57573"/>
              </a:cxn>
              <a:cxn ang="0">
                <a:pos x="connsiteX57574" y="connsiteY57574"/>
              </a:cxn>
              <a:cxn ang="0">
                <a:pos x="connsiteX57575" y="connsiteY57575"/>
              </a:cxn>
              <a:cxn ang="0">
                <a:pos x="connsiteX57576" y="connsiteY57576"/>
              </a:cxn>
              <a:cxn ang="0">
                <a:pos x="connsiteX57577" y="connsiteY57577"/>
              </a:cxn>
              <a:cxn ang="0">
                <a:pos x="connsiteX57578" y="connsiteY57578"/>
              </a:cxn>
              <a:cxn ang="0">
                <a:pos x="connsiteX57579" y="connsiteY57579"/>
              </a:cxn>
              <a:cxn ang="0">
                <a:pos x="connsiteX57580" y="connsiteY57580"/>
              </a:cxn>
              <a:cxn ang="0">
                <a:pos x="connsiteX57581" y="connsiteY57581"/>
              </a:cxn>
              <a:cxn ang="0">
                <a:pos x="connsiteX57582" y="connsiteY57582"/>
              </a:cxn>
              <a:cxn ang="0">
                <a:pos x="connsiteX57583" y="connsiteY57583"/>
              </a:cxn>
              <a:cxn ang="0">
                <a:pos x="connsiteX57584" y="connsiteY57584"/>
              </a:cxn>
              <a:cxn ang="0">
                <a:pos x="connsiteX57585" y="connsiteY57585"/>
              </a:cxn>
              <a:cxn ang="0">
                <a:pos x="connsiteX57586" y="connsiteY57586"/>
              </a:cxn>
              <a:cxn ang="0">
                <a:pos x="connsiteX57587" y="connsiteY57587"/>
              </a:cxn>
              <a:cxn ang="0">
                <a:pos x="connsiteX57588" y="connsiteY57588"/>
              </a:cxn>
              <a:cxn ang="0">
                <a:pos x="connsiteX57589" y="connsiteY57589"/>
              </a:cxn>
              <a:cxn ang="0">
                <a:pos x="connsiteX57590" y="connsiteY57590"/>
              </a:cxn>
              <a:cxn ang="0">
                <a:pos x="connsiteX57591" y="connsiteY57591"/>
              </a:cxn>
              <a:cxn ang="0">
                <a:pos x="connsiteX57592" y="connsiteY57592"/>
              </a:cxn>
              <a:cxn ang="0">
                <a:pos x="connsiteX57593" y="connsiteY57593"/>
              </a:cxn>
              <a:cxn ang="0">
                <a:pos x="connsiteX57594" y="connsiteY57594"/>
              </a:cxn>
              <a:cxn ang="0">
                <a:pos x="connsiteX57595" y="connsiteY57595"/>
              </a:cxn>
              <a:cxn ang="0">
                <a:pos x="connsiteX57596" y="connsiteY57596"/>
              </a:cxn>
              <a:cxn ang="0">
                <a:pos x="connsiteX57597" y="connsiteY57597"/>
              </a:cxn>
              <a:cxn ang="0">
                <a:pos x="connsiteX57598" y="connsiteY57598"/>
              </a:cxn>
              <a:cxn ang="0">
                <a:pos x="connsiteX57599" y="connsiteY57599"/>
              </a:cxn>
              <a:cxn ang="0">
                <a:pos x="connsiteX57600" y="connsiteY57600"/>
              </a:cxn>
              <a:cxn ang="0">
                <a:pos x="connsiteX57601" y="connsiteY57601"/>
              </a:cxn>
              <a:cxn ang="0">
                <a:pos x="connsiteX57602" y="connsiteY57602"/>
              </a:cxn>
              <a:cxn ang="0">
                <a:pos x="connsiteX57603" y="connsiteY57603"/>
              </a:cxn>
              <a:cxn ang="0">
                <a:pos x="connsiteX57604" y="connsiteY57604"/>
              </a:cxn>
              <a:cxn ang="0">
                <a:pos x="connsiteX57605" y="connsiteY57605"/>
              </a:cxn>
              <a:cxn ang="0">
                <a:pos x="connsiteX57606" y="connsiteY57606"/>
              </a:cxn>
              <a:cxn ang="0">
                <a:pos x="connsiteX57607" y="connsiteY57607"/>
              </a:cxn>
              <a:cxn ang="0">
                <a:pos x="connsiteX57608" y="connsiteY57608"/>
              </a:cxn>
              <a:cxn ang="0">
                <a:pos x="connsiteX57609" y="connsiteY57609"/>
              </a:cxn>
              <a:cxn ang="0">
                <a:pos x="connsiteX57610" y="connsiteY57610"/>
              </a:cxn>
              <a:cxn ang="0">
                <a:pos x="connsiteX57611" y="connsiteY57611"/>
              </a:cxn>
              <a:cxn ang="0">
                <a:pos x="connsiteX57612" y="connsiteY57612"/>
              </a:cxn>
              <a:cxn ang="0">
                <a:pos x="connsiteX57613" y="connsiteY57613"/>
              </a:cxn>
              <a:cxn ang="0">
                <a:pos x="connsiteX57614" y="connsiteY57614"/>
              </a:cxn>
              <a:cxn ang="0">
                <a:pos x="connsiteX57615" y="connsiteY57615"/>
              </a:cxn>
              <a:cxn ang="0">
                <a:pos x="connsiteX57616" y="connsiteY57616"/>
              </a:cxn>
              <a:cxn ang="0">
                <a:pos x="connsiteX57617" y="connsiteY57617"/>
              </a:cxn>
              <a:cxn ang="0">
                <a:pos x="connsiteX57618" y="connsiteY57618"/>
              </a:cxn>
              <a:cxn ang="0">
                <a:pos x="connsiteX57619" y="connsiteY57619"/>
              </a:cxn>
              <a:cxn ang="0">
                <a:pos x="connsiteX57620" y="connsiteY57620"/>
              </a:cxn>
              <a:cxn ang="0">
                <a:pos x="connsiteX57621" y="connsiteY57621"/>
              </a:cxn>
              <a:cxn ang="0">
                <a:pos x="connsiteX57622" y="connsiteY57622"/>
              </a:cxn>
              <a:cxn ang="0">
                <a:pos x="connsiteX57623" y="connsiteY57623"/>
              </a:cxn>
              <a:cxn ang="0">
                <a:pos x="connsiteX57624" y="connsiteY57624"/>
              </a:cxn>
              <a:cxn ang="0">
                <a:pos x="connsiteX57625" y="connsiteY57625"/>
              </a:cxn>
              <a:cxn ang="0">
                <a:pos x="connsiteX57626" y="connsiteY57626"/>
              </a:cxn>
              <a:cxn ang="0">
                <a:pos x="connsiteX57627" y="connsiteY57627"/>
              </a:cxn>
              <a:cxn ang="0">
                <a:pos x="connsiteX57628" y="connsiteY57628"/>
              </a:cxn>
              <a:cxn ang="0">
                <a:pos x="connsiteX57629" y="connsiteY57629"/>
              </a:cxn>
              <a:cxn ang="0">
                <a:pos x="connsiteX57630" y="connsiteY57630"/>
              </a:cxn>
              <a:cxn ang="0">
                <a:pos x="connsiteX57631" y="connsiteY57631"/>
              </a:cxn>
              <a:cxn ang="0">
                <a:pos x="connsiteX57632" y="connsiteY57632"/>
              </a:cxn>
              <a:cxn ang="0">
                <a:pos x="connsiteX57633" y="connsiteY57633"/>
              </a:cxn>
              <a:cxn ang="0">
                <a:pos x="connsiteX57634" y="connsiteY57634"/>
              </a:cxn>
              <a:cxn ang="0">
                <a:pos x="connsiteX57635" y="connsiteY57635"/>
              </a:cxn>
              <a:cxn ang="0">
                <a:pos x="connsiteX57636" y="connsiteY57636"/>
              </a:cxn>
              <a:cxn ang="0">
                <a:pos x="connsiteX57637" y="connsiteY57637"/>
              </a:cxn>
              <a:cxn ang="0">
                <a:pos x="connsiteX57638" y="connsiteY57638"/>
              </a:cxn>
              <a:cxn ang="0">
                <a:pos x="connsiteX57639" y="connsiteY57639"/>
              </a:cxn>
              <a:cxn ang="0">
                <a:pos x="connsiteX57640" y="connsiteY57640"/>
              </a:cxn>
              <a:cxn ang="0">
                <a:pos x="connsiteX57641" y="connsiteY57641"/>
              </a:cxn>
              <a:cxn ang="0">
                <a:pos x="connsiteX57642" y="connsiteY57642"/>
              </a:cxn>
              <a:cxn ang="0">
                <a:pos x="connsiteX57643" y="connsiteY57643"/>
              </a:cxn>
              <a:cxn ang="0">
                <a:pos x="connsiteX57644" y="connsiteY57644"/>
              </a:cxn>
              <a:cxn ang="0">
                <a:pos x="connsiteX57645" y="connsiteY57645"/>
              </a:cxn>
              <a:cxn ang="0">
                <a:pos x="connsiteX57646" y="connsiteY57646"/>
              </a:cxn>
              <a:cxn ang="0">
                <a:pos x="connsiteX57647" y="connsiteY57647"/>
              </a:cxn>
              <a:cxn ang="0">
                <a:pos x="connsiteX57648" y="connsiteY57648"/>
              </a:cxn>
              <a:cxn ang="0">
                <a:pos x="connsiteX57649" y="connsiteY57649"/>
              </a:cxn>
              <a:cxn ang="0">
                <a:pos x="connsiteX57650" y="connsiteY57650"/>
              </a:cxn>
              <a:cxn ang="0">
                <a:pos x="connsiteX57651" y="connsiteY57651"/>
              </a:cxn>
              <a:cxn ang="0">
                <a:pos x="connsiteX57652" y="connsiteY57652"/>
              </a:cxn>
              <a:cxn ang="0">
                <a:pos x="connsiteX57653" y="connsiteY57653"/>
              </a:cxn>
              <a:cxn ang="0">
                <a:pos x="connsiteX57654" y="connsiteY57654"/>
              </a:cxn>
              <a:cxn ang="0">
                <a:pos x="connsiteX57655" y="connsiteY57655"/>
              </a:cxn>
              <a:cxn ang="0">
                <a:pos x="connsiteX57656" y="connsiteY57656"/>
              </a:cxn>
              <a:cxn ang="0">
                <a:pos x="connsiteX57657" y="connsiteY57657"/>
              </a:cxn>
              <a:cxn ang="0">
                <a:pos x="connsiteX57658" y="connsiteY57658"/>
              </a:cxn>
              <a:cxn ang="0">
                <a:pos x="connsiteX57659" y="connsiteY57659"/>
              </a:cxn>
              <a:cxn ang="0">
                <a:pos x="connsiteX57660" y="connsiteY57660"/>
              </a:cxn>
              <a:cxn ang="0">
                <a:pos x="connsiteX57661" y="connsiteY57661"/>
              </a:cxn>
              <a:cxn ang="0">
                <a:pos x="connsiteX57662" y="connsiteY57662"/>
              </a:cxn>
              <a:cxn ang="0">
                <a:pos x="connsiteX57663" y="connsiteY57663"/>
              </a:cxn>
              <a:cxn ang="0">
                <a:pos x="connsiteX57664" y="connsiteY57664"/>
              </a:cxn>
              <a:cxn ang="0">
                <a:pos x="connsiteX57665" y="connsiteY57665"/>
              </a:cxn>
              <a:cxn ang="0">
                <a:pos x="connsiteX57666" y="connsiteY57666"/>
              </a:cxn>
              <a:cxn ang="0">
                <a:pos x="connsiteX57667" y="connsiteY57667"/>
              </a:cxn>
              <a:cxn ang="0">
                <a:pos x="connsiteX57668" y="connsiteY57668"/>
              </a:cxn>
              <a:cxn ang="0">
                <a:pos x="connsiteX57669" y="connsiteY57669"/>
              </a:cxn>
              <a:cxn ang="0">
                <a:pos x="connsiteX57670" y="connsiteY57670"/>
              </a:cxn>
              <a:cxn ang="0">
                <a:pos x="connsiteX57671" y="connsiteY57671"/>
              </a:cxn>
              <a:cxn ang="0">
                <a:pos x="connsiteX57672" y="connsiteY57672"/>
              </a:cxn>
              <a:cxn ang="0">
                <a:pos x="connsiteX57673" y="connsiteY57673"/>
              </a:cxn>
              <a:cxn ang="0">
                <a:pos x="connsiteX57674" y="connsiteY57674"/>
              </a:cxn>
              <a:cxn ang="0">
                <a:pos x="connsiteX57675" y="connsiteY57675"/>
              </a:cxn>
              <a:cxn ang="0">
                <a:pos x="connsiteX57676" y="connsiteY57676"/>
              </a:cxn>
              <a:cxn ang="0">
                <a:pos x="connsiteX57677" y="connsiteY57677"/>
              </a:cxn>
              <a:cxn ang="0">
                <a:pos x="connsiteX57678" y="connsiteY57678"/>
              </a:cxn>
              <a:cxn ang="0">
                <a:pos x="connsiteX57679" y="connsiteY57679"/>
              </a:cxn>
              <a:cxn ang="0">
                <a:pos x="connsiteX57680" y="connsiteY57680"/>
              </a:cxn>
              <a:cxn ang="0">
                <a:pos x="connsiteX57681" y="connsiteY57681"/>
              </a:cxn>
              <a:cxn ang="0">
                <a:pos x="connsiteX57682" y="connsiteY57682"/>
              </a:cxn>
              <a:cxn ang="0">
                <a:pos x="connsiteX57683" y="connsiteY57683"/>
              </a:cxn>
              <a:cxn ang="0">
                <a:pos x="connsiteX57684" y="connsiteY57684"/>
              </a:cxn>
              <a:cxn ang="0">
                <a:pos x="connsiteX57685" y="connsiteY57685"/>
              </a:cxn>
              <a:cxn ang="0">
                <a:pos x="connsiteX57686" y="connsiteY57686"/>
              </a:cxn>
              <a:cxn ang="0">
                <a:pos x="connsiteX57687" y="connsiteY57687"/>
              </a:cxn>
              <a:cxn ang="0">
                <a:pos x="connsiteX57688" y="connsiteY57688"/>
              </a:cxn>
              <a:cxn ang="0">
                <a:pos x="connsiteX57689" y="connsiteY57689"/>
              </a:cxn>
              <a:cxn ang="0">
                <a:pos x="connsiteX57690" y="connsiteY57690"/>
              </a:cxn>
              <a:cxn ang="0">
                <a:pos x="connsiteX57691" y="connsiteY57691"/>
              </a:cxn>
              <a:cxn ang="0">
                <a:pos x="connsiteX57692" y="connsiteY57692"/>
              </a:cxn>
              <a:cxn ang="0">
                <a:pos x="connsiteX57693" y="connsiteY57693"/>
              </a:cxn>
              <a:cxn ang="0">
                <a:pos x="connsiteX57694" y="connsiteY57694"/>
              </a:cxn>
              <a:cxn ang="0">
                <a:pos x="connsiteX57695" y="connsiteY57695"/>
              </a:cxn>
              <a:cxn ang="0">
                <a:pos x="connsiteX57696" y="connsiteY57696"/>
              </a:cxn>
              <a:cxn ang="0">
                <a:pos x="connsiteX57697" y="connsiteY57697"/>
              </a:cxn>
              <a:cxn ang="0">
                <a:pos x="connsiteX57698" y="connsiteY57698"/>
              </a:cxn>
              <a:cxn ang="0">
                <a:pos x="connsiteX57699" y="connsiteY57699"/>
              </a:cxn>
              <a:cxn ang="0">
                <a:pos x="connsiteX57700" y="connsiteY57700"/>
              </a:cxn>
              <a:cxn ang="0">
                <a:pos x="connsiteX57701" y="connsiteY57701"/>
              </a:cxn>
              <a:cxn ang="0">
                <a:pos x="connsiteX57702" y="connsiteY57702"/>
              </a:cxn>
              <a:cxn ang="0">
                <a:pos x="connsiteX57703" y="connsiteY57703"/>
              </a:cxn>
              <a:cxn ang="0">
                <a:pos x="connsiteX57704" y="connsiteY57704"/>
              </a:cxn>
              <a:cxn ang="0">
                <a:pos x="connsiteX57705" y="connsiteY57705"/>
              </a:cxn>
              <a:cxn ang="0">
                <a:pos x="connsiteX57706" y="connsiteY57706"/>
              </a:cxn>
              <a:cxn ang="0">
                <a:pos x="connsiteX57707" y="connsiteY57707"/>
              </a:cxn>
              <a:cxn ang="0">
                <a:pos x="connsiteX57708" y="connsiteY57708"/>
              </a:cxn>
              <a:cxn ang="0">
                <a:pos x="connsiteX57709" y="connsiteY57709"/>
              </a:cxn>
              <a:cxn ang="0">
                <a:pos x="connsiteX57710" y="connsiteY57710"/>
              </a:cxn>
              <a:cxn ang="0">
                <a:pos x="connsiteX57711" y="connsiteY57711"/>
              </a:cxn>
              <a:cxn ang="0">
                <a:pos x="connsiteX57712" y="connsiteY57712"/>
              </a:cxn>
              <a:cxn ang="0">
                <a:pos x="connsiteX57713" y="connsiteY57713"/>
              </a:cxn>
              <a:cxn ang="0">
                <a:pos x="connsiteX57714" y="connsiteY57714"/>
              </a:cxn>
              <a:cxn ang="0">
                <a:pos x="connsiteX57715" y="connsiteY57715"/>
              </a:cxn>
              <a:cxn ang="0">
                <a:pos x="connsiteX57716" y="connsiteY57716"/>
              </a:cxn>
              <a:cxn ang="0">
                <a:pos x="connsiteX57717" y="connsiteY57717"/>
              </a:cxn>
              <a:cxn ang="0">
                <a:pos x="connsiteX57718" y="connsiteY57718"/>
              </a:cxn>
              <a:cxn ang="0">
                <a:pos x="connsiteX57719" y="connsiteY57719"/>
              </a:cxn>
              <a:cxn ang="0">
                <a:pos x="connsiteX57720" y="connsiteY57720"/>
              </a:cxn>
              <a:cxn ang="0">
                <a:pos x="connsiteX57721" y="connsiteY57721"/>
              </a:cxn>
              <a:cxn ang="0">
                <a:pos x="connsiteX57722" y="connsiteY57722"/>
              </a:cxn>
              <a:cxn ang="0">
                <a:pos x="connsiteX57723" y="connsiteY57723"/>
              </a:cxn>
              <a:cxn ang="0">
                <a:pos x="connsiteX57724" y="connsiteY57724"/>
              </a:cxn>
              <a:cxn ang="0">
                <a:pos x="connsiteX57725" y="connsiteY57725"/>
              </a:cxn>
              <a:cxn ang="0">
                <a:pos x="connsiteX57726" y="connsiteY57726"/>
              </a:cxn>
              <a:cxn ang="0">
                <a:pos x="connsiteX57727" y="connsiteY57727"/>
              </a:cxn>
              <a:cxn ang="0">
                <a:pos x="connsiteX57728" y="connsiteY57728"/>
              </a:cxn>
              <a:cxn ang="0">
                <a:pos x="connsiteX57729" y="connsiteY57729"/>
              </a:cxn>
              <a:cxn ang="0">
                <a:pos x="connsiteX57730" y="connsiteY57730"/>
              </a:cxn>
              <a:cxn ang="0">
                <a:pos x="connsiteX57731" y="connsiteY57731"/>
              </a:cxn>
              <a:cxn ang="0">
                <a:pos x="connsiteX57732" y="connsiteY57732"/>
              </a:cxn>
              <a:cxn ang="0">
                <a:pos x="connsiteX57733" y="connsiteY57733"/>
              </a:cxn>
              <a:cxn ang="0">
                <a:pos x="connsiteX57734" y="connsiteY57734"/>
              </a:cxn>
              <a:cxn ang="0">
                <a:pos x="connsiteX57735" y="connsiteY57735"/>
              </a:cxn>
              <a:cxn ang="0">
                <a:pos x="connsiteX57736" y="connsiteY57736"/>
              </a:cxn>
              <a:cxn ang="0">
                <a:pos x="connsiteX57737" y="connsiteY57737"/>
              </a:cxn>
              <a:cxn ang="0">
                <a:pos x="connsiteX57738" y="connsiteY57738"/>
              </a:cxn>
              <a:cxn ang="0">
                <a:pos x="connsiteX57739" y="connsiteY57739"/>
              </a:cxn>
              <a:cxn ang="0">
                <a:pos x="connsiteX57740" y="connsiteY57740"/>
              </a:cxn>
              <a:cxn ang="0">
                <a:pos x="connsiteX57741" y="connsiteY57741"/>
              </a:cxn>
              <a:cxn ang="0">
                <a:pos x="connsiteX57742" y="connsiteY57742"/>
              </a:cxn>
              <a:cxn ang="0">
                <a:pos x="connsiteX57743" y="connsiteY57743"/>
              </a:cxn>
              <a:cxn ang="0">
                <a:pos x="connsiteX57744" y="connsiteY57744"/>
              </a:cxn>
              <a:cxn ang="0">
                <a:pos x="connsiteX57745" y="connsiteY57745"/>
              </a:cxn>
              <a:cxn ang="0">
                <a:pos x="connsiteX57746" y="connsiteY57746"/>
              </a:cxn>
              <a:cxn ang="0">
                <a:pos x="connsiteX57747" y="connsiteY57747"/>
              </a:cxn>
              <a:cxn ang="0">
                <a:pos x="connsiteX57748" y="connsiteY57748"/>
              </a:cxn>
              <a:cxn ang="0">
                <a:pos x="connsiteX57749" y="connsiteY57749"/>
              </a:cxn>
              <a:cxn ang="0">
                <a:pos x="connsiteX57750" y="connsiteY57750"/>
              </a:cxn>
              <a:cxn ang="0">
                <a:pos x="connsiteX57751" y="connsiteY57751"/>
              </a:cxn>
              <a:cxn ang="0">
                <a:pos x="connsiteX57752" y="connsiteY57752"/>
              </a:cxn>
              <a:cxn ang="0">
                <a:pos x="connsiteX57753" y="connsiteY57753"/>
              </a:cxn>
              <a:cxn ang="0">
                <a:pos x="connsiteX57754" y="connsiteY57754"/>
              </a:cxn>
              <a:cxn ang="0">
                <a:pos x="connsiteX57755" y="connsiteY57755"/>
              </a:cxn>
              <a:cxn ang="0">
                <a:pos x="connsiteX57756" y="connsiteY57756"/>
              </a:cxn>
              <a:cxn ang="0">
                <a:pos x="connsiteX57757" y="connsiteY57757"/>
              </a:cxn>
              <a:cxn ang="0">
                <a:pos x="connsiteX57758" y="connsiteY57758"/>
              </a:cxn>
              <a:cxn ang="0">
                <a:pos x="connsiteX57759" y="connsiteY57759"/>
              </a:cxn>
              <a:cxn ang="0">
                <a:pos x="connsiteX57760" y="connsiteY57760"/>
              </a:cxn>
              <a:cxn ang="0">
                <a:pos x="connsiteX57761" y="connsiteY57761"/>
              </a:cxn>
              <a:cxn ang="0">
                <a:pos x="connsiteX57762" y="connsiteY57762"/>
              </a:cxn>
              <a:cxn ang="0">
                <a:pos x="connsiteX57763" y="connsiteY57763"/>
              </a:cxn>
              <a:cxn ang="0">
                <a:pos x="connsiteX57764" y="connsiteY57764"/>
              </a:cxn>
              <a:cxn ang="0">
                <a:pos x="connsiteX57765" y="connsiteY57765"/>
              </a:cxn>
              <a:cxn ang="0">
                <a:pos x="connsiteX57766" y="connsiteY57766"/>
              </a:cxn>
              <a:cxn ang="0">
                <a:pos x="connsiteX57767" y="connsiteY57767"/>
              </a:cxn>
              <a:cxn ang="0">
                <a:pos x="connsiteX57768" y="connsiteY57768"/>
              </a:cxn>
              <a:cxn ang="0">
                <a:pos x="connsiteX57769" y="connsiteY57769"/>
              </a:cxn>
              <a:cxn ang="0">
                <a:pos x="connsiteX57770" y="connsiteY57770"/>
              </a:cxn>
              <a:cxn ang="0">
                <a:pos x="connsiteX57771" y="connsiteY57771"/>
              </a:cxn>
              <a:cxn ang="0">
                <a:pos x="connsiteX57772" y="connsiteY57772"/>
              </a:cxn>
              <a:cxn ang="0">
                <a:pos x="connsiteX57773" y="connsiteY57773"/>
              </a:cxn>
              <a:cxn ang="0">
                <a:pos x="connsiteX57774" y="connsiteY57774"/>
              </a:cxn>
              <a:cxn ang="0">
                <a:pos x="connsiteX57775" y="connsiteY57775"/>
              </a:cxn>
              <a:cxn ang="0">
                <a:pos x="connsiteX57776" y="connsiteY57776"/>
              </a:cxn>
              <a:cxn ang="0">
                <a:pos x="connsiteX57777" y="connsiteY57777"/>
              </a:cxn>
              <a:cxn ang="0">
                <a:pos x="connsiteX57778" y="connsiteY57778"/>
              </a:cxn>
              <a:cxn ang="0">
                <a:pos x="connsiteX57779" y="connsiteY57779"/>
              </a:cxn>
              <a:cxn ang="0">
                <a:pos x="connsiteX57780" y="connsiteY57780"/>
              </a:cxn>
              <a:cxn ang="0">
                <a:pos x="connsiteX57781" y="connsiteY57781"/>
              </a:cxn>
              <a:cxn ang="0">
                <a:pos x="connsiteX57782" y="connsiteY57782"/>
              </a:cxn>
              <a:cxn ang="0">
                <a:pos x="connsiteX57783" y="connsiteY57783"/>
              </a:cxn>
              <a:cxn ang="0">
                <a:pos x="connsiteX57784" y="connsiteY57784"/>
              </a:cxn>
              <a:cxn ang="0">
                <a:pos x="connsiteX57785" y="connsiteY57785"/>
              </a:cxn>
              <a:cxn ang="0">
                <a:pos x="connsiteX57786" y="connsiteY57786"/>
              </a:cxn>
              <a:cxn ang="0">
                <a:pos x="connsiteX57787" y="connsiteY57787"/>
              </a:cxn>
              <a:cxn ang="0">
                <a:pos x="connsiteX57788" y="connsiteY57788"/>
              </a:cxn>
              <a:cxn ang="0">
                <a:pos x="connsiteX57789" y="connsiteY57789"/>
              </a:cxn>
              <a:cxn ang="0">
                <a:pos x="connsiteX57790" y="connsiteY57790"/>
              </a:cxn>
              <a:cxn ang="0">
                <a:pos x="connsiteX57791" y="connsiteY57791"/>
              </a:cxn>
              <a:cxn ang="0">
                <a:pos x="connsiteX57792" y="connsiteY57792"/>
              </a:cxn>
              <a:cxn ang="0">
                <a:pos x="connsiteX57793" y="connsiteY57793"/>
              </a:cxn>
              <a:cxn ang="0">
                <a:pos x="connsiteX57794" y="connsiteY57794"/>
              </a:cxn>
              <a:cxn ang="0">
                <a:pos x="connsiteX57795" y="connsiteY57795"/>
              </a:cxn>
              <a:cxn ang="0">
                <a:pos x="connsiteX57796" y="connsiteY57796"/>
              </a:cxn>
              <a:cxn ang="0">
                <a:pos x="connsiteX57797" y="connsiteY57797"/>
              </a:cxn>
              <a:cxn ang="0">
                <a:pos x="connsiteX57798" y="connsiteY57798"/>
              </a:cxn>
              <a:cxn ang="0">
                <a:pos x="connsiteX57799" y="connsiteY57799"/>
              </a:cxn>
              <a:cxn ang="0">
                <a:pos x="connsiteX57800" y="connsiteY57800"/>
              </a:cxn>
              <a:cxn ang="0">
                <a:pos x="connsiteX57801" y="connsiteY57801"/>
              </a:cxn>
              <a:cxn ang="0">
                <a:pos x="connsiteX57802" y="connsiteY57802"/>
              </a:cxn>
              <a:cxn ang="0">
                <a:pos x="connsiteX57803" y="connsiteY57803"/>
              </a:cxn>
              <a:cxn ang="0">
                <a:pos x="connsiteX57804" y="connsiteY57804"/>
              </a:cxn>
              <a:cxn ang="0">
                <a:pos x="connsiteX57805" y="connsiteY57805"/>
              </a:cxn>
              <a:cxn ang="0">
                <a:pos x="connsiteX57806" y="connsiteY57806"/>
              </a:cxn>
              <a:cxn ang="0">
                <a:pos x="connsiteX57807" y="connsiteY57807"/>
              </a:cxn>
              <a:cxn ang="0">
                <a:pos x="connsiteX57808" y="connsiteY57808"/>
              </a:cxn>
              <a:cxn ang="0">
                <a:pos x="connsiteX57809" y="connsiteY57809"/>
              </a:cxn>
              <a:cxn ang="0">
                <a:pos x="connsiteX57810" y="connsiteY57810"/>
              </a:cxn>
              <a:cxn ang="0">
                <a:pos x="connsiteX57811" y="connsiteY57811"/>
              </a:cxn>
              <a:cxn ang="0">
                <a:pos x="connsiteX57812" y="connsiteY57812"/>
              </a:cxn>
              <a:cxn ang="0">
                <a:pos x="connsiteX57813" y="connsiteY57813"/>
              </a:cxn>
              <a:cxn ang="0">
                <a:pos x="connsiteX57814" y="connsiteY57814"/>
              </a:cxn>
              <a:cxn ang="0">
                <a:pos x="connsiteX57815" y="connsiteY57815"/>
              </a:cxn>
              <a:cxn ang="0">
                <a:pos x="connsiteX57816" y="connsiteY57816"/>
              </a:cxn>
              <a:cxn ang="0">
                <a:pos x="connsiteX57817" y="connsiteY57817"/>
              </a:cxn>
              <a:cxn ang="0">
                <a:pos x="connsiteX57818" y="connsiteY57818"/>
              </a:cxn>
              <a:cxn ang="0">
                <a:pos x="connsiteX57819" y="connsiteY57819"/>
              </a:cxn>
              <a:cxn ang="0">
                <a:pos x="connsiteX57820" y="connsiteY57820"/>
              </a:cxn>
              <a:cxn ang="0">
                <a:pos x="connsiteX57821" y="connsiteY57821"/>
              </a:cxn>
              <a:cxn ang="0">
                <a:pos x="connsiteX57822" y="connsiteY57822"/>
              </a:cxn>
              <a:cxn ang="0">
                <a:pos x="connsiteX57823" y="connsiteY57823"/>
              </a:cxn>
              <a:cxn ang="0">
                <a:pos x="connsiteX57824" y="connsiteY57824"/>
              </a:cxn>
              <a:cxn ang="0">
                <a:pos x="connsiteX57825" y="connsiteY57825"/>
              </a:cxn>
              <a:cxn ang="0">
                <a:pos x="connsiteX57826" y="connsiteY57826"/>
              </a:cxn>
              <a:cxn ang="0">
                <a:pos x="connsiteX57827" y="connsiteY57827"/>
              </a:cxn>
              <a:cxn ang="0">
                <a:pos x="connsiteX57828" y="connsiteY57828"/>
              </a:cxn>
              <a:cxn ang="0">
                <a:pos x="connsiteX57829" y="connsiteY57829"/>
              </a:cxn>
              <a:cxn ang="0">
                <a:pos x="connsiteX57830" y="connsiteY57830"/>
              </a:cxn>
              <a:cxn ang="0">
                <a:pos x="connsiteX57831" y="connsiteY57831"/>
              </a:cxn>
              <a:cxn ang="0">
                <a:pos x="connsiteX57832" y="connsiteY57832"/>
              </a:cxn>
              <a:cxn ang="0">
                <a:pos x="connsiteX57833" y="connsiteY57833"/>
              </a:cxn>
              <a:cxn ang="0">
                <a:pos x="connsiteX57834" y="connsiteY57834"/>
              </a:cxn>
              <a:cxn ang="0">
                <a:pos x="connsiteX57835" y="connsiteY57835"/>
              </a:cxn>
              <a:cxn ang="0">
                <a:pos x="connsiteX57836" y="connsiteY57836"/>
              </a:cxn>
              <a:cxn ang="0">
                <a:pos x="connsiteX57837" y="connsiteY57837"/>
              </a:cxn>
              <a:cxn ang="0">
                <a:pos x="connsiteX57838" y="connsiteY57838"/>
              </a:cxn>
              <a:cxn ang="0">
                <a:pos x="connsiteX57839" y="connsiteY57839"/>
              </a:cxn>
              <a:cxn ang="0">
                <a:pos x="connsiteX57840" y="connsiteY57840"/>
              </a:cxn>
              <a:cxn ang="0">
                <a:pos x="connsiteX57841" y="connsiteY57841"/>
              </a:cxn>
              <a:cxn ang="0">
                <a:pos x="connsiteX57842" y="connsiteY57842"/>
              </a:cxn>
              <a:cxn ang="0">
                <a:pos x="connsiteX57843" y="connsiteY57843"/>
              </a:cxn>
              <a:cxn ang="0">
                <a:pos x="connsiteX57844" y="connsiteY57844"/>
              </a:cxn>
              <a:cxn ang="0">
                <a:pos x="connsiteX57845" y="connsiteY57845"/>
              </a:cxn>
              <a:cxn ang="0">
                <a:pos x="connsiteX57846" y="connsiteY57846"/>
              </a:cxn>
              <a:cxn ang="0">
                <a:pos x="connsiteX57847" y="connsiteY57847"/>
              </a:cxn>
              <a:cxn ang="0">
                <a:pos x="connsiteX57848" y="connsiteY57848"/>
              </a:cxn>
              <a:cxn ang="0">
                <a:pos x="connsiteX57849" y="connsiteY57849"/>
              </a:cxn>
              <a:cxn ang="0">
                <a:pos x="connsiteX57850" y="connsiteY57850"/>
              </a:cxn>
              <a:cxn ang="0">
                <a:pos x="connsiteX57851" y="connsiteY57851"/>
              </a:cxn>
              <a:cxn ang="0">
                <a:pos x="connsiteX57852" y="connsiteY57852"/>
              </a:cxn>
              <a:cxn ang="0">
                <a:pos x="connsiteX57853" y="connsiteY57853"/>
              </a:cxn>
              <a:cxn ang="0">
                <a:pos x="connsiteX57854" y="connsiteY57854"/>
              </a:cxn>
              <a:cxn ang="0">
                <a:pos x="connsiteX57855" y="connsiteY57855"/>
              </a:cxn>
              <a:cxn ang="0">
                <a:pos x="connsiteX57856" y="connsiteY57856"/>
              </a:cxn>
              <a:cxn ang="0">
                <a:pos x="connsiteX57857" y="connsiteY57857"/>
              </a:cxn>
              <a:cxn ang="0">
                <a:pos x="connsiteX57858" y="connsiteY57858"/>
              </a:cxn>
              <a:cxn ang="0">
                <a:pos x="connsiteX57859" y="connsiteY57859"/>
              </a:cxn>
              <a:cxn ang="0">
                <a:pos x="connsiteX57860" y="connsiteY57860"/>
              </a:cxn>
              <a:cxn ang="0">
                <a:pos x="connsiteX57861" y="connsiteY57861"/>
              </a:cxn>
              <a:cxn ang="0">
                <a:pos x="connsiteX57862" y="connsiteY57862"/>
              </a:cxn>
              <a:cxn ang="0">
                <a:pos x="connsiteX57863" y="connsiteY57863"/>
              </a:cxn>
              <a:cxn ang="0">
                <a:pos x="connsiteX57864" y="connsiteY57864"/>
              </a:cxn>
              <a:cxn ang="0">
                <a:pos x="connsiteX57865" y="connsiteY57865"/>
              </a:cxn>
              <a:cxn ang="0">
                <a:pos x="connsiteX57866" y="connsiteY57866"/>
              </a:cxn>
              <a:cxn ang="0">
                <a:pos x="connsiteX57867" y="connsiteY57867"/>
              </a:cxn>
              <a:cxn ang="0">
                <a:pos x="connsiteX57868" y="connsiteY57868"/>
              </a:cxn>
              <a:cxn ang="0">
                <a:pos x="connsiteX57869" y="connsiteY57869"/>
              </a:cxn>
              <a:cxn ang="0">
                <a:pos x="connsiteX57870" y="connsiteY57870"/>
              </a:cxn>
              <a:cxn ang="0">
                <a:pos x="connsiteX57871" y="connsiteY57871"/>
              </a:cxn>
              <a:cxn ang="0">
                <a:pos x="connsiteX57872" y="connsiteY57872"/>
              </a:cxn>
              <a:cxn ang="0">
                <a:pos x="connsiteX57873" y="connsiteY57873"/>
              </a:cxn>
              <a:cxn ang="0">
                <a:pos x="connsiteX57874" y="connsiteY57874"/>
              </a:cxn>
              <a:cxn ang="0">
                <a:pos x="connsiteX57875" y="connsiteY57875"/>
              </a:cxn>
              <a:cxn ang="0">
                <a:pos x="connsiteX57876" y="connsiteY57876"/>
              </a:cxn>
              <a:cxn ang="0">
                <a:pos x="connsiteX57877" y="connsiteY57877"/>
              </a:cxn>
              <a:cxn ang="0">
                <a:pos x="connsiteX57878" y="connsiteY57878"/>
              </a:cxn>
              <a:cxn ang="0">
                <a:pos x="connsiteX57879" y="connsiteY57879"/>
              </a:cxn>
              <a:cxn ang="0">
                <a:pos x="connsiteX57880" y="connsiteY57880"/>
              </a:cxn>
              <a:cxn ang="0">
                <a:pos x="connsiteX57881" y="connsiteY57881"/>
              </a:cxn>
              <a:cxn ang="0">
                <a:pos x="connsiteX57882" y="connsiteY57882"/>
              </a:cxn>
              <a:cxn ang="0">
                <a:pos x="connsiteX57883" y="connsiteY57883"/>
              </a:cxn>
              <a:cxn ang="0">
                <a:pos x="connsiteX57884" y="connsiteY57884"/>
              </a:cxn>
              <a:cxn ang="0">
                <a:pos x="connsiteX57885" y="connsiteY57885"/>
              </a:cxn>
              <a:cxn ang="0">
                <a:pos x="connsiteX57886" y="connsiteY57886"/>
              </a:cxn>
              <a:cxn ang="0">
                <a:pos x="connsiteX57887" y="connsiteY57887"/>
              </a:cxn>
              <a:cxn ang="0">
                <a:pos x="connsiteX57888" y="connsiteY57888"/>
              </a:cxn>
              <a:cxn ang="0">
                <a:pos x="connsiteX57889" y="connsiteY57889"/>
              </a:cxn>
              <a:cxn ang="0">
                <a:pos x="connsiteX57890" y="connsiteY57890"/>
              </a:cxn>
              <a:cxn ang="0">
                <a:pos x="connsiteX57891" y="connsiteY57891"/>
              </a:cxn>
              <a:cxn ang="0">
                <a:pos x="connsiteX57892" y="connsiteY57892"/>
              </a:cxn>
              <a:cxn ang="0">
                <a:pos x="connsiteX57893" y="connsiteY57893"/>
              </a:cxn>
              <a:cxn ang="0">
                <a:pos x="connsiteX57894" y="connsiteY57894"/>
              </a:cxn>
              <a:cxn ang="0">
                <a:pos x="connsiteX57895" y="connsiteY57895"/>
              </a:cxn>
              <a:cxn ang="0">
                <a:pos x="connsiteX57896" y="connsiteY57896"/>
              </a:cxn>
              <a:cxn ang="0">
                <a:pos x="connsiteX57897" y="connsiteY57897"/>
              </a:cxn>
              <a:cxn ang="0">
                <a:pos x="connsiteX57898" y="connsiteY57898"/>
              </a:cxn>
              <a:cxn ang="0">
                <a:pos x="connsiteX57899" y="connsiteY57899"/>
              </a:cxn>
              <a:cxn ang="0">
                <a:pos x="connsiteX57900" y="connsiteY57900"/>
              </a:cxn>
              <a:cxn ang="0">
                <a:pos x="connsiteX57901" y="connsiteY57901"/>
              </a:cxn>
              <a:cxn ang="0">
                <a:pos x="connsiteX57902" y="connsiteY57902"/>
              </a:cxn>
              <a:cxn ang="0">
                <a:pos x="connsiteX57903" y="connsiteY57903"/>
              </a:cxn>
              <a:cxn ang="0">
                <a:pos x="connsiteX57904" y="connsiteY57904"/>
              </a:cxn>
              <a:cxn ang="0">
                <a:pos x="connsiteX57905" y="connsiteY57905"/>
              </a:cxn>
              <a:cxn ang="0">
                <a:pos x="connsiteX57906" y="connsiteY57906"/>
              </a:cxn>
              <a:cxn ang="0">
                <a:pos x="connsiteX57907" y="connsiteY57907"/>
              </a:cxn>
              <a:cxn ang="0">
                <a:pos x="connsiteX57908" y="connsiteY57908"/>
              </a:cxn>
              <a:cxn ang="0">
                <a:pos x="connsiteX57909" y="connsiteY57909"/>
              </a:cxn>
              <a:cxn ang="0">
                <a:pos x="connsiteX57910" y="connsiteY57910"/>
              </a:cxn>
              <a:cxn ang="0">
                <a:pos x="connsiteX57911" y="connsiteY57911"/>
              </a:cxn>
              <a:cxn ang="0">
                <a:pos x="connsiteX57912" y="connsiteY57912"/>
              </a:cxn>
              <a:cxn ang="0">
                <a:pos x="connsiteX57913" y="connsiteY57913"/>
              </a:cxn>
              <a:cxn ang="0">
                <a:pos x="connsiteX57914" y="connsiteY57914"/>
              </a:cxn>
              <a:cxn ang="0">
                <a:pos x="connsiteX57915" y="connsiteY57915"/>
              </a:cxn>
              <a:cxn ang="0">
                <a:pos x="connsiteX57916" y="connsiteY57916"/>
              </a:cxn>
              <a:cxn ang="0">
                <a:pos x="connsiteX57917" y="connsiteY57917"/>
              </a:cxn>
              <a:cxn ang="0">
                <a:pos x="connsiteX57918" y="connsiteY57918"/>
              </a:cxn>
              <a:cxn ang="0">
                <a:pos x="connsiteX57919" y="connsiteY57919"/>
              </a:cxn>
              <a:cxn ang="0">
                <a:pos x="connsiteX57920" y="connsiteY57920"/>
              </a:cxn>
              <a:cxn ang="0">
                <a:pos x="connsiteX57921" y="connsiteY57921"/>
              </a:cxn>
              <a:cxn ang="0">
                <a:pos x="connsiteX57922" y="connsiteY57922"/>
              </a:cxn>
              <a:cxn ang="0">
                <a:pos x="connsiteX57923" y="connsiteY57923"/>
              </a:cxn>
              <a:cxn ang="0">
                <a:pos x="connsiteX57924" y="connsiteY57924"/>
              </a:cxn>
              <a:cxn ang="0">
                <a:pos x="connsiteX57925" y="connsiteY57925"/>
              </a:cxn>
              <a:cxn ang="0">
                <a:pos x="connsiteX57926" y="connsiteY57926"/>
              </a:cxn>
              <a:cxn ang="0">
                <a:pos x="connsiteX57927" y="connsiteY57927"/>
              </a:cxn>
              <a:cxn ang="0">
                <a:pos x="connsiteX57928" y="connsiteY57928"/>
              </a:cxn>
              <a:cxn ang="0">
                <a:pos x="connsiteX57929" y="connsiteY57929"/>
              </a:cxn>
              <a:cxn ang="0">
                <a:pos x="connsiteX57930" y="connsiteY57930"/>
              </a:cxn>
              <a:cxn ang="0">
                <a:pos x="connsiteX57931" y="connsiteY57931"/>
              </a:cxn>
              <a:cxn ang="0">
                <a:pos x="connsiteX57932" y="connsiteY57932"/>
              </a:cxn>
              <a:cxn ang="0">
                <a:pos x="connsiteX57933" y="connsiteY57933"/>
              </a:cxn>
              <a:cxn ang="0">
                <a:pos x="connsiteX57934" y="connsiteY57934"/>
              </a:cxn>
              <a:cxn ang="0">
                <a:pos x="connsiteX57935" y="connsiteY57935"/>
              </a:cxn>
              <a:cxn ang="0">
                <a:pos x="connsiteX57936" y="connsiteY57936"/>
              </a:cxn>
              <a:cxn ang="0">
                <a:pos x="connsiteX57937" y="connsiteY57937"/>
              </a:cxn>
              <a:cxn ang="0">
                <a:pos x="connsiteX57938" y="connsiteY57938"/>
              </a:cxn>
              <a:cxn ang="0">
                <a:pos x="connsiteX57939" y="connsiteY57939"/>
              </a:cxn>
              <a:cxn ang="0">
                <a:pos x="connsiteX57940" y="connsiteY57940"/>
              </a:cxn>
              <a:cxn ang="0">
                <a:pos x="connsiteX57941" y="connsiteY57941"/>
              </a:cxn>
              <a:cxn ang="0">
                <a:pos x="connsiteX57942" y="connsiteY57942"/>
              </a:cxn>
              <a:cxn ang="0">
                <a:pos x="connsiteX57943" y="connsiteY57943"/>
              </a:cxn>
              <a:cxn ang="0">
                <a:pos x="connsiteX57944" y="connsiteY57944"/>
              </a:cxn>
              <a:cxn ang="0">
                <a:pos x="connsiteX57945" y="connsiteY57945"/>
              </a:cxn>
              <a:cxn ang="0">
                <a:pos x="connsiteX57946" y="connsiteY57946"/>
              </a:cxn>
              <a:cxn ang="0">
                <a:pos x="connsiteX57947" y="connsiteY57947"/>
              </a:cxn>
              <a:cxn ang="0">
                <a:pos x="connsiteX57948" y="connsiteY57948"/>
              </a:cxn>
              <a:cxn ang="0">
                <a:pos x="connsiteX57949" y="connsiteY57949"/>
              </a:cxn>
              <a:cxn ang="0">
                <a:pos x="connsiteX57950" y="connsiteY57950"/>
              </a:cxn>
              <a:cxn ang="0">
                <a:pos x="connsiteX57951" y="connsiteY57951"/>
              </a:cxn>
              <a:cxn ang="0">
                <a:pos x="connsiteX57952" y="connsiteY57952"/>
              </a:cxn>
              <a:cxn ang="0">
                <a:pos x="connsiteX57953" y="connsiteY57953"/>
              </a:cxn>
              <a:cxn ang="0">
                <a:pos x="connsiteX57954" y="connsiteY57954"/>
              </a:cxn>
              <a:cxn ang="0">
                <a:pos x="connsiteX57955" y="connsiteY57955"/>
              </a:cxn>
              <a:cxn ang="0">
                <a:pos x="connsiteX57956" y="connsiteY57956"/>
              </a:cxn>
              <a:cxn ang="0">
                <a:pos x="connsiteX57957" y="connsiteY57957"/>
              </a:cxn>
              <a:cxn ang="0">
                <a:pos x="connsiteX57958" y="connsiteY57958"/>
              </a:cxn>
              <a:cxn ang="0">
                <a:pos x="connsiteX57959" y="connsiteY57959"/>
              </a:cxn>
              <a:cxn ang="0">
                <a:pos x="connsiteX57960" y="connsiteY57960"/>
              </a:cxn>
              <a:cxn ang="0">
                <a:pos x="connsiteX57961" y="connsiteY57961"/>
              </a:cxn>
              <a:cxn ang="0">
                <a:pos x="connsiteX57962" y="connsiteY57962"/>
              </a:cxn>
              <a:cxn ang="0">
                <a:pos x="connsiteX57963" y="connsiteY57963"/>
              </a:cxn>
              <a:cxn ang="0">
                <a:pos x="connsiteX57964" y="connsiteY57964"/>
              </a:cxn>
              <a:cxn ang="0">
                <a:pos x="connsiteX57965" y="connsiteY57965"/>
              </a:cxn>
              <a:cxn ang="0">
                <a:pos x="connsiteX57966" y="connsiteY57966"/>
              </a:cxn>
              <a:cxn ang="0">
                <a:pos x="connsiteX57967" y="connsiteY57967"/>
              </a:cxn>
              <a:cxn ang="0">
                <a:pos x="connsiteX57968" y="connsiteY57968"/>
              </a:cxn>
              <a:cxn ang="0">
                <a:pos x="connsiteX57969" y="connsiteY57969"/>
              </a:cxn>
              <a:cxn ang="0">
                <a:pos x="connsiteX57970" y="connsiteY57970"/>
              </a:cxn>
              <a:cxn ang="0">
                <a:pos x="connsiteX57971" y="connsiteY57971"/>
              </a:cxn>
              <a:cxn ang="0">
                <a:pos x="connsiteX57972" y="connsiteY57972"/>
              </a:cxn>
              <a:cxn ang="0">
                <a:pos x="connsiteX57973" y="connsiteY57973"/>
              </a:cxn>
              <a:cxn ang="0">
                <a:pos x="connsiteX57974" y="connsiteY57974"/>
              </a:cxn>
              <a:cxn ang="0">
                <a:pos x="connsiteX57975" y="connsiteY57975"/>
              </a:cxn>
              <a:cxn ang="0">
                <a:pos x="connsiteX57976" y="connsiteY57976"/>
              </a:cxn>
              <a:cxn ang="0">
                <a:pos x="connsiteX57977" y="connsiteY57977"/>
              </a:cxn>
              <a:cxn ang="0">
                <a:pos x="connsiteX57978" y="connsiteY57978"/>
              </a:cxn>
              <a:cxn ang="0">
                <a:pos x="connsiteX57979" y="connsiteY57979"/>
              </a:cxn>
              <a:cxn ang="0">
                <a:pos x="connsiteX57980" y="connsiteY57980"/>
              </a:cxn>
              <a:cxn ang="0">
                <a:pos x="connsiteX57981" y="connsiteY57981"/>
              </a:cxn>
              <a:cxn ang="0">
                <a:pos x="connsiteX57982" y="connsiteY57982"/>
              </a:cxn>
              <a:cxn ang="0">
                <a:pos x="connsiteX57983" y="connsiteY57983"/>
              </a:cxn>
              <a:cxn ang="0">
                <a:pos x="connsiteX57984" y="connsiteY57984"/>
              </a:cxn>
              <a:cxn ang="0">
                <a:pos x="connsiteX57985" y="connsiteY57985"/>
              </a:cxn>
              <a:cxn ang="0">
                <a:pos x="connsiteX57986" y="connsiteY57986"/>
              </a:cxn>
              <a:cxn ang="0">
                <a:pos x="connsiteX57987" y="connsiteY57987"/>
              </a:cxn>
              <a:cxn ang="0">
                <a:pos x="connsiteX57988" y="connsiteY57988"/>
              </a:cxn>
              <a:cxn ang="0">
                <a:pos x="connsiteX57989" y="connsiteY57989"/>
              </a:cxn>
              <a:cxn ang="0">
                <a:pos x="connsiteX57990" y="connsiteY57990"/>
              </a:cxn>
              <a:cxn ang="0">
                <a:pos x="connsiteX57991" y="connsiteY57991"/>
              </a:cxn>
              <a:cxn ang="0">
                <a:pos x="connsiteX57992" y="connsiteY57992"/>
              </a:cxn>
              <a:cxn ang="0">
                <a:pos x="connsiteX57993" y="connsiteY57993"/>
              </a:cxn>
              <a:cxn ang="0">
                <a:pos x="connsiteX57994" y="connsiteY57994"/>
              </a:cxn>
              <a:cxn ang="0">
                <a:pos x="connsiteX57995" y="connsiteY57995"/>
              </a:cxn>
              <a:cxn ang="0">
                <a:pos x="connsiteX57996" y="connsiteY57996"/>
              </a:cxn>
              <a:cxn ang="0">
                <a:pos x="connsiteX57997" y="connsiteY57997"/>
              </a:cxn>
              <a:cxn ang="0">
                <a:pos x="connsiteX57998" y="connsiteY57998"/>
              </a:cxn>
              <a:cxn ang="0">
                <a:pos x="connsiteX57999" y="connsiteY57999"/>
              </a:cxn>
              <a:cxn ang="0">
                <a:pos x="connsiteX58000" y="connsiteY58000"/>
              </a:cxn>
              <a:cxn ang="0">
                <a:pos x="connsiteX58001" y="connsiteY58001"/>
              </a:cxn>
              <a:cxn ang="0">
                <a:pos x="connsiteX58002" y="connsiteY58002"/>
              </a:cxn>
              <a:cxn ang="0">
                <a:pos x="connsiteX58003" y="connsiteY58003"/>
              </a:cxn>
              <a:cxn ang="0">
                <a:pos x="connsiteX58004" y="connsiteY58004"/>
              </a:cxn>
              <a:cxn ang="0">
                <a:pos x="connsiteX58005" y="connsiteY58005"/>
              </a:cxn>
              <a:cxn ang="0">
                <a:pos x="connsiteX58006" y="connsiteY58006"/>
              </a:cxn>
              <a:cxn ang="0">
                <a:pos x="connsiteX58007" y="connsiteY58007"/>
              </a:cxn>
              <a:cxn ang="0">
                <a:pos x="connsiteX58008" y="connsiteY58008"/>
              </a:cxn>
              <a:cxn ang="0">
                <a:pos x="connsiteX58009" y="connsiteY58009"/>
              </a:cxn>
              <a:cxn ang="0">
                <a:pos x="connsiteX58010" y="connsiteY58010"/>
              </a:cxn>
              <a:cxn ang="0">
                <a:pos x="connsiteX58011" y="connsiteY58011"/>
              </a:cxn>
              <a:cxn ang="0">
                <a:pos x="connsiteX58012" y="connsiteY58012"/>
              </a:cxn>
              <a:cxn ang="0">
                <a:pos x="connsiteX58013" y="connsiteY58013"/>
              </a:cxn>
              <a:cxn ang="0">
                <a:pos x="connsiteX58014" y="connsiteY58014"/>
              </a:cxn>
              <a:cxn ang="0">
                <a:pos x="connsiteX58015" y="connsiteY58015"/>
              </a:cxn>
              <a:cxn ang="0">
                <a:pos x="connsiteX58016" y="connsiteY58016"/>
              </a:cxn>
              <a:cxn ang="0">
                <a:pos x="connsiteX58017" y="connsiteY58017"/>
              </a:cxn>
              <a:cxn ang="0">
                <a:pos x="connsiteX58018" y="connsiteY58018"/>
              </a:cxn>
              <a:cxn ang="0">
                <a:pos x="connsiteX58019" y="connsiteY58019"/>
              </a:cxn>
              <a:cxn ang="0">
                <a:pos x="connsiteX58020" y="connsiteY58020"/>
              </a:cxn>
              <a:cxn ang="0">
                <a:pos x="connsiteX58021" y="connsiteY58021"/>
              </a:cxn>
              <a:cxn ang="0">
                <a:pos x="connsiteX58022" y="connsiteY58022"/>
              </a:cxn>
              <a:cxn ang="0">
                <a:pos x="connsiteX58023" y="connsiteY58023"/>
              </a:cxn>
              <a:cxn ang="0">
                <a:pos x="connsiteX58024" y="connsiteY58024"/>
              </a:cxn>
              <a:cxn ang="0">
                <a:pos x="connsiteX58025" y="connsiteY58025"/>
              </a:cxn>
              <a:cxn ang="0">
                <a:pos x="connsiteX58026" y="connsiteY58026"/>
              </a:cxn>
              <a:cxn ang="0">
                <a:pos x="connsiteX58027" y="connsiteY58027"/>
              </a:cxn>
              <a:cxn ang="0">
                <a:pos x="connsiteX58028" y="connsiteY58028"/>
              </a:cxn>
              <a:cxn ang="0">
                <a:pos x="connsiteX58029" y="connsiteY58029"/>
              </a:cxn>
              <a:cxn ang="0">
                <a:pos x="connsiteX58030" y="connsiteY58030"/>
              </a:cxn>
              <a:cxn ang="0">
                <a:pos x="connsiteX58031" y="connsiteY58031"/>
              </a:cxn>
              <a:cxn ang="0">
                <a:pos x="connsiteX58032" y="connsiteY58032"/>
              </a:cxn>
              <a:cxn ang="0">
                <a:pos x="connsiteX58033" y="connsiteY58033"/>
              </a:cxn>
              <a:cxn ang="0">
                <a:pos x="connsiteX58034" y="connsiteY58034"/>
              </a:cxn>
              <a:cxn ang="0">
                <a:pos x="connsiteX58035" y="connsiteY58035"/>
              </a:cxn>
              <a:cxn ang="0">
                <a:pos x="connsiteX58036" y="connsiteY58036"/>
              </a:cxn>
              <a:cxn ang="0">
                <a:pos x="connsiteX58037" y="connsiteY58037"/>
              </a:cxn>
              <a:cxn ang="0">
                <a:pos x="connsiteX58038" y="connsiteY58038"/>
              </a:cxn>
              <a:cxn ang="0">
                <a:pos x="connsiteX58039" y="connsiteY58039"/>
              </a:cxn>
              <a:cxn ang="0">
                <a:pos x="connsiteX58040" y="connsiteY58040"/>
              </a:cxn>
              <a:cxn ang="0">
                <a:pos x="connsiteX58041" y="connsiteY58041"/>
              </a:cxn>
              <a:cxn ang="0">
                <a:pos x="connsiteX58042" y="connsiteY58042"/>
              </a:cxn>
              <a:cxn ang="0">
                <a:pos x="connsiteX58043" y="connsiteY58043"/>
              </a:cxn>
              <a:cxn ang="0">
                <a:pos x="connsiteX58044" y="connsiteY58044"/>
              </a:cxn>
              <a:cxn ang="0">
                <a:pos x="connsiteX58045" y="connsiteY58045"/>
              </a:cxn>
              <a:cxn ang="0">
                <a:pos x="connsiteX58046" y="connsiteY58046"/>
              </a:cxn>
              <a:cxn ang="0">
                <a:pos x="connsiteX58047" y="connsiteY58047"/>
              </a:cxn>
              <a:cxn ang="0">
                <a:pos x="connsiteX58048" y="connsiteY58048"/>
              </a:cxn>
              <a:cxn ang="0">
                <a:pos x="connsiteX58049" y="connsiteY58049"/>
              </a:cxn>
              <a:cxn ang="0">
                <a:pos x="connsiteX58050" y="connsiteY58050"/>
              </a:cxn>
              <a:cxn ang="0">
                <a:pos x="connsiteX58051" y="connsiteY58051"/>
              </a:cxn>
              <a:cxn ang="0">
                <a:pos x="connsiteX58052" y="connsiteY58052"/>
              </a:cxn>
              <a:cxn ang="0">
                <a:pos x="connsiteX58053" y="connsiteY58053"/>
              </a:cxn>
              <a:cxn ang="0">
                <a:pos x="connsiteX58054" y="connsiteY58054"/>
              </a:cxn>
              <a:cxn ang="0">
                <a:pos x="connsiteX58055" y="connsiteY58055"/>
              </a:cxn>
              <a:cxn ang="0">
                <a:pos x="connsiteX58056" y="connsiteY58056"/>
              </a:cxn>
              <a:cxn ang="0">
                <a:pos x="connsiteX58057" y="connsiteY58057"/>
              </a:cxn>
              <a:cxn ang="0">
                <a:pos x="connsiteX58058" y="connsiteY58058"/>
              </a:cxn>
              <a:cxn ang="0">
                <a:pos x="connsiteX58059" y="connsiteY58059"/>
              </a:cxn>
              <a:cxn ang="0">
                <a:pos x="connsiteX58060" y="connsiteY58060"/>
              </a:cxn>
              <a:cxn ang="0">
                <a:pos x="connsiteX58061" y="connsiteY58061"/>
              </a:cxn>
              <a:cxn ang="0">
                <a:pos x="connsiteX58062" y="connsiteY58062"/>
              </a:cxn>
              <a:cxn ang="0">
                <a:pos x="connsiteX58063" y="connsiteY58063"/>
              </a:cxn>
              <a:cxn ang="0">
                <a:pos x="connsiteX58064" y="connsiteY58064"/>
              </a:cxn>
              <a:cxn ang="0">
                <a:pos x="connsiteX58065" y="connsiteY58065"/>
              </a:cxn>
              <a:cxn ang="0">
                <a:pos x="connsiteX58066" y="connsiteY58066"/>
              </a:cxn>
              <a:cxn ang="0">
                <a:pos x="connsiteX58067" y="connsiteY58067"/>
              </a:cxn>
              <a:cxn ang="0">
                <a:pos x="connsiteX58068" y="connsiteY58068"/>
              </a:cxn>
              <a:cxn ang="0">
                <a:pos x="connsiteX58069" y="connsiteY58069"/>
              </a:cxn>
              <a:cxn ang="0">
                <a:pos x="connsiteX58070" y="connsiteY58070"/>
              </a:cxn>
              <a:cxn ang="0">
                <a:pos x="connsiteX58071" y="connsiteY58071"/>
              </a:cxn>
              <a:cxn ang="0">
                <a:pos x="connsiteX58072" y="connsiteY58072"/>
              </a:cxn>
              <a:cxn ang="0">
                <a:pos x="connsiteX58073" y="connsiteY58073"/>
              </a:cxn>
              <a:cxn ang="0">
                <a:pos x="connsiteX58074" y="connsiteY58074"/>
              </a:cxn>
              <a:cxn ang="0">
                <a:pos x="connsiteX58075" y="connsiteY58075"/>
              </a:cxn>
              <a:cxn ang="0">
                <a:pos x="connsiteX58076" y="connsiteY58076"/>
              </a:cxn>
              <a:cxn ang="0">
                <a:pos x="connsiteX58077" y="connsiteY58077"/>
              </a:cxn>
              <a:cxn ang="0">
                <a:pos x="connsiteX58078" y="connsiteY58078"/>
              </a:cxn>
              <a:cxn ang="0">
                <a:pos x="connsiteX58079" y="connsiteY58079"/>
              </a:cxn>
              <a:cxn ang="0">
                <a:pos x="connsiteX58080" y="connsiteY58080"/>
              </a:cxn>
              <a:cxn ang="0">
                <a:pos x="connsiteX58081" y="connsiteY58081"/>
              </a:cxn>
              <a:cxn ang="0">
                <a:pos x="connsiteX58082" y="connsiteY58082"/>
              </a:cxn>
              <a:cxn ang="0">
                <a:pos x="connsiteX58083" y="connsiteY58083"/>
              </a:cxn>
              <a:cxn ang="0">
                <a:pos x="connsiteX58084" y="connsiteY58084"/>
              </a:cxn>
              <a:cxn ang="0">
                <a:pos x="connsiteX58085" y="connsiteY58085"/>
              </a:cxn>
              <a:cxn ang="0">
                <a:pos x="connsiteX58086" y="connsiteY58086"/>
              </a:cxn>
              <a:cxn ang="0">
                <a:pos x="connsiteX58087" y="connsiteY58087"/>
              </a:cxn>
              <a:cxn ang="0">
                <a:pos x="connsiteX58088" y="connsiteY58088"/>
              </a:cxn>
              <a:cxn ang="0">
                <a:pos x="connsiteX58089" y="connsiteY58089"/>
              </a:cxn>
              <a:cxn ang="0">
                <a:pos x="connsiteX58090" y="connsiteY58090"/>
              </a:cxn>
              <a:cxn ang="0">
                <a:pos x="connsiteX58091" y="connsiteY58091"/>
              </a:cxn>
              <a:cxn ang="0">
                <a:pos x="connsiteX58092" y="connsiteY58092"/>
              </a:cxn>
              <a:cxn ang="0">
                <a:pos x="connsiteX58093" y="connsiteY58093"/>
              </a:cxn>
              <a:cxn ang="0">
                <a:pos x="connsiteX58094" y="connsiteY58094"/>
              </a:cxn>
              <a:cxn ang="0">
                <a:pos x="connsiteX58095" y="connsiteY58095"/>
              </a:cxn>
              <a:cxn ang="0">
                <a:pos x="connsiteX58096" y="connsiteY58096"/>
              </a:cxn>
              <a:cxn ang="0">
                <a:pos x="connsiteX58097" y="connsiteY58097"/>
              </a:cxn>
              <a:cxn ang="0">
                <a:pos x="connsiteX58098" y="connsiteY58098"/>
              </a:cxn>
              <a:cxn ang="0">
                <a:pos x="connsiteX58099" y="connsiteY58099"/>
              </a:cxn>
              <a:cxn ang="0">
                <a:pos x="connsiteX58100" y="connsiteY58100"/>
              </a:cxn>
              <a:cxn ang="0">
                <a:pos x="connsiteX58101" y="connsiteY58101"/>
              </a:cxn>
              <a:cxn ang="0">
                <a:pos x="connsiteX58102" y="connsiteY58102"/>
              </a:cxn>
              <a:cxn ang="0">
                <a:pos x="connsiteX58103" y="connsiteY58103"/>
              </a:cxn>
              <a:cxn ang="0">
                <a:pos x="connsiteX58104" y="connsiteY58104"/>
              </a:cxn>
              <a:cxn ang="0">
                <a:pos x="connsiteX58105" y="connsiteY58105"/>
              </a:cxn>
              <a:cxn ang="0">
                <a:pos x="connsiteX58106" y="connsiteY58106"/>
              </a:cxn>
              <a:cxn ang="0">
                <a:pos x="connsiteX58107" y="connsiteY58107"/>
              </a:cxn>
              <a:cxn ang="0">
                <a:pos x="connsiteX58108" y="connsiteY58108"/>
              </a:cxn>
              <a:cxn ang="0">
                <a:pos x="connsiteX58109" y="connsiteY58109"/>
              </a:cxn>
              <a:cxn ang="0">
                <a:pos x="connsiteX58110" y="connsiteY58110"/>
              </a:cxn>
              <a:cxn ang="0">
                <a:pos x="connsiteX58111" y="connsiteY58111"/>
              </a:cxn>
              <a:cxn ang="0">
                <a:pos x="connsiteX58112" y="connsiteY58112"/>
              </a:cxn>
              <a:cxn ang="0">
                <a:pos x="connsiteX58113" y="connsiteY58113"/>
              </a:cxn>
              <a:cxn ang="0">
                <a:pos x="connsiteX58114" y="connsiteY58114"/>
              </a:cxn>
              <a:cxn ang="0">
                <a:pos x="connsiteX58115" y="connsiteY58115"/>
              </a:cxn>
              <a:cxn ang="0">
                <a:pos x="connsiteX58116" y="connsiteY58116"/>
              </a:cxn>
              <a:cxn ang="0">
                <a:pos x="connsiteX58117" y="connsiteY58117"/>
              </a:cxn>
              <a:cxn ang="0">
                <a:pos x="connsiteX58118" y="connsiteY58118"/>
              </a:cxn>
              <a:cxn ang="0">
                <a:pos x="connsiteX58119" y="connsiteY58119"/>
              </a:cxn>
              <a:cxn ang="0">
                <a:pos x="connsiteX58120" y="connsiteY58120"/>
              </a:cxn>
              <a:cxn ang="0">
                <a:pos x="connsiteX58121" y="connsiteY58121"/>
              </a:cxn>
              <a:cxn ang="0">
                <a:pos x="connsiteX58122" y="connsiteY58122"/>
              </a:cxn>
              <a:cxn ang="0">
                <a:pos x="connsiteX58123" y="connsiteY58123"/>
              </a:cxn>
              <a:cxn ang="0">
                <a:pos x="connsiteX58124" y="connsiteY58124"/>
              </a:cxn>
              <a:cxn ang="0">
                <a:pos x="connsiteX58125" y="connsiteY58125"/>
              </a:cxn>
              <a:cxn ang="0">
                <a:pos x="connsiteX58126" y="connsiteY58126"/>
              </a:cxn>
              <a:cxn ang="0">
                <a:pos x="connsiteX58127" y="connsiteY58127"/>
              </a:cxn>
              <a:cxn ang="0">
                <a:pos x="connsiteX58128" y="connsiteY58128"/>
              </a:cxn>
              <a:cxn ang="0">
                <a:pos x="connsiteX58129" y="connsiteY58129"/>
              </a:cxn>
              <a:cxn ang="0">
                <a:pos x="connsiteX58130" y="connsiteY58130"/>
              </a:cxn>
              <a:cxn ang="0">
                <a:pos x="connsiteX58131" y="connsiteY58131"/>
              </a:cxn>
              <a:cxn ang="0">
                <a:pos x="connsiteX58132" y="connsiteY58132"/>
              </a:cxn>
              <a:cxn ang="0">
                <a:pos x="connsiteX58133" y="connsiteY58133"/>
              </a:cxn>
              <a:cxn ang="0">
                <a:pos x="connsiteX58134" y="connsiteY58134"/>
              </a:cxn>
              <a:cxn ang="0">
                <a:pos x="connsiteX58135" y="connsiteY58135"/>
              </a:cxn>
              <a:cxn ang="0">
                <a:pos x="connsiteX58136" y="connsiteY58136"/>
              </a:cxn>
              <a:cxn ang="0">
                <a:pos x="connsiteX58137" y="connsiteY58137"/>
              </a:cxn>
              <a:cxn ang="0">
                <a:pos x="connsiteX58138" y="connsiteY58138"/>
              </a:cxn>
              <a:cxn ang="0">
                <a:pos x="connsiteX58139" y="connsiteY58139"/>
              </a:cxn>
              <a:cxn ang="0">
                <a:pos x="connsiteX58140" y="connsiteY58140"/>
              </a:cxn>
              <a:cxn ang="0">
                <a:pos x="connsiteX58141" y="connsiteY58141"/>
              </a:cxn>
              <a:cxn ang="0">
                <a:pos x="connsiteX58142" y="connsiteY58142"/>
              </a:cxn>
              <a:cxn ang="0">
                <a:pos x="connsiteX58143" y="connsiteY58143"/>
              </a:cxn>
              <a:cxn ang="0">
                <a:pos x="connsiteX58144" y="connsiteY58144"/>
              </a:cxn>
              <a:cxn ang="0">
                <a:pos x="connsiteX58145" y="connsiteY58145"/>
              </a:cxn>
              <a:cxn ang="0">
                <a:pos x="connsiteX58146" y="connsiteY58146"/>
              </a:cxn>
              <a:cxn ang="0">
                <a:pos x="connsiteX58147" y="connsiteY58147"/>
              </a:cxn>
              <a:cxn ang="0">
                <a:pos x="connsiteX58148" y="connsiteY58148"/>
              </a:cxn>
              <a:cxn ang="0">
                <a:pos x="connsiteX58149" y="connsiteY58149"/>
              </a:cxn>
              <a:cxn ang="0">
                <a:pos x="connsiteX58150" y="connsiteY58150"/>
              </a:cxn>
              <a:cxn ang="0">
                <a:pos x="connsiteX58151" y="connsiteY58151"/>
              </a:cxn>
              <a:cxn ang="0">
                <a:pos x="connsiteX58152" y="connsiteY58152"/>
              </a:cxn>
              <a:cxn ang="0">
                <a:pos x="connsiteX58153" y="connsiteY58153"/>
              </a:cxn>
              <a:cxn ang="0">
                <a:pos x="connsiteX58154" y="connsiteY58154"/>
              </a:cxn>
              <a:cxn ang="0">
                <a:pos x="connsiteX58155" y="connsiteY58155"/>
              </a:cxn>
              <a:cxn ang="0">
                <a:pos x="connsiteX58156" y="connsiteY58156"/>
              </a:cxn>
              <a:cxn ang="0">
                <a:pos x="connsiteX58157" y="connsiteY58157"/>
              </a:cxn>
              <a:cxn ang="0">
                <a:pos x="connsiteX58158" y="connsiteY58158"/>
              </a:cxn>
              <a:cxn ang="0">
                <a:pos x="connsiteX58159" y="connsiteY58159"/>
              </a:cxn>
              <a:cxn ang="0">
                <a:pos x="connsiteX58160" y="connsiteY58160"/>
              </a:cxn>
              <a:cxn ang="0">
                <a:pos x="connsiteX58161" y="connsiteY58161"/>
              </a:cxn>
              <a:cxn ang="0">
                <a:pos x="connsiteX58162" y="connsiteY58162"/>
              </a:cxn>
              <a:cxn ang="0">
                <a:pos x="connsiteX58163" y="connsiteY58163"/>
              </a:cxn>
              <a:cxn ang="0">
                <a:pos x="connsiteX58164" y="connsiteY58164"/>
              </a:cxn>
              <a:cxn ang="0">
                <a:pos x="connsiteX58165" y="connsiteY58165"/>
              </a:cxn>
              <a:cxn ang="0">
                <a:pos x="connsiteX58166" y="connsiteY58166"/>
              </a:cxn>
              <a:cxn ang="0">
                <a:pos x="connsiteX58167" y="connsiteY58167"/>
              </a:cxn>
              <a:cxn ang="0">
                <a:pos x="connsiteX58168" y="connsiteY58168"/>
              </a:cxn>
              <a:cxn ang="0">
                <a:pos x="connsiteX58169" y="connsiteY58169"/>
              </a:cxn>
              <a:cxn ang="0">
                <a:pos x="connsiteX58170" y="connsiteY58170"/>
              </a:cxn>
              <a:cxn ang="0">
                <a:pos x="connsiteX58171" y="connsiteY58171"/>
              </a:cxn>
              <a:cxn ang="0">
                <a:pos x="connsiteX58172" y="connsiteY58172"/>
              </a:cxn>
              <a:cxn ang="0">
                <a:pos x="connsiteX58173" y="connsiteY58173"/>
              </a:cxn>
              <a:cxn ang="0">
                <a:pos x="connsiteX58174" y="connsiteY58174"/>
              </a:cxn>
              <a:cxn ang="0">
                <a:pos x="connsiteX58175" y="connsiteY58175"/>
              </a:cxn>
              <a:cxn ang="0">
                <a:pos x="connsiteX58176" y="connsiteY58176"/>
              </a:cxn>
              <a:cxn ang="0">
                <a:pos x="connsiteX58177" y="connsiteY58177"/>
              </a:cxn>
              <a:cxn ang="0">
                <a:pos x="connsiteX58178" y="connsiteY58178"/>
              </a:cxn>
              <a:cxn ang="0">
                <a:pos x="connsiteX58179" y="connsiteY58179"/>
              </a:cxn>
              <a:cxn ang="0">
                <a:pos x="connsiteX58180" y="connsiteY58180"/>
              </a:cxn>
              <a:cxn ang="0">
                <a:pos x="connsiteX58181" y="connsiteY58181"/>
              </a:cxn>
              <a:cxn ang="0">
                <a:pos x="connsiteX58182" y="connsiteY58182"/>
              </a:cxn>
              <a:cxn ang="0">
                <a:pos x="connsiteX58183" y="connsiteY58183"/>
              </a:cxn>
              <a:cxn ang="0">
                <a:pos x="connsiteX58184" y="connsiteY58184"/>
              </a:cxn>
              <a:cxn ang="0">
                <a:pos x="connsiteX58185" y="connsiteY58185"/>
              </a:cxn>
              <a:cxn ang="0">
                <a:pos x="connsiteX58186" y="connsiteY58186"/>
              </a:cxn>
              <a:cxn ang="0">
                <a:pos x="connsiteX58187" y="connsiteY58187"/>
              </a:cxn>
              <a:cxn ang="0">
                <a:pos x="connsiteX58188" y="connsiteY58188"/>
              </a:cxn>
              <a:cxn ang="0">
                <a:pos x="connsiteX58189" y="connsiteY58189"/>
              </a:cxn>
              <a:cxn ang="0">
                <a:pos x="connsiteX58190" y="connsiteY58190"/>
              </a:cxn>
              <a:cxn ang="0">
                <a:pos x="connsiteX58191" y="connsiteY58191"/>
              </a:cxn>
              <a:cxn ang="0">
                <a:pos x="connsiteX58192" y="connsiteY58192"/>
              </a:cxn>
              <a:cxn ang="0">
                <a:pos x="connsiteX58193" y="connsiteY58193"/>
              </a:cxn>
              <a:cxn ang="0">
                <a:pos x="connsiteX58194" y="connsiteY58194"/>
              </a:cxn>
              <a:cxn ang="0">
                <a:pos x="connsiteX58195" y="connsiteY58195"/>
              </a:cxn>
              <a:cxn ang="0">
                <a:pos x="connsiteX58196" y="connsiteY58196"/>
              </a:cxn>
              <a:cxn ang="0">
                <a:pos x="connsiteX58197" y="connsiteY58197"/>
              </a:cxn>
              <a:cxn ang="0">
                <a:pos x="connsiteX58198" y="connsiteY58198"/>
              </a:cxn>
              <a:cxn ang="0">
                <a:pos x="connsiteX58199" y="connsiteY58199"/>
              </a:cxn>
              <a:cxn ang="0">
                <a:pos x="connsiteX58200" y="connsiteY58200"/>
              </a:cxn>
              <a:cxn ang="0">
                <a:pos x="connsiteX58201" y="connsiteY58201"/>
              </a:cxn>
              <a:cxn ang="0">
                <a:pos x="connsiteX58202" y="connsiteY58202"/>
              </a:cxn>
              <a:cxn ang="0">
                <a:pos x="connsiteX58203" y="connsiteY58203"/>
              </a:cxn>
              <a:cxn ang="0">
                <a:pos x="connsiteX58204" y="connsiteY58204"/>
              </a:cxn>
              <a:cxn ang="0">
                <a:pos x="connsiteX58205" y="connsiteY58205"/>
              </a:cxn>
              <a:cxn ang="0">
                <a:pos x="connsiteX58206" y="connsiteY58206"/>
              </a:cxn>
              <a:cxn ang="0">
                <a:pos x="connsiteX58207" y="connsiteY58207"/>
              </a:cxn>
              <a:cxn ang="0">
                <a:pos x="connsiteX58208" y="connsiteY58208"/>
              </a:cxn>
              <a:cxn ang="0">
                <a:pos x="connsiteX58209" y="connsiteY58209"/>
              </a:cxn>
              <a:cxn ang="0">
                <a:pos x="connsiteX58210" y="connsiteY58210"/>
              </a:cxn>
              <a:cxn ang="0">
                <a:pos x="connsiteX58211" y="connsiteY58211"/>
              </a:cxn>
              <a:cxn ang="0">
                <a:pos x="connsiteX58212" y="connsiteY58212"/>
              </a:cxn>
              <a:cxn ang="0">
                <a:pos x="connsiteX58213" y="connsiteY58213"/>
              </a:cxn>
              <a:cxn ang="0">
                <a:pos x="connsiteX58214" y="connsiteY58214"/>
              </a:cxn>
              <a:cxn ang="0">
                <a:pos x="connsiteX58215" y="connsiteY58215"/>
              </a:cxn>
              <a:cxn ang="0">
                <a:pos x="connsiteX58216" y="connsiteY58216"/>
              </a:cxn>
              <a:cxn ang="0">
                <a:pos x="connsiteX58217" y="connsiteY58217"/>
              </a:cxn>
              <a:cxn ang="0">
                <a:pos x="connsiteX58218" y="connsiteY58218"/>
              </a:cxn>
              <a:cxn ang="0">
                <a:pos x="connsiteX58219" y="connsiteY58219"/>
              </a:cxn>
              <a:cxn ang="0">
                <a:pos x="connsiteX58220" y="connsiteY58220"/>
              </a:cxn>
              <a:cxn ang="0">
                <a:pos x="connsiteX58221" y="connsiteY58221"/>
              </a:cxn>
              <a:cxn ang="0">
                <a:pos x="connsiteX58222" y="connsiteY58222"/>
              </a:cxn>
              <a:cxn ang="0">
                <a:pos x="connsiteX58223" y="connsiteY58223"/>
              </a:cxn>
              <a:cxn ang="0">
                <a:pos x="connsiteX58224" y="connsiteY58224"/>
              </a:cxn>
              <a:cxn ang="0">
                <a:pos x="connsiteX58225" y="connsiteY58225"/>
              </a:cxn>
              <a:cxn ang="0">
                <a:pos x="connsiteX58226" y="connsiteY58226"/>
              </a:cxn>
              <a:cxn ang="0">
                <a:pos x="connsiteX58227" y="connsiteY58227"/>
              </a:cxn>
              <a:cxn ang="0">
                <a:pos x="connsiteX58228" y="connsiteY58228"/>
              </a:cxn>
              <a:cxn ang="0">
                <a:pos x="connsiteX58229" y="connsiteY58229"/>
              </a:cxn>
              <a:cxn ang="0">
                <a:pos x="connsiteX58230" y="connsiteY58230"/>
              </a:cxn>
              <a:cxn ang="0">
                <a:pos x="connsiteX58231" y="connsiteY58231"/>
              </a:cxn>
              <a:cxn ang="0">
                <a:pos x="connsiteX58232" y="connsiteY58232"/>
              </a:cxn>
              <a:cxn ang="0">
                <a:pos x="connsiteX58233" y="connsiteY58233"/>
              </a:cxn>
              <a:cxn ang="0">
                <a:pos x="connsiteX58234" y="connsiteY58234"/>
              </a:cxn>
              <a:cxn ang="0">
                <a:pos x="connsiteX58235" y="connsiteY58235"/>
              </a:cxn>
              <a:cxn ang="0">
                <a:pos x="connsiteX58236" y="connsiteY58236"/>
              </a:cxn>
              <a:cxn ang="0">
                <a:pos x="connsiteX58237" y="connsiteY58237"/>
              </a:cxn>
              <a:cxn ang="0">
                <a:pos x="connsiteX58238" y="connsiteY58238"/>
              </a:cxn>
              <a:cxn ang="0">
                <a:pos x="connsiteX58239" y="connsiteY58239"/>
              </a:cxn>
              <a:cxn ang="0">
                <a:pos x="connsiteX58240" y="connsiteY58240"/>
              </a:cxn>
              <a:cxn ang="0">
                <a:pos x="connsiteX58241" y="connsiteY58241"/>
              </a:cxn>
              <a:cxn ang="0">
                <a:pos x="connsiteX58242" y="connsiteY58242"/>
              </a:cxn>
              <a:cxn ang="0">
                <a:pos x="connsiteX58243" y="connsiteY58243"/>
              </a:cxn>
              <a:cxn ang="0">
                <a:pos x="connsiteX58244" y="connsiteY58244"/>
              </a:cxn>
              <a:cxn ang="0">
                <a:pos x="connsiteX58245" y="connsiteY58245"/>
              </a:cxn>
              <a:cxn ang="0">
                <a:pos x="connsiteX58246" y="connsiteY58246"/>
              </a:cxn>
              <a:cxn ang="0">
                <a:pos x="connsiteX58247" y="connsiteY58247"/>
              </a:cxn>
              <a:cxn ang="0">
                <a:pos x="connsiteX58248" y="connsiteY58248"/>
              </a:cxn>
              <a:cxn ang="0">
                <a:pos x="connsiteX58249" y="connsiteY58249"/>
              </a:cxn>
              <a:cxn ang="0">
                <a:pos x="connsiteX58250" y="connsiteY58250"/>
              </a:cxn>
              <a:cxn ang="0">
                <a:pos x="connsiteX58251" y="connsiteY58251"/>
              </a:cxn>
              <a:cxn ang="0">
                <a:pos x="connsiteX58252" y="connsiteY58252"/>
              </a:cxn>
              <a:cxn ang="0">
                <a:pos x="connsiteX58253" y="connsiteY58253"/>
              </a:cxn>
              <a:cxn ang="0">
                <a:pos x="connsiteX58254" y="connsiteY58254"/>
              </a:cxn>
              <a:cxn ang="0">
                <a:pos x="connsiteX58255" y="connsiteY58255"/>
              </a:cxn>
              <a:cxn ang="0">
                <a:pos x="connsiteX58256" y="connsiteY58256"/>
              </a:cxn>
              <a:cxn ang="0">
                <a:pos x="connsiteX58257" y="connsiteY58257"/>
              </a:cxn>
              <a:cxn ang="0">
                <a:pos x="connsiteX58258" y="connsiteY58258"/>
              </a:cxn>
              <a:cxn ang="0">
                <a:pos x="connsiteX58259" y="connsiteY58259"/>
              </a:cxn>
              <a:cxn ang="0">
                <a:pos x="connsiteX58260" y="connsiteY58260"/>
              </a:cxn>
              <a:cxn ang="0">
                <a:pos x="connsiteX58261" y="connsiteY58261"/>
              </a:cxn>
              <a:cxn ang="0">
                <a:pos x="connsiteX58262" y="connsiteY58262"/>
              </a:cxn>
              <a:cxn ang="0">
                <a:pos x="connsiteX58263" y="connsiteY58263"/>
              </a:cxn>
              <a:cxn ang="0">
                <a:pos x="connsiteX58264" y="connsiteY58264"/>
              </a:cxn>
              <a:cxn ang="0">
                <a:pos x="connsiteX58265" y="connsiteY58265"/>
              </a:cxn>
              <a:cxn ang="0">
                <a:pos x="connsiteX58266" y="connsiteY58266"/>
              </a:cxn>
              <a:cxn ang="0">
                <a:pos x="connsiteX58267" y="connsiteY58267"/>
              </a:cxn>
              <a:cxn ang="0">
                <a:pos x="connsiteX58268" y="connsiteY58268"/>
              </a:cxn>
              <a:cxn ang="0">
                <a:pos x="connsiteX58269" y="connsiteY58269"/>
              </a:cxn>
              <a:cxn ang="0">
                <a:pos x="connsiteX58270" y="connsiteY58270"/>
              </a:cxn>
              <a:cxn ang="0">
                <a:pos x="connsiteX58271" y="connsiteY58271"/>
              </a:cxn>
              <a:cxn ang="0">
                <a:pos x="connsiteX58272" y="connsiteY58272"/>
              </a:cxn>
              <a:cxn ang="0">
                <a:pos x="connsiteX58273" y="connsiteY58273"/>
              </a:cxn>
              <a:cxn ang="0">
                <a:pos x="connsiteX58274" y="connsiteY58274"/>
              </a:cxn>
              <a:cxn ang="0">
                <a:pos x="connsiteX58275" y="connsiteY58275"/>
              </a:cxn>
              <a:cxn ang="0">
                <a:pos x="connsiteX58276" y="connsiteY58276"/>
              </a:cxn>
              <a:cxn ang="0">
                <a:pos x="connsiteX58277" y="connsiteY58277"/>
              </a:cxn>
              <a:cxn ang="0">
                <a:pos x="connsiteX58278" y="connsiteY58278"/>
              </a:cxn>
              <a:cxn ang="0">
                <a:pos x="connsiteX58279" y="connsiteY58279"/>
              </a:cxn>
              <a:cxn ang="0">
                <a:pos x="connsiteX58280" y="connsiteY58280"/>
              </a:cxn>
              <a:cxn ang="0">
                <a:pos x="connsiteX58281" y="connsiteY58281"/>
              </a:cxn>
              <a:cxn ang="0">
                <a:pos x="connsiteX58282" y="connsiteY58282"/>
              </a:cxn>
              <a:cxn ang="0">
                <a:pos x="connsiteX58283" y="connsiteY58283"/>
              </a:cxn>
              <a:cxn ang="0">
                <a:pos x="connsiteX58284" y="connsiteY58284"/>
              </a:cxn>
              <a:cxn ang="0">
                <a:pos x="connsiteX58285" y="connsiteY58285"/>
              </a:cxn>
              <a:cxn ang="0">
                <a:pos x="connsiteX58286" y="connsiteY58286"/>
              </a:cxn>
              <a:cxn ang="0">
                <a:pos x="connsiteX58287" y="connsiteY58287"/>
              </a:cxn>
              <a:cxn ang="0">
                <a:pos x="connsiteX58288" y="connsiteY58288"/>
              </a:cxn>
              <a:cxn ang="0">
                <a:pos x="connsiteX58289" y="connsiteY58289"/>
              </a:cxn>
              <a:cxn ang="0">
                <a:pos x="connsiteX58290" y="connsiteY58290"/>
              </a:cxn>
              <a:cxn ang="0">
                <a:pos x="connsiteX58291" y="connsiteY58291"/>
              </a:cxn>
              <a:cxn ang="0">
                <a:pos x="connsiteX58292" y="connsiteY58292"/>
              </a:cxn>
              <a:cxn ang="0">
                <a:pos x="connsiteX58293" y="connsiteY58293"/>
              </a:cxn>
              <a:cxn ang="0">
                <a:pos x="connsiteX58294" y="connsiteY58294"/>
              </a:cxn>
              <a:cxn ang="0">
                <a:pos x="connsiteX58295" y="connsiteY58295"/>
              </a:cxn>
              <a:cxn ang="0">
                <a:pos x="connsiteX58296" y="connsiteY58296"/>
              </a:cxn>
              <a:cxn ang="0">
                <a:pos x="connsiteX58297" y="connsiteY58297"/>
              </a:cxn>
              <a:cxn ang="0">
                <a:pos x="connsiteX58298" y="connsiteY58298"/>
              </a:cxn>
              <a:cxn ang="0">
                <a:pos x="connsiteX58299" y="connsiteY58299"/>
              </a:cxn>
              <a:cxn ang="0">
                <a:pos x="connsiteX58300" y="connsiteY58300"/>
              </a:cxn>
              <a:cxn ang="0">
                <a:pos x="connsiteX58301" y="connsiteY58301"/>
              </a:cxn>
              <a:cxn ang="0">
                <a:pos x="connsiteX58302" y="connsiteY58302"/>
              </a:cxn>
              <a:cxn ang="0">
                <a:pos x="connsiteX58303" y="connsiteY58303"/>
              </a:cxn>
              <a:cxn ang="0">
                <a:pos x="connsiteX58304" y="connsiteY58304"/>
              </a:cxn>
              <a:cxn ang="0">
                <a:pos x="connsiteX58305" y="connsiteY58305"/>
              </a:cxn>
              <a:cxn ang="0">
                <a:pos x="connsiteX58306" y="connsiteY58306"/>
              </a:cxn>
              <a:cxn ang="0">
                <a:pos x="connsiteX58307" y="connsiteY58307"/>
              </a:cxn>
              <a:cxn ang="0">
                <a:pos x="connsiteX58308" y="connsiteY58308"/>
              </a:cxn>
              <a:cxn ang="0">
                <a:pos x="connsiteX58309" y="connsiteY58309"/>
              </a:cxn>
              <a:cxn ang="0">
                <a:pos x="connsiteX58310" y="connsiteY58310"/>
              </a:cxn>
              <a:cxn ang="0">
                <a:pos x="connsiteX58311" y="connsiteY58311"/>
              </a:cxn>
              <a:cxn ang="0">
                <a:pos x="connsiteX58312" y="connsiteY58312"/>
              </a:cxn>
              <a:cxn ang="0">
                <a:pos x="connsiteX58313" y="connsiteY58313"/>
              </a:cxn>
              <a:cxn ang="0">
                <a:pos x="connsiteX58314" y="connsiteY58314"/>
              </a:cxn>
              <a:cxn ang="0">
                <a:pos x="connsiteX58315" y="connsiteY58315"/>
              </a:cxn>
              <a:cxn ang="0">
                <a:pos x="connsiteX58316" y="connsiteY58316"/>
              </a:cxn>
              <a:cxn ang="0">
                <a:pos x="connsiteX58317" y="connsiteY58317"/>
              </a:cxn>
              <a:cxn ang="0">
                <a:pos x="connsiteX58318" y="connsiteY58318"/>
              </a:cxn>
              <a:cxn ang="0">
                <a:pos x="connsiteX58319" y="connsiteY58319"/>
              </a:cxn>
              <a:cxn ang="0">
                <a:pos x="connsiteX58320" y="connsiteY58320"/>
              </a:cxn>
              <a:cxn ang="0">
                <a:pos x="connsiteX58321" y="connsiteY58321"/>
              </a:cxn>
              <a:cxn ang="0">
                <a:pos x="connsiteX58322" y="connsiteY58322"/>
              </a:cxn>
              <a:cxn ang="0">
                <a:pos x="connsiteX58323" y="connsiteY58323"/>
              </a:cxn>
              <a:cxn ang="0">
                <a:pos x="connsiteX58324" y="connsiteY58324"/>
              </a:cxn>
              <a:cxn ang="0">
                <a:pos x="connsiteX58325" y="connsiteY58325"/>
              </a:cxn>
              <a:cxn ang="0">
                <a:pos x="connsiteX58326" y="connsiteY58326"/>
              </a:cxn>
              <a:cxn ang="0">
                <a:pos x="connsiteX58327" y="connsiteY58327"/>
              </a:cxn>
              <a:cxn ang="0">
                <a:pos x="connsiteX58328" y="connsiteY58328"/>
              </a:cxn>
              <a:cxn ang="0">
                <a:pos x="connsiteX58329" y="connsiteY58329"/>
              </a:cxn>
              <a:cxn ang="0">
                <a:pos x="connsiteX58330" y="connsiteY58330"/>
              </a:cxn>
              <a:cxn ang="0">
                <a:pos x="connsiteX58331" y="connsiteY58331"/>
              </a:cxn>
              <a:cxn ang="0">
                <a:pos x="connsiteX58332" y="connsiteY58332"/>
              </a:cxn>
              <a:cxn ang="0">
                <a:pos x="connsiteX58333" y="connsiteY58333"/>
              </a:cxn>
              <a:cxn ang="0">
                <a:pos x="connsiteX58334" y="connsiteY58334"/>
              </a:cxn>
              <a:cxn ang="0">
                <a:pos x="connsiteX58335" y="connsiteY58335"/>
              </a:cxn>
              <a:cxn ang="0">
                <a:pos x="connsiteX58336" y="connsiteY58336"/>
              </a:cxn>
              <a:cxn ang="0">
                <a:pos x="connsiteX58337" y="connsiteY58337"/>
              </a:cxn>
              <a:cxn ang="0">
                <a:pos x="connsiteX58338" y="connsiteY58338"/>
              </a:cxn>
              <a:cxn ang="0">
                <a:pos x="connsiteX58339" y="connsiteY58339"/>
              </a:cxn>
              <a:cxn ang="0">
                <a:pos x="connsiteX58340" y="connsiteY58340"/>
              </a:cxn>
              <a:cxn ang="0">
                <a:pos x="connsiteX58341" y="connsiteY58341"/>
              </a:cxn>
              <a:cxn ang="0">
                <a:pos x="connsiteX58342" y="connsiteY58342"/>
              </a:cxn>
              <a:cxn ang="0">
                <a:pos x="connsiteX58343" y="connsiteY58343"/>
              </a:cxn>
              <a:cxn ang="0">
                <a:pos x="connsiteX58344" y="connsiteY58344"/>
              </a:cxn>
              <a:cxn ang="0">
                <a:pos x="connsiteX58345" y="connsiteY58345"/>
              </a:cxn>
              <a:cxn ang="0">
                <a:pos x="connsiteX58346" y="connsiteY58346"/>
              </a:cxn>
              <a:cxn ang="0">
                <a:pos x="connsiteX58347" y="connsiteY58347"/>
              </a:cxn>
              <a:cxn ang="0">
                <a:pos x="connsiteX58348" y="connsiteY58348"/>
              </a:cxn>
              <a:cxn ang="0">
                <a:pos x="connsiteX58349" y="connsiteY58349"/>
              </a:cxn>
              <a:cxn ang="0">
                <a:pos x="connsiteX58350" y="connsiteY58350"/>
              </a:cxn>
              <a:cxn ang="0">
                <a:pos x="connsiteX58351" y="connsiteY58351"/>
              </a:cxn>
              <a:cxn ang="0">
                <a:pos x="connsiteX58352" y="connsiteY58352"/>
              </a:cxn>
              <a:cxn ang="0">
                <a:pos x="connsiteX58353" y="connsiteY58353"/>
              </a:cxn>
              <a:cxn ang="0">
                <a:pos x="connsiteX58354" y="connsiteY58354"/>
              </a:cxn>
              <a:cxn ang="0">
                <a:pos x="connsiteX58355" y="connsiteY58355"/>
              </a:cxn>
              <a:cxn ang="0">
                <a:pos x="connsiteX58356" y="connsiteY58356"/>
              </a:cxn>
              <a:cxn ang="0">
                <a:pos x="connsiteX58357" y="connsiteY58357"/>
              </a:cxn>
              <a:cxn ang="0">
                <a:pos x="connsiteX58358" y="connsiteY58358"/>
              </a:cxn>
              <a:cxn ang="0">
                <a:pos x="connsiteX58359" y="connsiteY58359"/>
              </a:cxn>
              <a:cxn ang="0">
                <a:pos x="connsiteX58360" y="connsiteY58360"/>
              </a:cxn>
              <a:cxn ang="0">
                <a:pos x="connsiteX58361" y="connsiteY58361"/>
              </a:cxn>
              <a:cxn ang="0">
                <a:pos x="connsiteX58362" y="connsiteY58362"/>
              </a:cxn>
              <a:cxn ang="0">
                <a:pos x="connsiteX58363" y="connsiteY58363"/>
              </a:cxn>
              <a:cxn ang="0">
                <a:pos x="connsiteX58364" y="connsiteY58364"/>
              </a:cxn>
              <a:cxn ang="0">
                <a:pos x="connsiteX58365" y="connsiteY58365"/>
              </a:cxn>
              <a:cxn ang="0">
                <a:pos x="connsiteX58366" y="connsiteY58366"/>
              </a:cxn>
              <a:cxn ang="0">
                <a:pos x="connsiteX58367" y="connsiteY58367"/>
              </a:cxn>
              <a:cxn ang="0">
                <a:pos x="connsiteX58368" y="connsiteY58368"/>
              </a:cxn>
              <a:cxn ang="0">
                <a:pos x="connsiteX58369" y="connsiteY58369"/>
              </a:cxn>
              <a:cxn ang="0">
                <a:pos x="connsiteX58370" y="connsiteY58370"/>
              </a:cxn>
              <a:cxn ang="0">
                <a:pos x="connsiteX58371" y="connsiteY58371"/>
              </a:cxn>
              <a:cxn ang="0">
                <a:pos x="connsiteX58372" y="connsiteY58372"/>
              </a:cxn>
              <a:cxn ang="0">
                <a:pos x="connsiteX58373" y="connsiteY58373"/>
              </a:cxn>
              <a:cxn ang="0">
                <a:pos x="connsiteX58374" y="connsiteY58374"/>
              </a:cxn>
              <a:cxn ang="0">
                <a:pos x="connsiteX58375" y="connsiteY58375"/>
              </a:cxn>
              <a:cxn ang="0">
                <a:pos x="connsiteX58376" y="connsiteY58376"/>
              </a:cxn>
              <a:cxn ang="0">
                <a:pos x="connsiteX58377" y="connsiteY58377"/>
              </a:cxn>
              <a:cxn ang="0">
                <a:pos x="connsiteX58378" y="connsiteY58378"/>
              </a:cxn>
              <a:cxn ang="0">
                <a:pos x="connsiteX58379" y="connsiteY58379"/>
              </a:cxn>
              <a:cxn ang="0">
                <a:pos x="connsiteX58380" y="connsiteY58380"/>
              </a:cxn>
              <a:cxn ang="0">
                <a:pos x="connsiteX58381" y="connsiteY58381"/>
              </a:cxn>
              <a:cxn ang="0">
                <a:pos x="connsiteX58382" y="connsiteY58382"/>
              </a:cxn>
              <a:cxn ang="0">
                <a:pos x="connsiteX58383" y="connsiteY58383"/>
              </a:cxn>
              <a:cxn ang="0">
                <a:pos x="connsiteX58384" y="connsiteY58384"/>
              </a:cxn>
              <a:cxn ang="0">
                <a:pos x="connsiteX58385" y="connsiteY58385"/>
              </a:cxn>
              <a:cxn ang="0">
                <a:pos x="connsiteX58386" y="connsiteY58386"/>
              </a:cxn>
              <a:cxn ang="0">
                <a:pos x="connsiteX58387" y="connsiteY58387"/>
              </a:cxn>
              <a:cxn ang="0">
                <a:pos x="connsiteX58388" y="connsiteY58388"/>
              </a:cxn>
              <a:cxn ang="0">
                <a:pos x="connsiteX58389" y="connsiteY58389"/>
              </a:cxn>
              <a:cxn ang="0">
                <a:pos x="connsiteX58390" y="connsiteY58390"/>
              </a:cxn>
              <a:cxn ang="0">
                <a:pos x="connsiteX58391" y="connsiteY58391"/>
              </a:cxn>
              <a:cxn ang="0">
                <a:pos x="connsiteX58392" y="connsiteY58392"/>
              </a:cxn>
              <a:cxn ang="0">
                <a:pos x="connsiteX58393" y="connsiteY58393"/>
              </a:cxn>
              <a:cxn ang="0">
                <a:pos x="connsiteX58394" y="connsiteY58394"/>
              </a:cxn>
              <a:cxn ang="0">
                <a:pos x="connsiteX58395" y="connsiteY58395"/>
              </a:cxn>
              <a:cxn ang="0">
                <a:pos x="connsiteX58396" y="connsiteY58396"/>
              </a:cxn>
              <a:cxn ang="0">
                <a:pos x="connsiteX58397" y="connsiteY58397"/>
              </a:cxn>
              <a:cxn ang="0">
                <a:pos x="connsiteX58398" y="connsiteY58398"/>
              </a:cxn>
              <a:cxn ang="0">
                <a:pos x="connsiteX58399" y="connsiteY58399"/>
              </a:cxn>
              <a:cxn ang="0">
                <a:pos x="connsiteX58400" y="connsiteY58400"/>
              </a:cxn>
              <a:cxn ang="0">
                <a:pos x="connsiteX58401" y="connsiteY58401"/>
              </a:cxn>
              <a:cxn ang="0">
                <a:pos x="connsiteX58402" y="connsiteY58402"/>
              </a:cxn>
              <a:cxn ang="0">
                <a:pos x="connsiteX58403" y="connsiteY58403"/>
              </a:cxn>
              <a:cxn ang="0">
                <a:pos x="connsiteX58404" y="connsiteY58404"/>
              </a:cxn>
              <a:cxn ang="0">
                <a:pos x="connsiteX58405" y="connsiteY58405"/>
              </a:cxn>
              <a:cxn ang="0">
                <a:pos x="connsiteX58406" y="connsiteY58406"/>
              </a:cxn>
              <a:cxn ang="0">
                <a:pos x="connsiteX58407" y="connsiteY58407"/>
              </a:cxn>
              <a:cxn ang="0">
                <a:pos x="connsiteX58408" y="connsiteY58408"/>
              </a:cxn>
              <a:cxn ang="0">
                <a:pos x="connsiteX58409" y="connsiteY58409"/>
              </a:cxn>
              <a:cxn ang="0">
                <a:pos x="connsiteX58410" y="connsiteY58410"/>
              </a:cxn>
              <a:cxn ang="0">
                <a:pos x="connsiteX58411" y="connsiteY58411"/>
              </a:cxn>
              <a:cxn ang="0">
                <a:pos x="connsiteX58412" y="connsiteY58412"/>
              </a:cxn>
              <a:cxn ang="0">
                <a:pos x="connsiteX58413" y="connsiteY58413"/>
              </a:cxn>
              <a:cxn ang="0">
                <a:pos x="connsiteX58414" y="connsiteY58414"/>
              </a:cxn>
              <a:cxn ang="0">
                <a:pos x="connsiteX58415" y="connsiteY58415"/>
              </a:cxn>
              <a:cxn ang="0">
                <a:pos x="connsiteX58416" y="connsiteY58416"/>
              </a:cxn>
              <a:cxn ang="0">
                <a:pos x="connsiteX58417" y="connsiteY58417"/>
              </a:cxn>
              <a:cxn ang="0">
                <a:pos x="connsiteX58418" y="connsiteY58418"/>
              </a:cxn>
              <a:cxn ang="0">
                <a:pos x="connsiteX58419" y="connsiteY58419"/>
              </a:cxn>
              <a:cxn ang="0">
                <a:pos x="connsiteX58420" y="connsiteY58420"/>
              </a:cxn>
              <a:cxn ang="0">
                <a:pos x="connsiteX58421" y="connsiteY58421"/>
              </a:cxn>
              <a:cxn ang="0">
                <a:pos x="connsiteX58422" y="connsiteY58422"/>
              </a:cxn>
              <a:cxn ang="0">
                <a:pos x="connsiteX58423" y="connsiteY58423"/>
              </a:cxn>
              <a:cxn ang="0">
                <a:pos x="connsiteX58424" y="connsiteY58424"/>
              </a:cxn>
              <a:cxn ang="0">
                <a:pos x="connsiteX58425" y="connsiteY58425"/>
              </a:cxn>
              <a:cxn ang="0">
                <a:pos x="connsiteX58426" y="connsiteY58426"/>
              </a:cxn>
              <a:cxn ang="0">
                <a:pos x="connsiteX58427" y="connsiteY58427"/>
              </a:cxn>
              <a:cxn ang="0">
                <a:pos x="connsiteX58428" y="connsiteY58428"/>
              </a:cxn>
              <a:cxn ang="0">
                <a:pos x="connsiteX58429" y="connsiteY58429"/>
              </a:cxn>
              <a:cxn ang="0">
                <a:pos x="connsiteX58430" y="connsiteY58430"/>
              </a:cxn>
              <a:cxn ang="0">
                <a:pos x="connsiteX58431" y="connsiteY58431"/>
              </a:cxn>
              <a:cxn ang="0">
                <a:pos x="connsiteX58432" y="connsiteY58432"/>
              </a:cxn>
              <a:cxn ang="0">
                <a:pos x="connsiteX58433" y="connsiteY58433"/>
              </a:cxn>
              <a:cxn ang="0">
                <a:pos x="connsiteX58434" y="connsiteY58434"/>
              </a:cxn>
              <a:cxn ang="0">
                <a:pos x="connsiteX58435" y="connsiteY58435"/>
              </a:cxn>
              <a:cxn ang="0">
                <a:pos x="connsiteX58436" y="connsiteY58436"/>
              </a:cxn>
              <a:cxn ang="0">
                <a:pos x="connsiteX58437" y="connsiteY58437"/>
              </a:cxn>
              <a:cxn ang="0">
                <a:pos x="connsiteX58438" y="connsiteY58438"/>
              </a:cxn>
              <a:cxn ang="0">
                <a:pos x="connsiteX58439" y="connsiteY58439"/>
              </a:cxn>
              <a:cxn ang="0">
                <a:pos x="connsiteX58440" y="connsiteY58440"/>
              </a:cxn>
              <a:cxn ang="0">
                <a:pos x="connsiteX58441" y="connsiteY58441"/>
              </a:cxn>
              <a:cxn ang="0">
                <a:pos x="connsiteX58442" y="connsiteY58442"/>
              </a:cxn>
              <a:cxn ang="0">
                <a:pos x="connsiteX58443" y="connsiteY58443"/>
              </a:cxn>
              <a:cxn ang="0">
                <a:pos x="connsiteX58444" y="connsiteY58444"/>
              </a:cxn>
              <a:cxn ang="0">
                <a:pos x="connsiteX58445" y="connsiteY58445"/>
              </a:cxn>
              <a:cxn ang="0">
                <a:pos x="connsiteX58446" y="connsiteY58446"/>
              </a:cxn>
              <a:cxn ang="0">
                <a:pos x="connsiteX58447" y="connsiteY58447"/>
              </a:cxn>
              <a:cxn ang="0">
                <a:pos x="connsiteX58448" y="connsiteY58448"/>
              </a:cxn>
              <a:cxn ang="0">
                <a:pos x="connsiteX58449" y="connsiteY58449"/>
              </a:cxn>
              <a:cxn ang="0">
                <a:pos x="connsiteX58450" y="connsiteY58450"/>
              </a:cxn>
              <a:cxn ang="0">
                <a:pos x="connsiteX58451" y="connsiteY58451"/>
              </a:cxn>
              <a:cxn ang="0">
                <a:pos x="connsiteX58452" y="connsiteY58452"/>
              </a:cxn>
              <a:cxn ang="0">
                <a:pos x="connsiteX58453" y="connsiteY58453"/>
              </a:cxn>
              <a:cxn ang="0">
                <a:pos x="connsiteX58454" y="connsiteY58454"/>
              </a:cxn>
              <a:cxn ang="0">
                <a:pos x="connsiteX58455" y="connsiteY58455"/>
              </a:cxn>
              <a:cxn ang="0">
                <a:pos x="connsiteX58456" y="connsiteY58456"/>
              </a:cxn>
              <a:cxn ang="0">
                <a:pos x="connsiteX58457" y="connsiteY58457"/>
              </a:cxn>
              <a:cxn ang="0">
                <a:pos x="connsiteX58458" y="connsiteY58458"/>
              </a:cxn>
              <a:cxn ang="0">
                <a:pos x="connsiteX58459" y="connsiteY58459"/>
              </a:cxn>
              <a:cxn ang="0">
                <a:pos x="connsiteX58460" y="connsiteY58460"/>
              </a:cxn>
              <a:cxn ang="0">
                <a:pos x="connsiteX58461" y="connsiteY58461"/>
              </a:cxn>
              <a:cxn ang="0">
                <a:pos x="connsiteX58462" y="connsiteY58462"/>
              </a:cxn>
              <a:cxn ang="0">
                <a:pos x="connsiteX58463" y="connsiteY58463"/>
              </a:cxn>
              <a:cxn ang="0">
                <a:pos x="connsiteX58464" y="connsiteY58464"/>
              </a:cxn>
              <a:cxn ang="0">
                <a:pos x="connsiteX58465" y="connsiteY58465"/>
              </a:cxn>
              <a:cxn ang="0">
                <a:pos x="connsiteX58466" y="connsiteY58466"/>
              </a:cxn>
              <a:cxn ang="0">
                <a:pos x="connsiteX58467" y="connsiteY58467"/>
              </a:cxn>
              <a:cxn ang="0">
                <a:pos x="connsiteX58468" y="connsiteY58468"/>
              </a:cxn>
              <a:cxn ang="0">
                <a:pos x="connsiteX58469" y="connsiteY58469"/>
              </a:cxn>
              <a:cxn ang="0">
                <a:pos x="connsiteX58470" y="connsiteY58470"/>
              </a:cxn>
              <a:cxn ang="0">
                <a:pos x="connsiteX58471" y="connsiteY58471"/>
              </a:cxn>
              <a:cxn ang="0">
                <a:pos x="connsiteX58472" y="connsiteY58472"/>
              </a:cxn>
              <a:cxn ang="0">
                <a:pos x="connsiteX58473" y="connsiteY58473"/>
              </a:cxn>
              <a:cxn ang="0">
                <a:pos x="connsiteX58474" y="connsiteY58474"/>
              </a:cxn>
              <a:cxn ang="0">
                <a:pos x="connsiteX58475" y="connsiteY58475"/>
              </a:cxn>
              <a:cxn ang="0">
                <a:pos x="connsiteX58476" y="connsiteY58476"/>
              </a:cxn>
              <a:cxn ang="0">
                <a:pos x="connsiteX58477" y="connsiteY58477"/>
              </a:cxn>
              <a:cxn ang="0">
                <a:pos x="connsiteX58478" y="connsiteY58478"/>
              </a:cxn>
              <a:cxn ang="0">
                <a:pos x="connsiteX58479" y="connsiteY58479"/>
              </a:cxn>
              <a:cxn ang="0">
                <a:pos x="connsiteX58480" y="connsiteY58480"/>
              </a:cxn>
              <a:cxn ang="0">
                <a:pos x="connsiteX58481" y="connsiteY58481"/>
              </a:cxn>
              <a:cxn ang="0">
                <a:pos x="connsiteX58482" y="connsiteY58482"/>
              </a:cxn>
              <a:cxn ang="0">
                <a:pos x="connsiteX58483" y="connsiteY58483"/>
              </a:cxn>
              <a:cxn ang="0">
                <a:pos x="connsiteX58484" y="connsiteY58484"/>
              </a:cxn>
              <a:cxn ang="0">
                <a:pos x="connsiteX58485" y="connsiteY58485"/>
              </a:cxn>
              <a:cxn ang="0">
                <a:pos x="connsiteX58486" y="connsiteY58486"/>
              </a:cxn>
              <a:cxn ang="0">
                <a:pos x="connsiteX58487" y="connsiteY58487"/>
              </a:cxn>
              <a:cxn ang="0">
                <a:pos x="connsiteX58488" y="connsiteY58488"/>
              </a:cxn>
              <a:cxn ang="0">
                <a:pos x="connsiteX58489" y="connsiteY58489"/>
              </a:cxn>
              <a:cxn ang="0">
                <a:pos x="connsiteX58490" y="connsiteY58490"/>
              </a:cxn>
              <a:cxn ang="0">
                <a:pos x="connsiteX58491" y="connsiteY58491"/>
              </a:cxn>
              <a:cxn ang="0">
                <a:pos x="connsiteX58492" y="connsiteY58492"/>
              </a:cxn>
              <a:cxn ang="0">
                <a:pos x="connsiteX58493" y="connsiteY58493"/>
              </a:cxn>
              <a:cxn ang="0">
                <a:pos x="connsiteX58494" y="connsiteY58494"/>
              </a:cxn>
              <a:cxn ang="0">
                <a:pos x="connsiteX58495" y="connsiteY58495"/>
              </a:cxn>
              <a:cxn ang="0">
                <a:pos x="connsiteX58496" y="connsiteY58496"/>
              </a:cxn>
              <a:cxn ang="0">
                <a:pos x="connsiteX58497" y="connsiteY58497"/>
              </a:cxn>
              <a:cxn ang="0">
                <a:pos x="connsiteX58498" y="connsiteY58498"/>
              </a:cxn>
              <a:cxn ang="0">
                <a:pos x="connsiteX58499" y="connsiteY58499"/>
              </a:cxn>
              <a:cxn ang="0">
                <a:pos x="connsiteX58500" y="connsiteY58500"/>
              </a:cxn>
              <a:cxn ang="0">
                <a:pos x="connsiteX58501" y="connsiteY58501"/>
              </a:cxn>
              <a:cxn ang="0">
                <a:pos x="connsiteX58502" y="connsiteY58502"/>
              </a:cxn>
              <a:cxn ang="0">
                <a:pos x="connsiteX58503" y="connsiteY58503"/>
              </a:cxn>
              <a:cxn ang="0">
                <a:pos x="connsiteX58504" y="connsiteY58504"/>
              </a:cxn>
              <a:cxn ang="0">
                <a:pos x="connsiteX58505" y="connsiteY58505"/>
              </a:cxn>
              <a:cxn ang="0">
                <a:pos x="connsiteX58506" y="connsiteY58506"/>
              </a:cxn>
              <a:cxn ang="0">
                <a:pos x="connsiteX58507" y="connsiteY58507"/>
              </a:cxn>
              <a:cxn ang="0">
                <a:pos x="connsiteX58508" y="connsiteY58508"/>
              </a:cxn>
              <a:cxn ang="0">
                <a:pos x="connsiteX58509" y="connsiteY58509"/>
              </a:cxn>
              <a:cxn ang="0">
                <a:pos x="connsiteX58510" y="connsiteY58510"/>
              </a:cxn>
              <a:cxn ang="0">
                <a:pos x="connsiteX58511" y="connsiteY58511"/>
              </a:cxn>
              <a:cxn ang="0">
                <a:pos x="connsiteX58512" y="connsiteY58512"/>
              </a:cxn>
              <a:cxn ang="0">
                <a:pos x="connsiteX58513" y="connsiteY58513"/>
              </a:cxn>
              <a:cxn ang="0">
                <a:pos x="connsiteX58514" y="connsiteY58514"/>
              </a:cxn>
              <a:cxn ang="0">
                <a:pos x="connsiteX58515" y="connsiteY58515"/>
              </a:cxn>
              <a:cxn ang="0">
                <a:pos x="connsiteX58516" y="connsiteY58516"/>
              </a:cxn>
              <a:cxn ang="0">
                <a:pos x="connsiteX58517" y="connsiteY58517"/>
              </a:cxn>
              <a:cxn ang="0">
                <a:pos x="connsiteX58518" y="connsiteY58518"/>
              </a:cxn>
              <a:cxn ang="0">
                <a:pos x="connsiteX58519" y="connsiteY58519"/>
              </a:cxn>
              <a:cxn ang="0">
                <a:pos x="connsiteX58520" y="connsiteY58520"/>
              </a:cxn>
              <a:cxn ang="0">
                <a:pos x="connsiteX58521" y="connsiteY58521"/>
              </a:cxn>
              <a:cxn ang="0">
                <a:pos x="connsiteX58522" y="connsiteY58522"/>
              </a:cxn>
              <a:cxn ang="0">
                <a:pos x="connsiteX58523" y="connsiteY58523"/>
              </a:cxn>
              <a:cxn ang="0">
                <a:pos x="connsiteX58524" y="connsiteY58524"/>
              </a:cxn>
              <a:cxn ang="0">
                <a:pos x="connsiteX58525" y="connsiteY58525"/>
              </a:cxn>
              <a:cxn ang="0">
                <a:pos x="connsiteX58526" y="connsiteY58526"/>
              </a:cxn>
              <a:cxn ang="0">
                <a:pos x="connsiteX58527" y="connsiteY58527"/>
              </a:cxn>
              <a:cxn ang="0">
                <a:pos x="connsiteX58528" y="connsiteY58528"/>
              </a:cxn>
              <a:cxn ang="0">
                <a:pos x="connsiteX58529" y="connsiteY58529"/>
              </a:cxn>
              <a:cxn ang="0">
                <a:pos x="connsiteX58530" y="connsiteY58530"/>
              </a:cxn>
              <a:cxn ang="0">
                <a:pos x="connsiteX58531" y="connsiteY58531"/>
              </a:cxn>
              <a:cxn ang="0">
                <a:pos x="connsiteX58532" y="connsiteY58532"/>
              </a:cxn>
              <a:cxn ang="0">
                <a:pos x="connsiteX58533" y="connsiteY58533"/>
              </a:cxn>
              <a:cxn ang="0">
                <a:pos x="connsiteX58534" y="connsiteY58534"/>
              </a:cxn>
              <a:cxn ang="0">
                <a:pos x="connsiteX58535" y="connsiteY58535"/>
              </a:cxn>
              <a:cxn ang="0">
                <a:pos x="connsiteX58536" y="connsiteY58536"/>
              </a:cxn>
              <a:cxn ang="0">
                <a:pos x="connsiteX58537" y="connsiteY58537"/>
              </a:cxn>
              <a:cxn ang="0">
                <a:pos x="connsiteX58538" y="connsiteY58538"/>
              </a:cxn>
              <a:cxn ang="0">
                <a:pos x="connsiteX58539" y="connsiteY58539"/>
              </a:cxn>
              <a:cxn ang="0">
                <a:pos x="connsiteX58540" y="connsiteY58540"/>
              </a:cxn>
              <a:cxn ang="0">
                <a:pos x="connsiteX58541" y="connsiteY58541"/>
              </a:cxn>
              <a:cxn ang="0">
                <a:pos x="connsiteX58542" y="connsiteY58542"/>
              </a:cxn>
              <a:cxn ang="0">
                <a:pos x="connsiteX58543" y="connsiteY58543"/>
              </a:cxn>
              <a:cxn ang="0">
                <a:pos x="connsiteX58544" y="connsiteY58544"/>
              </a:cxn>
              <a:cxn ang="0">
                <a:pos x="connsiteX58545" y="connsiteY58545"/>
              </a:cxn>
              <a:cxn ang="0">
                <a:pos x="connsiteX58546" y="connsiteY58546"/>
              </a:cxn>
              <a:cxn ang="0">
                <a:pos x="connsiteX58547" y="connsiteY58547"/>
              </a:cxn>
              <a:cxn ang="0">
                <a:pos x="connsiteX58548" y="connsiteY58548"/>
              </a:cxn>
              <a:cxn ang="0">
                <a:pos x="connsiteX58549" y="connsiteY58549"/>
              </a:cxn>
              <a:cxn ang="0">
                <a:pos x="connsiteX58550" y="connsiteY58550"/>
              </a:cxn>
              <a:cxn ang="0">
                <a:pos x="connsiteX58551" y="connsiteY58551"/>
              </a:cxn>
              <a:cxn ang="0">
                <a:pos x="connsiteX58552" y="connsiteY58552"/>
              </a:cxn>
              <a:cxn ang="0">
                <a:pos x="connsiteX58553" y="connsiteY58553"/>
              </a:cxn>
              <a:cxn ang="0">
                <a:pos x="connsiteX58554" y="connsiteY58554"/>
              </a:cxn>
              <a:cxn ang="0">
                <a:pos x="connsiteX58555" y="connsiteY58555"/>
              </a:cxn>
              <a:cxn ang="0">
                <a:pos x="connsiteX58556" y="connsiteY58556"/>
              </a:cxn>
              <a:cxn ang="0">
                <a:pos x="connsiteX58557" y="connsiteY58557"/>
              </a:cxn>
              <a:cxn ang="0">
                <a:pos x="connsiteX58558" y="connsiteY58558"/>
              </a:cxn>
              <a:cxn ang="0">
                <a:pos x="connsiteX58559" y="connsiteY58559"/>
              </a:cxn>
              <a:cxn ang="0">
                <a:pos x="connsiteX58560" y="connsiteY58560"/>
              </a:cxn>
              <a:cxn ang="0">
                <a:pos x="connsiteX58561" y="connsiteY58561"/>
              </a:cxn>
              <a:cxn ang="0">
                <a:pos x="connsiteX58562" y="connsiteY58562"/>
              </a:cxn>
              <a:cxn ang="0">
                <a:pos x="connsiteX58563" y="connsiteY58563"/>
              </a:cxn>
              <a:cxn ang="0">
                <a:pos x="connsiteX58564" y="connsiteY58564"/>
              </a:cxn>
              <a:cxn ang="0">
                <a:pos x="connsiteX58565" y="connsiteY58565"/>
              </a:cxn>
              <a:cxn ang="0">
                <a:pos x="connsiteX58566" y="connsiteY58566"/>
              </a:cxn>
              <a:cxn ang="0">
                <a:pos x="connsiteX58567" y="connsiteY58567"/>
              </a:cxn>
              <a:cxn ang="0">
                <a:pos x="connsiteX58568" y="connsiteY58568"/>
              </a:cxn>
              <a:cxn ang="0">
                <a:pos x="connsiteX58569" y="connsiteY58569"/>
              </a:cxn>
              <a:cxn ang="0">
                <a:pos x="connsiteX58570" y="connsiteY58570"/>
              </a:cxn>
              <a:cxn ang="0">
                <a:pos x="connsiteX58571" y="connsiteY58571"/>
              </a:cxn>
              <a:cxn ang="0">
                <a:pos x="connsiteX58572" y="connsiteY58572"/>
              </a:cxn>
              <a:cxn ang="0">
                <a:pos x="connsiteX58573" y="connsiteY58573"/>
              </a:cxn>
              <a:cxn ang="0">
                <a:pos x="connsiteX58574" y="connsiteY58574"/>
              </a:cxn>
              <a:cxn ang="0">
                <a:pos x="connsiteX58575" y="connsiteY58575"/>
              </a:cxn>
              <a:cxn ang="0">
                <a:pos x="connsiteX58576" y="connsiteY58576"/>
              </a:cxn>
              <a:cxn ang="0">
                <a:pos x="connsiteX58577" y="connsiteY58577"/>
              </a:cxn>
              <a:cxn ang="0">
                <a:pos x="connsiteX58578" y="connsiteY58578"/>
              </a:cxn>
              <a:cxn ang="0">
                <a:pos x="connsiteX58579" y="connsiteY58579"/>
              </a:cxn>
              <a:cxn ang="0">
                <a:pos x="connsiteX58580" y="connsiteY58580"/>
              </a:cxn>
              <a:cxn ang="0">
                <a:pos x="connsiteX58581" y="connsiteY58581"/>
              </a:cxn>
              <a:cxn ang="0">
                <a:pos x="connsiteX58582" y="connsiteY58582"/>
              </a:cxn>
              <a:cxn ang="0">
                <a:pos x="connsiteX58583" y="connsiteY58583"/>
              </a:cxn>
              <a:cxn ang="0">
                <a:pos x="connsiteX58584" y="connsiteY58584"/>
              </a:cxn>
              <a:cxn ang="0">
                <a:pos x="connsiteX58585" y="connsiteY58585"/>
              </a:cxn>
              <a:cxn ang="0">
                <a:pos x="connsiteX58586" y="connsiteY58586"/>
              </a:cxn>
              <a:cxn ang="0">
                <a:pos x="connsiteX58587" y="connsiteY58587"/>
              </a:cxn>
              <a:cxn ang="0">
                <a:pos x="connsiteX58588" y="connsiteY58588"/>
              </a:cxn>
              <a:cxn ang="0">
                <a:pos x="connsiteX58589" y="connsiteY58589"/>
              </a:cxn>
              <a:cxn ang="0">
                <a:pos x="connsiteX58590" y="connsiteY58590"/>
              </a:cxn>
              <a:cxn ang="0">
                <a:pos x="connsiteX58591" y="connsiteY58591"/>
              </a:cxn>
              <a:cxn ang="0">
                <a:pos x="connsiteX58592" y="connsiteY58592"/>
              </a:cxn>
              <a:cxn ang="0">
                <a:pos x="connsiteX58593" y="connsiteY58593"/>
              </a:cxn>
              <a:cxn ang="0">
                <a:pos x="connsiteX58594" y="connsiteY58594"/>
              </a:cxn>
              <a:cxn ang="0">
                <a:pos x="connsiteX58595" y="connsiteY58595"/>
              </a:cxn>
              <a:cxn ang="0">
                <a:pos x="connsiteX58596" y="connsiteY58596"/>
              </a:cxn>
              <a:cxn ang="0">
                <a:pos x="connsiteX58597" y="connsiteY58597"/>
              </a:cxn>
              <a:cxn ang="0">
                <a:pos x="connsiteX58598" y="connsiteY58598"/>
              </a:cxn>
              <a:cxn ang="0">
                <a:pos x="connsiteX58599" y="connsiteY58599"/>
              </a:cxn>
              <a:cxn ang="0">
                <a:pos x="connsiteX58600" y="connsiteY58600"/>
              </a:cxn>
              <a:cxn ang="0">
                <a:pos x="connsiteX58601" y="connsiteY58601"/>
              </a:cxn>
              <a:cxn ang="0">
                <a:pos x="connsiteX58602" y="connsiteY58602"/>
              </a:cxn>
              <a:cxn ang="0">
                <a:pos x="connsiteX58603" y="connsiteY58603"/>
              </a:cxn>
              <a:cxn ang="0">
                <a:pos x="connsiteX58604" y="connsiteY58604"/>
              </a:cxn>
              <a:cxn ang="0">
                <a:pos x="connsiteX58605" y="connsiteY58605"/>
              </a:cxn>
              <a:cxn ang="0">
                <a:pos x="connsiteX58606" y="connsiteY58606"/>
              </a:cxn>
              <a:cxn ang="0">
                <a:pos x="connsiteX58607" y="connsiteY58607"/>
              </a:cxn>
              <a:cxn ang="0">
                <a:pos x="connsiteX58608" y="connsiteY58608"/>
              </a:cxn>
              <a:cxn ang="0">
                <a:pos x="connsiteX58609" y="connsiteY58609"/>
              </a:cxn>
              <a:cxn ang="0">
                <a:pos x="connsiteX58610" y="connsiteY58610"/>
              </a:cxn>
              <a:cxn ang="0">
                <a:pos x="connsiteX58611" y="connsiteY58611"/>
              </a:cxn>
              <a:cxn ang="0">
                <a:pos x="connsiteX58612" y="connsiteY58612"/>
              </a:cxn>
              <a:cxn ang="0">
                <a:pos x="connsiteX58613" y="connsiteY58613"/>
              </a:cxn>
              <a:cxn ang="0">
                <a:pos x="connsiteX58614" y="connsiteY58614"/>
              </a:cxn>
              <a:cxn ang="0">
                <a:pos x="connsiteX58615" y="connsiteY58615"/>
              </a:cxn>
              <a:cxn ang="0">
                <a:pos x="connsiteX58616" y="connsiteY58616"/>
              </a:cxn>
              <a:cxn ang="0">
                <a:pos x="connsiteX58617" y="connsiteY58617"/>
              </a:cxn>
              <a:cxn ang="0">
                <a:pos x="connsiteX58618" y="connsiteY58618"/>
              </a:cxn>
              <a:cxn ang="0">
                <a:pos x="connsiteX58619" y="connsiteY58619"/>
              </a:cxn>
              <a:cxn ang="0">
                <a:pos x="connsiteX58620" y="connsiteY58620"/>
              </a:cxn>
              <a:cxn ang="0">
                <a:pos x="connsiteX58621" y="connsiteY58621"/>
              </a:cxn>
              <a:cxn ang="0">
                <a:pos x="connsiteX58622" y="connsiteY58622"/>
              </a:cxn>
              <a:cxn ang="0">
                <a:pos x="connsiteX58623" y="connsiteY58623"/>
              </a:cxn>
              <a:cxn ang="0">
                <a:pos x="connsiteX58624" y="connsiteY58624"/>
              </a:cxn>
              <a:cxn ang="0">
                <a:pos x="connsiteX58625" y="connsiteY58625"/>
              </a:cxn>
              <a:cxn ang="0">
                <a:pos x="connsiteX58626" y="connsiteY58626"/>
              </a:cxn>
              <a:cxn ang="0">
                <a:pos x="connsiteX58627" y="connsiteY58627"/>
              </a:cxn>
              <a:cxn ang="0">
                <a:pos x="connsiteX58628" y="connsiteY58628"/>
              </a:cxn>
              <a:cxn ang="0">
                <a:pos x="connsiteX58629" y="connsiteY58629"/>
              </a:cxn>
              <a:cxn ang="0">
                <a:pos x="connsiteX58630" y="connsiteY58630"/>
              </a:cxn>
              <a:cxn ang="0">
                <a:pos x="connsiteX58631" y="connsiteY58631"/>
              </a:cxn>
              <a:cxn ang="0">
                <a:pos x="connsiteX58632" y="connsiteY58632"/>
              </a:cxn>
              <a:cxn ang="0">
                <a:pos x="connsiteX58633" y="connsiteY58633"/>
              </a:cxn>
              <a:cxn ang="0">
                <a:pos x="connsiteX58634" y="connsiteY58634"/>
              </a:cxn>
              <a:cxn ang="0">
                <a:pos x="connsiteX58635" y="connsiteY58635"/>
              </a:cxn>
              <a:cxn ang="0">
                <a:pos x="connsiteX58636" y="connsiteY58636"/>
              </a:cxn>
              <a:cxn ang="0">
                <a:pos x="connsiteX58637" y="connsiteY58637"/>
              </a:cxn>
              <a:cxn ang="0">
                <a:pos x="connsiteX58638" y="connsiteY58638"/>
              </a:cxn>
              <a:cxn ang="0">
                <a:pos x="connsiteX58639" y="connsiteY58639"/>
              </a:cxn>
              <a:cxn ang="0">
                <a:pos x="connsiteX58640" y="connsiteY58640"/>
              </a:cxn>
              <a:cxn ang="0">
                <a:pos x="connsiteX58641" y="connsiteY58641"/>
              </a:cxn>
              <a:cxn ang="0">
                <a:pos x="connsiteX58642" y="connsiteY58642"/>
              </a:cxn>
              <a:cxn ang="0">
                <a:pos x="connsiteX58643" y="connsiteY58643"/>
              </a:cxn>
              <a:cxn ang="0">
                <a:pos x="connsiteX58644" y="connsiteY58644"/>
              </a:cxn>
              <a:cxn ang="0">
                <a:pos x="connsiteX58645" y="connsiteY58645"/>
              </a:cxn>
              <a:cxn ang="0">
                <a:pos x="connsiteX58646" y="connsiteY58646"/>
              </a:cxn>
              <a:cxn ang="0">
                <a:pos x="connsiteX58647" y="connsiteY58647"/>
              </a:cxn>
              <a:cxn ang="0">
                <a:pos x="connsiteX58648" y="connsiteY58648"/>
              </a:cxn>
              <a:cxn ang="0">
                <a:pos x="connsiteX58649" y="connsiteY58649"/>
              </a:cxn>
              <a:cxn ang="0">
                <a:pos x="connsiteX58650" y="connsiteY58650"/>
              </a:cxn>
              <a:cxn ang="0">
                <a:pos x="connsiteX58651" y="connsiteY58651"/>
              </a:cxn>
              <a:cxn ang="0">
                <a:pos x="connsiteX58652" y="connsiteY58652"/>
              </a:cxn>
              <a:cxn ang="0">
                <a:pos x="connsiteX58653" y="connsiteY58653"/>
              </a:cxn>
              <a:cxn ang="0">
                <a:pos x="connsiteX58654" y="connsiteY58654"/>
              </a:cxn>
              <a:cxn ang="0">
                <a:pos x="connsiteX58655" y="connsiteY58655"/>
              </a:cxn>
              <a:cxn ang="0">
                <a:pos x="connsiteX58656" y="connsiteY58656"/>
              </a:cxn>
              <a:cxn ang="0">
                <a:pos x="connsiteX58657" y="connsiteY58657"/>
              </a:cxn>
              <a:cxn ang="0">
                <a:pos x="connsiteX58658" y="connsiteY58658"/>
              </a:cxn>
              <a:cxn ang="0">
                <a:pos x="connsiteX58659" y="connsiteY58659"/>
              </a:cxn>
              <a:cxn ang="0">
                <a:pos x="connsiteX58660" y="connsiteY58660"/>
              </a:cxn>
              <a:cxn ang="0">
                <a:pos x="connsiteX58661" y="connsiteY58661"/>
              </a:cxn>
              <a:cxn ang="0">
                <a:pos x="connsiteX58662" y="connsiteY58662"/>
              </a:cxn>
              <a:cxn ang="0">
                <a:pos x="connsiteX58663" y="connsiteY58663"/>
              </a:cxn>
              <a:cxn ang="0">
                <a:pos x="connsiteX58664" y="connsiteY58664"/>
              </a:cxn>
              <a:cxn ang="0">
                <a:pos x="connsiteX58665" y="connsiteY58665"/>
              </a:cxn>
              <a:cxn ang="0">
                <a:pos x="connsiteX58666" y="connsiteY58666"/>
              </a:cxn>
              <a:cxn ang="0">
                <a:pos x="connsiteX58667" y="connsiteY58667"/>
              </a:cxn>
              <a:cxn ang="0">
                <a:pos x="connsiteX58668" y="connsiteY58668"/>
              </a:cxn>
              <a:cxn ang="0">
                <a:pos x="connsiteX58669" y="connsiteY58669"/>
              </a:cxn>
              <a:cxn ang="0">
                <a:pos x="connsiteX58670" y="connsiteY58670"/>
              </a:cxn>
              <a:cxn ang="0">
                <a:pos x="connsiteX58671" y="connsiteY58671"/>
              </a:cxn>
              <a:cxn ang="0">
                <a:pos x="connsiteX58672" y="connsiteY58672"/>
              </a:cxn>
              <a:cxn ang="0">
                <a:pos x="connsiteX58673" y="connsiteY58673"/>
              </a:cxn>
              <a:cxn ang="0">
                <a:pos x="connsiteX58674" y="connsiteY58674"/>
              </a:cxn>
              <a:cxn ang="0">
                <a:pos x="connsiteX58675" y="connsiteY58675"/>
              </a:cxn>
              <a:cxn ang="0">
                <a:pos x="connsiteX58676" y="connsiteY58676"/>
              </a:cxn>
              <a:cxn ang="0">
                <a:pos x="connsiteX58677" y="connsiteY58677"/>
              </a:cxn>
              <a:cxn ang="0">
                <a:pos x="connsiteX58678" y="connsiteY58678"/>
              </a:cxn>
              <a:cxn ang="0">
                <a:pos x="connsiteX58679" y="connsiteY58679"/>
              </a:cxn>
              <a:cxn ang="0">
                <a:pos x="connsiteX58680" y="connsiteY58680"/>
              </a:cxn>
              <a:cxn ang="0">
                <a:pos x="connsiteX58681" y="connsiteY58681"/>
              </a:cxn>
              <a:cxn ang="0">
                <a:pos x="connsiteX58682" y="connsiteY58682"/>
              </a:cxn>
              <a:cxn ang="0">
                <a:pos x="connsiteX58683" y="connsiteY58683"/>
              </a:cxn>
              <a:cxn ang="0">
                <a:pos x="connsiteX58684" y="connsiteY58684"/>
              </a:cxn>
              <a:cxn ang="0">
                <a:pos x="connsiteX58685" y="connsiteY58685"/>
              </a:cxn>
              <a:cxn ang="0">
                <a:pos x="connsiteX58686" y="connsiteY58686"/>
              </a:cxn>
              <a:cxn ang="0">
                <a:pos x="connsiteX58687" y="connsiteY58687"/>
              </a:cxn>
              <a:cxn ang="0">
                <a:pos x="connsiteX58688" y="connsiteY58688"/>
              </a:cxn>
              <a:cxn ang="0">
                <a:pos x="connsiteX58689" y="connsiteY58689"/>
              </a:cxn>
              <a:cxn ang="0">
                <a:pos x="connsiteX58690" y="connsiteY58690"/>
              </a:cxn>
              <a:cxn ang="0">
                <a:pos x="connsiteX58691" y="connsiteY58691"/>
              </a:cxn>
              <a:cxn ang="0">
                <a:pos x="connsiteX58692" y="connsiteY58692"/>
              </a:cxn>
              <a:cxn ang="0">
                <a:pos x="connsiteX58693" y="connsiteY58693"/>
              </a:cxn>
              <a:cxn ang="0">
                <a:pos x="connsiteX58694" y="connsiteY58694"/>
              </a:cxn>
              <a:cxn ang="0">
                <a:pos x="connsiteX58695" y="connsiteY58695"/>
              </a:cxn>
              <a:cxn ang="0">
                <a:pos x="connsiteX58696" y="connsiteY58696"/>
              </a:cxn>
              <a:cxn ang="0">
                <a:pos x="connsiteX58697" y="connsiteY58697"/>
              </a:cxn>
              <a:cxn ang="0">
                <a:pos x="connsiteX58698" y="connsiteY58698"/>
              </a:cxn>
              <a:cxn ang="0">
                <a:pos x="connsiteX58699" y="connsiteY58699"/>
              </a:cxn>
              <a:cxn ang="0">
                <a:pos x="connsiteX58700" y="connsiteY58700"/>
              </a:cxn>
              <a:cxn ang="0">
                <a:pos x="connsiteX58701" y="connsiteY58701"/>
              </a:cxn>
              <a:cxn ang="0">
                <a:pos x="connsiteX58702" y="connsiteY58702"/>
              </a:cxn>
              <a:cxn ang="0">
                <a:pos x="connsiteX58703" y="connsiteY58703"/>
              </a:cxn>
              <a:cxn ang="0">
                <a:pos x="connsiteX58704" y="connsiteY58704"/>
              </a:cxn>
              <a:cxn ang="0">
                <a:pos x="connsiteX58705" y="connsiteY58705"/>
              </a:cxn>
              <a:cxn ang="0">
                <a:pos x="connsiteX58706" y="connsiteY58706"/>
              </a:cxn>
              <a:cxn ang="0">
                <a:pos x="connsiteX58707" y="connsiteY58707"/>
              </a:cxn>
              <a:cxn ang="0">
                <a:pos x="connsiteX58708" y="connsiteY58708"/>
              </a:cxn>
              <a:cxn ang="0">
                <a:pos x="connsiteX58709" y="connsiteY58709"/>
              </a:cxn>
              <a:cxn ang="0">
                <a:pos x="connsiteX58710" y="connsiteY58710"/>
              </a:cxn>
              <a:cxn ang="0">
                <a:pos x="connsiteX58711" y="connsiteY58711"/>
              </a:cxn>
              <a:cxn ang="0">
                <a:pos x="connsiteX58712" y="connsiteY58712"/>
              </a:cxn>
              <a:cxn ang="0">
                <a:pos x="connsiteX58713" y="connsiteY58713"/>
              </a:cxn>
              <a:cxn ang="0">
                <a:pos x="connsiteX58714" y="connsiteY58714"/>
              </a:cxn>
              <a:cxn ang="0">
                <a:pos x="connsiteX58715" y="connsiteY58715"/>
              </a:cxn>
              <a:cxn ang="0">
                <a:pos x="connsiteX58716" y="connsiteY58716"/>
              </a:cxn>
              <a:cxn ang="0">
                <a:pos x="connsiteX58717" y="connsiteY58717"/>
              </a:cxn>
              <a:cxn ang="0">
                <a:pos x="connsiteX58718" y="connsiteY58718"/>
              </a:cxn>
              <a:cxn ang="0">
                <a:pos x="connsiteX58719" y="connsiteY58719"/>
              </a:cxn>
              <a:cxn ang="0">
                <a:pos x="connsiteX58720" y="connsiteY58720"/>
              </a:cxn>
              <a:cxn ang="0">
                <a:pos x="connsiteX58721" y="connsiteY58721"/>
              </a:cxn>
              <a:cxn ang="0">
                <a:pos x="connsiteX58722" y="connsiteY58722"/>
              </a:cxn>
              <a:cxn ang="0">
                <a:pos x="connsiteX58723" y="connsiteY58723"/>
              </a:cxn>
              <a:cxn ang="0">
                <a:pos x="connsiteX58724" y="connsiteY58724"/>
              </a:cxn>
              <a:cxn ang="0">
                <a:pos x="connsiteX58725" y="connsiteY58725"/>
              </a:cxn>
              <a:cxn ang="0">
                <a:pos x="connsiteX58726" y="connsiteY58726"/>
              </a:cxn>
              <a:cxn ang="0">
                <a:pos x="connsiteX58727" y="connsiteY58727"/>
              </a:cxn>
              <a:cxn ang="0">
                <a:pos x="connsiteX58728" y="connsiteY58728"/>
              </a:cxn>
              <a:cxn ang="0">
                <a:pos x="connsiteX58729" y="connsiteY58729"/>
              </a:cxn>
              <a:cxn ang="0">
                <a:pos x="connsiteX58730" y="connsiteY58730"/>
              </a:cxn>
              <a:cxn ang="0">
                <a:pos x="connsiteX58731" y="connsiteY58731"/>
              </a:cxn>
              <a:cxn ang="0">
                <a:pos x="connsiteX58732" y="connsiteY58732"/>
              </a:cxn>
              <a:cxn ang="0">
                <a:pos x="connsiteX58733" y="connsiteY58733"/>
              </a:cxn>
              <a:cxn ang="0">
                <a:pos x="connsiteX58734" y="connsiteY58734"/>
              </a:cxn>
              <a:cxn ang="0">
                <a:pos x="connsiteX58735" y="connsiteY58735"/>
              </a:cxn>
              <a:cxn ang="0">
                <a:pos x="connsiteX58736" y="connsiteY58736"/>
              </a:cxn>
              <a:cxn ang="0">
                <a:pos x="connsiteX58737" y="connsiteY58737"/>
              </a:cxn>
              <a:cxn ang="0">
                <a:pos x="connsiteX58738" y="connsiteY58738"/>
              </a:cxn>
              <a:cxn ang="0">
                <a:pos x="connsiteX58739" y="connsiteY58739"/>
              </a:cxn>
              <a:cxn ang="0">
                <a:pos x="connsiteX58740" y="connsiteY58740"/>
              </a:cxn>
              <a:cxn ang="0">
                <a:pos x="connsiteX58741" y="connsiteY58741"/>
              </a:cxn>
              <a:cxn ang="0">
                <a:pos x="connsiteX58742" y="connsiteY58742"/>
              </a:cxn>
              <a:cxn ang="0">
                <a:pos x="connsiteX58743" y="connsiteY58743"/>
              </a:cxn>
              <a:cxn ang="0">
                <a:pos x="connsiteX58744" y="connsiteY58744"/>
              </a:cxn>
              <a:cxn ang="0">
                <a:pos x="connsiteX58745" y="connsiteY58745"/>
              </a:cxn>
              <a:cxn ang="0">
                <a:pos x="connsiteX58746" y="connsiteY58746"/>
              </a:cxn>
              <a:cxn ang="0">
                <a:pos x="connsiteX58747" y="connsiteY58747"/>
              </a:cxn>
              <a:cxn ang="0">
                <a:pos x="connsiteX58748" y="connsiteY58748"/>
              </a:cxn>
              <a:cxn ang="0">
                <a:pos x="connsiteX58749" y="connsiteY58749"/>
              </a:cxn>
              <a:cxn ang="0">
                <a:pos x="connsiteX58750" y="connsiteY58750"/>
              </a:cxn>
              <a:cxn ang="0">
                <a:pos x="connsiteX58751" y="connsiteY58751"/>
              </a:cxn>
              <a:cxn ang="0">
                <a:pos x="connsiteX58752" y="connsiteY58752"/>
              </a:cxn>
              <a:cxn ang="0">
                <a:pos x="connsiteX58753" y="connsiteY58753"/>
              </a:cxn>
              <a:cxn ang="0">
                <a:pos x="connsiteX58754" y="connsiteY58754"/>
              </a:cxn>
              <a:cxn ang="0">
                <a:pos x="connsiteX58755" y="connsiteY58755"/>
              </a:cxn>
              <a:cxn ang="0">
                <a:pos x="connsiteX58756" y="connsiteY58756"/>
              </a:cxn>
              <a:cxn ang="0">
                <a:pos x="connsiteX58757" y="connsiteY58757"/>
              </a:cxn>
              <a:cxn ang="0">
                <a:pos x="connsiteX58758" y="connsiteY58758"/>
              </a:cxn>
              <a:cxn ang="0">
                <a:pos x="connsiteX58759" y="connsiteY58759"/>
              </a:cxn>
              <a:cxn ang="0">
                <a:pos x="connsiteX58760" y="connsiteY58760"/>
              </a:cxn>
              <a:cxn ang="0">
                <a:pos x="connsiteX58761" y="connsiteY58761"/>
              </a:cxn>
              <a:cxn ang="0">
                <a:pos x="connsiteX58762" y="connsiteY58762"/>
              </a:cxn>
              <a:cxn ang="0">
                <a:pos x="connsiteX58763" y="connsiteY58763"/>
              </a:cxn>
              <a:cxn ang="0">
                <a:pos x="connsiteX58764" y="connsiteY58764"/>
              </a:cxn>
              <a:cxn ang="0">
                <a:pos x="connsiteX58765" y="connsiteY58765"/>
              </a:cxn>
              <a:cxn ang="0">
                <a:pos x="connsiteX58766" y="connsiteY58766"/>
              </a:cxn>
              <a:cxn ang="0">
                <a:pos x="connsiteX58767" y="connsiteY58767"/>
              </a:cxn>
              <a:cxn ang="0">
                <a:pos x="connsiteX58768" y="connsiteY58768"/>
              </a:cxn>
              <a:cxn ang="0">
                <a:pos x="connsiteX58769" y="connsiteY58769"/>
              </a:cxn>
              <a:cxn ang="0">
                <a:pos x="connsiteX58770" y="connsiteY58770"/>
              </a:cxn>
              <a:cxn ang="0">
                <a:pos x="connsiteX58771" y="connsiteY58771"/>
              </a:cxn>
              <a:cxn ang="0">
                <a:pos x="connsiteX58772" y="connsiteY58772"/>
              </a:cxn>
              <a:cxn ang="0">
                <a:pos x="connsiteX58773" y="connsiteY58773"/>
              </a:cxn>
              <a:cxn ang="0">
                <a:pos x="connsiteX58774" y="connsiteY58774"/>
              </a:cxn>
              <a:cxn ang="0">
                <a:pos x="connsiteX58775" y="connsiteY58775"/>
              </a:cxn>
              <a:cxn ang="0">
                <a:pos x="connsiteX58776" y="connsiteY58776"/>
              </a:cxn>
              <a:cxn ang="0">
                <a:pos x="connsiteX58777" y="connsiteY58777"/>
              </a:cxn>
              <a:cxn ang="0">
                <a:pos x="connsiteX58778" y="connsiteY58778"/>
              </a:cxn>
              <a:cxn ang="0">
                <a:pos x="connsiteX58779" y="connsiteY58779"/>
              </a:cxn>
              <a:cxn ang="0">
                <a:pos x="connsiteX58780" y="connsiteY58780"/>
              </a:cxn>
              <a:cxn ang="0">
                <a:pos x="connsiteX58781" y="connsiteY58781"/>
              </a:cxn>
              <a:cxn ang="0">
                <a:pos x="connsiteX58782" y="connsiteY58782"/>
              </a:cxn>
              <a:cxn ang="0">
                <a:pos x="connsiteX58783" y="connsiteY58783"/>
              </a:cxn>
              <a:cxn ang="0">
                <a:pos x="connsiteX58784" y="connsiteY58784"/>
              </a:cxn>
              <a:cxn ang="0">
                <a:pos x="connsiteX58785" y="connsiteY58785"/>
              </a:cxn>
              <a:cxn ang="0">
                <a:pos x="connsiteX58786" y="connsiteY58786"/>
              </a:cxn>
              <a:cxn ang="0">
                <a:pos x="connsiteX58787" y="connsiteY58787"/>
              </a:cxn>
              <a:cxn ang="0">
                <a:pos x="connsiteX58788" y="connsiteY58788"/>
              </a:cxn>
              <a:cxn ang="0">
                <a:pos x="connsiteX58789" y="connsiteY58789"/>
              </a:cxn>
              <a:cxn ang="0">
                <a:pos x="connsiteX58790" y="connsiteY58790"/>
              </a:cxn>
              <a:cxn ang="0">
                <a:pos x="connsiteX58791" y="connsiteY58791"/>
              </a:cxn>
              <a:cxn ang="0">
                <a:pos x="connsiteX58792" y="connsiteY58792"/>
              </a:cxn>
              <a:cxn ang="0">
                <a:pos x="connsiteX58793" y="connsiteY58793"/>
              </a:cxn>
              <a:cxn ang="0">
                <a:pos x="connsiteX58794" y="connsiteY58794"/>
              </a:cxn>
              <a:cxn ang="0">
                <a:pos x="connsiteX58795" y="connsiteY58795"/>
              </a:cxn>
              <a:cxn ang="0">
                <a:pos x="connsiteX58796" y="connsiteY58796"/>
              </a:cxn>
              <a:cxn ang="0">
                <a:pos x="connsiteX58797" y="connsiteY58797"/>
              </a:cxn>
              <a:cxn ang="0">
                <a:pos x="connsiteX58798" y="connsiteY58798"/>
              </a:cxn>
              <a:cxn ang="0">
                <a:pos x="connsiteX58799" y="connsiteY58799"/>
              </a:cxn>
              <a:cxn ang="0">
                <a:pos x="connsiteX58800" y="connsiteY58800"/>
              </a:cxn>
              <a:cxn ang="0">
                <a:pos x="connsiteX58801" y="connsiteY58801"/>
              </a:cxn>
              <a:cxn ang="0">
                <a:pos x="connsiteX58802" y="connsiteY58802"/>
              </a:cxn>
              <a:cxn ang="0">
                <a:pos x="connsiteX58803" y="connsiteY58803"/>
              </a:cxn>
              <a:cxn ang="0">
                <a:pos x="connsiteX58804" y="connsiteY58804"/>
              </a:cxn>
              <a:cxn ang="0">
                <a:pos x="connsiteX58805" y="connsiteY58805"/>
              </a:cxn>
              <a:cxn ang="0">
                <a:pos x="connsiteX58806" y="connsiteY58806"/>
              </a:cxn>
              <a:cxn ang="0">
                <a:pos x="connsiteX58807" y="connsiteY58807"/>
              </a:cxn>
              <a:cxn ang="0">
                <a:pos x="connsiteX58808" y="connsiteY58808"/>
              </a:cxn>
              <a:cxn ang="0">
                <a:pos x="connsiteX58809" y="connsiteY58809"/>
              </a:cxn>
              <a:cxn ang="0">
                <a:pos x="connsiteX58810" y="connsiteY58810"/>
              </a:cxn>
              <a:cxn ang="0">
                <a:pos x="connsiteX58811" y="connsiteY58811"/>
              </a:cxn>
              <a:cxn ang="0">
                <a:pos x="connsiteX58812" y="connsiteY58812"/>
              </a:cxn>
              <a:cxn ang="0">
                <a:pos x="connsiteX58813" y="connsiteY58813"/>
              </a:cxn>
              <a:cxn ang="0">
                <a:pos x="connsiteX58814" y="connsiteY58814"/>
              </a:cxn>
              <a:cxn ang="0">
                <a:pos x="connsiteX58815" y="connsiteY58815"/>
              </a:cxn>
              <a:cxn ang="0">
                <a:pos x="connsiteX58816" y="connsiteY58816"/>
              </a:cxn>
              <a:cxn ang="0">
                <a:pos x="connsiteX58817" y="connsiteY58817"/>
              </a:cxn>
              <a:cxn ang="0">
                <a:pos x="connsiteX58818" y="connsiteY58818"/>
              </a:cxn>
              <a:cxn ang="0">
                <a:pos x="connsiteX58819" y="connsiteY58819"/>
              </a:cxn>
              <a:cxn ang="0">
                <a:pos x="connsiteX58820" y="connsiteY58820"/>
              </a:cxn>
              <a:cxn ang="0">
                <a:pos x="connsiteX58821" y="connsiteY58821"/>
              </a:cxn>
              <a:cxn ang="0">
                <a:pos x="connsiteX58822" y="connsiteY58822"/>
              </a:cxn>
              <a:cxn ang="0">
                <a:pos x="connsiteX58823" y="connsiteY58823"/>
              </a:cxn>
              <a:cxn ang="0">
                <a:pos x="connsiteX58824" y="connsiteY58824"/>
              </a:cxn>
              <a:cxn ang="0">
                <a:pos x="connsiteX58825" y="connsiteY58825"/>
              </a:cxn>
              <a:cxn ang="0">
                <a:pos x="connsiteX58826" y="connsiteY58826"/>
              </a:cxn>
              <a:cxn ang="0">
                <a:pos x="connsiteX58827" y="connsiteY58827"/>
              </a:cxn>
              <a:cxn ang="0">
                <a:pos x="connsiteX58828" y="connsiteY58828"/>
              </a:cxn>
              <a:cxn ang="0">
                <a:pos x="connsiteX58829" y="connsiteY58829"/>
              </a:cxn>
              <a:cxn ang="0">
                <a:pos x="connsiteX58830" y="connsiteY58830"/>
              </a:cxn>
              <a:cxn ang="0">
                <a:pos x="connsiteX58831" y="connsiteY58831"/>
              </a:cxn>
              <a:cxn ang="0">
                <a:pos x="connsiteX58832" y="connsiteY58832"/>
              </a:cxn>
              <a:cxn ang="0">
                <a:pos x="connsiteX58833" y="connsiteY58833"/>
              </a:cxn>
              <a:cxn ang="0">
                <a:pos x="connsiteX58834" y="connsiteY58834"/>
              </a:cxn>
              <a:cxn ang="0">
                <a:pos x="connsiteX58835" y="connsiteY58835"/>
              </a:cxn>
              <a:cxn ang="0">
                <a:pos x="connsiteX58836" y="connsiteY58836"/>
              </a:cxn>
              <a:cxn ang="0">
                <a:pos x="connsiteX58837" y="connsiteY58837"/>
              </a:cxn>
              <a:cxn ang="0">
                <a:pos x="connsiteX58838" y="connsiteY58838"/>
              </a:cxn>
              <a:cxn ang="0">
                <a:pos x="connsiteX58839" y="connsiteY58839"/>
              </a:cxn>
              <a:cxn ang="0">
                <a:pos x="connsiteX58840" y="connsiteY58840"/>
              </a:cxn>
              <a:cxn ang="0">
                <a:pos x="connsiteX58841" y="connsiteY58841"/>
              </a:cxn>
              <a:cxn ang="0">
                <a:pos x="connsiteX58842" y="connsiteY58842"/>
              </a:cxn>
              <a:cxn ang="0">
                <a:pos x="connsiteX58843" y="connsiteY58843"/>
              </a:cxn>
              <a:cxn ang="0">
                <a:pos x="connsiteX58844" y="connsiteY58844"/>
              </a:cxn>
              <a:cxn ang="0">
                <a:pos x="connsiteX58845" y="connsiteY58845"/>
              </a:cxn>
              <a:cxn ang="0">
                <a:pos x="connsiteX58846" y="connsiteY58846"/>
              </a:cxn>
              <a:cxn ang="0">
                <a:pos x="connsiteX58847" y="connsiteY58847"/>
              </a:cxn>
              <a:cxn ang="0">
                <a:pos x="connsiteX58848" y="connsiteY58848"/>
              </a:cxn>
              <a:cxn ang="0">
                <a:pos x="connsiteX58849" y="connsiteY58849"/>
              </a:cxn>
              <a:cxn ang="0">
                <a:pos x="connsiteX58850" y="connsiteY58850"/>
              </a:cxn>
              <a:cxn ang="0">
                <a:pos x="connsiteX58851" y="connsiteY58851"/>
              </a:cxn>
              <a:cxn ang="0">
                <a:pos x="connsiteX58852" y="connsiteY58852"/>
              </a:cxn>
              <a:cxn ang="0">
                <a:pos x="connsiteX58853" y="connsiteY58853"/>
              </a:cxn>
              <a:cxn ang="0">
                <a:pos x="connsiteX58854" y="connsiteY58854"/>
              </a:cxn>
              <a:cxn ang="0">
                <a:pos x="connsiteX58855" y="connsiteY58855"/>
              </a:cxn>
              <a:cxn ang="0">
                <a:pos x="connsiteX58856" y="connsiteY58856"/>
              </a:cxn>
              <a:cxn ang="0">
                <a:pos x="connsiteX58857" y="connsiteY58857"/>
              </a:cxn>
              <a:cxn ang="0">
                <a:pos x="connsiteX58858" y="connsiteY58858"/>
              </a:cxn>
              <a:cxn ang="0">
                <a:pos x="connsiteX58859" y="connsiteY58859"/>
              </a:cxn>
              <a:cxn ang="0">
                <a:pos x="connsiteX58860" y="connsiteY58860"/>
              </a:cxn>
              <a:cxn ang="0">
                <a:pos x="connsiteX58861" y="connsiteY58861"/>
              </a:cxn>
              <a:cxn ang="0">
                <a:pos x="connsiteX58862" y="connsiteY58862"/>
              </a:cxn>
              <a:cxn ang="0">
                <a:pos x="connsiteX58863" y="connsiteY58863"/>
              </a:cxn>
              <a:cxn ang="0">
                <a:pos x="connsiteX58864" y="connsiteY58864"/>
              </a:cxn>
              <a:cxn ang="0">
                <a:pos x="connsiteX58865" y="connsiteY58865"/>
              </a:cxn>
              <a:cxn ang="0">
                <a:pos x="connsiteX58866" y="connsiteY58866"/>
              </a:cxn>
              <a:cxn ang="0">
                <a:pos x="connsiteX58867" y="connsiteY58867"/>
              </a:cxn>
              <a:cxn ang="0">
                <a:pos x="connsiteX58868" y="connsiteY58868"/>
              </a:cxn>
              <a:cxn ang="0">
                <a:pos x="connsiteX58869" y="connsiteY58869"/>
              </a:cxn>
              <a:cxn ang="0">
                <a:pos x="connsiteX58870" y="connsiteY58870"/>
              </a:cxn>
              <a:cxn ang="0">
                <a:pos x="connsiteX58871" y="connsiteY58871"/>
              </a:cxn>
              <a:cxn ang="0">
                <a:pos x="connsiteX58872" y="connsiteY58872"/>
              </a:cxn>
              <a:cxn ang="0">
                <a:pos x="connsiteX58873" y="connsiteY58873"/>
              </a:cxn>
              <a:cxn ang="0">
                <a:pos x="connsiteX58874" y="connsiteY58874"/>
              </a:cxn>
              <a:cxn ang="0">
                <a:pos x="connsiteX58875" y="connsiteY58875"/>
              </a:cxn>
              <a:cxn ang="0">
                <a:pos x="connsiteX58876" y="connsiteY58876"/>
              </a:cxn>
              <a:cxn ang="0">
                <a:pos x="connsiteX58877" y="connsiteY58877"/>
              </a:cxn>
              <a:cxn ang="0">
                <a:pos x="connsiteX58878" y="connsiteY58878"/>
              </a:cxn>
              <a:cxn ang="0">
                <a:pos x="connsiteX58879" y="connsiteY58879"/>
              </a:cxn>
              <a:cxn ang="0">
                <a:pos x="connsiteX58880" y="connsiteY58880"/>
              </a:cxn>
              <a:cxn ang="0">
                <a:pos x="connsiteX58881" y="connsiteY58881"/>
              </a:cxn>
              <a:cxn ang="0">
                <a:pos x="connsiteX58882" y="connsiteY58882"/>
              </a:cxn>
              <a:cxn ang="0">
                <a:pos x="connsiteX58883" y="connsiteY58883"/>
              </a:cxn>
              <a:cxn ang="0">
                <a:pos x="connsiteX58884" y="connsiteY58884"/>
              </a:cxn>
              <a:cxn ang="0">
                <a:pos x="connsiteX58885" y="connsiteY58885"/>
              </a:cxn>
              <a:cxn ang="0">
                <a:pos x="connsiteX58886" y="connsiteY58886"/>
              </a:cxn>
              <a:cxn ang="0">
                <a:pos x="connsiteX58887" y="connsiteY58887"/>
              </a:cxn>
              <a:cxn ang="0">
                <a:pos x="connsiteX58888" y="connsiteY58888"/>
              </a:cxn>
              <a:cxn ang="0">
                <a:pos x="connsiteX58889" y="connsiteY58889"/>
              </a:cxn>
              <a:cxn ang="0">
                <a:pos x="connsiteX58890" y="connsiteY58890"/>
              </a:cxn>
              <a:cxn ang="0">
                <a:pos x="connsiteX58891" y="connsiteY58891"/>
              </a:cxn>
              <a:cxn ang="0">
                <a:pos x="connsiteX58892" y="connsiteY58892"/>
              </a:cxn>
              <a:cxn ang="0">
                <a:pos x="connsiteX58893" y="connsiteY58893"/>
              </a:cxn>
              <a:cxn ang="0">
                <a:pos x="connsiteX58894" y="connsiteY58894"/>
              </a:cxn>
              <a:cxn ang="0">
                <a:pos x="connsiteX58895" y="connsiteY58895"/>
              </a:cxn>
              <a:cxn ang="0">
                <a:pos x="connsiteX58896" y="connsiteY58896"/>
              </a:cxn>
              <a:cxn ang="0">
                <a:pos x="connsiteX58897" y="connsiteY58897"/>
              </a:cxn>
              <a:cxn ang="0">
                <a:pos x="connsiteX58898" y="connsiteY58898"/>
              </a:cxn>
              <a:cxn ang="0">
                <a:pos x="connsiteX58899" y="connsiteY58899"/>
              </a:cxn>
              <a:cxn ang="0">
                <a:pos x="connsiteX58900" y="connsiteY58900"/>
              </a:cxn>
              <a:cxn ang="0">
                <a:pos x="connsiteX58901" y="connsiteY58901"/>
              </a:cxn>
              <a:cxn ang="0">
                <a:pos x="connsiteX58902" y="connsiteY58902"/>
              </a:cxn>
              <a:cxn ang="0">
                <a:pos x="connsiteX58903" y="connsiteY58903"/>
              </a:cxn>
              <a:cxn ang="0">
                <a:pos x="connsiteX58904" y="connsiteY58904"/>
              </a:cxn>
              <a:cxn ang="0">
                <a:pos x="connsiteX58905" y="connsiteY58905"/>
              </a:cxn>
              <a:cxn ang="0">
                <a:pos x="connsiteX58906" y="connsiteY58906"/>
              </a:cxn>
              <a:cxn ang="0">
                <a:pos x="connsiteX58907" y="connsiteY58907"/>
              </a:cxn>
              <a:cxn ang="0">
                <a:pos x="connsiteX58908" y="connsiteY58908"/>
              </a:cxn>
              <a:cxn ang="0">
                <a:pos x="connsiteX58909" y="connsiteY58909"/>
              </a:cxn>
              <a:cxn ang="0">
                <a:pos x="connsiteX58910" y="connsiteY58910"/>
              </a:cxn>
              <a:cxn ang="0">
                <a:pos x="connsiteX58911" y="connsiteY58911"/>
              </a:cxn>
              <a:cxn ang="0">
                <a:pos x="connsiteX58912" y="connsiteY58912"/>
              </a:cxn>
              <a:cxn ang="0">
                <a:pos x="connsiteX58913" y="connsiteY58913"/>
              </a:cxn>
              <a:cxn ang="0">
                <a:pos x="connsiteX58914" y="connsiteY58914"/>
              </a:cxn>
              <a:cxn ang="0">
                <a:pos x="connsiteX58915" y="connsiteY58915"/>
              </a:cxn>
              <a:cxn ang="0">
                <a:pos x="connsiteX58916" y="connsiteY58916"/>
              </a:cxn>
              <a:cxn ang="0">
                <a:pos x="connsiteX58917" y="connsiteY58917"/>
              </a:cxn>
              <a:cxn ang="0">
                <a:pos x="connsiteX58918" y="connsiteY58918"/>
              </a:cxn>
              <a:cxn ang="0">
                <a:pos x="connsiteX58919" y="connsiteY58919"/>
              </a:cxn>
              <a:cxn ang="0">
                <a:pos x="connsiteX58920" y="connsiteY58920"/>
              </a:cxn>
              <a:cxn ang="0">
                <a:pos x="connsiteX58921" y="connsiteY58921"/>
              </a:cxn>
              <a:cxn ang="0">
                <a:pos x="connsiteX58922" y="connsiteY58922"/>
              </a:cxn>
              <a:cxn ang="0">
                <a:pos x="connsiteX58923" y="connsiteY58923"/>
              </a:cxn>
              <a:cxn ang="0">
                <a:pos x="connsiteX58924" y="connsiteY58924"/>
              </a:cxn>
              <a:cxn ang="0">
                <a:pos x="connsiteX58925" y="connsiteY58925"/>
              </a:cxn>
              <a:cxn ang="0">
                <a:pos x="connsiteX58926" y="connsiteY58926"/>
              </a:cxn>
              <a:cxn ang="0">
                <a:pos x="connsiteX58927" y="connsiteY58927"/>
              </a:cxn>
              <a:cxn ang="0">
                <a:pos x="connsiteX58928" y="connsiteY58928"/>
              </a:cxn>
              <a:cxn ang="0">
                <a:pos x="connsiteX58929" y="connsiteY58929"/>
              </a:cxn>
              <a:cxn ang="0">
                <a:pos x="connsiteX58930" y="connsiteY58930"/>
              </a:cxn>
              <a:cxn ang="0">
                <a:pos x="connsiteX58931" y="connsiteY58931"/>
              </a:cxn>
              <a:cxn ang="0">
                <a:pos x="connsiteX58932" y="connsiteY58932"/>
              </a:cxn>
              <a:cxn ang="0">
                <a:pos x="connsiteX58933" y="connsiteY58933"/>
              </a:cxn>
              <a:cxn ang="0">
                <a:pos x="connsiteX58934" y="connsiteY58934"/>
              </a:cxn>
              <a:cxn ang="0">
                <a:pos x="connsiteX58935" y="connsiteY58935"/>
              </a:cxn>
              <a:cxn ang="0">
                <a:pos x="connsiteX58936" y="connsiteY58936"/>
              </a:cxn>
              <a:cxn ang="0">
                <a:pos x="connsiteX58937" y="connsiteY58937"/>
              </a:cxn>
              <a:cxn ang="0">
                <a:pos x="connsiteX58938" y="connsiteY58938"/>
              </a:cxn>
              <a:cxn ang="0">
                <a:pos x="connsiteX58939" y="connsiteY58939"/>
              </a:cxn>
              <a:cxn ang="0">
                <a:pos x="connsiteX58940" y="connsiteY58940"/>
              </a:cxn>
              <a:cxn ang="0">
                <a:pos x="connsiteX58941" y="connsiteY58941"/>
              </a:cxn>
              <a:cxn ang="0">
                <a:pos x="connsiteX58942" y="connsiteY58942"/>
              </a:cxn>
              <a:cxn ang="0">
                <a:pos x="connsiteX58943" y="connsiteY58943"/>
              </a:cxn>
              <a:cxn ang="0">
                <a:pos x="connsiteX58944" y="connsiteY58944"/>
              </a:cxn>
              <a:cxn ang="0">
                <a:pos x="connsiteX58945" y="connsiteY58945"/>
              </a:cxn>
              <a:cxn ang="0">
                <a:pos x="connsiteX58946" y="connsiteY58946"/>
              </a:cxn>
              <a:cxn ang="0">
                <a:pos x="connsiteX58947" y="connsiteY58947"/>
              </a:cxn>
              <a:cxn ang="0">
                <a:pos x="connsiteX58948" y="connsiteY58948"/>
              </a:cxn>
              <a:cxn ang="0">
                <a:pos x="connsiteX58949" y="connsiteY58949"/>
              </a:cxn>
              <a:cxn ang="0">
                <a:pos x="connsiteX58950" y="connsiteY58950"/>
              </a:cxn>
              <a:cxn ang="0">
                <a:pos x="connsiteX58951" y="connsiteY58951"/>
              </a:cxn>
              <a:cxn ang="0">
                <a:pos x="connsiteX58952" y="connsiteY58952"/>
              </a:cxn>
              <a:cxn ang="0">
                <a:pos x="connsiteX58953" y="connsiteY58953"/>
              </a:cxn>
              <a:cxn ang="0">
                <a:pos x="connsiteX58954" y="connsiteY58954"/>
              </a:cxn>
              <a:cxn ang="0">
                <a:pos x="connsiteX58955" y="connsiteY58955"/>
              </a:cxn>
              <a:cxn ang="0">
                <a:pos x="connsiteX58956" y="connsiteY58956"/>
              </a:cxn>
              <a:cxn ang="0">
                <a:pos x="connsiteX58957" y="connsiteY58957"/>
              </a:cxn>
              <a:cxn ang="0">
                <a:pos x="connsiteX58958" y="connsiteY58958"/>
              </a:cxn>
              <a:cxn ang="0">
                <a:pos x="connsiteX58959" y="connsiteY58959"/>
              </a:cxn>
              <a:cxn ang="0">
                <a:pos x="connsiteX58960" y="connsiteY58960"/>
              </a:cxn>
              <a:cxn ang="0">
                <a:pos x="connsiteX58961" y="connsiteY58961"/>
              </a:cxn>
              <a:cxn ang="0">
                <a:pos x="connsiteX58962" y="connsiteY58962"/>
              </a:cxn>
              <a:cxn ang="0">
                <a:pos x="connsiteX58963" y="connsiteY58963"/>
              </a:cxn>
              <a:cxn ang="0">
                <a:pos x="connsiteX58964" y="connsiteY58964"/>
              </a:cxn>
              <a:cxn ang="0">
                <a:pos x="connsiteX58965" y="connsiteY58965"/>
              </a:cxn>
              <a:cxn ang="0">
                <a:pos x="connsiteX58966" y="connsiteY58966"/>
              </a:cxn>
              <a:cxn ang="0">
                <a:pos x="connsiteX58967" y="connsiteY58967"/>
              </a:cxn>
              <a:cxn ang="0">
                <a:pos x="connsiteX58968" y="connsiteY58968"/>
              </a:cxn>
              <a:cxn ang="0">
                <a:pos x="connsiteX58969" y="connsiteY58969"/>
              </a:cxn>
              <a:cxn ang="0">
                <a:pos x="connsiteX58970" y="connsiteY58970"/>
              </a:cxn>
              <a:cxn ang="0">
                <a:pos x="connsiteX58971" y="connsiteY58971"/>
              </a:cxn>
              <a:cxn ang="0">
                <a:pos x="connsiteX58972" y="connsiteY58972"/>
              </a:cxn>
              <a:cxn ang="0">
                <a:pos x="connsiteX58973" y="connsiteY58973"/>
              </a:cxn>
              <a:cxn ang="0">
                <a:pos x="connsiteX58974" y="connsiteY58974"/>
              </a:cxn>
              <a:cxn ang="0">
                <a:pos x="connsiteX58975" y="connsiteY58975"/>
              </a:cxn>
              <a:cxn ang="0">
                <a:pos x="connsiteX58976" y="connsiteY58976"/>
              </a:cxn>
              <a:cxn ang="0">
                <a:pos x="connsiteX58977" y="connsiteY58977"/>
              </a:cxn>
              <a:cxn ang="0">
                <a:pos x="connsiteX58978" y="connsiteY58978"/>
              </a:cxn>
              <a:cxn ang="0">
                <a:pos x="connsiteX58979" y="connsiteY58979"/>
              </a:cxn>
              <a:cxn ang="0">
                <a:pos x="connsiteX58980" y="connsiteY58980"/>
              </a:cxn>
              <a:cxn ang="0">
                <a:pos x="connsiteX58981" y="connsiteY58981"/>
              </a:cxn>
              <a:cxn ang="0">
                <a:pos x="connsiteX58982" y="connsiteY58982"/>
              </a:cxn>
              <a:cxn ang="0">
                <a:pos x="connsiteX58983" y="connsiteY58983"/>
              </a:cxn>
              <a:cxn ang="0">
                <a:pos x="connsiteX58984" y="connsiteY58984"/>
              </a:cxn>
              <a:cxn ang="0">
                <a:pos x="connsiteX58985" y="connsiteY58985"/>
              </a:cxn>
              <a:cxn ang="0">
                <a:pos x="connsiteX58986" y="connsiteY58986"/>
              </a:cxn>
              <a:cxn ang="0">
                <a:pos x="connsiteX58987" y="connsiteY58987"/>
              </a:cxn>
              <a:cxn ang="0">
                <a:pos x="connsiteX58988" y="connsiteY58988"/>
              </a:cxn>
              <a:cxn ang="0">
                <a:pos x="connsiteX58989" y="connsiteY58989"/>
              </a:cxn>
              <a:cxn ang="0">
                <a:pos x="connsiteX58990" y="connsiteY58990"/>
              </a:cxn>
              <a:cxn ang="0">
                <a:pos x="connsiteX58991" y="connsiteY58991"/>
              </a:cxn>
              <a:cxn ang="0">
                <a:pos x="connsiteX58992" y="connsiteY58992"/>
              </a:cxn>
              <a:cxn ang="0">
                <a:pos x="connsiteX58993" y="connsiteY58993"/>
              </a:cxn>
              <a:cxn ang="0">
                <a:pos x="connsiteX58994" y="connsiteY58994"/>
              </a:cxn>
              <a:cxn ang="0">
                <a:pos x="connsiteX58995" y="connsiteY58995"/>
              </a:cxn>
              <a:cxn ang="0">
                <a:pos x="connsiteX58996" y="connsiteY58996"/>
              </a:cxn>
              <a:cxn ang="0">
                <a:pos x="connsiteX58997" y="connsiteY58997"/>
              </a:cxn>
              <a:cxn ang="0">
                <a:pos x="connsiteX58998" y="connsiteY58998"/>
              </a:cxn>
              <a:cxn ang="0">
                <a:pos x="connsiteX58999" y="connsiteY58999"/>
              </a:cxn>
              <a:cxn ang="0">
                <a:pos x="connsiteX59000" y="connsiteY59000"/>
              </a:cxn>
              <a:cxn ang="0">
                <a:pos x="connsiteX59001" y="connsiteY59001"/>
              </a:cxn>
              <a:cxn ang="0">
                <a:pos x="connsiteX59002" y="connsiteY59002"/>
              </a:cxn>
              <a:cxn ang="0">
                <a:pos x="connsiteX59003" y="connsiteY59003"/>
              </a:cxn>
              <a:cxn ang="0">
                <a:pos x="connsiteX59004" y="connsiteY59004"/>
              </a:cxn>
              <a:cxn ang="0">
                <a:pos x="connsiteX59005" y="connsiteY59005"/>
              </a:cxn>
              <a:cxn ang="0">
                <a:pos x="connsiteX59006" y="connsiteY59006"/>
              </a:cxn>
              <a:cxn ang="0">
                <a:pos x="connsiteX59007" y="connsiteY59007"/>
              </a:cxn>
              <a:cxn ang="0">
                <a:pos x="connsiteX59008" y="connsiteY59008"/>
              </a:cxn>
              <a:cxn ang="0">
                <a:pos x="connsiteX59009" y="connsiteY59009"/>
              </a:cxn>
              <a:cxn ang="0">
                <a:pos x="connsiteX59010" y="connsiteY59010"/>
              </a:cxn>
              <a:cxn ang="0">
                <a:pos x="connsiteX59011" y="connsiteY59011"/>
              </a:cxn>
              <a:cxn ang="0">
                <a:pos x="connsiteX59012" y="connsiteY59012"/>
              </a:cxn>
              <a:cxn ang="0">
                <a:pos x="connsiteX59013" y="connsiteY59013"/>
              </a:cxn>
              <a:cxn ang="0">
                <a:pos x="connsiteX59014" y="connsiteY59014"/>
              </a:cxn>
              <a:cxn ang="0">
                <a:pos x="connsiteX59015" y="connsiteY59015"/>
              </a:cxn>
              <a:cxn ang="0">
                <a:pos x="connsiteX59016" y="connsiteY59016"/>
              </a:cxn>
              <a:cxn ang="0">
                <a:pos x="connsiteX59017" y="connsiteY59017"/>
              </a:cxn>
              <a:cxn ang="0">
                <a:pos x="connsiteX59018" y="connsiteY59018"/>
              </a:cxn>
              <a:cxn ang="0">
                <a:pos x="connsiteX59019" y="connsiteY59019"/>
              </a:cxn>
              <a:cxn ang="0">
                <a:pos x="connsiteX59020" y="connsiteY59020"/>
              </a:cxn>
              <a:cxn ang="0">
                <a:pos x="connsiteX59021" y="connsiteY59021"/>
              </a:cxn>
              <a:cxn ang="0">
                <a:pos x="connsiteX59022" y="connsiteY59022"/>
              </a:cxn>
              <a:cxn ang="0">
                <a:pos x="connsiteX59023" y="connsiteY59023"/>
              </a:cxn>
              <a:cxn ang="0">
                <a:pos x="connsiteX59024" y="connsiteY59024"/>
              </a:cxn>
              <a:cxn ang="0">
                <a:pos x="connsiteX59025" y="connsiteY59025"/>
              </a:cxn>
              <a:cxn ang="0">
                <a:pos x="connsiteX59026" y="connsiteY59026"/>
              </a:cxn>
              <a:cxn ang="0">
                <a:pos x="connsiteX59027" y="connsiteY59027"/>
              </a:cxn>
              <a:cxn ang="0">
                <a:pos x="connsiteX59028" y="connsiteY59028"/>
              </a:cxn>
              <a:cxn ang="0">
                <a:pos x="connsiteX59029" y="connsiteY59029"/>
              </a:cxn>
              <a:cxn ang="0">
                <a:pos x="connsiteX59030" y="connsiteY59030"/>
              </a:cxn>
              <a:cxn ang="0">
                <a:pos x="connsiteX59031" y="connsiteY59031"/>
              </a:cxn>
              <a:cxn ang="0">
                <a:pos x="connsiteX59032" y="connsiteY59032"/>
              </a:cxn>
              <a:cxn ang="0">
                <a:pos x="connsiteX59033" y="connsiteY59033"/>
              </a:cxn>
              <a:cxn ang="0">
                <a:pos x="connsiteX59034" y="connsiteY59034"/>
              </a:cxn>
              <a:cxn ang="0">
                <a:pos x="connsiteX59035" y="connsiteY59035"/>
              </a:cxn>
              <a:cxn ang="0">
                <a:pos x="connsiteX59036" y="connsiteY59036"/>
              </a:cxn>
              <a:cxn ang="0">
                <a:pos x="connsiteX59037" y="connsiteY59037"/>
              </a:cxn>
              <a:cxn ang="0">
                <a:pos x="connsiteX59038" y="connsiteY59038"/>
              </a:cxn>
              <a:cxn ang="0">
                <a:pos x="connsiteX59039" y="connsiteY59039"/>
              </a:cxn>
              <a:cxn ang="0">
                <a:pos x="connsiteX59040" y="connsiteY59040"/>
              </a:cxn>
              <a:cxn ang="0">
                <a:pos x="connsiteX59041" y="connsiteY59041"/>
              </a:cxn>
              <a:cxn ang="0">
                <a:pos x="connsiteX59042" y="connsiteY59042"/>
              </a:cxn>
              <a:cxn ang="0">
                <a:pos x="connsiteX59043" y="connsiteY59043"/>
              </a:cxn>
              <a:cxn ang="0">
                <a:pos x="connsiteX59044" y="connsiteY59044"/>
              </a:cxn>
              <a:cxn ang="0">
                <a:pos x="connsiteX59045" y="connsiteY59045"/>
              </a:cxn>
              <a:cxn ang="0">
                <a:pos x="connsiteX59046" y="connsiteY59046"/>
              </a:cxn>
              <a:cxn ang="0">
                <a:pos x="connsiteX59047" y="connsiteY59047"/>
              </a:cxn>
              <a:cxn ang="0">
                <a:pos x="connsiteX59048" y="connsiteY59048"/>
              </a:cxn>
              <a:cxn ang="0">
                <a:pos x="connsiteX59049" y="connsiteY59049"/>
              </a:cxn>
              <a:cxn ang="0">
                <a:pos x="connsiteX59050" y="connsiteY59050"/>
              </a:cxn>
              <a:cxn ang="0">
                <a:pos x="connsiteX59051" y="connsiteY59051"/>
              </a:cxn>
              <a:cxn ang="0">
                <a:pos x="connsiteX59052" y="connsiteY59052"/>
              </a:cxn>
              <a:cxn ang="0">
                <a:pos x="connsiteX59053" y="connsiteY59053"/>
              </a:cxn>
              <a:cxn ang="0">
                <a:pos x="connsiteX59054" y="connsiteY59054"/>
              </a:cxn>
              <a:cxn ang="0">
                <a:pos x="connsiteX59055" y="connsiteY59055"/>
              </a:cxn>
              <a:cxn ang="0">
                <a:pos x="connsiteX59056" y="connsiteY59056"/>
              </a:cxn>
              <a:cxn ang="0">
                <a:pos x="connsiteX59057" y="connsiteY59057"/>
              </a:cxn>
              <a:cxn ang="0">
                <a:pos x="connsiteX59058" y="connsiteY59058"/>
              </a:cxn>
              <a:cxn ang="0">
                <a:pos x="connsiteX59059" y="connsiteY59059"/>
              </a:cxn>
              <a:cxn ang="0">
                <a:pos x="connsiteX59060" y="connsiteY59060"/>
              </a:cxn>
              <a:cxn ang="0">
                <a:pos x="connsiteX59061" y="connsiteY59061"/>
              </a:cxn>
              <a:cxn ang="0">
                <a:pos x="connsiteX59062" y="connsiteY59062"/>
              </a:cxn>
              <a:cxn ang="0">
                <a:pos x="connsiteX59063" y="connsiteY59063"/>
              </a:cxn>
              <a:cxn ang="0">
                <a:pos x="connsiteX59064" y="connsiteY59064"/>
              </a:cxn>
              <a:cxn ang="0">
                <a:pos x="connsiteX59065" y="connsiteY59065"/>
              </a:cxn>
              <a:cxn ang="0">
                <a:pos x="connsiteX59066" y="connsiteY59066"/>
              </a:cxn>
              <a:cxn ang="0">
                <a:pos x="connsiteX59067" y="connsiteY59067"/>
              </a:cxn>
              <a:cxn ang="0">
                <a:pos x="connsiteX59068" y="connsiteY59068"/>
              </a:cxn>
              <a:cxn ang="0">
                <a:pos x="connsiteX59069" y="connsiteY59069"/>
              </a:cxn>
              <a:cxn ang="0">
                <a:pos x="connsiteX59070" y="connsiteY59070"/>
              </a:cxn>
              <a:cxn ang="0">
                <a:pos x="connsiteX59071" y="connsiteY59071"/>
              </a:cxn>
              <a:cxn ang="0">
                <a:pos x="connsiteX59072" y="connsiteY59072"/>
              </a:cxn>
              <a:cxn ang="0">
                <a:pos x="connsiteX59073" y="connsiteY59073"/>
              </a:cxn>
              <a:cxn ang="0">
                <a:pos x="connsiteX59074" y="connsiteY59074"/>
              </a:cxn>
              <a:cxn ang="0">
                <a:pos x="connsiteX59075" y="connsiteY59075"/>
              </a:cxn>
              <a:cxn ang="0">
                <a:pos x="connsiteX59076" y="connsiteY59076"/>
              </a:cxn>
              <a:cxn ang="0">
                <a:pos x="connsiteX59077" y="connsiteY59077"/>
              </a:cxn>
              <a:cxn ang="0">
                <a:pos x="connsiteX59078" y="connsiteY59078"/>
              </a:cxn>
              <a:cxn ang="0">
                <a:pos x="connsiteX59079" y="connsiteY59079"/>
              </a:cxn>
              <a:cxn ang="0">
                <a:pos x="connsiteX59080" y="connsiteY59080"/>
              </a:cxn>
              <a:cxn ang="0">
                <a:pos x="connsiteX59081" y="connsiteY59081"/>
              </a:cxn>
              <a:cxn ang="0">
                <a:pos x="connsiteX59082" y="connsiteY59082"/>
              </a:cxn>
              <a:cxn ang="0">
                <a:pos x="connsiteX59083" y="connsiteY59083"/>
              </a:cxn>
              <a:cxn ang="0">
                <a:pos x="connsiteX59084" y="connsiteY59084"/>
              </a:cxn>
              <a:cxn ang="0">
                <a:pos x="connsiteX59085" y="connsiteY59085"/>
              </a:cxn>
              <a:cxn ang="0">
                <a:pos x="connsiteX59086" y="connsiteY59086"/>
              </a:cxn>
              <a:cxn ang="0">
                <a:pos x="connsiteX59087" y="connsiteY59087"/>
              </a:cxn>
              <a:cxn ang="0">
                <a:pos x="connsiteX59088" y="connsiteY59088"/>
              </a:cxn>
              <a:cxn ang="0">
                <a:pos x="connsiteX59089" y="connsiteY59089"/>
              </a:cxn>
              <a:cxn ang="0">
                <a:pos x="connsiteX59090" y="connsiteY59090"/>
              </a:cxn>
              <a:cxn ang="0">
                <a:pos x="connsiteX59091" y="connsiteY59091"/>
              </a:cxn>
              <a:cxn ang="0">
                <a:pos x="connsiteX59092" y="connsiteY59092"/>
              </a:cxn>
              <a:cxn ang="0">
                <a:pos x="connsiteX59093" y="connsiteY59093"/>
              </a:cxn>
              <a:cxn ang="0">
                <a:pos x="connsiteX59094" y="connsiteY59094"/>
              </a:cxn>
              <a:cxn ang="0">
                <a:pos x="connsiteX59095" y="connsiteY59095"/>
              </a:cxn>
              <a:cxn ang="0">
                <a:pos x="connsiteX59096" y="connsiteY59096"/>
              </a:cxn>
              <a:cxn ang="0">
                <a:pos x="connsiteX59097" y="connsiteY59097"/>
              </a:cxn>
              <a:cxn ang="0">
                <a:pos x="connsiteX59098" y="connsiteY59098"/>
              </a:cxn>
              <a:cxn ang="0">
                <a:pos x="connsiteX59099" y="connsiteY59099"/>
              </a:cxn>
              <a:cxn ang="0">
                <a:pos x="connsiteX59100" y="connsiteY59100"/>
              </a:cxn>
              <a:cxn ang="0">
                <a:pos x="connsiteX59101" y="connsiteY59101"/>
              </a:cxn>
              <a:cxn ang="0">
                <a:pos x="connsiteX59102" y="connsiteY59102"/>
              </a:cxn>
              <a:cxn ang="0">
                <a:pos x="connsiteX59103" y="connsiteY59103"/>
              </a:cxn>
              <a:cxn ang="0">
                <a:pos x="connsiteX59104" y="connsiteY59104"/>
              </a:cxn>
              <a:cxn ang="0">
                <a:pos x="connsiteX59105" y="connsiteY59105"/>
              </a:cxn>
              <a:cxn ang="0">
                <a:pos x="connsiteX59106" y="connsiteY59106"/>
              </a:cxn>
              <a:cxn ang="0">
                <a:pos x="connsiteX59107" y="connsiteY59107"/>
              </a:cxn>
              <a:cxn ang="0">
                <a:pos x="connsiteX59108" y="connsiteY59108"/>
              </a:cxn>
              <a:cxn ang="0">
                <a:pos x="connsiteX59109" y="connsiteY59109"/>
              </a:cxn>
              <a:cxn ang="0">
                <a:pos x="connsiteX59110" y="connsiteY59110"/>
              </a:cxn>
              <a:cxn ang="0">
                <a:pos x="connsiteX59111" y="connsiteY59111"/>
              </a:cxn>
              <a:cxn ang="0">
                <a:pos x="connsiteX59112" y="connsiteY59112"/>
              </a:cxn>
              <a:cxn ang="0">
                <a:pos x="connsiteX59113" y="connsiteY59113"/>
              </a:cxn>
              <a:cxn ang="0">
                <a:pos x="connsiteX59114" y="connsiteY59114"/>
              </a:cxn>
              <a:cxn ang="0">
                <a:pos x="connsiteX59115" y="connsiteY59115"/>
              </a:cxn>
              <a:cxn ang="0">
                <a:pos x="connsiteX59116" y="connsiteY59116"/>
              </a:cxn>
              <a:cxn ang="0">
                <a:pos x="connsiteX59117" y="connsiteY59117"/>
              </a:cxn>
              <a:cxn ang="0">
                <a:pos x="connsiteX59118" y="connsiteY59118"/>
              </a:cxn>
              <a:cxn ang="0">
                <a:pos x="connsiteX59119" y="connsiteY59119"/>
              </a:cxn>
              <a:cxn ang="0">
                <a:pos x="connsiteX59120" y="connsiteY59120"/>
              </a:cxn>
              <a:cxn ang="0">
                <a:pos x="connsiteX59121" y="connsiteY59121"/>
              </a:cxn>
              <a:cxn ang="0">
                <a:pos x="connsiteX59122" y="connsiteY59122"/>
              </a:cxn>
              <a:cxn ang="0">
                <a:pos x="connsiteX59123" y="connsiteY59123"/>
              </a:cxn>
              <a:cxn ang="0">
                <a:pos x="connsiteX59124" y="connsiteY59124"/>
              </a:cxn>
              <a:cxn ang="0">
                <a:pos x="connsiteX59125" y="connsiteY59125"/>
              </a:cxn>
              <a:cxn ang="0">
                <a:pos x="connsiteX59126" y="connsiteY59126"/>
              </a:cxn>
              <a:cxn ang="0">
                <a:pos x="connsiteX59127" y="connsiteY59127"/>
              </a:cxn>
              <a:cxn ang="0">
                <a:pos x="connsiteX59128" y="connsiteY59128"/>
              </a:cxn>
              <a:cxn ang="0">
                <a:pos x="connsiteX59129" y="connsiteY59129"/>
              </a:cxn>
              <a:cxn ang="0">
                <a:pos x="connsiteX59130" y="connsiteY59130"/>
              </a:cxn>
              <a:cxn ang="0">
                <a:pos x="connsiteX59131" y="connsiteY59131"/>
              </a:cxn>
              <a:cxn ang="0">
                <a:pos x="connsiteX59132" y="connsiteY59132"/>
              </a:cxn>
              <a:cxn ang="0">
                <a:pos x="connsiteX59133" y="connsiteY59133"/>
              </a:cxn>
              <a:cxn ang="0">
                <a:pos x="connsiteX59134" y="connsiteY59134"/>
              </a:cxn>
              <a:cxn ang="0">
                <a:pos x="connsiteX59135" y="connsiteY59135"/>
              </a:cxn>
              <a:cxn ang="0">
                <a:pos x="connsiteX59136" y="connsiteY59136"/>
              </a:cxn>
              <a:cxn ang="0">
                <a:pos x="connsiteX59137" y="connsiteY59137"/>
              </a:cxn>
              <a:cxn ang="0">
                <a:pos x="connsiteX59138" y="connsiteY59138"/>
              </a:cxn>
              <a:cxn ang="0">
                <a:pos x="connsiteX59139" y="connsiteY59139"/>
              </a:cxn>
              <a:cxn ang="0">
                <a:pos x="connsiteX59140" y="connsiteY59140"/>
              </a:cxn>
              <a:cxn ang="0">
                <a:pos x="connsiteX59141" y="connsiteY59141"/>
              </a:cxn>
              <a:cxn ang="0">
                <a:pos x="connsiteX59142" y="connsiteY59142"/>
              </a:cxn>
              <a:cxn ang="0">
                <a:pos x="connsiteX59143" y="connsiteY59143"/>
              </a:cxn>
              <a:cxn ang="0">
                <a:pos x="connsiteX59144" y="connsiteY59144"/>
              </a:cxn>
              <a:cxn ang="0">
                <a:pos x="connsiteX59145" y="connsiteY59145"/>
              </a:cxn>
              <a:cxn ang="0">
                <a:pos x="connsiteX59146" y="connsiteY59146"/>
              </a:cxn>
              <a:cxn ang="0">
                <a:pos x="connsiteX59147" y="connsiteY59147"/>
              </a:cxn>
              <a:cxn ang="0">
                <a:pos x="connsiteX59148" y="connsiteY59148"/>
              </a:cxn>
              <a:cxn ang="0">
                <a:pos x="connsiteX59149" y="connsiteY59149"/>
              </a:cxn>
              <a:cxn ang="0">
                <a:pos x="connsiteX59150" y="connsiteY59150"/>
              </a:cxn>
              <a:cxn ang="0">
                <a:pos x="connsiteX59151" y="connsiteY59151"/>
              </a:cxn>
              <a:cxn ang="0">
                <a:pos x="connsiteX59152" y="connsiteY59152"/>
              </a:cxn>
              <a:cxn ang="0">
                <a:pos x="connsiteX59153" y="connsiteY59153"/>
              </a:cxn>
              <a:cxn ang="0">
                <a:pos x="connsiteX59154" y="connsiteY59154"/>
              </a:cxn>
              <a:cxn ang="0">
                <a:pos x="connsiteX59155" y="connsiteY59155"/>
              </a:cxn>
              <a:cxn ang="0">
                <a:pos x="connsiteX59156" y="connsiteY59156"/>
              </a:cxn>
              <a:cxn ang="0">
                <a:pos x="connsiteX59157" y="connsiteY59157"/>
              </a:cxn>
              <a:cxn ang="0">
                <a:pos x="connsiteX59158" y="connsiteY59158"/>
              </a:cxn>
              <a:cxn ang="0">
                <a:pos x="connsiteX59159" y="connsiteY59159"/>
              </a:cxn>
              <a:cxn ang="0">
                <a:pos x="connsiteX59160" y="connsiteY59160"/>
              </a:cxn>
              <a:cxn ang="0">
                <a:pos x="connsiteX59161" y="connsiteY59161"/>
              </a:cxn>
              <a:cxn ang="0">
                <a:pos x="connsiteX59162" y="connsiteY59162"/>
              </a:cxn>
              <a:cxn ang="0">
                <a:pos x="connsiteX59163" y="connsiteY59163"/>
              </a:cxn>
              <a:cxn ang="0">
                <a:pos x="connsiteX59164" y="connsiteY59164"/>
              </a:cxn>
              <a:cxn ang="0">
                <a:pos x="connsiteX59165" y="connsiteY59165"/>
              </a:cxn>
              <a:cxn ang="0">
                <a:pos x="connsiteX59166" y="connsiteY59166"/>
              </a:cxn>
              <a:cxn ang="0">
                <a:pos x="connsiteX59167" y="connsiteY59167"/>
              </a:cxn>
              <a:cxn ang="0">
                <a:pos x="connsiteX59168" y="connsiteY59168"/>
              </a:cxn>
              <a:cxn ang="0">
                <a:pos x="connsiteX59169" y="connsiteY59169"/>
              </a:cxn>
              <a:cxn ang="0">
                <a:pos x="connsiteX59170" y="connsiteY59170"/>
              </a:cxn>
              <a:cxn ang="0">
                <a:pos x="connsiteX59171" y="connsiteY59171"/>
              </a:cxn>
              <a:cxn ang="0">
                <a:pos x="connsiteX59172" y="connsiteY59172"/>
              </a:cxn>
              <a:cxn ang="0">
                <a:pos x="connsiteX59173" y="connsiteY59173"/>
              </a:cxn>
              <a:cxn ang="0">
                <a:pos x="connsiteX59174" y="connsiteY59174"/>
              </a:cxn>
              <a:cxn ang="0">
                <a:pos x="connsiteX59175" y="connsiteY59175"/>
              </a:cxn>
              <a:cxn ang="0">
                <a:pos x="connsiteX59176" y="connsiteY59176"/>
              </a:cxn>
              <a:cxn ang="0">
                <a:pos x="connsiteX59177" y="connsiteY59177"/>
              </a:cxn>
              <a:cxn ang="0">
                <a:pos x="connsiteX59178" y="connsiteY59178"/>
              </a:cxn>
              <a:cxn ang="0">
                <a:pos x="connsiteX59179" y="connsiteY59179"/>
              </a:cxn>
              <a:cxn ang="0">
                <a:pos x="connsiteX59180" y="connsiteY59180"/>
              </a:cxn>
              <a:cxn ang="0">
                <a:pos x="connsiteX59181" y="connsiteY59181"/>
              </a:cxn>
              <a:cxn ang="0">
                <a:pos x="connsiteX59182" y="connsiteY59182"/>
              </a:cxn>
              <a:cxn ang="0">
                <a:pos x="connsiteX59183" y="connsiteY59183"/>
              </a:cxn>
              <a:cxn ang="0">
                <a:pos x="connsiteX59184" y="connsiteY59184"/>
              </a:cxn>
              <a:cxn ang="0">
                <a:pos x="connsiteX59185" y="connsiteY59185"/>
              </a:cxn>
              <a:cxn ang="0">
                <a:pos x="connsiteX59186" y="connsiteY59186"/>
              </a:cxn>
              <a:cxn ang="0">
                <a:pos x="connsiteX59187" y="connsiteY59187"/>
              </a:cxn>
              <a:cxn ang="0">
                <a:pos x="connsiteX59188" y="connsiteY59188"/>
              </a:cxn>
              <a:cxn ang="0">
                <a:pos x="connsiteX59189" y="connsiteY59189"/>
              </a:cxn>
              <a:cxn ang="0">
                <a:pos x="connsiteX59190" y="connsiteY59190"/>
              </a:cxn>
              <a:cxn ang="0">
                <a:pos x="connsiteX59191" y="connsiteY59191"/>
              </a:cxn>
              <a:cxn ang="0">
                <a:pos x="connsiteX59192" y="connsiteY59192"/>
              </a:cxn>
              <a:cxn ang="0">
                <a:pos x="connsiteX59193" y="connsiteY59193"/>
              </a:cxn>
              <a:cxn ang="0">
                <a:pos x="connsiteX59194" y="connsiteY59194"/>
              </a:cxn>
              <a:cxn ang="0">
                <a:pos x="connsiteX59195" y="connsiteY59195"/>
              </a:cxn>
              <a:cxn ang="0">
                <a:pos x="connsiteX59196" y="connsiteY59196"/>
              </a:cxn>
              <a:cxn ang="0">
                <a:pos x="connsiteX59197" y="connsiteY59197"/>
              </a:cxn>
              <a:cxn ang="0">
                <a:pos x="connsiteX59198" y="connsiteY59198"/>
              </a:cxn>
              <a:cxn ang="0">
                <a:pos x="connsiteX59199" y="connsiteY59199"/>
              </a:cxn>
              <a:cxn ang="0">
                <a:pos x="connsiteX59200" y="connsiteY59200"/>
              </a:cxn>
              <a:cxn ang="0">
                <a:pos x="connsiteX59201" y="connsiteY59201"/>
              </a:cxn>
              <a:cxn ang="0">
                <a:pos x="connsiteX59202" y="connsiteY59202"/>
              </a:cxn>
              <a:cxn ang="0">
                <a:pos x="connsiteX59203" y="connsiteY59203"/>
              </a:cxn>
              <a:cxn ang="0">
                <a:pos x="connsiteX59204" y="connsiteY59204"/>
              </a:cxn>
              <a:cxn ang="0">
                <a:pos x="connsiteX59205" y="connsiteY59205"/>
              </a:cxn>
              <a:cxn ang="0">
                <a:pos x="connsiteX59206" y="connsiteY59206"/>
              </a:cxn>
              <a:cxn ang="0">
                <a:pos x="connsiteX59207" y="connsiteY59207"/>
              </a:cxn>
              <a:cxn ang="0">
                <a:pos x="connsiteX59208" y="connsiteY59208"/>
              </a:cxn>
              <a:cxn ang="0">
                <a:pos x="connsiteX59209" y="connsiteY59209"/>
              </a:cxn>
              <a:cxn ang="0">
                <a:pos x="connsiteX59210" y="connsiteY59210"/>
              </a:cxn>
              <a:cxn ang="0">
                <a:pos x="connsiteX59211" y="connsiteY59211"/>
              </a:cxn>
              <a:cxn ang="0">
                <a:pos x="connsiteX59212" y="connsiteY59212"/>
              </a:cxn>
              <a:cxn ang="0">
                <a:pos x="connsiteX59213" y="connsiteY59213"/>
              </a:cxn>
              <a:cxn ang="0">
                <a:pos x="connsiteX59214" y="connsiteY59214"/>
              </a:cxn>
              <a:cxn ang="0">
                <a:pos x="connsiteX59215" y="connsiteY59215"/>
              </a:cxn>
              <a:cxn ang="0">
                <a:pos x="connsiteX59216" y="connsiteY59216"/>
              </a:cxn>
              <a:cxn ang="0">
                <a:pos x="connsiteX59217" y="connsiteY59217"/>
              </a:cxn>
              <a:cxn ang="0">
                <a:pos x="connsiteX59218" y="connsiteY59218"/>
              </a:cxn>
              <a:cxn ang="0">
                <a:pos x="connsiteX59219" y="connsiteY59219"/>
              </a:cxn>
              <a:cxn ang="0">
                <a:pos x="connsiteX59220" y="connsiteY59220"/>
              </a:cxn>
              <a:cxn ang="0">
                <a:pos x="connsiteX59221" y="connsiteY59221"/>
              </a:cxn>
              <a:cxn ang="0">
                <a:pos x="connsiteX59222" y="connsiteY59222"/>
              </a:cxn>
              <a:cxn ang="0">
                <a:pos x="connsiteX59223" y="connsiteY59223"/>
              </a:cxn>
              <a:cxn ang="0">
                <a:pos x="connsiteX59224" y="connsiteY59224"/>
              </a:cxn>
              <a:cxn ang="0">
                <a:pos x="connsiteX59225" y="connsiteY59225"/>
              </a:cxn>
              <a:cxn ang="0">
                <a:pos x="connsiteX59226" y="connsiteY59226"/>
              </a:cxn>
              <a:cxn ang="0">
                <a:pos x="connsiteX59227" y="connsiteY59227"/>
              </a:cxn>
              <a:cxn ang="0">
                <a:pos x="connsiteX59228" y="connsiteY59228"/>
              </a:cxn>
              <a:cxn ang="0">
                <a:pos x="connsiteX59229" y="connsiteY59229"/>
              </a:cxn>
              <a:cxn ang="0">
                <a:pos x="connsiteX59230" y="connsiteY59230"/>
              </a:cxn>
              <a:cxn ang="0">
                <a:pos x="connsiteX59231" y="connsiteY59231"/>
              </a:cxn>
              <a:cxn ang="0">
                <a:pos x="connsiteX59232" y="connsiteY59232"/>
              </a:cxn>
              <a:cxn ang="0">
                <a:pos x="connsiteX59233" y="connsiteY59233"/>
              </a:cxn>
              <a:cxn ang="0">
                <a:pos x="connsiteX59234" y="connsiteY59234"/>
              </a:cxn>
              <a:cxn ang="0">
                <a:pos x="connsiteX59235" y="connsiteY59235"/>
              </a:cxn>
              <a:cxn ang="0">
                <a:pos x="connsiteX59236" y="connsiteY59236"/>
              </a:cxn>
              <a:cxn ang="0">
                <a:pos x="connsiteX59237" y="connsiteY59237"/>
              </a:cxn>
              <a:cxn ang="0">
                <a:pos x="connsiteX59238" y="connsiteY59238"/>
              </a:cxn>
              <a:cxn ang="0">
                <a:pos x="connsiteX59239" y="connsiteY59239"/>
              </a:cxn>
              <a:cxn ang="0">
                <a:pos x="connsiteX59240" y="connsiteY59240"/>
              </a:cxn>
              <a:cxn ang="0">
                <a:pos x="connsiteX59241" y="connsiteY59241"/>
              </a:cxn>
              <a:cxn ang="0">
                <a:pos x="connsiteX59242" y="connsiteY59242"/>
              </a:cxn>
              <a:cxn ang="0">
                <a:pos x="connsiteX59243" y="connsiteY59243"/>
              </a:cxn>
              <a:cxn ang="0">
                <a:pos x="connsiteX59244" y="connsiteY59244"/>
              </a:cxn>
              <a:cxn ang="0">
                <a:pos x="connsiteX59245" y="connsiteY59245"/>
              </a:cxn>
              <a:cxn ang="0">
                <a:pos x="connsiteX59246" y="connsiteY59246"/>
              </a:cxn>
              <a:cxn ang="0">
                <a:pos x="connsiteX59247" y="connsiteY59247"/>
              </a:cxn>
              <a:cxn ang="0">
                <a:pos x="connsiteX59248" y="connsiteY59248"/>
              </a:cxn>
              <a:cxn ang="0">
                <a:pos x="connsiteX59249" y="connsiteY59249"/>
              </a:cxn>
              <a:cxn ang="0">
                <a:pos x="connsiteX59250" y="connsiteY59250"/>
              </a:cxn>
              <a:cxn ang="0">
                <a:pos x="connsiteX59251" y="connsiteY59251"/>
              </a:cxn>
              <a:cxn ang="0">
                <a:pos x="connsiteX59252" y="connsiteY59252"/>
              </a:cxn>
              <a:cxn ang="0">
                <a:pos x="connsiteX59253" y="connsiteY59253"/>
              </a:cxn>
              <a:cxn ang="0">
                <a:pos x="connsiteX59254" y="connsiteY59254"/>
              </a:cxn>
              <a:cxn ang="0">
                <a:pos x="connsiteX59255" y="connsiteY59255"/>
              </a:cxn>
              <a:cxn ang="0">
                <a:pos x="connsiteX59256" y="connsiteY59256"/>
              </a:cxn>
              <a:cxn ang="0">
                <a:pos x="connsiteX59257" y="connsiteY59257"/>
              </a:cxn>
              <a:cxn ang="0">
                <a:pos x="connsiteX59258" y="connsiteY59258"/>
              </a:cxn>
              <a:cxn ang="0">
                <a:pos x="connsiteX59259" y="connsiteY59259"/>
              </a:cxn>
              <a:cxn ang="0">
                <a:pos x="connsiteX59260" y="connsiteY59260"/>
              </a:cxn>
              <a:cxn ang="0">
                <a:pos x="connsiteX59261" y="connsiteY59261"/>
              </a:cxn>
              <a:cxn ang="0">
                <a:pos x="connsiteX59262" y="connsiteY59262"/>
              </a:cxn>
              <a:cxn ang="0">
                <a:pos x="connsiteX59263" y="connsiteY59263"/>
              </a:cxn>
              <a:cxn ang="0">
                <a:pos x="connsiteX59264" y="connsiteY59264"/>
              </a:cxn>
              <a:cxn ang="0">
                <a:pos x="connsiteX59265" y="connsiteY59265"/>
              </a:cxn>
              <a:cxn ang="0">
                <a:pos x="connsiteX59266" y="connsiteY59266"/>
              </a:cxn>
              <a:cxn ang="0">
                <a:pos x="connsiteX59267" y="connsiteY59267"/>
              </a:cxn>
              <a:cxn ang="0">
                <a:pos x="connsiteX59268" y="connsiteY59268"/>
              </a:cxn>
              <a:cxn ang="0">
                <a:pos x="connsiteX59269" y="connsiteY59269"/>
              </a:cxn>
              <a:cxn ang="0">
                <a:pos x="connsiteX59270" y="connsiteY59270"/>
              </a:cxn>
              <a:cxn ang="0">
                <a:pos x="connsiteX59271" y="connsiteY59271"/>
              </a:cxn>
              <a:cxn ang="0">
                <a:pos x="connsiteX59272" y="connsiteY59272"/>
              </a:cxn>
              <a:cxn ang="0">
                <a:pos x="connsiteX59273" y="connsiteY59273"/>
              </a:cxn>
              <a:cxn ang="0">
                <a:pos x="connsiteX59274" y="connsiteY59274"/>
              </a:cxn>
              <a:cxn ang="0">
                <a:pos x="connsiteX59275" y="connsiteY59275"/>
              </a:cxn>
              <a:cxn ang="0">
                <a:pos x="connsiteX59276" y="connsiteY59276"/>
              </a:cxn>
              <a:cxn ang="0">
                <a:pos x="connsiteX59277" y="connsiteY59277"/>
              </a:cxn>
              <a:cxn ang="0">
                <a:pos x="connsiteX59278" y="connsiteY59278"/>
              </a:cxn>
              <a:cxn ang="0">
                <a:pos x="connsiteX59279" y="connsiteY59279"/>
              </a:cxn>
              <a:cxn ang="0">
                <a:pos x="connsiteX59280" y="connsiteY59280"/>
              </a:cxn>
              <a:cxn ang="0">
                <a:pos x="connsiteX59281" y="connsiteY59281"/>
              </a:cxn>
              <a:cxn ang="0">
                <a:pos x="connsiteX59282" y="connsiteY59282"/>
              </a:cxn>
              <a:cxn ang="0">
                <a:pos x="connsiteX59283" y="connsiteY59283"/>
              </a:cxn>
              <a:cxn ang="0">
                <a:pos x="connsiteX59284" y="connsiteY59284"/>
              </a:cxn>
              <a:cxn ang="0">
                <a:pos x="connsiteX59285" y="connsiteY59285"/>
              </a:cxn>
              <a:cxn ang="0">
                <a:pos x="connsiteX59286" y="connsiteY59286"/>
              </a:cxn>
              <a:cxn ang="0">
                <a:pos x="connsiteX59287" y="connsiteY59287"/>
              </a:cxn>
              <a:cxn ang="0">
                <a:pos x="connsiteX59288" y="connsiteY59288"/>
              </a:cxn>
              <a:cxn ang="0">
                <a:pos x="connsiteX59289" y="connsiteY59289"/>
              </a:cxn>
              <a:cxn ang="0">
                <a:pos x="connsiteX59290" y="connsiteY59290"/>
              </a:cxn>
              <a:cxn ang="0">
                <a:pos x="connsiteX59291" y="connsiteY59291"/>
              </a:cxn>
              <a:cxn ang="0">
                <a:pos x="connsiteX59292" y="connsiteY59292"/>
              </a:cxn>
              <a:cxn ang="0">
                <a:pos x="connsiteX59293" y="connsiteY59293"/>
              </a:cxn>
              <a:cxn ang="0">
                <a:pos x="connsiteX59294" y="connsiteY59294"/>
              </a:cxn>
              <a:cxn ang="0">
                <a:pos x="connsiteX59295" y="connsiteY59295"/>
              </a:cxn>
              <a:cxn ang="0">
                <a:pos x="connsiteX59296" y="connsiteY59296"/>
              </a:cxn>
              <a:cxn ang="0">
                <a:pos x="connsiteX59297" y="connsiteY59297"/>
              </a:cxn>
              <a:cxn ang="0">
                <a:pos x="connsiteX59298" y="connsiteY59298"/>
              </a:cxn>
              <a:cxn ang="0">
                <a:pos x="connsiteX59299" y="connsiteY59299"/>
              </a:cxn>
              <a:cxn ang="0">
                <a:pos x="connsiteX59300" y="connsiteY59300"/>
              </a:cxn>
              <a:cxn ang="0">
                <a:pos x="connsiteX59301" y="connsiteY59301"/>
              </a:cxn>
              <a:cxn ang="0">
                <a:pos x="connsiteX59302" y="connsiteY59302"/>
              </a:cxn>
              <a:cxn ang="0">
                <a:pos x="connsiteX59303" y="connsiteY59303"/>
              </a:cxn>
              <a:cxn ang="0">
                <a:pos x="connsiteX59304" y="connsiteY59304"/>
              </a:cxn>
              <a:cxn ang="0">
                <a:pos x="connsiteX59305" y="connsiteY59305"/>
              </a:cxn>
              <a:cxn ang="0">
                <a:pos x="connsiteX59306" y="connsiteY59306"/>
              </a:cxn>
              <a:cxn ang="0">
                <a:pos x="connsiteX59307" y="connsiteY59307"/>
              </a:cxn>
              <a:cxn ang="0">
                <a:pos x="connsiteX59308" y="connsiteY59308"/>
              </a:cxn>
              <a:cxn ang="0">
                <a:pos x="connsiteX59309" y="connsiteY59309"/>
              </a:cxn>
              <a:cxn ang="0">
                <a:pos x="connsiteX59310" y="connsiteY59310"/>
              </a:cxn>
              <a:cxn ang="0">
                <a:pos x="connsiteX59311" y="connsiteY59311"/>
              </a:cxn>
              <a:cxn ang="0">
                <a:pos x="connsiteX59312" y="connsiteY59312"/>
              </a:cxn>
              <a:cxn ang="0">
                <a:pos x="connsiteX59313" y="connsiteY59313"/>
              </a:cxn>
              <a:cxn ang="0">
                <a:pos x="connsiteX59314" y="connsiteY59314"/>
              </a:cxn>
              <a:cxn ang="0">
                <a:pos x="connsiteX59315" y="connsiteY59315"/>
              </a:cxn>
              <a:cxn ang="0">
                <a:pos x="connsiteX59316" y="connsiteY59316"/>
              </a:cxn>
              <a:cxn ang="0">
                <a:pos x="connsiteX59317" y="connsiteY59317"/>
              </a:cxn>
              <a:cxn ang="0">
                <a:pos x="connsiteX59318" y="connsiteY59318"/>
              </a:cxn>
              <a:cxn ang="0">
                <a:pos x="connsiteX59319" y="connsiteY59319"/>
              </a:cxn>
              <a:cxn ang="0">
                <a:pos x="connsiteX59320" y="connsiteY59320"/>
              </a:cxn>
              <a:cxn ang="0">
                <a:pos x="connsiteX59321" y="connsiteY59321"/>
              </a:cxn>
              <a:cxn ang="0">
                <a:pos x="connsiteX59322" y="connsiteY59322"/>
              </a:cxn>
              <a:cxn ang="0">
                <a:pos x="connsiteX59323" y="connsiteY59323"/>
              </a:cxn>
              <a:cxn ang="0">
                <a:pos x="connsiteX59324" y="connsiteY59324"/>
              </a:cxn>
              <a:cxn ang="0">
                <a:pos x="connsiteX59325" y="connsiteY59325"/>
              </a:cxn>
              <a:cxn ang="0">
                <a:pos x="connsiteX59326" y="connsiteY59326"/>
              </a:cxn>
              <a:cxn ang="0">
                <a:pos x="connsiteX59327" y="connsiteY59327"/>
              </a:cxn>
              <a:cxn ang="0">
                <a:pos x="connsiteX59328" y="connsiteY59328"/>
              </a:cxn>
              <a:cxn ang="0">
                <a:pos x="connsiteX59329" y="connsiteY59329"/>
              </a:cxn>
              <a:cxn ang="0">
                <a:pos x="connsiteX59330" y="connsiteY59330"/>
              </a:cxn>
              <a:cxn ang="0">
                <a:pos x="connsiteX59331" y="connsiteY59331"/>
              </a:cxn>
              <a:cxn ang="0">
                <a:pos x="connsiteX59332" y="connsiteY59332"/>
              </a:cxn>
              <a:cxn ang="0">
                <a:pos x="connsiteX59333" y="connsiteY59333"/>
              </a:cxn>
              <a:cxn ang="0">
                <a:pos x="connsiteX59334" y="connsiteY59334"/>
              </a:cxn>
              <a:cxn ang="0">
                <a:pos x="connsiteX59335" y="connsiteY59335"/>
              </a:cxn>
              <a:cxn ang="0">
                <a:pos x="connsiteX59336" y="connsiteY59336"/>
              </a:cxn>
              <a:cxn ang="0">
                <a:pos x="connsiteX59337" y="connsiteY59337"/>
              </a:cxn>
              <a:cxn ang="0">
                <a:pos x="connsiteX59338" y="connsiteY59338"/>
              </a:cxn>
              <a:cxn ang="0">
                <a:pos x="connsiteX59339" y="connsiteY59339"/>
              </a:cxn>
              <a:cxn ang="0">
                <a:pos x="connsiteX59340" y="connsiteY59340"/>
              </a:cxn>
              <a:cxn ang="0">
                <a:pos x="connsiteX59341" y="connsiteY59341"/>
              </a:cxn>
              <a:cxn ang="0">
                <a:pos x="connsiteX59342" y="connsiteY59342"/>
              </a:cxn>
              <a:cxn ang="0">
                <a:pos x="connsiteX59343" y="connsiteY59343"/>
              </a:cxn>
              <a:cxn ang="0">
                <a:pos x="connsiteX59344" y="connsiteY59344"/>
              </a:cxn>
              <a:cxn ang="0">
                <a:pos x="connsiteX59345" y="connsiteY59345"/>
              </a:cxn>
              <a:cxn ang="0">
                <a:pos x="connsiteX59346" y="connsiteY59346"/>
              </a:cxn>
              <a:cxn ang="0">
                <a:pos x="connsiteX59347" y="connsiteY59347"/>
              </a:cxn>
              <a:cxn ang="0">
                <a:pos x="connsiteX59348" y="connsiteY59348"/>
              </a:cxn>
              <a:cxn ang="0">
                <a:pos x="connsiteX59349" y="connsiteY59349"/>
              </a:cxn>
              <a:cxn ang="0">
                <a:pos x="connsiteX59350" y="connsiteY59350"/>
              </a:cxn>
              <a:cxn ang="0">
                <a:pos x="connsiteX59351" y="connsiteY59351"/>
              </a:cxn>
              <a:cxn ang="0">
                <a:pos x="connsiteX59352" y="connsiteY59352"/>
              </a:cxn>
              <a:cxn ang="0">
                <a:pos x="connsiteX59353" y="connsiteY59353"/>
              </a:cxn>
              <a:cxn ang="0">
                <a:pos x="connsiteX59354" y="connsiteY59354"/>
              </a:cxn>
              <a:cxn ang="0">
                <a:pos x="connsiteX59355" y="connsiteY59355"/>
              </a:cxn>
              <a:cxn ang="0">
                <a:pos x="connsiteX59356" y="connsiteY59356"/>
              </a:cxn>
              <a:cxn ang="0">
                <a:pos x="connsiteX59357" y="connsiteY59357"/>
              </a:cxn>
              <a:cxn ang="0">
                <a:pos x="connsiteX59358" y="connsiteY59358"/>
              </a:cxn>
              <a:cxn ang="0">
                <a:pos x="connsiteX59359" y="connsiteY59359"/>
              </a:cxn>
              <a:cxn ang="0">
                <a:pos x="connsiteX59360" y="connsiteY59360"/>
              </a:cxn>
              <a:cxn ang="0">
                <a:pos x="connsiteX59361" y="connsiteY59361"/>
              </a:cxn>
              <a:cxn ang="0">
                <a:pos x="connsiteX59362" y="connsiteY59362"/>
              </a:cxn>
              <a:cxn ang="0">
                <a:pos x="connsiteX59363" y="connsiteY59363"/>
              </a:cxn>
              <a:cxn ang="0">
                <a:pos x="connsiteX59364" y="connsiteY59364"/>
              </a:cxn>
              <a:cxn ang="0">
                <a:pos x="connsiteX59365" y="connsiteY59365"/>
              </a:cxn>
              <a:cxn ang="0">
                <a:pos x="connsiteX59366" y="connsiteY59366"/>
              </a:cxn>
              <a:cxn ang="0">
                <a:pos x="connsiteX59367" y="connsiteY59367"/>
              </a:cxn>
              <a:cxn ang="0">
                <a:pos x="connsiteX59368" y="connsiteY59368"/>
              </a:cxn>
              <a:cxn ang="0">
                <a:pos x="connsiteX59369" y="connsiteY59369"/>
              </a:cxn>
              <a:cxn ang="0">
                <a:pos x="connsiteX59370" y="connsiteY59370"/>
              </a:cxn>
              <a:cxn ang="0">
                <a:pos x="connsiteX59371" y="connsiteY59371"/>
              </a:cxn>
              <a:cxn ang="0">
                <a:pos x="connsiteX59372" y="connsiteY59372"/>
              </a:cxn>
              <a:cxn ang="0">
                <a:pos x="connsiteX59373" y="connsiteY59373"/>
              </a:cxn>
              <a:cxn ang="0">
                <a:pos x="connsiteX59374" y="connsiteY59374"/>
              </a:cxn>
              <a:cxn ang="0">
                <a:pos x="connsiteX59375" y="connsiteY59375"/>
              </a:cxn>
              <a:cxn ang="0">
                <a:pos x="connsiteX59376" y="connsiteY59376"/>
              </a:cxn>
              <a:cxn ang="0">
                <a:pos x="connsiteX59377" y="connsiteY59377"/>
              </a:cxn>
              <a:cxn ang="0">
                <a:pos x="connsiteX59378" y="connsiteY59378"/>
              </a:cxn>
              <a:cxn ang="0">
                <a:pos x="connsiteX59379" y="connsiteY59379"/>
              </a:cxn>
              <a:cxn ang="0">
                <a:pos x="connsiteX59380" y="connsiteY59380"/>
              </a:cxn>
              <a:cxn ang="0">
                <a:pos x="connsiteX59381" y="connsiteY59381"/>
              </a:cxn>
              <a:cxn ang="0">
                <a:pos x="connsiteX59382" y="connsiteY59382"/>
              </a:cxn>
              <a:cxn ang="0">
                <a:pos x="connsiteX59383" y="connsiteY59383"/>
              </a:cxn>
              <a:cxn ang="0">
                <a:pos x="connsiteX59384" y="connsiteY59384"/>
              </a:cxn>
              <a:cxn ang="0">
                <a:pos x="connsiteX59385" y="connsiteY59385"/>
              </a:cxn>
              <a:cxn ang="0">
                <a:pos x="connsiteX59386" y="connsiteY59386"/>
              </a:cxn>
              <a:cxn ang="0">
                <a:pos x="connsiteX59387" y="connsiteY59387"/>
              </a:cxn>
              <a:cxn ang="0">
                <a:pos x="connsiteX59388" y="connsiteY59388"/>
              </a:cxn>
              <a:cxn ang="0">
                <a:pos x="connsiteX59389" y="connsiteY59389"/>
              </a:cxn>
              <a:cxn ang="0">
                <a:pos x="connsiteX59390" y="connsiteY59390"/>
              </a:cxn>
              <a:cxn ang="0">
                <a:pos x="connsiteX59391" y="connsiteY59391"/>
              </a:cxn>
              <a:cxn ang="0">
                <a:pos x="connsiteX59392" y="connsiteY59392"/>
              </a:cxn>
              <a:cxn ang="0">
                <a:pos x="connsiteX59393" y="connsiteY59393"/>
              </a:cxn>
              <a:cxn ang="0">
                <a:pos x="connsiteX59394" y="connsiteY59394"/>
              </a:cxn>
              <a:cxn ang="0">
                <a:pos x="connsiteX59395" y="connsiteY59395"/>
              </a:cxn>
              <a:cxn ang="0">
                <a:pos x="connsiteX59396" y="connsiteY59396"/>
              </a:cxn>
              <a:cxn ang="0">
                <a:pos x="connsiteX59397" y="connsiteY59397"/>
              </a:cxn>
              <a:cxn ang="0">
                <a:pos x="connsiteX59398" y="connsiteY59398"/>
              </a:cxn>
              <a:cxn ang="0">
                <a:pos x="connsiteX59399" y="connsiteY59399"/>
              </a:cxn>
              <a:cxn ang="0">
                <a:pos x="connsiteX59400" y="connsiteY59400"/>
              </a:cxn>
              <a:cxn ang="0">
                <a:pos x="connsiteX59401" y="connsiteY59401"/>
              </a:cxn>
              <a:cxn ang="0">
                <a:pos x="connsiteX59402" y="connsiteY59402"/>
              </a:cxn>
              <a:cxn ang="0">
                <a:pos x="connsiteX59403" y="connsiteY59403"/>
              </a:cxn>
              <a:cxn ang="0">
                <a:pos x="connsiteX59404" y="connsiteY59404"/>
              </a:cxn>
              <a:cxn ang="0">
                <a:pos x="connsiteX59405" y="connsiteY59405"/>
              </a:cxn>
              <a:cxn ang="0">
                <a:pos x="connsiteX59406" y="connsiteY59406"/>
              </a:cxn>
              <a:cxn ang="0">
                <a:pos x="connsiteX59407" y="connsiteY59407"/>
              </a:cxn>
              <a:cxn ang="0">
                <a:pos x="connsiteX59408" y="connsiteY59408"/>
              </a:cxn>
              <a:cxn ang="0">
                <a:pos x="connsiteX59409" y="connsiteY59409"/>
              </a:cxn>
              <a:cxn ang="0">
                <a:pos x="connsiteX59410" y="connsiteY59410"/>
              </a:cxn>
              <a:cxn ang="0">
                <a:pos x="connsiteX59411" y="connsiteY59411"/>
              </a:cxn>
              <a:cxn ang="0">
                <a:pos x="connsiteX59412" y="connsiteY59412"/>
              </a:cxn>
              <a:cxn ang="0">
                <a:pos x="connsiteX59413" y="connsiteY59413"/>
              </a:cxn>
              <a:cxn ang="0">
                <a:pos x="connsiteX59414" y="connsiteY59414"/>
              </a:cxn>
              <a:cxn ang="0">
                <a:pos x="connsiteX59415" y="connsiteY59415"/>
              </a:cxn>
              <a:cxn ang="0">
                <a:pos x="connsiteX59416" y="connsiteY59416"/>
              </a:cxn>
              <a:cxn ang="0">
                <a:pos x="connsiteX59417" y="connsiteY59417"/>
              </a:cxn>
              <a:cxn ang="0">
                <a:pos x="connsiteX59418" y="connsiteY59418"/>
              </a:cxn>
              <a:cxn ang="0">
                <a:pos x="connsiteX59419" y="connsiteY59419"/>
              </a:cxn>
              <a:cxn ang="0">
                <a:pos x="connsiteX59420" y="connsiteY59420"/>
              </a:cxn>
              <a:cxn ang="0">
                <a:pos x="connsiteX59421" y="connsiteY59421"/>
              </a:cxn>
              <a:cxn ang="0">
                <a:pos x="connsiteX59422" y="connsiteY59422"/>
              </a:cxn>
              <a:cxn ang="0">
                <a:pos x="connsiteX59423" y="connsiteY59423"/>
              </a:cxn>
              <a:cxn ang="0">
                <a:pos x="connsiteX59424" y="connsiteY59424"/>
              </a:cxn>
              <a:cxn ang="0">
                <a:pos x="connsiteX59425" y="connsiteY59425"/>
              </a:cxn>
              <a:cxn ang="0">
                <a:pos x="connsiteX59426" y="connsiteY59426"/>
              </a:cxn>
              <a:cxn ang="0">
                <a:pos x="connsiteX59427" y="connsiteY59427"/>
              </a:cxn>
              <a:cxn ang="0">
                <a:pos x="connsiteX59428" y="connsiteY59428"/>
              </a:cxn>
              <a:cxn ang="0">
                <a:pos x="connsiteX59429" y="connsiteY59429"/>
              </a:cxn>
              <a:cxn ang="0">
                <a:pos x="connsiteX59430" y="connsiteY59430"/>
              </a:cxn>
              <a:cxn ang="0">
                <a:pos x="connsiteX59431" y="connsiteY59431"/>
              </a:cxn>
              <a:cxn ang="0">
                <a:pos x="connsiteX59432" y="connsiteY59432"/>
              </a:cxn>
              <a:cxn ang="0">
                <a:pos x="connsiteX59433" y="connsiteY59433"/>
              </a:cxn>
              <a:cxn ang="0">
                <a:pos x="connsiteX59434" y="connsiteY59434"/>
              </a:cxn>
              <a:cxn ang="0">
                <a:pos x="connsiteX59435" y="connsiteY59435"/>
              </a:cxn>
              <a:cxn ang="0">
                <a:pos x="connsiteX59436" y="connsiteY59436"/>
              </a:cxn>
              <a:cxn ang="0">
                <a:pos x="connsiteX59437" y="connsiteY59437"/>
              </a:cxn>
              <a:cxn ang="0">
                <a:pos x="connsiteX59438" y="connsiteY59438"/>
              </a:cxn>
              <a:cxn ang="0">
                <a:pos x="connsiteX59439" y="connsiteY59439"/>
              </a:cxn>
              <a:cxn ang="0">
                <a:pos x="connsiteX59440" y="connsiteY59440"/>
              </a:cxn>
              <a:cxn ang="0">
                <a:pos x="connsiteX59441" y="connsiteY59441"/>
              </a:cxn>
              <a:cxn ang="0">
                <a:pos x="connsiteX59442" y="connsiteY59442"/>
              </a:cxn>
              <a:cxn ang="0">
                <a:pos x="connsiteX59443" y="connsiteY59443"/>
              </a:cxn>
              <a:cxn ang="0">
                <a:pos x="connsiteX59444" y="connsiteY59444"/>
              </a:cxn>
              <a:cxn ang="0">
                <a:pos x="connsiteX59445" y="connsiteY59445"/>
              </a:cxn>
              <a:cxn ang="0">
                <a:pos x="connsiteX59446" y="connsiteY59446"/>
              </a:cxn>
              <a:cxn ang="0">
                <a:pos x="connsiteX59447" y="connsiteY59447"/>
              </a:cxn>
              <a:cxn ang="0">
                <a:pos x="connsiteX59448" y="connsiteY59448"/>
              </a:cxn>
              <a:cxn ang="0">
                <a:pos x="connsiteX59449" y="connsiteY59449"/>
              </a:cxn>
              <a:cxn ang="0">
                <a:pos x="connsiteX59450" y="connsiteY59450"/>
              </a:cxn>
              <a:cxn ang="0">
                <a:pos x="connsiteX59451" y="connsiteY59451"/>
              </a:cxn>
              <a:cxn ang="0">
                <a:pos x="connsiteX59452" y="connsiteY59452"/>
              </a:cxn>
              <a:cxn ang="0">
                <a:pos x="connsiteX59453" y="connsiteY59453"/>
              </a:cxn>
              <a:cxn ang="0">
                <a:pos x="connsiteX59454" y="connsiteY59454"/>
              </a:cxn>
              <a:cxn ang="0">
                <a:pos x="connsiteX59455" y="connsiteY59455"/>
              </a:cxn>
              <a:cxn ang="0">
                <a:pos x="connsiteX59456" y="connsiteY59456"/>
              </a:cxn>
              <a:cxn ang="0">
                <a:pos x="connsiteX59457" y="connsiteY59457"/>
              </a:cxn>
              <a:cxn ang="0">
                <a:pos x="connsiteX59458" y="connsiteY59458"/>
              </a:cxn>
              <a:cxn ang="0">
                <a:pos x="connsiteX59459" y="connsiteY59459"/>
              </a:cxn>
              <a:cxn ang="0">
                <a:pos x="connsiteX59460" y="connsiteY59460"/>
              </a:cxn>
              <a:cxn ang="0">
                <a:pos x="connsiteX59461" y="connsiteY59461"/>
              </a:cxn>
              <a:cxn ang="0">
                <a:pos x="connsiteX59462" y="connsiteY59462"/>
              </a:cxn>
              <a:cxn ang="0">
                <a:pos x="connsiteX59463" y="connsiteY59463"/>
              </a:cxn>
              <a:cxn ang="0">
                <a:pos x="connsiteX59464" y="connsiteY59464"/>
              </a:cxn>
              <a:cxn ang="0">
                <a:pos x="connsiteX59465" y="connsiteY59465"/>
              </a:cxn>
              <a:cxn ang="0">
                <a:pos x="connsiteX59466" y="connsiteY59466"/>
              </a:cxn>
              <a:cxn ang="0">
                <a:pos x="connsiteX59467" y="connsiteY59467"/>
              </a:cxn>
              <a:cxn ang="0">
                <a:pos x="connsiteX59468" y="connsiteY59468"/>
              </a:cxn>
              <a:cxn ang="0">
                <a:pos x="connsiteX59469" y="connsiteY59469"/>
              </a:cxn>
              <a:cxn ang="0">
                <a:pos x="connsiteX59470" y="connsiteY59470"/>
              </a:cxn>
              <a:cxn ang="0">
                <a:pos x="connsiteX59471" y="connsiteY59471"/>
              </a:cxn>
              <a:cxn ang="0">
                <a:pos x="connsiteX59472" y="connsiteY59472"/>
              </a:cxn>
              <a:cxn ang="0">
                <a:pos x="connsiteX59473" y="connsiteY59473"/>
              </a:cxn>
              <a:cxn ang="0">
                <a:pos x="connsiteX59474" y="connsiteY59474"/>
              </a:cxn>
              <a:cxn ang="0">
                <a:pos x="connsiteX59475" y="connsiteY59475"/>
              </a:cxn>
              <a:cxn ang="0">
                <a:pos x="connsiteX59476" y="connsiteY59476"/>
              </a:cxn>
              <a:cxn ang="0">
                <a:pos x="connsiteX59477" y="connsiteY59477"/>
              </a:cxn>
              <a:cxn ang="0">
                <a:pos x="connsiteX59478" y="connsiteY59478"/>
              </a:cxn>
              <a:cxn ang="0">
                <a:pos x="connsiteX59479" y="connsiteY59479"/>
              </a:cxn>
              <a:cxn ang="0">
                <a:pos x="connsiteX59480" y="connsiteY59480"/>
              </a:cxn>
              <a:cxn ang="0">
                <a:pos x="connsiteX59481" y="connsiteY59481"/>
              </a:cxn>
              <a:cxn ang="0">
                <a:pos x="connsiteX59482" y="connsiteY59482"/>
              </a:cxn>
              <a:cxn ang="0">
                <a:pos x="connsiteX59483" y="connsiteY59483"/>
              </a:cxn>
              <a:cxn ang="0">
                <a:pos x="connsiteX59484" y="connsiteY59484"/>
              </a:cxn>
              <a:cxn ang="0">
                <a:pos x="connsiteX59485" y="connsiteY59485"/>
              </a:cxn>
              <a:cxn ang="0">
                <a:pos x="connsiteX59486" y="connsiteY59486"/>
              </a:cxn>
              <a:cxn ang="0">
                <a:pos x="connsiteX59487" y="connsiteY59487"/>
              </a:cxn>
              <a:cxn ang="0">
                <a:pos x="connsiteX59488" y="connsiteY59488"/>
              </a:cxn>
              <a:cxn ang="0">
                <a:pos x="connsiteX59489" y="connsiteY59489"/>
              </a:cxn>
              <a:cxn ang="0">
                <a:pos x="connsiteX59490" y="connsiteY59490"/>
              </a:cxn>
              <a:cxn ang="0">
                <a:pos x="connsiteX59491" y="connsiteY59491"/>
              </a:cxn>
              <a:cxn ang="0">
                <a:pos x="connsiteX59492" y="connsiteY59492"/>
              </a:cxn>
              <a:cxn ang="0">
                <a:pos x="connsiteX59493" y="connsiteY59493"/>
              </a:cxn>
              <a:cxn ang="0">
                <a:pos x="connsiteX59494" y="connsiteY59494"/>
              </a:cxn>
              <a:cxn ang="0">
                <a:pos x="connsiteX59495" y="connsiteY59495"/>
              </a:cxn>
              <a:cxn ang="0">
                <a:pos x="connsiteX59496" y="connsiteY59496"/>
              </a:cxn>
              <a:cxn ang="0">
                <a:pos x="connsiteX59497" y="connsiteY59497"/>
              </a:cxn>
              <a:cxn ang="0">
                <a:pos x="connsiteX59498" y="connsiteY59498"/>
              </a:cxn>
              <a:cxn ang="0">
                <a:pos x="connsiteX59499" y="connsiteY59499"/>
              </a:cxn>
              <a:cxn ang="0">
                <a:pos x="connsiteX59500" y="connsiteY59500"/>
              </a:cxn>
              <a:cxn ang="0">
                <a:pos x="connsiteX59501" y="connsiteY59501"/>
              </a:cxn>
              <a:cxn ang="0">
                <a:pos x="connsiteX59502" y="connsiteY59502"/>
              </a:cxn>
              <a:cxn ang="0">
                <a:pos x="connsiteX59503" y="connsiteY59503"/>
              </a:cxn>
              <a:cxn ang="0">
                <a:pos x="connsiteX59504" y="connsiteY59504"/>
              </a:cxn>
              <a:cxn ang="0">
                <a:pos x="connsiteX59505" y="connsiteY59505"/>
              </a:cxn>
              <a:cxn ang="0">
                <a:pos x="connsiteX59506" y="connsiteY59506"/>
              </a:cxn>
              <a:cxn ang="0">
                <a:pos x="connsiteX59507" y="connsiteY59507"/>
              </a:cxn>
              <a:cxn ang="0">
                <a:pos x="connsiteX59508" y="connsiteY59508"/>
              </a:cxn>
              <a:cxn ang="0">
                <a:pos x="connsiteX59509" y="connsiteY59509"/>
              </a:cxn>
              <a:cxn ang="0">
                <a:pos x="connsiteX59510" y="connsiteY59510"/>
              </a:cxn>
              <a:cxn ang="0">
                <a:pos x="connsiteX59511" y="connsiteY59511"/>
              </a:cxn>
              <a:cxn ang="0">
                <a:pos x="connsiteX59512" y="connsiteY59512"/>
              </a:cxn>
              <a:cxn ang="0">
                <a:pos x="connsiteX59513" y="connsiteY59513"/>
              </a:cxn>
              <a:cxn ang="0">
                <a:pos x="connsiteX59514" y="connsiteY59514"/>
              </a:cxn>
              <a:cxn ang="0">
                <a:pos x="connsiteX59515" y="connsiteY59515"/>
              </a:cxn>
              <a:cxn ang="0">
                <a:pos x="connsiteX59516" y="connsiteY59516"/>
              </a:cxn>
              <a:cxn ang="0">
                <a:pos x="connsiteX59517" y="connsiteY59517"/>
              </a:cxn>
              <a:cxn ang="0">
                <a:pos x="connsiteX59518" y="connsiteY59518"/>
              </a:cxn>
              <a:cxn ang="0">
                <a:pos x="connsiteX59519" y="connsiteY59519"/>
              </a:cxn>
              <a:cxn ang="0">
                <a:pos x="connsiteX59520" y="connsiteY59520"/>
              </a:cxn>
              <a:cxn ang="0">
                <a:pos x="connsiteX59521" y="connsiteY59521"/>
              </a:cxn>
              <a:cxn ang="0">
                <a:pos x="connsiteX59522" y="connsiteY59522"/>
              </a:cxn>
              <a:cxn ang="0">
                <a:pos x="connsiteX59523" y="connsiteY59523"/>
              </a:cxn>
              <a:cxn ang="0">
                <a:pos x="connsiteX59524" y="connsiteY59524"/>
              </a:cxn>
              <a:cxn ang="0">
                <a:pos x="connsiteX59525" y="connsiteY59525"/>
              </a:cxn>
              <a:cxn ang="0">
                <a:pos x="connsiteX59526" y="connsiteY59526"/>
              </a:cxn>
              <a:cxn ang="0">
                <a:pos x="connsiteX59527" y="connsiteY59527"/>
              </a:cxn>
              <a:cxn ang="0">
                <a:pos x="connsiteX59528" y="connsiteY59528"/>
              </a:cxn>
              <a:cxn ang="0">
                <a:pos x="connsiteX59529" y="connsiteY59529"/>
              </a:cxn>
              <a:cxn ang="0">
                <a:pos x="connsiteX59530" y="connsiteY59530"/>
              </a:cxn>
              <a:cxn ang="0">
                <a:pos x="connsiteX59531" y="connsiteY59531"/>
              </a:cxn>
              <a:cxn ang="0">
                <a:pos x="connsiteX59532" y="connsiteY59532"/>
              </a:cxn>
              <a:cxn ang="0">
                <a:pos x="connsiteX59533" y="connsiteY59533"/>
              </a:cxn>
              <a:cxn ang="0">
                <a:pos x="connsiteX59534" y="connsiteY59534"/>
              </a:cxn>
              <a:cxn ang="0">
                <a:pos x="connsiteX59535" y="connsiteY59535"/>
              </a:cxn>
              <a:cxn ang="0">
                <a:pos x="connsiteX59536" y="connsiteY59536"/>
              </a:cxn>
              <a:cxn ang="0">
                <a:pos x="connsiteX59537" y="connsiteY59537"/>
              </a:cxn>
              <a:cxn ang="0">
                <a:pos x="connsiteX59538" y="connsiteY59538"/>
              </a:cxn>
              <a:cxn ang="0">
                <a:pos x="connsiteX59539" y="connsiteY59539"/>
              </a:cxn>
              <a:cxn ang="0">
                <a:pos x="connsiteX59540" y="connsiteY59540"/>
              </a:cxn>
              <a:cxn ang="0">
                <a:pos x="connsiteX59541" y="connsiteY59541"/>
              </a:cxn>
              <a:cxn ang="0">
                <a:pos x="connsiteX59542" y="connsiteY59542"/>
              </a:cxn>
              <a:cxn ang="0">
                <a:pos x="connsiteX59543" y="connsiteY59543"/>
              </a:cxn>
              <a:cxn ang="0">
                <a:pos x="connsiteX59544" y="connsiteY59544"/>
              </a:cxn>
              <a:cxn ang="0">
                <a:pos x="connsiteX59545" y="connsiteY59545"/>
              </a:cxn>
              <a:cxn ang="0">
                <a:pos x="connsiteX59546" y="connsiteY59546"/>
              </a:cxn>
              <a:cxn ang="0">
                <a:pos x="connsiteX59547" y="connsiteY59547"/>
              </a:cxn>
              <a:cxn ang="0">
                <a:pos x="connsiteX59548" y="connsiteY59548"/>
              </a:cxn>
              <a:cxn ang="0">
                <a:pos x="connsiteX59549" y="connsiteY59549"/>
              </a:cxn>
              <a:cxn ang="0">
                <a:pos x="connsiteX59550" y="connsiteY59550"/>
              </a:cxn>
              <a:cxn ang="0">
                <a:pos x="connsiteX59551" y="connsiteY59551"/>
              </a:cxn>
              <a:cxn ang="0">
                <a:pos x="connsiteX59552" y="connsiteY59552"/>
              </a:cxn>
              <a:cxn ang="0">
                <a:pos x="connsiteX59553" y="connsiteY59553"/>
              </a:cxn>
              <a:cxn ang="0">
                <a:pos x="connsiteX59554" y="connsiteY59554"/>
              </a:cxn>
              <a:cxn ang="0">
                <a:pos x="connsiteX59555" y="connsiteY59555"/>
              </a:cxn>
              <a:cxn ang="0">
                <a:pos x="connsiteX59556" y="connsiteY59556"/>
              </a:cxn>
              <a:cxn ang="0">
                <a:pos x="connsiteX59557" y="connsiteY59557"/>
              </a:cxn>
              <a:cxn ang="0">
                <a:pos x="connsiteX59558" y="connsiteY59558"/>
              </a:cxn>
              <a:cxn ang="0">
                <a:pos x="connsiteX59559" y="connsiteY59559"/>
              </a:cxn>
              <a:cxn ang="0">
                <a:pos x="connsiteX59560" y="connsiteY59560"/>
              </a:cxn>
              <a:cxn ang="0">
                <a:pos x="connsiteX59561" y="connsiteY59561"/>
              </a:cxn>
              <a:cxn ang="0">
                <a:pos x="connsiteX59562" y="connsiteY59562"/>
              </a:cxn>
              <a:cxn ang="0">
                <a:pos x="connsiteX59563" y="connsiteY59563"/>
              </a:cxn>
              <a:cxn ang="0">
                <a:pos x="connsiteX59564" y="connsiteY59564"/>
              </a:cxn>
              <a:cxn ang="0">
                <a:pos x="connsiteX59565" y="connsiteY59565"/>
              </a:cxn>
              <a:cxn ang="0">
                <a:pos x="connsiteX59566" y="connsiteY59566"/>
              </a:cxn>
              <a:cxn ang="0">
                <a:pos x="connsiteX59567" y="connsiteY59567"/>
              </a:cxn>
              <a:cxn ang="0">
                <a:pos x="connsiteX59568" y="connsiteY59568"/>
              </a:cxn>
              <a:cxn ang="0">
                <a:pos x="connsiteX59569" y="connsiteY59569"/>
              </a:cxn>
              <a:cxn ang="0">
                <a:pos x="connsiteX59570" y="connsiteY59570"/>
              </a:cxn>
              <a:cxn ang="0">
                <a:pos x="connsiteX59571" y="connsiteY59571"/>
              </a:cxn>
              <a:cxn ang="0">
                <a:pos x="connsiteX59572" y="connsiteY59572"/>
              </a:cxn>
              <a:cxn ang="0">
                <a:pos x="connsiteX59573" y="connsiteY59573"/>
              </a:cxn>
              <a:cxn ang="0">
                <a:pos x="connsiteX59574" y="connsiteY59574"/>
              </a:cxn>
              <a:cxn ang="0">
                <a:pos x="connsiteX59575" y="connsiteY59575"/>
              </a:cxn>
              <a:cxn ang="0">
                <a:pos x="connsiteX59576" y="connsiteY59576"/>
              </a:cxn>
              <a:cxn ang="0">
                <a:pos x="connsiteX59577" y="connsiteY59577"/>
              </a:cxn>
              <a:cxn ang="0">
                <a:pos x="connsiteX59578" y="connsiteY59578"/>
              </a:cxn>
              <a:cxn ang="0">
                <a:pos x="connsiteX59579" y="connsiteY59579"/>
              </a:cxn>
              <a:cxn ang="0">
                <a:pos x="connsiteX59580" y="connsiteY59580"/>
              </a:cxn>
              <a:cxn ang="0">
                <a:pos x="connsiteX59581" y="connsiteY59581"/>
              </a:cxn>
              <a:cxn ang="0">
                <a:pos x="connsiteX59582" y="connsiteY59582"/>
              </a:cxn>
              <a:cxn ang="0">
                <a:pos x="connsiteX59583" y="connsiteY59583"/>
              </a:cxn>
              <a:cxn ang="0">
                <a:pos x="connsiteX59584" y="connsiteY59584"/>
              </a:cxn>
              <a:cxn ang="0">
                <a:pos x="connsiteX59585" y="connsiteY59585"/>
              </a:cxn>
              <a:cxn ang="0">
                <a:pos x="connsiteX59586" y="connsiteY59586"/>
              </a:cxn>
              <a:cxn ang="0">
                <a:pos x="connsiteX59587" y="connsiteY59587"/>
              </a:cxn>
              <a:cxn ang="0">
                <a:pos x="connsiteX59588" y="connsiteY59588"/>
              </a:cxn>
              <a:cxn ang="0">
                <a:pos x="connsiteX59589" y="connsiteY59589"/>
              </a:cxn>
              <a:cxn ang="0">
                <a:pos x="connsiteX59590" y="connsiteY59590"/>
              </a:cxn>
              <a:cxn ang="0">
                <a:pos x="connsiteX59591" y="connsiteY59591"/>
              </a:cxn>
              <a:cxn ang="0">
                <a:pos x="connsiteX59592" y="connsiteY59592"/>
              </a:cxn>
              <a:cxn ang="0">
                <a:pos x="connsiteX59593" y="connsiteY59593"/>
              </a:cxn>
              <a:cxn ang="0">
                <a:pos x="connsiteX59594" y="connsiteY59594"/>
              </a:cxn>
              <a:cxn ang="0">
                <a:pos x="connsiteX59595" y="connsiteY59595"/>
              </a:cxn>
              <a:cxn ang="0">
                <a:pos x="connsiteX59596" y="connsiteY59596"/>
              </a:cxn>
              <a:cxn ang="0">
                <a:pos x="connsiteX59597" y="connsiteY59597"/>
              </a:cxn>
              <a:cxn ang="0">
                <a:pos x="connsiteX59598" y="connsiteY59598"/>
              </a:cxn>
              <a:cxn ang="0">
                <a:pos x="connsiteX59599" y="connsiteY59599"/>
              </a:cxn>
              <a:cxn ang="0">
                <a:pos x="connsiteX59600" y="connsiteY59600"/>
              </a:cxn>
              <a:cxn ang="0">
                <a:pos x="connsiteX59601" y="connsiteY59601"/>
              </a:cxn>
              <a:cxn ang="0">
                <a:pos x="connsiteX59602" y="connsiteY59602"/>
              </a:cxn>
              <a:cxn ang="0">
                <a:pos x="connsiteX59603" y="connsiteY59603"/>
              </a:cxn>
              <a:cxn ang="0">
                <a:pos x="connsiteX59604" y="connsiteY59604"/>
              </a:cxn>
              <a:cxn ang="0">
                <a:pos x="connsiteX59605" y="connsiteY59605"/>
              </a:cxn>
              <a:cxn ang="0">
                <a:pos x="connsiteX59606" y="connsiteY59606"/>
              </a:cxn>
              <a:cxn ang="0">
                <a:pos x="connsiteX59607" y="connsiteY59607"/>
              </a:cxn>
              <a:cxn ang="0">
                <a:pos x="connsiteX59608" y="connsiteY59608"/>
              </a:cxn>
              <a:cxn ang="0">
                <a:pos x="connsiteX59609" y="connsiteY59609"/>
              </a:cxn>
              <a:cxn ang="0">
                <a:pos x="connsiteX59610" y="connsiteY59610"/>
              </a:cxn>
              <a:cxn ang="0">
                <a:pos x="connsiteX59611" y="connsiteY59611"/>
              </a:cxn>
              <a:cxn ang="0">
                <a:pos x="connsiteX59612" y="connsiteY59612"/>
              </a:cxn>
              <a:cxn ang="0">
                <a:pos x="connsiteX59613" y="connsiteY59613"/>
              </a:cxn>
              <a:cxn ang="0">
                <a:pos x="connsiteX59614" y="connsiteY59614"/>
              </a:cxn>
              <a:cxn ang="0">
                <a:pos x="connsiteX59615" y="connsiteY59615"/>
              </a:cxn>
              <a:cxn ang="0">
                <a:pos x="connsiteX59616" y="connsiteY59616"/>
              </a:cxn>
              <a:cxn ang="0">
                <a:pos x="connsiteX59617" y="connsiteY59617"/>
              </a:cxn>
              <a:cxn ang="0">
                <a:pos x="connsiteX59618" y="connsiteY59618"/>
              </a:cxn>
              <a:cxn ang="0">
                <a:pos x="connsiteX59619" y="connsiteY59619"/>
              </a:cxn>
              <a:cxn ang="0">
                <a:pos x="connsiteX59620" y="connsiteY59620"/>
              </a:cxn>
              <a:cxn ang="0">
                <a:pos x="connsiteX59621" y="connsiteY59621"/>
              </a:cxn>
              <a:cxn ang="0">
                <a:pos x="connsiteX59622" y="connsiteY59622"/>
              </a:cxn>
              <a:cxn ang="0">
                <a:pos x="connsiteX59623" y="connsiteY59623"/>
              </a:cxn>
              <a:cxn ang="0">
                <a:pos x="connsiteX59624" y="connsiteY59624"/>
              </a:cxn>
              <a:cxn ang="0">
                <a:pos x="connsiteX59625" y="connsiteY59625"/>
              </a:cxn>
              <a:cxn ang="0">
                <a:pos x="connsiteX59626" y="connsiteY59626"/>
              </a:cxn>
              <a:cxn ang="0">
                <a:pos x="connsiteX59627" y="connsiteY59627"/>
              </a:cxn>
              <a:cxn ang="0">
                <a:pos x="connsiteX59628" y="connsiteY59628"/>
              </a:cxn>
              <a:cxn ang="0">
                <a:pos x="connsiteX59629" y="connsiteY59629"/>
              </a:cxn>
              <a:cxn ang="0">
                <a:pos x="connsiteX59630" y="connsiteY59630"/>
              </a:cxn>
              <a:cxn ang="0">
                <a:pos x="connsiteX59631" y="connsiteY59631"/>
              </a:cxn>
              <a:cxn ang="0">
                <a:pos x="connsiteX59632" y="connsiteY59632"/>
              </a:cxn>
              <a:cxn ang="0">
                <a:pos x="connsiteX59633" y="connsiteY59633"/>
              </a:cxn>
              <a:cxn ang="0">
                <a:pos x="connsiteX59634" y="connsiteY59634"/>
              </a:cxn>
              <a:cxn ang="0">
                <a:pos x="connsiteX59635" y="connsiteY59635"/>
              </a:cxn>
              <a:cxn ang="0">
                <a:pos x="connsiteX59636" y="connsiteY59636"/>
              </a:cxn>
              <a:cxn ang="0">
                <a:pos x="connsiteX59637" y="connsiteY59637"/>
              </a:cxn>
              <a:cxn ang="0">
                <a:pos x="connsiteX59638" y="connsiteY59638"/>
              </a:cxn>
              <a:cxn ang="0">
                <a:pos x="connsiteX59639" y="connsiteY59639"/>
              </a:cxn>
              <a:cxn ang="0">
                <a:pos x="connsiteX59640" y="connsiteY59640"/>
              </a:cxn>
              <a:cxn ang="0">
                <a:pos x="connsiteX59641" y="connsiteY59641"/>
              </a:cxn>
              <a:cxn ang="0">
                <a:pos x="connsiteX59642" y="connsiteY59642"/>
              </a:cxn>
              <a:cxn ang="0">
                <a:pos x="connsiteX59643" y="connsiteY59643"/>
              </a:cxn>
              <a:cxn ang="0">
                <a:pos x="connsiteX59644" y="connsiteY59644"/>
              </a:cxn>
              <a:cxn ang="0">
                <a:pos x="connsiteX59645" y="connsiteY59645"/>
              </a:cxn>
              <a:cxn ang="0">
                <a:pos x="connsiteX59646" y="connsiteY59646"/>
              </a:cxn>
              <a:cxn ang="0">
                <a:pos x="connsiteX59647" y="connsiteY59647"/>
              </a:cxn>
              <a:cxn ang="0">
                <a:pos x="connsiteX59648" y="connsiteY59648"/>
              </a:cxn>
              <a:cxn ang="0">
                <a:pos x="connsiteX59649" y="connsiteY59649"/>
              </a:cxn>
              <a:cxn ang="0">
                <a:pos x="connsiteX59650" y="connsiteY59650"/>
              </a:cxn>
              <a:cxn ang="0">
                <a:pos x="connsiteX59651" y="connsiteY59651"/>
              </a:cxn>
              <a:cxn ang="0">
                <a:pos x="connsiteX59652" y="connsiteY59652"/>
              </a:cxn>
              <a:cxn ang="0">
                <a:pos x="connsiteX59653" y="connsiteY59653"/>
              </a:cxn>
              <a:cxn ang="0">
                <a:pos x="connsiteX59654" y="connsiteY59654"/>
              </a:cxn>
              <a:cxn ang="0">
                <a:pos x="connsiteX59655" y="connsiteY59655"/>
              </a:cxn>
              <a:cxn ang="0">
                <a:pos x="connsiteX59656" y="connsiteY59656"/>
              </a:cxn>
              <a:cxn ang="0">
                <a:pos x="connsiteX59657" y="connsiteY59657"/>
              </a:cxn>
              <a:cxn ang="0">
                <a:pos x="connsiteX59658" y="connsiteY59658"/>
              </a:cxn>
              <a:cxn ang="0">
                <a:pos x="connsiteX59659" y="connsiteY59659"/>
              </a:cxn>
              <a:cxn ang="0">
                <a:pos x="connsiteX59660" y="connsiteY59660"/>
              </a:cxn>
              <a:cxn ang="0">
                <a:pos x="connsiteX59661" y="connsiteY59661"/>
              </a:cxn>
              <a:cxn ang="0">
                <a:pos x="connsiteX59662" y="connsiteY59662"/>
              </a:cxn>
              <a:cxn ang="0">
                <a:pos x="connsiteX59663" y="connsiteY59663"/>
              </a:cxn>
              <a:cxn ang="0">
                <a:pos x="connsiteX59664" y="connsiteY59664"/>
              </a:cxn>
              <a:cxn ang="0">
                <a:pos x="connsiteX59665" y="connsiteY59665"/>
              </a:cxn>
              <a:cxn ang="0">
                <a:pos x="connsiteX59666" y="connsiteY59666"/>
              </a:cxn>
              <a:cxn ang="0">
                <a:pos x="connsiteX59667" y="connsiteY59667"/>
              </a:cxn>
              <a:cxn ang="0">
                <a:pos x="connsiteX59668" y="connsiteY59668"/>
              </a:cxn>
              <a:cxn ang="0">
                <a:pos x="connsiteX59669" y="connsiteY59669"/>
              </a:cxn>
              <a:cxn ang="0">
                <a:pos x="connsiteX59670" y="connsiteY59670"/>
              </a:cxn>
              <a:cxn ang="0">
                <a:pos x="connsiteX59671" y="connsiteY59671"/>
              </a:cxn>
              <a:cxn ang="0">
                <a:pos x="connsiteX59672" y="connsiteY59672"/>
              </a:cxn>
              <a:cxn ang="0">
                <a:pos x="connsiteX59673" y="connsiteY59673"/>
              </a:cxn>
              <a:cxn ang="0">
                <a:pos x="connsiteX59674" y="connsiteY59674"/>
              </a:cxn>
              <a:cxn ang="0">
                <a:pos x="connsiteX59675" y="connsiteY59675"/>
              </a:cxn>
              <a:cxn ang="0">
                <a:pos x="connsiteX59676" y="connsiteY59676"/>
              </a:cxn>
              <a:cxn ang="0">
                <a:pos x="connsiteX59677" y="connsiteY59677"/>
              </a:cxn>
              <a:cxn ang="0">
                <a:pos x="connsiteX59678" y="connsiteY59678"/>
              </a:cxn>
              <a:cxn ang="0">
                <a:pos x="connsiteX59679" y="connsiteY59679"/>
              </a:cxn>
              <a:cxn ang="0">
                <a:pos x="connsiteX59680" y="connsiteY59680"/>
              </a:cxn>
              <a:cxn ang="0">
                <a:pos x="connsiteX59681" y="connsiteY59681"/>
              </a:cxn>
              <a:cxn ang="0">
                <a:pos x="connsiteX59682" y="connsiteY59682"/>
              </a:cxn>
              <a:cxn ang="0">
                <a:pos x="connsiteX59683" y="connsiteY59683"/>
              </a:cxn>
              <a:cxn ang="0">
                <a:pos x="connsiteX59684" y="connsiteY59684"/>
              </a:cxn>
              <a:cxn ang="0">
                <a:pos x="connsiteX59685" y="connsiteY59685"/>
              </a:cxn>
              <a:cxn ang="0">
                <a:pos x="connsiteX59686" y="connsiteY59686"/>
              </a:cxn>
              <a:cxn ang="0">
                <a:pos x="connsiteX59687" y="connsiteY59687"/>
              </a:cxn>
              <a:cxn ang="0">
                <a:pos x="connsiteX59688" y="connsiteY59688"/>
              </a:cxn>
              <a:cxn ang="0">
                <a:pos x="connsiteX59689" y="connsiteY59689"/>
              </a:cxn>
              <a:cxn ang="0">
                <a:pos x="connsiteX59690" y="connsiteY59690"/>
              </a:cxn>
              <a:cxn ang="0">
                <a:pos x="connsiteX59691" y="connsiteY59691"/>
              </a:cxn>
              <a:cxn ang="0">
                <a:pos x="connsiteX59692" y="connsiteY59692"/>
              </a:cxn>
              <a:cxn ang="0">
                <a:pos x="connsiteX59693" y="connsiteY59693"/>
              </a:cxn>
              <a:cxn ang="0">
                <a:pos x="connsiteX59694" y="connsiteY59694"/>
              </a:cxn>
              <a:cxn ang="0">
                <a:pos x="connsiteX59695" y="connsiteY59695"/>
              </a:cxn>
              <a:cxn ang="0">
                <a:pos x="connsiteX59696" y="connsiteY59696"/>
              </a:cxn>
              <a:cxn ang="0">
                <a:pos x="connsiteX59697" y="connsiteY59697"/>
              </a:cxn>
              <a:cxn ang="0">
                <a:pos x="connsiteX59698" y="connsiteY59698"/>
              </a:cxn>
              <a:cxn ang="0">
                <a:pos x="connsiteX59699" y="connsiteY59699"/>
              </a:cxn>
              <a:cxn ang="0">
                <a:pos x="connsiteX59700" y="connsiteY59700"/>
              </a:cxn>
              <a:cxn ang="0">
                <a:pos x="connsiteX59701" y="connsiteY59701"/>
              </a:cxn>
              <a:cxn ang="0">
                <a:pos x="connsiteX59702" y="connsiteY59702"/>
              </a:cxn>
              <a:cxn ang="0">
                <a:pos x="connsiteX59703" y="connsiteY59703"/>
              </a:cxn>
              <a:cxn ang="0">
                <a:pos x="connsiteX59704" y="connsiteY59704"/>
              </a:cxn>
              <a:cxn ang="0">
                <a:pos x="connsiteX59705" y="connsiteY59705"/>
              </a:cxn>
              <a:cxn ang="0">
                <a:pos x="connsiteX59706" y="connsiteY59706"/>
              </a:cxn>
              <a:cxn ang="0">
                <a:pos x="connsiteX59707" y="connsiteY59707"/>
              </a:cxn>
              <a:cxn ang="0">
                <a:pos x="connsiteX59708" y="connsiteY59708"/>
              </a:cxn>
              <a:cxn ang="0">
                <a:pos x="connsiteX59709" y="connsiteY59709"/>
              </a:cxn>
              <a:cxn ang="0">
                <a:pos x="connsiteX59710" y="connsiteY59710"/>
              </a:cxn>
              <a:cxn ang="0">
                <a:pos x="connsiteX59711" y="connsiteY59711"/>
              </a:cxn>
              <a:cxn ang="0">
                <a:pos x="connsiteX59712" y="connsiteY59712"/>
              </a:cxn>
              <a:cxn ang="0">
                <a:pos x="connsiteX59713" y="connsiteY59713"/>
              </a:cxn>
              <a:cxn ang="0">
                <a:pos x="connsiteX59714" y="connsiteY59714"/>
              </a:cxn>
              <a:cxn ang="0">
                <a:pos x="connsiteX59715" y="connsiteY59715"/>
              </a:cxn>
              <a:cxn ang="0">
                <a:pos x="connsiteX59716" y="connsiteY59716"/>
              </a:cxn>
              <a:cxn ang="0">
                <a:pos x="connsiteX59717" y="connsiteY59717"/>
              </a:cxn>
              <a:cxn ang="0">
                <a:pos x="connsiteX59718" y="connsiteY59718"/>
              </a:cxn>
              <a:cxn ang="0">
                <a:pos x="connsiteX59719" y="connsiteY59719"/>
              </a:cxn>
              <a:cxn ang="0">
                <a:pos x="connsiteX59720" y="connsiteY59720"/>
              </a:cxn>
              <a:cxn ang="0">
                <a:pos x="connsiteX59721" y="connsiteY59721"/>
              </a:cxn>
              <a:cxn ang="0">
                <a:pos x="connsiteX59722" y="connsiteY59722"/>
              </a:cxn>
              <a:cxn ang="0">
                <a:pos x="connsiteX59723" y="connsiteY59723"/>
              </a:cxn>
              <a:cxn ang="0">
                <a:pos x="connsiteX59724" y="connsiteY59724"/>
              </a:cxn>
              <a:cxn ang="0">
                <a:pos x="connsiteX59725" y="connsiteY59725"/>
              </a:cxn>
              <a:cxn ang="0">
                <a:pos x="connsiteX59726" y="connsiteY59726"/>
              </a:cxn>
              <a:cxn ang="0">
                <a:pos x="connsiteX59727" y="connsiteY59727"/>
              </a:cxn>
              <a:cxn ang="0">
                <a:pos x="connsiteX59728" y="connsiteY59728"/>
              </a:cxn>
              <a:cxn ang="0">
                <a:pos x="connsiteX59729" y="connsiteY59729"/>
              </a:cxn>
              <a:cxn ang="0">
                <a:pos x="connsiteX59730" y="connsiteY59730"/>
              </a:cxn>
              <a:cxn ang="0">
                <a:pos x="connsiteX59731" y="connsiteY59731"/>
              </a:cxn>
              <a:cxn ang="0">
                <a:pos x="connsiteX59732" y="connsiteY59732"/>
              </a:cxn>
              <a:cxn ang="0">
                <a:pos x="connsiteX59733" y="connsiteY59733"/>
              </a:cxn>
              <a:cxn ang="0">
                <a:pos x="connsiteX59734" y="connsiteY59734"/>
              </a:cxn>
              <a:cxn ang="0">
                <a:pos x="connsiteX59735" y="connsiteY59735"/>
              </a:cxn>
              <a:cxn ang="0">
                <a:pos x="connsiteX59736" y="connsiteY59736"/>
              </a:cxn>
              <a:cxn ang="0">
                <a:pos x="connsiteX59737" y="connsiteY59737"/>
              </a:cxn>
              <a:cxn ang="0">
                <a:pos x="connsiteX59738" y="connsiteY59738"/>
              </a:cxn>
              <a:cxn ang="0">
                <a:pos x="connsiteX59739" y="connsiteY59739"/>
              </a:cxn>
              <a:cxn ang="0">
                <a:pos x="connsiteX59740" y="connsiteY59740"/>
              </a:cxn>
              <a:cxn ang="0">
                <a:pos x="connsiteX59741" y="connsiteY59741"/>
              </a:cxn>
              <a:cxn ang="0">
                <a:pos x="connsiteX59742" y="connsiteY59742"/>
              </a:cxn>
              <a:cxn ang="0">
                <a:pos x="connsiteX59743" y="connsiteY59743"/>
              </a:cxn>
              <a:cxn ang="0">
                <a:pos x="connsiteX59744" y="connsiteY59744"/>
              </a:cxn>
              <a:cxn ang="0">
                <a:pos x="connsiteX59745" y="connsiteY59745"/>
              </a:cxn>
              <a:cxn ang="0">
                <a:pos x="connsiteX59746" y="connsiteY59746"/>
              </a:cxn>
              <a:cxn ang="0">
                <a:pos x="connsiteX59747" y="connsiteY59747"/>
              </a:cxn>
              <a:cxn ang="0">
                <a:pos x="connsiteX59748" y="connsiteY59748"/>
              </a:cxn>
              <a:cxn ang="0">
                <a:pos x="connsiteX59749" y="connsiteY59749"/>
              </a:cxn>
              <a:cxn ang="0">
                <a:pos x="connsiteX59750" y="connsiteY59750"/>
              </a:cxn>
              <a:cxn ang="0">
                <a:pos x="connsiteX59751" y="connsiteY59751"/>
              </a:cxn>
              <a:cxn ang="0">
                <a:pos x="connsiteX59752" y="connsiteY59752"/>
              </a:cxn>
              <a:cxn ang="0">
                <a:pos x="connsiteX59753" y="connsiteY59753"/>
              </a:cxn>
              <a:cxn ang="0">
                <a:pos x="connsiteX59754" y="connsiteY59754"/>
              </a:cxn>
              <a:cxn ang="0">
                <a:pos x="connsiteX59755" y="connsiteY59755"/>
              </a:cxn>
              <a:cxn ang="0">
                <a:pos x="connsiteX59756" y="connsiteY59756"/>
              </a:cxn>
              <a:cxn ang="0">
                <a:pos x="connsiteX59757" y="connsiteY59757"/>
              </a:cxn>
              <a:cxn ang="0">
                <a:pos x="connsiteX59758" y="connsiteY59758"/>
              </a:cxn>
              <a:cxn ang="0">
                <a:pos x="connsiteX59759" y="connsiteY59759"/>
              </a:cxn>
              <a:cxn ang="0">
                <a:pos x="connsiteX59760" y="connsiteY59760"/>
              </a:cxn>
              <a:cxn ang="0">
                <a:pos x="connsiteX59761" y="connsiteY59761"/>
              </a:cxn>
              <a:cxn ang="0">
                <a:pos x="connsiteX59762" y="connsiteY59762"/>
              </a:cxn>
              <a:cxn ang="0">
                <a:pos x="connsiteX59763" y="connsiteY59763"/>
              </a:cxn>
              <a:cxn ang="0">
                <a:pos x="connsiteX59764" y="connsiteY59764"/>
              </a:cxn>
              <a:cxn ang="0">
                <a:pos x="connsiteX59765" y="connsiteY59765"/>
              </a:cxn>
              <a:cxn ang="0">
                <a:pos x="connsiteX59766" y="connsiteY59766"/>
              </a:cxn>
              <a:cxn ang="0">
                <a:pos x="connsiteX59767" y="connsiteY59767"/>
              </a:cxn>
              <a:cxn ang="0">
                <a:pos x="connsiteX59768" y="connsiteY59768"/>
              </a:cxn>
              <a:cxn ang="0">
                <a:pos x="connsiteX59769" y="connsiteY59769"/>
              </a:cxn>
              <a:cxn ang="0">
                <a:pos x="connsiteX59770" y="connsiteY59770"/>
              </a:cxn>
              <a:cxn ang="0">
                <a:pos x="connsiteX59771" y="connsiteY59771"/>
              </a:cxn>
              <a:cxn ang="0">
                <a:pos x="connsiteX59772" y="connsiteY59772"/>
              </a:cxn>
              <a:cxn ang="0">
                <a:pos x="connsiteX59773" y="connsiteY59773"/>
              </a:cxn>
              <a:cxn ang="0">
                <a:pos x="connsiteX59774" y="connsiteY59774"/>
              </a:cxn>
              <a:cxn ang="0">
                <a:pos x="connsiteX59775" y="connsiteY59775"/>
              </a:cxn>
              <a:cxn ang="0">
                <a:pos x="connsiteX59776" y="connsiteY59776"/>
              </a:cxn>
              <a:cxn ang="0">
                <a:pos x="connsiteX59777" y="connsiteY59777"/>
              </a:cxn>
              <a:cxn ang="0">
                <a:pos x="connsiteX59778" y="connsiteY59778"/>
              </a:cxn>
              <a:cxn ang="0">
                <a:pos x="connsiteX59779" y="connsiteY59779"/>
              </a:cxn>
              <a:cxn ang="0">
                <a:pos x="connsiteX59780" y="connsiteY59780"/>
              </a:cxn>
              <a:cxn ang="0">
                <a:pos x="connsiteX59781" y="connsiteY59781"/>
              </a:cxn>
              <a:cxn ang="0">
                <a:pos x="connsiteX59782" y="connsiteY59782"/>
              </a:cxn>
              <a:cxn ang="0">
                <a:pos x="connsiteX59783" y="connsiteY59783"/>
              </a:cxn>
              <a:cxn ang="0">
                <a:pos x="connsiteX59784" y="connsiteY59784"/>
              </a:cxn>
              <a:cxn ang="0">
                <a:pos x="connsiteX59785" y="connsiteY59785"/>
              </a:cxn>
              <a:cxn ang="0">
                <a:pos x="connsiteX59786" y="connsiteY59786"/>
              </a:cxn>
              <a:cxn ang="0">
                <a:pos x="connsiteX59787" y="connsiteY59787"/>
              </a:cxn>
              <a:cxn ang="0">
                <a:pos x="connsiteX59788" y="connsiteY59788"/>
              </a:cxn>
              <a:cxn ang="0">
                <a:pos x="connsiteX59789" y="connsiteY59789"/>
              </a:cxn>
              <a:cxn ang="0">
                <a:pos x="connsiteX59790" y="connsiteY59790"/>
              </a:cxn>
              <a:cxn ang="0">
                <a:pos x="connsiteX59791" y="connsiteY59791"/>
              </a:cxn>
              <a:cxn ang="0">
                <a:pos x="connsiteX59792" y="connsiteY59792"/>
              </a:cxn>
              <a:cxn ang="0">
                <a:pos x="connsiteX59793" y="connsiteY59793"/>
              </a:cxn>
              <a:cxn ang="0">
                <a:pos x="connsiteX59794" y="connsiteY59794"/>
              </a:cxn>
              <a:cxn ang="0">
                <a:pos x="connsiteX59795" y="connsiteY59795"/>
              </a:cxn>
              <a:cxn ang="0">
                <a:pos x="connsiteX59796" y="connsiteY59796"/>
              </a:cxn>
              <a:cxn ang="0">
                <a:pos x="connsiteX59797" y="connsiteY59797"/>
              </a:cxn>
              <a:cxn ang="0">
                <a:pos x="connsiteX59798" y="connsiteY59798"/>
              </a:cxn>
              <a:cxn ang="0">
                <a:pos x="connsiteX59799" y="connsiteY59799"/>
              </a:cxn>
              <a:cxn ang="0">
                <a:pos x="connsiteX59800" y="connsiteY59800"/>
              </a:cxn>
              <a:cxn ang="0">
                <a:pos x="connsiteX59801" y="connsiteY59801"/>
              </a:cxn>
              <a:cxn ang="0">
                <a:pos x="connsiteX59802" y="connsiteY59802"/>
              </a:cxn>
              <a:cxn ang="0">
                <a:pos x="connsiteX59803" y="connsiteY59803"/>
              </a:cxn>
              <a:cxn ang="0">
                <a:pos x="connsiteX59804" y="connsiteY59804"/>
              </a:cxn>
              <a:cxn ang="0">
                <a:pos x="connsiteX59805" y="connsiteY59805"/>
              </a:cxn>
              <a:cxn ang="0">
                <a:pos x="connsiteX59806" y="connsiteY59806"/>
              </a:cxn>
              <a:cxn ang="0">
                <a:pos x="connsiteX59807" y="connsiteY59807"/>
              </a:cxn>
              <a:cxn ang="0">
                <a:pos x="connsiteX59808" y="connsiteY59808"/>
              </a:cxn>
              <a:cxn ang="0">
                <a:pos x="connsiteX59809" y="connsiteY59809"/>
              </a:cxn>
              <a:cxn ang="0">
                <a:pos x="connsiteX59810" y="connsiteY59810"/>
              </a:cxn>
              <a:cxn ang="0">
                <a:pos x="connsiteX59811" y="connsiteY59811"/>
              </a:cxn>
              <a:cxn ang="0">
                <a:pos x="connsiteX59812" y="connsiteY59812"/>
              </a:cxn>
              <a:cxn ang="0">
                <a:pos x="connsiteX59813" y="connsiteY59813"/>
              </a:cxn>
              <a:cxn ang="0">
                <a:pos x="connsiteX59814" y="connsiteY59814"/>
              </a:cxn>
              <a:cxn ang="0">
                <a:pos x="connsiteX59815" y="connsiteY59815"/>
              </a:cxn>
              <a:cxn ang="0">
                <a:pos x="connsiteX59816" y="connsiteY59816"/>
              </a:cxn>
              <a:cxn ang="0">
                <a:pos x="connsiteX59817" y="connsiteY59817"/>
              </a:cxn>
              <a:cxn ang="0">
                <a:pos x="connsiteX59818" y="connsiteY59818"/>
              </a:cxn>
              <a:cxn ang="0">
                <a:pos x="connsiteX59819" y="connsiteY59819"/>
              </a:cxn>
              <a:cxn ang="0">
                <a:pos x="connsiteX59820" y="connsiteY59820"/>
              </a:cxn>
              <a:cxn ang="0">
                <a:pos x="connsiteX59821" y="connsiteY59821"/>
              </a:cxn>
              <a:cxn ang="0">
                <a:pos x="connsiteX59822" y="connsiteY59822"/>
              </a:cxn>
              <a:cxn ang="0">
                <a:pos x="connsiteX59823" y="connsiteY59823"/>
              </a:cxn>
              <a:cxn ang="0">
                <a:pos x="connsiteX59824" y="connsiteY59824"/>
              </a:cxn>
              <a:cxn ang="0">
                <a:pos x="connsiteX59825" y="connsiteY59825"/>
              </a:cxn>
              <a:cxn ang="0">
                <a:pos x="connsiteX59826" y="connsiteY59826"/>
              </a:cxn>
              <a:cxn ang="0">
                <a:pos x="connsiteX59827" y="connsiteY59827"/>
              </a:cxn>
              <a:cxn ang="0">
                <a:pos x="connsiteX59828" y="connsiteY59828"/>
              </a:cxn>
              <a:cxn ang="0">
                <a:pos x="connsiteX59829" y="connsiteY59829"/>
              </a:cxn>
              <a:cxn ang="0">
                <a:pos x="connsiteX59830" y="connsiteY59830"/>
              </a:cxn>
              <a:cxn ang="0">
                <a:pos x="connsiteX59831" y="connsiteY59831"/>
              </a:cxn>
              <a:cxn ang="0">
                <a:pos x="connsiteX59832" y="connsiteY59832"/>
              </a:cxn>
              <a:cxn ang="0">
                <a:pos x="connsiteX59833" y="connsiteY59833"/>
              </a:cxn>
              <a:cxn ang="0">
                <a:pos x="connsiteX59834" y="connsiteY59834"/>
              </a:cxn>
              <a:cxn ang="0">
                <a:pos x="connsiteX59835" y="connsiteY59835"/>
              </a:cxn>
              <a:cxn ang="0">
                <a:pos x="connsiteX59836" y="connsiteY59836"/>
              </a:cxn>
              <a:cxn ang="0">
                <a:pos x="connsiteX59837" y="connsiteY59837"/>
              </a:cxn>
              <a:cxn ang="0">
                <a:pos x="connsiteX59838" y="connsiteY59838"/>
              </a:cxn>
              <a:cxn ang="0">
                <a:pos x="connsiteX59839" y="connsiteY59839"/>
              </a:cxn>
              <a:cxn ang="0">
                <a:pos x="connsiteX59840" y="connsiteY59840"/>
              </a:cxn>
              <a:cxn ang="0">
                <a:pos x="connsiteX59841" y="connsiteY59841"/>
              </a:cxn>
              <a:cxn ang="0">
                <a:pos x="connsiteX59842" y="connsiteY59842"/>
              </a:cxn>
              <a:cxn ang="0">
                <a:pos x="connsiteX59843" y="connsiteY59843"/>
              </a:cxn>
              <a:cxn ang="0">
                <a:pos x="connsiteX59844" y="connsiteY59844"/>
              </a:cxn>
              <a:cxn ang="0">
                <a:pos x="connsiteX59845" y="connsiteY59845"/>
              </a:cxn>
              <a:cxn ang="0">
                <a:pos x="connsiteX59846" y="connsiteY59846"/>
              </a:cxn>
              <a:cxn ang="0">
                <a:pos x="connsiteX59847" y="connsiteY59847"/>
              </a:cxn>
              <a:cxn ang="0">
                <a:pos x="connsiteX59848" y="connsiteY59848"/>
              </a:cxn>
              <a:cxn ang="0">
                <a:pos x="connsiteX59849" y="connsiteY59849"/>
              </a:cxn>
              <a:cxn ang="0">
                <a:pos x="connsiteX59850" y="connsiteY59850"/>
              </a:cxn>
              <a:cxn ang="0">
                <a:pos x="connsiteX59851" y="connsiteY59851"/>
              </a:cxn>
              <a:cxn ang="0">
                <a:pos x="connsiteX59852" y="connsiteY59852"/>
              </a:cxn>
              <a:cxn ang="0">
                <a:pos x="connsiteX59853" y="connsiteY59853"/>
              </a:cxn>
              <a:cxn ang="0">
                <a:pos x="connsiteX59854" y="connsiteY59854"/>
              </a:cxn>
              <a:cxn ang="0">
                <a:pos x="connsiteX59855" y="connsiteY59855"/>
              </a:cxn>
              <a:cxn ang="0">
                <a:pos x="connsiteX59856" y="connsiteY59856"/>
              </a:cxn>
              <a:cxn ang="0">
                <a:pos x="connsiteX59857" y="connsiteY59857"/>
              </a:cxn>
              <a:cxn ang="0">
                <a:pos x="connsiteX59858" y="connsiteY59858"/>
              </a:cxn>
              <a:cxn ang="0">
                <a:pos x="connsiteX59859" y="connsiteY59859"/>
              </a:cxn>
              <a:cxn ang="0">
                <a:pos x="connsiteX59860" y="connsiteY59860"/>
              </a:cxn>
              <a:cxn ang="0">
                <a:pos x="connsiteX59861" y="connsiteY59861"/>
              </a:cxn>
              <a:cxn ang="0">
                <a:pos x="connsiteX59862" y="connsiteY59862"/>
              </a:cxn>
              <a:cxn ang="0">
                <a:pos x="connsiteX59863" y="connsiteY59863"/>
              </a:cxn>
              <a:cxn ang="0">
                <a:pos x="connsiteX59864" y="connsiteY59864"/>
              </a:cxn>
              <a:cxn ang="0">
                <a:pos x="connsiteX59865" y="connsiteY59865"/>
              </a:cxn>
              <a:cxn ang="0">
                <a:pos x="connsiteX59866" y="connsiteY59866"/>
              </a:cxn>
              <a:cxn ang="0">
                <a:pos x="connsiteX59867" y="connsiteY59867"/>
              </a:cxn>
              <a:cxn ang="0">
                <a:pos x="connsiteX59868" y="connsiteY59868"/>
              </a:cxn>
              <a:cxn ang="0">
                <a:pos x="connsiteX59869" y="connsiteY59869"/>
              </a:cxn>
              <a:cxn ang="0">
                <a:pos x="connsiteX59870" y="connsiteY59870"/>
              </a:cxn>
              <a:cxn ang="0">
                <a:pos x="connsiteX59871" y="connsiteY59871"/>
              </a:cxn>
              <a:cxn ang="0">
                <a:pos x="connsiteX59872" y="connsiteY59872"/>
              </a:cxn>
              <a:cxn ang="0">
                <a:pos x="connsiteX59873" y="connsiteY59873"/>
              </a:cxn>
              <a:cxn ang="0">
                <a:pos x="connsiteX59874" y="connsiteY59874"/>
              </a:cxn>
              <a:cxn ang="0">
                <a:pos x="connsiteX59875" y="connsiteY59875"/>
              </a:cxn>
              <a:cxn ang="0">
                <a:pos x="connsiteX59876" y="connsiteY59876"/>
              </a:cxn>
              <a:cxn ang="0">
                <a:pos x="connsiteX59877" y="connsiteY59877"/>
              </a:cxn>
              <a:cxn ang="0">
                <a:pos x="connsiteX59878" y="connsiteY59878"/>
              </a:cxn>
              <a:cxn ang="0">
                <a:pos x="connsiteX59879" y="connsiteY59879"/>
              </a:cxn>
              <a:cxn ang="0">
                <a:pos x="connsiteX59880" y="connsiteY59880"/>
              </a:cxn>
              <a:cxn ang="0">
                <a:pos x="connsiteX59881" y="connsiteY59881"/>
              </a:cxn>
              <a:cxn ang="0">
                <a:pos x="connsiteX59882" y="connsiteY59882"/>
              </a:cxn>
              <a:cxn ang="0">
                <a:pos x="connsiteX59883" y="connsiteY59883"/>
              </a:cxn>
              <a:cxn ang="0">
                <a:pos x="connsiteX59884" y="connsiteY59884"/>
              </a:cxn>
              <a:cxn ang="0">
                <a:pos x="connsiteX59885" y="connsiteY59885"/>
              </a:cxn>
              <a:cxn ang="0">
                <a:pos x="connsiteX59886" y="connsiteY59886"/>
              </a:cxn>
              <a:cxn ang="0">
                <a:pos x="connsiteX59887" y="connsiteY59887"/>
              </a:cxn>
              <a:cxn ang="0">
                <a:pos x="connsiteX59888" y="connsiteY59888"/>
              </a:cxn>
              <a:cxn ang="0">
                <a:pos x="connsiteX59889" y="connsiteY59889"/>
              </a:cxn>
              <a:cxn ang="0">
                <a:pos x="connsiteX59890" y="connsiteY59890"/>
              </a:cxn>
              <a:cxn ang="0">
                <a:pos x="connsiteX59891" y="connsiteY59891"/>
              </a:cxn>
              <a:cxn ang="0">
                <a:pos x="connsiteX59892" y="connsiteY59892"/>
              </a:cxn>
              <a:cxn ang="0">
                <a:pos x="connsiteX59893" y="connsiteY59893"/>
              </a:cxn>
              <a:cxn ang="0">
                <a:pos x="connsiteX59894" y="connsiteY59894"/>
              </a:cxn>
              <a:cxn ang="0">
                <a:pos x="connsiteX59895" y="connsiteY59895"/>
              </a:cxn>
              <a:cxn ang="0">
                <a:pos x="connsiteX59896" y="connsiteY59896"/>
              </a:cxn>
              <a:cxn ang="0">
                <a:pos x="connsiteX59897" y="connsiteY59897"/>
              </a:cxn>
              <a:cxn ang="0">
                <a:pos x="connsiteX59898" y="connsiteY59898"/>
              </a:cxn>
              <a:cxn ang="0">
                <a:pos x="connsiteX59899" y="connsiteY59899"/>
              </a:cxn>
              <a:cxn ang="0">
                <a:pos x="connsiteX59900" y="connsiteY59900"/>
              </a:cxn>
              <a:cxn ang="0">
                <a:pos x="connsiteX59901" y="connsiteY59901"/>
              </a:cxn>
              <a:cxn ang="0">
                <a:pos x="connsiteX59902" y="connsiteY59902"/>
              </a:cxn>
              <a:cxn ang="0">
                <a:pos x="connsiteX59903" y="connsiteY59903"/>
              </a:cxn>
              <a:cxn ang="0">
                <a:pos x="connsiteX59904" y="connsiteY59904"/>
              </a:cxn>
              <a:cxn ang="0">
                <a:pos x="connsiteX59905" y="connsiteY59905"/>
              </a:cxn>
              <a:cxn ang="0">
                <a:pos x="connsiteX59906" y="connsiteY59906"/>
              </a:cxn>
              <a:cxn ang="0">
                <a:pos x="connsiteX59907" y="connsiteY59907"/>
              </a:cxn>
              <a:cxn ang="0">
                <a:pos x="connsiteX59908" y="connsiteY59908"/>
              </a:cxn>
              <a:cxn ang="0">
                <a:pos x="connsiteX59909" y="connsiteY59909"/>
              </a:cxn>
              <a:cxn ang="0">
                <a:pos x="connsiteX59910" y="connsiteY59910"/>
              </a:cxn>
              <a:cxn ang="0">
                <a:pos x="connsiteX59911" y="connsiteY59911"/>
              </a:cxn>
              <a:cxn ang="0">
                <a:pos x="connsiteX59912" y="connsiteY59912"/>
              </a:cxn>
              <a:cxn ang="0">
                <a:pos x="connsiteX59913" y="connsiteY59913"/>
              </a:cxn>
              <a:cxn ang="0">
                <a:pos x="connsiteX59914" y="connsiteY59914"/>
              </a:cxn>
              <a:cxn ang="0">
                <a:pos x="connsiteX59915" y="connsiteY59915"/>
              </a:cxn>
              <a:cxn ang="0">
                <a:pos x="connsiteX59916" y="connsiteY59916"/>
              </a:cxn>
              <a:cxn ang="0">
                <a:pos x="connsiteX59917" y="connsiteY59917"/>
              </a:cxn>
              <a:cxn ang="0">
                <a:pos x="connsiteX59918" y="connsiteY59918"/>
              </a:cxn>
              <a:cxn ang="0">
                <a:pos x="connsiteX59919" y="connsiteY59919"/>
              </a:cxn>
              <a:cxn ang="0">
                <a:pos x="connsiteX59920" y="connsiteY59920"/>
              </a:cxn>
              <a:cxn ang="0">
                <a:pos x="connsiteX59921" y="connsiteY59921"/>
              </a:cxn>
              <a:cxn ang="0">
                <a:pos x="connsiteX59922" y="connsiteY59922"/>
              </a:cxn>
              <a:cxn ang="0">
                <a:pos x="connsiteX59923" y="connsiteY59923"/>
              </a:cxn>
              <a:cxn ang="0">
                <a:pos x="connsiteX59924" y="connsiteY59924"/>
              </a:cxn>
              <a:cxn ang="0">
                <a:pos x="connsiteX59925" y="connsiteY59925"/>
              </a:cxn>
              <a:cxn ang="0">
                <a:pos x="connsiteX59926" y="connsiteY59926"/>
              </a:cxn>
              <a:cxn ang="0">
                <a:pos x="connsiteX59927" y="connsiteY59927"/>
              </a:cxn>
              <a:cxn ang="0">
                <a:pos x="connsiteX59928" y="connsiteY59928"/>
              </a:cxn>
              <a:cxn ang="0">
                <a:pos x="connsiteX59929" y="connsiteY59929"/>
              </a:cxn>
              <a:cxn ang="0">
                <a:pos x="connsiteX59930" y="connsiteY59930"/>
              </a:cxn>
              <a:cxn ang="0">
                <a:pos x="connsiteX59931" y="connsiteY59931"/>
              </a:cxn>
              <a:cxn ang="0">
                <a:pos x="connsiteX59932" y="connsiteY59932"/>
              </a:cxn>
              <a:cxn ang="0">
                <a:pos x="connsiteX59933" y="connsiteY59933"/>
              </a:cxn>
              <a:cxn ang="0">
                <a:pos x="connsiteX59934" y="connsiteY59934"/>
              </a:cxn>
              <a:cxn ang="0">
                <a:pos x="connsiteX59935" y="connsiteY59935"/>
              </a:cxn>
              <a:cxn ang="0">
                <a:pos x="connsiteX59936" y="connsiteY59936"/>
              </a:cxn>
              <a:cxn ang="0">
                <a:pos x="connsiteX59937" y="connsiteY59937"/>
              </a:cxn>
              <a:cxn ang="0">
                <a:pos x="connsiteX59938" y="connsiteY59938"/>
              </a:cxn>
              <a:cxn ang="0">
                <a:pos x="connsiteX59939" y="connsiteY59939"/>
              </a:cxn>
              <a:cxn ang="0">
                <a:pos x="connsiteX59940" y="connsiteY59940"/>
              </a:cxn>
              <a:cxn ang="0">
                <a:pos x="connsiteX59941" y="connsiteY59941"/>
              </a:cxn>
              <a:cxn ang="0">
                <a:pos x="connsiteX59942" y="connsiteY59942"/>
              </a:cxn>
              <a:cxn ang="0">
                <a:pos x="connsiteX59943" y="connsiteY59943"/>
              </a:cxn>
              <a:cxn ang="0">
                <a:pos x="connsiteX59944" y="connsiteY59944"/>
              </a:cxn>
              <a:cxn ang="0">
                <a:pos x="connsiteX59945" y="connsiteY59945"/>
              </a:cxn>
              <a:cxn ang="0">
                <a:pos x="connsiteX59946" y="connsiteY59946"/>
              </a:cxn>
              <a:cxn ang="0">
                <a:pos x="connsiteX59947" y="connsiteY59947"/>
              </a:cxn>
              <a:cxn ang="0">
                <a:pos x="connsiteX59948" y="connsiteY59948"/>
              </a:cxn>
              <a:cxn ang="0">
                <a:pos x="connsiteX59949" y="connsiteY59949"/>
              </a:cxn>
              <a:cxn ang="0">
                <a:pos x="connsiteX59950" y="connsiteY59950"/>
              </a:cxn>
              <a:cxn ang="0">
                <a:pos x="connsiteX59951" y="connsiteY59951"/>
              </a:cxn>
              <a:cxn ang="0">
                <a:pos x="connsiteX59952" y="connsiteY59952"/>
              </a:cxn>
              <a:cxn ang="0">
                <a:pos x="connsiteX59953" y="connsiteY59953"/>
              </a:cxn>
              <a:cxn ang="0">
                <a:pos x="connsiteX59954" y="connsiteY59954"/>
              </a:cxn>
              <a:cxn ang="0">
                <a:pos x="connsiteX59955" y="connsiteY59955"/>
              </a:cxn>
              <a:cxn ang="0">
                <a:pos x="connsiteX59956" y="connsiteY59956"/>
              </a:cxn>
              <a:cxn ang="0">
                <a:pos x="connsiteX59957" y="connsiteY59957"/>
              </a:cxn>
              <a:cxn ang="0">
                <a:pos x="connsiteX59958" y="connsiteY59958"/>
              </a:cxn>
              <a:cxn ang="0">
                <a:pos x="connsiteX59959" y="connsiteY59959"/>
              </a:cxn>
              <a:cxn ang="0">
                <a:pos x="connsiteX59960" y="connsiteY59960"/>
              </a:cxn>
              <a:cxn ang="0">
                <a:pos x="connsiteX59961" y="connsiteY59961"/>
              </a:cxn>
              <a:cxn ang="0">
                <a:pos x="connsiteX59962" y="connsiteY59962"/>
              </a:cxn>
              <a:cxn ang="0">
                <a:pos x="connsiteX59963" y="connsiteY59963"/>
              </a:cxn>
              <a:cxn ang="0">
                <a:pos x="connsiteX59964" y="connsiteY59964"/>
              </a:cxn>
              <a:cxn ang="0">
                <a:pos x="connsiteX59965" y="connsiteY59965"/>
              </a:cxn>
              <a:cxn ang="0">
                <a:pos x="connsiteX59966" y="connsiteY59966"/>
              </a:cxn>
              <a:cxn ang="0">
                <a:pos x="connsiteX59967" y="connsiteY59967"/>
              </a:cxn>
              <a:cxn ang="0">
                <a:pos x="connsiteX59968" y="connsiteY59968"/>
              </a:cxn>
              <a:cxn ang="0">
                <a:pos x="connsiteX59969" y="connsiteY59969"/>
              </a:cxn>
              <a:cxn ang="0">
                <a:pos x="connsiteX59970" y="connsiteY59970"/>
              </a:cxn>
              <a:cxn ang="0">
                <a:pos x="connsiteX59971" y="connsiteY59971"/>
              </a:cxn>
              <a:cxn ang="0">
                <a:pos x="connsiteX59972" y="connsiteY59972"/>
              </a:cxn>
              <a:cxn ang="0">
                <a:pos x="connsiteX59973" y="connsiteY59973"/>
              </a:cxn>
              <a:cxn ang="0">
                <a:pos x="connsiteX59974" y="connsiteY59974"/>
              </a:cxn>
              <a:cxn ang="0">
                <a:pos x="connsiteX59975" y="connsiteY59975"/>
              </a:cxn>
              <a:cxn ang="0">
                <a:pos x="connsiteX59976" y="connsiteY59976"/>
              </a:cxn>
              <a:cxn ang="0">
                <a:pos x="connsiteX59977" y="connsiteY59977"/>
              </a:cxn>
              <a:cxn ang="0">
                <a:pos x="connsiteX59978" y="connsiteY59978"/>
              </a:cxn>
              <a:cxn ang="0">
                <a:pos x="connsiteX59979" y="connsiteY59979"/>
              </a:cxn>
              <a:cxn ang="0">
                <a:pos x="connsiteX59980" y="connsiteY59980"/>
              </a:cxn>
              <a:cxn ang="0">
                <a:pos x="connsiteX59981" y="connsiteY59981"/>
              </a:cxn>
              <a:cxn ang="0">
                <a:pos x="connsiteX59982" y="connsiteY59982"/>
              </a:cxn>
              <a:cxn ang="0">
                <a:pos x="connsiteX59983" y="connsiteY59983"/>
              </a:cxn>
              <a:cxn ang="0">
                <a:pos x="connsiteX59984" y="connsiteY59984"/>
              </a:cxn>
              <a:cxn ang="0">
                <a:pos x="connsiteX59985" y="connsiteY59985"/>
              </a:cxn>
              <a:cxn ang="0">
                <a:pos x="connsiteX59986" y="connsiteY59986"/>
              </a:cxn>
              <a:cxn ang="0">
                <a:pos x="connsiteX59987" y="connsiteY59987"/>
              </a:cxn>
              <a:cxn ang="0">
                <a:pos x="connsiteX59988" y="connsiteY59988"/>
              </a:cxn>
              <a:cxn ang="0">
                <a:pos x="connsiteX59989" y="connsiteY59989"/>
              </a:cxn>
              <a:cxn ang="0">
                <a:pos x="connsiteX59990" y="connsiteY59990"/>
              </a:cxn>
              <a:cxn ang="0">
                <a:pos x="connsiteX59991" y="connsiteY59991"/>
              </a:cxn>
              <a:cxn ang="0">
                <a:pos x="connsiteX59992" y="connsiteY59992"/>
              </a:cxn>
              <a:cxn ang="0">
                <a:pos x="connsiteX59993" y="connsiteY59993"/>
              </a:cxn>
              <a:cxn ang="0">
                <a:pos x="connsiteX59994" y="connsiteY59994"/>
              </a:cxn>
              <a:cxn ang="0">
                <a:pos x="connsiteX59995" y="connsiteY59995"/>
              </a:cxn>
              <a:cxn ang="0">
                <a:pos x="connsiteX59996" y="connsiteY59996"/>
              </a:cxn>
              <a:cxn ang="0">
                <a:pos x="connsiteX59997" y="connsiteY59997"/>
              </a:cxn>
              <a:cxn ang="0">
                <a:pos x="connsiteX59998" y="connsiteY59998"/>
              </a:cxn>
              <a:cxn ang="0">
                <a:pos x="connsiteX59999" y="connsiteY59999"/>
              </a:cxn>
              <a:cxn ang="0">
                <a:pos x="connsiteX60000" y="connsiteY60000"/>
              </a:cxn>
              <a:cxn ang="0">
                <a:pos x="connsiteX60001" y="connsiteY60001"/>
              </a:cxn>
              <a:cxn ang="0">
                <a:pos x="connsiteX60002" y="connsiteY60002"/>
              </a:cxn>
              <a:cxn ang="0">
                <a:pos x="connsiteX60003" y="connsiteY60003"/>
              </a:cxn>
              <a:cxn ang="0">
                <a:pos x="connsiteX60004" y="connsiteY60004"/>
              </a:cxn>
              <a:cxn ang="0">
                <a:pos x="connsiteX60005" y="connsiteY60005"/>
              </a:cxn>
              <a:cxn ang="0">
                <a:pos x="connsiteX60006" y="connsiteY60006"/>
              </a:cxn>
              <a:cxn ang="0">
                <a:pos x="connsiteX60007" y="connsiteY60007"/>
              </a:cxn>
              <a:cxn ang="0">
                <a:pos x="connsiteX60008" y="connsiteY60008"/>
              </a:cxn>
              <a:cxn ang="0">
                <a:pos x="connsiteX60009" y="connsiteY60009"/>
              </a:cxn>
              <a:cxn ang="0">
                <a:pos x="connsiteX60010" y="connsiteY60010"/>
              </a:cxn>
              <a:cxn ang="0">
                <a:pos x="connsiteX60011" y="connsiteY60011"/>
              </a:cxn>
              <a:cxn ang="0">
                <a:pos x="connsiteX60012" y="connsiteY60012"/>
              </a:cxn>
              <a:cxn ang="0">
                <a:pos x="connsiteX60013" y="connsiteY60013"/>
              </a:cxn>
              <a:cxn ang="0">
                <a:pos x="connsiteX60014" y="connsiteY60014"/>
              </a:cxn>
              <a:cxn ang="0">
                <a:pos x="connsiteX60015" y="connsiteY60015"/>
              </a:cxn>
              <a:cxn ang="0">
                <a:pos x="connsiteX60016" y="connsiteY60016"/>
              </a:cxn>
              <a:cxn ang="0">
                <a:pos x="connsiteX60017" y="connsiteY60017"/>
              </a:cxn>
              <a:cxn ang="0">
                <a:pos x="connsiteX60018" y="connsiteY60018"/>
              </a:cxn>
              <a:cxn ang="0">
                <a:pos x="connsiteX60019" y="connsiteY60019"/>
              </a:cxn>
              <a:cxn ang="0">
                <a:pos x="connsiteX60020" y="connsiteY60020"/>
              </a:cxn>
              <a:cxn ang="0">
                <a:pos x="connsiteX60021" y="connsiteY60021"/>
              </a:cxn>
              <a:cxn ang="0">
                <a:pos x="connsiteX60022" y="connsiteY60022"/>
              </a:cxn>
              <a:cxn ang="0">
                <a:pos x="connsiteX60023" y="connsiteY60023"/>
              </a:cxn>
              <a:cxn ang="0">
                <a:pos x="connsiteX60024" y="connsiteY60024"/>
              </a:cxn>
              <a:cxn ang="0">
                <a:pos x="connsiteX60025" y="connsiteY60025"/>
              </a:cxn>
              <a:cxn ang="0">
                <a:pos x="connsiteX60026" y="connsiteY60026"/>
              </a:cxn>
              <a:cxn ang="0">
                <a:pos x="connsiteX60027" y="connsiteY60027"/>
              </a:cxn>
              <a:cxn ang="0">
                <a:pos x="connsiteX60028" y="connsiteY60028"/>
              </a:cxn>
              <a:cxn ang="0">
                <a:pos x="connsiteX60029" y="connsiteY60029"/>
              </a:cxn>
              <a:cxn ang="0">
                <a:pos x="connsiteX60030" y="connsiteY60030"/>
              </a:cxn>
              <a:cxn ang="0">
                <a:pos x="connsiteX60031" y="connsiteY60031"/>
              </a:cxn>
              <a:cxn ang="0">
                <a:pos x="connsiteX60032" y="connsiteY60032"/>
              </a:cxn>
              <a:cxn ang="0">
                <a:pos x="connsiteX60033" y="connsiteY60033"/>
              </a:cxn>
              <a:cxn ang="0">
                <a:pos x="connsiteX60034" y="connsiteY60034"/>
              </a:cxn>
              <a:cxn ang="0">
                <a:pos x="connsiteX60035" y="connsiteY60035"/>
              </a:cxn>
              <a:cxn ang="0">
                <a:pos x="connsiteX60036" y="connsiteY60036"/>
              </a:cxn>
              <a:cxn ang="0">
                <a:pos x="connsiteX60037" y="connsiteY60037"/>
              </a:cxn>
              <a:cxn ang="0">
                <a:pos x="connsiteX60038" y="connsiteY60038"/>
              </a:cxn>
              <a:cxn ang="0">
                <a:pos x="connsiteX60039" y="connsiteY60039"/>
              </a:cxn>
              <a:cxn ang="0">
                <a:pos x="connsiteX60040" y="connsiteY60040"/>
              </a:cxn>
              <a:cxn ang="0">
                <a:pos x="connsiteX60041" y="connsiteY60041"/>
              </a:cxn>
              <a:cxn ang="0">
                <a:pos x="connsiteX60042" y="connsiteY60042"/>
              </a:cxn>
              <a:cxn ang="0">
                <a:pos x="connsiteX60043" y="connsiteY60043"/>
              </a:cxn>
              <a:cxn ang="0">
                <a:pos x="connsiteX60044" y="connsiteY60044"/>
              </a:cxn>
              <a:cxn ang="0">
                <a:pos x="connsiteX60045" y="connsiteY60045"/>
              </a:cxn>
              <a:cxn ang="0">
                <a:pos x="connsiteX60046" y="connsiteY60046"/>
              </a:cxn>
              <a:cxn ang="0">
                <a:pos x="connsiteX60047" y="connsiteY60047"/>
              </a:cxn>
              <a:cxn ang="0">
                <a:pos x="connsiteX60048" y="connsiteY60048"/>
              </a:cxn>
              <a:cxn ang="0">
                <a:pos x="connsiteX60049" y="connsiteY60049"/>
              </a:cxn>
              <a:cxn ang="0">
                <a:pos x="connsiteX60050" y="connsiteY60050"/>
              </a:cxn>
              <a:cxn ang="0">
                <a:pos x="connsiteX60051" y="connsiteY60051"/>
              </a:cxn>
              <a:cxn ang="0">
                <a:pos x="connsiteX60052" y="connsiteY60052"/>
              </a:cxn>
              <a:cxn ang="0">
                <a:pos x="connsiteX60053" y="connsiteY60053"/>
              </a:cxn>
              <a:cxn ang="0">
                <a:pos x="connsiteX60054" y="connsiteY60054"/>
              </a:cxn>
              <a:cxn ang="0">
                <a:pos x="connsiteX60055" y="connsiteY60055"/>
              </a:cxn>
              <a:cxn ang="0">
                <a:pos x="connsiteX60056" y="connsiteY60056"/>
              </a:cxn>
              <a:cxn ang="0">
                <a:pos x="connsiteX60057" y="connsiteY60057"/>
              </a:cxn>
              <a:cxn ang="0">
                <a:pos x="connsiteX60058" y="connsiteY60058"/>
              </a:cxn>
              <a:cxn ang="0">
                <a:pos x="connsiteX60059" y="connsiteY60059"/>
              </a:cxn>
              <a:cxn ang="0">
                <a:pos x="connsiteX60060" y="connsiteY60060"/>
              </a:cxn>
              <a:cxn ang="0">
                <a:pos x="connsiteX60061" y="connsiteY60061"/>
              </a:cxn>
              <a:cxn ang="0">
                <a:pos x="connsiteX60062" y="connsiteY60062"/>
              </a:cxn>
              <a:cxn ang="0">
                <a:pos x="connsiteX60063" y="connsiteY60063"/>
              </a:cxn>
              <a:cxn ang="0">
                <a:pos x="connsiteX60064" y="connsiteY60064"/>
              </a:cxn>
              <a:cxn ang="0">
                <a:pos x="connsiteX60065" y="connsiteY60065"/>
              </a:cxn>
              <a:cxn ang="0">
                <a:pos x="connsiteX60066" y="connsiteY60066"/>
              </a:cxn>
              <a:cxn ang="0">
                <a:pos x="connsiteX60067" y="connsiteY60067"/>
              </a:cxn>
              <a:cxn ang="0">
                <a:pos x="connsiteX60068" y="connsiteY60068"/>
              </a:cxn>
              <a:cxn ang="0">
                <a:pos x="connsiteX60069" y="connsiteY60069"/>
              </a:cxn>
              <a:cxn ang="0">
                <a:pos x="connsiteX60070" y="connsiteY60070"/>
              </a:cxn>
              <a:cxn ang="0">
                <a:pos x="connsiteX60071" y="connsiteY60071"/>
              </a:cxn>
              <a:cxn ang="0">
                <a:pos x="connsiteX60072" y="connsiteY60072"/>
              </a:cxn>
              <a:cxn ang="0">
                <a:pos x="connsiteX60073" y="connsiteY60073"/>
              </a:cxn>
              <a:cxn ang="0">
                <a:pos x="connsiteX60074" y="connsiteY60074"/>
              </a:cxn>
              <a:cxn ang="0">
                <a:pos x="connsiteX60075" y="connsiteY60075"/>
              </a:cxn>
              <a:cxn ang="0">
                <a:pos x="connsiteX60076" y="connsiteY60076"/>
              </a:cxn>
              <a:cxn ang="0">
                <a:pos x="connsiteX60077" y="connsiteY60077"/>
              </a:cxn>
              <a:cxn ang="0">
                <a:pos x="connsiteX60078" y="connsiteY60078"/>
              </a:cxn>
              <a:cxn ang="0">
                <a:pos x="connsiteX60079" y="connsiteY60079"/>
              </a:cxn>
              <a:cxn ang="0">
                <a:pos x="connsiteX60080" y="connsiteY60080"/>
              </a:cxn>
              <a:cxn ang="0">
                <a:pos x="connsiteX60081" y="connsiteY60081"/>
              </a:cxn>
              <a:cxn ang="0">
                <a:pos x="connsiteX60082" y="connsiteY60082"/>
              </a:cxn>
              <a:cxn ang="0">
                <a:pos x="connsiteX60083" y="connsiteY60083"/>
              </a:cxn>
              <a:cxn ang="0">
                <a:pos x="connsiteX60084" y="connsiteY60084"/>
              </a:cxn>
              <a:cxn ang="0">
                <a:pos x="connsiteX60085" y="connsiteY60085"/>
              </a:cxn>
              <a:cxn ang="0">
                <a:pos x="connsiteX60086" y="connsiteY60086"/>
              </a:cxn>
              <a:cxn ang="0">
                <a:pos x="connsiteX60087" y="connsiteY60087"/>
              </a:cxn>
              <a:cxn ang="0">
                <a:pos x="connsiteX60088" y="connsiteY60088"/>
              </a:cxn>
              <a:cxn ang="0">
                <a:pos x="connsiteX60089" y="connsiteY60089"/>
              </a:cxn>
              <a:cxn ang="0">
                <a:pos x="connsiteX60090" y="connsiteY60090"/>
              </a:cxn>
              <a:cxn ang="0">
                <a:pos x="connsiteX60091" y="connsiteY60091"/>
              </a:cxn>
              <a:cxn ang="0">
                <a:pos x="connsiteX60092" y="connsiteY60092"/>
              </a:cxn>
              <a:cxn ang="0">
                <a:pos x="connsiteX60093" y="connsiteY60093"/>
              </a:cxn>
              <a:cxn ang="0">
                <a:pos x="connsiteX60094" y="connsiteY60094"/>
              </a:cxn>
              <a:cxn ang="0">
                <a:pos x="connsiteX60095" y="connsiteY60095"/>
              </a:cxn>
              <a:cxn ang="0">
                <a:pos x="connsiteX60096" y="connsiteY60096"/>
              </a:cxn>
              <a:cxn ang="0">
                <a:pos x="connsiteX60097" y="connsiteY60097"/>
              </a:cxn>
              <a:cxn ang="0">
                <a:pos x="connsiteX60098" y="connsiteY60098"/>
              </a:cxn>
              <a:cxn ang="0">
                <a:pos x="connsiteX60099" y="connsiteY60099"/>
              </a:cxn>
              <a:cxn ang="0">
                <a:pos x="connsiteX60100" y="connsiteY60100"/>
              </a:cxn>
              <a:cxn ang="0">
                <a:pos x="connsiteX60101" y="connsiteY60101"/>
              </a:cxn>
              <a:cxn ang="0">
                <a:pos x="connsiteX60102" y="connsiteY60102"/>
              </a:cxn>
              <a:cxn ang="0">
                <a:pos x="connsiteX60103" y="connsiteY60103"/>
              </a:cxn>
              <a:cxn ang="0">
                <a:pos x="connsiteX60104" y="connsiteY60104"/>
              </a:cxn>
              <a:cxn ang="0">
                <a:pos x="connsiteX60105" y="connsiteY60105"/>
              </a:cxn>
              <a:cxn ang="0">
                <a:pos x="connsiteX60106" y="connsiteY60106"/>
              </a:cxn>
              <a:cxn ang="0">
                <a:pos x="connsiteX60107" y="connsiteY60107"/>
              </a:cxn>
              <a:cxn ang="0">
                <a:pos x="connsiteX60108" y="connsiteY60108"/>
              </a:cxn>
              <a:cxn ang="0">
                <a:pos x="connsiteX60109" y="connsiteY60109"/>
              </a:cxn>
              <a:cxn ang="0">
                <a:pos x="connsiteX60110" y="connsiteY60110"/>
              </a:cxn>
              <a:cxn ang="0">
                <a:pos x="connsiteX60111" y="connsiteY60111"/>
              </a:cxn>
              <a:cxn ang="0">
                <a:pos x="connsiteX60112" y="connsiteY60112"/>
              </a:cxn>
              <a:cxn ang="0">
                <a:pos x="connsiteX60113" y="connsiteY60113"/>
              </a:cxn>
              <a:cxn ang="0">
                <a:pos x="connsiteX60114" y="connsiteY60114"/>
              </a:cxn>
              <a:cxn ang="0">
                <a:pos x="connsiteX60115" y="connsiteY60115"/>
              </a:cxn>
              <a:cxn ang="0">
                <a:pos x="connsiteX60116" y="connsiteY60116"/>
              </a:cxn>
              <a:cxn ang="0">
                <a:pos x="connsiteX60117" y="connsiteY60117"/>
              </a:cxn>
              <a:cxn ang="0">
                <a:pos x="connsiteX60118" y="connsiteY60118"/>
              </a:cxn>
              <a:cxn ang="0">
                <a:pos x="connsiteX60119" y="connsiteY60119"/>
              </a:cxn>
              <a:cxn ang="0">
                <a:pos x="connsiteX60120" y="connsiteY60120"/>
              </a:cxn>
              <a:cxn ang="0">
                <a:pos x="connsiteX60121" y="connsiteY60121"/>
              </a:cxn>
              <a:cxn ang="0">
                <a:pos x="connsiteX60122" y="connsiteY60122"/>
              </a:cxn>
              <a:cxn ang="0">
                <a:pos x="connsiteX60123" y="connsiteY60123"/>
              </a:cxn>
              <a:cxn ang="0">
                <a:pos x="connsiteX60124" y="connsiteY60124"/>
              </a:cxn>
              <a:cxn ang="0">
                <a:pos x="connsiteX60125" y="connsiteY60125"/>
              </a:cxn>
              <a:cxn ang="0">
                <a:pos x="connsiteX60126" y="connsiteY60126"/>
              </a:cxn>
              <a:cxn ang="0">
                <a:pos x="connsiteX60127" y="connsiteY60127"/>
              </a:cxn>
              <a:cxn ang="0">
                <a:pos x="connsiteX60128" y="connsiteY60128"/>
              </a:cxn>
              <a:cxn ang="0">
                <a:pos x="connsiteX60129" y="connsiteY60129"/>
              </a:cxn>
              <a:cxn ang="0">
                <a:pos x="connsiteX60130" y="connsiteY60130"/>
              </a:cxn>
              <a:cxn ang="0">
                <a:pos x="connsiteX60131" y="connsiteY60131"/>
              </a:cxn>
              <a:cxn ang="0">
                <a:pos x="connsiteX60132" y="connsiteY60132"/>
              </a:cxn>
              <a:cxn ang="0">
                <a:pos x="connsiteX60133" y="connsiteY60133"/>
              </a:cxn>
              <a:cxn ang="0">
                <a:pos x="connsiteX60134" y="connsiteY60134"/>
              </a:cxn>
              <a:cxn ang="0">
                <a:pos x="connsiteX60135" y="connsiteY60135"/>
              </a:cxn>
              <a:cxn ang="0">
                <a:pos x="connsiteX60136" y="connsiteY60136"/>
              </a:cxn>
              <a:cxn ang="0">
                <a:pos x="connsiteX60137" y="connsiteY60137"/>
              </a:cxn>
              <a:cxn ang="0">
                <a:pos x="connsiteX60138" y="connsiteY60138"/>
              </a:cxn>
              <a:cxn ang="0">
                <a:pos x="connsiteX60139" y="connsiteY60139"/>
              </a:cxn>
              <a:cxn ang="0">
                <a:pos x="connsiteX60140" y="connsiteY60140"/>
              </a:cxn>
              <a:cxn ang="0">
                <a:pos x="connsiteX60141" y="connsiteY60141"/>
              </a:cxn>
              <a:cxn ang="0">
                <a:pos x="connsiteX60142" y="connsiteY60142"/>
              </a:cxn>
              <a:cxn ang="0">
                <a:pos x="connsiteX60143" y="connsiteY60143"/>
              </a:cxn>
              <a:cxn ang="0">
                <a:pos x="connsiteX60144" y="connsiteY60144"/>
              </a:cxn>
              <a:cxn ang="0">
                <a:pos x="connsiteX60145" y="connsiteY60145"/>
              </a:cxn>
              <a:cxn ang="0">
                <a:pos x="connsiteX60146" y="connsiteY60146"/>
              </a:cxn>
              <a:cxn ang="0">
                <a:pos x="connsiteX60147" y="connsiteY60147"/>
              </a:cxn>
              <a:cxn ang="0">
                <a:pos x="connsiteX60148" y="connsiteY60148"/>
              </a:cxn>
              <a:cxn ang="0">
                <a:pos x="connsiteX60149" y="connsiteY60149"/>
              </a:cxn>
              <a:cxn ang="0">
                <a:pos x="connsiteX60150" y="connsiteY60150"/>
              </a:cxn>
              <a:cxn ang="0">
                <a:pos x="connsiteX60151" y="connsiteY60151"/>
              </a:cxn>
              <a:cxn ang="0">
                <a:pos x="connsiteX60152" y="connsiteY60152"/>
              </a:cxn>
              <a:cxn ang="0">
                <a:pos x="connsiteX60153" y="connsiteY60153"/>
              </a:cxn>
              <a:cxn ang="0">
                <a:pos x="connsiteX60154" y="connsiteY60154"/>
              </a:cxn>
              <a:cxn ang="0">
                <a:pos x="connsiteX60155" y="connsiteY60155"/>
              </a:cxn>
              <a:cxn ang="0">
                <a:pos x="connsiteX60156" y="connsiteY60156"/>
              </a:cxn>
              <a:cxn ang="0">
                <a:pos x="connsiteX60157" y="connsiteY60157"/>
              </a:cxn>
              <a:cxn ang="0">
                <a:pos x="connsiteX60158" y="connsiteY60158"/>
              </a:cxn>
              <a:cxn ang="0">
                <a:pos x="connsiteX60159" y="connsiteY60159"/>
              </a:cxn>
              <a:cxn ang="0">
                <a:pos x="connsiteX60160" y="connsiteY60160"/>
              </a:cxn>
              <a:cxn ang="0">
                <a:pos x="connsiteX60161" y="connsiteY60161"/>
              </a:cxn>
              <a:cxn ang="0">
                <a:pos x="connsiteX60162" y="connsiteY60162"/>
              </a:cxn>
              <a:cxn ang="0">
                <a:pos x="connsiteX60163" y="connsiteY60163"/>
              </a:cxn>
              <a:cxn ang="0">
                <a:pos x="connsiteX60164" y="connsiteY60164"/>
              </a:cxn>
              <a:cxn ang="0">
                <a:pos x="connsiteX60165" y="connsiteY60165"/>
              </a:cxn>
              <a:cxn ang="0">
                <a:pos x="connsiteX60166" y="connsiteY60166"/>
              </a:cxn>
              <a:cxn ang="0">
                <a:pos x="connsiteX60167" y="connsiteY60167"/>
              </a:cxn>
              <a:cxn ang="0">
                <a:pos x="connsiteX60168" y="connsiteY60168"/>
              </a:cxn>
              <a:cxn ang="0">
                <a:pos x="connsiteX60169" y="connsiteY60169"/>
              </a:cxn>
              <a:cxn ang="0">
                <a:pos x="connsiteX60170" y="connsiteY60170"/>
              </a:cxn>
              <a:cxn ang="0">
                <a:pos x="connsiteX60171" y="connsiteY60171"/>
              </a:cxn>
              <a:cxn ang="0">
                <a:pos x="connsiteX60172" y="connsiteY60172"/>
              </a:cxn>
              <a:cxn ang="0">
                <a:pos x="connsiteX60173" y="connsiteY60173"/>
              </a:cxn>
              <a:cxn ang="0">
                <a:pos x="connsiteX60174" y="connsiteY60174"/>
              </a:cxn>
              <a:cxn ang="0">
                <a:pos x="connsiteX60175" y="connsiteY60175"/>
              </a:cxn>
              <a:cxn ang="0">
                <a:pos x="connsiteX60176" y="connsiteY60176"/>
              </a:cxn>
              <a:cxn ang="0">
                <a:pos x="connsiteX60177" y="connsiteY60177"/>
              </a:cxn>
              <a:cxn ang="0">
                <a:pos x="connsiteX60178" y="connsiteY60178"/>
              </a:cxn>
              <a:cxn ang="0">
                <a:pos x="connsiteX60179" y="connsiteY60179"/>
              </a:cxn>
              <a:cxn ang="0">
                <a:pos x="connsiteX60180" y="connsiteY60180"/>
              </a:cxn>
              <a:cxn ang="0">
                <a:pos x="connsiteX60181" y="connsiteY60181"/>
              </a:cxn>
              <a:cxn ang="0">
                <a:pos x="connsiteX60182" y="connsiteY60182"/>
              </a:cxn>
              <a:cxn ang="0">
                <a:pos x="connsiteX60183" y="connsiteY60183"/>
              </a:cxn>
              <a:cxn ang="0">
                <a:pos x="connsiteX60184" y="connsiteY60184"/>
              </a:cxn>
              <a:cxn ang="0">
                <a:pos x="connsiteX60185" y="connsiteY60185"/>
              </a:cxn>
              <a:cxn ang="0">
                <a:pos x="connsiteX60186" y="connsiteY60186"/>
              </a:cxn>
              <a:cxn ang="0">
                <a:pos x="connsiteX60187" y="connsiteY60187"/>
              </a:cxn>
              <a:cxn ang="0">
                <a:pos x="connsiteX60188" y="connsiteY60188"/>
              </a:cxn>
              <a:cxn ang="0">
                <a:pos x="connsiteX60189" y="connsiteY60189"/>
              </a:cxn>
              <a:cxn ang="0">
                <a:pos x="connsiteX60190" y="connsiteY60190"/>
              </a:cxn>
              <a:cxn ang="0">
                <a:pos x="connsiteX60191" y="connsiteY60191"/>
              </a:cxn>
              <a:cxn ang="0">
                <a:pos x="connsiteX60192" y="connsiteY60192"/>
              </a:cxn>
              <a:cxn ang="0">
                <a:pos x="connsiteX60193" y="connsiteY60193"/>
              </a:cxn>
              <a:cxn ang="0">
                <a:pos x="connsiteX60194" y="connsiteY60194"/>
              </a:cxn>
              <a:cxn ang="0">
                <a:pos x="connsiteX60195" y="connsiteY60195"/>
              </a:cxn>
              <a:cxn ang="0">
                <a:pos x="connsiteX60196" y="connsiteY60196"/>
              </a:cxn>
              <a:cxn ang="0">
                <a:pos x="connsiteX60197" y="connsiteY60197"/>
              </a:cxn>
              <a:cxn ang="0">
                <a:pos x="connsiteX60198" y="connsiteY60198"/>
              </a:cxn>
              <a:cxn ang="0">
                <a:pos x="connsiteX60199" y="connsiteY60199"/>
              </a:cxn>
              <a:cxn ang="0">
                <a:pos x="connsiteX60200" y="connsiteY60200"/>
              </a:cxn>
              <a:cxn ang="0">
                <a:pos x="connsiteX60201" y="connsiteY60201"/>
              </a:cxn>
              <a:cxn ang="0">
                <a:pos x="connsiteX60202" y="connsiteY60202"/>
              </a:cxn>
              <a:cxn ang="0">
                <a:pos x="connsiteX60203" y="connsiteY60203"/>
              </a:cxn>
              <a:cxn ang="0">
                <a:pos x="connsiteX60204" y="connsiteY60204"/>
              </a:cxn>
              <a:cxn ang="0">
                <a:pos x="connsiteX60205" y="connsiteY60205"/>
              </a:cxn>
              <a:cxn ang="0">
                <a:pos x="connsiteX60206" y="connsiteY60206"/>
              </a:cxn>
              <a:cxn ang="0">
                <a:pos x="connsiteX60207" y="connsiteY60207"/>
              </a:cxn>
              <a:cxn ang="0">
                <a:pos x="connsiteX60208" y="connsiteY60208"/>
              </a:cxn>
              <a:cxn ang="0">
                <a:pos x="connsiteX60209" y="connsiteY60209"/>
              </a:cxn>
              <a:cxn ang="0">
                <a:pos x="connsiteX60210" y="connsiteY60210"/>
              </a:cxn>
              <a:cxn ang="0">
                <a:pos x="connsiteX60211" y="connsiteY60211"/>
              </a:cxn>
              <a:cxn ang="0">
                <a:pos x="connsiteX60212" y="connsiteY60212"/>
              </a:cxn>
              <a:cxn ang="0">
                <a:pos x="connsiteX60213" y="connsiteY60213"/>
              </a:cxn>
              <a:cxn ang="0">
                <a:pos x="connsiteX60214" y="connsiteY60214"/>
              </a:cxn>
              <a:cxn ang="0">
                <a:pos x="connsiteX60215" y="connsiteY60215"/>
              </a:cxn>
              <a:cxn ang="0">
                <a:pos x="connsiteX60216" y="connsiteY60216"/>
              </a:cxn>
              <a:cxn ang="0">
                <a:pos x="connsiteX60217" y="connsiteY60217"/>
              </a:cxn>
              <a:cxn ang="0">
                <a:pos x="connsiteX60218" y="connsiteY60218"/>
              </a:cxn>
              <a:cxn ang="0">
                <a:pos x="connsiteX60219" y="connsiteY60219"/>
              </a:cxn>
              <a:cxn ang="0">
                <a:pos x="connsiteX60220" y="connsiteY60220"/>
              </a:cxn>
              <a:cxn ang="0">
                <a:pos x="connsiteX60221" y="connsiteY60221"/>
              </a:cxn>
              <a:cxn ang="0">
                <a:pos x="connsiteX60222" y="connsiteY60222"/>
              </a:cxn>
              <a:cxn ang="0">
                <a:pos x="connsiteX60223" y="connsiteY60223"/>
              </a:cxn>
              <a:cxn ang="0">
                <a:pos x="connsiteX60224" y="connsiteY60224"/>
              </a:cxn>
              <a:cxn ang="0">
                <a:pos x="connsiteX60225" y="connsiteY60225"/>
              </a:cxn>
              <a:cxn ang="0">
                <a:pos x="connsiteX60226" y="connsiteY60226"/>
              </a:cxn>
              <a:cxn ang="0">
                <a:pos x="connsiteX60227" y="connsiteY60227"/>
              </a:cxn>
              <a:cxn ang="0">
                <a:pos x="connsiteX60228" y="connsiteY60228"/>
              </a:cxn>
              <a:cxn ang="0">
                <a:pos x="connsiteX60229" y="connsiteY60229"/>
              </a:cxn>
              <a:cxn ang="0">
                <a:pos x="connsiteX60230" y="connsiteY60230"/>
              </a:cxn>
              <a:cxn ang="0">
                <a:pos x="connsiteX60231" y="connsiteY60231"/>
              </a:cxn>
              <a:cxn ang="0">
                <a:pos x="connsiteX60232" y="connsiteY60232"/>
              </a:cxn>
              <a:cxn ang="0">
                <a:pos x="connsiteX60233" y="connsiteY60233"/>
              </a:cxn>
              <a:cxn ang="0">
                <a:pos x="connsiteX60234" y="connsiteY60234"/>
              </a:cxn>
              <a:cxn ang="0">
                <a:pos x="connsiteX60235" y="connsiteY60235"/>
              </a:cxn>
              <a:cxn ang="0">
                <a:pos x="connsiteX60236" y="connsiteY60236"/>
              </a:cxn>
              <a:cxn ang="0">
                <a:pos x="connsiteX60237" y="connsiteY60237"/>
              </a:cxn>
              <a:cxn ang="0">
                <a:pos x="connsiteX60238" y="connsiteY60238"/>
              </a:cxn>
              <a:cxn ang="0">
                <a:pos x="connsiteX60239" y="connsiteY60239"/>
              </a:cxn>
              <a:cxn ang="0">
                <a:pos x="connsiteX60240" y="connsiteY60240"/>
              </a:cxn>
              <a:cxn ang="0">
                <a:pos x="connsiteX60241" y="connsiteY60241"/>
              </a:cxn>
              <a:cxn ang="0">
                <a:pos x="connsiteX60242" y="connsiteY60242"/>
              </a:cxn>
              <a:cxn ang="0">
                <a:pos x="connsiteX60243" y="connsiteY60243"/>
              </a:cxn>
              <a:cxn ang="0">
                <a:pos x="connsiteX60244" y="connsiteY60244"/>
              </a:cxn>
              <a:cxn ang="0">
                <a:pos x="connsiteX60245" y="connsiteY60245"/>
              </a:cxn>
              <a:cxn ang="0">
                <a:pos x="connsiteX60246" y="connsiteY60246"/>
              </a:cxn>
              <a:cxn ang="0">
                <a:pos x="connsiteX60247" y="connsiteY60247"/>
              </a:cxn>
              <a:cxn ang="0">
                <a:pos x="connsiteX60248" y="connsiteY60248"/>
              </a:cxn>
              <a:cxn ang="0">
                <a:pos x="connsiteX60249" y="connsiteY60249"/>
              </a:cxn>
              <a:cxn ang="0">
                <a:pos x="connsiteX60250" y="connsiteY60250"/>
              </a:cxn>
              <a:cxn ang="0">
                <a:pos x="connsiteX60251" y="connsiteY60251"/>
              </a:cxn>
              <a:cxn ang="0">
                <a:pos x="connsiteX60252" y="connsiteY60252"/>
              </a:cxn>
              <a:cxn ang="0">
                <a:pos x="connsiteX60253" y="connsiteY60253"/>
              </a:cxn>
              <a:cxn ang="0">
                <a:pos x="connsiteX60254" y="connsiteY60254"/>
              </a:cxn>
              <a:cxn ang="0">
                <a:pos x="connsiteX60255" y="connsiteY60255"/>
              </a:cxn>
              <a:cxn ang="0">
                <a:pos x="connsiteX60256" y="connsiteY60256"/>
              </a:cxn>
              <a:cxn ang="0">
                <a:pos x="connsiteX60257" y="connsiteY60257"/>
              </a:cxn>
              <a:cxn ang="0">
                <a:pos x="connsiteX60258" y="connsiteY60258"/>
              </a:cxn>
              <a:cxn ang="0">
                <a:pos x="connsiteX60259" y="connsiteY60259"/>
              </a:cxn>
              <a:cxn ang="0">
                <a:pos x="connsiteX60260" y="connsiteY60260"/>
              </a:cxn>
              <a:cxn ang="0">
                <a:pos x="connsiteX60261" y="connsiteY60261"/>
              </a:cxn>
              <a:cxn ang="0">
                <a:pos x="connsiteX60262" y="connsiteY60262"/>
              </a:cxn>
              <a:cxn ang="0">
                <a:pos x="connsiteX60263" y="connsiteY60263"/>
              </a:cxn>
              <a:cxn ang="0">
                <a:pos x="connsiteX60264" y="connsiteY60264"/>
              </a:cxn>
              <a:cxn ang="0">
                <a:pos x="connsiteX60265" y="connsiteY60265"/>
              </a:cxn>
              <a:cxn ang="0">
                <a:pos x="connsiteX60266" y="connsiteY60266"/>
              </a:cxn>
              <a:cxn ang="0">
                <a:pos x="connsiteX60267" y="connsiteY60267"/>
              </a:cxn>
              <a:cxn ang="0">
                <a:pos x="connsiteX60268" y="connsiteY60268"/>
              </a:cxn>
              <a:cxn ang="0">
                <a:pos x="connsiteX60269" y="connsiteY60269"/>
              </a:cxn>
              <a:cxn ang="0">
                <a:pos x="connsiteX60270" y="connsiteY60270"/>
              </a:cxn>
              <a:cxn ang="0">
                <a:pos x="connsiteX60271" y="connsiteY60271"/>
              </a:cxn>
              <a:cxn ang="0">
                <a:pos x="connsiteX60272" y="connsiteY60272"/>
              </a:cxn>
              <a:cxn ang="0">
                <a:pos x="connsiteX60273" y="connsiteY60273"/>
              </a:cxn>
              <a:cxn ang="0">
                <a:pos x="connsiteX60274" y="connsiteY60274"/>
              </a:cxn>
              <a:cxn ang="0">
                <a:pos x="connsiteX60275" y="connsiteY60275"/>
              </a:cxn>
              <a:cxn ang="0">
                <a:pos x="connsiteX60276" y="connsiteY60276"/>
              </a:cxn>
              <a:cxn ang="0">
                <a:pos x="connsiteX60277" y="connsiteY60277"/>
              </a:cxn>
              <a:cxn ang="0">
                <a:pos x="connsiteX60278" y="connsiteY60278"/>
              </a:cxn>
              <a:cxn ang="0">
                <a:pos x="connsiteX60279" y="connsiteY60279"/>
              </a:cxn>
              <a:cxn ang="0">
                <a:pos x="connsiteX60280" y="connsiteY60280"/>
              </a:cxn>
              <a:cxn ang="0">
                <a:pos x="connsiteX60281" y="connsiteY60281"/>
              </a:cxn>
              <a:cxn ang="0">
                <a:pos x="connsiteX60282" y="connsiteY60282"/>
              </a:cxn>
              <a:cxn ang="0">
                <a:pos x="connsiteX60283" y="connsiteY60283"/>
              </a:cxn>
              <a:cxn ang="0">
                <a:pos x="connsiteX60284" y="connsiteY60284"/>
              </a:cxn>
              <a:cxn ang="0">
                <a:pos x="connsiteX60285" y="connsiteY60285"/>
              </a:cxn>
              <a:cxn ang="0">
                <a:pos x="connsiteX60286" y="connsiteY60286"/>
              </a:cxn>
              <a:cxn ang="0">
                <a:pos x="connsiteX60287" y="connsiteY60287"/>
              </a:cxn>
              <a:cxn ang="0">
                <a:pos x="connsiteX60288" y="connsiteY60288"/>
              </a:cxn>
              <a:cxn ang="0">
                <a:pos x="connsiteX60289" y="connsiteY60289"/>
              </a:cxn>
              <a:cxn ang="0">
                <a:pos x="connsiteX60290" y="connsiteY60290"/>
              </a:cxn>
              <a:cxn ang="0">
                <a:pos x="connsiteX60291" y="connsiteY60291"/>
              </a:cxn>
              <a:cxn ang="0">
                <a:pos x="connsiteX60292" y="connsiteY60292"/>
              </a:cxn>
              <a:cxn ang="0">
                <a:pos x="connsiteX60293" y="connsiteY60293"/>
              </a:cxn>
              <a:cxn ang="0">
                <a:pos x="connsiteX60294" y="connsiteY60294"/>
              </a:cxn>
              <a:cxn ang="0">
                <a:pos x="connsiteX60295" y="connsiteY60295"/>
              </a:cxn>
              <a:cxn ang="0">
                <a:pos x="connsiteX60296" y="connsiteY60296"/>
              </a:cxn>
              <a:cxn ang="0">
                <a:pos x="connsiteX60297" y="connsiteY60297"/>
              </a:cxn>
              <a:cxn ang="0">
                <a:pos x="connsiteX60298" y="connsiteY60298"/>
              </a:cxn>
              <a:cxn ang="0">
                <a:pos x="connsiteX60299" y="connsiteY60299"/>
              </a:cxn>
              <a:cxn ang="0">
                <a:pos x="connsiteX60300" y="connsiteY60300"/>
              </a:cxn>
              <a:cxn ang="0">
                <a:pos x="connsiteX60301" y="connsiteY60301"/>
              </a:cxn>
              <a:cxn ang="0">
                <a:pos x="connsiteX60302" y="connsiteY60302"/>
              </a:cxn>
              <a:cxn ang="0">
                <a:pos x="connsiteX60303" y="connsiteY60303"/>
              </a:cxn>
              <a:cxn ang="0">
                <a:pos x="connsiteX60304" y="connsiteY60304"/>
              </a:cxn>
              <a:cxn ang="0">
                <a:pos x="connsiteX60305" y="connsiteY60305"/>
              </a:cxn>
              <a:cxn ang="0">
                <a:pos x="connsiteX60306" y="connsiteY60306"/>
              </a:cxn>
              <a:cxn ang="0">
                <a:pos x="connsiteX60307" y="connsiteY60307"/>
              </a:cxn>
              <a:cxn ang="0">
                <a:pos x="connsiteX60308" y="connsiteY60308"/>
              </a:cxn>
              <a:cxn ang="0">
                <a:pos x="connsiteX60309" y="connsiteY60309"/>
              </a:cxn>
              <a:cxn ang="0">
                <a:pos x="connsiteX60310" y="connsiteY60310"/>
              </a:cxn>
              <a:cxn ang="0">
                <a:pos x="connsiteX60311" y="connsiteY60311"/>
              </a:cxn>
              <a:cxn ang="0">
                <a:pos x="connsiteX60312" y="connsiteY60312"/>
              </a:cxn>
              <a:cxn ang="0">
                <a:pos x="connsiteX60313" y="connsiteY60313"/>
              </a:cxn>
              <a:cxn ang="0">
                <a:pos x="connsiteX60314" y="connsiteY60314"/>
              </a:cxn>
              <a:cxn ang="0">
                <a:pos x="connsiteX60315" y="connsiteY60315"/>
              </a:cxn>
              <a:cxn ang="0">
                <a:pos x="connsiteX60316" y="connsiteY60316"/>
              </a:cxn>
              <a:cxn ang="0">
                <a:pos x="connsiteX60317" y="connsiteY60317"/>
              </a:cxn>
              <a:cxn ang="0">
                <a:pos x="connsiteX60318" y="connsiteY60318"/>
              </a:cxn>
              <a:cxn ang="0">
                <a:pos x="connsiteX60319" y="connsiteY60319"/>
              </a:cxn>
              <a:cxn ang="0">
                <a:pos x="connsiteX60320" y="connsiteY60320"/>
              </a:cxn>
              <a:cxn ang="0">
                <a:pos x="connsiteX60321" y="connsiteY60321"/>
              </a:cxn>
              <a:cxn ang="0">
                <a:pos x="connsiteX60322" y="connsiteY60322"/>
              </a:cxn>
              <a:cxn ang="0">
                <a:pos x="connsiteX60323" y="connsiteY60323"/>
              </a:cxn>
              <a:cxn ang="0">
                <a:pos x="connsiteX60324" y="connsiteY60324"/>
              </a:cxn>
              <a:cxn ang="0">
                <a:pos x="connsiteX60325" y="connsiteY60325"/>
              </a:cxn>
              <a:cxn ang="0">
                <a:pos x="connsiteX60326" y="connsiteY60326"/>
              </a:cxn>
              <a:cxn ang="0">
                <a:pos x="connsiteX60327" y="connsiteY60327"/>
              </a:cxn>
              <a:cxn ang="0">
                <a:pos x="connsiteX60328" y="connsiteY60328"/>
              </a:cxn>
              <a:cxn ang="0">
                <a:pos x="connsiteX60329" y="connsiteY60329"/>
              </a:cxn>
              <a:cxn ang="0">
                <a:pos x="connsiteX60330" y="connsiteY60330"/>
              </a:cxn>
              <a:cxn ang="0">
                <a:pos x="connsiteX60331" y="connsiteY60331"/>
              </a:cxn>
              <a:cxn ang="0">
                <a:pos x="connsiteX60332" y="connsiteY60332"/>
              </a:cxn>
              <a:cxn ang="0">
                <a:pos x="connsiteX60333" y="connsiteY60333"/>
              </a:cxn>
              <a:cxn ang="0">
                <a:pos x="connsiteX60334" y="connsiteY60334"/>
              </a:cxn>
              <a:cxn ang="0">
                <a:pos x="connsiteX60335" y="connsiteY60335"/>
              </a:cxn>
              <a:cxn ang="0">
                <a:pos x="connsiteX60336" y="connsiteY60336"/>
              </a:cxn>
              <a:cxn ang="0">
                <a:pos x="connsiteX60337" y="connsiteY60337"/>
              </a:cxn>
              <a:cxn ang="0">
                <a:pos x="connsiteX60338" y="connsiteY60338"/>
              </a:cxn>
              <a:cxn ang="0">
                <a:pos x="connsiteX60339" y="connsiteY60339"/>
              </a:cxn>
              <a:cxn ang="0">
                <a:pos x="connsiteX60340" y="connsiteY60340"/>
              </a:cxn>
              <a:cxn ang="0">
                <a:pos x="connsiteX60341" y="connsiteY60341"/>
              </a:cxn>
              <a:cxn ang="0">
                <a:pos x="connsiteX60342" y="connsiteY60342"/>
              </a:cxn>
              <a:cxn ang="0">
                <a:pos x="connsiteX60343" y="connsiteY60343"/>
              </a:cxn>
              <a:cxn ang="0">
                <a:pos x="connsiteX60344" y="connsiteY60344"/>
              </a:cxn>
              <a:cxn ang="0">
                <a:pos x="connsiteX60345" y="connsiteY60345"/>
              </a:cxn>
              <a:cxn ang="0">
                <a:pos x="connsiteX60346" y="connsiteY60346"/>
              </a:cxn>
              <a:cxn ang="0">
                <a:pos x="connsiteX60347" y="connsiteY60347"/>
              </a:cxn>
              <a:cxn ang="0">
                <a:pos x="connsiteX60348" y="connsiteY60348"/>
              </a:cxn>
              <a:cxn ang="0">
                <a:pos x="connsiteX60349" y="connsiteY60349"/>
              </a:cxn>
              <a:cxn ang="0">
                <a:pos x="connsiteX60350" y="connsiteY60350"/>
              </a:cxn>
              <a:cxn ang="0">
                <a:pos x="connsiteX60351" y="connsiteY60351"/>
              </a:cxn>
              <a:cxn ang="0">
                <a:pos x="connsiteX60352" y="connsiteY60352"/>
              </a:cxn>
              <a:cxn ang="0">
                <a:pos x="connsiteX60353" y="connsiteY60353"/>
              </a:cxn>
              <a:cxn ang="0">
                <a:pos x="connsiteX60354" y="connsiteY60354"/>
              </a:cxn>
              <a:cxn ang="0">
                <a:pos x="connsiteX60355" y="connsiteY60355"/>
              </a:cxn>
              <a:cxn ang="0">
                <a:pos x="connsiteX60356" y="connsiteY60356"/>
              </a:cxn>
              <a:cxn ang="0">
                <a:pos x="connsiteX60357" y="connsiteY60357"/>
              </a:cxn>
              <a:cxn ang="0">
                <a:pos x="connsiteX60358" y="connsiteY60358"/>
              </a:cxn>
              <a:cxn ang="0">
                <a:pos x="connsiteX60359" y="connsiteY60359"/>
              </a:cxn>
              <a:cxn ang="0">
                <a:pos x="connsiteX60360" y="connsiteY60360"/>
              </a:cxn>
              <a:cxn ang="0">
                <a:pos x="connsiteX60361" y="connsiteY60361"/>
              </a:cxn>
              <a:cxn ang="0">
                <a:pos x="connsiteX60362" y="connsiteY60362"/>
              </a:cxn>
              <a:cxn ang="0">
                <a:pos x="connsiteX60363" y="connsiteY60363"/>
              </a:cxn>
              <a:cxn ang="0">
                <a:pos x="connsiteX60364" y="connsiteY60364"/>
              </a:cxn>
              <a:cxn ang="0">
                <a:pos x="connsiteX60365" y="connsiteY60365"/>
              </a:cxn>
              <a:cxn ang="0">
                <a:pos x="connsiteX60366" y="connsiteY60366"/>
              </a:cxn>
              <a:cxn ang="0">
                <a:pos x="connsiteX60367" y="connsiteY60367"/>
              </a:cxn>
              <a:cxn ang="0">
                <a:pos x="connsiteX60368" y="connsiteY60368"/>
              </a:cxn>
              <a:cxn ang="0">
                <a:pos x="connsiteX60369" y="connsiteY60369"/>
              </a:cxn>
              <a:cxn ang="0">
                <a:pos x="connsiteX60370" y="connsiteY60370"/>
              </a:cxn>
              <a:cxn ang="0">
                <a:pos x="connsiteX60371" y="connsiteY60371"/>
              </a:cxn>
              <a:cxn ang="0">
                <a:pos x="connsiteX60372" y="connsiteY60372"/>
              </a:cxn>
              <a:cxn ang="0">
                <a:pos x="connsiteX60373" y="connsiteY60373"/>
              </a:cxn>
              <a:cxn ang="0">
                <a:pos x="connsiteX60374" y="connsiteY60374"/>
              </a:cxn>
              <a:cxn ang="0">
                <a:pos x="connsiteX60375" y="connsiteY60375"/>
              </a:cxn>
              <a:cxn ang="0">
                <a:pos x="connsiteX60376" y="connsiteY60376"/>
              </a:cxn>
              <a:cxn ang="0">
                <a:pos x="connsiteX60377" y="connsiteY60377"/>
              </a:cxn>
              <a:cxn ang="0">
                <a:pos x="connsiteX60378" y="connsiteY60378"/>
              </a:cxn>
              <a:cxn ang="0">
                <a:pos x="connsiteX60379" y="connsiteY60379"/>
              </a:cxn>
              <a:cxn ang="0">
                <a:pos x="connsiteX60380" y="connsiteY60380"/>
              </a:cxn>
              <a:cxn ang="0">
                <a:pos x="connsiteX60381" y="connsiteY60381"/>
              </a:cxn>
              <a:cxn ang="0">
                <a:pos x="connsiteX60382" y="connsiteY60382"/>
              </a:cxn>
              <a:cxn ang="0">
                <a:pos x="connsiteX60383" y="connsiteY60383"/>
              </a:cxn>
              <a:cxn ang="0">
                <a:pos x="connsiteX60384" y="connsiteY60384"/>
              </a:cxn>
              <a:cxn ang="0">
                <a:pos x="connsiteX60385" y="connsiteY60385"/>
              </a:cxn>
              <a:cxn ang="0">
                <a:pos x="connsiteX60386" y="connsiteY60386"/>
              </a:cxn>
              <a:cxn ang="0">
                <a:pos x="connsiteX60387" y="connsiteY60387"/>
              </a:cxn>
              <a:cxn ang="0">
                <a:pos x="connsiteX60388" y="connsiteY60388"/>
              </a:cxn>
              <a:cxn ang="0">
                <a:pos x="connsiteX60389" y="connsiteY60389"/>
              </a:cxn>
              <a:cxn ang="0">
                <a:pos x="connsiteX60390" y="connsiteY60390"/>
              </a:cxn>
              <a:cxn ang="0">
                <a:pos x="connsiteX60391" y="connsiteY60391"/>
              </a:cxn>
              <a:cxn ang="0">
                <a:pos x="connsiteX60392" y="connsiteY60392"/>
              </a:cxn>
              <a:cxn ang="0">
                <a:pos x="connsiteX60393" y="connsiteY60393"/>
              </a:cxn>
              <a:cxn ang="0">
                <a:pos x="connsiteX60394" y="connsiteY60394"/>
              </a:cxn>
              <a:cxn ang="0">
                <a:pos x="connsiteX60395" y="connsiteY60395"/>
              </a:cxn>
              <a:cxn ang="0">
                <a:pos x="connsiteX60396" y="connsiteY60396"/>
              </a:cxn>
              <a:cxn ang="0">
                <a:pos x="connsiteX60397" y="connsiteY60397"/>
              </a:cxn>
              <a:cxn ang="0">
                <a:pos x="connsiteX60398" y="connsiteY60398"/>
              </a:cxn>
              <a:cxn ang="0">
                <a:pos x="connsiteX60399" y="connsiteY60399"/>
              </a:cxn>
              <a:cxn ang="0">
                <a:pos x="connsiteX60400" y="connsiteY60400"/>
              </a:cxn>
              <a:cxn ang="0">
                <a:pos x="connsiteX60401" y="connsiteY60401"/>
              </a:cxn>
              <a:cxn ang="0">
                <a:pos x="connsiteX60402" y="connsiteY60402"/>
              </a:cxn>
              <a:cxn ang="0">
                <a:pos x="connsiteX60403" y="connsiteY60403"/>
              </a:cxn>
              <a:cxn ang="0">
                <a:pos x="connsiteX60404" y="connsiteY60404"/>
              </a:cxn>
              <a:cxn ang="0">
                <a:pos x="connsiteX60405" y="connsiteY60405"/>
              </a:cxn>
              <a:cxn ang="0">
                <a:pos x="connsiteX60406" y="connsiteY60406"/>
              </a:cxn>
              <a:cxn ang="0">
                <a:pos x="connsiteX60407" y="connsiteY60407"/>
              </a:cxn>
              <a:cxn ang="0">
                <a:pos x="connsiteX60408" y="connsiteY60408"/>
              </a:cxn>
              <a:cxn ang="0">
                <a:pos x="connsiteX60409" y="connsiteY60409"/>
              </a:cxn>
              <a:cxn ang="0">
                <a:pos x="connsiteX60410" y="connsiteY60410"/>
              </a:cxn>
              <a:cxn ang="0">
                <a:pos x="connsiteX60411" y="connsiteY60411"/>
              </a:cxn>
              <a:cxn ang="0">
                <a:pos x="connsiteX60412" y="connsiteY60412"/>
              </a:cxn>
              <a:cxn ang="0">
                <a:pos x="connsiteX60413" y="connsiteY60413"/>
              </a:cxn>
              <a:cxn ang="0">
                <a:pos x="connsiteX60414" y="connsiteY60414"/>
              </a:cxn>
              <a:cxn ang="0">
                <a:pos x="connsiteX60415" y="connsiteY60415"/>
              </a:cxn>
              <a:cxn ang="0">
                <a:pos x="connsiteX60416" y="connsiteY60416"/>
              </a:cxn>
              <a:cxn ang="0">
                <a:pos x="connsiteX60417" y="connsiteY60417"/>
              </a:cxn>
              <a:cxn ang="0">
                <a:pos x="connsiteX60418" y="connsiteY60418"/>
              </a:cxn>
              <a:cxn ang="0">
                <a:pos x="connsiteX60419" y="connsiteY60419"/>
              </a:cxn>
              <a:cxn ang="0">
                <a:pos x="connsiteX60420" y="connsiteY60420"/>
              </a:cxn>
              <a:cxn ang="0">
                <a:pos x="connsiteX60421" y="connsiteY60421"/>
              </a:cxn>
              <a:cxn ang="0">
                <a:pos x="connsiteX60422" y="connsiteY60422"/>
              </a:cxn>
              <a:cxn ang="0">
                <a:pos x="connsiteX60423" y="connsiteY60423"/>
              </a:cxn>
              <a:cxn ang="0">
                <a:pos x="connsiteX60424" y="connsiteY60424"/>
              </a:cxn>
              <a:cxn ang="0">
                <a:pos x="connsiteX60425" y="connsiteY60425"/>
              </a:cxn>
              <a:cxn ang="0">
                <a:pos x="connsiteX60426" y="connsiteY60426"/>
              </a:cxn>
              <a:cxn ang="0">
                <a:pos x="connsiteX60427" y="connsiteY60427"/>
              </a:cxn>
              <a:cxn ang="0">
                <a:pos x="connsiteX60428" y="connsiteY60428"/>
              </a:cxn>
              <a:cxn ang="0">
                <a:pos x="connsiteX60429" y="connsiteY60429"/>
              </a:cxn>
              <a:cxn ang="0">
                <a:pos x="connsiteX60430" y="connsiteY60430"/>
              </a:cxn>
              <a:cxn ang="0">
                <a:pos x="connsiteX60431" y="connsiteY60431"/>
              </a:cxn>
              <a:cxn ang="0">
                <a:pos x="connsiteX60432" y="connsiteY60432"/>
              </a:cxn>
              <a:cxn ang="0">
                <a:pos x="connsiteX60433" y="connsiteY60433"/>
              </a:cxn>
              <a:cxn ang="0">
                <a:pos x="connsiteX60434" y="connsiteY60434"/>
              </a:cxn>
              <a:cxn ang="0">
                <a:pos x="connsiteX60435" y="connsiteY60435"/>
              </a:cxn>
              <a:cxn ang="0">
                <a:pos x="connsiteX60436" y="connsiteY60436"/>
              </a:cxn>
              <a:cxn ang="0">
                <a:pos x="connsiteX60437" y="connsiteY60437"/>
              </a:cxn>
              <a:cxn ang="0">
                <a:pos x="connsiteX60438" y="connsiteY60438"/>
              </a:cxn>
              <a:cxn ang="0">
                <a:pos x="connsiteX60439" y="connsiteY60439"/>
              </a:cxn>
              <a:cxn ang="0">
                <a:pos x="connsiteX60440" y="connsiteY60440"/>
              </a:cxn>
              <a:cxn ang="0">
                <a:pos x="connsiteX60441" y="connsiteY60441"/>
              </a:cxn>
              <a:cxn ang="0">
                <a:pos x="connsiteX60442" y="connsiteY60442"/>
              </a:cxn>
              <a:cxn ang="0">
                <a:pos x="connsiteX60443" y="connsiteY60443"/>
              </a:cxn>
              <a:cxn ang="0">
                <a:pos x="connsiteX60444" y="connsiteY60444"/>
              </a:cxn>
              <a:cxn ang="0">
                <a:pos x="connsiteX60445" y="connsiteY60445"/>
              </a:cxn>
              <a:cxn ang="0">
                <a:pos x="connsiteX60446" y="connsiteY60446"/>
              </a:cxn>
              <a:cxn ang="0">
                <a:pos x="connsiteX60447" y="connsiteY60447"/>
              </a:cxn>
              <a:cxn ang="0">
                <a:pos x="connsiteX60448" y="connsiteY60448"/>
              </a:cxn>
              <a:cxn ang="0">
                <a:pos x="connsiteX60449" y="connsiteY60449"/>
              </a:cxn>
              <a:cxn ang="0">
                <a:pos x="connsiteX60450" y="connsiteY60450"/>
              </a:cxn>
              <a:cxn ang="0">
                <a:pos x="connsiteX60451" y="connsiteY60451"/>
              </a:cxn>
              <a:cxn ang="0">
                <a:pos x="connsiteX60452" y="connsiteY60452"/>
              </a:cxn>
              <a:cxn ang="0">
                <a:pos x="connsiteX60453" y="connsiteY60453"/>
              </a:cxn>
              <a:cxn ang="0">
                <a:pos x="connsiteX60454" y="connsiteY60454"/>
              </a:cxn>
              <a:cxn ang="0">
                <a:pos x="connsiteX60455" y="connsiteY60455"/>
              </a:cxn>
              <a:cxn ang="0">
                <a:pos x="connsiteX60456" y="connsiteY60456"/>
              </a:cxn>
              <a:cxn ang="0">
                <a:pos x="connsiteX60457" y="connsiteY60457"/>
              </a:cxn>
              <a:cxn ang="0">
                <a:pos x="connsiteX60458" y="connsiteY60458"/>
              </a:cxn>
              <a:cxn ang="0">
                <a:pos x="connsiteX60459" y="connsiteY60459"/>
              </a:cxn>
              <a:cxn ang="0">
                <a:pos x="connsiteX60460" y="connsiteY60460"/>
              </a:cxn>
              <a:cxn ang="0">
                <a:pos x="connsiteX60461" y="connsiteY60461"/>
              </a:cxn>
              <a:cxn ang="0">
                <a:pos x="connsiteX60462" y="connsiteY60462"/>
              </a:cxn>
              <a:cxn ang="0">
                <a:pos x="connsiteX60463" y="connsiteY60463"/>
              </a:cxn>
              <a:cxn ang="0">
                <a:pos x="connsiteX60464" y="connsiteY60464"/>
              </a:cxn>
              <a:cxn ang="0">
                <a:pos x="connsiteX60465" y="connsiteY60465"/>
              </a:cxn>
              <a:cxn ang="0">
                <a:pos x="connsiteX60466" y="connsiteY60466"/>
              </a:cxn>
              <a:cxn ang="0">
                <a:pos x="connsiteX60467" y="connsiteY60467"/>
              </a:cxn>
              <a:cxn ang="0">
                <a:pos x="connsiteX60468" y="connsiteY60468"/>
              </a:cxn>
              <a:cxn ang="0">
                <a:pos x="connsiteX60469" y="connsiteY60469"/>
              </a:cxn>
              <a:cxn ang="0">
                <a:pos x="connsiteX60470" y="connsiteY60470"/>
              </a:cxn>
              <a:cxn ang="0">
                <a:pos x="connsiteX60471" y="connsiteY60471"/>
              </a:cxn>
              <a:cxn ang="0">
                <a:pos x="connsiteX60472" y="connsiteY60472"/>
              </a:cxn>
              <a:cxn ang="0">
                <a:pos x="connsiteX60473" y="connsiteY60473"/>
              </a:cxn>
              <a:cxn ang="0">
                <a:pos x="connsiteX60474" y="connsiteY60474"/>
              </a:cxn>
              <a:cxn ang="0">
                <a:pos x="connsiteX60475" y="connsiteY60475"/>
              </a:cxn>
              <a:cxn ang="0">
                <a:pos x="connsiteX60476" y="connsiteY60476"/>
              </a:cxn>
              <a:cxn ang="0">
                <a:pos x="connsiteX60477" y="connsiteY60477"/>
              </a:cxn>
              <a:cxn ang="0">
                <a:pos x="connsiteX60478" y="connsiteY60478"/>
              </a:cxn>
              <a:cxn ang="0">
                <a:pos x="connsiteX60479" y="connsiteY60479"/>
              </a:cxn>
              <a:cxn ang="0">
                <a:pos x="connsiteX60480" y="connsiteY60480"/>
              </a:cxn>
              <a:cxn ang="0">
                <a:pos x="connsiteX60481" y="connsiteY60481"/>
              </a:cxn>
              <a:cxn ang="0">
                <a:pos x="connsiteX60482" y="connsiteY60482"/>
              </a:cxn>
              <a:cxn ang="0">
                <a:pos x="connsiteX60483" y="connsiteY60483"/>
              </a:cxn>
              <a:cxn ang="0">
                <a:pos x="connsiteX60484" y="connsiteY60484"/>
              </a:cxn>
              <a:cxn ang="0">
                <a:pos x="connsiteX60485" y="connsiteY60485"/>
              </a:cxn>
              <a:cxn ang="0">
                <a:pos x="connsiteX60486" y="connsiteY60486"/>
              </a:cxn>
              <a:cxn ang="0">
                <a:pos x="connsiteX60487" y="connsiteY60487"/>
              </a:cxn>
              <a:cxn ang="0">
                <a:pos x="connsiteX60488" y="connsiteY60488"/>
              </a:cxn>
              <a:cxn ang="0">
                <a:pos x="connsiteX60489" y="connsiteY60489"/>
              </a:cxn>
              <a:cxn ang="0">
                <a:pos x="connsiteX60490" y="connsiteY60490"/>
              </a:cxn>
              <a:cxn ang="0">
                <a:pos x="connsiteX60491" y="connsiteY60491"/>
              </a:cxn>
              <a:cxn ang="0">
                <a:pos x="connsiteX60492" y="connsiteY60492"/>
              </a:cxn>
              <a:cxn ang="0">
                <a:pos x="connsiteX60493" y="connsiteY60493"/>
              </a:cxn>
              <a:cxn ang="0">
                <a:pos x="connsiteX60494" y="connsiteY60494"/>
              </a:cxn>
              <a:cxn ang="0">
                <a:pos x="connsiteX60495" y="connsiteY60495"/>
              </a:cxn>
              <a:cxn ang="0">
                <a:pos x="connsiteX60496" y="connsiteY60496"/>
              </a:cxn>
              <a:cxn ang="0">
                <a:pos x="connsiteX60497" y="connsiteY60497"/>
              </a:cxn>
              <a:cxn ang="0">
                <a:pos x="connsiteX60498" y="connsiteY60498"/>
              </a:cxn>
              <a:cxn ang="0">
                <a:pos x="connsiteX60499" y="connsiteY60499"/>
              </a:cxn>
              <a:cxn ang="0">
                <a:pos x="connsiteX60500" y="connsiteY60500"/>
              </a:cxn>
              <a:cxn ang="0">
                <a:pos x="connsiteX60501" y="connsiteY60501"/>
              </a:cxn>
              <a:cxn ang="0">
                <a:pos x="connsiteX60502" y="connsiteY60502"/>
              </a:cxn>
              <a:cxn ang="0">
                <a:pos x="connsiteX60503" y="connsiteY60503"/>
              </a:cxn>
              <a:cxn ang="0">
                <a:pos x="connsiteX60504" y="connsiteY60504"/>
              </a:cxn>
              <a:cxn ang="0">
                <a:pos x="connsiteX60505" y="connsiteY60505"/>
              </a:cxn>
              <a:cxn ang="0">
                <a:pos x="connsiteX60506" y="connsiteY60506"/>
              </a:cxn>
              <a:cxn ang="0">
                <a:pos x="connsiteX60507" y="connsiteY60507"/>
              </a:cxn>
              <a:cxn ang="0">
                <a:pos x="connsiteX60508" y="connsiteY60508"/>
              </a:cxn>
              <a:cxn ang="0">
                <a:pos x="connsiteX60509" y="connsiteY60509"/>
              </a:cxn>
              <a:cxn ang="0">
                <a:pos x="connsiteX60510" y="connsiteY60510"/>
              </a:cxn>
              <a:cxn ang="0">
                <a:pos x="connsiteX60511" y="connsiteY60511"/>
              </a:cxn>
              <a:cxn ang="0">
                <a:pos x="connsiteX60512" y="connsiteY60512"/>
              </a:cxn>
              <a:cxn ang="0">
                <a:pos x="connsiteX60513" y="connsiteY60513"/>
              </a:cxn>
              <a:cxn ang="0">
                <a:pos x="connsiteX60514" y="connsiteY60514"/>
              </a:cxn>
              <a:cxn ang="0">
                <a:pos x="connsiteX60515" y="connsiteY60515"/>
              </a:cxn>
              <a:cxn ang="0">
                <a:pos x="connsiteX60516" y="connsiteY60516"/>
              </a:cxn>
              <a:cxn ang="0">
                <a:pos x="connsiteX60517" y="connsiteY60517"/>
              </a:cxn>
              <a:cxn ang="0">
                <a:pos x="connsiteX60518" y="connsiteY60518"/>
              </a:cxn>
              <a:cxn ang="0">
                <a:pos x="connsiteX60519" y="connsiteY60519"/>
              </a:cxn>
              <a:cxn ang="0">
                <a:pos x="connsiteX60520" y="connsiteY60520"/>
              </a:cxn>
              <a:cxn ang="0">
                <a:pos x="connsiteX60521" y="connsiteY60521"/>
              </a:cxn>
              <a:cxn ang="0">
                <a:pos x="connsiteX60522" y="connsiteY60522"/>
              </a:cxn>
              <a:cxn ang="0">
                <a:pos x="connsiteX60523" y="connsiteY60523"/>
              </a:cxn>
              <a:cxn ang="0">
                <a:pos x="connsiteX60524" y="connsiteY60524"/>
              </a:cxn>
              <a:cxn ang="0">
                <a:pos x="connsiteX60525" y="connsiteY60525"/>
              </a:cxn>
              <a:cxn ang="0">
                <a:pos x="connsiteX60526" y="connsiteY60526"/>
              </a:cxn>
              <a:cxn ang="0">
                <a:pos x="connsiteX60527" y="connsiteY60527"/>
              </a:cxn>
              <a:cxn ang="0">
                <a:pos x="connsiteX60528" y="connsiteY60528"/>
              </a:cxn>
              <a:cxn ang="0">
                <a:pos x="connsiteX60529" y="connsiteY60529"/>
              </a:cxn>
              <a:cxn ang="0">
                <a:pos x="connsiteX60530" y="connsiteY60530"/>
              </a:cxn>
              <a:cxn ang="0">
                <a:pos x="connsiteX60531" y="connsiteY60531"/>
              </a:cxn>
              <a:cxn ang="0">
                <a:pos x="connsiteX60532" y="connsiteY60532"/>
              </a:cxn>
              <a:cxn ang="0">
                <a:pos x="connsiteX60533" y="connsiteY60533"/>
              </a:cxn>
              <a:cxn ang="0">
                <a:pos x="connsiteX60534" y="connsiteY60534"/>
              </a:cxn>
              <a:cxn ang="0">
                <a:pos x="connsiteX60535" y="connsiteY60535"/>
              </a:cxn>
              <a:cxn ang="0">
                <a:pos x="connsiteX60536" y="connsiteY60536"/>
              </a:cxn>
              <a:cxn ang="0">
                <a:pos x="connsiteX60537" y="connsiteY60537"/>
              </a:cxn>
              <a:cxn ang="0">
                <a:pos x="connsiteX60538" y="connsiteY60538"/>
              </a:cxn>
              <a:cxn ang="0">
                <a:pos x="connsiteX60539" y="connsiteY60539"/>
              </a:cxn>
              <a:cxn ang="0">
                <a:pos x="connsiteX60540" y="connsiteY60540"/>
              </a:cxn>
              <a:cxn ang="0">
                <a:pos x="connsiteX60541" y="connsiteY60541"/>
              </a:cxn>
              <a:cxn ang="0">
                <a:pos x="connsiteX60542" y="connsiteY60542"/>
              </a:cxn>
              <a:cxn ang="0">
                <a:pos x="connsiteX60543" y="connsiteY60543"/>
              </a:cxn>
              <a:cxn ang="0">
                <a:pos x="connsiteX60544" y="connsiteY60544"/>
              </a:cxn>
              <a:cxn ang="0">
                <a:pos x="connsiteX60545" y="connsiteY60545"/>
              </a:cxn>
              <a:cxn ang="0">
                <a:pos x="connsiteX60546" y="connsiteY60546"/>
              </a:cxn>
              <a:cxn ang="0">
                <a:pos x="connsiteX60547" y="connsiteY60547"/>
              </a:cxn>
              <a:cxn ang="0">
                <a:pos x="connsiteX60548" y="connsiteY60548"/>
              </a:cxn>
              <a:cxn ang="0">
                <a:pos x="connsiteX60549" y="connsiteY60549"/>
              </a:cxn>
              <a:cxn ang="0">
                <a:pos x="connsiteX60550" y="connsiteY60550"/>
              </a:cxn>
              <a:cxn ang="0">
                <a:pos x="connsiteX60551" y="connsiteY60551"/>
              </a:cxn>
              <a:cxn ang="0">
                <a:pos x="connsiteX60552" y="connsiteY60552"/>
              </a:cxn>
              <a:cxn ang="0">
                <a:pos x="connsiteX60553" y="connsiteY60553"/>
              </a:cxn>
              <a:cxn ang="0">
                <a:pos x="connsiteX60554" y="connsiteY60554"/>
              </a:cxn>
              <a:cxn ang="0">
                <a:pos x="connsiteX60555" y="connsiteY60555"/>
              </a:cxn>
              <a:cxn ang="0">
                <a:pos x="connsiteX60556" y="connsiteY60556"/>
              </a:cxn>
              <a:cxn ang="0">
                <a:pos x="connsiteX60557" y="connsiteY60557"/>
              </a:cxn>
              <a:cxn ang="0">
                <a:pos x="connsiteX60558" y="connsiteY60558"/>
              </a:cxn>
              <a:cxn ang="0">
                <a:pos x="connsiteX60559" y="connsiteY60559"/>
              </a:cxn>
              <a:cxn ang="0">
                <a:pos x="connsiteX60560" y="connsiteY60560"/>
              </a:cxn>
              <a:cxn ang="0">
                <a:pos x="connsiteX60561" y="connsiteY60561"/>
              </a:cxn>
              <a:cxn ang="0">
                <a:pos x="connsiteX60562" y="connsiteY60562"/>
              </a:cxn>
              <a:cxn ang="0">
                <a:pos x="connsiteX60563" y="connsiteY60563"/>
              </a:cxn>
              <a:cxn ang="0">
                <a:pos x="connsiteX60564" y="connsiteY60564"/>
              </a:cxn>
              <a:cxn ang="0">
                <a:pos x="connsiteX60565" y="connsiteY60565"/>
              </a:cxn>
              <a:cxn ang="0">
                <a:pos x="connsiteX60566" y="connsiteY60566"/>
              </a:cxn>
              <a:cxn ang="0">
                <a:pos x="connsiteX60567" y="connsiteY60567"/>
              </a:cxn>
              <a:cxn ang="0">
                <a:pos x="connsiteX60568" y="connsiteY60568"/>
              </a:cxn>
              <a:cxn ang="0">
                <a:pos x="connsiteX60569" y="connsiteY60569"/>
              </a:cxn>
              <a:cxn ang="0">
                <a:pos x="connsiteX60570" y="connsiteY60570"/>
              </a:cxn>
              <a:cxn ang="0">
                <a:pos x="connsiteX60571" y="connsiteY60571"/>
              </a:cxn>
              <a:cxn ang="0">
                <a:pos x="connsiteX60572" y="connsiteY60572"/>
              </a:cxn>
              <a:cxn ang="0">
                <a:pos x="connsiteX60573" y="connsiteY60573"/>
              </a:cxn>
              <a:cxn ang="0">
                <a:pos x="connsiteX60574" y="connsiteY60574"/>
              </a:cxn>
              <a:cxn ang="0">
                <a:pos x="connsiteX60575" y="connsiteY60575"/>
              </a:cxn>
              <a:cxn ang="0">
                <a:pos x="connsiteX60576" y="connsiteY60576"/>
              </a:cxn>
              <a:cxn ang="0">
                <a:pos x="connsiteX60577" y="connsiteY60577"/>
              </a:cxn>
              <a:cxn ang="0">
                <a:pos x="connsiteX60578" y="connsiteY60578"/>
              </a:cxn>
              <a:cxn ang="0">
                <a:pos x="connsiteX60579" y="connsiteY60579"/>
              </a:cxn>
              <a:cxn ang="0">
                <a:pos x="connsiteX60580" y="connsiteY60580"/>
              </a:cxn>
              <a:cxn ang="0">
                <a:pos x="connsiteX60581" y="connsiteY60581"/>
              </a:cxn>
              <a:cxn ang="0">
                <a:pos x="connsiteX60582" y="connsiteY60582"/>
              </a:cxn>
              <a:cxn ang="0">
                <a:pos x="connsiteX60583" y="connsiteY60583"/>
              </a:cxn>
              <a:cxn ang="0">
                <a:pos x="connsiteX60584" y="connsiteY60584"/>
              </a:cxn>
              <a:cxn ang="0">
                <a:pos x="connsiteX60585" y="connsiteY60585"/>
              </a:cxn>
              <a:cxn ang="0">
                <a:pos x="connsiteX60586" y="connsiteY60586"/>
              </a:cxn>
              <a:cxn ang="0">
                <a:pos x="connsiteX60587" y="connsiteY60587"/>
              </a:cxn>
              <a:cxn ang="0">
                <a:pos x="connsiteX60588" y="connsiteY60588"/>
              </a:cxn>
              <a:cxn ang="0">
                <a:pos x="connsiteX60589" y="connsiteY60589"/>
              </a:cxn>
              <a:cxn ang="0">
                <a:pos x="connsiteX60590" y="connsiteY60590"/>
              </a:cxn>
              <a:cxn ang="0">
                <a:pos x="connsiteX60591" y="connsiteY60591"/>
              </a:cxn>
              <a:cxn ang="0">
                <a:pos x="connsiteX60592" y="connsiteY60592"/>
              </a:cxn>
              <a:cxn ang="0">
                <a:pos x="connsiteX60593" y="connsiteY60593"/>
              </a:cxn>
              <a:cxn ang="0">
                <a:pos x="connsiteX60594" y="connsiteY60594"/>
              </a:cxn>
              <a:cxn ang="0">
                <a:pos x="connsiteX60595" y="connsiteY60595"/>
              </a:cxn>
              <a:cxn ang="0">
                <a:pos x="connsiteX60596" y="connsiteY60596"/>
              </a:cxn>
              <a:cxn ang="0">
                <a:pos x="connsiteX60597" y="connsiteY60597"/>
              </a:cxn>
              <a:cxn ang="0">
                <a:pos x="connsiteX60598" y="connsiteY60598"/>
              </a:cxn>
              <a:cxn ang="0">
                <a:pos x="connsiteX60599" y="connsiteY60599"/>
              </a:cxn>
              <a:cxn ang="0">
                <a:pos x="connsiteX60600" y="connsiteY60600"/>
              </a:cxn>
              <a:cxn ang="0">
                <a:pos x="connsiteX60601" y="connsiteY60601"/>
              </a:cxn>
              <a:cxn ang="0">
                <a:pos x="connsiteX60602" y="connsiteY60602"/>
              </a:cxn>
              <a:cxn ang="0">
                <a:pos x="connsiteX60603" y="connsiteY60603"/>
              </a:cxn>
              <a:cxn ang="0">
                <a:pos x="connsiteX60604" y="connsiteY60604"/>
              </a:cxn>
              <a:cxn ang="0">
                <a:pos x="connsiteX60605" y="connsiteY60605"/>
              </a:cxn>
              <a:cxn ang="0">
                <a:pos x="connsiteX60606" y="connsiteY60606"/>
              </a:cxn>
              <a:cxn ang="0">
                <a:pos x="connsiteX60607" y="connsiteY60607"/>
              </a:cxn>
              <a:cxn ang="0">
                <a:pos x="connsiteX60608" y="connsiteY60608"/>
              </a:cxn>
              <a:cxn ang="0">
                <a:pos x="connsiteX60609" y="connsiteY60609"/>
              </a:cxn>
              <a:cxn ang="0">
                <a:pos x="connsiteX60610" y="connsiteY60610"/>
              </a:cxn>
              <a:cxn ang="0">
                <a:pos x="connsiteX60611" y="connsiteY60611"/>
              </a:cxn>
              <a:cxn ang="0">
                <a:pos x="connsiteX60612" y="connsiteY60612"/>
              </a:cxn>
              <a:cxn ang="0">
                <a:pos x="connsiteX60613" y="connsiteY60613"/>
              </a:cxn>
              <a:cxn ang="0">
                <a:pos x="connsiteX60614" y="connsiteY60614"/>
              </a:cxn>
              <a:cxn ang="0">
                <a:pos x="connsiteX60615" y="connsiteY60615"/>
              </a:cxn>
              <a:cxn ang="0">
                <a:pos x="connsiteX60616" y="connsiteY60616"/>
              </a:cxn>
              <a:cxn ang="0">
                <a:pos x="connsiteX60617" y="connsiteY60617"/>
              </a:cxn>
              <a:cxn ang="0">
                <a:pos x="connsiteX60618" y="connsiteY60618"/>
              </a:cxn>
              <a:cxn ang="0">
                <a:pos x="connsiteX60619" y="connsiteY60619"/>
              </a:cxn>
              <a:cxn ang="0">
                <a:pos x="connsiteX60620" y="connsiteY60620"/>
              </a:cxn>
              <a:cxn ang="0">
                <a:pos x="connsiteX60621" y="connsiteY60621"/>
              </a:cxn>
              <a:cxn ang="0">
                <a:pos x="connsiteX60622" y="connsiteY60622"/>
              </a:cxn>
              <a:cxn ang="0">
                <a:pos x="connsiteX60623" y="connsiteY60623"/>
              </a:cxn>
              <a:cxn ang="0">
                <a:pos x="connsiteX60624" y="connsiteY60624"/>
              </a:cxn>
              <a:cxn ang="0">
                <a:pos x="connsiteX60625" y="connsiteY60625"/>
              </a:cxn>
              <a:cxn ang="0">
                <a:pos x="connsiteX60626" y="connsiteY60626"/>
              </a:cxn>
              <a:cxn ang="0">
                <a:pos x="connsiteX60627" y="connsiteY60627"/>
              </a:cxn>
              <a:cxn ang="0">
                <a:pos x="connsiteX60628" y="connsiteY60628"/>
              </a:cxn>
              <a:cxn ang="0">
                <a:pos x="connsiteX60629" y="connsiteY60629"/>
              </a:cxn>
              <a:cxn ang="0">
                <a:pos x="connsiteX60630" y="connsiteY60630"/>
              </a:cxn>
              <a:cxn ang="0">
                <a:pos x="connsiteX60631" y="connsiteY60631"/>
              </a:cxn>
              <a:cxn ang="0">
                <a:pos x="connsiteX60632" y="connsiteY60632"/>
              </a:cxn>
              <a:cxn ang="0">
                <a:pos x="connsiteX60633" y="connsiteY60633"/>
              </a:cxn>
              <a:cxn ang="0">
                <a:pos x="connsiteX60634" y="connsiteY60634"/>
              </a:cxn>
              <a:cxn ang="0">
                <a:pos x="connsiteX60635" y="connsiteY60635"/>
              </a:cxn>
              <a:cxn ang="0">
                <a:pos x="connsiteX60636" y="connsiteY60636"/>
              </a:cxn>
              <a:cxn ang="0">
                <a:pos x="connsiteX60637" y="connsiteY60637"/>
              </a:cxn>
              <a:cxn ang="0">
                <a:pos x="connsiteX60638" y="connsiteY60638"/>
              </a:cxn>
              <a:cxn ang="0">
                <a:pos x="connsiteX60639" y="connsiteY60639"/>
              </a:cxn>
              <a:cxn ang="0">
                <a:pos x="connsiteX60640" y="connsiteY60640"/>
              </a:cxn>
              <a:cxn ang="0">
                <a:pos x="connsiteX60641" y="connsiteY60641"/>
              </a:cxn>
              <a:cxn ang="0">
                <a:pos x="connsiteX60642" y="connsiteY60642"/>
              </a:cxn>
              <a:cxn ang="0">
                <a:pos x="connsiteX60643" y="connsiteY60643"/>
              </a:cxn>
              <a:cxn ang="0">
                <a:pos x="connsiteX60644" y="connsiteY60644"/>
              </a:cxn>
              <a:cxn ang="0">
                <a:pos x="connsiteX60645" y="connsiteY60645"/>
              </a:cxn>
              <a:cxn ang="0">
                <a:pos x="connsiteX60646" y="connsiteY60646"/>
              </a:cxn>
              <a:cxn ang="0">
                <a:pos x="connsiteX60647" y="connsiteY60647"/>
              </a:cxn>
              <a:cxn ang="0">
                <a:pos x="connsiteX60648" y="connsiteY60648"/>
              </a:cxn>
              <a:cxn ang="0">
                <a:pos x="connsiteX60649" y="connsiteY60649"/>
              </a:cxn>
              <a:cxn ang="0">
                <a:pos x="connsiteX60650" y="connsiteY60650"/>
              </a:cxn>
              <a:cxn ang="0">
                <a:pos x="connsiteX60651" y="connsiteY60651"/>
              </a:cxn>
              <a:cxn ang="0">
                <a:pos x="connsiteX60652" y="connsiteY60652"/>
              </a:cxn>
              <a:cxn ang="0">
                <a:pos x="connsiteX60653" y="connsiteY60653"/>
              </a:cxn>
              <a:cxn ang="0">
                <a:pos x="connsiteX60654" y="connsiteY60654"/>
              </a:cxn>
              <a:cxn ang="0">
                <a:pos x="connsiteX60655" y="connsiteY60655"/>
              </a:cxn>
              <a:cxn ang="0">
                <a:pos x="connsiteX60656" y="connsiteY60656"/>
              </a:cxn>
              <a:cxn ang="0">
                <a:pos x="connsiteX60657" y="connsiteY60657"/>
              </a:cxn>
              <a:cxn ang="0">
                <a:pos x="connsiteX60658" y="connsiteY60658"/>
              </a:cxn>
              <a:cxn ang="0">
                <a:pos x="connsiteX60659" y="connsiteY60659"/>
              </a:cxn>
              <a:cxn ang="0">
                <a:pos x="connsiteX60660" y="connsiteY60660"/>
              </a:cxn>
              <a:cxn ang="0">
                <a:pos x="connsiteX60661" y="connsiteY60661"/>
              </a:cxn>
              <a:cxn ang="0">
                <a:pos x="connsiteX60662" y="connsiteY60662"/>
              </a:cxn>
              <a:cxn ang="0">
                <a:pos x="connsiteX60663" y="connsiteY60663"/>
              </a:cxn>
              <a:cxn ang="0">
                <a:pos x="connsiteX60664" y="connsiteY60664"/>
              </a:cxn>
              <a:cxn ang="0">
                <a:pos x="connsiteX60665" y="connsiteY60665"/>
              </a:cxn>
              <a:cxn ang="0">
                <a:pos x="connsiteX60666" y="connsiteY60666"/>
              </a:cxn>
              <a:cxn ang="0">
                <a:pos x="connsiteX60667" y="connsiteY60667"/>
              </a:cxn>
              <a:cxn ang="0">
                <a:pos x="connsiteX60668" y="connsiteY60668"/>
              </a:cxn>
              <a:cxn ang="0">
                <a:pos x="connsiteX60669" y="connsiteY60669"/>
              </a:cxn>
              <a:cxn ang="0">
                <a:pos x="connsiteX60670" y="connsiteY60670"/>
              </a:cxn>
              <a:cxn ang="0">
                <a:pos x="connsiteX60671" y="connsiteY60671"/>
              </a:cxn>
              <a:cxn ang="0">
                <a:pos x="connsiteX60672" y="connsiteY60672"/>
              </a:cxn>
              <a:cxn ang="0">
                <a:pos x="connsiteX60673" y="connsiteY60673"/>
              </a:cxn>
              <a:cxn ang="0">
                <a:pos x="connsiteX60674" y="connsiteY60674"/>
              </a:cxn>
              <a:cxn ang="0">
                <a:pos x="connsiteX60675" y="connsiteY60675"/>
              </a:cxn>
              <a:cxn ang="0">
                <a:pos x="connsiteX60676" y="connsiteY60676"/>
              </a:cxn>
              <a:cxn ang="0">
                <a:pos x="connsiteX60677" y="connsiteY60677"/>
              </a:cxn>
              <a:cxn ang="0">
                <a:pos x="connsiteX60678" y="connsiteY60678"/>
              </a:cxn>
              <a:cxn ang="0">
                <a:pos x="connsiteX60679" y="connsiteY60679"/>
              </a:cxn>
              <a:cxn ang="0">
                <a:pos x="connsiteX60680" y="connsiteY60680"/>
              </a:cxn>
              <a:cxn ang="0">
                <a:pos x="connsiteX60681" y="connsiteY60681"/>
              </a:cxn>
              <a:cxn ang="0">
                <a:pos x="connsiteX60682" y="connsiteY60682"/>
              </a:cxn>
              <a:cxn ang="0">
                <a:pos x="connsiteX60683" y="connsiteY60683"/>
              </a:cxn>
              <a:cxn ang="0">
                <a:pos x="connsiteX60684" y="connsiteY60684"/>
              </a:cxn>
              <a:cxn ang="0">
                <a:pos x="connsiteX60685" y="connsiteY60685"/>
              </a:cxn>
              <a:cxn ang="0">
                <a:pos x="connsiteX60686" y="connsiteY60686"/>
              </a:cxn>
              <a:cxn ang="0">
                <a:pos x="connsiteX60687" y="connsiteY60687"/>
              </a:cxn>
              <a:cxn ang="0">
                <a:pos x="connsiteX60688" y="connsiteY60688"/>
              </a:cxn>
              <a:cxn ang="0">
                <a:pos x="connsiteX60689" y="connsiteY60689"/>
              </a:cxn>
              <a:cxn ang="0">
                <a:pos x="connsiteX60690" y="connsiteY60690"/>
              </a:cxn>
              <a:cxn ang="0">
                <a:pos x="connsiteX60691" y="connsiteY60691"/>
              </a:cxn>
              <a:cxn ang="0">
                <a:pos x="connsiteX60692" y="connsiteY60692"/>
              </a:cxn>
              <a:cxn ang="0">
                <a:pos x="connsiteX60693" y="connsiteY60693"/>
              </a:cxn>
              <a:cxn ang="0">
                <a:pos x="connsiteX60694" y="connsiteY60694"/>
              </a:cxn>
              <a:cxn ang="0">
                <a:pos x="connsiteX60695" y="connsiteY60695"/>
              </a:cxn>
              <a:cxn ang="0">
                <a:pos x="connsiteX60696" y="connsiteY60696"/>
              </a:cxn>
              <a:cxn ang="0">
                <a:pos x="connsiteX60697" y="connsiteY60697"/>
              </a:cxn>
              <a:cxn ang="0">
                <a:pos x="connsiteX60698" y="connsiteY60698"/>
              </a:cxn>
              <a:cxn ang="0">
                <a:pos x="connsiteX60699" y="connsiteY60699"/>
              </a:cxn>
              <a:cxn ang="0">
                <a:pos x="connsiteX60700" y="connsiteY60700"/>
              </a:cxn>
              <a:cxn ang="0">
                <a:pos x="connsiteX60701" y="connsiteY60701"/>
              </a:cxn>
              <a:cxn ang="0">
                <a:pos x="connsiteX60702" y="connsiteY60702"/>
              </a:cxn>
              <a:cxn ang="0">
                <a:pos x="connsiteX60703" y="connsiteY60703"/>
              </a:cxn>
              <a:cxn ang="0">
                <a:pos x="connsiteX60704" y="connsiteY60704"/>
              </a:cxn>
              <a:cxn ang="0">
                <a:pos x="connsiteX60705" y="connsiteY60705"/>
              </a:cxn>
              <a:cxn ang="0">
                <a:pos x="connsiteX60706" y="connsiteY60706"/>
              </a:cxn>
              <a:cxn ang="0">
                <a:pos x="connsiteX60707" y="connsiteY60707"/>
              </a:cxn>
              <a:cxn ang="0">
                <a:pos x="connsiteX60708" y="connsiteY60708"/>
              </a:cxn>
              <a:cxn ang="0">
                <a:pos x="connsiteX60709" y="connsiteY60709"/>
              </a:cxn>
              <a:cxn ang="0">
                <a:pos x="connsiteX60710" y="connsiteY60710"/>
              </a:cxn>
              <a:cxn ang="0">
                <a:pos x="connsiteX60711" y="connsiteY60711"/>
              </a:cxn>
              <a:cxn ang="0">
                <a:pos x="connsiteX60712" y="connsiteY60712"/>
              </a:cxn>
              <a:cxn ang="0">
                <a:pos x="connsiteX60713" y="connsiteY60713"/>
              </a:cxn>
              <a:cxn ang="0">
                <a:pos x="connsiteX60714" y="connsiteY60714"/>
              </a:cxn>
              <a:cxn ang="0">
                <a:pos x="connsiteX60715" y="connsiteY60715"/>
              </a:cxn>
              <a:cxn ang="0">
                <a:pos x="connsiteX60716" y="connsiteY60716"/>
              </a:cxn>
              <a:cxn ang="0">
                <a:pos x="connsiteX60717" y="connsiteY60717"/>
              </a:cxn>
              <a:cxn ang="0">
                <a:pos x="connsiteX60718" y="connsiteY60718"/>
              </a:cxn>
              <a:cxn ang="0">
                <a:pos x="connsiteX60719" y="connsiteY60719"/>
              </a:cxn>
              <a:cxn ang="0">
                <a:pos x="connsiteX60720" y="connsiteY60720"/>
              </a:cxn>
              <a:cxn ang="0">
                <a:pos x="connsiteX60721" y="connsiteY60721"/>
              </a:cxn>
              <a:cxn ang="0">
                <a:pos x="connsiteX60722" y="connsiteY60722"/>
              </a:cxn>
              <a:cxn ang="0">
                <a:pos x="connsiteX60723" y="connsiteY60723"/>
              </a:cxn>
              <a:cxn ang="0">
                <a:pos x="connsiteX60724" y="connsiteY60724"/>
              </a:cxn>
              <a:cxn ang="0">
                <a:pos x="connsiteX60725" y="connsiteY60725"/>
              </a:cxn>
              <a:cxn ang="0">
                <a:pos x="connsiteX60726" y="connsiteY60726"/>
              </a:cxn>
              <a:cxn ang="0">
                <a:pos x="connsiteX60727" y="connsiteY60727"/>
              </a:cxn>
              <a:cxn ang="0">
                <a:pos x="connsiteX60728" y="connsiteY60728"/>
              </a:cxn>
              <a:cxn ang="0">
                <a:pos x="connsiteX60729" y="connsiteY60729"/>
              </a:cxn>
              <a:cxn ang="0">
                <a:pos x="connsiteX60730" y="connsiteY60730"/>
              </a:cxn>
              <a:cxn ang="0">
                <a:pos x="connsiteX60731" y="connsiteY60731"/>
              </a:cxn>
              <a:cxn ang="0">
                <a:pos x="connsiteX60732" y="connsiteY60732"/>
              </a:cxn>
              <a:cxn ang="0">
                <a:pos x="connsiteX60733" y="connsiteY60733"/>
              </a:cxn>
              <a:cxn ang="0">
                <a:pos x="connsiteX60734" y="connsiteY60734"/>
              </a:cxn>
              <a:cxn ang="0">
                <a:pos x="connsiteX60735" y="connsiteY60735"/>
              </a:cxn>
              <a:cxn ang="0">
                <a:pos x="connsiteX60736" y="connsiteY60736"/>
              </a:cxn>
              <a:cxn ang="0">
                <a:pos x="connsiteX60737" y="connsiteY60737"/>
              </a:cxn>
              <a:cxn ang="0">
                <a:pos x="connsiteX60738" y="connsiteY60738"/>
              </a:cxn>
              <a:cxn ang="0">
                <a:pos x="connsiteX60739" y="connsiteY60739"/>
              </a:cxn>
              <a:cxn ang="0">
                <a:pos x="connsiteX60740" y="connsiteY60740"/>
              </a:cxn>
              <a:cxn ang="0">
                <a:pos x="connsiteX60741" y="connsiteY60741"/>
              </a:cxn>
              <a:cxn ang="0">
                <a:pos x="connsiteX60742" y="connsiteY60742"/>
              </a:cxn>
              <a:cxn ang="0">
                <a:pos x="connsiteX60743" y="connsiteY60743"/>
              </a:cxn>
              <a:cxn ang="0">
                <a:pos x="connsiteX60744" y="connsiteY60744"/>
              </a:cxn>
              <a:cxn ang="0">
                <a:pos x="connsiteX60745" y="connsiteY60745"/>
              </a:cxn>
              <a:cxn ang="0">
                <a:pos x="connsiteX60746" y="connsiteY60746"/>
              </a:cxn>
              <a:cxn ang="0">
                <a:pos x="connsiteX60747" y="connsiteY60747"/>
              </a:cxn>
              <a:cxn ang="0">
                <a:pos x="connsiteX60748" y="connsiteY60748"/>
              </a:cxn>
              <a:cxn ang="0">
                <a:pos x="connsiteX60749" y="connsiteY60749"/>
              </a:cxn>
              <a:cxn ang="0">
                <a:pos x="connsiteX60750" y="connsiteY60750"/>
              </a:cxn>
              <a:cxn ang="0">
                <a:pos x="connsiteX60751" y="connsiteY60751"/>
              </a:cxn>
              <a:cxn ang="0">
                <a:pos x="connsiteX60752" y="connsiteY60752"/>
              </a:cxn>
              <a:cxn ang="0">
                <a:pos x="connsiteX60753" y="connsiteY60753"/>
              </a:cxn>
              <a:cxn ang="0">
                <a:pos x="connsiteX60754" y="connsiteY60754"/>
              </a:cxn>
              <a:cxn ang="0">
                <a:pos x="connsiteX60755" y="connsiteY60755"/>
              </a:cxn>
              <a:cxn ang="0">
                <a:pos x="connsiteX60756" y="connsiteY60756"/>
              </a:cxn>
              <a:cxn ang="0">
                <a:pos x="connsiteX60757" y="connsiteY60757"/>
              </a:cxn>
              <a:cxn ang="0">
                <a:pos x="connsiteX60758" y="connsiteY60758"/>
              </a:cxn>
              <a:cxn ang="0">
                <a:pos x="connsiteX60759" y="connsiteY60759"/>
              </a:cxn>
              <a:cxn ang="0">
                <a:pos x="connsiteX60760" y="connsiteY60760"/>
              </a:cxn>
              <a:cxn ang="0">
                <a:pos x="connsiteX60761" y="connsiteY60761"/>
              </a:cxn>
              <a:cxn ang="0">
                <a:pos x="connsiteX60762" y="connsiteY60762"/>
              </a:cxn>
              <a:cxn ang="0">
                <a:pos x="connsiteX60763" y="connsiteY60763"/>
              </a:cxn>
              <a:cxn ang="0">
                <a:pos x="connsiteX60764" y="connsiteY60764"/>
              </a:cxn>
              <a:cxn ang="0">
                <a:pos x="connsiteX60765" y="connsiteY60765"/>
              </a:cxn>
              <a:cxn ang="0">
                <a:pos x="connsiteX60766" y="connsiteY60766"/>
              </a:cxn>
              <a:cxn ang="0">
                <a:pos x="connsiteX60767" y="connsiteY60767"/>
              </a:cxn>
              <a:cxn ang="0">
                <a:pos x="connsiteX60768" y="connsiteY60768"/>
              </a:cxn>
              <a:cxn ang="0">
                <a:pos x="connsiteX60769" y="connsiteY60769"/>
              </a:cxn>
              <a:cxn ang="0">
                <a:pos x="connsiteX60770" y="connsiteY60770"/>
              </a:cxn>
              <a:cxn ang="0">
                <a:pos x="connsiteX60771" y="connsiteY60771"/>
              </a:cxn>
              <a:cxn ang="0">
                <a:pos x="connsiteX60772" y="connsiteY60772"/>
              </a:cxn>
              <a:cxn ang="0">
                <a:pos x="connsiteX60773" y="connsiteY60773"/>
              </a:cxn>
              <a:cxn ang="0">
                <a:pos x="connsiteX60774" y="connsiteY60774"/>
              </a:cxn>
              <a:cxn ang="0">
                <a:pos x="connsiteX60775" y="connsiteY60775"/>
              </a:cxn>
              <a:cxn ang="0">
                <a:pos x="connsiteX60776" y="connsiteY60776"/>
              </a:cxn>
              <a:cxn ang="0">
                <a:pos x="connsiteX60777" y="connsiteY60777"/>
              </a:cxn>
              <a:cxn ang="0">
                <a:pos x="connsiteX60778" y="connsiteY60778"/>
              </a:cxn>
              <a:cxn ang="0">
                <a:pos x="connsiteX60779" y="connsiteY60779"/>
              </a:cxn>
              <a:cxn ang="0">
                <a:pos x="connsiteX60780" y="connsiteY60780"/>
              </a:cxn>
              <a:cxn ang="0">
                <a:pos x="connsiteX60781" y="connsiteY60781"/>
              </a:cxn>
              <a:cxn ang="0">
                <a:pos x="connsiteX60782" y="connsiteY60782"/>
              </a:cxn>
              <a:cxn ang="0">
                <a:pos x="connsiteX60783" y="connsiteY60783"/>
              </a:cxn>
              <a:cxn ang="0">
                <a:pos x="connsiteX60784" y="connsiteY60784"/>
              </a:cxn>
              <a:cxn ang="0">
                <a:pos x="connsiteX60785" y="connsiteY60785"/>
              </a:cxn>
              <a:cxn ang="0">
                <a:pos x="connsiteX60786" y="connsiteY60786"/>
              </a:cxn>
              <a:cxn ang="0">
                <a:pos x="connsiteX60787" y="connsiteY60787"/>
              </a:cxn>
              <a:cxn ang="0">
                <a:pos x="connsiteX60788" y="connsiteY60788"/>
              </a:cxn>
              <a:cxn ang="0">
                <a:pos x="connsiteX60789" y="connsiteY60789"/>
              </a:cxn>
              <a:cxn ang="0">
                <a:pos x="connsiteX60790" y="connsiteY60790"/>
              </a:cxn>
              <a:cxn ang="0">
                <a:pos x="connsiteX60791" y="connsiteY60791"/>
              </a:cxn>
              <a:cxn ang="0">
                <a:pos x="connsiteX60792" y="connsiteY60792"/>
              </a:cxn>
              <a:cxn ang="0">
                <a:pos x="connsiteX60793" y="connsiteY60793"/>
              </a:cxn>
              <a:cxn ang="0">
                <a:pos x="connsiteX60794" y="connsiteY60794"/>
              </a:cxn>
              <a:cxn ang="0">
                <a:pos x="connsiteX60795" y="connsiteY60795"/>
              </a:cxn>
              <a:cxn ang="0">
                <a:pos x="connsiteX60796" y="connsiteY60796"/>
              </a:cxn>
              <a:cxn ang="0">
                <a:pos x="connsiteX60797" y="connsiteY60797"/>
              </a:cxn>
              <a:cxn ang="0">
                <a:pos x="connsiteX60798" y="connsiteY60798"/>
              </a:cxn>
              <a:cxn ang="0">
                <a:pos x="connsiteX60799" y="connsiteY60799"/>
              </a:cxn>
              <a:cxn ang="0">
                <a:pos x="connsiteX60800" y="connsiteY60800"/>
              </a:cxn>
              <a:cxn ang="0">
                <a:pos x="connsiteX60801" y="connsiteY60801"/>
              </a:cxn>
              <a:cxn ang="0">
                <a:pos x="connsiteX60802" y="connsiteY60802"/>
              </a:cxn>
              <a:cxn ang="0">
                <a:pos x="connsiteX60803" y="connsiteY60803"/>
              </a:cxn>
              <a:cxn ang="0">
                <a:pos x="connsiteX60804" y="connsiteY60804"/>
              </a:cxn>
              <a:cxn ang="0">
                <a:pos x="connsiteX60805" y="connsiteY60805"/>
              </a:cxn>
              <a:cxn ang="0">
                <a:pos x="connsiteX60806" y="connsiteY60806"/>
              </a:cxn>
              <a:cxn ang="0">
                <a:pos x="connsiteX60807" y="connsiteY60807"/>
              </a:cxn>
              <a:cxn ang="0">
                <a:pos x="connsiteX60808" y="connsiteY60808"/>
              </a:cxn>
              <a:cxn ang="0">
                <a:pos x="connsiteX60809" y="connsiteY60809"/>
              </a:cxn>
              <a:cxn ang="0">
                <a:pos x="connsiteX60810" y="connsiteY60810"/>
              </a:cxn>
              <a:cxn ang="0">
                <a:pos x="connsiteX60811" y="connsiteY60811"/>
              </a:cxn>
              <a:cxn ang="0">
                <a:pos x="connsiteX60812" y="connsiteY60812"/>
              </a:cxn>
              <a:cxn ang="0">
                <a:pos x="connsiteX60813" y="connsiteY60813"/>
              </a:cxn>
              <a:cxn ang="0">
                <a:pos x="connsiteX60814" y="connsiteY60814"/>
              </a:cxn>
              <a:cxn ang="0">
                <a:pos x="connsiteX60815" y="connsiteY60815"/>
              </a:cxn>
              <a:cxn ang="0">
                <a:pos x="connsiteX60816" y="connsiteY60816"/>
              </a:cxn>
              <a:cxn ang="0">
                <a:pos x="connsiteX60817" y="connsiteY60817"/>
              </a:cxn>
              <a:cxn ang="0">
                <a:pos x="connsiteX60818" y="connsiteY60818"/>
              </a:cxn>
              <a:cxn ang="0">
                <a:pos x="connsiteX60819" y="connsiteY60819"/>
              </a:cxn>
              <a:cxn ang="0">
                <a:pos x="connsiteX60820" y="connsiteY60820"/>
              </a:cxn>
              <a:cxn ang="0">
                <a:pos x="connsiteX60821" y="connsiteY60821"/>
              </a:cxn>
              <a:cxn ang="0">
                <a:pos x="connsiteX60822" y="connsiteY60822"/>
              </a:cxn>
              <a:cxn ang="0">
                <a:pos x="connsiteX60823" y="connsiteY60823"/>
              </a:cxn>
              <a:cxn ang="0">
                <a:pos x="connsiteX60824" y="connsiteY60824"/>
              </a:cxn>
              <a:cxn ang="0">
                <a:pos x="connsiteX60825" y="connsiteY60825"/>
              </a:cxn>
              <a:cxn ang="0">
                <a:pos x="connsiteX60826" y="connsiteY60826"/>
              </a:cxn>
              <a:cxn ang="0">
                <a:pos x="connsiteX60827" y="connsiteY60827"/>
              </a:cxn>
              <a:cxn ang="0">
                <a:pos x="connsiteX60828" y="connsiteY60828"/>
              </a:cxn>
              <a:cxn ang="0">
                <a:pos x="connsiteX60829" y="connsiteY60829"/>
              </a:cxn>
              <a:cxn ang="0">
                <a:pos x="connsiteX60830" y="connsiteY60830"/>
              </a:cxn>
              <a:cxn ang="0">
                <a:pos x="connsiteX60831" y="connsiteY60831"/>
              </a:cxn>
              <a:cxn ang="0">
                <a:pos x="connsiteX60832" y="connsiteY60832"/>
              </a:cxn>
              <a:cxn ang="0">
                <a:pos x="connsiteX60833" y="connsiteY60833"/>
              </a:cxn>
              <a:cxn ang="0">
                <a:pos x="connsiteX60834" y="connsiteY60834"/>
              </a:cxn>
              <a:cxn ang="0">
                <a:pos x="connsiteX60835" y="connsiteY60835"/>
              </a:cxn>
              <a:cxn ang="0">
                <a:pos x="connsiteX60836" y="connsiteY60836"/>
              </a:cxn>
              <a:cxn ang="0">
                <a:pos x="connsiteX60837" y="connsiteY60837"/>
              </a:cxn>
              <a:cxn ang="0">
                <a:pos x="connsiteX60838" y="connsiteY60838"/>
              </a:cxn>
              <a:cxn ang="0">
                <a:pos x="connsiteX60839" y="connsiteY60839"/>
              </a:cxn>
              <a:cxn ang="0">
                <a:pos x="connsiteX60840" y="connsiteY60840"/>
              </a:cxn>
              <a:cxn ang="0">
                <a:pos x="connsiteX60841" y="connsiteY60841"/>
              </a:cxn>
              <a:cxn ang="0">
                <a:pos x="connsiteX60842" y="connsiteY60842"/>
              </a:cxn>
              <a:cxn ang="0">
                <a:pos x="connsiteX60843" y="connsiteY60843"/>
              </a:cxn>
              <a:cxn ang="0">
                <a:pos x="connsiteX60844" y="connsiteY60844"/>
              </a:cxn>
              <a:cxn ang="0">
                <a:pos x="connsiteX60845" y="connsiteY60845"/>
              </a:cxn>
              <a:cxn ang="0">
                <a:pos x="connsiteX60846" y="connsiteY60846"/>
              </a:cxn>
              <a:cxn ang="0">
                <a:pos x="connsiteX60847" y="connsiteY60847"/>
              </a:cxn>
              <a:cxn ang="0">
                <a:pos x="connsiteX60848" y="connsiteY60848"/>
              </a:cxn>
              <a:cxn ang="0">
                <a:pos x="connsiteX60849" y="connsiteY60849"/>
              </a:cxn>
              <a:cxn ang="0">
                <a:pos x="connsiteX60850" y="connsiteY60850"/>
              </a:cxn>
              <a:cxn ang="0">
                <a:pos x="connsiteX60851" y="connsiteY60851"/>
              </a:cxn>
              <a:cxn ang="0">
                <a:pos x="connsiteX60852" y="connsiteY60852"/>
              </a:cxn>
              <a:cxn ang="0">
                <a:pos x="connsiteX60853" y="connsiteY60853"/>
              </a:cxn>
              <a:cxn ang="0">
                <a:pos x="connsiteX60854" y="connsiteY60854"/>
              </a:cxn>
              <a:cxn ang="0">
                <a:pos x="connsiteX60855" y="connsiteY60855"/>
              </a:cxn>
              <a:cxn ang="0">
                <a:pos x="connsiteX60856" y="connsiteY60856"/>
              </a:cxn>
              <a:cxn ang="0">
                <a:pos x="connsiteX60857" y="connsiteY60857"/>
              </a:cxn>
              <a:cxn ang="0">
                <a:pos x="connsiteX60858" y="connsiteY60858"/>
              </a:cxn>
              <a:cxn ang="0">
                <a:pos x="connsiteX60859" y="connsiteY60859"/>
              </a:cxn>
              <a:cxn ang="0">
                <a:pos x="connsiteX60860" y="connsiteY60860"/>
              </a:cxn>
              <a:cxn ang="0">
                <a:pos x="connsiteX60861" y="connsiteY60861"/>
              </a:cxn>
              <a:cxn ang="0">
                <a:pos x="connsiteX60862" y="connsiteY60862"/>
              </a:cxn>
              <a:cxn ang="0">
                <a:pos x="connsiteX60863" y="connsiteY60863"/>
              </a:cxn>
              <a:cxn ang="0">
                <a:pos x="connsiteX60864" y="connsiteY60864"/>
              </a:cxn>
              <a:cxn ang="0">
                <a:pos x="connsiteX60865" y="connsiteY60865"/>
              </a:cxn>
              <a:cxn ang="0">
                <a:pos x="connsiteX60866" y="connsiteY60866"/>
              </a:cxn>
              <a:cxn ang="0">
                <a:pos x="connsiteX60867" y="connsiteY60867"/>
              </a:cxn>
              <a:cxn ang="0">
                <a:pos x="connsiteX60868" y="connsiteY60868"/>
              </a:cxn>
              <a:cxn ang="0">
                <a:pos x="connsiteX60869" y="connsiteY60869"/>
              </a:cxn>
              <a:cxn ang="0">
                <a:pos x="connsiteX60870" y="connsiteY60870"/>
              </a:cxn>
              <a:cxn ang="0">
                <a:pos x="connsiteX60871" y="connsiteY60871"/>
              </a:cxn>
              <a:cxn ang="0">
                <a:pos x="connsiteX60872" y="connsiteY60872"/>
              </a:cxn>
              <a:cxn ang="0">
                <a:pos x="connsiteX60873" y="connsiteY60873"/>
              </a:cxn>
              <a:cxn ang="0">
                <a:pos x="connsiteX60874" y="connsiteY60874"/>
              </a:cxn>
              <a:cxn ang="0">
                <a:pos x="connsiteX60875" y="connsiteY60875"/>
              </a:cxn>
              <a:cxn ang="0">
                <a:pos x="connsiteX60876" y="connsiteY60876"/>
              </a:cxn>
              <a:cxn ang="0">
                <a:pos x="connsiteX60877" y="connsiteY60877"/>
              </a:cxn>
              <a:cxn ang="0">
                <a:pos x="connsiteX60878" y="connsiteY60878"/>
              </a:cxn>
              <a:cxn ang="0">
                <a:pos x="connsiteX60879" y="connsiteY60879"/>
              </a:cxn>
              <a:cxn ang="0">
                <a:pos x="connsiteX60880" y="connsiteY60880"/>
              </a:cxn>
              <a:cxn ang="0">
                <a:pos x="connsiteX60881" y="connsiteY60881"/>
              </a:cxn>
              <a:cxn ang="0">
                <a:pos x="connsiteX60882" y="connsiteY60882"/>
              </a:cxn>
              <a:cxn ang="0">
                <a:pos x="connsiteX60883" y="connsiteY60883"/>
              </a:cxn>
              <a:cxn ang="0">
                <a:pos x="connsiteX60884" y="connsiteY60884"/>
              </a:cxn>
              <a:cxn ang="0">
                <a:pos x="connsiteX60885" y="connsiteY60885"/>
              </a:cxn>
              <a:cxn ang="0">
                <a:pos x="connsiteX60886" y="connsiteY60886"/>
              </a:cxn>
              <a:cxn ang="0">
                <a:pos x="connsiteX60887" y="connsiteY60887"/>
              </a:cxn>
              <a:cxn ang="0">
                <a:pos x="connsiteX60888" y="connsiteY60888"/>
              </a:cxn>
              <a:cxn ang="0">
                <a:pos x="connsiteX60889" y="connsiteY60889"/>
              </a:cxn>
              <a:cxn ang="0">
                <a:pos x="connsiteX60890" y="connsiteY60890"/>
              </a:cxn>
              <a:cxn ang="0">
                <a:pos x="connsiteX60891" y="connsiteY60891"/>
              </a:cxn>
              <a:cxn ang="0">
                <a:pos x="connsiteX60892" y="connsiteY60892"/>
              </a:cxn>
              <a:cxn ang="0">
                <a:pos x="connsiteX60893" y="connsiteY60893"/>
              </a:cxn>
              <a:cxn ang="0">
                <a:pos x="connsiteX60894" y="connsiteY60894"/>
              </a:cxn>
              <a:cxn ang="0">
                <a:pos x="connsiteX60895" y="connsiteY60895"/>
              </a:cxn>
              <a:cxn ang="0">
                <a:pos x="connsiteX60896" y="connsiteY60896"/>
              </a:cxn>
              <a:cxn ang="0">
                <a:pos x="connsiteX60897" y="connsiteY60897"/>
              </a:cxn>
              <a:cxn ang="0">
                <a:pos x="connsiteX60898" y="connsiteY60898"/>
              </a:cxn>
              <a:cxn ang="0">
                <a:pos x="connsiteX60899" y="connsiteY60899"/>
              </a:cxn>
              <a:cxn ang="0">
                <a:pos x="connsiteX60900" y="connsiteY60900"/>
              </a:cxn>
              <a:cxn ang="0">
                <a:pos x="connsiteX60901" y="connsiteY60901"/>
              </a:cxn>
              <a:cxn ang="0">
                <a:pos x="connsiteX60902" y="connsiteY60902"/>
              </a:cxn>
              <a:cxn ang="0">
                <a:pos x="connsiteX60903" y="connsiteY60903"/>
              </a:cxn>
              <a:cxn ang="0">
                <a:pos x="connsiteX60904" y="connsiteY60904"/>
              </a:cxn>
              <a:cxn ang="0">
                <a:pos x="connsiteX60905" y="connsiteY60905"/>
              </a:cxn>
              <a:cxn ang="0">
                <a:pos x="connsiteX60906" y="connsiteY60906"/>
              </a:cxn>
              <a:cxn ang="0">
                <a:pos x="connsiteX60907" y="connsiteY60907"/>
              </a:cxn>
              <a:cxn ang="0">
                <a:pos x="connsiteX60908" y="connsiteY60908"/>
              </a:cxn>
              <a:cxn ang="0">
                <a:pos x="connsiteX60909" y="connsiteY60909"/>
              </a:cxn>
              <a:cxn ang="0">
                <a:pos x="connsiteX60910" y="connsiteY60910"/>
              </a:cxn>
              <a:cxn ang="0">
                <a:pos x="connsiteX60911" y="connsiteY60911"/>
              </a:cxn>
              <a:cxn ang="0">
                <a:pos x="connsiteX60912" y="connsiteY60912"/>
              </a:cxn>
              <a:cxn ang="0">
                <a:pos x="connsiteX60913" y="connsiteY60913"/>
              </a:cxn>
              <a:cxn ang="0">
                <a:pos x="connsiteX60914" y="connsiteY60914"/>
              </a:cxn>
              <a:cxn ang="0">
                <a:pos x="connsiteX60915" y="connsiteY60915"/>
              </a:cxn>
              <a:cxn ang="0">
                <a:pos x="connsiteX60916" y="connsiteY60916"/>
              </a:cxn>
              <a:cxn ang="0">
                <a:pos x="connsiteX60917" y="connsiteY60917"/>
              </a:cxn>
              <a:cxn ang="0">
                <a:pos x="connsiteX60918" y="connsiteY60918"/>
              </a:cxn>
              <a:cxn ang="0">
                <a:pos x="connsiteX60919" y="connsiteY60919"/>
              </a:cxn>
              <a:cxn ang="0">
                <a:pos x="connsiteX60920" y="connsiteY60920"/>
              </a:cxn>
              <a:cxn ang="0">
                <a:pos x="connsiteX60921" y="connsiteY60921"/>
              </a:cxn>
              <a:cxn ang="0">
                <a:pos x="connsiteX60922" y="connsiteY60922"/>
              </a:cxn>
              <a:cxn ang="0">
                <a:pos x="connsiteX60923" y="connsiteY60923"/>
              </a:cxn>
              <a:cxn ang="0">
                <a:pos x="connsiteX60924" y="connsiteY60924"/>
              </a:cxn>
              <a:cxn ang="0">
                <a:pos x="connsiteX60925" y="connsiteY60925"/>
              </a:cxn>
              <a:cxn ang="0">
                <a:pos x="connsiteX60926" y="connsiteY60926"/>
              </a:cxn>
              <a:cxn ang="0">
                <a:pos x="connsiteX60927" y="connsiteY60927"/>
              </a:cxn>
              <a:cxn ang="0">
                <a:pos x="connsiteX60928" y="connsiteY60928"/>
              </a:cxn>
              <a:cxn ang="0">
                <a:pos x="connsiteX60929" y="connsiteY60929"/>
              </a:cxn>
              <a:cxn ang="0">
                <a:pos x="connsiteX60930" y="connsiteY60930"/>
              </a:cxn>
              <a:cxn ang="0">
                <a:pos x="connsiteX60931" y="connsiteY60931"/>
              </a:cxn>
              <a:cxn ang="0">
                <a:pos x="connsiteX60932" y="connsiteY60932"/>
              </a:cxn>
              <a:cxn ang="0">
                <a:pos x="connsiteX60933" y="connsiteY60933"/>
              </a:cxn>
              <a:cxn ang="0">
                <a:pos x="connsiteX60934" y="connsiteY60934"/>
              </a:cxn>
              <a:cxn ang="0">
                <a:pos x="connsiteX60935" y="connsiteY60935"/>
              </a:cxn>
              <a:cxn ang="0">
                <a:pos x="connsiteX60936" y="connsiteY60936"/>
              </a:cxn>
              <a:cxn ang="0">
                <a:pos x="connsiteX60937" y="connsiteY60937"/>
              </a:cxn>
              <a:cxn ang="0">
                <a:pos x="connsiteX60938" y="connsiteY60938"/>
              </a:cxn>
              <a:cxn ang="0">
                <a:pos x="connsiteX60939" y="connsiteY60939"/>
              </a:cxn>
              <a:cxn ang="0">
                <a:pos x="connsiteX60940" y="connsiteY60940"/>
              </a:cxn>
              <a:cxn ang="0">
                <a:pos x="connsiteX60941" y="connsiteY60941"/>
              </a:cxn>
              <a:cxn ang="0">
                <a:pos x="connsiteX60942" y="connsiteY60942"/>
              </a:cxn>
              <a:cxn ang="0">
                <a:pos x="connsiteX60943" y="connsiteY60943"/>
              </a:cxn>
              <a:cxn ang="0">
                <a:pos x="connsiteX60944" y="connsiteY60944"/>
              </a:cxn>
              <a:cxn ang="0">
                <a:pos x="connsiteX60945" y="connsiteY60945"/>
              </a:cxn>
              <a:cxn ang="0">
                <a:pos x="connsiteX60946" y="connsiteY60946"/>
              </a:cxn>
              <a:cxn ang="0">
                <a:pos x="connsiteX60947" y="connsiteY60947"/>
              </a:cxn>
              <a:cxn ang="0">
                <a:pos x="connsiteX60948" y="connsiteY60948"/>
              </a:cxn>
              <a:cxn ang="0">
                <a:pos x="connsiteX60949" y="connsiteY60949"/>
              </a:cxn>
              <a:cxn ang="0">
                <a:pos x="connsiteX60950" y="connsiteY60950"/>
              </a:cxn>
              <a:cxn ang="0">
                <a:pos x="connsiteX60951" y="connsiteY60951"/>
              </a:cxn>
              <a:cxn ang="0">
                <a:pos x="connsiteX60952" y="connsiteY60952"/>
              </a:cxn>
              <a:cxn ang="0">
                <a:pos x="connsiteX60953" y="connsiteY60953"/>
              </a:cxn>
              <a:cxn ang="0">
                <a:pos x="connsiteX60954" y="connsiteY60954"/>
              </a:cxn>
              <a:cxn ang="0">
                <a:pos x="connsiteX60955" y="connsiteY60955"/>
              </a:cxn>
              <a:cxn ang="0">
                <a:pos x="connsiteX60956" y="connsiteY60956"/>
              </a:cxn>
              <a:cxn ang="0">
                <a:pos x="connsiteX60957" y="connsiteY60957"/>
              </a:cxn>
              <a:cxn ang="0">
                <a:pos x="connsiteX60958" y="connsiteY60958"/>
              </a:cxn>
              <a:cxn ang="0">
                <a:pos x="connsiteX60959" y="connsiteY60959"/>
              </a:cxn>
              <a:cxn ang="0">
                <a:pos x="connsiteX60960" y="connsiteY60960"/>
              </a:cxn>
              <a:cxn ang="0">
                <a:pos x="connsiteX60961" y="connsiteY60961"/>
              </a:cxn>
              <a:cxn ang="0">
                <a:pos x="connsiteX60962" y="connsiteY60962"/>
              </a:cxn>
              <a:cxn ang="0">
                <a:pos x="connsiteX60963" y="connsiteY60963"/>
              </a:cxn>
              <a:cxn ang="0">
                <a:pos x="connsiteX60964" y="connsiteY60964"/>
              </a:cxn>
              <a:cxn ang="0">
                <a:pos x="connsiteX60965" y="connsiteY60965"/>
              </a:cxn>
              <a:cxn ang="0">
                <a:pos x="connsiteX60966" y="connsiteY60966"/>
              </a:cxn>
              <a:cxn ang="0">
                <a:pos x="connsiteX60967" y="connsiteY60967"/>
              </a:cxn>
              <a:cxn ang="0">
                <a:pos x="connsiteX60968" y="connsiteY60968"/>
              </a:cxn>
              <a:cxn ang="0">
                <a:pos x="connsiteX60969" y="connsiteY60969"/>
              </a:cxn>
              <a:cxn ang="0">
                <a:pos x="connsiteX60970" y="connsiteY60970"/>
              </a:cxn>
              <a:cxn ang="0">
                <a:pos x="connsiteX60971" y="connsiteY60971"/>
              </a:cxn>
              <a:cxn ang="0">
                <a:pos x="connsiteX60972" y="connsiteY60972"/>
              </a:cxn>
              <a:cxn ang="0">
                <a:pos x="connsiteX60973" y="connsiteY60973"/>
              </a:cxn>
              <a:cxn ang="0">
                <a:pos x="connsiteX60974" y="connsiteY60974"/>
              </a:cxn>
              <a:cxn ang="0">
                <a:pos x="connsiteX60975" y="connsiteY60975"/>
              </a:cxn>
              <a:cxn ang="0">
                <a:pos x="connsiteX60976" y="connsiteY60976"/>
              </a:cxn>
              <a:cxn ang="0">
                <a:pos x="connsiteX60977" y="connsiteY60977"/>
              </a:cxn>
              <a:cxn ang="0">
                <a:pos x="connsiteX60978" y="connsiteY60978"/>
              </a:cxn>
              <a:cxn ang="0">
                <a:pos x="connsiteX60979" y="connsiteY60979"/>
              </a:cxn>
              <a:cxn ang="0">
                <a:pos x="connsiteX60980" y="connsiteY60980"/>
              </a:cxn>
              <a:cxn ang="0">
                <a:pos x="connsiteX60981" y="connsiteY60981"/>
              </a:cxn>
              <a:cxn ang="0">
                <a:pos x="connsiteX60982" y="connsiteY60982"/>
              </a:cxn>
              <a:cxn ang="0">
                <a:pos x="connsiteX60983" y="connsiteY60983"/>
              </a:cxn>
              <a:cxn ang="0">
                <a:pos x="connsiteX60984" y="connsiteY60984"/>
              </a:cxn>
              <a:cxn ang="0">
                <a:pos x="connsiteX60985" y="connsiteY60985"/>
              </a:cxn>
              <a:cxn ang="0">
                <a:pos x="connsiteX60986" y="connsiteY60986"/>
              </a:cxn>
              <a:cxn ang="0">
                <a:pos x="connsiteX60987" y="connsiteY60987"/>
              </a:cxn>
              <a:cxn ang="0">
                <a:pos x="connsiteX60988" y="connsiteY60988"/>
              </a:cxn>
              <a:cxn ang="0">
                <a:pos x="connsiteX60989" y="connsiteY60989"/>
              </a:cxn>
              <a:cxn ang="0">
                <a:pos x="connsiteX60990" y="connsiteY60990"/>
              </a:cxn>
              <a:cxn ang="0">
                <a:pos x="connsiteX60991" y="connsiteY60991"/>
              </a:cxn>
              <a:cxn ang="0">
                <a:pos x="connsiteX60992" y="connsiteY60992"/>
              </a:cxn>
              <a:cxn ang="0">
                <a:pos x="connsiteX60993" y="connsiteY60993"/>
              </a:cxn>
              <a:cxn ang="0">
                <a:pos x="connsiteX60994" y="connsiteY60994"/>
              </a:cxn>
              <a:cxn ang="0">
                <a:pos x="connsiteX60995" y="connsiteY60995"/>
              </a:cxn>
              <a:cxn ang="0">
                <a:pos x="connsiteX60996" y="connsiteY60996"/>
              </a:cxn>
              <a:cxn ang="0">
                <a:pos x="connsiteX60997" y="connsiteY60997"/>
              </a:cxn>
              <a:cxn ang="0">
                <a:pos x="connsiteX60998" y="connsiteY60998"/>
              </a:cxn>
              <a:cxn ang="0">
                <a:pos x="connsiteX60999" y="connsiteY60999"/>
              </a:cxn>
              <a:cxn ang="0">
                <a:pos x="connsiteX61000" y="connsiteY61000"/>
              </a:cxn>
              <a:cxn ang="0">
                <a:pos x="connsiteX61001" y="connsiteY61001"/>
              </a:cxn>
              <a:cxn ang="0">
                <a:pos x="connsiteX61002" y="connsiteY61002"/>
              </a:cxn>
              <a:cxn ang="0">
                <a:pos x="connsiteX61003" y="connsiteY61003"/>
              </a:cxn>
              <a:cxn ang="0">
                <a:pos x="connsiteX61004" y="connsiteY61004"/>
              </a:cxn>
              <a:cxn ang="0">
                <a:pos x="connsiteX61005" y="connsiteY61005"/>
              </a:cxn>
              <a:cxn ang="0">
                <a:pos x="connsiteX61006" y="connsiteY61006"/>
              </a:cxn>
              <a:cxn ang="0">
                <a:pos x="connsiteX61007" y="connsiteY61007"/>
              </a:cxn>
              <a:cxn ang="0">
                <a:pos x="connsiteX61008" y="connsiteY61008"/>
              </a:cxn>
              <a:cxn ang="0">
                <a:pos x="connsiteX61009" y="connsiteY61009"/>
              </a:cxn>
              <a:cxn ang="0">
                <a:pos x="connsiteX61010" y="connsiteY61010"/>
              </a:cxn>
              <a:cxn ang="0">
                <a:pos x="connsiteX61011" y="connsiteY61011"/>
              </a:cxn>
              <a:cxn ang="0">
                <a:pos x="connsiteX61012" y="connsiteY61012"/>
              </a:cxn>
              <a:cxn ang="0">
                <a:pos x="connsiteX61013" y="connsiteY61013"/>
              </a:cxn>
              <a:cxn ang="0">
                <a:pos x="connsiteX61014" y="connsiteY61014"/>
              </a:cxn>
              <a:cxn ang="0">
                <a:pos x="connsiteX61015" y="connsiteY61015"/>
              </a:cxn>
              <a:cxn ang="0">
                <a:pos x="connsiteX61016" y="connsiteY61016"/>
              </a:cxn>
              <a:cxn ang="0">
                <a:pos x="connsiteX61017" y="connsiteY61017"/>
              </a:cxn>
              <a:cxn ang="0">
                <a:pos x="connsiteX61018" y="connsiteY61018"/>
              </a:cxn>
              <a:cxn ang="0">
                <a:pos x="connsiteX61019" y="connsiteY61019"/>
              </a:cxn>
              <a:cxn ang="0">
                <a:pos x="connsiteX61020" y="connsiteY61020"/>
              </a:cxn>
              <a:cxn ang="0">
                <a:pos x="connsiteX61021" y="connsiteY61021"/>
              </a:cxn>
              <a:cxn ang="0">
                <a:pos x="connsiteX61022" y="connsiteY61022"/>
              </a:cxn>
              <a:cxn ang="0">
                <a:pos x="connsiteX61023" y="connsiteY61023"/>
              </a:cxn>
              <a:cxn ang="0">
                <a:pos x="connsiteX61024" y="connsiteY61024"/>
              </a:cxn>
              <a:cxn ang="0">
                <a:pos x="connsiteX61025" y="connsiteY61025"/>
              </a:cxn>
              <a:cxn ang="0">
                <a:pos x="connsiteX61026" y="connsiteY61026"/>
              </a:cxn>
              <a:cxn ang="0">
                <a:pos x="connsiteX61027" y="connsiteY61027"/>
              </a:cxn>
              <a:cxn ang="0">
                <a:pos x="connsiteX61028" y="connsiteY61028"/>
              </a:cxn>
              <a:cxn ang="0">
                <a:pos x="connsiteX61029" y="connsiteY61029"/>
              </a:cxn>
              <a:cxn ang="0">
                <a:pos x="connsiteX61030" y="connsiteY61030"/>
              </a:cxn>
              <a:cxn ang="0">
                <a:pos x="connsiteX61031" y="connsiteY61031"/>
              </a:cxn>
              <a:cxn ang="0">
                <a:pos x="connsiteX61032" y="connsiteY61032"/>
              </a:cxn>
              <a:cxn ang="0">
                <a:pos x="connsiteX61033" y="connsiteY61033"/>
              </a:cxn>
              <a:cxn ang="0">
                <a:pos x="connsiteX61034" y="connsiteY61034"/>
              </a:cxn>
              <a:cxn ang="0">
                <a:pos x="connsiteX61035" y="connsiteY61035"/>
              </a:cxn>
              <a:cxn ang="0">
                <a:pos x="connsiteX61036" y="connsiteY61036"/>
              </a:cxn>
              <a:cxn ang="0">
                <a:pos x="connsiteX61037" y="connsiteY61037"/>
              </a:cxn>
              <a:cxn ang="0">
                <a:pos x="connsiteX61038" y="connsiteY61038"/>
              </a:cxn>
              <a:cxn ang="0">
                <a:pos x="connsiteX61039" y="connsiteY61039"/>
              </a:cxn>
              <a:cxn ang="0">
                <a:pos x="connsiteX61040" y="connsiteY61040"/>
              </a:cxn>
              <a:cxn ang="0">
                <a:pos x="connsiteX61041" y="connsiteY61041"/>
              </a:cxn>
              <a:cxn ang="0">
                <a:pos x="connsiteX61042" y="connsiteY61042"/>
              </a:cxn>
              <a:cxn ang="0">
                <a:pos x="connsiteX61043" y="connsiteY61043"/>
              </a:cxn>
              <a:cxn ang="0">
                <a:pos x="connsiteX61044" y="connsiteY61044"/>
              </a:cxn>
              <a:cxn ang="0">
                <a:pos x="connsiteX61045" y="connsiteY61045"/>
              </a:cxn>
              <a:cxn ang="0">
                <a:pos x="connsiteX61046" y="connsiteY61046"/>
              </a:cxn>
              <a:cxn ang="0">
                <a:pos x="connsiteX61047" y="connsiteY61047"/>
              </a:cxn>
              <a:cxn ang="0">
                <a:pos x="connsiteX61048" y="connsiteY61048"/>
              </a:cxn>
              <a:cxn ang="0">
                <a:pos x="connsiteX61049" y="connsiteY61049"/>
              </a:cxn>
              <a:cxn ang="0">
                <a:pos x="connsiteX61050" y="connsiteY61050"/>
              </a:cxn>
              <a:cxn ang="0">
                <a:pos x="connsiteX61051" y="connsiteY61051"/>
              </a:cxn>
              <a:cxn ang="0">
                <a:pos x="connsiteX61052" y="connsiteY61052"/>
              </a:cxn>
              <a:cxn ang="0">
                <a:pos x="connsiteX61053" y="connsiteY61053"/>
              </a:cxn>
              <a:cxn ang="0">
                <a:pos x="connsiteX61054" y="connsiteY61054"/>
              </a:cxn>
              <a:cxn ang="0">
                <a:pos x="connsiteX61055" y="connsiteY61055"/>
              </a:cxn>
              <a:cxn ang="0">
                <a:pos x="connsiteX61056" y="connsiteY61056"/>
              </a:cxn>
              <a:cxn ang="0">
                <a:pos x="connsiteX61057" y="connsiteY61057"/>
              </a:cxn>
              <a:cxn ang="0">
                <a:pos x="connsiteX61058" y="connsiteY61058"/>
              </a:cxn>
              <a:cxn ang="0">
                <a:pos x="connsiteX61059" y="connsiteY61059"/>
              </a:cxn>
              <a:cxn ang="0">
                <a:pos x="connsiteX61060" y="connsiteY61060"/>
              </a:cxn>
              <a:cxn ang="0">
                <a:pos x="connsiteX61061" y="connsiteY61061"/>
              </a:cxn>
              <a:cxn ang="0">
                <a:pos x="connsiteX61062" y="connsiteY61062"/>
              </a:cxn>
              <a:cxn ang="0">
                <a:pos x="connsiteX61063" y="connsiteY61063"/>
              </a:cxn>
              <a:cxn ang="0">
                <a:pos x="connsiteX61064" y="connsiteY61064"/>
              </a:cxn>
              <a:cxn ang="0">
                <a:pos x="connsiteX61065" y="connsiteY61065"/>
              </a:cxn>
              <a:cxn ang="0">
                <a:pos x="connsiteX61066" y="connsiteY61066"/>
              </a:cxn>
              <a:cxn ang="0">
                <a:pos x="connsiteX61067" y="connsiteY61067"/>
              </a:cxn>
              <a:cxn ang="0">
                <a:pos x="connsiteX61068" y="connsiteY61068"/>
              </a:cxn>
              <a:cxn ang="0">
                <a:pos x="connsiteX61069" y="connsiteY61069"/>
              </a:cxn>
              <a:cxn ang="0">
                <a:pos x="connsiteX61070" y="connsiteY61070"/>
              </a:cxn>
              <a:cxn ang="0">
                <a:pos x="connsiteX61071" y="connsiteY61071"/>
              </a:cxn>
              <a:cxn ang="0">
                <a:pos x="connsiteX61072" y="connsiteY61072"/>
              </a:cxn>
              <a:cxn ang="0">
                <a:pos x="connsiteX61073" y="connsiteY61073"/>
              </a:cxn>
              <a:cxn ang="0">
                <a:pos x="connsiteX61074" y="connsiteY61074"/>
              </a:cxn>
              <a:cxn ang="0">
                <a:pos x="connsiteX61075" y="connsiteY61075"/>
              </a:cxn>
              <a:cxn ang="0">
                <a:pos x="connsiteX61076" y="connsiteY61076"/>
              </a:cxn>
              <a:cxn ang="0">
                <a:pos x="connsiteX61077" y="connsiteY61077"/>
              </a:cxn>
              <a:cxn ang="0">
                <a:pos x="connsiteX61078" y="connsiteY61078"/>
              </a:cxn>
              <a:cxn ang="0">
                <a:pos x="connsiteX61079" y="connsiteY61079"/>
              </a:cxn>
              <a:cxn ang="0">
                <a:pos x="connsiteX61080" y="connsiteY61080"/>
              </a:cxn>
              <a:cxn ang="0">
                <a:pos x="connsiteX61081" y="connsiteY61081"/>
              </a:cxn>
              <a:cxn ang="0">
                <a:pos x="connsiteX61082" y="connsiteY61082"/>
              </a:cxn>
              <a:cxn ang="0">
                <a:pos x="connsiteX61083" y="connsiteY61083"/>
              </a:cxn>
              <a:cxn ang="0">
                <a:pos x="connsiteX61084" y="connsiteY61084"/>
              </a:cxn>
              <a:cxn ang="0">
                <a:pos x="connsiteX61085" y="connsiteY61085"/>
              </a:cxn>
              <a:cxn ang="0">
                <a:pos x="connsiteX61086" y="connsiteY61086"/>
              </a:cxn>
              <a:cxn ang="0">
                <a:pos x="connsiteX61087" y="connsiteY61087"/>
              </a:cxn>
              <a:cxn ang="0">
                <a:pos x="connsiteX61088" y="connsiteY61088"/>
              </a:cxn>
              <a:cxn ang="0">
                <a:pos x="connsiteX61089" y="connsiteY61089"/>
              </a:cxn>
              <a:cxn ang="0">
                <a:pos x="connsiteX61090" y="connsiteY61090"/>
              </a:cxn>
              <a:cxn ang="0">
                <a:pos x="connsiteX61091" y="connsiteY61091"/>
              </a:cxn>
              <a:cxn ang="0">
                <a:pos x="connsiteX61092" y="connsiteY61092"/>
              </a:cxn>
              <a:cxn ang="0">
                <a:pos x="connsiteX61093" y="connsiteY61093"/>
              </a:cxn>
              <a:cxn ang="0">
                <a:pos x="connsiteX61094" y="connsiteY61094"/>
              </a:cxn>
              <a:cxn ang="0">
                <a:pos x="connsiteX61095" y="connsiteY61095"/>
              </a:cxn>
              <a:cxn ang="0">
                <a:pos x="connsiteX61096" y="connsiteY61096"/>
              </a:cxn>
              <a:cxn ang="0">
                <a:pos x="connsiteX61097" y="connsiteY61097"/>
              </a:cxn>
              <a:cxn ang="0">
                <a:pos x="connsiteX61098" y="connsiteY61098"/>
              </a:cxn>
              <a:cxn ang="0">
                <a:pos x="connsiteX61099" y="connsiteY61099"/>
              </a:cxn>
              <a:cxn ang="0">
                <a:pos x="connsiteX61100" y="connsiteY61100"/>
              </a:cxn>
              <a:cxn ang="0">
                <a:pos x="connsiteX61101" y="connsiteY61101"/>
              </a:cxn>
              <a:cxn ang="0">
                <a:pos x="connsiteX61102" y="connsiteY61102"/>
              </a:cxn>
              <a:cxn ang="0">
                <a:pos x="connsiteX61103" y="connsiteY61103"/>
              </a:cxn>
              <a:cxn ang="0">
                <a:pos x="connsiteX61104" y="connsiteY61104"/>
              </a:cxn>
              <a:cxn ang="0">
                <a:pos x="connsiteX61105" y="connsiteY61105"/>
              </a:cxn>
              <a:cxn ang="0">
                <a:pos x="connsiteX61106" y="connsiteY61106"/>
              </a:cxn>
              <a:cxn ang="0">
                <a:pos x="connsiteX61107" y="connsiteY61107"/>
              </a:cxn>
              <a:cxn ang="0">
                <a:pos x="connsiteX61108" y="connsiteY61108"/>
              </a:cxn>
              <a:cxn ang="0">
                <a:pos x="connsiteX61109" y="connsiteY61109"/>
              </a:cxn>
              <a:cxn ang="0">
                <a:pos x="connsiteX61110" y="connsiteY61110"/>
              </a:cxn>
              <a:cxn ang="0">
                <a:pos x="connsiteX61111" y="connsiteY61111"/>
              </a:cxn>
              <a:cxn ang="0">
                <a:pos x="connsiteX61112" y="connsiteY61112"/>
              </a:cxn>
              <a:cxn ang="0">
                <a:pos x="connsiteX61113" y="connsiteY61113"/>
              </a:cxn>
              <a:cxn ang="0">
                <a:pos x="connsiteX61114" y="connsiteY61114"/>
              </a:cxn>
              <a:cxn ang="0">
                <a:pos x="connsiteX61115" y="connsiteY61115"/>
              </a:cxn>
              <a:cxn ang="0">
                <a:pos x="connsiteX61116" y="connsiteY61116"/>
              </a:cxn>
              <a:cxn ang="0">
                <a:pos x="connsiteX61117" y="connsiteY61117"/>
              </a:cxn>
              <a:cxn ang="0">
                <a:pos x="connsiteX61118" y="connsiteY61118"/>
              </a:cxn>
              <a:cxn ang="0">
                <a:pos x="connsiteX61119" y="connsiteY61119"/>
              </a:cxn>
              <a:cxn ang="0">
                <a:pos x="connsiteX61120" y="connsiteY61120"/>
              </a:cxn>
              <a:cxn ang="0">
                <a:pos x="connsiteX61121" y="connsiteY61121"/>
              </a:cxn>
              <a:cxn ang="0">
                <a:pos x="connsiteX61122" y="connsiteY61122"/>
              </a:cxn>
              <a:cxn ang="0">
                <a:pos x="connsiteX61123" y="connsiteY61123"/>
              </a:cxn>
              <a:cxn ang="0">
                <a:pos x="connsiteX61124" y="connsiteY61124"/>
              </a:cxn>
              <a:cxn ang="0">
                <a:pos x="connsiteX61125" y="connsiteY61125"/>
              </a:cxn>
              <a:cxn ang="0">
                <a:pos x="connsiteX61126" y="connsiteY61126"/>
              </a:cxn>
              <a:cxn ang="0">
                <a:pos x="connsiteX61127" y="connsiteY61127"/>
              </a:cxn>
              <a:cxn ang="0">
                <a:pos x="connsiteX61128" y="connsiteY61128"/>
              </a:cxn>
              <a:cxn ang="0">
                <a:pos x="connsiteX61129" y="connsiteY61129"/>
              </a:cxn>
              <a:cxn ang="0">
                <a:pos x="connsiteX61130" y="connsiteY61130"/>
              </a:cxn>
              <a:cxn ang="0">
                <a:pos x="connsiteX61131" y="connsiteY61131"/>
              </a:cxn>
              <a:cxn ang="0">
                <a:pos x="connsiteX61132" y="connsiteY61132"/>
              </a:cxn>
              <a:cxn ang="0">
                <a:pos x="connsiteX61133" y="connsiteY61133"/>
              </a:cxn>
              <a:cxn ang="0">
                <a:pos x="connsiteX61134" y="connsiteY61134"/>
              </a:cxn>
              <a:cxn ang="0">
                <a:pos x="connsiteX61135" y="connsiteY61135"/>
              </a:cxn>
              <a:cxn ang="0">
                <a:pos x="connsiteX61136" y="connsiteY61136"/>
              </a:cxn>
              <a:cxn ang="0">
                <a:pos x="connsiteX61137" y="connsiteY61137"/>
              </a:cxn>
              <a:cxn ang="0">
                <a:pos x="connsiteX61138" y="connsiteY61138"/>
              </a:cxn>
              <a:cxn ang="0">
                <a:pos x="connsiteX61139" y="connsiteY61139"/>
              </a:cxn>
              <a:cxn ang="0">
                <a:pos x="connsiteX61140" y="connsiteY61140"/>
              </a:cxn>
              <a:cxn ang="0">
                <a:pos x="connsiteX61141" y="connsiteY61141"/>
              </a:cxn>
              <a:cxn ang="0">
                <a:pos x="connsiteX61142" y="connsiteY61142"/>
              </a:cxn>
              <a:cxn ang="0">
                <a:pos x="connsiteX61143" y="connsiteY61143"/>
              </a:cxn>
              <a:cxn ang="0">
                <a:pos x="connsiteX61144" y="connsiteY61144"/>
              </a:cxn>
              <a:cxn ang="0">
                <a:pos x="connsiteX61145" y="connsiteY61145"/>
              </a:cxn>
              <a:cxn ang="0">
                <a:pos x="connsiteX61146" y="connsiteY61146"/>
              </a:cxn>
              <a:cxn ang="0">
                <a:pos x="connsiteX61147" y="connsiteY61147"/>
              </a:cxn>
              <a:cxn ang="0">
                <a:pos x="connsiteX61148" y="connsiteY61148"/>
              </a:cxn>
              <a:cxn ang="0">
                <a:pos x="connsiteX61149" y="connsiteY61149"/>
              </a:cxn>
              <a:cxn ang="0">
                <a:pos x="connsiteX61150" y="connsiteY61150"/>
              </a:cxn>
              <a:cxn ang="0">
                <a:pos x="connsiteX61151" y="connsiteY61151"/>
              </a:cxn>
              <a:cxn ang="0">
                <a:pos x="connsiteX61152" y="connsiteY61152"/>
              </a:cxn>
              <a:cxn ang="0">
                <a:pos x="connsiteX61153" y="connsiteY61153"/>
              </a:cxn>
              <a:cxn ang="0">
                <a:pos x="connsiteX61154" y="connsiteY61154"/>
              </a:cxn>
              <a:cxn ang="0">
                <a:pos x="connsiteX61155" y="connsiteY61155"/>
              </a:cxn>
              <a:cxn ang="0">
                <a:pos x="connsiteX61156" y="connsiteY61156"/>
              </a:cxn>
              <a:cxn ang="0">
                <a:pos x="connsiteX61157" y="connsiteY61157"/>
              </a:cxn>
              <a:cxn ang="0">
                <a:pos x="connsiteX61158" y="connsiteY61158"/>
              </a:cxn>
              <a:cxn ang="0">
                <a:pos x="connsiteX61159" y="connsiteY61159"/>
              </a:cxn>
              <a:cxn ang="0">
                <a:pos x="connsiteX61160" y="connsiteY61160"/>
              </a:cxn>
              <a:cxn ang="0">
                <a:pos x="connsiteX61161" y="connsiteY61161"/>
              </a:cxn>
              <a:cxn ang="0">
                <a:pos x="connsiteX61162" y="connsiteY61162"/>
              </a:cxn>
              <a:cxn ang="0">
                <a:pos x="connsiteX61163" y="connsiteY61163"/>
              </a:cxn>
              <a:cxn ang="0">
                <a:pos x="connsiteX61164" y="connsiteY61164"/>
              </a:cxn>
              <a:cxn ang="0">
                <a:pos x="connsiteX61165" y="connsiteY61165"/>
              </a:cxn>
              <a:cxn ang="0">
                <a:pos x="connsiteX61166" y="connsiteY61166"/>
              </a:cxn>
              <a:cxn ang="0">
                <a:pos x="connsiteX61167" y="connsiteY61167"/>
              </a:cxn>
              <a:cxn ang="0">
                <a:pos x="connsiteX61168" y="connsiteY61168"/>
              </a:cxn>
              <a:cxn ang="0">
                <a:pos x="connsiteX61169" y="connsiteY61169"/>
              </a:cxn>
              <a:cxn ang="0">
                <a:pos x="connsiteX61170" y="connsiteY61170"/>
              </a:cxn>
              <a:cxn ang="0">
                <a:pos x="connsiteX61171" y="connsiteY61171"/>
              </a:cxn>
              <a:cxn ang="0">
                <a:pos x="connsiteX61172" y="connsiteY61172"/>
              </a:cxn>
              <a:cxn ang="0">
                <a:pos x="connsiteX61173" y="connsiteY61173"/>
              </a:cxn>
              <a:cxn ang="0">
                <a:pos x="connsiteX61174" y="connsiteY61174"/>
              </a:cxn>
              <a:cxn ang="0">
                <a:pos x="connsiteX61175" y="connsiteY61175"/>
              </a:cxn>
              <a:cxn ang="0">
                <a:pos x="connsiteX61176" y="connsiteY61176"/>
              </a:cxn>
              <a:cxn ang="0">
                <a:pos x="connsiteX61177" y="connsiteY61177"/>
              </a:cxn>
              <a:cxn ang="0">
                <a:pos x="connsiteX61178" y="connsiteY61178"/>
              </a:cxn>
              <a:cxn ang="0">
                <a:pos x="connsiteX61179" y="connsiteY61179"/>
              </a:cxn>
              <a:cxn ang="0">
                <a:pos x="connsiteX61180" y="connsiteY61180"/>
              </a:cxn>
              <a:cxn ang="0">
                <a:pos x="connsiteX61181" y="connsiteY61181"/>
              </a:cxn>
              <a:cxn ang="0">
                <a:pos x="connsiteX61182" y="connsiteY61182"/>
              </a:cxn>
              <a:cxn ang="0">
                <a:pos x="connsiteX61183" y="connsiteY61183"/>
              </a:cxn>
              <a:cxn ang="0">
                <a:pos x="connsiteX61184" y="connsiteY61184"/>
              </a:cxn>
              <a:cxn ang="0">
                <a:pos x="connsiteX61185" y="connsiteY61185"/>
              </a:cxn>
              <a:cxn ang="0">
                <a:pos x="connsiteX61186" y="connsiteY61186"/>
              </a:cxn>
              <a:cxn ang="0">
                <a:pos x="connsiteX61187" y="connsiteY61187"/>
              </a:cxn>
              <a:cxn ang="0">
                <a:pos x="connsiteX61188" y="connsiteY61188"/>
              </a:cxn>
              <a:cxn ang="0">
                <a:pos x="connsiteX61189" y="connsiteY61189"/>
              </a:cxn>
              <a:cxn ang="0">
                <a:pos x="connsiteX61190" y="connsiteY61190"/>
              </a:cxn>
              <a:cxn ang="0">
                <a:pos x="connsiteX61191" y="connsiteY61191"/>
              </a:cxn>
              <a:cxn ang="0">
                <a:pos x="connsiteX61192" y="connsiteY61192"/>
              </a:cxn>
              <a:cxn ang="0">
                <a:pos x="connsiteX61193" y="connsiteY61193"/>
              </a:cxn>
              <a:cxn ang="0">
                <a:pos x="connsiteX61194" y="connsiteY61194"/>
              </a:cxn>
              <a:cxn ang="0">
                <a:pos x="connsiteX61195" y="connsiteY61195"/>
              </a:cxn>
              <a:cxn ang="0">
                <a:pos x="connsiteX61196" y="connsiteY61196"/>
              </a:cxn>
              <a:cxn ang="0">
                <a:pos x="connsiteX61197" y="connsiteY61197"/>
              </a:cxn>
              <a:cxn ang="0">
                <a:pos x="connsiteX61198" y="connsiteY61198"/>
              </a:cxn>
              <a:cxn ang="0">
                <a:pos x="connsiteX61199" y="connsiteY61199"/>
              </a:cxn>
              <a:cxn ang="0">
                <a:pos x="connsiteX61200" y="connsiteY61200"/>
              </a:cxn>
              <a:cxn ang="0">
                <a:pos x="connsiteX61201" y="connsiteY61201"/>
              </a:cxn>
              <a:cxn ang="0">
                <a:pos x="connsiteX61202" y="connsiteY61202"/>
              </a:cxn>
              <a:cxn ang="0">
                <a:pos x="connsiteX61203" y="connsiteY61203"/>
              </a:cxn>
              <a:cxn ang="0">
                <a:pos x="connsiteX61204" y="connsiteY61204"/>
              </a:cxn>
              <a:cxn ang="0">
                <a:pos x="connsiteX61205" y="connsiteY61205"/>
              </a:cxn>
              <a:cxn ang="0">
                <a:pos x="connsiteX61206" y="connsiteY61206"/>
              </a:cxn>
              <a:cxn ang="0">
                <a:pos x="connsiteX61207" y="connsiteY61207"/>
              </a:cxn>
              <a:cxn ang="0">
                <a:pos x="connsiteX61208" y="connsiteY61208"/>
              </a:cxn>
              <a:cxn ang="0">
                <a:pos x="connsiteX61209" y="connsiteY61209"/>
              </a:cxn>
              <a:cxn ang="0">
                <a:pos x="connsiteX61210" y="connsiteY61210"/>
              </a:cxn>
              <a:cxn ang="0">
                <a:pos x="connsiteX61211" y="connsiteY61211"/>
              </a:cxn>
              <a:cxn ang="0">
                <a:pos x="connsiteX61212" y="connsiteY61212"/>
              </a:cxn>
              <a:cxn ang="0">
                <a:pos x="connsiteX61213" y="connsiteY61213"/>
              </a:cxn>
              <a:cxn ang="0">
                <a:pos x="connsiteX61214" y="connsiteY61214"/>
              </a:cxn>
              <a:cxn ang="0">
                <a:pos x="connsiteX61215" y="connsiteY61215"/>
              </a:cxn>
              <a:cxn ang="0">
                <a:pos x="connsiteX61216" y="connsiteY61216"/>
              </a:cxn>
              <a:cxn ang="0">
                <a:pos x="connsiteX61217" y="connsiteY61217"/>
              </a:cxn>
              <a:cxn ang="0">
                <a:pos x="connsiteX61218" y="connsiteY61218"/>
              </a:cxn>
              <a:cxn ang="0">
                <a:pos x="connsiteX61219" y="connsiteY61219"/>
              </a:cxn>
              <a:cxn ang="0">
                <a:pos x="connsiteX61220" y="connsiteY61220"/>
              </a:cxn>
              <a:cxn ang="0">
                <a:pos x="connsiteX61221" y="connsiteY61221"/>
              </a:cxn>
              <a:cxn ang="0">
                <a:pos x="connsiteX61222" y="connsiteY61222"/>
              </a:cxn>
              <a:cxn ang="0">
                <a:pos x="connsiteX61223" y="connsiteY61223"/>
              </a:cxn>
              <a:cxn ang="0">
                <a:pos x="connsiteX61224" y="connsiteY61224"/>
              </a:cxn>
              <a:cxn ang="0">
                <a:pos x="connsiteX61225" y="connsiteY61225"/>
              </a:cxn>
              <a:cxn ang="0">
                <a:pos x="connsiteX61226" y="connsiteY61226"/>
              </a:cxn>
              <a:cxn ang="0">
                <a:pos x="connsiteX61227" y="connsiteY61227"/>
              </a:cxn>
              <a:cxn ang="0">
                <a:pos x="connsiteX61228" y="connsiteY61228"/>
              </a:cxn>
              <a:cxn ang="0">
                <a:pos x="connsiteX61229" y="connsiteY61229"/>
              </a:cxn>
              <a:cxn ang="0">
                <a:pos x="connsiteX61230" y="connsiteY61230"/>
              </a:cxn>
              <a:cxn ang="0">
                <a:pos x="connsiteX61231" y="connsiteY61231"/>
              </a:cxn>
              <a:cxn ang="0">
                <a:pos x="connsiteX61232" y="connsiteY61232"/>
              </a:cxn>
              <a:cxn ang="0">
                <a:pos x="connsiteX61233" y="connsiteY61233"/>
              </a:cxn>
              <a:cxn ang="0">
                <a:pos x="connsiteX61234" y="connsiteY61234"/>
              </a:cxn>
              <a:cxn ang="0">
                <a:pos x="connsiteX61235" y="connsiteY61235"/>
              </a:cxn>
              <a:cxn ang="0">
                <a:pos x="connsiteX61236" y="connsiteY61236"/>
              </a:cxn>
              <a:cxn ang="0">
                <a:pos x="connsiteX61237" y="connsiteY61237"/>
              </a:cxn>
              <a:cxn ang="0">
                <a:pos x="connsiteX61238" y="connsiteY61238"/>
              </a:cxn>
              <a:cxn ang="0">
                <a:pos x="connsiteX61239" y="connsiteY61239"/>
              </a:cxn>
              <a:cxn ang="0">
                <a:pos x="connsiteX61240" y="connsiteY61240"/>
              </a:cxn>
              <a:cxn ang="0">
                <a:pos x="connsiteX61241" y="connsiteY61241"/>
              </a:cxn>
              <a:cxn ang="0">
                <a:pos x="connsiteX61242" y="connsiteY61242"/>
              </a:cxn>
              <a:cxn ang="0">
                <a:pos x="connsiteX61243" y="connsiteY61243"/>
              </a:cxn>
              <a:cxn ang="0">
                <a:pos x="connsiteX61244" y="connsiteY61244"/>
              </a:cxn>
              <a:cxn ang="0">
                <a:pos x="connsiteX61245" y="connsiteY61245"/>
              </a:cxn>
              <a:cxn ang="0">
                <a:pos x="connsiteX61246" y="connsiteY61246"/>
              </a:cxn>
              <a:cxn ang="0">
                <a:pos x="connsiteX61247" y="connsiteY61247"/>
              </a:cxn>
              <a:cxn ang="0">
                <a:pos x="connsiteX61248" y="connsiteY61248"/>
              </a:cxn>
              <a:cxn ang="0">
                <a:pos x="connsiteX61249" y="connsiteY61249"/>
              </a:cxn>
              <a:cxn ang="0">
                <a:pos x="connsiteX61250" y="connsiteY61250"/>
              </a:cxn>
              <a:cxn ang="0">
                <a:pos x="connsiteX61251" y="connsiteY61251"/>
              </a:cxn>
              <a:cxn ang="0">
                <a:pos x="connsiteX61252" y="connsiteY61252"/>
              </a:cxn>
              <a:cxn ang="0">
                <a:pos x="connsiteX61253" y="connsiteY61253"/>
              </a:cxn>
              <a:cxn ang="0">
                <a:pos x="connsiteX61254" y="connsiteY61254"/>
              </a:cxn>
              <a:cxn ang="0">
                <a:pos x="connsiteX61255" y="connsiteY61255"/>
              </a:cxn>
              <a:cxn ang="0">
                <a:pos x="connsiteX61256" y="connsiteY61256"/>
              </a:cxn>
              <a:cxn ang="0">
                <a:pos x="connsiteX61257" y="connsiteY61257"/>
              </a:cxn>
              <a:cxn ang="0">
                <a:pos x="connsiteX61258" y="connsiteY61258"/>
              </a:cxn>
              <a:cxn ang="0">
                <a:pos x="connsiteX61259" y="connsiteY61259"/>
              </a:cxn>
              <a:cxn ang="0">
                <a:pos x="connsiteX61260" y="connsiteY61260"/>
              </a:cxn>
              <a:cxn ang="0">
                <a:pos x="connsiteX61261" y="connsiteY61261"/>
              </a:cxn>
              <a:cxn ang="0">
                <a:pos x="connsiteX61262" y="connsiteY61262"/>
              </a:cxn>
              <a:cxn ang="0">
                <a:pos x="connsiteX61263" y="connsiteY61263"/>
              </a:cxn>
              <a:cxn ang="0">
                <a:pos x="connsiteX61264" y="connsiteY61264"/>
              </a:cxn>
              <a:cxn ang="0">
                <a:pos x="connsiteX61265" y="connsiteY61265"/>
              </a:cxn>
              <a:cxn ang="0">
                <a:pos x="connsiteX61266" y="connsiteY61266"/>
              </a:cxn>
              <a:cxn ang="0">
                <a:pos x="connsiteX61267" y="connsiteY61267"/>
              </a:cxn>
              <a:cxn ang="0">
                <a:pos x="connsiteX61268" y="connsiteY61268"/>
              </a:cxn>
              <a:cxn ang="0">
                <a:pos x="connsiteX61269" y="connsiteY61269"/>
              </a:cxn>
              <a:cxn ang="0">
                <a:pos x="connsiteX61270" y="connsiteY61270"/>
              </a:cxn>
              <a:cxn ang="0">
                <a:pos x="connsiteX61271" y="connsiteY61271"/>
              </a:cxn>
              <a:cxn ang="0">
                <a:pos x="connsiteX61272" y="connsiteY61272"/>
              </a:cxn>
              <a:cxn ang="0">
                <a:pos x="connsiteX61273" y="connsiteY61273"/>
              </a:cxn>
              <a:cxn ang="0">
                <a:pos x="connsiteX61274" y="connsiteY61274"/>
              </a:cxn>
              <a:cxn ang="0">
                <a:pos x="connsiteX61275" y="connsiteY61275"/>
              </a:cxn>
              <a:cxn ang="0">
                <a:pos x="connsiteX61276" y="connsiteY61276"/>
              </a:cxn>
              <a:cxn ang="0">
                <a:pos x="connsiteX61277" y="connsiteY61277"/>
              </a:cxn>
              <a:cxn ang="0">
                <a:pos x="connsiteX61278" y="connsiteY61278"/>
              </a:cxn>
              <a:cxn ang="0">
                <a:pos x="connsiteX61279" y="connsiteY61279"/>
              </a:cxn>
              <a:cxn ang="0">
                <a:pos x="connsiteX61280" y="connsiteY61280"/>
              </a:cxn>
              <a:cxn ang="0">
                <a:pos x="connsiteX61281" y="connsiteY61281"/>
              </a:cxn>
              <a:cxn ang="0">
                <a:pos x="connsiteX61282" y="connsiteY61282"/>
              </a:cxn>
              <a:cxn ang="0">
                <a:pos x="connsiteX61283" y="connsiteY61283"/>
              </a:cxn>
              <a:cxn ang="0">
                <a:pos x="connsiteX61284" y="connsiteY61284"/>
              </a:cxn>
              <a:cxn ang="0">
                <a:pos x="connsiteX61285" y="connsiteY61285"/>
              </a:cxn>
              <a:cxn ang="0">
                <a:pos x="connsiteX61286" y="connsiteY61286"/>
              </a:cxn>
              <a:cxn ang="0">
                <a:pos x="connsiteX61287" y="connsiteY61287"/>
              </a:cxn>
              <a:cxn ang="0">
                <a:pos x="connsiteX61288" y="connsiteY61288"/>
              </a:cxn>
              <a:cxn ang="0">
                <a:pos x="connsiteX61289" y="connsiteY61289"/>
              </a:cxn>
              <a:cxn ang="0">
                <a:pos x="connsiteX61290" y="connsiteY61290"/>
              </a:cxn>
              <a:cxn ang="0">
                <a:pos x="connsiteX61291" y="connsiteY61291"/>
              </a:cxn>
              <a:cxn ang="0">
                <a:pos x="connsiteX61292" y="connsiteY61292"/>
              </a:cxn>
              <a:cxn ang="0">
                <a:pos x="connsiteX61293" y="connsiteY61293"/>
              </a:cxn>
              <a:cxn ang="0">
                <a:pos x="connsiteX61294" y="connsiteY61294"/>
              </a:cxn>
              <a:cxn ang="0">
                <a:pos x="connsiteX61295" y="connsiteY61295"/>
              </a:cxn>
              <a:cxn ang="0">
                <a:pos x="connsiteX61296" y="connsiteY61296"/>
              </a:cxn>
              <a:cxn ang="0">
                <a:pos x="connsiteX61297" y="connsiteY61297"/>
              </a:cxn>
              <a:cxn ang="0">
                <a:pos x="connsiteX61298" y="connsiteY61298"/>
              </a:cxn>
              <a:cxn ang="0">
                <a:pos x="connsiteX61299" y="connsiteY61299"/>
              </a:cxn>
              <a:cxn ang="0">
                <a:pos x="connsiteX61300" y="connsiteY61300"/>
              </a:cxn>
              <a:cxn ang="0">
                <a:pos x="connsiteX61301" y="connsiteY61301"/>
              </a:cxn>
              <a:cxn ang="0">
                <a:pos x="connsiteX61302" y="connsiteY61302"/>
              </a:cxn>
              <a:cxn ang="0">
                <a:pos x="connsiteX61303" y="connsiteY61303"/>
              </a:cxn>
              <a:cxn ang="0">
                <a:pos x="connsiteX61304" y="connsiteY61304"/>
              </a:cxn>
              <a:cxn ang="0">
                <a:pos x="connsiteX61305" y="connsiteY61305"/>
              </a:cxn>
              <a:cxn ang="0">
                <a:pos x="connsiteX61306" y="connsiteY61306"/>
              </a:cxn>
              <a:cxn ang="0">
                <a:pos x="connsiteX61307" y="connsiteY61307"/>
              </a:cxn>
              <a:cxn ang="0">
                <a:pos x="connsiteX61308" y="connsiteY61308"/>
              </a:cxn>
              <a:cxn ang="0">
                <a:pos x="connsiteX61309" y="connsiteY61309"/>
              </a:cxn>
              <a:cxn ang="0">
                <a:pos x="connsiteX61310" y="connsiteY61310"/>
              </a:cxn>
              <a:cxn ang="0">
                <a:pos x="connsiteX61311" y="connsiteY61311"/>
              </a:cxn>
              <a:cxn ang="0">
                <a:pos x="connsiteX61312" y="connsiteY61312"/>
              </a:cxn>
              <a:cxn ang="0">
                <a:pos x="connsiteX61313" y="connsiteY61313"/>
              </a:cxn>
              <a:cxn ang="0">
                <a:pos x="connsiteX61314" y="connsiteY61314"/>
              </a:cxn>
              <a:cxn ang="0">
                <a:pos x="connsiteX61315" y="connsiteY61315"/>
              </a:cxn>
              <a:cxn ang="0">
                <a:pos x="connsiteX61316" y="connsiteY61316"/>
              </a:cxn>
              <a:cxn ang="0">
                <a:pos x="connsiteX61317" y="connsiteY61317"/>
              </a:cxn>
              <a:cxn ang="0">
                <a:pos x="connsiteX61318" y="connsiteY61318"/>
              </a:cxn>
              <a:cxn ang="0">
                <a:pos x="connsiteX61319" y="connsiteY61319"/>
              </a:cxn>
              <a:cxn ang="0">
                <a:pos x="connsiteX61320" y="connsiteY61320"/>
              </a:cxn>
              <a:cxn ang="0">
                <a:pos x="connsiteX61321" y="connsiteY61321"/>
              </a:cxn>
              <a:cxn ang="0">
                <a:pos x="connsiteX61322" y="connsiteY61322"/>
              </a:cxn>
              <a:cxn ang="0">
                <a:pos x="connsiteX61323" y="connsiteY61323"/>
              </a:cxn>
              <a:cxn ang="0">
                <a:pos x="connsiteX61324" y="connsiteY61324"/>
              </a:cxn>
              <a:cxn ang="0">
                <a:pos x="connsiteX61325" y="connsiteY61325"/>
              </a:cxn>
              <a:cxn ang="0">
                <a:pos x="connsiteX61326" y="connsiteY61326"/>
              </a:cxn>
              <a:cxn ang="0">
                <a:pos x="connsiteX61327" y="connsiteY61327"/>
              </a:cxn>
              <a:cxn ang="0">
                <a:pos x="connsiteX61328" y="connsiteY61328"/>
              </a:cxn>
              <a:cxn ang="0">
                <a:pos x="connsiteX61329" y="connsiteY61329"/>
              </a:cxn>
              <a:cxn ang="0">
                <a:pos x="connsiteX61330" y="connsiteY61330"/>
              </a:cxn>
              <a:cxn ang="0">
                <a:pos x="connsiteX61331" y="connsiteY61331"/>
              </a:cxn>
              <a:cxn ang="0">
                <a:pos x="connsiteX61332" y="connsiteY61332"/>
              </a:cxn>
              <a:cxn ang="0">
                <a:pos x="connsiteX61333" y="connsiteY61333"/>
              </a:cxn>
              <a:cxn ang="0">
                <a:pos x="connsiteX61334" y="connsiteY61334"/>
              </a:cxn>
              <a:cxn ang="0">
                <a:pos x="connsiteX61335" y="connsiteY61335"/>
              </a:cxn>
              <a:cxn ang="0">
                <a:pos x="connsiteX61336" y="connsiteY61336"/>
              </a:cxn>
              <a:cxn ang="0">
                <a:pos x="connsiteX61337" y="connsiteY61337"/>
              </a:cxn>
              <a:cxn ang="0">
                <a:pos x="connsiteX61338" y="connsiteY61338"/>
              </a:cxn>
              <a:cxn ang="0">
                <a:pos x="connsiteX61339" y="connsiteY61339"/>
              </a:cxn>
              <a:cxn ang="0">
                <a:pos x="connsiteX61340" y="connsiteY61340"/>
              </a:cxn>
              <a:cxn ang="0">
                <a:pos x="connsiteX61341" y="connsiteY61341"/>
              </a:cxn>
              <a:cxn ang="0">
                <a:pos x="connsiteX61342" y="connsiteY61342"/>
              </a:cxn>
              <a:cxn ang="0">
                <a:pos x="connsiteX61343" y="connsiteY61343"/>
              </a:cxn>
              <a:cxn ang="0">
                <a:pos x="connsiteX61344" y="connsiteY61344"/>
              </a:cxn>
              <a:cxn ang="0">
                <a:pos x="connsiteX61345" y="connsiteY61345"/>
              </a:cxn>
              <a:cxn ang="0">
                <a:pos x="connsiteX61346" y="connsiteY61346"/>
              </a:cxn>
              <a:cxn ang="0">
                <a:pos x="connsiteX61347" y="connsiteY61347"/>
              </a:cxn>
              <a:cxn ang="0">
                <a:pos x="connsiteX61348" y="connsiteY61348"/>
              </a:cxn>
              <a:cxn ang="0">
                <a:pos x="connsiteX61349" y="connsiteY61349"/>
              </a:cxn>
              <a:cxn ang="0">
                <a:pos x="connsiteX61350" y="connsiteY61350"/>
              </a:cxn>
              <a:cxn ang="0">
                <a:pos x="connsiteX61351" y="connsiteY61351"/>
              </a:cxn>
              <a:cxn ang="0">
                <a:pos x="connsiteX61352" y="connsiteY61352"/>
              </a:cxn>
              <a:cxn ang="0">
                <a:pos x="connsiteX61353" y="connsiteY61353"/>
              </a:cxn>
              <a:cxn ang="0">
                <a:pos x="connsiteX61354" y="connsiteY61354"/>
              </a:cxn>
              <a:cxn ang="0">
                <a:pos x="connsiteX61355" y="connsiteY61355"/>
              </a:cxn>
              <a:cxn ang="0">
                <a:pos x="connsiteX61356" y="connsiteY61356"/>
              </a:cxn>
              <a:cxn ang="0">
                <a:pos x="connsiteX61357" y="connsiteY61357"/>
              </a:cxn>
              <a:cxn ang="0">
                <a:pos x="connsiteX61358" y="connsiteY61358"/>
              </a:cxn>
              <a:cxn ang="0">
                <a:pos x="connsiteX61359" y="connsiteY61359"/>
              </a:cxn>
              <a:cxn ang="0">
                <a:pos x="connsiteX61360" y="connsiteY61360"/>
              </a:cxn>
              <a:cxn ang="0">
                <a:pos x="connsiteX61361" y="connsiteY61361"/>
              </a:cxn>
              <a:cxn ang="0">
                <a:pos x="connsiteX61362" y="connsiteY61362"/>
              </a:cxn>
              <a:cxn ang="0">
                <a:pos x="connsiteX61363" y="connsiteY61363"/>
              </a:cxn>
              <a:cxn ang="0">
                <a:pos x="connsiteX61364" y="connsiteY61364"/>
              </a:cxn>
              <a:cxn ang="0">
                <a:pos x="connsiteX61365" y="connsiteY61365"/>
              </a:cxn>
              <a:cxn ang="0">
                <a:pos x="connsiteX61366" y="connsiteY61366"/>
              </a:cxn>
              <a:cxn ang="0">
                <a:pos x="connsiteX61367" y="connsiteY61367"/>
              </a:cxn>
              <a:cxn ang="0">
                <a:pos x="connsiteX61368" y="connsiteY61368"/>
              </a:cxn>
              <a:cxn ang="0">
                <a:pos x="connsiteX61369" y="connsiteY61369"/>
              </a:cxn>
              <a:cxn ang="0">
                <a:pos x="connsiteX61370" y="connsiteY61370"/>
              </a:cxn>
              <a:cxn ang="0">
                <a:pos x="connsiteX61371" y="connsiteY61371"/>
              </a:cxn>
              <a:cxn ang="0">
                <a:pos x="connsiteX61372" y="connsiteY61372"/>
              </a:cxn>
              <a:cxn ang="0">
                <a:pos x="connsiteX61373" y="connsiteY61373"/>
              </a:cxn>
              <a:cxn ang="0">
                <a:pos x="connsiteX61374" y="connsiteY61374"/>
              </a:cxn>
              <a:cxn ang="0">
                <a:pos x="connsiteX61375" y="connsiteY61375"/>
              </a:cxn>
              <a:cxn ang="0">
                <a:pos x="connsiteX61376" y="connsiteY61376"/>
              </a:cxn>
              <a:cxn ang="0">
                <a:pos x="connsiteX61377" y="connsiteY61377"/>
              </a:cxn>
              <a:cxn ang="0">
                <a:pos x="connsiteX61378" y="connsiteY61378"/>
              </a:cxn>
              <a:cxn ang="0">
                <a:pos x="connsiteX61379" y="connsiteY61379"/>
              </a:cxn>
              <a:cxn ang="0">
                <a:pos x="connsiteX61380" y="connsiteY61380"/>
              </a:cxn>
              <a:cxn ang="0">
                <a:pos x="connsiteX61381" y="connsiteY61381"/>
              </a:cxn>
              <a:cxn ang="0">
                <a:pos x="connsiteX61382" y="connsiteY61382"/>
              </a:cxn>
              <a:cxn ang="0">
                <a:pos x="connsiteX61383" y="connsiteY61383"/>
              </a:cxn>
              <a:cxn ang="0">
                <a:pos x="connsiteX61384" y="connsiteY61384"/>
              </a:cxn>
              <a:cxn ang="0">
                <a:pos x="connsiteX61385" y="connsiteY61385"/>
              </a:cxn>
              <a:cxn ang="0">
                <a:pos x="connsiteX61386" y="connsiteY61386"/>
              </a:cxn>
              <a:cxn ang="0">
                <a:pos x="connsiteX61387" y="connsiteY61387"/>
              </a:cxn>
              <a:cxn ang="0">
                <a:pos x="connsiteX61388" y="connsiteY61388"/>
              </a:cxn>
              <a:cxn ang="0">
                <a:pos x="connsiteX61389" y="connsiteY61389"/>
              </a:cxn>
              <a:cxn ang="0">
                <a:pos x="connsiteX61390" y="connsiteY61390"/>
              </a:cxn>
              <a:cxn ang="0">
                <a:pos x="connsiteX61391" y="connsiteY61391"/>
              </a:cxn>
              <a:cxn ang="0">
                <a:pos x="connsiteX61392" y="connsiteY61392"/>
              </a:cxn>
              <a:cxn ang="0">
                <a:pos x="connsiteX61393" y="connsiteY61393"/>
              </a:cxn>
              <a:cxn ang="0">
                <a:pos x="connsiteX61394" y="connsiteY61394"/>
              </a:cxn>
              <a:cxn ang="0">
                <a:pos x="connsiteX61395" y="connsiteY61395"/>
              </a:cxn>
              <a:cxn ang="0">
                <a:pos x="connsiteX61396" y="connsiteY61396"/>
              </a:cxn>
              <a:cxn ang="0">
                <a:pos x="connsiteX61397" y="connsiteY61397"/>
              </a:cxn>
              <a:cxn ang="0">
                <a:pos x="connsiteX61398" y="connsiteY61398"/>
              </a:cxn>
              <a:cxn ang="0">
                <a:pos x="connsiteX61399" y="connsiteY61399"/>
              </a:cxn>
              <a:cxn ang="0">
                <a:pos x="connsiteX61400" y="connsiteY61400"/>
              </a:cxn>
              <a:cxn ang="0">
                <a:pos x="connsiteX61401" y="connsiteY61401"/>
              </a:cxn>
              <a:cxn ang="0">
                <a:pos x="connsiteX61402" y="connsiteY61402"/>
              </a:cxn>
              <a:cxn ang="0">
                <a:pos x="connsiteX61403" y="connsiteY61403"/>
              </a:cxn>
              <a:cxn ang="0">
                <a:pos x="connsiteX61404" y="connsiteY61404"/>
              </a:cxn>
              <a:cxn ang="0">
                <a:pos x="connsiteX61405" y="connsiteY61405"/>
              </a:cxn>
              <a:cxn ang="0">
                <a:pos x="connsiteX61406" y="connsiteY61406"/>
              </a:cxn>
              <a:cxn ang="0">
                <a:pos x="connsiteX61407" y="connsiteY61407"/>
              </a:cxn>
              <a:cxn ang="0">
                <a:pos x="connsiteX61408" y="connsiteY61408"/>
              </a:cxn>
              <a:cxn ang="0">
                <a:pos x="connsiteX61409" y="connsiteY61409"/>
              </a:cxn>
              <a:cxn ang="0">
                <a:pos x="connsiteX61410" y="connsiteY61410"/>
              </a:cxn>
              <a:cxn ang="0">
                <a:pos x="connsiteX61411" y="connsiteY61411"/>
              </a:cxn>
              <a:cxn ang="0">
                <a:pos x="connsiteX61412" y="connsiteY61412"/>
              </a:cxn>
              <a:cxn ang="0">
                <a:pos x="connsiteX61413" y="connsiteY61413"/>
              </a:cxn>
              <a:cxn ang="0">
                <a:pos x="connsiteX61414" y="connsiteY61414"/>
              </a:cxn>
              <a:cxn ang="0">
                <a:pos x="connsiteX61415" y="connsiteY61415"/>
              </a:cxn>
              <a:cxn ang="0">
                <a:pos x="connsiteX61416" y="connsiteY61416"/>
              </a:cxn>
              <a:cxn ang="0">
                <a:pos x="connsiteX61417" y="connsiteY61417"/>
              </a:cxn>
              <a:cxn ang="0">
                <a:pos x="connsiteX61418" y="connsiteY61418"/>
              </a:cxn>
              <a:cxn ang="0">
                <a:pos x="connsiteX61419" y="connsiteY61419"/>
              </a:cxn>
              <a:cxn ang="0">
                <a:pos x="connsiteX61420" y="connsiteY61420"/>
              </a:cxn>
              <a:cxn ang="0">
                <a:pos x="connsiteX61421" y="connsiteY61421"/>
              </a:cxn>
              <a:cxn ang="0">
                <a:pos x="connsiteX61422" y="connsiteY61422"/>
              </a:cxn>
              <a:cxn ang="0">
                <a:pos x="connsiteX61423" y="connsiteY61423"/>
              </a:cxn>
              <a:cxn ang="0">
                <a:pos x="connsiteX61424" y="connsiteY61424"/>
              </a:cxn>
              <a:cxn ang="0">
                <a:pos x="connsiteX61425" y="connsiteY61425"/>
              </a:cxn>
              <a:cxn ang="0">
                <a:pos x="connsiteX61426" y="connsiteY61426"/>
              </a:cxn>
              <a:cxn ang="0">
                <a:pos x="connsiteX61427" y="connsiteY61427"/>
              </a:cxn>
              <a:cxn ang="0">
                <a:pos x="connsiteX61428" y="connsiteY61428"/>
              </a:cxn>
              <a:cxn ang="0">
                <a:pos x="connsiteX61429" y="connsiteY61429"/>
              </a:cxn>
              <a:cxn ang="0">
                <a:pos x="connsiteX61430" y="connsiteY61430"/>
              </a:cxn>
              <a:cxn ang="0">
                <a:pos x="connsiteX61431" y="connsiteY61431"/>
              </a:cxn>
              <a:cxn ang="0">
                <a:pos x="connsiteX61432" y="connsiteY61432"/>
              </a:cxn>
              <a:cxn ang="0">
                <a:pos x="connsiteX61433" y="connsiteY61433"/>
              </a:cxn>
              <a:cxn ang="0">
                <a:pos x="connsiteX61434" y="connsiteY61434"/>
              </a:cxn>
              <a:cxn ang="0">
                <a:pos x="connsiteX61435" y="connsiteY61435"/>
              </a:cxn>
              <a:cxn ang="0">
                <a:pos x="connsiteX61436" y="connsiteY61436"/>
              </a:cxn>
              <a:cxn ang="0">
                <a:pos x="connsiteX61437" y="connsiteY61437"/>
              </a:cxn>
              <a:cxn ang="0">
                <a:pos x="connsiteX61438" y="connsiteY61438"/>
              </a:cxn>
              <a:cxn ang="0">
                <a:pos x="connsiteX61439" y="connsiteY61439"/>
              </a:cxn>
              <a:cxn ang="0">
                <a:pos x="connsiteX61440" y="connsiteY61440"/>
              </a:cxn>
              <a:cxn ang="0">
                <a:pos x="connsiteX61441" y="connsiteY61441"/>
              </a:cxn>
              <a:cxn ang="0">
                <a:pos x="connsiteX61442" y="connsiteY61442"/>
              </a:cxn>
              <a:cxn ang="0">
                <a:pos x="connsiteX61443" y="connsiteY61443"/>
              </a:cxn>
              <a:cxn ang="0">
                <a:pos x="connsiteX61444" y="connsiteY61444"/>
              </a:cxn>
              <a:cxn ang="0">
                <a:pos x="connsiteX61445" y="connsiteY61445"/>
              </a:cxn>
              <a:cxn ang="0">
                <a:pos x="connsiteX61446" y="connsiteY61446"/>
              </a:cxn>
              <a:cxn ang="0">
                <a:pos x="connsiteX61447" y="connsiteY61447"/>
              </a:cxn>
              <a:cxn ang="0">
                <a:pos x="connsiteX61448" y="connsiteY61448"/>
              </a:cxn>
              <a:cxn ang="0">
                <a:pos x="connsiteX61449" y="connsiteY61449"/>
              </a:cxn>
              <a:cxn ang="0">
                <a:pos x="connsiteX61450" y="connsiteY61450"/>
              </a:cxn>
              <a:cxn ang="0">
                <a:pos x="connsiteX61451" y="connsiteY61451"/>
              </a:cxn>
              <a:cxn ang="0">
                <a:pos x="connsiteX61452" y="connsiteY61452"/>
              </a:cxn>
              <a:cxn ang="0">
                <a:pos x="connsiteX61453" y="connsiteY61453"/>
              </a:cxn>
              <a:cxn ang="0">
                <a:pos x="connsiteX61454" y="connsiteY61454"/>
              </a:cxn>
              <a:cxn ang="0">
                <a:pos x="connsiteX61455" y="connsiteY61455"/>
              </a:cxn>
              <a:cxn ang="0">
                <a:pos x="connsiteX61456" y="connsiteY61456"/>
              </a:cxn>
              <a:cxn ang="0">
                <a:pos x="connsiteX61457" y="connsiteY61457"/>
              </a:cxn>
              <a:cxn ang="0">
                <a:pos x="connsiteX61458" y="connsiteY61458"/>
              </a:cxn>
              <a:cxn ang="0">
                <a:pos x="connsiteX61459" y="connsiteY61459"/>
              </a:cxn>
              <a:cxn ang="0">
                <a:pos x="connsiteX61460" y="connsiteY61460"/>
              </a:cxn>
              <a:cxn ang="0">
                <a:pos x="connsiteX61461" y="connsiteY61461"/>
              </a:cxn>
              <a:cxn ang="0">
                <a:pos x="connsiteX61462" y="connsiteY61462"/>
              </a:cxn>
              <a:cxn ang="0">
                <a:pos x="connsiteX61463" y="connsiteY61463"/>
              </a:cxn>
              <a:cxn ang="0">
                <a:pos x="connsiteX61464" y="connsiteY61464"/>
              </a:cxn>
              <a:cxn ang="0">
                <a:pos x="connsiteX61465" y="connsiteY61465"/>
              </a:cxn>
              <a:cxn ang="0">
                <a:pos x="connsiteX61466" y="connsiteY61466"/>
              </a:cxn>
              <a:cxn ang="0">
                <a:pos x="connsiteX61467" y="connsiteY61467"/>
              </a:cxn>
              <a:cxn ang="0">
                <a:pos x="connsiteX61468" y="connsiteY61468"/>
              </a:cxn>
              <a:cxn ang="0">
                <a:pos x="connsiteX61469" y="connsiteY61469"/>
              </a:cxn>
              <a:cxn ang="0">
                <a:pos x="connsiteX61470" y="connsiteY61470"/>
              </a:cxn>
              <a:cxn ang="0">
                <a:pos x="connsiteX61471" y="connsiteY61471"/>
              </a:cxn>
              <a:cxn ang="0">
                <a:pos x="connsiteX61472" y="connsiteY61472"/>
              </a:cxn>
              <a:cxn ang="0">
                <a:pos x="connsiteX61473" y="connsiteY61473"/>
              </a:cxn>
              <a:cxn ang="0">
                <a:pos x="connsiteX61474" y="connsiteY61474"/>
              </a:cxn>
              <a:cxn ang="0">
                <a:pos x="connsiteX61475" y="connsiteY61475"/>
              </a:cxn>
              <a:cxn ang="0">
                <a:pos x="connsiteX61476" y="connsiteY61476"/>
              </a:cxn>
              <a:cxn ang="0">
                <a:pos x="connsiteX61477" y="connsiteY61477"/>
              </a:cxn>
              <a:cxn ang="0">
                <a:pos x="connsiteX61478" y="connsiteY61478"/>
              </a:cxn>
              <a:cxn ang="0">
                <a:pos x="connsiteX61479" y="connsiteY61479"/>
              </a:cxn>
              <a:cxn ang="0">
                <a:pos x="connsiteX61480" y="connsiteY61480"/>
              </a:cxn>
              <a:cxn ang="0">
                <a:pos x="connsiteX61481" y="connsiteY61481"/>
              </a:cxn>
              <a:cxn ang="0">
                <a:pos x="connsiteX61482" y="connsiteY61482"/>
              </a:cxn>
              <a:cxn ang="0">
                <a:pos x="connsiteX61483" y="connsiteY61483"/>
              </a:cxn>
              <a:cxn ang="0">
                <a:pos x="connsiteX61484" y="connsiteY61484"/>
              </a:cxn>
              <a:cxn ang="0">
                <a:pos x="connsiteX61485" y="connsiteY61485"/>
              </a:cxn>
              <a:cxn ang="0">
                <a:pos x="connsiteX61486" y="connsiteY61486"/>
              </a:cxn>
              <a:cxn ang="0">
                <a:pos x="connsiteX61487" y="connsiteY61487"/>
              </a:cxn>
              <a:cxn ang="0">
                <a:pos x="connsiteX61488" y="connsiteY61488"/>
              </a:cxn>
              <a:cxn ang="0">
                <a:pos x="connsiteX61489" y="connsiteY61489"/>
              </a:cxn>
              <a:cxn ang="0">
                <a:pos x="connsiteX61490" y="connsiteY61490"/>
              </a:cxn>
              <a:cxn ang="0">
                <a:pos x="connsiteX61491" y="connsiteY61491"/>
              </a:cxn>
              <a:cxn ang="0">
                <a:pos x="connsiteX61492" y="connsiteY61492"/>
              </a:cxn>
              <a:cxn ang="0">
                <a:pos x="connsiteX61493" y="connsiteY61493"/>
              </a:cxn>
              <a:cxn ang="0">
                <a:pos x="connsiteX61494" y="connsiteY61494"/>
              </a:cxn>
              <a:cxn ang="0">
                <a:pos x="connsiteX61495" y="connsiteY61495"/>
              </a:cxn>
              <a:cxn ang="0">
                <a:pos x="connsiteX61496" y="connsiteY61496"/>
              </a:cxn>
              <a:cxn ang="0">
                <a:pos x="connsiteX61497" y="connsiteY61497"/>
              </a:cxn>
              <a:cxn ang="0">
                <a:pos x="connsiteX61498" y="connsiteY61498"/>
              </a:cxn>
              <a:cxn ang="0">
                <a:pos x="connsiteX61499" y="connsiteY61499"/>
              </a:cxn>
              <a:cxn ang="0">
                <a:pos x="connsiteX61500" y="connsiteY61500"/>
              </a:cxn>
              <a:cxn ang="0">
                <a:pos x="connsiteX61501" y="connsiteY61501"/>
              </a:cxn>
              <a:cxn ang="0">
                <a:pos x="connsiteX61502" y="connsiteY61502"/>
              </a:cxn>
              <a:cxn ang="0">
                <a:pos x="connsiteX61503" y="connsiteY61503"/>
              </a:cxn>
              <a:cxn ang="0">
                <a:pos x="connsiteX61504" y="connsiteY61504"/>
              </a:cxn>
              <a:cxn ang="0">
                <a:pos x="connsiteX61505" y="connsiteY61505"/>
              </a:cxn>
              <a:cxn ang="0">
                <a:pos x="connsiteX61506" y="connsiteY61506"/>
              </a:cxn>
              <a:cxn ang="0">
                <a:pos x="connsiteX61507" y="connsiteY61507"/>
              </a:cxn>
              <a:cxn ang="0">
                <a:pos x="connsiteX61508" y="connsiteY61508"/>
              </a:cxn>
              <a:cxn ang="0">
                <a:pos x="connsiteX61509" y="connsiteY61509"/>
              </a:cxn>
              <a:cxn ang="0">
                <a:pos x="connsiteX61510" y="connsiteY61510"/>
              </a:cxn>
              <a:cxn ang="0">
                <a:pos x="connsiteX61511" y="connsiteY61511"/>
              </a:cxn>
              <a:cxn ang="0">
                <a:pos x="connsiteX61512" y="connsiteY61512"/>
              </a:cxn>
              <a:cxn ang="0">
                <a:pos x="connsiteX61513" y="connsiteY61513"/>
              </a:cxn>
              <a:cxn ang="0">
                <a:pos x="connsiteX61514" y="connsiteY61514"/>
              </a:cxn>
              <a:cxn ang="0">
                <a:pos x="connsiteX61515" y="connsiteY61515"/>
              </a:cxn>
              <a:cxn ang="0">
                <a:pos x="connsiteX61516" y="connsiteY61516"/>
              </a:cxn>
              <a:cxn ang="0">
                <a:pos x="connsiteX61517" y="connsiteY61517"/>
              </a:cxn>
              <a:cxn ang="0">
                <a:pos x="connsiteX61518" y="connsiteY61518"/>
              </a:cxn>
              <a:cxn ang="0">
                <a:pos x="connsiteX61519" y="connsiteY61519"/>
              </a:cxn>
              <a:cxn ang="0">
                <a:pos x="connsiteX61520" y="connsiteY61520"/>
              </a:cxn>
              <a:cxn ang="0">
                <a:pos x="connsiteX61521" y="connsiteY61521"/>
              </a:cxn>
              <a:cxn ang="0">
                <a:pos x="connsiteX61522" y="connsiteY61522"/>
              </a:cxn>
              <a:cxn ang="0">
                <a:pos x="connsiteX61523" y="connsiteY61523"/>
              </a:cxn>
              <a:cxn ang="0">
                <a:pos x="connsiteX61524" y="connsiteY61524"/>
              </a:cxn>
              <a:cxn ang="0">
                <a:pos x="connsiteX61525" y="connsiteY61525"/>
              </a:cxn>
              <a:cxn ang="0">
                <a:pos x="connsiteX61526" y="connsiteY61526"/>
              </a:cxn>
              <a:cxn ang="0">
                <a:pos x="connsiteX61527" y="connsiteY61527"/>
              </a:cxn>
              <a:cxn ang="0">
                <a:pos x="connsiteX61528" y="connsiteY61528"/>
              </a:cxn>
              <a:cxn ang="0">
                <a:pos x="connsiteX61529" y="connsiteY61529"/>
              </a:cxn>
              <a:cxn ang="0">
                <a:pos x="connsiteX61530" y="connsiteY61530"/>
              </a:cxn>
              <a:cxn ang="0">
                <a:pos x="connsiteX61531" y="connsiteY61531"/>
              </a:cxn>
              <a:cxn ang="0">
                <a:pos x="connsiteX61532" y="connsiteY61532"/>
              </a:cxn>
              <a:cxn ang="0">
                <a:pos x="connsiteX61533" y="connsiteY61533"/>
              </a:cxn>
              <a:cxn ang="0">
                <a:pos x="connsiteX61534" y="connsiteY61534"/>
              </a:cxn>
              <a:cxn ang="0">
                <a:pos x="connsiteX61535" y="connsiteY61535"/>
              </a:cxn>
              <a:cxn ang="0">
                <a:pos x="connsiteX61536" y="connsiteY61536"/>
              </a:cxn>
              <a:cxn ang="0">
                <a:pos x="connsiteX61537" y="connsiteY61537"/>
              </a:cxn>
              <a:cxn ang="0">
                <a:pos x="connsiteX61538" y="connsiteY61538"/>
              </a:cxn>
              <a:cxn ang="0">
                <a:pos x="connsiteX61539" y="connsiteY61539"/>
              </a:cxn>
              <a:cxn ang="0">
                <a:pos x="connsiteX61540" y="connsiteY61540"/>
              </a:cxn>
              <a:cxn ang="0">
                <a:pos x="connsiteX61541" y="connsiteY61541"/>
              </a:cxn>
              <a:cxn ang="0">
                <a:pos x="connsiteX61542" y="connsiteY61542"/>
              </a:cxn>
              <a:cxn ang="0">
                <a:pos x="connsiteX61543" y="connsiteY61543"/>
              </a:cxn>
              <a:cxn ang="0">
                <a:pos x="connsiteX61544" y="connsiteY61544"/>
              </a:cxn>
              <a:cxn ang="0">
                <a:pos x="connsiteX61545" y="connsiteY61545"/>
              </a:cxn>
              <a:cxn ang="0">
                <a:pos x="connsiteX61546" y="connsiteY61546"/>
              </a:cxn>
              <a:cxn ang="0">
                <a:pos x="connsiteX61547" y="connsiteY61547"/>
              </a:cxn>
              <a:cxn ang="0">
                <a:pos x="connsiteX61548" y="connsiteY61548"/>
              </a:cxn>
              <a:cxn ang="0">
                <a:pos x="connsiteX61549" y="connsiteY61549"/>
              </a:cxn>
              <a:cxn ang="0">
                <a:pos x="connsiteX61550" y="connsiteY61550"/>
              </a:cxn>
              <a:cxn ang="0">
                <a:pos x="connsiteX61551" y="connsiteY61551"/>
              </a:cxn>
              <a:cxn ang="0">
                <a:pos x="connsiteX61552" y="connsiteY61552"/>
              </a:cxn>
              <a:cxn ang="0">
                <a:pos x="connsiteX61553" y="connsiteY61553"/>
              </a:cxn>
              <a:cxn ang="0">
                <a:pos x="connsiteX61554" y="connsiteY61554"/>
              </a:cxn>
              <a:cxn ang="0">
                <a:pos x="connsiteX61555" y="connsiteY61555"/>
              </a:cxn>
              <a:cxn ang="0">
                <a:pos x="connsiteX61556" y="connsiteY61556"/>
              </a:cxn>
              <a:cxn ang="0">
                <a:pos x="connsiteX61557" y="connsiteY61557"/>
              </a:cxn>
              <a:cxn ang="0">
                <a:pos x="connsiteX61558" y="connsiteY61558"/>
              </a:cxn>
              <a:cxn ang="0">
                <a:pos x="connsiteX61559" y="connsiteY61559"/>
              </a:cxn>
              <a:cxn ang="0">
                <a:pos x="connsiteX61560" y="connsiteY61560"/>
              </a:cxn>
              <a:cxn ang="0">
                <a:pos x="connsiteX61561" y="connsiteY61561"/>
              </a:cxn>
              <a:cxn ang="0">
                <a:pos x="connsiteX61562" y="connsiteY61562"/>
              </a:cxn>
              <a:cxn ang="0">
                <a:pos x="connsiteX61563" y="connsiteY61563"/>
              </a:cxn>
              <a:cxn ang="0">
                <a:pos x="connsiteX61564" y="connsiteY61564"/>
              </a:cxn>
              <a:cxn ang="0">
                <a:pos x="connsiteX61565" y="connsiteY61565"/>
              </a:cxn>
              <a:cxn ang="0">
                <a:pos x="connsiteX61566" y="connsiteY61566"/>
              </a:cxn>
              <a:cxn ang="0">
                <a:pos x="connsiteX61567" y="connsiteY61567"/>
              </a:cxn>
              <a:cxn ang="0">
                <a:pos x="connsiteX61568" y="connsiteY61568"/>
              </a:cxn>
              <a:cxn ang="0">
                <a:pos x="connsiteX61569" y="connsiteY61569"/>
              </a:cxn>
              <a:cxn ang="0">
                <a:pos x="connsiteX61570" y="connsiteY61570"/>
              </a:cxn>
              <a:cxn ang="0">
                <a:pos x="connsiteX61571" y="connsiteY61571"/>
              </a:cxn>
              <a:cxn ang="0">
                <a:pos x="connsiteX61572" y="connsiteY61572"/>
              </a:cxn>
              <a:cxn ang="0">
                <a:pos x="connsiteX61573" y="connsiteY61573"/>
              </a:cxn>
              <a:cxn ang="0">
                <a:pos x="connsiteX61574" y="connsiteY61574"/>
              </a:cxn>
              <a:cxn ang="0">
                <a:pos x="connsiteX61575" y="connsiteY61575"/>
              </a:cxn>
              <a:cxn ang="0">
                <a:pos x="connsiteX61576" y="connsiteY61576"/>
              </a:cxn>
              <a:cxn ang="0">
                <a:pos x="connsiteX61577" y="connsiteY61577"/>
              </a:cxn>
              <a:cxn ang="0">
                <a:pos x="connsiteX61578" y="connsiteY61578"/>
              </a:cxn>
              <a:cxn ang="0">
                <a:pos x="connsiteX61579" y="connsiteY61579"/>
              </a:cxn>
              <a:cxn ang="0">
                <a:pos x="connsiteX61580" y="connsiteY61580"/>
              </a:cxn>
              <a:cxn ang="0">
                <a:pos x="connsiteX61581" y="connsiteY61581"/>
              </a:cxn>
              <a:cxn ang="0">
                <a:pos x="connsiteX61582" y="connsiteY61582"/>
              </a:cxn>
              <a:cxn ang="0">
                <a:pos x="connsiteX61583" y="connsiteY61583"/>
              </a:cxn>
              <a:cxn ang="0">
                <a:pos x="connsiteX61584" y="connsiteY61584"/>
              </a:cxn>
              <a:cxn ang="0">
                <a:pos x="connsiteX61585" y="connsiteY61585"/>
              </a:cxn>
              <a:cxn ang="0">
                <a:pos x="connsiteX61586" y="connsiteY61586"/>
              </a:cxn>
              <a:cxn ang="0">
                <a:pos x="connsiteX61587" y="connsiteY61587"/>
              </a:cxn>
              <a:cxn ang="0">
                <a:pos x="connsiteX61588" y="connsiteY61588"/>
              </a:cxn>
              <a:cxn ang="0">
                <a:pos x="connsiteX61589" y="connsiteY61589"/>
              </a:cxn>
              <a:cxn ang="0">
                <a:pos x="connsiteX61590" y="connsiteY61590"/>
              </a:cxn>
              <a:cxn ang="0">
                <a:pos x="connsiteX61591" y="connsiteY61591"/>
              </a:cxn>
              <a:cxn ang="0">
                <a:pos x="connsiteX61592" y="connsiteY61592"/>
              </a:cxn>
              <a:cxn ang="0">
                <a:pos x="connsiteX61593" y="connsiteY61593"/>
              </a:cxn>
              <a:cxn ang="0">
                <a:pos x="connsiteX61594" y="connsiteY61594"/>
              </a:cxn>
              <a:cxn ang="0">
                <a:pos x="connsiteX61595" y="connsiteY61595"/>
              </a:cxn>
              <a:cxn ang="0">
                <a:pos x="connsiteX61596" y="connsiteY61596"/>
              </a:cxn>
              <a:cxn ang="0">
                <a:pos x="connsiteX61597" y="connsiteY61597"/>
              </a:cxn>
              <a:cxn ang="0">
                <a:pos x="connsiteX61598" y="connsiteY61598"/>
              </a:cxn>
              <a:cxn ang="0">
                <a:pos x="connsiteX61599" y="connsiteY61599"/>
              </a:cxn>
              <a:cxn ang="0">
                <a:pos x="connsiteX61600" y="connsiteY61600"/>
              </a:cxn>
              <a:cxn ang="0">
                <a:pos x="connsiteX61601" y="connsiteY61601"/>
              </a:cxn>
              <a:cxn ang="0">
                <a:pos x="connsiteX61602" y="connsiteY61602"/>
              </a:cxn>
              <a:cxn ang="0">
                <a:pos x="connsiteX61603" y="connsiteY61603"/>
              </a:cxn>
              <a:cxn ang="0">
                <a:pos x="connsiteX61604" y="connsiteY61604"/>
              </a:cxn>
              <a:cxn ang="0">
                <a:pos x="connsiteX61605" y="connsiteY61605"/>
              </a:cxn>
              <a:cxn ang="0">
                <a:pos x="connsiteX61606" y="connsiteY61606"/>
              </a:cxn>
              <a:cxn ang="0">
                <a:pos x="connsiteX61607" y="connsiteY61607"/>
              </a:cxn>
              <a:cxn ang="0">
                <a:pos x="connsiteX61608" y="connsiteY61608"/>
              </a:cxn>
              <a:cxn ang="0">
                <a:pos x="connsiteX61609" y="connsiteY61609"/>
              </a:cxn>
              <a:cxn ang="0">
                <a:pos x="connsiteX61610" y="connsiteY61610"/>
              </a:cxn>
              <a:cxn ang="0">
                <a:pos x="connsiteX61611" y="connsiteY61611"/>
              </a:cxn>
              <a:cxn ang="0">
                <a:pos x="connsiteX61612" y="connsiteY61612"/>
              </a:cxn>
              <a:cxn ang="0">
                <a:pos x="connsiteX61613" y="connsiteY61613"/>
              </a:cxn>
              <a:cxn ang="0">
                <a:pos x="connsiteX61614" y="connsiteY61614"/>
              </a:cxn>
              <a:cxn ang="0">
                <a:pos x="connsiteX61615" y="connsiteY61615"/>
              </a:cxn>
              <a:cxn ang="0">
                <a:pos x="connsiteX61616" y="connsiteY61616"/>
              </a:cxn>
              <a:cxn ang="0">
                <a:pos x="connsiteX61617" y="connsiteY61617"/>
              </a:cxn>
              <a:cxn ang="0">
                <a:pos x="connsiteX61618" y="connsiteY61618"/>
              </a:cxn>
              <a:cxn ang="0">
                <a:pos x="connsiteX61619" y="connsiteY61619"/>
              </a:cxn>
              <a:cxn ang="0">
                <a:pos x="connsiteX61620" y="connsiteY61620"/>
              </a:cxn>
              <a:cxn ang="0">
                <a:pos x="connsiteX61621" y="connsiteY61621"/>
              </a:cxn>
              <a:cxn ang="0">
                <a:pos x="connsiteX61622" y="connsiteY61622"/>
              </a:cxn>
              <a:cxn ang="0">
                <a:pos x="connsiteX61623" y="connsiteY61623"/>
              </a:cxn>
              <a:cxn ang="0">
                <a:pos x="connsiteX61624" y="connsiteY61624"/>
              </a:cxn>
              <a:cxn ang="0">
                <a:pos x="connsiteX61625" y="connsiteY61625"/>
              </a:cxn>
              <a:cxn ang="0">
                <a:pos x="connsiteX61626" y="connsiteY61626"/>
              </a:cxn>
              <a:cxn ang="0">
                <a:pos x="connsiteX61627" y="connsiteY61627"/>
              </a:cxn>
              <a:cxn ang="0">
                <a:pos x="connsiteX61628" y="connsiteY61628"/>
              </a:cxn>
              <a:cxn ang="0">
                <a:pos x="connsiteX61629" y="connsiteY61629"/>
              </a:cxn>
              <a:cxn ang="0">
                <a:pos x="connsiteX61630" y="connsiteY61630"/>
              </a:cxn>
              <a:cxn ang="0">
                <a:pos x="connsiteX61631" y="connsiteY61631"/>
              </a:cxn>
              <a:cxn ang="0">
                <a:pos x="connsiteX61632" y="connsiteY61632"/>
              </a:cxn>
              <a:cxn ang="0">
                <a:pos x="connsiteX61633" y="connsiteY61633"/>
              </a:cxn>
              <a:cxn ang="0">
                <a:pos x="connsiteX61634" y="connsiteY61634"/>
              </a:cxn>
              <a:cxn ang="0">
                <a:pos x="connsiteX61635" y="connsiteY61635"/>
              </a:cxn>
              <a:cxn ang="0">
                <a:pos x="connsiteX61636" y="connsiteY61636"/>
              </a:cxn>
              <a:cxn ang="0">
                <a:pos x="connsiteX61637" y="connsiteY61637"/>
              </a:cxn>
              <a:cxn ang="0">
                <a:pos x="connsiteX61638" y="connsiteY61638"/>
              </a:cxn>
              <a:cxn ang="0">
                <a:pos x="connsiteX61639" y="connsiteY61639"/>
              </a:cxn>
              <a:cxn ang="0">
                <a:pos x="connsiteX61640" y="connsiteY61640"/>
              </a:cxn>
              <a:cxn ang="0">
                <a:pos x="connsiteX61641" y="connsiteY61641"/>
              </a:cxn>
              <a:cxn ang="0">
                <a:pos x="connsiteX61642" y="connsiteY61642"/>
              </a:cxn>
              <a:cxn ang="0">
                <a:pos x="connsiteX61643" y="connsiteY61643"/>
              </a:cxn>
              <a:cxn ang="0">
                <a:pos x="connsiteX61644" y="connsiteY61644"/>
              </a:cxn>
              <a:cxn ang="0">
                <a:pos x="connsiteX61645" y="connsiteY61645"/>
              </a:cxn>
              <a:cxn ang="0">
                <a:pos x="connsiteX61646" y="connsiteY61646"/>
              </a:cxn>
              <a:cxn ang="0">
                <a:pos x="connsiteX61647" y="connsiteY61647"/>
              </a:cxn>
              <a:cxn ang="0">
                <a:pos x="connsiteX61648" y="connsiteY61648"/>
              </a:cxn>
              <a:cxn ang="0">
                <a:pos x="connsiteX61649" y="connsiteY61649"/>
              </a:cxn>
              <a:cxn ang="0">
                <a:pos x="connsiteX61650" y="connsiteY61650"/>
              </a:cxn>
              <a:cxn ang="0">
                <a:pos x="connsiteX61651" y="connsiteY61651"/>
              </a:cxn>
              <a:cxn ang="0">
                <a:pos x="connsiteX61652" y="connsiteY61652"/>
              </a:cxn>
              <a:cxn ang="0">
                <a:pos x="connsiteX61653" y="connsiteY61653"/>
              </a:cxn>
              <a:cxn ang="0">
                <a:pos x="connsiteX61654" y="connsiteY61654"/>
              </a:cxn>
              <a:cxn ang="0">
                <a:pos x="connsiteX61655" y="connsiteY61655"/>
              </a:cxn>
              <a:cxn ang="0">
                <a:pos x="connsiteX61656" y="connsiteY61656"/>
              </a:cxn>
              <a:cxn ang="0">
                <a:pos x="connsiteX61657" y="connsiteY61657"/>
              </a:cxn>
              <a:cxn ang="0">
                <a:pos x="connsiteX61658" y="connsiteY61658"/>
              </a:cxn>
              <a:cxn ang="0">
                <a:pos x="connsiteX61659" y="connsiteY61659"/>
              </a:cxn>
              <a:cxn ang="0">
                <a:pos x="connsiteX61660" y="connsiteY61660"/>
              </a:cxn>
              <a:cxn ang="0">
                <a:pos x="connsiteX61661" y="connsiteY61661"/>
              </a:cxn>
              <a:cxn ang="0">
                <a:pos x="connsiteX61662" y="connsiteY61662"/>
              </a:cxn>
              <a:cxn ang="0">
                <a:pos x="connsiteX61663" y="connsiteY61663"/>
              </a:cxn>
              <a:cxn ang="0">
                <a:pos x="connsiteX61664" y="connsiteY61664"/>
              </a:cxn>
              <a:cxn ang="0">
                <a:pos x="connsiteX61665" y="connsiteY61665"/>
              </a:cxn>
              <a:cxn ang="0">
                <a:pos x="connsiteX61666" y="connsiteY61666"/>
              </a:cxn>
              <a:cxn ang="0">
                <a:pos x="connsiteX61667" y="connsiteY61667"/>
              </a:cxn>
              <a:cxn ang="0">
                <a:pos x="connsiteX61668" y="connsiteY61668"/>
              </a:cxn>
              <a:cxn ang="0">
                <a:pos x="connsiteX61669" y="connsiteY61669"/>
              </a:cxn>
              <a:cxn ang="0">
                <a:pos x="connsiteX61670" y="connsiteY61670"/>
              </a:cxn>
              <a:cxn ang="0">
                <a:pos x="connsiteX61671" y="connsiteY61671"/>
              </a:cxn>
              <a:cxn ang="0">
                <a:pos x="connsiteX61672" y="connsiteY61672"/>
              </a:cxn>
              <a:cxn ang="0">
                <a:pos x="connsiteX61673" y="connsiteY61673"/>
              </a:cxn>
              <a:cxn ang="0">
                <a:pos x="connsiteX61674" y="connsiteY61674"/>
              </a:cxn>
              <a:cxn ang="0">
                <a:pos x="connsiteX61675" y="connsiteY61675"/>
              </a:cxn>
              <a:cxn ang="0">
                <a:pos x="connsiteX61676" y="connsiteY61676"/>
              </a:cxn>
              <a:cxn ang="0">
                <a:pos x="connsiteX61677" y="connsiteY61677"/>
              </a:cxn>
              <a:cxn ang="0">
                <a:pos x="connsiteX61678" y="connsiteY61678"/>
              </a:cxn>
              <a:cxn ang="0">
                <a:pos x="connsiteX61679" y="connsiteY61679"/>
              </a:cxn>
              <a:cxn ang="0">
                <a:pos x="connsiteX61680" y="connsiteY61680"/>
              </a:cxn>
              <a:cxn ang="0">
                <a:pos x="connsiteX61681" y="connsiteY61681"/>
              </a:cxn>
              <a:cxn ang="0">
                <a:pos x="connsiteX61682" y="connsiteY61682"/>
              </a:cxn>
              <a:cxn ang="0">
                <a:pos x="connsiteX61683" y="connsiteY61683"/>
              </a:cxn>
              <a:cxn ang="0">
                <a:pos x="connsiteX61684" y="connsiteY61684"/>
              </a:cxn>
              <a:cxn ang="0">
                <a:pos x="connsiteX61685" y="connsiteY61685"/>
              </a:cxn>
              <a:cxn ang="0">
                <a:pos x="connsiteX61686" y="connsiteY61686"/>
              </a:cxn>
              <a:cxn ang="0">
                <a:pos x="connsiteX61687" y="connsiteY61687"/>
              </a:cxn>
              <a:cxn ang="0">
                <a:pos x="connsiteX61688" y="connsiteY61688"/>
              </a:cxn>
              <a:cxn ang="0">
                <a:pos x="connsiteX61689" y="connsiteY61689"/>
              </a:cxn>
              <a:cxn ang="0">
                <a:pos x="connsiteX61690" y="connsiteY61690"/>
              </a:cxn>
              <a:cxn ang="0">
                <a:pos x="connsiteX61691" y="connsiteY61691"/>
              </a:cxn>
              <a:cxn ang="0">
                <a:pos x="connsiteX61692" y="connsiteY61692"/>
              </a:cxn>
              <a:cxn ang="0">
                <a:pos x="connsiteX61693" y="connsiteY61693"/>
              </a:cxn>
              <a:cxn ang="0">
                <a:pos x="connsiteX61694" y="connsiteY61694"/>
              </a:cxn>
              <a:cxn ang="0">
                <a:pos x="connsiteX61695" y="connsiteY61695"/>
              </a:cxn>
              <a:cxn ang="0">
                <a:pos x="connsiteX61696" y="connsiteY61696"/>
              </a:cxn>
              <a:cxn ang="0">
                <a:pos x="connsiteX61697" y="connsiteY61697"/>
              </a:cxn>
              <a:cxn ang="0">
                <a:pos x="connsiteX61698" y="connsiteY61698"/>
              </a:cxn>
              <a:cxn ang="0">
                <a:pos x="connsiteX61699" y="connsiteY61699"/>
              </a:cxn>
              <a:cxn ang="0">
                <a:pos x="connsiteX61700" y="connsiteY61700"/>
              </a:cxn>
              <a:cxn ang="0">
                <a:pos x="connsiteX61701" y="connsiteY61701"/>
              </a:cxn>
              <a:cxn ang="0">
                <a:pos x="connsiteX61702" y="connsiteY61702"/>
              </a:cxn>
              <a:cxn ang="0">
                <a:pos x="connsiteX61703" y="connsiteY61703"/>
              </a:cxn>
              <a:cxn ang="0">
                <a:pos x="connsiteX61704" y="connsiteY61704"/>
              </a:cxn>
              <a:cxn ang="0">
                <a:pos x="connsiteX61705" y="connsiteY61705"/>
              </a:cxn>
              <a:cxn ang="0">
                <a:pos x="connsiteX61706" y="connsiteY61706"/>
              </a:cxn>
              <a:cxn ang="0">
                <a:pos x="connsiteX61707" y="connsiteY61707"/>
              </a:cxn>
              <a:cxn ang="0">
                <a:pos x="connsiteX61708" y="connsiteY61708"/>
              </a:cxn>
              <a:cxn ang="0">
                <a:pos x="connsiteX61709" y="connsiteY61709"/>
              </a:cxn>
              <a:cxn ang="0">
                <a:pos x="connsiteX61710" y="connsiteY61710"/>
              </a:cxn>
              <a:cxn ang="0">
                <a:pos x="connsiteX61711" y="connsiteY61711"/>
              </a:cxn>
              <a:cxn ang="0">
                <a:pos x="connsiteX61712" y="connsiteY61712"/>
              </a:cxn>
              <a:cxn ang="0">
                <a:pos x="connsiteX61713" y="connsiteY61713"/>
              </a:cxn>
              <a:cxn ang="0">
                <a:pos x="connsiteX61714" y="connsiteY61714"/>
              </a:cxn>
              <a:cxn ang="0">
                <a:pos x="connsiteX61715" y="connsiteY61715"/>
              </a:cxn>
              <a:cxn ang="0">
                <a:pos x="connsiteX61716" y="connsiteY61716"/>
              </a:cxn>
              <a:cxn ang="0">
                <a:pos x="connsiteX61717" y="connsiteY61717"/>
              </a:cxn>
              <a:cxn ang="0">
                <a:pos x="connsiteX61718" y="connsiteY61718"/>
              </a:cxn>
              <a:cxn ang="0">
                <a:pos x="connsiteX61719" y="connsiteY61719"/>
              </a:cxn>
              <a:cxn ang="0">
                <a:pos x="connsiteX61720" y="connsiteY61720"/>
              </a:cxn>
              <a:cxn ang="0">
                <a:pos x="connsiteX61721" y="connsiteY61721"/>
              </a:cxn>
              <a:cxn ang="0">
                <a:pos x="connsiteX61722" y="connsiteY61722"/>
              </a:cxn>
              <a:cxn ang="0">
                <a:pos x="connsiteX61723" y="connsiteY61723"/>
              </a:cxn>
              <a:cxn ang="0">
                <a:pos x="connsiteX61724" y="connsiteY61724"/>
              </a:cxn>
              <a:cxn ang="0">
                <a:pos x="connsiteX61725" y="connsiteY61725"/>
              </a:cxn>
              <a:cxn ang="0">
                <a:pos x="connsiteX61726" y="connsiteY61726"/>
              </a:cxn>
              <a:cxn ang="0">
                <a:pos x="connsiteX61727" y="connsiteY61727"/>
              </a:cxn>
              <a:cxn ang="0">
                <a:pos x="connsiteX61728" y="connsiteY61728"/>
              </a:cxn>
              <a:cxn ang="0">
                <a:pos x="connsiteX61729" y="connsiteY61729"/>
              </a:cxn>
              <a:cxn ang="0">
                <a:pos x="connsiteX61730" y="connsiteY61730"/>
              </a:cxn>
              <a:cxn ang="0">
                <a:pos x="connsiteX61731" y="connsiteY61731"/>
              </a:cxn>
              <a:cxn ang="0">
                <a:pos x="connsiteX61732" y="connsiteY61732"/>
              </a:cxn>
              <a:cxn ang="0">
                <a:pos x="connsiteX61733" y="connsiteY61733"/>
              </a:cxn>
              <a:cxn ang="0">
                <a:pos x="connsiteX61734" y="connsiteY61734"/>
              </a:cxn>
              <a:cxn ang="0">
                <a:pos x="connsiteX61735" y="connsiteY61735"/>
              </a:cxn>
              <a:cxn ang="0">
                <a:pos x="connsiteX61736" y="connsiteY61736"/>
              </a:cxn>
              <a:cxn ang="0">
                <a:pos x="connsiteX61737" y="connsiteY61737"/>
              </a:cxn>
              <a:cxn ang="0">
                <a:pos x="connsiteX61738" y="connsiteY61738"/>
              </a:cxn>
              <a:cxn ang="0">
                <a:pos x="connsiteX61739" y="connsiteY61739"/>
              </a:cxn>
              <a:cxn ang="0">
                <a:pos x="connsiteX61740" y="connsiteY61740"/>
              </a:cxn>
              <a:cxn ang="0">
                <a:pos x="connsiteX61741" y="connsiteY61741"/>
              </a:cxn>
              <a:cxn ang="0">
                <a:pos x="connsiteX61742" y="connsiteY61742"/>
              </a:cxn>
              <a:cxn ang="0">
                <a:pos x="connsiteX61743" y="connsiteY61743"/>
              </a:cxn>
              <a:cxn ang="0">
                <a:pos x="connsiteX61744" y="connsiteY61744"/>
              </a:cxn>
              <a:cxn ang="0">
                <a:pos x="connsiteX61745" y="connsiteY61745"/>
              </a:cxn>
              <a:cxn ang="0">
                <a:pos x="connsiteX61746" y="connsiteY61746"/>
              </a:cxn>
              <a:cxn ang="0">
                <a:pos x="connsiteX61747" y="connsiteY61747"/>
              </a:cxn>
              <a:cxn ang="0">
                <a:pos x="connsiteX61748" y="connsiteY61748"/>
              </a:cxn>
              <a:cxn ang="0">
                <a:pos x="connsiteX61749" y="connsiteY61749"/>
              </a:cxn>
              <a:cxn ang="0">
                <a:pos x="connsiteX61750" y="connsiteY61750"/>
              </a:cxn>
              <a:cxn ang="0">
                <a:pos x="connsiteX61751" y="connsiteY61751"/>
              </a:cxn>
              <a:cxn ang="0">
                <a:pos x="connsiteX61752" y="connsiteY61752"/>
              </a:cxn>
              <a:cxn ang="0">
                <a:pos x="connsiteX61753" y="connsiteY61753"/>
              </a:cxn>
              <a:cxn ang="0">
                <a:pos x="connsiteX61754" y="connsiteY61754"/>
              </a:cxn>
              <a:cxn ang="0">
                <a:pos x="connsiteX61755" y="connsiteY61755"/>
              </a:cxn>
              <a:cxn ang="0">
                <a:pos x="connsiteX61756" y="connsiteY61756"/>
              </a:cxn>
              <a:cxn ang="0">
                <a:pos x="connsiteX61757" y="connsiteY61757"/>
              </a:cxn>
              <a:cxn ang="0">
                <a:pos x="connsiteX61758" y="connsiteY61758"/>
              </a:cxn>
              <a:cxn ang="0">
                <a:pos x="connsiteX61759" y="connsiteY61759"/>
              </a:cxn>
              <a:cxn ang="0">
                <a:pos x="connsiteX61760" y="connsiteY61760"/>
              </a:cxn>
              <a:cxn ang="0">
                <a:pos x="connsiteX61761" y="connsiteY61761"/>
              </a:cxn>
              <a:cxn ang="0">
                <a:pos x="connsiteX61762" y="connsiteY61762"/>
              </a:cxn>
              <a:cxn ang="0">
                <a:pos x="connsiteX61763" y="connsiteY61763"/>
              </a:cxn>
              <a:cxn ang="0">
                <a:pos x="connsiteX61764" y="connsiteY61764"/>
              </a:cxn>
              <a:cxn ang="0">
                <a:pos x="connsiteX61765" y="connsiteY61765"/>
              </a:cxn>
              <a:cxn ang="0">
                <a:pos x="connsiteX61766" y="connsiteY61766"/>
              </a:cxn>
              <a:cxn ang="0">
                <a:pos x="connsiteX61767" y="connsiteY61767"/>
              </a:cxn>
              <a:cxn ang="0">
                <a:pos x="connsiteX61768" y="connsiteY61768"/>
              </a:cxn>
              <a:cxn ang="0">
                <a:pos x="connsiteX61769" y="connsiteY61769"/>
              </a:cxn>
              <a:cxn ang="0">
                <a:pos x="connsiteX61770" y="connsiteY61770"/>
              </a:cxn>
              <a:cxn ang="0">
                <a:pos x="connsiteX61771" y="connsiteY61771"/>
              </a:cxn>
              <a:cxn ang="0">
                <a:pos x="connsiteX61772" y="connsiteY61772"/>
              </a:cxn>
              <a:cxn ang="0">
                <a:pos x="connsiteX61773" y="connsiteY61773"/>
              </a:cxn>
              <a:cxn ang="0">
                <a:pos x="connsiteX61774" y="connsiteY61774"/>
              </a:cxn>
              <a:cxn ang="0">
                <a:pos x="connsiteX61775" y="connsiteY61775"/>
              </a:cxn>
              <a:cxn ang="0">
                <a:pos x="connsiteX61776" y="connsiteY61776"/>
              </a:cxn>
              <a:cxn ang="0">
                <a:pos x="connsiteX61777" y="connsiteY61777"/>
              </a:cxn>
              <a:cxn ang="0">
                <a:pos x="connsiteX61778" y="connsiteY61778"/>
              </a:cxn>
              <a:cxn ang="0">
                <a:pos x="connsiteX61779" y="connsiteY61779"/>
              </a:cxn>
              <a:cxn ang="0">
                <a:pos x="connsiteX61780" y="connsiteY61780"/>
              </a:cxn>
              <a:cxn ang="0">
                <a:pos x="connsiteX61781" y="connsiteY61781"/>
              </a:cxn>
              <a:cxn ang="0">
                <a:pos x="connsiteX61782" y="connsiteY61782"/>
              </a:cxn>
              <a:cxn ang="0">
                <a:pos x="connsiteX61783" y="connsiteY61783"/>
              </a:cxn>
              <a:cxn ang="0">
                <a:pos x="connsiteX61784" y="connsiteY61784"/>
              </a:cxn>
              <a:cxn ang="0">
                <a:pos x="connsiteX61785" y="connsiteY61785"/>
              </a:cxn>
              <a:cxn ang="0">
                <a:pos x="connsiteX61786" y="connsiteY61786"/>
              </a:cxn>
              <a:cxn ang="0">
                <a:pos x="connsiteX61787" y="connsiteY61787"/>
              </a:cxn>
              <a:cxn ang="0">
                <a:pos x="connsiteX61788" y="connsiteY61788"/>
              </a:cxn>
              <a:cxn ang="0">
                <a:pos x="connsiteX61789" y="connsiteY61789"/>
              </a:cxn>
              <a:cxn ang="0">
                <a:pos x="connsiteX61790" y="connsiteY61790"/>
              </a:cxn>
              <a:cxn ang="0">
                <a:pos x="connsiteX61791" y="connsiteY61791"/>
              </a:cxn>
              <a:cxn ang="0">
                <a:pos x="connsiteX61792" y="connsiteY61792"/>
              </a:cxn>
              <a:cxn ang="0">
                <a:pos x="connsiteX61793" y="connsiteY61793"/>
              </a:cxn>
              <a:cxn ang="0">
                <a:pos x="connsiteX61794" y="connsiteY61794"/>
              </a:cxn>
              <a:cxn ang="0">
                <a:pos x="connsiteX61795" y="connsiteY61795"/>
              </a:cxn>
              <a:cxn ang="0">
                <a:pos x="connsiteX61796" y="connsiteY61796"/>
              </a:cxn>
              <a:cxn ang="0">
                <a:pos x="connsiteX61797" y="connsiteY61797"/>
              </a:cxn>
              <a:cxn ang="0">
                <a:pos x="connsiteX61798" y="connsiteY61798"/>
              </a:cxn>
              <a:cxn ang="0">
                <a:pos x="connsiteX61799" y="connsiteY61799"/>
              </a:cxn>
              <a:cxn ang="0">
                <a:pos x="connsiteX61800" y="connsiteY61800"/>
              </a:cxn>
              <a:cxn ang="0">
                <a:pos x="connsiteX61801" y="connsiteY61801"/>
              </a:cxn>
              <a:cxn ang="0">
                <a:pos x="connsiteX61802" y="connsiteY61802"/>
              </a:cxn>
              <a:cxn ang="0">
                <a:pos x="connsiteX61803" y="connsiteY61803"/>
              </a:cxn>
              <a:cxn ang="0">
                <a:pos x="connsiteX61804" y="connsiteY61804"/>
              </a:cxn>
              <a:cxn ang="0">
                <a:pos x="connsiteX61805" y="connsiteY61805"/>
              </a:cxn>
              <a:cxn ang="0">
                <a:pos x="connsiteX61806" y="connsiteY61806"/>
              </a:cxn>
              <a:cxn ang="0">
                <a:pos x="connsiteX61807" y="connsiteY61807"/>
              </a:cxn>
              <a:cxn ang="0">
                <a:pos x="connsiteX61808" y="connsiteY61808"/>
              </a:cxn>
              <a:cxn ang="0">
                <a:pos x="connsiteX61809" y="connsiteY61809"/>
              </a:cxn>
              <a:cxn ang="0">
                <a:pos x="connsiteX61810" y="connsiteY61810"/>
              </a:cxn>
              <a:cxn ang="0">
                <a:pos x="connsiteX61811" y="connsiteY61811"/>
              </a:cxn>
              <a:cxn ang="0">
                <a:pos x="connsiteX61812" y="connsiteY61812"/>
              </a:cxn>
              <a:cxn ang="0">
                <a:pos x="connsiteX61813" y="connsiteY61813"/>
              </a:cxn>
              <a:cxn ang="0">
                <a:pos x="connsiteX61814" y="connsiteY61814"/>
              </a:cxn>
              <a:cxn ang="0">
                <a:pos x="connsiteX61815" y="connsiteY61815"/>
              </a:cxn>
              <a:cxn ang="0">
                <a:pos x="connsiteX61816" y="connsiteY61816"/>
              </a:cxn>
              <a:cxn ang="0">
                <a:pos x="connsiteX61817" y="connsiteY61817"/>
              </a:cxn>
              <a:cxn ang="0">
                <a:pos x="connsiteX61818" y="connsiteY61818"/>
              </a:cxn>
              <a:cxn ang="0">
                <a:pos x="connsiteX61819" y="connsiteY61819"/>
              </a:cxn>
              <a:cxn ang="0">
                <a:pos x="connsiteX61820" y="connsiteY61820"/>
              </a:cxn>
              <a:cxn ang="0">
                <a:pos x="connsiteX61821" y="connsiteY61821"/>
              </a:cxn>
              <a:cxn ang="0">
                <a:pos x="connsiteX61822" y="connsiteY61822"/>
              </a:cxn>
              <a:cxn ang="0">
                <a:pos x="connsiteX61823" y="connsiteY61823"/>
              </a:cxn>
              <a:cxn ang="0">
                <a:pos x="connsiteX61824" y="connsiteY61824"/>
              </a:cxn>
              <a:cxn ang="0">
                <a:pos x="connsiteX61825" y="connsiteY61825"/>
              </a:cxn>
              <a:cxn ang="0">
                <a:pos x="connsiteX61826" y="connsiteY61826"/>
              </a:cxn>
              <a:cxn ang="0">
                <a:pos x="connsiteX61827" y="connsiteY61827"/>
              </a:cxn>
              <a:cxn ang="0">
                <a:pos x="connsiteX61828" y="connsiteY61828"/>
              </a:cxn>
              <a:cxn ang="0">
                <a:pos x="connsiteX61829" y="connsiteY61829"/>
              </a:cxn>
              <a:cxn ang="0">
                <a:pos x="connsiteX61830" y="connsiteY61830"/>
              </a:cxn>
              <a:cxn ang="0">
                <a:pos x="connsiteX61831" y="connsiteY61831"/>
              </a:cxn>
              <a:cxn ang="0">
                <a:pos x="connsiteX61832" y="connsiteY61832"/>
              </a:cxn>
              <a:cxn ang="0">
                <a:pos x="connsiteX61833" y="connsiteY61833"/>
              </a:cxn>
              <a:cxn ang="0">
                <a:pos x="connsiteX61834" y="connsiteY61834"/>
              </a:cxn>
              <a:cxn ang="0">
                <a:pos x="connsiteX61835" y="connsiteY61835"/>
              </a:cxn>
              <a:cxn ang="0">
                <a:pos x="connsiteX61836" y="connsiteY61836"/>
              </a:cxn>
              <a:cxn ang="0">
                <a:pos x="connsiteX61837" y="connsiteY61837"/>
              </a:cxn>
              <a:cxn ang="0">
                <a:pos x="connsiteX61838" y="connsiteY61838"/>
              </a:cxn>
              <a:cxn ang="0">
                <a:pos x="connsiteX61839" y="connsiteY61839"/>
              </a:cxn>
              <a:cxn ang="0">
                <a:pos x="connsiteX61840" y="connsiteY61840"/>
              </a:cxn>
              <a:cxn ang="0">
                <a:pos x="connsiteX61841" y="connsiteY61841"/>
              </a:cxn>
              <a:cxn ang="0">
                <a:pos x="connsiteX61842" y="connsiteY61842"/>
              </a:cxn>
              <a:cxn ang="0">
                <a:pos x="connsiteX61843" y="connsiteY61843"/>
              </a:cxn>
              <a:cxn ang="0">
                <a:pos x="connsiteX61844" y="connsiteY61844"/>
              </a:cxn>
              <a:cxn ang="0">
                <a:pos x="connsiteX61845" y="connsiteY61845"/>
              </a:cxn>
              <a:cxn ang="0">
                <a:pos x="connsiteX61846" y="connsiteY61846"/>
              </a:cxn>
              <a:cxn ang="0">
                <a:pos x="connsiteX61847" y="connsiteY61847"/>
              </a:cxn>
              <a:cxn ang="0">
                <a:pos x="connsiteX61848" y="connsiteY61848"/>
              </a:cxn>
              <a:cxn ang="0">
                <a:pos x="connsiteX61849" y="connsiteY61849"/>
              </a:cxn>
              <a:cxn ang="0">
                <a:pos x="connsiteX61850" y="connsiteY61850"/>
              </a:cxn>
              <a:cxn ang="0">
                <a:pos x="connsiteX61851" y="connsiteY61851"/>
              </a:cxn>
              <a:cxn ang="0">
                <a:pos x="connsiteX61852" y="connsiteY61852"/>
              </a:cxn>
              <a:cxn ang="0">
                <a:pos x="connsiteX61853" y="connsiteY61853"/>
              </a:cxn>
              <a:cxn ang="0">
                <a:pos x="connsiteX61854" y="connsiteY61854"/>
              </a:cxn>
              <a:cxn ang="0">
                <a:pos x="connsiteX61855" y="connsiteY61855"/>
              </a:cxn>
              <a:cxn ang="0">
                <a:pos x="connsiteX61856" y="connsiteY61856"/>
              </a:cxn>
              <a:cxn ang="0">
                <a:pos x="connsiteX61857" y="connsiteY61857"/>
              </a:cxn>
              <a:cxn ang="0">
                <a:pos x="connsiteX61858" y="connsiteY61858"/>
              </a:cxn>
              <a:cxn ang="0">
                <a:pos x="connsiteX61859" y="connsiteY61859"/>
              </a:cxn>
              <a:cxn ang="0">
                <a:pos x="connsiteX61860" y="connsiteY61860"/>
              </a:cxn>
              <a:cxn ang="0">
                <a:pos x="connsiteX61861" y="connsiteY61861"/>
              </a:cxn>
              <a:cxn ang="0">
                <a:pos x="connsiteX61862" y="connsiteY61862"/>
              </a:cxn>
              <a:cxn ang="0">
                <a:pos x="connsiteX61863" y="connsiteY61863"/>
              </a:cxn>
              <a:cxn ang="0">
                <a:pos x="connsiteX61864" y="connsiteY61864"/>
              </a:cxn>
              <a:cxn ang="0">
                <a:pos x="connsiteX61865" y="connsiteY61865"/>
              </a:cxn>
              <a:cxn ang="0">
                <a:pos x="connsiteX61866" y="connsiteY61866"/>
              </a:cxn>
              <a:cxn ang="0">
                <a:pos x="connsiteX61867" y="connsiteY61867"/>
              </a:cxn>
              <a:cxn ang="0">
                <a:pos x="connsiteX61868" y="connsiteY61868"/>
              </a:cxn>
              <a:cxn ang="0">
                <a:pos x="connsiteX61869" y="connsiteY61869"/>
              </a:cxn>
              <a:cxn ang="0">
                <a:pos x="connsiteX61870" y="connsiteY61870"/>
              </a:cxn>
              <a:cxn ang="0">
                <a:pos x="connsiteX61871" y="connsiteY61871"/>
              </a:cxn>
              <a:cxn ang="0">
                <a:pos x="connsiteX61872" y="connsiteY61872"/>
              </a:cxn>
              <a:cxn ang="0">
                <a:pos x="connsiteX61873" y="connsiteY61873"/>
              </a:cxn>
              <a:cxn ang="0">
                <a:pos x="connsiteX61874" y="connsiteY61874"/>
              </a:cxn>
              <a:cxn ang="0">
                <a:pos x="connsiteX61875" y="connsiteY61875"/>
              </a:cxn>
              <a:cxn ang="0">
                <a:pos x="connsiteX61876" y="connsiteY61876"/>
              </a:cxn>
              <a:cxn ang="0">
                <a:pos x="connsiteX61877" y="connsiteY61877"/>
              </a:cxn>
              <a:cxn ang="0">
                <a:pos x="connsiteX61878" y="connsiteY61878"/>
              </a:cxn>
              <a:cxn ang="0">
                <a:pos x="connsiteX61879" y="connsiteY61879"/>
              </a:cxn>
              <a:cxn ang="0">
                <a:pos x="connsiteX61880" y="connsiteY61880"/>
              </a:cxn>
              <a:cxn ang="0">
                <a:pos x="connsiteX61881" y="connsiteY61881"/>
              </a:cxn>
              <a:cxn ang="0">
                <a:pos x="connsiteX61882" y="connsiteY61882"/>
              </a:cxn>
              <a:cxn ang="0">
                <a:pos x="connsiteX61883" y="connsiteY61883"/>
              </a:cxn>
              <a:cxn ang="0">
                <a:pos x="connsiteX61884" y="connsiteY61884"/>
              </a:cxn>
              <a:cxn ang="0">
                <a:pos x="connsiteX61885" y="connsiteY61885"/>
              </a:cxn>
              <a:cxn ang="0">
                <a:pos x="connsiteX61886" y="connsiteY61886"/>
              </a:cxn>
              <a:cxn ang="0">
                <a:pos x="connsiteX61887" y="connsiteY61887"/>
              </a:cxn>
              <a:cxn ang="0">
                <a:pos x="connsiteX61888" y="connsiteY61888"/>
              </a:cxn>
              <a:cxn ang="0">
                <a:pos x="connsiteX61889" y="connsiteY61889"/>
              </a:cxn>
              <a:cxn ang="0">
                <a:pos x="connsiteX61890" y="connsiteY61890"/>
              </a:cxn>
              <a:cxn ang="0">
                <a:pos x="connsiteX61891" y="connsiteY61891"/>
              </a:cxn>
              <a:cxn ang="0">
                <a:pos x="connsiteX61892" y="connsiteY61892"/>
              </a:cxn>
              <a:cxn ang="0">
                <a:pos x="connsiteX61893" y="connsiteY61893"/>
              </a:cxn>
              <a:cxn ang="0">
                <a:pos x="connsiteX61894" y="connsiteY61894"/>
              </a:cxn>
              <a:cxn ang="0">
                <a:pos x="connsiteX61895" y="connsiteY61895"/>
              </a:cxn>
              <a:cxn ang="0">
                <a:pos x="connsiteX61896" y="connsiteY61896"/>
              </a:cxn>
              <a:cxn ang="0">
                <a:pos x="connsiteX61897" y="connsiteY61897"/>
              </a:cxn>
              <a:cxn ang="0">
                <a:pos x="connsiteX61898" y="connsiteY61898"/>
              </a:cxn>
              <a:cxn ang="0">
                <a:pos x="connsiteX61899" y="connsiteY61899"/>
              </a:cxn>
              <a:cxn ang="0">
                <a:pos x="connsiteX61900" y="connsiteY61900"/>
              </a:cxn>
              <a:cxn ang="0">
                <a:pos x="connsiteX61901" y="connsiteY61901"/>
              </a:cxn>
              <a:cxn ang="0">
                <a:pos x="connsiteX61902" y="connsiteY61902"/>
              </a:cxn>
              <a:cxn ang="0">
                <a:pos x="connsiteX61903" y="connsiteY61903"/>
              </a:cxn>
              <a:cxn ang="0">
                <a:pos x="connsiteX61904" y="connsiteY61904"/>
              </a:cxn>
              <a:cxn ang="0">
                <a:pos x="connsiteX61905" y="connsiteY61905"/>
              </a:cxn>
              <a:cxn ang="0">
                <a:pos x="connsiteX61906" y="connsiteY61906"/>
              </a:cxn>
              <a:cxn ang="0">
                <a:pos x="connsiteX61907" y="connsiteY61907"/>
              </a:cxn>
              <a:cxn ang="0">
                <a:pos x="connsiteX61908" y="connsiteY61908"/>
              </a:cxn>
              <a:cxn ang="0">
                <a:pos x="connsiteX61909" y="connsiteY61909"/>
              </a:cxn>
              <a:cxn ang="0">
                <a:pos x="connsiteX61910" y="connsiteY61910"/>
              </a:cxn>
              <a:cxn ang="0">
                <a:pos x="connsiteX61911" y="connsiteY61911"/>
              </a:cxn>
              <a:cxn ang="0">
                <a:pos x="connsiteX61912" y="connsiteY61912"/>
              </a:cxn>
              <a:cxn ang="0">
                <a:pos x="connsiteX61913" y="connsiteY61913"/>
              </a:cxn>
              <a:cxn ang="0">
                <a:pos x="connsiteX61914" y="connsiteY61914"/>
              </a:cxn>
              <a:cxn ang="0">
                <a:pos x="connsiteX61915" y="connsiteY61915"/>
              </a:cxn>
              <a:cxn ang="0">
                <a:pos x="connsiteX61916" y="connsiteY61916"/>
              </a:cxn>
              <a:cxn ang="0">
                <a:pos x="connsiteX61917" y="connsiteY61917"/>
              </a:cxn>
              <a:cxn ang="0">
                <a:pos x="connsiteX61918" y="connsiteY61918"/>
              </a:cxn>
              <a:cxn ang="0">
                <a:pos x="connsiteX61919" y="connsiteY61919"/>
              </a:cxn>
              <a:cxn ang="0">
                <a:pos x="connsiteX61920" y="connsiteY61920"/>
              </a:cxn>
              <a:cxn ang="0">
                <a:pos x="connsiteX61921" y="connsiteY61921"/>
              </a:cxn>
              <a:cxn ang="0">
                <a:pos x="connsiteX61922" y="connsiteY61922"/>
              </a:cxn>
              <a:cxn ang="0">
                <a:pos x="connsiteX61923" y="connsiteY61923"/>
              </a:cxn>
              <a:cxn ang="0">
                <a:pos x="connsiteX61924" y="connsiteY61924"/>
              </a:cxn>
              <a:cxn ang="0">
                <a:pos x="connsiteX61925" y="connsiteY61925"/>
              </a:cxn>
              <a:cxn ang="0">
                <a:pos x="connsiteX61926" y="connsiteY61926"/>
              </a:cxn>
              <a:cxn ang="0">
                <a:pos x="connsiteX61927" y="connsiteY61927"/>
              </a:cxn>
              <a:cxn ang="0">
                <a:pos x="connsiteX61928" y="connsiteY61928"/>
              </a:cxn>
              <a:cxn ang="0">
                <a:pos x="connsiteX61929" y="connsiteY61929"/>
              </a:cxn>
              <a:cxn ang="0">
                <a:pos x="connsiteX61930" y="connsiteY61930"/>
              </a:cxn>
              <a:cxn ang="0">
                <a:pos x="connsiteX61931" y="connsiteY61931"/>
              </a:cxn>
              <a:cxn ang="0">
                <a:pos x="connsiteX61932" y="connsiteY61932"/>
              </a:cxn>
              <a:cxn ang="0">
                <a:pos x="connsiteX61933" y="connsiteY61933"/>
              </a:cxn>
              <a:cxn ang="0">
                <a:pos x="connsiteX61934" y="connsiteY61934"/>
              </a:cxn>
              <a:cxn ang="0">
                <a:pos x="connsiteX61935" y="connsiteY61935"/>
              </a:cxn>
              <a:cxn ang="0">
                <a:pos x="connsiteX61936" y="connsiteY61936"/>
              </a:cxn>
              <a:cxn ang="0">
                <a:pos x="connsiteX61937" y="connsiteY61937"/>
              </a:cxn>
              <a:cxn ang="0">
                <a:pos x="connsiteX61938" y="connsiteY61938"/>
              </a:cxn>
              <a:cxn ang="0">
                <a:pos x="connsiteX61939" y="connsiteY61939"/>
              </a:cxn>
              <a:cxn ang="0">
                <a:pos x="connsiteX61940" y="connsiteY61940"/>
              </a:cxn>
              <a:cxn ang="0">
                <a:pos x="connsiteX61941" y="connsiteY61941"/>
              </a:cxn>
              <a:cxn ang="0">
                <a:pos x="connsiteX61942" y="connsiteY61942"/>
              </a:cxn>
              <a:cxn ang="0">
                <a:pos x="connsiteX61943" y="connsiteY61943"/>
              </a:cxn>
              <a:cxn ang="0">
                <a:pos x="connsiteX61944" y="connsiteY61944"/>
              </a:cxn>
              <a:cxn ang="0">
                <a:pos x="connsiteX61945" y="connsiteY61945"/>
              </a:cxn>
              <a:cxn ang="0">
                <a:pos x="connsiteX61946" y="connsiteY61946"/>
              </a:cxn>
              <a:cxn ang="0">
                <a:pos x="connsiteX61947" y="connsiteY61947"/>
              </a:cxn>
              <a:cxn ang="0">
                <a:pos x="connsiteX61948" y="connsiteY61948"/>
              </a:cxn>
              <a:cxn ang="0">
                <a:pos x="connsiteX61949" y="connsiteY61949"/>
              </a:cxn>
              <a:cxn ang="0">
                <a:pos x="connsiteX61950" y="connsiteY61950"/>
              </a:cxn>
              <a:cxn ang="0">
                <a:pos x="connsiteX61951" y="connsiteY61951"/>
              </a:cxn>
              <a:cxn ang="0">
                <a:pos x="connsiteX61952" y="connsiteY61952"/>
              </a:cxn>
              <a:cxn ang="0">
                <a:pos x="connsiteX61953" y="connsiteY61953"/>
              </a:cxn>
              <a:cxn ang="0">
                <a:pos x="connsiteX61954" y="connsiteY61954"/>
              </a:cxn>
              <a:cxn ang="0">
                <a:pos x="connsiteX61955" y="connsiteY61955"/>
              </a:cxn>
              <a:cxn ang="0">
                <a:pos x="connsiteX61956" y="connsiteY61956"/>
              </a:cxn>
              <a:cxn ang="0">
                <a:pos x="connsiteX61957" y="connsiteY61957"/>
              </a:cxn>
              <a:cxn ang="0">
                <a:pos x="connsiteX61958" y="connsiteY61958"/>
              </a:cxn>
              <a:cxn ang="0">
                <a:pos x="connsiteX61959" y="connsiteY61959"/>
              </a:cxn>
              <a:cxn ang="0">
                <a:pos x="connsiteX61960" y="connsiteY61960"/>
              </a:cxn>
              <a:cxn ang="0">
                <a:pos x="connsiteX61961" y="connsiteY61961"/>
              </a:cxn>
              <a:cxn ang="0">
                <a:pos x="connsiteX61962" y="connsiteY61962"/>
              </a:cxn>
              <a:cxn ang="0">
                <a:pos x="connsiteX61963" y="connsiteY61963"/>
              </a:cxn>
              <a:cxn ang="0">
                <a:pos x="connsiteX61964" y="connsiteY61964"/>
              </a:cxn>
              <a:cxn ang="0">
                <a:pos x="connsiteX61965" y="connsiteY61965"/>
              </a:cxn>
              <a:cxn ang="0">
                <a:pos x="connsiteX61966" y="connsiteY61966"/>
              </a:cxn>
              <a:cxn ang="0">
                <a:pos x="connsiteX61967" y="connsiteY61967"/>
              </a:cxn>
              <a:cxn ang="0">
                <a:pos x="connsiteX61968" y="connsiteY61968"/>
              </a:cxn>
              <a:cxn ang="0">
                <a:pos x="connsiteX61969" y="connsiteY61969"/>
              </a:cxn>
              <a:cxn ang="0">
                <a:pos x="connsiteX61970" y="connsiteY61970"/>
              </a:cxn>
              <a:cxn ang="0">
                <a:pos x="connsiteX61971" y="connsiteY61971"/>
              </a:cxn>
              <a:cxn ang="0">
                <a:pos x="connsiteX61972" y="connsiteY61972"/>
              </a:cxn>
              <a:cxn ang="0">
                <a:pos x="connsiteX61973" y="connsiteY61973"/>
              </a:cxn>
              <a:cxn ang="0">
                <a:pos x="connsiteX61974" y="connsiteY61974"/>
              </a:cxn>
              <a:cxn ang="0">
                <a:pos x="connsiteX61975" y="connsiteY61975"/>
              </a:cxn>
              <a:cxn ang="0">
                <a:pos x="connsiteX61976" y="connsiteY61976"/>
              </a:cxn>
              <a:cxn ang="0">
                <a:pos x="connsiteX61977" y="connsiteY61977"/>
              </a:cxn>
              <a:cxn ang="0">
                <a:pos x="connsiteX61978" y="connsiteY61978"/>
              </a:cxn>
              <a:cxn ang="0">
                <a:pos x="connsiteX61979" y="connsiteY61979"/>
              </a:cxn>
              <a:cxn ang="0">
                <a:pos x="connsiteX61980" y="connsiteY61980"/>
              </a:cxn>
              <a:cxn ang="0">
                <a:pos x="connsiteX61981" y="connsiteY61981"/>
              </a:cxn>
              <a:cxn ang="0">
                <a:pos x="connsiteX61982" y="connsiteY61982"/>
              </a:cxn>
              <a:cxn ang="0">
                <a:pos x="connsiteX61983" y="connsiteY61983"/>
              </a:cxn>
              <a:cxn ang="0">
                <a:pos x="connsiteX61984" y="connsiteY61984"/>
              </a:cxn>
              <a:cxn ang="0">
                <a:pos x="connsiteX61985" y="connsiteY61985"/>
              </a:cxn>
              <a:cxn ang="0">
                <a:pos x="connsiteX61986" y="connsiteY61986"/>
              </a:cxn>
              <a:cxn ang="0">
                <a:pos x="connsiteX61987" y="connsiteY61987"/>
              </a:cxn>
              <a:cxn ang="0">
                <a:pos x="connsiteX61988" y="connsiteY61988"/>
              </a:cxn>
              <a:cxn ang="0">
                <a:pos x="connsiteX61989" y="connsiteY61989"/>
              </a:cxn>
              <a:cxn ang="0">
                <a:pos x="connsiteX61990" y="connsiteY61990"/>
              </a:cxn>
              <a:cxn ang="0">
                <a:pos x="connsiteX61991" y="connsiteY61991"/>
              </a:cxn>
              <a:cxn ang="0">
                <a:pos x="connsiteX61992" y="connsiteY61992"/>
              </a:cxn>
              <a:cxn ang="0">
                <a:pos x="connsiteX61993" y="connsiteY61993"/>
              </a:cxn>
              <a:cxn ang="0">
                <a:pos x="connsiteX61994" y="connsiteY61994"/>
              </a:cxn>
              <a:cxn ang="0">
                <a:pos x="connsiteX61995" y="connsiteY61995"/>
              </a:cxn>
              <a:cxn ang="0">
                <a:pos x="connsiteX61996" y="connsiteY61996"/>
              </a:cxn>
              <a:cxn ang="0">
                <a:pos x="connsiteX61997" y="connsiteY61997"/>
              </a:cxn>
              <a:cxn ang="0">
                <a:pos x="connsiteX61998" y="connsiteY61998"/>
              </a:cxn>
              <a:cxn ang="0">
                <a:pos x="connsiteX61999" y="connsiteY61999"/>
              </a:cxn>
              <a:cxn ang="0">
                <a:pos x="connsiteX62000" y="connsiteY62000"/>
              </a:cxn>
              <a:cxn ang="0">
                <a:pos x="connsiteX62001" y="connsiteY62001"/>
              </a:cxn>
              <a:cxn ang="0">
                <a:pos x="connsiteX62002" y="connsiteY62002"/>
              </a:cxn>
              <a:cxn ang="0">
                <a:pos x="connsiteX62003" y="connsiteY62003"/>
              </a:cxn>
              <a:cxn ang="0">
                <a:pos x="connsiteX62004" y="connsiteY62004"/>
              </a:cxn>
              <a:cxn ang="0">
                <a:pos x="connsiteX62005" y="connsiteY62005"/>
              </a:cxn>
              <a:cxn ang="0">
                <a:pos x="connsiteX62006" y="connsiteY62006"/>
              </a:cxn>
              <a:cxn ang="0">
                <a:pos x="connsiteX62007" y="connsiteY62007"/>
              </a:cxn>
              <a:cxn ang="0">
                <a:pos x="connsiteX62008" y="connsiteY62008"/>
              </a:cxn>
              <a:cxn ang="0">
                <a:pos x="connsiteX62009" y="connsiteY62009"/>
              </a:cxn>
              <a:cxn ang="0">
                <a:pos x="connsiteX62010" y="connsiteY62010"/>
              </a:cxn>
              <a:cxn ang="0">
                <a:pos x="connsiteX62011" y="connsiteY62011"/>
              </a:cxn>
              <a:cxn ang="0">
                <a:pos x="connsiteX62012" y="connsiteY62012"/>
              </a:cxn>
              <a:cxn ang="0">
                <a:pos x="connsiteX62013" y="connsiteY62013"/>
              </a:cxn>
              <a:cxn ang="0">
                <a:pos x="connsiteX62014" y="connsiteY62014"/>
              </a:cxn>
              <a:cxn ang="0">
                <a:pos x="connsiteX62015" y="connsiteY62015"/>
              </a:cxn>
              <a:cxn ang="0">
                <a:pos x="connsiteX62016" y="connsiteY62016"/>
              </a:cxn>
              <a:cxn ang="0">
                <a:pos x="connsiteX62017" y="connsiteY62017"/>
              </a:cxn>
              <a:cxn ang="0">
                <a:pos x="connsiteX62018" y="connsiteY62018"/>
              </a:cxn>
              <a:cxn ang="0">
                <a:pos x="connsiteX62019" y="connsiteY62019"/>
              </a:cxn>
              <a:cxn ang="0">
                <a:pos x="connsiteX62020" y="connsiteY62020"/>
              </a:cxn>
              <a:cxn ang="0">
                <a:pos x="connsiteX62021" y="connsiteY62021"/>
              </a:cxn>
              <a:cxn ang="0">
                <a:pos x="connsiteX62022" y="connsiteY62022"/>
              </a:cxn>
              <a:cxn ang="0">
                <a:pos x="connsiteX62023" y="connsiteY62023"/>
              </a:cxn>
              <a:cxn ang="0">
                <a:pos x="connsiteX62024" y="connsiteY62024"/>
              </a:cxn>
              <a:cxn ang="0">
                <a:pos x="connsiteX62025" y="connsiteY62025"/>
              </a:cxn>
              <a:cxn ang="0">
                <a:pos x="connsiteX62026" y="connsiteY62026"/>
              </a:cxn>
              <a:cxn ang="0">
                <a:pos x="connsiteX62027" y="connsiteY62027"/>
              </a:cxn>
              <a:cxn ang="0">
                <a:pos x="connsiteX62028" y="connsiteY62028"/>
              </a:cxn>
              <a:cxn ang="0">
                <a:pos x="connsiteX62029" y="connsiteY62029"/>
              </a:cxn>
              <a:cxn ang="0">
                <a:pos x="connsiteX62030" y="connsiteY62030"/>
              </a:cxn>
              <a:cxn ang="0">
                <a:pos x="connsiteX62031" y="connsiteY62031"/>
              </a:cxn>
              <a:cxn ang="0">
                <a:pos x="connsiteX62032" y="connsiteY62032"/>
              </a:cxn>
              <a:cxn ang="0">
                <a:pos x="connsiteX62033" y="connsiteY62033"/>
              </a:cxn>
              <a:cxn ang="0">
                <a:pos x="connsiteX62034" y="connsiteY62034"/>
              </a:cxn>
              <a:cxn ang="0">
                <a:pos x="connsiteX62035" y="connsiteY62035"/>
              </a:cxn>
              <a:cxn ang="0">
                <a:pos x="connsiteX62036" y="connsiteY62036"/>
              </a:cxn>
              <a:cxn ang="0">
                <a:pos x="connsiteX62037" y="connsiteY62037"/>
              </a:cxn>
              <a:cxn ang="0">
                <a:pos x="connsiteX62038" y="connsiteY62038"/>
              </a:cxn>
              <a:cxn ang="0">
                <a:pos x="connsiteX62039" y="connsiteY62039"/>
              </a:cxn>
              <a:cxn ang="0">
                <a:pos x="connsiteX62040" y="connsiteY62040"/>
              </a:cxn>
              <a:cxn ang="0">
                <a:pos x="connsiteX62041" y="connsiteY62041"/>
              </a:cxn>
              <a:cxn ang="0">
                <a:pos x="connsiteX62042" y="connsiteY62042"/>
              </a:cxn>
              <a:cxn ang="0">
                <a:pos x="connsiteX62043" y="connsiteY62043"/>
              </a:cxn>
              <a:cxn ang="0">
                <a:pos x="connsiteX62044" y="connsiteY62044"/>
              </a:cxn>
              <a:cxn ang="0">
                <a:pos x="connsiteX62045" y="connsiteY62045"/>
              </a:cxn>
              <a:cxn ang="0">
                <a:pos x="connsiteX62046" y="connsiteY62046"/>
              </a:cxn>
              <a:cxn ang="0">
                <a:pos x="connsiteX62047" y="connsiteY62047"/>
              </a:cxn>
              <a:cxn ang="0">
                <a:pos x="connsiteX62048" y="connsiteY62048"/>
              </a:cxn>
              <a:cxn ang="0">
                <a:pos x="connsiteX62049" y="connsiteY62049"/>
              </a:cxn>
              <a:cxn ang="0">
                <a:pos x="connsiteX62050" y="connsiteY62050"/>
              </a:cxn>
              <a:cxn ang="0">
                <a:pos x="connsiteX62051" y="connsiteY62051"/>
              </a:cxn>
              <a:cxn ang="0">
                <a:pos x="connsiteX62052" y="connsiteY62052"/>
              </a:cxn>
              <a:cxn ang="0">
                <a:pos x="connsiteX62053" y="connsiteY62053"/>
              </a:cxn>
              <a:cxn ang="0">
                <a:pos x="connsiteX62054" y="connsiteY62054"/>
              </a:cxn>
              <a:cxn ang="0">
                <a:pos x="connsiteX62055" y="connsiteY62055"/>
              </a:cxn>
              <a:cxn ang="0">
                <a:pos x="connsiteX62056" y="connsiteY62056"/>
              </a:cxn>
              <a:cxn ang="0">
                <a:pos x="connsiteX62057" y="connsiteY62057"/>
              </a:cxn>
              <a:cxn ang="0">
                <a:pos x="connsiteX62058" y="connsiteY62058"/>
              </a:cxn>
              <a:cxn ang="0">
                <a:pos x="connsiteX62059" y="connsiteY62059"/>
              </a:cxn>
              <a:cxn ang="0">
                <a:pos x="connsiteX62060" y="connsiteY62060"/>
              </a:cxn>
              <a:cxn ang="0">
                <a:pos x="connsiteX62061" y="connsiteY62061"/>
              </a:cxn>
              <a:cxn ang="0">
                <a:pos x="connsiteX62062" y="connsiteY62062"/>
              </a:cxn>
              <a:cxn ang="0">
                <a:pos x="connsiteX62063" y="connsiteY62063"/>
              </a:cxn>
              <a:cxn ang="0">
                <a:pos x="connsiteX62064" y="connsiteY62064"/>
              </a:cxn>
              <a:cxn ang="0">
                <a:pos x="connsiteX62065" y="connsiteY62065"/>
              </a:cxn>
              <a:cxn ang="0">
                <a:pos x="connsiteX62066" y="connsiteY62066"/>
              </a:cxn>
              <a:cxn ang="0">
                <a:pos x="connsiteX62067" y="connsiteY62067"/>
              </a:cxn>
              <a:cxn ang="0">
                <a:pos x="connsiteX62068" y="connsiteY62068"/>
              </a:cxn>
              <a:cxn ang="0">
                <a:pos x="connsiteX62069" y="connsiteY62069"/>
              </a:cxn>
              <a:cxn ang="0">
                <a:pos x="connsiteX62070" y="connsiteY62070"/>
              </a:cxn>
              <a:cxn ang="0">
                <a:pos x="connsiteX62071" y="connsiteY62071"/>
              </a:cxn>
              <a:cxn ang="0">
                <a:pos x="connsiteX62072" y="connsiteY62072"/>
              </a:cxn>
              <a:cxn ang="0">
                <a:pos x="connsiteX62073" y="connsiteY62073"/>
              </a:cxn>
              <a:cxn ang="0">
                <a:pos x="connsiteX62074" y="connsiteY62074"/>
              </a:cxn>
              <a:cxn ang="0">
                <a:pos x="connsiteX62075" y="connsiteY62075"/>
              </a:cxn>
              <a:cxn ang="0">
                <a:pos x="connsiteX62076" y="connsiteY62076"/>
              </a:cxn>
              <a:cxn ang="0">
                <a:pos x="connsiteX62077" y="connsiteY62077"/>
              </a:cxn>
              <a:cxn ang="0">
                <a:pos x="connsiteX62078" y="connsiteY62078"/>
              </a:cxn>
              <a:cxn ang="0">
                <a:pos x="connsiteX62079" y="connsiteY62079"/>
              </a:cxn>
              <a:cxn ang="0">
                <a:pos x="connsiteX62080" y="connsiteY62080"/>
              </a:cxn>
              <a:cxn ang="0">
                <a:pos x="connsiteX62081" y="connsiteY62081"/>
              </a:cxn>
              <a:cxn ang="0">
                <a:pos x="connsiteX62082" y="connsiteY62082"/>
              </a:cxn>
              <a:cxn ang="0">
                <a:pos x="connsiteX62083" y="connsiteY62083"/>
              </a:cxn>
              <a:cxn ang="0">
                <a:pos x="connsiteX62084" y="connsiteY62084"/>
              </a:cxn>
              <a:cxn ang="0">
                <a:pos x="connsiteX62085" y="connsiteY62085"/>
              </a:cxn>
              <a:cxn ang="0">
                <a:pos x="connsiteX62086" y="connsiteY62086"/>
              </a:cxn>
              <a:cxn ang="0">
                <a:pos x="connsiteX62087" y="connsiteY62087"/>
              </a:cxn>
              <a:cxn ang="0">
                <a:pos x="connsiteX62088" y="connsiteY62088"/>
              </a:cxn>
              <a:cxn ang="0">
                <a:pos x="connsiteX62089" y="connsiteY62089"/>
              </a:cxn>
              <a:cxn ang="0">
                <a:pos x="connsiteX62090" y="connsiteY62090"/>
              </a:cxn>
              <a:cxn ang="0">
                <a:pos x="connsiteX62091" y="connsiteY62091"/>
              </a:cxn>
              <a:cxn ang="0">
                <a:pos x="connsiteX62092" y="connsiteY62092"/>
              </a:cxn>
              <a:cxn ang="0">
                <a:pos x="connsiteX62093" y="connsiteY62093"/>
              </a:cxn>
              <a:cxn ang="0">
                <a:pos x="connsiteX62094" y="connsiteY62094"/>
              </a:cxn>
              <a:cxn ang="0">
                <a:pos x="connsiteX62095" y="connsiteY62095"/>
              </a:cxn>
              <a:cxn ang="0">
                <a:pos x="connsiteX62096" y="connsiteY62096"/>
              </a:cxn>
              <a:cxn ang="0">
                <a:pos x="connsiteX62097" y="connsiteY62097"/>
              </a:cxn>
              <a:cxn ang="0">
                <a:pos x="connsiteX62098" y="connsiteY62098"/>
              </a:cxn>
              <a:cxn ang="0">
                <a:pos x="connsiteX62099" y="connsiteY62099"/>
              </a:cxn>
              <a:cxn ang="0">
                <a:pos x="connsiteX62100" y="connsiteY62100"/>
              </a:cxn>
              <a:cxn ang="0">
                <a:pos x="connsiteX62101" y="connsiteY62101"/>
              </a:cxn>
              <a:cxn ang="0">
                <a:pos x="connsiteX62102" y="connsiteY62102"/>
              </a:cxn>
              <a:cxn ang="0">
                <a:pos x="connsiteX62103" y="connsiteY62103"/>
              </a:cxn>
              <a:cxn ang="0">
                <a:pos x="connsiteX62104" y="connsiteY62104"/>
              </a:cxn>
              <a:cxn ang="0">
                <a:pos x="connsiteX62105" y="connsiteY62105"/>
              </a:cxn>
              <a:cxn ang="0">
                <a:pos x="connsiteX62106" y="connsiteY62106"/>
              </a:cxn>
              <a:cxn ang="0">
                <a:pos x="connsiteX62107" y="connsiteY62107"/>
              </a:cxn>
              <a:cxn ang="0">
                <a:pos x="connsiteX62108" y="connsiteY62108"/>
              </a:cxn>
              <a:cxn ang="0">
                <a:pos x="connsiteX62109" y="connsiteY62109"/>
              </a:cxn>
              <a:cxn ang="0">
                <a:pos x="connsiteX62110" y="connsiteY62110"/>
              </a:cxn>
              <a:cxn ang="0">
                <a:pos x="connsiteX62111" y="connsiteY62111"/>
              </a:cxn>
              <a:cxn ang="0">
                <a:pos x="connsiteX62112" y="connsiteY62112"/>
              </a:cxn>
              <a:cxn ang="0">
                <a:pos x="connsiteX62113" y="connsiteY62113"/>
              </a:cxn>
              <a:cxn ang="0">
                <a:pos x="connsiteX62114" y="connsiteY62114"/>
              </a:cxn>
              <a:cxn ang="0">
                <a:pos x="connsiteX62115" y="connsiteY62115"/>
              </a:cxn>
              <a:cxn ang="0">
                <a:pos x="connsiteX62116" y="connsiteY62116"/>
              </a:cxn>
              <a:cxn ang="0">
                <a:pos x="connsiteX62117" y="connsiteY62117"/>
              </a:cxn>
              <a:cxn ang="0">
                <a:pos x="connsiteX62118" y="connsiteY62118"/>
              </a:cxn>
              <a:cxn ang="0">
                <a:pos x="connsiteX62119" y="connsiteY62119"/>
              </a:cxn>
              <a:cxn ang="0">
                <a:pos x="connsiteX62120" y="connsiteY62120"/>
              </a:cxn>
              <a:cxn ang="0">
                <a:pos x="connsiteX62121" y="connsiteY62121"/>
              </a:cxn>
              <a:cxn ang="0">
                <a:pos x="connsiteX62122" y="connsiteY62122"/>
              </a:cxn>
              <a:cxn ang="0">
                <a:pos x="connsiteX62123" y="connsiteY62123"/>
              </a:cxn>
              <a:cxn ang="0">
                <a:pos x="connsiteX62124" y="connsiteY62124"/>
              </a:cxn>
              <a:cxn ang="0">
                <a:pos x="connsiteX62125" y="connsiteY62125"/>
              </a:cxn>
              <a:cxn ang="0">
                <a:pos x="connsiteX62126" y="connsiteY62126"/>
              </a:cxn>
              <a:cxn ang="0">
                <a:pos x="connsiteX62127" y="connsiteY62127"/>
              </a:cxn>
              <a:cxn ang="0">
                <a:pos x="connsiteX62128" y="connsiteY62128"/>
              </a:cxn>
              <a:cxn ang="0">
                <a:pos x="connsiteX62129" y="connsiteY62129"/>
              </a:cxn>
              <a:cxn ang="0">
                <a:pos x="connsiteX62130" y="connsiteY62130"/>
              </a:cxn>
              <a:cxn ang="0">
                <a:pos x="connsiteX62131" y="connsiteY62131"/>
              </a:cxn>
              <a:cxn ang="0">
                <a:pos x="connsiteX62132" y="connsiteY62132"/>
              </a:cxn>
              <a:cxn ang="0">
                <a:pos x="connsiteX62133" y="connsiteY62133"/>
              </a:cxn>
              <a:cxn ang="0">
                <a:pos x="connsiteX62134" y="connsiteY62134"/>
              </a:cxn>
              <a:cxn ang="0">
                <a:pos x="connsiteX62135" y="connsiteY62135"/>
              </a:cxn>
              <a:cxn ang="0">
                <a:pos x="connsiteX62136" y="connsiteY62136"/>
              </a:cxn>
              <a:cxn ang="0">
                <a:pos x="connsiteX62137" y="connsiteY62137"/>
              </a:cxn>
              <a:cxn ang="0">
                <a:pos x="connsiteX62138" y="connsiteY62138"/>
              </a:cxn>
              <a:cxn ang="0">
                <a:pos x="connsiteX62139" y="connsiteY62139"/>
              </a:cxn>
              <a:cxn ang="0">
                <a:pos x="connsiteX62140" y="connsiteY62140"/>
              </a:cxn>
              <a:cxn ang="0">
                <a:pos x="connsiteX62141" y="connsiteY62141"/>
              </a:cxn>
              <a:cxn ang="0">
                <a:pos x="connsiteX62142" y="connsiteY62142"/>
              </a:cxn>
              <a:cxn ang="0">
                <a:pos x="connsiteX62143" y="connsiteY62143"/>
              </a:cxn>
              <a:cxn ang="0">
                <a:pos x="connsiteX62144" y="connsiteY62144"/>
              </a:cxn>
              <a:cxn ang="0">
                <a:pos x="connsiteX62145" y="connsiteY62145"/>
              </a:cxn>
              <a:cxn ang="0">
                <a:pos x="connsiteX62146" y="connsiteY62146"/>
              </a:cxn>
              <a:cxn ang="0">
                <a:pos x="connsiteX62147" y="connsiteY62147"/>
              </a:cxn>
              <a:cxn ang="0">
                <a:pos x="connsiteX62148" y="connsiteY62148"/>
              </a:cxn>
              <a:cxn ang="0">
                <a:pos x="connsiteX62149" y="connsiteY62149"/>
              </a:cxn>
              <a:cxn ang="0">
                <a:pos x="connsiteX62150" y="connsiteY62150"/>
              </a:cxn>
              <a:cxn ang="0">
                <a:pos x="connsiteX62151" y="connsiteY62151"/>
              </a:cxn>
              <a:cxn ang="0">
                <a:pos x="connsiteX62152" y="connsiteY62152"/>
              </a:cxn>
              <a:cxn ang="0">
                <a:pos x="connsiteX62153" y="connsiteY62153"/>
              </a:cxn>
              <a:cxn ang="0">
                <a:pos x="connsiteX62154" y="connsiteY62154"/>
              </a:cxn>
              <a:cxn ang="0">
                <a:pos x="connsiteX62155" y="connsiteY62155"/>
              </a:cxn>
              <a:cxn ang="0">
                <a:pos x="connsiteX62156" y="connsiteY62156"/>
              </a:cxn>
              <a:cxn ang="0">
                <a:pos x="connsiteX62157" y="connsiteY62157"/>
              </a:cxn>
              <a:cxn ang="0">
                <a:pos x="connsiteX62158" y="connsiteY62158"/>
              </a:cxn>
              <a:cxn ang="0">
                <a:pos x="connsiteX62159" y="connsiteY62159"/>
              </a:cxn>
              <a:cxn ang="0">
                <a:pos x="connsiteX62160" y="connsiteY62160"/>
              </a:cxn>
              <a:cxn ang="0">
                <a:pos x="connsiteX62161" y="connsiteY62161"/>
              </a:cxn>
              <a:cxn ang="0">
                <a:pos x="connsiteX62162" y="connsiteY62162"/>
              </a:cxn>
              <a:cxn ang="0">
                <a:pos x="connsiteX62163" y="connsiteY62163"/>
              </a:cxn>
              <a:cxn ang="0">
                <a:pos x="connsiteX62164" y="connsiteY62164"/>
              </a:cxn>
              <a:cxn ang="0">
                <a:pos x="connsiteX62165" y="connsiteY62165"/>
              </a:cxn>
              <a:cxn ang="0">
                <a:pos x="connsiteX62166" y="connsiteY62166"/>
              </a:cxn>
              <a:cxn ang="0">
                <a:pos x="connsiteX62167" y="connsiteY62167"/>
              </a:cxn>
              <a:cxn ang="0">
                <a:pos x="connsiteX62168" y="connsiteY62168"/>
              </a:cxn>
              <a:cxn ang="0">
                <a:pos x="connsiteX62169" y="connsiteY62169"/>
              </a:cxn>
              <a:cxn ang="0">
                <a:pos x="connsiteX62170" y="connsiteY62170"/>
              </a:cxn>
              <a:cxn ang="0">
                <a:pos x="connsiteX62171" y="connsiteY62171"/>
              </a:cxn>
              <a:cxn ang="0">
                <a:pos x="connsiteX62172" y="connsiteY62172"/>
              </a:cxn>
              <a:cxn ang="0">
                <a:pos x="connsiteX62173" y="connsiteY62173"/>
              </a:cxn>
              <a:cxn ang="0">
                <a:pos x="connsiteX62174" y="connsiteY62174"/>
              </a:cxn>
              <a:cxn ang="0">
                <a:pos x="connsiteX62175" y="connsiteY62175"/>
              </a:cxn>
              <a:cxn ang="0">
                <a:pos x="connsiteX62176" y="connsiteY62176"/>
              </a:cxn>
              <a:cxn ang="0">
                <a:pos x="connsiteX62177" y="connsiteY62177"/>
              </a:cxn>
              <a:cxn ang="0">
                <a:pos x="connsiteX62178" y="connsiteY62178"/>
              </a:cxn>
              <a:cxn ang="0">
                <a:pos x="connsiteX62179" y="connsiteY62179"/>
              </a:cxn>
              <a:cxn ang="0">
                <a:pos x="connsiteX62180" y="connsiteY62180"/>
              </a:cxn>
              <a:cxn ang="0">
                <a:pos x="connsiteX62181" y="connsiteY62181"/>
              </a:cxn>
              <a:cxn ang="0">
                <a:pos x="connsiteX62182" y="connsiteY62182"/>
              </a:cxn>
              <a:cxn ang="0">
                <a:pos x="connsiteX62183" y="connsiteY62183"/>
              </a:cxn>
              <a:cxn ang="0">
                <a:pos x="connsiteX62184" y="connsiteY62184"/>
              </a:cxn>
              <a:cxn ang="0">
                <a:pos x="connsiteX62185" y="connsiteY62185"/>
              </a:cxn>
              <a:cxn ang="0">
                <a:pos x="connsiteX62186" y="connsiteY62186"/>
              </a:cxn>
              <a:cxn ang="0">
                <a:pos x="connsiteX62187" y="connsiteY62187"/>
              </a:cxn>
              <a:cxn ang="0">
                <a:pos x="connsiteX62188" y="connsiteY62188"/>
              </a:cxn>
              <a:cxn ang="0">
                <a:pos x="connsiteX62189" y="connsiteY62189"/>
              </a:cxn>
              <a:cxn ang="0">
                <a:pos x="connsiteX62190" y="connsiteY62190"/>
              </a:cxn>
              <a:cxn ang="0">
                <a:pos x="connsiteX62191" y="connsiteY62191"/>
              </a:cxn>
              <a:cxn ang="0">
                <a:pos x="connsiteX62192" y="connsiteY62192"/>
              </a:cxn>
              <a:cxn ang="0">
                <a:pos x="connsiteX62193" y="connsiteY62193"/>
              </a:cxn>
              <a:cxn ang="0">
                <a:pos x="connsiteX62194" y="connsiteY62194"/>
              </a:cxn>
              <a:cxn ang="0">
                <a:pos x="connsiteX62195" y="connsiteY62195"/>
              </a:cxn>
              <a:cxn ang="0">
                <a:pos x="connsiteX62196" y="connsiteY62196"/>
              </a:cxn>
              <a:cxn ang="0">
                <a:pos x="connsiteX62197" y="connsiteY62197"/>
              </a:cxn>
              <a:cxn ang="0">
                <a:pos x="connsiteX62198" y="connsiteY62198"/>
              </a:cxn>
              <a:cxn ang="0">
                <a:pos x="connsiteX62199" y="connsiteY62199"/>
              </a:cxn>
              <a:cxn ang="0">
                <a:pos x="connsiteX62200" y="connsiteY62200"/>
              </a:cxn>
              <a:cxn ang="0">
                <a:pos x="connsiteX62201" y="connsiteY62201"/>
              </a:cxn>
              <a:cxn ang="0">
                <a:pos x="connsiteX62202" y="connsiteY62202"/>
              </a:cxn>
              <a:cxn ang="0">
                <a:pos x="connsiteX62203" y="connsiteY62203"/>
              </a:cxn>
              <a:cxn ang="0">
                <a:pos x="connsiteX62204" y="connsiteY62204"/>
              </a:cxn>
              <a:cxn ang="0">
                <a:pos x="connsiteX62205" y="connsiteY62205"/>
              </a:cxn>
              <a:cxn ang="0">
                <a:pos x="connsiteX62206" y="connsiteY62206"/>
              </a:cxn>
              <a:cxn ang="0">
                <a:pos x="connsiteX62207" y="connsiteY62207"/>
              </a:cxn>
              <a:cxn ang="0">
                <a:pos x="connsiteX62208" y="connsiteY62208"/>
              </a:cxn>
              <a:cxn ang="0">
                <a:pos x="connsiteX62209" y="connsiteY62209"/>
              </a:cxn>
              <a:cxn ang="0">
                <a:pos x="connsiteX62210" y="connsiteY62210"/>
              </a:cxn>
              <a:cxn ang="0">
                <a:pos x="connsiteX62211" y="connsiteY62211"/>
              </a:cxn>
              <a:cxn ang="0">
                <a:pos x="connsiteX62212" y="connsiteY62212"/>
              </a:cxn>
              <a:cxn ang="0">
                <a:pos x="connsiteX62213" y="connsiteY62213"/>
              </a:cxn>
              <a:cxn ang="0">
                <a:pos x="connsiteX62214" y="connsiteY62214"/>
              </a:cxn>
              <a:cxn ang="0">
                <a:pos x="connsiteX62215" y="connsiteY62215"/>
              </a:cxn>
              <a:cxn ang="0">
                <a:pos x="connsiteX62216" y="connsiteY62216"/>
              </a:cxn>
              <a:cxn ang="0">
                <a:pos x="connsiteX62217" y="connsiteY62217"/>
              </a:cxn>
              <a:cxn ang="0">
                <a:pos x="connsiteX62218" y="connsiteY62218"/>
              </a:cxn>
              <a:cxn ang="0">
                <a:pos x="connsiteX62219" y="connsiteY62219"/>
              </a:cxn>
              <a:cxn ang="0">
                <a:pos x="connsiteX62220" y="connsiteY62220"/>
              </a:cxn>
              <a:cxn ang="0">
                <a:pos x="connsiteX62221" y="connsiteY62221"/>
              </a:cxn>
              <a:cxn ang="0">
                <a:pos x="connsiteX62222" y="connsiteY62222"/>
              </a:cxn>
              <a:cxn ang="0">
                <a:pos x="connsiteX62223" y="connsiteY62223"/>
              </a:cxn>
              <a:cxn ang="0">
                <a:pos x="connsiteX62224" y="connsiteY62224"/>
              </a:cxn>
              <a:cxn ang="0">
                <a:pos x="connsiteX62225" y="connsiteY62225"/>
              </a:cxn>
              <a:cxn ang="0">
                <a:pos x="connsiteX62226" y="connsiteY62226"/>
              </a:cxn>
              <a:cxn ang="0">
                <a:pos x="connsiteX62227" y="connsiteY62227"/>
              </a:cxn>
              <a:cxn ang="0">
                <a:pos x="connsiteX62228" y="connsiteY62228"/>
              </a:cxn>
              <a:cxn ang="0">
                <a:pos x="connsiteX62229" y="connsiteY62229"/>
              </a:cxn>
              <a:cxn ang="0">
                <a:pos x="connsiteX62230" y="connsiteY62230"/>
              </a:cxn>
              <a:cxn ang="0">
                <a:pos x="connsiteX62231" y="connsiteY62231"/>
              </a:cxn>
              <a:cxn ang="0">
                <a:pos x="connsiteX62232" y="connsiteY62232"/>
              </a:cxn>
              <a:cxn ang="0">
                <a:pos x="connsiteX62233" y="connsiteY62233"/>
              </a:cxn>
              <a:cxn ang="0">
                <a:pos x="connsiteX62234" y="connsiteY62234"/>
              </a:cxn>
              <a:cxn ang="0">
                <a:pos x="connsiteX62235" y="connsiteY62235"/>
              </a:cxn>
              <a:cxn ang="0">
                <a:pos x="connsiteX62236" y="connsiteY62236"/>
              </a:cxn>
              <a:cxn ang="0">
                <a:pos x="connsiteX62237" y="connsiteY62237"/>
              </a:cxn>
              <a:cxn ang="0">
                <a:pos x="connsiteX62238" y="connsiteY62238"/>
              </a:cxn>
              <a:cxn ang="0">
                <a:pos x="connsiteX62239" y="connsiteY62239"/>
              </a:cxn>
              <a:cxn ang="0">
                <a:pos x="connsiteX62240" y="connsiteY62240"/>
              </a:cxn>
              <a:cxn ang="0">
                <a:pos x="connsiteX62241" y="connsiteY62241"/>
              </a:cxn>
              <a:cxn ang="0">
                <a:pos x="connsiteX62242" y="connsiteY62242"/>
              </a:cxn>
              <a:cxn ang="0">
                <a:pos x="connsiteX62243" y="connsiteY62243"/>
              </a:cxn>
              <a:cxn ang="0">
                <a:pos x="connsiteX62244" y="connsiteY62244"/>
              </a:cxn>
              <a:cxn ang="0">
                <a:pos x="connsiteX62245" y="connsiteY62245"/>
              </a:cxn>
              <a:cxn ang="0">
                <a:pos x="connsiteX62246" y="connsiteY62246"/>
              </a:cxn>
              <a:cxn ang="0">
                <a:pos x="connsiteX62247" y="connsiteY62247"/>
              </a:cxn>
              <a:cxn ang="0">
                <a:pos x="connsiteX62248" y="connsiteY62248"/>
              </a:cxn>
              <a:cxn ang="0">
                <a:pos x="connsiteX62249" y="connsiteY62249"/>
              </a:cxn>
              <a:cxn ang="0">
                <a:pos x="connsiteX62250" y="connsiteY62250"/>
              </a:cxn>
              <a:cxn ang="0">
                <a:pos x="connsiteX62251" y="connsiteY62251"/>
              </a:cxn>
              <a:cxn ang="0">
                <a:pos x="connsiteX62252" y="connsiteY62252"/>
              </a:cxn>
              <a:cxn ang="0">
                <a:pos x="connsiteX62253" y="connsiteY62253"/>
              </a:cxn>
              <a:cxn ang="0">
                <a:pos x="connsiteX62254" y="connsiteY62254"/>
              </a:cxn>
              <a:cxn ang="0">
                <a:pos x="connsiteX62255" y="connsiteY62255"/>
              </a:cxn>
              <a:cxn ang="0">
                <a:pos x="connsiteX62256" y="connsiteY62256"/>
              </a:cxn>
              <a:cxn ang="0">
                <a:pos x="connsiteX62257" y="connsiteY62257"/>
              </a:cxn>
              <a:cxn ang="0">
                <a:pos x="connsiteX62258" y="connsiteY62258"/>
              </a:cxn>
              <a:cxn ang="0">
                <a:pos x="connsiteX62259" y="connsiteY62259"/>
              </a:cxn>
              <a:cxn ang="0">
                <a:pos x="connsiteX62260" y="connsiteY62260"/>
              </a:cxn>
              <a:cxn ang="0">
                <a:pos x="connsiteX62261" y="connsiteY62261"/>
              </a:cxn>
              <a:cxn ang="0">
                <a:pos x="connsiteX62262" y="connsiteY62262"/>
              </a:cxn>
              <a:cxn ang="0">
                <a:pos x="connsiteX62263" y="connsiteY62263"/>
              </a:cxn>
              <a:cxn ang="0">
                <a:pos x="connsiteX62264" y="connsiteY62264"/>
              </a:cxn>
              <a:cxn ang="0">
                <a:pos x="connsiteX62265" y="connsiteY62265"/>
              </a:cxn>
              <a:cxn ang="0">
                <a:pos x="connsiteX62266" y="connsiteY62266"/>
              </a:cxn>
              <a:cxn ang="0">
                <a:pos x="connsiteX62267" y="connsiteY62267"/>
              </a:cxn>
              <a:cxn ang="0">
                <a:pos x="connsiteX62268" y="connsiteY62268"/>
              </a:cxn>
              <a:cxn ang="0">
                <a:pos x="connsiteX62269" y="connsiteY62269"/>
              </a:cxn>
              <a:cxn ang="0">
                <a:pos x="connsiteX62270" y="connsiteY62270"/>
              </a:cxn>
              <a:cxn ang="0">
                <a:pos x="connsiteX62271" y="connsiteY62271"/>
              </a:cxn>
              <a:cxn ang="0">
                <a:pos x="connsiteX62272" y="connsiteY62272"/>
              </a:cxn>
              <a:cxn ang="0">
                <a:pos x="connsiteX62273" y="connsiteY62273"/>
              </a:cxn>
              <a:cxn ang="0">
                <a:pos x="connsiteX62274" y="connsiteY62274"/>
              </a:cxn>
              <a:cxn ang="0">
                <a:pos x="connsiteX62275" y="connsiteY62275"/>
              </a:cxn>
              <a:cxn ang="0">
                <a:pos x="connsiteX62276" y="connsiteY62276"/>
              </a:cxn>
              <a:cxn ang="0">
                <a:pos x="connsiteX62277" y="connsiteY62277"/>
              </a:cxn>
              <a:cxn ang="0">
                <a:pos x="connsiteX62278" y="connsiteY62278"/>
              </a:cxn>
              <a:cxn ang="0">
                <a:pos x="connsiteX62279" y="connsiteY62279"/>
              </a:cxn>
              <a:cxn ang="0">
                <a:pos x="connsiteX62280" y="connsiteY62280"/>
              </a:cxn>
              <a:cxn ang="0">
                <a:pos x="connsiteX62281" y="connsiteY62281"/>
              </a:cxn>
              <a:cxn ang="0">
                <a:pos x="connsiteX62282" y="connsiteY62282"/>
              </a:cxn>
              <a:cxn ang="0">
                <a:pos x="connsiteX62283" y="connsiteY62283"/>
              </a:cxn>
              <a:cxn ang="0">
                <a:pos x="connsiteX62284" y="connsiteY62284"/>
              </a:cxn>
              <a:cxn ang="0">
                <a:pos x="connsiteX62285" y="connsiteY62285"/>
              </a:cxn>
              <a:cxn ang="0">
                <a:pos x="connsiteX62286" y="connsiteY62286"/>
              </a:cxn>
              <a:cxn ang="0">
                <a:pos x="connsiteX62287" y="connsiteY62287"/>
              </a:cxn>
              <a:cxn ang="0">
                <a:pos x="connsiteX62288" y="connsiteY62288"/>
              </a:cxn>
              <a:cxn ang="0">
                <a:pos x="connsiteX62289" y="connsiteY62289"/>
              </a:cxn>
              <a:cxn ang="0">
                <a:pos x="connsiteX62290" y="connsiteY62290"/>
              </a:cxn>
              <a:cxn ang="0">
                <a:pos x="connsiteX62291" y="connsiteY62291"/>
              </a:cxn>
              <a:cxn ang="0">
                <a:pos x="connsiteX62292" y="connsiteY62292"/>
              </a:cxn>
              <a:cxn ang="0">
                <a:pos x="connsiteX62293" y="connsiteY62293"/>
              </a:cxn>
              <a:cxn ang="0">
                <a:pos x="connsiteX62294" y="connsiteY62294"/>
              </a:cxn>
              <a:cxn ang="0">
                <a:pos x="connsiteX62295" y="connsiteY62295"/>
              </a:cxn>
              <a:cxn ang="0">
                <a:pos x="connsiteX62296" y="connsiteY62296"/>
              </a:cxn>
              <a:cxn ang="0">
                <a:pos x="connsiteX62297" y="connsiteY62297"/>
              </a:cxn>
              <a:cxn ang="0">
                <a:pos x="connsiteX62298" y="connsiteY62298"/>
              </a:cxn>
              <a:cxn ang="0">
                <a:pos x="connsiteX62299" y="connsiteY62299"/>
              </a:cxn>
              <a:cxn ang="0">
                <a:pos x="connsiteX62300" y="connsiteY62300"/>
              </a:cxn>
              <a:cxn ang="0">
                <a:pos x="connsiteX62301" y="connsiteY62301"/>
              </a:cxn>
              <a:cxn ang="0">
                <a:pos x="connsiteX62302" y="connsiteY62302"/>
              </a:cxn>
              <a:cxn ang="0">
                <a:pos x="connsiteX62303" y="connsiteY62303"/>
              </a:cxn>
              <a:cxn ang="0">
                <a:pos x="connsiteX62304" y="connsiteY62304"/>
              </a:cxn>
              <a:cxn ang="0">
                <a:pos x="connsiteX62305" y="connsiteY62305"/>
              </a:cxn>
              <a:cxn ang="0">
                <a:pos x="connsiteX62306" y="connsiteY62306"/>
              </a:cxn>
              <a:cxn ang="0">
                <a:pos x="connsiteX62307" y="connsiteY62307"/>
              </a:cxn>
              <a:cxn ang="0">
                <a:pos x="connsiteX62308" y="connsiteY62308"/>
              </a:cxn>
              <a:cxn ang="0">
                <a:pos x="connsiteX62309" y="connsiteY62309"/>
              </a:cxn>
              <a:cxn ang="0">
                <a:pos x="connsiteX62310" y="connsiteY62310"/>
              </a:cxn>
              <a:cxn ang="0">
                <a:pos x="connsiteX62311" y="connsiteY62311"/>
              </a:cxn>
              <a:cxn ang="0">
                <a:pos x="connsiteX62312" y="connsiteY62312"/>
              </a:cxn>
              <a:cxn ang="0">
                <a:pos x="connsiteX62313" y="connsiteY62313"/>
              </a:cxn>
              <a:cxn ang="0">
                <a:pos x="connsiteX62314" y="connsiteY62314"/>
              </a:cxn>
              <a:cxn ang="0">
                <a:pos x="connsiteX62315" y="connsiteY62315"/>
              </a:cxn>
              <a:cxn ang="0">
                <a:pos x="connsiteX62316" y="connsiteY62316"/>
              </a:cxn>
              <a:cxn ang="0">
                <a:pos x="connsiteX62317" y="connsiteY62317"/>
              </a:cxn>
              <a:cxn ang="0">
                <a:pos x="connsiteX62318" y="connsiteY62318"/>
              </a:cxn>
              <a:cxn ang="0">
                <a:pos x="connsiteX62319" y="connsiteY62319"/>
              </a:cxn>
              <a:cxn ang="0">
                <a:pos x="connsiteX62320" y="connsiteY62320"/>
              </a:cxn>
              <a:cxn ang="0">
                <a:pos x="connsiteX62321" y="connsiteY62321"/>
              </a:cxn>
              <a:cxn ang="0">
                <a:pos x="connsiteX62322" y="connsiteY62322"/>
              </a:cxn>
              <a:cxn ang="0">
                <a:pos x="connsiteX62323" y="connsiteY62323"/>
              </a:cxn>
              <a:cxn ang="0">
                <a:pos x="connsiteX62324" y="connsiteY62324"/>
              </a:cxn>
              <a:cxn ang="0">
                <a:pos x="connsiteX62325" y="connsiteY62325"/>
              </a:cxn>
              <a:cxn ang="0">
                <a:pos x="connsiteX62326" y="connsiteY62326"/>
              </a:cxn>
              <a:cxn ang="0">
                <a:pos x="connsiteX62327" y="connsiteY62327"/>
              </a:cxn>
              <a:cxn ang="0">
                <a:pos x="connsiteX62328" y="connsiteY62328"/>
              </a:cxn>
              <a:cxn ang="0">
                <a:pos x="connsiteX62329" y="connsiteY62329"/>
              </a:cxn>
              <a:cxn ang="0">
                <a:pos x="connsiteX62330" y="connsiteY62330"/>
              </a:cxn>
              <a:cxn ang="0">
                <a:pos x="connsiteX62331" y="connsiteY62331"/>
              </a:cxn>
              <a:cxn ang="0">
                <a:pos x="connsiteX62332" y="connsiteY62332"/>
              </a:cxn>
              <a:cxn ang="0">
                <a:pos x="connsiteX62333" y="connsiteY62333"/>
              </a:cxn>
              <a:cxn ang="0">
                <a:pos x="connsiteX62334" y="connsiteY62334"/>
              </a:cxn>
              <a:cxn ang="0">
                <a:pos x="connsiteX62335" y="connsiteY62335"/>
              </a:cxn>
              <a:cxn ang="0">
                <a:pos x="connsiteX62336" y="connsiteY62336"/>
              </a:cxn>
              <a:cxn ang="0">
                <a:pos x="connsiteX62337" y="connsiteY62337"/>
              </a:cxn>
              <a:cxn ang="0">
                <a:pos x="connsiteX62338" y="connsiteY62338"/>
              </a:cxn>
              <a:cxn ang="0">
                <a:pos x="connsiteX62339" y="connsiteY62339"/>
              </a:cxn>
              <a:cxn ang="0">
                <a:pos x="connsiteX62340" y="connsiteY62340"/>
              </a:cxn>
              <a:cxn ang="0">
                <a:pos x="connsiteX62341" y="connsiteY62341"/>
              </a:cxn>
              <a:cxn ang="0">
                <a:pos x="connsiteX62342" y="connsiteY62342"/>
              </a:cxn>
              <a:cxn ang="0">
                <a:pos x="connsiteX62343" y="connsiteY62343"/>
              </a:cxn>
              <a:cxn ang="0">
                <a:pos x="connsiteX62344" y="connsiteY62344"/>
              </a:cxn>
              <a:cxn ang="0">
                <a:pos x="connsiteX62345" y="connsiteY62345"/>
              </a:cxn>
              <a:cxn ang="0">
                <a:pos x="connsiteX62346" y="connsiteY62346"/>
              </a:cxn>
              <a:cxn ang="0">
                <a:pos x="connsiteX62347" y="connsiteY62347"/>
              </a:cxn>
              <a:cxn ang="0">
                <a:pos x="connsiteX62348" y="connsiteY62348"/>
              </a:cxn>
              <a:cxn ang="0">
                <a:pos x="connsiteX62349" y="connsiteY62349"/>
              </a:cxn>
              <a:cxn ang="0">
                <a:pos x="connsiteX62350" y="connsiteY62350"/>
              </a:cxn>
              <a:cxn ang="0">
                <a:pos x="connsiteX62351" y="connsiteY62351"/>
              </a:cxn>
              <a:cxn ang="0">
                <a:pos x="connsiteX62352" y="connsiteY62352"/>
              </a:cxn>
              <a:cxn ang="0">
                <a:pos x="connsiteX62353" y="connsiteY62353"/>
              </a:cxn>
              <a:cxn ang="0">
                <a:pos x="connsiteX62354" y="connsiteY62354"/>
              </a:cxn>
              <a:cxn ang="0">
                <a:pos x="connsiteX62355" y="connsiteY62355"/>
              </a:cxn>
              <a:cxn ang="0">
                <a:pos x="connsiteX62356" y="connsiteY62356"/>
              </a:cxn>
              <a:cxn ang="0">
                <a:pos x="connsiteX62357" y="connsiteY62357"/>
              </a:cxn>
              <a:cxn ang="0">
                <a:pos x="connsiteX62358" y="connsiteY62358"/>
              </a:cxn>
              <a:cxn ang="0">
                <a:pos x="connsiteX62359" y="connsiteY62359"/>
              </a:cxn>
              <a:cxn ang="0">
                <a:pos x="connsiteX62360" y="connsiteY62360"/>
              </a:cxn>
              <a:cxn ang="0">
                <a:pos x="connsiteX62361" y="connsiteY62361"/>
              </a:cxn>
              <a:cxn ang="0">
                <a:pos x="connsiteX62362" y="connsiteY62362"/>
              </a:cxn>
              <a:cxn ang="0">
                <a:pos x="connsiteX62363" y="connsiteY62363"/>
              </a:cxn>
              <a:cxn ang="0">
                <a:pos x="connsiteX62364" y="connsiteY62364"/>
              </a:cxn>
              <a:cxn ang="0">
                <a:pos x="connsiteX62365" y="connsiteY62365"/>
              </a:cxn>
              <a:cxn ang="0">
                <a:pos x="connsiteX62366" y="connsiteY62366"/>
              </a:cxn>
              <a:cxn ang="0">
                <a:pos x="connsiteX62367" y="connsiteY62367"/>
              </a:cxn>
              <a:cxn ang="0">
                <a:pos x="connsiteX62368" y="connsiteY62368"/>
              </a:cxn>
              <a:cxn ang="0">
                <a:pos x="connsiteX62369" y="connsiteY62369"/>
              </a:cxn>
              <a:cxn ang="0">
                <a:pos x="connsiteX62370" y="connsiteY62370"/>
              </a:cxn>
              <a:cxn ang="0">
                <a:pos x="connsiteX62371" y="connsiteY62371"/>
              </a:cxn>
              <a:cxn ang="0">
                <a:pos x="connsiteX62372" y="connsiteY62372"/>
              </a:cxn>
              <a:cxn ang="0">
                <a:pos x="connsiteX62373" y="connsiteY62373"/>
              </a:cxn>
              <a:cxn ang="0">
                <a:pos x="connsiteX62374" y="connsiteY62374"/>
              </a:cxn>
              <a:cxn ang="0">
                <a:pos x="connsiteX62375" y="connsiteY62375"/>
              </a:cxn>
              <a:cxn ang="0">
                <a:pos x="connsiteX62376" y="connsiteY62376"/>
              </a:cxn>
              <a:cxn ang="0">
                <a:pos x="connsiteX62377" y="connsiteY62377"/>
              </a:cxn>
              <a:cxn ang="0">
                <a:pos x="connsiteX62378" y="connsiteY62378"/>
              </a:cxn>
              <a:cxn ang="0">
                <a:pos x="connsiteX62379" y="connsiteY62379"/>
              </a:cxn>
              <a:cxn ang="0">
                <a:pos x="connsiteX62380" y="connsiteY62380"/>
              </a:cxn>
              <a:cxn ang="0">
                <a:pos x="connsiteX62381" y="connsiteY62381"/>
              </a:cxn>
              <a:cxn ang="0">
                <a:pos x="connsiteX62382" y="connsiteY62382"/>
              </a:cxn>
              <a:cxn ang="0">
                <a:pos x="connsiteX62383" y="connsiteY62383"/>
              </a:cxn>
              <a:cxn ang="0">
                <a:pos x="connsiteX62384" y="connsiteY62384"/>
              </a:cxn>
              <a:cxn ang="0">
                <a:pos x="connsiteX62385" y="connsiteY62385"/>
              </a:cxn>
              <a:cxn ang="0">
                <a:pos x="connsiteX62386" y="connsiteY62386"/>
              </a:cxn>
              <a:cxn ang="0">
                <a:pos x="connsiteX62387" y="connsiteY62387"/>
              </a:cxn>
              <a:cxn ang="0">
                <a:pos x="connsiteX62388" y="connsiteY62388"/>
              </a:cxn>
              <a:cxn ang="0">
                <a:pos x="connsiteX62389" y="connsiteY62389"/>
              </a:cxn>
              <a:cxn ang="0">
                <a:pos x="connsiteX62390" y="connsiteY62390"/>
              </a:cxn>
              <a:cxn ang="0">
                <a:pos x="connsiteX62391" y="connsiteY62391"/>
              </a:cxn>
              <a:cxn ang="0">
                <a:pos x="connsiteX62392" y="connsiteY62392"/>
              </a:cxn>
              <a:cxn ang="0">
                <a:pos x="connsiteX62393" y="connsiteY62393"/>
              </a:cxn>
              <a:cxn ang="0">
                <a:pos x="connsiteX62394" y="connsiteY62394"/>
              </a:cxn>
              <a:cxn ang="0">
                <a:pos x="connsiteX62395" y="connsiteY62395"/>
              </a:cxn>
              <a:cxn ang="0">
                <a:pos x="connsiteX62396" y="connsiteY62396"/>
              </a:cxn>
              <a:cxn ang="0">
                <a:pos x="connsiteX62397" y="connsiteY62397"/>
              </a:cxn>
              <a:cxn ang="0">
                <a:pos x="connsiteX62398" y="connsiteY62398"/>
              </a:cxn>
              <a:cxn ang="0">
                <a:pos x="connsiteX62399" y="connsiteY62399"/>
              </a:cxn>
              <a:cxn ang="0">
                <a:pos x="connsiteX62400" y="connsiteY62400"/>
              </a:cxn>
              <a:cxn ang="0">
                <a:pos x="connsiteX62401" y="connsiteY62401"/>
              </a:cxn>
              <a:cxn ang="0">
                <a:pos x="connsiteX62402" y="connsiteY62402"/>
              </a:cxn>
              <a:cxn ang="0">
                <a:pos x="connsiteX62403" y="connsiteY62403"/>
              </a:cxn>
              <a:cxn ang="0">
                <a:pos x="connsiteX62404" y="connsiteY62404"/>
              </a:cxn>
              <a:cxn ang="0">
                <a:pos x="connsiteX62405" y="connsiteY62405"/>
              </a:cxn>
              <a:cxn ang="0">
                <a:pos x="connsiteX62406" y="connsiteY62406"/>
              </a:cxn>
              <a:cxn ang="0">
                <a:pos x="connsiteX62407" y="connsiteY62407"/>
              </a:cxn>
              <a:cxn ang="0">
                <a:pos x="connsiteX62408" y="connsiteY62408"/>
              </a:cxn>
              <a:cxn ang="0">
                <a:pos x="connsiteX62409" y="connsiteY62409"/>
              </a:cxn>
              <a:cxn ang="0">
                <a:pos x="connsiteX62410" y="connsiteY62410"/>
              </a:cxn>
              <a:cxn ang="0">
                <a:pos x="connsiteX62411" y="connsiteY62411"/>
              </a:cxn>
              <a:cxn ang="0">
                <a:pos x="connsiteX62412" y="connsiteY62412"/>
              </a:cxn>
              <a:cxn ang="0">
                <a:pos x="connsiteX62413" y="connsiteY62413"/>
              </a:cxn>
              <a:cxn ang="0">
                <a:pos x="connsiteX62414" y="connsiteY62414"/>
              </a:cxn>
              <a:cxn ang="0">
                <a:pos x="connsiteX62415" y="connsiteY62415"/>
              </a:cxn>
              <a:cxn ang="0">
                <a:pos x="connsiteX62416" y="connsiteY62416"/>
              </a:cxn>
              <a:cxn ang="0">
                <a:pos x="connsiteX62417" y="connsiteY62417"/>
              </a:cxn>
              <a:cxn ang="0">
                <a:pos x="connsiteX62418" y="connsiteY62418"/>
              </a:cxn>
              <a:cxn ang="0">
                <a:pos x="connsiteX62419" y="connsiteY62419"/>
              </a:cxn>
              <a:cxn ang="0">
                <a:pos x="connsiteX62420" y="connsiteY62420"/>
              </a:cxn>
              <a:cxn ang="0">
                <a:pos x="connsiteX62421" y="connsiteY62421"/>
              </a:cxn>
              <a:cxn ang="0">
                <a:pos x="connsiteX62422" y="connsiteY62422"/>
              </a:cxn>
              <a:cxn ang="0">
                <a:pos x="connsiteX62423" y="connsiteY62423"/>
              </a:cxn>
              <a:cxn ang="0">
                <a:pos x="connsiteX62424" y="connsiteY62424"/>
              </a:cxn>
              <a:cxn ang="0">
                <a:pos x="connsiteX62425" y="connsiteY62425"/>
              </a:cxn>
              <a:cxn ang="0">
                <a:pos x="connsiteX62426" y="connsiteY62426"/>
              </a:cxn>
              <a:cxn ang="0">
                <a:pos x="connsiteX62427" y="connsiteY62427"/>
              </a:cxn>
              <a:cxn ang="0">
                <a:pos x="connsiteX62428" y="connsiteY62428"/>
              </a:cxn>
              <a:cxn ang="0">
                <a:pos x="connsiteX62429" y="connsiteY62429"/>
              </a:cxn>
              <a:cxn ang="0">
                <a:pos x="connsiteX62430" y="connsiteY62430"/>
              </a:cxn>
              <a:cxn ang="0">
                <a:pos x="connsiteX62431" y="connsiteY62431"/>
              </a:cxn>
              <a:cxn ang="0">
                <a:pos x="connsiteX62432" y="connsiteY62432"/>
              </a:cxn>
              <a:cxn ang="0">
                <a:pos x="connsiteX62433" y="connsiteY62433"/>
              </a:cxn>
              <a:cxn ang="0">
                <a:pos x="connsiteX62434" y="connsiteY62434"/>
              </a:cxn>
              <a:cxn ang="0">
                <a:pos x="connsiteX62435" y="connsiteY62435"/>
              </a:cxn>
              <a:cxn ang="0">
                <a:pos x="connsiteX62436" y="connsiteY62436"/>
              </a:cxn>
              <a:cxn ang="0">
                <a:pos x="connsiteX62437" y="connsiteY62437"/>
              </a:cxn>
              <a:cxn ang="0">
                <a:pos x="connsiteX62438" y="connsiteY62438"/>
              </a:cxn>
              <a:cxn ang="0">
                <a:pos x="connsiteX62439" y="connsiteY62439"/>
              </a:cxn>
              <a:cxn ang="0">
                <a:pos x="connsiteX62440" y="connsiteY62440"/>
              </a:cxn>
              <a:cxn ang="0">
                <a:pos x="connsiteX62441" y="connsiteY62441"/>
              </a:cxn>
              <a:cxn ang="0">
                <a:pos x="connsiteX62442" y="connsiteY62442"/>
              </a:cxn>
              <a:cxn ang="0">
                <a:pos x="connsiteX62443" y="connsiteY62443"/>
              </a:cxn>
              <a:cxn ang="0">
                <a:pos x="connsiteX62444" y="connsiteY62444"/>
              </a:cxn>
              <a:cxn ang="0">
                <a:pos x="connsiteX62445" y="connsiteY62445"/>
              </a:cxn>
              <a:cxn ang="0">
                <a:pos x="connsiteX62446" y="connsiteY62446"/>
              </a:cxn>
              <a:cxn ang="0">
                <a:pos x="connsiteX62447" y="connsiteY62447"/>
              </a:cxn>
              <a:cxn ang="0">
                <a:pos x="connsiteX62448" y="connsiteY62448"/>
              </a:cxn>
              <a:cxn ang="0">
                <a:pos x="connsiteX62449" y="connsiteY62449"/>
              </a:cxn>
              <a:cxn ang="0">
                <a:pos x="connsiteX62450" y="connsiteY62450"/>
              </a:cxn>
              <a:cxn ang="0">
                <a:pos x="connsiteX62451" y="connsiteY62451"/>
              </a:cxn>
              <a:cxn ang="0">
                <a:pos x="connsiteX62452" y="connsiteY62452"/>
              </a:cxn>
              <a:cxn ang="0">
                <a:pos x="connsiteX62453" y="connsiteY62453"/>
              </a:cxn>
              <a:cxn ang="0">
                <a:pos x="connsiteX62454" y="connsiteY62454"/>
              </a:cxn>
              <a:cxn ang="0">
                <a:pos x="connsiteX62455" y="connsiteY62455"/>
              </a:cxn>
              <a:cxn ang="0">
                <a:pos x="connsiteX62456" y="connsiteY62456"/>
              </a:cxn>
              <a:cxn ang="0">
                <a:pos x="connsiteX62457" y="connsiteY62457"/>
              </a:cxn>
              <a:cxn ang="0">
                <a:pos x="connsiteX62458" y="connsiteY62458"/>
              </a:cxn>
              <a:cxn ang="0">
                <a:pos x="connsiteX62459" y="connsiteY62459"/>
              </a:cxn>
              <a:cxn ang="0">
                <a:pos x="connsiteX62460" y="connsiteY62460"/>
              </a:cxn>
              <a:cxn ang="0">
                <a:pos x="connsiteX62461" y="connsiteY62461"/>
              </a:cxn>
              <a:cxn ang="0">
                <a:pos x="connsiteX62462" y="connsiteY62462"/>
              </a:cxn>
              <a:cxn ang="0">
                <a:pos x="connsiteX62463" y="connsiteY62463"/>
              </a:cxn>
              <a:cxn ang="0">
                <a:pos x="connsiteX62464" y="connsiteY62464"/>
              </a:cxn>
              <a:cxn ang="0">
                <a:pos x="connsiteX62465" y="connsiteY62465"/>
              </a:cxn>
              <a:cxn ang="0">
                <a:pos x="connsiteX62466" y="connsiteY62466"/>
              </a:cxn>
              <a:cxn ang="0">
                <a:pos x="connsiteX62467" y="connsiteY62467"/>
              </a:cxn>
              <a:cxn ang="0">
                <a:pos x="connsiteX62468" y="connsiteY62468"/>
              </a:cxn>
              <a:cxn ang="0">
                <a:pos x="connsiteX62469" y="connsiteY62469"/>
              </a:cxn>
              <a:cxn ang="0">
                <a:pos x="connsiteX62470" y="connsiteY62470"/>
              </a:cxn>
              <a:cxn ang="0">
                <a:pos x="connsiteX62471" y="connsiteY62471"/>
              </a:cxn>
              <a:cxn ang="0">
                <a:pos x="connsiteX62472" y="connsiteY62472"/>
              </a:cxn>
              <a:cxn ang="0">
                <a:pos x="connsiteX62473" y="connsiteY62473"/>
              </a:cxn>
              <a:cxn ang="0">
                <a:pos x="connsiteX62474" y="connsiteY62474"/>
              </a:cxn>
              <a:cxn ang="0">
                <a:pos x="connsiteX62475" y="connsiteY62475"/>
              </a:cxn>
              <a:cxn ang="0">
                <a:pos x="connsiteX62476" y="connsiteY62476"/>
              </a:cxn>
              <a:cxn ang="0">
                <a:pos x="connsiteX62477" y="connsiteY62477"/>
              </a:cxn>
              <a:cxn ang="0">
                <a:pos x="connsiteX62478" y="connsiteY62478"/>
              </a:cxn>
              <a:cxn ang="0">
                <a:pos x="connsiteX62479" y="connsiteY62479"/>
              </a:cxn>
              <a:cxn ang="0">
                <a:pos x="connsiteX62480" y="connsiteY62480"/>
              </a:cxn>
              <a:cxn ang="0">
                <a:pos x="connsiteX62481" y="connsiteY62481"/>
              </a:cxn>
              <a:cxn ang="0">
                <a:pos x="connsiteX62482" y="connsiteY62482"/>
              </a:cxn>
              <a:cxn ang="0">
                <a:pos x="connsiteX62483" y="connsiteY62483"/>
              </a:cxn>
              <a:cxn ang="0">
                <a:pos x="connsiteX62484" y="connsiteY62484"/>
              </a:cxn>
              <a:cxn ang="0">
                <a:pos x="connsiteX62485" y="connsiteY62485"/>
              </a:cxn>
              <a:cxn ang="0">
                <a:pos x="connsiteX62486" y="connsiteY62486"/>
              </a:cxn>
              <a:cxn ang="0">
                <a:pos x="connsiteX62487" y="connsiteY62487"/>
              </a:cxn>
              <a:cxn ang="0">
                <a:pos x="connsiteX62488" y="connsiteY62488"/>
              </a:cxn>
              <a:cxn ang="0">
                <a:pos x="connsiteX62489" y="connsiteY62489"/>
              </a:cxn>
              <a:cxn ang="0">
                <a:pos x="connsiteX62490" y="connsiteY62490"/>
              </a:cxn>
              <a:cxn ang="0">
                <a:pos x="connsiteX62491" y="connsiteY62491"/>
              </a:cxn>
              <a:cxn ang="0">
                <a:pos x="connsiteX62492" y="connsiteY62492"/>
              </a:cxn>
              <a:cxn ang="0">
                <a:pos x="connsiteX62493" y="connsiteY62493"/>
              </a:cxn>
              <a:cxn ang="0">
                <a:pos x="connsiteX62494" y="connsiteY62494"/>
              </a:cxn>
              <a:cxn ang="0">
                <a:pos x="connsiteX62495" y="connsiteY62495"/>
              </a:cxn>
              <a:cxn ang="0">
                <a:pos x="connsiteX62496" y="connsiteY62496"/>
              </a:cxn>
              <a:cxn ang="0">
                <a:pos x="connsiteX62497" y="connsiteY62497"/>
              </a:cxn>
              <a:cxn ang="0">
                <a:pos x="connsiteX62498" y="connsiteY62498"/>
              </a:cxn>
              <a:cxn ang="0">
                <a:pos x="connsiteX62499" y="connsiteY62499"/>
              </a:cxn>
              <a:cxn ang="0">
                <a:pos x="connsiteX62500" y="connsiteY62500"/>
              </a:cxn>
              <a:cxn ang="0">
                <a:pos x="connsiteX62501" y="connsiteY62501"/>
              </a:cxn>
              <a:cxn ang="0">
                <a:pos x="connsiteX62502" y="connsiteY62502"/>
              </a:cxn>
              <a:cxn ang="0">
                <a:pos x="connsiteX62503" y="connsiteY62503"/>
              </a:cxn>
              <a:cxn ang="0">
                <a:pos x="connsiteX62504" y="connsiteY62504"/>
              </a:cxn>
              <a:cxn ang="0">
                <a:pos x="connsiteX62505" y="connsiteY62505"/>
              </a:cxn>
              <a:cxn ang="0">
                <a:pos x="connsiteX62506" y="connsiteY62506"/>
              </a:cxn>
              <a:cxn ang="0">
                <a:pos x="connsiteX62507" y="connsiteY62507"/>
              </a:cxn>
              <a:cxn ang="0">
                <a:pos x="connsiteX62508" y="connsiteY62508"/>
              </a:cxn>
              <a:cxn ang="0">
                <a:pos x="connsiteX62509" y="connsiteY62509"/>
              </a:cxn>
              <a:cxn ang="0">
                <a:pos x="connsiteX62510" y="connsiteY62510"/>
              </a:cxn>
              <a:cxn ang="0">
                <a:pos x="connsiteX62511" y="connsiteY62511"/>
              </a:cxn>
              <a:cxn ang="0">
                <a:pos x="connsiteX62512" y="connsiteY62512"/>
              </a:cxn>
              <a:cxn ang="0">
                <a:pos x="connsiteX62513" y="connsiteY62513"/>
              </a:cxn>
              <a:cxn ang="0">
                <a:pos x="connsiteX62514" y="connsiteY62514"/>
              </a:cxn>
              <a:cxn ang="0">
                <a:pos x="connsiteX62515" y="connsiteY62515"/>
              </a:cxn>
              <a:cxn ang="0">
                <a:pos x="connsiteX62516" y="connsiteY62516"/>
              </a:cxn>
              <a:cxn ang="0">
                <a:pos x="connsiteX62517" y="connsiteY62517"/>
              </a:cxn>
              <a:cxn ang="0">
                <a:pos x="connsiteX62518" y="connsiteY62518"/>
              </a:cxn>
              <a:cxn ang="0">
                <a:pos x="connsiteX62519" y="connsiteY62519"/>
              </a:cxn>
              <a:cxn ang="0">
                <a:pos x="connsiteX62520" y="connsiteY62520"/>
              </a:cxn>
              <a:cxn ang="0">
                <a:pos x="connsiteX62521" y="connsiteY62521"/>
              </a:cxn>
              <a:cxn ang="0">
                <a:pos x="connsiteX62522" y="connsiteY62522"/>
              </a:cxn>
              <a:cxn ang="0">
                <a:pos x="connsiteX62523" y="connsiteY62523"/>
              </a:cxn>
              <a:cxn ang="0">
                <a:pos x="connsiteX62524" y="connsiteY62524"/>
              </a:cxn>
              <a:cxn ang="0">
                <a:pos x="connsiteX62525" y="connsiteY62525"/>
              </a:cxn>
              <a:cxn ang="0">
                <a:pos x="connsiteX62526" y="connsiteY62526"/>
              </a:cxn>
              <a:cxn ang="0">
                <a:pos x="connsiteX62527" y="connsiteY62527"/>
              </a:cxn>
              <a:cxn ang="0">
                <a:pos x="connsiteX62528" y="connsiteY62528"/>
              </a:cxn>
              <a:cxn ang="0">
                <a:pos x="connsiteX62529" y="connsiteY62529"/>
              </a:cxn>
              <a:cxn ang="0">
                <a:pos x="connsiteX62530" y="connsiteY62530"/>
              </a:cxn>
              <a:cxn ang="0">
                <a:pos x="connsiteX62531" y="connsiteY62531"/>
              </a:cxn>
              <a:cxn ang="0">
                <a:pos x="connsiteX62532" y="connsiteY62532"/>
              </a:cxn>
              <a:cxn ang="0">
                <a:pos x="connsiteX62533" y="connsiteY62533"/>
              </a:cxn>
              <a:cxn ang="0">
                <a:pos x="connsiteX62534" y="connsiteY62534"/>
              </a:cxn>
              <a:cxn ang="0">
                <a:pos x="connsiteX62535" y="connsiteY62535"/>
              </a:cxn>
              <a:cxn ang="0">
                <a:pos x="connsiteX62536" y="connsiteY62536"/>
              </a:cxn>
              <a:cxn ang="0">
                <a:pos x="connsiteX62537" y="connsiteY62537"/>
              </a:cxn>
              <a:cxn ang="0">
                <a:pos x="connsiteX62538" y="connsiteY62538"/>
              </a:cxn>
              <a:cxn ang="0">
                <a:pos x="connsiteX62539" y="connsiteY62539"/>
              </a:cxn>
              <a:cxn ang="0">
                <a:pos x="connsiteX62540" y="connsiteY62540"/>
              </a:cxn>
              <a:cxn ang="0">
                <a:pos x="connsiteX62541" y="connsiteY62541"/>
              </a:cxn>
              <a:cxn ang="0">
                <a:pos x="connsiteX62542" y="connsiteY62542"/>
              </a:cxn>
              <a:cxn ang="0">
                <a:pos x="connsiteX62543" y="connsiteY62543"/>
              </a:cxn>
              <a:cxn ang="0">
                <a:pos x="connsiteX62544" y="connsiteY62544"/>
              </a:cxn>
              <a:cxn ang="0">
                <a:pos x="connsiteX62545" y="connsiteY62545"/>
              </a:cxn>
              <a:cxn ang="0">
                <a:pos x="connsiteX62546" y="connsiteY62546"/>
              </a:cxn>
              <a:cxn ang="0">
                <a:pos x="connsiteX62547" y="connsiteY62547"/>
              </a:cxn>
              <a:cxn ang="0">
                <a:pos x="connsiteX62548" y="connsiteY62548"/>
              </a:cxn>
              <a:cxn ang="0">
                <a:pos x="connsiteX62549" y="connsiteY62549"/>
              </a:cxn>
              <a:cxn ang="0">
                <a:pos x="connsiteX62550" y="connsiteY62550"/>
              </a:cxn>
              <a:cxn ang="0">
                <a:pos x="connsiteX62551" y="connsiteY62551"/>
              </a:cxn>
              <a:cxn ang="0">
                <a:pos x="connsiteX62552" y="connsiteY62552"/>
              </a:cxn>
              <a:cxn ang="0">
                <a:pos x="connsiteX62553" y="connsiteY62553"/>
              </a:cxn>
              <a:cxn ang="0">
                <a:pos x="connsiteX62554" y="connsiteY62554"/>
              </a:cxn>
              <a:cxn ang="0">
                <a:pos x="connsiteX62555" y="connsiteY62555"/>
              </a:cxn>
              <a:cxn ang="0">
                <a:pos x="connsiteX62556" y="connsiteY62556"/>
              </a:cxn>
              <a:cxn ang="0">
                <a:pos x="connsiteX62557" y="connsiteY62557"/>
              </a:cxn>
              <a:cxn ang="0">
                <a:pos x="connsiteX62558" y="connsiteY62558"/>
              </a:cxn>
              <a:cxn ang="0">
                <a:pos x="connsiteX62559" y="connsiteY62559"/>
              </a:cxn>
              <a:cxn ang="0">
                <a:pos x="connsiteX62560" y="connsiteY62560"/>
              </a:cxn>
              <a:cxn ang="0">
                <a:pos x="connsiteX62561" y="connsiteY62561"/>
              </a:cxn>
              <a:cxn ang="0">
                <a:pos x="connsiteX62562" y="connsiteY62562"/>
              </a:cxn>
              <a:cxn ang="0">
                <a:pos x="connsiteX62563" y="connsiteY62563"/>
              </a:cxn>
              <a:cxn ang="0">
                <a:pos x="connsiteX62564" y="connsiteY62564"/>
              </a:cxn>
              <a:cxn ang="0">
                <a:pos x="connsiteX62565" y="connsiteY62565"/>
              </a:cxn>
              <a:cxn ang="0">
                <a:pos x="connsiteX62566" y="connsiteY62566"/>
              </a:cxn>
              <a:cxn ang="0">
                <a:pos x="connsiteX62567" y="connsiteY62567"/>
              </a:cxn>
              <a:cxn ang="0">
                <a:pos x="connsiteX62568" y="connsiteY62568"/>
              </a:cxn>
              <a:cxn ang="0">
                <a:pos x="connsiteX62569" y="connsiteY62569"/>
              </a:cxn>
              <a:cxn ang="0">
                <a:pos x="connsiteX62570" y="connsiteY62570"/>
              </a:cxn>
              <a:cxn ang="0">
                <a:pos x="connsiteX62571" y="connsiteY62571"/>
              </a:cxn>
              <a:cxn ang="0">
                <a:pos x="connsiteX62572" y="connsiteY62572"/>
              </a:cxn>
              <a:cxn ang="0">
                <a:pos x="connsiteX62573" y="connsiteY62573"/>
              </a:cxn>
              <a:cxn ang="0">
                <a:pos x="connsiteX62574" y="connsiteY62574"/>
              </a:cxn>
              <a:cxn ang="0">
                <a:pos x="connsiteX62575" y="connsiteY62575"/>
              </a:cxn>
              <a:cxn ang="0">
                <a:pos x="connsiteX62576" y="connsiteY62576"/>
              </a:cxn>
              <a:cxn ang="0">
                <a:pos x="connsiteX62577" y="connsiteY62577"/>
              </a:cxn>
              <a:cxn ang="0">
                <a:pos x="connsiteX62578" y="connsiteY62578"/>
              </a:cxn>
              <a:cxn ang="0">
                <a:pos x="connsiteX62579" y="connsiteY62579"/>
              </a:cxn>
              <a:cxn ang="0">
                <a:pos x="connsiteX62580" y="connsiteY62580"/>
              </a:cxn>
              <a:cxn ang="0">
                <a:pos x="connsiteX62581" y="connsiteY62581"/>
              </a:cxn>
              <a:cxn ang="0">
                <a:pos x="connsiteX62582" y="connsiteY62582"/>
              </a:cxn>
              <a:cxn ang="0">
                <a:pos x="connsiteX62583" y="connsiteY62583"/>
              </a:cxn>
              <a:cxn ang="0">
                <a:pos x="connsiteX62584" y="connsiteY62584"/>
              </a:cxn>
              <a:cxn ang="0">
                <a:pos x="connsiteX62585" y="connsiteY62585"/>
              </a:cxn>
              <a:cxn ang="0">
                <a:pos x="connsiteX62586" y="connsiteY62586"/>
              </a:cxn>
              <a:cxn ang="0">
                <a:pos x="connsiteX62587" y="connsiteY62587"/>
              </a:cxn>
              <a:cxn ang="0">
                <a:pos x="connsiteX62588" y="connsiteY62588"/>
              </a:cxn>
              <a:cxn ang="0">
                <a:pos x="connsiteX62589" y="connsiteY62589"/>
              </a:cxn>
              <a:cxn ang="0">
                <a:pos x="connsiteX62590" y="connsiteY62590"/>
              </a:cxn>
              <a:cxn ang="0">
                <a:pos x="connsiteX62591" y="connsiteY62591"/>
              </a:cxn>
              <a:cxn ang="0">
                <a:pos x="connsiteX62592" y="connsiteY62592"/>
              </a:cxn>
              <a:cxn ang="0">
                <a:pos x="connsiteX62593" y="connsiteY62593"/>
              </a:cxn>
              <a:cxn ang="0">
                <a:pos x="connsiteX62594" y="connsiteY62594"/>
              </a:cxn>
              <a:cxn ang="0">
                <a:pos x="connsiteX62595" y="connsiteY62595"/>
              </a:cxn>
              <a:cxn ang="0">
                <a:pos x="connsiteX62596" y="connsiteY62596"/>
              </a:cxn>
              <a:cxn ang="0">
                <a:pos x="connsiteX62597" y="connsiteY62597"/>
              </a:cxn>
              <a:cxn ang="0">
                <a:pos x="connsiteX62598" y="connsiteY62598"/>
              </a:cxn>
              <a:cxn ang="0">
                <a:pos x="connsiteX62599" y="connsiteY62599"/>
              </a:cxn>
              <a:cxn ang="0">
                <a:pos x="connsiteX62600" y="connsiteY62600"/>
              </a:cxn>
              <a:cxn ang="0">
                <a:pos x="connsiteX62601" y="connsiteY62601"/>
              </a:cxn>
              <a:cxn ang="0">
                <a:pos x="connsiteX62602" y="connsiteY62602"/>
              </a:cxn>
              <a:cxn ang="0">
                <a:pos x="connsiteX62603" y="connsiteY62603"/>
              </a:cxn>
              <a:cxn ang="0">
                <a:pos x="connsiteX62604" y="connsiteY62604"/>
              </a:cxn>
              <a:cxn ang="0">
                <a:pos x="connsiteX62605" y="connsiteY62605"/>
              </a:cxn>
              <a:cxn ang="0">
                <a:pos x="connsiteX62606" y="connsiteY62606"/>
              </a:cxn>
              <a:cxn ang="0">
                <a:pos x="connsiteX62607" y="connsiteY62607"/>
              </a:cxn>
              <a:cxn ang="0">
                <a:pos x="connsiteX62608" y="connsiteY62608"/>
              </a:cxn>
              <a:cxn ang="0">
                <a:pos x="connsiteX62609" y="connsiteY62609"/>
              </a:cxn>
              <a:cxn ang="0">
                <a:pos x="connsiteX62610" y="connsiteY62610"/>
              </a:cxn>
              <a:cxn ang="0">
                <a:pos x="connsiteX62611" y="connsiteY62611"/>
              </a:cxn>
              <a:cxn ang="0">
                <a:pos x="connsiteX62612" y="connsiteY62612"/>
              </a:cxn>
              <a:cxn ang="0">
                <a:pos x="connsiteX62613" y="connsiteY62613"/>
              </a:cxn>
              <a:cxn ang="0">
                <a:pos x="connsiteX62614" y="connsiteY62614"/>
              </a:cxn>
              <a:cxn ang="0">
                <a:pos x="connsiteX62615" y="connsiteY62615"/>
              </a:cxn>
              <a:cxn ang="0">
                <a:pos x="connsiteX62616" y="connsiteY62616"/>
              </a:cxn>
              <a:cxn ang="0">
                <a:pos x="connsiteX62617" y="connsiteY62617"/>
              </a:cxn>
              <a:cxn ang="0">
                <a:pos x="connsiteX62618" y="connsiteY62618"/>
              </a:cxn>
              <a:cxn ang="0">
                <a:pos x="connsiteX62619" y="connsiteY62619"/>
              </a:cxn>
              <a:cxn ang="0">
                <a:pos x="connsiteX62620" y="connsiteY62620"/>
              </a:cxn>
              <a:cxn ang="0">
                <a:pos x="connsiteX62621" y="connsiteY62621"/>
              </a:cxn>
              <a:cxn ang="0">
                <a:pos x="connsiteX62622" y="connsiteY62622"/>
              </a:cxn>
              <a:cxn ang="0">
                <a:pos x="connsiteX62623" y="connsiteY62623"/>
              </a:cxn>
              <a:cxn ang="0">
                <a:pos x="connsiteX62624" y="connsiteY62624"/>
              </a:cxn>
              <a:cxn ang="0">
                <a:pos x="connsiteX62625" y="connsiteY62625"/>
              </a:cxn>
              <a:cxn ang="0">
                <a:pos x="connsiteX62626" y="connsiteY62626"/>
              </a:cxn>
              <a:cxn ang="0">
                <a:pos x="connsiteX62627" y="connsiteY62627"/>
              </a:cxn>
              <a:cxn ang="0">
                <a:pos x="connsiteX62628" y="connsiteY62628"/>
              </a:cxn>
              <a:cxn ang="0">
                <a:pos x="connsiteX62629" y="connsiteY62629"/>
              </a:cxn>
              <a:cxn ang="0">
                <a:pos x="connsiteX62630" y="connsiteY62630"/>
              </a:cxn>
              <a:cxn ang="0">
                <a:pos x="connsiteX62631" y="connsiteY62631"/>
              </a:cxn>
              <a:cxn ang="0">
                <a:pos x="connsiteX62632" y="connsiteY62632"/>
              </a:cxn>
              <a:cxn ang="0">
                <a:pos x="connsiteX62633" y="connsiteY62633"/>
              </a:cxn>
              <a:cxn ang="0">
                <a:pos x="connsiteX62634" y="connsiteY62634"/>
              </a:cxn>
              <a:cxn ang="0">
                <a:pos x="connsiteX62635" y="connsiteY62635"/>
              </a:cxn>
              <a:cxn ang="0">
                <a:pos x="connsiteX62636" y="connsiteY62636"/>
              </a:cxn>
              <a:cxn ang="0">
                <a:pos x="connsiteX62637" y="connsiteY62637"/>
              </a:cxn>
              <a:cxn ang="0">
                <a:pos x="connsiteX62638" y="connsiteY62638"/>
              </a:cxn>
              <a:cxn ang="0">
                <a:pos x="connsiteX62639" y="connsiteY62639"/>
              </a:cxn>
              <a:cxn ang="0">
                <a:pos x="connsiteX62640" y="connsiteY62640"/>
              </a:cxn>
              <a:cxn ang="0">
                <a:pos x="connsiteX62641" y="connsiteY62641"/>
              </a:cxn>
              <a:cxn ang="0">
                <a:pos x="connsiteX62642" y="connsiteY62642"/>
              </a:cxn>
              <a:cxn ang="0">
                <a:pos x="connsiteX62643" y="connsiteY62643"/>
              </a:cxn>
              <a:cxn ang="0">
                <a:pos x="connsiteX62644" y="connsiteY62644"/>
              </a:cxn>
              <a:cxn ang="0">
                <a:pos x="connsiteX62645" y="connsiteY62645"/>
              </a:cxn>
              <a:cxn ang="0">
                <a:pos x="connsiteX62646" y="connsiteY62646"/>
              </a:cxn>
              <a:cxn ang="0">
                <a:pos x="connsiteX62647" y="connsiteY62647"/>
              </a:cxn>
              <a:cxn ang="0">
                <a:pos x="connsiteX62648" y="connsiteY62648"/>
              </a:cxn>
              <a:cxn ang="0">
                <a:pos x="connsiteX62649" y="connsiteY62649"/>
              </a:cxn>
              <a:cxn ang="0">
                <a:pos x="connsiteX62650" y="connsiteY62650"/>
              </a:cxn>
              <a:cxn ang="0">
                <a:pos x="connsiteX62651" y="connsiteY62651"/>
              </a:cxn>
              <a:cxn ang="0">
                <a:pos x="connsiteX62652" y="connsiteY62652"/>
              </a:cxn>
              <a:cxn ang="0">
                <a:pos x="connsiteX62653" y="connsiteY62653"/>
              </a:cxn>
              <a:cxn ang="0">
                <a:pos x="connsiteX62654" y="connsiteY62654"/>
              </a:cxn>
              <a:cxn ang="0">
                <a:pos x="connsiteX62655" y="connsiteY62655"/>
              </a:cxn>
              <a:cxn ang="0">
                <a:pos x="connsiteX62656" y="connsiteY62656"/>
              </a:cxn>
              <a:cxn ang="0">
                <a:pos x="connsiteX62657" y="connsiteY62657"/>
              </a:cxn>
              <a:cxn ang="0">
                <a:pos x="connsiteX62658" y="connsiteY62658"/>
              </a:cxn>
              <a:cxn ang="0">
                <a:pos x="connsiteX62659" y="connsiteY62659"/>
              </a:cxn>
              <a:cxn ang="0">
                <a:pos x="connsiteX62660" y="connsiteY62660"/>
              </a:cxn>
              <a:cxn ang="0">
                <a:pos x="connsiteX62661" y="connsiteY62661"/>
              </a:cxn>
              <a:cxn ang="0">
                <a:pos x="connsiteX62662" y="connsiteY62662"/>
              </a:cxn>
              <a:cxn ang="0">
                <a:pos x="connsiteX62663" y="connsiteY62663"/>
              </a:cxn>
              <a:cxn ang="0">
                <a:pos x="connsiteX62664" y="connsiteY62664"/>
              </a:cxn>
              <a:cxn ang="0">
                <a:pos x="connsiteX62665" y="connsiteY62665"/>
              </a:cxn>
              <a:cxn ang="0">
                <a:pos x="connsiteX62666" y="connsiteY62666"/>
              </a:cxn>
              <a:cxn ang="0">
                <a:pos x="connsiteX62667" y="connsiteY62667"/>
              </a:cxn>
              <a:cxn ang="0">
                <a:pos x="connsiteX62668" y="connsiteY62668"/>
              </a:cxn>
              <a:cxn ang="0">
                <a:pos x="connsiteX62669" y="connsiteY62669"/>
              </a:cxn>
              <a:cxn ang="0">
                <a:pos x="connsiteX62670" y="connsiteY62670"/>
              </a:cxn>
              <a:cxn ang="0">
                <a:pos x="connsiteX62671" y="connsiteY62671"/>
              </a:cxn>
              <a:cxn ang="0">
                <a:pos x="connsiteX62672" y="connsiteY62672"/>
              </a:cxn>
              <a:cxn ang="0">
                <a:pos x="connsiteX62673" y="connsiteY62673"/>
              </a:cxn>
              <a:cxn ang="0">
                <a:pos x="connsiteX62674" y="connsiteY62674"/>
              </a:cxn>
              <a:cxn ang="0">
                <a:pos x="connsiteX62675" y="connsiteY62675"/>
              </a:cxn>
              <a:cxn ang="0">
                <a:pos x="connsiteX62676" y="connsiteY62676"/>
              </a:cxn>
              <a:cxn ang="0">
                <a:pos x="connsiteX62677" y="connsiteY62677"/>
              </a:cxn>
              <a:cxn ang="0">
                <a:pos x="connsiteX62678" y="connsiteY62678"/>
              </a:cxn>
              <a:cxn ang="0">
                <a:pos x="connsiteX62679" y="connsiteY62679"/>
              </a:cxn>
              <a:cxn ang="0">
                <a:pos x="connsiteX62680" y="connsiteY62680"/>
              </a:cxn>
              <a:cxn ang="0">
                <a:pos x="connsiteX62681" y="connsiteY62681"/>
              </a:cxn>
              <a:cxn ang="0">
                <a:pos x="connsiteX62682" y="connsiteY62682"/>
              </a:cxn>
              <a:cxn ang="0">
                <a:pos x="connsiteX62683" y="connsiteY62683"/>
              </a:cxn>
              <a:cxn ang="0">
                <a:pos x="connsiteX62684" y="connsiteY62684"/>
              </a:cxn>
              <a:cxn ang="0">
                <a:pos x="connsiteX62685" y="connsiteY62685"/>
              </a:cxn>
              <a:cxn ang="0">
                <a:pos x="connsiteX62686" y="connsiteY62686"/>
              </a:cxn>
              <a:cxn ang="0">
                <a:pos x="connsiteX62687" y="connsiteY62687"/>
              </a:cxn>
              <a:cxn ang="0">
                <a:pos x="connsiteX62688" y="connsiteY62688"/>
              </a:cxn>
              <a:cxn ang="0">
                <a:pos x="connsiteX62689" y="connsiteY62689"/>
              </a:cxn>
              <a:cxn ang="0">
                <a:pos x="connsiteX62690" y="connsiteY62690"/>
              </a:cxn>
              <a:cxn ang="0">
                <a:pos x="connsiteX62691" y="connsiteY62691"/>
              </a:cxn>
              <a:cxn ang="0">
                <a:pos x="connsiteX62692" y="connsiteY62692"/>
              </a:cxn>
              <a:cxn ang="0">
                <a:pos x="connsiteX62693" y="connsiteY62693"/>
              </a:cxn>
              <a:cxn ang="0">
                <a:pos x="connsiteX62694" y="connsiteY62694"/>
              </a:cxn>
              <a:cxn ang="0">
                <a:pos x="connsiteX62695" y="connsiteY62695"/>
              </a:cxn>
              <a:cxn ang="0">
                <a:pos x="connsiteX62696" y="connsiteY62696"/>
              </a:cxn>
              <a:cxn ang="0">
                <a:pos x="connsiteX62697" y="connsiteY62697"/>
              </a:cxn>
              <a:cxn ang="0">
                <a:pos x="connsiteX62698" y="connsiteY62698"/>
              </a:cxn>
              <a:cxn ang="0">
                <a:pos x="connsiteX62699" y="connsiteY62699"/>
              </a:cxn>
              <a:cxn ang="0">
                <a:pos x="connsiteX62700" y="connsiteY62700"/>
              </a:cxn>
              <a:cxn ang="0">
                <a:pos x="connsiteX62701" y="connsiteY62701"/>
              </a:cxn>
              <a:cxn ang="0">
                <a:pos x="connsiteX62702" y="connsiteY62702"/>
              </a:cxn>
              <a:cxn ang="0">
                <a:pos x="connsiteX62703" y="connsiteY62703"/>
              </a:cxn>
              <a:cxn ang="0">
                <a:pos x="connsiteX62704" y="connsiteY62704"/>
              </a:cxn>
              <a:cxn ang="0">
                <a:pos x="connsiteX62705" y="connsiteY62705"/>
              </a:cxn>
              <a:cxn ang="0">
                <a:pos x="connsiteX62706" y="connsiteY62706"/>
              </a:cxn>
              <a:cxn ang="0">
                <a:pos x="connsiteX62707" y="connsiteY62707"/>
              </a:cxn>
              <a:cxn ang="0">
                <a:pos x="connsiteX62708" y="connsiteY62708"/>
              </a:cxn>
              <a:cxn ang="0">
                <a:pos x="connsiteX62709" y="connsiteY62709"/>
              </a:cxn>
              <a:cxn ang="0">
                <a:pos x="connsiteX62710" y="connsiteY62710"/>
              </a:cxn>
              <a:cxn ang="0">
                <a:pos x="connsiteX62711" y="connsiteY62711"/>
              </a:cxn>
              <a:cxn ang="0">
                <a:pos x="connsiteX62712" y="connsiteY62712"/>
              </a:cxn>
              <a:cxn ang="0">
                <a:pos x="connsiteX62713" y="connsiteY62713"/>
              </a:cxn>
              <a:cxn ang="0">
                <a:pos x="connsiteX62714" y="connsiteY62714"/>
              </a:cxn>
              <a:cxn ang="0">
                <a:pos x="connsiteX62715" y="connsiteY62715"/>
              </a:cxn>
              <a:cxn ang="0">
                <a:pos x="connsiteX62716" y="connsiteY62716"/>
              </a:cxn>
              <a:cxn ang="0">
                <a:pos x="connsiteX62717" y="connsiteY62717"/>
              </a:cxn>
              <a:cxn ang="0">
                <a:pos x="connsiteX62718" y="connsiteY62718"/>
              </a:cxn>
              <a:cxn ang="0">
                <a:pos x="connsiteX62719" y="connsiteY62719"/>
              </a:cxn>
              <a:cxn ang="0">
                <a:pos x="connsiteX62720" y="connsiteY62720"/>
              </a:cxn>
              <a:cxn ang="0">
                <a:pos x="connsiteX62721" y="connsiteY62721"/>
              </a:cxn>
              <a:cxn ang="0">
                <a:pos x="connsiteX62722" y="connsiteY62722"/>
              </a:cxn>
              <a:cxn ang="0">
                <a:pos x="connsiteX62723" y="connsiteY62723"/>
              </a:cxn>
              <a:cxn ang="0">
                <a:pos x="connsiteX62724" y="connsiteY62724"/>
              </a:cxn>
              <a:cxn ang="0">
                <a:pos x="connsiteX62725" y="connsiteY62725"/>
              </a:cxn>
              <a:cxn ang="0">
                <a:pos x="connsiteX62726" y="connsiteY62726"/>
              </a:cxn>
              <a:cxn ang="0">
                <a:pos x="connsiteX62727" y="connsiteY62727"/>
              </a:cxn>
              <a:cxn ang="0">
                <a:pos x="connsiteX62728" y="connsiteY62728"/>
              </a:cxn>
              <a:cxn ang="0">
                <a:pos x="connsiteX62729" y="connsiteY62729"/>
              </a:cxn>
              <a:cxn ang="0">
                <a:pos x="connsiteX62730" y="connsiteY62730"/>
              </a:cxn>
              <a:cxn ang="0">
                <a:pos x="connsiteX62731" y="connsiteY62731"/>
              </a:cxn>
              <a:cxn ang="0">
                <a:pos x="connsiteX62732" y="connsiteY62732"/>
              </a:cxn>
              <a:cxn ang="0">
                <a:pos x="connsiteX62733" y="connsiteY62733"/>
              </a:cxn>
              <a:cxn ang="0">
                <a:pos x="connsiteX62734" y="connsiteY62734"/>
              </a:cxn>
              <a:cxn ang="0">
                <a:pos x="connsiteX62735" y="connsiteY62735"/>
              </a:cxn>
              <a:cxn ang="0">
                <a:pos x="connsiteX62736" y="connsiteY62736"/>
              </a:cxn>
              <a:cxn ang="0">
                <a:pos x="connsiteX62737" y="connsiteY62737"/>
              </a:cxn>
              <a:cxn ang="0">
                <a:pos x="connsiteX62738" y="connsiteY62738"/>
              </a:cxn>
              <a:cxn ang="0">
                <a:pos x="connsiteX62739" y="connsiteY62739"/>
              </a:cxn>
              <a:cxn ang="0">
                <a:pos x="connsiteX62740" y="connsiteY62740"/>
              </a:cxn>
              <a:cxn ang="0">
                <a:pos x="connsiteX62741" y="connsiteY62741"/>
              </a:cxn>
              <a:cxn ang="0">
                <a:pos x="connsiteX62742" y="connsiteY62742"/>
              </a:cxn>
              <a:cxn ang="0">
                <a:pos x="connsiteX62743" y="connsiteY62743"/>
              </a:cxn>
              <a:cxn ang="0">
                <a:pos x="connsiteX62744" y="connsiteY62744"/>
              </a:cxn>
              <a:cxn ang="0">
                <a:pos x="connsiteX62745" y="connsiteY62745"/>
              </a:cxn>
              <a:cxn ang="0">
                <a:pos x="connsiteX62746" y="connsiteY62746"/>
              </a:cxn>
              <a:cxn ang="0">
                <a:pos x="connsiteX62747" y="connsiteY62747"/>
              </a:cxn>
              <a:cxn ang="0">
                <a:pos x="connsiteX62748" y="connsiteY62748"/>
              </a:cxn>
              <a:cxn ang="0">
                <a:pos x="connsiteX62749" y="connsiteY62749"/>
              </a:cxn>
              <a:cxn ang="0">
                <a:pos x="connsiteX62750" y="connsiteY62750"/>
              </a:cxn>
              <a:cxn ang="0">
                <a:pos x="connsiteX62751" y="connsiteY62751"/>
              </a:cxn>
              <a:cxn ang="0">
                <a:pos x="connsiteX62752" y="connsiteY62752"/>
              </a:cxn>
              <a:cxn ang="0">
                <a:pos x="connsiteX62753" y="connsiteY62753"/>
              </a:cxn>
              <a:cxn ang="0">
                <a:pos x="connsiteX62754" y="connsiteY62754"/>
              </a:cxn>
              <a:cxn ang="0">
                <a:pos x="connsiteX62755" y="connsiteY62755"/>
              </a:cxn>
              <a:cxn ang="0">
                <a:pos x="connsiteX62756" y="connsiteY62756"/>
              </a:cxn>
              <a:cxn ang="0">
                <a:pos x="connsiteX62757" y="connsiteY62757"/>
              </a:cxn>
              <a:cxn ang="0">
                <a:pos x="connsiteX62758" y="connsiteY62758"/>
              </a:cxn>
              <a:cxn ang="0">
                <a:pos x="connsiteX62759" y="connsiteY62759"/>
              </a:cxn>
              <a:cxn ang="0">
                <a:pos x="connsiteX62760" y="connsiteY62760"/>
              </a:cxn>
              <a:cxn ang="0">
                <a:pos x="connsiteX62761" y="connsiteY62761"/>
              </a:cxn>
              <a:cxn ang="0">
                <a:pos x="connsiteX62762" y="connsiteY62762"/>
              </a:cxn>
              <a:cxn ang="0">
                <a:pos x="connsiteX62763" y="connsiteY62763"/>
              </a:cxn>
              <a:cxn ang="0">
                <a:pos x="connsiteX62764" y="connsiteY62764"/>
              </a:cxn>
              <a:cxn ang="0">
                <a:pos x="connsiteX62765" y="connsiteY62765"/>
              </a:cxn>
              <a:cxn ang="0">
                <a:pos x="connsiteX62766" y="connsiteY62766"/>
              </a:cxn>
              <a:cxn ang="0">
                <a:pos x="connsiteX62767" y="connsiteY62767"/>
              </a:cxn>
              <a:cxn ang="0">
                <a:pos x="connsiteX62768" y="connsiteY62768"/>
              </a:cxn>
              <a:cxn ang="0">
                <a:pos x="connsiteX62769" y="connsiteY62769"/>
              </a:cxn>
              <a:cxn ang="0">
                <a:pos x="connsiteX62770" y="connsiteY62770"/>
              </a:cxn>
              <a:cxn ang="0">
                <a:pos x="connsiteX62771" y="connsiteY62771"/>
              </a:cxn>
              <a:cxn ang="0">
                <a:pos x="connsiteX62772" y="connsiteY62772"/>
              </a:cxn>
              <a:cxn ang="0">
                <a:pos x="connsiteX62773" y="connsiteY62773"/>
              </a:cxn>
              <a:cxn ang="0">
                <a:pos x="connsiteX62774" y="connsiteY62774"/>
              </a:cxn>
              <a:cxn ang="0">
                <a:pos x="connsiteX62775" y="connsiteY62775"/>
              </a:cxn>
              <a:cxn ang="0">
                <a:pos x="connsiteX62776" y="connsiteY62776"/>
              </a:cxn>
              <a:cxn ang="0">
                <a:pos x="connsiteX62777" y="connsiteY62777"/>
              </a:cxn>
              <a:cxn ang="0">
                <a:pos x="connsiteX62778" y="connsiteY62778"/>
              </a:cxn>
              <a:cxn ang="0">
                <a:pos x="connsiteX62779" y="connsiteY62779"/>
              </a:cxn>
              <a:cxn ang="0">
                <a:pos x="connsiteX62780" y="connsiteY62780"/>
              </a:cxn>
              <a:cxn ang="0">
                <a:pos x="connsiteX62781" y="connsiteY62781"/>
              </a:cxn>
              <a:cxn ang="0">
                <a:pos x="connsiteX62782" y="connsiteY62782"/>
              </a:cxn>
              <a:cxn ang="0">
                <a:pos x="connsiteX62783" y="connsiteY62783"/>
              </a:cxn>
              <a:cxn ang="0">
                <a:pos x="connsiteX62784" y="connsiteY62784"/>
              </a:cxn>
              <a:cxn ang="0">
                <a:pos x="connsiteX62785" y="connsiteY62785"/>
              </a:cxn>
              <a:cxn ang="0">
                <a:pos x="connsiteX62786" y="connsiteY62786"/>
              </a:cxn>
              <a:cxn ang="0">
                <a:pos x="connsiteX62787" y="connsiteY62787"/>
              </a:cxn>
              <a:cxn ang="0">
                <a:pos x="connsiteX62788" y="connsiteY62788"/>
              </a:cxn>
              <a:cxn ang="0">
                <a:pos x="connsiteX62789" y="connsiteY62789"/>
              </a:cxn>
              <a:cxn ang="0">
                <a:pos x="connsiteX62790" y="connsiteY62790"/>
              </a:cxn>
              <a:cxn ang="0">
                <a:pos x="connsiteX62791" y="connsiteY62791"/>
              </a:cxn>
              <a:cxn ang="0">
                <a:pos x="connsiteX62792" y="connsiteY62792"/>
              </a:cxn>
              <a:cxn ang="0">
                <a:pos x="connsiteX62793" y="connsiteY62793"/>
              </a:cxn>
              <a:cxn ang="0">
                <a:pos x="connsiteX62794" y="connsiteY62794"/>
              </a:cxn>
              <a:cxn ang="0">
                <a:pos x="connsiteX62795" y="connsiteY62795"/>
              </a:cxn>
              <a:cxn ang="0">
                <a:pos x="connsiteX62796" y="connsiteY62796"/>
              </a:cxn>
              <a:cxn ang="0">
                <a:pos x="connsiteX62797" y="connsiteY62797"/>
              </a:cxn>
              <a:cxn ang="0">
                <a:pos x="connsiteX62798" y="connsiteY62798"/>
              </a:cxn>
              <a:cxn ang="0">
                <a:pos x="connsiteX62799" y="connsiteY62799"/>
              </a:cxn>
              <a:cxn ang="0">
                <a:pos x="connsiteX62800" y="connsiteY62800"/>
              </a:cxn>
              <a:cxn ang="0">
                <a:pos x="connsiteX62801" y="connsiteY62801"/>
              </a:cxn>
              <a:cxn ang="0">
                <a:pos x="connsiteX62802" y="connsiteY62802"/>
              </a:cxn>
              <a:cxn ang="0">
                <a:pos x="connsiteX62803" y="connsiteY62803"/>
              </a:cxn>
              <a:cxn ang="0">
                <a:pos x="connsiteX62804" y="connsiteY62804"/>
              </a:cxn>
              <a:cxn ang="0">
                <a:pos x="connsiteX62805" y="connsiteY62805"/>
              </a:cxn>
              <a:cxn ang="0">
                <a:pos x="connsiteX62806" y="connsiteY62806"/>
              </a:cxn>
              <a:cxn ang="0">
                <a:pos x="connsiteX62807" y="connsiteY62807"/>
              </a:cxn>
              <a:cxn ang="0">
                <a:pos x="connsiteX62808" y="connsiteY62808"/>
              </a:cxn>
              <a:cxn ang="0">
                <a:pos x="connsiteX62809" y="connsiteY62809"/>
              </a:cxn>
              <a:cxn ang="0">
                <a:pos x="connsiteX62810" y="connsiteY62810"/>
              </a:cxn>
              <a:cxn ang="0">
                <a:pos x="connsiteX62811" y="connsiteY62811"/>
              </a:cxn>
              <a:cxn ang="0">
                <a:pos x="connsiteX62812" y="connsiteY62812"/>
              </a:cxn>
              <a:cxn ang="0">
                <a:pos x="connsiteX62813" y="connsiteY62813"/>
              </a:cxn>
              <a:cxn ang="0">
                <a:pos x="connsiteX62814" y="connsiteY62814"/>
              </a:cxn>
              <a:cxn ang="0">
                <a:pos x="connsiteX62815" y="connsiteY62815"/>
              </a:cxn>
              <a:cxn ang="0">
                <a:pos x="connsiteX62816" y="connsiteY62816"/>
              </a:cxn>
              <a:cxn ang="0">
                <a:pos x="connsiteX62817" y="connsiteY62817"/>
              </a:cxn>
              <a:cxn ang="0">
                <a:pos x="connsiteX62818" y="connsiteY62818"/>
              </a:cxn>
              <a:cxn ang="0">
                <a:pos x="connsiteX62819" y="connsiteY62819"/>
              </a:cxn>
              <a:cxn ang="0">
                <a:pos x="connsiteX62820" y="connsiteY62820"/>
              </a:cxn>
              <a:cxn ang="0">
                <a:pos x="connsiteX62821" y="connsiteY62821"/>
              </a:cxn>
              <a:cxn ang="0">
                <a:pos x="connsiteX62822" y="connsiteY62822"/>
              </a:cxn>
              <a:cxn ang="0">
                <a:pos x="connsiteX62823" y="connsiteY62823"/>
              </a:cxn>
              <a:cxn ang="0">
                <a:pos x="connsiteX62824" y="connsiteY62824"/>
              </a:cxn>
              <a:cxn ang="0">
                <a:pos x="connsiteX62825" y="connsiteY62825"/>
              </a:cxn>
              <a:cxn ang="0">
                <a:pos x="connsiteX62826" y="connsiteY62826"/>
              </a:cxn>
              <a:cxn ang="0">
                <a:pos x="connsiteX62827" y="connsiteY62827"/>
              </a:cxn>
              <a:cxn ang="0">
                <a:pos x="connsiteX62828" y="connsiteY62828"/>
              </a:cxn>
              <a:cxn ang="0">
                <a:pos x="connsiteX62829" y="connsiteY62829"/>
              </a:cxn>
              <a:cxn ang="0">
                <a:pos x="connsiteX62830" y="connsiteY62830"/>
              </a:cxn>
              <a:cxn ang="0">
                <a:pos x="connsiteX62831" y="connsiteY62831"/>
              </a:cxn>
              <a:cxn ang="0">
                <a:pos x="connsiteX62832" y="connsiteY62832"/>
              </a:cxn>
              <a:cxn ang="0">
                <a:pos x="connsiteX62833" y="connsiteY62833"/>
              </a:cxn>
              <a:cxn ang="0">
                <a:pos x="connsiteX62834" y="connsiteY62834"/>
              </a:cxn>
              <a:cxn ang="0">
                <a:pos x="connsiteX62835" y="connsiteY62835"/>
              </a:cxn>
              <a:cxn ang="0">
                <a:pos x="connsiteX62836" y="connsiteY62836"/>
              </a:cxn>
              <a:cxn ang="0">
                <a:pos x="connsiteX62837" y="connsiteY62837"/>
              </a:cxn>
              <a:cxn ang="0">
                <a:pos x="connsiteX62838" y="connsiteY62838"/>
              </a:cxn>
              <a:cxn ang="0">
                <a:pos x="connsiteX62839" y="connsiteY62839"/>
              </a:cxn>
              <a:cxn ang="0">
                <a:pos x="connsiteX62840" y="connsiteY62840"/>
              </a:cxn>
              <a:cxn ang="0">
                <a:pos x="connsiteX62841" y="connsiteY62841"/>
              </a:cxn>
              <a:cxn ang="0">
                <a:pos x="connsiteX62842" y="connsiteY62842"/>
              </a:cxn>
              <a:cxn ang="0">
                <a:pos x="connsiteX62843" y="connsiteY62843"/>
              </a:cxn>
              <a:cxn ang="0">
                <a:pos x="connsiteX62844" y="connsiteY62844"/>
              </a:cxn>
              <a:cxn ang="0">
                <a:pos x="connsiteX62845" y="connsiteY62845"/>
              </a:cxn>
              <a:cxn ang="0">
                <a:pos x="connsiteX62846" y="connsiteY62846"/>
              </a:cxn>
              <a:cxn ang="0">
                <a:pos x="connsiteX62847" y="connsiteY62847"/>
              </a:cxn>
              <a:cxn ang="0">
                <a:pos x="connsiteX62848" y="connsiteY62848"/>
              </a:cxn>
              <a:cxn ang="0">
                <a:pos x="connsiteX62849" y="connsiteY62849"/>
              </a:cxn>
              <a:cxn ang="0">
                <a:pos x="connsiteX62850" y="connsiteY62850"/>
              </a:cxn>
              <a:cxn ang="0">
                <a:pos x="connsiteX62851" y="connsiteY62851"/>
              </a:cxn>
              <a:cxn ang="0">
                <a:pos x="connsiteX62852" y="connsiteY62852"/>
              </a:cxn>
              <a:cxn ang="0">
                <a:pos x="connsiteX62853" y="connsiteY62853"/>
              </a:cxn>
              <a:cxn ang="0">
                <a:pos x="connsiteX62854" y="connsiteY62854"/>
              </a:cxn>
              <a:cxn ang="0">
                <a:pos x="connsiteX62855" y="connsiteY62855"/>
              </a:cxn>
              <a:cxn ang="0">
                <a:pos x="connsiteX62856" y="connsiteY62856"/>
              </a:cxn>
              <a:cxn ang="0">
                <a:pos x="connsiteX62857" y="connsiteY62857"/>
              </a:cxn>
              <a:cxn ang="0">
                <a:pos x="connsiteX62858" y="connsiteY62858"/>
              </a:cxn>
              <a:cxn ang="0">
                <a:pos x="connsiteX62859" y="connsiteY62859"/>
              </a:cxn>
              <a:cxn ang="0">
                <a:pos x="connsiteX62860" y="connsiteY62860"/>
              </a:cxn>
              <a:cxn ang="0">
                <a:pos x="connsiteX62861" y="connsiteY62861"/>
              </a:cxn>
              <a:cxn ang="0">
                <a:pos x="connsiteX62862" y="connsiteY62862"/>
              </a:cxn>
              <a:cxn ang="0">
                <a:pos x="connsiteX62863" y="connsiteY62863"/>
              </a:cxn>
              <a:cxn ang="0">
                <a:pos x="connsiteX62864" y="connsiteY62864"/>
              </a:cxn>
              <a:cxn ang="0">
                <a:pos x="connsiteX62865" y="connsiteY62865"/>
              </a:cxn>
              <a:cxn ang="0">
                <a:pos x="connsiteX62866" y="connsiteY62866"/>
              </a:cxn>
              <a:cxn ang="0">
                <a:pos x="connsiteX62867" y="connsiteY62867"/>
              </a:cxn>
              <a:cxn ang="0">
                <a:pos x="connsiteX62868" y="connsiteY62868"/>
              </a:cxn>
              <a:cxn ang="0">
                <a:pos x="connsiteX62869" y="connsiteY62869"/>
              </a:cxn>
              <a:cxn ang="0">
                <a:pos x="connsiteX62870" y="connsiteY62870"/>
              </a:cxn>
              <a:cxn ang="0">
                <a:pos x="connsiteX62871" y="connsiteY62871"/>
              </a:cxn>
              <a:cxn ang="0">
                <a:pos x="connsiteX62872" y="connsiteY62872"/>
              </a:cxn>
              <a:cxn ang="0">
                <a:pos x="connsiteX62873" y="connsiteY62873"/>
              </a:cxn>
              <a:cxn ang="0">
                <a:pos x="connsiteX62874" y="connsiteY62874"/>
              </a:cxn>
              <a:cxn ang="0">
                <a:pos x="connsiteX62875" y="connsiteY62875"/>
              </a:cxn>
              <a:cxn ang="0">
                <a:pos x="connsiteX62876" y="connsiteY62876"/>
              </a:cxn>
              <a:cxn ang="0">
                <a:pos x="connsiteX62877" y="connsiteY62877"/>
              </a:cxn>
              <a:cxn ang="0">
                <a:pos x="connsiteX62878" y="connsiteY62878"/>
              </a:cxn>
              <a:cxn ang="0">
                <a:pos x="connsiteX62879" y="connsiteY62879"/>
              </a:cxn>
              <a:cxn ang="0">
                <a:pos x="connsiteX62880" y="connsiteY62880"/>
              </a:cxn>
              <a:cxn ang="0">
                <a:pos x="connsiteX62881" y="connsiteY62881"/>
              </a:cxn>
              <a:cxn ang="0">
                <a:pos x="connsiteX62882" y="connsiteY62882"/>
              </a:cxn>
              <a:cxn ang="0">
                <a:pos x="connsiteX62883" y="connsiteY62883"/>
              </a:cxn>
              <a:cxn ang="0">
                <a:pos x="connsiteX62884" y="connsiteY62884"/>
              </a:cxn>
              <a:cxn ang="0">
                <a:pos x="connsiteX62885" y="connsiteY62885"/>
              </a:cxn>
              <a:cxn ang="0">
                <a:pos x="connsiteX62886" y="connsiteY62886"/>
              </a:cxn>
              <a:cxn ang="0">
                <a:pos x="connsiteX62887" y="connsiteY62887"/>
              </a:cxn>
              <a:cxn ang="0">
                <a:pos x="connsiteX62888" y="connsiteY62888"/>
              </a:cxn>
              <a:cxn ang="0">
                <a:pos x="connsiteX62889" y="connsiteY62889"/>
              </a:cxn>
              <a:cxn ang="0">
                <a:pos x="connsiteX62890" y="connsiteY62890"/>
              </a:cxn>
              <a:cxn ang="0">
                <a:pos x="connsiteX62891" y="connsiteY62891"/>
              </a:cxn>
              <a:cxn ang="0">
                <a:pos x="connsiteX62892" y="connsiteY62892"/>
              </a:cxn>
              <a:cxn ang="0">
                <a:pos x="connsiteX62893" y="connsiteY62893"/>
              </a:cxn>
              <a:cxn ang="0">
                <a:pos x="connsiteX62894" y="connsiteY62894"/>
              </a:cxn>
              <a:cxn ang="0">
                <a:pos x="connsiteX62895" y="connsiteY62895"/>
              </a:cxn>
              <a:cxn ang="0">
                <a:pos x="connsiteX62896" y="connsiteY62896"/>
              </a:cxn>
              <a:cxn ang="0">
                <a:pos x="connsiteX62897" y="connsiteY62897"/>
              </a:cxn>
              <a:cxn ang="0">
                <a:pos x="connsiteX62898" y="connsiteY62898"/>
              </a:cxn>
              <a:cxn ang="0">
                <a:pos x="connsiteX62899" y="connsiteY62899"/>
              </a:cxn>
              <a:cxn ang="0">
                <a:pos x="connsiteX62900" y="connsiteY62900"/>
              </a:cxn>
              <a:cxn ang="0">
                <a:pos x="connsiteX62901" y="connsiteY62901"/>
              </a:cxn>
              <a:cxn ang="0">
                <a:pos x="connsiteX62902" y="connsiteY62902"/>
              </a:cxn>
              <a:cxn ang="0">
                <a:pos x="connsiteX62903" y="connsiteY62903"/>
              </a:cxn>
              <a:cxn ang="0">
                <a:pos x="connsiteX62904" y="connsiteY62904"/>
              </a:cxn>
              <a:cxn ang="0">
                <a:pos x="connsiteX62905" y="connsiteY62905"/>
              </a:cxn>
              <a:cxn ang="0">
                <a:pos x="connsiteX62906" y="connsiteY62906"/>
              </a:cxn>
              <a:cxn ang="0">
                <a:pos x="connsiteX62907" y="connsiteY62907"/>
              </a:cxn>
              <a:cxn ang="0">
                <a:pos x="connsiteX62908" y="connsiteY62908"/>
              </a:cxn>
              <a:cxn ang="0">
                <a:pos x="connsiteX62909" y="connsiteY62909"/>
              </a:cxn>
              <a:cxn ang="0">
                <a:pos x="connsiteX62910" y="connsiteY62910"/>
              </a:cxn>
              <a:cxn ang="0">
                <a:pos x="connsiteX62911" y="connsiteY62911"/>
              </a:cxn>
              <a:cxn ang="0">
                <a:pos x="connsiteX62912" y="connsiteY62912"/>
              </a:cxn>
              <a:cxn ang="0">
                <a:pos x="connsiteX62913" y="connsiteY62913"/>
              </a:cxn>
              <a:cxn ang="0">
                <a:pos x="connsiteX62914" y="connsiteY62914"/>
              </a:cxn>
              <a:cxn ang="0">
                <a:pos x="connsiteX62915" y="connsiteY62915"/>
              </a:cxn>
              <a:cxn ang="0">
                <a:pos x="connsiteX62916" y="connsiteY62916"/>
              </a:cxn>
              <a:cxn ang="0">
                <a:pos x="connsiteX62917" y="connsiteY62917"/>
              </a:cxn>
              <a:cxn ang="0">
                <a:pos x="connsiteX62918" y="connsiteY62918"/>
              </a:cxn>
              <a:cxn ang="0">
                <a:pos x="connsiteX62919" y="connsiteY62919"/>
              </a:cxn>
              <a:cxn ang="0">
                <a:pos x="connsiteX62920" y="connsiteY62920"/>
              </a:cxn>
              <a:cxn ang="0">
                <a:pos x="connsiteX62921" y="connsiteY62921"/>
              </a:cxn>
              <a:cxn ang="0">
                <a:pos x="connsiteX62922" y="connsiteY62922"/>
              </a:cxn>
              <a:cxn ang="0">
                <a:pos x="connsiteX62923" y="connsiteY62923"/>
              </a:cxn>
              <a:cxn ang="0">
                <a:pos x="connsiteX62924" y="connsiteY62924"/>
              </a:cxn>
              <a:cxn ang="0">
                <a:pos x="connsiteX62925" y="connsiteY62925"/>
              </a:cxn>
              <a:cxn ang="0">
                <a:pos x="connsiteX62926" y="connsiteY62926"/>
              </a:cxn>
              <a:cxn ang="0">
                <a:pos x="connsiteX62927" y="connsiteY62927"/>
              </a:cxn>
              <a:cxn ang="0">
                <a:pos x="connsiteX62928" y="connsiteY62928"/>
              </a:cxn>
              <a:cxn ang="0">
                <a:pos x="connsiteX62929" y="connsiteY62929"/>
              </a:cxn>
              <a:cxn ang="0">
                <a:pos x="connsiteX62930" y="connsiteY62930"/>
              </a:cxn>
              <a:cxn ang="0">
                <a:pos x="connsiteX62931" y="connsiteY62931"/>
              </a:cxn>
              <a:cxn ang="0">
                <a:pos x="connsiteX62932" y="connsiteY62932"/>
              </a:cxn>
              <a:cxn ang="0">
                <a:pos x="connsiteX62933" y="connsiteY62933"/>
              </a:cxn>
              <a:cxn ang="0">
                <a:pos x="connsiteX62934" y="connsiteY62934"/>
              </a:cxn>
              <a:cxn ang="0">
                <a:pos x="connsiteX62935" y="connsiteY62935"/>
              </a:cxn>
              <a:cxn ang="0">
                <a:pos x="connsiteX62936" y="connsiteY62936"/>
              </a:cxn>
              <a:cxn ang="0">
                <a:pos x="connsiteX62937" y="connsiteY62937"/>
              </a:cxn>
              <a:cxn ang="0">
                <a:pos x="connsiteX62938" y="connsiteY62938"/>
              </a:cxn>
              <a:cxn ang="0">
                <a:pos x="connsiteX62939" y="connsiteY62939"/>
              </a:cxn>
              <a:cxn ang="0">
                <a:pos x="connsiteX62940" y="connsiteY62940"/>
              </a:cxn>
              <a:cxn ang="0">
                <a:pos x="connsiteX62941" y="connsiteY62941"/>
              </a:cxn>
              <a:cxn ang="0">
                <a:pos x="connsiteX62942" y="connsiteY62942"/>
              </a:cxn>
              <a:cxn ang="0">
                <a:pos x="connsiteX62943" y="connsiteY62943"/>
              </a:cxn>
              <a:cxn ang="0">
                <a:pos x="connsiteX62944" y="connsiteY62944"/>
              </a:cxn>
              <a:cxn ang="0">
                <a:pos x="connsiteX62945" y="connsiteY62945"/>
              </a:cxn>
              <a:cxn ang="0">
                <a:pos x="connsiteX62946" y="connsiteY62946"/>
              </a:cxn>
              <a:cxn ang="0">
                <a:pos x="connsiteX62947" y="connsiteY62947"/>
              </a:cxn>
              <a:cxn ang="0">
                <a:pos x="connsiteX62948" y="connsiteY62948"/>
              </a:cxn>
              <a:cxn ang="0">
                <a:pos x="connsiteX62949" y="connsiteY62949"/>
              </a:cxn>
              <a:cxn ang="0">
                <a:pos x="connsiteX62950" y="connsiteY62950"/>
              </a:cxn>
              <a:cxn ang="0">
                <a:pos x="connsiteX62951" y="connsiteY62951"/>
              </a:cxn>
              <a:cxn ang="0">
                <a:pos x="connsiteX62952" y="connsiteY62952"/>
              </a:cxn>
              <a:cxn ang="0">
                <a:pos x="connsiteX62953" y="connsiteY62953"/>
              </a:cxn>
              <a:cxn ang="0">
                <a:pos x="connsiteX62954" y="connsiteY62954"/>
              </a:cxn>
              <a:cxn ang="0">
                <a:pos x="connsiteX62955" y="connsiteY62955"/>
              </a:cxn>
              <a:cxn ang="0">
                <a:pos x="connsiteX62956" y="connsiteY62956"/>
              </a:cxn>
              <a:cxn ang="0">
                <a:pos x="connsiteX62957" y="connsiteY62957"/>
              </a:cxn>
              <a:cxn ang="0">
                <a:pos x="connsiteX62958" y="connsiteY62958"/>
              </a:cxn>
              <a:cxn ang="0">
                <a:pos x="connsiteX62959" y="connsiteY62959"/>
              </a:cxn>
              <a:cxn ang="0">
                <a:pos x="connsiteX62960" y="connsiteY62960"/>
              </a:cxn>
              <a:cxn ang="0">
                <a:pos x="connsiteX62961" y="connsiteY62961"/>
              </a:cxn>
              <a:cxn ang="0">
                <a:pos x="connsiteX62962" y="connsiteY62962"/>
              </a:cxn>
              <a:cxn ang="0">
                <a:pos x="connsiteX62963" y="connsiteY62963"/>
              </a:cxn>
              <a:cxn ang="0">
                <a:pos x="connsiteX62964" y="connsiteY62964"/>
              </a:cxn>
              <a:cxn ang="0">
                <a:pos x="connsiteX62965" y="connsiteY62965"/>
              </a:cxn>
              <a:cxn ang="0">
                <a:pos x="connsiteX62966" y="connsiteY62966"/>
              </a:cxn>
              <a:cxn ang="0">
                <a:pos x="connsiteX62967" y="connsiteY62967"/>
              </a:cxn>
              <a:cxn ang="0">
                <a:pos x="connsiteX62968" y="connsiteY62968"/>
              </a:cxn>
              <a:cxn ang="0">
                <a:pos x="connsiteX62969" y="connsiteY62969"/>
              </a:cxn>
              <a:cxn ang="0">
                <a:pos x="connsiteX62970" y="connsiteY62970"/>
              </a:cxn>
              <a:cxn ang="0">
                <a:pos x="connsiteX62971" y="connsiteY62971"/>
              </a:cxn>
              <a:cxn ang="0">
                <a:pos x="connsiteX62972" y="connsiteY62972"/>
              </a:cxn>
              <a:cxn ang="0">
                <a:pos x="connsiteX62973" y="connsiteY62973"/>
              </a:cxn>
              <a:cxn ang="0">
                <a:pos x="connsiteX62974" y="connsiteY62974"/>
              </a:cxn>
              <a:cxn ang="0">
                <a:pos x="connsiteX62975" y="connsiteY62975"/>
              </a:cxn>
              <a:cxn ang="0">
                <a:pos x="connsiteX62976" y="connsiteY62976"/>
              </a:cxn>
              <a:cxn ang="0">
                <a:pos x="connsiteX62977" y="connsiteY62977"/>
              </a:cxn>
              <a:cxn ang="0">
                <a:pos x="connsiteX62978" y="connsiteY62978"/>
              </a:cxn>
              <a:cxn ang="0">
                <a:pos x="connsiteX62979" y="connsiteY62979"/>
              </a:cxn>
              <a:cxn ang="0">
                <a:pos x="connsiteX62980" y="connsiteY62980"/>
              </a:cxn>
              <a:cxn ang="0">
                <a:pos x="connsiteX62981" y="connsiteY62981"/>
              </a:cxn>
              <a:cxn ang="0">
                <a:pos x="connsiteX62982" y="connsiteY62982"/>
              </a:cxn>
              <a:cxn ang="0">
                <a:pos x="connsiteX62983" y="connsiteY62983"/>
              </a:cxn>
              <a:cxn ang="0">
                <a:pos x="connsiteX62984" y="connsiteY62984"/>
              </a:cxn>
              <a:cxn ang="0">
                <a:pos x="connsiteX62985" y="connsiteY62985"/>
              </a:cxn>
              <a:cxn ang="0">
                <a:pos x="connsiteX62986" y="connsiteY62986"/>
              </a:cxn>
              <a:cxn ang="0">
                <a:pos x="connsiteX62987" y="connsiteY62987"/>
              </a:cxn>
              <a:cxn ang="0">
                <a:pos x="connsiteX62988" y="connsiteY62988"/>
              </a:cxn>
              <a:cxn ang="0">
                <a:pos x="connsiteX62989" y="connsiteY62989"/>
              </a:cxn>
              <a:cxn ang="0">
                <a:pos x="connsiteX62990" y="connsiteY62990"/>
              </a:cxn>
              <a:cxn ang="0">
                <a:pos x="connsiteX62991" y="connsiteY62991"/>
              </a:cxn>
              <a:cxn ang="0">
                <a:pos x="connsiteX62992" y="connsiteY62992"/>
              </a:cxn>
              <a:cxn ang="0">
                <a:pos x="connsiteX62993" y="connsiteY62993"/>
              </a:cxn>
              <a:cxn ang="0">
                <a:pos x="connsiteX62994" y="connsiteY62994"/>
              </a:cxn>
              <a:cxn ang="0">
                <a:pos x="connsiteX62995" y="connsiteY62995"/>
              </a:cxn>
              <a:cxn ang="0">
                <a:pos x="connsiteX62996" y="connsiteY62996"/>
              </a:cxn>
              <a:cxn ang="0">
                <a:pos x="connsiteX62997" y="connsiteY62997"/>
              </a:cxn>
              <a:cxn ang="0">
                <a:pos x="connsiteX62998" y="connsiteY62998"/>
              </a:cxn>
              <a:cxn ang="0">
                <a:pos x="connsiteX62999" y="connsiteY62999"/>
              </a:cxn>
              <a:cxn ang="0">
                <a:pos x="connsiteX63000" y="connsiteY63000"/>
              </a:cxn>
              <a:cxn ang="0">
                <a:pos x="connsiteX63001" y="connsiteY63001"/>
              </a:cxn>
              <a:cxn ang="0">
                <a:pos x="connsiteX63002" y="connsiteY63002"/>
              </a:cxn>
              <a:cxn ang="0">
                <a:pos x="connsiteX63003" y="connsiteY63003"/>
              </a:cxn>
              <a:cxn ang="0">
                <a:pos x="connsiteX63004" y="connsiteY63004"/>
              </a:cxn>
              <a:cxn ang="0">
                <a:pos x="connsiteX63005" y="connsiteY63005"/>
              </a:cxn>
              <a:cxn ang="0">
                <a:pos x="connsiteX63006" y="connsiteY63006"/>
              </a:cxn>
              <a:cxn ang="0">
                <a:pos x="connsiteX63007" y="connsiteY63007"/>
              </a:cxn>
              <a:cxn ang="0">
                <a:pos x="connsiteX63008" y="connsiteY63008"/>
              </a:cxn>
              <a:cxn ang="0">
                <a:pos x="connsiteX63009" y="connsiteY63009"/>
              </a:cxn>
              <a:cxn ang="0">
                <a:pos x="connsiteX63010" y="connsiteY63010"/>
              </a:cxn>
              <a:cxn ang="0">
                <a:pos x="connsiteX63011" y="connsiteY63011"/>
              </a:cxn>
              <a:cxn ang="0">
                <a:pos x="connsiteX63012" y="connsiteY63012"/>
              </a:cxn>
              <a:cxn ang="0">
                <a:pos x="connsiteX63013" y="connsiteY63013"/>
              </a:cxn>
              <a:cxn ang="0">
                <a:pos x="connsiteX63014" y="connsiteY63014"/>
              </a:cxn>
              <a:cxn ang="0">
                <a:pos x="connsiteX63015" y="connsiteY63015"/>
              </a:cxn>
              <a:cxn ang="0">
                <a:pos x="connsiteX63016" y="connsiteY63016"/>
              </a:cxn>
              <a:cxn ang="0">
                <a:pos x="connsiteX63017" y="connsiteY63017"/>
              </a:cxn>
              <a:cxn ang="0">
                <a:pos x="connsiteX63018" y="connsiteY63018"/>
              </a:cxn>
              <a:cxn ang="0">
                <a:pos x="connsiteX63019" y="connsiteY63019"/>
              </a:cxn>
              <a:cxn ang="0">
                <a:pos x="connsiteX63020" y="connsiteY63020"/>
              </a:cxn>
              <a:cxn ang="0">
                <a:pos x="connsiteX63021" y="connsiteY63021"/>
              </a:cxn>
              <a:cxn ang="0">
                <a:pos x="connsiteX63022" y="connsiteY63022"/>
              </a:cxn>
              <a:cxn ang="0">
                <a:pos x="connsiteX63023" y="connsiteY63023"/>
              </a:cxn>
              <a:cxn ang="0">
                <a:pos x="connsiteX63024" y="connsiteY63024"/>
              </a:cxn>
              <a:cxn ang="0">
                <a:pos x="connsiteX63025" y="connsiteY63025"/>
              </a:cxn>
              <a:cxn ang="0">
                <a:pos x="connsiteX63026" y="connsiteY63026"/>
              </a:cxn>
              <a:cxn ang="0">
                <a:pos x="connsiteX63027" y="connsiteY63027"/>
              </a:cxn>
              <a:cxn ang="0">
                <a:pos x="connsiteX63028" y="connsiteY63028"/>
              </a:cxn>
              <a:cxn ang="0">
                <a:pos x="connsiteX63029" y="connsiteY63029"/>
              </a:cxn>
              <a:cxn ang="0">
                <a:pos x="connsiteX63030" y="connsiteY63030"/>
              </a:cxn>
              <a:cxn ang="0">
                <a:pos x="connsiteX63031" y="connsiteY63031"/>
              </a:cxn>
              <a:cxn ang="0">
                <a:pos x="connsiteX63032" y="connsiteY63032"/>
              </a:cxn>
              <a:cxn ang="0">
                <a:pos x="connsiteX63033" y="connsiteY63033"/>
              </a:cxn>
              <a:cxn ang="0">
                <a:pos x="connsiteX63034" y="connsiteY63034"/>
              </a:cxn>
              <a:cxn ang="0">
                <a:pos x="connsiteX63035" y="connsiteY63035"/>
              </a:cxn>
              <a:cxn ang="0">
                <a:pos x="connsiteX63036" y="connsiteY63036"/>
              </a:cxn>
              <a:cxn ang="0">
                <a:pos x="connsiteX63037" y="connsiteY63037"/>
              </a:cxn>
              <a:cxn ang="0">
                <a:pos x="connsiteX63038" y="connsiteY63038"/>
              </a:cxn>
              <a:cxn ang="0">
                <a:pos x="connsiteX63039" y="connsiteY63039"/>
              </a:cxn>
              <a:cxn ang="0">
                <a:pos x="connsiteX63040" y="connsiteY63040"/>
              </a:cxn>
              <a:cxn ang="0">
                <a:pos x="connsiteX63041" y="connsiteY63041"/>
              </a:cxn>
              <a:cxn ang="0">
                <a:pos x="connsiteX63042" y="connsiteY63042"/>
              </a:cxn>
              <a:cxn ang="0">
                <a:pos x="connsiteX63043" y="connsiteY63043"/>
              </a:cxn>
              <a:cxn ang="0">
                <a:pos x="connsiteX63044" y="connsiteY63044"/>
              </a:cxn>
              <a:cxn ang="0">
                <a:pos x="connsiteX63045" y="connsiteY63045"/>
              </a:cxn>
              <a:cxn ang="0">
                <a:pos x="connsiteX63046" y="connsiteY63046"/>
              </a:cxn>
              <a:cxn ang="0">
                <a:pos x="connsiteX63047" y="connsiteY63047"/>
              </a:cxn>
              <a:cxn ang="0">
                <a:pos x="connsiteX63048" y="connsiteY63048"/>
              </a:cxn>
              <a:cxn ang="0">
                <a:pos x="connsiteX63049" y="connsiteY63049"/>
              </a:cxn>
              <a:cxn ang="0">
                <a:pos x="connsiteX63050" y="connsiteY63050"/>
              </a:cxn>
              <a:cxn ang="0">
                <a:pos x="connsiteX63051" y="connsiteY63051"/>
              </a:cxn>
              <a:cxn ang="0">
                <a:pos x="connsiteX63052" y="connsiteY63052"/>
              </a:cxn>
              <a:cxn ang="0">
                <a:pos x="connsiteX63053" y="connsiteY63053"/>
              </a:cxn>
              <a:cxn ang="0">
                <a:pos x="connsiteX63054" y="connsiteY63054"/>
              </a:cxn>
              <a:cxn ang="0">
                <a:pos x="connsiteX63055" y="connsiteY63055"/>
              </a:cxn>
              <a:cxn ang="0">
                <a:pos x="connsiteX63056" y="connsiteY63056"/>
              </a:cxn>
              <a:cxn ang="0">
                <a:pos x="connsiteX63057" y="connsiteY63057"/>
              </a:cxn>
              <a:cxn ang="0">
                <a:pos x="connsiteX63058" y="connsiteY63058"/>
              </a:cxn>
              <a:cxn ang="0">
                <a:pos x="connsiteX63059" y="connsiteY63059"/>
              </a:cxn>
              <a:cxn ang="0">
                <a:pos x="connsiteX63060" y="connsiteY63060"/>
              </a:cxn>
              <a:cxn ang="0">
                <a:pos x="connsiteX63061" y="connsiteY63061"/>
              </a:cxn>
              <a:cxn ang="0">
                <a:pos x="connsiteX63062" y="connsiteY63062"/>
              </a:cxn>
              <a:cxn ang="0">
                <a:pos x="connsiteX63063" y="connsiteY63063"/>
              </a:cxn>
              <a:cxn ang="0">
                <a:pos x="connsiteX63064" y="connsiteY63064"/>
              </a:cxn>
              <a:cxn ang="0">
                <a:pos x="connsiteX63065" y="connsiteY63065"/>
              </a:cxn>
              <a:cxn ang="0">
                <a:pos x="connsiteX63066" y="connsiteY63066"/>
              </a:cxn>
              <a:cxn ang="0">
                <a:pos x="connsiteX63067" y="connsiteY63067"/>
              </a:cxn>
              <a:cxn ang="0">
                <a:pos x="connsiteX63068" y="connsiteY63068"/>
              </a:cxn>
              <a:cxn ang="0">
                <a:pos x="connsiteX63069" y="connsiteY63069"/>
              </a:cxn>
              <a:cxn ang="0">
                <a:pos x="connsiteX63070" y="connsiteY63070"/>
              </a:cxn>
              <a:cxn ang="0">
                <a:pos x="connsiteX63071" y="connsiteY63071"/>
              </a:cxn>
              <a:cxn ang="0">
                <a:pos x="connsiteX63072" y="connsiteY63072"/>
              </a:cxn>
              <a:cxn ang="0">
                <a:pos x="connsiteX63073" y="connsiteY63073"/>
              </a:cxn>
              <a:cxn ang="0">
                <a:pos x="connsiteX63074" y="connsiteY63074"/>
              </a:cxn>
              <a:cxn ang="0">
                <a:pos x="connsiteX63075" y="connsiteY63075"/>
              </a:cxn>
              <a:cxn ang="0">
                <a:pos x="connsiteX63076" y="connsiteY63076"/>
              </a:cxn>
              <a:cxn ang="0">
                <a:pos x="connsiteX63077" y="connsiteY63077"/>
              </a:cxn>
              <a:cxn ang="0">
                <a:pos x="connsiteX63078" y="connsiteY63078"/>
              </a:cxn>
              <a:cxn ang="0">
                <a:pos x="connsiteX63079" y="connsiteY63079"/>
              </a:cxn>
              <a:cxn ang="0">
                <a:pos x="connsiteX63080" y="connsiteY63080"/>
              </a:cxn>
              <a:cxn ang="0">
                <a:pos x="connsiteX63081" y="connsiteY63081"/>
              </a:cxn>
              <a:cxn ang="0">
                <a:pos x="connsiteX63082" y="connsiteY63082"/>
              </a:cxn>
              <a:cxn ang="0">
                <a:pos x="connsiteX63083" y="connsiteY63083"/>
              </a:cxn>
              <a:cxn ang="0">
                <a:pos x="connsiteX63084" y="connsiteY63084"/>
              </a:cxn>
              <a:cxn ang="0">
                <a:pos x="connsiteX63085" y="connsiteY63085"/>
              </a:cxn>
              <a:cxn ang="0">
                <a:pos x="connsiteX63086" y="connsiteY63086"/>
              </a:cxn>
              <a:cxn ang="0">
                <a:pos x="connsiteX63087" y="connsiteY63087"/>
              </a:cxn>
              <a:cxn ang="0">
                <a:pos x="connsiteX63088" y="connsiteY63088"/>
              </a:cxn>
              <a:cxn ang="0">
                <a:pos x="connsiteX63089" y="connsiteY63089"/>
              </a:cxn>
              <a:cxn ang="0">
                <a:pos x="connsiteX63090" y="connsiteY63090"/>
              </a:cxn>
              <a:cxn ang="0">
                <a:pos x="connsiteX63091" y="connsiteY63091"/>
              </a:cxn>
              <a:cxn ang="0">
                <a:pos x="connsiteX63092" y="connsiteY63092"/>
              </a:cxn>
              <a:cxn ang="0">
                <a:pos x="connsiteX63093" y="connsiteY63093"/>
              </a:cxn>
              <a:cxn ang="0">
                <a:pos x="connsiteX63094" y="connsiteY63094"/>
              </a:cxn>
              <a:cxn ang="0">
                <a:pos x="connsiteX63095" y="connsiteY63095"/>
              </a:cxn>
              <a:cxn ang="0">
                <a:pos x="connsiteX63096" y="connsiteY63096"/>
              </a:cxn>
              <a:cxn ang="0">
                <a:pos x="connsiteX63097" y="connsiteY63097"/>
              </a:cxn>
              <a:cxn ang="0">
                <a:pos x="connsiteX63098" y="connsiteY63098"/>
              </a:cxn>
              <a:cxn ang="0">
                <a:pos x="connsiteX63099" y="connsiteY63099"/>
              </a:cxn>
              <a:cxn ang="0">
                <a:pos x="connsiteX63100" y="connsiteY63100"/>
              </a:cxn>
              <a:cxn ang="0">
                <a:pos x="connsiteX63101" y="connsiteY63101"/>
              </a:cxn>
              <a:cxn ang="0">
                <a:pos x="connsiteX63102" y="connsiteY63102"/>
              </a:cxn>
              <a:cxn ang="0">
                <a:pos x="connsiteX63103" y="connsiteY63103"/>
              </a:cxn>
              <a:cxn ang="0">
                <a:pos x="connsiteX63104" y="connsiteY63104"/>
              </a:cxn>
              <a:cxn ang="0">
                <a:pos x="connsiteX63105" y="connsiteY63105"/>
              </a:cxn>
              <a:cxn ang="0">
                <a:pos x="connsiteX63106" y="connsiteY63106"/>
              </a:cxn>
              <a:cxn ang="0">
                <a:pos x="connsiteX63107" y="connsiteY63107"/>
              </a:cxn>
              <a:cxn ang="0">
                <a:pos x="connsiteX63108" y="connsiteY63108"/>
              </a:cxn>
              <a:cxn ang="0">
                <a:pos x="connsiteX63109" y="connsiteY63109"/>
              </a:cxn>
              <a:cxn ang="0">
                <a:pos x="connsiteX63110" y="connsiteY63110"/>
              </a:cxn>
              <a:cxn ang="0">
                <a:pos x="connsiteX63111" y="connsiteY63111"/>
              </a:cxn>
              <a:cxn ang="0">
                <a:pos x="connsiteX63112" y="connsiteY63112"/>
              </a:cxn>
              <a:cxn ang="0">
                <a:pos x="connsiteX63113" y="connsiteY63113"/>
              </a:cxn>
              <a:cxn ang="0">
                <a:pos x="connsiteX63114" y="connsiteY63114"/>
              </a:cxn>
              <a:cxn ang="0">
                <a:pos x="connsiteX63115" y="connsiteY63115"/>
              </a:cxn>
              <a:cxn ang="0">
                <a:pos x="connsiteX63116" y="connsiteY63116"/>
              </a:cxn>
              <a:cxn ang="0">
                <a:pos x="connsiteX63117" y="connsiteY63117"/>
              </a:cxn>
              <a:cxn ang="0">
                <a:pos x="connsiteX63118" y="connsiteY63118"/>
              </a:cxn>
              <a:cxn ang="0">
                <a:pos x="connsiteX63119" y="connsiteY63119"/>
              </a:cxn>
              <a:cxn ang="0">
                <a:pos x="connsiteX63120" y="connsiteY63120"/>
              </a:cxn>
              <a:cxn ang="0">
                <a:pos x="connsiteX63121" y="connsiteY63121"/>
              </a:cxn>
              <a:cxn ang="0">
                <a:pos x="connsiteX63122" y="connsiteY63122"/>
              </a:cxn>
              <a:cxn ang="0">
                <a:pos x="connsiteX63123" y="connsiteY63123"/>
              </a:cxn>
              <a:cxn ang="0">
                <a:pos x="connsiteX63124" y="connsiteY63124"/>
              </a:cxn>
              <a:cxn ang="0">
                <a:pos x="connsiteX63125" y="connsiteY63125"/>
              </a:cxn>
              <a:cxn ang="0">
                <a:pos x="connsiteX63126" y="connsiteY63126"/>
              </a:cxn>
              <a:cxn ang="0">
                <a:pos x="connsiteX63127" y="connsiteY63127"/>
              </a:cxn>
              <a:cxn ang="0">
                <a:pos x="connsiteX63128" y="connsiteY63128"/>
              </a:cxn>
              <a:cxn ang="0">
                <a:pos x="connsiteX63129" y="connsiteY63129"/>
              </a:cxn>
              <a:cxn ang="0">
                <a:pos x="connsiteX63130" y="connsiteY63130"/>
              </a:cxn>
              <a:cxn ang="0">
                <a:pos x="connsiteX63131" y="connsiteY63131"/>
              </a:cxn>
              <a:cxn ang="0">
                <a:pos x="connsiteX63132" y="connsiteY63132"/>
              </a:cxn>
              <a:cxn ang="0">
                <a:pos x="connsiteX63133" y="connsiteY63133"/>
              </a:cxn>
              <a:cxn ang="0">
                <a:pos x="connsiteX63134" y="connsiteY63134"/>
              </a:cxn>
              <a:cxn ang="0">
                <a:pos x="connsiteX63135" y="connsiteY63135"/>
              </a:cxn>
              <a:cxn ang="0">
                <a:pos x="connsiteX63136" y="connsiteY63136"/>
              </a:cxn>
              <a:cxn ang="0">
                <a:pos x="connsiteX63137" y="connsiteY63137"/>
              </a:cxn>
              <a:cxn ang="0">
                <a:pos x="connsiteX63138" y="connsiteY63138"/>
              </a:cxn>
              <a:cxn ang="0">
                <a:pos x="connsiteX63139" y="connsiteY63139"/>
              </a:cxn>
              <a:cxn ang="0">
                <a:pos x="connsiteX63140" y="connsiteY63140"/>
              </a:cxn>
              <a:cxn ang="0">
                <a:pos x="connsiteX63141" y="connsiteY63141"/>
              </a:cxn>
              <a:cxn ang="0">
                <a:pos x="connsiteX63142" y="connsiteY63142"/>
              </a:cxn>
              <a:cxn ang="0">
                <a:pos x="connsiteX63143" y="connsiteY63143"/>
              </a:cxn>
              <a:cxn ang="0">
                <a:pos x="connsiteX63144" y="connsiteY63144"/>
              </a:cxn>
              <a:cxn ang="0">
                <a:pos x="connsiteX63145" y="connsiteY63145"/>
              </a:cxn>
              <a:cxn ang="0">
                <a:pos x="connsiteX63146" y="connsiteY63146"/>
              </a:cxn>
              <a:cxn ang="0">
                <a:pos x="connsiteX63147" y="connsiteY63147"/>
              </a:cxn>
              <a:cxn ang="0">
                <a:pos x="connsiteX63148" y="connsiteY63148"/>
              </a:cxn>
              <a:cxn ang="0">
                <a:pos x="connsiteX63149" y="connsiteY63149"/>
              </a:cxn>
              <a:cxn ang="0">
                <a:pos x="connsiteX63150" y="connsiteY63150"/>
              </a:cxn>
              <a:cxn ang="0">
                <a:pos x="connsiteX63151" y="connsiteY63151"/>
              </a:cxn>
              <a:cxn ang="0">
                <a:pos x="connsiteX63152" y="connsiteY63152"/>
              </a:cxn>
              <a:cxn ang="0">
                <a:pos x="connsiteX63153" y="connsiteY63153"/>
              </a:cxn>
              <a:cxn ang="0">
                <a:pos x="connsiteX63154" y="connsiteY63154"/>
              </a:cxn>
              <a:cxn ang="0">
                <a:pos x="connsiteX63155" y="connsiteY63155"/>
              </a:cxn>
              <a:cxn ang="0">
                <a:pos x="connsiteX63156" y="connsiteY63156"/>
              </a:cxn>
              <a:cxn ang="0">
                <a:pos x="connsiteX63157" y="connsiteY63157"/>
              </a:cxn>
              <a:cxn ang="0">
                <a:pos x="connsiteX63158" y="connsiteY63158"/>
              </a:cxn>
              <a:cxn ang="0">
                <a:pos x="connsiteX63159" y="connsiteY63159"/>
              </a:cxn>
              <a:cxn ang="0">
                <a:pos x="connsiteX63160" y="connsiteY63160"/>
              </a:cxn>
              <a:cxn ang="0">
                <a:pos x="connsiteX63161" y="connsiteY63161"/>
              </a:cxn>
              <a:cxn ang="0">
                <a:pos x="connsiteX63162" y="connsiteY63162"/>
              </a:cxn>
              <a:cxn ang="0">
                <a:pos x="connsiteX63163" y="connsiteY63163"/>
              </a:cxn>
              <a:cxn ang="0">
                <a:pos x="connsiteX63164" y="connsiteY63164"/>
              </a:cxn>
              <a:cxn ang="0">
                <a:pos x="connsiteX63165" y="connsiteY63165"/>
              </a:cxn>
              <a:cxn ang="0">
                <a:pos x="connsiteX63166" y="connsiteY63166"/>
              </a:cxn>
              <a:cxn ang="0">
                <a:pos x="connsiteX63167" y="connsiteY63167"/>
              </a:cxn>
              <a:cxn ang="0">
                <a:pos x="connsiteX63168" y="connsiteY63168"/>
              </a:cxn>
              <a:cxn ang="0">
                <a:pos x="connsiteX63169" y="connsiteY63169"/>
              </a:cxn>
              <a:cxn ang="0">
                <a:pos x="connsiteX63170" y="connsiteY63170"/>
              </a:cxn>
              <a:cxn ang="0">
                <a:pos x="connsiteX63171" y="connsiteY63171"/>
              </a:cxn>
              <a:cxn ang="0">
                <a:pos x="connsiteX63172" y="connsiteY63172"/>
              </a:cxn>
              <a:cxn ang="0">
                <a:pos x="connsiteX63173" y="connsiteY63173"/>
              </a:cxn>
              <a:cxn ang="0">
                <a:pos x="connsiteX63174" y="connsiteY63174"/>
              </a:cxn>
              <a:cxn ang="0">
                <a:pos x="connsiteX63175" y="connsiteY63175"/>
              </a:cxn>
              <a:cxn ang="0">
                <a:pos x="connsiteX63176" y="connsiteY63176"/>
              </a:cxn>
              <a:cxn ang="0">
                <a:pos x="connsiteX63177" y="connsiteY63177"/>
              </a:cxn>
              <a:cxn ang="0">
                <a:pos x="connsiteX63178" y="connsiteY63178"/>
              </a:cxn>
              <a:cxn ang="0">
                <a:pos x="connsiteX63179" y="connsiteY63179"/>
              </a:cxn>
              <a:cxn ang="0">
                <a:pos x="connsiteX63180" y="connsiteY63180"/>
              </a:cxn>
              <a:cxn ang="0">
                <a:pos x="connsiteX63181" y="connsiteY63181"/>
              </a:cxn>
              <a:cxn ang="0">
                <a:pos x="connsiteX63182" y="connsiteY63182"/>
              </a:cxn>
              <a:cxn ang="0">
                <a:pos x="connsiteX63183" y="connsiteY63183"/>
              </a:cxn>
              <a:cxn ang="0">
                <a:pos x="connsiteX63184" y="connsiteY63184"/>
              </a:cxn>
              <a:cxn ang="0">
                <a:pos x="connsiteX63185" y="connsiteY63185"/>
              </a:cxn>
              <a:cxn ang="0">
                <a:pos x="connsiteX63186" y="connsiteY63186"/>
              </a:cxn>
              <a:cxn ang="0">
                <a:pos x="connsiteX63187" y="connsiteY63187"/>
              </a:cxn>
              <a:cxn ang="0">
                <a:pos x="connsiteX63188" y="connsiteY63188"/>
              </a:cxn>
              <a:cxn ang="0">
                <a:pos x="connsiteX63189" y="connsiteY63189"/>
              </a:cxn>
              <a:cxn ang="0">
                <a:pos x="connsiteX63190" y="connsiteY63190"/>
              </a:cxn>
              <a:cxn ang="0">
                <a:pos x="connsiteX63191" y="connsiteY63191"/>
              </a:cxn>
              <a:cxn ang="0">
                <a:pos x="connsiteX63192" y="connsiteY63192"/>
              </a:cxn>
              <a:cxn ang="0">
                <a:pos x="connsiteX63193" y="connsiteY63193"/>
              </a:cxn>
              <a:cxn ang="0">
                <a:pos x="connsiteX63194" y="connsiteY63194"/>
              </a:cxn>
              <a:cxn ang="0">
                <a:pos x="connsiteX63195" y="connsiteY63195"/>
              </a:cxn>
              <a:cxn ang="0">
                <a:pos x="connsiteX63196" y="connsiteY63196"/>
              </a:cxn>
              <a:cxn ang="0">
                <a:pos x="connsiteX63197" y="connsiteY63197"/>
              </a:cxn>
              <a:cxn ang="0">
                <a:pos x="connsiteX63198" y="connsiteY63198"/>
              </a:cxn>
              <a:cxn ang="0">
                <a:pos x="connsiteX63199" y="connsiteY63199"/>
              </a:cxn>
              <a:cxn ang="0">
                <a:pos x="connsiteX63200" y="connsiteY63200"/>
              </a:cxn>
              <a:cxn ang="0">
                <a:pos x="connsiteX63201" y="connsiteY63201"/>
              </a:cxn>
              <a:cxn ang="0">
                <a:pos x="connsiteX63202" y="connsiteY63202"/>
              </a:cxn>
              <a:cxn ang="0">
                <a:pos x="connsiteX63203" y="connsiteY63203"/>
              </a:cxn>
              <a:cxn ang="0">
                <a:pos x="connsiteX63204" y="connsiteY63204"/>
              </a:cxn>
              <a:cxn ang="0">
                <a:pos x="connsiteX63205" y="connsiteY63205"/>
              </a:cxn>
              <a:cxn ang="0">
                <a:pos x="connsiteX63206" y="connsiteY63206"/>
              </a:cxn>
              <a:cxn ang="0">
                <a:pos x="connsiteX63207" y="connsiteY63207"/>
              </a:cxn>
              <a:cxn ang="0">
                <a:pos x="connsiteX63208" y="connsiteY63208"/>
              </a:cxn>
              <a:cxn ang="0">
                <a:pos x="connsiteX63209" y="connsiteY63209"/>
              </a:cxn>
              <a:cxn ang="0">
                <a:pos x="connsiteX63210" y="connsiteY63210"/>
              </a:cxn>
              <a:cxn ang="0">
                <a:pos x="connsiteX63211" y="connsiteY63211"/>
              </a:cxn>
              <a:cxn ang="0">
                <a:pos x="connsiteX63212" y="connsiteY63212"/>
              </a:cxn>
              <a:cxn ang="0">
                <a:pos x="connsiteX63213" y="connsiteY63213"/>
              </a:cxn>
              <a:cxn ang="0">
                <a:pos x="connsiteX63214" y="connsiteY63214"/>
              </a:cxn>
              <a:cxn ang="0">
                <a:pos x="connsiteX63215" y="connsiteY63215"/>
              </a:cxn>
              <a:cxn ang="0">
                <a:pos x="connsiteX63216" y="connsiteY63216"/>
              </a:cxn>
              <a:cxn ang="0">
                <a:pos x="connsiteX63217" y="connsiteY63217"/>
              </a:cxn>
              <a:cxn ang="0">
                <a:pos x="connsiteX63218" y="connsiteY63218"/>
              </a:cxn>
              <a:cxn ang="0">
                <a:pos x="connsiteX63219" y="connsiteY63219"/>
              </a:cxn>
              <a:cxn ang="0">
                <a:pos x="connsiteX63220" y="connsiteY63220"/>
              </a:cxn>
              <a:cxn ang="0">
                <a:pos x="connsiteX63221" y="connsiteY63221"/>
              </a:cxn>
              <a:cxn ang="0">
                <a:pos x="connsiteX63222" y="connsiteY63222"/>
              </a:cxn>
              <a:cxn ang="0">
                <a:pos x="connsiteX63223" y="connsiteY63223"/>
              </a:cxn>
              <a:cxn ang="0">
                <a:pos x="connsiteX63224" y="connsiteY63224"/>
              </a:cxn>
              <a:cxn ang="0">
                <a:pos x="connsiteX63225" y="connsiteY63225"/>
              </a:cxn>
              <a:cxn ang="0">
                <a:pos x="connsiteX63226" y="connsiteY63226"/>
              </a:cxn>
              <a:cxn ang="0">
                <a:pos x="connsiteX63227" y="connsiteY63227"/>
              </a:cxn>
              <a:cxn ang="0">
                <a:pos x="connsiteX63228" y="connsiteY63228"/>
              </a:cxn>
              <a:cxn ang="0">
                <a:pos x="connsiteX63229" y="connsiteY63229"/>
              </a:cxn>
              <a:cxn ang="0">
                <a:pos x="connsiteX63230" y="connsiteY63230"/>
              </a:cxn>
              <a:cxn ang="0">
                <a:pos x="connsiteX63231" y="connsiteY63231"/>
              </a:cxn>
              <a:cxn ang="0">
                <a:pos x="connsiteX63232" y="connsiteY63232"/>
              </a:cxn>
              <a:cxn ang="0">
                <a:pos x="connsiteX63233" y="connsiteY63233"/>
              </a:cxn>
              <a:cxn ang="0">
                <a:pos x="connsiteX63234" y="connsiteY63234"/>
              </a:cxn>
              <a:cxn ang="0">
                <a:pos x="connsiteX63235" y="connsiteY63235"/>
              </a:cxn>
              <a:cxn ang="0">
                <a:pos x="connsiteX63236" y="connsiteY63236"/>
              </a:cxn>
              <a:cxn ang="0">
                <a:pos x="connsiteX63237" y="connsiteY63237"/>
              </a:cxn>
              <a:cxn ang="0">
                <a:pos x="connsiteX63238" y="connsiteY63238"/>
              </a:cxn>
              <a:cxn ang="0">
                <a:pos x="connsiteX63239" y="connsiteY63239"/>
              </a:cxn>
              <a:cxn ang="0">
                <a:pos x="connsiteX63240" y="connsiteY63240"/>
              </a:cxn>
              <a:cxn ang="0">
                <a:pos x="connsiteX63241" y="connsiteY63241"/>
              </a:cxn>
              <a:cxn ang="0">
                <a:pos x="connsiteX63242" y="connsiteY63242"/>
              </a:cxn>
              <a:cxn ang="0">
                <a:pos x="connsiteX63243" y="connsiteY63243"/>
              </a:cxn>
              <a:cxn ang="0">
                <a:pos x="connsiteX63244" y="connsiteY63244"/>
              </a:cxn>
              <a:cxn ang="0">
                <a:pos x="connsiteX63245" y="connsiteY63245"/>
              </a:cxn>
              <a:cxn ang="0">
                <a:pos x="connsiteX63246" y="connsiteY63246"/>
              </a:cxn>
              <a:cxn ang="0">
                <a:pos x="connsiteX63247" y="connsiteY63247"/>
              </a:cxn>
              <a:cxn ang="0">
                <a:pos x="connsiteX63248" y="connsiteY63248"/>
              </a:cxn>
              <a:cxn ang="0">
                <a:pos x="connsiteX63249" y="connsiteY63249"/>
              </a:cxn>
              <a:cxn ang="0">
                <a:pos x="connsiteX63250" y="connsiteY63250"/>
              </a:cxn>
              <a:cxn ang="0">
                <a:pos x="connsiteX63251" y="connsiteY63251"/>
              </a:cxn>
              <a:cxn ang="0">
                <a:pos x="connsiteX63252" y="connsiteY63252"/>
              </a:cxn>
              <a:cxn ang="0">
                <a:pos x="connsiteX63253" y="connsiteY63253"/>
              </a:cxn>
              <a:cxn ang="0">
                <a:pos x="connsiteX63254" y="connsiteY63254"/>
              </a:cxn>
              <a:cxn ang="0">
                <a:pos x="connsiteX63255" y="connsiteY63255"/>
              </a:cxn>
              <a:cxn ang="0">
                <a:pos x="connsiteX63256" y="connsiteY63256"/>
              </a:cxn>
              <a:cxn ang="0">
                <a:pos x="connsiteX63257" y="connsiteY63257"/>
              </a:cxn>
              <a:cxn ang="0">
                <a:pos x="connsiteX63258" y="connsiteY63258"/>
              </a:cxn>
              <a:cxn ang="0">
                <a:pos x="connsiteX63259" y="connsiteY63259"/>
              </a:cxn>
              <a:cxn ang="0">
                <a:pos x="connsiteX63260" y="connsiteY63260"/>
              </a:cxn>
              <a:cxn ang="0">
                <a:pos x="connsiteX63261" y="connsiteY63261"/>
              </a:cxn>
              <a:cxn ang="0">
                <a:pos x="connsiteX63262" y="connsiteY63262"/>
              </a:cxn>
              <a:cxn ang="0">
                <a:pos x="connsiteX63263" y="connsiteY63263"/>
              </a:cxn>
              <a:cxn ang="0">
                <a:pos x="connsiteX63264" y="connsiteY63264"/>
              </a:cxn>
              <a:cxn ang="0">
                <a:pos x="connsiteX63265" y="connsiteY63265"/>
              </a:cxn>
              <a:cxn ang="0">
                <a:pos x="connsiteX63266" y="connsiteY63266"/>
              </a:cxn>
              <a:cxn ang="0">
                <a:pos x="connsiteX63267" y="connsiteY63267"/>
              </a:cxn>
              <a:cxn ang="0">
                <a:pos x="connsiteX63268" y="connsiteY63268"/>
              </a:cxn>
              <a:cxn ang="0">
                <a:pos x="connsiteX63269" y="connsiteY63269"/>
              </a:cxn>
              <a:cxn ang="0">
                <a:pos x="connsiteX63270" y="connsiteY63270"/>
              </a:cxn>
              <a:cxn ang="0">
                <a:pos x="connsiteX63271" y="connsiteY63271"/>
              </a:cxn>
              <a:cxn ang="0">
                <a:pos x="connsiteX63272" y="connsiteY63272"/>
              </a:cxn>
              <a:cxn ang="0">
                <a:pos x="connsiteX63273" y="connsiteY63273"/>
              </a:cxn>
              <a:cxn ang="0">
                <a:pos x="connsiteX63274" y="connsiteY63274"/>
              </a:cxn>
              <a:cxn ang="0">
                <a:pos x="connsiteX63275" y="connsiteY63275"/>
              </a:cxn>
              <a:cxn ang="0">
                <a:pos x="connsiteX63276" y="connsiteY63276"/>
              </a:cxn>
              <a:cxn ang="0">
                <a:pos x="connsiteX63277" y="connsiteY63277"/>
              </a:cxn>
              <a:cxn ang="0">
                <a:pos x="connsiteX63278" y="connsiteY63278"/>
              </a:cxn>
              <a:cxn ang="0">
                <a:pos x="connsiteX63279" y="connsiteY63279"/>
              </a:cxn>
              <a:cxn ang="0">
                <a:pos x="connsiteX63280" y="connsiteY63280"/>
              </a:cxn>
              <a:cxn ang="0">
                <a:pos x="connsiteX63281" y="connsiteY63281"/>
              </a:cxn>
              <a:cxn ang="0">
                <a:pos x="connsiteX63282" y="connsiteY63282"/>
              </a:cxn>
              <a:cxn ang="0">
                <a:pos x="connsiteX63283" y="connsiteY63283"/>
              </a:cxn>
              <a:cxn ang="0">
                <a:pos x="connsiteX63284" y="connsiteY63284"/>
              </a:cxn>
              <a:cxn ang="0">
                <a:pos x="connsiteX63285" y="connsiteY63285"/>
              </a:cxn>
              <a:cxn ang="0">
                <a:pos x="connsiteX63286" y="connsiteY63286"/>
              </a:cxn>
              <a:cxn ang="0">
                <a:pos x="connsiteX63287" y="connsiteY63287"/>
              </a:cxn>
              <a:cxn ang="0">
                <a:pos x="connsiteX63288" y="connsiteY63288"/>
              </a:cxn>
              <a:cxn ang="0">
                <a:pos x="connsiteX63289" y="connsiteY63289"/>
              </a:cxn>
              <a:cxn ang="0">
                <a:pos x="connsiteX63290" y="connsiteY63290"/>
              </a:cxn>
              <a:cxn ang="0">
                <a:pos x="connsiteX63291" y="connsiteY63291"/>
              </a:cxn>
              <a:cxn ang="0">
                <a:pos x="connsiteX63292" y="connsiteY63292"/>
              </a:cxn>
              <a:cxn ang="0">
                <a:pos x="connsiteX63293" y="connsiteY63293"/>
              </a:cxn>
              <a:cxn ang="0">
                <a:pos x="connsiteX63294" y="connsiteY63294"/>
              </a:cxn>
              <a:cxn ang="0">
                <a:pos x="connsiteX63295" y="connsiteY63295"/>
              </a:cxn>
              <a:cxn ang="0">
                <a:pos x="connsiteX63296" y="connsiteY63296"/>
              </a:cxn>
              <a:cxn ang="0">
                <a:pos x="connsiteX63297" y="connsiteY63297"/>
              </a:cxn>
              <a:cxn ang="0">
                <a:pos x="connsiteX63298" y="connsiteY63298"/>
              </a:cxn>
              <a:cxn ang="0">
                <a:pos x="connsiteX63299" y="connsiteY63299"/>
              </a:cxn>
              <a:cxn ang="0">
                <a:pos x="connsiteX63300" y="connsiteY63300"/>
              </a:cxn>
              <a:cxn ang="0">
                <a:pos x="connsiteX63301" y="connsiteY63301"/>
              </a:cxn>
              <a:cxn ang="0">
                <a:pos x="connsiteX63302" y="connsiteY63302"/>
              </a:cxn>
              <a:cxn ang="0">
                <a:pos x="connsiteX63303" y="connsiteY63303"/>
              </a:cxn>
              <a:cxn ang="0">
                <a:pos x="connsiteX63304" y="connsiteY63304"/>
              </a:cxn>
              <a:cxn ang="0">
                <a:pos x="connsiteX63305" y="connsiteY63305"/>
              </a:cxn>
              <a:cxn ang="0">
                <a:pos x="connsiteX63306" y="connsiteY63306"/>
              </a:cxn>
              <a:cxn ang="0">
                <a:pos x="connsiteX63307" y="connsiteY63307"/>
              </a:cxn>
              <a:cxn ang="0">
                <a:pos x="connsiteX63308" y="connsiteY63308"/>
              </a:cxn>
              <a:cxn ang="0">
                <a:pos x="connsiteX63309" y="connsiteY63309"/>
              </a:cxn>
              <a:cxn ang="0">
                <a:pos x="connsiteX63310" y="connsiteY63310"/>
              </a:cxn>
              <a:cxn ang="0">
                <a:pos x="connsiteX63311" y="connsiteY63311"/>
              </a:cxn>
              <a:cxn ang="0">
                <a:pos x="connsiteX63312" y="connsiteY63312"/>
              </a:cxn>
              <a:cxn ang="0">
                <a:pos x="connsiteX63313" y="connsiteY63313"/>
              </a:cxn>
              <a:cxn ang="0">
                <a:pos x="connsiteX63314" y="connsiteY63314"/>
              </a:cxn>
              <a:cxn ang="0">
                <a:pos x="connsiteX63315" y="connsiteY63315"/>
              </a:cxn>
              <a:cxn ang="0">
                <a:pos x="connsiteX63316" y="connsiteY63316"/>
              </a:cxn>
              <a:cxn ang="0">
                <a:pos x="connsiteX63317" y="connsiteY63317"/>
              </a:cxn>
              <a:cxn ang="0">
                <a:pos x="connsiteX63318" y="connsiteY63318"/>
              </a:cxn>
              <a:cxn ang="0">
                <a:pos x="connsiteX63319" y="connsiteY63319"/>
              </a:cxn>
              <a:cxn ang="0">
                <a:pos x="connsiteX63320" y="connsiteY63320"/>
              </a:cxn>
              <a:cxn ang="0">
                <a:pos x="connsiteX63321" y="connsiteY63321"/>
              </a:cxn>
              <a:cxn ang="0">
                <a:pos x="connsiteX63322" y="connsiteY63322"/>
              </a:cxn>
              <a:cxn ang="0">
                <a:pos x="connsiteX63323" y="connsiteY63323"/>
              </a:cxn>
              <a:cxn ang="0">
                <a:pos x="connsiteX63324" y="connsiteY63324"/>
              </a:cxn>
              <a:cxn ang="0">
                <a:pos x="connsiteX63325" y="connsiteY63325"/>
              </a:cxn>
              <a:cxn ang="0">
                <a:pos x="connsiteX63326" y="connsiteY63326"/>
              </a:cxn>
              <a:cxn ang="0">
                <a:pos x="connsiteX63327" y="connsiteY63327"/>
              </a:cxn>
              <a:cxn ang="0">
                <a:pos x="connsiteX63328" y="connsiteY63328"/>
              </a:cxn>
              <a:cxn ang="0">
                <a:pos x="connsiteX63329" y="connsiteY63329"/>
              </a:cxn>
              <a:cxn ang="0">
                <a:pos x="connsiteX63330" y="connsiteY63330"/>
              </a:cxn>
              <a:cxn ang="0">
                <a:pos x="connsiteX63331" y="connsiteY63331"/>
              </a:cxn>
              <a:cxn ang="0">
                <a:pos x="connsiteX63332" y="connsiteY63332"/>
              </a:cxn>
              <a:cxn ang="0">
                <a:pos x="connsiteX63333" y="connsiteY63333"/>
              </a:cxn>
              <a:cxn ang="0">
                <a:pos x="connsiteX63334" y="connsiteY63334"/>
              </a:cxn>
              <a:cxn ang="0">
                <a:pos x="connsiteX63335" y="connsiteY63335"/>
              </a:cxn>
              <a:cxn ang="0">
                <a:pos x="connsiteX63336" y="connsiteY63336"/>
              </a:cxn>
              <a:cxn ang="0">
                <a:pos x="connsiteX63337" y="connsiteY63337"/>
              </a:cxn>
              <a:cxn ang="0">
                <a:pos x="connsiteX63338" y="connsiteY63338"/>
              </a:cxn>
              <a:cxn ang="0">
                <a:pos x="connsiteX63339" y="connsiteY63339"/>
              </a:cxn>
              <a:cxn ang="0">
                <a:pos x="connsiteX63340" y="connsiteY63340"/>
              </a:cxn>
              <a:cxn ang="0">
                <a:pos x="connsiteX63341" y="connsiteY63341"/>
              </a:cxn>
              <a:cxn ang="0">
                <a:pos x="connsiteX63342" y="connsiteY63342"/>
              </a:cxn>
              <a:cxn ang="0">
                <a:pos x="connsiteX63343" y="connsiteY63343"/>
              </a:cxn>
              <a:cxn ang="0">
                <a:pos x="connsiteX63344" y="connsiteY63344"/>
              </a:cxn>
              <a:cxn ang="0">
                <a:pos x="connsiteX63345" y="connsiteY63345"/>
              </a:cxn>
              <a:cxn ang="0">
                <a:pos x="connsiteX63346" y="connsiteY63346"/>
              </a:cxn>
              <a:cxn ang="0">
                <a:pos x="connsiteX63347" y="connsiteY63347"/>
              </a:cxn>
              <a:cxn ang="0">
                <a:pos x="connsiteX63348" y="connsiteY63348"/>
              </a:cxn>
              <a:cxn ang="0">
                <a:pos x="connsiteX63349" y="connsiteY63349"/>
              </a:cxn>
              <a:cxn ang="0">
                <a:pos x="connsiteX63350" y="connsiteY63350"/>
              </a:cxn>
              <a:cxn ang="0">
                <a:pos x="connsiteX63351" y="connsiteY63351"/>
              </a:cxn>
              <a:cxn ang="0">
                <a:pos x="connsiteX63352" y="connsiteY63352"/>
              </a:cxn>
              <a:cxn ang="0">
                <a:pos x="connsiteX63353" y="connsiteY63353"/>
              </a:cxn>
              <a:cxn ang="0">
                <a:pos x="connsiteX63354" y="connsiteY63354"/>
              </a:cxn>
              <a:cxn ang="0">
                <a:pos x="connsiteX63355" y="connsiteY63355"/>
              </a:cxn>
              <a:cxn ang="0">
                <a:pos x="connsiteX63356" y="connsiteY63356"/>
              </a:cxn>
              <a:cxn ang="0">
                <a:pos x="connsiteX63357" y="connsiteY63357"/>
              </a:cxn>
              <a:cxn ang="0">
                <a:pos x="connsiteX63358" y="connsiteY63358"/>
              </a:cxn>
              <a:cxn ang="0">
                <a:pos x="connsiteX63359" y="connsiteY63359"/>
              </a:cxn>
              <a:cxn ang="0">
                <a:pos x="connsiteX63360" y="connsiteY63360"/>
              </a:cxn>
              <a:cxn ang="0">
                <a:pos x="connsiteX63361" y="connsiteY63361"/>
              </a:cxn>
              <a:cxn ang="0">
                <a:pos x="connsiteX63362" y="connsiteY63362"/>
              </a:cxn>
              <a:cxn ang="0">
                <a:pos x="connsiteX63363" y="connsiteY63363"/>
              </a:cxn>
              <a:cxn ang="0">
                <a:pos x="connsiteX63364" y="connsiteY63364"/>
              </a:cxn>
              <a:cxn ang="0">
                <a:pos x="connsiteX63365" y="connsiteY63365"/>
              </a:cxn>
              <a:cxn ang="0">
                <a:pos x="connsiteX63366" y="connsiteY63366"/>
              </a:cxn>
              <a:cxn ang="0">
                <a:pos x="connsiteX63367" y="connsiteY63367"/>
              </a:cxn>
              <a:cxn ang="0">
                <a:pos x="connsiteX63368" y="connsiteY63368"/>
              </a:cxn>
              <a:cxn ang="0">
                <a:pos x="connsiteX63369" y="connsiteY63369"/>
              </a:cxn>
              <a:cxn ang="0">
                <a:pos x="connsiteX63370" y="connsiteY63370"/>
              </a:cxn>
              <a:cxn ang="0">
                <a:pos x="connsiteX63371" y="connsiteY63371"/>
              </a:cxn>
              <a:cxn ang="0">
                <a:pos x="connsiteX63372" y="connsiteY63372"/>
              </a:cxn>
              <a:cxn ang="0">
                <a:pos x="connsiteX63373" y="connsiteY63373"/>
              </a:cxn>
              <a:cxn ang="0">
                <a:pos x="connsiteX63374" y="connsiteY63374"/>
              </a:cxn>
              <a:cxn ang="0">
                <a:pos x="connsiteX63375" y="connsiteY63375"/>
              </a:cxn>
              <a:cxn ang="0">
                <a:pos x="connsiteX63376" y="connsiteY63376"/>
              </a:cxn>
              <a:cxn ang="0">
                <a:pos x="connsiteX63377" y="connsiteY63377"/>
              </a:cxn>
              <a:cxn ang="0">
                <a:pos x="connsiteX63378" y="connsiteY63378"/>
              </a:cxn>
              <a:cxn ang="0">
                <a:pos x="connsiteX63379" y="connsiteY63379"/>
              </a:cxn>
              <a:cxn ang="0">
                <a:pos x="connsiteX63380" y="connsiteY63380"/>
              </a:cxn>
              <a:cxn ang="0">
                <a:pos x="connsiteX63381" y="connsiteY63381"/>
              </a:cxn>
              <a:cxn ang="0">
                <a:pos x="connsiteX63382" y="connsiteY63382"/>
              </a:cxn>
              <a:cxn ang="0">
                <a:pos x="connsiteX63383" y="connsiteY63383"/>
              </a:cxn>
              <a:cxn ang="0">
                <a:pos x="connsiteX63384" y="connsiteY63384"/>
              </a:cxn>
              <a:cxn ang="0">
                <a:pos x="connsiteX63385" y="connsiteY63385"/>
              </a:cxn>
              <a:cxn ang="0">
                <a:pos x="connsiteX63386" y="connsiteY63386"/>
              </a:cxn>
              <a:cxn ang="0">
                <a:pos x="connsiteX63387" y="connsiteY63387"/>
              </a:cxn>
              <a:cxn ang="0">
                <a:pos x="connsiteX63388" y="connsiteY63388"/>
              </a:cxn>
              <a:cxn ang="0">
                <a:pos x="connsiteX63389" y="connsiteY63389"/>
              </a:cxn>
              <a:cxn ang="0">
                <a:pos x="connsiteX63390" y="connsiteY63390"/>
              </a:cxn>
              <a:cxn ang="0">
                <a:pos x="connsiteX63391" y="connsiteY63391"/>
              </a:cxn>
              <a:cxn ang="0">
                <a:pos x="connsiteX63392" y="connsiteY63392"/>
              </a:cxn>
              <a:cxn ang="0">
                <a:pos x="connsiteX63393" y="connsiteY63393"/>
              </a:cxn>
              <a:cxn ang="0">
                <a:pos x="connsiteX63394" y="connsiteY63394"/>
              </a:cxn>
              <a:cxn ang="0">
                <a:pos x="connsiteX63395" y="connsiteY63395"/>
              </a:cxn>
              <a:cxn ang="0">
                <a:pos x="connsiteX63396" y="connsiteY63396"/>
              </a:cxn>
              <a:cxn ang="0">
                <a:pos x="connsiteX63397" y="connsiteY63397"/>
              </a:cxn>
              <a:cxn ang="0">
                <a:pos x="connsiteX63398" y="connsiteY63398"/>
              </a:cxn>
              <a:cxn ang="0">
                <a:pos x="connsiteX63399" y="connsiteY63399"/>
              </a:cxn>
              <a:cxn ang="0">
                <a:pos x="connsiteX63400" y="connsiteY63400"/>
              </a:cxn>
              <a:cxn ang="0">
                <a:pos x="connsiteX63401" y="connsiteY63401"/>
              </a:cxn>
              <a:cxn ang="0">
                <a:pos x="connsiteX63402" y="connsiteY63402"/>
              </a:cxn>
              <a:cxn ang="0">
                <a:pos x="connsiteX63403" y="connsiteY63403"/>
              </a:cxn>
              <a:cxn ang="0">
                <a:pos x="connsiteX63404" y="connsiteY63404"/>
              </a:cxn>
              <a:cxn ang="0">
                <a:pos x="connsiteX63405" y="connsiteY63405"/>
              </a:cxn>
              <a:cxn ang="0">
                <a:pos x="connsiteX63406" y="connsiteY63406"/>
              </a:cxn>
              <a:cxn ang="0">
                <a:pos x="connsiteX63407" y="connsiteY63407"/>
              </a:cxn>
              <a:cxn ang="0">
                <a:pos x="connsiteX63408" y="connsiteY63408"/>
              </a:cxn>
              <a:cxn ang="0">
                <a:pos x="connsiteX63409" y="connsiteY63409"/>
              </a:cxn>
              <a:cxn ang="0">
                <a:pos x="connsiteX63410" y="connsiteY63410"/>
              </a:cxn>
              <a:cxn ang="0">
                <a:pos x="connsiteX63411" y="connsiteY63411"/>
              </a:cxn>
              <a:cxn ang="0">
                <a:pos x="connsiteX63412" y="connsiteY63412"/>
              </a:cxn>
              <a:cxn ang="0">
                <a:pos x="connsiteX63413" y="connsiteY63413"/>
              </a:cxn>
              <a:cxn ang="0">
                <a:pos x="connsiteX63414" y="connsiteY63414"/>
              </a:cxn>
              <a:cxn ang="0">
                <a:pos x="connsiteX63415" y="connsiteY63415"/>
              </a:cxn>
              <a:cxn ang="0">
                <a:pos x="connsiteX63416" y="connsiteY63416"/>
              </a:cxn>
              <a:cxn ang="0">
                <a:pos x="connsiteX63417" y="connsiteY63417"/>
              </a:cxn>
              <a:cxn ang="0">
                <a:pos x="connsiteX63418" y="connsiteY63418"/>
              </a:cxn>
              <a:cxn ang="0">
                <a:pos x="connsiteX63419" y="connsiteY63419"/>
              </a:cxn>
              <a:cxn ang="0">
                <a:pos x="connsiteX63420" y="connsiteY63420"/>
              </a:cxn>
              <a:cxn ang="0">
                <a:pos x="connsiteX63421" y="connsiteY63421"/>
              </a:cxn>
              <a:cxn ang="0">
                <a:pos x="connsiteX63422" y="connsiteY63422"/>
              </a:cxn>
              <a:cxn ang="0">
                <a:pos x="connsiteX63423" y="connsiteY63423"/>
              </a:cxn>
              <a:cxn ang="0">
                <a:pos x="connsiteX63424" y="connsiteY63424"/>
              </a:cxn>
              <a:cxn ang="0">
                <a:pos x="connsiteX63425" y="connsiteY63425"/>
              </a:cxn>
              <a:cxn ang="0">
                <a:pos x="connsiteX63426" y="connsiteY63426"/>
              </a:cxn>
              <a:cxn ang="0">
                <a:pos x="connsiteX63427" y="connsiteY63427"/>
              </a:cxn>
              <a:cxn ang="0">
                <a:pos x="connsiteX63428" y="connsiteY63428"/>
              </a:cxn>
              <a:cxn ang="0">
                <a:pos x="connsiteX63429" y="connsiteY63429"/>
              </a:cxn>
              <a:cxn ang="0">
                <a:pos x="connsiteX63430" y="connsiteY63430"/>
              </a:cxn>
              <a:cxn ang="0">
                <a:pos x="connsiteX63431" y="connsiteY63431"/>
              </a:cxn>
              <a:cxn ang="0">
                <a:pos x="connsiteX63432" y="connsiteY63432"/>
              </a:cxn>
              <a:cxn ang="0">
                <a:pos x="connsiteX63433" y="connsiteY63433"/>
              </a:cxn>
              <a:cxn ang="0">
                <a:pos x="connsiteX63434" y="connsiteY63434"/>
              </a:cxn>
              <a:cxn ang="0">
                <a:pos x="connsiteX63435" y="connsiteY63435"/>
              </a:cxn>
              <a:cxn ang="0">
                <a:pos x="connsiteX63436" y="connsiteY63436"/>
              </a:cxn>
              <a:cxn ang="0">
                <a:pos x="connsiteX63437" y="connsiteY63437"/>
              </a:cxn>
              <a:cxn ang="0">
                <a:pos x="connsiteX63438" y="connsiteY63438"/>
              </a:cxn>
              <a:cxn ang="0">
                <a:pos x="connsiteX63439" y="connsiteY63439"/>
              </a:cxn>
              <a:cxn ang="0">
                <a:pos x="connsiteX63440" y="connsiteY63440"/>
              </a:cxn>
              <a:cxn ang="0">
                <a:pos x="connsiteX63441" y="connsiteY63441"/>
              </a:cxn>
              <a:cxn ang="0">
                <a:pos x="connsiteX63442" y="connsiteY63442"/>
              </a:cxn>
              <a:cxn ang="0">
                <a:pos x="connsiteX63443" y="connsiteY63443"/>
              </a:cxn>
              <a:cxn ang="0">
                <a:pos x="connsiteX63444" y="connsiteY63444"/>
              </a:cxn>
              <a:cxn ang="0">
                <a:pos x="connsiteX63445" y="connsiteY63445"/>
              </a:cxn>
              <a:cxn ang="0">
                <a:pos x="connsiteX63446" y="connsiteY63446"/>
              </a:cxn>
              <a:cxn ang="0">
                <a:pos x="connsiteX63447" y="connsiteY63447"/>
              </a:cxn>
              <a:cxn ang="0">
                <a:pos x="connsiteX63448" y="connsiteY63448"/>
              </a:cxn>
              <a:cxn ang="0">
                <a:pos x="connsiteX63449" y="connsiteY63449"/>
              </a:cxn>
              <a:cxn ang="0">
                <a:pos x="connsiteX63450" y="connsiteY63450"/>
              </a:cxn>
              <a:cxn ang="0">
                <a:pos x="connsiteX63451" y="connsiteY63451"/>
              </a:cxn>
              <a:cxn ang="0">
                <a:pos x="connsiteX63452" y="connsiteY63452"/>
              </a:cxn>
              <a:cxn ang="0">
                <a:pos x="connsiteX63453" y="connsiteY63453"/>
              </a:cxn>
              <a:cxn ang="0">
                <a:pos x="connsiteX63454" y="connsiteY63454"/>
              </a:cxn>
              <a:cxn ang="0">
                <a:pos x="connsiteX63455" y="connsiteY63455"/>
              </a:cxn>
              <a:cxn ang="0">
                <a:pos x="connsiteX63456" y="connsiteY63456"/>
              </a:cxn>
              <a:cxn ang="0">
                <a:pos x="connsiteX63457" y="connsiteY63457"/>
              </a:cxn>
              <a:cxn ang="0">
                <a:pos x="connsiteX63458" y="connsiteY63458"/>
              </a:cxn>
              <a:cxn ang="0">
                <a:pos x="connsiteX63459" y="connsiteY63459"/>
              </a:cxn>
              <a:cxn ang="0">
                <a:pos x="connsiteX63460" y="connsiteY63460"/>
              </a:cxn>
              <a:cxn ang="0">
                <a:pos x="connsiteX63461" y="connsiteY63461"/>
              </a:cxn>
              <a:cxn ang="0">
                <a:pos x="connsiteX63462" y="connsiteY63462"/>
              </a:cxn>
              <a:cxn ang="0">
                <a:pos x="connsiteX63463" y="connsiteY63463"/>
              </a:cxn>
              <a:cxn ang="0">
                <a:pos x="connsiteX63464" y="connsiteY63464"/>
              </a:cxn>
              <a:cxn ang="0">
                <a:pos x="connsiteX63465" y="connsiteY63465"/>
              </a:cxn>
              <a:cxn ang="0">
                <a:pos x="connsiteX63466" y="connsiteY63466"/>
              </a:cxn>
              <a:cxn ang="0">
                <a:pos x="connsiteX63467" y="connsiteY63467"/>
              </a:cxn>
              <a:cxn ang="0">
                <a:pos x="connsiteX63468" y="connsiteY63468"/>
              </a:cxn>
              <a:cxn ang="0">
                <a:pos x="connsiteX63469" y="connsiteY63469"/>
              </a:cxn>
              <a:cxn ang="0">
                <a:pos x="connsiteX63470" y="connsiteY63470"/>
              </a:cxn>
              <a:cxn ang="0">
                <a:pos x="connsiteX63471" y="connsiteY63471"/>
              </a:cxn>
              <a:cxn ang="0">
                <a:pos x="connsiteX63472" y="connsiteY63472"/>
              </a:cxn>
              <a:cxn ang="0">
                <a:pos x="connsiteX63473" y="connsiteY63473"/>
              </a:cxn>
              <a:cxn ang="0">
                <a:pos x="connsiteX63474" y="connsiteY63474"/>
              </a:cxn>
              <a:cxn ang="0">
                <a:pos x="connsiteX63475" y="connsiteY63475"/>
              </a:cxn>
              <a:cxn ang="0">
                <a:pos x="connsiteX63476" y="connsiteY63476"/>
              </a:cxn>
              <a:cxn ang="0">
                <a:pos x="connsiteX63477" y="connsiteY63477"/>
              </a:cxn>
              <a:cxn ang="0">
                <a:pos x="connsiteX63478" y="connsiteY63478"/>
              </a:cxn>
              <a:cxn ang="0">
                <a:pos x="connsiteX63479" y="connsiteY63479"/>
              </a:cxn>
              <a:cxn ang="0">
                <a:pos x="connsiteX63480" y="connsiteY63480"/>
              </a:cxn>
              <a:cxn ang="0">
                <a:pos x="connsiteX63481" y="connsiteY63481"/>
              </a:cxn>
              <a:cxn ang="0">
                <a:pos x="connsiteX63482" y="connsiteY63482"/>
              </a:cxn>
              <a:cxn ang="0">
                <a:pos x="connsiteX63483" y="connsiteY63483"/>
              </a:cxn>
              <a:cxn ang="0">
                <a:pos x="connsiteX63484" y="connsiteY63484"/>
              </a:cxn>
              <a:cxn ang="0">
                <a:pos x="connsiteX63485" y="connsiteY63485"/>
              </a:cxn>
              <a:cxn ang="0">
                <a:pos x="connsiteX63486" y="connsiteY63486"/>
              </a:cxn>
              <a:cxn ang="0">
                <a:pos x="connsiteX63487" y="connsiteY63487"/>
              </a:cxn>
              <a:cxn ang="0">
                <a:pos x="connsiteX63488" y="connsiteY63488"/>
              </a:cxn>
              <a:cxn ang="0">
                <a:pos x="connsiteX63489" y="connsiteY63489"/>
              </a:cxn>
              <a:cxn ang="0">
                <a:pos x="connsiteX63490" y="connsiteY63490"/>
              </a:cxn>
              <a:cxn ang="0">
                <a:pos x="connsiteX63491" y="connsiteY63491"/>
              </a:cxn>
              <a:cxn ang="0">
                <a:pos x="connsiteX63492" y="connsiteY63492"/>
              </a:cxn>
              <a:cxn ang="0">
                <a:pos x="connsiteX63493" y="connsiteY63493"/>
              </a:cxn>
              <a:cxn ang="0">
                <a:pos x="connsiteX63494" y="connsiteY63494"/>
              </a:cxn>
              <a:cxn ang="0">
                <a:pos x="connsiteX63495" y="connsiteY63495"/>
              </a:cxn>
              <a:cxn ang="0">
                <a:pos x="connsiteX63496" y="connsiteY63496"/>
              </a:cxn>
              <a:cxn ang="0">
                <a:pos x="connsiteX63497" y="connsiteY63497"/>
              </a:cxn>
              <a:cxn ang="0">
                <a:pos x="connsiteX63498" y="connsiteY63498"/>
              </a:cxn>
              <a:cxn ang="0">
                <a:pos x="connsiteX63499" y="connsiteY63499"/>
              </a:cxn>
              <a:cxn ang="0">
                <a:pos x="connsiteX63500" y="connsiteY63500"/>
              </a:cxn>
              <a:cxn ang="0">
                <a:pos x="connsiteX63501" y="connsiteY63501"/>
              </a:cxn>
              <a:cxn ang="0">
                <a:pos x="connsiteX63502" y="connsiteY63502"/>
              </a:cxn>
              <a:cxn ang="0">
                <a:pos x="connsiteX63503" y="connsiteY63503"/>
              </a:cxn>
              <a:cxn ang="0">
                <a:pos x="connsiteX63504" y="connsiteY63504"/>
              </a:cxn>
              <a:cxn ang="0">
                <a:pos x="connsiteX63505" y="connsiteY63505"/>
              </a:cxn>
              <a:cxn ang="0">
                <a:pos x="connsiteX63506" y="connsiteY63506"/>
              </a:cxn>
              <a:cxn ang="0">
                <a:pos x="connsiteX63507" y="connsiteY63507"/>
              </a:cxn>
              <a:cxn ang="0">
                <a:pos x="connsiteX63508" y="connsiteY63508"/>
              </a:cxn>
              <a:cxn ang="0">
                <a:pos x="connsiteX63509" y="connsiteY63509"/>
              </a:cxn>
              <a:cxn ang="0">
                <a:pos x="connsiteX63510" y="connsiteY63510"/>
              </a:cxn>
              <a:cxn ang="0">
                <a:pos x="connsiteX63511" y="connsiteY63511"/>
              </a:cxn>
              <a:cxn ang="0">
                <a:pos x="connsiteX63512" y="connsiteY63512"/>
              </a:cxn>
              <a:cxn ang="0">
                <a:pos x="connsiteX63513" y="connsiteY63513"/>
              </a:cxn>
              <a:cxn ang="0">
                <a:pos x="connsiteX63514" y="connsiteY63514"/>
              </a:cxn>
              <a:cxn ang="0">
                <a:pos x="connsiteX63515" y="connsiteY63515"/>
              </a:cxn>
              <a:cxn ang="0">
                <a:pos x="connsiteX63516" y="connsiteY63516"/>
              </a:cxn>
              <a:cxn ang="0">
                <a:pos x="connsiteX63517" y="connsiteY63517"/>
              </a:cxn>
              <a:cxn ang="0">
                <a:pos x="connsiteX63518" y="connsiteY63518"/>
              </a:cxn>
              <a:cxn ang="0">
                <a:pos x="connsiteX63519" y="connsiteY63519"/>
              </a:cxn>
              <a:cxn ang="0">
                <a:pos x="connsiteX63520" y="connsiteY63520"/>
              </a:cxn>
              <a:cxn ang="0">
                <a:pos x="connsiteX63521" y="connsiteY63521"/>
              </a:cxn>
              <a:cxn ang="0">
                <a:pos x="connsiteX63522" y="connsiteY63522"/>
              </a:cxn>
              <a:cxn ang="0">
                <a:pos x="connsiteX63523" y="connsiteY63523"/>
              </a:cxn>
              <a:cxn ang="0">
                <a:pos x="connsiteX63524" y="connsiteY63524"/>
              </a:cxn>
              <a:cxn ang="0">
                <a:pos x="connsiteX63525" y="connsiteY63525"/>
              </a:cxn>
              <a:cxn ang="0">
                <a:pos x="connsiteX63526" y="connsiteY63526"/>
              </a:cxn>
              <a:cxn ang="0">
                <a:pos x="connsiteX63527" y="connsiteY63527"/>
              </a:cxn>
              <a:cxn ang="0">
                <a:pos x="connsiteX63528" y="connsiteY63528"/>
              </a:cxn>
              <a:cxn ang="0">
                <a:pos x="connsiteX63529" y="connsiteY63529"/>
              </a:cxn>
              <a:cxn ang="0">
                <a:pos x="connsiteX63530" y="connsiteY63530"/>
              </a:cxn>
              <a:cxn ang="0">
                <a:pos x="connsiteX63531" y="connsiteY63531"/>
              </a:cxn>
              <a:cxn ang="0">
                <a:pos x="connsiteX63532" y="connsiteY63532"/>
              </a:cxn>
              <a:cxn ang="0">
                <a:pos x="connsiteX63533" y="connsiteY63533"/>
              </a:cxn>
              <a:cxn ang="0">
                <a:pos x="connsiteX63534" y="connsiteY63534"/>
              </a:cxn>
              <a:cxn ang="0">
                <a:pos x="connsiteX63535" y="connsiteY63535"/>
              </a:cxn>
              <a:cxn ang="0">
                <a:pos x="connsiteX63536" y="connsiteY63536"/>
              </a:cxn>
              <a:cxn ang="0">
                <a:pos x="connsiteX63537" y="connsiteY63537"/>
              </a:cxn>
              <a:cxn ang="0">
                <a:pos x="connsiteX63538" y="connsiteY63538"/>
              </a:cxn>
              <a:cxn ang="0">
                <a:pos x="connsiteX63539" y="connsiteY63539"/>
              </a:cxn>
              <a:cxn ang="0">
                <a:pos x="connsiteX63540" y="connsiteY63540"/>
              </a:cxn>
              <a:cxn ang="0">
                <a:pos x="connsiteX63541" y="connsiteY63541"/>
              </a:cxn>
              <a:cxn ang="0">
                <a:pos x="connsiteX63542" y="connsiteY63542"/>
              </a:cxn>
              <a:cxn ang="0">
                <a:pos x="connsiteX63543" y="connsiteY63543"/>
              </a:cxn>
              <a:cxn ang="0">
                <a:pos x="connsiteX63544" y="connsiteY63544"/>
              </a:cxn>
              <a:cxn ang="0">
                <a:pos x="connsiteX63545" y="connsiteY63545"/>
              </a:cxn>
              <a:cxn ang="0">
                <a:pos x="connsiteX63546" y="connsiteY63546"/>
              </a:cxn>
              <a:cxn ang="0">
                <a:pos x="connsiteX63547" y="connsiteY63547"/>
              </a:cxn>
              <a:cxn ang="0">
                <a:pos x="connsiteX63548" y="connsiteY63548"/>
              </a:cxn>
              <a:cxn ang="0">
                <a:pos x="connsiteX63549" y="connsiteY63549"/>
              </a:cxn>
              <a:cxn ang="0">
                <a:pos x="connsiteX63550" y="connsiteY63550"/>
              </a:cxn>
              <a:cxn ang="0">
                <a:pos x="connsiteX63551" y="connsiteY63551"/>
              </a:cxn>
              <a:cxn ang="0">
                <a:pos x="connsiteX63552" y="connsiteY63552"/>
              </a:cxn>
              <a:cxn ang="0">
                <a:pos x="connsiteX63553" y="connsiteY63553"/>
              </a:cxn>
              <a:cxn ang="0">
                <a:pos x="connsiteX63554" y="connsiteY63554"/>
              </a:cxn>
              <a:cxn ang="0">
                <a:pos x="connsiteX63555" y="connsiteY63555"/>
              </a:cxn>
              <a:cxn ang="0">
                <a:pos x="connsiteX63556" y="connsiteY63556"/>
              </a:cxn>
              <a:cxn ang="0">
                <a:pos x="connsiteX63557" y="connsiteY63557"/>
              </a:cxn>
              <a:cxn ang="0">
                <a:pos x="connsiteX63558" y="connsiteY63558"/>
              </a:cxn>
              <a:cxn ang="0">
                <a:pos x="connsiteX63559" y="connsiteY63559"/>
              </a:cxn>
              <a:cxn ang="0">
                <a:pos x="connsiteX63560" y="connsiteY63560"/>
              </a:cxn>
              <a:cxn ang="0">
                <a:pos x="connsiteX63561" y="connsiteY63561"/>
              </a:cxn>
              <a:cxn ang="0">
                <a:pos x="connsiteX63562" y="connsiteY63562"/>
              </a:cxn>
              <a:cxn ang="0">
                <a:pos x="connsiteX63563" y="connsiteY63563"/>
              </a:cxn>
              <a:cxn ang="0">
                <a:pos x="connsiteX63564" y="connsiteY63564"/>
              </a:cxn>
              <a:cxn ang="0">
                <a:pos x="connsiteX63565" y="connsiteY63565"/>
              </a:cxn>
              <a:cxn ang="0">
                <a:pos x="connsiteX63566" y="connsiteY63566"/>
              </a:cxn>
              <a:cxn ang="0">
                <a:pos x="connsiteX63567" y="connsiteY63567"/>
              </a:cxn>
              <a:cxn ang="0">
                <a:pos x="connsiteX63568" y="connsiteY63568"/>
              </a:cxn>
              <a:cxn ang="0">
                <a:pos x="connsiteX63569" y="connsiteY63569"/>
              </a:cxn>
              <a:cxn ang="0">
                <a:pos x="connsiteX63570" y="connsiteY63570"/>
              </a:cxn>
              <a:cxn ang="0">
                <a:pos x="connsiteX63571" y="connsiteY63571"/>
              </a:cxn>
              <a:cxn ang="0">
                <a:pos x="connsiteX63572" y="connsiteY63572"/>
              </a:cxn>
              <a:cxn ang="0">
                <a:pos x="connsiteX63573" y="connsiteY63573"/>
              </a:cxn>
              <a:cxn ang="0">
                <a:pos x="connsiteX63574" y="connsiteY63574"/>
              </a:cxn>
              <a:cxn ang="0">
                <a:pos x="connsiteX63575" y="connsiteY63575"/>
              </a:cxn>
              <a:cxn ang="0">
                <a:pos x="connsiteX63576" y="connsiteY63576"/>
              </a:cxn>
              <a:cxn ang="0">
                <a:pos x="connsiteX63577" y="connsiteY63577"/>
              </a:cxn>
              <a:cxn ang="0">
                <a:pos x="connsiteX63578" y="connsiteY63578"/>
              </a:cxn>
              <a:cxn ang="0">
                <a:pos x="connsiteX63579" y="connsiteY63579"/>
              </a:cxn>
              <a:cxn ang="0">
                <a:pos x="connsiteX63580" y="connsiteY63580"/>
              </a:cxn>
              <a:cxn ang="0">
                <a:pos x="connsiteX63581" y="connsiteY63581"/>
              </a:cxn>
              <a:cxn ang="0">
                <a:pos x="connsiteX63582" y="connsiteY63582"/>
              </a:cxn>
              <a:cxn ang="0">
                <a:pos x="connsiteX63583" y="connsiteY63583"/>
              </a:cxn>
              <a:cxn ang="0">
                <a:pos x="connsiteX63584" y="connsiteY63584"/>
              </a:cxn>
              <a:cxn ang="0">
                <a:pos x="connsiteX63585" y="connsiteY63585"/>
              </a:cxn>
              <a:cxn ang="0">
                <a:pos x="connsiteX63586" y="connsiteY63586"/>
              </a:cxn>
              <a:cxn ang="0">
                <a:pos x="connsiteX63587" y="connsiteY63587"/>
              </a:cxn>
              <a:cxn ang="0">
                <a:pos x="connsiteX63588" y="connsiteY63588"/>
              </a:cxn>
              <a:cxn ang="0">
                <a:pos x="connsiteX63589" y="connsiteY63589"/>
              </a:cxn>
              <a:cxn ang="0">
                <a:pos x="connsiteX63590" y="connsiteY63590"/>
              </a:cxn>
              <a:cxn ang="0">
                <a:pos x="connsiteX63591" y="connsiteY63591"/>
              </a:cxn>
              <a:cxn ang="0">
                <a:pos x="connsiteX63592" y="connsiteY63592"/>
              </a:cxn>
              <a:cxn ang="0">
                <a:pos x="connsiteX63593" y="connsiteY63593"/>
              </a:cxn>
              <a:cxn ang="0">
                <a:pos x="connsiteX63594" y="connsiteY63594"/>
              </a:cxn>
              <a:cxn ang="0">
                <a:pos x="connsiteX63595" y="connsiteY63595"/>
              </a:cxn>
              <a:cxn ang="0">
                <a:pos x="connsiteX63596" y="connsiteY63596"/>
              </a:cxn>
              <a:cxn ang="0">
                <a:pos x="connsiteX63597" y="connsiteY63597"/>
              </a:cxn>
              <a:cxn ang="0">
                <a:pos x="connsiteX63598" y="connsiteY63598"/>
              </a:cxn>
              <a:cxn ang="0">
                <a:pos x="connsiteX63599" y="connsiteY63599"/>
              </a:cxn>
              <a:cxn ang="0">
                <a:pos x="connsiteX63600" y="connsiteY63600"/>
              </a:cxn>
              <a:cxn ang="0">
                <a:pos x="connsiteX63601" y="connsiteY63601"/>
              </a:cxn>
              <a:cxn ang="0">
                <a:pos x="connsiteX63602" y="connsiteY63602"/>
              </a:cxn>
              <a:cxn ang="0">
                <a:pos x="connsiteX63603" y="connsiteY63603"/>
              </a:cxn>
              <a:cxn ang="0">
                <a:pos x="connsiteX63604" y="connsiteY63604"/>
              </a:cxn>
              <a:cxn ang="0">
                <a:pos x="connsiteX63605" y="connsiteY63605"/>
              </a:cxn>
              <a:cxn ang="0">
                <a:pos x="connsiteX63606" y="connsiteY63606"/>
              </a:cxn>
              <a:cxn ang="0">
                <a:pos x="connsiteX63607" y="connsiteY63607"/>
              </a:cxn>
              <a:cxn ang="0">
                <a:pos x="connsiteX63608" y="connsiteY63608"/>
              </a:cxn>
              <a:cxn ang="0">
                <a:pos x="connsiteX63609" y="connsiteY63609"/>
              </a:cxn>
              <a:cxn ang="0">
                <a:pos x="connsiteX63610" y="connsiteY63610"/>
              </a:cxn>
              <a:cxn ang="0">
                <a:pos x="connsiteX63611" y="connsiteY63611"/>
              </a:cxn>
              <a:cxn ang="0">
                <a:pos x="connsiteX63612" y="connsiteY63612"/>
              </a:cxn>
              <a:cxn ang="0">
                <a:pos x="connsiteX63613" y="connsiteY63613"/>
              </a:cxn>
              <a:cxn ang="0">
                <a:pos x="connsiteX63614" y="connsiteY63614"/>
              </a:cxn>
              <a:cxn ang="0">
                <a:pos x="connsiteX63615" y="connsiteY63615"/>
              </a:cxn>
              <a:cxn ang="0">
                <a:pos x="connsiteX63616" y="connsiteY63616"/>
              </a:cxn>
              <a:cxn ang="0">
                <a:pos x="connsiteX63617" y="connsiteY63617"/>
              </a:cxn>
              <a:cxn ang="0">
                <a:pos x="connsiteX63618" y="connsiteY63618"/>
              </a:cxn>
              <a:cxn ang="0">
                <a:pos x="connsiteX63619" y="connsiteY63619"/>
              </a:cxn>
              <a:cxn ang="0">
                <a:pos x="connsiteX63620" y="connsiteY63620"/>
              </a:cxn>
              <a:cxn ang="0">
                <a:pos x="connsiteX63621" y="connsiteY63621"/>
              </a:cxn>
              <a:cxn ang="0">
                <a:pos x="connsiteX63622" y="connsiteY63622"/>
              </a:cxn>
              <a:cxn ang="0">
                <a:pos x="connsiteX63623" y="connsiteY63623"/>
              </a:cxn>
              <a:cxn ang="0">
                <a:pos x="connsiteX63624" y="connsiteY63624"/>
              </a:cxn>
              <a:cxn ang="0">
                <a:pos x="connsiteX63625" y="connsiteY63625"/>
              </a:cxn>
              <a:cxn ang="0">
                <a:pos x="connsiteX63626" y="connsiteY63626"/>
              </a:cxn>
              <a:cxn ang="0">
                <a:pos x="connsiteX63627" y="connsiteY63627"/>
              </a:cxn>
              <a:cxn ang="0">
                <a:pos x="connsiteX63628" y="connsiteY63628"/>
              </a:cxn>
              <a:cxn ang="0">
                <a:pos x="connsiteX63629" y="connsiteY63629"/>
              </a:cxn>
              <a:cxn ang="0">
                <a:pos x="connsiteX63630" y="connsiteY63630"/>
              </a:cxn>
              <a:cxn ang="0">
                <a:pos x="connsiteX63631" y="connsiteY63631"/>
              </a:cxn>
              <a:cxn ang="0">
                <a:pos x="connsiteX63632" y="connsiteY63632"/>
              </a:cxn>
              <a:cxn ang="0">
                <a:pos x="connsiteX63633" y="connsiteY63633"/>
              </a:cxn>
              <a:cxn ang="0">
                <a:pos x="connsiteX63634" y="connsiteY63634"/>
              </a:cxn>
              <a:cxn ang="0">
                <a:pos x="connsiteX63635" y="connsiteY63635"/>
              </a:cxn>
              <a:cxn ang="0">
                <a:pos x="connsiteX63636" y="connsiteY63636"/>
              </a:cxn>
              <a:cxn ang="0">
                <a:pos x="connsiteX63637" y="connsiteY63637"/>
              </a:cxn>
              <a:cxn ang="0">
                <a:pos x="connsiteX63638" y="connsiteY63638"/>
              </a:cxn>
              <a:cxn ang="0">
                <a:pos x="connsiteX63639" y="connsiteY63639"/>
              </a:cxn>
              <a:cxn ang="0">
                <a:pos x="connsiteX63640" y="connsiteY63640"/>
              </a:cxn>
              <a:cxn ang="0">
                <a:pos x="connsiteX63641" y="connsiteY63641"/>
              </a:cxn>
              <a:cxn ang="0">
                <a:pos x="connsiteX63642" y="connsiteY63642"/>
              </a:cxn>
              <a:cxn ang="0">
                <a:pos x="connsiteX63643" y="connsiteY63643"/>
              </a:cxn>
              <a:cxn ang="0">
                <a:pos x="connsiteX63644" y="connsiteY63644"/>
              </a:cxn>
              <a:cxn ang="0">
                <a:pos x="connsiteX63645" y="connsiteY63645"/>
              </a:cxn>
              <a:cxn ang="0">
                <a:pos x="connsiteX63646" y="connsiteY63646"/>
              </a:cxn>
              <a:cxn ang="0">
                <a:pos x="connsiteX63647" y="connsiteY63647"/>
              </a:cxn>
              <a:cxn ang="0">
                <a:pos x="connsiteX63648" y="connsiteY63648"/>
              </a:cxn>
              <a:cxn ang="0">
                <a:pos x="connsiteX63649" y="connsiteY63649"/>
              </a:cxn>
              <a:cxn ang="0">
                <a:pos x="connsiteX63650" y="connsiteY63650"/>
              </a:cxn>
              <a:cxn ang="0">
                <a:pos x="connsiteX63651" y="connsiteY63651"/>
              </a:cxn>
              <a:cxn ang="0">
                <a:pos x="connsiteX63652" y="connsiteY63652"/>
              </a:cxn>
              <a:cxn ang="0">
                <a:pos x="connsiteX63653" y="connsiteY63653"/>
              </a:cxn>
              <a:cxn ang="0">
                <a:pos x="connsiteX63654" y="connsiteY63654"/>
              </a:cxn>
              <a:cxn ang="0">
                <a:pos x="connsiteX63655" y="connsiteY63655"/>
              </a:cxn>
              <a:cxn ang="0">
                <a:pos x="connsiteX63656" y="connsiteY63656"/>
              </a:cxn>
              <a:cxn ang="0">
                <a:pos x="connsiteX63657" y="connsiteY63657"/>
              </a:cxn>
              <a:cxn ang="0">
                <a:pos x="connsiteX63658" y="connsiteY63658"/>
              </a:cxn>
              <a:cxn ang="0">
                <a:pos x="connsiteX63659" y="connsiteY63659"/>
              </a:cxn>
              <a:cxn ang="0">
                <a:pos x="connsiteX63660" y="connsiteY63660"/>
              </a:cxn>
              <a:cxn ang="0">
                <a:pos x="connsiteX63661" y="connsiteY63661"/>
              </a:cxn>
              <a:cxn ang="0">
                <a:pos x="connsiteX63662" y="connsiteY63662"/>
              </a:cxn>
              <a:cxn ang="0">
                <a:pos x="connsiteX63663" y="connsiteY63663"/>
              </a:cxn>
              <a:cxn ang="0">
                <a:pos x="connsiteX63664" y="connsiteY63664"/>
              </a:cxn>
              <a:cxn ang="0">
                <a:pos x="connsiteX63665" y="connsiteY63665"/>
              </a:cxn>
              <a:cxn ang="0">
                <a:pos x="connsiteX63666" y="connsiteY63666"/>
              </a:cxn>
              <a:cxn ang="0">
                <a:pos x="connsiteX63667" y="connsiteY63667"/>
              </a:cxn>
              <a:cxn ang="0">
                <a:pos x="connsiteX63668" y="connsiteY63668"/>
              </a:cxn>
              <a:cxn ang="0">
                <a:pos x="connsiteX63669" y="connsiteY63669"/>
              </a:cxn>
              <a:cxn ang="0">
                <a:pos x="connsiteX63670" y="connsiteY63670"/>
              </a:cxn>
              <a:cxn ang="0">
                <a:pos x="connsiteX63671" y="connsiteY63671"/>
              </a:cxn>
              <a:cxn ang="0">
                <a:pos x="connsiteX63672" y="connsiteY63672"/>
              </a:cxn>
              <a:cxn ang="0">
                <a:pos x="connsiteX63673" y="connsiteY63673"/>
              </a:cxn>
              <a:cxn ang="0">
                <a:pos x="connsiteX63674" y="connsiteY63674"/>
              </a:cxn>
              <a:cxn ang="0">
                <a:pos x="connsiteX63675" y="connsiteY63675"/>
              </a:cxn>
              <a:cxn ang="0">
                <a:pos x="connsiteX63676" y="connsiteY63676"/>
              </a:cxn>
              <a:cxn ang="0">
                <a:pos x="connsiteX63677" y="connsiteY63677"/>
              </a:cxn>
              <a:cxn ang="0">
                <a:pos x="connsiteX63678" y="connsiteY63678"/>
              </a:cxn>
              <a:cxn ang="0">
                <a:pos x="connsiteX63679" y="connsiteY63679"/>
              </a:cxn>
              <a:cxn ang="0">
                <a:pos x="connsiteX63680" y="connsiteY63680"/>
              </a:cxn>
              <a:cxn ang="0">
                <a:pos x="connsiteX63681" y="connsiteY63681"/>
              </a:cxn>
              <a:cxn ang="0">
                <a:pos x="connsiteX63682" y="connsiteY63682"/>
              </a:cxn>
              <a:cxn ang="0">
                <a:pos x="connsiteX63683" y="connsiteY63683"/>
              </a:cxn>
              <a:cxn ang="0">
                <a:pos x="connsiteX63684" y="connsiteY63684"/>
              </a:cxn>
              <a:cxn ang="0">
                <a:pos x="connsiteX63685" y="connsiteY63685"/>
              </a:cxn>
              <a:cxn ang="0">
                <a:pos x="connsiteX63686" y="connsiteY63686"/>
              </a:cxn>
              <a:cxn ang="0">
                <a:pos x="connsiteX63687" y="connsiteY63687"/>
              </a:cxn>
              <a:cxn ang="0">
                <a:pos x="connsiteX63688" y="connsiteY63688"/>
              </a:cxn>
              <a:cxn ang="0">
                <a:pos x="connsiteX63689" y="connsiteY63689"/>
              </a:cxn>
              <a:cxn ang="0">
                <a:pos x="connsiteX63690" y="connsiteY63690"/>
              </a:cxn>
              <a:cxn ang="0">
                <a:pos x="connsiteX63691" y="connsiteY63691"/>
              </a:cxn>
              <a:cxn ang="0">
                <a:pos x="connsiteX63692" y="connsiteY63692"/>
              </a:cxn>
              <a:cxn ang="0">
                <a:pos x="connsiteX63693" y="connsiteY63693"/>
              </a:cxn>
              <a:cxn ang="0">
                <a:pos x="connsiteX63694" y="connsiteY63694"/>
              </a:cxn>
              <a:cxn ang="0">
                <a:pos x="connsiteX63695" y="connsiteY63695"/>
              </a:cxn>
              <a:cxn ang="0">
                <a:pos x="connsiteX63696" y="connsiteY63696"/>
              </a:cxn>
              <a:cxn ang="0">
                <a:pos x="connsiteX63697" y="connsiteY63697"/>
              </a:cxn>
              <a:cxn ang="0">
                <a:pos x="connsiteX63698" y="connsiteY63698"/>
              </a:cxn>
              <a:cxn ang="0">
                <a:pos x="connsiteX63699" y="connsiteY63699"/>
              </a:cxn>
              <a:cxn ang="0">
                <a:pos x="connsiteX63700" y="connsiteY63700"/>
              </a:cxn>
              <a:cxn ang="0">
                <a:pos x="connsiteX63701" y="connsiteY63701"/>
              </a:cxn>
              <a:cxn ang="0">
                <a:pos x="connsiteX63702" y="connsiteY63702"/>
              </a:cxn>
              <a:cxn ang="0">
                <a:pos x="connsiteX63703" y="connsiteY63703"/>
              </a:cxn>
              <a:cxn ang="0">
                <a:pos x="connsiteX63704" y="connsiteY63704"/>
              </a:cxn>
              <a:cxn ang="0">
                <a:pos x="connsiteX63705" y="connsiteY63705"/>
              </a:cxn>
              <a:cxn ang="0">
                <a:pos x="connsiteX63706" y="connsiteY63706"/>
              </a:cxn>
              <a:cxn ang="0">
                <a:pos x="connsiteX63707" y="connsiteY63707"/>
              </a:cxn>
              <a:cxn ang="0">
                <a:pos x="connsiteX63708" y="connsiteY63708"/>
              </a:cxn>
              <a:cxn ang="0">
                <a:pos x="connsiteX63709" y="connsiteY63709"/>
              </a:cxn>
              <a:cxn ang="0">
                <a:pos x="connsiteX63710" y="connsiteY63710"/>
              </a:cxn>
              <a:cxn ang="0">
                <a:pos x="connsiteX63711" y="connsiteY63711"/>
              </a:cxn>
              <a:cxn ang="0">
                <a:pos x="connsiteX63712" y="connsiteY63712"/>
              </a:cxn>
              <a:cxn ang="0">
                <a:pos x="connsiteX63713" y="connsiteY63713"/>
              </a:cxn>
              <a:cxn ang="0">
                <a:pos x="connsiteX63714" y="connsiteY63714"/>
              </a:cxn>
              <a:cxn ang="0">
                <a:pos x="connsiteX63715" y="connsiteY63715"/>
              </a:cxn>
              <a:cxn ang="0">
                <a:pos x="connsiteX63716" y="connsiteY63716"/>
              </a:cxn>
              <a:cxn ang="0">
                <a:pos x="connsiteX63717" y="connsiteY63717"/>
              </a:cxn>
              <a:cxn ang="0">
                <a:pos x="connsiteX63718" y="connsiteY63718"/>
              </a:cxn>
              <a:cxn ang="0">
                <a:pos x="connsiteX63719" y="connsiteY63719"/>
              </a:cxn>
              <a:cxn ang="0">
                <a:pos x="connsiteX63720" y="connsiteY63720"/>
              </a:cxn>
              <a:cxn ang="0">
                <a:pos x="connsiteX63721" y="connsiteY63721"/>
              </a:cxn>
              <a:cxn ang="0">
                <a:pos x="connsiteX63722" y="connsiteY63722"/>
              </a:cxn>
              <a:cxn ang="0">
                <a:pos x="connsiteX63723" y="connsiteY63723"/>
              </a:cxn>
              <a:cxn ang="0">
                <a:pos x="connsiteX63724" y="connsiteY63724"/>
              </a:cxn>
              <a:cxn ang="0">
                <a:pos x="connsiteX63725" y="connsiteY63725"/>
              </a:cxn>
              <a:cxn ang="0">
                <a:pos x="connsiteX63726" y="connsiteY63726"/>
              </a:cxn>
              <a:cxn ang="0">
                <a:pos x="connsiteX63727" y="connsiteY63727"/>
              </a:cxn>
              <a:cxn ang="0">
                <a:pos x="connsiteX63728" y="connsiteY63728"/>
              </a:cxn>
              <a:cxn ang="0">
                <a:pos x="connsiteX63729" y="connsiteY63729"/>
              </a:cxn>
              <a:cxn ang="0">
                <a:pos x="connsiteX63730" y="connsiteY63730"/>
              </a:cxn>
              <a:cxn ang="0">
                <a:pos x="connsiteX63731" y="connsiteY63731"/>
              </a:cxn>
              <a:cxn ang="0">
                <a:pos x="connsiteX63732" y="connsiteY63732"/>
              </a:cxn>
              <a:cxn ang="0">
                <a:pos x="connsiteX63733" y="connsiteY63733"/>
              </a:cxn>
              <a:cxn ang="0">
                <a:pos x="connsiteX63734" y="connsiteY63734"/>
              </a:cxn>
              <a:cxn ang="0">
                <a:pos x="connsiteX63735" y="connsiteY63735"/>
              </a:cxn>
              <a:cxn ang="0">
                <a:pos x="connsiteX63736" y="connsiteY63736"/>
              </a:cxn>
              <a:cxn ang="0">
                <a:pos x="connsiteX63737" y="connsiteY63737"/>
              </a:cxn>
              <a:cxn ang="0">
                <a:pos x="connsiteX63738" y="connsiteY63738"/>
              </a:cxn>
              <a:cxn ang="0">
                <a:pos x="connsiteX63739" y="connsiteY63739"/>
              </a:cxn>
              <a:cxn ang="0">
                <a:pos x="connsiteX63740" y="connsiteY63740"/>
              </a:cxn>
              <a:cxn ang="0">
                <a:pos x="connsiteX63741" y="connsiteY63741"/>
              </a:cxn>
              <a:cxn ang="0">
                <a:pos x="connsiteX63742" y="connsiteY63742"/>
              </a:cxn>
              <a:cxn ang="0">
                <a:pos x="connsiteX63743" y="connsiteY63743"/>
              </a:cxn>
              <a:cxn ang="0">
                <a:pos x="connsiteX63744" y="connsiteY63744"/>
              </a:cxn>
              <a:cxn ang="0">
                <a:pos x="connsiteX63745" y="connsiteY63745"/>
              </a:cxn>
              <a:cxn ang="0">
                <a:pos x="connsiteX63746" y="connsiteY63746"/>
              </a:cxn>
              <a:cxn ang="0">
                <a:pos x="connsiteX63747" y="connsiteY63747"/>
              </a:cxn>
              <a:cxn ang="0">
                <a:pos x="connsiteX63748" y="connsiteY63748"/>
              </a:cxn>
              <a:cxn ang="0">
                <a:pos x="connsiteX63749" y="connsiteY63749"/>
              </a:cxn>
              <a:cxn ang="0">
                <a:pos x="connsiteX63750" y="connsiteY63750"/>
              </a:cxn>
              <a:cxn ang="0">
                <a:pos x="connsiteX63751" y="connsiteY63751"/>
              </a:cxn>
              <a:cxn ang="0">
                <a:pos x="connsiteX63752" y="connsiteY63752"/>
              </a:cxn>
              <a:cxn ang="0">
                <a:pos x="connsiteX63753" y="connsiteY63753"/>
              </a:cxn>
              <a:cxn ang="0">
                <a:pos x="connsiteX63754" y="connsiteY63754"/>
              </a:cxn>
              <a:cxn ang="0">
                <a:pos x="connsiteX63755" y="connsiteY63755"/>
              </a:cxn>
              <a:cxn ang="0">
                <a:pos x="connsiteX63756" y="connsiteY63756"/>
              </a:cxn>
              <a:cxn ang="0">
                <a:pos x="connsiteX63757" y="connsiteY63757"/>
              </a:cxn>
              <a:cxn ang="0">
                <a:pos x="connsiteX63758" y="connsiteY63758"/>
              </a:cxn>
              <a:cxn ang="0">
                <a:pos x="connsiteX63759" y="connsiteY63759"/>
              </a:cxn>
              <a:cxn ang="0">
                <a:pos x="connsiteX63760" y="connsiteY63760"/>
              </a:cxn>
              <a:cxn ang="0">
                <a:pos x="connsiteX63761" y="connsiteY63761"/>
              </a:cxn>
              <a:cxn ang="0">
                <a:pos x="connsiteX63762" y="connsiteY63762"/>
              </a:cxn>
              <a:cxn ang="0">
                <a:pos x="connsiteX63763" y="connsiteY63763"/>
              </a:cxn>
              <a:cxn ang="0">
                <a:pos x="connsiteX63764" y="connsiteY63764"/>
              </a:cxn>
              <a:cxn ang="0">
                <a:pos x="connsiteX63765" y="connsiteY63765"/>
              </a:cxn>
              <a:cxn ang="0">
                <a:pos x="connsiteX63766" y="connsiteY63766"/>
              </a:cxn>
              <a:cxn ang="0">
                <a:pos x="connsiteX63767" y="connsiteY63767"/>
              </a:cxn>
              <a:cxn ang="0">
                <a:pos x="connsiteX63768" y="connsiteY63768"/>
              </a:cxn>
              <a:cxn ang="0">
                <a:pos x="connsiteX63769" y="connsiteY63769"/>
              </a:cxn>
              <a:cxn ang="0">
                <a:pos x="connsiteX63770" y="connsiteY63770"/>
              </a:cxn>
              <a:cxn ang="0">
                <a:pos x="connsiteX63771" y="connsiteY63771"/>
              </a:cxn>
              <a:cxn ang="0">
                <a:pos x="connsiteX63772" y="connsiteY63772"/>
              </a:cxn>
              <a:cxn ang="0">
                <a:pos x="connsiteX63773" y="connsiteY63773"/>
              </a:cxn>
              <a:cxn ang="0">
                <a:pos x="connsiteX63774" y="connsiteY63774"/>
              </a:cxn>
              <a:cxn ang="0">
                <a:pos x="connsiteX63775" y="connsiteY63775"/>
              </a:cxn>
              <a:cxn ang="0">
                <a:pos x="connsiteX63776" y="connsiteY63776"/>
              </a:cxn>
              <a:cxn ang="0">
                <a:pos x="connsiteX63777" y="connsiteY63777"/>
              </a:cxn>
              <a:cxn ang="0">
                <a:pos x="connsiteX63778" y="connsiteY63778"/>
              </a:cxn>
              <a:cxn ang="0">
                <a:pos x="connsiteX63779" y="connsiteY63779"/>
              </a:cxn>
              <a:cxn ang="0">
                <a:pos x="connsiteX63780" y="connsiteY63780"/>
              </a:cxn>
              <a:cxn ang="0">
                <a:pos x="connsiteX63781" y="connsiteY63781"/>
              </a:cxn>
              <a:cxn ang="0">
                <a:pos x="connsiteX63782" y="connsiteY63782"/>
              </a:cxn>
              <a:cxn ang="0">
                <a:pos x="connsiteX63783" y="connsiteY63783"/>
              </a:cxn>
              <a:cxn ang="0">
                <a:pos x="connsiteX63784" y="connsiteY63784"/>
              </a:cxn>
              <a:cxn ang="0">
                <a:pos x="connsiteX63785" y="connsiteY63785"/>
              </a:cxn>
              <a:cxn ang="0">
                <a:pos x="connsiteX63786" y="connsiteY63786"/>
              </a:cxn>
              <a:cxn ang="0">
                <a:pos x="connsiteX63787" y="connsiteY63787"/>
              </a:cxn>
              <a:cxn ang="0">
                <a:pos x="connsiteX63788" y="connsiteY63788"/>
              </a:cxn>
              <a:cxn ang="0">
                <a:pos x="connsiteX63789" y="connsiteY63789"/>
              </a:cxn>
              <a:cxn ang="0">
                <a:pos x="connsiteX63790" y="connsiteY63790"/>
              </a:cxn>
              <a:cxn ang="0">
                <a:pos x="connsiteX63791" y="connsiteY63791"/>
              </a:cxn>
              <a:cxn ang="0">
                <a:pos x="connsiteX63792" y="connsiteY63792"/>
              </a:cxn>
              <a:cxn ang="0">
                <a:pos x="connsiteX63793" y="connsiteY63793"/>
              </a:cxn>
              <a:cxn ang="0">
                <a:pos x="connsiteX63794" y="connsiteY63794"/>
              </a:cxn>
              <a:cxn ang="0">
                <a:pos x="connsiteX63795" y="connsiteY63795"/>
              </a:cxn>
              <a:cxn ang="0">
                <a:pos x="connsiteX63796" y="connsiteY63796"/>
              </a:cxn>
              <a:cxn ang="0">
                <a:pos x="connsiteX63797" y="connsiteY63797"/>
              </a:cxn>
              <a:cxn ang="0">
                <a:pos x="connsiteX63798" y="connsiteY63798"/>
              </a:cxn>
              <a:cxn ang="0">
                <a:pos x="connsiteX63799" y="connsiteY63799"/>
              </a:cxn>
              <a:cxn ang="0">
                <a:pos x="connsiteX63800" y="connsiteY63800"/>
              </a:cxn>
              <a:cxn ang="0">
                <a:pos x="connsiteX63801" y="connsiteY63801"/>
              </a:cxn>
              <a:cxn ang="0">
                <a:pos x="connsiteX63802" y="connsiteY63802"/>
              </a:cxn>
              <a:cxn ang="0">
                <a:pos x="connsiteX63803" y="connsiteY63803"/>
              </a:cxn>
              <a:cxn ang="0">
                <a:pos x="connsiteX63804" y="connsiteY63804"/>
              </a:cxn>
              <a:cxn ang="0">
                <a:pos x="connsiteX63805" y="connsiteY63805"/>
              </a:cxn>
              <a:cxn ang="0">
                <a:pos x="connsiteX63806" y="connsiteY63806"/>
              </a:cxn>
              <a:cxn ang="0">
                <a:pos x="connsiteX63807" y="connsiteY63807"/>
              </a:cxn>
              <a:cxn ang="0">
                <a:pos x="connsiteX63808" y="connsiteY63808"/>
              </a:cxn>
              <a:cxn ang="0">
                <a:pos x="connsiteX63809" y="connsiteY63809"/>
              </a:cxn>
              <a:cxn ang="0">
                <a:pos x="connsiteX63810" y="connsiteY63810"/>
              </a:cxn>
              <a:cxn ang="0">
                <a:pos x="connsiteX63811" y="connsiteY63811"/>
              </a:cxn>
              <a:cxn ang="0">
                <a:pos x="connsiteX63812" y="connsiteY63812"/>
              </a:cxn>
              <a:cxn ang="0">
                <a:pos x="connsiteX63813" y="connsiteY63813"/>
              </a:cxn>
              <a:cxn ang="0">
                <a:pos x="connsiteX63814" y="connsiteY63814"/>
              </a:cxn>
              <a:cxn ang="0">
                <a:pos x="connsiteX63815" y="connsiteY63815"/>
              </a:cxn>
              <a:cxn ang="0">
                <a:pos x="connsiteX63816" y="connsiteY63816"/>
              </a:cxn>
              <a:cxn ang="0">
                <a:pos x="connsiteX63817" y="connsiteY63817"/>
              </a:cxn>
              <a:cxn ang="0">
                <a:pos x="connsiteX63818" y="connsiteY63818"/>
              </a:cxn>
              <a:cxn ang="0">
                <a:pos x="connsiteX63819" y="connsiteY63819"/>
              </a:cxn>
              <a:cxn ang="0">
                <a:pos x="connsiteX63820" y="connsiteY63820"/>
              </a:cxn>
              <a:cxn ang="0">
                <a:pos x="connsiteX63821" y="connsiteY63821"/>
              </a:cxn>
              <a:cxn ang="0">
                <a:pos x="connsiteX63822" y="connsiteY63822"/>
              </a:cxn>
              <a:cxn ang="0">
                <a:pos x="connsiteX63823" y="connsiteY63823"/>
              </a:cxn>
              <a:cxn ang="0">
                <a:pos x="connsiteX63824" y="connsiteY63824"/>
              </a:cxn>
              <a:cxn ang="0">
                <a:pos x="connsiteX63825" y="connsiteY63825"/>
              </a:cxn>
              <a:cxn ang="0">
                <a:pos x="connsiteX63826" y="connsiteY63826"/>
              </a:cxn>
              <a:cxn ang="0">
                <a:pos x="connsiteX63827" y="connsiteY63827"/>
              </a:cxn>
              <a:cxn ang="0">
                <a:pos x="connsiteX63828" y="connsiteY63828"/>
              </a:cxn>
              <a:cxn ang="0">
                <a:pos x="connsiteX63829" y="connsiteY63829"/>
              </a:cxn>
              <a:cxn ang="0">
                <a:pos x="connsiteX63830" y="connsiteY63830"/>
              </a:cxn>
              <a:cxn ang="0">
                <a:pos x="connsiteX63831" y="connsiteY63831"/>
              </a:cxn>
              <a:cxn ang="0">
                <a:pos x="connsiteX63832" y="connsiteY63832"/>
              </a:cxn>
              <a:cxn ang="0">
                <a:pos x="connsiteX63833" y="connsiteY63833"/>
              </a:cxn>
              <a:cxn ang="0">
                <a:pos x="connsiteX63834" y="connsiteY63834"/>
              </a:cxn>
              <a:cxn ang="0">
                <a:pos x="connsiteX63835" y="connsiteY63835"/>
              </a:cxn>
              <a:cxn ang="0">
                <a:pos x="connsiteX63836" y="connsiteY63836"/>
              </a:cxn>
              <a:cxn ang="0">
                <a:pos x="connsiteX63837" y="connsiteY63837"/>
              </a:cxn>
              <a:cxn ang="0">
                <a:pos x="connsiteX63838" y="connsiteY63838"/>
              </a:cxn>
              <a:cxn ang="0">
                <a:pos x="connsiteX63839" y="connsiteY63839"/>
              </a:cxn>
              <a:cxn ang="0">
                <a:pos x="connsiteX63840" y="connsiteY63840"/>
              </a:cxn>
              <a:cxn ang="0">
                <a:pos x="connsiteX63841" y="connsiteY63841"/>
              </a:cxn>
              <a:cxn ang="0">
                <a:pos x="connsiteX63842" y="connsiteY63842"/>
              </a:cxn>
              <a:cxn ang="0">
                <a:pos x="connsiteX63843" y="connsiteY63843"/>
              </a:cxn>
              <a:cxn ang="0">
                <a:pos x="connsiteX63844" y="connsiteY63844"/>
              </a:cxn>
              <a:cxn ang="0">
                <a:pos x="connsiteX63845" y="connsiteY63845"/>
              </a:cxn>
              <a:cxn ang="0">
                <a:pos x="connsiteX63846" y="connsiteY63846"/>
              </a:cxn>
              <a:cxn ang="0">
                <a:pos x="connsiteX63847" y="connsiteY63847"/>
              </a:cxn>
              <a:cxn ang="0">
                <a:pos x="connsiteX63848" y="connsiteY63848"/>
              </a:cxn>
              <a:cxn ang="0">
                <a:pos x="connsiteX63849" y="connsiteY63849"/>
              </a:cxn>
              <a:cxn ang="0">
                <a:pos x="connsiteX63850" y="connsiteY63850"/>
              </a:cxn>
              <a:cxn ang="0">
                <a:pos x="connsiteX63851" y="connsiteY63851"/>
              </a:cxn>
              <a:cxn ang="0">
                <a:pos x="connsiteX63852" y="connsiteY63852"/>
              </a:cxn>
              <a:cxn ang="0">
                <a:pos x="connsiteX63853" y="connsiteY63853"/>
              </a:cxn>
              <a:cxn ang="0">
                <a:pos x="connsiteX63854" y="connsiteY63854"/>
              </a:cxn>
              <a:cxn ang="0">
                <a:pos x="connsiteX63855" y="connsiteY63855"/>
              </a:cxn>
              <a:cxn ang="0">
                <a:pos x="connsiteX63856" y="connsiteY63856"/>
              </a:cxn>
              <a:cxn ang="0">
                <a:pos x="connsiteX63857" y="connsiteY63857"/>
              </a:cxn>
              <a:cxn ang="0">
                <a:pos x="connsiteX63858" y="connsiteY63858"/>
              </a:cxn>
              <a:cxn ang="0">
                <a:pos x="connsiteX63859" y="connsiteY63859"/>
              </a:cxn>
              <a:cxn ang="0">
                <a:pos x="connsiteX63860" y="connsiteY63860"/>
              </a:cxn>
              <a:cxn ang="0">
                <a:pos x="connsiteX63861" y="connsiteY63861"/>
              </a:cxn>
              <a:cxn ang="0">
                <a:pos x="connsiteX63862" y="connsiteY63862"/>
              </a:cxn>
              <a:cxn ang="0">
                <a:pos x="connsiteX63863" y="connsiteY63863"/>
              </a:cxn>
              <a:cxn ang="0">
                <a:pos x="connsiteX63864" y="connsiteY63864"/>
              </a:cxn>
              <a:cxn ang="0">
                <a:pos x="connsiteX63865" y="connsiteY63865"/>
              </a:cxn>
              <a:cxn ang="0">
                <a:pos x="connsiteX63866" y="connsiteY63866"/>
              </a:cxn>
              <a:cxn ang="0">
                <a:pos x="connsiteX63867" y="connsiteY63867"/>
              </a:cxn>
              <a:cxn ang="0">
                <a:pos x="connsiteX63868" y="connsiteY63868"/>
              </a:cxn>
              <a:cxn ang="0">
                <a:pos x="connsiteX63869" y="connsiteY63869"/>
              </a:cxn>
              <a:cxn ang="0">
                <a:pos x="connsiteX63870" y="connsiteY63870"/>
              </a:cxn>
              <a:cxn ang="0">
                <a:pos x="connsiteX63871" y="connsiteY63871"/>
              </a:cxn>
              <a:cxn ang="0">
                <a:pos x="connsiteX63872" y="connsiteY63872"/>
              </a:cxn>
              <a:cxn ang="0">
                <a:pos x="connsiteX63873" y="connsiteY63873"/>
              </a:cxn>
              <a:cxn ang="0">
                <a:pos x="connsiteX63874" y="connsiteY63874"/>
              </a:cxn>
              <a:cxn ang="0">
                <a:pos x="connsiteX63875" y="connsiteY63875"/>
              </a:cxn>
              <a:cxn ang="0">
                <a:pos x="connsiteX63876" y="connsiteY63876"/>
              </a:cxn>
              <a:cxn ang="0">
                <a:pos x="connsiteX63877" y="connsiteY63877"/>
              </a:cxn>
              <a:cxn ang="0">
                <a:pos x="connsiteX63878" y="connsiteY63878"/>
              </a:cxn>
              <a:cxn ang="0">
                <a:pos x="connsiteX63879" y="connsiteY63879"/>
              </a:cxn>
              <a:cxn ang="0">
                <a:pos x="connsiteX63880" y="connsiteY63880"/>
              </a:cxn>
              <a:cxn ang="0">
                <a:pos x="connsiteX63881" y="connsiteY63881"/>
              </a:cxn>
              <a:cxn ang="0">
                <a:pos x="connsiteX63882" y="connsiteY63882"/>
              </a:cxn>
              <a:cxn ang="0">
                <a:pos x="connsiteX63883" y="connsiteY63883"/>
              </a:cxn>
              <a:cxn ang="0">
                <a:pos x="connsiteX63884" y="connsiteY63884"/>
              </a:cxn>
              <a:cxn ang="0">
                <a:pos x="connsiteX63885" y="connsiteY63885"/>
              </a:cxn>
              <a:cxn ang="0">
                <a:pos x="connsiteX63886" y="connsiteY63886"/>
              </a:cxn>
              <a:cxn ang="0">
                <a:pos x="connsiteX63887" y="connsiteY63887"/>
              </a:cxn>
              <a:cxn ang="0">
                <a:pos x="connsiteX63888" y="connsiteY63888"/>
              </a:cxn>
              <a:cxn ang="0">
                <a:pos x="connsiteX63889" y="connsiteY63889"/>
              </a:cxn>
              <a:cxn ang="0">
                <a:pos x="connsiteX63890" y="connsiteY63890"/>
              </a:cxn>
              <a:cxn ang="0">
                <a:pos x="connsiteX63891" y="connsiteY63891"/>
              </a:cxn>
              <a:cxn ang="0">
                <a:pos x="connsiteX63892" y="connsiteY63892"/>
              </a:cxn>
              <a:cxn ang="0">
                <a:pos x="connsiteX63893" y="connsiteY63893"/>
              </a:cxn>
              <a:cxn ang="0">
                <a:pos x="connsiteX63894" y="connsiteY63894"/>
              </a:cxn>
              <a:cxn ang="0">
                <a:pos x="connsiteX63895" y="connsiteY63895"/>
              </a:cxn>
              <a:cxn ang="0">
                <a:pos x="connsiteX63896" y="connsiteY63896"/>
              </a:cxn>
              <a:cxn ang="0">
                <a:pos x="connsiteX63897" y="connsiteY63897"/>
              </a:cxn>
              <a:cxn ang="0">
                <a:pos x="connsiteX63898" y="connsiteY63898"/>
              </a:cxn>
              <a:cxn ang="0">
                <a:pos x="connsiteX63899" y="connsiteY63899"/>
              </a:cxn>
              <a:cxn ang="0">
                <a:pos x="connsiteX63900" y="connsiteY63900"/>
              </a:cxn>
              <a:cxn ang="0">
                <a:pos x="connsiteX63901" y="connsiteY63901"/>
              </a:cxn>
              <a:cxn ang="0">
                <a:pos x="connsiteX63902" y="connsiteY63902"/>
              </a:cxn>
              <a:cxn ang="0">
                <a:pos x="connsiteX63903" y="connsiteY63903"/>
              </a:cxn>
              <a:cxn ang="0">
                <a:pos x="connsiteX63904" y="connsiteY63904"/>
              </a:cxn>
              <a:cxn ang="0">
                <a:pos x="connsiteX63905" y="connsiteY63905"/>
              </a:cxn>
              <a:cxn ang="0">
                <a:pos x="connsiteX63906" y="connsiteY63906"/>
              </a:cxn>
              <a:cxn ang="0">
                <a:pos x="connsiteX63907" y="connsiteY63907"/>
              </a:cxn>
              <a:cxn ang="0">
                <a:pos x="connsiteX63908" y="connsiteY63908"/>
              </a:cxn>
              <a:cxn ang="0">
                <a:pos x="connsiteX63909" y="connsiteY63909"/>
              </a:cxn>
              <a:cxn ang="0">
                <a:pos x="connsiteX63910" y="connsiteY63910"/>
              </a:cxn>
              <a:cxn ang="0">
                <a:pos x="connsiteX63911" y="connsiteY63911"/>
              </a:cxn>
              <a:cxn ang="0">
                <a:pos x="connsiteX63912" y="connsiteY63912"/>
              </a:cxn>
              <a:cxn ang="0">
                <a:pos x="connsiteX63913" y="connsiteY63913"/>
              </a:cxn>
              <a:cxn ang="0">
                <a:pos x="connsiteX63914" y="connsiteY63914"/>
              </a:cxn>
              <a:cxn ang="0">
                <a:pos x="connsiteX63915" y="connsiteY63915"/>
              </a:cxn>
              <a:cxn ang="0">
                <a:pos x="connsiteX63916" y="connsiteY63916"/>
              </a:cxn>
              <a:cxn ang="0">
                <a:pos x="connsiteX63917" y="connsiteY63917"/>
              </a:cxn>
              <a:cxn ang="0">
                <a:pos x="connsiteX63918" y="connsiteY63918"/>
              </a:cxn>
              <a:cxn ang="0">
                <a:pos x="connsiteX63919" y="connsiteY63919"/>
              </a:cxn>
              <a:cxn ang="0">
                <a:pos x="connsiteX63920" y="connsiteY63920"/>
              </a:cxn>
              <a:cxn ang="0">
                <a:pos x="connsiteX63921" y="connsiteY63921"/>
              </a:cxn>
              <a:cxn ang="0">
                <a:pos x="connsiteX63922" y="connsiteY63922"/>
              </a:cxn>
              <a:cxn ang="0">
                <a:pos x="connsiteX63923" y="connsiteY63923"/>
              </a:cxn>
              <a:cxn ang="0">
                <a:pos x="connsiteX63924" y="connsiteY63924"/>
              </a:cxn>
              <a:cxn ang="0">
                <a:pos x="connsiteX63925" y="connsiteY63925"/>
              </a:cxn>
              <a:cxn ang="0">
                <a:pos x="connsiteX63926" y="connsiteY63926"/>
              </a:cxn>
              <a:cxn ang="0">
                <a:pos x="connsiteX63927" y="connsiteY63927"/>
              </a:cxn>
              <a:cxn ang="0">
                <a:pos x="connsiteX63928" y="connsiteY63928"/>
              </a:cxn>
              <a:cxn ang="0">
                <a:pos x="connsiteX63929" y="connsiteY63929"/>
              </a:cxn>
              <a:cxn ang="0">
                <a:pos x="connsiteX63930" y="connsiteY63930"/>
              </a:cxn>
              <a:cxn ang="0">
                <a:pos x="connsiteX63931" y="connsiteY63931"/>
              </a:cxn>
              <a:cxn ang="0">
                <a:pos x="connsiteX63932" y="connsiteY63932"/>
              </a:cxn>
              <a:cxn ang="0">
                <a:pos x="connsiteX63933" y="connsiteY63933"/>
              </a:cxn>
              <a:cxn ang="0">
                <a:pos x="connsiteX63934" y="connsiteY63934"/>
              </a:cxn>
              <a:cxn ang="0">
                <a:pos x="connsiteX63935" y="connsiteY63935"/>
              </a:cxn>
              <a:cxn ang="0">
                <a:pos x="connsiteX63936" y="connsiteY63936"/>
              </a:cxn>
              <a:cxn ang="0">
                <a:pos x="connsiteX63937" y="connsiteY63937"/>
              </a:cxn>
              <a:cxn ang="0">
                <a:pos x="connsiteX63938" y="connsiteY63938"/>
              </a:cxn>
              <a:cxn ang="0">
                <a:pos x="connsiteX63939" y="connsiteY63939"/>
              </a:cxn>
              <a:cxn ang="0">
                <a:pos x="connsiteX63940" y="connsiteY63940"/>
              </a:cxn>
              <a:cxn ang="0">
                <a:pos x="connsiteX63941" y="connsiteY63941"/>
              </a:cxn>
              <a:cxn ang="0">
                <a:pos x="connsiteX63942" y="connsiteY63942"/>
              </a:cxn>
              <a:cxn ang="0">
                <a:pos x="connsiteX63943" y="connsiteY63943"/>
              </a:cxn>
              <a:cxn ang="0">
                <a:pos x="connsiteX63944" y="connsiteY63944"/>
              </a:cxn>
              <a:cxn ang="0">
                <a:pos x="connsiteX63945" y="connsiteY63945"/>
              </a:cxn>
              <a:cxn ang="0">
                <a:pos x="connsiteX63946" y="connsiteY63946"/>
              </a:cxn>
              <a:cxn ang="0">
                <a:pos x="connsiteX63947" y="connsiteY63947"/>
              </a:cxn>
              <a:cxn ang="0">
                <a:pos x="connsiteX63948" y="connsiteY63948"/>
              </a:cxn>
              <a:cxn ang="0">
                <a:pos x="connsiteX63949" y="connsiteY63949"/>
              </a:cxn>
              <a:cxn ang="0">
                <a:pos x="connsiteX63950" y="connsiteY63950"/>
              </a:cxn>
              <a:cxn ang="0">
                <a:pos x="connsiteX63951" y="connsiteY63951"/>
              </a:cxn>
              <a:cxn ang="0">
                <a:pos x="connsiteX63952" y="connsiteY63952"/>
              </a:cxn>
              <a:cxn ang="0">
                <a:pos x="connsiteX63953" y="connsiteY63953"/>
              </a:cxn>
              <a:cxn ang="0">
                <a:pos x="connsiteX63954" y="connsiteY63954"/>
              </a:cxn>
              <a:cxn ang="0">
                <a:pos x="connsiteX63955" y="connsiteY63955"/>
              </a:cxn>
              <a:cxn ang="0">
                <a:pos x="connsiteX63956" y="connsiteY63956"/>
              </a:cxn>
              <a:cxn ang="0">
                <a:pos x="connsiteX63957" y="connsiteY63957"/>
              </a:cxn>
              <a:cxn ang="0">
                <a:pos x="connsiteX63958" y="connsiteY63958"/>
              </a:cxn>
              <a:cxn ang="0">
                <a:pos x="connsiteX63959" y="connsiteY63959"/>
              </a:cxn>
              <a:cxn ang="0">
                <a:pos x="connsiteX63960" y="connsiteY63960"/>
              </a:cxn>
              <a:cxn ang="0">
                <a:pos x="connsiteX63961" y="connsiteY63961"/>
              </a:cxn>
              <a:cxn ang="0">
                <a:pos x="connsiteX63962" y="connsiteY63962"/>
              </a:cxn>
              <a:cxn ang="0">
                <a:pos x="connsiteX63963" y="connsiteY63963"/>
              </a:cxn>
              <a:cxn ang="0">
                <a:pos x="connsiteX63964" y="connsiteY63964"/>
              </a:cxn>
              <a:cxn ang="0">
                <a:pos x="connsiteX63965" y="connsiteY63965"/>
              </a:cxn>
              <a:cxn ang="0">
                <a:pos x="connsiteX63966" y="connsiteY63966"/>
              </a:cxn>
              <a:cxn ang="0">
                <a:pos x="connsiteX63967" y="connsiteY63967"/>
              </a:cxn>
              <a:cxn ang="0">
                <a:pos x="connsiteX63968" y="connsiteY63968"/>
              </a:cxn>
              <a:cxn ang="0">
                <a:pos x="connsiteX63969" y="connsiteY63969"/>
              </a:cxn>
              <a:cxn ang="0">
                <a:pos x="connsiteX63970" y="connsiteY63970"/>
              </a:cxn>
              <a:cxn ang="0">
                <a:pos x="connsiteX63971" y="connsiteY63971"/>
              </a:cxn>
              <a:cxn ang="0">
                <a:pos x="connsiteX63972" y="connsiteY63972"/>
              </a:cxn>
              <a:cxn ang="0">
                <a:pos x="connsiteX63973" y="connsiteY63973"/>
              </a:cxn>
              <a:cxn ang="0">
                <a:pos x="connsiteX63974" y="connsiteY63974"/>
              </a:cxn>
              <a:cxn ang="0">
                <a:pos x="connsiteX63975" y="connsiteY63975"/>
              </a:cxn>
              <a:cxn ang="0">
                <a:pos x="connsiteX63976" y="connsiteY63976"/>
              </a:cxn>
              <a:cxn ang="0">
                <a:pos x="connsiteX63977" y="connsiteY63977"/>
              </a:cxn>
              <a:cxn ang="0">
                <a:pos x="connsiteX63978" y="connsiteY63978"/>
              </a:cxn>
              <a:cxn ang="0">
                <a:pos x="connsiteX63979" y="connsiteY63979"/>
              </a:cxn>
              <a:cxn ang="0">
                <a:pos x="connsiteX63980" y="connsiteY63980"/>
              </a:cxn>
              <a:cxn ang="0">
                <a:pos x="connsiteX63981" y="connsiteY63981"/>
              </a:cxn>
              <a:cxn ang="0">
                <a:pos x="connsiteX63982" y="connsiteY63982"/>
              </a:cxn>
              <a:cxn ang="0">
                <a:pos x="connsiteX63983" y="connsiteY63983"/>
              </a:cxn>
              <a:cxn ang="0">
                <a:pos x="connsiteX63984" y="connsiteY63984"/>
              </a:cxn>
              <a:cxn ang="0">
                <a:pos x="connsiteX63985" y="connsiteY63985"/>
              </a:cxn>
              <a:cxn ang="0">
                <a:pos x="connsiteX63986" y="connsiteY63986"/>
              </a:cxn>
              <a:cxn ang="0">
                <a:pos x="connsiteX63987" y="connsiteY63987"/>
              </a:cxn>
              <a:cxn ang="0">
                <a:pos x="connsiteX63988" y="connsiteY63988"/>
              </a:cxn>
              <a:cxn ang="0">
                <a:pos x="connsiteX63989" y="connsiteY63989"/>
              </a:cxn>
              <a:cxn ang="0">
                <a:pos x="connsiteX63990" y="connsiteY63990"/>
              </a:cxn>
              <a:cxn ang="0">
                <a:pos x="connsiteX63991" y="connsiteY63991"/>
              </a:cxn>
              <a:cxn ang="0">
                <a:pos x="connsiteX63992" y="connsiteY63992"/>
              </a:cxn>
              <a:cxn ang="0">
                <a:pos x="connsiteX63993" y="connsiteY63993"/>
              </a:cxn>
              <a:cxn ang="0">
                <a:pos x="connsiteX63994" y="connsiteY63994"/>
              </a:cxn>
              <a:cxn ang="0">
                <a:pos x="connsiteX63995" y="connsiteY63995"/>
              </a:cxn>
              <a:cxn ang="0">
                <a:pos x="connsiteX63996" y="connsiteY63996"/>
              </a:cxn>
              <a:cxn ang="0">
                <a:pos x="connsiteX63997" y="connsiteY63997"/>
              </a:cxn>
              <a:cxn ang="0">
                <a:pos x="connsiteX63998" y="connsiteY63998"/>
              </a:cxn>
              <a:cxn ang="0">
                <a:pos x="connsiteX63999" y="connsiteY63999"/>
              </a:cxn>
              <a:cxn ang="0">
                <a:pos x="connsiteX64000" y="connsiteY64000"/>
              </a:cxn>
              <a:cxn ang="0">
                <a:pos x="connsiteX64001" y="connsiteY64001"/>
              </a:cxn>
              <a:cxn ang="0">
                <a:pos x="connsiteX64002" y="connsiteY64002"/>
              </a:cxn>
              <a:cxn ang="0">
                <a:pos x="connsiteX64003" y="connsiteY64003"/>
              </a:cxn>
              <a:cxn ang="0">
                <a:pos x="connsiteX64004" y="connsiteY64004"/>
              </a:cxn>
              <a:cxn ang="0">
                <a:pos x="connsiteX64005" y="connsiteY64005"/>
              </a:cxn>
              <a:cxn ang="0">
                <a:pos x="connsiteX64006" y="connsiteY64006"/>
              </a:cxn>
              <a:cxn ang="0">
                <a:pos x="connsiteX64007" y="connsiteY64007"/>
              </a:cxn>
              <a:cxn ang="0">
                <a:pos x="connsiteX64008" y="connsiteY64008"/>
              </a:cxn>
              <a:cxn ang="0">
                <a:pos x="connsiteX64009" y="connsiteY64009"/>
              </a:cxn>
              <a:cxn ang="0">
                <a:pos x="connsiteX64010" y="connsiteY64010"/>
              </a:cxn>
              <a:cxn ang="0">
                <a:pos x="connsiteX64011" y="connsiteY64011"/>
              </a:cxn>
              <a:cxn ang="0">
                <a:pos x="connsiteX64012" y="connsiteY64012"/>
              </a:cxn>
              <a:cxn ang="0">
                <a:pos x="connsiteX64013" y="connsiteY64013"/>
              </a:cxn>
              <a:cxn ang="0">
                <a:pos x="connsiteX64014" y="connsiteY64014"/>
              </a:cxn>
              <a:cxn ang="0">
                <a:pos x="connsiteX64015" y="connsiteY64015"/>
              </a:cxn>
              <a:cxn ang="0">
                <a:pos x="connsiteX64016" y="connsiteY64016"/>
              </a:cxn>
              <a:cxn ang="0">
                <a:pos x="connsiteX64017" y="connsiteY64017"/>
              </a:cxn>
              <a:cxn ang="0">
                <a:pos x="connsiteX64018" y="connsiteY64018"/>
              </a:cxn>
              <a:cxn ang="0">
                <a:pos x="connsiteX64019" y="connsiteY64019"/>
              </a:cxn>
              <a:cxn ang="0">
                <a:pos x="connsiteX64020" y="connsiteY64020"/>
              </a:cxn>
              <a:cxn ang="0">
                <a:pos x="connsiteX64021" y="connsiteY64021"/>
              </a:cxn>
              <a:cxn ang="0">
                <a:pos x="connsiteX64022" y="connsiteY64022"/>
              </a:cxn>
              <a:cxn ang="0">
                <a:pos x="connsiteX64023" y="connsiteY64023"/>
              </a:cxn>
              <a:cxn ang="0">
                <a:pos x="connsiteX64024" y="connsiteY64024"/>
              </a:cxn>
              <a:cxn ang="0">
                <a:pos x="connsiteX64025" y="connsiteY64025"/>
              </a:cxn>
              <a:cxn ang="0">
                <a:pos x="connsiteX64026" y="connsiteY64026"/>
              </a:cxn>
              <a:cxn ang="0">
                <a:pos x="connsiteX64027" y="connsiteY64027"/>
              </a:cxn>
              <a:cxn ang="0">
                <a:pos x="connsiteX64028" y="connsiteY64028"/>
              </a:cxn>
              <a:cxn ang="0">
                <a:pos x="connsiteX64029" y="connsiteY64029"/>
              </a:cxn>
              <a:cxn ang="0">
                <a:pos x="connsiteX64030" y="connsiteY64030"/>
              </a:cxn>
              <a:cxn ang="0">
                <a:pos x="connsiteX64031" y="connsiteY64031"/>
              </a:cxn>
              <a:cxn ang="0">
                <a:pos x="connsiteX64032" y="connsiteY64032"/>
              </a:cxn>
              <a:cxn ang="0">
                <a:pos x="connsiteX64033" y="connsiteY64033"/>
              </a:cxn>
              <a:cxn ang="0">
                <a:pos x="connsiteX64034" y="connsiteY64034"/>
              </a:cxn>
              <a:cxn ang="0">
                <a:pos x="connsiteX64035" y="connsiteY64035"/>
              </a:cxn>
              <a:cxn ang="0">
                <a:pos x="connsiteX64036" y="connsiteY64036"/>
              </a:cxn>
              <a:cxn ang="0">
                <a:pos x="connsiteX64037" y="connsiteY64037"/>
              </a:cxn>
              <a:cxn ang="0">
                <a:pos x="connsiteX64038" y="connsiteY64038"/>
              </a:cxn>
              <a:cxn ang="0">
                <a:pos x="connsiteX64039" y="connsiteY64039"/>
              </a:cxn>
              <a:cxn ang="0">
                <a:pos x="connsiteX64040" y="connsiteY64040"/>
              </a:cxn>
              <a:cxn ang="0">
                <a:pos x="connsiteX64041" y="connsiteY64041"/>
              </a:cxn>
              <a:cxn ang="0">
                <a:pos x="connsiteX64042" y="connsiteY64042"/>
              </a:cxn>
              <a:cxn ang="0">
                <a:pos x="connsiteX64043" y="connsiteY64043"/>
              </a:cxn>
              <a:cxn ang="0">
                <a:pos x="connsiteX64044" y="connsiteY64044"/>
              </a:cxn>
              <a:cxn ang="0">
                <a:pos x="connsiteX64045" y="connsiteY64045"/>
              </a:cxn>
              <a:cxn ang="0">
                <a:pos x="connsiteX64046" y="connsiteY64046"/>
              </a:cxn>
              <a:cxn ang="0">
                <a:pos x="connsiteX64047" y="connsiteY64047"/>
              </a:cxn>
              <a:cxn ang="0">
                <a:pos x="connsiteX64048" y="connsiteY64048"/>
              </a:cxn>
              <a:cxn ang="0">
                <a:pos x="connsiteX64049" y="connsiteY64049"/>
              </a:cxn>
              <a:cxn ang="0">
                <a:pos x="connsiteX64050" y="connsiteY64050"/>
              </a:cxn>
              <a:cxn ang="0">
                <a:pos x="connsiteX64051" y="connsiteY64051"/>
              </a:cxn>
              <a:cxn ang="0">
                <a:pos x="connsiteX64052" y="connsiteY64052"/>
              </a:cxn>
              <a:cxn ang="0">
                <a:pos x="connsiteX64053" y="connsiteY64053"/>
              </a:cxn>
              <a:cxn ang="0">
                <a:pos x="connsiteX64054" y="connsiteY64054"/>
              </a:cxn>
              <a:cxn ang="0">
                <a:pos x="connsiteX64055" y="connsiteY64055"/>
              </a:cxn>
              <a:cxn ang="0">
                <a:pos x="connsiteX64056" y="connsiteY64056"/>
              </a:cxn>
              <a:cxn ang="0">
                <a:pos x="connsiteX64057" y="connsiteY64057"/>
              </a:cxn>
              <a:cxn ang="0">
                <a:pos x="connsiteX64058" y="connsiteY64058"/>
              </a:cxn>
              <a:cxn ang="0">
                <a:pos x="connsiteX64059" y="connsiteY64059"/>
              </a:cxn>
              <a:cxn ang="0">
                <a:pos x="connsiteX64060" y="connsiteY64060"/>
              </a:cxn>
              <a:cxn ang="0">
                <a:pos x="connsiteX64061" y="connsiteY64061"/>
              </a:cxn>
              <a:cxn ang="0">
                <a:pos x="connsiteX64062" y="connsiteY64062"/>
              </a:cxn>
              <a:cxn ang="0">
                <a:pos x="connsiteX64063" y="connsiteY64063"/>
              </a:cxn>
              <a:cxn ang="0">
                <a:pos x="connsiteX64064" y="connsiteY64064"/>
              </a:cxn>
              <a:cxn ang="0">
                <a:pos x="connsiteX64065" y="connsiteY64065"/>
              </a:cxn>
              <a:cxn ang="0">
                <a:pos x="connsiteX64066" y="connsiteY64066"/>
              </a:cxn>
              <a:cxn ang="0">
                <a:pos x="connsiteX64067" y="connsiteY64067"/>
              </a:cxn>
              <a:cxn ang="0">
                <a:pos x="connsiteX64068" y="connsiteY64068"/>
              </a:cxn>
              <a:cxn ang="0">
                <a:pos x="connsiteX64069" y="connsiteY64069"/>
              </a:cxn>
              <a:cxn ang="0">
                <a:pos x="connsiteX64070" y="connsiteY64070"/>
              </a:cxn>
              <a:cxn ang="0">
                <a:pos x="connsiteX64071" y="connsiteY64071"/>
              </a:cxn>
              <a:cxn ang="0">
                <a:pos x="connsiteX64072" y="connsiteY64072"/>
              </a:cxn>
              <a:cxn ang="0">
                <a:pos x="connsiteX64073" y="connsiteY64073"/>
              </a:cxn>
              <a:cxn ang="0">
                <a:pos x="connsiteX64074" y="connsiteY64074"/>
              </a:cxn>
              <a:cxn ang="0">
                <a:pos x="connsiteX64075" y="connsiteY64075"/>
              </a:cxn>
              <a:cxn ang="0">
                <a:pos x="connsiteX64076" y="connsiteY64076"/>
              </a:cxn>
              <a:cxn ang="0">
                <a:pos x="connsiteX64077" y="connsiteY64077"/>
              </a:cxn>
              <a:cxn ang="0">
                <a:pos x="connsiteX64078" y="connsiteY64078"/>
              </a:cxn>
              <a:cxn ang="0">
                <a:pos x="connsiteX64079" y="connsiteY64079"/>
              </a:cxn>
              <a:cxn ang="0">
                <a:pos x="connsiteX64080" y="connsiteY64080"/>
              </a:cxn>
              <a:cxn ang="0">
                <a:pos x="connsiteX64081" y="connsiteY64081"/>
              </a:cxn>
              <a:cxn ang="0">
                <a:pos x="connsiteX64082" y="connsiteY64082"/>
              </a:cxn>
              <a:cxn ang="0">
                <a:pos x="connsiteX64083" y="connsiteY64083"/>
              </a:cxn>
              <a:cxn ang="0">
                <a:pos x="connsiteX64084" y="connsiteY64084"/>
              </a:cxn>
              <a:cxn ang="0">
                <a:pos x="connsiteX64085" y="connsiteY64085"/>
              </a:cxn>
              <a:cxn ang="0">
                <a:pos x="connsiteX64086" y="connsiteY64086"/>
              </a:cxn>
              <a:cxn ang="0">
                <a:pos x="connsiteX64087" y="connsiteY64087"/>
              </a:cxn>
              <a:cxn ang="0">
                <a:pos x="connsiteX64088" y="connsiteY64088"/>
              </a:cxn>
              <a:cxn ang="0">
                <a:pos x="connsiteX64089" y="connsiteY64089"/>
              </a:cxn>
              <a:cxn ang="0">
                <a:pos x="connsiteX64090" y="connsiteY64090"/>
              </a:cxn>
              <a:cxn ang="0">
                <a:pos x="connsiteX64091" y="connsiteY64091"/>
              </a:cxn>
              <a:cxn ang="0">
                <a:pos x="connsiteX64092" y="connsiteY64092"/>
              </a:cxn>
              <a:cxn ang="0">
                <a:pos x="connsiteX64093" y="connsiteY64093"/>
              </a:cxn>
              <a:cxn ang="0">
                <a:pos x="connsiteX64094" y="connsiteY64094"/>
              </a:cxn>
              <a:cxn ang="0">
                <a:pos x="connsiteX64095" y="connsiteY64095"/>
              </a:cxn>
              <a:cxn ang="0">
                <a:pos x="connsiteX64096" y="connsiteY64096"/>
              </a:cxn>
              <a:cxn ang="0">
                <a:pos x="connsiteX64097" y="connsiteY64097"/>
              </a:cxn>
              <a:cxn ang="0">
                <a:pos x="connsiteX64098" y="connsiteY64098"/>
              </a:cxn>
              <a:cxn ang="0">
                <a:pos x="connsiteX64099" y="connsiteY64099"/>
              </a:cxn>
              <a:cxn ang="0">
                <a:pos x="connsiteX64100" y="connsiteY64100"/>
              </a:cxn>
              <a:cxn ang="0">
                <a:pos x="connsiteX64101" y="connsiteY64101"/>
              </a:cxn>
              <a:cxn ang="0">
                <a:pos x="connsiteX64102" y="connsiteY64102"/>
              </a:cxn>
              <a:cxn ang="0">
                <a:pos x="connsiteX64103" y="connsiteY64103"/>
              </a:cxn>
              <a:cxn ang="0">
                <a:pos x="connsiteX64104" y="connsiteY64104"/>
              </a:cxn>
              <a:cxn ang="0">
                <a:pos x="connsiteX64105" y="connsiteY64105"/>
              </a:cxn>
              <a:cxn ang="0">
                <a:pos x="connsiteX64106" y="connsiteY64106"/>
              </a:cxn>
              <a:cxn ang="0">
                <a:pos x="connsiteX64107" y="connsiteY64107"/>
              </a:cxn>
              <a:cxn ang="0">
                <a:pos x="connsiteX64108" y="connsiteY64108"/>
              </a:cxn>
              <a:cxn ang="0">
                <a:pos x="connsiteX64109" y="connsiteY64109"/>
              </a:cxn>
              <a:cxn ang="0">
                <a:pos x="connsiteX64110" y="connsiteY64110"/>
              </a:cxn>
              <a:cxn ang="0">
                <a:pos x="connsiteX64111" y="connsiteY64111"/>
              </a:cxn>
              <a:cxn ang="0">
                <a:pos x="connsiteX64112" y="connsiteY64112"/>
              </a:cxn>
              <a:cxn ang="0">
                <a:pos x="connsiteX64113" y="connsiteY64113"/>
              </a:cxn>
              <a:cxn ang="0">
                <a:pos x="connsiteX64114" y="connsiteY64114"/>
              </a:cxn>
              <a:cxn ang="0">
                <a:pos x="connsiteX64115" y="connsiteY64115"/>
              </a:cxn>
              <a:cxn ang="0">
                <a:pos x="connsiteX64116" y="connsiteY64116"/>
              </a:cxn>
              <a:cxn ang="0">
                <a:pos x="connsiteX64117" y="connsiteY64117"/>
              </a:cxn>
              <a:cxn ang="0">
                <a:pos x="connsiteX64118" y="connsiteY64118"/>
              </a:cxn>
              <a:cxn ang="0">
                <a:pos x="connsiteX64119" y="connsiteY64119"/>
              </a:cxn>
              <a:cxn ang="0">
                <a:pos x="connsiteX64120" y="connsiteY64120"/>
              </a:cxn>
              <a:cxn ang="0">
                <a:pos x="connsiteX64121" y="connsiteY64121"/>
              </a:cxn>
              <a:cxn ang="0">
                <a:pos x="connsiteX64122" y="connsiteY64122"/>
              </a:cxn>
              <a:cxn ang="0">
                <a:pos x="connsiteX64123" y="connsiteY64123"/>
              </a:cxn>
              <a:cxn ang="0">
                <a:pos x="connsiteX64124" y="connsiteY64124"/>
              </a:cxn>
              <a:cxn ang="0">
                <a:pos x="connsiteX64125" y="connsiteY64125"/>
              </a:cxn>
              <a:cxn ang="0">
                <a:pos x="connsiteX64126" y="connsiteY64126"/>
              </a:cxn>
              <a:cxn ang="0">
                <a:pos x="connsiteX64127" y="connsiteY64127"/>
              </a:cxn>
              <a:cxn ang="0">
                <a:pos x="connsiteX64128" y="connsiteY64128"/>
              </a:cxn>
              <a:cxn ang="0">
                <a:pos x="connsiteX64129" y="connsiteY64129"/>
              </a:cxn>
              <a:cxn ang="0">
                <a:pos x="connsiteX64130" y="connsiteY64130"/>
              </a:cxn>
              <a:cxn ang="0">
                <a:pos x="connsiteX64131" y="connsiteY64131"/>
              </a:cxn>
              <a:cxn ang="0">
                <a:pos x="connsiteX64132" y="connsiteY64132"/>
              </a:cxn>
              <a:cxn ang="0">
                <a:pos x="connsiteX64133" y="connsiteY64133"/>
              </a:cxn>
              <a:cxn ang="0">
                <a:pos x="connsiteX64134" y="connsiteY64134"/>
              </a:cxn>
              <a:cxn ang="0">
                <a:pos x="connsiteX64135" y="connsiteY64135"/>
              </a:cxn>
              <a:cxn ang="0">
                <a:pos x="connsiteX64136" y="connsiteY64136"/>
              </a:cxn>
              <a:cxn ang="0">
                <a:pos x="connsiteX64137" y="connsiteY64137"/>
              </a:cxn>
              <a:cxn ang="0">
                <a:pos x="connsiteX64138" y="connsiteY64138"/>
              </a:cxn>
              <a:cxn ang="0">
                <a:pos x="connsiteX64139" y="connsiteY64139"/>
              </a:cxn>
              <a:cxn ang="0">
                <a:pos x="connsiteX64140" y="connsiteY64140"/>
              </a:cxn>
              <a:cxn ang="0">
                <a:pos x="connsiteX64141" y="connsiteY64141"/>
              </a:cxn>
              <a:cxn ang="0">
                <a:pos x="connsiteX64142" y="connsiteY64142"/>
              </a:cxn>
              <a:cxn ang="0">
                <a:pos x="connsiteX64143" y="connsiteY64143"/>
              </a:cxn>
              <a:cxn ang="0">
                <a:pos x="connsiteX64144" y="connsiteY64144"/>
              </a:cxn>
              <a:cxn ang="0">
                <a:pos x="connsiteX64145" y="connsiteY64145"/>
              </a:cxn>
              <a:cxn ang="0">
                <a:pos x="connsiteX64146" y="connsiteY64146"/>
              </a:cxn>
              <a:cxn ang="0">
                <a:pos x="connsiteX64147" y="connsiteY64147"/>
              </a:cxn>
              <a:cxn ang="0">
                <a:pos x="connsiteX64148" y="connsiteY64148"/>
              </a:cxn>
              <a:cxn ang="0">
                <a:pos x="connsiteX64149" y="connsiteY64149"/>
              </a:cxn>
              <a:cxn ang="0">
                <a:pos x="connsiteX64150" y="connsiteY64150"/>
              </a:cxn>
              <a:cxn ang="0">
                <a:pos x="connsiteX64151" y="connsiteY64151"/>
              </a:cxn>
              <a:cxn ang="0">
                <a:pos x="connsiteX64152" y="connsiteY64152"/>
              </a:cxn>
              <a:cxn ang="0">
                <a:pos x="connsiteX64153" y="connsiteY64153"/>
              </a:cxn>
              <a:cxn ang="0">
                <a:pos x="connsiteX64154" y="connsiteY64154"/>
              </a:cxn>
              <a:cxn ang="0">
                <a:pos x="connsiteX64155" y="connsiteY64155"/>
              </a:cxn>
              <a:cxn ang="0">
                <a:pos x="connsiteX64156" y="connsiteY64156"/>
              </a:cxn>
              <a:cxn ang="0">
                <a:pos x="connsiteX64157" y="connsiteY64157"/>
              </a:cxn>
              <a:cxn ang="0">
                <a:pos x="connsiteX64158" y="connsiteY64158"/>
              </a:cxn>
              <a:cxn ang="0">
                <a:pos x="connsiteX64159" y="connsiteY64159"/>
              </a:cxn>
              <a:cxn ang="0">
                <a:pos x="connsiteX64160" y="connsiteY64160"/>
              </a:cxn>
              <a:cxn ang="0">
                <a:pos x="connsiteX64161" y="connsiteY64161"/>
              </a:cxn>
              <a:cxn ang="0">
                <a:pos x="connsiteX64162" y="connsiteY64162"/>
              </a:cxn>
              <a:cxn ang="0">
                <a:pos x="connsiteX64163" y="connsiteY64163"/>
              </a:cxn>
              <a:cxn ang="0">
                <a:pos x="connsiteX64164" y="connsiteY64164"/>
              </a:cxn>
              <a:cxn ang="0">
                <a:pos x="connsiteX64165" y="connsiteY64165"/>
              </a:cxn>
              <a:cxn ang="0">
                <a:pos x="connsiteX64166" y="connsiteY64166"/>
              </a:cxn>
              <a:cxn ang="0">
                <a:pos x="connsiteX64167" y="connsiteY64167"/>
              </a:cxn>
              <a:cxn ang="0">
                <a:pos x="connsiteX64168" y="connsiteY64168"/>
              </a:cxn>
              <a:cxn ang="0">
                <a:pos x="connsiteX64169" y="connsiteY64169"/>
              </a:cxn>
              <a:cxn ang="0">
                <a:pos x="connsiteX64170" y="connsiteY64170"/>
              </a:cxn>
              <a:cxn ang="0">
                <a:pos x="connsiteX64171" y="connsiteY64171"/>
              </a:cxn>
              <a:cxn ang="0">
                <a:pos x="connsiteX64172" y="connsiteY64172"/>
              </a:cxn>
              <a:cxn ang="0">
                <a:pos x="connsiteX64173" y="connsiteY64173"/>
              </a:cxn>
              <a:cxn ang="0">
                <a:pos x="connsiteX64174" y="connsiteY64174"/>
              </a:cxn>
              <a:cxn ang="0">
                <a:pos x="connsiteX64175" y="connsiteY64175"/>
              </a:cxn>
              <a:cxn ang="0">
                <a:pos x="connsiteX64176" y="connsiteY64176"/>
              </a:cxn>
              <a:cxn ang="0">
                <a:pos x="connsiteX64177" y="connsiteY64177"/>
              </a:cxn>
              <a:cxn ang="0">
                <a:pos x="connsiteX64178" y="connsiteY64178"/>
              </a:cxn>
              <a:cxn ang="0">
                <a:pos x="connsiteX64179" y="connsiteY64179"/>
              </a:cxn>
              <a:cxn ang="0">
                <a:pos x="connsiteX64180" y="connsiteY64180"/>
              </a:cxn>
              <a:cxn ang="0">
                <a:pos x="connsiteX64181" y="connsiteY64181"/>
              </a:cxn>
              <a:cxn ang="0">
                <a:pos x="connsiteX64182" y="connsiteY64182"/>
              </a:cxn>
              <a:cxn ang="0">
                <a:pos x="connsiteX64183" y="connsiteY64183"/>
              </a:cxn>
              <a:cxn ang="0">
                <a:pos x="connsiteX64184" y="connsiteY64184"/>
              </a:cxn>
              <a:cxn ang="0">
                <a:pos x="connsiteX64185" y="connsiteY64185"/>
              </a:cxn>
              <a:cxn ang="0">
                <a:pos x="connsiteX64186" y="connsiteY64186"/>
              </a:cxn>
              <a:cxn ang="0">
                <a:pos x="connsiteX64187" y="connsiteY64187"/>
              </a:cxn>
              <a:cxn ang="0">
                <a:pos x="connsiteX64188" y="connsiteY64188"/>
              </a:cxn>
              <a:cxn ang="0">
                <a:pos x="connsiteX64189" y="connsiteY64189"/>
              </a:cxn>
              <a:cxn ang="0">
                <a:pos x="connsiteX64190" y="connsiteY64190"/>
              </a:cxn>
              <a:cxn ang="0">
                <a:pos x="connsiteX64191" y="connsiteY64191"/>
              </a:cxn>
              <a:cxn ang="0">
                <a:pos x="connsiteX64192" y="connsiteY64192"/>
              </a:cxn>
              <a:cxn ang="0">
                <a:pos x="connsiteX64193" y="connsiteY64193"/>
              </a:cxn>
              <a:cxn ang="0">
                <a:pos x="connsiteX64194" y="connsiteY64194"/>
              </a:cxn>
              <a:cxn ang="0">
                <a:pos x="connsiteX64195" y="connsiteY64195"/>
              </a:cxn>
              <a:cxn ang="0">
                <a:pos x="connsiteX64196" y="connsiteY64196"/>
              </a:cxn>
              <a:cxn ang="0">
                <a:pos x="connsiteX64197" y="connsiteY64197"/>
              </a:cxn>
              <a:cxn ang="0">
                <a:pos x="connsiteX64198" y="connsiteY64198"/>
              </a:cxn>
              <a:cxn ang="0">
                <a:pos x="connsiteX64199" y="connsiteY64199"/>
              </a:cxn>
              <a:cxn ang="0">
                <a:pos x="connsiteX64200" y="connsiteY64200"/>
              </a:cxn>
              <a:cxn ang="0">
                <a:pos x="connsiteX64201" y="connsiteY64201"/>
              </a:cxn>
              <a:cxn ang="0">
                <a:pos x="connsiteX64202" y="connsiteY64202"/>
              </a:cxn>
              <a:cxn ang="0">
                <a:pos x="connsiteX64203" y="connsiteY64203"/>
              </a:cxn>
              <a:cxn ang="0">
                <a:pos x="connsiteX64204" y="connsiteY64204"/>
              </a:cxn>
              <a:cxn ang="0">
                <a:pos x="connsiteX64205" y="connsiteY64205"/>
              </a:cxn>
              <a:cxn ang="0">
                <a:pos x="connsiteX64206" y="connsiteY64206"/>
              </a:cxn>
              <a:cxn ang="0">
                <a:pos x="connsiteX64207" y="connsiteY64207"/>
              </a:cxn>
              <a:cxn ang="0">
                <a:pos x="connsiteX64208" y="connsiteY64208"/>
              </a:cxn>
              <a:cxn ang="0">
                <a:pos x="connsiteX64209" y="connsiteY64209"/>
              </a:cxn>
              <a:cxn ang="0">
                <a:pos x="connsiteX64210" y="connsiteY64210"/>
              </a:cxn>
              <a:cxn ang="0">
                <a:pos x="connsiteX64211" y="connsiteY64211"/>
              </a:cxn>
              <a:cxn ang="0">
                <a:pos x="connsiteX64212" y="connsiteY64212"/>
              </a:cxn>
              <a:cxn ang="0">
                <a:pos x="connsiteX64213" y="connsiteY64213"/>
              </a:cxn>
              <a:cxn ang="0">
                <a:pos x="connsiteX64214" y="connsiteY64214"/>
              </a:cxn>
              <a:cxn ang="0">
                <a:pos x="connsiteX64215" y="connsiteY64215"/>
              </a:cxn>
              <a:cxn ang="0">
                <a:pos x="connsiteX64216" y="connsiteY64216"/>
              </a:cxn>
              <a:cxn ang="0">
                <a:pos x="connsiteX64217" y="connsiteY64217"/>
              </a:cxn>
              <a:cxn ang="0">
                <a:pos x="connsiteX64218" y="connsiteY64218"/>
              </a:cxn>
              <a:cxn ang="0">
                <a:pos x="connsiteX64219" y="connsiteY64219"/>
              </a:cxn>
              <a:cxn ang="0">
                <a:pos x="connsiteX64220" y="connsiteY64220"/>
              </a:cxn>
              <a:cxn ang="0">
                <a:pos x="connsiteX64221" y="connsiteY64221"/>
              </a:cxn>
              <a:cxn ang="0">
                <a:pos x="connsiteX64222" y="connsiteY64222"/>
              </a:cxn>
              <a:cxn ang="0">
                <a:pos x="connsiteX64223" y="connsiteY64223"/>
              </a:cxn>
              <a:cxn ang="0">
                <a:pos x="connsiteX64224" y="connsiteY64224"/>
              </a:cxn>
              <a:cxn ang="0">
                <a:pos x="connsiteX64225" y="connsiteY64225"/>
              </a:cxn>
              <a:cxn ang="0">
                <a:pos x="connsiteX64226" y="connsiteY64226"/>
              </a:cxn>
              <a:cxn ang="0">
                <a:pos x="connsiteX64227" y="connsiteY64227"/>
              </a:cxn>
              <a:cxn ang="0">
                <a:pos x="connsiteX64228" y="connsiteY64228"/>
              </a:cxn>
              <a:cxn ang="0">
                <a:pos x="connsiteX64229" y="connsiteY64229"/>
              </a:cxn>
              <a:cxn ang="0">
                <a:pos x="connsiteX64230" y="connsiteY64230"/>
              </a:cxn>
              <a:cxn ang="0">
                <a:pos x="connsiteX64231" y="connsiteY64231"/>
              </a:cxn>
              <a:cxn ang="0">
                <a:pos x="connsiteX64232" y="connsiteY64232"/>
              </a:cxn>
              <a:cxn ang="0">
                <a:pos x="connsiteX64233" y="connsiteY64233"/>
              </a:cxn>
              <a:cxn ang="0">
                <a:pos x="connsiteX64234" y="connsiteY64234"/>
              </a:cxn>
              <a:cxn ang="0">
                <a:pos x="connsiteX64235" y="connsiteY64235"/>
              </a:cxn>
              <a:cxn ang="0">
                <a:pos x="connsiteX64236" y="connsiteY64236"/>
              </a:cxn>
              <a:cxn ang="0">
                <a:pos x="connsiteX64237" y="connsiteY64237"/>
              </a:cxn>
              <a:cxn ang="0">
                <a:pos x="connsiteX64238" y="connsiteY64238"/>
              </a:cxn>
              <a:cxn ang="0">
                <a:pos x="connsiteX64239" y="connsiteY64239"/>
              </a:cxn>
              <a:cxn ang="0">
                <a:pos x="connsiteX64240" y="connsiteY64240"/>
              </a:cxn>
              <a:cxn ang="0">
                <a:pos x="connsiteX64241" y="connsiteY64241"/>
              </a:cxn>
              <a:cxn ang="0">
                <a:pos x="connsiteX64242" y="connsiteY64242"/>
              </a:cxn>
              <a:cxn ang="0">
                <a:pos x="connsiteX64243" y="connsiteY64243"/>
              </a:cxn>
              <a:cxn ang="0">
                <a:pos x="connsiteX64244" y="connsiteY64244"/>
              </a:cxn>
              <a:cxn ang="0">
                <a:pos x="connsiteX64245" y="connsiteY64245"/>
              </a:cxn>
              <a:cxn ang="0">
                <a:pos x="connsiteX64246" y="connsiteY64246"/>
              </a:cxn>
              <a:cxn ang="0">
                <a:pos x="connsiteX64247" y="connsiteY64247"/>
              </a:cxn>
              <a:cxn ang="0">
                <a:pos x="connsiteX64248" y="connsiteY64248"/>
              </a:cxn>
              <a:cxn ang="0">
                <a:pos x="connsiteX64249" y="connsiteY64249"/>
              </a:cxn>
              <a:cxn ang="0">
                <a:pos x="connsiteX64250" y="connsiteY64250"/>
              </a:cxn>
              <a:cxn ang="0">
                <a:pos x="connsiteX64251" y="connsiteY64251"/>
              </a:cxn>
              <a:cxn ang="0">
                <a:pos x="connsiteX64252" y="connsiteY64252"/>
              </a:cxn>
              <a:cxn ang="0">
                <a:pos x="connsiteX64253" y="connsiteY64253"/>
              </a:cxn>
              <a:cxn ang="0">
                <a:pos x="connsiteX64254" y="connsiteY64254"/>
              </a:cxn>
              <a:cxn ang="0">
                <a:pos x="connsiteX64255" y="connsiteY64255"/>
              </a:cxn>
              <a:cxn ang="0">
                <a:pos x="connsiteX64256" y="connsiteY64256"/>
              </a:cxn>
              <a:cxn ang="0">
                <a:pos x="connsiteX64257" y="connsiteY64257"/>
              </a:cxn>
              <a:cxn ang="0">
                <a:pos x="connsiteX64258" y="connsiteY64258"/>
              </a:cxn>
              <a:cxn ang="0">
                <a:pos x="connsiteX64259" y="connsiteY64259"/>
              </a:cxn>
              <a:cxn ang="0">
                <a:pos x="connsiteX64260" y="connsiteY64260"/>
              </a:cxn>
              <a:cxn ang="0">
                <a:pos x="connsiteX64261" y="connsiteY64261"/>
              </a:cxn>
              <a:cxn ang="0">
                <a:pos x="connsiteX64262" y="connsiteY64262"/>
              </a:cxn>
              <a:cxn ang="0">
                <a:pos x="connsiteX64263" y="connsiteY64263"/>
              </a:cxn>
              <a:cxn ang="0">
                <a:pos x="connsiteX64264" y="connsiteY64264"/>
              </a:cxn>
              <a:cxn ang="0">
                <a:pos x="connsiteX64265" y="connsiteY64265"/>
              </a:cxn>
              <a:cxn ang="0">
                <a:pos x="connsiteX64266" y="connsiteY64266"/>
              </a:cxn>
              <a:cxn ang="0">
                <a:pos x="connsiteX64267" y="connsiteY64267"/>
              </a:cxn>
              <a:cxn ang="0">
                <a:pos x="connsiteX64268" y="connsiteY64268"/>
              </a:cxn>
              <a:cxn ang="0">
                <a:pos x="connsiteX64269" y="connsiteY64269"/>
              </a:cxn>
              <a:cxn ang="0">
                <a:pos x="connsiteX64270" y="connsiteY64270"/>
              </a:cxn>
              <a:cxn ang="0">
                <a:pos x="connsiteX64271" y="connsiteY64271"/>
              </a:cxn>
              <a:cxn ang="0">
                <a:pos x="connsiteX64272" y="connsiteY64272"/>
              </a:cxn>
              <a:cxn ang="0">
                <a:pos x="connsiteX64273" y="connsiteY64273"/>
              </a:cxn>
              <a:cxn ang="0">
                <a:pos x="connsiteX64274" y="connsiteY64274"/>
              </a:cxn>
              <a:cxn ang="0">
                <a:pos x="connsiteX64275" y="connsiteY64275"/>
              </a:cxn>
              <a:cxn ang="0">
                <a:pos x="connsiteX64276" y="connsiteY64276"/>
              </a:cxn>
              <a:cxn ang="0">
                <a:pos x="connsiteX64277" y="connsiteY64277"/>
              </a:cxn>
              <a:cxn ang="0">
                <a:pos x="connsiteX64278" y="connsiteY64278"/>
              </a:cxn>
              <a:cxn ang="0">
                <a:pos x="connsiteX64279" y="connsiteY64279"/>
              </a:cxn>
              <a:cxn ang="0">
                <a:pos x="connsiteX64280" y="connsiteY64280"/>
              </a:cxn>
              <a:cxn ang="0">
                <a:pos x="connsiteX64281" y="connsiteY64281"/>
              </a:cxn>
              <a:cxn ang="0">
                <a:pos x="connsiteX64282" y="connsiteY64282"/>
              </a:cxn>
              <a:cxn ang="0">
                <a:pos x="connsiteX64283" y="connsiteY64283"/>
              </a:cxn>
              <a:cxn ang="0">
                <a:pos x="connsiteX64284" y="connsiteY64284"/>
              </a:cxn>
              <a:cxn ang="0">
                <a:pos x="connsiteX64285" y="connsiteY64285"/>
              </a:cxn>
              <a:cxn ang="0">
                <a:pos x="connsiteX64286" y="connsiteY64286"/>
              </a:cxn>
              <a:cxn ang="0">
                <a:pos x="connsiteX64287" y="connsiteY64287"/>
              </a:cxn>
              <a:cxn ang="0">
                <a:pos x="connsiteX64288" y="connsiteY64288"/>
              </a:cxn>
              <a:cxn ang="0">
                <a:pos x="connsiteX64289" y="connsiteY64289"/>
              </a:cxn>
              <a:cxn ang="0">
                <a:pos x="connsiteX64290" y="connsiteY64290"/>
              </a:cxn>
              <a:cxn ang="0">
                <a:pos x="connsiteX64291" y="connsiteY64291"/>
              </a:cxn>
              <a:cxn ang="0">
                <a:pos x="connsiteX64292" y="connsiteY64292"/>
              </a:cxn>
              <a:cxn ang="0">
                <a:pos x="connsiteX64293" y="connsiteY64293"/>
              </a:cxn>
              <a:cxn ang="0">
                <a:pos x="connsiteX64294" y="connsiteY64294"/>
              </a:cxn>
              <a:cxn ang="0">
                <a:pos x="connsiteX64295" y="connsiteY64295"/>
              </a:cxn>
              <a:cxn ang="0">
                <a:pos x="connsiteX64296" y="connsiteY64296"/>
              </a:cxn>
              <a:cxn ang="0">
                <a:pos x="connsiteX64297" y="connsiteY64297"/>
              </a:cxn>
              <a:cxn ang="0">
                <a:pos x="connsiteX64298" y="connsiteY64298"/>
              </a:cxn>
              <a:cxn ang="0">
                <a:pos x="connsiteX64299" y="connsiteY64299"/>
              </a:cxn>
              <a:cxn ang="0">
                <a:pos x="connsiteX64300" y="connsiteY64300"/>
              </a:cxn>
              <a:cxn ang="0">
                <a:pos x="connsiteX64301" y="connsiteY64301"/>
              </a:cxn>
              <a:cxn ang="0">
                <a:pos x="connsiteX64302" y="connsiteY64302"/>
              </a:cxn>
              <a:cxn ang="0">
                <a:pos x="connsiteX64303" y="connsiteY64303"/>
              </a:cxn>
              <a:cxn ang="0">
                <a:pos x="connsiteX64304" y="connsiteY64304"/>
              </a:cxn>
              <a:cxn ang="0">
                <a:pos x="connsiteX64305" y="connsiteY64305"/>
              </a:cxn>
              <a:cxn ang="0">
                <a:pos x="connsiteX64306" y="connsiteY64306"/>
              </a:cxn>
              <a:cxn ang="0">
                <a:pos x="connsiteX64307" y="connsiteY64307"/>
              </a:cxn>
              <a:cxn ang="0">
                <a:pos x="connsiteX64308" y="connsiteY64308"/>
              </a:cxn>
              <a:cxn ang="0">
                <a:pos x="connsiteX64309" y="connsiteY64309"/>
              </a:cxn>
              <a:cxn ang="0">
                <a:pos x="connsiteX64310" y="connsiteY64310"/>
              </a:cxn>
              <a:cxn ang="0">
                <a:pos x="connsiteX64311" y="connsiteY64311"/>
              </a:cxn>
              <a:cxn ang="0">
                <a:pos x="connsiteX64312" y="connsiteY64312"/>
              </a:cxn>
              <a:cxn ang="0">
                <a:pos x="connsiteX64313" y="connsiteY64313"/>
              </a:cxn>
              <a:cxn ang="0">
                <a:pos x="connsiteX64314" y="connsiteY64314"/>
              </a:cxn>
              <a:cxn ang="0">
                <a:pos x="connsiteX64315" y="connsiteY64315"/>
              </a:cxn>
              <a:cxn ang="0">
                <a:pos x="connsiteX64316" y="connsiteY64316"/>
              </a:cxn>
              <a:cxn ang="0">
                <a:pos x="connsiteX64317" y="connsiteY64317"/>
              </a:cxn>
              <a:cxn ang="0">
                <a:pos x="connsiteX64318" y="connsiteY64318"/>
              </a:cxn>
              <a:cxn ang="0">
                <a:pos x="connsiteX64319" y="connsiteY64319"/>
              </a:cxn>
              <a:cxn ang="0">
                <a:pos x="connsiteX64320" y="connsiteY64320"/>
              </a:cxn>
              <a:cxn ang="0">
                <a:pos x="connsiteX64321" y="connsiteY64321"/>
              </a:cxn>
              <a:cxn ang="0">
                <a:pos x="connsiteX64322" y="connsiteY64322"/>
              </a:cxn>
              <a:cxn ang="0">
                <a:pos x="connsiteX64323" y="connsiteY64323"/>
              </a:cxn>
              <a:cxn ang="0">
                <a:pos x="connsiteX64324" y="connsiteY64324"/>
              </a:cxn>
              <a:cxn ang="0">
                <a:pos x="connsiteX64325" y="connsiteY64325"/>
              </a:cxn>
              <a:cxn ang="0">
                <a:pos x="connsiteX64326" y="connsiteY64326"/>
              </a:cxn>
              <a:cxn ang="0">
                <a:pos x="connsiteX64327" y="connsiteY64327"/>
              </a:cxn>
              <a:cxn ang="0">
                <a:pos x="connsiteX64328" y="connsiteY64328"/>
              </a:cxn>
              <a:cxn ang="0">
                <a:pos x="connsiteX64329" y="connsiteY64329"/>
              </a:cxn>
              <a:cxn ang="0">
                <a:pos x="connsiteX64330" y="connsiteY64330"/>
              </a:cxn>
              <a:cxn ang="0">
                <a:pos x="connsiteX64331" y="connsiteY64331"/>
              </a:cxn>
              <a:cxn ang="0">
                <a:pos x="connsiteX64332" y="connsiteY64332"/>
              </a:cxn>
              <a:cxn ang="0">
                <a:pos x="connsiteX64333" y="connsiteY64333"/>
              </a:cxn>
              <a:cxn ang="0">
                <a:pos x="connsiteX64334" y="connsiteY64334"/>
              </a:cxn>
              <a:cxn ang="0">
                <a:pos x="connsiteX64335" y="connsiteY64335"/>
              </a:cxn>
              <a:cxn ang="0">
                <a:pos x="connsiteX64336" y="connsiteY64336"/>
              </a:cxn>
              <a:cxn ang="0">
                <a:pos x="connsiteX64337" y="connsiteY64337"/>
              </a:cxn>
              <a:cxn ang="0">
                <a:pos x="connsiteX64338" y="connsiteY64338"/>
              </a:cxn>
              <a:cxn ang="0">
                <a:pos x="connsiteX64339" y="connsiteY64339"/>
              </a:cxn>
              <a:cxn ang="0">
                <a:pos x="connsiteX64340" y="connsiteY64340"/>
              </a:cxn>
              <a:cxn ang="0">
                <a:pos x="connsiteX64341" y="connsiteY64341"/>
              </a:cxn>
              <a:cxn ang="0">
                <a:pos x="connsiteX64342" y="connsiteY64342"/>
              </a:cxn>
              <a:cxn ang="0">
                <a:pos x="connsiteX64343" y="connsiteY64343"/>
              </a:cxn>
              <a:cxn ang="0">
                <a:pos x="connsiteX64344" y="connsiteY64344"/>
              </a:cxn>
              <a:cxn ang="0">
                <a:pos x="connsiteX64345" y="connsiteY64345"/>
              </a:cxn>
              <a:cxn ang="0">
                <a:pos x="connsiteX64346" y="connsiteY64346"/>
              </a:cxn>
              <a:cxn ang="0">
                <a:pos x="connsiteX64347" y="connsiteY64347"/>
              </a:cxn>
              <a:cxn ang="0">
                <a:pos x="connsiteX64348" y="connsiteY64348"/>
              </a:cxn>
              <a:cxn ang="0">
                <a:pos x="connsiteX64349" y="connsiteY64349"/>
              </a:cxn>
              <a:cxn ang="0">
                <a:pos x="connsiteX64350" y="connsiteY64350"/>
              </a:cxn>
              <a:cxn ang="0">
                <a:pos x="connsiteX64351" y="connsiteY64351"/>
              </a:cxn>
              <a:cxn ang="0">
                <a:pos x="connsiteX64352" y="connsiteY64352"/>
              </a:cxn>
              <a:cxn ang="0">
                <a:pos x="connsiteX64353" y="connsiteY64353"/>
              </a:cxn>
              <a:cxn ang="0">
                <a:pos x="connsiteX64354" y="connsiteY64354"/>
              </a:cxn>
              <a:cxn ang="0">
                <a:pos x="connsiteX64355" y="connsiteY64355"/>
              </a:cxn>
              <a:cxn ang="0">
                <a:pos x="connsiteX64356" y="connsiteY64356"/>
              </a:cxn>
              <a:cxn ang="0">
                <a:pos x="connsiteX64357" y="connsiteY64357"/>
              </a:cxn>
              <a:cxn ang="0">
                <a:pos x="connsiteX64358" y="connsiteY64358"/>
              </a:cxn>
              <a:cxn ang="0">
                <a:pos x="connsiteX64359" y="connsiteY64359"/>
              </a:cxn>
              <a:cxn ang="0">
                <a:pos x="connsiteX64360" y="connsiteY64360"/>
              </a:cxn>
              <a:cxn ang="0">
                <a:pos x="connsiteX64361" y="connsiteY64361"/>
              </a:cxn>
              <a:cxn ang="0">
                <a:pos x="connsiteX64362" y="connsiteY64362"/>
              </a:cxn>
              <a:cxn ang="0">
                <a:pos x="connsiteX64363" y="connsiteY64363"/>
              </a:cxn>
              <a:cxn ang="0">
                <a:pos x="connsiteX64364" y="connsiteY64364"/>
              </a:cxn>
              <a:cxn ang="0">
                <a:pos x="connsiteX64365" y="connsiteY64365"/>
              </a:cxn>
              <a:cxn ang="0">
                <a:pos x="connsiteX64366" y="connsiteY64366"/>
              </a:cxn>
              <a:cxn ang="0">
                <a:pos x="connsiteX64367" y="connsiteY64367"/>
              </a:cxn>
              <a:cxn ang="0">
                <a:pos x="connsiteX64368" y="connsiteY64368"/>
              </a:cxn>
              <a:cxn ang="0">
                <a:pos x="connsiteX64369" y="connsiteY64369"/>
              </a:cxn>
              <a:cxn ang="0">
                <a:pos x="connsiteX64370" y="connsiteY64370"/>
              </a:cxn>
              <a:cxn ang="0">
                <a:pos x="connsiteX64371" y="connsiteY64371"/>
              </a:cxn>
              <a:cxn ang="0">
                <a:pos x="connsiteX64372" y="connsiteY64372"/>
              </a:cxn>
              <a:cxn ang="0">
                <a:pos x="connsiteX64373" y="connsiteY64373"/>
              </a:cxn>
              <a:cxn ang="0">
                <a:pos x="connsiteX64374" y="connsiteY64374"/>
              </a:cxn>
              <a:cxn ang="0">
                <a:pos x="connsiteX64375" y="connsiteY64375"/>
              </a:cxn>
              <a:cxn ang="0">
                <a:pos x="connsiteX64376" y="connsiteY64376"/>
              </a:cxn>
              <a:cxn ang="0">
                <a:pos x="connsiteX64377" y="connsiteY64377"/>
              </a:cxn>
              <a:cxn ang="0">
                <a:pos x="connsiteX64378" y="connsiteY64378"/>
              </a:cxn>
              <a:cxn ang="0">
                <a:pos x="connsiteX64379" y="connsiteY64379"/>
              </a:cxn>
              <a:cxn ang="0">
                <a:pos x="connsiteX64380" y="connsiteY64380"/>
              </a:cxn>
              <a:cxn ang="0">
                <a:pos x="connsiteX64381" y="connsiteY64381"/>
              </a:cxn>
              <a:cxn ang="0">
                <a:pos x="connsiteX64382" y="connsiteY64382"/>
              </a:cxn>
              <a:cxn ang="0">
                <a:pos x="connsiteX64383" y="connsiteY64383"/>
              </a:cxn>
              <a:cxn ang="0">
                <a:pos x="connsiteX64384" y="connsiteY64384"/>
              </a:cxn>
              <a:cxn ang="0">
                <a:pos x="connsiteX64385" y="connsiteY64385"/>
              </a:cxn>
              <a:cxn ang="0">
                <a:pos x="connsiteX64386" y="connsiteY64386"/>
              </a:cxn>
              <a:cxn ang="0">
                <a:pos x="connsiteX64387" y="connsiteY64387"/>
              </a:cxn>
              <a:cxn ang="0">
                <a:pos x="connsiteX64388" y="connsiteY64388"/>
              </a:cxn>
              <a:cxn ang="0">
                <a:pos x="connsiteX64389" y="connsiteY64389"/>
              </a:cxn>
              <a:cxn ang="0">
                <a:pos x="connsiteX64390" y="connsiteY64390"/>
              </a:cxn>
              <a:cxn ang="0">
                <a:pos x="connsiteX64391" y="connsiteY64391"/>
              </a:cxn>
              <a:cxn ang="0">
                <a:pos x="connsiteX64392" y="connsiteY64392"/>
              </a:cxn>
              <a:cxn ang="0">
                <a:pos x="connsiteX64393" y="connsiteY64393"/>
              </a:cxn>
              <a:cxn ang="0">
                <a:pos x="connsiteX64394" y="connsiteY64394"/>
              </a:cxn>
              <a:cxn ang="0">
                <a:pos x="connsiteX64395" y="connsiteY64395"/>
              </a:cxn>
              <a:cxn ang="0">
                <a:pos x="connsiteX64396" y="connsiteY64396"/>
              </a:cxn>
              <a:cxn ang="0">
                <a:pos x="connsiteX64397" y="connsiteY64397"/>
              </a:cxn>
              <a:cxn ang="0">
                <a:pos x="connsiteX64398" y="connsiteY64398"/>
              </a:cxn>
              <a:cxn ang="0">
                <a:pos x="connsiteX64399" y="connsiteY64399"/>
              </a:cxn>
              <a:cxn ang="0">
                <a:pos x="connsiteX64400" y="connsiteY64400"/>
              </a:cxn>
              <a:cxn ang="0">
                <a:pos x="connsiteX64401" y="connsiteY64401"/>
              </a:cxn>
              <a:cxn ang="0">
                <a:pos x="connsiteX64402" y="connsiteY64402"/>
              </a:cxn>
              <a:cxn ang="0">
                <a:pos x="connsiteX64403" y="connsiteY64403"/>
              </a:cxn>
              <a:cxn ang="0">
                <a:pos x="connsiteX64404" y="connsiteY64404"/>
              </a:cxn>
              <a:cxn ang="0">
                <a:pos x="connsiteX64405" y="connsiteY64405"/>
              </a:cxn>
              <a:cxn ang="0">
                <a:pos x="connsiteX64406" y="connsiteY64406"/>
              </a:cxn>
              <a:cxn ang="0">
                <a:pos x="connsiteX64407" y="connsiteY64407"/>
              </a:cxn>
              <a:cxn ang="0">
                <a:pos x="connsiteX64408" y="connsiteY64408"/>
              </a:cxn>
              <a:cxn ang="0">
                <a:pos x="connsiteX64409" y="connsiteY64409"/>
              </a:cxn>
              <a:cxn ang="0">
                <a:pos x="connsiteX64410" y="connsiteY64410"/>
              </a:cxn>
              <a:cxn ang="0">
                <a:pos x="connsiteX64411" y="connsiteY64411"/>
              </a:cxn>
              <a:cxn ang="0">
                <a:pos x="connsiteX64412" y="connsiteY64412"/>
              </a:cxn>
              <a:cxn ang="0">
                <a:pos x="connsiteX64413" y="connsiteY64413"/>
              </a:cxn>
              <a:cxn ang="0">
                <a:pos x="connsiteX64414" y="connsiteY64414"/>
              </a:cxn>
              <a:cxn ang="0">
                <a:pos x="connsiteX64415" y="connsiteY64415"/>
              </a:cxn>
              <a:cxn ang="0">
                <a:pos x="connsiteX64416" y="connsiteY64416"/>
              </a:cxn>
              <a:cxn ang="0">
                <a:pos x="connsiteX64417" y="connsiteY64417"/>
              </a:cxn>
              <a:cxn ang="0">
                <a:pos x="connsiteX64418" y="connsiteY64418"/>
              </a:cxn>
              <a:cxn ang="0">
                <a:pos x="connsiteX64419" y="connsiteY64419"/>
              </a:cxn>
              <a:cxn ang="0">
                <a:pos x="connsiteX64420" y="connsiteY64420"/>
              </a:cxn>
              <a:cxn ang="0">
                <a:pos x="connsiteX64421" y="connsiteY64421"/>
              </a:cxn>
              <a:cxn ang="0">
                <a:pos x="connsiteX64422" y="connsiteY64422"/>
              </a:cxn>
              <a:cxn ang="0">
                <a:pos x="connsiteX64423" y="connsiteY64423"/>
              </a:cxn>
              <a:cxn ang="0">
                <a:pos x="connsiteX64424" y="connsiteY64424"/>
              </a:cxn>
              <a:cxn ang="0">
                <a:pos x="connsiteX64425" y="connsiteY64425"/>
              </a:cxn>
              <a:cxn ang="0">
                <a:pos x="connsiteX64426" y="connsiteY64426"/>
              </a:cxn>
              <a:cxn ang="0">
                <a:pos x="connsiteX64427" y="connsiteY64427"/>
              </a:cxn>
              <a:cxn ang="0">
                <a:pos x="connsiteX64428" y="connsiteY64428"/>
              </a:cxn>
              <a:cxn ang="0">
                <a:pos x="connsiteX64429" y="connsiteY64429"/>
              </a:cxn>
              <a:cxn ang="0">
                <a:pos x="connsiteX64430" y="connsiteY64430"/>
              </a:cxn>
              <a:cxn ang="0">
                <a:pos x="connsiteX64431" y="connsiteY64431"/>
              </a:cxn>
              <a:cxn ang="0">
                <a:pos x="connsiteX64432" y="connsiteY64432"/>
              </a:cxn>
              <a:cxn ang="0">
                <a:pos x="connsiteX64433" y="connsiteY64433"/>
              </a:cxn>
              <a:cxn ang="0">
                <a:pos x="connsiteX64434" y="connsiteY64434"/>
              </a:cxn>
              <a:cxn ang="0">
                <a:pos x="connsiteX64435" y="connsiteY64435"/>
              </a:cxn>
              <a:cxn ang="0">
                <a:pos x="connsiteX64436" y="connsiteY64436"/>
              </a:cxn>
              <a:cxn ang="0">
                <a:pos x="connsiteX64437" y="connsiteY64437"/>
              </a:cxn>
              <a:cxn ang="0">
                <a:pos x="connsiteX64438" y="connsiteY64438"/>
              </a:cxn>
              <a:cxn ang="0">
                <a:pos x="connsiteX64439" y="connsiteY64439"/>
              </a:cxn>
              <a:cxn ang="0">
                <a:pos x="connsiteX64440" y="connsiteY64440"/>
              </a:cxn>
              <a:cxn ang="0">
                <a:pos x="connsiteX64441" y="connsiteY64441"/>
              </a:cxn>
              <a:cxn ang="0">
                <a:pos x="connsiteX64442" y="connsiteY64442"/>
              </a:cxn>
              <a:cxn ang="0">
                <a:pos x="connsiteX64443" y="connsiteY64443"/>
              </a:cxn>
              <a:cxn ang="0">
                <a:pos x="connsiteX64444" y="connsiteY64444"/>
              </a:cxn>
              <a:cxn ang="0">
                <a:pos x="connsiteX64445" y="connsiteY64445"/>
              </a:cxn>
              <a:cxn ang="0">
                <a:pos x="connsiteX64446" y="connsiteY64446"/>
              </a:cxn>
              <a:cxn ang="0">
                <a:pos x="connsiteX64447" y="connsiteY64447"/>
              </a:cxn>
              <a:cxn ang="0">
                <a:pos x="connsiteX64448" y="connsiteY64448"/>
              </a:cxn>
              <a:cxn ang="0">
                <a:pos x="connsiteX64449" y="connsiteY64449"/>
              </a:cxn>
              <a:cxn ang="0">
                <a:pos x="connsiteX64450" y="connsiteY64450"/>
              </a:cxn>
              <a:cxn ang="0">
                <a:pos x="connsiteX64451" y="connsiteY64451"/>
              </a:cxn>
              <a:cxn ang="0">
                <a:pos x="connsiteX64452" y="connsiteY64452"/>
              </a:cxn>
              <a:cxn ang="0">
                <a:pos x="connsiteX64453" y="connsiteY64453"/>
              </a:cxn>
              <a:cxn ang="0">
                <a:pos x="connsiteX64454" y="connsiteY64454"/>
              </a:cxn>
              <a:cxn ang="0">
                <a:pos x="connsiteX64455" y="connsiteY64455"/>
              </a:cxn>
              <a:cxn ang="0">
                <a:pos x="connsiteX64456" y="connsiteY64456"/>
              </a:cxn>
              <a:cxn ang="0">
                <a:pos x="connsiteX64457" y="connsiteY64457"/>
              </a:cxn>
              <a:cxn ang="0">
                <a:pos x="connsiteX64458" y="connsiteY64458"/>
              </a:cxn>
              <a:cxn ang="0">
                <a:pos x="connsiteX64459" y="connsiteY64459"/>
              </a:cxn>
              <a:cxn ang="0">
                <a:pos x="connsiteX64460" y="connsiteY64460"/>
              </a:cxn>
              <a:cxn ang="0">
                <a:pos x="connsiteX64461" y="connsiteY64461"/>
              </a:cxn>
              <a:cxn ang="0">
                <a:pos x="connsiteX64462" y="connsiteY64462"/>
              </a:cxn>
              <a:cxn ang="0">
                <a:pos x="connsiteX64463" y="connsiteY64463"/>
              </a:cxn>
              <a:cxn ang="0">
                <a:pos x="connsiteX64464" y="connsiteY64464"/>
              </a:cxn>
              <a:cxn ang="0">
                <a:pos x="connsiteX64465" y="connsiteY64465"/>
              </a:cxn>
              <a:cxn ang="0">
                <a:pos x="connsiteX64466" y="connsiteY64466"/>
              </a:cxn>
              <a:cxn ang="0">
                <a:pos x="connsiteX64467" y="connsiteY64467"/>
              </a:cxn>
              <a:cxn ang="0">
                <a:pos x="connsiteX64468" y="connsiteY64468"/>
              </a:cxn>
              <a:cxn ang="0">
                <a:pos x="connsiteX64469" y="connsiteY64469"/>
              </a:cxn>
              <a:cxn ang="0">
                <a:pos x="connsiteX64470" y="connsiteY64470"/>
              </a:cxn>
              <a:cxn ang="0">
                <a:pos x="connsiteX64471" y="connsiteY64471"/>
              </a:cxn>
              <a:cxn ang="0">
                <a:pos x="connsiteX64472" y="connsiteY64472"/>
              </a:cxn>
              <a:cxn ang="0">
                <a:pos x="connsiteX64473" y="connsiteY64473"/>
              </a:cxn>
              <a:cxn ang="0">
                <a:pos x="connsiteX64474" y="connsiteY64474"/>
              </a:cxn>
              <a:cxn ang="0">
                <a:pos x="connsiteX64475" y="connsiteY64475"/>
              </a:cxn>
              <a:cxn ang="0">
                <a:pos x="connsiteX64476" y="connsiteY64476"/>
              </a:cxn>
              <a:cxn ang="0">
                <a:pos x="connsiteX64477" y="connsiteY64477"/>
              </a:cxn>
              <a:cxn ang="0">
                <a:pos x="connsiteX64478" y="connsiteY64478"/>
              </a:cxn>
              <a:cxn ang="0">
                <a:pos x="connsiteX64479" y="connsiteY64479"/>
              </a:cxn>
              <a:cxn ang="0">
                <a:pos x="connsiteX64480" y="connsiteY64480"/>
              </a:cxn>
              <a:cxn ang="0">
                <a:pos x="connsiteX64481" y="connsiteY64481"/>
              </a:cxn>
              <a:cxn ang="0">
                <a:pos x="connsiteX64482" y="connsiteY64482"/>
              </a:cxn>
              <a:cxn ang="0">
                <a:pos x="connsiteX64483" y="connsiteY64483"/>
              </a:cxn>
              <a:cxn ang="0">
                <a:pos x="connsiteX64484" y="connsiteY64484"/>
              </a:cxn>
              <a:cxn ang="0">
                <a:pos x="connsiteX64485" y="connsiteY64485"/>
              </a:cxn>
              <a:cxn ang="0">
                <a:pos x="connsiteX64486" y="connsiteY64486"/>
              </a:cxn>
              <a:cxn ang="0">
                <a:pos x="connsiteX64487" y="connsiteY64487"/>
              </a:cxn>
              <a:cxn ang="0">
                <a:pos x="connsiteX64488" y="connsiteY64488"/>
              </a:cxn>
              <a:cxn ang="0">
                <a:pos x="connsiteX64489" y="connsiteY64489"/>
              </a:cxn>
              <a:cxn ang="0">
                <a:pos x="connsiteX64490" y="connsiteY64490"/>
              </a:cxn>
              <a:cxn ang="0">
                <a:pos x="connsiteX64491" y="connsiteY64491"/>
              </a:cxn>
              <a:cxn ang="0">
                <a:pos x="connsiteX64492" y="connsiteY64492"/>
              </a:cxn>
              <a:cxn ang="0">
                <a:pos x="connsiteX64493" y="connsiteY64493"/>
              </a:cxn>
              <a:cxn ang="0">
                <a:pos x="connsiteX64494" y="connsiteY64494"/>
              </a:cxn>
              <a:cxn ang="0">
                <a:pos x="connsiteX64495" y="connsiteY64495"/>
              </a:cxn>
              <a:cxn ang="0">
                <a:pos x="connsiteX64496" y="connsiteY64496"/>
              </a:cxn>
              <a:cxn ang="0">
                <a:pos x="connsiteX64497" y="connsiteY64497"/>
              </a:cxn>
              <a:cxn ang="0">
                <a:pos x="connsiteX64498" y="connsiteY64498"/>
              </a:cxn>
              <a:cxn ang="0">
                <a:pos x="connsiteX64499" y="connsiteY64499"/>
              </a:cxn>
              <a:cxn ang="0">
                <a:pos x="connsiteX64500" y="connsiteY64500"/>
              </a:cxn>
              <a:cxn ang="0">
                <a:pos x="connsiteX64501" y="connsiteY64501"/>
              </a:cxn>
              <a:cxn ang="0">
                <a:pos x="connsiteX64502" y="connsiteY64502"/>
              </a:cxn>
              <a:cxn ang="0">
                <a:pos x="connsiteX64503" y="connsiteY64503"/>
              </a:cxn>
              <a:cxn ang="0">
                <a:pos x="connsiteX64504" y="connsiteY64504"/>
              </a:cxn>
              <a:cxn ang="0">
                <a:pos x="connsiteX64505" y="connsiteY64505"/>
              </a:cxn>
              <a:cxn ang="0">
                <a:pos x="connsiteX64506" y="connsiteY64506"/>
              </a:cxn>
              <a:cxn ang="0">
                <a:pos x="connsiteX64507" y="connsiteY64507"/>
              </a:cxn>
              <a:cxn ang="0">
                <a:pos x="connsiteX64508" y="connsiteY64508"/>
              </a:cxn>
              <a:cxn ang="0">
                <a:pos x="connsiteX64509" y="connsiteY64509"/>
              </a:cxn>
              <a:cxn ang="0">
                <a:pos x="connsiteX64510" y="connsiteY64510"/>
              </a:cxn>
              <a:cxn ang="0">
                <a:pos x="connsiteX64511" y="connsiteY64511"/>
              </a:cxn>
              <a:cxn ang="0">
                <a:pos x="connsiteX64512" y="connsiteY64512"/>
              </a:cxn>
              <a:cxn ang="0">
                <a:pos x="connsiteX64513" y="connsiteY64513"/>
              </a:cxn>
              <a:cxn ang="0">
                <a:pos x="connsiteX64514" y="connsiteY64514"/>
              </a:cxn>
              <a:cxn ang="0">
                <a:pos x="connsiteX64515" y="connsiteY64515"/>
              </a:cxn>
              <a:cxn ang="0">
                <a:pos x="connsiteX64516" y="connsiteY64516"/>
              </a:cxn>
              <a:cxn ang="0">
                <a:pos x="connsiteX64517" y="connsiteY64517"/>
              </a:cxn>
              <a:cxn ang="0">
                <a:pos x="connsiteX64518" y="connsiteY64518"/>
              </a:cxn>
              <a:cxn ang="0">
                <a:pos x="connsiteX64519" y="connsiteY64519"/>
              </a:cxn>
              <a:cxn ang="0">
                <a:pos x="connsiteX64520" y="connsiteY64520"/>
              </a:cxn>
              <a:cxn ang="0">
                <a:pos x="connsiteX64521" y="connsiteY64521"/>
              </a:cxn>
              <a:cxn ang="0">
                <a:pos x="connsiteX64522" y="connsiteY64522"/>
              </a:cxn>
              <a:cxn ang="0">
                <a:pos x="connsiteX64523" y="connsiteY64523"/>
              </a:cxn>
              <a:cxn ang="0">
                <a:pos x="connsiteX64524" y="connsiteY64524"/>
              </a:cxn>
              <a:cxn ang="0">
                <a:pos x="connsiteX64525" y="connsiteY64525"/>
              </a:cxn>
              <a:cxn ang="0">
                <a:pos x="connsiteX64526" y="connsiteY64526"/>
              </a:cxn>
              <a:cxn ang="0">
                <a:pos x="connsiteX64527" y="connsiteY64527"/>
              </a:cxn>
              <a:cxn ang="0">
                <a:pos x="connsiteX64528" y="connsiteY64528"/>
              </a:cxn>
              <a:cxn ang="0">
                <a:pos x="connsiteX64529" y="connsiteY64529"/>
              </a:cxn>
              <a:cxn ang="0">
                <a:pos x="connsiteX64530" y="connsiteY64530"/>
              </a:cxn>
              <a:cxn ang="0">
                <a:pos x="connsiteX64531" y="connsiteY64531"/>
              </a:cxn>
              <a:cxn ang="0">
                <a:pos x="connsiteX64532" y="connsiteY64532"/>
              </a:cxn>
              <a:cxn ang="0">
                <a:pos x="connsiteX64533" y="connsiteY64533"/>
              </a:cxn>
              <a:cxn ang="0">
                <a:pos x="connsiteX64534" y="connsiteY64534"/>
              </a:cxn>
              <a:cxn ang="0">
                <a:pos x="connsiteX64535" y="connsiteY64535"/>
              </a:cxn>
              <a:cxn ang="0">
                <a:pos x="connsiteX64536" y="connsiteY64536"/>
              </a:cxn>
              <a:cxn ang="0">
                <a:pos x="connsiteX64537" y="connsiteY64537"/>
              </a:cxn>
              <a:cxn ang="0">
                <a:pos x="connsiteX64538" y="connsiteY64538"/>
              </a:cxn>
              <a:cxn ang="0">
                <a:pos x="connsiteX64539" y="connsiteY64539"/>
              </a:cxn>
              <a:cxn ang="0">
                <a:pos x="connsiteX64540" y="connsiteY64540"/>
              </a:cxn>
              <a:cxn ang="0">
                <a:pos x="connsiteX64541" y="connsiteY64541"/>
              </a:cxn>
              <a:cxn ang="0">
                <a:pos x="connsiteX64542" y="connsiteY64542"/>
              </a:cxn>
              <a:cxn ang="0">
                <a:pos x="connsiteX64543" y="connsiteY64543"/>
              </a:cxn>
              <a:cxn ang="0">
                <a:pos x="connsiteX64544" y="connsiteY64544"/>
              </a:cxn>
              <a:cxn ang="0">
                <a:pos x="connsiteX64545" y="connsiteY64545"/>
              </a:cxn>
              <a:cxn ang="0">
                <a:pos x="connsiteX64546" y="connsiteY64546"/>
              </a:cxn>
              <a:cxn ang="0">
                <a:pos x="connsiteX64547" y="connsiteY64547"/>
              </a:cxn>
              <a:cxn ang="0">
                <a:pos x="connsiteX64548" y="connsiteY64548"/>
              </a:cxn>
              <a:cxn ang="0">
                <a:pos x="connsiteX64549" y="connsiteY64549"/>
              </a:cxn>
              <a:cxn ang="0">
                <a:pos x="connsiteX64550" y="connsiteY64550"/>
              </a:cxn>
              <a:cxn ang="0">
                <a:pos x="connsiteX64551" y="connsiteY64551"/>
              </a:cxn>
              <a:cxn ang="0">
                <a:pos x="connsiteX64552" y="connsiteY64552"/>
              </a:cxn>
              <a:cxn ang="0">
                <a:pos x="connsiteX64553" y="connsiteY64553"/>
              </a:cxn>
              <a:cxn ang="0">
                <a:pos x="connsiteX64554" y="connsiteY64554"/>
              </a:cxn>
              <a:cxn ang="0">
                <a:pos x="connsiteX64555" y="connsiteY64555"/>
              </a:cxn>
              <a:cxn ang="0">
                <a:pos x="connsiteX64556" y="connsiteY64556"/>
              </a:cxn>
              <a:cxn ang="0">
                <a:pos x="connsiteX64557" y="connsiteY64557"/>
              </a:cxn>
              <a:cxn ang="0">
                <a:pos x="connsiteX64558" y="connsiteY64558"/>
              </a:cxn>
              <a:cxn ang="0">
                <a:pos x="connsiteX64559" y="connsiteY64559"/>
              </a:cxn>
              <a:cxn ang="0">
                <a:pos x="connsiteX64560" y="connsiteY64560"/>
              </a:cxn>
              <a:cxn ang="0">
                <a:pos x="connsiteX64561" y="connsiteY64561"/>
              </a:cxn>
              <a:cxn ang="0">
                <a:pos x="connsiteX64562" y="connsiteY64562"/>
              </a:cxn>
              <a:cxn ang="0">
                <a:pos x="connsiteX64563" y="connsiteY64563"/>
              </a:cxn>
              <a:cxn ang="0">
                <a:pos x="connsiteX64564" y="connsiteY64564"/>
              </a:cxn>
              <a:cxn ang="0">
                <a:pos x="connsiteX64565" y="connsiteY64565"/>
              </a:cxn>
              <a:cxn ang="0">
                <a:pos x="connsiteX64566" y="connsiteY64566"/>
              </a:cxn>
              <a:cxn ang="0">
                <a:pos x="connsiteX64567" y="connsiteY64567"/>
              </a:cxn>
              <a:cxn ang="0">
                <a:pos x="connsiteX64568" y="connsiteY64568"/>
              </a:cxn>
              <a:cxn ang="0">
                <a:pos x="connsiteX64569" y="connsiteY64569"/>
              </a:cxn>
              <a:cxn ang="0">
                <a:pos x="connsiteX64570" y="connsiteY64570"/>
              </a:cxn>
              <a:cxn ang="0">
                <a:pos x="connsiteX64571" y="connsiteY64571"/>
              </a:cxn>
              <a:cxn ang="0">
                <a:pos x="connsiteX64572" y="connsiteY64572"/>
              </a:cxn>
              <a:cxn ang="0">
                <a:pos x="connsiteX64573" y="connsiteY64573"/>
              </a:cxn>
              <a:cxn ang="0">
                <a:pos x="connsiteX64574" y="connsiteY64574"/>
              </a:cxn>
              <a:cxn ang="0">
                <a:pos x="connsiteX64575" y="connsiteY64575"/>
              </a:cxn>
              <a:cxn ang="0">
                <a:pos x="connsiteX64576" y="connsiteY64576"/>
              </a:cxn>
              <a:cxn ang="0">
                <a:pos x="connsiteX64577" y="connsiteY64577"/>
              </a:cxn>
              <a:cxn ang="0">
                <a:pos x="connsiteX64578" y="connsiteY64578"/>
              </a:cxn>
              <a:cxn ang="0">
                <a:pos x="connsiteX64579" y="connsiteY64579"/>
              </a:cxn>
              <a:cxn ang="0">
                <a:pos x="connsiteX64580" y="connsiteY64580"/>
              </a:cxn>
              <a:cxn ang="0">
                <a:pos x="connsiteX64581" y="connsiteY64581"/>
              </a:cxn>
              <a:cxn ang="0">
                <a:pos x="connsiteX64582" y="connsiteY64582"/>
              </a:cxn>
              <a:cxn ang="0">
                <a:pos x="connsiteX64583" y="connsiteY64583"/>
              </a:cxn>
              <a:cxn ang="0">
                <a:pos x="connsiteX64584" y="connsiteY64584"/>
              </a:cxn>
              <a:cxn ang="0">
                <a:pos x="connsiteX64585" y="connsiteY64585"/>
              </a:cxn>
              <a:cxn ang="0">
                <a:pos x="connsiteX64586" y="connsiteY64586"/>
              </a:cxn>
              <a:cxn ang="0">
                <a:pos x="connsiteX64587" y="connsiteY64587"/>
              </a:cxn>
              <a:cxn ang="0">
                <a:pos x="connsiteX64588" y="connsiteY64588"/>
              </a:cxn>
              <a:cxn ang="0">
                <a:pos x="connsiteX64589" y="connsiteY64589"/>
              </a:cxn>
              <a:cxn ang="0">
                <a:pos x="connsiteX64590" y="connsiteY64590"/>
              </a:cxn>
              <a:cxn ang="0">
                <a:pos x="connsiteX64591" y="connsiteY64591"/>
              </a:cxn>
              <a:cxn ang="0">
                <a:pos x="connsiteX64592" y="connsiteY64592"/>
              </a:cxn>
              <a:cxn ang="0">
                <a:pos x="connsiteX64593" y="connsiteY64593"/>
              </a:cxn>
              <a:cxn ang="0">
                <a:pos x="connsiteX64594" y="connsiteY64594"/>
              </a:cxn>
              <a:cxn ang="0">
                <a:pos x="connsiteX64595" y="connsiteY64595"/>
              </a:cxn>
              <a:cxn ang="0">
                <a:pos x="connsiteX64596" y="connsiteY64596"/>
              </a:cxn>
              <a:cxn ang="0">
                <a:pos x="connsiteX64597" y="connsiteY64597"/>
              </a:cxn>
              <a:cxn ang="0">
                <a:pos x="connsiteX64598" y="connsiteY64598"/>
              </a:cxn>
              <a:cxn ang="0">
                <a:pos x="connsiteX64599" y="connsiteY64599"/>
              </a:cxn>
              <a:cxn ang="0">
                <a:pos x="connsiteX64600" y="connsiteY64600"/>
              </a:cxn>
              <a:cxn ang="0">
                <a:pos x="connsiteX64601" y="connsiteY64601"/>
              </a:cxn>
              <a:cxn ang="0">
                <a:pos x="connsiteX64602" y="connsiteY64602"/>
              </a:cxn>
              <a:cxn ang="0">
                <a:pos x="connsiteX64603" y="connsiteY64603"/>
              </a:cxn>
              <a:cxn ang="0">
                <a:pos x="connsiteX64604" y="connsiteY64604"/>
              </a:cxn>
              <a:cxn ang="0">
                <a:pos x="connsiteX64605" y="connsiteY64605"/>
              </a:cxn>
              <a:cxn ang="0">
                <a:pos x="connsiteX64606" y="connsiteY64606"/>
              </a:cxn>
              <a:cxn ang="0">
                <a:pos x="connsiteX64607" y="connsiteY64607"/>
              </a:cxn>
              <a:cxn ang="0">
                <a:pos x="connsiteX64608" y="connsiteY64608"/>
              </a:cxn>
              <a:cxn ang="0">
                <a:pos x="connsiteX64609" y="connsiteY64609"/>
              </a:cxn>
              <a:cxn ang="0">
                <a:pos x="connsiteX64610" y="connsiteY64610"/>
              </a:cxn>
              <a:cxn ang="0">
                <a:pos x="connsiteX64611" y="connsiteY64611"/>
              </a:cxn>
              <a:cxn ang="0">
                <a:pos x="connsiteX64612" y="connsiteY64612"/>
              </a:cxn>
              <a:cxn ang="0">
                <a:pos x="connsiteX64613" y="connsiteY64613"/>
              </a:cxn>
              <a:cxn ang="0">
                <a:pos x="connsiteX64614" y="connsiteY64614"/>
              </a:cxn>
              <a:cxn ang="0">
                <a:pos x="connsiteX64615" y="connsiteY64615"/>
              </a:cxn>
              <a:cxn ang="0">
                <a:pos x="connsiteX64616" y="connsiteY64616"/>
              </a:cxn>
              <a:cxn ang="0">
                <a:pos x="connsiteX64617" y="connsiteY64617"/>
              </a:cxn>
              <a:cxn ang="0">
                <a:pos x="connsiteX64618" y="connsiteY64618"/>
              </a:cxn>
              <a:cxn ang="0">
                <a:pos x="connsiteX64619" y="connsiteY64619"/>
              </a:cxn>
              <a:cxn ang="0">
                <a:pos x="connsiteX64620" y="connsiteY64620"/>
              </a:cxn>
              <a:cxn ang="0">
                <a:pos x="connsiteX64621" y="connsiteY64621"/>
              </a:cxn>
              <a:cxn ang="0">
                <a:pos x="connsiteX64622" y="connsiteY64622"/>
              </a:cxn>
              <a:cxn ang="0">
                <a:pos x="connsiteX64623" y="connsiteY64623"/>
              </a:cxn>
              <a:cxn ang="0">
                <a:pos x="connsiteX64624" y="connsiteY64624"/>
              </a:cxn>
              <a:cxn ang="0">
                <a:pos x="connsiteX64625" y="connsiteY64625"/>
              </a:cxn>
              <a:cxn ang="0">
                <a:pos x="connsiteX64626" y="connsiteY64626"/>
              </a:cxn>
              <a:cxn ang="0">
                <a:pos x="connsiteX64627" y="connsiteY64627"/>
              </a:cxn>
              <a:cxn ang="0">
                <a:pos x="connsiteX64628" y="connsiteY64628"/>
              </a:cxn>
              <a:cxn ang="0">
                <a:pos x="connsiteX64629" y="connsiteY64629"/>
              </a:cxn>
              <a:cxn ang="0">
                <a:pos x="connsiteX64630" y="connsiteY64630"/>
              </a:cxn>
              <a:cxn ang="0">
                <a:pos x="connsiteX64631" y="connsiteY64631"/>
              </a:cxn>
              <a:cxn ang="0">
                <a:pos x="connsiteX64632" y="connsiteY64632"/>
              </a:cxn>
              <a:cxn ang="0">
                <a:pos x="connsiteX64633" y="connsiteY64633"/>
              </a:cxn>
              <a:cxn ang="0">
                <a:pos x="connsiteX64634" y="connsiteY64634"/>
              </a:cxn>
              <a:cxn ang="0">
                <a:pos x="connsiteX64635" y="connsiteY64635"/>
              </a:cxn>
              <a:cxn ang="0">
                <a:pos x="connsiteX64636" y="connsiteY64636"/>
              </a:cxn>
              <a:cxn ang="0">
                <a:pos x="connsiteX64637" y="connsiteY64637"/>
              </a:cxn>
              <a:cxn ang="0">
                <a:pos x="connsiteX64638" y="connsiteY64638"/>
              </a:cxn>
              <a:cxn ang="0">
                <a:pos x="connsiteX64639" y="connsiteY64639"/>
              </a:cxn>
              <a:cxn ang="0">
                <a:pos x="connsiteX64640" y="connsiteY64640"/>
              </a:cxn>
              <a:cxn ang="0">
                <a:pos x="connsiteX64641" y="connsiteY64641"/>
              </a:cxn>
              <a:cxn ang="0">
                <a:pos x="connsiteX64642" y="connsiteY64642"/>
              </a:cxn>
              <a:cxn ang="0">
                <a:pos x="connsiteX64643" y="connsiteY64643"/>
              </a:cxn>
              <a:cxn ang="0">
                <a:pos x="connsiteX64644" y="connsiteY64644"/>
              </a:cxn>
              <a:cxn ang="0">
                <a:pos x="connsiteX64645" y="connsiteY64645"/>
              </a:cxn>
              <a:cxn ang="0">
                <a:pos x="connsiteX64646" y="connsiteY64646"/>
              </a:cxn>
              <a:cxn ang="0">
                <a:pos x="connsiteX64647" y="connsiteY64647"/>
              </a:cxn>
              <a:cxn ang="0">
                <a:pos x="connsiteX64648" y="connsiteY64648"/>
              </a:cxn>
              <a:cxn ang="0">
                <a:pos x="connsiteX64649" y="connsiteY64649"/>
              </a:cxn>
              <a:cxn ang="0">
                <a:pos x="connsiteX64650" y="connsiteY64650"/>
              </a:cxn>
              <a:cxn ang="0">
                <a:pos x="connsiteX64651" y="connsiteY64651"/>
              </a:cxn>
              <a:cxn ang="0">
                <a:pos x="connsiteX64652" y="connsiteY64652"/>
              </a:cxn>
              <a:cxn ang="0">
                <a:pos x="connsiteX64653" y="connsiteY64653"/>
              </a:cxn>
              <a:cxn ang="0">
                <a:pos x="connsiteX64654" y="connsiteY64654"/>
              </a:cxn>
              <a:cxn ang="0">
                <a:pos x="connsiteX64655" y="connsiteY64655"/>
              </a:cxn>
              <a:cxn ang="0">
                <a:pos x="connsiteX64656" y="connsiteY64656"/>
              </a:cxn>
              <a:cxn ang="0">
                <a:pos x="connsiteX64657" y="connsiteY64657"/>
              </a:cxn>
              <a:cxn ang="0">
                <a:pos x="connsiteX64658" y="connsiteY64658"/>
              </a:cxn>
              <a:cxn ang="0">
                <a:pos x="connsiteX64659" y="connsiteY64659"/>
              </a:cxn>
              <a:cxn ang="0">
                <a:pos x="connsiteX64660" y="connsiteY64660"/>
              </a:cxn>
              <a:cxn ang="0">
                <a:pos x="connsiteX64661" y="connsiteY64661"/>
              </a:cxn>
              <a:cxn ang="0">
                <a:pos x="connsiteX64662" y="connsiteY64662"/>
              </a:cxn>
              <a:cxn ang="0">
                <a:pos x="connsiteX64663" y="connsiteY64663"/>
              </a:cxn>
              <a:cxn ang="0">
                <a:pos x="connsiteX64664" y="connsiteY64664"/>
              </a:cxn>
              <a:cxn ang="0">
                <a:pos x="connsiteX64665" y="connsiteY64665"/>
              </a:cxn>
              <a:cxn ang="0">
                <a:pos x="connsiteX64666" y="connsiteY64666"/>
              </a:cxn>
              <a:cxn ang="0">
                <a:pos x="connsiteX64667" y="connsiteY64667"/>
              </a:cxn>
              <a:cxn ang="0">
                <a:pos x="connsiteX64668" y="connsiteY64668"/>
              </a:cxn>
              <a:cxn ang="0">
                <a:pos x="connsiteX64669" y="connsiteY64669"/>
              </a:cxn>
              <a:cxn ang="0">
                <a:pos x="connsiteX64670" y="connsiteY64670"/>
              </a:cxn>
              <a:cxn ang="0">
                <a:pos x="connsiteX64671" y="connsiteY64671"/>
              </a:cxn>
              <a:cxn ang="0">
                <a:pos x="connsiteX64672" y="connsiteY64672"/>
              </a:cxn>
              <a:cxn ang="0">
                <a:pos x="connsiteX64673" y="connsiteY64673"/>
              </a:cxn>
              <a:cxn ang="0">
                <a:pos x="connsiteX64674" y="connsiteY64674"/>
              </a:cxn>
              <a:cxn ang="0">
                <a:pos x="connsiteX64675" y="connsiteY64675"/>
              </a:cxn>
              <a:cxn ang="0">
                <a:pos x="connsiteX64676" y="connsiteY64676"/>
              </a:cxn>
              <a:cxn ang="0">
                <a:pos x="connsiteX64677" y="connsiteY64677"/>
              </a:cxn>
              <a:cxn ang="0">
                <a:pos x="connsiteX64678" y="connsiteY64678"/>
              </a:cxn>
              <a:cxn ang="0">
                <a:pos x="connsiteX64679" y="connsiteY64679"/>
              </a:cxn>
              <a:cxn ang="0">
                <a:pos x="connsiteX64680" y="connsiteY64680"/>
              </a:cxn>
              <a:cxn ang="0">
                <a:pos x="connsiteX64681" y="connsiteY64681"/>
              </a:cxn>
              <a:cxn ang="0">
                <a:pos x="connsiteX64682" y="connsiteY64682"/>
              </a:cxn>
              <a:cxn ang="0">
                <a:pos x="connsiteX64683" y="connsiteY64683"/>
              </a:cxn>
              <a:cxn ang="0">
                <a:pos x="connsiteX64684" y="connsiteY64684"/>
              </a:cxn>
              <a:cxn ang="0">
                <a:pos x="connsiteX64685" y="connsiteY64685"/>
              </a:cxn>
              <a:cxn ang="0">
                <a:pos x="connsiteX64686" y="connsiteY64686"/>
              </a:cxn>
              <a:cxn ang="0">
                <a:pos x="connsiteX64687" y="connsiteY64687"/>
              </a:cxn>
              <a:cxn ang="0">
                <a:pos x="connsiteX64688" y="connsiteY64688"/>
              </a:cxn>
              <a:cxn ang="0">
                <a:pos x="connsiteX64689" y="connsiteY64689"/>
              </a:cxn>
              <a:cxn ang="0">
                <a:pos x="connsiteX64690" y="connsiteY64690"/>
              </a:cxn>
              <a:cxn ang="0">
                <a:pos x="connsiteX64691" y="connsiteY64691"/>
              </a:cxn>
              <a:cxn ang="0">
                <a:pos x="connsiteX64692" y="connsiteY64692"/>
              </a:cxn>
              <a:cxn ang="0">
                <a:pos x="connsiteX64693" y="connsiteY64693"/>
              </a:cxn>
              <a:cxn ang="0">
                <a:pos x="connsiteX64694" y="connsiteY64694"/>
              </a:cxn>
              <a:cxn ang="0">
                <a:pos x="connsiteX64695" y="connsiteY64695"/>
              </a:cxn>
              <a:cxn ang="0">
                <a:pos x="connsiteX64696" y="connsiteY64696"/>
              </a:cxn>
              <a:cxn ang="0">
                <a:pos x="connsiteX64697" y="connsiteY64697"/>
              </a:cxn>
              <a:cxn ang="0">
                <a:pos x="connsiteX64698" y="connsiteY64698"/>
              </a:cxn>
              <a:cxn ang="0">
                <a:pos x="connsiteX64699" y="connsiteY64699"/>
              </a:cxn>
              <a:cxn ang="0">
                <a:pos x="connsiteX64700" y="connsiteY64700"/>
              </a:cxn>
              <a:cxn ang="0">
                <a:pos x="connsiteX64701" y="connsiteY64701"/>
              </a:cxn>
              <a:cxn ang="0">
                <a:pos x="connsiteX64702" y="connsiteY64702"/>
              </a:cxn>
              <a:cxn ang="0">
                <a:pos x="connsiteX64703" y="connsiteY64703"/>
              </a:cxn>
              <a:cxn ang="0">
                <a:pos x="connsiteX64704" y="connsiteY64704"/>
              </a:cxn>
              <a:cxn ang="0">
                <a:pos x="connsiteX64705" y="connsiteY64705"/>
              </a:cxn>
              <a:cxn ang="0">
                <a:pos x="connsiteX64706" y="connsiteY64706"/>
              </a:cxn>
              <a:cxn ang="0">
                <a:pos x="connsiteX64707" y="connsiteY64707"/>
              </a:cxn>
              <a:cxn ang="0">
                <a:pos x="connsiteX64708" y="connsiteY64708"/>
              </a:cxn>
              <a:cxn ang="0">
                <a:pos x="connsiteX64709" y="connsiteY64709"/>
              </a:cxn>
              <a:cxn ang="0">
                <a:pos x="connsiteX64710" y="connsiteY64710"/>
              </a:cxn>
              <a:cxn ang="0">
                <a:pos x="connsiteX64711" y="connsiteY64711"/>
              </a:cxn>
              <a:cxn ang="0">
                <a:pos x="connsiteX64712" y="connsiteY64712"/>
              </a:cxn>
              <a:cxn ang="0">
                <a:pos x="connsiteX64713" y="connsiteY64713"/>
              </a:cxn>
              <a:cxn ang="0">
                <a:pos x="connsiteX64714" y="connsiteY64714"/>
              </a:cxn>
              <a:cxn ang="0">
                <a:pos x="connsiteX64715" y="connsiteY64715"/>
              </a:cxn>
              <a:cxn ang="0">
                <a:pos x="connsiteX64716" y="connsiteY64716"/>
              </a:cxn>
              <a:cxn ang="0">
                <a:pos x="connsiteX64717" y="connsiteY64717"/>
              </a:cxn>
              <a:cxn ang="0">
                <a:pos x="connsiteX64718" y="connsiteY64718"/>
              </a:cxn>
              <a:cxn ang="0">
                <a:pos x="connsiteX64719" y="connsiteY64719"/>
              </a:cxn>
              <a:cxn ang="0">
                <a:pos x="connsiteX64720" y="connsiteY64720"/>
              </a:cxn>
              <a:cxn ang="0">
                <a:pos x="connsiteX64721" y="connsiteY64721"/>
              </a:cxn>
              <a:cxn ang="0">
                <a:pos x="connsiteX64722" y="connsiteY64722"/>
              </a:cxn>
              <a:cxn ang="0">
                <a:pos x="connsiteX64723" y="connsiteY64723"/>
              </a:cxn>
              <a:cxn ang="0">
                <a:pos x="connsiteX64724" y="connsiteY64724"/>
              </a:cxn>
              <a:cxn ang="0">
                <a:pos x="connsiteX64725" y="connsiteY64725"/>
              </a:cxn>
              <a:cxn ang="0">
                <a:pos x="connsiteX64726" y="connsiteY64726"/>
              </a:cxn>
              <a:cxn ang="0">
                <a:pos x="connsiteX64727" y="connsiteY64727"/>
              </a:cxn>
              <a:cxn ang="0">
                <a:pos x="connsiteX64728" y="connsiteY64728"/>
              </a:cxn>
              <a:cxn ang="0">
                <a:pos x="connsiteX64729" y="connsiteY64729"/>
              </a:cxn>
              <a:cxn ang="0">
                <a:pos x="connsiteX64730" y="connsiteY64730"/>
              </a:cxn>
              <a:cxn ang="0">
                <a:pos x="connsiteX64731" y="connsiteY64731"/>
              </a:cxn>
              <a:cxn ang="0">
                <a:pos x="connsiteX64732" y="connsiteY64732"/>
              </a:cxn>
              <a:cxn ang="0">
                <a:pos x="connsiteX64733" y="connsiteY64733"/>
              </a:cxn>
              <a:cxn ang="0">
                <a:pos x="connsiteX64734" y="connsiteY64734"/>
              </a:cxn>
              <a:cxn ang="0">
                <a:pos x="connsiteX64735" y="connsiteY64735"/>
              </a:cxn>
              <a:cxn ang="0">
                <a:pos x="connsiteX64736" y="connsiteY64736"/>
              </a:cxn>
              <a:cxn ang="0">
                <a:pos x="connsiteX64737" y="connsiteY64737"/>
              </a:cxn>
              <a:cxn ang="0">
                <a:pos x="connsiteX64738" y="connsiteY64738"/>
              </a:cxn>
              <a:cxn ang="0">
                <a:pos x="connsiteX64739" y="connsiteY64739"/>
              </a:cxn>
              <a:cxn ang="0">
                <a:pos x="connsiteX64740" y="connsiteY64740"/>
              </a:cxn>
              <a:cxn ang="0">
                <a:pos x="connsiteX64741" y="connsiteY64741"/>
              </a:cxn>
              <a:cxn ang="0">
                <a:pos x="connsiteX64742" y="connsiteY64742"/>
              </a:cxn>
              <a:cxn ang="0">
                <a:pos x="connsiteX64743" y="connsiteY64743"/>
              </a:cxn>
              <a:cxn ang="0">
                <a:pos x="connsiteX64744" y="connsiteY64744"/>
              </a:cxn>
              <a:cxn ang="0">
                <a:pos x="connsiteX64745" y="connsiteY64745"/>
              </a:cxn>
              <a:cxn ang="0">
                <a:pos x="connsiteX64746" y="connsiteY64746"/>
              </a:cxn>
              <a:cxn ang="0">
                <a:pos x="connsiteX64747" y="connsiteY64747"/>
              </a:cxn>
              <a:cxn ang="0">
                <a:pos x="connsiteX64748" y="connsiteY64748"/>
              </a:cxn>
              <a:cxn ang="0">
                <a:pos x="connsiteX64749" y="connsiteY64749"/>
              </a:cxn>
              <a:cxn ang="0">
                <a:pos x="connsiteX64750" y="connsiteY64750"/>
              </a:cxn>
              <a:cxn ang="0">
                <a:pos x="connsiteX64751" y="connsiteY64751"/>
              </a:cxn>
              <a:cxn ang="0">
                <a:pos x="connsiteX64752" y="connsiteY64752"/>
              </a:cxn>
              <a:cxn ang="0">
                <a:pos x="connsiteX64753" y="connsiteY64753"/>
              </a:cxn>
              <a:cxn ang="0">
                <a:pos x="connsiteX64754" y="connsiteY64754"/>
              </a:cxn>
              <a:cxn ang="0">
                <a:pos x="connsiteX64755" y="connsiteY64755"/>
              </a:cxn>
              <a:cxn ang="0">
                <a:pos x="connsiteX64756" y="connsiteY64756"/>
              </a:cxn>
              <a:cxn ang="0">
                <a:pos x="connsiteX64757" y="connsiteY64757"/>
              </a:cxn>
              <a:cxn ang="0">
                <a:pos x="connsiteX64758" y="connsiteY64758"/>
              </a:cxn>
              <a:cxn ang="0">
                <a:pos x="connsiteX64759" y="connsiteY64759"/>
              </a:cxn>
              <a:cxn ang="0">
                <a:pos x="connsiteX64760" y="connsiteY64760"/>
              </a:cxn>
              <a:cxn ang="0">
                <a:pos x="connsiteX64761" y="connsiteY64761"/>
              </a:cxn>
              <a:cxn ang="0">
                <a:pos x="connsiteX64762" y="connsiteY64762"/>
              </a:cxn>
              <a:cxn ang="0">
                <a:pos x="connsiteX64763" y="connsiteY64763"/>
              </a:cxn>
              <a:cxn ang="0">
                <a:pos x="connsiteX64764" y="connsiteY64764"/>
              </a:cxn>
              <a:cxn ang="0">
                <a:pos x="connsiteX64765" y="connsiteY64765"/>
              </a:cxn>
              <a:cxn ang="0">
                <a:pos x="connsiteX64766" y="connsiteY64766"/>
              </a:cxn>
              <a:cxn ang="0">
                <a:pos x="connsiteX64767" y="connsiteY64767"/>
              </a:cxn>
              <a:cxn ang="0">
                <a:pos x="connsiteX64768" y="connsiteY64768"/>
              </a:cxn>
              <a:cxn ang="0">
                <a:pos x="connsiteX64769" y="connsiteY64769"/>
              </a:cxn>
              <a:cxn ang="0">
                <a:pos x="connsiteX64770" y="connsiteY64770"/>
              </a:cxn>
              <a:cxn ang="0">
                <a:pos x="connsiteX64771" y="connsiteY64771"/>
              </a:cxn>
              <a:cxn ang="0">
                <a:pos x="connsiteX64772" y="connsiteY64772"/>
              </a:cxn>
              <a:cxn ang="0">
                <a:pos x="connsiteX64773" y="connsiteY64773"/>
              </a:cxn>
              <a:cxn ang="0">
                <a:pos x="connsiteX64774" y="connsiteY64774"/>
              </a:cxn>
              <a:cxn ang="0">
                <a:pos x="connsiteX64775" y="connsiteY64775"/>
              </a:cxn>
              <a:cxn ang="0">
                <a:pos x="connsiteX64776" y="connsiteY64776"/>
              </a:cxn>
              <a:cxn ang="0">
                <a:pos x="connsiteX64777" y="connsiteY64777"/>
              </a:cxn>
              <a:cxn ang="0">
                <a:pos x="connsiteX64778" y="connsiteY64778"/>
              </a:cxn>
              <a:cxn ang="0">
                <a:pos x="connsiteX64779" y="connsiteY64779"/>
              </a:cxn>
              <a:cxn ang="0">
                <a:pos x="connsiteX64780" y="connsiteY64780"/>
              </a:cxn>
              <a:cxn ang="0">
                <a:pos x="connsiteX64781" y="connsiteY64781"/>
              </a:cxn>
              <a:cxn ang="0">
                <a:pos x="connsiteX64782" y="connsiteY64782"/>
              </a:cxn>
              <a:cxn ang="0">
                <a:pos x="connsiteX64783" y="connsiteY64783"/>
              </a:cxn>
              <a:cxn ang="0">
                <a:pos x="connsiteX64784" y="connsiteY64784"/>
              </a:cxn>
              <a:cxn ang="0">
                <a:pos x="connsiteX64785" y="connsiteY64785"/>
              </a:cxn>
              <a:cxn ang="0">
                <a:pos x="connsiteX64786" y="connsiteY64786"/>
              </a:cxn>
              <a:cxn ang="0">
                <a:pos x="connsiteX64787" y="connsiteY64787"/>
              </a:cxn>
              <a:cxn ang="0">
                <a:pos x="connsiteX64788" y="connsiteY64788"/>
              </a:cxn>
              <a:cxn ang="0">
                <a:pos x="connsiteX64789" y="connsiteY64789"/>
              </a:cxn>
              <a:cxn ang="0">
                <a:pos x="connsiteX64790" y="connsiteY64790"/>
              </a:cxn>
              <a:cxn ang="0">
                <a:pos x="connsiteX64791" y="connsiteY64791"/>
              </a:cxn>
              <a:cxn ang="0">
                <a:pos x="connsiteX64792" y="connsiteY64792"/>
              </a:cxn>
              <a:cxn ang="0">
                <a:pos x="connsiteX64793" y="connsiteY64793"/>
              </a:cxn>
              <a:cxn ang="0">
                <a:pos x="connsiteX64794" y="connsiteY64794"/>
              </a:cxn>
              <a:cxn ang="0">
                <a:pos x="connsiteX64795" y="connsiteY64795"/>
              </a:cxn>
              <a:cxn ang="0">
                <a:pos x="connsiteX64796" y="connsiteY64796"/>
              </a:cxn>
              <a:cxn ang="0">
                <a:pos x="connsiteX64797" y="connsiteY64797"/>
              </a:cxn>
              <a:cxn ang="0">
                <a:pos x="connsiteX64798" y="connsiteY64798"/>
              </a:cxn>
              <a:cxn ang="0">
                <a:pos x="connsiteX64799" y="connsiteY64799"/>
              </a:cxn>
              <a:cxn ang="0">
                <a:pos x="connsiteX64800" y="connsiteY64800"/>
              </a:cxn>
              <a:cxn ang="0">
                <a:pos x="connsiteX64801" y="connsiteY64801"/>
              </a:cxn>
              <a:cxn ang="0">
                <a:pos x="connsiteX64802" y="connsiteY64802"/>
              </a:cxn>
              <a:cxn ang="0">
                <a:pos x="connsiteX64803" y="connsiteY64803"/>
              </a:cxn>
              <a:cxn ang="0">
                <a:pos x="connsiteX64804" y="connsiteY64804"/>
              </a:cxn>
              <a:cxn ang="0">
                <a:pos x="connsiteX64805" y="connsiteY64805"/>
              </a:cxn>
              <a:cxn ang="0">
                <a:pos x="connsiteX64806" y="connsiteY64806"/>
              </a:cxn>
              <a:cxn ang="0">
                <a:pos x="connsiteX64807" y="connsiteY64807"/>
              </a:cxn>
              <a:cxn ang="0">
                <a:pos x="connsiteX64808" y="connsiteY64808"/>
              </a:cxn>
              <a:cxn ang="0">
                <a:pos x="connsiteX64809" y="connsiteY64809"/>
              </a:cxn>
              <a:cxn ang="0">
                <a:pos x="connsiteX64810" y="connsiteY64810"/>
              </a:cxn>
              <a:cxn ang="0">
                <a:pos x="connsiteX64811" y="connsiteY64811"/>
              </a:cxn>
              <a:cxn ang="0">
                <a:pos x="connsiteX64812" y="connsiteY64812"/>
              </a:cxn>
              <a:cxn ang="0">
                <a:pos x="connsiteX64813" y="connsiteY64813"/>
              </a:cxn>
              <a:cxn ang="0">
                <a:pos x="connsiteX64814" y="connsiteY64814"/>
              </a:cxn>
              <a:cxn ang="0">
                <a:pos x="connsiteX64815" y="connsiteY64815"/>
              </a:cxn>
              <a:cxn ang="0">
                <a:pos x="connsiteX64816" y="connsiteY64816"/>
              </a:cxn>
              <a:cxn ang="0">
                <a:pos x="connsiteX64817" y="connsiteY64817"/>
              </a:cxn>
              <a:cxn ang="0">
                <a:pos x="connsiteX64818" y="connsiteY64818"/>
              </a:cxn>
              <a:cxn ang="0">
                <a:pos x="connsiteX64819" y="connsiteY64819"/>
              </a:cxn>
              <a:cxn ang="0">
                <a:pos x="connsiteX64820" y="connsiteY64820"/>
              </a:cxn>
              <a:cxn ang="0">
                <a:pos x="connsiteX64821" y="connsiteY64821"/>
              </a:cxn>
              <a:cxn ang="0">
                <a:pos x="connsiteX64822" y="connsiteY64822"/>
              </a:cxn>
              <a:cxn ang="0">
                <a:pos x="connsiteX64823" y="connsiteY64823"/>
              </a:cxn>
              <a:cxn ang="0">
                <a:pos x="connsiteX64824" y="connsiteY64824"/>
              </a:cxn>
              <a:cxn ang="0">
                <a:pos x="connsiteX64825" y="connsiteY64825"/>
              </a:cxn>
              <a:cxn ang="0">
                <a:pos x="connsiteX64826" y="connsiteY64826"/>
              </a:cxn>
              <a:cxn ang="0">
                <a:pos x="connsiteX64827" y="connsiteY64827"/>
              </a:cxn>
              <a:cxn ang="0">
                <a:pos x="connsiteX64828" y="connsiteY64828"/>
              </a:cxn>
              <a:cxn ang="0">
                <a:pos x="connsiteX64829" y="connsiteY64829"/>
              </a:cxn>
              <a:cxn ang="0">
                <a:pos x="connsiteX64830" y="connsiteY64830"/>
              </a:cxn>
              <a:cxn ang="0">
                <a:pos x="connsiteX64831" y="connsiteY64831"/>
              </a:cxn>
              <a:cxn ang="0">
                <a:pos x="connsiteX64832" y="connsiteY64832"/>
              </a:cxn>
              <a:cxn ang="0">
                <a:pos x="connsiteX64833" y="connsiteY64833"/>
              </a:cxn>
              <a:cxn ang="0">
                <a:pos x="connsiteX64834" y="connsiteY64834"/>
              </a:cxn>
              <a:cxn ang="0">
                <a:pos x="connsiteX64835" y="connsiteY64835"/>
              </a:cxn>
              <a:cxn ang="0">
                <a:pos x="connsiteX64836" y="connsiteY64836"/>
              </a:cxn>
              <a:cxn ang="0">
                <a:pos x="connsiteX64837" y="connsiteY64837"/>
              </a:cxn>
              <a:cxn ang="0">
                <a:pos x="connsiteX64838" y="connsiteY64838"/>
              </a:cxn>
              <a:cxn ang="0">
                <a:pos x="connsiteX64839" y="connsiteY64839"/>
              </a:cxn>
              <a:cxn ang="0">
                <a:pos x="connsiteX64840" y="connsiteY64840"/>
              </a:cxn>
              <a:cxn ang="0">
                <a:pos x="connsiteX64841" y="connsiteY64841"/>
              </a:cxn>
              <a:cxn ang="0">
                <a:pos x="connsiteX64842" y="connsiteY64842"/>
              </a:cxn>
              <a:cxn ang="0">
                <a:pos x="connsiteX64843" y="connsiteY64843"/>
              </a:cxn>
              <a:cxn ang="0">
                <a:pos x="connsiteX64844" y="connsiteY64844"/>
              </a:cxn>
              <a:cxn ang="0">
                <a:pos x="connsiteX64845" y="connsiteY64845"/>
              </a:cxn>
              <a:cxn ang="0">
                <a:pos x="connsiteX64846" y="connsiteY64846"/>
              </a:cxn>
              <a:cxn ang="0">
                <a:pos x="connsiteX64847" y="connsiteY64847"/>
              </a:cxn>
              <a:cxn ang="0">
                <a:pos x="connsiteX64848" y="connsiteY64848"/>
              </a:cxn>
              <a:cxn ang="0">
                <a:pos x="connsiteX64849" y="connsiteY64849"/>
              </a:cxn>
              <a:cxn ang="0">
                <a:pos x="connsiteX64850" y="connsiteY64850"/>
              </a:cxn>
              <a:cxn ang="0">
                <a:pos x="connsiteX64851" y="connsiteY64851"/>
              </a:cxn>
              <a:cxn ang="0">
                <a:pos x="connsiteX64852" y="connsiteY64852"/>
              </a:cxn>
              <a:cxn ang="0">
                <a:pos x="connsiteX64853" y="connsiteY64853"/>
              </a:cxn>
              <a:cxn ang="0">
                <a:pos x="connsiteX64854" y="connsiteY64854"/>
              </a:cxn>
              <a:cxn ang="0">
                <a:pos x="connsiteX64855" y="connsiteY64855"/>
              </a:cxn>
              <a:cxn ang="0">
                <a:pos x="connsiteX64856" y="connsiteY64856"/>
              </a:cxn>
              <a:cxn ang="0">
                <a:pos x="connsiteX64857" y="connsiteY64857"/>
              </a:cxn>
              <a:cxn ang="0">
                <a:pos x="connsiteX64858" y="connsiteY64858"/>
              </a:cxn>
              <a:cxn ang="0">
                <a:pos x="connsiteX64859" y="connsiteY64859"/>
              </a:cxn>
              <a:cxn ang="0">
                <a:pos x="connsiteX64860" y="connsiteY64860"/>
              </a:cxn>
              <a:cxn ang="0">
                <a:pos x="connsiteX64861" y="connsiteY64861"/>
              </a:cxn>
              <a:cxn ang="0">
                <a:pos x="connsiteX64862" y="connsiteY64862"/>
              </a:cxn>
              <a:cxn ang="0">
                <a:pos x="connsiteX64863" y="connsiteY64863"/>
              </a:cxn>
              <a:cxn ang="0">
                <a:pos x="connsiteX64864" y="connsiteY64864"/>
              </a:cxn>
              <a:cxn ang="0">
                <a:pos x="connsiteX64865" y="connsiteY64865"/>
              </a:cxn>
              <a:cxn ang="0">
                <a:pos x="connsiteX64866" y="connsiteY64866"/>
              </a:cxn>
              <a:cxn ang="0">
                <a:pos x="connsiteX64867" y="connsiteY64867"/>
              </a:cxn>
              <a:cxn ang="0">
                <a:pos x="connsiteX64868" y="connsiteY64868"/>
              </a:cxn>
              <a:cxn ang="0">
                <a:pos x="connsiteX64869" y="connsiteY64869"/>
              </a:cxn>
              <a:cxn ang="0">
                <a:pos x="connsiteX64870" y="connsiteY64870"/>
              </a:cxn>
              <a:cxn ang="0">
                <a:pos x="connsiteX64871" y="connsiteY64871"/>
              </a:cxn>
              <a:cxn ang="0">
                <a:pos x="connsiteX64872" y="connsiteY64872"/>
              </a:cxn>
              <a:cxn ang="0">
                <a:pos x="connsiteX64873" y="connsiteY64873"/>
              </a:cxn>
              <a:cxn ang="0">
                <a:pos x="connsiteX64874" y="connsiteY64874"/>
              </a:cxn>
              <a:cxn ang="0">
                <a:pos x="connsiteX64875" y="connsiteY64875"/>
              </a:cxn>
              <a:cxn ang="0">
                <a:pos x="connsiteX64876" y="connsiteY64876"/>
              </a:cxn>
              <a:cxn ang="0">
                <a:pos x="connsiteX64877" y="connsiteY64877"/>
              </a:cxn>
              <a:cxn ang="0">
                <a:pos x="connsiteX64878" y="connsiteY64878"/>
              </a:cxn>
              <a:cxn ang="0">
                <a:pos x="connsiteX64879" y="connsiteY64879"/>
              </a:cxn>
              <a:cxn ang="0">
                <a:pos x="connsiteX64880" y="connsiteY64880"/>
              </a:cxn>
              <a:cxn ang="0">
                <a:pos x="connsiteX64881" y="connsiteY64881"/>
              </a:cxn>
              <a:cxn ang="0">
                <a:pos x="connsiteX64882" y="connsiteY64882"/>
              </a:cxn>
              <a:cxn ang="0">
                <a:pos x="connsiteX64883" y="connsiteY64883"/>
              </a:cxn>
              <a:cxn ang="0">
                <a:pos x="connsiteX64884" y="connsiteY64884"/>
              </a:cxn>
              <a:cxn ang="0">
                <a:pos x="connsiteX64885" y="connsiteY64885"/>
              </a:cxn>
              <a:cxn ang="0">
                <a:pos x="connsiteX64886" y="connsiteY64886"/>
              </a:cxn>
              <a:cxn ang="0">
                <a:pos x="connsiteX64887" y="connsiteY64887"/>
              </a:cxn>
              <a:cxn ang="0">
                <a:pos x="connsiteX64888" y="connsiteY64888"/>
              </a:cxn>
              <a:cxn ang="0">
                <a:pos x="connsiteX64889" y="connsiteY64889"/>
              </a:cxn>
              <a:cxn ang="0">
                <a:pos x="connsiteX64890" y="connsiteY64890"/>
              </a:cxn>
              <a:cxn ang="0">
                <a:pos x="connsiteX64891" y="connsiteY64891"/>
              </a:cxn>
              <a:cxn ang="0">
                <a:pos x="connsiteX64892" y="connsiteY64892"/>
              </a:cxn>
              <a:cxn ang="0">
                <a:pos x="connsiteX64893" y="connsiteY64893"/>
              </a:cxn>
              <a:cxn ang="0">
                <a:pos x="connsiteX64894" y="connsiteY64894"/>
              </a:cxn>
              <a:cxn ang="0">
                <a:pos x="connsiteX64895" y="connsiteY64895"/>
              </a:cxn>
              <a:cxn ang="0">
                <a:pos x="connsiteX64896" y="connsiteY64896"/>
              </a:cxn>
              <a:cxn ang="0">
                <a:pos x="connsiteX64897" y="connsiteY64897"/>
              </a:cxn>
              <a:cxn ang="0">
                <a:pos x="connsiteX64898" y="connsiteY64898"/>
              </a:cxn>
              <a:cxn ang="0">
                <a:pos x="connsiteX64899" y="connsiteY64899"/>
              </a:cxn>
              <a:cxn ang="0">
                <a:pos x="connsiteX64900" y="connsiteY64900"/>
              </a:cxn>
              <a:cxn ang="0">
                <a:pos x="connsiteX64901" y="connsiteY64901"/>
              </a:cxn>
              <a:cxn ang="0">
                <a:pos x="connsiteX64902" y="connsiteY64902"/>
              </a:cxn>
              <a:cxn ang="0">
                <a:pos x="connsiteX64903" y="connsiteY64903"/>
              </a:cxn>
              <a:cxn ang="0">
                <a:pos x="connsiteX64904" y="connsiteY64904"/>
              </a:cxn>
              <a:cxn ang="0">
                <a:pos x="connsiteX64905" y="connsiteY64905"/>
              </a:cxn>
              <a:cxn ang="0">
                <a:pos x="connsiteX64906" y="connsiteY64906"/>
              </a:cxn>
              <a:cxn ang="0">
                <a:pos x="connsiteX64907" y="connsiteY64907"/>
              </a:cxn>
              <a:cxn ang="0">
                <a:pos x="connsiteX64908" y="connsiteY64908"/>
              </a:cxn>
              <a:cxn ang="0">
                <a:pos x="connsiteX64909" y="connsiteY64909"/>
              </a:cxn>
              <a:cxn ang="0">
                <a:pos x="connsiteX64910" y="connsiteY64910"/>
              </a:cxn>
              <a:cxn ang="0">
                <a:pos x="connsiteX64911" y="connsiteY64911"/>
              </a:cxn>
              <a:cxn ang="0">
                <a:pos x="connsiteX64912" y="connsiteY64912"/>
              </a:cxn>
              <a:cxn ang="0">
                <a:pos x="connsiteX64913" y="connsiteY64913"/>
              </a:cxn>
              <a:cxn ang="0">
                <a:pos x="connsiteX64914" y="connsiteY64914"/>
              </a:cxn>
              <a:cxn ang="0">
                <a:pos x="connsiteX64915" y="connsiteY64915"/>
              </a:cxn>
              <a:cxn ang="0">
                <a:pos x="connsiteX64916" y="connsiteY64916"/>
              </a:cxn>
              <a:cxn ang="0">
                <a:pos x="connsiteX64917" y="connsiteY64917"/>
              </a:cxn>
              <a:cxn ang="0">
                <a:pos x="connsiteX64918" y="connsiteY64918"/>
              </a:cxn>
              <a:cxn ang="0">
                <a:pos x="connsiteX64919" y="connsiteY64919"/>
              </a:cxn>
              <a:cxn ang="0">
                <a:pos x="connsiteX64920" y="connsiteY64920"/>
              </a:cxn>
              <a:cxn ang="0">
                <a:pos x="connsiteX64921" y="connsiteY64921"/>
              </a:cxn>
              <a:cxn ang="0">
                <a:pos x="connsiteX64922" y="connsiteY64922"/>
              </a:cxn>
              <a:cxn ang="0">
                <a:pos x="connsiteX64923" y="connsiteY64923"/>
              </a:cxn>
              <a:cxn ang="0">
                <a:pos x="connsiteX64924" y="connsiteY64924"/>
              </a:cxn>
              <a:cxn ang="0">
                <a:pos x="connsiteX64925" y="connsiteY64925"/>
              </a:cxn>
              <a:cxn ang="0">
                <a:pos x="connsiteX64926" y="connsiteY64926"/>
              </a:cxn>
              <a:cxn ang="0">
                <a:pos x="connsiteX64927" y="connsiteY64927"/>
              </a:cxn>
              <a:cxn ang="0">
                <a:pos x="connsiteX64928" y="connsiteY64928"/>
              </a:cxn>
              <a:cxn ang="0">
                <a:pos x="connsiteX64929" y="connsiteY64929"/>
              </a:cxn>
              <a:cxn ang="0">
                <a:pos x="connsiteX64930" y="connsiteY64930"/>
              </a:cxn>
              <a:cxn ang="0">
                <a:pos x="connsiteX64931" y="connsiteY64931"/>
              </a:cxn>
              <a:cxn ang="0">
                <a:pos x="connsiteX64932" y="connsiteY64932"/>
              </a:cxn>
              <a:cxn ang="0">
                <a:pos x="connsiteX64933" y="connsiteY64933"/>
              </a:cxn>
              <a:cxn ang="0">
                <a:pos x="connsiteX64934" y="connsiteY64934"/>
              </a:cxn>
              <a:cxn ang="0">
                <a:pos x="connsiteX64935" y="connsiteY64935"/>
              </a:cxn>
              <a:cxn ang="0">
                <a:pos x="connsiteX64936" y="connsiteY64936"/>
              </a:cxn>
              <a:cxn ang="0">
                <a:pos x="connsiteX64937" y="connsiteY64937"/>
              </a:cxn>
              <a:cxn ang="0">
                <a:pos x="connsiteX64938" y="connsiteY64938"/>
              </a:cxn>
              <a:cxn ang="0">
                <a:pos x="connsiteX64939" y="connsiteY64939"/>
              </a:cxn>
              <a:cxn ang="0">
                <a:pos x="connsiteX64940" y="connsiteY64940"/>
              </a:cxn>
              <a:cxn ang="0">
                <a:pos x="connsiteX64941" y="connsiteY64941"/>
              </a:cxn>
              <a:cxn ang="0">
                <a:pos x="connsiteX64942" y="connsiteY64942"/>
              </a:cxn>
              <a:cxn ang="0">
                <a:pos x="connsiteX64943" y="connsiteY64943"/>
              </a:cxn>
              <a:cxn ang="0">
                <a:pos x="connsiteX64944" y="connsiteY64944"/>
              </a:cxn>
              <a:cxn ang="0">
                <a:pos x="connsiteX64945" y="connsiteY64945"/>
              </a:cxn>
              <a:cxn ang="0">
                <a:pos x="connsiteX64946" y="connsiteY64946"/>
              </a:cxn>
              <a:cxn ang="0">
                <a:pos x="connsiteX64947" y="connsiteY64947"/>
              </a:cxn>
              <a:cxn ang="0">
                <a:pos x="connsiteX64948" y="connsiteY64948"/>
              </a:cxn>
              <a:cxn ang="0">
                <a:pos x="connsiteX64949" y="connsiteY64949"/>
              </a:cxn>
              <a:cxn ang="0">
                <a:pos x="connsiteX64950" y="connsiteY64950"/>
              </a:cxn>
              <a:cxn ang="0">
                <a:pos x="connsiteX64951" y="connsiteY64951"/>
              </a:cxn>
              <a:cxn ang="0">
                <a:pos x="connsiteX64952" y="connsiteY64952"/>
              </a:cxn>
              <a:cxn ang="0">
                <a:pos x="connsiteX64953" y="connsiteY64953"/>
              </a:cxn>
              <a:cxn ang="0">
                <a:pos x="connsiteX64954" y="connsiteY64954"/>
              </a:cxn>
              <a:cxn ang="0">
                <a:pos x="connsiteX64955" y="connsiteY64955"/>
              </a:cxn>
              <a:cxn ang="0">
                <a:pos x="connsiteX64956" y="connsiteY64956"/>
              </a:cxn>
              <a:cxn ang="0">
                <a:pos x="connsiteX64957" y="connsiteY64957"/>
              </a:cxn>
              <a:cxn ang="0">
                <a:pos x="connsiteX64958" y="connsiteY64958"/>
              </a:cxn>
              <a:cxn ang="0">
                <a:pos x="connsiteX64959" y="connsiteY64959"/>
              </a:cxn>
              <a:cxn ang="0">
                <a:pos x="connsiteX64960" y="connsiteY64960"/>
              </a:cxn>
              <a:cxn ang="0">
                <a:pos x="connsiteX64961" y="connsiteY64961"/>
              </a:cxn>
              <a:cxn ang="0">
                <a:pos x="connsiteX64962" y="connsiteY64962"/>
              </a:cxn>
              <a:cxn ang="0">
                <a:pos x="connsiteX64963" y="connsiteY64963"/>
              </a:cxn>
              <a:cxn ang="0">
                <a:pos x="connsiteX64964" y="connsiteY64964"/>
              </a:cxn>
              <a:cxn ang="0">
                <a:pos x="connsiteX64965" y="connsiteY64965"/>
              </a:cxn>
              <a:cxn ang="0">
                <a:pos x="connsiteX64966" y="connsiteY64966"/>
              </a:cxn>
              <a:cxn ang="0">
                <a:pos x="connsiteX64967" y="connsiteY64967"/>
              </a:cxn>
              <a:cxn ang="0">
                <a:pos x="connsiteX64968" y="connsiteY64968"/>
              </a:cxn>
              <a:cxn ang="0">
                <a:pos x="connsiteX64969" y="connsiteY64969"/>
              </a:cxn>
              <a:cxn ang="0">
                <a:pos x="connsiteX64970" y="connsiteY64970"/>
              </a:cxn>
              <a:cxn ang="0">
                <a:pos x="connsiteX64971" y="connsiteY64971"/>
              </a:cxn>
              <a:cxn ang="0">
                <a:pos x="connsiteX64972" y="connsiteY64972"/>
              </a:cxn>
              <a:cxn ang="0">
                <a:pos x="connsiteX64973" y="connsiteY64973"/>
              </a:cxn>
              <a:cxn ang="0">
                <a:pos x="connsiteX64974" y="connsiteY64974"/>
              </a:cxn>
              <a:cxn ang="0">
                <a:pos x="connsiteX64975" y="connsiteY64975"/>
              </a:cxn>
              <a:cxn ang="0">
                <a:pos x="connsiteX64976" y="connsiteY64976"/>
              </a:cxn>
              <a:cxn ang="0">
                <a:pos x="connsiteX64977" y="connsiteY64977"/>
              </a:cxn>
              <a:cxn ang="0">
                <a:pos x="connsiteX64978" y="connsiteY64978"/>
              </a:cxn>
              <a:cxn ang="0">
                <a:pos x="connsiteX64979" y="connsiteY64979"/>
              </a:cxn>
              <a:cxn ang="0">
                <a:pos x="connsiteX64980" y="connsiteY64980"/>
              </a:cxn>
              <a:cxn ang="0">
                <a:pos x="connsiteX64981" y="connsiteY64981"/>
              </a:cxn>
              <a:cxn ang="0">
                <a:pos x="connsiteX64982" y="connsiteY64982"/>
              </a:cxn>
              <a:cxn ang="0">
                <a:pos x="connsiteX64983" y="connsiteY64983"/>
              </a:cxn>
              <a:cxn ang="0">
                <a:pos x="connsiteX64984" y="connsiteY64984"/>
              </a:cxn>
              <a:cxn ang="0">
                <a:pos x="connsiteX64985" y="connsiteY64985"/>
              </a:cxn>
              <a:cxn ang="0">
                <a:pos x="connsiteX64986" y="connsiteY64986"/>
              </a:cxn>
              <a:cxn ang="0">
                <a:pos x="connsiteX64987" y="connsiteY64987"/>
              </a:cxn>
              <a:cxn ang="0">
                <a:pos x="connsiteX64988" y="connsiteY64988"/>
              </a:cxn>
              <a:cxn ang="0">
                <a:pos x="connsiteX64989" y="connsiteY64989"/>
              </a:cxn>
              <a:cxn ang="0">
                <a:pos x="connsiteX64990" y="connsiteY64990"/>
              </a:cxn>
              <a:cxn ang="0">
                <a:pos x="connsiteX64991" y="connsiteY64991"/>
              </a:cxn>
              <a:cxn ang="0">
                <a:pos x="connsiteX64992" y="connsiteY64992"/>
              </a:cxn>
              <a:cxn ang="0">
                <a:pos x="connsiteX64993" y="connsiteY64993"/>
              </a:cxn>
              <a:cxn ang="0">
                <a:pos x="connsiteX64994" y="connsiteY64994"/>
              </a:cxn>
              <a:cxn ang="0">
                <a:pos x="connsiteX64995" y="connsiteY64995"/>
              </a:cxn>
              <a:cxn ang="0">
                <a:pos x="connsiteX64996" y="connsiteY64996"/>
              </a:cxn>
              <a:cxn ang="0">
                <a:pos x="connsiteX64997" y="connsiteY64997"/>
              </a:cxn>
              <a:cxn ang="0">
                <a:pos x="connsiteX64998" y="connsiteY64998"/>
              </a:cxn>
              <a:cxn ang="0">
                <a:pos x="connsiteX64999" y="connsiteY64999"/>
              </a:cxn>
              <a:cxn ang="0">
                <a:pos x="connsiteX65000" y="connsiteY65000"/>
              </a:cxn>
              <a:cxn ang="0">
                <a:pos x="connsiteX65001" y="connsiteY65001"/>
              </a:cxn>
              <a:cxn ang="0">
                <a:pos x="connsiteX65002" y="connsiteY65002"/>
              </a:cxn>
              <a:cxn ang="0">
                <a:pos x="connsiteX65003" y="connsiteY65003"/>
              </a:cxn>
              <a:cxn ang="0">
                <a:pos x="connsiteX65004" y="connsiteY65004"/>
              </a:cxn>
              <a:cxn ang="0">
                <a:pos x="connsiteX65005" y="connsiteY65005"/>
              </a:cxn>
              <a:cxn ang="0">
                <a:pos x="connsiteX65006" y="connsiteY65006"/>
              </a:cxn>
              <a:cxn ang="0">
                <a:pos x="connsiteX65007" y="connsiteY65007"/>
              </a:cxn>
              <a:cxn ang="0">
                <a:pos x="connsiteX65008" y="connsiteY65008"/>
              </a:cxn>
              <a:cxn ang="0">
                <a:pos x="connsiteX65009" y="connsiteY65009"/>
              </a:cxn>
              <a:cxn ang="0">
                <a:pos x="connsiteX65010" y="connsiteY65010"/>
              </a:cxn>
              <a:cxn ang="0">
                <a:pos x="connsiteX65011" y="connsiteY65011"/>
              </a:cxn>
              <a:cxn ang="0">
                <a:pos x="connsiteX65012" y="connsiteY65012"/>
              </a:cxn>
              <a:cxn ang="0">
                <a:pos x="connsiteX65013" y="connsiteY65013"/>
              </a:cxn>
              <a:cxn ang="0">
                <a:pos x="connsiteX65014" y="connsiteY65014"/>
              </a:cxn>
              <a:cxn ang="0">
                <a:pos x="connsiteX65015" y="connsiteY65015"/>
              </a:cxn>
              <a:cxn ang="0">
                <a:pos x="connsiteX65016" y="connsiteY65016"/>
              </a:cxn>
              <a:cxn ang="0">
                <a:pos x="connsiteX65017" y="connsiteY65017"/>
              </a:cxn>
              <a:cxn ang="0">
                <a:pos x="connsiteX65018" y="connsiteY65018"/>
              </a:cxn>
              <a:cxn ang="0">
                <a:pos x="connsiteX65019" y="connsiteY65019"/>
              </a:cxn>
              <a:cxn ang="0">
                <a:pos x="connsiteX65020" y="connsiteY65020"/>
              </a:cxn>
              <a:cxn ang="0">
                <a:pos x="connsiteX65021" y="connsiteY65021"/>
              </a:cxn>
              <a:cxn ang="0">
                <a:pos x="connsiteX65022" y="connsiteY65022"/>
              </a:cxn>
              <a:cxn ang="0">
                <a:pos x="connsiteX65023" y="connsiteY65023"/>
              </a:cxn>
              <a:cxn ang="0">
                <a:pos x="connsiteX65024" y="connsiteY65024"/>
              </a:cxn>
              <a:cxn ang="0">
                <a:pos x="connsiteX65025" y="connsiteY65025"/>
              </a:cxn>
              <a:cxn ang="0">
                <a:pos x="connsiteX65026" y="connsiteY65026"/>
              </a:cxn>
              <a:cxn ang="0">
                <a:pos x="connsiteX65027" y="connsiteY65027"/>
              </a:cxn>
              <a:cxn ang="0">
                <a:pos x="connsiteX65028" y="connsiteY65028"/>
              </a:cxn>
              <a:cxn ang="0">
                <a:pos x="connsiteX65029" y="connsiteY65029"/>
              </a:cxn>
              <a:cxn ang="0">
                <a:pos x="connsiteX65030" y="connsiteY65030"/>
              </a:cxn>
              <a:cxn ang="0">
                <a:pos x="connsiteX65031" y="connsiteY65031"/>
              </a:cxn>
              <a:cxn ang="0">
                <a:pos x="connsiteX65032" y="connsiteY65032"/>
              </a:cxn>
              <a:cxn ang="0">
                <a:pos x="connsiteX65033" y="connsiteY65033"/>
              </a:cxn>
              <a:cxn ang="0">
                <a:pos x="connsiteX65034" y="connsiteY65034"/>
              </a:cxn>
              <a:cxn ang="0">
                <a:pos x="connsiteX65035" y="connsiteY65035"/>
              </a:cxn>
              <a:cxn ang="0">
                <a:pos x="connsiteX65036" y="connsiteY65036"/>
              </a:cxn>
              <a:cxn ang="0">
                <a:pos x="connsiteX65037" y="connsiteY65037"/>
              </a:cxn>
              <a:cxn ang="0">
                <a:pos x="connsiteX65038" y="connsiteY65038"/>
              </a:cxn>
              <a:cxn ang="0">
                <a:pos x="connsiteX65039" y="connsiteY65039"/>
              </a:cxn>
              <a:cxn ang="0">
                <a:pos x="connsiteX65040" y="connsiteY65040"/>
              </a:cxn>
              <a:cxn ang="0">
                <a:pos x="connsiteX65041" y="connsiteY65041"/>
              </a:cxn>
              <a:cxn ang="0">
                <a:pos x="connsiteX65042" y="connsiteY65042"/>
              </a:cxn>
              <a:cxn ang="0">
                <a:pos x="connsiteX65043" y="connsiteY65043"/>
              </a:cxn>
              <a:cxn ang="0">
                <a:pos x="connsiteX65044" y="connsiteY65044"/>
              </a:cxn>
              <a:cxn ang="0">
                <a:pos x="connsiteX65045" y="connsiteY65045"/>
              </a:cxn>
              <a:cxn ang="0">
                <a:pos x="connsiteX65046" y="connsiteY65046"/>
              </a:cxn>
              <a:cxn ang="0">
                <a:pos x="connsiteX65047" y="connsiteY65047"/>
              </a:cxn>
              <a:cxn ang="0">
                <a:pos x="connsiteX65048" y="connsiteY65048"/>
              </a:cxn>
              <a:cxn ang="0">
                <a:pos x="connsiteX65049" y="connsiteY65049"/>
              </a:cxn>
              <a:cxn ang="0">
                <a:pos x="connsiteX65050" y="connsiteY65050"/>
              </a:cxn>
              <a:cxn ang="0">
                <a:pos x="connsiteX65051" y="connsiteY65051"/>
              </a:cxn>
              <a:cxn ang="0">
                <a:pos x="connsiteX65052" y="connsiteY65052"/>
              </a:cxn>
              <a:cxn ang="0">
                <a:pos x="connsiteX65053" y="connsiteY65053"/>
              </a:cxn>
              <a:cxn ang="0">
                <a:pos x="connsiteX65054" y="connsiteY65054"/>
              </a:cxn>
              <a:cxn ang="0">
                <a:pos x="connsiteX65055" y="connsiteY65055"/>
              </a:cxn>
              <a:cxn ang="0">
                <a:pos x="connsiteX65056" y="connsiteY65056"/>
              </a:cxn>
              <a:cxn ang="0">
                <a:pos x="connsiteX65057" y="connsiteY65057"/>
              </a:cxn>
              <a:cxn ang="0">
                <a:pos x="connsiteX65058" y="connsiteY65058"/>
              </a:cxn>
              <a:cxn ang="0">
                <a:pos x="connsiteX65059" y="connsiteY65059"/>
              </a:cxn>
              <a:cxn ang="0">
                <a:pos x="connsiteX65060" y="connsiteY65060"/>
              </a:cxn>
              <a:cxn ang="0">
                <a:pos x="connsiteX65061" y="connsiteY65061"/>
              </a:cxn>
              <a:cxn ang="0">
                <a:pos x="connsiteX65062" y="connsiteY65062"/>
              </a:cxn>
              <a:cxn ang="0">
                <a:pos x="connsiteX65063" y="connsiteY65063"/>
              </a:cxn>
              <a:cxn ang="0">
                <a:pos x="connsiteX65064" y="connsiteY65064"/>
              </a:cxn>
              <a:cxn ang="0">
                <a:pos x="connsiteX65065" y="connsiteY65065"/>
              </a:cxn>
              <a:cxn ang="0">
                <a:pos x="connsiteX65066" y="connsiteY65066"/>
              </a:cxn>
              <a:cxn ang="0">
                <a:pos x="connsiteX65067" y="connsiteY65067"/>
              </a:cxn>
              <a:cxn ang="0">
                <a:pos x="connsiteX65068" y="connsiteY65068"/>
              </a:cxn>
              <a:cxn ang="0">
                <a:pos x="connsiteX65069" y="connsiteY65069"/>
              </a:cxn>
              <a:cxn ang="0">
                <a:pos x="connsiteX65070" y="connsiteY65070"/>
              </a:cxn>
              <a:cxn ang="0">
                <a:pos x="connsiteX65071" y="connsiteY65071"/>
              </a:cxn>
              <a:cxn ang="0">
                <a:pos x="connsiteX65072" y="connsiteY65072"/>
              </a:cxn>
              <a:cxn ang="0">
                <a:pos x="connsiteX65073" y="connsiteY65073"/>
              </a:cxn>
              <a:cxn ang="0">
                <a:pos x="connsiteX65074" y="connsiteY65074"/>
              </a:cxn>
              <a:cxn ang="0">
                <a:pos x="connsiteX65075" y="connsiteY65075"/>
              </a:cxn>
              <a:cxn ang="0">
                <a:pos x="connsiteX65076" y="connsiteY65076"/>
              </a:cxn>
              <a:cxn ang="0">
                <a:pos x="connsiteX65077" y="connsiteY65077"/>
              </a:cxn>
              <a:cxn ang="0">
                <a:pos x="connsiteX65078" y="connsiteY65078"/>
              </a:cxn>
              <a:cxn ang="0">
                <a:pos x="connsiteX65079" y="connsiteY65079"/>
              </a:cxn>
              <a:cxn ang="0">
                <a:pos x="connsiteX65080" y="connsiteY65080"/>
              </a:cxn>
              <a:cxn ang="0">
                <a:pos x="connsiteX65081" y="connsiteY65081"/>
              </a:cxn>
              <a:cxn ang="0">
                <a:pos x="connsiteX65082" y="connsiteY65082"/>
              </a:cxn>
              <a:cxn ang="0">
                <a:pos x="connsiteX65083" y="connsiteY65083"/>
              </a:cxn>
              <a:cxn ang="0">
                <a:pos x="connsiteX65084" y="connsiteY65084"/>
              </a:cxn>
              <a:cxn ang="0">
                <a:pos x="connsiteX65085" y="connsiteY65085"/>
              </a:cxn>
              <a:cxn ang="0">
                <a:pos x="connsiteX65086" y="connsiteY65086"/>
              </a:cxn>
              <a:cxn ang="0">
                <a:pos x="connsiteX65087" y="connsiteY65087"/>
              </a:cxn>
              <a:cxn ang="0">
                <a:pos x="connsiteX65088" y="connsiteY65088"/>
              </a:cxn>
              <a:cxn ang="0">
                <a:pos x="connsiteX65089" y="connsiteY65089"/>
              </a:cxn>
              <a:cxn ang="0">
                <a:pos x="connsiteX65090" y="connsiteY65090"/>
              </a:cxn>
              <a:cxn ang="0">
                <a:pos x="connsiteX65091" y="connsiteY65091"/>
              </a:cxn>
              <a:cxn ang="0">
                <a:pos x="connsiteX65092" y="connsiteY65092"/>
              </a:cxn>
              <a:cxn ang="0">
                <a:pos x="connsiteX65093" y="connsiteY65093"/>
              </a:cxn>
              <a:cxn ang="0">
                <a:pos x="connsiteX65094" y="connsiteY65094"/>
              </a:cxn>
              <a:cxn ang="0">
                <a:pos x="connsiteX65095" y="connsiteY65095"/>
              </a:cxn>
              <a:cxn ang="0">
                <a:pos x="connsiteX65096" y="connsiteY65096"/>
              </a:cxn>
              <a:cxn ang="0">
                <a:pos x="connsiteX65097" y="connsiteY65097"/>
              </a:cxn>
              <a:cxn ang="0">
                <a:pos x="connsiteX65098" y="connsiteY65098"/>
              </a:cxn>
              <a:cxn ang="0">
                <a:pos x="connsiteX65099" y="connsiteY65099"/>
              </a:cxn>
              <a:cxn ang="0">
                <a:pos x="connsiteX65100" y="connsiteY65100"/>
              </a:cxn>
              <a:cxn ang="0">
                <a:pos x="connsiteX65101" y="connsiteY65101"/>
              </a:cxn>
              <a:cxn ang="0">
                <a:pos x="connsiteX65102" y="connsiteY65102"/>
              </a:cxn>
              <a:cxn ang="0">
                <a:pos x="connsiteX65103" y="connsiteY65103"/>
              </a:cxn>
              <a:cxn ang="0">
                <a:pos x="connsiteX65104" y="connsiteY65104"/>
              </a:cxn>
              <a:cxn ang="0">
                <a:pos x="connsiteX65105" y="connsiteY65105"/>
              </a:cxn>
              <a:cxn ang="0">
                <a:pos x="connsiteX65106" y="connsiteY65106"/>
              </a:cxn>
              <a:cxn ang="0">
                <a:pos x="connsiteX65107" y="connsiteY65107"/>
              </a:cxn>
              <a:cxn ang="0">
                <a:pos x="connsiteX65108" y="connsiteY65108"/>
              </a:cxn>
              <a:cxn ang="0">
                <a:pos x="connsiteX65109" y="connsiteY65109"/>
              </a:cxn>
              <a:cxn ang="0">
                <a:pos x="connsiteX65110" y="connsiteY65110"/>
              </a:cxn>
              <a:cxn ang="0">
                <a:pos x="connsiteX65111" y="connsiteY65111"/>
              </a:cxn>
              <a:cxn ang="0">
                <a:pos x="connsiteX65112" y="connsiteY65112"/>
              </a:cxn>
              <a:cxn ang="0">
                <a:pos x="connsiteX65113" y="connsiteY65113"/>
              </a:cxn>
              <a:cxn ang="0">
                <a:pos x="connsiteX65114" y="connsiteY65114"/>
              </a:cxn>
              <a:cxn ang="0">
                <a:pos x="connsiteX65115" y="connsiteY65115"/>
              </a:cxn>
              <a:cxn ang="0">
                <a:pos x="connsiteX65116" y="connsiteY65116"/>
              </a:cxn>
              <a:cxn ang="0">
                <a:pos x="connsiteX65117" y="connsiteY65117"/>
              </a:cxn>
              <a:cxn ang="0">
                <a:pos x="connsiteX65118" y="connsiteY65118"/>
              </a:cxn>
              <a:cxn ang="0">
                <a:pos x="connsiteX65119" y="connsiteY65119"/>
              </a:cxn>
              <a:cxn ang="0">
                <a:pos x="connsiteX65120" y="connsiteY65120"/>
              </a:cxn>
              <a:cxn ang="0">
                <a:pos x="connsiteX65121" y="connsiteY65121"/>
              </a:cxn>
              <a:cxn ang="0">
                <a:pos x="connsiteX65122" y="connsiteY65122"/>
              </a:cxn>
              <a:cxn ang="0">
                <a:pos x="connsiteX65123" y="connsiteY65123"/>
              </a:cxn>
              <a:cxn ang="0">
                <a:pos x="connsiteX65124" y="connsiteY65124"/>
              </a:cxn>
              <a:cxn ang="0">
                <a:pos x="connsiteX65125" y="connsiteY65125"/>
              </a:cxn>
              <a:cxn ang="0">
                <a:pos x="connsiteX65126" y="connsiteY65126"/>
              </a:cxn>
              <a:cxn ang="0">
                <a:pos x="connsiteX65127" y="connsiteY65127"/>
              </a:cxn>
              <a:cxn ang="0">
                <a:pos x="connsiteX65128" y="connsiteY65128"/>
              </a:cxn>
              <a:cxn ang="0">
                <a:pos x="connsiteX65129" y="connsiteY65129"/>
              </a:cxn>
              <a:cxn ang="0">
                <a:pos x="connsiteX65130" y="connsiteY65130"/>
              </a:cxn>
              <a:cxn ang="0">
                <a:pos x="connsiteX65131" y="connsiteY65131"/>
              </a:cxn>
              <a:cxn ang="0">
                <a:pos x="connsiteX65132" y="connsiteY65132"/>
              </a:cxn>
              <a:cxn ang="0">
                <a:pos x="connsiteX65133" y="connsiteY65133"/>
              </a:cxn>
              <a:cxn ang="0">
                <a:pos x="connsiteX65134" y="connsiteY65134"/>
              </a:cxn>
              <a:cxn ang="0">
                <a:pos x="connsiteX65135" y="connsiteY65135"/>
              </a:cxn>
              <a:cxn ang="0">
                <a:pos x="connsiteX65136" y="connsiteY65136"/>
              </a:cxn>
              <a:cxn ang="0">
                <a:pos x="connsiteX65137" y="connsiteY65137"/>
              </a:cxn>
              <a:cxn ang="0">
                <a:pos x="connsiteX65138" y="connsiteY65138"/>
              </a:cxn>
              <a:cxn ang="0">
                <a:pos x="connsiteX65139" y="connsiteY65139"/>
              </a:cxn>
              <a:cxn ang="0">
                <a:pos x="connsiteX65140" y="connsiteY65140"/>
              </a:cxn>
              <a:cxn ang="0">
                <a:pos x="connsiteX65141" y="connsiteY65141"/>
              </a:cxn>
              <a:cxn ang="0">
                <a:pos x="connsiteX65142" y="connsiteY65142"/>
              </a:cxn>
              <a:cxn ang="0">
                <a:pos x="connsiteX65143" y="connsiteY65143"/>
              </a:cxn>
              <a:cxn ang="0">
                <a:pos x="connsiteX65144" y="connsiteY65144"/>
              </a:cxn>
              <a:cxn ang="0">
                <a:pos x="connsiteX65145" y="connsiteY65145"/>
              </a:cxn>
              <a:cxn ang="0">
                <a:pos x="connsiteX65146" y="connsiteY65146"/>
              </a:cxn>
              <a:cxn ang="0">
                <a:pos x="connsiteX65147" y="connsiteY65147"/>
              </a:cxn>
              <a:cxn ang="0">
                <a:pos x="connsiteX65148" y="connsiteY65148"/>
              </a:cxn>
              <a:cxn ang="0">
                <a:pos x="connsiteX65149" y="connsiteY65149"/>
              </a:cxn>
              <a:cxn ang="0">
                <a:pos x="connsiteX65150" y="connsiteY65150"/>
              </a:cxn>
              <a:cxn ang="0">
                <a:pos x="connsiteX65151" y="connsiteY65151"/>
              </a:cxn>
              <a:cxn ang="0">
                <a:pos x="connsiteX65152" y="connsiteY65152"/>
              </a:cxn>
              <a:cxn ang="0">
                <a:pos x="connsiteX65153" y="connsiteY65153"/>
              </a:cxn>
              <a:cxn ang="0">
                <a:pos x="connsiteX65154" y="connsiteY65154"/>
              </a:cxn>
              <a:cxn ang="0">
                <a:pos x="connsiteX65155" y="connsiteY65155"/>
              </a:cxn>
              <a:cxn ang="0">
                <a:pos x="connsiteX65156" y="connsiteY65156"/>
              </a:cxn>
              <a:cxn ang="0">
                <a:pos x="connsiteX65157" y="connsiteY65157"/>
              </a:cxn>
              <a:cxn ang="0">
                <a:pos x="connsiteX65158" y="connsiteY65158"/>
              </a:cxn>
              <a:cxn ang="0">
                <a:pos x="connsiteX65159" y="connsiteY65159"/>
              </a:cxn>
              <a:cxn ang="0">
                <a:pos x="connsiteX65160" y="connsiteY65160"/>
              </a:cxn>
              <a:cxn ang="0">
                <a:pos x="connsiteX65161" y="connsiteY65161"/>
              </a:cxn>
              <a:cxn ang="0">
                <a:pos x="connsiteX65162" y="connsiteY65162"/>
              </a:cxn>
              <a:cxn ang="0">
                <a:pos x="connsiteX65163" y="connsiteY65163"/>
              </a:cxn>
              <a:cxn ang="0">
                <a:pos x="connsiteX65164" y="connsiteY65164"/>
              </a:cxn>
              <a:cxn ang="0">
                <a:pos x="connsiteX65165" y="connsiteY65165"/>
              </a:cxn>
              <a:cxn ang="0">
                <a:pos x="connsiteX65166" y="connsiteY65166"/>
              </a:cxn>
              <a:cxn ang="0">
                <a:pos x="connsiteX65167" y="connsiteY65167"/>
              </a:cxn>
              <a:cxn ang="0">
                <a:pos x="connsiteX65168" y="connsiteY65168"/>
              </a:cxn>
              <a:cxn ang="0">
                <a:pos x="connsiteX65169" y="connsiteY65169"/>
              </a:cxn>
              <a:cxn ang="0">
                <a:pos x="connsiteX65170" y="connsiteY65170"/>
              </a:cxn>
              <a:cxn ang="0">
                <a:pos x="connsiteX65171" y="connsiteY65171"/>
              </a:cxn>
              <a:cxn ang="0">
                <a:pos x="connsiteX65172" y="connsiteY65172"/>
              </a:cxn>
              <a:cxn ang="0">
                <a:pos x="connsiteX65173" y="connsiteY65173"/>
              </a:cxn>
              <a:cxn ang="0">
                <a:pos x="connsiteX65174" y="connsiteY65174"/>
              </a:cxn>
              <a:cxn ang="0">
                <a:pos x="connsiteX65175" y="connsiteY65175"/>
              </a:cxn>
              <a:cxn ang="0">
                <a:pos x="connsiteX65176" y="connsiteY65176"/>
              </a:cxn>
              <a:cxn ang="0">
                <a:pos x="connsiteX65177" y="connsiteY65177"/>
              </a:cxn>
              <a:cxn ang="0">
                <a:pos x="connsiteX65178" y="connsiteY65178"/>
              </a:cxn>
              <a:cxn ang="0">
                <a:pos x="connsiteX65179" y="connsiteY65179"/>
              </a:cxn>
              <a:cxn ang="0">
                <a:pos x="connsiteX65180" y="connsiteY65180"/>
              </a:cxn>
              <a:cxn ang="0">
                <a:pos x="connsiteX65181" y="connsiteY65181"/>
              </a:cxn>
              <a:cxn ang="0">
                <a:pos x="connsiteX65182" y="connsiteY65182"/>
              </a:cxn>
              <a:cxn ang="0">
                <a:pos x="connsiteX65183" y="connsiteY65183"/>
              </a:cxn>
              <a:cxn ang="0">
                <a:pos x="connsiteX65184" y="connsiteY65184"/>
              </a:cxn>
              <a:cxn ang="0">
                <a:pos x="connsiteX65185" y="connsiteY65185"/>
              </a:cxn>
              <a:cxn ang="0">
                <a:pos x="connsiteX65186" y="connsiteY65186"/>
              </a:cxn>
              <a:cxn ang="0">
                <a:pos x="connsiteX65187" y="connsiteY65187"/>
              </a:cxn>
              <a:cxn ang="0">
                <a:pos x="connsiteX65188" y="connsiteY65188"/>
              </a:cxn>
              <a:cxn ang="0">
                <a:pos x="connsiteX65189" y="connsiteY65189"/>
              </a:cxn>
              <a:cxn ang="0">
                <a:pos x="connsiteX65190" y="connsiteY65190"/>
              </a:cxn>
              <a:cxn ang="0">
                <a:pos x="connsiteX65191" y="connsiteY65191"/>
              </a:cxn>
              <a:cxn ang="0">
                <a:pos x="connsiteX65192" y="connsiteY65192"/>
              </a:cxn>
              <a:cxn ang="0">
                <a:pos x="connsiteX65193" y="connsiteY65193"/>
              </a:cxn>
              <a:cxn ang="0">
                <a:pos x="connsiteX65194" y="connsiteY65194"/>
              </a:cxn>
              <a:cxn ang="0">
                <a:pos x="connsiteX65195" y="connsiteY65195"/>
              </a:cxn>
              <a:cxn ang="0">
                <a:pos x="connsiteX65196" y="connsiteY65196"/>
              </a:cxn>
              <a:cxn ang="0">
                <a:pos x="connsiteX65197" y="connsiteY65197"/>
              </a:cxn>
              <a:cxn ang="0">
                <a:pos x="connsiteX65198" y="connsiteY65198"/>
              </a:cxn>
              <a:cxn ang="0">
                <a:pos x="connsiteX65199" y="connsiteY65199"/>
              </a:cxn>
              <a:cxn ang="0">
                <a:pos x="connsiteX65200" y="connsiteY65200"/>
              </a:cxn>
              <a:cxn ang="0">
                <a:pos x="connsiteX65201" y="connsiteY65201"/>
              </a:cxn>
              <a:cxn ang="0">
                <a:pos x="connsiteX65202" y="connsiteY65202"/>
              </a:cxn>
              <a:cxn ang="0">
                <a:pos x="connsiteX65203" y="connsiteY65203"/>
              </a:cxn>
              <a:cxn ang="0">
                <a:pos x="connsiteX65204" y="connsiteY65204"/>
              </a:cxn>
              <a:cxn ang="0">
                <a:pos x="connsiteX65205" y="connsiteY65205"/>
              </a:cxn>
              <a:cxn ang="0">
                <a:pos x="connsiteX65206" y="connsiteY65206"/>
              </a:cxn>
              <a:cxn ang="0">
                <a:pos x="connsiteX65207" y="connsiteY65207"/>
              </a:cxn>
              <a:cxn ang="0">
                <a:pos x="connsiteX65208" y="connsiteY65208"/>
              </a:cxn>
              <a:cxn ang="0">
                <a:pos x="connsiteX65209" y="connsiteY65209"/>
              </a:cxn>
              <a:cxn ang="0">
                <a:pos x="connsiteX65210" y="connsiteY65210"/>
              </a:cxn>
              <a:cxn ang="0">
                <a:pos x="connsiteX65211" y="connsiteY65211"/>
              </a:cxn>
              <a:cxn ang="0">
                <a:pos x="connsiteX65212" y="connsiteY65212"/>
              </a:cxn>
              <a:cxn ang="0">
                <a:pos x="connsiteX65213" y="connsiteY65213"/>
              </a:cxn>
              <a:cxn ang="0">
                <a:pos x="connsiteX65214" y="connsiteY65214"/>
              </a:cxn>
              <a:cxn ang="0">
                <a:pos x="connsiteX65215" y="connsiteY65215"/>
              </a:cxn>
              <a:cxn ang="0">
                <a:pos x="connsiteX65216" y="connsiteY65216"/>
              </a:cxn>
              <a:cxn ang="0">
                <a:pos x="connsiteX65217" y="connsiteY65217"/>
              </a:cxn>
              <a:cxn ang="0">
                <a:pos x="connsiteX65218" y="connsiteY65218"/>
              </a:cxn>
              <a:cxn ang="0">
                <a:pos x="connsiteX65219" y="connsiteY65219"/>
              </a:cxn>
              <a:cxn ang="0">
                <a:pos x="connsiteX65220" y="connsiteY65220"/>
              </a:cxn>
              <a:cxn ang="0">
                <a:pos x="connsiteX65221" y="connsiteY65221"/>
              </a:cxn>
              <a:cxn ang="0">
                <a:pos x="connsiteX65222" y="connsiteY65222"/>
              </a:cxn>
              <a:cxn ang="0">
                <a:pos x="connsiteX65223" y="connsiteY65223"/>
              </a:cxn>
              <a:cxn ang="0">
                <a:pos x="connsiteX65224" y="connsiteY65224"/>
              </a:cxn>
              <a:cxn ang="0">
                <a:pos x="connsiteX65225" y="connsiteY65225"/>
              </a:cxn>
              <a:cxn ang="0">
                <a:pos x="connsiteX65226" y="connsiteY65226"/>
              </a:cxn>
              <a:cxn ang="0">
                <a:pos x="connsiteX65227" y="connsiteY65227"/>
              </a:cxn>
              <a:cxn ang="0">
                <a:pos x="connsiteX65228" y="connsiteY65228"/>
              </a:cxn>
              <a:cxn ang="0">
                <a:pos x="connsiteX65229" y="connsiteY65229"/>
              </a:cxn>
              <a:cxn ang="0">
                <a:pos x="connsiteX65230" y="connsiteY65230"/>
              </a:cxn>
              <a:cxn ang="0">
                <a:pos x="connsiteX65231" y="connsiteY65231"/>
              </a:cxn>
              <a:cxn ang="0">
                <a:pos x="connsiteX65232" y="connsiteY65232"/>
              </a:cxn>
              <a:cxn ang="0">
                <a:pos x="connsiteX65233" y="connsiteY65233"/>
              </a:cxn>
              <a:cxn ang="0">
                <a:pos x="connsiteX65234" y="connsiteY65234"/>
              </a:cxn>
              <a:cxn ang="0">
                <a:pos x="connsiteX65235" y="connsiteY65235"/>
              </a:cxn>
              <a:cxn ang="0">
                <a:pos x="connsiteX65236" y="connsiteY65236"/>
              </a:cxn>
              <a:cxn ang="0">
                <a:pos x="connsiteX65237" y="connsiteY65237"/>
              </a:cxn>
              <a:cxn ang="0">
                <a:pos x="connsiteX65238" y="connsiteY65238"/>
              </a:cxn>
              <a:cxn ang="0">
                <a:pos x="connsiteX65239" y="connsiteY65239"/>
              </a:cxn>
              <a:cxn ang="0">
                <a:pos x="connsiteX65240" y="connsiteY65240"/>
              </a:cxn>
              <a:cxn ang="0">
                <a:pos x="connsiteX65241" y="connsiteY65241"/>
              </a:cxn>
              <a:cxn ang="0">
                <a:pos x="connsiteX65242" y="connsiteY65242"/>
              </a:cxn>
              <a:cxn ang="0">
                <a:pos x="connsiteX65243" y="connsiteY65243"/>
              </a:cxn>
              <a:cxn ang="0">
                <a:pos x="connsiteX65244" y="connsiteY65244"/>
              </a:cxn>
              <a:cxn ang="0">
                <a:pos x="connsiteX65245" y="connsiteY65245"/>
              </a:cxn>
              <a:cxn ang="0">
                <a:pos x="connsiteX65246" y="connsiteY65246"/>
              </a:cxn>
              <a:cxn ang="0">
                <a:pos x="connsiteX65247" y="connsiteY65247"/>
              </a:cxn>
              <a:cxn ang="0">
                <a:pos x="connsiteX65248" y="connsiteY65248"/>
              </a:cxn>
              <a:cxn ang="0">
                <a:pos x="connsiteX65249" y="connsiteY65249"/>
              </a:cxn>
              <a:cxn ang="0">
                <a:pos x="connsiteX65250" y="connsiteY65250"/>
              </a:cxn>
              <a:cxn ang="0">
                <a:pos x="connsiteX65251" y="connsiteY65251"/>
              </a:cxn>
              <a:cxn ang="0">
                <a:pos x="connsiteX65252" y="connsiteY65252"/>
              </a:cxn>
              <a:cxn ang="0">
                <a:pos x="connsiteX65253" y="connsiteY65253"/>
              </a:cxn>
              <a:cxn ang="0">
                <a:pos x="connsiteX65254" y="connsiteY65254"/>
              </a:cxn>
              <a:cxn ang="0">
                <a:pos x="connsiteX65255" y="connsiteY65255"/>
              </a:cxn>
              <a:cxn ang="0">
                <a:pos x="connsiteX65256" y="connsiteY65256"/>
              </a:cxn>
              <a:cxn ang="0">
                <a:pos x="connsiteX65257" y="connsiteY65257"/>
              </a:cxn>
              <a:cxn ang="0">
                <a:pos x="connsiteX65258" y="connsiteY65258"/>
              </a:cxn>
              <a:cxn ang="0">
                <a:pos x="connsiteX65259" y="connsiteY65259"/>
              </a:cxn>
              <a:cxn ang="0">
                <a:pos x="connsiteX65260" y="connsiteY65260"/>
              </a:cxn>
              <a:cxn ang="0">
                <a:pos x="connsiteX65261" y="connsiteY65261"/>
              </a:cxn>
              <a:cxn ang="0">
                <a:pos x="connsiteX65262" y="connsiteY65262"/>
              </a:cxn>
              <a:cxn ang="0">
                <a:pos x="connsiteX65263" y="connsiteY65263"/>
              </a:cxn>
              <a:cxn ang="0">
                <a:pos x="connsiteX65264" y="connsiteY65264"/>
              </a:cxn>
              <a:cxn ang="0">
                <a:pos x="connsiteX65265" y="connsiteY65265"/>
              </a:cxn>
              <a:cxn ang="0">
                <a:pos x="connsiteX65266" y="connsiteY65266"/>
              </a:cxn>
              <a:cxn ang="0">
                <a:pos x="connsiteX65267" y="connsiteY65267"/>
              </a:cxn>
              <a:cxn ang="0">
                <a:pos x="connsiteX65268" y="connsiteY65268"/>
              </a:cxn>
              <a:cxn ang="0">
                <a:pos x="connsiteX65269" y="connsiteY65269"/>
              </a:cxn>
              <a:cxn ang="0">
                <a:pos x="connsiteX65270" y="connsiteY65270"/>
              </a:cxn>
              <a:cxn ang="0">
                <a:pos x="connsiteX65271" y="connsiteY65271"/>
              </a:cxn>
              <a:cxn ang="0">
                <a:pos x="connsiteX65272" y="connsiteY65272"/>
              </a:cxn>
              <a:cxn ang="0">
                <a:pos x="connsiteX65273" y="connsiteY65273"/>
              </a:cxn>
              <a:cxn ang="0">
                <a:pos x="connsiteX65274" y="connsiteY65274"/>
              </a:cxn>
              <a:cxn ang="0">
                <a:pos x="connsiteX65275" y="connsiteY65275"/>
              </a:cxn>
              <a:cxn ang="0">
                <a:pos x="connsiteX65276" y="connsiteY65276"/>
              </a:cxn>
              <a:cxn ang="0">
                <a:pos x="connsiteX65277" y="connsiteY65277"/>
              </a:cxn>
              <a:cxn ang="0">
                <a:pos x="connsiteX65278" y="connsiteY65278"/>
              </a:cxn>
              <a:cxn ang="0">
                <a:pos x="connsiteX65279" y="connsiteY65279"/>
              </a:cxn>
              <a:cxn ang="0">
                <a:pos x="connsiteX65280" y="connsiteY65280"/>
              </a:cxn>
              <a:cxn ang="0">
                <a:pos x="connsiteX65281" y="connsiteY65281"/>
              </a:cxn>
              <a:cxn ang="0">
                <a:pos x="connsiteX65282" y="connsiteY65282"/>
              </a:cxn>
              <a:cxn ang="0">
                <a:pos x="connsiteX65283" y="connsiteY65283"/>
              </a:cxn>
              <a:cxn ang="0">
                <a:pos x="connsiteX65284" y="connsiteY65284"/>
              </a:cxn>
              <a:cxn ang="0">
                <a:pos x="connsiteX65285" y="connsiteY65285"/>
              </a:cxn>
              <a:cxn ang="0">
                <a:pos x="connsiteX65286" y="connsiteY65286"/>
              </a:cxn>
              <a:cxn ang="0">
                <a:pos x="connsiteX65287" y="connsiteY65287"/>
              </a:cxn>
              <a:cxn ang="0">
                <a:pos x="connsiteX65288" y="connsiteY65288"/>
              </a:cxn>
              <a:cxn ang="0">
                <a:pos x="connsiteX65289" y="connsiteY65289"/>
              </a:cxn>
              <a:cxn ang="0">
                <a:pos x="connsiteX65290" y="connsiteY65290"/>
              </a:cxn>
              <a:cxn ang="0">
                <a:pos x="connsiteX65291" y="connsiteY65291"/>
              </a:cxn>
              <a:cxn ang="0">
                <a:pos x="connsiteX65292" y="connsiteY65292"/>
              </a:cxn>
              <a:cxn ang="0">
                <a:pos x="connsiteX65293" y="connsiteY65293"/>
              </a:cxn>
              <a:cxn ang="0">
                <a:pos x="connsiteX65294" y="connsiteY65294"/>
              </a:cxn>
              <a:cxn ang="0">
                <a:pos x="connsiteX65295" y="connsiteY65295"/>
              </a:cxn>
              <a:cxn ang="0">
                <a:pos x="connsiteX65296" y="connsiteY65296"/>
              </a:cxn>
              <a:cxn ang="0">
                <a:pos x="connsiteX65297" y="connsiteY65297"/>
              </a:cxn>
              <a:cxn ang="0">
                <a:pos x="connsiteX65298" y="connsiteY65298"/>
              </a:cxn>
              <a:cxn ang="0">
                <a:pos x="connsiteX65299" y="connsiteY65299"/>
              </a:cxn>
              <a:cxn ang="0">
                <a:pos x="connsiteX65300" y="connsiteY65300"/>
              </a:cxn>
              <a:cxn ang="0">
                <a:pos x="connsiteX65301" y="connsiteY65301"/>
              </a:cxn>
              <a:cxn ang="0">
                <a:pos x="connsiteX65302" y="connsiteY65302"/>
              </a:cxn>
              <a:cxn ang="0">
                <a:pos x="connsiteX65303" y="connsiteY65303"/>
              </a:cxn>
              <a:cxn ang="0">
                <a:pos x="connsiteX65304" y="connsiteY65304"/>
              </a:cxn>
              <a:cxn ang="0">
                <a:pos x="connsiteX65305" y="connsiteY65305"/>
              </a:cxn>
              <a:cxn ang="0">
                <a:pos x="connsiteX65306" y="connsiteY65306"/>
              </a:cxn>
              <a:cxn ang="0">
                <a:pos x="connsiteX65307" y="connsiteY65307"/>
              </a:cxn>
              <a:cxn ang="0">
                <a:pos x="connsiteX65308" y="connsiteY65308"/>
              </a:cxn>
              <a:cxn ang="0">
                <a:pos x="connsiteX65309" y="connsiteY65309"/>
              </a:cxn>
              <a:cxn ang="0">
                <a:pos x="connsiteX65310" y="connsiteY65310"/>
              </a:cxn>
              <a:cxn ang="0">
                <a:pos x="connsiteX65311" y="connsiteY65311"/>
              </a:cxn>
              <a:cxn ang="0">
                <a:pos x="connsiteX65312" y="connsiteY65312"/>
              </a:cxn>
              <a:cxn ang="0">
                <a:pos x="connsiteX65313" y="connsiteY65313"/>
              </a:cxn>
              <a:cxn ang="0">
                <a:pos x="connsiteX65314" y="connsiteY65314"/>
              </a:cxn>
              <a:cxn ang="0">
                <a:pos x="connsiteX65315" y="connsiteY65315"/>
              </a:cxn>
              <a:cxn ang="0">
                <a:pos x="connsiteX65316" y="connsiteY65316"/>
              </a:cxn>
              <a:cxn ang="0">
                <a:pos x="connsiteX65317" y="connsiteY65317"/>
              </a:cxn>
              <a:cxn ang="0">
                <a:pos x="connsiteX65318" y="connsiteY65318"/>
              </a:cxn>
              <a:cxn ang="0">
                <a:pos x="connsiteX65319" y="connsiteY65319"/>
              </a:cxn>
              <a:cxn ang="0">
                <a:pos x="connsiteX65320" y="connsiteY65320"/>
              </a:cxn>
              <a:cxn ang="0">
                <a:pos x="connsiteX65321" y="connsiteY65321"/>
              </a:cxn>
              <a:cxn ang="0">
                <a:pos x="connsiteX65322" y="connsiteY65322"/>
              </a:cxn>
              <a:cxn ang="0">
                <a:pos x="connsiteX65323" y="connsiteY65323"/>
              </a:cxn>
              <a:cxn ang="0">
                <a:pos x="connsiteX65324" y="connsiteY65324"/>
              </a:cxn>
              <a:cxn ang="0">
                <a:pos x="connsiteX65325" y="connsiteY65325"/>
              </a:cxn>
              <a:cxn ang="0">
                <a:pos x="connsiteX65326" y="connsiteY65326"/>
              </a:cxn>
              <a:cxn ang="0">
                <a:pos x="connsiteX65327" y="connsiteY65327"/>
              </a:cxn>
              <a:cxn ang="0">
                <a:pos x="connsiteX65328" y="connsiteY65328"/>
              </a:cxn>
              <a:cxn ang="0">
                <a:pos x="connsiteX65329" y="connsiteY65329"/>
              </a:cxn>
              <a:cxn ang="0">
                <a:pos x="connsiteX65330" y="connsiteY65330"/>
              </a:cxn>
              <a:cxn ang="0">
                <a:pos x="connsiteX65331" y="connsiteY65331"/>
              </a:cxn>
              <a:cxn ang="0">
                <a:pos x="connsiteX65332" y="connsiteY65332"/>
              </a:cxn>
              <a:cxn ang="0">
                <a:pos x="connsiteX65333" y="connsiteY65333"/>
              </a:cxn>
              <a:cxn ang="0">
                <a:pos x="connsiteX65334" y="connsiteY65334"/>
              </a:cxn>
              <a:cxn ang="0">
                <a:pos x="connsiteX65335" y="connsiteY65335"/>
              </a:cxn>
              <a:cxn ang="0">
                <a:pos x="connsiteX65336" y="connsiteY65336"/>
              </a:cxn>
              <a:cxn ang="0">
                <a:pos x="connsiteX65337" y="connsiteY65337"/>
              </a:cxn>
              <a:cxn ang="0">
                <a:pos x="connsiteX65338" y="connsiteY65338"/>
              </a:cxn>
              <a:cxn ang="0">
                <a:pos x="connsiteX65339" y="connsiteY65339"/>
              </a:cxn>
              <a:cxn ang="0">
                <a:pos x="connsiteX65340" y="connsiteY65340"/>
              </a:cxn>
              <a:cxn ang="0">
                <a:pos x="connsiteX65341" y="connsiteY65341"/>
              </a:cxn>
              <a:cxn ang="0">
                <a:pos x="connsiteX65342" y="connsiteY65342"/>
              </a:cxn>
              <a:cxn ang="0">
                <a:pos x="connsiteX65343" y="connsiteY65343"/>
              </a:cxn>
              <a:cxn ang="0">
                <a:pos x="connsiteX65344" y="connsiteY65344"/>
              </a:cxn>
              <a:cxn ang="0">
                <a:pos x="connsiteX65345" y="connsiteY65345"/>
              </a:cxn>
              <a:cxn ang="0">
                <a:pos x="connsiteX65346" y="connsiteY65346"/>
              </a:cxn>
              <a:cxn ang="0">
                <a:pos x="connsiteX65347" y="connsiteY65347"/>
              </a:cxn>
              <a:cxn ang="0">
                <a:pos x="connsiteX65348" y="connsiteY65348"/>
              </a:cxn>
              <a:cxn ang="0">
                <a:pos x="connsiteX65349" y="connsiteY65349"/>
              </a:cxn>
              <a:cxn ang="0">
                <a:pos x="connsiteX65350" y="connsiteY65350"/>
              </a:cxn>
              <a:cxn ang="0">
                <a:pos x="connsiteX65351" y="connsiteY65351"/>
              </a:cxn>
              <a:cxn ang="0">
                <a:pos x="connsiteX65352" y="connsiteY65352"/>
              </a:cxn>
              <a:cxn ang="0">
                <a:pos x="connsiteX65353" y="connsiteY65353"/>
              </a:cxn>
              <a:cxn ang="0">
                <a:pos x="connsiteX65354" y="connsiteY65354"/>
              </a:cxn>
              <a:cxn ang="0">
                <a:pos x="connsiteX65355" y="connsiteY65355"/>
              </a:cxn>
              <a:cxn ang="0">
                <a:pos x="connsiteX65356" y="connsiteY65356"/>
              </a:cxn>
              <a:cxn ang="0">
                <a:pos x="connsiteX65357" y="connsiteY65357"/>
              </a:cxn>
              <a:cxn ang="0">
                <a:pos x="connsiteX65358" y="connsiteY65358"/>
              </a:cxn>
              <a:cxn ang="0">
                <a:pos x="connsiteX65359" y="connsiteY65359"/>
              </a:cxn>
              <a:cxn ang="0">
                <a:pos x="connsiteX65360" y="connsiteY65360"/>
              </a:cxn>
              <a:cxn ang="0">
                <a:pos x="connsiteX65361" y="connsiteY65361"/>
              </a:cxn>
              <a:cxn ang="0">
                <a:pos x="connsiteX65362" y="connsiteY65362"/>
              </a:cxn>
              <a:cxn ang="0">
                <a:pos x="connsiteX65363" y="connsiteY65363"/>
              </a:cxn>
              <a:cxn ang="0">
                <a:pos x="connsiteX65364" y="connsiteY65364"/>
              </a:cxn>
              <a:cxn ang="0">
                <a:pos x="connsiteX65365" y="connsiteY65365"/>
              </a:cxn>
              <a:cxn ang="0">
                <a:pos x="connsiteX65366" y="connsiteY65366"/>
              </a:cxn>
              <a:cxn ang="0">
                <a:pos x="connsiteX65367" y="connsiteY65367"/>
              </a:cxn>
              <a:cxn ang="0">
                <a:pos x="connsiteX65368" y="connsiteY65368"/>
              </a:cxn>
              <a:cxn ang="0">
                <a:pos x="connsiteX65369" y="connsiteY65369"/>
              </a:cxn>
              <a:cxn ang="0">
                <a:pos x="connsiteX65370" y="connsiteY65370"/>
              </a:cxn>
              <a:cxn ang="0">
                <a:pos x="connsiteX65371" y="connsiteY65371"/>
              </a:cxn>
              <a:cxn ang="0">
                <a:pos x="connsiteX65372" y="connsiteY65372"/>
              </a:cxn>
              <a:cxn ang="0">
                <a:pos x="connsiteX65373" y="connsiteY65373"/>
              </a:cxn>
              <a:cxn ang="0">
                <a:pos x="connsiteX65374" y="connsiteY65374"/>
              </a:cxn>
              <a:cxn ang="0">
                <a:pos x="connsiteX65375" y="connsiteY65375"/>
              </a:cxn>
              <a:cxn ang="0">
                <a:pos x="connsiteX65376" y="connsiteY65376"/>
              </a:cxn>
              <a:cxn ang="0">
                <a:pos x="connsiteX65377" y="connsiteY65377"/>
              </a:cxn>
              <a:cxn ang="0">
                <a:pos x="connsiteX65378" y="connsiteY65378"/>
              </a:cxn>
              <a:cxn ang="0">
                <a:pos x="connsiteX65379" y="connsiteY65379"/>
              </a:cxn>
              <a:cxn ang="0">
                <a:pos x="connsiteX65380" y="connsiteY65380"/>
              </a:cxn>
              <a:cxn ang="0">
                <a:pos x="connsiteX65381" y="connsiteY65381"/>
              </a:cxn>
              <a:cxn ang="0">
                <a:pos x="connsiteX65382" y="connsiteY65382"/>
              </a:cxn>
              <a:cxn ang="0">
                <a:pos x="connsiteX65383" y="connsiteY65383"/>
              </a:cxn>
              <a:cxn ang="0">
                <a:pos x="connsiteX65384" y="connsiteY65384"/>
              </a:cxn>
              <a:cxn ang="0">
                <a:pos x="connsiteX65385" y="connsiteY65385"/>
              </a:cxn>
              <a:cxn ang="0">
                <a:pos x="connsiteX65386" y="connsiteY65386"/>
              </a:cxn>
              <a:cxn ang="0">
                <a:pos x="connsiteX65387" y="connsiteY65387"/>
              </a:cxn>
              <a:cxn ang="0">
                <a:pos x="connsiteX65388" y="connsiteY65388"/>
              </a:cxn>
              <a:cxn ang="0">
                <a:pos x="connsiteX65389" y="connsiteY65389"/>
              </a:cxn>
              <a:cxn ang="0">
                <a:pos x="connsiteX65390" y="connsiteY65390"/>
              </a:cxn>
              <a:cxn ang="0">
                <a:pos x="connsiteX65391" y="connsiteY65391"/>
              </a:cxn>
              <a:cxn ang="0">
                <a:pos x="connsiteX65392" y="connsiteY65392"/>
              </a:cxn>
              <a:cxn ang="0">
                <a:pos x="connsiteX65393" y="connsiteY65393"/>
              </a:cxn>
              <a:cxn ang="0">
                <a:pos x="connsiteX65394" y="connsiteY65394"/>
              </a:cxn>
              <a:cxn ang="0">
                <a:pos x="connsiteX65395" y="connsiteY65395"/>
              </a:cxn>
              <a:cxn ang="0">
                <a:pos x="connsiteX65396" y="connsiteY65396"/>
              </a:cxn>
              <a:cxn ang="0">
                <a:pos x="connsiteX65397" y="connsiteY65397"/>
              </a:cxn>
              <a:cxn ang="0">
                <a:pos x="connsiteX65398" y="connsiteY65398"/>
              </a:cxn>
              <a:cxn ang="0">
                <a:pos x="connsiteX65399" y="connsiteY65399"/>
              </a:cxn>
              <a:cxn ang="0">
                <a:pos x="connsiteX65400" y="connsiteY65400"/>
              </a:cxn>
              <a:cxn ang="0">
                <a:pos x="connsiteX65401" y="connsiteY65401"/>
              </a:cxn>
              <a:cxn ang="0">
                <a:pos x="connsiteX65402" y="connsiteY65402"/>
              </a:cxn>
              <a:cxn ang="0">
                <a:pos x="connsiteX65403" y="connsiteY65403"/>
              </a:cxn>
              <a:cxn ang="0">
                <a:pos x="connsiteX65404" y="connsiteY65404"/>
              </a:cxn>
              <a:cxn ang="0">
                <a:pos x="connsiteX65405" y="connsiteY65405"/>
              </a:cxn>
              <a:cxn ang="0">
                <a:pos x="connsiteX65406" y="connsiteY65406"/>
              </a:cxn>
              <a:cxn ang="0">
                <a:pos x="connsiteX65407" y="connsiteY65407"/>
              </a:cxn>
              <a:cxn ang="0">
                <a:pos x="connsiteX65408" y="connsiteY65408"/>
              </a:cxn>
              <a:cxn ang="0">
                <a:pos x="connsiteX65409" y="connsiteY65409"/>
              </a:cxn>
              <a:cxn ang="0">
                <a:pos x="connsiteX65410" y="connsiteY65410"/>
              </a:cxn>
              <a:cxn ang="0">
                <a:pos x="connsiteX65411" y="connsiteY65411"/>
              </a:cxn>
              <a:cxn ang="0">
                <a:pos x="connsiteX65412" y="connsiteY65412"/>
              </a:cxn>
              <a:cxn ang="0">
                <a:pos x="connsiteX65413" y="connsiteY65413"/>
              </a:cxn>
              <a:cxn ang="0">
                <a:pos x="connsiteX65414" y="connsiteY65414"/>
              </a:cxn>
              <a:cxn ang="0">
                <a:pos x="connsiteX65415" y="connsiteY65415"/>
              </a:cxn>
              <a:cxn ang="0">
                <a:pos x="connsiteX65416" y="connsiteY65416"/>
              </a:cxn>
              <a:cxn ang="0">
                <a:pos x="connsiteX65417" y="connsiteY65417"/>
              </a:cxn>
              <a:cxn ang="0">
                <a:pos x="connsiteX65418" y="connsiteY65418"/>
              </a:cxn>
              <a:cxn ang="0">
                <a:pos x="connsiteX65419" y="connsiteY65419"/>
              </a:cxn>
              <a:cxn ang="0">
                <a:pos x="connsiteX65420" y="connsiteY65420"/>
              </a:cxn>
              <a:cxn ang="0">
                <a:pos x="connsiteX65421" y="connsiteY65421"/>
              </a:cxn>
              <a:cxn ang="0">
                <a:pos x="connsiteX65422" y="connsiteY65422"/>
              </a:cxn>
              <a:cxn ang="0">
                <a:pos x="connsiteX65423" y="connsiteY65423"/>
              </a:cxn>
              <a:cxn ang="0">
                <a:pos x="connsiteX65424" y="connsiteY65424"/>
              </a:cxn>
              <a:cxn ang="0">
                <a:pos x="connsiteX65425" y="connsiteY65425"/>
              </a:cxn>
              <a:cxn ang="0">
                <a:pos x="connsiteX65426" y="connsiteY65426"/>
              </a:cxn>
              <a:cxn ang="0">
                <a:pos x="connsiteX65427" y="connsiteY65427"/>
              </a:cxn>
              <a:cxn ang="0">
                <a:pos x="connsiteX65428" y="connsiteY65428"/>
              </a:cxn>
              <a:cxn ang="0">
                <a:pos x="connsiteX65429" y="connsiteY65429"/>
              </a:cxn>
              <a:cxn ang="0">
                <a:pos x="connsiteX65430" y="connsiteY65430"/>
              </a:cxn>
              <a:cxn ang="0">
                <a:pos x="connsiteX65431" y="connsiteY65431"/>
              </a:cxn>
              <a:cxn ang="0">
                <a:pos x="connsiteX65432" y="connsiteY65432"/>
              </a:cxn>
              <a:cxn ang="0">
                <a:pos x="connsiteX65433" y="connsiteY65433"/>
              </a:cxn>
              <a:cxn ang="0">
                <a:pos x="connsiteX65434" y="connsiteY65434"/>
              </a:cxn>
              <a:cxn ang="0">
                <a:pos x="connsiteX65435" y="connsiteY65435"/>
              </a:cxn>
              <a:cxn ang="0">
                <a:pos x="connsiteX65436" y="connsiteY65436"/>
              </a:cxn>
              <a:cxn ang="0">
                <a:pos x="connsiteX65437" y="connsiteY65437"/>
              </a:cxn>
              <a:cxn ang="0">
                <a:pos x="connsiteX65438" y="connsiteY65438"/>
              </a:cxn>
              <a:cxn ang="0">
                <a:pos x="connsiteX65439" y="connsiteY65439"/>
              </a:cxn>
              <a:cxn ang="0">
                <a:pos x="connsiteX65440" y="connsiteY65440"/>
              </a:cxn>
              <a:cxn ang="0">
                <a:pos x="connsiteX65441" y="connsiteY65441"/>
              </a:cxn>
              <a:cxn ang="0">
                <a:pos x="connsiteX65442" y="connsiteY65442"/>
              </a:cxn>
              <a:cxn ang="0">
                <a:pos x="connsiteX65443" y="connsiteY65443"/>
              </a:cxn>
              <a:cxn ang="0">
                <a:pos x="connsiteX65444" y="connsiteY65444"/>
              </a:cxn>
              <a:cxn ang="0">
                <a:pos x="connsiteX65445" y="connsiteY65445"/>
              </a:cxn>
              <a:cxn ang="0">
                <a:pos x="connsiteX65446" y="connsiteY65446"/>
              </a:cxn>
              <a:cxn ang="0">
                <a:pos x="connsiteX65447" y="connsiteY65447"/>
              </a:cxn>
              <a:cxn ang="0">
                <a:pos x="connsiteX65448" y="connsiteY65448"/>
              </a:cxn>
              <a:cxn ang="0">
                <a:pos x="connsiteX65449" y="connsiteY65449"/>
              </a:cxn>
              <a:cxn ang="0">
                <a:pos x="connsiteX65450" y="connsiteY65450"/>
              </a:cxn>
              <a:cxn ang="0">
                <a:pos x="connsiteX65451" y="connsiteY65451"/>
              </a:cxn>
              <a:cxn ang="0">
                <a:pos x="connsiteX65452" y="connsiteY65452"/>
              </a:cxn>
              <a:cxn ang="0">
                <a:pos x="connsiteX65453" y="connsiteY65453"/>
              </a:cxn>
              <a:cxn ang="0">
                <a:pos x="connsiteX65454" y="connsiteY65454"/>
              </a:cxn>
              <a:cxn ang="0">
                <a:pos x="connsiteX65455" y="connsiteY65455"/>
              </a:cxn>
              <a:cxn ang="0">
                <a:pos x="connsiteX65456" y="connsiteY65456"/>
              </a:cxn>
              <a:cxn ang="0">
                <a:pos x="connsiteX65457" y="connsiteY65457"/>
              </a:cxn>
              <a:cxn ang="0">
                <a:pos x="connsiteX65458" y="connsiteY65458"/>
              </a:cxn>
              <a:cxn ang="0">
                <a:pos x="connsiteX65459" y="connsiteY65459"/>
              </a:cxn>
              <a:cxn ang="0">
                <a:pos x="connsiteX65460" y="connsiteY65460"/>
              </a:cxn>
              <a:cxn ang="0">
                <a:pos x="connsiteX65461" y="connsiteY65461"/>
              </a:cxn>
              <a:cxn ang="0">
                <a:pos x="connsiteX65462" y="connsiteY65462"/>
              </a:cxn>
              <a:cxn ang="0">
                <a:pos x="connsiteX65463" y="connsiteY65463"/>
              </a:cxn>
              <a:cxn ang="0">
                <a:pos x="connsiteX65464" y="connsiteY65464"/>
              </a:cxn>
              <a:cxn ang="0">
                <a:pos x="connsiteX65465" y="connsiteY65465"/>
              </a:cxn>
              <a:cxn ang="0">
                <a:pos x="connsiteX65466" y="connsiteY65466"/>
              </a:cxn>
              <a:cxn ang="0">
                <a:pos x="connsiteX65467" y="connsiteY65467"/>
              </a:cxn>
              <a:cxn ang="0">
                <a:pos x="connsiteX65468" y="connsiteY65468"/>
              </a:cxn>
              <a:cxn ang="0">
                <a:pos x="connsiteX65469" y="connsiteY65469"/>
              </a:cxn>
              <a:cxn ang="0">
                <a:pos x="connsiteX65470" y="connsiteY65470"/>
              </a:cxn>
              <a:cxn ang="0">
                <a:pos x="connsiteX65471" y="connsiteY65471"/>
              </a:cxn>
              <a:cxn ang="0">
                <a:pos x="connsiteX65472" y="connsiteY65472"/>
              </a:cxn>
              <a:cxn ang="0">
                <a:pos x="connsiteX65473" y="connsiteY65473"/>
              </a:cxn>
              <a:cxn ang="0">
                <a:pos x="connsiteX65474" y="connsiteY65474"/>
              </a:cxn>
              <a:cxn ang="0">
                <a:pos x="connsiteX65475" y="connsiteY65475"/>
              </a:cxn>
              <a:cxn ang="0">
                <a:pos x="connsiteX65476" y="connsiteY65476"/>
              </a:cxn>
              <a:cxn ang="0">
                <a:pos x="connsiteX65477" y="connsiteY65477"/>
              </a:cxn>
              <a:cxn ang="0">
                <a:pos x="connsiteX65478" y="connsiteY65478"/>
              </a:cxn>
              <a:cxn ang="0">
                <a:pos x="connsiteX65479" y="connsiteY65479"/>
              </a:cxn>
              <a:cxn ang="0">
                <a:pos x="connsiteX65480" y="connsiteY65480"/>
              </a:cxn>
              <a:cxn ang="0">
                <a:pos x="connsiteX65481" y="connsiteY65481"/>
              </a:cxn>
              <a:cxn ang="0">
                <a:pos x="connsiteX65482" y="connsiteY65482"/>
              </a:cxn>
              <a:cxn ang="0">
                <a:pos x="connsiteX65483" y="connsiteY65483"/>
              </a:cxn>
              <a:cxn ang="0">
                <a:pos x="connsiteX65484" y="connsiteY65484"/>
              </a:cxn>
              <a:cxn ang="0">
                <a:pos x="connsiteX65485" y="connsiteY65485"/>
              </a:cxn>
              <a:cxn ang="0">
                <a:pos x="connsiteX65486" y="connsiteY65486"/>
              </a:cxn>
              <a:cxn ang="0">
                <a:pos x="connsiteX65487" y="connsiteY65487"/>
              </a:cxn>
              <a:cxn ang="0">
                <a:pos x="connsiteX65488" y="connsiteY65488"/>
              </a:cxn>
              <a:cxn ang="0">
                <a:pos x="connsiteX65489" y="connsiteY65489"/>
              </a:cxn>
              <a:cxn ang="0">
                <a:pos x="connsiteX65490" y="connsiteY65490"/>
              </a:cxn>
              <a:cxn ang="0">
                <a:pos x="connsiteX65491" y="connsiteY65491"/>
              </a:cxn>
              <a:cxn ang="0">
                <a:pos x="connsiteX65492" y="connsiteY65492"/>
              </a:cxn>
              <a:cxn ang="0">
                <a:pos x="connsiteX65493" y="connsiteY65493"/>
              </a:cxn>
              <a:cxn ang="0">
                <a:pos x="connsiteX65494" y="connsiteY65494"/>
              </a:cxn>
              <a:cxn ang="0">
                <a:pos x="connsiteX65495" y="connsiteY65495"/>
              </a:cxn>
              <a:cxn ang="0">
                <a:pos x="connsiteX65496" y="connsiteY65496"/>
              </a:cxn>
              <a:cxn ang="0">
                <a:pos x="connsiteX65497" y="connsiteY65497"/>
              </a:cxn>
              <a:cxn ang="0">
                <a:pos x="connsiteX65498" y="connsiteY65498"/>
              </a:cxn>
              <a:cxn ang="0">
                <a:pos x="connsiteX65499" y="connsiteY65499"/>
              </a:cxn>
              <a:cxn ang="0">
                <a:pos x="connsiteX65500" y="connsiteY65500"/>
              </a:cxn>
              <a:cxn ang="0">
                <a:pos x="connsiteX65501" y="connsiteY65501"/>
              </a:cxn>
              <a:cxn ang="0">
                <a:pos x="connsiteX65502" y="connsiteY65502"/>
              </a:cxn>
              <a:cxn ang="0">
                <a:pos x="connsiteX65503" y="connsiteY65503"/>
              </a:cxn>
              <a:cxn ang="0">
                <a:pos x="connsiteX65504" y="connsiteY65504"/>
              </a:cxn>
              <a:cxn ang="0">
                <a:pos x="connsiteX65505" y="connsiteY65505"/>
              </a:cxn>
              <a:cxn ang="0">
                <a:pos x="connsiteX65506" y="connsiteY65506"/>
              </a:cxn>
              <a:cxn ang="0">
                <a:pos x="connsiteX65507" y="connsiteY65507"/>
              </a:cxn>
              <a:cxn ang="0">
                <a:pos x="connsiteX65508" y="connsiteY65508"/>
              </a:cxn>
              <a:cxn ang="0">
                <a:pos x="connsiteX65509" y="connsiteY65509"/>
              </a:cxn>
              <a:cxn ang="0">
                <a:pos x="connsiteX65510" y="connsiteY65510"/>
              </a:cxn>
              <a:cxn ang="0">
                <a:pos x="connsiteX65511" y="connsiteY65511"/>
              </a:cxn>
              <a:cxn ang="0">
                <a:pos x="connsiteX65512" y="connsiteY65512"/>
              </a:cxn>
              <a:cxn ang="0">
                <a:pos x="connsiteX65513" y="connsiteY65513"/>
              </a:cxn>
              <a:cxn ang="0">
                <a:pos x="connsiteX65514" y="connsiteY65514"/>
              </a:cxn>
              <a:cxn ang="0">
                <a:pos x="connsiteX65515" y="connsiteY65515"/>
              </a:cxn>
              <a:cxn ang="0">
                <a:pos x="connsiteX65516" y="connsiteY65516"/>
              </a:cxn>
              <a:cxn ang="0">
                <a:pos x="connsiteX65517" y="connsiteY65517"/>
              </a:cxn>
              <a:cxn ang="0">
                <a:pos x="connsiteX65518" y="connsiteY65518"/>
              </a:cxn>
              <a:cxn ang="0">
                <a:pos x="connsiteX65519" y="connsiteY65519"/>
              </a:cxn>
              <a:cxn ang="0">
                <a:pos x="connsiteX65520" y="connsiteY65520"/>
              </a:cxn>
              <a:cxn ang="0">
                <a:pos x="connsiteX65521" y="connsiteY65521"/>
              </a:cxn>
              <a:cxn ang="0">
                <a:pos x="connsiteX65522" y="connsiteY65522"/>
              </a:cxn>
              <a:cxn ang="0">
                <a:pos x="connsiteX65523" y="connsiteY65523"/>
              </a:cxn>
              <a:cxn ang="0">
                <a:pos x="connsiteX65524" y="connsiteY65524"/>
              </a:cxn>
              <a:cxn ang="0">
                <a:pos x="connsiteX65525" y="connsiteY65525"/>
              </a:cxn>
              <a:cxn ang="0">
                <a:pos x="connsiteX65526" y="connsiteY65526"/>
              </a:cxn>
              <a:cxn ang="0">
                <a:pos x="connsiteX65527" y="connsiteY65527"/>
              </a:cxn>
              <a:cxn ang="0">
                <a:pos x="connsiteX65528" y="connsiteY65528"/>
              </a:cxn>
              <a:cxn ang="0">
                <a:pos x="connsiteX65529" y="connsiteY65529"/>
              </a:cxn>
              <a:cxn ang="0">
                <a:pos x="connsiteX65530" y="connsiteY65530"/>
              </a:cxn>
              <a:cxn ang="0">
                <a:pos x="connsiteX65531" y="connsiteY65531"/>
              </a:cxn>
              <a:cxn ang="0">
                <a:pos x="connsiteX65532" y="connsiteY65532"/>
              </a:cxn>
              <a:cxn ang="0">
                <a:pos x="connsiteX65533" y="connsiteY65533"/>
              </a:cxn>
              <a:cxn ang="0">
                <a:pos x="connsiteX65534" y="connsiteY65534"/>
              </a:cxn>
              <a:cxn ang="0">
                <a:pos x="connsiteX65535" y="connsiteY65535"/>
              </a:cxn>
              <a:cxn ang="0">
                <a:pos x="connsiteX65536" y="connsiteY65536"/>
              </a:cxn>
              <a:cxn ang="0">
                <a:pos x="connsiteX65537" y="connsiteY65537"/>
              </a:cxn>
              <a:cxn ang="0">
                <a:pos x="connsiteX65538" y="connsiteY65538"/>
              </a:cxn>
              <a:cxn ang="0">
                <a:pos x="connsiteX65539" y="connsiteY65539"/>
              </a:cxn>
              <a:cxn ang="0">
                <a:pos x="connsiteX65540" y="connsiteY65540"/>
              </a:cxn>
              <a:cxn ang="0">
                <a:pos x="connsiteX65541" y="connsiteY65541"/>
              </a:cxn>
              <a:cxn ang="0">
                <a:pos x="connsiteX65542" y="connsiteY65542"/>
              </a:cxn>
              <a:cxn ang="0">
                <a:pos x="connsiteX65543" y="connsiteY65543"/>
              </a:cxn>
              <a:cxn ang="0">
                <a:pos x="connsiteX65544" y="connsiteY65544"/>
              </a:cxn>
              <a:cxn ang="0">
                <a:pos x="connsiteX65545" y="connsiteY65545"/>
              </a:cxn>
              <a:cxn ang="0">
                <a:pos x="connsiteX65546" y="connsiteY65546"/>
              </a:cxn>
              <a:cxn ang="0">
                <a:pos x="connsiteX65547" y="connsiteY65547"/>
              </a:cxn>
              <a:cxn ang="0">
                <a:pos x="connsiteX65548" y="connsiteY65548"/>
              </a:cxn>
              <a:cxn ang="0">
                <a:pos x="connsiteX65549" y="connsiteY65549"/>
              </a:cxn>
              <a:cxn ang="0">
                <a:pos x="connsiteX65550" y="connsiteY65550"/>
              </a:cxn>
              <a:cxn ang="0">
                <a:pos x="connsiteX65551" y="connsiteY65551"/>
              </a:cxn>
              <a:cxn ang="0">
                <a:pos x="connsiteX65552" y="connsiteY65552"/>
              </a:cxn>
              <a:cxn ang="0">
                <a:pos x="connsiteX65553" y="connsiteY65553"/>
              </a:cxn>
              <a:cxn ang="0">
                <a:pos x="connsiteX65554" y="connsiteY65554"/>
              </a:cxn>
              <a:cxn ang="0">
                <a:pos x="connsiteX65555" y="connsiteY65555"/>
              </a:cxn>
              <a:cxn ang="0">
                <a:pos x="connsiteX65556" y="connsiteY65556"/>
              </a:cxn>
              <a:cxn ang="0">
                <a:pos x="connsiteX65557" y="connsiteY65557"/>
              </a:cxn>
              <a:cxn ang="0">
                <a:pos x="connsiteX65558" y="connsiteY65558"/>
              </a:cxn>
              <a:cxn ang="0">
                <a:pos x="connsiteX65559" y="connsiteY65559"/>
              </a:cxn>
              <a:cxn ang="0">
                <a:pos x="connsiteX65560" y="connsiteY65560"/>
              </a:cxn>
              <a:cxn ang="0">
                <a:pos x="connsiteX65561" y="connsiteY65561"/>
              </a:cxn>
              <a:cxn ang="0">
                <a:pos x="connsiteX65562" y="connsiteY65562"/>
              </a:cxn>
              <a:cxn ang="0">
                <a:pos x="connsiteX65563" y="connsiteY65563"/>
              </a:cxn>
              <a:cxn ang="0">
                <a:pos x="connsiteX65564" y="connsiteY65564"/>
              </a:cxn>
              <a:cxn ang="0">
                <a:pos x="connsiteX65565" y="connsiteY65565"/>
              </a:cxn>
              <a:cxn ang="0">
                <a:pos x="connsiteX65566" y="connsiteY65566"/>
              </a:cxn>
              <a:cxn ang="0">
                <a:pos x="connsiteX65567" y="connsiteY65567"/>
              </a:cxn>
              <a:cxn ang="0">
                <a:pos x="connsiteX65568" y="connsiteY65568"/>
              </a:cxn>
              <a:cxn ang="0">
                <a:pos x="connsiteX65569" y="connsiteY65569"/>
              </a:cxn>
              <a:cxn ang="0">
                <a:pos x="connsiteX65570" y="connsiteY65570"/>
              </a:cxn>
              <a:cxn ang="0">
                <a:pos x="connsiteX65571" y="connsiteY65571"/>
              </a:cxn>
              <a:cxn ang="0">
                <a:pos x="connsiteX65572" y="connsiteY65572"/>
              </a:cxn>
              <a:cxn ang="0">
                <a:pos x="connsiteX65573" y="connsiteY65573"/>
              </a:cxn>
              <a:cxn ang="0">
                <a:pos x="connsiteX65574" y="connsiteY65574"/>
              </a:cxn>
              <a:cxn ang="0">
                <a:pos x="connsiteX65575" y="connsiteY65575"/>
              </a:cxn>
              <a:cxn ang="0">
                <a:pos x="connsiteX65576" y="connsiteY65576"/>
              </a:cxn>
              <a:cxn ang="0">
                <a:pos x="connsiteX65577" y="connsiteY65577"/>
              </a:cxn>
              <a:cxn ang="0">
                <a:pos x="connsiteX65578" y="connsiteY65578"/>
              </a:cxn>
              <a:cxn ang="0">
                <a:pos x="connsiteX65579" y="connsiteY65579"/>
              </a:cxn>
              <a:cxn ang="0">
                <a:pos x="connsiteX65580" y="connsiteY65580"/>
              </a:cxn>
              <a:cxn ang="0">
                <a:pos x="connsiteX65581" y="connsiteY65581"/>
              </a:cxn>
              <a:cxn ang="0">
                <a:pos x="connsiteX65582" y="connsiteY65582"/>
              </a:cxn>
              <a:cxn ang="0">
                <a:pos x="connsiteX65583" y="connsiteY65583"/>
              </a:cxn>
              <a:cxn ang="0">
                <a:pos x="connsiteX65584" y="connsiteY65584"/>
              </a:cxn>
              <a:cxn ang="0">
                <a:pos x="connsiteX65585" y="connsiteY65585"/>
              </a:cxn>
              <a:cxn ang="0">
                <a:pos x="connsiteX65586" y="connsiteY65586"/>
              </a:cxn>
              <a:cxn ang="0">
                <a:pos x="connsiteX65587" y="connsiteY65587"/>
              </a:cxn>
              <a:cxn ang="0">
                <a:pos x="connsiteX65588" y="connsiteY65588"/>
              </a:cxn>
              <a:cxn ang="0">
                <a:pos x="connsiteX65589" y="connsiteY65589"/>
              </a:cxn>
              <a:cxn ang="0">
                <a:pos x="connsiteX65590" y="connsiteY65590"/>
              </a:cxn>
              <a:cxn ang="0">
                <a:pos x="connsiteX65591" y="connsiteY65591"/>
              </a:cxn>
              <a:cxn ang="0">
                <a:pos x="connsiteX65592" y="connsiteY65592"/>
              </a:cxn>
              <a:cxn ang="0">
                <a:pos x="connsiteX65593" y="connsiteY65593"/>
              </a:cxn>
              <a:cxn ang="0">
                <a:pos x="connsiteX65594" y="connsiteY65594"/>
              </a:cxn>
              <a:cxn ang="0">
                <a:pos x="connsiteX65595" y="connsiteY65595"/>
              </a:cxn>
              <a:cxn ang="0">
                <a:pos x="connsiteX65596" y="connsiteY65596"/>
              </a:cxn>
              <a:cxn ang="0">
                <a:pos x="connsiteX65597" y="connsiteY65597"/>
              </a:cxn>
              <a:cxn ang="0">
                <a:pos x="connsiteX65598" y="connsiteY65598"/>
              </a:cxn>
              <a:cxn ang="0">
                <a:pos x="connsiteX65599" y="connsiteY65599"/>
              </a:cxn>
              <a:cxn ang="0">
                <a:pos x="connsiteX65600" y="connsiteY65600"/>
              </a:cxn>
              <a:cxn ang="0">
                <a:pos x="connsiteX65601" y="connsiteY65601"/>
              </a:cxn>
              <a:cxn ang="0">
                <a:pos x="connsiteX65602" y="connsiteY65602"/>
              </a:cxn>
              <a:cxn ang="0">
                <a:pos x="connsiteX65603" y="connsiteY65603"/>
              </a:cxn>
              <a:cxn ang="0">
                <a:pos x="connsiteX65604" y="connsiteY65604"/>
              </a:cxn>
              <a:cxn ang="0">
                <a:pos x="connsiteX65605" y="connsiteY65605"/>
              </a:cxn>
              <a:cxn ang="0">
                <a:pos x="connsiteX65606" y="connsiteY65606"/>
              </a:cxn>
              <a:cxn ang="0">
                <a:pos x="connsiteX65607" y="connsiteY65607"/>
              </a:cxn>
              <a:cxn ang="0">
                <a:pos x="connsiteX65608" y="connsiteY65608"/>
              </a:cxn>
              <a:cxn ang="0">
                <a:pos x="connsiteX65609" y="connsiteY65609"/>
              </a:cxn>
              <a:cxn ang="0">
                <a:pos x="connsiteX65610" y="connsiteY65610"/>
              </a:cxn>
              <a:cxn ang="0">
                <a:pos x="connsiteX65611" y="connsiteY65611"/>
              </a:cxn>
              <a:cxn ang="0">
                <a:pos x="connsiteX65612" y="connsiteY65612"/>
              </a:cxn>
              <a:cxn ang="0">
                <a:pos x="connsiteX65613" y="connsiteY65613"/>
              </a:cxn>
              <a:cxn ang="0">
                <a:pos x="connsiteX65614" y="connsiteY65614"/>
              </a:cxn>
              <a:cxn ang="0">
                <a:pos x="connsiteX65615" y="connsiteY65615"/>
              </a:cxn>
              <a:cxn ang="0">
                <a:pos x="connsiteX65616" y="connsiteY65616"/>
              </a:cxn>
              <a:cxn ang="0">
                <a:pos x="connsiteX65617" y="connsiteY65617"/>
              </a:cxn>
              <a:cxn ang="0">
                <a:pos x="connsiteX65618" y="connsiteY65618"/>
              </a:cxn>
              <a:cxn ang="0">
                <a:pos x="connsiteX65619" y="connsiteY65619"/>
              </a:cxn>
              <a:cxn ang="0">
                <a:pos x="connsiteX65620" y="connsiteY65620"/>
              </a:cxn>
              <a:cxn ang="0">
                <a:pos x="connsiteX65621" y="connsiteY65621"/>
              </a:cxn>
              <a:cxn ang="0">
                <a:pos x="connsiteX65622" y="connsiteY65622"/>
              </a:cxn>
              <a:cxn ang="0">
                <a:pos x="connsiteX65623" y="connsiteY65623"/>
              </a:cxn>
              <a:cxn ang="0">
                <a:pos x="connsiteX65624" y="connsiteY65624"/>
              </a:cxn>
              <a:cxn ang="0">
                <a:pos x="connsiteX65625" y="connsiteY65625"/>
              </a:cxn>
              <a:cxn ang="0">
                <a:pos x="connsiteX65626" y="connsiteY65626"/>
              </a:cxn>
              <a:cxn ang="0">
                <a:pos x="connsiteX65627" y="connsiteY65627"/>
              </a:cxn>
              <a:cxn ang="0">
                <a:pos x="connsiteX65628" y="connsiteY65628"/>
              </a:cxn>
              <a:cxn ang="0">
                <a:pos x="connsiteX65629" y="connsiteY65629"/>
              </a:cxn>
              <a:cxn ang="0">
                <a:pos x="connsiteX65630" y="connsiteY65630"/>
              </a:cxn>
              <a:cxn ang="0">
                <a:pos x="connsiteX65631" y="connsiteY65631"/>
              </a:cxn>
              <a:cxn ang="0">
                <a:pos x="connsiteX65632" y="connsiteY65632"/>
              </a:cxn>
              <a:cxn ang="0">
                <a:pos x="connsiteX65633" y="connsiteY65633"/>
              </a:cxn>
              <a:cxn ang="0">
                <a:pos x="connsiteX65634" y="connsiteY65634"/>
              </a:cxn>
              <a:cxn ang="0">
                <a:pos x="connsiteX65635" y="connsiteY65635"/>
              </a:cxn>
              <a:cxn ang="0">
                <a:pos x="connsiteX65636" y="connsiteY65636"/>
              </a:cxn>
              <a:cxn ang="0">
                <a:pos x="connsiteX65637" y="connsiteY65637"/>
              </a:cxn>
              <a:cxn ang="0">
                <a:pos x="connsiteX65638" y="connsiteY65638"/>
              </a:cxn>
              <a:cxn ang="0">
                <a:pos x="connsiteX65639" y="connsiteY65639"/>
              </a:cxn>
              <a:cxn ang="0">
                <a:pos x="connsiteX65640" y="connsiteY65640"/>
              </a:cxn>
              <a:cxn ang="0">
                <a:pos x="connsiteX65641" y="connsiteY65641"/>
              </a:cxn>
              <a:cxn ang="0">
                <a:pos x="connsiteX65642" y="connsiteY65642"/>
              </a:cxn>
              <a:cxn ang="0">
                <a:pos x="connsiteX65643" y="connsiteY65643"/>
              </a:cxn>
              <a:cxn ang="0">
                <a:pos x="connsiteX65644" y="connsiteY65644"/>
              </a:cxn>
              <a:cxn ang="0">
                <a:pos x="connsiteX65645" y="connsiteY65645"/>
              </a:cxn>
              <a:cxn ang="0">
                <a:pos x="connsiteX65646" y="connsiteY65646"/>
              </a:cxn>
              <a:cxn ang="0">
                <a:pos x="connsiteX65647" y="connsiteY65647"/>
              </a:cxn>
              <a:cxn ang="0">
                <a:pos x="connsiteX65648" y="connsiteY65648"/>
              </a:cxn>
              <a:cxn ang="0">
                <a:pos x="connsiteX65649" y="connsiteY65649"/>
              </a:cxn>
              <a:cxn ang="0">
                <a:pos x="connsiteX65650" y="connsiteY65650"/>
              </a:cxn>
              <a:cxn ang="0">
                <a:pos x="connsiteX65651" y="connsiteY65651"/>
              </a:cxn>
              <a:cxn ang="0">
                <a:pos x="connsiteX65652" y="connsiteY65652"/>
              </a:cxn>
              <a:cxn ang="0">
                <a:pos x="connsiteX65653" y="connsiteY65653"/>
              </a:cxn>
              <a:cxn ang="0">
                <a:pos x="connsiteX65654" y="connsiteY65654"/>
              </a:cxn>
              <a:cxn ang="0">
                <a:pos x="connsiteX65655" y="connsiteY65655"/>
              </a:cxn>
              <a:cxn ang="0">
                <a:pos x="connsiteX65656" y="connsiteY65656"/>
              </a:cxn>
              <a:cxn ang="0">
                <a:pos x="connsiteX65657" y="connsiteY65657"/>
              </a:cxn>
              <a:cxn ang="0">
                <a:pos x="connsiteX65658" y="connsiteY65658"/>
              </a:cxn>
              <a:cxn ang="0">
                <a:pos x="connsiteX65659" y="connsiteY65659"/>
              </a:cxn>
              <a:cxn ang="0">
                <a:pos x="connsiteX65660" y="connsiteY65660"/>
              </a:cxn>
              <a:cxn ang="0">
                <a:pos x="connsiteX65661" y="connsiteY65661"/>
              </a:cxn>
              <a:cxn ang="0">
                <a:pos x="connsiteX65662" y="connsiteY65662"/>
              </a:cxn>
              <a:cxn ang="0">
                <a:pos x="connsiteX65663" y="connsiteY65663"/>
              </a:cxn>
              <a:cxn ang="0">
                <a:pos x="connsiteX65664" y="connsiteY65664"/>
              </a:cxn>
              <a:cxn ang="0">
                <a:pos x="connsiteX65665" y="connsiteY65665"/>
              </a:cxn>
              <a:cxn ang="0">
                <a:pos x="connsiteX65666" y="connsiteY65666"/>
              </a:cxn>
              <a:cxn ang="0">
                <a:pos x="connsiteX65667" y="connsiteY65667"/>
              </a:cxn>
              <a:cxn ang="0">
                <a:pos x="connsiteX65668" y="connsiteY65668"/>
              </a:cxn>
              <a:cxn ang="0">
                <a:pos x="connsiteX65669" y="connsiteY65669"/>
              </a:cxn>
              <a:cxn ang="0">
                <a:pos x="connsiteX65670" y="connsiteY65670"/>
              </a:cxn>
              <a:cxn ang="0">
                <a:pos x="connsiteX65671" y="connsiteY65671"/>
              </a:cxn>
              <a:cxn ang="0">
                <a:pos x="connsiteX65672" y="connsiteY65672"/>
              </a:cxn>
              <a:cxn ang="0">
                <a:pos x="connsiteX65673" y="connsiteY65673"/>
              </a:cxn>
              <a:cxn ang="0">
                <a:pos x="connsiteX65674" y="connsiteY65674"/>
              </a:cxn>
              <a:cxn ang="0">
                <a:pos x="connsiteX65675" y="connsiteY65675"/>
              </a:cxn>
              <a:cxn ang="0">
                <a:pos x="connsiteX65676" y="connsiteY65676"/>
              </a:cxn>
              <a:cxn ang="0">
                <a:pos x="connsiteX65677" y="connsiteY65677"/>
              </a:cxn>
              <a:cxn ang="0">
                <a:pos x="connsiteX65678" y="connsiteY65678"/>
              </a:cxn>
              <a:cxn ang="0">
                <a:pos x="connsiteX65679" y="connsiteY65679"/>
              </a:cxn>
              <a:cxn ang="0">
                <a:pos x="connsiteX65680" y="connsiteY65680"/>
              </a:cxn>
              <a:cxn ang="0">
                <a:pos x="connsiteX65681" y="connsiteY65681"/>
              </a:cxn>
              <a:cxn ang="0">
                <a:pos x="connsiteX65682" y="connsiteY65682"/>
              </a:cxn>
              <a:cxn ang="0">
                <a:pos x="connsiteX65683" y="connsiteY65683"/>
              </a:cxn>
              <a:cxn ang="0">
                <a:pos x="connsiteX65684" y="connsiteY65684"/>
              </a:cxn>
              <a:cxn ang="0">
                <a:pos x="connsiteX65685" y="connsiteY65685"/>
              </a:cxn>
              <a:cxn ang="0">
                <a:pos x="connsiteX65686" y="connsiteY65686"/>
              </a:cxn>
              <a:cxn ang="0">
                <a:pos x="connsiteX65687" y="connsiteY65687"/>
              </a:cxn>
              <a:cxn ang="0">
                <a:pos x="connsiteX65688" y="connsiteY65688"/>
              </a:cxn>
              <a:cxn ang="0">
                <a:pos x="connsiteX65689" y="connsiteY65689"/>
              </a:cxn>
              <a:cxn ang="0">
                <a:pos x="connsiteX65690" y="connsiteY65690"/>
              </a:cxn>
              <a:cxn ang="0">
                <a:pos x="connsiteX65691" y="connsiteY65691"/>
              </a:cxn>
              <a:cxn ang="0">
                <a:pos x="connsiteX65692" y="connsiteY65692"/>
              </a:cxn>
              <a:cxn ang="0">
                <a:pos x="connsiteX65693" y="connsiteY65693"/>
              </a:cxn>
              <a:cxn ang="0">
                <a:pos x="connsiteX65694" y="connsiteY65694"/>
              </a:cxn>
              <a:cxn ang="0">
                <a:pos x="connsiteX65695" y="connsiteY65695"/>
              </a:cxn>
              <a:cxn ang="0">
                <a:pos x="connsiteX65696" y="connsiteY65696"/>
              </a:cxn>
              <a:cxn ang="0">
                <a:pos x="connsiteX65697" y="connsiteY65697"/>
              </a:cxn>
              <a:cxn ang="0">
                <a:pos x="connsiteX65698" y="connsiteY65698"/>
              </a:cxn>
              <a:cxn ang="0">
                <a:pos x="connsiteX65699" y="connsiteY65699"/>
              </a:cxn>
              <a:cxn ang="0">
                <a:pos x="connsiteX65700" y="connsiteY65700"/>
              </a:cxn>
              <a:cxn ang="0">
                <a:pos x="connsiteX65701" y="connsiteY65701"/>
              </a:cxn>
              <a:cxn ang="0">
                <a:pos x="connsiteX65702" y="connsiteY65702"/>
              </a:cxn>
              <a:cxn ang="0">
                <a:pos x="connsiteX65703" y="connsiteY65703"/>
              </a:cxn>
              <a:cxn ang="0">
                <a:pos x="connsiteX65704" y="connsiteY65704"/>
              </a:cxn>
              <a:cxn ang="0">
                <a:pos x="connsiteX65705" y="connsiteY65705"/>
              </a:cxn>
              <a:cxn ang="0">
                <a:pos x="connsiteX65706" y="connsiteY65706"/>
              </a:cxn>
              <a:cxn ang="0">
                <a:pos x="connsiteX65707" y="connsiteY65707"/>
              </a:cxn>
              <a:cxn ang="0">
                <a:pos x="connsiteX65708" y="connsiteY65708"/>
              </a:cxn>
              <a:cxn ang="0">
                <a:pos x="connsiteX65709" y="connsiteY65709"/>
              </a:cxn>
              <a:cxn ang="0">
                <a:pos x="connsiteX65710" y="connsiteY65710"/>
              </a:cxn>
              <a:cxn ang="0">
                <a:pos x="connsiteX65711" y="connsiteY65711"/>
              </a:cxn>
              <a:cxn ang="0">
                <a:pos x="connsiteX65712" y="connsiteY65712"/>
              </a:cxn>
              <a:cxn ang="0">
                <a:pos x="connsiteX65713" y="connsiteY65713"/>
              </a:cxn>
              <a:cxn ang="0">
                <a:pos x="connsiteX65714" y="connsiteY65714"/>
              </a:cxn>
              <a:cxn ang="0">
                <a:pos x="connsiteX65715" y="connsiteY65715"/>
              </a:cxn>
              <a:cxn ang="0">
                <a:pos x="connsiteX65716" y="connsiteY65716"/>
              </a:cxn>
              <a:cxn ang="0">
                <a:pos x="connsiteX65717" y="connsiteY65717"/>
              </a:cxn>
              <a:cxn ang="0">
                <a:pos x="connsiteX65718" y="connsiteY65718"/>
              </a:cxn>
              <a:cxn ang="0">
                <a:pos x="connsiteX65719" y="connsiteY65719"/>
              </a:cxn>
              <a:cxn ang="0">
                <a:pos x="connsiteX65720" y="connsiteY65720"/>
              </a:cxn>
              <a:cxn ang="0">
                <a:pos x="connsiteX65721" y="connsiteY65721"/>
              </a:cxn>
              <a:cxn ang="0">
                <a:pos x="connsiteX65722" y="connsiteY65722"/>
              </a:cxn>
              <a:cxn ang="0">
                <a:pos x="connsiteX65723" y="connsiteY65723"/>
              </a:cxn>
              <a:cxn ang="0">
                <a:pos x="connsiteX65724" y="connsiteY65724"/>
              </a:cxn>
              <a:cxn ang="0">
                <a:pos x="connsiteX65725" y="connsiteY65725"/>
              </a:cxn>
              <a:cxn ang="0">
                <a:pos x="connsiteX65726" y="connsiteY65726"/>
              </a:cxn>
              <a:cxn ang="0">
                <a:pos x="connsiteX65727" y="connsiteY65727"/>
              </a:cxn>
              <a:cxn ang="0">
                <a:pos x="connsiteX65728" y="connsiteY65728"/>
              </a:cxn>
              <a:cxn ang="0">
                <a:pos x="connsiteX65729" y="connsiteY65729"/>
              </a:cxn>
              <a:cxn ang="0">
                <a:pos x="connsiteX65730" y="connsiteY65730"/>
              </a:cxn>
              <a:cxn ang="0">
                <a:pos x="connsiteX65731" y="connsiteY65731"/>
              </a:cxn>
              <a:cxn ang="0">
                <a:pos x="connsiteX65732" y="connsiteY65732"/>
              </a:cxn>
              <a:cxn ang="0">
                <a:pos x="connsiteX65733" y="connsiteY65733"/>
              </a:cxn>
              <a:cxn ang="0">
                <a:pos x="connsiteX65734" y="connsiteY65734"/>
              </a:cxn>
              <a:cxn ang="0">
                <a:pos x="connsiteX65735" y="connsiteY65735"/>
              </a:cxn>
              <a:cxn ang="0">
                <a:pos x="connsiteX65736" y="connsiteY65736"/>
              </a:cxn>
              <a:cxn ang="0">
                <a:pos x="connsiteX65737" y="connsiteY65737"/>
              </a:cxn>
              <a:cxn ang="0">
                <a:pos x="connsiteX65738" y="connsiteY65738"/>
              </a:cxn>
              <a:cxn ang="0">
                <a:pos x="connsiteX65739" y="connsiteY65739"/>
              </a:cxn>
              <a:cxn ang="0">
                <a:pos x="connsiteX65740" y="connsiteY65740"/>
              </a:cxn>
              <a:cxn ang="0">
                <a:pos x="connsiteX65741" y="connsiteY65741"/>
              </a:cxn>
              <a:cxn ang="0">
                <a:pos x="connsiteX65742" y="connsiteY65742"/>
              </a:cxn>
              <a:cxn ang="0">
                <a:pos x="connsiteX65743" y="connsiteY65743"/>
              </a:cxn>
              <a:cxn ang="0">
                <a:pos x="connsiteX65744" y="connsiteY65744"/>
              </a:cxn>
              <a:cxn ang="0">
                <a:pos x="connsiteX65745" y="connsiteY65745"/>
              </a:cxn>
              <a:cxn ang="0">
                <a:pos x="connsiteX65746" y="connsiteY65746"/>
              </a:cxn>
              <a:cxn ang="0">
                <a:pos x="connsiteX65747" y="connsiteY65747"/>
              </a:cxn>
              <a:cxn ang="0">
                <a:pos x="connsiteX65748" y="connsiteY65748"/>
              </a:cxn>
              <a:cxn ang="0">
                <a:pos x="connsiteX65749" y="connsiteY65749"/>
              </a:cxn>
              <a:cxn ang="0">
                <a:pos x="connsiteX65750" y="connsiteY65750"/>
              </a:cxn>
              <a:cxn ang="0">
                <a:pos x="connsiteX65751" y="connsiteY65751"/>
              </a:cxn>
              <a:cxn ang="0">
                <a:pos x="connsiteX65752" y="connsiteY65752"/>
              </a:cxn>
              <a:cxn ang="0">
                <a:pos x="connsiteX65753" y="connsiteY65753"/>
              </a:cxn>
              <a:cxn ang="0">
                <a:pos x="connsiteX65754" y="connsiteY65754"/>
              </a:cxn>
              <a:cxn ang="0">
                <a:pos x="connsiteX65755" y="connsiteY65755"/>
              </a:cxn>
              <a:cxn ang="0">
                <a:pos x="connsiteX65756" y="connsiteY65756"/>
              </a:cxn>
              <a:cxn ang="0">
                <a:pos x="connsiteX65757" y="connsiteY65757"/>
              </a:cxn>
              <a:cxn ang="0">
                <a:pos x="connsiteX65758" y="connsiteY65758"/>
              </a:cxn>
              <a:cxn ang="0">
                <a:pos x="connsiteX65759" y="connsiteY65759"/>
              </a:cxn>
              <a:cxn ang="0">
                <a:pos x="connsiteX65760" y="connsiteY65760"/>
              </a:cxn>
              <a:cxn ang="0">
                <a:pos x="connsiteX65761" y="connsiteY65761"/>
              </a:cxn>
              <a:cxn ang="0">
                <a:pos x="connsiteX65762" y="connsiteY65762"/>
              </a:cxn>
              <a:cxn ang="0">
                <a:pos x="connsiteX65763" y="connsiteY65763"/>
              </a:cxn>
              <a:cxn ang="0">
                <a:pos x="connsiteX65764" y="connsiteY65764"/>
              </a:cxn>
              <a:cxn ang="0">
                <a:pos x="connsiteX65765" y="connsiteY65765"/>
              </a:cxn>
              <a:cxn ang="0">
                <a:pos x="connsiteX65766" y="connsiteY65766"/>
              </a:cxn>
              <a:cxn ang="0">
                <a:pos x="connsiteX65767" y="connsiteY65767"/>
              </a:cxn>
              <a:cxn ang="0">
                <a:pos x="connsiteX65768" y="connsiteY65768"/>
              </a:cxn>
              <a:cxn ang="0">
                <a:pos x="connsiteX65769" y="connsiteY65769"/>
              </a:cxn>
              <a:cxn ang="0">
                <a:pos x="connsiteX65770" y="connsiteY65770"/>
              </a:cxn>
              <a:cxn ang="0">
                <a:pos x="connsiteX65771" y="connsiteY65771"/>
              </a:cxn>
              <a:cxn ang="0">
                <a:pos x="connsiteX65772" y="connsiteY65772"/>
              </a:cxn>
              <a:cxn ang="0">
                <a:pos x="connsiteX65773" y="connsiteY65773"/>
              </a:cxn>
              <a:cxn ang="0">
                <a:pos x="connsiteX65774" y="connsiteY65774"/>
              </a:cxn>
              <a:cxn ang="0">
                <a:pos x="connsiteX65775" y="connsiteY65775"/>
              </a:cxn>
              <a:cxn ang="0">
                <a:pos x="connsiteX65776" y="connsiteY65776"/>
              </a:cxn>
              <a:cxn ang="0">
                <a:pos x="connsiteX65777" y="connsiteY65777"/>
              </a:cxn>
              <a:cxn ang="0">
                <a:pos x="connsiteX65778" y="connsiteY65778"/>
              </a:cxn>
              <a:cxn ang="0">
                <a:pos x="connsiteX65779" y="connsiteY65779"/>
              </a:cxn>
              <a:cxn ang="0">
                <a:pos x="connsiteX65780" y="connsiteY65780"/>
              </a:cxn>
              <a:cxn ang="0">
                <a:pos x="connsiteX65781" y="connsiteY65781"/>
              </a:cxn>
              <a:cxn ang="0">
                <a:pos x="connsiteX65782" y="connsiteY65782"/>
              </a:cxn>
              <a:cxn ang="0">
                <a:pos x="connsiteX65783" y="connsiteY65783"/>
              </a:cxn>
              <a:cxn ang="0">
                <a:pos x="connsiteX65784" y="connsiteY65784"/>
              </a:cxn>
              <a:cxn ang="0">
                <a:pos x="connsiteX65785" y="connsiteY65785"/>
              </a:cxn>
              <a:cxn ang="0">
                <a:pos x="connsiteX65786" y="connsiteY65786"/>
              </a:cxn>
              <a:cxn ang="0">
                <a:pos x="connsiteX65787" y="connsiteY65787"/>
              </a:cxn>
              <a:cxn ang="0">
                <a:pos x="connsiteX65788" y="connsiteY65788"/>
              </a:cxn>
              <a:cxn ang="0">
                <a:pos x="connsiteX65789" y="connsiteY65789"/>
              </a:cxn>
              <a:cxn ang="0">
                <a:pos x="connsiteX65790" y="connsiteY65790"/>
              </a:cxn>
              <a:cxn ang="0">
                <a:pos x="connsiteX65791" y="connsiteY65791"/>
              </a:cxn>
              <a:cxn ang="0">
                <a:pos x="connsiteX65792" y="connsiteY65792"/>
              </a:cxn>
              <a:cxn ang="0">
                <a:pos x="connsiteX65793" y="connsiteY65793"/>
              </a:cxn>
              <a:cxn ang="0">
                <a:pos x="connsiteX65794" y="connsiteY65794"/>
              </a:cxn>
              <a:cxn ang="0">
                <a:pos x="connsiteX65795" y="connsiteY65795"/>
              </a:cxn>
              <a:cxn ang="0">
                <a:pos x="connsiteX65796" y="connsiteY65796"/>
              </a:cxn>
              <a:cxn ang="0">
                <a:pos x="connsiteX65797" y="connsiteY65797"/>
              </a:cxn>
              <a:cxn ang="0">
                <a:pos x="connsiteX65798" y="connsiteY65798"/>
              </a:cxn>
              <a:cxn ang="0">
                <a:pos x="connsiteX65799" y="connsiteY65799"/>
              </a:cxn>
              <a:cxn ang="0">
                <a:pos x="connsiteX65800" y="connsiteY65800"/>
              </a:cxn>
              <a:cxn ang="0">
                <a:pos x="connsiteX65801" y="connsiteY65801"/>
              </a:cxn>
              <a:cxn ang="0">
                <a:pos x="connsiteX65802" y="connsiteY65802"/>
              </a:cxn>
              <a:cxn ang="0">
                <a:pos x="connsiteX65803" y="connsiteY65803"/>
              </a:cxn>
              <a:cxn ang="0">
                <a:pos x="connsiteX65804" y="connsiteY65804"/>
              </a:cxn>
              <a:cxn ang="0">
                <a:pos x="connsiteX65805" y="connsiteY65805"/>
              </a:cxn>
              <a:cxn ang="0">
                <a:pos x="connsiteX65806" y="connsiteY65806"/>
              </a:cxn>
              <a:cxn ang="0">
                <a:pos x="connsiteX65807" y="connsiteY65807"/>
              </a:cxn>
              <a:cxn ang="0">
                <a:pos x="connsiteX65808" y="connsiteY65808"/>
              </a:cxn>
              <a:cxn ang="0">
                <a:pos x="connsiteX65809" y="connsiteY65809"/>
              </a:cxn>
              <a:cxn ang="0">
                <a:pos x="connsiteX65810" y="connsiteY65810"/>
              </a:cxn>
              <a:cxn ang="0">
                <a:pos x="connsiteX65811" y="connsiteY65811"/>
              </a:cxn>
              <a:cxn ang="0">
                <a:pos x="connsiteX65812" y="connsiteY65812"/>
              </a:cxn>
              <a:cxn ang="0">
                <a:pos x="connsiteX65813" y="connsiteY65813"/>
              </a:cxn>
              <a:cxn ang="0">
                <a:pos x="connsiteX65814" y="connsiteY65814"/>
              </a:cxn>
              <a:cxn ang="0">
                <a:pos x="connsiteX65815" y="connsiteY65815"/>
              </a:cxn>
              <a:cxn ang="0">
                <a:pos x="connsiteX65816" y="connsiteY65816"/>
              </a:cxn>
              <a:cxn ang="0">
                <a:pos x="connsiteX65817" y="connsiteY65817"/>
              </a:cxn>
              <a:cxn ang="0">
                <a:pos x="connsiteX65818" y="connsiteY65818"/>
              </a:cxn>
              <a:cxn ang="0">
                <a:pos x="connsiteX65819" y="connsiteY65819"/>
              </a:cxn>
              <a:cxn ang="0">
                <a:pos x="connsiteX65820" y="connsiteY65820"/>
              </a:cxn>
              <a:cxn ang="0">
                <a:pos x="connsiteX65821" y="connsiteY65821"/>
              </a:cxn>
              <a:cxn ang="0">
                <a:pos x="connsiteX65822" y="connsiteY65822"/>
              </a:cxn>
              <a:cxn ang="0">
                <a:pos x="connsiteX65823" y="connsiteY65823"/>
              </a:cxn>
              <a:cxn ang="0">
                <a:pos x="connsiteX65824" y="connsiteY65824"/>
              </a:cxn>
              <a:cxn ang="0">
                <a:pos x="connsiteX65825" y="connsiteY65825"/>
              </a:cxn>
              <a:cxn ang="0">
                <a:pos x="connsiteX65826" y="connsiteY65826"/>
              </a:cxn>
              <a:cxn ang="0">
                <a:pos x="connsiteX65827" y="connsiteY65827"/>
              </a:cxn>
              <a:cxn ang="0">
                <a:pos x="connsiteX65828" y="connsiteY65828"/>
              </a:cxn>
              <a:cxn ang="0">
                <a:pos x="connsiteX65829" y="connsiteY65829"/>
              </a:cxn>
              <a:cxn ang="0">
                <a:pos x="connsiteX65830" y="connsiteY65830"/>
              </a:cxn>
              <a:cxn ang="0">
                <a:pos x="connsiteX65831" y="connsiteY65831"/>
              </a:cxn>
              <a:cxn ang="0">
                <a:pos x="connsiteX65832" y="connsiteY65832"/>
              </a:cxn>
              <a:cxn ang="0">
                <a:pos x="connsiteX65833" y="connsiteY65833"/>
              </a:cxn>
              <a:cxn ang="0">
                <a:pos x="connsiteX65834" y="connsiteY65834"/>
              </a:cxn>
              <a:cxn ang="0">
                <a:pos x="connsiteX65835" y="connsiteY65835"/>
              </a:cxn>
              <a:cxn ang="0">
                <a:pos x="connsiteX65836" y="connsiteY65836"/>
              </a:cxn>
              <a:cxn ang="0">
                <a:pos x="connsiteX65837" y="connsiteY65837"/>
              </a:cxn>
              <a:cxn ang="0">
                <a:pos x="connsiteX65838" y="connsiteY65838"/>
              </a:cxn>
              <a:cxn ang="0">
                <a:pos x="connsiteX65839" y="connsiteY65839"/>
              </a:cxn>
              <a:cxn ang="0">
                <a:pos x="connsiteX65840" y="connsiteY65840"/>
              </a:cxn>
              <a:cxn ang="0">
                <a:pos x="connsiteX65841" y="connsiteY65841"/>
              </a:cxn>
              <a:cxn ang="0">
                <a:pos x="connsiteX65842" y="connsiteY65842"/>
              </a:cxn>
              <a:cxn ang="0">
                <a:pos x="connsiteX65843" y="connsiteY65843"/>
              </a:cxn>
              <a:cxn ang="0">
                <a:pos x="connsiteX65844" y="connsiteY65844"/>
              </a:cxn>
              <a:cxn ang="0">
                <a:pos x="connsiteX65845" y="connsiteY65845"/>
              </a:cxn>
              <a:cxn ang="0">
                <a:pos x="connsiteX65846" y="connsiteY65846"/>
              </a:cxn>
              <a:cxn ang="0">
                <a:pos x="connsiteX65847" y="connsiteY65847"/>
              </a:cxn>
              <a:cxn ang="0">
                <a:pos x="connsiteX65848" y="connsiteY65848"/>
              </a:cxn>
              <a:cxn ang="0">
                <a:pos x="connsiteX65849" y="connsiteY65849"/>
              </a:cxn>
              <a:cxn ang="0">
                <a:pos x="connsiteX65850" y="connsiteY65850"/>
              </a:cxn>
              <a:cxn ang="0">
                <a:pos x="connsiteX65851" y="connsiteY65851"/>
              </a:cxn>
              <a:cxn ang="0">
                <a:pos x="connsiteX65852" y="connsiteY65852"/>
              </a:cxn>
              <a:cxn ang="0">
                <a:pos x="connsiteX65853" y="connsiteY65853"/>
              </a:cxn>
              <a:cxn ang="0">
                <a:pos x="connsiteX65854" y="connsiteY65854"/>
              </a:cxn>
              <a:cxn ang="0">
                <a:pos x="connsiteX65855" y="connsiteY65855"/>
              </a:cxn>
              <a:cxn ang="0">
                <a:pos x="connsiteX65856" y="connsiteY65856"/>
              </a:cxn>
              <a:cxn ang="0">
                <a:pos x="connsiteX65857" y="connsiteY65857"/>
              </a:cxn>
              <a:cxn ang="0">
                <a:pos x="connsiteX65858" y="connsiteY65858"/>
              </a:cxn>
              <a:cxn ang="0">
                <a:pos x="connsiteX65859" y="connsiteY65859"/>
              </a:cxn>
              <a:cxn ang="0">
                <a:pos x="connsiteX65860" y="connsiteY65860"/>
              </a:cxn>
              <a:cxn ang="0">
                <a:pos x="connsiteX65861" y="connsiteY65861"/>
              </a:cxn>
              <a:cxn ang="0">
                <a:pos x="connsiteX65862" y="connsiteY65862"/>
              </a:cxn>
              <a:cxn ang="0">
                <a:pos x="connsiteX65863" y="connsiteY65863"/>
              </a:cxn>
              <a:cxn ang="0">
                <a:pos x="connsiteX65864" y="connsiteY65864"/>
              </a:cxn>
              <a:cxn ang="0">
                <a:pos x="connsiteX65865" y="connsiteY65865"/>
              </a:cxn>
              <a:cxn ang="0">
                <a:pos x="connsiteX65866" y="connsiteY65866"/>
              </a:cxn>
              <a:cxn ang="0">
                <a:pos x="connsiteX65867" y="connsiteY65867"/>
              </a:cxn>
              <a:cxn ang="0">
                <a:pos x="connsiteX65868" y="connsiteY65868"/>
              </a:cxn>
              <a:cxn ang="0">
                <a:pos x="connsiteX65869" y="connsiteY65869"/>
              </a:cxn>
              <a:cxn ang="0">
                <a:pos x="connsiteX65870" y="connsiteY65870"/>
              </a:cxn>
              <a:cxn ang="0">
                <a:pos x="connsiteX65871" y="connsiteY65871"/>
              </a:cxn>
              <a:cxn ang="0">
                <a:pos x="connsiteX65872" y="connsiteY65872"/>
              </a:cxn>
              <a:cxn ang="0">
                <a:pos x="connsiteX65873" y="connsiteY65873"/>
              </a:cxn>
              <a:cxn ang="0">
                <a:pos x="connsiteX65874" y="connsiteY65874"/>
              </a:cxn>
              <a:cxn ang="0">
                <a:pos x="connsiteX65875" y="connsiteY65875"/>
              </a:cxn>
              <a:cxn ang="0">
                <a:pos x="connsiteX65876" y="connsiteY65876"/>
              </a:cxn>
              <a:cxn ang="0">
                <a:pos x="connsiteX65877" y="connsiteY65877"/>
              </a:cxn>
              <a:cxn ang="0">
                <a:pos x="connsiteX65878" y="connsiteY65878"/>
              </a:cxn>
              <a:cxn ang="0">
                <a:pos x="connsiteX65879" y="connsiteY65879"/>
              </a:cxn>
              <a:cxn ang="0">
                <a:pos x="connsiteX65880" y="connsiteY65880"/>
              </a:cxn>
              <a:cxn ang="0">
                <a:pos x="connsiteX65881" y="connsiteY65881"/>
              </a:cxn>
              <a:cxn ang="0">
                <a:pos x="connsiteX65882" y="connsiteY65882"/>
              </a:cxn>
              <a:cxn ang="0">
                <a:pos x="connsiteX65883" y="connsiteY65883"/>
              </a:cxn>
              <a:cxn ang="0">
                <a:pos x="connsiteX65884" y="connsiteY65884"/>
              </a:cxn>
              <a:cxn ang="0">
                <a:pos x="connsiteX65885" y="connsiteY65885"/>
              </a:cxn>
              <a:cxn ang="0">
                <a:pos x="connsiteX65886" y="connsiteY65886"/>
              </a:cxn>
              <a:cxn ang="0">
                <a:pos x="connsiteX65887" y="connsiteY65887"/>
              </a:cxn>
              <a:cxn ang="0">
                <a:pos x="connsiteX65888" y="connsiteY65888"/>
              </a:cxn>
              <a:cxn ang="0">
                <a:pos x="connsiteX65889" y="connsiteY65889"/>
              </a:cxn>
              <a:cxn ang="0">
                <a:pos x="connsiteX65890" y="connsiteY65890"/>
              </a:cxn>
              <a:cxn ang="0">
                <a:pos x="connsiteX65891" y="connsiteY65891"/>
              </a:cxn>
              <a:cxn ang="0">
                <a:pos x="connsiteX65892" y="connsiteY65892"/>
              </a:cxn>
              <a:cxn ang="0">
                <a:pos x="connsiteX65893" y="connsiteY65893"/>
              </a:cxn>
              <a:cxn ang="0">
                <a:pos x="connsiteX65894" y="connsiteY65894"/>
              </a:cxn>
              <a:cxn ang="0">
                <a:pos x="connsiteX65895" y="connsiteY65895"/>
              </a:cxn>
              <a:cxn ang="0">
                <a:pos x="connsiteX65896" y="connsiteY65896"/>
              </a:cxn>
              <a:cxn ang="0">
                <a:pos x="connsiteX65897" y="connsiteY65897"/>
              </a:cxn>
              <a:cxn ang="0">
                <a:pos x="connsiteX65898" y="connsiteY65898"/>
              </a:cxn>
              <a:cxn ang="0">
                <a:pos x="connsiteX65899" y="connsiteY65899"/>
              </a:cxn>
              <a:cxn ang="0">
                <a:pos x="connsiteX65900" y="connsiteY65900"/>
              </a:cxn>
              <a:cxn ang="0">
                <a:pos x="connsiteX65901" y="connsiteY65901"/>
              </a:cxn>
              <a:cxn ang="0">
                <a:pos x="connsiteX65902" y="connsiteY65902"/>
              </a:cxn>
              <a:cxn ang="0">
                <a:pos x="connsiteX65903" y="connsiteY65903"/>
              </a:cxn>
              <a:cxn ang="0">
                <a:pos x="connsiteX65904" y="connsiteY65904"/>
              </a:cxn>
              <a:cxn ang="0">
                <a:pos x="connsiteX65905" y="connsiteY65905"/>
              </a:cxn>
              <a:cxn ang="0">
                <a:pos x="connsiteX65906" y="connsiteY65906"/>
              </a:cxn>
              <a:cxn ang="0">
                <a:pos x="connsiteX65907" y="connsiteY65907"/>
              </a:cxn>
              <a:cxn ang="0">
                <a:pos x="connsiteX65908" y="connsiteY65908"/>
              </a:cxn>
              <a:cxn ang="0">
                <a:pos x="connsiteX65909" y="connsiteY65909"/>
              </a:cxn>
              <a:cxn ang="0">
                <a:pos x="connsiteX65910" y="connsiteY65910"/>
              </a:cxn>
              <a:cxn ang="0">
                <a:pos x="connsiteX65911" y="connsiteY65911"/>
              </a:cxn>
              <a:cxn ang="0">
                <a:pos x="connsiteX65912" y="connsiteY65912"/>
              </a:cxn>
              <a:cxn ang="0">
                <a:pos x="connsiteX65913" y="connsiteY65913"/>
              </a:cxn>
              <a:cxn ang="0">
                <a:pos x="connsiteX65914" y="connsiteY65914"/>
              </a:cxn>
              <a:cxn ang="0">
                <a:pos x="connsiteX65915" y="connsiteY65915"/>
              </a:cxn>
              <a:cxn ang="0">
                <a:pos x="connsiteX65916" y="connsiteY65916"/>
              </a:cxn>
              <a:cxn ang="0">
                <a:pos x="connsiteX65917" y="connsiteY65917"/>
              </a:cxn>
              <a:cxn ang="0">
                <a:pos x="connsiteX65918" y="connsiteY65918"/>
              </a:cxn>
              <a:cxn ang="0">
                <a:pos x="connsiteX65919" y="connsiteY65919"/>
              </a:cxn>
              <a:cxn ang="0">
                <a:pos x="connsiteX65920" y="connsiteY65920"/>
              </a:cxn>
              <a:cxn ang="0">
                <a:pos x="connsiteX65921" y="connsiteY65921"/>
              </a:cxn>
              <a:cxn ang="0">
                <a:pos x="connsiteX65922" y="connsiteY65922"/>
              </a:cxn>
              <a:cxn ang="0">
                <a:pos x="connsiteX65923" y="connsiteY65923"/>
              </a:cxn>
              <a:cxn ang="0">
                <a:pos x="connsiteX65924" y="connsiteY65924"/>
              </a:cxn>
              <a:cxn ang="0">
                <a:pos x="connsiteX65925" y="connsiteY65925"/>
              </a:cxn>
              <a:cxn ang="0">
                <a:pos x="connsiteX65926" y="connsiteY65926"/>
              </a:cxn>
              <a:cxn ang="0">
                <a:pos x="connsiteX65927" y="connsiteY65927"/>
              </a:cxn>
              <a:cxn ang="0">
                <a:pos x="connsiteX65928" y="connsiteY65928"/>
              </a:cxn>
              <a:cxn ang="0">
                <a:pos x="connsiteX65929" y="connsiteY65929"/>
              </a:cxn>
              <a:cxn ang="0">
                <a:pos x="connsiteX65930" y="connsiteY65930"/>
              </a:cxn>
              <a:cxn ang="0">
                <a:pos x="connsiteX65931" y="connsiteY65931"/>
              </a:cxn>
              <a:cxn ang="0">
                <a:pos x="connsiteX65932" y="connsiteY65932"/>
              </a:cxn>
              <a:cxn ang="0">
                <a:pos x="connsiteX65933" y="connsiteY65933"/>
              </a:cxn>
              <a:cxn ang="0">
                <a:pos x="connsiteX65934" y="connsiteY65934"/>
              </a:cxn>
              <a:cxn ang="0">
                <a:pos x="connsiteX65935" y="connsiteY65935"/>
              </a:cxn>
              <a:cxn ang="0">
                <a:pos x="connsiteX65936" y="connsiteY65936"/>
              </a:cxn>
              <a:cxn ang="0">
                <a:pos x="connsiteX65937" y="connsiteY65937"/>
              </a:cxn>
              <a:cxn ang="0">
                <a:pos x="connsiteX65938" y="connsiteY65938"/>
              </a:cxn>
              <a:cxn ang="0">
                <a:pos x="connsiteX65939" y="connsiteY65939"/>
              </a:cxn>
              <a:cxn ang="0">
                <a:pos x="connsiteX65940" y="connsiteY65940"/>
              </a:cxn>
              <a:cxn ang="0">
                <a:pos x="connsiteX65941" y="connsiteY65941"/>
              </a:cxn>
              <a:cxn ang="0">
                <a:pos x="connsiteX65942" y="connsiteY65942"/>
              </a:cxn>
              <a:cxn ang="0">
                <a:pos x="connsiteX65943" y="connsiteY65943"/>
              </a:cxn>
              <a:cxn ang="0">
                <a:pos x="connsiteX65944" y="connsiteY65944"/>
              </a:cxn>
              <a:cxn ang="0">
                <a:pos x="connsiteX65945" y="connsiteY65945"/>
              </a:cxn>
              <a:cxn ang="0">
                <a:pos x="connsiteX65946" y="connsiteY65946"/>
              </a:cxn>
              <a:cxn ang="0">
                <a:pos x="connsiteX65947" y="connsiteY65947"/>
              </a:cxn>
              <a:cxn ang="0">
                <a:pos x="connsiteX65948" y="connsiteY65948"/>
              </a:cxn>
              <a:cxn ang="0">
                <a:pos x="connsiteX65949" y="connsiteY65949"/>
              </a:cxn>
              <a:cxn ang="0">
                <a:pos x="connsiteX65950" y="connsiteY65950"/>
              </a:cxn>
              <a:cxn ang="0">
                <a:pos x="connsiteX65951" y="connsiteY65951"/>
              </a:cxn>
              <a:cxn ang="0">
                <a:pos x="connsiteX65952" y="connsiteY65952"/>
              </a:cxn>
              <a:cxn ang="0">
                <a:pos x="connsiteX65953" y="connsiteY65953"/>
              </a:cxn>
              <a:cxn ang="0">
                <a:pos x="connsiteX65954" y="connsiteY65954"/>
              </a:cxn>
              <a:cxn ang="0">
                <a:pos x="connsiteX65955" y="connsiteY65955"/>
              </a:cxn>
              <a:cxn ang="0">
                <a:pos x="connsiteX65956" y="connsiteY65956"/>
              </a:cxn>
              <a:cxn ang="0">
                <a:pos x="connsiteX65957" y="connsiteY65957"/>
              </a:cxn>
              <a:cxn ang="0">
                <a:pos x="connsiteX65958" y="connsiteY65958"/>
              </a:cxn>
              <a:cxn ang="0">
                <a:pos x="connsiteX65959" y="connsiteY65959"/>
              </a:cxn>
              <a:cxn ang="0">
                <a:pos x="connsiteX65960" y="connsiteY65960"/>
              </a:cxn>
              <a:cxn ang="0">
                <a:pos x="connsiteX65961" y="connsiteY65961"/>
              </a:cxn>
              <a:cxn ang="0">
                <a:pos x="connsiteX65962" y="connsiteY65962"/>
              </a:cxn>
              <a:cxn ang="0">
                <a:pos x="connsiteX65963" y="connsiteY65963"/>
              </a:cxn>
              <a:cxn ang="0">
                <a:pos x="connsiteX65964" y="connsiteY65964"/>
              </a:cxn>
              <a:cxn ang="0">
                <a:pos x="connsiteX65965" y="connsiteY65965"/>
              </a:cxn>
              <a:cxn ang="0">
                <a:pos x="connsiteX65966" y="connsiteY65966"/>
              </a:cxn>
              <a:cxn ang="0">
                <a:pos x="connsiteX65967" y="connsiteY65967"/>
              </a:cxn>
              <a:cxn ang="0">
                <a:pos x="connsiteX65968" y="connsiteY65968"/>
              </a:cxn>
              <a:cxn ang="0">
                <a:pos x="connsiteX65969" y="connsiteY65969"/>
              </a:cxn>
              <a:cxn ang="0">
                <a:pos x="connsiteX65970" y="connsiteY65970"/>
              </a:cxn>
              <a:cxn ang="0">
                <a:pos x="connsiteX65971" y="connsiteY65971"/>
              </a:cxn>
              <a:cxn ang="0">
                <a:pos x="connsiteX65972" y="connsiteY65972"/>
              </a:cxn>
              <a:cxn ang="0">
                <a:pos x="connsiteX65973" y="connsiteY65973"/>
              </a:cxn>
              <a:cxn ang="0">
                <a:pos x="connsiteX65974" y="connsiteY65974"/>
              </a:cxn>
              <a:cxn ang="0">
                <a:pos x="connsiteX65975" y="connsiteY65975"/>
              </a:cxn>
              <a:cxn ang="0">
                <a:pos x="connsiteX65976" y="connsiteY65976"/>
              </a:cxn>
              <a:cxn ang="0">
                <a:pos x="connsiteX65977" y="connsiteY65977"/>
              </a:cxn>
              <a:cxn ang="0">
                <a:pos x="connsiteX65978" y="connsiteY65978"/>
              </a:cxn>
              <a:cxn ang="0">
                <a:pos x="connsiteX65979" y="connsiteY65979"/>
              </a:cxn>
              <a:cxn ang="0">
                <a:pos x="connsiteX65980" y="connsiteY65980"/>
              </a:cxn>
              <a:cxn ang="0">
                <a:pos x="connsiteX65981" y="connsiteY65981"/>
              </a:cxn>
              <a:cxn ang="0">
                <a:pos x="connsiteX65982" y="connsiteY65982"/>
              </a:cxn>
              <a:cxn ang="0">
                <a:pos x="connsiteX65983" y="connsiteY65983"/>
              </a:cxn>
              <a:cxn ang="0">
                <a:pos x="connsiteX65984" y="connsiteY65984"/>
              </a:cxn>
              <a:cxn ang="0">
                <a:pos x="connsiteX65985" y="connsiteY65985"/>
              </a:cxn>
              <a:cxn ang="0">
                <a:pos x="connsiteX65986" y="connsiteY65986"/>
              </a:cxn>
              <a:cxn ang="0">
                <a:pos x="connsiteX65987" y="connsiteY65987"/>
              </a:cxn>
              <a:cxn ang="0">
                <a:pos x="connsiteX65988" y="connsiteY65988"/>
              </a:cxn>
              <a:cxn ang="0">
                <a:pos x="connsiteX65989" y="connsiteY65989"/>
              </a:cxn>
              <a:cxn ang="0">
                <a:pos x="connsiteX65990" y="connsiteY65990"/>
              </a:cxn>
              <a:cxn ang="0">
                <a:pos x="connsiteX65991" y="connsiteY65991"/>
              </a:cxn>
              <a:cxn ang="0">
                <a:pos x="connsiteX65992" y="connsiteY65992"/>
              </a:cxn>
              <a:cxn ang="0">
                <a:pos x="connsiteX65993" y="connsiteY65993"/>
              </a:cxn>
              <a:cxn ang="0">
                <a:pos x="connsiteX65994" y="connsiteY65994"/>
              </a:cxn>
              <a:cxn ang="0">
                <a:pos x="connsiteX65995" y="connsiteY65995"/>
              </a:cxn>
              <a:cxn ang="0">
                <a:pos x="connsiteX65996" y="connsiteY65996"/>
              </a:cxn>
              <a:cxn ang="0">
                <a:pos x="connsiteX65997" y="connsiteY65997"/>
              </a:cxn>
              <a:cxn ang="0">
                <a:pos x="connsiteX65998" y="connsiteY65998"/>
              </a:cxn>
              <a:cxn ang="0">
                <a:pos x="connsiteX65999" y="connsiteY65999"/>
              </a:cxn>
              <a:cxn ang="0">
                <a:pos x="connsiteX66000" y="connsiteY66000"/>
              </a:cxn>
              <a:cxn ang="0">
                <a:pos x="connsiteX66001" y="connsiteY66001"/>
              </a:cxn>
              <a:cxn ang="0">
                <a:pos x="connsiteX66002" y="connsiteY66002"/>
              </a:cxn>
              <a:cxn ang="0">
                <a:pos x="connsiteX66003" y="connsiteY66003"/>
              </a:cxn>
              <a:cxn ang="0">
                <a:pos x="connsiteX66004" y="connsiteY66004"/>
              </a:cxn>
              <a:cxn ang="0">
                <a:pos x="connsiteX66005" y="connsiteY66005"/>
              </a:cxn>
              <a:cxn ang="0">
                <a:pos x="connsiteX66006" y="connsiteY66006"/>
              </a:cxn>
              <a:cxn ang="0">
                <a:pos x="connsiteX66007" y="connsiteY66007"/>
              </a:cxn>
              <a:cxn ang="0">
                <a:pos x="connsiteX66008" y="connsiteY66008"/>
              </a:cxn>
              <a:cxn ang="0">
                <a:pos x="connsiteX66009" y="connsiteY66009"/>
              </a:cxn>
              <a:cxn ang="0">
                <a:pos x="connsiteX66010" y="connsiteY66010"/>
              </a:cxn>
              <a:cxn ang="0">
                <a:pos x="connsiteX66011" y="connsiteY66011"/>
              </a:cxn>
              <a:cxn ang="0">
                <a:pos x="connsiteX66012" y="connsiteY66012"/>
              </a:cxn>
              <a:cxn ang="0">
                <a:pos x="connsiteX66013" y="connsiteY66013"/>
              </a:cxn>
              <a:cxn ang="0">
                <a:pos x="connsiteX66014" y="connsiteY66014"/>
              </a:cxn>
              <a:cxn ang="0">
                <a:pos x="connsiteX66015" y="connsiteY66015"/>
              </a:cxn>
              <a:cxn ang="0">
                <a:pos x="connsiteX66016" y="connsiteY66016"/>
              </a:cxn>
              <a:cxn ang="0">
                <a:pos x="connsiteX66017" y="connsiteY66017"/>
              </a:cxn>
              <a:cxn ang="0">
                <a:pos x="connsiteX66018" y="connsiteY66018"/>
              </a:cxn>
              <a:cxn ang="0">
                <a:pos x="connsiteX66019" y="connsiteY66019"/>
              </a:cxn>
              <a:cxn ang="0">
                <a:pos x="connsiteX66020" y="connsiteY66020"/>
              </a:cxn>
              <a:cxn ang="0">
                <a:pos x="connsiteX66021" y="connsiteY66021"/>
              </a:cxn>
              <a:cxn ang="0">
                <a:pos x="connsiteX66022" y="connsiteY66022"/>
              </a:cxn>
              <a:cxn ang="0">
                <a:pos x="connsiteX66023" y="connsiteY66023"/>
              </a:cxn>
              <a:cxn ang="0">
                <a:pos x="connsiteX66024" y="connsiteY66024"/>
              </a:cxn>
              <a:cxn ang="0">
                <a:pos x="connsiteX66025" y="connsiteY66025"/>
              </a:cxn>
              <a:cxn ang="0">
                <a:pos x="connsiteX66026" y="connsiteY66026"/>
              </a:cxn>
              <a:cxn ang="0">
                <a:pos x="connsiteX66027" y="connsiteY66027"/>
              </a:cxn>
              <a:cxn ang="0">
                <a:pos x="connsiteX66028" y="connsiteY66028"/>
              </a:cxn>
              <a:cxn ang="0">
                <a:pos x="connsiteX66029" y="connsiteY66029"/>
              </a:cxn>
              <a:cxn ang="0">
                <a:pos x="connsiteX66030" y="connsiteY66030"/>
              </a:cxn>
              <a:cxn ang="0">
                <a:pos x="connsiteX66031" y="connsiteY66031"/>
              </a:cxn>
              <a:cxn ang="0">
                <a:pos x="connsiteX66032" y="connsiteY66032"/>
              </a:cxn>
              <a:cxn ang="0">
                <a:pos x="connsiteX66033" y="connsiteY66033"/>
              </a:cxn>
              <a:cxn ang="0">
                <a:pos x="connsiteX66034" y="connsiteY66034"/>
              </a:cxn>
              <a:cxn ang="0">
                <a:pos x="connsiteX66035" y="connsiteY66035"/>
              </a:cxn>
              <a:cxn ang="0">
                <a:pos x="connsiteX66036" y="connsiteY66036"/>
              </a:cxn>
              <a:cxn ang="0">
                <a:pos x="connsiteX66037" y="connsiteY66037"/>
              </a:cxn>
              <a:cxn ang="0">
                <a:pos x="connsiteX66038" y="connsiteY66038"/>
              </a:cxn>
              <a:cxn ang="0">
                <a:pos x="connsiteX66039" y="connsiteY66039"/>
              </a:cxn>
              <a:cxn ang="0">
                <a:pos x="connsiteX66040" y="connsiteY66040"/>
              </a:cxn>
              <a:cxn ang="0">
                <a:pos x="connsiteX66041" y="connsiteY66041"/>
              </a:cxn>
              <a:cxn ang="0">
                <a:pos x="connsiteX66042" y="connsiteY66042"/>
              </a:cxn>
              <a:cxn ang="0">
                <a:pos x="connsiteX66043" y="connsiteY66043"/>
              </a:cxn>
              <a:cxn ang="0">
                <a:pos x="connsiteX66044" y="connsiteY66044"/>
              </a:cxn>
              <a:cxn ang="0">
                <a:pos x="connsiteX66045" y="connsiteY66045"/>
              </a:cxn>
              <a:cxn ang="0">
                <a:pos x="connsiteX66046" y="connsiteY66046"/>
              </a:cxn>
              <a:cxn ang="0">
                <a:pos x="connsiteX66047" y="connsiteY66047"/>
              </a:cxn>
              <a:cxn ang="0">
                <a:pos x="connsiteX66048" y="connsiteY66048"/>
              </a:cxn>
              <a:cxn ang="0">
                <a:pos x="connsiteX66049" y="connsiteY66049"/>
              </a:cxn>
              <a:cxn ang="0">
                <a:pos x="connsiteX66050" y="connsiteY66050"/>
              </a:cxn>
              <a:cxn ang="0">
                <a:pos x="connsiteX66051" y="connsiteY66051"/>
              </a:cxn>
              <a:cxn ang="0">
                <a:pos x="connsiteX66052" y="connsiteY66052"/>
              </a:cxn>
              <a:cxn ang="0">
                <a:pos x="connsiteX66053" y="connsiteY66053"/>
              </a:cxn>
              <a:cxn ang="0">
                <a:pos x="connsiteX66054" y="connsiteY66054"/>
              </a:cxn>
              <a:cxn ang="0">
                <a:pos x="connsiteX66055" y="connsiteY66055"/>
              </a:cxn>
              <a:cxn ang="0">
                <a:pos x="connsiteX66056" y="connsiteY66056"/>
              </a:cxn>
              <a:cxn ang="0">
                <a:pos x="connsiteX66057" y="connsiteY66057"/>
              </a:cxn>
              <a:cxn ang="0">
                <a:pos x="connsiteX66058" y="connsiteY66058"/>
              </a:cxn>
              <a:cxn ang="0">
                <a:pos x="connsiteX66059" y="connsiteY66059"/>
              </a:cxn>
              <a:cxn ang="0">
                <a:pos x="connsiteX66060" y="connsiteY66060"/>
              </a:cxn>
              <a:cxn ang="0">
                <a:pos x="connsiteX66061" y="connsiteY66061"/>
              </a:cxn>
              <a:cxn ang="0">
                <a:pos x="connsiteX66062" y="connsiteY66062"/>
              </a:cxn>
              <a:cxn ang="0">
                <a:pos x="connsiteX66063" y="connsiteY66063"/>
              </a:cxn>
              <a:cxn ang="0">
                <a:pos x="connsiteX66064" y="connsiteY66064"/>
              </a:cxn>
              <a:cxn ang="0">
                <a:pos x="connsiteX66065" y="connsiteY66065"/>
              </a:cxn>
              <a:cxn ang="0">
                <a:pos x="connsiteX66066" y="connsiteY66066"/>
              </a:cxn>
              <a:cxn ang="0">
                <a:pos x="connsiteX66067" y="connsiteY66067"/>
              </a:cxn>
              <a:cxn ang="0">
                <a:pos x="connsiteX66068" y="connsiteY66068"/>
              </a:cxn>
              <a:cxn ang="0">
                <a:pos x="connsiteX66069" y="connsiteY66069"/>
              </a:cxn>
              <a:cxn ang="0">
                <a:pos x="connsiteX66070" y="connsiteY66070"/>
              </a:cxn>
              <a:cxn ang="0">
                <a:pos x="connsiteX66071" y="connsiteY66071"/>
              </a:cxn>
              <a:cxn ang="0">
                <a:pos x="connsiteX66072" y="connsiteY66072"/>
              </a:cxn>
              <a:cxn ang="0">
                <a:pos x="connsiteX66073" y="connsiteY66073"/>
              </a:cxn>
              <a:cxn ang="0">
                <a:pos x="connsiteX66074" y="connsiteY66074"/>
              </a:cxn>
              <a:cxn ang="0">
                <a:pos x="connsiteX66075" y="connsiteY66075"/>
              </a:cxn>
              <a:cxn ang="0">
                <a:pos x="connsiteX66076" y="connsiteY66076"/>
              </a:cxn>
              <a:cxn ang="0">
                <a:pos x="connsiteX66077" y="connsiteY66077"/>
              </a:cxn>
              <a:cxn ang="0">
                <a:pos x="connsiteX66078" y="connsiteY66078"/>
              </a:cxn>
              <a:cxn ang="0">
                <a:pos x="connsiteX66079" y="connsiteY66079"/>
              </a:cxn>
              <a:cxn ang="0">
                <a:pos x="connsiteX66080" y="connsiteY66080"/>
              </a:cxn>
              <a:cxn ang="0">
                <a:pos x="connsiteX66081" y="connsiteY66081"/>
              </a:cxn>
              <a:cxn ang="0">
                <a:pos x="connsiteX66082" y="connsiteY66082"/>
              </a:cxn>
              <a:cxn ang="0">
                <a:pos x="connsiteX66083" y="connsiteY66083"/>
              </a:cxn>
              <a:cxn ang="0">
                <a:pos x="connsiteX66084" y="connsiteY66084"/>
              </a:cxn>
              <a:cxn ang="0">
                <a:pos x="connsiteX66085" y="connsiteY66085"/>
              </a:cxn>
              <a:cxn ang="0">
                <a:pos x="connsiteX66086" y="connsiteY66086"/>
              </a:cxn>
              <a:cxn ang="0">
                <a:pos x="connsiteX66087" y="connsiteY66087"/>
              </a:cxn>
              <a:cxn ang="0">
                <a:pos x="connsiteX66088" y="connsiteY66088"/>
              </a:cxn>
              <a:cxn ang="0">
                <a:pos x="connsiteX66089" y="connsiteY66089"/>
              </a:cxn>
              <a:cxn ang="0">
                <a:pos x="connsiteX66090" y="connsiteY66090"/>
              </a:cxn>
              <a:cxn ang="0">
                <a:pos x="connsiteX66091" y="connsiteY66091"/>
              </a:cxn>
              <a:cxn ang="0">
                <a:pos x="connsiteX66092" y="connsiteY66092"/>
              </a:cxn>
              <a:cxn ang="0">
                <a:pos x="connsiteX66093" y="connsiteY66093"/>
              </a:cxn>
              <a:cxn ang="0">
                <a:pos x="connsiteX66094" y="connsiteY66094"/>
              </a:cxn>
              <a:cxn ang="0">
                <a:pos x="connsiteX66095" y="connsiteY66095"/>
              </a:cxn>
              <a:cxn ang="0">
                <a:pos x="connsiteX66096" y="connsiteY66096"/>
              </a:cxn>
              <a:cxn ang="0">
                <a:pos x="connsiteX66097" y="connsiteY66097"/>
              </a:cxn>
              <a:cxn ang="0">
                <a:pos x="connsiteX66098" y="connsiteY66098"/>
              </a:cxn>
              <a:cxn ang="0">
                <a:pos x="connsiteX66099" y="connsiteY66099"/>
              </a:cxn>
              <a:cxn ang="0">
                <a:pos x="connsiteX66100" y="connsiteY66100"/>
              </a:cxn>
              <a:cxn ang="0">
                <a:pos x="connsiteX66101" y="connsiteY66101"/>
              </a:cxn>
              <a:cxn ang="0">
                <a:pos x="connsiteX66102" y="connsiteY66102"/>
              </a:cxn>
              <a:cxn ang="0">
                <a:pos x="connsiteX66103" y="connsiteY66103"/>
              </a:cxn>
              <a:cxn ang="0">
                <a:pos x="connsiteX66104" y="connsiteY66104"/>
              </a:cxn>
              <a:cxn ang="0">
                <a:pos x="connsiteX66105" y="connsiteY66105"/>
              </a:cxn>
              <a:cxn ang="0">
                <a:pos x="connsiteX66106" y="connsiteY66106"/>
              </a:cxn>
              <a:cxn ang="0">
                <a:pos x="connsiteX66107" y="connsiteY66107"/>
              </a:cxn>
              <a:cxn ang="0">
                <a:pos x="connsiteX66108" y="connsiteY66108"/>
              </a:cxn>
              <a:cxn ang="0">
                <a:pos x="connsiteX66109" y="connsiteY66109"/>
              </a:cxn>
              <a:cxn ang="0">
                <a:pos x="connsiteX66110" y="connsiteY66110"/>
              </a:cxn>
              <a:cxn ang="0">
                <a:pos x="connsiteX66111" y="connsiteY66111"/>
              </a:cxn>
              <a:cxn ang="0">
                <a:pos x="connsiteX66112" y="connsiteY66112"/>
              </a:cxn>
              <a:cxn ang="0">
                <a:pos x="connsiteX66113" y="connsiteY66113"/>
              </a:cxn>
              <a:cxn ang="0">
                <a:pos x="connsiteX66114" y="connsiteY66114"/>
              </a:cxn>
              <a:cxn ang="0">
                <a:pos x="connsiteX66115" y="connsiteY66115"/>
              </a:cxn>
              <a:cxn ang="0">
                <a:pos x="connsiteX66116" y="connsiteY66116"/>
              </a:cxn>
              <a:cxn ang="0">
                <a:pos x="connsiteX66117" y="connsiteY66117"/>
              </a:cxn>
              <a:cxn ang="0">
                <a:pos x="connsiteX66118" y="connsiteY66118"/>
              </a:cxn>
              <a:cxn ang="0">
                <a:pos x="connsiteX66119" y="connsiteY66119"/>
              </a:cxn>
              <a:cxn ang="0">
                <a:pos x="connsiteX66120" y="connsiteY66120"/>
              </a:cxn>
              <a:cxn ang="0">
                <a:pos x="connsiteX66121" y="connsiteY66121"/>
              </a:cxn>
              <a:cxn ang="0">
                <a:pos x="connsiteX66122" y="connsiteY66122"/>
              </a:cxn>
              <a:cxn ang="0">
                <a:pos x="connsiteX66123" y="connsiteY66123"/>
              </a:cxn>
              <a:cxn ang="0">
                <a:pos x="connsiteX66124" y="connsiteY66124"/>
              </a:cxn>
              <a:cxn ang="0">
                <a:pos x="connsiteX66125" y="connsiteY66125"/>
              </a:cxn>
              <a:cxn ang="0">
                <a:pos x="connsiteX66126" y="connsiteY66126"/>
              </a:cxn>
              <a:cxn ang="0">
                <a:pos x="connsiteX66127" y="connsiteY66127"/>
              </a:cxn>
              <a:cxn ang="0">
                <a:pos x="connsiteX66128" y="connsiteY66128"/>
              </a:cxn>
              <a:cxn ang="0">
                <a:pos x="connsiteX66129" y="connsiteY66129"/>
              </a:cxn>
              <a:cxn ang="0">
                <a:pos x="connsiteX66130" y="connsiteY66130"/>
              </a:cxn>
              <a:cxn ang="0">
                <a:pos x="connsiteX66131" y="connsiteY66131"/>
              </a:cxn>
              <a:cxn ang="0">
                <a:pos x="connsiteX66132" y="connsiteY66132"/>
              </a:cxn>
              <a:cxn ang="0">
                <a:pos x="connsiteX66133" y="connsiteY66133"/>
              </a:cxn>
              <a:cxn ang="0">
                <a:pos x="connsiteX66134" y="connsiteY66134"/>
              </a:cxn>
              <a:cxn ang="0">
                <a:pos x="connsiteX66135" y="connsiteY66135"/>
              </a:cxn>
              <a:cxn ang="0">
                <a:pos x="connsiteX66136" y="connsiteY66136"/>
              </a:cxn>
              <a:cxn ang="0">
                <a:pos x="connsiteX66137" y="connsiteY66137"/>
              </a:cxn>
              <a:cxn ang="0">
                <a:pos x="connsiteX66138" y="connsiteY66138"/>
              </a:cxn>
              <a:cxn ang="0">
                <a:pos x="connsiteX66139" y="connsiteY66139"/>
              </a:cxn>
              <a:cxn ang="0">
                <a:pos x="connsiteX66140" y="connsiteY66140"/>
              </a:cxn>
              <a:cxn ang="0">
                <a:pos x="connsiteX66141" y="connsiteY66141"/>
              </a:cxn>
              <a:cxn ang="0">
                <a:pos x="connsiteX66142" y="connsiteY66142"/>
              </a:cxn>
              <a:cxn ang="0">
                <a:pos x="connsiteX66143" y="connsiteY66143"/>
              </a:cxn>
              <a:cxn ang="0">
                <a:pos x="connsiteX66144" y="connsiteY66144"/>
              </a:cxn>
              <a:cxn ang="0">
                <a:pos x="connsiteX66145" y="connsiteY66145"/>
              </a:cxn>
              <a:cxn ang="0">
                <a:pos x="connsiteX66146" y="connsiteY66146"/>
              </a:cxn>
              <a:cxn ang="0">
                <a:pos x="connsiteX66147" y="connsiteY66147"/>
              </a:cxn>
              <a:cxn ang="0">
                <a:pos x="connsiteX66148" y="connsiteY66148"/>
              </a:cxn>
              <a:cxn ang="0">
                <a:pos x="connsiteX66149" y="connsiteY66149"/>
              </a:cxn>
              <a:cxn ang="0">
                <a:pos x="connsiteX66150" y="connsiteY66150"/>
              </a:cxn>
              <a:cxn ang="0">
                <a:pos x="connsiteX66151" y="connsiteY66151"/>
              </a:cxn>
              <a:cxn ang="0">
                <a:pos x="connsiteX66152" y="connsiteY66152"/>
              </a:cxn>
              <a:cxn ang="0">
                <a:pos x="connsiteX66153" y="connsiteY66153"/>
              </a:cxn>
              <a:cxn ang="0">
                <a:pos x="connsiteX66154" y="connsiteY66154"/>
              </a:cxn>
              <a:cxn ang="0">
                <a:pos x="connsiteX66155" y="connsiteY66155"/>
              </a:cxn>
              <a:cxn ang="0">
                <a:pos x="connsiteX66156" y="connsiteY66156"/>
              </a:cxn>
              <a:cxn ang="0">
                <a:pos x="connsiteX66157" y="connsiteY66157"/>
              </a:cxn>
              <a:cxn ang="0">
                <a:pos x="connsiteX66158" y="connsiteY66158"/>
              </a:cxn>
              <a:cxn ang="0">
                <a:pos x="connsiteX66159" y="connsiteY66159"/>
              </a:cxn>
              <a:cxn ang="0">
                <a:pos x="connsiteX66160" y="connsiteY66160"/>
              </a:cxn>
              <a:cxn ang="0">
                <a:pos x="connsiteX66161" y="connsiteY66161"/>
              </a:cxn>
              <a:cxn ang="0">
                <a:pos x="connsiteX66162" y="connsiteY66162"/>
              </a:cxn>
              <a:cxn ang="0">
                <a:pos x="connsiteX66163" y="connsiteY66163"/>
              </a:cxn>
              <a:cxn ang="0">
                <a:pos x="connsiteX66164" y="connsiteY66164"/>
              </a:cxn>
              <a:cxn ang="0">
                <a:pos x="connsiteX66165" y="connsiteY66165"/>
              </a:cxn>
              <a:cxn ang="0">
                <a:pos x="connsiteX66166" y="connsiteY66166"/>
              </a:cxn>
              <a:cxn ang="0">
                <a:pos x="connsiteX66167" y="connsiteY66167"/>
              </a:cxn>
              <a:cxn ang="0">
                <a:pos x="connsiteX66168" y="connsiteY66168"/>
              </a:cxn>
              <a:cxn ang="0">
                <a:pos x="connsiteX66169" y="connsiteY66169"/>
              </a:cxn>
              <a:cxn ang="0">
                <a:pos x="connsiteX66170" y="connsiteY66170"/>
              </a:cxn>
              <a:cxn ang="0">
                <a:pos x="connsiteX66171" y="connsiteY66171"/>
              </a:cxn>
              <a:cxn ang="0">
                <a:pos x="connsiteX66172" y="connsiteY66172"/>
              </a:cxn>
              <a:cxn ang="0">
                <a:pos x="connsiteX66173" y="connsiteY66173"/>
              </a:cxn>
              <a:cxn ang="0">
                <a:pos x="connsiteX66174" y="connsiteY66174"/>
              </a:cxn>
              <a:cxn ang="0">
                <a:pos x="connsiteX66175" y="connsiteY66175"/>
              </a:cxn>
              <a:cxn ang="0">
                <a:pos x="connsiteX66176" y="connsiteY66176"/>
              </a:cxn>
              <a:cxn ang="0">
                <a:pos x="connsiteX66177" y="connsiteY66177"/>
              </a:cxn>
              <a:cxn ang="0">
                <a:pos x="connsiteX66178" y="connsiteY66178"/>
              </a:cxn>
              <a:cxn ang="0">
                <a:pos x="connsiteX66179" y="connsiteY66179"/>
              </a:cxn>
              <a:cxn ang="0">
                <a:pos x="connsiteX66180" y="connsiteY66180"/>
              </a:cxn>
              <a:cxn ang="0">
                <a:pos x="connsiteX66181" y="connsiteY66181"/>
              </a:cxn>
              <a:cxn ang="0">
                <a:pos x="connsiteX66182" y="connsiteY66182"/>
              </a:cxn>
              <a:cxn ang="0">
                <a:pos x="connsiteX66183" y="connsiteY66183"/>
              </a:cxn>
              <a:cxn ang="0">
                <a:pos x="connsiteX66184" y="connsiteY66184"/>
              </a:cxn>
              <a:cxn ang="0">
                <a:pos x="connsiteX66185" y="connsiteY66185"/>
              </a:cxn>
              <a:cxn ang="0">
                <a:pos x="connsiteX66186" y="connsiteY66186"/>
              </a:cxn>
              <a:cxn ang="0">
                <a:pos x="connsiteX66187" y="connsiteY66187"/>
              </a:cxn>
              <a:cxn ang="0">
                <a:pos x="connsiteX66188" y="connsiteY66188"/>
              </a:cxn>
              <a:cxn ang="0">
                <a:pos x="connsiteX66189" y="connsiteY66189"/>
              </a:cxn>
              <a:cxn ang="0">
                <a:pos x="connsiteX66190" y="connsiteY66190"/>
              </a:cxn>
              <a:cxn ang="0">
                <a:pos x="connsiteX66191" y="connsiteY66191"/>
              </a:cxn>
              <a:cxn ang="0">
                <a:pos x="connsiteX66192" y="connsiteY66192"/>
              </a:cxn>
              <a:cxn ang="0">
                <a:pos x="connsiteX66193" y="connsiteY66193"/>
              </a:cxn>
              <a:cxn ang="0">
                <a:pos x="connsiteX66194" y="connsiteY66194"/>
              </a:cxn>
              <a:cxn ang="0">
                <a:pos x="connsiteX66195" y="connsiteY66195"/>
              </a:cxn>
              <a:cxn ang="0">
                <a:pos x="connsiteX66196" y="connsiteY66196"/>
              </a:cxn>
              <a:cxn ang="0">
                <a:pos x="connsiteX66197" y="connsiteY66197"/>
              </a:cxn>
              <a:cxn ang="0">
                <a:pos x="connsiteX66198" y="connsiteY66198"/>
              </a:cxn>
              <a:cxn ang="0">
                <a:pos x="connsiteX66199" y="connsiteY66199"/>
              </a:cxn>
              <a:cxn ang="0">
                <a:pos x="connsiteX66200" y="connsiteY66200"/>
              </a:cxn>
              <a:cxn ang="0">
                <a:pos x="connsiteX66201" y="connsiteY66201"/>
              </a:cxn>
              <a:cxn ang="0">
                <a:pos x="connsiteX66202" y="connsiteY66202"/>
              </a:cxn>
              <a:cxn ang="0">
                <a:pos x="connsiteX66203" y="connsiteY66203"/>
              </a:cxn>
              <a:cxn ang="0">
                <a:pos x="connsiteX66204" y="connsiteY66204"/>
              </a:cxn>
              <a:cxn ang="0">
                <a:pos x="connsiteX66205" y="connsiteY66205"/>
              </a:cxn>
              <a:cxn ang="0">
                <a:pos x="connsiteX66206" y="connsiteY66206"/>
              </a:cxn>
              <a:cxn ang="0">
                <a:pos x="connsiteX66207" y="connsiteY66207"/>
              </a:cxn>
              <a:cxn ang="0">
                <a:pos x="connsiteX66208" y="connsiteY66208"/>
              </a:cxn>
              <a:cxn ang="0">
                <a:pos x="connsiteX66209" y="connsiteY66209"/>
              </a:cxn>
              <a:cxn ang="0">
                <a:pos x="connsiteX66210" y="connsiteY66210"/>
              </a:cxn>
              <a:cxn ang="0">
                <a:pos x="connsiteX66211" y="connsiteY66211"/>
              </a:cxn>
              <a:cxn ang="0">
                <a:pos x="connsiteX66212" y="connsiteY66212"/>
              </a:cxn>
              <a:cxn ang="0">
                <a:pos x="connsiteX66213" y="connsiteY66213"/>
              </a:cxn>
              <a:cxn ang="0">
                <a:pos x="connsiteX66214" y="connsiteY66214"/>
              </a:cxn>
              <a:cxn ang="0">
                <a:pos x="connsiteX66215" y="connsiteY66215"/>
              </a:cxn>
              <a:cxn ang="0">
                <a:pos x="connsiteX66216" y="connsiteY66216"/>
              </a:cxn>
              <a:cxn ang="0">
                <a:pos x="connsiteX66217" y="connsiteY66217"/>
              </a:cxn>
              <a:cxn ang="0">
                <a:pos x="connsiteX66218" y="connsiteY66218"/>
              </a:cxn>
              <a:cxn ang="0">
                <a:pos x="connsiteX66219" y="connsiteY66219"/>
              </a:cxn>
              <a:cxn ang="0">
                <a:pos x="connsiteX66220" y="connsiteY66220"/>
              </a:cxn>
              <a:cxn ang="0">
                <a:pos x="connsiteX66221" y="connsiteY66221"/>
              </a:cxn>
              <a:cxn ang="0">
                <a:pos x="connsiteX66222" y="connsiteY66222"/>
              </a:cxn>
              <a:cxn ang="0">
                <a:pos x="connsiteX66223" y="connsiteY66223"/>
              </a:cxn>
              <a:cxn ang="0">
                <a:pos x="connsiteX66224" y="connsiteY66224"/>
              </a:cxn>
              <a:cxn ang="0">
                <a:pos x="connsiteX66225" y="connsiteY66225"/>
              </a:cxn>
              <a:cxn ang="0">
                <a:pos x="connsiteX66226" y="connsiteY66226"/>
              </a:cxn>
              <a:cxn ang="0">
                <a:pos x="connsiteX66227" y="connsiteY66227"/>
              </a:cxn>
              <a:cxn ang="0">
                <a:pos x="connsiteX66228" y="connsiteY66228"/>
              </a:cxn>
              <a:cxn ang="0">
                <a:pos x="connsiteX66229" y="connsiteY66229"/>
              </a:cxn>
              <a:cxn ang="0">
                <a:pos x="connsiteX66230" y="connsiteY66230"/>
              </a:cxn>
              <a:cxn ang="0">
                <a:pos x="connsiteX66231" y="connsiteY66231"/>
              </a:cxn>
              <a:cxn ang="0">
                <a:pos x="connsiteX66232" y="connsiteY66232"/>
              </a:cxn>
              <a:cxn ang="0">
                <a:pos x="connsiteX66233" y="connsiteY66233"/>
              </a:cxn>
              <a:cxn ang="0">
                <a:pos x="connsiteX66234" y="connsiteY66234"/>
              </a:cxn>
              <a:cxn ang="0">
                <a:pos x="connsiteX66235" y="connsiteY66235"/>
              </a:cxn>
              <a:cxn ang="0">
                <a:pos x="connsiteX66236" y="connsiteY66236"/>
              </a:cxn>
              <a:cxn ang="0">
                <a:pos x="connsiteX66237" y="connsiteY66237"/>
              </a:cxn>
              <a:cxn ang="0">
                <a:pos x="connsiteX66238" y="connsiteY66238"/>
              </a:cxn>
              <a:cxn ang="0">
                <a:pos x="connsiteX66239" y="connsiteY66239"/>
              </a:cxn>
              <a:cxn ang="0">
                <a:pos x="connsiteX66240" y="connsiteY66240"/>
              </a:cxn>
              <a:cxn ang="0">
                <a:pos x="connsiteX66241" y="connsiteY66241"/>
              </a:cxn>
              <a:cxn ang="0">
                <a:pos x="connsiteX66242" y="connsiteY66242"/>
              </a:cxn>
              <a:cxn ang="0">
                <a:pos x="connsiteX66243" y="connsiteY66243"/>
              </a:cxn>
              <a:cxn ang="0">
                <a:pos x="connsiteX66244" y="connsiteY66244"/>
              </a:cxn>
              <a:cxn ang="0">
                <a:pos x="connsiteX66245" y="connsiteY66245"/>
              </a:cxn>
              <a:cxn ang="0">
                <a:pos x="connsiteX66246" y="connsiteY66246"/>
              </a:cxn>
              <a:cxn ang="0">
                <a:pos x="connsiteX66247" y="connsiteY66247"/>
              </a:cxn>
              <a:cxn ang="0">
                <a:pos x="connsiteX66248" y="connsiteY66248"/>
              </a:cxn>
              <a:cxn ang="0">
                <a:pos x="connsiteX66249" y="connsiteY66249"/>
              </a:cxn>
              <a:cxn ang="0">
                <a:pos x="connsiteX66250" y="connsiteY66250"/>
              </a:cxn>
              <a:cxn ang="0">
                <a:pos x="connsiteX66251" y="connsiteY66251"/>
              </a:cxn>
              <a:cxn ang="0">
                <a:pos x="connsiteX66252" y="connsiteY66252"/>
              </a:cxn>
              <a:cxn ang="0">
                <a:pos x="connsiteX66253" y="connsiteY66253"/>
              </a:cxn>
              <a:cxn ang="0">
                <a:pos x="connsiteX66254" y="connsiteY66254"/>
              </a:cxn>
              <a:cxn ang="0">
                <a:pos x="connsiteX66255" y="connsiteY66255"/>
              </a:cxn>
              <a:cxn ang="0">
                <a:pos x="connsiteX66256" y="connsiteY66256"/>
              </a:cxn>
              <a:cxn ang="0">
                <a:pos x="connsiteX66257" y="connsiteY66257"/>
              </a:cxn>
              <a:cxn ang="0">
                <a:pos x="connsiteX66258" y="connsiteY66258"/>
              </a:cxn>
              <a:cxn ang="0">
                <a:pos x="connsiteX66259" y="connsiteY66259"/>
              </a:cxn>
              <a:cxn ang="0">
                <a:pos x="connsiteX66260" y="connsiteY66260"/>
              </a:cxn>
              <a:cxn ang="0">
                <a:pos x="connsiteX66261" y="connsiteY66261"/>
              </a:cxn>
              <a:cxn ang="0">
                <a:pos x="connsiteX66262" y="connsiteY66262"/>
              </a:cxn>
              <a:cxn ang="0">
                <a:pos x="connsiteX66263" y="connsiteY66263"/>
              </a:cxn>
              <a:cxn ang="0">
                <a:pos x="connsiteX66264" y="connsiteY66264"/>
              </a:cxn>
              <a:cxn ang="0">
                <a:pos x="connsiteX66265" y="connsiteY66265"/>
              </a:cxn>
              <a:cxn ang="0">
                <a:pos x="connsiteX66266" y="connsiteY66266"/>
              </a:cxn>
              <a:cxn ang="0">
                <a:pos x="connsiteX66267" y="connsiteY66267"/>
              </a:cxn>
              <a:cxn ang="0">
                <a:pos x="connsiteX66268" y="connsiteY66268"/>
              </a:cxn>
              <a:cxn ang="0">
                <a:pos x="connsiteX66269" y="connsiteY66269"/>
              </a:cxn>
              <a:cxn ang="0">
                <a:pos x="connsiteX66270" y="connsiteY66270"/>
              </a:cxn>
              <a:cxn ang="0">
                <a:pos x="connsiteX66271" y="connsiteY66271"/>
              </a:cxn>
              <a:cxn ang="0">
                <a:pos x="connsiteX66272" y="connsiteY66272"/>
              </a:cxn>
              <a:cxn ang="0">
                <a:pos x="connsiteX66273" y="connsiteY66273"/>
              </a:cxn>
              <a:cxn ang="0">
                <a:pos x="connsiteX66274" y="connsiteY66274"/>
              </a:cxn>
              <a:cxn ang="0">
                <a:pos x="connsiteX66275" y="connsiteY66275"/>
              </a:cxn>
              <a:cxn ang="0">
                <a:pos x="connsiteX66276" y="connsiteY66276"/>
              </a:cxn>
              <a:cxn ang="0">
                <a:pos x="connsiteX66277" y="connsiteY66277"/>
              </a:cxn>
              <a:cxn ang="0">
                <a:pos x="connsiteX66278" y="connsiteY66278"/>
              </a:cxn>
              <a:cxn ang="0">
                <a:pos x="connsiteX66279" y="connsiteY66279"/>
              </a:cxn>
              <a:cxn ang="0">
                <a:pos x="connsiteX66280" y="connsiteY66280"/>
              </a:cxn>
              <a:cxn ang="0">
                <a:pos x="connsiteX66281" y="connsiteY66281"/>
              </a:cxn>
              <a:cxn ang="0">
                <a:pos x="connsiteX66282" y="connsiteY66282"/>
              </a:cxn>
              <a:cxn ang="0">
                <a:pos x="connsiteX66283" y="connsiteY66283"/>
              </a:cxn>
              <a:cxn ang="0">
                <a:pos x="connsiteX66284" y="connsiteY66284"/>
              </a:cxn>
              <a:cxn ang="0">
                <a:pos x="connsiteX66285" y="connsiteY66285"/>
              </a:cxn>
              <a:cxn ang="0">
                <a:pos x="connsiteX66286" y="connsiteY66286"/>
              </a:cxn>
              <a:cxn ang="0">
                <a:pos x="connsiteX66287" y="connsiteY66287"/>
              </a:cxn>
              <a:cxn ang="0">
                <a:pos x="connsiteX66288" y="connsiteY66288"/>
              </a:cxn>
              <a:cxn ang="0">
                <a:pos x="connsiteX66289" y="connsiteY66289"/>
              </a:cxn>
              <a:cxn ang="0">
                <a:pos x="connsiteX66290" y="connsiteY66290"/>
              </a:cxn>
              <a:cxn ang="0">
                <a:pos x="connsiteX66291" y="connsiteY66291"/>
              </a:cxn>
              <a:cxn ang="0">
                <a:pos x="connsiteX66292" y="connsiteY66292"/>
              </a:cxn>
              <a:cxn ang="0">
                <a:pos x="connsiteX66293" y="connsiteY66293"/>
              </a:cxn>
              <a:cxn ang="0">
                <a:pos x="connsiteX66294" y="connsiteY66294"/>
              </a:cxn>
              <a:cxn ang="0">
                <a:pos x="connsiteX66295" y="connsiteY66295"/>
              </a:cxn>
              <a:cxn ang="0">
                <a:pos x="connsiteX66296" y="connsiteY66296"/>
              </a:cxn>
              <a:cxn ang="0">
                <a:pos x="connsiteX66297" y="connsiteY66297"/>
              </a:cxn>
              <a:cxn ang="0">
                <a:pos x="connsiteX66298" y="connsiteY66298"/>
              </a:cxn>
              <a:cxn ang="0">
                <a:pos x="connsiteX66299" y="connsiteY66299"/>
              </a:cxn>
              <a:cxn ang="0">
                <a:pos x="connsiteX66300" y="connsiteY66300"/>
              </a:cxn>
              <a:cxn ang="0">
                <a:pos x="connsiteX66301" y="connsiteY66301"/>
              </a:cxn>
              <a:cxn ang="0">
                <a:pos x="connsiteX66302" y="connsiteY66302"/>
              </a:cxn>
              <a:cxn ang="0">
                <a:pos x="connsiteX66303" y="connsiteY66303"/>
              </a:cxn>
              <a:cxn ang="0">
                <a:pos x="connsiteX66304" y="connsiteY66304"/>
              </a:cxn>
              <a:cxn ang="0">
                <a:pos x="connsiteX66305" y="connsiteY66305"/>
              </a:cxn>
              <a:cxn ang="0">
                <a:pos x="connsiteX66306" y="connsiteY66306"/>
              </a:cxn>
              <a:cxn ang="0">
                <a:pos x="connsiteX66307" y="connsiteY66307"/>
              </a:cxn>
              <a:cxn ang="0">
                <a:pos x="connsiteX66308" y="connsiteY66308"/>
              </a:cxn>
              <a:cxn ang="0">
                <a:pos x="connsiteX66309" y="connsiteY66309"/>
              </a:cxn>
              <a:cxn ang="0">
                <a:pos x="connsiteX66310" y="connsiteY66310"/>
              </a:cxn>
              <a:cxn ang="0">
                <a:pos x="connsiteX66311" y="connsiteY66311"/>
              </a:cxn>
              <a:cxn ang="0">
                <a:pos x="connsiteX66312" y="connsiteY66312"/>
              </a:cxn>
              <a:cxn ang="0">
                <a:pos x="connsiteX66313" y="connsiteY66313"/>
              </a:cxn>
              <a:cxn ang="0">
                <a:pos x="connsiteX66314" y="connsiteY66314"/>
              </a:cxn>
              <a:cxn ang="0">
                <a:pos x="connsiteX66315" y="connsiteY66315"/>
              </a:cxn>
              <a:cxn ang="0">
                <a:pos x="connsiteX66316" y="connsiteY66316"/>
              </a:cxn>
              <a:cxn ang="0">
                <a:pos x="connsiteX66317" y="connsiteY66317"/>
              </a:cxn>
              <a:cxn ang="0">
                <a:pos x="connsiteX66318" y="connsiteY66318"/>
              </a:cxn>
              <a:cxn ang="0">
                <a:pos x="connsiteX66319" y="connsiteY66319"/>
              </a:cxn>
              <a:cxn ang="0">
                <a:pos x="connsiteX66320" y="connsiteY66320"/>
              </a:cxn>
              <a:cxn ang="0">
                <a:pos x="connsiteX66321" y="connsiteY66321"/>
              </a:cxn>
              <a:cxn ang="0">
                <a:pos x="connsiteX66322" y="connsiteY66322"/>
              </a:cxn>
              <a:cxn ang="0">
                <a:pos x="connsiteX66323" y="connsiteY66323"/>
              </a:cxn>
              <a:cxn ang="0">
                <a:pos x="connsiteX66324" y="connsiteY66324"/>
              </a:cxn>
              <a:cxn ang="0">
                <a:pos x="connsiteX66325" y="connsiteY66325"/>
              </a:cxn>
              <a:cxn ang="0">
                <a:pos x="connsiteX66326" y="connsiteY66326"/>
              </a:cxn>
              <a:cxn ang="0">
                <a:pos x="connsiteX66327" y="connsiteY66327"/>
              </a:cxn>
              <a:cxn ang="0">
                <a:pos x="connsiteX66328" y="connsiteY66328"/>
              </a:cxn>
              <a:cxn ang="0">
                <a:pos x="connsiteX66329" y="connsiteY66329"/>
              </a:cxn>
              <a:cxn ang="0">
                <a:pos x="connsiteX66330" y="connsiteY66330"/>
              </a:cxn>
              <a:cxn ang="0">
                <a:pos x="connsiteX66331" y="connsiteY66331"/>
              </a:cxn>
              <a:cxn ang="0">
                <a:pos x="connsiteX66332" y="connsiteY66332"/>
              </a:cxn>
              <a:cxn ang="0">
                <a:pos x="connsiteX66333" y="connsiteY66333"/>
              </a:cxn>
              <a:cxn ang="0">
                <a:pos x="connsiteX66334" y="connsiteY66334"/>
              </a:cxn>
              <a:cxn ang="0">
                <a:pos x="connsiteX66335" y="connsiteY66335"/>
              </a:cxn>
              <a:cxn ang="0">
                <a:pos x="connsiteX66336" y="connsiteY66336"/>
              </a:cxn>
              <a:cxn ang="0">
                <a:pos x="connsiteX66337" y="connsiteY66337"/>
              </a:cxn>
              <a:cxn ang="0">
                <a:pos x="connsiteX66338" y="connsiteY66338"/>
              </a:cxn>
              <a:cxn ang="0">
                <a:pos x="connsiteX66339" y="connsiteY66339"/>
              </a:cxn>
              <a:cxn ang="0">
                <a:pos x="connsiteX66340" y="connsiteY66340"/>
              </a:cxn>
              <a:cxn ang="0">
                <a:pos x="connsiteX66341" y="connsiteY66341"/>
              </a:cxn>
              <a:cxn ang="0">
                <a:pos x="connsiteX66342" y="connsiteY66342"/>
              </a:cxn>
              <a:cxn ang="0">
                <a:pos x="connsiteX66343" y="connsiteY66343"/>
              </a:cxn>
              <a:cxn ang="0">
                <a:pos x="connsiteX66344" y="connsiteY66344"/>
              </a:cxn>
              <a:cxn ang="0">
                <a:pos x="connsiteX66345" y="connsiteY66345"/>
              </a:cxn>
              <a:cxn ang="0">
                <a:pos x="connsiteX66346" y="connsiteY66346"/>
              </a:cxn>
              <a:cxn ang="0">
                <a:pos x="connsiteX66347" y="connsiteY66347"/>
              </a:cxn>
              <a:cxn ang="0">
                <a:pos x="connsiteX66348" y="connsiteY66348"/>
              </a:cxn>
              <a:cxn ang="0">
                <a:pos x="connsiteX66349" y="connsiteY66349"/>
              </a:cxn>
              <a:cxn ang="0">
                <a:pos x="connsiteX66350" y="connsiteY66350"/>
              </a:cxn>
              <a:cxn ang="0">
                <a:pos x="connsiteX66351" y="connsiteY66351"/>
              </a:cxn>
              <a:cxn ang="0">
                <a:pos x="connsiteX66352" y="connsiteY66352"/>
              </a:cxn>
              <a:cxn ang="0">
                <a:pos x="connsiteX66353" y="connsiteY66353"/>
              </a:cxn>
              <a:cxn ang="0">
                <a:pos x="connsiteX66354" y="connsiteY66354"/>
              </a:cxn>
              <a:cxn ang="0">
                <a:pos x="connsiteX66355" y="connsiteY66355"/>
              </a:cxn>
              <a:cxn ang="0">
                <a:pos x="connsiteX66356" y="connsiteY66356"/>
              </a:cxn>
              <a:cxn ang="0">
                <a:pos x="connsiteX66357" y="connsiteY66357"/>
              </a:cxn>
              <a:cxn ang="0">
                <a:pos x="connsiteX66358" y="connsiteY66358"/>
              </a:cxn>
              <a:cxn ang="0">
                <a:pos x="connsiteX66359" y="connsiteY66359"/>
              </a:cxn>
              <a:cxn ang="0">
                <a:pos x="connsiteX66360" y="connsiteY66360"/>
              </a:cxn>
              <a:cxn ang="0">
                <a:pos x="connsiteX66361" y="connsiteY66361"/>
              </a:cxn>
              <a:cxn ang="0">
                <a:pos x="connsiteX66362" y="connsiteY66362"/>
              </a:cxn>
              <a:cxn ang="0">
                <a:pos x="connsiteX66363" y="connsiteY66363"/>
              </a:cxn>
              <a:cxn ang="0">
                <a:pos x="connsiteX66364" y="connsiteY66364"/>
              </a:cxn>
              <a:cxn ang="0">
                <a:pos x="connsiteX66365" y="connsiteY66365"/>
              </a:cxn>
              <a:cxn ang="0">
                <a:pos x="connsiteX66366" y="connsiteY66366"/>
              </a:cxn>
              <a:cxn ang="0">
                <a:pos x="connsiteX66367" y="connsiteY66367"/>
              </a:cxn>
              <a:cxn ang="0">
                <a:pos x="connsiteX66368" y="connsiteY66368"/>
              </a:cxn>
              <a:cxn ang="0">
                <a:pos x="connsiteX66369" y="connsiteY66369"/>
              </a:cxn>
              <a:cxn ang="0">
                <a:pos x="connsiteX66370" y="connsiteY66370"/>
              </a:cxn>
              <a:cxn ang="0">
                <a:pos x="connsiteX66371" y="connsiteY66371"/>
              </a:cxn>
              <a:cxn ang="0">
                <a:pos x="connsiteX66372" y="connsiteY66372"/>
              </a:cxn>
              <a:cxn ang="0">
                <a:pos x="connsiteX66373" y="connsiteY66373"/>
              </a:cxn>
              <a:cxn ang="0">
                <a:pos x="connsiteX66374" y="connsiteY66374"/>
              </a:cxn>
              <a:cxn ang="0">
                <a:pos x="connsiteX66375" y="connsiteY66375"/>
              </a:cxn>
              <a:cxn ang="0">
                <a:pos x="connsiteX66376" y="connsiteY66376"/>
              </a:cxn>
              <a:cxn ang="0">
                <a:pos x="connsiteX66377" y="connsiteY66377"/>
              </a:cxn>
              <a:cxn ang="0">
                <a:pos x="connsiteX66378" y="connsiteY66378"/>
              </a:cxn>
              <a:cxn ang="0">
                <a:pos x="connsiteX66379" y="connsiteY66379"/>
              </a:cxn>
              <a:cxn ang="0">
                <a:pos x="connsiteX66380" y="connsiteY66380"/>
              </a:cxn>
              <a:cxn ang="0">
                <a:pos x="connsiteX66381" y="connsiteY66381"/>
              </a:cxn>
              <a:cxn ang="0">
                <a:pos x="connsiteX66382" y="connsiteY66382"/>
              </a:cxn>
              <a:cxn ang="0">
                <a:pos x="connsiteX66383" y="connsiteY66383"/>
              </a:cxn>
              <a:cxn ang="0">
                <a:pos x="connsiteX66384" y="connsiteY66384"/>
              </a:cxn>
              <a:cxn ang="0">
                <a:pos x="connsiteX66385" y="connsiteY66385"/>
              </a:cxn>
              <a:cxn ang="0">
                <a:pos x="connsiteX66386" y="connsiteY66386"/>
              </a:cxn>
              <a:cxn ang="0">
                <a:pos x="connsiteX66387" y="connsiteY66387"/>
              </a:cxn>
              <a:cxn ang="0">
                <a:pos x="connsiteX66388" y="connsiteY66388"/>
              </a:cxn>
              <a:cxn ang="0">
                <a:pos x="connsiteX66389" y="connsiteY66389"/>
              </a:cxn>
              <a:cxn ang="0">
                <a:pos x="connsiteX66390" y="connsiteY66390"/>
              </a:cxn>
              <a:cxn ang="0">
                <a:pos x="connsiteX66391" y="connsiteY66391"/>
              </a:cxn>
              <a:cxn ang="0">
                <a:pos x="connsiteX66392" y="connsiteY66392"/>
              </a:cxn>
              <a:cxn ang="0">
                <a:pos x="connsiteX66393" y="connsiteY66393"/>
              </a:cxn>
              <a:cxn ang="0">
                <a:pos x="connsiteX66394" y="connsiteY66394"/>
              </a:cxn>
              <a:cxn ang="0">
                <a:pos x="connsiteX66395" y="connsiteY66395"/>
              </a:cxn>
              <a:cxn ang="0">
                <a:pos x="connsiteX66396" y="connsiteY66396"/>
              </a:cxn>
              <a:cxn ang="0">
                <a:pos x="connsiteX66397" y="connsiteY66397"/>
              </a:cxn>
              <a:cxn ang="0">
                <a:pos x="connsiteX66398" y="connsiteY66398"/>
              </a:cxn>
              <a:cxn ang="0">
                <a:pos x="connsiteX66399" y="connsiteY66399"/>
              </a:cxn>
              <a:cxn ang="0">
                <a:pos x="connsiteX66400" y="connsiteY66400"/>
              </a:cxn>
              <a:cxn ang="0">
                <a:pos x="connsiteX66401" y="connsiteY66401"/>
              </a:cxn>
              <a:cxn ang="0">
                <a:pos x="connsiteX66402" y="connsiteY66402"/>
              </a:cxn>
              <a:cxn ang="0">
                <a:pos x="connsiteX66403" y="connsiteY66403"/>
              </a:cxn>
              <a:cxn ang="0">
                <a:pos x="connsiteX66404" y="connsiteY66404"/>
              </a:cxn>
              <a:cxn ang="0">
                <a:pos x="connsiteX66405" y="connsiteY66405"/>
              </a:cxn>
              <a:cxn ang="0">
                <a:pos x="connsiteX66406" y="connsiteY66406"/>
              </a:cxn>
              <a:cxn ang="0">
                <a:pos x="connsiteX66407" y="connsiteY66407"/>
              </a:cxn>
              <a:cxn ang="0">
                <a:pos x="connsiteX66408" y="connsiteY66408"/>
              </a:cxn>
              <a:cxn ang="0">
                <a:pos x="connsiteX66409" y="connsiteY66409"/>
              </a:cxn>
              <a:cxn ang="0">
                <a:pos x="connsiteX66410" y="connsiteY66410"/>
              </a:cxn>
              <a:cxn ang="0">
                <a:pos x="connsiteX66411" y="connsiteY66411"/>
              </a:cxn>
              <a:cxn ang="0">
                <a:pos x="connsiteX66412" y="connsiteY66412"/>
              </a:cxn>
              <a:cxn ang="0">
                <a:pos x="connsiteX66413" y="connsiteY66413"/>
              </a:cxn>
              <a:cxn ang="0">
                <a:pos x="connsiteX66414" y="connsiteY66414"/>
              </a:cxn>
              <a:cxn ang="0">
                <a:pos x="connsiteX66415" y="connsiteY66415"/>
              </a:cxn>
              <a:cxn ang="0">
                <a:pos x="connsiteX66416" y="connsiteY66416"/>
              </a:cxn>
              <a:cxn ang="0">
                <a:pos x="connsiteX66417" y="connsiteY66417"/>
              </a:cxn>
              <a:cxn ang="0">
                <a:pos x="connsiteX66418" y="connsiteY66418"/>
              </a:cxn>
              <a:cxn ang="0">
                <a:pos x="connsiteX66419" y="connsiteY66419"/>
              </a:cxn>
              <a:cxn ang="0">
                <a:pos x="connsiteX66420" y="connsiteY66420"/>
              </a:cxn>
              <a:cxn ang="0">
                <a:pos x="connsiteX66421" y="connsiteY66421"/>
              </a:cxn>
              <a:cxn ang="0">
                <a:pos x="connsiteX66422" y="connsiteY66422"/>
              </a:cxn>
              <a:cxn ang="0">
                <a:pos x="connsiteX66423" y="connsiteY66423"/>
              </a:cxn>
              <a:cxn ang="0">
                <a:pos x="connsiteX66424" y="connsiteY66424"/>
              </a:cxn>
              <a:cxn ang="0">
                <a:pos x="connsiteX66425" y="connsiteY66425"/>
              </a:cxn>
              <a:cxn ang="0">
                <a:pos x="connsiteX66426" y="connsiteY66426"/>
              </a:cxn>
              <a:cxn ang="0">
                <a:pos x="connsiteX66427" y="connsiteY66427"/>
              </a:cxn>
              <a:cxn ang="0">
                <a:pos x="connsiteX66428" y="connsiteY66428"/>
              </a:cxn>
              <a:cxn ang="0">
                <a:pos x="connsiteX66429" y="connsiteY66429"/>
              </a:cxn>
              <a:cxn ang="0">
                <a:pos x="connsiteX66430" y="connsiteY66430"/>
              </a:cxn>
              <a:cxn ang="0">
                <a:pos x="connsiteX66431" y="connsiteY66431"/>
              </a:cxn>
              <a:cxn ang="0">
                <a:pos x="connsiteX66432" y="connsiteY66432"/>
              </a:cxn>
              <a:cxn ang="0">
                <a:pos x="connsiteX66433" y="connsiteY66433"/>
              </a:cxn>
              <a:cxn ang="0">
                <a:pos x="connsiteX66434" y="connsiteY66434"/>
              </a:cxn>
              <a:cxn ang="0">
                <a:pos x="connsiteX66435" y="connsiteY66435"/>
              </a:cxn>
              <a:cxn ang="0">
                <a:pos x="connsiteX66436" y="connsiteY66436"/>
              </a:cxn>
              <a:cxn ang="0">
                <a:pos x="connsiteX66437" y="connsiteY66437"/>
              </a:cxn>
              <a:cxn ang="0">
                <a:pos x="connsiteX66438" y="connsiteY66438"/>
              </a:cxn>
              <a:cxn ang="0">
                <a:pos x="connsiteX66439" y="connsiteY66439"/>
              </a:cxn>
              <a:cxn ang="0">
                <a:pos x="connsiteX66440" y="connsiteY66440"/>
              </a:cxn>
              <a:cxn ang="0">
                <a:pos x="connsiteX66441" y="connsiteY66441"/>
              </a:cxn>
              <a:cxn ang="0">
                <a:pos x="connsiteX66442" y="connsiteY66442"/>
              </a:cxn>
              <a:cxn ang="0">
                <a:pos x="connsiteX66443" y="connsiteY66443"/>
              </a:cxn>
              <a:cxn ang="0">
                <a:pos x="connsiteX66444" y="connsiteY66444"/>
              </a:cxn>
              <a:cxn ang="0">
                <a:pos x="connsiteX66445" y="connsiteY66445"/>
              </a:cxn>
              <a:cxn ang="0">
                <a:pos x="connsiteX66446" y="connsiteY66446"/>
              </a:cxn>
              <a:cxn ang="0">
                <a:pos x="connsiteX66447" y="connsiteY66447"/>
              </a:cxn>
              <a:cxn ang="0">
                <a:pos x="connsiteX66448" y="connsiteY66448"/>
              </a:cxn>
              <a:cxn ang="0">
                <a:pos x="connsiteX66449" y="connsiteY66449"/>
              </a:cxn>
              <a:cxn ang="0">
                <a:pos x="connsiteX66450" y="connsiteY66450"/>
              </a:cxn>
              <a:cxn ang="0">
                <a:pos x="connsiteX66451" y="connsiteY66451"/>
              </a:cxn>
              <a:cxn ang="0">
                <a:pos x="connsiteX66452" y="connsiteY66452"/>
              </a:cxn>
              <a:cxn ang="0">
                <a:pos x="connsiteX66453" y="connsiteY66453"/>
              </a:cxn>
              <a:cxn ang="0">
                <a:pos x="connsiteX66454" y="connsiteY66454"/>
              </a:cxn>
              <a:cxn ang="0">
                <a:pos x="connsiteX66455" y="connsiteY66455"/>
              </a:cxn>
              <a:cxn ang="0">
                <a:pos x="connsiteX66456" y="connsiteY66456"/>
              </a:cxn>
              <a:cxn ang="0">
                <a:pos x="connsiteX66457" y="connsiteY66457"/>
              </a:cxn>
              <a:cxn ang="0">
                <a:pos x="connsiteX66458" y="connsiteY66458"/>
              </a:cxn>
              <a:cxn ang="0">
                <a:pos x="connsiteX66459" y="connsiteY66459"/>
              </a:cxn>
              <a:cxn ang="0">
                <a:pos x="connsiteX66460" y="connsiteY66460"/>
              </a:cxn>
              <a:cxn ang="0">
                <a:pos x="connsiteX66461" y="connsiteY66461"/>
              </a:cxn>
              <a:cxn ang="0">
                <a:pos x="connsiteX66462" y="connsiteY66462"/>
              </a:cxn>
              <a:cxn ang="0">
                <a:pos x="connsiteX66463" y="connsiteY66463"/>
              </a:cxn>
              <a:cxn ang="0">
                <a:pos x="connsiteX66464" y="connsiteY66464"/>
              </a:cxn>
              <a:cxn ang="0">
                <a:pos x="connsiteX66465" y="connsiteY66465"/>
              </a:cxn>
              <a:cxn ang="0">
                <a:pos x="connsiteX66466" y="connsiteY66466"/>
              </a:cxn>
              <a:cxn ang="0">
                <a:pos x="connsiteX66467" y="connsiteY66467"/>
              </a:cxn>
              <a:cxn ang="0">
                <a:pos x="connsiteX66468" y="connsiteY66468"/>
              </a:cxn>
              <a:cxn ang="0">
                <a:pos x="connsiteX66469" y="connsiteY66469"/>
              </a:cxn>
              <a:cxn ang="0">
                <a:pos x="connsiteX66470" y="connsiteY66470"/>
              </a:cxn>
              <a:cxn ang="0">
                <a:pos x="connsiteX66471" y="connsiteY66471"/>
              </a:cxn>
              <a:cxn ang="0">
                <a:pos x="connsiteX66472" y="connsiteY66472"/>
              </a:cxn>
              <a:cxn ang="0">
                <a:pos x="connsiteX66473" y="connsiteY66473"/>
              </a:cxn>
              <a:cxn ang="0">
                <a:pos x="connsiteX66474" y="connsiteY66474"/>
              </a:cxn>
              <a:cxn ang="0">
                <a:pos x="connsiteX66475" y="connsiteY66475"/>
              </a:cxn>
              <a:cxn ang="0">
                <a:pos x="connsiteX66476" y="connsiteY66476"/>
              </a:cxn>
              <a:cxn ang="0">
                <a:pos x="connsiteX66477" y="connsiteY66477"/>
              </a:cxn>
              <a:cxn ang="0">
                <a:pos x="connsiteX66478" y="connsiteY66478"/>
              </a:cxn>
              <a:cxn ang="0">
                <a:pos x="connsiteX66479" y="connsiteY66479"/>
              </a:cxn>
              <a:cxn ang="0">
                <a:pos x="connsiteX66480" y="connsiteY66480"/>
              </a:cxn>
              <a:cxn ang="0">
                <a:pos x="connsiteX66481" y="connsiteY66481"/>
              </a:cxn>
              <a:cxn ang="0">
                <a:pos x="connsiteX66482" y="connsiteY66482"/>
              </a:cxn>
              <a:cxn ang="0">
                <a:pos x="connsiteX66483" y="connsiteY66483"/>
              </a:cxn>
              <a:cxn ang="0">
                <a:pos x="connsiteX66484" y="connsiteY66484"/>
              </a:cxn>
              <a:cxn ang="0">
                <a:pos x="connsiteX66485" y="connsiteY66485"/>
              </a:cxn>
              <a:cxn ang="0">
                <a:pos x="connsiteX66486" y="connsiteY66486"/>
              </a:cxn>
              <a:cxn ang="0">
                <a:pos x="connsiteX66487" y="connsiteY66487"/>
              </a:cxn>
              <a:cxn ang="0">
                <a:pos x="connsiteX66488" y="connsiteY66488"/>
              </a:cxn>
              <a:cxn ang="0">
                <a:pos x="connsiteX66489" y="connsiteY66489"/>
              </a:cxn>
              <a:cxn ang="0">
                <a:pos x="connsiteX66490" y="connsiteY66490"/>
              </a:cxn>
              <a:cxn ang="0">
                <a:pos x="connsiteX66491" y="connsiteY66491"/>
              </a:cxn>
              <a:cxn ang="0">
                <a:pos x="connsiteX66492" y="connsiteY66492"/>
              </a:cxn>
              <a:cxn ang="0">
                <a:pos x="connsiteX66493" y="connsiteY66493"/>
              </a:cxn>
              <a:cxn ang="0">
                <a:pos x="connsiteX66494" y="connsiteY66494"/>
              </a:cxn>
              <a:cxn ang="0">
                <a:pos x="connsiteX66495" y="connsiteY66495"/>
              </a:cxn>
              <a:cxn ang="0">
                <a:pos x="connsiteX66496" y="connsiteY66496"/>
              </a:cxn>
              <a:cxn ang="0">
                <a:pos x="connsiteX66497" y="connsiteY66497"/>
              </a:cxn>
              <a:cxn ang="0">
                <a:pos x="connsiteX66498" y="connsiteY66498"/>
              </a:cxn>
              <a:cxn ang="0">
                <a:pos x="connsiteX66499" y="connsiteY66499"/>
              </a:cxn>
              <a:cxn ang="0">
                <a:pos x="connsiteX66500" y="connsiteY66500"/>
              </a:cxn>
              <a:cxn ang="0">
                <a:pos x="connsiteX66501" y="connsiteY66501"/>
              </a:cxn>
              <a:cxn ang="0">
                <a:pos x="connsiteX66502" y="connsiteY66502"/>
              </a:cxn>
              <a:cxn ang="0">
                <a:pos x="connsiteX66503" y="connsiteY66503"/>
              </a:cxn>
              <a:cxn ang="0">
                <a:pos x="connsiteX66504" y="connsiteY66504"/>
              </a:cxn>
              <a:cxn ang="0">
                <a:pos x="connsiteX66505" y="connsiteY66505"/>
              </a:cxn>
              <a:cxn ang="0">
                <a:pos x="connsiteX66506" y="connsiteY66506"/>
              </a:cxn>
              <a:cxn ang="0">
                <a:pos x="connsiteX66507" y="connsiteY66507"/>
              </a:cxn>
              <a:cxn ang="0">
                <a:pos x="connsiteX66508" y="connsiteY66508"/>
              </a:cxn>
              <a:cxn ang="0">
                <a:pos x="connsiteX66509" y="connsiteY66509"/>
              </a:cxn>
              <a:cxn ang="0">
                <a:pos x="connsiteX66510" y="connsiteY66510"/>
              </a:cxn>
              <a:cxn ang="0">
                <a:pos x="connsiteX66511" y="connsiteY66511"/>
              </a:cxn>
              <a:cxn ang="0">
                <a:pos x="connsiteX66512" y="connsiteY66512"/>
              </a:cxn>
              <a:cxn ang="0">
                <a:pos x="connsiteX66513" y="connsiteY66513"/>
              </a:cxn>
              <a:cxn ang="0">
                <a:pos x="connsiteX66514" y="connsiteY66514"/>
              </a:cxn>
              <a:cxn ang="0">
                <a:pos x="connsiteX66515" y="connsiteY66515"/>
              </a:cxn>
              <a:cxn ang="0">
                <a:pos x="connsiteX66516" y="connsiteY66516"/>
              </a:cxn>
              <a:cxn ang="0">
                <a:pos x="connsiteX66517" y="connsiteY66517"/>
              </a:cxn>
              <a:cxn ang="0">
                <a:pos x="connsiteX66518" y="connsiteY66518"/>
              </a:cxn>
              <a:cxn ang="0">
                <a:pos x="connsiteX66519" y="connsiteY66519"/>
              </a:cxn>
              <a:cxn ang="0">
                <a:pos x="connsiteX66520" y="connsiteY66520"/>
              </a:cxn>
              <a:cxn ang="0">
                <a:pos x="connsiteX66521" y="connsiteY66521"/>
              </a:cxn>
              <a:cxn ang="0">
                <a:pos x="connsiteX66522" y="connsiteY66522"/>
              </a:cxn>
              <a:cxn ang="0">
                <a:pos x="connsiteX66523" y="connsiteY66523"/>
              </a:cxn>
              <a:cxn ang="0">
                <a:pos x="connsiteX66524" y="connsiteY66524"/>
              </a:cxn>
              <a:cxn ang="0">
                <a:pos x="connsiteX66525" y="connsiteY66525"/>
              </a:cxn>
              <a:cxn ang="0">
                <a:pos x="connsiteX66526" y="connsiteY66526"/>
              </a:cxn>
              <a:cxn ang="0">
                <a:pos x="connsiteX66527" y="connsiteY66527"/>
              </a:cxn>
              <a:cxn ang="0">
                <a:pos x="connsiteX66528" y="connsiteY66528"/>
              </a:cxn>
              <a:cxn ang="0">
                <a:pos x="connsiteX66529" y="connsiteY66529"/>
              </a:cxn>
              <a:cxn ang="0">
                <a:pos x="connsiteX66530" y="connsiteY66530"/>
              </a:cxn>
              <a:cxn ang="0">
                <a:pos x="connsiteX66531" y="connsiteY66531"/>
              </a:cxn>
              <a:cxn ang="0">
                <a:pos x="connsiteX66532" y="connsiteY66532"/>
              </a:cxn>
              <a:cxn ang="0">
                <a:pos x="connsiteX66533" y="connsiteY66533"/>
              </a:cxn>
              <a:cxn ang="0">
                <a:pos x="connsiteX66534" y="connsiteY66534"/>
              </a:cxn>
              <a:cxn ang="0">
                <a:pos x="connsiteX66535" y="connsiteY66535"/>
              </a:cxn>
              <a:cxn ang="0">
                <a:pos x="connsiteX66536" y="connsiteY66536"/>
              </a:cxn>
              <a:cxn ang="0">
                <a:pos x="connsiteX66537" y="connsiteY66537"/>
              </a:cxn>
              <a:cxn ang="0">
                <a:pos x="connsiteX66538" y="connsiteY66538"/>
              </a:cxn>
              <a:cxn ang="0">
                <a:pos x="connsiteX66539" y="connsiteY66539"/>
              </a:cxn>
              <a:cxn ang="0">
                <a:pos x="connsiteX66540" y="connsiteY66540"/>
              </a:cxn>
              <a:cxn ang="0">
                <a:pos x="connsiteX66541" y="connsiteY66541"/>
              </a:cxn>
              <a:cxn ang="0">
                <a:pos x="connsiteX66542" y="connsiteY66542"/>
              </a:cxn>
              <a:cxn ang="0">
                <a:pos x="connsiteX66543" y="connsiteY66543"/>
              </a:cxn>
              <a:cxn ang="0">
                <a:pos x="connsiteX66544" y="connsiteY66544"/>
              </a:cxn>
              <a:cxn ang="0">
                <a:pos x="connsiteX66545" y="connsiteY66545"/>
              </a:cxn>
              <a:cxn ang="0">
                <a:pos x="connsiteX66546" y="connsiteY66546"/>
              </a:cxn>
              <a:cxn ang="0">
                <a:pos x="connsiteX66547" y="connsiteY66547"/>
              </a:cxn>
              <a:cxn ang="0">
                <a:pos x="connsiteX66548" y="connsiteY66548"/>
              </a:cxn>
              <a:cxn ang="0">
                <a:pos x="connsiteX66549" y="connsiteY66549"/>
              </a:cxn>
              <a:cxn ang="0">
                <a:pos x="connsiteX66550" y="connsiteY66550"/>
              </a:cxn>
              <a:cxn ang="0">
                <a:pos x="connsiteX66551" y="connsiteY66551"/>
              </a:cxn>
              <a:cxn ang="0">
                <a:pos x="connsiteX66552" y="connsiteY66552"/>
              </a:cxn>
              <a:cxn ang="0">
                <a:pos x="connsiteX66553" y="connsiteY66553"/>
              </a:cxn>
              <a:cxn ang="0">
                <a:pos x="connsiteX66554" y="connsiteY66554"/>
              </a:cxn>
              <a:cxn ang="0">
                <a:pos x="connsiteX66555" y="connsiteY66555"/>
              </a:cxn>
              <a:cxn ang="0">
                <a:pos x="connsiteX66556" y="connsiteY66556"/>
              </a:cxn>
              <a:cxn ang="0">
                <a:pos x="connsiteX66557" y="connsiteY66557"/>
              </a:cxn>
              <a:cxn ang="0">
                <a:pos x="connsiteX66558" y="connsiteY66558"/>
              </a:cxn>
              <a:cxn ang="0">
                <a:pos x="connsiteX66559" y="connsiteY66559"/>
              </a:cxn>
              <a:cxn ang="0">
                <a:pos x="connsiteX66560" y="connsiteY66560"/>
              </a:cxn>
              <a:cxn ang="0">
                <a:pos x="connsiteX66561" y="connsiteY66561"/>
              </a:cxn>
              <a:cxn ang="0">
                <a:pos x="connsiteX66562" y="connsiteY66562"/>
              </a:cxn>
              <a:cxn ang="0">
                <a:pos x="connsiteX66563" y="connsiteY66563"/>
              </a:cxn>
              <a:cxn ang="0">
                <a:pos x="connsiteX66564" y="connsiteY66564"/>
              </a:cxn>
              <a:cxn ang="0">
                <a:pos x="connsiteX66565" y="connsiteY66565"/>
              </a:cxn>
              <a:cxn ang="0">
                <a:pos x="connsiteX66566" y="connsiteY66566"/>
              </a:cxn>
              <a:cxn ang="0">
                <a:pos x="connsiteX66567" y="connsiteY66567"/>
              </a:cxn>
              <a:cxn ang="0">
                <a:pos x="connsiteX66568" y="connsiteY66568"/>
              </a:cxn>
              <a:cxn ang="0">
                <a:pos x="connsiteX66569" y="connsiteY66569"/>
              </a:cxn>
              <a:cxn ang="0">
                <a:pos x="connsiteX66570" y="connsiteY66570"/>
              </a:cxn>
              <a:cxn ang="0">
                <a:pos x="connsiteX66571" y="connsiteY66571"/>
              </a:cxn>
              <a:cxn ang="0">
                <a:pos x="connsiteX66572" y="connsiteY66572"/>
              </a:cxn>
              <a:cxn ang="0">
                <a:pos x="connsiteX66573" y="connsiteY66573"/>
              </a:cxn>
              <a:cxn ang="0">
                <a:pos x="connsiteX66574" y="connsiteY66574"/>
              </a:cxn>
              <a:cxn ang="0">
                <a:pos x="connsiteX66575" y="connsiteY66575"/>
              </a:cxn>
              <a:cxn ang="0">
                <a:pos x="connsiteX66576" y="connsiteY66576"/>
              </a:cxn>
              <a:cxn ang="0">
                <a:pos x="connsiteX66577" y="connsiteY66577"/>
              </a:cxn>
              <a:cxn ang="0">
                <a:pos x="connsiteX66578" y="connsiteY66578"/>
              </a:cxn>
              <a:cxn ang="0">
                <a:pos x="connsiteX66579" y="connsiteY66579"/>
              </a:cxn>
              <a:cxn ang="0">
                <a:pos x="connsiteX66580" y="connsiteY66580"/>
              </a:cxn>
              <a:cxn ang="0">
                <a:pos x="connsiteX66581" y="connsiteY66581"/>
              </a:cxn>
              <a:cxn ang="0">
                <a:pos x="connsiteX66582" y="connsiteY66582"/>
              </a:cxn>
              <a:cxn ang="0">
                <a:pos x="connsiteX66583" y="connsiteY66583"/>
              </a:cxn>
              <a:cxn ang="0">
                <a:pos x="connsiteX66584" y="connsiteY66584"/>
              </a:cxn>
              <a:cxn ang="0">
                <a:pos x="connsiteX66585" y="connsiteY66585"/>
              </a:cxn>
              <a:cxn ang="0">
                <a:pos x="connsiteX66586" y="connsiteY66586"/>
              </a:cxn>
              <a:cxn ang="0">
                <a:pos x="connsiteX66587" y="connsiteY66587"/>
              </a:cxn>
              <a:cxn ang="0">
                <a:pos x="connsiteX66588" y="connsiteY66588"/>
              </a:cxn>
              <a:cxn ang="0">
                <a:pos x="connsiteX66589" y="connsiteY66589"/>
              </a:cxn>
              <a:cxn ang="0">
                <a:pos x="connsiteX66590" y="connsiteY66590"/>
              </a:cxn>
              <a:cxn ang="0">
                <a:pos x="connsiteX66591" y="connsiteY66591"/>
              </a:cxn>
              <a:cxn ang="0">
                <a:pos x="connsiteX66592" y="connsiteY66592"/>
              </a:cxn>
              <a:cxn ang="0">
                <a:pos x="connsiteX66593" y="connsiteY66593"/>
              </a:cxn>
              <a:cxn ang="0">
                <a:pos x="connsiteX66594" y="connsiteY66594"/>
              </a:cxn>
              <a:cxn ang="0">
                <a:pos x="connsiteX66595" y="connsiteY66595"/>
              </a:cxn>
              <a:cxn ang="0">
                <a:pos x="connsiteX66596" y="connsiteY66596"/>
              </a:cxn>
              <a:cxn ang="0">
                <a:pos x="connsiteX66597" y="connsiteY66597"/>
              </a:cxn>
              <a:cxn ang="0">
                <a:pos x="connsiteX66598" y="connsiteY66598"/>
              </a:cxn>
              <a:cxn ang="0">
                <a:pos x="connsiteX66599" y="connsiteY66599"/>
              </a:cxn>
              <a:cxn ang="0">
                <a:pos x="connsiteX66600" y="connsiteY66600"/>
              </a:cxn>
              <a:cxn ang="0">
                <a:pos x="connsiteX66601" y="connsiteY66601"/>
              </a:cxn>
              <a:cxn ang="0">
                <a:pos x="connsiteX66602" y="connsiteY66602"/>
              </a:cxn>
              <a:cxn ang="0">
                <a:pos x="connsiteX66603" y="connsiteY66603"/>
              </a:cxn>
              <a:cxn ang="0">
                <a:pos x="connsiteX66604" y="connsiteY66604"/>
              </a:cxn>
              <a:cxn ang="0">
                <a:pos x="connsiteX66605" y="connsiteY66605"/>
              </a:cxn>
              <a:cxn ang="0">
                <a:pos x="connsiteX66606" y="connsiteY66606"/>
              </a:cxn>
              <a:cxn ang="0">
                <a:pos x="connsiteX66607" y="connsiteY66607"/>
              </a:cxn>
              <a:cxn ang="0">
                <a:pos x="connsiteX66608" y="connsiteY66608"/>
              </a:cxn>
              <a:cxn ang="0">
                <a:pos x="connsiteX66609" y="connsiteY66609"/>
              </a:cxn>
              <a:cxn ang="0">
                <a:pos x="connsiteX66610" y="connsiteY66610"/>
              </a:cxn>
              <a:cxn ang="0">
                <a:pos x="connsiteX66611" y="connsiteY66611"/>
              </a:cxn>
              <a:cxn ang="0">
                <a:pos x="connsiteX66612" y="connsiteY66612"/>
              </a:cxn>
              <a:cxn ang="0">
                <a:pos x="connsiteX66613" y="connsiteY66613"/>
              </a:cxn>
              <a:cxn ang="0">
                <a:pos x="connsiteX66614" y="connsiteY66614"/>
              </a:cxn>
              <a:cxn ang="0">
                <a:pos x="connsiteX66615" y="connsiteY66615"/>
              </a:cxn>
              <a:cxn ang="0">
                <a:pos x="connsiteX66616" y="connsiteY66616"/>
              </a:cxn>
              <a:cxn ang="0">
                <a:pos x="connsiteX66617" y="connsiteY66617"/>
              </a:cxn>
              <a:cxn ang="0">
                <a:pos x="connsiteX66618" y="connsiteY66618"/>
              </a:cxn>
              <a:cxn ang="0">
                <a:pos x="connsiteX66619" y="connsiteY66619"/>
              </a:cxn>
              <a:cxn ang="0">
                <a:pos x="connsiteX66620" y="connsiteY66620"/>
              </a:cxn>
              <a:cxn ang="0">
                <a:pos x="connsiteX66621" y="connsiteY66621"/>
              </a:cxn>
              <a:cxn ang="0">
                <a:pos x="connsiteX66622" y="connsiteY66622"/>
              </a:cxn>
              <a:cxn ang="0">
                <a:pos x="connsiteX66623" y="connsiteY66623"/>
              </a:cxn>
              <a:cxn ang="0">
                <a:pos x="connsiteX66624" y="connsiteY66624"/>
              </a:cxn>
              <a:cxn ang="0">
                <a:pos x="connsiteX66625" y="connsiteY66625"/>
              </a:cxn>
              <a:cxn ang="0">
                <a:pos x="connsiteX66626" y="connsiteY66626"/>
              </a:cxn>
              <a:cxn ang="0">
                <a:pos x="connsiteX66627" y="connsiteY66627"/>
              </a:cxn>
              <a:cxn ang="0">
                <a:pos x="connsiteX66628" y="connsiteY66628"/>
              </a:cxn>
              <a:cxn ang="0">
                <a:pos x="connsiteX66629" y="connsiteY66629"/>
              </a:cxn>
              <a:cxn ang="0">
                <a:pos x="connsiteX66630" y="connsiteY66630"/>
              </a:cxn>
              <a:cxn ang="0">
                <a:pos x="connsiteX66631" y="connsiteY66631"/>
              </a:cxn>
              <a:cxn ang="0">
                <a:pos x="connsiteX66632" y="connsiteY66632"/>
              </a:cxn>
              <a:cxn ang="0">
                <a:pos x="connsiteX66633" y="connsiteY66633"/>
              </a:cxn>
              <a:cxn ang="0">
                <a:pos x="connsiteX66634" y="connsiteY66634"/>
              </a:cxn>
              <a:cxn ang="0">
                <a:pos x="connsiteX66635" y="connsiteY66635"/>
              </a:cxn>
              <a:cxn ang="0">
                <a:pos x="connsiteX66636" y="connsiteY66636"/>
              </a:cxn>
              <a:cxn ang="0">
                <a:pos x="connsiteX66637" y="connsiteY66637"/>
              </a:cxn>
              <a:cxn ang="0">
                <a:pos x="connsiteX66638" y="connsiteY66638"/>
              </a:cxn>
              <a:cxn ang="0">
                <a:pos x="connsiteX66639" y="connsiteY66639"/>
              </a:cxn>
              <a:cxn ang="0">
                <a:pos x="connsiteX66640" y="connsiteY66640"/>
              </a:cxn>
              <a:cxn ang="0">
                <a:pos x="connsiteX66641" y="connsiteY66641"/>
              </a:cxn>
              <a:cxn ang="0">
                <a:pos x="connsiteX66642" y="connsiteY66642"/>
              </a:cxn>
              <a:cxn ang="0">
                <a:pos x="connsiteX66643" y="connsiteY66643"/>
              </a:cxn>
              <a:cxn ang="0">
                <a:pos x="connsiteX66644" y="connsiteY66644"/>
              </a:cxn>
              <a:cxn ang="0">
                <a:pos x="connsiteX66645" y="connsiteY66645"/>
              </a:cxn>
              <a:cxn ang="0">
                <a:pos x="connsiteX66646" y="connsiteY66646"/>
              </a:cxn>
              <a:cxn ang="0">
                <a:pos x="connsiteX66647" y="connsiteY66647"/>
              </a:cxn>
              <a:cxn ang="0">
                <a:pos x="connsiteX66648" y="connsiteY66648"/>
              </a:cxn>
              <a:cxn ang="0">
                <a:pos x="connsiteX66649" y="connsiteY66649"/>
              </a:cxn>
              <a:cxn ang="0">
                <a:pos x="connsiteX66650" y="connsiteY66650"/>
              </a:cxn>
              <a:cxn ang="0">
                <a:pos x="connsiteX66651" y="connsiteY66651"/>
              </a:cxn>
              <a:cxn ang="0">
                <a:pos x="connsiteX66652" y="connsiteY66652"/>
              </a:cxn>
              <a:cxn ang="0">
                <a:pos x="connsiteX66653" y="connsiteY66653"/>
              </a:cxn>
              <a:cxn ang="0">
                <a:pos x="connsiteX66654" y="connsiteY66654"/>
              </a:cxn>
              <a:cxn ang="0">
                <a:pos x="connsiteX66655" y="connsiteY66655"/>
              </a:cxn>
              <a:cxn ang="0">
                <a:pos x="connsiteX66656" y="connsiteY66656"/>
              </a:cxn>
              <a:cxn ang="0">
                <a:pos x="connsiteX66657" y="connsiteY66657"/>
              </a:cxn>
              <a:cxn ang="0">
                <a:pos x="connsiteX66658" y="connsiteY66658"/>
              </a:cxn>
              <a:cxn ang="0">
                <a:pos x="connsiteX66659" y="connsiteY66659"/>
              </a:cxn>
              <a:cxn ang="0">
                <a:pos x="connsiteX66660" y="connsiteY66660"/>
              </a:cxn>
              <a:cxn ang="0">
                <a:pos x="connsiteX66661" y="connsiteY66661"/>
              </a:cxn>
              <a:cxn ang="0">
                <a:pos x="connsiteX66662" y="connsiteY66662"/>
              </a:cxn>
              <a:cxn ang="0">
                <a:pos x="connsiteX66663" y="connsiteY66663"/>
              </a:cxn>
              <a:cxn ang="0">
                <a:pos x="connsiteX66664" y="connsiteY66664"/>
              </a:cxn>
              <a:cxn ang="0">
                <a:pos x="connsiteX66665" y="connsiteY66665"/>
              </a:cxn>
              <a:cxn ang="0">
                <a:pos x="connsiteX66666" y="connsiteY66666"/>
              </a:cxn>
              <a:cxn ang="0">
                <a:pos x="connsiteX66667" y="connsiteY66667"/>
              </a:cxn>
              <a:cxn ang="0">
                <a:pos x="connsiteX66668" y="connsiteY66668"/>
              </a:cxn>
              <a:cxn ang="0">
                <a:pos x="connsiteX66669" y="connsiteY66669"/>
              </a:cxn>
              <a:cxn ang="0">
                <a:pos x="connsiteX66670" y="connsiteY66670"/>
              </a:cxn>
              <a:cxn ang="0">
                <a:pos x="connsiteX66671" y="connsiteY66671"/>
              </a:cxn>
              <a:cxn ang="0">
                <a:pos x="connsiteX66672" y="connsiteY66672"/>
              </a:cxn>
              <a:cxn ang="0">
                <a:pos x="connsiteX66673" y="connsiteY66673"/>
              </a:cxn>
              <a:cxn ang="0">
                <a:pos x="connsiteX66674" y="connsiteY66674"/>
              </a:cxn>
              <a:cxn ang="0">
                <a:pos x="connsiteX66675" y="connsiteY66675"/>
              </a:cxn>
              <a:cxn ang="0">
                <a:pos x="connsiteX66676" y="connsiteY66676"/>
              </a:cxn>
              <a:cxn ang="0">
                <a:pos x="connsiteX66677" y="connsiteY66677"/>
              </a:cxn>
              <a:cxn ang="0">
                <a:pos x="connsiteX66678" y="connsiteY66678"/>
              </a:cxn>
              <a:cxn ang="0">
                <a:pos x="connsiteX66679" y="connsiteY66679"/>
              </a:cxn>
              <a:cxn ang="0">
                <a:pos x="connsiteX66680" y="connsiteY66680"/>
              </a:cxn>
              <a:cxn ang="0">
                <a:pos x="connsiteX66681" y="connsiteY66681"/>
              </a:cxn>
              <a:cxn ang="0">
                <a:pos x="connsiteX66682" y="connsiteY66682"/>
              </a:cxn>
              <a:cxn ang="0">
                <a:pos x="connsiteX66683" y="connsiteY66683"/>
              </a:cxn>
              <a:cxn ang="0">
                <a:pos x="connsiteX66684" y="connsiteY66684"/>
              </a:cxn>
              <a:cxn ang="0">
                <a:pos x="connsiteX66685" y="connsiteY66685"/>
              </a:cxn>
              <a:cxn ang="0">
                <a:pos x="connsiteX66686" y="connsiteY66686"/>
              </a:cxn>
              <a:cxn ang="0">
                <a:pos x="connsiteX66687" y="connsiteY66687"/>
              </a:cxn>
              <a:cxn ang="0">
                <a:pos x="connsiteX66688" y="connsiteY66688"/>
              </a:cxn>
              <a:cxn ang="0">
                <a:pos x="connsiteX66689" y="connsiteY66689"/>
              </a:cxn>
              <a:cxn ang="0">
                <a:pos x="connsiteX66690" y="connsiteY66690"/>
              </a:cxn>
              <a:cxn ang="0">
                <a:pos x="connsiteX66691" y="connsiteY66691"/>
              </a:cxn>
              <a:cxn ang="0">
                <a:pos x="connsiteX66692" y="connsiteY66692"/>
              </a:cxn>
              <a:cxn ang="0">
                <a:pos x="connsiteX66693" y="connsiteY66693"/>
              </a:cxn>
              <a:cxn ang="0">
                <a:pos x="connsiteX66694" y="connsiteY66694"/>
              </a:cxn>
              <a:cxn ang="0">
                <a:pos x="connsiteX66695" y="connsiteY66695"/>
              </a:cxn>
              <a:cxn ang="0">
                <a:pos x="connsiteX66696" y="connsiteY66696"/>
              </a:cxn>
              <a:cxn ang="0">
                <a:pos x="connsiteX66697" y="connsiteY66697"/>
              </a:cxn>
              <a:cxn ang="0">
                <a:pos x="connsiteX66698" y="connsiteY66698"/>
              </a:cxn>
              <a:cxn ang="0">
                <a:pos x="connsiteX66699" y="connsiteY66699"/>
              </a:cxn>
              <a:cxn ang="0">
                <a:pos x="connsiteX66700" y="connsiteY66700"/>
              </a:cxn>
              <a:cxn ang="0">
                <a:pos x="connsiteX66701" y="connsiteY66701"/>
              </a:cxn>
              <a:cxn ang="0">
                <a:pos x="connsiteX66702" y="connsiteY66702"/>
              </a:cxn>
              <a:cxn ang="0">
                <a:pos x="connsiteX66703" y="connsiteY66703"/>
              </a:cxn>
              <a:cxn ang="0">
                <a:pos x="connsiteX66704" y="connsiteY66704"/>
              </a:cxn>
              <a:cxn ang="0">
                <a:pos x="connsiteX66705" y="connsiteY66705"/>
              </a:cxn>
              <a:cxn ang="0">
                <a:pos x="connsiteX66706" y="connsiteY66706"/>
              </a:cxn>
              <a:cxn ang="0">
                <a:pos x="connsiteX66707" y="connsiteY66707"/>
              </a:cxn>
              <a:cxn ang="0">
                <a:pos x="connsiteX66708" y="connsiteY66708"/>
              </a:cxn>
              <a:cxn ang="0">
                <a:pos x="connsiteX66709" y="connsiteY66709"/>
              </a:cxn>
              <a:cxn ang="0">
                <a:pos x="connsiteX66710" y="connsiteY66710"/>
              </a:cxn>
              <a:cxn ang="0">
                <a:pos x="connsiteX66711" y="connsiteY66711"/>
              </a:cxn>
              <a:cxn ang="0">
                <a:pos x="connsiteX66712" y="connsiteY66712"/>
              </a:cxn>
              <a:cxn ang="0">
                <a:pos x="connsiteX66713" y="connsiteY66713"/>
              </a:cxn>
              <a:cxn ang="0">
                <a:pos x="connsiteX66714" y="connsiteY66714"/>
              </a:cxn>
              <a:cxn ang="0">
                <a:pos x="connsiteX66715" y="connsiteY66715"/>
              </a:cxn>
              <a:cxn ang="0">
                <a:pos x="connsiteX66716" y="connsiteY66716"/>
              </a:cxn>
              <a:cxn ang="0">
                <a:pos x="connsiteX66717" y="connsiteY66717"/>
              </a:cxn>
              <a:cxn ang="0">
                <a:pos x="connsiteX66718" y="connsiteY66718"/>
              </a:cxn>
              <a:cxn ang="0">
                <a:pos x="connsiteX66719" y="connsiteY66719"/>
              </a:cxn>
              <a:cxn ang="0">
                <a:pos x="connsiteX66720" y="connsiteY66720"/>
              </a:cxn>
              <a:cxn ang="0">
                <a:pos x="connsiteX66721" y="connsiteY66721"/>
              </a:cxn>
              <a:cxn ang="0">
                <a:pos x="connsiteX66722" y="connsiteY66722"/>
              </a:cxn>
              <a:cxn ang="0">
                <a:pos x="connsiteX66723" y="connsiteY66723"/>
              </a:cxn>
              <a:cxn ang="0">
                <a:pos x="connsiteX66724" y="connsiteY66724"/>
              </a:cxn>
              <a:cxn ang="0">
                <a:pos x="connsiteX66725" y="connsiteY66725"/>
              </a:cxn>
              <a:cxn ang="0">
                <a:pos x="connsiteX66726" y="connsiteY66726"/>
              </a:cxn>
              <a:cxn ang="0">
                <a:pos x="connsiteX66727" y="connsiteY66727"/>
              </a:cxn>
              <a:cxn ang="0">
                <a:pos x="connsiteX66728" y="connsiteY66728"/>
              </a:cxn>
              <a:cxn ang="0">
                <a:pos x="connsiteX66729" y="connsiteY66729"/>
              </a:cxn>
              <a:cxn ang="0">
                <a:pos x="connsiteX66730" y="connsiteY66730"/>
              </a:cxn>
              <a:cxn ang="0">
                <a:pos x="connsiteX66731" y="connsiteY66731"/>
              </a:cxn>
              <a:cxn ang="0">
                <a:pos x="connsiteX66732" y="connsiteY66732"/>
              </a:cxn>
              <a:cxn ang="0">
                <a:pos x="connsiteX66733" y="connsiteY66733"/>
              </a:cxn>
              <a:cxn ang="0">
                <a:pos x="connsiteX66734" y="connsiteY66734"/>
              </a:cxn>
              <a:cxn ang="0">
                <a:pos x="connsiteX66735" y="connsiteY66735"/>
              </a:cxn>
              <a:cxn ang="0">
                <a:pos x="connsiteX66736" y="connsiteY66736"/>
              </a:cxn>
              <a:cxn ang="0">
                <a:pos x="connsiteX66737" y="connsiteY66737"/>
              </a:cxn>
              <a:cxn ang="0">
                <a:pos x="connsiteX66738" y="connsiteY66738"/>
              </a:cxn>
              <a:cxn ang="0">
                <a:pos x="connsiteX66739" y="connsiteY66739"/>
              </a:cxn>
              <a:cxn ang="0">
                <a:pos x="connsiteX66740" y="connsiteY66740"/>
              </a:cxn>
              <a:cxn ang="0">
                <a:pos x="connsiteX66741" y="connsiteY66741"/>
              </a:cxn>
              <a:cxn ang="0">
                <a:pos x="connsiteX66742" y="connsiteY66742"/>
              </a:cxn>
              <a:cxn ang="0">
                <a:pos x="connsiteX66743" y="connsiteY66743"/>
              </a:cxn>
              <a:cxn ang="0">
                <a:pos x="connsiteX66744" y="connsiteY66744"/>
              </a:cxn>
              <a:cxn ang="0">
                <a:pos x="connsiteX66745" y="connsiteY66745"/>
              </a:cxn>
              <a:cxn ang="0">
                <a:pos x="connsiteX66746" y="connsiteY66746"/>
              </a:cxn>
              <a:cxn ang="0">
                <a:pos x="connsiteX66747" y="connsiteY66747"/>
              </a:cxn>
              <a:cxn ang="0">
                <a:pos x="connsiteX66748" y="connsiteY66748"/>
              </a:cxn>
              <a:cxn ang="0">
                <a:pos x="connsiteX66749" y="connsiteY66749"/>
              </a:cxn>
              <a:cxn ang="0">
                <a:pos x="connsiteX66750" y="connsiteY66750"/>
              </a:cxn>
              <a:cxn ang="0">
                <a:pos x="connsiteX66751" y="connsiteY66751"/>
              </a:cxn>
              <a:cxn ang="0">
                <a:pos x="connsiteX66752" y="connsiteY66752"/>
              </a:cxn>
              <a:cxn ang="0">
                <a:pos x="connsiteX66753" y="connsiteY66753"/>
              </a:cxn>
              <a:cxn ang="0">
                <a:pos x="connsiteX66754" y="connsiteY66754"/>
              </a:cxn>
              <a:cxn ang="0">
                <a:pos x="connsiteX66755" y="connsiteY66755"/>
              </a:cxn>
              <a:cxn ang="0">
                <a:pos x="connsiteX66756" y="connsiteY66756"/>
              </a:cxn>
              <a:cxn ang="0">
                <a:pos x="connsiteX66757" y="connsiteY66757"/>
              </a:cxn>
              <a:cxn ang="0">
                <a:pos x="connsiteX66758" y="connsiteY66758"/>
              </a:cxn>
              <a:cxn ang="0">
                <a:pos x="connsiteX66759" y="connsiteY66759"/>
              </a:cxn>
              <a:cxn ang="0">
                <a:pos x="connsiteX66760" y="connsiteY66760"/>
              </a:cxn>
              <a:cxn ang="0">
                <a:pos x="connsiteX66761" y="connsiteY66761"/>
              </a:cxn>
              <a:cxn ang="0">
                <a:pos x="connsiteX66762" y="connsiteY66762"/>
              </a:cxn>
              <a:cxn ang="0">
                <a:pos x="connsiteX66763" y="connsiteY66763"/>
              </a:cxn>
              <a:cxn ang="0">
                <a:pos x="connsiteX66764" y="connsiteY66764"/>
              </a:cxn>
              <a:cxn ang="0">
                <a:pos x="connsiteX66765" y="connsiteY66765"/>
              </a:cxn>
              <a:cxn ang="0">
                <a:pos x="connsiteX66766" y="connsiteY66766"/>
              </a:cxn>
              <a:cxn ang="0">
                <a:pos x="connsiteX66767" y="connsiteY66767"/>
              </a:cxn>
              <a:cxn ang="0">
                <a:pos x="connsiteX66768" y="connsiteY66768"/>
              </a:cxn>
              <a:cxn ang="0">
                <a:pos x="connsiteX66769" y="connsiteY66769"/>
              </a:cxn>
              <a:cxn ang="0">
                <a:pos x="connsiteX66770" y="connsiteY66770"/>
              </a:cxn>
              <a:cxn ang="0">
                <a:pos x="connsiteX66771" y="connsiteY66771"/>
              </a:cxn>
              <a:cxn ang="0">
                <a:pos x="connsiteX66772" y="connsiteY66772"/>
              </a:cxn>
              <a:cxn ang="0">
                <a:pos x="connsiteX66773" y="connsiteY66773"/>
              </a:cxn>
              <a:cxn ang="0">
                <a:pos x="connsiteX66774" y="connsiteY66774"/>
              </a:cxn>
              <a:cxn ang="0">
                <a:pos x="connsiteX66775" y="connsiteY66775"/>
              </a:cxn>
              <a:cxn ang="0">
                <a:pos x="connsiteX66776" y="connsiteY66776"/>
              </a:cxn>
              <a:cxn ang="0">
                <a:pos x="connsiteX66777" y="connsiteY66777"/>
              </a:cxn>
              <a:cxn ang="0">
                <a:pos x="connsiteX66778" y="connsiteY66778"/>
              </a:cxn>
              <a:cxn ang="0">
                <a:pos x="connsiteX66779" y="connsiteY66779"/>
              </a:cxn>
              <a:cxn ang="0">
                <a:pos x="connsiteX66780" y="connsiteY66780"/>
              </a:cxn>
              <a:cxn ang="0">
                <a:pos x="connsiteX66781" y="connsiteY66781"/>
              </a:cxn>
              <a:cxn ang="0">
                <a:pos x="connsiteX66782" y="connsiteY66782"/>
              </a:cxn>
              <a:cxn ang="0">
                <a:pos x="connsiteX66783" y="connsiteY66783"/>
              </a:cxn>
              <a:cxn ang="0">
                <a:pos x="connsiteX66784" y="connsiteY66784"/>
              </a:cxn>
              <a:cxn ang="0">
                <a:pos x="connsiteX66785" y="connsiteY66785"/>
              </a:cxn>
              <a:cxn ang="0">
                <a:pos x="connsiteX66786" y="connsiteY66786"/>
              </a:cxn>
              <a:cxn ang="0">
                <a:pos x="connsiteX66787" y="connsiteY66787"/>
              </a:cxn>
              <a:cxn ang="0">
                <a:pos x="connsiteX66788" y="connsiteY66788"/>
              </a:cxn>
              <a:cxn ang="0">
                <a:pos x="connsiteX66789" y="connsiteY66789"/>
              </a:cxn>
              <a:cxn ang="0">
                <a:pos x="connsiteX66790" y="connsiteY66790"/>
              </a:cxn>
              <a:cxn ang="0">
                <a:pos x="connsiteX66791" y="connsiteY66791"/>
              </a:cxn>
              <a:cxn ang="0">
                <a:pos x="connsiteX66792" y="connsiteY66792"/>
              </a:cxn>
              <a:cxn ang="0">
                <a:pos x="connsiteX66793" y="connsiteY66793"/>
              </a:cxn>
              <a:cxn ang="0">
                <a:pos x="connsiteX66794" y="connsiteY66794"/>
              </a:cxn>
              <a:cxn ang="0">
                <a:pos x="connsiteX66795" y="connsiteY66795"/>
              </a:cxn>
              <a:cxn ang="0">
                <a:pos x="connsiteX66796" y="connsiteY66796"/>
              </a:cxn>
              <a:cxn ang="0">
                <a:pos x="connsiteX66797" y="connsiteY66797"/>
              </a:cxn>
              <a:cxn ang="0">
                <a:pos x="connsiteX66798" y="connsiteY66798"/>
              </a:cxn>
              <a:cxn ang="0">
                <a:pos x="connsiteX66799" y="connsiteY66799"/>
              </a:cxn>
              <a:cxn ang="0">
                <a:pos x="connsiteX66800" y="connsiteY66800"/>
              </a:cxn>
              <a:cxn ang="0">
                <a:pos x="connsiteX66801" y="connsiteY66801"/>
              </a:cxn>
              <a:cxn ang="0">
                <a:pos x="connsiteX66802" y="connsiteY66802"/>
              </a:cxn>
              <a:cxn ang="0">
                <a:pos x="connsiteX66803" y="connsiteY66803"/>
              </a:cxn>
              <a:cxn ang="0">
                <a:pos x="connsiteX66804" y="connsiteY66804"/>
              </a:cxn>
              <a:cxn ang="0">
                <a:pos x="connsiteX66805" y="connsiteY66805"/>
              </a:cxn>
              <a:cxn ang="0">
                <a:pos x="connsiteX66806" y="connsiteY66806"/>
              </a:cxn>
              <a:cxn ang="0">
                <a:pos x="connsiteX66807" y="connsiteY66807"/>
              </a:cxn>
              <a:cxn ang="0">
                <a:pos x="connsiteX66808" y="connsiteY66808"/>
              </a:cxn>
              <a:cxn ang="0">
                <a:pos x="connsiteX66809" y="connsiteY66809"/>
              </a:cxn>
              <a:cxn ang="0">
                <a:pos x="connsiteX66810" y="connsiteY66810"/>
              </a:cxn>
              <a:cxn ang="0">
                <a:pos x="connsiteX66811" y="connsiteY66811"/>
              </a:cxn>
              <a:cxn ang="0">
                <a:pos x="connsiteX66812" y="connsiteY66812"/>
              </a:cxn>
              <a:cxn ang="0">
                <a:pos x="connsiteX66813" y="connsiteY66813"/>
              </a:cxn>
              <a:cxn ang="0">
                <a:pos x="connsiteX66814" y="connsiteY66814"/>
              </a:cxn>
              <a:cxn ang="0">
                <a:pos x="connsiteX66815" y="connsiteY66815"/>
              </a:cxn>
              <a:cxn ang="0">
                <a:pos x="connsiteX66816" y="connsiteY66816"/>
              </a:cxn>
              <a:cxn ang="0">
                <a:pos x="connsiteX66817" y="connsiteY66817"/>
              </a:cxn>
              <a:cxn ang="0">
                <a:pos x="connsiteX66818" y="connsiteY66818"/>
              </a:cxn>
              <a:cxn ang="0">
                <a:pos x="connsiteX66819" y="connsiteY66819"/>
              </a:cxn>
              <a:cxn ang="0">
                <a:pos x="connsiteX66820" y="connsiteY66820"/>
              </a:cxn>
              <a:cxn ang="0">
                <a:pos x="connsiteX66821" y="connsiteY66821"/>
              </a:cxn>
              <a:cxn ang="0">
                <a:pos x="connsiteX66822" y="connsiteY66822"/>
              </a:cxn>
              <a:cxn ang="0">
                <a:pos x="connsiteX66823" y="connsiteY66823"/>
              </a:cxn>
              <a:cxn ang="0">
                <a:pos x="connsiteX66824" y="connsiteY66824"/>
              </a:cxn>
              <a:cxn ang="0">
                <a:pos x="connsiteX66825" y="connsiteY66825"/>
              </a:cxn>
              <a:cxn ang="0">
                <a:pos x="connsiteX66826" y="connsiteY66826"/>
              </a:cxn>
              <a:cxn ang="0">
                <a:pos x="connsiteX66827" y="connsiteY66827"/>
              </a:cxn>
              <a:cxn ang="0">
                <a:pos x="connsiteX66828" y="connsiteY66828"/>
              </a:cxn>
              <a:cxn ang="0">
                <a:pos x="connsiteX66829" y="connsiteY66829"/>
              </a:cxn>
              <a:cxn ang="0">
                <a:pos x="connsiteX66830" y="connsiteY66830"/>
              </a:cxn>
              <a:cxn ang="0">
                <a:pos x="connsiteX66831" y="connsiteY66831"/>
              </a:cxn>
              <a:cxn ang="0">
                <a:pos x="connsiteX66832" y="connsiteY66832"/>
              </a:cxn>
              <a:cxn ang="0">
                <a:pos x="connsiteX66833" y="connsiteY66833"/>
              </a:cxn>
              <a:cxn ang="0">
                <a:pos x="connsiteX66834" y="connsiteY66834"/>
              </a:cxn>
              <a:cxn ang="0">
                <a:pos x="connsiteX66835" y="connsiteY66835"/>
              </a:cxn>
              <a:cxn ang="0">
                <a:pos x="connsiteX66836" y="connsiteY66836"/>
              </a:cxn>
              <a:cxn ang="0">
                <a:pos x="connsiteX66837" y="connsiteY66837"/>
              </a:cxn>
              <a:cxn ang="0">
                <a:pos x="connsiteX66838" y="connsiteY66838"/>
              </a:cxn>
              <a:cxn ang="0">
                <a:pos x="connsiteX66839" y="connsiteY66839"/>
              </a:cxn>
              <a:cxn ang="0">
                <a:pos x="connsiteX66840" y="connsiteY66840"/>
              </a:cxn>
              <a:cxn ang="0">
                <a:pos x="connsiteX66841" y="connsiteY66841"/>
              </a:cxn>
              <a:cxn ang="0">
                <a:pos x="connsiteX66842" y="connsiteY66842"/>
              </a:cxn>
              <a:cxn ang="0">
                <a:pos x="connsiteX66843" y="connsiteY66843"/>
              </a:cxn>
              <a:cxn ang="0">
                <a:pos x="connsiteX66844" y="connsiteY66844"/>
              </a:cxn>
              <a:cxn ang="0">
                <a:pos x="connsiteX66845" y="connsiteY66845"/>
              </a:cxn>
              <a:cxn ang="0">
                <a:pos x="connsiteX66846" y="connsiteY66846"/>
              </a:cxn>
              <a:cxn ang="0">
                <a:pos x="connsiteX66847" y="connsiteY66847"/>
              </a:cxn>
              <a:cxn ang="0">
                <a:pos x="connsiteX66848" y="connsiteY66848"/>
              </a:cxn>
              <a:cxn ang="0">
                <a:pos x="connsiteX66849" y="connsiteY66849"/>
              </a:cxn>
              <a:cxn ang="0">
                <a:pos x="connsiteX66850" y="connsiteY66850"/>
              </a:cxn>
              <a:cxn ang="0">
                <a:pos x="connsiteX66851" y="connsiteY66851"/>
              </a:cxn>
              <a:cxn ang="0">
                <a:pos x="connsiteX66852" y="connsiteY66852"/>
              </a:cxn>
              <a:cxn ang="0">
                <a:pos x="connsiteX66853" y="connsiteY66853"/>
              </a:cxn>
              <a:cxn ang="0">
                <a:pos x="connsiteX66854" y="connsiteY66854"/>
              </a:cxn>
              <a:cxn ang="0">
                <a:pos x="connsiteX66855" y="connsiteY66855"/>
              </a:cxn>
              <a:cxn ang="0">
                <a:pos x="connsiteX66856" y="connsiteY66856"/>
              </a:cxn>
              <a:cxn ang="0">
                <a:pos x="connsiteX66857" y="connsiteY66857"/>
              </a:cxn>
              <a:cxn ang="0">
                <a:pos x="connsiteX66858" y="connsiteY66858"/>
              </a:cxn>
              <a:cxn ang="0">
                <a:pos x="connsiteX66859" y="connsiteY66859"/>
              </a:cxn>
              <a:cxn ang="0">
                <a:pos x="connsiteX66860" y="connsiteY66860"/>
              </a:cxn>
              <a:cxn ang="0">
                <a:pos x="connsiteX66861" y="connsiteY66861"/>
              </a:cxn>
              <a:cxn ang="0">
                <a:pos x="connsiteX66862" y="connsiteY66862"/>
              </a:cxn>
              <a:cxn ang="0">
                <a:pos x="connsiteX66863" y="connsiteY66863"/>
              </a:cxn>
              <a:cxn ang="0">
                <a:pos x="connsiteX66864" y="connsiteY66864"/>
              </a:cxn>
              <a:cxn ang="0">
                <a:pos x="connsiteX66865" y="connsiteY66865"/>
              </a:cxn>
              <a:cxn ang="0">
                <a:pos x="connsiteX66866" y="connsiteY66866"/>
              </a:cxn>
              <a:cxn ang="0">
                <a:pos x="connsiteX66867" y="connsiteY66867"/>
              </a:cxn>
              <a:cxn ang="0">
                <a:pos x="connsiteX66868" y="connsiteY66868"/>
              </a:cxn>
              <a:cxn ang="0">
                <a:pos x="connsiteX66869" y="connsiteY66869"/>
              </a:cxn>
              <a:cxn ang="0">
                <a:pos x="connsiteX66870" y="connsiteY66870"/>
              </a:cxn>
              <a:cxn ang="0">
                <a:pos x="connsiteX66871" y="connsiteY66871"/>
              </a:cxn>
              <a:cxn ang="0">
                <a:pos x="connsiteX66872" y="connsiteY66872"/>
              </a:cxn>
              <a:cxn ang="0">
                <a:pos x="connsiteX66873" y="connsiteY66873"/>
              </a:cxn>
              <a:cxn ang="0">
                <a:pos x="connsiteX66874" y="connsiteY66874"/>
              </a:cxn>
              <a:cxn ang="0">
                <a:pos x="connsiteX66875" y="connsiteY66875"/>
              </a:cxn>
              <a:cxn ang="0">
                <a:pos x="connsiteX66876" y="connsiteY66876"/>
              </a:cxn>
              <a:cxn ang="0">
                <a:pos x="connsiteX66877" y="connsiteY66877"/>
              </a:cxn>
              <a:cxn ang="0">
                <a:pos x="connsiteX66878" y="connsiteY66878"/>
              </a:cxn>
              <a:cxn ang="0">
                <a:pos x="connsiteX66879" y="connsiteY66879"/>
              </a:cxn>
              <a:cxn ang="0">
                <a:pos x="connsiteX66880" y="connsiteY66880"/>
              </a:cxn>
              <a:cxn ang="0">
                <a:pos x="connsiteX66881" y="connsiteY66881"/>
              </a:cxn>
              <a:cxn ang="0">
                <a:pos x="connsiteX66882" y="connsiteY66882"/>
              </a:cxn>
              <a:cxn ang="0">
                <a:pos x="connsiteX66883" y="connsiteY66883"/>
              </a:cxn>
              <a:cxn ang="0">
                <a:pos x="connsiteX66884" y="connsiteY66884"/>
              </a:cxn>
              <a:cxn ang="0">
                <a:pos x="connsiteX66885" y="connsiteY66885"/>
              </a:cxn>
              <a:cxn ang="0">
                <a:pos x="connsiteX66886" y="connsiteY66886"/>
              </a:cxn>
              <a:cxn ang="0">
                <a:pos x="connsiteX66887" y="connsiteY66887"/>
              </a:cxn>
              <a:cxn ang="0">
                <a:pos x="connsiteX66888" y="connsiteY66888"/>
              </a:cxn>
              <a:cxn ang="0">
                <a:pos x="connsiteX66889" y="connsiteY66889"/>
              </a:cxn>
              <a:cxn ang="0">
                <a:pos x="connsiteX66890" y="connsiteY66890"/>
              </a:cxn>
              <a:cxn ang="0">
                <a:pos x="connsiteX66891" y="connsiteY66891"/>
              </a:cxn>
              <a:cxn ang="0">
                <a:pos x="connsiteX66892" y="connsiteY66892"/>
              </a:cxn>
              <a:cxn ang="0">
                <a:pos x="connsiteX66893" y="connsiteY66893"/>
              </a:cxn>
              <a:cxn ang="0">
                <a:pos x="connsiteX66894" y="connsiteY66894"/>
              </a:cxn>
              <a:cxn ang="0">
                <a:pos x="connsiteX66895" y="connsiteY66895"/>
              </a:cxn>
              <a:cxn ang="0">
                <a:pos x="connsiteX66896" y="connsiteY66896"/>
              </a:cxn>
              <a:cxn ang="0">
                <a:pos x="connsiteX66897" y="connsiteY66897"/>
              </a:cxn>
              <a:cxn ang="0">
                <a:pos x="connsiteX66898" y="connsiteY66898"/>
              </a:cxn>
              <a:cxn ang="0">
                <a:pos x="connsiteX66899" y="connsiteY66899"/>
              </a:cxn>
              <a:cxn ang="0">
                <a:pos x="connsiteX66900" y="connsiteY66900"/>
              </a:cxn>
              <a:cxn ang="0">
                <a:pos x="connsiteX66901" y="connsiteY66901"/>
              </a:cxn>
              <a:cxn ang="0">
                <a:pos x="connsiteX66902" y="connsiteY66902"/>
              </a:cxn>
              <a:cxn ang="0">
                <a:pos x="connsiteX66903" y="connsiteY66903"/>
              </a:cxn>
              <a:cxn ang="0">
                <a:pos x="connsiteX66904" y="connsiteY66904"/>
              </a:cxn>
              <a:cxn ang="0">
                <a:pos x="connsiteX66905" y="connsiteY66905"/>
              </a:cxn>
              <a:cxn ang="0">
                <a:pos x="connsiteX66906" y="connsiteY66906"/>
              </a:cxn>
              <a:cxn ang="0">
                <a:pos x="connsiteX66907" y="connsiteY66907"/>
              </a:cxn>
              <a:cxn ang="0">
                <a:pos x="connsiteX66908" y="connsiteY66908"/>
              </a:cxn>
              <a:cxn ang="0">
                <a:pos x="connsiteX66909" y="connsiteY66909"/>
              </a:cxn>
              <a:cxn ang="0">
                <a:pos x="connsiteX66910" y="connsiteY66910"/>
              </a:cxn>
              <a:cxn ang="0">
                <a:pos x="connsiteX66911" y="connsiteY66911"/>
              </a:cxn>
              <a:cxn ang="0">
                <a:pos x="connsiteX66912" y="connsiteY66912"/>
              </a:cxn>
              <a:cxn ang="0">
                <a:pos x="connsiteX66913" y="connsiteY66913"/>
              </a:cxn>
              <a:cxn ang="0">
                <a:pos x="connsiteX66914" y="connsiteY66914"/>
              </a:cxn>
              <a:cxn ang="0">
                <a:pos x="connsiteX66915" y="connsiteY66915"/>
              </a:cxn>
              <a:cxn ang="0">
                <a:pos x="connsiteX66916" y="connsiteY66916"/>
              </a:cxn>
              <a:cxn ang="0">
                <a:pos x="connsiteX66917" y="connsiteY66917"/>
              </a:cxn>
              <a:cxn ang="0">
                <a:pos x="connsiteX66918" y="connsiteY66918"/>
              </a:cxn>
              <a:cxn ang="0">
                <a:pos x="connsiteX66919" y="connsiteY66919"/>
              </a:cxn>
              <a:cxn ang="0">
                <a:pos x="connsiteX66920" y="connsiteY66920"/>
              </a:cxn>
              <a:cxn ang="0">
                <a:pos x="connsiteX66921" y="connsiteY66921"/>
              </a:cxn>
              <a:cxn ang="0">
                <a:pos x="connsiteX66922" y="connsiteY66922"/>
              </a:cxn>
              <a:cxn ang="0">
                <a:pos x="connsiteX66923" y="connsiteY66923"/>
              </a:cxn>
              <a:cxn ang="0">
                <a:pos x="connsiteX66924" y="connsiteY66924"/>
              </a:cxn>
              <a:cxn ang="0">
                <a:pos x="connsiteX66925" y="connsiteY66925"/>
              </a:cxn>
              <a:cxn ang="0">
                <a:pos x="connsiteX66926" y="connsiteY66926"/>
              </a:cxn>
              <a:cxn ang="0">
                <a:pos x="connsiteX66927" y="connsiteY66927"/>
              </a:cxn>
              <a:cxn ang="0">
                <a:pos x="connsiteX66928" y="connsiteY66928"/>
              </a:cxn>
              <a:cxn ang="0">
                <a:pos x="connsiteX66929" y="connsiteY66929"/>
              </a:cxn>
              <a:cxn ang="0">
                <a:pos x="connsiteX66930" y="connsiteY66930"/>
              </a:cxn>
              <a:cxn ang="0">
                <a:pos x="connsiteX66931" y="connsiteY66931"/>
              </a:cxn>
              <a:cxn ang="0">
                <a:pos x="connsiteX66932" y="connsiteY66932"/>
              </a:cxn>
              <a:cxn ang="0">
                <a:pos x="connsiteX66933" y="connsiteY66933"/>
              </a:cxn>
              <a:cxn ang="0">
                <a:pos x="connsiteX66934" y="connsiteY66934"/>
              </a:cxn>
              <a:cxn ang="0">
                <a:pos x="connsiteX66935" y="connsiteY66935"/>
              </a:cxn>
              <a:cxn ang="0">
                <a:pos x="connsiteX66936" y="connsiteY66936"/>
              </a:cxn>
              <a:cxn ang="0">
                <a:pos x="connsiteX66937" y="connsiteY66937"/>
              </a:cxn>
              <a:cxn ang="0">
                <a:pos x="connsiteX66938" y="connsiteY66938"/>
              </a:cxn>
              <a:cxn ang="0">
                <a:pos x="connsiteX66939" y="connsiteY66939"/>
              </a:cxn>
              <a:cxn ang="0">
                <a:pos x="connsiteX66940" y="connsiteY66940"/>
              </a:cxn>
              <a:cxn ang="0">
                <a:pos x="connsiteX66941" y="connsiteY66941"/>
              </a:cxn>
              <a:cxn ang="0">
                <a:pos x="connsiteX66942" y="connsiteY66942"/>
              </a:cxn>
              <a:cxn ang="0">
                <a:pos x="connsiteX66943" y="connsiteY66943"/>
              </a:cxn>
              <a:cxn ang="0">
                <a:pos x="connsiteX66944" y="connsiteY66944"/>
              </a:cxn>
              <a:cxn ang="0">
                <a:pos x="connsiteX66945" y="connsiteY66945"/>
              </a:cxn>
              <a:cxn ang="0">
                <a:pos x="connsiteX66946" y="connsiteY66946"/>
              </a:cxn>
              <a:cxn ang="0">
                <a:pos x="connsiteX66947" y="connsiteY66947"/>
              </a:cxn>
              <a:cxn ang="0">
                <a:pos x="connsiteX66948" y="connsiteY66948"/>
              </a:cxn>
              <a:cxn ang="0">
                <a:pos x="connsiteX66949" y="connsiteY66949"/>
              </a:cxn>
              <a:cxn ang="0">
                <a:pos x="connsiteX66950" y="connsiteY66950"/>
              </a:cxn>
              <a:cxn ang="0">
                <a:pos x="connsiteX66951" y="connsiteY66951"/>
              </a:cxn>
              <a:cxn ang="0">
                <a:pos x="connsiteX66952" y="connsiteY66952"/>
              </a:cxn>
              <a:cxn ang="0">
                <a:pos x="connsiteX66953" y="connsiteY66953"/>
              </a:cxn>
              <a:cxn ang="0">
                <a:pos x="connsiteX66954" y="connsiteY66954"/>
              </a:cxn>
              <a:cxn ang="0">
                <a:pos x="connsiteX66955" y="connsiteY66955"/>
              </a:cxn>
              <a:cxn ang="0">
                <a:pos x="connsiteX66956" y="connsiteY66956"/>
              </a:cxn>
              <a:cxn ang="0">
                <a:pos x="connsiteX66957" y="connsiteY66957"/>
              </a:cxn>
              <a:cxn ang="0">
                <a:pos x="connsiteX66958" y="connsiteY66958"/>
              </a:cxn>
              <a:cxn ang="0">
                <a:pos x="connsiteX66959" y="connsiteY66959"/>
              </a:cxn>
              <a:cxn ang="0">
                <a:pos x="connsiteX66960" y="connsiteY66960"/>
              </a:cxn>
              <a:cxn ang="0">
                <a:pos x="connsiteX66961" y="connsiteY66961"/>
              </a:cxn>
              <a:cxn ang="0">
                <a:pos x="connsiteX66962" y="connsiteY66962"/>
              </a:cxn>
              <a:cxn ang="0">
                <a:pos x="connsiteX66963" y="connsiteY66963"/>
              </a:cxn>
              <a:cxn ang="0">
                <a:pos x="connsiteX66964" y="connsiteY66964"/>
              </a:cxn>
              <a:cxn ang="0">
                <a:pos x="connsiteX66965" y="connsiteY66965"/>
              </a:cxn>
              <a:cxn ang="0">
                <a:pos x="connsiteX66966" y="connsiteY66966"/>
              </a:cxn>
              <a:cxn ang="0">
                <a:pos x="connsiteX66967" y="connsiteY66967"/>
              </a:cxn>
              <a:cxn ang="0">
                <a:pos x="connsiteX66968" y="connsiteY66968"/>
              </a:cxn>
              <a:cxn ang="0">
                <a:pos x="connsiteX66969" y="connsiteY66969"/>
              </a:cxn>
              <a:cxn ang="0">
                <a:pos x="connsiteX66970" y="connsiteY66970"/>
              </a:cxn>
              <a:cxn ang="0">
                <a:pos x="connsiteX66971" y="connsiteY66971"/>
              </a:cxn>
              <a:cxn ang="0">
                <a:pos x="connsiteX66972" y="connsiteY66972"/>
              </a:cxn>
              <a:cxn ang="0">
                <a:pos x="connsiteX66973" y="connsiteY66973"/>
              </a:cxn>
              <a:cxn ang="0">
                <a:pos x="connsiteX66974" y="connsiteY66974"/>
              </a:cxn>
              <a:cxn ang="0">
                <a:pos x="connsiteX66975" y="connsiteY66975"/>
              </a:cxn>
              <a:cxn ang="0">
                <a:pos x="connsiteX66976" y="connsiteY66976"/>
              </a:cxn>
              <a:cxn ang="0">
                <a:pos x="connsiteX66977" y="connsiteY66977"/>
              </a:cxn>
              <a:cxn ang="0">
                <a:pos x="connsiteX66978" y="connsiteY66978"/>
              </a:cxn>
              <a:cxn ang="0">
                <a:pos x="connsiteX66979" y="connsiteY66979"/>
              </a:cxn>
              <a:cxn ang="0">
                <a:pos x="connsiteX66980" y="connsiteY66980"/>
              </a:cxn>
              <a:cxn ang="0">
                <a:pos x="connsiteX66981" y="connsiteY66981"/>
              </a:cxn>
              <a:cxn ang="0">
                <a:pos x="connsiteX66982" y="connsiteY66982"/>
              </a:cxn>
              <a:cxn ang="0">
                <a:pos x="connsiteX66983" y="connsiteY66983"/>
              </a:cxn>
              <a:cxn ang="0">
                <a:pos x="connsiteX66984" y="connsiteY66984"/>
              </a:cxn>
              <a:cxn ang="0">
                <a:pos x="connsiteX66985" y="connsiteY66985"/>
              </a:cxn>
              <a:cxn ang="0">
                <a:pos x="connsiteX66986" y="connsiteY66986"/>
              </a:cxn>
              <a:cxn ang="0">
                <a:pos x="connsiteX66987" y="connsiteY66987"/>
              </a:cxn>
              <a:cxn ang="0">
                <a:pos x="connsiteX66988" y="connsiteY66988"/>
              </a:cxn>
              <a:cxn ang="0">
                <a:pos x="connsiteX66989" y="connsiteY66989"/>
              </a:cxn>
              <a:cxn ang="0">
                <a:pos x="connsiteX66990" y="connsiteY66990"/>
              </a:cxn>
              <a:cxn ang="0">
                <a:pos x="connsiteX66991" y="connsiteY66991"/>
              </a:cxn>
              <a:cxn ang="0">
                <a:pos x="connsiteX66992" y="connsiteY66992"/>
              </a:cxn>
              <a:cxn ang="0">
                <a:pos x="connsiteX66993" y="connsiteY66993"/>
              </a:cxn>
              <a:cxn ang="0">
                <a:pos x="connsiteX66994" y="connsiteY66994"/>
              </a:cxn>
              <a:cxn ang="0">
                <a:pos x="connsiteX66995" y="connsiteY66995"/>
              </a:cxn>
              <a:cxn ang="0">
                <a:pos x="connsiteX66996" y="connsiteY66996"/>
              </a:cxn>
              <a:cxn ang="0">
                <a:pos x="connsiteX66997" y="connsiteY66997"/>
              </a:cxn>
              <a:cxn ang="0">
                <a:pos x="connsiteX66998" y="connsiteY66998"/>
              </a:cxn>
              <a:cxn ang="0">
                <a:pos x="connsiteX66999" y="connsiteY66999"/>
              </a:cxn>
              <a:cxn ang="0">
                <a:pos x="connsiteX67000" y="connsiteY67000"/>
              </a:cxn>
              <a:cxn ang="0">
                <a:pos x="connsiteX67001" y="connsiteY67001"/>
              </a:cxn>
              <a:cxn ang="0">
                <a:pos x="connsiteX67002" y="connsiteY67002"/>
              </a:cxn>
              <a:cxn ang="0">
                <a:pos x="connsiteX67003" y="connsiteY67003"/>
              </a:cxn>
              <a:cxn ang="0">
                <a:pos x="connsiteX67004" y="connsiteY67004"/>
              </a:cxn>
              <a:cxn ang="0">
                <a:pos x="connsiteX67005" y="connsiteY67005"/>
              </a:cxn>
              <a:cxn ang="0">
                <a:pos x="connsiteX67006" y="connsiteY67006"/>
              </a:cxn>
              <a:cxn ang="0">
                <a:pos x="connsiteX67007" y="connsiteY67007"/>
              </a:cxn>
              <a:cxn ang="0">
                <a:pos x="connsiteX67008" y="connsiteY67008"/>
              </a:cxn>
              <a:cxn ang="0">
                <a:pos x="connsiteX67009" y="connsiteY67009"/>
              </a:cxn>
              <a:cxn ang="0">
                <a:pos x="connsiteX67010" y="connsiteY67010"/>
              </a:cxn>
              <a:cxn ang="0">
                <a:pos x="connsiteX67011" y="connsiteY67011"/>
              </a:cxn>
              <a:cxn ang="0">
                <a:pos x="connsiteX67012" y="connsiteY67012"/>
              </a:cxn>
              <a:cxn ang="0">
                <a:pos x="connsiteX67013" y="connsiteY67013"/>
              </a:cxn>
              <a:cxn ang="0">
                <a:pos x="connsiteX67014" y="connsiteY67014"/>
              </a:cxn>
              <a:cxn ang="0">
                <a:pos x="connsiteX67015" y="connsiteY67015"/>
              </a:cxn>
              <a:cxn ang="0">
                <a:pos x="connsiteX67016" y="connsiteY67016"/>
              </a:cxn>
              <a:cxn ang="0">
                <a:pos x="connsiteX67017" y="connsiteY67017"/>
              </a:cxn>
              <a:cxn ang="0">
                <a:pos x="connsiteX67018" y="connsiteY67018"/>
              </a:cxn>
              <a:cxn ang="0">
                <a:pos x="connsiteX67019" y="connsiteY67019"/>
              </a:cxn>
              <a:cxn ang="0">
                <a:pos x="connsiteX67020" y="connsiteY67020"/>
              </a:cxn>
              <a:cxn ang="0">
                <a:pos x="connsiteX67021" y="connsiteY67021"/>
              </a:cxn>
              <a:cxn ang="0">
                <a:pos x="connsiteX67022" y="connsiteY67022"/>
              </a:cxn>
              <a:cxn ang="0">
                <a:pos x="connsiteX67023" y="connsiteY67023"/>
              </a:cxn>
              <a:cxn ang="0">
                <a:pos x="connsiteX67024" y="connsiteY67024"/>
              </a:cxn>
              <a:cxn ang="0">
                <a:pos x="connsiteX67025" y="connsiteY67025"/>
              </a:cxn>
              <a:cxn ang="0">
                <a:pos x="connsiteX67026" y="connsiteY67026"/>
              </a:cxn>
              <a:cxn ang="0">
                <a:pos x="connsiteX67027" y="connsiteY67027"/>
              </a:cxn>
              <a:cxn ang="0">
                <a:pos x="connsiteX67028" y="connsiteY67028"/>
              </a:cxn>
              <a:cxn ang="0">
                <a:pos x="connsiteX67029" y="connsiteY67029"/>
              </a:cxn>
              <a:cxn ang="0">
                <a:pos x="connsiteX67030" y="connsiteY67030"/>
              </a:cxn>
              <a:cxn ang="0">
                <a:pos x="connsiteX67031" y="connsiteY67031"/>
              </a:cxn>
              <a:cxn ang="0">
                <a:pos x="connsiteX67032" y="connsiteY67032"/>
              </a:cxn>
              <a:cxn ang="0">
                <a:pos x="connsiteX67033" y="connsiteY67033"/>
              </a:cxn>
              <a:cxn ang="0">
                <a:pos x="connsiteX67034" y="connsiteY67034"/>
              </a:cxn>
              <a:cxn ang="0">
                <a:pos x="connsiteX67035" y="connsiteY67035"/>
              </a:cxn>
              <a:cxn ang="0">
                <a:pos x="connsiteX67036" y="connsiteY67036"/>
              </a:cxn>
              <a:cxn ang="0">
                <a:pos x="connsiteX67037" y="connsiteY67037"/>
              </a:cxn>
              <a:cxn ang="0">
                <a:pos x="connsiteX67038" y="connsiteY67038"/>
              </a:cxn>
              <a:cxn ang="0">
                <a:pos x="connsiteX67039" y="connsiteY67039"/>
              </a:cxn>
              <a:cxn ang="0">
                <a:pos x="connsiteX67040" y="connsiteY67040"/>
              </a:cxn>
              <a:cxn ang="0">
                <a:pos x="connsiteX67041" y="connsiteY67041"/>
              </a:cxn>
              <a:cxn ang="0">
                <a:pos x="connsiteX67042" y="connsiteY67042"/>
              </a:cxn>
              <a:cxn ang="0">
                <a:pos x="connsiteX67043" y="connsiteY67043"/>
              </a:cxn>
              <a:cxn ang="0">
                <a:pos x="connsiteX67044" y="connsiteY67044"/>
              </a:cxn>
              <a:cxn ang="0">
                <a:pos x="connsiteX67045" y="connsiteY67045"/>
              </a:cxn>
              <a:cxn ang="0">
                <a:pos x="connsiteX67046" y="connsiteY67046"/>
              </a:cxn>
              <a:cxn ang="0">
                <a:pos x="connsiteX67047" y="connsiteY67047"/>
              </a:cxn>
              <a:cxn ang="0">
                <a:pos x="connsiteX67048" y="connsiteY67048"/>
              </a:cxn>
              <a:cxn ang="0">
                <a:pos x="connsiteX67049" y="connsiteY67049"/>
              </a:cxn>
              <a:cxn ang="0">
                <a:pos x="connsiteX67050" y="connsiteY67050"/>
              </a:cxn>
              <a:cxn ang="0">
                <a:pos x="connsiteX67051" y="connsiteY67051"/>
              </a:cxn>
              <a:cxn ang="0">
                <a:pos x="connsiteX67052" y="connsiteY67052"/>
              </a:cxn>
              <a:cxn ang="0">
                <a:pos x="connsiteX67053" y="connsiteY67053"/>
              </a:cxn>
              <a:cxn ang="0">
                <a:pos x="connsiteX67054" y="connsiteY67054"/>
              </a:cxn>
              <a:cxn ang="0">
                <a:pos x="connsiteX67055" y="connsiteY67055"/>
              </a:cxn>
              <a:cxn ang="0">
                <a:pos x="connsiteX67056" y="connsiteY67056"/>
              </a:cxn>
              <a:cxn ang="0">
                <a:pos x="connsiteX67057" y="connsiteY67057"/>
              </a:cxn>
              <a:cxn ang="0">
                <a:pos x="connsiteX67058" y="connsiteY67058"/>
              </a:cxn>
              <a:cxn ang="0">
                <a:pos x="connsiteX67059" y="connsiteY67059"/>
              </a:cxn>
              <a:cxn ang="0">
                <a:pos x="connsiteX67060" y="connsiteY67060"/>
              </a:cxn>
              <a:cxn ang="0">
                <a:pos x="connsiteX67061" y="connsiteY67061"/>
              </a:cxn>
              <a:cxn ang="0">
                <a:pos x="connsiteX67062" y="connsiteY67062"/>
              </a:cxn>
              <a:cxn ang="0">
                <a:pos x="connsiteX67063" y="connsiteY67063"/>
              </a:cxn>
              <a:cxn ang="0">
                <a:pos x="connsiteX67064" y="connsiteY67064"/>
              </a:cxn>
              <a:cxn ang="0">
                <a:pos x="connsiteX67065" y="connsiteY67065"/>
              </a:cxn>
              <a:cxn ang="0">
                <a:pos x="connsiteX67066" y="connsiteY67066"/>
              </a:cxn>
              <a:cxn ang="0">
                <a:pos x="connsiteX67067" y="connsiteY67067"/>
              </a:cxn>
              <a:cxn ang="0">
                <a:pos x="connsiteX67068" y="connsiteY67068"/>
              </a:cxn>
              <a:cxn ang="0">
                <a:pos x="connsiteX67069" y="connsiteY67069"/>
              </a:cxn>
              <a:cxn ang="0">
                <a:pos x="connsiteX67070" y="connsiteY67070"/>
              </a:cxn>
              <a:cxn ang="0">
                <a:pos x="connsiteX67071" y="connsiteY67071"/>
              </a:cxn>
              <a:cxn ang="0">
                <a:pos x="connsiteX67072" y="connsiteY67072"/>
              </a:cxn>
              <a:cxn ang="0">
                <a:pos x="connsiteX67073" y="connsiteY67073"/>
              </a:cxn>
              <a:cxn ang="0">
                <a:pos x="connsiteX67074" y="connsiteY67074"/>
              </a:cxn>
              <a:cxn ang="0">
                <a:pos x="connsiteX67075" y="connsiteY67075"/>
              </a:cxn>
              <a:cxn ang="0">
                <a:pos x="connsiteX67076" y="connsiteY67076"/>
              </a:cxn>
              <a:cxn ang="0">
                <a:pos x="connsiteX67077" y="connsiteY67077"/>
              </a:cxn>
              <a:cxn ang="0">
                <a:pos x="connsiteX67078" y="connsiteY67078"/>
              </a:cxn>
              <a:cxn ang="0">
                <a:pos x="connsiteX67079" y="connsiteY67079"/>
              </a:cxn>
              <a:cxn ang="0">
                <a:pos x="connsiteX67080" y="connsiteY67080"/>
              </a:cxn>
              <a:cxn ang="0">
                <a:pos x="connsiteX67081" y="connsiteY67081"/>
              </a:cxn>
              <a:cxn ang="0">
                <a:pos x="connsiteX67082" y="connsiteY67082"/>
              </a:cxn>
              <a:cxn ang="0">
                <a:pos x="connsiteX67083" y="connsiteY67083"/>
              </a:cxn>
              <a:cxn ang="0">
                <a:pos x="connsiteX67084" y="connsiteY67084"/>
              </a:cxn>
              <a:cxn ang="0">
                <a:pos x="connsiteX67085" y="connsiteY67085"/>
              </a:cxn>
              <a:cxn ang="0">
                <a:pos x="connsiteX67086" y="connsiteY67086"/>
              </a:cxn>
              <a:cxn ang="0">
                <a:pos x="connsiteX67087" y="connsiteY67087"/>
              </a:cxn>
              <a:cxn ang="0">
                <a:pos x="connsiteX67088" y="connsiteY67088"/>
              </a:cxn>
              <a:cxn ang="0">
                <a:pos x="connsiteX67089" y="connsiteY67089"/>
              </a:cxn>
              <a:cxn ang="0">
                <a:pos x="connsiteX67090" y="connsiteY67090"/>
              </a:cxn>
              <a:cxn ang="0">
                <a:pos x="connsiteX67091" y="connsiteY67091"/>
              </a:cxn>
              <a:cxn ang="0">
                <a:pos x="connsiteX67092" y="connsiteY67092"/>
              </a:cxn>
              <a:cxn ang="0">
                <a:pos x="connsiteX67093" y="connsiteY67093"/>
              </a:cxn>
              <a:cxn ang="0">
                <a:pos x="connsiteX67094" y="connsiteY67094"/>
              </a:cxn>
              <a:cxn ang="0">
                <a:pos x="connsiteX67095" y="connsiteY67095"/>
              </a:cxn>
              <a:cxn ang="0">
                <a:pos x="connsiteX67096" y="connsiteY67096"/>
              </a:cxn>
              <a:cxn ang="0">
                <a:pos x="connsiteX67097" y="connsiteY67097"/>
              </a:cxn>
              <a:cxn ang="0">
                <a:pos x="connsiteX67098" y="connsiteY67098"/>
              </a:cxn>
              <a:cxn ang="0">
                <a:pos x="connsiteX67099" y="connsiteY67099"/>
              </a:cxn>
              <a:cxn ang="0">
                <a:pos x="connsiteX67100" y="connsiteY67100"/>
              </a:cxn>
              <a:cxn ang="0">
                <a:pos x="connsiteX67101" y="connsiteY67101"/>
              </a:cxn>
              <a:cxn ang="0">
                <a:pos x="connsiteX67102" y="connsiteY67102"/>
              </a:cxn>
              <a:cxn ang="0">
                <a:pos x="connsiteX67103" y="connsiteY67103"/>
              </a:cxn>
              <a:cxn ang="0">
                <a:pos x="connsiteX67104" y="connsiteY67104"/>
              </a:cxn>
              <a:cxn ang="0">
                <a:pos x="connsiteX67105" y="connsiteY67105"/>
              </a:cxn>
              <a:cxn ang="0">
                <a:pos x="connsiteX67106" y="connsiteY67106"/>
              </a:cxn>
              <a:cxn ang="0">
                <a:pos x="connsiteX67107" y="connsiteY67107"/>
              </a:cxn>
              <a:cxn ang="0">
                <a:pos x="connsiteX67108" y="connsiteY67108"/>
              </a:cxn>
              <a:cxn ang="0">
                <a:pos x="connsiteX67109" y="connsiteY67109"/>
              </a:cxn>
              <a:cxn ang="0">
                <a:pos x="connsiteX67110" y="connsiteY67110"/>
              </a:cxn>
              <a:cxn ang="0">
                <a:pos x="connsiteX67111" y="connsiteY67111"/>
              </a:cxn>
              <a:cxn ang="0">
                <a:pos x="connsiteX67112" y="connsiteY67112"/>
              </a:cxn>
              <a:cxn ang="0">
                <a:pos x="connsiteX67113" y="connsiteY67113"/>
              </a:cxn>
              <a:cxn ang="0">
                <a:pos x="connsiteX67114" y="connsiteY67114"/>
              </a:cxn>
              <a:cxn ang="0">
                <a:pos x="connsiteX67115" y="connsiteY67115"/>
              </a:cxn>
              <a:cxn ang="0">
                <a:pos x="connsiteX67116" y="connsiteY67116"/>
              </a:cxn>
              <a:cxn ang="0">
                <a:pos x="connsiteX67117" y="connsiteY67117"/>
              </a:cxn>
              <a:cxn ang="0">
                <a:pos x="connsiteX67118" y="connsiteY67118"/>
              </a:cxn>
              <a:cxn ang="0">
                <a:pos x="connsiteX67119" y="connsiteY67119"/>
              </a:cxn>
              <a:cxn ang="0">
                <a:pos x="connsiteX67120" y="connsiteY67120"/>
              </a:cxn>
              <a:cxn ang="0">
                <a:pos x="connsiteX67121" y="connsiteY67121"/>
              </a:cxn>
              <a:cxn ang="0">
                <a:pos x="connsiteX67122" y="connsiteY67122"/>
              </a:cxn>
              <a:cxn ang="0">
                <a:pos x="connsiteX67123" y="connsiteY67123"/>
              </a:cxn>
              <a:cxn ang="0">
                <a:pos x="connsiteX67124" y="connsiteY67124"/>
              </a:cxn>
              <a:cxn ang="0">
                <a:pos x="connsiteX67125" y="connsiteY67125"/>
              </a:cxn>
              <a:cxn ang="0">
                <a:pos x="connsiteX67126" y="connsiteY67126"/>
              </a:cxn>
              <a:cxn ang="0">
                <a:pos x="connsiteX67127" y="connsiteY67127"/>
              </a:cxn>
              <a:cxn ang="0">
                <a:pos x="connsiteX67128" y="connsiteY67128"/>
              </a:cxn>
              <a:cxn ang="0">
                <a:pos x="connsiteX67129" y="connsiteY67129"/>
              </a:cxn>
              <a:cxn ang="0">
                <a:pos x="connsiteX67130" y="connsiteY67130"/>
              </a:cxn>
              <a:cxn ang="0">
                <a:pos x="connsiteX67131" y="connsiteY67131"/>
              </a:cxn>
              <a:cxn ang="0">
                <a:pos x="connsiteX67132" y="connsiteY67132"/>
              </a:cxn>
              <a:cxn ang="0">
                <a:pos x="connsiteX67133" y="connsiteY67133"/>
              </a:cxn>
              <a:cxn ang="0">
                <a:pos x="connsiteX67134" y="connsiteY67134"/>
              </a:cxn>
              <a:cxn ang="0">
                <a:pos x="connsiteX67135" y="connsiteY67135"/>
              </a:cxn>
              <a:cxn ang="0">
                <a:pos x="connsiteX67136" y="connsiteY67136"/>
              </a:cxn>
              <a:cxn ang="0">
                <a:pos x="connsiteX67137" y="connsiteY67137"/>
              </a:cxn>
              <a:cxn ang="0">
                <a:pos x="connsiteX67138" y="connsiteY67138"/>
              </a:cxn>
              <a:cxn ang="0">
                <a:pos x="connsiteX67139" y="connsiteY67139"/>
              </a:cxn>
              <a:cxn ang="0">
                <a:pos x="connsiteX67140" y="connsiteY67140"/>
              </a:cxn>
              <a:cxn ang="0">
                <a:pos x="connsiteX67141" y="connsiteY67141"/>
              </a:cxn>
              <a:cxn ang="0">
                <a:pos x="connsiteX67142" y="connsiteY67142"/>
              </a:cxn>
              <a:cxn ang="0">
                <a:pos x="connsiteX67143" y="connsiteY67143"/>
              </a:cxn>
              <a:cxn ang="0">
                <a:pos x="connsiteX67144" y="connsiteY67144"/>
              </a:cxn>
              <a:cxn ang="0">
                <a:pos x="connsiteX67145" y="connsiteY67145"/>
              </a:cxn>
              <a:cxn ang="0">
                <a:pos x="connsiteX67146" y="connsiteY67146"/>
              </a:cxn>
              <a:cxn ang="0">
                <a:pos x="connsiteX67147" y="connsiteY67147"/>
              </a:cxn>
              <a:cxn ang="0">
                <a:pos x="connsiteX67148" y="connsiteY67148"/>
              </a:cxn>
              <a:cxn ang="0">
                <a:pos x="connsiteX67149" y="connsiteY67149"/>
              </a:cxn>
              <a:cxn ang="0">
                <a:pos x="connsiteX67150" y="connsiteY67150"/>
              </a:cxn>
              <a:cxn ang="0">
                <a:pos x="connsiteX67151" y="connsiteY67151"/>
              </a:cxn>
              <a:cxn ang="0">
                <a:pos x="connsiteX67152" y="connsiteY67152"/>
              </a:cxn>
              <a:cxn ang="0">
                <a:pos x="connsiteX67153" y="connsiteY67153"/>
              </a:cxn>
              <a:cxn ang="0">
                <a:pos x="connsiteX67154" y="connsiteY67154"/>
              </a:cxn>
              <a:cxn ang="0">
                <a:pos x="connsiteX67155" y="connsiteY67155"/>
              </a:cxn>
              <a:cxn ang="0">
                <a:pos x="connsiteX67156" y="connsiteY67156"/>
              </a:cxn>
              <a:cxn ang="0">
                <a:pos x="connsiteX67157" y="connsiteY67157"/>
              </a:cxn>
              <a:cxn ang="0">
                <a:pos x="connsiteX67158" y="connsiteY67158"/>
              </a:cxn>
              <a:cxn ang="0">
                <a:pos x="connsiteX67159" y="connsiteY67159"/>
              </a:cxn>
              <a:cxn ang="0">
                <a:pos x="connsiteX67160" y="connsiteY67160"/>
              </a:cxn>
              <a:cxn ang="0">
                <a:pos x="connsiteX67161" y="connsiteY67161"/>
              </a:cxn>
              <a:cxn ang="0">
                <a:pos x="connsiteX67162" y="connsiteY67162"/>
              </a:cxn>
              <a:cxn ang="0">
                <a:pos x="connsiteX67163" y="connsiteY67163"/>
              </a:cxn>
              <a:cxn ang="0">
                <a:pos x="connsiteX67164" y="connsiteY67164"/>
              </a:cxn>
              <a:cxn ang="0">
                <a:pos x="connsiteX67165" y="connsiteY67165"/>
              </a:cxn>
              <a:cxn ang="0">
                <a:pos x="connsiteX67166" y="connsiteY67166"/>
              </a:cxn>
              <a:cxn ang="0">
                <a:pos x="connsiteX67167" y="connsiteY67167"/>
              </a:cxn>
              <a:cxn ang="0">
                <a:pos x="connsiteX67168" y="connsiteY67168"/>
              </a:cxn>
              <a:cxn ang="0">
                <a:pos x="connsiteX67169" y="connsiteY67169"/>
              </a:cxn>
              <a:cxn ang="0">
                <a:pos x="connsiteX67170" y="connsiteY67170"/>
              </a:cxn>
              <a:cxn ang="0">
                <a:pos x="connsiteX67171" y="connsiteY67171"/>
              </a:cxn>
              <a:cxn ang="0">
                <a:pos x="connsiteX67172" y="connsiteY67172"/>
              </a:cxn>
              <a:cxn ang="0">
                <a:pos x="connsiteX67173" y="connsiteY67173"/>
              </a:cxn>
              <a:cxn ang="0">
                <a:pos x="connsiteX67174" y="connsiteY67174"/>
              </a:cxn>
              <a:cxn ang="0">
                <a:pos x="connsiteX67175" y="connsiteY67175"/>
              </a:cxn>
              <a:cxn ang="0">
                <a:pos x="connsiteX67176" y="connsiteY67176"/>
              </a:cxn>
              <a:cxn ang="0">
                <a:pos x="connsiteX67177" y="connsiteY67177"/>
              </a:cxn>
              <a:cxn ang="0">
                <a:pos x="connsiteX67178" y="connsiteY67178"/>
              </a:cxn>
              <a:cxn ang="0">
                <a:pos x="connsiteX67179" y="connsiteY67179"/>
              </a:cxn>
              <a:cxn ang="0">
                <a:pos x="connsiteX67180" y="connsiteY67180"/>
              </a:cxn>
              <a:cxn ang="0">
                <a:pos x="connsiteX67181" y="connsiteY67181"/>
              </a:cxn>
              <a:cxn ang="0">
                <a:pos x="connsiteX67182" y="connsiteY67182"/>
              </a:cxn>
              <a:cxn ang="0">
                <a:pos x="connsiteX67183" y="connsiteY67183"/>
              </a:cxn>
              <a:cxn ang="0">
                <a:pos x="connsiteX67184" y="connsiteY67184"/>
              </a:cxn>
              <a:cxn ang="0">
                <a:pos x="connsiteX67185" y="connsiteY67185"/>
              </a:cxn>
              <a:cxn ang="0">
                <a:pos x="connsiteX67186" y="connsiteY67186"/>
              </a:cxn>
              <a:cxn ang="0">
                <a:pos x="connsiteX67187" y="connsiteY67187"/>
              </a:cxn>
              <a:cxn ang="0">
                <a:pos x="connsiteX67188" y="connsiteY67188"/>
              </a:cxn>
              <a:cxn ang="0">
                <a:pos x="connsiteX67189" y="connsiteY67189"/>
              </a:cxn>
              <a:cxn ang="0">
                <a:pos x="connsiteX67190" y="connsiteY67190"/>
              </a:cxn>
              <a:cxn ang="0">
                <a:pos x="connsiteX67191" y="connsiteY67191"/>
              </a:cxn>
              <a:cxn ang="0">
                <a:pos x="connsiteX67192" y="connsiteY67192"/>
              </a:cxn>
              <a:cxn ang="0">
                <a:pos x="connsiteX67193" y="connsiteY67193"/>
              </a:cxn>
              <a:cxn ang="0">
                <a:pos x="connsiteX67194" y="connsiteY67194"/>
              </a:cxn>
              <a:cxn ang="0">
                <a:pos x="connsiteX67195" y="connsiteY67195"/>
              </a:cxn>
              <a:cxn ang="0">
                <a:pos x="connsiteX67196" y="connsiteY67196"/>
              </a:cxn>
              <a:cxn ang="0">
                <a:pos x="connsiteX67197" y="connsiteY67197"/>
              </a:cxn>
              <a:cxn ang="0">
                <a:pos x="connsiteX67198" y="connsiteY67198"/>
              </a:cxn>
              <a:cxn ang="0">
                <a:pos x="connsiteX67199" y="connsiteY67199"/>
              </a:cxn>
              <a:cxn ang="0">
                <a:pos x="connsiteX67200" y="connsiteY67200"/>
              </a:cxn>
              <a:cxn ang="0">
                <a:pos x="connsiteX67201" y="connsiteY67201"/>
              </a:cxn>
              <a:cxn ang="0">
                <a:pos x="connsiteX67202" y="connsiteY67202"/>
              </a:cxn>
              <a:cxn ang="0">
                <a:pos x="connsiteX67203" y="connsiteY67203"/>
              </a:cxn>
              <a:cxn ang="0">
                <a:pos x="connsiteX67204" y="connsiteY67204"/>
              </a:cxn>
              <a:cxn ang="0">
                <a:pos x="connsiteX67205" y="connsiteY67205"/>
              </a:cxn>
              <a:cxn ang="0">
                <a:pos x="connsiteX67206" y="connsiteY67206"/>
              </a:cxn>
              <a:cxn ang="0">
                <a:pos x="connsiteX67207" y="connsiteY67207"/>
              </a:cxn>
              <a:cxn ang="0">
                <a:pos x="connsiteX67208" y="connsiteY67208"/>
              </a:cxn>
              <a:cxn ang="0">
                <a:pos x="connsiteX67209" y="connsiteY67209"/>
              </a:cxn>
              <a:cxn ang="0">
                <a:pos x="connsiteX67210" y="connsiteY67210"/>
              </a:cxn>
              <a:cxn ang="0">
                <a:pos x="connsiteX67211" y="connsiteY67211"/>
              </a:cxn>
              <a:cxn ang="0">
                <a:pos x="connsiteX67212" y="connsiteY67212"/>
              </a:cxn>
              <a:cxn ang="0">
                <a:pos x="connsiteX67213" y="connsiteY67213"/>
              </a:cxn>
              <a:cxn ang="0">
                <a:pos x="connsiteX67214" y="connsiteY67214"/>
              </a:cxn>
              <a:cxn ang="0">
                <a:pos x="connsiteX67215" y="connsiteY67215"/>
              </a:cxn>
              <a:cxn ang="0">
                <a:pos x="connsiteX67216" y="connsiteY67216"/>
              </a:cxn>
              <a:cxn ang="0">
                <a:pos x="connsiteX67217" y="connsiteY67217"/>
              </a:cxn>
              <a:cxn ang="0">
                <a:pos x="connsiteX67218" y="connsiteY67218"/>
              </a:cxn>
              <a:cxn ang="0">
                <a:pos x="connsiteX67219" y="connsiteY67219"/>
              </a:cxn>
              <a:cxn ang="0">
                <a:pos x="connsiteX67220" y="connsiteY67220"/>
              </a:cxn>
              <a:cxn ang="0">
                <a:pos x="connsiteX67221" y="connsiteY67221"/>
              </a:cxn>
              <a:cxn ang="0">
                <a:pos x="connsiteX67222" y="connsiteY67222"/>
              </a:cxn>
              <a:cxn ang="0">
                <a:pos x="connsiteX67223" y="connsiteY67223"/>
              </a:cxn>
              <a:cxn ang="0">
                <a:pos x="connsiteX67224" y="connsiteY67224"/>
              </a:cxn>
              <a:cxn ang="0">
                <a:pos x="connsiteX67225" y="connsiteY67225"/>
              </a:cxn>
              <a:cxn ang="0">
                <a:pos x="connsiteX67226" y="connsiteY67226"/>
              </a:cxn>
              <a:cxn ang="0">
                <a:pos x="connsiteX67227" y="connsiteY67227"/>
              </a:cxn>
              <a:cxn ang="0">
                <a:pos x="connsiteX67228" y="connsiteY67228"/>
              </a:cxn>
              <a:cxn ang="0">
                <a:pos x="connsiteX67229" y="connsiteY67229"/>
              </a:cxn>
              <a:cxn ang="0">
                <a:pos x="connsiteX67230" y="connsiteY67230"/>
              </a:cxn>
              <a:cxn ang="0">
                <a:pos x="connsiteX67231" y="connsiteY67231"/>
              </a:cxn>
              <a:cxn ang="0">
                <a:pos x="connsiteX67232" y="connsiteY67232"/>
              </a:cxn>
              <a:cxn ang="0">
                <a:pos x="connsiteX67233" y="connsiteY67233"/>
              </a:cxn>
              <a:cxn ang="0">
                <a:pos x="connsiteX67234" y="connsiteY67234"/>
              </a:cxn>
              <a:cxn ang="0">
                <a:pos x="connsiteX67235" y="connsiteY67235"/>
              </a:cxn>
              <a:cxn ang="0">
                <a:pos x="connsiteX67236" y="connsiteY67236"/>
              </a:cxn>
              <a:cxn ang="0">
                <a:pos x="connsiteX67237" y="connsiteY67237"/>
              </a:cxn>
              <a:cxn ang="0">
                <a:pos x="connsiteX67238" y="connsiteY67238"/>
              </a:cxn>
              <a:cxn ang="0">
                <a:pos x="connsiteX67239" y="connsiteY67239"/>
              </a:cxn>
              <a:cxn ang="0">
                <a:pos x="connsiteX67240" y="connsiteY67240"/>
              </a:cxn>
              <a:cxn ang="0">
                <a:pos x="connsiteX67241" y="connsiteY67241"/>
              </a:cxn>
              <a:cxn ang="0">
                <a:pos x="connsiteX67242" y="connsiteY67242"/>
              </a:cxn>
              <a:cxn ang="0">
                <a:pos x="connsiteX67243" y="connsiteY67243"/>
              </a:cxn>
              <a:cxn ang="0">
                <a:pos x="connsiteX67244" y="connsiteY67244"/>
              </a:cxn>
              <a:cxn ang="0">
                <a:pos x="connsiteX67245" y="connsiteY67245"/>
              </a:cxn>
              <a:cxn ang="0">
                <a:pos x="connsiteX67246" y="connsiteY67246"/>
              </a:cxn>
              <a:cxn ang="0">
                <a:pos x="connsiteX67247" y="connsiteY67247"/>
              </a:cxn>
              <a:cxn ang="0">
                <a:pos x="connsiteX67248" y="connsiteY67248"/>
              </a:cxn>
              <a:cxn ang="0">
                <a:pos x="connsiteX67249" y="connsiteY67249"/>
              </a:cxn>
              <a:cxn ang="0">
                <a:pos x="connsiteX67250" y="connsiteY67250"/>
              </a:cxn>
              <a:cxn ang="0">
                <a:pos x="connsiteX67251" y="connsiteY67251"/>
              </a:cxn>
              <a:cxn ang="0">
                <a:pos x="connsiteX67252" y="connsiteY67252"/>
              </a:cxn>
              <a:cxn ang="0">
                <a:pos x="connsiteX67253" y="connsiteY67253"/>
              </a:cxn>
              <a:cxn ang="0">
                <a:pos x="connsiteX67254" y="connsiteY67254"/>
              </a:cxn>
              <a:cxn ang="0">
                <a:pos x="connsiteX67255" y="connsiteY67255"/>
              </a:cxn>
              <a:cxn ang="0">
                <a:pos x="connsiteX67256" y="connsiteY67256"/>
              </a:cxn>
              <a:cxn ang="0">
                <a:pos x="connsiteX67257" y="connsiteY67257"/>
              </a:cxn>
              <a:cxn ang="0">
                <a:pos x="connsiteX67258" y="connsiteY67258"/>
              </a:cxn>
              <a:cxn ang="0">
                <a:pos x="connsiteX67259" y="connsiteY67259"/>
              </a:cxn>
              <a:cxn ang="0">
                <a:pos x="connsiteX67260" y="connsiteY67260"/>
              </a:cxn>
              <a:cxn ang="0">
                <a:pos x="connsiteX67261" y="connsiteY67261"/>
              </a:cxn>
              <a:cxn ang="0">
                <a:pos x="connsiteX67262" y="connsiteY67262"/>
              </a:cxn>
              <a:cxn ang="0">
                <a:pos x="connsiteX67263" y="connsiteY67263"/>
              </a:cxn>
              <a:cxn ang="0">
                <a:pos x="connsiteX67264" y="connsiteY67264"/>
              </a:cxn>
              <a:cxn ang="0">
                <a:pos x="connsiteX67265" y="connsiteY67265"/>
              </a:cxn>
              <a:cxn ang="0">
                <a:pos x="connsiteX67266" y="connsiteY67266"/>
              </a:cxn>
              <a:cxn ang="0">
                <a:pos x="connsiteX67267" y="connsiteY67267"/>
              </a:cxn>
              <a:cxn ang="0">
                <a:pos x="connsiteX67268" y="connsiteY67268"/>
              </a:cxn>
              <a:cxn ang="0">
                <a:pos x="connsiteX67269" y="connsiteY67269"/>
              </a:cxn>
              <a:cxn ang="0">
                <a:pos x="connsiteX67270" y="connsiteY67270"/>
              </a:cxn>
              <a:cxn ang="0">
                <a:pos x="connsiteX67271" y="connsiteY67271"/>
              </a:cxn>
              <a:cxn ang="0">
                <a:pos x="connsiteX67272" y="connsiteY67272"/>
              </a:cxn>
              <a:cxn ang="0">
                <a:pos x="connsiteX67273" y="connsiteY67273"/>
              </a:cxn>
              <a:cxn ang="0">
                <a:pos x="connsiteX67274" y="connsiteY67274"/>
              </a:cxn>
              <a:cxn ang="0">
                <a:pos x="connsiteX67275" y="connsiteY67275"/>
              </a:cxn>
              <a:cxn ang="0">
                <a:pos x="connsiteX67276" y="connsiteY67276"/>
              </a:cxn>
              <a:cxn ang="0">
                <a:pos x="connsiteX67277" y="connsiteY67277"/>
              </a:cxn>
              <a:cxn ang="0">
                <a:pos x="connsiteX67278" y="connsiteY67278"/>
              </a:cxn>
              <a:cxn ang="0">
                <a:pos x="connsiteX67279" y="connsiteY67279"/>
              </a:cxn>
              <a:cxn ang="0">
                <a:pos x="connsiteX67280" y="connsiteY67280"/>
              </a:cxn>
              <a:cxn ang="0">
                <a:pos x="connsiteX67281" y="connsiteY67281"/>
              </a:cxn>
              <a:cxn ang="0">
                <a:pos x="connsiteX67282" y="connsiteY67282"/>
              </a:cxn>
              <a:cxn ang="0">
                <a:pos x="connsiteX67283" y="connsiteY67283"/>
              </a:cxn>
              <a:cxn ang="0">
                <a:pos x="connsiteX67284" y="connsiteY67284"/>
              </a:cxn>
              <a:cxn ang="0">
                <a:pos x="connsiteX67285" y="connsiteY67285"/>
              </a:cxn>
              <a:cxn ang="0">
                <a:pos x="connsiteX67286" y="connsiteY67286"/>
              </a:cxn>
              <a:cxn ang="0">
                <a:pos x="connsiteX67287" y="connsiteY67287"/>
              </a:cxn>
              <a:cxn ang="0">
                <a:pos x="connsiteX67288" y="connsiteY67288"/>
              </a:cxn>
              <a:cxn ang="0">
                <a:pos x="connsiteX67289" y="connsiteY67289"/>
              </a:cxn>
              <a:cxn ang="0">
                <a:pos x="connsiteX67290" y="connsiteY67290"/>
              </a:cxn>
              <a:cxn ang="0">
                <a:pos x="connsiteX67291" y="connsiteY67291"/>
              </a:cxn>
              <a:cxn ang="0">
                <a:pos x="connsiteX67292" y="connsiteY67292"/>
              </a:cxn>
              <a:cxn ang="0">
                <a:pos x="connsiteX67293" y="connsiteY67293"/>
              </a:cxn>
              <a:cxn ang="0">
                <a:pos x="connsiteX67294" y="connsiteY67294"/>
              </a:cxn>
              <a:cxn ang="0">
                <a:pos x="connsiteX67295" y="connsiteY67295"/>
              </a:cxn>
              <a:cxn ang="0">
                <a:pos x="connsiteX67296" y="connsiteY67296"/>
              </a:cxn>
              <a:cxn ang="0">
                <a:pos x="connsiteX67297" y="connsiteY67297"/>
              </a:cxn>
              <a:cxn ang="0">
                <a:pos x="connsiteX67298" y="connsiteY67298"/>
              </a:cxn>
              <a:cxn ang="0">
                <a:pos x="connsiteX67299" y="connsiteY67299"/>
              </a:cxn>
              <a:cxn ang="0">
                <a:pos x="connsiteX67300" y="connsiteY67300"/>
              </a:cxn>
              <a:cxn ang="0">
                <a:pos x="connsiteX67301" y="connsiteY67301"/>
              </a:cxn>
              <a:cxn ang="0">
                <a:pos x="connsiteX67302" y="connsiteY67302"/>
              </a:cxn>
              <a:cxn ang="0">
                <a:pos x="connsiteX67303" y="connsiteY67303"/>
              </a:cxn>
              <a:cxn ang="0">
                <a:pos x="connsiteX67304" y="connsiteY67304"/>
              </a:cxn>
              <a:cxn ang="0">
                <a:pos x="connsiteX67305" y="connsiteY67305"/>
              </a:cxn>
              <a:cxn ang="0">
                <a:pos x="connsiteX67306" y="connsiteY67306"/>
              </a:cxn>
              <a:cxn ang="0">
                <a:pos x="connsiteX67307" y="connsiteY67307"/>
              </a:cxn>
              <a:cxn ang="0">
                <a:pos x="connsiteX67308" y="connsiteY67308"/>
              </a:cxn>
              <a:cxn ang="0">
                <a:pos x="connsiteX67309" y="connsiteY67309"/>
              </a:cxn>
              <a:cxn ang="0">
                <a:pos x="connsiteX67310" y="connsiteY67310"/>
              </a:cxn>
              <a:cxn ang="0">
                <a:pos x="connsiteX67311" y="connsiteY67311"/>
              </a:cxn>
              <a:cxn ang="0">
                <a:pos x="connsiteX67312" y="connsiteY67312"/>
              </a:cxn>
              <a:cxn ang="0">
                <a:pos x="connsiteX67313" y="connsiteY67313"/>
              </a:cxn>
              <a:cxn ang="0">
                <a:pos x="connsiteX67314" y="connsiteY67314"/>
              </a:cxn>
              <a:cxn ang="0">
                <a:pos x="connsiteX67315" y="connsiteY67315"/>
              </a:cxn>
              <a:cxn ang="0">
                <a:pos x="connsiteX67316" y="connsiteY67316"/>
              </a:cxn>
              <a:cxn ang="0">
                <a:pos x="connsiteX67317" y="connsiteY67317"/>
              </a:cxn>
              <a:cxn ang="0">
                <a:pos x="connsiteX67318" y="connsiteY67318"/>
              </a:cxn>
              <a:cxn ang="0">
                <a:pos x="connsiteX67319" y="connsiteY67319"/>
              </a:cxn>
              <a:cxn ang="0">
                <a:pos x="connsiteX67320" y="connsiteY67320"/>
              </a:cxn>
              <a:cxn ang="0">
                <a:pos x="connsiteX67321" y="connsiteY67321"/>
              </a:cxn>
              <a:cxn ang="0">
                <a:pos x="connsiteX67322" y="connsiteY67322"/>
              </a:cxn>
              <a:cxn ang="0">
                <a:pos x="connsiteX67323" y="connsiteY67323"/>
              </a:cxn>
              <a:cxn ang="0">
                <a:pos x="connsiteX67324" y="connsiteY67324"/>
              </a:cxn>
              <a:cxn ang="0">
                <a:pos x="connsiteX67325" y="connsiteY67325"/>
              </a:cxn>
              <a:cxn ang="0">
                <a:pos x="connsiteX67326" y="connsiteY67326"/>
              </a:cxn>
              <a:cxn ang="0">
                <a:pos x="connsiteX67327" y="connsiteY67327"/>
              </a:cxn>
              <a:cxn ang="0">
                <a:pos x="connsiteX67328" y="connsiteY67328"/>
              </a:cxn>
              <a:cxn ang="0">
                <a:pos x="connsiteX67329" y="connsiteY67329"/>
              </a:cxn>
              <a:cxn ang="0">
                <a:pos x="connsiteX67330" y="connsiteY67330"/>
              </a:cxn>
              <a:cxn ang="0">
                <a:pos x="connsiteX67331" y="connsiteY67331"/>
              </a:cxn>
              <a:cxn ang="0">
                <a:pos x="connsiteX67332" y="connsiteY67332"/>
              </a:cxn>
              <a:cxn ang="0">
                <a:pos x="connsiteX67333" y="connsiteY67333"/>
              </a:cxn>
              <a:cxn ang="0">
                <a:pos x="connsiteX67334" y="connsiteY67334"/>
              </a:cxn>
              <a:cxn ang="0">
                <a:pos x="connsiteX67335" y="connsiteY67335"/>
              </a:cxn>
              <a:cxn ang="0">
                <a:pos x="connsiteX67336" y="connsiteY67336"/>
              </a:cxn>
              <a:cxn ang="0">
                <a:pos x="connsiteX67337" y="connsiteY67337"/>
              </a:cxn>
              <a:cxn ang="0">
                <a:pos x="connsiteX67338" y="connsiteY67338"/>
              </a:cxn>
              <a:cxn ang="0">
                <a:pos x="connsiteX67339" y="connsiteY67339"/>
              </a:cxn>
              <a:cxn ang="0">
                <a:pos x="connsiteX67340" y="connsiteY67340"/>
              </a:cxn>
              <a:cxn ang="0">
                <a:pos x="connsiteX67341" y="connsiteY67341"/>
              </a:cxn>
              <a:cxn ang="0">
                <a:pos x="connsiteX67342" y="connsiteY67342"/>
              </a:cxn>
              <a:cxn ang="0">
                <a:pos x="connsiteX67343" y="connsiteY67343"/>
              </a:cxn>
              <a:cxn ang="0">
                <a:pos x="connsiteX67344" y="connsiteY67344"/>
              </a:cxn>
              <a:cxn ang="0">
                <a:pos x="connsiteX67345" y="connsiteY67345"/>
              </a:cxn>
              <a:cxn ang="0">
                <a:pos x="connsiteX67346" y="connsiteY67346"/>
              </a:cxn>
              <a:cxn ang="0">
                <a:pos x="connsiteX67347" y="connsiteY67347"/>
              </a:cxn>
              <a:cxn ang="0">
                <a:pos x="connsiteX67348" y="connsiteY67348"/>
              </a:cxn>
              <a:cxn ang="0">
                <a:pos x="connsiteX67349" y="connsiteY67349"/>
              </a:cxn>
              <a:cxn ang="0">
                <a:pos x="connsiteX67350" y="connsiteY67350"/>
              </a:cxn>
              <a:cxn ang="0">
                <a:pos x="connsiteX67351" y="connsiteY67351"/>
              </a:cxn>
              <a:cxn ang="0">
                <a:pos x="connsiteX67352" y="connsiteY67352"/>
              </a:cxn>
              <a:cxn ang="0">
                <a:pos x="connsiteX67353" y="connsiteY67353"/>
              </a:cxn>
              <a:cxn ang="0">
                <a:pos x="connsiteX67354" y="connsiteY67354"/>
              </a:cxn>
              <a:cxn ang="0">
                <a:pos x="connsiteX67355" y="connsiteY67355"/>
              </a:cxn>
              <a:cxn ang="0">
                <a:pos x="connsiteX67356" y="connsiteY67356"/>
              </a:cxn>
              <a:cxn ang="0">
                <a:pos x="connsiteX67357" y="connsiteY67357"/>
              </a:cxn>
              <a:cxn ang="0">
                <a:pos x="connsiteX67358" y="connsiteY67358"/>
              </a:cxn>
              <a:cxn ang="0">
                <a:pos x="connsiteX67359" y="connsiteY67359"/>
              </a:cxn>
              <a:cxn ang="0">
                <a:pos x="connsiteX67360" y="connsiteY67360"/>
              </a:cxn>
              <a:cxn ang="0">
                <a:pos x="connsiteX67361" y="connsiteY67361"/>
              </a:cxn>
              <a:cxn ang="0">
                <a:pos x="connsiteX67362" y="connsiteY67362"/>
              </a:cxn>
              <a:cxn ang="0">
                <a:pos x="connsiteX67363" y="connsiteY67363"/>
              </a:cxn>
              <a:cxn ang="0">
                <a:pos x="connsiteX67364" y="connsiteY67364"/>
              </a:cxn>
              <a:cxn ang="0">
                <a:pos x="connsiteX67365" y="connsiteY67365"/>
              </a:cxn>
              <a:cxn ang="0">
                <a:pos x="connsiteX67366" y="connsiteY67366"/>
              </a:cxn>
              <a:cxn ang="0">
                <a:pos x="connsiteX67367" y="connsiteY67367"/>
              </a:cxn>
              <a:cxn ang="0">
                <a:pos x="connsiteX67368" y="connsiteY67368"/>
              </a:cxn>
              <a:cxn ang="0">
                <a:pos x="connsiteX67369" y="connsiteY67369"/>
              </a:cxn>
              <a:cxn ang="0">
                <a:pos x="connsiteX67370" y="connsiteY67370"/>
              </a:cxn>
              <a:cxn ang="0">
                <a:pos x="connsiteX67371" y="connsiteY67371"/>
              </a:cxn>
              <a:cxn ang="0">
                <a:pos x="connsiteX67372" y="connsiteY67372"/>
              </a:cxn>
              <a:cxn ang="0">
                <a:pos x="connsiteX67373" y="connsiteY67373"/>
              </a:cxn>
              <a:cxn ang="0">
                <a:pos x="connsiteX67374" y="connsiteY67374"/>
              </a:cxn>
              <a:cxn ang="0">
                <a:pos x="connsiteX67375" y="connsiteY67375"/>
              </a:cxn>
              <a:cxn ang="0">
                <a:pos x="connsiteX67376" y="connsiteY67376"/>
              </a:cxn>
              <a:cxn ang="0">
                <a:pos x="connsiteX67377" y="connsiteY67377"/>
              </a:cxn>
              <a:cxn ang="0">
                <a:pos x="connsiteX67378" y="connsiteY67378"/>
              </a:cxn>
              <a:cxn ang="0">
                <a:pos x="connsiteX67379" y="connsiteY67379"/>
              </a:cxn>
              <a:cxn ang="0">
                <a:pos x="connsiteX67380" y="connsiteY67380"/>
              </a:cxn>
              <a:cxn ang="0">
                <a:pos x="connsiteX67381" y="connsiteY67381"/>
              </a:cxn>
              <a:cxn ang="0">
                <a:pos x="connsiteX67382" y="connsiteY67382"/>
              </a:cxn>
              <a:cxn ang="0">
                <a:pos x="connsiteX67383" y="connsiteY67383"/>
              </a:cxn>
              <a:cxn ang="0">
                <a:pos x="connsiteX67384" y="connsiteY67384"/>
              </a:cxn>
              <a:cxn ang="0">
                <a:pos x="connsiteX67385" y="connsiteY67385"/>
              </a:cxn>
              <a:cxn ang="0">
                <a:pos x="connsiteX67386" y="connsiteY67386"/>
              </a:cxn>
              <a:cxn ang="0">
                <a:pos x="connsiteX67387" y="connsiteY67387"/>
              </a:cxn>
              <a:cxn ang="0">
                <a:pos x="connsiteX67388" y="connsiteY67388"/>
              </a:cxn>
              <a:cxn ang="0">
                <a:pos x="connsiteX67389" y="connsiteY67389"/>
              </a:cxn>
              <a:cxn ang="0">
                <a:pos x="connsiteX67390" y="connsiteY67390"/>
              </a:cxn>
              <a:cxn ang="0">
                <a:pos x="connsiteX67391" y="connsiteY67391"/>
              </a:cxn>
              <a:cxn ang="0">
                <a:pos x="connsiteX67392" y="connsiteY67392"/>
              </a:cxn>
              <a:cxn ang="0">
                <a:pos x="connsiteX67393" y="connsiteY67393"/>
              </a:cxn>
              <a:cxn ang="0">
                <a:pos x="connsiteX67394" y="connsiteY67394"/>
              </a:cxn>
              <a:cxn ang="0">
                <a:pos x="connsiteX67395" y="connsiteY67395"/>
              </a:cxn>
              <a:cxn ang="0">
                <a:pos x="connsiteX67396" y="connsiteY67396"/>
              </a:cxn>
              <a:cxn ang="0">
                <a:pos x="connsiteX67397" y="connsiteY67397"/>
              </a:cxn>
              <a:cxn ang="0">
                <a:pos x="connsiteX67398" y="connsiteY67398"/>
              </a:cxn>
              <a:cxn ang="0">
                <a:pos x="connsiteX67399" y="connsiteY67399"/>
              </a:cxn>
              <a:cxn ang="0">
                <a:pos x="connsiteX67400" y="connsiteY67400"/>
              </a:cxn>
              <a:cxn ang="0">
                <a:pos x="connsiteX67401" y="connsiteY67401"/>
              </a:cxn>
              <a:cxn ang="0">
                <a:pos x="connsiteX67402" y="connsiteY67402"/>
              </a:cxn>
              <a:cxn ang="0">
                <a:pos x="connsiteX67403" y="connsiteY67403"/>
              </a:cxn>
              <a:cxn ang="0">
                <a:pos x="connsiteX67404" y="connsiteY67404"/>
              </a:cxn>
              <a:cxn ang="0">
                <a:pos x="connsiteX67405" y="connsiteY67405"/>
              </a:cxn>
              <a:cxn ang="0">
                <a:pos x="connsiteX67406" y="connsiteY67406"/>
              </a:cxn>
              <a:cxn ang="0">
                <a:pos x="connsiteX67407" y="connsiteY67407"/>
              </a:cxn>
              <a:cxn ang="0">
                <a:pos x="connsiteX67408" y="connsiteY67408"/>
              </a:cxn>
              <a:cxn ang="0">
                <a:pos x="connsiteX67409" y="connsiteY67409"/>
              </a:cxn>
              <a:cxn ang="0">
                <a:pos x="connsiteX67410" y="connsiteY67410"/>
              </a:cxn>
              <a:cxn ang="0">
                <a:pos x="connsiteX67411" y="connsiteY67411"/>
              </a:cxn>
              <a:cxn ang="0">
                <a:pos x="connsiteX67412" y="connsiteY67412"/>
              </a:cxn>
              <a:cxn ang="0">
                <a:pos x="connsiteX67413" y="connsiteY67413"/>
              </a:cxn>
              <a:cxn ang="0">
                <a:pos x="connsiteX67414" y="connsiteY67414"/>
              </a:cxn>
              <a:cxn ang="0">
                <a:pos x="connsiteX67415" y="connsiteY67415"/>
              </a:cxn>
              <a:cxn ang="0">
                <a:pos x="connsiteX67416" y="connsiteY67416"/>
              </a:cxn>
              <a:cxn ang="0">
                <a:pos x="connsiteX67417" y="connsiteY67417"/>
              </a:cxn>
              <a:cxn ang="0">
                <a:pos x="connsiteX67418" y="connsiteY67418"/>
              </a:cxn>
              <a:cxn ang="0">
                <a:pos x="connsiteX67419" y="connsiteY67419"/>
              </a:cxn>
              <a:cxn ang="0">
                <a:pos x="connsiteX67420" y="connsiteY67420"/>
              </a:cxn>
              <a:cxn ang="0">
                <a:pos x="connsiteX67421" y="connsiteY67421"/>
              </a:cxn>
              <a:cxn ang="0">
                <a:pos x="connsiteX67422" y="connsiteY67422"/>
              </a:cxn>
              <a:cxn ang="0">
                <a:pos x="connsiteX67423" y="connsiteY67423"/>
              </a:cxn>
              <a:cxn ang="0">
                <a:pos x="connsiteX67424" y="connsiteY67424"/>
              </a:cxn>
              <a:cxn ang="0">
                <a:pos x="connsiteX67425" y="connsiteY67425"/>
              </a:cxn>
              <a:cxn ang="0">
                <a:pos x="connsiteX67426" y="connsiteY67426"/>
              </a:cxn>
              <a:cxn ang="0">
                <a:pos x="connsiteX67427" y="connsiteY67427"/>
              </a:cxn>
              <a:cxn ang="0">
                <a:pos x="connsiteX67428" y="connsiteY67428"/>
              </a:cxn>
              <a:cxn ang="0">
                <a:pos x="connsiteX67429" y="connsiteY67429"/>
              </a:cxn>
              <a:cxn ang="0">
                <a:pos x="connsiteX67430" y="connsiteY67430"/>
              </a:cxn>
              <a:cxn ang="0">
                <a:pos x="connsiteX67431" y="connsiteY67431"/>
              </a:cxn>
              <a:cxn ang="0">
                <a:pos x="connsiteX67432" y="connsiteY67432"/>
              </a:cxn>
              <a:cxn ang="0">
                <a:pos x="connsiteX67433" y="connsiteY67433"/>
              </a:cxn>
              <a:cxn ang="0">
                <a:pos x="connsiteX67434" y="connsiteY67434"/>
              </a:cxn>
              <a:cxn ang="0">
                <a:pos x="connsiteX67435" y="connsiteY67435"/>
              </a:cxn>
              <a:cxn ang="0">
                <a:pos x="connsiteX67436" y="connsiteY67436"/>
              </a:cxn>
              <a:cxn ang="0">
                <a:pos x="connsiteX67437" y="connsiteY67437"/>
              </a:cxn>
              <a:cxn ang="0">
                <a:pos x="connsiteX67438" y="connsiteY67438"/>
              </a:cxn>
              <a:cxn ang="0">
                <a:pos x="connsiteX67439" y="connsiteY67439"/>
              </a:cxn>
              <a:cxn ang="0">
                <a:pos x="connsiteX67440" y="connsiteY67440"/>
              </a:cxn>
              <a:cxn ang="0">
                <a:pos x="connsiteX67441" y="connsiteY67441"/>
              </a:cxn>
              <a:cxn ang="0">
                <a:pos x="connsiteX67442" y="connsiteY67442"/>
              </a:cxn>
              <a:cxn ang="0">
                <a:pos x="connsiteX67443" y="connsiteY67443"/>
              </a:cxn>
              <a:cxn ang="0">
                <a:pos x="connsiteX67444" y="connsiteY67444"/>
              </a:cxn>
              <a:cxn ang="0">
                <a:pos x="connsiteX67445" y="connsiteY67445"/>
              </a:cxn>
              <a:cxn ang="0">
                <a:pos x="connsiteX67446" y="connsiteY67446"/>
              </a:cxn>
              <a:cxn ang="0">
                <a:pos x="connsiteX67447" y="connsiteY67447"/>
              </a:cxn>
              <a:cxn ang="0">
                <a:pos x="connsiteX67448" y="connsiteY67448"/>
              </a:cxn>
              <a:cxn ang="0">
                <a:pos x="connsiteX67449" y="connsiteY67449"/>
              </a:cxn>
              <a:cxn ang="0">
                <a:pos x="connsiteX67450" y="connsiteY67450"/>
              </a:cxn>
              <a:cxn ang="0">
                <a:pos x="connsiteX67451" y="connsiteY67451"/>
              </a:cxn>
              <a:cxn ang="0">
                <a:pos x="connsiteX67452" y="connsiteY67452"/>
              </a:cxn>
              <a:cxn ang="0">
                <a:pos x="connsiteX67453" y="connsiteY67453"/>
              </a:cxn>
              <a:cxn ang="0">
                <a:pos x="connsiteX67454" y="connsiteY67454"/>
              </a:cxn>
              <a:cxn ang="0">
                <a:pos x="connsiteX67455" y="connsiteY67455"/>
              </a:cxn>
              <a:cxn ang="0">
                <a:pos x="connsiteX67456" y="connsiteY67456"/>
              </a:cxn>
              <a:cxn ang="0">
                <a:pos x="connsiteX67457" y="connsiteY67457"/>
              </a:cxn>
              <a:cxn ang="0">
                <a:pos x="connsiteX67458" y="connsiteY67458"/>
              </a:cxn>
              <a:cxn ang="0">
                <a:pos x="connsiteX67459" y="connsiteY67459"/>
              </a:cxn>
              <a:cxn ang="0">
                <a:pos x="connsiteX67460" y="connsiteY67460"/>
              </a:cxn>
              <a:cxn ang="0">
                <a:pos x="connsiteX67461" y="connsiteY67461"/>
              </a:cxn>
              <a:cxn ang="0">
                <a:pos x="connsiteX67462" y="connsiteY67462"/>
              </a:cxn>
              <a:cxn ang="0">
                <a:pos x="connsiteX67463" y="connsiteY67463"/>
              </a:cxn>
              <a:cxn ang="0">
                <a:pos x="connsiteX67464" y="connsiteY67464"/>
              </a:cxn>
              <a:cxn ang="0">
                <a:pos x="connsiteX67465" y="connsiteY67465"/>
              </a:cxn>
              <a:cxn ang="0">
                <a:pos x="connsiteX67466" y="connsiteY67466"/>
              </a:cxn>
              <a:cxn ang="0">
                <a:pos x="connsiteX67467" y="connsiteY67467"/>
              </a:cxn>
              <a:cxn ang="0">
                <a:pos x="connsiteX67468" y="connsiteY67468"/>
              </a:cxn>
              <a:cxn ang="0">
                <a:pos x="connsiteX67469" y="connsiteY67469"/>
              </a:cxn>
              <a:cxn ang="0">
                <a:pos x="connsiteX67470" y="connsiteY67470"/>
              </a:cxn>
              <a:cxn ang="0">
                <a:pos x="connsiteX67471" y="connsiteY67471"/>
              </a:cxn>
              <a:cxn ang="0">
                <a:pos x="connsiteX67472" y="connsiteY67472"/>
              </a:cxn>
              <a:cxn ang="0">
                <a:pos x="connsiteX67473" y="connsiteY67473"/>
              </a:cxn>
              <a:cxn ang="0">
                <a:pos x="connsiteX67474" y="connsiteY67474"/>
              </a:cxn>
              <a:cxn ang="0">
                <a:pos x="connsiteX67475" y="connsiteY67475"/>
              </a:cxn>
              <a:cxn ang="0">
                <a:pos x="connsiteX67476" y="connsiteY67476"/>
              </a:cxn>
              <a:cxn ang="0">
                <a:pos x="connsiteX67477" y="connsiteY67477"/>
              </a:cxn>
              <a:cxn ang="0">
                <a:pos x="connsiteX67478" y="connsiteY67478"/>
              </a:cxn>
              <a:cxn ang="0">
                <a:pos x="connsiteX67479" y="connsiteY67479"/>
              </a:cxn>
              <a:cxn ang="0">
                <a:pos x="connsiteX67480" y="connsiteY67480"/>
              </a:cxn>
              <a:cxn ang="0">
                <a:pos x="connsiteX67481" y="connsiteY67481"/>
              </a:cxn>
              <a:cxn ang="0">
                <a:pos x="connsiteX67482" y="connsiteY67482"/>
              </a:cxn>
              <a:cxn ang="0">
                <a:pos x="connsiteX67483" y="connsiteY67483"/>
              </a:cxn>
              <a:cxn ang="0">
                <a:pos x="connsiteX67484" y="connsiteY67484"/>
              </a:cxn>
              <a:cxn ang="0">
                <a:pos x="connsiteX67485" y="connsiteY67485"/>
              </a:cxn>
              <a:cxn ang="0">
                <a:pos x="connsiteX67486" y="connsiteY67486"/>
              </a:cxn>
              <a:cxn ang="0">
                <a:pos x="connsiteX67487" y="connsiteY67487"/>
              </a:cxn>
              <a:cxn ang="0">
                <a:pos x="connsiteX67488" y="connsiteY67488"/>
              </a:cxn>
              <a:cxn ang="0">
                <a:pos x="connsiteX67489" y="connsiteY67489"/>
              </a:cxn>
              <a:cxn ang="0">
                <a:pos x="connsiteX67490" y="connsiteY67490"/>
              </a:cxn>
              <a:cxn ang="0">
                <a:pos x="connsiteX67491" y="connsiteY67491"/>
              </a:cxn>
              <a:cxn ang="0">
                <a:pos x="connsiteX67492" y="connsiteY67492"/>
              </a:cxn>
              <a:cxn ang="0">
                <a:pos x="connsiteX67493" y="connsiteY67493"/>
              </a:cxn>
              <a:cxn ang="0">
                <a:pos x="connsiteX67494" y="connsiteY67494"/>
              </a:cxn>
              <a:cxn ang="0">
                <a:pos x="connsiteX67495" y="connsiteY67495"/>
              </a:cxn>
              <a:cxn ang="0">
                <a:pos x="connsiteX67496" y="connsiteY67496"/>
              </a:cxn>
              <a:cxn ang="0">
                <a:pos x="connsiteX67497" y="connsiteY67497"/>
              </a:cxn>
              <a:cxn ang="0">
                <a:pos x="connsiteX67498" y="connsiteY67498"/>
              </a:cxn>
              <a:cxn ang="0">
                <a:pos x="connsiteX67499" y="connsiteY67499"/>
              </a:cxn>
              <a:cxn ang="0">
                <a:pos x="connsiteX67500" y="connsiteY67500"/>
              </a:cxn>
              <a:cxn ang="0">
                <a:pos x="connsiteX67501" y="connsiteY67501"/>
              </a:cxn>
              <a:cxn ang="0">
                <a:pos x="connsiteX67502" y="connsiteY67502"/>
              </a:cxn>
              <a:cxn ang="0">
                <a:pos x="connsiteX67503" y="connsiteY67503"/>
              </a:cxn>
              <a:cxn ang="0">
                <a:pos x="connsiteX67504" y="connsiteY67504"/>
              </a:cxn>
              <a:cxn ang="0">
                <a:pos x="connsiteX67505" y="connsiteY67505"/>
              </a:cxn>
              <a:cxn ang="0">
                <a:pos x="connsiteX67506" y="connsiteY67506"/>
              </a:cxn>
              <a:cxn ang="0">
                <a:pos x="connsiteX67507" y="connsiteY67507"/>
              </a:cxn>
              <a:cxn ang="0">
                <a:pos x="connsiteX67508" y="connsiteY67508"/>
              </a:cxn>
              <a:cxn ang="0">
                <a:pos x="connsiteX67509" y="connsiteY67509"/>
              </a:cxn>
              <a:cxn ang="0">
                <a:pos x="connsiteX67510" y="connsiteY67510"/>
              </a:cxn>
              <a:cxn ang="0">
                <a:pos x="connsiteX67511" y="connsiteY67511"/>
              </a:cxn>
              <a:cxn ang="0">
                <a:pos x="connsiteX67512" y="connsiteY67512"/>
              </a:cxn>
              <a:cxn ang="0">
                <a:pos x="connsiteX67513" y="connsiteY67513"/>
              </a:cxn>
              <a:cxn ang="0">
                <a:pos x="connsiteX67514" y="connsiteY67514"/>
              </a:cxn>
              <a:cxn ang="0">
                <a:pos x="connsiteX67515" y="connsiteY67515"/>
              </a:cxn>
              <a:cxn ang="0">
                <a:pos x="connsiteX67516" y="connsiteY67516"/>
              </a:cxn>
              <a:cxn ang="0">
                <a:pos x="connsiteX67517" y="connsiteY67517"/>
              </a:cxn>
              <a:cxn ang="0">
                <a:pos x="connsiteX67518" y="connsiteY67518"/>
              </a:cxn>
              <a:cxn ang="0">
                <a:pos x="connsiteX67519" y="connsiteY67519"/>
              </a:cxn>
              <a:cxn ang="0">
                <a:pos x="connsiteX67520" y="connsiteY67520"/>
              </a:cxn>
              <a:cxn ang="0">
                <a:pos x="connsiteX67521" y="connsiteY67521"/>
              </a:cxn>
              <a:cxn ang="0">
                <a:pos x="connsiteX67522" y="connsiteY67522"/>
              </a:cxn>
              <a:cxn ang="0">
                <a:pos x="connsiteX67523" y="connsiteY67523"/>
              </a:cxn>
              <a:cxn ang="0">
                <a:pos x="connsiteX67524" y="connsiteY67524"/>
              </a:cxn>
              <a:cxn ang="0">
                <a:pos x="connsiteX67525" y="connsiteY67525"/>
              </a:cxn>
              <a:cxn ang="0">
                <a:pos x="connsiteX67526" y="connsiteY67526"/>
              </a:cxn>
              <a:cxn ang="0">
                <a:pos x="connsiteX67527" y="connsiteY67527"/>
              </a:cxn>
              <a:cxn ang="0">
                <a:pos x="connsiteX67528" y="connsiteY67528"/>
              </a:cxn>
              <a:cxn ang="0">
                <a:pos x="connsiteX67529" y="connsiteY67529"/>
              </a:cxn>
              <a:cxn ang="0">
                <a:pos x="connsiteX67530" y="connsiteY67530"/>
              </a:cxn>
              <a:cxn ang="0">
                <a:pos x="connsiteX67531" y="connsiteY67531"/>
              </a:cxn>
              <a:cxn ang="0">
                <a:pos x="connsiteX67532" y="connsiteY67532"/>
              </a:cxn>
              <a:cxn ang="0">
                <a:pos x="connsiteX67533" y="connsiteY67533"/>
              </a:cxn>
              <a:cxn ang="0">
                <a:pos x="connsiteX67534" y="connsiteY67534"/>
              </a:cxn>
              <a:cxn ang="0">
                <a:pos x="connsiteX67535" y="connsiteY67535"/>
              </a:cxn>
              <a:cxn ang="0">
                <a:pos x="connsiteX67536" y="connsiteY67536"/>
              </a:cxn>
              <a:cxn ang="0">
                <a:pos x="connsiteX67537" y="connsiteY67537"/>
              </a:cxn>
              <a:cxn ang="0">
                <a:pos x="connsiteX67538" y="connsiteY67538"/>
              </a:cxn>
              <a:cxn ang="0">
                <a:pos x="connsiteX67539" y="connsiteY67539"/>
              </a:cxn>
              <a:cxn ang="0">
                <a:pos x="connsiteX67540" y="connsiteY67540"/>
              </a:cxn>
              <a:cxn ang="0">
                <a:pos x="connsiteX67541" y="connsiteY67541"/>
              </a:cxn>
              <a:cxn ang="0">
                <a:pos x="connsiteX67542" y="connsiteY67542"/>
              </a:cxn>
              <a:cxn ang="0">
                <a:pos x="connsiteX67543" y="connsiteY67543"/>
              </a:cxn>
              <a:cxn ang="0">
                <a:pos x="connsiteX67544" y="connsiteY67544"/>
              </a:cxn>
              <a:cxn ang="0">
                <a:pos x="connsiteX67545" y="connsiteY67545"/>
              </a:cxn>
              <a:cxn ang="0">
                <a:pos x="connsiteX67546" y="connsiteY67546"/>
              </a:cxn>
              <a:cxn ang="0">
                <a:pos x="connsiteX67547" y="connsiteY67547"/>
              </a:cxn>
              <a:cxn ang="0">
                <a:pos x="connsiteX67548" y="connsiteY67548"/>
              </a:cxn>
              <a:cxn ang="0">
                <a:pos x="connsiteX67549" y="connsiteY67549"/>
              </a:cxn>
              <a:cxn ang="0">
                <a:pos x="connsiteX67550" y="connsiteY67550"/>
              </a:cxn>
              <a:cxn ang="0">
                <a:pos x="connsiteX67551" y="connsiteY67551"/>
              </a:cxn>
              <a:cxn ang="0">
                <a:pos x="connsiteX67552" y="connsiteY67552"/>
              </a:cxn>
              <a:cxn ang="0">
                <a:pos x="connsiteX67553" y="connsiteY67553"/>
              </a:cxn>
              <a:cxn ang="0">
                <a:pos x="connsiteX67554" y="connsiteY67554"/>
              </a:cxn>
              <a:cxn ang="0">
                <a:pos x="connsiteX67555" y="connsiteY67555"/>
              </a:cxn>
              <a:cxn ang="0">
                <a:pos x="connsiteX67556" y="connsiteY67556"/>
              </a:cxn>
              <a:cxn ang="0">
                <a:pos x="connsiteX67557" y="connsiteY67557"/>
              </a:cxn>
              <a:cxn ang="0">
                <a:pos x="connsiteX67558" y="connsiteY67558"/>
              </a:cxn>
              <a:cxn ang="0">
                <a:pos x="connsiteX67559" y="connsiteY67559"/>
              </a:cxn>
              <a:cxn ang="0">
                <a:pos x="connsiteX67560" y="connsiteY67560"/>
              </a:cxn>
              <a:cxn ang="0">
                <a:pos x="connsiteX67561" y="connsiteY67561"/>
              </a:cxn>
              <a:cxn ang="0">
                <a:pos x="connsiteX67562" y="connsiteY67562"/>
              </a:cxn>
              <a:cxn ang="0">
                <a:pos x="connsiteX67563" y="connsiteY67563"/>
              </a:cxn>
              <a:cxn ang="0">
                <a:pos x="connsiteX67564" y="connsiteY67564"/>
              </a:cxn>
              <a:cxn ang="0">
                <a:pos x="connsiteX67565" y="connsiteY67565"/>
              </a:cxn>
              <a:cxn ang="0">
                <a:pos x="connsiteX67566" y="connsiteY67566"/>
              </a:cxn>
              <a:cxn ang="0">
                <a:pos x="connsiteX67567" y="connsiteY67567"/>
              </a:cxn>
              <a:cxn ang="0">
                <a:pos x="connsiteX67568" y="connsiteY67568"/>
              </a:cxn>
              <a:cxn ang="0">
                <a:pos x="connsiteX67569" y="connsiteY67569"/>
              </a:cxn>
              <a:cxn ang="0">
                <a:pos x="connsiteX67570" y="connsiteY67570"/>
              </a:cxn>
              <a:cxn ang="0">
                <a:pos x="connsiteX67571" y="connsiteY67571"/>
              </a:cxn>
              <a:cxn ang="0">
                <a:pos x="connsiteX67572" y="connsiteY67572"/>
              </a:cxn>
              <a:cxn ang="0">
                <a:pos x="connsiteX67573" y="connsiteY67573"/>
              </a:cxn>
              <a:cxn ang="0">
                <a:pos x="connsiteX67574" y="connsiteY67574"/>
              </a:cxn>
              <a:cxn ang="0">
                <a:pos x="connsiteX67575" y="connsiteY67575"/>
              </a:cxn>
              <a:cxn ang="0">
                <a:pos x="connsiteX67576" y="connsiteY67576"/>
              </a:cxn>
              <a:cxn ang="0">
                <a:pos x="connsiteX67577" y="connsiteY67577"/>
              </a:cxn>
              <a:cxn ang="0">
                <a:pos x="connsiteX67578" y="connsiteY67578"/>
              </a:cxn>
              <a:cxn ang="0">
                <a:pos x="connsiteX67579" y="connsiteY67579"/>
              </a:cxn>
              <a:cxn ang="0">
                <a:pos x="connsiteX67580" y="connsiteY67580"/>
              </a:cxn>
              <a:cxn ang="0">
                <a:pos x="connsiteX67581" y="connsiteY67581"/>
              </a:cxn>
              <a:cxn ang="0">
                <a:pos x="connsiteX67582" y="connsiteY67582"/>
              </a:cxn>
              <a:cxn ang="0">
                <a:pos x="connsiteX67583" y="connsiteY67583"/>
              </a:cxn>
              <a:cxn ang="0">
                <a:pos x="connsiteX67584" y="connsiteY67584"/>
              </a:cxn>
              <a:cxn ang="0">
                <a:pos x="connsiteX67585" y="connsiteY67585"/>
              </a:cxn>
              <a:cxn ang="0">
                <a:pos x="connsiteX67586" y="connsiteY67586"/>
              </a:cxn>
              <a:cxn ang="0">
                <a:pos x="connsiteX67587" y="connsiteY67587"/>
              </a:cxn>
              <a:cxn ang="0">
                <a:pos x="connsiteX67588" y="connsiteY67588"/>
              </a:cxn>
              <a:cxn ang="0">
                <a:pos x="connsiteX67589" y="connsiteY67589"/>
              </a:cxn>
              <a:cxn ang="0">
                <a:pos x="connsiteX67590" y="connsiteY67590"/>
              </a:cxn>
              <a:cxn ang="0">
                <a:pos x="connsiteX67591" y="connsiteY67591"/>
              </a:cxn>
              <a:cxn ang="0">
                <a:pos x="connsiteX67592" y="connsiteY67592"/>
              </a:cxn>
              <a:cxn ang="0">
                <a:pos x="connsiteX67593" y="connsiteY67593"/>
              </a:cxn>
              <a:cxn ang="0">
                <a:pos x="connsiteX67594" y="connsiteY67594"/>
              </a:cxn>
              <a:cxn ang="0">
                <a:pos x="connsiteX67595" y="connsiteY67595"/>
              </a:cxn>
              <a:cxn ang="0">
                <a:pos x="connsiteX67596" y="connsiteY67596"/>
              </a:cxn>
              <a:cxn ang="0">
                <a:pos x="connsiteX67597" y="connsiteY67597"/>
              </a:cxn>
              <a:cxn ang="0">
                <a:pos x="connsiteX67598" y="connsiteY67598"/>
              </a:cxn>
              <a:cxn ang="0">
                <a:pos x="connsiteX67599" y="connsiteY67599"/>
              </a:cxn>
              <a:cxn ang="0">
                <a:pos x="connsiteX67600" y="connsiteY67600"/>
              </a:cxn>
              <a:cxn ang="0">
                <a:pos x="connsiteX67601" y="connsiteY67601"/>
              </a:cxn>
              <a:cxn ang="0">
                <a:pos x="connsiteX67602" y="connsiteY67602"/>
              </a:cxn>
              <a:cxn ang="0">
                <a:pos x="connsiteX67603" y="connsiteY67603"/>
              </a:cxn>
              <a:cxn ang="0">
                <a:pos x="connsiteX67604" y="connsiteY67604"/>
              </a:cxn>
              <a:cxn ang="0">
                <a:pos x="connsiteX67605" y="connsiteY67605"/>
              </a:cxn>
              <a:cxn ang="0">
                <a:pos x="connsiteX67606" y="connsiteY67606"/>
              </a:cxn>
              <a:cxn ang="0">
                <a:pos x="connsiteX67607" y="connsiteY67607"/>
              </a:cxn>
              <a:cxn ang="0">
                <a:pos x="connsiteX67608" y="connsiteY67608"/>
              </a:cxn>
              <a:cxn ang="0">
                <a:pos x="connsiteX67609" y="connsiteY67609"/>
              </a:cxn>
              <a:cxn ang="0">
                <a:pos x="connsiteX67610" y="connsiteY67610"/>
              </a:cxn>
              <a:cxn ang="0">
                <a:pos x="connsiteX67611" y="connsiteY67611"/>
              </a:cxn>
              <a:cxn ang="0">
                <a:pos x="connsiteX67612" y="connsiteY67612"/>
              </a:cxn>
              <a:cxn ang="0">
                <a:pos x="connsiteX67613" y="connsiteY67613"/>
              </a:cxn>
              <a:cxn ang="0">
                <a:pos x="connsiteX67614" y="connsiteY67614"/>
              </a:cxn>
              <a:cxn ang="0">
                <a:pos x="connsiteX67615" y="connsiteY67615"/>
              </a:cxn>
              <a:cxn ang="0">
                <a:pos x="connsiteX67616" y="connsiteY67616"/>
              </a:cxn>
              <a:cxn ang="0">
                <a:pos x="connsiteX67617" y="connsiteY67617"/>
              </a:cxn>
              <a:cxn ang="0">
                <a:pos x="connsiteX67618" y="connsiteY67618"/>
              </a:cxn>
              <a:cxn ang="0">
                <a:pos x="connsiteX67619" y="connsiteY67619"/>
              </a:cxn>
              <a:cxn ang="0">
                <a:pos x="connsiteX67620" y="connsiteY67620"/>
              </a:cxn>
              <a:cxn ang="0">
                <a:pos x="connsiteX67621" y="connsiteY67621"/>
              </a:cxn>
              <a:cxn ang="0">
                <a:pos x="connsiteX67622" y="connsiteY67622"/>
              </a:cxn>
              <a:cxn ang="0">
                <a:pos x="connsiteX67623" y="connsiteY67623"/>
              </a:cxn>
              <a:cxn ang="0">
                <a:pos x="connsiteX67624" y="connsiteY67624"/>
              </a:cxn>
              <a:cxn ang="0">
                <a:pos x="connsiteX67625" y="connsiteY67625"/>
              </a:cxn>
              <a:cxn ang="0">
                <a:pos x="connsiteX67626" y="connsiteY67626"/>
              </a:cxn>
              <a:cxn ang="0">
                <a:pos x="connsiteX67627" y="connsiteY67627"/>
              </a:cxn>
              <a:cxn ang="0">
                <a:pos x="connsiteX67628" y="connsiteY67628"/>
              </a:cxn>
              <a:cxn ang="0">
                <a:pos x="connsiteX67629" y="connsiteY67629"/>
              </a:cxn>
              <a:cxn ang="0">
                <a:pos x="connsiteX67630" y="connsiteY67630"/>
              </a:cxn>
              <a:cxn ang="0">
                <a:pos x="connsiteX67631" y="connsiteY67631"/>
              </a:cxn>
              <a:cxn ang="0">
                <a:pos x="connsiteX67632" y="connsiteY67632"/>
              </a:cxn>
              <a:cxn ang="0">
                <a:pos x="connsiteX67633" y="connsiteY67633"/>
              </a:cxn>
              <a:cxn ang="0">
                <a:pos x="connsiteX67634" y="connsiteY67634"/>
              </a:cxn>
              <a:cxn ang="0">
                <a:pos x="connsiteX67635" y="connsiteY67635"/>
              </a:cxn>
              <a:cxn ang="0">
                <a:pos x="connsiteX67636" y="connsiteY67636"/>
              </a:cxn>
              <a:cxn ang="0">
                <a:pos x="connsiteX67637" y="connsiteY67637"/>
              </a:cxn>
              <a:cxn ang="0">
                <a:pos x="connsiteX67638" y="connsiteY67638"/>
              </a:cxn>
              <a:cxn ang="0">
                <a:pos x="connsiteX67639" y="connsiteY67639"/>
              </a:cxn>
              <a:cxn ang="0">
                <a:pos x="connsiteX67640" y="connsiteY67640"/>
              </a:cxn>
              <a:cxn ang="0">
                <a:pos x="connsiteX67641" y="connsiteY67641"/>
              </a:cxn>
              <a:cxn ang="0">
                <a:pos x="connsiteX67642" y="connsiteY67642"/>
              </a:cxn>
              <a:cxn ang="0">
                <a:pos x="connsiteX67643" y="connsiteY67643"/>
              </a:cxn>
              <a:cxn ang="0">
                <a:pos x="connsiteX67644" y="connsiteY67644"/>
              </a:cxn>
              <a:cxn ang="0">
                <a:pos x="connsiteX67645" y="connsiteY67645"/>
              </a:cxn>
              <a:cxn ang="0">
                <a:pos x="connsiteX67646" y="connsiteY67646"/>
              </a:cxn>
              <a:cxn ang="0">
                <a:pos x="connsiteX67647" y="connsiteY67647"/>
              </a:cxn>
              <a:cxn ang="0">
                <a:pos x="connsiteX67648" y="connsiteY67648"/>
              </a:cxn>
              <a:cxn ang="0">
                <a:pos x="connsiteX67649" y="connsiteY67649"/>
              </a:cxn>
              <a:cxn ang="0">
                <a:pos x="connsiteX67650" y="connsiteY67650"/>
              </a:cxn>
              <a:cxn ang="0">
                <a:pos x="connsiteX67651" y="connsiteY67651"/>
              </a:cxn>
              <a:cxn ang="0">
                <a:pos x="connsiteX67652" y="connsiteY67652"/>
              </a:cxn>
              <a:cxn ang="0">
                <a:pos x="connsiteX67653" y="connsiteY67653"/>
              </a:cxn>
              <a:cxn ang="0">
                <a:pos x="connsiteX67654" y="connsiteY67654"/>
              </a:cxn>
              <a:cxn ang="0">
                <a:pos x="connsiteX67655" y="connsiteY67655"/>
              </a:cxn>
              <a:cxn ang="0">
                <a:pos x="connsiteX67656" y="connsiteY67656"/>
              </a:cxn>
              <a:cxn ang="0">
                <a:pos x="connsiteX67657" y="connsiteY67657"/>
              </a:cxn>
              <a:cxn ang="0">
                <a:pos x="connsiteX67658" y="connsiteY67658"/>
              </a:cxn>
              <a:cxn ang="0">
                <a:pos x="connsiteX67659" y="connsiteY67659"/>
              </a:cxn>
              <a:cxn ang="0">
                <a:pos x="connsiteX67660" y="connsiteY67660"/>
              </a:cxn>
              <a:cxn ang="0">
                <a:pos x="connsiteX67661" y="connsiteY67661"/>
              </a:cxn>
              <a:cxn ang="0">
                <a:pos x="connsiteX67662" y="connsiteY67662"/>
              </a:cxn>
              <a:cxn ang="0">
                <a:pos x="connsiteX67663" y="connsiteY67663"/>
              </a:cxn>
              <a:cxn ang="0">
                <a:pos x="connsiteX67664" y="connsiteY67664"/>
              </a:cxn>
              <a:cxn ang="0">
                <a:pos x="connsiteX67665" y="connsiteY67665"/>
              </a:cxn>
              <a:cxn ang="0">
                <a:pos x="connsiteX67666" y="connsiteY67666"/>
              </a:cxn>
              <a:cxn ang="0">
                <a:pos x="connsiteX67667" y="connsiteY67667"/>
              </a:cxn>
              <a:cxn ang="0">
                <a:pos x="connsiteX67668" y="connsiteY67668"/>
              </a:cxn>
              <a:cxn ang="0">
                <a:pos x="connsiteX67669" y="connsiteY67669"/>
              </a:cxn>
              <a:cxn ang="0">
                <a:pos x="connsiteX67670" y="connsiteY67670"/>
              </a:cxn>
              <a:cxn ang="0">
                <a:pos x="connsiteX67671" y="connsiteY67671"/>
              </a:cxn>
              <a:cxn ang="0">
                <a:pos x="connsiteX67672" y="connsiteY67672"/>
              </a:cxn>
              <a:cxn ang="0">
                <a:pos x="connsiteX67673" y="connsiteY67673"/>
              </a:cxn>
              <a:cxn ang="0">
                <a:pos x="connsiteX67674" y="connsiteY67674"/>
              </a:cxn>
              <a:cxn ang="0">
                <a:pos x="connsiteX67675" y="connsiteY67675"/>
              </a:cxn>
              <a:cxn ang="0">
                <a:pos x="connsiteX67676" y="connsiteY67676"/>
              </a:cxn>
              <a:cxn ang="0">
                <a:pos x="connsiteX67677" y="connsiteY67677"/>
              </a:cxn>
              <a:cxn ang="0">
                <a:pos x="connsiteX67678" y="connsiteY67678"/>
              </a:cxn>
              <a:cxn ang="0">
                <a:pos x="connsiteX67679" y="connsiteY67679"/>
              </a:cxn>
              <a:cxn ang="0">
                <a:pos x="connsiteX67680" y="connsiteY67680"/>
              </a:cxn>
              <a:cxn ang="0">
                <a:pos x="connsiteX67681" y="connsiteY67681"/>
              </a:cxn>
              <a:cxn ang="0">
                <a:pos x="connsiteX67682" y="connsiteY67682"/>
              </a:cxn>
              <a:cxn ang="0">
                <a:pos x="connsiteX67683" y="connsiteY67683"/>
              </a:cxn>
              <a:cxn ang="0">
                <a:pos x="connsiteX67684" y="connsiteY67684"/>
              </a:cxn>
              <a:cxn ang="0">
                <a:pos x="connsiteX67685" y="connsiteY67685"/>
              </a:cxn>
              <a:cxn ang="0">
                <a:pos x="connsiteX67686" y="connsiteY67686"/>
              </a:cxn>
              <a:cxn ang="0">
                <a:pos x="connsiteX67687" y="connsiteY67687"/>
              </a:cxn>
              <a:cxn ang="0">
                <a:pos x="connsiteX67688" y="connsiteY67688"/>
              </a:cxn>
              <a:cxn ang="0">
                <a:pos x="connsiteX67689" y="connsiteY67689"/>
              </a:cxn>
              <a:cxn ang="0">
                <a:pos x="connsiteX67690" y="connsiteY67690"/>
              </a:cxn>
              <a:cxn ang="0">
                <a:pos x="connsiteX67691" y="connsiteY67691"/>
              </a:cxn>
              <a:cxn ang="0">
                <a:pos x="connsiteX67692" y="connsiteY67692"/>
              </a:cxn>
              <a:cxn ang="0">
                <a:pos x="connsiteX67693" y="connsiteY67693"/>
              </a:cxn>
              <a:cxn ang="0">
                <a:pos x="connsiteX67694" y="connsiteY67694"/>
              </a:cxn>
              <a:cxn ang="0">
                <a:pos x="connsiteX67695" y="connsiteY67695"/>
              </a:cxn>
              <a:cxn ang="0">
                <a:pos x="connsiteX67696" y="connsiteY67696"/>
              </a:cxn>
              <a:cxn ang="0">
                <a:pos x="connsiteX67697" y="connsiteY67697"/>
              </a:cxn>
              <a:cxn ang="0">
                <a:pos x="connsiteX67698" y="connsiteY67698"/>
              </a:cxn>
              <a:cxn ang="0">
                <a:pos x="connsiteX67699" y="connsiteY67699"/>
              </a:cxn>
              <a:cxn ang="0">
                <a:pos x="connsiteX67700" y="connsiteY67700"/>
              </a:cxn>
              <a:cxn ang="0">
                <a:pos x="connsiteX67701" y="connsiteY67701"/>
              </a:cxn>
              <a:cxn ang="0">
                <a:pos x="connsiteX67702" y="connsiteY67702"/>
              </a:cxn>
              <a:cxn ang="0">
                <a:pos x="connsiteX67703" y="connsiteY67703"/>
              </a:cxn>
              <a:cxn ang="0">
                <a:pos x="connsiteX67704" y="connsiteY67704"/>
              </a:cxn>
              <a:cxn ang="0">
                <a:pos x="connsiteX67705" y="connsiteY67705"/>
              </a:cxn>
              <a:cxn ang="0">
                <a:pos x="connsiteX67706" y="connsiteY67706"/>
              </a:cxn>
              <a:cxn ang="0">
                <a:pos x="connsiteX67707" y="connsiteY67707"/>
              </a:cxn>
              <a:cxn ang="0">
                <a:pos x="connsiteX67708" y="connsiteY67708"/>
              </a:cxn>
              <a:cxn ang="0">
                <a:pos x="connsiteX67709" y="connsiteY67709"/>
              </a:cxn>
              <a:cxn ang="0">
                <a:pos x="connsiteX67710" y="connsiteY67710"/>
              </a:cxn>
              <a:cxn ang="0">
                <a:pos x="connsiteX67711" y="connsiteY67711"/>
              </a:cxn>
              <a:cxn ang="0">
                <a:pos x="connsiteX67712" y="connsiteY67712"/>
              </a:cxn>
              <a:cxn ang="0">
                <a:pos x="connsiteX67713" y="connsiteY67713"/>
              </a:cxn>
              <a:cxn ang="0">
                <a:pos x="connsiteX67714" y="connsiteY67714"/>
              </a:cxn>
              <a:cxn ang="0">
                <a:pos x="connsiteX67715" y="connsiteY67715"/>
              </a:cxn>
              <a:cxn ang="0">
                <a:pos x="connsiteX67716" y="connsiteY67716"/>
              </a:cxn>
              <a:cxn ang="0">
                <a:pos x="connsiteX67717" y="connsiteY67717"/>
              </a:cxn>
              <a:cxn ang="0">
                <a:pos x="connsiteX67718" y="connsiteY67718"/>
              </a:cxn>
              <a:cxn ang="0">
                <a:pos x="connsiteX67719" y="connsiteY67719"/>
              </a:cxn>
              <a:cxn ang="0">
                <a:pos x="connsiteX67720" y="connsiteY67720"/>
              </a:cxn>
              <a:cxn ang="0">
                <a:pos x="connsiteX67721" y="connsiteY67721"/>
              </a:cxn>
              <a:cxn ang="0">
                <a:pos x="connsiteX67722" y="connsiteY67722"/>
              </a:cxn>
              <a:cxn ang="0">
                <a:pos x="connsiteX67723" y="connsiteY67723"/>
              </a:cxn>
              <a:cxn ang="0">
                <a:pos x="connsiteX67724" y="connsiteY67724"/>
              </a:cxn>
              <a:cxn ang="0">
                <a:pos x="connsiteX67725" y="connsiteY67725"/>
              </a:cxn>
              <a:cxn ang="0">
                <a:pos x="connsiteX67726" y="connsiteY67726"/>
              </a:cxn>
              <a:cxn ang="0">
                <a:pos x="connsiteX67727" y="connsiteY67727"/>
              </a:cxn>
              <a:cxn ang="0">
                <a:pos x="connsiteX67728" y="connsiteY67728"/>
              </a:cxn>
              <a:cxn ang="0">
                <a:pos x="connsiteX67729" y="connsiteY67729"/>
              </a:cxn>
              <a:cxn ang="0">
                <a:pos x="connsiteX67730" y="connsiteY67730"/>
              </a:cxn>
              <a:cxn ang="0">
                <a:pos x="connsiteX67731" y="connsiteY67731"/>
              </a:cxn>
              <a:cxn ang="0">
                <a:pos x="connsiteX67732" y="connsiteY67732"/>
              </a:cxn>
              <a:cxn ang="0">
                <a:pos x="connsiteX67733" y="connsiteY67733"/>
              </a:cxn>
              <a:cxn ang="0">
                <a:pos x="connsiteX67734" y="connsiteY67734"/>
              </a:cxn>
              <a:cxn ang="0">
                <a:pos x="connsiteX67735" y="connsiteY67735"/>
              </a:cxn>
              <a:cxn ang="0">
                <a:pos x="connsiteX67736" y="connsiteY67736"/>
              </a:cxn>
              <a:cxn ang="0">
                <a:pos x="connsiteX67737" y="connsiteY67737"/>
              </a:cxn>
              <a:cxn ang="0">
                <a:pos x="connsiteX67738" y="connsiteY67738"/>
              </a:cxn>
              <a:cxn ang="0">
                <a:pos x="connsiteX67739" y="connsiteY67739"/>
              </a:cxn>
              <a:cxn ang="0">
                <a:pos x="connsiteX67740" y="connsiteY67740"/>
              </a:cxn>
              <a:cxn ang="0">
                <a:pos x="connsiteX67741" y="connsiteY67741"/>
              </a:cxn>
              <a:cxn ang="0">
                <a:pos x="connsiteX67742" y="connsiteY67742"/>
              </a:cxn>
              <a:cxn ang="0">
                <a:pos x="connsiteX67743" y="connsiteY67743"/>
              </a:cxn>
              <a:cxn ang="0">
                <a:pos x="connsiteX67744" y="connsiteY67744"/>
              </a:cxn>
              <a:cxn ang="0">
                <a:pos x="connsiteX67745" y="connsiteY67745"/>
              </a:cxn>
              <a:cxn ang="0">
                <a:pos x="connsiteX67746" y="connsiteY67746"/>
              </a:cxn>
              <a:cxn ang="0">
                <a:pos x="connsiteX67747" y="connsiteY67747"/>
              </a:cxn>
              <a:cxn ang="0">
                <a:pos x="connsiteX67748" y="connsiteY67748"/>
              </a:cxn>
              <a:cxn ang="0">
                <a:pos x="connsiteX67749" y="connsiteY67749"/>
              </a:cxn>
              <a:cxn ang="0">
                <a:pos x="connsiteX67750" y="connsiteY67750"/>
              </a:cxn>
              <a:cxn ang="0">
                <a:pos x="connsiteX67751" y="connsiteY67751"/>
              </a:cxn>
              <a:cxn ang="0">
                <a:pos x="connsiteX67752" y="connsiteY67752"/>
              </a:cxn>
              <a:cxn ang="0">
                <a:pos x="connsiteX67753" y="connsiteY67753"/>
              </a:cxn>
              <a:cxn ang="0">
                <a:pos x="connsiteX67754" y="connsiteY67754"/>
              </a:cxn>
              <a:cxn ang="0">
                <a:pos x="connsiteX67755" y="connsiteY67755"/>
              </a:cxn>
              <a:cxn ang="0">
                <a:pos x="connsiteX67756" y="connsiteY67756"/>
              </a:cxn>
              <a:cxn ang="0">
                <a:pos x="connsiteX67757" y="connsiteY67757"/>
              </a:cxn>
              <a:cxn ang="0">
                <a:pos x="connsiteX67758" y="connsiteY67758"/>
              </a:cxn>
              <a:cxn ang="0">
                <a:pos x="connsiteX67759" y="connsiteY67759"/>
              </a:cxn>
              <a:cxn ang="0">
                <a:pos x="connsiteX67760" y="connsiteY67760"/>
              </a:cxn>
              <a:cxn ang="0">
                <a:pos x="connsiteX67761" y="connsiteY67761"/>
              </a:cxn>
              <a:cxn ang="0">
                <a:pos x="connsiteX67762" y="connsiteY67762"/>
              </a:cxn>
              <a:cxn ang="0">
                <a:pos x="connsiteX67763" y="connsiteY67763"/>
              </a:cxn>
              <a:cxn ang="0">
                <a:pos x="connsiteX67764" y="connsiteY67764"/>
              </a:cxn>
              <a:cxn ang="0">
                <a:pos x="connsiteX67765" y="connsiteY67765"/>
              </a:cxn>
              <a:cxn ang="0">
                <a:pos x="connsiteX67766" y="connsiteY67766"/>
              </a:cxn>
              <a:cxn ang="0">
                <a:pos x="connsiteX67767" y="connsiteY67767"/>
              </a:cxn>
              <a:cxn ang="0">
                <a:pos x="connsiteX67768" y="connsiteY67768"/>
              </a:cxn>
              <a:cxn ang="0">
                <a:pos x="connsiteX67769" y="connsiteY67769"/>
              </a:cxn>
              <a:cxn ang="0">
                <a:pos x="connsiteX67770" y="connsiteY67770"/>
              </a:cxn>
              <a:cxn ang="0">
                <a:pos x="connsiteX67771" y="connsiteY67771"/>
              </a:cxn>
              <a:cxn ang="0">
                <a:pos x="connsiteX67772" y="connsiteY67772"/>
              </a:cxn>
              <a:cxn ang="0">
                <a:pos x="connsiteX67773" y="connsiteY67773"/>
              </a:cxn>
              <a:cxn ang="0">
                <a:pos x="connsiteX67774" y="connsiteY67774"/>
              </a:cxn>
              <a:cxn ang="0">
                <a:pos x="connsiteX67775" y="connsiteY67775"/>
              </a:cxn>
              <a:cxn ang="0">
                <a:pos x="connsiteX67776" y="connsiteY67776"/>
              </a:cxn>
              <a:cxn ang="0">
                <a:pos x="connsiteX67777" y="connsiteY67777"/>
              </a:cxn>
              <a:cxn ang="0">
                <a:pos x="connsiteX67778" y="connsiteY67778"/>
              </a:cxn>
              <a:cxn ang="0">
                <a:pos x="connsiteX67779" y="connsiteY67779"/>
              </a:cxn>
              <a:cxn ang="0">
                <a:pos x="connsiteX67780" y="connsiteY67780"/>
              </a:cxn>
              <a:cxn ang="0">
                <a:pos x="connsiteX67781" y="connsiteY67781"/>
              </a:cxn>
              <a:cxn ang="0">
                <a:pos x="connsiteX67782" y="connsiteY67782"/>
              </a:cxn>
              <a:cxn ang="0">
                <a:pos x="connsiteX67783" y="connsiteY67783"/>
              </a:cxn>
              <a:cxn ang="0">
                <a:pos x="connsiteX67784" y="connsiteY67784"/>
              </a:cxn>
              <a:cxn ang="0">
                <a:pos x="connsiteX67785" y="connsiteY67785"/>
              </a:cxn>
              <a:cxn ang="0">
                <a:pos x="connsiteX67786" y="connsiteY67786"/>
              </a:cxn>
              <a:cxn ang="0">
                <a:pos x="connsiteX67787" y="connsiteY67787"/>
              </a:cxn>
              <a:cxn ang="0">
                <a:pos x="connsiteX67788" y="connsiteY67788"/>
              </a:cxn>
              <a:cxn ang="0">
                <a:pos x="connsiteX67789" y="connsiteY67789"/>
              </a:cxn>
              <a:cxn ang="0">
                <a:pos x="connsiteX67790" y="connsiteY67790"/>
              </a:cxn>
              <a:cxn ang="0">
                <a:pos x="connsiteX67791" y="connsiteY67791"/>
              </a:cxn>
              <a:cxn ang="0">
                <a:pos x="connsiteX67792" y="connsiteY67792"/>
              </a:cxn>
              <a:cxn ang="0">
                <a:pos x="connsiteX67793" y="connsiteY67793"/>
              </a:cxn>
              <a:cxn ang="0">
                <a:pos x="connsiteX67794" y="connsiteY67794"/>
              </a:cxn>
              <a:cxn ang="0">
                <a:pos x="connsiteX67795" y="connsiteY67795"/>
              </a:cxn>
              <a:cxn ang="0">
                <a:pos x="connsiteX67796" y="connsiteY67796"/>
              </a:cxn>
              <a:cxn ang="0">
                <a:pos x="connsiteX67797" y="connsiteY67797"/>
              </a:cxn>
              <a:cxn ang="0">
                <a:pos x="connsiteX67798" y="connsiteY67798"/>
              </a:cxn>
              <a:cxn ang="0">
                <a:pos x="connsiteX67799" y="connsiteY67799"/>
              </a:cxn>
              <a:cxn ang="0">
                <a:pos x="connsiteX67800" y="connsiteY67800"/>
              </a:cxn>
              <a:cxn ang="0">
                <a:pos x="connsiteX67801" y="connsiteY67801"/>
              </a:cxn>
              <a:cxn ang="0">
                <a:pos x="connsiteX67802" y="connsiteY67802"/>
              </a:cxn>
              <a:cxn ang="0">
                <a:pos x="connsiteX67803" y="connsiteY67803"/>
              </a:cxn>
              <a:cxn ang="0">
                <a:pos x="connsiteX67804" y="connsiteY67804"/>
              </a:cxn>
              <a:cxn ang="0">
                <a:pos x="connsiteX67805" y="connsiteY67805"/>
              </a:cxn>
              <a:cxn ang="0">
                <a:pos x="connsiteX67806" y="connsiteY67806"/>
              </a:cxn>
              <a:cxn ang="0">
                <a:pos x="connsiteX67807" y="connsiteY67807"/>
              </a:cxn>
              <a:cxn ang="0">
                <a:pos x="connsiteX67808" y="connsiteY67808"/>
              </a:cxn>
              <a:cxn ang="0">
                <a:pos x="connsiteX67809" y="connsiteY67809"/>
              </a:cxn>
              <a:cxn ang="0">
                <a:pos x="connsiteX67810" y="connsiteY67810"/>
              </a:cxn>
              <a:cxn ang="0">
                <a:pos x="connsiteX67811" y="connsiteY67811"/>
              </a:cxn>
              <a:cxn ang="0">
                <a:pos x="connsiteX67812" y="connsiteY67812"/>
              </a:cxn>
              <a:cxn ang="0">
                <a:pos x="connsiteX67813" y="connsiteY67813"/>
              </a:cxn>
              <a:cxn ang="0">
                <a:pos x="connsiteX67814" y="connsiteY67814"/>
              </a:cxn>
              <a:cxn ang="0">
                <a:pos x="connsiteX67815" y="connsiteY67815"/>
              </a:cxn>
              <a:cxn ang="0">
                <a:pos x="connsiteX67816" y="connsiteY67816"/>
              </a:cxn>
              <a:cxn ang="0">
                <a:pos x="connsiteX67817" y="connsiteY67817"/>
              </a:cxn>
              <a:cxn ang="0">
                <a:pos x="connsiteX67818" y="connsiteY67818"/>
              </a:cxn>
              <a:cxn ang="0">
                <a:pos x="connsiteX67819" y="connsiteY67819"/>
              </a:cxn>
              <a:cxn ang="0">
                <a:pos x="connsiteX67820" y="connsiteY67820"/>
              </a:cxn>
              <a:cxn ang="0">
                <a:pos x="connsiteX67821" y="connsiteY67821"/>
              </a:cxn>
              <a:cxn ang="0">
                <a:pos x="connsiteX67822" y="connsiteY67822"/>
              </a:cxn>
              <a:cxn ang="0">
                <a:pos x="connsiteX67823" y="connsiteY67823"/>
              </a:cxn>
              <a:cxn ang="0">
                <a:pos x="connsiteX67824" y="connsiteY67824"/>
              </a:cxn>
              <a:cxn ang="0">
                <a:pos x="connsiteX67825" y="connsiteY67825"/>
              </a:cxn>
              <a:cxn ang="0">
                <a:pos x="connsiteX67826" y="connsiteY67826"/>
              </a:cxn>
              <a:cxn ang="0">
                <a:pos x="connsiteX67827" y="connsiteY67827"/>
              </a:cxn>
              <a:cxn ang="0">
                <a:pos x="connsiteX67828" y="connsiteY67828"/>
              </a:cxn>
              <a:cxn ang="0">
                <a:pos x="connsiteX67829" y="connsiteY67829"/>
              </a:cxn>
              <a:cxn ang="0">
                <a:pos x="connsiteX67830" y="connsiteY67830"/>
              </a:cxn>
              <a:cxn ang="0">
                <a:pos x="connsiteX67831" y="connsiteY67831"/>
              </a:cxn>
              <a:cxn ang="0">
                <a:pos x="connsiteX67832" y="connsiteY67832"/>
              </a:cxn>
              <a:cxn ang="0">
                <a:pos x="connsiteX67833" y="connsiteY67833"/>
              </a:cxn>
              <a:cxn ang="0">
                <a:pos x="connsiteX67834" y="connsiteY67834"/>
              </a:cxn>
              <a:cxn ang="0">
                <a:pos x="connsiteX67835" y="connsiteY67835"/>
              </a:cxn>
              <a:cxn ang="0">
                <a:pos x="connsiteX67836" y="connsiteY67836"/>
              </a:cxn>
              <a:cxn ang="0">
                <a:pos x="connsiteX67837" y="connsiteY67837"/>
              </a:cxn>
              <a:cxn ang="0">
                <a:pos x="connsiteX67838" y="connsiteY67838"/>
              </a:cxn>
              <a:cxn ang="0">
                <a:pos x="connsiteX67839" y="connsiteY67839"/>
              </a:cxn>
              <a:cxn ang="0">
                <a:pos x="connsiteX67840" y="connsiteY67840"/>
              </a:cxn>
              <a:cxn ang="0">
                <a:pos x="connsiteX67841" y="connsiteY67841"/>
              </a:cxn>
              <a:cxn ang="0">
                <a:pos x="connsiteX67842" y="connsiteY67842"/>
              </a:cxn>
              <a:cxn ang="0">
                <a:pos x="connsiteX67843" y="connsiteY67843"/>
              </a:cxn>
              <a:cxn ang="0">
                <a:pos x="connsiteX67844" y="connsiteY67844"/>
              </a:cxn>
              <a:cxn ang="0">
                <a:pos x="connsiteX67845" y="connsiteY67845"/>
              </a:cxn>
              <a:cxn ang="0">
                <a:pos x="connsiteX67846" y="connsiteY67846"/>
              </a:cxn>
              <a:cxn ang="0">
                <a:pos x="connsiteX67847" y="connsiteY67847"/>
              </a:cxn>
              <a:cxn ang="0">
                <a:pos x="connsiteX67848" y="connsiteY67848"/>
              </a:cxn>
              <a:cxn ang="0">
                <a:pos x="connsiteX67849" y="connsiteY67849"/>
              </a:cxn>
              <a:cxn ang="0">
                <a:pos x="connsiteX67850" y="connsiteY67850"/>
              </a:cxn>
              <a:cxn ang="0">
                <a:pos x="connsiteX67851" y="connsiteY67851"/>
              </a:cxn>
              <a:cxn ang="0">
                <a:pos x="connsiteX67852" y="connsiteY67852"/>
              </a:cxn>
              <a:cxn ang="0">
                <a:pos x="connsiteX67853" y="connsiteY67853"/>
              </a:cxn>
              <a:cxn ang="0">
                <a:pos x="connsiteX67854" y="connsiteY67854"/>
              </a:cxn>
              <a:cxn ang="0">
                <a:pos x="connsiteX67855" y="connsiteY67855"/>
              </a:cxn>
              <a:cxn ang="0">
                <a:pos x="connsiteX67856" y="connsiteY67856"/>
              </a:cxn>
              <a:cxn ang="0">
                <a:pos x="connsiteX67857" y="connsiteY67857"/>
              </a:cxn>
              <a:cxn ang="0">
                <a:pos x="connsiteX67858" y="connsiteY67858"/>
              </a:cxn>
              <a:cxn ang="0">
                <a:pos x="connsiteX67859" y="connsiteY67859"/>
              </a:cxn>
              <a:cxn ang="0">
                <a:pos x="connsiteX67860" y="connsiteY67860"/>
              </a:cxn>
              <a:cxn ang="0">
                <a:pos x="connsiteX67861" y="connsiteY67861"/>
              </a:cxn>
              <a:cxn ang="0">
                <a:pos x="connsiteX67862" y="connsiteY67862"/>
              </a:cxn>
              <a:cxn ang="0">
                <a:pos x="connsiteX67863" y="connsiteY67863"/>
              </a:cxn>
              <a:cxn ang="0">
                <a:pos x="connsiteX67864" y="connsiteY67864"/>
              </a:cxn>
              <a:cxn ang="0">
                <a:pos x="connsiteX67865" y="connsiteY67865"/>
              </a:cxn>
              <a:cxn ang="0">
                <a:pos x="connsiteX67866" y="connsiteY67866"/>
              </a:cxn>
              <a:cxn ang="0">
                <a:pos x="connsiteX67867" y="connsiteY67867"/>
              </a:cxn>
              <a:cxn ang="0">
                <a:pos x="connsiteX67868" y="connsiteY67868"/>
              </a:cxn>
              <a:cxn ang="0">
                <a:pos x="connsiteX67869" y="connsiteY67869"/>
              </a:cxn>
              <a:cxn ang="0">
                <a:pos x="connsiteX67870" y="connsiteY67870"/>
              </a:cxn>
              <a:cxn ang="0">
                <a:pos x="connsiteX67871" y="connsiteY67871"/>
              </a:cxn>
              <a:cxn ang="0">
                <a:pos x="connsiteX67872" y="connsiteY67872"/>
              </a:cxn>
              <a:cxn ang="0">
                <a:pos x="connsiteX67873" y="connsiteY67873"/>
              </a:cxn>
              <a:cxn ang="0">
                <a:pos x="connsiteX67874" y="connsiteY67874"/>
              </a:cxn>
              <a:cxn ang="0">
                <a:pos x="connsiteX67875" y="connsiteY67875"/>
              </a:cxn>
              <a:cxn ang="0">
                <a:pos x="connsiteX67876" y="connsiteY67876"/>
              </a:cxn>
              <a:cxn ang="0">
                <a:pos x="connsiteX67877" y="connsiteY67877"/>
              </a:cxn>
              <a:cxn ang="0">
                <a:pos x="connsiteX67878" y="connsiteY67878"/>
              </a:cxn>
              <a:cxn ang="0">
                <a:pos x="connsiteX67879" y="connsiteY67879"/>
              </a:cxn>
              <a:cxn ang="0">
                <a:pos x="connsiteX67880" y="connsiteY67880"/>
              </a:cxn>
              <a:cxn ang="0">
                <a:pos x="connsiteX67881" y="connsiteY67881"/>
              </a:cxn>
              <a:cxn ang="0">
                <a:pos x="connsiteX67882" y="connsiteY67882"/>
              </a:cxn>
              <a:cxn ang="0">
                <a:pos x="connsiteX67883" y="connsiteY67883"/>
              </a:cxn>
              <a:cxn ang="0">
                <a:pos x="connsiteX67884" y="connsiteY67884"/>
              </a:cxn>
              <a:cxn ang="0">
                <a:pos x="connsiteX67885" y="connsiteY67885"/>
              </a:cxn>
              <a:cxn ang="0">
                <a:pos x="connsiteX67886" y="connsiteY67886"/>
              </a:cxn>
              <a:cxn ang="0">
                <a:pos x="connsiteX67887" y="connsiteY67887"/>
              </a:cxn>
              <a:cxn ang="0">
                <a:pos x="connsiteX67888" y="connsiteY67888"/>
              </a:cxn>
              <a:cxn ang="0">
                <a:pos x="connsiteX67889" y="connsiteY67889"/>
              </a:cxn>
              <a:cxn ang="0">
                <a:pos x="connsiteX67890" y="connsiteY67890"/>
              </a:cxn>
              <a:cxn ang="0">
                <a:pos x="connsiteX67891" y="connsiteY67891"/>
              </a:cxn>
              <a:cxn ang="0">
                <a:pos x="connsiteX67892" y="connsiteY67892"/>
              </a:cxn>
              <a:cxn ang="0">
                <a:pos x="connsiteX67893" y="connsiteY67893"/>
              </a:cxn>
              <a:cxn ang="0">
                <a:pos x="connsiteX67894" y="connsiteY67894"/>
              </a:cxn>
              <a:cxn ang="0">
                <a:pos x="connsiteX67895" y="connsiteY67895"/>
              </a:cxn>
              <a:cxn ang="0">
                <a:pos x="connsiteX67896" y="connsiteY67896"/>
              </a:cxn>
              <a:cxn ang="0">
                <a:pos x="connsiteX67897" y="connsiteY67897"/>
              </a:cxn>
              <a:cxn ang="0">
                <a:pos x="connsiteX67898" y="connsiteY67898"/>
              </a:cxn>
              <a:cxn ang="0">
                <a:pos x="connsiteX67899" y="connsiteY67899"/>
              </a:cxn>
              <a:cxn ang="0">
                <a:pos x="connsiteX67900" y="connsiteY67900"/>
              </a:cxn>
              <a:cxn ang="0">
                <a:pos x="connsiteX67901" y="connsiteY67901"/>
              </a:cxn>
              <a:cxn ang="0">
                <a:pos x="connsiteX67902" y="connsiteY67902"/>
              </a:cxn>
              <a:cxn ang="0">
                <a:pos x="connsiteX67903" y="connsiteY67903"/>
              </a:cxn>
              <a:cxn ang="0">
                <a:pos x="connsiteX67904" y="connsiteY67904"/>
              </a:cxn>
              <a:cxn ang="0">
                <a:pos x="connsiteX67905" y="connsiteY67905"/>
              </a:cxn>
              <a:cxn ang="0">
                <a:pos x="connsiteX67906" y="connsiteY67906"/>
              </a:cxn>
              <a:cxn ang="0">
                <a:pos x="connsiteX67907" y="connsiteY67907"/>
              </a:cxn>
              <a:cxn ang="0">
                <a:pos x="connsiteX67908" y="connsiteY67908"/>
              </a:cxn>
              <a:cxn ang="0">
                <a:pos x="connsiteX67909" y="connsiteY67909"/>
              </a:cxn>
              <a:cxn ang="0">
                <a:pos x="connsiteX67910" y="connsiteY67910"/>
              </a:cxn>
              <a:cxn ang="0">
                <a:pos x="connsiteX67911" y="connsiteY67911"/>
              </a:cxn>
              <a:cxn ang="0">
                <a:pos x="connsiteX67912" y="connsiteY67912"/>
              </a:cxn>
              <a:cxn ang="0">
                <a:pos x="connsiteX67913" y="connsiteY67913"/>
              </a:cxn>
              <a:cxn ang="0">
                <a:pos x="connsiteX67914" y="connsiteY67914"/>
              </a:cxn>
              <a:cxn ang="0">
                <a:pos x="connsiteX67915" y="connsiteY67915"/>
              </a:cxn>
              <a:cxn ang="0">
                <a:pos x="connsiteX67916" y="connsiteY67916"/>
              </a:cxn>
              <a:cxn ang="0">
                <a:pos x="connsiteX67917" y="connsiteY67917"/>
              </a:cxn>
              <a:cxn ang="0">
                <a:pos x="connsiteX67918" y="connsiteY67918"/>
              </a:cxn>
              <a:cxn ang="0">
                <a:pos x="connsiteX67919" y="connsiteY67919"/>
              </a:cxn>
              <a:cxn ang="0">
                <a:pos x="connsiteX67920" y="connsiteY67920"/>
              </a:cxn>
              <a:cxn ang="0">
                <a:pos x="connsiteX67921" y="connsiteY67921"/>
              </a:cxn>
              <a:cxn ang="0">
                <a:pos x="connsiteX67922" y="connsiteY67922"/>
              </a:cxn>
              <a:cxn ang="0">
                <a:pos x="connsiteX67923" y="connsiteY67923"/>
              </a:cxn>
              <a:cxn ang="0">
                <a:pos x="connsiteX67924" y="connsiteY67924"/>
              </a:cxn>
              <a:cxn ang="0">
                <a:pos x="connsiteX67925" y="connsiteY67925"/>
              </a:cxn>
              <a:cxn ang="0">
                <a:pos x="connsiteX67926" y="connsiteY67926"/>
              </a:cxn>
              <a:cxn ang="0">
                <a:pos x="connsiteX67927" y="connsiteY67927"/>
              </a:cxn>
              <a:cxn ang="0">
                <a:pos x="connsiteX67928" y="connsiteY67928"/>
              </a:cxn>
              <a:cxn ang="0">
                <a:pos x="connsiteX67929" y="connsiteY67929"/>
              </a:cxn>
              <a:cxn ang="0">
                <a:pos x="connsiteX67930" y="connsiteY67930"/>
              </a:cxn>
              <a:cxn ang="0">
                <a:pos x="connsiteX67931" y="connsiteY67931"/>
              </a:cxn>
              <a:cxn ang="0">
                <a:pos x="connsiteX67932" y="connsiteY67932"/>
              </a:cxn>
              <a:cxn ang="0">
                <a:pos x="connsiteX67933" y="connsiteY67933"/>
              </a:cxn>
              <a:cxn ang="0">
                <a:pos x="connsiteX67934" y="connsiteY67934"/>
              </a:cxn>
              <a:cxn ang="0">
                <a:pos x="connsiteX67935" y="connsiteY67935"/>
              </a:cxn>
              <a:cxn ang="0">
                <a:pos x="connsiteX67936" y="connsiteY67936"/>
              </a:cxn>
              <a:cxn ang="0">
                <a:pos x="connsiteX67937" y="connsiteY67937"/>
              </a:cxn>
              <a:cxn ang="0">
                <a:pos x="connsiteX67938" y="connsiteY67938"/>
              </a:cxn>
              <a:cxn ang="0">
                <a:pos x="connsiteX67939" y="connsiteY67939"/>
              </a:cxn>
              <a:cxn ang="0">
                <a:pos x="connsiteX67940" y="connsiteY67940"/>
              </a:cxn>
              <a:cxn ang="0">
                <a:pos x="connsiteX67941" y="connsiteY67941"/>
              </a:cxn>
              <a:cxn ang="0">
                <a:pos x="connsiteX67942" y="connsiteY67942"/>
              </a:cxn>
              <a:cxn ang="0">
                <a:pos x="connsiteX67943" y="connsiteY67943"/>
              </a:cxn>
              <a:cxn ang="0">
                <a:pos x="connsiteX67944" y="connsiteY67944"/>
              </a:cxn>
              <a:cxn ang="0">
                <a:pos x="connsiteX67945" y="connsiteY67945"/>
              </a:cxn>
              <a:cxn ang="0">
                <a:pos x="connsiteX67946" y="connsiteY67946"/>
              </a:cxn>
              <a:cxn ang="0">
                <a:pos x="connsiteX67947" y="connsiteY67947"/>
              </a:cxn>
              <a:cxn ang="0">
                <a:pos x="connsiteX67948" y="connsiteY67948"/>
              </a:cxn>
              <a:cxn ang="0">
                <a:pos x="connsiteX67949" y="connsiteY67949"/>
              </a:cxn>
              <a:cxn ang="0">
                <a:pos x="connsiteX67950" y="connsiteY67950"/>
              </a:cxn>
              <a:cxn ang="0">
                <a:pos x="connsiteX67951" y="connsiteY67951"/>
              </a:cxn>
              <a:cxn ang="0">
                <a:pos x="connsiteX67952" y="connsiteY67952"/>
              </a:cxn>
              <a:cxn ang="0">
                <a:pos x="connsiteX67953" y="connsiteY67953"/>
              </a:cxn>
              <a:cxn ang="0">
                <a:pos x="connsiteX67954" y="connsiteY67954"/>
              </a:cxn>
              <a:cxn ang="0">
                <a:pos x="connsiteX67955" y="connsiteY67955"/>
              </a:cxn>
              <a:cxn ang="0">
                <a:pos x="connsiteX67956" y="connsiteY67956"/>
              </a:cxn>
              <a:cxn ang="0">
                <a:pos x="connsiteX67957" y="connsiteY67957"/>
              </a:cxn>
              <a:cxn ang="0">
                <a:pos x="connsiteX67958" y="connsiteY67958"/>
              </a:cxn>
              <a:cxn ang="0">
                <a:pos x="connsiteX67959" y="connsiteY67959"/>
              </a:cxn>
              <a:cxn ang="0">
                <a:pos x="connsiteX67960" y="connsiteY67960"/>
              </a:cxn>
              <a:cxn ang="0">
                <a:pos x="connsiteX67961" y="connsiteY67961"/>
              </a:cxn>
              <a:cxn ang="0">
                <a:pos x="connsiteX67962" y="connsiteY67962"/>
              </a:cxn>
              <a:cxn ang="0">
                <a:pos x="connsiteX67963" y="connsiteY67963"/>
              </a:cxn>
              <a:cxn ang="0">
                <a:pos x="connsiteX67964" y="connsiteY67964"/>
              </a:cxn>
              <a:cxn ang="0">
                <a:pos x="connsiteX67965" y="connsiteY67965"/>
              </a:cxn>
              <a:cxn ang="0">
                <a:pos x="connsiteX67966" y="connsiteY67966"/>
              </a:cxn>
              <a:cxn ang="0">
                <a:pos x="connsiteX67967" y="connsiteY67967"/>
              </a:cxn>
              <a:cxn ang="0">
                <a:pos x="connsiteX67968" y="connsiteY67968"/>
              </a:cxn>
              <a:cxn ang="0">
                <a:pos x="connsiteX67969" y="connsiteY67969"/>
              </a:cxn>
              <a:cxn ang="0">
                <a:pos x="connsiteX67970" y="connsiteY67970"/>
              </a:cxn>
              <a:cxn ang="0">
                <a:pos x="connsiteX67971" y="connsiteY67971"/>
              </a:cxn>
              <a:cxn ang="0">
                <a:pos x="connsiteX67972" y="connsiteY67972"/>
              </a:cxn>
              <a:cxn ang="0">
                <a:pos x="connsiteX67973" y="connsiteY67973"/>
              </a:cxn>
              <a:cxn ang="0">
                <a:pos x="connsiteX67974" y="connsiteY67974"/>
              </a:cxn>
              <a:cxn ang="0">
                <a:pos x="connsiteX67975" y="connsiteY67975"/>
              </a:cxn>
              <a:cxn ang="0">
                <a:pos x="connsiteX67976" y="connsiteY67976"/>
              </a:cxn>
              <a:cxn ang="0">
                <a:pos x="connsiteX67977" y="connsiteY67977"/>
              </a:cxn>
              <a:cxn ang="0">
                <a:pos x="connsiteX67978" y="connsiteY67978"/>
              </a:cxn>
              <a:cxn ang="0">
                <a:pos x="connsiteX67979" y="connsiteY67979"/>
              </a:cxn>
              <a:cxn ang="0">
                <a:pos x="connsiteX67980" y="connsiteY67980"/>
              </a:cxn>
              <a:cxn ang="0">
                <a:pos x="connsiteX67981" y="connsiteY67981"/>
              </a:cxn>
              <a:cxn ang="0">
                <a:pos x="connsiteX67982" y="connsiteY67982"/>
              </a:cxn>
              <a:cxn ang="0">
                <a:pos x="connsiteX67983" y="connsiteY67983"/>
              </a:cxn>
              <a:cxn ang="0">
                <a:pos x="connsiteX67984" y="connsiteY67984"/>
              </a:cxn>
              <a:cxn ang="0">
                <a:pos x="connsiteX67985" y="connsiteY67985"/>
              </a:cxn>
              <a:cxn ang="0">
                <a:pos x="connsiteX67986" y="connsiteY67986"/>
              </a:cxn>
              <a:cxn ang="0">
                <a:pos x="connsiteX67987" y="connsiteY67987"/>
              </a:cxn>
              <a:cxn ang="0">
                <a:pos x="connsiteX67988" y="connsiteY67988"/>
              </a:cxn>
              <a:cxn ang="0">
                <a:pos x="connsiteX67989" y="connsiteY67989"/>
              </a:cxn>
              <a:cxn ang="0">
                <a:pos x="connsiteX67990" y="connsiteY67990"/>
              </a:cxn>
              <a:cxn ang="0">
                <a:pos x="connsiteX67991" y="connsiteY67991"/>
              </a:cxn>
              <a:cxn ang="0">
                <a:pos x="connsiteX67992" y="connsiteY67992"/>
              </a:cxn>
              <a:cxn ang="0">
                <a:pos x="connsiteX67993" y="connsiteY67993"/>
              </a:cxn>
              <a:cxn ang="0">
                <a:pos x="connsiteX67994" y="connsiteY67994"/>
              </a:cxn>
              <a:cxn ang="0">
                <a:pos x="connsiteX67995" y="connsiteY67995"/>
              </a:cxn>
              <a:cxn ang="0">
                <a:pos x="connsiteX67996" y="connsiteY67996"/>
              </a:cxn>
              <a:cxn ang="0">
                <a:pos x="connsiteX67997" y="connsiteY67997"/>
              </a:cxn>
              <a:cxn ang="0">
                <a:pos x="connsiteX67998" y="connsiteY67998"/>
              </a:cxn>
              <a:cxn ang="0">
                <a:pos x="connsiteX67999" y="connsiteY67999"/>
              </a:cxn>
              <a:cxn ang="0">
                <a:pos x="connsiteX68000" y="connsiteY68000"/>
              </a:cxn>
              <a:cxn ang="0">
                <a:pos x="connsiteX68001" y="connsiteY68001"/>
              </a:cxn>
              <a:cxn ang="0">
                <a:pos x="connsiteX68002" y="connsiteY68002"/>
              </a:cxn>
              <a:cxn ang="0">
                <a:pos x="connsiteX68003" y="connsiteY68003"/>
              </a:cxn>
              <a:cxn ang="0">
                <a:pos x="connsiteX68004" y="connsiteY68004"/>
              </a:cxn>
              <a:cxn ang="0">
                <a:pos x="connsiteX68005" y="connsiteY68005"/>
              </a:cxn>
              <a:cxn ang="0">
                <a:pos x="connsiteX68006" y="connsiteY68006"/>
              </a:cxn>
              <a:cxn ang="0">
                <a:pos x="connsiteX68007" y="connsiteY68007"/>
              </a:cxn>
              <a:cxn ang="0">
                <a:pos x="connsiteX68008" y="connsiteY68008"/>
              </a:cxn>
              <a:cxn ang="0">
                <a:pos x="connsiteX68009" y="connsiteY68009"/>
              </a:cxn>
              <a:cxn ang="0">
                <a:pos x="connsiteX68010" y="connsiteY68010"/>
              </a:cxn>
              <a:cxn ang="0">
                <a:pos x="connsiteX68011" y="connsiteY68011"/>
              </a:cxn>
              <a:cxn ang="0">
                <a:pos x="connsiteX68012" y="connsiteY68012"/>
              </a:cxn>
              <a:cxn ang="0">
                <a:pos x="connsiteX68013" y="connsiteY68013"/>
              </a:cxn>
              <a:cxn ang="0">
                <a:pos x="connsiteX68014" y="connsiteY68014"/>
              </a:cxn>
              <a:cxn ang="0">
                <a:pos x="connsiteX68015" y="connsiteY68015"/>
              </a:cxn>
              <a:cxn ang="0">
                <a:pos x="connsiteX68016" y="connsiteY68016"/>
              </a:cxn>
              <a:cxn ang="0">
                <a:pos x="connsiteX68017" y="connsiteY68017"/>
              </a:cxn>
              <a:cxn ang="0">
                <a:pos x="connsiteX68018" y="connsiteY68018"/>
              </a:cxn>
              <a:cxn ang="0">
                <a:pos x="connsiteX68019" y="connsiteY68019"/>
              </a:cxn>
              <a:cxn ang="0">
                <a:pos x="connsiteX68020" y="connsiteY68020"/>
              </a:cxn>
              <a:cxn ang="0">
                <a:pos x="connsiteX68021" y="connsiteY68021"/>
              </a:cxn>
              <a:cxn ang="0">
                <a:pos x="connsiteX68022" y="connsiteY68022"/>
              </a:cxn>
              <a:cxn ang="0">
                <a:pos x="connsiteX68023" y="connsiteY68023"/>
              </a:cxn>
              <a:cxn ang="0">
                <a:pos x="connsiteX68024" y="connsiteY68024"/>
              </a:cxn>
              <a:cxn ang="0">
                <a:pos x="connsiteX68025" y="connsiteY68025"/>
              </a:cxn>
              <a:cxn ang="0">
                <a:pos x="connsiteX68026" y="connsiteY68026"/>
              </a:cxn>
              <a:cxn ang="0">
                <a:pos x="connsiteX68027" y="connsiteY68027"/>
              </a:cxn>
              <a:cxn ang="0">
                <a:pos x="connsiteX68028" y="connsiteY68028"/>
              </a:cxn>
              <a:cxn ang="0">
                <a:pos x="connsiteX68029" y="connsiteY68029"/>
              </a:cxn>
              <a:cxn ang="0">
                <a:pos x="connsiteX68030" y="connsiteY68030"/>
              </a:cxn>
              <a:cxn ang="0">
                <a:pos x="connsiteX68031" y="connsiteY68031"/>
              </a:cxn>
              <a:cxn ang="0">
                <a:pos x="connsiteX68032" y="connsiteY68032"/>
              </a:cxn>
              <a:cxn ang="0">
                <a:pos x="connsiteX68033" y="connsiteY68033"/>
              </a:cxn>
              <a:cxn ang="0">
                <a:pos x="connsiteX68034" y="connsiteY68034"/>
              </a:cxn>
              <a:cxn ang="0">
                <a:pos x="connsiteX68035" y="connsiteY68035"/>
              </a:cxn>
              <a:cxn ang="0">
                <a:pos x="connsiteX68036" y="connsiteY68036"/>
              </a:cxn>
              <a:cxn ang="0">
                <a:pos x="connsiteX68037" y="connsiteY68037"/>
              </a:cxn>
              <a:cxn ang="0">
                <a:pos x="connsiteX68038" y="connsiteY68038"/>
              </a:cxn>
              <a:cxn ang="0">
                <a:pos x="connsiteX68039" y="connsiteY68039"/>
              </a:cxn>
              <a:cxn ang="0">
                <a:pos x="connsiteX68040" y="connsiteY68040"/>
              </a:cxn>
              <a:cxn ang="0">
                <a:pos x="connsiteX68041" y="connsiteY68041"/>
              </a:cxn>
              <a:cxn ang="0">
                <a:pos x="connsiteX68042" y="connsiteY68042"/>
              </a:cxn>
              <a:cxn ang="0">
                <a:pos x="connsiteX68043" y="connsiteY68043"/>
              </a:cxn>
              <a:cxn ang="0">
                <a:pos x="connsiteX68044" y="connsiteY68044"/>
              </a:cxn>
              <a:cxn ang="0">
                <a:pos x="connsiteX68045" y="connsiteY68045"/>
              </a:cxn>
              <a:cxn ang="0">
                <a:pos x="connsiteX68046" y="connsiteY68046"/>
              </a:cxn>
              <a:cxn ang="0">
                <a:pos x="connsiteX68047" y="connsiteY68047"/>
              </a:cxn>
              <a:cxn ang="0">
                <a:pos x="connsiteX68048" y="connsiteY68048"/>
              </a:cxn>
              <a:cxn ang="0">
                <a:pos x="connsiteX68049" y="connsiteY68049"/>
              </a:cxn>
              <a:cxn ang="0">
                <a:pos x="connsiteX68050" y="connsiteY68050"/>
              </a:cxn>
              <a:cxn ang="0">
                <a:pos x="connsiteX68051" y="connsiteY68051"/>
              </a:cxn>
              <a:cxn ang="0">
                <a:pos x="connsiteX68052" y="connsiteY68052"/>
              </a:cxn>
              <a:cxn ang="0">
                <a:pos x="connsiteX68053" y="connsiteY68053"/>
              </a:cxn>
              <a:cxn ang="0">
                <a:pos x="connsiteX68054" y="connsiteY68054"/>
              </a:cxn>
              <a:cxn ang="0">
                <a:pos x="connsiteX68055" y="connsiteY68055"/>
              </a:cxn>
              <a:cxn ang="0">
                <a:pos x="connsiteX68056" y="connsiteY68056"/>
              </a:cxn>
              <a:cxn ang="0">
                <a:pos x="connsiteX68057" y="connsiteY68057"/>
              </a:cxn>
              <a:cxn ang="0">
                <a:pos x="connsiteX68058" y="connsiteY68058"/>
              </a:cxn>
              <a:cxn ang="0">
                <a:pos x="connsiteX68059" y="connsiteY68059"/>
              </a:cxn>
              <a:cxn ang="0">
                <a:pos x="connsiteX68060" y="connsiteY68060"/>
              </a:cxn>
              <a:cxn ang="0">
                <a:pos x="connsiteX68061" y="connsiteY68061"/>
              </a:cxn>
              <a:cxn ang="0">
                <a:pos x="connsiteX68062" y="connsiteY68062"/>
              </a:cxn>
              <a:cxn ang="0">
                <a:pos x="connsiteX68063" y="connsiteY68063"/>
              </a:cxn>
              <a:cxn ang="0">
                <a:pos x="connsiteX68064" y="connsiteY68064"/>
              </a:cxn>
              <a:cxn ang="0">
                <a:pos x="connsiteX68065" y="connsiteY68065"/>
              </a:cxn>
              <a:cxn ang="0">
                <a:pos x="connsiteX68066" y="connsiteY68066"/>
              </a:cxn>
              <a:cxn ang="0">
                <a:pos x="connsiteX68067" y="connsiteY68067"/>
              </a:cxn>
              <a:cxn ang="0">
                <a:pos x="connsiteX68068" y="connsiteY68068"/>
              </a:cxn>
              <a:cxn ang="0">
                <a:pos x="connsiteX68069" y="connsiteY68069"/>
              </a:cxn>
              <a:cxn ang="0">
                <a:pos x="connsiteX68070" y="connsiteY68070"/>
              </a:cxn>
              <a:cxn ang="0">
                <a:pos x="connsiteX68071" y="connsiteY68071"/>
              </a:cxn>
              <a:cxn ang="0">
                <a:pos x="connsiteX68072" y="connsiteY68072"/>
              </a:cxn>
              <a:cxn ang="0">
                <a:pos x="connsiteX68073" y="connsiteY68073"/>
              </a:cxn>
              <a:cxn ang="0">
                <a:pos x="connsiteX68074" y="connsiteY68074"/>
              </a:cxn>
              <a:cxn ang="0">
                <a:pos x="connsiteX68075" y="connsiteY68075"/>
              </a:cxn>
              <a:cxn ang="0">
                <a:pos x="connsiteX68076" y="connsiteY68076"/>
              </a:cxn>
              <a:cxn ang="0">
                <a:pos x="connsiteX68077" y="connsiteY68077"/>
              </a:cxn>
              <a:cxn ang="0">
                <a:pos x="connsiteX68078" y="connsiteY68078"/>
              </a:cxn>
              <a:cxn ang="0">
                <a:pos x="connsiteX68079" y="connsiteY68079"/>
              </a:cxn>
              <a:cxn ang="0">
                <a:pos x="connsiteX68080" y="connsiteY68080"/>
              </a:cxn>
              <a:cxn ang="0">
                <a:pos x="connsiteX68081" y="connsiteY68081"/>
              </a:cxn>
              <a:cxn ang="0">
                <a:pos x="connsiteX68082" y="connsiteY68082"/>
              </a:cxn>
              <a:cxn ang="0">
                <a:pos x="connsiteX68083" y="connsiteY68083"/>
              </a:cxn>
              <a:cxn ang="0">
                <a:pos x="connsiteX68084" y="connsiteY68084"/>
              </a:cxn>
              <a:cxn ang="0">
                <a:pos x="connsiteX68085" y="connsiteY68085"/>
              </a:cxn>
              <a:cxn ang="0">
                <a:pos x="connsiteX68086" y="connsiteY68086"/>
              </a:cxn>
              <a:cxn ang="0">
                <a:pos x="connsiteX68087" y="connsiteY68087"/>
              </a:cxn>
              <a:cxn ang="0">
                <a:pos x="connsiteX68088" y="connsiteY68088"/>
              </a:cxn>
              <a:cxn ang="0">
                <a:pos x="connsiteX68089" y="connsiteY68089"/>
              </a:cxn>
              <a:cxn ang="0">
                <a:pos x="connsiteX68090" y="connsiteY68090"/>
              </a:cxn>
              <a:cxn ang="0">
                <a:pos x="connsiteX68091" y="connsiteY68091"/>
              </a:cxn>
              <a:cxn ang="0">
                <a:pos x="connsiteX68092" y="connsiteY68092"/>
              </a:cxn>
              <a:cxn ang="0">
                <a:pos x="connsiteX68093" y="connsiteY68093"/>
              </a:cxn>
              <a:cxn ang="0">
                <a:pos x="connsiteX68094" y="connsiteY68094"/>
              </a:cxn>
              <a:cxn ang="0">
                <a:pos x="connsiteX68095" y="connsiteY68095"/>
              </a:cxn>
              <a:cxn ang="0">
                <a:pos x="connsiteX68096" y="connsiteY68096"/>
              </a:cxn>
              <a:cxn ang="0">
                <a:pos x="connsiteX68097" y="connsiteY68097"/>
              </a:cxn>
              <a:cxn ang="0">
                <a:pos x="connsiteX68098" y="connsiteY68098"/>
              </a:cxn>
              <a:cxn ang="0">
                <a:pos x="connsiteX68099" y="connsiteY68099"/>
              </a:cxn>
              <a:cxn ang="0">
                <a:pos x="connsiteX68100" y="connsiteY68100"/>
              </a:cxn>
              <a:cxn ang="0">
                <a:pos x="connsiteX68101" y="connsiteY68101"/>
              </a:cxn>
              <a:cxn ang="0">
                <a:pos x="connsiteX68102" y="connsiteY68102"/>
              </a:cxn>
              <a:cxn ang="0">
                <a:pos x="connsiteX68103" y="connsiteY68103"/>
              </a:cxn>
              <a:cxn ang="0">
                <a:pos x="connsiteX68104" y="connsiteY68104"/>
              </a:cxn>
              <a:cxn ang="0">
                <a:pos x="connsiteX68105" y="connsiteY68105"/>
              </a:cxn>
              <a:cxn ang="0">
                <a:pos x="connsiteX68106" y="connsiteY68106"/>
              </a:cxn>
              <a:cxn ang="0">
                <a:pos x="connsiteX68107" y="connsiteY68107"/>
              </a:cxn>
              <a:cxn ang="0">
                <a:pos x="connsiteX68108" y="connsiteY68108"/>
              </a:cxn>
              <a:cxn ang="0">
                <a:pos x="connsiteX68109" y="connsiteY68109"/>
              </a:cxn>
              <a:cxn ang="0">
                <a:pos x="connsiteX68110" y="connsiteY68110"/>
              </a:cxn>
              <a:cxn ang="0">
                <a:pos x="connsiteX68111" y="connsiteY68111"/>
              </a:cxn>
              <a:cxn ang="0">
                <a:pos x="connsiteX68112" y="connsiteY68112"/>
              </a:cxn>
              <a:cxn ang="0">
                <a:pos x="connsiteX68113" y="connsiteY68113"/>
              </a:cxn>
              <a:cxn ang="0">
                <a:pos x="connsiteX68114" y="connsiteY68114"/>
              </a:cxn>
              <a:cxn ang="0">
                <a:pos x="connsiteX68115" y="connsiteY68115"/>
              </a:cxn>
              <a:cxn ang="0">
                <a:pos x="connsiteX68116" y="connsiteY68116"/>
              </a:cxn>
              <a:cxn ang="0">
                <a:pos x="connsiteX68117" y="connsiteY68117"/>
              </a:cxn>
              <a:cxn ang="0">
                <a:pos x="connsiteX68118" y="connsiteY68118"/>
              </a:cxn>
              <a:cxn ang="0">
                <a:pos x="connsiteX68119" y="connsiteY68119"/>
              </a:cxn>
              <a:cxn ang="0">
                <a:pos x="connsiteX68120" y="connsiteY68120"/>
              </a:cxn>
              <a:cxn ang="0">
                <a:pos x="connsiteX68121" y="connsiteY68121"/>
              </a:cxn>
              <a:cxn ang="0">
                <a:pos x="connsiteX68122" y="connsiteY68122"/>
              </a:cxn>
              <a:cxn ang="0">
                <a:pos x="connsiteX68123" y="connsiteY68123"/>
              </a:cxn>
              <a:cxn ang="0">
                <a:pos x="connsiteX68124" y="connsiteY68124"/>
              </a:cxn>
              <a:cxn ang="0">
                <a:pos x="connsiteX68125" y="connsiteY68125"/>
              </a:cxn>
              <a:cxn ang="0">
                <a:pos x="connsiteX68126" y="connsiteY68126"/>
              </a:cxn>
              <a:cxn ang="0">
                <a:pos x="connsiteX68127" y="connsiteY68127"/>
              </a:cxn>
              <a:cxn ang="0">
                <a:pos x="connsiteX68128" y="connsiteY68128"/>
              </a:cxn>
              <a:cxn ang="0">
                <a:pos x="connsiteX68129" y="connsiteY68129"/>
              </a:cxn>
              <a:cxn ang="0">
                <a:pos x="connsiteX68130" y="connsiteY68130"/>
              </a:cxn>
              <a:cxn ang="0">
                <a:pos x="connsiteX68131" y="connsiteY68131"/>
              </a:cxn>
              <a:cxn ang="0">
                <a:pos x="connsiteX68132" y="connsiteY68132"/>
              </a:cxn>
              <a:cxn ang="0">
                <a:pos x="connsiteX68133" y="connsiteY68133"/>
              </a:cxn>
              <a:cxn ang="0">
                <a:pos x="connsiteX68134" y="connsiteY68134"/>
              </a:cxn>
              <a:cxn ang="0">
                <a:pos x="connsiteX68135" y="connsiteY68135"/>
              </a:cxn>
              <a:cxn ang="0">
                <a:pos x="connsiteX68136" y="connsiteY68136"/>
              </a:cxn>
              <a:cxn ang="0">
                <a:pos x="connsiteX68137" y="connsiteY68137"/>
              </a:cxn>
              <a:cxn ang="0">
                <a:pos x="connsiteX68138" y="connsiteY68138"/>
              </a:cxn>
              <a:cxn ang="0">
                <a:pos x="connsiteX68139" y="connsiteY68139"/>
              </a:cxn>
              <a:cxn ang="0">
                <a:pos x="connsiteX68140" y="connsiteY68140"/>
              </a:cxn>
              <a:cxn ang="0">
                <a:pos x="connsiteX68141" y="connsiteY68141"/>
              </a:cxn>
              <a:cxn ang="0">
                <a:pos x="connsiteX68142" y="connsiteY68142"/>
              </a:cxn>
              <a:cxn ang="0">
                <a:pos x="connsiteX68143" y="connsiteY68143"/>
              </a:cxn>
              <a:cxn ang="0">
                <a:pos x="connsiteX68144" y="connsiteY68144"/>
              </a:cxn>
              <a:cxn ang="0">
                <a:pos x="connsiteX68145" y="connsiteY68145"/>
              </a:cxn>
              <a:cxn ang="0">
                <a:pos x="connsiteX68146" y="connsiteY68146"/>
              </a:cxn>
              <a:cxn ang="0">
                <a:pos x="connsiteX68147" y="connsiteY68147"/>
              </a:cxn>
              <a:cxn ang="0">
                <a:pos x="connsiteX68148" y="connsiteY68148"/>
              </a:cxn>
              <a:cxn ang="0">
                <a:pos x="connsiteX68149" y="connsiteY68149"/>
              </a:cxn>
              <a:cxn ang="0">
                <a:pos x="connsiteX68150" y="connsiteY68150"/>
              </a:cxn>
              <a:cxn ang="0">
                <a:pos x="connsiteX68151" y="connsiteY68151"/>
              </a:cxn>
              <a:cxn ang="0">
                <a:pos x="connsiteX68152" y="connsiteY68152"/>
              </a:cxn>
              <a:cxn ang="0">
                <a:pos x="connsiteX68153" y="connsiteY68153"/>
              </a:cxn>
              <a:cxn ang="0">
                <a:pos x="connsiteX68154" y="connsiteY68154"/>
              </a:cxn>
              <a:cxn ang="0">
                <a:pos x="connsiteX68155" y="connsiteY68155"/>
              </a:cxn>
              <a:cxn ang="0">
                <a:pos x="connsiteX68156" y="connsiteY68156"/>
              </a:cxn>
              <a:cxn ang="0">
                <a:pos x="connsiteX68157" y="connsiteY68157"/>
              </a:cxn>
              <a:cxn ang="0">
                <a:pos x="connsiteX68158" y="connsiteY68158"/>
              </a:cxn>
              <a:cxn ang="0">
                <a:pos x="connsiteX68159" y="connsiteY68159"/>
              </a:cxn>
              <a:cxn ang="0">
                <a:pos x="connsiteX68160" y="connsiteY68160"/>
              </a:cxn>
              <a:cxn ang="0">
                <a:pos x="connsiteX68161" y="connsiteY68161"/>
              </a:cxn>
              <a:cxn ang="0">
                <a:pos x="connsiteX68162" y="connsiteY68162"/>
              </a:cxn>
              <a:cxn ang="0">
                <a:pos x="connsiteX68163" y="connsiteY68163"/>
              </a:cxn>
              <a:cxn ang="0">
                <a:pos x="connsiteX68164" y="connsiteY68164"/>
              </a:cxn>
              <a:cxn ang="0">
                <a:pos x="connsiteX68165" y="connsiteY68165"/>
              </a:cxn>
              <a:cxn ang="0">
                <a:pos x="connsiteX68166" y="connsiteY68166"/>
              </a:cxn>
              <a:cxn ang="0">
                <a:pos x="connsiteX68167" y="connsiteY68167"/>
              </a:cxn>
              <a:cxn ang="0">
                <a:pos x="connsiteX68168" y="connsiteY68168"/>
              </a:cxn>
              <a:cxn ang="0">
                <a:pos x="connsiteX68169" y="connsiteY68169"/>
              </a:cxn>
              <a:cxn ang="0">
                <a:pos x="connsiteX68170" y="connsiteY68170"/>
              </a:cxn>
              <a:cxn ang="0">
                <a:pos x="connsiteX68171" y="connsiteY68171"/>
              </a:cxn>
              <a:cxn ang="0">
                <a:pos x="connsiteX68172" y="connsiteY68172"/>
              </a:cxn>
              <a:cxn ang="0">
                <a:pos x="connsiteX68173" y="connsiteY68173"/>
              </a:cxn>
              <a:cxn ang="0">
                <a:pos x="connsiteX68174" y="connsiteY68174"/>
              </a:cxn>
              <a:cxn ang="0">
                <a:pos x="connsiteX68175" y="connsiteY68175"/>
              </a:cxn>
              <a:cxn ang="0">
                <a:pos x="connsiteX68176" y="connsiteY68176"/>
              </a:cxn>
              <a:cxn ang="0">
                <a:pos x="connsiteX68177" y="connsiteY68177"/>
              </a:cxn>
              <a:cxn ang="0">
                <a:pos x="connsiteX68178" y="connsiteY68178"/>
              </a:cxn>
              <a:cxn ang="0">
                <a:pos x="connsiteX68179" y="connsiteY68179"/>
              </a:cxn>
              <a:cxn ang="0">
                <a:pos x="connsiteX68180" y="connsiteY68180"/>
              </a:cxn>
              <a:cxn ang="0">
                <a:pos x="connsiteX68181" y="connsiteY68181"/>
              </a:cxn>
              <a:cxn ang="0">
                <a:pos x="connsiteX68182" y="connsiteY68182"/>
              </a:cxn>
              <a:cxn ang="0">
                <a:pos x="connsiteX68183" y="connsiteY68183"/>
              </a:cxn>
              <a:cxn ang="0">
                <a:pos x="connsiteX68184" y="connsiteY68184"/>
              </a:cxn>
              <a:cxn ang="0">
                <a:pos x="connsiteX68185" y="connsiteY68185"/>
              </a:cxn>
              <a:cxn ang="0">
                <a:pos x="connsiteX68186" y="connsiteY68186"/>
              </a:cxn>
              <a:cxn ang="0">
                <a:pos x="connsiteX68187" y="connsiteY68187"/>
              </a:cxn>
              <a:cxn ang="0">
                <a:pos x="connsiteX68188" y="connsiteY68188"/>
              </a:cxn>
              <a:cxn ang="0">
                <a:pos x="connsiteX68189" y="connsiteY68189"/>
              </a:cxn>
              <a:cxn ang="0">
                <a:pos x="connsiteX68190" y="connsiteY68190"/>
              </a:cxn>
              <a:cxn ang="0">
                <a:pos x="connsiteX68191" y="connsiteY68191"/>
              </a:cxn>
              <a:cxn ang="0">
                <a:pos x="connsiteX68192" y="connsiteY68192"/>
              </a:cxn>
              <a:cxn ang="0">
                <a:pos x="connsiteX68193" y="connsiteY68193"/>
              </a:cxn>
              <a:cxn ang="0">
                <a:pos x="connsiteX68194" y="connsiteY68194"/>
              </a:cxn>
              <a:cxn ang="0">
                <a:pos x="connsiteX68195" y="connsiteY68195"/>
              </a:cxn>
              <a:cxn ang="0">
                <a:pos x="connsiteX68196" y="connsiteY68196"/>
              </a:cxn>
              <a:cxn ang="0">
                <a:pos x="connsiteX68197" y="connsiteY68197"/>
              </a:cxn>
              <a:cxn ang="0">
                <a:pos x="connsiteX68198" y="connsiteY68198"/>
              </a:cxn>
              <a:cxn ang="0">
                <a:pos x="connsiteX68199" y="connsiteY68199"/>
              </a:cxn>
              <a:cxn ang="0">
                <a:pos x="connsiteX68200" y="connsiteY68200"/>
              </a:cxn>
              <a:cxn ang="0">
                <a:pos x="connsiteX68201" y="connsiteY68201"/>
              </a:cxn>
              <a:cxn ang="0">
                <a:pos x="connsiteX68202" y="connsiteY68202"/>
              </a:cxn>
              <a:cxn ang="0">
                <a:pos x="connsiteX68203" y="connsiteY68203"/>
              </a:cxn>
              <a:cxn ang="0">
                <a:pos x="connsiteX68204" y="connsiteY68204"/>
              </a:cxn>
              <a:cxn ang="0">
                <a:pos x="connsiteX68205" y="connsiteY68205"/>
              </a:cxn>
              <a:cxn ang="0">
                <a:pos x="connsiteX68206" y="connsiteY68206"/>
              </a:cxn>
              <a:cxn ang="0">
                <a:pos x="connsiteX68207" y="connsiteY68207"/>
              </a:cxn>
              <a:cxn ang="0">
                <a:pos x="connsiteX68208" y="connsiteY68208"/>
              </a:cxn>
              <a:cxn ang="0">
                <a:pos x="connsiteX68209" y="connsiteY68209"/>
              </a:cxn>
              <a:cxn ang="0">
                <a:pos x="connsiteX68210" y="connsiteY68210"/>
              </a:cxn>
              <a:cxn ang="0">
                <a:pos x="connsiteX68211" y="connsiteY68211"/>
              </a:cxn>
              <a:cxn ang="0">
                <a:pos x="connsiteX68212" y="connsiteY68212"/>
              </a:cxn>
              <a:cxn ang="0">
                <a:pos x="connsiteX68213" y="connsiteY68213"/>
              </a:cxn>
              <a:cxn ang="0">
                <a:pos x="connsiteX68214" y="connsiteY68214"/>
              </a:cxn>
              <a:cxn ang="0">
                <a:pos x="connsiteX68215" y="connsiteY68215"/>
              </a:cxn>
              <a:cxn ang="0">
                <a:pos x="connsiteX68216" y="connsiteY68216"/>
              </a:cxn>
              <a:cxn ang="0">
                <a:pos x="connsiteX68217" y="connsiteY68217"/>
              </a:cxn>
              <a:cxn ang="0">
                <a:pos x="connsiteX68218" y="connsiteY68218"/>
              </a:cxn>
              <a:cxn ang="0">
                <a:pos x="connsiteX68219" y="connsiteY68219"/>
              </a:cxn>
              <a:cxn ang="0">
                <a:pos x="connsiteX68220" y="connsiteY68220"/>
              </a:cxn>
              <a:cxn ang="0">
                <a:pos x="connsiteX68221" y="connsiteY68221"/>
              </a:cxn>
              <a:cxn ang="0">
                <a:pos x="connsiteX68222" y="connsiteY68222"/>
              </a:cxn>
              <a:cxn ang="0">
                <a:pos x="connsiteX68223" y="connsiteY68223"/>
              </a:cxn>
              <a:cxn ang="0">
                <a:pos x="connsiteX68224" y="connsiteY68224"/>
              </a:cxn>
              <a:cxn ang="0">
                <a:pos x="connsiteX68225" y="connsiteY68225"/>
              </a:cxn>
              <a:cxn ang="0">
                <a:pos x="connsiteX68226" y="connsiteY68226"/>
              </a:cxn>
              <a:cxn ang="0">
                <a:pos x="connsiteX68227" y="connsiteY68227"/>
              </a:cxn>
              <a:cxn ang="0">
                <a:pos x="connsiteX68228" y="connsiteY68228"/>
              </a:cxn>
              <a:cxn ang="0">
                <a:pos x="connsiteX68229" y="connsiteY68229"/>
              </a:cxn>
              <a:cxn ang="0">
                <a:pos x="connsiteX68230" y="connsiteY68230"/>
              </a:cxn>
              <a:cxn ang="0">
                <a:pos x="connsiteX68231" y="connsiteY68231"/>
              </a:cxn>
              <a:cxn ang="0">
                <a:pos x="connsiteX68232" y="connsiteY68232"/>
              </a:cxn>
              <a:cxn ang="0">
                <a:pos x="connsiteX68233" y="connsiteY68233"/>
              </a:cxn>
              <a:cxn ang="0">
                <a:pos x="connsiteX68234" y="connsiteY68234"/>
              </a:cxn>
              <a:cxn ang="0">
                <a:pos x="connsiteX68235" y="connsiteY68235"/>
              </a:cxn>
              <a:cxn ang="0">
                <a:pos x="connsiteX68236" y="connsiteY68236"/>
              </a:cxn>
              <a:cxn ang="0">
                <a:pos x="connsiteX68237" y="connsiteY68237"/>
              </a:cxn>
              <a:cxn ang="0">
                <a:pos x="connsiteX68238" y="connsiteY68238"/>
              </a:cxn>
              <a:cxn ang="0">
                <a:pos x="connsiteX68239" y="connsiteY68239"/>
              </a:cxn>
              <a:cxn ang="0">
                <a:pos x="connsiteX68240" y="connsiteY68240"/>
              </a:cxn>
              <a:cxn ang="0">
                <a:pos x="connsiteX68241" y="connsiteY68241"/>
              </a:cxn>
              <a:cxn ang="0">
                <a:pos x="connsiteX68242" y="connsiteY68242"/>
              </a:cxn>
              <a:cxn ang="0">
                <a:pos x="connsiteX68243" y="connsiteY68243"/>
              </a:cxn>
              <a:cxn ang="0">
                <a:pos x="connsiteX68244" y="connsiteY68244"/>
              </a:cxn>
              <a:cxn ang="0">
                <a:pos x="connsiteX68245" y="connsiteY68245"/>
              </a:cxn>
              <a:cxn ang="0">
                <a:pos x="connsiteX68246" y="connsiteY68246"/>
              </a:cxn>
              <a:cxn ang="0">
                <a:pos x="connsiteX68247" y="connsiteY68247"/>
              </a:cxn>
              <a:cxn ang="0">
                <a:pos x="connsiteX68248" y="connsiteY68248"/>
              </a:cxn>
              <a:cxn ang="0">
                <a:pos x="connsiteX68249" y="connsiteY68249"/>
              </a:cxn>
              <a:cxn ang="0">
                <a:pos x="connsiteX68250" y="connsiteY68250"/>
              </a:cxn>
              <a:cxn ang="0">
                <a:pos x="connsiteX68251" y="connsiteY68251"/>
              </a:cxn>
              <a:cxn ang="0">
                <a:pos x="connsiteX68252" y="connsiteY68252"/>
              </a:cxn>
              <a:cxn ang="0">
                <a:pos x="connsiteX68253" y="connsiteY68253"/>
              </a:cxn>
              <a:cxn ang="0">
                <a:pos x="connsiteX68254" y="connsiteY68254"/>
              </a:cxn>
              <a:cxn ang="0">
                <a:pos x="connsiteX68255" y="connsiteY68255"/>
              </a:cxn>
              <a:cxn ang="0">
                <a:pos x="connsiteX68256" y="connsiteY68256"/>
              </a:cxn>
              <a:cxn ang="0">
                <a:pos x="connsiteX68257" y="connsiteY68257"/>
              </a:cxn>
              <a:cxn ang="0">
                <a:pos x="connsiteX68258" y="connsiteY68258"/>
              </a:cxn>
              <a:cxn ang="0">
                <a:pos x="connsiteX68259" y="connsiteY68259"/>
              </a:cxn>
              <a:cxn ang="0">
                <a:pos x="connsiteX68260" y="connsiteY68260"/>
              </a:cxn>
              <a:cxn ang="0">
                <a:pos x="connsiteX68261" y="connsiteY68261"/>
              </a:cxn>
              <a:cxn ang="0">
                <a:pos x="connsiteX68262" y="connsiteY68262"/>
              </a:cxn>
              <a:cxn ang="0">
                <a:pos x="connsiteX68263" y="connsiteY68263"/>
              </a:cxn>
              <a:cxn ang="0">
                <a:pos x="connsiteX68264" y="connsiteY68264"/>
              </a:cxn>
              <a:cxn ang="0">
                <a:pos x="connsiteX68265" y="connsiteY68265"/>
              </a:cxn>
              <a:cxn ang="0">
                <a:pos x="connsiteX68266" y="connsiteY68266"/>
              </a:cxn>
              <a:cxn ang="0">
                <a:pos x="connsiteX68267" y="connsiteY68267"/>
              </a:cxn>
              <a:cxn ang="0">
                <a:pos x="connsiteX68268" y="connsiteY68268"/>
              </a:cxn>
              <a:cxn ang="0">
                <a:pos x="connsiteX68269" y="connsiteY68269"/>
              </a:cxn>
              <a:cxn ang="0">
                <a:pos x="connsiteX68270" y="connsiteY68270"/>
              </a:cxn>
              <a:cxn ang="0">
                <a:pos x="connsiteX68271" y="connsiteY68271"/>
              </a:cxn>
              <a:cxn ang="0">
                <a:pos x="connsiteX68272" y="connsiteY68272"/>
              </a:cxn>
              <a:cxn ang="0">
                <a:pos x="connsiteX68273" y="connsiteY68273"/>
              </a:cxn>
              <a:cxn ang="0">
                <a:pos x="connsiteX68274" y="connsiteY68274"/>
              </a:cxn>
              <a:cxn ang="0">
                <a:pos x="connsiteX68275" y="connsiteY68275"/>
              </a:cxn>
              <a:cxn ang="0">
                <a:pos x="connsiteX68276" y="connsiteY68276"/>
              </a:cxn>
              <a:cxn ang="0">
                <a:pos x="connsiteX68277" y="connsiteY68277"/>
              </a:cxn>
              <a:cxn ang="0">
                <a:pos x="connsiteX68278" y="connsiteY68278"/>
              </a:cxn>
              <a:cxn ang="0">
                <a:pos x="connsiteX68279" y="connsiteY68279"/>
              </a:cxn>
              <a:cxn ang="0">
                <a:pos x="connsiteX68280" y="connsiteY68280"/>
              </a:cxn>
              <a:cxn ang="0">
                <a:pos x="connsiteX68281" y="connsiteY68281"/>
              </a:cxn>
              <a:cxn ang="0">
                <a:pos x="connsiteX68282" y="connsiteY68282"/>
              </a:cxn>
              <a:cxn ang="0">
                <a:pos x="connsiteX68283" y="connsiteY68283"/>
              </a:cxn>
              <a:cxn ang="0">
                <a:pos x="connsiteX68284" y="connsiteY68284"/>
              </a:cxn>
              <a:cxn ang="0">
                <a:pos x="connsiteX68285" y="connsiteY68285"/>
              </a:cxn>
              <a:cxn ang="0">
                <a:pos x="connsiteX68286" y="connsiteY68286"/>
              </a:cxn>
              <a:cxn ang="0">
                <a:pos x="connsiteX68287" y="connsiteY68287"/>
              </a:cxn>
              <a:cxn ang="0">
                <a:pos x="connsiteX68288" y="connsiteY68288"/>
              </a:cxn>
              <a:cxn ang="0">
                <a:pos x="connsiteX68289" y="connsiteY68289"/>
              </a:cxn>
              <a:cxn ang="0">
                <a:pos x="connsiteX68290" y="connsiteY68290"/>
              </a:cxn>
              <a:cxn ang="0">
                <a:pos x="connsiteX68291" y="connsiteY68291"/>
              </a:cxn>
              <a:cxn ang="0">
                <a:pos x="connsiteX68292" y="connsiteY68292"/>
              </a:cxn>
              <a:cxn ang="0">
                <a:pos x="connsiteX68293" y="connsiteY68293"/>
              </a:cxn>
              <a:cxn ang="0">
                <a:pos x="connsiteX68294" y="connsiteY68294"/>
              </a:cxn>
              <a:cxn ang="0">
                <a:pos x="connsiteX68295" y="connsiteY68295"/>
              </a:cxn>
              <a:cxn ang="0">
                <a:pos x="connsiteX68296" y="connsiteY68296"/>
              </a:cxn>
              <a:cxn ang="0">
                <a:pos x="connsiteX68297" y="connsiteY68297"/>
              </a:cxn>
              <a:cxn ang="0">
                <a:pos x="connsiteX68298" y="connsiteY68298"/>
              </a:cxn>
              <a:cxn ang="0">
                <a:pos x="connsiteX68299" y="connsiteY68299"/>
              </a:cxn>
              <a:cxn ang="0">
                <a:pos x="connsiteX68300" y="connsiteY68300"/>
              </a:cxn>
              <a:cxn ang="0">
                <a:pos x="connsiteX68301" y="connsiteY68301"/>
              </a:cxn>
              <a:cxn ang="0">
                <a:pos x="connsiteX68302" y="connsiteY68302"/>
              </a:cxn>
              <a:cxn ang="0">
                <a:pos x="connsiteX68303" y="connsiteY68303"/>
              </a:cxn>
              <a:cxn ang="0">
                <a:pos x="connsiteX68304" y="connsiteY68304"/>
              </a:cxn>
              <a:cxn ang="0">
                <a:pos x="connsiteX68305" y="connsiteY68305"/>
              </a:cxn>
              <a:cxn ang="0">
                <a:pos x="connsiteX68306" y="connsiteY68306"/>
              </a:cxn>
              <a:cxn ang="0">
                <a:pos x="connsiteX68307" y="connsiteY68307"/>
              </a:cxn>
              <a:cxn ang="0">
                <a:pos x="connsiteX68308" y="connsiteY68308"/>
              </a:cxn>
              <a:cxn ang="0">
                <a:pos x="connsiteX68309" y="connsiteY68309"/>
              </a:cxn>
              <a:cxn ang="0">
                <a:pos x="connsiteX68310" y="connsiteY68310"/>
              </a:cxn>
              <a:cxn ang="0">
                <a:pos x="connsiteX68311" y="connsiteY68311"/>
              </a:cxn>
              <a:cxn ang="0">
                <a:pos x="connsiteX68312" y="connsiteY68312"/>
              </a:cxn>
              <a:cxn ang="0">
                <a:pos x="connsiteX68313" y="connsiteY68313"/>
              </a:cxn>
              <a:cxn ang="0">
                <a:pos x="connsiteX68314" y="connsiteY68314"/>
              </a:cxn>
              <a:cxn ang="0">
                <a:pos x="connsiteX68315" y="connsiteY68315"/>
              </a:cxn>
              <a:cxn ang="0">
                <a:pos x="connsiteX68316" y="connsiteY68316"/>
              </a:cxn>
              <a:cxn ang="0">
                <a:pos x="connsiteX68317" y="connsiteY68317"/>
              </a:cxn>
              <a:cxn ang="0">
                <a:pos x="connsiteX68318" y="connsiteY68318"/>
              </a:cxn>
              <a:cxn ang="0">
                <a:pos x="connsiteX68319" y="connsiteY68319"/>
              </a:cxn>
              <a:cxn ang="0">
                <a:pos x="connsiteX68320" y="connsiteY68320"/>
              </a:cxn>
              <a:cxn ang="0">
                <a:pos x="connsiteX68321" y="connsiteY68321"/>
              </a:cxn>
              <a:cxn ang="0">
                <a:pos x="connsiteX68322" y="connsiteY68322"/>
              </a:cxn>
              <a:cxn ang="0">
                <a:pos x="connsiteX68323" y="connsiteY68323"/>
              </a:cxn>
              <a:cxn ang="0">
                <a:pos x="connsiteX68324" y="connsiteY68324"/>
              </a:cxn>
              <a:cxn ang="0">
                <a:pos x="connsiteX68325" y="connsiteY68325"/>
              </a:cxn>
              <a:cxn ang="0">
                <a:pos x="connsiteX68326" y="connsiteY68326"/>
              </a:cxn>
              <a:cxn ang="0">
                <a:pos x="connsiteX68327" y="connsiteY68327"/>
              </a:cxn>
              <a:cxn ang="0">
                <a:pos x="connsiteX68328" y="connsiteY68328"/>
              </a:cxn>
              <a:cxn ang="0">
                <a:pos x="connsiteX68329" y="connsiteY68329"/>
              </a:cxn>
              <a:cxn ang="0">
                <a:pos x="connsiteX68330" y="connsiteY68330"/>
              </a:cxn>
              <a:cxn ang="0">
                <a:pos x="connsiteX68331" y="connsiteY68331"/>
              </a:cxn>
              <a:cxn ang="0">
                <a:pos x="connsiteX68332" y="connsiteY68332"/>
              </a:cxn>
              <a:cxn ang="0">
                <a:pos x="connsiteX68333" y="connsiteY68333"/>
              </a:cxn>
              <a:cxn ang="0">
                <a:pos x="connsiteX68334" y="connsiteY68334"/>
              </a:cxn>
              <a:cxn ang="0">
                <a:pos x="connsiteX68335" y="connsiteY68335"/>
              </a:cxn>
              <a:cxn ang="0">
                <a:pos x="connsiteX68336" y="connsiteY68336"/>
              </a:cxn>
              <a:cxn ang="0">
                <a:pos x="connsiteX68337" y="connsiteY68337"/>
              </a:cxn>
              <a:cxn ang="0">
                <a:pos x="connsiteX68338" y="connsiteY68338"/>
              </a:cxn>
              <a:cxn ang="0">
                <a:pos x="connsiteX68339" y="connsiteY68339"/>
              </a:cxn>
              <a:cxn ang="0">
                <a:pos x="connsiteX68340" y="connsiteY68340"/>
              </a:cxn>
              <a:cxn ang="0">
                <a:pos x="connsiteX68341" y="connsiteY68341"/>
              </a:cxn>
              <a:cxn ang="0">
                <a:pos x="connsiteX68342" y="connsiteY68342"/>
              </a:cxn>
              <a:cxn ang="0">
                <a:pos x="connsiteX68343" y="connsiteY68343"/>
              </a:cxn>
              <a:cxn ang="0">
                <a:pos x="connsiteX68344" y="connsiteY68344"/>
              </a:cxn>
              <a:cxn ang="0">
                <a:pos x="connsiteX68345" y="connsiteY68345"/>
              </a:cxn>
              <a:cxn ang="0">
                <a:pos x="connsiteX68346" y="connsiteY68346"/>
              </a:cxn>
              <a:cxn ang="0">
                <a:pos x="connsiteX68347" y="connsiteY68347"/>
              </a:cxn>
              <a:cxn ang="0">
                <a:pos x="connsiteX68348" y="connsiteY68348"/>
              </a:cxn>
              <a:cxn ang="0">
                <a:pos x="connsiteX68349" y="connsiteY68349"/>
              </a:cxn>
              <a:cxn ang="0">
                <a:pos x="connsiteX68350" y="connsiteY68350"/>
              </a:cxn>
              <a:cxn ang="0">
                <a:pos x="connsiteX68351" y="connsiteY68351"/>
              </a:cxn>
              <a:cxn ang="0">
                <a:pos x="connsiteX68352" y="connsiteY68352"/>
              </a:cxn>
              <a:cxn ang="0">
                <a:pos x="connsiteX68353" y="connsiteY68353"/>
              </a:cxn>
              <a:cxn ang="0">
                <a:pos x="connsiteX68354" y="connsiteY68354"/>
              </a:cxn>
              <a:cxn ang="0">
                <a:pos x="connsiteX68355" y="connsiteY68355"/>
              </a:cxn>
              <a:cxn ang="0">
                <a:pos x="connsiteX68356" y="connsiteY68356"/>
              </a:cxn>
              <a:cxn ang="0">
                <a:pos x="connsiteX68357" y="connsiteY68357"/>
              </a:cxn>
              <a:cxn ang="0">
                <a:pos x="connsiteX68358" y="connsiteY68358"/>
              </a:cxn>
              <a:cxn ang="0">
                <a:pos x="connsiteX68359" y="connsiteY68359"/>
              </a:cxn>
              <a:cxn ang="0">
                <a:pos x="connsiteX68360" y="connsiteY68360"/>
              </a:cxn>
              <a:cxn ang="0">
                <a:pos x="connsiteX68361" y="connsiteY68361"/>
              </a:cxn>
              <a:cxn ang="0">
                <a:pos x="connsiteX68362" y="connsiteY68362"/>
              </a:cxn>
              <a:cxn ang="0">
                <a:pos x="connsiteX68363" y="connsiteY68363"/>
              </a:cxn>
              <a:cxn ang="0">
                <a:pos x="connsiteX68364" y="connsiteY68364"/>
              </a:cxn>
              <a:cxn ang="0">
                <a:pos x="connsiteX68365" y="connsiteY68365"/>
              </a:cxn>
              <a:cxn ang="0">
                <a:pos x="connsiteX68366" y="connsiteY68366"/>
              </a:cxn>
              <a:cxn ang="0">
                <a:pos x="connsiteX68367" y="connsiteY68367"/>
              </a:cxn>
              <a:cxn ang="0">
                <a:pos x="connsiteX68368" y="connsiteY68368"/>
              </a:cxn>
              <a:cxn ang="0">
                <a:pos x="connsiteX68369" y="connsiteY68369"/>
              </a:cxn>
              <a:cxn ang="0">
                <a:pos x="connsiteX68370" y="connsiteY68370"/>
              </a:cxn>
              <a:cxn ang="0">
                <a:pos x="connsiteX68371" y="connsiteY68371"/>
              </a:cxn>
              <a:cxn ang="0">
                <a:pos x="connsiteX68372" y="connsiteY68372"/>
              </a:cxn>
              <a:cxn ang="0">
                <a:pos x="connsiteX68373" y="connsiteY68373"/>
              </a:cxn>
              <a:cxn ang="0">
                <a:pos x="connsiteX68374" y="connsiteY68374"/>
              </a:cxn>
              <a:cxn ang="0">
                <a:pos x="connsiteX68375" y="connsiteY68375"/>
              </a:cxn>
              <a:cxn ang="0">
                <a:pos x="connsiteX68376" y="connsiteY68376"/>
              </a:cxn>
              <a:cxn ang="0">
                <a:pos x="connsiteX68377" y="connsiteY68377"/>
              </a:cxn>
              <a:cxn ang="0">
                <a:pos x="connsiteX68378" y="connsiteY68378"/>
              </a:cxn>
              <a:cxn ang="0">
                <a:pos x="connsiteX68379" y="connsiteY68379"/>
              </a:cxn>
              <a:cxn ang="0">
                <a:pos x="connsiteX68380" y="connsiteY68380"/>
              </a:cxn>
              <a:cxn ang="0">
                <a:pos x="connsiteX68381" y="connsiteY68381"/>
              </a:cxn>
              <a:cxn ang="0">
                <a:pos x="connsiteX68382" y="connsiteY68382"/>
              </a:cxn>
              <a:cxn ang="0">
                <a:pos x="connsiteX68383" y="connsiteY68383"/>
              </a:cxn>
              <a:cxn ang="0">
                <a:pos x="connsiteX68384" y="connsiteY68384"/>
              </a:cxn>
              <a:cxn ang="0">
                <a:pos x="connsiteX68385" y="connsiteY68385"/>
              </a:cxn>
              <a:cxn ang="0">
                <a:pos x="connsiteX68386" y="connsiteY68386"/>
              </a:cxn>
              <a:cxn ang="0">
                <a:pos x="connsiteX68387" y="connsiteY68387"/>
              </a:cxn>
              <a:cxn ang="0">
                <a:pos x="connsiteX68388" y="connsiteY68388"/>
              </a:cxn>
              <a:cxn ang="0">
                <a:pos x="connsiteX68389" y="connsiteY68389"/>
              </a:cxn>
              <a:cxn ang="0">
                <a:pos x="connsiteX68390" y="connsiteY68390"/>
              </a:cxn>
              <a:cxn ang="0">
                <a:pos x="connsiteX68391" y="connsiteY68391"/>
              </a:cxn>
              <a:cxn ang="0">
                <a:pos x="connsiteX68392" y="connsiteY68392"/>
              </a:cxn>
              <a:cxn ang="0">
                <a:pos x="connsiteX68393" y="connsiteY68393"/>
              </a:cxn>
              <a:cxn ang="0">
                <a:pos x="connsiteX68394" y="connsiteY68394"/>
              </a:cxn>
              <a:cxn ang="0">
                <a:pos x="connsiteX68395" y="connsiteY68395"/>
              </a:cxn>
              <a:cxn ang="0">
                <a:pos x="connsiteX68396" y="connsiteY68396"/>
              </a:cxn>
              <a:cxn ang="0">
                <a:pos x="connsiteX68397" y="connsiteY68397"/>
              </a:cxn>
              <a:cxn ang="0">
                <a:pos x="connsiteX68398" y="connsiteY68398"/>
              </a:cxn>
              <a:cxn ang="0">
                <a:pos x="connsiteX68399" y="connsiteY68399"/>
              </a:cxn>
              <a:cxn ang="0">
                <a:pos x="connsiteX68400" y="connsiteY68400"/>
              </a:cxn>
              <a:cxn ang="0">
                <a:pos x="connsiteX68401" y="connsiteY68401"/>
              </a:cxn>
              <a:cxn ang="0">
                <a:pos x="connsiteX68402" y="connsiteY68402"/>
              </a:cxn>
              <a:cxn ang="0">
                <a:pos x="connsiteX68403" y="connsiteY68403"/>
              </a:cxn>
              <a:cxn ang="0">
                <a:pos x="connsiteX68404" y="connsiteY68404"/>
              </a:cxn>
              <a:cxn ang="0">
                <a:pos x="connsiteX68405" y="connsiteY68405"/>
              </a:cxn>
              <a:cxn ang="0">
                <a:pos x="connsiteX68406" y="connsiteY68406"/>
              </a:cxn>
              <a:cxn ang="0">
                <a:pos x="connsiteX68407" y="connsiteY68407"/>
              </a:cxn>
              <a:cxn ang="0">
                <a:pos x="connsiteX68408" y="connsiteY68408"/>
              </a:cxn>
              <a:cxn ang="0">
                <a:pos x="connsiteX68409" y="connsiteY68409"/>
              </a:cxn>
              <a:cxn ang="0">
                <a:pos x="connsiteX68410" y="connsiteY68410"/>
              </a:cxn>
              <a:cxn ang="0">
                <a:pos x="connsiteX68411" y="connsiteY68411"/>
              </a:cxn>
              <a:cxn ang="0">
                <a:pos x="connsiteX68412" y="connsiteY68412"/>
              </a:cxn>
              <a:cxn ang="0">
                <a:pos x="connsiteX68413" y="connsiteY68413"/>
              </a:cxn>
              <a:cxn ang="0">
                <a:pos x="connsiteX68414" y="connsiteY68414"/>
              </a:cxn>
              <a:cxn ang="0">
                <a:pos x="connsiteX68415" y="connsiteY68415"/>
              </a:cxn>
              <a:cxn ang="0">
                <a:pos x="connsiteX68416" y="connsiteY68416"/>
              </a:cxn>
              <a:cxn ang="0">
                <a:pos x="connsiteX68417" y="connsiteY68417"/>
              </a:cxn>
              <a:cxn ang="0">
                <a:pos x="connsiteX68418" y="connsiteY68418"/>
              </a:cxn>
              <a:cxn ang="0">
                <a:pos x="connsiteX68419" y="connsiteY68419"/>
              </a:cxn>
              <a:cxn ang="0">
                <a:pos x="connsiteX68420" y="connsiteY68420"/>
              </a:cxn>
              <a:cxn ang="0">
                <a:pos x="connsiteX68421" y="connsiteY68421"/>
              </a:cxn>
              <a:cxn ang="0">
                <a:pos x="connsiteX68422" y="connsiteY68422"/>
              </a:cxn>
              <a:cxn ang="0">
                <a:pos x="connsiteX68423" y="connsiteY68423"/>
              </a:cxn>
              <a:cxn ang="0">
                <a:pos x="connsiteX68424" y="connsiteY68424"/>
              </a:cxn>
              <a:cxn ang="0">
                <a:pos x="connsiteX68425" y="connsiteY68425"/>
              </a:cxn>
              <a:cxn ang="0">
                <a:pos x="connsiteX68426" y="connsiteY68426"/>
              </a:cxn>
              <a:cxn ang="0">
                <a:pos x="connsiteX68427" y="connsiteY68427"/>
              </a:cxn>
              <a:cxn ang="0">
                <a:pos x="connsiteX68428" y="connsiteY68428"/>
              </a:cxn>
              <a:cxn ang="0">
                <a:pos x="connsiteX68429" y="connsiteY68429"/>
              </a:cxn>
              <a:cxn ang="0">
                <a:pos x="connsiteX68430" y="connsiteY68430"/>
              </a:cxn>
              <a:cxn ang="0">
                <a:pos x="connsiteX68431" y="connsiteY68431"/>
              </a:cxn>
              <a:cxn ang="0">
                <a:pos x="connsiteX68432" y="connsiteY68432"/>
              </a:cxn>
              <a:cxn ang="0">
                <a:pos x="connsiteX68433" y="connsiteY68433"/>
              </a:cxn>
              <a:cxn ang="0">
                <a:pos x="connsiteX68434" y="connsiteY68434"/>
              </a:cxn>
              <a:cxn ang="0">
                <a:pos x="connsiteX68435" y="connsiteY68435"/>
              </a:cxn>
              <a:cxn ang="0">
                <a:pos x="connsiteX68436" y="connsiteY68436"/>
              </a:cxn>
              <a:cxn ang="0">
                <a:pos x="connsiteX68437" y="connsiteY68437"/>
              </a:cxn>
              <a:cxn ang="0">
                <a:pos x="connsiteX68438" y="connsiteY68438"/>
              </a:cxn>
              <a:cxn ang="0">
                <a:pos x="connsiteX68439" y="connsiteY68439"/>
              </a:cxn>
              <a:cxn ang="0">
                <a:pos x="connsiteX68440" y="connsiteY68440"/>
              </a:cxn>
              <a:cxn ang="0">
                <a:pos x="connsiteX68441" y="connsiteY68441"/>
              </a:cxn>
              <a:cxn ang="0">
                <a:pos x="connsiteX68442" y="connsiteY68442"/>
              </a:cxn>
              <a:cxn ang="0">
                <a:pos x="connsiteX68443" y="connsiteY68443"/>
              </a:cxn>
              <a:cxn ang="0">
                <a:pos x="connsiteX68444" y="connsiteY68444"/>
              </a:cxn>
              <a:cxn ang="0">
                <a:pos x="connsiteX68445" y="connsiteY68445"/>
              </a:cxn>
              <a:cxn ang="0">
                <a:pos x="connsiteX68446" y="connsiteY68446"/>
              </a:cxn>
              <a:cxn ang="0">
                <a:pos x="connsiteX68447" y="connsiteY68447"/>
              </a:cxn>
              <a:cxn ang="0">
                <a:pos x="connsiteX68448" y="connsiteY68448"/>
              </a:cxn>
              <a:cxn ang="0">
                <a:pos x="connsiteX68449" y="connsiteY68449"/>
              </a:cxn>
              <a:cxn ang="0">
                <a:pos x="connsiteX68450" y="connsiteY68450"/>
              </a:cxn>
              <a:cxn ang="0">
                <a:pos x="connsiteX68451" y="connsiteY68451"/>
              </a:cxn>
              <a:cxn ang="0">
                <a:pos x="connsiteX68452" y="connsiteY68452"/>
              </a:cxn>
              <a:cxn ang="0">
                <a:pos x="connsiteX68453" y="connsiteY68453"/>
              </a:cxn>
              <a:cxn ang="0">
                <a:pos x="connsiteX68454" y="connsiteY68454"/>
              </a:cxn>
              <a:cxn ang="0">
                <a:pos x="connsiteX68455" y="connsiteY68455"/>
              </a:cxn>
              <a:cxn ang="0">
                <a:pos x="connsiteX68456" y="connsiteY68456"/>
              </a:cxn>
              <a:cxn ang="0">
                <a:pos x="connsiteX68457" y="connsiteY68457"/>
              </a:cxn>
              <a:cxn ang="0">
                <a:pos x="connsiteX68458" y="connsiteY68458"/>
              </a:cxn>
              <a:cxn ang="0">
                <a:pos x="connsiteX68459" y="connsiteY68459"/>
              </a:cxn>
              <a:cxn ang="0">
                <a:pos x="connsiteX68460" y="connsiteY68460"/>
              </a:cxn>
              <a:cxn ang="0">
                <a:pos x="connsiteX68461" y="connsiteY68461"/>
              </a:cxn>
              <a:cxn ang="0">
                <a:pos x="connsiteX68462" y="connsiteY68462"/>
              </a:cxn>
              <a:cxn ang="0">
                <a:pos x="connsiteX68463" y="connsiteY68463"/>
              </a:cxn>
              <a:cxn ang="0">
                <a:pos x="connsiteX68464" y="connsiteY68464"/>
              </a:cxn>
              <a:cxn ang="0">
                <a:pos x="connsiteX68465" y="connsiteY68465"/>
              </a:cxn>
              <a:cxn ang="0">
                <a:pos x="connsiteX68466" y="connsiteY68466"/>
              </a:cxn>
              <a:cxn ang="0">
                <a:pos x="connsiteX68467" y="connsiteY68467"/>
              </a:cxn>
              <a:cxn ang="0">
                <a:pos x="connsiteX68468" y="connsiteY68468"/>
              </a:cxn>
              <a:cxn ang="0">
                <a:pos x="connsiteX68469" y="connsiteY68469"/>
              </a:cxn>
              <a:cxn ang="0">
                <a:pos x="connsiteX68470" y="connsiteY68470"/>
              </a:cxn>
              <a:cxn ang="0">
                <a:pos x="connsiteX68471" y="connsiteY68471"/>
              </a:cxn>
              <a:cxn ang="0">
                <a:pos x="connsiteX68472" y="connsiteY68472"/>
              </a:cxn>
              <a:cxn ang="0">
                <a:pos x="connsiteX68473" y="connsiteY68473"/>
              </a:cxn>
              <a:cxn ang="0">
                <a:pos x="connsiteX68474" y="connsiteY68474"/>
              </a:cxn>
              <a:cxn ang="0">
                <a:pos x="connsiteX68475" y="connsiteY68475"/>
              </a:cxn>
              <a:cxn ang="0">
                <a:pos x="connsiteX68476" y="connsiteY68476"/>
              </a:cxn>
              <a:cxn ang="0">
                <a:pos x="connsiteX68477" y="connsiteY68477"/>
              </a:cxn>
              <a:cxn ang="0">
                <a:pos x="connsiteX68478" y="connsiteY68478"/>
              </a:cxn>
              <a:cxn ang="0">
                <a:pos x="connsiteX68479" y="connsiteY68479"/>
              </a:cxn>
              <a:cxn ang="0">
                <a:pos x="connsiteX68480" y="connsiteY68480"/>
              </a:cxn>
              <a:cxn ang="0">
                <a:pos x="connsiteX68481" y="connsiteY68481"/>
              </a:cxn>
              <a:cxn ang="0">
                <a:pos x="connsiteX68482" y="connsiteY68482"/>
              </a:cxn>
              <a:cxn ang="0">
                <a:pos x="connsiteX68483" y="connsiteY68483"/>
              </a:cxn>
              <a:cxn ang="0">
                <a:pos x="connsiteX68484" y="connsiteY68484"/>
              </a:cxn>
              <a:cxn ang="0">
                <a:pos x="connsiteX68485" y="connsiteY68485"/>
              </a:cxn>
              <a:cxn ang="0">
                <a:pos x="connsiteX68486" y="connsiteY68486"/>
              </a:cxn>
              <a:cxn ang="0">
                <a:pos x="connsiteX68487" y="connsiteY68487"/>
              </a:cxn>
              <a:cxn ang="0">
                <a:pos x="connsiteX68488" y="connsiteY68488"/>
              </a:cxn>
              <a:cxn ang="0">
                <a:pos x="connsiteX68489" y="connsiteY68489"/>
              </a:cxn>
              <a:cxn ang="0">
                <a:pos x="connsiteX68490" y="connsiteY68490"/>
              </a:cxn>
              <a:cxn ang="0">
                <a:pos x="connsiteX68491" y="connsiteY68491"/>
              </a:cxn>
              <a:cxn ang="0">
                <a:pos x="connsiteX68492" y="connsiteY68492"/>
              </a:cxn>
              <a:cxn ang="0">
                <a:pos x="connsiteX68493" y="connsiteY68493"/>
              </a:cxn>
              <a:cxn ang="0">
                <a:pos x="connsiteX68494" y="connsiteY68494"/>
              </a:cxn>
              <a:cxn ang="0">
                <a:pos x="connsiteX68495" y="connsiteY68495"/>
              </a:cxn>
              <a:cxn ang="0">
                <a:pos x="connsiteX68496" y="connsiteY68496"/>
              </a:cxn>
              <a:cxn ang="0">
                <a:pos x="connsiteX68497" y="connsiteY68497"/>
              </a:cxn>
              <a:cxn ang="0">
                <a:pos x="connsiteX68498" y="connsiteY68498"/>
              </a:cxn>
              <a:cxn ang="0">
                <a:pos x="connsiteX68499" y="connsiteY68499"/>
              </a:cxn>
              <a:cxn ang="0">
                <a:pos x="connsiteX68500" y="connsiteY68500"/>
              </a:cxn>
              <a:cxn ang="0">
                <a:pos x="connsiteX68501" y="connsiteY68501"/>
              </a:cxn>
              <a:cxn ang="0">
                <a:pos x="connsiteX68502" y="connsiteY68502"/>
              </a:cxn>
              <a:cxn ang="0">
                <a:pos x="connsiteX68503" y="connsiteY68503"/>
              </a:cxn>
              <a:cxn ang="0">
                <a:pos x="connsiteX68504" y="connsiteY68504"/>
              </a:cxn>
              <a:cxn ang="0">
                <a:pos x="connsiteX68505" y="connsiteY68505"/>
              </a:cxn>
              <a:cxn ang="0">
                <a:pos x="connsiteX68506" y="connsiteY68506"/>
              </a:cxn>
              <a:cxn ang="0">
                <a:pos x="connsiteX68507" y="connsiteY68507"/>
              </a:cxn>
              <a:cxn ang="0">
                <a:pos x="connsiteX68508" y="connsiteY68508"/>
              </a:cxn>
              <a:cxn ang="0">
                <a:pos x="connsiteX68509" y="connsiteY68509"/>
              </a:cxn>
              <a:cxn ang="0">
                <a:pos x="connsiteX68510" y="connsiteY68510"/>
              </a:cxn>
              <a:cxn ang="0">
                <a:pos x="connsiteX68511" y="connsiteY68511"/>
              </a:cxn>
              <a:cxn ang="0">
                <a:pos x="connsiteX68512" y="connsiteY68512"/>
              </a:cxn>
              <a:cxn ang="0">
                <a:pos x="connsiteX68513" y="connsiteY68513"/>
              </a:cxn>
              <a:cxn ang="0">
                <a:pos x="connsiteX68514" y="connsiteY68514"/>
              </a:cxn>
              <a:cxn ang="0">
                <a:pos x="connsiteX68515" y="connsiteY68515"/>
              </a:cxn>
              <a:cxn ang="0">
                <a:pos x="connsiteX68516" y="connsiteY68516"/>
              </a:cxn>
              <a:cxn ang="0">
                <a:pos x="connsiteX68517" y="connsiteY68517"/>
              </a:cxn>
              <a:cxn ang="0">
                <a:pos x="connsiteX68518" y="connsiteY68518"/>
              </a:cxn>
              <a:cxn ang="0">
                <a:pos x="connsiteX68519" y="connsiteY68519"/>
              </a:cxn>
              <a:cxn ang="0">
                <a:pos x="connsiteX68520" y="connsiteY68520"/>
              </a:cxn>
              <a:cxn ang="0">
                <a:pos x="connsiteX68521" y="connsiteY68521"/>
              </a:cxn>
              <a:cxn ang="0">
                <a:pos x="connsiteX68522" y="connsiteY68522"/>
              </a:cxn>
              <a:cxn ang="0">
                <a:pos x="connsiteX68523" y="connsiteY68523"/>
              </a:cxn>
              <a:cxn ang="0">
                <a:pos x="connsiteX68524" y="connsiteY68524"/>
              </a:cxn>
              <a:cxn ang="0">
                <a:pos x="connsiteX68525" y="connsiteY68525"/>
              </a:cxn>
              <a:cxn ang="0">
                <a:pos x="connsiteX68526" y="connsiteY68526"/>
              </a:cxn>
              <a:cxn ang="0">
                <a:pos x="connsiteX68527" y="connsiteY68527"/>
              </a:cxn>
              <a:cxn ang="0">
                <a:pos x="connsiteX68528" y="connsiteY68528"/>
              </a:cxn>
              <a:cxn ang="0">
                <a:pos x="connsiteX68529" y="connsiteY68529"/>
              </a:cxn>
              <a:cxn ang="0">
                <a:pos x="connsiteX68530" y="connsiteY68530"/>
              </a:cxn>
              <a:cxn ang="0">
                <a:pos x="connsiteX68531" y="connsiteY68531"/>
              </a:cxn>
              <a:cxn ang="0">
                <a:pos x="connsiteX68532" y="connsiteY68532"/>
              </a:cxn>
              <a:cxn ang="0">
                <a:pos x="connsiteX68533" y="connsiteY68533"/>
              </a:cxn>
              <a:cxn ang="0">
                <a:pos x="connsiteX68534" y="connsiteY68534"/>
              </a:cxn>
              <a:cxn ang="0">
                <a:pos x="connsiteX68535" y="connsiteY68535"/>
              </a:cxn>
              <a:cxn ang="0">
                <a:pos x="connsiteX68536" y="connsiteY68536"/>
              </a:cxn>
              <a:cxn ang="0">
                <a:pos x="connsiteX68537" y="connsiteY68537"/>
              </a:cxn>
              <a:cxn ang="0">
                <a:pos x="connsiteX68538" y="connsiteY68538"/>
              </a:cxn>
              <a:cxn ang="0">
                <a:pos x="connsiteX68539" y="connsiteY68539"/>
              </a:cxn>
              <a:cxn ang="0">
                <a:pos x="connsiteX68540" y="connsiteY68540"/>
              </a:cxn>
              <a:cxn ang="0">
                <a:pos x="connsiteX68541" y="connsiteY68541"/>
              </a:cxn>
              <a:cxn ang="0">
                <a:pos x="connsiteX68542" y="connsiteY68542"/>
              </a:cxn>
              <a:cxn ang="0">
                <a:pos x="connsiteX68543" y="connsiteY68543"/>
              </a:cxn>
              <a:cxn ang="0">
                <a:pos x="connsiteX68544" y="connsiteY68544"/>
              </a:cxn>
              <a:cxn ang="0">
                <a:pos x="connsiteX68545" y="connsiteY68545"/>
              </a:cxn>
              <a:cxn ang="0">
                <a:pos x="connsiteX68546" y="connsiteY68546"/>
              </a:cxn>
              <a:cxn ang="0">
                <a:pos x="connsiteX68547" y="connsiteY68547"/>
              </a:cxn>
              <a:cxn ang="0">
                <a:pos x="connsiteX68548" y="connsiteY68548"/>
              </a:cxn>
              <a:cxn ang="0">
                <a:pos x="connsiteX68549" y="connsiteY68549"/>
              </a:cxn>
              <a:cxn ang="0">
                <a:pos x="connsiteX68550" y="connsiteY68550"/>
              </a:cxn>
              <a:cxn ang="0">
                <a:pos x="connsiteX68551" y="connsiteY68551"/>
              </a:cxn>
              <a:cxn ang="0">
                <a:pos x="connsiteX68552" y="connsiteY68552"/>
              </a:cxn>
              <a:cxn ang="0">
                <a:pos x="connsiteX68553" y="connsiteY68553"/>
              </a:cxn>
              <a:cxn ang="0">
                <a:pos x="connsiteX68554" y="connsiteY68554"/>
              </a:cxn>
              <a:cxn ang="0">
                <a:pos x="connsiteX68555" y="connsiteY68555"/>
              </a:cxn>
              <a:cxn ang="0">
                <a:pos x="connsiteX68556" y="connsiteY68556"/>
              </a:cxn>
              <a:cxn ang="0">
                <a:pos x="connsiteX68557" y="connsiteY68557"/>
              </a:cxn>
              <a:cxn ang="0">
                <a:pos x="connsiteX68558" y="connsiteY68558"/>
              </a:cxn>
              <a:cxn ang="0">
                <a:pos x="connsiteX68559" y="connsiteY68559"/>
              </a:cxn>
              <a:cxn ang="0">
                <a:pos x="connsiteX68560" y="connsiteY68560"/>
              </a:cxn>
              <a:cxn ang="0">
                <a:pos x="connsiteX68561" y="connsiteY68561"/>
              </a:cxn>
              <a:cxn ang="0">
                <a:pos x="connsiteX68562" y="connsiteY68562"/>
              </a:cxn>
              <a:cxn ang="0">
                <a:pos x="connsiteX68563" y="connsiteY68563"/>
              </a:cxn>
              <a:cxn ang="0">
                <a:pos x="connsiteX68564" y="connsiteY68564"/>
              </a:cxn>
              <a:cxn ang="0">
                <a:pos x="connsiteX68565" y="connsiteY68565"/>
              </a:cxn>
              <a:cxn ang="0">
                <a:pos x="connsiteX68566" y="connsiteY68566"/>
              </a:cxn>
              <a:cxn ang="0">
                <a:pos x="connsiteX68567" y="connsiteY68567"/>
              </a:cxn>
              <a:cxn ang="0">
                <a:pos x="connsiteX68568" y="connsiteY68568"/>
              </a:cxn>
              <a:cxn ang="0">
                <a:pos x="connsiteX68569" y="connsiteY68569"/>
              </a:cxn>
              <a:cxn ang="0">
                <a:pos x="connsiteX68570" y="connsiteY68570"/>
              </a:cxn>
              <a:cxn ang="0">
                <a:pos x="connsiteX68571" y="connsiteY68571"/>
              </a:cxn>
              <a:cxn ang="0">
                <a:pos x="connsiteX68572" y="connsiteY68572"/>
              </a:cxn>
              <a:cxn ang="0">
                <a:pos x="connsiteX68573" y="connsiteY68573"/>
              </a:cxn>
              <a:cxn ang="0">
                <a:pos x="connsiteX68574" y="connsiteY68574"/>
              </a:cxn>
              <a:cxn ang="0">
                <a:pos x="connsiteX68575" y="connsiteY68575"/>
              </a:cxn>
              <a:cxn ang="0">
                <a:pos x="connsiteX68576" y="connsiteY68576"/>
              </a:cxn>
              <a:cxn ang="0">
                <a:pos x="connsiteX68577" y="connsiteY68577"/>
              </a:cxn>
              <a:cxn ang="0">
                <a:pos x="connsiteX68578" y="connsiteY68578"/>
              </a:cxn>
              <a:cxn ang="0">
                <a:pos x="connsiteX68579" y="connsiteY68579"/>
              </a:cxn>
              <a:cxn ang="0">
                <a:pos x="connsiteX68580" y="connsiteY68580"/>
              </a:cxn>
              <a:cxn ang="0">
                <a:pos x="connsiteX68581" y="connsiteY68581"/>
              </a:cxn>
              <a:cxn ang="0">
                <a:pos x="connsiteX68582" y="connsiteY68582"/>
              </a:cxn>
              <a:cxn ang="0">
                <a:pos x="connsiteX68583" y="connsiteY68583"/>
              </a:cxn>
              <a:cxn ang="0">
                <a:pos x="connsiteX68584" y="connsiteY68584"/>
              </a:cxn>
              <a:cxn ang="0">
                <a:pos x="connsiteX68585" y="connsiteY68585"/>
              </a:cxn>
              <a:cxn ang="0">
                <a:pos x="connsiteX68586" y="connsiteY68586"/>
              </a:cxn>
              <a:cxn ang="0">
                <a:pos x="connsiteX68587" y="connsiteY68587"/>
              </a:cxn>
              <a:cxn ang="0">
                <a:pos x="connsiteX68588" y="connsiteY68588"/>
              </a:cxn>
              <a:cxn ang="0">
                <a:pos x="connsiteX68589" y="connsiteY68589"/>
              </a:cxn>
              <a:cxn ang="0">
                <a:pos x="connsiteX68590" y="connsiteY68590"/>
              </a:cxn>
              <a:cxn ang="0">
                <a:pos x="connsiteX68591" y="connsiteY68591"/>
              </a:cxn>
              <a:cxn ang="0">
                <a:pos x="connsiteX68592" y="connsiteY68592"/>
              </a:cxn>
              <a:cxn ang="0">
                <a:pos x="connsiteX68593" y="connsiteY68593"/>
              </a:cxn>
              <a:cxn ang="0">
                <a:pos x="connsiteX68594" y="connsiteY68594"/>
              </a:cxn>
              <a:cxn ang="0">
                <a:pos x="connsiteX68595" y="connsiteY68595"/>
              </a:cxn>
              <a:cxn ang="0">
                <a:pos x="connsiteX68596" y="connsiteY68596"/>
              </a:cxn>
              <a:cxn ang="0">
                <a:pos x="connsiteX68597" y="connsiteY68597"/>
              </a:cxn>
              <a:cxn ang="0">
                <a:pos x="connsiteX68598" y="connsiteY68598"/>
              </a:cxn>
              <a:cxn ang="0">
                <a:pos x="connsiteX68599" y="connsiteY68599"/>
              </a:cxn>
              <a:cxn ang="0">
                <a:pos x="connsiteX68600" y="connsiteY68600"/>
              </a:cxn>
              <a:cxn ang="0">
                <a:pos x="connsiteX68601" y="connsiteY68601"/>
              </a:cxn>
              <a:cxn ang="0">
                <a:pos x="connsiteX68602" y="connsiteY68602"/>
              </a:cxn>
              <a:cxn ang="0">
                <a:pos x="connsiteX68603" y="connsiteY68603"/>
              </a:cxn>
              <a:cxn ang="0">
                <a:pos x="connsiteX68604" y="connsiteY68604"/>
              </a:cxn>
              <a:cxn ang="0">
                <a:pos x="connsiteX68605" y="connsiteY68605"/>
              </a:cxn>
              <a:cxn ang="0">
                <a:pos x="connsiteX68606" y="connsiteY68606"/>
              </a:cxn>
              <a:cxn ang="0">
                <a:pos x="connsiteX68607" y="connsiteY68607"/>
              </a:cxn>
              <a:cxn ang="0">
                <a:pos x="connsiteX68608" y="connsiteY68608"/>
              </a:cxn>
              <a:cxn ang="0">
                <a:pos x="connsiteX68609" y="connsiteY68609"/>
              </a:cxn>
              <a:cxn ang="0">
                <a:pos x="connsiteX68610" y="connsiteY68610"/>
              </a:cxn>
              <a:cxn ang="0">
                <a:pos x="connsiteX68611" y="connsiteY68611"/>
              </a:cxn>
              <a:cxn ang="0">
                <a:pos x="connsiteX68612" y="connsiteY68612"/>
              </a:cxn>
              <a:cxn ang="0">
                <a:pos x="connsiteX68613" y="connsiteY68613"/>
              </a:cxn>
              <a:cxn ang="0">
                <a:pos x="connsiteX68614" y="connsiteY68614"/>
              </a:cxn>
              <a:cxn ang="0">
                <a:pos x="connsiteX68615" y="connsiteY68615"/>
              </a:cxn>
              <a:cxn ang="0">
                <a:pos x="connsiteX68616" y="connsiteY68616"/>
              </a:cxn>
              <a:cxn ang="0">
                <a:pos x="connsiteX68617" y="connsiteY68617"/>
              </a:cxn>
              <a:cxn ang="0">
                <a:pos x="connsiteX68618" y="connsiteY68618"/>
              </a:cxn>
              <a:cxn ang="0">
                <a:pos x="connsiteX68619" y="connsiteY68619"/>
              </a:cxn>
              <a:cxn ang="0">
                <a:pos x="connsiteX68620" y="connsiteY68620"/>
              </a:cxn>
              <a:cxn ang="0">
                <a:pos x="connsiteX68621" y="connsiteY68621"/>
              </a:cxn>
              <a:cxn ang="0">
                <a:pos x="connsiteX68622" y="connsiteY68622"/>
              </a:cxn>
              <a:cxn ang="0">
                <a:pos x="connsiteX68623" y="connsiteY68623"/>
              </a:cxn>
              <a:cxn ang="0">
                <a:pos x="connsiteX68624" y="connsiteY68624"/>
              </a:cxn>
              <a:cxn ang="0">
                <a:pos x="connsiteX68625" y="connsiteY68625"/>
              </a:cxn>
              <a:cxn ang="0">
                <a:pos x="connsiteX68626" y="connsiteY68626"/>
              </a:cxn>
              <a:cxn ang="0">
                <a:pos x="connsiteX68627" y="connsiteY68627"/>
              </a:cxn>
              <a:cxn ang="0">
                <a:pos x="connsiteX68628" y="connsiteY68628"/>
              </a:cxn>
              <a:cxn ang="0">
                <a:pos x="connsiteX68629" y="connsiteY68629"/>
              </a:cxn>
              <a:cxn ang="0">
                <a:pos x="connsiteX68630" y="connsiteY68630"/>
              </a:cxn>
              <a:cxn ang="0">
                <a:pos x="connsiteX68631" y="connsiteY68631"/>
              </a:cxn>
              <a:cxn ang="0">
                <a:pos x="connsiteX68632" y="connsiteY68632"/>
              </a:cxn>
              <a:cxn ang="0">
                <a:pos x="connsiteX68633" y="connsiteY68633"/>
              </a:cxn>
              <a:cxn ang="0">
                <a:pos x="connsiteX68634" y="connsiteY68634"/>
              </a:cxn>
              <a:cxn ang="0">
                <a:pos x="connsiteX68635" y="connsiteY68635"/>
              </a:cxn>
              <a:cxn ang="0">
                <a:pos x="connsiteX68636" y="connsiteY68636"/>
              </a:cxn>
              <a:cxn ang="0">
                <a:pos x="connsiteX68637" y="connsiteY68637"/>
              </a:cxn>
              <a:cxn ang="0">
                <a:pos x="connsiteX68638" y="connsiteY68638"/>
              </a:cxn>
              <a:cxn ang="0">
                <a:pos x="connsiteX68639" y="connsiteY68639"/>
              </a:cxn>
              <a:cxn ang="0">
                <a:pos x="connsiteX68640" y="connsiteY68640"/>
              </a:cxn>
              <a:cxn ang="0">
                <a:pos x="connsiteX68641" y="connsiteY68641"/>
              </a:cxn>
              <a:cxn ang="0">
                <a:pos x="connsiteX68642" y="connsiteY68642"/>
              </a:cxn>
              <a:cxn ang="0">
                <a:pos x="connsiteX68643" y="connsiteY68643"/>
              </a:cxn>
              <a:cxn ang="0">
                <a:pos x="connsiteX68644" y="connsiteY68644"/>
              </a:cxn>
              <a:cxn ang="0">
                <a:pos x="connsiteX68645" y="connsiteY68645"/>
              </a:cxn>
              <a:cxn ang="0">
                <a:pos x="connsiteX68646" y="connsiteY68646"/>
              </a:cxn>
              <a:cxn ang="0">
                <a:pos x="connsiteX68647" y="connsiteY68647"/>
              </a:cxn>
              <a:cxn ang="0">
                <a:pos x="connsiteX68648" y="connsiteY68648"/>
              </a:cxn>
              <a:cxn ang="0">
                <a:pos x="connsiteX68649" y="connsiteY68649"/>
              </a:cxn>
              <a:cxn ang="0">
                <a:pos x="connsiteX68650" y="connsiteY68650"/>
              </a:cxn>
              <a:cxn ang="0">
                <a:pos x="connsiteX68651" y="connsiteY68651"/>
              </a:cxn>
              <a:cxn ang="0">
                <a:pos x="connsiteX68652" y="connsiteY68652"/>
              </a:cxn>
              <a:cxn ang="0">
                <a:pos x="connsiteX68653" y="connsiteY68653"/>
              </a:cxn>
              <a:cxn ang="0">
                <a:pos x="connsiteX68654" y="connsiteY68654"/>
              </a:cxn>
              <a:cxn ang="0">
                <a:pos x="connsiteX68655" y="connsiteY68655"/>
              </a:cxn>
              <a:cxn ang="0">
                <a:pos x="connsiteX68656" y="connsiteY68656"/>
              </a:cxn>
              <a:cxn ang="0">
                <a:pos x="connsiteX68657" y="connsiteY68657"/>
              </a:cxn>
              <a:cxn ang="0">
                <a:pos x="connsiteX68658" y="connsiteY68658"/>
              </a:cxn>
              <a:cxn ang="0">
                <a:pos x="connsiteX68659" y="connsiteY68659"/>
              </a:cxn>
              <a:cxn ang="0">
                <a:pos x="connsiteX68660" y="connsiteY68660"/>
              </a:cxn>
              <a:cxn ang="0">
                <a:pos x="connsiteX68661" y="connsiteY68661"/>
              </a:cxn>
              <a:cxn ang="0">
                <a:pos x="connsiteX68662" y="connsiteY68662"/>
              </a:cxn>
              <a:cxn ang="0">
                <a:pos x="connsiteX68663" y="connsiteY68663"/>
              </a:cxn>
              <a:cxn ang="0">
                <a:pos x="connsiteX68664" y="connsiteY68664"/>
              </a:cxn>
              <a:cxn ang="0">
                <a:pos x="connsiteX68665" y="connsiteY68665"/>
              </a:cxn>
              <a:cxn ang="0">
                <a:pos x="connsiteX68666" y="connsiteY68666"/>
              </a:cxn>
              <a:cxn ang="0">
                <a:pos x="connsiteX68667" y="connsiteY68667"/>
              </a:cxn>
              <a:cxn ang="0">
                <a:pos x="connsiteX68668" y="connsiteY68668"/>
              </a:cxn>
              <a:cxn ang="0">
                <a:pos x="connsiteX68669" y="connsiteY68669"/>
              </a:cxn>
              <a:cxn ang="0">
                <a:pos x="connsiteX68670" y="connsiteY68670"/>
              </a:cxn>
              <a:cxn ang="0">
                <a:pos x="connsiteX68671" y="connsiteY68671"/>
              </a:cxn>
              <a:cxn ang="0">
                <a:pos x="connsiteX68672" y="connsiteY68672"/>
              </a:cxn>
              <a:cxn ang="0">
                <a:pos x="connsiteX68673" y="connsiteY68673"/>
              </a:cxn>
              <a:cxn ang="0">
                <a:pos x="connsiteX68674" y="connsiteY68674"/>
              </a:cxn>
              <a:cxn ang="0">
                <a:pos x="connsiteX68675" y="connsiteY68675"/>
              </a:cxn>
              <a:cxn ang="0">
                <a:pos x="connsiteX68676" y="connsiteY68676"/>
              </a:cxn>
              <a:cxn ang="0">
                <a:pos x="connsiteX68677" y="connsiteY68677"/>
              </a:cxn>
              <a:cxn ang="0">
                <a:pos x="connsiteX68678" y="connsiteY68678"/>
              </a:cxn>
              <a:cxn ang="0">
                <a:pos x="connsiteX68679" y="connsiteY68679"/>
              </a:cxn>
              <a:cxn ang="0">
                <a:pos x="connsiteX68680" y="connsiteY68680"/>
              </a:cxn>
              <a:cxn ang="0">
                <a:pos x="connsiteX68681" y="connsiteY68681"/>
              </a:cxn>
              <a:cxn ang="0">
                <a:pos x="connsiteX68682" y="connsiteY68682"/>
              </a:cxn>
              <a:cxn ang="0">
                <a:pos x="connsiteX68683" y="connsiteY68683"/>
              </a:cxn>
              <a:cxn ang="0">
                <a:pos x="connsiteX68684" y="connsiteY68684"/>
              </a:cxn>
              <a:cxn ang="0">
                <a:pos x="connsiteX68685" y="connsiteY68685"/>
              </a:cxn>
              <a:cxn ang="0">
                <a:pos x="connsiteX68686" y="connsiteY68686"/>
              </a:cxn>
              <a:cxn ang="0">
                <a:pos x="connsiteX68687" y="connsiteY68687"/>
              </a:cxn>
              <a:cxn ang="0">
                <a:pos x="connsiteX68688" y="connsiteY68688"/>
              </a:cxn>
              <a:cxn ang="0">
                <a:pos x="connsiteX68689" y="connsiteY68689"/>
              </a:cxn>
              <a:cxn ang="0">
                <a:pos x="connsiteX68690" y="connsiteY68690"/>
              </a:cxn>
              <a:cxn ang="0">
                <a:pos x="connsiteX68691" y="connsiteY68691"/>
              </a:cxn>
              <a:cxn ang="0">
                <a:pos x="connsiteX68692" y="connsiteY68692"/>
              </a:cxn>
              <a:cxn ang="0">
                <a:pos x="connsiteX68693" y="connsiteY68693"/>
              </a:cxn>
              <a:cxn ang="0">
                <a:pos x="connsiteX68694" y="connsiteY68694"/>
              </a:cxn>
              <a:cxn ang="0">
                <a:pos x="connsiteX68695" y="connsiteY68695"/>
              </a:cxn>
              <a:cxn ang="0">
                <a:pos x="connsiteX68696" y="connsiteY68696"/>
              </a:cxn>
              <a:cxn ang="0">
                <a:pos x="connsiteX68697" y="connsiteY68697"/>
              </a:cxn>
              <a:cxn ang="0">
                <a:pos x="connsiteX68698" y="connsiteY68698"/>
              </a:cxn>
              <a:cxn ang="0">
                <a:pos x="connsiteX68699" y="connsiteY68699"/>
              </a:cxn>
              <a:cxn ang="0">
                <a:pos x="connsiteX68700" y="connsiteY68700"/>
              </a:cxn>
              <a:cxn ang="0">
                <a:pos x="connsiteX68701" y="connsiteY68701"/>
              </a:cxn>
              <a:cxn ang="0">
                <a:pos x="connsiteX68702" y="connsiteY68702"/>
              </a:cxn>
              <a:cxn ang="0">
                <a:pos x="connsiteX68703" y="connsiteY68703"/>
              </a:cxn>
              <a:cxn ang="0">
                <a:pos x="connsiteX68704" y="connsiteY68704"/>
              </a:cxn>
              <a:cxn ang="0">
                <a:pos x="connsiteX68705" y="connsiteY68705"/>
              </a:cxn>
              <a:cxn ang="0">
                <a:pos x="connsiteX68706" y="connsiteY68706"/>
              </a:cxn>
              <a:cxn ang="0">
                <a:pos x="connsiteX68707" y="connsiteY68707"/>
              </a:cxn>
              <a:cxn ang="0">
                <a:pos x="connsiteX68708" y="connsiteY68708"/>
              </a:cxn>
              <a:cxn ang="0">
                <a:pos x="connsiteX68709" y="connsiteY68709"/>
              </a:cxn>
              <a:cxn ang="0">
                <a:pos x="connsiteX68710" y="connsiteY68710"/>
              </a:cxn>
              <a:cxn ang="0">
                <a:pos x="connsiteX68711" y="connsiteY68711"/>
              </a:cxn>
              <a:cxn ang="0">
                <a:pos x="connsiteX68712" y="connsiteY68712"/>
              </a:cxn>
              <a:cxn ang="0">
                <a:pos x="connsiteX68713" y="connsiteY68713"/>
              </a:cxn>
              <a:cxn ang="0">
                <a:pos x="connsiteX68714" y="connsiteY68714"/>
              </a:cxn>
              <a:cxn ang="0">
                <a:pos x="connsiteX68715" y="connsiteY68715"/>
              </a:cxn>
              <a:cxn ang="0">
                <a:pos x="connsiteX68716" y="connsiteY68716"/>
              </a:cxn>
              <a:cxn ang="0">
                <a:pos x="connsiteX68717" y="connsiteY68717"/>
              </a:cxn>
              <a:cxn ang="0">
                <a:pos x="connsiteX68718" y="connsiteY68718"/>
              </a:cxn>
              <a:cxn ang="0">
                <a:pos x="connsiteX68719" y="connsiteY68719"/>
              </a:cxn>
              <a:cxn ang="0">
                <a:pos x="connsiteX68720" y="connsiteY68720"/>
              </a:cxn>
              <a:cxn ang="0">
                <a:pos x="connsiteX68721" y="connsiteY68721"/>
              </a:cxn>
              <a:cxn ang="0">
                <a:pos x="connsiteX68722" y="connsiteY68722"/>
              </a:cxn>
              <a:cxn ang="0">
                <a:pos x="connsiteX68723" y="connsiteY68723"/>
              </a:cxn>
              <a:cxn ang="0">
                <a:pos x="connsiteX68724" y="connsiteY68724"/>
              </a:cxn>
              <a:cxn ang="0">
                <a:pos x="connsiteX68725" y="connsiteY68725"/>
              </a:cxn>
              <a:cxn ang="0">
                <a:pos x="connsiteX68726" y="connsiteY68726"/>
              </a:cxn>
              <a:cxn ang="0">
                <a:pos x="connsiteX68727" y="connsiteY68727"/>
              </a:cxn>
              <a:cxn ang="0">
                <a:pos x="connsiteX68728" y="connsiteY68728"/>
              </a:cxn>
              <a:cxn ang="0">
                <a:pos x="connsiteX68729" y="connsiteY68729"/>
              </a:cxn>
              <a:cxn ang="0">
                <a:pos x="connsiteX68730" y="connsiteY68730"/>
              </a:cxn>
              <a:cxn ang="0">
                <a:pos x="connsiteX68731" y="connsiteY68731"/>
              </a:cxn>
              <a:cxn ang="0">
                <a:pos x="connsiteX68732" y="connsiteY68732"/>
              </a:cxn>
              <a:cxn ang="0">
                <a:pos x="connsiteX68733" y="connsiteY68733"/>
              </a:cxn>
              <a:cxn ang="0">
                <a:pos x="connsiteX68734" y="connsiteY68734"/>
              </a:cxn>
              <a:cxn ang="0">
                <a:pos x="connsiteX68735" y="connsiteY68735"/>
              </a:cxn>
              <a:cxn ang="0">
                <a:pos x="connsiteX68736" y="connsiteY68736"/>
              </a:cxn>
              <a:cxn ang="0">
                <a:pos x="connsiteX68737" y="connsiteY68737"/>
              </a:cxn>
              <a:cxn ang="0">
                <a:pos x="connsiteX68738" y="connsiteY68738"/>
              </a:cxn>
              <a:cxn ang="0">
                <a:pos x="connsiteX68739" y="connsiteY68739"/>
              </a:cxn>
              <a:cxn ang="0">
                <a:pos x="connsiteX68740" y="connsiteY68740"/>
              </a:cxn>
              <a:cxn ang="0">
                <a:pos x="connsiteX68741" y="connsiteY68741"/>
              </a:cxn>
              <a:cxn ang="0">
                <a:pos x="connsiteX68742" y="connsiteY68742"/>
              </a:cxn>
              <a:cxn ang="0">
                <a:pos x="connsiteX68743" y="connsiteY68743"/>
              </a:cxn>
              <a:cxn ang="0">
                <a:pos x="connsiteX68744" y="connsiteY68744"/>
              </a:cxn>
              <a:cxn ang="0">
                <a:pos x="connsiteX68745" y="connsiteY68745"/>
              </a:cxn>
              <a:cxn ang="0">
                <a:pos x="connsiteX68746" y="connsiteY68746"/>
              </a:cxn>
              <a:cxn ang="0">
                <a:pos x="connsiteX68747" y="connsiteY68747"/>
              </a:cxn>
              <a:cxn ang="0">
                <a:pos x="connsiteX68748" y="connsiteY68748"/>
              </a:cxn>
              <a:cxn ang="0">
                <a:pos x="connsiteX68749" y="connsiteY68749"/>
              </a:cxn>
              <a:cxn ang="0">
                <a:pos x="connsiteX68750" y="connsiteY68750"/>
              </a:cxn>
              <a:cxn ang="0">
                <a:pos x="connsiteX68751" y="connsiteY68751"/>
              </a:cxn>
              <a:cxn ang="0">
                <a:pos x="connsiteX68752" y="connsiteY68752"/>
              </a:cxn>
              <a:cxn ang="0">
                <a:pos x="connsiteX68753" y="connsiteY68753"/>
              </a:cxn>
              <a:cxn ang="0">
                <a:pos x="connsiteX68754" y="connsiteY68754"/>
              </a:cxn>
              <a:cxn ang="0">
                <a:pos x="connsiteX68755" y="connsiteY68755"/>
              </a:cxn>
              <a:cxn ang="0">
                <a:pos x="connsiteX68756" y="connsiteY68756"/>
              </a:cxn>
              <a:cxn ang="0">
                <a:pos x="connsiteX68757" y="connsiteY68757"/>
              </a:cxn>
              <a:cxn ang="0">
                <a:pos x="connsiteX68758" y="connsiteY68758"/>
              </a:cxn>
              <a:cxn ang="0">
                <a:pos x="connsiteX68759" y="connsiteY68759"/>
              </a:cxn>
              <a:cxn ang="0">
                <a:pos x="connsiteX68760" y="connsiteY68760"/>
              </a:cxn>
              <a:cxn ang="0">
                <a:pos x="connsiteX68761" y="connsiteY68761"/>
              </a:cxn>
              <a:cxn ang="0">
                <a:pos x="connsiteX68762" y="connsiteY68762"/>
              </a:cxn>
              <a:cxn ang="0">
                <a:pos x="connsiteX68763" y="connsiteY68763"/>
              </a:cxn>
              <a:cxn ang="0">
                <a:pos x="connsiteX68764" y="connsiteY68764"/>
              </a:cxn>
              <a:cxn ang="0">
                <a:pos x="connsiteX68765" y="connsiteY68765"/>
              </a:cxn>
              <a:cxn ang="0">
                <a:pos x="connsiteX68766" y="connsiteY68766"/>
              </a:cxn>
              <a:cxn ang="0">
                <a:pos x="connsiteX68767" y="connsiteY68767"/>
              </a:cxn>
              <a:cxn ang="0">
                <a:pos x="connsiteX68768" y="connsiteY68768"/>
              </a:cxn>
              <a:cxn ang="0">
                <a:pos x="connsiteX68769" y="connsiteY68769"/>
              </a:cxn>
              <a:cxn ang="0">
                <a:pos x="connsiteX68770" y="connsiteY68770"/>
              </a:cxn>
              <a:cxn ang="0">
                <a:pos x="connsiteX68771" y="connsiteY68771"/>
              </a:cxn>
              <a:cxn ang="0">
                <a:pos x="connsiteX68772" y="connsiteY68772"/>
              </a:cxn>
              <a:cxn ang="0">
                <a:pos x="connsiteX68773" y="connsiteY68773"/>
              </a:cxn>
              <a:cxn ang="0">
                <a:pos x="connsiteX68774" y="connsiteY68774"/>
              </a:cxn>
              <a:cxn ang="0">
                <a:pos x="connsiteX68775" y="connsiteY68775"/>
              </a:cxn>
              <a:cxn ang="0">
                <a:pos x="connsiteX68776" y="connsiteY68776"/>
              </a:cxn>
              <a:cxn ang="0">
                <a:pos x="connsiteX68777" y="connsiteY68777"/>
              </a:cxn>
              <a:cxn ang="0">
                <a:pos x="connsiteX68778" y="connsiteY68778"/>
              </a:cxn>
              <a:cxn ang="0">
                <a:pos x="connsiteX68779" y="connsiteY68779"/>
              </a:cxn>
              <a:cxn ang="0">
                <a:pos x="connsiteX68780" y="connsiteY68780"/>
              </a:cxn>
              <a:cxn ang="0">
                <a:pos x="connsiteX68781" y="connsiteY68781"/>
              </a:cxn>
              <a:cxn ang="0">
                <a:pos x="connsiteX68782" y="connsiteY68782"/>
              </a:cxn>
              <a:cxn ang="0">
                <a:pos x="connsiteX68783" y="connsiteY68783"/>
              </a:cxn>
              <a:cxn ang="0">
                <a:pos x="connsiteX68784" y="connsiteY68784"/>
              </a:cxn>
              <a:cxn ang="0">
                <a:pos x="connsiteX68785" y="connsiteY68785"/>
              </a:cxn>
              <a:cxn ang="0">
                <a:pos x="connsiteX68786" y="connsiteY68786"/>
              </a:cxn>
              <a:cxn ang="0">
                <a:pos x="connsiteX68787" y="connsiteY68787"/>
              </a:cxn>
              <a:cxn ang="0">
                <a:pos x="connsiteX68788" y="connsiteY68788"/>
              </a:cxn>
              <a:cxn ang="0">
                <a:pos x="connsiteX68789" y="connsiteY68789"/>
              </a:cxn>
              <a:cxn ang="0">
                <a:pos x="connsiteX68790" y="connsiteY68790"/>
              </a:cxn>
              <a:cxn ang="0">
                <a:pos x="connsiteX68791" y="connsiteY68791"/>
              </a:cxn>
              <a:cxn ang="0">
                <a:pos x="connsiteX68792" y="connsiteY68792"/>
              </a:cxn>
              <a:cxn ang="0">
                <a:pos x="connsiteX68793" y="connsiteY68793"/>
              </a:cxn>
              <a:cxn ang="0">
                <a:pos x="connsiteX68794" y="connsiteY68794"/>
              </a:cxn>
              <a:cxn ang="0">
                <a:pos x="connsiteX68795" y="connsiteY68795"/>
              </a:cxn>
              <a:cxn ang="0">
                <a:pos x="connsiteX68796" y="connsiteY68796"/>
              </a:cxn>
              <a:cxn ang="0">
                <a:pos x="connsiteX68797" y="connsiteY68797"/>
              </a:cxn>
              <a:cxn ang="0">
                <a:pos x="connsiteX68798" y="connsiteY68798"/>
              </a:cxn>
              <a:cxn ang="0">
                <a:pos x="connsiteX68799" y="connsiteY68799"/>
              </a:cxn>
              <a:cxn ang="0">
                <a:pos x="connsiteX68800" y="connsiteY68800"/>
              </a:cxn>
              <a:cxn ang="0">
                <a:pos x="connsiteX68801" y="connsiteY68801"/>
              </a:cxn>
              <a:cxn ang="0">
                <a:pos x="connsiteX68802" y="connsiteY68802"/>
              </a:cxn>
              <a:cxn ang="0">
                <a:pos x="connsiteX68803" y="connsiteY68803"/>
              </a:cxn>
              <a:cxn ang="0">
                <a:pos x="connsiteX68804" y="connsiteY68804"/>
              </a:cxn>
              <a:cxn ang="0">
                <a:pos x="connsiteX68805" y="connsiteY68805"/>
              </a:cxn>
              <a:cxn ang="0">
                <a:pos x="connsiteX68806" y="connsiteY68806"/>
              </a:cxn>
              <a:cxn ang="0">
                <a:pos x="connsiteX68807" y="connsiteY68807"/>
              </a:cxn>
              <a:cxn ang="0">
                <a:pos x="connsiteX68808" y="connsiteY68808"/>
              </a:cxn>
              <a:cxn ang="0">
                <a:pos x="connsiteX68809" y="connsiteY68809"/>
              </a:cxn>
              <a:cxn ang="0">
                <a:pos x="connsiteX68810" y="connsiteY68810"/>
              </a:cxn>
              <a:cxn ang="0">
                <a:pos x="connsiteX68811" y="connsiteY68811"/>
              </a:cxn>
              <a:cxn ang="0">
                <a:pos x="connsiteX68812" y="connsiteY68812"/>
              </a:cxn>
              <a:cxn ang="0">
                <a:pos x="connsiteX68813" y="connsiteY68813"/>
              </a:cxn>
              <a:cxn ang="0">
                <a:pos x="connsiteX68814" y="connsiteY68814"/>
              </a:cxn>
              <a:cxn ang="0">
                <a:pos x="connsiteX68815" y="connsiteY68815"/>
              </a:cxn>
              <a:cxn ang="0">
                <a:pos x="connsiteX68816" y="connsiteY68816"/>
              </a:cxn>
              <a:cxn ang="0">
                <a:pos x="connsiteX68817" y="connsiteY68817"/>
              </a:cxn>
              <a:cxn ang="0">
                <a:pos x="connsiteX68818" y="connsiteY68818"/>
              </a:cxn>
              <a:cxn ang="0">
                <a:pos x="connsiteX68819" y="connsiteY68819"/>
              </a:cxn>
              <a:cxn ang="0">
                <a:pos x="connsiteX68820" y="connsiteY68820"/>
              </a:cxn>
              <a:cxn ang="0">
                <a:pos x="connsiteX68821" y="connsiteY68821"/>
              </a:cxn>
              <a:cxn ang="0">
                <a:pos x="connsiteX68822" y="connsiteY68822"/>
              </a:cxn>
              <a:cxn ang="0">
                <a:pos x="connsiteX68823" y="connsiteY68823"/>
              </a:cxn>
              <a:cxn ang="0">
                <a:pos x="connsiteX68824" y="connsiteY68824"/>
              </a:cxn>
              <a:cxn ang="0">
                <a:pos x="connsiteX68825" y="connsiteY68825"/>
              </a:cxn>
              <a:cxn ang="0">
                <a:pos x="connsiteX68826" y="connsiteY68826"/>
              </a:cxn>
              <a:cxn ang="0">
                <a:pos x="connsiteX68827" y="connsiteY68827"/>
              </a:cxn>
              <a:cxn ang="0">
                <a:pos x="connsiteX68828" y="connsiteY68828"/>
              </a:cxn>
              <a:cxn ang="0">
                <a:pos x="connsiteX68829" y="connsiteY68829"/>
              </a:cxn>
              <a:cxn ang="0">
                <a:pos x="connsiteX68830" y="connsiteY68830"/>
              </a:cxn>
              <a:cxn ang="0">
                <a:pos x="connsiteX68831" y="connsiteY68831"/>
              </a:cxn>
              <a:cxn ang="0">
                <a:pos x="connsiteX68832" y="connsiteY68832"/>
              </a:cxn>
              <a:cxn ang="0">
                <a:pos x="connsiteX68833" y="connsiteY68833"/>
              </a:cxn>
              <a:cxn ang="0">
                <a:pos x="connsiteX68834" y="connsiteY68834"/>
              </a:cxn>
              <a:cxn ang="0">
                <a:pos x="connsiteX68835" y="connsiteY68835"/>
              </a:cxn>
              <a:cxn ang="0">
                <a:pos x="connsiteX68836" y="connsiteY68836"/>
              </a:cxn>
              <a:cxn ang="0">
                <a:pos x="connsiteX68837" y="connsiteY68837"/>
              </a:cxn>
              <a:cxn ang="0">
                <a:pos x="connsiteX68838" y="connsiteY68838"/>
              </a:cxn>
              <a:cxn ang="0">
                <a:pos x="connsiteX68839" y="connsiteY68839"/>
              </a:cxn>
              <a:cxn ang="0">
                <a:pos x="connsiteX68840" y="connsiteY68840"/>
              </a:cxn>
              <a:cxn ang="0">
                <a:pos x="connsiteX68841" y="connsiteY68841"/>
              </a:cxn>
              <a:cxn ang="0">
                <a:pos x="connsiteX68842" y="connsiteY68842"/>
              </a:cxn>
              <a:cxn ang="0">
                <a:pos x="connsiteX68843" y="connsiteY68843"/>
              </a:cxn>
              <a:cxn ang="0">
                <a:pos x="connsiteX68844" y="connsiteY68844"/>
              </a:cxn>
              <a:cxn ang="0">
                <a:pos x="connsiteX68845" y="connsiteY68845"/>
              </a:cxn>
              <a:cxn ang="0">
                <a:pos x="connsiteX68846" y="connsiteY68846"/>
              </a:cxn>
              <a:cxn ang="0">
                <a:pos x="connsiteX68847" y="connsiteY68847"/>
              </a:cxn>
              <a:cxn ang="0">
                <a:pos x="connsiteX68848" y="connsiteY68848"/>
              </a:cxn>
              <a:cxn ang="0">
                <a:pos x="connsiteX68849" y="connsiteY68849"/>
              </a:cxn>
              <a:cxn ang="0">
                <a:pos x="connsiteX68850" y="connsiteY68850"/>
              </a:cxn>
              <a:cxn ang="0">
                <a:pos x="connsiteX68851" y="connsiteY68851"/>
              </a:cxn>
              <a:cxn ang="0">
                <a:pos x="connsiteX68852" y="connsiteY68852"/>
              </a:cxn>
              <a:cxn ang="0">
                <a:pos x="connsiteX68853" y="connsiteY68853"/>
              </a:cxn>
              <a:cxn ang="0">
                <a:pos x="connsiteX68854" y="connsiteY68854"/>
              </a:cxn>
              <a:cxn ang="0">
                <a:pos x="connsiteX68855" y="connsiteY68855"/>
              </a:cxn>
              <a:cxn ang="0">
                <a:pos x="connsiteX68856" y="connsiteY68856"/>
              </a:cxn>
              <a:cxn ang="0">
                <a:pos x="connsiteX68857" y="connsiteY68857"/>
              </a:cxn>
              <a:cxn ang="0">
                <a:pos x="connsiteX68858" y="connsiteY68858"/>
              </a:cxn>
              <a:cxn ang="0">
                <a:pos x="connsiteX68859" y="connsiteY68859"/>
              </a:cxn>
              <a:cxn ang="0">
                <a:pos x="connsiteX68860" y="connsiteY68860"/>
              </a:cxn>
              <a:cxn ang="0">
                <a:pos x="connsiteX68861" y="connsiteY68861"/>
              </a:cxn>
              <a:cxn ang="0">
                <a:pos x="connsiteX68862" y="connsiteY68862"/>
              </a:cxn>
              <a:cxn ang="0">
                <a:pos x="connsiteX68863" y="connsiteY68863"/>
              </a:cxn>
              <a:cxn ang="0">
                <a:pos x="connsiteX68864" y="connsiteY68864"/>
              </a:cxn>
              <a:cxn ang="0">
                <a:pos x="connsiteX68865" y="connsiteY68865"/>
              </a:cxn>
              <a:cxn ang="0">
                <a:pos x="connsiteX68866" y="connsiteY68866"/>
              </a:cxn>
              <a:cxn ang="0">
                <a:pos x="connsiteX68867" y="connsiteY68867"/>
              </a:cxn>
              <a:cxn ang="0">
                <a:pos x="connsiteX68868" y="connsiteY68868"/>
              </a:cxn>
              <a:cxn ang="0">
                <a:pos x="connsiteX68869" y="connsiteY68869"/>
              </a:cxn>
              <a:cxn ang="0">
                <a:pos x="connsiteX68870" y="connsiteY68870"/>
              </a:cxn>
              <a:cxn ang="0">
                <a:pos x="connsiteX68871" y="connsiteY68871"/>
              </a:cxn>
              <a:cxn ang="0">
                <a:pos x="connsiteX68872" y="connsiteY68872"/>
              </a:cxn>
              <a:cxn ang="0">
                <a:pos x="connsiteX68873" y="connsiteY68873"/>
              </a:cxn>
              <a:cxn ang="0">
                <a:pos x="connsiteX68874" y="connsiteY68874"/>
              </a:cxn>
              <a:cxn ang="0">
                <a:pos x="connsiteX68875" y="connsiteY68875"/>
              </a:cxn>
              <a:cxn ang="0">
                <a:pos x="connsiteX68876" y="connsiteY68876"/>
              </a:cxn>
              <a:cxn ang="0">
                <a:pos x="connsiteX68877" y="connsiteY68877"/>
              </a:cxn>
              <a:cxn ang="0">
                <a:pos x="connsiteX68878" y="connsiteY68878"/>
              </a:cxn>
              <a:cxn ang="0">
                <a:pos x="connsiteX68879" y="connsiteY68879"/>
              </a:cxn>
              <a:cxn ang="0">
                <a:pos x="connsiteX68880" y="connsiteY68880"/>
              </a:cxn>
              <a:cxn ang="0">
                <a:pos x="connsiteX68881" y="connsiteY68881"/>
              </a:cxn>
              <a:cxn ang="0">
                <a:pos x="connsiteX68882" y="connsiteY68882"/>
              </a:cxn>
              <a:cxn ang="0">
                <a:pos x="connsiteX68883" y="connsiteY68883"/>
              </a:cxn>
              <a:cxn ang="0">
                <a:pos x="connsiteX68884" y="connsiteY68884"/>
              </a:cxn>
              <a:cxn ang="0">
                <a:pos x="connsiteX68885" y="connsiteY68885"/>
              </a:cxn>
              <a:cxn ang="0">
                <a:pos x="connsiteX68886" y="connsiteY68886"/>
              </a:cxn>
              <a:cxn ang="0">
                <a:pos x="connsiteX68887" y="connsiteY68887"/>
              </a:cxn>
              <a:cxn ang="0">
                <a:pos x="connsiteX68888" y="connsiteY68888"/>
              </a:cxn>
              <a:cxn ang="0">
                <a:pos x="connsiteX68889" y="connsiteY68889"/>
              </a:cxn>
              <a:cxn ang="0">
                <a:pos x="connsiteX68890" y="connsiteY68890"/>
              </a:cxn>
              <a:cxn ang="0">
                <a:pos x="connsiteX68891" y="connsiteY68891"/>
              </a:cxn>
              <a:cxn ang="0">
                <a:pos x="connsiteX68892" y="connsiteY68892"/>
              </a:cxn>
              <a:cxn ang="0">
                <a:pos x="connsiteX68893" y="connsiteY68893"/>
              </a:cxn>
              <a:cxn ang="0">
                <a:pos x="connsiteX68894" y="connsiteY68894"/>
              </a:cxn>
              <a:cxn ang="0">
                <a:pos x="connsiteX68895" y="connsiteY68895"/>
              </a:cxn>
              <a:cxn ang="0">
                <a:pos x="connsiteX68896" y="connsiteY68896"/>
              </a:cxn>
              <a:cxn ang="0">
                <a:pos x="connsiteX68897" y="connsiteY68897"/>
              </a:cxn>
              <a:cxn ang="0">
                <a:pos x="connsiteX68898" y="connsiteY68898"/>
              </a:cxn>
              <a:cxn ang="0">
                <a:pos x="connsiteX68899" y="connsiteY68899"/>
              </a:cxn>
              <a:cxn ang="0">
                <a:pos x="connsiteX68900" y="connsiteY68900"/>
              </a:cxn>
              <a:cxn ang="0">
                <a:pos x="connsiteX68901" y="connsiteY68901"/>
              </a:cxn>
              <a:cxn ang="0">
                <a:pos x="connsiteX68902" y="connsiteY68902"/>
              </a:cxn>
              <a:cxn ang="0">
                <a:pos x="connsiteX68903" y="connsiteY68903"/>
              </a:cxn>
              <a:cxn ang="0">
                <a:pos x="connsiteX68904" y="connsiteY68904"/>
              </a:cxn>
              <a:cxn ang="0">
                <a:pos x="connsiteX68905" y="connsiteY68905"/>
              </a:cxn>
              <a:cxn ang="0">
                <a:pos x="connsiteX68906" y="connsiteY68906"/>
              </a:cxn>
              <a:cxn ang="0">
                <a:pos x="connsiteX68907" y="connsiteY68907"/>
              </a:cxn>
              <a:cxn ang="0">
                <a:pos x="connsiteX68908" y="connsiteY68908"/>
              </a:cxn>
              <a:cxn ang="0">
                <a:pos x="connsiteX68909" y="connsiteY68909"/>
              </a:cxn>
              <a:cxn ang="0">
                <a:pos x="connsiteX68910" y="connsiteY68910"/>
              </a:cxn>
              <a:cxn ang="0">
                <a:pos x="connsiteX68911" y="connsiteY68911"/>
              </a:cxn>
              <a:cxn ang="0">
                <a:pos x="connsiteX68912" y="connsiteY68912"/>
              </a:cxn>
              <a:cxn ang="0">
                <a:pos x="connsiteX68913" y="connsiteY68913"/>
              </a:cxn>
              <a:cxn ang="0">
                <a:pos x="connsiteX68914" y="connsiteY68914"/>
              </a:cxn>
              <a:cxn ang="0">
                <a:pos x="connsiteX68915" y="connsiteY68915"/>
              </a:cxn>
              <a:cxn ang="0">
                <a:pos x="connsiteX68916" y="connsiteY68916"/>
              </a:cxn>
              <a:cxn ang="0">
                <a:pos x="connsiteX68917" y="connsiteY68917"/>
              </a:cxn>
              <a:cxn ang="0">
                <a:pos x="connsiteX68918" y="connsiteY68918"/>
              </a:cxn>
              <a:cxn ang="0">
                <a:pos x="connsiteX68919" y="connsiteY68919"/>
              </a:cxn>
              <a:cxn ang="0">
                <a:pos x="connsiteX68920" y="connsiteY68920"/>
              </a:cxn>
              <a:cxn ang="0">
                <a:pos x="connsiteX68921" y="connsiteY68921"/>
              </a:cxn>
              <a:cxn ang="0">
                <a:pos x="connsiteX68922" y="connsiteY68922"/>
              </a:cxn>
              <a:cxn ang="0">
                <a:pos x="connsiteX68923" y="connsiteY68923"/>
              </a:cxn>
              <a:cxn ang="0">
                <a:pos x="connsiteX68924" y="connsiteY68924"/>
              </a:cxn>
              <a:cxn ang="0">
                <a:pos x="connsiteX68925" y="connsiteY68925"/>
              </a:cxn>
              <a:cxn ang="0">
                <a:pos x="connsiteX68926" y="connsiteY68926"/>
              </a:cxn>
              <a:cxn ang="0">
                <a:pos x="connsiteX68927" y="connsiteY68927"/>
              </a:cxn>
              <a:cxn ang="0">
                <a:pos x="connsiteX68928" y="connsiteY68928"/>
              </a:cxn>
              <a:cxn ang="0">
                <a:pos x="connsiteX68929" y="connsiteY68929"/>
              </a:cxn>
              <a:cxn ang="0">
                <a:pos x="connsiteX68930" y="connsiteY68930"/>
              </a:cxn>
              <a:cxn ang="0">
                <a:pos x="connsiteX68931" y="connsiteY68931"/>
              </a:cxn>
              <a:cxn ang="0">
                <a:pos x="connsiteX68932" y="connsiteY68932"/>
              </a:cxn>
              <a:cxn ang="0">
                <a:pos x="connsiteX68933" y="connsiteY68933"/>
              </a:cxn>
              <a:cxn ang="0">
                <a:pos x="connsiteX68934" y="connsiteY68934"/>
              </a:cxn>
              <a:cxn ang="0">
                <a:pos x="connsiteX68935" y="connsiteY68935"/>
              </a:cxn>
              <a:cxn ang="0">
                <a:pos x="connsiteX68936" y="connsiteY68936"/>
              </a:cxn>
              <a:cxn ang="0">
                <a:pos x="connsiteX68937" y="connsiteY68937"/>
              </a:cxn>
              <a:cxn ang="0">
                <a:pos x="connsiteX68938" y="connsiteY68938"/>
              </a:cxn>
              <a:cxn ang="0">
                <a:pos x="connsiteX68939" y="connsiteY68939"/>
              </a:cxn>
              <a:cxn ang="0">
                <a:pos x="connsiteX68940" y="connsiteY68940"/>
              </a:cxn>
              <a:cxn ang="0">
                <a:pos x="connsiteX68941" y="connsiteY68941"/>
              </a:cxn>
              <a:cxn ang="0">
                <a:pos x="connsiteX68942" y="connsiteY68942"/>
              </a:cxn>
              <a:cxn ang="0">
                <a:pos x="connsiteX68943" y="connsiteY68943"/>
              </a:cxn>
              <a:cxn ang="0">
                <a:pos x="connsiteX68944" y="connsiteY68944"/>
              </a:cxn>
              <a:cxn ang="0">
                <a:pos x="connsiteX68945" y="connsiteY68945"/>
              </a:cxn>
              <a:cxn ang="0">
                <a:pos x="connsiteX68946" y="connsiteY68946"/>
              </a:cxn>
              <a:cxn ang="0">
                <a:pos x="connsiteX68947" y="connsiteY68947"/>
              </a:cxn>
              <a:cxn ang="0">
                <a:pos x="connsiteX68948" y="connsiteY68948"/>
              </a:cxn>
              <a:cxn ang="0">
                <a:pos x="connsiteX68949" y="connsiteY68949"/>
              </a:cxn>
              <a:cxn ang="0">
                <a:pos x="connsiteX68950" y="connsiteY68950"/>
              </a:cxn>
              <a:cxn ang="0">
                <a:pos x="connsiteX68951" y="connsiteY68951"/>
              </a:cxn>
              <a:cxn ang="0">
                <a:pos x="connsiteX68952" y="connsiteY68952"/>
              </a:cxn>
              <a:cxn ang="0">
                <a:pos x="connsiteX68953" y="connsiteY68953"/>
              </a:cxn>
              <a:cxn ang="0">
                <a:pos x="connsiteX68954" y="connsiteY68954"/>
              </a:cxn>
              <a:cxn ang="0">
                <a:pos x="connsiteX68955" y="connsiteY68955"/>
              </a:cxn>
              <a:cxn ang="0">
                <a:pos x="connsiteX68956" y="connsiteY68956"/>
              </a:cxn>
              <a:cxn ang="0">
                <a:pos x="connsiteX68957" y="connsiteY68957"/>
              </a:cxn>
              <a:cxn ang="0">
                <a:pos x="connsiteX68958" y="connsiteY68958"/>
              </a:cxn>
              <a:cxn ang="0">
                <a:pos x="connsiteX68959" y="connsiteY68959"/>
              </a:cxn>
              <a:cxn ang="0">
                <a:pos x="connsiteX68960" y="connsiteY68960"/>
              </a:cxn>
              <a:cxn ang="0">
                <a:pos x="connsiteX68961" y="connsiteY68961"/>
              </a:cxn>
              <a:cxn ang="0">
                <a:pos x="connsiteX68962" y="connsiteY68962"/>
              </a:cxn>
              <a:cxn ang="0">
                <a:pos x="connsiteX68963" y="connsiteY68963"/>
              </a:cxn>
              <a:cxn ang="0">
                <a:pos x="connsiteX68964" y="connsiteY68964"/>
              </a:cxn>
              <a:cxn ang="0">
                <a:pos x="connsiteX68965" y="connsiteY68965"/>
              </a:cxn>
              <a:cxn ang="0">
                <a:pos x="connsiteX68966" y="connsiteY68966"/>
              </a:cxn>
              <a:cxn ang="0">
                <a:pos x="connsiteX68967" y="connsiteY68967"/>
              </a:cxn>
              <a:cxn ang="0">
                <a:pos x="connsiteX68968" y="connsiteY68968"/>
              </a:cxn>
              <a:cxn ang="0">
                <a:pos x="connsiteX68969" y="connsiteY68969"/>
              </a:cxn>
              <a:cxn ang="0">
                <a:pos x="connsiteX68970" y="connsiteY68970"/>
              </a:cxn>
              <a:cxn ang="0">
                <a:pos x="connsiteX68971" y="connsiteY68971"/>
              </a:cxn>
              <a:cxn ang="0">
                <a:pos x="connsiteX68972" y="connsiteY68972"/>
              </a:cxn>
              <a:cxn ang="0">
                <a:pos x="connsiteX68973" y="connsiteY68973"/>
              </a:cxn>
              <a:cxn ang="0">
                <a:pos x="connsiteX68974" y="connsiteY68974"/>
              </a:cxn>
              <a:cxn ang="0">
                <a:pos x="connsiteX68975" y="connsiteY68975"/>
              </a:cxn>
              <a:cxn ang="0">
                <a:pos x="connsiteX68976" y="connsiteY68976"/>
              </a:cxn>
              <a:cxn ang="0">
                <a:pos x="connsiteX68977" y="connsiteY68977"/>
              </a:cxn>
              <a:cxn ang="0">
                <a:pos x="connsiteX68978" y="connsiteY68978"/>
              </a:cxn>
              <a:cxn ang="0">
                <a:pos x="connsiteX68979" y="connsiteY68979"/>
              </a:cxn>
              <a:cxn ang="0">
                <a:pos x="connsiteX68980" y="connsiteY68980"/>
              </a:cxn>
              <a:cxn ang="0">
                <a:pos x="connsiteX68981" y="connsiteY68981"/>
              </a:cxn>
              <a:cxn ang="0">
                <a:pos x="connsiteX68982" y="connsiteY68982"/>
              </a:cxn>
              <a:cxn ang="0">
                <a:pos x="connsiteX68983" y="connsiteY68983"/>
              </a:cxn>
              <a:cxn ang="0">
                <a:pos x="connsiteX68984" y="connsiteY68984"/>
              </a:cxn>
              <a:cxn ang="0">
                <a:pos x="connsiteX68985" y="connsiteY68985"/>
              </a:cxn>
              <a:cxn ang="0">
                <a:pos x="connsiteX68986" y="connsiteY68986"/>
              </a:cxn>
              <a:cxn ang="0">
                <a:pos x="connsiteX68987" y="connsiteY68987"/>
              </a:cxn>
              <a:cxn ang="0">
                <a:pos x="connsiteX68988" y="connsiteY68988"/>
              </a:cxn>
              <a:cxn ang="0">
                <a:pos x="connsiteX68989" y="connsiteY68989"/>
              </a:cxn>
              <a:cxn ang="0">
                <a:pos x="connsiteX68990" y="connsiteY68990"/>
              </a:cxn>
              <a:cxn ang="0">
                <a:pos x="connsiteX68991" y="connsiteY68991"/>
              </a:cxn>
              <a:cxn ang="0">
                <a:pos x="connsiteX68992" y="connsiteY68992"/>
              </a:cxn>
              <a:cxn ang="0">
                <a:pos x="connsiteX68993" y="connsiteY68993"/>
              </a:cxn>
              <a:cxn ang="0">
                <a:pos x="connsiteX68994" y="connsiteY68994"/>
              </a:cxn>
              <a:cxn ang="0">
                <a:pos x="connsiteX68995" y="connsiteY68995"/>
              </a:cxn>
              <a:cxn ang="0">
                <a:pos x="connsiteX68996" y="connsiteY68996"/>
              </a:cxn>
              <a:cxn ang="0">
                <a:pos x="connsiteX68997" y="connsiteY68997"/>
              </a:cxn>
              <a:cxn ang="0">
                <a:pos x="connsiteX68998" y="connsiteY68998"/>
              </a:cxn>
              <a:cxn ang="0">
                <a:pos x="connsiteX68999" y="connsiteY68999"/>
              </a:cxn>
              <a:cxn ang="0">
                <a:pos x="connsiteX69000" y="connsiteY69000"/>
              </a:cxn>
              <a:cxn ang="0">
                <a:pos x="connsiteX69001" y="connsiteY69001"/>
              </a:cxn>
              <a:cxn ang="0">
                <a:pos x="connsiteX69002" y="connsiteY69002"/>
              </a:cxn>
              <a:cxn ang="0">
                <a:pos x="connsiteX69003" y="connsiteY69003"/>
              </a:cxn>
              <a:cxn ang="0">
                <a:pos x="connsiteX69004" y="connsiteY69004"/>
              </a:cxn>
              <a:cxn ang="0">
                <a:pos x="connsiteX69005" y="connsiteY69005"/>
              </a:cxn>
              <a:cxn ang="0">
                <a:pos x="connsiteX69006" y="connsiteY69006"/>
              </a:cxn>
              <a:cxn ang="0">
                <a:pos x="connsiteX69007" y="connsiteY69007"/>
              </a:cxn>
              <a:cxn ang="0">
                <a:pos x="connsiteX69008" y="connsiteY69008"/>
              </a:cxn>
              <a:cxn ang="0">
                <a:pos x="connsiteX69009" y="connsiteY69009"/>
              </a:cxn>
              <a:cxn ang="0">
                <a:pos x="connsiteX69010" y="connsiteY69010"/>
              </a:cxn>
              <a:cxn ang="0">
                <a:pos x="connsiteX69011" y="connsiteY69011"/>
              </a:cxn>
              <a:cxn ang="0">
                <a:pos x="connsiteX69012" y="connsiteY69012"/>
              </a:cxn>
              <a:cxn ang="0">
                <a:pos x="connsiteX69013" y="connsiteY69013"/>
              </a:cxn>
              <a:cxn ang="0">
                <a:pos x="connsiteX69014" y="connsiteY69014"/>
              </a:cxn>
              <a:cxn ang="0">
                <a:pos x="connsiteX69015" y="connsiteY69015"/>
              </a:cxn>
              <a:cxn ang="0">
                <a:pos x="connsiteX69016" y="connsiteY69016"/>
              </a:cxn>
              <a:cxn ang="0">
                <a:pos x="connsiteX69017" y="connsiteY69017"/>
              </a:cxn>
              <a:cxn ang="0">
                <a:pos x="connsiteX69018" y="connsiteY69018"/>
              </a:cxn>
              <a:cxn ang="0">
                <a:pos x="connsiteX69019" y="connsiteY69019"/>
              </a:cxn>
              <a:cxn ang="0">
                <a:pos x="connsiteX69020" y="connsiteY69020"/>
              </a:cxn>
              <a:cxn ang="0">
                <a:pos x="connsiteX69021" y="connsiteY69021"/>
              </a:cxn>
              <a:cxn ang="0">
                <a:pos x="connsiteX69022" y="connsiteY69022"/>
              </a:cxn>
              <a:cxn ang="0">
                <a:pos x="connsiteX69023" y="connsiteY69023"/>
              </a:cxn>
              <a:cxn ang="0">
                <a:pos x="connsiteX69024" y="connsiteY69024"/>
              </a:cxn>
              <a:cxn ang="0">
                <a:pos x="connsiteX69025" y="connsiteY69025"/>
              </a:cxn>
              <a:cxn ang="0">
                <a:pos x="connsiteX69026" y="connsiteY69026"/>
              </a:cxn>
              <a:cxn ang="0">
                <a:pos x="connsiteX69027" y="connsiteY69027"/>
              </a:cxn>
              <a:cxn ang="0">
                <a:pos x="connsiteX69028" y="connsiteY69028"/>
              </a:cxn>
              <a:cxn ang="0">
                <a:pos x="connsiteX69029" y="connsiteY69029"/>
              </a:cxn>
              <a:cxn ang="0">
                <a:pos x="connsiteX69030" y="connsiteY69030"/>
              </a:cxn>
              <a:cxn ang="0">
                <a:pos x="connsiteX69031" y="connsiteY69031"/>
              </a:cxn>
              <a:cxn ang="0">
                <a:pos x="connsiteX69032" y="connsiteY69032"/>
              </a:cxn>
              <a:cxn ang="0">
                <a:pos x="connsiteX69033" y="connsiteY69033"/>
              </a:cxn>
              <a:cxn ang="0">
                <a:pos x="connsiteX69034" y="connsiteY69034"/>
              </a:cxn>
              <a:cxn ang="0">
                <a:pos x="connsiteX69035" y="connsiteY69035"/>
              </a:cxn>
              <a:cxn ang="0">
                <a:pos x="connsiteX69036" y="connsiteY69036"/>
              </a:cxn>
              <a:cxn ang="0">
                <a:pos x="connsiteX69037" y="connsiteY69037"/>
              </a:cxn>
              <a:cxn ang="0">
                <a:pos x="connsiteX69038" y="connsiteY69038"/>
              </a:cxn>
              <a:cxn ang="0">
                <a:pos x="connsiteX69039" y="connsiteY69039"/>
              </a:cxn>
              <a:cxn ang="0">
                <a:pos x="connsiteX69040" y="connsiteY69040"/>
              </a:cxn>
              <a:cxn ang="0">
                <a:pos x="connsiteX69041" y="connsiteY69041"/>
              </a:cxn>
              <a:cxn ang="0">
                <a:pos x="connsiteX69042" y="connsiteY69042"/>
              </a:cxn>
              <a:cxn ang="0">
                <a:pos x="connsiteX69043" y="connsiteY69043"/>
              </a:cxn>
              <a:cxn ang="0">
                <a:pos x="connsiteX69044" y="connsiteY69044"/>
              </a:cxn>
              <a:cxn ang="0">
                <a:pos x="connsiteX69045" y="connsiteY69045"/>
              </a:cxn>
              <a:cxn ang="0">
                <a:pos x="connsiteX69046" y="connsiteY69046"/>
              </a:cxn>
              <a:cxn ang="0">
                <a:pos x="connsiteX69047" y="connsiteY69047"/>
              </a:cxn>
              <a:cxn ang="0">
                <a:pos x="connsiteX69048" y="connsiteY69048"/>
              </a:cxn>
              <a:cxn ang="0">
                <a:pos x="connsiteX69049" y="connsiteY69049"/>
              </a:cxn>
              <a:cxn ang="0">
                <a:pos x="connsiteX69050" y="connsiteY69050"/>
              </a:cxn>
              <a:cxn ang="0">
                <a:pos x="connsiteX69051" y="connsiteY69051"/>
              </a:cxn>
              <a:cxn ang="0">
                <a:pos x="connsiteX69052" y="connsiteY69052"/>
              </a:cxn>
              <a:cxn ang="0">
                <a:pos x="connsiteX69053" y="connsiteY69053"/>
              </a:cxn>
              <a:cxn ang="0">
                <a:pos x="connsiteX69054" y="connsiteY69054"/>
              </a:cxn>
              <a:cxn ang="0">
                <a:pos x="connsiteX69055" y="connsiteY69055"/>
              </a:cxn>
              <a:cxn ang="0">
                <a:pos x="connsiteX69056" y="connsiteY69056"/>
              </a:cxn>
              <a:cxn ang="0">
                <a:pos x="connsiteX69057" y="connsiteY69057"/>
              </a:cxn>
              <a:cxn ang="0">
                <a:pos x="connsiteX69058" y="connsiteY69058"/>
              </a:cxn>
              <a:cxn ang="0">
                <a:pos x="connsiteX69059" y="connsiteY69059"/>
              </a:cxn>
              <a:cxn ang="0">
                <a:pos x="connsiteX69060" y="connsiteY69060"/>
              </a:cxn>
              <a:cxn ang="0">
                <a:pos x="connsiteX69061" y="connsiteY69061"/>
              </a:cxn>
              <a:cxn ang="0">
                <a:pos x="connsiteX69062" y="connsiteY69062"/>
              </a:cxn>
              <a:cxn ang="0">
                <a:pos x="connsiteX69063" y="connsiteY69063"/>
              </a:cxn>
              <a:cxn ang="0">
                <a:pos x="connsiteX69064" y="connsiteY69064"/>
              </a:cxn>
              <a:cxn ang="0">
                <a:pos x="connsiteX69065" y="connsiteY69065"/>
              </a:cxn>
              <a:cxn ang="0">
                <a:pos x="connsiteX69066" y="connsiteY69066"/>
              </a:cxn>
              <a:cxn ang="0">
                <a:pos x="connsiteX69067" y="connsiteY69067"/>
              </a:cxn>
              <a:cxn ang="0">
                <a:pos x="connsiteX69068" y="connsiteY69068"/>
              </a:cxn>
              <a:cxn ang="0">
                <a:pos x="connsiteX69069" y="connsiteY69069"/>
              </a:cxn>
              <a:cxn ang="0">
                <a:pos x="connsiteX69070" y="connsiteY69070"/>
              </a:cxn>
              <a:cxn ang="0">
                <a:pos x="connsiteX69071" y="connsiteY69071"/>
              </a:cxn>
              <a:cxn ang="0">
                <a:pos x="connsiteX69072" y="connsiteY69072"/>
              </a:cxn>
              <a:cxn ang="0">
                <a:pos x="connsiteX69073" y="connsiteY69073"/>
              </a:cxn>
              <a:cxn ang="0">
                <a:pos x="connsiteX69074" y="connsiteY69074"/>
              </a:cxn>
              <a:cxn ang="0">
                <a:pos x="connsiteX69075" y="connsiteY69075"/>
              </a:cxn>
              <a:cxn ang="0">
                <a:pos x="connsiteX69076" y="connsiteY69076"/>
              </a:cxn>
              <a:cxn ang="0">
                <a:pos x="connsiteX69077" y="connsiteY69077"/>
              </a:cxn>
              <a:cxn ang="0">
                <a:pos x="connsiteX69078" y="connsiteY69078"/>
              </a:cxn>
              <a:cxn ang="0">
                <a:pos x="connsiteX69079" y="connsiteY69079"/>
              </a:cxn>
              <a:cxn ang="0">
                <a:pos x="connsiteX69080" y="connsiteY69080"/>
              </a:cxn>
              <a:cxn ang="0">
                <a:pos x="connsiteX69081" y="connsiteY69081"/>
              </a:cxn>
              <a:cxn ang="0">
                <a:pos x="connsiteX69082" y="connsiteY69082"/>
              </a:cxn>
              <a:cxn ang="0">
                <a:pos x="connsiteX69083" y="connsiteY69083"/>
              </a:cxn>
              <a:cxn ang="0">
                <a:pos x="connsiteX69084" y="connsiteY69084"/>
              </a:cxn>
              <a:cxn ang="0">
                <a:pos x="connsiteX69085" y="connsiteY69085"/>
              </a:cxn>
              <a:cxn ang="0">
                <a:pos x="connsiteX69086" y="connsiteY69086"/>
              </a:cxn>
              <a:cxn ang="0">
                <a:pos x="connsiteX69087" y="connsiteY69087"/>
              </a:cxn>
              <a:cxn ang="0">
                <a:pos x="connsiteX69088" y="connsiteY69088"/>
              </a:cxn>
              <a:cxn ang="0">
                <a:pos x="connsiteX69089" y="connsiteY69089"/>
              </a:cxn>
              <a:cxn ang="0">
                <a:pos x="connsiteX69090" y="connsiteY69090"/>
              </a:cxn>
              <a:cxn ang="0">
                <a:pos x="connsiteX69091" y="connsiteY69091"/>
              </a:cxn>
              <a:cxn ang="0">
                <a:pos x="connsiteX69092" y="connsiteY69092"/>
              </a:cxn>
              <a:cxn ang="0">
                <a:pos x="connsiteX69093" y="connsiteY69093"/>
              </a:cxn>
              <a:cxn ang="0">
                <a:pos x="connsiteX69094" y="connsiteY69094"/>
              </a:cxn>
              <a:cxn ang="0">
                <a:pos x="connsiteX69095" y="connsiteY69095"/>
              </a:cxn>
              <a:cxn ang="0">
                <a:pos x="connsiteX69096" y="connsiteY69096"/>
              </a:cxn>
              <a:cxn ang="0">
                <a:pos x="connsiteX69097" y="connsiteY69097"/>
              </a:cxn>
              <a:cxn ang="0">
                <a:pos x="connsiteX69098" y="connsiteY69098"/>
              </a:cxn>
              <a:cxn ang="0">
                <a:pos x="connsiteX69099" y="connsiteY69099"/>
              </a:cxn>
              <a:cxn ang="0">
                <a:pos x="connsiteX69100" y="connsiteY69100"/>
              </a:cxn>
              <a:cxn ang="0">
                <a:pos x="connsiteX69101" y="connsiteY69101"/>
              </a:cxn>
              <a:cxn ang="0">
                <a:pos x="connsiteX69102" y="connsiteY69102"/>
              </a:cxn>
              <a:cxn ang="0">
                <a:pos x="connsiteX69103" y="connsiteY69103"/>
              </a:cxn>
              <a:cxn ang="0">
                <a:pos x="connsiteX69104" y="connsiteY69104"/>
              </a:cxn>
              <a:cxn ang="0">
                <a:pos x="connsiteX69105" y="connsiteY69105"/>
              </a:cxn>
              <a:cxn ang="0">
                <a:pos x="connsiteX69106" y="connsiteY69106"/>
              </a:cxn>
              <a:cxn ang="0">
                <a:pos x="connsiteX69107" y="connsiteY69107"/>
              </a:cxn>
              <a:cxn ang="0">
                <a:pos x="connsiteX69108" y="connsiteY69108"/>
              </a:cxn>
              <a:cxn ang="0">
                <a:pos x="connsiteX69109" y="connsiteY69109"/>
              </a:cxn>
              <a:cxn ang="0">
                <a:pos x="connsiteX69110" y="connsiteY69110"/>
              </a:cxn>
              <a:cxn ang="0">
                <a:pos x="connsiteX69111" y="connsiteY69111"/>
              </a:cxn>
              <a:cxn ang="0">
                <a:pos x="connsiteX69112" y="connsiteY69112"/>
              </a:cxn>
              <a:cxn ang="0">
                <a:pos x="connsiteX69113" y="connsiteY69113"/>
              </a:cxn>
              <a:cxn ang="0">
                <a:pos x="connsiteX69114" y="connsiteY69114"/>
              </a:cxn>
              <a:cxn ang="0">
                <a:pos x="connsiteX69115" y="connsiteY69115"/>
              </a:cxn>
              <a:cxn ang="0">
                <a:pos x="connsiteX69116" y="connsiteY69116"/>
              </a:cxn>
              <a:cxn ang="0">
                <a:pos x="connsiteX69117" y="connsiteY69117"/>
              </a:cxn>
              <a:cxn ang="0">
                <a:pos x="connsiteX69118" y="connsiteY69118"/>
              </a:cxn>
              <a:cxn ang="0">
                <a:pos x="connsiteX69119" y="connsiteY69119"/>
              </a:cxn>
              <a:cxn ang="0">
                <a:pos x="connsiteX69120" y="connsiteY69120"/>
              </a:cxn>
              <a:cxn ang="0">
                <a:pos x="connsiteX69121" y="connsiteY69121"/>
              </a:cxn>
              <a:cxn ang="0">
                <a:pos x="connsiteX69122" y="connsiteY69122"/>
              </a:cxn>
              <a:cxn ang="0">
                <a:pos x="connsiteX69123" y="connsiteY69123"/>
              </a:cxn>
              <a:cxn ang="0">
                <a:pos x="connsiteX69124" y="connsiteY69124"/>
              </a:cxn>
              <a:cxn ang="0">
                <a:pos x="connsiteX69125" y="connsiteY69125"/>
              </a:cxn>
              <a:cxn ang="0">
                <a:pos x="connsiteX69126" y="connsiteY69126"/>
              </a:cxn>
              <a:cxn ang="0">
                <a:pos x="connsiteX69127" y="connsiteY69127"/>
              </a:cxn>
              <a:cxn ang="0">
                <a:pos x="connsiteX69128" y="connsiteY69128"/>
              </a:cxn>
              <a:cxn ang="0">
                <a:pos x="connsiteX69129" y="connsiteY69129"/>
              </a:cxn>
              <a:cxn ang="0">
                <a:pos x="connsiteX69130" y="connsiteY69130"/>
              </a:cxn>
              <a:cxn ang="0">
                <a:pos x="connsiteX69131" y="connsiteY69131"/>
              </a:cxn>
              <a:cxn ang="0">
                <a:pos x="connsiteX69132" y="connsiteY69132"/>
              </a:cxn>
              <a:cxn ang="0">
                <a:pos x="connsiteX69133" y="connsiteY69133"/>
              </a:cxn>
              <a:cxn ang="0">
                <a:pos x="connsiteX69134" y="connsiteY69134"/>
              </a:cxn>
              <a:cxn ang="0">
                <a:pos x="connsiteX69135" y="connsiteY69135"/>
              </a:cxn>
              <a:cxn ang="0">
                <a:pos x="connsiteX69136" y="connsiteY69136"/>
              </a:cxn>
              <a:cxn ang="0">
                <a:pos x="connsiteX69137" y="connsiteY69137"/>
              </a:cxn>
              <a:cxn ang="0">
                <a:pos x="connsiteX69138" y="connsiteY69138"/>
              </a:cxn>
              <a:cxn ang="0">
                <a:pos x="connsiteX69139" y="connsiteY69139"/>
              </a:cxn>
              <a:cxn ang="0">
                <a:pos x="connsiteX69140" y="connsiteY69140"/>
              </a:cxn>
              <a:cxn ang="0">
                <a:pos x="connsiteX69141" y="connsiteY69141"/>
              </a:cxn>
              <a:cxn ang="0">
                <a:pos x="connsiteX69142" y="connsiteY69142"/>
              </a:cxn>
              <a:cxn ang="0">
                <a:pos x="connsiteX69143" y="connsiteY69143"/>
              </a:cxn>
              <a:cxn ang="0">
                <a:pos x="connsiteX69144" y="connsiteY69144"/>
              </a:cxn>
              <a:cxn ang="0">
                <a:pos x="connsiteX69145" y="connsiteY69145"/>
              </a:cxn>
              <a:cxn ang="0">
                <a:pos x="connsiteX69146" y="connsiteY69146"/>
              </a:cxn>
              <a:cxn ang="0">
                <a:pos x="connsiteX69147" y="connsiteY69147"/>
              </a:cxn>
              <a:cxn ang="0">
                <a:pos x="connsiteX69148" y="connsiteY69148"/>
              </a:cxn>
              <a:cxn ang="0">
                <a:pos x="connsiteX69149" y="connsiteY69149"/>
              </a:cxn>
              <a:cxn ang="0">
                <a:pos x="connsiteX69150" y="connsiteY69150"/>
              </a:cxn>
              <a:cxn ang="0">
                <a:pos x="connsiteX69151" y="connsiteY69151"/>
              </a:cxn>
              <a:cxn ang="0">
                <a:pos x="connsiteX69152" y="connsiteY69152"/>
              </a:cxn>
              <a:cxn ang="0">
                <a:pos x="connsiteX69153" y="connsiteY69153"/>
              </a:cxn>
              <a:cxn ang="0">
                <a:pos x="connsiteX69154" y="connsiteY69154"/>
              </a:cxn>
              <a:cxn ang="0">
                <a:pos x="connsiteX69155" y="connsiteY69155"/>
              </a:cxn>
              <a:cxn ang="0">
                <a:pos x="connsiteX69156" y="connsiteY69156"/>
              </a:cxn>
              <a:cxn ang="0">
                <a:pos x="connsiteX69157" y="connsiteY69157"/>
              </a:cxn>
              <a:cxn ang="0">
                <a:pos x="connsiteX69158" y="connsiteY69158"/>
              </a:cxn>
              <a:cxn ang="0">
                <a:pos x="connsiteX69159" y="connsiteY69159"/>
              </a:cxn>
              <a:cxn ang="0">
                <a:pos x="connsiteX69160" y="connsiteY69160"/>
              </a:cxn>
              <a:cxn ang="0">
                <a:pos x="connsiteX69161" y="connsiteY69161"/>
              </a:cxn>
              <a:cxn ang="0">
                <a:pos x="connsiteX69162" y="connsiteY69162"/>
              </a:cxn>
              <a:cxn ang="0">
                <a:pos x="connsiteX69163" y="connsiteY69163"/>
              </a:cxn>
              <a:cxn ang="0">
                <a:pos x="connsiteX69164" y="connsiteY69164"/>
              </a:cxn>
              <a:cxn ang="0">
                <a:pos x="connsiteX69165" y="connsiteY69165"/>
              </a:cxn>
              <a:cxn ang="0">
                <a:pos x="connsiteX69166" y="connsiteY69166"/>
              </a:cxn>
              <a:cxn ang="0">
                <a:pos x="connsiteX69167" y="connsiteY69167"/>
              </a:cxn>
              <a:cxn ang="0">
                <a:pos x="connsiteX69168" y="connsiteY69168"/>
              </a:cxn>
              <a:cxn ang="0">
                <a:pos x="connsiteX69169" y="connsiteY69169"/>
              </a:cxn>
              <a:cxn ang="0">
                <a:pos x="connsiteX69170" y="connsiteY69170"/>
              </a:cxn>
              <a:cxn ang="0">
                <a:pos x="connsiteX69171" y="connsiteY69171"/>
              </a:cxn>
              <a:cxn ang="0">
                <a:pos x="connsiteX69172" y="connsiteY69172"/>
              </a:cxn>
              <a:cxn ang="0">
                <a:pos x="connsiteX69173" y="connsiteY69173"/>
              </a:cxn>
              <a:cxn ang="0">
                <a:pos x="connsiteX69174" y="connsiteY69174"/>
              </a:cxn>
              <a:cxn ang="0">
                <a:pos x="connsiteX69175" y="connsiteY69175"/>
              </a:cxn>
              <a:cxn ang="0">
                <a:pos x="connsiteX69176" y="connsiteY69176"/>
              </a:cxn>
              <a:cxn ang="0">
                <a:pos x="connsiteX69177" y="connsiteY69177"/>
              </a:cxn>
              <a:cxn ang="0">
                <a:pos x="connsiteX69178" y="connsiteY69178"/>
              </a:cxn>
              <a:cxn ang="0">
                <a:pos x="connsiteX69179" y="connsiteY69179"/>
              </a:cxn>
              <a:cxn ang="0">
                <a:pos x="connsiteX69180" y="connsiteY69180"/>
              </a:cxn>
              <a:cxn ang="0">
                <a:pos x="connsiteX69181" y="connsiteY69181"/>
              </a:cxn>
              <a:cxn ang="0">
                <a:pos x="connsiteX69182" y="connsiteY69182"/>
              </a:cxn>
              <a:cxn ang="0">
                <a:pos x="connsiteX69183" y="connsiteY69183"/>
              </a:cxn>
              <a:cxn ang="0">
                <a:pos x="connsiteX69184" y="connsiteY69184"/>
              </a:cxn>
              <a:cxn ang="0">
                <a:pos x="connsiteX69185" y="connsiteY69185"/>
              </a:cxn>
              <a:cxn ang="0">
                <a:pos x="connsiteX69186" y="connsiteY69186"/>
              </a:cxn>
              <a:cxn ang="0">
                <a:pos x="connsiteX69187" y="connsiteY69187"/>
              </a:cxn>
              <a:cxn ang="0">
                <a:pos x="connsiteX69188" y="connsiteY69188"/>
              </a:cxn>
              <a:cxn ang="0">
                <a:pos x="connsiteX69189" y="connsiteY69189"/>
              </a:cxn>
              <a:cxn ang="0">
                <a:pos x="connsiteX69190" y="connsiteY69190"/>
              </a:cxn>
              <a:cxn ang="0">
                <a:pos x="connsiteX69191" y="connsiteY69191"/>
              </a:cxn>
              <a:cxn ang="0">
                <a:pos x="connsiteX69192" y="connsiteY69192"/>
              </a:cxn>
              <a:cxn ang="0">
                <a:pos x="connsiteX69193" y="connsiteY69193"/>
              </a:cxn>
              <a:cxn ang="0">
                <a:pos x="connsiteX69194" y="connsiteY69194"/>
              </a:cxn>
              <a:cxn ang="0">
                <a:pos x="connsiteX69195" y="connsiteY69195"/>
              </a:cxn>
              <a:cxn ang="0">
                <a:pos x="connsiteX69196" y="connsiteY69196"/>
              </a:cxn>
              <a:cxn ang="0">
                <a:pos x="connsiteX69197" y="connsiteY69197"/>
              </a:cxn>
              <a:cxn ang="0">
                <a:pos x="connsiteX69198" y="connsiteY69198"/>
              </a:cxn>
              <a:cxn ang="0">
                <a:pos x="connsiteX69199" y="connsiteY69199"/>
              </a:cxn>
              <a:cxn ang="0">
                <a:pos x="connsiteX69200" y="connsiteY69200"/>
              </a:cxn>
              <a:cxn ang="0">
                <a:pos x="connsiteX69201" y="connsiteY69201"/>
              </a:cxn>
              <a:cxn ang="0">
                <a:pos x="connsiteX69202" y="connsiteY69202"/>
              </a:cxn>
              <a:cxn ang="0">
                <a:pos x="connsiteX69203" y="connsiteY69203"/>
              </a:cxn>
              <a:cxn ang="0">
                <a:pos x="connsiteX69204" y="connsiteY69204"/>
              </a:cxn>
              <a:cxn ang="0">
                <a:pos x="connsiteX69205" y="connsiteY69205"/>
              </a:cxn>
              <a:cxn ang="0">
                <a:pos x="connsiteX69206" y="connsiteY69206"/>
              </a:cxn>
              <a:cxn ang="0">
                <a:pos x="connsiteX69207" y="connsiteY69207"/>
              </a:cxn>
              <a:cxn ang="0">
                <a:pos x="connsiteX69208" y="connsiteY69208"/>
              </a:cxn>
              <a:cxn ang="0">
                <a:pos x="connsiteX69209" y="connsiteY69209"/>
              </a:cxn>
              <a:cxn ang="0">
                <a:pos x="connsiteX69210" y="connsiteY69210"/>
              </a:cxn>
              <a:cxn ang="0">
                <a:pos x="connsiteX69211" y="connsiteY69211"/>
              </a:cxn>
              <a:cxn ang="0">
                <a:pos x="connsiteX69212" y="connsiteY69212"/>
              </a:cxn>
              <a:cxn ang="0">
                <a:pos x="connsiteX69213" y="connsiteY69213"/>
              </a:cxn>
              <a:cxn ang="0">
                <a:pos x="connsiteX69214" y="connsiteY69214"/>
              </a:cxn>
              <a:cxn ang="0">
                <a:pos x="connsiteX69215" y="connsiteY69215"/>
              </a:cxn>
              <a:cxn ang="0">
                <a:pos x="connsiteX69216" y="connsiteY69216"/>
              </a:cxn>
              <a:cxn ang="0">
                <a:pos x="connsiteX69217" y="connsiteY69217"/>
              </a:cxn>
              <a:cxn ang="0">
                <a:pos x="connsiteX69218" y="connsiteY69218"/>
              </a:cxn>
              <a:cxn ang="0">
                <a:pos x="connsiteX69219" y="connsiteY69219"/>
              </a:cxn>
              <a:cxn ang="0">
                <a:pos x="connsiteX69220" y="connsiteY69220"/>
              </a:cxn>
              <a:cxn ang="0">
                <a:pos x="connsiteX69221" y="connsiteY69221"/>
              </a:cxn>
              <a:cxn ang="0">
                <a:pos x="connsiteX69222" y="connsiteY69222"/>
              </a:cxn>
              <a:cxn ang="0">
                <a:pos x="connsiteX69223" y="connsiteY69223"/>
              </a:cxn>
              <a:cxn ang="0">
                <a:pos x="connsiteX69224" y="connsiteY69224"/>
              </a:cxn>
              <a:cxn ang="0">
                <a:pos x="connsiteX69225" y="connsiteY69225"/>
              </a:cxn>
              <a:cxn ang="0">
                <a:pos x="connsiteX69226" y="connsiteY69226"/>
              </a:cxn>
              <a:cxn ang="0">
                <a:pos x="connsiteX69227" y="connsiteY69227"/>
              </a:cxn>
              <a:cxn ang="0">
                <a:pos x="connsiteX69228" y="connsiteY69228"/>
              </a:cxn>
              <a:cxn ang="0">
                <a:pos x="connsiteX69229" y="connsiteY69229"/>
              </a:cxn>
              <a:cxn ang="0">
                <a:pos x="connsiteX69230" y="connsiteY69230"/>
              </a:cxn>
              <a:cxn ang="0">
                <a:pos x="connsiteX69231" y="connsiteY69231"/>
              </a:cxn>
              <a:cxn ang="0">
                <a:pos x="connsiteX69232" y="connsiteY69232"/>
              </a:cxn>
              <a:cxn ang="0">
                <a:pos x="connsiteX69233" y="connsiteY69233"/>
              </a:cxn>
              <a:cxn ang="0">
                <a:pos x="connsiteX69234" y="connsiteY69234"/>
              </a:cxn>
              <a:cxn ang="0">
                <a:pos x="connsiteX69235" y="connsiteY69235"/>
              </a:cxn>
              <a:cxn ang="0">
                <a:pos x="connsiteX69236" y="connsiteY69236"/>
              </a:cxn>
              <a:cxn ang="0">
                <a:pos x="connsiteX69237" y="connsiteY69237"/>
              </a:cxn>
              <a:cxn ang="0">
                <a:pos x="connsiteX69238" y="connsiteY69238"/>
              </a:cxn>
              <a:cxn ang="0">
                <a:pos x="connsiteX69239" y="connsiteY69239"/>
              </a:cxn>
              <a:cxn ang="0">
                <a:pos x="connsiteX69240" y="connsiteY69240"/>
              </a:cxn>
              <a:cxn ang="0">
                <a:pos x="connsiteX69241" y="connsiteY69241"/>
              </a:cxn>
              <a:cxn ang="0">
                <a:pos x="connsiteX69242" y="connsiteY69242"/>
              </a:cxn>
              <a:cxn ang="0">
                <a:pos x="connsiteX69243" y="connsiteY69243"/>
              </a:cxn>
              <a:cxn ang="0">
                <a:pos x="connsiteX69244" y="connsiteY69244"/>
              </a:cxn>
              <a:cxn ang="0">
                <a:pos x="connsiteX69245" y="connsiteY69245"/>
              </a:cxn>
              <a:cxn ang="0">
                <a:pos x="connsiteX69246" y="connsiteY69246"/>
              </a:cxn>
              <a:cxn ang="0">
                <a:pos x="connsiteX69247" y="connsiteY69247"/>
              </a:cxn>
              <a:cxn ang="0">
                <a:pos x="connsiteX69248" y="connsiteY69248"/>
              </a:cxn>
              <a:cxn ang="0">
                <a:pos x="connsiteX69249" y="connsiteY69249"/>
              </a:cxn>
              <a:cxn ang="0">
                <a:pos x="connsiteX69250" y="connsiteY69250"/>
              </a:cxn>
              <a:cxn ang="0">
                <a:pos x="connsiteX69251" y="connsiteY69251"/>
              </a:cxn>
              <a:cxn ang="0">
                <a:pos x="connsiteX69252" y="connsiteY69252"/>
              </a:cxn>
              <a:cxn ang="0">
                <a:pos x="connsiteX69253" y="connsiteY69253"/>
              </a:cxn>
              <a:cxn ang="0">
                <a:pos x="connsiteX69254" y="connsiteY69254"/>
              </a:cxn>
              <a:cxn ang="0">
                <a:pos x="connsiteX69255" y="connsiteY69255"/>
              </a:cxn>
              <a:cxn ang="0">
                <a:pos x="connsiteX69256" y="connsiteY69256"/>
              </a:cxn>
              <a:cxn ang="0">
                <a:pos x="connsiteX69257" y="connsiteY69257"/>
              </a:cxn>
              <a:cxn ang="0">
                <a:pos x="connsiteX69258" y="connsiteY69258"/>
              </a:cxn>
              <a:cxn ang="0">
                <a:pos x="connsiteX69259" y="connsiteY69259"/>
              </a:cxn>
              <a:cxn ang="0">
                <a:pos x="connsiteX69260" y="connsiteY69260"/>
              </a:cxn>
              <a:cxn ang="0">
                <a:pos x="connsiteX69261" y="connsiteY69261"/>
              </a:cxn>
              <a:cxn ang="0">
                <a:pos x="connsiteX69262" y="connsiteY69262"/>
              </a:cxn>
              <a:cxn ang="0">
                <a:pos x="connsiteX69263" y="connsiteY69263"/>
              </a:cxn>
              <a:cxn ang="0">
                <a:pos x="connsiteX69264" y="connsiteY69264"/>
              </a:cxn>
              <a:cxn ang="0">
                <a:pos x="connsiteX69265" y="connsiteY69265"/>
              </a:cxn>
              <a:cxn ang="0">
                <a:pos x="connsiteX69266" y="connsiteY69266"/>
              </a:cxn>
              <a:cxn ang="0">
                <a:pos x="connsiteX69267" y="connsiteY69267"/>
              </a:cxn>
              <a:cxn ang="0">
                <a:pos x="connsiteX69268" y="connsiteY69268"/>
              </a:cxn>
              <a:cxn ang="0">
                <a:pos x="connsiteX69269" y="connsiteY69269"/>
              </a:cxn>
              <a:cxn ang="0">
                <a:pos x="connsiteX69270" y="connsiteY69270"/>
              </a:cxn>
              <a:cxn ang="0">
                <a:pos x="connsiteX69271" y="connsiteY69271"/>
              </a:cxn>
              <a:cxn ang="0">
                <a:pos x="connsiteX69272" y="connsiteY69272"/>
              </a:cxn>
              <a:cxn ang="0">
                <a:pos x="connsiteX69273" y="connsiteY69273"/>
              </a:cxn>
              <a:cxn ang="0">
                <a:pos x="connsiteX69274" y="connsiteY69274"/>
              </a:cxn>
              <a:cxn ang="0">
                <a:pos x="connsiteX69275" y="connsiteY69275"/>
              </a:cxn>
              <a:cxn ang="0">
                <a:pos x="connsiteX69276" y="connsiteY69276"/>
              </a:cxn>
              <a:cxn ang="0">
                <a:pos x="connsiteX69277" y="connsiteY69277"/>
              </a:cxn>
              <a:cxn ang="0">
                <a:pos x="connsiteX69278" y="connsiteY69278"/>
              </a:cxn>
              <a:cxn ang="0">
                <a:pos x="connsiteX69279" y="connsiteY69279"/>
              </a:cxn>
              <a:cxn ang="0">
                <a:pos x="connsiteX69280" y="connsiteY69280"/>
              </a:cxn>
              <a:cxn ang="0">
                <a:pos x="connsiteX69281" y="connsiteY69281"/>
              </a:cxn>
              <a:cxn ang="0">
                <a:pos x="connsiteX69282" y="connsiteY69282"/>
              </a:cxn>
              <a:cxn ang="0">
                <a:pos x="connsiteX69283" y="connsiteY69283"/>
              </a:cxn>
              <a:cxn ang="0">
                <a:pos x="connsiteX69284" y="connsiteY69284"/>
              </a:cxn>
              <a:cxn ang="0">
                <a:pos x="connsiteX69285" y="connsiteY69285"/>
              </a:cxn>
              <a:cxn ang="0">
                <a:pos x="connsiteX69286" y="connsiteY69286"/>
              </a:cxn>
              <a:cxn ang="0">
                <a:pos x="connsiteX69287" y="connsiteY69287"/>
              </a:cxn>
              <a:cxn ang="0">
                <a:pos x="connsiteX69288" y="connsiteY69288"/>
              </a:cxn>
              <a:cxn ang="0">
                <a:pos x="connsiteX69289" y="connsiteY69289"/>
              </a:cxn>
              <a:cxn ang="0">
                <a:pos x="connsiteX69290" y="connsiteY69290"/>
              </a:cxn>
              <a:cxn ang="0">
                <a:pos x="connsiteX69291" y="connsiteY69291"/>
              </a:cxn>
              <a:cxn ang="0">
                <a:pos x="connsiteX69292" y="connsiteY69292"/>
              </a:cxn>
              <a:cxn ang="0">
                <a:pos x="connsiteX69293" y="connsiteY69293"/>
              </a:cxn>
              <a:cxn ang="0">
                <a:pos x="connsiteX69294" y="connsiteY69294"/>
              </a:cxn>
              <a:cxn ang="0">
                <a:pos x="connsiteX69295" y="connsiteY69295"/>
              </a:cxn>
              <a:cxn ang="0">
                <a:pos x="connsiteX69296" y="connsiteY69296"/>
              </a:cxn>
              <a:cxn ang="0">
                <a:pos x="connsiteX69297" y="connsiteY69297"/>
              </a:cxn>
              <a:cxn ang="0">
                <a:pos x="connsiteX69298" y="connsiteY69298"/>
              </a:cxn>
              <a:cxn ang="0">
                <a:pos x="connsiteX69299" y="connsiteY69299"/>
              </a:cxn>
              <a:cxn ang="0">
                <a:pos x="connsiteX69300" y="connsiteY69300"/>
              </a:cxn>
              <a:cxn ang="0">
                <a:pos x="connsiteX69301" y="connsiteY69301"/>
              </a:cxn>
              <a:cxn ang="0">
                <a:pos x="connsiteX69302" y="connsiteY69302"/>
              </a:cxn>
              <a:cxn ang="0">
                <a:pos x="connsiteX69303" y="connsiteY69303"/>
              </a:cxn>
              <a:cxn ang="0">
                <a:pos x="connsiteX69304" y="connsiteY69304"/>
              </a:cxn>
              <a:cxn ang="0">
                <a:pos x="connsiteX69305" y="connsiteY69305"/>
              </a:cxn>
              <a:cxn ang="0">
                <a:pos x="connsiteX69306" y="connsiteY69306"/>
              </a:cxn>
              <a:cxn ang="0">
                <a:pos x="connsiteX69307" y="connsiteY69307"/>
              </a:cxn>
              <a:cxn ang="0">
                <a:pos x="connsiteX69308" y="connsiteY69308"/>
              </a:cxn>
              <a:cxn ang="0">
                <a:pos x="connsiteX69309" y="connsiteY69309"/>
              </a:cxn>
              <a:cxn ang="0">
                <a:pos x="connsiteX69310" y="connsiteY69310"/>
              </a:cxn>
              <a:cxn ang="0">
                <a:pos x="connsiteX69311" y="connsiteY69311"/>
              </a:cxn>
              <a:cxn ang="0">
                <a:pos x="connsiteX69312" y="connsiteY69312"/>
              </a:cxn>
              <a:cxn ang="0">
                <a:pos x="connsiteX69313" y="connsiteY69313"/>
              </a:cxn>
              <a:cxn ang="0">
                <a:pos x="connsiteX69314" y="connsiteY69314"/>
              </a:cxn>
              <a:cxn ang="0">
                <a:pos x="connsiteX69315" y="connsiteY69315"/>
              </a:cxn>
              <a:cxn ang="0">
                <a:pos x="connsiteX69316" y="connsiteY69316"/>
              </a:cxn>
              <a:cxn ang="0">
                <a:pos x="connsiteX69317" y="connsiteY69317"/>
              </a:cxn>
              <a:cxn ang="0">
                <a:pos x="connsiteX69318" y="connsiteY69318"/>
              </a:cxn>
              <a:cxn ang="0">
                <a:pos x="connsiteX69319" y="connsiteY69319"/>
              </a:cxn>
              <a:cxn ang="0">
                <a:pos x="connsiteX69320" y="connsiteY69320"/>
              </a:cxn>
              <a:cxn ang="0">
                <a:pos x="connsiteX69321" y="connsiteY69321"/>
              </a:cxn>
              <a:cxn ang="0">
                <a:pos x="connsiteX69322" y="connsiteY69322"/>
              </a:cxn>
              <a:cxn ang="0">
                <a:pos x="connsiteX69323" y="connsiteY69323"/>
              </a:cxn>
              <a:cxn ang="0">
                <a:pos x="connsiteX69324" y="connsiteY69324"/>
              </a:cxn>
              <a:cxn ang="0">
                <a:pos x="connsiteX69325" y="connsiteY69325"/>
              </a:cxn>
              <a:cxn ang="0">
                <a:pos x="connsiteX69326" y="connsiteY69326"/>
              </a:cxn>
              <a:cxn ang="0">
                <a:pos x="connsiteX69327" y="connsiteY69327"/>
              </a:cxn>
              <a:cxn ang="0">
                <a:pos x="connsiteX69328" y="connsiteY69328"/>
              </a:cxn>
              <a:cxn ang="0">
                <a:pos x="connsiteX69329" y="connsiteY69329"/>
              </a:cxn>
              <a:cxn ang="0">
                <a:pos x="connsiteX69330" y="connsiteY69330"/>
              </a:cxn>
              <a:cxn ang="0">
                <a:pos x="connsiteX69331" y="connsiteY69331"/>
              </a:cxn>
              <a:cxn ang="0">
                <a:pos x="connsiteX69332" y="connsiteY69332"/>
              </a:cxn>
              <a:cxn ang="0">
                <a:pos x="connsiteX69333" y="connsiteY69333"/>
              </a:cxn>
              <a:cxn ang="0">
                <a:pos x="connsiteX69334" y="connsiteY69334"/>
              </a:cxn>
              <a:cxn ang="0">
                <a:pos x="connsiteX69335" y="connsiteY69335"/>
              </a:cxn>
              <a:cxn ang="0">
                <a:pos x="connsiteX69336" y="connsiteY69336"/>
              </a:cxn>
              <a:cxn ang="0">
                <a:pos x="connsiteX69337" y="connsiteY69337"/>
              </a:cxn>
              <a:cxn ang="0">
                <a:pos x="connsiteX69338" y="connsiteY69338"/>
              </a:cxn>
              <a:cxn ang="0">
                <a:pos x="connsiteX69339" y="connsiteY69339"/>
              </a:cxn>
              <a:cxn ang="0">
                <a:pos x="connsiteX69340" y="connsiteY69340"/>
              </a:cxn>
              <a:cxn ang="0">
                <a:pos x="connsiteX69341" y="connsiteY69341"/>
              </a:cxn>
              <a:cxn ang="0">
                <a:pos x="connsiteX69342" y="connsiteY69342"/>
              </a:cxn>
              <a:cxn ang="0">
                <a:pos x="connsiteX69343" y="connsiteY69343"/>
              </a:cxn>
              <a:cxn ang="0">
                <a:pos x="connsiteX69344" y="connsiteY69344"/>
              </a:cxn>
              <a:cxn ang="0">
                <a:pos x="connsiteX69345" y="connsiteY69345"/>
              </a:cxn>
              <a:cxn ang="0">
                <a:pos x="connsiteX69346" y="connsiteY69346"/>
              </a:cxn>
              <a:cxn ang="0">
                <a:pos x="connsiteX69347" y="connsiteY69347"/>
              </a:cxn>
              <a:cxn ang="0">
                <a:pos x="connsiteX69348" y="connsiteY69348"/>
              </a:cxn>
              <a:cxn ang="0">
                <a:pos x="connsiteX69349" y="connsiteY69349"/>
              </a:cxn>
              <a:cxn ang="0">
                <a:pos x="connsiteX69350" y="connsiteY69350"/>
              </a:cxn>
              <a:cxn ang="0">
                <a:pos x="connsiteX69351" y="connsiteY69351"/>
              </a:cxn>
              <a:cxn ang="0">
                <a:pos x="connsiteX69352" y="connsiteY69352"/>
              </a:cxn>
              <a:cxn ang="0">
                <a:pos x="connsiteX69353" y="connsiteY69353"/>
              </a:cxn>
              <a:cxn ang="0">
                <a:pos x="connsiteX69354" y="connsiteY69354"/>
              </a:cxn>
              <a:cxn ang="0">
                <a:pos x="connsiteX69355" y="connsiteY69355"/>
              </a:cxn>
              <a:cxn ang="0">
                <a:pos x="connsiteX69356" y="connsiteY69356"/>
              </a:cxn>
              <a:cxn ang="0">
                <a:pos x="connsiteX69357" y="connsiteY69357"/>
              </a:cxn>
              <a:cxn ang="0">
                <a:pos x="connsiteX69358" y="connsiteY69358"/>
              </a:cxn>
              <a:cxn ang="0">
                <a:pos x="connsiteX69359" y="connsiteY69359"/>
              </a:cxn>
              <a:cxn ang="0">
                <a:pos x="connsiteX69360" y="connsiteY69360"/>
              </a:cxn>
              <a:cxn ang="0">
                <a:pos x="connsiteX69361" y="connsiteY69361"/>
              </a:cxn>
              <a:cxn ang="0">
                <a:pos x="connsiteX69362" y="connsiteY69362"/>
              </a:cxn>
              <a:cxn ang="0">
                <a:pos x="connsiteX69363" y="connsiteY69363"/>
              </a:cxn>
              <a:cxn ang="0">
                <a:pos x="connsiteX69364" y="connsiteY69364"/>
              </a:cxn>
              <a:cxn ang="0">
                <a:pos x="connsiteX69365" y="connsiteY69365"/>
              </a:cxn>
              <a:cxn ang="0">
                <a:pos x="connsiteX69366" y="connsiteY69366"/>
              </a:cxn>
              <a:cxn ang="0">
                <a:pos x="connsiteX69367" y="connsiteY69367"/>
              </a:cxn>
              <a:cxn ang="0">
                <a:pos x="connsiteX69368" y="connsiteY69368"/>
              </a:cxn>
              <a:cxn ang="0">
                <a:pos x="connsiteX69369" y="connsiteY69369"/>
              </a:cxn>
              <a:cxn ang="0">
                <a:pos x="connsiteX69370" y="connsiteY69370"/>
              </a:cxn>
              <a:cxn ang="0">
                <a:pos x="connsiteX69371" y="connsiteY69371"/>
              </a:cxn>
              <a:cxn ang="0">
                <a:pos x="connsiteX69372" y="connsiteY69372"/>
              </a:cxn>
              <a:cxn ang="0">
                <a:pos x="connsiteX69373" y="connsiteY69373"/>
              </a:cxn>
              <a:cxn ang="0">
                <a:pos x="connsiteX69374" y="connsiteY69374"/>
              </a:cxn>
              <a:cxn ang="0">
                <a:pos x="connsiteX69375" y="connsiteY69375"/>
              </a:cxn>
              <a:cxn ang="0">
                <a:pos x="connsiteX69376" y="connsiteY69376"/>
              </a:cxn>
              <a:cxn ang="0">
                <a:pos x="connsiteX69377" y="connsiteY69377"/>
              </a:cxn>
              <a:cxn ang="0">
                <a:pos x="connsiteX69378" y="connsiteY69378"/>
              </a:cxn>
              <a:cxn ang="0">
                <a:pos x="connsiteX69379" y="connsiteY69379"/>
              </a:cxn>
              <a:cxn ang="0">
                <a:pos x="connsiteX69380" y="connsiteY69380"/>
              </a:cxn>
              <a:cxn ang="0">
                <a:pos x="connsiteX69381" y="connsiteY69381"/>
              </a:cxn>
              <a:cxn ang="0">
                <a:pos x="connsiteX69382" y="connsiteY69382"/>
              </a:cxn>
              <a:cxn ang="0">
                <a:pos x="connsiteX69383" y="connsiteY69383"/>
              </a:cxn>
              <a:cxn ang="0">
                <a:pos x="connsiteX69384" y="connsiteY69384"/>
              </a:cxn>
              <a:cxn ang="0">
                <a:pos x="connsiteX69385" y="connsiteY69385"/>
              </a:cxn>
              <a:cxn ang="0">
                <a:pos x="connsiteX69386" y="connsiteY69386"/>
              </a:cxn>
              <a:cxn ang="0">
                <a:pos x="connsiteX69387" y="connsiteY69387"/>
              </a:cxn>
              <a:cxn ang="0">
                <a:pos x="connsiteX69388" y="connsiteY69388"/>
              </a:cxn>
              <a:cxn ang="0">
                <a:pos x="connsiteX69389" y="connsiteY69389"/>
              </a:cxn>
              <a:cxn ang="0">
                <a:pos x="connsiteX69390" y="connsiteY69390"/>
              </a:cxn>
              <a:cxn ang="0">
                <a:pos x="connsiteX69391" y="connsiteY69391"/>
              </a:cxn>
              <a:cxn ang="0">
                <a:pos x="connsiteX69392" y="connsiteY69392"/>
              </a:cxn>
              <a:cxn ang="0">
                <a:pos x="connsiteX69393" y="connsiteY69393"/>
              </a:cxn>
              <a:cxn ang="0">
                <a:pos x="connsiteX69394" y="connsiteY69394"/>
              </a:cxn>
              <a:cxn ang="0">
                <a:pos x="connsiteX69395" y="connsiteY69395"/>
              </a:cxn>
              <a:cxn ang="0">
                <a:pos x="connsiteX69396" y="connsiteY69396"/>
              </a:cxn>
              <a:cxn ang="0">
                <a:pos x="connsiteX69397" y="connsiteY69397"/>
              </a:cxn>
              <a:cxn ang="0">
                <a:pos x="connsiteX69398" y="connsiteY69398"/>
              </a:cxn>
              <a:cxn ang="0">
                <a:pos x="connsiteX69399" y="connsiteY69399"/>
              </a:cxn>
              <a:cxn ang="0">
                <a:pos x="connsiteX69400" y="connsiteY69400"/>
              </a:cxn>
              <a:cxn ang="0">
                <a:pos x="connsiteX69401" y="connsiteY69401"/>
              </a:cxn>
              <a:cxn ang="0">
                <a:pos x="connsiteX69402" y="connsiteY69402"/>
              </a:cxn>
              <a:cxn ang="0">
                <a:pos x="connsiteX69403" y="connsiteY69403"/>
              </a:cxn>
              <a:cxn ang="0">
                <a:pos x="connsiteX69404" y="connsiteY69404"/>
              </a:cxn>
              <a:cxn ang="0">
                <a:pos x="connsiteX69405" y="connsiteY69405"/>
              </a:cxn>
              <a:cxn ang="0">
                <a:pos x="connsiteX69406" y="connsiteY69406"/>
              </a:cxn>
              <a:cxn ang="0">
                <a:pos x="connsiteX69407" y="connsiteY69407"/>
              </a:cxn>
              <a:cxn ang="0">
                <a:pos x="connsiteX69408" y="connsiteY69408"/>
              </a:cxn>
              <a:cxn ang="0">
                <a:pos x="connsiteX69409" y="connsiteY69409"/>
              </a:cxn>
              <a:cxn ang="0">
                <a:pos x="connsiteX69410" y="connsiteY69410"/>
              </a:cxn>
              <a:cxn ang="0">
                <a:pos x="connsiteX69411" y="connsiteY69411"/>
              </a:cxn>
              <a:cxn ang="0">
                <a:pos x="connsiteX69412" y="connsiteY69412"/>
              </a:cxn>
              <a:cxn ang="0">
                <a:pos x="connsiteX69413" y="connsiteY69413"/>
              </a:cxn>
              <a:cxn ang="0">
                <a:pos x="connsiteX69414" y="connsiteY69414"/>
              </a:cxn>
              <a:cxn ang="0">
                <a:pos x="connsiteX69415" y="connsiteY69415"/>
              </a:cxn>
              <a:cxn ang="0">
                <a:pos x="connsiteX69416" y="connsiteY69416"/>
              </a:cxn>
              <a:cxn ang="0">
                <a:pos x="connsiteX69417" y="connsiteY69417"/>
              </a:cxn>
              <a:cxn ang="0">
                <a:pos x="connsiteX69418" y="connsiteY69418"/>
              </a:cxn>
              <a:cxn ang="0">
                <a:pos x="connsiteX69419" y="connsiteY69419"/>
              </a:cxn>
              <a:cxn ang="0">
                <a:pos x="connsiteX69420" y="connsiteY69420"/>
              </a:cxn>
              <a:cxn ang="0">
                <a:pos x="connsiteX69421" y="connsiteY69421"/>
              </a:cxn>
              <a:cxn ang="0">
                <a:pos x="connsiteX69422" y="connsiteY69422"/>
              </a:cxn>
              <a:cxn ang="0">
                <a:pos x="connsiteX69423" y="connsiteY69423"/>
              </a:cxn>
              <a:cxn ang="0">
                <a:pos x="connsiteX69424" y="connsiteY69424"/>
              </a:cxn>
              <a:cxn ang="0">
                <a:pos x="connsiteX69425" y="connsiteY69425"/>
              </a:cxn>
              <a:cxn ang="0">
                <a:pos x="connsiteX69426" y="connsiteY69426"/>
              </a:cxn>
              <a:cxn ang="0">
                <a:pos x="connsiteX69427" y="connsiteY69427"/>
              </a:cxn>
              <a:cxn ang="0">
                <a:pos x="connsiteX69428" y="connsiteY69428"/>
              </a:cxn>
              <a:cxn ang="0">
                <a:pos x="connsiteX69429" y="connsiteY69429"/>
              </a:cxn>
              <a:cxn ang="0">
                <a:pos x="connsiteX69430" y="connsiteY69430"/>
              </a:cxn>
              <a:cxn ang="0">
                <a:pos x="connsiteX69431" y="connsiteY69431"/>
              </a:cxn>
              <a:cxn ang="0">
                <a:pos x="connsiteX69432" y="connsiteY69432"/>
              </a:cxn>
              <a:cxn ang="0">
                <a:pos x="connsiteX69433" y="connsiteY69433"/>
              </a:cxn>
              <a:cxn ang="0">
                <a:pos x="connsiteX69434" y="connsiteY69434"/>
              </a:cxn>
              <a:cxn ang="0">
                <a:pos x="connsiteX69435" y="connsiteY69435"/>
              </a:cxn>
              <a:cxn ang="0">
                <a:pos x="connsiteX69436" y="connsiteY69436"/>
              </a:cxn>
              <a:cxn ang="0">
                <a:pos x="connsiteX69437" y="connsiteY69437"/>
              </a:cxn>
              <a:cxn ang="0">
                <a:pos x="connsiteX69438" y="connsiteY69438"/>
              </a:cxn>
              <a:cxn ang="0">
                <a:pos x="connsiteX69439" y="connsiteY69439"/>
              </a:cxn>
              <a:cxn ang="0">
                <a:pos x="connsiteX69440" y="connsiteY69440"/>
              </a:cxn>
              <a:cxn ang="0">
                <a:pos x="connsiteX69441" y="connsiteY69441"/>
              </a:cxn>
              <a:cxn ang="0">
                <a:pos x="connsiteX69442" y="connsiteY69442"/>
              </a:cxn>
              <a:cxn ang="0">
                <a:pos x="connsiteX69443" y="connsiteY69443"/>
              </a:cxn>
              <a:cxn ang="0">
                <a:pos x="connsiteX69444" y="connsiteY69444"/>
              </a:cxn>
              <a:cxn ang="0">
                <a:pos x="connsiteX69445" y="connsiteY69445"/>
              </a:cxn>
              <a:cxn ang="0">
                <a:pos x="connsiteX69446" y="connsiteY69446"/>
              </a:cxn>
              <a:cxn ang="0">
                <a:pos x="connsiteX69447" y="connsiteY69447"/>
              </a:cxn>
              <a:cxn ang="0">
                <a:pos x="connsiteX69448" y="connsiteY69448"/>
              </a:cxn>
              <a:cxn ang="0">
                <a:pos x="connsiteX69449" y="connsiteY69449"/>
              </a:cxn>
              <a:cxn ang="0">
                <a:pos x="connsiteX69450" y="connsiteY69450"/>
              </a:cxn>
              <a:cxn ang="0">
                <a:pos x="connsiteX69451" y="connsiteY69451"/>
              </a:cxn>
              <a:cxn ang="0">
                <a:pos x="connsiteX69452" y="connsiteY69452"/>
              </a:cxn>
              <a:cxn ang="0">
                <a:pos x="connsiteX69453" y="connsiteY69453"/>
              </a:cxn>
              <a:cxn ang="0">
                <a:pos x="connsiteX69454" y="connsiteY69454"/>
              </a:cxn>
              <a:cxn ang="0">
                <a:pos x="connsiteX69455" y="connsiteY69455"/>
              </a:cxn>
              <a:cxn ang="0">
                <a:pos x="connsiteX69456" y="connsiteY69456"/>
              </a:cxn>
              <a:cxn ang="0">
                <a:pos x="connsiteX69457" y="connsiteY69457"/>
              </a:cxn>
              <a:cxn ang="0">
                <a:pos x="connsiteX69458" y="connsiteY69458"/>
              </a:cxn>
              <a:cxn ang="0">
                <a:pos x="connsiteX69459" y="connsiteY69459"/>
              </a:cxn>
              <a:cxn ang="0">
                <a:pos x="connsiteX69460" y="connsiteY69460"/>
              </a:cxn>
              <a:cxn ang="0">
                <a:pos x="connsiteX69461" y="connsiteY69461"/>
              </a:cxn>
              <a:cxn ang="0">
                <a:pos x="connsiteX69462" y="connsiteY69462"/>
              </a:cxn>
              <a:cxn ang="0">
                <a:pos x="connsiteX69463" y="connsiteY69463"/>
              </a:cxn>
              <a:cxn ang="0">
                <a:pos x="connsiteX69464" y="connsiteY69464"/>
              </a:cxn>
              <a:cxn ang="0">
                <a:pos x="connsiteX69465" y="connsiteY69465"/>
              </a:cxn>
              <a:cxn ang="0">
                <a:pos x="connsiteX69466" y="connsiteY69466"/>
              </a:cxn>
              <a:cxn ang="0">
                <a:pos x="connsiteX69467" y="connsiteY69467"/>
              </a:cxn>
              <a:cxn ang="0">
                <a:pos x="connsiteX69468" y="connsiteY69468"/>
              </a:cxn>
              <a:cxn ang="0">
                <a:pos x="connsiteX69469" y="connsiteY69469"/>
              </a:cxn>
              <a:cxn ang="0">
                <a:pos x="connsiteX69470" y="connsiteY69470"/>
              </a:cxn>
              <a:cxn ang="0">
                <a:pos x="connsiteX69471" y="connsiteY69471"/>
              </a:cxn>
              <a:cxn ang="0">
                <a:pos x="connsiteX69472" y="connsiteY69472"/>
              </a:cxn>
              <a:cxn ang="0">
                <a:pos x="connsiteX69473" y="connsiteY69473"/>
              </a:cxn>
              <a:cxn ang="0">
                <a:pos x="connsiteX69474" y="connsiteY69474"/>
              </a:cxn>
              <a:cxn ang="0">
                <a:pos x="connsiteX69475" y="connsiteY69475"/>
              </a:cxn>
              <a:cxn ang="0">
                <a:pos x="connsiteX69476" y="connsiteY69476"/>
              </a:cxn>
              <a:cxn ang="0">
                <a:pos x="connsiteX69477" y="connsiteY69477"/>
              </a:cxn>
              <a:cxn ang="0">
                <a:pos x="connsiteX69478" y="connsiteY69478"/>
              </a:cxn>
              <a:cxn ang="0">
                <a:pos x="connsiteX69479" y="connsiteY69479"/>
              </a:cxn>
              <a:cxn ang="0">
                <a:pos x="connsiteX69480" y="connsiteY69480"/>
              </a:cxn>
              <a:cxn ang="0">
                <a:pos x="connsiteX69481" y="connsiteY69481"/>
              </a:cxn>
              <a:cxn ang="0">
                <a:pos x="connsiteX69482" y="connsiteY69482"/>
              </a:cxn>
              <a:cxn ang="0">
                <a:pos x="connsiteX69483" y="connsiteY69483"/>
              </a:cxn>
              <a:cxn ang="0">
                <a:pos x="connsiteX69484" y="connsiteY69484"/>
              </a:cxn>
              <a:cxn ang="0">
                <a:pos x="connsiteX69485" y="connsiteY69485"/>
              </a:cxn>
              <a:cxn ang="0">
                <a:pos x="connsiteX69486" y="connsiteY69486"/>
              </a:cxn>
              <a:cxn ang="0">
                <a:pos x="connsiteX69487" y="connsiteY69487"/>
              </a:cxn>
              <a:cxn ang="0">
                <a:pos x="connsiteX69488" y="connsiteY69488"/>
              </a:cxn>
              <a:cxn ang="0">
                <a:pos x="connsiteX69489" y="connsiteY69489"/>
              </a:cxn>
              <a:cxn ang="0">
                <a:pos x="connsiteX69490" y="connsiteY69490"/>
              </a:cxn>
              <a:cxn ang="0">
                <a:pos x="connsiteX69491" y="connsiteY69491"/>
              </a:cxn>
              <a:cxn ang="0">
                <a:pos x="connsiteX69492" y="connsiteY69492"/>
              </a:cxn>
              <a:cxn ang="0">
                <a:pos x="connsiteX69493" y="connsiteY69493"/>
              </a:cxn>
              <a:cxn ang="0">
                <a:pos x="connsiteX69494" y="connsiteY69494"/>
              </a:cxn>
              <a:cxn ang="0">
                <a:pos x="connsiteX69495" y="connsiteY69495"/>
              </a:cxn>
              <a:cxn ang="0">
                <a:pos x="connsiteX69496" y="connsiteY69496"/>
              </a:cxn>
              <a:cxn ang="0">
                <a:pos x="connsiteX69497" y="connsiteY69497"/>
              </a:cxn>
              <a:cxn ang="0">
                <a:pos x="connsiteX69498" y="connsiteY69498"/>
              </a:cxn>
              <a:cxn ang="0">
                <a:pos x="connsiteX69499" y="connsiteY69499"/>
              </a:cxn>
              <a:cxn ang="0">
                <a:pos x="connsiteX69500" y="connsiteY69500"/>
              </a:cxn>
              <a:cxn ang="0">
                <a:pos x="connsiteX69501" y="connsiteY69501"/>
              </a:cxn>
              <a:cxn ang="0">
                <a:pos x="connsiteX69502" y="connsiteY69502"/>
              </a:cxn>
              <a:cxn ang="0">
                <a:pos x="connsiteX69503" y="connsiteY69503"/>
              </a:cxn>
              <a:cxn ang="0">
                <a:pos x="connsiteX69504" y="connsiteY69504"/>
              </a:cxn>
              <a:cxn ang="0">
                <a:pos x="connsiteX69505" y="connsiteY69505"/>
              </a:cxn>
              <a:cxn ang="0">
                <a:pos x="connsiteX69506" y="connsiteY69506"/>
              </a:cxn>
              <a:cxn ang="0">
                <a:pos x="connsiteX69507" y="connsiteY69507"/>
              </a:cxn>
              <a:cxn ang="0">
                <a:pos x="connsiteX69508" y="connsiteY69508"/>
              </a:cxn>
              <a:cxn ang="0">
                <a:pos x="connsiteX69509" y="connsiteY69509"/>
              </a:cxn>
              <a:cxn ang="0">
                <a:pos x="connsiteX69510" y="connsiteY69510"/>
              </a:cxn>
              <a:cxn ang="0">
                <a:pos x="connsiteX69511" y="connsiteY69511"/>
              </a:cxn>
              <a:cxn ang="0">
                <a:pos x="connsiteX69512" y="connsiteY69512"/>
              </a:cxn>
              <a:cxn ang="0">
                <a:pos x="connsiteX69513" y="connsiteY69513"/>
              </a:cxn>
              <a:cxn ang="0">
                <a:pos x="connsiteX69514" y="connsiteY69514"/>
              </a:cxn>
              <a:cxn ang="0">
                <a:pos x="connsiteX69515" y="connsiteY69515"/>
              </a:cxn>
              <a:cxn ang="0">
                <a:pos x="connsiteX69516" y="connsiteY69516"/>
              </a:cxn>
              <a:cxn ang="0">
                <a:pos x="connsiteX69517" y="connsiteY69517"/>
              </a:cxn>
              <a:cxn ang="0">
                <a:pos x="connsiteX69518" y="connsiteY69518"/>
              </a:cxn>
              <a:cxn ang="0">
                <a:pos x="connsiteX69519" y="connsiteY69519"/>
              </a:cxn>
              <a:cxn ang="0">
                <a:pos x="connsiteX69520" y="connsiteY69520"/>
              </a:cxn>
              <a:cxn ang="0">
                <a:pos x="connsiteX69521" y="connsiteY69521"/>
              </a:cxn>
              <a:cxn ang="0">
                <a:pos x="connsiteX69522" y="connsiteY69522"/>
              </a:cxn>
              <a:cxn ang="0">
                <a:pos x="connsiteX69523" y="connsiteY69523"/>
              </a:cxn>
              <a:cxn ang="0">
                <a:pos x="connsiteX69524" y="connsiteY69524"/>
              </a:cxn>
              <a:cxn ang="0">
                <a:pos x="connsiteX69525" y="connsiteY69525"/>
              </a:cxn>
              <a:cxn ang="0">
                <a:pos x="connsiteX69526" y="connsiteY69526"/>
              </a:cxn>
              <a:cxn ang="0">
                <a:pos x="connsiteX69527" y="connsiteY69527"/>
              </a:cxn>
              <a:cxn ang="0">
                <a:pos x="connsiteX69528" y="connsiteY69528"/>
              </a:cxn>
              <a:cxn ang="0">
                <a:pos x="connsiteX69529" y="connsiteY69529"/>
              </a:cxn>
              <a:cxn ang="0">
                <a:pos x="connsiteX69530" y="connsiteY69530"/>
              </a:cxn>
              <a:cxn ang="0">
                <a:pos x="connsiteX69531" y="connsiteY69531"/>
              </a:cxn>
              <a:cxn ang="0">
                <a:pos x="connsiteX69532" y="connsiteY69532"/>
              </a:cxn>
              <a:cxn ang="0">
                <a:pos x="connsiteX69533" y="connsiteY69533"/>
              </a:cxn>
              <a:cxn ang="0">
                <a:pos x="connsiteX69534" y="connsiteY69534"/>
              </a:cxn>
              <a:cxn ang="0">
                <a:pos x="connsiteX69535" y="connsiteY69535"/>
              </a:cxn>
              <a:cxn ang="0">
                <a:pos x="connsiteX69536" y="connsiteY69536"/>
              </a:cxn>
              <a:cxn ang="0">
                <a:pos x="connsiteX69537" y="connsiteY69537"/>
              </a:cxn>
              <a:cxn ang="0">
                <a:pos x="connsiteX69538" y="connsiteY69538"/>
              </a:cxn>
              <a:cxn ang="0">
                <a:pos x="connsiteX69539" y="connsiteY69539"/>
              </a:cxn>
              <a:cxn ang="0">
                <a:pos x="connsiteX69540" y="connsiteY69540"/>
              </a:cxn>
              <a:cxn ang="0">
                <a:pos x="connsiteX69541" y="connsiteY69541"/>
              </a:cxn>
              <a:cxn ang="0">
                <a:pos x="connsiteX69542" y="connsiteY69542"/>
              </a:cxn>
              <a:cxn ang="0">
                <a:pos x="connsiteX69543" y="connsiteY69543"/>
              </a:cxn>
              <a:cxn ang="0">
                <a:pos x="connsiteX69544" y="connsiteY69544"/>
              </a:cxn>
              <a:cxn ang="0">
                <a:pos x="connsiteX69545" y="connsiteY69545"/>
              </a:cxn>
              <a:cxn ang="0">
                <a:pos x="connsiteX69546" y="connsiteY69546"/>
              </a:cxn>
              <a:cxn ang="0">
                <a:pos x="connsiteX69547" y="connsiteY69547"/>
              </a:cxn>
              <a:cxn ang="0">
                <a:pos x="connsiteX69548" y="connsiteY69548"/>
              </a:cxn>
              <a:cxn ang="0">
                <a:pos x="connsiteX69549" y="connsiteY69549"/>
              </a:cxn>
              <a:cxn ang="0">
                <a:pos x="connsiteX69550" y="connsiteY69550"/>
              </a:cxn>
              <a:cxn ang="0">
                <a:pos x="connsiteX69551" y="connsiteY69551"/>
              </a:cxn>
              <a:cxn ang="0">
                <a:pos x="connsiteX69552" y="connsiteY69552"/>
              </a:cxn>
              <a:cxn ang="0">
                <a:pos x="connsiteX69553" y="connsiteY69553"/>
              </a:cxn>
              <a:cxn ang="0">
                <a:pos x="connsiteX69554" y="connsiteY69554"/>
              </a:cxn>
              <a:cxn ang="0">
                <a:pos x="connsiteX69555" y="connsiteY69555"/>
              </a:cxn>
              <a:cxn ang="0">
                <a:pos x="connsiteX69556" y="connsiteY69556"/>
              </a:cxn>
              <a:cxn ang="0">
                <a:pos x="connsiteX69557" y="connsiteY69557"/>
              </a:cxn>
              <a:cxn ang="0">
                <a:pos x="connsiteX69558" y="connsiteY69558"/>
              </a:cxn>
              <a:cxn ang="0">
                <a:pos x="connsiteX69559" y="connsiteY69559"/>
              </a:cxn>
              <a:cxn ang="0">
                <a:pos x="connsiteX69560" y="connsiteY69560"/>
              </a:cxn>
              <a:cxn ang="0">
                <a:pos x="connsiteX69561" y="connsiteY69561"/>
              </a:cxn>
              <a:cxn ang="0">
                <a:pos x="connsiteX69562" y="connsiteY69562"/>
              </a:cxn>
              <a:cxn ang="0">
                <a:pos x="connsiteX69563" y="connsiteY69563"/>
              </a:cxn>
              <a:cxn ang="0">
                <a:pos x="connsiteX69564" y="connsiteY69564"/>
              </a:cxn>
              <a:cxn ang="0">
                <a:pos x="connsiteX69565" y="connsiteY69565"/>
              </a:cxn>
              <a:cxn ang="0">
                <a:pos x="connsiteX69566" y="connsiteY69566"/>
              </a:cxn>
              <a:cxn ang="0">
                <a:pos x="connsiteX69567" y="connsiteY69567"/>
              </a:cxn>
              <a:cxn ang="0">
                <a:pos x="connsiteX69568" y="connsiteY69568"/>
              </a:cxn>
              <a:cxn ang="0">
                <a:pos x="connsiteX69569" y="connsiteY69569"/>
              </a:cxn>
              <a:cxn ang="0">
                <a:pos x="connsiteX69570" y="connsiteY69570"/>
              </a:cxn>
              <a:cxn ang="0">
                <a:pos x="connsiteX69571" y="connsiteY69571"/>
              </a:cxn>
              <a:cxn ang="0">
                <a:pos x="connsiteX69572" y="connsiteY69572"/>
              </a:cxn>
              <a:cxn ang="0">
                <a:pos x="connsiteX69573" y="connsiteY69573"/>
              </a:cxn>
              <a:cxn ang="0">
                <a:pos x="connsiteX69574" y="connsiteY69574"/>
              </a:cxn>
              <a:cxn ang="0">
                <a:pos x="connsiteX69575" y="connsiteY69575"/>
              </a:cxn>
              <a:cxn ang="0">
                <a:pos x="connsiteX69576" y="connsiteY69576"/>
              </a:cxn>
              <a:cxn ang="0">
                <a:pos x="connsiteX69577" y="connsiteY69577"/>
              </a:cxn>
              <a:cxn ang="0">
                <a:pos x="connsiteX69578" y="connsiteY69578"/>
              </a:cxn>
              <a:cxn ang="0">
                <a:pos x="connsiteX69579" y="connsiteY69579"/>
              </a:cxn>
              <a:cxn ang="0">
                <a:pos x="connsiteX69580" y="connsiteY69580"/>
              </a:cxn>
              <a:cxn ang="0">
                <a:pos x="connsiteX69581" y="connsiteY69581"/>
              </a:cxn>
              <a:cxn ang="0">
                <a:pos x="connsiteX69582" y="connsiteY69582"/>
              </a:cxn>
              <a:cxn ang="0">
                <a:pos x="connsiteX69583" y="connsiteY69583"/>
              </a:cxn>
              <a:cxn ang="0">
                <a:pos x="connsiteX69584" y="connsiteY69584"/>
              </a:cxn>
              <a:cxn ang="0">
                <a:pos x="connsiteX69585" y="connsiteY69585"/>
              </a:cxn>
              <a:cxn ang="0">
                <a:pos x="connsiteX69586" y="connsiteY69586"/>
              </a:cxn>
              <a:cxn ang="0">
                <a:pos x="connsiteX69587" y="connsiteY69587"/>
              </a:cxn>
              <a:cxn ang="0">
                <a:pos x="connsiteX69588" y="connsiteY69588"/>
              </a:cxn>
              <a:cxn ang="0">
                <a:pos x="connsiteX69589" y="connsiteY69589"/>
              </a:cxn>
              <a:cxn ang="0">
                <a:pos x="connsiteX69590" y="connsiteY69590"/>
              </a:cxn>
              <a:cxn ang="0">
                <a:pos x="connsiteX69591" y="connsiteY69591"/>
              </a:cxn>
              <a:cxn ang="0">
                <a:pos x="connsiteX69592" y="connsiteY69592"/>
              </a:cxn>
              <a:cxn ang="0">
                <a:pos x="connsiteX69593" y="connsiteY69593"/>
              </a:cxn>
              <a:cxn ang="0">
                <a:pos x="connsiteX69594" y="connsiteY69594"/>
              </a:cxn>
              <a:cxn ang="0">
                <a:pos x="connsiteX69595" y="connsiteY69595"/>
              </a:cxn>
              <a:cxn ang="0">
                <a:pos x="connsiteX69596" y="connsiteY69596"/>
              </a:cxn>
              <a:cxn ang="0">
                <a:pos x="connsiteX69597" y="connsiteY69597"/>
              </a:cxn>
              <a:cxn ang="0">
                <a:pos x="connsiteX69598" y="connsiteY69598"/>
              </a:cxn>
              <a:cxn ang="0">
                <a:pos x="connsiteX69599" y="connsiteY69599"/>
              </a:cxn>
              <a:cxn ang="0">
                <a:pos x="connsiteX69600" y="connsiteY69600"/>
              </a:cxn>
              <a:cxn ang="0">
                <a:pos x="connsiteX69601" y="connsiteY69601"/>
              </a:cxn>
              <a:cxn ang="0">
                <a:pos x="connsiteX69602" y="connsiteY69602"/>
              </a:cxn>
              <a:cxn ang="0">
                <a:pos x="connsiteX69603" y="connsiteY69603"/>
              </a:cxn>
              <a:cxn ang="0">
                <a:pos x="connsiteX69604" y="connsiteY69604"/>
              </a:cxn>
              <a:cxn ang="0">
                <a:pos x="connsiteX69605" y="connsiteY69605"/>
              </a:cxn>
              <a:cxn ang="0">
                <a:pos x="connsiteX69606" y="connsiteY69606"/>
              </a:cxn>
              <a:cxn ang="0">
                <a:pos x="connsiteX69607" y="connsiteY69607"/>
              </a:cxn>
              <a:cxn ang="0">
                <a:pos x="connsiteX69608" y="connsiteY69608"/>
              </a:cxn>
              <a:cxn ang="0">
                <a:pos x="connsiteX69609" y="connsiteY69609"/>
              </a:cxn>
              <a:cxn ang="0">
                <a:pos x="connsiteX69610" y="connsiteY69610"/>
              </a:cxn>
              <a:cxn ang="0">
                <a:pos x="connsiteX69611" y="connsiteY69611"/>
              </a:cxn>
              <a:cxn ang="0">
                <a:pos x="connsiteX69612" y="connsiteY69612"/>
              </a:cxn>
              <a:cxn ang="0">
                <a:pos x="connsiteX69613" y="connsiteY69613"/>
              </a:cxn>
              <a:cxn ang="0">
                <a:pos x="connsiteX69614" y="connsiteY69614"/>
              </a:cxn>
              <a:cxn ang="0">
                <a:pos x="connsiteX69615" y="connsiteY69615"/>
              </a:cxn>
              <a:cxn ang="0">
                <a:pos x="connsiteX69616" y="connsiteY69616"/>
              </a:cxn>
              <a:cxn ang="0">
                <a:pos x="connsiteX69617" y="connsiteY69617"/>
              </a:cxn>
              <a:cxn ang="0">
                <a:pos x="connsiteX69618" y="connsiteY69618"/>
              </a:cxn>
              <a:cxn ang="0">
                <a:pos x="connsiteX69619" y="connsiteY69619"/>
              </a:cxn>
              <a:cxn ang="0">
                <a:pos x="connsiteX69620" y="connsiteY69620"/>
              </a:cxn>
              <a:cxn ang="0">
                <a:pos x="connsiteX69621" y="connsiteY69621"/>
              </a:cxn>
              <a:cxn ang="0">
                <a:pos x="connsiteX69622" y="connsiteY69622"/>
              </a:cxn>
              <a:cxn ang="0">
                <a:pos x="connsiteX69623" y="connsiteY69623"/>
              </a:cxn>
              <a:cxn ang="0">
                <a:pos x="connsiteX69624" y="connsiteY69624"/>
              </a:cxn>
              <a:cxn ang="0">
                <a:pos x="connsiteX69625" y="connsiteY69625"/>
              </a:cxn>
              <a:cxn ang="0">
                <a:pos x="connsiteX69626" y="connsiteY69626"/>
              </a:cxn>
              <a:cxn ang="0">
                <a:pos x="connsiteX69627" y="connsiteY69627"/>
              </a:cxn>
              <a:cxn ang="0">
                <a:pos x="connsiteX69628" y="connsiteY69628"/>
              </a:cxn>
              <a:cxn ang="0">
                <a:pos x="connsiteX69629" y="connsiteY69629"/>
              </a:cxn>
              <a:cxn ang="0">
                <a:pos x="connsiteX69630" y="connsiteY69630"/>
              </a:cxn>
              <a:cxn ang="0">
                <a:pos x="connsiteX69631" y="connsiteY69631"/>
              </a:cxn>
              <a:cxn ang="0">
                <a:pos x="connsiteX69632" y="connsiteY69632"/>
              </a:cxn>
              <a:cxn ang="0">
                <a:pos x="connsiteX69633" y="connsiteY69633"/>
              </a:cxn>
              <a:cxn ang="0">
                <a:pos x="connsiteX69634" y="connsiteY69634"/>
              </a:cxn>
              <a:cxn ang="0">
                <a:pos x="connsiteX69635" y="connsiteY69635"/>
              </a:cxn>
              <a:cxn ang="0">
                <a:pos x="connsiteX69636" y="connsiteY69636"/>
              </a:cxn>
              <a:cxn ang="0">
                <a:pos x="connsiteX69637" y="connsiteY69637"/>
              </a:cxn>
              <a:cxn ang="0">
                <a:pos x="connsiteX69638" y="connsiteY69638"/>
              </a:cxn>
              <a:cxn ang="0">
                <a:pos x="connsiteX69639" y="connsiteY69639"/>
              </a:cxn>
              <a:cxn ang="0">
                <a:pos x="connsiteX69640" y="connsiteY69640"/>
              </a:cxn>
              <a:cxn ang="0">
                <a:pos x="connsiteX69641" y="connsiteY69641"/>
              </a:cxn>
              <a:cxn ang="0">
                <a:pos x="connsiteX69642" y="connsiteY69642"/>
              </a:cxn>
              <a:cxn ang="0">
                <a:pos x="connsiteX69643" y="connsiteY69643"/>
              </a:cxn>
              <a:cxn ang="0">
                <a:pos x="connsiteX69644" y="connsiteY69644"/>
              </a:cxn>
              <a:cxn ang="0">
                <a:pos x="connsiteX69645" y="connsiteY69645"/>
              </a:cxn>
              <a:cxn ang="0">
                <a:pos x="connsiteX69646" y="connsiteY69646"/>
              </a:cxn>
              <a:cxn ang="0">
                <a:pos x="connsiteX69647" y="connsiteY69647"/>
              </a:cxn>
              <a:cxn ang="0">
                <a:pos x="connsiteX69648" y="connsiteY69648"/>
              </a:cxn>
              <a:cxn ang="0">
                <a:pos x="connsiteX69649" y="connsiteY69649"/>
              </a:cxn>
              <a:cxn ang="0">
                <a:pos x="connsiteX69650" y="connsiteY69650"/>
              </a:cxn>
              <a:cxn ang="0">
                <a:pos x="connsiteX69651" y="connsiteY69651"/>
              </a:cxn>
              <a:cxn ang="0">
                <a:pos x="connsiteX69652" y="connsiteY69652"/>
              </a:cxn>
              <a:cxn ang="0">
                <a:pos x="connsiteX69653" y="connsiteY69653"/>
              </a:cxn>
              <a:cxn ang="0">
                <a:pos x="connsiteX69654" y="connsiteY69654"/>
              </a:cxn>
              <a:cxn ang="0">
                <a:pos x="connsiteX69655" y="connsiteY69655"/>
              </a:cxn>
              <a:cxn ang="0">
                <a:pos x="connsiteX69656" y="connsiteY69656"/>
              </a:cxn>
              <a:cxn ang="0">
                <a:pos x="connsiteX69657" y="connsiteY69657"/>
              </a:cxn>
              <a:cxn ang="0">
                <a:pos x="connsiteX69658" y="connsiteY69658"/>
              </a:cxn>
              <a:cxn ang="0">
                <a:pos x="connsiteX69659" y="connsiteY69659"/>
              </a:cxn>
              <a:cxn ang="0">
                <a:pos x="connsiteX69660" y="connsiteY69660"/>
              </a:cxn>
              <a:cxn ang="0">
                <a:pos x="connsiteX69661" y="connsiteY69661"/>
              </a:cxn>
              <a:cxn ang="0">
                <a:pos x="connsiteX69662" y="connsiteY69662"/>
              </a:cxn>
              <a:cxn ang="0">
                <a:pos x="connsiteX69663" y="connsiteY69663"/>
              </a:cxn>
              <a:cxn ang="0">
                <a:pos x="connsiteX69664" y="connsiteY69664"/>
              </a:cxn>
              <a:cxn ang="0">
                <a:pos x="connsiteX69665" y="connsiteY69665"/>
              </a:cxn>
              <a:cxn ang="0">
                <a:pos x="connsiteX69666" y="connsiteY69666"/>
              </a:cxn>
              <a:cxn ang="0">
                <a:pos x="connsiteX69667" y="connsiteY69667"/>
              </a:cxn>
              <a:cxn ang="0">
                <a:pos x="connsiteX69668" y="connsiteY69668"/>
              </a:cxn>
              <a:cxn ang="0">
                <a:pos x="connsiteX69669" y="connsiteY69669"/>
              </a:cxn>
              <a:cxn ang="0">
                <a:pos x="connsiteX69670" y="connsiteY69670"/>
              </a:cxn>
              <a:cxn ang="0">
                <a:pos x="connsiteX69671" y="connsiteY69671"/>
              </a:cxn>
              <a:cxn ang="0">
                <a:pos x="connsiteX69672" y="connsiteY69672"/>
              </a:cxn>
              <a:cxn ang="0">
                <a:pos x="connsiteX69673" y="connsiteY69673"/>
              </a:cxn>
              <a:cxn ang="0">
                <a:pos x="connsiteX69674" y="connsiteY69674"/>
              </a:cxn>
              <a:cxn ang="0">
                <a:pos x="connsiteX69675" y="connsiteY69675"/>
              </a:cxn>
              <a:cxn ang="0">
                <a:pos x="connsiteX69676" y="connsiteY69676"/>
              </a:cxn>
              <a:cxn ang="0">
                <a:pos x="connsiteX69677" y="connsiteY69677"/>
              </a:cxn>
              <a:cxn ang="0">
                <a:pos x="connsiteX69678" y="connsiteY69678"/>
              </a:cxn>
              <a:cxn ang="0">
                <a:pos x="connsiteX69679" y="connsiteY69679"/>
              </a:cxn>
              <a:cxn ang="0">
                <a:pos x="connsiteX69680" y="connsiteY69680"/>
              </a:cxn>
              <a:cxn ang="0">
                <a:pos x="connsiteX69681" y="connsiteY69681"/>
              </a:cxn>
              <a:cxn ang="0">
                <a:pos x="connsiteX69682" y="connsiteY69682"/>
              </a:cxn>
              <a:cxn ang="0">
                <a:pos x="connsiteX69683" y="connsiteY69683"/>
              </a:cxn>
              <a:cxn ang="0">
                <a:pos x="connsiteX69684" y="connsiteY69684"/>
              </a:cxn>
              <a:cxn ang="0">
                <a:pos x="connsiteX69685" y="connsiteY69685"/>
              </a:cxn>
              <a:cxn ang="0">
                <a:pos x="connsiteX69686" y="connsiteY69686"/>
              </a:cxn>
              <a:cxn ang="0">
                <a:pos x="connsiteX69687" y="connsiteY69687"/>
              </a:cxn>
              <a:cxn ang="0">
                <a:pos x="connsiteX69688" y="connsiteY69688"/>
              </a:cxn>
              <a:cxn ang="0">
                <a:pos x="connsiteX69689" y="connsiteY69689"/>
              </a:cxn>
              <a:cxn ang="0">
                <a:pos x="connsiteX69690" y="connsiteY69690"/>
              </a:cxn>
              <a:cxn ang="0">
                <a:pos x="connsiteX69691" y="connsiteY69691"/>
              </a:cxn>
              <a:cxn ang="0">
                <a:pos x="connsiteX69692" y="connsiteY69692"/>
              </a:cxn>
              <a:cxn ang="0">
                <a:pos x="connsiteX69693" y="connsiteY69693"/>
              </a:cxn>
              <a:cxn ang="0">
                <a:pos x="connsiteX69694" y="connsiteY69694"/>
              </a:cxn>
              <a:cxn ang="0">
                <a:pos x="connsiteX69695" y="connsiteY69695"/>
              </a:cxn>
              <a:cxn ang="0">
                <a:pos x="connsiteX69696" y="connsiteY69696"/>
              </a:cxn>
              <a:cxn ang="0">
                <a:pos x="connsiteX69697" y="connsiteY69697"/>
              </a:cxn>
              <a:cxn ang="0">
                <a:pos x="connsiteX69698" y="connsiteY69698"/>
              </a:cxn>
              <a:cxn ang="0">
                <a:pos x="connsiteX69699" y="connsiteY69699"/>
              </a:cxn>
              <a:cxn ang="0">
                <a:pos x="connsiteX69700" y="connsiteY69700"/>
              </a:cxn>
              <a:cxn ang="0">
                <a:pos x="connsiteX69701" y="connsiteY69701"/>
              </a:cxn>
              <a:cxn ang="0">
                <a:pos x="connsiteX69702" y="connsiteY69702"/>
              </a:cxn>
              <a:cxn ang="0">
                <a:pos x="connsiteX69703" y="connsiteY69703"/>
              </a:cxn>
              <a:cxn ang="0">
                <a:pos x="connsiteX69704" y="connsiteY69704"/>
              </a:cxn>
              <a:cxn ang="0">
                <a:pos x="connsiteX69705" y="connsiteY69705"/>
              </a:cxn>
              <a:cxn ang="0">
                <a:pos x="connsiteX69706" y="connsiteY69706"/>
              </a:cxn>
              <a:cxn ang="0">
                <a:pos x="connsiteX69707" y="connsiteY69707"/>
              </a:cxn>
              <a:cxn ang="0">
                <a:pos x="connsiteX69708" y="connsiteY69708"/>
              </a:cxn>
              <a:cxn ang="0">
                <a:pos x="connsiteX69709" y="connsiteY69709"/>
              </a:cxn>
              <a:cxn ang="0">
                <a:pos x="connsiteX69710" y="connsiteY69710"/>
              </a:cxn>
              <a:cxn ang="0">
                <a:pos x="connsiteX69711" y="connsiteY69711"/>
              </a:cxn>
              <a:cxn ang="0">
                <a:pos x="connsiteX69712" y="connsiteY69712"/>
              </a:cxn>
              <a:cxn ang="0">
                <a:pos x="connsiteX69713" y="connsiteY69713"/>
              </a:cxn>
              <a:cxn ang="0">
                <a:pos x="connsiteX69714" y="connsiteY69714"/>
              </a:cxn>
              <a:cxn ang="0">
                <a:pos x="connsiteX69715" y="connsiteY69715"/>
              </a:cxn>
              <a:cxn ang="0">
                <a:pos x="connsiteX69716" y="connsiteY69716"/>
              </a:cxn>
              <a:cxn ang="0">
                <a:pos x="connsiteX69717" y="connsiteY69717"/>
              </a:cxn>
              <a:cxn ang="0">
                <a:pos x="connsiteX69718" y="connsiteY69718"/>
              </a:cxn>
              <a:cxn ang="0">
                <a:pos x="connsiteX69719" y="connsiteY69719"/>
              </a:cxn>
              <a:cxn ang="0">
                <a:pos x="connsiteX69720" y="connsiteY69720"/>
              </a:cxn>
              <a:cxn ang="0">
                <a:pos x="connsiteX69721" y="connsiteY69721"/>
              </a:cxn>
              <a:cxn ang="0">
                <a:pos x="connsiteX69722" y="connsiteY69722"/>
              </a:cxn>
              <a:cxn ang="0">
                <a:pos x="connsiteX69723" y="connsiteY69723"/>
              </a:cxn>
              <a:cxn ang="0">
                <a:pos x="connsiteX69724" y="connsiteY69724"/>
              </a:cxn>
              <a:cxn ang="0">
                <a:pos x="connsiteX69725" y="connsiteY69725"/>
              </a:cxn>
              <a:cxn ang="0">
                <a:pos x="connsiteX69726" y="connsiteY69726"/>
              </a:cxn>
              <a:cxn ang="0">
                <a:pos x="connsiteX69727" y="connsiteY69727"/>
              </a:cxn>
              <a:cxn ang="0">
                <a:pos x="connsiteX69728" y="connsiteY69728"/>
              </a:cxn>
              <a:cxn ang="0">
                <a:pos x="connsiteX69729" y="connsiteY69729"/>
              </a:cxn>
              <a:cxn ang="0">
                <a:pos x="connsiteX69730" y="connsiteY69730"/>
              </a:cxn>
              <a:cxn ang="0">
                <a:pos x="connsiteX69731" y="connsiteY69731"/>
              </a:cxn>
              <a:cxn ang="0">
                <a:pos x="connsiteX69732" y="connsiteY69732"/>
              </a:cxn>
              <a:cxn ang="0">
                <a:pos x="connsiteX69733" y="connsiteY69733"/>
              </a:cxn>
              <a:cxn ang="0">
                <a:pos x="connsiteX69734" y="connsiteY69734"/>
              </a:cxn>
              <a:cxn ang="0">
                <a:pos x="connsiteX69735" y="connsiteY69735"/>
              </a:cxn>
              <a:cxn ang="0">
                <a:pos x="connsiteX69736" y="connsiteY69736"/>
              </a:cxn>
              <a:cxn ang="0">
                <a:pos x="connsiteX69737" y="connsiteY69737"/>
              </a:cxn>
              <a:cxn ang="0">
                <a:pos x="connsiteX69738" y="connsiteY69738"/>
              </a:cxn>
              <a:cxn ang="0">
                <a:pos x="connsiteX69739" y="connsiteY69739"/>
              </a:cxn>
              <a:cxn ang="0">
                <a:pos x="connsiteX69740" y="connsiteY69740"/>
              </a:cxn>
              <a:cxn ang="0">
                <a:pos x="connsiteX69741" y="connsiteY69741"/>
              </a:cxn>
              <a:cxn ang="0">
                <a:pos x="connsiteX69742" y="connsiteY69742"/>
              </a:cxn>
              <a:cxn ang="0">
                <a:pos x="connsiteX69743" y="connsiteY69743"/>
              </a:cxn>
              <a:cxn ang="0">
                <a:pos x="connsiteX69744" y="connsiteY69744"/>
              </a:cxn>
              <a:cxn ang="0">
                <a:pos x="connsiteX69745" y="connsiteY69745"/>
              </a:cxn>
              <a:cxn ang="0">
                <a:pos x="connsiteX69746" y="connsiteY69746"/>
              </a:cxn>
              <a:cxn ang="0">
                <a:pos x="connsiteX69747" y="connsiteY69747"/>
              </a:cxn>
              <a:cxn ang="0">
                <a:pos x="connsiteX69748" y="connsiteY69748"/>
              </a:cxn>
              <a:cxn ang="0">
                <a:pos x="connsiteX69749" y="connsiteY69749"/>
              </a:cxn>
              <a:cxn ang="0">
                <a:pos x="connsiteX69750" y="connsiteY69750"/>
              </a:cxn>
              <a:cxn ang="0">
                <a:pos x="connsiteX69751" y="connsiteY69751"/>
              </a:cxn>
              <a:cxn ang="0">
                <a:pos x="connsiteX69752" y="connsiteY69752"/>
              </a:cxn>
              <a:cxn ang="0">
                <a:pos x="connsiteX69753" y="connsiteY69753"/>
              </a:cxn>
              <a:cxn ang="0">
                <a:pos x="connsiteX69754" y="connsiteY69754"/>
              </a:cxn>
              <a:cxn ang="0">
                <a:pos x="connsiteX69755" y="connsiteY69755"/>
              </a:cxn>
              <a:cxn ang="0">
                <a:pos x="connsiteX69756" y="connsiteY69756"/>
              </a:cxn>
              <a:cxn ang="0">
                <a:pos x="connsiteX69757" y="connsiteY69757"/>
              </a:cxn>
              <a:cxn ang="0">
                <a:pos x="connsiteX69758" y="connsiteY69758"/>
              </a:cxn>
              <a:cxn ang="0">
                <a:pos x="connsiteX69759" y="connsiteY69759"/>
              </a:cxn>
              <a:cxn ang="0">
                <a:pos x="connsiteX69760" y="connsiteY69760"/>
              </a:cxn>
              <a:cxn ang="0">
                <a:pos x="connsiteX69761" y="connsiteY69761"/>
              </a:cxn>
              <a:cxn ang="0">
                <a:pos x="connsiteX69762" y="connsiteY69762"/>
              </a:cxn>
              <a:cxn ang="0">
                <a:pos x="connsiteX69763" y="connsiteY69763"/>
              </a:cxn>
              <a:cxn ang="0">
                <a:pos x="connsiteX69764" y="connsiteY69764"/>
              </a:cxn>
              <a:cxn ang="0">
                <a:pos x="connsiteX69765" y="connsiteY69765"/>
              </a:cxn>
              <a:cxn ang="0">
                <a:pos x="connsiteX69766" y="connsiteY69766"/>
              </a:cxn>
              <a:cxn ang="0">
                <a:pos x="connsiteX69767" y="connsiteY69767"/>
              </a:cxn>
              <a:cxn ang="0">
                <a:pos x="connsiteX69768" y="connsiteY69768"/>
              </a:cxn>
              <a:cxn ang="0">
                <a:pos x="connsiteX69769" y="connsiteY69769"/>
              </a:cxn>
              <a:cxn ang="0">
                <a:pos x="connsiteX69770" y="connsiteY69770"/>
              </a:cxn>
              <a:cxn ang="0">
                <a:pos x="connsiteX69771" y="connsiteY69771"/>
              </a:cxn>
              <a:cxn ang="0">
                <a:pos x="connsiteX69772" y="connsiteY69772"/>
              </a:cxn>
              <a:cxn ang="0">
                <a:pos x="connsiteX69773" y="connsiteY69773"/>
              </a:cxn>
              <a:cxn ang="0">
                <a:pos x="connsiteX69774" y="connsiteY69774"/>
              </a:cxn>
              <a:cxn ang="0">
                <a:pos x="connsiteX69775" y="connsiteY69775"/>
              </a:cxn>
              <a:cxn ang="0">
                <a:pos x="connsiteX69776" y="connsiteY69776"/>
              </a:cxn>
              <a:cxn ang="0">
                <a:pos x="connsiteX69777" y="connsiteY69777"/>
              </a:cxn>
              <a:cxn ang="0">
                <a:pos x="connsiteX69778" y="connsiteY69778"/>
              </a:cxn>
              <a:cxn ang="0">
                <a:pos x="connsiteX69779" y="connsiteY69779"/>
              </a:cxn>
              <a:cxn ang="0">
                <a:pos x="connsiteX69780" y="connsiteY69780"/>
              </a:cxn>
              <a:cxn ang="0">
                <a:pos x="connsiteX69781" y="connsiteY69781"/>
              </a:cxn>
              <a:cxn ang="0">
                <a:pos x="connsiteX69782" y="connsiteY69782"/>
              </a:cxn>
              <a:cxn ang="0">
                <a:pos x="connsiteX69783" y="connsiteY69783"/>
              </a:cxn>
              <a:cxn ang="0">
                <a:pos x="connsiteX69784" y="connsiteY69784"/>
              </a:cxn>
              <a:cxn ang="0">
                <a:pos x="connsiteX69785" y="connsiteY69785"/>
              </a:cxn>
              <a:cxn ang="0">
                <a:pos x="connsiteX69786" y="connsiteY69786"/>
              </a:cxn>
              <a:cxn ang="0">
                <a:pos x="connsiteX69787" y="connsiteY69787"/>
              </a:cxn>
              <a:cxn ang="0">
                <a:pos x="connsiteX69788" y="connsiteY69788"/>
              </a:cxn>
              <a:cxn ang="0">
                <a:pos x="connsiteX69789" y="connsiteY69789"/>
              </a:cxn>
              <a:cxn ang="0">
                <a:pos x="connsiteX69790" y="connsiteY69790"/>
              </a:cxn>
              <a:cxn ang="0">
                <a:pos x="connsiteX69791" y="connsiteY69791"/>
              </a:cxn>
              <a:cxn ang="0">
                <a:pos x="connsiteX69792" y="connsiteY69792"/>
              </a:cxn>
              <a:cxn ang="0">
                <a:pos x="connsiteX69793" y="connsiteY69793"/>
              </a:cxn>
              <a:cxn ang="0">
                <a:pos x="connsiteX69794" y="connsiteY69794"/>
              </a:cxn>
              <a:cxn ang="0">
                <a:pos x="connsiteX69795" y="connsiteY69795"/>
              </a:cxn>
              <a:cxn ang="0">
                <a:pos x="connsiteX69796" y="connsiteY69796"/>
              </a:cxn>
              <a:cxn ang="0">
                <a:pos x="connsiteX69797" y="connsiteY69797"/>
              </a:cxn>
              <a:cxn ang="0">
                <a:pos x="connsiteX69798" y="connsiteY69798"/>
              </a:cxn>
              <a:cxn ang="0">
                <a:pos x="connsiteX69799" y="connsiteY69799"/>
              </a:cxn>
              <a:cxn ang="0">
                <a:pos x="connsiteX69800" y="connsiteY69800"/>
              </a:cxn>
              <a:cxn ang="0">
                <a:pos x="connsiteX69801" y="connsiteY69801"/>
              </a:cxn>
              <a:cxn ang="0">
                <a:pos x="connsiteX69802" y="connsiteY69802"/>
              </a:cxn>
              <a:cxn ang="0">
                <a:pos x="connsiteX69803" y="connsiteY69803"/>
              </a:cxn>
              <a:cxn ang="0">
                <a:pos x="connsiteX69804" y="connsiteY69804"/>
              </a:cxn>
              <a:cxn ang="0">
                <a:pos x="connsiteX69805" y="connsiteY69805"/>
              </a:cxn>
              <a:cxn ang="0">
                <a:pos x="connsiteX69806" y="connsiteY69806"/>
              </a:cxn>
              <a:cxn ang="0">
                <a:pos x="connsiteX69807" y="connsiteY69807"/>
              </a:cxn>
              <a:cxn ang="0">
                <a:pos x="connsiteX69808" y="connsiteY69808"/>
              </a:cxn>
              <a:cxn ang="0">
                <a:pos x="connsiteX69809" y="connsiteY69809"/>
              </a:cxn>
              <a:cxn ang="0">
                <a:pos x="connsiteX69810" y="connsiteY69810"/>
              </a:cxn>
              <a:cxn ang="0">
                <a:pos x="connsiteX69811" y="connsiteY69811"/>
              </a:cxn>
              <a:cxn ang="0">
                <a:pos x="connsiteX69812" y="connsiteY69812"/>
              </a:cxn>
              <a:cxn ang="0">
                <a:pos x="connsiteX69813" y="connsiteY69813"/>
              </a:cxn>
              <a:cxn ang="0">
                <a:pos x="connsiteX69814" y="connsiteY69814"/>
              </a:cxn>
              <a:cxn ang="0">
                <a:pos x="connsiteX69815" y="connsiteY69815"/>
              </a:cxn>
              <a:cxn ang="0">
                <a:pos x="connsiteX69816" y="connsiteY69816"/>
              </a:cxn>
              <a:cxn ang="0">
                <a:pos x="connsiteX69817" y="connsiteY69817"/>
              </a:cxn>
              <a:cxn ang="0">
                <a:pos x="connsiteX69818" y="connsiteY69818"/>
              </a:cxn>
              <a:cxn ang="0">
                <a:pos x="connsiteX69819" y="connsiteY69819"/>
              </a:cxn>
              <a:cxn ang="0">
                <a:pos x="connsiteX69820" y="connsiteY69820"/>
              </a:cxn>
              <a:cxn ang="0">
                <a:pos x="connsiteX69821" y="connsiteY69821"/>
              </a:cxn>
              <a:cxn ang="0">
                <a:pos x="connsiteX69822" y="connsiteY69822"/>
              </a:cxn>
              <a:cxn ang="0">
                <a:pos x="connsiteX69823" y="connsiteY69823"/>
              </a:cxn>
              <a:cxn ang="0">
                <a:pos x="connsiteX69824" y="connsiteY69824"/>
              </a:cxn>
              <a:cxn ang="0">
                <a:pos x="connsiteX69825" y="connsiteY69825"/>
              </a:cxn>
              <a:cxn ang="0">
                <a:pos x="connsiteX69826" y="connsiteY69826"/>
              </a:cxn>
              <a:cxn ang="0">
                <a:pos x="connsiteX69827" y="connsiteY69827"/>
              </a:cxn>
              <a:cxn ang="0">
                <a:pos x="connsiteX69828" y="connsiteY69828"/>
              </a:cxn>
              <a:cxn ang="0">
                <a:pos x="connsiteX69829" y="connsiteY69829"/>
              </a:cxn>
              <a:cxn ang="0">
                <a:pos x="connsiteX69830" y="connsiteY69830"/>
              </a:cxn>
              <a:cxn ang="0">
                <a:pos x="connsiteX69831" y="connsiteY69831"/>
              </a:cxn>
              <a:cxn ang="0">
                <a:pos x="connsiteX69832" y="connsiteY69832"/>
              </a:cxn>
              <a:cxn ang="0">
                <a:pos x="connsiteX69833" y="connsiteY69833"/>
              </a:cxn>
              <a:cxn ang="0">
                <a:pos x="connsiteX69834" y="connsiteY69834"/>
              </a:cxn>
              <a:cxn ang="0">
                <a:pos x="connsiteX69835" y="connsiteY69835"/>
              </a:cxn>
              <a:cxn ang="0">
                <a:pos x="connsiteX69836" y="connsiteY69836"/>
              </a:cxn>
              <a:cxn ang="0">
                <a:pos x="connsiteX69837" y="connsiteY69837"/>
              </a:cxn>
              <a:cxn ang="0">
                <a:pos x="connsiteX69838" y="connsiteY69838"/>
              </a:cxn>
              <a:cxn ang="0">
                <a:pos x="connsiteX69839" y="connsiteY69839"/>
              </a:cxn>
              <a:cxn ang="0">
                <a:pos x="connsiteX69840" y="connsiteY69840"/>
              </a:cxn>
              <a:cxn ang="0">
                <a:pos x="connsiteX69841" y="connsiteY69841"/>
              </a:cxn>
              <a:cxn ang="0">
                <a:pos x="connsiteX69842" y="connsiteY69842"/>
              </a:cxn>
              <a:cxn ang="0">
                <a:pos x="connsiteX69843" y="connsiteY69843"/>
              </a:cxn>
              <a:cxn ang="0">
                <a:pos x="connsiteX69844" y="connsiteY69844"/>
              </a:cxn>
              <a:cxn ang="0">
                <a:pos x="connsiteX69845" y="connsiteY69845"/>
              </a:cxn>
              <a:cxn ang="0">
                <a:pos x="connsiteX69846" y="connsiteY69846"/>
              </a:cxn>
              <a:cxn ang="0">
                <a:pos x="connsiteX69847" y="connsiteY69847"/>
              </a:cxn>
              <a:cxn ang="0">
                <a:pos x="connsiteX69848" y="connsiteY69848"/>
              </a:cxn>
              <a:cxn ang="0">
                <a:pos x="connsiteX69849" y="connsiteY69849"/>
              </a:cxn>
              <a:cxn ang="0">
                <a:pos x="connsiteX69850" y="connsiteY69850"/>
              </a:cxn>
              <a:cxn ang="0">
                <a:pos x="connsiteX69851" y="connsiteY69851"/>
              </a:cxn>
              <a:cxn ang="0">
                <a:pos x="connsiteX69852" y="connsiteY69852"/>
              </a:cxn>
              <a:cxn ang="0">
                <a:pos x="connsiteX69853" y="connsiteY69853"/>
              </a:cxn>
              <a:cxn ang="0">
                <a:pos x="connsiteX69854" y="connsiteY69854"/>
              </a:cxn>
              <a:cxn ang="0">
                <a:pos x="connsiteX69855" y="connsiteY69855"/>
              </a:cxn>
              <a:cxn ang="0">
                <a:pos x="connsiteX69856" y="connsiteY69856"/>
              </a:cxn>
              <a:cxn ang="0">
                <a:pos x="connsiteX69857" y="connsiteY69857"/>
              </a:cxn>
              <a:cxn ang="0">
                <a:pos x="connsiteX69858" y="connsiteY69858"/>
              </a:cxn>
              <a:cxn ang="0">
                <a:pos x="connsiteX69859" y="connsiteY69859"/>
              </a:cxn>
              <a:cxn ang="0">
                <a:pos x="connsiteX69860" y="connsiteY69860"/>
              </a:cxn>
              <a:cxn ang="0">
                <a:pos x="connsiteX69861" y="connsiteY69861"/>
              </a:cxn>
              <a:cxn ang="0">
                <a:pos x="connsiteX69862" y="connsiteY69862"/>
              </a:cxn>
              <a:cxn ang="0">
                <a:pos x="connsiteX69863" y="connsiteY69863"/>
              </a:cxn>
              <a:cxn ang="0">
                <a:pos x="connsiteX69864" y="connsiteY69864"/>
              </a:cxn>
              <a:cxn ang="0">
                <a:pos x="connsiteX69865" y="connsiteY69865"/>
              </a:cxn>
              <a:cxn ang="0">
                <a:pos x="connsiteX69866" y="connsiteY69866"/>
              </a:cxn>
              <a:cxn ang="0">
                <a:pos x="connsiteX69867" y="connsiteY69867"/>
              </a:cxn>
              <a:cxn ang="0">
                <a:pos x="connsiteX69868" y="connsiteY69868"/>
              </a:cxn>
              <a:cxn ang="0">
                <a:pos x="connsiteX69869" y="connsiteY69869"/>
              </a:cxn>
              <a:cxn ang="0">
                <a:pos x="connsiteX69870" y="connsiteY69870"/>
              </a:cxn>
              <a:cxn ang="0">
                <a:pos x="connsiteX69871" y="connsiteY69871"/>
              </a:cxn>
              <a:cxn ang="0">
                <a:pos x="connsiteX69872" y="connsiteY69872"/>
              </a:cxn>
              <a:cxn ang="0">
                <a:pos x="connsiteX69873" y="connsiteY69873"/>
              </a:cxn>
              <a:cxn ang="0">
                <a:pos x="connsiteX69874" y="connsiteY69874"/>
              </a:cxn>
              <a:cxn ang="0">
                <a:pos x="connsiteX69875" y="connsiteY69875"/>
              </a:cxn>
              <a:cxn ang="0">
                <a:pos x="connsiteX69876" y="connsiteY69876"/>
              </a:cxn>
              <a:cxn ang="0">
                <a:pos x="connsiteX69877" y="connsiteY69877"/>
              </a:cxn>
              <a:cxn ang="0">
                <a:pos x="connsiteX69878" y="connsiteY69878"/>
              </a:cxn>
              <a:cxn ang="0">
                <a:pos x="connsiteX69879" y="connsiteY69879"/>
              </a:cxn>
              <a:cxn ang="0">
                <a:pos x="connsiteX69880" y="connsiteY69880"/>
              </a:cxn>
              <a:cxn ang="0">
                <a:pos x="connsiteX69881" y="connsiteY69881"/>
              </a:cxn>
              <a:cxn ang="0">
                <a:pos x="connsiteX69882" y="connsiteY69882"/>
              </a:cxn>
              <a:cxn ang="0">
                <a:pos x="connsiteX69883" y="connsiteY69883"/>
              </a:cxn>
              <a:cxn ang="0">
                <a:pos x="connsiteX69884" y="connsiteY69884"/>
              </a:cxn>
              <a:cxn ang="0">
                <a:pos x="connsiteX69885" y="connsiteY69885"/>
              </a:cxn>
              <a:cxn ang="0">
                <a:pos x="connsiteX69886" y="connsiteY69886"/>
              </a:cxn>
              <a:cxn ang="0">
                <a:pos x="connsiteX69887" y="connsiteY69887"/>
              </a:cxn>
              <a:cxn ang="0">
                <a:pos x="connsiteX69888" y="connsiteY69888"/>
              </a:cxn>
              <a:cxn ang="0">
                <a:pos x="connsiteX69889" y="connsiteY69889"/>
              </a:cxn>
              <a:cxn ang="0">
                <a:pos x="connsiteX69890" y="connsiteY69890"/>
              </a:cxn>
              <a:cxn ang="0">
                <a:pos x="connsiteX69891" y="connsiteY69891"/>
              </a:cxn>
              <a:cxn ang="0">
                <a:pos x="connsiteX69892" y="connsiteY69892"/>
              </a:cxn>
              <a:cxn ang="0">
                <a:pos x="connsiteX69893" y="connsiteY69893"/>
              </a:cxn>
              <a:cxn ang="0">
                <a:pos x="connsiteX69894" y="connsiteY69894"/>
              </a:cxn>
              <a:cxn ang="0">
                <a:pos x="connsiteX69895" y="connsiteY69895"/>
              </a:cxn>
              <a:cxn ang="0">
                <a:pos x="connsiteX69896" y="connsiteY69896"/>
              </a:cxn>
              <a:cxn ang="0">
                <a:pos x="connsiteX69897" y="connsiteY69897"/>
              </a:cxn>
              <a:cxn ang="0">
                <a:pos x="connsiteX69898" y="connsiteY69898"/>
              </a:cxn>
              <a:cxn ang="0">
                <a:pos x="connsiteX69899" y="connsiteY69899"/>
              </a:cxn>
              <a:cxn ang="0">
                <a:pos x="connsiteX69900" y="connsiteY69900"/>
              </a:cxn>
              <a:cxn ang="0">
                <a:pos x="connsiteX69901" y="connsiteY69901"/>
              </a:cxn>
              <a:cxn ang="0">
                <a:pos x="connsiteX69902" y="connsiteY69902"/>
              </a:cxn>
              <a:cxn ang="0">
                <a:pos x="connsiteX69903" y="connsiteY69903"/>
              </a:cxn>
              <a:cxn ang="0">
                <a:pos x="connsiteX69904" y="connsiteY69904"/>
              </a:cxn>
              <a:cxn ang="0">
                <a:pos x="connsiteX69905" y="connsiteY69905"/>
              </a:cxn>
              <a:cxn ang="0">
                <a:pos x="connsiteX69906" y="connsiteY69906"/>
              </a:cxn>
              <a:cxn ang="0">
                <a:pos x="connsiteX69907" y="connsiteY69907"/>
              </a:cxn>
              <a:cxn ang="0">
                <a:pos x="connsiteX69908" y="connsiteY69908"/>
              </a:cxn>
              <a:cxn ang="0">
                <a:pos x="connsiteX69909" y="connsiteY69909"/>
              </a:cxn>
              <a:cxn ang="0">
                <a:pos x="connsiteX69910" y="connsiteY69910"/>
              </a:cxn>
              <a:cxn ang="0">
                <a:pos x="connsiteX69911" y="connsiteY69911"/>
              </a:cxn>
              <a:cxn ang="0">
                <a:pos x="connsiteX69912" y="connsiteY69912"/>
              </a:cxn>
              <a:cxn ang="0">
                <a:pos x="connsiteX69913" y="connsiteY69913"/>
              </a:cxn>
              <a:cxn ang="0">
                <a:pos x="connsiteX69914" y="connsiteY69914"/>
              </a:cxn>
              <a:cxn ang="0">
                <a:pos x="connsiteX69915" y="connsiteY69915"/>
              </a:cxn>
              <a:cxn ang="0">
                <a:pos x="connsiteX69916" y="connsiteY69916"/>
              </a:cxn>
              <a:cxn ang="0">
                <a:pos x="connsiteX69917" y="connsiteY69917"/>
              </a:cxn>
              <a:cxn ang="0">
                <a:pos x="connsiteX69918" y="connsiteY69918"/>
              </a:cxn>
              <a:cxn ang="0">
                <a:pos x="connsiteX69919" y="connsiteY69919"/>
              </a:cxn>
              <a:cxn ang="0">
                <a:pos x="connsiteX69920" y="connsiteY69920"/>
              </a:cxn>
              <a:cxn ang="0">
                <a:pos x="connsiteX69921" y="connsiteY69921"/>
              </a:cxn>
              <a:cxn ang="0">
                <a:pos x="connsiteX69922" y="connsiteY69922"/>
              </a:cxn>
              <a:cxn ang="0">
                <a:pos x="connsiteX69923" y="connsiteY69923"/>
              </a:cxn>
              <a:cxn ang="0">
                <a:pos x="connsiteX69924" y="connsiteY69924"/>
              </a:cxn>
              <a:cxn ang="0">
                <a:pos x="connsiteX69925" y="connsiteY69925"/>
              </a:cxn>
              <a:cxn ang="0">
                <a:pos x="connsiteX69926" y="connsiteY69926"/>
              </a:cxn>
              <a:cxn ang="0">
                <a:pos x="connsiteX69927" y="connsiteY69927"/>
              </a:cxn>
              <a:cxn ang="0">
                <a:pos x="connsiteX69928" y="connsiteY69928"/>
              </a:cxn>
              <a:cxn ang="0">
                <a:pos x="connsiteX69929" y="connsiteY69929"/>
              </a:cxn>
              <a:cxn ang="0">
                <a:pos x="connsiteX69930" y="connsiteY69930"/>
              </a:cxn>
              <a:cxn ang="0">
                <a:pos x="connsiteX69931" y="connsiteY69931"/>
              </a:cxn>
              <a:cxn ang="0">
                <a:pos x="connsiteX69932" y="connsiteY69932"/>
              </a:cxn>
              <a:cxn ang="0">
                <a:pos x="connsiteX69933" y="connsiteY69933"/>
              </a:cxn>
              <a:cxn ang="0">
                <a:pos x="connsiteX69934" y="connsiteY69934"/>
              </a:cxn>
              <a:cxn ang="0">
                <a:pos x="connsiteX69935" y="connsiteY69935"/>
              </a:cxn>
              <a:cxn ang="0">
                <a:pos x="connsiteX69936" y="connsiteY69936"/>
              </a:cxn>
              <a:cxn ang="0">
                <a:pos x="connsiteX69937" y="connsiteY69937"/>
              </a:cxn>
              <a:cxn ang="0">
                <a:pos x="connsiteX69938" y="connsiteY69938"/>
              </a:cxn>
              <a:cxn ang="0">
                <a:pos x="connsiteX69939" y="connsiteY69939"/>
              </a:cxn>
              <a:cxn ang="0">
                <a:pos x="connsiteX69940" y="connsiteY69940"/>
              </a:cxn>
              <a:cxn ang="0">
                <a:pos x="connsiteX69941" y="connsiteY69941"/>
              </a:cxn>
              <a:cxn ang="0">
                <a:pos x="connsiteX69942" y="connsiteY69942"/>
              </a:cxn>
              <a:cxn ang="0">
                <a:pos x="connsiteX69943" y="connsiteY69943"/>
              </a:cxn>
              <a:cxn ang="0">
                <a:pos x="connsiteX69944" y="connsiteY69944"/>
              </a:cxn>
              <a:cxn ang="0">
                <a:pos x="connsiteX69945" y="connsiteY69945"/>
              </a:cxn>
              <a:cxn ang="0">
                <a:pos x="connsiteX69946" y="connsiteY69946"/>
              </a:cxn>
              <a:cxn ang="0">
                <a:pos x="connsiteX69947" y="connsiteY69947"/>
              </a:cxn>
              <a:cxn ang="0">
                <a:pos x="connsiteX69948" y="connsiteY69948"/>
              </a:cxn>
              <a:cxn ang="0">
                <a:pos x="connsiteX69949" y="connsiteY69949"/>
              </a:cxn>
              <a:cxn ang="0">
                <a:pos x="connsiteX69950" y="connsiteY69950"/>
              </a:cxn>
              <a:cxn ang="0">
                <a:pos x="connsiteX69951" y="connsiteY69951"/>
              </a:cxn>
              <a:cxn ang="0">
                <a:pos x="connsiteX69952" y="connsiteY69952"/>
              </a:cxn>
              <a:cxn ang="0">
                <a:pos x="connsiteX69953" y="connsiteY69953"/>
              </a:cxn>
              <a:cxn ang="0">
                <a:pos x="connsiteX69954" y="connsiteY69954"/>
              </a:cxn>
              <a:cxn ang="0">
                <a:pos x="connsiteX69955" y="connsiteY69955"/>
              </a:cxn>
              <a:cxn ang="0">
                <a:pos x="connsiteX69956" y="connsiteY69956"/>
              </a:cxn>
              <a:cxn ang="0">
                <a:pos x="connsiteX69957" y="connsiteY69957"/>
              </a:cxn>
              <a:cxn ang="0">
                <a:pos x="connsiteX69958" y="connsiteY69958"/>
              </a:cxn>
              <a:cxn ang="0">
                <a:pos x="connsiteX69959" y="connsiteY69959"/>
              </a:cxn>
              <a:cxn ang="0">
                <a:pos x="connsiteX69960" y="connsiteY69960"/>
              </a:cxn>
              <a:cxn ang="0">
                <a:pos x="connsiteX69961" y="connsiteY69961"/>
              </a:cxn>
              <a:cxn ang="0">
                <a:pos x="connsiteX69962" y="connsiteY69962"/>
              </a:cxn>
              <a:cxn ang="0">
                <a:pos x="connsiteX69963" y="connsiteY69963"/>
              </a:cxn>
              <a:cxn ang="0">
                <a:pos x="connsiteX69964" y="connsiteY69964"/>
              </a:cxn>
              <a:cxn ang="0">
                <a:pos x="connsiteX69965" y="connsiteY69965"/>
              </a:cxn>
              <a:cxn ang="0">
                <a:pos x="connsiteX69966" y="connsiteY69966"/>
              </a:cxn>
              <a:cxn ang="0">
                <a:pos x="connsiteX69967" y="connsiteY69967"/>
              </a:cxn>
              <a:cxn ang="0">
                <a:pos x="connsiteX69968" y="connsiteY69968"/>
              </a:cxn>
              <a:cxn ang="0">
                <a:pos x="connsiteX69969" y="connsiteY69969"/>
              </a:cxn>
              <a:cxn ang="0">
                <a:pos x="connsiteX69970" y="connsiteY69970"/>
              </a:cxn>
              <a:cxn ang="0">
                <a:pos x="connsiteX69971" y="connsiteY69971"/>
              </a:cxn>
              <a:cxn ang="0">
                <a:pos x="connsiteX69972" y="connsiteY69972"/>
              </a:cxn>
              <a:cxn ang="0">
                <a:pos x="connsiteX69973" y="connsiteY69973"/>
              </a:cxn>
              <a:cxn ang="0">
                <a:pos x="connsiteX69974" y="connsiteY69974"/>
              </a:cxn>
              <a:cxn ang="0">
                <a:pos x="connsiteX69975" y="connsiteY69975"/>
              </a:cxn>
              <a:cxn ang="0">
                <a:pos x="connsiteX69976" y="connsiteY69976"/>
              </a:cxn>
              <a:cxn ang="0">
                <a:pos x="connsiteX69977" y="connsiteY69977"/>
              </a:cxn>
              <a:cxn ang="0">
                <a:pos x="connsiteX69978" y="connsiteY69978"/>
              </a:cxn>
              <a:cxn ang="0">
                <a:pos x="connsiteX69979" y="connsiteY69979"/>
              </a:cxn>
              <a:cxn ang="0">
                <a:pos x="connsiteX69980" y="connsiteY69980"/>
              </a:cxn>
              <a:cxn ang="0">
                <a:pos x="connsiteX69981" y="connsiteY69981"/>
              </a:cxn>
              <a:cxn ang="0">
                <a:pos x="connsiteX69982" y="connsiteY69982"/>
              </a:cxn>
              <a:cxn ang="0">
                <a:pos x="connsiteX69983" y="connsiteY69983"/>
              </a:cxn>
              <a:cxn ang="0">
                <a:pos x="connsiteX69984" y="connsiteY69984"/>
              </a:cxn>
              <a:cxn ang="0">
                <a:pos x="connsiteX69985" y="connsiteY69985"/>
              </a:cxn>
              <a:cxn ang="0">
                <a:pos x="connsiteX69986" y="connsiteY69986"/>
              </a:cxn>
              <a:cxn ang="0">
                <a:pos x="connsiteX69987" y="connsiteY69987"/>
              </a:cxn>
              <a:cxn ang="0">
                <a:pos x="connsiteX69988" y="connsiteY69988"/>
              </a:cxn>
              <a:cxn ang="0">
                <a:pos x="connsiteX69989" y="connsiteY69989"/>
              </a:cxn>
              <a:cxn ang="0">
                <a:pos x="connsiteX69990" y="connsiteY69990"/>
              </a:cxn>
              <a:cxn ang="0">
                <a:pos x="connsiteX69991" y="connsiteY69991"/>
              </a:cxn>
              <a:cxn ang="0">
                <a:pos x="connsiteX69992" y="connsiteY69992"/>
              </a:cxn>
              <a:cxn ang="0">
                <a:pos x="connsiteX69993" y="connsiteY69993"/>
              </a:cxn>
              <a:cxn ang="0">
                <a:pos x="connsiteX69994" y="connsiteY69994"/>
              </a:cxn>
              <a:cxn ang="0">
                <a:pos x="connsiteX69995" y="connsiteY69995"/>
              </a:cxn>
              <a:cxn ang="0">
                <a:pos x="connsiteX69996" y="connsiteY69996"/>
              </a:cxn>
              <a:cxn ang="0">
                <a:pos x="connsiteX69997" y="connsiteY69997"/>
              </a:cxn>
              <a:cxn ang="0">
                <a:pos x="connsiteX69998" y="connsiteY69998"/>
              </a:cxn>
              <a:cxn ang="0">
                <a:pos x="connsiteX69999" y="connsiteY69999"/>
              </a:cxn>
              <a:cxn ang="0">
                <a:pos x="connsiteX70000" y="connsiteY70000"/>
              </a:cxn>
              <a:cxn ang="0">
                <a:pos x="connsiteX70001" y="connsiteY70001"/>
              </a:cxn>
              <a:cxn ang="0">
                <a:pos x="connsiteX70002" y="connsiteY70002"/>
              </a:cxn>
              <a:cxn ang="0">
                <a:pos x="connsiteX70003" y="connsiteY70003"/>
              </a:cxn>
              <a:cxn ang="0">
                <a:pos x="connsiteX70004" y="connsiteY70004"/>
              </a:cxn>
              <a:cxn ang="0">
                <a:pos x="connsiteX70005" y="connsiteY70005"/>
              </a:cxn>
              <a:cxn ang="0">
                <a:pos x="connsiteX70006" y="connsiteY70006"/>
              </a:cxn>
              <a:cxn ang="0">
                <a:pos x="connsiteX70007" y="connsiteY70007"/>
              </a:cxn>
              <a:cxn ang="0">
                <a:pos x="connsiteX70008" y="connsiteY70008"/>
              </a:cxn>
              <a:cxn ang="0">
                <a:pos x="connsiteX70009" y="connsiteY70009"/>
              </a:cxn>
              <a:cxn ang="0">
                <a:pos x="connsiteX70010" y="connsiteY70010"/>
              </a:cxn>
              <a:cxn ang="0">
                <a:pos x="connsiteX70011" y="connsiteY70011"/>
              </a:cxn>
              <a:cxn ang="0">
                <a:pos x="connsiteX70012" y="connsiteY70012"/>
              </a:cxn>
              <a:cxn ang="0">
                <a:pos x="connsiteX70013" y="connsiteY70013"/>
              </a:cxn>
              <a:cxn ang="0">
                <a:pos x="connsiteX70014" y="connsiteY70014"/>
              </a:cxn>
              <a:cxn ang="0">
                <a:pos x="connsiteX70015" y="connsiteY70015"/>
              </a:cxn>
              <a:cxn ang="0">
                <a:pos x="connsiteX70016" y="connsiteY70016"/>
              </a:cxn>
              <a:cxn ang="0">
                <a:pos x="connsiteX70017" y="connsiteY70017"/>
              </a:cxn>
              <a:cxn ang="0">
                <a:pos x="connsiteX70018" y="connsiteY70018"/>
              </a:cxn>
              <a:cxn ang="0">
                <a:pos x="connsiteX70019" y="connsiteY70019"/>
              </a:cxn>
              <a:cxn ang="0">
                <a:pos x="connsiteX70020" y="connsiteY70020"/>
              </a:cxn>
              <a:cxn ang="0">
                <a:pos x="connsiteX70021" y="connsiteY70021"/>
              </a:cxn>
              <a:cxn ang="0">
                <a:pos x="connsiteX70022" y="connsiteY70022"/>
              </a:cxn>
              <a:cxn ang="0">
                <a:pos x="connsiteX70023" y="connsiteY70023"/>
              </a:cxn>
              <a:cxn ang="0">
                <a:pos x="connsiteX70024" y="connsiteY70024"/>
              </a:cxn>
              <a:cxn ang="0">
                <a:pos x="connsiteX70025" y="connsiteY70025"/>
              </a:cxn>
              <a:cxn ang="0">
                <a:pos x="connsiteX70026" y="connsiteY70026"/>
              </a:cxn>
              <a:cxn ang="0">
                <a:pos x="connsiteX70027" y="connsiteY70027"/>
              </a:cxn>
              <a:cxn ang="0">
                <a:pos x="connsiteX70028" y="connsiteY70028"/>
              </a:cxn>
              <a:cxn ang="0">
                <a:pos x="connsiteX70029" y="connsiteY70029"/>
              </a:cxn>
              <a:cxn ang="0">
                <a:pos x="connsiteX70030" y="connsiteY70030"/>
              </a:cxn>
              <a:cxn ang="0">
                <a:pos x="connsiteX70031" y="connsiteY70031"/>
              </a:cxn>
              <a:cxn ang="0">
                <a:pos x="connsiteX70032" y="connsiteY70032"/>
              </a:cxn>
              <a:cxn ang="0">
                <a:pos x="connsiteX70033" y="connsiteY70033"/>
              </a:cxn>
              <a:cxn ang="0">
                <a:pos x="connsiteX70034" y="connsiteY70034"/>
              </a:cxn>
              <a:cxn ang="0">
                <a:pos x="connsiteX70035" y="connsiteY70035"/>
              </a:cxn>
              <a:cxn ang="0">
                <a:pos x="connsiteX70036" y="connsiteY70036"/>
              </a:cxn>
              <a:cxn ang="0">
                <a:pos x="connsiteX70037" y="connsiteY70037"/>
              </a:cxn>
              <a:cxn ang="0">
                <a:pos x="connsiteX70038" y="connsiteY70038"/>
              </a:cxn>
              <a:cxn ang="0">
                <a:pos x="connsiteX70039" y="connsiteY70039"/>
              </a:cxn>
              <a:cxn ang="0">
                <a:pos x="connsiteX70040" y="connsiteY70040"/>
              </a:cxn>
              <a:cxn ang="0">
                <a:pos x="connsiteX70041" y="connsiteY70041"/>
              </a:cxn>
              <a:cxn ang="0">
                <a:pos x="connsiteX70042" y="connsiteY70042"/>
              </a:cxn>
              <a:cxn ang="0">
                <a:pos x="connsiteX70043" y="connsiteY70043"/>
              </a:cxn>
              <a:cxn ang="0">
                <a:pos x="connsiteX70044" y="connsiteY70044"/>
              </a:cxn>
              <a:cxn ang="0">
                <a:pos x="connsiteX70045" y="connsiteY70045"/>
              </a:cxn>
              <a:cxn ang="0">
                <a:pos x="connsiteX70046" y="connsiteY70046"/>
              </a:cxn>
              <a:cxn ang="0">
                <a:pos x="connsiteX70047" y="connsiteY70047"/>
              </a:cxn>
              <a:cxn ang="0">
                <a:pos x="connsiteX70048" y="connsiteY70048"/>
              </a:cxn>
              <a:cxn ang="0">
                <a:pos x="connsiteX70049" y="connsiteY70049"/>
              </a:cxn>
              <a:cxn ang="0">
                <a:pos x="connsiteX70050" y="connsiteY70050"/>
              </a:cxn>
              <a:cxn ang="0">
                <a:pos x="connsiteX70051" y="connsiteY70051"/>
              </a:cxn>
              <a:cxn ang="0">
                <a:pos x="connsiteX70052" y="connsiteY70052"/>
              </a:cxn>
              <a:cxn ang="0">
                <a:pos x="connsiteX70053" y="connsiteY70053"/>
              </a:cxn>
              <a:cxn ang="0">
                <a:pos x="connsiteX70054" y="connsiteY70054"/>
              </a:cxn>
              <a:cxn ang="0">
                <a:pos x="connsiteX70055" y="connsiteY70055"/>
              </a:cxn>
              <a:cxn ang="0">
                <a:pos x="connsiteX70056" y="connsiteY70056"/>
              </a:cxn>
              <a:cxn ang="0">
                <a:pos x="connsiteX70057" y="connsiteY70057"/>
              </a:cxn>
              <a:cxn ang="0">
                <a:pos x="connsiteX70058" y="connsiteY70058"/>
              </a:cxn>
              <a:cxn ang="0">
                <a:pos x="connsiteX70059" y="connsiteY70059"/>
              </a:cxn>
              <a:cxn ang="0">
                <a:pos x="connsiteX70060" y="connsiteY70060"/>
              </a:cxn>
              <a:cxn ang="0">
                <a:pos x="connsiteX70061" y="connsiteY70061"/>
              </a:cxn>
              <a:cxn ang="0">
                <a:pos x="connsiteX70062" y="connsiteY70062"/>
              </a:cxn>
              <a:cxn ang="0">
                <a:pos x="connsiteX70063" y="connsiteY70063"/>
              </a:cxn>
              <a:cxn ang="0">
                <a:pos x="connsiteX70064" y="connsiteY70064"/>
              </a:cxn>
              <a:cxn ang="0">
                <a:pos x="connsiteX70065" y="connsiteY70065"/>
              </a:cxn>
              <a:cxn ang="0">
                <a:pos x="connsiteX70066" y="connsiteY70066"/>
              </a:cxn>
              <a:cxn ang="0">
                <a:pos x="connsiteX70067" y="connsiteY70067"/>
              </a:cxn>
              <a:cxn ang="0">
                <a:pos x="connsiteX70068" y="connsiteY70068"/>
              </a:cxn>
              <a:cxn ang="0">
                <a:pos x="connsiteX70069" y="connsiteY70069"/>
              </a:cxn>
              <a:cxn ang="0">
                <a:pos x="connsiteX70070" y="connsiteY70070"/>
              </a:cxn>
              <a:cxn ang="0">
                <a:pos x="connsiteX70071" y="connsiteY70071"/>
              </a:cxn>
              <a:cxn ang="0">
                <a:pos x="connsiteX70072" y="connsiteY70072"/>
              </a:cxn>
              <a:cxn ang="0">
                <a:pos x="connsiteX70073" y="connsiteY70073"/>
              </a:cxn>
              <a:cxn ang="0">
                <a:pos x="connsiteX70074" y="connsiteY70074"/>
              </a:cxn>
              <a:cxn ang="0">
                <a:pos x="connsiteX70075" y="connsiteY70075"/>
              </a:cxn>
              <a:cxn ang="0">
                <a:pos x="connsiteX70076" y="connsiteY70076"/>
              </a:cxn>
              <a:cxn ang="0">
                <a:pos x="connsiteX70077" y="connsiteY70077"/>
              </a:cxn>
              <a:cxn ang="0">
                <a:pos x="connsiteX70078" y="connsiteY70078"/>
              </a:cxn>
              <a:cxn ang="0">
                <a:pos x="connsiteX70079" y="connsiteY70079"/>
              </a:cxn>
              <a:cxn ang="0">
                <a:pos x="connsiteX70080" y="connsiteY70080"/>
              </a:cxn>
              <a:cxn ang="0">
                <a:pos x="connsiteX70081" y="connsiteY70081"/>
              </a:cxn>
              <a:cxn ang="0">
                <a:pos x="connsiteX70082" y="connsiteY70082"/>
              </a:cxn>
              <a:cxn ang="0">
                <a:pos x="connsiteX70083" y="connsiteY70083"/>
              </a:cxn>
              <a:cxn ang="0">
                <a:pos x="connsiteX70084" y="connsiteY70084"/>
              </a:cxn>
              <a:cxn ang="0">
                <a:pos x="connsiteX70085" y="connsiteY70085"/>
              </a:cxn>
              <a:cxn ang="0">
                <a:pos x="connsiteX70086" y="connsiteY70086"/>
              </a:cxn>
              <a:cxn ang="0">
                <a:pos x="connsiteX70087" y="connsiteY70087"/>
              </a:cxn>
              <a:cxn ang="0">
                <a:pos x="connsiteX70088" y="connsiteY70088"/>
              </a:cxn>
              <a:cxn ang="0">
                <a:pos x="connsiteX70089" y="connsiteY70089"/>
              </a:cxn>
              <a:cxn ang="0">
                <a:pos x="connsiteX70090" y="connsiteY70090"/>
              </a:cxn>
              <a:cxn ang="0">
                <a:pos x="connsiteX70091" y="connsiteY70091"/>
              </a:cxn>
              <a:cxn ang="0">
                <a:pos x="connsiteX70092" y="connsiteY70092"/>
              </a:cxn>
              <a:cxn ang="0">
                <a:pos x="connsiteX70093" y="connsiteY70093"/>
              </a:cxn>
              <a:cxn ang="0">
                <a:pos x="connsiteX70094" y="connsiteY70094"/>
              </a:cxn>
              <a:cxn ang="0">
                <a:pos x="connsiteX70095" y="connsiteY70095"/>
              </a:cxn>
              <a:cxn ang="0">
                <a:pos x="connsiteX70096" y="connsiteY70096"/>
              </a:cxn>
              <a:cxn ang="0">
                <a:pos x="connsiteX70097" y="connsiteY70097"/>
              </a:cxn>
              <a:cxn ang="0">
                <a:pos x="connsiteX70098" y="connsiteY70098"/>
              </a:cxn>
              <a:cxn ang="0">
                <a:pos x="connsiteX70099" y="connsiteY70099"/>
              </a:cxn>
              <a:cxn ang="0">
                <a:pos x="connsiteX70100" y="connsiteY70100"/>
              </a:cxn>
              <a:cxn ang="0">
                <a:pos x="connsiteX70101" y="connsiteY70101"/>
              </a:cxn>
              <a:cxn ang="0">
                <a:pos x="connsiteX70102" y="connsiteY70102"/>
              </a:cxn>
              <a:cxn ang="0">
                <a:pos x="connsiteX70103" y="connsiteY70103"/>
              </a:cxn>
              <a:cxn ang="0">
                <a:pos x="connsiteX70104" y="connsiteY70104"/>
              </a:cxn>
              <a:cxn ang="0">
                <a:pos x="connsiteX70105" y="connsiteY70105"/>
              </a:cxn>
              <a:cxn ang="0">
                <a:pos x="connsiteX70106" y="connsiteY70106"/>
              </a:cxn>
              <a:cxn ang="0">
                <a:pos x="connsiteX70107" y="connsiteY70107"/>
              </a:cxn>
              <a:cxn ang="0">
                <a:pos x="connsiteX70108" y="connsiteY70108"/>
              </a:cxn>
              <a:cxn ang="0">
                <a:pos x="connsiteX70109" y="connsiteY70109"/>
              </a:cxn>
              <a:cxn ang="0">
                <a:pos x="connsiteX70110" y="connsiteY70110"/>
              </a:cxn>
              <a:cxn ang="0">
                <a:pos x="connsiteX70111" y="connsiteY70111"/>
              </a:cxn>
              <a:cxn ang="0">
                <a:pos x="connsiteX70112" y="connsiteY70112"/>
              </a:cxn>
              <a:cxn ang="0">
                <a:pos x="connsiteX70113" y="connsiteY70113"/>
              </a:cxn>
              <a:cxn ang="0">
                <a:pos x="connsiteX70114" y="connsiteY70114"/>
              </a:cxn>
              <a:cxn ang="0">
                <a:pos x="connsiteX70115" y="connsiteY70115"/>
              </a:cxn>
              <a:cxn ang="0">
                <a:pos x="connsiteX70116" y="connsiteY70116"/>
              </a:cxn>
              <a:cxn ang="0">
                <a:pos x="connsiteX70117" y="connsiteY70117"/>
              </a:cxn>
              <a:cxn ang="0">
                <a:pos x="connsiteX70118" y="connsiteY70118"/>
              </a:cxn>
              <a:cxn ang="0">
                <a:pos x="connsiteX70119" y="connsiteY70119"/>
              </a:cxn>
              <a:cxn ang="0">
                <a:pos x="connsiteX70120" y="connsiteY70120"/>
              </a:cxn>
              <a:cxn ang="0">
                <a:pos x="connsiteX70121" y="connsiteY70121"/>
              </a:cxn>
              <a:cxn ang="0">
                <a:pos x="connsiteX70122" y="connsiteY70122"/>
              </a:cxn>
              <a:cxn ang="0">
                <a:pos x="connsiteX70123" y="connsiteY70123"/>
              </a:cxn>
              <a:cxn ang="0">
                <a:pos x="connsiteX70124" y="connsiteY70124"/>
              </a:cxn>
              <a:cxn ang="0">
                <a:pos x="connsiteX70125" y="connsiteY70125"/>
              </a:cxn>
              <a:cxn ang="0">
                <a:pos x="connsiteX70126" y="connsiteY70126"/>
              </a:cxn>
              <a:cxn ang="0">
                <a:pos x="connsiteX70127" y="connsiteY70127"/>
              </a:cxn>
              <a:cxn ang="0">
                <a:pos x="connsiteX70128" y="connsiteY70128"/>
              </a:cxn>
              <a:cxn ang="0">
                <a:pos x="connsiteX70129" y="connsiteY70129"/>
              </a:cxn>
              <a:cxn ang="0">
                <a:pos x="connsiteX70130" y="connsiteY70130"/>
              </a:cxn>
              <a:cxn ang="0">
                <a:pos x="connsiteX70131" y="connsiteY70131"/>
              </a:cxn>
              <a:cxn ang="0">
                <a:pos x="connsiteX70132" y="connsiteY70132"/>
              </a:cxn>
              <a:cxn ang="0">
                <a:pos x="connsiteX70133" y="connsiteY70133"/>
              </a:cxn>
              <a:cxn ang="0">
                <a:pos x="connsiteX70134" y="connsiteY70134"/>
              </a:cxn>
              <a:cxn ang="0">
                <a:pos x="connsiteX70135" y="connsiteY70135"/>
              </a:cxn>
              <a:cxn ang="0">
                <a:pos x="connsiteX70136" y="connsiteY70136"/>
              </a:cxn>
              <a:cxn ang="0">
                <a:pos x="connsiteX70137" y="connsiteY70137"/>
              </a:cxn>
              <a:cxn ang="0">
                <a:pos x="connsiteX70138" y="connsiteY70138"/>
              </a:cxn>
              <a:cxn ang="0">
                <a:pos x="connsiteX70139" y="connsiteY70139"/>
              </a:cxn>
              <a:cxn ang="0">
                <a:pos x="connsiteX70140" y="connsiteY70140"/>
              </a:cxn>
              <a:cxn ang="0">
                <a:pos x="connsiteX70141" y="connsiteY70141"/>
              </a:cxn>
              <a:cxn ang="0">
                <a:pos x="connsiteX70142" y="connsiteY70142"/>
              </a:cxn>
              <a:cxn ang="0">
                <a:pos x="connsiteX70143" y="connsiteY70143"/>
              </a:cxn>
              <a:cxn ang="0">
                <a:pos x="connsiteX70144" y="connsiteY70144"/>
              </a:cxn>
              <a:cxn ang="0">
                <a:pos x="connsiteX70145" y="connsiteY70145"/>
              </a:cxn>
              <a:cxn ang="0">
                <a:pos x="connsiteX70146" y="connsiteY70146"/>
              </a:cxn>
              <a:cxn ang="0">
                <a:pos x="connsiteX70147" y="connsiteY70147"/>
              </a:cxn>
              <a:cxn ang="0">
                <a:pos x="connsiteX70148" y="connsiteY70148"/>
              </a:cxn>
              <a:cxn ang="0">
                <a:pos x="connsiteX70149" y="connsiteY70149"/>
              </a:cxn>
              <a:cxn ang="0">
                <a:pos x="connsiteX70150" y="connsiteY70150"/>
              </a:cxn>
              <a:cxn ang="0">
                <a:pos x="connsiteX70151" y="connsiteY70151"/>
              </a:cxn>
              <a:cxn ang="0">
                <a:pos x="connsiteX70152" y="connsiteY70152"/>
              </a:cxn>
              <a:cxn ang="0">
                <a:pos x="connsiteX70153" y="connsiteY70153"/>
              </a:cxn>
              <a:cxn ang="0">
                <a:pos x="connsiteX70154" y="connsiteY70154"/>
              </a:cxn>
              <a:cxn ang="0">
                <a:pos x="connsiteX70155" y="connsiteY70155"/>
              </a:cxn>
              <a:cxn ang="0">
                <a:pos x="connsiteX70156" y="connsiteY70156"/>
              </a:cxn>
              <a:cxn ang="0">
                <a:pos x="connsiteX70157" y="connsiteY70157"/>
              </a:cxn>
              <a:cxn ang="0">
                <a:pos x="connsiteX70158" y="connsiteY70158"/>
              </a:cxn>
              <a:cxn ang="0">
                <a:pos x="connsiteX70159" y="connsiteY70159"/>
              </a:cxn>
              <a:cxn ang="0">
                <a:pos x="connsiteX70160" y="connsiteY70160"/>
              </a:cxn>
              <a:cxn ang="0">
                <a:pos x="connsiteX70161" y="connsiteY70161"/>
              </a:cxn>
              <a:cxn ang="0">
                <a:pos x="connsiteX70162" y="connsiteY70162"/>
              </a:cxn>
              <a:cxn ang="0">
                <a:pos x="connsiteX70163" y="connsiteY70163"/>
              </a:cxn>
              <a:cxn ang="0">
                <a:pos x="connsiteX70164" y="connsiteY70164"/>
              </a:cxn>
              <a:cxn ang="0">
                <a:pos x="connsiteX70165" y="connsiteY70165"/>
              </a:cxn>
              <a:cxn ang="0">
                <a:pos x="connsiteX70166" y="connsiteY70166"/>
              </a:cxn>
              <a:cxn ang="0">
                <a:pos x="connsiteX70167" y="connsiteY70167"/>
              </a:cxn>
              <a:cxn ang="0">
                <a:pos x="connsiteX70168" y="connsiteY70168"/>
              </a:cxn>
              <a:cxn ang="0">
                <a:pos x="connsiteX70169" y="connsiteY70169"/>
              </a:cxn>
              <a:cxn ang="0">
                <a:pos x="connsiteX70170" y="connsiteY70170"/>
              </a:cxn>
              <a:cxn ang="0">
                <a:pos x="connsiteX70171" y="connsiteY70171"/>
              </a:cxn>
              <a:cxn ang="0">
                <a:pos x="connsiteX70172" y="connsiteY70172"/>
              </a:cxn>
              <a:cxn ang="0">
                <a:pos x="connsiteX70173" y="connsiteY70173"/>
              </a:cxn>
              <a:cxn ang="0">
                <a:pos x="connsiteX70174" y="connsiteY70174"/>
              </a:cxn>
              <a:cxn ang="0">
                <a:pos x="connsiteX70175" y="connsiteY70175"/>
              </a:cxn>
              <a:cxn ang="0">
                <a:pos x="connsiteX70176" y="connsiteY70176"/>
              </a:cxn>
              <a:cxn ang="0">
                <a:pos x="connsiteX70177" y="connsiteY70177"/>
              </a:cxn>
              <a:cxn ang="0">
                <a:pos x="connsiteX70178" y="connsiteY70178"/>
              </a:cxn>
              <a:cxn ang="0">
                <a:pos x="connsiteX70179" y="connsiteY70179"/>
              </a:cxn>
              <a:cxn ang="0">
                <a:pos x="connsiteX70180" y="connsiteY70180"/>
              </a:cxn>
              <a:cxn ang="0">
                <a:pos x="connsiteX70181" y="connsiteY70181"/>
              </a:cxn>
              <a:cxn ang="0">
                <a:pos x="connsiteX70182" y="connsiteY70182"/>
              </a:cxn>
              <a:cxn ang="0">
                <a:pos x="connsiteX70183" y="connsiteY70183"/>
              </a:cxn>
              <a:cxn ang="0">
                <a:pos x="connsiteX70184" y="connsiteY70184"/>
              </a:cxn>
              <a:cxn ang="0">
                <a:pos x="connsiteX70185" y="connsiteY70185"/>
              </a:cxn>
              <a:cxn ang="0">
                <a:pos x="connsiteX70186" y="connsiteY70186"/>
              </a:cxn>
              <a:cxn ang="0">
                <a:pos x="connsiteX70187" y="connsiteY70187"/>
              </a:cxn>
              <a:cxn ang="0">
                <a:pos x="connsiteX70188" y="connsiteY70188"/>
              </a:cxn>
              <a:cxn ang="0">
                <a:pos x="connsiteX70189" y="connsiteY70189"/>
              </a:cxn>
              <a:cxn ang="0">
                <a:pos x="connsiteX70190" y="connsiteY70190"/>
              </a:cxn>
              <a:cxn ang="0">
                <a:pos x="connsiteX70191" y="connsiteY70191"/>
              </a:cxn>
              <a:cxn ang="0">
                <a:pos x="connsiteX70192" y="connsiteY70192"/>
              </a:cxn>
              <a:cxn ang="0">
                <a:pos x="connsiteX70193" y="connsiteY70193"/>
              </a:cxn>
              <a:cxn ang="0">
                <a:pos x="connsiteX70194" y="connsiteY70194"/>
              </a:cxn>
              <a:cxn ang="0">
                <a:pos x="connsiteX70195" y="connsiteY70195"/>
              </a:cxn>
              <a:cxn ang="0">
                <a:pos x="connsiteX70196" y="connsiteY70196"/>
              </a:cxn>
              <a:cxn ang="0">
                <a:pos x="connsiteX70197" y="connsiteY70197"/>
              </a:cxn>
              <a:cxn ang="0">
                <a:pos x="connsiteX70198" y="connsiteY70198"/>
              </a:cxn>
              <a:cxn ang="0">
                <a:pos x="connsiteX70199" y="connsiteY70199"/>
              </a:cxn>
              <a:cxn ang="0">
                <a:pos x="connsiteX70200" y="connsiteY70200"/>
              </a:cxn>
              <a:cxn ang="0">
                <a:pos x="connsiteX70201" y="connsiteY70201"/>
              </a:cxn>
              <a:cxn ang="0">
                <a:pos x="connsiteX70202" y="connsiteY70202"/>
              </a:cxn>
              <a:cxn ang="0">
                <a:pos x="connsiteX70203" y="connsiteY70203"/>
              </a:cxn>
              <a:cxn ang="0">
                <a:pos x="connsiteX70204" y="connsiteY70204"/>
              </a:cxn>
              <a:cxn ang="0">
                <a:pos x="connsiteX70205" y="connsiteY70205"/>
              </a:cxn>
              <a:cxn ang="0">
                <a:pos x="connsiteX70206" y="connsiteY70206"/>
              </a:cxn>
              <a:cxn ang="0">
                <a:pos x="connsiteX70207" y="connsiteY70207"/>
              </a:cxn>
              <a:cxn ang="0">
                <a:pos x="connsiteX70208" y="connsiteY70208"/>
              </a:cxn>
              <a:cxn ang="0">
                <a:pos x="connsiteX70209" y="connsiteY70209"/>
              </a:cxn>
              <a:cxn ang="0">
                <a:pos x="connsiteX70210" y="connsiteY70210"/>
              </a:cxn>
              <a:cxn ang="0">
                <a:pos x="connsiteX70211" y="connsiteY70211"/>
              </a:cxn>
              <a:cxn ang="0">
                <a:pos x="connsiteX70212" y="connsiteY70212"/>
              </a:cxn>
              <a:cxn ang="0">
                <a:pos x="connsiteX70213" y="connsiteY70213"/>
              </a:cxn>
              <a:cxn ang="0">
                <a:pos x="connsiteX70214" y="connsiteY70214"/>
              </a:cxn>
              <a:cxn ang="0">
                <a:pos x="connsiteX70215" y="connsiteY70215"/>
              </a:cxn>
              <a:cxn ang="0">
                <a:pos x="connsiteX70216" y="connsiteY70216"/>
              </a:cxn>
              <a:cxn ang="0">
                <a:pos x="connsiteX70217" y="connsiteY70217"/>
              </a:cxn>
              <a:cxn ang="0">
                <a:pos x="connsiteX70218" y="connsiteY70218"/>
              </a:cxn>
              <a:cxn ang="0">
                <a:pos x="connsiteX70219" y="connsiteY70219"/>
              </a:cxn>
              <a:cxn ang="0">
                <a:pos x="connsiteX70220" y="connsiteY70220"/>
              </a:cxn>
              <a:cxn ang="0">
                <a:pos x="connsiteX70221" y="connsiteY70221"/>
              </a:cxn>
              <a:cxn ang="0">
                <a:pos x="connsiteX70222" y="connsiteY70222"/>
              </a:cxn>
              <a:cxn ang="0">
                <a:pos x="connsiteX70223" y="connsiteY70223"/>
              </a:cxn>
              <a:cxn ang="0">
                <a:pos x="connsiteX70224" y="connsiteY70224"/>
              </a:cxn>
              <a:cxn ang="0">
                <a:pos x="connsiteX70225" y="connsiteY70225"/>
              </a:cxn>
              <a:cxn ang="0">
                <a:pos x="connsiteX70226" y="connsiteY70226"/>
              </a:cxn>
              <a:cxn ang="0">
                <a:pos x="connsiteX70227" y="connsiteY70227"/>
              </a:cxn>
              <a:cxn ang="0">
                <a:pos x="connsiteX70228" y="connsiteY70228"/>
              </a:cxn>
              <a:cxn ang="0">
                <a:pos x="connsiteX70229" y="connsiteY70229"/>
              </a:cxn>
              <a:cxn ang="0">
                <a:pos x="connsiteX70230" y="connsiteY70230"/>
              </a:cxn>
              <a:cxn ang="0">
                <a:pos x="connsiteX70231" y="connsiteY70231"/>
              </a:cxn>
              <a:cxn ang="0">
                <a:pos x="connsiteX70232" y="connsiteY70232"/>
              </a:cxn>
              <a:cxn ang="0">
                <a:pos x="connsiteX70233" y="connsiteY70233"/>
              </a:cxn>
              <a:cxn ang="0">
                <a:pos x="connsiteX70234" y="connsiteY70234"/>
              </a:cxn>
              <a:cxn ang="0">
                <a:pos x="connsiteX70235" y="connsiteY70235"/>
              </a:cxn>
              <a:cxn ang="0">
                <a:pos x="connsiteX70236" y="connsiteY70236"/>
              </a:cxn>
              <a:cxn ang="0">
                <a:pos x="connsiteX70237" y="connsiteY70237"/>
              </a:cxn>
              <a:cxn ang="0">
                <a:pos x="connsiteX70238" y="connsiteY70238"/>
              </a:cxn>
              <a:cxn ang="0">
                <a:pos x="connsiteX70239" y="connsiteY70239"/>
              </a:cxn>
              <a:cxn ang="0">
                <a:pos x="connsiteX70240" y="connsiteY70240"/>
              </a:cxn>
              <a:cxn ang="0">
                <a:pos x="connsiteX70241" y="connsiteY70241"/>
              </a:cxn>
              <a:cxn ang="0">
                <a:pos x="connsiteX70242" y="connsiteY70242"/>
              </a:cxn>
              <a:cxn ang="0">
                <a:pos x="connsiteX70243" y="connsiteY70243"/>
              </a:cxn>
              <a:cxn ang="0">
                <a:pos x="connsiteX70244" y="connsiteY70244"/>
              </a:cxn>
              <a:cxn ang="0">
                <a:pos x="connsiteX70245" y="connsiteY70245"/>
              </a:cxn>
              <a:cxn ang="0">
                <a:pos x="connsiteX70246" y="connsiteY70246"/>
              </a:cxn>
              <a:cxn ang="0">
                <a:pos x="connsiteX70247" y="connsiteY70247"/>
              </a:cxn>
              <a:cxn ang="0">
                <a:pos x="connsiteX70248" y="connsiteY70248"/>
              </a:cxn>
              <a:cxn ang="0">
                <a:pos x="connsiteX70249" y="connsiteY70249"/>
              </a:cxn>
              <a:cxn ang="0">
                <a:pos x="connsiteX70250" y="connsiteY70250"/>
              </a:cxn>
              <a:cxn ang="0">
                <a:pos x="connsiteX70251" y="connsiteY70251"/>
              </a:cxn>
              <a:cxn ang="0">
                <a:pos x="connsiteX70252" y="connsiteY70252"/>
              </a:cxn>
              <a:cxn ang="0">
                <a:pos x="connsiteX70253" y="connsiteY70253"/>
              </a:cxn>
              <a:cxn ang="0">
                <a:pos x="connsiteX70254" y="connsiteY70254"/>
              </a:cxn>
              <a:cxn ang="0">
                <a:pos x="connsiteX70255" y="connsiteY70255"/>
              </a:cxn>
              <a:cxn ang="0">
                <a:pos x="connsiteX70256" y="connsiteY70256"/>
              </a:cxn>
              <a:cxn ang="0">
                <a:pos x="connsiteX70257" y="connsiteY70257"/>
              </a:cxn>
              <a:cxn ang="0">
                <a:pos x="connsiteX70258" y="connsiteY70258"/>
              </a:cxn>
              <a:cxn ang="0">
                <a:pos x="connsiteX70259" y="connsiteY70259"/>
              </a:cxn>
              <a:cxn ang="0">
                <a:pos x="connsiteX70260" y="connsiteY70260"/>
              </a:cxn>
              <a:cxn ang="0">
                <a:pos x="connsiteX70261" y="connsiteY70261"/>
              </a:cxn>
              <a:cxn ang="0">
                <a:pos x="connsiteX70262" y="connsiteY70262"/>
              </a:cxn>
              <a:cxn ang="0">
                <a:pos x="connsiteX70263" y="connsiteY70263"/>
              </a:cxn>
              <a:cxn ang="0">
                <a:pos x="connsiteX70264" y="connsiteY70264"/>
              </a:cxn>
              <a:cxn ang="0">
                <a:pos x="connsiteX70265" y="connsiteY70265"/>
              </a:cxn>
              <a:cxn ang="0">
                <a:pos x="connsiteX70266" y="connsiteY70266"/>
              </a:cxn>
              <a:cxn ang="0">
                <a:pos x="connsiteX70267" y="connsiteY70267"/>
              </a:cxn>
              <a:cxn ang="0">
                <a:pos x="connsiteX70268" y="connsiteY70268"/>
              </a:cxn>
              <a:cxn ang="0">
                <a:pos x="connsiteX70269" y="connsiteY70269"/>
              </a:cxn>
              <a:cxn ang="0">
                <a:pos x="connsiteX70270" y="connsiteY70270"/>
              </a:cxn>
              <a:cxn ang="0">
                <a:pos x="connsiteX70271" y="connsiteY70271"/>
              </a:cxn>
              <a:cxn ang="0">
                <a:pos x="connsiteX70272" y="connsiteY70272"/>
              </a:cxn>
              <a:cxn ang="0">
                <a:pos x="connsiteX70273" y="connsiteY70273"/>
              </a:cxn>
              <a:cxn ang="0">
                <a:pos x="connsiteX70274" y="connsiteY70274"/>
              </a:cxn>
              <a:cxn ang="0">
                <a:pos x="connsiteX70275" y="connsiteY70275"/>
              </a:cxn>
              <a:cxn ang="0">
                <a:pos x="connsiteX70276" y="connsiteY70276"/>
              </a:cxn>
              <a:cxn ang="0">
                <a:pos x="connsiteX70277" y="connsiteY70277"/>
              </a:cxn>
              <a:cxn ang="0">
                <a:pos x="connsiteX70278" y="connsiteY70278"/>
              </a:cxn>
              <a:cxn ang="0">
                <a:pos x="connsiteX70279" y="connsiteY70279"/>
              </a:cxn>
              <a:cxn ang="0">
                <a:pos x="connsiteX70280" y="connsiteY70280"/>
              </a:cxn>
              <a:cxn ang="0">
                <a:pos x="connsiteX70281" y="connsiteY70281"/>
              </a:cxn>
              <a:cxn ang="0">
                <a:pos x="connsiteX70282" y="connsiteY70282"/>
              </a:cxn>
              <a:cxn ang="0">
                <a:pos x="connsiteX70283" y="connsiteY70283"/>
              </a:cxn>
              <a:cxn ang="0">
                <a:pos x="connsiteX70284" y="connsiteY70284"/>
              </a:cxn>
              <a:cxn ang="0">
                <a:pos x="connsiteX70285" y="connsiteY70285"/>
              </a:cxn>
              <a:cxn ang="0">
                <a:pos x="connsiteX70286" y="connsiteY70286"/>
              </a:cxn>
              <a:cxn ang="0">
                <a:pos x="connsiteX70287" y="connsiteY70287"/>
              </a:cxn>
              <a:cxn ang="0">
                <a:pos x="connsiteX70288" y="connsiteY70288"/>
              </a:cxn>
              <a:cxn ang="0">
                <a:pos x="connsiteX70289" y="connsiteY70289"/>
              </a:cxn>
              <a:cxn ang="0">
                <a:pos x="connsiteX70290" y="connsiteY70290"/>
              </a:cxn>
              <a:cxn ang="0">
                <a:pos x="connsiteX70291" y="connsiteY70291"/>
              </a:cxn>
              <a:cxn ang="0">
                <a:pos x="connsiteX70292" y="connsiteY70292"/>
              </a:cxn>
              <a:cxn ang="0">
                <a:pos x="connsiteX70293" y="connsiteY70293"/>
              </a:cxn>
              <a:cxn ang="0">
                <a:pos x="connsiteX70294" y="connsiteY70294"/>
              </a:cxn>
              <a:cxn ang="0">
                <a:pos x="connsiteX70295" y="connsiteY70295"/>
              </a:cxn>
              <a:cxn ang="0">
                <a:pos x="connsiteX70296" y="connsiteY70296"/>
              </a:cxn>
              <a:cxn ang="0">
                <a:pos x="connsiteX70297" y="connsiteY70297"/>
              </a:cxn>
              <a:cxn ang="0">
                <a:pos x="connsiteX70298" y="connsiteY70298"/>
              </a:cxn>
              <a:cxn ang="0">
                <a:pos x="connsiteX70299" y="connsiteY70299"/>
              </a:cxn>
              <a:cxn ang="0">
                <a:pos x="connsiteX70300" y="connsiteY70300"/>
              </a:cxn>
              <a:cxn ang="0">
                <a:pos x="connsiteX70301" y="connsiteY70301"/>
              </a:cxn>
              <a:cxn ang="0">
                <a:pos x="connsiteX70302" y="connsiteY70302"/>
              </a:cxn>
              <a:cxn ang="0">
                <a:pos x="connsiteX70303" y="connsiteY70303"/>
              </a:cxn>
              <a:cxn ang="0">
                <a:pos x="connsiteX70304" y="connsiteY70304"/>
              </a:cxn>
              <a:cxn ang="0">
                <a:pos x="connsiteX70305" y="connsiteY70305"/>
              </a:cxn>
              <a:cxn ang="0">
                <a:pos x="connsiteX70306" y="connsiteY70306"/>
              </a:cxn>
              <a:cxn ang="0">
                <a:pos x="connsiteX70307" y="connsiteY70307"/>
              </a:cxn>
              <a:cxn ang="0">
                <a:pos x="connsiteX70308" y="connsiteY70308"/>
              </a:cxn>
              <a:cxn ang="0">
                <a:pos x="connsiteX70309" y="connsiteY70309"/>
              </a:cxn>
              <a:cxn ang="0">
                <a:pos x="connsiteX70310" y="connsiteY70310"/>
              </a:cxn>
              <a:cxn ang="0">
                <a:pos x="connsiteX70311" y="connsiteY70311"/>
              </a:cxn>
              <a:cxn ang="0">
                <a:pos x="connsiteX70312" y="connsiteY70312"/>
              </a:cxn>
              <a:cxn ang="0">
                <a:pos x="connsiteX70313" y="connsiteY70313"/>
              </a:cxn>
              <a:cxn ang="0">
                <a:pos x="connsiteX70314" y="connsiteY70314"/>
              </a:cxn>
              <a:cxn ang="0">
                <a:pos x="connsiteX70315" y="connsiteY70315"/>
              </a:cxn>
              <a:cxn ang="0">
                <a:pos x="connsiteX70316" y="connsiteY70316"/>
              </a:cxn>
              <a:cxn ang="0">
                <a:pos x="connsiteX70317" y="connsiteY70317"/>
              </a:cxn>
              <a:cxn ang="0">
                <a:pos x="connsiteX70318" y="connsiteY70318"/>
              </a:cxn>
              <a:cxn ang="0">
                <a:pos x="connsiteX70319" y="connsiteY70319"/>
              </a:cxn>
              <a:cxn ang="0">
                <a:pos x="connsiteX70320" y="connsiteY70320"/>
              </a:cxn>
              <a:cxn ang="0">
                <a:pos x="connsiteX70321" y="connsiteY70321"/>
              </a:cxn>
              <a:cxn ang="0">
                <a:pos x="connsiteX70322" y="connsiteY70322"/>
              </a:cxn>
              <a:cxn ang="0">
                <a:pos x="connsiteX70323" y="connsiteY70323"/>
              </a:cxn>
              <a:cxn ang="0">
                <a:pos x="connsiteX70324" y="connsiteY70324"/>
              </a:cxn>
              <a:cxn ang="0">
                <a:pos x="connsiteX70325" y="connsiteY70325"/>
              </a:cxn>
              <a:cxn ang="0">
                <a:pos x="connsiteX70326" y="connsiteY70326"/>
              </a:cxn>
              <a:cxn ang="0">
                <a:pos x="connsiteX70327" y="connsiteY70327"/>
              </a:cxn>
              <a:cxn ang="0">
                <a:pos x="connsiteX70328" y="connsiteY70328"/>
              </a:cxn>
              <a:cxn ang="0">
                <a:pos x="connsiteX70329" y="connsiteY70329"/>
              </a:cxn>
              <a:cxn ang="0">
                <a:pos x="connsiteX70330" y="connsiteY70330"/>
              </a:cxn>
              <a:cxn ang="0">
                <a:pos x="connsiteX70331" y="connsiteY70331"/>
              </a:cxn>
              <a:cxn ang="0">
                <a:pos x="connsiteX70332" y="connsiteY70332"/>
              </a:cxn>
              <a:cxn ang="0">
                <a:pos x="connsiteX70333" y="connsiteY70333"/>
              </a:cxn>
              <a:cxn ang="0">
                <a:pos x="connsiteX70334" y="connsiteY70334"/>
              </a:cxn>
              <a:cxn ang="0">
                <a:pos x="connsiteX70335" y="connsiteY70335"/>
              </a:cxn>
              <a:cxn ang="0">
                <a:pos x="connsiteX70336" y="connsiteY70336"/>
              </a:cxn>
              <a:cxn ang="0">
                <a:pos x="connsiteX70337" y="connsiteY70337"/>
              </a:cxn>
              <a:cxn ang="0">
                <a:pos x="connsiteX70338" y="connsiteY70338"/>
              </a:cxn>
              <a:cxn ang="0">
                <a:pos x="connsiteX70339" y="connsiteY70339"/>
              </a:cxn>
              <a:cxn ang="0">
                <a:pos x="connsiteX70340" y="connsiteY70340"/>
              </a:cxn>
              <a:cxn ang="0">
                <a:pos x="connsiteX70341" y="connsiteY70341"/>
              </a:cxn>
              <a:cxn ang="0">
                <a:pos x="connsiteX70342" y="connsiteY70342"/>
              </a:cxn>
              <a:cxn ang="0">
                <a:pos x="connsiteX70343" y="connsiteY70343"/>
              </a:cxn>
              <a:cxn ang="0">
                <a:pos x="connsiteX70344" y="connsiteY70344"/>
              </a:cxn>
              <a:cxn ang="0">
                <a:pos x="connsiteX70345" y="connsiteY70345"/>
              </a:cxn>
              <a:cxn ang="0">
                <a:pos x="connsiteX70346" y="connsiteY70346"/>
              </a:cxn>
              <a:cxn ang="0">
                <a:pos x="connsiteX70347" y="connsiteY70347"/>
              </a:cxn>
              <a:cxn ang="0">
                <a:pos x="connsiteX70348" y="connsiteY70348"/>
              </a:cxn>
              <a:cxn ang="0">
                <a:pos x="connsiteX70349" y="connsiteY70349"/>
              </a:cxn>
              <a:cxn ang="0">
                <a:pos x="connsiteX70350" y="connsiteY70350"/>
              </a:cxn>
              <a:cxn ang="0">
                <a:pos x="connsiteX70351" y="connsiteY70351"/>
              </a:cxn>
              <a:cxn ang="0">
                <a:pos x="connsiteX70352" y="connsiteY70352"/>
              </a:cxn>
              <a:cxn ang="0">
                <a:pos x="connsiteX70353" y="connsiteY70353"/>
              </a:cxn>
              <a:cxn ang="0">
                <a:pos x="connsiteX70354" y="connsiteY70354"/>
              </a:cxn>
              <a:cxn ang="0">
                <a:pos x="connsiteX70355" y="connsiteY70355"/>
              </a:cxn>
              <a:cxn ang="0">
                <a:pos x="connsiteX70356" y="connsiteY70356"/>
              </a:cxn>
              <a:cxn ang="0">
                <a:pos x="connsiteX70357" y="connsiteY70357"/>
              </a:cxn>
              <a:cxn ang="0">
                <a:pos x="connsiteX70358" y="connsiteY70358"/>
              </a:cxn>
              <a:cxn ang="0">
                <a:pos x="connsiteX70359" y="connsiteY70359"/>
              </a:cxn>
              <a:cxn ang="0">
                <a:pos x="connsiteX70360" y="connsiteY70360"/>
              </a:cxn>
              <a:cxn ang="0">
                <a:pos x="connsiteX70361" y="connsiteY70361"/>
              </a:cxn>
              <a:cxn ang="0">
                <a:pos x="connsiteX70362" y="connsiteY70362"/>
              </a:cxn>
              <a:cxn ang="0">
                <a:pos x="connsiteX70363" y="connsiteY70363"/>
              </a:cxn>
              <a:cxn ang="0">
                <a:pos x="connsiteX70364" y="connsiteY70364"/>
              </a:cxn>
              <a:cxn ang="0">
                <a:pos x="connsiteX70365" y="connsiteY70365"/>
              </a:cxn>
              <a:cxn ang="0">
                <a:pos x="connsiteX70366" y="connsiteY70366"/>
              </a:cxn>
              <a:cxn ang="0">
                <a:pos x="connsiteX70367" y="connsiteY70367"/>
              </a:cxn>
              <a:cxn ang="0">
                <a:pos x="connsiteX70368" y="connsiteY70368"/>
              </a:cxn>
              <a:cxn ang="0">
                <a:pos x="connsiteX70369" y="connsiteY70369"/>
              </a:cxn>
              <a:cxn ang="0">
                <a:pos x="connsiteX70370" y="connsiteY70370"/>
              </a:cxn>
              <a:cxn ang="0">
                <a:pos x="connsiteX70371" y="connsiteY70371"/>
              </a:cxn>
              <a:cxn ang="0">
                <a:pos x="connsiteX70372" y="connsiteY70372"/>
              </a:cxn>
              <a:cxn ang="0">
                <a:pos x="connsiteX70373" y="connsiteY70373"/>
              </a:cxn>
              <a:cxn ang="0">
                <a:pos x="connsiteX70374" y="connsiteY70374"/>
              </a:cxn>
              <a:cxn ang="0">
                <a:pos x="connsiteX70375" y="connsiteY70375"/>
              </a:cxn>
              <a:cxn ang="0">
                <a:pos x="connsiteX70376" y="connsiteY70376"/>
              </a:cxn>
              <a:cxn ang="0">
                <a:pos x="connsiteX70377" y="connsiteY70377"/>
              </a:cxn>
              <a:cxn ang="0">
                <a:pos x="connsiteX70378" y="connsiteY70378"/>
              </a:cxn>
              <a:cxn ang="0">
                <a:pos x="connsiteX70379" y="connsiteY70379"/>
              </a:cxn>
              <a:cxn ang="0">
                <a:pos x="connsiteX70380" y="connsiteY70380"/>
              </a:cxn>
              <a:cxn ang="0">
                <a:pos x="connsiteX70381" y="connsiteY70381"/>
              </a:cxn>
              <a:cxn ang="0">
                <a:pos x="connsiteX70382" y="connsiteY70382"/>
              </a:cxn>
              <a:cxn ang="0">
                <a:pos x="connsiteX70383" y="connsiteY70383"/>
              </a:cxn>
              <a:cxn ang="0">
                <a:pos x="connsiteX70384" y="connsiteY70384"/>
              </a:cxn>
              <a:cxn ang="0">
                <a:pos x="connsiteX70385" y="connsiteY70385"/>
              </a:cxn>
              <a:cxn ang="0">
                <a:pos x="connsiteX70386" y="connsiteY70386"/>
              </a:cxn>
              <a:cxn ang="0">
                <a:pos x="connsiteX70387" y="connsiteY70387"/>
              </a:cxn>
              <a:cxn ang="0">
                <a:pos x="connsiteX70388" y="connsiteY70388"/>
              </a:cxn>
              <a:cxn ang="0">
                <a:pos x="connsiteX70389" y="connsiteY70389"/>
              </a:cxn>
              <a:cxn ang="0">
                <a:pos x="connsiteX70390" y="connsiteY70390"/>
              </a:cxn>
              <a:cxn ang="0">
                <a:pos x="connsiteX70391" y="connsiteY70391"/>
              </a:cxn>
              <a:cxn ang="0">
                <a:pos x="connsiteX70392" y="connsiteY70392"/>
              </a:cxn>
              <a:cxn ang="0">
                <a:pos x="connsiteX70393" y="connsiteY70393"/>
              </a:cxn>
              <a:cxn ang="0">
                <a:pos x="connsiteX70394" y="connsiteY70394"/>
              </a:cxn>
              <a:cxn ang="0">
                <a:pos x="connsiteX70395" y="connsiteY70395"/>
              </a:cxn>
              <a:cxn ang="0">
                <a:pos x="connsiteX70396" y="connsiteY70396"/>
              </a:cxn>
              <a:cxn ang="0">
                <a:pos x="connsiteX70397" y="connsiteY70397"/>
              </a:cxn>
              <a:cxn ang="0">
                <a:pos x="connsiteX70398" y="connsiteY70398"/>
              </a:cxn>
              <a:cxn ang="0">
                <a:pos x="connsiteX70399" y="connsiteY70399"/>
              </a:cxn>
              <a:cxn ang="0">
                <a:pos x="connsiteX70400" y="connsiteY70400"/>
              </a:cxn>
              <a:cxn ang="0">
                <a:pos x="connsiteX70401" y="connsiteY70401"/>
              </a:cxn>
              <a:cxn ang="0">
                <a:pos x="connsiteX70402" y="connsiteY70402"/>
              </a:cxn>
              <a:cxn ang="0">
                <a:pos x="connsiteX70403" y="connsiteY70403"/>
              </a:cxn>
              <a:cxn ang="0">
                <a:pos x="connsiteX70404" y="connsiteY70404"/>
              </a:cxn>
              <a:cxn ang="0">
                <a:pos x="connsiteX70405" y="connsiteY70405"/>
              </a:cxn>
              <a:cxn ang="0">
                <a:pos x="connsiteX70406" y="connsiteY70406"/>
              </a:cxn>
              <a:cxn ang="0">
                <a:pos x="connsiteX70407" y="connsiteY70407"/>
              </a:cxn>
              <a:cxn ang="0">
                <a:pos x="connsiteX70408" y="connsiteY70408"/>
              </a:cxn>
              <a:cxn ang="0">
                <a:pos x="connsiteX70409" y="connsiteY70409"/>
              </a:cxn>
              <a:cxn ang="0">
                <a:pos x="connsiteX70410" y="connsiteY70410"/>
              </a:cxn>
              <a:cxn ang="0">
                <a:pos x="connsiteX70411" y="connsiteY70411"/>
              </a:cxn>
              <a:cxn ang="0">
                <a:pos x="connsiteX70412" y="connsiteY70412"/>
              </a:cxn>
              <a:cxn ang="0">
                <a:pos x="connsiteX70413" y="connsiteY70413"/>
              </a:cxn>
              <a:cxn ang="0">
                <a:pos x="connsiteX70414" y="connsiteY70414"/>
              </a:cxn>
              <a:cxn ang="0">
                <a:pos x="connsiteX70415" y="connsiteY70415"/>
              </a:cxn>
              <a:cxn ang="0">
                <a:pos x="connsiteX70416" y="connsiteY70416"/>
              </a:cxn>
              <a:cxn ang="0">
                <a:pos x="connsiteX70417" y="connsiteY70417"/>
              </a:cxn>
              <a:cxn ang="0">
                <a:pos x="connsiteX70418" y="connsiteY70418"/>
              </a:cxn>
              <a:cxn ang="0">
                <a:pos x="connsiteX70419" y="connsiteY70419"/>
              </a:cxn>
              <a:cxn ang="0">
                <a:pos x="connsiteX70420" y="connsiteY70420"/>
              </a:cxn>
              <a:cxn ang="0">
                <a:pos x="connsiteX70421" y="connsiteY70421"/>
              </a:cxn>
              <a:cxn ang="0">
                <a:pos x="connsiteX70422" y="connsiteY70422"/>
              </a:cxn>
              <a:cxn ang="0">
                <a:pos x="connsiteX70423" y="connsiteY70423"/>
              </a:cxn>
              <a:cxn ang="0">
                <a:pos x="connsiteX70424" y="connsiteY70424"/>
              </a:cxn>
              <a:cxn ang="0">
                <a:pos x="connsiteX70425" y="connsiteY70425"/>
              </a:cxn>
              <a:cxn ang="0">
                <a:pos x="connsiteX70426" y="connsiteY70426"/>
              </a:cxn>
              <a:cxn ang="0">
                <a:pos x="connsiteX70427" y="connsiteY70427"/>
              </a:cxn>
              <a:cxn ang="0">
                <a:pos x="connsiteX70428" y="connsiteY70428"/>
              </a:cxn>
              <a:cxn ang="0">
                <a:pos x="connsiteX70429" y="connsiteY70429"/>
              </a:cxn>
              <a:cxn ang="0">
                <a:pos x="connsiteX70430" y="connsiteY70430"/>
              </a:cxn>
              <a:cxn ang="0">
                <a:pos x="connsiteX70431" y="connsiteY70431"/>
              </a:cxn>
              <a:cxn ang="0">
                <a:pos x="connsiteX70432" y="connsiteY70432"/>
              </a:cxn>
              <a:cxn ang="0">
                <a:pos x="connsiteX70433" y="connsiteY70433"/>
              </a:cxn>
              <a:cxn ang="0">
                <a:pos x="connsiteX70434" y="connsiteY70434"/>
              </a:cxn>
              <a:cxn ang="0">
                <a:pos x="connsiteX70435" y="connsiteY70435"/>
              </a:cxn>
              <a:cxn ang="0">
                <a:pos x="connsiteX70436" y="connsiteY70436"/>
              </a:cxn>
              <a:cxn ang="0">
                <a:pos x="connsiteX70437" y="connsiteY70437"/>
              </a:cxn>
              <a:cxn ang="0">
                <a:pos x="connsiteX70438" y="connsiteY70438"/>
              </a:cxn>
              <a:cxn ang="0">
                <a:pos x="connsiteX70439" y="connsiteY70439"/>
              </a:cxn>
              <a:cxn ang="0">
                <a:pos x="connsiteX70440" y="connsiteY70440"/>
              </a:cxn>
              <a:cxn ang="0">
                <a:pos x="connsiteX70441" y="connsiteY70441"/>
              </a:cxn>
              <a:cxn ang="0">
                <a:pos x="connsiteX70442" y="connsiteY70442"/>
              </a:cxn>
              <a:cxn ang="0">
                <a:pos x="connsiteX70443" y="connsiteY70443"/>
              </a:cxn>
              <a:cxn ang="0">
                <a:pos x="connsiteX70444" y="connsiteY70444"/>
              </a:cxn>
              <a:cxn ang="0">
                <a:pos x="connsiteX70445" y="connsiteY70445"/>
              </a:cxn>
              <a:cxn ang="0">
                <a:pos x="connsiteX70446" y="connsiteY70446"/>
              </a:cxn>
              <a:cxn ang="0">
                <a:pos x="connsiteX70447" y="connsiteY70447"/>
              </a:cxn>
              <a:cxn ang="0">
                <a:pos x="connsiteX70448" y="connsiteY70448"/>
              </a:cxn>
              <a:cxn ang="0">
                <a:pos x="connsiteX70449" y="connsiteY70449"/>
              </a:cxn>
              <a:cxn ang="0">
                <a:pos x="connsiteX70450" y="connsiteY70450"/>
              </a:cxn>
              <a:cxn ang="0">
                <a:pos x="connsiteX70451" y="connsiteY70451"/>
              </a:cxn>
              <a:cxn ang="0">
                <a:pos x="connsiteX70452" y="connsiteY70452"/>
              </a:cxn>
              <a:cxn ang="0">
                <a:pos x="connsiteX70453" y="connsiteY70453"/>
              </a:cxn>
              <a:cxn ang="0">
                <a:pos x="connsiteX70454" y="connsiteY70454"/>
              </a:cxn>
              <a:cxn ang="0">
                <a:pos x="connsiteX70455" y="connsiteY70455"/>
              </a:cxn>
              <a:cxn ang="0">
                <a:pos x="connsiteX70456" y="connsiteY70456"/>
              </a:cxn>
              <a:cxn ang="0">
                <a:pos x="connsiteX70457" y="connsiteY70457"/>
              </a:cxn>
              <a:cxn ang="0">
                <a:pos x="connsiteX70458" y="connsiteY70458"/>
              </a:cxn>
              <a:cxn ang="0">
                <a:pos x="connsiteX70459" y="connsiteY70459"/>
              </a:cxn>
              <a:cxn ang="0">
                <a:pos x="connsiteX70460" y="connsiteY70460"/>
              </a:cxn>
              <a:cxn ang="0">
                <a:pos x="connsiteX70461" y="connsiteY70461"/>
              </a:cxn>
              <a:cxn ang="0">
                <a:pos x="connsiteX70462" y="connsiteY70462"/>
              </a:cxn>
              <a:cxn ang="0">
                <a:pos x="connsiteX70463" y="connsiteY70463"/>
              </a:cxn>
              <a:cxn ang="0">
                <a:pos x="connsiteX70464" y="connsiteY70464"/>
              </a:cxn>
              <a:cxn ang="0">
                <a:pos x="connsiteX70465" y="connsiteY70465"/>
              </a:cxn>
              <a:cxn ang="0">
                <a:pos x="connsiteX70466" y="connsiteY70466"/>
              </a:cxn>
              <a:cxn ang="0">
                <a:pos x="connsiteX70467" y="connsiteY70467"/>
              </a:cxn>
              <a:cxn ang="0">
                <a:pos x="connsiteX70468" y="connsiteY70468"/>
              </a:cxn>
              <a:cxn ang="0">
                <a:pos x="connsiteX70469" y="connsiteY70469"/>
              </a:cxn>
              <a:cxn ang="0">
                <a:pos x="connsiteX70470" y="connsiteY70470"/>
              </a:cxn>
              <a:cxn ang="0">
                <a:pos x="connsiteX70471" y="connsiteY70471"/>
              </a:cxn>
              <a:cxn ang="0">
                <a:pos x="connsiteX70472" y="connsiteY70472"/>
              </a:cxn>
              <a:cxn ang="0">
                <a:pos x="connsiteX70473" y="connsiteY70473"/>
              </a:cxn>
              <a:cxn ang="0">
                <a:pos x="connsiteX70474" y="connsiteY70474"/>
              </a:cxn>
              <a:cxn ang="0">
                <a:pos x="connsiteX70475" y="connsiteY70475"/>
              </a:cxn>
              <a:cxn ang="0">
                <a:pos x="connsiteX70476" y="connsiteY70476"/>
              </a:cxn>
              <a:cxn ang="0">
                <a:pos x="connsiteX70477" y="connsiteY70477"/>
              </a:cxn>
              <a:cxn ang="0">
                <a:pos x="connsiteX70478" y="connsiteY70478"/>
              </a:cxn>
              <a:cxn ang="0">
                <a:pos x="connsiteX70479" y="connsiteY70479"/>
              </a:cxn>
              <a:cxn ang="0">
                <a:pos x="connsiteX70480" y="connsiteY70480"/>
              </a:cxn>
              <a:cxn ang="0">
                <a:pos x="connsiteX70481" y="connsiteY70481"/>
              </a:cxn>
              <a:cxn ang="0">
                <a:pos x="connsiteX70482" y="connsiteY70482"/>
              </a:cxn>
              <a:cxn ang="0">
                <a:pos x="connsiteX70483" y="connsiteY70483"/>
              </a:cxn>
              <a:cxn ang="0">
                <a:pos x="connsiteX70484" y="connsiteY70484"/>
              </a:cxn>
              <a:cxn ang="0">
                <a:pos x="connsiteX70485" y="connsiteY70485"/>
              </a:cxn>
              <a:cxn ang="0">
                <a:pos x="connsiteX70486" y="connsiteY70486"/>
              </a:cxn>
              <a:cxn ang="0">
                <a:pos x="connsiteX70487" y="connsiteY70487"/>
              </a:cxn>
              <a:cxn ang="0">
                <a:pos x="connsiteX70488" y="connsiteY70488"/>
              </a:cxn>
              <a:cxn ang="0">
                <a:pos x="connsiteX70489" y="connsiteY70489"/>
              </a:cxn>
              <a:cxn ang="0">
                <a:pos x="connsiteX70490" y="connsiteY70490"/>
              </a:cxn>
              <a:cxn ang="0">
                <a:pos x="connsiteX70491" y="connsiteY70491"/>
              </a:cxn>
              <a:cxn ang="0">
                <a:pos x="connsiteX70492" y="connsiteY70492"/>
              </a:cxn>
              <a:cxn ang="0">
                <a:pos x="connsiteX70493" y="connsiteY70493"/>
              </a:cxn>
              <a:cxn ang="0">
                <a:pos x="connsiteX70494" y="connsiteY70494"/>
              </a:cxn>
              <a:cxn ang="0">
                <a:pos x="connsiteX70495" y="connsiteY70495"/>
              </a:cxn>
              <a:cxn ang="0">
                <a:pos x="connsiteX70496" y="connsiteY70496"/>
              </a:cxn>
              <a:cxn ang="0">
                <a:pos x="connsiteX70497" y="connsiteY70497"/>
              </a:cxn>
              <a:cxn ang="0">
                <a:pos x="connsiteX70498" y="connsiteY70498"/>
              </a:cxn>
              <a:cxn ang="0">
                <a:pos x="connsiteX70499" y="connsiteY70499"/>
              </a:cxn>
              <a:cxn ang="0">
                <a:pos x="connsiteX70500" y="connsiteY70500"/>
              </a:cxn>
              <a:cxn ang="0">
                <a:pos x="connsiteX70501" y="connsiteY70501"/>
              </a:cxn>
              <a:cxn ang="0">
                <a:pos x="connsiteX70502" y="connsiteY70502"/>
              </a:cxn>
              <a:cxn ang="0">
                <a:pos x="connsiteX70503" y="connsiteY70503"/>
              </a:cxn>
              <a:cxn ang="0">
                <a:pos x="connsiteX70504" y="connsiteY70504"/>
              </a:cxn>
              <a:cxn ang="0">
                <a:pos x="connsiteX70505" y="connsiteY70505"/>
              </a:cxn>
              <a:cxn ang="0">
                <a:pos x="connsiteX70506" y="connsiteY70506"/>
              </a:cxn>
              <a:cxn ang="0">
                <a:pos x="connsiteX70507" y="connsiteY70507"/>
              </a:cxn>
              <a:cxn ang="0">
                <a:pos x="connsiteX70508" y="connsiteY70508"/>
              </a:cxn>
              <a:cxn ang="0">
                <a:pos x="connsiteX70509" y="connsiteY70509"/>
              </a:cxn>
              <a:cxn ang="0">
                <a:pos x="connsiteX70510" y="connsiteY70510"/>
              </a:cxn>
              <a:cxn ang="0">
                <a:pos x="connsiteX70511" y="connsiteY70511"/>
              </a:cxn>
              <a:cxn ang="0">
                <a:pos x="connsiteX70512" y="connsiteY70512"/>
              </a:cxn>
              <a:cxn ang="0">
                <a:pos x="connsiteX70513" y="connsiteY70513"/>
              </a:cxn>
              <a:cxn ang="0">
                <a:pos x="connsiteX70514" y="connsiteY70514"/>
              </a:cxn>
              <a:cxn ang="0">
                <a:pos x="connsiteX70515" y="connsiteY70515"/>
              </a:cxn>
              <a:cxn ang="0">
                <a:pos x="connsiteX70516" y="connsiteY70516"/>
              </a:cxn>
              <a:cxn ang="0">
                <a:pos x="connsiteX70517" y="connsiteY70517"/>
              </a:cxn>
              <a:cxn ang="0">
                <a:pos x="connsiteX70518" y="connsiteY70518"/>
              </a:cxn>
              <a:cxn ang="0">
                <a:pos x="connsiteX70519" y="connsiteY70519"/>
              </a:cxn>
              <a:cxn ang="0">
                <a:pos x="connsiteX70520" y="connsiteY70520"/>
              </a:cxn>
              <a:cxn ang="0">
                <a:pos x="connsiteX70521" y="connsiteY70521"/>
              </a:cxn>
              <a:cxn ang="0">
                <a:pos x="connsiteX70522" y="connsiteY70522"/>
              </a:cxn>
              <a:cxn ang="0">
                <a:pos x="connsiteX70523" y="connsiteY70523"/>
              </a:cxn>
              <a:cxn ang="0">
                <a:pos x="connsiteX70524" y="connsiteY70524"/>
              </a:cxn>
              <a:cxn ang="0">
                <a:pos x="connsiteX70525" y="connsiteY70525"/>
              </a:cxn>
              <a:cxn ang="0">
                <a:pos x="connsiteX70526" y="connsiteY70526"/>
              </a:cxn>
              <a:cxn ang="0">
                <a:pos x="connsiteX70527" y="connsiteY70527"/>
              </a:cxn>
              <a:cxn ang="0">
                <a:pos x="connsiteX70528" y="connsiteY70528"/>
              </a:cxn>
              <a:cxn ang="0">
                <a:pos x="connsiteX70529" y="connsiteY70529"/>
              </a:cxn>
              <a:cxn ang="0">
                <a:pos x="connsiteX70530" y="connsiteY70530"/>
              </a:cxn>
              <a:cxn ang="0">
                <a:pos x="connsiteX70531" y="connsiteY70531"/>
              </a:cxn>
              <a:cxn ang="0">
                <a:pos x="connsiteX70532" y="connsiteY70532"/>
              </a:cxn>
              <a:cxn ang="0">
                <a:pos x="connsiteX70533" y="connsiteY70533"/>
              </a:cxn>
              <a:cxn ang="0">
                <a:pos x="connsiteX70534" y="connsiteY70534"/>
              </a:cxn>
              <a:cxn ang="0">
                <a:pos x="connsiteX70535" y="connsiteY70535"/>
              </a:cxn>
              <a:cxn ang="0">
                <a:pos x="connsiteX70536" y="connsiteY70536"/>
              </a:cxn>
              <a:cxn ang="0">
                <a:pos x="connsiteX70537" y="connsiteY70537"/>
              </a:cxn>
              <a:cxn ang="0">
                <a:pos x="connsiteX70538" y="connsiteY70538"/>
              </a:cxn>
              <a:cxn ang="0">
                <a:pos x="connsiteX70539" y="connsiteY70539"/>
              </a:cxn>
              <a:cxn ang="0">
                <a:pos x="connsiteX70540" y="connsiteY70540"/>
              </a:cxn>
              <a:cxn ang="0">
                <a:pos x="connsiteX70541" y="connsiteY70541"/>
              </a:cxn>
              <a:cxn ang="0">
                <a:pos x="connsiteX70542" y="connsiteY70542"/>
              </a:cxn>
              <a:cxn ang="0">
                <a:pos x="connsiteX70543" y="connsiteY70543"/>
              </a:cxn>
              <a:cxn ang="0">
                <a:pos x="connsiteX70544" y="connsiteY70544"/>
              </a:cxn>
              <a:cxn ang="0">
                <a:pos x="connsiteX70545" y="connsiteY70545"/>
              </a:cxn>
              <a:cxn ang="0">
                <a:pos x="connsiteX70546" y="connsiteY70546"/>
              </a:cxn>
              <a:cxn ang="0">
                <a:pos x="connsiteX70547" y="connsiteY70547"/>
              </a:cxn>
              <a:cxn ang="0">
                <a:pos x="connsiteX70548" y="connsiteY70548"/>
              </a:cxn>
              <a:cxn ang="0">
                <a:pos x="connsiteX70549" y="connsiteY70549"/>
              </a:cxn>
              <a:cxn ang="0">
                <a:pos x="connsiteX70550" y="connsiteY70550"/>
              </a:cxn>
              <a:cxn ang="0">
                <a:pos x="connsiteX70551" y="connsiteY70551"/>
              </a:cxn>
              <a:cxn ang="0">
                <a:pos x="connsiteX70552" y="connsiteY70552"/>
              </a:cxn>
              <a:cxn ang="0">
                <a:pos x="connsiteX70553" y="connsiteY70553"/>
              </a:cxn>
              <a:cxn ang="0">
                <a:pos x="connsiteX70554" y="connsiteY70554"/>
              </a:cxn>
              <a:cxn ang="0">
                <a:pos x="connsiteX70555" y="connsiteY70555"/>
              </a:cxn>
              <a:cxn ang="0">
                <a:pos x="connsiteX70556" y="connsiteY70556"/>
              </a:cxn>
              <a:cxn ang="0">
                <a:pos x="connsiteX70557" y="connsiteY70557"/>
              </a:cxn>
              <a:cxn ang="0">
                <a:pos x="connsiteX70558" y="connsiteY70558"/>
              </a:cxn>
              <a:cxn ang="0">
                <a:pos x="connsiteX70559" y="connsiteY70559"/>
              </a:cxn>
              <a:cxn ang="0">
                <a:pos x="connsiteX70560" y="connsiteY70560"/>
              </a:cxn>
              <a:cxn ang="0">
                <a:pos x="connsiteX70561" y="connsiteY70561"/>
              </a:cxn>
              <a:cxn ang="0">
                <a:pos x="connsiteX70562" y="connsiteY70562"/>
              </a:cxn>
              <a:cxn ang="0">
                <a:pos x="connsiteX70563" y="connsiteY70563"/>
              </a:cxn>
              <a:cxn ang="0">
                <a:pos x="connsiteX70564" y="connsiteY70564"/>
              </a:cxn>
              <a:cxn ang="0">
                <a:pos x="connsiteX70565" y="connsiteY70565"/>
              </a:cxn>
              <a:cxn ang="0">
                <a:pos x="connsiteX70566" y="connsiteY70566"/>
              </a:cxn>
              <a:cxn ang="0">
                <a:pos x="connsiteX70567" y="connsiteY70567"/>
              </a:cxn>
              <a:cxn ang="0">
                <a:pos x="connsiteX70568" y="connsiteY70568"/>
              </a:cxn>
              <a:cxn ang="0">
                <a:pos x="connsiteX70569" y="connsiteY70569"/>
              </a:cxn>
              <a:cxn ang="0">
                <a:pos x="connsiteX70570" y="connsiteY70570"/>
              </a:cxn>
              <a:cxn ang="0">
                <a:pos x="connsiteX70571" y="connsiteY70571"/>
              </a:cxn>
              <a:cxn ang="0">
                <a:pos x="connsiteX70572" y="connsiteY70572"/>
              </a:cxn>
              <a:cxn ang="0">
                <a:pos x="connsiteX70573" y="connsiteY70573"/>
              </a:cxn>
              <a:cxn ang="0">
                <a:pos x="connsiteX70574" y="connsiteY70574"/>
              </a:cxn>
              <a:cxn ang="0">
                <a:pos x="connsiteX70575" y="connsiteY70575"/>
              </a:cxn>
              <a:cxn ang="0">
                <a:pos x="connsiteX70576" y="connsiteY70576"/>
              </a:cxn>
              <a:cxn ang="0">
                <a:pos x="connsiteX70577" y="connsiteY70577"/>
              </a:cxn>
              <a:cxn ang="0">
                <a:pos x="connsiteX70578" y="connsiteY70578"/>
              </a:cxn>
              <a:cxn ang="0">
                <a:pos x="connsiteX70579" y="connsiteY70579"/>
              </a:cxn>
              <a:cxn ang="0">
                <a:pos x="connsiteX70580" y="connsiteY70580"/>
              </a:cxn>
              <a:cxn ang="0">
                <a:pos x="connsiteX70581" y="connsiteY70581"/>
              </a:cxn>
              <a:cxn ang="0">
                <a:pos x="connsiteX70582" y="connsiteY70582"/>
              </a:cxn>
              <a:cxn ang="0">
                <a:pos x="connsiteX70583" y="connsiteY70583"/>
              </a:cxn>
              <a:cxn ang="0">
                <a:pos x="connsiteX70584" y="connsiteY70584"/>
              </a:cxn>
              <a:cxn ang="0">
                <a:pos x="connsiteX70585" y="connsiteY70585"/>
              </a:cxn>
              <a:cxn ang="0">
                <a:pos x="connsiteX70586" y="connsiteY70586"/>
              </a:cxn>
              <a:cxn ang="0">
                <a:pos x="connsiteX70587" y="connsiteY70587"/>
              </a:cxn>
              <a:cxn ang="0">
                <a:pos x="connsiteX70588" y="connsiteY70588"/>
              </a:cxn>
              <a:cxn ang="0">
                <a:pos x="connsiteX70589" y="connsiteY70589"/>
              </a:cxn>
              <a:cxn ang="0">
                <a:pos x="connsiteX70590" y="connsiteY70590"/>
              </a:cxn>
              <a:cxn ang="0">
                <a:pos x="connsiteX70591" y="connsiteY70591"/>
              </a:cxn>
              <a:cxn ang="0">
                <a:pos x="connsiteX70592" y="connsiteY70592"/>
              </a:cxn>
              <a:cxn ang="0">
                <a:pos x="connsiteX70593" y="connsiteY70593"/>
              </a:cxn>
              <a:cxn ang="0">
                <a:pos x="connsiteX70594" y="connsiteY70594"/>
              </a:cxn>
              <a:cxn ang="0">
                <a:pos x="connsiteX70595" y="connsiteY70595"/>
              </a:cxn>
              <a:cxn ang="0">
                <a:pos x="connsiteX70596" y="connsiteY70596"/>
              </a:cxn>
              <a:cxn ang="0">
                <a:pos x="connsiteX70597" y="connsiteY70597"/>
              </a:cxn>
              <a:cxn ang="0">
                <a:pos x="connsiteX70598" y="connsiteY70598"/>
              </a:cxn>
              <a:cxn ang="0">
                <a:pos x="connsiteX70599" y="connsiteY70599"/>
              </a:cxn>
              <a:cxn ang="0">
                <a:pos x="connsiteX70600" y="connsiteY70600"/>
              </a:cxn>
              <a:cxn ang="0">
                <a:pos x="connsiteX70601" y="connsiteY70601"/>
              </a:cxn>
              <a:cxn ang="0">
                <a:pos x="connsiteX70602" y="connsiteY70602"/>
              </a:cxn>
              <a:cxn ang="0">
                <a:pos x="connsiteX70603" y="connsiteY70603"/>
              </a:cxn>
              <a:cxn ang="0">
                <a:pos x="connsiteX70604" y="connsiteY70604"/>
              </a:cxn>
              <a:cxn ang="0">
                <a:pos x="connsiteX70605" y="connsiteY70605"/>
              </a:cxn>
              <a:cxn ang="0">
                <a:pos x="connsiteX70606" y="connsiteY70606"/>
              </a:cxn>
              <a:cxn ang="0">
                <a:pos x="connsiteX70607" y="connsiteY70607"/>
              </a:cxn>
              <a:cxn ang="0">
                <a:pos x="connsiteX70608" y="connsiteY70608"/>
              </a:cxn>
              <a:cxn ang="0">
                <a:pos x="connsiteX70609" y="connsiteY70609"/>
              </a:cxn>
              <a:cxn ang="0">
                <a:pos x="connsiteX70610" y="connsiteY70610"/>
              </a:cxn>
              <a:cxn ang="0">
                <a:pos x="connsiteX70611" y="connsiteY70611"/>
              </a:cxn>
              <a:cxn ang="0">
                <a:pos x="connsiteX70612" y="connsiteY70612"/>
              </a:cxn>
              <a:cxn ang="0">
                <a:pos x="connsiteX70613" y="connsiteY70613"/>
              </a:cxn>
              <a:cxn ang="0">
                <a:pos x="connsiteX70614" y="connsiteY70614"/>
              </a:cxn>
              <a:cxn ang="0">
                <a:pos x="connsiteX70615" y="connsiteY70615"/>
              </a:cxn>
              <a:cxn ang="0">
                <a:pos x="connsiteX70616" y="connsiteY70616"/>
              </a:cxn>
              <a:cxn ang="0">
                <a:pos x="connsiteX70617" y="connsiteY70617"/>
              </a:cxn>
              <a:cxn ang="0">
                <a:pos x="connsiteX70618" y="connsiteY70618"/>
              </a:cxn>
              <a:cxn ang="0">
                <a:pos x="connsiteX70619" y="connsiteY70619"/>
              </a:cxn>
              <a:cxn ang="0">
                <a:pos x="connsiteX70620" y="connsiteY70620"/>
              </a:cxn>
              <a:cxn ang="0">
                <a:pos x="connsiteX70621" y="connsiteY70621"/>
              </a:cxn>
              <a:cxn ang="0">
                <a:pos x="connsiteX70622" y="connsiteY70622"/>
              </a:cxn>
              <a:cxn ang="0">
                <a:pos x="connsiteX70623" y="connsiteY70623"/>
              </a:cxn>
              <a:cxn ang="0">
                <a:pos x="connsiteX70624" y="connsiteY70624"/>
              </a:cxn>
              <a:cxn ang="0">
                <a:pos x="connsiteX70625" y="connsiteY70625"/>
              </a:cxn>
              <a:cxn ang="0">
                <a:pos x="connsiteX70626" y="connsiteY70626"/>
              </a:cxn>
              <a:cxn ang="0">
                <a:pos x="connsiteX70627" y="connsiteY70627"/>
              </a:cxn>
              <a:cxn ang="0">
                <a:pos x="connsiteX70628" y="connsiteY70628"/>
              </a:cxn>
              <a:cxn ang="0">
                <a:pos x="connsiteX70629" y="connsiteY70629"/>
              </a:cxn>
              <a:cxn ang="0">
                <a:pos x="connsiteX70630" y="connsiteY70630"/>
              </a:cxn>
              <a:cxn ang="0">
                <a:pos x="connsiteX70631" y="connsiteY70631"/>
              </a:cxn>
              <a:cxn ang="0">
                <a:pos x="connsiteX70632" y="connsiteY70632"/>
              </a:cxn>
              <a:cxn ang="0">
                <a:pos x="connsiteX70633" y="connsiteY70633"/>
              </a:cxn>
              <a:cxn ang="0">
                <a:pos x="connsiteX70634" y="connsiteY70634"/>
              </a:cxn>
              <a:cxn ang="0">
                <a:pos x="connsiteX70635" y="connsiteY70635"/>
              </a:cxn>
              <a:cxn ang="0">
                <a:pos x="connsiteX70636" y="connsiteY70636"/>
              </a:cxn>
              <a:cxn ang="0">
                <a:pos x="connsiteX70637" y="connsiteY70637"/>
              </a:cxn>
              <a:cxn ang="0">
                <a:pos x="connsiteX70638" y="connsiteY70638"/>
              </a:cxn>
              <a:cxn ang="0">
                <a:pos x="connsiteX70639" y="connsiteY70639"/>
              </a:cxn>
              <a:cxn ang="0">
                <a:pos x="connsiteX70640" y="connsiteY70640"/>
              </a:cxn>
              <a:cxn ang="0">
                <a:pos x="connsiteX70641" y="connsiteY70641"/>
              </a:cxn>
              <a:cxn ang="0">
                <a:pos x="connsiteX70642" y="connsiteY70642"/>
              </a:cxn>
              <a:cxn ang="0">
                <a:pos x="connsiteX70643" y="connsiteY70643"/>
              </a:cxn>
              <a:cxn ang="0">
                <a:pos x="connsiteX70644" y="connsiteY70644"/>
              </a:cxn>
              <a:cxn ang="0">
                <a:pos x="connsiteX70645" y="connsiteY70645"/>
              </a:cxn>
              <a:cxn ang="0">
                <a:pos x="connsiteX70646" y="connsiteY70646"/>
              </a:cxn>
              <a:cxn ang="0">
                <a:pos x="connsiteX70647" y="connsiteY70647"/>
              </a:cxn>
              <a:cxn ang="0">
                <a:pos x="connsiteX70648" y="connsiteY70648"/>
              </a:cxn>
              <a:cxn ang="0">
                <a:pos x="connsiteX70649" y="connsiteY70649"/>
              </a:cxn>
              <a:cxn ang="0">
                <a:pos x="connsiteX70650" y="connsiteY70650"/>
              </a:cxn>
              <a:cxn ang="0">
                <a:pos x="connsiteX70651" y="connsiteY70651"/>
              </a:cxn>
              <a:cxn ang="0">
                <a:pos x="connsiteX70652" y="connsiteY70652"/>
              </a:cxn>
              <a:cxn ang="0">
                <a:pos x="connsiteX70653" y="connsiteY70653"/>
              </a:cxn>
              <a:cxn ang="0">
                <a:pos x="connsiteX70654" y="connsiteY70654"/>
              </a:cxn>
              <a:cxn ang="0">
                <a:pos x="connsiteX70655" y="connsiteY70655"/>
              </a:cxn>
              <a:cxn ang="0">
                <a:pos x="connsiteX70656" y="connsiteY70656"/>
              </a:cxn>
              <a:cxn ang="0">
                <a:pos x="connsiteX70657" y="connsiteY70657"/>
              </a:cxn>
              <a:cxn ang="0">
                <a:pos x="connsiteX70658" y="connsiteY70658"/>
              </a:cxn>
              <a:cxn ang="0">
                <a:pos x="connsiteX70659" y="connsiteY70659"/>
              </a:cxn>
              <a:cxn ang="0">
                <a:pos x="connsiteX70660" y="connsiteY70660"/>
              </a:cxn>
              <a:cxn ang="0">
                <a:pos x="connsiteX70661" y="connsiteY70661"/>
              </a:cxn>
              <a:cxn ang="0">
                <a:pos x="connsiteX70662" y="connsiteY70662"/>
              </a:cxn>
              <a:cxn ang="0">
                <a:pos x="connsiteX70663" y="connsiteY70663"/>
              </a:cxn>
              <a:cxn ang="0">
                <a:pos x="connsiteX70664" y="connsiteY70664"/>
              </a:cxn>
              <a:cxn ang="0">
                <a:pos x="connsiteX70665" y="connsiteY70665"/>
              </a:cxn>
              <a:cxn ang="0">
                <a:pos x="connsiteX70666" y="connsiteY70666"/>
              </a:cxn>
              <a:cxn ang="0">
                <a:pos x="connsiteX70667" y="connsiteY70667"/>
              </a:cxn>
              <a:cxn ang="0">
                <a:pos x="connsiteX70668" y="connsiteY70668"/>
              </a:cxn>
              <a:cxn ang="0">
                <a:pos x="connsiteX70669" y="connsiteY70669"/>
              </a:cxn>
              <a:cxn ang="0">
                <a:pos x="connsiteX70670" y="connsiteY70670"/>
              </a:cxn>
              <a:cxn ang="0">
                <a:pos x="connsiteX70671" y="connsiteY70671"/>
              </a:cxn>
              <a:cxn ang="0">
                <a:pos x="connsiteX70672" y="connsiteY70672"/>
              </a:cxn>
              <a:cxn ang="0">
                <a:pos x="connsiteX70673" y="connsiteY70673"/>
              </a:cxn>
              <a:cxn ang="0">
                <a:pos x="connsiteX70674" y="connsiteY70674"/>
              </a:cxn>
              <a:cxn ang="0">
                <a:pos x="connsiteX70675" y="connsiteY70675"/>
              </a:cxn>
              <a:cxn ang="0">
                <a:pos x="connsiteX70676" y="connsiteY70676"/>
              </a:cxn>
              <a:cxn ang="0">
                <a:pos x="connsiteX70677" y="connsiteY70677"/>
              </a:cxn>
              <a:cxn ang="0">
                <a:pos x="connsiteX70678" y="connsiteY70678"/>
              </a:cxn>
              <a:cxn ang="0">
                <a:pos x="connsiteX70679" y="connsiteY70679"/>
              </a:cxn>
              <a:cxn ang="0">
                <a:pos x="connsiteX70680" y="connsiteY70680"/>
              </a:cxn>
              <a:cxn ang="0">
                <a:pos x="connsiteX70681" y="connsiteY70681"/>
              </a:cxn>
              <a:cxn ang="0">
                <a:pos x="connsiteX70682" y="connsiteY70682"/>
              </a:cxn>
              <a:cxn ang="0">
                <a:pos x="connsiteX70683" y="connsiteY70683"/>
              </a:cxn>
              <a:cxn ang="0">
                <a:pos x="connsiteX70684" y="connsiteY70684"/>
              </a:cxn>
              <a:cxn ang="0">
                <a:pos x="connsiteX70685" y="connsiteY70685"/>
              </a:cxn>
              <a:cxn ang="0">
                <a:pos x="connsiteX70686" y="connsiteY70686"/>
              </a:cxn>
              <a:cxn ang="0">
                <a:pos x="connsiteX70687" y="connsiteY70687"/>
              </a:cxn>
              <a:cxn ang="0">
                <a:pos x="connsiteX70688" y="connsiteY70688"/>
              </a:cxn>
              <a:cxn ang="0">
                <a:pos x="connsiteX70689" y="connsiteY70689"/>
              </a:cxn>
              <a:cxn ang="0">
                <a:pos x="connsiteX70690" y="connsiteY70690"/>
              </a:cxn>
              <a:cxn ang="0">
                <a:pos x="connsiteX70691" y="connsiteY70691"/>
              </a:cxn>
              <a:cxn ang="0">
                <a:pos x="connsiteX70692" y="connsiteY70692"/>
              </a:cxn>
              <a:cxn ang="0">
                <a:pos x="connsiteX70693" y="connsiteY70693"/>
              </a:cxn>
              <a:cxn ang="0">
                <a:pos x="connsiteX70694" y="connsiteY70694"/>
              </a:cxn>
              <a:cxn ang="0">
                <a:pos x="connsiteX70695" y="connsiteY70695"/>
              </a:cxn>
              <a:cxn ang="0">
                <a:pos x="connsiteX70696" y="connsiteY70696"/>
              </a:cxn>
              <a:cxn ang="0">
                <a:pos x="connsiteX70697" y="connsiteY70697"/>
              </a:cxn>
              <a:cxn ang="0">
                <a:pos x="connsiteX70698" y="connsiteY70698"/>
              </a:cxn>
              <a:cxn ang="0">
                <a:pos x="connsiteX70699" y="connsiteY70699"/>
              </a:cxn>
              <a:cxn ang="0">
                <a:pos x="connsiteX70700" y="connsiteY70700"/>
              </a:cxn>
              <a:cxn ang="0">
                <a:pos x="connsiteX70701" y="connsiteY70701"/>
              </a:cxn>
              <a:cxn ang="0">
                <a:pos x="connsiteX70702" y="connsiteY70702"/>
              </a:cxn>
              <a:cxn ang="0">
                <a:pos x="connsiteX70703" y="connsiteY70703"/>
              </a:cxn>
              <a:cxn ang="0">
                <a:pos x="connsiteX70704" y="connsiteY70704"/>
              </a:cxn>
              <a:cxn ang="0">
                <a:pos x="connsiteX70705" y="connsiteY70705"/>
              </a:cxn>
              <a:cxn ang="0">
                <a:pos x="connsiteX70706" y="connsiteY70706"/>
              </a:cxn>
              <a:cxn ang="0">
                <a:pos x="connsiteX70707" y="connsiteY70707"/>
              </a:cxn>
              <a:cxn ang="0">
                <a:pos x="connsiteX70708" y="connsiteY70708"/>
              </a:cxn>
              <a:cxn ang="0">
                <a:pos x="connsiteX70709" y="connsiteY70709"/>
              </a:cxn>
              <a:cxn ang="0">
                <a:pos x="connsiteX70710" y="connsiteY70710"/>
              </a:cxn>
              <a:cxn ang="0">
                <a:pos x="connsiteX70711" y="connsiteY70711"/>
              </a:cxn>
              <a:cxn ang="0">
                <a:pos x="connsiteX70712" y="connsiteY70712"/>
              </a:cxn>
              <a:cxn ang="0">
                <a:pos x="connsiteX70713" y="connsiteY70713"/>
              </a:cxn>
              <a:cxn ang="0">
                <a:pos x="connsiteX70714" y="connsiteY70714"/>
              </a:cxn>
              <a:cxn ang="0">
                <a:pos x="connsiteX70715" y="connsiteY70715"/>
              </a:cxn>
              <a:cxn ang="0">
                <a:pos x="connsiteX70716" y="connsiteY70716"/>
              </a:cxn>
              <a:cxn ang="0">
                <a:pos x="connsiteX70717" y="connsiteY70717"/>
              </a:cxn>
              <a:cxn ang="0">
                <a:pos x="connsiteX70718" y="connsiteY70718"/>
              </a:cxn>
              <a:cxn ang="0">
                <a:pos x="connsiteX70719" y="connsiteY70719"/>
              </a:cxn>
              <a:cxn ang="0">
                <a:pos x="connsiteX70720" y="connsiteY70720"/>
              </a:cxn>
              <a:cxn ang="0">
                <a:pos x="connsiteX70721" y="connsiteY70721"/>
              </a:cxn>
              <a:cxn ang="0">
                <a:pos x="connsiteX70722" y="connsiteY70722"/>
              </a:cxn>
              <a:cxn ang="0">
                <a:pos x="connsiteX70723" y="connsiteY70723"/>
              </a:cxn>
              <a:cxn ang="0">
                <a:pos x="connsiteX70724" y="connsiteY70724"/>
              </a:cxn>
              <a:cxn ang="0">
                <a:pos x="connsiteX70725" y="connsiteY70725"/>
              </a:cxn>
              <a:cxn ang="0">
                <a:pos x="connsiteX70726" y="connsiteY70726"/>
              </a:cxn>
              <a:cxn ang="0">
                <a:pos x="connsiteX70727" y="connsiteY70727"/>
              </a:cxn>
              <a:cxn ang="0">
                <a:pos x="connsiteX70728" y="connsiteY70728"/>
              </a:cxn>
              <a:cxn ang="0">
                <a:pos x="connsiteX70729" y="connsiteY70729"/>
              </a:cxn>
              <a:cxn ang="0">
                <a:pos x="connsiteX70730" y="connsiteY70730"/>
              </a:cxn>
              <a:cxn ang="0">
                <a:pos x="connsiteX70731" y="connsiteY70731"/>
              </a:cxn>
              <a:cxn ang="0">
                <a:pos x="connsiteX70732" y="connsiteY70732"/>
              </a:cxn>
              <a:cxn ang="0">
                <a:pos x="connsiteX70733" y="connsiteY70733"/>
              </a:cxn>
              <a:cxn ang="0">
                <a:pos x="connsiteX70734" y="connsiteY70734"/>
              </a:cxn>
              <a:cxn ang="0">
                <a:pos x="connsiteX70735" y="connsiteY70735"/>
              </a:cxn>
              <a:cxn ang="0">
                <a:pos x="connsiteX70736" y="connsiteY70736"/>
              </a:cxn>
              <a:cxn ang="0">
                <a:pos x="connsiteX70737" y="connsiteY70737"/>
              </a:cxn>
              <a:cxn ang="0">
                <a:pos x="connsiteX70738" y="connsiteY70738"/>
              </a:cxn>
              <a:cxn ang="0">
                <a:pos x="connsiteX70739" y="connsiteY70739"/>
              </a:cxn>
              <a:cxn ang="0">
                <a:pos x="connsiteX70740" y="connsiteY70740"/>
              </a:cxn>
              <a:cxn ang="0">
                <a:pos x="connsiteX70741" y="connsiteY70741"/>
              </a:cxn>
              <a:cxn ang="0">
                <a:pos x="connsiteX70742" y="connsiteY70742"/>
              </a:cxn>
              <a:cxn ang="0">
                <a:pos x="connsiteX70743" y="connsiteY70743"/>
              </a:cxn>
              <a:cxn ang="0">
                <a:pos x="connsiteX70744" y="connsiteY70744"/>
              </a:cxn>
              <a:cxn ang="0">
                <a:pos x="connsiteX70745" y="connsiteY70745"/>
              </a:cxn>
              <a:cxn ang="0">
                <a:pos x="connsiteX70746" y="connsiteY70746"/>
              </a:cxn>
              <a:cxn ang="0">
                <a:pos x="connsiteX70747" y="connsiteY70747"/>
              </a:cxn>
              <a:cxn ang="0">
                <a:pos x="connsiteX70748" y="connsiteY70748"/>
              </a:cxn>
              <a:cxn ang="0">
                <a:pos x="connsiteX70749" y="connsiteY70749"/>
              </a:cxn>
              <a:cxn ang="0">
                <a:pos x="connsiteX70750" y="connsiteY70750"/>
              </a:cxn>
              <a:cxn ang="0">
                <a:pos x="connsiteX70751" y="connsiteY70751"/>
              </a:cxn>
              <a:cxn ang="0">
                <a:pos x="connsiteX70752" y="connsiteY70752"/>
              </a:cxn>
              <a:cxn ang="0">
                <a:pos x="connsiteX70753" y="connsiteY70753"/>
              </a:cxn>
              <a:cxn ang="0">
                <a:pos x="connsiteX70754" y="connsiteY70754"/>
              </a:cxn>
              <a:cxn ang="0">
                <a:pos x="connsiteX70755" y="connsiteY70755"/>
              </a:cxn>
              <a:cxn ang="0">
                <a:pos x="connsiteX70756" y="connsiteY70756"/>
              </a:cxn>
              <a:cxn ang="0">
                <a:pos x="connsiteX70757" y="connsiteY70757"/>
              </a:cxn>
              <a:cxn ang="0">
                <a:pos x="connsiteX70758" y="connsiteY70758"/>
              </a:cxn>
              <a:cxn ang="0">
                <a:pos x="connsiteX70759" y="connsiteY70759"/>
              </a:cxn>
              <a:cxn ang="0">
                <a:pos x="connsiteX70760" y="connsiteY70760"/>
              </a:cxn>
              <a:cxn ang="0">
                <a:pos x="connsiteX70761" y="connsiteY70761"/>
              </a:cxn>
              <a:cxn ang="0">
                <a:pos x="connsiteX70762" y="connsiteY70762"/>
              </a:cxn>
              <a:cxn ang="0">
                <a:pos x="connsiteX70763" y="connsiteY70763"/>
              </a:cxn>
              <a:cxn ang="0">
                <a:pos x="connsiteX70764" y="connsiteY70764"/>
              </a:cxn>
              <a:cxn ang="0">
                <a:pos x="connsiteX70765" y="connsiteY70765"/>
              </a:cxn>
              <a:cxn ang="0">
                <a:pos x="connsiteX70766" y="connsiteY70766"/>
              </a:cxn>
              <a:cxn ang="0">
                <a:pos x="connsiteX70767" y="connsiteY70767"/>
              </a:cxn>
              <a:cxn ang="0">
                <a:pos x="connsiteX70768" y="connsiteY70768"/>
              </a:cxn>
              <a:cxn ang="0">
                <a:pos x="connsiteX70769" y="connsiteY70769"/>
              </a:cxn>
              <a:cxn ang="0">
                <a:pos x="connsiteX70770" y="connsiteY70770"/>
              </a:cxn>
              <a:cxn ang="0">
                <a:pos x="connsiteX70771" y="connsiteY70771"/>
              </a:cxn>
              <a:cxn ang="0">
                <a:pos x="connsiteX70772" y="connsiteY70772"/>
              </a:cxn>
              <a:cxn ang="0">
                <a:pos x="connsiteX70773" y="connsiteY70773"/>
              </a:cxn>
              <a:cxn ang="0">
                <a:pos x="connsiteX70774" y="connsiteY70774"/>
              </a:cxn>
              <a:cxn ang="0">
                <a:pos x="connsiteX70775" y="connsiteY70775"/>
              </a:cxn>
              <a:cxn ang="0">
                <a:pos x="connsiteX70776" y="connsiteY70776"/>
              </a:cxn>
              <a:cxn ang="0">
                <a:pos x="connsiteX70777" y="connsiteY70777"/>
              </a:cxn>
              <a:cxn ang="0">
                <a:pos x="connsiteX70778" y="connsiteY70778"/>
              </a:cxn>
              <a:cxn ang="0">
                <a:pos x="connsiteX70779" y="connsiteY70779"/>
              </a:cxn>
              <a:cxn ang="0">
                <a:pos x="connsiteX70780" y="connsiteY70780"/>
              </a:cxn>
              <a:cxn ang="0">
                <a:pos x="connsiteX70781" y="connsiteY70781"/>
              </a:cxn>
              <a:cxn ang="0">
                <a:pos x="connsiteX70782" y="connsiteY70782"/>
              </a:cxn>
              <a:cxn ang="0">
                <a:pos x="connsiteX70783" y="connsiteY70783"/>
              </a:cxn>
              <a:cxn ang="0">
                <a:pos x="connsiteX70784" y="connsiteY70784"/>
              </a:cxn>
              <a:cxn ang="0">
                <a:pos x="connsiteX70785" y="connsiteY70785"/>
              </a:cxn>
              <a:cxn ang="0">
                <a:pos x="connsiteX70786" y="connsiteY70786"/>
              </a:cxn>
              <a:cxn ang="0">
                <a:pos x="connsiteX70787" y="connsiteY70787"/>
              </a:cxn>
              <a:cxn ang="0">
                <a:pos x="connsiteX70788" y="connsiteY70788"/>
              </a:cxn>
              <a:cxn ang="0">
                <a:pos x="connsiteX70789" y="connsiteY70789"/>
              </a:cxn>
              <a:cxn ang="0">
                <a:pos x="connsiteX70790" y="connsiteY70790"/>
              </a:cxn>
              <a:cxn ang="0">
                <a:pos x="connsiteX70791" y="connsiteY70791"/>
              </a:cxn>
              <a:cxn ang="0">
                <a:pos x="connsiteX70792" y="connsiteY70792"/>
              </a:cxn>
              <a:cxn ang="0">
                <a:pos x="connsiteX70793" y="connsiteY70793"/>
              </a:cxn>
              <a:cxn ang="0">
                <a:pos x="connsiteX70794" y="connsiteY70794"/>
              </a:cxn>
              <a:cxn ang="0">
                <a:pos x="connsiteX70795" y="connsiteY70795"/>
              </a:cxn>
              <a:cxn ang="0">
                <a:pos x="connsiteX70796" y="connsiteY70796"/>
              </a:cxn>
              <a:cxn ang="0">
                <a:pos x="connsiteX70797" y="connsiteY70797"/>
              </a:cxn>
              <a:cxn ang="0">
                <a:pos x="connsiteX70798" y="connsiteY70798"/>
              </a:cxn>
              <a:cxn ang="0">
                <a:pos x="connsiteX70799" y="connsiteY70799"/>
              </a:cxn>
              <a:cxn ang="0">
                <a:pos x="connsiteX70800" y="connsiteY70800"/>
              </a:cxn>
              <a:cxn ang="0">
                <a:pos x="connsiteX70801" y="connsiteY70801"/>
              </a:cxn>
              <a:cxn ang="0">
                <a:pos x="connsiteX70802" y="connsiteY70802"/>
              </a:cxn>
              <a:cxn ang="0">
                <a:pos x="connsiteX70803" y="connsiteY70803"/>
              </a:cxn>
              <a:cxn ang="0">
                <a:pos x="connsiteX70804" y="connsiteY70804"/>
              </a:cxn>
              <a:cxn ang="0">
                <a:pos x="connsiteX70805" y="connsiteY70805"/>
              </a:cxn>
              <a:cxn ang="0">
                <a:pos x="connsiteX70806" y="connsiteY70806"/>
              </a:cxn>
              <a:cxn ang="0">
                <a:pos x="connsiteX70807" y="connsiteY70807"/>
              </a:cxn>
              <a:cxn ang="0">
                <a:pos x="connsiteX70808" y="connsiteY70808"/>
              </a:cxn>
              <a:cxn ang="0">
                <a:pos x="connsiteX70809" y="connsiteY70809"/>
              </a:cxn>
              <a:cxn ang="0">
                <a:pos x="connsiteX70810" y="connsiteY70810"/>
              </a:cxn>
              <a:cxn ang="0">
                <a:pos x="connsiteX70811" y="connsiteY70811"/>
              </a:cxn>
              <a:cxn ang="0">
                <a:pos x="connsiteX70812" y="connsiteY70812"/>
              </a:cxn>
              <a:cxn ang="0">
                <a:pos x="connsiteX70813" y="connsiteY70813"/>
              </a:cxn>
              <a:cxn ang="0">
                <a:pos x="connsiteX70814" y="connsiteY70814"/>
              </a:cxn>
              <a:cxn ang="0">
                <a:pos x="connsiteX70815" y="connsiteY70815"/>
              </a:cxn>
              <a:cxn ang="0">
                <a:pos x="connsiteX70816" y="connsiteY70816"/>
              </a:cxn>
              <a:cxn ang="0">
                <a:pos x="connsiteX70817" y="connsiteY70817"/>
              </a:cxn>
              <a:cxn ang="0">
                <a:pos x="connsiteX70818" y="connsiteY70818"/>
              </a:cxn>
              <a:cxn ang="0">
                <a:pos x="connsiteX70819" y="connsiteY70819"/>
              </a:cxn>
              <a:cxn ang="0">
                <a:pos x="connsiteX70820" y="connsiteY70820"/>
              </a:cxn>
              <a:cxn ang="0">
                <a:pos x="connsiteX70821" y="connsiteY70821"/>
              </a:cxn>
              <a:cxn ang="0">
                <a:pos x="connsiteX70822" y="connsiteY70822"/>
              </a:cxn>
              <a:cxn ang="0">
                <a:pos x="connsiteX70823" y="connsiteY70823"/>
              </a:cxn>
              <a:cxn ang="0">
                <a:pos x="connsiteX70824" y="connsiteY70824"/>
              </a:cxn>
              <a:cxn ang="0">
                <a:pos x="connsiteX70825" y="connsiteY70825"/>
              </a:cxn>
              <a:cxn ang="0">
                <a:pos x="connsiteX70826" y="connsiteY70826"/>
              </a:cxn>
              <a:cxn ang="0">
                <a:pos x="connsiteX70827" y="connsiteY70827"/>
              </a:cxn>
              <a:cxn ang="0">
                <a:pos x="connsiteX70828" y="connsiteY70828"/>
              </a:cxn>
              <a:cxn ang="0">
                <a:pos x="connsiteX70829" y="connsiteY70829"/>
              </a:cxn>
              <a:cxn ang="0">
                <a:pos x="connsiteX70830" y="connsiteY70830"/>
              </a:cxn>
              <a:cxn ang="0">
                <a:pos x="connsiteX70831" y="connsiteY70831"/>
              </a:cxn>
              <a:cxn ang="0">
                <a:pos x="connsiteX70832" y="connsiteY70832"/>
              </a:cxn>
              <a:cxn ang="0">
                <a:pos x="connsiteX70833" y="connsiteY70833"/>
              </a:cxn>
              <a:cxn ang="0">
                <a:pos x="connsiteX70834" y="connsiteY70834"/>
              </a:cxn>
              <a:cxn ang="0">
                <a:pos x="connsiteX70835" y="connsiteY70835"/>
              </a:cxn>
              <a:cxn ang="0">
                <a:pos x="connsiteX70836" y="connsiteY70836"/>
              </a:cxn>
              <a:cxn ang="0">
                <a:pos x="connsiteX70837" y="connsiteY70837"/>
              </a:cxn>
              <a:cxn ang="0">
                <a:pos x="connsiteX70838" y="connsiteY70838"/>
              </a:cxn>
              <a:cxn ang="0">
                <a:pos x="connsiteX70839" y="connsiteY70839"/>
              </a:cxn>
              <a:cxn ang="0">
                <a:pos x="connsiteX70840" y="connsiteY70840"/>
              </a:cxn>
              <a:cxn ang="0">
                <a:pos x="connsiteX70841" y="connsiteY70841"/>
              </a:cxn>
              <a:cxn ang="0">
                <a:pos x="connsiteX70842" y="connsiteY70842"/>
              </a:cxn>
              <a:cxn ang="0">
                <a:pos x="connsiteX70843" y="connsiteY70843"/>
              </a:cxn>
              <a:cxn ang="0">
                <a:pos x="connsiteX70844" y="connsiteY70844"/>
              </a:cxn>
              <a:cxn ang="0">
                <a:pos x="connsiteX70845" y="connsiteY70845"/>
              </a:cxn>
              <a:cxn ang="0">
                <a:pos x="connsiteX70846" y="connsiteY70846"/>
              </a:cxn>
              <a:cxn ang="0">
                <a:pos x="connsiteX70847" y="connsiteY70847"/>
              </a:cxn>
              <a:cxn ang="0">
                <a:pos x="connsiteX70848" y="connsiteY70848"/>
              </a:cxn>
              <a:cxn ang="0">
                <a:pos x="connsiteX70849" y="connsiteY70849"/>
              </a:cxn>
              <a:cxn ang="0">
                <a:pos x="connsiteX70850" y="connsiteY70850"/>
              </a:cxn>
              <a:cxn ang="0">
                <a:pos x="connsiteX70851" y="connsiteY70851"/>
              </a:cxn>
              <a:cxn ang="0">
                <a:pos x="connsiteX70852" y="connsiteY70852"/>
              </a:cxn>
              <a:cxn ang="0">
                <a:pos x="connsiteX70853" y="connsiteY70853"/>
              </a:cxn>
              <a:cxn ang="0">
                <a:pos x="connsiteX70854" y="connsiteY70854"/>
              </a:cxn>
              <a:cxn ang="0">
                <a:pos x="connsiteX70855" y="connsiteY70855"/>
              </a:cxn>
              <a:cxn ang="0">
                <a:pos x="connsiteX70856" y="connsiteY70856"/>
              </a:cxn>
              <a:cxn ang="0">
                <a:pos x="connsiteX70857" y="connsiteY70857"/>
              </a:cxn>
              <a:cxn ang="0">
                <a:pos x="connsiteX70858" y="connsiteY70858"/>
              </a:cxn>
              <a:cxn ang="0">
                <a:pos x="connsiteX70859" y="connsiteY70859"/>
              </a:cxn>
              <a:cxn ang="0">
                <a:pos x="connsiteX70860" y="connsiteY70860"/>
              </a:cxn>
              <a:cxn ang="0">
                <a:pos x="connsiteX70861" y="connsiteY70861"/>
              </a:cxn>
              <a:cxn ang="0">
                <a:pos x="connsiteX70862" y="connsiteY70862"/>
              </a:cxn>
              <a:cxn ang="0">
                <a:pos x="connsiteX70863" y="connsiteY70863"/>
              </a:cxn>
              <a:cxn ang="0">
                <a:pos x="connsiteX70864" y="connsiteY70864"/>
              </a:cxn>
              <a:cxn ang="0">
                <a:pos x="connsiteX70865" y="connsiteY70865"/>
              </a:cxn>
              <a:cxn ang="0">
                <a:pos x="connsiteX70866" y="connsiteY70866"/>
              </a:cxn>
              <a:cxn ang="0">
                <a:pos x="connsiteX70867" y="connsiteY70867"/>
              </a:cxn>
              <a:cxn ang="0">
                <a:pos x="connsiteX70868" y="connsiteY70868"/>
              </a:cxn>
              <a:cxn ang="0">
                <a:pos x="connsiteX70869" y="connsiteY70869"/>
              </a:cxn>
              <a:cxn ang="0">
                <a:pos x="connsiteX70870" y="connsiteY70870"/>
              </a:cxn>
              <a:cxn ang="0">
                <a:pos x="connsiteX70871" y="connsiteY70871"/>
              </a:cxn>
              <a:cxn ang="0">
                <a:pos x="connsiteX70872" y="connsiteY70872"/>
              </a:cxn>
              <a:cxn ang="0">
                <a:pos x="connsiteX70873" y="connsiteY70873"/>
              </a:cxn>
              <a:cxn ang="0">
                <a:pos x="connsiteX70874" y="connsiteY70874"/>
              </a:cxn>
              <a:cxn ang="0">
                <a:pos x="connsiteX70875" y="connsiteY70875"/>
              </a:cxn>
              <a:cxn ang="0">
                <a:pos x="connsiteX70876" y="connsiteY70876"/>
              </a:cxn>
              <a:cxn ang="0">
                <a:pos x="connsiteX70877" y="connsiteY70877"/>
              </a:cxn>
              <a:cxn ang="0">
                <a:pos x="connsiteX70878" y="connsiteY70878"/>
              </a:cxn>
              <a:cxn ang="0">
                <a:pos x="connsiteX70879" y="connsiteY70879"/>
              </a:cxn>
              <a:cxn ang="0">
                <a:pos x="connsiteX70880" y="connsiteY70880"/>
              </a:cxn>
              <a:cxn ang="0">
                <a:pos x="connsiteX70881" y="connsiteY70881"/>
              </a:cxn>
              <a:cxn ang="0">
                <a:pos x="connsiteX70882" y="connsiteY70882"/>
              </a:cxn>
              <a:cxn ang="0">
                <a:pos x="connsiteX70883" y="connsiteY70883"/>
              </a:cxn>
              <a:cxn ang="0">
                <a:pos x="connsiteX70884" y="connsiteY70884"/>
              </a:cxn>
              <a:cxn ang="0">
                <a:pos x="connsiteX70885" y="connsiteY70885"/>
              </a:cxn>
              <a:cxn ang="0">
                <a:pos x="connsiteX70886" y="connsiteY70886"/>
              </a:cxn>
              <a:cxn ang="0">
                <a:pos x="connsiteX70887" y="connsiteY70887"/>
              </a:cxn>
              <a:cxn ang="0">
                <a:pos x="connsiteX70888" y="connsiteY70888"/>
              </a:cxn>
              <a:cxn ang="0">
                <a:pos x="connsiteX70889" y="connsiteY70889"/>
              </a:cxn>
              <a:cxn ang="0">
                <a:pos x="connsiteX70890" y="connsiteY70890"/>
              </a:cxn>
              <a:cxn ang="0">
                <a:pos x="connsiteX70891" y="connsiteY70891"/>
              </a:cxn>
              <a:cxn ang="0">
                <a:pos x="connsiteX70892" y="connsiteY70892"/>
              </a:cxn>
              <a:cxn ang="0">
                <a:pos x="connsiteX70893" y="connsiteY70893"/>
              </a:cxn>
              <a:cxn ang="0">
                <a:pos x="connsiteX70894" y="connsiteY70894"/>
              </a:cxn>
              <a:cxn ang="0">
                <a:pos x="connsiteX70895" y="connsiteY70895"/>
              </a:cxn>
              <a:cxn ang="0">
                <a:pos x="connsiteX70896" y="connsiteY70896"/>
              </a:cxn>
              <a:cxn ang="0">
                <a:pos x="connsiteX70897" y="connsiteY70897"/>
              </a:cxn>
              <a:cxn ang="0">
                <a:pos x="connsiteX70898" y="connsiteY70898"/>
              </a:cxn>
              <a:cxn ang="0">
                <a:pos x="connsiteX70899" y="connsiteY70899"/>
              </a:cxn>
              <a:cxn ang="0">
                <a:pos x="connsiteX70900" y="connsiteY70900"/>
              </a:cxn>
              <a:cxn ang="0">
                <a:pos x="connsiteX70901" y="connsiteY70901"/>
              </a:cxn>
              <a:cxn ang="0">
                <a:pos x="connsiteX70902" y="connsiteY70902"/>
              </a:cxn>
              <a:cxn ang="0">
                <a:pos x="connsiteX70903" y="connsiteY70903"/>
              </a:cxn>
              <a:cxn ang="0">
                <a:pos x="connsiteX70904" y="connsiteY70904"/>
              </a:cxn>
              <a:cxn ang="0">
                <a:pos x="connsiteX70905" y="connsiteY70905"/>
              </a:cxn>
              <a:cxn ang="0">
                <a:pos x="connsiteX70906" y="connsiteY70906"/>
              </a:cxn>
              <a:cxn ang="0">
                <a:pos x="connsiteX70907" y="connsiteY70907"/>
              </a:cxn>
              <a:cxn ang="0">
                <a:pos x="connsiteX70908" y="connsiteY70908"/>
              </a:cxn>
              <a:cxn ang="0">
                <a:pos x="connsiteX70909" y="connsiteY70909"/>
              </a:cxn>
              <a:cxn ang="0">
                <a:pos x="connsiteX70910" y="connsiteY70910"/>
              </a:cxn>
              <a:cxn ang="0">
                <a:pos x="connsiteX70911" y="connsiteY70911"/>
              </a:cxn>
              <a:cxn ang="0">
                <a:pos x="connsiteX70912" y="connsiteY70912"/>
              </a:cxn>
              <a:cxn ang="0">
                <a:pos x="connsiteX70913" y="connsiteY70913"/>
              </a:cxn>
              <a:cxn ang="0">
                <a:pos x="connsiteX70914" y="connsiteY70914"/>
              </a:cxn>
              <a:cxn ang="0">
                <a:pos x="connsiteX70915" y="connsiteY70915"/>
              </a:cxn>
              <a:cxn ang="0">
                <a:pos x="connsiteX70916" y="connsiteY70916"/>
              </a:cxn>
              <a:cxn ang="0">
                <a:pos x="connsiteX70917" y="connsiteY70917"/>
              </a:cxn>
              <a:cxn ang="0">
                <a:pos x="connsiteX70918" y="connsiteY70918"/>
              </a:cxn>
              <a:cxn ang="0">
                <a:pos x="connsiteX70919" y="connsiteY70919"/>
              </a:cxn>
              <a:cxn ang="0">
                <a:pos x="connsiteX70920" y="connsiteY70920"/>
              </a:cxn>
              <a:cxn ang="0">
                <a:pos x="connsiteX70921" y="connsiteY70921"/>
              </a:cxn>
              <a:cxn ang="0">
                <a:pos x="connsiteX70922" y="connsiteY70922"/>
              </a:cxn>
              <a:cxn ang="0">
                <a:pos x="connsiteX70923" y="connsiteY70923"/>
              </a:cxn>
              <a:cxn ang="0">
                <a:pos x="connsiteX70924" y="connsiteY70924"/>
              </a:cxn>
              <a:cxn ang="0">
                <a:pos x="connsiteX70925" y="connsiteY70925"/>
              </a:cxn>
              <a:cxn ang="0">
                <a:pos x="connsiteX70926" y="connsiteY70926"/>
              </a:cxn>
              <a:cxn ang="0">
                <a:pos x="connsiteX70927" y="connsiteY70927"/>
              </a:cxn>
              <a:cxn ang="0">
                <a:pos x="connsiteX70928" y="connsiteY70928"/>
              </a:cxn>
              <a:cxn ang="0">
                <a:pos x="connsiteX70929" y="connsiteY70929"/>
              </a:cxn>
              <a:cxn ang="0">
                <a:pos x="connsiteX70930" y="connsiteY70930"/>
              </a:cxn>
              <a:cxn ang="0">
                <a:pos x="connsiteX70931" y="connsiteY70931"/>
              </a:cxn>
              <a:cxn ang="0">
                <a:pos x="connsiteX70932" y="connsiteY70932"/>
              </a:cxn>
              <a:cxn ang="0">
                <a:pos x="connsiteX70933" y="connsiteY70933"/>
              </a:cxn>
              <a:cxn ang="0">
                <a:pos x="connsiteX70934" y="connsiteY70934"/>
              </a:cxn>
              <a:cxn ang="0">
                <a:pos x="connsiteX70935" y="connsiteY70935"/>
              </a:cxn>
              <a:cxn ang="0">
                <a:pos x="connsiteX70936" y="connsiteY70936"/>
              </a:cxn>
              <a:cxn ang="0">
                <a:pos x="connsiteX70937" y="connsiteY70937"/>
              </a:cxn>
              <a:cxn ang="0">
                <a:pos x="connsiteX70938" y="connsiteY70938"/>
              </a:cxn>
              <a:cxn ang="0">
                <a:pos x="connsiteX70939" y="connsiteY70939"/>
              </a:cxn>
              <a:cxn ang="0">
                <a:pos x="connsiteX70940" y="connsiteY70940"/>
              </a:cxn>
              <a:cxn ang="0">
                <a:pos x="connsiteX70941" y="connsiteY70941"/>
              </a:cxn>
              <a:cxn ang="0">
                <a:pos x="connsiteX70942" y="connsiteY70942"/>
              </a:cxn>
              <a:cxn ang="0">
                <a:pos x="connsiteX70943" y="connsiteY70943"/>
              </a:cxn>
              <a:cxn ang="0">
                <a:pos x="connsiteX70944" y="connsiteY70944"/>
              </a:cxn>
              <a:cxn ang="0">
                <a:pos x="connsiteX70945" y="connsiteY70945"/>
              </a:cxn>
              <a:cxn ang="0">
                <a:pos x="connsiteX70946" y="connsiteY70946"/>
              </a:cxn>
              <a:cxn ang="0">
                <a:pos x="connsiteX70947" y="connsiteY70947"/>
              </a:cxn>
              <a:cxn ang="0">
                <a:pos x="connsiteX70948" y="connsiteY70948"/>
              </a:cxn>
              <a:cxn ang="0">
                <a:pos x="connsiteX70949" y="connsiteY70949"/>
              </a:cxn>
              <a:cxn ang="0">
                <a:pos x="connsiteX70950" y="connsiteY70950"/>
              </a:cxn>
              <a:cxn ang="0">
                <a:pos x="connsiteX70951" y="connsiteY70951"/>
              </a:cxn>
              <a:cxn ang="0">
                <a:pos x="connsiteX70952" y="connsiteY70952"/>
              </a:cxn>
              <a:cxn ang="0">
                <a:pos x="connsiteX70953" y="connsiteY70953"/>
              </a:cxn>
              <a:cxn ang="0">
                <a:pos x="connsiteX70954" y="connsiteY70954"/>
              </a:cxn>
              <a:cxn ang="0">
                <a:pos x="connsiteX70955" y="connsiteY70955"/>
              </a:cxn>
              <a:cxn ang="0">
                <a:pos x="connsiteX70956" y="connsiteY70956"/>
              </a:cxn>
              <a:cxn ang="0">
                <a:pos x="connsiteX70957" y="connsiteY70957"/>
              </a:cxn>
              <a:cxn ang="0">
                <a:pos x="connsiteX70958" y="connsiteY70958"/>
              </a:cxn>
              <a:cxn ang="0">
                <a:pos x="connsiteX70959" y="connsiteY70959"/>
              </a:cxn>
              <a:cxn ang="0">
                <a:pos x="connsiteX70960" y="connsiteY70960"/>
              </a:cxn>
              <a:cxn ang="0">
                <a:pos x="connsiteX70961" y="connsiteY70961"/>
              </a:cxn>
              <a:cxn ang="0">
                <a:pos x="connsiteX70962" y="connsiteY70962"/>
              </a:cxn>
              <a:cxn ang="0">
                <a:pos x="connsiteX70963" y="connsiteY70963"/>
              </a:cxn>
              <a:cxn ang="0">
                <a:pos x="connsiteX70964" y="connsiteY70964"/>
              </a:cxn>
              <a:cxn ang="0">
                <a:pos x="connsiteX70965" y="connsiteY70965"/>
              </a:cxn>
              <a:cxn ang="0">
                <a:pos x="connsiteX70966" y="connsiteY70966"/>
              </a:cxn>
              <a:cxn ang="0">
                <a:pos x="connsiteX70967" y="connsiteY70967"/>
              </a:cxn>
              <a:cxn ang="0">
                <a:pos x="connsiteX70968" y="connsiteY70968"/>
              </a:cxn>
              <a:cxn ang="0">
                <a:pos x="connsiteX70969" y="connsiteY70969"/>
              </a:cxn>
              <a:cxn ang="0">
                <a:pos x="connsiteX70970" y="connsiteY70970"/>
              </a:cxn>
              <a:cxn ang="0">
                <a:pos x="connsiteX70971" y="connsiteY70971"/>
              </a:cxn>
              <a:cxn ang="0">
                <a:pos x="connsiteX70972" y="connsiteY70972"/>
              </a:cxn>
              <a:cxn ang="0">
                <a:pos x="connsiteX70973" y="connsiteY70973"/>
              </a:cxn>
              <a:cxn ang="0">
                <a:pos x="connsiteX70974" y="connsiteY70974"/>
              </a:cxn>
              <a:cxn ang="0">
                <a:pos x="connsiteX70975" y="connsiteY70975"/>
              </a:cxn>
              <a:cxn ang="0">
                <a:pos x="connsiteX70976" y="connsiteY70976"/>
              </a:cxn>
              <a:cxn ang="0">
                <a:pos x="connsiteX70977" y="connsiteY70977"/>
              </a:cxn>
              <a:cxn ang="0">
                <a:pos x="connsiteX70978" y="connsiteY70978"/>
              </a:cxn>
              <a:cxn ang="0">
                <a:pos x="connsiteX70979" y="connsiteY70979"/>
              </a:cxn>
              <a:cxn ang="0">
                <a:pos x="connsiteX70980" y="connsiteY70980"/>
              </a:cxn>
              <a:cxn ang="0">
                <a:pos x="connsiteX70981" y="connsiteY70981"/>
              </a:cxn>
              <a:cxn ang="0">
                <a:pos x="connsiteX70982" y="connsiteY70982"/>
              </a:cxn>
              <a:cxn ang="0">
                <a:pos x="connsiteX70983" y="connsiteY70983"/>
              </a:cxn>
              <a:cxn ang="0">
                <a:pos x="connsiteX70984" y="connsiteY70984"/>
              </a:cxn>
              <a:cxn ang="0">
                <a:pos x="connsiteX70985" y="connsiteY70985"/>
              </a:cxn>
              <a:cxn ang="0">
                <a:pos x="connsiteX70986" y="connsiteY70986"/>
              </a:cxn>
              <a:cxn ang="0">
                <a:pos x="connsiteX70987" y="connsiteY70987"/>
              </a:cxn>
              <a:cxn ang="0">
                <a:pos x="connsiteX70988" y="connsiteY70988"/>
              </a:cxn>
              <a:cxn ang="0">
                <a:pos x="connsiteX70989" y="connsiteY70989"/>
              </a:cxn>
              <a:cxn ang="0">
                <a:pos x="connsiteX70990" y="connsiteY70990"/>
              </a:cxn>
              <a:cxn ang="0">
                <a:pos x="connsiteX70991" y="connsiteY70991"/>
              </a:cxn>
              <a:cxn ang="0">
                <a:pos x="connsiteX70992" y="connsiteY70992"/>
              </a:cxn>
              <a:cxn ang="0">
                <a:pos x="connsiteX70993" y="connsiteY70993"/>
              </a:cxn>
              <a:cxn ang="0">
                <a:pos x="connsiteX70994" y="connsiteY70994"/>
              </a:cxn>
              <a:cxn ang="0">
                <a:pos x="connsiteX70995" y="connsiteY70995"/>
              </a:cxn>
              <a:cxn ang="0">
                <a:pos x="connsiteX70996" y="connsiteY70996"/>
              </a:cxn>
              <a:cxn ang="0">
                <a:pos x="connsiteX70997" y="connsiteY70997"/>
              </a:cxn>
              <a:cxn ang="0">
                <a:pos x="connsiteX70998" y="connsiteY70998"/>
              </a:cxn>
              <a:cxn ang="0">
                <a:pos x="connsiteX70999" y="connsiteY70999"/>
              </a:cxn>
              <a:cxn ang="0">
                <a:pos x="connsiteX71000" y="connsiteY71000"/>
              </a:cxn>
              <a:cxn ang="0">
                <a:pos x="connsiteX71001" y="connsiteY71001"/>
              </a:cxn>
              <a:cxn ang="0">
                <a:pos x="connsiteX71002" y="connsiteY71002"/>
              </a:cxn>
              <a:cxn ang="0">
                <a:pos x="connsiteX71003" y="connsiteY71003"/>
              </a:cxn>
              <a:cxn ang="0">
                <a:pos x="connsiteX71004" y="connsiteY71004"/>
              </a:cxn>
              <a:cxn ang="0">
                <a:pos x="connsiteX71005" y="connsiteY71005"/>
              </a:cxn>
              <a:cxn ang="0">
                <a:pos x="connsiteX71006" y="connsiteY71006"/>
              </a:cxn>
              <a:cxn ang="0">
                <a:pos x="connsiteX71007" y="connsiteY71007"/>
              </a:cxn>
              <a:cxn ang="0">
                <a:pos x="connsiteX71008" y="connsiteY71008"/>
              </a:cxn>
              <a:cxn ang="0">
                <a:pos x="connsiteX71009" y="connsiteY71009"/>
              </a:cxn>
              <a:cxn ang="0">
                <a:pos x="connsiteX71010" y="connsiteY71010"/>
              </a:cxn>
              <a:cxn ang="0">
                <a:pos x="connsiteX71011" y="connsiteY71011"/>
              </a:cxn>
              <a:cxn ang="0">
                <a:pos x="connsiteX71012" y="connsiteY71012"/>
              </a:cxn>
              <a:cxn ang="0">
                <a:pos x="connsiteX71013" y="connsiteY71013"/>
              </a:cxn>
              <a:cxn ang="0">
                <a:pos x="connsiteX71014" y="connsiteY71014"/>
              </a:cxn>
              <a:cxn ang="0">
                <a:pos x="connsiteX71015" y="connsiteY71015"/>
              </a:cxn>
              <a:cxn ang="0">
                <a:pos x="connsiteX71016" y="connsiteY71016"/>
              </a:cxn>
              <a:cxn ang="0">
                <a:pos x="connsiteX71017" y="connsiteY71017"/>
              </a:cxn>
              <a:cxn ang="0">
                <a:pos x="connsiteX71018" y="connsiteY71018"/>
              </a:cxn>
              <a:cxn ang="0">
                <a:pos x="connsiteX71019" y="connsiteY71019"/>
              </a:cxn>
              <a:cxn ang="0">
                <a:pos x="connsiteX71020" y="connsiteY71020"/>
              </a:cxn>
              <a:cxn ang="0">
                <a:pos x="connsiteX71021" y="connsiteY71021"/>
              </a:cxn>
              <a:cxn ang="0">
                <a:pos x="connsiteX71022" y="connsiteY71022"/>
              </a:cxn>
              <a:cxn ang="0">
                <a:pos x="connsiteX71023" y="connsiteY71023"/>
              </a:cxn>
              <a:cxn ang="0">
                <a:pos x="connsiteX71024" y="connsiteY71024"/>
              </a:cxn>
              <a:cxn ang="0">
                <a:pos x="connsiteX71025" y="connsiteY71025"/>
              </a:cxn>
              <a:cxn ang="0">
                <a:pos x="connsiteX71026" y="connsiteY71026"/>
              </a:cxn>
              <a:cxn ang="0">
                <a:pos x="connsiteX71027" y="connsiteY71027"/>
              </a:cxn>
              <a:cxn ang="0">
                <a:pos x="connsiteX71028" y="connsiteY71028"/>
              </a:cxn>
              <a:cxn ang="0">
                <a:pos x="connsiteX71029" y="connsiteY71029"/>
              </a:cxn>
              <a:cxn ang="0">
                <a:pos x="connsiteX71030" y="connsiteY71030"/>
              </a:cxn>
              <a:cxn ang="0">
                <a:pos x="connsiteX71031" y="connsiteY71031"/>
              </a:cxn>
              <a:cxn ang="0">
                <a:pos x="connsiteX71032" y="connsiteY71032"/>
              </a:cxn>
              <a:cxn ang="0">
                <a:pos x="connsiteX71033" y="connsiteY71033"/>
              </a:cxn>
              <a:cxn ang="0">
                <a:pos x="connsiteX71034" y="connsiteY71034"/>
              </a:cxn>
              <a:cxn ang="0">
                <a:pos x="connsiteX71035" y="connsiteY71035"/>
              </a:cxn>
              <a:cxn ang="0">
                <a:pos x="connsiteX71036" y="connsiteY71036"/>
              </a:cxn>
              <a:cxn ang="0">
                <a:pos x="connsiteX71037" y="connsiteY71037"/>
              </a:cxn>
              <a:cxn ang="0">
                <a:pos x="connsiteX71038" y="connsiteY71038"/>
              </a:cxn>
              <a:cxn ang="0">
                <a:pos x="connsiteX71039" y="connsiteY71039"/>
              </a:cxn>
              <a:cxn ang="0">
                <a:pos x="connsiteX71040" y="connsiteY71040"/>
              </a:cxn>
              <a:cxn ang="0">
                <a:pos x="connsiteX71041" y="connsiteY71041"/>
              </a:cxn>
              <a:cxn ang="0">
                <a:pos x="connsiteX71042" y="connsiteY71042"/>
              </a:cxn>
              <a:cxn ang="0">
                <a:pos x="connsiteX71043" y="connsiteY71043"/>
              </a:cxn>
              <a:cxn ang="0">
                <a:pos x="connsiteX71044" y="connsiteY71044"/>
              </a:cxn>
              <a:cxn ang="0">
                <a:pos x="connsiteX71045" y="connsiteY71045"/>
              </a:cxn>
              <a:cxn ang="0">
                <a:pos x="connsiteX71046" y="connsiteY71046"/>
              </a:cxn>
              <a:cxn ang="0">
                <a:pos x="connsiteX71047" y="connsiteY71047"/>
              </a:cxn>
              <a:cxn ang="0">
                <a:pos x="connsiteX71048" y="connsiteY71048"/>
              </a:cxn>
              <a:cxn ang="0">
                <a:pos x="connsiteX71049" y="connsiteY71049"/>
              </a:cxn>
              <a:cxn ang="0">
                <a:pos x="connsiteX71050" y="connsiteY71050"/>
              </a:cxn>
              <a:cxn ang="0">
                <a:pos x="connsiteX71051" y="connsiteY71051"/>
              </a:cxn>
              <a:cxn ang="0">
                <a:pos x="connsiteX71052" y="connsiteY71052"/>
              </a:cxn>
              <a:cxn ang="0">
                <a:pos x="connsiteX71053" y="connsiteY71053"/>
              </a:cxn>
              <a:cxn ang="0">
                <a:pos x="connsiteX71054" y="connsiteY71054"/>
              </a:cxn>
              <a:cxn ang="0">
                <a:pos x="connsiteX71055" y="connsiteY71055"/>
              </a:cxn>
              <a:cxn ang="0">
                <a:pos x="connsiteX71056" y="connsiteY71056"/>
              </a:cxn>
              <a:cxn ang="0">
                <a:pos x="connsiteX71057" y="connsiteY71057"/>
              </a:cxn>
              <a:cxn ang="0">
                <a:pos x="connsiteX71058" y="connsiteY71058"/>
              </a:cxn>
              <a:cxn ang="0">
                <a:pos x="connsiteX71059" y="connsiteY71059"/>
              </a:cxn>
              <a:cxn ang="0">
                <a:pos x="connsiteX71060" y="connsiteY71060"/>
              </a:cxn>
              <a:cxn ang="0">
                <a:pos x="connsiteX71061" y="connsiteY71061"/>
              </a:cxn>
              <a:cxn ang="0">
                <a:pos x="connsiteX71062" y="connsiteY71062"/>
              </a:cxn>
              <a:cxn ang="0">
                <a:pos x="connsiteX71063" y="connsiteY71063"/>
              </a:cxn>
              <a:cxn ang="0">
                <a:pos x="connsiteX71064" y="connsiteY71064"/>
              </a:cxn>
              <a:cxn ang="0">
                <a:pos x="connsiteX71065" y="connsiteY71065"/>
              </a:cxn>
              <a:cxn ang="0">
                <a:pos x="connsiteX71066" y="connsiteY71066"/>
              </a:cxn>
              <a:cxn ang="0">
                <a:pos x="connsiteX71067" y="connsiteY71067"/>
              </a:cxn>
              <a:cxn ang="0">
                <a:pos x="connsiteX71068" y="connsiteY71068"/>
              </a:cxn>
              <a:cxn ang="0">
                <a:pos x="connsiteX71069" y="connsiteY71069"/>
              </a:cxn>
              <a:cxn ang="0">
                <a:pos x="connsiteX71070" y="connsiteY71070"/>
              </a:cxn>
              <a:cxn ang="0">
                <a:pos x="connsiteX71071" y="connsiteY71071"/>
              </a:cxn>
              <a:cxn ang="0">
                <a:pos x="connsiteX71072" y="connsiteY71072"/>
              </a:cxn>
              <a:cxn ang="0">
                <a:pos x="connsiteX71073" y="connsiteY71073"/>
              </a:cxn>
              <a:cxn ang="0">
                <a:pos x="connsiteX71074" y="connsiteY71074"/>
              </a:cxn>
              <a:cxn ang="0">
                <a:pos x="connsiteX71075" y="connsiteY71075"/>
              </a:cxn>
              <a:cxn ang="0">
                <a:pos x="connsiteX71076" y="connsiteY71076"/>
              </a:cxn>
              <a:cxn ang="0">
                <a:pos x="connsiteX71077" y="connsiteY71077"/>
              </a:cxn>
              <a:cxn ang="0">
                <a:pos x="connsiteX71078" y="connsiteY71078"/>
              </a:cxn>
              <a:cxn ang="0">
                <a:pos x="connsiteX71079" y="connsiteY71079"/>
              </a:cxn>
              <a:cxn ang="0">
                <a:pos x="connsiteX71080" y="connsiteY71080"/>
              </a:cxn>
              <a:cxn ang="0">
                <a:pos x="connsiteX71081" y="connsiteY71081"/>
              </a:cxn>
              <a:cxn ang="0">
                <a:pos x="connsiteX71082" y="connsiteY71082"/>
              </a:cxn>
              <a:cxn ang="0">
                <a:pos x="connsiteX71083" y="connsiteY71083"/>
              </a:cxn>
              <a:cxn ang="0">
                <a:pos x="connsiteX71084" y="connsiteY71084"/>
              </a:cxn>
              <a:cxn ang="0">
                <a:pos x="connsiteX71085" y="connsiteY71085"/>
              </a:cxn>
              <a:cxn ang="0">
                <a:pos x="connsiteX71086" y="connsiteY71086"/>
              </a:cxn>
              <a:cxn ang="0">
                <a:pos x="connsiteX71087" y="connsiteY71087"/>
              </a:cxn>
              <a:cxn ang="0">
                <a:pos x="connsiteX71088" y="connsiteY71088"/>
              </a:cxn>
              <a:cxn ang="0">
                <a:pos x="connsiteX71089" y="connsiteY71089"/>
              </a:cxn>
              <a:cxn ang="0">
                <a:pos x="connsiteX71090" y="connsiteY71090"/>
              </a:cxn>
              <a:cxn ang="0">
                <a:pos x="connsiteX71091" y="connsiteY71091"/>
              </a:cxn>
              <a:cxn ang="0">
                <a:pos x="connsiteX71092" y="connsiteY71092"/>
              </a:cxn>
              <a:cxn ang="0">
                <a:pos x="connsiteX71093" y="connsiteY71093"/>
              </a:cxn>
              <a:cxn ang="0">
                <a:pos x="connsiteX71094" y="connsiteY71094"/>
              </a:cxn>
              <a:cxn ang="0">
                <a:pos x="connsiteX71095" y="connsiteY71095"/>
              </a:cxn>
              <a:cxn ang="0">
                <a:pos x="connsiteX71096" y="connsiteY71096"/>
              </a:cxn>
              <a:cxn ang="0">
                <a:pos x="connsiteX71097" y="connsiteY71097"/>
              </a:cxn>
              <a:cxn ang="0">
                <a:pos x="connsiteX71098" y="connsiteY71098"/>
              </a:cxn>
              <a:cxn ang="0">
                <a:pos x="connsiteX71099" y="connsiteY71099"/>
              </a:cxn>
              <a:cxn ang="0">
                <a:pos x="connsiteX71100" y="connsiteY71100"/>
              </a:cxn>
              <a:cxn ang="0">
                <a:pos x="connsiteX71101" y="connsiteY71101"/>
              </a:cxn>
              <a:cxn ang="0">
                <a:pos x="connsiteX71102" y="connsiteY71102"/>
              </a:cxn>
              <a:cxn ang="0">
                <a:pos x="connsiteX71103" y="connsiteY71103"/>
              </a:cxn>
              <a:cxn ang="0">
                <a:pos x="connsiteX71104" y="connsiteY71104"/>
              </a:cxn>
              <a:cxn ang="0">
                <a:pos x="connsiteX71105" y="connsiteY71105"/>
              </a:cxn>
              <a:cxn ang="0">
                <a:pos x="connsiteX71106" y="connsiteY71106"/>
              </a:cxn>
              <a:cxn ang="0">
                <a:pos x="connsiteX71107" y="connsiteY71107"/>
              </a:cxn>
              <a:cxn ang="0">
                <a:pos x="connsiteX71108" y="connsiteY71108"/>
              </a:cxn>
              <a:cxn ang="0">
                <a:pos x="connsiteX71109" y="connsiteY71109"/>
              </a:cxn>
              <a:cxn ang="0">
                <a:pos x="connsiteX71110" y="connsiteY71110"/>
              </a:cxn>
              <a:cxn ang="0">
                <a:pos x="connsiteX71111" y="connsiteY71111"/>
              </a:cxn>
              <a:cxn ang="0">
                <a:pos x="connsiteX71112" y="connsiteY71112"/>
              </a:cxn>
              <a:cxn ang="0">
                <a:pos x="connsiteX71113" y="connsiteY71113"/>
              </a:cxn>
              <a:cxn ang="0">
                <a:pos x="connsiteX71114" y="connsiteY71114"/>
              </a:cxn>
              <a:cxn ang="0">
                <a:pos x="connsiteX71115" y="connsiteY71115"/>
              </a:cxn>
              <a:cxn ang="0">
                <a:pos x="connsiteX71116" y="connsiteY71116"/>
              </a:cxn>
              <a:cxn ang="0">
                <a:pos x="connsiteX71117" y="connsiteY71117"/>
              </a:cxn>
              <a:cxn ang="0">
                <a:pos x="connsiteX71118" y="connsiteY71118"/>
              </a:cxn>
              <a:cxn ang="0">
                <a:pos x="connsiteX71119" y="connsiteY71119"/>
              </a:cxn>
              <a:cxn ang="0">
                <a:pos x="connsiteX71120" y="connsiteY71120"/>
              </a:cxn>
              <a:cxn ang="0">
                <a:pos x="connsiteX71121" y="connsiteY71121"/>
              </a:cxn>
              <a:cxn ang="0">
                <a:pos x="connsiteX71122" y="connsiteY71122"/>
              </a:cxn>
              <a:cxn ang="0">
                <a:pos x="connsiteX71123" y="connsiteY71123"/>
              </a:cxn>
              <a:cxn ang="0">
                <a:pos x="connsiteX71124" y="connsiteY71124"/>
              </a:cxn>
              <a:cxn ang="0">
                <a:pos x="connsiteX71125" y="connsiteY71125"/>
              </a:cxn>
              <a:cxn ang="0">
                <a:pos x="connsiteX71126" y="connsiteY71126"/>
              </a:cxn>
              <a:cxn ang="0">
                <a:pos x="connsiteX71127" y="connsiteY71127"/>
              </a:cxn>
              <a:cxn ang="0">
                <a:pos x="connsiteX71128" y="connsiteY71128"/>
              </a:cxn>
              <a:cxn ang="0">
                <a:pos x="connsiteX71129" y="connsiteY71129"/>
              </a:cxn>
              <a:cxn ang="0">
                <a:pos x="connsiteX71130" y="connsiteY71130"/>
              </a:cxn>
              <a:cxn ang="0">
                <a:pos x="connsiteX71131" y="connsiteY71131"/>
              </a:cxn>
              <a:cxn ang="0">
                <a:pos x="connsiteX71132" y="connsiteY71132"/>
              </a:cxn>
              <a:cxn ang="0">
                <a:pos x="connsiteX71133" y="connsiteY71133"/>
              </a:cxn>
              <a:cxn ang="0">
                <a:pos x="connsiteX71134" y="connsiteY71134"/>
              </a:cxn>
              <a:cxn ang="0">
                <a:pos x="connsiteX71135" y="connsiteY71135"/>
              </a:cxn>
              <a:cxn ang="0">
                <a:pos x="connsiteX71136" y="connsiteY71136"/>
              </a:cxn>
              <a:cxn ang="0">
                <a:pos x="connsiteX71137" y="connsiteY71137"/>
              </a:cxn>
              <a:cxn ang="0">
                <a:pos x="connsiteX71138" y="connsiteY71138"/>
              </a:cxn>
              <a:cxn ang="0">
                <a:pos x="connsiteX71139" y="connsiteY71139"/>
              </a:cxn>
              <a:cxn ang="0">
                <a:pos x="connsiteX71140" y="connsiteY71140"/>
              </a:cxn>
              <a:cxn ang="0">
                <a:pos x="connsiteX71141" y="connsiteY71141"/>
              </a:cxn>
              <a:cxn ang="0">
                <a:pos x="connsiteX71142" y="connsiteY71142"/>
              </a:cxn>
              <a:cxn ang="0">
                <a:pos x="connsiteX71143" y="connsiteY71143"/>
              </a:cxn>
              <a:cxn ang="0">
                <a:pos x="connsiteX71144" y="connsiteY71144"/>
              </a:cxn>
              <a:cxn ang="0">
                <a:pos x="connsiteX71145" y="connsiteY71145"/>
              </a:cxn>
              <a:cxn ang="0">
                <a:pos x="connsiteX71146" y="connsiteY71146"/>
              </a:cxn>
              <a:cxn ang="0">
                <a:pos x="connsiteX71147" y="connsiteY71147"/>
              </a:cxn>
              <a:cxn ang="0">
                <a:pos x="connsiteX71148" y="connsiteY71148"/>
              </a:cxn>
              <a:cxn ang="0">
                <a:pos x="connsiteX71149" y="connsiteY71149"/>
              </a:cxn>
              <a:cxn ang="0">
                <a:pos x="connsiteX71150" y="connsiteY71150"/>
              </a:cxn>
              <a:cxn ang="0">
                <a:pos x="connsiteX71151" y="connsiteY71151"/>
              </a:cxn>
              <a:cxn ang="0">
                <a:pos x="connsiteX71152" y="connsiteY71152"/>
              </a:cxn>
              <a:cxn ang="0">
                <a:pos x="connsiteX71153" y="connsiteY71153"/>
              </a:cxn>
              <a:cxn ang="0">
                <a:pos x="connsiteX71154" y="connsiteY71154"/>
              </a:cxn>
              <a:cxn ang="0">
                <a:pos x="connsiteX71155" y="connsiteY71155"/>
              </a:cxn>
              <a:cxn ang="0">
                <a:pos x="connsiteX71156" y="connsiteY71156"/>
              </a:cxn>
              <a:cxn ang="0">
                <a:pos x="connsiteX71157" y="connsiteY71157"/>
              </a:cxn>
              <a:cxn ang="0">
                <a:pos x="connsiteX71158" y="connsiteY71158"/>
              </a:cxn>
              <a:cxn ang="0">
                <a:pos x="connsiteX71159" y="connsiteY71159"/>
              </a:cxn>
              <a:cxn ang="0">
                <a:pos x="connsiteX71160" y="connsiteY71160"/>
              </a:cxn>
              <a:cxn ang="0">
                <a:pos x="connsiteX71161" y="connsiteY71161"/>
              </a:cxn>
              <a:cxn ang="0">
                <a:pos x="connsiteX71162" y="connsiteY71162"/>
              </a:cxn>
              <a:cxn ang="0">
                <a:pos x="connsiteX71163" y="connsiteY71163"/>
              </a:cxn>
              <a:cxn ang="0">
                <a:pos x="connsiteX71164" y="connsiteY71164"/>
              </a:cxn>
              <a:cxn ang="0">
                <a:pos x="connsiteX71165" y="connsiteY71165"/>
              </a:cxn>
              <a:cxn ang="0">
                <a:pos x="connsiteX71166" y="connsiteY71166"/>
              </a:cxn>
              <a:cxn ang="0">
                <a:pos x="connsiteX71167" y="connsiteY71167"/>
              </a:cxn>
              <a:cxn ang="0">
                <a:pos x="connsiteX71168" y="connsiteY71168"/>
              </a:cxn>
              <a:cxn ang="0">
                <a:pos x="connsiteX71169" y="connsiteY71169"/>
              </a:cxn>
              <a:cxn ang="0">
                <a:pos x="connsiteX71170" y="connsiteY71170"/>
              </a:cxn>
              <a:cxn ang="0">
                <a:pos x="connsiteX71171" y="connsiteY71171"/>
              </a:cxn>
              <a:cxn ang="0">
                <a:pos x="connsiteX71172" y="connsiteY71172"/>
              </a:cxn>
              <a:cxn ang="0">
                <a:pos x="connsiteX71173" y="connsiteY71173"/>
              </a:cxn>
              <a:cxn ang="0">
                <a:pos x="connsiteX71174" y="connsiteY71174"/>
              </a:cxn>
              <a:cxn ang="0">
                <a:pos x="connsiteX71175" y="connsiteY71175"/>
              </a:cxn>
              <a:cxn ang="0">
                <a:pos x="connsiteX71176" y="connsiteY71176"/>
              </a:cxn>
              <a:cxn ang="0">
                <a:pos x="connsiteX71177" y="connsiteY71177"/>
              </a:cxn>
              <a:cxn ang="0">
                <a:pos x="connsiteX71178" y="connsiteY71178"/>
              </a:cxn>
              <a:cxn ang="0">
                <a:pos x="connsiteX71179" y="connsiteY71179"/>
              </a:cxn>
              <a:cxn ang="0">
                <a:pos x="connsiteX71180" y="connsiteY71180"/>
              </a:cxn>
              <a:cxn ang="0">
                <a:pos x="connsiteX71181" y="connsiteY71181"/>
              </a:cxn>
              <a:cxn ang="0">
                <a:pos x="connsiteX71182" y="connsiteY71182"/>
              </a:cxn>
              <a:cxn ang="0">
                <a:pos x="connsiteX71183" y="connsiteY71183"/>
              </a:cxn>
              <a:cxn ang="0">
                <a:pos x="connsiteX71184" y="connsiteY71184"/>
              </a:cxn>
              <a:cxn ang="0">
                <a:pos x="connsiteX71185" y="connsiteY71185"/>
              </a:cxn>
              <a:cxn ang="0">
                <a:pos x="connsiteX71186" y="connsiteY71186"/>
              </a:cxn>
              <a:cxn ang="0">
                <a:pos x="connsiteX71187" y="connsiteY71187"/>
              </a:cxn>
              <a:cxn ang="0">
                <a:pos x="connsiteX71188" y="connsiteY71188"/>
              </a:cxn>
              <a:cxn ang="0">
                <a:pos x="connsiteX71189" y="connsiteY71189"/>
              </a:cxn>
              <a:cxn ang="0">
                <a:pos x="connsiteX71190" y="connsiteY71190"/>
              </a:cxn>
              <a:cxn ang="0">
                <a:pos x="connsiteX71191" y="connsiteY71191"/>
              </a:cxn>
              <a:cxn ang="0">
                <a:pos x="connsiteX71192" y="connsiteY71192"/>
              </a:cxn>
              <a:cxn ang="0">
                <a:pos x="connsiteX71193" y="connsiteY71193"/>
              </a:cxn>
              <a:cxn ang="0">
                <a:pos x="connsiteX71194" y="connsiteY71194"/>
              </a:cxn>
              <a:cxn ang="0">
                <a:pos x="connsiteX71195" y="connsiteY71195"/>
              </a:cxn>
              <a:cxn ang="0">
                <a:pos x="connsiteX71196" y="connsiteY71196"/>
              </a:cxn>
              <a:cxn ang="0">
                <a:pos x="connsiteX71197" y="connsiteY71197"/>
              </a:cxn>
              <a:cxn ang="0">
                <a:pos x="connsiteX71198" y="connsiteY71198"/>
              </a:cxn>
              <a:cxn ang="0">
                <a:pos x="connsiteX71199" y="connsiteY71199"/>
              </a:cxn>
              <a:cxn ang="0">
                <a:pos x="connsiteX71200" y="connsiteY71200"/>
              </a:cxn>
              <a:cxn ang="0">
                <a:pos x="connsiteX71201" y="connsiteY71201"/>
              </a:cxn>
              <a:cxn ang="0">
                <a:pos x="connsiteX71202" y="connsiteY71202"/>
              </a:cxn>
              <a:cxn ang="0">
                <a:pos x="connsiteX71203" y="connsiteY71203"/>
              </a:cxn>
              <a:cxn ang="0">
                <a:pos x="connsiteX71204" y="connsiteY71204"/>
              </a:cxn>
              <a:cxn ang="0">
                <a:pos x="connsiteX71205" y="connsiteY71205"/>
              </a:cxn>
              <a:cxn ang="0">
                <a:pos x="connsiteX71206" y="connsiteY71206"/>
              </a:cxn>
              <a:cxn ang="0">
                <a:pos x="connsiteX71207" y="connsiteY71207"/>
              </a:cxn>
              <a:cxn ang="0">
                <a:pos x="connsiteX71208" y="connsiteY71208"/>
              </a:cxn>
              <a:cxn ang="0">
                <a:pos x="connsiteX71209" y="connsiteY71209"/>
              </a:cxn>
              <a:cxn ang="0">
                <a:pos x="connsiteX71210" y="connsiteY71210"/>
              </a:cxn>
              <a:cxn ang="0">
                <a:pos x="connsiteX71211" y="connsiteY71211"/>
              </a:cxn>
              <a:cxn ang="0">
                <a:pos x="connsiteX71212" y="connsiteY71212"/>
              </a:cxn>
              <a:cxn ang="0">
                <a:pos x="connsiteX71213" y="connsiteY71213"/>
              </a:cxn>
              <a:cxn ang="0">
                <a:pos x="connsiteX71214" y="connsiteY71214"/>
              </a:cxn>
              <a:cxn ang="0">
                <a:pos x="connsiteX71215" y="connsiteY71215"/>
              </a:cxn>
              <a:cxn ang="0">
                <a:pos x="connsiteX71216" y="connsiteY71216"/>
              </a:cxn>
              <a:cxn ang="0">
                <a:pos x="connsiteX71217" y="connsiteY71217"/>
              </a:cxn>
              <a:cxn ang="0">
                <a:pos x="connsiteX71218" y="connsiteY71218"/>
              </a:cxn>
              <a:cxn ang="0">
                <a:pos x="connsiteX71219" y="connsiteY71219"/>
              </a:cxn>
              <a:cxn ang="0">
                <a:pos x="connsiteX71220" y="connsiteY71220"/>
              </a:cxn>
              <a:cxn ang="0">
                <a:pos x="connsiteX71221" y="connsiteY71221"/>
              </a:cxn>
              <a:cxn ang="0">
                <a:pos x="connsiteX71222" y="connsiteY71222"/>
              </a:cxn>
              <a:cxn ang="0">
                <a:pos x="connsiteX71223" y="connsiteY71223"/>
              </a:cxn>
              <a:cxn ang="0">
                <a:pos x="connsiteX71224" y="connsiteY71224"/>
              </a:cxn>
              <a:cxn ang="0">
                <a:pos x="connsiteX71225" y="connsiteY71225"/>
              </a:cxn>
              <a:cxn ang="0">
                <a:pos x="connsiteX71226" y="connsiteY71226"/>
              </a:cxn>
              <a:cxn ang="0">
                <a:pos x="connsiteX71227" y="connsiteY71227"/>
              </a:cxn>
              <a:cxn ang="0">
                <a:pos x="connsiteX71228" y="connsiteY71228"/>
              </a:cxn>
              <a:cxn ang="0">
                <a:pos x="connsiteX71229" y="connsiteY71229"/>
              </a:cxn>
              <a:cxn ang="0">
                <a:pos x="connsiteX71230" y="connsiteY71230"/>
              </a:cxn>
              <a:cxn ang="0">
                <a:pos x="connsiteX71231" y="connsiteY71231"/>
              </a:cxn>
              <a:cxn ang="0">
                <a:pos x="connsiteX71232" y="connsiteY71232"/>
              </a:cxn>
              <a:cxn ang="0">
                <a:pos x="connsiteX71233" y="connsiteY71233"/>
              </a:cxn>
              <a:cxn ang="0">
                <a:pos x="connsiteX71234" y="connsiteY71234"/>
              </a:cxn>
              <a:cxn ang="0">
                <a:pos x="connsiteX71235" y="connsiteY71235"/>
              </a:cxn>
              <a:cxn ang="0">
                <a:pos x="connsiteX71236" y="connsiteY71236"/>
              </a:cxn>
              <a:cxn ang="0">
                <a:pos x="connsiteX71237" y="connsiteY71237"/>
              </a:cxn>
              <a:cxn ang="0">
                <a:pos x="connsiteX71238" y="connsiteY71238"/>
              </a:cxn>
              <a:cxn ang="0">
                <a:pos x="connsiteX71239" y="connsiteY71239"/>
              </a:cxn>
              <a:cxn ang="0">
                <a:pos x="connsiteX71240" y="connsiteY71240"/>
              </a:cxn>
              <a:cxn ang="0">
                <a:pos x="connsiteX71241" y="connsiteY71241"/>
              </a:cxn>
              <a:cxn ang="0">
                <a:pos x="connsiteX71242" y="connsiteY71242"/>
              </a:cxn>
              <a:cxn ang="0">
                <a:pos x="connsiteX71243" y="connsiteY71243"/>
              </a:cxn>
              <a:cxn ang="0">
                <a:pos x="connsiteX71244" y="connsiteY71244"/>
              </a:cxn>
              <a:cxn ang="0">
                <a:pos x="connsiteX71245" y="connsiteY71245"/>
              </a:cxn>
              <a:cxn ang="0">
                <a:pos x="connsiteX71246" y="connsiteY71246"/>
              </a:cxn>
              <a:cxn ang="0">
                <a:pos x="connsiteX71247" y="connsiteY71247"/>
              </a:cxn>
              <a:cxn ang="0">
                <a:pos x="connsiteX71248" y="connsiteY71248"/>
              </a:cxn>
              <a:cxn ang="0">
                <a:pos x="connsiteX71249" y="connsiteY71249"/>
              </a:cxn>
              <a:cxn ang="0">
                <a:pos x="connsiteX71250" y="connsiteY71250"/>
              </a:cxn>
              <a:cxn ang="0">
                <a:pos x="connsiteX71251" y="connsiteY71251"/>
              </a:cxn>
              <a:cxn ang="0">
                <a:pos x="connsiteX71252" y="connsiteY71252"/>
              </a:cxn>
              <a:cxn ang="0">
                <a:pos x="connsiteX71253" y="connsiteY71253"/>
              </a:cxn>
              <a:cxn ang="0">
                <a:pos x="connsiteX71254" y="connsiteY71254"/>
              </a:cxn>
              <a:cxn ang="0">
                <a:pos x="connsiteX71255" y="connsiteY71255"/>
              </a:cxn>
              <a:cxn ang="0">
                <a:pos x="connsiteX71256" y="connsiteY71256"/>
              </a:cxn>
              <a:cxn ang="0">
                <a:pos x="connsiteX71257" y="connsiteY71257"/>
              </a:cxn>
              <a:cxn ang="0">
                <a:pos x="connsiteX71258" y="connsiteY71258"/>
              </a:cxn>
              <a:cxn ang="0">
                <a:pos x="connsiteX71259" y="connsiteY71259"/>
              </a:cxn>
              <a:cxn ang="0">
                <a:pos x="connsiteX71260" y="connsiteY71260"/>
              </a:cxn>
              <a:cxn ang="0">
                <a:pos x="connsiteX71261" y="connsiteY71261"/>
              </a:cxn>
              <a:cxn ang="0">
                <a:pos x="connsiteX71262" y="connsiteY71262"/>
              </a:cxn>
              <a:cxn ang="0">
                <a:pos x="connsiteX71263" y="connsiteY71263"/>
              </a:cxn>
              <a:cxn ang="0">
                <a:pos x="connsiteX71264" y="connsiteY71264"/>
              </a:cxn>
              <a:cxn ang="0">
                <a:pos x="connsiteX71265" y="connsiteY71265"/>
              </a:cxn>
              <a:cxn ang="0">
                <a:pos x="connsiteX71266" y="connsiteY71266"/>
              </a:cxn>
              <a:cxn ang="0">
                <a:pos x="connsiteX71267" y="connsiteY71267"/>
              </a:cxn>
              <a:cxn ang="0">
                <a:pos x="connsiteX71268" y="connsiteY71268"/>
              </a:cxn>
              <a:cxn ang="0">
                <a:pos x="connsiteX71269" y="connsiteY71269"/>
              </a:cxn>
              <a:cxn ang="0">
                <a:pos x="connsiteX71270" y="connsiteY71270"/>
              </a:cxn>
              <a:cxn ang="0">
                <a:pos x="connsiteX71271" y="connsiteY71271"/>
              </a:cxn>
              <a:cxn ang="0">
                <a:pos x="connsiteX71272" y="connsiteY71272"/>
              </a:cxn>
              <a:cxn ang="0">
                <a:pos x="connsiteX71273" y="connsiteY71273"/>
              </a:cxn>
              <a:cxn ang="0">
                <a:pos x="connsiteX71274" y="connsiteY71274"/>
              </a:cxn>
              <a:cxn ang="0">
                <a:pos x="connsiteX71275" y="connsiteY71275"/>
              </a:cxn>
              <a:cxn ang="0">
                <a:pos x="connsiteX71276" y="connsiteY71276"/>
              </a:cxn>
              <a:cxn ang="0">
                <a:pos x="connsiteX71277" y="connsiteY71277"/>
              </a:cxn>
              <a:cxn ang="0">
                <a:pos x="connsiteX71278" y="connsiteY71278"/>
              </a:cxn>
              <a:cxn ang="0">
                <a:pos x="connsiteX71279" y="connsiteY71279"/>
              </a:cxn>
              <a:cxn ang="0">
                <a:pos x="connsiteX71280" y="connsiteY71280"/>
              </a:cxn>
              <a:cxn ang="0">
                <a:pos x="connsiteX71281" y="connsiteY71281"/>
              </a:cxn>
              <a:cxn ang="0">
                <a:pos x="connsiteX71282" y="connsiteY71282"/>
              </a:cxn>
              <a:cxn ang="0">
                <a:pos x="connsiteX71283" y="connsiteY71283"/>
              </a:cxn>
              <a:cxn ang="0">
                <a:pos x="connsiteX71284" y="connsiteY71284"/>
              </a:cxn>
              <a:cxn ang="0">
                <a:pos x="connsiteX71285" y="connsiteY71285"/>
              </a:cxn>
              <a:cxn ang="0">
                <a:pos x="connsiteX71286" y="connsiteY71286"/>
              </a:cxn>
              <a:cxn ang="0">
                <a:pos x="connsiteX71287" y="connsiteY71287"/>
              </a:cxn>
              <a:cxn ang="0">
                <a:pos x="connsiteX71288" y="connsiteY71288"/>
              </a:cxn>
              <a:cxn ang="0">
                <a:pos x="connsiteX71289" y="connsiteY71289"/>
              </a:cxn>
              <a:cxn ang="0">
                <a:pos x="connsiteX71290" y="connsiteY71290"/>
              </a:cxn>
              <a:cxn ang="0">
                <a:pos x="connsiteX71291" y="connsiteY71291"/>
              </a:cxn>
              <a:cxn ang="0">
                <a:pos x="connsiteX71292" y="connsiteY71292"/>
              </a:cxn>
              <a:cxn ang="0">
                <a:pos x="connsiteX71293" y="connsiteY71293"/>
              </a:cxn>
              <a:cxn ang="0">
                <a:pos x="connsiteX71294" y="connsiteY71294"/>
              </a:cxn>
              <a:cxn ang="0">
                <a:pos x="connsiteX71295" y="connsiteY71295"/>
              </a:cxn>
              <a:cxn ang="0">
                <a:pos x="connsiteX71296" y="connsiteY71296"/>
              </a:cxn>
              <a:cxn ang="0">
                <a:pos x="connsiteX71297" y="connsiteY71297"/>
              </a:cxn>
              <a:cxn ang="0">
                <a:pos x="connsiteX71298" y="connsiteY71298"/>
              </a:cxn>
              <a:cxn ang="0">
                <a:pos x="connsiteX71299" y="connsiteY71299"/>
              </a:cxn>
              <a:cxn ang="0">
                <a:pos x="connsiteX71300" y="connsiteY71300"/>
              </a:cxn>
              <a:cxn ang="0">
                <a:pos x="connsiteX71301" y="connsiteY71301"/>
              </a:cxn>
              <a:cxn ang="0">
                <a:pos x="connsiteX71302" y="connsiteY71302"/>
              </a:cxn>
              <a:cxn ang="0">
                <a:pos x="connsiteX71303" y="connsiteY71303"/>
              </a:cxn>
              <a:cxn ang="0">
                <a:pos x="connsiteX71304" y="connsiteY71304"/>
              </a:cxn>
              <a:cxn ang="0">
                <a:pos x="connsiteX71305" y="connsiteY71305"/>
              </a:cxn>
              <a:cxn ang="0">
                <a:pos x="connsiteX71306" y="connsiteY71306"/>
              </a:cxn>
              <a:cxn ang="0">
                <a:pos x="connsiteX71307" y="connsiteY71307"/>
              </a:cxn>
              <a:cxn ang="0">
                <a:pos x="connsiteX71308" y="connsiteY71308"/>
              </a:cxn>
              <a:cxn ang="0">
                <a:pos x="connsiteX71309" y="connsiteY71309"/>
              </a:cxn>
              <a:cxn ang="0">
                <a:pos x="connsiteX71310" y="connsiteY71310"/>
              </a:cxn>
              <a:cxn ang="0">
                <a:pos x="connsiteX71311" y="connsiteY71311"/>
              </a:cxn>
              <a:cxn ang="0">
                <a:pos x="connsiteX71312" y="connsiteY71312"/>
              </a:cxn>
              <a:cxn ang="0">
                <a:pos x="connsiteX71313" y="connsiteY71313"/>
              </a:cxn>
              <a:cxn ang="0">
                <a:pos x="connsiteX71314" y="connsiteY71314"/>
              </a:cxn>
              <a:cxn ang="0">
                <a:pos x="connsiteX71315" y="connsiteY71315"/>
              </a:cxn>
              <a:cxn ang="0">
                <a:pos x="connsiteX71316" y="connsiteY71316"/>
              </a:cxn>
              <a:cxn ang="0">
                <a:pos x="connsiteX71317" y="connsiteY71317"/>
              </a:cxn>
              <a:cxn ang="0">
                <a:pos x="connsiteX71318" y="connsiteY71318"/>
              </a:cxn>
              <a:cxn ang="0">
                <a:pos x="connsiteX71319" y="connsiteY71319"/>
              </a:cxn>
              <a:cxn ang="0">
                <a:pos x="connsiteX71320" y="connsiteY71320"/>
              </a:cxn>
              <a:cxn ang="0">
                <a:pos x="connsiteX71321" y="connsiteY71321"/>
              </a:cxn>
              <a:cxn ang="0">
                <a:pos x="connsiteX71322" y="connsiteY71322"/>
              </a:cxn>
              <a:cxn ang="0">
                <a:pos x="connsiteX71323" y="connsiteY71323"/>
              </a:cxn>
              <a:cxn ang="0">
                <a:pos x="connsiteX71324" y="connsiteY71324"/>
              </a:cxn>
              <a:cxn ang="0">
                <a:pos x="connsiteX71325" y="connsiteY71325"/>
              </a:cxn>
              <a:cxn ang="0">
                <a:pos x="connsiteX71326" y="connsiteY71326"/>
              </a:cxn>
              <a:cxn ang="0">
                <a:pos x="connsiteX71327" y="connsiteY71327"/>
              </a:cxn>
              <a:cxn ang="0">
                <a:pos x="connsiteX71328" y="connsiteY71328"/>
              </a:cxn>
              <a:cxn ang="0">
                <a:pos x="connsiteX71329" y="connsiteY71329"/>
              </a:cxn>
              <a:cxn ang="0">
                <a:pos x="connsiteX71330" y="connsiteY71330"/>
              </a:cxn>
              <a:cxn ang="0">
                <a:pos x="connsiteX71331" y="connsiteY71331"/>
              </a:cxn>
              <a:cxn ang="0">
                <a:pos x="connsiteX71332" y="connsiteY71332"/>
              </a:cxn>
              <a:cxn ang="0">
                <a:pos x="connsiteX71333" y="connsiteY71333"/>
              </a:cxn>
              <a:cxn ang="0">
                <a:pos x="connsiteX71334" y="connsiteY71334"/>
              </a:cxn>
              <a:cxn ang="0">
                <a:pos x="connsiteX71335" y="connsiteY71335"/>
              </a:cxn>
              <a:cxn ang="0">
                <a:pos x="connsiteX71336" y="connsiteY71336"/>
              </a:cxn>
              <a:cxn ang="0">
                <a:pos x="connsiteX71337" y="connsiteY71337"/>
              </a:cxn>
              <a:cxn ang="0">
                <a:pos x="connsiteX71338" y="connsiteY71338"/>
              </a:cxn>
              <a:cxn ang="0">
                <a:pos x="connsiteX71339" y="connsiteY71339"/>
              </a:cxn>
              <a:cxn ang="0">
                <a:pos x="connsiteX71340" y="connsiteY71340"/>
              </a:cxn>
              <a:cxn ang="0">
                <a:pos x="connsiteX71341" y="connsiteY71341"/>
              </a:cxn>
              <a:cxn ang="0">
                <a:pos x="connsiteX71342" y="connsiteY71342"/>
              </a:cxn>
              <a:cxn ang="0">
                <a:pos x="connsiteX71343" y="connsiteY71343"/>
              </a:cxn>
              <a:cxn ang="0">
                <a:pos x="connsiteX71344" y="connsiteY71344"/>
              </a:cxn>
              <a:cxn ang="0">
                <a:pos x="connsiteX71345" y="connsiteY71345"/>
              </a:cxn>
              <a:cxn ang="0">
                <a:pos x="connsiteX71346" y="connsiteY71346"/>
              </a:cxn>
              <a:cxn ang="0">
                <a:pos x="connsiteX71347" y="connsiteY71347"/>
              </a:cxn>
              <a:cxn ang="0">
                <a:pos x="connsiteX71348" y="connsiteY71348"/>
              </a:cxn>
              <a:cxn ang="0">
                <a:pos x="connsiteX71349" y="connsiteY71349"/>
              </a:cxn>
              <a:cxn ang="0">
                <a:pos x="connsiteX71350" y="connsiteY71350"/>
              </a:cxn>
              <a:cxn ang="0">
                <a:pos x="connsiteX71351" y="connsiteY71351"/>
              </a:cxn>
              <a:cxn ang="0">
                <a:pos x="connsiteX71352" y="connsiteY71352"/>
              </a:cxn>
              <a:cxn ang="0">
                <a:pos x="connsiteX71353" y="connsiteY71353"/>
              </a:cxn>
              <a:cxn ang="0">
                <a:pos x="connsiteX71354" y="connsiteY71354"/>
              </a:cxn>
              <a:cxn ang="0">
                <a:pos x="connsiteX71355" y="connsiteY71355"/>
              </a:cxn>
              <a:cxn ang="0">
                <a:pos x="connsiteX71356" y="connsiteY71356"/>
              </a:cxn>
              <a:cxn ang="0">
                <a:pos x="connsiteX71357" y="connsiteY71357"/>
              </a:cxn>
              <a:cxn ang="0">
                <a:pos x="connsiteX71358" y="connsiteY71358"/>
              </a:cxn>
              <a:cxn ang="0">
                <a:pos x="connsiteX71359" y="connsiteY71359"/>
              </a:cxn>
              <a:cxn ang="0">
                <a:pos x="connsiteX71360" y="connsiteY71360"/>
              </a:cxn>
              <a:cxn ang="0">
                <a:pos x="connsiteX71361" y="connsiteY71361"/>
              </a:cxn>
              <a:cxn ang="0">
                <a:pos x="connsiteX71362" y="connsiteY71362"/>
              </a:cxn>
              <a:cxn ang="0">
                <a:pos x="connsiteX71363" y="connsiteY71363"/>
              </a:cxn>
              <a:cxn ang="0">
                <a:pos x="connsiteX71364" y="connsiteY71364"/>
              </a:cxn>
              <a:cxn ang="0">
                <a:pos x="connsiteX71365" y="connsiteY71365"/>
              </a:cxn>
              <a:cxn ang="0">
                <a:pos x="connsiteX71366" y="connsiteY71366"/>
              </a:cxn>
              <a:cxn ang="0">
                <a:pos x="connsiteX71367" y="connsiteY71367"/>
              </a:cxn>
              <a:cxn ang="0">
                <a:pos x="connsiteX71368" y="connsiteY71368"/>
              </a:cxn>
              <a:cxn ang="0">
                <a:pos x="connsiteX71369" y="connsiteY71369"/>
              </a:cxn>
              <a:cxn ang="0">
                <a:pos x="connsiteX71370" y="connsiteY71370"/>
              </a:cxn>
              <a:cxn ang="0">
                <a:pos x="connsiteX71371" y="connsiteY71371"/>
              </a:cxn>
              <a:cxn ang="0">
                <a:pos x="connsiteX71372" y="connsiteY71372"/>
              </a:cxn>
              <a:cxn ang="0">
                <a:pos x="connsiteX71373" y="connsiteY71373"/>
              </a:cxn>
              <a:cxn ang="0">
                <a:pos x="connsiteX71374" y="connsiteY71374"/>
              </a:cxn>
              <a:cxn ang="0">
                <a:pos x="connsiteX71375" y="connsiteY71375"/>
              </a:cxn>
              <a:cxn ang="0">
                <a:pos x="connsiteX71376" y="connsiteY71376"/>
              </a:cxn>
              <a:cxn ang="0">
                <a:pos x="connsiteX71377" y="connsiteY71377"/>
              </a:cxn>
              <a:cxn ang="0">
                <a:pos x="connsiteX71378" y="connsiteY71378"/>
              </a:cxn>
              <a:cxn ang="0">
                <a:pos x="connsiteX71379" y="connsiteY71379"/>
              </a:cxn>
              <a:cxn ang="0">
                <a:pos x="connsiteX71380" y="connsiteY71380"/>
              </a:cxn>
              <a:cxn ang="0">
                <a:pos x="connsiteX71381" y="connsiteY71381"/>
              </a:cxn>
              <a:cxn ang="0">
                <a:pos x="connsiteX71382" y="connsiteY71382"/>
              </a:cxn>
              <a:cxn ang="0">
                <a:pos x="connsiteX71383" y="connsiteY71383"/>
              </a:cxn>
              <a:cxn ang="0">
                <a:pos x="connsiteX71384" y="connsiteY71384"/>
              </a:cxn>
              <a:cxn ang="0">
                <a:pos x="connsiteX71385" y="connsiteY71385"/>
              </a:cxn>
              <a:cxn ang="0">
                <a:pos x="connsiteX71386" y="connsiteY71386"/>
              </a:cxn>
              <a:cxn ang="0">
                <a:pos x="connsiteX71387" y="connsiteY71387"/>
              </a:cxn>
              <a:cxn ang="0">
                <a:pos x="connsiteX71388" y="connsiteY71388"/>
              </a:cxn>
              <a:cxn ang="0">
                <a:pos x="connsiteX71389" y="connsiteY71389"/>
              </a:cxn>
              <a:cxn ang="0">
                <a:pos x="connsiteX71390" y="connsiteY71390"/>
              </a:cxn>
              <a:cxn ang="0">
                <a:pos x="connsiteX71391" y="connsiteY71391"/>
              </a:cxn>
              <a:cxn ang="0">
                <a:pos x="connsiteX71392" y="connsiteY71392"/>
              </a:cxn>
              <a:cxn ang="0">
                <a:pos x="connsiteX71393" y="connsiteY71393"/>
              </a:cxn>
              <a:cxn ang="0">
                <a:pos x="connsiteX71394" y="connsiteY71394"/>
              </a:cxn>
              <a:cxn ang="0">
                <a:pos x="connsiteX71395" y="connsiteY71395"/>
              </a:cxn>
              <a:cxn ang="0">
                <a:pos x="connsiteX71396" y="connsiteY71396"/>
              </a:cxn>
              <a:cxn ang="0">
                <a:pos x="connsiteX71397" y="connsiteY71397"/>
              </a:cxn>
              <a:cxn ang="0">
                <a:pos x="connsiteX71398" y="connsiteY71398"/>
              </a:cxn>
              <a:cxn ang="0">
                <a:pos x="connsiteX71399" y="connsiteY71399"/>
              </a:cxn>
              <a:cxn ang="0">
                <a:pos x="connsiteX71400" y="connsiteY71400"/>
              </a:cxn>
              <a:cxn ang="0">
                <a:pos x="connsiteX71401" y="connsiteY71401"/>
              </a:cxn>
              <a:cxn ang="0">
                <a:pos x="connsiteX71402" y="connsiteY71402"/>
              </a:cxn>
              <a:cxn ang="0">
                <a:pos x="connsiteX71403" y="connsiteY71403"/>
              </a:cxn>
              <a:cxn ang="0">
                <a:pos x="connsiteX71404" y="connsiteY71404"/>
              </a:cxn>
              <a:cxn ang="0">
                <a:pos x="connsiteX71405" y="connsiteY71405"/>
              </a:cxn>
              <a:cxn ang="0">
                <a:pos x="connsiteX71406" y="connsiteY71406"/>
              </a:cxn>
              <a:cxn ang="0">
                <a:pos x="connsiteX71407" y="connsiteY71407"/>
              </a:cxn>
              <a:cxn ang="0">
                <a:pos x="connsiteX71408" y="connsiteY71408"/>
              </a:cxn>
              <a:cxn ang="0">
                <a:pos x="connsiteX71409" y="connsiteY71409"/>
              </a:cxn>
              <a:cxn ang="0">
                <a:pos x="connsiteX71410" y="connsiteY71410"/>
              </a:cxn>
              <a:cxn ang="0">
                <a:pos x="connsiteX71411" y="connsiteY71411"/>
              </a:cxn>
              <a:cxn ang="0">
                <a:pos x="connsiteX71412" y="connsiteY71412"/>
              </a:cxn>
              <a:cxn ang="0">
                <a:pos x="connsiteX71413" y="connsiteY71413"/>
              </a:cxn>
              <a:cxn ang="0">
                <a:pos x="connsiteX71414" y="connsiteY71414"/>
              </a:cxn>
              <a:cxn ang="0">
                <a:pos x="connsiteX71415" y="connsiteY71415"/>
              </a:cxn>
              <a:cxn ang="0">
                <a:pos x="connsiteX71416" y="connsiteY71416"/>
              </a:cxn>
              <a:cxn ang="0">
                <a:pos x="connsiteX71417" y="connsiteY71417"/>
              </a:cxn>
              <a:cxn ang="0">
                <a:pos x="connsiteX71418" y="connsiteY71418"/>
              </a:cxn>
              <a:cxn ang="0">
                <a:pos x="connsiteX71419" y="connsiteY71419"/>
              </a:cxn>
              <a:cxn ang="0">
                <a:pos x="connsiteX71420" y="connsiteY71420"/>
              </a:cxn>
              <a:cxn ang="0">
                <a:pos x="connsiteX71421" y="connsiteY71421"/>
              </a:cxn>
              <a:cxn ang="0">
                <a:pos x="connsiteX71422" y="connsiteY71422"/>
              </a:cxn>
              <a:cxn ang="0">
                <a:pos x="connsiteX71423" y="connsiteY71423"/>
              </a:cxn>
              <a:cxn ang="0">
                <a:pos x="connsiteX71424" y="connsiteY71424"/>
              </a:cxn>
              <a:cxn ang="0">
                <a:pos x="connsiteX71425" y="connsiteY71425"/>
              </a:cxn>
              <a:cxn ang="0">
                <a:pos x="connsiteX71426" y="connsiteY71426"/>
              </a:cxn>
              <a:cxn ang="0">
                <a:pos x="connsiteX71427" y="connsiteY71427"/>
              </a:cxn>
              <a:cxn ang="0">
                <a:pos x="connsiteX71428" y="connsiteY71428"/>
              </a:cxn>
              <a:cxn ang="0">
                <a:pos x="connsiteX71429" y="connsiteY71429"/>
              </a:cxn>
              <a:cxn ang="0">
                <a:pos x="connsiteX71430" y="connsiteY71430"/>
              </a:cxn>
              <a:cxn ang="0">
                <a:pos x="connsiteX71431" y="connsiteY71431"/>
              </a:cxn>
              <a:cxn ang="0">
                <a:pos x="connsiteX71432" y="connsiteY71432"/>
              </a:cxn>
              <a:cxn ang="0">
                <a:pos x="connsiteX71433" y="connsiteY71433"/>
              </a:cxn>
              <a:cxn ang="0">
                <a:pos x="connsiteX71434" y="connsiteY71434"/>
              </a:cxn>
              <a:cxn ang="0">
                <a:pos x="connsiteX71435" y="connsiteY71435"/>
              </a:cxn>
              <a:cxn ang="0">
                <a:pos x="connsiteX71436" y="connsiteY71436"/>
              </a:cxn>
              <a:cxn ang="0">
                <a:pos x="connsiteX71437" y="connsiteY71437"/>
              </a:cxn>
              <a:cxn ang="0">
                <a:pos x="connsiteX71438" y="connsiteY71438"/>
              </a:cxn>
              <a:cxn ang="0">
                <a:pos x="connsiteX71439" y="connsiteY71439"/>
              </a:cxn>
              <a:cxn ang="0">
                <a:pos x="connsiteX71440" y="connsiteY71440"/>
              </a:cxn>
              <a:cxn ang="0">
                <a:pos x="connsiteX71441" y="connsiteY71441"/>
              </a:cxn>
              <a:cxn ang="0">
                <a:pos x="connsiteX71442" y="connsiteY71442"/>
              </a:cxn>
              <a:cxn ang="0">
                <a:pos x="connsiteX71443" y="connsiteY71443"/>
              </a:cxn>
              <a:cxn ang="0">
                <a:pos x="connsiteX71444" y="connsiteY71444"/>
              </a:cxn>
              <a:cxn ang="0">
                <a:pos x="connsiteX71445" y="connsiteY71445"/>
              </a:cxn>
              <a:cxn ang="0">
                <a:pos x="connsiteX71446" y="connsiteY71446"/>
              </a:cxn>
              <a:cxn ang="0">
                <a:pos x="connsiteX71447" y="connsiteY71447"/>
              </a:cxn>
              <a:cxn ang="0">
                <a:pos x="connsiteX71448" y="connsiteY71448"/>
              </a:cxn>
              <a:cxn ang="0">
                <a:pos x="connsiteX71449" y="connsiteY71449"/>
              </a:cxn>
              <a:cxn ang="0">
                <a:pos x="connsiteX71450" y="connsiteY71450"/>
              </a:cxn>
              <a:cxn ang="0">
                <a:pos x="connsiteX71451" y="connsiteY71451"/>
              </a:cxn>
              <a:cxn ang="0">
                <a:pos x="connsiteX71452" y="connsiteY71452"/>
              </a:cxn>
              <a:cxn ang="0">
                <a:pos x="connsiteX71453" y="connsiteY71453"/>
              </a:cxn>
              <a:cxn ang="0">
                <a:pos x="connsiteX71454" y="connsiteY71454"/>
              </a:cxn>
              <a:cxn ang="0">
                <a:pos x="connsiteX71455" y="connsiteY71455"/>
              </a:cxn>
              <a:cxn ang="0">
                <a:pos x="connsiteX71456" y="connsiteY71456"/>
              </a:cxn>
              <a:cxn ang="0">
                <a:pos x="connsiteX71457" y="connsiteY71457"/>
              </a:cxn>
              <a:cxn ang="0">
                <a:pos x="connsiteX71458" y="connsiteY71458"/>
              </a:cxn>
              <a:cxn ang="0">
                <a:pos x="connsiteX71459" y="connsiteY71459"/>
              </a:cxn>
              <a:cxn ang="0">
                <a:pos x="connsiteX71460" y="connsiteY71460"/>
              </a:cxn>
              <a:cxn ang="0">
                <a:pos x="connsiteX71461" y="connsiteY71461"/>
              </a:cxn>
              <a:cxn ang="0">
                <a:pos x="connsiteX71462" y="connsiteY71462"/>
              </a:cxn>
              <a:cxn ang="0">
                <a:pos x="connsiteX71463" y="connsiteY71463"/>
              </a:cxn>
              <a:cxn ang="0">
                <a:pos x="connsiteX71464" y="connsiteY71464"/>
              </a:cxn>
              <a:cxn ang="0">
                <a:pos x="connsiteX71465" y="connsiteY71465"/>
              </a:cxn>
              <a:cxn ang="0">
                <a:pos x="connsiteX71466" y="connsiteY71466"/>
              </a:cxn>
              <a:cxn ang="0">
                <a:pos x="connsiteX71467" y="connsiteY71467"/>
              </a:cxn>
              <a:cxn ang="0">
                <a:pos x="connsiteX71468" y="connsiteY71468"/>
              </a:cxn>
              <a:cxn ang="0">
                <a:pos x="connsiteX71469" y="connsiteY71469"/>
              </a:cxn>
              <a:cxn ang="0">
                <a:pos x="connsiteX71470" y="connsiteY71470"/>
              </a:cxn>
              <a:cxn ang="0">
                <a:pos x="connsiteX71471" y="connsiteY71471"/>
              </a:cxn>
              <a:cxn ang="0">
                <a:pos x="connsiteX71472" y="connsiteY71472"/>
              </a:cxn>
              <a:cxn ang="0">
                <a:pos x="connsiteX71473" y="connsiteY71473"/>
              </a:cxn>
              <a:cxn ang="0">
                <a:pos x="connsiteX71474" y="connsiteY71474"/>
              </a:cxn>
              <a:cxn ang="0">
                <a:pos x="connsiteX71475" y="connsiteY71475"/>
              </a:cxn>
              <a:cxn ang="0">
                <a:pos x="connsiteX71476" y="connsiteY71476"/>
              </a:cxn>
              <a:cxn ang="0">
                <a:pos x="connsiteX71477" y="connsiteY71477"/>
              </a:cxn>
              <a:cxn ang="0">
                <a:pos x="connsiteX71478" y="connsiteY71478"/>
              </a:cxn>
              <a:cxn ang="0">
                <a:pos x="connsiteX71479" y="connsiteY71479"/>
              </a:cxn>
              <a:cxn ang="0">
                <a:pos x="connsiteX71480" y="connsiteY71480"/>
              </a:cxn>
              <a:cxn ang="0">
                <a:pos x="connsiteX71481" y="connsiteY71481"/>
              </a:cxn>
              <a:cxn ang="0">
                <a:pos x="connsiteX71482" y="connsiteY71482"/>
              </a:cxn>
              <a:cxn ang="0">
                <a:pos x="connsiteX71483" y="connsiteY71483"/>
              </a:cxn>
              <a:cxn ang="0">
                <a:pos x="connsiteX71484" y="connsiteY71484"/>
              </a:cxn>
              <a:cxn ang="0">
                <a:pos x="connsiteX71485" y="connsiteY71485"/>
              </a:cxn>
              <a:cxn ang="0">
                <a:pos x="connsiteX71486" y="connsiteY71486"/>
              </a:cxn>
              <a:cxn ang="0">
                <a:pos x="connsiteX71487" y="connsiteY71487"/>
              </a:cxn>
              <a:cxn ang="0">
                <a:pos x="connsiteX71488" y="connsiteY71488"/>
              </a:cxn>
              <a:cxn ang="0">
                <a:pos x="connsiteX71489" y="connsiteY71489"/>
              </a:cxn>
              <a:cxn ang="0">
                <a:pos x="connsiteX71490" y="connsiteY71490"/>
              </a:cxn>
              <a:cxn ang="0">
                <a:pos x="connsiteX71491" y="connsiteY71491"/>
              </a:cxn>
              <a:cxn ang="0">
                <a:pos x="connsiteX71492" y="connsiteY71492"/>
              </a:cxn>
              <a:cxn ang="0">
                <a:pos x="connsiteX71493" y="connsiteY71493"/>
              </a:cxn>
              <a:cxn ang="0">
                <a:pos x="connsiteX71494" y="connsiteY71494"/>
              </a:cxn>
              <a:cxn ang="0">
                <a:pos x="connsiteX71495" y="connsiteY71495"/>
              </a:cxn>
              <a:cxn ang="0">
                <a:pos x="connsiteX71496" y="connsiteY71496"/>
              </a:cxn>
              <a:cxn ang="0">
                <a:pos x="connsiteX71497" y="connsiteY71497"/>
              </a:cxn>
              <a:cxn ang="0">
                <a:pos x="connsiteX71498" y="connsiteY71498"/>
              </a:cxn>
              <a:cxn ang="0">
                <a:pos x="connsiteX71499" y="connsiteY71499"/>
              </a:cxn>
              <a:cxn ang="0">
                <a:pos x="connsiteX71500" y="connsiteY71500"/>
              </a:cxn>
              <a:cxn ang="0">
                <a:pos x="connsiteX71501" y="connsiteY71501"/>
              </a:cxn>
              <a:cxn ang="0">
                <a:pos x="connsiteX71502" y="connsiteY71502"/>
              </a:cxn>
              <a:cxn ang="0">
                <a:pos x="connsiteX71503" y="connsiteY71503"/>
              </a:cxn>
              <a:cxn ang="0">
                <a:pos x="connsiteX71504" y="connsiteY71504"/>
              </a:cxn>
              <a:cxn ang="0">
                <a:pos x="connsiteX71505" y="connsiteY71505"/>
              </a:cxn>
              <a:cxn ang="0">
                <a:pos x="connsiteX71506" y="connsiteY71506"/>
              </a:cxn>
              <a:cxn ang="0">
                <a:pos x="connsiteX71507" y="connsiteY71507"/>
              </a:cxn>
              <a:cxn ang="0">
                <a:pos x="connsiteX71508" y="connsiteY71508"/>
              </a:cxn>
              <a:cxn ang="0">
                <a:pos x="connsiteX71509" y="connsiteY71509"/>
              </a:cxn>
              <a:cxn ang="0">
                <a:pos x="connsiteX71510" y="connsiteY71510"/>
              </a:cxn>
              <a:cxn ang="0">
                <a:pos x="connsiteX71511" y="connsiteY71511"/>
              </a:cxn>
              <a:cxn ang="0">
                <a:pos x="connsiteX71512" y="connsiteY71512"/>
              </a:cxn>
              <a:cxn ang="0">
                <a:pos x="connsiteX71513" y="connsiteY71513"/>
              </a:cxn>
              <a:cxn ang="0">
                <a:pos x="connsiteX71514" y="connsiteY71514"/>
              </a:cxn>
              <a:cxn ang="0">
                <a:pos x="connsiteX71515" y="connsiteY71515"/>
              </a:cxn>
              <a:cxn ang="0">
                <a:pos x="connsiteX71516" y="connsiteY71516"/>
              </a:cxn>
              <a:cxn ang="0">
                <a:pos x="connsiteX71517" y="connsiteY71517"/>
              </a:cxn>
              <a:cxn ang="0">
                <a:pos x="connsiteX71518" y="connsiteY71518"/>
              </a:cxn>
              <a:cxn ang="0">
                <a:pos x="connsiteX71519" y="connsiteY71519"/>
              </a:cxn>
              <a:cxn ang="0">
                <a:pos x="connsiteX71520" y="connsiteY71520"/>
              </a:cxn>
              <a:cxn ang="0">
                <a:pos x="connsiteX71521" y="connsiteY71521"/>
              </a:cxn>
              <a:cxn ang="0">
                <a:pos x="connsiteX71522" y="connsiteY71522"/>
              </a:cxn>
              <a:cxn ang="0">
                <a:pos x="connsiteX71523" y="connsiteY71523"/>
              </a:cxn>
              <a:cxn ang="0">
                <a:pos x="connsiteX71524" y="connsiteY71524"/>
              </a:cxn>
              <a:cxn ang="0">
                <a:pos x="connsiteX71525" y="connsiteY71525"/>
              </a:cxn>
              <a:cxn ang="0">
                <a:pos x="connsiteX71526" y="connsiteY71526"/>
              </a:cxn>
              <a:cxn ang="0">
                <a:pos x="connsiteX71527" y="connsiteY71527"/>
              </a:cxn>
              <a:cxn ang="0">
                <a:pos x="connsiteX71528" y="connsiteY71528"/>
              </a:cxn>
              <a:cxn ang="0">
                <a:pos x="connsiteX71529" y="connsiteY71529"/>
              </a:cxn>
              <a:cxn ang="0">
                <a:pos x="connsiteX71530" y="connsiteY71530"/>
              </a:cxn>
              <a:cxn ang="0">
                <a:pos x="connsiteX71531" y="connsiteY71531"/>
              </a:cxn>
              <a:cxn ang="0">
                <a:pos x="connsiteX71532" y="connsiteY71532"/>
              </a:cxn>
              <a:cxn ang="0">
                <a:pos x="connsiteX71533" y="connsiteY71533"/>
              </a:cxn>
              <a:cxn ang="0">
                <a:pos x="connsiteX71534" y="connsiteY71534"/>
              </a:cxn>
              <a:cxn ang="0">
                <a:pos x="connsiteX71535" y="connsiteY71535"/>
              </a:cxn>
              <a:cxn ang="0">
                <a:pos x="connsiteX71536" y="connsiteY71536"/>
              </a:cxn>
              <a:cxn ang="0">
                <a:pos x="connsiteX71537" y="connsiteY71537"/>
              </a:cxn>
              <a:cxn ang="0">
                <a:pos x="connsiteX71538" y="connsiteY71538"/>
              </a:cxn>
              <a:cxn ang="0">
                <a:pos x="connsiteX71539" y="connsiteY71539"/>
              </a:cxn>
              <a:cxn ang="0">
                <a:pos x="connsiteX71540" y="connsiteY71540"/>
              </a:cxn>
              <a:cxn ang="0">
                <a:pos x="connsiteX71541" y="connsiteY71541"/>
              </a:cxn>
              <a:cxn ang="0">
                <a:pos x="connsiteX71542" y="connsiteY71542"/>
              </a:cxn>
              <a:cxn ang="0">
                <a:pos x="connsiteX71543" y="connsiteY71543"/>
              </a:cxn>
              <a:cxn ang="0">
                <a:pos x="connsiteX71544" y="connsiteY71544"/>
              </a:cxn>
              <a:cxn ang="0">
                <a:pos x="connsiteX71545" y="connsiteY71545"/>
              </a:cxn>
              <a:cxn ang="0">
                <a:pos x="connsiteX71546" y="connsiteY71546"/>
              </a:cxn>
              <a:cxn ang="0">
                <a:pos x="connsiteX71547" y="connsiteY71547"/>
              </a:cxn>
              <a:cxn ang="0">
                <a:pos x="connsiteX71548" y="connsiteY71548"/>
              </a:cxn>
              <a:cxn ang="0">
                <a:pos x="connsiteX71549" y="connsiteY71549"/>
              </a:cxn>
              <a:cxn ang="0">
                <a:pos x="connsiteX71550" y="connsiteY71550"/>
              </a:cxn>
              <a:cxn ang="0">
                <a:pos x="connsiteX71551" y="connsiteY71551"/>
              </a:cxn>
              <a:cxn ang="0">
                <a:pos x="connsiteX71552" y="connsiteY71552"/>
              </a:cxn>
              <a:cxn ang="0">
                <a:pos x="connsiteX71553" y="connsiteY71553"/>
              </a:cxn>
              <a:cxn ang="0">
                <a:pos x="connsiteX71554" y="connsiteY71554"/>
              </a:cxn>
              <a:cxn ang="0">
                <a:pos x="connsiteX71555" y="connsiteY71555"/>
              </a:cxn>
              <a:cxn ang="0">
                <a:pos x="connsiteX71556" y="connsiteY71556"/>
              </a:cxn>
              <a:cxn ang="0">
                <a:pos x="connsiteX71557" y="connsiteY71557"/>
              </a:cxn>
              <a:cxn ang="0">
                <a:pos x="connsiteX71558" y="connsiteY71558"/>
              </a:cxn>
              <a:cxn ang="0">
                <a:pos x="connsiteX71559" y="connsiteY71559"/>
              </a:cxn>
              <a:cxn ang="0">
                <a:pos x="connsiteX71560" y="connsiteY71560"/>
              </a:cxn>
              <a:cxn ang="0">
                <a:pos x="connsiteX71561" y="connsiteY71561"/>
              </a:cxn>
              <a:cxn ang="0">
                <a:pos x="connsiteX71562" y="connsiteY71562"/>
              </a:cxn>
              <a:cxn ang="0">
                <a:pos x="connsiteX71563" y="connsiteY71563"/>
              </a:cxn>
              <a:cxn ang="0">
                <a:pos x="connsiteX71564" y="connsiteY71564"/>
              </a:cxn>
              <a:cxn ang="0">
                <a:pos x="connsiteX71565" y="connsiteY71565"/>
              </a:cxn>
              <a:cxn ang="0">
                <a:pos x="connsiteX71566" y="connsiteY71566"/>
              </a:cxn>
              <a:cxn ang="0">
                <a:pos x="connsiteX71567" y="connsiteY71567"/>
              </a:cxn>
              <a:cxn ang="0">
                <a:pos x="connsiteX71568" y="connsiteY71568"/>
              </a:cxn>
              <a:cxn ang="0">
                <a:pos x="connsiteX71569" y="connsiteY71569"/>
              </a:cxn>
              <a:cxn ang="0">
                <a:pos x="connsiteX71570" y="connsiteY71570"/>
              </a:cxn>
              <a:cxn ang="0">
                <a:pos x="connsiteX71571" y="connsiteY71571"/>
              </a:cxn>
              <a:cxn ang="0">
                <a:pos x="connsiteX71572" y="connsiteY71572"/>
              </a:cxn>
              <a:cxn ang="0">
                <a:pos x="connsiteX71573" y="connsiteY71573"/>
              </a:cxn>
              <a:cxn ang="0">
                <a:pos x="connsiteX71574" y="connsiteY71574"/>
              </a:cxn>
              <a:cxn ang="0">
                <a:pos x="connsiteX71575" y="connsiteY71575"/>
              </a:cxn>
              <a:cxn ang="0">
                <a:pos x="connsiteX71576" y="connsiteY71576"/>
              </a:cxn>
              <a:cxn ang="0">
                <a:pos x="connsiteX71577" y="connsiteY71577"/>
              </a:cxn>
              <a:cxn ang="0">
                <a:pos x="connsiteX71578" y="connsiteY71578"/>
              </a:cxn>
              <a:cxn ang="0">
                <a:pos x="connsiteX71579" y="connsiteY71579"/>
              </a:cxn>
              <a:cxn ang="0">
                <a:pos x="connsiteX71580" y="connsiteY71580"/>
              </a:cxn>
              <a:cxn ang="0">
                <a:pos x="connsiteX71581" y="connsiteY71581"/>
              </a:cxn>
              <a:cxn ang="0">
                <a:pos x="connsiteX71582" y="connsiteY71582"/>
              </a:cxn>
              <a:cxn ang="0">
                <a:pos x="connsiteX71583" y="connsiteY71583"/>
              </a:cxn>
              <a:cxn ang="0">
                <a:pos x="connsiteX71584" y="connsiteY71584"/>
              </a:cxn>
              <a:cxn ang="0">
                <a:pos x="connsiteX71585" y="connsiteY71585"/>
              </a:cxn>
              <a:cxn ang="0">
                <a:pos x="connsiteX71586" y="connsiteY71586"/>
              </a:cxn>
              <a:cxn ang="0">
                <a:pos x="connsiteX71587" y="connsiteY71587"/>
              </a:cxn>
              <a:cxn ang="0">
                <a:pos x="connsiteX71588" y="connsiteY71588"/>
              </a:cxn>
              <a:cxn ang="0">
                <a:pos x="connsiteX71589" y="connsiteY71589"/>
              </a:cxn>
              <a:cxn ang="0">
                <a:pos x="connsiteX71590" y="connsiteY71590"/>
              </a:cxn>
              <a:cxn ang="0">
                <a:pos x="connsiteX71591" y="connsiteY71591"/>
              </a:cxn>
              <a:cxn ang="0">
                <a:pos x="connsiteX71592" y="connsiteY71592"/>
              </a:cxn>
              <a:cxn ang="0">
                <a:pos x="connsiteX71593" y="connsiteY71593"/>
              </a:cxn>
              <a:cxn ang="0">
                <a:pos x="connsiteX71594" y="connsiteY71594"/>
              </a:cxn>
              <a:cxn ang="0">
                <a:pos x="connsiteX71595" y="connsiteY71595"/>
              </a:cxn>
              <a:cxn ang="0">
                <a:pos x="connsiteX71596" y="connsiteY71596"/>
              </a:cxn>
              <a:cxn ang="0">
                <a:pos x="connsiteX71597" y="connsiteY71597"/>
              </a:cxn>
              <a:cxn ang="0">
                <a:pos x="connsiteX71598" y="connsiteY71598"/>
              </a:cxn>
              <a:cxn ang="0">
                <a:pos x="connsiteX71599" y="connsiteY71599"/>
              </a:cxn>
              <a:cxn ang="0">
                <a:pos x="connsiteX71600" y="connsiteY71600"/>
              </a:cxn>
              <a:cxn ang="0">
                <a:pos x="connsiteX71601" y="connsiteY71601"/>
              </a:cxn>
              <a:cxn ang="0">
                <a:pos x="connsiteX71602" y="connsiteY71602"/>
              </a:cxn>
              <a:cxn ang="0">
                <a:pos x="connsiteX71603" y="connsiteY71603"/>
              </a:cxn>
              <a:cxn ang="0">
                <a:pos x="connsiteX71604" y="connsiteY71604"/>
              </a:cxn>
              <a:cxn ang="0">
                <a:pos x="connsiteX71605" y="connsiteY71605"/>
              </a:cxn>
              <a:cxn ang="0">
                <a:pos x="connsiteX71606" y="connsiteY71606"/>
              </a:cxn>
              <a:cxn ang="0">
                <a:pos x="connsiteX71607" y="connsiteY71607"/>
              </a:cxn>
              <a:cxn ang="0">
                <a:pos x="connsiteX71608" y="connsiteY71608"/>
              </a:cxn>
              <a:cxn ang="0">
                <a:pos x="connsiteX71609" y="connsiteY71609"/>
              </a:cxn>
              <a:cxn ang="0">
                <a:pos x="connsiteX71610" y="connsiteY71610"/>
              </a:cxn>
              <a:cxn ang="0">
                <a:pos x="connsiteX71611" y="connsiteY71611"/>
              </a:cxn>
              <a:cxn ang="0">
                <a:pos x="connsiteX71612" y="connsiteY71612"/>
              </a:cxn>
              <a:cxn ang="0">
                <a:pos x="connsiteX71613" y="connsiteY71613"/>
              </a:cxn>
              <a:cxn ang="0">
                <a:pos x="connsiteX71614" y="connsiteY71614"/>
              </a:cxn>
              <a:cxn ang="0">
                <a:pos x="connsiteX71615" y="connsiteY71615"/>
              </a:cxn>
              <a:cxn ang="0">
                <a:pos x="connsiteX71616" y="connsiteY71616"/>
              </a:cxn>
              <a:cxn ang="0">
                <a:pos x="connsiteX71617" y="connsiteY71617"/>
              </a:cxn>
              <a:cxn ang="0">
                <a:pos x="connsiteX71618" y="connsiteY71618"/>
              </a:cxn>
              <a:cxn ang="0">
                <a:pos x="connsiteX71619" y="connsiteY71619"/>
              </a:cxn>
              <a:cxn ang="0">
                <a:pos x="connsiteX71620" y="connsiteY71620"/>
              </a:cxn>
              <a:cxn ang="0">
                <a:pos x="connsiteX71621" y="connsiteY71621"/>
              </a:cxn>
              <a:cxn ang="0">
                <a:pos x="connsiteX71622" y="connsiteY71622"/>
              </a:cxn>
              <a:cxn ang="0">
                <a:pos x="connsiteX71623" y="connsiteY71623"/>
              </a:cxn>
              <a:cxn ang="0">
                <a:pos x="connsiteX71624" y="connsiteY71624"/>
              </a:cxn>
              <a:cxn ang="0">
                <a:pos x="connsiteX71625" y="connsiteY71625"/>
              </a:cxn>
              <a:cxn ang="0">
                <a:pos x="connsiteX71626" y="connsiteY71626"/>
              </a:cxn>
              <a:cxn ang="0">
                <a:pos x="connsiteX71627" y="connsiteY71627"/>
              </a:cxn>
              <a:cxn ang="0">
                <a:pos x="connsiteX71628" y="connsiteY71628"/>
              </a:cxn>
              <a:cxn ang="0">
                <a:pos x="connsiteX71629" y="connsiteY71629"/>
              </a:cxn>
              <a:cxn ang="0">
                <a:pos x="connsiteX71630" y="connsiteY71630"/>
              </a:cxn>
              <a:cxn ang="0">
                <a:pos x="connsiteX71631" y="connsiteY71631"/>
              </a:cxn>
              <a:cxn ang="0">
                <a:pos x="connsiteX71632" y="connsiteY71632"/>
              </a:cxn>
              <a:cxn ang="0">
                <a:pos x="connsiteX71633" y="connsiteY71633"/>
              </a:cxn>
              <a:cxn ang="0">
                <a:pos x="connsiteX71634" y="connsiteY71634"/>
              </a:cxn>
              <a:cxn ang="0">
                <a:pos x="connsiteX71635" y="connsiteY71635"/>
              </a:cxn>
              <a:cxn ang="0">
                <a:pos x="connsiteX71636" y="connsiteY71636"/>
              </a:cxn>
              <a:cxn ang="0">
                <a:pos x="connsiteX71637" y="connsiteY71637"/>
              </a:cxn>
              <a:cxn ang="0">
                <a:pos x="connsiteX71638" y="connsiteY71638"/>
              </a:cxn>
              <a:cxn ang="0">
                <a:pos x="connsiteX71639" y="connsiteY71639"/>
              </a:cxn>
              <a:cxn ang="0">
                <a:pos x="connsiteX71640" y="connsiteY71640"/>
              </a:cxn>
              <a:cxn ang="0">
                <a:pos x="connsiteX71641" y="connsiteY71641"/>
              </a:cxn>
              <a:cxn ang="0">
                <a:pos x="connsiteX71642" y="connsiteY71642"/>
              </a:cxn>
              <a:cxn ang="0">
                <a:pos x="connsiteX71643" y="connsiteY71643"/>
              </a:cxn>
              <a:cxn ang="0">
                <a:pos x="connsiteX71644" y="connsiteY71644"/>
              </a:cxn>
              <a:cxn ang="0">
                <a:pos x="connsiteX71645" y="connsiteY71645"/>
              </a:cxn>
              <a:cxn ang="0">
                <a:pos x="connsiteX71646" y="connsiteY71646"/>
              </a:cxn>
              <a:cxn ang="0">
                <a:pos x="connsiteX71647" y="connsiteY71647"/>
              </a:cxn>
              <a:cxn ang="0">
                <a:pos x="connsiteX71648" y="connsiteY71648"/>
              </a:cxn>
              <a:cxn ang="0">
                <a:pos x="connsiteX71649" y="connsiteY71649"/>
              </a:cxn>
              <a:cxn ang="0">
                <a:pos x="connsiteX71650" y="connsiteY71650"/>
              </a:cxn>
              <a:cxn ang="0">
                <a:pos x="connsiteX71651" y="connsiteY71651"/>
              </a:cxn>
              <a:cxn ang="0">
                <a:pos x="connsiteX71652" y="connsiteY71652"/>
              </a:cxn>
              <a:cxn ang="0">
                <a:pos x="connsiteX71653" y="connsiteY71653"/>
              </a:cxn>
              <a:cxn ang="0">
                <a:pos x="connsiteX71654" y="connsiteY71654"/>
              </a:cxn>
              <a:cxn ang="0">
                <a:pos x="connsiteX71655" y="connsiteY71655"/>
              </a:cxn>
              <a:cxn ang="0">
                <a:pos x="connsiteX71656" y="connsiteY71656"/>
              </a:cxn>
              <a:cxn ang="0">
                <a:pos x="connsiteX71657" y="connsiteY71657"/>
              </a:cxn>
              <a:cxn ang="0">
                <a:pos x="connsiteX71658" y="connsiteY71658"/>
              </a:cxn>
              <a:cxn ang="0">
                <a:pos x="connsiteX71659" y="connsiteY71659"/>
              </a:cxn>
              <a:cxn ang="0">
                <a:pos x="connsiteX71660" y="connsiteY71660"/>
              </a:cxn>
              <a:cxn ang="0">
                <a:pos x="connsiteX71661" y="connsiteY71661"/>
              </a:cxn>
              <a:cxn ang="0">
                <a:pos x="connsiteX71662" y="connsiteY71662"/>
              </a:cxn>
              <a:cxn ang="0">
                <a:pos x="connsiteX71663" y="connsiteY71663"/>
              </a:cxn>
              <a:cxn ang="0">
                <a:pos x="connsiteX71664" y="connsiteY71664"/>
              </a:cxn>
              <a:cxn ang="0">
                <a:pos x="connsiteX71665" y="connsiteY71665"/>
              </a:cxn>
              <a:cxn ang="0">
                <a:pos x="connsiteX71666" y="connsiteY71666"/>
              </a:cxn>
              <a:cxn ang="0">
                <a:pos x="connsiteX71667" y="connsiteY71667"/>
              </a:cxn>
              <a:cxn ang="0">
                <a:pos x="connsiteX71668" y="connsiteY71668"/>
              </a:cxn>
              <a:cxn ang="0">
                <a:pos x="connsiteX71669" y="connsiteY71669"/>
              </a:cxn>
              <a:cxn ang="0">
                <a:pos x="connsiteX71670" y="connsiteY71670"/>
              </a:cxn>
              <a:cxn ang="0">
                <a:pos x="connsiteX71671" y="connsiteY71671"/>
              </a:cxn>
              <a:cxn ang="0">
                <a:pos x="connsiteX71672" y="connsiteY71672"/>
              </a:cxn>
              <a:cxn ang="0">
                <a:pos x="connsiteX71673" y="connsiteY71673"/>
              </a:cxn>
              <a:cxn ang="0">
                <a:pos x="connsiteX71674" y="connsiteY71674"/>
              </a:cxn>
              <a:cxn ang="0">
                <a:pos x="connsiteX71675" y="connsiteY71675"/>
              </a:cxn>
              <a:cxn ang="0">
                <a:pos x="connsiteX71676" y="connsiteY71676"/>
              </a:cxn>
              <a:cxn ang="0">
                <a:pos x="connsiteX71677" y="connsiteY71677"/>
              </a:cxn>
              <a:cxn ang="0">
                <a:pos x="connsiteX71678" y="connsiteY71678"/>
              </a:cxn>
              <a:cxn ang="0">
                <a:pos x="connsiteX71679" y="connsiteY71679"/>
              </a:cxn>
              <a:cxn ang="0">
                <a:pos x="connsiteX71680" y="connsiteY71680"/>
              </a:cxn>
              <a:cxn ang="0">
                <a:pos x="connsiteX71681" y="connsiteY71681"/>
              </a:cxn>
              <a:cxn ang="0">
                <a:pos x="connsiteX71682" y="connsiteY71682"/>
              </a:cxn>
              <a:cxn ang="0">
                <a:pos x="connsiteX71683" y="connsiteY71683"/>
              </a:cxn>
              <a:cxn ang="0">
                <a:pos x="connsiteX71684" y="connsiteY71684"/>
              </a:cxn>
              <a:cxn ang="0">
                <a:pos x="connsiteX71685" y="connsiteY71685"/>
              </a:cxn>
              <a:cxn ang="0">
                <a:pos x="connsiteX71686" y="connsiteY71686"/>
              </a:cxn>
              <a:cxn ang="0">
                <a:pos x="connsiteX71687" y="connsiteY71687"/>
              </a:cxn>
              <a:cxn ang="0">
                <a:pos x="connsiteX71688" y="connsiteY71688"/>
              </a:cxn>
              <a:cxn ang="0">
                <a:pos x="connsiteX71689" y="connsiteY71689"/>
              </a:cxn>
              <a:cxn ang="0">
                <a:pos x="connsiteX71690" y="connsiteY71690"/>
              </a:cxn>
              <a:cxn ang="0">
                <a:pos x="connsiteX71691" y="connsiteY71691"/>
              </a:cxn>
              <a:cxn ang="0">
                <a:pos x="connsiteX71692" y="connsiteY71692"/>
              </a:cxn>
              <a:cxn ang="0">
                <a:pos x="connsiteX71693" y="connsiteY71693"/>
              </a:cxn>
              <a:cxn ang="0">
                <a:pos x="connsiteX71694" y="connsiteY71694"/>
              </a:cxn>
              <a:cxn ang="0">
                <a:pos x="connsiteX71695" y="connsiteY71695"/>
              </a:cxn>
              <a:cxn ang="0">
                <a:pos x="connsiteX71696" y="connsiteY71696"/>
              </a:cxn>
              <a:cxn ang="0">
                <a:pos x="connsiteX71697" y="connsiteY71697"/>
              </a:cxn>
              <a:cxn ang="0">
                <a:pos x="connsiteX71698" y="connsiteY71698"/>
              </a:cxn>
              <a:cxn ang="0">
                <a:pos x="connsiteX71699" y="connsiteY71699"/>
              </a:cxn>
              <a:cxn ang="0">
                <a:pos x="connsiteX71700" y="connsiteY71700"/>
              </a:cxn>
              <a:cxn ang="0">
                <a:pos x="connsiteX71701" y="connsiteY71701"/>
              </a:cxn>
              <a:cxn ang="0">
                <a:pos x="connsiteX71702" y="connsiteY71702"/>
              </a:cxn>
              <a:cxn ang="0">
                <a:pos x="connsiteX71703" y="connsiteY71703"/>
              </a:cxn>
              <a:cxn ang="0">
                <a:pos x="connsiteX71704" y="connsiteY71704"/>
              </a:cxn>
              <a:cxn ang="0">
                <a:pos x="connsiteX71705" y="connsiteY71705"/>
              </a:cxn>
              <a:cxn ang="0">
                <a:pos x="connsiteX71706" y="connsiteY71706"/>
              </a:cxn>
              <a:cxn ang="0">
                <a:pos x="connsiteX71707" y="connsiteY71707"/>
              </a:cxn>
              <a:cxn ang="0">
                <a:pos x="connsiteX71708" y="connsiteY71708"/>
              </a:cxn>
              <a:cxn ang="0">
                <a:pos x="connsiteX71709" y="connsiteY71709"/>
              </a:cxn>
              <a:cxn ang="0">
                <a:pos x="connsiteX71710" y="connsiteY71710"/>
              </a:cxn>
              <a:cxn ang="0">
                <a:pos x="connsiteX71711" y="connsiteY71711"/>
              </a:cxn>
              <a:cxn ang="0">
                <a:pos x="connsiteX71712" y="connsiteY71712"/>
              </a:cxn>
              <a:cxn ang="0">
                <a:pos x="connsiteX71713" y="connsiteY71713"/>
              </a:cxn>
              <a:cxn ang="0">
                <a:pos x="connsiteX71714" y="connsiteY71714"/>
              </a:cxn>
              <a:cxn ang="0">
                <a:pos x="connsiteX71715" y="connsiteY71715"/>
              </a:cxn>
              <a:cxn ang="0">
                <a:pos x="connsiteX71716" y="connsiteY71716"/>
              </a:cxn>
              <a:cxn ang="0">
                <a:pos x="connsiteX71717" y="connsiteY71717"/>
              </a:cxn>
              <a:cxn ang="0">
                <a:pos x="connsiteX71718" y="connsiteY71718"/>
              </a:cxn>
              <a:cxn ang="0">
                <a:pos x="connsiteX71719" y="connsiteY71719"/>
              </a:cxn>
              <a:cxn ang="0">
                <a:pos x="connsiteX71720" y="connsiteY71720"/>
              </a:cxn>
              <a:cxn ang="0">
                <a:pos x="connsiteX71721" y="connsiteY71721"/>
              </a:cxn>
              <a:cxn ang="0">
                <a:pos x="connsiteX71722" y="connsiteY71722"/>
              </a:cxn>
              <a:cxn ang="0">
                <a:pos x="connsiteX71723" y="connsiteY71723"/>
              </a:cxn>
              <a:cxn ang="0">
                <a:pos x="connsiteX71724" y="connsiteY71724"/>
              </a:cxn>
              <a:cxn ang="0">
                <a:pos x="connsiteX71725" y="connsiteY71725"/>
              </a:cxn>
              <a:cxn ang="0">
                <a:pos x="connsiteX71726" y="connsiteY71726"/>
              </a:cxn>
              <a:cxn ang="0">
                <a:pos x="connsiteX71727" y="connsiteY71727"/>
              </a:cxn>
              <a:cxn ang="0">
                <a:pos x="connsiteX71728" y="connsiteY71728"/>
              </a:cxn>
              <a:cxn ang="0">
                <a:pos x="connsiteX71729" y="connsiteY71729"/>
              </a:cxn>
              <a:cxn ang="0">
                <a:pos x="connsiteX71730" y="connsiteY71730"/>
              </a:cxn>
              <a:cxn ang="0">
                <a:pos x="connsiteX71731" y="connsiteY71731"/>
              </a:cxn>
              <a:cxn ang="0">
                <a:pos x="connsiteX71732" y="connsiteY71732"/>
              </a:cxn>
              <a:cxn ang="0">
                <a:pos x="connsiteX71733" y="connsiteY71733"/>
              </a:cxn>
              <a:cxn ang="0">
                <a:pos x="connsiteX71734" y="connsiteY71734"/>
              </a:cxn>
              <a:cxn ang="0">
                <a:pos x="connsiteX71735" y="connsiteY71735"/>
              </a:cxn>
              <a:cxn ang="0">
                <a:pos x="connsiteX71736" y="connsiteY71736"/>
              </a:cxn>
              <a:cxn ang="0">
                <a:pos x="connsiteX71737" y="connsiteY71737"/>
              </a:cxn>
              <a:cxn ang="0">
                <a:pos x="connsiteX71738" y="connsiteY71738"/>
              </a:cxn>
              <a:cxn ang="0">
                <a:pos x="connsiteX71739" y="connsiteY71739"/>
              </a:cxn>
              <a:cxn ang="0">
                <a:pos x="connsiteX71740" y="connsiteY71740"/>
              </a:cxn>
              <a:cxn ang="0">
                <a:pos x="connsiteX71741" y="connsiteY71741"/>
              </a:cxn>
              <a:cxn ang="0">
                <a:pos x="connsiteX71742" y="connsiteY71742"/>
              </a:cxn>
              <a:cxn ang="0">
                <a:pos x="connsiteX71743" y="connsiteY71743"/>
              </a:cxn>
              <a:cxn ang="0">
                <a:pos x="connsiteX71744" y="connsiteY71744"/>
              </a:cxn>
              <a:cxn ang="0">
                <a:pos x="connsiteX71745" y="connsiteY71745"/>
              </a:cxn>
              <a:cxn ang="0">
                <a:pos x="connsiteX71746" y="connsiteY71746"/>
              </a:cxn>
              <a:cxn ang="0">
                <a:pos x="connsiteX71747" y="connsiteY71747"/>
              </a:cxn>
              <a:cxn ang="0">
                <a:pos x="connsiteX71748" y="connsiteY71748"/>
              </a:cxn>
              <a:cxn ang="0">
                <a:pos x="connsiteX71749" y="connsiteY71749"/>
              </a:cxn>
              <a:cxn ang="0">
                <a:pos x="connsiteX71750" y="connsiteY71750"/>
              </a:cxn>
              <a:cxn ang="0">
                <a:pos x="connsiteX71751" y="connsiteY71751"/>
              </a:cxn>
              <a:cxn ang="0">
                <a:pos x="connsiteX71752" y="connsiteY71752"/>
              </a:cxn>
              <a:cxn ang="0">
                <a:pos x="connsiteX71753" y="connsiteY71753"/>
              </a:cxn>
              <a:cxn ang="0">
                <a:pos x="connsiteX71754" y="connsiteY71754"/>
              </a:cxn>
              <a:cxn ang="0">
                <a:pos x="connsiteX71755" y="connsiteY71755"/>
              </a:cxn>
              <a:cxn ang="0">
                <a:pos x="connsiteX71756" y="connsiteY71756"/>
              </a:cxn>
              <a:cxn ang="0">
                <a:pos x="connsiteX71757" y="connsiteY71757"/>
              </a:cxn>
              <a:cxn ang="0">
                <a:pos x="connsiteX71758" y="connsiteY71758"/>
              </a:cxn>
              <a:cxn ang="0">
                <a:pos x="connsiteX71759" y="connsiteY71759"/>
              </a:cxn>
              <a:cxn ang="0">
                <a:pos x="connsiteX71760" y="connsiteY71760"/>
              </a:cxn>
              <a:cxn ang="0">
                <a:pos x="connsiteX71761" y="connsiteY71761"/>
              </a:cxn>
              <a:cxn ang="0">
                <a:pos x="connsiteX71762" y="connsiteY71762"/>
              </a:cxn>
              <a:cxn ang="0">
                <a:pos x="connsiteX71763" y="connsiteY71763"/>
              </a:cxn>
              <a:cxn ang="0">
                <a:pos x="connsiteX71764" y="connsiteY71764"/>
              </a:cxn>
              <a:cxn ang="0">
                <a:pos x="connsiteX71765" y="connsiteY71765"/>
              </a:cxn>
              <a:cxn ang="0">
                <a:pos x="connsiteX71766" y="connsiteY71766"/>
              </a:cxn>
              <a:cxn ang="0">
                <a:pos x="connsiteX71767" y="connsiteY71767"/>
              </a:cxn>
              <a:cxn ang="0">
                <a:pos x="connsiteX71768" y="connsiteY71768"/>
              </a:cxn>
              <a:cxn ang="0">
                <a:pos x="connsiteX71769" y="connsiteY71769"/>
              </a:cxn>
              <a:cxn ang="0">
                <a:pos x="connsiteX71770" y="connsiteY71770"/>
              </a:cxn>
              <a:cxn ang="0">
                <a:pos x="connsiteX71771" y="connsiteY71771"/>
              </a:cxn>
              <a:cxn ang="0">
                <a:pos x="connsiteX71772" y="connsiteY71772"/>
              </a:cxn>
              <a:cxn ang="0">
                <a:pos x="connsiteX71773" y="connsiteY71773"/>
              </a:cxn>
              <a:cxn ang="0">
                <a:pos x="connsiteX71774" y="connsiteY71774"/>
              </a:cxn>
              <a:cxn ang="0">
                <a:pos x="connsiteX71775" y="connsiteY71775"/>
              </a:cxn>
              <a:cxn ang="0">
                <a:pos x="connsiteX71776" y="connsiteY71776"/>
              </a:cxn>
              <a:cxn ang="0">
                <a:pos x="connsiteX71777" y="connsiteY71777"/>
              </a:cxn>
              <a:cxn ang="0">
                <a:pos x="connsiteX71778" y="connsiteY71778"/>
              </a:cxn>
              <a:cxn ang="0">
                <a:pos x="connsiteX71779" y="connsiteY71779"/>
              </a:cxn>
              <a:cxn ang="0">
                <a:pos x="connsiteX71780" y="connsiteY71780"/>
              </a:cxn>
              <a:cxn ang="0">
                <a:pos x="connsiteX71781" y="connsiteY71781"/>
              </a:cxn>
              <a:cxn ang="0">
                <a:pos x="connsiteX71782" y="connsiteY71782"/>
              </a:cxn>
              <a:cxn ang="0">
                <a:pos x="connsiteX71783" y="connsiteY71783"/>
              </a:cxn>
              <a:cxn ang="0">
                <a:pos x="connsiteX71784" y="connsiteY71784"/>
              </a:cxn>
              <a:cxn ang="0">
                <a:pos x="connsiteX71785" y="connsiteY71785"/>
              </a:cxn>
              <a:cxn ang="0">
                <a:pos x="connsiteX71786" y="connsiteY71786"/>
              </a:cxn>
              <a:cxn ang="0">
                <a:pos x="connsiteX71787" y="connsiteY71787"/>
              </a:cxn>
              <a:cxn ang="0">
                <a:pos x="connsiteX71788" y="connsiteY71788"/>
              </a:cxn>
              <a:cxn ang="0">
                <a:pos x="connsiteX71789" y="connsiteY71789"/>
              </a:cxn>
              <a:cxn ang="0">
                <a:pos x="connsiteX71790" y="connsiteY71790"/>
              </a:cxn>
              <a:cxn ang="0">
                <a:pos x="connsiteX71791" y="connsiteY71791"/>
              </a:cxn>
              <a:cxn ang="0">
                <a:pos x="connsiteX71792" y="connsiteY71792"/>
              </a:cxn>
              <a:cxn ang="0">
                <a:pos x="connsiteX71793" y="connsiteY71793"/>
              </a:cxn>
              <a:cxn ang="0">
                <a:pos x="connsiteX71794" y="connsiteY71794"/>
              </a:cxn>
              <a:cxn ang="0">
                <a:pos x="connsiteX71795" y="connsiteY71795"/>
              </a:cxn>
              <a:cxn ang="0">
                <a:pos x="connsiteX71796" y="connsiteY71796"/>
              </a:cxn>
              <a:cxn ang="0">
                <a:pos x="connsiteX71797" y="connsiteY71797"/>
              </a:cxn>
              <a:cxn ang="0">
                <a:pos x="connsiteX71798" y="connsiteY71798"/>
              </a:cxn>
              <a:cxn ang="0">
                <a:pos x="connsiteX71799" y="connsiteY71799"/>
              </a:cxn>
              <a:cxn ang="0">
                <a:pos x="connsiteX71800" y="connsiteY71800"/>
              </a:cxn>
              <a:cxn ang="0">
                <a:pos x="connsiteX71801" y="connsiteY71801"/>
              </a:cxn>
              <a:cxn ang="0">
                <a:pos x="connsiteX71802" y="connsiteY71802"/>
              </a:cxn>
              <a:cxn ang="0">
                <a:pos x="connsiteX71803" y="connsiteY71803"/>
              </a:cxn>
              <a:cxn ang="0">
                <a:pos x="connsiteX71804" y="connsiteY71804"/>
              </a:cxn>
              <a:cxn ang="0">
                <a:pos x="connsiteX71805" y="connsiteY71805"/>
              </a:cxn>
              <a:cxn ang="0">
                <a:pos x="connsiteX71806" y="connsiteY71806"/>
              </a:cxn>
              <a:cxn ang="0">
                <a:pos x="connsiteX71807" y="connsiteY71807"/>
              </a:cxn>
              <a:cxn ang="0">
                <a:pos x="connsiteX71808" y="connsiteY71808"/>
              </a:cxn>
              <a:cxn ang="0">
                <a:pos x="connsiteX71809" y="connsiteY71809"/>
              </a:cxn>
              <a:cxn ang="0">
                <a:pos x="connsiteX71810" y="connsiteY71810"/>
              </a:cxn>
              <a:cxn ang="0">
                <a:pos x="connsiteX71811" y="connsiteY71811"/>
              </a:cxn>
              <a:cxn ang="0">
                <a:pos x="connsiteX71812" y="connsiteY71812"/>
              </a:cxn>
              <a:cxn ang="0">
                <a:pos x="connsiteX71813" y="connsiteY71813"/>
              </a:cxn>
              <a:cxn ang="0">
                <a:pos x="connsiteX71814" y="connsiteY71814"/>
              </a:cxn>
              <a:cxn ang="0">
                <a:pos x="connsiteX71815" y="connsiteY71815"/>
              </a:cxn>
              <a:cxn ang="0">
                <a:pos x="connsiteX71816" y="connsiteY71816"/>
              </a:cxn>
              <a:cxn ang="0">
                <a:pos x="connsiteX71817" y="connsiteY71817"/>
              </a:cxn>
              <a:cxn ang="0">
                <a:pos x="connsiteX71818" y="connsiteY71818"/>
              </a:cxn>
              <a:cxn ang="0">
                <a:pos x="connsiteX71819" y="connsiteY71819"/>
              </a:cxn>
              <a:cxn ang="0">
                <a:pos x="connsiteX71820" y="connsiteY71820"/>
              </a:cxn>
              <a:cxn ang="0">
                <a:pos x="connsiteX71821" y="connsiteY71821"/>
              </a:cxn>
              <a:cxn ang="0">
                <a:pos x="connsiteX71822" y="connsiteY71822"/>
              </a:cxn>
              <a:cxn ang="0">
                <a:pos x="connsiteX71823" y="connsiteY71823"/>
              </a:cxn>
              <a:cxn ang="0">
                <a:pos x="connsiteX71824" y="connsiteY71824"/>
              </a:cxn>
              <a:cxn ang="0">
                <a:pos x="connsiteX71825" y="connsiteY71825"/>
              </a:cxn>
              <a:cxn ang="0">
                <a:pos x="connsiteX71826" y="connsiteY71826"/>
              </a:cxn>
              <a:cxn ang="0">
                <a:pos x="connsiteX71827" y="connsiteY71827"/>
              </a:cxn>
              <a:cxn ang="0">
                <a:pos x="connsiteX71828" y="connsiteY71828"/>
              </a:cxn>
              <a:cxn ang="0">
                <a:pos x="connsiteX71829" y="connsiteY71829"/>
              </a:cxn>
              <a:cxn ang="0">
                <a:pos x="connsiteX71830" y="connsiteY71830"/>
              </a:cxn>
              <a:cxn ang="0">
                <a:pos x="connsiteX71831" y="connsiteY71831"/>
              </a:cxn>
              <a:cxn ang="0">
                <a:pos x="connsiteX71832" y="connsiteY71832"/>
              </a:cxn>
              <a:cxn ang="0">
                <a:pos x="connsiteX71833" y="connsiteY71833"/>
              </a:cxn>
              <a:cxn ang="0">
                <a:pos x="connsiteX71834" y="connsiteY71834"/>
              </a:cxn>
              <a:cxn ang="0">
                <a:pos x="connsiteX71835" y="connsiteY71835"/>
              </a:cxn>
              <a:cxn ang="0">
                <a:pos x="connsiteX71836" y="connsiteY71836"/>
              </a:cxn>
              <a:cxn ang="0">
                <a:pos x="connsiteX71837" y="connsiteY71837"/>
              </a:cxn>
              <a:cxn ang="0">
                <a:pos x="connsiteX71838" y="connsiteY71838"/>
              </a:cxn>
              <a:cxn ang="0">
                <a:pos x="connsiteX71839" y="connsiteY71839"/>
              </a:cxn>
              <a:cxn ang="0">
                <a:pos x="connsiteX71840" y="connsiteY71840"/>
              </a:cxn>
              <a:cxn ang="0">
                <a:pos x="connsiteX71841" y="connsiteY71841"/>
              </a:cxn>
              <a:cxn ang="0">
                <a:pos x="connsiteX71842" y="connsiteY71842"/>
              </a:cxn>
              <a:cxn ang="0">
                <a:pos x="connsiteX71843" y="connsiteY71843"/>
              </a:cxn>
              <a:cxn ang="0">
                <a:pos x="connsiteX71844" y="connsiteY71844"/>
              </a:cxn>
              <a:cxn ang="0">
                <a:pos x="connsiteX71845" y="connsiteY71845"/>
              </a:cxn>
              <a:cxn ang="0">
                <a:pos x="connsiteX71846" y="connsiteY71846"/>
              </a:cxn>
              <a:cxn ang="0">
                <a:pos x="connsiteX71847" y="connsiteY71847"/>
              </a:cxn>
              <a:cxn ang="0">
                <a:pos x="connsiteX71848" y="connsiteY71848"/>
              </a:cxn>
              <a:cxn ang="0">
                <a:pos x="connsiteX71849" y="connsiteY71849"/>
              </a:cxn>
              <a:cxn ang="0">
                <a:pos x="connsiteX71850" y="connsiteY71850"/>
              </a:cxn>
              <a:cxn ang="0">
                <a:pos x="connsiteX71851" y="connsiteY71851"/>
              </a:cxn>
              <a:cxn ang="0">
                <a:pos x="connsiteX71852" y="connsiteY71852"/>
              </a:cxn>
              <a:cxn ang="0">
                <a:pos x="connsiteX71853" y="connsiteY71853"/>
              </a:cxn>
              <a:cxn ang="0">
                <a:pos x="connsiteX71854" y="connsiteY71854"/>
              </a:cxn>
              <a:cxn ang="0">
                <a:pos x="connsiteX71855" y="connsiteY71855"/>
              </a:cxn>
              <a:cxn ang="0">
                <a:pos x="connsiteX71856" y="connsiteY71856"/>
              </a:cxn>
              <a:cxn ang="0">
                <a:pos x="connsiteX71857" y="connsiteY71857"/>
              </a:cxn>
              <a:cxn ang="0">
                <a:pos x="connsiteX71858" y="connsiteY71858"/>
              </a:cxn>
              <a:cxn ang="0">
                <a:pos x="connsiteX71859" y="connsiteY71859"/>
              </a:cxn>
              <a:cxn ang="0">
                <a:pos x="connsiteX71860" y="connsiteY71860"/>
              </a:cxn>
              <a:cxn ang="0">
                <a:pos x="connsiteX71861" y="connsiteY71861"/>
              </a:cxn>
              <a:cxn ang="0">
                <a:pos x="connsiteX71862" y="connsiteY71862"/>
              </a:cxn>
              <a:cxn ang="0">
                <a:pos x="connsiteX71863" y="connsiteY71863"/>
              </a:cxn>
              <a:cxn ang="0">
                <a:pos x="connsiteX71864" y="connsiteY71864"/>
              </a:cxn>
              <a:cxn ang="0">
                <a:pos x="connsiteX71865" y="connsiteY71865"/>
              </a:cxn>
              <a:cxn ang="0">
                <a:pos x="connsiteX71866" y="connsiteY71866"/>
              </a:cxn>
              <a:cxn ang="0">
                <a:pos x="connsiteX71867" y="connsiteY71867"/>
              </a:cxn>
              <a:cxn ang="0">
                <a:pos x="connsiteX71868" y="connsiteY71868"/>
              </a:cxn>
              <a:cxn ang="0">
                <a:pos x="connsiteX71869" y="connsiteY71869"/>
              </a:cxn>
              <a:cxn ang="0">
                <a:pos x="connsiteX71870" y="connsiteY71870"/>
              </a:cxn>
              <a:cxn ang="0">
                <a:pos x="connsiteX71871" y="connsiteY71871"/>
              </a:cxn>
              <a:cxn ang="0">
                <a:pos x="connsiteX71872" y="connsiteY71872"/>
              </a:cxn>
              <a:cxn ang="0">
                <a:pos x="connsiteX71873" y="connsiteY71873"/>
              </a:cxn>
              <a:cxn ang="0">
                <a:pos x="connsiteX71874" y="connsiteY71874"/>
              </a:cxn>
              <a:cxn ang="0">
                <a:pos x="connsiteX71875" y="connsiteY71875"/>
              </a:cxn>
              <a:cxn ang="0">
                <a:pos x="connsiteX71876" y="connsiteY71876"/>
              </a:cxn>
              <a:cxn ang="0">
                <a:pos x="connsiteX71877" y="connsiteY71877"/>
              </a:cxn>
              <a:cxn ang="0">
                <a:pos x="connsiteX71878" y="connsiteY71878"/>
              </a:cxn>
              <a:cxn ang="0">
                <a:pos x="connsiteX71879" y="connsiteY71879"/>
              </a:cxn>
              <a:cxn ang="0">
                <a:pos x="connsiteX71880" y="connsiteY71880"/>
              </a:cxn>
              <a:cxn ang="0">
                <a:pos x="connsiteX71881" y="connsiteY71881"/>
              </a:cxn>
              <a:cxn ang="0">
                <a:pos x="connsiteX71882" y="connsiteY71882"/>
              </a:cxn>
              <a:cxn ang="0">
                <a:pos x="connsiteX71883" y="connsiteY71883"/>
              </a:cxn>
              <a:cxn ang="0">
                <a:pos x="connsiteX71884" y="connsiteY71884"/>
              </a:cxn>
              <a:cxn ang="0">
                <a:pos x="connsiteX71885" y="connsiteY71885"/>
              </a:cxn>
              <a:cxn ang="0">
                <a:pos x="connsiteX71886" y="connsiteY71886"/>
              </a:cxn>
              <a:cxn ang="0">
                <a:pos x="connsiteX71887" y="connsiteY71887"/>
              </a:cxn>
              <a:cxn ang="0">
                <a:pos x="connsiteX71888" y="connsiteY71888"/>
              </a:cxn>
              <a:cxn ang="0">
                <a:pos x="connsiteX71889" y="connsiteY71889"/>
              </a:cxn>
              <a:cxn ang="0">
                <a:pos x="connsiteX71890" y="connsiteY71890"/>
              </a:cxn>
              <a:cxn ang="0">
                <a:pos x="connsiteX71891" y="connsiteY71891"/>
              </a:cxn>
              <a:cxn ang="0">
                <a:pos x="connsiteX71892" y="connsiteY71892"/>
              </a:cxn>
              <a:cxn ang="0">
                <a:pos x="connsiteX71893" y="connsiteY71893"/>
              </a:cxn>
              <a:cxn ang="0">
                <a:pos x="connsiteX71894" y="connsiteY71894"/>
              </a:cxn>
              <a:cxn ang="0">
                <a:pos x="connsiteX71895" y="connsiteY71895"/>
              </a:cxn>
              <a:cxn ang="0">
                <a:pos x="connsiteX71896" y="connsiteY71896"/>
              </a:cxn>
              <a:cxn ang="0">
                <a:pos x="connsiteX71897" y="connsiteY71897"/>
              </a:cxn>
              <a:cxn ang="0">
                <a:pos x="connsiteX71898" y="connsiteY71898"/>
              </a:cxn>
              <a:cxn ang="0">
                <a:pos x="connsiteX71899" y="connsiteY71899"/>
              </a:cxn>
              <a:cxn ang="0">
                <a:pos x="connsiteX71900" y="connsiteY71900"/>
              </a:cxn>
              <a:cxn ang="0">
                <a:pos x="connsiteX71901" y="connsiteY71901"/>
              </a:cxn>
              <a:cxn ang="0">
                <a:pos x="connsiteX71902" y="connsiteY71902"/>
              </a:cxn>
              <a:cxn ang="0">
                <a:pos x="connsiteX71903" y="connsiteY71903"/>
              </a:cxn>
              <a:cxn ang="0">
                <a:pos x="connsiteX71904" y="connsiteY71904"/>
              </a:cxn>
              <a:cxn ang="0">
                <a:pos x="connsiteX71905" y="connsiteY71905"/>
              </a:cxn>
              <a:cxn ang="0">
                <a:pos x="connsiteX71906" y="connsiteY71906"/>
              </a:cxn>
              <a:cxn ang="0">
                <a:pos x="connsiteX71907" y="connsiteY71907"/>
              </a:cxn>
              <a:cxn ang="0">
                <a:pos x="connsiteX71908" y="connsiteY71908"/>
              </a:cxn>
              <a:cxn ang="0">
                <a:pos x="connsiteX71909" y="connsiteY71909"/>
              </a:cxn>
              <a:cxn ang="0">
                <a:pos x="connsiteX71910" y="connsiteY71910"/>
              </a:cxn>
              <a:cxn ang="0">
                <a:pos x="connsiteX71911" y="connsiteY71911"/>
              </a:cxn>
              <a:cxn ang="0">
                <a:pos x="connsiteX71912" y="connsiteY71912"/>
              </a:cxn>
              <a:cxn ang="0">
                <a:pos x="connsiteX71913" y="connsiteY71913"/>
              </a:cxn>
              <a:cxn ang="0">
                <a:pos x="connsiteX71914" y="connsiteY71914"/>
              </a:cxn>
              <a:cxn ang="0">
                <a:pos x="connsiteX71915" y="connsiteY71915"/>
              </a:cxn>
              <a:cxn ang="0">
                <a:pos x="connsiteX71916" y="connsiteY71916"/>
              </a:cxn>
              <a:cxn ang="0">
                <a:pos x="connsiteX71917" y="connsiteY71917"/>
              </a:cxn>
              <a:cxn ang="0">
                <a:pos x="connsiteX71918" y="connsiteY71918"/>
              </a:cxn>
              <a:cxn ang="0">
                <a:pos x="connsiteX71919" y="connsiteY71919"/>
              </a:cxn>
              <a:cxn ang="0">
                <a:pos x="connsiteX71920" y="connsiteY71920"/>
              </a:cxn>
              <a:cxn ang="0">
                <a:pos x="connsiteX71921" y="connsiteY71921"/>
              </a:cxn>
              <a:cxn ang="0">
                <a:pos x="connsiteX71922" y="connsiteY71922"/>
              </a:cxn>
              <a:cxn ang="0">
                <a:pos x="connsiteX71923" y="connsiteY71923"/>
              </a:cxn>
              <a:cxn ang="0">
                <a:pos x="connsiteX71924" y="connsiteY71924"/>
              </a:cxn>
              <a:cxn ang="0">
                <a:pos x="connsiteX71925" y="connsiteY71925"/>
              </a:cxn>
              <a:cxn ang="0">
                <a:pos x="connsiteX71926" y="connsiteY71926"/>
              </a:cxn>
              <a:cxn ang="0">
                <a:pos x="connsiteX71927" y="connsiteY71927"/>
              </a:cxn>
              <a:cxn ang="0">
                <a:pos x="connsiteX71928" y="connsiteY71928"/>
              </a:cxn>
              <a:cxn ang="0">
                <a:pos x="connsiteX71929" y="connsiteY71929"/>
              </a:cxn>
              <a:cxn ang="0">
                <a:pos x="connsiteX71930" y="connsiteY71930"/>
              </a:cxn>
              <a:cxn ang="0">
                <a:pos x="connsiteX71931" y="connsiteY71931"/>
              </a:cxn>
              <a:cxn ang="0">
                <a:pos x="connsiteX71932" y="connsiteY71932"/>
              </a:cxn>
              <a:cxn ang="0">
                <a:pos x="connsiteX71933" y="connsiteY71933"/>
              </a:cxn>
              <a:cxn ang="0">
                <a:pos x="connsiteX71934" y="connsiteY71934"/>
              </a:cxn>
              <a:cxn ang="0">
                <a:pos x="connsiteX71935" y="connsiteY71935"/>
              </a:cxn>
              <a:cxn ang="0">
                <a:pos x="connsiteX71936" y="connsiteY71936"/>
              </a:cxn>
              <a:cxn ang="0">
                <a:pos x="connsiteX71937" y="connsiteY71937"/>
              </a:cxn>
              <a:cxn ang="0">
                <a:pos x="connsiteX71938" y="connsiteY71938"/>
              </a:cxn>
              <a:cxn ang="0">
                <a:pos x="connsiteX71939" y="connsiteY71939"/>
              </a:cxn>
              <a:cxn ang="0">
                <a:pos x="connsiteX71940" y="connsiteY71940"/>
              </a:cxn>
              <a:cxn ang="0">
                <a:pos x="connsiteX71941" y="connsiteY71941"/>
              </a:cxn>
              <a:cxn ang="0">
                <a:pos x="connsiteX71942" y="connsiteY71942"/>
              </a:cxn>
              <a:cxn ang="0">
                <a:pos x="connsiteX71943" y="connsiteY71943"/>
              </a:cxn>
              <a:cxn ang="0">
                <a:pos x="connsiteX71944" y="connsiteY71944"/>
              </a:cxn>
              <a:cxn ang="0">
                <a:pos x="connsiteX71945" y="connsiteY71945"/>
              </a:cxn>
              <a:cxn ang="0">
                <a:pos x="connsiteX71946" y="connsiteY71946"/>
              </a:cxn>
              <a:cxn ang="0">
                <a:pos x="connsiteX71947" y="connsiteY71947"/>
              </a:cxn>
              <a:cxn ang="0">
                <a:pos x="connsiteX71948" y="connsiteY71948"/>
              </a:cxn>
              <a:cxn ang="0">
                <a:pos x="connsiteX71949" y="connsiteY71949"/>
              </a:cxn>
              <a:cxn ang="0">
                <a:pos x="connsiteX71950" y="connsiteY71950"/>
              </a:cxn>
              <a:cxn ang="0">
                <a:pos x="connsiteX71951" y="connsiteY71951"/>
              </a:cxn>
              <a:cxn ang="0">
                <a:pos x="connsiteX71952" y="connsiteY71952"/>
              </a:cxn>
              <a:cxn ang="0">
                <a:pos x="connsiteX71953" y="connsiteY71953"/>
              </a:cxn>
              <a:cxn ang="0">
                <a:pos x="connsiteX71954" y="connsiteY71954"/>
              </a:cxn>
              <a:cxn ang="0">
                <a:pos x="connsiteX71955" y="connsiteY71955"/>
              </a:cxn>
              <a:cxn ang="0">
                <a:pos x="connsiteX71956" y="connsiteY71956"/>
              </a:cxn>
              <a:cxn ang="0">
                <a:pos x="connsiteX71957" y="connsiteY71957"/>
              </a:cxn>
              <a:cxn ang="0">
                <a:pos x="connsiteX71958" y="connsiteY71958"/>
              </a:cxn>
              <a:cxn ang="0">
                <a:pos x="connsiteX71959" y="connsiteY71959"/>
              </a:cxn>
              <a:cxn ang="0">
                <a:pos x="connsiteX71960" y="connsiteY71960"/>
              </a:cxn>
              <a:cxn ang="0">
                <a:pos x="connsiteX71961" y="connsiteY71961"/>
              </a:cxn>
              <a:cxn ang="0">
                <a:pos x="connsiteX71962" y="connsiteY71962"/>
              </a:cxn>
              <a:cxn ang="0">
                <a:pos x="connsiteX71963" y="connsiteY71963"/>
              </a:cxn>
              <a:cxn ang="0">
                <a:pos x="connsiteX71964" y="connsiteY71964"/>
              </a:cxn>
              <a:cxn ang="0">
                <a:pos x="connsiteX71965" y="connsiteY71965"/>
              </a:cxn>
              <a:cxn ang="0">
                <a:pos x="connsiteX71966" y="connsiteY71966"/>
              </a:cxn>
              <a:cxn ang="0">
                <a:pos x="connsiteX71967" y="connsiteY71967"/>
              </a:cxn>
              <a:cxn ang="0">
                <a:pos x="connsiteX71968" y="connsiteY71968"/>
              </a:cxn>
              <a:cxn ang="0">
                <a:pos x="connsiteX71969" y="connsiteY71969"/>
              </a:cxn>
              <a:cxn ang="0">
                <a:pos x="connsiteX71970" y="connsiteY71970"/>
              </a:cxn>
              <a:cxn ang="0">
                <a:pos x="connsiteX71971" y="connsiteY71971"/>
              </a:cxn>
              <a:cxn ang="0">
                <a:pos x="connsiteX71972" y="connsiteY71972"/>
              </a:cxn>
              <a:cxn ang="0">
                <a:pos x="connsiteX71973" y="connsiteY71973"/>
              </a:cxn>
              <a:cxn ang="0">
                <a:pos x="connsiteX71974" y="connsiteY71974"/>
              </a:cxn>
              <a:cxn ang="0">
                <a:pos x="connsiteX71975" y="connsiteY71975"/>
              </a:cxn>
              <a:cxn ang="0">
                <a:pos x="connsiteX71976" y="connsiteY71976"/>
              </a:cxn>
              <a:cxn ang="0">
                <a:pos x="connsiteX71977" y="connsiteY71977"/>
              </a:cxn>
              <a:cxn ang="0">
                <a:pos x="connsiteX71978" y="connsiteY71978"/>
              </a:cxn>
              <a:cxn ang="0">
                <a:pos x="connsiteX71979" y="connsiteY71979"/>
              </a:cxn>
              <a:cxn ang="0">
                <a:pos x="connsiteX71980" y="connsiteY71980"/>
              </a:cxn>
              <a:cxn ang="0">
                <a:pos x="connsiteX71981" y="connsiteY71981"/>
              </a:cxn>
              <a:cxn ang="0">
                <a:pos x="connsiteX71982" y="connsiteY71982"/>
              </a:cxn>
              <a:cxn ang="0">
                <a:pos x="connsiteX71983" y="connsiteY71983"/>
              </a:cxn>
              <a:cxn ang="0">
                <a:pos x="connsiteX71984" y="connsiteY71984"/>
              </a:cxn>
              <a:cxn ang="0">
                <a:pos x="connsiteX71985" y="connsiteY71985"/>
              </a:cxn>
              <a:cxn ang="0">
                <a:pos x="connsiteX71986" y="connsiteY71986"/>
              </a:cxn>
              <a:cxn ang="0">
                <a:pos x="connsiteX71987" y="connsiteY71987"/>
              </a:cxn>
              <a:cxn ang="0">
                <a:pos x="connsiteX71988" y="connsiteY71988"/>
              </a:cxn>
              <a:cxn ang="0">
                <a:pos x="connsiteX71989" y="connsiteY71989"/>
              </a:cxn>
              <a:cxn ang="0">
                <a:pos x="connsiteX71990" y="connsiteY71990"/>
              </a:cxn>
              <a:cxn ang="0">
                <a:pos x="connsiteX71991" y="connsiteY71991"/>
              </a:cxn>
              <a:cxn ang="0">
                <a:pos x="connsiteX71992" y="connsiteY71992"/>
              </a:cxn>
              <a:cxn ang="0">
                <a:pos x="connsiteX71993" y="connsiteY71993"/>
              </a:cxn>
              <a:cxn ang="0">
                <a:pos x="connsiteX71994" y="connsiteY71994"/>
              </a:cxn>
              <a:cxn ang="0">
                <a:pos x="connsiteX71995" y="connsiteY71995"/>
              </a:cxn>
              <a:cxn ang="0">
                <a:pos x="connsiteX71996" y="connsiteY71996"/>
              </a:cxn>
              <a:cxn ang="0">
                <a:pos x="connsiteX71997" y="connsiteY71997"/>
              </a:cxn>
              <a:cxn ang="0">
                <a:pos x="connsiteX71998" y="connsiteY71998"/>
              </a:cxn>
              <a:cxn ang="0">
                <a:pos x="connsiteX71999" y="connsiteY71999"/>
              </a:cxn>
              <a:cxn ang="0">
                <a:pos x="connsiteX72000" y="connsiteY72000"/>
              </a:cxn>
              <a:cxn ang="0">
                <a:pos x="connsiteX72001" y="connsiteY72001"/>
              </a:cxn>
              <a:cxn ang="0">
                <a:pos x="connsiteX72002" y="connsiteY72002"/>
              </a:cxn>
              <a:cxn ang="0">
                <a:pos x="connsiteX72003" y="connsiteY72003"/>
              </a:cxn>
              <a:cxn ang="0">
                <a:pos x="connsiteX72004" y="connsiteY72004"/>
              </a:cxn>
              <a:cxn ang="0">
                <a:pos x="connsiteX72005" y="connsiteY72005"/>
              </a:cxn>
              <a:cxn ang="0">
                <a:pos x="connsiteX72006" y="connsiteY72006"/>
              </a:cxn>
              <a:cxn ang="0">
                <a:pos x="connsiteX72007" y="connsiteY72007"/>
              </a:cxn>
              <a:cxn ang="0">
                <a:pos x="connsiteX72008" y="connsiteY72008"/>
              </a:cxn>
              <a:cxn ang="0">
                <a:pos x="connsiteX72009" y="connsiteY72009"/>
              </a:cxn>
              <a:cxn ang="0">
                <a:pos x="connsiteX72010" y="connsiteY72010"/>
              </a:cxn>
              <a:cxn ang="0">
                <a:pos x="connsiteX72011" y="connsiteY72011"/>
              </a:cxn>
              <a:cxn ang="0">
                <a:pos x="connsiteX72012" y="connsiteY72012"/>
              </a:cxn>
              <a:cxn ang="0">
                <a:pos x="connsiteX72013" y="connsiteY72013"/>
              </a:cxn>
              <a:cxn ang="0">
                <a:pos x="connsiteX72014" y="connsiteY72014"/>
              </a:cxn>
              <a:cxn ang="0">
                <a:pos x="connsiteX72015" y="connsiteY72015"/>
              </a:cxn>
              <a:cxn ang="0">
                <a:pos x="connsiteX72016" y="connsiteY72016"/>
              </a:cxn>
              <a:cxn ang="0">
                <a:pos x="connsiteX72017" y="connsiteY72017"/>
              </a:cxn>
              <a:cxn ang="0">
                <a:pos x="connsiteX72018" y="connsiteY72018"/>
              </a:cxn>
              <a:cxn ang="0">
                <a:pos x="connsiteX72019" y="connsiteY72019"/>
              </a:cxn>
              <a:cxn ang="0">
                <a:pos x="connsiteX72020" y="connsiteY72020"/>
              </a:cxn>
              <a:cxn ang="0">
                <a:pos x="connsiteX72021" y="connsiteY72021"/>
              </a:cxn>
              <a:cxn ang="0">
                <a:pos x="connsiteX72022" y="connsiteY72022"/>
              </a:cxn>
              <a:cxn ang="0">
                <a:pos x="connsiteX72023" y="connsiteY72023"/>
              </a:cxn>
              <a:cxn ang="0">
                <a:pos x="connsiteX72024" y="connsiteY72024"/>
              </a:cxn>
              <a:cxn ang="0">
                <a:pos x="connsiteX72025" y="connsiteY72025"/>
              </a:cxn>
              <a:cxn ang="0">
                <a:pos x="connsiteX72026" y="connsiteY72026"/>
              </a:cxn>
              <a:cxn ang="0">
                <a:pos x="connsiteX72027" y="connsiteY72027"/>
              </a:cxn>
              <a:cxn ang="0">
                <a:pos x="connsiteX72028" y="connsiteY72028"/>
              </a:cxn>
              <a:cxn ang="0">
                <a:pos x="connsiteX72029" y="connsiteY72029"/>
              </a:cxn>
              <a:cxn ang="0">
                <a:pos x="connsiteX72030" y="connsiteY72030"/>
              </a:cxn>
              <a:cxn ang="0">
                <a:pos x="connsiteX72031" y="connsiteY72031"/>
              </a:cxn>
              <a:cxn ang="0">
                <a:pos x="connsiteX72032" y="connsiteY72032"/>
              </a:cxn>
              <a:cxn ang="0">
                <a:pos x="connsiteX72033" y="connsiteY72033"/>
              </a:cxn>
              <a:cxn ang="0">
                <a:pos x="connsiteX72034" y="connsiteY72034"/>
              </a:cxn>
              <a:cxn ang="0">
                <a:pos x="connsiteX72035" y="connsiteY72035"/>
              </a:cxn>
              <a:cxn ang="0">
                <a:pos x="connsiteX72036" y="connsiteY72036"/>
              </a:cxn>
              <a:cxn ang="0">
                <a:pos x="connsiteX72037" y="connsiteY72037"/>
              </a:cxn>
              <a:cxn ang="0">
                <a:pos x="connsiteX72038" y="connsiteY72038"/>
              </a:cxn>
              <a:cxn ang="0">
                <a:pos x="connsiteX72039" y="connsiteY72039"/>
              </a:cxn>
              <a:cxn ang="0">
                <a:pos x="connsiteX72040" y="connsiteY72040"/>
              </a:cxn>
              <a:cxn ang="0">
                <a:pos x="connsiteX72041" y="connsiteY72041"/>
              </a:cxn>
              <a:cxn ang="0">
                <a:pos x="connsiteX72042" y="connsiteY72042"/>
              </a:cxn>
              <a:cxn ang="0">
                <a:pos x="connsiteX72043" y="connsiteY72043"/>
              </a:cxn>
              <a:cxn ang="0">
                <a:pos x="connsiteX72044" y="connsiteY72044"/>
              </a:cxn>
              <a:cxn ang="0">
                <a:pos x="connsiteX72045" y="connsiteY72045"/>
              </a:cxn>
              <a:cxn ang="0">
                <a:pos x="connsiteX72046" y="connsiteY72046"/>
              </a:cxn>
              <a:cxn ang="0">
                <a:pos x="connsiteX72047" y="connsiteY72047"/>
              </a:cxn>
              <a:cxn ang="0">
                <a:pos x="connsiteX72048" y="connsiteY72048"/>
              </a:cxn>
              <a:cxn ang="0">
                <a:pos x="connsiteX72049" y="connsiteY72049"/>
              </a:cxn>
              <a:cxn ang="0">
                <a:pos x="connsiteX72050" y="connsiteY72050"/>
              </a:cxn>
              <a:cxn ang="0">
                <a:pos x="connsiteX72051" y="connsiteY72051"/>
              </a:cxn>
              <a:cxn ang="0">
                <a:pos x="connsiteX72052" y="connsiteY72052"/>
              </a:cxn>
              <a:cxn ang="0">
                <a:pos x="connsiteX72053" y="connsiteY72053"/>
              </a:cxn>
              <a:cxn ang="0">
                <a:pos x="connsiteX72054" y="connsiteY72054"/>
              </a:cxn>
              <a:cxn ang="0">
                <a:pos x="connsiteX72055" y="connsiteY72055"/>
              </a:cxn>
              <a:cxn ang="0">
                <a:pos x="connsiteX72056" y="connsiteY72056"/>
              </a:cxn>
              <a:cxn ang="0">
                <a:pos x="connsiteX72057" y="connsiteY72057"/>
              </a:cxn>
              <a:cxn ang="0">
                <a:pos x="connsiteX72058" y="connsiteY72058"/>
              </a:cxn>
              <a:cxn ang="0">
                <a:pos x="connsiteX72059" y="connsiteY72059"/>
              </a:cxn>
              <a:cxn ang="0">
                <a:pos x="connsiteX72060" y="connsiteY72060"/>
              </a:cxn>
              <a:cxn ang="0">
                <a:pos x="connsiteX72061" y="connsiteY72061"/>
              </a:cxn>
              <a:cxn ang="0">
                <a:pos x="connsiteX72062" y="connsiteY72062"/>
              </a:cxn>
              <a:cxn ang="0">
                <a:pos x="connsiteX72063" y="connsiteY72063"/>
              </a:cxn>
              <a:cxn ang="0">
                <a:pos x="connsiteX72064" y="connsiteY72064"/>
              </a:cxn>
              <a:cxn ang="0">
                <a:pos x="connsiteX72065" y="connsiteY72065"/>
              </a:cxn>
              <a:cxn ang="0">
                <a:pos x="connsiteX72066" y="connsiteY72066"/>
              </a:cxn>
              <a:cxn ang="0">
                <a:pos x="connsiteX72067" y="connsiteY72067"/>
              </a:cxn>
              <a:cxn ang="0">
                <a:pos x="connsiteX72068" y="connsiteY72068"/>
              </a:cxn>
              <a:cxn ang="0">
                <a:pos x="connsiteX72069" y="connsiteY72069"/>
              </a:cxn>
              <a:cxn ang="0">
                <a:pos x="connsiteX72070" y="connsiteY72070"/>
              </a:cxn>
              <a:cxn ang="0">
                <a:pos x="connsiteX72071" y="connsiteY72071"/>
              </a:cxn>
              <a:cxn ang="0">
                <a:pos x="connsiteX72072" y="connsiteY72072"/>
              </a:cxn>
              <a:cxn ang="0">
                <a:pos x="connsiteX72073" y="connsiteY72073"/>
              </a:cxn>
              <a:cxn ang="0">
                <a:pos x="connsiteX72074" y="connsiteY72074"/>
              </a:cxn>
              <a:cxn ang="0">
                <a:pos x="connsiteX72075" y="connsiteY72075"/>
              </a:cxn>
              <a:cxn ang="0">
                <a:pos x="connsiteX72076" y="connsiteY72076"/>
              </a:cxn>
              <a:cxn ang="0">
                <a:pos x="connsiteX72077" y="connsiteY72077"/>
              </a:cxn>
              <a:cxn ang="0">
                <a:pos x="connsiteX72078" y="connsiteY72078"/>
              </a:cxn>
              <a:cxn ang="0">
                <a:pos x="connsiteX72079" y="connsiteY72079"/>
              </a:cxn>
              <a:cxn ang="0">
                <a:pos x="connsiteX72080" y="connsiteY72080"/>
              </a:cxn>
              <a:cxn ang="0">
                <a:pos x="connsiteX72081" y="connsiteY72081"/>
              </a:cxn>
              <a:cxn ang="0">
                <a:pos x="connsiteX72082" y="connsiteY72082"/>
              </a:cxn>
              <a:cxn ang="0">
                <a:pos x="connsiteX72083" y="connsiteY72083"/>
              </a:cxn>
              <a:cxn ang="0">
                <a:pos x="connsiteX72084" y="connsiteY72084"/>
              </a:cxn>
              <a:cxn ang="0">
                <a:pos x="connsiteX72085" y="connsiteY72085"/>
              </a:cxn>
              <a:cxn ang="0">
                <a:pos x="connsiteX72086" y="connsiteY72086"/>
              </a:cxn>
              <a:cxn ang="0">
                <a:pos x="connsiteX72087" y="connsiteY72087"/>
              </a:cxn>
              <a:cxn ang="0">
                <a:pos x="connsiteX72088" y="connsiteY72088"/>
              </a:cxn>
              <a:cxn ang="0">
                <a:pos x="connsiteX72089" y="connsiteY72089"/>
              </a:cxn>
              <a:cxn ang="0">
                <a:pos x="connsiteX72090" y="connsiteY72090"/>
              </a:cxn>
              <a:cxn ang="0">
                <a:pos x="connsiteX72091" y="connsiteY72091"/>
              </a:cxn>
              <a:cxn ang="0">
                <a:pos x="connsiteX72092" y="connsiteY72092"/>
              </a:cxn>
              <a:cxn ang="0">
                <a:pos x="connsiteX72093" y="connsiteY72093"/>
              </a:cxn>
              <a:cxn ang="0">
                <a:pos x="connsiteX72094" y="connsiteY72094"/>
              </a:cxn>
              <a:cxn ang="0">
                <a:pos x="connsiteX72095" y="connsiteY72095"/>
              </a:cxn>
              <a:cxn ang="0">
                <a:pos x="connsiteX72096" y="connsiteY72096"/>
              </a:cxn>
              <a:cxn ang="0">
                <a:pos x="connsiteX72097" y="connsiteY72097"/>
              </a:cxn>
              <a:cxn ang="0">
                <a:pos x="connsiteX72098" y="connsiteY72098"/>
              </a:cxn>
              <a:cxn ang="0">
                <a:pos x="connsiteX72099" y="connsiteY72099"/>
              </a:cxn>
              <a:cxn ang="0">
                <a:pos x="connsiteX72100" y="connsiteY72100"/>
              </a:cxn>
              <a:cxn ang="0">
                <a:pos x="connsiteX72101" y="connsiteY72101"/>
              </a:cxn>
              <a:cxn ang="0">
                <a:pos x="connsiteX72102" y="connsiteY72102"/>
              </a:cxn>
              <a:cxn ang="0">
                <a:pos x="connsiteX72103" y="connsiteY72103"/>
              </a:cxn>
              <a:cxn ang="0">
                <a:pos x="connsiteX72104" y="connsiteY72104"/>
              </a:cxn>
              <a:cxn ang="0">
                <a:pos x="connsiteX72105" y="connsiteY72105"/>
              </a:cxn>
              <a:cxn ang="0">
                <a:pos x="connsiteX72106" y="connsiteY72106"/>
              </a:cxn>
              <a:cxn ang="0">
                <a:pos x="connsiteX72107" y="connsiteY72107"/>
              </a:cxn>
              <a:cxn ang="0">
                <a:pos x="connsiteX72108" y="connsiteY72108"/>
              </a:cxn>
              <a:cxn ang="0">
                <a:pos x="connsiteX72109" y="connsiteY72109"/>
              </a:cxn>
              <a:cxn ang="0">
                <a:pos x="connsiteX72110" y="connsiteY72110"/>
              </a:cxn>
              <a:cxn ang="0">
                <a:pos x="connsiteX72111" y="connsiteY72111"/>
              </a:cxn>
              <a:cxn ang="0">
                <a:pos x="connsiteX72112" y="connsiteY72112"/>
              </a:cxn>
              <a:cxn ang="0">
                <a:pos x="connsiteX72113" y="connsiteY72113"/>
              </a:cxn>
              <a:cxn ang="0">
                <a:pos x="connsiteX72114" y="connsiteY72114"/>
              </a:cxn>
              <a:cxn ang="0">
                <a:pos x="connsiteX72115" y="connsiteY72115"/>
              </a:cxn>
              <a:cxn ang="0">
                <a:pos x="connsiteX72116" y="connsiteY72116"/>
              </a:cxn>
              <a:cxn ang="0">
                <a:pos x="connsiteX72117" y="connsiteY72117"/>
              </a:cxn>
              <a:cxn ang="0">
                <a:pos x="connsiteX72118" y="connsiteY72118"/>
              </a:cxn>
              <a:cxn ang="0">
                <a:pos x="connsiteX72119" y="connsiteY72119"/>
              </a:cxn>
              <a:cxn ang="0">
                <a:pos x="connsiteX72120" y="connsiteY72120"/>
              </a:cxn>
              <a:cxn ang="0">
                <a:pos x="connsiteX72121" y="connsiteY72121"/>
              </a:cxn>
              <a:cxn ang="0">
                <a:pos x="connsiteX72122" y="connsiteY72122"/>
              </a:cxn>
              <a:cxn ang="0">
                <a:pos x="connsiteX72123" y="connsiteY72123"/>
              </a:cxn>
              <a:cxn ang="0">
                <a:pos x="connsiteX72124" y="connsiteY72124"/>
              </a:cxn>
              <a:cxn ang="0">
                <a:pos x="connsiteX72125" y="connsiteY72125"/>
              </a:cxn>
              <a:cxn ang="0">
                <a:pos x="connsiteX72126" y="connsiteY72126"/>
              </a:cxn>
              <a:cxn ang="0">
                <a:pos x="connsiteX72127" y="connsiteY72127"/>
              </a:cxn>
              <a:cxn ang="0">
                <a:pos x="connsiteX72128" y="connsiteY72128"/>
              </a:cxn>
              <a:cxn ang="0">
                <a:pos x="connsiteX72129" y="connsiteY72129"/>
              </a:cxn>
              <a:cxn ang="0">
                <a:pos x="connsiteX72130" y="connsiteY72130"/>
              </a:cxn>
              <a:cxn ang="0">
                <a:pos x="connsiteX72131" y="connsiteY72131"/>
              </a:cxn>
              <a:cxn ang="0">
                <a:pos x="connsiteX72132" y="connsiteY72132"/>
              </a:cxn>
              <a:cxn ang="0">
                <a:pos x="connsiteX72133" y="connsiteY72133"/>
              </a:cxn>
              <a:cxn ang="0">
                <a:pos x="connsiteX72134" y="connsiteY72134"/>
              </a:cxn>
              <a:cxn ang="0">
                <a:pos x="connsiteX72135" y="connsiteY72135"/>
              </a:cxn>
              <a:cxn ang="0">
                <a:pos x="connsiteX72136" y="connsiteY72136"/>
              </a:cxn>
              <a:cxn ang="0">
                <a:pos x="connsiteX72137" y="connsiteY72137"/>
              </a:cxn>
              <a:cxn ang="0">
                <a:pos x="connsiteX72138" y="connsiteY72138"/>
              </a:cxn>
              <a:cxn ang="0">
                <a:pos x="connsiteX72139" y="connsiteY72139"/>
              </a:cxn>
              <a:cxn ang="0">
                <a:pos x="connsiteX72140" y="connsiteY72140"/>
              </a:cxn>
              <a:cxn ang="0">
                <a:pos x="connsiteX72141" y="connsiteY72141"/>
              </a:cxn>
              <a:cxn ang="0">
                <a:pos x="connsiteX72142" y="connsiteY72142"/>
              </a:cxn>
              <a:cxn ang="0">
                <a:pos x="connsiteX72143" y="connsiteY72143"/>
              </a:cxn>
              <a:cxn ang="0">
                <a:pos x="connsiteX72144" y="connsiteY72144"/>
              </a:cxn>
              <a:cxn ang="0">
                <a:pos x="connsiteX72145" y="connsiteY72145"/>
              </a:cxn>
              <a:cxn ang="0">
                <a:pos x="connsiteX72146" y="connsiteY72146"/>
              </a:cxn>
              <a:cxn ang="0">
                <a:pos x="connsiteX72147" y="connsiteY72147"/>
              </a:cxn>
              <a:cxn ang="0">
                <a:pos x="connsiteX72148" y="connsiteY72148"/>
              </a:cxn>
              <a:cxn ang="0">
                <a:pos x="connsiteX72149" y="connsiteY72149"/>
              </a:cxn>
              <a:cxn ang="0">
                <a:pos x="connsiteX72150" y="connsiteY72150"/>
              </a:cxn>
              <a:cxn ang="0">
                <a:pos x="connsiteX72151" y="connsiteY72151"/>
              </a:cxn>
              <a:cxn ang="0">
                <a:pos x="connsiteX72152" y="connsiteY72152"/>
              </a:cxn>
              <a:cxn ang="0">
                <a:pos x="connsiteX72153" y="connsiteY72153"/>
              </a:cxn>
              <a:cxn ang="0">
                <a:pos x="connsiteX72154" y="connsiteY72154"/>
              </a:cxn>
              <a:cxn ang="0">
                <a:pos x="connsiteX72155" y="connsiteY72155"/>
              </a:cxn>
              <a:cxn ang="0">
                <a:pos x="connsiteX72156" y="connsiteY72156"/>
              </a:cxn>
              <a:cxn ang="0">
                <a:pos x="connsiteX72157" y="connsiteY72157"/>
              </a:cxn>
              <a:cxn ang="0">
                <a:pos x="connsiteX72158" y="connsiteY72158"/>
              </a:cxn>
              <a:cxn ang="0">
                <a:pos x="connsiteX72159" y="connsiteY72159"/>
              </a:cxn>
              <a:cxn ang="0">
                <a:pos x="connsiteX72160" y="connsiteY72160"/>
              </a:cxn>
              <a:cxn ang="0">
                <a:pos x="connsiteX72161" y="connsiteY72161"/>
              </a:cxn>
              <a:cxn ang="0">
                <a:pos x="connsiteX72162" y="connsiteY72162"/>
              </a:cxn>
              <a:cxn ang="0">
                <a:pos x="connsiteX72163" y="connsiteY72163"/>
              </a:cxn>
              <a:cxn ang="0">
                <a:pos x="connsiteX72164" y="connsiteY72164"/>
              </a:cxn>
              <a:cxn ang="0">
                <a:pos x="connsiteX72165" y="connsiteY72165"/>
              </a:cxn>
              <a:cxn ang="0">
                <a:pos x="connsiteX72166" y="connsiteY72166"/>
              </a:cxn>
              <a:cxn ang="0">
                <a:pos x="connsiteX72167" y="connsiteY72167"/>
              </a:cxn>
              <a:cxn ang="0">
                <a:pos x="connsiteX72168" y="connsiteY72168"/>
              </a:cxn>
              <a:cxn ang="0">
                <a:pos x="connsiteX72169" y="connsiteY72169"/>
              </a:cxn>
              <a:cxn ang="0">
                <a:pos x="connsiteX72170" y="connsiteY72170"/>
              </a:cxn>
              <a:cxn ang="0">
                <a:pos x="connsiteX72171" y="connsiteY72171"/>
              </a:cxn>
              <a:cxn ang="0">
                <a:pos x="connsiteX72172" y="connsiteY72172"/>
              </a:cxn>
              <a:cxn ang="0">
                <a:pos x="connsiteX72173" y="connsiteY72173"/>
              </a:cxn>
              <a:cxn ang="0">
                <a:pos x="connsiteX72174" y="connsiteY72174"/>
              </a:cxn>
              <a:cxn ang="0">
                <a:pos x="connsiteX72175" y="connsiteY72175"/>
              </a:cxn>
              <a:cxn ang="0">
                <a:pos x="connsiteX72176" y="connsiteY72176"/>
              </a:cxn>
              <a:cxn ang="0">
                <a:pos x="connsiteX72177" y="connsiteY72177"/>
              </a:cxn>
              <a:cxn ang="0">
                <a:pos x="connsiteX72178" y="connsiteY72178"/>
              </a:cxn>
              <a:cxn ang="0">
                <a:pos x="connsiteX72179" y="connsiteY72179"/>
              </a:cxn>
              <a:cxn ang="0">
                <a:pos x="connsiteX72180" y="connsiteY72180"/>
              </a:cxn>
              <a:cxn ang="0">
                <a:pos x="connsiteX72181" y="connsiteY72181"/>
              </a:cxn>
              <a:cxn ang="0">
                <a:pos x="connsiteX72182" y="connsiteY72182"/>
              </a:cxn>
              <a:cxn ang="0">
                <a:pos x="connsiteX72183" y="connsiteY72183"/>
              </a:cxn>
              <a:cxn ang="0">
                <a:pos x="connsiteX72184" y="connsiteY72184"/>
              </a:cxn>
              <a:cxn ang="0">
                <a:pos x="connsiteX72185" y="connsiteY72185"/>
              </a:cxn>
              <a:cxn ang="0">
                <a:pos x="connsiteX72186" y="connsiteY72186"/>
              </a:cxn>
              <a:cxn ang="0">
                <a:pos x="connsiteX72187" y="connsiteY72187"/>
              </a:cxn>
              <a:cxn ang="0">
                <a:pos x="connsiteX72188" y="connsiteY72188"/>
              </a:cxn>
              <a:cxn ang="0">
                <a:pos x="connsiteX72189" y="connsiteY72189"/>
              </a:cxn>
              <a:cxn ang="0">
                <a:pos x="connsiteX72190" y="connsiteY72190"/>
              </a:cxn>
              <a:cxn ang="0">
                <a:pos x="connsiteX72191" y="connsiteY72191"/>
              </a:cxn>
              <a:cxn ang="0">
                <a:pos x="connsiteX72192" y="connsiteY72192"/>
              </a:cxn>
              <a:cxn ang="0">
                <a:pos x="connsiteX72193" y="connsiteY72193"/>
              </a:cxn>
              <a:cxn ang="0">
                <a:pos x="connsiteX72194" y="connsiteY72194"/>
              </a:cxn>
              <a:cxn ang="0">
                <a:pos x="connsiteX72195" y="connsiteY72195"/>
              </a:cxn>
              <a:cxn ang="0">
                <a:pos x="connsiteX72196" y="connsiteY72196"/>
              </a:cxn>
              <a:cxn ang="0">
                <a:pos x="connsiteX72197" y="connsiteY72197"/>
              </a:cxn>
              <a:cxn ang="0">
                <a:pos x="connsiteX72198" y="connsiteY72198"/>
              </a:cxn>
              <a:cxn ang="0">
                <a:pos x="connsiteX72199" y="connsiteY72199"/>
              </a:cxn>
              <a:cxn ang="0">
                <a:pos x="connsiteX72200" y="connsiteY72200"/>
              </a:cxn>
              <a:cxn ang="0">
                <a:pos x="connsiteX72201" y="connsiteY72201"/>
              </a:cxn>
              <a:cxn ang="0">
                <a:pos x="connsiteX72202" y="connsiteY72202"/>
              </a:cxn>
              <a:cxn ang="0">
                <a:pos x="connsiteX72203" y="connsiteY72203"/>
              </a:cxn>
              <a:cxn ang="0">
                <a:pos x="connsiteX72204" y="connsiteY72204"/>
              </a:cxn>
              <a:cxn ang="0">
                <a:pos x="connsiteX72205" y="connsiteY72205"/>
              </a:cxn>
              <a:cxn ang="0">
                <a:pos x="connsiteX72206" y="connsiteY72206"/>
              </a:cxn>
              <a:cxn ang="0">
                <a:pos x="connsiteX72207" y="connsiteY72207"/>
              </a:cxn>
              <a:cxn ang="0">
                <a:pos x="connsiteX72208" y="connsiteY72208"/>
              </a:cxn>
              <a:cxn ang="0">
                <a:pos x="connsiteX72209" y="connsiteY72209"/>
              </a:cxn>
              <a:cxn ang="0">
                <a:pos x="connsiteX72210" y="connsiteY72210"/>
              </a:cxn>
              <a:cxn ang="0">
                <a:pos x="connsiteX72211" y="connsiteY72211"/>
              </a:cxn>
              <a:cxn ang="0">
                <a:pos x="connsiteX72212" y="connsiteY72212"/>
              </a:cxn>
              <a:cxn ang="0">
                <a:pos x="connsiteX72213" y="connsiteY72213"/>
              </a:cxn>
              <a:cxn ang="0">
                <a:pos x="connsiteX72214" y="connsiteY72214"/>
              </a:cxn>
              <a:cxn ang="0">
                <a:pos x="connsiteX72215" y="connsiteY72215"/>
              </a:cxn>
              <a:cxn ang="0">
                <a:pos x="connsiteX72216" y="connsiteY72216"/>
              </a:cxn>
              <a:cxn ang="0">
                <a:pos x="connsiteX72217" y="connsiteY72217"/>
              </a:cxn>
              <a:cxn ang="0">
                <a:pos x="connsiteX72218" y="connsiteY72218"/>
              </a:cxn>
              <a:cxn ang="0">
                <a:pos x="connsiteX72219" y="connsiteY72219"/>
              </a:cxn>
              <a:cxn ang="0">
                <a:pos x="connsiteX72220" y="connsiteY72220"/>
              </a:cxn>
              <a:cxn ang="0">
                <a:pos x="connsiteX72221" y="connsiteY72221"/>
              </a:cxn>
              <a:cxn ang="0">
                <a:pos x="connsiteX72222" y="connsiteY72222"/>
              </a:cxn>
              <a:cxn ang="0">
                <a:pos x="connsiteX72223" y="connsiteY72223"/>
              </a:cxn>
              <a:cxn ang="0">
                <a:pos x="connsiteX72224" y="connsiteY72224"/>
              </a:cxn>
              <a:cxn ang="0">
                <a:pos x="connsiteX72225" y="connsiteY72225"/>
              </a:cxn>
              <a:cxn ang="0">
                <a:pos x="connsiteX72226" y="connsiteY72226"/>
              </a:cxn>
              <a:cxn ang="0">
                <a:pos x="connsiteX72227" y="connsiteY72227"/>
              </a:cxn>
              <a:cxn ang="0">
                <a:pos x="connsiteX72228" y="connsiteY72228"/>
              </a:cxn>
              <a:cxn ang="0">
                <a:pos x="connsiteX72229" y="connsiteY72229"/>
              </a:cxn>
              <a:cxn ang="0">
                <a:pos x="connsiteX72230" y="connsiteY72230"/>
              </a:cxn>
              <a:cxn ang="0">
                <a:pos x="connsiteX72231" y="connsiteY72231"/>
              </a:cxn>
              <a:cxn ang="0">
                <a:pos x="connsiteX72232" y="connsiteY72232"/>
              </a:cxn>
              <a:cxn ang="0">
                <a:pos x="connsiteX72233" y="connsiteY72233"/>
              </a:cxn>
              <a:cxn ang="0">
                <a:pos x="connsiteX72234" y="connsiteY72234"/>
              </a:cxn>
              <a:cxn ang="0">
                <a:pos x="connsiteX72235" y="connsiteY72235"/>
              </a:cxn>
              <a:cxn ang="0">
                <a:pos x="connsiteX72236" y="connsiteY72236"/>
              </a:cxn>
              <a:cxn ang="0">
                <a:pos x="connsiteX72237" y="connsiteY72237"/>
              </a:cxn>
              <a:cxn ang="0">
                <a:pos x="connsiteX72238" y="connsiteY72238"/>
              </a:cxn>
              <a:cxn ang="0">
                <a:pos x="connsiteX72239" y="connsiteY72239"/>
              </a:cxn>
              <a:cxn ang="0">
                <a:pos x="connsiteX72240" y="connsiteY72240"/>
              </a:cxn>
              <a:cxn ang="0">
                <a:pos x="connsiteX72241" y="connsiteY72241"/>
              </a:cxn>
              <a:cxn ang="0">
                <a:pos x="connsiteX72242" y="connsiteY72242"/>
              </a:cxn>
              <a:cxn ang="0">
                <a:pos x="connsiteX72243" y="connsiteY72243"/>
              </a:cxn>
              <a:cxn ang="0">
                <a:pos x="connsiteX72244" y="connsiteY72244"/>
              </a:cxn>
              <a:cxn ang="0">
                <a:pos x="connsiteX72245" y="connsiteY72245"/>
              </a:cxn>
              <a:cxn ang="0">
                <a:pos x="connsiteX72246" y="connsiteY72246"/>
              </a:cxn>
              <a:cxn ang="0">
                <a:pos x="connsiteX72247" y="connsiteY72247"/>
              </a:cxn>
              <a:cxn ang="0">
                <a:pos x="connsiteX72248" y="connsiteY72248"/>
              </a:cxn>
              <a:cxn ang="0">
                <a:pos x="connsiteX72249" y="connsiteY72249"/>
              </a:cxn>
              <a:cxn ang="0">
                <a:pos x="connsiteX72250" y="connsiteY72250"/>
              </a:cxn>
              <a:cxn ang="0">
                <a:pos x="connsiteX72251" y="connsiteY72251"/>
              </a:cxn>
              <a:cxn ang="0">
                <a:pos x="connsiteX72252" y="connsiteY72252"/>
              </a:cxn>
              <a:cxn ang="0">
                <a:pos x="connsiteX72253" y="connsiteY72253"/>
              </a:cxn>
              <a:cxn ang="0">
                <a:pos x="connsiteX72254" y="connsiteY72254"/>
              </a:cxn>
              <a:cxn ang="0">
                <a:pos x="connsiteX72255" y="connsiteY72255"/>
              </a:cxn>
              <a:cxn ang="0">
                <a:pos x="connsiteX72256" y="connsiteY72256"/>
              </a:cxn>
              <a:cxn ang="0">
                <a:pos x="connsiteX72257" y="connsiteY72257"/>
              </a:cxn>
              <a:cxn ang="0">
                <a:pos x="connsiteX72258" y="connsiteY72258"/>
              </a:cxn>
              <a:cxn ang="0">
                <a:pos x="connsiteX72259" y="connsiteY72259"/>
              </a:cxn>
              <a:cxn ang="0">
                <a:pos x="connsiteX72260" y="connsiteY72260"/>
              </a:cxn>
              <a:cxn ang="0">
                <a:pos x="connsiteX72261" y="connsiteY72261"/>
              </a:cxn>
              <a:cxn ang="0">
                <a:pos x="connsiteX72262" y="connsiteY72262"/>
              </a:cxn>
              <a:cxn ang="0">
                <a:pos x="connsiteX72263" y="connsiteY72263"/>
              </a:cxn>
              <a:cxn ang="0">
                <a:pos x="connsiteX72264" y="connsiteY72264"/>
              </a:cxn>
              <a:cxn ang="0">
                <a:pos x="connsiteX72265" y="connsiteY72265"/>
              </a:cxn>
              <a:cxn ang="0">
                <a:pos x="connsiteX72266" y="connsiteY72266"/>
              </a:cxn>
              <a:cxn ang="0">
                <a:pos x="connsiteX72267" y="connsiteY72267"/>
              </a:cxn>
              <a:cxn ang="0">
                <a:pos x="connsiteX72268" y="connsiteY72268"/>
              </a:cxn>
              <a:cxn ang="0">
                <a:pos x="connsiteX72269" y="connsiteY72269"/>
              </a:cxn>
              <a:cxn ang="0">
                <a:pos x="connsiteX72270" y="connsiteY72270"/>
              </a:cxn>
              <a:cxn ang="0">
                <a:pos x="connsiteX72271" y="connsiteY72271"/>
              </a:cxn>
              <a:cxn ang="0">
                <a:pos x="connsiteX72272" y="connsiteY72272"/>
              </a:cxn>
              <a:cxn ang="0">
                <a:pos x="connsiteX72273" y="connsiteY72273"/>
              </a:cxn>
              <a:cxn ang="0">
                <a:pos x="connsiteX72274" y="connsiteY72274"/>
              </a:cxn>
              <a:cxn ang="0">
                <a:pos x="connsiteX72275" y="connsiteY72275"/>
              </a:cxn>
              <a:cxn ang="0">
                <a:pos x="connsiteX72276" y="connsiteY72276"/>
              </a:cxn>
              <a:cxn ang="0">
                <a:pos x="connsiteX72277" y="connsiteY72277"/>
              </a:cxn>
              <a:cxn ang="0">
                <a:pos x="connsiteX72278" y="connsiteY72278"/>
              </a:cxn>
              <a:cxn ang="0">
                <a:pos x="connsiteX72279" y="connsiteY72279"/>
              </a:cxn>
              <a:cxn ang="0">
                <a:pos x="connsiteX72280" y="connsiteY72280"/>
              </a:cxn>
              <a:cxn ang="0">
                <a:pos x="connsiteX72281" y="connsiteY72281"/>
              </a:cxn>
              <a:cxn ang="0">
                <a:pos x="connsiteX72282" y="connsiteY72282"/>
              </a:cxn>
              <a:cxn ang="0">
                <a:pos x="connsiteX72283" y="connsiteY72283"/>
              </a:cxn>
              <a:cxn ang="0">
                <a:pos x="connsiteX72284" y="connsiteY72284"/>
              </a:cxn>
              <a:cxn ang="0">
                <a:pos x="connsiteX72285" y="connsiteY72285"/>
              </a:cxn>
              <a:cxn ang="0">
                <a:pos x="connsiteX72286" y="connsiteY72286"/>
              </a:cxn>
              <a:cxn ang="0">
                <a:pos x="connsiteX72287" y="connsiteY72287"/>
              </a:cxn>
              <a:cxn ang="0">
                <a:pos x="connsiteX72288" y="connsiteY72288"/>
              </a:cxn>
              <a:cxn ang="0">
                <a:pos x="connsiteX72289" y="connsiteY72289"/>
              </a:cxn>
              <a:cxn ang="0">
                <a:pos x="connsiteX72290" y="connsiteY72290"/>
              </a:cxn>
              <a:cxn ang="0">
                <a:pos x="connsiteX72291" y="connsiteY72291"/>
              </a:cxn>
              <a:cxn ang="0">
                <a:pos x="connsiteX72292" y="connsiteY72292"/>
              </a:cxn>
              <a:cxn ang="0">
                <a:pos x="connsiteX72293" y="connsiteY72293"/>
              </a:cxn>
              <a:cxn ang="0">
                <a:pos x="connsiteX72294" y="connsiteY72294"/>
              </a:cxn>
              <a:cxn ang="0">
                <a:pos x="connsiteX72295" y="connsiteY72295"/>
              </a:cxn>
              <a:cxn ang="0">
                <a:pos x="connsiteX72296" y="connsiteY72296"/>
              </a:cxn>
              <a:cxn ang="0">
                <a:pos x="connsiteX72297" y="connsiteY72297"/>
              </a:cxn>
              <a:cxn ang="0">
                <a:pos x="connsiteX72298" y="connsiteY72298"/>
              </a:cxn>
              <a:cxn ang="0">
                <a:pos x="connsiteX72299" y="connsiteY72299"/>
              </a:cxn>
              <a:cxn ang="0">
                <a:pos x="connsiteX72300" y="connsiteY72300"/>
              </a:cxn>
              <a:cxn ang="0">
                <a:pos x="connsiteX72301" y="connsiteY72301"/>
              </a:cxn>
              <a:cxn ang="0">
                <a:pos x="connsiteX72302" y="connsiteY72302"/>
              </a:cxn>
              <a:cxn ang="0">
                <a:pos x="connsiteX72303" y="connsiteY72303"/>
              </a:cxn>
              <a:cxn ang="0">
                <a:pos x="connsiteX72304" y="connsiteY72304"/>
              </a:cxn>
              <a:cxn ang="0">
                <a:pos x="connsiteX72305" y="connsiteY72305"/>
              </a:cxn>
              <a:cxn ang="0">
                <a:pos x="connsiteX72306" y="connsiteY72306"/>
              </a:cxn>
              <a:cxn ang="0">
                <a:pos x="connsiteX72307" y="connsiteY72307"/>
              </a:cxn>
              <a:cxn ang="0">
                <a:pos x="connsiteX72308" y="connsiteY72308"/>
              </a:cxn>
              <a:cxn ang="0">
                <a:pos x="connsiteX72309" y="connsiteY72309"/>
              </a:cxn>
              <a:cxn ang="0">
                <a:pos x="connsiteX72310" y="connsiteY72310"/>
              </a:cxn>
              <a:cxn ang="0">
                <a:pos x="connsiteX72311" y="connsiteY72311"/>
              </a:cxn>
              <a:cxn ang="0">
                <a:pos x="connsiteX72312" y="connsiteY72312"/>
              </a:cxn>
              <a:cxn ang="0">
                <a:pos x="connsiteX72313" y="connsiteY72313"/>
              </a:cxn>
              <a:cxn ang="0">
                <a:pos x="connsiteX72314" y="connsiteY72314"/>
              </a:cxn>
              <a:cxn ang="0">
                <a:pos x="connsiteX72315" y="connsiteY72315"/>
              </a:cxn>
              <a:cxn ang="0">
                <a:pos x="connsiteX72316" y="connsiteY72316"/>
              </a:cxn>
              <a:cxn ang="0">
                <a:pos x="connsiteX72317" y="connsiteY72317"/>
              </a:cxn>
              <a:cxn ang="0">
                <a:pos x="connsiteX72318" y="connsiteY72318"/>
              </a:cxn>
              <a:cxn ang="0">
                <a:pos x="connsiteX72319" y="connsiteY72319"/>
              </a:cxn>
              <a:cxn ang="0">
                <a:pos x="connsiteX72320" y="connsiteY72320"/>
              </a:cxn>
              <a:cxn ang="0">
                <a:pos x="connsiteX72321" y="connsiteY72321"/>
              </a:cxn>
              <a:cxn ang="0">
                <a:pos x="connsiteX72322" y="connsiteY72322"/>
              </a:cxn>
              <a:cxn ang="0">
                <a:pos x="connsiteX72323" y="connsiteY72323"/>
              </a:cxn>
              <a:cxn ang="0">
                <a:pos x="connsiteX72324" y="connsiteY72324"/>
              </a:cxn>
              <a:cxn ang="0">
                <a:pos x="connsiteX72325" y="connsiteY72325"/>
              </a:cxn>
              <a:cxn ang="0">
                <a:pos x="connsiteX72326" y="connsiteY72326"/>
              </a:cxn>
              <a:cxn ang="0">
                <a:pos x="connsiteX72327" y="connsiteY72327"/>
              </a:cxn>
              <a:cxn ang="0">
                <a:pos x="connsiteX72328" y="connsiteY72328"/>
              </a:cxn>
              <a:cxn ang="0">
                <a:pos x="connsiteX72329" y="connsiteY72329"/>
              </a:cxn>
              <a:cxn ang="0">
                <a:pos x="connsiteX72330" y="connsiteY72330"/>
              </a:cxn>
              <a:cxn ang="0">
                <a:pos x="connsiteX72331" y="connsiteY72331"/>
              </a:cxn>
              <a:cxn ang="0">
                <a:pos x="connsiteX72332" y="connsiteY72332"/>
              </a:cxn>
              <a:cxn ang="0">
                <a:pos x="connsiteX72333" y="connsiteY72333"/>
              </a:cxn>
              <a:cxn ang="0">
                <a:pos x="connsiteX72334" y="connsiteY72334"/>
              </a:cxn>
              <a:cxn ang="0">
                <a:pos x="connsiteX72335" y="connsiteY72335"/>
              </a:cxn>
              <a:cxn ang="0">
                <a:pos x="connsiteX72336" y="connsiteY72336"/>
              </a:cxn>
              <a:cxn ang="0">
                <a:pos x="connsiteX72337" y="connsiteY72337"/>
              </a:cxn>
              <a:cxn ang="0">
                <a:pos x="connsiteX72338" y="connsiteY72338"/>
              </a:cxn>
              <a:cxn ang="0">
                <a:pos x="connsiteX72339" y="connsiteY72339"/>
              </a:cxn>
              <a:cxn ang="0">
                <a:pos x="connsiteX72340" y="connsiteY72340"/>
              </a:cxn>
              <a:cxn ang="0">
                <a:pos x="connsiteX72341" y="connsiteY72341"/>
              </a:cxn>
              <a:cxn ang="0">
                <a:pos x="connsiteX72342" y="connsiteY72342"/>
              </a:cxn>
              <a:cxn ang="0">
                <a:pos x="connsiteX72343" y="connsiteY72343"/>
              </a:cxn>
              <a:cxn ang="0">
                <a:pos x="connsiteX72344" y="connsiteY72344"/>
              </a:cxn>
              <a:cxn ang="0">
                <a:pos x="connsiteX72345" y="connsiteY72345"/>
              </a:cxn>
              <a:cxn ang="0">
                <a:pos x="connsiteX72346" y="connsiteY72346"/>
              </a:cxn>
              <a:cxn ang="0">
                <a:pos x="connsiteX72347" y="connsiteY72347"/>
              </a:cxn>
              <a:cxn ang="0">
                <a:pos x="connsiteX72348" y="connsiteY72348"/>
              </a:cxn>
              <a:cxn ang="0">
                <a:pos x="connsiteX72349" y="connsiteY72349"/>
              </a:cxn>
              <a:cxn ang="0">
                <a:pos x="connsiteX72350" y="connsiteY72350"/>
              </a:cxn>
              <a:cxn ang="0">
                <a:pos x="connsiteX72351" y="connsiteY72351"/>
              </a:cxn>
              <a:cxn ang="0">
                <a:pos x="connsiteX72352" y="connsiteY72352"/>
              </a:cxn>
              <a:cxn ang="0">
                <a:pos x="connsiteX72353" y="connsiteY72353"/>
              </a:cxn>
              <a:cxn ang="0">
                <a:pos x="connsiteX72354" y="connsiteY72354"/>
              </a:cxn>
              <a:cxn ang="0">
                <a:pos x="connsiteX72355" y="connsiteY72355"/>
              </a:cxn>
              <a:cxn ang="0">
                <a:pos x="connsiteX72356" y="connsiteY72356"/>
              </a:cxn>
              <a:cxn ang="0">
                <a:pos x="connsiteX72357" y="connsiteY72357"/>
              </a:cxn>
              <a:cxn ang="0">
                <a:pos x="connsiteX72358" y="connsiteY72358"/>
              </a:cxn>
              <a:cxn ang="0">
                <a:pos x="connsiteX72359" y="connsiteY72359"/>
              </a:cxn>
              <a:cxn ang="0">
                <a:pos x="connsiteX72360" y="connsiteY72360"/>
              </a:cxn>
              <a:cxn ang="0">
                <a:pos x="connsiteX72361" y="connsiteY72361"/>
              </a:cxn>
              <a:cxn ang="0">
                <a:pos x="connsiteX72362" y="connsiteY72362"/>
              </a:cxn>
              <a:cxn ang="0">
                <a:pos x="connsiteX72363" y="connsiteY72363"/>
              </a:cxn>
              <a:cxn ang="0">
                <a:pos x="connsiteX72364" y="connsiteY72364"/>
              </a:cxn>
              <a:cxn ang="0">
                <a:pos x="connsiteX72365" y="connsiteY72365"/>
              </a:cxn>
              <a:cxn ang="0">
                <a:pos x="connsiteX72366" y="connsiteY72366"/>
              </a:cxn>
              <a:cxn ang="0">
                <a:pos x="connsiteX72367" y="connsiteY72367"/>
              </a:cxn>
              <a:cxn ang="0">
                <a:pos x="connsiteX72368" y="connsiteY72368"/>
              </a:cxn>
              <a:cxn ang="0">
                <a:pos x="connsiteX72369" y="connsiteY72369"/>
              </a:cxn>
              <a:cxn ang="0">
                <a:pos x="connsiteX72370" y="connsiteY72370"/>
              </a:cxn>
              <a:cxn ang="0">
                <a:pos x="connsiteX72371" y="connsiteY72371"/>
              </a:cxn>
              <a:cxn ang="0">
                <a:pos x="connsiteX72372" y="connsiteY72372"/>
              </a:cxn>
              <a:cxn ang="0">
                <a:pos x="connsiteX72373" y="connsiteY72373"/>
              </a:cxn>
              <a:cxn ang="0">
                <a:pos x="connsiteX72374" y="connsiteY72374"/>
              </a:cxn>
              <a:cxn ang="0">
                <a:pos x="connsiteX72375" y="connsiteY72375"/>
              </a:cxn>
              <a:cxn ang="0">
                <a:pos x="connsiteX72376" y="connsiteY72376"/>
              </a:cxn>
              <a:cxn ang="0">
                <a:pos x="connsiteX72377" y="connsiteY72377"/>
              </a:cxn>
              <a:cxn ang="0">
                <a:pos x="connsiteX72378" y="connsiteY72378"/>
              </a:cxn>
              <a:cxn ang="0">
                <a:pos x="connsiteX72379" y="connsiteY72379"/>
              </a:cxn>
              <a:cxn ang="0">
                <a:pos x="connsiteX72380" y="connsiteY72380"/>
              </a:cxn>
              <a:cxn ang="0">
                <a:pos x="connsiteX72381" y="connsiteY72381"/>
              </a:cxn>
              <a:cxn ang="0">
                <a:pos x="connsiteX72382" y="connsiteY72382"/>
              </a:cxn>
              <a:cxn ang="0">
                <a:pos x="connsiteX72383" y="connsiteY72383"/>
              </a:cxn>
              <a:cxn ang="0">
                <a:pos x="connsiteX72384" y="connsiteY72384"/>
              </a:cxn>
              <a:cxn ang="0">
                <a:pos x="connsiteX72385" y="connsiteY72385"/>
              </a:cxn>
              <a:cxn ang="0">
                <a:pos x="connsiteX72386" y="connsiteY72386"/>
              </a:cxn>
              <a:cxn ang="0">
                <a:pos x="connsiteX72387" y="connsiteY72387"/>
              </a:cxn>
              <a:cxn ang="0">
                <a:pos x="connsiteX72388" y="connsiteY72388"/>
              </a:cxn>
              <a:cxn ang="0">
                <a:pos x="connsiteX72389" y="connsiteY72389"/>
              </a:cxn>
              <a:cxn ang="0">
                <a:pos x="connsiteX72390" y="connsiteY72390"/>
              </a:cxn>
              <a:cxn ang="0">
                <a:pos x="connsiteX72391" y="connsiteY72391"/>
              </a:cxn>
              <a:cxn ang="0">
                <a:pos x="connsiteX72392" y="connsiteY72392"/>
              </a:cxn>
              <a:cxn ang="0">
                <a:pos x="connsiteX72393" y="connsiteY72393"/>
              </a:cxn>
              <a:cxn ang="0">
                <a:pos x="connsiteX72394" y="connsiteY72394"/>
              </a:cxn>
              <a:cxn ang="0">
                <a:pos x="connsiteX72395" y="connsiteY72395"/>
              </a:cxn>
              <a:cxn ang="0">
                <a:pos x="connsiteX72396" y="connsiteY72396"/>
              </a:cxn>
              <a:cxn ang="0">
                <a:pos x="connsiteX72397" y="connsiteY72397"/>
              </a:cxn>
              <a:cxn ang="0">
                <a:pos x="connsiteX72398" y="connsiteY72398"/>
              </a:cxn>
              <a:cxn ang="0">
                <a:pos x="connsiteX72399" y="connsiteY72399"/>
              </a:cxn>
              <a:cxn ang="0">
                <a:pos x="connsiteX72400" y="connsiteY72400"/>
              </a:cxn>
              <a:cxn ang="0">
                <a:pos x="connsiteX72401" y="connsiteY72401"/>
              </a:cxn>
              <a:cxn ang="0">
                <a:pos x="connsiteX72402" y="connsiteY72402"/>
              </a:cxn>
              <a:cxn ang="0">
                <a:pos x="connsiteX72403" y="connsiteY72403"/>
              </a:cxn>
              <a:cxn ang="0">
                <a:pos x="connsiteX72404" y="connsiteY72404"/>
              </a:cxn>
              <a:cxn ang="0">
                <a:pos x="connsiteX72405" y="connsiteY72405"/>
              </a:cxn>
              <a:cxn ang="0">
                <a:pos x="connsiteX72406" y="connsiteY72406"/>
              </a:cxn>
              <a:cxn ang="0">
                <a:pos x="connsiteX72407" y="connsiteY72407"/>
              </a:cxn>
              <a:cxn ang="0">
                <a:pos x="connsiteX72408" y="connsiteY72408"/>
              </a:cxn>
              <a:cxn ang="0">
                <a:pos x="connsiteX72409" y="connsiteY72409"/>
              </a:cxn>
              <a:cxn ang="0">
                <a:pos x="connsiteX72410" y="connsiteY72410"/>
              </a:cxn>
              <a:cxn ang="0">
                <a:pos x="connsiteX72411" y="connsiteY72411"/>
              </a:cxn>
              <a:cxn ang="0">
                <a:pos x="connsiteX72412" y="connsiteY72412"/>
              </a:cxn>
              <a:cxn ang="0">
                <a:pos x="connsiteX72413" y="connsiteY72413"/>
              </a:cxn>
              <a:cxn ang="0">
                <a:pos x="connsiteX72414" y="connsiteY72414"/>
              </a:cxn>
              <a:cxn ang="0">
                <a:pos x="connsiteX72415" y="connsiteY72415"/>
              </a:cxn>
              <a:cxn ang="0">
                <a:pos x="connsiteX72416" y="connsiteY72416"/>
              </a:cxn>
              <a:cxn ang="0">
                <a:pos x="connsiteX72417" y="connsiteY72417"/>
              </a:cxn>
              <a:cxn ang="0">
                <a:pos x="connsiteX72418" y="connsiteY72418"/>
              </a:cxn>
              <a:cxn ang="0">
                <a:pos x="connsiteX72419" y="connsiteY72419"/>
              </a:cxn>
              <a:cxn ang="0">
                <a:pos x="connsiteX72420" y="connsiteY72420"/>
              </a:cxn>
              <a:cxn ang="0">
                <a:pos x="connsiteX72421" y="connsiteY72421"/>
              </a:cxn>
              <a:cxn ang="0">
                <a:pos x="connsiteX72422" y="connsiteY72422"/>
              </a:cxn>
              <a:cxn ang="0">
                <a:pos x="connsiteX72423" y="connsiteY72423"/>
              </a:cxn>
              <a:cxn ang="0">
                <a:pos x="connsiteX72424" y="connsiteY72424"/>
              </a:cxn>
              <a:cxn ang="0">
                <a:pos x="connsiteX72425" y="connsiteY72425"/>
              </a:cxn>
              <a:cxn ang="0">
                <a:pos x="connsiteX72426" y="connsiteY72426"/>
              </a:cxn>
              <a:cxn ang="0">
                <a:pos x="connsiteX72427" y="connsiteY72427"/>
              </a:cxn>
              <a:cxn ang="0">
                <a:pos x="connsiteX72428" y="connsiteY72428"/>
              </a:cxn>
              <a:cxn ang="0">
                <a:pos x="connsiteX72429" y="connsiteY72429"/>
              </a:cxn>
              <a:cxn ang="0">
                <a:pos x="connsiteX72430" y="connsiteY72430"/>
              </a:cxn>
              <a:cxn ang="0">
                <a:pos x="connsiteX72431" y="connsiteY72431"/>
              </a:cxn>
              <a:cxn ang="0">
                <a:pos x="connsiteX72432" y="connsiteY72432"/>
              </a:cxn>
              <a:cxn ang="0">
                <a:pos x="connsiteX72433" y="connsiteY72433"/>
              </a:cxn>
              <a:cxn ang="0">
                <a:pos x="connsiteX72434" y="connsiteY72434"/>
              </a:cxn>
              <a:cxn ang="0">
                <a:pos x="connsiteX72435" y="connsiteY72435"/>
              </a:cxn>
              <a:cxn ang="0">
                <a:pos x="connsiteX72436" y="connsiteY72436"/>
              </a:cxn>
              <a:cxn ang="0">
                <a:pos x="connsiteX72437" y="connsiteY72437"/>
              </a:cxn>
              <a:cxn ang="0">
                <a:pos x="connsiteX72438" y="connsiteY72438"/>
              </a:cxn>
              <a:cxn ang="0">
                <a:pos x="connsiteX72439" y="connsiteY72439"/>
              </a:cxn>
              <a:cxn ang="0">
                <a:pos x="connsiteX72440" y="connsiteY72440"/>
              </a:cxn>
              <a:cxn ang="0">
                <a:pos x="connsiteX72441" y="connsiteY72441"/>
              </a:cxn>
              <a:cxn ang="0">
                <a:pos x="connsiteX72442" y="connsiteY72442"/>
              </a:cxn>
              <a:cxn ang="0">
                <a:pos x="connsiteX72443" y="connsiteY72443"/>
              </a:cxn>
              <a:cxn ang="0">
                <a:pos x="connsiteX72444" y="connsiteY72444"/>
              </a:cxn>
              <a:cxn ang="0">
                <a:pos x="connsiteX72445" y="connsiteY72445"/>
              </a:cxn>
              <a:cxn ang="0">
                <a:pos x="connsiteX72446" y="connsiteY72446"/>
              </a:cxn>
              <a:cxn ang="0">
                <a:pos x="connsiteX72447" y="connsiteY72447"/>
              </a:cxn>
              <a:cxn ang="0">
                <a:pos x="connsiteX72448" y="connsiteY72448"/>
              </a:cxn>
              <a:cxn ang="0">
                <a:pos x="connsiteX72449" y="connsiteY72449"/>
              </a:cxn>
              <a:cxn ang="0">
                <a:pos x="connsiteX72450" y="connsiteY72450"/>
              </a:cxn>
              <a:cxn ang="0">
                <a:pos x="connsiteX72451" y="connsiteY72451"/>
              </a:cxn>
              <a:cxn ang="0">
                <a:pos x="connsiteX72452" y="connsiteY72452"/>
              </a:cxn>
              <a:cxn ang="0">
                <a:pos x="connsiteX72453" y="connsiteY72453"/>
              </a:cxn>
              <a:cxn ang="0">
                <a:pos x="connsiteX72454" y="connsiteY72454"/>
              </a:cxn>
              <a:cxn ang="0">
                <a:pos x="connsiteX72455" y="connsiteY72455"/>
              </a:cxn>
              <a:cxn ang="0">
                <a:pos x="connsiteX72456" y="connsiteY72456"/>
              </a:cxn>
              <a:cxn ang="0">
                <a:pos x="connsiteX72457" y="connsiteY72457"/>
              </a:cxn>
              <a:cxn ang="0">
                <a:pos x="connsiteX72458" y="connsiteY72458"/>
              </a:cxn>
              <a:cxn ang="0">
                <a:pos x="connsiteX72459" y="connsiteY72459"/>
              </a:cxn>
              <a:cxn ang="0">
                <a:pos x="connsiteX72460" y="connsiteY72460"/>
              </a:cxn>
              <a:cxn ang="0">
                <a:pos x="connsiteX72461" y="connsiteY72461"/>
              </a:cxn>
              <a:cxn ang="0">
                <a:pos x="connsiteX72462" y="connsiteY72462"/>
              </a:cxn>
              <a:cxn ang="0">
                <a:pos x="connsiteX72463" y="connsiteY72463"/>
              </a:cxn>
              <a:cxn ang="0">
                <a:pos x="connsiteX72464" y="connsiteY72464"/>
              </a:cxn>
              <a:cxn ang="0">
                <a:pos x="connsiteX72465" y="connsiteY72465"/>
              </a:cxn>
              <a:cxn ang="0">
                <a:pos x="connsiteX72466" y="connsiteY72466"/>
              </a:cxn>
              <a:cxn ang="0">
                <a:pos x="connsiteX72467" y="connsiteY72467"/>
              </a:cxn>
              <a:cxn ang="0">
                <a:pos x="connsiteX72468" y="connsiteY72468"/>
              </a:cxn>
              <a:cxn ang="0">
                <a:pos x="connsiteX72469" y="connsiteY72469"/>
              </a:cxn>
              <a:cxn ang="0">
                <a:pos x="connsiteX72470" y="connsiteY72470"/>
              </a:cxn>
              <a:cxn ang="0">
                <a:pos x="connsiteX72471" y="connsiteY72471"/>
              </a:cxn>
              <a:cxn ang="0">
                <a:pos x="connsiteX72472" y="connsiteY72472"/>
              </a:cxn>
              <a:cxn ang="0">
                <a:pos x="connsiteX72473" y="connsiteY72473"/>
              </a:cxn>
              <a:cxn ang="0">
                <a:pos x="connsiteX72474" y="connsiteY72474"/>
              </a:cxn>
              <a:cxn ang="0">
                <a:pos x="connsiteX72475" y="connsiteY72475"/>
              </a:cxn>
              <a:cxn ang="0">
                <a:pos x="connsiteX72476" y="connsiteY72476"/>
              </a:cxn>
              <a:cxn ang="0">
                <a:pos x="connsiteX72477" y="connsiteY72477"/>
              </a:cxn>
              <a:cxn ang="0">
                <a:pos x="connsiteX72478" y="connsiteY72478"/>
              </a:cxn>
              <a:cxn ang="0">
                <a:pos x="connsiteX72479" y="connsiteY72479"/>
              </a:cxn>
              <a:cxn ang="0">
                <a:pos x="connsiteX72480" y="connsiteY72480"/>
              </a:cxn>
              <a:cxn ang="0">
                <a:pos x="connsiteX72481" y="connsiteY72481"/>
              </a:cxn>
              <a:cxn ang="0">
                <a:pos x="connsiteX72482" y="connsiteY72482"/>
              </a:cxn>
              <a:cxn ang="0">
                <a:pos x="connsiteX72483" y="connsiteY72483"/>
              </a:cxn>
              <a:cxn ang="0">
                <a:pos x="connsiteX72484" y="connsiteY72484"/>
              </a:cxn>
              <a:cxn ang="0">
                <a:pos x="connsiteX72485" y="connsiteY72485"/>
              </a:cxn>
              <a:cxn ang="0">
                <a:pos x="connsiteX72486" y="connsiteY72486"/>
              </a:cxn>
              <a:cxn ang="0">
                <a:pos x="connsiteX72487" y="connsiteY72487"/>
              </a:cxn>
              <a:cxn ang="0">
                <a:pos x="connsiteX72488" y="connsiteY72488"/>
              </a:cxn>
              <a:cxn ang="0">
                <a:pos x="connsiteX72489" y="connsiteY72489"/>
              </a:cxn>
              <a:cxn ang="0">
                <a:pos x="connsiteX72490" y="connsiteY72490"/>
              </a:cxn>
              <a:cxn ang="0">
                <a:pos x="connsiteX72491" y="connsiteY72491"/>
              </a:cxn>
              <a:cxn ang="0">
                <a:pos x="connsiteX72492" y="connsiteY72492"/>
              </a:cxn>
              <a:cxn ang="0">
                <a:pos x="connsiteX72493" y="connsiteY72493"/>
              </a:cxn>
              <a:cxn ang="0">
                <a:pos x="connsiteX72494" y="connsiteY72494"/>
              </a:cxn>
              <a:cxn ang="0">
                <a:pos x="connsiteX72495" y="connsiteY72495"/>
              </a:cxn>
              <a:cxn ang="0">
                <a:pos x="connsiteX72496" y="connsiteY72496"/>
              </a:cxn>
              <a:cxn ang="0">
                <a:pos x="connsiteX72497" y="connsiteY72497"/>
              </a:cxn>
              <a:cxn ang="0">
                <a:pos x="connsiteX72498" y="connsiteY72498"/>
              </a:cxn>
              <a:cxn ang="0">
                <a:pos x="connsiteX72499" y="connsiteY72499"/>
              </a:cxn>
              <a:cxn ang="0">
                <a:pos x="connsiteX72500" y="connsiteY72500"/>
              </a:cxn>
              <a:cxn ang="0">
                <a:pos x="connsiteX72501" y="connsiteY72501"/>
              </a:cxn>
              <a:cxn ang="0">
                <a:pos x="connsiteX72502" y="connsiteY72502"/>
              </a:cxn>
              <a:cxn ang="0">
                <a:pos x="connsiteX72503" y="connsiteY72503"/>
              </a:cxn>
              <a:cxn ang="0">
                <a:pos x="connsiteX72504" y="connsiteY72504"/>
              </a:cxn>
              <a:cxn ang="0">
                <a:pos x="connsiteX72505" y="connsiteY72505"/>
              </a:cxn>
              <a:cxn ang="0">
                <a:pos x="connsiteX72506" y="connsiteY72506"/>
              </a:cxn>
              <a:cxn ang="0">
                <a:pos x="connsiteX72507" y="connsiteY72507"/>
              </a:cxn>
              <a:cxn ang="0">
                <a:pos x="connsiteX72508" y="connsiteY72508"/>
              </a:cxn>
              <a:cxn ang="0">
                <a:pos x="connsiteX72509" y="connsiteY72509"/>
              </a:cxn>
              <a:cxn ang="0">
                <a:pos x="connsiteX72510" y="connsiteY72510"/>
              </a:cxn>
              <a:cxn ang="0">
                <a:pos x="connsiteX72511" y="connsiteY72511"/>
              </a:cxn>
              <a:cxn ang="0">
                <a:pos x="connsiteX72512" y="connsiteY72512"/>
              </a:cxn>
              <a:cxn ang="0">
                <a:pos x="connsiteX72513" y="connsiteY72513"/>
              </a:cxn>
              <a:cxn ang="0">
                <a:pos x="connsiteX72514" y="connsiteY72514"/>
              </a:cxn>
              <a:cxn ang="0">
                <a:pos x="connsiteX72515" y="connsiteY72515"/>
              </a:cxn>
              <a:cxn ang="0">
                <a:pos x="connsiteX72516" y="connsiteY72516"/>
              </a:cxn>
              <a:cxn ang="0">
                <a:pos x="connsiteX72517" y="connsiteY72517"/>
              </a:cxn>
              <a:cxn ang="0">
                <a:pos x="connsiteX72518" y="connsiteY72518"/>
              </a:cxn>
              <a:cxn ang="0">
                <a:pos x="connsiteX72519" y="connsiteY72519"/>
              </a:cxn>
              <a:cxn ang="0">
                <a:pos x="connsiteX72520" y="connsiteY72520"/>
              </a:cxn>
              <a:cxn ang="0">
                <a:pos x="connsiteX72521" y="connsiteY72521"/>
              </a:cxn>
              <a:cxn ang="0">
                <a:pos x="connsiteX72522" y="connsiteY72522"/>
              </a:cxn>
              <a:cxn ang="0">
                <a:pos x="connsiteX72523" y="connsiteY72523"/>
              </a:cxn>
              <a:cxn ang="0">
                <a:pos x="connsiteX72524" y="connsiteY72524"/>
              </a:cxn>
              <a:cxn ang="0">
                <a:pos x="connsiteX72525" y="connsiteY72525"/>
              </a:cxn>
              <a:cxn ang="0">
                <a:pos x="connsiteX72526" y="connsiteY72526"/>
              </a:cxn>
              <a:cxn ang="0">
                <a:pos x="connsiteX72527" y="connsiteY72527"/>
              </a:cxn>
              <a:cxn ang="0">
                <a:pos x="connsiteX72528" y="connsiteY72528"/>
              </a:cxn>
              <a:cxn ang="0">
                <a:pos x="connsiteX72529" y="connsiteY72529"/>
              </a:cxn>
              <a:cxn ang="0">
                <a:pos x="connsiteX72530" y="connsiteY72530"/>
              </a:cxn>
              <a:cxn ang="0">
                <a:pos x="connsiteX72531" y="connsiteY72531"/>
              </a:cxn>
              <a:cxn ang="0">
                <a:pos x="connsiteX72532" y="connsiteY72532"/>
              </a:cxn>
              <a:cxn ang="0">
                <a:pos x="connsiteX72533" y="connsiteY72533"/>
              </a:cxn>
              <a:cxn ang="0">
                <a:pos x="connsiteX72534" y="connsiteY72534"/>
              </a:cxn>
              <a:cxn ang="0">
                <a:pos x="connsiteX72535" y="connsiteY72535"/>
              </a:cxn>
              <a:cxn ang="0">
                <a:pos x="connsiteX72536" y="connsiteY72536"/>
              </a:cxn>
              <a:cxn ang="0">
                <a:pos x="connsiteX72537" y="connsiteY72537"/>
              </a:cxn>
              <a:cxn ang="0">
                <a:pos x="connsiteX72538" y="connsiteY72538"/>
              </a:cxn>
              <a:cxn ang="0">
                <a:pos x="connsiteX72539" y="connsiteY72539"/>
              </a:cxn>
              <a:cxn ang="0">
                <a:pos x="connsiteX72540" y="connsiteY72540"/>
              </a:cxn>
              <a:cxn ang="0">
                <a:pos x="connsiteX72541" y="connsiteY72541"/>
              </a:cxn>
              <a:cxn ang="0">
                <a:pos x="connsiteX72542" y="connsiteY72542"/>
              </a:cxn>
              <a:cxn ang="0">
                <a:pos x="connsiteX72543" y="connsiteY72543"/>
              </a:cxn>
              <a:cxn ang="0">
                <a:pos x="connsiteX72544" y="connsiteY72544"/>
              </a:cxn>
              <a:cxn ang="0">
                <a:pos x="connsiteX72545" y="connsiteY72545"/>
              </a:cxn>
              <a:cxn ang="0">
                <a:pos x="connsiteX72546" y="connsiteY72546"/>
              </a:cxn>
              <a:cxn ang="0">
                <a:pos x="connsiteX72547" y="connsiteY72547"/>
              </a:cxn>
              <a:cxn ang="0">
                <a:pos x="connsiteX72548" y="connsiteY72548"/>
              </a:cxn>
              <a:cxn ang="0">
                <a:pos x="connsiteX72549" y="connsiteY72549"/>
              </a:cxn>
              <a:cxn ang="0">
                <a:pos x="connsiteX72550" y="connsiteY72550"/>
              </a:cxn>
              <a:cxn ang="0">
                <a:pos x="connsiteX72551" y="connsiteY72551"/>
              </a:cxn>
              <a:cxn ang="0">
                <a:pos x="connsiteX72552" y="connsiteY72552"/>
              </a:cxn>
              <a:cxn ang="0">
                <a:pos x="connsiteX72553" y="connsiteY72553"/>
              </a:cxn>
              <a:cxn ang="0">
                <a:pos x="connsiteX72554" y="connsiteY72554"/>
              </a:cxn>
              <a:cxn ang="0">
                <a:pos x="connsiteX72555" y="connsiteY72555"/>
              </a:cxn>
              <a:cxn ang="0">
                <a:pos x="connsiteX72556" y="connsiteY72556"/>
              </a:cxn>
              <a:cxn ang="0">
                <a:pos x="connsiteX72557" y="connsiteY72557"/>
              </a:cxn>
              <a:cxn ang="0">
                <a:pos x="connsiteX72558" y="connsiteY72558"/>
              </a:cxn>
              <a:cxn ang="0">
                <a:pos x="connsiteX72559" y="connsiteY72559"/>
              </a:cxn>
              <a:cxn ang="0">
                <a:pos x="connsiteX72560" y="connsiteY72560"/>
              </a:cxn>
              <a:cxn ang="0">
                <a:pos x="connsiteX72561" y="connsiteY72561"/>
              </a:cxn>
              <a:cxn ang="0">
                <a:pos x="connsiteX72562" y="connsiteY72562"/>
              </a:cxn>
              <a:cxn ang="0">
                <a:pos x="connsiteX72563" y="connsiteY72563"/>
              </a:cxn>
              <a:cxn ang="0">
                <a:pos x="connsiteX72564" y="connsiteY72564"/>
              </a:cxn>
              <a:cxn ang="0">
                <a:pos x="connsiteX72565" y="connsiteY72565"/>
              </a:cxn>
              <a:cxn ang="0">
                <a:pos x="connsiteX72566" y="connsiteY72566"/>
              </a:cxn>
              <a:cxn ang="0">
                <a:pos x="connsiteX72567" y="connsiteY72567"/>
              </a:cxn>
              <a:cxn ang="0">
                <a:pos x="connsiteX72568" y="connsiteY72568"/>
              </a:cxn>
              <a:cxn ang="0">
                <a:pos x="connsiteX72569" y="connsiteY72569"/>
              </a:cxn>
              <a:cxn ang="0">
                <a:pos x="connsiteX72570" y="connsiteY72570"/>
              </a:cxn>
              <a:cxn ang="0">
                <a:pos x="connsiteX72571" y="connsiteY72571"/>
              </a:cxn>
              <a:cxn ang="0">
                <a:pos x="connsiteX72572" y="connsiteY72572"/>
              </a:cxn>
              <a:cxn ang="0">
                <a:pos x="connsiteX72573" y="connsiteY72573"/>
              </a:cxn>
              <a:cxn ang="0">
                <a:pos x="connsiteX72574" y="connsiteY72574"/>
              </a:cxn>
              <a:cxn ang="0">
                <a:pos x="connsiteX72575" y="connsiteY72575"/>
              </a:cxn>
              <a:cxn ang="0">
                <a:pos x="connsiteX72576" y="connsiteY72576"/>
              </a:cxn>
              <a:cxn ang="0">
                <a:pos x="connsiteX72577" y="connsiteY72577"/>
              </a:cxn>
              <a:cxn ang="0">
                <a:pos x="connsiteX72578" y="connsiteY72578"/>
              </a:cxn>
              <a:cxn ang="0">
                <a:pos x="connsiteX72579" y="connsiteY72579"/>
              </a:cxn>
              <a:cxn ang="0">
                <a:pos x="connsiteX72580" y="connsiteY72580"/>
              </a:cxn>
              <a:cxn ang="0">
                <a:pos x="connsiteX72581" y="connsiteY72581"/>
              </a:cxn>
              <a:cxn ang="0">
                <a:pos x="connsiteX72582" y="connsiteY72582"/>
              </a:cxn>
              <a:cxn ang="0">
                <a:pos x="connsiteX72583" y="connsiteY72583"/>
              </a:cxn>
              <a:cxn ang="0">
                <a:pos x="connsiteX72584" y="connsiteY72584"/>
              </a:cxn>
              <a:cxn ang="0">
                <a:pos x="connsiteX72585" y="connsiteY72585"/>
              </a:cxn>
              <a:cxn ang="0">
                <a:pos x="connsiteX72586" y="connsiteY72586"/>
              </a:cxn>
              <a:cxn ang="0">
                <a:pos x="connsiteX72587" y="connsiteY72587"/>
              </a:cxn>
              <a:cxn ang="0">
                <a:pos x="connsiteX72588" y="connsiteY72588"/>
              </a:cxn>
              <a:cxn ang="0">
                <a:pos x="connsiteX72589" y="connsiteY72589"/>
              </a:cxn>
              <a:cxn ang="0">
                <a:pos x="connsiteX72590" y="connsiteY72590"/>
              </a:cxn>
              <a:cxn ang="0">
                <a:pos x="connsiteX72591" y="connsiteY72591"/>
              </a:cxn>
              <a:cxn ang="0">
                <a:pos x="connsiteX72592" y="connsiteY72592"/>
              </a:cxn>
              <a:cxn ang="0">
                <a:pos x="connsiteX72593" y="connsiteY72593"/>
              </a:cxn>
              <a:cxn ang="0">
                <a:pos x="connsiteX72594" y="connsiteY72594"/>
              </a:cxn>
              <a:cxn ang="0">
                <a:pos x="connsiteX72595" y="connsiteY72595"/>
              </a:cxn>
              <a:cxn ang="0">
                <a:pos x="connsiteX72596" y="connsiteY72596"/>
              </a:cxn>
              <a:cxn ang="0">
                <a:pos x="connsiteX72597" y="connsiteY72597"/>
              </a:cxn>
              <a:cxn ang="0">
                <a:pos x="connsiteX72598" y="connsiteY72598"/>
              </a:cxn>
              <a:cxn ang="0">
                <a:pos x="connsiteX72599" y="connsiteY72599"/>
              </a:cxn>
              <a:cxn ang="0">
                <a:pos x="connsiteX72600" y="connsiteY72600"/>
              </a:cxn>
              <a:cxn ang="0">
                <a:pos x="connsiteX72601" y="connsiteY72601"/>
              </a:cxn>
              <a:cxn ang="0">
                <a:pos x="connsiteX72602" y="connsiteY72602"/>
              </a:cxn>
              <a:cxn ang="0">
                <a:pos x="connsiteX72603" y="connsiteY72603"/>
              </a:cxn>
              <a:cxn ang="0">
                <a:pos x="connsiteX72604" y="connsiteY72604"/>
              </a:cxn>
              <a:cxn ang="0">
                <a:pos x="connsiteX72605" y="connsiteY72605"/>
              </a:cxn>
              <a:cxn ang="0">
                <a:pos x="connsiteX72606" y="connsiteY72606"/>
              </a:cxn>
              <a:cxn ang="0">
                <a:pos x="connsiteX72607" y="connsiteY72607"/>
              </a:cxn>
              <a:cxn ang="0">
                <a:pos x="connsiteX72608" y="connsiteY72608"/>
              </a:cxn>
              <a:cxn ang="0">
                <a:pos x="connsiteX72609" y="connsiteY72609"/>
              </a:cxn>
              <a:cxn ang="0">
                <a:pos x="connsiteX72610" y="connsiteY72610"/>
              </a:cxn>
              <a:cxn ang="0">
                <a:pos x="connsiteX72611" y="connsiteY72611"/>
              </a:cxn>
              <a:cxn ang="0">
                <a:pos x="connsiteX72612" y="connsiteY72612"/>
              </a:cxn>
              <a:cxn ang="0">
                <a:pos x="connsiteX72613" y="connsiteY72613"/>
              </a:cxn>
              <a:cxn ang="0">
                <a:pos x="connsiteX72614" y="connsiteY72614"/>
              </a:cxn>
              <a:cxn ang="0">
                <a:pos x="connsiteX72615" y="connsiteY72615"/>
              </a:cxn>
              <a:cxn ang="0">
                <a:pos x="connsiteX72616" y="connsiteY72616"/>
              </a:cxn>
              <a:cxn ang="0">
                <a:pos x="connsiteX72617" y="connsiteY72617"/>
              </a:cxn>
              <a:cxn ang="0">
                <a:pos x="connsiteX72618" y="connsiteY72618"/>
              </a:cxn>
              <a:cxn ang="0">
                <a:pos x="connsiteX72619" y="connsiteY72619"/>
              </a:cxn>
              <a:cxn ang="0">
                <a:pos x="connsiteX72620" y="connsiteY72620"/>
              </a:cxn>
              <a:cxn ang="0">
                <a:pos x="connsiteX72621" y="connsiteY72621"/>
              </a:cxn>
              <a:cxn ang="0">
                <a:pos x="connsiteX72622" y="connsiteY72622"/>
              </a:cxn>
              <a:cxn ang="0">
                <a:pos x="connsiteX72623" y="connsiteY72623"/>
              </a:cxn>
              <a:cxn ang="0">
                <a:pos x="connsiteX72624" y="connsiteY72624"/>
              </a:cxn>
              <a:cxn ang="0">
                <a:pos x="connsiteX72625" y="connsiteY72625"/>
              </a:cxn>
              <a:cxn ang="0">
                <a:pos x="connsiteX72626" y="connsiteY72626"/>
              </a:cxn>
              <a:cxn ang="0">
                <a:pos x="connsiteX72627" y="connsiteY72627"/>
              </a:cxn>
              <a:cxn ang="0">
                <a:pos x="connsiteX72628" y="connsiteY72628"/>
              </a:cxn>
              <a:cxn ang="0">
                <a:pos x="connsiteX72629" y="connsiteY72629"/>
              </a:cxn>
              <a:cxn ang="0">
                <a:pos x="connsiteX72630" y="connsiteY72630"/>
              </a:cxn>
              <a:cxn ang="0">
                <a:pos x="connsiteX72631" y="connsiteY72631"/>
              </a:cxn>
              <a:cxn ang="0">
                <a:pos x="connsiteX72632" y="connsiteY72632"/>
              </a:cxn>
              <a:cxn ang="0">
                <a:pos x="connsiteX72633" y="connsiteY72633"/>
              </a:cxn>
              <a:cxn ang="0">
                <a:pos x="connsiteX72634" y="connsiteY72634"/>
              </a:cxn>
              <a:cxn ang="0">
                <a:pos x="connsiteX72635" y="connsiteY72635"/>
              </a:cxn>
              <a:cxn ang="0">
                <a:pos x="connsiteX72636" y="connsiteY72636"/>
              </a:cxn>
              <a:cxn ang="0">
                <a:pos x="connsiteX72637" y="connsiteY72637"/>
              </a:cxn>
              <a:cxn ang="0">
                <a:pos x="connsiteX72638" y="connsiteY72638"/>
              </a:cxn>
              <a:cxn ang="0">
                <a:pos x="connsiteX72639" y="connsiteY72639"/>
              </a:cxn>
              <a:cxn ang="0">
                <a:pos x="connsiteX72640" y="connsiteY72640"/>
              </a:cxn>
              <a:cxn ang="0">
                <a:pos x="connsiteX72641" y="connsiteY72641"/>
              </a:cxn>
              <a:cxn ang="0">
                <a:pos x="connsiteX72642" y="connsiteY72642"/>
              </a:cxn>
              <a:cxn ang="0">
                <a:pos x="connsiteX72643" y="connsiteY72643"/>
              </a:cxn>
              <a:cxn ang="0">
                <a:pos x="connsiteX72644" y="connsiteY72644"/>
              </a:cxn>
              <a:cxn ang="0">
                <a:pos x="connsiteX72645" y="connsiteY72645"/>
              </a:cxn>
              <a:cxn ang="0">
                <a:pos x="connsiteX72646" y="connsiteY72646"/>
              </a:cxn>
              <a:cxn ang="0">
                <a:pos x="connsiteX72647" y="connsiteY72647"/>
              </a:cxn>
              <a:cxn ang="0">
                <a:pos x="connsiteX72648" y="connsiteY72648"/>
              </a:cxn>
              <a:cxn ang="0">
                <a:pos x="connsiteX72649" y="connsiteY72649"/>
              </a:cxn>
              <a:cxn ang="0">
                <a:pos x="connsiteX72650" y="connsiteY72650"/>
              </a:cxn>
              <a:cxn ang="0">
                <a:pos x="connsiteX72651" y="connsiteY72651"/>
              </a:cxn>
              <a:cxn ang="0">
                <a:pos x="connsiteX72652" y="connsiteY72652"/>
              </a:cxn>
              <a:cxn ang="0">
                <a:pos x="connsiteX72653" y="connsiteY72653"/>
              </a:cxn>
              <a:cxn ang="0">
                <a:pos x="connsiteX72654" y="connsiteY72654"/>
              </a:cxn>
              <a:cxn ang="0">
                <a:pos x="connsiteX72655" y="connsiteY72655"/>
              </a:cxn>
              <a:cxn ang="0">
                <a:pos x="connsiteX72656" y="connsiteY72656"/>
              </a:cxn>
              <a:cxn ang="0">
                <a:pos x="connsiteX72657" y="connsiteY72657"/>
              </a:cxn>
              <a:cxn ang="0">
                <a:pos x="connsiteX72658" y="connsiteY72658"/>
              </a:cxn>
              <a:cxn ang="0">
                <a:pos x="connsiteX72659" y="connsiteY72659"/>
              </a:cxn>
              <a:cxn ang="0">
                <a:pos x="connsiteX72660" y="connsiteY72660"/>
              </a:cxn>
              <a:cxn ang="0">
                <a:pos x="connsiteX72661" y="connsiteY72661"/>
              </a:cxn>
              <a:cxn ang="0">
                <a:pos x="connsiteX72662" y="connsiteY72662"/>
              </a:cxn>
              <a:cxn ang="0">
                <a:pos x="connsiteX72663" y="connsiteY72663"/>
              </a:cxn>
              <a:cxn ang="0">
                <a:pos x="connsiteX72664" y="connsiteY72664"/>
              </a:cxn>
              <a:cxn ang="0">
                <a:pos x="connsiteX72665" y="connsiteY72665"/>
              </a:cxn>
              <a:cxn ang="0">
                <a:pos x="connsiteX72666" y="connsiteY72666"/>
              </a:cxn>
              <a:cxn ang="0">
                <a:pos x="connsiteX72667" y="connsiteY72667"/>
              </a:cxn>
              <a:cxn ang="0">
                <a:pos x="connsiteX72668" y="connsiteY72668"/>
              </a:cxn>
              <a:cxn ang="0">
                <a:pos x="connsiteX72669" y="connsiteY72669"/>
              </a:cxn>
              <a:cxn ang="0">
                <a:pos x="connsiteX72670" y="connsiteY72670"/>
              </a:cxn>
              <a:cxn ang="0">
                <a:pos x="connsiteX72671" y="connsiteY72671"/>
              </a:cxn>
              <a:cxn ang="0">
                <a:pos x="connsiteX72672" y="connsiteY72672"/>
              </a:cxn>
              <a:cxn ang="0">
                <a:pos x="connsiteX72673" y="connsiteY72673"/>
              </a:cxn>
              <a:cxn ang="0">
                <a:pos x="connsiteX72674" y="connsiteY72674"/>
              </a:cxn>
              <a:cxn ang="0">
                <a:pos x="connsiteX72675" y="connsiteY72675"/>
              </a:cxn>
              <a:cxn ang="0">
                <a:pos x="connsiteX72676" y="connsiteY72676"/>
              </a:cxn>
              <a:cxn ang="0">
                <a:pos x="connsiteX72677" y="connsiteY72677"/>
              </a:cxn>
              <a:cxn ang="0">
                <a:pos x="connsiteX72678" y="connsiteY72678"/>
              </a:cxn>
              <a:cxn ang="0">
                <a:pos x="connsiteX72679" y="connsiteY72679"/>
              </a:cxn>
              <a:cxn ang="0">
                <a:pos x="connsiteX72680" y="connsiteY72680"/>
              </a:cxn>
              <a:cxn ang="0">
                <a:pos x="connsiteX72681" y="connsiteY72681"/>
              </a:cxn>
              <a:cxn ang="0">
                <a:pos x="connsiteX72682" y="connsiteY72682"/>
              </a:cxn>
              <a:cxn ang="0">
                <a:pos x="connsiteX72683" y="connsiteY72683"/>
              </a:cxn>
              <a:cxn ang="0">
                <a:pos x="connsiteX72684" y="connsiteY72684"/>
              </a:cxn>
              <a:cxn ang="0">
                <a:pos x="connsiteX72685" y="connsiteY72685"/>
              </a:cxn>
              <a:cxn ang="0">
                <a:pos x="connsiteX72686" y="connsiteY72686"/>
              </a:cxn>
              <a:cxn ang="0">
                <a:pos x="connsiteX72687" y="connsiteY72687"/>
              </a:cxn>
              <a:cxn ang="0">
                <a:pos x="connsiteX72688" y="connsiteY72688"/>
              </a:cxn>
              <a:cxn ang="0">
                <a:pos x="connsiteX72689" y="connsiteY72689"/>
              </a:cxn>
              <a:cxn ang="0">
                <a:pos x="connsiteX72690" y="connsiteY72690"/>
              </a:cxn>
              <a:cxn ang="0">
                <a:pos x="connsiteX72691" y="connsiteY72691"/>
              </a:cxn>
              <a:cxn ang="0">
                <a:pos x="connsiteX72692" y="connsiteY72692"/>
              </a:cxn>
              <a:cxn ang="0">
                <a:pos x="connsiteX72693" y="connsiteY72693"/>
              </a:cxn>
              <a:cxn ang="0">
                <a:pos x="connsiteX72694" y="connsiteY72694"/>
              </a:cxn>
              <a:cxn ang="0">
                <a:pos x="connsiteX72695" y="connsiteY72695"/>
              </a:cxn>
              <a:cxn ang="0">
                <a:pos x="connsiteX72696" y="connsiteY72696"/>
              </a:cxn>
              <a:cxn ang="0">
                <a:pos x="connsiteX72697" y="connsiteY72697"/>
              </a:cxn>
              <a:cxn ang="0">
                <a:pos x="connsiteX72698" y="connsiteY72698"/>
              </a:cxn>
              <a:cxn ang="0">
                <a:pos x="connsiteX72699" y="connsiteY72699"/>
              </a:cxn>
              <a:cxn ang="0">
                <a:pos x="connsiteX72700" y="connsiteY72700"/>
              </a:cxn>
              <a:cxn ang="0">
                <a:pos x="connsiteX72701" y="connsiteY72701"/>
              </a:cxn>
              <a:cxn ang="0">
                <a:pos x="connsiteX72702" y="connsiteY72702"/>
              </a:cxn>
              <a:cxn ang="0">
                <a:pos x="connsiteX72703" y="connsiteY72703"/>
              </a:cxn>
              <a:cxn ang="0">
                <a:pos x="connsiteX72704" y="connsiteY72704"/>
              </a:cxn>
              <a:cxn ang="0">
                <a:pos x="connsiteX72705" y="connsiteY72705"/>
              </a:cxn>
              <a:cxn ang="0">
                <a:pos x="connsiteX72706" y="connsiteY72706"/>
              </a:cxn>
              <a:cxn ang="0">
                <a:pos x="connsiteX72707" y="connsiteY72707"/>
              </a:cxn>
              <a:cxn ang="0">
                <a:pos x="connsiteX72708" y="connsiteY72708"/>
              </a:cxn>
              <a:cxn ang="0">
                <a:pos x="connsiteX72709" y="connsiteY72709"/>
              </a:cxn>
              <a:cxn ang="0">
                <a:pos x="connsiteX72710" y="connsiteY72710"/>
              </a:cxn>
              <a:cxn ang="0">
                <a:pos x="connsiteX72711" y="connsiteY72711"/>
              </a:cxn>
              <a:cxn ang="0">
                <a:pos x="connsiteX72712" y="connsiteY72712"/>
              </a:cxn>
              <a:cxn ang="0">
                <a:pos x="connsiteX72713" y="connsiteY72713"/>
              </a:cxn>
              <a:cxn ang="0">
                <a:pos x="connsiteX72714" y="connsiteY72714"/>
              </a:cxn>
              <a:cxn ang="0">
                <a:pos x="connsiteX72715" y="connsiteY72715"/>
              </a:cxn>
              <a:cxn ang="0">
                <a:pos x="connsiteX72716" y="connsiteY72716"/>
              </a:cxn>
              <a:cxn ang="0">
                <a:pos x="connsiteX72717" y="connsiteY72717"/>
              </a:cxn>
              <a:cxn ang="0">
                <a:pos x="connsiteX72718" y="connsiteY72718"/>
              </a:cxn>
              <a:cxn ang="0">
                <a:pos x="connsiteX72719" y="connsiteY72719"/>
              </a:cxn>
              <a:cxn ang="0">
                <a:pos x="connsiteX72720" y="connsiteY72720"/>
              </a:cxn>
              <a:cxn ang="0">
                <a:pos x="connsiteX72721" y="connsiteY72721"/>
              </a:cxn>
              <a:cxn ang="0">
                <a:pos x="connsiteX72722" y="connsiteY72722"/>
              </a:cxn>
              <a:cxn ang="0">
                <a:pos x="connsiteX72723" y="connsiteY72723"/>
              </a:cxn>
              <a:cxn ang="0">
                <a:pos x="connsiteX72724" y="connsiteY72724"/>
              </a:cxn>
              <a:cxn ang="0">
                <a:pos x="connsiteX72725" y="connsiteY72725"/>
              </a:cxn>
              <a:cxn ang="0">
                <a:pos x="connsiteX72726" y="connsiteY72726"/>
              </a:cxn>
              <a:cxn ang="0">
                <a:pos x="connsiteX72727" y="connsiteY72727"/>
              </a:cxn>
              <a:cxn ang="0">
                <a:pos x="connsiteX72728" y="connsiteY72728"/>
              </a:cxn>
              <a:cxn ang="0">
                <a:pos x="connsiteX72729" y="connsiteY72729"/>
              </a:cxn>
              <a:cxn ang="0">
                <a:pos x="connsiteX72730" y="connsiteY72730"/>
              </a:cxn>
              <a:cxn ang="0">
                <a:pos x="connsiteX72731" y="connsiteY72731"/>
              </a:cxn>
              <a:cxn ang="0">
                <a:pos x="connsiteX72732" y="connsiteY72732"/>
              </a:cxn>
              <a:cxn ang="0">
                <a:pos x="connsiteX72733" y="connsiteY72733"/>
              </a:cxn>
              <a:cxn ang="0">
                <a:pos x="connsiteX72734" y="connsiteY72734"/>
              </a:cxn>
              <a:cxn ang="0">
                <a:pos x="connsiteX72735" y="connsiteY72735"/>
              </a:cxn>
              <a:cxn ang="0">
                <a:pos x="connsiteX72736" y="connsiteY72736"/>
              </a:cxn>
              <a:cxn ang="0">
                <a:pos x="connsiteX72737" y="connsiteY72737"/>
              </a:cxn>
              <a:cxn ang="0">
                <a:pos x="connsiteX72738" y="connsiteY72738"/>
              </a:cxn>
              <a:cxn ang="0">
                <a:pos x="connsiteX72739" y="connsiteY72739"/>
              </a:cxn>
              <a:cxn ang="0">
                <a:pos x="connsiteX72740" y="connsiteY72740"/>
              </a:cxn>
              <a:cxn ang="0">
                <a:pos x="connsiteX72741" y="connsiteY72741"/>
              </a:cxn>
              <a:cxn ang="0">
                <a:pos x="connsiteX72742" y="connsiteY72742"/>
              </a:cxn>
              <a:cxn ang="0">
                <a:pos x="connsiteX72743" y="connsiteY72743"/>
              </a:cxn>
              <a:cxn ang="0">
                <a:pos x="connsiteX72744" y="connsiteY72744"/>
              </a:cxn>
              <a:cxn ang="0">
                <a:pos x="connsiteX72745" y="connsiteY72745"/>
              </a:cxn>
              <a:cxn ang="0">
                <a:pos x="connsiteX72746" y="connsiteY72746"/>
              </a:cxn>
              <a:cxn ang="0">
                <a:pos x="connsiteX72747" y="connsiteY72747"/>
              </a:cxn>
              <a:cxn ang="0">
                <a:pos x="connsiteX72748" y="connsiteY72748"/>
              </a:cxn>
              <a:cxn ang="0">
                <a:pos x="connsiteX72749" y="connsiteY72749"/>
              </a:cxn>
              <a:cxn ang="0">
                <a:pos x="connsiteX72750" y="connsiteY72750"/>
              </a:cxn>
              <a:cxn ang="0">
                <a:pos x="connsiteX72751" y="connsiteY72751"/>
              </a:cxn>
              <a:cxn ang="0">
                <a:pos x="connsiteX72752" y="connsiteY72752"/>
              </a:cxn>
              <a:cxn ang="0">
                <a:pos x="connsiteX72753" y="connsiteY72753"/>
              </a:cxn>
              <a:cxn ang="0">
                <a:pos x="connsiteX72754" y="connsiteY72754"/>
              </a:cxn>
              <a:cxn ang="0">
                <a:pos x="connsiteX72755" y="connsiteY72755"/>
              </a:cxn>
              <a:cxn ang="0">
                <a:pos x="connsiteX72756" y="connsiteY72756"/>
              </a:cxn>
              <a:cxn ang="0">
                <a:pos x="connsiteX72757" y="connsiteY72757"/>
              </a:cxn>
              <a:cxn ang="0">
                <a:pos x="connsiteX72758" y="connsiteY72758"/>
              </a:cxn>
              <a:cxn ang="0">
                <a:pos x="connsiteX72759" y="connsiteY72759"/>
              </a:cxn>
              <a:cxn ang="0">
                <a:pos x="connsiteX72760" y="connsiteY72760"/>
              </a:cxn>
              <a:cxn ang="0">
                <a:pos x="connsiteX72761" y="connsiteY72761"/>
              </a:cxn>
              <a:cxn ang="0">
                <a:pos x="connsiteX72762" y="connsiteY72762"/>
              </a:cxn>
              <a:cxn ang="0">
                <a:pos x="connsiteX72763" y="connsiteY72763"/>
              </a:cxn>
              <a:cxn ang="0">
                <a:pos x="connsiteX72764" y="connsiteY72764"/>
              </a:cxn>
              <a:cxn ang="0">
                <a:pos x="connsiteX72765" y="connsiteY72765"/>
              </a:cxn>
              <a:cxn ang="0">
                <a:pos x="connsiteX72766" y="connsiteY72766"/>
              </a:cxn>
              <a:cxn ang="0">
                <a:pos x="connsiteX72767" y="connsiteY72767"/>
              </a:cxn>
              <a:cxn ang="0">
                <a:pos x="connsiteX72768" y="connsiteY72768"/>
              </a:cxn>
              <a:cxn ang="0">
                <a:pos x="connsiteX72769" y="connsiteY72769"/>
              </a:cxn>
              <a:cxn ang="0">
                <a:pos x="connsiteX72770" y="connsiteY72770"/>
              </a:cxn>
              <a:cxn ang="0">
                <a:pos x="connsiteX72771" y="connsiteY72771"/>
              </a:cxn>
              <a:cxn ang="0">
                <a:pos x="connsiteX72772" y="connsiteY72772"/>
              </a:cxn>
              <a:cxn ang="0">
                <a:pos x="connsiteX72773" y="connsiteY72773"/>
              </a:cxn>
              <a:cxn ang="0">
                <a:pos x="connsiteX72774" y="connsiteY72774"/>
              </a:cxn>
              <a:cxn ang="0">
                <a:pos x="connsiteX72775" y="connsiteY72775"/>
              </a:cxn>
              <a:cxn ang="0">
                <a:pos x="connsiteX72776" y="connsiteY72776"/>
              </a:cxn>
              <a:cxn ang="0">
                <a:pos x="connsiteX72777" y="connsiteY72777"/>
              </a:cxn>
              <a:cxn ang="0">
                <a:pos x="connsiteX72778" y="connsiteY72778"/>
              </a:cxn>
              <a:cxn ang="0">
                <a:pos x="connsiteX72779" y="connsiteY72779"/>
              </a:cxn>
              <a:cxn ang="0">
                <a:pos x="connsiteX72780" y="connsiteY72780"/>
              </a:cxn>
              <a:cxn ang="0">
                <a:pos x="connsiteX72781" y="connsiteY72781"/>
              </a:cxn>
              <a:cxn ang="0">
                <a:pos x="connsiteX72782" y="connsiteY72782"/>
              </a:cxn>
              <a:cxn ang="0">
                <a:pos x="connsiteX72783" y="connsiteY72783"/>
              </a:cxn>
              <a:cxn ang="0">
                <a:pos x="connsiteX72784" y="connsiteY72784"/>
              </a:cxn>
              <a:cxn ang="0">
                <a:pos x="connsiteX72785" y="connsiteY72785"/>
              </a:cxn>
              <a:cxn ang="0">
                <a:pos x="connsiteX72786" y="connsiteY72786"/>
              </a:cxn>
              <a:cxn ang="0">
                <a:pos x="connsiteX72787" y="connsiteY72787"/>
              </a:cxn>
              <a:cxn ang="0">
                <a:pos x="connsiteX72788" y="connsiteY72788"/>
              </a:cxn>
              <a:cxn ang="0">
                <a:pos x="connsiteX72789" y="connsiteY72789"/>
              </a:cxn>
              <a:cxn ang="0">
                <a:pos x="connsiteX72790" y="connsiteY72790"/>
              </a:cxn>
              <a:cxn ang="0">
                <a:pos x="connsiteX72791" y="connsiteY72791"/>
              </a:cxn>
              <a:cxn ang="0">
                <a:pos x="connsiteX72792" y="connsiteY72792"/>
              </a:cxn>
              <a:cxn ang="0">
                <a:pos x="connsiteX72793" y="connsiteY72793"/>
              </a:cxn>
              <a:cxn ang="0">
                <a:pos x="connsiteX72794" y="connsiteY72794"/>
              </a:cxn>
              <a:cxn ang="0">
                <a:pos x="connsiteX72795" y="connsiteY72795"/>
              </a:cxn>
              <a:cxn ang="0">
                <a:pos x="connsiteX72796" y="connsiteY72796"/>
              </a:cxn>
              <a:cxn ang="0">
                <a:pos x="connsiteX72797" y="connsiteY72797"/>
              </a:cxn>
              <a:cxn ang="0">
                <a:pos x="connsiteX72798" y="connsiteY72798"/>
              </a:cxn>
              <a:cxn ang="0">
                <a:pos x="connsiteX72799" y="connsiteY72799"/>
              </a:cxn>
              <a:cxn ang="0">
                <a:pos x="connsiteX72800" y="connsiteY72800"/>
              </a:cxn>
              <a:cxn ang="0">
                <a:pos x="connsiteX72801" y="connsiteY72801"/>
              </a:cxn>
              <a:cxn ang="0">
                <a:pos x="connsiteX72802" y="connsiteY72802"/>
              </a:cxn>
              <a:cxn ang="0">
                <a:pos x="connsiteX72803" y="connsiteY72803"/>
              </a:cxn>
              <a:cxn ang="0">
                <a:pos x="connsiteX72804" y="connsiteY72804"/>
              </a:cxn>
              <a:cxn ang="0">
                <a:pos x="connsiteX72805" y="connsiteY72805"/>
              </a:cxn>
              <a:cxn ang="0">
                <a:pos x="connsiteX72806" y="connsiteY72806"/>
              </a:cxn>
              <a:cxn ang="0">
                <a:pos x="connsiteX72807" y="connsiteY72807"/>
              </a:cxn>
              <a:cxn ang="0">
                <a:pos x="connsiteX72808" y="connsiteY72808"/>
              </a:cxn>
              <a:cxn ang="0">
                <a:pos x="connsiteX72809" y="connsiteY72809"/>
              </a:cxn>
              <a:cxn ang="0">
                <a:pos x="connsiteX72810" y="connsiteY72810"/>
              </a:cxn>
              <a:cxn ang="0">
                <a:pos x="connsiteX72811" y="connsiteY72811"/>
              </a:cxn>
              <a:cxn ang="0">
                <a:pos x="connsiteX72812" y="connsiteY72812"/>
              </a:cxn>
              <a:cxn ang="0">
                <a:pos x="connsiteX72813" y="connsiteY72813"/>
              </a:cxn>
              <a:cxn ang="0">
                <a:pos x="connsiteX72814" y="connsiteY72814"/>
              </a:cxn>
              <a:cxn ang="0">
                <a:pos x="connsiteX72815" y="connsiteY72815"/>
              </a:cxn>
              <a:cxn ang="0">
                <a:pos x="connsiteX72816" y="connsiteY72816"/>
              </a:cxn>
              <a:cxn ang="0">
                <a:pos x="connsiteX72817" y="connsiteY72817"/>
              </a:cxn>
              <a:cxn ang="0">
                <a:pos x="connsiteX72818" y="connsiteY72818"/>
              </a:cxn>
              <a:cxn ang="0">
                <a:pos x="connsiteX72819" y="connsiteY72819"/>
              </a:cxn>
              <a:cxn ang="0">
                <a:pos x="connsiteX72820" y="connsiteY72820"/>
              </a:cxn>
              <a:cxn ang="0">
                <a:pos x="connsiteX72821" y="connsiteY72821"/>
              </a:cxn>
              <a:cxn ang="0">
                <a:pos x="connsiteX72822" y="connsiteY72822"/>
              </a:cxn>
              <a:cxn ang="0">
                <a:pos x="connsiteX72823" y="connsiteY72823"/>
              </a:cxn>
              <a:cxn ang="0">
                <a:pos x="connsiteX72824" y="connsiteY72824"/>
              </a:cxn>
              <a:cxn ang="0">
                <a:pos x="connsiteX72825" y="connsiteY72825"/>
              </a:cxn>
              <a:cxn ang="0">
                <a:pos x="connsiteX72826" y="connsiteY72826"/>
              </a:cxn>
              <a:cxn ang="0">
                <a:pos x="connsiteX72827" y="connsiteY72827"/>
              </a:cxn>
              <a:cxn ang="0">
                <a:pos x="connsiteX72828" y="connsiteY72828"/>
              </a:cxn>
              <a:cxn ang="0">
                <a:pos x="connsiteX72829" y="connsiteY72829"/>
              </a:cxn>
              <a:cxn ang="0">
                <a:pos x="connsiteX72830" y="connsiteY72830"/>
              </a:cxn>
              <a:cxn ang="0">
                <a:pos x="connsiteX72831" y="connsiteY72831"/>
              </a:cxn>
              <a:cxn ang="0">
                <a:pos x="connsiteX72832" y="connsiteY72832"/>
              </a:cxn>
              <a:cxn ang="0">
                <a:pos x="connsiteX72833" y="connsiteY72833"/>
              </a:cxn>
              <a:cxn ang="0">
                <a:pos x="connsiteX72834" y="connsiteY72834"/>
              </a:cxn>
              <a:cxn ang="0">
                <a:pos x="connsiteX72835" y="connsiteY72835"/>
              </a:cxn>
              <a:cxn ang="0">
                <a:pos x="connsiteX72836" y="connsiteY72836"/>
              </a:cxn>
              <a:cxn ang="0">
                <a:pos x="connsiteX72837" y="connsiteY72837"/>
              </a:cxn>
              <a:cxn ang="0">
                <a:pos x="connsiteX72838" y="connsiteY72838"/>
              </a:cxn>
              <a:cxn ang="0">
                <a:pos x="connsiteX72839" y="connsiteY72839"/>
              </a:cxn>
              <a:cxn ang="0">
                <a:pos x="connsiteX72840" y="connsiteY72840"/>
              </a:cxn>
              <a:cxn ang="0">
                <a:pos x="connsiteX72841" y="connsiteY72841"/>
              </a:cxn>
              <a:cxn ang="0">
                <a:pos x="connsiteX72842" y="connsiteY72842"/>
              </a:cxn>
              <a:cxn ang="0">
                <a:pos x="connsiteX72843" y="connsiteY72843"/>
              </a:cxn>
              <a:cxn ang="0">
                <a:pos x="connsiteX72844" y="connsiteY72844"/>
              </a:cxn>
              <a:cxn ang="0">
                <a:pos x="connsiteX72845" y="connsiteY72845"/>
              </a:cxn>
              <a:cxn ang="0">
                <a:pos x="connsiteX72846" y="connsiteY72846"/>
              </a:cxn>
              <a:cxn ang="0">
                <a:pos x="connsiteX72847" y="connsiteY72847"/>
              </a:cxn>
              <a:cxn ang="0">
                <a:pos x="connsiteX72848" y="connsiteY72848"/>
              </a:cxn>
              <a:cxn ang="0">
                <a:pos x="connsiteX72849" y="connsiteY72849"/>
              </a:cxn>
              <a:cxn ang="0">
                <a:pos x="connsiteX72850" y="connsiteY72850"/>
              </a:cxn>
              <a:cxn ang="0">
                <a:pos x="connsiteX72851" y="connsiteY72851"/>
              </a:cxn>
              <a:cxn ang="0">
                <a:pos x="connsiteX72852" y="connsiteY72852"/>
              </a:cxn>
              <a:cxn ang="0">
                <a:pos x="connsiteX72853" y="connsiteY72853"/>
              </a:cxn>
              <a:cxn ang="0">
                <a:pos x="connsiteX72854" y="connsiteY72854"/>
              </a:cxn>
              <a:cxn ang="0">
                <a:pos x="connsiteX72855" y="connsiteY72855"/>
              </a:cxn>
              <a:cxn ang="0">
                <a:pos x="connsiteX72856" y="connsiteY72856"/>
              </a:cxn>
              <a:cxn ang="0">
                <a:pos x="connsiteX72857" y="connsiteY72857"/>
              </a:cxn>
              <a:cxn ang="0">
                <a:pos x="connsiteX72858" y="connsiteY72858"/>
              </a:cxn>
              <a:cxn ang="0">
                <a:pos x="connsiteX72859" y="connsiteY72859"/>
              </a:cxn>
              <a:cxn ang="0">
                <a:pos x="connsiteX72860" y="connsiteY72860"/>
              </a:cxn>
              <a:cxn ang="0">
                <a:pos x="connsiteX72861" y="connsiteY72861"/>
              </a:cxn>
              <a:cxn ang="0">
                <a:pos x="connsiteX72862" y="connsiteY72862"/>
              </a:cxn>
              <a:cxn ang="0">
                <a:pos x="connsiteX72863" y="connsiteY72863"/>
              </a:cxn>
              <a:cxn ang="0">
                <a:pos x="connsiteX72864" y="connsiteY72864"/>
              </a:cxn>
              <a:cxn ang="0">
                <a:pos x="connsiteX72865" y="connsiteY72865"/>
              </a:cxn>
              <a:cxn ang="0">
                <a:pos x="connsiteX72866" y="connsiteY72866"/>
              </a:cxn>
              <a:cxn ang="0">
                <a:pos x="connsiteX72867" y="connsiteY72867"/>
              </a:cxn>
              <a:cxn ang="0">
                <a:pos x="connsiteX72868" y="connsiteY72868"/>
              </a:cxn>
              <a:cxn ang="0">
                <a:pos x="connsiteX72869" y="connsiteY72869"/>
              </a:cxn>
              <a:cxn ang="0">
                <a:pos x="connsiteX72870" y="connsiteY72870"/>
              </a:cxn>
              <a:cxn ang="0">
                <a:pos x="connsiteX72871" y="connsiteY72871"/>
              </a:cxn>
              <a:cxn ang="0">
                <a:pos x="connsiteX72872" y="connsiteY72872"/>
              </a:cxn>
              <a:cxn ang="0">
                <a:pos x="connsiteX72873" y="connsiteY72873"/>
              </a:cxn>
              <a:cxn ang="0">
                <a:pos x="connsiteX72874" y="connsiteY72874"/>
              </a:cxn>
              <a:cxn ang="0">
                <a:pos x="connsiteX72875" y="connsiteY72875"/>
              </a:cxn>
              <a:cxn ang="0">
                <a:pos x="connsiteX72876" y="connsiteY72876"/>
              </a:cxn>
              <a:cxn ang="0">
                <a:pos x="connsiteX72877" y="connsiteY72877"/>
              </a:cxn>
              <a:cxn ang="0">
                <a:pos x="connsiteX72878" y="connsiteY72878"/>
              </a:cxn>
              <a:cxn ang="0">
                <a:pos x="connsiteX72879" y="connsiteY72879"/>
              </a:cxn>
              <a:cxn ang="0">
                <a:pos x="connsiteX72880" y="connsiteY72880"/>
              </a:cxn>
              <a:cxn ang="0">
                <a:pos x="connsiteX72881" y="connsiteY72881"/>
              </a:cxn>
              <a:cxn ang="0">
                <a:pos x="connsiteX72882" y="connsiteY72882"/>
              </a:cxn>
              <a:cxn ang="0">
                <a:pos x="connsiteX72883" y="connsiteY72883"/>
              </a:cxn>
              <a:cxn ang="0">
                <a:pos x="connsiteX72884" y="connsiteY72884"/>
              </a:cxn>
              <a:cxn ang="0">
                <a:pos x="connsiteX72885" y="connsiteY72885"/>
              </a:cxn>
              <a:cxn ang="0">
                <a:pos x="connsiteX72886" y="connsiteY72886"/>
              </a:cxn>
              <a:cxn ang="0">
                <a:pos x="connsiteX72887" y="connsiteY72887"/>
              </a:cxn>
              <a:cxn ang="0">
                <a:pos x="connsiteX72888" y="connsiteY72888"/>
              </a:cxn>
              <a:cxn ang="0">
                <a:pos x="connsiteX72889" y="connsiteY72889"/>
              </a:cxn>
              <a:cxn ang="0">
                <a:pos x="connsiteX72890" y="connsiteY72890"/>
              </a:cxn>
              <a:cxn ang="0">
                <a:pos x="connsiteX72891" y="connsiteY72891"/>
              </a:cxn>
              <a:cxn ang="0">
                <a:pos x="connsiteX72892" y="connsiteY72892"/>
              </a:cxn>
              <a:cxn ang="0">
                <a:pos x="connsiteX72893" y="connsiteY72893"/>
              </a:cxn>
              <a:cxn ang="0">
                <a:pos x="connsiteX72894" y="connsiteY72894"/>
              </a:cxn>
              <a:cxn ang="0">
                <a:pos x="connsiteX72895" y="connsiteY72895"/>
              </a:cxn>
              <a:cxn ang="0">
                <a:pos x="connsiteX72896" y="connsiteY72896"/>
              </a:cxn>
              <a:cxn ang="0">
                <a:pos x="connsiteX72897" y="connsiteY72897"/>
              </a:cxn>
              <a:cxn ang="0">
                <a:pos x="connsiteX72898" y="connsiteY72898"/>
              </a:cxn>
              <a:cxn ang="0">
                <a:pos x="connsiteX72899" y="connsiteY72899"/>
              </a:cxn>
              <a:cxn ang="0">
                <a:pos x="connsiteX72900" y="connsiteY72900"/>
              </a:cxn>
              <a:cxn ang="0">
                <a:pos x="connsiteX72901" y="connsiteY72901"/>
              </a:cxn>
              <a:cxn ang="0">
                <a:pos x="connsiteX72902" y="connsiteY72902"/>
              </a:cxn>
              <a:cxn ang="0">
                <a:pos x="connsiteX72903" y="connsiteY72903"/>
              </a:cxn>
              <a:cxn ang="0">
                <a:pos x="connsiteX72904" y="connsiteY72904"/>
              </a:cxn>
              <a:cxn ang="0">
                <a:pos x="connsiteX72905" y="connsiteY72905"/>
              </a:cxn>
              <a:cxn ang="0">
                <a:pos x="connsiteX72906" y="connsiteY72906"/>
              </a:cxn>
              <a:cxn ang="0">
                <a:pos x="connsiteX72907" y="connsiteY72907"/>
              </a:cxn>
              <a:cxn ang="0">
                <a:pos x="connsiteX72908" y="connsiteY72908"/>
              </a:cxn>
              <a:cxn ang="0">
                <a:pos x="connsiteX72909" y="connsiteY72909"/>
              </a:cxn>
              <a:cxn ang="0">
                <a:pos x="connsiteX72910" y="connsiteY72910"/>
              </a:cxn>
              <a:cxn ang="0">
                <a:pos x="connsiteX72911" y="connsiteY72911"/>
              </a:cxn>
              <a:cxn ang="0">
                <a:pos x="connsiteX72912" y="connsiteY72912"/>
              </a:cxn>
              <a:cxn ang="0">
                <a:pos x="connsiteX72913" y="connsiteY72913"/>
              </a:cxn>
              <a:cxn ang="0">
                <a:pos x="connsiteX72914" y="connsiteY72914"/>
              </a:cxn>
              <a:cxn ang="0">
                <a:pos x="connsiteX72915" y="connsiteY72915"/>
              </a:cxn>
              <a:cxn ang="0">
                <a:pos x="connsiteX72916" y="connsiteY72916"/>
              </a:cxn>
              <a:cxn ang="0">
                <a:pos x="connsiteX72917" y="connsiteY72917"/>
              </a:cxn>
              <a:cxn ang="0">
                <a:pos x="connsiteX72918" y="connsiteY72918"/>
              </a:cxn>
              <a:cxn ang="0">
                <a:pos x="connsiteX72919" y="connsiteY72919"/>
              </a:cxn>
              <a:cxn ang="0">
                <a:pos x="connsiteX72920" y="connsiteY72920"/>
              </a:cxn>
              <a:cxn ang="0">
                <a:pos x="connsiteX72921" y="connsiteY72921"/>
              </a:cxn>
              <a:cxn ang="0">
                <a:pos x="connsiteX72922" y="connsiteY72922"/>
              </a:cxn>
              <a:cxn ang="0">
                <a:pos x="connsiteX72923" y="connsiteY72923"/>
              </a:cxn>
              <a:cxn ang="0">
                <a:pos x="connsiteX72924" y="connsiteY72924"/>
              </a:cxn>
              <a:cxn ang="0">
                <a:pos x="connsiteX72925" y="connsiteY72925"/>
              </a:cxn>
              <a:cxn ang="0">
                <a:pos x="connsiteX72926" y="connsiteY72926"/>
              </a:cxn>
              <a:cxn ang="0">
                <a:pos x="connsiteX72927" y="connsiteY72927"/>
              </a:cxn>
              <a:cxn ang="0">
                <a:pos x="connsiteX72928" y="connsiteY72928"/>
              </a:cxn>
              <a:cxn ang="0">
                <a:pos x="connsiteX72929" y="connsiteY72929"/>
              </a:cxn>
              <a:cxn ang="0">
                <a:pos x="connsiteX72930" y="connsiteY72930"/>
              </a:cxn>
              <a:cxn ang="0">
                <a:pos x="connsiteX72931" y="connsiteY72931"/>
              </a:cxn>
              <a:cxn ang="0">
                <a:pos x="connsiteX72932" y="connsiteY72932"/>
              </a:cxn>
              <a:cxn ang="0">
                <a:pos x="connsiteX72933" y="connsiteY72933"/>
              </a:cxn>
              <a:cxn ang="0">
                <a:pos x="connsiteX72934" y="connsiteY72934"/>
              </a:cxn>
              <a:cxn ang="0">
                <a:pos x="connsiteX72935" y="connsiteY72935"/>
              </a:cxn>
              <a:cxn ang="0">
                <a:pos x="connsiteX72936" y="connsiteY72936"/>
              </a:cxn>
              <a:cxn ang="0">
                <a:pos x="connsiteX72937" y="connsiteY72937"/>
              </a:cxn>
              <a:cxn ang="0">
                <a:pos x="connsiteX72938" y="connsiteY72938"/>
              </a:cxn>
              <a:cxn ang="0">
                <a:pos x="connsiteX72939" y="connsiteY72939"/>
              </a:cxn>
              <a:cxn ang="0">
                <a:pos x="connsiteX72940" y="connsiteY72940"/>
              </a:cxn>
              <a:cxn ang="0">
                <a:pos x="connsiteX72941" y="connsiteY72941"/>
              </a:cxn>
              <a:cxn ang="0">
                <a:pos x="connsiteX72942" y="connsiteY72942"/>
              </a:cxn>
              <a:cxn ang="0">
                <a:pos x="connsiteX72943" y="connsiteY72943"/>
              </a:cxn>
              <a:cxn ang="0">
                <a:pos x="connsiteX72944" y="connsiteY72944"/>
              </a:cxn>
              <a:cxn ang="0">
                <a:pos x="connsiteX72945" y="connsiteY72945"/>
              </a:cxn>
              <a:cxn ang="0">
                <a:pos x="connsiteX72946" y="connsiteY72946"/>
              </a:cxn>
              <a:cxn ang="0">
                <a:pos x="connsiteX72947" y="connsiteY72947"/>
              </a:cxn>
              <a:cxn ang="0">
                <a:pos x="connsiteX72948" y="connsiteY72948"/>
              </a:cxn>
              <a:cxn ang="0">
                <a:pos x="connsiteX72949" y="connsiteY72949"/>
              </a:cxn>
              <a:cxn ang="0">
                <a:pos x="connsiteX72950" y="connsiteY72950"/>
              </a:cxn>
              <a:cxn ang="0">
                <a:pos x="connsiteX72951" y="connsiteY72951"/>
              </a:cxn>
              <a:cxn ang="0">
                <a:pos x="connsiteX72952" y="connsiteY72952"/>
              </a:cxn>
              <a:cxn ang="0">
                <a:pos x="connsiteX72953" y="connsiteY72953"/>
              </a:cxn>
              <a:cxn ang="0">
                <a:pos x="connsiteX72954" y="connsiteY72954"/>
              </a:cxn>
              <a:cxn ang="0">
                <a:pos x="connsiteX72955" y="connsiteY72955"/>
              </a:cxn>
              <a:cxn ang="0">
                <a:pos x="connsiteX72956" y="connsiteY72956"/>
              </a:cxn>
              <a:cxn ang="0">
                <a:pos x="connsiteX72957" y="connsiteY72957"/>
              </a:cxn>
              <a:cxn ang="0">
                <a:pos x="connsiteX72958" y="connsiteY72958"/>
              </a:cxn>
              <a:cxn ang="0">
                <a:pos x="connsiteX72959" y="connsiteY72959"/>
              </a:cxn>
              <a:cxn ang="0">
                <a:pos x="connsiteX72960" y="connsiteY72960"/>
              </a:cxn>
              <a:cxn ang="0">
                <a:pos x="connsiteX72961" y="connsiteY72961"/>
              </a:cxn>
              <a:cxn ang="0">
                <a:pos x="connsiteX72962" y="connsiteY72962"/>
              </a:cxn>
              <a:cxn ang="0">
                <a:pos x="connsiteX72963" y="connsiteY72963"/>
              </a:cxn>
              <a:cxn ang="0">
                <a:pos x="connsiteX72964" y="connsiteY72964"/>
              </a:cxn>
              <a:cxn ang="0">
                <a:pos x="connsiteX72965" y="connsiteY72965"/>
              </a:cxn>
              <a:cxn ang="0">
                <a:pos x="connsiteX72966" y="connsiteY72966"/>
              </a:cxn>
              <a:cxn ang="0">
                <a:pos x="connsiteX72967" y="connsiteY72967"/>
              </a:cxn>
              <a:cxn ang="0">
                <a:pos x="connsiteX72968" y="connsiteY72968"/>
              </a:cxn>
              <a:cxn ang="0">
                <a:pos x="connsiteX72969" y="connsiteY72969"/>
              </a:cxn>
              <a:cxn ang="0">
                <a:pos x="connsiteX72970" y="connsiteY72970"/>
              </a:cxn>
              <a:cxn ang="0">
                <a:pos x="connsiteX72971" y="connsiteY72971"/>
              </a:cxn>
              <a:cxn ang="0">
                <a:pos x="connsiteX72972" y="connsiteY72972"/>
              </a:cxn>
              <a:cxn ang="0">
                <a:pos x="connsiteX72973" y="connsiteY72973"/>
              </a:cxn>
              <a:cxn ang="0">
                <a:pos x="connsiteX72974" y="connsiteY72974"/>
              </a:cxn>
              <a:cxn ang="0">
                <a:pos x="connsiteX72975" y="connsiteY72975"/>
              </a:cxn>
              <a:cxn ang="0">
                <a:pos x="connsiteX72976" y="connsiteY72976"/>
              </a:cxn>
              <a:cxn ang="0">
                <a:pos x="connsiteX72977" y="connsiteY72977"/>
              </a:cxn>
              <a:cxn ang="0">
                <a:pos x="connsiteX72978" y="connsiteY72978"/>
              </a:cxn>
              <a:cxn ang="0">
                <a:pos x="connsiteX72979" y="connsiteY72979"/>
              </a:cxn>
              <a:cxn ang="0">
                <a:pos x="connsiteX72980" y="connsiteY72980"/>
              </a:cxn>
              <a:cxn ang="0">
                <a:pos x="connsiteX72981" y="connsiteY72981"/>
              </a:cxn>
              <a:cxn ang="0">
                <a:pos x="connsiteX72982" y="connsiteY72982"/>
              </a:cxn>
              <a:cxn ang="0">
                <a:pos x="connsiteX72983" y="connsiteY72983"/>
              </a:cxn>
              <a:cxn ang="0">
                <a:pos x="connsiteX72984" y="connsiteY72984"/>
              </a:cxn>
              <a:cxn ang="0">
                <a:pos x="connsiteX72985" y="connsiteY72985"/>
              </a:cxn>
              <a:cxn ang="0">
                <a:pos x="connsiteX72986" y="connsiteY72986"/>
              </a:cxn>
              <a:cxn ang="0">
                <a:pos x="connsiteX72987" y="connsiteY72987"/>
              </a:cxn>
              <a:cxn ang="0">
                <a:pos x="connsiteX72988" y="connsiteY72988"/>
              </a:cxn>
              <a:cxn ang="0">
                <a:pos x="connsiteX72989" y="connsiteY72989"/>
              </a:cxn>
              <a:cxn ang="0">
                <a:pos x="connsiteX72990" y="connsiteY72990"/>
              </a:cxn>
              <a:cxn ang="0">
                <a:pos x="connsiteX72991" y="connsiteY72991"/>
              </a:cxn>
              <a:cxn ang="0">
                <a:pos x="connsiteX72992" y="connsiteY72992"/>
              </a:cxn>
              <a:cxn ang="0">
                <a:pos x="connsiteX72993" y="connsiteY72993"/>
              </a:cxn>
              <a:cxn ang="0">
                <a:pos x="connsiteX72994" y="connsiteY72994"/>
              </a:cxn>
              <a:cxn ang="0">
                <a:pos x="connsiteX72995" y="connsiteY72995"/>
              </a:cxn>
              <a:cxn ang="0">
                <a:pos x="connsiteX72996" y="connsiteY72996"/>
              </a:cxn>
              <a:cxn ang="0">
                <a:pos x="connsiteX72997" y="connsiteY72997"/>
              </a:cxn>
              <a:cxn ang="0">
                <a:pos x="connsiteX72998" y="connsiteY72998"/>
              </a:cxn>
              <a:cxn ang="0">
                <a:pos x="connsiteX72999" y="connsiteY72999"/>
              </a:cxn>
              <a:cxn ang="0">
                <a:pos x="connsiteX73000" y="connsiteY73000"/>
              </a:cxn>
              <a:cxn ang="0">
                <a:pos x="connsiteX73001" y="connsiteY73001"/>
              </a:cxn>
              <a:cxn ang="0">
                <a:pos x="connsiteX73002" y="connsiteY73002"/>
              </a:cxn>
              <a:cxn ang="0">
                <a:pos x="connsiteX73003" y="connsiteY73003"/>
              </a:cxn>
              <a:cxn ang="0">
                <a:pos x="connsiteX73004" y="connsiteY73004"/>
              </a:cxn>
              <a:cxn ang="0">
                <a:pos x="connsiteX73005" y="connsiteY73005"/>
              </a:cxn>
              <a:cxn ang="0">
                <a:pos x="connsiteX73006" y="connsiteY73006"/>
              </a:cxn>
              <a:cxn ang="0">
                <a:pos x="connsiteX73007" y="connsiteY73007"/>
              </a:cxn>
              <a:cxn ang="0">
                <a:pos x="connsiteX73008" y="connsiteY73008"/>
              </a:cxn>
              <a:cxn ang="0">
                <a:pos x="connsiteX73009" y="connsiteY73009"/>
              </a:cxn>
              <a:cxn ang="0">
                <a:pos x="connsiteX73010" y="connsiteY73010"/>
              </a:cxn>
              <a:cxn ang="0">
                <a:pos x="connsiteX73011" y="connsiteY73011"/>
              </a:cxn>
              <a:cxn ang="0">
                <a:pos x="connsiteX73012" y="connsiteY73012"/>
              </a:cxn>
              <a:cxn ang="0">
                <a:pos x="connsiteX73013" y="connsiteY73013"/>
              </a:cxn>
              <a:cxn ang="0">
                <a:pos x="connsiteX73014" y="connsiteY73014"/>
              </a:cxn>
              <a:cxn ang="0">
                <a:pos x="connsiteX73015" y="connsiteY73015"/>
              </a:cxn>
              <a:cxn ang="0">
                <a:pos x="connsiteX73016" y="connsiteY73016"/>
              </a:cxn>
              <a:cxn ang="0">
                <a:pos x="connsiteX73017" y="connsiteY73017"/>
              </a:cxn>
              <a:cxn ang="0">
                <a:pos x="connsiteX73018" y="connsiteY73018"/>
              </a:cxn>
              <a:cxn ang="0">
                <a:pos x="connsiteX73019" y="connsiteY73019"/>
              </a:cxn>
              <a:cxn ang="0">
                <a:pos x="connsiteX73020" y="connsiteY73020"/>
              </a:cxn>
              <a:cxn ang="0">
                <a:pos x="connsiteX73021" y="connsiteY73021"/>
              </a:cxn>
              <a:cxn ang="0">
                <a:pos x="connsiteX73022" y="connsiteY73022"/>
              </a:cxn>
              <a:cxn ang="0">
                <a:pos x="connsiteX73023" y="connsiteY73023"/>
              </a:cxn>
              <a:cxn ang="0">
                <a:pos x="connsiteX73024" y="connsiteY73024"/>
              </a:cxn>
              <a:cxn ang="0">
                <a:pos x="connsiteX73025" y="connsiteY73025"/>
              </a:cxn>
              <a:cxn ang="0">
                <a:pos x="connsiteX73026" y="connsiteY73026"/>
              </a:cxn>
              <a:cxn ang="0">
                <a:pos x="connsiteX73027" y="connsiteY73027"/>
              </a:cxn>
              <a:cxn ang="0">
                <a:pos x="connsiteX73028" y="connsiteY73028"/>
              </a:cxn>
              <a:cxn ang="0">
                <a:pos x="connsiteX73029" y="connsiteY73029"/>
              </a:cxn>
              <a:cxn ang="0">
                <a:pos x="connsiteX73030" y="connsiteY73030"/>
              </a:cxn>
              <a:cxn ang="0">
                <a:pos x="connsiteX73031" y="connsiteY73031"/>
              </a:cxn>
              <a:cxn ang="0">
                <a:pos x="connsiteX73032" y="connsiteY73032"/>
              </a:cxn>
              <a:cxn ang="0">
                <a:pos x="connsiteX73033" y="connsiteY73033"/>
              </a:cxn>
              <a:cxn ang="0">
                <a:pos x="connsiteX73034" y="connsiteY73034"/>
              </a:cxn>
              <a:cxn ang="0">
                <a:pos x="connsiteX73035" y="connsiteY73035"/>
              </a:cxn>
              <a:cxn ang="0">
                <a:pos x="connsiteX73036" y="connsiteY73036"/>
              </a:cxn>
              <a:cxn ang="0">
                <a:pos x="connsiteX73037" y="connsiteY73037"/>
              </a:cxn>
              <a:cxn ang="0">
                <a:pos x="connsiteX73038" y="connsiteY73038"/>
              </a:cxn>
              <a:cxn ang="0">
                <a:pos x="connsiteX73039" y="connsiteY73039"/>
              </a:cxn>
              <a:cxn ang="0">
                <a:pos x="connsiteX73040" y="connsiteY73040"/>
              </a:cxn>
              <a:cxn ang="0">
                <a:pos x="connsiteX73041" y="connsiteY73041"/>
              </a:cxn>
              <a:cxn ang="0">
                <a:pos x="connsiteX73042" y="connsiteY73042"/>
              </a:cxn>
              <a:cxn ang="0">
                <a:pos x="connsiteX73043" y="connsiteY73043"/>
              </a:cxn>
              <a:cxn ang="0">
                <a:pos x="connsiteX73044" y="connsiteY73044"/>
              </a:cxn>
              <a:cxn ang="0">
                <a:pos x="connsiteX73045" y="connsiteY73045"/>
              </a:cxn>
              <a:cxn ang="0">
                <a:pos x="connsiteX73046" y="connsiteY73046"/>
              </a:cxn>
              <a:cxn ang="0">
                <a:pos x="connsiteX73047" y="connsiteY73047"/>
              </a:cxn>
              <a:cxn ang="0">
                <a:pos x="connsiteX73048" y="connsiteY73048"/>
              </a:cxn>
              <a:cxn ang="0">
                <a:pos x="connsiteX73049" y="connsiteY73049"/>
              </a:cxn>
              <a:cxn ang="0">
                <a:pos x="connsiteX73050" y="connsiteY73050"/>
              </a:cxn>
              <a:cxn ang="0">
                <a:pos x="connsiteX73051" y="connsiteY73051"/>
              </a:cxn>
              <a:cxn ang="0">
                <a:pos x="connsiteX73052" y="connsiteY73052"/>
              </a:cxn>
              <a:cxn ang="0">
                <a:pos x="connsiteX73053" y="connsiteY73053"/>
              </a:cxn>
              <a:cxn ang="0">
                <a:pos x="connsiteX73054" y="connsiteY73054"/>
              </a:cxn>
              <a:cxn ang="0">
                <a:pos x="connsiteX73055" y="connsiteY73055"/>
              </a:cxn>
              <a:cxn ang="0">
                <a:pos x="connsiteX73056" y="connsiteY73056"/>
              </a:cxn>
              <a:cxn ang="0">
                <a:pos x="connsiteX73057" y="connsiteY73057"/>
              </a:cxn>
              <a:cxn ang="0">
                <a:pos x="connsiteX73058" y="connsiteY73058"/>
              </a:cxn>
              <a:cxn ang="0">
                <a:pos x="connsiteX73059" y="connsiteY73059"/>
              </a:cxn>
              <a:cxn ang="0">
                <a:pos x="connsiteX73060" y="connsiteY73060"/>
              </a:cxn>
              <a:cxn ang="0">
                <a:pos x="connsiteX73061" y="connsiteY73061"/>
              </a:cxn>
              <a:cxn ang="0">
                <a:pos x="connsiteX73062" y="connsiteY73062"/>
              </a:cxn>
              <a:cxn ang="0">
                <a:pos x="connsiteX73063" y="connsiteY73063"/>
              </a:cxn>
              <a:cxn ang="0">
                <a:pos x="connsiteX73064" y="connsiteY73064"/>
              </a:cxn>
              <a:cxn ang="0">
                <a:pos x="connsiteX73065" y="connsiteY73065"/>
              </a:cxn>
              <a:cxn ang="0">
                <a:pos x="connsiteX73066" y="connsiteY73066"/>
              </a:cxn>
              <a:cxn ang="0">
                <a:pos x="connsiteX73067" y="connsiteY73067"/>
              </a:cxn>
              <a:cxn ang="0">
                <a:pos x="connsiteX73068" y="connsiteY73068"/>
              </a:cxn>
              <a:cxn ang="0">
                <a:pos x="connsiteX73069" y="connsiteY73069"/>
              </a:cxn>
              <a:cxn ang="0">
                <a:pos x="connsiteX73070" y="connsiteY73070"/>
              </a:cxn>
              <a:cxn ang="0">
                <a:pos x="connsiteX73071" y="connsiteY73071"/>
              </a:cxn>
              <a:cxn ang="0">
                <a:pos x="connsiteX73072" y="connsiteY73072"/>
              </a:cxn>
              <a:cxn ang="0">
                <a:pos x="connsiteX73073" y="connsiteY73073"/>
              </a:cxn>
              <a:cxn ang="0">
                <a:pos x="connsiteX73074" y="connsiteY73074"/>
              </a:cxn>
              <a:cxn ang="0">
                <a:pos x="connsiteX73075" y="connsiteY73075"/>
              </a:cxn>
              <a:cxn ang="0">
                <a:pos x="connsiteX73076" y="connsiteY73076"/>
              </a:cxn>
              <a:cxn ang="0">
                <a:pos x="connsiteX73077" y="connsiteY73077"/>
              </a:cxn>
              <a:cxn ang="0">
                <a:pos x="connsiteX73078" y="connsiteY73078"/>
              </a:cxn>
              <a:cxn ang="0">
                <a:pos x="connsiteX73079" y="connsiteY73079"/>
              </a:cxn>
              <a:cxn ang="0">
                <a:pos x="connsiteX73080" y="connsiteY73080"/>
              </a:cxn>
              <a:cxn ang="0">
                <a:pos x="connsiteX73081" y="connsiteY73081"/>
              </a:cxn>
              <a:cxn ang="0">
                <a:pos x="connsiteX73082" y="connsiteY73082"/>
              </a:cxn>
              <a:cxn ang="0">
                <a:pos x="connsiteX73083" y="connsiteY73083"/>
              </a:cxn>
              <a:cxn ang="0">
                <a:pos x="connsiteX73084" y="connsiteY73084"/>
              </a:cxn>
              <a:cxn ang="0">
                <a:pos x="connsiteX73085" y="connsiteY73085"/>
              </a:cxn>
              <a:cxn ang="0">
                <a:pos x="connsiteX73086" y="connsiteY73086"/>
              </a:cxn>
              <a:cxn ang="0">
                <a:pos x="connsiteX73087" y="connsiteY73087"/>
              </a:cxn>
              <a:cxn ang="0">
                <a:pos x="connsiteX73088" y="connsiteY73088"/>
              </a:cxn>
              <a:cxn ang="0">
                <a:pos x="connsiteX73089" y="connsiteY73089"/>
              </a:cxn>
              <a:cxn ang="0">
                <a:pos x="connsiteX73090" y="connsiteY73090"/>
              </a:cxn>
              <a:cxn ang="0">
                <a:pos x="connsiteX73091" y="connsiteY73091"/>
              </a:cxn>
              <a:cxn ang="0">
                <a:pos x="connsiteX73092" y="connsiteY73092"/>
              </a:cxn>
              <a:cxn ang="0">
                <a:pos x="connsiteX73093" y="connsiteY73093"/>
              </a:cxn>
              <a:cxn ang="0">
                <a:pos x="connsiteX73094" y="connsiteY73094"/>
              </a:cxn>
              <a:cxn ang="0">
                <a:pos x="connsiteX73095" y="connsiteY73095"/>
              </a:cxn>
              <a:cxn ang="0">
                <a:pos x="connsiteX73096" y="connsiteY73096"/>
              </a:cxn>
              <a:cxn ang="0">
                <a:pos x="connsiteX73097" y="connsiteY73097"/>
              </a:cxn>
              <a:cxn ang="0">
                <a:pos x="connsiteX73098" y="connsiteY73098"/>
              </a:cxn>
              <a:cxn ang="0">
                <a:pos x="connsiteX73099" y="connsiteY73099"/>
              </a:cxn>
              <a:cxn ang="0">
                <a:pos x="connsiteX73100" y="connsiteY73100"/>
              </a:cxn>
              <a:cxn ang="0">
                <a:pos x="connsiteX73101" y="connsiteY73101"/>
              </a:cxn>
              <a:cxn ang="0">
                <a:pos x="connsiteX73102" y="connsiteY73102"/>
              </a:cxn>
              <a:cxn ang="0">
                <a:pos x="connsiteX73103" y="connsiteY73103"/>
              </a:cxn>
              <a:cxn ang="0">
                <a:pos x="connsiteX73104" y="connsiteY73104"/>
              </a:cxn>
              <a:cxn ang="0">
                <a:pos x="connsiteX73105" y="connsiteY73105"/>
              </a:cxn>
              <a:cxn ang="0">
                <a:pos x="connsiteX73106" y="connsiteY73106"/>
              </a:cxn>
              <a:cxn ang="0">
                <a:pos x="connsiteX73107" y="connsiteY73107"/>
              </a:cxn>
              <a:cxn ang="0">
                <a:pos x="connsiteX73108" y="connsiteY73108"/>
              </a:cxn>
              <a:cxn ang="0">
                <a:pos x="connsiteX73109" y="connsiteY73109"/>
              </a:cxn>
              <a:cxn ang="0">
                <a:pos x="connsiteX73110" y="connsiteY73110"/>
              </a:cxn>
              <a:cxn ang="0">
                <a:pos x="connsiteX73111" y="connsiteY73111"/>
              </a:cxn>
              <a:cxn ang="0">
                <a:pos x="connsiteX73112" y="connsiteY73112"/>
              </a:cxn>
              <a:cxn ang="0">
                <a:pos x="connsiteX73113" y="connsiteY73113"/>
              </a:cxn>
              <a:cxn ang="0">
                <a:pos x="connsiteX73114" y="connsiteY73114"/>
              </a:cxn>
              <a:cxn ang="0">
                <a:pos x="connsiteX73115" y="connsiteY73115"/>
              </a:cxn>
              <a:cxn ang="0">
                <a:pos x="connsiteX73116" y="connsiteY73116"/>
              </a:cxn>
              <a:cxn ang="0">
                <a:pos x="connsiteX73117" y="connsiteY73117"/>
              </a:cxn>
              <a:cxn ang="0">
                <a:pos x="connsiteX73118" y="connsiteY73118"/>
              </a:cxn>
              <a:cxn ang="0">
                <a:pos x="connsiteX73119" y="connsiteY73119"/>
              </a:cxn>
              <a:cxn ang="0">
                <a:pos x="connsiteX73120" y="connsiteY73120"/>
              </a:cxn>
              <a:cxn ang="0">
                <a:pos x="connsiteX73121" y="connsiteY73121"/>
              </a:cxn>
              <a:cxn ang="0">
                <a:pos x="connsiteX73122" y="connsiteY73122"/>
              </a:cxn>
              <a:cxn ang="0">
                <a:pos x="connsiteX73123" y="connsiteY73123"/>
              </a:cxn>
              <a:cxn ang="0">
                <a:pos x="connsiteX73124" y="connsiteY73124"/>
              </a:cxn>
              <a:cxn ang="0">
                <a:pos x="connsiteX73125" y="connsiteY73125"/>
              </a:cxn>
              <a:cxn ang="0">
                <a:pos x="connsiteX73126" y="connsiteY73126"/>
              </a:cxn>
              <a:cxn ang="0">
                <a:pos x="connsiteX73127" y="connsiteY73127"/>
              </a:cxn>
              <a:cxn ang="0">
                <a:pos x="connsiteX73128" y="connsiteY73128"/>
              </a:cxn>
              <a:cxn ang="0">
                <a:pos x="connsiteX73129" y="connsiteY73129"/>
              </a:cxn>
              <a:cxn ang="0">
                <a:pos x="connsiteX73130" y="connsiteY73130"/>
              </a:cxn>
              <a:cxn ang="0">
                <a:pos x="connsiteX73131" y="connsiteY73131"/>
              </a:cxn>
              <a:cxn ang="0">
                <a:pos x="connsiteX73132" y="connsiteY73132"/>
              </a:cxn>
              <a:cxn ang="0">
                <a:pos x="connsiteX73133" y="connsiteY73133"/>
              </a:cxn>
              <a:cxn ang="0">
                <a:pos x="connsiteX73134" y="connsiteY73134"/>
              </a:cxn>
              <a:cxn ang="0">
                <a:pos x="connsiteX73135" y="connsiteY73135"/>
              </a:cxn>
              <a:cxn ang="0">
                <a:pos x="connsiteX73136" y="connsiteY73136"/>
              </a:cxn>
              <a:cxn ang="0">
                <a:pos x="connsiteX73137" y="connsiteY73137"/>
              </a:cxn>
              <a:cxn ang="0">
                <a:pos x="connsiteX73138" y="connsiteY73138"/>
              </a:cxn>
              <a:cxn ang="0">
                <a:pos x="connsiteX73139" y="connsiteY73139"/>
              </a:cxn>
              <a:cxn ang="0">
                <a:pos x="connsiteX73140" y="connsiteY73140"/>
              </a:cxn>
              <a:cxn ang="0">
                <a:pos x="connsiteX73141" y="connsiteY73141"/>
              </a:cxn>
              <a:cxn ang="0">
                <a:pos x="connsiteX73142" y="connsiteY73142"/>
              </a:cxn>
              <a:cxn ang="0">
                <a:pos x="connsiteX73143" y="connsiteY73143"/>
              </a:cxn>
              <a:cxn ang="0">
                <a:pos x="connsiteX73144" y="connsiteY73144"/>
              </a:cxn>
              <a:cxn ang="0">
                <a:pos x="connsiteX73145" y="connsiteY73145"/>
              </a:cxn>
              <a:cxn ang="0">
                <a:pos x="connsiteX73146" y="connsiteY73146"/>
              </a:cxn>
              <a:cxn ang="0">
                <a:pos x="connsiteX73147" y="connsiteY73147"/>
              </a:cxn>
              <a:cxn ang="0">
                <a:pos x="connsiteX73148" y="connsiteY73148"/>
              </a:cxn>
              <a:cxn ang="0">
                <a:pos x="connsiteX73149" y="connsiteY73149"/>
              </a:cxn>
              <a:cxn ang="0">
                <a:pos x="connsiteX73150" y="connsiteY73150"/>
              </a:cxn>
              <a:cxn ang="0">
                <a:pos x="connsiteX73151" y="connsiteY73151"/>
              </a:cxn>
              <a:cxn ang="0">
                <a:pos x="connsiteX73152" y="connsiteY73152"/>
              </a:cxn>
              <a:cxn ang="0">
                <a:pos x="connsiteX73153" y="connsiteY73153"/>
              </a:cxn>
              <a:cxn ang="0">
                <a:pos x="connsiteX73154" y="connsiteY73154"/>
              </a:cxn>
              <a:cxn ang="0">
                <a:pos x="connsiteX73155" y="connsiteY73155"/>
              </a:cxn>
              <a:cxn ang="0">
                <a:pos x="connsiteX73156" y="connsiteY73156"/>
              </a:cxn>
              <a:cxn ang="0">
                <a:pos x="connsiteX73157" y="connsiteY73157"/>
              </a:cxn>
              <a:cxn ang="0">
                <a:pos x="connsiteX73158" y="connsiteY73158"/>
              </a:cxn>
              <a:cxn ang="0">
                <a:pos x="connsiteX73159" y="connsiteY73159"/>
              </a:cxn>
              <a:cxn ang="0">
                <a:pos x="connsiteX73160" y="connsiteY73160"/>
              </a:cxn>
              <a:cxn ang="0">
                <a:pos x="connsiteX73161" y="connsiteY73161"/>
              </a:cxn>
              <a:cxn ang="0">
                <a:pos x="connsiteX73162" y="connsiteY73162"/>
              </a:cxn>
              <a:cxn ang="0">
                <a:pos x="connsiteX73163" y="connsiteY73163"/>
              </a:cxn>
              <a:cxn ang="0">
                <a:pos x="connsiteX73164" y="connsiteY73164"/>
              </a:cxn>
              <a:cxn ang="0">
                <a:pos x="connsiteX73165" y="connsiteY73165"/>
              </a:cxn>
              <a:cxn ang="0">
                <a:pos x="connsiteX73166" y="connsiteY73166"/>
              </a:cxn>
              <a:cxn ang="0">
                <a:pos x="connsiteX73167" y="connsiteY73167"/>
              </a:cxn>
              <a:cxn ang="0">
                <a:pos x="connsiteX73168" y="connsiteY73168"/>
              </a:cxn>
              <a:cxn ang="0">
                <a:pos x="connsiteX73169" y="connsiteY73169"/>
              </a:cxn>
              <a:cxn ang="0">
                <a:pos x="connsiteX73170" y="connsiteY73170"/>
              </a:cxn>
              <a:cxn ang="0">
                <a:pos x="connsiteX73171" y="connsiteY73171"/>
              </a:cxn>
              <a:cxn ang="0">
                <a:pos x="connsiteX73172" y="connsiteY73172"/>
              </a:cxn>
              <a:cxn ang="0">
                <a:pos x="connsiteX73173" y="connsiteY73173"/>
              </a:cxn>
              <a:cxn ang="0">
                <a:pos x="connsiteX73174" y="connsiteY73174"/>
              </a:cxn>
              <a:cxn ang="0">
                <a:pos x="connsiteX73175" y="connsiteY73175"/>
              </a:cxn>
              <a:cxn ang="0">
                <a:pos x="connsiteX73176" y="connsiteY73176"/>
              </a:cxn>
              <a:cxn ang="0">
                <a:pos x="connsiteX73177" y="connsiteY73177"/>
              </a:cxn>
              <a:cxn ang="0">
                <a:pos x="connsiteX73178" y="connsiteY73178"/>
              </a:cxn>
              <a:cxn ang="0">
                <a:pos x="connsiteX73179" y="connsiteY73179"/>
              </a:cxn>
              <a:cxn ang="0">
                <a:pos x="connsiteX73180" y="connsiteY73180"/>
              </a:cxn>
              <a:cxn ang="0">
                <a:pos x="connsiteX73181" y="connsiteY73181"/>
              </a:cxn>
              <a:cxn ang="0">
                <a:pos x="connsiteX73182" y="connsiteY73182"/>
              </a:cxn>
              <a:cxn ang="0">
                <a:pos x="connsiteX73183" y="connsiteY73183"/>
              </a:cxn>
              <a:cxn ang="0">
                <a:pos x="connsiteX73184" y="connsiteY73184"/>
              </a:cxn>
              <a:cxn ang="0">
                <a:pos x="connsiteX73185" y="connsiteY73185"/>
              </a:cxn>
              <a:cxn ang="0">
                <a:pos x="connsiteX73186" y="connsiteY73186"/>
              </a:cxn>
              <a:cxn ang="0">
                <a:pos x="connsiteX73187" y="connsiteY73187"/>
              </a:cxn>
              <a:cxn ang="0">
                <a:pos x="connsiteX73188" y="connsiteY73188"/>
              </a:cxn>
              <a:cxn ang="0">
                <a:pos x="connsiteX73189" y="connsiteY73189"/>
              </a:cxn>
              <a:cxn ang="0">
                <a:pos x="connsiteX73190" y="connsiteY73190"/>
              </a:cxn>
              <a:cxn ang="0">
                <a:pos x="connsiteX73191" y="connsiteY73191"/>
              </a:cxn>
              <a:cxn ang="0">
                <a:pos x="connsiteX73192" y="connsiteY73192"/>
              </a:cxn>
              <a:cxn ang="0">
                <a:pos x="connsiteX73193" y="connsiteY73193"/>
              </a:cxn>
              <a:cxn ang="0">
                <a:pos x="connsiteX73194" y="connsiteY73194"/>
              </a:cxn>
              <a:cxn ang="0">
                <a:pos x="connsiteX73195" y="connsiteY73195"/>
              </a:cxn>
              <a:cxn ang="0">
                <a:pos x="connsiteX73196" y="connsiteY73196"/>
              </a:cxn>
              <a:cxn ang="0">
                <a:pos x="connsiteX73197" y="connsiteY73197"/>
              </a:cxn>
              <a:cxn ang="0">
                <a:pos x="connsiteX73198" y="connsiteY73198"/>
              </a:cxn>
              <a:cxn ang="0">
                <a:pos x="connsiteX73199" y="connsiteY73199"/>
              </a:cxn>
              <a:cxn ang="0">
                <a:pos x="connsiteX73200" y="connsiteY73200"/>
              </a:cxn>
              <a:cxn ang="0">
                <a:pos x="connsiteX73201" y="connsiteY73201"/>
              </a:cxn>
              <a:cxn ang="0">
                <a:pos x="connsiteX73202" y="connsiteY73202"/>
              </a:cxn>
              <a:cxn ang="0">
                <a:pos x="connsiteX73203" y="connsiteY73203"/>
              </a:cxn>
              <a:cxn ang="0">
                <a:pos x="connsiteX73204" y="connsiteY73204"/>
              </a:cxn>
              <a:cxn ang="0">
                <a:pos x="connsiteX73205" y="connsiteY73205"/>
              </a:cxn>
              <a:cxn ang="0">
                <a:pos x="connsiteX73206" y="connsiteY73206"/>
              </a:cxn>
              <a:cxn ang="0">
                <a:pos x="connsiteX73207" y="connsiteY73207"/>
              </a:cxn>
              <a:cxn ang="0">
                <a:pos x="connsiteX73208" y="connsiteY73208"/>
              </a:cxn>
              <a:cxn ang="0">
                <a:pos x="connsiteX73209" y="connsiteY73209"/>
              </a:cxn>
              <a:cxn ang="0">
                <a:pos x="connsiteX73210" y="connsiteY73210"/>
              </a:cxn>
              <a:cxn ang="0">
                <a:pos x="connsiteX73211" y="connsiteY73211"/>
              </a:cxn>
              <a:cxn ang="0">
                <a:pos x="connsiteX73212" y="connsiteY73212"/>
              </a:cxn>
              <a:cxn ang="0">
                <a:pos x="connsiteX73213" y="connsiteY73213"/>
              </a:cxn>
              <a:cxn ang="0">
                <a:pos x="connsiteX73214" y="connsiteY73214"/>
              </a:cxn>
              <a:cxn ang="0">
                <a:pos x="connsiteX73215" y="connsiteY73215"/>
              </a:cxn>
              <a:cxn ang="0">
                <a:pos x="connsiteX73216" y="connsiteY73216"/>
              </a:cxn>
              <a:cxn ang="0">
                <a:pos x="connsiteX73217" y="connsiteY73217"/>
              </a:cxn>
              <a:cxn ang="0">
                <a:pos x="connsiteX73218" y="connsiteY73218"/>
              </a:cxn>
              <a:cxn ang="0">
                <a:pos x="connsiteX73219" y="connsiteY73219"/>
              </a:cxn>
              <a:cxn ang="0">
                <a:pos x="connsiteX73220" y="connsiteY73220"/>
              </a:cxn>
              <a:cxn ang="0">
                <a:pos x="connsiteX73221" y="connsiteY73221"/>
              </a:cxn>
              <a:cxn ang="0">
                <a:pos x="connsiteX73222" y="connsiteY73222"/>
              </a:cxn>
              <a:cxn ang="0">
                <a:pos x="connsiteX73223" y="connsiteY73223"/>
              </a:cxn>
              <a:cxn ang="0">
                <a:pos x="connsiteX73224" y="connsiteY73224"/>
              </a:cxn>
              <a:cxn ang="0">
                <a:pos x="connsiteX73225" y="connsiteY73225"/>
              </a:cxn>
              <a:cxn ang="0">
                <a:pos x="connsiteX73226" y="connsiteY73226"/>
              </a:cxn>
              <a:cxn ang="0">
                <a:pos x="connsiteX73227" y="connsiteY73227"/>
              </a:cxn>
              <a:cxn ang="0">
                <a:pos x="connsiteX73228" y="connsiteY73228"/>
              </a:cxn>
              <a:cxn ang="0">
                <a:pos x="connsiteX73229" y="connsiteY73229"/>
              </a:cxn>
              <a:cxn ang="0">
                <a:pos x="connsiteX73230" y="connsiteY73230"/>
              </a:cxn>
              <a:cxn ang="0">
                <a:pos x="connsiteX73231" y="connsiteY73231"/>
              </a:cxn>
              <a:cxn ang="0">
                <a:pos x="connsiteX73232" y="connsiteY73232"/>
              </a:cxn>
              <a:cxn ang="0">
                <a:pos x="connsiteX73233" y="connsiteY73233"/>
              </a:cxn>
              <a:cxn ang="0">
                <a:pos x="connsiteX73234" y="connsiteY73234"/>
              </a:cxn>
              <a:cxn ang="0">
                <a:pos x="connsiteX73235" y="connsiteY73235"/>
              </a:cxn>
              <a:cxn ang="0">
                <a:pos x="connsiteX73236" y="connsiteY73236"/>
              </a:cxn>
              <a:cxn ang="0">
                <a:pos x="connsiteX73237" y="connsiteY73237"/>
              </a:cxn>
              <a:cxn ang="0">
                <a:pos x="connsiteX73238" y="connsiteY73238"/>
              </a:cxn>
              <a:cxn ang="0">
                <a:pos x="connsiteX73239" y="connsiteY73239"/>
              </a:cxn>
              <a:cxn ang="0">
                <a:pos x="connsiteX73240" y="connsiteY73240"/>
              </a:cxn>
              <a:cxn ang="0">
                <a:pos x="connsiteX73241" y="connsiteY73241"/>
              </a:cxn>
              <a:cxn ang="0">
                <a:pos x="connsiteX73242" y="connsiteY73242"/>
              </a:cxn>
              <a:cxn ang="0">
                <a:pos x="connsiteX73243" y="connsiteY73243"/>
              </a:cxn>
              <a:cxn ang="0">
                <a:pos x="connsiteX73244" y="connsiteY73244"/>
              </a:cxn>
              <a:cxn ang="0">
                <a:pos x="connsiteX73245" y="connsiteY73245"/>
              </a:cxn>
              <a:cxn ang="0">
                <a:pos x="connsiteX73246" y="connsiteY73246"/>
              </a:cxn>
              <a:cxn ang="0">
                <a:pos x="connsiteX73247" y="connsiteY73247"/>
              </a:cxn>
              <a:cxn ang="0">
                <a:pos x="connsiteX73248" y="connsiteY73248"/>
              </a:cxn>
              <a:cxn ang="0">
                <a:pos x="connsiteX73249" y="connsiteY73249"/>
              </a:cxn>
              <a:cxn ang="0">
                <a:pos x="connsiteX73250" y="connsiteY73250"/>
              </a:cxn>
              <a:cxn ang="0">
                <a:pos x="connsiteX73251" y="connsiteY73251"/>
              </a:cxn>
              <a:cxn ang="0">
                <a:pos x="connsiteX73252" y="connsiteY73252"/>
              </a:cxn>
              <a:cxn ang="0">
                <a:pos x="connsiteX73253" y="connsiteY73253"/>
              </a:cxn>
              <a:cxn ang="0">
                <a:pos x="connsiteX73254" y="connsiteY73254"/>
              </a:cxn>
              <a:cxn ang="0">
                <a:pos x="connsiteX73255" y="connsiteY73255"/>
              </a:cxn>
              <a:cxn ang="0">
                <a:pos x="connsiteX73256" y="connsiteY73256"/>
              </a:cxn>
              <a:cxn ang="0">
                <a:pos x="connsiteX73257" y="connsiteY73257"/>
              </a:cxn>
              <a:cxn ang="0">
                <a:pos x="connsiteX73258" y="connsiteY73258"/>
              </a:cxn>
              <a:cxn ang="0">
                <a:pos x="connsiteX73259" y="connsiteY73259"/>
              </a:cxn>
              <a:cxn ang="0">
                <a:pos x="connsiteX73260" y="connsiteY73260"/>
              </a:cxn>
              <a:cxn ang="0">
                <a:pos x="connsiteX73261" y="connsiteY73261"/>
              </a:cxn>
              <a:cxn ang="0">
                <a:pos x="connsiteX73262" y="connsiteY73262"/>
              </a:cxn>
              <a:cxn ang="0">
                <a:pos x="connsiteX73263" y="connsiteY73263"/>
              </a:cxn>
              <a:cxn ang="0">
                <a:pos x="connsiteX73264" y="connsiteY73264"/>
              </a:cxn>
              <a:cxn ang="0">
                <a:pos x="connsiteX73265" y="connsiteY73265"/>
              </a:cxn>
              <a:cxn ang="0">
                <a:pos x="connsiteX73266" y="connsiteY73266"/>
              </a:cxn>
              <a:cxn ang="0">
                <a:pos x="connsiteX73267" y="connsiteY73267"/>
              </a:cxn>
              <a:cxn ang="0">
                <a:pos x="connsiteX73268" y="connsiteY73268"/>
              </a:cxn>
              <a:cxn ang="0">
                <a:pos x="connsiteX73269" y="connsiteY73269"/>
              </a:cxn>
              <a:cxn ang="0">
                <a:pos x="connsiteX73270" y="connsiteY73270"/>
              </a:cxn>
              <a:cxn ang="0">
                <a:pos x="connsiteX73271" y="connsiteY73271"/>
              </a:cxn>
              <a:cxn ang="0">
                <a:pos x="connsiteX73272" y="connsiteY73272"/>
              </a:cxn>
              <a:cxn ang="0">
                <a:pos x="connsiteX73273" y="connsiteY73273"/>
              </a:cxn>
              <a:cxn ang="0">
                <a:pos x="connsiteX73274" y="connsiteY73274"/>
              </a:cxn>
              <a:cxn ang="0">
                <a:pos x="connsiteX73275" y="connsiteY73275"/>
              </a:cxn>
              <a:cxn ang="0">
                <a:pos x="connsiteX73276" y="connsiteY73276"/>
              </a:cxn>
              <a:cxn ang="0">
                <a:pos x="connsiteX73277" y="connsiteY73277"/>
              </a:cxn>
              <a:cxn ang="0">
                <a:pos x="connsiteX73278" y="connsiteY73278"/>
              </a:cxn>
              <a:cxn ang="0">
                <a:pos x="connsiteX73279" y="connsiteY73279"/>
              </a:cxn>
              <a:cxn ang="0">
                <a:pos x="connsiteX73280" y="connsiteY73280"/>
              </a:cxn>
              <a:cxn ang="0">
                <a:pos x="connsiteX73281" y="connsiteY73281"/>
              </a:cxn>
              <a:cxn ang="0">
                <a:pos x="connsiteX73282" y="connsiteY73282"/>
              </a:cxn>
              <a:cxn ang="0">
                <a:pos x="connsiteX73283" y="connsiteY73283"/>
              </a:cxn>
              <a:cxn ang="0">
                <a:pos x="connsiteX73284" y="connsiteY73284"/>
              </a:cxn>
              <a:cxn ang="0">
                <a:pos x="connsiteX73285" y="connsiteY73285"/>
              </a:cxn>
              <a:cxn ang="0">
                <a:pos x="connsiteX73286" y="connsiteY73286"/>
              </a:cxn>
              <a:cxn ang="0">
                <a:pos x="connsiteX73287" y="connsiteY73287"/>
              </a:cxn>
              <a:cxn ang="0">
                <a:pos x="connsiteX73288" y="connsiteY73288"/>
              </a:cxn>
              <a:cxn ang="0">
                <a:pos x="connsiteX73289" y="connsiteY73289"/>
              </a:cxn>
              <a:cxn ang="0">
                <a:pos x="connsiteX73290" y="connsiteY73290"/>
              </a:cxn>
              <a:cxn ang="0">
                <a:pos x="connsiteX73291" y="connsiteY73291"/>
              </a:cxn>
              <a:cxn ang="0">
                <a:pos x="connsiteX73292" y="connsiteY73292"/>
              </a:cxn>
              <a:cxn ang="0">
                <a:pos x="connsiteX73293" y="connsiteY73293"/>
              </a:cxn>
              <a:cxn ang="0">
                <a:pos x="connsiteX73294" y="connsiteY73294"/>
              </a:cxn>
              <a:cxn ang="0">
                <a:pos x="connsiteX73295" y="connsiteY73295"/>
              </a:cxn>
              <a:cxn ang="0">
                <a:pos x="connsiteX73296" y="connsiteY73296"/>
              </a:cxn>
              <a:cxn ang="0">
                <a:pos x="connsiteX73297" y="connsiteY73297"/>
              </a:cxn>
              <a:cxn ang="0">
                <a:pos x="connsiteX73298" y="connsiteY73298"/>
              </a:cxn>
              <a:cxn ang="0">
                <a:pos x="connsiteX73299" y="connsiteY73299"/>
              </a:cxn>
              <a:cxn ang="0">
                <a:pos x="connsiteX73300" y="connsiteY73300"/>
              </a:cxn>
              <a:cxn ang="0">
                <a:pos x="connsiteX73301" y="connsiteY73301"/>
              </a:cxn>
              <a:cxn ang="0">
                <a:pos x="connsiteX73302" y="connsiteY73302"/>
              </a:cxn>
              <a:cxn ang="0">
                <a:pos x="connsiteX73303" y="connsiteY73303"/>
              </a:cxn>
              <a:cxn ang="0">
                <a:pos x="connsiteX73304" y="connsiteY73304"/>
              </a:cxn>
              <a:cxn ang="0">
                <a:pos x="connsiteX73305" y="connsiteY73305"/>
              </a:cxn>
              <a:cxn ang="0">
                <a:pos x="connsiteX73306" y="connsiteY73306"/>
              </a:cxn>
              <a:cxn ang="0">
                <a:pos x="connsiteX73307" y="connsiteY73307"/>
              </a:cxn>
              <a:cxn ang="0">
                <a:pos x="connsiteX73308" y="connsiteY73308"/>
              </a:cxn>
              <a:cxn ang="0">
                <a:pos x="connsiteX73309" y="connsiteY73309"/>
              </a:cxn>
              <a:cxn ang="0">
                <a:pos x="connsiteX73310" y="connsiteY73310"/>
              </a:cxn>
              <a:cxn ang="0">
                <a:pos x="connsiteX73311" y="connsiteY73311"/>
              </a:cxn>
              <a:cxn ang="0">
                <a:pos x="connsiteX73312" y="connsiteY73312"/>
              </a:cxn>
              <a:cxn ang="0">
                <a:pos x="connsiteX73313" y="connsiteY73313"/>
              </a:cxn>
              <a:cxn ang="0">
                <a:pos x="connsiteX73314" y="connsiteY73314"/>
              </a:cxn>
              <a:cxn ang="0">
                <a:pos x="connsiteX73315" y="connsiteY73315"/>
              </a:cxn>
              <a:cxn ang="0">
                <a:pos x="connsiteX73316" y="connsiteY73316"/>
              </a:cxn>
              <a:cxn ang="0">
                <a:pos x="connsiteX73317" y="connsiteY73317"/>
              </a:cxn>
              <a:cxn ang="0">
                <a:pos x="connsiteX73318" y="connsiteY73318"/>
              </a:cxn>
              <a:cxn ang="0">
                <a:pos x="connsiteX73319" y="connsiteY73319"/>
              </a:cxn>
              <a:cxn ang="0">
                <a:pos x="connsiteX73320" y="connsiteY73320"/>
              </a:cxn>
              <a:cxn ang="0">
                <a:pos x="connsiteX73321" y="connsiteY73321"/>
              </a:cxn>
              <a:cxn ang="0">
                <a:pos x="connsiteX73322" y="connsiteY73322"/>
              </a:cxn>
              <a:cxn ang="0">
                <a:pos x="connsiteX73323" y="connsiteY73323"/>
              </a:cxn>
              <a:cxn ang="0">
                <a:pos x="connsiteX73324" y="connsiteY73324"/>
              </a:cxn>
              <a:cxn ang="0">
                <a:pos x="connsiteX73325" y="connsiteY73325"/>
              </a:cxn>
              <a:cxn ang="0">
                <a:pos x="connsiteX73326" y="connsiteY73326"/>
              </a:cxn>
              <a:cxn ang="0">
                <a:pos x="connsiteX73327" y="connsiteY73327"/>
              </a:cxn>
              <a:cxn ang="0">
                <a:pos x="connsiteX73328" y="connsiteY73328"/>
              </a:cxn>
              <a:cxn ang="0">
                <a:pos x="connsiteX73329" y="connsiteY73329"/>
              </a:cxn>
              <a:cxn ang="0">
                <a:pos x="connsiteX73330" y="connsiteY73330"/>
              </a:cxn>
              <a:cxn ang="0">
                <a:pos x="connsiteX73331" y="connsiteY73331"/>
              </a:cxn>
              <a:cxn ang="0">
                <a:pos x="connsiteX73332" y="connsiteY73332"/>
              </a:cxn>
              <a:cxn ang="0">
                <a:pos x="connsiteX73333" y="connsiteY73333"/>
              </a:cxn>
              <a:cxn ang="0">
                <a:pos x="connsiteX73334" y="connsiteY73334"/>
              </a:cxn>
              <a:cxn ang="0">
                <a:pos x="connsiteX73335" y="connsiteY73335"/>
              </a:cxn>
              <a:cxn ang="0">
                <a:pos x="connsiteX73336" y="connsiteY73336"/>
              </a:cxn>
              <a:cxn ang="0">
                <a:pos x="connsiteX73337" y="connsiteY73337"/>
              </a:cxn>
              <a:cxn ang="0">
                <a:pos x="connsiteX73338" y="connsiteY73338"/>
              </a:cxn>
              <a:cxn ang="0">
                <a:pos x="connsiteX73339" y="connsiteY73339"/>
              </a:cxn>
              <a:cxn ang="0">
                <a:pos x="connsiteX73340" y="connsiteY73340"/>
              </a:cxn>
              <a:cxn ang="0">
                <a:pos x="connsiteX73341" y="connsiteY73341"/>
              </a:cxn>
              <a:cxn ang="0">
                <a:pos x="connsiteX73342" y="connsiteY73342"/>
              </a:cxn>
              <a:cxn ang="0">
                <a:pos x="connsiteX73343" y="connsiteY73343"/>
              </a:cxn>
              <a:cxn ang="0">
                <a:pos x="connsiteX73344" y="connsiteY73344"/>
              </a:cxn>
              <a:cxn ang="0">
                <a:pos x="connsiteX73345" y="connsiteY73345"/>
              </a:cxn>
              <a:cxn ang="0">
                <a:pos x="connsiteX73346" y="connsiteY73346"/>
              </a:cxn>
              <a:cxn ang="0">
                <a:pos x="connsiteX73347" y="connsiteY73347"/>
              </a:cxn>
              <a:cxn ang="0">
                <a:pos x="connsiteX73348" y="connsiteY73348"/>
              </a:cxn>
              <a:cxn ang="0">
                <a:pos x="connsiteX73349" y="connsiteY73349"/>
              </a:cxn>
              <a:cxn ang="0">
                <a:pos x="connsiteX73350" y="connsiteY73350"/>
              </a:cxn>
              <a:cxn ang="0">
                <a:pos x="connsiteX73351" y="connsiteY73351"/>
              </a:cxn>
              <a:cxn ang="0">
                <a:pos x="connsiteX73352" y="connsiteY73352"/>
              </a:cxn>
              <a:cxn ang="0">
                <a:pos x="connsiteX73353" y="connsiteY73353"/>
              </a:cxn>
              <a:cxn ang="0">
                <a:pos x="connsiteX73354" y="connsiteY73354"/>
              </a:cxn>
              <a:cxn ang="0">
                <a:pos x="connsiteX73355" y="connsiteY73355"/>
              </a:cxn>
              <a:cxn ang="0">
                <a:pos x="connsiteX73356" y="connsiteY73356"/>
              </a:cxn>
              <a:cxn ang="0">
                <a:pos x="connsiteX73357" y="connsiteY73357"/>
              </a:cxn>
              <a:cxn ang="0">
                <a:pos x="connsiteX73358" y="connsiteY73358"/>
              </a:cxn>
              <a:cxn ang="0">
                <a:pos x="connsiteX73359" y="connsiteY73359"/>
              </a:cxn>
              <a:cxn ang="0">
                <a:pos x="connsiteX73360" y="connsiteY73360"/>
              </a:cxn>
              <a:cxn ang="0">
                <a:pos x="connsiteX73361" y="connsiteY73361"/>
              </a:cxn>
              <a:cxn ang="0">
                <a:pos x="connsiteX73362" y="connsiteY73362"/>
              </a:cxn>
              <a:cxn ang="0">
                <a:pos x="connsiteX73363" y="connsiteY73363"/>
              </a:cxn>
              <a:cxn ang="0">
                <a:pos x="connsiteX73364" y="connsiteY73364"/>
              </a:cxn>
              <a:cxn ang="0">
                <a:pos x="connsiteX73365" y="connsiteY73365"/>
              </a:cxn>
              <a:cxn ang="0">
                <a:pos x="connsiteX73366" y="connsiteY73366"/>
              </a:cxn>
              <a:cxn ang="0">
                <a:pos x="connsiteX73367" y="connsiteY73367"/>
              </a:cxn>
              <a:cxn ang="0">
                <a:pos x="connsiteX73368" y="connsiteY73368"/>
              </a:cxn>
              <a:cxn ang="0">
                <a:pos x="connsiteX73369" y="connsiteY73369"/>
              </a:cxn>
              <a:cxn ang="0">
                <a:pos x="connsiteX73370" y="connsiteY73370"/>
              </a:cxn>
              <a:cxn ang="0">
                <a:pos x="connsiteX73371" y="connsiteY73371"/>
              </a:cxn>
              <a:cxn ang="0">
                <a:pos x="connsiteX73372" y="connsiteY73372"/>
              </a:cxn>
              <a:cxn ang="0">
                <a:pos x="connsiteX73373" y="connsiteY73373"/>
              </a:cxn>
              <a:cxn ang="0">
                <a:pos x="connsiteX73374" y="connsiteY73374"/>
              </a:cxn>
              <a:cxn ang="0">
                <a:pos x="connsiteX73375" y="connsiteY73375"/>
              </a:cxn>
              <a:cxn ang="0">
                <a:pos x="connsiteX73376" y="connsiteY73376"/>
              </a:cxn>
              <a:cxn ang="0">
                <a:pos x="connsiteX73377" y="connsiteY73377"/>
              </a:cxn>
              <a:cxn ang="0">
                <a:pos x="connsiteX73378" y="connsiteY73378"/>
              </a:cxn>
              <a:cxn ang="0">
                <a:pos x="connsiteX73379" y="connsiteY73379"/>
              </a:cxn>
              <a:cxn ang="0">
                <a:pos x="connsiteX73380" y="connsiteY73380"/>
              </a:cxn>
              <a:cxn ang="0">
                <a:pos x="connsiteX73381" y="connsiteY73381"/>
              </a:cxn>
              <a:cxn ang="0">
                <a:pos x="connsiteX73382" y="connsiteY73382"/>
              </a:cxn>
              <a:cxn ang="0">
                <a:pos x="connsiteX73383" y="connsiteY73383"/>
              </a:cxn>
              <a:cxn ang="0">
                <a:pos x="connsiteX73384" y="connsiteY73384"/>
              </a:cxn>
              <a:cxn ang="0">
                <a:pos x="connsiteX73385" y="connsiteY73385"/>
              </a:cxn>
              <a:cxn ang="0">
                <a:pos x="connsiteX73386" y="connsiteY73386"/>
              </a:cxn>
              <a:cxn ang="0">
                <a:pos x="connsiteX73387" y="connsiteY73387"/>
              </a:cxn>
              <a:cxn ang="0">
                <a:pos x="connsiteX73388" y="connsiteY73388"/>
              </a:cxn>
              <a:cxn ang="0">
                <a:pos x="connsiteX73389" y="connsiteY73389"/>
              </a:cxn>
              <a:cxn ang="0">
                <a:pos x="connsiteX73390" y="connsiteY73390"/>
              </a:cxn>
              <a:cxn ang="0">
                <a:pos x="connsiteX73391" y="connsiteY73391"/>
              </a:cxn>
              <a:cxn ang="0">
                <a:pos x="connsiteX73392" y="connsiteY73392"/>
              </a:cxn>
              <a:cxn ang="0">
                <a:pos x="connsiteX73393" y="connsiteY73393"/>
              </a:cxn>
              <a:cxn ang="0">
                <a:pos x="connsiteX73394" y="connsiteY73394"/>
              </a:cxn>
              <a:cxn ang="0">
                <a:pos x="connsiteX73395" y="connsiteY73395"/>
              </a:cxn>
              <a:cxn ang="0">
                <a:pos x="connsiteX73396" y="connsiteY73396"/>
              </a:cxn>
              <a:cxn ang="0">
                <a:pos x="connsiteX73397" y="connsiteY73397"/>
              </a:cxn>
              <a:cxn ang="0">
                <a:pos x="connsiteX73398" y="connsiteY73398"/>
              </a:cxn>
              <a:cxn ang="0">
                <a:pos x="connsiteX73399" y="connsiteY73399"/>
              </a:cxn>
              <a:cxn ang="0">
                <a:pos x="connsiteX73400" y="connsiteY73400"/>
              </a:cxn>
              <a:cxn ang="0">
                <a:pos x="connsiteX73401" y="connsiteY73401"/>
              </a:cxn>
              <a:cxn ang="0">
                <a:pos x="connsiteX73402" y="connsiteY73402"/>
              </a:cxn>
              <a:cxn ang="0">
                <a:pos x="connsiteX73403" y="connsiteY73403"/>
              </a:cxn>
              <a:cxn ang="0">
                <a:pos x="connsiteX73404" y="connsiteY73404"/>
              </a:cxn>
              <a:cxn ang="0">
                <a:pos x="connsiteX73405" y="connsiteY73405"/>
              </a:cxn>
              <a:cxn ang="0">
                <a:pos x="connsiteX73406" y="connsiteY73406"/>
              </a:cxn>
              <a:cxn ang="0">
                <a:pos x="connsiteX73407" y="connsiteY73407"/>
              </a:cxn>
              <a:cxn ang="0">
                <a:pos x="connsiteX73408" y="connsiteY73408"/>
              </a:cxn>
              <a:cxn ang="0">
                <a:pos x="connsiteX73409" y="connsiteY73409"/>
              </a:cxn>
              <a:cxn ang="0">
                <a:pos x="connsiteX73410" y="connsiteY73410"/>
              </a:cxn>
              <a:cxn ang="0">
                <a:pos x="connsiteX73411" y="connsiteY73411"/>
              </a:cxn>
              <a:cxn ang="0">
                <a:pos x="connsiteX73412" y="connsiteY73412"/>
              </a:cxn>
              <a:cxn ang="0">
                <a:pos x="connsiteX73413" y="connsiteY73413"/>
              </a:cxn>
              <a:cxn ang="0">
                <a:pos x="connsiteX73414" y="connsiteY73414"/>
              </a:cxn>
              <a:cxn ang="0">
                <a:pos x="connsiteX73415" y="connsiteY73415"/>
              </a:cxn>
              <a:cxn ang="0">
                <a:pos x="connsiteX73416" y="connsiteY73416"/>
              </a:cxn>
              <a:cxn ang="0">
                <a:pos x="connsiteX73417" y="connsiteY73417"/>
              </a:cxn>
              <a:cxn ang="0">
                <a:pos x="connsiteX73418" y="connsiteY73418"/>
              </a:cxn>
              <a:cxn ang="0">
                <a:pos x="connsiteX73419" y="connsiteY73419"/>
              </a:cxn>
              <a:cxn ang="0">
                <a:pos x="connsiteX73420" y="connsiteY73420"/>
              </a:cxn>
              <a:cxn ang="0">
                <a:pos x="connsiteX73421" y="connsiteY73421"/>
              </a:cxn>
              <a:cxn ang="0">
                <a:pos x="connsiteX73422" y="connsiteY73422"/>
              </a:cxn>
              <a:cxn ang="0">
                <a:pos x="connsiteX73423" y="connsiteY73423"/>
              </a:cxn>
              <a:cxn ang="0">
                <a:pos x="connsiteX73424" y="connsiteY73424"/>
              </a:cxn>
              <a:cxn ang="0">
                <a:pos x="connsiteX73425" y="connsiteY73425"/>
              </a:cxn>
              <a:cxn ang="0">
                <a:pos x="connsiteX73426" y="connsiteY73426"/>
              </a:cxn>
              <a:cxn ang="0">
                <a:pos x="connsiteX73427" y="connsiteY73427"/>
              </a:cxn>
              <a:cxn ang="0">
                <a:pos x="connsiteX73428" y="connsiteY73428"/>
              </a:cxn>
              <a:cxn ang="0">
                <a:pos x="connsiteX73429" y="connsiteY73429"/>
              </a:cxn>
              <a:cxn ang="0">
                <a:pos x="connsiteX73430" y="connsiteY73430"/>
              </a:cxn>
              <a:cxn ang="0">
                <a:pos x="connsiteX73431" y="connsiteY73431"/>
              </a:cxn>
              <a:cxn ang="0">
                <a:pos x="connsiteX73432" y="connsiteY73432"/>
              </a:cxn>
              <a:cxn ang="0">
                <a:pos x="connsiteX73433" y="connsiteY73433"/>
              </a:cxn>
              <a:cxn ang="0">
                <a:pos x="connsiteX73434" y="connsiteY73434"/>
              </a:cxn>
              <a:cxn ang="0">
                <a:pos x="connsiteX73435" y="connsiteY73435"/>
              </a:cxn>
              <a:cxn ang="0">
                <a:pos x="connsiteX73436" y="connsiteY73436"/>
              </a:cxn>
              <a:cxn ang="0">
                <a:pos x="connsiteX73437" y="connsiteY73437"/>
              </a:cxn>
              <a:cxn ang="0">
                <a:pos x="connsiteX73438" y="connsiteY73438"/>
              </a:cxn>
              <a:cxn ang="0">
                <a:pos x="connsiteX73439" y="connsiteY73439"/>
              </a:cxn>
              <a:cxn ang="0">
                <a:pos x="connsiteX73440" y="connsiteY73440"/>
              </a:cxn>
              <a:cxn ang="0">
                <a:pos x="connsiteX73441" y="connsiteY73441"/>
              </a:cxn>
              <a:cxn ang="0">
                <a:pos x="connsiteX73442" y="connsiteY73442"/>
              </a:cxn>
              <a:cxn ang="0">
                <a:pos x="connsiteX73443" y="connsiteY73443"/>
              </a:cxn>
              <a:cxn ang="0">
                <a:pos x="connsiteX73444" y="connsiteY73444"/>
              </a:cxn>
              <a:cxn ang="0">
                <a:pos x="connsiteX73445" y="connsiteY73445"/>
              </a:cxn>
              <a:cxn ang="0">
                <a:pos x="connsiteX73446" y="connsiteY73446"/>
              </a:cxn>
              <a:cxn ang="0">
                <a:pos x="connsiteX73447" y="connsiteY73447"/>
              </a:cxn>
              <a:cxn ang="0">
                <a:pos x="connsiteX73448" y="connsiteY73448"/>
              </a:cxn>
              <a:cxn ang="0">
                <a:pos x="connsiteX73449" y="connsiteY73449"/>
              </a:cxn>
              <a:cxn ang="0">
                <a:pos x="connsiteX73450" y="connsiteY73450"/>
              </a:cxn>
              <a:cxn ang="0">
                <a:pos x="connsiteX73451" y="connsiteY73451"/>
              </a:cxn>
              <a:cxn ang="0">
                <a:pos x="connsiteX73452" y="connsiteY73452"/>
              </a:cxn>
              <a:cxn ang="0">
                <a:pos x="connsiteX73453" y="connsiteY73453"/>
              </a:cxn>
              <a:cxn ang="0">
                <a:pos x="connsiteX73454" y="connsiteY73454"/>
              </a:cxn>
              <a:cxn ang="0">
                <a:pos x="connsiteX73455" y="connsiteY73455"/>
              </a:cxn>
              <a:cxn ang="0">
                <a:pos x="connsiteX73456" y="connsiteY73456"/>
              </a:cxn>
              <a:cxn ang="0">
                <a:pos x="connsiteX73457" y="connsiteY73457"/>
              </a:cxn>
              <a:cxn ang="0">
                <a:pos x="connsiteX73458" y="connsiteY73458"/>
              </a:cxn>
              <a:cxn ang="0">
                <a:pos x="connsiteX73459" y="connsiteY73459"/>
              </a:cxn>
              <a:cxn ang="0">
                <a:pos x="connsiteX73460" y="connsiteY73460"/>
              </a:cxn>
              <a:cxn ang="0">
                <a:pos x="connsiteX73461" y="connsiteY73461"/>
              </a:cxn>
              <a:cxn ang="0">
                <a:pos x="connsiteX73462" y="connsiteY73462"/>
              </a:cxn>
              <a:cxn ang="0">
                <a:pos x="connsiteX73463" y="connsiteY73463"/>
              </a:cxn>
              <a:cxn ang="0">
                <a:pos x="connsiteX73464" y="connsiteY73464"/>
              </a:cxn>
              <a:cxn ang="0">
                <a:pos x="connsiteX73465" y="connsiteY73465"/>
              </a:cxn>
              <a:cxn ang="0">
                <a:pos x="connsiteX73466" y="connsiteY73466"/>
              </a:cxn>
              <a:cxn ang="0">
                <a:pos x="connsiteX73467" y="connsiteY73467"/>
              </a:cxn>
              <a:cxn ang="0">
                <a:pos x="connsiteX73468" y="connsiteY73468"/>
              </a:cxn>
              <a:cxn ang="0">
                <a:pos x="connsiteX73469" y="connsiteY73469"/>
              </a:cxn>
              <a:cxn ang="0">
                <a:pos x="connsiteX73470" y="connsiteY73470"/>
              </a:cxn>
              <a:cxn ang="0">
                <a:pos x="connsiteX73471" y="connsiteY73471"/>
              </a:cxn>
              <a:cxn ang="0">
                <a:pos x="connsiteX73472" y="connsiteY73472"/>
              </a:cxn>
              <a:cxn ang="0">
                <a:pos x="connsiteX73473" y="connsiteY73473"/>
              </a:cxn>
              <a:cxn ang="0">
                <a:pos x="connsiteX73474" y="connsiteY73474"/>
              </a:cxn>
              <a:cxn ang="0">
                <a:pos x="connsiteX73475" y="connsiteY73475"/>
              </a:cxn>
              <a:cxn ang="0">
                <a:pos x="connsiteX73476" y="connsiteY73476"/>
              </a:cxn>
              <a:cxn ang="0">
                <a:pos x="connsiteX73477" y="connsiteY73477"/>
              </a:cxn>
              <a:cxn ang="0">
                <a:pos x="connsiteX73478" y="connsiteY73478"/>
              </a:cxn>
              <a:cxn ang="0">
                <a:pos x="connsiteX73479" y="connsiteY73479"/>
              </a:cxn>
              <a:cxn ang="0">
                <a:pos x="connsiteX73480" y="connsiteY73480"/>
              </a:cxn>
              <a:cxn ang="0">
                <a:pos x="connsiteX73481" y="connsiteY73481"/>
              </a:cxn>
              <a:cxn ang="0">
                <a:pos x="connsiteX73482" y="connsiteY73482"/>
              </a:cxn>
              <a:cxn ang="0">
                <a:pos x="connsiteX73483" y="connsiteY73483"/>
              </a:cxn>
              <a:cxn ang="0">
                <a:pos x="connsiteX73484" y="connsiteY73484"/>
              </a:cxn>
              <a:cxn ang="0">
                <a:pos x="connsiteX73485" y="connsiteY73485"/>
              </a:cxn>
              <a:cxn ang="0">
                <a:pos x="connsiteX73486" y="connsiteY73486"/>
              </a:cxn>
              <a:cxn ang="0">
                <a:pos x="connsiteX73487" y="connsiteY73487"/>
              </a:cxn>
              <a:cxn ang="0">
                <a:pos x="connsiteX73488" y="connsiteY73488"/>
              </a:cxn>
              <a:cxn ang="0">
                <a:pos x="connsiteX73489" y="connsiteY73489"/>
              </a:cxn>
              <a:cxn ang="0">
                <a:pos x="connsiteX73490" y="connsiteY73490"/>
              </a:cxn>
              <a:cxn ang="0">
                <a:pos x="connsiteX73491" y="connsiteY73491"/>
              </a:cxn>
              <a:cxn ang="0">
                <a:pos x="connsiteX73492" y="connsiteY73492"/>
              </a:cxn>
              <a:cxn ang="0">
                <a:pos x="connsiteX73493" y="connsiteY73493"/>
              </a:cxn>
              <a:cxn ang="0">
                <a:pos x="connsiteX73494" y="connsiteY73494"/>
              </a:cxn>
              <a:cxn ang="0">
                <a:pos x="connsiteX73495" y="connsiteY73495"/>
              </a:cxn>
              <a:cxn ang="0">
                <a:pos x="connsiteX73496" y="connsiteY73496"/>
              </a:cxn>
              <a:cxn ang="0">
                <a:pos x="connsiteX73497" y="connsiteY73497"/>
              </a:cxn>
              <a:cxn ang="0">
                <a:pos x="connsiteX73498" y="connsiteY73498"/>
              </a:cxn>
              <a:cxn ang="0">
                <a:pos x="connsiteX73499" y="connsiteY73499"/>
              </a:cxn>
              <a:cxn ang="0">
                <a:pos x="connsiteX73500" y="connsiteY73500"/>
              </a:cxn>
              <a:cxn ang="0">
                <a:pos x="connsiteX73501" y="connsiteY73501"/>
              </a:cxn>
              <a:cxn ang="0">
                <a:pos x="connsiteX73502" y="connsiteY73502"/>
              </a:cxn>
              <a:cxn ang="0">
                <a:pos x="connsiteX73503" y="connsiteY73503"/>
              </a:cxn>
              <a:cxn ang="0">
                <a:pos x="connsiteX73504" y="connsiteY73504"/>
              </a:cxn>
              <a:cxn ang="0">
                <a:pos x="connsiteX73505" y="connsiteY73505"/>
              </a:cxn>
              <a:cxn ang="0">
                <a:pos x="connsiteX73506" y="connsiteY73506"/>
              </a:cxn>
              <a:cxn ang="0">
                <a:pos x="connsiteX73507" y="connsiteY73507"/>
              </a:cxn>
              <a:cxn ang="0">
                <a:pos x="connsiteX73508" y="connsiteY73508"/>
              </a:cxn>
              <a:cxn ang="0">
                <a:pos x="connsiteX73509" y="connsiteY73509"/>
              </a:cxn>
              <a:cxn ang="0">
                <a:pos x="connsiteX73510" y="connsiteY73510"/>
              </a:cxn>
              <a:cxn ang="0">
                <a:pos x="connsiteX73511" y="connsiteY73511"/>
              </a:cxn>
              <a:cxn ang="0">
                <a:pos x="connsiteX73512" y="connsiteY73512"/>
              </a:cxn>
              <a:cxn ang="0">
                <a:pos x="connsiteX73513" y="connsiteY73513"/>
              </a:cxn>
              <a:cxn ang="0">
                <a:pos x="connsiteX73514" y="connsiteY73514"/>
              </a:cxn>
              <a:cxn ang="0">
                <a:pos x="connsiteX73515" y="connsiteY73515"/>
              </a:cxn>
              <a:cxn ang="0">
                <a:pos x="connsiteX73516" y="connsiteY73516"/>
              </a:cxn>
              <a:cxn ang="0">
                <a:pos x="connsiteX73517" y="connsiteY73517"/>
              </a:cxn>
              <a:cxn ang="0">
                <a:pos x="connsiteX73518" y="connsiteY73518"/>
              </a:cxn>
              <a:cxn ang="0">
                <a:pos x="connsiteX73519" y="connsiteY73519"/>
              </a:cxn>
              <a:cxn ang="0">
                <a:pos x="connsiteX73520" y="connsiteY73520"/>
              </a:cxn>
              <a:cxn ang="0">
                <a:pos x="connsiteX73521" y="connsiteY73521"/>
              </a:cxn>
              <a:cxn ang="0">
                <a:pos x="connsiteX73522" y="connsiteY73522"/>
              </a:cxn>
              <a:cxn ang="0">
                <a:pos x="connsiteX73523" y="connsiteY73523"/>
              </a:cxn>
              <a:cxn ang="0">
                <a:pos x="connsiteX73524" y="connsiteY73524"/>
              </a:cxn>
              <a:cxn ang="0">
                <a:pos x="connsiteX73525" y="connsiteY73525"/>
              </a:cxn>
              <a:cxn ang="0">
                <a:pos x="connsiteX73526" y="connsiteY73526"/>
              </a:cxn>
              <a:cxn ang="0">
                <a:pos x="connsiteX73527" y="connsiteY73527"/>
              </a:cxn>
              <a:cxn ang="0">
                <a:pos x="connsiteX73528" y="connsiteY73528"/>
              </a:cxn>
              <a:cxn ang="0">
                <a:pos x="connsiteX73529" y="connsiteY73529"/>
              </a:cxn>
              <a:cxn ang="0">
                <a:pos x="connsiteX73530" y="connsiteY73530"/>
              </a:cxn>
              <a:cxn ang="0">
                <a:pos x="connsiteX73531" y="connsiteY73531"/>
              </a:cxn>
              <a:cxn ang="0">
                <a:pos x="connsiteX73532" y="connsiteY73532"/>
              </a:cxn>
              <a:cxn ang="0">
                <a:pos x="connsiteX73533" y="connsiteY73533"/>
              </a:cxn>
              <a:cxn ang="0">
                <a:pos x="connsiteX73534" y="connsiteY73534"/>
              </a:cxn>
              <a:cxn ang="0">
                <a:pos x="connsiteX73535" y="connsiteY73535"/>
              </a:cxn>
              <a:cxn ang="0">
                <a:pos x="connsiteX73536" y="connsiteY73536"/>
              </a:cxn>
              <a:cxn ang="0">
                <a:pos x="connsiteX73537" y="connsiteY73537"/>
              </a:cxn>
              <a:cxn ang="0">
                <a:pos x="connsiteX73538" y="connsiteY73538"/>
              </a:cxn>
              <a:cxn ang="0">
                <a:pos x="connsiteX73539" y="connsiteY73539"/>
              </a:cxn>
              <a:cxn ang="0">
                <a:pos x="connsiteX73540" y="connsiteY73540"/>
              </a:cxn>
              <a:cxn ang="0">
                <a:pos x="connsiteX73541" y="connsiteY73541"/>
              </a:cxn>
              <a:cxn ang="0">
                <a:pos x="connsiteX73542" y="connsiteY73542"/>
              </a:cxn>
              <a:cxn ang="0">
                <a:pos x="connsiteX73543" y="connsiteY73543"/>
              </a:cxn>
              <a:cxn ang="0">
                <a:pos x="connsiteX73544" y="connsiteY73544"/>
              </a:cxn>
              <a:cxn ang="0">
                <a:pos x="connsiteX73545" y="connsiteY73545"/>
              </a:cxn>
              <a:cxn ang="0">
                <a:pos x="connsiteX73546" y="connsiteY73546"/>
              </a:cxn>
              <a:cxn ang="0">
                <a:pos x="connsiteX73547" y="connsiteY73547"/>
              </a:cxn>
              <a:cxn ang="0">
                <a:pos x="connsiteX73548" y="connsiteY73548"/>
              </a:cxn>
              <a:cxn ang="0">
                <a:pos x="connsiteX73549" y="connsiteY73549"/>
              </a:cxn>
              <a:cxn ang="0">
                <a:pos x="connsiteX73550" y="connsiteY73550"/>
              </a:cxn>
              <a:cxn ang="0">
                <a:pos x="connsiteX73551" y="connsiteY73551"/>
              </a:cxn>
              <a:cxn ang="0">
                <a:pos x="connsiteX73552" y="connsiteY73552"/>
              </a:cxn>
              <a:cxn ang="0">
                <a:pos x="connsiteX73553" y="connsiteY73553"/>
              </a:cxn>
              <a:cxn ang="0">
                <a:pos x="connsiteX73554" y="connsiteY73554"/>
              </a:cxn>
              <a:cxn ang="0">
                <a:pos x="connsiteX73555" y="connsiteY73555"/>
              </a:cxn>
              <a:cxn ang="0">
                <a:pos x="connsiteX73556" y="connsiteY73556"/>
              </a:cxn>
              <a:cxn ang="0">
                <a:pos x="connsiteX73557" y="connsiteY73557"/>
              </a:cxn>
              <a:cxn ang="0">
                <a:pos x="connsiteX73558" y="connsiteY73558"/>
              </a:cxn>
              <a:cxn ang="0">
                <a:pos x="connsiteX73559" y="connsiteY73559"/>
              </a:cxn>
              <a:cxn ang="0">
                <a:pos x="connsiteX73560" y="connsiteY73560"/>
              </a:cxn>
              <a:cxn ang="0">
                <a:pos x="connsiteX73561" y="connsiteY73561"/>
              </a:cxn>
              <a:cxn ang="0">
                <a:pos x="connsiteX73562" y="connsiteY73562"/>
              </a:cxn>
              <a:cxn ang="0">
                <a:pos x="connsiteX73563" y="connsiteY73563"/>
              </a:cxn>
              <a:cxn ang="0">
                <a:pos x="connsiteX73564" y="connsiteY73564"/>
              </a:cxn>
              <a:cxn ang="0">
                <a:pos x="connsiteX73565" y="connsiteY73565"/>
              </a:cxn>
              <a:cxn ang="0">
                <a:pos x="connsiteX73566" y="connsiteY73566"/>
              </a:cxn>
              <a:cxn ang="0">
                <a:pos x="connsiteX73567" y="connsiteY73567"/>
              </a:cxn>
              <a:cxn ang="0">
                <a:pos x="connsiteX73568" y="connsiteY73568"/>
              </a:cxn>
              <a:cxn ang="0">
                <a:pos x="connsiteX73569" y="connsiteY73569"/>
              </a:cxn>
              <a:cxn ang="0">
                <a:pos x="connsiteX73570" y="connsiteY73570"/>
              </a:cxn>
              <a:cxn ang="0">
                <a:pos x="connsiteX73571" y="connsiteY73571"/>
              </a:cxn>
              <a:cxn ang="0">
                <a:pos x="connsiteX73572" y="connsiteY73572"/>
              </a:cxn>
              <a:cxn ang="0">
                <a:pos x="connsiteX73573" y="connsiteY73573"/>
              </a:cxn>
              <a:cxn ang="0">
                <a:pos x="connsiteX73574" y="connsiteY73574"/>
              </a:cxn>
              <a:cxn ang="0">
                <a:pos x="connsiteX73575" y="connsiteY73575"/>
              </a:cxn>
              <a:cxn ang="0">
                <a:pos x="connsiteX73576" y="connsiteY73576"/>
              </a:cxn>
              <a:cxn ang="0">
                <a:pos x="connsiteX73577" y="connsiteY73577"/>
              </a:cxn>
              <a:cxn ang="0">
                <a:pos x="connsiteX73578" y="connsiteY73578"/>
              </a:cxn>
              <a:cxn ang="0">
                <a:pos x="connsiteX73579" y="connsiteY73579"/>
              </a:cxn>
              <a:cxn ang="0">
                <a:pos x="connsiteX73580" y="connsiteY73580"/>
              </a:cxn>
              <a:cxn ang="0">
                <a:pos x="connsiteX73581" y="connsiteY73581"/>
              </a:cxn>
              <a:cxn ang="0">
                <a:pos x="connsiteX73582" y="connsiteY73582"/>
              </a:cxn>
              <a:cxn ang="0">
                <a:pos x="connsiteX73583" y="connsiteY73583"/>
              </a:cxn>
              <a:cxn ang="0">
                <a:pos x="connsiteX73584" y="connsiteY73584"/>
              </a:cxn>
              <a:cxn ang="0">
                <a:pos x="connsiteX73585" y="connsiteY73585"/>
              </a:cxn>
              <a:cxn ang="0">
                <a:pos x="connsiteX73586" y="connsiteY73586"/>
              </a:cxn>
              <a:cxn ang="0">
                <a:pos x="connsiteX73587" y="connsiteY73587"/>
              </a:cxn>
              <a:cxn ang="0">
                <a:pos x="connsiteX73588" y="connsiteY73588"/>
              </a:cxn>
              <a:cxn ang="0">
                <a:pos x="connsiteX73589" y="connsiteY73589"/>
              </a:cxn>
              <a:cxn ang="0">
                <a:pos x="connsiteX73590" y="connsiteY73590"/>
              </a:cxn>
              <a:cxn ang="0">
                <a:pos x="connsiteX73591" y="connsiteY73591"/>
              </a:cxn>
              <a:cxn ang="0">
                <a:pos x="connsiteX73592" y="connsiteY73592"/>
              </a:cxn>
              <a:cxn ang="0">
                <a:pos x="connsiteX73593" y="connsiteY73593"/>
              </a:cxn>
              <a:cxn ang="0">
                <a:pos x="connsiteX73594" y="connsiteY73594"/>
              </a:cxn>
              <a:cxn ang="0">
                <a:pos x="connsiteX73595" y="connsiteY73595"/>
              </a:cxn>
              <a:cxn ang="0">
                <a:pos x="connsiteX73596" y="connsiteY73596"/>
              </a:cxn>
              <a:cxn ang="0">
                <a:pos x="connsiteX73597" y="connsiteY73597"/>
              </a:cxn>
              <a:cxn ang="0">
                <a:pos x="connsiteX73598" y="connsiteY73598"/>
              </a:cxn>
              <a:cxn ang="0">
                <a:pos x="connsiteX73599" y="connsiteY73599"/>
              </a:cxn>
              <a:cxn ang="0">
                <a:pos x="connsiteX73600" y="connsiteY73600"/>
              </a:cxn>
              <a:cxn ang="0">
                <a:pos x="connsiteX73601" y="connsiteY73601"/>
              </a:cxn>
              <a:cxn ang="0">
                <a:pos x="connsiteX73602" y="connsiteY73602"/>
              </a:cxn>
              <a:cxn ang="0">
                <a:pos x="connsiteX73603" y="connsiteY73603"/>
              </a:cxn>
              <a:cxn ang="0">
                <a:pos x="connsiteX73604" y="connsiteY73604"/>
              </a:cxn>
              <a:cxn ang="0">
                <a:pos x="connsiteX73605" y="connsiteY73605"/>
              </a:cxn>
              <a:cxn ang="0">
                <a:pos x="connsiteX73606" y="connsiteY73606"/>
              </a:cxn>
              <a:cxn ang="0">
                <a:pos x="connsiteX73607" y="connsiteY73607"/>
              </a:cxn>
              <a:cxn ang="0">
                <a:pos x="connsiteX73608" y="connsiteY73608"/>
              </a:cxn>
              <a:cxn ang="0">
                <a:pos x="connsiteX73609" y="connsiteY73609"/>
              </a:cxn>
              <a:cxn ang="0">
                <a:pos x="connsiteX73610" y="connsiteY73610"/>
              </a:cxn>
              <a:cxn ang="0">
                <a:pos x="connsiteX73611" y="connsiteY73611"/>
              </a:cxn>
              <a:cxn ang="0">
                <a:pos x="connsiteX73612" y="connsiteY73612"/>
              </a:cxn>
              <a:cxn ang="0">
                <a:pos x="connsiteX73613" y="connsiteY73613"/>
              </a:cxn>
              <a:cxn ang="0">
                <a:pos x="connsiteX73614" y="connsiteY73614"/>
              </a:cxn>
              <a:cxn ang="0">
                <a:pos x="connsiteX73615" y="connsiteY73615"/>
              </a:cxn>
              <a:cxn ang="0">
                <a:pos x="connsiteX73616" y="connsiteY73616"/>
              </a:cxn>
              <a:cxn ang="0">
                <a:pos x="connsiteX73617" y="connsiteY73617"/>
              </a:cxn>
              <a:cxn ang="0">
                <a:pos x="connsiteX73618" y="connsiteY73618"/>
              </a:cxn>
              <a:cxn ang="0">
                <a:pos x="connsiteX73619" y="connsiteY73619"/>
              </a:cxn>
              <a:cxn ang="0">
                <a:pos x="connsiteX73620" y="connsiteY73620"/>
              </a:cxn>
              <a:cxn ang="0">
                <a:pos x="connsiteX73621" y="connsiteY73621"/>
              </a:cxn>
              <a:cxn ang="0">
                <a:pos x="connsiteX73622" y="connsiteY73622"/>
              </a:cxn>
              <a:cxn ang="0">
                <a:pos x="connsiteX73623" y="connsiteY73623"/>
              </a:cxn>
              <a:cxn ang="0">
                <a:pos x="connsiteX73624" y="connsiteY73624"/>
              </a:cxn>
              <a:cxn ang="0">
                <a:pos x="connsiteX73625" y="connsiteY73625"/>
              </a:cxn>
              <a:cxn ang="0">
                <a:pos x="connsiteX73626" y="connsiteY73626"/>
              </a:cxn>
              <a:cxn ang="0">
                <a:pos x="connsiteX73627" y="connsiteY73627"/>
              </a:cxn>
              <a:cxn ang="0">
                <a:pos x="connsiteX73628" y="connsiteY73628"/>
              </a:cxn>
              <a:cxn ang="0">
                <a:pos x="connsiteX73629" y="connsiteY73629"/>
              </a:cxn>
              <a:cxn ang="0">
                <a:pos x="connsiteX73630" y="connsiteY73630"/>
              </a:cxn>
              <a:cxn ang="0">
                <a:pos x="connsiteX73631" y="connsiteY73631"/>
              </a:cxn>
              <a:cxn ang="0">
                <a:pos x="connsiteX73632" y="connsiteY73632"/>
              </a:cxn>
              <a:cxn ang="0">
                <a:pos x="connsiteX73633" y="connsiteY73633"/>
              </a:cxn>
              <a:cxn ang="0">
                <a:pos x="connsiteX73634" y="connsiteY73634"/>
              </a:cxn>
              <a:cxn ang="0">
                <a:pos x="connsiteX73635" y="connsiteY73635"/>
              </a:cxn>
              <a:cxn ang="0">
                <a:pos x="connsiteX73636" y="connsiteY73636"/>
              </a:cxn>
              <a:cxn ang="0">
                <a:pos x="connsiteX73637" y="connsiteY73637"/>
              </a:cxn>
              <a:cxn ang="0">
                <a:pos x="connsiteX73638" y="connsiteY73638"/>
              </a:cxn>
              <a:cxn ang="0">
                <a:pos x="connsiteX73639" y="connsiteY73639"/>
              </a:cxn>
              <a:cxn ang="0">
                <a:pos x="connsiteX73640" y="connsiteY73640"/>
              </a:cxn>
              <a:cxn ang="0">
                <a:pos x="connsiteX73641" y="connsiteY73641"/>
              </a:cxn>
              <a:cxn ang="0">
                <a:pos x="connsiteX73642" y="connsiteY73642"/>
              </a:cxn>
              <a:cxn ang="0">
                <a:pos x="connsiteX73643" y="connsiteY73643"/>
              </a:cxn>
              <a:cxn ang="0">
                <a:pos x="connsiteX73644" y="connsiteY73644"/>
              </a:cxn>
              <a:cxn ang="0">
                <a:pos x="connsiteX73645" y="connsiteY73645"/>
              </a:cxn>
              <a:cxn ang="0">
                <a:pos x="connsiteX73646" y="connsiteY73646"/>
              </a:cxn>
              <a:cxn ang="0">
                <a:pos x="connsiteX73647" y="connsiteY73647"/>
              </a:cxn>
              <a:cxn ang="0">
                <a:pos x="connsiteX73648" y="connsiteY73648"/>
              </a:cxn>
              <a:cxn ang="0">
                <a:pos x="connsiteX73649" y="connsiteY73649"/>
              </a:cxn>
              <a:cxn ang="0">
                <a:pos x="connsiteX73650" y="connsiteY73650"/>
              </a:cxn>
              <a:cxn ang="0">
                <a:pos x="connsiteX73651" y="connsiteY73651"/>
              </a:cxn>
              <a:cxn ang="0">
                <a:pos x="connsiteX73652" y="connsiteY73652"/>
              </a:cxn>
              <a:cxn ang="0">
                <a:pos x="connsiteX73653" y="connsiteY73653"/>
              </a:cxn>
              <a:cxn ang="0">
                <a:pos x="connsiteX73654" y="connsiteY73654"/>
              </a:cxn>
              <a:cxn ang="0">
                <a:pos x="connsiteX73655" y="connsiteY73655"/>
              </a:cxn>
              <a:cxn ang="0">
                <a:pos x="connsiteX73656" y="connsiteY73656"/>
              </a:cxn>
              <a:cxn ang="0">
                <a:pos x="connsiteX73657" y="connsiteY73657"/>
              </a:cxn>
              <a:cxn ang="0">
                <a:pos x="connsiteX73658" y="connsiteY73658"/>
              </a:cxn>
              <a:cxn ang="0">
                <a:pos x="connsiteX73659" y="connsiteY73659"/>
              </a:cxn>
              <a:cxn ang="0">
                <a:pos x="connsiteX73660" y="connsiteY73660"/>
              </a:cxn>
              <a:cxn ang="0">
                <a:pos x="connsiteX73661" y="connsiteY73661"/>
              </a:cxn>
              <a:cxn ang="0">
                <a:pos x="connsiteX73662" y="connsiteY73662"/>
              </a:cxn>
              <a:cxn ang="0">
                <a:pos x="connsiteX73663" y="connsiteY73663"/>
              </a:cxn>
              <a:cxn ang="0">
                <a:pos x="connsiteX73664" y="connsiteY73664"/>
              </a:cxn>
              <a:cxn ang="0">
                <a:pos x="connsiteX73665" y="connsiteY73665"/>
              </a:cxn>
              <a:cxn ang="0">
                <a:pos x="connsiteX73666" y="connsiteY73666"/>
              </a:cxn>
              <a:cxn ang="0">
                <a:pos x="connsiteX73667" y="connsiteY73667"/>
              </a:cxn>
              <a:cxn ang="0">
                <a:pos x="connsiteX73668" y="connsiteY73668"/>
              </a:cxn>
              <a:cxn ang="0">
                <a:pos x="connsiteX73669" y="connsiteY73669"/>
              </a:cxn>
              <a:cxn ang="0">
                <a:pos x="connsiteX73670" y="connsiteY73670"/>
              </a:cxn>
              <a:cxn ang="0">
                <a:pos x="connsiteX73671" y="connsiteY73671"/>
              </a:cxn>
              <a:cxn ang="0">
                <a:pos x="connsiteX73672" y="connsiteY73672"/>
              </a:cxn>
              <a:cxn ang="0">
                <a:pos x="connsiteX73673" y="connsiteY73673"/>
              </a:cxn>
              <a:cxn ang="0">
                <a:pos x="connsiteX73674" y="connsiteY73674"/>
              </a:cxn>
              <a:cxn ang="0">
                <a:pos x="connsiteX73675" y="connsiteY73675"/>
              </a:cxn>
              <a:cxn ang="0">
                <a:pos x="connsiteX73676" y="connsiteY73676"/>
              </a:cxn>
              <a:cxn ang="0">
                <a:pos x="connsiteX73677" y="connsiteY73677"/>
              </a:cxn>
              <a:cxn ang="0">
                <a:pos x="connsiteX73678" y="connsiteY73678"/>
              </a:cxn>
              <a:cxn ang="0">
                <a:pos x="connsiteX73679" y="connsiteY73679"/>
              </a:cxn>
              <a:cxn ang="0">
                <a:pos x="connsiteX73680" y="connsiteY73680"/>
              </a:cxn>
              <a:cxn ang="0">
                <a:pos x="connsiteX73681" y="connsiteY73681"/>
              </a:cxn>
              <a:cxn ang="0">
                <a:pos x="connsiteX73682" y="connsiteY73682"/>
              </a:cxn>
              <a:cxn ang="0">
                <a:pos x="connsiteX73683" y="connsiteY73683"/>
              </a:cxn>
              <a:cxn ang="0">
                <a:pos x="connsiteX73684" y="connsiteY73684"/>
              </a:cxn>
              <a:cxn ang="0">
                <a:pos x="connsiteX73685" y="connsiteY73685"/>
              </a:cxn>
              <a:cxn ang="0">
                <a:pos x="connsiteX73686" y="connsiteY73686"/>
              </a:cxn>
              <a:cxn ang="0">
                <a:pos x="connsiteX73687" y="connsiteY73687"/>
              </a:cxn>
              <a:cxn ang="0">
                <a:pos x="connsiteX73688" y="connsiteY73688"/>
              </a:cxn>
              <a:cxn ang="0">
                <a:pos x="connsiteX73689" y="connsiteY73689"/>
              </a:cxn>
              <a:cxn ang="0">
                <a:pos x="connsiteX73690" y="connsiteY73690"/>
              </a:cxn>
              <a:cxn ang="0">
                <a:pos x="connsiteX73691" y="connsiteY73691"/>
              </a:cxn>
              <a:cxn ang="0">
                <a:pos x="connsiteX73692" y="connsiteY73692"/>
              </a:cxn>
              <a:cxn ang="0">
                <a:pos x="connsiteX73693" y="connsiteY73693"/>
              </a:cxn>
              <a:cxn ang="0">
                <a:pos x="connsiteX73694" y="connsiteY73694"/>
              </a:cxn>
              <a:cxn ang="0">
                <a:pos x="connsiteX73695" y="connsiteY73695"/>
              </a:cxn>
              <a:cxn ang="0">
                <a:pos x="connsiteX73696" y="connsiteY73696"/>
              </a:cxn>
              <a:cxn ang="0">
                <a:pos x="connsiteX73697" y="connsiteY73697"/>
              </a:cxn>
              <a:cxn ang="0">
                <a:pos x="connsiteX73698" y="connsiteY73698"/>
              </a:cxn>
              <a:cxn ang="0">
                <a:pos x="connsiteX73699" y="connsiteY73699"/>
              </a:cxn>
              <a:cxn ang="0">
                <a:pos x="connsiteX73700" y="connsiteY73700"/>
              </a:cxn>
              <a:cxn ang="0">
                <a:pos x="connsiteX73701" y="connsiteY73701"/>
              </a:cxn>
              <a:cxn ang="0">
                <a:pos x="connsiteX73702" y="connsiteY73702"/>
              </a:cxn>
              <a:cxn ang="0">
                <a:pos x="connsiteX73703" y="connsiteY73703"/>
              </a:cxn>
              <a:cxn ang="0">
                <a:pos x="connsiteX73704" y="connsiteY73704"/>
              </a:cxn>
              <a:cxn ang="0">
                <a:pos x="connsiteX73705" y="connsiteY73705"/>
              </a:cxn>
              <a:cxn ang="0">
                <a:pos x="connsiteX73706" y="connsiteY73706"/>
              </a:cxn>
              <a:cxn ang="0">
                <a:pos x="connsiteX73707" y="connsiteY73707"/>
              </a:cxn>
              <a:cxn ang="0">
                <a:pos x="connsiteX73708" y="connsiteY73708"/>
              </a:cxn>
              <a:cxn ang="0">
                <a:pos x="connsiteX73709" y="connsiteY73709"/>
              </a:cxn>
              <a:cxn ang="0">
                <a:pos x="connsiteX73710" y="connsiteY73710"/>
              </a:cxn>
              <a:cxn ang="0">
                <a:pos x="connsiteX73711" y="connsiteY73711"/>
              </a:cxn>
              <a:cxn ang="0">
                <a:pos x="connsiteX73712" y="connsiteY73712"/>
              </a:cxn>
              <a:cxn ang="0">
                <a:pos x="connsiteX73713" y="connsiteY73713"/>
              </a:cxn>
              <a:cxn ang="0">
                <a:pos x="connsiteX73714" y="connsiteY73714"/>
              </a:cxn>
              <a:cxn ang="0">
                <a:pos x="connsiteX73715" y="connsiteY73715"/>
              </a:cxn>
              <a:cxn ang="0">
                <a:pos x="connsiteX73716" y="connsiteY73716"/>
              </a:cxn>
              <a:cxn ang="0">
                <a:pos x="connsiteX73717" y="connsiteY73717"/>
              </a:cxn>
              <a:cxn ang="0">
                <a:pos x="connsiteX73718" y="connsiteY73718"/>
              </a:cxn>
              <a:cxn ang="0">
                <a:pos x="connsiteX73719" y="connsiteY73719"/>
              </a:cxn>
              <a:cxn ang="0">
                <a:pos x="connsiteX73720" y="connsiteY73720"/>
              </a:cxn>
              <a:cxn ang="0">
                <a:pos x="connsiteX73721" y="connsiteY73721"/>
              </a:cxn>
              <a:cxn ang="0">
                <a:pos x="connsiteX73722" y="connsiteY73722"/>
              </a:cxn>
              <a:cxn ang="0">
                <a:pos x="connsiteX73723" y="connsiteY73723"/>
              </a:cxn>
              <a:cxn ang="0">
                <a:pos x="connsiteX73724" y="connsiteY73724"/>
              </a:cxn>
              <a:cxn ang="0">
                <a:pos x="connsiteX73725" y="connsiteY73725"/>
              </a:cxn>
              <a:cxn ang="0">
                <a:pos x="connsiteX73726" y="connsiteY73726"/>
              </a:cxn>
              <a:cxn ang="0">
                <a:pos x="connsiteX73727" y="connsiteY73727"/>
              </a:cxn>
              <a:cxn ang="0">
                <a:pos x="connsiteX73728" y="connsiteY73728"/>
              </a:cxn>
              <a:cxn ang="0">
                <a:pos x="connsiteX73729" y="connsiteY73729"/>
              </a:cxn>
              <a:cxn ang="0">
                <a:pos x="connsiteX73730" y="connsiteY73730"/>
              </a:cxn>
              <a:cxn ang="0">
                <a:pos x="connsiteX73731" y="connsiteY73731"/>
              </a:cxn>
              <a:cxn ang="0">
                <a:pos x="connsiteX73732" y="connsiteY73732"/>
              </a:cxn>
              <a:cxn ang="0">
                <a:pos x="connsiteX73733" y="connsiteY73733"/>
              </a:cxn>
              <a:cxn ang="0">
                <a:pos x="connsiteX73734" y="connsiteY73734"/>
              </a:cxn>
              <a:cxn ang="0">
                <a:pos x="connsiteX73735" y="connsiteY73735"/>
              </a:cxn>
              <a:cxn ang="0">
                <a:pos x="connsiteX73736" y="connsiteY73736"/>
              </a:cxn>
              <a:cxn ang="0">
                <a:pos x="connsiteX73737" y="connsiteY73737"/>
              </a:cxn>
              <a:cxn ang="0">
                <a:pos x="connsiteX73738" y="connsiteY73738"/>
              </a:cxn>
              <a:cxn ang="0">
                <a:pos x="connsiteX73739" y="connsiteY73739"/>
              </a:cxn>
              <a:cxn ang="0">
                <a:pos x="connsiteX73740" y="connsiteY73740"/>
              </a:cxn>
              <a:cxn ang="0">
                <a:pos x="connsiteX73741" y="connsiteY73741"/>
              </a:cxn>
              <a:cxn ang="0">
                <a:pos x="connsiteX73742" y="connsiteY73742"/>
              </a:cxn>
              <a:cxn ang="0">
                <a:pos x="connsiteX73743" y="connsiteY73743"/>
              </a:cxn>
              <a:cxn ang="0">
                <a:pos x="connsiteX73744" y="connsiteY73744"/>
              </a:cxn>
              <a:cxn ang="0">
                <a:pos x="connsiteX73745" y="connsiteY73745"/>
              </a:cxn>
              <a:cxn ang="0">
                <a:pos x="connsiteX73746" y="connsiteY73746"/>
              </a:cxn>
              <a:cxn ang="0">
                <a:pos x="connsiteX73747" y="connsiteY73747"/>
              </a:cxn>
              <a:cxn ang="0">
                <a:pos x="connsiteX73748" y="connsiteY73748"/>
              </a:cxn>
              <a:cxn ang="0">
                <a:pos x="connsiteX73749" y="connsiteY73749"/>
              </a:cxn>
              <a:cxn ang="0">
                <a:pos x="connsiteX73750" y="connsiteY73750"/>
              </a:cxn>
              <a:cxn ang="0">
                <a:pos x="connsiteX73751" y="connsiteY73751"/>
              </a:cxn>
              <a:cxn ang="0">
                <a:pos x="connsiteX73752" y="connsiteY73752"/>
              </a:cxn>
              <a:cxn ang="0">
                <a:pos x="connsiteX73753" y="connsiteY73753"/>
              </a:cxn>
              <a:cxn ang="0">
                <a:pos x="connsiteX73754" y="connsiteY73754"/>
              </a:cxn>
              <a:cxn ang="0">
                <a:pos x="connsiteX73755" y="connsiteY73755"/>
              </a:cxn>
              <a:cxn ang="0">
                <a:pos x="connsiteX73756" y="connsiteY73756"/>
              </a:cxn>
              <a:cxn ang="0">
                <a:pos x="connsiteX73757" y="connsiteY73757"/>
              </a:cxn>
              <a:cxn ang="0">
                <a:pos x="connsiteX73758" y="connsiteY73758"/>
              </a:cxn>
              <a:cxn ang="0">
                <a:pos x="connsiteX73759" y="connsiteY73759"/>
              </a:cxn>
              <a:cxn ang="0">
                <a:pos x="connsiteX73760" y="connsiteY73760"/>
              </a:cxn>
              <a:cxn ang="0">
                <a:pos x="connsiteX73761" y="connsiteY73761"/>
              </a:cxn>
              <a:cxn ang="0">
                <a:pos x="connsiteX73762" y="connsiteY73762"/>
              </a:cxn>
              <a:cxn ang="0">
                <a:pos x="connsiteX73763" y="connsiteY73763"/>
              </a:cxn>
              <a:cxn ang="0">
                <a:pos x="connsiteX73764" y="connsiteY73764"/>
              </a:cxn>
              <a:cxn ang="0">
                <a:pos x="connsiteX73765" y="connsiteY73765"/>
              </a:cxn>
              <a:cxn ang="0">
                <a:pos x="connsiteX73766" y="connsiteY73766"/>
              </a:cxn>
              <a:cxn ang="0">
                <a:pos x="connsiteX73767" y="connsiteY73767"/>
              </a:cxn>
              <a:cxn ang="0">
                <a:pos x="connsiteX73768" y="connsiteY73768"/>
              </a:cxn>
              <a:cxn ang="0">
                <a:pos x="connsiteX73769" y="connsiteY73769"/>
              </a:cxn>
              <a:cxn ang="0">
                <a:pos x="connsiteX73770" y="connsiteY73770"/>
              </a:cxn>
              <a:cxn ang="0">
                <a:pos x="connsiteX73771" y="connsiteY73771"/>
              </a:cxn>
              <a:cxn ang="0">
                <a:pos x="connsiteX73772" y="connsiteY73772"/>
              </a:cxn>
              <a:cxn ang="0">
                <a:pos x="connsiteX73773" y="connsiteY73773"/>
              </a:cxn>
              <a:cxn ang="0">
                <a:pos x="connsiteX73774" y="connsiteY73774"/>
              </a:cxn>
              <a:cxn ang="0">
                <a:pos x="connsiteX73775" y="connsiteY73775"/>
              </a:cxn>
              <a:cxn ang="0">
                <a:pos x="connsiteX73776" y="connsiteY73776"/>
              </a:cxn>
              <a:cxn ang="0">
                <a:pos x="connsiteX73777" y="connsiteY73777"/>
              </a:cxn>
              <a:cxn ang="0">
                <a:pos x="connsiteX73778" y="connsiteY73778"/>
              </a:cxn>
              <a:cxn ang="0">
                <a:pos x="connsiteX73779" y="connsiteY73779"/>
              </a:cxn>
              <a:cxn ang="0">
                <a:pos x="connsiteX73780" y="connsiteY73780"/>
              </a:cxn>
              <a:cxn ang="0">
                <a:pos x="connsiteX73781" y="connsiteY73781"/>
              </a:cxn>
              <a:cxn ang="0">
                <a:pos x="connsiteX73782" y="connsiteY73782"/>
              </a:cxn>
              <a:cxn ang="0">
                <a:pos x="connsiteX73783" y="connsiteY73783"/>
              </a:cxn>
              <a:cxn ang="0">
                <a:pos x="connsiteX73784" y="connsiteY73784"/>
              </a:cxn>
              <a:cxn ang="0">
                <a:pos x="connsiteX73785" y="connsiteY73785"/>
              </a:cxn>
              <a:cxn ang="0">
                <a:pos x="connsiteX73786" y="connsiteY73786"/>
              </a:cxn>
              <a:cxn ang="0">
                <a:pos x="connsiteX73787" y="connsiteY73787"/>
              </a:cxn>
              <a:cxn ang="0">
                <a:pos x="connsiteX73788" y="connsiteY73788"/>
              </a:cxn>
              <a:cxn ang="0">
                <a:pos x="connsiteX73789" y="connsiteY73789"/>
              </a:cxn>
              <a:cxn ang="0">
                <a:pos x="connsiteX73790" y="connsiteY73790"/>
              </a:cxn>
              <a:cxn ang="0">
                <a:pos x="connsiteX73791" y="connsiteY73791"/>
              </a:cxn>
              <a:cxn ang="0">
                <a:pos x="connsiteX73792" y="connsiteY73792"/>
              </a:cxn>
              <a:cxn ang="0">
                <a:pos x="connsiteX73793" y="connsiteY73793"/>
              </a:cxn>
              <a:cxn ang="0">
                <a:pos x="connsiteX73794" y="connsiteY73794"/>
              </a:cxn>
              <a:cxn ang="0">
                <a:pos x="connsiteX73795" y="connsiteY73795"/>
              </a:cxn>
              <a:cxn ang="0">
                <a:pos x="connsiteX73796" y="connsiteY73796"/>
              </a:cxn>
              <a:cxn ang="0">
                <a:pos x="connsiteX73797" y="connsiteY73797"/>
              </a:cxn>
              <a:cxn ang="0">
                <a:pos x="connsiteX73798" y="connsiteY73798"/>
              </a:cxn>
              <a:cxn ang="0">
                <a:pos x="connsiteX73799" y="connsiteY73799"/>
              </a:cxn>
              <a:cxn ang="0">
                <a:pos x="connsiteX73800" y="connsiteY73800"/>
              </a:cxn>
              <a:cxn ang="0">
                <a:pos x="connsiteX73801" y="connsiteY73801"/>
              </a:cxn>
              <a:cxn ang="0">
                <a:pos x="connsiteX73802" y="connsiteY73802"/>
              </a:cxn>
              <a:cxn ang="0">
                <a:pos x="connsiteX73803" y="connsiteY73803"/>
              </a:cxn>
              <a:cxn ang="0">
                <a:pos x="connsiteX73804" y="connsiteY73804"/>
              </a:cxn>
              <a:cxn ang="0">
                <a:pos x="connsiteX73805" y="connsiteY73805"/>
              </a:cxn>
              <a:cxn ang="0">
                <a:pos x="connsiteX73806" y="connsiteY73806"/>
              </a:cxn>
              <a:cxn ang="0">
                <a:pos x="connsiteX73807" y="connsiteY73807"/>
              </a:cxn>
              <a:cxn ang="0">
                <a:pos x="connsiteX73808" y="connsiteY73808"/>
              </a:cxn>
              <a:cxn ang="0">
                <a:pos x="connsiteX73809" y="connsiteY73809"/>
              </a:cxn>
              <a:cxn ang="0">
                <a:pos x="connsiteX73810" y="connsiteY73810"/>
              </a:cxn>
              <a:cxn ang="0">
                <a:pos x="connsiteX73811" y="connsiteY73811"/>
              </a:cxn>
              <a:cxn ang="0">
                <a:pos x="connsiteX73812" y="connsiteY73812"/>
              </a:cxn>
              <a:cxn ang="0">
                <a:pos x="connsiteX73813" y="connsiteY73813"/>
              </a:cxn>
              <a:cxn ang="0">
                <a:pos x="connsiteX73814" y="connsiteY73814"/>
              </a:cxn>
              <a:cxn ang="0">
                <a:pos x="connsiteX73815" y="connsiteY73815"/>
              </a:cxn>
              <a:cxn ang="0">
                <a:pos x="connsiteX73816" y="connsiteY73816"/>
              </a:cxn>
              <a:cxn ang="0">
                <a:pos x="connsiteX73817" y="connsiteY73817"/>
              </a:cxn>
              <a:cxn ang="0">
                <a:pos x="connsiteX73818" y="connsiteY73818"/>
              </a:cxn>
              <a:cxn ang="0">
                <a:pos x="connsiteX73819" y="connsiteY73819"/>
              </a:cxn>
              <a:cxn ang="0">
                <a:pos x="connsiteX73820" y="connsiteY73820"/>
              </a:cxn>
              <a:cxn ang="0">
                <a:pos x="connsiteX73821" y="connsiteY73821"/>
              </a:cxn>
              <a:cxn ang="0">
                <a:pos x="connsiteX73822" y="connsiteY73822"/>
              </a:cxn>
              <a:cxn ang="0">
                <a:pos x="connsiteX73823" y="connsiteY73823"/>
              </a:cxn>
              <a:cxn ang="0">
                <a:pos x="connsiteX73824" y="connsiteY73824"/>
              </a:cxn>
              <a:cxn ang="0">
                <a:pos x="connsiteX73825" y="connsiteY73825"/>
              </a:cxn>
              <a:cxn ang="0">
                <a:pos x="connsiteX73826" y="connsiteY73826"/>
              </a:cxn>
              <a:cxn ang="0">
                <a:pos x="connsiteX73827" y="connsiteY73827"/>
              </a:cxn>
              <a:cxn ang="0">
                <a:pos x="connsiteX73828" y="connsiteY73828"/>
              </a:cxn>
              <a:cxn ang="0">
                <a:pos x="connsiteX73829" y="connsiteY73829"/>
              </a:cxn>
              <a:cxn ang="0">
                <a:pos x="connsiteX73830" y="connsiteY73830"/>
              </a:cxn>
              <a:cxn ang="0">
                <a:pos x="connsiteX73831" y="connsiteY73831"/>
              </a:cxn>
              <a:cxn ang="0">
                <a:pos x="connsiteX73832" y="connsiteY73832"/>
              </a:cxn>
              <a:cxn ang="0">
                <a:pos x="connsiteX73833" y="connsiteY73833"/>
              </a:cxn>
              <a:cxn ang="0">
                <a:pos x="connsiteX73834" y="connsiteY73834"/>
              </a:cxn>
              <a:cxn ang="0">
                <a:pos x="connsiteX73835" y="connsiteY73835"/>
              </a:cxn>
              <a:cxn ang="0">
                <a:pos x="connsiteX73836" y="connsiteY73836"/>
              </a:cxn>
              <a:cxn ang="0">
                <a:pos x="connsiteX73837" y="connsiteY73837"/>
              </a:cxn>
              <a:cxn ang="0">
                <a:pos x="connsiteX73838" y="connsiteY73838"/>
              </a:cxn>
              <a:cxn ang="0">
                <a:pos x="connsiteX73839" y="connsiteY73839"/>
              </a:cxn>
              <a:cxn ang="0">
                <a:pos x="connsiteX73840" y="connsiteY73840"/>
              </a:cxn>
              <a:cxn ang="0">
                <a:pos x="connsiteX73841" y="connsiteY73841"/>
              </a:cxn>
              <a:cxn ang="0">
                <a:pos x="connsiteX73842" y="connsiteY73842"/>
              </a:cxn>
              <a:cxn ang="0">
                <a:pos x="connsiteX73843" y="connsiteY73843"/>
              </a:cxn>
              <a:cxn ang="0">
                <a:pos x="connsiteX73844" y="connsiteY73844"/>
              </a:cxn>
              <a:cxn ang="0">
                <a:pos x="connsiteX73845" y="connsiteY73845"/>
              </a:cxn>
              <a:cxn ang="0">
                <a:pos x="connsiteX73846" y="connsiteY73846"/>
              </a:cxn>
              <a:cxn ang="0">
                <a:pos x="connsiteX73847" y="connsiteY73847"/>
              </a:cxn>
              <a:cxn ang="0">
                <a:pos x="connsiteX73848" y="connsiteY73848"/>
              </a:cxn>
              <a:cxn ang="0">
                <a:pos x="connsiteX73849" y="connsiteY73849"/>
              </a:cxn>
              <a:cxn ang="0">
                <a:pos x="connsiteX73850" y="connsiteY73850"/>
              </a:cxn>
              <a:cxn ang="0">
                <a:pos x="connsiteX73851" y="connsiteY73851"/>
              </a:cxn>
              <a:cxn ang="0">
                <a:pos x="connsiteX73852" y="connsiteY73852"/>
              </a:cxn>
              <a:cxn ang="0">
                <a:pos x="connsiteX73853" y="connsiteY73853"/>
              </a:cxn>
              <a:cxn ang="0">
                <a:pos x="connsiteX73854" y="connsiteY73854"/>
              </a:cxn>
              <a:cxn ang="0">
                <a:pos x="connsiteX73855" y="connsiteY73855"/>
              </a:cxn>
              <a:cxn ang="0">
                <a:pos x="connsiteX73856" y="connsiteY73856"/>
              </a:cxn>
              <a:cxn ang="0">
                <a:pos x="connsiteX73857" y="connsiteY73857"/>
              </a:cxn>
              <a:cxn ang="0">
                <a:pos x="connsiteX73858" y="connsiteY73858"/>
              </a:cxn>
              <a:cxn ang="0">
                <a:pos x="connsiteX73859" y="connsiteY73859"/>
              </a:cxn>
              <a:cxn ang="0">
                <a:pos x="connsiteX73860" y="connsiteY73860"/>
              </a:cxn>
              <a:cxn ang="0">
                <a:pos x="connsiteX73861" y="connsiteY73861"/>
              </a:cxn>
              <a:cxn ang="0">
                <a:pos x="connsiteX73862" y="connsiteY73862"/>
              </a:cxn>
              <a:cxn ang="0">
                <a:pos x="connsiteX73863" y="connsiteY73863"/>
              </a:cxn>
              <a:cxn ang="0">
                <a:pos x="connsiteX73864" y="connsiteY73864"/>
              </a:cxn>
              <a:cxn ang="0">
                <a:pos x="connsiteX73865" y="connsiteY73865"/>
              </a:cxn>
              <a:cxn ang="0">
                <a:pos x="connsiteX73866" y="connsiteY73866"/>
              </a:cxn>
              <a:cxn ang="0">
                <a:pos x="connsiteX73867" y="connsiteY73867"/>
              </a:cxn>
              <a:cxn ang="0">
                <a:pos x="connsiteX73868" y="connsiteY73868"/>
              </a:cxn>
              <a:cxn ang="0">
                <a:pos x="connsiteX73869" y="connsiteY73869"/>
              </a:cxn>
              <a:cxn ang="0">
                <a:pos x="connsiteX73870" y="connsiteY73870"/>
              </a:cxn>
              <a:cxn ang="0">
                <a:pos x="connsiteX73871" y="connsiteY73871"/>
              </a:cxn>
              <a:cxn ang="0">
                <a:pos x="connsiteX73872" y="connsiteY73872"/>
              </a:cxn>
              <a:cxn ang="0">
                <a:pos x="connsiteX73873" y="connsiteY73873"/>
              </a:cxn>
              <a:cxn ang="0">
                <a:pos x="connsiteX73874" y="connsiteY73874"/>
              </a:cxn>
              <a:cxn ang="0">
                <a:pos x="connsiteX73875" y="connsiteY73875"/>
              </a:cxn>
              <a:cxn ang="0">
                <a:pos x="connsiteX73876" y="connsiteY73876"/>
              </a:cxn>
              <a:cxn ang="0">
                <a:pos x="connsiteX73877" y="connsiteY73877"/>
              </a:cxn>
              <a:cxn ang="0">
                <a:pos x="connsiteX73878" y="connsiteY73878"/>
              </a:cxn>
              <a:cxn ang="0">
                <a:pos x="connsiteX73879" y="connsiteY73879"/>
              </a:cxn>
              <a:cxn ang="0">
                <a:pos x="connsiteX73880" y="connsiteY73880"/>
              </a:cxn>
              <a:cxn ang="0">
                <a:pos x="connsiteX73881" y="connsiteY73881"/>
              </a:cxn>
              <a:cxn ang="0">
                <a:pos x="connsiteX73882" y="connsiteY73882"/>
              </a:cxn>
              <a:cxn ang="0">
                <a:pos x="connsiteX73883" y="connsiteY73883"/>
              </a:cxn>
              <a:cxn ang="0">
                <a:pos x="connsiteX73884" y="connsiteY73884"/>
              </a:cxn>
              <a:cxn ang="0">
                <a:pos x="connsiteX73885" y="connsiteY73885"/>
              </a:cxn>
              <a:cxn ang="0">
                <a:pos x="connsiteX73886" y="connsiteY73886"/>
              </a:cxn>
              <a:cxn ang="0">
                <a:pos x="connsiteX73887" y="connsiteY73887"/>
              </a:cxn>
              <a:cxn ang="0">
                <a:pos x="connsiteX73888" y="connsiteY73888"/>
              </a:cxn>
              <a:cxn ang="0">
                <a:pos x="connsiteX73889" y="connsiteY73889"/>
              </a:cxn>
              <a:cxn ang="0">
                <a:pos x="connsiteX73890" y="connsiteY73890"/>
              </a:cxn>
              <a:cxn ang="0">
                <a:pos x="connsiteX73891" y="connsiteY73891"/>
              </a:cxn>
              <a:cxn ang="0">
                <a:pos x="connsiteX73892" y="connsiteY73892"/>
              </a:cxn>
              <a:cxn ang="0">
                <a:pos x="connsiteX73893" y="connsiteY73893"/>
              </a:cxn>
              <a:cxn ang="0">
                <a:pos x="connsiteX73894" y="connsiteY73894"/>
              </a:cxn>
              <a:cxn ang="0">
                <a:pos x="connsiteX73895" y="connsiteY73895"/>
              </a:cxn>
              <a:cxn ang="0">
                <a:pos x="connsiteX73896" y="connsiteY73896"/>
              </a:cxn>
              <a:cxn ang="0">
                <a:pos x="connsiteX73897" y="connsiteY73897"/>
              </a:cxn>
              <a:cxn ang="0">
                <a:pos x="connsiteX73898" y="connsiteY73898"/>
              </a:cxn>
              <a:cxn ang="0">
                <a:pos x="connsiteX73899" y="connsiteY73899"/>
              </a:cxn>
              <a:cxn ang="0">
                <a:pos x="connsiteX73900" y="connsiteY73900"/>
              </a:cxn>
              <a:cxn ang="0">
                <a:pos x="connsiteX73901" y="connsiteY73901"/>
              </a:cxn>
              <a:cxn ang="0">
                <a:pos x="connsiteX73902" y="connsiteY73902"/>
              </a:cxn>
              <a:cxn ang="0">
                <a:pos x="connsiteX73903" y="connsiteY73903"/>
              </a:cxn>
              <a:cxn ang="0">
                <a:pos x="connsiteX73904" y="connsiteY73904"/>
              </a:cxn>
              <a:cxn ang="0">
                <a:pos x="connsiteX73905" y="connsiteY73905"/>
              </a:cxn>
              <a:cxn ang="0">
                <a:pos x="connsiteX73906" y="connsiteY73906"/>
              </a:cxn>
              <a:cxn ang="0">
                <a:pos x="connsiteX73907" y="connsiteY73907"/>
              </a:cxn>
              <a:cxn ang="0">
                <a:pos x="connsiteX73908" y="connsiteY73908"/>
              </a:cxn>
              <a:cxn ang="0">
                <a:pos x="connsiteX73909" y="connsiteY73909"/>
              </a:cxn>
              <a:cxn ang="0">
                <a:pos x="connsiteX73910" y="connsiteY73910"/>
              </a:cxn>
              <a:cxn ang="0">
                <a:pos x="connsiteX73911" y="connsiteY73911"/>
              </a:cxn>
              <a:cxn ang="0">
                <a:pos x="connsiteX73912" y="connsiteY73912"/>
              </a:cxn>
              <a:cxn ang="0">
                <a:pos x="connsiteX73913" y="connsiteY73913"/>
              </a:cxn>
              <a:cxn ang="0">
                <a:pos x="connsiteX73914" y="connsiteY73914"/>
              </a:cxn>
              <a:cxn ang="0">
                <a:pos x="connsiteX73915" y="connsiteY73915"/>
              </a:cxn>
              <a:cxn ang="0">
                <a:pos x="connsiteX73916" y="connsiteY73916"/>
              </a:cxn>
              <a:cxn ang="0">
                <a:pos x="connsiteX73917" y="connsiteY73917"/>
              </a:cxn>
              <a:cxn ang="0">
                <a:pos x="connsiteX73918" y="connsiteY73918"/>
              </a:cxn>
              <a:cxn ang="0">
                <a:pos x="connsiteX73919" y="connsiteY73919"/>
              </a:cxn>
              <a:cxn ang="0">
                <a:pos x="connsiteX73920" y="connsiteY73920"/>
              </a:cxn>
              <a:cxn ang="0">
                <a:pos x="connsiteX73921" y="connsiteY73921"/>
              </a:cxn>
              <a:cxn ang="0">
                <a:pos x="connsiteX73922" y="connsiteY73922"/>
              </a:cxn>
              <a:cxn ang="0">
                <a:pos x="connsiteX73923" y="connsiteY73923"/>
              </a:cxn>
              <a:cxn ang="0">
                <a:pos x="connsiteX73924" y="connsiteY73924"/>
              </a:cxn>
              <a:cxn ang="0">
                <a:pos x="connsiteX73925" y="connsiteY73925"/>
              </a:cxn>
              <a:cxn ang="0">
                <a:pos x="connsiteX73926" y="connsiteY73926"/>
              </a:cxn>
              <a:cxn ang="0">
                <a:pos x="connsiteX73927" y="connsiteY73927"/>
              </a:cxn>
              <a:cxn ang="0">
                <a:pos x="connsiteX73928" y="connsiteY73928"/>
              </a:cxn>
              <a:cxn ang="0">
                <a:pos x="connsiteX73929" y="connsiteY73929"/>
              </a:cxn>
              <a:cxn ang="0">
                <a:pos x="connsiteX73930" y="connsiteY73930"/>
              </a:cxn>
              <a:cxn ang="0">
                <a:pos x="connsiteX73931" y="connsiteY73931"/>
              </a:cxn>
              <a:cxn ang="0">
                <a:pos x="connsiteX73932" y="connsiteY73932"/>
              </a:cxn>
              <a:cxn ang="0">
                <a:pos x="connsiteX73933" y="connsiteY73933"/>
              </a:cxn>
              <a:cxn ang="0">
                <a:pos x="connsiteX73934" y="connsiteY73934"/>
              </a:cxn>
              <a:cxn ang="0">
                <a:pos x="connsiteX73935" y="connsiteY73935"/>
              </a:cxn>
              <a:cxn ang="0">
                <a:pos x="connsiteX73936" y="connsiteY73936"/>
              </a:cxn>
              <a:cxn ang="0">
                <a:pos x="connsiteX73937" y="connsiteY73937"/>
              </a:cxn>
              <a:cxn ang="0">
                <a:pos x="connsiteX73938" y="connsiteY73938"/>
              </a:cxn>
              <a:cxn ang="0">
                <a:pos x="connsiteX73939" y="connsiteY73939"/>
              </a:cxn>
              <a:cxn ang="0">
                <a:pos x="connsiteX73940" y="connsiteY73940"/>
              </a:cxn>
              <a:cxn ang="0">
                <a:pos x="connsiteX73941" y="connsiteY73941"/>
              </a:cxn>
              <a:cxn ang="0">
                <a:pos x="connsiteX73942" y="connsiteY73942"/>
              </a:cxn>
              <a:cxn ang="0">
                <a:pos x="connsiteX73943" y="connsiteY73943"/>
              </a:cxn>
              <a:cxn ang="0">
                <a:pos x="connsiteX73944" y="connsiteY73944"/>
              </a:cxn>
              <a:cxn ang="0">
                <a:pos x="connsiteX73945" y="connsiteY73945"/>
              </a:cxn>
              <a:cxn ang="0">
                <a:pos x="connsiteX73946" y="connsiteY73946"/>
              </a:cxn>
              <a:cxn ang="0">
                <a:pos x="connsiteX73947" y="connsiteY73947"/>
              </a:cxn>
              <a:cxn ang="0">
                <a:pos x="connsiteX73948" y="connsiteY73948"/>
              </a:cxn>
              <a:cxn ang="0">
                <a:pos x="connsiteX73949" y="connsiteY73949"/>
              </a:cxn>
              <a:cxn ang="0">
                <a:pos x="connsiteX73950" y="connsiteY73950"/>
              </a:cxn>
              <a:cxn ang="0">
                <a:pos x="connsiteX73951" y="connsiteY73951"/>
              </a:cxn>
              <a:cxn ang="0">
                <a:pos x="connsiteX73952" y="connsiteY73952"/>
              </a:cxn>
              <a:cxn ang="0">
                <a:pos x="connsiteX73953" y="connsiteY73953"/>
              </a:cxn>
              <a:cxn ang="0">
                <a:pos x="connsiteX73954" y="connsiteY73954"/>
              </a:cxn>
              <a:cxn ang="0">
                <a:pos x="connsiteX73955" y="connsiteY73955"/>
              </a:cxn>
              <a:cxn ang="0">
                <a:pos x="connsiteX73956" y="connsiteY73956"/>
              </a:cxn>
              <a:cxn ang="0">
                <a:pos x="connsiteX73957" y="connsiteY73957"/>
              </a:cxn>
              <a:cxn ang="0">
                <a:pos x="connsiteX73958" y="connsiteY73958"/>
              </a:cxn>
              <a:cxn ang="0">
                <a:pos x="connsiteX73959" y="connsiteY73959"/>
              </a:cxn>
              <a:cxn ang="0">
                <a:pos x="connsiteX73960" y="connsiteY73960"/>
              </a:cxn>
              <a:cxn ang="0">
                <a:pos x="connsiteX73961" y="connsiteY73961"/>
              </a:cxn>
              <a:cxn ang="0">
                <a:pos x="connsiteX73962" y="connsiteY73962"/>
              </a:cxn>
              <a:cxn ang="0">
                <a:pos x="connsiteX73963" y="connsiteY73963"/>
              </a:cxn>
              <a:cxn ang="0">
                <a:pos x="connsiteX73964" y="connsiteY73964"/>
              </a:cxn>
              <a:cxn ang="0">
                <a:pos x="connsiteX73965" y="connsiteY73965"/>
              </a:cxn>
              <a:cxn ang="0">
                <a:pos x="connsiteX73966" y="connsiteY73966"/>
              </a:cxn>
              <a:cxn ang="0">
                <a:pos x="connsiteX73967" y="connsiteY73967"/>
              </a:cxn>
              <a:cxn ang="0">
                <a:pos x="connsiteX73968" y="connsiteY73968"/>
              </a:cxn>
              <a:cxn ang="0">
                <a:pos x="connsiteX73969" y="connsiteY73969"/>
              </a:cxn>
              <a:cxn ang="0">
                <a:pos x="connsiteX73970" y="connsiteY73970"/>
              </a:cxn>
              <a:cxn ang="0">
                <a:pos x="connsiteX73971" y="connsiteY73971"/>
              </a:cxn>
              <a:cxn ang="0">
                <a:pos x="connsiteX73972" y="connsiteY73972"/>
              </a:cxn>
              <a:cxn ang="0">
                <a:pos x="connsiteX73973" y="connsiteY73973"/>
              </a:cxn>
              <a:cxn ang="0">
                <a:pos x="connsiteX73974" y="connsiteY73974"/>
              </a:cxn>
              <a:cxn ang="0">
                <a:pos x="connsiteX73975" y="connsiteY73975"/>
              </a:cxn>
              <a:cxn ang="0">
                <a:pos x="connsiteX73976" y="connsiteY73976"/>
              </a:cxn>
              <a:cxn ang="0">
                <a:pos x="connsiteX73977" y="connsiteY73977"/>
              </a:cxn>
              <a:cxn ang="0">
                <a:pos x="connsiteX73978" y="connsiteY73978"/>
              </a:cxn>
              <a:cxn ang="0">
                <a:pos x="connsiteX73979" y="connsiteY73979"/>
              </a:cxn>
              <a:cxn ang="0">
                <a:pos x="connsiteX73980" y="connsiteY73980"/>
              </a:cxn>
              <a:cxn ang="0">
                <a:pos x="connsiteX73981" y="connsiteY73981"/>
              </a:cxn>
              <a:cxn ang="0">
                <a:pos x="connsiteX73982" y="connsiteY73982"/>
              </a:cxn>
              <a:cxn ang="0">
                <a:pos x="connsiteX73983" y="connsiteY73983"/>
              </a:cxn>
              <a:cxn ang="0">
                <a:pos x="connsiteX73984" y="connsiteY73984"/>
              </a:cxn>
              <a:cxn ang="0">
                <a:pos x="connsiteX73985" y="connsiteY73985"/>
              </a:cxn>
              <a:cxn ang="0">
                <a:pos x="connsiteX73986" y="connsiteY73986"/>
              </a:cxn>
              <a:cxn ang="0">
                <a:pos x="connsiteX73987" y="connsiteY73987"/>
              </a:cxn>
              <a:cxn ang="0">
                <a:pos x="connsiteX73988" y="connsiteY73988"/>
              </a:cxn>
              <a:cxn ang="0">
                <a:pos x="connsiteX73989" y="connsiteY73989"/>
              </a:cxn>
              <a:cxn ang="0">
                <a:pos x="connsiteX73990" y="connsiteY73990"/>
              </a:cxn>
              <a:cxn ang="0">
                <a:pos x="connsiteX73991" y="connsiteY73991"/>
              </a:cxn>
              <a:cxn ang="0">
                <a:pos x="connsiteX73992" y="connsiteY73992"/>
              </a:cxn>
              <a:cxn ang="0">
                <a:pos x="connsiteX73993" y="connsiteY73993"/>
              </a:cxn>
              <a:cxn ang="0">
                <a:pos x="connsiteX73994" y="connsiteY73994"/>
              </a:cxn>
              <a:cxn ang="0">
                <a:pos x="connsiteX73995" y="connsiteY73995"/>
              </a:cxn>
              <a:cxn ang="0">
                <a:pos x="connsiteX73996" y="connsiteY73996"/>
              </a:cxn>
              <a:cxn ang="0">
                <a:pos x="connsiteX73997" y="connsiteY73997"/>
              </a:cxn>
              <a:cxn ang="0">
                <a:pos x="connsiteX73998" y="connsiteY73998"/>
              </a:cxn>
              <a:cxn ang="0">
                <a:pos x="connsiteX73999" y="connsiteY73999"/>
              </a:cxn>
              <a:cxn ang="0">
                <a:pos x="connsiteX74000" y="connsiteY74000"/>
              </a:cxn>
              <a:cxn ang="0">
                <a:pos x="connsiteX74001" y="connsiteY74001"/>
              </a:cxn>
              <a:cxn ang="0">
                <a:pos x="connsiteX74002" y="connsiteY74002"/>
              </a:cxn>
              <a:cxn ang="0">
                <a:pos x="connsiteX74003" y="connsiteY74003"/>
              </a:cxn>
              <a:cxn ang="0">
                <a:pos x="connsiteX74004" y="connsiteY74004"/>
              </a:cxn>
              <a:cxn ang="0">
                <a:pos x="connsiteX74005" y="connsiteY74005"/>
              </a:cxn>
              <a:cxn ang="0">
                <a:pos x="connsiteX74006" y="connsiteY74006"/>
              </a:cxn>
              <a:cxn ang="0">
                <a:pos x="connsiteX74007" y="connsiteY74007"/>
              </a:cxn>
              <a:cxn ang="0">
                <a:pos x="connsiteX74008" y="connsiteY74008"/>
              </a:cxn>
              <a:cxn ang="0">
                <a:pos x="connsiteX74009" y="connsiteY74009"/>
              </a:cxn>
              <a:cxn ang="0">
                <a:pos x="connsiteX74010" y="connsiteY74010"/>
              </a:cxn>
              <a:cxn ang="0">
                <a:pos x="connsiteX74011" y="connsiteY74011"/>
              </a:cxn>
              <a:cxn ang="0">
                <a:pos x="connsiteX74012" y="connsiteY74012"/>
              </a:cxn>
              <a:cxn ang="0">
                <a:pos x="connsiteX74013" y="connsiteY74013"/>
              </a:cxn>
              <a:cxn ang="0">
                <a:pos x="connsiteX74014" y="connsiteY74014"/>
              </a:cxn>
              <a:cxn ang="0">
                <a:pos x="connsiteX74015" y="connsiteY74015"/>
              </a:cxn>
              <a:cxn ang="0">
                <a:pos x="connsiteX74016" y="connsiteY74016"/>
              </a:cxn>
              <a:cxn ang="0">
                <a:pos x="connsiteX74017" y="connsiteY74017"/>
              </a:cxn>
              <a:cxn ang="0">
                <a:pos x="connsiteX74018" y="connsiteY74018"/>
              </a:cxn>
              <a:cxn ang="0">
                <a:pos x="connsiteX74019" y="connsiteY74019"/>
              </a:cxn>
              <a:cxn ang="0">
                <a:pos x="connsiteX74020" y="connsiteY74020"/>
              </a:cxn>
              <a:cxn ang="0">
                <a:pos x="connsiteX74021" y="connsiteY74021"/>
              </a:cxn>
              <a:cxn ang="0">
                <a:pos x="connsiteX74022" y="connsiteY74022"/>
              </a:cxn>
              <a:cxn ang="0">
                <a:pos x="connsiteX74023" y="connsiteY74023"/>
              </a:cxn>
              <a:cxn ang="0">
                <a:pos x="connsiteX74024" y="connsiteY74024"/>
              </a:cxn>
              <a:cxn ang="0">
                <a:pos x="connsiteX74025" y="connsiteY74025"/>
              </a:cxn>
              <a:cxn ang="0">
                <a:pos x="connsiteX74026" y="connsiteY74026"/>
              </a:cxn>
              <a:cxn ang="0">
                <a:pos x="connsiteX74027" y="connsiteY74027"/>
              </a:cxn>
              <a:cxn ang="0">
                <a:pos x="connsiteX74028" y="connsiteY74028"/>
              </a:cxn>
              <a:cxn ang="0">
                <a:pos x="connsiteX74029" y="connsiteY74029"/>
              </a:cxn>
              <a:cxn ang="0">
                <a:pos x="connsiteX74030" y="connsiteY74030"/>
              </a:cxn>
              <a:cxn ang="0">
                <a:pos x="connsiteX74031" y="connsiteY74031"/>
              </a:cxn>
              <a:cxn ang="0">
                <a:pos x="connsiteX74032" y="connsiteY74032"/>
              </a:cxn>
              <a:cxn ang="0">
                <a:pos x="connsiteX74033" y="connsiteY74033"/>
              </a:cxn>
              <a:cxn ang="0">
                <a:pos x="connsiteX74034" y="connsiteY74034"/>
              </a:cxn>
              <a:cxn ang="0">
                <a:pos x="connsiteX74035" y="connsiteY74035"/>
              </a:cxn>
              <a:cxn ang="0">
                <a:pos x="connsiteX74036" y="connsiteY74036"/>
              </a:cxn>
              <a:cxn ang="0">
                <a:pos x="connsiteX74037" y="connsiteY74037"/>
              </a:cxn>
              <a:cxn ang="0">
                <a:pos x="connsiteX74038" y="connsiteY74038"/>
              </a:cxn>
              <a:cxn ang="0">
                <a:pos x="connsiteX74039" y="connsiteY74039"/>
              </a:cxn>
              <a:cxn ang="0">
                <a:pos x="connsiteX74040" y="connsiteY74040"/>
              </a:cxn>
              <a:cxn ang="0">
                <a:pos x="connsiteX74041" y="connsiteY74041"/>
              </a:cxn>
              <a:cxn ang="0">
                <a:pos x="connsiteX74042" y="connsiteY74042"/>
              </a:cxn>
              <a:cxn ang="0">
                <a:pos x="connsiteX74043" y="connsiteY74043"/>
              </a:cxn>
              <a:cxn ang="0">
                <a:pos x="connsiteX74044" y="connsiteY74044"/>
              </a:cxn>
              <a:cxn ang="0">
                <a:pos x="connsiteX74045" y="connsiteY74045"/>
              </a:cxn>
              <a:cxn ang="0">
                <a:pos x="connsiteX74046" y="connsiteY74046"/>
              </a:cxn>
              <a:cxn ang="0">
                <a:pos x="connsiteX74047" y="connsiteY74047"/>
              </a:cxn>
              <a:cxn ang="0">
                <a:pos x="connsiteX74048" y="connsiteY74048"/>
              </a:cxn>
              <a:cxn ang="0">
                <a:pos x="connsiteX74049" y="connsiteY74049"/>
              </a:cxn>
              <a:cxn ang="0">
                <a:pos x="connsiteX74050" y="connsiteY74050"/>
              </a:cxn>
              <a:cxn ang="0">
                <a:pos x="connsiteX74051" y="connsiteY74051"/>
              </a:cxn>
              <a:cxn ang="0">
                <a:pos x="connsiteX74052" y="connsiteY74052"/>
              </a:cxn>
              <a:cxn ang="0">
                <a:pos x="connsiteX74053" y="connsiteY74053"/>
              </a:cxn>
              <a:cxn ang="0">
                <a:pos x="connsiteX74054" y="connsiteY74054"/>
              </a:cxn>
              <a:cxn ang="0">
                <a:pos x="connsiteX74055" y="connsiteY74055"/>
              </a:cxn>
              <a:cxn ang="0">
                <a:pos x="connsiteX74056" y="connsiteY74056"/>
              </a:cxn>
              <a:cxn ang="0">
                <a:pos x="connsiteX74057" y="connsiteY74057"/>
              </a:cxn>
              <a:cxn ang="0">
                <a:pos x="connsiteX74058" y="connsiteY74058"/>
              </a:cxn>
              <a:cxn ang="0">
                <a:pos x="connsiteX74059" y="connsiteY74059"/>
              </a:cxn>
              <a:cxn ang="0">
                <a:pos x="connsiteX74060" y="connsiteY74060"/>
              </a:cxn>
              <a:cxn ang="0">
                <a:pos x="connsiteX74061" y="connsiteY74061"/>
              </a:cxn>
              <a:cxn ang="0">
                <a:pos x="connsiteX74062" y="connsiteY74062"/>
              </a:cxn>
              <a:cxn ang="0">
                <a:pos x="connsiteX74063" y="connsiteY74063"/>
              </a:cxn>
              <a:cxn ang="0">
                <a:pos x="connsiteX74064" y="connsiteY74064"/>
              </a:cxn>
              <a:cxn ang="0">
                <a:pos x="connsiteX74065" y="connsiteY74065"/>
              </a:cxn>
              <a:cxn ang="0">
                <a:pos x="connsiteX74066" y="connsiteY74066"/>
              </a:cxn>
              <a:cxn ang="0">
                <a:pos x="connsiteX74067" y="connsiteY74067"/>
              </a:cxn>
              <a:cxn ang="0">
                <a:pos x="connsiteX74068" y="connsiteY74068"/>
              </a:cxn>
              <a:cxn ang="0">
                <a:pos x="connsiteX74069" y="connsiteY74069"/>
              </a:cxn>
              <a:cxn ang="0">
                <a:pos x="connsiteX74070" y="connsiteY74070"/>
              </a:cxn>
              <a:cxn ang="0">
                <a:pos x="connsiteX74071" y="connsiteY74071"/>
              </a:cxn>
              <a:cxn ang="0">
                <a:pos x="connsiteX74072" y="connsiteY74072"/>
              </a:cxn>
              <a:cxn ang="0">
                <a:pos x="connsiteX74073" y="connsiteY74073"/>
              </a:cxn>
              <a:cxn ang="0">
                <a:pos x="connsiteX74074" y="connsiteY74074"/>
              </a:cxn>
              <a:cxn ang="0">
                <a:pos x="connsiteX74075" y="connsiteY74075"/>
              </a:cxn>
              <a:cxn ang="0">
                <a:pos x="connsiteX74076" y="connsiteY74076"/>
              </a:cxn>
              <a:cxn ang="0">
                <a:pos x="connsiteX74077" y="connsiteY74077"/>
              </a:cxn>
              <a:cxn ang="0">
                <a:pos x="connsiteX74078" y="connsiteY74078"/>
              </a:cxn>
              <a:cxn ang="0">
                <a:pos x="connsiteX74079" y="connsiteY74079"/>
              </a:cxn>
              <a:cxn ang="0">
                <a:pos x="connsiteX74080" y="connsiteY74080"/>
              </a:cxn>
              <a:cxn ang="0">
                <a:pos x="connsiteX74081" y="connsiteY74081"/>
              </a:cxn>
              <a:cxn ang="0">
                <a:pos x="connsiteX74082" y="connsiteY74082"/>
              </a:cxn>
              <a:cxn ang="0">
                <a:pos x="connsiteX74083" y="connsiteY74083"/>
              </a:cxn>
              <a:cxn ang="0">
                <a:pos x="connsiteX74084" y="connsiteY74084"/>
              </a:cxn>
              <a:cxn ang="0">
                <a:pos x="connsiteX74085" y="connsiteY74085"/>
              </a:cxn>
              <a:cxn ang="0">
                <a:pos x="connsiteX74086" y="connsiteY74086"/>
              </a:cxn>
              <a:cxn ang="0">
                <a:pos x="connsiteX74087" y="connsiteY74087"/>
              </a:cxn>
              <a:cxn ang="0">
                <a:pos x="connsiteX74088" y="connsiteY74088"/>
              </a:cxn>
              <a:cxn ang="0">
                <a:pos x="connsiteX74089" y="connsiteY74089"/>
              </a:cxn>
              <a:cxn ang="0">
                <a:pos x="connsiteX74090" y="connsiteY74090"/>
              </a:cxn>
              <a:cxn ang="0">
                <a:pos x="connsiteX74091" y="connsiteY74091"/>
              </a:cxn>
              <a:cxn ang="0">
                <a:pos x="connsiteX74092" y="connsiteY74092"/>
              </a:cxn>
              <a:cxn ang="0">
                <a:pos x="connsiteX74093" y="connsiteY74093"/>
              </a:cxn>
              <a:cxn ang="0">
                <a:pos x="connsiteX74094" y="connsiteY74094"/>
              </a:cxn>
              <a:cxn ang="0">
                <a:pos x="connsiteX74095" y="connsiteY74095"/>
              </a:cxn>
              <a:cxn ang="0">
                <a:pos x="connsiteX74096" y="connsiteY74096"/>
              </a:cxn>
              <a:cxn ang="0">
                <a:pos x="connsiteX74097" y="connsiteY74097"/>
              </a:cxn>
              <a:cxn ang="0">
                <a:pos x="connsiteX74098" y="connsiteY74098"/>
              </a:cxn>
              <a:cxn ang="0">
                <a:pos x="connsiteX74099" y="connsiteY74099"/>
              </a:cxn>
              <a:cxn ang="0">
                <a:pos x="connsiteX74100" y="connsiteY74100"/>
              </a:cxn>
              <a:cxn ang="0">
                <a:pos x="connsiteX74101" y="connsiteY74101"/>
              </a:cxn>
              <a:cxn ang="0">
                <a:pos x="connsiteX74102" y="connsiteY74102"/>
              </a:cxn>
              <a:cxn ang="0">
                <a:pos x="connsiteX74103" y="connsiteY74103"/>
              </a:cxn>
              <a:cxn ang="0">
                <a:pos x="connsiteX74104" y="connsiteY74104"/>
              </a:cxn>
              <a:cxn ang="0">
                <a:pos x="connsiteX74105" y="connsiteY74105"/>
              </a:cxn>
              <a:cxn ang="0">
                <a:pos x="connsiteX74106" y="connsiteY74106"/>
              </a:cxn>
              <a:cxn ang="0">
                <a:pos x="connsiteX74107" y="connsiteY74107"/>
              </a:cxn>
              <a:cxn ang="0">
                <a:pos x="connsiteX74108" y="connsiteY74108"/>
              </a:cxn>
              <a:cxn ang="0">
                <a:pos x="connsiteX74109" y="connsiteY74109"/>
              </a:cxn>
              <a:cxn ang="0">
                <a:pos x="connsiteX74110" y="connsiteY74110"/>
              </a:cxn>
              <a:cxn ang="0">
                <a:pos x="connsiteX74111" y="connsiteY74111"/>
              </a:cxn>
              <a:cxn ang="0">
                <a:pos x="connsiteX74112" y="connsiteY74112"/>
              </a:cxn>
              <a:cxn ang="0">
                <a:pos x="connsiteX74113" y="connsiteY74113"/>
              </a:cxn>
              <a:cxn ang="0">
                <a:pos x="connsiteX74114" y="connsiteY74114"/>
              </a:cxn>
              <a:cxn ang="0">
                <a:pos x="connsiteX74115" y="connsiteY74115"/>
              </a:cxn>
              <a:cxn ang="0">
                <a:pos x="connsiteX74116" y="connsiteY74116"/>
              </a:cxn>
              <a:cxn ang="0">
                <a:pos x="connsiteX74117" y="connsiteY74117"/>
              </a:cxn>
              <a:cxn ang="0">
                <a:pos x="connsiteX74118" y="connsiteY74118"/>
              </a:cxn>
              <a:cxn ang="0">
                <a:pos x="connsiteX74119" y="connsiteY74119"/>
              </a:cxn>
              <a:cxn ang="0">
                <a:pos x="connsiteX74120" y="connsiteY74120"/>
              </a:cxn>
              <a:cxn ang="0">
                <a:pos x="connsiteX74121" y="connsiteY74121"/>
              </a:cxn>
              <a:cxn ang="0">
                <a:pos x="connsiteX74122" y="connsiteY74122"/>
              </a:cxn>
              <a:cxn ang="0">
                <a:pos x="connsiteX74123" y="connsiteY74123"/>
              </a:cxn>
              <a:cxn ang="0">
                <a:pos x="connsiteX74124" y="connsiteY74124"/>
              </a:cxn>
              <a:cxn ang="0">
                <a:pos x="connsiteX74125" y="connsiteY74125"/>
              </a:cxn>
              <a:cxn ang="0">
                <a:pos x="connsiteX74126" y="connsiteY74126"/>
              </a:cxn>
              <a:cxn ang="0">
                <a:pos x="connsiteX74127" y="connsiteY74127"/>
              </a:cxn>
              <a:cxn ang="0">
                <a:pos x="connsiteX74128" y="connsiteY74128"/>
              </a:cxn>
              <a:cxn ang="0">
                <a:pos x="connsiteX74129" y="connsiteY74129"/>
              </a:cxn>
              <a:cxn ang="0">
                <a:pos x="connsiteX74130" y="connsiteY74130"/>
              </a:cxn>
              <a:cxn ang="0">
                <a:pos x="connsiteX74131" y="connsiteY74131"/>
              </a:cxn>
              <a:cxn ang="0">
                <a:pos x="connsiteX74132" y="connsiteY74132"/>
              </a:cxn>
              <a:cxn ang="0">
                <a:pos x="connsiteX74133" y="connsiteY74133"/>
              </a:cxn>
              <a:cxn ang="0">
                <a:pos x="connsiteX74134" y="connsiteY74134"/>
              </a:cxn>
              <a:cxn ang="0">
                <a:pos x="connsiteX74135" y="connsiteY74135"/>
              </a:cxn>
              <a:cxn ang="0">
                <a:pos x="connsiteX74136" y="connsiteY74136"/>
              </a:cxn>
              <a:cxn ang="0">
                <a:pos x="connsiteX74137" y="connsiteY74137"/>
              </a:cxn>
              <a:cxn ang="0">
                <a:pos x="connsiteX74138" y="connsiteY74138"/>
              </a:cxn>
              <a:cxn ang="0">
                <a:pos x="connsiteX74139" y="connsiteY74139"/>
              </a:cxn>
              <a:cxn ang="0">
                <a:pos x="connsiteX74140" y="connsiteY74140"/>
              </a:cxn>
              <a:cxn ang="0">
                <a:pos x="connsiteX74141" y="connsiteY74141"/>
              </a:cxn>
              <a:cxn ang="0">
                <a:pos x="connsiteX74142" y="connsiteY74142"/>
              </a:cxn>
              <a:cxn ang="0">
                <a:pos x="connsiteX74143" y="connsiteY74143"/>
              </a:cxn>
              <a:cxn ang="0">
                <a:pos x="connsiteX74144" y="connsiteY74144"/>
              </a:cxn>
              <a:cxn ang="0">
                <a:pos x="connsiteX74145" y="connsiteY74145"/>
              </a:cxn>
              <a:cxn ang="0">
                <a:pos x="connsiteX74146" y="connsiteY74146"/>
              </a:cxn>
              <a:cxn ang="0">
                <a:pos x="connsiteX74147" y="connsiteY74147"/>
              </a:cxn>
              <a:cxn ang="0">
                <a:pos x="connsiteX74148" y="connsiteY74148"/>
              </a:cxn>
              <a:cxn ang="0">
                <a:pos x="connsiteX74149" y="connsiteY74149"/>
              </a:cxn>
              <a:cxn ang="0">
                <a:pos x="connsiteX74150" y="connsiteY74150"/>
              </a:cxn>
              <a:cxn ang="0">
                <a:pos x="connsiteX74151" y="connsiteY74151"/>
              </a:cxn>
              <a:cxn ang="0">
                <a:pos x="connsiteX74152" y="connsiteY74152"/>
              </a:cxn>
              <a:cxn ang="0">
                <a:pos x="connsiteX74153" y="connsiteY74153"/>
              </a:cxn>
              <a:cxn ang="0">
                <a:pos x="connsiteX74154" y="connsiteY74154"/>
              </a:cxn>
              <a:cxn ang="0">
                <a:pos x="connsiteX74155" y="connsiteY74155"/>
              </a:cxn>
              <a:cxn ang="0">
                <a:pos x="connsiteX74156" y="connsiteY74156"/>
              </a:cxn>
              <a:cxn ang="0">
                <a:pos x="connsiteX74157" y="connsiteY74157"/>
              </a:cxn>
              <a:cxn ang="0">
                <a:pos x="connsiteX74158" y="connsiteY74158"/>
              </a:cxn>
              <a:cxn ang="0">
                <a:pos x="connsiteX74159" y="connsiteY74159"/>
              </a:cxn>
              <a:cxn ang="0">
                <a:pos x="connsiteX74160" y="connsiteY74160"/>
              </a:cxn>
              <a:cxn ang="0">
                <a:pos x="connsiteX74161" y="connsiteY74161"/>
              </a:cxn>
              <a:cxn ang="0">
                <a:pos x="connsiteX74162" y="connsiteY74162"/>
              </a:cxn>
              <a:cxn ang="0">
                <a:pos x="connsiteX74163" y="connsiteY74163"/>
              </a:cxn>
              <a:cxn ang="0">
                <a:pos x="connsiteX74164" y="connsiteY74164"/>
              </a:cxn>
              <a:cxn ang="0">
                <a:pos x="connsiteX74165" y="connsiteY74165"/>
              </a:cxn>
              <a:cxn ang="0">
                <a:pos x="connsiteX74166" y="connsiteY74166"/>
              </a:cxn>
              <a:cxn ang="0">
                <a:pos x="connsiteX74167" y="connsiteY74167"/>
              </a:cxn>
              <a:cxn ang="0">
                <a:pos x="connsiteX74168" y="connsiteY74168"/>
              </a:cxn>
              <a:cxn ang="0">
                <a:pos x="connsiteX74169" y="connsiteY74169"/>
              </a:cxn>
              <a:cxn ang="0">
                <a:pos x="connsiteX74170" y="connsiteY74170"/>
              </a:cxn>
              <a:cxn ang="0">
                <a:pos x="connsiteX74171" y="connsiteY74171"/>
              </a:cxn>
              <a:cxn ang="0">
                <a:pos x="connsiteX74172" y="connsiteY74172"/>
              </a:cxn>
              <a:cxn ang="0">
                <a:pos x="connsiteX74173" y="connsiteY74173"/>
              </a:cxn>
              <a:cxn ang="0">
                <a:pos x="connsiteX74174" y="connsiteY74174"/>
              </a:cxn>
              <a:cxn ang="0">
                <a:pos x="connsiteX74175" y="connsiteY74175"/>
              </a:cxn>
              <a:cxn ang="0">
                <a:pos x="connsiteX74176" y="connsiteY74176"/>
              </a:cxn>
              <a:cxn ang="0">
                <a:pos x="connsiteX74177" y="connsiteY74177"/>
              </a:cxn>
              <a:cxn ang="0">
                <a:pos x="connsiteX74178" y="connsiteY74178"/>
              </a:cxn>
              <a:cxn ang="0">
                <a:pos x="connsiteX74179" y="connsiteY74179"/>
              </a:cxn>
              <a:cxn ang="0">
                <a:pos x="connsiteX74180" y="connsiteY74180"/>
              </a:cxn>
              <a:cxn ang="0">
                <a:pos x="connsiteX74181" y="connsiteY74181"/>
              </a:cxn>
              <a:cxn ang="0">
                <a:pos x="connsiteX74182" y="connsiteY74182"/>
              </a:cxn>
              <a:cxn ang="0">
                <a:pos x="connsiteX74183" y="connsiteY74183"/>
              </a:cxn>
              <a:cxn ang="0">
                <a:pos x="connsiteX74184" y="connsiteY74184"/>
              </a:cxn>
              <a:cxn ang="0">
                <a:pos x="connsiteX74185" y="connsiteY74185"/>
              </a:cxn>
              <a:cxn ang="0">
                <a:pos x="connsiteX74186" y="connsiteY74186"/>
              </a:cxn>
              <a:cxn ang="0">
                <a:pos x="connsiteX74187" y="connsiteY74187"/>
              </a:cxn>
              <a:cxn ang="0">
                <a:pos x="connsiteX74188" y="connsiteY74188"/>
              </a:cxn>
              <a:cxn ang="0">
                <a:pos x="connsiteX74189" y="connsiteY74189"/>
              </a:cxn>
              <a:cxn ang="0">
                <a:pos x="connsiteX74190" y="connsiteY74190"/>
              </a:cxn>
              <a:cxn ang="0">
                <a:pos x="connsiteX74191" y="connsiteY74191"/>
              </a:cxn>
              <a:cxn ang="0">
                <a:pos x="connsiteX74192" y="connsiteY74192"/>
              </a:cxn>
              <a:cxn ang="0">
                <a:pos x="connsiteX74193" y="connsiteY74193"/>
              </a:cxn>
              <a:cxn ang="0">
                <a:pos x="connsiteX74194" y="connsiteY74194"/>
              </a:cxn>
              <a:cxn ang="0">
                <a:pos x="connsiteX74195" y="connsiteY74195"/>
              </a:cxn>
              <a:cxn ang="0">
                <a:pos x="connsiteX74196" y="connsiteY74196"/>
              </a:cxn>
              <a:cxn ang="0">
                <a:pos x="connsiteX74197" y="connsiteY74197"/>
              </a:cxn>
              <a:cxn ang="0">
                <a:pos x="connsiteX74198" y="connsiteY74198"/>
              </a:cxn>
              <a:cxn ang="0">
                <a:pos x="connsiteX74199" y="connsiteY74199"/>
              </a:cxn>
              <a:cxn ang="0">
                <a:pos x="connsiteX74200" y="connsiteY74200"/>
              </a:cxn>
              <a:cxn ang="0">
                <a:pos x="connsiteX74201" y="connsiteY74201"/>
              </a:cxn>
              <a:cxn ang="0">
                <a:pos x="connsiteX74202" y="connsiteY74202"/>
              </a:cxn>
              <a:cxn ang="0">
                <a:pos x="connsiteX74203" y="connsiteY74203"/>
              </a:cxn>
              <a:cxn ang="0">
                <a:pos x="connsiteX74204" y="connsiteY74204"/>
              </a:cxn>
              <a:cxn ang="0">
                <a:pos x="connsiteX74205" y="connsiteY74205"/>
              </a:cxn>
              <a:cxn ang="0">
                <a:pos x="connsiteX74206" y="connsiteY74206"/>
              </a:cxn>
              <a:cxn ang="0">
                <a:pos x="connsiteX74207" y="connsiteY74207"/>
              </a:cxn>
              <a:cxn ang="0">
                <a:pos x="connsiteX74208" y="connsiteY74208"/>
              </a:cxn>
              <a:cxn ang="0">
                <a:pos x="connsiteX74209" y="connsiteY74209"/>
              </a:cxn>
              <a:cxn ang="0">
                <a:pos x="connsiteX74210" y="connsiteY74210"/>
              </a:cxn>
              <a:cxn ang="0">
                <a:pos x="connsiteX74211" y="connsiteY74211"/>
              </a:cxn>
              <a:cxn ang="0">
                <a:pos x="connsiteX74212" y="connsiteY74212"/>
              </a:cxn>
              <a:cxn ang="0">
                <a:pos x="connsiteX74213" y="connsiteY74213"/>
              </a:cxn>
              <a:cxn ang="0">
                <a:pos x="connsiteX74214" y="connsiteY74214"/>
              </a:cxn>
              <a:cxn ang="0">
                <a:pos x="connsiteX74215" y="connsiteY74215"/>
              </a:cxn>
              <a:cxn ang="0">
                <a:pos x="connsiteX74216" y="connsiteY74216"/>
              </a:cxn>
              <a:cxn ang="0">
                <a:pos x="connsiteX74217" y="connsiteY74217"/>
              </a:cxn>
              <a:cxn ang="0">
                <a:pos x="connsiteX74218" y="connsiteY74218"/>
              </a:cxn>
              <a:cxn ang="0">
                <a:pos x="connsiteX74219" y="connsiteY74219"/>
              </a:cxn>
              <a:cxn ang="0">
                <a:pos x="connsiteX74220" y="connsiteY74220"/>
              </a:cxn>
              <a:cxn ang="0">
                <a:pos x="connsiteX74221" y="connsiteY74221"/>
              </a:cxn>
              <a:cxn ang="0">
                <a:pos x="connsiteX74222" y="connsiteY74222"/>
              </a:cxn>
              <a:cxn ang="0">
                <a:pos x="connsiteX74223" y="connsiteY74223"/>
              </a:cxn>
              <a:cxn ang="0">
                <a:pos x="connsiteX74224" y="connsiteY74224"/>
              </a:cxn>
              <a:cxn ang="0">
                <a:pos x="connsiteX74225" y="connsiteY74225"/>
              </a:cxn>
              <a:cxn ang="0">
                <a:pos x="connsiteX74226" y="connsiteY74226"/>
              </a:cxn>
              <a:cxn ang="0">
                <a:pos x="connsiteX74227" y="connsiteY74227"/>
              </a:cxn>
              <a:cxn ang="0">
                <a:pos x="connsiteX74228" y="connsiteY74228"/>
              </a:cxn>
              <a:cxn ang="0">
                <a:pos x="connsiteX74229" y="connsiteY74229"/>
              </a:cxn>
              <a:cxn ang="0">
                <a:pos x="connsiteX74230" y="connsiteY74230"/>
              </a:cxn>
              <a:cxn ang="0">
                <a:pos x="connsiteX74231" y="connsiteY74231"/>
              </a:cxn>
              <a:cxn ang="0">
                <a:pos x="connsiteX74232" y="connsiteY74232"/>
              </a:cxn>
              <a:cxn ang="0">
                <a:pos x="connsiteX74233" y="connsiteY74233"/>
              </a:cxn>
              <a:cxn ang="0">
                <a:pos x="connsiteX74234" y="connsiteY74234"/>
              </a:cxn>
              <a:cxn ang="0">
                <a:pos x="connsiteX74235" y="connsiteY74235"/>
              </a:cxn>
              <a:cxn ang="0">
                <a:pos x="connsiteX74236" y="connsiteY74236"/>
              </a:cxn>
              <a:cxn ang="0">
                <a:pos x="connsiteX74237" y="connsiteY74237"/>
              </a:cxn>
              <a:cxn ang="0">
                <a:pos x="connsiteX74238" y="connsiteY74238"/>
              </a:cxn>
              <a:cxn ang="0">
                <a:pos x="connsiteX74239" y="connsiteY74239"/>
              </a:cxn>
              <a:cxn ang="0">
                <a:pos x="connsiteX74240" y="connsiteY74240"/>
              </a:cxn>
              <a:cxn ang="0">
                <a:pos x="connsiteX74241" y="connsiteY74241"/>
              </a:cxn>
              <a:cxn ang="0">
                <a:pos x="connsiteX74242" y="connsiteY74242"/>
              </a:cxn>
              <a:cxn ang="0">
                <a:pos x="connsiteX74243" y="connsiteY74243"/>
              </a:cxn>
              <a:cxn ang="0">
                <a:pos x="connsiteX74244" y="connsiteY74244"/>
              </a:cxn>
              <a:cxn ang="0">
                <a:pos x="connsiteX74245" y="connsiteY74245"/>
              </a:cxn>
              <a:cxn ang="0">
                <a:pos x="connsiteX74246" y="connsiteY74246"/>
              </a:cxn>
              <a:cxn ang="0">
                <a:pos x="connsiteX74247" y="connsiteY74247"/>
              </a:cxn>
              <a:cxn ang="0">
                <a:pos x="connsiteX74248" y="connsiteY74248"/>
              </a:cxn>
              <a:cxn ang="0">
                <a:pos x="connsiteX74249" y="connsiteY74249"/>
              </a:cxn>
              <a:cxn ang="0">
                <a:pos x="connsiteX74250" y="connsiteY74250"/>
              </a:cxn>
              <a:cxn ang="0">
                <a:pos x="connsiteX74251" y="connsiteY74251"/>
              </a:cxn>
              <a:cxn ang="0">
                <a:pos x="connsiteX74252" y="connsiteY74252"/>
              </a:cxn>
              <a:cxn ang="0">
                <a:pos x="connsiteX74253" y="connsiteY74253"/>
              </a:cxn>
              <a:cxn ang="0">
                <a:pos x="connsiteX74254" y="connsiteY74254"/>
              </a:cxn>
              <a:cxn ang="0">
                <a:pos x="connsiteX74255" y="connsiteY74255"/>
              </a:cxn>
              <a:cxn ang="0">
                <a:pos x="connsiteX74256" y="connsiteY74256"/>
              </a:cxn>
              <a:cxn ang="0">
                <a:pos x="connsiteX74257" y="connsiteY74257"/>
              </a:cxn>
              <a:cxn ang="0">
                <a:pos x="connsiteX74258" y="connsiteY74258"/>
              </a:cxn>
              <a:cxn ang="0">
                <a:pos x="connsiteX74259" y="connsiteY74259"/>
              </a:cxn>
              <a:cxn ang="0">
                <a:pos x="connsiteX74260" y="connsiteY74260"/>
              </a:cxn>
              <a:cxn ang="0">
                <a:pos x="connsiteX74261" y="connsiteY74261"/>
              </a:cxn>
              <a:cxn ang="0">
                <a:pos x="connsiteX74262" y="connsiteY74262"/>
              </a:cxn>
              <a:cxn ang="0">
                <a:pos x="connsiteX74263" y="connsiteY74263"/>
              </a:cxn>
              <a:cxn ang="0">
                <a:pos x="connsiteX74264" y="connsiteY74264"/>
              </a:cxn>
              <a:cxn ang="0">
                <a:pos x="connsiteX74265" y="connsiteY74265"/>
              </a:cxn>
              <a:cxn ang="0">
                <a:pos x="connsiteX74266" y="connsiteY74266"/>
              </a:cxn>
              <a:cxn ang="0">
                <a:pos x="connsiteX74267" y="connsiteY74267"/>
              </a:cxn>
              <a:cxn ang="0">
                <a:pos x="connsiteX74268" y="connsiteY74268"/>
              </a:cxn>
              <a:cxn ang="0">
                <a:pos x="connsiteX74269" y="connsiteY74269"/>
              </a:cxn>
              <a:cxn ang="0">
                <a:pos x="connsiteX74270" y="connsiteY74270"/>
              </a:cxn>
              <a:cxn ang="0">
                <a:pos x="connsiteX74271" y="connsiteY74271"/>
              </a:cxn>
              <a:cxn ang="0">
                <a:pos x="connsiteX74272" y="connsiteY74272"/>
              </a:cxn>
              <a:cxn ang="0">
                <a:pos x="connsiteX74273" y="connsiteY74273"/>
              </a:cxn>
              <a:cxn ang="0">
                <a:pos x="connsiteX74274" y="connsiteY74274"/>
              </a:cxn>
              <a:cxn ang="0">
                <a:pos x="connsiteX74275" y="connsiteY74275"/>
              </a:cxn>
              <a:cxn ang="0">
                <a:pos x="connsiteX74276" y="connsiteY74276"/>
              </a:cxn>
              <a:cxn ang="0">
                <a:pos x="connsiteX74277" y="connsiteY74277"/>
              </a:cxn>
              <a:cxn ang="0">
                <a:pos x="connsiteX74278" y="connsiteY74278"/>
              </a:cxn>
              <a:cxn ang="0">
                <a:pos x="connsiteX74279" y="connsiteY74279"/>
              </a:cxn>
              <a:cxn ang="0">
                <a:pos x="connsiteX74280" y="connsiteY74280"/>
              </a:cxn>
              <a:cxn ang="0">
                <a:pos x="connsiteX74281" y="connsiteY74281"/>
              </a:cxn>
              <a:cxn ang="0">
                <a:pos x="connsiteX74282" y="connsiteY74282"/>
              </a:cxn>
              <a:cxn ang="0">
                <a:pos x="connsiteX74283" y="connsiteY74283"/>
              </a:cxn>
              <a:cxn ang="0">
                <a:pos x="connsiteX74284" y="connsiteY74284"/>
              </a:cxn>
              <a:cxn ang="0">
                <a:pos x="connsiteX74285" y="connsiteY74285"/>
              </a:cxn>
              <a:cxn ang="0">
                <a:pos x="connsiteX74286" y="connsiteY74286"/>
              </a:cxn>
              <a:cxn ang="0">
                <a:pos x="connsiteX74287" y="connsiteY74287"/>
              </a:cxn>
              <a:cxn ang="0">
                <a:pos x="connsiteX74288" y="connsiteY74288"/>
              </a:cxn>
              <a:cxn ang="0">
                <a:pos x="connsiteX74289" y="connsiteY74289"/>
              </a:cxn>
              <a:cxn ang="0">
                <a:pos x="connsiteX74290" y="connsiteY74290"/>
              </a:cxn>
              <a:cxn ang="0">
                <a:pos x="connsiteX74291" y="connsiteY74291"/>
              </a:cxn>
              <a:cxn ang="0">
                <a:pos x="connsiteX74292" y="connsiteY74292"/>
              </a:cxn>
              <a:cxn ang="0">
                <a:pos x="connsiteX74293" y="connsiteY74293"/>
              </a:cxn>
              <a:cxn ang="0">
                <a:pos x="connsiteX74294" y="connsiteY74294"/>
              </a:cxn>
              <a:cxn ang="0">
                <a:pos x="connsiteX74295" y="connsiteY74295"/>
              </a:cxn>
              <a:cxn ang="0">
                <a:pos x="connsiteX74296" y="connsiteY74296"/>
              </a:cxn>
              <a:cxn ang="0">
                <a:pos x="connsiteX74297" y="connsiteY74297"/>
              </a:cxn>
              <a:cxn ang="0">
                <a:pos x="connsiteX74298" y="connsiteY74298"/>
              </a:cxn>
              <a:cxn ang="0">
                <a:pos x="connsiteX74299" y="connsiteY74299"/>
              </a:cxn>
              <a:cxn ang="0">
                <a:pos x="connsiteX74300" y="connsiteY74300"/>
              </a:cxn>
              <a:cxn ang="0">
                <a:pos x="connsiteX74301" y="connsiteY74301"/>
              </a:cxn>
              <a:cxn ang="0">
                <a:pos x="connsiteX74302" y="connsiteY74302"/>
              </a:cxn>
              <a:cxn ang="0">
                <a:pos x="connsiteX74303" y="connsiteY74303"/>
              </a:cxn>
              <a:cxn ang="0">
                <a:pos x="connsiteX74304" y="connsiteY74304"/>
              </a:cxn>
              <a:cxn ang="0">
                <a:pos x="connsiteX74305" y="connsiteY74305"/>
              </a:cxn>
              <a:cxn ang="0">
                <a:pos x="connsiteX74306" y="connsiteY74306"/>
              </a:cxn>
              <a:cxn ang="0">
                <a:pos x="connsiteX74307" y="connsiteY74307"/>
              </a:cxn>
              <a:cxn ang="0">
                <a:pos x="connsiteX74308" y="connsiteY74308"/>
              </a:cxn>
              <a:cxn ang="0">
                <a:pos x="connsiteX74309" y="connsiteY74309"/>
              </a:cxn>
              <a:cxn ang="0">
                <a:pos x="connsiteX74310" y="connsiteY74310"/>
              </a:cxn>
              <a:cxn ang="0">
                <a:pos x="connsiteX74311" y="connsiteY74311"/>
              </a:cxn>
              <a:cxn ang="0">
                <a:pos x="connsiteX74312" y="connsiteY74312"/>
              </a:cxn>
              <a:cxn ang="0">
                <a:pos x="connsiteX74313" y="connsiteY74313"/>
              </a:cxn>
              <a:cxn ang="0">
                <a:pos x="connsiteX74314" y="connsiteY74314"/>
              </a:cxn>
              <a:cxn ang="0">
                <a:pos x="connsiteX74315" y="connsiteY74315"/>
              </a:cxn>
              <a:cxn ang="0">
                <a:pos x="connsiteX74316" y="connsiteY74316"/>
              </a:cxn>
              <a:cxn ang="0">
                <a:pos x="connsiteX74317" y="connsiteY74317"/>
              </a:cxn>
              <a:cxn ang="0">
                <a:pos x="connsiteX74318" y="connsiteY74318"/>
              </a:cxn>
              <a:cxn ang="0">
                <a:pos x="connsiteX74319" y="connsiteY74319"/>
              </a:cxn>
              <a:cxn ang="0">
                <a:pos x="connsiteX74320" y="connsiteY74320"/>
              </a:cxn>
              <a:cxn ang="0">
                <a:pos x="connsiteX74321" y="connsiteY74321"/>
              </a:cxn>
              <a:cxn ang="0">
                <a:pos x="connsiteX74322" y="connsiteY74322"/>
              </a:cxn>
              <a:cxn ang="0">
                <a:pos x="connsiteX74323" y="connsiteY74323"/>
              </a:cxn>
              <a:cxn ang="0">
                <a:pos x="connsiteX74324" y="connsiteY74324"/>
              </a:cxn>
              <a:cxn ang="0">
                <a:pos x="connsiteX74325" y="connsiteY74325"/>
              </a:cxn>
              <a:cxn ang="0">
                <a:pos x="connsiteX74326" y="connsiteY74326"/>
              </a:cxn>
              <a:cxn ang="0">
                <a:pos x="connsiteX74327" y="connsiteY74327"/>
              </a:cxn>
              <a:cxn ang="0">
                <a:pos x="connsiteX74328" y="connsiteY74328"/>
              </a:cxn>
              <a:cxn ang="0">
                <a:pos x="connsiteX74329" y="connsiteY74329"/>
              </a:cxn>
              <a:cxn ang="0">
                <a:pos x="connsiteX74330" y="connsiteY74330"/>
              </a:cxn>
              <a:cxn ang="0">
                <a:pos x="connsiteX74331" y="connsiteY74331"/>
              </a:cxn>
              <a:cxn ang="0">
                <a:pos x="connsiteX74332" y="connsiteY74332"/>
              </a:cxn>
              <a:cxn ang="0">
                <a:pos x="connsiteX74333" y="connsiteY74333"/>
              </a:cxn>
              <a:cxn ang="0">
                <a:pos x="connsiteX74334" y="connsiteY74334"/>
              </a:cxn>
              <a:cxn ang="0">
                <a:pos x="connsiteX74335" y="connsiteY74335"/>
              </a:cxn>
              <a:cxn ang="0">
                <a:pos x="connsiteX74336" y="connsiteY74336"/>
              </a:cxn>
              <a:cxn ang="0">
                <a:pos x="connsiteX74337" y="connsiteY74337"/>
              </a:cxn>
              <a:cxn ang="0">
                <a:pos x="connsiteX74338" y="connsiteY74338"/>
              </a:cxn>
              <a:cxn ang="0">
                <a:pos x="connsiteX74339" y="connsiteY74339"/>
              </a:cxn>
              <a:cxn ang="0">
                <a:pos x="connsiteX74340" y="connsiteY74340"/>
              </a:cxn>
              <a:cxn ang="0">
                <a:pos x="connsiteX74341" y="connsiteY74341"/>
              </a:cxn>
              <a:cxn ang="0">
                <a:pos x="connsiteX74342" y="connsiteY74342"/>
              </a:cxn>
              <a:cxn ang="0">
                <a:pos x="connsiteX74343" y="connsiteY74343"/>
              </a:cxn>
              <a:cxn ang="0">
                <a:pos x="connsiteX74344" y="connsiteY74344"/>
              </a:cxn>
              <a:cxn ang="0">
                <a:pos x="connsiteX74345" y="connsiteY74345"/>
              </a:cxn>
              <a:cxn ang="0">
                <a:pos x="connsiteX74346" y="connsiteY74346"/>
              </a:cxn>
              <a:cxn ang="0">
                <a:pos x="connsiteX74347" y="connsiteY74347"/>
              </a:cxn>
              <a:cxn ang="0">
                <a:pos x="connsiteX74348" y="connsiteY74348"/>
              </a:cxn>
              <a:cxn ang="0">
                <a:pos x="connsiteX74349" y="connsiteY74349"/>
              </a:cxn>
              <a:cxn ang="0">
                <a:pos x="connsiteX74350" y="connsiteY74350"/>
              </a:cxn>
              <a:cxn ang="0">
                <a:pos x="connsiteX74351" y="connsiteY74351"/>
              </a:cxn>
              <a:cxn ang="0">
                <a:pos x="connsiteX74352" y="connsiteY74352"/>
              </a:cxn>
              <a:cxn ang="0">
                <a:pos x="connsiteX74353" y="connsiteY74353"/>
              </a:cxn>
              <a:cxn ang="0">
                <a:pos x="connsiteX74354" y="connsiteY74354"/>
              </a:cxn>
              <a:cxn ang="0">
                <a:pos x="connsiteX74355" y="connsiteY74355"/>
              </a:cxn>
              <a:cxn ang="0">
                <a:pos x="connsiteX74356" y="connsiteY74356"/>
              </a:cxn>
              <a:cxn ang="0">
                <a:pos x="connsiteX74357" y="connsiteY74357"/>
              </a:cxn>
              <a:cxn ang="0">
                <a:pos x="connsiteX74358" y="connsiteY74358"/>
              </a:cxn>
              <a:cxn ang="0">
                <a:pos x="connsiteX74359" y="connsiteY74359"/>
              </a:cxn>
              <a:cxn ang="0">
                <a:pos x="connsiteX74360" y="connsiteY74360"/>
              </a:cxn>
              <a:cxn ang="0">
                <a:pos x="connsiteX74361" y="connsiteY74361"/>
              </a:cxn>
              <a:cxn ang="0">
                <a:pos x="connsiteX74362" y="connsiteY74362"/>
              </a:cxn>
              <a:cxn ang="0">
                <a:pos x="connsiteX74363" y="connsiteY74363"/>
              </a:cxn>
              <a:cxn ang="0">
                <a:pos x="connsiteX74364" y="connsiteY74364"/>
              </a:cxn>
              <a:cxn ang="0">
                <a:pos x="connsiteX74365" y="connsiteY74365"/>
              </a:cxn>
              <a:cxn ang="0">
                <a:pos x="connsiteX74366" y="connsiteY74366"/>
              </a:cxn>
              <a:cxn ang="0">
                <a:pos x="connsiteX74367" y="connsiteY74367"/>
              </a:cxn>
              <a:cxn ang="0">
                <a:pos x="connsiteX74368" y="connsiteY74368"/>
              </a:cxn>
              <a:cxn ang="0">
                <a:pos x="connsiteX74369" y="connsiteY74369"/>
              </a:cxn>
              <a:cxn ang="0">
                <a:pos x="connsiteX74370" y="connsiteY74370"/>
              </a:cxn>
              <a:cxn ang="0">
                <a:pos x="connsiteX74371" y="connsiteY74371"/>
              </a:cxn>
              <a:cxn ang="0">
                <a:pos x="connsiteX74372" y="connsiteY74372"/>
              </a:cxn>
              <a:cxn ang="0">
                <a:pos x="connsiteX74373" y="connsiteY74373"/>
              </a:cxn>
              <a:cxn ang="0">
                <a:pos x="connsiteX74374" y="connsiteY74374"/>
              </a:cxn>
              <a:cxn ang="0">
                <a:pos x="connsiteX74375" y="connsiteY74375"/>
              </a:cxn>
              <a:cxn ang="0">
                <a:pos x="connsiteX74376" y="connsiteY74376"/>
              </a:cxn>
              <a:cxn ang="0">
                <a:pos x="connsiteX74377" y="connsiteY74377"/>
              </a:cxn>
              <a:cxn ang="0">
                <a:pos x="connsiteX74378" y="connsiteY74378"/>
              </a:cxn>
              <a:cxn ang="0">
                <a:pos x="connsiteX74379" y="connsiteY74379"/>
              </a:cxn>
              <a:cxn ang="0">
                <a:pos x="connsiteX74380" y="connsiteY74380"/>
              </a:cxn>
              <a:cxn ang="0">
                <a:pos x="connsiteX74381" y="connsiteY74381"/>
              </a:cxn>
              <a:cxn ang="0">
                <a:pos x="connsiteX74382" y="connsiteY74382"/>
              </a:cxn>
              <a:cxn ang="0">
                <a:pos x="connsiteX74383" y="connsiteY74383"/>
              </a:cxn>
              <a:cxn ang="0">
                <a:pos x="connsiteX74384" y="connsiteY74384"/>
              </a:cxn>
              <a:cxn ang="0">
                <a:pos x="connsiteX74385" y="connsiteY74385"/>
              </a:cxn>
              <a:cxn ang="0">
                <a:pos x="connsiteX74386" y="connsiteY74386"/>
              </a:cxn>
              <a:cxn ang="0">
                <a:pos x="connsiteX74387" y="connsiteY74387"/>
              </a:cxn>
              <a:cxn ang="0">
                <a:pos x="connsiteX74388" y="connsiteY74388"/>
              </a:cxn>
              <a:cxn ang="0">
                <a:pos x="connsiteX74389" y="connsiteY74389"/>
              </a:cxn>
              <a:cxn ang="0">
                <a:pos x="connsiteX74390" y="connsiteY74390"/>
              </a:cxn>
              <a:cxn ang="0">
                <a:pos x="connsiteX74391" y="connsiteY74391"/>
              </a:cxn>
              <a:cxn ang="0">
                <a:pos x="connsiteX74392" y="connsiteY74392"/>
              </a:cxn>
              <a:cxn ang="0">
                <a:pos x="connsiteX74393" y="connsiteY74393"/>
              </a:cxn>
              <a:cxn ang="0">
                <a:pos x="connsiteX74394" y="connsiteY74394"/>
              </a:cxn>
              <a:cxn ang="0">
                <a:pos x="connsiteX74395" y="connsiteY74395"/>
              </a:cxn>
              <a:cxn ang="0">
                <a:pos x="connsiteX74396" y="connsiteY74396"/>
              </a:cxn>
              <a:cxn ang="0">
                <a:pos x="connsiteX74397" y="connsiteY74397"/>
              </a:cxn>
              <a:cxn ang="0">
                <a:pos x="connsiteX74398" y="connsiteY74398"/>
              </a:cxn>
              <a:cxn ang="0">
                <a:pos x="connsiteX74399" y="connsiteY74399"/>
              </a:cxn>
              <a:cxn ang="0">
                <a:pos x="connsiteX74400" y="connsiteY74400"/>
              </a:cxn>
              <a:cxn ang="0">
                <a:pos x="connsiteX74401" y="connsiteY74401"/>
              </a:cxn>
              <a:cxn ang="0">
                <a:pos x="connsiteX74402" y="connsiteY74402"/>
              </a:cxn>
              <a:cxn ang="0">
                <a:pos x="connsiteX74403" y="connsiteY74403"/>
              </a:cxn>
              <a:cxn ang="0">
                <a:pos x="connsiteX74404" y="connsiteY74404"/>
              </a:cxn>
              <a:cxn ang="0">
                <a:pos x="connsiteX74405" y="connsiteY74405"/>
              </a:cxn>
              <a:cxn ang="0">
                <a:pos x="connsiteX74406" y="connsiteY74406"/>
              </a:cxn>
              <a:cxn ang="0">
                <a:pos x="connsiteX74407" y="connsiteY74407"/>
              </a:cxn>
              <a:cxn ang="0">
                <a:pos x="connsiteX74408" y="connsiteY74408"/>
              </a:cxn>
              <a:cxn ang="0">
                <a:pos x="connsiteX74409" y="connsiteY74409"/>
              </a:cxn>
              <a:cxn ang="0">
                <a:pos x="connsiteX74410" y="connsiteY74410"/>
              </a:cxn>
              <a:cxn ang="0">
                <a:pos x="connsiteX74411" y="connsiteY74411"/>
              </a:cxn>
              <a:cxn ang="0">
                <a:pos x="connsiteX74412" y="connsiteY74412"/>
              </a:cxn>
              <a:cxn ang="0">
                <a:pos x="connsiteX74413" y="connsiteY74413"/>
              </a:cxn>
              <a:cxn ang="0">
                <a:pos x="connsiteX74414" y="connsiteY74414"/>
              </a:cxn>
              <a:cxn ang="0">
                <a:pos x="connsiteX74415" y="connsiteY74415"/>
              </a:cxn>
              <a:cxn ang="0">
                <a:pos x="connsiteX74416" y="connsiteY74416"/>
              </a:cxn>
              <a:cxn ang="0">
                <a:pos x="connsiteX74417" y="connsiteY74417"/>
              </a:cxn>
              <a:cxn ang="0">
                <a:pos x="connsiteX74418" y="connsiteY74418"/>
              </a:cxn>
              <a:cxn ang="0">
                <a:pos x="connsiteX74419" y="connsiteY74419"/>
              </a:cxn>
              <a:cxn ang="0">
                <a:pos x="connsiteX74420" y="connsiteY74420"/>
              </a:cxn>
              <a:cxn ang="0">
                <a:pos x="connsiteX74421" y="connsiteY74421"/>
              </a:cxn>
              <a:cxn ang="0">
                <a:pos x="connsiteX74422" y="connsiteY74422"/>
              </a:cxn>
              <a:cxn ang="0">
                <a:pos x="connsiteX74423" y="connsiteY74423"/>
              </a:cxn>
              <a:cxn ang="0">
                <a:pos x="connsiteX74424" y="connsiteY74424"/>
              </a:cxn>
              <a:cxn ang="0">
                <a:pos x="connsiteX74425" y="connsiteY74425"/>
              </a:cxn>
              <a:cxn ang="0">
                <a:pos x="connsiteX74426" y="connsiteY74426"/>
              </a:cxn>
              <a:cxn ang="0">
                <a:pos x="connsiteX74427" y="connsiteY74427"/>
              </a:cxn>
              <a:cxn ang="0">
                <a:pos x="connsiteX74428" y="connsiteY74428"/>
              </a:cxn>
              <a:cxn ang="0">
                <a:pos x="connsiteX74429" y="connsiteY74429"/>
              </a:cxn>
              <a:cxn ang="0">
                <a:pos x="connsiteX74430" y="connsiteY74430"/>
              </a:cxn>
              <a:cxn ang="0">
                <a:pos x="connsiteX74431" y="connsiteY74431"/>
              </a:cxn>
              <a:cxn ang="0">
                <a:pos x="connsiteX74432" y="connsiteY74432"/>
              </a:cxn>
              <a:cxn ang="0">
                <a:pos x="connsiteX74433" y="connsiteY74433"/>
              </a:cxn>
              <a:cxn ang="0">
                <a:pos x="connsiteX74434" y="connsiteY74434"/>
              </a:cxn>
              <a:cxn ang="0">
                <a:pos x="connsiteX74435" y="connsiteY74435"/>
              </a:cxn>
              <a:cxn ang="0">
                <a:pos x="connsiteX74436" y="connsiteY74436"/>
              </a:cxn>
              <a:cxn ang="0">
                <a:pos x="connsiteX74437" y="connsiteY74437"/>
              </a:cxn>
              <a:cxn ang="0">
                <a:pos x="connsiteX74438" y="connsiteY74438"/>
              </a:cxn>
              <a:cxn ang="0">
                <a:pos x="connsiteX74439" y="connsiteY74439"/>
              </a:cxn>
              <a:cxn ang="0">
                <a:pos x="connsiteX74440" y="connsiteY74440"/>
              </a:cxn>
              <a:cxn ang="0">
                <a:pos x="connsiteX74441" y="connsiteY74441"/>
              </a:cxn>
              <a:cxn ang="0">
                <a:pos x="connsiteX74442" y="connsiteY74442"/>
              </a:cxn>
              <a:cxn ang="0">
                <a:pos x="connsiteX74443" y="connsiteY74443"/>
              </a:cxn>
              <a:cxn ang="0">
                <a:pos x="connsiteX74444" y="connsiteY74444"/>
              </a:cxn>
              <a:cxn ang="0">
                <a:pos x="connsiteX74445" y="connsiteY74445"/>
              </a:cxn>
              <a:cxn ang="0">
                <a:pos x="connsiteX74446" y="connsiteY74446"/>
              </a:cxn>
              <a:cxn ang="0">
                <a:pos x="connsiteX74447" y="connsiteY74447"/>
              </a:cxn>
              <a:cxn ang="0">
                <a:pos x="connsiteX74448" y="connsiteY74448"/>
              </a:cxn>
              <a:cxn ang="0">
                <a:pos x="connsiteX74449" y="connsiteY74449"/>
              </a:cxn>
              <a:cxn ang="0">
                <a:pos x="connsiteX74450" y="connsiteY74450"/>
              </a:cxn>
              <a:cxn ang="0">
                <a:pos x="connsiteX74451" y="connsiteY74451"/>
              </a:cxn>
              <a:cxn ang="0">
                <a:pos x="connsiteX74452" y="connsiteY74452"/>
              </a:cxn>
              <a:cxn ang="0">
                <a:pos x="connsiteX74453" y="connsiteY74453"/>
              </a:cxn>
              <a:cxn ang="0">
                <a:pos x="connsiteX74454" y="connsiteY74454"/>
              </a:cxn>
              <a:cxn ang="0">
                <a:pos x="connsiteX74455" y="connsiteY74455"/>
              </a:cxn>
              <a:cxn ang="0">
                <a:pos x="connsiteX74456" y="connsiteY74456"/>
              </a:cxn>
              <a:cxn ang="0">
                <a:pos x="connsiteX74457" y="connsiteY74457"/>
              </a:cxn>
              <a:cxn ang="0">
                <a:pos x="connsiteX74458" y="connsiteY74458"/>
              </a:cxn>
              <a:cxn ang="0">
                <a:pos x="connsiteX74459" y="connsiteY74459"/>
              </a:cxn>
              <a:cxn ang="0">
                <a:pos x="connsiteX74460" y="connsiteY74460"/>
              </a:cxn>
              <a:cxn ang="0">
                <a:pos x="connsiteX74461" y="connsiteY74461"/>
              </a:cxn>
              <a:cxn ang="0">
                <a:pos x="connsiteX74462" y="connsiteY74462"/>
              </a:cxn>
              <a:cxn ang="0">
                <a:pos x="connsiteX74463" y="connsiteY74463"/>
              </a:cxn>
              <a:cxn ang="0">
                <a:pos x="connsiteX74464" y="connsiteY74464"/>
              </a:cxn>
              <a:cxn ang="0">
                <a:pos x="connsiteX74465" y="connsiteY74465"/>
              </a:cxn>
              <a:cxn ang="0">
                <a:pos x="connsiteX74466" y="connsiteY74466"/>
              </a:cxn>
              <a:cxn ang="0">
                <a:pos x="connsiteX74467" y="connsiteY74467"/>
              </a:cxn>
              <a:cxn ang="0">
                <a:pos x="connsiteX74468" y="connsiteY74468"/>
              </a:cxn>
              <a:cxn ang="0">
                <a:pos x="connsiteX74469" y="connsiteY74469"/>
              </a:cxn>
              <a:cxn ang="0">
                <a:pos x="connsiteX74470" y="connsiteY74470"/>
              </a:cxn>
              <a:cxn ang="0">
                <a:pos x="connsiteX74471" y="connsiteY74471"/>
              </a:cxn>
              <a:cxn ang="0">
                <a:pos x="connsiteX74472" y="connsiteY74472"/>
              </a:cxn>
              <a:cxn ang="0">
                <a:pos x="connsiteX74473" y="connsiteY74473"/>
              </a:cxn>
              <a:cxn ang="0">
                <a:pos x="connsiteX74474" y="connsiteY74474"/>
              </a:cxn>
              <a:cxn ang="0">
                <a:pos x="connsiteX74475" y="connsiteY74475"/>
              </a:cxn>
              <a:cxn ang="0">
                <a:pos x="connsiteX74476" y="connsiteY74476"/>
              </a:cxn>
              <a:cxn ang="0">
                <a:pos x="connsiteX74477" y="connsiteY74477"/>
              </a:cxn>
              <a:cxn ang="0">
                <a:pos x="connsiteX74478" y="connsiteY74478"/>
              </a:cxn>
              <a:cxn ang="0">
                <a:pos x="connsiteX74479" y="connsiteY74479"/>
              </a:cxn>
              <a:cxn ang="0">
                <a:pos x="connsiteX74480" y="connsiteY74480"/>
              </a:cxn>
              <a:cxn ang="0">
                <a:pos x="connsiteX74481" y="connsiteY74481"/>
              </a:cxn>
              <a:cxn ang="0">
                <a:pos x="connsiteX74482" y="connsiteY74482"/>
              </a:cxn>
              <a:cxn ang="0">
                <a:pos x="connsiteX74483" y="connsiteY74483"/>
              </a:cxn>
              <a:cxn ang="0">
                <a:pos x="connsiteX74484" y="connsiteY74484"/>
              </a:cxn>
              <a:cxn ang="0">
                <a:pos x="connsiteX74485" y="connsiteY74485"/>
              </a:cxn>
              <a:cxn ang="0">
                <a:pos x="connsiteX74486" y="connsiteY74486"/>
              </a:cxn>
              <a:cxn ang="0">
                <a:pos x="connsiteX74487" y="connsiteY74487"/>
              </a:cxn>
              <a:cxn ang="0">
                <a:pos x="connsiteX74488" y="connsiteY74488"/>
              </a:cxn>
              <a:cxn ang="0">
                <a:pos x="connsiteX74489" y="connsiteY74489"/>
              </a:cxn>
              <a:cxn ang="0">
                <a:pos x="connsiteX74490" y="connsiteY74490"/>
              </a:cxn>
              <a:cxn ang="0">
                <a:pos x="connsiteX74491" y="connsiteY74491"/>
              </a:cxn>
              <a:cxn ang="0">
                <a:pos x="connsiteX74492" y="connsiteY74492"/>
              </a:cxn>
              <a:cxn ang="0">
                <a:pos x="connsiteX74493" y="connsiteY74493"/>
              </a:cxn>
              <a:cxn ang="0">
                <a:pos x="connsiteX74494" y="connsiteY74494"/>
              </a:cxn>
              <a:cxn ang="0">
                <a:pos x="connsiteX74495" y="connsiteY74495"/>
              </a:cxn>
              <a:cxn ang="0">
                <a:pos x="connsiteX74496" y="connsiteY74496"/>
              </a:cxn>
              <a:cxn ang="0">
                <a:pos x="connsiteX74497" y="connsiteY74497"/>
              </a:cxn>
              <a:cxn ang="0">
                <a:pos x="connsiteX74498" y="connsiteY74498"/>
              </a:cxn>
              <a:cxn ang="0">
                <a:pos x="connsiteX74499" y="connsiteY74499"/>
              </a:cxn>
              <a:cxn ang="0">
                <a:pos x="connsiteX74500" y="connsiteY74500"/>
              </a:cxn>
              <a:cxn ang="0">
                <a:pos x="connsiteX74501" y="connsiteY74501"/>
              </a:cxn>
              <a:cxn ang="0">
                <a:pos x="connsiteX74502" y="connsiteY74502"/>
              </a:cxn>
              <a:cxn ang="0">
                <a:pos x="connsiteX74503" y="connsiteY74503"/>
              </a:cxn>
              <a:cxn ang="0">
                <a:pos x="connsiteX74504" y="connsiteY74504"/>
              </a:cxn>
              <a:cxn ang="0">
                <a:pos x="connsiteX74505" y="connsiteY74505"/>
              </a:cxn>
              <a:cxn ang="0">
                <a:pos x="connsiteX74506" y="connsiteY74506"/>
              </a:cxn>
              <a:cxn ang="0">
                <a:pos x="connsiteX74507" y="connsiteY74507"/>
              </a:cxn>
              <a:cxn ang="0">
                <a:pos x="connsiteX74508" y="connsiteY74508"/>
              </a:cxn>
              <a:cxn ang="0">
                <a:pos x="connsiteX74509" y="connsiteY74509"/>
              </a:cxn>
              <a:cxn ang="0">
                <a:pos x="connsiteX74510" y="connsiteY74510"/>
              </a:cxn>
              <a:cxn ang="0">
                <a:pos x="connsiteX74511" y="connsiteY74511"/>
              </a:cxn>
              <a:cxn ang="0">
                <a:pos x="connsiteX74512" y="connsiteY74512"/>
              </a:cxn>
              <a:cxn ang="0">
                <a:pos x="connsiteX74513" y="connsiteY74513"/>
              </a:cxn>
              <a:cxn ang="0">
                <a:pos x="connsiteX74514" y="connsiteY74514"/>
              </a:cxn>
              <a:cxn ang="0">
                <a:pos x="connsiteX74515" y="connsiteY74515"/>
              </a:cxn>
              <a:cxn ang="0">
                <a:pos x="connsiteX74516" y="connsiteY74516"/>
              </a:cxn>
              <a:cxn ang="0">
                <a:pos x="connsiteX74517" y="connsiteY74517"/>
              </a:cxn>
              <a:cxn ang="0">
                <a:pos x="connsiteX74518" y="connsiteY74518"/>
              </a:cxn>
              <a:cxn ang="0">
                <a:pos x="connsiteX74519" y="connsiteY74519"/>
              </a:cxn>
              <a:cxn ang="0">
                <a:pos x="connsiteX74520" y="connsiteY74520"/>
              </a:cxn>
              <a:cxn ang="0">
                <a:pos x="connsiteX74521" y="connsiteY74521"/>
              </a:cxn>
              <a:cxn ang="0">
                <a:pos x="connsiteX74522" y="connsiteY74522"/>
              </a:cxn>
              <a:cxn ang="0">
                <a:pos x="connsiteX74523" y="connsiteY74523"/>
              </a:cxn>
              <a:cxn ang="0">
                <a:pos x="connsiteX74524" y="connsiteY74524"/>
              </a:cxn>
              <a:cxn ang="0">
                <a:pos x="connsiteX74525" y="connsiteY74525"/>
              </a:cxn>
              <a:cxn ang="0">
                <a:pos x="connsiteX74526" y="connsiteY74526"/>
              </a:cxn>
              <a:cxn ang="0">
                <a:pos x="connsiteX74527" y="connsiteY74527"/>
              </a:cxn>
              <a:cxn ang="0">
                <a:pos x="connsiteX74528" y="connsiteY74528"/>
              </a:cxn>
              <a:cxn ang="0">
                <a:pos x="connsiteX74529" y="connsiteY74529"/>
              </a:cxn>
              <a:cxn ang="0">
                <a:pos x="connsiteX74530" y="connsiteY74530"/>
              </a:cxn>
              <a:cxn ang="0">
                <a:pos x="connsiteX74531" y="connsiteY74531"/>
              </a:cxn>
              <a:cxn ang="0">
                <a:pos x="connsiteX74532" y="connsiteY74532"/>
              </a:cxn>
              <a:cxn ang="0">
                <a:pos x="connsiteX74533" y="connsiteY74533"/>
              </a:cxn>
              <a:cxn ang="0">
                <a:pos x="connsiteX74534" y="connsiteY74534"/>
              </a:cxn>
              <a:cxn ang="0">
                <a:pos x="connsiteX74535" y="connsiteY74535"/>
              </a:cxn>
              <a:cxn ang="0">
                <a:pos x="connsiteX74536" y="connsiteY74536"/>
              </a:cxn>
              <a:cxn ang="0">
                <a:pos x="connsiteX74537" y="connsiteY74537"/>
              </a:cxn>
              <a:cxn ang="0">
                <a:pos x="connsiteX74538" y="connsiteY74538"/>
              </a:cxn>
              <a:cxn ang="0">
                <a:pos x="connsiteX74539" y="connsiteY74539"/>
              </a:cxn>
              <a:cxn ang="0">
                <a:pos x="connsiteX74540" y="connsiteY74540"/>
              </a:cxn>
              <a:cxn ang="0">
                <a:pos x="connsiteX74541" y="connsiteY74541"/>
              </a:cxn>
              <a:cxn ang="0">
                <a:pos x="connsiteX74542" y="connsiteY74542"/>
              </a:cxn>
              <a:cxn ang="0">
                <a:pos x="connsiteX74543" y="connsiteY74543"/>
              </a:cxn>
              <a:cxn ang="0">
                <a:pos x="connsiteX74544" y="connsiteY74544"/>
              </a:cxn>
              <a:cxn ang="0">
                <a:pos x="connsiteX74545" y="connsiteY74545"/>
              </a:cxn>
              <a:cxn ang="0">
                <a:pos x="connsiteX74546" y="connsiteY74546"/>
              </a:cxn>
              <a:cxn ang="0">
                <a:pos x="connsiteX74547" y="connsiteY74547"/>
              </a:cxn>
              <a:cxn ang="0">
                <a:pos x="connsiteX74548" y="connsiteY74548"/>
              </a:cxn>
              <a:cxn ang="0">
                <a:pos x="connsiteX74549" y="connsiteY74549"/>
              </a:cxn>
              <a:cxn ang="0">
                <a:pos x="connsiteX74550" y="connsiteY74550"/>
              </a:cxn>
              <a:cxn ang="0">
                <a:pos x="connsiteX74551" y="connsiteY74551"/>
              </a:cxn>
              <a:cxn ang="0">
                <a:pos x="connsiteX74552" y="connsiteY74552"/>
              </a:cxn>
              <a:cxn ang="0">
                <a:pos x="connsiteX74553" y="connsiteY74553"/>
              </a:cxn>
              <a:cxn ang="0">
                <a:pos x="connsiteX74554" y="connsiteY74554"/>
              </a:cxn>
              <a:cxn ang="0">
                <a:pos x="connsiteX74555" y="connsiteY74555"/>
              </a:cxn>
              <a:cxn ang="0">
                <a:pos x="connsiteX74556" y="connsiteY74556"/>
              </a:cxn>
              <a:cxn ang="0">
                <a:pos x="connsiteX74557" y="connsiteY74557"/>
              </a:cxn>
              <a:cxn ang="0">
                <a:pos x="connsiteX74558" y="connsiteY74558"/>
              </a:cxn>
              <a:cxn ang="0">
                <a:pos x="connsiteX74559" y="connsiteY74559"/>
              </a:cxn>
              <a:cxn ang="0">
                <a:pos x="connsiteX74560" y="connsiteY74560"/>
              </a:cxn>
              <a:cxn ang="0">
                <a:pos x="connsiteX74561" y="connsiteY74561"/>
              </a:cxn>
              <a:cxn ang="0">
                <a:pos x="connsiteX74562" y="connsiteY74562"/>
              </a:cxn>
              <a:cxn ang="0">
                <a:pos x="connsiteX74563" y="connsiteY74563"/>
              </a:cxn>
              <a:cxn ang="0">
                <a:pos x="connsiteX74564" y="connsiteY74564"/>
              </a:cxn>
              <a:cxn ang="0">
                <a:pos x="connsiteX74565" y="connsiteY74565"/>
              </a:cxn>
              <a:cxn ang="0">
                <a:pos x="connsiteX74566" y="connsiteY74566"/>
              </a:cxn>
              <a:cxn ang="0">
                <a:pos x="connsiteX74567" y="connsiteY74567"/>
              </a:cxn>
              <a:cxn ang="0">
                <a:pos x="connsiteX74568" y="connsiteY74568"/>
              </a:cxn>
              <a:cxn ang="0">
                <a:pos x="connsiteX74569" y="connsiteY74569"/>
              </a:cxn>
              <a:cxn ang="0">
                <a:pos x="connsiteX74570" y="connsiteY74570"/>
              </a:cxn>
              <a:cxn ang="0">
                <a:pos x="connsiteX74571" y="connsiteY74571"/>
              </a:cxn>
              <a:cxn ang="0">
                <a:pos x="connsiteX74572" y="connsiteY74572"/>
              </a:cxn>
              <a:cxn ang="0">
                <a:pos x="connsiteX74573" y="connsiteY74573"/>
              </a:cxn>
              <a:cxn ang="0">
                <a:pos x="connsiteX74574" y="connsiteY74574"/>
              </a:cxn>
              <a:cxn ang="0">
                <a:pos x="connsiteX74575" y="connsiteY74575"/>
              </a:cxn>
              <a:cxn ang="0">
                <a:pos x="connsiteX74576" y="connsiteY74576"/>
              </a:cxn>
              <a:cxn ang="0">
                <a:pos x="connsiteX74577" y="connsiteY74577"/>
              </a:cxn>
              <a:cxn ang="0">
                <a:pos x="connsiteX74578" y="connsiteY74578"/>
              </a:cxn>
              <a:cxn ang="0">
                <a:pos x="connsiteX74579" y="connsiteY74579"/>
              </a:cxn>
              <a:cxn ang="0">
                <a:pos x="connsiteX74580" y="connsiteY74580"/>
              </a:cxn>
              <a:cxn ang="0">
                <a:pos x="connsiteX74581" y="connsiteY74581"/>
              </a:cxn>
              <a:cxn ang="0">
                <a:pos x="connsiteX74582" y="connsiteY74582"/>
              </a:cxn>
              <a:cxn ang="0">
                <a:pos x="connsiteX74583" y="connsiteY74583"/>
              </a:cxn>
              <a:cxn ang="0">
                <a:pos x="connsiteX74584" y="connsiteY74584"/>
              </a:cxn>
              <a:cxn ang="0">
                <a:pos x="connsiteX74585" y="connsiteY74585"/>
              </a:cxn>
              <a:cxn ang="0">
                <a:pos x="connsiteX74586" y="connsiteY74586"/>
              </a:cxn>
              <a:cxn ang="0">
                <a:pos x="connsiteX74587" y="connsiteY74587"/>
              </a:cxn>
              <a:cxn ang="0">
                <a:pos x="connsiteX74588" y="connsiteY74588"/>
              </a:cxn>
              <a:cxn ang="0">
                <a:pos x="connsiteX74589" y="connsiteY74589"/>
              </a:cxn>
              <a:cxn ang="0">
                <a:pos x="connsiteX74590" y="connsiteY74590"/>
              </a:cxn>
              <a:cxn ang="0">
                <a:pos x="connsiteX74591" y="connsiteY74591"/>
              </a:cxn>
              <a:cxn ang="0">
                <a:pos x="connsiteX74592" y="connsiteY74592"/>
              </a:cxn>
              <a:cxn ang="0">
                <a:pos x="connsiteX74593" y="connsiteY74593"/>
              </a:cxn>
              <a:cxn ang="0">
                <a:pos x="connsiteX74594" y="connsiteY74594"/>
              </a:cxn>
              <a:cxn ang="0">
                <a:pos x="connsiteX74595" y="connsiteY74595"/>
              </a:cxn>
              <a:cxn ang="0">
                <a:pos x="connsiteX74596" y="connsiteY74596"/>
              </a:cxn>
              <a:cxn ang="0">
                <a:pos x="connsiteX74597" y="connsiteY74597"/>
              </a:cxn>
              <a:cxn ang="0">
                <a:pos x="connsiteX74598" y="connsiteY74598"/>
              </a:cxn>
              <a:cxn ang="0">
                <a:pos x="connsiteX74599" y="connsiteY74599"/>
              </a:cxn>
              <a:cxn ang="0">
                <a:pos x="connsiteX74600" y="connsiteY74600"/>
              </a:cxn>
              <a:cxn ang="0">
                <a:pos x="connsiteX74601" y="connsiteY74601"/>
              </a:cxn>
              <a:cxn ang="0">
                <a:pos x="connsiteX74602" y="connsiteY74602"/>
              </a:cxn>
              <a:cxn ang="0">
                <a:pos x="connsiteX74603" y="connsiteY74603"/>
              </a:cxn>
              <a:cxn ang="0">
                <a:pos x="connsiteX74604" y="connsiteY74604"/>
              </a:cxn>
              <a:cxn ang="0">
                <a:pos x="connsiteX74605" y="connsiteY74605"/>
              </a:cxn>
              <a:cxn ang="0">
                <a:pos x="connsiteX74606" y="connsiteY74606"/>
              </a:cxn>
              <a:cxn ang="0">
                <a:pos x="connsiteX74607" y="connsiteY74607"/>
              </a:cxn>
              <a:cxn ang="0">
                <a:pos x="connsiteX74608" y="connsiteY74608"/>
              </a:cxn>
              <a:cxn ang="0">
                <a:pos x="connsiteX74609" y="connsiteY74609"/>
              </a:cxn>
              <a:cxn ang="0">
                <a:pos x="connsiteX74610" y="connsiteY74610"/>
              </a:cxn>
              <a:cxn ang="0">
                <a:pos x="connsiteX74611" y="connsiteY74611"/>
              </a:cxn>
              <a:cxn ang="0">
                <a:pos x="connsiteX74612" y="connsiteY74612"/>
              </a:cxn>
              <a:cxn ang="0">
                <a:pos x="connsiteX74613" y="connsiteY74613"/>
              </a:cxn>
              <a:cxn ang="0">
                <a:pos x="connsiteX74614" y="connsiteY74614"/>
              </a:cxn>
              <a:cxn ang="0">
                <a:pos x="connsiteX74615" y="connsiteY74615"/>
              </a:cxn>
              <a:cxn ang="0">
                <a:pos x="connsiteX74616" y="connsiteY74616"/>
              </a:cxn>
              <a:cxn ang="0">
                <a:pos x="connsiteX74617" y="connsiteY74617"/>
              </a:cxn>
              <a:cxn ang="0">
                <a:pos x="connsiteX74618" y="connsiteY74618"/>
              </a:cxn>
              <a:cxn ang="0">
                <a:pos x="connsiteX74619" y="connsiteY74619"/>
              </a:cxn>
              <a:cxn ang="0">
                <a:pos x="connsiteX74620" y="connsiteY74620"/>
              </a:cxn>
              <a:cxn ang="0">
                <a:pos x="connsiteX74621" y="connsiteY74621"/>
              </a:cxn>
              <a:cxn ang="0">
                <a:pos x="connsiteX74622" y="connsiteY74622"/>
              </a:cxn>
              <a:cxn ang="0">
                <a:pos x="connsiteX74623" y="connsiteY74623"/>
              </a:cxn>
              <a:cxn ang="0">
                <a:pos x="connsiteX74624" y="connsiteY74624"/>
              </a:cxn>
              <a:cxn ang="0">
                <a:pos x="connsiteX74625" y="connsiteY74625"/>
              </a:cxn>
              <a:cxn ang="0">
                <a:pos x="connsiteX74626" y="connsiteY74626"/>
              </a:cxn>
              <a:cxn ang="0">
                <a:pos x="connsiteX74627" y="connsiteY74627"/>
              </a:cxn>
              <a:cxn ang="0">
                <a:pos x="connsiteX74628" y="connsiteY74628"/>
              </a:cxn>
              <a:cxn ang="0">
                <a:pos x="connsiteX74629" y="connsiteY74629"/>
              </a:cxn>
              <a:cxn ang="0">
                <a:pos x="connsiteX74630" y="connsiteY74630"/>
              </a:cxn>
              <a:cxn ang="0">
                <a:pos x="connsiteX74631" y="connsiteY74631"/>
              </a:cxn>
              <a:cxn ang="0">
                <a:pos x="connsiteX74632" y="connsiteY74632"/>
              </a:cxn>
              <a:cxn ang="0">
                <a:pos x="connsiteX74633" y="connsiteY74633"/>
              </a:cxn>
              <a:cxn ang="0">
                <a:pos x="connsiteX74634" y="connsiteY74634"/>
              </a:cxn>
              <a:cxn ang="0">
                <a:pos x="connsiteX74635" y="connsiteY74635"/>
              </a:cxn>
              <a:cxn ang="0">
                <a:pos x="connsiteX74636" y="connsiteY74636"/>
              </a:cxn>
              <a:cxn ang="0">
                <a:pos x="connsiteX74637" y="connsiteY74637"/>
              </a:cxn>
              <a:cxn ang="0">
                <a:pos x="connsiteX74638" y="connsiteY74638"/>
              </a:cxn>
              <a:cxn ang="0">
                <a:pos x="connsiteX74639" y="connsiteY74639"/>
              </a:cxn>
              <a:cxn ang="0">
                <a:pos x="connsiteX74640" y="connsiteY74640"/>
              </a:cxn>
              <a:cxn ang="0">
                <a:pos x="connsiteX74641" y="connsiteY74641"/>
              </a:cxn>
              <a:cxn ang="0">
                <a:pos x="connsiteX74642" y="connsiteY74642"/>
              </a:cxn>
              <a:cxn ang="0">
                <a:pos x="connsiteX74643" y="connsiteY74643"/>
              </a:cxn>
              <a:cxn ang="0">
                <a:pos x="connsiteX74644" y="connsiteY74644"/>
              </a:cxn>
              <a:cxn ang="0">
                <a:pos x="connsiteX74645" y="connsiteY74645"/>
              </a:cxn>
              <a:cxn ang="0">
                <a:pos x="connsiteX74646" y="connsiteY74646"/>
              </a:cxn>
              <a:cxn ang="0">
                <a:pos x="connsiteX74647" y="connsiteY74647"/>
              </a:cxn>
              <a:cxn ang="0">
                <a:pos x="connsiteX74648" y="connsiteY74648"/>
              </a:cxn>
              <a:cxn ang="0">
                <a:pos x="connsiteX74649" y="connsiteY74649"/>
              </a:cxn>
              <a:cxn ang="0">
                <a:pos x="connsiteX74650" y="connsiteY74650"/>
              </a:cxn>
              <a:cxn ang="0">
                <a:pos x="connsiteX74651" y="connsiteY74651"/>
              </a:cxn>
              <a:cxn ang="0">
                <a:pos x="connsiteX74652" y="connsiteY74652"/>
              </a:cxn>
              <a:cxn ang="0">
                <a:pos x="connsiteX74653" y="connsiteY74653"/>
              </a:cxn>
              <a:cxn ang="0">
                <a:pos x="connsiteX74654" y="connsiteY74654"/>
              </a:cxn>
              <a:cxn ang="0">
                <a:pos x="connsiteX74655" y="connsiteY74655"/>
              </a:cxn>
              <a:cxn ang="0">
                <a:pos x="connsiteX74656" y="connsiteY74656"/>
              </a:cxn>
              <a:cxn ang="0">
                <a:pos x="connsiteX74657" y="connsiteY74657"/>
              </a:cxn>
              <a:cxn ang="0">
                <a:pos x="connsiteX74658" y="connsiteY74658"/>
              </a:cxn>
              <a:cxn ang="0">
                <a:pos x="connsiteX74659" y="connsiteY74659"/>
              </a:cxn>
              <a:cxn ang="0">
                <a:pos x="connsiteX74660" y="connsiteY74660"/>
              </a:cxn>
              <a:cxn ang="0">
                <a:pos x="connsiteX74661" y="connsiteY74661"/>
              </a:cxn>
              <a:cxn ang="0">
                <a:pos x="connsiteX74662" y="connsiteY74662"/>
              </a:cxn>
              <a:cxn ang="0">
                <a:pos x="connsiteX74663" y="connsiteY74663"/>
              </a:cxn>
              <a:cxn ang="0">
                <a:pos x="connsiteX74664" y="connsiteY74664"/>
              </a:cxn>
              <a:cxn ang="0">
                <a:pos x="connsiteX74665" y="connsiteY74665"/>
              </a:cxn>
              <a:cxn ang="0">
                <a:pos x="connsiteX74666" y="connsiteY74666"/>
              </a:cxn>
              <a:cxn ang="0">
                <a:pos x="connsiteX74667" y="connsiteY74667"/>
              </a:cxn>
              <a:cxn ang="0">
                <a:pos x="connsiteX74668" y="connsiteY74668"/>
              </a:cxn>
              <a:cxn ang="0">
                <a:pos x="connsiteX74669" y="connsiteY74669"/>
              </a:cxn>
              <a:cxn ang="0">
                <a:pos x="connsiteX74670" y="connsiteY74670"/>
              </a:cxn>
              <a:cxn ang="0">
                <a:pos x="connsiteX74671" y="connsiteY74671"/>
              </a:cxn>
              <a:cxn ang="0">
                <a:pos x="connsiteX74672" y="connsiteY74672"/>
              </a:cxn>
              <a:cxn ang="0">
                <a:pos x="connsiteX74673" y="connsiteY74673"/>
              </a:cxn>
              <a:cxn ang="0">
                <a:pos x="connsiteX74674" y="connsiteY74674"/>
              </a:cxn>
              <a:cxn ang="0">
                <a:pos x="connsiteX74675" y="connsiteY74675"/>
              </a:cxn>
              <a:cxn ang="0">
                <a:pos x="connsiteX74676" y="connsiteY74676"/>
              </a:cxn>
              <a:cxn ang="0">
                <a:pos x="connsiteX74677" y="connsiteY74677"/>
              </a:cxn>
              <a:cxn ang="0">
                <a:pos x="connsiteX74678" y="connsiteY74678"/>
              </a:cxn>
              <a:cxn ang="0">
                <a:pos x="connsiteX74679" y="connsiteY74679"/>
              </a:cxn>
              <a:cxn ang="0">
                <a:pos x="connsiteX74680" y="connsiteY74680"/>
              </a:cxn>
              <a:cxn ang="0">
                <a:pos x="connsiteX74681" y="connsiteY74681"/>
              </a:cxn>
              <a:cxn ang="0">
                <a:pos x="connsiteX74682" y="connsiteY74682"/>
              </a:cxn>
              <a:cxn ang="0">
                <a:pos x="connsiteX74683" y="connsiteY74683"/>
              </a:cxn>
              <a:cxn ang="0">
                <a:pos x="connsiteX74684" y="connsiteY74684"/>
              </a:cxn>
              <a:cxn ang="0">
                <a:pos x="connsiteX74685" y="connsiteY74685"/>
              </a:cxn>
              <a:cxn ang="0">
                <a:pos x="connsiteX74686" y="connsiteY74686"/>
              </a:cxn>
              <a:cxn ang="0">
                <a:pos x="connsiteX74687" y="connsiteY74687"/>
              </a:cxn>
              <a:cxn ang="0">
                <a:pos x="connsiteX74688" y="connsiteY74688"/>
              </a:cxn>
              <a:cxn ang="0">
                <a:pos x="connsiteX74689" y="connsiteY74689"/>
              </a:cxn>
              <a:cxn ang="0">
                <a:pos x="connsiteX74690" y="connsiteY74690"/>
              </a:cxn>
              <a:cxn ang="0">
                <a:pos x="connsiteX74691" y="connsiteY74691"/>
              </a:cxn>
              <a:cxn ang="0">
                <a:pos x="connsiteX74692" y="connsiteY74692"/>
              </a:cxn>
              <a:cxn ang="0">
                <a:pos x="connsiteX74693" y="connsiteY74693"/>
              </a:cxn>
              <a:cxn ang="0">
                <a:pos x="connsiteX74694" y="connsiteY74694"/>
              </a:cxn>
              <a:cxn ang="0">
                <a:pos x="connsiteX74695" y="connsiteY74695"/>
              </a:cxn>
              <a:cxn ang="0">
                <a:pos x="connsiteX74696" y="connsiteY74696"/>
              </a:cxn>
              <a:cxn ang="0">
                <a:pos x="connsiteX74697" y="connsiteY74697"/>
              </a:cxn>
              <a:cxn ang="0">
                <a:pos x="connsiteX74698" y="connsiteY74698"/>
              </a:cxn>
              <a:cxn ang="0">
                <a:pos x="connsiteX74699" y="connsiteY74699"/>
              </a:cxn>
              <a:cxn ang="0">
                <a:pos x="connsiteX74700" y="connsiteY74700"/>
              </a:cxn>
              <a:cxn ang="0">
                <a:pos x="connsiteX74701" y="connsiteY74701"/>
              </a:cxn>
              <a:cxn ang="0">
                <a:pos x="connsiteX74702" y="connsiteY74702"/>
              </a:cxn>
              <a:cxn ang="0">
                <a:pos x="connsiteX74703" y="connsiteY74703"/>
              </a:cxn>
              <a:cxn ang="0">
                <a:pos x="connsiteX74704" y="connsiteY74704"/>
              </a:cxn>
              <a:cxn ang="0">
                <a:pos x="connsiteX74705" y="connsiteY74705"/>
              </a:cxn>
              <a:cxn ang="0">
                <a:pos x="connsiteX74706" y="connsiteY74706"/>
              </a:cxn>
              <a:cxn ang="0">
                <a:pos x="connsiteX74707" y="connsiteY74707"/>
              </a:cxn>
              <a:cxn ang="0">
                <a:pos x="connsiteX74708" y="connsiteY74708"/>
              </a:cxn>
              <a:cxn ang="0">
                <a:pos x="connsiteX74709" y="connsiteY74709"/>
              </a:cxn>
              <a:cxn ang="0">
                <a:pos x="connsiteX74710" y="connsiteY74710"/>
              </a:cxn>
              <a:cxn ang="0">
                <a:pos x="connsiteX74711" y="connsiteY74711"/>
              </a:cxn>
              <a:cxn ang="0">
                <a:pos x="connsiteX74712" y="connsiteY74712"/>
              </a:cxn>
              <a:cxn ang="0">
                <a:pos x="connsiteX74713" y="connsiteY74713"/>
              </a:cxn>
              <a:cxn ang="0">
                <a:pos x="connsiteX74714" y="connsiteY74714"/>
              </a:cxn>
              <a:cxn ang="0">
                <a:pos x="connsiteX74715" y="connsiteY74715"/>
              </a:cxn>
              <a:cxn ang="0">
                <a:pos x="connsiteX74716" y="connsiteY74716"/>
              </a:cxn>
              <a:cxn ang="0">
                <a:pos x="connsiteX74717" y="connsiteY74717"/>
              </a:cxn>
              <a:cxn ang="0">
                <a:pos x="connsiteX74718" y="connsiteY74718"/>
              </a:cxn>
              <a:cxn ang="0">
                <a:pos x="connsiteX74719" y="connsiteY74719"/>
              </a:cxn>
              <a:cxn ang="0">
                <a:pos x="connsiteX74720" y="connsiteY74720"/>
              </a:cxn>
              <a:cxn ang="0">
                <a:pos x="connsiteX74721" y="connsiteY74721"/>
              </a:cxn>
              <a:cxn ang="0">
                <a:pos x="connsiteX74722" y="connsiteY74722"/>
              </a:cxn>
              <a:cxn ang="0">
                <a:pos x="connsiteX74723" y="connsiteY74723"/>
              </a:cxn>
              <a:cxn ang="0">
                <a:pos x="connsiteX74724" y="connsiteY74724"/>
              </a:cxn>
              <a:cxn ang="0">
                <a:pos x="connsiteX74725" y="connsiteY74725"/>
              </a:cxn>
              <a:cxn ang="0">
                <a:pos x="connsiteX74726" y="connsiteY74726"/>
              </a:cxn>
              <a:cxn ang="0">
                <a:pos x="connsiteX74727" y="connsiteY74727"/>
              </a:cxn>
              <a:cxn ang="0">
                <a:pos x="connsiteX74728" y="connsiteY74728"/>
              </a:cxn>
              <a:cxn ang="0">
                <a:pos x="connsiteX74729" y="connsiteY74729"/>
              </a:cxn>
              <a:cxn ang="0">
                <a:pos x="connsiteX74730" y="connsiteY74730"/>
              </a:cxn>
              <a:cxn ang="0">
                <a:pos x="connsiteX74731" y="connsiteY74731"/>
              </a:cxn>
              <a:cxn ang="0">
                <a:pos x="connsiteX74732" y="connsiteY74732"/>
              </a:cxn>
              <a:cxn ang="0">
                <a:pos x="connsiteX74733" y="connsiteY74733"/>
              </a:cxn>
              <a:cxn ang="0">
                <a:pos x="connsiteX74734" y="connsiteY74734"/>
              </a:cxn>
              <a:cxn ang="0">
                <a:pos x="connsiteX74735" y="connsiteY74735"/>
              </a:cxn>
              <a:cxn ang="0">
                <a:pos x="connsiteX74736" y="connsiteY74736"/>
              </a:cxn>
              <a:cxn ang="0">
                <a:pos x="connsiteX74737" y="connsiteY74737"/>
              </a:cxn>
              <a:cxn ang="0">
                <a:pos x="connsiteX74738" y="connsiteY74738"/>
              </a:cxn>
              <a:cxn ang="0">
                <a:pos x="connsiteX74739" y="connsiteY74739"/>
              </a:cxn>
              <a:cxn ang="0">
                <a:pos x="connsiteX74740" y="connsiteY74740"/>
              </a:cxn>
              <a:cxn ang="0">
                <a:pos x="connsiteX74741" y="connsiteY74741"/>
              </a:cxn>
              <a:cxn ang="0">
                <a:pos x="connsiteX74742" y="connsiteY74742"/>
              </a:cxn>
              <a:cxn ang="0">
                <a:pos x="connsiteX74743" y="connsiteY74743"/>
              </a:cxn>
              <a:cxn ang="0">
                <a:pos x="connsiteX74744" y="connsiteY74744"/>
              </a:cxn>
              <a:cxn ang="0">
                <a:pos x="connsiteX74745" y="connsiteY74745"/>
              </a:cxn>
              <a:cxn ang="0">
                <a:pos x="connsiteX74746" y="connsiteY74746"/>
              </a:cxn>
              <a:cxn ang="0">
                <a:pos x="connsiteX74747" y="connsiteY74747"/>
              </a:cxn>
              <a:cxn ang="0">
                <a:pos x="connsiteX74748" y="connsiteY74748"/>
              </a:cxn>
              <a:cxn ang="0">
                <a:pos x="connsiteX74749" y="connsiteY74749"/>
              </a:cxn>
              <a:cxn ang="0">
                <a:pos x="connsiteX74750" y="connsiteY74750"/>
              </a:cxn>
              <a:cxn ang="0">
                <a:pos x="connsiteX74751" y="connsiteY74751"/>
              </a:cxn>
              <a:cxn ang="0">
                <a:pos x="connsiteX74752" y="connsiteY74752"/>
              </a:cxn>
              <a:cxn ang="0">
                <a:pos x="connsiteX74753" y="connsiteY74753"/>
              </a:cxn>
              <a:cxn ang="0">
                <a:pos x="connsiteX74754" y="connsiteY74754"/>
              </a:cxn>
              <a:cxn ang="0">
                <a:pos x="connsiteX74755" y="connsiteY74755"/>
              </a:cxn>
              <a:cxn ang="0">
                <a:pos x="connsiteX74756" y="connsiteY74756"/>
              </a:cxn>
              <a:cxn ang="0">
                <a:pos x="connsiteX74757" y="connsiteY74757"/>
              </a:cxn>
              <a:cxn ang="0">
                <a:pos x="connsiteX74758" y="connsiteY74758"/>
              </a:cxn>
              <a:cxn ang="0">
                <a:pos x="connsiteX74759" y="connsiteY74759"/>
              </a:cxn>
              <a:cxn ang="0">
                <a:pos x="connsiteX74760" y="connsiteY74760"/>
              </a:cxn>
              <a:cxn ang="0">
                <a:pos x="connsiteX74761" y="connsiteY74761"/>
              </a:cxn>
              <a:cxn ang="0">
                <a:pos x="connsiteX74762" y="connsiteY74762"/>
              </a:cxn>
              <a:cxn ang="0">
                <a:pos x="connsiteX74763" y="connsiteY74763"/>
              </a:cxn>
              <a:cxn ang="0">
                <a:pos x="connsiteX74764" y="connsiteY74764"/>
              </a:cxn>
              <a:cxn ang="0">
                <a:pos x="connsiteX74765" y="connsiteY74765"/>
              </a:cxn>
              <a:cxn ang="0">
                <a:pos x="connsiteX74766" y="connsiteY74766"/>
              </a:cxn>
              <a:cxn ang="0">
                <a:pos x="connsiteX74767" y="connsiteY74767"/>
              </a:cxn>
              <a:cxn ang="0">
                <a:pos x="connsiteX74768" y="connsiteY74768"/>
              </a:cxn>
              <a:cxn ang="0">
                <a:pos x="connsiteX74769" y="connsiteY74769"/>
              </a:cxn>
              <a:cxn ang="0">
                <a:pos x="connsiteX74770" y="connsiteY74770"/>
              </a:cxn>
              <a:cxn ang="0">
                <a:pos x="connsiteX74771" y="connsiteY74771"/>
              </a:cxn>
              <a:cxn ang="0">
                <a:pos x="connsiteX74772" y="connsiteY74772"/>
              </a:cxn>
              <a:cxn ang="0">
                <a:pos x="connsiteX74773" y="connsiteY74773"/>
              </a:cxn>
              <a:cxn ang="0">
                <a:pos x="connsiteX74774" y="connsiteY74774"/>
              </a:cxn>
              <a:cxn ang="0">
                <a:pos x="connsiteX74775" y="connsiteY74775"/>
              </a:cxn>
              <a:cxn ang="0">
                <a:pos x="connsiteX74776" y="connsiteY74776"/>
              </a:cxn>
              <a:cxn ang="0">
                <a:pos x="connsiteX74777" y="connsiteY74777"/>
              </a:cxn>
              <a:cxn ang="0">
                <a:pos x="connsiteX74778" y="connsiteY74778"/>
              </a:cxn>
              <a:cxn ang="0">
                <a:pos x="connsiteX74779" y="connsiteY74779"/>
              </a:cxn>
              <a:cxn ang="0">
                <a:pos x="connsiteX74780" y="connsiteY74780"/>
              </a:cxn>
              <a:cxn ang="0">
                <a:pos x="connsiteX74781" y="connsiteY74781"/>
              </a:cxn>
              <a:cxn ang="0">
                <a:pos x="connsiteX74782" y="connsiteY74782"/>
              </a:cxn>
              <a:cxn ang="0">
                <a:pos x="connsiteX74783" y="connsiteY74783"/>
              </a:cxn>
              <a:cxn ang="0">
                <a:pos x="connsiteX74784" y="connsiteY74784"/>
              </a:cxn>
              <a:cxn ang="0">
                <a:pos x="connsiteX74785" y="connsiteY74785"/>
              </a:cxn>
              <a:cxn ang="0">
                <a:pos x="connsiteX74786" y="connsiteY74786"/>
              </a:cxn>
              <a:cxn ang="0">
                <a:pos x="connsiteX74787" y="connsiteY74787"/>
              </a:cxn>
              <a:cxn ang="0">
                <a:pos x="connsiteX74788" y="connsiteY74788"/>
              </a:cxn>
              <a:cxn ang="0">
                <a:pos x="connsiteX74789" y="connsiteY74789"/>
              </a:cxn>
              <a:cxn ang="0">
                <a:pos x="connsiteX74790" y="connsiteY74790"/>
              </a:cxn>
              <a:cxn ang="0">
                <a:pos x="connsiteX74791" y="connsiteY74791"/>
              </a:cxn>
              <a:cxn ang="0">
                <a:pos x="connsiteX74792" y="connsiteY74792"/>
              </a:cxn>
              <a:cxn ang="0">
                <a:pos x="connsiteX74793" y="connsiteY74793"/>
              </a:cxn>
              <a:cxn ang="0">
                <a:pos x="connsiteX74794" y="connsiteY74794"/>
              </a:cxn>
              <a:cxn ang="0">
                <a:pos x="connsiteX74795" y="connsiteY74795"/>
              </a:cxn>
              <a:cxn ang="0">
                <a:pos x="connsiteX74796" y="connsiteY74796"/>
              </a:cxn>
              <a:cxn ang="0">
                <a:pos x="connsiteX74797" y="connsiteY74797"/>
              </a:cxn>
              <a:cxn ang="0">
                <a:pos x="connsiteX74798" y="connsiteY74798"/>
              </a:cxn>
              <a:cxn ang="0">
                <a:pos x="connsiteX74799" y="connsiteY74799"/>
              </a:cxn>
              <a:cxn ang="0">
                <a:pos x="connsiteX74800" y="connsiteY74800"/>
              </a:cxn>
              <a:cxn ang="0">
                <a:pos x="connsiteX74801" y="connsiteY74801"/>
              </a:cxn>
              <a:cxn ang="0">
                <a:pos x="connsiteX74802" y="connsiteY74802"/>
              </a:cxn>
              <a:cxn ang="0">
                <a:pos x="connsiteX74803" y="connsiteY74803"/>
              </a:cxn>
              <a:cxn ang="0">
                <a:pos x="connsiteX74804" y="connsiteY74804"/>
              </a:cxn>
              <a:cxn ang="0">
                <a:pos x="connsiteX74805" y="connsiteY74805"/>
              </a:cxn>
              <a:cxn ang="0">
                <a:pos x="connsiteX74806" y="connsiteY74806"/>
              </a:cxn>
              <a:cxn ang="0">
                <a:pos x="connsiteX74807" y="connsiteY74807"/>
              </a:cxn>
              <a:cxn ang="0">
                <a:pos x="connsiteX74808" y="connsiteY74808"/>
              </a:cxn>
              <a:cxn ang="0">
                <a:pos x="connsiteX74809" y="connsiteY74809"/>
              </a:cxn>
              <a:cxn ang="0">
                <a:pos x="connsiteX74810" y="connsiteY74810"/>
              </a:cxn>
              <a:cxn ang="0">
                <a:pos x="connsiteX74811" y="connsiteY74811"/>
              </a:cxn>
              <a:cxn ang="0">
                <a:pos x="connsiteX74812" y="connsiteY74812"/>
              </a:cxn>
              <a:cxn ang="0">
                <a:pos x="connsiteX74813" y="connsiteY74813"/>
              </a:cxn>
              <a:cxn ang="0">
                <a:pos x="connsiteX74814" y="connsiteY74814"/>
              </a:cxn>
              <a:cxn ang="0">
                <a:pos x="connsiteX74815" y="connsiteY74815"/>
              </a:cxn>
              <a:cxn ang="0">
                <a:pos x="connsiteX74816" y="connsiteY74816"/>
              </a:cxn>
              <a:cxn ang="0">
                <a:pos x="connsiteX74817" y="connsiteY74817"/>
              </a:cxn>
              <a:cxn ang="0">
                <a:pos x="connsiteX74818" y="connsiteY74818"/>
              </a:cxn>
              <a:cxn ang="0">
                <a:pos x="connsiteX74819" y="connsiteY74819"/>
              </a:cxn>
              <a:cxn ang="0">
                <a:pos x="connsiteX74820" y="connsiteY74820"/>
              </a:cxn>
              <a:cxn ang="0">
                <a:pos x="connsiteX74821" y="connsiteY74821"/>
              </a:cxn>
              <a:cxn ang="0">
                <a:pos x="connsiteX74822" y="connsiteY74822"/>
              </a:cxn>
              <a:cxn ang="0">
                <a:pos x="connsiteX74823" y="connsiteY74823"/>
              </a:cxn>
              <a:cxn ang="0">
                <a:pos x="connsiteX74824" y="connsiteY74824"/>
              </a:cxn>
              <a:cxn ang="0">
                <a:pos x="connsiteX74825" y="connsiteY74825"/>
              </a:cxn>
              <a:cxn ang="0">
                <a:pos x="connsiteX74826" y="connsiteY74826"/>
              </a:cxn>
              <a:cxn ang="0">
                <a:pos x="connsiteX74827" y="connsiteY74827"/>
              </a:cxn>
              <a:cxn ang="0">
                <a:pos x="connsiteX74828" y="connsiteY74828"/>
              </a:cxn>
              <a:cxn ang="0">
                <a:pos x="connsiteX74829" y="connsiteY74829"/>
              </a:cxn>
              <a:cxn ang="0">
                <a:pos x="connsiteX74830" y="connsiteY74830"/>
              </a:cxn>
              <a:cxn ang="0">
                <a:pos x="connsiteX74831" y="connsiteY74831"/>
              </a:cxn>
              <a:cxn ang="0">
                <a:pos x="connsiteX74832" y="connsiteY74832"/>
              </a:cxn>
              <a:cxn ang="0">
                <a:pos x="connsiteX74833" y="connsiteY74833"/>
              </a:cxn>
              <a:cxn ang="0">
                <a:pos x="connsiteX74834" y="connsiteY74834"/>
              </a:cxn>
              <a:cxn ang="0">
                <a:pos x="connsiteX74835" y="connsiteY74835"/>
              </a:cxn>
              <a:cxn ang="0">
                <a:pos x="connsiteX74836" y="connsiteY74836"/>
              </a:cxn>
              <a:cxn ang="0">
                <a:pos x="connsiteX74837" y="connsiteY74837"/>
              </a:cxn>
              <a:cxn ang="0">
                <a:pos x="connsiteX74838" y="connsiteY74838"/>
              </a:cxn>
              <a:cxn ang="0">
                <a:pos x="connsiteX74839" y="connsiteY74839"/>
              </a:cxn>
              <a:cxn ang="0">
                <a:pos x="connsiteX74840" y="connsiteY74840"/>
              </a:cxn>
              <a:cxn ang="0">
                <a:pos x="connsiteX74841" y="connsiteY74841"/>
              </a:cxn>
              <a:cxn ang="0">
                <a:pos x="connsiteX74842" y="connsiteY74842"/>
              </a:cxn>
              <a:cxn ang="0">
                <a:pos x="connsiteX74843" y="connsiteY74843"/>
              </a:cxn>
              <a:cxn ang="0">
                <a:pos x="connsiteX74844" y="connsiteY74844"/>
              </a:cxn>
              <a:cxn ang="0">
                <a:pos x="connsiteX74845" y="connsiteY74845"/>
              </a:cxn>
              <a:cxn ang="0">
                <a:pos x="connsiteX74846" y="connsiteY74846"/>
              </a:cxn>
              <a:cxn ang="0">
                <a:pos x="connsiteX74847" y="connsiteY74847"/>
              </a:cxn>
              <a:cxn ang="0">
                <a:pos x="connsiteX74848" y="connsiteY74848"/>
              </a:cxn>
              <a:cxn ang="0">
                <a:pos x="connsiteX74849" y="connsiteY74849"/>
              </a:cxn>
              <a:cxn ang="0">
                <a:pos x="connsiteX74850" y="connsiteY74850"/>
              </a:cxn>
              <a:cxn ang="0">
                <a:pos x="connsiteX74851" y="connsiteY74851"/>
              </a:cxn>
              <a:cxn ang="0">
                <a:pos x="connsiteX74852" y="connsiteY74852"/>
              </a:cxn>
              <a:cxn ang="0">
                <a:pos x="connsiteX74853" y="connsiteY74853"/>
              </a:cxn>
              <a:cxn ang="0">
                <a:pos x="connsiteX74854" y="connsiteY74854"/>
              </a:cxn>
              <a:cxn ang="0">
                <a:pos x="connsiteX74855" y="connsiteY74855"/>
              </a:cxn>
              <a:cxn ang="0">
                <a:pos x="connsiteX74856" y="connsiteY74856"/>
              </a:cxn>
              <a:cxn ang="0">
                <a:pos x="connsiteX74857" y="connsiteY74857"/>
              </a:cxn>
              <a:cxn ang="0">
                <a:pos x="connsiteX74858" y="connsiteY74858"/>
              </a:cxn>
              <a:cxn ang="0">
                <a:pos x="connsiteX74859" y="connsiteY74859"/>
              </a:cxn>
              <a:cxn ang="0">
                <a:pos x="connsiteX74860" y="connsiteY74860"/>
              </a:cxn>
              <a:cxn ang="0">
                <a:pos x="connsiteX74861" y="connsiteY74861"/>
              </a:cxn>
              <a:cxn ang="0">
                <a:pos x="connsiteX74862" y="connsiteY74862"/>
              </a:cxn>
              <a:cxn ang="0">
                <a:pos x="connsiteX74863" y="connsiteY74863"/>
              </a:cxn>
              <a:cxn ang="0">
                <a:pos x="connsiteX74864" y="connsiteY74864"/>
              </a:cxn>
              <a:cxn ang="0">
                <a:pos x="connsiteX74865" y="connsiteY74865"/>
              </a:cxn>
              <a:cxn ang="0">
                <a:pos x="connsiteX74866" y="connsiteY74866"/>
              </a:cxn>
              <a:cxn ang="0">
                <a:pos x="connsiteX74867" y="connsiteY74867"/>
              </a:cxn>
              <a:cxn ang="0">
                <a:pos x="connsiteX74868" y="connsiteY74868"/>
              </a:cxn>
              <a:cxn ang="0">
                <a:pos x="connsiteX74869" y="connsiteY74869"/>
              </a:cxn>
              <a:cxn ang="0">
                <a:pos x="connsiteX74870" y="connsiteY74870"/>
              </a:cxn>
              <a:cxn ang="0">
                <a:pos x="connsiteX74871" y="connsiteY74871"/>
              </a:cxn>
              <a:cxn ang="0">
                <a:pos x="connsiteX74872" y="connsiteY74872"/>
              </a:cxn>
              <a:cxn ang="0">
                <a:pos x="connsiteX74873" y="connsiteY74873"/>
              </a:cxn>
              <a:cxn ang="0">
                <a:pos x="connsiteX74874" y="connsiteY74874"/>
              </a:cxn>
              <a:cxn ang="0">
                <a:pos x="connsiteX74875" y="connsiteY74875"/>
              </a:cxn>
              <a:cxn ang="0">
                <a:pos x="connsiteX74876" y="connsiteY74876"/>
              </a:cxn>
              <a:cxn ang="0">
                <a:pos x="connsiteX74877" y="connsiteY74877"/>
              </a:cxn>
              <a:cxn ang="0">
                <a:pos x="connsiteX74878" y="connsiteY74878"/>
              </a:cxn>
              <a:cxn ang="0">
                <a:pos x="connsiteX74879" y="connsiteY74879"/>
              </a:cxn>
              <a:cxn ang="0">
                <a:pos x="connsiteX74880" y="connsiteY74880"/>
              </a:cxn>
              <a:cxn ang="0">
                <a:pos x="connsiteX74881" y="connsiteY74881"/>
              </a:cxn>
              <a:cxn ang="0">
                <a:pos x="connsiteX74882" y="connsiteY74882"/>
              </a:cxn>
              <a:cxn ang="0">
                <a:pos x="connsiteX74883" y="connsiteY74883"/>
              </a:cxn>
              <a:cxn ang="0">
                <a:pos x="connsiteX74884" y="connsiteY74884"/>
              </a:cxn>
              <a:cxn ang="0">
                <a:pos x="connsiteX74885" y="connsiteY74885"/>
              </a:cxn>
              <a:cxn ang="0">
                <a:pos x="connsiteX74886" y="connsiteY74886"/>
              </a:cxn>
              <a:cxn ang="0">
                <a:pos x="connsiteX74887" y="connsiteY74887"/>
              </a:cxn>
              <a:cxn ang="0">
                <a:pos x="connsiteX74888" y="connsiteY74888"/>
              </a:cxn>
              <a:cxn ang="0">
                <a:pos x="connsiteX74889" y="connsiteY74889"/>
              </a:cxn>
              <a:cxn ang="0">
                <a:pos x="connsiteX74890" y="connsiteY74890"/>
              </a:cxn>
              <a:cxn ang="0">
                <a:pos x="connsiteX74891" y="connsiteY74891"/>
              </a:cxn>
              <a:cxn ang="0">
                <a:pos x="connsiteX74892" y="connsiteY74892"/>
              </a:cxn>
              <a:cxn ang="0">
                <a:pos x="connsiteX74893" y="connsiteY74893"/>
              </a:cxn>
              <a:cxn ang="0">
                <a:pos x="connsiteX74894" y="connsiteY74894"/>
              </a:cxn>
              <a:cxn ang="0">
                <a:pos x="connsiteX74895" y="connsiteY74895"/>
              </a:cxn>
              <a:cxn ang="0">
                <a:pos x="connsiteX74896" y="connsiteY74896"/>
              </a:cxn>
              <a:cxn ang="0">
                <a:pos x="connsiteX74897" y="connsiteY74897"/>
              </a:cxn>
              <a:cxn ang="0">
                <a:pos x="connsiteX74898" y="connsiteY74898"/>
              </a:cxn>
              <a:cxn ang="0">
                <a:pos x="connsiteX74899" y="connsiteY74899"/>
              </a:cxn>
              <a:cxn ang="0">
                <a:pos x="connsiteX74900" y="connsiteY74900"/>
              </a:cxn>
              <a:cxn ang="0">
                <a:pos x="connsiteX74901" y="connsiteY74901"/>
              </a:cxn>
              <a:cxn ang="0">
                <a:pos x="connsiteX74902" y="connsiteY74902"/>
              </a:cxn>
              <a:cxn ang="0">
                <a:pos x="connsiteX74903" y="connsiteY74903"/>
              </a:cxn>
              <a:cxn ang="0">
                <a:pos x="connsiteX74904" y="connsiteY74904"/>
              </a:cxn>
              <a:cxn ang="0">
                <a:pos x="connsiteX74905" y="connsiteY74905"/>
              </a:cxn>
              <a:cxn ang="0">
                <a:pos x="connsiteX74906" y="connsiteY74906"/>
              </a:cxn>
              <a:cxn ang="0">
                <a:pos x="connsiteX74907" y="connsiteY74907"/>
              </a:cxn>
              <a:cxn ang="0">
                <a:pos x="connsiteX74908" y="connsiteY74908"/>
              </a:cxn>
              <a:cxn ang="0">
                <a:pos x="connsiteX74909" y="connsiteY74909"/>
              </a:cxn>
              <a:cxn ang="0">
                <a:pos x="connsiteX74910" y="connsiteY74910"/>
              </a:cxn>
              <a:cxn ang="0">
                <a:pos x="connsiteX74911" y="connsiteY74911"/>
              </a:cxn>
              <a:cxn ang="0">
                <a:pos x="connsiteX74912" y="connsiteY74912"/>
              </a:cxn>
              <a:cxn ang="0">
                <a:pos x="connsiteX74913" y="connsiteY74913"/>
              </a:cxn>
              <a:cxn ang="0">
                <a:pos x="connsiteX74914" y="connsiteY74914"/>
              </a:cxn>
              <a:cxn ang="0">
                <a:pos x="connsiteX74915" y="connsiteY74915"/>
              </a:cxn>
              <a:cxn ang="0">
                <a:pos x="connsiteX74916" y="connsiteY74916"/>
              </a:cxn>
              <a:cxn ang="0">
                <a:pos x="connsiteX74917" y="connsiteY74917"/>
              </a:cxn>
              <a:cxn ang="0">
                <a:pos x="connsiteX74918" y="connsiteY74918"/>
              </a:cxn>
              <a:cxn ang="0">
                <a:pos x="connsiteX74919" y="connsiteY74919"/>
              </a:cxn>
              <a:cxn ang="0">
                <a:pos x="connsiteX74920" y="connsiteY74920"/>
              </a:cxn>
              <a:cxn ang="0">
                <a:pos x="connsiteX74921" y="connsiteY74921"/>
              </a:cxn>
              <a:cxn ang="0">
                <a:pos x="connsiteX74922" y="connsiteY74922"/>
              </a:cxn>
              <a:cxn ang="0">
                <a:pos x="connsiteX74923" y="connsiteY74923"/>
              </a:cxn>
              <a:cxn ang="0">
                <a:pos x="connsiteX74924" y="connsiteY74924"/>
              </a:cxn>
              <a:cxn ang="0">
                <a:pos x="connsiteX74925" y="connsiteY74925"/>
              </a:cxn>
              <a:cxn ang="0">
                <a:pos x="connsiteX74926" y="connsiteY74926"/>
              </a:cxn>
              <a:cxn ang="0">
                <a:pos x="connsiteX74927" y="connsiteY74927"/>
              </a:cxn>
              <a:cxn ang="0">
                <a:pos x="connsiteX74928" y="connsiteY74928"/>
              </a:cxn>
              <a:cxn ang="0">
                <a:pos x="connsiteX74929" y="connsiteY74929"/>
              </a:cxn>
              <a:cxn ang="0">
                <a:pos x="connsiteX74930" y="connsiteY74930"/>
              </a:cxn>
              <a:cxn ang="0">
                <a:pos x="connsiteX74931" y="connsiteY74931"/>
              </a:cxn>
              <a:cxn ang="0">
                <a:pos x="connsiteX74932" y="connsiteY74932"/>
              </a:cxn>
              <a:cxn ang="0">
                <a:pos x="connsiteX74933" y="connsiteY74933"/>
              </a:cxn>
              <a:cxn ang="0">
                <a:pos x="connsiteX74934" y="connsiteY74934"/>
              </a:cxn>
              <a:cxn ang="0">
                <a:pos x="connsiteX74935" y="connsiteY74935"/>
              </a:cxn>
              <a:cxn ang="0">
                <a:pos x="connsiteX74936" y="connsiteY74936"/>
              </a:cxn>
              <a:cxn ang="0">
                <a:pos x="connsiteX74937" y="connsiteY74937"/>
              </a:cxn>
              <a:cxn ang="0">
                <a:pos x="connsiteX74938" y="connsiteY74938"/>
              </a:cxn>
              <a:cxn ang="0">
                <a:pos x="connsiteX74939" y="connsiteY74939"/>
              </a:cxn>
              <a:cxn ang="0">
                <a:pos x="connsiteX74940" y="connsiteY74940"/>
              </a:cxn>
              <a:cxn ang="0">
                <a:pos x="connsiteX74941" y="connsiteY74941"/>
              </a:cxn>
              <a:cxn ang="0">
                <a:pos x="connsiteX74942" y="connsiteY74942"/>
              </a:cxn>
              <a:cxn ang="0">
                <a:pos x="connsiteX74943" y="connsiteY74943"/>
              </a:cxn>
              <a:cxn ang="0">
                <a:pos x="connsiteX74944" y="connsiteY74944"/>
              </a:cxn>
              <a:cxn ang="0">
                <a:pos x="connsiteX74945" y="connsiteY74945"/>
              </a:cxn>
              <a:cxn ang="0">
                <a:pos x="connsiteX74946" y="connsiteY74946"/>
              </a:cxn>
              <a:cxn ang="0">
                <a:pos x="connsiteX74947" y="connsiteY74947"/>
              </a:cxn>
              <a:cxn ang="0">
                <a:pos x="connsiteX74948" y="connsiteY74948"/>
              </a:cxn>
              <a:cxn ang="0">
                <a:pos x="connsiteX74949" y="connsiteY74949"/>
              </a:cxn>
              <a:cxn ang="0">
                <a:pos x="connsiteX74950" y="connsiteY74950"/>
              </a:cxn>
              <a:cxn ang="0">
                <a:pos x="connsiteX74951" y="connsiteY74951"/>
              </a:cxn>
              <a:cxn ang="0">
                <a:pos x="connsiteX74952" y="connsiteY74952"/>
              </a:cxn>
              <a:cxn ang="0">
                <a:pos x="connsiteX74953" y="connsiteY74953"/>
              </a:cxn>
              <a:cxn ang="0">
                <a:pos x="connsiteX74954" y="connsiteY74954"/>
              </a:cxn>
              <a:cxn ang="0">
                <a:pos x="connsiteX74955" y="connsiteY74955"/>
              </a:cxn>
              <a:cxn ang="0">
                <a:pos x="connsiteX74956" y="connsiteY74956"/>
              </a:cxn>
              <a:cxn ang="0">
                <a:pos x="connsiteX74957" y="connsiteY74957"/>
              </a:cxn>
              <a:cxn ang="0">
                <a:pos x="connsiteX74958" y="connsiteY74958"/>
              </a:cxn>
              <a:cxn ang="0">
                <a:pos x="connsiteX74959" y="connsiteY74959"/>
              </a:cxn>
              <a:cxn ang="0">
                <a:pos x="connsiteX74960" y="connsiteY74960"/>
              </a:cxn>
              <a:cxn ang="0">
                <a:pos x="connsiteX74961" y="connsiteY74961"/>
              </a:cxn>
              <a:cxn ang="0">
                <a:pos x="connsiteX74962" y="connsiteY74962"/>
              </a:cxn>
              <a:cxn ang="0">
                <a:pos x="connsiteX74963" y="connsiteY74963"/>
              </a:cxn>
              <a:cxn ang="0">
                <a:pos x="connsiteX74964" y="connsiteY74964"/>
              </a:cxn>
              <a:cxn ang="0">
                <a:pos x="connsiteX74965" y="connsiteY74965"/>
              </a:cxn>
              <a:cxn ang="0">
                <a:pos x="connsiteX74966" y="connsiteY74966"/>
              </a:cxn>
              <a:cxn ang="0">
                <a:pos x="connsiteX74967" y="connsiteY74967"/>
              </a:cxn>
              <a:cxn ang="0">
                <a:pos x="connsiteX74968" y="connsiteY74968"/>
              </a:cxn>
              <a:cxn ang="0">
                <a:pos x="connsiteX74969" y="connsiteY74969"/>
              </a:cxn>
              <a:cxn ang="0">
                <a:pos x="connsiteX74970" y="connsiteY74970"/>
              </a:cxn>
              <a:cxn ang="0">
                <a:pos x="connsiteX74971" y="connsiteY74971"/>
              </a:cxn>
              <a:cxn ang="0">
                <a:pos x="connsiteX74972" y="connsiteY74972"/>
              </a:cxn>
              <a:cxn ang="0">
                <a:pos x="connsiteX74973" y="connsiteY74973"/>
              </a:cxn>
              <a:cxn ang="0">
                <a:pos x="connsiteX74974" y="connsiteY74974"/>
              </a:cxn>
              <a:cxn ang="0">
                <a:pos x="connsiteX74975" y="connsiteY74975"/>
              </a:cxn>
              <a:cxn ang="0">
                <a:pos x="connsiteX74976" y="connsiteY74976"/>
              </a:cxn>
              <a:cxn ang="0">
                <a:pos x="connsiteX74977" y="connsiteY74977"/>
              </a:cxn>
              <a:cxn ang="0">
                <a:pos x="connsiteX74978" y="connsiteY74978"/>
              </a:cxn>
              <a:cxn ang="0">
                <a:pos x="connsiteX74979" y="connsiteY74979"/>
              </a:cxn>
              <a:cxn ang="0">
                <a:pos x="connsiteX74980" y="connsiteY74980"/>
              </a:cxn>
              <a:cxn ang="0">
                <a:pos x="connsiteX74981" y="connsiteY74981"/>
              </a:cxn>
              <a:cxn ang="0">
                <a:pos x="connsiteX74982" y="connsiteY74982"/>
              </a:cxn>
              <a:cxn ang="0">
                <a:pos x="connsiteX74983" y="connsiteY74983"/>
              </a:cxn>
              <a:cxn ang="0">
                <a:pos x="connsiteX74984" y="connsiteY74984"/>
              </a:cxn>
              <a:cxn ang="0">
                <a:pos x="connsiteX74985" y="connsiteY74985"/>
              </a:cxn>
              <a:cxn ang="0">
                <a:pos x="connsiteX74986" y="connsiteY74986"/>
              </a:cxn>
              <a:cxn ang="0">
                <a:pos x="connsiteX74987" y="connsiteY74987"/>
              </a:cxn>
              <a:cxn ang="0">
                <a:pos x="connsiteX74988" y="connsiteY74988"/>
              </a:cxn>
              <a:cxn ang="0">
                <a:pos x="connsiteX74989" y="connsiteY74989"/>
              </a:cxn>
              <a:cxn ang="0">
                <a:pos x="connsiteX74990" y="connsiteY74990"/>
              </a:cxn>
              <a:cxn ang="0">
                <a:pos x="connsiteX74991" y="connsiteY74991"/>
              </a:cxn>
              <a:cxn ang="0">
                <a:pos x="connsiteX74992" y="connsiteY74992"/>
              </a:cxn>
              <a:cxn ang="0">
                <a:pos x="connsiteX74993" y="connsiteY74993"/>
              </a:cxn>
              <a:cxn ang="0">
                <a:pos x="connsiteX74994" y="connsiteY74994"/>
              </a:cxn>
              <a:cxn ang="0">
                <a:pos x="connsiteX74995" y="connsiteY74995"/>
              </a:cxn>
              <a:cxn ang="0">
                <a:pos x="connsiteX74996" y="connsiteY74996"/>
              </a:cxn>
              <a:cxn ang="0">
                <a:pos x="connsiteX74997" y="connsiteY74997"/>
              </a:cxn>
              <a:cxn ang="0">
                <a:pos x="connsiteX74998" y="connsiteY74998"/>
              </a:cxn>
              <a:cxn ang="0">
                <a:pos x="connsiteX74999" y="connsiteY74999"/>
              </a:cxn>
              <a:cxn ang="0">
                <a:pos x="connsiteX75000" y="connsiteY75000"/>
              </a:cxn>
              <a:cxn ang="0">
                <a:pos x="connsiteX75001" y="connsiteY75001"/>
              </a:cxn>
              <a:cxn ang="0">
                <a:pos x="connsiteX75002" y="connsiteY75002"/>
              </a:cxn>
              <a:cxn ang="0">
                <a:pos x="connsiteX75003" y="connsiteY75003"/>
              </a:cxn>
              <a:cxn ang="0">
                <a:pos x="connsiteX75004" y="connsiteY75004"/>
              </a:cxn>
              <a:cxn ang="0">
                <a:pos x="connsiteX75005" y="connsiteY75005"/>
              </a:cxn>
              <a:cxn ang="0">
                <a:pos x="connsiteX75006" y="connsiteY75006"/>
              </a:cxn>
              <a:cxn ang="0">
                <a:pos x="connsiteX75007" y="connsiteY75007"/>
              </a:cxn>
              <a:cxn ang="0">
                <a:pos x="connsiteX75008" y="connsiteY75008"/>
              </a:cxn>
              <a:cxn ang="0">
                <a:pos x="connsiteX75009" y="connsiteY75009"/>
              </a:cxn>
              <a:cxn ang="0">
                <a:pos x="connsiteX75010" y="connsiteY75010"/>
              </a:cxn>
              <a:cxn ang="0">
                <a:pos x="connsiteX75011" y="connsiteY75011"/>
              </a:cxn>
              <a:cxn ang="0">
                <a:pos x="connsiteX75012" y="connsiteY75012"/>
              </a:cxn>
              <a:cxn ang="0">
                <a:pos x="connsiteX75013" y="connsiteY75013"/>
              </a:cxn>
              <a:cxn ang="0">
                <a:pos x="connsiteX75014" y="connsiteY75014"/>
              </a:cxn>
              <a:cxn ang="0">
                <a:pos x="connsiteX75015" y="connsiteY75015"/>
              </a:cxn>
              <a:cxn ang="0">
                <a:pos x="connsiteX75016" y="connsiteY75016"/>
              </a:cxn>
              <a:cxn ang="0">
                <a:pos x="connsiteX75017" y="connsiteY75017"/>
              </a:cxn>
              <a:cxn ang="0">
                <a:pos x="connsiteX75018" y="connsiteY75018"/>
              </a:cxn>
              <a:cxn ang="0">
                <a:pos x="connsiteX75019" y="connsiteY75019"/>
              </a:cxn>
              <a:cxn ang="0">
                <a:pos x="connsiteX75020" y="connsiteY75020"/>
              </a:cxn>
              <a:cxn ang="0">
                <a:pos x="connsiteX75021" y="connsiteY75021"/>
              </a:cxn>
              <a:cxn ang="0">
                <a:pos x="connsiteX75022" y="connsiteY75022"/>
              </a:cxn>
              <a:cxn ang="0">
                <a:pos x="connsiteX75023" y="connsiteY75023"/>
              </a:cxn>
              <a:cxn ang="0">
                <a:pos x="connsiteX75024" y="connsiteY75024"/>
              </a:cxn>
              <a:cxn ang="0">
                <a:pos x="connsiteX75025" y="connsiteY75025"/>
              </a:cxn>
              <a:cxn ang="0">
                <a:pos x="connsiteX75026" y="connsiteY75026"/>
              </a:cxn>
              <a:cxn ang="0">
                <a:pos x="connsiteX75027" y="connsiteY75027"/>
              </a:cxn>
              <a:cxn ang="0">
                <a:pos x="connsiteX75028" y="connsiteY75028"/>
              </a:cxn>
              <a:cxn ang="0">
                <a:pos x="connsiteX75029" y="connsiteY75029"/>
              </a:cxn>
              <a:cxn ang="0">
                <a:pos x="connsiteX75030" y="connsiteY75030"/>
              </a:cxn>
              <a:cxn ang="0">
                <a:pos x="connsiteX75031" y="connsiteY75031"/>
              </a:cxn>
              <a:cxn ang="0">
                <a:pos x="connsiteX75032" y="connsiteY75032"/>
              </a:cxn>
              <a:cxn ang="0">
                <a:pos x="connsiteX75033" y="connsiteY75033"/>
              </a:cxn>
              <a:cxn ang="0">
                <a:pos x="connsiteX75034" y="connsiteY75034"/>
              </a:cxn>
              <a:cxn ang="0">
                <a:pos x="connsiteX75035" y="connsiteY75035"/>
              </a:cxn>
              <a:cxn ang="0">
                <a:pos x="connsiteX75036" y="connsiteY75036"/>
              </a:cxn>
              <a:cxn ang="0">
                <a:pos x="connsiteX75037" y="connsiteY75037"/>
              </a:cxn>
              <a:cxn ang="0">
                <a:pos x="connsiteX75038" y="connsiteY75038"/>
              </a:cxn>
              <a:cxn ang="0">
                <a:pos x="connsiteX75039" y="connsiteY75039"/>
              </a:cxn>
              <a:cxn ang="0">
                <a:pos x="connsiteX75040" y="connsiteY75040"/>
              </a:cxn>
              <a:cxn ang="0">
                <a:pos x="connsiteX75041" y="connsiteY75041"/>
              </a:cxn>
              <a:cxn ang="0">
                <a:pos x="connsiteX75042" y="connsiteY75042"/>
              </a:cxn>
              <a:cxn ang="0">
                <a:pos x="connsiteX75043" y="connsiteY75043"/>
              </a:cxn>
              <a:cxn ang="0">
                <a:pos x="connsiteX75044" y="connsiteY75044"/>
              </a:cxn>
              <a:cxn ang="0">
                <a:pos x="connsiteX75045" y="connsiteY75045"/>
              </a:cxn>
              <a:cxn ang="0">
                <a:pos x="connsiteX75046" y="connsiteY75046"/>
              </a:cxn>
              <a:cxn ang="0">
                <a:pos x="connsiteX75047" y="connsiteY75047"/>
              </a:cxn>
              <a:cxn ang="0">
                <a:pos x="connsiteX75048" y="connsiteY75048"/>
              </a:cxn>
              <a:cxn ang="0">
                <a:pos x="connsiteX75049" y="connsiteY75049"/>
              </a:cxn>
              <a:cxn ang="0">
                <a:pos x="connsiteX75050" y="connsiteY75050"/>
              </a:cxn>
              <a:cxn ang="0">
                <a:pos x="connsiteX75051" y="connsiteY75051"/>
              </a:cxn>
              <a:cxn ang="0">
                <a:pos x="connsiteX75052" y="connsiteY75052"/>
              </a:cxn>
              <a:cxn ang="0">
                <a:pos x="connsiteX75053" y="connsiteY75053"/>
              </a:cxn>
              <a:cxn ang="0">
                <a:pos x="connsiteX75054" y="connsiteY75054"/>
              </a:cxn>
              <a:cxn ang="0">
                <a:pos x="connsiteX75055" y="connsiteY75055"/>
              </a:cxn>
              <a:cxn ang="0">
                <a:pos x="connsiteX75056" y="connsiteY75056"/>
              </a:cxn>
              <a:cxn ang="0">
                <a:pos x="connsiteX75057" y="connsiteY75057"/>
              </a:cxn>
              <a:cxn ang="0">
                <a:pos x="connsiteX75058" y="connsiteY75058"/>
              </a:cxn>
              <a:cxn ang="0">
                <a:pos x="connsiteX75059" y="connsiteY75059"/>
              </a:cxn>
              <a:cxn ang="0">
                <a:pos x="connsiteX75060" y="connsiteY75060"/>
              </a:cxn>
              <a:cxn ang="0">
                <a:pos x="connsiteX75061" y="connsiteY75061"/>
              </a:cxn>
              <a:cxn ang="0">
                <a:pos x="connsiteX75062" y="connsiteY75062"/>
              </a:cxn>
              <a:cxn ang="0">
                <a:pos x="connsiteX75063" y="connsiteY75063"/>
              </a:cxn>
              <a:cxn ang="0">
                <a:pos x="connsiteX75064" y="connsiteY75064"/>
              </a:cxn>
              <a:cxn ang="0">
                <a:pos x="connsiteX75065" y="connsiteY75065"/>
              </a:cxn>
              <a:cxn ang="0">
                <a:pos x="connsiteX75066" y="connsiteY75066"/>
              </a:cxn>
              <a:cxn ang="0">
                <a:pos x="connsiteX75067" y="connsiteY75067"/>
              </a:cxn>
              <a:cxn ang="0">
                <a:pos x="connsiteX75068" y="connsiteY75068"/>
              </a:cxn>
              <a:cxn ang="0">
                <a:pos x="connsiteX75069" y="connsiteY75069"/>
              </a:cxn>
              <a:cxn ang="0">
                <a:pos x="connsiteX75070" y="connsiteY75070"/>
              </a:cxn>
              <a:cxn ang="0">
                <a:pos x="connsiteX75071" y="connsiteY75071"/>
              </a:cxn>
              <a:cxn ang="0">
                <a:pos x="connsiteX75072" y="connsiteY75072"/>
              </a:cxn>
              <a:cxn ang="0">
                <a:pos x="connsiteX75073" y="connsiteY75073"/>
              </a:cxn>
              <a:cxn ang="0">
                <a:pos x="connsiteX75074" y="connsiteY75074"/>
              </a:cxn>
              <a:cxn ang="0">
                <a:pos x="connsiteX75075" y="connsiteY75075"/>
              </a:cxn>
              <a:cxn ang="0">
                <a:pos x="connsiteX75076" y="connsiteY75076"/>
              </a:cxn>
              <a:cxn ang="0">
                <a:pos x="connsiteX75077" y="connsiteY75077"/>
              </a:cxn>
              <a:cxn ang="0">
                <a:pos x="connsiteX75078" y="connsiteY75078"/>
              </a:cxn>
              <a:cxn ang="0">
                <a:pos x="connsiteX75079" y="connsiteY75079"/>
              </a:cxn>
              <a:cxn ang="0">
                <a:pos x="connsiteX75080" y="connsiteY75080"/>
              </a:cxn>
              <a:cxn ang="0">
                <a:pos x="connsiteX75081" y="connsiteY75081"/>
              </a:cxn>
              <a:cxn ang="0">
                <a:pos x="connsiteX75082" y="connsiteY75082"/>
              </a:cxn>
              <a:cxn ang="0">
                <a:pos x="connsiteX75083" y="connsiteY75083"/>
              </a:cxn>
              <a:cxn ang="0">
                <a:pos x="connsiteX75084" y="connsiteY75084"/>
              </a:cxn>
              <a:cxn ang="0">
                <a:pos x="connsiteX75085" y="connsiteY75085"/>
              </a:cxn>
              <a:cxn ang="0">
                <a:pos x="connsiteX75086" y="connsiteY75086"/>
              </a:cxn>
              <a:cxn ang="0">
                <a:pos x="connsiteX75087" y="connsiteY75087"/>
              </a:cxn>
              <a:cxn ang="0">
                <a:pos x="connsiteX75088" y="connsiteY75088"/>
              </a:cxn>
              <a:cxn ang="0">
                <a:pos x="connsiteX75089" y="connsiteY75089"/>
              </a:cxn>
              <a:cxn ang="0">
                <a:pos x="connsiteX75090" y="connsiteY75090"/>
              </a:cxn>
              <a:cxn ang="0">
                <a:pos x="connsiteX75091" y="connsiteY75091"/>
              </a:cxn>
              <a:cxn ang="0">
                <a:pos x="connsiteX75092" y="connsiteY75092"/>
              </a:cxn>
              <a:cxn ang="0">
                <a:pos x="connsiteX75093" y="connsiteY75093"/>
              </a:cxn>
              <a:cxn ang="0">
                <a:pos x="connsiteX75094" y="connsiteY75094"/>
              </a:cxn>
              <a:cxn ang="0">
                <a:pos x="connsiteX75095" y="connsiteY75095"/>
              </a:cxn>
              <a:cxn ang="0">
                <a:pos x="connsiteX75096" y="connsiteY75096"/>
              </a:cxn>
              <a:cxn ang="0">
                <a:pos x="connsiteX75097" y="connsiteY75097"/>
              </a:cxn>
              <a:cxn ang="0">
                <a:pos x="connsiteX75098" y="connsiteY75098"/>
              </a:cxn>
              <a:cxn ang="0">
                <a:pos x="connsiteX75099" y="connsiteY75099"/>
              </a:cxn>
              <a:cxn ang="0">
                <a:pos x="connsiteX75100" y="connsiteY75100"/>
              </a:cxn>
              <a:cxn ang="0">
                <a:pos x="connsiteX75101" y="connsiteY75101"/>
              </a:cxn>
              <a:cxn ang="0">
                <a:pos x="connsiteX75102" y="connsiteY75102"/>
              </a:cxn>
              <a:cxn ang="0">
                <a:pos x="connsiteX75103" y="connsiteY75103"/>
              </a:cxn>
              <a:cxn ang="0">
                <a:pos x="connsiteX75104" y="connsiteY75104"/>
              </a:cxn>
              <a:cxn ang="0">
                <a:pos x="connsiteX75105" y="connsiteY75105"/>
              </a:cxn>
              <a:cxn ang="0">
                <a:pos x="connsiteX75106" y="connsiteY75106"/>
              </a:cxn>
              <a:cxn ang="0">
                <a:pos x="connsiteX75107" y="connsiteY75107"/>
              </a:cxn>
              <a:cxn ang="0">
                <a:pos x="connsiteX75108" y="connsiteY75108"/>
              </a:cxn>
              <a:cxn ang="0">
                <a:pos x="connsiteX75109" y="connsiteY75109"/>
              </a:cxn>
              <a:cxn ang="0">
                <a:pos x="connsiteX75110" y="connsiteY75110"/>
              </a:cxn>
              <a:cxn ang="0">
                <a:pos x="connsiteX75111" y="connsiteY75111"/>
              </a:cxn>
              <a:cxn ang="0">
                <a:pos x="connsiteX75112" y="connsiteY75112"/>
              </a:cxn>
              <a:cxn ang="0">
                <a:pos x="connsiteX75113" y="connsiteY75113"/>
              </a:cxn>
              <a:cxn ang="0">
                <a:pos x="connsiteX75114" y="connsiteY75114"/>
              </a:cxn>
              <a:cxn ang="0">
                <a:pos x="connsiteX75115" y="connsiteY75115"/>
              </a:cxn>
              <a:cxn ang="0">
                <a:pos x="connsiteX75116" y="connsiteY75116"/>
              </a:cxn>
              <a:cxn ang="0">
                <a:pos x="connsiteX75117" y="connsiteY75117"/>
              </a:cxn>
              <a:cxn ang="0">
                <a:pos x="connsiteX75118" y="connsiteY75118"/>
              </a:cxn>
              <a:cxn ang="0">
                <a:pos x="connsiteX75119" y="connsiteY75119"/>
              </a:cxn>
              <a:cxn ang="0">
                <a:pos x="connsiteX75120" y="connsiteY75120"/>
              </a:cxn>
              <a:cxn ang="0">
                <a:pos x="connsiteX75121" y="connsiteY75121"/>
              </a:cxn>
              <a:cxn ang="0">
                <a:pos x="connsiteX75122" y="connsiteY75122"/>
              </a:cxn>
              <a:cxn ang="0">
                <a:pos x="connsiteX75123" y="connsiteY75123"/>
              </a:cxn>
              <a:cxn ang="0">
                <a:pos x="connsiteX75124" y="connsiteY75124"/>
              </a:cxn>
              <a:cxn ang="0">
                <a:pos x="connsiteX75125" y="connsiteY75125"/>
              </a:cxn>
              <a:cxn ang="0">
                <a:pos x="connsiteX75126" y="connsiteY75126"/>
              </a:cxn>
              <a:cxn ang="0">
                <a:pos x="connsiteX75127" y="connsiteY75127"/>
              </a:cxn>
              <a:cxn ang="0">
                <a:pos x="connsiteX75128" y="connsiteY75128"/>
              </a:cxn>
              <a:cxn ang="0">
                <a:pos x="connsiteX75129" y="connsiteY75129"/>
              </a:cxn>
              <a:cxn ang="0">
                <a:pos x="connsiteX75130" y="connsiteY75130"/>
              </a:cxn>
              <a:cxn ang="0">
                <a:pos x="connsiteX75131" y="connsiteY75131"/>
              </a:cxn>
              <a:cxn ang="0">
                <a:pos x="connsiteX75132" y="connsiteY75132"/>
              </a:cxn>
              <a:cxn ang="0">
                <a:pos x="connsiteX75133" y="connsiteY75133"/>
              </a:cxn>
              <a:cxn ang="0">
                <a:pos x="connsiteX75134" y="connsiteY75134"/>
              </a:cxn>
              <a:cxn ang="0">
                <a:pos x="connsiteX75135" y="connsiteY75135"/>
              </a:cxn>
              <a:cxn ang="0">
                <a:pos x="connsiteX75136" y="connsiteY75136"/>
              </a:cxn>
              <a:cxn ang="0">
                <a:pos x="connsiteX75137" y="connsiteY75137"/>
              </a:cxn>
              <a:cxn ang="0">
                <a:pos x="connsiteX75138" y="connsiteY75138"/>
              </a:cxn>
              <a:cxn ang="0">
                <a:pos x="connsiteX75139" y="connsiteY75139"/>
              </a:cxn>
              <a:cxn ang="0">
                <a:pos x="connsiteX75140" y="connsiteY75140"/>
              </a:cxn>
              <a:cxn ang="0">
                <a:pos x="connsiteX75141" y="connsiteY75141"/>
              </a:cxn>
              <a:cxn ang="0">
                <a:pos x="connsiteX75142" y="connsiteY75142"/>
              </a:cxn>
              <a:cxn ang="0">
                <a:pos x="connsiteX75143" y="connsiteY75143"/>
              </a:cxn>
              <a:cxn ang="0">
                <a:pos x="connsiteX75144" y="connsiteY75144"/>
              </a:cxn>
              <a:cxn ang="0">
                <a:pos x="connsiteX75145" y="connsiteY75145"/>
              </a:cxn>
              <a:cxn ang="0">
                <a:pos x="connsiteX75146" y="connsiteY75146"/>
              </a:cxn>
              <a:cxn ang="0">
                <a:pos x="connsiteX75147" y="connsiteY75147"/>
              </a:cxn>
              <a:cxn ang="0">
                <a:pos x="connsiteX75148" y="connsiteY75148"/>
              </a:cxn>
              <a:cxn ang="0">
                <a:pos x="connsiteX75149" y="connsiteY75149"/>
              </a:cxn>
              <a:cxn ang="0">
                <a:pos x="connsiteX75150" y="connsiteY75150"/>
              </a:cxn>
              <a:cxn ang="0">
                <a:pos x="connsiteX75151" y="connsiteY75151"/>
              </a:cxn>
              <a:cxn ang="0">
                <a:pos x="connsiteX75152" y="connsiteY75152"/>
              </a:cxn>
              <a:cxn ang="0">
                <a:pos x="connsiteX75153" y="connsiteY75153"/>
              </a:cxn>
              <a:cxn ang="0">
                <a:pos x="connsiteX75154" y="connsiteY75154"/>
              </a:cxn>
              <a:cxn ang="0">
                <a:pos x="connsiteX75155" y="connsiteY75155"/>
              </a:cxn>
              <a:cxn ang="0">
                <a:pos x="connsiteX75156" y="connsiteY75156"/>
              </a:cxn>
              <a:cxn ang="0">
                <a:pos x="connsiteX75157" y="connsiteY75157"/>
              </a:cxn>
              <a:cxn ang="0">
                <a:pos x="connsiteX75158" y="connsiteY75158"/>
              </a:cxn>
              <a:cxn ang="0">
                <a:pos x="connsiteX75159" y="connsiteY75159"/>
              </a:cxn>
              <a:cxn ang="0">
                <a:pos x="connsiteX75160" y="connsiteY75160"/>
              </a:cxn>
              <a:cxn ang="0">
                <a:pos x="connsiteX75161" y="connsiteY75161"/>
              </a:cxn>
              <a:cxn ang="0">
                <a:pos x="connsiteX75162" y="connsiteY75162"/>
              </a:cxn>
              <a:cxn ang="0">
                <a:pos x="connsiteX75163" y="connsiteY75163"/>
              </a:cxn>
              <a:cxn ang="0">
                <a:pos x="connsiteX75164" y="connsiteY75164"/>
              </a:cxn>
              <a:cxn ang="0">
                <a:pos x="connsiteX75165" y="connsiteY75165"/>
              </a:cxn>
              <a:cxn ang="0">
                <a:pos x="connsiteX75166" y="connsiteY75166"/>
              </a:cxn>
              <a:cxn ang="0">
                <a:pos x="connsiteX75167" y="connsiteY75167"/>
              </a:cxn>
              <a:cxn ang="0">
                <a:pos x="connsiteX75168" y="connsiteY75168"/>
              </a:cxn>
              <a:cxn ang="0">
                <a:pos x="connsiteX75169" y="connsiteY75169"/>
              </a:cxn>
              <a:cxn ang="0">
                <a:pos x="connsiteX75170" y="connsiteY75170"/>
              </a:cxn>
              <a:cxn ang="0">
                <a:pos x="connsiteX75171" y="connsiteY75171"/>
              </a:cxn>
              <a:cxn ang="0">
                <a:pos x="connsiteX75172" y="connsiteY75172"/>
              </a:cxn>
              <a:cxn ang="0">
                <a:pos x="connsiteX75173" y="connsiteY75173"/>
              </a:cxn>
              <a:cxn ang="0">
                <a:pos x="connsiteX75174" y="connsiteY75174"/>
              </a:cxn>
              <a:cxn ang="0">
                <a:pos x="connsiteX75175" y="connsiteY75175"/>
              </a:cxn>
              <a:cxn ang="0">
                <a:pos x="connsiteX75176" y="connsiteY75176"/>
              </a:cxn>
              <a:cxn ang="0">
                <a:pos x="connsiteX75177" y="connsiteY75177"/>
              </a:cxn>
              <a:cxn ang="0">
                <a:pos x="connsiteX75178" y="connsiteY75178"/>
              </a:cxn>
              <a:cxn ang="0">
                <a:pos x="connsiteX75179" y="connsiteY75179"/>
              </a:cxn>
              <a:cxn ang="0">
                <a:pos x="connsiteX75180" y="connsiteY75180"/>
              </a:cxn>
              <a:cxn ang="0">
                <a:pos x="connsiteX75181" y="connsiteY75181"/>
              </a:cxn>
              <a:cxn ang="0">
                <a:pos x="connsiteX75182" y="connsiteY75182"/>
              </a:cxn>
              <a:cxn ang="0">
                <a:pos x="connsiteX75183" y="connsiteY75183"/>
              </a:cxn>
              <a:cxn ang="0">
                <a:pos x="connsiteX75184" y="connsiteY75184"/>
              </a:cxn>
              <a:cxn ang="0">
                <a:pos x="connsiteX75185" y="connsiteY75185"/>
              </a:cxn>
              <a:cxn ang="0">
                <a:pos x="connsiteX75186" y="connsiteY75186"/>
              </a:cxn>
              <a:cxn ang="0">
                <a:pos x="connsiteX75187" y="connsiteY75187"/>
              </a:cxn>
              <a:cxn ang="0">
                <a:pos x="connsiteX75188" y="connsiteY75188"/>
              </a:cxn>
              <a:cxn ang="0">
                <a:pos x="connsiteX75189" y="connsiteY75189"/>
              </a:cxn>
              <a:cxn ang="0">
                <a:pos x="connsiteX75190" y="connsiteY75190"/>
              </a:cxn>
              <a:cxn ang="0">
                <a:pos x="connsiteX75191" y="connsiteY75191"/>
              </a:cxn>
              <a:cxn ang="0">
                <a:pos x="connsiteX75192" y="connsiteY75192"/>
              </a:cxn>
              <a:cxn ang="0">
                <a:pos x="connsiteX75193" y="connsiteY75193"/>
              </a:cxn>
              <a:cxn ang="0">
                <a:pos x="connsiteX75194" y="connsiteY75194"/>
              </a:cxn>
              <a:cxn ang="0">
                <a:pos x="connsiteX75195" y="connsiteY75195"/>
              </a:cxn>
              <a:cxn ang="0">
                <a:pos x="connsiteX75196" y="connsiteY75196"/>
              </a:cxn>
              <a:cxn ang="0">
                <a:pos x="connsiteX75197" y="connsiteY75197"/>
              </a:cxn>
              <a:cxn ang="0">
                <a:pos x="connsiteX75198" y="connsiteY75198"/>
              </a:cxn>
              <a:cxn ang="0">
                <a:pos x="connsiteX75199" y="connsiteY75199"/>
              </a:cxn>
              <a:cxn ang="0">
                <a:pos x="connsiteX75200" y="connsiteY75200"/>
              </a:cxn>
              <a:cxn ang="0">
                <a:pos x="connsiteX75201" y="connsiteY75201"/>
              </a:cxn>
              <a:cxn ang="0">
                <a:pos x="connsiteX75202" y="connsiteY75202"/>
              </a:cxn>
              <a:cxn ang="0">
                <a:pos x="connsiteX75203" y="connsiteY75203"/>
              </a:cxn>
              <a:cxn ang="0">
                <a:pos x="connsiteX75204" y="connsiteY75204"/>
              </a:cxn>
              <a:cxn ang="0">
                <a:pos x="connsiteX75205" y="connsiteY75205"/>
              </a:cxn>
              <a:cxn ang="0">
                <a:pos x="connsiteX75206" y="connsiteY75206"/>
              </a:cxn>
              <a:cxn ang="0">
                <a:pos x="connsiteX75207" y="connsiteY75207"/>
              </a:cxn>
              <a:cxn ang="0">
                <a:pos x="connsiteX75208" y="connsiteY75208"/>
              </a:cxn>
              <a:cxn ang="0">
                <a:pos x="connsiteX75209" y="connsiteY75209"/>
              </a:cxn>
              <a:cxn ang="0">
                <a:pos x="connsiteX75210" y="connsiteY75210"/>
              </a:cxn>
              <a:cxn ang="0">
                <a:pos x="connsiteX75211" y="connsiteY75211"/>
              </a:cxn>
              <a:cxn ang="0">
                <a:pos x="connsiteX75212" y="connsiteY75212"/>
              </a:cxn>
              <a:cxn ang="0">
                <a:pos x="connsiteX75213" y="connsiteY75213"/>
              </a:cxn>
              <a:cxn ang="0">
                <a:pos x="connsiteX75214" y="connsiteY75214"/>
              </a:cxn>
              <a:cxn ang="0">
                <a:pos x="connsiteX75215" y="connsiteY75215"/>
              </a:cxn>
              <a:cxn ang="0">
                <a:pos x="connsiteX75216" y="connsiteY75216"/>
              </a:cxn>
              <a:cxn ang="0">
                <a:pos x="connsiteX75217" y="connsiteY75217"/>
              </a:cxn>
              <a:cxn ang="0">
                <a:pos x="connsiteX75218" y="connsiteY75218"/>
              </a:cxn>
              <a:cxn ang="0">
                <a:pos x="connsiteX75219" y="connsiteY75219"/>
              </a:cxn>
              <a:cxn ang="0">
                <a:pos x="connsiteX75220" y="connsiteY75220"/>
              </a:cxn>
              <a:cxn ang="0">
                <a:pos x="connsiteX75221" y="connsiteY75221"/>
              </a:cxn>
              <a:cxn ang="0">
                <a:pos x="connsiteX75222" y="connsiteY75222"/>
              </a:cxn>
              <a:cxn ang="0">
                <a:pos x="connsiteX75223" y="connsiteY75223"/>
              </a:cxn>
              <a:cxn ang="0">
                <a:pos x="connsiteX75224" y="connsiteY75224"/>
              </a:cxn>
              <a:cxn ang="0">
                <a:pos x="connsiteX75225" y="connsiteY75225"/>
              </a:cxn>
              <a:cxn ang="0">
                <a:pos x="connsiteX75226" y="connsiteY75226"/>
              </a:cxn>
              <a:cxn ang="0">
                <a:pos x="connsiteX75227" y="connsiteY75227"/>
              </a:cxn>
              <a:cxn ang="0">
                <a:pos x="connsiteX75228" y="connsiteY75228"/>
              </a:cxn>
              <a:cxn ang="0">
                <a:pos x="connsiteX75229" y="connsiteY75229"/>
              </a:cxn>
              <a:cxn ang="0">
                <a:pos x="connsiteX75230" y="connsiteY75230"/>
              </a:cxn>
              <a:cxn ang="0">
                <a:pos x="connsiteX75231" y="connsiteY75231"/>
              </a:cxn>
              <a:cxn ang="0">
                <a:pos x="connsiteX75232" y="connsiteY75232"/>
              </a:cxn>
              <a:cxn ang="0">
                <a:pos x="connsiteX75233" y="connsiteY75233"/>
              </a:cxn>
              <a:cxn ang="0">
                <a:pos x="connsiteX75234" y="connsiteY75234"/>
              </a:cxn>
              <a:cxn ang="0">
                <a:pos x="connsiteX75235" y="connsiteY75235"/>
              </a:cxn>
              <a:cxn ang="0">
                <a:pos x="connsiteX75236" y="connsiteY75236"/>
              </a:cxn>
              <a:cxn ang="0">
                <a:pos x="connsiteX75237" y="connsiteY75237"/>
              </a:cxn>
              <a:cxn ang="0">
                <a:pos x="connsiteX75238" y="connsiteY75238"/>
              </a:cxn>
              <a:cxn ang="0">
                <a:pos x="connsiteX75239" y="connsiteY75239"/>
              </a:cxn>
              <a:cxn ang="0">
                <a:pos x="connsiteX75240" y="connsiteY75240"/>
              </a:cxn>
              <a:cxn ang="0">
                <a:pos x="connsiteX75241" y="connsiteY75241"/>
              </a:cxn>
              <a:cxn ang="0">
                <a:pos x="connsiteX75242" y="connsiteY75242"/>
              </a:cxn>
              <a:cxn ang="0">
                <a:pos x="connsiteX75243" y="connsiteY75243"/>
              </a:cxn>
              <a:cxn ang="0">
                <a:pos x="connsiteX75244" y="connsiteY75244"/>
              </a:cxn>
              <a:cxn ang="0">
                <a:pos x="connsiteX75245" y="connsiteY75245"/>
              </a:cxn>
              <a:cxn ang="0">
                <a:pos x="connsiteX75246" y="connsiteY75246"/>
              </a:cxn>
              <a:cxn ang="0">
                <a:pos x="connsiteX75247" y="connsiteY75247"/>
              </a:cxn>
              <a:cxn ang="0">
                <a:pos x="connsiteX75248" y="connsiteY75248"/>
              </a:cxn>
              <a:cxn ang="0">
                <a:pos x="connsiteX75249" y="connsiteY75249"/>
              </a:cxn>
              <a:cxn ang="0">
                <a:pos x="connsiteX75250" y="connsiteY75250"/>
              </a:cxn>
              <a:cxn ang="0">
                <a:pos x="connsiteX75251" y="connsiteY75251"/>
              </a:cxn>
              <a:cxn ang="0">
                <a:pos x="connsiteX75252" y="connsiteY75252"/>
              </a:cxn>
              <a:cxn ang="0">
                <a:pos x="connsiteX75253" y="connsiteY75253"/>
              </a:cxn>
              <a:cxn ang="0">
                <a:pos x="connsiteX75254" y="connsiteY75254"/>
              </a:cxn>
              <a:cxn ang="0">
                <a:pos x="connsiteX75255" y="connsiteY75255"/>
              </a:cxn>
              <a:cxn ang="0">
                <a:pos x="connsiteX75256" y="connsiteY75256"/>
              </a:cxn>
              <a:cxn ang="0">
                <a:pos x="connsiteX75257" y="connsiteY75257"/>
              </a:cxn>
              <a:cxn ang="0">
                <a:pos x="connsiteX75258" y="connsiteY75258"/>
              </a:cxn>
              <a:cxn ang="0">
                <a:pos x="connsiteX75259" y="connsiteY75259"/>
              </a:cxn>
              <a:cxn ang="0">
                <a:pos x="connsiteX75260" y="connsiteY75260"/>
              </a:cxn>
              <a:cxn ang="0">
                <a:pos x="connsiteX75261" y="connsiteY75261"/>
              </a:cxn>
              <a:cxn ang="0">
                <a:pos x="connsiteX75262" y="connsiteY75262"/>
              </a:cxn>
              <a:cxn ang="0">
                <a:pos x="connsiteX75263" y="connsiteY75263"/>
              </a:cxn>
              <a:cxn ang="0">
                <a:pos x="connsiteX75264" y="connsiteY75264"/>
              </a:cxn>
              <a:cxn ang="0">
                <a:pos x="connsiteX75265" y="connsiteY75265"/>
              </a:cxn>
              <a:cxn ang="0">
                <a:pos x="connsiteX75266" y="connsiteY75266"/>
              </a:cxn>
              <a:cxn ang="0">
                <a:pos x="connsiteX75267" y="connsiteY75267"/>
              </a:cxn>
              <a:cxn ang="0">
                <a:pos x="connsiteX75268" y="connsiteY75268"/>
              </a:cxn>
              <a:cxn ang="0">
                <a:pos x="connsiteX75269" y="connsiteY75269"/>
              </a:cxn>
              <a:cxn ang="0">
                <a:pos x="connsiteX75270" y="connsiteY75270"/>
              </a:cxn>
              <a:cxn ang="0">
                <a:pos x="connsiteX75271" y="connsiteY75271"/>
              </a:cxn>
              <a:cxn ang="0">
                <a:pos x="connsiteX75272" y="connsiteY75272"/>
              </a:cxn>
              <a:cxn ang="0">
                <a:pos x="connsiteX75273" y="connsiteY75273"/>
              </a:cxn>
              <a:cxn ang="0">
                <a:pos x="connsiteX75274" y="connsiteY75274"/>
              </a:cxn>
              <a:cxn ang="0">
                <a:pos x="connsiteX75275" y="connsiteY75275"/>
              </a:cxn>
              <a:cxn ang="0">
                <a:pos x="connsiteX75276" y="connsiteY75276"/>
              </a:cxn>
              <a:cxn ang="0">
                <a:pos x="connsiteX75277" y="connsiteY75277"/>
              </a:cxn>
              <a:cxn ang="0">
                <a:pos x="connsiteX75278" y="connsiteY75278"/>
              </a:cxn>
              <a:cxn ang="0">
                <a:pos x="connsiteX75279" y="connsiteY75279"/>
              </a:cxn>
              <a:cxn ang="0">
                <a:pos x="connsiteX75280" y="connsiteY75280"/>
              </a:cxn>
              <a:cxn ang="0">
                <a:pos x="connsiteX75281" y="connsiteY75281"/>
              </a:cxn>
              <a:cxn ang="0">
                <a:pos x="connsiteX75282" y="connsiteY75282"/>
              </a:cxn>
              <a:cxn ang="0">
                <a:pos x="connsiteX75283" y="connsiteY75283"/>
              </a:cxn>
              <a:cxn ang="0">
                <a:pos x="connsiteX75284" y="connsiteY75284"/>
              </a:cxn>
              <a:cxn ang="0">
                <a:pos x="connsiteX75285" y="connsiteY75285"/>
              </a:cxn>
              <a:cxn ang="0">
                <a:pos x="connsiteX75286" y="connsiteY75286"/>
              </a:cxn>
              <a:cxn ang="0">
                <a:pos x="connsiteX75287" y="connsiteY75287"/>
              </a:cxn>
              <a:cxn ang="0">
                <a:pos x="connsiteX75288" y="connsiteY75288"/>
              </a:cxn>
              <a:cxn ang="0">
                <a:pos x="connsiteX75289" y="connsiteY75289"/>
              </a:cxn>
              <a:cxn ang="0">
                <a:pos x="connsiteX75290" y="connsiteY75290"/>
              </a:cxn>
              <a:cxn ang="0">
                <a:pos x="connsiteX75291" y="connsiteY75291"/>
              </a:cxn>
              <a:cxn ang="0">
                <a:pos x="connsiteX75292" y="connsiteY75292"/>
              </a:cxn>
              <a:cxn ang="0">
                <a:pos x="connsiteX75293" y="connsiteY75293"/>
              </a:cxn>
              <a:cxn ang="0">
                <a:pos x="connsiteX75294" y="connsiteY75294"/>
              </a:cxn>
              <a:cxn ang="0">
                <a:pos x="connsiteX75295" y="connsiteY75295"/>
              </a:cxn>
              <a:cxn ang="0">
                <a:pos x="connsiteX75296" y="connsiteY75296"/>
              </a:cxn>
              <a:cxn ang="0">
                <a:pos x="connsiteX75297" y="connsiteY75297"/>
              </a:cxn>
              <a:cxn ang="0">
                <a:pos x="connsiteX75298" y="connsiteY75298"/>
              </a:cxn>
              <a:cxn ang="0">
                <a:pos x="connsiteX75299" y="connsiteY75299"/>
              </a:cxn>
              <a:cxn ang="0">
                <a:pos x="connsiteX75300" y="connsiteY75300"/>
              </a:cxn>
              <a:cxn ang="0">
                <a:pos x="connsiteX75301" y="connsiteY75301"/>
              </a:cxn>
              <a:cxn ang="0">
                <a:pos x="connsiteX75302" y="connsiteY75302"/>
              </a:cxn>
              <a:cxn ang="0">
                <a:pos x="connsiteX75303" y="connsiteY75303"/>
              </a:cxn>
              <a:cxn ang="0">
                <a:pos x="connsiteX75304" y="connsiteY75304"/>
              </a:cxn>
              <a:cxn ang="0">
                <a:pos x="connsiteX75305" y="connsiteY75305"/>
              </a:cxn>
              <a:cxn ang="0">
                <a:pos x="connsiteX75306" y="connsiteY75306"/>
              </a:cxn>
              <a:cxn ang="0">
                <a:pos x="connsiteX75307" y="connsiteY75307"/>
              </a:cxn>
              <a:cxn ang="0">
                <a:pos x="connsiteX75308" y="connsiteY75308"/>
              </a:cxn>
              <a:cxn ang="0">
                <a:pos x="connsiteX75309" y="connsiteY75309"/>
              </a:cxn>
              <a:cxn ang="0">
                <a:pos x="connsiteX75310" y="connsiteY75310"/>
              </a:cxn>
              <a:cxn ang="0">
                <a:pos x="connsiteX75311" y="connsiteY75311"/>
              </a:cxn>
              <a:cxn ang="0">
                <a:pos x="connsiteX75312" y="connsiteY75312"/>
              </a:cxn>
              <a:cxn ang="0">
                <a:pos x="connsiteX75313" y="connsiteY75313"/>
              </a:cxn>
              <a:cxn ang="0">
                <a:pos x="connsiteX75314" y="connsiteY75314"/>
              </a:cxn>
              <a:cxn ang="0">
                <a:pos x="connsiteX75315" y="connsiteY75315"/>
              </a:cxn>
              <a:cxn ang="0">
                <a:pos x="connsiteX75316" y="connsiteY75316"/>
              </a:cxn>
              <a:cxn ang="0">
                <a:pos x="connsiteX75317" y="connsiteY75317"/>
              </a:cxn>
              <a:cxn ang="0">
                <a:pos x="connsiteX75318" y="connsiteY75318"/>
              </a:cxn>
              <a:cxn ang="0">
                <a:pos x="connsiteX75319" y="connsiteY75319"/>
              </a:cxn>
              <a:cxn ang="0">
                <a:pos x="connsiteX75320" y="connsiteY75320"/>
              </a:cxn>
              <a:cxn ang="0">
                <a:pos x="connsiteX75321" y="connsiteY75321"/>
              </a:cxn>
              <a:cxn ang="0">
                <a:pos x="connsiteX75322" y="connsiteY75322"/>
              </a:cxn>
              <a:cxn ang="0">
                <a:pos x="connsiteX75323" y="connsiteY75323"/>
              </a:cxn>
              <a:cxn ang="0">
                <a:pos x="connsiteX75324" y="connsiteY75324"/>
              </a:cxn>
              <a:cxn ang="0">
                <a:pos x="connsiteX75325" y="connsiteY75325"/>
              </a:cxn>
              <a:cxn ang="0">
                <a:pos x="connsiteX75326" y="connsiteY75326"/>
              </a:cxn>
              <a:cxn ang="0">
                <a:pos x="connsiteX75327" y="connsiteY75327"/>
              </a:cxn>
              <a:cxn ang="0">
                <a:pos x="connsiteX75328" y="connsiteY75328"/>
              </a:cxn>
              <a:cxn ang="0">
                <a:pos x="connsiteX75329" y="connsiteY75329"/>
              </a:cxn>
              <a:cxn ang="0">
                <a:pos x="connsiteX75330" y="connsiteY75330"/>
              </a:cxn>
              <a:cxn ang="0">
                <a:pos x="connsiteX75331" y="connsiteY75331"/>
              </a:cxn>
              <a:cxn ang="0">
                <a:pos x="connsiteX75332" y="connsiteY75332"/>
              </a:cxn>
              <a:cxn ang="0">
                <a:pos x="connsiteX75333" y="connsiteY75333"/>
              </a:cxn>
              <a:cxn ang="0">
                <a:pos x="connsiteX75334" y="connsiteY75334"/>
              </a:cxn>
              <a:cxn ang="0">
                <a:pos x="connsiteX75335" y="connsiteY75335"/>
              </a:cxn>
              <a:cxn ang="0">
                <a:pos x="connsiteX75336" y="connsiteY75336"/>
              </a:cxn>
              <a:cxn ang="0">
                <a:pos x="connsiteX75337" y="connsiteY75337"/>
              </a:cxn>
              <a:cxn ang="0">
                <a:pos x="connsiteX75338" y="connsiteY75338"/>
              </a:cxn>
              <a:cxn ang="0">
                <a:pos x="connsiteX75339" y="connsiteY75339"/>
              </a:cxn>
              <a:cxn ang="0">
                <a:pos x="connsiteX75340" y="connsiteY75340"/>
              </a:cxn>
              <a:cxn ang="0">
                <a:pos x="connsiteX75341" y="connsiteY75341"/>
              </a:cxn>
              <a:cxn ang="0">
                <a:pos x="connsiteX75342" y="connsiteY75342"/>
              </a:cxn>
              <a:cxn ang="0">
                <a:pos x="connsiteX75343" y="connsiteY75343"/>
              </a:cxn>
              <a:cxn ang="0">
                <a:pos x="connsiteX75344" y="connsiteY75344"/>
              </a:cxn>
              <a:cxn ang="0">
                <a:pos x="connsiteX75345" y="connsiteY75345"/>
              </a:cxn>
              <a:cxn ang="0">
                <a:pos x="connsiteX75346" y="connsiteY75346"/>
              </a:cxn>
              <a:cxn ang="0">
                <a:pos x="connsiteX75347" y="connsiteY75347"/>
              </a:cxn>
              <a:cxn ang="0">
                <a:pos x="connsiteX75348" y="connsiteY75348"/>
              </a:cxn>
              <a:cxn ang="0">
                <a:pos x="connsiteX75349" y="connsiteY75349"/>
              </a:cxn>
              <a:cxn ang="0">
                <a:pos x="connsiteX75350" y="connsiteY75350"/>
              </a:cxn>
              <a:cxn ang="0">
                <a:pos x="connsiteX75351" y="connsiteY75351"/>
              </a:cxn>
              <a:cxn ang="0">
                <a:pos x="connsiteX75352" y="connsiteY75352"/>
              </a:cxn>
              <a:cxn ang="0">
                <a:pos x="connsiteX75353" y="connsiteY75353"/>
              </a:cxn>
              <a:cxn ang="0">
                <a:pos x="connsiteX75354" y="connsiteY75354"/>
              </a:cxn>
              <a:cxn ang="0">
                <a:pos x="connsiteX75355" y="connsiteY75355"/>
              </a:cxn>
              <a:cxn ang="0">
                <a:pos x="connsiteX75356" y="connsiteY75356"/>
              </a:cxn>
              <a:cxn ang="0">
                <a:pos x="connsiteX75357" y="connsiteY75357"/>
              </a:cxn>
              <a:cxn ang="0">
                <a:pos x="connsiteX75358" y="connsiteY75358"/>
              </a:cxn>
              <a:cxn ang="0">
                <a:pos x="connsiteX75359" y="connsiteY75359"/>
              </a:cxn>
              <a:cxn ang="0">
                <a:pos x="connsiteX75360" y="connsiteY75360"/>
              </a:cxn>
              <a:cxn ang="0">
                <a:pos x="connsiteX75361" y="connsiteY75361"/>
              </a:cxn>
              <a:cxn ang="0">
                <a:pos x="connsiteX75362" y="connsiteY75362"/>
              </a:cxn>
              <a:cxn ang="0">
                <a:pos x="connsiteX75363" y="connsiteY75363"/>
              </a:cxn>
              <a:cxn ang="0">
                <a:pos x="connsiteX75364" y="connsiteY75364"/>
              </a:cxn>
              <a:cxn ang="0">
                <a:pos x="connsiteX75365" y="connsiteY75365"/>
              </a:cxn>
              <a:cxn ang="0">
                <a:pos x="connsiteX75366" y="connsiteY75366"/>
              </a:cxn>
              <a:cxn ang="0">
                <a:pos x="connsiteX75367" y="connsiteY75367"/>
              </a:cxn>
              <a:cxn ang="0">
                <a:pos x="connsiteX75368" y="connsiteY75368"/>
              </a:cxn>
              <a:cxn ang="0">
                <a:pos x="connsiteX75369" y="connsiteY75369"/>
              </a:cxn>
              <a:cxn ang="0">
                <a:pos x="connsiteX75370" y="connsiteY75370"/>
              </a:cxn>
              <a:cxn ang="0">
                <a:pos x="connsiteX75371" y="connsiteY75371"/>
              </a:cxn>
              <a:cxn ang="0">
                <a:pos x="connsiteX75372" y="connsiteY75372"/>
              </a:cxn>
              <a:cxn ang="0">
                <a:pos x="connsiteX75373" y="connsiteY75373"/>
              </a:cxn>
              <a:cxn ang="0">
                <a:pos x="connsiteX75374" y="connsiteY75374"/>
              </a:cxn>
              <a:cxn ang="0">
                <a:pos x="connsiteX75375" y="connsiteY75375"/>
              </a:cxn>
              <a:cxn ang="0">
                <a:pos x="connsiteX75376" y="connsiteY75376"/>
              </a:cxn>
              <a:cxn ang="0">
                <a:pos x="connsiteX75377" y="connsiteY75377"/>
              </a:cxn>
              <a:cxn ang="0">
                <a:pos x="connsiteX75378" y="connsiteY75378"/>
              </a:cxn>
              <a:cxn ang="0">
                <a:pos x="connsiteX75379" y="connsiteY75379"/>
              </a:cxn>
              <a:cxn ang="0">
                <a:pos x="connsiteX75380" y="connsiteY75380"/>
              </a:cxn>
              <a:cxn ang="0">
                <a:pos x="connsiteX75381" y="connsiteY75381"/>
              </a:cxn>
              <a:cxn ang="0">
                <a:pos x="connsiteX75382" y="connsiteY75382"/>
              </a:cxn>
              <a:cxn ang="0">
                <a:pos x="connsiteX75383" y="connsiteY75383"/>
              </a:cxn>
              <a:cxn ang="0">
                <a:pos x="connsiteX75384" y="connsiteY75384"/>
              </a:cxn>
              <a:cxn ang="0">
                <a:pos x="connsiteX75385" y="connsiteY75385"/>
              </a:cxn>
              <a:cxn ang="0">
                <a:pos x="connsiteX75386" y="connsiteY75386"/>
              </a:cxn>
              <a:cxn ang="0">
                <a:pos x="connsiteX75387" y="connsiteY75387"/>
              </a:cxn>
              <a:cxn ang="0">
                <a:pos x="connsiteX75388" y="connsiteY75388"/>
              </a:cxn>
              <a:cxn ang="0">
                <a:pos x="connsiteX75389" y="connsiteY75389"/>
              </a:cxn>
              <a:cxn ang="0">
                <a:pos x="connsiteX75390" y="connsiteY75390"/>
              </a:cxn>
              <a:cxn ang="0">
                <a:pos x="connsiteX75391" y="connsiteY75391"/>
              </a:cxn>
              <a:cxn ang="0">
                <a:pos x="connsiteX75392" y="connsiteY75392"/>
              </a:cxn>
              <a:cxn ang="0">
                <a:pos x="connsiteX75393" y="connsiteY75393"/>
              </a:cxn>
              <a:cxn ang="0">
                <a:pos x="connsiteX75394" y="connsiteY75394"/>
              </a:cxn>
              <a:cxn ang="0">
                <a:pos x="connsiteX75395" y="connsiteY75395"/>
              </a:cxn>
              <a:cxn ang="0">
                <a:pos x="connsiteX75396" y="connsiteY75396"/>
              </a:cxn>
              <a:cxn ang="0">
                <a:pos x="connsiteX75397" y="connsiteY75397"/>
              </a:cxn>
              <a:cxn ang="0">
                <a:pos x="connsiteX75398" y="connsiteY75398"/>
              </a:cxn>
              <a:cxn ang="0">
                <a:pos x="connsiteX75399" y="connsiteY75399"/>
              </a:cxn>
              <a:cxn ang="0">
                <a:pos x="connsiteX75400" y="connsiteY75400"/>
              </a:cxn>
              <a:cxn ang="0">
                <a:pos x="connsiteX75401" y="connsiteY75401"/>
              </a:cxn>
              <a:cxn ang="0">
                <a:pos x="connsiteX75402" y="connsiteY75402"/>
              </a:cxn>
              <a:cxn ang="0">
                <a:pos x="connsiteX75403" y="connsiteY75403"/>
              </a:cxn>
              <a:cxn ang="0">
                <a:pos x="connsiteX75404" y="connsiteY75404"/>
              </a:cxn>
              <a:cxn ang="0">
                <a:pos x="connsiteX75405" y="connsiteY75405"/>
              </a:cxn>
              <a:cxn ang="0">
                <a:pos x="connsiteX75406" y="connsiteY75406"/>
              </a:cxn>
              <a:cxn ang="0">
                <a:pos x="connsiteX75407" y="connsiteY75407"/>
              </a:cxn>
              <a:cxn ang="0">
                <a:pos x="connsiteX75408" y="connsiteY75408"/>
              </a:cxn>
              <a:cxn ang="0">
                <a:pos x="connsiteX75409" y="connsiteY75409"/>
              </a:cxn>
              <a:cxn ang="0">
                <a:pos x="connsiteX75410" y="connsiteY75410"/>
              </a:cxn>
              <a:cxn ang="0">
                <a:pos x="connsiteX75411" y="connsiteY75411"/>
              </a:cxn>
              <a:cxn ang="0">
                <a:pos x="connsiteX75412" y="connsiteY75412"/>
              </a:cxn>
              <a:cxn ang="0">
                <a:pos x="connsiteX75413" y="connsiteY75413"/>
              </a:cxn>
              <a:cxn ang="0">
                <a:pos x="connsiteX75414" y="connsiteY75414"/>
              </a:cxn>
              <a:cxn ang="0">
                <a:pos x="connsiteX75415" y="connsiteY75415"/>
              </a:cxn>
              <a:cxn ang="0">
                <a:pos x="connsiteX75416" y="connsiteY75416"/>
              </a:cxn>
              <a:cxn ang="0">
                <a:pos x="connsiteX75417" y="connsiteY75417"/>
              </a:cxn>
              <a:cxn ang="0">
                <a:pos x="connsiteX75418" y="connsiteY75418"/>
              </a:cxn>
              <a:cxn ang="0">
                <a:pos x="connsiteX75419" y="connsiteY75419"/>
              </a:cxn>
              <a:cxn ang="0">
                <a:pos x="connsiteX75420" y="connsiteY75420"/>
              </a:cxn>
              <a:cxn ang="0">
                <a:pos x="connsiteX75421" y="connsiteY75421"/>
              </a:cxn>
              <a:cxn ang="0">
                <a:pos x="connsiteX75422" y="connsiteY75422"/>
              </a:cxn>
              <a:cxn ang="0">
                <a:pos x="connsiteX75423" y="connsiteY75423"/>
              </a:cxn>
              <a:cxn ang="0">
                <a:pos x="connsiteX75424" y="connsiteY75424"/>
              </a:cxn>
              <a:cxn ang="0">
                <a:pos x="connsiteX75425" y="connsiteY75425"/>
              </a:cxn>
              <a:cxn ang="0">
                <a:pos x="connsiteX75426" y="connsiteY75426"/>
              </a:cxn>
              <a:cxn ang="0">
                <a:pos x="connsiteX75427" y="connsiteY75427"/>
              </a:cxn>
              <a:cxn ang="0">
                <a:pos x="connsiteX75428" y="connsiteY75428"/>
              </a:cxn>
              <a:cxn ang="0">
                <a:pos x="connsiteX75429" y="connsiteY75429"/>
              </a:cxn>
              <a:cxn ang="0">
                <a:pos x="connsiteX75430" y="connsiteY75430"/>
              </a:cxn>
              <a:cxn ang="0">
                <a:pos x="connsiteX75431" y="connsiteY75431"/>
              </a:cxn>
              <a:cxn ang="0">
                <a:pos x="connsiteX75432" y="connsiteY75432"/>
              </a:cxn>
              <a:cxn ang="0">
                <a:pos x="connsiteX75433" y="connsiteY75433"/>
              </a:cxn>
              <a:cxn ang="0">
                <a:pos x="connsiteX75434" y="connsiteY75434"/>
              </a:cxn>
              <a:cxn ang="0">
                <a:pos x="connsiteX75435" y="connsiteY75435"/>
              </a:cxn>
              <a:cxn ang="0">
                <a:pos x="connsiteX75436" y="connsiteY75436"/>
              </a:cxn>
              <a:cxn ang="0">
                <a:pos x="connsiteX75437" y="connsiteY75437"/>
              </a:cxn>
              <a:cxn ang="0">
                <a:pos x="connsiteX75438" y="connsiteY75438"/>
              </a:cxn>
              <a:cxn ang="0">
                <a:pos x="connsiteX75439" y="connsiteY75439"/>
              </a:cxn>
              <a:cxn ang="0">
                <a:pos x="connsiteX75440" y="connsiteY75440"/>
              </a:cxn>
              <a:cxn ang="0">
                <a:pos x="connsiteX75441" y="connsiteY75441"/>
              </a:cxn>
              <a:cxn ang="0">
                <a:pos x="connsiteX75442" y="connsiteY75442"/>
              </a:cxn>
              <a:cxn ang="0">
                <a:pos x="connsiteX75443" y="connsiteY75443"/>
              </a:cxn>
              <a:cxn ang="0">
                <a:pos x="connsiteX75444" y="connsiteY75444"/>
              </a:cxn>
              <a:cxn ang="0">
                <a:pos x="connsiteX75445" y="connsiteY75445"/>
              </a:cxn>
              <a:cxn ang="0">
                <a:pos x="connsiteX75446" y="connsiteY75446"/>
              </a:cxn>
              <a:cxn ang="0">
                <a:pos x="connsiteX75447" y="connsiteY75447"/>
              </a:cxn>
              <a:cxn ang="0">
                <a:pos x="connsiteX75448" y="connsiteY75448"/>
              </a:cxn>
              <a:cxn ang="0">
                <a:pos x="connsiteX75449" y="connsiteY75449"/>
              </a:cxn>
              <a:cxn ang="0">
                <a:pos x="connsiteX75450" y="connsiteY75450"/>
              </a:cxn>
              <a:cxn ang="0">
                <a:pos x="connsiteX75451" y="connsiteY75451"/>
              </a:cxn>
              <a:cxn ang="0">
                <a:pos x="connsiteX75452" y="connsiteY75452"/>
              </a:cxn>
              <a:cxn ang="0">
                <a:pos x="connsiteX75453" y="connsiteY75453"/>
              </a:cxn>
              <a:cxn ang="0">
                <a:pos x="connsiteX75454" y="connsiteY75454"/>
              </a:cxn>
              <a:cxn ang="0">
                <a:pos x="connsiteX75455" y="connsiteY75455"/>
              </a:cxn>
              <a:cxn ang="0">
                <a:pos x="connsiteX75456" y="connsiteY75456"/>
              </a:cxn>
              <a:cxn ang="0">
                <a:pos x="connsiteX75457" y="connsiteY75457"/>
              </a:cxn>
              <a:cxn ang="0">
                <a:pos x="connsiteX75458" y="connsiteY75458"/>
              </a:cxn>
              <a:cxn ang="0">
                <a:pos x="connsiteX75459" y="connsiteY75459"/>
              </a:cxn>
              <a:cxn ang="0">
                <a:pos x="connsiteX75460" y="connsiteY75460"/>
              </a:cxn>
              <a:cxn ang="0">
                <a:pos x="connsiteX75461" y="connsiteY75461"/>
              </a:cxn>
              <a:cxn ang="0">
                <a:pos x="connsiteX75462" y="connsiteY75462"/>
              </a:cxn>
              <a:cxn ang="0">
                <a:pos x="connsiteX75463" y="connsiteY75463"/>
              </a:cxn>
              <a:cxn ang="0">
                <a:pos x="connsiteX75464" y="connsiteY75464"/>
              </a:cxn>
              <a:cxn ang="0">
                <a:pos x="connsiteX75465" y="connsiteY75465"/>
              </a:cxn>
              <a:cxn ang="0">
                <a:pos x="connsiteX75466" y="connsiteY75466"/>
              </a:cxn>
              <a:cxn ang="0">
                <a:pos x="connsiteX75467" y="connsiteY75467"/>
              </a:cxn>
              <a:cxn ang="0">
                <a:pos x="connsiteX75468" y="connsiteY75468"/>
              </a:cxn>
              <a:cxn ang="0">
                <a:pos x="connsiteX75469" y="connsiteY75469"/>
              </a:cxn>
              <a:cxn ang="0">
                <a:pos x="connsiteX75470" y="connsiteY75470"/>
              </a:cxn>
              <a:cxn ang="0">
                <a:pos x="connsiteX75471" y="connsiteY75471"/>
              </a:cxn>
              <a:cxn ang="0">
                <a:pos x="connsiteX75472" y="connsiteY75472"/>
              </a:cxn>
              <a:cxn ang="0">
                <a:pos x="connsiteX75473" y="connsiteY75473"/>
              </a:cxn>
              <a:cxn ang="0">
                <a:pos x="connsiteX75474" y="connsiteY75474"/>
              </a:cxn>
              <a:cxn ang="0">
                <a:pos x="connsiteX75475" y="connsiteY75475"/>
              </a:cxn>
              <a:cxn ang="0">
                <a:pos x="connsiteX75476" y="connsiteY75476"/>
              </a:cxn>
              <a:cxn ang="0">
                <a:pos x="connsiteX75477" y="connsiteY75477"/>
              </a:cxn>
              <a:cxn ang="0">
                <a:pos x="connsiteX75478" y="connsiteY75478"/>
              </a:cxn>
              <a:cxn ang="0">
                <a:pos x="connsiteX75479" y="connsiteY75479"/>
              </a:cxn>
              <a:cxn ang="0">
                <a:pos x="connsiteX75480" y="connsiteY75480"/>
              </a:cxn>
              <a:cxn ang="0">
                <a:pos x="connsiteX75481" y="connsiteY75481"/>
              </a:cxn>
              <a:cxn ang="0">
                <a:pos x="connsiteX75482" y="connsiteY75482"/>
              </a:cxn>
              <a:cxn ang="0">
                <a:pos x="connsiteX75483" y="connsiteY75483"/>
              </a:cxn>
              <a:cxn ang="0">
                <a:pos x="connsiteX75484" y="connsiteY75484"/>
              </a:cxn>
              <a:cxn ang="0">
                <a:pos x="connsiteX75485" y="connsiteY75485"/>
              </a:cxn>
              <a:cxn ang="0">
                <a:pos x="connsiteX75486" y="connsiteY75486"/>
              </a:cxn>
              <a:cxn ang="0">
                <a:pos x="connsiteX75487" y="connsiteY75487"/>
              </a:cxn>
              <a:cxn ang="0">
                <a:pos x="connsiteX75488" y="connsiteY75488"/>
              </a:cxn>
              <a:cxn ang="0">
                <a:pos x="connsiteX75489" y="connsiteY75489"/>
              </a:cxn>
              <a:cxn ang="0">
                <a:pos x="connsiteX75490" y="connsiteY75490"/>
              </a:cxn>
              <a:cxn ang="0">
                <a:pos x="connsiteX75491" y="connsiteY75491"/>
              </a:cxn>
              <a:cxn ang="0">
                <a:pos x="connsiteX75492" y="connsiteY75492"/>
              </a:cxn>
              <a:cxn ang="0">
                <a:pos x="connsiteX75493" y="connsiteY75493"/>
              </a:cxn>
              <a:cxn ang="0">
                <a:pos x="connsiteX75494" y="connsiteY75494"/>
              </a:cxn>
              <a:cxn ang="0">
                <a:pos x="connsiteX75495" y="connsiteY75495"/>
              </a:cxn>
              <a:cxn ang="0">
                <a:pos x="connsiteX75496" y="connsiteY75496"/>
              </a:cxn>
              <a:cxn ang="0">
                <a:pos x="connsiteX75497" y="connsiteY75497"/>
              </a:cxn>
              <a:cxn ang="0">
                <a:pos x="connsiteX75498" y="connsiteY75498"/>
              </a:cxn>
              <a:cxn ang="0">
                <a:pos x="connsiteX75499" y="connsiteY75499"/>
              </a:cxn>
              <a:cxn ang="0">
                <a:pos x="connsiteX75500" y="connsiteY75500"/>
              </a:cxn>
              <a:cxn ang="0">
                <a:pos x="connsiteX75501" y="connsiteY75501"/>
              </a:cxn>
              <a:cxn ang="0">
                <a:pos x="connsiteX75502" y="connsiteY75502"/>
              </a:cxn>
              <a:cxn ang="0">
                <a:pos x="connsiteX75503" y="connsiteY75503"/>
              </a:cxn>
              <a:cxn ang="0">
                <a:pos x="connsiteX75504" y="connsiteY75504"/>
              </a:cxn>
              <a:cxn ang="0">
                <a:pos x="connsiteX75505" y="connsiteY75505"/>
              </a:cxn>
              <a:cxn ang="0">
                <a:pos x="connsiteX75506" y="connsiteY75506"/>
              </a:cxn>
              <a:cxn ang="0">
                <a:pos x="connsiteX75507" y="connsiteY75507"/>
              </a:cxn>
              <a:cxn ang="0">
                <a:pos x="connsiteX75508" y="connsiteY75508"/>
              </a:cxn>
              <a:cxn ang="0">
                <a:pos x="connsiteX75509" y="connsiteY75509"/>
              </a:cxn>
              <a:cxn ang="0">
                <a:pos x="connsiteX75510" y="connsiteY75510"/>
              </a:cxn>
              <a:cxn ang="0">
                <a:pos x="connsiteX75511" y="connsiteY75511"/>
              </a:cxn>
              <a:cxn ang="0">
                <a:pos x="connsiteX75512" y="connsiteY75512"/>
              </a:cxn>
              <a:cxn ang="0">
                <a:pos x="connsiteX75513" y="connsiteY75513"/>
              </a:cxn>
              <a:cxn ang="0">
                <a:pos x="connsiteX75514" y="connsiteY75514"/>
              </a:cxn>
              <a:cxn ang="0">
                <a:pos x="connsiteX75515" y="connsiteY75515"/>
              </a:cxn>
              <a:cxn ang="0">
                <a:pos x="connsiteX75516" y="connsiteY75516"/>
              </a:cxn>
              <a:cxn ang="0">
                <a:pos x="connsiteX75517" y="connsiteY75517"/>
              </a:cxn>
              <a:cxn ang="0">
                <a:pos x="connsiteX75518" y="connsiteY75518"/>
              </a:cxn>
              <a:cxn ang="0">
                <a:pos x="connsiteX75519" y="connsiteY75519"/>
              </a:cxn>
              <a:cxn ang="0">
                <a:pos x="connsiteX75520" y="connsiteY75520"/>
              </a:cxn>
              <a:cxn ang="0">
                <a:pos x="connsiteX75521" y="connsiteY75521"/>
              </a:cxn>
              <a:cxn ang="0">
                <a:pos x="connsiteX75522" y="connsiteY75522"/>
              </a:cxn>
              <a:cxn ang="0">
                <a:pos x="connsiteX75523" y="connsiteY75523"/>
              </a:cxn>
              <a:cxn ang="0">
                <a:pos x="connsiteX75524" y="connsiteY75524"/>
              </a:cxn>
              <a:cxn ang="0">
                <a:pos x="connsiteX75525" y="connsiteY75525"/>
              </a:cxn>
              <a:cxn ang="0">
                <a:pos x="connsiteX75526" y="connsiteY75526"/>
              </a:cxn>
              <a:cxn ang="0">
                <a:pos x="connsiteX75527" y="connsiteY75527"/>
              </a:cxn>
              <a:cxn ang="0">
                <a:pos x="connsiteX75528" y="connsiteY75528"/>
              </a:cxn>
              <a:cxn ang="0">
                <a:pos x="connsiteX75529" y="connsiteY75529"/>
              </a:cxn>
              <a:cxn ang="0">
                <a:pos x="connsiteX75530" y="connsiteY75530"/>
              </a:cxn>
              <a:cxn ang="0">
                <a:pos x="connsiteX75531" y="connsiteY75531"/>
              </a:cxn>
              <a:cxn ang="0">
                <a:pos x="connsiteX75532" y="connsiteY75532"/>
              </a:cxn>
              <a:cxn ang="0">
                <a:pos x="connsiteX75533" y="connsiteY75533"/>
              </a:cxn>
              <a:cxn ang="0">
                <a:pos x="connsiteX75534" y="connsiteY75534"/>
              </a:cxn>
              <a:cxn ang="0">
                <a:pos x="connsiteX75535" y="connsiteY75535"/>
              </a:cxn>
              <a:cxn ang="0">
                <a:pos x="connsiteX75536" y="connsiteY75536"/>
              </a:cxn>
              <a:cxn ang="0">
                <a:pos x="connsiteX75537" y="connsiteY75537"/>
              </a:cxn>
              <a:cxn ang="0">
                <a:pos x="connsiteX75538" y="connsiteY75538"/>
              </a:cxn>
              <a:cxn ang="0">
                <a:pos x="connsiteX75539" y="connsiteY75539"/>
              </a:cxn>
              <a:cxn ang="0">
                <a:pos x="connsiteX75540" y="connsiteY75540"/>
              </a:cxn>
              <a:cxn ang="0">
                <a:pos x="connsiteX75541" y="connsiteY75541"/>
              </a:cxn>
              <a:cxn ang="0">
                <a:pos x="connsiteX75542" y="connsiteY75542"/>
              </a:cxn>
              <a:cxn ang="0">
                <a:pos x="connsiteX75543" y="connsiteY75543"/>
              </a:cxn>
              <a:cxn ang="0">
                <a:pos x="connsiteX75544" y="connsiteY75544"/>
              </a:cxn>
              <a:cxn ang="0">
                <a:pos x="connsiteX75545" y="connsiteY75545"/>
              </a:cxn>
              <a:cxn ang="0">
                <a:pos x="connsiteX75546" y="connsiteY75546"/>
              </a:cxn>
              <a:cxn ang="0">
                <a:pos x="connsiteX75547" y="connsiteY75547"/>
              </a:cxn>
              <a:cxn ang="0">
                <a:pos x="connsiteX75548" y="connsiteY75548"/>
              </a:cxn>
              <a:cxn ang="0">
                <a:pos x="connsiteX75549" y="connsiteY75549"/>
              </a:cxn>
              <a:cxn ang="0">
                <a:pos x="connsiteX75550" y="connsiteY75550"/>
              </a:cxn>
              <a:cxn ang="0">
                <a:pos x="connsiteX75551" y="connsiteY75551"/>
              </a:cxn>
              <a:cxn ang="0">
                <a:pos x="connsiteX75552" y="connsiteY75552"/>
              </a:cxn>
              <a:cxn ang="0">
                <a:pos x="connsiteX75553" y="connsiteY75553"/>
              </a:cxn>
              <a:cxn ang="0">
                <a:pos x="connsiteX75554" y="connsiteY75554"/>
              </a:cxn>
              <a:cxn ang="0">
                <a:pos x="connsiteX75555" y="connsiteY75555"/>
              </a:cxn>
              <a:cxn ang="0">
                <a:pos x="connsiteX75556" y="connsiteY75556"/>
              </a:cxn>
              <a:cxn ang="0">
                <a:pos x="connsiteX75557" y="connsiteY75557"/>
              </a:cxn>
              <a:cxn ang="0">
                <a:pos x="connsiteX75558" y="connsiteY75558"/>
              </a:cxn>
              <a:cxn ang="0">
                <a:pos x="connsiteX75559" y="connsiteY75559"/>
              </a:cxn>
              <a:cxn ang="0">
                <a:pos x="connsiteX75560" y="connsiteY75560"/>
              </a:cxn>
              <a:cxn ang="0">
                <a:pos x="connsiteX75561" y="connsiteY75561"/>
              </a:cxn>
              <a:cxn ang="0">
                <a:pos x="connsiteX75562" y="connsiteY75562"/>
              </a:cxn>
              <a:cxn ang="0">
                <a:pos x="connsiteX75563" y="connsiteY75563"/>
              </a:cxn>
              <a:cxn ang="0">
                <a:pos x="connsiteX75564" y="connsiteY75564"/>
              </a:cxn>
              <a:cxn ang="0">
                <a:pos x="connsiteX75565" y="connsiteY75565"/>
              </a:cxn>
              <a:cxn ang="0">
                <a:pos x="connsiteX75566" y="connsiteY75566"/>
              </a:cxn>
              <a:cxn ang="0">
                <a:pos x="connsiteX75567" y="connsiteY75567"/>
              </a:cxn>
              <a:cxn ang="0">
                <a:pos x="connsiteX75568" y="connsiteY75568"/>
              </a:cxn>
              <a:cxn ang="0">
                <a:pos x="connsiteX75569" y="connsiteY75569"/>
              </a:cxn>
              <a:cxn ang="0">
                <a:pos x="connsiteX75570" y="connsiteY75570"/>
              </a:cxn>
              <a:cxn ang="0">
                <a:pos x="connsiteX75571" y="connsiteY75571"/>
              </a:cxn>
              <a:cxn ang="0">
                <a:pos x="connsiteX75572" y="connsiteY75572"/>
              </a:cxn>
              <a:cxn ang="0">
                <a:pos x="connsiteX75573" y="connsiteY75573"/>
              </a:cxn>
              <a:cxn ang="0">
                <a:pos x="connsiteX75574" y="connsiteY75574"/>
              </a:cxn>
              <a:cxn ang="0">
                <a:pos x="connsiteX75575" y="connsiteY75575"/>
              </a:cxn>
              <a:cxn ang="0">
                <a:pos x="connsiteX75576" y="connsiteY75576"/>
              </a:cxn>
              <a:cxn ang="0">
                <a:pos x="connsiteX75577" y="connsiteY75577"/>
              </a:cxn>
              <a:cxn ang="0">
                <a:pos x="connsiteX75578" y="connsiteY75578"/>
              </a:cxn>
              <a:cxn ang="0">
                <a:pos x="connsiteX75579" y="connsiteY75579"/>
              </a:cxn>
              <a:cxn ang="0">
                <a:pos x="connsiteX75580" y="connsiteY75580"/>
              </a:cxn>
              <a:cxn ang="0">
                <a:pos x="connsiteX75581" y="connsiteY75581"/>
              </a:cxn>
              <a:cxn ang="0">
                <a:pos x="connsiteX75582" y="connsiteY75582"/>
              </a:cxn>
              <a:cxn ang="0">
                <a:pos x="connsiteX75583" y="connsiteY75583"/>
              </a:cxn>
              <a:cxn ang="0">
                <a:pos x="connsiteX75584" y="connsiteY75584"/>
              </a:cxn>
              <a:cxn ang="0">
                <a:pos x="connsiteX75585" y="connsiteY75585"/>
              </a:cxn>
              <a:cxn ang="0">
                <a:pos x="connsiteX75586" y="connsiteY75586"/>
              </a:cxn>
              <a:cxn ang="0">
                <a:pos x="connsiteX75587" y="connsiteY75587"/>
              </a:cxn>
              <a:cxn ang="0">
                <a:pos x="connsiteX75588" y="connsiteY75588"/>
              </a:cxn>
              <a:cxn ang="0">
                <a:pos x="connsiteX75589" y="connsiteY75589"/>
              </a:cxn>
              <a:cxn ang="0">
                <a:pos x="connsiteX75590" y="connsiteY75590"/>
              </a:cxn>
              <a:cxn ang="0">
                <a:pos x="connsiteX75591" y="connsiteY75591"/>
              </a:cxn>
              <a:cxn ang="0">
                <a:pos x="connsiteX75592" y="connsiteY75592"/>
              </a:cxn>
              <a:cxn ang="0">
                <a:pos x="connsiteX75593" y="connsiteY75593"/>
              </a:cxn>
              <a:cxn ang="0">
                <a:pos x="connsiteX75594" y="connsiteY75594"/>
              </a:cxn>
              <a:cxn ang="0">
                <a:pos x="connsiteX75595" y="connsiteY75595"/>
              </a:cxn>
              <a:cxn ang="0">
                <a:pos x="connsiteX75596" y="connsiteY75596"/>
              </a:cxn>
              <a:cxn ang="0">
                <a:pos x="connsiteX75597" y="connsiteY75597"/>
              </a:cxn>
              <a:cxn ang="0">
                <a:pos x="connsiteX75598" y="connsiteY75598"/>
              </a:cxn>
              <a:cxn ang="0">
                <a:pos x="connsiteX75599" y="connsiteY75599"/>
              </a:cxn>
              <a:cxn ang="0">
                <a:pos x="connsiteX75600" y="connsiteY75600"/>
              </a:cxn>
              <a:cxn ang="0">
                <a:pos x="connsiteX75601" y="connsiteY75601"/>
              </a:cxn>
              <a:cxn ang="0">
                <a:pos x="connsiteX75602" y="connsiteY75602"/>
              </a:cxn>
              <a:cxn ang="0">
                <a:pos x="connsiteX75603" y="connsiteY75603"/>
              </a:cxn>
              <a:cxn ang="0">
                <a:pos x="connsiteX75604" y="connsiteY75604"/>
              </a:cxn>
              <a:cxn ang="0">
                <a:pos x="connsiteX75605" y="connsiteY75605"/>
              </a:cxn>
              <a:cxn ang="0">
                <a:pos x="connsiteX75606" y="connsiteY75606"/>
              </a:cxn>
              <a:cxn ang="0">
                <a:pos x="connsiteX75607" y="connsiteY75607"/>
              </a:cxn>
              <a:cxn ang="0">
                <a:pos x="connsiteX75608" y="connsiteY75608"/>
              </a:cxn>
              <a:cxn ang="0">
                <a:pos x="connsiteX75609" y="connsiteY75609"/>
              </a:cxn>
              <a:cxn ang="0">
                <a:pos x="connsiteX75610" y="connsiteY75610"/>
              </a:cxn>
              <a:cxn ang="0">
                <a:pos x="connsiteX75611" y="connsiteY75611"/>
              </a:cxn>
              <a:cxn ang="0">
                <a:pos x="connsiteX75612" y="connsiteY75612"/>
              </a:cxn>
              <a:cxn ang="0">
                <a:pos x="connsiteX75613" y="connsiteY75613"/>
              </a:cxn>
              <a:cxn ang="0">
                <a:pos x="connsiteX75614" y="connsiteY75614"/>
              </a:cxn>
              <a:cxn ang="0">
                <a:pos x="connsiteX75615" y="connsiteY75615"/>
              </a:cxn>
              <a:cxn ang="0">
                <a:pos x="connsiteX75616" y="connsiteY75616"/>
              </a:cxn>
              <a:cxn ang="0">
                <a:pos x="connsiteX75617" y="connsiteY75617"/>
              </a:cxn>
              <a:cxn ang="0">
                <a:pos x="connsiteX75618" y="connsiteY75618"/>
              </a:cxn>
              <a:cxn ang="0">
                <a:pos x="connsiteX75619" y="connsiteY75619"/>
              </a:cxn>
              <a:cxn ang="0">
                <a:pos x="connsiteX75620" y="connsiteY75620"/>
              </a:cxn>
              <a:cxn ang="0">
                <a:pos x="connsiteX75621" y="connsiteY75621"/>
              </a:cxn>
              <a:cxn ang="0">
                <a:pos x="connsiteX75622" y="connsiteY75622"/>
              </a:cxn>
              <a:cxn ang="0">
                <a:pos x="connsiteX75623" y="connsiteY75623"/>
              </a:cxn>
              <a:cxn ang="0">
                <a:pos x="connsiteX75624" y="connsiteY75624"/>
              </a:cxn>
              <a:cxn ang="0">
                <a:pos x="connsiteX75625" y="connsiteY75625"/>
              </a:cxn>
              <a:cxn ang="0">
                <a:pos x="connsiteX75626" y="connsiteY75626"/>
              </a:cxn>
              <a:cxn ang="0">
                <a:pos x="connsiteX75627" y="connsiteY75627"/>
              </a:cxn>
              <a:cxn ang="0">
                <a:pos x="connsiteX75628" y="connsiteY75628"/>
              </a:cxn>
              <a:cxn ang="0">
                <a:pos x="connsiteX75629" y="connsiteY75629"/>
              </a:cxn>
              <a:cxn ang="0">
                <a:pos x="connsiteX75630" y="connsiteY75630"/>
              </a:cxn>
              <a:cxn ang="0">
                <a:pos x="connsiteX75631" y="connsiteY75631"/>
              </a:cxn>
              <a:cxn ang="0">
                <a:pos x="connsiteX75632" y="connsiteY75632"/>
              </a:cxn>
              <a:cxn ang="0">
                <a:pos x="connsiteX75633" y="connsiteY75633"/>
              </a:cxn>
              <a:cxn ang="0">
                <a:pos x="connsiteX75634" y="connsiteY75634"/>
              </a:cxn>
              <a:cxn ang="0">
                <a:pos x="connsiteX75635" y="connsiteY75635"/>
              </a:cxn>
              <a:cxn ang="0">
                <a:pos x="connsiteX75636" y="connsiteY75636"/>
              </a:cxn>
              <a:cxn ang="0">
                <a:pos x="connsiteX75637" y="connsiteY75637"/>
              </a:cxn>
              <a:cxn ang="0">
                <a:pos x="connsiteX75638" y="connsiteY75638"/>
              </a:cxn>
              <a:cxn ang="0">
                <a:pos x="connsiteX75639" y="connsiteY75639"/>
              </a:cxn>
              <a:cxn ang="0">
                <a:pos x="connsiteX75640" y="connsiteY75640"/>
              </a:cxn>
              <a:cxn ang="0">
                <a:pos x="connsiteX75641" y="connsiteY75641"/>
              </a:cxn>
              <a:cxn ang="0">
                <a:pos x="connsiteX75642" y="connsiteY75642"/>
              </a:cxn>
              <a:cxn ang="0">
                <a:pos x="connsiteX75643" y="connsiteY75643"/>
              </a:cxn>
              <a:cxn ang="0">
                <a:pos x="connsiteX75644" y="connsiteY75644"/>
              </a:cxn>
              <a:cxn ang="0">
                <a:pos x="connsiteX75645" y="connsiteY75645"/>
              </a:cxn>
              <a:cxn ang="0">
                <a:pos x="connsiteX75646" y="connsiteY75646"/>
              </a:cxn>
              <a:cxn ang="0">
                <a:pos x="connsiteX75647" y="connsiteY75647"/>
              </a:cxn>
              <a:cxn ang="0">
                <a:pos x="connsiteX75648" y="connsiteY75648"/>
              </a:cxn>
              <a:cxn ang="0">
                <a:pos x="connsiteX75649" y="connsiteY75649"/>
              </a:cxn>
              <a:cxn ang="0">
                <a:pos x="connsiteX75650" y="connsiteY75650"/>
              </a:cxn>
              <a:cxn ang="0">
                <a:pos x="connsiteX75651" y="connsiteY75651"/>
              </a:cxn>
              <a:cxn ang="0">
                <a:pos x="connsiteX75652" y="connsiteY75652"/>
              </a:cxn>
              <a:cxn ang="0">
                <a:pos x="connsiteX75653" y="connsiteY75653"/>
              </a:cxn>
              <a:cxn ang="0">
                <a:pos x="connsiteX75654" y="connsiteY75654"/>
              </a:cxn>
              <a:cxn ang="0">
                <a:pos x="connsiteX75655" y="connsiteY75655"/>
              </a:cxn>
              <a:cxn ang="0">
                <a:pos x="connsiteX75656" y="connsiteY75656"/>
              </a:cxn>
              <a:cxn ang="0">
                <a:pos x="connsiteX75657" y="connsiteY75657"/>
              </a:cxn>
              <a:cxn ang="0">
                <a:pos x="connsiteX75658" y="connsiteY75658"/>
              </a:cxn>
              <a:cxn ang="0">
                <a:pos x="connsiteX75659" y="connsiteY75659"/>
              </a:cxn>
              <a:cxn ang="0">
                <a:pos x="connsiteX75660" y="connsiteY75660"/>
              </a:cxn>
              <a:cxn ang="0">
                <a:pos x="connsiteX75661" y="connsiteY75661"/>
              </a:cxn>
              <a:cxn ang="0">
                <a:pos x="connsiteX75662" y="connsiteY75662"/>
              </a:cxn>
              <a:cxn ang="0">
                <a:pos x="connsiteX75663" y="connsiteY75663"/>
              </a:cxn>
              <a:cxn ang="0">
                <a:pos x="connsiteX75664" y="connsiteY75664"/>
              </a:cxn>
              <a:cxn ang="0">
                <a:pos x="connsiteX75665" y="connsiteY75665"/>
              </a:cxn>
              <a:cxn ang="0">
                <a:pos x="connsiteX75666" y="connsiteY75666"/>
              </a:cxn>
              <a:cxn ang="0">
                <a:pos x="connsiteX75667" y="connsiteY75667"/>
              </a:cxn>
              <a:cxn ang="0">
                <a:pos x="connsiteX75668" y="connsiteY75668"/>
              </a:cxn>
              <a:cxn ang="0">
                <a:pos x="connsiteX75669" y="connsiteY75669"/>
              </a:cxn>
              <a:cxn ang="0">
                <a:pos x="connsiteX75670" y="connsiteY75670"/>
              </a:cxn>
              <a:cxn ang="0">
                <a:pos x="connsiteX75671" y="connsiteY75671"/>
              </a:cxn>
              <a:cxn ang="0">
                <a:pos x="connsiteX75672" y="connsiteY75672"/>
              </a:cxn>
              <a:cxn ang="0">
                <a:pos x="connsiteX75673" y="connsiteY75673"/>
              </a:cxn>
              <a:cxn ang="0">
                <a:pos x="connsiteX75674" y="connsiteY75674"/>
              </a:cxn>
              <a:cxn ang="0">
                <a:pos x="connsiteX75675" y="connsiteY75675"/>
              </a:cxn>
              <a:cxn ang="0">
                <a:pos x="connsiteX75676" y="connsiteY75676"/>
              </a:cxn>
              <a:cxn ang="0">
                <a:pos x="connsiteX75677" y="connsiteY75677"/>
              </a:cxn>
              <a:cxn ang="0">
                <a:pos x="connsiteX75678" y="connsiteY75678"/>
              </a:cxn>
              <a:cxn ang="0">
                <a:pos x="connsiteX75679" y="connsiteY75679"/>
              </a:cxn>
              <a:cxn ang="0">
                <a:pos x="connsiteX75680" y="connsiteY75680"/>
              </a:cxn>
              <a:cxn ang="0">
                <a:pos x="connsiteX75681" y="connsiteY75681"/>
              </a:cxn>
              <a:cxn ang="0">
                <a:pos x="connsiteX75682" y="connsiteY75682"/>
              </a:cxn>
              <a:cxn ang="0">
                <a:pos x="connsiteX75683" y="connsiteY75683"/>
              </a:cxn>
              <a:cxn ang="0">
                <a:pos x="connsiteX75684" y="connsiteY75684"/>
              </a:cxn>
              <a:cxn ang="0">
                <a:pos x="connsiteX75685" y="connsiteY75685"/>
              </a:cxn>
              <a:cxn ang="0">
                <a:pos x="connsiteX75686" y="connsiteY75686"/>
              </a:cxn>
              <a:cxn ang="0">
                <a:pos x="connsiteX75687" y="connsiteY75687"/>
              </a:cxn>
              <a:cxn ang="0">
                <a:pos x="connsiteX75688" y="connsiteY75688"/>
              </a:cxn>
              <a:cxn ang="0">
                <a:pos x="connsiteX75689" y="connsiteY75689"/>
              </a:cxn>
              <a:cxn ang="0">
                <a:pos x="connsiteX75690" y="connsiteY75690"/>
              </a:cxn>
              <a:cxn ang="0">
                <a:pos x="connsiteX75691" y="connsiteY75691"/>
              </a:cxn>
              <a:cxn ang="0">
                <a:pos x="connsiteX75692" y="connsiteY75692"/>
              </a:cxn>
              <a:cxn ang="0">
                <a:pos x="connsiteX75693" y="connsiteY75693"/>
              </a:cxn>
              <a:cxn ang="0">
                <a:pos x="connsiteX75694" y="connsiteY75694"/>
              </a:cxn>
              <a:cxn ang="0">
                <a:pos x="connsiteX75695" y="connsiteY75695"/>
              </a:cxn>
              <a:cxn ang="0">
                <a:pos x="connsiteX75696" y="connsiteY75696"/>
              </a:cxn>
              <a:cxn ang="0">
                <a:pos x="connsiteX75697" y="connsiteY75697"/>
              </a:cxn>
              <a:cxn ang="0">
                <a:pos x="connsiteX75698" y="connsiteY75698"/>
              </a:cxn>
              <a:cxn ang="0">
                <a:pos x="connsiteX75699" y="connsiteY75699"/>
              </a:cxn>
              <a:cxn ang="0">
                <a:pos x="connsiteX75700" y="connsiteY75700"/>
              </a:cxn>
              <a:cxn ang="0">
                <a:pos x="connsiteX75701" y="connsiteY75701"/>
              </a:cxn>
              <a:cxn ang="0">
                <a:pos x="connsiteX75702" y="connsiteY75702"/>
              </a:cxn>
              <a:cxn ang="0">
                <a:pos x="connsiteX75703" y="connsiteY75703"/>
              </a:cxn>
              <a:cxn ang="0">
                <a:pos x="connsiteX75704" y="connsiteY75704"/>
              </a:cxn>
              <a:cxn ang="0">
                <a:pos x="connsiteX75705" y="connsiteY75705"/>
              </a:cxn>
              <a:cxn ang="0">
                <a:pos x="connsiteX75706" y="connsiteY75706"/>
              </a:cxn>
              <a:cxn ang="0">
                <a:pos x="connsiteX75707" y="connsiteY75707"/>
              </a:cxn>
              <a:cxn ang="0">
                <a:pos x="connsiteX75708" y="connsiteY75708"/>
              </a:cxn>
              <a:cxn ang="0">
                <a:pos x="connsiteX75709" y="connsiteY75709"/>
              </a:cxn>
              <a:cxn ang="0">
                <a:pos x="connsiteX75710" y="connsiteY75710"/>
              </a:cxn>
              <a:cxn ang="0">
                <a:pos x="connsiteX75711" y="connsiteY75711"/>
              </a:cxn>
              <a:cxn ang="0">
                <a:pos x="connsiteX75712" y="connsiteY75712"/>
              </a:cxn>
              <a:cxn ang="0">
                <a:pos x="connsiteX75713" y="connsiteY75713"/>
              </a:cxn>
              <a:cxn ang="0">
                <a:pos x="connsiteX75714" y="connsiteY75714"/>
              </a:cxn>
              <a:cxn ang="0">
                <a:pos x="connsiteX75715" y="connsiteY75715"/>
              </a:cxn>
              <a:cxn ang="0">
                <a:pos x="connsiteX75716" y="connsiteY75716"/>
              </a:cxn>
              <a:cxn ang="0">
                <a:pos x="connsiteX75717" y="connsiteY75717"/>
              </a:cxn>
              <a:cxn ang="0">
                <a:pos x="connsiteX75718" y="connsiteY75718"/>
              </a:cxn>
              <a:cxn ang="0">
                <a:pos x="connsiteX75719" y="connsiteY75719"/>
              </a:cxn>
              <a:cxn ang="0">
                <a:pos x="connsiteX75720" y="connsiteY75720"/>
              </a:cxn>
              <a:cxn ang="0">
                <a:pos x="connsiteX75721" y="connsiteY75721"/>
              </a:cxn>
              <a:cxn ang="0">
                <a:pos x="connsiteX75722" y="connsiteY75722"/>
              </a:cxn>
              <a:cxn ang="0">
                <a:pos x="connsiteX75723" y="connsiteY75723"/>
              </a:cxn>
              <a:cxn ang="0">
                <a:pos x="connsiteX75724" y="connsiteY75724"/>
              </a:cxn>
              <a:cxn ang="0">
                <a:pos x="connsiteX75725" y="connsiteY75725"/>
              </a:cxn>
              <a:cxn ang="0">
                <a:pos x="connsiteX75726" y="connsiteY75726"/>
              </a:cxn>
              <a:cxn ang="0">
                <a:pos x="connsiteX75727" y="connsiteY75727"/>
              </a:cxn>
              <a:cxn ang="0">
                <a:pos x="connsiteX75728" y="connsiteY75728"/>
              </a:cxn>
              <a:cxn ang="0">
                <a:pos x="connsiteX75729" y="connsiteY75729"/>
              </a:cxn>
              <a:cxn ang="0">
                <a:pos x="connsiteX75730" y="connsiteY75730"/>
              </a:cxn>
              <a:cxn ang="0">
                <a:pos x="connsiteX75731" y="connsiteY75731"/>
              </a:cxn>
              <a:cxn ang="0">
                <a:pos x="connsiteX75732" y="connsiteY75732"/>
              </a:cxn>
              <a:cxn ang="0">
                <a:pos x="connsiteX75733" y="connsiteY75733"/>
              </a:cxn>
              <a:cxn ang="0">
                <a:pos x="connsiteX75734" y="connsiteY75734"/>
              </a:cxn>
              <a:cxn ang="0">
                <a:pos x="connsiteX75735" y="connsiteY75735"/>
              </a:cxn>
              <a:cxn ang="0">
                <a:pos x="connsiteX75736" y="connsiteY75736"/>
              </a:cxn>
              <a:cxn ang="0">
                <a:pos x="connsiteX75737" y="connsiteY75737"/>
              </a:cxn>
              <a:cxn ang="0">
                <a:pos x="connsiteX75738" y="connsiteY75738"/>
              </a:cxn>
              <a:cxn ang="0">
                <a:pos x="connsiteX75739" y="connsiteY75739"/>
              </a:cxn>
              <a:cxn ang="0">
                <a:pos x="connsiteX75740" y="connsiteY75740"/>
              </a:cxn>
              <a:cxn ang="0">
                <a:pos x="connsiteX75741" y="connsiteY75741"/>
              </a:cxn>
              <a:cxn ang="0">
                <a:pos x="connsiteX75742" y="connsiteY75742"/>
              </a:cxn>
              <a:cxn ang="0">
                <a:pos x="connsiteX75743" y="connsiteY75743"/>
              </a:cxn>
              <a:cxn ang="0">
                <a:pos x="connsiteX75744" y="connsiteY75744"/>
              </a:cxn>
              <a:cxn ang="0">
                <a:pos x="connsiteX75745" y="connsiteY75745"/>
              </a:cxn>
              <a:cxn ang="0">
                <a:pos x="connsiteX75746" y="connsiteY75746"/>
              </a:cxn>
              <a:cxn ang="0">
                <a:pos x="connsiteX75747" y="connsiteY75747"/>
              </a:cxn>
              <a:cxn ang="0">
                <a:pos x="connsiteX75748" y="connsiteY75748"/>
              </a:cxn>
              <a:cxn ang="0">
                <a:pos x="connsiteX75749" y="connsiteY75749"/>
              </a:cxn>
              <a:cxn ang="0">
                <a:pos x="connsiteX75750" y="connsiteY75750"/>
              </a:cxn>
              <a:cxn ang="0">
                <a:pos x="connsiteX75751" y="connsiteY75751"/>
              </a:cxn>
              <a:cxn ang="0">
                <a:pos x="connsiteX75752" y="connsiteY75752"/>
              </a:cxn>
              <a:cxn ang="0">
                <a:pos x="connsiteX75753" y="connsiteY75753"/>
              </a:cxn>
              <a:cxn ang="0">
                <a:pos x="connsiteX75754" y="connsiteY75754"/>
              </a:cxn>
              <a:cxn ang="0">
                <a:pos x="connsiteX75755" y="connsiteY75755"/>
              </a:cxn>
              <a:cxn ang="0">
                <a:pos x="connsiteX75756" y="connsiteY75756"/>
              </a:cxn>
              <a:cxn ang="0">
                <a:pos x="connsiteX75757" y="connsiteY75757"/>
              </a:cxn>
              <a:cxn ang="0">
                <a:pos x="connsiteX75758" y="connsiteY75758"/>
              </a:cxn>
              <a:cxn ang="0">
                <a:pos x="connsiteX75759" y="connsiteY75759"/>
              </a:cxn>
              <a:cxn ang="0">
                <a:pos x="connsiteX75760" y="connsiteY75760"/>
              </a:cxn>
              <a:cxn ang="0">
                <a:pos x="connsiteX75761" y="connsiteY75761"/>
              </a:cxn>
              <a:cxn ang="0">
                <a:pos x="connsiteX75762" y="connsiteY75762"/>
              </a:cxn>
              <a:cxn ang="0">
                <a:pos x="connsiteX75763" y="connsiteY75763"/>
              </a:cxn>
              <a:cxn ang="0">
                <a:pos x="connsiteX75764" y="connsiteY75764"/>
              </a:cxn>
              <a:cxn ang="0">
                <a:pos x="connsiteX75765" y="connsiteY75765"/>
              </a:cxn>
              <a:cxn ang="0">
                <a:pos x="connsiteX75766" y="connsiteY75766"/>
              </a:cxn>
              <a:cxn ang="0">
                <a:pos x="connsiteX75767" y="connsiteY75767"/>
              </a:cxn>
              <a:cxn ang="0">
                <a:pos x="connsiteX75768" y="connsiteY75768"/>
              </a:cxn>
              <a:cxn ang="0">
                <a:pos x="connsiteX75769" y="connsiteY75769"/>
              </a:cxn>
              <a:cxn ang="0">
                <a:pos x="connsiteX75770" y="connsiteY75770"/>
              </a:cxn>
              <a:cxn ang="0">
                <a:pos x="connsiteX75771" y="connsiteY75771"/>
              </a:cxn>
              <a:cxn ang="0">
                <a:pos x="connsiteX75772" y="connsiteY75772"/>
              </a:cxn>
              <a:cxn ang="0">
                <a:pos x="connsiteX75773" y="connsiteY75773"/>
              </a:cxn>
              <a:cxn ang="0">
                <a:pos x="connsiteX75774" y="connsiteY75774"/>
              </a:cxn>
              <a:cxn ang="0">
                <a:pos x="connsiteX75775" y="connsiteY75775"/>
              </a:cxn>
              <a:cxn ang="0">
                <a:pos x="connsiteX75776" y="connsiteY75776"/>
              </a:cxn>
              <a:cxn ang="0">
                <a:pos x="connsiteX75777" y="connsiteY75777"/>
              </a:cxn>
              <a:cxn ang="0">
                <a:pos x="connsiteX75778" y="connsiteY75778"/>
              </a:cxn>
              <a:cxn ang="0">
                <a:pos x="connsiteX75779" y="connsiteY75779"/>
              </a:cxn>
              <a:cxn ang="0">
                <a:pos x="connsiteX75780" y="connsiteY75780"/>
              </a:cxn>
              <a:cxn ang="0">
                <a:pos x="connsiteX75781" y="connsiteY75781"/>
              </a:cxn>
              <a:cxn ang="0">
                <a:pos x="connsiteX75782" y="connsiteY75782"/>
              </a:cxn>
              <a:cxn ang="0">
                <a:pos x="connsiteX75783" y="connsiteY75783"/>
              </a:cxn>
              <a:cxn ang="0">
                <a:pos x="connsiteX75784" y="connsiteY75784"/>
              </a:cxn>
              <a:cxn ang="0">
                <a:pos x="connsiteX75785" y="connsiteY75785"/>
              </a:cxn>
              <a:cxn ang="0">
                <a:pos x="connsiteX75786" y="connsiteY75786"/>
              </a:cxn>
              <a:cxn ang="0">
                <a:pos x="connsiteX75787" y="connsiteY75787"/>
              </a:cxn>
              <a:cxn ang="0">
                <a:pos x="connsiteX75788" y="connsiteY75788"/>
              </a:cxn>
              <a:cxn ang="0">
                <a:pos x="connsiteX75789" y="connsiteY75789"/>
              </a:cxn>
              <a:cxn ang="0">
                <a:pos x="connsiteX75790" y="connsiteY75790"/>
              </a:cxn>
              <a:cxn ang="0">
                <a:pos x="connsiteX75791" y="connsiteY75791"/>
              </a:cxn>
              <a:cxn ang="0">
                <a:pos x="connsiteX75792" y="connsiteY75792"/>
              </a:cxn>
              <a:cxn ang="0">
                <a:pos x="connsiteX75793" y="connsiteY75793"/>
              </a:cxn>
              <a:cxn ang="0">
                <a:pos x="connsiteX75794" y="connsiteY75794"/>
              </a:cxn>
              <a:cxn ang="0">
                <a:pos x="connsiteX75795" y="connsiteY75795"/>
              </a:cxn>
              <a:cxn ang="0">
                <a:pos x="connsiteX75796" y="connsiteY75796"/>
              </a:cxn>
              <a:cxn ang="0">
                <a:pos x="connsiteX75797" y="connsiteY75797"/>
              </a:cxn>
              <a:cxn ang="0">
                <a:pos x="connsiteX75798" y="connsiteY75798"/>
              </a:cxn>
              <a:cxn ang="0">
                <a:pos x="connsiteX75799" y="connsiteY75799"/>
              </a:cxn>
              <a:cxn ang="0">
                <a:pos x="connsiteX75800" y="connsiteY75800"/>
              </a:cxn>
              <a:cxn ang="0">
                <a:pos x="connsiteX75801" y="connsiteY75801"/>
              </a:cxn>
              <a:cxn ang="0">
                <a:pos x="connsiteX75802" y="connsiteY75802"/>
              </a:cxn>
              <a:cxn ang="0">
                <a:pos x="connsiteX75803" y="connsiteY75803"/>
              </a:cxn>
              <a:cxn ang="0">
                <a:pos x="connsiteX75804" y="connsiteY75804"/>
              </a:cxn>
              <a:cxn ang="0">
                <a:pos x="connsiteX75805" y="connsiteY75805"/>
              </a:cxn>
              <a:cxn ang="0">
                <a:pos x="connsiteX75806" y="connsiteY75806"/>
              </a:cxn>
              <a:cxn ang="0">
                <a:pos x="connsiteX75807" y="connsiteY75807"/>
              </a:cxn>
              <a:cxn ang="0">
                <a:pos x="connsiteX75808" y="connsiteY75808"/>
              </a:cxn>
              <a:cxn ang="0">
                <a:pos x="connsiteX75809" y="connsiteY75809"/>
              </a:cxn>
              <a:cxn ang="0">
                <a:pos x="connsiteX75810" y="connsiteY75810"/>
              </a:cxn>
              <a:cxn ang="0">
                <a:pos x="connsiteX75811" y="connsiteY75811"/>
              </a:cxn>
              <a:cxn ang="0">
                <a:pos x="connsiteX75812" y="connsiteY75812"/>
              </a:cxn>
              <a:cxn ang="0">
                <a:pos x="connsiteX75813" y="connsiteY75813"/>
              </a:cxn>
              <a:cxn ang="0">
                <a:pos x="connsiteX75814" y="connsiteY75814"/>
              </a:cxn>
              <a:cxn ang="0">
                <a:pos x="connsiteX75815" y="connsiteY75815"/>
              </a:cxn>
              <a:cxn ang="0">
                <a:pos x="connsiteX75816" y="connsiteY75816"/>
              </a:cxn>
              <a:cxn ang="0">
                <a:pos x="connsiteX75817" y="connsiteY75817"/>
              </a:cxn>
              <a:cxn ang="0">
                <a:pos x="connsiteX75818" y="connsiteY75818"/>
              </a:cxn>
              <a:cxn ang="0">
                <a:pos x="connsiteX75819" y="connsiteY75819"/>
              </a:cxn>
              <a:cxn ang="0">
                <a:pos x="connsiteX75820" y="connsiteY75820"/>
              </a:cxn>
              <a:cxn ang="0">
                <a:pos x="connsiteX75821" y="connsiteY75821"/>
              </a:cxn>
              <a:cxn ang="0">
                <a:pos x="connsiteX75822" y="connsiteY75822"/>
              </a:cxn>
              <a:cxn ang="0">
                <a:pos x="connsiteX75823" y="connsiteY75823"/>
              </a:cxn>
              <a:cxn ang="0">
                <a:pos x="connsiteX75824" y="connsiteY75824"/>
              </a:cxn>
              <a:cxn ang="0">
                <a:pos x="connsiteX75825" y="connsiteY75825"/>
              </a:cxn>
              <a:cxn ang="0">
                <a:pos x="connsiteX75826" y="connsiteY75826"/>
              </a:cxn>
              <a:cxn ang="0">
                <a:pos x="connsiteX75827" y="connsiteY75827"/>
              </a:cxn>
              <a:cxn ang="0">
                <a:pos x="connsiteX75828" y="connsiteY75828"/>
              </a:cxn>
              <a:cxn ang="0">
                <a:pos x="connsiteX75829" y="connsiteY75829"/>
              </a:cxn>
              <a:cxn ang="0">
                <a:pos x="connsiteX75830" y="connsiteY75830"/>
              </a:cxn>
              <a:cxn ang="0">
                <a:pos x="connsiteX75831" y="connsiteY75831"/>
              </a:cxn>
              <a:cxn ang="0">
                <a:pos x="connsiteX75832" y="connsiteY75832"/>
              </a:cxn>
              <a:cxn ang="0">
                <a:pos x="connsiteX75833" y="connsiteY75833"/>
              </a:cxn>
              <a:cxn ang="0">
                <a:pos x="connsiteX75834" y="connsiteY75834"/>
              </a:cxn>
              <a:cxn ang="0">
                <a:pos x="connsiteX75835" y="connsiteY75835"/>
              </a:cxn>
              <a:cxn ang="0">
                <a:pos x="connsiteX75836" y="connsiteY75836"/>
              </a:cxn>
              <a:cxn ang="0">
                <a:pos x="connsiteX75837" y="connsiteY75837"/>
              </a:cxn>
              <a:cxn ang="0">
                <a:pos x="connsiteX75838" y="connsiteY75838"/>
              </a:cxn>
              <a:cxn ang="0">
                <a:pos x="connsiteX75839" y="connsiteY75839"/>
              </a:cxn>
              <a:cxn ang="0">
                <a:pos x="connsiteX75840" y="connsiteY75840"/>
              </a:cxn>
              <a:cxn ang="0">
                <a:pos x="connsiteX75841" y="connsiteY75841"/>
              </a:cxn>
              <a:cxn ang="0">
                <a:pos x="connsiteX75842" y="connsiteY75842"/>
              </a:cxn>
              <a:cxn ang="0">
                <a:pos x="connsiteX75843" y="connsiteY75843"/>
              </a:cxn>
              <a:cxn ang="0">
                <a:pos x="connsiteX75844" y="connsiteY75844"/>
              </a:cxn>
              <a:cxn ang="0">
                <a:pos x="connsiteX75845" y="connsiteY75845"/>
              </a:cxn>
              <a:cxn ang="0">
                <a:pos x="connsiteX75846" y="connsiteY75846"/>
              </a:cxn>
              <a:cxn ang="0">
                <a:pos x="connsiteX75847" y="connsiteY75847"/>
              </a:cxn>
              <a:cxn ang="0">
                <a:pos x="connsiteX75848" y="connsiteY75848"/>
              </a:cxn>
              <a:cxn ang="0">
                <a:pos x="connsiteX75849" y="connsiteY75849"/>
              </a:cxn>
              <a:cxn ang="0">
                <a:pos x="connsiteX75850" y="connsiteY75850"/>
              </a:cxn>
              <a:cxn ang="0">
                <a:pos x="connsiteX75851" y="connsiteY75851"/>
              </a:cxn>
              <a:cxn ang="0">
                <a:pos x="connsiteX75852" y="connsiteY75852"/>
              </a:cxn>
              <a:cxn ang="0">
                <a:pos x="connsiteX75853" y="connsiteY75853"/>
              </a:cxn>
              <a:cxn ang="0">
                <a:pos x="connsiteX75854" y="connsiteY75854"/>
              </a:cxn>
              <a:cxn ang="0">
                <a:pos x="connsiteX75855" y="connsiteY75855"/>
              </a:cxn>
              <a:cxn ang="0">
                <a:pos x="connsiteX75856" y="connsiteY75856"/>
              </a:cxn>
              <a:cxn ang="0">
                <a:pos x="connsiteX75857" y="connsiteY75857"/>
              </a:cxn>
              <a:cxn ang="0">
                <a:pos x="connsiteX75858" y="connsiteY75858"/>
              </a:cxn>
              <a:cxn ang="0">
                <a:pos x="connsiteX75859" y="connsiteY75859"/>
              </a:cxn>
              <a:cxn ang="0">
                <a:pos x="connsiteX75860" y="connsiteY75860"/>
              </a:cxn>
              <a:cxn ang="0">
                <a:pos x="connsiteX75861" y="connsiteY75861"/>
              </a:cxn>
              <a:cxn ang="0">
                <a:pos x="connsiteX75862" y="connsiteY75862"/>
              </a:cxn>
              <a:cxn ang="0">
                <a:pos x="connsiteX75863" y="connsiteY75863"/>
              </a:cxn>
              <a:cxn ang="0">
                <a:pos x="connsiteX75864" y="connsiteY75864"/>
              </a:cxn>
              <a:cxn ang="0">
                <a:pos x="connsiteX75865" y="connsiteY75865"/>
              </a:cxn>
              <a:cxn ang="0">
                <a:pos x="connsiteX75866" y="connsiteY75866"/>
              </a:cxn>
              <a:cxn ang="0">
                <a:pos x="connsiteX75867" y="connsiteY75867"/>
              </a:cxn>
              <a:cxn ang="0">
                <a:pos x="connsiteX75868" y="connsiteY75868"/>
              </a:cxn>
              <a:cxn ang="0">
                <a:pos x="connsiteX75869" y="connsiteY75869"/>
              </a:cxn>
              <a:cxn ang="0">
                <a:pos x="connsiteX75870" y="connsiteY75870"/>
              </a:cxn>
              <a:cxn ang="0">
                <a:pos x="connsiteX75871" y="connsiteY75871"/>
              </a:cxn>
              <a:cxn ang="0">
                <a:pos x="connsiteX75872" y="connsiteY75872"/>
              </a:cxn>
              <a:cxn ang="0">
                <a:pos x="connsiteX75873" y="connsiteY75873"/>
              </a:cxn>
              <a:cxn ang="0">
                <a:pos x="connsiteX75874" y="connsiteY75874"/>
              </a:cxn>
              <a:cxn ang="0">
                <a:pos x="connsiteX75875" y="connsiteY75875"/>
              </a:cxn>
              <a:cxn ang="0">
                <a:pos x="connsiteX75876" y="connsiteY75876"/>
              </a:cxn>
              <a:cxn ang="0">
                <a:pos x="connsiteX75877" y="connsiteY75877"/>
              </a:cxn>
              <a:cxn ang="0">
                <a:pos x="connsiteX75878" y="connsiteY75878"/>
              </a:cxn>
              <a:cxn ang="0">
                <a:pos x="connsiteX75879" y="connsiteY75879"/>
              </a:cxn>
              <a:cxn ang="0">
                <a:pos x="connsiteX75880" y="connsiteY75880"/>
              </a:cxn>
              <a:cxn ang="0">
                <a:pos x="connsiteX75881" y="connsiteY75881"/>
              </a:cxn>
              <a:cxn ang="0">
                <a:pos x="connsiteX75882" y="connsiteY75882"/>
              </a:cxn>
              <a:cxn ang="0">
                <a:pos x="connsiteX75883" y="connsiteY75883"/>
              </a:cxn>
              <a:cxn ang="0">
                <a:pos x="connsiteX75884" y="connsiteY75884"/>
              </a:cxn>
              <a:cxn ang="0">
                <a:pos x="connsiteX75885" y="connsiteY75885"/>
              </a:cxn>
              <a:cxn ang="0">
                <a:pos x="connsiteX75886" y="connsiteY75886"/>
              </a:cxn>
              <a:cxn ang="0">
                <a:pos x="connsiteX75887" y="connsiteY75887"/>
              </a:cxn>
              <a:cxn ang="0">
                <a:pos x="connsiteX75888" y="connsiteY75888"/>
              </a:cxn>
              <a:cxn ang="0">
                <a:pos x="connsiteX75889" y="connsiteY75889"/>
              </a:cxn>
              <a:cxn ang="0">
                <a:pos x="connsiteX75890" y="connsiteY75890"/>
              </a:cxn>
              <a:cxn ang="0">
                <a:pos x="connsiteX75891" y="connsiteY75891"/>
              </a:cxn>
              <a:cxn ang="0">
                <a:pos x="connsiteX75892" y="connsiteY75892"/>
              </a:cxn>
              <a:cxn ang="0">
                <a:pos x="connsiteX75893" y="connsiteY75893"/>
              </a:cxn>
              <a:cxn ang="0">
                <a:pos x="connsiteX75894" y="connsiteY75894"/>
              </a:cxn>
              <a:cxn ang="0">
                <a:pos x="connsiteX75895" y="connsiteY75895"/>
              </a:cxn>
              <a:cxn ang="0">
                <a:pos x="connsiteX75896" y="connsiteY75896"/>
              </a:cxn>
              <a:cxn ang="0">
                <a:pos x="connsiteX75897" y="connsiteY75897"/>
              </a:cxn>
              <a:cxn ang="0">
                <a:pos x="connsiteX75898" y="connsiteY75898"/>
              </a:cxn>
              <a:cxn ang="0">
                <a:pos x="connsiteX75899" y="connsiteY75899"/>
              </a:cxn>
              <a:cxn ang="0">
                <a:pos x="connsiteX75900" y="connsiteY75900"/>
              </a:cxn>
              <a:cxn ang="0">
                <a:pos x="connsiteX75901" y="connsiteY75901"/>
              </a:cxn>
              <a:cxn ang="0">
                <a:pos x="connsiteX75902" y="connsiteY75902"/>
              </a:cxn>
              <a:cxn ang="0">
                <a:pos x="connsiteX75903" y="connsiteY75903"/>
              </a:cxn>
              <a:cxn ang="0">
                <a:pos x="connsiteX75904" y="connsiteY75904"/>
              </a:cxn>
              <a:cxn ang="0">
                <a:pos x="connsiteX75905" y="connsiteY75905"/>
              </a:cxn>
              <a:cxn ang="0">
                <a:pos x="connsiteX75906" y="connsiteY75906"/>
              </a:cxn>
              <a:cxn ang="0">
                <a:pos x="connsiteX75907" y="connsiteY75907"/>
              </a:cxn>
              <a:cxn ang="0">
                <a:pos x="connsiteX75908" y="connsiteY75908"/>
              </a:cxn>
              <a:cxn ang="0">
                <a:pos x="connsiteX75909" y="connsiteY75909"/>
              </a:cxn>
              <a:cxn ang="0">
                <a:pos x="connsiteX75910" y="connsiteY75910"/>
              </a:cxn>
              <a:cxn ang="0">
                <a:pos x="connsiteX75911" y="connsiteY75911"/>
              </a:cxn>
              <a:cxn ang="0">
                <a:pos x="connsiteX75912" y="connsiteY75912"/>
              </a:cxn>
              <a:cxn ang="0">
                <a:pos x="connsiteX75913" y="connsiteY75913"/>
              </a:cxn>
              <a:cxn ang="0">
                <a:pos x="connsiteX75914" y="connsiteY75914"/>
              </a:cxn>
              <a:cxn ang="0">
                <a:pos x="connsiteX75915" y="connsiteY75915"/>
              </a:cxn>
              <a:cxn ang="0">
                <a:pos x="connsiteX75916" y="connsiteY75916"/>
              </a:cxn>
              <a:cxn ang="0">
                <a:pos x="connsiteX75917" y="connsiteY75917"/>
              </a:cxn>
              <a:cxn ang="0">
                <a:pos x="connsiteX75918" y="connsiteY75918"/>
              </a:cxn>
              <a:cxn ang="0">
                <a:pos x="connsiteX75919" y="connsiteY75919"/>
              </a:cxn>
              <a:cxn ang="0">
                <a:pos x="connsiteX75920" y="connsiteY75920"/>
              </a:cxn>
              <a:cxn ang="0">
                <a:pos x="connsiteX75921" y="connsiteY75921"/>
              </a:cxn>
              <a:cxn ang="0">
                <a:pos x="connsiteX75922" y="connsiteY75922"/>
              </a:cxn>
              <a:cxn ang="0">
                <a:pos x="connsiteX75923" y="connsiteY75923"/>
              </a:cxn>
              <a:cxn ang="0">
                <a:pos x="connsiteX75924" y="connsiteY75924"/>
              </a:cxn>
              <a:cxn ang="0">
                <a:pos x="connsiteX75925" y="connsiteY75925"/>
              </a:cxn>
              <a:cxn ang="0">
                <a:pos x="connsiteX75926" y="connsiteY75926"/>
              </a:cxn>
              <a:cxn ang="0">
                <a:pos x="connsiteX75927" y="connsiteY75927"/>
              </a:cxn>
              <a:cxn ang="0">
                <a:pos x="connsiteX75928" y="connsiteY75928"/>
              </a:cxn>
              <a:cxn ang="0">
                <a:pos x="connsiteX75929" y="connsiteY75929"/>
              </a:cxn>
              <a:cxn ang="0">
                <a:pos x="connsiteX75930" y="connsiteY75930"/>
              </a:cxn>
              <a:cxn ang="0">
                <a:pos x="connsiteX75931" y="connsiteY75931"/>
              </a:cxn>
              <a:cxn ang="0">
                <a:pos x="connsiteX75932" y="connsiteY75932"/>
              </a:cxn>
              <a:cxn ang="0">
                <a:pos x="connsiteX75933" y="connsiteY75933"/>
              </a:cxn>
              <a:cxn ang="0">
                <a:pos x="connsiteX75934" y="connsiteY75934"/>
              </a:cxn>
              <a:cxn ang="0">
                <a:pos x="connsiteX75935" y="connsiteY75935"/>
              </a:cxn>
              <a:cxn ang="0">
                <a:pos x="connsiteX75936" y="connsiteY75936"/>
              </a:cxn>
              <a:cxn ang="0">
                <a:pos x="connsiteX75937" y="connsiteY75937"/>
              </a:cxn>
              <a:cxn ang="0">
                <a:pos x="connsiteX75938" y="connsiteY75938"/>
              </a:cxn>
              <a:cxn ang="0">
                <a:pos x="connsiteX75939" y="connsiteY75939"/>
              </a:cxn>
              <a:cxn ang="0">
                <a:pos x="connsiteX75940" y="connsiteY75940"/>
              </a:cxn>
              <a:cxn ang="0">
                <a:pos x="connsiteX75941" y="connsiteY75941"/>
              </a:cxn>
              <a:cxn ang="0">
                <a:pos x="connsiteX75942" y="connsiteY75942"/>
              </a:cxn>
              <a:cxn ang="0">
                <a:pos x="connsiteX75943" y="connsiteY75943"/>
              </a:cxn>
              <a:cxn ang="0">
                <a:pos x="connsiteX75944" y="connsiteY75944"/>
              </a:cxn>
              <a:cxn ang="0">
                <a:pos x="connsiteX75945" y="connsiteY75945"/>
              </a:cxn>
              <a:cxn ang="0">
                <a:pos x="connsiteX75946" y="connsiteY75946"/>
              </a:cxn>
              <a:cxn ang="0">
                <a:pos x="connsiteX75947" y="connsiteY75947"/>
              </a:cxn>
              <a:cxn ang="0">
                <a:pos x="connsiteX75948" y="connsiteY75948"/>
              </a:cxn>
              <a:cxn ang="0">
                <a:pos x="connsiteX75949" y="connsiteY75949"/>
              </a:cxn>
              <a:cxn ang="0">
                <a:pos x="connsiteX75950" y="connsiteY75950"/>
              </a:cxn>
              <a:cxn ang="0">
                <a:pos x="connsiteX75951" y="connsiteY75951"/>
              </a:cxn>
              <a:cxn ang="0">
                <a:pos x="connsiteX75952" y="connsiteY75952"/>
              </a:cxn>
              <a:cxn ang="0">
                <a:pos x="connsiteX75953" y="connsiteY75953"/>
              </a:cxn>
              <a:cxn ang="0">
                <a:pos x="connsiteX75954" y="connsiteY75954"/>
              </a:cxn>
              <a:cxn ang="0">
                <a:pos x="connsiteX75955" y="connsiteY75955"/>
              </a:cxn>
              <a:cxn ang="0">
                <a:pos x="connsiteX75956" y="connsiteY75956"/>
              </a:cxn>
              <a:cxn ang="0">
                <a:pos x="connsiteX75957" y="connsiteY75957"/>
              </a:cxn>
              <a:cxn ang="0">
                <a:pos x="connsiteX75958" y="connsiteY75958"/>
              </a:cxn>
              <a:cxn ang="0">
                <a:pos x="connsiteX75959" y="connsiteY75959"/>
              </a:cxn>
              <a:cxn ang="0">
                <a:pos x="connsiteX75960" y="connsiteY75960"/>
              </a:cxn>
              <a:cxn ang="0">
                <a:pos x="connsiteX75961" y="connsiteY75961"/>
              </a:cxn>
              <a:cxn ang="0">
                <a:pos x="connsiteX75962" y="connsiteY75962"/>
              </a:cxn>
              <a:cxn ang="0">
                <a:pos x="connsiteX75963" y="connsiteY75963"/>
              </a:cxn>
              <a:cxn ang="0">
                <a:pos x="connsiteX75964" y="connsiteY75964"/>
              </a:cxn>
              <a:cxn ang="0">
                <a:pos x="connsiteX75965" y="connsiteY75965"/>
              </a:cxn>
              <a:cxn ang="0">
                <a:pos x="connsiteX75966" y="connsiteY75966"/>
              </a:cxn>
              <a:cxn ang="0">
                <a:pos x="connsiteX75967" y="connsiteY75967"/>
              </a:cxn>
              <a:cxn ang="0">
                <a:pos x="connsiteX75968" y="connsiteY75968"/>
              </a:cxn>
              <a:cxn ang="0">
                <a:pos x="connsiteX75969" y="connsiteY75969"/>
              </a:cxn>
              <a:cxn ang="0">
                <a:pos x="connsiteX75970" y="connsiteY75970"/>
              </a:cxn>
              <a:cxn ang="0">
                <a:pos x="connsiteX75971" y="connsiteY75971"/>
              </a:cxn>
              <a:cxn ang="0">
                <a:pos x="connsiteX75972" y="connsiteY75972"/>
              </a:cxn>
              <a:cxn ang="0">
                <a:pos x="connsiteX75973" y="connsiteY75973"/>
              </a:cxn>
              <a:cxn ang="0">
                <a:pos x="connsiteX75974" y="connsiteY75974"/>
              </a:cxn>
              <a:cxn ang="0">
                <a:pos x="connsiteX75975" y="connsiteY75975"/>
              </a:cxn>
              <a:cxn ang="0">
                <a:pos x="connsiteX75976" y="connsiteY75976"/>
              </a:cxn>
              <a:cxn ang="0">
                <a:pos x="connsiteX75977" y="connsiteY75977"/>
              </a:cxn>
              <a:cxn ang="0">
                <a:pos x="connsiteX75978" y="connsiteY75978"/>
              </a:cxn>
              <a:cxn ang="0">
                <a:pos x="connsiteX75979" y="connsiteY75979"/>
              </a:cxn>
              <a:cxn ang="0">
                <a:pos x="connsiteX75980" y="connsiteY75980"/>
              </a:cxn>
              <a:cxn ang="0">
                <a:pos x="connsiteX75981" y="connsiteY75981"/>
              </a:cxn>
            </a:cxnLst>
            <a:rect l="l" t="t" r="r" b="b"/>
            <a:pathLst>
              <a:path w="6884782" h="5973007">
                <a:moveTo>
                  <a:pt x="3635377" y="5934079"/>
                </a:moveTo>
                <a:cubicBezTo>
                  <a:pt x="3642502" y="5940791"/>
                  <a:pt x="3644516" y="5947192"/>
                  <a:pt x="3642967" y="5953594"/>
                </a:cubicBezTo>
                <a:cubicBezTo>
                  <a:pt x="3642192" y="5956795"/>
                  <a:pt x="3640643" y="5959996"/>
                  <a:pt x="3638165" y="5963197"/>
                </a:cubicBezTo>
                <a:lnTo>
                  <a:pt x="3628871" y="5973007"/>
                </a:lnTo>
                <a:lnTo>
                  <a:pt x="3623915" y="5962784"/>
                </a:lnTo>
                <a:cubicBezTo>
                  <a:pt x="3622830" y="5957828"/>
                  <a:pt x="3623605" y="5952975"/>
                  <a:pt x="3625618" y="5948225"/>
                </a:cubicBezTo>
                <a:cubicBezTo>
                  <a:pt x="3627787" y="5943476"/>
                  <a:pt x="3631195" y="5938829"/>
                  <a:pt x="3635377" y="5934079"/>
                </a:cubicBezTo>
                <a:close/>
                <a:moveTo>
                  <a:pt x="3081158" y="5929433"/>
                </a:moveTo>
                <a:cubicBezTo>
                  <a:pt x="3080228" y="5930155"/>
                  <a:pt x="3080228" y="5930155"/>
                  <a:pt x="3081003" y="5930981"/>
                </a:cubicBezTo>
                <a:cubicBezTo>
                  <a:pt x="3081003" y="5930981"/>
                  <a:pt x="3081003" y="5930981"/>
                  <a:pt x="3081777" y="5930981"/>
                </a:cubicBezTo>
                <a:cubicBezTo>
                  <a:pt x="3081623" y="5931808"/>
                  <a:pt x="3080848" y="5931911"/>
                  <a:pt x="3080848" y="5932634"/>
                </a:cubicBezTo>
                <a:cubicBezTo>
                  <a:pt x="3080848" y="5932634"/>
                  <a:pt x="3080073" y="5932634"/>
                  <a:pt x="3080073" y="5932634"/>
                </a:cubicBezTo>
                <a:cubicBezTo>
                  <a:pt x="3079919" y="5933047"/>
                  <a:pt x="3079919" y="5933047"/>
                  <a:pt x="3079764" y="5932840"/>
                </a:cubicBezTo>
                <a:cubicBezTo>
                  <a:pt x="3079609" y="5932634"/>
                  <a:pt x="3079299" y="5932220"/>
                  <a:pt x="3078525" y="5931808"/>
                </a:cubicBezTo>
                <a:cubicBezTo>
                  <a:pt x="3078060" y="5931394"/>
                  <a:pt x="3077750" y="5931188"/>
                  <a:pt x="3077595" y="5930981"/>
                </a:cubicBezTo>
                <a:cubicBezTo>
                  <a:pt x="3077440" y="5930775"/>
                  <a:pt x="3077440" y="5930568"/>
                  <a:pt x="3077750" y="5930155"/>
                </a:cubicBezTo>
                <a:cubicBezTo>
                  <a:pt x="3078680" y="5929329"/>
                  <a:pt x="3078680" y="5929329"/>
                  <a:pt x="3081158" y="5929433"/>
                </a:cubicBezTo>
                <a:close/>
                <a:moveTo>
                  <a:pt x="3321693" y="5902573"/>
                </a:moveTo>
                <a:cubicBezTo>
                  <a:pt x="3325120" y="5902535"/>
                  <a:pt x="3328450" y="5904032"/>
                  <a:pt x="3331470" y="5907646"/>
                </a:cubicBezTo>
                <a:cubicBezTo>
                  <a:pt x="3329921" y="5912499"/>
                  <a:pt x="3326668" y="5916732"/>
                  <a:pt x="3319853" y="5921688"/>
                </a:cubicBezTo>
                <a:cubicBezTo>
                  <a:pt x="3316445" y="5918900"/>
                  <a:pt x="3314432" y="5916525"/>
                  <a:pt x="3313038" y="5914151"/>
                </a:cubicBezTo>
                <a:cubicBezTo>
                  <a:pt x="3311799" y="5911673"/>
                  <a:pt x="3311334" y="5909298"/>
                  <a:pt x="3311334" y="5906716"/>
                </a:cubicBezTo>
                <a:cubicBezTo>
                  <a:pt x="3314742" y="5904186"/>
                  <a:pt x="3318265" y="5902612"/>
                  <a:pt x="3321693" y="5902573"/>
                </a:cubicBezTo>
                <a:close/>
                <a:moveTo>
                  <a:pt x="3006188" y="5901037"/>
                </a:moveTo>
                <a:cubicBezTo>
                  <a:pt x="3006808" y="5902792"/>
                  <a:pt x="3005723" y="5904445"/>
                  <a:pt x="3004794" y="5906200"/>
                </a:cubicBezTo>
                <a:cubicBezTo>
                  <a:pt x="3003865" y="5907439"/>
                  <a:pt x="3002935" y="5907852"/>
                  <a:pt x="3002161" y="5907749"/>
                </a:cubicBezTo>
                <a:cubicBezTo>
                  <a:pt x="3001231" y="5907646"/>
                  <a:pt x="3000457" y="5907026"/>
                  <a:pt x="2999682" y="5906097"/>
                </a:cubicBezTo>
                <a:cubicBezTo>
                  <a:pt x="2998288" y="5904342"/>
                  <a:pt x="2999218" y="5902586"/>
                  <a:pt x="2999218" y="5902586"/>
                </a:cubicBezTo>
                <a:cubicBezTo>
                  <a:pt x="3001231" y="5900005"/>
                  <a:pt x="3003865" y="5899282"/>
                  <a:pt x="3006188" y="5901037"/>
                </a:cubicBezTo>
                <a:close/>
                <a:moveTo>
                  <a:pt x="3073878" y="5869028"/>
                </a:moveTo>
                <a:cubicBezTo>
                  <a:pt x="3075582" y="5869957"/>
                  <a:pt x="3078060" y="5869131"/>
                  <a:pt x="3079609" y="5870886"/>
                </a:cubicBezTo>
                <a:cubicBezTo>
                  <a:pt x="3079609" y="5870886"/>
                  <a:pt x="3080383" y="5871816"/>
                  <a:pt x="3080073" y="5873468"/>
                </a:cubicBezTo>
                <a:cubicBezTo>
                  <a:pt x="3081468" y="5876152"/>
                  <a:pt x="3078834" y="5878734"/>
                  <a:pt x="3078834" y="5878734"/>
                </a:cubicBezTo>
                <a:cubicBezTo>
                  <a:pt x="3078834" y="5878734"/>
                  <a:pt x="3078834" y="5878734"/>
                  <a:pt x="3079609" y="5878734"/>
                </a:cubicBezTo>
                <a:cubicBezTo>
                  <a:pt x="3077905" y="5878734"/>
                  <a:pt x="3076201" y="5879560"/>
                  <a:pt x="3074497" y="5879560"/>
                </a:cubicBezTo>
                <a:cubicBezTo>
                  <a:pt x="3072948" y="5878217"/>
                  <a:pt x="3072019" y="5877082"/>
                  <a:pt x="3071554" y="5876049"/>
                </a:cubicBezTo>
                <a:cubicBezTo>
                  <a:pt x="3069850" y="5873261"/>
                  <a:pt x="3071864" y="5871609"/>
                  <a:pt x="3073878" y="5869028"/>
                </a:cubicBezTo>
                <a:close/>
                <a:moveTo>
                  <a:pt x="3641728" y="5865723"/>
                </a:moveTo>
                <a:cubicBezTo>
                  <a:pt x="3649472" y="5879663"/>
                  <a:pt x="3649162" y="5888233"/>
                  <a:pt x="3645445" y="5892777"/>
                </a:cubicBezTo>
                <a:cubicBezTo>
                  <a:pt x="3643741" y="5894945"/>
                  <a:pt x="3641263" y="5896287"/>
                  <a:pt x="3638629" y="5896907"/>
                </a:cubicBezTo>
                <a:cubicBezTo>
                  <a:pt x="3636461" y="5897320"/>
                  <a:pt x="3634293" y="5897320"/>
                  <a:pt x="3632124" y="5897010"/>
                </a:cubicBezTo>
                <a:cubicBezTo>
                  <a:pt x="3625618" y="5896081"/>
                  <a:pt x="3619268" y="5892054"/>
                  <a:pt x="3618648" y="5886581"/>
                </a:cubicBezTo>
                <a:cubicBezTo>
                  <a:pt x="3618493" y="5885032"/>
                  <a:pt x="3618648" y="5883484"/>
                  <a:pt x="3619268" y="5881831"/>
                </a:cubicBezTo>
                <a:cubicBezTo>
                  <a:pt x="3621436" y="5876875"/>
                  <a:pt x="3628096" y="5871196"/>
                  <a:pt x="3641728" y="5865723"/>
                </a:cubicBezTo>
                <a:close/>
                <a:moveTo>
                  <a:pt x="3023846" y="5859425"/>
                </a:moveTo>
                <a:cubicBezTo>
                  <a:pt x="3024466" y="5860354"/>
                  <a:pt x="3025085" y="5861696"/>
                  <a:pt x="3025550" y="5863452"/>
                </a:cubicBezTo>
                <a:cubicBezTo>
                  <a:pt x="3022452" y="5867066"/>
                  <a:pt x="3018425" y="5873261"/>
                  <a:pt x="3013158" y="5874294"/>
                </a:cubicBezTo>
                <a:cubicBezTo>
                  <a:pt x="3011454" y="5874604"/>
                  <a:pt x="3009441" y="5874397"/>
                  <a:pt x="3007427" y="5873158"/>
                </a:cubicBezTo>
                <a:cubicBezTo>
                  <a:pt x="3006962" y="5863968"/>
                  <a:pt x="3018735" y="5852920"/>
                  <a:pt x="3023846" y="5859425"/>
                </a:cubicBezTo>
                <a:close/>
                <a:moveTo>
                  <a:pt x="3222578" y="5857050"/>
                </a:moveTo>
                <a:cubicBezTo>
                  <a:pt x="3227070" y="5856637"/>
                  <a:pt x="3227225" y="5859425"/>
                  <a:pt x="3227380" y="5862213"/>
                </a:cubicBezTo>
                <a:cubicBezTo>
                  <a:pt x="3225211" y="5861800"/>
                  <a:pt x="3224437" y="5863968"/>
                  <a:pt x="3223043" y="5864072"/>
                </a:cubicBezTo>
                <a:cubicBezTo>
                  <a:pt x="3222578" y="5864175"/>
                  <a:pt x="3221959" y="5863968"/>
                  <a:pt x="3221339" y="5863349"/>
                </a:cubicBezTo>
                <a:cubicBezTo>
                  <a:pt x="3220720" y="5861696"/>
                  <a:pt x="3220874" y="5859735"/>
                  <a:pt x="3222578" y="5857050"/>
                </a:cubicBezTo>
                <a:close/>
                <a:moveTo>
                  <a:pt x="2962197" y="5853436"/>
                </a:moveTo>
                <a:cubicBezTo>
                  <a:pt x="2963747" y="5855191"/>
                  <a:pt x="2965915" y="5857876"/>
                  <a:pt x="2964056" y="5860457"/>
                </a:cubicBezTo>
                <a:cubicBezTo>
                  <a:pt x="2963282" y="5860457"/>
                  <a:pt x="2963127" y="5861387"/>
                  <a:pt x="2962352" y="5861283"/>
                </a:cubicBezTo>
                <a:cubicBezTo>
                  <a:pt x="2962352" y="5861283"/>
                  <a:pt x="2961423" y="5861800"/>
                  <a:pt x="2960184" y="5861800"/>
                </a:cubicBezTo>
                <a:cubicBezTo>
                  <a:pt x="2958945" y="5861903"/>
                  <a:pt x="2957396" y="5861593"/>
                  <a:pt x="2955846" y="5860251"/>
                </a:cubicBezTo>
                <a:cubicBezTo>
                  <a:pt x="2955382" y="5859838"/>
                  <a:pt x="2954917" y="5859012"/>
                  <a:pt x="2954607" y="5858186"/>
                </a:cubicBezTo>
                <a:cubicBezTo>
                  <a:pt x="2954298" y="5857463"/>
                  <a:pt x="2954143" y="5856844"/>
                  <a:pt x="2954453" y="5856844"/>
                </a:cubicBezTo>
                <a:cubicBezTo>
                  <a:pt x="2955382" y="5855914"/>
                  <a:pt x="2954607" y="5855914"/>
                  <a:pt x="2954607" y="5855088"/>
                </a:cubicBezTo>
                <a:cubicBezTo>
                  <a:pt x="2957396" y="5852507"/>
                  <a:pt x="2960029" y="5851578"/>
                  <a:pt x="2962197" y="5853436"/>
                </a:cubicBezTo>
                <a:close/>
                <a:moveTo>
                  <a:pt x="3089058" y="5851268"/>
                </a:moveTo>
                <a:cubicBezTo>
                  <a:pt x="3092155" y="5853952"/>
                  <a:pt x="3094014" y="5851268"/>
                  <a:pt x="3098661" y="5855708"/>
                </a:cubicBezTo>
                <a:cubicBezTo>
                  <a:pt x="3104857" y="5861077"/>
                  <a:pt x="3102533" y="5867169"/>
                  <a:pt x="3099745" y="5870577"/>
                </a:cubicBezTo>
                <a:cubicBezTo>
                  <a:pt x="3099126" y="5869854"/>
                  <a:pt x="3095253" y="5874500"/>
                  <a:pt x="3090297" y="5874294"/>
                </a:cubicBezTo>
                <a:cubicBezTo>
                  <a:pt x="3088748" y="5874190"/>
                  <a:pt x="3087044" y="5873571"/>
                  <a:pt x="3085340" y="5872022"/>
                </a:cubicBezTo>
                <a:cubicBezTo>
                  <a:pt x="3084411" y="5871196"/>
                  <a:pt x="3083481" y="5870163"/>
                  <a:pt x="3082707" y="5869028"/>
                </a:cubicBezTo>
                <a:cubicBezTo>
                  <a:pt x="3080538" y="5865723"/>
                  <a:pt x="3080228" y="5861490"/>
                  <a:pt x="3085185" y="5856327"/>
                </a:cubicBezTo>
                <a:cubicBezTo>
                  <a:pt x="3086115" y="5854675"/>
                  <a:pt x="3086115" y="5855501"/>
                  <a:pt x="3087044" y="5854675"/>
                </a:cubicBezTo>
                <a:cubicBezTo>
                  <a:pt x="3087973" y="5853849"/>
                  <a:pt x="3088903" y="5852093"/>
                  <a:pt x="3089058" y="5851268"/>
                </a:cubicBezTo>
                <a:close/>
                <a:moveTo>
                  <a:pt x="2965915" y="5850132"/>
                </a:moveTo>
                <a:cubicBezTo>
                  <a:pt x="2966690" y="5850958"/>
                  <a:pt x="2967309" y="5852713"/>
                  <a:pt x="2966380" y="5853539"/>
                </a:cubicBezTo>
                <a:cubicBezTo>
                  <a:pt x="2965915" y="5854365"/>
                  <a:pt x="2965605" y="5854365"/>
                  <a:pt x="2964986" y="5854055"/>
                </a:cubicBezTo>
                <a:cubicBezTo>
                  <a:pt x="2964521" y="5853746"/>
                  <a:pt x="2963901" y="5853023"/>
                  <a:pt x="2963127" y="5852610"/>
                </a:cubicBezTo>
                <a:close/>
                <a:moveTo>
                  <a:pt x="2975518" y="5846724"/>
                </a:moveTo>
                <a:cubicBezTo>
                  <a:pt x="2976293" y="5846724"/>
                  <a:pt x="2976293" y="5847550"/>
                  <a:pt x="2976913" y="5848377"/>
                </a:cubicBezTo>
                <a:cubicBezTo>
                  <a:pt x="2977687" y="5850132"/>
                  <a:pt x="2977377" y="5852713"/>
                  <a:pt x="2976448" y="5853539"/>
                </a:cubicBezTo>
                <a:cubicBezTo>
                  <a:pt x="2975518" y="5854469"/>
                  <a:pt x="2974744" y="5854469"/>
                  <a:pt x="2974744" y="5854469"/>
                </a:cubicBezTo>
                <a:cubicBezTo>
                  <a:pt x="2973505" y="5853539"/>
                  <a:pt x="2972576" y="5852404"/>
                  <a:pt x="2972266" y="5851268"/>
                </a:cubicBezTo>
                <a:cubicBezTo>
                  <a:pt x="2971956" y="5850028"/>
                  <a:pt x="2972421" y="5848789"/>
                  <a:pt x="2973814" y="5847550"/>
                </a:cubicBezTo>
                <a:cubicBezTo>
                  <a:pt x="2974589" y="5846724"/>
                  <a:pt x="2975518" y="5845795"/>
                  <a:pt x="2975518" y="5846724"/>
                </a:cubicBezTo>
                <a:close/>
                <a:moveTo>
                  <a:pt x="3245193" y="5838877"/>
                </a:moveTo>
                <a:cubicBezTo>
                  <a:pt x="3245967" y="5839703"/>
                  <a:pt x="3246742" y="5839806"/>
                  <a:pt x="3245812" y="5841561"/>
                </a:cubicBezTo>
                <a:cubicBezTo>
                  <a:pt x="3245658" y="5842387"/>
                  <a:pt x="3244728" y="5843214"/>
                  <a:pt x="3244728" y="5844143"/>
                </a:cubicBezTo>
                <a:cubicBezTo>
                  <a:pt x="3244728" y="5844143"/>
                  <a:pt x="3244109" y="5844349"/>
                  <a:pt x="3243334" y="5844453"/>
                </a:cubicBezTo>
                <a:cubicBezTo>
                  <a:pt x="3242560" y="5844556"/>
                  <a:pt x="3241785" y="5844453"/>
                  <a:pt x="3241320" y="5844040"/>
                </a:cubicBezTo>
                <a:cubicBezTo>
                  <a:pt x="3241011" y="5843833"/>
                  <a:pt x="3240856" y="5843523"/>
                  <a:pt x="3240856" y="5843111"/>
                </a:cubicBezTo>
                <a:cubicBezTo>
                  <a:pt x="3241011" y="5841975"/>
                  <a:pt x="3242560" y="5840322"/>
                  <a:pt x="3242715" y="5839703"/>
                </a:cubicBezTo>
                <a:cubicBezTo>
                  <a:pt x="3243644" y="5838877"/>
                  <a:pt x="3244574" y="5837948"/>
                  <a:pt x="3245193" y="5838877"/>
                </a:cubicBezTo>
                <a:close/>
                <a:moveTo>
                  <a:pt x="3496435" y="5822872"/>
                </a:moveTo>
                <a:cubicBezTo>
                  <a:pt x="3501081" y="5829481"/>
                  <a:pt x="3501392" y="5838774"/>
                  <a:pt x="3498138" y="5847034"/>
                </a:cubicBezTo>
                <a:cubicBezTo>
                  <a:pt x="3494886" y="5855191"/>
                  <a:pt x="3488225" y="5862316"/>
                  <a:pt x="3478777" y="5864691"/>
                </a:cubicBezTo>
                <a:cubicBezTo>
                  <a:pt x="3480170" y="5858083"/>
                  <a:pt x="3480945" y="5848686"/>
                  <a:pt x="3483114" y="5840426"/>
                </a:cubicBezTo>
                <a:cubicBezTo>
                  <a:pt x="3485282" y="5832165"/>
                  <a:pt x="3489000" y="5824937"/>
                  <a:pt x="3496435" y="5822872"/>
                </a:cubicBezTo>
                <a:close/>
                <a:moveTo>
                  <a:pt x="2800428" y="5821181"/>
                </a:moveTo>
                <a:cubicBezTo>
                  <a:pt x="2802306" y="5820445"/>
                  <a:pt x="2804668" y="5820807"/>
                  <a:pt x="2805752" y="5822046"/>
                </a:cubicBezTo>
                <a:cubicBezTo>
                  <a:pt x="2805752" y="5825350"/>
                  <a:pt x="2802964" y="5827519"/>
                  <a:pt x="2800331" y="5827622"/>
                </a:cubicBezTo>
                <a:cubicBezTo>
                  <a:pt x="2799556" y="5827622"/>
                  <a:pt x="2798627" y="5827312"/>
                  <a:pt x="2798007" y="5826899"/>
                </a:cubicBezTo>
                <a:cubicBezTo>
                  <a:pt x="2797155" y="5823750"/>
                  <a:pt x="2798549" y="5821917"/>
                  <a:pt x="2800428" y="5821181"/>
                </a:cubicBezTo>
                <a:close/>
                <a:moveTo>
                  <a:pt x="3200273" y="5819258"/>
                </a:moveTo>
                <a:cubicBezTo>
                  <a:pt x="3202287" y="5816677"/>
                  <a:pt x="3204610" y="5818432"/>
                  <a:pt x="3207708" y="5819361"/>
                </a:cubicBezTo>
                <a:cubicBezTo>
                  <a:pt x="3206779" y="5820291"/>
                  <a:pt x="3207553" y="5821117"/>
                  <a:pt x="3208328" y="5822046"/>
                </a:cubicBezTo>
                <a:cubicBezTo>
                  <a:pt x="3206934" y="5823285"/>
                  <a:pt x="3205075" y="5825557"/>
                  <a:pt x="3202906" y="5825144"/>
                </a:cubicBezTo>
                <a:lnTo>
                  <a:pt x="3200893" y="5823698"/>
                </a:lnTo>
                <a:lnTo>
                  <a:pt x="3202906" y="5827622"/>
                </a:lnTo>
                <a:cubicBezTo>
                  <a:pt x="3203216" y="5829274"/>
                  <a:pt x="3202906" y="5830823"/>
                  <a:pt x="3202287" y="5832475"/>
                </a:cubicBezTo>
                <a:cubicBezTo>
                  <a:pt x="3198724" y="5842181"/>
                  <a:pt x="3181376" y="5851474"/>
                  <a:pt x="3173631" y="5851681"/>
                </a:cubicBezTo>
                <a:cubicBezTo>
                  <a:pt x="3171927" y="5848067"/>
                  <a:pt x="3172082" y="5844556"/>
                  <a:pt x="3173321" y="5841355"/>
                </a:cubicBezTo>
                <a:cubicBezTo>
                  <a:pt x="3176419" y="5834024"/>
                  <a:pt x="3185558" y="5828138"/>
                  <a:pt x="3193303" y="5825041"/>
                </a:cubicBezTo>
                <a:lnTo>
                  <a:pt x="3200428" y="5822872"/>
                </a:lnTo>
                <a:lnTo>
                  <a:pt x="3199963" y="5821736"/>
                </a:lnTo>
                <a:cubicBezTo>
                  <a:pt x="3199808" y="5820807"/>
                  <a:pt x="3199808" y="5819671"/>
                  <a:pt x="3200273" y="5819258"/>
                </a:cubicBezTo>
                <a:close/>
                <a:moveTo>
                  <a:pt x="2872357" y="5816367"/>
                </a:moveTo>
                <a:cubicBezTo>
                  <a:pt x="2873907" y="5817296"/>
                  <a:pt x="2874681" y="5818122"/>
                  <a:pt x="2876230" y="5819052"/>
                </a:cubicBezTo>
                <a:cubicBezTo>
                  <a:pt x="2875920" y="5821633"/>
                  <a:pt x="2878244" y="5824318"/>
                  <a:pt x="2874371" y="5829481"/>
                </a:cubicBezTo>
                <a:cubicBezTo>
                  <a:pt x="2869724" y="5834540"/>
                  <a:pt x="2865077" y="5830100"/>
                  <a:pt x="2864923" y="5831029"/>
                </a:cubicBezTo>
                <a:cubicBezTo>
                  <a:pt x="2863993" y="5831855"/>
                  <a:pt x="2863993" y="5831855"/>
                  <a:pt x="2863993" y="5832785"/>
                </a:cubicBezTo>
                <a:cubicBezTo>
                  <a:pt x="2863064" y="5832682"/>
                  <a:pt x="2861360" y="5833611"/>
                  <a:pt x="2860431" y="5834437"/>
                </a:cubicBezTo>
                <a:cubicBezTo>
                  <a:pt x="2860431" y="5833508"/>
                  <a:pt x="2860586" y="5832682"/>
                  <a:pt x="2859811" y="5832682"/>
                </a:cubicBezTo>
                <a:cubicBezTo>
                  <a:pt x="2861515" y="5830926"/>
                  <a:pt x="2862444" y="5831029"/>
                  <a:pt x="2863374" y="5830203"/>
                </a:cubicBezTo>
                <a:cubicBezTo>
                  <a:pt x="2862444" y="5830100"/>
                  <a:pt x="2863374" y="5829274"/>
                  <a:pt x="2863374" y="5829274"/>
                </a:cubicBezTo>
                <a:cubicBezTo>
                  <a:pt x="2863374" y="5829274"/>
                  <a:pt x="2863374" y="5829274"/>
                  <a:pt x="2861979" y="5827519"/>
                </a:cubicBezTo>
                <a:cubicBezTo>
                  <a:pt x="2861979" y="5827519"/>
                  <a:pt x="2859036" y="5823182"/>
                  <a:pt x="2862909" y="5818845"/>
                </a:cubicBezTo>
                <a:cubicBezTo>
                  <a:pt x="2863529" y="5819775"/>
                  <a:pt x="2869105" y="5814612"/>
                  <a:pt x="2872357" y="5816367"/>
                </a:cubicBezTo>
                <a:close/>
                <a:moveTo>
                  <a:pt x="2945314" y="5813166"/>
                </a:moveTo>
                <a:cubicBezTo>
                  <a:pt x="2945314" y="5813992"/>
                  <a:pt x="2944075" y="5816574"/>
                  <a:pt x="2945004" y="5816574"/>
                </a:cubicBezTo>
                <a:cubicBezTo>
                  <a:pt x="2942835" y="5818536"/>
                  <a:pt x="2940357" y="5820497"/>
                  <a:pt x="2938189" y="5820601"/>
                </a:cubicBezTo>
                <a:cubicBezTo>
                  <a:pt x="2937569" y="5820601"/>
                  <a:pt x="2936949" y="5820394"/>
                  <a:pt x="2936330" y="5819981"/>
                </a:cubicBezTo>
                <a:cubicBezTo>
                  <a:pt x="2934781" y="5819052"/>
                  <a:pt x="2935710" y="5817400"/>
                  <a:pt x="2937569" y="5815644"/>
                </a:cubicBezTo>
                <a:cubicBezTo>
                  <a:pt x="2940512" y="5811308"/>
                  <a:pt x="2943145" y="5810481"/>
                  <a:pt x="2945314" y="5813166"/>
                </a:cubicBezTo>
                <a:close/>
                <a:moveTo>
                  <a:pt x="2954917" y="5809655"/>
                </a:moveTo>
                <a:cubicBezTo>
                  <a:pt x="2954762" y="5810585"/>
                  <a:pt x="2955382" y="5812443"/>
                  <a:pt x="2954607" y="5812443"/>
                </a:cubicBezTo>
                <a:cubicBezTo>
                  <a:pt x="2954453" y="5813269"/>
                  <a:pt x="2952903" y="5813269"/>
                  <a:pt x="2952903" y="5813269"/>
                </a:cubicBezTo>
                <a:cubicBezTo>
                  <a:pt x="2952749" y="5814199"/>
                  <a:pt x="2952749" y="5815025"/>
                  <a:pt x="2951819" y="5815954"/>
                </a:cubicBezTo>
                <a:cubicBezTo>
                  <a:pt x="2951045" y="5815025"/>
                  <a:pt x="2951045" y="5815954"/>
                  <a:pt x="2950270" y="5815954"/>
                </a:cubicBezTo>
                <a:cubicBezTo>
                  <a:pt x="2951045" y="5815025"/>
                  <a:pt x="2951355" y="5812340"/>
                  <a:pt x="2952439" y="5810585"/>
                </a:cubicBezTo>
                <a:cubicBezTo>
                  <a:pt x="2953214" y="5810585"/>
                  <a:pt x="2954143" y="5809655"/>
                  <a:pt x="2954917" y="5809655"/>
                </a:cubicBezTo>
                <a:close/>
                <a:moveTo>
                  <a:pt x="3280354" y="5805938"/>
                </a:moveTo>
                <a:cubicBezTo>
                  <a:pt x="3285466" y="5807177"/>
                  <a:pt x="3285931" y="5810688"/>
                  <a:pt x="3283297" y="5815748"/>
                </a:cubicBezTo>
                <a:cubicBezTo>
                  <a:pt x="3281439" y="5815748"/>
                  <a:pt x="3279890" y="5816470"/>
                  <a:pt x="3277256" y="5816883"/>
                </a:cubicBezTo>
                <a:cubicBezTo>
                  <a:pt x="3276327" y="5814509"/>
                  <a:pt x="3276792" y="5808726"/>
                  <a:pt x="3280354" y="5805938"/>
                </a:cubicBezTo>
                <a:close/>
                <a:moveTo>
                  <a:pt x="3139805" y="5803383"/>
                </a:moveTo>
                <a:cubicBezTo>
                  <a:pt x="3142613" y="5803202"/>
                  <a:pt x="3144820" y="5803873"/>
                  <a:pt x="3145750" y="5803460"/>
                </a:cubicBezTo>
                <a:cubicBezTo>
                  <a:pt x="3147918" y="5806042"/>
                  <a:pt x="3147918" y="5806042"/>
                  <a:pt x="3143271" y="5811204"/>
                </a:cubicBezTo>
                <a:cubicBezTo>
                  <a:pt x="3142342" y="5812030"/>
                  <a:pt x="3141258" y="5812650"/>
                  <a:pt x="3140018" y="5812959"/>
                </a:cubicBezTo>
                <a:cubicBezTo>
                  <a:pt x="3138934" y="5813269"/>
                  <a:pt x="3137695" y="5813269"/>
                  <a:pt x="3136456" y="5812753"/>
                </a:cubicBezTo>
                <a:cubicBezTo>
                  <a:pt x="3135527" y="5813269"/>
                  <a:pt x="3134597" y="5813476"/>
                  <a:pt x="3133513" y="5813476"/>
                </a:cubicBezTo>
                <a:cubicBezTo>
                  <a:pt x="3132584" y="5813476"/>
                  <a:pt x="3131499" y="5813166"/>
                  <a:pt x="3130725" y="5812753"/>
                </a:cubicBezTo>
                <a:cubicBezTo>
                  <a:pt x="3129950" y="5811824"/>
                  <a:pt x="3129640" y="5810998"/>
                  <a:pt x="3129640" y="5810172"/>
                </a:cubicBezTo>
                <a:cubicBezTo>
                  <a:pt x="3129640" y="5809449"/>
                  <a:pt x="3129950" y="5808829"/>
                  <a:pt x="3130260" y="5808416"/>
                </a:cubicBezTo>
                <a:cubicBezTo>
                  <a:pt x="3133590" y="5804596"/>
                  <a:pt x="3136998" y="5803563"/>
                  <a:pt x="3139805" y="5803383"/>
                </a:cubicBezTo>
                <a:close/>
                <a:moveTo>
                  <a:pt x="2949806" y="5802841"/>
                </a:moveTo>
                <a:cubicBezTo>
                  <a:pt x="2950890" y="5802014"/>
                  <a:pt x="2951665" y="5802014"/>
                  <a:pt x="2952439" y="5802944"/>
                </a:cubicBezTo>
                <a:cubicBezTo>
                  <a:pt x="2952439" y="5802944"/>
                  <a:pt x="2951355" y="5804699"/>
                  <a:pt x="2951355" y="5804699"/>
                </a:cubicBezTo>
                <a:cubicBezTo>
                  <a:pt x="2949496" y="5806351"/>
                  <a:pt x="2948567" y="5807177"/>
                  <a:pt x="2947482" y="5808933"/>
                </a:cubicBezTo>
                <a:cubicBezTo>
                  <a:pt x="2946708" y="5808519"/>
                  <a:pt x="2946398" y="5808107"/>
                  <a:pt x="2946243" y="5807693"/>
                </a:cubicBezTo>
                <a:cubicBezTo>
                  <a:pt x="2946243" y="5807177"/>
                  <a:pt x="2946398" y="5806764"/>
                  <a:pt x="2946863" y="5806248"/>
                </a:cubicBezTo>
                <a:cubicBezTo>
                  <a:pt x="2946863" y="5806248"/>
                  <a:pt x="2947792" y="5805422"/>
                  <a:pt x="2948722" y="5804596"/>
                </a:cubicBezTo>
                <a:cubicBezTo>
                  <a:pt x="2949651" y="5803770"/>
                  <a:pt x="2949806" y="5802841"/>
                  <a:pt x="2949806" y="5802841"/>
                </a:cubicBezTo>
                <a:close/>
                <a:moveTo>
                  <a:pt x="2912476" y="5800362"/>
                </a:moveTo>
                <a:cubicBezTo>
                  <a:pt x="2905815" y="5808210"/>
                  <a:pt x="2901168" y="5803770"/>
                  <a:pt x="2897296" y="5808107"/>
                </a:cubicBezTo>
                <a:cubicBezTo>
                  <a:pt x="2896676" y="5806351"/>
                  <a:pt x="2896676" y="5806351"/>
                  <a:pt x="2897761" y="5804596"/>
                </a:cubicBezTo>
                <a:cubicBezTo>
                  <a:pt x="2898535" y="5804596"/>
                  <a:pt x="2898690" y="5803667"/>
                  <a:pt x="2899465" y="5804596"/>
                </a:cubicBezTo>
                <a:cubicBezTo>
                  <a:pt x="2901323" y="5802014"/>
                  <a:pt x="2909223" y="5799433"/>
                  <a:pt x="2912476" y="5800362"/>
                </a:cubicBezTo>
                <a:close/>
                <a:moveTo>
                  <a:pt x="3209257" y="5797987"/>
                </a:moveTo>
                <a:cubicBezTo>
                  <a:pt x="3211116" y="5799846"/>
                  <a:pt x="3212819" y="5801705"/>
                  <a:pt x="3214523" y="5803563"/>
                </a:cubicBezTo>
                <a:cubicBezTo>
                  <a:pt x="3212975" y="5804389"/>
                  <a:pt x="3212200" y="5806042"/>
                  <a:pt x="3211426" y="5806971"/>
                </a:cubicBezTo>
                <a:cubicBezTo>
                  <a:pt x="3208947" y="5806867"/>
                  <a:pt x="3207243" y="5805938"/>
                  <a:pt x="3205384" y="5803150"/>
                </a:cubicBezTo>
                <a:cubicBezTo>
                  <a:pt x="3206934" y="5799743"/>
                  <a:pt x="3206159" y="5800569"/>
                  <a:pt x="3209257" y="5797987"/>
                </a:cubicBezTo>
                <a:close/>
                <a:moveTo>
                  <a:pt x="2919446" y="5796335"/>
                </a:moveTo>
                <a:cubicBezTo>
                  <a:pt x="2918517" y="5797161"/>
                  <a:pt x="2916813" y="5798091"/>
                  <a:pt x="2915883" y="5798917"/>
                </a:cubicBezTo>
                <a:cubicBezTo>
                  <a:pt x="2915883" y="5798917"/>
                  <a:pt x="2915883" y="5798917"/>
                  <a:pt x="2915109" y="5797987"/>
                </a:cubicBezTo>
                <a:cubicBezTo>
                  <a:pt x="2916813" y="5798091"/>
                  <a:pt x="2917897" y="5794477"/>
                  <a:pt x="2919446" y="5796335"/>
                </a:cubicBezTo>
                <a:close/>
                <a:moveTo>
                  <a:pt x="2906396" y="5795974"/>
                </a:moveTo>
                <a:cubicBezTo>
                  <a:pt x="2908720" y="5795896"/>
                  <a:pt x="2910617" y="5796129"/>
                  <a:pt x="2911082" y="5796129"/>
                </a:cubicBezTo>
                <a:cubicBezTo>
                  <a:pt x="2910927" y="5796955"/>
                  <a:pt x="2910927" y="5797058"/>
                  <a:pt x="2910927" y="5797058"/>
                </a:cubicBezTo>
                <a:cubicBezTo>
                  <a:pt x="2908448" y="5796335"/>
                  <a:pt x="2905350" y="5798504"/>
                  <a:pt x="2902098" y="5798917"/>
                </a:cubicBezTo>
                <a:cubicBezTo>
                  <a:pt x="2901013" y="5799020"/>
                  <a:pt x="2900084" y="5799020"/>
                  <a:pt x="2899000" y="5798504"/>
                </a:cubicBezTo>
                <a:cubicBezTo>
                  <a:pt x="2899000" y="5798504"/>
                  <a:pt x="2899000" y="5798504"/>
                  <a:pt x="2899929" y="5798504"/>
                </a:cubicBezTo>
                <a:cubicBezTo>
                  <a:pt x="2899929" y="5798504"/>
                  <a:pt x="2899000" y="5798504"/>
                  <a:pt x="2899155" y="5797678"/>
                </a:cubicBezTo>
                <a:cubicBezTo>
                  <a:pt x="2901323" y="5796439"/>
                  <a:pt x="2904073" y="5796051"/>
                  <a:pt x="2906396" y="5795974"/>
                </a:cubicBezTo>
                <a:close/>
                <a:moveTo>
                  <a:pt x="3289338" y="5794683"/>
                </a:moveTo>
                <a:cubicBezTo>
                  <a:pt x="3290113" y="5795303"/>
                  <a:pt x="3290577" y="5796439"/>
                  <a:pt x="3290577" y="5798297"/>
                </a:cubicBezTo>
                <a:cubicBezTo>
                  <a:pt x="3289184" y="5799020"/>
                  <a:pt x="3285931" y="5800052"/>
                  <a:pt x="3282833" y="5800259"/>
                </a:cubicBezTo>
                <a:cubicBezTo>
                  <a:pt x="3279735" y="5800569"/>
                  <a:pt x="3276947" y="5800052"/>
                  <a:pt x="3276482" y="5797678"/>
                </a:cubicBezTo>
                <a:cubicBezTo>
                  <a:pt x="3276327" y="5797058"/>
                  <a:pt x="3276482" y="5796232"/>
                  <a:pt x="3276792" y="5795200"/>
                </a:cubicBezTo>
                <a:cubicBezTo>
                  <a:pt x="3282058" y="5795406"/>
                  <a:pt x="3287015" y="5792824"/>
                  <a:pt x="3289338" y="5794683"/>
                </a:cubicBezTo>
                <a:close/>
                <a:moveTo>
                  <a:pt x="3140270" y="5788230"/>
                </a:moveTo>
                <a:cubicBezTo>
                  <a:pt x="3143310" y="5787249"/>
                  <a:pt x="3145905" y="5789211"/>
                  <a:pt x="3143271" y="5798297"/>
                </a:cubicBezTo>
                <a:cubicBezTo>
                  <a:pt x="3137385" y="5798814"/>
                  <a:pt x="3135062" y="5797575"/>
                  <a:pt x="3134597" y="5795819"/>
                </a:cubicBezTo>
                <a:cubicBezTo>
                  <a:pt x="3133745" y="5793135"/>
                  <a:pt x="3137230" y="5789211"/>
                  <a:pt x="3140270" y="5788230"/>
                </a:cubicBezTo>
                <a:close/>
                <a:moveTo>
                  <a:pt x="3187649" y="5787171"/>
                </a:moveTo>
                <a:cubicBezTo>
                  <a:pt x="3192993" y="5784254"/>
                  <a:pt x="3198647" y="5784100"/>
                  <a:pt x="3202752" y="5788694"/>
                </a:cubicBezTo>
                <a:cubicBezTo>
                  <a:pt x="3204300" y="5790450"/>
                  <a:pt x="3205540" y="5792928"/>
                  <a:pt x="3206624" y="5796232"/>
                </a:cubicBezTo>
                <a:cubicBezTo>
                  <a:pt x="3200893" y="5803357"/>
                  <a:pt x="3193612" y="5815851"/>
                  <a:pt x="3182925" y="5817503"/>
                </a:cubicBezTo>
                <a:cubicBezTo>
                  <a:pt x="3181376" y="5817710"/>
                  <a:pt x="3179827" y="5817813"/>
                  <a:pt x="3178123" y="5817503"/>
                </a:cubicBezTo>
                <a:cubicBezTo>
                  <a:pt x="3176109" y="5817193"/>
                  <a:pt x="3174096" y="5816574"/>
                  <a:pt x="3172082" y="5815541"/>
                </a:cubicBezTo>
                <a:cubicBezTo>
                  <a:pt x="3171463" y="5811101"/>
                  <a:pt x="3172392" y="5806558"/>
                  <a:pt x="3174406" y="5802221"/>
                </a:cubicBezTo>
                <a:cubicBezTo>
                  <a:pt x="3177271" y="5795767"/>
                  <a:pt x="3182305" y="5790088"/>
                  <a:pt x="3187649" y="5787171"/>
                </a:cubicBezTo>
                <a:close/>
                <a:moveTo>
                  <a:pt x="2944849" y="5785390"/>
                </a:moveTo>
                <a:cubicBezTo>
                  <a:pt x="2943455" y="5787249"/>
                  <a:pt x="2940977" y="5790553"/>
                  <a:pt x="2938808" y="5791379"/>
                </a:cubicBezTo>
                <a:cubicBezTo>
                  <a:pt x="2938189" y="5791689"/>
                  <a:pt x="2937414" y="5791585"/>
                  <a:pt x="2936949" y="5791173"/>
                </a:cubicBezTo>
                <a:cubicBezTo>
                  <a:pt x="2936175" y="5790347"/>
                  <a:pt x="2937104" y="5789520"/>
                  <a:pt x="2937104" y="5788694"/>
                </a:cubicBezTo>
                <a:cubicBezTo>
                  <a:pt x="2938189" y="5786939"/>
                  <a:pt x="2944075" y="5784564"/>
                  <a:pt x="2944849" y="5785390"/>
                </a:cubicBezTo>
                <a:close/>
                <a:moveTo>
                  <a:pt x="3031746" y="5783015"/>
                </a:moveTo>
                <a:cubicBezTo>
                  <a:pt x="3031746" y="5783015"/>
                  <a:pt x="3031746" y="5783015"/>
                  <a:pt x="3032365" y="5783428"/>
                </a:cubicBezTo>
                <a:cubicBezTo>
                  <a:pt x="3033759" y="5784357"/>
                  <a:pt x="3034379" y="5784771"/>
                  <a:pt x="3035154" y="5785184"/>
                </a:cubicBezTo>
                <a:cubicBezTo>
                  <a:pt x="3035308" y="5786423"/>
                  <a:pt x="3035154" y="5789520"/>
                  <a:pt x="3034069" y="5789830"/>
                </a:cubicBezTo>
                <a:cubicBezTo>
                  <a:pt x="3032985" y="5790140"/>
                  <a:pt x="3031746" y="5790140"/>
                  <a:pt x="3030816" y="5789933"/>
                </a:cubicBezTo>
                <a:cubicBezTo>
                  <a:pt x="3029887" y="5789727"/>
                  <a:pt x="3029113" y="5789314"/>
                  <a:pt x="3029113" y="5788694"/>
                </a:cubicBezTo>
                <a:cubicBezTo>
                  <a:pt x="3028803" y="5786939"/>
                  <a:pt x="3028493" y="5785184"/>
                  <a:pt x="3029887" y="5783945"/>
                </a:cubicBezTo>
                <a:cubicBezTo>
                  <a:pt x="3030197" y="5783532"/>
                  <a:pt x="3030816" y="5783325"/>
                  <a:pt x="3031746" y="5783015"/>
                </a:cubicBezTo>
                <a:close/>
                <a:moveTo>
                  <a:pt x="3366322" y="5772586"/>
                </a:moveTo>
                <a:cubicBezTo>
                  <a:pt x="3365857" y="5773825"/>
                  <a:pt x="3365702" y="5775787"/>
                  <a:pt x="3364463" y="5777336"/>
                </a:cubicBezTo>
                <a:cubicBezTo>
                  <a:pt x="3360281" y="5778472"/>
                  <a:pt x="3357802" y="5776820"/>
                  <a:pt x="3356563" y="5773619"/>
                </a:cubicBezTo>
                <a:cubicBezTo>
                  <a:pt x="3358422" y="5768869"/>
                  <a:pt x="3364773" y="5768559"/>
                  <a:pt x="3366322" y="5772586"/>
                </a:cubicBezTo>
                <a:close/>
                <a:moveTo>
                  <a:pt x="2976293" y="5769902"/>
                </a:moveTo>
                <a:cubicBezTo>
                  <a:pt x="2972885" y="5779711"/>
                  <a:pt x="2975209" y="5786939"/>
                  <a:pt x="2969323" y="5797471"/>
                </a:cubicBezTo>
                <a:cubicBezTo>
                  <a:pt x="2967774" y="5796129"/>
                  <a:pt x="2966844" y="5793857"/>
                  <a:pt x="2966535" y="5791069"/>
                </a:cubicBezTo>
                <a:cubicBezTo>
                  <a:pt x="2965450" y="5782809"/>
                  <a:pt x="2969323" y="5770624"/>
                  <a:pt x="2976293" y="5769902"/>
                </a:cubicBezTo>
                <a:close/>
                <a:moveTo>
                  <a:pt x="2949806" y="5766391"/>
                </a:moveTo>
                <a:cubicBezTo>
                  <a:pt x="2950425" y="5767837"/>
                  <a:pt x="2948876" y="5771244"/>
                  <a:pt x="2947947" y="5773619"/>
                </a:cubicBezTo>
                <a:cubicBezTo>
                  <a:pt x="2946708" y="5774135"/>
                  <a:pt x="2945469" y="5774342"/>
                  <a:pt x="2944075" y="5774239"/>
                </a:cubicBezTo>
                <a:cubicBezTo>
                  <a:pt x="2942835" y="5774135"/>
                  <a:pt x="2941441" y="5773722"/>
                  <a:pt x="2940202" y="5772896"/>
                </a:cubicBezTo>
                <a:cubicBezTo>
                  <a:pt x="2942216" y="5768353"/>
                  <a:pt x="2945314" y="5766804"/>
                  <a:pt x="2949806" y="5766391"/>
                </a:cubicBezTo>
                <a:close/>
                <a:moveTo>
                  <a:pt x="2840759" y="5759266"/>
                </a:moveTo>
                <a:cubicBezTo>
                  <a:pt x="2842618" y="5758750"/>
                  <a:pt x="2844941" y="5759163"/>
                  <a:pt x="2847419" y="5761331"/>
                </a:cubicBezTo>
                <a:cubicBezTo>
                  <a:pt x="2844011" y="5766701"/>
                  <a:pt x="2845560" y="5770624"/>
                  <a:pt x="2840914" y="5773722"/>
                </a:cubicBezTo>
                <a:cubicBezTo>
                  <a:pt x="2838900" y="5773206"/>
                  <a:pt x="2837506" y="5772070"/>
                  <a:pt x="2836576" y="5770728"/>
                </a:cubicBezTo>
                <a:cubicBezTo>
                  <a:pt x="2834098" y="5766701"/>
                  <a:pt x="2836422" y="5760402"/>
                  <a:pt x="2840759" y="5759266"/>
                </a:cubicBezTo>
                <a:close/>
                <a:moveTo>
                  <a:pt x="3151171" y="5756375"/>
                </a:moveTo>
                <a:cubicBezTo>
                  <a:pt x="3151791" y="5756891"/>
                  <a:pt x="3152410" y="5757717"/>
                  <a:pt x="3152875" y="5758956"/>
                </a:cubicBezTo>
                <a:cubicBezTo>
                  <a:pt x="3152100" y="5766288"/>
                  <a:pt x="3149777" y="5771657"/>
                  <a:pt x="3142651" y="5772586"/>
                </a:cubicBezTo>
                <a:cubicBezTo>
                  <a:pt x="3142651" y="5771347"/>
                  <a:pt x="3141567" y="5771347"/>
                  <a:pt x="3140328" y="5771347"/>
                </a:cubicBezTo>
                <a:cubicBezTo>
                  <a:pt x="3136456" y="5765255"/>
                  <a:pt x="3146214" y="5752658"/>
                  <a:pt x="3151171" y="5756375"/>
                </a:cubicBezTo>
                <a:close/>
                <a:moveTo>
                  <a:pt x="3303434" y="5755962"/>
                </a:moveTo>
                <a:cubicBezTo>
                  <a:pt x="3309010" y="5756065"/>
                  <a:pt x="3312108" y="5759266"/>
                  <a:pt x="3315051" y="5762467"/>
                </a:cubicBezTo>
                <a:cubicBezTo>
                  <a:pt x="3314742" y="5766907"/>
                  <a:pt x="3313347" y="5768559"/>
                  <a:pt x="3311488" y="5768766"/>
                </a:cubicBezTo>
                <a:cubicBezTo>
                  <a:pt x="3310869" y="5768766"/>
                  <a:pt x="3310095" y="5768766"/>
                  <a:pt x="3309320" y="5768559"/>
                </a:cubicBezTo>
                <a:cubicBezTo>
                  <a:pt x="3306377" y="5767733"/>
                  <a:pt x="3302969" y="5765152"/>
                  <a:pt x="3300181" y="5764119"/>
                </a:cubicBezTo>
                <a:cubicBezTo>
                  <a:pt x="3300491" y="5760196"/>
                  <a:pt x="3300955" y="5759060"/>
                  <a:pt x="3303434" y="5755962"/>
                </a:cubicBezTo>
                <a:close/>
                <a:moveTo>
                  <a:pt x="3429190" y="5755420"/>
                </a:moveTo>
                <a:cubicBezTo>
                  <a:pt x="3430333" y="5755678"/>
                  <a:pt x="3431610" y="5756581"/>
                  <a:pt x="3432927" y="5757511"/>
                </a:cubicBezTo>
                <a:cubicBezTo>
                  <a:pt x="3432153" y="5759163"/>
                  <a:pt x="3433082" y="5760918"/>
                  <a:pt x="3430604" y="5762571"/>
                </a:cubicBezTo>
                <a:cubicBezTo>
                  <a:pt x="3428900" y="5760712"/>
                  <a:pt x="3427970" y="5758956"/>
                  <a:pt x="3426267" y="5757201"/>
                </a:cubicBezTo>
                <a:cubicBezTo>
                  <a:pt x="3427041" y="5755549"/>
                  <a:pt x="3428048" y="5755162"/>
                  <a:pt x="3429190" y="5755420"/>
                </a:cubicBezTo>
                <a:close/>
                <a:moveTo>
                  <a:pt x="3013933" y="5753174"/>
                </a:moveTo>
                <a:cubicBezTo>
                  <a:pt x="3010525" y="5758647"/>
                  <a:pt x="3006808" y="5763293"/>
                  <a:pt x="3004484" y="5771967"/>
                </a:cubicBezTo>
                <a:cubicBezTo>
                  <a:pt x="3002935" y="5771347"/>
                  <a:pt x="3002161" y="5772999"/>
                  <a:pt x="3000767" y="5773103"/>
                </a:cubicBezTo>
                <a:cubicBezTo>
                  <a:pt x="3000302" y="5773206"/>
                  <a:pt x="2999837" y="5773103"/>
                  <a:pt x="2999218" y="5772690"/>
                </a:cubicBezTo>
                <a:cubicBezTo>
                  <a:pt x="2996739" y="5766391"/>
                  <a:pt x="3005569" y="5750696"/>
                  <a:pt x="3013933" y="5753174"/>
                </a:cubicBezTo>
                <a:close/>
                <a:moveTo>
                  <a:pt x="3294605" y="5752039"/>
                </a:moveTo>
                <a:cubicBezTo>
                  <a:pt x="3292591" y="5761745"/>
                  <a:pt x="3295844" y="5769076"/>
                  <a:pt x="3291507" y="5779401"/>
                </a:cubicBezTo>
                <a:cubicBezTo>
                  <a:pt x="3284537" y="5773929"/>
                  <a:pt x="3285311" y="5752658"/>
                  <a:pt x="3294605" y="5752039"/>
                </a:cubicBezTo>
                <a:close/>
                <a:moveTo>
                  <a:pt x="3063345" y="5751729"/>
                </a:moveTo>
                <a:cubicBezTo>
                  <a:pt x="3068921" y="5748941"/>
                  <a:pt x="3075737" y="5753278"/>
                  <a:pt x="3077440" y="5760815"/>
                </a:cubicBezTo>
                <a:cubicBezTo>
                  <a:pt x="3080538" y="5772483"/>
                  <a:pt x="3076976" y="5779711"/>
                  <a:pt x="3076976" y="5779711"/>
                </a:cubicBezTo>
                <a:cubicBezTo>
                  <a:pt x="3074962" y="5780434"/>
                  <a:pt x="3073258" y="5780641"/>
                  <a:pt x="3071864" y="5780434"/>
                </a:cubicBezTo>
                <a:cubicBezTo>
                  <a:pt x="3067372" y="5779918"/>
                  <a:pt x="3065049" y="5775478"/>
                  <a:pt x="3063500" y="5770831"/>
                </a:cubicBezTo>
                <a:cubicBezTo>
                  <a:pt x="3062725" y="5768766"/>
                  <a:pt x="3062261" y="5766598"/>
                  <a:pt x="3061796" y="5764636"/>
                </a:cubicBezTo>
                <a:cubicBezTo>
                  <a:pt x="3060712" y="5760815"/>
                  <a:pt x="3059937" y="5756479"/>
                  <a:pt x="3061176" y="5753794"/>
                </a:cubicBezTo>
                <a:cubicBezTo>
                  <a:pt x="3061641" y="5752968"/>
                  <a:pt x="3062416" y="5752245"/>
                  <a:pt x="3063345" y="5751729"/>
                </a:cubicBezTo>
                <a:close/>
                <a:moveTo>
                  <a:pt x="3107335" y="5748631"/>
                </a:moveTo>
                <a:cubicBezTo>
                  <a:pt x="3110588" y="5751316"/>
                  <a:pt x="3110743" y="5753897"/>
                  <a:pt x="3109349" y="5757201"/>
                </a:cubicBezTo>
                <a:cubicBezTo>
                  <a:pt x="3106871" y="5757098"/>
                  <a:pt x="3103618" y="5754413"/>
                  <a:pt x="3103463" y="5751832"/>
                </a:cubicBezTo>
                <a:cubicBezTo>
                  <a:pt x="3105012" y="5749354"/>
                  <a:pt x="3106561" y="5750283"/>
                  <a:pt x="3107335" y="5748631"/>
                </a:cubicBezTo>
                <a:close/>
                <a:moveTo>
                  <a:pt x="2997204" y="5748424"/>
                </a:moveTo>
                <a:cubicBezTo>
                  <a:pt x="2998288" y="5748838"/>
                  <a:pt x="2999372" y="5749250"/>
                  <a:pt x="3000457" y="5749663"/>
                </a:cubicBezTo>
                <a:cubicBezTo>
                  <a:pt x="2999527" y="5751935"/>
                  <a:pt x="2998598" y="5754207"/>
                  <a:pt x="2996429" y="5753381"/>
                </a:cubicBezTo>
                <a:cubicBezTo>
                  <a:pt x="2996584" y="5751419"/>
                  <a:pt x="2995500" y="5751109"/>
                  <a:pt x="2997204" y="5748424"/>
                </a:cubicBezTo>
                <a:close/>
                <a:moveTo>
                  <a:pt x="2833634" y="5748115"/>
                </a:moveTo>
                <a:cubicBezTo>
                  <a:pt x="2830845" y="5753278"/>
                  <a:pt x="2833169" y="5756891"/>
                  <a:pt x="2828987" y="5758027"/>
                </a:cubicBezTo>
                <a:cubicBezTo>
                  <a:pt x="2826973" y="5755240"/>
                  <a:pt x="2830071" y="5748941"/>
                  <a:pt x="2833634" y="5748115"/>
                </a:cubicBezTo>
                <a:close/>
                <a:moveTo>
                  <a:pt x="3220255" y="5747908"/>
                </a:moveTo>
                <a:cubicBezTo>
                  <a:pt x="3223972" y="5749457"/>
                  <a:pt x="3223353" y="5755033"/>
                  <a:pt x="3220100" y="5756891"/>
                </a:cubicBezTo>
                <a:cubicBezTo>
                  <a:pt x="3218551" y="5756685"/>
                  <a:pt x="3217621" y="5756065"/>
                  <a:pt x="3217002" y="5755240"/>
                </a:cubicBezTo>
                <a:cubicBezTo>
                  <a:pt x="3215453" y="5752864"/>
                  <a:pt x="3217776" y="5748631"/>
                  <a:pt x="3220255" y="5747908"/>
                </a:cubicBezTo>
                <a:close/>
                <a:moveTo>
                  <a:pt x="3373757" y="5745946"/>
                </a:moveTo>
                <a:cubicBezTo>
                  <a:pt x="3374531" y="5746359"/>
                  <a:pt x="3374222" y="5747082"/>
                  <a:pt x="3374996" y="5747495"/>
                </a:cubicBezTo>
                <a:cubicBezTo>
                  <a:pt x="3375151" y="5748115"/>
                  <a:pt x="3374996" y="5748941"/>
                  <a:pt x="3374531" y="5749870"/>
                </a:cubicBezTo>
                <a:cubicBezTo>
                  <a:pt x="3373137" y="5752658"/>
                  <a:pt x="3369730" y="5756169"/>
                  <a:pt x="3369265" y="5755859"/>
                </a:cubicBezTo>
                <a:cubicBezTo>
                  <a:pt x="3368800" y="5756582"/>
                  <a:pt x="3368026" y="5756169"/>
                  <a:pt x="3367716" y="5756891"/>
                </a:cubicBezTo>
                <a:cubicBezTo>
                  <a:pt x="3367716" y="5756891"/>
                  <a:pt x="3367406" y="5757717"/>
                  <a:pt x="3366167" y="5758027"/>
                </a:cubicBezTo>
                <a:cubicBezTo>
                  <a:pt x="3365702" y="5758234"/>
                  <a:pt x="3365083" y="5758337"/>
                  <a:pt x="3364618" y="5758234"/>
                </a:cubicBezTo>
                <a:cubicBezTo>
                  <a:pt x="3363999" y="5758131"/>
                  <a:pt x="3363379" y="5757821"/>
                  <a:pt x="3362759" y="5756995"/>
                </a:cubicBezTo>
                <a:cubicBezTo>
                  <a:pt x="3368026" y="5752245"/>
                  <a:pt x="3369265" y="5749147"/>
                  <a:pt x="3373757" y="5745946"/>
                </a:cubicBezTo>
                <a:close/>
                <a:moveTo>
                  <a:pt x="2894043" y="5741919"/>
                </a:moveTo>
                <a:cubicBezTo>
                  <a:pt x="2895592" y="5742849"/>
                  <a:pt x="2896366" y="5742849"/>
                  <a:pt x="2898225" y="5742022"/>
                </a:cubicBezTo>
                <a:cubicBezTo>
                  <a:pt x="2898225" y="5742022"/>
                  <a:pt x="2898225" y="5742022"/>
                  <a:pt x="2899619" y="5743778"/>
                </a:cubicBezTo>
                <a:lnTo>
                  <a:pt x="2899619" y="5744604"/>
                </a:lnTo>
                <a:cubicBezTo>
                  <a:pt x="2899310" y="5745017"/>
                  <a:pt x="2898690" y="5745223"/>
                  <a:pt x="2897761" y="5745327"/>
                </a:cubicBezTo>
                <a:cubicBezTo>
                  <a:pt x="2894972" y="5745533"/>
                  <a:pt x="2890171" y="5744501"/>
                  <a:pt x="2889551" y="5744501"/>
                </a:cubicBezTo>
                <a:cubicBezTo>
                  <a:pt x="2889551" y="5744501"/>
                  <a:pt x="2888777" y="5744397"/>
                  <a:pt x="2888002" y="5744397"/>
                </a:cubicBezTo>
                <a:cubicBezTo>
                  <a:pt x="2887228" y="5743572"/>
                  <a:pt x="2887228" y="5742642"/>
                  <a:pt x="2886453" y="5742642"/>
                </a:cubicBezTo>
                <a:cubicBezTo>
                  <a:pt x="2889241" y="5740164"/>
                  <a:pt x="2891720" y="5741093"/>
                  <a:pt x="2894043" y="5741919"/>
                </a:cubicBezTo>
                <a:close/>
                <a:moveTo>
                  <a:pt x="3139825" y="5741842"/>
                </a:moveTo>
                <a:cubicBezTo>
                  <a:pt x="3141761" y="5741067"/>
                  <a:pt x="3144201" y="5741816"/>
                  <a:pt x="3145750" y="5743675"/>
                </a:cubicBezTo>
                <a:cubicBezTo>
                  <a:pt x="3146679" y="5745017"/>
                  <a:pt x="3147298" y="5746772"/>
                  <a:pt x="3146989" y="5748941"/>
                </a:cubicBezTo>
                <a:cubicBezTo>
                  <a:pt x="3146059" y="5749870"/>
                  <a:pt x="3143891" y="5750386"/>
                  <a:pt x="3141877" y="5750386"/>
                </a:cubicBezTo>
                <a:cubicBezTo>
                  <a:pt x="3139708" y="5750489"/>
                  <a:pt x="3137695" y="5750077"/>
                  <a:pt x="3136920" y="5749147"/>
                </a:cubicBezTo>
                <a:cubicBezTo>
                  <a:pt x="3136456" y="5744914"/>
                  <a:pt x="3137889" y="5742616"/>
                  <a:pt x="3139825" y="5741842"/>
                </a:cubicBezTo>
                <a:close/>
                <a:moveTo>
                  <a:pt x="2793670" y="5739338"/>
                </a:moveTo>
                <a:cubicBezTo>
                  <a:pt x="2794754" y="5737686"/>
                  <a:pt x="2796923" y="5741196"/>
                  <a:pt x="2797853" y="5739441"/>
                </a:cubicBezTo>
                <a:cubicBezTo>
                  <a:pt x="2800796" y="5743055"/>
                  <a:pt x="2805442" y="5738718"/>
                  <a:pt x="2810709" y="5743158"/>
                </a:cubicBezTo>
                <a:cubicBezTo>
                  <a:pt x="2808695" y="5743778"/>
                  <a:pt x="2806682" y="5744088"/>
                  <a:pt x="2804823" y="5744088"/>
                </a:cubicBezTo>
                <a:cubicBezTo>
                  <a:pt x="2799556" y="5744191"/>
                  <a:pt x="2795529" y="5742436"/>
                  <a:pt x="2791656" y="5743675"/>
                </a:cubicBezTo>
                <a:cubicBezTo>
                  <a:pt x="2791656" y="5743675"/>
                  <a:pt x="2791656" y="5743778"/>
                  <a:pt x="2790108" y="5741919"/>
                </a:cubicBezTo>
                <a:cubicBezTo>
                  <a:pt x="2789333" y="5741919"/>
                  <a:pt x="2789333" y="5741919"/>
                  <a:pt x="2789333" y="5741919"/>
                </a:cubicBezTo>
                <a:cubicBezTo>
                  <a:pt x="2788868" y="5741919"/>
                  <a:pt x="2788714" y="5741506"/>
                  <a:pt x="2788714" y="5741093"/>
                </a:cubicBezTo>
                <a:cubicBezTo>
                  <a:pt x="2788714" y="5740577"/>
                  <a:pt x="2788714" y="5740164"/>
                  <a:pt x="2788714" y="5740164"/>
                </a:cubicBezTo>
                <a:cubicBezTo>
                  <a:pt x="2789643" y="5738409"/>
                  <a:pt x="2792122" y="5739338"/>
                  <a:pt x="2793670" y="5739338"/>
                </a:cubicBezTo>
                <a:close/>
                <a:moveTo>
                  <a:pt x="3536243" y="5738305"/>
                </a:moveTo>
                <a:cubicBezTo>
                  <a:pt x="3540271" y="5739957"/>
                  <a:pt x="3540425" y="5745637"/>
                  <a:pt x="3537482" y="5747288"/>
                </a:cubicBezTo>
                <a:cubicBezTo>
                  <a:pt x="3531132" y="5746256"/>
                  <a:pt x="3532990" y="5739131"/>
                  <a:pt x="3536243" y="5738305"/>
                </a:cubicBezTo>
                <a:close/>
                <a:moveTo>
                  <a:pt x="2975054" y="5738305"/>
                </a:moveTo>
                <a:cubicBezTo>
                  <a:pt x="2976448" y="5741506"/>
                  <a:pt x="2974589" y="5744191"/>
                  <a:pt x="2972111" y="5744914"/>
                </a:cubicBezTo>
                <a:cubicBezTo>
                  <a:pt x="2971337" y="5745120"/>
                  <a:pt x="2970407" y="5745017"/>
                  <a:pt x="2969478" y="5744707"/>
                </a:cubicBezTo>
                <a:cubicBezTo>
                  <a:pt x="2965605" y="5739131"/>
                  <a:pt x="2972111" y="5736447"/>
                  <a:pt x="2975054" y="5738305"/>
                </a:cubicBezTo>
                <a:close/>
                <a:moveTo>
                  <a:pt x="3157057" y="5736756"/>
                </a:moveTo>
                <a:cubicBezTo>
                  <a:pt x="3158916" y="5736240"/>
                  <a:pt x="3161239" y="5736860"/>
                  <a:pt x="3163873" y="5739028"/>
                </a:cubicBezTo>
                <a:cubicBezTo>
                  <a:pt x="3161394" y="5744294"/>
                  <a:pt x="3163563" y="5748218"/>
                  <a:pt x="3159380" y="5751212"/>
                </a:cubicBezTo>
                <a:cubicBezTo>
                  <a:pt x="3150706" y="5748734"/>
                  <a:pt x="3151636" y="5738099"/>
                  <a:pt x="3157057" y="5736756"/>
                </a:cubicBezTo>
                <a:close/>
                <a:moveTo>
                  <a:pt x="3348199" y="5735001"/>
                </a:moveTo>
                <a:cubicBezTo>
                  <a:pt x="3350987" y="5734175"/>
                  <a:pt x="3352846" y="5734691"/>
                  <a:pt x="3354085" y="5735827"/>
                </a:cubicBezTo>
                <a:cubicBezTo>
                  <a:pt x="3357957" y="5739338"/>
                  <a:pt x="3355169" y="5749044"/>
                  <a:pt x="3347889" y="5747392"/>
                </a:cubicBezTo>
                <a:cubicBezTo>
                  <a:pt x="3347424" y="5746772"/>
                  <a:pt x="3347115" y="5745740"/>
                  <a:pt x="3346805" y="5744707"/>
                </a:cubicBezTo>
                <a:cubicBezTo>
                  <a:pt x="3346340" y="5741403"/>
                  <a:pt x="3347115" y="5736860"/>
                  <a:pt x="3348199" y="5735001"/>
                </a:cubicBezTo>
                <a:close/>
                <a:moveTo>
                  <a:pt x="2943145" y="5734898"/>
                </a:moveTo>
                <a:cubicBezTo>
                  <a:pt x="2944849" y="5734072"/>
                  <a:pt x="2947172" y="5736756"/>
                  <a:pt x="2948722" y="5737686"/>
                </a:cubicBezTo>
                <a:cubicBezTo>
                  <a:pt x="2947792" y="5738512"/>
                  <a:pt x="2946863" y="5739338"/>
                  <a:pt x="2947637" y="5739338"/>
                </a:cubicBezTo>
                <a:cubicBezTo>
                  <a:pt x="2946708" y="5740267"/>
                  <a:pt x="2945933" y="5740680"/>
                  <a:pt x="2945159" y="5740783"/>
                </a:cubicBezTo>
                <a:cubicBezTo>
                  <a:pt x="2944229" y="5740783"/>
                  <a:pt x="2943455" y="5740577"/>
                  <a:pt x="2942680" y="5740164"/>
                </a:cubicBezTo>
                <a:cubicBezTo>
                  <a:pt x="2941906" y="5739235"/>
                  <a:pt x="2942061" y="5737479"/>
                  <a:pt x="2943145" y="5734898"/>
                </a:cubicBezTo>
                <a:close/>
                <a:moveTo>
                  <a:pt x="3062105" y="5731800"/>
                </a:moveTo>
                <a:cubicBezTo>
                  <a:pt x="3061486" y="5732626"/>
                  <a:pt x="3061486" y="5732626"/>
                  <a:pt x="3062261" y="5733452"/>
                </a:cubicBezTo>
                <a:cubicBezTo>
                  <a:pt x="3062261" y="5733452"/>
                  <a:pt x="3062416" y="5733452"/>
                  <a:pt x="3063190" y="5733349"/>
                </a:cubicBezTo>
                <a:cubicBezTo>
                  <a:pt x="3063345" y="5734175"/>
                  <a:pt x="3062416" y="5734278"/>
                  <a:pt x="3062570" y="5735105"/>
                </a:cubicBezTo>
                <a:cubicBezTo>
                  <a:pt x="3062570" y="5735105"/>
                  <a:pt x="3061796" y="5735105"/>
                  <a:pt x="3061796" y="5735105"/>
                </a:cubicBezTo>
                <a:cubicBezTo>
                  <a:pt x="3061796" y="5735517"/>
                  <a:pt x="3061796" y="5735517"/>
                  <a:pt x="3061641" y="5735311"/>
                </a:cubicBezTo>
                <a:cubicBezTo>
                  <a:pt x="3061331" y="5735105"/>
                  <a:pt x="3060866" y="5734795"/>
                  <a:pt x="3060092" y="5734382"/>
                </a:cubicBezTo>
                <a:cubicBezTo>
                  <a:pt x="3059162" y="5733659"/>
                  <a:pt x="3058388" y="5733659"/>
                  <a:pt x="3059008" y="5732833"/>
                </a:cubicBezTo>
                <a:cubicBezTo>
                  <a:pt x="3059782" y="5731904"/>
                  <a:pt x="3059782" y="5731904"/>
                  <a:pt x="3062105" y="5731800"/>
                </a:cubicBezTo>
                <a:close/>
                <a:moveTo>
                  <a:pt x="3281129" y="5731593"/>
                </a:moveTo>
                <a:cubicBezTo>
                  <a:pt x="3284846" y="5728909"/>
                  <a:pt x="3290268" y="5732833"/>
                  <a:pt x="3289648" y="5737170"/>
                </a:cubicBezTo>
                <a:cubicBezTo>
                  <a:pt x="3288719" y="5737892"/>
                  <a:pt x="3287634" y="5739441"/>
                  <a:pt x="3285931" y="5739957"/>
                </a:cubicBezTo>
                <a:cubicBezTo>
                  <a:pt x="3281903" y="5738099"/>
                  <a:pt x="3280664" y="5735105"/>
                  <a:pt x="3281129" y="5731593"/>
                </a:cubicBezTo>
                <a:close/>
                <a:moveTo>
                  <a:pt x="3238571" y="5731103"/>
                </a:moveTo>
                <a:cubicBezTo>
                  <a:pt x="3240507" y="5731439"/>
                  <a:pt x="3242250" y="5732781"/>
                  <a:pt x="3243644" y="5734691"/>
                </a:cubicBezTo>
                <a:cubicBezTo>
                  <a:pt x="3248446" y="5741196"/>
                  <a:pt x="3249840" y="5753897"/>
                  <a:pt x="3242095" y="5756685"/>
                </a:cubicBezTo>
                <a:cubicBezTo>
                  <a:pt x="3239462" y="5754207"/>
                  <a:pt x="3236984" y="5751109"/>
                  <a:pt x="3235280" y="5747392"/>
                </a:cubicBezTo>
                <a:cubicBezTo>
                  <a:pt x="3233421" y="5743572"/>
                  <a:pt x="3232337" y="5739131"/>
                  <a:pt x="3232337" y="5733555"/>
                </a:cubicBezTo>
                <a:cubicBezTo>
                  <a:pt x="3234505" y="5731439"/>
                  <a:pt x="3236635" y="5730768"/>
                  <a:pt x="3238571" y="5731103"/>
                </a:cubicBezTo>
                <a:close/>
                <a:moveTo>
                  <a:pt x="2743949" y="5729219"/>
                </a:moveTo>
                <a:cubicBezTo>
                  <a:pt x="2747511" y="5729219"/>
                  <a:pt x="2746892" y="5732316"/>
                  <a:pt x="2746272" y="5735414"/>
                </a:cubicBezTo>
                <a:cubicBezTo>
                  <a:pt x="2745342" y="5735414"/>
                  <a:pt x="2744568" y="5735827"/>
                  <a:pt x="2743794" y="5735930"/>
                </a:cubicBezTo>
                <a:cubicBezTo>
                  <a:pt x="2743019" y="5736137"/>
                  <a:pt x="2742090" y="5736137"/>
                  <a:pt x="2740851" y="5735414"/>
                </a:cubicBezTo>
                <a:cubicBezTo>
                  <a:pt x="2741780" y="5733039"/>
                  <a:pt x="2743019" y="5731490"/>
                  <a:pt x="2743949" y="5729219"/>
                </a:cubicBezTo>
                <a:close/>
                <a:moveTo>
                  <a:pt x="3271680" y="5728186"/>
                </a:moveTo>
                <a:cubicBezTo>
                  <a:pt x="3272764" y="5728496"/>
                  <a:pt x="3274004" y="5728806"/>
                  <a:pt x="3273694" y="5729942"/>
                </a:cubicBezTo>
                <a:cubicBezTo>
                  <a:pt x="3273539" y="5731181"/>
                  <a:pt x="3274004" y="5731904"/>
                  <a:pt x="3272145" y="5732007"/>
                </a:cubicBezTo>
                <a:cubicBezTo>
                  <a:pt x="3271525" y="5732420"/>
                  <a:pt x="3270441" y="5732110"/>
                  <a:pt x="3269666" y="5732626"/>
                </a:cubicBezTo>
                <a:cubicBezTo>
                  <a:pt x="3269666" y="5732626"/>
                  <a:pt x="3269202" y="5732213"/>
                  <a:pt x="3268737" y="5731593"/>
                </a:cubicBezTo>
                <a:cubicBezTo>
                  <a:pt x="3268118" y="5730974"/>
                  <a:pt x="3267653" y="5730251"/>
                  <a:pt x="3267808" y="5729632"/>
                </a:cubicBezTo>
                <a:cubicBezTo>
                  <a:pt x="3267498" y="5727670"/>
                  <a:pt x="3270906" y="5728599"/>
                  <a:pt x="3271680" y="5728186"/>
                </a:cubicBezTo>
                <a:close/>
                <a:moveTo>
                  <a:pt x="3211116" y="5727257"/>
                </a:moveTo>
                <a:cubicBezTo>
                  <a:pt x="3213904" y="5729838"/>
                  <a:pt x="3216692" y="5732316"/>
                  <a:pt x="3219016" y="5735414"/>
                </a:cubicBezTo>
                <a:cubicBezTo>
                  <a:pt x="3221339" y="5738409"/>
                  <a:pt x="3223198" y="5742022"/>
                  <a:pt x="3223817" y="5747082"/>
                </a:cubicBezTo>
                <a:cubicBezTo>
                  <a:pt x="3218861" y="5747185"/>
                  <a:pt x="3215608" y="5743881"/>
                  <a:pt x="3213749" y="5739751"/>
                </a:cubicBezTo>
                <a:cubicBezTo>
                  <a:pt x="3211735" y="5735621"/>
                  <a:pt x="3211116" y="5730664"/>
                  <a:pt x="3211116" y="5727257"/>
                </a:cubicBezTo>
                <a:close/>
                <a:moveTo>
                  <a:pt x="2761626" y="5723888"/>
                </a:moveTo>
                <a:cubicBezTo>
                  <a:pt x="2764550" y="5723566"/>
                  <a:pt x="2767570" y="5724366"/>
                  <a:pt x="2769197" y="5726121"/>
                </a:cubicBezTo>
                <a:cubicBezTo>
                  <a:pt x="2769661" y="5732420"/>
                  <a:pt x="2764395" y="5736550"/>
                  <a:pt x="2759283" y="5736756"/>
                </a:cubicBezTo>
                <a:cubicBezTo>
                  <a:pt x="2757579" y="5736756"/>
                  <a:pt x="2756031" y="5736447"/>
                  <a:pt x="2754636" y="5735517"/>
                </a:cubicBezTo>
                <a:cubicBezTo>
                  <a:pt x="2753552" y="5732523"/>
                  <a:pt x="2753707" y="5730148"/>
                  <a:pt x="2754636" y="5728393"/>
                </a:cubicBezTo>
                <a:cubicBezTo>
                  <a:pt x="2755876" y="5725657"/>
                  <a:pt x="2758702" y="5724211"/>
                  <a:pt x="2761626" y="5723888"/>
                </a:cubicBezTo>
                <a:close/>
                <a:moveTo>
                  <a:pt x="3358267" y="5723746"/>
                </a:moveTo>
                <a:cubicBezTo>
                  <a:pt x="3358267" y="5723746"/>
                  <a:pt x="3358887" y="5724262"/>
                  <a:pt x="3358887" y="5724262"/>
                </a:cubicBezTo>
                <a:cubicBezTo>
                  <a:pt x="3358577" y="5724985"/>
                  <a:pt x="3359042" y="5724262"/>
                  <a:pt x="3360126" y="5723849"/>
                </a:cubicBezTo>
                <a:cubicBezTo>
                  <a:pt x="3361210" y="5725502"/>
                  <a:pt x="3361985" y="5725915"/>
                  <a:pt x="3362449" y="5727154"/>
                </a:cubicBezTo>
                <a:cubicBezTo>
                  <a:pt x="3362759" y="5727670"/>
                  <a:pt x="3362759" y="5728496"/>
                  <a:pt x="3362759" y="5729219"/>
                </a:cubicBezTo>
                <a:cubicBezTo>
                  <a:pt x="3362604" y="5729838"/>
                  <a:pt x="3362449" y="5730458"/>
                  <a:pt x="3361830" y="5730561"/>
                </a:cubicBezTo>
                <a:cubicBezTo>
                  <a:pt x="3361056" y="5730148"/>
                  <a:pt x="3360746" y="5730871"/>
                  <a:pt x="3359971" y="5730458"/>
                </a:cubicBezTo>
                <a:cubicBezTo>
                  <a:pt x="3358112" y="5730354"/>
                  <a:pt x="3357338" y="5729942"/>
                  <a:pt x="3356873" y="5728703"/>
                </a:cubicBezTo>
                <a:cubicBezTo>
                  <a:pt x="3356099" y="5728289"/>
                  <a:pt x="3356409" y="5727567"/>
                  <a:pt x="3356099" y="5726327"/>
                </a:cubicBezTo>
                <a:cubicBezTo>
                  <a:pt x="3356409" y="5725605"/>
                  <a:pt x="3357493" y="5725295"/>
                  <a:pt x="3357493" y="5725295"/>
                </a:cubicBezTo>
                <a:cubicBezTo>
                  <a:pt x="3358577" y="5724882"/>
                  <a:pt x="3358577" y="5724985"/>
                  <a:pt x="3358267" y="5723746"/>
                </a:cubicBezTo>
                <a:close/>
                <a:moveTo>
                  <a:pt x="3325274" y="5723643"/>
                </a:moveTo>
                <a:cubicBezTo>
                  <a:pt x="3327598" y="5729219"/>
                  <a:pt x="3325739" y="5740887"/>
                  <a:pt x="3317530" y="5740577"/>
                </a:cubicBezTo>
                <a:cubicBezTo>
                  <a:pt x="3319853" y="5735105"/>
                  <a:pt x="3321247" y="5728393"/>
                  <a:pt x="3325274" y="5723643"/>
                </a:cubicBezTo>
                <a:close/>
                <a:moveTo>
                  <a:pt x="3197640" y="5722301"/>
                </a:moveTo>
                <a:cubicBezTo>
                  <a:pt x="3198569" y="5723023"/>
                  <a:pt x="3199653" y="5724056"/>
                  <a:pt x="3200738" y="5725605"/>
                </a:cubicBezTo>
                <a:cubicBezTo>
                  <a:pt x="3198879" y="5730458"/>
                  <a:pt x="3197330" y="5739131"/>
                  <a:pt x="3190515" y="5739545"/>
                </a:cubicBezTo>
                <a:cubicBezTo>
                  <a:pt x="3189430" y="5739648"/>
                  <a:pt x="3188346" y="5739545"/>
                  <a:pt x="3187107" y="5739235"/>
                </a:cubicBezTo>
                <a:cubicBezTo>
                  <a:pt x="3183080" y="5730561"/>
                  <a:pt x="3190205" y="5717241"/>
                  <a:pt x="3197640" y="5722301"/>
                </a:cubicBezTo>
                <a:close/>
                <a:moveTo>
                  <a:pt x="2856093" y="5720236"/>
                </a:moveTo>
                <a:lnTo>
                  <a:pt x="2859656" y="5724882"/>
                </a:lnTo>
                <a:lnTo>
                  <a:pt x="2861825" y="5723230"/>
                </a:lnTo>
                <a:cubicBezTo>
                  <a:pt x="2863683" y="5722404"/>
                  <a:pt x="2865852" y="5722094"/>
                  <a:pt x="2867246" y="5723023"/>
                </a:cubicBezTo>
                <a:cubicBezTo>
                  <a:pt x="2868175" y="5723540"/>
                  <a:pt x="2868795" y="5724676"/>
                  <a:pt x="2868640" y="5726327"/>
                </a:cubicBezTo>
                <a:cubicBezTo>
                  <a:pt x="2868330" y="5728806"/>
                  <a:pt x="2867246" y="5730148"/>
                  <a:pt x="2865542" y="5730871"/>
                </a:cubicBezTo>
                <a:lnTo>
                  <a:pt x="2864458" y="5730974"/>
                </a:lnTo>
                <a:lnTo>
                  <a:pt x="2864458" y="5731181"/>
                </a:lnTo>
                <a:cubicBezTo>
                  <a:pt x="2861050" y="5732626"/>
                  <a:pt x="2859036" y="5735827"/>
                  <a:pt x="2857178" y="5737376"/>
                </a:cubicBezTo>
                <a:cubicBezTo>
                  <a:pt x="2852376" y="5736963"/>
                  <a:pt x="2849433" y="5735001"/>
                  <a:pt x="2846799" y="5729735"/>
                </a:cubicBezTo>
                <a:cubicBezTo>
                  <a:pt x="2850827" y="5723230"/>
                  <a:pt x="2848968" y="5724779"/>
                  <a:pt x="2856093" y="5720236"/>
                </a:cubicBezTo>
                <a:close/>
                <a:moveTo>
                  <a:pt x="3230478" y="5719719"/>
                </a:moveTo>
                <a:cubicBezTo>
                  <a:pt x="3232337" y="5718067"/>
                  <a:pt x="3234660" y="5719822"/>
                  <a:pt x="3234505" y="5720752"/>
                </a:cubicBezTo>
                <a:cubicBezTo>
                  <a:pt x="3233576" y="5721578"/>
                  <a:pt x="3231872" y="5721578"/>
                  <a:pt x="3230942" y="5722404"/>
                </a:cubicBezTo>
                <a:cubicBezTo>
                  <a:pt x="3231098" y="5721475"/>
                  <a:pt x="3230323" y="5720649"/>
                  <a:pt x="3230478" y="5719719"/>
                </a:cubicBezTo>
                <a:close/>
                <a:moveTo>
                  <a:pt x="3177968" y="5718996"/>
                </a:moveTo>
                <a:cubicBezTo>
                  <a:pt x="3179827" y="5720752"/>
                  <a:pt x="3181530" y="5722610"/>
                  <a:pt x="3183234" y="5724366"/>
                </a:cubicBezTo>
                <a:cubicBezTo>
                  <a:pt x="3184474" y="5728806"/>
                  <a:pt x="3182150" y="5732523"/>
                  <a:pt x="3178587" y="5733349"/>
                </a:cubicBezTo>
                <a:cubicBezTo>
                  <a:pt x="3177348" y="5733659"/>
                  <a:pt x="3176109" y="5733555"/>
                  <a:pt x="3174715" y="5733143"/>
                </a:cubicBezTo>
                <a:cubicBezTo>
                  <a:pt x="3172856" y="5732523"/>
                  <a:pt x="3170997" y="5731181"/>
                  <a:pt x="3169294" y="5729012"/>
                </a:cubicBezTo>
                <a:cubicBezTo>
                  <a:pt x="3167435" y="5724572"/>
                  <a:pt x="3173786" y="5717964"/>
                  <a:pt x="3177968" y="5718996"/>
                </a:cubicBezTo>
                <a:close/>
                <a:moveTo>
                  <a:pt x="3028338" y="5717654"/>
                </a:moveTo>
                <a:cubicBezTo>
                  <a:pt x="3032675" y="5717241"/>
                  <a:pt x="3033915" y="5721165"/>
                  <a:pt x="3036858" y="5724159"/>
                </a:cubicBezTo>
                <a:cubicBezTo>
                  <a:pt x="3036393" y="5724882"/>
                  <a:pt x="3036548" y="5726121"/>
                  <a:pt x="3037167" y="5726534"/>
                </a:cubicBezTo>
                <a:cubicBezTo>
                  <a:pt x="3037477" y="5727773"/>
                  <a:pt x="3037632" y="5729012"/>
                  <a:pt x="3038097" y="5728186"/>
                </a:cubicBezTo>
                <a:cubicBezTo>
                  <a:pt x="3038716" y="5731800"/>
                  <a:pt x="3039491" y="5732213"/>
                  <a:pt x="3037322" y="5734072"/>
                </a:cubicBezTo>
                <a:cubicBezTo>
                  <a:pt x="3032211" y="5729838"/>
                  <a:pt x="3028028" y="5722714"/>
                  <a:pt x="3027099" y="5721165"/>
                </a:cubicBezTo>
                <a:cubicBezTo>
                  <a:pt x="3026634" y="5720339"/>
                  <a:pt x="3026634" y="5719719"/>
                  <a:pt x="3026789" y="5719203"/>
                </a:cubicBezTo>
                <a:cubicBezTo>
                  <a:pt x="3026944" y="5718687"/>
                  <a:pt x="3027564" y="5718274"/>
                  <a:pt x="3028338" y="5717654"/>
                </a:cubicBezTo>
                <a:close/>
                <a:moveTo>
                  <a:pt x="2956157" y="5713730"/>
                </a:moveTo>
                <a:cubicBezTo>
                  <a:pt x="2955382" y="5726224"/>
                  <a:pt x="2967619" y="5731387"/>
                  <a:pt x="2964521" y="5745017"/>
                </a:cubicBezTo>
                <a:cubicBezTo>
                  <a:pt x="2960184" y="5744397"/>
                  <a:pt x="2955537" y="5738305"/>
                  <a:pt x="2953214" y="5731490"/>
                </a:cubicBezTo>
                <a:cubicBezTo>
                  <a:pt x="2950890" y="5724676"/>
                  <a:pt x="2951045" y="5717138"/>
                  <a:pt x="2956157" y="5713730"/>
                </a:cubicBezTo>
                <a:close/>
                <a:moveTo>
                  <a:pt x="3130415" y="5712491"/>
                </a:moveTo>
                <a:cubicBezTo>
                  <a:pt x="3132429" y="5713834"/>
                  <a:pt x="3133048" y="5715073"/>
                  <a:pt x="3133203" y="5716312"/>
                </a:cubicBezTo>
                <a:lnTo>
                  <a:pt x="3132119" y="5719719"/>
                </a:lnTo>
                <a:lnTo>
                  <a:pt x="3132738" y="5719616"/>
                </a:lnTo>
                <a:cubicBezTo>
                  <a:pt x="3132893" y="5719616"/>
                  <a:pt x="3132738" y="5719822"/>
                  <a:pt x="3132584" y="5720236"/>
                </a:cubicBezTo>
                <a:cubicBezTo>
                  <a:pt x="3134442" y="5720339"/>
                  <a:pt x="3135062" y="5720752"/>
                  <a:pt x="3135836" y="5721268"/>
                </a:cubicBezTo>
                <a:cubicBezTo>
                  <a:pt x="3135991" y="5722507"/>
                  <a:pt x="3135062" y="5723953"/>
                  <a:pt x="3133358" y="5725088"/>
                </a:cubicBezTo>
                <a:cubicBezTo>
                  <a:pt x="3133203" y="5723849"/>
                  <a:pt x="3131189" y="5723643"/>
                  <a:pt x="3131034" y="5722507"/>
                </a:cubicBezTo>
                <a:cubicBezTo>
                  <a:pt x="3131034" y="5722507"/>
                  <a:pt x="3131189" y="5721784"/>
                  <a:pt x="3131499" y="5721165"/>
                </a:cubicBezTo>
                <a:lnTo>
                  <a:pt x="3131809" y="5719822"/>
                </a:lnTo>
                <a:lnTo>
                  <a:pt x="3130415" y="5719100"/>
                </a:lnTo>
                <a:cubicBezTo>
                  <a:pt x="3128711" y="5718790"/>
                  <a:pt x="3127317" y="5719719"/>
                  <a:pt x="3126387" y="5716828"/>
                </a:cubicBezTo>
                <a:cubicBezTo>
                  <a:pt x="3126697" y="5715176"/>
                  <a:pt x="3127782" y="5713627"/>
                  <a:pt x="3130415" y="5712491"/>
                </a:cubicBezTo>
                <a:close/>
                <a:moveTo>
                  <a:pt x="2980940" y="5709393"/>
                </a:moveTo>
                <a:cubicBezTo>
                  <a:pt x="2982024" y="5711046"/>
                  <a:pt x="2981404" y="5712801"/>
                  <a:pt x="2980785" y="5714556"/>
                </a:cubicBezTo>
                <a:cubicBezTo>
                  <a:pt x="2980165" y="5715899"/>
                  <a:pt x="2979391" y="5716415"/>
                  <a:pt x="2978616" y="5716312"/>
                </a:cubicBezTo>
                <a:cubicBezTo>
                  <a:pt x="2977687" y="5716312"/>
                  <a:pt x="2976758" y="5715692"/>
                  <a:pt x="2975828" y="5714866"/>
                </a:cubicBezTo>
                <a:cubicBezTo>
                  <a:pt x="2973814" y="5713214"/>
                  <a:pt x="2974434" y="5711459"/>
                  <a:pt x="2974434" y="5711459"/>
                </a:cubicBezTo>
                <a:cubicBezTo>
                  <a:pt x="2975828" y="5708774"/>
                  <a:pt x="2978152" y="5707845"/>
                  <a:pt x="2980940" y="5709393"/>
                </a:cubicBezTo>
                <a:close/>
                <a:moveTo>
                  <a:pt x="3202441" y="5708258"/>
                </a:moveTo>
                <a:cubicBezTo>
                  <a:pt x="3206159" y="5712594"/>
                  <a:pt x="3204920" y="5715795"/>
                  <a:pt x="3200273" y="5718171"/>
                </a:cubicBezTo>
                <a:cubicBezTo>
                  <a:pt x="3198724" y="5716931"/>
                  <a:pt x="3197020" y="5716518"/>
                  <a:pt x="3194697" y="5715073"/>
                </a:cubicBezTo>
                <a:cubicBezTo>
                  <a:pt x="3195007" y="5712594"/>
                  <a:pt x="3198259" y="5708051"/>
                  <a:pt x="3202441" y="5708258"/>
                </a:cubicBezTo>
                <a:close/>
                <a:moveTo>
                  <a:pt x="3249220" y="5707742"/>
                </a:moveTo>
                <a:cubicBezTo>
                  <a:pt x="3250614" y="5709600"/>
                  <a:pt x="3254332" y="5707019"/>
                  <a:pt x="3256500" y="5709704"/>
                </a:cubicBezTo>
                <a:cubicBezTo>
                  <a:pt x="3256345" y="5711459"/>
                  <a:pt x="3256191" y="5712285"/>
                  <a:pt x="3255261" y="5714040"/>
                </a:cubicBezTo>
                <a:cubicBezTo>
                  <a:pt x="3247981" y="5720132"/>
                  <a:pt x="3243954" y="5717448"/>
                  <a:pt x="3243024" y="5718377"/>
                </a:cubicBezTo>
                <a:cubicBezTo>
                  <a:pt x="3240856" y="5715692"/>
                  <a:pt x="3242715" y="5713834"/>
                  <a:pt x="3244728" y="5710323"/>
                </a:cubicBezTo>
                <a:cubicBezTo>
                  <a:pt x="3245503" y="5711252"/>
                  <a:pt x="3248291" y="5708671"/>
                  <a:pt x="3249220" y="5707742"/>
                </a:cubicBezTo>
                <a:close/>
                <a:moveTo>
                  <a:pt x="2961423" y="5705573"/>
                </a:moveTo>
                <a:cubicBezTo>
                  <a:pt x="2961423" y="5705573"/>
                  <a:pt x="2961423" y="5705573"/>
                  <a:pt x="2962043" y="5707328"/>
                </a:cubicBezTo>
                <a:cubicBezTo>
                  <a:pt x="2962043" y="5708258"/>
                  <a:pt x="2961888" y="5709187"/>
                  <a:pt x="2960958" y="5710013"/>
                </a:cubicBezTo>
                <a:cubicBezTo>
                  <a:pt x="2959874" y="5710943"/>
                  <a:pt x="2958170" y="5710839"/>
                  <a:pt x="2957396" y="5710839"/>
                </a:cubicBezTo>
                <a:cubicBezTo>
                  <a:pt x="2957396" y="5710013"/>
                  <a:pt x="2956621" y="5709910"/>
                  <a:pt x="2956776" y="5709084"/>
                </a:cubicBezTo>
                <a:cubicBezTo>
                  <a:pt x="2956002" y="5707225"/>
                  <a:pt x="2956002" y="5707328"/>
                  <a:pt x="2956931" y="5706399"/>
                </a:cubicBezTo>
                <a:cubicBezTo>
                  <a:pt x="2957860" y="5705573"/>
                  <a:pt x="2960339" y="5706502"/>
                  <a:pt x="2961423" y="5705573"/>
                </a:cubicBezTo>
                <a:close/>
                <a:moveTo>
                  <a:pt x="3273694" y="5702682"/>
                </a:moveTo>
                <a:cubicBezTo>
                  <a:pt x="3278341" y="5707742"/>
                  <a:pt x="3277566" y="5709910"/>
                  <a:pt x="3275243" y="5710323"/>
                </a:cubicBezTo>
                <a:cubicBezTo>
                  <a:pt x="3271680" y="5710943"/>
                  <a:pt x="3264400" y="5706502"/>
                  <a:pt x="3273694" y="5702682"/>
                </a:cubicBezTo>
                <a:close/>
                <a:moveTo>
                  <a:pt x="3466075" y="5701753"/>
                </a:moveTo>
                <a:cubicBezTo>
                  <a:pt x="3465765" y="5703921"/>
                  <a:pt x="3465301" y="5705883"/>
                  <a:pt x="3464526" y="5707535"/>
                </a:cubicBezTo>
                <a:cubicBezTo>
                  <a:pt x="3462513" y="5712491"/>
                  <a:pt x="3459260" y="5715382"/>
                  <a:pt x="3458795" y="5719410"/>
                </a:cubicBezTo>
                <a:cubicBezTo>
                  <a:pt x="3458795" y="5719410"/>
                  <a:pt x="3458795" y="5719410"/>
                  <a:pt x="3456626" y="5720132"/>
                </a:cubicBezTo>
                <a:cubicBezTo>
                  <a:pt x="3456317" y="5720855"/>
                  <a:pt x="3456317" y="5720855"/>
                  <a:pt x="3456317" y="5720855"/>
                </a:cubicBezTo>
                <a:cubicBezTo>
                  <a:pt x="3456162" y="5721268"/>
                  <a:pt x="3455697" y="5721165"/>
                  <a:pt x="3455232" y="5721061"/>
                </a:cubicBezTo>
                <a:cubicBezTo>
                  <a:pt x="3454768" y="5720958"/>
                  <a:pt x="3454458" y="5720752"/>
                  <a:pt x="3454458" y="5720752"/>
                </a:cubicBezTo>
                <a:cubicBezTo>
                  <a:pt x="3453219" y="5719100"/>
                  <a:pt x="3455078" y="5717241"/>
                  <a:pt x="3455697" y="5715795"/>
                </a:cubicBezTo>
                <a:cubicBezTo>
                  <a:pt x="3454458" y="5714143"/>
                  <a:pt x="3458640" y="5713627"/>
                  <a:pt x="3457401" y="5711975"/>
                </a:cubicBezTo>
                <a:cubicBezTo>
                  <a:pt x="3461893" y="5710736"/>
                  <a:pt x="3459879" y="5704850"/>
                  <a:pt x="3466075" y="5701753"/>
                </a:cubicBezTo>
                <a:close/>
                <a:moveTo>
                  <a:pt x="2873907" y="5700926"/>
                </a:moveTo>
                <a:cubicBezTo>
                  <a:pt x="2873442" y="5707019"/>
                  <a:pt x="2876695" y="5709910"/>
                  <a:pt x="2874061" y="5714453"/>
                </a:cubicBezTo>
                <a:cubicBezTo>
                  <a:pt x="2865542" y="5715382"/>
                  <a:pt x="2862444" y="5704850"/>
                  <a:pt x="2866936" y="5701340"/>
                </a:cubicBezTo>
                <a:cubicBezTo>
                  <a:pt x="2868330" y="5700204"/>
                  <a:pt x="2870654" y="5699791"/>
                  <a:pt x="2873907" y="5700926"/>
                </a:cubicBezTo>
                <a:close/>
                <a:moveTo>
                  <a:pt x="3370659" y="5697003"/>
                </a:moveTo>
                <a:cubicBezTo>
                  <a:pt x="3373447" y="5694938"/>
                  <a:pt x="3376390" y="5696177"/>
                  <a:pt x="3378404" y="5698552"/>
                </a:cubicBezTo>
                <a:cubicBezTo>
                  <a:pt x="3380263" y="5701030"/>
                  <a:pt x="3381192" y="5704541"/>
                  <a:pt x="3380108" y="5707225"/>
                </a:cubicBezTo>
                <a:cubicBezTo>
                  <a:pt x="3375306" y="5706606"/>
                  <a:pt x="3371898" y="5705263"/>
                  <a:pt x="3370814" y="5701546"/>
                </a:cubicBezTo>
                <a:cubicBezTo>
                  <a:pt x="3370504" y="5700307"/>
                  <a:pt x="3370349" y="5698861"/>
                  <a:pt x="3370659" y="5697003"/>
                </a:cubicBezTo>
                <a:close/>
                <a:moveTo>
                  <a:pt x="3277644" y="5694525"/>
                </a:moveTo>
                <a:cubicBezTo>
                  <a:pt x="3278883" y="5693724"/>
                  <a:pt x="3280587" y="5693647"/>
                  <a:pt x="3282368" y="5694835"/>
                </a:cubicBezTo>
                <a:cubicBezTo>
                  <a:pt x="3281903" y="5699687"/>
                  <a:pt x="3279890" y="5701443"/>
                  <a:pt x="3276947" y="5701959"/>
                </a:cubicBezTo>
                <a:cubicBezTo>
                  <a:pt x="3276017" y="5700823"/>
                  <a:pt x="3275708" y="5699687"/>
                  <a:pt x="3275708" y="5698552"/>
                </a:cubicBezTo>
                <a:cubicBezTo>
                  <a:pt x="3275630" y="5696848"/>
                  <a:pt x="3276405" y="5695325"/>
                  <a:pt x="3277644" y="5694525"/>
                </a:cubicBezTo>
                <a:close/>
                <a:moveTo>
                  <a:pt x="3558083" y="5692976"/>
                </a:moveTo>
                <a:cubicBezTo>
                  <a:pt x="3558703" y="5694938"/>
                  <a:pt x="3558238" y="5697416"/>
                  <a:pt x="3557154" y="5699997"/>
                </a:cubicBezTo>
                <a:cubicBezTo>
                  <a:pt x="3553901" y="5707638"/>
                  <a:pt x="3544607" y="5716209"/>
                  <a:pt x="3538412" y="5715589"/>
                </a:cubicBezTo>
                <a:cubicBezTo>
                  <a:pt x="3536863" y="5714040"/>
                  <a:pt x="3535778" y="5712491"/>
                  <a:pt x="3535314" y="5711046"/>
                </a:cubicBezTo>
                <a:cubicBezTo>
                  <a:pt x="3534384" y="5708464"/>
                  <a:pt x="3535004" y="5706089"/>
                  <a:pt x="3536553" y="5704024"/>
                </a:cubicBezTo>
                <a:cubicBezTo>
                  <a:pt x="3540890" y="5697725"/>
                  <a:pt x="3553282" y="5693905"/>
                  <a:pt x="3558083" y="5692976"/>
                </a:cubicBezTo>
                <a:close/>
                <a:moveTo>
                  <a:pt x="3002626" y="5692563"/>
                </a:moveTo>
                <a:cubicBezTo>
                  <a:pt x="3005723" y="5700617"/>
                  <a:pt x="2999372" y="5710943"/>
                  <a:pt x="2994726" y="5715073"/>
                </a:cubicBezTo>
                <a:cubicBezTo>
                  <a:pt x="2991473" y="5706915"/>
                  <a:pt x="2996894" y="5695454"/>
                  <a:pt x="3002626" y="5692563"/>
                </a:cubicBezTo>
                <a:close/>
                <a:moveTo>
                  <a:pt x="2935865" y="5692150"/>
                </a:moveTo>
                <a:cubicBezTo>
                  <a:pt x="2935865" y="5692150"/>
                  <a:pt x="2935865" y="5692150"/>
                  <a:pt x="2936639" y="5692150"/>
                </a:cubicBezTo>
                <a:cubicBezTo>
                  <a:pt x="2935401" y="5695660"/>
                  <a:pt x="2935865" y="5700101"/>
                  <a:pt x="2934006" y="5702682"/>
                </a:cubicBezTo>
                <a:cubicBezTo>
                  <a:pt x="2933542" y="5703095"/>
                  <a:pt x="2932922" y="5703508"/>
                  <a:pt x="2932458" y="5703611"/>
                </a:cubicBezTo>
                <a:cubicBezTo>
                  <a:pt x="2931993" y="5703715"/>
                  <a:pt x="2931373" y="5703611"/>
                  <a:pt x="2930599" y="5702682"/>
                </a:cubicBezTo>
                <a:cubicBezTo>
                  <a:pt x="2929824" y="5702166"/>
                  <a:pt x="2929359" y="5701753"/>
                  <a:pt x="2929514" y="5701030"/>
                </a:cubicBezTo>
                <a:cubicBezTo>
                  <a:pt x="2929514" y="5700410"/>
                  <a:pt x="2930134" y="5699481"/>
                  <a:pt x="2931063" y="5698242"/>
                </a:cubicBezTo>
                <a:cubicBezTo>
                  <a:pt x="2932922" y="5696486"/>
                  <a:pt x="2933851" y="5694835"/>
                  <a:pt x="2934781" y="5694835"/>
                </a:cubicBezTo>
                <a:cubicBezTo>
                  <a:pt x="2934781" y="5693905"/>
                  <a:pt x="2935710" y="5693079"/>
                  <a:pt x="2935865" y="5692150"/>
                </a:cubicBezTo>
                <a:close/>
                <a:moveTo>
                  <a:pt x="3167590" y="5691840"/>
                </a:moveTo>
                <a:cubicBezTo>
                  <a:pt x="3173786" y="5699894"/>
                  <a:pt x="3158451" y="5711355"/>
                  <a:pt x="3152565" y="5712904"/>
                </a:cubicBezTo>
                <a:cubicBezTo>
                  <a:pt x="3155663" y="5706089"/>
                  <a:pt x="3161084" y="5695041"/>
                  <a:pt x="3167590" y="5691840"/>
                </a:cubicBezTo>
                <a:close/>
                <a:moveTo>
                  <a:pt x="3296464" y="5688226"/>
                </a:moveTo>
                <a:cubicBezTo>
                  <a:pt x="3301575" y="5687607"/>
                  <a:pt x="3305912" y="5694628"/>
                  <a:pt x="3307771" y="5699068"/>
                </a:cubicBezTo>
                <a:cubicBezTo>
                  <a:pt x="3306222" y="5700720"/>
                  <a:pt x="3307152" y="5702476"/>
                  <a:pt x="3305602" y="5704127"/>
                </a:cubicBezTo>
                <a:cubicBezTo>
                  <a:pt x="3300336" y="5698758"/>
                  <a:pt x="3294295" y="5693286"/>
                  <a:pt x="3296464" y="5688226"/>
                </a:cubicBezTo>
                <a:close/>
                <a:moveTo>
                  <a:pt x="3178278" y="5686781"/>
                </a:moveTo>
                <a:cubicBezTo>
                  <a:pt x="3180137" y="5685954"/>
                  <a:pt x="3182925" y="5684199"/>
                  <a:pt x="3186023" y="5686884"/>
                </a:cubicBezTo>
                <a:cubicBezTo>
                  <a:pt x="3186797" y="5687813"/>
                  <a:pt x="3186797" y="5687813"/>
                  <a:pt x="3186797" y="5688639"/>
                </a:cubicBezTo>
                <a:cubicBezTo>
                  <a:pt x="3187417" y="5690394"/>
                  <a:pt x="3188191" y="5691324"/>
                  <a:pt x="3187107" y="5693079"/>
                </a:cubicBezTo>
                <a:cubicBezTo>
                  <a:pt x="3186177" y="5694318"/>
                  <a:pt x="3185248" y="5694835"/>
                  <a:pt x="3184319" y="5694628"/>
                </a:cubicBezTo>
                <a:cubicBezTo>
                  <a:pt x="3183389" y="5694525"/>
                  <a:pt x="3182305" y="5693905"/>
                  <a:pt x="3181221" y="5692976"/>
                </a:cubicBezTo>
                <a:cubicBezTo>
                  <a:pt x="3179982" y="5692047"/>
                  <a:pt x="3179672" y="5691014"/>
                  <a:pt x="3179362" y="5689878"/>
                </a:cubicBezTo>
                <a:cubicBezTo>
                  <a:pt x="3179207" y="5688742"/>
                  <a:pt x="3179052" y="5687710"/>
                  <a:pt x="3178278" y="5686781"/>
                </a:cubicBezTo>
                <a:close/>
                <a:moveTo>
                  <a:pt x="2959874" y="5685542"/>
                </a:moveTo>
                <a:cubicBezTo>
                  <a:pt x="2959874" y="5685542"/>
                  <a:pt x="2960029" y="5686677"/>
                  <a:pt x="2960648" y="5687090"/>
                </a:cubicBezTo>
                <a:cubicBezTo>
                  <a:pt x="2960648" y="5687090"/>
                  <a:pt x="2960958" y="5688329"/>
                  <a:pt x="2961113" y="5689465"/>
                </a:cubicBezTo>
                <a:cubicBezTo>
                  <a:pt x="2961113" y="5689465"/>
                  <a:pt x="2961733" y="5689878"/>
                  <a:pt x="2962507" y="5690394"/>
                </a:cubicBezTo>
                <a:cubicBezTo>
                  <a:pt x="2963592" y="5693079"/>
                  <a:pt x="2964521" y="5694731"/>
                  <a:pt x="2961888" y="5697209"/>
                </a:cubicBezTo>
                <a:cubicBezTo>
                  <a:pt x="2961578" y="5697003"/>
                  <a:pt x="2961268" y="5696383"/>
                  <a:pt x="2960958" y="5695557"/>
                </a:cubicBezTo>
                <a:cubicBezTo>
                  <a:pt x="2960803" y="5694835"/>
                  <a:pt x="2960648" y="5693905"/>
                  <a:pt x="2960648" y="5693286"/>
                </a:cubicBezTo>
                <a:cubicBezTo>
                  <a:pt x="2959874" y="5692873"/>
                  <a:pt x="2959719" y="5691634"/>
                  <a:pt x="2960184" y="5690911"/>
                </a:cubicBezTo>
                <a:cubicBezTo>
                  <a:pt x="2960184" y="5690911"/>
                  <a:pt x="2960029" y="5689775"/>
                  <a:pt x="2959254" y="5689362"/>
                </a:cubicBezTo>
                <a:cubicBezTo>
                  <a:pt x="2958945" y="5686987"/>
                  <a:pt x="2959409" y="5686264"/>
                  <a:pt x="2959874" y="5685542"/>
                </a:cubicBezTo>
                <a:close/>
                <a:moveTo>
                  <a:pt x="3468089" y="5684096"/>
                </a:moveTo>
                <a:cubicBezTo>
                  <a:pt x="3470257" y="5690704"/>
                  <a:pt x="3471806" y="5695144"/>
                  <a:pt x="3471961" y="5698861"/>
                </a:cubicBezTo>
                <a:cubicBezTo>
                  <a:pt x="3470877" y="5699481"/>
                  <a:pt x="3469947" y="5699894"/>
                  <a:pt x="3469018" y="5699997"/>
                </a:cubicBezTo>
                <a:cubicBezTo>
                  <a:pt x="3468089" y="5700204"/>
                  <a:pt x="3467314" y="5700101"/>
                  <a:pt x="3466385" y="5699997"/>
                </a:cubicBezTo>
                <a:cubicBezTo>
                  <a:pt x="3461428" y="5698861"/>
                  <a:pt x="3458330" y="5691943"/>
                  <a:pt x="3460964" y="5687607"/>
                </a:cubicBezTo>
                <a:cubicBezTo>
                  <a:pt x="3462048" y="5685748"/>
                  <a:pt x="3464371" y="5684302"/>
                  <a:pt x="3468089" y="5684096"/>
                </a:cubicBezTo>
                <a:close/>
                <a:moveTo>
                  <a:pt x="3479861" y="5682857"/>
                </a:moveTo>
                <a:cubicBezTo>
                  <a:pt x="3483578" y="5687400"/>
                  <a:pt x="3487760" y="5686781"/>
                  <a:pt x="3487141" y="5691117"/>
                </a:cubicBezTo>
                <a:cubicBezTo>
                  <a:pt x="3483733" y="5691840"/>
                  <a:pt x="3479241" y="5686368"/>
                  <a:pt x="3479861" y="5682857"/>
                </a:cubicBezTo>
                <a:close/>
                <a:moveTo>
                  <a:pt x="3274623" y="5682134"/>
                </a:moveTo>
                <a:cubicBezTo>
                  <a:pt x="3275398" y="5685748"/>
                  <a:pt x="3271370" y="5694835"/>
                  <a:pt x="3264400" y="5694628"/>
                </a:cubicBezTo>
                <a:cubicBezTo>
                  <a:pt x="3264245" y="5686058"/>
                  <a:pt x="3269666" y="5684406"/>
                  <a:pt x="3274623" y="5682134"/>
                </a:cubicBezTo>
                <a:close/>
                <a:moveTo>
                  <a:pt x="3245038" y="5681927"/>
                </a:moveTo>
                <a:cubicBezTo>
                  <a:pt x="3249530" y="5685645"/>
                  <a:pt x="3250614" y="5690291"/>
                  <a:pt x="3251698" y="5695041"/>
                </a:cubicBezTo>
                <a:cubicBezTo>
                  <a:pt x="3250150" y="5697313"/>
                  <a:pt x="3248755" y="5698242"/>
                  <a:pt x="3247516" y="5698242"/>
                </a:cubicBezTo>
                <a:cubicBezTo>
                  <a:pt x="3243799" y="5698448"/>
                  <a:pt x="3241166" y="5690498"/>
                  <a:pt x="3238532" y="5686574"/>
                </a:cubicBezTo>
                <a:cubicBezTo>
                  <a:pt x="3240546" y="5683580"/>
                  <a:pt x="3241475" y="5682857"/>
                  <a:pt x="3245038" y="5681927"/>
                </a:cubicBezTo>
                <a:close/>
                <a:moveTo>
                  <a:pt x="2922854" y="5680688"/>
                </a:moveTo>
                <a:lnTo>
                  <a:pt x="2923473" y="5682134"/>
                </a:lnTo>
                <a:lnTo>
                  <a:pt x="2926726" y="5682547"/>
                </a:lnTo>
                <a:cubicBezTo>
                  <a:pt x="2928430" y="5681721"/>
                  <a:pt x="2929514" y="5679966"/>
                  <a:pt x="2931063" y="5680895"/>
                </a:cubicBezTo>
                <a:cubicBezTo>
                  <a:pt x="2928430" y="5682547"/>
                  <a:pt x="2927501" y="5683373"/>
                  <a:pt x="2925642" y="5684199"/>
                </a:cubicBezTo>
                <a:lnTo>
                  <a:pt x="2925177" y="5685335"/>
                </a:lnTo>
                <a:lnTo>
                  <a:pt x="2925332" y="5685542"/>
                </a:lnTo>
                <a:lnTo>
                  <a:pt x="2925022" y="5685851"/>
                </a:lnTo>
                <a:lnTo>
                  <a:pt x="2924557" y="5686781"/>
                </a:lnTo>
                <a:lnTo>
                  <a:pt x="2924248" y="5686884"/>
                </a:lnTo>
                <a:lnTo>
                  <a:pt x="2923164" y="5688949"/>
                </a:lnTo>
                <a:cubicBezTo>
                  <a:pt x="2922234" y="5690911"/>
                  <a:pt x="2921614" y="5692769"/>
                  <a:pt x="2921614" y="5692769"/>
                </a:cubicBezTo>
                <a:cubicBezTo>
                  <a:pt x="2920375" y="5693182"/>
                  <a:pt x="2919756" y="5693286"/>
                  <a:pt x="2919446" y="5693079"/>
                </a:cubicBezTo>
                <a:cubicBezTo>
                  <a:pt x="2918981" y="5692769"/>
                  <a:pt x="2918826" y="5692047"/>
                  <a:pt x="2918207" y="5690704"/>
                </a:cubicBezTo>
                <a:lnTo>
                  <a:pt x="2918981" y="5687400"/>
                </a:lnTo>
                <a:lnTo>
                  <a:pt x="2918517" y="5686574"/>
                </a:lnTo>
                <a:cubicBezTo>
                  <a:pt x="2918517" y="5685748"/>
                  <a:pt x="2918826" y="5684922"/>
                  <a:pt x="2919756" y="5684096"/>
                </a:cubicBezTo>
                <a:lnTo>
                  <a:pt x="2920685" y="5683476"/>
                </a:lnTo>
                <a:close/>
                <a:moveTo>
                  <a:pt x="3260683" y="5678314"/>
                </a:moveTo>
                <a:cubicBezTo>
                  <a:pt x="3263780" y="5678417"/>
                  <a:pt x="3263780" y="5681618"/>
                  <a:pt x="3265175" y="5685025"/>
                </a:cubicBezTo>
                <a:cubicBezTo>
                  <a:pt x="3263935" y="5684715"/>
                  <a:pt x="3263780" y="5685851"/>
                  <a:pt x="3263626" y="5687090"/>
                </a:cubicBezTo>
                <a:cubicBezTo>
                  <a:pt x="3261767" y="5686574"/>
                  <a:pt x="3258979" y="5686264"/>
                  <a:pt x="3258049" y="5684096"/>
                </a:cubicBezTo>
                <a:cubicBezTo>
                  <a:pt x="3257740" y="5683373"/>
                  <a:pt x="3257585" y="5682444"/>
                  <a:pt x="3257895" y="5681205"/>
                </a:cubicBezTo>
                <a:cubicBezTo>
                  <a:pt x="3257275" y="5680482"/>
                  <a:pt x="3259598" y="5678004"/>
                  <a:pt x="3260683" y="5678314"/>
                </a:cubicBezTo>
                <a:close/>
                <a:moveTo>
                  <a:pt x="3454613" y="5676971"/>
                </a:moveTo>
                <a:cubicBezTo>
                  <a:pt x="3454458" y="5682341"/>
                  <a:pt x="3454303" y="5690291"/>
                  <a:pt x="3451980" y="5697313"/>
                </a:cubicBezTo>
                <a:cubicBezTo>
                  <a:pt x="3449501" y="5704334"/>
                  <a:pt x="3444854" y="5710529"/>
                  <a:pt x="3435715" y="5712078"/>
                </a:cubicBezTo>
                <a:cubicBezTo>
                  <a:pt x="3434941" y="5709187"/>
                  <a:pt x="3435251" y="5705780"/>
                  <a:pt x="3436335" y="5702166"/>
                </a:cubicBezTo>
                <a:lnTo>
                  <a:pt x="3438968" y="5695557"/>
                </a:lnTo>
                <a:lnTo>
                  <a:pt x="3440053" y="5693905"/>
                </a:lnTo>
                <a:lnTo>
                  <a:pt x="3440053" y="5693182"/>
                </a:lnTo>
                <a:lnTo>
                  <a:pt x="3444390" y="5686368"/>
                </a:lnTo>
                <a:cubicBezTo>
                  <a:pt x="3447797" y="5681721"/>
                  <a:pt x="3451515" y="5678107"/>
                  <a:pt x="3454613" y="5676971"/>
                </a:cubicBezTo>
                <a:close/>
                <a:moveTo>
                  <a:pt x="2846180" y="5676765"/>
                </a:moveTo>
                <a:cubicBezTo>
                  <a:pt x="2848813" y="5675113"/>
                  <a:pt x="2855009" y="5679552"/>
                  <a:pt x="2857178" y="5682134"/>
                </a:cubicBezTo>
                <a:cubicBezTo>
                  <a:pt x="2856558" y="5682547"/>
                  <a:pt x="2855629" y="5682547"/>
                  <a:pt x="2854700" y="5682341"/>
                </a:cubicBezTo>
                <a:cubicBezTo>
                  <a:pt x="2851757" y="5681721"/>
                  <a:pt x="2847884" y="5678726"/>
                  <a:pt x="2846180" y="5676765"/>
                </a:cubicBezTo>
                <a:close/>
                <a:moveTo>
                  <a:pt x="3497519" y="5675629"/>
                </a:moveTo>
                <a:cubicBezTo>
                  <a:pt x="3501081" y="5680895"/>
                  <a:pt x="3505264" y="5680998"/>
                  <a:pt x="3506193" y="5686471"/>
                </a:cubicBezTo>
                <a:cubicBezTo>
                  <a:pt x="3504954" y="5688123"/>
                  <a:pt x="3503405" y="5689052"/>
                  <a:pt x="3501701" y="5689258"/>
                </a:cubicBezTo>
                <a:cubicBezTo>
                  <a:pt x="3497054" y="5689981"/>
                  <a:pt x="3492253" y="5685232"/>
                  <a:pt x="3492872" y="5680791"/>
                </a:cubicBezTo>
                <a:cubicBezTo>
                  <a:pt x="3493182" y="5678830"/>
                  <a:pt x="3494576" y="5676971"/>
                  <a:pt x="3497519" y="5675629"/>
                </a:cubicBezTo>
                <a:close/>
                <a:moveTo>
                  <a:pt x="2990544" y="5675113"/>
                </a:moveTo>
                <a:cubicBezTo>
                  <a:pt x="2990544" y="5675113"/>
                  <a:pt x="2990853" y="5676352"/>
                  <a:pt x="2991008" y="5677591"/>
                </a:cubicBezTo>
                <a:cubicBezTo>
                  <a:pt x="2991318" y="5678830"/>
                  <a:pt x="2991163" y="5678830"/>
                  <a:pt x="2992402" y="5678520"/>
                </a:cubicBezTo>
                <a:cubicBezTo>
                  <a:pt x="2992557" y="5679656"/>
                  <a:pt x="2992557" y="5679759"/>
                  <a:pt x="2991628" y="5681205"/>
                </a:cubicBezTo>
                <a:cubicBezTo>
                  <a:pt x="2991473" y="5680069"/>
                  <a:pt x="2989459" y="5675422"/>
                  <a:pt x="2990544" y="5675113"/>
                </a:cubicBezTo>
                <a:close/>
                <a:moveTo>
                  <a:pt x="3426422" y="5674906"/>
                </a:moveTo>
                <a:cubicBezTo>
                  <a:pt x="3433857" y="5673977"/>
                  <a:pt x="3438968" y="5680275"/>
                  <a:pt x="3440207" y="5687090"/>
                </a:cubicBezTo>
                <a:lnTo>
                  <a:pt x="3440053" y="5693182"/>
                </a:lnTo>
                <a:lnTo>
                  <a:pt x="3439588" y="5694009"/>
                </a:lnTo>
                <a:lnTo>
                  <a:pt x="3438968" y="5695557"/>
                </a:lnTo>
                <a:lnTo>
                  <a:pt x="3435251" y="5701030"/>
                </a:lnTo>
                <a:cubicBezTo>
                  <a:pt x="3425492" y="5702166"/>
                  <a:pt x="3421310" y="5691220"/>
                  <a:pt x="3422859" y="5682444"/>
                </a:cubicBezTo>
                <a:cubicBezTo>
                  <a:pt x="3423479" y="5679449"/>
                  <a:pt x="3424718" y="5676868"/>
                  <a:pt x="3426422" y="5674906"/>
                </a:cubicBezTo>
                <a:close/>
                <a:moveTo>
                  <a:pt x="3183234" y="5673874"/>
                </a:moveTo>
                <a:cubicBezTo>
                  <a:pt x="3184474" y="5673564"/>
                  <a:pt x="3185558" y="5673254"/>
                  <a:pt x="3185713" y="5674390"/>
                </a:cubicBezTo>
                <a:cubicBezTo>
                  <a:pt x="3185713" y="5674390"/>
                  <a:pt x="3185248" y="5675216"/>
                  <a:pt x="3182925" y="5675835"/>
                </a:cubicBezTo>
                <a:cubicBezTo>
                  <a:pt x="3183389" y="5675113"/>
                  <a:pt x="3182770" y="5674596"/>
                  <a:pt x="3182770" y="5674596"/>
                </a:cubicBezTo>
                <a:cubicBezTo>
                  <a:pt x="3182770" y="5674596"/>
                  <a:pt x="3182770" y="5674596"/>
                  <a:pt x="3182305" y="5675422"/>
                </a:cubicBezTo>
                <a:cubicBezTo>
                  <a:pt x="3182150" y="5674803"/>
                  <a:pt x="3182460" y="5674390"/>
                  <a:pt x="3182615" y="5674183"/>
                </a:cubicBezTo>
                <a:cubicBezTo>
                  <a:pt x="3182925" y="5673874"/>
                  <a:pt x="3183234" y="5673874"/>
                  <a:pt x="3183234" y="5673874"/>
                </a:cubicBezTo>
                <a:close/>
                <a:moveTo>
                  <a:pt x="3562111" y="5672634"/>
                </a:moveTo>
                <a:cubicBezTo>
                  <a:pt x="3564279" y="5673874"/>
                  <a:pt x="3567687" y="5672944"/>
                  <a:pt x="3570785" y="5678520"/>
                </a:cubicBezTo>
                <a:cubicBezTo>
                  <a:pt x="3573573" y="5684922"/>
                  <a:pt x="3567532" y="5687297"/>
                  <a:pt x="3568306" y="5687813"/>
                </a:cubicBezTo>
                <a:cubicBezTo>
                  <a:pt x="3568771" y="5688949"/>
                  <a:pt x="3568771" y="5688949"/>
                  <a:pt x="3569546" y="5689362"/>
                </a:cubicBezTo>
                <a:cubicBezTo>
                  <a:pt x="3569236" y="5690188"/>
                  <a:pt x="3569236" y="5692150"/>
                  <a:pt x="3569701" y="5693286"/>
                </a:cubicBezTo>
                <a:cubicBezTo>
                  <a:pt x="3568926" y="5692873"/>
                  <a:pt x="3568152" y="5692459"/>
                  <a:pt x="3567842" y="5693286"/>
                </a:cubicBezTo>
                <a:cubicBezTo>
                  <a:pt x="3566913" y="5690911"/>
                  <a:pt x="3567222" y="5690085"/>
                  <a:pt x="3566913" y="5688846"/>
                </a:cubicBezTo>
                <a:cubicBezTo>
                  <a:pt x="3566448" y="5689672"/>
                  <a:pt x="3566138" y="5688433"/>
                  <a:pt x="3566138" y="5688433"/>
                </a:cubicBezTo>
                <a:cubicBezTo>
                  <a:pt x="3566138" y="5688433"/>
                  <a:pt x="3566138" y="5688433"/>
                  <a:pt x="3563970" y="5689155"/>
                </a:cubicBezTo>
                <a:cubicBezTo>
                  <a:pt x="3563970" y="5689155"/>
                  <a:pt x="3558703" y="5689981"/>
                  <a:pt x="3556380" y="5684819"/>
                </a:cubicBezTo>
                <a:cubicBezTo>
                  <a:pt x="3557464" y="5684509"/>
                  <a:pt x="3554985" y="5677281"/>
                  <a:pt x="3557928" y="5675113"/>
                </a:cubicBezTo>
                <a:cubicBezTo>
                  <a:pt x="3559478" y="5673977"/>
                  <a:pt x="3560562" y="5673667"/>
                  <a:pt x="3562111" y="5672634"/>
                </a:cubicBezTo>
                <a:close/>
                <a:moveTo>
                  <a:pt x="3189895" y="5672634"/>
                </a:moveTo>
                <a:cubicBezTo>
                  <a:pt x="3191599" y="5671602"/>
                  <a:pt x="3192219" y="5672118"/>
                  <a:pt x="3192683" y="5674493"/>
                </a:cubicBezTo>
                <a:cubicBezTo>
                  <a:pt x="3191754" y="5675009"/>
                  <a:pt x="3190360" y="5675422"/>
                  <a:pt x="3188966" y="5675422"/>
                </a:cubicBezTo>
                <a:cubicBezTo>
                  <a:pt x="3187572" y="5675422"/>
                  <a:pt x="3186332" y="5675113"/>
                  <a:pt x="3185868" y="5674286"/>
                </a:cubicBezTo>
                <a:cubicBezTo>
                  <a:pt x="3187417" y="5673254"/>
                  <a:pt x="3188656" y="5672944"/>
                  <a:pt x="3189895" y="5672634"/>
                </a:cubicBezTo>
                <a:close/>
                <a:moveTo>
                  <a:pt x="3040575" y="5672634"/>
                </a:moveTo>
                <a:cubicBezTo>
                  <a:pt x="3042279" y="5673357"/>
                  <a:pt x="3044757" y="5672428"/>
                  <a:pt x="3046616" y="5673977"/>
                </a:cubicBezTo>
                <a:cubicBezTo>
                  <a:pt x="3046616" y="5673977"/>
                  <a:pt x="3047545" y="5674803"/>
                  <a:pt x="3047700" y="5676558"/>
                </a:cubicBezTo>
                <a:cubicBezTo>
                  <a:pt x="3049714" y="5679036"/>
                  <a:pt x="3047700" y="5681824"/>
                  <a:pt x="3047700" y="5681824"/>
                </a:cubicBezTo>
                <a:cubicBezTo>
                  <a:pt x="3047700" y="5681824"/>
                  <a:pt x="3047700" y="5681824"/>
                  <a:pt x="3048475" y="5681721"/>
                </a:cubicBezTo>
                <a:cubicBezTo>
                  <a:pt x="3046926" y="5681824"/>
                  <a:pt x="3045222" y="5682857"/>
                  <a:pt x="3043673" y="5682960"/>
                </a:cubicBezTo>
                <a:cubicBezTo>
                  <a:pt x="3036238" y="5678107"/>
                  <a:pt x="3038561" y="5676248"/>
                  <a:pt x="3040575" y="5672634"/>
                </a:cubicBezTo>
                <a:close/>
                <a:moveTo>
                  <a:pt x="2718391" y="5671085"/>
                </a:moveTo>
                <a:cubicBezTo>
                  <a:pt x="2724897" y="5673874"/>
                  <a:pt x="2728304" y="5673874"/>
                  <a:pt x="2732951" y="5676661"/>
                </a:cubicBezTo>
                <a:cubicBezTo>
                  <a:pt x="2732951" y="5677591"/>
                  <a:pt x="2732021" y="5677487"/>
                  <a:pt x="2732021" y="5678417"/>
                </a:cubicBezTo>
                <a:cubicBezTo>
                  <a:pt x="2731557" y="5678830"/>
                  <a:pt x="2730628" y="5678933"/>
                  <a:pt x="2729698" y="5678933"/>
                </a:cubicBezTo>
                <a:cubicBezTo>
                  <a:pt x="2726600" y="5678830"/>
                  <a:pt x="2721954" y="5677178"/>
                  <a:pt x="2722108" y="5676455"/>
                </a:cubicBezTo>
                <a:cubicBezTo>
                  <a:pt x="2721179" y="5676455"/>
                  <a:pt x="2721334" y="5675629"/>
                  <a:pt x="2720559" y="5675525"/>
                </a:cubicBezTo>
                <a:cubicBezTo>
                  <a:pt x="2720559" y="5675525"/>
                  <a:pt x="2719630" y="5675525"/>
                  <a:pt x="2718855" y="5674596"/>
                </a:cubicBezTo>
                <a:cubicBezTo>
                  <a:pt x="2718546" y="5674183"/>
                  <a:pt x="2718081" y="5673770"/>
                  <a:pt x="2717926" y="5673151"/>
                </a:cubicBezTo>
                <a:cubicBezTo>
                  <a:pt x="2717771" y="5672634"/>
                  <a:pt x="2717926" y="5671912"/>
                  <a:pt x="2718391" y="5671085"/>
                </a:cubicBezTo>
                <a:close/>
                <a:moveTo>
                  <a:pt x="2828212" y="5670569"/>
                </a:moveTo>
                <a:cubicBezTo>
                  <a:pt x="2828987" y="5671395"/>
                  <a:pt x="2829761" y="5672324"/>
                  <a:pt x="2829606" y="5673977"/>
                </a:cubicBezTo>
                <a:cubicBezTo>
                  <a:pt x="2827747" y="5675732"/>
                  <a:pt x="2825269" y="5674803"/>
                  <a:pt x="2824340" y="5675732"/>
                </a:cubicBezTo>
                <a:cubicBezTo>
                  <a:pt x="2824495" y="5674803"/>
                  <a:pt x="2824650" y="5673151"/>
                  <a:pt x="2823101" y="5672221"/>
                </a:cubicBezTo>
                <a:cubicBezTo>
                  <a:pt x="2824804" y="5670466"/>
                  <a:pt x="2826663" y="5668814"/>
                  <a:pt x="2828212" y="5670569"/>
                </a:cubicBezTo>
                <a:close/>
                <a:moveTo>
                  <a:pt x="3389711" y="5670259"/>
                </a:moveTo>
                <a:cubicBezTo>
                  <a:pt x="3396217" y="5675009"/>
                  <a:pt x="3392964" y="5681824"/>
                  <a:pt x="3388317" y="5682650"/>
                </a:cubicBezTo>
                <a:cubicBezTo>
                  <a:pt x="3386768" y="5682857"/>
                  <a:pt x="3384910" y="5682444"/>
                  <a:pt x="3383515" y="5681101"/>
                </a:cubicBezTo>
                <a:cubicBezTo>
                  <a:pt x="3384135" y="5675939"/>
                  <a:pt x="3383825" y="5669950"/>
                  <a:pt x="3389711" y="5670259"/>
                </a:cubicBezTo>
                <a:close/>
                <a:moveTo>
                  <a:pt x="3226915" y="5668711"/>
                </a:moveTo>
                <a:cubicBezTo>
                  <a:pt x="3227535" y="5669227"/>
                  <a:pt x="3229394" y="5669330"/>
                  <a:pt x="3229703" y="5670569"/>
                </a:cubicBezTo>
                <a:cubicBezTo>
                  <a:pt x="3229858" y="5671705"/>
                  <a:pt x="3229858" y="5671705"/>
                  <a:pt x="3228929" y="5673254"/>
                </a:cubicBezTo>
                <a:cubicBezTo>
                  <a:pt x="3227999" y="5672221"/>
                  <a:pt x="3227690" y="5671705"/>
                  <a:pt x="3227380" y="5671085"/>
                </a:cubicBezTo>
                <a:cubicBezTo>
                  <a:pt x="3227225" y="5670569"/>
                  <a:pt x="3227070" y="5669950"/>
                  <a:pt x="3226915" y="5668711"/>
                </a:cubicBezTo>
                <a:close/>
                <a:moveTo>
                  <a:pt x="3224902" y="5667472"/>
                </a:moveTo>
                <a:cubicBezTo>
                  <a:pt x="3225366" y="5666749"/>
                  <a:pt x="3226141" y="5667162"/>
                  <a:pt x="3226451" y="5668298"/>
                </a:cubicBezTo>
                <a:cubicBezTo>
                  <a:pt x="3226451" y="5668298"/>
                  <a:pt x="3225986" y="5669020"/>
                  <a:pt x="3225986" y="5669020"/>
                </a:cubicBezTo>
                <a:cubicBezTo>
                  <a:pt x="3225521" y="5668814"/>
                  <a:pt x="3225211" y="5668608"/>
                  <a:pt x="3225056" y="5668298"/>
                </a:cubicBezTo>
                <a:cubicBezTo>
                  <a:pt x="3224747" y="5668091"/>
                  <a:pt x="3224747" y="5667781"/>
                  <a:pt x="3224902" y="5667472"/>
                </a:cubicBezTo>
                <a:close/>
                <a:moveTo>
                  <a:pt x="2968083" y="5666232"/>
                </a:moveTo>
                <a:cubicBezTo>
                  <a:pt x="2970252" y="5667781"/>
                  <a:pt x="2971181" y="5669743"/>
                  <a:pt x="2971026" y="5671602"/>
                </a:cubicBezTo>
                <a:cubicBezTo>
                  <a:pt x="2971026" y="5674700"/>
                  <a:pt x="2968238" y="5677591"/>
                  <a:pt x="2965295" y="5678314"/>
                </a:cubicBezTo>
                <a:cubicBezTo>
                  <a:pt x="2964211" y="5678623"/>
                  <a:pt x="2963282" y="5678623"/>
                  <a:pt x="2962197" y="5678314"/>
                </a:cubicBezTo>
                <a:cubicBezTo>
                  <a:pt x="2960958" y="5677901"/>
                  <a:pt x="2959874" y="5676868"/>
                  <a:pt x="2959100" y="5675216"/>
                </a:cubicBezTo>
                <a:cubicBezTo>
                  <a:pt x="2959564" y="5671705"/>
                  <a:pt x="2965450" y="5666955"/>
                  <a:pt x="2968083" y="5666232"/>
                </a:cubicBezTo>
                <a:close/>
                <a:moveTo>
                  <a:pt x="2877314" y="5665923"/>
                </a:moveTo>
                <a:lnTo>
                  <a:pt x="2877624" y="5666232"/>
                </a:lnTo>
                <a:lnTo>
                  <a:pt x="2885989" y="5670569"/>
                </a:lnTo>
                <a:cubicBezTo>
                  <a:pt x="2886763" y="5671499"/>
                  <a:pt x="2888157" y="5675009"/>
                  <a:pt x="2887228" y="5675939"/>
                </a:cubicBezTo>
                <a:cubicBezTo>
                  <a:pt x="2886298" y="5676765"/>
                  <a:pt x="2885524" y="5676765"/>
                  <a:pt x="2884594" y="5676765"/>
                </a:cubicBezTo>
                <a:lnTo>
                  <a:pt x="2880877" y="5674493"/>
                </a:lnTo>
                <a:lnTo>
                  <a:pt x="2880877" y="5676352"/>
                </a:lnTo>
                <a:cubicBezTo>
                  <a:pt x="2880412" y="5678314"/>
                  <a:pt x="2879638" y="5679966"/>
                  <a:pt x="2878708" y="5680482"/>
                </a:cubicBezTo>
                <a:cubicBezTo>
                  <a:pt x="2876385" y="5681101"/>
                  <a:pt x="2873287" y="5680069"/>
                  <a:pt x="2872667" y="5676558"/>
                </a:cubicBezTo>
                <a:cubicBezTo>
                  <a:pt x="2871583" y="5673667"/>
                  <a:pt x="2873442" y="5670673"/>
                  <a:pt x="2872822" y="5667162"/>
                </a:cubicBezTo>
                <a:cubicBezTo>
                  <a:pt x="2874836" y="5666232"/>
                  <a:pt x="2876230" y="5665819"/>
                  <a:pt x="2877314" y="5665923"/>
                </a:cubicBezTo>
                <a:close/>
                <a:moveTo>
                  <a:pt x="2985277" y="5665510"/>
                </a:moveTo>
                <a:cubicBezTo>
                  <a:pt x="2986516" y="5665200"/>
                  <a:pt x="2987136" y="5665613"/>
                  <a:pt x="2987755" y="5666026"/>
                </a:cubicBezTo>
                <a:cubicBezTo>
                  <a:pt x="2988065" y="5667162"/>
                  <a:pt x="2987601" y="5667988"/>
                  <a:pt x="2987755" y="5669227"/>
                </a:cubicBezTo>
                <a:cubicBezTo>
                  <a:pt x="2988375" y="5669640"/>
                  <a:pt x="2989769" y="5670466"/>
                  <a:pt x="2989924" y="5671602"/>
                </a:cubicBezTo>
                <a:cubicBezTo>
                  <a:pt x="2990079" y="5672841"/>
                  <a:pt x="2989924" y="5674803"/>
                  <a:pt x="2989924" y="5674803"/>
                </a:cubicBezTo>
                <a:cubicBezTo>
                  <a:pt x="2989304" y="5674906"/>
                  <a:pt x="2988994" y="5675009"/>
                  <a:pt x="2988840" y="5674906"/>
                </a:cubicBezTo>
                <a:cubicBezTo>
                  <a:pt x="2988840" y="5674906"/>
                  <a:pt x="2988994" y="5674700"/>
                  <a:pt x="2989149" y="5674390"/>
                </a:cubicBezTo>
                <a:cubicBezTo>
                  <a:pt x="2988220" y="5672738"/>
                  <a:pt x="2988994" y="5673151"/>
                  <a:pt x="2988840" y="5671912"/>
                </a:cubicBezTo>
                <a:cubicBezTo>
                  <a:pt x="2988530" y="5670776"/>
                  <a:pt x="2986206" y="5667162"/>
                  <a:pt x="2984967" y="5667472"/>
                </a:cubicBezTo>
                <a:cubicBezTo>
                  <a:pt x="2985587" y="5666646"/>
                  <a:pt x="2985277" y="5665510"/>
                  <a:pt x="2985277" y="5665510"/>
                </a:cubicBezTo>
                <a:close/>
                <a:moveTo>
                  <a:pt x="2925952" y="5665510"/>
                </a:moveTo>
                <a:cubicBezTo>
                  <a:pt x="2927965" y="5667162"/>
                  <a:pt x="2930754" y="5669640"/>
                  <a:pt x="2929514" y="5672324"/>
                </a:cubicBezTo>
                <a:cubicBezTo>
                  <a:pt x="2928585" y="5672428"/>
                  <a:pt x="2928740" y="5673254"/>
                  <a:pt x="2927965" y="5673357"/>
                </a:cubicBezTo>
                <a:cubicBezTo>
                  <a:pt x="2927965" y="5673357"/>
                  <a:pt x="2927191" y="5673874"/>
                  <a:pt x="2925952" y="5673977"/>
                </a:cubicBezTo>
                <a:cubicBezTo>
                  <a:pt x="2925332" y="5674080"/>
                  <a:pt x="2924713" y="5674080"/>
                  <a:pt x="2923938" y="5673977"/>
                </a:cubicBezTo>
                <a:cubicBezTo>
                  <a:pt x="2923009" y="5673770"/>
                  <a:pt x="2922079" y="5673460"/>
                  <a:pt x="2921150" y="5672841"/>
                </a:cubicBezTo>
                <a:cubicBezTo>
                  <a:pt x="2920221" y="5672015"/>
                  <a:pt x="2918207" y="5669537"/>
                  <a:pt x="2919136" y="5669434"/>
                </a:cubicBezTo>
                <a:cubicBezTo>
                  <a:pt x="2919756" y="5668504"/>
                  <a:pt x="2918981" y="5668608"/>
                  <a:pt x="2918826" y="5667678"/>
                </a:cubicBezTo>
                <a:cubicBezTo>
                  <a:pt x="2920995" y="5664890"/>
                  <a:pt x="2923318" y="5663857"/>
                  <a:pt x="2925952" y="5665510"/>
                </a:cubicBezTo>
                <a:close/>
                <a:moveTo>
                  <a:pt x="3222578" y="5664993"/>
                </a:moveTo>
                <a:cubicBezTo>
                  <a:pt x="3222888" y="5666129"/>
                  <a:pt x="3223353" y="5665510"/>
                  <a:pt x="3222423" y="5666852"/>
                </a:cubicBezTo>
                <a:cubicBezTo>
                  <a:pt x="3222113" y="5665716"/>
                  <a:pt x="3222113" y="5665613"/>
                  <a:pt x="3221494" y="5665200"/>
                </a:cubicBezTo>
                <a:cubicBezTo>
                  <a:pt x="3221494" y="5665200"/>
                  <a:pt x="3222578" y="5664993"/>
                  <a:pt x="3222578" y="5664993"/>
                </a:cubicBezTo>
                <a:close/>
                <a:moveTo>
                  <a:pt x="3081158" y="5663651"/>
                </a:moveTo>
                <a:cubicBezTo>
                  <a:pt x="3091226" y="5664477"/>
                  <a:pt x="3098661" y="5667575"/>
                  <a:pt x="3103772" y="5672841"/>
                </a:cubicBezTo>
                <a:cubicBezTo>
                  <a:pt x="3105476" y="5674596"/>
                  <a:pt x="3107026" y="5676558"/>
                  <a:pt x="3108265" y="5678830"/>
                </a:cubicBezTo>
                <a:cubicBezTo>
                  <a:pt x="3102998" y="5683476"/>
                  <a:pt x="3097112" y="5678933"/>
                  <a:pt x="3092001" y="5676971"/>
                </a:cubicBezTo>
                <a:cubicBezTo>
                  <a:pt x="3091381" y="5683063"/>
                  <a:pt x="3092001" y="5692253"/>
                  <a:pt x="3085495" y="5692666"/>
                </a:cubicBezTo>
                <a:cubicBezTo>
                  <a:pt x="3084411" y="5691530"/>
                  <a:pt x="3083791" y="5690188"/>
                  <a:pt x="3083481" y="5688742"/>
                </a:cubicBezTo>
                <a:cubicBezTo>
                  <a:pt x="3082861" y="5684302"/>
                  <a:pt x="3085650" y="5678520"/>
                  <a:pt x="3085495" y="5672944"/>
                </a:cubicBezTo>
                <a:cubicBezTo>
                  <a:pt x="3083946" y="5669847"/>
                  <a:pt x="3079764" y="5670363"/>
                  <a:pt x="3081158" y="5663651"/>
                </a:cubicBezTo>
                <a:close/>
                <a:moveTo>
                  <a:pt x="3114616" y="5663032"/>
                </a:moveTo>
                <a:cubicBezTo>
                  <a:pt x="3117559" y="5662825"/>
                  <a:pt x="3118488" y="5664374"/>
                  <a:pt x="3120192" y="5667575"/>
                </a:cubicBezTo>
                <a:cubicBezTo>
                  <a:pt x="3118178" y="5667781"/>
                  <a:pt x="3116939" y="5667575"/>
                  <a:pt x="3116009" y="5666749"/>
                </a:cubicBezTo>
                <a:cubicBezTo>
                  <a:pt x="3115235" y="5666026"/>
                  <a:pt x="3114925" y="5664684"/>
                  <a:pt x="3114616" y="5663032"/>
                </a:cubicBezTo>
                <a:close/>
                <a:moveTo>
                  <a:pt x="3014707" y="5662928"/>
                </a:moveTo>
                <a:cubicBezTo>
                  <a:pt x="3018580" y="5662515"/>
                  <a:pt x="3021213" y="5663445"/>
                  <a:pt x="3022607" y="5665097"/>
                </a:cubicBezTo>
                <a:cubicBezTo>
                  <a:pt x="3026944" y="5670156"/>
                  <a:pt x="3021523" y="5681618"/>
                  <a:pt x="3012848" y="5681205"/>
                </a:cubicBezTo>
                <a:cubicBezTo>
                  <a:pt x="3011764" y="5680275"/>
                  <a:pt x="3011145" y="5678830"/>
                  <a:pt x="3010835" y="5677281"/>
                </a:cubicBezTo>
                <a:cubicBezTo>
                  <a:pt x="3009750" y="5672324"/>
                  <a:pt x="3011919" y="5665613"/>
                  <a:pt x="3014707" y="5662928"/>
                </a:cubicBezTo>
                <a:close/>
                <a:moveTo>
                  <a:pt x="2926261" y="5662515"/>
                </a:moveTo>
                <a:cubicBezTo>
                  <a:pt x="2927191" y="5661586"/>
                  <a:pt x="2927036" y="5662515"/>
                  <a:pt x="2927811" y="5662515"/>
                </a:cubicBezTo>
                <a:cubicBezTo>
                  <a:pt x="2927346" y="5663032"/>
                  <a:pt x="2927191" y="5663238"/>
                  <a:pt x="2927036" y="5663238"/>
                </a:cubicBezTo>
                <a:cubicBezTo>
                  <a:pt x="2926726" y="5663238"/>
                  <a:pt x="2926726" y="5663032"/>
                  <a:pt x="2926261" y="5662515"/>
                </a:cubicBezTo>
                <a:close/>
                <a:moveTo>
                  <a:pt x="2995190" y="5662412"/>
                </a:moveTo>
                <a:cubicBezTo>
                  <a:pt x="2996894" y="5672531"/>
                  <a:pt x="3002470" y="5678314"/>
                  <a:pt x="3002315" y="5689878"/>
                </a:cubicBezTo>
                <a:cubicBezTo>
                  <a:pt x="2994261" y="5687400"/>
                  <a:pt x="2987136" y="5666646"/>
                  <a:pt x="2995190" y="5662412"/>
                </a:cubicBezTo>
                <a:close/>
                <a:moveTo>
                  <a:pt x="2928895" y="5661999"/>
                </a:moveTo>
                <a:cubicBezTo>
                  <a:pt x="2929824" y="5662825"/>
                  <a:pt x="2930908" y="5664374"/>
                  <a:pt x="2930134" y="5665303"/>
                </a:cubicBezTo>
                <a:cubicBezTo>
                  <a:pt x="2929824" y="5666129"/>
                  <a:pt x="2929514" y="5666129"/>
                  <a:pt x="2928895" y="5665923"/>
                </a:cubicBezTo>
                <a:cubicBezTo>
                  <a:pt x="2928275" y="5665613"/>
                  <a:pt x="2927656" y="5664993"/>
                  <a:pt x="2926726" y="5664684"/>
                </a:cubicBezTo>
                <a:close/>
                <a:moveTo>
                  <a:pt x="2937569" y="5657869"/>
                </a:moveTo>
                <a:cubicBezTo>
                  <a:pt x="2938343" y="5657869"/>
                  <a:pt x="2938498" y="5658695"/>
                  <a:pt x="2939428" y="5659521"/>
                </a:cubicBezTo>
                <a:cubicBezTo>
                  <a:pt x="2940512" y="5661173"/>
                  <a:pt x="2940822" y="5663651"/>
                  <a:pt x="2940202" y="5664580"/>
                </a:cubicBezTo>
                <a:cubicBezTo>
                  <a:pt x="2939428" y="5665510"/>
                  <a:pt x="2938653" y="5665613"/>
                  <a:pt x="2938653" y="5665613"/>
                </a:cubicBezTo>
                <a:cubicBezTo>
                  <a:pt x="2935865" y="5663961"/>
                  <a:pt x="2933851" y="5661586"/>
                  <a:pt x="2936020" y="5658901"/>
                </a:cubicBezTo>
                <a:cubicBezTo>
                  <a:pt x="2936639" y="5657972"/>
                  <a:pt x="2937414" y="5657043"/>
                  <a:pt x="2937569" y="5657869"/>
                </a:cubicBezTo>
                <a:close/>
                <a:moveTo>
                  <a:pt x="2803468" y="5657249"/>
                </a:moveTo>
                <a:cubicBezTo>
                  <a:pt x="2805714" y="5657069"/>
                  <a:pt x="2807611" y="5657766"/>
                  <a:pt x="2808695" y="5660553"/>
                </a:cubicBezTo>
                <a:cubicBezTo>
                  <a:pt x="2807766" y="5664477"/>
                  <a:pt x="2805442" y="5666439"/>
                  <a:pt x="2802964" y="5666852"/>
                </a:cubicBezTo>
                <a:cubicBezTo>
                  <a:pt x="2800641" y="5667265"/>
                  <a:pt x="2798007" y="5666232"/>
                  <a:pt x="2796768" y="5664271"/>
                </a:cubicBezTo>
                <a:cubicBezTo>
                  <a:pt x="2795839" y="5662928"/>
                  <a:pt x="2795529" y="5661173"/>
                  <a:pt x="2796149" y="5659211"/>
                </a:cubicBezTo>
                <a:cubicBezTo>
                  <a:pt x="2798627" y="5658488"/>
                  <a:pt x="2801222" y="5657430"/>
                  <a:pt x="2803468" y="5657249"/>
                </a:cubicBezTo>
                <a:close/>
                <a:moveTo>
                  <a:pt x="3406750" y="5656423"/>
                </a:moveTo>
                <a:cubicBezTo>
                  <a:pt x="3407834" y="5656113"/>
                  <a:pt x="3408918" y="5655700"/>
                  <a:pt x="3410467" y="5656630"/>
                </a:cubicBezTo>
                <a:cubicBezTo>
                  <a:pt x="3411242" y="5659005"/>
                  <a:pt x="3409538" y="5660760"/>
                  <a:pt x="3409848" y="5661999"/>
                </a:cubicBezTo>
                <a:cubicBezTo>
                  <a:pt x="3409073" y="5661483"/>
                  <a:pt x="3407679" y="5660656"/>
                  <a:pt x="3406130" y="5661792"/>
                </a:cubicBezTo>
                <a:cubicBezTo>
                  <a:pt x="3405356" y="5659418"/>
                  <a:pt x="3404581" y="5657043"/>
                  <a:pt x="3406750" y="5656423"/>
                </a:cubicBezTo>
                <a:close/>
                <a:moveTo>
                  <a:pt x="3008821" y="5655804"/>
                </a:moveTo>
                <a:cubicBezTo>
                  <a:pt x="3011919" y="5656526"/>
                  <a:pt x="3012848" y="5659727"/>
                  <a:pt x="3012384" y="5663032"/>
                </a:cubicBezTo>
                <a:cubicBezTo>
                  <a:pt x="3011764" y="5666232"/>
                  <a:pt x="3009750" y="5669537"/>
                  <a:pt x="3007117" y="5670673"/>
                </a:cubicBezTo>
                <a:cubicBezTo>
                  <a:pt x="3006343" y="5669227"/>
                  <a:pt x="3005723" y="5667988"/>
                  <a:pt x="3005259" y="5666646"/>
                </a:cubicBezTo>
                <a:cubicBezTo>
                  <a:pt x="3003865" y="5662825"/>
                  <a:pt x="3004484" y="5659418"/>
                  <a:pt x="3008821" y="5655804"/>
                </a:cubicBezTo>
                <a:close/>
                <a:moveTo>
                  <a:pt x="2881806" y="5655184"/>
                </a:moveTo>
                <a:cubicBezTo>
                  <a:pt x="2884904" y="5659418"/>
                  <a:pt x="2889706" y="5661380"/>
                  <a:pt x="2889861" y="5664477"/>
                </a:cubicBezTo>
                <a:cubicBezTo>
                  <a:pt x="2889861" y="5665510"/>
                  <a:pt x="2889396" y="5666749"/>
                  <a:pt x="2888002" y="5668194"/>
                </a:cubicBezTo>
                <a:cubicBezTo>
                  <a:pt x="2886298" y="5667472"/>
                  <a:pt x="2882271" y="5664684"/>
                  <a:pt x="2880258" y="5661586"/>
                </a:cubicBezTo>
                <a:cubicBezTo>
                  <a:pt x="2879638" y="5660656"/>
                  <a:pt x="2879328" y="5659624"/>
                  <a:pt x="2879328" y="5658591"/>
                </a:cubicBezTo>
                <a:cubicBezTo>
                  <a:pt x="2879328" y="5657249"/>
                  <a:pt x="2880102" y="5656113"/>
                  <a:pt x="2881806" y="5655184"/>
                </a:cubicBezTo>
                <a:close/>
                <a:moveTo>
                  <a:pt x="3300781" y="5655068"/>
                </a:moveTo>
                <a:cubicBezTo>
                  <a:pt x="3302969" y="5655674"/>
                  <a:pt x="3305215" y="5657507"/>
                  <a:pt x="3307461" y="5659314"/>
                </a:cubicBezTo>
                <a:cubicBezTo>
                  <a:pt x="3305448" y="5662412"/>
                  <a:pt x="3306687" y="5665819"/>
                  <a:pt x="3301420" y="5668711"/>
                </a:cubicBezTo>
                <a:cubicBezTo>
                  <a:pt x="3298477" y="5665200"/>
                  <a:pt x="3297238" y="5661689"/>
                  <a:pt x="3294450" y="5658179"/>
                </a:cubicBezTo>
                <a:cubicBezTo>
                  <a:pt x="3296464" y="5655081"/>
                  <a:pt x="3298593" y="5654461"/>
                  <a:pt x="3300781" y="5655068"/>
                </a:cubicBezTo>
                <a:close/>
                <a:moveTo>
                  <a:pt x="3707520" y="5654603"/>
                </a:moveTo>
                <a:cubicBezTo>
                  <a:pt x="3711779" y="5653790"/>
                  <a:pt x="3715303" y="5653377"/>
                  <a:pt x="3717627" y="5655081"/>
                </a:cubicBezTo>
                <a:cubicBezTo>
                  <a:pt x="3719175" y="5656217"/>
                  <a:pt x="3720260" y="5658282"/>
                  <a:pt x="3720725" y="5661792"/>
                </a:cubicBezTo>
                <a:cubicBezTo>
                  <a:pt x="3717627" y="5663548"/>
                  <a:pt x="3709727" y="5666026"/>
                  <a:pt x="3703066" y="5666129"/>
                </a:cubicBezTo>
                <a:cubicBezTo>
                  <a:pt x="3696251" y="5666336"/>
                  <a:pt x="3690830" y="5664167"/>
                  <a:pt x="3692998" y="5656526"/>
                </a:cubicBezTo>
                <a:cubicBezTo>
                  <a:pt x="3698264" y="5656629"/>
                  <a:pt x="3703260" y="5655416"/>
                  <a:pt x="3707520" y="5654603"/>
                </a:cubicBezTo>
                <a:close/>
                <a:moveTo>
                  <a:pt x="3028435" y="5653971"/>
                </a:moveTo>
                <a:cubicBezTo>
                  <a:pt x="3030042" y="5652293"/>
                  <a:pt x="3032753" y="5651983"/>
                  <a:pt x="3034534" y="5655597"/>
                </a:cubicBezTo>
                <a:cubicBezTo>
                  <a:pt x="3032211" y="5658075"/>
                  <a:pt x="3030507" y="5659831"/>
                  <a:pt x="3028958" y="5660553"/>
                </a:cubicBezTo>
                <a:cubicBezTo>
                  <a:pt x="3026325" y="5658695"/>
                  <a:pt x="3026828" y="5655649"/>
                  <a:pt x="3028435" y="5653971"/>
                </a:cubicBezTo>
                <a:close/>
                <a:moveTo>
                  <a:pt x="3345256" y="5653842"/>
                </a:moveTo>
                <a:cubicBezTo>
                  <a:pt x="3346340" y="5654564"/>
                  <a:pt x="3347270" y="5655700"/>
                  <a:pt x="3347734" y="5657146"/>
                </a:cubicBezTo>
                <a:cubicBezTo>
                  <a:pt x="3348199" y="5659108"/>
                  <a:pt x="3347734" y="5661689"/>
                  <a:pt x="3345566" y="5664580"/>
                </a:cubicBezTo>
                <a:cubicBezTo>
                  <a:pt x="3341384" y="5664993"/>
                  <a:pt x="3339680" y="5663032"/>
                  <a:pt x="3336891" y="5662309"/>
                </a:cubicBezTo>
                <a:cubicBezTo>
                  <a:pt x="3336117" y="5653532"/>
                  <a:pt x="3341693" y="5651674"/>
                  <a:pt x="3345256" y="5653842"/>
                </a:cubicBezTo>
                <a:close/>
                <a:moveTo>
                  <a:pt x="3051263" y="5653842"/>
                </a:moveTo>
                <a:cubicBezTo>
                  <a:pt x="3054980" y="5656217"/>
                  <a:pt x="3056219" y="5653532"/>
                  <a:pt x="3061950" y="5657559"/>
                </a:cubicBezTo>
                <a:cubicBezTo>
                  <a:pt x="3067372" y="5661173"/>
                  <a:pt x="3068301" y="5665613"/>
                  <a:pt x="3067682" y="5669020"/>
                </a:cubicBezTo>
                <a:lnTo>
                  <a:pt x="3066597" y="5671705"/>
                </a:lnTo>
                <a:lnTo>
                  <a:pt x="3068611" y="5673460"/>
                </a:lnTo>
                <a:cubicBezTo>
                  <a:pt x="3062261" y="5678314"/>
                  <a:pt x="3071554" y="5682134"/>
                  <a:pt x="3066752" y="5686264"/>
                </a:cubicBezTo>
                <a:cubicBezTo>
                  <a:pt x="3064274" y="5686781"/>
                  <a:pt x="3061796" y="5688329"/>
                  <a:pt x="3059008" y="5687813"/>
                </a:cubicBezTo>
                <a:cubicBezTo>
                  <a:pt x="3058078" y="5687710"/>
                  <a:pt x="3056994" y="5687400"/>
                  <a:pt x="3055910" y="5686677"/>
                </a:cubicBezTo>
                <a:cubicBezTo>
                  <a:pt x="3057923" y="5683786"/>
                  <a:pt x="3059008" y="5680998"/>
                  <a:pt x="3059937" y="5678210"/>
                </a:cubicBezTo>
                <a:lnTo>
                  <a:pt x="3060712" y="5675939"/>
                </a:lnTo>
                <a:lnTo>
                  <a:pt x="3058078" y="5676558"/>
                </a:lnTo>
                <a:cubicBezTo>
                  <a:pt x="3056374" y="5676661"/>
                  <a:pt x="3054671" y="5676145"/>
                  <a:pt x="3052502" y="5674700"/>
                </a:cubicBezTo>
                <a:cubicBezTo>
                  <a:pt x="3047855" y="5671499"/>
                  <a:pt x="3043828" y="5666542"/>
                  <a:pt x="3048629" y="5659211"/>
                </a:cubicBezTo>
                <a:cubicBezTo>
                  <a:pt x="3049249" y="5657456"/>
                  <a:pt x="3049404" y="5658385"/>
                  <a:pt x="3050024" y="5657456"/>
                </a:cubicBezTo>
                <a:cubicBezTo>
                  <a:pt x="3050798" y="5656526"/>
                  <a:pt x="3051418" y="5654668"/>
                  <a:pt x="3051263" y="5653842"/>
                </a:cubicBezTo>
                <a:close/>
                <a:moveTo>
                  <a:pt x="3171617" y="5653325"/>
                </a:moveTo>
                <a:cubicBezTo>
                  <a:pt x="3175490" y="5655700"/>
                  <a:pt x="3173786" y="5659831"/>
                  <a:pt x="3171152" y="5664167"/>
                </a:cubicBezTo>
                <a:cubicBezTo>
                  <a:pt x="3169294" y="5663754"/>
                  <a:pt x="3167745" y="5664271"/>
                  <a:pt x="3165886" y="5663857"/>
                </a:cubicBezTo>
                <a:cubicBezTo>
                  <a:pt x="3164182" y="5661689"/>
                  <a:pt x="3165112" y="5655390"/>
                  <a:pt x="3168055" y="5653429"/>
                </a:cubicBezTo>
                <a:cubicBezTo>
                  <a:pt x="3168984" y="5652809"/>
                  <a:pt x="3170223" y="5652603"/>
                  <a:pt x="3171617" y="5653325"/>
                </a:cubicBezTo>
                <a:close/>
                <a:moveTo>
                  <a:pt x="2743794" y="5652499"/>
                </a:moveTo>
                <a:cubicBezTo>
                  <a:pt x="2744568" y="5652499"/>
                  <a:pt x="2745342" y="5653325"/>
                  <a:pt x="2745342" y="5653325"/>
                </a:cubicBezTo>
                <a:cubicBezTo>
                  <a:pt x="2745962" y="5654255"/>
                  <a:pt x="2745962" y="5654255"/>
                  <a:pt x="2746892" y="5653429"/>
                </a:cubicBezTo>
                <a:cubicBezTo>
                  <a:pt x="2746892" y="5653429"/>
                  <a:pt x="2746892" y="5654255"/>
                  <a:pt x="2746892" y="5654255"/>
                </a:cubicBezTo>
                <a:cubicBezTo>
                  <a:pt x="2745962" y="5654255"/>
                  <a:pt x="2746892" y="5654255"/>
                  <a:pt x="2747666" y="5655184"/>
                </a:cubicBezTo>
                <a:cubicBezTo>
                  <a:pt x="2746582" y="5656940"/>
                  <a:pt x="2746582" y="5657765"/>
                  <a:pt x="2745652" y="5658695"/>
                </a:cubicBezTo>
                <a:cubicBezTo>
                  <a:pt x="2745188" y="5659108"/>
                  <a:pt x="2744413" y="5659521"/>
                  <a:pt x="2743794" y="5659727"/>
                </a:cubicBezTo>
                <a:cubicBezTo>
                  <a:pt x="2743174" y="5659934"/>
                  <a:pt x="2742554" y="5659934"/>
                  <a:pt x="2742245" y="5659521"/>
                </a:cubicBezTo>
                <a:cubicBezTo>
                  <a:pt x="2742245" y="5658591"/>
                  <a:pt x="2741470" y="5658591"/>
                  <a:pt x="2741470" y="5657662"/>
                </a:cubicBezTo>
                <a:cubicBezTo>
                  <a:pt x="2740851" y="5655907"/>
                  <a:pt x="2741006" y="5655081"/>
                  <a:pt x="2741935" y="5654255"/>
                </a:cubicBezTo>
                <a:cubicBezTo>
                  <a:pt x="2741935" y="5653325"/>
                  <a:pt x="2742864" y="5653325"/>
                  <a:pt x="2743794" y="5652499"/>
                </a:cubicBezTo>
                <a:close/>
                <a:moveTo>
                  <a:pt x="3186023" y="5652189"/>
                </a:moveTo>
                <a:cubicBezTo>
                  <a:pt x="3188346" y="5651364"/>
                  <a:pt x="3190824" y="5650641"/>
                  <a:pt x="3194387" y="5653325"/>
                </a:cubicBezTo>
                <a:cubicBezTo>
                  <a:pt x="3195316" y="5656836"/>
                  <a:pt x="3194697" y="5659418"/>
                  <a:pt x="3191444" y="5662618"/>
                </a:cubicBezTo>
                <a:cubicBezTo>
                  <a:pt x="3187262" y="5662515"/>
                  <a:pt x="3181995" y="5656217"/>
                  <a:pt x="3186023" y="5652189"/>
                </a:cubicBezTo>
                <a:close/>
                <a:moveTo>
                  <a:pt x="3365547" y="5652086"/>
                </a:moveTo>
                <a:cubicBezTo>
                  <a:pt x="3365392" y="5653325"/>
                  <a:pt x="3368955" y="5654151"/>
                  <a:pt x="3370039" y="5654461"/>
                </a:cubicBezTo>
                <a:cubicBezTo>
                  <a:pt x="3369730" y="5656836"/>
                  <a:pt x="3373757" y="5658591"/>
                  <a:pt x="3373137" y="5662206"/>
                </a:cubicBezTo>
                <a:cubicBezTo>
                  <a:pt x="3371743" y="5663135"/>
                  <a:pt x="3371123" y="5663548"/>
                  <a:pt x="3369265" y="5663651"/>
                </a:cubicBezTo>
                <a:cubicBezTo>
                  <a:pt x="3360436" y="5660863"/>
                  <a:pt x="3360126" y="5655700"/>
                  <a:pt x="3358887" y="5655390"/>
                </a:cubicBezTo>
                <a:cubicBezTo>
                  <a:pt x="3359506" y="5651777"/>
                  <a:pt x="3361830" y="5652396"/>
                  <a:pt x="3365547" y="5652086"/>
                </a:cubicBezTo>
                <a:close/>
                <a:moveTo>
                  <a:pt x="3120192" y="5650021"/>
                </a:moveTo>
                <a:cubicBezTo>
                  <a:pt x="3122051" y="5648369"/>
                  <a:pt x="3126078" y="5649298"/>
                  <a:pt x="3127627" y="5650124"/>
                </a:cubicBezTo>
                <a:cubicBezTo>
                  <a:pt x="3129176" y="5651880"/>
                  <a:pt x="3128091" y="5654564"/>
                  <a:pt x="3126233" y="5656217"/>
                </a:cubicBezTo>
                <a:cubicBezTo>
                  <a:pt x="3125768" y="5657043"/>
                  <a:pt x="3124839" y="5657456"/>
                  <a:pt x="3123909" y="5657559"/>
                </a:cubicBezTo>
                <a:cubicBezTo>
                  <a:pt x="3122980" y="5657662"/>
                  <a:pt x="3122051" y="5657456"/>
                  <a:pt x="3121276" y="5656940"/>
                </a:cubicBezTo>
                <a:cubicBezTo>
                  <a:pt x="3120501" y="5656113"/>
                  <a:pt x="3120501" y="5656113"/>
                  <a:pt x="3119727" y="5655287"/>
                </a:cubicBezTo>
                <a:cubicBezTo>
                  <a:pt x="3119882" y="5653532"/>
                  <a:pt x="3119262" y="5651777"/>
                  <a:pt x="3120192" y="5650021"/>
                </a:cubicBezTo>
                <a:close/>
                <a:moveTo>
                  <a:pt x="3202287" y="5647543"/>
                </a:moveTo>
                <a:cubicBezTo>
                  <a:pt x="3204145" y="5647646"/>
                  <a:pt x="3207243" y="5648576"/>
                  <a:pt x="3207553" y="5650847"/>
                </a:cubicBezTo>
                <a:cubicBezTo>
                  <a:pt x="3207553" y="5650847"/>
                  <a:pt x="3207553" y="5650847"/>
                  <a:pt x="3207863" y="5651983"/>
                </a:cubicBezTo>
                <a:cubicBezTo>
                  <a:pt x="3205849" y="5650744"/>
                  <a:pt x="3203216" y="5649092"/>
                  <a:pt x="3202287" y="5647543"/>
                </a:cubicBezTo>
                <a:close/>
                <a:moveTo>
                  <a:pt x="3276947" y="5645272"/>
                </a:moveTo>
                <a:cubicBezTo>
                  <a:pt x="3278496" y="5649608"/>
                  <a:pt x="3278651" y="5653842"/>
                  <a:pt x="3277256" y="5657662"/>
                </a:cubicBezTo>
                <a:lnTo>
                  <a:pt x="3274778" y="5661792"/>
                </a:lnTo>
                <a:lnTo>
                  <a:pt x="3277102" y="5660450"/>
                </a:lnTo>
                <a:cubicBezTo>
                  <a:pt x="3279890" y="5660141"/>
                  <a:pt x="3282213" y="5662825"/>
                  <a:pt x="3286086" y="5663754"/>
                </a:cubicBezTo>
                <a:cubicBezTo>
                  <a:pt x="3285311" y="5666026"/>
                  <a:pt x="3282987" y="5667162"/>
                  <a:pt x="3280819" y="5667575"/>
                </a:cubicBezTo>
                <a:cubicBezTo>
                  <a:pt x="3278496" y="5667885"/>
                  <a:pt x="3276172" y="5667368"/>
                  <a:pt x="3274933" y="5665923"/>
                </a:cubicBezTo>
                <a:lnTo>
                  <a:pt x="3274313" y="5662515"/>
                </a:lnTo>
                <a:lnTo>
                  <a:pt x="3274159" y="5662825"/>
                </a:lnTo>
                <a:cubicBezTo>
                  <a:pt x="3272609" y="5664477"/>
                  <a:pt x="3270751" y="5665923"/>
                  <a:pt x="3268427" y="5667162"/>
                </a:cubicBezTo>
                <a:cubicBezTo>
                  <a:pt x="3260373" y="5665407"/>
                  <a:pt x="3260373" y="5654358"/>
                  <a:pt x="3259598" y="5648576"/>
                </a:cubicBezTo>
                <a:cubicBezTo>
                  <a:pt x="3266104" y="5645994"/>
                  <a:pt x="3272609" y="5643310"/>
                  <a:pt x="3276947" y="5645272"/>
                </a:cubicBezTo>
                <a:close/>
                <a:moveTo>
                  <a:pt x="3340764" y="5643826"/>
                </a:moveTo>
                <a:cubicBezTo>
                  <a:pt x="3344172" y="5642793"/>
                  <a:pt x="3346805" y="5645375"/>
                  <a:pt x="3350832" y="5644755"/>
                </a:cubicBezTo>
                <a:cubicBezTo>
                  <a:pt x="3352381" y="5647646"/>
                  <a:pt x="3357338" y="5647543"/>
                  <a:pt x="3359197" y="5651467"/>
                </a:cubicBezTo>
                <a:cubicBezTo>
                  <a:pt x="3357957" y="5652189"/>
                  <a:pt x="3356254" y="5652293"/>
                  <a:pt x="3354395" y="5651983"/>
                </a:cubicBezTo>
                <a:cubicBezTo>
                  <a:pt x="3348664" y="5651157"/>
                  <a:pt x="3341693" y="5646511"/>
                  <a:pt x="3340764" y="5643826"/>
                </a:cubicBezTo>
                <a:close/>
                <a:moveTo>
                  <a:pt x="3054826" y="5643826"/>
                </a:moveTo>
                <a:cubicBezTo>
                  <a:pt x="3058853" y="5642587"/>
                  <a:pt x="3062105" y="5646201"/>
                  <a:pt x="3058698" y="5650744"/>
                </a:cubicBezTo>
                <a:cubicBezTo>
                  <a:pt x="3056529" y="5649402"/>
                  <a:pt x="3054361" y="5647956"/>
                  <a:pt x="3054206" y="5645994"/>
                </a:cubicBezTo>
                <a:cubicBezTo>
                  <a:pt x="3054206" y="5645375"/>
                  <a:pt x="3054361" y="5644652"/>
                  <a:pt x="3054826" y="5643826"/>
                </a:cubicBezTo>
                <a:close/>
                <a:moveTo>
                  <a:pt x="3470567" y="5641967"/>
                </a:moveTo>
                <a:cubicBezTo>
                  <a:pt x="3471496" y="5641348"/>
                  <a:pt x="3472581" y="5641245"/>
                  <a:pt x="3474130" y="5641967"/>
                </a:cubicBezTo>
                <a:cubicBezTo>
                  <a:pt x="3478467" y="5644446"/>
                  <a:pt x="3477228" y="5648576"/>
                  <a:pt x="3475214" y="5652809"/>
                </a:cubicBezTo>
                <a:cubicBezTo>
                  <a:pt x="3473355" y="5652396"/>
                  <a:pt x="3471806" y="5652809"/>
                  <a:pt x="3469947" y="5652293"/>
                </a:cubicBezTo>
                <a:cubicBezTo>
                  <a:pt x="3467934" y="5650124"/>
                  <a:pt x="3467934" y="5643722"/>
                  <a:pt x="3470567" y="5641967"/>
                </a:cubicBezTo>
                <a:close/>
                <a:moveTo>
                  <a:pt x="3314587" y="5640522"/>
                </a:moveTo>
                <a:cubicBezTo>
                  <a:pt x="3315826" y="5640522"/>
                  <a:pt x="3317684" y="5639902"/>
                  <a:pt x="3319388" y="5640625"/>
                </a:cubicBezTo>
                <a:cubicBezTo>
                  <a:pt x="3319853" y="5642897"/>
                  <a:pt x="3319078" y="5644032"/>
                  <a:pt x="3317839" y="5644446"/>
                </a:cubicBezTo>
                <a:cubicBezTo>
                  <a:pt x="3316755" y="5644755"/>
                  <a:pt x="3315206" y="5644239"/>
                  <a:pt x="3314587" y="5643207"/>
                </a:cubicBezTo>
                <a:cubicBezTo>
                  <a:pt x="3314122" y="5642484"/>
                  <a:pt x="3313967" y="5641554"/>
                  <a:pt x="3314587" y="5640522"/>
                </a:cubicBezTo>
                <a:close/>
                <a:moveTo>
                  <a:pt x="2962352" y="5640212"/>
                </a:moveTo>
                <a:cubicBezTo>
                  <a:pt x="2960339" y="5644652"/>
                  <a:pt x="2954607" y="5649712"/>
                  <a:pt x="2949806" y="5649195"/>
                </a:cubicBezTo>
                <a:cubicBezTo>
                  <a:pt x="2948257" y="5649092"/>
                  <a:pt x="2946708" y="5648266"/>
                  <a:pt x="2945624" y="5646614"/>
                </a:cubicBezTo>
                <a:cubicBezTo>
                  <a:pt x="2950890" y="5644446"/>
                  <a:pt x="2956466" y="5640625"/>
                  <a:pt x="2962352" y="5640212"/>
                </a:cubicBezTo>
                <a:close/>
                <a:moveTo>
                  <a:pt x="3330541" y="5637940"/>
                </a:moveTo>
                <a:cubicBezTo>
                  <a:pt x="3333794" y="5639076"/>
                  <a:pt x="3335498" y="5641141"/>
                  <a:pt x="3336891" y="5642277"/>
                </a:cubicBezTo>
                <a:cubicBezTo>
                  <a:pt x="3335962" y="5644652"/>
                  <a:pt x="3335807" y="5646511"/>
                  <a:pt x="3334723" y="5648885"/>
                </a:cubicBezTo>
                <a:cubicBezTo>
                  <a:pt x="3332555" y="5650434"/>
                  <a:pt x="3330696" y="5650847"/>
                  <a:pt x="3329302" y="5650434"/>
                </a:cubicBezTo>
                <a:cubicBezTo>
                  <a:pt x="3327753" y="5650021"/>
                  <a:pt x="3326668" y="5648885"/>
                  <a:pt x="3326204" y="5647337"/>
                </a:cubicBezTo>
                <a:cubicBezTo>
                  <a:pt x="3325120" y="5644446"/>
                  <a:pt x="3326204" y="5640109"/>
                  <a:pt x="3330541" y="5637940"/>
                </a:cubicBezTo>
                <a:close/>
                <a:moveTo>
                  <a:pt x="3107180" y="5636288"/>
                </a:moveTo>
                <a:cubicBezTo>
                  <a:pt x="3108419" y="5636598"/>
                  <a:pt x="3108265" y="5636598"/>
                  <a:pt x="3109814" y="5638766"/>
                </a:cubicBezTo>
                <a:cubicBezTo>
                  <a:pt x="3108574" y="5638456"/>
                  <a:pt x="3108574" y="5638456"/>
                  <a:pt x="3108419" y="5639592"/>
                </a:cubicBezTo>
                <a:cubicBezTo>
                  <a:pt x="3108419" y="5639592"/>
                  <a:pt x="3108574" y="5639592"/>
                  <a:pt x="3109039" y="5640315"/>
                </a:cubicBezTo>
                <a:cubicBezTo>
                  <a:pt x="3108265" y="5640728"/>
                  <a:pt x="3107800" y="5640006"/>
                  <a:pt x="3107180" y="5640522"/>
                </a:cubicBezTo>
                <a:cubicBezTo>
                  <a:pt x="3107180" y="5640522"/>
                  <a:pt x="3106716" y="5639799"/>
                  <a:pt x="3106716" y="5639799"/>
                </a:cubicBezTo>
                <a:cubicBezTo>
                  <a:pt x="3106406" y="5640006"/>
                  <a:pt x="3106406" y="5640006"/>
                  <a:pt x="3106406" y="5639696"/>
                </a:cubicBezTo>
                <a:cubicBezTo>
                  <a:pt x="3106561" y="5639386"/>
                  <a:pt x="3106561" y="5638870"/>
                  <a:pt x="3106406" y="5637940"/>
                </a:cubicBezTo>
                <a:cubicBezTo>
                  <a:pt x="3106561" y="5636701"/>
                  <a:pt x="3106096" y="5635978"/>
                  <a:pt x="3107180" y="5636288"/>
                </a:cubicBezTo>
                <a:close/>
                <a:moveTo>
                  <a:pt x="3524471" y="5635772"/>
                </a:moveTo>
                <a:cubicBezTo>
                  <a:pt x="3527414" y="5651880"/>
                  <a:pt x="3541355" y="5637734"/>
                  <a:pt x="3544298" y="5650124"/>
                </a:cubicBezTo>
                <a:cubicBezTo>
                  <a:pt x="3543214" y="5655184"/>
                  <a:pt x="3543833" y="5660966"/>
                  <a:pt x="3540735" y="5665923"/>
                </a:cubicBezTo>
                <a:cubicBezTo>
                  <a:pt x="3539806" y="5667575"/>
                  <a:pt x="3538412" y="5669123"/>
                  <a:pt x="3536398" y="5670466"/>
                </a:cubicBezTo>
                <a:cubicBezTo>
                  <a:pt x="3533145" y="5664374"/>
                  <a:pt x="3529428" y="5660037"/>
                  <a:pt x="3525555" y="5655907"/>
                </a:cubicBezTo>
                <a:lnTo>
                  <a:pt x="3524316" y="5654771"/>
                </a:lnTo>
                <a:lnTo>
                  <a:pt x="3524316" y="5655804"/>
                </a:lnTo>
                <a:cubicBezTo>
                  <a:pt x="3522303" y="5656940"/>
                  <a:pt x="3519669" y="5659831"/>
                  <a:pt x="3516106" y="5660450"/>
                </a:cubicBezTo>
                <a:cubicBezTo>
                  <a:pt x="3508982" y="5656423"/>
                  <a:pt x="3507587" y="5650538"/>
                  <a:pt x="3509756" y="5644032"/>
                </a:cubicBezTo>
                <a:lnTo>
                  <a:pt x="3514093" y="5643207"/>
                </a:lnTo>
                <a:lnTo>
                  <a:pt x="3517036" y="5639592"/>
                </a:lnTo>
                <a:cubicBezTo>
                  <a:pt x="3518740" y="5638250"/>
                  <a:pt x="3521218" y="5637011"/>
                  <a:pt x="3524471" y="5635772"/>
                </a:cubicBezTo>
                <a:close/>
                <a:moveTo>
                  <a:pt x="2827902" y="5635669"/>
                </a:moveTo>
                <a:cubicBezTo>
                  <a:pt x="2829761" y="5636391"/>
                  <a:pt x="2830690" y="5637217"/>
                  <a:pt x="2832394" y="5637940"/>
                </a:cubicBezTo>
                <a:cubicBezTo>
                  <a:pt x="2832859" y="5640522"/>
                  <a:pt x="2835647" y="5643000"/>
                  <a:pt x="2833014" y="5648369"/>
                </a:cubicBezTo>
                <a:cubicBezTo>
                  <a:pt x="2829606" y="5653842"/>
                  <a:pt x="2824030" y="5649815"/>
                  <a:pt x="2824185" y="5650641"/>
                </a:cubicBezTo>
                <a:cubicBezTo>
                  <a:pt x="2823411" y="5651570"/>
                  <a:pt x="2823411" y="5651570"/>
                  <a:pt x="2823565" y="5652499"/>
                </a:cubicBezTo>
                <a:cubicBezTo>
                  <a:pt x="2822636" y="5652499"/>
                  <a:pt x="2821087" y="5653429"/>
                  <a:pt x="2820467" y="5654358"/>
                </a:cubicBezTo>
                <a:cubicBezTo>
                  <a:pt x="2820312" y="5653429"/>
                  <a:pt x="2820157" y="5652603"/>
                  <a:pt x="2819383" y="5652706"/>
                </a:cubicBezTo>
                <a:cubicBezTo>
                  <a:pt x="2820777" y="5650847"/>
                  <a:pt x="2821552" y="5650847"/>
                  <a:pt x="2822326" y="5649918"/>
                </a:cubicBezTo>
                <a:cubicBezTo>
                  <a:pt x="2821552" y="5649918"/>
                  <a:pt x="2822171" y="5649092"/>
                  <a:pt x="2822171" y="5649092"/>
                </a:cubicBezTo>
                <a:cubicBezTo>
                  <a:pt x="2822171" y="5649092"/>
                  <a:pt x="2822171" y="5648989"/>
                  <a:pt x="2820312" y="5647337"/>
                </a:cubicBezTo>
                <a:cubicBezTo>
                  <a:pt x="2820312" y="5647337"/>
                  <a:pt x="2816285" y="5643207"/>
                  <a:pt x="2819073" y="5638766"/>
                </a:cubicBezTo>
                <a:cubicBezTo>
                  <a:pt x="2820003" y="5639592"/>
                  <a:pt x="2824340" y="5634120"/>
                  <a:pt x="2827902" y="5635669"/>
                </a:cubicBezTo>
                <a:close/>
                <a:moveTo>
                  <a:pt x="3176884" y="5634430"/>
                </a:moveTo>
                <a:lnTo>
                  <a:pt x="3177503" y="5636391"/>
                </a:lnTo>
                <a:lnTo>
                  <a:pt x="3177968" y="5635875"/>
                </a:lnTo>
                <a:cubicBezTo>
                  <a:pt x="3179207" y="5634843"/>
                  <a:pt x="3180446" y="5634223"/>
                  <a:pt x="3182150" y="5634740"/>
                </a:cubicBezTo>
                <a:cubicBezTo>
                  <a:pt x="3181376" y="5635359"/>
                  <a:pt x="3180446" y="5636288"/>
                  <a:pt x="3179362" y="5637217"/>
                </a:cubicBezTo>
                <a:lnTo>
                  <a:pt x="3178123" y="5638147"/>
                </a:lnTo>
                <a:lnTo>
                  <a:pt x="3178897" y="5640522"/>
                </a:lnTo>
                <a:cubicBezTo>
                  <a:pt x="3178742" y="5642587"/>
                  <a:pt x="3177813" y="5644652"/>
                  <a:pt x="3175799" y="5646614"/>
                </a:cubicBezTo>
                <a:cubicBezTo>
                  <a:pt x="3171617" y="5647130"/>
                  <a:pt x="3169913" y="5641761"/>
                  <a:pt x="3168829" y="5639076"/>
                </a:cubicBezTo>
                <a:cubicBezTo>
                  <a:pt x="3171617" y="5636701"/>
                  <a:pt x="3174406" y="5634223"/>
                  <a:pt x="3176884" y="5634430"/>
                </a:cubicBezTo>
                <a:close/>
                <a:moveTo>
                  <a:pt x="3272455" y="5633294"/>
                </a:moveTo>
                <a:cubicBezTo>
                  <a:pt x="3274159" y="5634017"/>
                  <a:pt x="3274778" y="5643207"/>
                  <a:pt x="3270751" y="5642484"/>
                </a:cubicBezTo>
                <a:cubicBezTo>
                  <a:pt x="3269976" y="5642174"/>
                  <a:pt x="3269512" y="5641451"/>
                  <a:pt x="3269357" y="5640522"/>
                </a:cubicBezTo>
                <a:cubicBezTo>
                  <a:pt x="3268892" y="5637940"/>
                  <a:pt x="3271061" y="5633707"/>
                  <a:pt x="3272455" y="5633294"/>
                </a:cubicBezTo>
                <a:close/>
                <a:moveTo>
                  <a:pt x="3029422" y="5632984"/>
                </a:moveTo>
                <a:cubicBezTo>
                  <a:pt x="3032056" y="5637631"/>
                  <a:pt x="3028183" y="5643000"/>
                  <a:pt x="3024001" y="5643722"/>
                </a:cubicBezTo>
                <a:cubicBezTo>
                  <a:pt x="3022452" y="5644032"/>
                  <a:pt x="3021058" y="5643826"/>
                  <a:pt x="3019819" y="5642897"/>
                </a:cubicBezTo>
                <a:cubicBezTo>
                  <a:pt x="3016101" y="5636701"/>
                  <a:pt x="3024311" y="5631022"/>
                  <a:pt x="3029422" y="5632984"/>
                </a:cubicBezTo>
                <a:close/>
                <a:moveTo>
                  <a:pt x="3559632" y="5631951"/>
                </a:moveTo>
                <a:cubicBezTo>
                  <a:pt x="3564125" y="5641245"/>
                  <a:pt x="3558083" y="5643619"/>
                  <a:pt x="3560562" y="5648885"/>
                </a:cubicBezTo>
                <a:cubicBezTo>
                  <a:pt x="3558703" y="5648782"/>
                  <a:pt x="3558703" y="5648782"/>
                  <a:pt x="3557464" y="5647130"/>
                </a:cubicBezTo>
                <a:cubicBezTo>
                  <a:pt x="3557774" y="5646304"/>
                  <a:pt x="3556999" y="5645891"/>
                  <a:pt x="3558238" y="5645581"/>
                </a:cubicBezTo>
                <a:cubicBezTo>
                  <a:pt x="3556535" y="5642690"/>
                  <a:pt x="3557464" y="5634533"/>
                  <a:pt x="3559632" y="5631951"/>
                </a:cubicBezTo>
                <a:close/>
                <a:moveTo>
                  <a:pt x="3555140" y="5631539"/>
                </a:moveTo>
                <a:cubicBezTo>
                  <a:pt x="3555915" y="5631951"/>
                  <a:pt x="3555915" y="5631951"/>
                  <a:pt x="3555915" y="5631951"/>
                </a:cubicBezTo>
                <a:cubicBezTo>
                  <a:pt x="3554366" y="5633913"/>
                  <a:pt x="3554985" y="5637734"/>
                  <a:pt x="3554056" y="5640831"/>
                </a:cubicBezTo>
                <a:cubicBezTo>
                  <a:pt x="3553746" y="5641761"/>
                  <a:pt x="3553282" y="5642793"/>
                  <a:pt x="3552352" y="5643516"/>
                </a:cubicBezTo>
                <a:cubicBezTo>
                  <a:pt x="3552352" y="5643516"/>
                  <a:pt x="3552507" y="5643516"/>
                  <a:pt x="3552817" y="5642690"/>
                </a:cubicBezTo>
                <a:cubicBezTo>
                  <a:pt x="3552817" y="5642690"/>
                  <a:pt x="3552507" y="5643516"/>
                  <a:pt x="3551733" y="5643103"/>
                </a:cubicBezTo>
                <a:cubicBezTo>
                  <a:pt x="3551268" y="5637940"/>
                  <a:pt x="3554831" y="5632261"/>
                  <a:pt x="3555140" y="5631539"/>
                </a:cubicBezTo>
                <a:close/>
                <a:moveTo>
                  <a:pt x="2995965" y="5629370"/>
                </a:moveTo>
                <a:cubicBezTo>
                  <a:pt x="2997049" y="5629680"/>
                  <a:pt x="2997979" y="5630609"/>
                  <a:pt x="2998443" y="5632261"/>
                </a:cubicBezTo>
                <a:cubicBezTo>
                  <a:pt x="2999837" y="5637011"/>
                  <a:pt x="2996120" y="5638560"/>
                  <a:pt x="2991628" y="5639489"/>
                </a:cubicBezTo>
                <a:cubicBezTo>
                  <a:pt x="2990544" y="5637837"/>
                  <a:pt x="2988994" y="5636908"/>
                  <a:pt x="2987910" y="5635152"/>
                </a:cubicBezTo>
                <a:cubicBezTo>
                  <a:pt x="2988065" y="5632261"/>
                  <a:pt x="2992712" y="5628338"/>
                  <a:pt x="2995965" y="5629370"/>
                </a:cubicBezTo>
                <a:close/>
                <a:moveTo>
                  <a:pt x="2899619" y="5626892"/>
                </a:moveTo>
                <a:cubicBezTo>
                  <a:pt x="2899774" y="5627821"/>
                  <a:pt x="2899310" y="5630506"/>
                  <a:pt x="2900084" y="5630403"/>
                </a:cubicBezTo>
                <a:cubicBezTo>
                  <a:pt x="2898535" y="5632468"/>
                  <a:pt x="2896522" y="5634636"/>
                  <a:pt x="2894353" y="5634843"/>
                </a:cubicBezTo>
                <a:cubicBezTo>
                  <a:pt x="2893733" y="5634946"/>
                  <a:pt x="2892959" y="5634843"/>
                  <a:pt x="2892339" y="5634430"/>
                </a:cubicBezTo>
                <a:cubicBezTo>
                  <a:pt x="2890480" y="5633604"/>
                  <a:pt x="2891100" y="5631848"/>
                  <a:pt x="2892494" y="5629989"/>
                </a:cubicBezTo>
                <a:cubicBezTo>
                  <a:pt x="2894353" y="5625446"/>
                  <a:pt x="2896831" y="5624414"/>
                  <a:pt x="2899619" y="5626892"/>
                </a:cubicBezTo>
                <a:close/>
                <a:moveTo>
                  <a:pt x="2809624" y="5626376"/>
                </a:moveTo>
                <a:cubicBezTo>
                  <a:pt x="2813187" y="5625446"/>
                  <a:pt x="2813652" y="5627821"/>
                  <a:pt x="2815510" y="5631125"/>
                </a:cubicBezTo>
                <a:cubicBezTo>
                  <a:pt x="2814271" y="5631435"/>
                  <a:pt x="2814891" y="5635049"/>
                  <a:pt x="2815046" y="5636288"/>
                </a:cubicBezTo>
                <a:cubicBezTo>
                  <a:pt x="2812722" y="5636908"/>
                  <a:pt x="2812878" y="5641245"/>
                  <a:pt x="2809315" y="5642174"/>
                </a:cubicBezTo>
                <a:cubicBezTo>
                  <a:pt x="2807920" y="5641348"/>
                  <a:pt x="2807146" y="5640935"/>
                  <a:pt x="2806372" y="5639283"/>
                </a:cubicBezTo>
                <a:cubicBezTo>
                  <a:pt x="2805287" y="5630093"/>
                  <a:pt x="2809934" y="5627511"/>
                  <a:pt x="2809624" y="5626376"/>
                </a:cubicBezTo>
                <a:close/>
                <a:moveTo>
                  <a:pt x="3204300" y="5626169"/>
                </a:moveTo>
                <a:cubicBezTo>
                  <a:pt x="3208328" y="5625859"/>
                  <a:pt x="3210806" y="5627098"/>
                  <a:pt x="3212200" y="5629060"/>
                </a:cubicBezTo>
                <a:cubicBezTo>
                  <a:pt x="3216073" y="5634843"/>
                  <a:pt x="3209567" y="5647337"/>
                  <a:pt x="3200273" y="5646511"/>
                </a:cubicBezTo>
                <a:cubicBezTo>
                  <a:pt x="3199034" y="5645168"/>
                  <a:pt x="3198259" y="5643516"/>
                  <a:pt x="3197950" y="5641657"/>
                </a:cubicBezTo>
                <a:cubicBezTo>
                  <a:pt x="3197640" y="5638973"/>
                  <a:pt x="3198414" y="5635875"/>
                  <a:pt x="3199653" y="5633087"/>
                </a:cubicBezTo>
                <a:lnTo>
                  <a:pt x="3200738" y="5631539"/>
                </a:lnTo>
                <a:lnTo>
                  <a:pt x="3200893" y="5630919"/>
                </a:lnTo>
                <a:lnTo>
                  <a:pt x="3201822" y="5629989"/>
                </a:lnTo>
                <a:close/>
                <a:moveTo>
                  <a:pt x="3140018" y="5626066"/>
                </a:moveTo>
                <a:cubicBezTo>
                  <a:pt x="3141567" y="5627821"/>
                  <a:pt x="3140638" y="5629577"/>
                  <a:pt x="3139708" y="5630506"/>
                </a:cubicBezTo>
                <a:cubicBezTo>
                  <a:pt x="3139089" y="5631745"/>
                  <a:pt x="3138005" y="5632364"/>
                  <a:pt x="3136611" y="5632571"/>
                </a:cubicBezTo>
                <a:cubicBezTo>
                  <a:pt x="3135372" y="5632778"/>
                  <a:pt x="3133977" y="5632571"/>
                  <a:pt x="3132738" y="5632158"/>
                </a:cubicBezTo>
                <a:cubicBezTo>
                  <a:pt x="3133513" y="5632158"/>
                  <a:pt x="3133513" y="5632158"/>
                  <a:pt x="3133513" y="5632158"/>
                </a:cubicBezTo>
                <a:cubicBezTo>
                  <a:pt x="3134442" y="5631332"/>
                  <a:pt x="3133668" y="5631332"/>
                  <a:pt x="3133823" y="5630403"/>
                </a:cubicBezTo>
                <a:cubicBezTo>
                  <a:pt x="3133823" y="5630403"/>
                  <a:pt x="3133668" y="5631229"/>
                  <a:pt x="3132893" y="5630299"/>
                </a:cubicBezTo>
                <a:cubicBezTo>
                  <a:pt x="3133823" y="5630403"/>
                  <a:pt x="3133823" y="5629473"/>
                  <a:pt x="3133823" y="5628647"/>
                </a:cubicBezTo>
                <a:cubicBezTo>
                  <a:pt x="3135681" y="5626892"/>
                  <a:pt x="3138469" y="5625137"/>
                  <a:pt x="3140018" y="5626066"/>
                </a:cubicBezTo>
                <a:close/>
                <a:moveTo>
                  <a:pt x="3688622" y="5625356"/>
                </a:moveTo>
                <a:cubicBezTo>
                  <a:pt x="3691140" y="5626040"/>
                  <a:pt x="3693308" y="5627925"/>
                  <a:pt x="3695476" y="5630712"/>
                </a:cubicBezTo>
                <a:cubicBezTo>
                  <a:pt x="3693928" y="5634017"/>
                  <a:pt x="3689590" y="5637114"/>
                  <a:pt x="3685563" y="5637527"/>
                </a:cubicBezTo>
                <a:cubicBezTo>
                  <a:pt x="3684324" y="5637734"/>
                  <a:pt x="3682930" y="5637631"/>
                  <a:pt x="3681846" y="5637217"/>
                </a:cubicBezTo>
                <a:cubicBezTo>
                  <a:pt x="3679057" y="5632261"/>
                  <a:pt x="3681846" y="5629989"/>
                  <a:pt x="3679677" y="5627202"/>
                </a:cubicBezTo>
                <a:cubicBezTo>
                  <a:pt x="3683240" y="5625188"/>
                  <a:pt x="3686105" y="5624672"/>
                  <a:pt x="3688622" y="5625356"/>
                </a:cubicBezTo>
                <a:close/>
                <a:moveTo>
                  <a:pt x="3558703" y="5623794"/>
                </a:moveTo>
                <a:cubicBezTo>
                  <a:pt x="3559168" y="5625033"/>
                  <a:pt x="3559168" y="5626995"/>
                  <a:pt x="3559632" y="5628234"/>
                </a:cubicBezTo>
                <a:cubicBezTo>
                  <a:pt x="3559632" y="5628234"/>
                  <a:pt x="3559632" y="5628234"/>
                  <a:pt x="3558548" y="5628544"/>
                </a:cubicBezTo>
                <a:cubicBezTo>
                  <a:pt x="3559168" y="5626995"/>
                  <a:pt x="3556535" y="5624517"/>
                  <a:pt x="3558703" y="5623794"/>
                </a:cubicBezTo>
                <a:close/>
                <a:moveTo>
                  <a:pt x="3255261" y="5623484"/>
                </a:moveTo>
                <a:cubicBezTo>
                  <a:pt x="3259908" y="5621316"/>
                  <a:pt x="3264400" y="5625963"/>
                  <a:pt x="3264710" y="5630506"/>
                </a:cubicBezTo>
                <a:cubicBezTo>
                  <a:pt x="3264710" y="5632055"/>
                  <a:pt x="3264400" y="5633604"/>
                  <a:pt x="3263316" y="5634843"/>
                </a:cubicBezTo>
                <a:cubicBezTo>
                  <a:pt x="3261767" y="5635565"/>
                  <a:pt x="3260373" y="5635462"/>
                  <a:pt x="3258979" y="5634946"/>
                </a:cubicBezTo>
                <a:lnTo>
                  <a:pt x="3257585" y="5633604"/>
                </a:lnTo>
                <a:lnTo>
                  <a:pt x="3255726" y="5634946"/>
                </a:lnTo>
                <a:cubicBezTo>
                  <a:pt x="3254332" y="5635565"/>
                  <a:pt x="3252783" y="5636185"/>
                  <a:pt x="3251389" y="5637527"/>
                </a:cubicBezTo>
                <a:cubicBezTo>
                  <a:pt x="3249840" y="5636185"/>
                  <a:pt x="3248910" y="5635255"/>
                  <a:pt x="3248601" y="5634223"/>
                </a:cubicBezTo>
                <a:cubicBezTo>
                  <a:pt x="3248291" y="5633087"/>
                  <a:pt x="3248601" y="5631745"/>
                  <a:pt x="3249685" y="5629680"/>
                </a:cubicBezTo>
                <a:cubicBezTo>
                  <a:pt x="3249685" y="5629680"/>
                  <a:pt x="3250459" y="5628750"/>
                  <a:pt x="3250459" y="5628750"/>
                </a:cubicBezTo>
                <a:lnTo>
                  <a:pt x="3254952" y="5625653"/>
                </a:lnTo>
                <a:close/>
                <a:moveTo>
                  <a:pt x="3089367" y="5623484"/>
                </a:moveTo>
                <a:cubicBezTo>
                  <a:pt x="3090761" y="5626169"/>
                  <a:pt x="3091381" y="5627098"/>
                  <a:pt x="3090297" y="5629783"/>
                </a:cubicBezTo>
                <a:cubicBezTo>
                  <a:pt x="3089522" y="5628854"/>
                  <a:pt x="3089058" y="5627924"/>
                  <a:pt x="3088903" y="5626892"/>
                </a:cubicBezTo>
                <a:cubicBezTo>
                  <a:pt x="3088593" y="5625859"/>
                  <a:pt x="3088748" y="5624827"/>
                  <a:pt x="3089367" y="5623484"/>
                </a:cubicBezTo>
                <a:close/>
                <a:moveTo>
                  <a:pt x="2908139" y="5622761"/>
                </a:moveTo>
                <a:cubicBezTo>
                  <a:pt x="2908293" y="5623691"/>
                  <a:pt x="2909378" y="5625446"/>
                  <a:pt x="2908603" y="5625550"/>
                </a:cubicBezTo>
                <a:cubicBezTo>
                  <a:pt x="2908758" y="5626376"/>
                  <a:pt x="2907054" y="5626582"/>
                  <a:pt x="2907054" y="5626582"/>
                </a:cubicBezTo>
                <a:cubicBezTo>
                  <a:pt x="2907209" y="5627408"/>
                  <a:pt x="2907364" y="5628338"/>
                  <a:pt x="2906744" y="5629267"/>
                </a:cubicBezTo>
                <a:cubicBezTo>
                  <a:pt x="2905815" y="5628441"/>
                  <a:pt x="2905970" y="5629370"/>
                  <a:pt x="2905041" y="5629370"/>
                </a:cubicBezTo>
                <a:cubicBezTo>
                  <a:pt x="2905815" y="5628441"/>
                  <a:pt x="2905350" y="5625653"/>
                  <a:pt x="2905970" y="5623794"/>
                </a:cubicBezTo>
                <a:cubicBezTo>
                  <a:pt x="2906744" y="5623794"/>
                  <a:pt x="2907364" y="5622865"/>
                  <a:pt x="2908139" y="5622761"/>
                </a:cubicBezTo>
                <a:close/>
                <a:moveTo>
                  <a:pt x="3277256" y="5621006"/>
                </a:moveTo>
                <a:cubicBezTo>
                  <a:pt x="3279270" y="5623794"/>
                  <a:pt x="3280664" y="5625653"/>
                  <a:pt x="3281129" y="5627511"/>
                </a:cubicBezTo>
                <a:cubicBezTo>
                  <a:pt x="3280199" y="5628750"/>
                  <a:pt x="3278960" y="5629163"/>
                  <a:pt x="3277721" y="5628957"/>
                </a:cubicBezTo>
                <a:cubicBezTo>
                  <a:pt x="3276637" y="5628854"/>
                  <a:pt x="3275553" y="5628131"/>
                  <a:pt x="3274933" y="5627202"/>
                </a:cubicBezTo>
                <a:cubicBezTo>
                  <a:pt x="3273539" y="5625240"/>
                  <a:pt x="3273539" y="5622452"/>
                  <a:pt x="3277256" y="5621006"/>
                </a:cubicBezTo>
                <a:close/>
                <a:moveTo>
                  <a:pt x="3502631" y="5620696"/>
                </a:moveTo>
                <a:lnTo>
                  <a:pt x="3503405" y="5621110"/>
                </a:lnTo>
                <a:cubicBezTo>
                  <a:pt x="3503715" y="5621522"/>
                  <a:pt x="3503560" y="5622245"/>
                  <a:pt x="3503250" y="5623072"/>
                </a:cubicBezTo>
                <a:cubicBezTo>
                  <a:pt x="3502321" y="5625756"/>
                  <a:pt x="3499533" y="5629577"/>
                  <a:pt x="3499223" y="5630196"/>
                </a:cubicBezTo>
                <a:cubicBezTo>
                  <a:pt x="3499223" y="5630196"/>
                  <a:pt x="3498758" y="5630919"/>
                  <a:pt x="3498448" y="5631745"/>
                </a:cubicBezTo>
                <a:cubicBezTo>
                  <a:pt x="3497364" y="5632055"/>
                  <a:pt x="3496590" y="5631539"/>
                  <a:pt x="3496280" y="5632364"/>
                </a:cubicBezTo>
                <a:cubicBezTo>
                  <a:pt x="3495041" y="5628750"/>
                  <a:pt x="3496900" y="5626995"/>
                  <a:pt x="3498603" y="5625137"/>
                </a:cubicBezTo>
                <a:cubicBezTo>
                  <a:pt x="3500152" y="5624001"/>
                  <a:pt x="3500462" y="5623278"/>
                  <a:pt x="3500462" y="5621419"/>
                </a:cubicBezTo>
                <a:cubicBezTo>
                  <a:pt x="3500462" y="5621419"/>
                  <a:pt x="3500462" y="5621419"/>
                  <a:pt x="3502631" y="5620696"/>
                </a:cubicBezTo>
                <a:close/>
                <a:moveTo>
                  <a:pt x="2672231" y="5618838"/>
                </a:moveTo>
                <a:cubicBezTo>
                  <a:pt x="2677963" y="5624207"/>
                  <a:pt x="2677343" y="5629163"/>
                  <a:pt x="2673316" y="5635359"/>
                </a:cubicBezTo>
                <a:cubicBezTo>
                  <a:pt x="2668669" y="5634946"/>
                  <a:pt x="2662938" y="5629577"/>
                  <a:pt x="2663557" y="5624723"/>
                </a:cubicBezTo>
                <a:cubicBezTo>
                  <a:pt x="2667275" y="5620077"/>
                  <a:pt x="2670218" y="5621936"/>
                  <a:pt x="2672231" y="5618838"/>
                </a:cubicBezTo>
                <a:close/>
                <a:moveTo>
                  <a:pt x="2904266" y="5616256"/>
                </a:moveTo>
                <a:cubicBezTo>
                  <a:pt x="2904266" y="5616256"/>
                  <a:pt x="2903492" y="5618115"/>
                  <a:pt x="2903492" y="5618115"/>
                </a:cubicBezTo>
                <a:cubicBezTo>
                  <a:pt x="2902098" y="5619871"/>
                  <a:pt x="2901323" y="5620800"/>
                  <a:pt x="2900703" y="5622555"/>
                </a:cubicBezTo>
                <a:cubicBezTo>
                  <a:pt x="2898845" y="5621832"/>
                  <a:pt x="2898690" y="5621006"/>
                  <a:pt x="2899465" y="5620077"/>
                </a:cubicBezTo>
                <a:cubicBezTo>
                  <a:pt x="2899465" y="5620077"/>
                  <a:pt x="2900239" y="5619148"/>
                  <a:pt x="2901013" y="5618218"/>
                </a:cubicBezTo>
                <a:cubicBezTo>
                  <a:pt x="2901633" y="5617289"/>
                  <a:pt x="2901633" y="5616360"/>
                  <a:pt x="2901633" y="5616360"/>
                </a:cubicBezTo>
                <a:cubicBezTo>
                  <a:pt x="2902407" y="5615534"/>
                  <a:pt x="2903182" y="5615430"/>
                  <a:pt x="2904266" y="5616256"/>
                </a:cubicBezTo>
                <a:close/>
                <a:moveTo>
                  <a:pt x="2996120" y="5615740"/>
                </a:moveTo>
                <a:cubicBezTo>
                  <a:pt x="2997669" y="5617702"/>
                  <a:pt x="2998443" y="5619354"/>
                  <a:pt x="2999527" y="5622142"/>
                </a:cubicBezTo>
                <a:cubicBezTo>
                  <a:pt x="2999527" y="5622142"/>
                  <a:pt x="3000302" y="5626892"/>
                  <a:pt x="2997514" y="5628234"/>
                </a:cubicBezTo>
                <a:cubicBezTo>
                  <a:pt x="2997049" y="5629060"/>
                  <a:pt x="2994261" y="5627305"/>
                  <a:pt x="2994106" y="5626169"/>
                </a:cubicBezTo>
                <a:cubicBezTo>
                  <a:pt x="2993641" y="5623794"/>
                  <a:pt x="2993486" y="5622658"/>
                  <a:pt x="2994571" y="5621110"/>
                </a:cubicBezTo>
                <a:cubicBezTo>
                  <a:pt x="2994261" y="5619974"/>
                  <a:pt x="2994106" y="5618735"/>
                  <a:pt x="2994261" y="5617806"/>
                </a:cubicBezTo>
                <a:cubicBezTo>
                  <a:pt x="2994416" y="5616773"/>
                  <a:pt x="2994881" y="5616050"/>
                  <a:pt x="2996120" y="5615740"/>
                </a:cubicBezTo>
                <a:close/>
                <a:moveTo>
                  <a:pt x="2833014" y="5612539"/>
                </a:moveTo>
                <a:cubicBezTo>
                  <a:pt x="2835647" y="5615637"/>
                  <a:pt x="2833788" y="5620593"/>
                  <a:pt x="2828522" y="5619871"/>
                </a:cubicBezTo>
                <a:cubicBezTo>
                  <a:pt x="2828987" y="5616153"/>
                  <a:pt x="2829451" y="5612436"/>
                  <a:pt x="2833014" y="5612539"/>
                </a:cubicBezTo>
                <a:close/>
                <a:moveTo>
                  <a:pt x="2869879" y="5612229"/>
                </a:moveTo>
                <a:cubicBezTo>
                  <a:pt x="2869260" y="5613159"/>
                  <a:pt x="2867556" y="5614088"/>
                  <a:pt x="2866936" y="5615017"/>
                </a:cubicBezTo>
                <a:cubicBezTo>
                  <a:pt x="2866936" y="5615017"/>
                  <a:pt x="2866936" y="5615017"/>
                  <a:pt x="2866007" y="5614191"/>
                </a:cubicBezTo>
                <a:cubicBezTo>
                  <a:pt x="2867556" y="5614088"/>
                  <a:pt x="2868021" y="5610577"/>
                  <a:pt x="2869879" y="5612229"/>
                </a:cubicBezTo>
                <a:close/>
                <a:moveTo>
                  <a:pt x="3305777" y="5610810"/>
                </a:moveTo>
                <a:cubicBezTo>
                  <a:pt x="3307345" y="5610061"/>
                  <a:pt x="3309010" y="5610681"/>
                  <a:pt x="3308700" y="5615017"/>
                </a:cubicBezTo>
                <a:cubicBezTo>
                  <a:pt x="3307152" y="5615430"/>
                  <a:pt x="3305912" y="5615534"/>
                  <a:pt x="3305138" y="5615534"/>
                </a:cubicBezTo>
                <a:cubicBezTo>
                  <a:pt x="3304363" y="5615430"/>
                  <a:pt x="3303744" y="5615121"/>
                  <a:pt x="3303434" y="5614811"/>
                </a:cubicBezTo>
                <a:cubicBezTo>
                  <a:pt x="3302737" y="5613675"/>
                  <a:pt x="3304208" y="5611558"/>
                  <a:pt x="3305777" y="5610810"/>
                </a:cubicBezTo>
                <a:close/>
                <a:moveTo>
                  <a:pt x="3226141" y="5609648"/>
                </a:moveTo>
                <a:cubicBezTo>
                  <a:pt x="3235744" y="5610784"/>
                  <a:pt x="3237293" y="5619251"/>
                  <a:pt x="3238997" y="5620283"/>
                </a:cubicBezTo>
                <a:cubicBezTo>
                  <a:pt x="3238532" y="5622968"/>
                  <a:pt x="3238532" y="5623588"/>
                  <a:pt x="3235744" y="5623278"/>
                </a:cubicBezTo>
                <a:cubicBezTo>
                  <a:pt x="3234815" y="5623175"/>
                  <a:pt x="3233576" y="5623072"/>
                  <a:pt x="3232027" y="5622761"/>
                </a:cubicBezTo>
                <a:cubicBezTo>
                  <a:pt x="3230787" y="5622452"/>
                  <a:pt x="3229703" y="5621936"/>
                  <a:pt x="3228774" y="5621006"/>
                </a:cubicBezTo>
                <a:cubicBezTo>
                  <a:pt x="3227844" y="5620180"/>
                  <a:pt x="3227070" y="5619044"/>
                  <a:pt x="3226760" y="5617806"/>
                </a:cubicBezTo>
                <a:cubicBezTo>
                  <a:pt x="3225056" y="5616773"/>
                  <a:pt x="3223663" y="5614501"/>
                  <a:pt x="3223353" y="5612539"/>
                </a:cubicBezTo>
                <a:cubicBezTo>
                  <a:pt x="3223663" y="5610164"/>
                  <a:pt x="3225056" y="5609339"/>
                  <a:pt x="3226141" y="5609648"/>
                </a:cubicBezTo>
                <a:close/>
                <a:moveTo>
                  <a:pt x="2974899" y="5608512"/>
                </a:moveTo>
                <a:cubicBezTo>
                  <a:pt x="2976138" y="5608203"/>
                  <a:pt x="2979081" y="5607996"/>
                  <a:pt x="2980011" y="5610784"/>
                </a:cubicBezTo>
                <a:cubicBezTo>
                  <a:pt x="2981095" y="5613675"/>
                  <a:pt x="2983573" y="5614088"/>
                  <a:pt x="2984658" y="5616876"/>
                </a:cubicBezTo>
                <a:cubicBezTo>
                  <a:pt x="2984658" y="5616876"/>
                  <a:pt x="2984658" y="5616979"/>
                  <a:pt x="2983418" y="5617289"/>
                </a:cubicBezTo>
                <a:cubicBezTo>
                  <a:pt x="2981095" y="5613572"/>
                  <a:pt x="2976758" y="5612952"/>
                  <a:pt x="2974899" y="5608512"/>
                </a:cubicBezTo>
                <a:close/>
                <a:moveTo>
                  <a:pt x="3628251" y="5607893"/>
                </a:moveTo>
                <a:cubicBezTo>
                  <a:pt x="3630420" y="5607273"/>
                  <a:pt x="3633828" y="5606344"/>
                  <a:pt x="3635377" y="5609132"/>
                </a:cubicBezTo>
                <a:cubicBezTo>
                  <a:pt x="3635067" y="5609854"/>
                  <a:pt x="3635841" y="5610268"/>
                  <a:pt x="3635532" y="5611094"/>
                </a:cubicBezTo>
                <a:cubicBezTo>
                  <a:pt x="3635532" y="5611094"/>
                  <a:pt x="3635532" y="5612023"/>
                  <a:pt x="3635067" y="5613159"/>
                </a:cubicBezTo>
                <a:cubicBezTo>
                  <a:pt x="3634602" y="5614398"/>
                  <a:pt x="3633828" y="5615740"/>
                  <a:pt x="3631969" y="5616566"/>
                </a:cubicBezTo>
                <a:cubicBezTo>
                  <a:pt x="3631350" y="5616773"/>
                  <a:pt x="3630420" y="5616876"/>
                  <a:pt x="3629491" y="5616876"/>
                </a:cubicBezTo>
                <a:cubicBezTo>
                  <a:pt x="3628716" y="5616876"/>
                  <a:pt x="3627942" y="5616670"/>
                  <a:pt x="3628096" y="5616360"/>
                </a:cubicBezTo>
                <a:cubicBezTo>
                  <a:pt x="3627787" y="5615121"/>
                  <a:pt x="3627477" y="5615947"/>
                  <a:pt x="3626703" y="5615534"/>
                </a:cubicBezTo>
                <a:cubicBezTo>
                  <a:pt x="3625463" y="5611920"/>
                  <a:pt x="3625618" y="5609235"/>
                  <a:pt x="3628251" y="5607893"/>
                </a:cubicBezTo>
                <a:close/>
                <a:moveTo>
                  <a:pt x="3584571" y="5607067"/>
                </a:moveTo>
                <a:cubicBezTo>
                  <a:pt x="3585345" y="5607480"/>
                  <a:pt x="3587359" y="5609545"/>
                  <a:pt x="3587669" y="5608822"/>
                </a:cubicBezTo>
                <a:cubicBezTo>
                  <a:pt x="3588598" y="5611507"/>
                  <a:pt x="3589372" y="5614605"/>
                  <a:pt x="3588598" y="5616566"/>
                </a:cubicBezTo>
                <a:cubicBezTo>
                  <a:pt x="3588288" y="5617186"/>
                  <a:pt x="3587824" y="5617702"/>
                  <a:pt x="3587204" y="5618012"/>
                </a:cubicBezTo>
                <a:cubicBezTo>
                  <a:pt x="3585810" y="5619044"/>
                  <a:pt x="3584571" y="5617496"/>
                  <a:pt x="3583641" y="5615121"/>
                </a:cubicBezTo>
                <a:cubicBezTo>
                  <a:pt x="3581008" y="5610681"/>
                  <a:pt x="3581163" y="5607996"/>
                  <a:pt x="3584571" y="5607067"/>
                </a:cubicBezTo>
                <a:close/>
                <a:moveTo>
                  <a:pt x="2975054" y="5605311"/>
                </a:moveTo>
                <a:cubicBezTo>
                  <a:pt x="2975983" y="5606963"/>
                  <a:pt x="2964986" y="5611920"/>
                  <a:pt x="2962197" y="5613262"/>
                </a:cubicBezTo>
                <a:cubicBezTo>
                  <a:pt x="2961578" y="5612849"/>
                  <a:pt x="2961423" y="5612849"/>
                  <a:pt x="2961423" y="5612849"/>
                </a:cubicBezTo>
                <a:cubicBezTo>
                  <a:pt x="2961113" y="5612023"/>
                  <a:pt x="2961268" y="5611300"/>
                  <a:pt x="2961888" y="5610681"/>
                </a:cubicBezTo>
                <a:cubicBezTo>
                  <a:pt x="2962662" y="5609958"/>
                  <a:pt x="2963747" y="5609442"/>
                  <a:pt x="2965140" y="5608719"/>
                </a:cubicBezTo>
                <a:cubicBezTo>
                  <a:pt x="2968083" y="5607273"/>
                  <a:pt x="2972111" y="5606757"/>
                  <a:pt x="2973350" y="5606447"/>
                </a:cubicBezTo>
                <a:cubicBezTo>
                  <a:pt x="2974589" y="5606034"/>
                  <a:pt x="2975054" y="5605311"/>
                  <a:pt x="2975054" y="5605311"/>
                </a:cubicBezTo>
                <a:close/>
                <a:moveTo>
                  <a:pt x="2813032" y="5605208"/>
                </a:moveTo>
                <a:cubicBezTo>
                  <a:pt x="2815201" y="5607789"/>
                  <a:pt x="2813962" y="5611197"/>
                  <a:pt x="2816130" y="5614708"/>
                </a:cubicBezTo>
                <a:cubicBezTo>
                  <a:pt x="2814271" y="5617289"/>
                  <a:pt x="2816285" y="5621729"/>
                  <a:pt x="2813497" y="5625137"/>
                </a:cubicBezTo>
                <a:cubicBezTo>
                  <a:pt x="2812258" y="5624207"/>
                  <a:pt x="2811483" y="5622658"/>
                  <a:pt x="2811019" y="5620903"/>
                </a:cubicBezTo>
                <a:cubicBezTo>
                  <a:pt x="2809624" y="5615327"/>
                  <a:pt x="2810864" y="5607067"/>
                  <a:pt x="2813032" y="5605208"/>
                </a:cubicBezTo>
                <a:close/>
                <a:moveTo>
                  <a:pt x="2681409" y="5604563"/>
                </a:moveTo>
                <a:cubicBezTo>
                  <a:pt x="2687140" y="5602523"/>
                  <a:pt x="2693142" y="5602575"/>
                  <a:pt x="2695311" y="5606654"/>
                </a:cubicBezTo>
                <a:cubicBezTo>
                  <a:pt x="2685553" y="5608822"/>
                  <a:pt x="2680286" y="5614811"/>
                  <a:pt x="2669134" y="5615017"/>
                </a:cubicBezTo>
                <a:cubicBezTo>
                  <a:pt x="2670218" y="5610732"/>
                  <a:pt x="2675678" y="5606602"/>
                  <a:pt x="2681409" y="5604563"/>
                </a:cubicBezTo>
                <a:close/>
                <a:moveTo>
                  <a:pt x="3626703" y="5603143"/>
                </a:moveTo>
                <a:cubicBezTo>
                  <a:pt x="3627787" y="5602833"/>
                  <a:pt x="3629646" y="5602937"/>
                  <a:pt x="3630110" y="5604072"/>
                </a:cubicBezTo>
                <a:cubicBezTo>
                  <a:pt x="3630575" y="5604898"/>
                  <a:pt x="3630420" y="5605208"/>
                  <a:pt x="3629955" y="5605518"/>
                </a:cubicBezTo>
                <a:cubicBezTo>
                  <a:pt x="3629491" y="5605931"/>
                  <a:pt x="3628561" y="5606138"/>
                  <a:pt x="3627942" y="5606757"/>
                </a:cubicBezTo>
                <a:close/>
                <a:moveTo>
                  <a:pt x="2981095" y="5601697"/>
                </a:moveTo>
                <a:cubicBezTo>
                  <a:pt x="2981095" y="5601697"/>
                  <a:pt x="2981404" y="5600975"/>
                  <a:pt x="2982489" y="5603762"/>
                </a:cubicBezTo>
                <a:cubicBezTo>
                  <a:pt x="2981404" y="5604072"/>
                  <a:pt x="2977997" y="5605002"/>
                  <a:pt x="2977997" y="5605002"/>
                </a:cubicBezTo>
                <a:cubicBezTo>
                  <a:pt x="2977377" y="5605827"/>
                  <a:pt x="2977377" y="5605827"/>
                  <a:pt x="2976293" y="5606138"/>
                </a:cubicBezTo>
                <a:cubicBezTo>
                  <a:pt x="2976138" y="5605002"/>
                  <a:pt x="2976138" y="5605002"/>
                  <a:pt x="2976603" y="5604176"/>
                </a:cubicBezTo>
                <a:cubicBezTo>
                  <a:pt x="2977687" y="5603866"/>
                  <a:pt x="2978461" y="5604279"/>
                  <a:pt x="2979546" y="5603969"/>
                </a:cubicBezTo>
                <a:cubicBezTo>
                  <a:pt x="2979236" y="5601594"/>
                  <a:pt x="2978771" y="5602317"/>
                  <a:pt x="2979856" y="5602007"/>
                </a:cubicBezTo>
                <a:cubicBezTo>
                  <a:pt x="2979856" y="5602007"/>
                  <a:pt x="2979856" y="5602007"/>
                  <a:pt x="2981095" y="5601697"/>
                </a:cubicBezTo>
                <a:close/>
                <a:moveTo>
                  <a:pt x="3094014" y="5601078"/>
                </a:moveTo>
                <a:lnTo>
                  <a:pt x="3095718" y="5602317"/>
                </a:lnTo>
                <a:lnTo>
                  <a:pt x="3096028" y="5602317"/>
                </a:lnTo>
                <a:cubicBezTo>
                  <a:pt x="3098816" y="5604692"/>
                  <a:pt x="3098816" y="5604692"/>
                  <a:pt x="3095408" y="5610164"/>
                </a:cubicBezTo>
                <a:cubicBezTo>
                  <a:pt x="3094789" y="5611094"/>
                  <a:pt x="3093859" y="5611713"/>
                  <a:pt x="3092775" y="5612126"/>
                </a:cubicBezTo>
                <a:cubicBezTo>
                  <a:pt x="3091691" y="5612539"/>
                  <a:pt x="3090451" y="5612643"/>
                  <a:pt x="3089058" y="5612229"/>
                </a:cubicBezTo>
                <a:cubicBezTo>
                  <a:pt x="3088283" y="5612746"/>
                  <a:pt x="3087354" y="5612952"/>
                  <a:pt x="3086269" y="5613055"/>
                </a:cubicBezTo>
                <a:cubicBezTo>
                  <a:pt x="3085340" y="5613159"/>
                  <a:pt x="3084256" y="5612952"/>
                  <a:pt x="3083327" y="5612643"/>
                </a:cubicBezTo>
                <a:cubicBezTo>
                  <a:pt x="3081468" y="5610990"/>
                  <a:pt x="3081313" y="5609235"/>
                  <a:pt x="3081932" y="5608306"/>
                </a:cubicBezTo>
                <a:lnTo>
                  <a:pt x="3085805" y="5604176"/>
                </a:lnTo>
                <a:lnTo>
                  <a:pt x="3085650" y="5603556"/>
                </a:lnTo>
                <a:cubicBezTo>
                  <a:pt x="3086269" y="5600768"/>
                  <a:pt x="3091071" y="5599942"/>
                  <a:pt x="3094014" y="5601078"/>
                </a:cubicBezTo>
                <a:close/>
                <a:moveTo>
                  <a:pt x="3020806" y="5599916"/>
                </a:moveTo>
                <a:cubicBezTo>
                  <a:pt x="3022801" y="5600355"/>
                  <a:pt x="3024156" y="5602213"/>
                  <a:pt x="3024466" y="5604382"/>
                </a:cubicBezTo>
                <a:cubicBezTo>
                  <a:pt x="3024621" y="5605724"/>
                  <a:pt x="3024311" y="5607273"/>
                  <a:pt x="3023537" y="5608616"/>
                </a:cubicBezTo>
                <a:cubicBezTo>
                  <a:pt x="3022452" y="5610474"/>
                  <a:pt x="3020283" y="5612023"/>
                  <a:pt x="3016876" y="5612436"/>
                </a:cubicBezTo>
                <a:cubicBezTo>
                  <a:pt x="3015482" y="5610990"/>
                  <a:pt x="3014862" y="5609545"/>
                  <a:pt x="3014552" y="5608099"/>
                </a:cubicBezTo>
                <a:cubicBezTo>
                  <a:pt x="3014088" y="5606757"/>
                  <a:pt x="3013933" y="5605415"/>
                  <a:pt x="3013313" y="5603969"/>
                </a:cubicBezTo>
                <a:cubicBezTo>
                  <a:pt x="3016179" y="5600458"/>
                  <a:pt x="3018812" y="5599477"/>
                  <a:pt x="3020806" y="5599916"/>
                </a:cubicBezTo>
                <a:close/>
                <a:moveTo>
                  <a:pt x="3585190" y="5596948"/>
                </a:moveTo>
                <a:cubicBezTo>
                  <a:pt x="3586120" y="5597360"/>
                  <a:pt x="3587979" y="5597567"/>
                  <a:pt x="3587669" y="5598290"/>
                </a:cubicBezTo>
                <a:cubicBezTo>
                  <a:pt x="3588443" y="5598703"/>
                  <a:pt x="3587824" y="5600252"/>
                  <a:pt x="3587824" y="5600252"/>
                </a:cubicBezTo>
                <a:cubicBezTo>
                  <a:pt x="3588598" y="5600665"/>
                  <a:pt x="3589372" y="5601078"/>
                  <a:pt x="3589837" y="5602317"/>
                </a:cubicBezTo>
                <a:cubicBezTo>
                  <a:pt x="3588598" y="5602523"/>
                  <a:pt x="3589528" y="5603040"/>
                  <a:pt x="3589063" y="5603762"/>
                </a:cubicBezTo>
                <a:cubicBezTo>
                  <a:pt x="3588753" y="5602627"/>
                  <a:pt x="3586275" y="5601181"/>
                  <a:pt x="3585036" y="5599529"/>
                </a:cubicBezTo>
                <a:cubicBezTo>
                  <a:pt x="3585345" y="5598806"/>
                  <a:pt x="3584881" y="5597670"/>
                  <a:pt x="3585190" y="5596948"/>
                </a:cubicBezTo>
                <a:close/>
                <a:moveTo>
                  <a:pt x="2914954" y="5596948"/>
                </a:moveTo>
                <a:cubicBezTo>
                  <a:pt x="2915419" y="5599322"/>
                  <a:pt x="2917123" y="5602523"/>
                  <a:pt x="2914644" y="5605105"/>
                </a:cubicBezTo>
                <a:cubicBezTo>
                  <a:pt x="2914335" y="5603349"/>
                  <a:pt x="2913405" y="5599942"/>
                  <a:pt x="2913870" y="5598187"/>
                </a:cubicBezTo>
                <a:cubicBezTo>
                  <a:pt x="2914179" y="5597567"/>
                  <a:pt x="2914489" y="5597051"/>
                  <a:pt x="2914954" y="5596948"/>
                </a:cubicBezTo>
                <a:close/>
                <a:moveTo>
                  <a:pt x="3578065" y="5596431"/>
                </a:moveTo>
                <a:cubicBezTo>
                  <a:pt x="3578065" y="5596431"/>
                  <a:pt x="3579304" y="5598083"/>
                  <a:pt x="3579304" y="5598083"/>
                </a:cubicBezTo>
                <a:cubicBezTo>
                  <a:pt x="3580079" y="5600561"/>
                  <a:pt x="3580389" y="5601697"/>
                  <a:pt x="3581628" y="5603349"/>
                </a:cubicBezTo>
                <a:cubicBezTo>
                  <a:pt x="3580853" y="5603969"/>
                  <a:pt x="3580389" y="5604176"/>
                  <a:pt x="3579924" y="5603969"/>
                </a:cubicBezTo>
                <a:cubicBezTo>
                  <a:pt x="3579459" y="5603866"/>
                  <a:pt x="3579150" y="5603453"/>
                  <a:pt x="3578995" y="5602833"/>
                </a:cubicBezTo>
                <a:cubicBezTo>
                  <a:pt x="3578995" y="5602833"/>
                  <a:pt x="3578530" y="5601594"/>
                  <a:pt x="3578220" y="5600355"/>
                </a:cubicBezTo>
                <a:cubicBezTo>
                  <a:pt x="3577755" y="5599219"/>
                  <a:pt x="3576981" y="5598806"/>
                  <a:pt x="3576981" y="5598806"/>
                </a:cubicBezTo>
                <a:cubicBezTo>
                  <a:pt x="3576671" y="5597567"/>
                  <a:pt x="3576981" y="5596741"/>
                  <a:pt x="3578065" y="5596431"/>
                </a:cubicBezTo>
                <a:close/>
                <a:moveTo>
                  <a:pt x="3559013" y="5596225"/>
                </a:moveTo>
                <a:cubicBezTo>
                  <a:pt x="3560097" y="5598290"/>
                  <a:pt x="3562111" y="5601904"/>
                  <a:pt x="3562111" y="5604176"/>
                </a:cubicBezTo>
                <a:cubicBezTo>
                  <a:pt x="3561956" y="5605002"/>
                  <a:pt x="3561646" y="5605518"/>
                  <a:pt x="3561027" y="5605931"/>
                </a:cubicBezTo>
                <a:cubicBezTo>
                  <a:pt x="3559942" y="5606241"/>
                  <a:pt x="3559632" y="5605002"/>
                  <a:pt x="3558858" y="5604588"/>
                </a:cubicBezTo>
                <a:cubicBezTo>
                  <a:pt x="3557774" y="5603040"/>
                  <a:pt x="3557928" y="5596638"/>
                  <a:pt x="3559013" y="5596225"/>
                </a:cubicBezTo>
                <a:close/>
                <a:moveTo>
                  <a:pt x="3367716" y="5595192"/>
                </a:moveTo>
                <a:lnTo>
                  <a:pt x="3367096" y="5600149"/>
                </a:lnTo>
                <a:lnTo>
                  <a:pt x="3364153" y="5603453"/>
                </a:lnTo>
                <a:lnTo>
                  <a:pt x="3363379" y="5606757"/>
                </a:lnTo>
                <a:cubicBezTo>
                  <a:pt x="3363379" y="5606757"/>
                  <a:pt x="3363534" y="5606757"/>
                  <a:pt x="3363844" y="5606034"/>
                </a:cubicBezTo>
                <a:cubicBezTo>
                  <a:pt x="3366012" y="5605311"/>
                  <a:pt x="3369110" y="5604485"/>
                  <a:pt x="3371898" y="5603969"/>
                </a:cubicBezTo>
                <a:lnTo>
                  <a:pt x="3373137" y="5603866"/>
                </a:lnTo>
                <a:close/>
                <a:moveTo>
                  <a:pt x="3313192" y="5594056"/>
                </a:moveTo>
                <a:cubicBezTo>
                  <a:pt x="3315826" y="5593850"/>
                  <a:pt x="3317530" y="5594573"/>
                  <a:pt x="3318459" y="5596121"/>
                </a:cubicBezTo>
                <a:lnTo>
                  <a:pt x="3319233" y="5602317"/>
                </a:lnTo>
                <a:lnTo>
                  <a:pt x="3322641" y="5601801"/>
                </a:lnTo>
                <a:cubicBezTo>
                  <a:pt x="3324810" y="5604898"/>
                  <a:pt x="3325274" y="5607583"/>
                  <a:pt x="3325894" y="5609545"/>
                </a:cubicBezTo>
                <a:cubicBezTo>
                  <a:pt x="3324035" y="5610784"/>
                  <a:pt x="3322951" y="5612333"/>
                  <a:pt x="3321092" y="5613675"/>
                </a:cubicBezTo>
                <a:cubicBezTo>
                  <a:pt x="3315980" y="5613365"/>
                  <a:pt x="3314122" y="5609854"/>
                  <a:pt x="3314587" y="5606654"/>
                </a:cubicBezTo>
                <a:lnTo>
                  <a:pt x="3317065" y="5602833"/>
                </a:lnTo>
                <a:lnTo>
                  <a:pt x="3315980" y="5602627"/>
                </a:lnTo>
                <a:cubicBezTo>
                  <a:pt x="3315206" y="5602214"/>
                  <a:pt x="3314742" y="5601491"/>
                  <a:pt x="3314432" y="5600561"/>
                </a:cubicBezTo>
                <a:cubicBezTo>
                  <a:pt x="3313812" y="5598806"/>
                  <a:pt x="3313812" y="5596225"/>
                  <a:pt x="3313192" y="5594056"/>
                </a:cubicBezTo>
                <a:close/>
                <a:moveTo>
                  <a:pt x="2857797" y="5593540"/>
                </a:moveTo>
                <a:cubicBezTo>
                  <a:pt x="2860276" y="5593643"/>
                  <a:pt x="2861979" y="5593643"/>
                  <a:pt x="2863529" y="5595399"/>
                </a:cubicBezTo>
                <a:cubicBezTo>
                  <a:pt x="2865697" y="5597980"/>
                  <a:pt x="2866781" y="5604072"/>
                  <a:pt x="2863993" y="5606654"/>
                </a:cubicBezTo>
                <a:cubicBezTo>
                  <a:pt x="2861205" y="5610061"/>
                  <a:pt x="2858572" y="5610887"/>
                  <a:pt x="2856093" y="5610887"/>
                </a:cubicBezTo>
                <a:cubicBezTo>
                  <a:pt x="2856093" y="5610887"/>
                  <a:pt x="2856093" y="5610887"/>
                  <a:pt x="2856868" y="5610887"/>
                </a:cubicBezTo>
                <a:lnTo>
                  <a:pt x="2858417" y="5612746"/>
                </a:lnTo>
                <a:lnTo>
                  <a:pt x="2859811" y="5612746"/>
                </a:lnTo>
                <a:cubicBezTo>
                  <a:pt x="2860740" y="5612746"/>
                  <a:pt x="2861205" y="5612746"/>
                  <a:pt x="2861515" y="5612746"/>
                </a:cubicBezTo>
                <a:cubicBezTo>
                  <a:pt x="2861670" y="5613572"/>
                  <a:pt x="2861670" y="5613572"/>
                  <a:pt x="2861670" y="5613572"/>
                </a:cubicBezTo>
                <a:lnTo>
                  <a:pt x="2859346" y="5613985"/>
                </a:lnTo>
                <a:lnTo>
                  <a:pt x="2861825" y="5617083"/>
                </a:lnTo>
                <a:lnTo>
                  <a:pt x="2863838" y="5616773"/>
                </a:lnTo>
                <a:lnTo>
                  <a:pt x="2862599" y="5618321"/>
                </a:lnTo>
                <a:lnTo>
                  <a:pt x="2863838" y="5620593"/>
                </a:lnTo>
                <a:cubicBezTo>
                  <a:pt x="2864148" y="5621626"/>
                  <a:pt x="2864303" y="5622452"/>
                  <a:pt x="2863993" y="5623072"/>
                </a:cubicBezTo>
                <a:cubicBezTo>
                  <a:pt x="2863219" y="5623072"/>
                  <a:pt x="2862289" y="5623072"/>
                  <a:pt x="2861670" y="5622245"/>
                </a:cubicBezTo>
                <a:cubicBezTo>
                  <a:pt x="2860895" y="5621316"/>
                  <a:pt x="2861670" y="5621316"/>
                  <a:pt x="2860895" y="5621316"/>
                </a:cubicBezTo>
                <a:cubicBezTo>
                  <a:pt x="2860121" y="5620387"/>
                  <a:pt x="2860121" y="5621316"/>
                  <a:pt x="2860121" y="5621316"/>
                </a:cubicBezTo>
                <a:lnTo>
                  <a:pt x="2860121" y="5621006"/>
                </a:lnTo>
                <a:lnTo>
                  <a:pt x="2856558" y="5622555"/>
                </a:lnTo>
                <a:cubicBezTo>
                  <a:pt x="2854235" y="5623072"/>
                  <a:pt x="2852066" y="5623278"/>
                  <a:pt x="2850827" y="5625550"/>
                </a:cubicBezTo>
                <a:cubicBezTo>
                  <a:pt x="2849743" y="5623897"/>
                  <a:pt x="2849743" y="5623794"/>
                  <a:pt x="2850362" y="5622039"/>
                </a:cubicBezTo>
                <a:cubicBezTo>
                  <a:pt x="2851137" y="5621936"/>
                  <a:pt x="2850982" y="5621006"/>
                  <a:pt x="2852066" y="5621936"/>
                </a:cubicBezTo>
                <a:cubicBezTo>
                  <a:pt x="2852686" y="5620490"/>
                  <a:pt x="2854700" y="5619044"/>
                  <a:pt x="2857023" y="5618012"/>
                </a:cubicBezTo>
                <a:lnTo>
                  <a:pt x="2857488" y="5617909"/>
                </a:lnTo>
                <a:lnTo>
                  <a:pt x="2855939" y="5617083"/>
                </a:lnTo>
                <a:cubicBezTo>
                  <a:pt x="2855164" y="5616670"/>
                  <a:pt x="2854700" y="5616463"/>
                  <a:pt x="2853925" y="5616050"/>
                </a:cubicBezTo>
                <a:lnTo>
                  <a:pt x="2853770" y="5615844"/>
                </a:lnTo>
                <a:lnTo>
                  <a:pt x="2853305" y="5616050"/>
                </a:lnTo>
                <a:cubicBezTo>
                  <a:pt x="2852221" y="5616256"/>
                  <a:pt x="2851292" y="5616360"/>
                  <a:pt x="2850053" y="5615947"/>
                </a:cubicBezTo>
                <a:cubicBezTo>
                  <a:pt x="2850053" y="5615947"/>
                  <a:pt x="2850053" y="5615947"/>
                  <a:pt x="2850982" y="5615844"/>
                </a:cubicBezTo>
                <a:cubicBezTo>
                  <a:pt x="2850982" y="5615844"/>
                  <a:pt x="2850053" y="5615947"/>
                  <a:pt x="2850053" y="5615121"/>
                </a:cubicBezTo>
                <a:lnTo>
                  <a:pt x="2852686" y="5614191"/>
                </a:lnTo>
                <a:lnTo>
                  <a:pt x="2852376" y="5613675"/>
                </a:lnTo>
                <a:cubicBezTo>
                  <a:pt x="2852066" y="5612952"/>
                  <a:pt x="2851601" y="5612126"/>
                  <a:pt x="2850982" y="5610784"/>
                </a:cubicBezTo>
                <a:cubicBezTo>
                  <a:pt x="2851911" y="5609028"/>
                  <a:pt x="2852066" y="5609028"/>
                  <a:pt x="2852841" y="5609028"/>
                </a:cubicBezTo>
                <a:cubicBezTo>
                  <a:pt x="2852066" y="5609028"/>
                  <a:pt x="2852066" y="5608203"/>
                  <a:pt x="2851292" y="5607273"/>
                </a:cubicBezTo>
                <a:cubicBezTo>
                  <a:pt x="2847419" y="5604692"/>
                  <a:pt x="2849433" y="5600355"/>
                  <a:pt x="2853305" y="5596121"/>
                </a:cubicBezTo>
                <a:cubicBezTo>
                  <a:pt x="2854080" y="5596948"/>
                  <a:pt x="2856093" y="5594366"/>
                  <a:pt x="2857797" y="5593540"/>
                </a:cubicBezTo>
                <a:close/>
                <a:moveTo>
                  <a:pt x="3629646" y="5592405"/>
                </a:moveTo>
                <a:cubicBezTo>
                  <a:pt x="3631504" y="5592508"/>
                  <a:pt x="3633828" y="5593850"/>
                  <a:pt x="3634138" y="5594986"/>
                </a:cubicBezTo>
                <a:cubicBezTo>
                  <a:pt x="3634602" y="5596121"/>
                  <a:pt x="3634138" y="5596948"/>
                  <a:pt x="3634138" y="5596948"/>
                </a:cubicBezTo>
                <a:cubicBezTo>
                  <a:pt x="3632898" y="5597670"/>
                  <a:pt x="3631504" y="5597980"/>
                  <a:pt x="3630420" y="5597774"/>
                </a:cubicBezTo>
                <a:cubicBezTo>
                  <a:pt x="3629181" y="5597567"/>
                  <a:pt x="3628096" y="5596741"/>
                  <a:pt x="3627477" y="5594986"/>
                </a:cubicBezTo>
                <a:cubicBezTo>
                  <a:pt x="3627167" y="5593850"/>
                  <a:pt x="3626703" y="5592611"/>
                  <a:pt x="3627477" y="5593024"/>
                </a:cubicBezTo>
                <a:cubicBezTo>
                  <a:pt x="3627787" y="5592301"/>
                  <a:pt x="3628561" y="5592714"/>
                  <a:pt x="3629646" y="5592405"/>
                </a:cubicBezTo>
                <a:close/>
                <a:moveTo>
                  <a:pt x="2662163" y="5591785"/>
                </a:moveTo>
                <a:cubicBezTo>
                  <a:pt x="2666965" y="5592405"/>
                  <a:pt x="2668824" y="5598910"/>
                  <a:pt x="2665571" y="5601594"/>
                </a:cubicBezTo>
                <a:cubicBezTo>
                  <a:pt x="2664951" y="5601491"/>
                  <a:pt x="2664177" y="5601491"/>
                  <a:pt x="2663403" y="5601491"/>
                </a:cubicBezTo>
                <a:cubicBezTo>
                  <a:pt x="2662628" y="5601491"/>
                  <a:pt x="2661699" y="5601284"/>
                  <a:pt x="2660769" y="5600872"/>
                </a:cubicBezTo>
                <a:cubicBezTo>
                  <a:pt x="2658756" y="5596844"/>
                  <a:pt x="2659530" y="5593850"/>
                  <a:pt x="2662163" y="5591785"/>
                </a:cubicBezTo>
                <a:close/>
                <a:moveTo>
                  <a:pt x="3223043" y="5587345"/>
                </a:moveTo>
                <a:cubicBezTo>
                  <a:pt x="3229703" y="5592920"/>
                  <a:pt x="3226451" y="5597360"/>
                  <a:pt x="3223198" y="5601697"/>
                </a:cubicBezTo>
                <a:cubicBezTo>
                  <a:pt x="3219635" y="5597051"/>
                  <a:pt x="3214214" y="5602523"/>
                  <a:pt x="3213439" y="5595089"/>
                </a:cubicBezTo>
                <a:cubicBezTo>
                  <a:pt x="3214523" y="5591785"/>
                  <a:pt x="3217157" y="5589100"/>
                  <a:pt x="3223043" y="5587345"/>
                </a:cubicBezTo>
                <a:close/>
                <a:moveTo>
                  <a:pt x="2970252" y="5587345"/>
                </a:moveTo>
                <a:cubicBezTo>
                  <a:pt x="2976448" y="5585073"/>
                  <a:pt x="2980011" y="5595812"/>
                  <a:pt x="2981559" y="5597774"/>
                </a:cubicBezTo>
                <a:cubicBezTo>
                  <a:pt x="2981559" y="5597774"/>
                  <a:pt x="2982334" y="5598290"/>
                  <a:pt x="2982489" y="5599426"/>
                </a:cubicBezTo>
                <a:cubicBezTo>
                  <a:pt x="2983263" y="5601078"/>
                  <a:pt x="2980785" y="5600458"/>
                  <a:pt x="2981095" y="5601697"/>
                </a:cubicBezTo>
                <a:cubicBezTo>
                  <a:pt x="2976603" y="5596741"/>
                  <a:pt x="2970872" y="5595192"/>
                  <a:pt x="2970872" y="5595192"/>
                </a:cubicBezTo>
                <a:cubicBezTo>
                  <a:pt x="2970097" y="5593643"/>
                  <a:pt x="2970407" y="5592920"/>
                  <a:pt x="2969942" y="5593643"/>
                </a:cubicBezTo>
                <a:cubicBezTo>
                  <a:pt x="2969633" y="5591269"/>
                  <a:pt x="2968548" y="5588481"/>
                  <a:pt x="2970252" y="5587345"/>
                </a:cubicBezTo>
                <a:close/>
                <a:moveTo>
                  <a:pt x="3017031" y="5586312"/>
                </a:moveTo>
                <a:cubicBezTo>
                  <a:pt x="3020283" y="5590133"/>
                  <a:pt x="3017186" y="5597464"/>
                  <a:pt x="3011300" y="5597154"/>
                </a:cubicBezTo>
                <a:cubicBezTo>
                  <a:pt x="3010990" y="5595192"/>
                  <a:pt x="3009905" y="5593953"/>
                  <a:pt x="3009596" y="5592094"/>
                </a:cubicBezTo>
                <a:cubicBezTo>
                  <a:pt x="3012074" y="5589720"/>
                  <a:pt x="3011919" y="5585383"/>
                  <a:pt x="3017031" y="5586312"/>
                </a:cubicBezTo>
                <a:close/>
                <a:moveTo>
                  <a:pt x="2708477" y="5586106"/>
                </a:moveTo>
                <a:cubicBezTo>
                  <a:pt x="2712505" y="5588377"/>
                  <a:pt x="2711110" y="5594986"/>
                  <a:pt x="2706928" y="5596225"/>
                </a:cubicBezTo>
                <a:cubicBezTo>
                  <a:pt x="2705844" y="5595605"/>
                  <a:pt x="2703985" y="5595295"/>
                  <a:pt x="2702901" y="5593850"/>
                </a:cubicBezTo>
                <a:cubicBezTo>
                  <a:pt x="2702901" y="5589513"/>
                  <a:pt x="2705070" y="5587035"/>
                  <a:pt x="2708477" y="5586106"/>
                </a:cubicBezTo>
                <a:close/>
                <a:moveTo>
                  <a:pt x="3510221" y="5584247"/>
                </a:moveTo>
                <a:cubicBezTo>
                  <a:pt x="3515642" y="5586209"/>
                  <a:pt x="3519204" y="5583524"/>
                  <a:pt x="3522612" y="5587448"/>
                </a:cubicBezTo>
                <a:cubicBezTo>
                  <a:pt x="3521993" y="5591991"/>
                  <a:pt x="3519049" y="5594366"/>
                  <a:pt x="3516106" y="5594882"/>
                </a:cubicBezTo>
                <a:cubicBezTo>
                  <a:pt x="3513009" y="5595502"/>
                  <a:pt x="3509911" y="5594263"/>
                  <a:pt x="3508982" y="5591475"/>
                </a:cubicBezTo>
                <a:cubicBezTo>
                  <a:pt x="3508207" y="5589720"/>
                  <a:pt x="3508517" y="5587242"/>
                  <a:pt x="3510221" y="5584247"/>
                </a:cubicBezTo>
                <a:close/>
                <a:moveTo>
                  <a:pt x="3543523" y="5584041"/>
                </a:moveTo>
                <a:cubicBezTo>
                  <a:pt x="3545227" y="5584041"/>
                  <a:pt x="3547705" y="5586725"/>
                  <a:pt x="3549409" y="5588584"/>
                </a:cubicBezTo>
                <a:cubicBezTo>
                  <a:pt x="3549564" y="5591269"/>
                  <a:pt x="3548015" y="5593850"/>
                  <a:pt x="3545692" y="5595399"/>
                </a:cubicBezTo>
                <a:cubicBezTo>
                  <a:pt x="3542284" y="5591785"/>
                  <a:pt x="3542129" y="5588274"/>
                  <a:pt x="3543523" y="5584041"/>
                </a:cubicBezTo>
                <a:close/>
                <a:moveTo>
                  <a:pt x="3076046" y="5582995"/>
                </a:moveTo>
                <a:cubicBezTo>
                  <a:pt x="3080500" y="5584273"/>
                  <a:pt x="3084566" y="5586983"/>
                  <a:pt x="3087508" y="5591062"/>
                </a:cubicBezTo>
                <a:cubicBezTo>
                  <a:pt x="3086889" y="5592094"/>
                  <a:pt x="3086115" y="5593127"/>
                  <a:pt x="3087199" y="5593747"/>
                </a:cubicBezTo>
                <a:cubicBezTo>
                  <a:pt x="3083327" y="5601078"/>
                  <a:pt x="3075272" y="5605208"/>
                  <a:pt x="3067527" y="5605724"/>
                </a:cubicBezTo>
                <a:cubicBezTo>
                  <a:pt x="3059782" y="5606241"/>
                  <a:pt x="3052192" y="5603143"/>
                  <a:pt x="3049094" y="5596225"/>
                </a:cubicBezTo>
                <a:cubicBezTo>
                  <a:pt x="3052192" y="5589720"/>
                  <a:pt x="3056994" y="5585589"/>
                  <a:pt x="3062261" y="5583524"/>
                </a:cubicBezTo>
                <a:cubicBezTo>
                  <a:pt x="3066753" y="5581872"/>
                  <a:pt x="3071593" y="5581717"/>
                  <a:pt x="3076046" y="5582995"/>
                </a:cubicBezTo>
                <a:close/>
                <a:moveTo>
                  <a:pt x="2754482" y="5582698"/>
                </a:moveTo>
                <a:cubicBezTo>
                  <a:pt x="2756960" y="5586932"/>
                  <a:pt x="2752313" y="5593850"/>
                  <a:pt x="2749060" y="5597360"/>
                </a:cubicBezTo>
                <a:cubicBezTo>
                  <a:pt x="2746892" y="5596535"/>
                  <a:pt x="2745652" y="5598187"/>
                  <a:pt x="2743484" y="5597360"/>
                </a:cubicBezTo>
                <a:cubicBezTo>
                  <a:pt x="2746427" y="5590339"/>
                  <a:pt x="2748905" y="5582595"/>
                  <a:pt x="2754482" y="5582698"/>
                </a:cubicBezTo>
                <a:close/>
                <a:moveTo>
                  <a:pt x="3106561" y="5577845"/>
                </a:moveTo>
                <a:cubicBezTo>
                  <a:pt x="3113686" y="5585073"/>
                  <a:pt x="3111517" y="5592611"/>
                  <a:pt x="3109194" y="5600252"/>
                </a:cubicBezTo>
                <a:cubicBezTo>
                  <a:pt x="3107335" y="5599322"/>
                  <a:pt x="3105941" y="5597877"/>
                  <a:pt x="3105012" y="5596121"/>
                </a:cubicBezTo>
                <a:lnTo>
                  <a:pt x="3104857" y="5595295"/>
                </a:lnTo>
                <a:lnTo>
                  <a:pt x="3104702" y="5596535"/>
                </a:lnTo>
                <a:cubicBezTo>
                  <a:pt x="3104857" y="5603969"/>
                  <a:pt x="3107180" y="5611197"/>
                  <a:pt x="3102688" y="5616050"/>
                </a:cubicBezTo>
                <a:cubicBezTo>
                  <a:pt x="3101914" y="5612952"/>
                  <a:pt x="3100210" y="5609442"/>
                  <a:pt x="3098661" y="5605931"/>
                </a:cubicBezTo>
                <a:cubicBezTo>
                  <a:pt x="3097112" y="5602420"/>
                  <a:pt x="3095873" y="5599013"/>
                  <a:pt x="3096028" y="5596121"/>
                </a:cubicBezTo>
                <a:lnTo>
                  <a:pt x="3097112" y="5593024"/>
                </a:lnTo>
                <a:lnTo>
                  <a:pt x="3096648" y="5592714"/>
                </a:lnTo>
                <a:cubicBezTo>
                  <a:pt x="3098506" y="5591165"/>
                  <a:pt x="3097887" y="5589307"/>
                  <a:pt x="3099900" y="5587654"/>
                </a:cubicBezTo>
                <a:lnTo>
                  <a:pt x="3102069" y="5590133"/>
                </a:lnTo>
                <a:lnTo>
                  <a:pt x="3103772" y="5589720"/>
                </a:lnTo>
                <a:lnTo>
                  <a:pt x="3104547" y="5583627"/>
                </a:lnTo>
                <a:cubicBezTo>
                  <a:pt x="3105012" y="5581459"/>
                  <a:pt x="3105786" y="5579497"/>
                  <a:pt x="3106561" y="5577845"/>
                </a:cubicBezTo>
                <a:close/>
                <a:moveTo>
                  <a:pt x="3149467" y="5575986"/>
                </a:moveTo>
                <a:cubicBezTo>
                  <a:pt x="3150396" y="5574231"/>
                  <a:pt x="3151016" y="5576813"/>
                  <a:pt x="3151945" y="5575986"/>
                </a:cubicBezTo>
                <a:cubicBezTo>
                  <a:pt x="3149467" y="5582905"/>
                  <a:pt x="3150551" y="5588893"/>
                  <a:pt x="3150551" y="5588893"/>
                </a:cubicBezTo>
                <a:cubicBezTo>
                  <a:pt x="3149622" y="5590649"/>
                  <a:pt x="3148848" y="5590649"/>
                  <a:pt x="3149622" y="5590649"/>
                </a:cubicBezTo>
                <a:cubicBezTo>
                  <a:pt x="3147763" y="5592405"/>
                  <a:pt x="3145905" y="5594882"/>
                  <a:pt x="3144201" y="5594056"/>
                </a:cubicBezTo>
                <a:cubicBezTo>
                  <a:pt x="3139708" y="5589616"/>
                  <a:pt x="3147298" y="5580220"/>
                  <a:pt x="3148383" y="5577742"/>
                </a:cubicBezTo>
                <a:cubicBezTo>
                  <a:pt x="3148383" y="5577742"/>
                  <a:pt x="3148538" y="5576813"/>
                  <a:pt x="3149467" y="5575986"/>
                </a:cubicBezTo>
                <a:close/>
                <a:moveTo>
                  <a:pt x="3516881" y="5573405"/>
                </a:moveTo>
                <a:cubicBezTo>
                  <a:pt x="3517346" y="5574541"/>
                  <a:pt x="3517810" y="5575780"/>
                  <a:pt x="3518120" y="5574954"/>
                </a:cubicBezTo>
                <a:cubicBezTo>
                  <a:pt x="3518585" y="5576193"/>
                  <a:pt x="3518585" y="5577122"/>
                  <a:pt x="3518275" y="5577948"/>
                </a:cubicBezTo>
                <a:cubicBezTo>
                  <a:pt x="3517965" y="5578775"/>
                  <a:pt x="3517501" y="5579394"/>
                  <a:pt x="3516726" y="5579910"/>
                </a:cubicBezTo>
                <a:cubicBezTo>
                  <a:pt x="3515642" y="5580323"/>
                  <a:pt x="3514093" y="5579394"/>
                  <a:pt x="3512234" y="5577329"/>
                </a:cubicBezTo>
                <a:cubicBezTo>
                  <a:pt x="3512234" y="5575470"/>
                  <a:pt x="3515487" y="5574438"/>
                  <a:pt x="3516881" y="5573405"/>
                </a:cubicBezTo>
                <a:close/>
                <a:moveTo>
                  <a:pt x="2704915" y="5573095"/>
                </a:moveTo>
                <a:cubicBezTo>
                  <a:pt x="2706619" y="5572063"/>
                  <a:pt x="2707238" y="5575574"/>
                  <a:pt x="2707858" y="5575986"/>
                </a:cubicBezTo>
                <a:cubicBezTo>
                  <a:pt x="2708013" y="5577225"/>
                  <a:pt x="2708322" y="5578361"/>
                  <a:pt x="2707083" y="5578775"/>
                </a:cubicBezTo>
                <a:cubicBezTo>
                  <a:pt x="2706463" y="5578878"/>
                  <a:pt x="2706154" y="5579187"/>
                  <a:pt x="2705689" y="5579187"/>
                </a:cubicBezTo>
                <a:cubicBezTo>
                  <a:pt x="2705379" y="5579187"/>
                  <a:pt x="2705070" y="5578981"/>
                  <a:pt x="2704605" y="5578155"/>
                </a:cubicBezTo>
                <a:cubicBezTo>
                  <a:pt x="2703830" y="5577742"/>
                  <a:pt x="2703676" y="5576503"/>
                  <a:pt x="2703056" y="5576090"/>
                </a:cubicBezTo>
                <a:cubicBezTo>
                  <a:pt x="2703056" y="5576090"/>
                  <a:pt x="2703211" y="5575470"/>
                  <a:pt x="2703520" y="5574747"/>
                </a:cubicBezTo>
                <a:cubicBezTo>
                  <a:pt x="2703830" y="5574024"/>
                  <a:pt x="2704295" y="5573302"/>
                  <a:pt x="2704915" y="5573095"/>
                </a:cubicBezTo>
                <a:close/>
                <a:moveTo>
                  <a:pt x="3304828" y="5572682"/>
                </a:moveTo>
                <a:cubicBezTo>
                  <a:pt x="3304673" y="5573921"/>
                  <a:pt x="3304518" y="5575160"/>
                  <a:pt x="3304363" y="5576400"/>
                </a:cubicBezTo>
                <a:cubicBezTo>
                  <a:pt x="3302969" y="5577329"/>
                  <a:pt x="3301420" y="5577845"/>
                  <a:pt x="3300026" y="5577845"/>
                </a:cubicBezTo>
                <a:cubicBezTo>
                  <a:pt x="3298787" y="5577948"/>
                  <a:pt x="3297548" y="5577432"/>
                  <a:pt x="3296774" y="5576296"/>
                </a:cubicBezTo>
                <a:cubicBezTo>
                  <a:pt x="3296308" y="5575574"/>
                  <a:pt x="3295999" y="5574541"/>
                  <a:pt x="3296154" y="5573199"/>
                </a:cubicBezTo>
                <a:cubicBezTo>
                  <a:pt x="3298012" y="5571340"/>
                  <a:pt x="3303279" y="5570824"/>
                  <a:pt x="3304828" y="5572682"/>
                </a:cubicBezTo>
                <a:close/>
                <a:moveTo>
                  <a:pt x="2943455" y="5571959"/>
                </a:moveTo>
                <a:cubicBezTo>
                  <a:pt x="2944384" y="5573715"/>
                  <a:pt x="2943610" y="5575367"/>
                  <a:pt x="2942835" y="5577019"/>
                </a:cubicBezTo>
                <a:cubicBezTo>
                  <a:pt x="2942061" y="5578258"/>
                  <a:pt x="2941286" y="5578671"/>
                  <a:pt x="2940357" y="5578568"/>
                </a:cubicBezTo>
                <a:cubicBezTo>
                  <a:pt x="2939582" y="5578361"/>
                  <a:pt x="2938653" y="5577639"/>
                  <a:pt x="2937879" y="5576813"/>
                </a:cubicBezTo>
                <a:cubicBezTo>
                  <a:pt x="2936020" y="5574954"/>
                  <a:pt x="2936794" y="5573302"/>
                  <a:pt x="2936794" y="5573302"/>
                </a:cubicBezTo>
                <a:cubicBezTo>
                  <a:pt x="2938343" y="5570824"/>
                  <a:pt x="2940822" y="5570101"/>
                  <a:pt x="2943455" y="5571959"/>
                </a:cubicBezTo>
                <a:close/>
                <a:moveTo>
                  <a:pt x="2877159" y="5571134"/>
                </a:moveTo>
                <a:cubicBezTo>
                  <a:pt x="2878863" y="5573302"/>
                  <a:pt x="2879793" y="5575367"/>
                  <a:pt x="2880258" y="5577329"/>
                </a:cubicBezTo>
                <a:lnTo>
                  <a:pt x="2879947" y="5582698"/>
                </a:lnTo>
                <a:lnTo>
                  <a:pt x="2880877" y="5582905"/>
                </a:lnTo>
                <a:cubicBezTo>
                  <a:pt x="2883510" y="5583834"/>
                  <a:pt x="2885678" y="5585383"/>
                  <a:pt x="2887537" y="5587345"/>
                </a:cubicBezTo>
                <a:lnTo>
                  <a:pt x="2890325" y="5591372"/>
                </a:lnTo>
                <a:lnTo>
                  <a:pt x="2891100" y="5587654"/>
                </a:lnTo>
                <a:cubicBezTo>
                  <a:pt x="2892649" y="5583524"/>
                  <a:pt x="2895282" y="5579394"/>
                  <a:pt x="2899155" y="5575367"/>
                </a:cubicBezTo>
                <a:cubicBezTo>
                  <a:pt x="2904886" y="5575574"/>
                  <a:pt x="2906280" y="5579910"/>
                  <a:pt x="2905196" y="5584970"/>
                </a:cubicBezTo>
                <a:cubicBezTo>
                  <a:pt x="2903956" y="5591372"/>
                  <a:pt x="2898845" y="5598703"/>
                  <a:pt x="2893733" y="5600355"/>
                </a:cubicBezTo>
                <a:lnTo>
                  <a:pt x="2893269" y="5600355"/>
                </a:lnTo>
                <a:lnTo>
                  <a:pt x="2892959" y="5607273"/>
                </a:lnTo>
                <a:cubicBezTo>
                  <a:pt x="2892649" y="5609751"/>
                  <a:pt x="2891875" y="5612333"/>
                  <a:pt x="2890635" y="5614811"/>
                </a:cubicBezTo>
                <a:cubicBezTo>
                  <a:pt x="2889396" y="5614708"/>
                  <a:pt x="2888312" y="5614708"/>
                  <a:pt x="2888157" y="5615844"/>
                </a:cubicBezTo>
                <a:cubicBezTo>
                  <a:pt x="2880567" y="5616153"/>
                  <a:pt x="2873907" y="5610990"/>
                  <a:pt x="2870499" y="5603969"/>
                </a:cubicBezTo>
                <a:cubicBezTo>
                  <a:pt x="2869260" y="5601387"/>
                  <a:pt x="2868485" y="5598600"/>
                  <a:pt x="2868175" y="5595709"/>
                </a:cubicBezTo>
                <a:lnTo>
                  <a:pt x="2868640" y="5591475"/>
                </a:lnTo>
                <a:lnTo>
                  <a:pt x="2867556" y="5591888"/>
                </a:lnTo>
                <a:cubicBezTo>
                  <a:pt x="2862289" y="5592301"/>
                  <a:pt x="2857023" y="5589513"/>
                  <a:pt x="2855939" y="5581976"/>
                </a:cubicBezTo>
                <a:cubicBezTo>
                  <a:pt x="2858882" y="5575883"/>
                  <a:pt x="2872048" y="5570720"/>
                  <a:pt x="2877159" y="5571134"/>
                </a:cubicBezTo>
                <a:close/>
                <a:moveTo>
                  <a:pt x="3015482" y="5570617"/>
                </a:moveTo>
                <a:cubicBezTo>
                  <a:pt x="3016101" y="5571547"/>
                  <a:pt x="3017650" y="5572579"/>
                  <a:pt x="3018270" y="5574438"/>
                </a:cubicBezTo>
                <a:cubicBezTo>
                  <a:pt x="3017340" y="5575883"/>
                  <a:pt x="3016411" y="5576400"/>
                  <a:pt x="3015637" y="5576503"/>
                </a:cubicBezTo>
                <a:cubicBezTo>
                  <a:pt x="3014862" y="5576503"/>
                  <a:pt x="3014243" y="5575986"/>
                  <a:pt x="3013933" y="5575264"/>
                </a:cubicBezTo>
                <a:cubicBezTo>
                  <a:pt x="3013004" y="5573715"/>
                  <a:pt x="3013313" y="5571340"/>
                  <a:pt x="3015482" y="5570617"/>
                </a:cubicBezTo>
                <a:close/>
                <a:moveTo>
                  <a:pt x="3265639" y="5568965"/>
                </a:moveTo>
                <a:cubicBezTo>
                  <a:pt x="3267188" y="5569894"/>
                  <a:pt x="3267808" y="5572682"/>
                  <a:pt x="3266878" y="5577948"/>
                </a:cubicBezTo>
                <a:lnTo>
                  <a:pt x="3265949" y="5581976"/>
                </a:lnTo>
                <a:lnTo>
                  <a:pt x="3266259" y="5581976"/>
                </a:lnTo>
                <a:cubicBezTo>
                  <a:pt x="3267343" y="5581976"/>
                  <a:pt x="3268427" y="5582388"/>
                  <a:pt x="3269512" y="5583111"/>
                </a:cubicBezTo>
                <a:lnTo>
                  <a:pt x="3272455" y="5587138"/>
                </a:lnTo>
                <a:lnTo>
                  <a:pt x="3286705" y="5586622"/>
                </a:lnTo>
                <a:cubicBezTo>
                  <a:pt x="3293676" y="5586106"/>
                  <a:pt x="3300336" y="5585486"/>
                  <a:pt x="3306532" y="5586106"/>
                </a:cubicBezTo>
                <a:lnTo>
                  <a:pt x="3300801" y="5590029"/>
                </a:lnTo>
                <a:lnTo>
                  <a:pt x="3301420" y="5590546"/>
                </a:lnTo>
                <a:cubicBezTo>
                  <a:pt x="3304518" y="5591372"/>
                  <a:pt x="3307771" y="5587242"/>
                  <a:pt x="3310249" y="5591372"/>
                </a:cubicBezTo>
                <a:cubicBezTo>
                  <a:pt x="3310404" y="5594056"/>
                  <a:pt x="3311488" y="5596741"/>
                  <a:pt x="3310714" y="5599736"/>
                </a:cubicBezTo>
                <a:cubicBezTo>
                  <a:pt x="3310404" y="5600665"/>
                  <a:pt x="3309940" y="5601594"/>
                  <a:pt x="3309165" y="5602627"/>
                </a:cubicBezTo>
                <a:cubicBezTo>
                  <a:pt x="3304209" y="5597877"/>
                  <a:pt x="3299407" y="5596535"/>
                  <a:pt x="3294140" y="5593437"/>
                </a:cubicBezTo>
                <a:lnTo>
                  <a:pt x="3294295" y="5593024"/>
                </a:lnTo>
                <a:lnTo>
                  <a:pt x="3286860" y="5594986"/>
                </a:lnTo>
                <a:lnTo>
                  <a:pt x="3281748" y="5595502"/>
                </a:lnTo>
                <a:lnTo>
                  <a:pt x="3282213" y="5595915"/>
                </a:lnTo>
                <a:cubicBezTo>
                  <a:pt x="3284227" y="5603143"/>
                  <a:pt x="3284072" y="5608822"/>
                  <a:pt x="3277721" y="5611404"/>
                </a:cubicBezTo>
                <a:cubicBezTo>
                  <a:pt x="3277411" y="5610164"/>
                  <a:pt x="3276172" y="5610474"/>
                  <a:pt x="3275088" y="5610681"/>
                </a:cubicBezTo>
                <a:cubicBezTo>
                  <a:pt x="3273539" y="5609442"/>
                  <a:pt x="3272764" y="5607583"/>
                  <a:pt x="3272300" y="5605621"/>
                </a:cubicBezTo>
                <a:lnTo>
                  <a:pt x="3272609" y="5602007"/>
                </a:lnTo>
                <a:lnTo>
                  <a:pt x="3268118" y="5601594"/>
                </a:lnTo>
                <a:cubicBezTo>
                  <a:pt x="3267808" y="5599736"/>
                  <a:pt x="3268118" y="5598187"/>
                  <a:pt x="3268737" y="5596948"/>
                </a:cubicBezTo>
                <a:lnTo>
                  <a:pt x="3268892" y="5596741"/>
                </a:lnTo>
                <a:lnTo>
                  <a:pt x="3263935" y="5597154"/>
                </a:lnTo>
                <a:cubicBezTo>
                  <a:pt x="3264245" y="5595605"/>
                  <a:pt x="3263935" y="5594263"/>
                  <a:pt x="3263935" y="5592817"/>
                </a:cubicBezTo>
                <a:lnTo>
                  <a:pt x="3264245" y="5590443"/>
                </a:lnTo>
                <a:lnTo>
                  <a:pt x="3263316" y="5590339"/>
                </a:lnTo>
                <a:cubicBezTo>
                  <a:pt x="3262231" y="5588377"/>
                  <a:pt x="3261922" y="5586725"/>
                  <a:pt x="3261922" y="5585486"/>
                </a:cubicBezTo>
                <a:lnTo>
                  <a:pt x="3262542" y="5584247"/>
                </a:lnTo>
                <a:lnTo>
                  <a:pt x="3258359" y="5584453"/>
                </a:lnTo>
                <a:cubicBezTo>
                  <a:pt x="3256500" y="5584247"/>
                  <a:pt x="3255261" y="5583731"/>
                  <a:pt x="3254487" y="5582905"/>
                </a:cubicBezTo>
                <a:lnTo>
                  <a:pt x="3253557" y="5581046"/>
                </a:lnTo>
                <a:lnTo>
                  <a:pt x="3252473" y="5582905"/>
                </a:lnTo>
                <a:cubicBezTo>
                  <a:pt x="3251544" y="5583731"/>
                  <a:pt x="3249685" y="5584453"/>
                  <a:pt x="3247516" y="5584867"/>
                </a:cubicBezTo>
                <a:cubicBezTo>
                  <a:pt x="3245503" y="5585280"/>
                  <a:pt x="3243334" y="5585176"/>
                  <a:pt x="3242250" y="5584350"/>
                </a:cubicBezTo>
                <a:cubicBezTo>
                  <a:pt x="3243179" y="5582698"/>
                  <a:pt x="3244264" y="5580943"/>
                  <a:pt x="3245193" y="5579291"/>
                </a:cubicBezTo>
                <a:cubicBezTo>
                  <a:pt x="3245193" y="5580117"/>
                  <a:pt x="3252938" y="5578568"/>
                  <a:pt x="3252938" y="5578568"/>
                </a:cubicBezTo>
                <a:lnTo>
                  <a:pt x="3253712" y="5579910"/>
                </a:lnTo>
                <a:lnTo>
                  <a:pt x="3254487" y="5576296"/>
                </a:lnTo>
                <a:cubicBezTo>
                  <a:pt x="3256965" y="5571547"/>
                  <a:pt x="3262851" y="5566900"/>
                  <a:pt x="3265639" y="5568965"/>
                </a:cubicBezTo>
                <a:close/>
                <a:moveTo>
                  <a:pt x="2820467" y="5567726"/>
                </a:moveTo>
                <a:cubicBezTo>
                  <a:pt x="2823255" y="5571237"/>
                  <a:pt x="2826198" y="5574747"/>
                  <a:pt x="2828987" y="5578361"/>
                </a:cubicBezTo>
                <a:cubicBezTo>
                  <a:pt x="2829761" y="5586828"/>
                  <a:pt x="2824030" y="5593747"/>
                  <a:pt x="2816905" y="5595089"/>
                </a:cubicBezTo>
                <a:cubicBezTo>
                  <a:pt x="2815666" y="5595295"/>
                  <a:pt x="2814426" y="5595295"/>
                  <a:pt x="2813187" y="5595192"/>
                </a:cubicBezTo>
                <a:cubicBezTo>
                  <a:pt x="2811948" y="5595089"/>
                  <a:pt x="2810709" y="5594779"/>
                  <a:pt x="2809470" y="5594366"/>
                </a:cubicBezTo>
                <a:cubicBezTo>
                  <a:pt x="2806062" y="5593024"/>
                  <a:pt x="2802809" y="5590339"/>
                  <a:pt x="2800021" y="5586003"/>
                </a:cubicBezTo>
                <a:cubicBezTo>
                  <a:pt x="2799556" y="5583834"/>
                  <a:pt x="2800021" y="5581459"/>
                  <a:pt x="2801105" y="5579187"/>
                </a:cubicBezTo>
                <a:cubicBezTo>
                  <a:pt x="2804668" y="5572269"/>
                  <a:pt x="2814426" y="5565971"/>
                  <a:pt x="2820467" y="5567726"/>
                </a:cubicBezTo>
                <a:close/>
                <a:moveTo>
                  <a:pt x="2964521" y="5567519"/>
                </a:moveTo>
                <a:cubicBezTo>
                  <a:pt x="2964831" y="5569894"/>
                  <a:pt x="2970252" y="5569069"/>
                  <a:pt x="2970872" y="5572682"/>
                </a:cubicBezTo>
                <a:cubicBezTo>
                  <a:pt x="2973814" y="5583111"/>
                  <a:pt x="2970872" y="5584557"/>
                  <a:pt x="2965450" y="5588584"/>
                </a:cubicBezTo>
                <a:cubicBezTo>
                  <a:pt x="2965915" y="5587861"/>
                  <a:pt x="2964831" y="5588171"/>
                  <a:pt x="2964831" y="5588171"/>
                </a:cubicBezTo>
                <a:cubicBezTo>
                  <a:pt x="2962507" y="5588790"/>
                  <a:pt x="2966070" y="5592198"/>
                  <a:pt x="2963127" y="5593540"/>
                </a:cubicBezTo>
                <a:cubicBezTo>
                  <a:pt x="2962043" y="5594056"/>
                  <a:pt x="2960803" y="5594056"/>
                  <a:pt x="2959719" y="5593850"/>
                </a:cubicBezTo>
                <a:lnTo>
                  <a:pt x="2954453" y="5600872"/>
                </a:lnTo>
                <a:cubicBezTo>
                  <a:pt x="2951974" y="5602833"/>
                  <a:pt x="2949186" y="5604176"/>
                  <a:pt x="2946553" y="5604382"/>
                </a:cubicBezTo>
                <a:cubicBezTo>
                  <a:pt x="2945004" y="5598083"/>
                  <a:pt x="2944539" y="5592817"/>
                  <a:pt x="2945933" y="5588377"/>
                </a:cubicBezTo>
                <a:lnTo>
                  <a:pt x="2949031" y="5583627"/>
                </a:lnTo>
                <a:lnTo>
                  <a:pt x="2948722" y="5582698"/>
                </a:lnTo>
                <a:cubicBezTo>
                  <a:pt x="2948567" y="5581769"/>
                  <a:pt x="2949031" y="5581253"/>
                  <a:pt x="2950115" y="5580943"/>
                </a:cubicBezTo>
                <a:cubicBezTo>
                  <a:pt x="2950890" y="5580426"/>
                  <a:pt x="2951665" y="5580426"/>
                  <a:pt x="2952284" y="5580633"/>
                </a:cubicBezTo>
                <a:lnTo>
                  <a:pt x="2952439" y="5580633"/>
                </a:lnTo>
                <a:lnTo>
                  <a:pt x="2957241" y="5577742"/>
                </a:lnTo>
                <a:lnTo>
                  <a:pt x="2958325" y="5574747"/>
                </a:lnTo>
                <a:lnTo>
                  <a:pt x="2959719" y="5571856"/>
                </a:lnTo>
                <a:lnTo>
                  <a:pt x="2958790" y="5572579"/>
                </a:lnTo>
                <a:cubicBezTo>
                  <a:pt x="2955227" y="5574747"/>
                  <a:pt x="2949496" y="5575677"/>
                  <a:pt x="2946398" y="5571547"/>
                </a:cubicBezTo>
                <a:cubicBezTo>
                  <a:pt x="2949496" y="5568242"/>
                  <a:pt x="2952129" y="5567519"/>
                  <a:pt x="2954453" y="5567726"/>
                </a:cubicBezTo>
                <a:lnTo>
                  <a:pt x="2961113" y="5570101"/>
                </a:lnTo>
                <a:close/>
                <a:moveTo>
                  <a:pt x="2836422" y="5566177"/>
                </a:moveTo>
                <a:cubicBezTo>
                  <a:pt x="2839520" y="5565351"/>
                  <a:pt x="2843237" y="5566900"/>
                  <a:pt x="2844167" y="5571547"/>
                </a:cubicBezTo>
                <a:cubicBezTo>
                  <a:pt x="2842153" y="5574747"/>
                  <a:pt x="2839829" y="5576296"/>
                  <a:pt x="2838280" y="5577639"/>
                </a:cubicBezTo>
                <a:cubicBezTo>
                  <a:pt x="2836422" y="5576400"/>
                  <a:pt x="2834563" y="5576090"/>
                  <a:pt x="2832704" y="5574954"/>
                </a:cubicBezTo>
                <a:cubicBezTo>
                  <a:pt x="2830845" y="5570101"/>
                  <a:pt x="2833324" y="5566900"/>
                  <a:pt x="2836422" y="5566177"/>
                </a:cubicBezTo>
                <a:close/>
                <a:moveTo>
                  <a:pt x="3111827" y="5565145"/>
                </a:moveTo>
                <a:lnTo>
                  <a:pt x="3113221" y="5568758"/>
                </a:lnTo>
                <a:lnTo>
                  <a:pt x="3113376" y="5568242"/>
                </a:lnTo>
                <a:cubicBezTo>
                  <a:pt x="3119572" y="5575264"/>
                  <a:pt x="3117249" y="5586622"/>
                  <a:pt x="3114461" y="5591578"/>
                </a:cubicBezTo>
                <a:cubicBezTo>
                  <a:pt x="3111517" y="5588171"/>
                  <a:pt x="3110123" y="5583318"/>
                  <a:pt x="3110123" y="5578878"/>
                </a:cubicBezTo>
                <a:lnTo>
                  <a:pt x="3110588" y="5574644"/>
                </a:lnTo>
                <a:lnTo>
                  <a:pt x="3107645" y="5573818"/>
                </a:lnTo>
                <a:cubicBezTo>
                  <a:pt x="3105631" y="5572889"/>
                  <a:pt x="3103772" y="5571650"/>
                  <a:pt x="3102069" y="5570720"/>
                </a:cubicBezTo>
                <a:cubicBezTo>
                  <a:pt x="3105322" y="5569172"/>
                  <a:pt x="3108729" y="5571030"/>
                  <a:pt x="3111827" y="5565145"/>
                </a:cubicBezTo>
                <a:close/>
                <a:moveTo>
                  <a:pt x="2727685" y="5565042"/>
                </a:moveTo>
                <a:lnTo>
                  <a:pt x="2728304" y="5565454"/>
                </a:lnTo>
                <a:lnTo>
                  <a:pt x="2728769" y="5565248"/>
                </a:lnTo>
                <a:cubicBezTo>
                  <a:pt x="2729698" y="5565145"/>
                  <a:pt x="2730782" y="5565351"/>
                  <a:pt x="2731557" y="5565351"/>
                </a:cubicBezTo>
                <a:cubicBezTo>
                  <a:pt x="2732176" y="5563492"/>
                  <a:pt x="2735119" y="5566797"/>
                  <a:pt x="2735739" y="5565042"/>
                </a:cubicBezTo>
                <a:cubicBezTo>
                  <a:pt x="2739456" y="5568346"/>
                  <a:pt x="2743019" y="5563699"/>
                  <a:pt x="2749370" y="5567726"/>
                </a:cubicBezTo>
                <a:cubicBezTo>
                  <a:pt x="2747356" y="5568552"/>
                  <a:pt x="2745498" y="5568965"/>
                  <a:pt x="2743794" y="5569069"/>
                </a:cubicBezTo>
                <a:cubicBezTo>
                  <a:pt x="2741006" y="5569378"/>
                  <a:pt x="2738682" y="5569172"/>
                  <a:pt x="2736514" y="5569069"/>
                </a:cubicBezTo>
                <a:lnTo>
                  <a:pt x="2730937" y="5569688"/>
                </a:lnTo>
                <a:lnTo>
                  <a:pt x="2730008" y="5571340"/>
                </a:lnTo>
                <a:cubicBezTo>
                  <a:pt x="2729388" y="5572166"/>
                  <a:pt x="2728924" y="5572682"/>
                  <a:pt x="2728304" y="5572992"/>
                </a:cubicBezTo>
                <a:cubicBezTo>
                  <a:pt x="2727839" y="5573302"/>
                  <a:pt x="2727220" y="5573302"/>
                  <a:pt x="2726755" y="5573095"/>
                </a:cubicBezTo>
                <a:cubicBezTo>
                  <a:pt x="2726445" y="5572992"/>
                  <a:pt x="2725981" y="5572579"/>
                  <a:pt x="2725671" y="5572166"/>
                </a:cubicBezTo>
                <a:cubicBezTo>
                  <a:pt x="2724122" y="5569791"/>
                  <a:pt x="2724432" y="5564628"/>
                  <a:pt x="2727685" y="5565042"/>
                </a:cubicBezTo>
                <a:close/>
                <a:moveTo>
                  <a:pt x="3314645" y="5562847"/>
                </a:moveTo>
                <a:cubicBezTo>
                  <a:pt x="3316291" y="5563234"/>
                  <a:pt x="3317375" y="5564835"/>
                  <a:pt x="3315051" y="5568242"/>
                </a:cubicBezTo>
                <a:cubicBezTo>
                  <a:pt x="3312108" y="5566900"/>
                  <a:pt x="3311024" y="5565661"/>
                  <a:pt x="3310869" y="5564732"/>
                </a:cubicBezTo>
                <a:cubicBezTo>
                  <a:pt x="3310792" y="5563286"/>
                  <a:pt x="3312999" y="5562460"/>
                  <a:pt x="3314645" y="5562847"/>
                </a:cubicBezTo>
                <a:close/>
                <a:moveTo>
                  <a:pt x="3123135" y="5562253"/>
                </a:moveTo>
                <a:cubicBezTo>
                  <a:pt x="3123754" y="5563183"/>
                  <a:pt x="3124374" y="5564215"/>
                  <a:pt x="3125148" y="5565145"/>
                </a:cubicBezTo>
                <a:cubicBezTo>
                  <a:pt x="3121121" y="5569172"/>
                  <a:pt x="3120347" y="5573509"/>
                  <a:pt x="3117404" y="5576813"/>
                </a:cubicBezTo>
                <a:cubicBezTo>
                  <a:pt x="3116474" y="5572269"/>
                  <a:pt x="3115235" y="5564215"/>
                  <a:pt x="3123135" y="5562253"/>
                </a:cubicBezTo>
                <a:close/>
                <a:moveTo>
                  <a:pt x="3557619" y="5561324"/>
                </a:moveTo>
                <a:cubicBezTo>
                  <a:pt x="3565209" y="5568346"/>
                  <a:pt x="3572644" y="5569172"/>
                  <a:pt x="3579924" y="5578775"/>
                </a:cubicBezTo>
                <a:cubicBezTo>
                  <a:pt x="3578995" y="5579187"/>
                  <a:pt x="3578065" y="5579394"/>
                  <a:pt x="3576826" y="5579394"/>
                </a:cubicBezTo>
                <a:cubicBezTo>
                  <a:pt x="3575587" y="5579394"/>
                  <a:pt x="3574348" y="5579084"/>
                  <a:pt x="3572953" y="5578775"/>
                </a:cubicBezTo>
                <a:cubicBezTo>
                  <a:pt x="3565054" y="5576400"/>
                  <a:pt x="3555450" y="5568036"/>
                  <a:pt x="3557619" y="5561324"/>
                </a:cubicBezTo>
                <a:close/>
                <a:moveTo>
                  <a:pt x="2944694" y="5561221"/>
                </a:moveTo>
                <a:cubicBezTo>
                  <a:pt x="2944229" y="5561944"/>
                  <a:pt x="2944229" y="5561944"/>
                  <a:pt x="2944229" y="5561944"/>
                </a:cubicBezTo>
                <a:cubicBezTo>
                  <a:pt x="2944384" y="5563183"/>
                  <a:pt x="2944849" y="5562357"/>
                  <a:pt x="2945624" y="5562770"/>
                </a:cubicBezTo>
                <a:cubicBezTo>
                  <a:pt x="2945624" y="5562770"/>
                  <a:pt x="2944849" y="5562357"/>
                  <a:pt x="2946088" y="5562047"/>
                </a:cubicBezTo>
                <a:cubicBezTo>
                  <a:pt x="2945624" y="5562770"/>
                  <a:pt x="2946243" y="5563286"/>
                  <a:pt x="2947018" y="5563699"/>
                </a:cubicBezTo>
                <a:cubicBezTo>
                  <a:pt x="2947327" y="5566074"/>
                  <a:pt x="2947327" y="5569275"/>
                  <a:pt x="2945624" y="5570411"/>
                </a:cubicBezTo>
                <a:cubicBezTo>
                  <a:pt x="2943300" y="5571030"/>
                  <a:pt x="2942371" y="5569378"/>
                  <a:pt x="2942061" y="5568139"/>
                </a:cubicBezTo>
                <a:cubicBezTo>
                  <a:pt x="2941286" y="5567107"/>
                  <a:pt x="2941441" y="5565868"/>
                  <a:pt x="2942061" y="5564628"/>
                </a:cubicBezTo>
                <a:cubicBezTo>
                  <a:pt x="2942680" y="5563286"/>
                  <a:pt x="2943610" y="5562150"/>
                  <a:pt x="2944694" y="5561221"/>
                </a:cubicBezTo>
                <a:close/>
                <a:moveTo>
                  <a:pt x="2835802" y="5560085"/>
                </a:moveTo>
                <a:cubicBezTo>
                  <a:pt x="2835802" y="5560085"/>
                  <a:pt x="2835802" y="5560085"/>
                  <a:pt x="2837661" y="5561737"/>
                </a:cubicBezTo>
                <a:lnTo>
                  <a:pt x="2837816" y="5562563"/>
                </a:lnTo>
                <a:cubicBezTo>
                  <a:pt x="2837661" y="5562976"/>
                  <a:pt x="2837041" y="5563286"/>
                  <a:pt x="2836112" y="5563389"/>
                </a:cubicBezTo>
                <a:cubicBezTo>
                  <a:pt x="2834718" y="5563596"/>
                  <a:pt x="2832859" y="5563492"/>
                  <a:pt x="2831155" y="5563389"/>
                </a:cubicBezTo>
                <a:cubicBezTo>
                  <a:pt x="2829606" y="5563286"/>
                  <a:pt x="2828212" y="5563080"/>
                  <a:pt x="2827902" y="5563080"/>
                </a:cubicBezTo>
                <a:cubicBezTo>
                  <a:pt x="2827902" y="5563080"/>
                  <a:pt x="2826973" y="5563183"/>
                  <a:pt x="2826198" y="5563286"/>
                </a:cubicBezTo>
                <a:cubicBezTo>
                  <a:pt x="2825269" y="5562460"/>
                  <a:pt x="2825114" y="5561531"/>
                  <a:pt x="2824340" y="5561634"/>
                </a:cubicBezTo>
                <a:cubicBezTo>
                  <a:pt x="2826508" y="5558949"/>
                  <a:pt x="2828987" y="5559672"/>
                  <a:pt x="2831620" y="5560291"/>
                </a:cubicBezTo>
                <a:cubicBezTo>
                  <a:pt x="2833324" y="5561118"/>
                  <a:pt x="2834253" y="5561014"/>
                  <a:pt x="2835802" y="5560085"/>
                </a:cubicBezTo>
                <a:close/>
                <a:moveTo>
                  <a:pt x="2787164" y="5559259"/>
                </a:moveTo>
                <a:cubicBezTo>
                  <a:pt x="2778800" y="5563596"/>
                  <a:pt x="2776012" y="5570617"/>
                  <a:pt x="2765479" y="5573405"/>
                </a:cubicBezTo>
                <a:cubicBezTo>
                  <a:pt x="2764240" y="5564732"/>
                  <a:pt x="2779885" y="5552547"/>
                  <a:pt x="2787164" y="5559259"/>
                </a:cubicBezTo>
                <a:close/>
                <a:moveTo>
                  <a:pt x="2999992" y="5558846"/>
                </a:moveTo>
                <a:cubicBezTo>
                  <a:pt x="3004329" y="5561324"/>
                  <a:pt x="3003865" y="5567829"/>
                  <a:pt x="2999682" y="5568965"/>
                </a:cubicBezTo>
                <a:cubicBezTo>
                  <a:pt x="2998598" y="5568346"/>
                  <a:pt x="2996739" y="5567933"/>
                  <a:pt x="2995345" y="5566487"/>
                </a:cubicBezTo>
                <a:cubicBezTo>
                  <a:pt x="2994881" y="5562047"/>
                  <a:pt x="2996739" y="5559775"/>
                  <a:pt x="2999992" y="5558846"/>
                </a:cubicBezTo>
                <a:close/>
                <a:moveTo>
                  <a:pt x="2890945" y="5554200"/>
                </a:moveTo>
                <a:cubicBezTo>
                  <a:pt x="2890790" y="5558226"/>
                  <a:pt x="2890635" y="5562253"/>
                  <a:pt x="2889861" y="5566280"/>
                </a:cubicBezTo>
                <a:cubicBezTo>
                  <a:pt x="2889086" y="5570308"/>
                  <a:pt x="2887692" y="5574438"/>
                  <a:pt x="2884439" y="5578568"/>
                </a:cubicBezTo>
                <a:cubicBezTo>
                  <a:pt x="2878244" y="5570927"/>
                  <a:pt x="2885989" y="5559156"/>
                  <a:pt x="2890945" y="5554200"/>
                </a:cubicBezTo>
                <a:close/>
                <a:moveTo>
                  <a:pt x="3079454" y="5549966"/>
                </a:moveTo>
                <a:cubicBezTo>
                  <a:pt x="3082397" y="5550173"/>
                  <a:pt x="3084565" y="5552031"/>
                  <a:pt x="3084720" y="5555129"/>
                </a:cubicBezTo>
                <a:cubicBezTo>
                  <a:pt x="3083946" y="5556781"/>
                  <a:pt x="3082087" y="5556884"/>
                  <a:pt x="3080228" y="5557090"/>
                </a:cubicBezTo>
                <a:cubicBezTo>
                  <a:pt x="3078834" y="5556987"/>
                  <a:pt x="3077905" y="5556471"/>
                  <a:pt x="3077440" y="5555645"/>
                </a:cubicBezTo>
                <a:cubicBezTo>
                  <a:pt x="3077130" y="5554819"/>
                  <a:pt x="3077130" y="5553683"/>
                  <a:pt x="3077285" y="5552547"/>
                </a:cubicBezTo>
                <a:cubicBezTo>
                  <a:pt x="3077595" y="5550173"/>
                  <a:pt x="3079454" y="5549966"/>
                  <a:pt x="3079454" y="5549966"/>
                </a:cubicBezTo>
                <a:close/>
                <a:moveTo>
                  <a:pt x="2878708" y="5549656"/>
                </a:moveTo>
                <a:cubicBezTo>
                  <a:pt x="2880258" y="5548727"/>
                  <a:pt x="2883046" y="5551205"/>
                  <a:pt x="2884904" y="5551928"/>
                </a:cubicBezTo>
                <a:cubicBezTo>
                  <a:pt x="2884130" y="5552857"/>
                  <a:pt x="2883355" y="5553786"/>
                  <a:pt x="2884285" y="5553786"/>
                </a:cubicBezTo>
                <a:cubicBezTo>
                  <a:pt x="2883510" y="5554716"/>
                  <a:pt x="2882735" y="5555129"/>
                  <a:pt x="2881961" y="5555335"/>
                </a:cubicBezTo>
                <a:cubicBezTo>
                  <a:pt x="2881187" y="5555439"/>
                  <a:pt x="2880258" y="5555335"/>
                  <a:pt x="2879483" y="5554922"/>
                </a:cubicBezTo>
                <a:cubicBezTo>
                  <a:pt x="2878399" y="5554096"/>
                  <a:pt x="2878244" y="5552341"/>
                  <a:pt x="2878708" y="5549656"/>
                </a:cubicBezTo>
                <a:close/>
                <a:moveTo>
                  <a:pt x="3366477" y="5549140"/>
                </a:moveTo>
                <a:lnTo>
                  <a:pt x="3356873" y="5550276"/>
                </a:lnTo>
                <a:lnTo>
                  <a:pt x="3359661" y="5551308"/>
                </a:lnTo>
                <a:lnTo>
                  <a:pt x="3363689" y="5555748"/>
                </a:lnTo>
                <a:lnTo>
                  <a:pt x="3363689" y="5555439"/>
                </a:lnTo>
                <a:close/>
                <a:moveTo>
                  <a:pt x="3105167" y="5546765"/>
                </a:moveTo>
                <a:cubicBezTo>
                  <a:pt x="3114925" y="5553683"/>
                  <a:pt x="3111517" y="5561324"/>
                  <a:pt x="3105012" y="5560188"/>
                </a:cubicBezTo>
                <a:cubicBezTo>
                  <a:pt x="3102843" y="5559879"/>
                  <a:pt x="3100365" y="5558536"/>
                  <a:pt x="3098041" y="5555852"/>
                </a:cubicBezTo>
                <a:cubicBezTo>
                  <a:pt x="3096957" y="5551515"/>
                  <a:pt x="3101759" y="5545732"/>
                  <a:pt x="3105167" y="5546765"/>
                </a:cubicBezTo>
                <a:close/>
                <a:moveTo>
                  <a:pt x="2612441" y="5545836"/>
                </a:moveTo>
                <a:cubicBezTo>
                  <a:pt x="2616314" y="5545836"/>
                  <a:pt x="2615230" y="5545423"/>
                  <a:pt x="2618792" y="5547385"/>
                </a:cubicBezTo>
                <a:cubicBezTo>
                  <a:pt x="2617708" y="5549656"/>
                  <a:pt x="2616779" y="5552031"/>
                  <a:pt x="2615849" y="5554406"/>
                </a:cubicBezTo>
                <a:cubicBezTo>
                  <a:pt x="2614455" y="5553270"/>
                  <a:pt x="2612441" y="5553270"/>
                  <a:pt x="2611357" y="5552857"/>
                </a:cubicBezTo>
                <a:cubicBezTo>
                  <a:pt x="2610428" y="5550482"/>
                  <a:pt x="2610737" y="5548623"/>
                  <a:pt x="2612441" y="5545836"/>
                </a:cubicBezTo>
                <a:close/>
                <a:moveTo>
                  <a:pt x="2745188" y="5544493"/>
                </a:moveTo>
                <a:cubicBezTo>
                  <a:pt x="2745652" y="5543771"/>
                  <a:pt x="2748750" y="5544700"/>
                  <a:pt x="2749060" y="5545836"/>
                </a:cubicBezTo>
                <a:cubicBezTo>
                  <a:pt x="2750144" y="5548727"/>
                  <a:pt x="2747356" y="5550069"/>
                  <a:pt x="2744723" y="5552547"/>
                </a:cubicBezTo>
                <a:cubicBezTo>
                  <a:pt x="2744568" y="5551412"/>
                  <a:pt x="2743329" y="5551721"/>
                  <a:pt x="2742245" y="5552031"/>
                </a:cubicBezTo>
                <a:cubicBezTo>
                  <a:pt x="2741935" y="5550276"/>
                  <a:pt x="2741006" y="5547591"/>
                  <a:pt x="2742554" y="5545836"/>
                </a:cubicBezTo>
                <a:cubicBezTo>
                  <a:pt x="2743174" y="5545216"/>
                  <a:pt x="2743949" y="5544803"/>
                  <a:pt x="2745188" y="5544493"/>
                </a:cubicBezTo>
                <a:close/>
                <a:moveTo>
                  <a:pt x="2920066" y="5542635"/>
                </a:moveTo>
                <a:cubicBezTo>
                  <a:pt x="2919756" y="5545113"/>
                  <a:pt x="2920530" y="5545939"/>
                  <a:pt x="2919601" y="5545836"/>
                </a:cubicBezTo>
                <a:cubicBezTo>
                  <a:pt x="2919601" y="5546249"/>
                  <a:pt x="2919291" y="5546558"/>
                  <a:pt x="2919136" y="5546558"/>
                </a:cubicBezTo>
                <a:cubicBezTo>
                  <a:pt x="2918981" y="5546558"/>
                  <a:pt x="2918826" y="5546249"/>
                  <a:pt x="2918826" y="5545836"/>
                </a:cubicBezTo>
                <a:cubicBezTo>
                  <a:pt x="2917278" y="5545010"/>
                  <a:pt x="2919136" y="5543357"/>
                  <a:pt x="2920066" y="5542635"/>
                </a:cubicBezTo>
                <a:close/>
                <a:moveTo>
                  <a:pt x="3006808" y="5541912"/>
                </a:moveTo>
                <a:cubicBezTo>
                  <a:pt x="3007737" y="5542428"/>
                  <a:pt x="3008821" y="5542428"/>
                  <a:pt x="3009750" y="5542635"/>
                </a:cubicBezTo>
                <a:lnTo>
                  <a:pt x="3012693" y="5543874"/>
                </a:lnTo>
                <a:lnTo>
                  <a:pt x="3013468" y="5543564"/>
                </a:lnTo>
                <a:cubicBezTo>
                  <a:pt x="3020903" y="5553477"/>
                  <a:pt x="3018425" y="5557504"/>
                  <a:pt x="3013933" y="5558020"/>
                </a:cubicBezTo>
                <a:cubicBezTo>
                  <a:pt x="3011145" y="5558330"/>
                  <a:pt x="3007582" y="5557400"/>
                  <a:pt x="3005414" y="5555645"/>
                </a:cubicBezTo>
                <a:lnTo>
                  <a:pt x="3004639" y="5554716"/>
                </a:lnTo>
                <a:lnTo>
                  <a:pt x="3003400" y="5555439"/>
                </a:lnTo>
                <a:cubicBezTo>
                  <a:pt x="3001386" y="5555542"/>
                  <a:pt x="2999372" y="5554819"/>
                  <a:pt x="2997204" y="5552960"/>
                </a:cubicBezTo>
                <a:cubicBezTo>
                  <a:pt x="2996275" y="5548623"/>
                  <a:pt x="3001076" y="5546352"/>
                  <a:pt x="3003555" y="5544700"/>
                </a:cubicBezTo>
                <a:lnTo>
                  <a:pt x="3004639" y="5545939"/>
                </a:lnTo>
                <a:lnTo>
                  <a:pt x="3005259" y="5544184"/>
                </a:lnTo>
                <a:cubicBezTo>
                  <a:pt x="3005723" y="5543461"/>
                  <a:pt x="3006188" y="5542738"/>
                  <a:pt x="3006808" y="5541912"/>
                </a:cubicBezTo>
                <a:close/>
                <a:moveTo>
                  <a:pt x="2932612" y="5539847"/>
                </a:moveTo>
                <a:cubicBezTo>
                  <a:pt x="2934006" y="5540673"/>
                  <a:pt x="2935865" y="5540776"/>
                  <a:pt x="2936639" y="5542428"/>
                </a:cubicBezTo>
                <a:cubicBezTo>
                  <a:pt x="2937104" y="5544803"/>
                  <a:pt x="2934006" y="5548108"/>
                  <a:pt x="2932458" y="5549140"/>
                </a:cubicBezTo>
                <a:cubicBezTo>
                  <a:pt x="2930134" y="5549863"/>
                  <a:pt x="2928585" y="5547694"/>
                  <a:pt x="2928120" y="5545319"/>
                </a:cubicBezTo>
                <a:cubicBezTo>
                  <a:pt x="2927656" y="5544597"/>
                  <a:pt x="2927811" y="5543667"/>
                  <a:pt x="2928275" y="5542738"/>
                </a:cubicBezTo>
                <a:cubicBezTo>
                  <a:pt x="2928740" y="5541809"/>
                  <a:pt x="2929514" y="5540983"/>
                  <a:pt x="2930289" y="5540466"/>
                </a:cubicBezTo>
                <a:cubicBezTo>
                  <a:pt x="2931528" y="5540156"/>
                  <a:pt x="2931528" y="5540156"/>
                  <a:pt x="2932612" y="5539847"/>
                </a:cubicBezTo>
                <a:close/>
                <a:moveTo>
                  <a:pt x="3113686" y="5537162"/>
                </a:moveTo>
                <a:cubicBezTo>
                  <a:pt x="3117249" y="5535820"/>
                  <a:pt x="3120037" y="5536130"/>
                  <a:pt x="3122051" y="5537369"/>
                </a:cubicBezTo>
                <a:cubicBezTo>
                  <a:pt x="3123599" y="5538298"/>
                  <a:pt x="3124529" y="5539744"/>
                  <a:pt x="3125303" y="5541499"/>
                </a:cubicBezTo>
                <a:lnTo>
                  <a:pt x="3125458" y="5543254"/>
                </a:lnTo>
                <a:cubicBezTo>
                  <a:pt x="3128556" y="5542532"/>
                  <a:pt x="3132429" y="5544184"/>
                  <a:pt x="3133977" y="5548830"/>
                </a:cubicBezTo>
                <a:cubicBezTo>
                  <a:pt x="3132429" y="5552031"/>
                  <a:pt x="3130415" y="5553477"/>
                  <a:pt x="3129176" y="5554819"/>
                </a:cubicBezTo>
                <a:lnTo>
                  <a:pt x="3123754" y="5552238"/>
                </a:lnTo>
                <a:lnTo>
                  <a:pt x="3118797" y="5555129"/>
                </a:lnTo>
                <a:cubicBezTo>
                  <a:pt x="3113221" y="5552444"/>
                  <a:pt x="3111362" y="5541499"/>
                  <a:pt x="3113686" y="5537162"/>
                </a:cubicBezTo>
                <a:close/>
                <a:moveTo>
                  <a:pt x="3047855" y="5535407"/>
                </a:moveTo>
                <a:cubicBezTo>
                  <a:pt x="3049559" y="5537369"/>
                  <a:pt x="3050179" y="5539227"/>
                  <a:pt x="3049559" y="5541086"/>
                </a:cubicBezTo>
                <a:cubicBezTo>
                  <a:pt x="3049094" y="5542841"/>
                  <a:pt x="3047545" y="5544700"/>
                  <a:pt x="3045067" y="5546765"/>
                </a:cubicBezTo>
                <a:cubicBezTo>
                  <a:pt x="3043982" y="5545732"/>
                  <a:pt x="3043518" y="5544803"/>
                  <a:pt x="3043363" y="5543874"/>
                </a:cubicBezTo>
                <a:cubicBezTo>
                  <a:pt x="3042898" y="5541189"/>
                  <a:pt x="3045996" y="5538608"/>
                  <a:pt x="3047855" y="5535407"/>
                </a:cubicBezTo>
                <a:close/>
                <a:moveTo>
                  <a:pt x="2878708" y="5534994"/>
                </a:moveTo>
                <a:cubicBezTo>
                  <a:pt x="2880567" y="5536130"/>
                  <a:pt x="2881806" y="5538091"/>
                  <a:pt x="2881806" y="5541292"/>
                </a:cubicBezTo>
                <a:cubicBezTo>
                  <a:pt x="2881497" y="5546042"/>
                  <a:pt x="2879328" y="5548623"/>
                  <a:pt x="2876075" y="5550069"/>
                </a:cubicBezTo>
                <a:lnTo>
                  <a:pt x="2875920" y="5550173"/>
                </a:lnTo>
                <a:lnTo>
                  <a:pt x="2875610" y="5550689"/>
                </a:lnTo>
                <a:lnTo>
                  <a:pt x="2872822" y="5550895"/>
                </a:lnTo>
                <a:lnTo>
                  <a:pt x="2870499" y="5551515"/>
                </a:lnTo>
                <a:cubicBezTo>
                  <a:pt x="2868485" y="5551721"/>
                  <a:pt x="2866162" y="5551721"/>
                  <a:pt x="2863838" y="5551721"/>
                </a:cubicBezTo>
                <a:cubicBezTo>
                  <a:pt x="2862909" y="5548211"/>
                  <a:pt x="2860740" y="5545836"/>
                  <a:pt x="2859811" y="5542325"/>
                </a:cubicBezTo>
                <a:cubicBezTo>
                  <a:pt x="2861979" y="5537059"/>
                  <a:pt x="2873132" y="5531896"/>
                  <a:pt x="2878708" y="5534994"/>
                </a:cubicBezTo>
                <a:close/>
                <a:moveTo>
                  <a:pt x="2995190" y="5532619"/>
                </a:moveTo>
                <a:cubicBezTo>
                  <a:pt x="2995500" y="5533961"/>
                  <a:pt x="2992248" y="5538505"/>
                  <a:pt x="2989614" y="5539124"/>
                </a:cubicBezTo>
                <a:cubicBezTo>
                  <a:pt x="2988840" y="5539331"/>
                  <a:pt x="2988065" y="5539021"/>
                  <a:pt x="2987601" y="5538091"/>
                </a:cubicBezTo>
                <a:cubicBezTo>
                  <a:pt x="2986516" y="5534581"/>
                  <a:pt x="2993641" y="5531689"/>
                  <a:pt x="2995190" y="5532619"/>
                </a:cubicBezTo>
                <a:close/>
                <a:moveTo>
                  <a:pt x="2656122" y="5531277"/>
                </a:moveTo>
                <a:cubicBezTo>
                  <a:pt x="2659685" y="5530554"/>
                  <a:pt x="2660924" y="5530760"/>
                  <a:pt x="2664332" y="5532516"/>
                </a:cubicBezTo>
                <a:cubicBezTo>
                  <a:pt x="2665726" y="5538195"/>
                  <a:pt x="2663557" y="5542222"/>
                  <a:pt x="2661389" y="5546249"/>
                </a:cubicBezTo>
                <a:cubicBezTo>
                  <a:pt x="2660150" y="5546455"/>
                  <a:pt x="2658910" y="5546455"/>
                  <a:pt x="2657981" y="5546352"/>
                </a:cubicBezTo>
                <a:cubicBezTo>
                  <a:pt x="2651630" y="5545629"/>
                  <a:pt x="2655658" y="5536646"/>
                  <a:pt x="2656122" y="5531277"/>
                </a:cubicBezTo>
                <a:close/>
                <a:moveTo>
                  <a:pt x="3548790" y="5530967"/>
                </a:moveTo>
                <a:cubicBezTo>
                  <a:pt x="3550493" y="5532722"/>
                  <a:pt x="3552197" y="5534478"/>
                  <a:pt x="3550649" y="5536026"/>
                </a:cubicBezTo>
                <a:cubicBezTo>
                  <a:pt x="3548945" y="5535200"/>
                  <a:pt x="3548170" y="5535923"/>
                  <a:pt x="3546466" y="5533342"/>
                </a:cubicBezTo>
                <a:cubicBezTo>
                  <a:pt x="3547241" y="5532516"/>
                  <a:pt x="3548015" y="5531793"/>
                  <a:pt x="3548790" y="5530967"/>
                </a:cubicBezTo>
                <a:close/>
                <a:moveTo>
                  <a:pt x="2732486" y="5528902"/>
                </a:moveTo>
                <a:cubicBezTo>
                  <a:pt x="2736049" y="5529624"/>
                  <a:pt x="2737133" y="5530141"/>
                  <a:pt x="2739456" y="5533032"/>
                </a:cubicBezTo>
                <a:cubicBezTo>
                  <a:pt x="2737908" y="5538608"/>
                  <a:pt x="2734035" y="5541499"/>
                  <a:pt x="2730163" y="5544390"/>
                </a:cubicBezTo>
                <a:cubicBezTo>
                  <a:pt x="2727375" y="5543874"/>
                  <a:pt x="2725981" y="5543048"/>
                  <a:pt x="2725361" y="5541912"/>
                </a:cubicBezTo>
                <a:cubicBezTo>
                  <a:pt x="2723657" y="5538505"/>
                  <a:pt x="2729853" y="5532929"/>
                  <a:pt x="2732486" y="5528902"/>
                </a:cubicBezTo>
                <a:close/>
                <a:moveTo>
                  <a:pt x="2768577" y="5527766"/>
                </a:moveTo>
                <a:cubicBezTo>
                  <a:pt x="2771055" y="5525907"/>
                  <a:pt x="2775238" y="5526011"/>
                  <a:pt x="2778335" y="5529934"/>
                </a:cubicBezTo>
                <a:cubicBezTo>
                  <a:pt x="2778026" y="5533548"/>
                  <a:pt x="2776787" y="5535717"/>
                  <a:pt x="2776012" y="5537472"/>
                </a:cubicBezTo>
                <a:cubicBezTo>
                  <a:pt x="2773688" y="5537162"/>
                  <a:pt x="2771830" y="5537472"/>
                  <a:pt x="2769507" y="5537059"/>
                </a:cubicBezTo>
                <a:cubicBezTo>
                  <a:pt x="2765479" y="5533342"/>
                  <a:pt x="2766254" y="5529624"/>
                  <a:pt x="2768577" y="5527766"/>
                </a:cubicBezTo>
                <a:close/>
                <a:moveTo>
                  <a:pt x="2825850" y="5524978"/>
                </a:moveTo>
                <a:cubicBezTo>
                  <a:pt x="2829838" y="5524436"/>
                  <a:pt x="2833633" y="5525649"/>
                  <a:pt x="2833788" y="5528902"/>
                </a:cubicBezTo>
                <a:cubicBezTo>
                  <a:pt x="2833943" y="5529831"/>
                  <a:pt x="2833634" y="5530967"/>
                  <a:pt x="2833014" y="5532206"/>
                </a:cubicBezTo>
                <a:cubicBezTo>
                  <a:pt x="2831620" y="5533445"/>
                  <a:pt x="2830226" y="5534478"/>
                  <a:pt x="2828832" y="5535200"/>
                </a:cubicBezTo>
                <a:lnTo>
                  <a:pt x="2824804" y="5536852"/>
                </a:lnTo>
                <a:lnTo>
                  <a:pt x="2825114" y="5543151"/>
                </a:lnTo>
                <a:cubicBezTo>
                  <a:pt x="2825269" y="5545319"/>
                  <a:pt x="2824650" y="5546972"/>
                  <a:pt x="2821861" y="5548108"/>
                </a:cubicBezTo>
                <a:cubicBezTo>
                  <a:pt x="2820467" y="5546972"/>
                  <a:pt x="2819848" y="5544907"/>
                  <a:pt x="2819538" y="5542428"/>
                </a:cubicBezTo>
                <a:lnTo>
                  <a:pt x="2819383" y="5535820"/>
                </a:lnTo>
                <a:lnTo>
                  <a:pt x="2817060" y="5534374"/>
                </a:lnTo>
                <a:cubicBezTo>
                  <a:pt x="2817989" y="5533548"/>
                  <a:pt x="2817369" y="5532619"/>
                  <a:pt x="2816750" y="5531586"/>
                </a:cubicBezTo>
                <a:cubicBezTo>
                  <a:pt x="2817679" y="5527818"/>
                  <a:pt x="2821861" y="5525520"/>
                  <a:pt x="2825850" y="5524978"/>
                </a:cubicBezTo>
                <a:close/>
                <a:moveTo>
                  <a:pt x="3019354" y="5524565"/>
                </a:moveTo>
                <a:cubicBezTo>
                  <a:pt x="3022917" y="5527250"/>
                  <a:pt x="3024466" y="5524772"/>
                  <a:pt x="3029732" y="5529315"/>
                </a:cubicBezTo>
                <a:cubicBezTo>
                  <a:pt x="3036703" y="5534787"/>
                  <a:pt x="3035308" y="5540776"/>
                  <a:pt x="3032985" y="5544184"/>
                </a:cubicBezTo>
                <a:cubicBezTo>
                  <a:pt x="3032211" y="5543461"/>
                  <a:pt x="3028958" y="5548004"/>
                  <a:pt x="3024001" y="5547591"/>
                </a:cubicBezTo>
                <a:cubicBezTo>
                  <a:pt x="3022452" y="5547488"/>
                  <a:pt x="3020593" y="5546868"/>
                  <a:pt x="3018580" y="5545216"/>
                </a:cubicBezTo>
                <a:cubicBezTo>
                  <a:pt x="3014243" y="5541602"/>
                  <a:pt x="3010680" y="5536233"/>
                  <a:pt x="3016256" y="5529521"/>
                </a:cubicBezTo>
                <a:cubicBezTo>
                  <a:pt x="3017031" y="5527869"/>
                  <a:pt x="3017031" y="5528799"/>
                  <a:pt x="3017805" y="5527973"/>
                </a:cubicBezTo>
                <a:cubicBezTo>
                  <a:pt x="3018735" y="5527146"/>
                  <a:pt x="3019509" y="5525391"/>
                  <a:pt x="3019354" y="5524565"/>
                </a:cubicBezTo>
                <a:close/>
                <a:moveTo>
                  <a:pt x="2970717" y="5523532"/>
                </a:moveTo>
                <a:cubicBezTo>
                  <a:pt x="2973040" y="5522913"/>
                  <a:pt x="2975054" y="5523016"/>
                  <a:pt x="2976603" y="5525184"/>
                </a:cubicBezTo>
                <a:cubicBezTo>
                  <a:pt x="2975054" y="5525288"/>
                  <a:pt x="2973970" y="5525391"/>
                  <a:pt x="2973040" y="5525184"/>
                </a:cubicBezTo>
                <a:cubicBezTo>
                  <a:pt x="2972266" y="5524978"/>
                  <a:pt x="2971491" y="5524565"/>
                  <a:pt x="2970717" y="5523532"/>
                </a:cubicBezTo>
                <a:close/>
                <a:moveTo>
                  <a:pt x="2602373" y="5521261"/>
                </a:moveTo>
                <a:cubicBezTo>
                  <a:pt x="2604232" y="5519712"/>
                  <a:pt x="2609653" y="5518783"/>
                  <a:pt x="2613061" y="5521777"/>
                </a:cubicBezTo>
                <a:cubicBezTo>
                  <a:pt x="2613216" y="5525907"/>
                  <a:pt x="2611512" y="5527766"/>
                  <a:pt x="2608414" y="5527766"/>
                </a:cubicBezTo>
                <a:cubicBezTo>
                  <a:pt x="2607330" y="5527766"/>
                  <a:pt x="2606246" y="5527559"/>
                  <a:pt x="2605006" y="5527146"/>
                </a:cubicBezTo>
                <a:cubicBezTo>
                  <a:pt x="2604387" y="5525288"/>
                  <a:pt x="2603303" y="5523842"/>
                  <a:pt x="2602373" y="5521261"/>
                </a:cubicBezTo>
                <a:close/>
                <a:moveTo>
                  <a:pt x="2531895" y="5520641"/>
                </a:moveTo>
                <a:cubicBezTo>
                  <a:pt x="2530966" y="5521364"/>
                  <a:pt x="2531121" y="5521467"/>
                  <a:pt x="2531741" y="5522293"/>
                </a:cubicBezTo>
                <a:cubicBezTo>
                  <a:pt x="2531741" y="5522293"/>
                  <a:pt x="2531741" y="5522293"/>
                  <a:pt x="2532515" y="5522293"/>
                </a:cubicBezTo>
                <a:cubicBezTo>
                  <a:pt x="2532515" y="5523119"/>
                  <a:pt x="2531741" y="5523016"/>
                  <a:pt x="2531586" y="5523842"/>
                </a:cubicBezTo>
                <a:cubicBezTo>
                  <a:pt x="2531586" y="5523842"/>
                  <a:pt x="2530811" y="5523842"/>
                  <a:pt x="2530811" y="5523842"/>
                </a:cubicBezTo>
                <a:cubicBezTo>
                  <a:pt x="2530811" y="5524255"/>
                  <a:pt x="2530811" y="5524255"/>
                  <a:pt x="2530502" y="5524049"/>
                </a:cubicBezTo>
                <a:cubicBezTo>
                  <a:pt x="2530347" y="5523842"/>
                  <a:pt x="2530037" y="5523429"/>
                  <a:pt x="2529262" y="5523016"/>
                </a:cubicBezTo>
                <a:cubicBezTo>
                  <a:pt x="2528952" y="5522603"/>
                  <a:pt x="2528488" y="5522396"/>
                  <a:pt x="2528333" y="5522190"/>
                </a:cubicBezTo>
                <a:cubicBezTo>
                  <a:pt x="2528178" y="5521984"/>
                  <a:pt x="2528178" y="5521777"/>
                  <a:pt x="2528643" y="5521364"/>
                </a:cubicBezTo>
                <a:cubicBezTo>
                  <a:pt x="2529572" y="5520538"/>
                  <a:pt x="2529417" y="5520538"/>
                  <a:pt x="2531895" y="5520641"/>
                </a:cubicBezTo>
                <a:close/>
                <a:moveTo>
                  <a:pt x="2895747" y="5519815"/>
                </a:moveTo>
                <a:cubicBezTo>
                  <a:pt x="2896676" y="5520745"/>
                  <a:pt x="2897606" y="5522396"/>
                  <a:pt x="2896831" y="5523222"/>
                </a:cubicBezTo>
                <a:cubicBezTo>
                  <a:pt x="2896366" y="5524049"/>
                  <a:pt x="2895902" y="5524049"/>
                  <a:pt x="2895437" y="5523739"/>
                </a:cubicBezTo>
                <a:cubicBezTo>
                  <a:pt x="2894818" y="5523326"/>
                  <a:pt x="2894198" y="5522707"/>
                  <a:pt x="2893423" y="5522190"/>
                </a:cubicBezTo>
                <a:close/>
                <a:moveTo>
                  <a:pt x="3010099" y="5519260"/>
                </a:moveTo>
                <a:cubicBezTo>
                  <a:pt x="3011571" y="5520125"/>
                  <a:pt x="3012539" y="5521984"/>
                  <a:pt x="3012074" y="5524668"/>
                </a:cubicBezTo>
                <a:cubicBezTo>
                  <a:pt x="3008512" y="5524049"/>
                  <a:pt x="3004949" y="5523429"/>
                  <a:pt x="3005104" y="5519815"/>
                </a:cubicBezTo>
                <a:cubicBezTo>
                  <a:pt x="3006653" y="5518525"/>
                  <a:pt x="3008628" y="5518395"/>
                  <a:pt x="3010099" y="5519260"/>
                </a:cubicBezTo>
                <a:close/>
                <a:moveTo>
                  <a:pt x="2889706" y="5519196"/>
                </a:moveTo>
                <a:cubicBezTo>
                  <a:pt x="2889706" y="5519196"/>
                  <a:pt x="2889706" y="5519196"/>
                  <a:pt x="2890790" y="5520951"/>
                </a:cubicBezTo>
                <a:lnTo>
                  <a:pt x="2890480" y="5522500"/>
                </a:lnTo>
                <a:lnTo>
                  <a:pt x="2892649" y="5523016"/>
                </a:lnTo>
                <a:cubicBezTo>
                  <a:pt x="2894353" y="5524772"/>
                  <a:pt x="2896831" y="5527559"/>
                  <a:pt x="2895282" y="5530038"/>
                </a:cubicBezTo>
                <a:cubicBezTo>
                  <a:pt x="2894508" y="5530038"/>
                  <a:pt x="2894508" y="5530967"/>
                  <a:pt x="2893733" y="5530967"/>
                </a:cubicBezTo>
                <a:cubicBezTo>
                  <a:pt x="2893733" y="5530967"/>
                  <a:pt x="2892959" y="5531277"/>
                  <a:pt x="2891720" y="5531380"/>
                </a:cubicBezTo>
                <a:cubicBezTo>
                  <a:pt x="2890480" y="5531380"/>
                  <a:pt x="2888777" y="5531070"/>
                  <a:pt x="2887073" y="5529728"/>
                </a:cubicBezTo>
                <a:cubicBezTo>
                  <a:pt x="2886298" y="5528799"/>
                  <a:pt x="2884439" y="5526114"/>
                  <a:pt x="2885214" y="5526114"/>
                </a:cubicBezTo>
                <a:cubicBezTo>
                  <a:pt x="2885989" y="5525288"/>
                  <a:pt x="2885214" y="5525288"/>
                  <a:pt x="2885214" y="5524358"/>
                </a:cubicBezTo>
                <a:lnTo>
                  <a:pt x="2886298" y="5523739"/>
                </a:lnTo>
                <a:lnTo>
                  <a:pt x="2885833" y="5523016"/>
                </a:lnTo>
                <a:cubicBezTo>
                  <a:pt x="2884749" y="5521261"/>
                  <a:pt x="2884749" y="5521364"/>
                  <a:pt x="2885524" y="5520435"/>
                </a:cubicBezTo>
                <a:cubicBezTo>
                  <a:pt x="2886298" y="5519506"/>
                  <a:pt x="2888932" y="5520228"/>
                  <a:pt x="2889706" y="5519196"/>
                </a:cubicBezTo>
                <a:close/>
                <a:moveTo>
                  <a:pt x="2809005" y="5515272"/>
                </a:moveTo>
                <a:cubicBezTo>
                  <a:pt x="2818609" y="5531070"/>
                  <a:pt x="2784532" y="5551824"/>
                  <a:pt x="2772604" y="5554200"/>
                </a:cubicBezTo>
                <a:cubicBezTo>
                  <a:pt x="2780814" y="5541499"/>
                  <a:pt x="2795064" y="5520848"/>
                  <a:pt x="2809005" y="5515272"/>
                </a:cubicBezTo>
                <a:close/>
                <a:moveTo>
                  <a:pt x="2837486" y="5509554"/>
                </a:moveTo>
                <a:cubicBezTo>
                  <a:pt x="2839210" y="5510471"/>
                  <a:pt x="2840139" y="5512897"/>
                  <a:pt x="2839675" y="5515478"/>
                </a:cubicBezTo>
                <a:cubicBezTo>
                  <a:pt x="2839365" y="5517130"/>
                  <a:pt x="2838435" y="5518886"/>
                  <a:pt x="2836731" y="5520332"/>
                </a:cubicBezTo>
                <a:cubicBezTo>
                  <a:pt x="2836112" y="5520332"/>
                  <a:pt x="2835337" y="5519918"/>
                  <a:pt x="2834563" y="5519402"/>
                </a:cubicBezTo>
                <a:lnTo>
                  <a:pt x="2834408" y="5519196"/>
                </a:lnTo>
                <a:lnTo>
                  <a:pt x="2831465" y="5523532"/>
                </a:lnTo>
                <a:cubicBezTo>
                  <a:pt x="2830535" y="5522913"/>
                  <a:pt x="2829916" y="5522087"/>
                  <a:pt x="2829606" y="5521054"/>
                </a:cubicBezTo>
                <a:cubicBezTo>
                  <a:pt x="2828987" y="5519506"/>
                  <a:pt x="2829142" y="5517647"/>
                  <a:pt x="2829606" y="5515891"/>
                </a:cubicBezTo>
                <a:lnTo>
                  <a:pt x="2831000" y="5513723"/>
                </a:lnTo>
                <a:lnTo>
                  <a:pt x="2830535" y="5512690"/>
                </a:lnTo>
                <a:cubicBezTo>
                  <a:pt x="2833246" y="5509232"/>
                  <a:pt x="2835763" y="5508638"/>
                  <a:pt x="2837486" y="5509554"/>
                </a:cubicBezTo>
                <a:close/>
                <a:moveTo>
                  <a:pt x="2861205" y="5507838"/>
                </a:moveTo>
                <a:cubicBezTo>
                  <a:pt x="2861205" y="5507838"/>
                  <a:pt x="2861205" y="5507838"/>
                  <a:pt x="2861979" y="5507838"/>
                </a:cubicBezTo>
                <a:cubicBezTo>
                  <a:pt x="2861825" y="5509593"/>
                  <a:pt x="2862134" y="5511555"/>
                  <a:pt x="2862289" y="5513413"/>
                </a:cubicBezTo>
                <a:lnTo>
                  <a:pt x="2861825" y="5518370"/>
                </a:lnTo>
                <a:lnTo>
                  <a:pt x="2863374" y="5518163"/>
                </a:lnTo>
                <a:cubicBezTo>
                  <a:pt x="2869260" y="5517544"/>
                  <a:pt x="2875146" y="5517440"/>
                  <a:pt x="2880567" y="5518989"/>
                </a:cubicBezTo>
                <a:cubicBezTo>
                  <a:pt x="2876540" y="5523636"/>
                  <a:pt x="2869260" y="5527766"/>
                  <a:pt x="2862444" y="5528902"/>
                </a:cubicBezTo>
                <a:cubicBezTo>
                  <a:pt x="2860586" y="5529108"/>
                  <a:pt x="2859036" y="5529108"/>
                  <a:pt x="2857332" y="5529005"/>
                </a:cubicBezTo>
                <a:cubicBezTo>
                  <a:pt x="2852376" y="5528489"/>
                  <a:pt x="2848194" y="5525907"/>
                  <a:pt x="2846335" y="5520228"/>
                </a:cubicBezTo>
                <a:lnTo>
                  <a:pt x="2858727" y="5518679"/>
                </a:lnTo>
                <a:lnTo>
                  <a:pt x="2858417" y="5518679"/>
                </a:lnTo>
                <a:cubicBezTo>
                  <a:pt x="2856713" y="5517853"/>
                  <a:pt x="2856558" y="5517027"/>
                  <a:pt x="2857797" y="5514240"/>
                </a:cubicBezTo>
                <a:cubicBezTo>
                  <a:pt x="2859346" y="5512381"/>
                  <a:pt x="2859811" y="5510625"/>
                  <a:pt x="2860740" y="5510522"/>
                </a:cubicBezTo>
                <a:cubicBezTo>
                  <a:pt x="2860586" y="5509696"/>
                  <a:pt x="2861205" y="5508767"/>
                  <a:pt x="2861205" y="5507838"/>
                </a:cubicBezTo>
                <a:close/>
                <a:moveTo>
                  <a:pt x="2900549" y="5506702"/>
                </a:moveTo>
                <a:cubicBezTo>
                  <a:pt x="2903337" y="5507631"/>
                  <a:pt x="2905505" y="5506082"/>
                  <a:pt x="2909533" y="5508354"/>
                </a:cubicBezTo>
                <a:lnTo>
                  <a:pt x="2906900" y="5519815"/>
                </a:lnTo>
                <a:lnTo>
                  <a:pt x="2907364" y="5521364"/>
                </a:lnTo>
                <a:cubicBezTo>
                  <a:pt x="2907364" y="5522293"/>
                  <a:pt x="2907209" y="5523119"/>
                  <a:pt x="2906900" y="5523532"/>
                </a:cubicBezTo>
                <a:lnTo>
                  <a:pt x="2905970" y="5523945"/>
                </a:lnTo>
                <a:lnTo>
                  <a:pt x="2904421" y="5530967"/>
                </a:lnTo>
                <a:cubicBezTo>
                  <a:pt x="2903182" y="5538298"/>
                  <a:pt x="2901788" y="5545216"/>
                  <a:pt x="2899619" y="5551515"/>
                </a:cubicBezTo>
                <a:cubicBezTo>
                  <a:pt x="2892184" y="5539744"/>
                  <a:pt x="2898380" y="5522190"/>
                  <a:pt x="2900549" y="5506702"/>
                </a:cubicBezTo>
                <a:close/>
                <a:moveTo>
                  <a:pt x="3113415" y="5505062"/>
                </a:moveTo>
                <a:cubicBezTo>
                  <a:pt x="3115274" y="5503346"/>
                  <a:pt x="3117713" y="5502675"/>
                  <a:pt x="3119417" y="5505462"/>
                </a:cubicBezTo>
                <a:cubicBezTo>
                  <a:pt x="3119882" y="5506185"/>
                  <a:pt x="3119727" y="5507115"/>
                  <a:pt x="3119262" y="5508044"/>
                </a:cubicBezTo>
                <a:cubicBezTo>
                  <a:pt x="3118178" y="5510212"/>
                  <a:pt x="3115235" y="5512381"/>
                  <a:pt x="3112912" y="5512071"/>
                </a:cubicBezTo>
                <a:cubicBezTo>
                  <a:pt x="3112137" y="5511968"/>
                  <a:pt x="3111362" y="5511658"/>
                  <a:pt x="3110898" y="5510935"/>
                </a:cubicBezTo>
                <a:cubicBezTo>
                  <a:pt x="3110278" y="5509541"/>
                  <a:pt x="3111556" y="5506779"/>
                  <a:pt x="3113415" y="5505062"/>
                </a:cubicBezTo>
                <a:close/>
                <a:moveTo>
                  <a:pt x="2640478" y="5503294"/>
                </a:moveTo>
                <a:cubicBezTo>
                  <a:pt x="2647448" y="5505566"/>
                  <a:pt x="2650856" y="5505359"/>
                  <a:pt x="2656277" y="5507734"/>
                </a:cubicBezTo>
                <a:cubicBezTo>
                  <a:pt x="2656432" y="5508663"/>
                  <a:pt x="2655503" y="5508663"/>
                  <a:pt x="2655658" y="5509593"/>
                </a:cubicBezTo>
                <a:cubicBezTo>
                  <a:pt x="2655348" y="5510006"/>
                  <a:pt x="2654418" y="5510212"/>
                  <a:pt x="2653489" y="5510316"/>
                </a:cubicBezTo>
                <a:cubicBezTo>
                  <a:pt x="2650391" y="5510419"/>
                  <a:pt x="2645435" y="5509077"/>
                  <a:pt x="2645280" y="5508354"/>
                </a:cubicBezTo>
                <a:cubicBezTo>
                  <a:pt x="2644505" y="5508457"/>
                  <a:pt x="2644350" y="5507528"/>
                  <a:pt x="2643576" y="5507631"/>
                </a:cubicBezTo>
                <a:cubicBezTo>
                  <a:pt x="2643576" y="5507631"/>
                  <a:pt x="2642646" y="5507631"/>
                  <a:pt x="2641717" y="5506805"/>
                </a:cubicBezTo>
                <a:cubicBezTo>
                  <a:pt x="2640788" y="5505979"/>
                  <a:pt x="2639858" y="5505153"/>
                  <a:pt x="2640478" y="5503294"/>
                </a:cubicBezTo>
                <a:close/>
                <a:moveTo>
                  <a:pt x="3401638" y="5502984"/>
                </a:moveTo>
                <a:lnTo>
                  <a:pt x="3397766" y="5504327"/>
                </a:lnTo>
                <a:lnTo>
                  <a:pt x="3400399" y="5505049"/>
                </a:lnTo>
                <a:lnTo>
                  <a:pt x="3400709" y="5504843"/>
                </a:lnTo>
                <a:lnTo>
                  <a:pt x="3400709" y="5504740"/>
                </a:lnTo>
                <a:close/>
                <a:moveTo>
                  <a:pt x="3015947" y="5502365"/>
                </a:moveTo>
                <a:lnTo>
                  <a:pt x="3018580" y="5503294"/>
                </a:lnTo>
                <a:lnTo>
                  <a:pt x="3019044" y="5502984"/>
                </a:lnTo>
                <a:cubicBezTo>
                  <a:pt x="3022762" y="5501642"/>
                  <a:pt x="3026170" y="5504740"/>
                  <a:pt x="3025395" y="5508250"/>
                </a:cubicBezTo>
                <a:cubicBezTo>
                  <a:pt x="3025085" y="5509696"/>
                  <a:pt x="3023846" y="5511348"/>
                  <a:pt x="3021678" y="5512690"/>
                </a:cubicBezTo>
                <a:lnTo>
                  <a:pt x="3021058" y="5512278"/>
                </a:lnTo>
                <a:lnTo>
                  <a:pt x="3020593" y="5513413"/>
                </a:lnTo>
                <a:cubicBezTo>
                  <a:pt x="3019199" y="5515065"/>
                  <a:pt x="3017495" y="5516408"/>
                  <a:pt x="3015792" y="5517853"/>
                </a:cubicBezTo>
                <a:cubicBezTo>
                  <a:pt x="3004484" y="5515478"/>
                  <a:pt x="3013313" y="5507631"/>
                  <a:pt x="3015947" y="5502365"/>
                </a:cubicBezTo>
                <a:close/>
                <a:moveTo>
                  <a:pt x="2688650" y="5500403"/>
                </a:moveTo>
                <a:cubicBezTo>
                  <a:pt x="2691129" y="5499680"/>
                  <a:pt x="2696550" y="5500713"/>
                  <a:pt x="2698099" y="5504740"/>
                </a:cubicBezTo>
                <a:cubicBezTo>
                  <a:pt x="2696860" y="5507321"/>
                  <a:pt x="2695466" y="5508663"/>
                  <a:pt x="2693762" y="5508870"/>
                </a:cubicBezTo>
                <a:cubicBezTo>
                  <a:pt x="2692058" y="5509180"/>
                  <a:pt x="2690199" y="5508457"/>
                  <a:pt x="2688186" y="5506805"/>
                </a:cubicBezTo>
                <a:cubicBezTo>
                  <a:pt x="2688650" y="5504843"/>
                  <a:pt x="2688341" y="5503191"/>
                  <a:pt x="2688650" y="5500403"/>
                </a:cubicBezTo>
                <a:close/>
                <a:moveTo>
                  <a:pt x="2768577" y="5499474"/>
                </a:moveTo>
                <a:cubicBezTo>
                  <a:pt x="2770746" y="5497615"/>
                  <a:pt x="2777871" y="5501436"/>
                  <a:pt x="2780659" y="5503914"/>
                </a:cubicBezTo>
                <a:cubicBezTo>
                  <a:pt x="2780194" y="5504327"/>
                  <a:pt x="2779265" y="5504430"/>
                  <a:pt x="2778181" y="5504223"/>
                </a:cubicBezTo>
                <a:cubicBezTo>
                  <a:pt x="2775238" y="5503811"/>
                  <a:pt x="2770746" y="5501229"/>
                  <a:pt x="2768577" y="5499474"/>
                </a:cubicBezTo>
                <a:close/>
                <a:moveTo>
                  <a:pt x="2676355" y="5498673"/>
                </a:moveTo>
                <a:cubicBezTo>
                  <a:pt x="2680712" y="5499138"/>
                  <a:pt x="2684081" y="5501590"/>
                  <a:pt x="2683229" y="5505979"/>
                </a:cubicBezTo>
                <a:cubicBezTo>
                  <a:pt x="2683075" y="5507218"/>
                  <a:pt x="2682455" y="5508663"/>
                  <a:pt x="2681525" y="5510212"/>
                </a:cubicBezTo>
                <a:cubicBezTo>
                  <a:pt x="2679976" y="5510316"/>
                  <a:pt x="2678273" y="5510522"/>
                  <a:pt x="2676414" y="5510625"/>
                </a:cubicBezTo>
                <a:cubicBezTo>
                  <a:pt x="2675020" y="5510729"/>
                  <a:pt x="2673626" y="5510832"/>
                  <a:pt x="2672231" y="5510729"/>
                </a:cubicBezTo>
                <a:cubicBezTo>
                  <a:pt x="2668204" y="5510419"/>
                  <a:pt x="2664487" y="5508870"/>
                  <a:pt x="2663557" y="5503294"/>
                </a:cubicBezTo>
                <a:cubicBezTo>
                  <a:pt x="2666655" y="5499732"/>
                  <a:pt x="2671999" y="5498209"/>
                  <a:pt x="2676355" y="5498673"/>
                </a:cubicBezTo>
                <a:close/>
                <a:moveTo>
                  <a:pt x="3371743" y="5498544"/>
                </a:moveTo>
                <a:lnTo>
                  <a:pt x="3369885" y="5499267"/>
                </a:lnTo>
                <a:lnTo>
                  <a:pt x="3369265" y="5503914"/>
                </a:lnTo>
                <a:cubicBezTo>
                  <a:pt x="3368181" y="5505979"/>
                  <a:pt x="3366632" y="5507631"/>
                  <a:pt x="3364153" y="5508250"/>
                </a:cubicBezTo>
                <a:cubicBezTo>
                  <a:pt x="3363224" y="5506185"/>
                  <a:pt x="3362914" y="5504430"/>
                  <a:pt x="3362914" y="5502984"/>
                </a:cubicBezTo>
                <a:lnTo>
                  <a:pt x="3363689" y="5499680"/>
                </a:lnTo>
                <a:lnTo>
                  <a:pt x="3363379" y="5499680"/>
                </a:lnTo>
                <a:lnTo>
                  <a:pt x="3361056" y="5499990"/>
                </a:lnTo>
                <a:lnTo>
                  <a:pt x="3361985" y="5500300"/>
                </a:lnTo>
                <a:lnTo>
                  <a:pt x="3357183" y="5504533"/>
                </a:lnTo>
                <a:lnTo>
                  <a:pt x="3360746" y="5505979"/>
                </a:lnTo>
                <a:cubicBezTo>
                  <a:pt x="3361675" y="5506702"/>
                  <a:pt x="3362604" y="5507528"/>
                  <a:pt x="3362759" y="5508457"/>
                </a:cubicBezTo>
                <a:cubicBezTo>
                  <a:pt x="3362295" y="5510832"/>
                  <a:pt x="3360436" y="5511039"/>
                  <a:pt x="3359352" y="5510729"/>
                </a:cubicBezTo>
                <a:cubicBezTo>
                  <a:pt x="3358112" y="5511039"/>
                  <a:pt x="3356873" y="5510419"/>
                  <a:pt x="3355944" y="5509386"/>
                </a:cubicBezTo>
                <a:lnTo>
                  <a:pt x="3354550" y="5506805"/>
                </a:lnTo>
                <a:lnTo>
                  <a:pt x="3352691" y="5508560"/>
                </a:lnTo>
                <a:cubicBezTo>
                  <a:pt x="3349748" y="5511039"/>
                  <a:pt x="3346650" y="5513310"/>
                  <a:pt x="3343707" y="5515478"/>
                </a:cubicBezTo>
                <a:lnTo>
                  <a:pt x="3337976" y="5519196"/>
                </a:lnTo>
                <a:lnTo>
                  <a:pt x="3339060" y="5519299"/>
                </a:lnTo>
                <a:cubicBezTo>
                  <a:pt x="3342777" y="5518989"/>
                  <a:pt x="3347115" y="5518783"/>
                  <a:pt x="3350522" y="5517544"/>
                </a:cubicBezTo>
                <a:cubicBezTo>
                  <a:pt x="3362914" y="5519196"/>
                  <a:pt x="3371743" y="5518886"/>
                  <a:pt x="3380727" y="5517853"/>
                </a:cubicBezTo>
                <a:lnTo>
                  <a:pt x="3387543" y="5516305"/>
                </a:lnTo>
                <a:lnTo>
                  <a:pt x="3387853" y="5516098"/>
                </a:lnTo>
                <a:lnTo>
                  <a:pt x="3395907" y="5509077"/>
                </a:lnTo>
                <a:lnTo>
                  <a:pt x="3393893" y="5509180"/>
                </a:lnTo>
                <a:cubicBezTo>
                  <a:pt x="3392035" y="5505153"/>
                  <a:pt x="3394203" y="5502468"/>
                  <a:pt x="3390795" y="5502468"/>
                </a:cubicBezTo>
                <a:lnTo>
                  <a:pt x="3390641" y="5502468"/>
                </a:lnTo>
                <a:lnTo>
                  <a:pt x="3387543" y="5507321"/>
                </a:lnTo>
                <a:cubicBezTo>
                  <a:pt x="3385684" y="5508560"/>
                  <a:pt x="3383515" y="5509180"/>
                  <a:pt x="3381967" y="5509593"/>
                </a:cubicBezTo>
                <a:lnTo>
                  <a:pt x="3381347" y="5509799"/>
                </a:lnTo>
                <a:lnTo>
                  <a:pt x="3380572" y="5510522"/>
                </a:lnTo>
                <a:lnTo>
                  <a:pt x="3380727" y="5510832"/>
                </a:lnTo>
                <a:lnTo>
                  <a:pt x="3380417" y="5510729"/>
                </a:lnTo>
                <a:lnTo>
                  <a:pt x="3378868" y="5512174"/>
                </a:lnTo>
                <a:lnTo>
                  <a:pt x="3377784" y="5510935"/>
                </a:lnTo>
                <a:lnTo>
                  <a:pt x="3375151" y="5510625"/>
                </a:lnTo>
                <a:cubicBezTo>
                  <a:pt x="3374377" y="5510419"/>
                  <a:pt x="3373912" y="5509799"/>
                  <a:pt x="3374222" y="5508560"/>
                </a:cubicBezTo>
                <a:cubicBezTo>
                  <a:pt x="3373757" y="5506598"/>
                  <a:pt x="3375770" y="5506495"/>
                  <a:pt x="3376080" y="5504120"/>
                </a:cubicBezTo>
                <a:cubicBezTo>
                  <a:pt x="3376080" y="5501849"/>
                  <a:pt x="3373912" y="5500610"/>
                  <a:pt x="3371898" y="5498751"/>
                </a:cubicBezTo>
                <a:close/>
                <a:moveTo>
                  <a:pt x="2853770" y="5496995"/>
                </a:moveTo>
                <a:cubicBezTo>
                  <a:pt x="2851446" y="5498854"/>
                  <a:pt x="2850827" y="5499783"/>
                  <a:pt x="2849278" y="5500816"/>
                </a:cubicBezTo>
                <a:cubicBezTo>
                  <a:pt x="2849278" y="5501642"/>
                  <a:pt x="2849433" y="5502468"/>
                  <a:pt x="2848658" y="5503397"/>
                </a:cubicBezTo>
                <a:cubicBezTo>
                  <a:pt x="2847264" y="5505153"/>
                  <a:pt x="2845560" y="5504430"/>
                  <a:pt x="2843856" y="5505359"/>
                </a:cubicBezTo>
                <a:cubicBezTo>
                  <a:pt x="2842927" y="5504533"/>
                  <a:pt x="2841843" y="5502881"/>
                  <a:pt x="2843237" y="5501126"/>
                </a:cubicBezTo>
                <a:cubicBezTo>
                  <a:pt x="2844631" y="5498441"/>
                  <a:pt x="2847109" y="5498235"/>
                  <a:pt x="2849743" y="5498957"/>
                </a:cubicBezTo>
                <a:cubicBezTo>
                  <a:pt x="2851292" y="5498028"/>
                  <a:pt x="2852066" y="5496273"/>
                  <a:pt x="2853770" y="5496995"/>
                </a:cubicBezTo>
                <a:close/>
                <a:moveTo>
                  <a:pt x="3370039" y="5496582"/>
                </a:moveTo>
                <a:lnTo>
                  <a:pt x="3369885" y="5496686"/>
                </a:lnTo>
                <a:lnTo>
                  <a:pt x="3370039" y="5497305"/>
                </a:lnTo>
                <a:lnTo>
                  <a:pt x="3370039" y="5497512"/>
                </a:lnTo>
                <a:lnTo>
                  <a:pt x="3370969" y="5497512"/>
                </a:lnTo>
                <a:close/>
                <a:moveTo>
                  <a:pt x="2725051" y="5495447"/>
                </a:moveTo>
                <a:cubicBezTo>
                  <a:pt x="2728304" y="5505359"/>
                  <a:pt x="2736049" y="5511968"/>
                  <a:pt x="2734500" y="5517853"/>
                </a:cubicBezTo>
                <a:cubicBezTo>
                  <a:pt x="2734035" y="5519815"/>
                  <a:pt x="2732486" y="5521777"/>
                  <a:pt x="2729388" y="5523636"/>
                </a:cubicBezTo>
                <a:cubicBezTo>
                  <a:pt x="2725516" y="5520538"/>
                  <a:pt x="2716377" y="5507528"/>
                  <a:pt x="2718546" y="5500300"/>
                </a:cubicBezTo>
                <a:cubicBezTo>
                  <a:pt x="2719165" y="5497821"/>
                  <a:pt x="2721179" y="5496066"/>
                  <a:pt x="2725051" y="5495447"/>
                </a:cubicBezTo>
                <a:close/>
                <a:moveTo>
                  <a:pt x="2749215" y="5494517"/>
                </a:moveTo>
                <a:cubicBezTo>
                  <a:pt x="2750144" y="5495344"/>
                  <a:pt x="2751074" y="5496170"/>
                  <a:pt x="2751384" y="5497925"/>
                </a:cubicBezTo>
                <a:cubicBezTo>
                  <a:pt x="2749989" y="5499783"/>
                  <a:pt x="2747356" y="5499061"/>
                  <a:pt x="2746582" y="5499990"/>
                </a:cubicBezTo>
                <a:cubicBezTo>
                  <a:pt x="2746582" y="5499061"/>
                  <a:pt x="2746272" y="5497409"/>
                  <a:pt x="2744568" y="5496582"/>
                </a:cubicBezTo>
                <a:cubicBezTo>
                  <a:pt x="2745962" y="5494724"/>
                  <a:pt x="2747356" y="5492865"/>
                  <a:pt x="2749215" y="5494517"/>
                </a:cubicBezTo>
                <a:close/>
                <a:moveTo>
                  <a:pt x="2946243" y="5493794"/>
                </a:moveTo>
                <a:cubicBezTo>
                  <a:pt x="2952284" y="5491523"/>
                  <a:pt x="2958325" y="5492452"/>
                  <a:pt x="2963282" y="5495344"/>
                </a:cubicBezTo>
                <a:cubicBezTo>
                  <a:pt x="2971801" y="5499990"/>
                  <a:pt x="2977532" y="5510212"/>
                  <a:pt x="2976758" y="5520745"/>
                </a:cubicBezTo>
                <a:cubicBezTo>
                  <a:pt x="2975673" y="5520951"/>
                  <a:pt x="2974434" y="5521157"/>
                  <a:pt x="2974899" y="5522396"/>
                </a:cubicBezTo>
                <a:cubicBezTo>
                  <a:pt x="2973040" y="5522913"/>
                  <a:pt x="2971181" y="5523119"/>
                  <a:pt x="2969323" y="5523016"/>
                </a:cubicBezTo>
                <a:cubicBezTo>
                  <a:pt x="2956157" y="5522190"/>
                  <a:pt x="2942525" y="5506805"/>
                  <a:pt x="2946243" y="5493794"/>
                </a:cubicBezTo>
                <a:close/>
                <a:moveTo>
                  <a:pt x="3389091" y="5493588"/>
                </a:moveTo>
                <a:lnTo>
                  <a:pt x="3385994" y="5493691"/>
                </a:lnTo>
                <a:lnTo>
                  <a:pt x="3387388" y="5497718"/>
                </a:lnTo>
                <a:cubicBezTo>
                  <a:pt x="3386923" y="5496892"/>
                  <a:pt x="3386613" y="5498131"/>
                  <a:pt x="3386613" y="5498131"/>
                </a:cubicBezTo>
                <a:cubicBezTo>
                  <a:pt x="3386458" y="5499371"/>
                  <a:pt x="3387543" y="5499474"/>
                  <a:pt x="3388627" y="5499680"/>
                </a:cubicBezTo>
                <a:lnTo>
                  <a:pt x="3389711" y="5500093"/>
                </a:lnTo>
                <a:lnTo>
                  <a:pt x="3390176" y="5499783"/>
                </a:lnTo>
                <a:cubicBezTo>
                  <a:pt x="3391570" y="5498441"/>
                  <a:pt x="3393274" y="5497305"/>
                  <a:pt x="3396681" y="5497202"/>
                </a:cubicBezTo>
                <a:lnTo>
                  <a:pt x="3395133" y="5495344"/>
                </a:lnTo>
                <a:lnTo>
                  <a:pt x="3393893" y="5495344"/>
                </a:lnTo>
                <a:cubicBezTo>
                  <a:pt x="3393584" y="5495240"/>
                  <a:pt x="3393584" y="5495137"/>
                  <a:pt x="3393893" y="5495550"/>
                </a:cubicBezTo>
                <a:cubicBezTo>
                  <a:pt x="3392654" y="5495240"/>
                  <a:pt x="3391415" y="5495034"/>
                  <a:pt x="3390331" y="5494724"/>
                </a:cubicBezTo>
                <a:close/>
                <a:moveTo>
                  <a:pt x="2456926" y="5492246"/>
                </a:moveTo>
                <a:cubicBezTo>
                  <a:pt x="2457700" y="5494001"/>
                  <a:pt x="2456616" y="5495756"/>
                  <a:pt x="2455532" y="5497409"/>
                </a:cubicBezTo>
                <a:cubicBezTo>
                  <a:pt x="2454602" y="5498751"/>
                  <a:pt x="2453828" y="5499061"/>
                  <a:pt x="2452898" y="5498957"/>
                </a:cubicBezTo>
                <a:cubicBezTo>
                  <a:pt x="2452124" y="5498854"/>
                  <a:pt x="2451349" y="5498131"/>
                  <a:pt x="2450575" y="5497305"/>
                </a:cubicBezTo>
                <a:cubicBezTo>
                  <a:pt x="2449026" y="5495550"/>
                  <a:pt x="2449956" y="5493898"/>
                  <a:pt x="2449956" y="5493898"/>
                </a:cubicBezTo>
                <a:cubicBezTo>
                  <a:pt x="2451969" y="5491316"/>
                  <a:pt x="2454602" y="5490490"/>
                  <a:pt x="2456926" y="5492246"/>
                </a:cubicBezTo>
                <a:close/>
                <a:moveTo>
                  <a:pt x="3058698" y="5489045"/>
                </a:moveTo>
                <a:lnTo>
                  <a:pt x="3059472" y="5491007"/>
                </a:lnTo>
                <a:lnTo>
                  <a:pt x="3060402" y="5490490"/>
                </a:lnTo>
                <a:cubicBezTo>
                  <a:pt x="3063500" y="5491213"/>
                  <a:pt x="3065668" y="5493588"/>
                  <a:pt x="3065978" y="5496170"/>
                </a:cubicBezTo>
                <a:lnTo>
                  <a:pt x="3065049" y="5499680"/>
                </a:lnTo>
                <a:lnTo>
                  <a:pt x="3069540" y="5503191"/>
                </a:lnTo>
                <a:cubicBezTo>
                  <a:pt x="3070935" y="5504327"/>
                  <a:pt x="3072329" y="5505566"/>
                  <a:pt x="3073568" y="5507011"/>
                </a:cubicBezTo>
                <a:cubicBezTo>
                  <a:pt x="3074962" y="5508973"/>
                  <a:pt x="3075891" y="5511348"/>
                  <a:pt x="3075891" y="5514446"/>
                </a:cubicBezTo>
                <a:cubicBezTo>
                  <a:pt x="3076046" y="5517750"/>
                  <a:pt x="3075272" y="5520848"/>
                  <a:pt x="3074033" y="5523429"/>
                </a:cubicBezTo>
                <a:lnTo>
                  <a:pt x="3073878" y="5523739"/>
                </a:lnTo>
                <a:lnTo>
                  <a:pt x="3074962" y="5524875"/>
                </a:lnTo>
                <a:lnTo>
                  <a:pt x="3076666" y="5527869"/>
                </a:lnTo>
                <a:lnTo>
                  <a:pt x="3078060" y="5526527"/>
                </a:lnTo>
                <a:cubicBezTo>
                  <a:pt x="3084875" y="5522190"/>
                  <a:pt x="3093240" y="5521880"/>
                  <a:pt x="3098506" y="5527353"/>
                </a:cubicBezTo>
                <a:cubicBezTo>
                  <a:pt x="3100365" y="5529831"/>
                  <a:pt x="3101295" y="5532309"/>
                  <a:pt x="3101295" y="5534581"/>
                </a:cubicBezTo>
                <a:lnTo>
                  <a:pt x="3099745" y="5539434"/>
                </a:lnTo>
                <a:lnTo>
                  <a:pt x="3100055" y="5540053"/>
                </a:lnTo>
                <a:lnTo>
                  <a:pt x="3099591" y="5540156"/>
                </a:lnTo>
                <a:lnTo>
                  <a:pt x="3099436" y="5540673"/>
                </a:lnTo>
                <a:cubicBezTo>
                  <a:pt x="3096802" y="5544287"/>
                  <a:pt x="3092001" y="5546455"/>
                  <a:pt x="3087044" y="5546042"/>
                </a:cubicBezTo>
                <a:cubicBezTo>
                  <a:pt x="3085495" y="5545939"/>
                  <a:pt x="3083946" y="5545732"/>
                  <a:pt x="3082552" y="5545113"/>
                </a:cubicBezTo>
                <a:lnTo>
                  <a:pt x="3078834" y="5542945"/>
                </a:lnTo>
                <a:lnTo>
                  <a:pt x="3078370" y="5543874"/>
                </a:lnTo>
                <a:cubicBezTo>
                  <a:pt x="3077750" y="5545526"/>
                  <a:pt x="3077130" y="5547075"/>
                  <a:pt x="3075272" y="5548623"/>
                </a:cubicBezTo>
                <a:cubicBezTo>
                  <a:pt x="3073103" y="5545939"/>
                  <a:pt x="3070935" y="5543254"/>
                  <a:pt x="3068921" y="5540570"/>
                </a:cubicBezTo>
                <a:lnTo>
                  <a:pt x="3063500" y="5532722"/>
                </a:lnTo>
                <a:lnTo>
                  <a:pt x="3061486" y="5533858"/>
                </a:lnTo>
                <a:cubicBezTo>
                  <a:pt x="3059008" y="5534684"/>
                  <a:pt x="3056219" y="5534994"/>
                  <a:pt x="3053586" y="5534787"/>
                </a:cubicBezTo>
                <a:cubicBezTo>
                  <a:pt x="3047390" y="5534374"/>
                  <a:pt x="3041814" y="5530967"/>
                  <a:pt x="3039955" y="5524255"/>
                </a:cubicBezTo>
                <a:cubicBezTo>
                  <a:pt x="3039336" y="5521571"/>
                  <a:pt x="3039181" y="5518576"/>
                  <a:pt x="3039801" y="5514962"/>
                </a:cubicBezTo>
                <a:cubicBezTo>
                  <a:pt x="3042124" y="5505153"/>
                  <a:pt x="3051572" y="5499887"/>
                  <a:pt x="3058698" y="5489045"/>
                </a:cubicBezTo>
                <a:close/>
                <a:moveTo>
                  <a:pt x="2796923" y="5483262"/>
                </a:moveTo>
                <a:cubicBezTo>
                  <a:pt x="2798627" y="5484192"/>
                  <a:pt x="2799556" y="5485121"/>
                  <a:pt x="2801260" y="5486050"/>
                </a:cubicBezTo>
                <a:lnTo>
                  <a:pt x="2801880" y="5488425"/>
                </a:lnTo>
                <a:lnTo>
                  <a:pt x="2806682" y="5490284"/>
                </a:lnTo>
                <a:cubicBezTo>
                  <a:pt x="2807611" y="5491110"/>
                  <a:pt x="2809779" y="5494517"/>
                  <a:pt x="2809005" y="5495447"/>
                </a:cubicBezTo>
                <a:cubicBezTo>
                  <a:pt x="2808386" y="5496376"/>
                  <a:pt x="2807456" y="5496376"/>
                  <a:pt x="2806682" y="5496376"/>
                </a:cubicBezTo>
                <a:lnTo>
                  <a:pt x="2801725" y="5494311"/>
                </a:lnTo>
                <a:lnTo>
                  <a:pt x="2800950" y="5496376"/>
                </a:lnTo>
                <a:cubicBezTo>
                  <a:pt x="2799866" y="5497615"/>
                  <a:pt x="2798782" y="5498338"/>
                  <a:pt x="2797853" y="5498544"/>
                </a:cubicBezTo>
                <a:lnTo>
                  <a:pt x="2796613" y="5498544"/>
                </a:lnTo>
                <a:lnTo>
                  <a:pt x="2796768" y="5499577"/>
                </a:lnTo>
                <a:lnTo>
                  <a:pt x="2794290" y="5500919"/>
                </a:lnTo>
                <a:lnTo>
                  <a:pt x="2793206" y="5502572"/>
                </a:lnTo>
                <a:cubicBezTo>
                  <a:pt x="2791966" y="5502881"/>
                  <a:pt x="2791192" y="5503088"/>
                  <a:pt x="2790572" y="5502881"/>
                </a:cubicBezTo>
                <a:cubicBezTo>
                  <a:pt x="2789952" y="5502675"/>
                  <a:pt x="2789643" y="5502055"/>
                  <a:pt x="2789178" y="5500816"/>
                </a:cubicBezTo>
                <a:lnTo>
                  <a:pt x="2789023" y="5500300"/>
                </a:lnTo>
                <a:lnTo>
                  <a:pt x="2787629" y="5501022"/>
                </a:lnTo>
                <a:cubicBezTo>
                  <a:pt x="2787629" y="5500093"/>
                  <a:pt x="2787475" y="5499267"/>
                  <a:pt x="2786700" y="5499267"/>
                </a:cubicBezTo>
                <a:lnTo>
                  <a:pt x="2788404" y="5497925"/>
                </a:lnTo>
                <a:lnTo>
                  <a:pt x="2788249" y="5497099"/>
                </a:lnTo>
                <a:lnTo>
                  <a:pt x="2788404" y="5494311"/>
                </a:lnTo>
                <a:lnTo>
                  <a:pt x="2788094" y="5494105"/>
                </a:lnTo>
                <a:cubicBezTo>
                  <a:pt x="2788094" y="5494105"/>
                  <a:pt x="2784532" y="5489561"/>
                  <a:pt x="2787784" y="5485431"/>
                </a:cubicBezTo>
                <a:cubicBezTo>
                  <a:pt x="2788714" y="5486360"/>
                  <a:pt x="2793515" y="5481404"/>
                  <a:pt x="2796923" y="5483262"/>
                </a:cubicBezTo>
                <a:close/>
                <a:moveTo>
                  <a:pt x="2869724" y="5482126"/>
                </a:moveTo>
                <a:cubicBezTo>
                  <a:pt x="2869724" y="5483056"/>
                  <a:pt x="2869105" y="5485638"/>
                  <a:pt x="2869879" y="5485638"/>
                </a:cubicBezTo>
                <a:cubicBezTo>
                  <a:pt x="2868175" y="5487599"/>
                  <a:pt x="2865852" y="5489354"/>
                  <a:pt x="2863683" y="5489458"/>
                </a:cubicBezTo>
                <a:cubicBezTo>
                  <a:pt x="2863064" y="5489458"/>
                  <a:pt x="2862289" y="5489251"/>
                  <a:pt x="2861670" y="5488735"/>
                </a:cubicBezTo>
                <a:cubicBezTo>
                  <a:pt x="2859966" y="5487806"/>
                  <a:pt x="2860740" y="5486154"/>
                  <a:pt x="2862289" y="5484502"/>
                </a:cubicBezTo>
                <a:cubicBezTo>
                  <a:pt x="2864613" y="5480165"/>
                  <a:pt x="2867091" y="5479442"/>
                  <a:pt x="2869724" y="5482126"/>
                </a:cubicBezTo>
                <a:close/>
                <a:moveTo>
                  <a:pt x="2672929" y="5481856"/>
                </a:moveTo>
                <a:cubicBezTo>
                  <a:pt x="2675562" y="5482746"/>
                  <a:pt x="2677885" y="5484605"/>
                  <a:pt x="2678273" y="5486773"/>
                </a:cubicBezTo>
                <a:cubicBezTo>
                  <a:pt x="2677343" y="5489148"/>
                  <a:pt x="2676414" y="5491420"/>
                  <a:pt x="2675484" y="5493794"/>
                </a:cubicBezTo>
                <a:cubicBezTo>
                  <a:pt x="2673626" y="5495137"/>
                  <a:pt x="2671767" y="5495756"/>
                  <a:pt x="2669908" y="5495550"/>
                </a:cubicBezTo>
                <a:cubicBezTo>
                  <a:pt x="2668050" y="5495344"/>
                  <a:pt x="2666500" y="5494517"/>
                  <a:pt x="2665416" y="5493072"/>
                </a:cubicBezTo>
                <a:cubicBezTo>
                  <a:pt x="2664642" y="5492143"/>
                  <a:pt x="2664177" y="5490904"/>
                  <a:pt x="2664022" y="5489458"/>
                </a:cubicBezTo>
                <a:lnTo>
                  <a:pt x="2664177" y="5489251"/>
                </a:lnTo>
                <a:lnTo>
                  <a:pt x="2662938" y="5490181"/>
                </a:lnTo>
                <a:cubicBezTo>
                  <a:pt x="2662318" y="5490490"/>
                  <a:pt x="2661699" y="5490490"/>
                  <a:pt x="2661234" y="5490077"/>
                </a:cubicBezTo>
                <a:cubicBezTo>
                  <a:pt x="2661079" y="5489148"/>
                  <a:pt x="2660305" y="5489251"/>
                  <a:pt x="2660150" y="5488425"/>
                </a:cubicBezTo>
                <a:cubicBezTo>
                  <a:pt x="2659065" y="5486670"/>
                  <a:pt x="2658910" y="5485741"/>
                  <a:pt x="2659685" y="5484811"/>
                </a:cubicBezTo>
                <a:cubicBezTo>
                  <a:pt x="2659530" y="5483985"/>
                  <a:pt x="2660305" y="5483985"/>
                  <a:pt x="2661079" y="5483056"/>
                </a:cubicBezTo>
                <a:cubicBezTo>
                  <a:pt x="2661853" y="5482953"/>
                  <a:pt x="2662783" y="5483779"/>
                  <a:pt x="2662783" y="5483779"/>
                </a:cubicBezTo>
                <a:cubicBezTo>
                  <a:pt x="2663712" y="5484605"/>
                  <a:pt x="2663867" y="5484605"/>
                  <a:pt x="2664487" y="5483676"/>
                </a:cubicBezTo>
                <a:cubicBezTo>
                  <a:pt x="2664487" y="5483676"/>
                  <a:pt x="2664642" y="5484605"/>
                  <a:pt x="2664642" y="5484605"/>
                </a:cubicBezTo>
                <a:cubicBezTo>
                  <a:pt x="2664177" y="5484605"/>
                  <a:pt x="2664177" y="5484605"/>
                  <a:pt x="2664487" y="5484708"/>
                </a:cubicBezTo>
                <a:lnTo>
                  <a:pt x="2665106" y="5485121"/>
                </a:lnTo>
                <a:lnTo>
                  <a:pt x="2665726" y="5482746"/>
                </a:lnTo>
                <a:cubicBezTo>
                  <a:pt x="2667352" y="5481042"/>
                  <a:pt x="2670295" y="5480965"/>
                  <a:pt x="2672929" y="5481856"/>
                </a:cubicBezTo>
                <a:close/>
                <a:moveTo>
                  <a:pt x="3008976" y="5481339"/>
                </a:moveTo>
                <a:cubicBezTo>
                  <a:pt x="3012345" y="5483391"/>
                  <a:pt x="3013778" y="5487651"/>
                  <a:pt x="3013158" y="5491833"/>
                </a:cubicBezTo>
                <a:cubicBezTo>
                  <a:pt x="3012848" y="5494621"/>
                  <a:pt x="3011609" y="5497305"/>
                  <a:pt x="3009286" y="5499267"/>
                </a:cubicBezTo>
                <a:cubicBezTo>
                  <a:pt x="3007737" y="5500610"/>
                  <a:pt x="3005878" y="5501642"/>
                  <a:pt x="3003555" y="5502158"/>
                </a:cubicBezTo>
                <a:cubicBezTo>
                  <a:pt x="3001231" y="5502675"/>
                  <a:pt x="2998443" y="5502778"/>
                  <a:pt x="2995190" y="5502055"/>
                </a:cubicBezTo>
                <a:lnTo>
                  <a:pt x="2993486" y="5494414"/>
                </a:lnTo>
                <a:lnTo>
                  <a:pt x="2988530" y="5497925"/>
                </a:lnTo>
                <a:cubicBezTo>
                  <a:pt x="2986981" y="5495860"/>
                  <a:pt x="2985122" y="5498028"/>
                  <a:pt x="2983728" y="5495137"/>
                </a:cubicBezTo>
                <a:cubicBezTo>
                  <a:pt x="2984193" y="5491626"/>
                  <a:pt x="2988065" y="5488115"/>
                  <a:pt x="2992557" y="5486360"/>
                </a:cubicBezTo>
                <a:lnTo>
                  <a:pt x="2993177" y="5486360"/>
                </a:lnTo>
                <a:lnTo>
                  <a:pt x="2993177" y="5484088"/>
                </a:lnTo>
                <a:cubicBezTo>
                  <a:pt x="3000302" y="5479442"/>
                  <a:pt x="3005607" y="5479287"/>
                  <a:pt x="3008976" y="5481339"/>
                </a:cubicBezTo>
                <a:close/>
                <a:moveTo>
                  <a:pt x="2846180" y="5479132"/>
                </a:moveTo>
                <a:cubicBezTo>
                  <a:pt x="2845870" y="5479648"/>
                  <a:pt x="2845715" y="5479855"/>
                  <a:pt x="2845406" y="5479855"/>
                </a:cubicBezTo>
                <a:cubicBezTo>
                  <a:pt x="2845251" y="5479855"/>
                  <a:pt x="2845096" y="5479648"/>
                  <a:pt x="2844631" y="5479236"/>
                </a:cubicBezTo>
                <a:cubicBezTo>
                  <a:pt x="2845251" y="5478203"/>
                  <a:pt x="2845406" y="5479236"/>
                  <a:pt x="2846180" y="5479132"/>
                </a:cubicBezTo>
                <a:close/>
                <a:moveTo>
                  <a:pt x="2878863" y="5479029"/>
                </a:moveTo>
                <a:cubicBezTo>
                  <a:pt x="2878863" y="5479958"/>
                  <a:pt x="2879638" y="5481714"/>
                  <a:pt x="2878863" y="5481714"/>
                </a:cubicBezTo>
                <a:cubicBezTo>
                  <a:pt x="2878863" y="5482540"/>
                  <a:pt x="2877314" y="5482540"/>
                  <a:pt x="2877314" y="5482540"/>
                </a:cubicBezTo>
                <a:cubicBezTo>
                  <a:pt x="2877314" y="5483469"/>
                  <a:pt x="2877469" y="5484398"/>
                  <a:pt x="2876695" y="5485224"/>
                </a:cubicBezTo>
                <a:cubicBezTo>
                  <a:pt x="2875765" y="5484295"/>
                  <a:pt x="2875765" y="5485224"/>
                  <a:pt x="2874991" y="5485121"/>
                </a:cubicBezTo>
                <a:cubicBezTo>
                  <a:pt x="2875765" y="5484295"/>
                  <a:pt x="2875765" y="5481610"/>
                  <a:pt x="2876385" y="5479855"/>
                </a:cubicBezTo>
                <a:cubicBezTo>
                  <a:pt x="2877314" y="5479855"/>
                  <a:pt x="2878089" y="5479029"/>
                  <a:pt x="2878863" y="5479029"/>
                </a:cubicBezTo>
                <a:close/>
                <a:moveTo>
                  <a:pt x="2741780" y="5478203"/>
                </a:moveTo>
                <a:cubicBezTo>
                  <a:pt x="2746427" y="5481404"/>
                  <a:pt x="2743174" y="5485224"/>
                  <a:pt x="2743329" y="5490800"/>
                </a:cubicBezTo>
                <a:cubicBezTo>
                  <a:pt x="2738837" y="5490181"/>
                  <a:pt x="2736514" y="5483159"/>
                  <a:pt x="2738372" y="5479855"/>
                </a:cubicBezTo>
                <a:cubicBezTo>
                  <a:pt x="2738992" y="5478822"/>
                  <a:pt x="2740076" y="5478100"/>
                  <a:pt x="2741780" y="5478203"/>
                </a:cubicBezTo>
                <a:close/>
                <a:moveTo>
                  <a:pt x="3063403" y="5478074"/>
                </a:moveTo>
                <a:cubicBezTo>
                  <a:pt x="3066172" y="5477997"/>
                  <a:pt x="3068456" y="5478771"/>
                  <a:pt x="3069231" y="5478410"/>
                </a:cubicBezTo>
                <a:cubicBezTo>
                  <a:pt x="3071244" y="5480475"/>
                  <a:pt x="3071864" y="5480887"/>
                  <a:pt x="3070315" y="5483056"/>
                </a:cubicBezTo>
                <a:lnTo>
                  <a:pt x="3068611" y="5485327"/>
                </a:lnTo>
                <a:lnTo>
                  <a:pt x="3069850" y="5487186"/>
                </a:lnTo>
                <a:cubicBezTo>
                  <a:pt x="3069076" y="5488012"/>
                  <a:pt x="3068301" y="5488838"/>
                  <a:pt x="3067527" y="5489664"/>
                </a:cubicBezTo>
                <a:lnTo>
                  <a:pt x="3063964" y="5487703"/>
                </a:lnTo>
                <a:lnTo>
                  <a:pt x="3061486" y="5487496"/>
                </a:lnTo>
                <a:cubicBezTo>
                  <a:pt x="3059937" y="5488322"/>
                  <a:pt x="3057304" y="5488219"/>
                  <a:pt x="3055755" y="5487186"/>
                </a:cubicBezTo>
                <a:cubicBezTo>
                  <a:pt x="3053896" y="5485431"/>
                  <a:pt x="3053896" y="5483676"/>
                  <a:pt x="3054671" y="5482849"/>
                </a:cubicBezTo>
                <a:cubicBezTo>
                  <a:pt x="3057381" y="5479081"/>
                  <a:pt x="3060634" y="5478151"/>
                  <a:pt x="3063403" y="5478074"/>
                </a:cubicBezTo>
                <a:close/>
                <a:moveTo>
                  <a:pt x="2551722" y="5475415"/>
                </a:moveTo>
                <a:cubicBezTo>
                  <a:pt x="2553117" y="5480061"/>
                  <a:pt x="2550638" y="5480887"/>
                  <a:pt x="2548159" y="5481714"/>
                </a:cubicBezTo>
                <a:cubicBezTo>
                  <a:pt x="2547850" y="5478616"/>
                  <a:pt x="2544132" y="5479236"/>
                  <a:pt x="2545527" y="5475725"/>
                </a:cubicBezTo>
                <a:cubicBezTo>
                  <a:pt x="2546920" y="5474692"/>
                  <a:pt x="2548624" y="5474382"/>
                  <a:pt x="2551722" y="5475415"/>
                </a:cubicBezTo>
                <a:close/>
                <a:moveTo>
                  <a:pt x="2959100" y="5474486"/>
                </a:moveTo>
                <a:cubicBezTo>
                  <a:pt x="2961733" y="5477377"/>
                  <a:pt x="2962507" y="5480268"/>
                  <a:pt x="2961888" y="5482746"/>
                </a:cubicBezTo>
                <a:cubicBezTo>
                  <a:pt x="2960958" y="5486360"/>
                  <a:pt x="2957396" y="5489148"/>
                  <a:pt x="2953214" y="5490181"/>
                </a:cubicBezTo>
                <a:cubicBezTo>
                  <a:pt x="2949186" y="5491110"/>
                  <a:pt x="2944694" y="5490181"/>
                  <a:pt x="2942216" y="5486360"/>
                </a:cubicBezTo>
                <a:cubicBezTo>
                  <a:pt x="2942680" y="5478410"/>
                  <a:pt x="2953369" y="5473970"/>
                  <a:pt x="2959100" y="5474486"/>
                </a:cubicBezTo>
                <a:close/>
                <a:moveTo>
                  <a:pt x="2645667" y="5473789"/>
                </a:moveTo>
                <a:cubicBezTo>
                  <a:pt x="2648455" y="5472369"/>
                  <a:pt x="2651863" y="5472627"/>
                  <a:pt x="2653644" y="5474899"/>
                </a:cubicBezTo>
                <a:cubicBezTo>
                  <a:pt x="2654883" y="5476344"/>
                  <a:pt x="2655193" y="5478616"/>
                  <a:pt x="2654264" y="5482023"/>
                </a:cubicBezTo>
                <a:cubicBezTo>
                  <a:pt x="2649927" y="5481817"/>
                  <a:pt x="2647293" y="5483779"/>
                  <a:pt x="2644350" y="5483676"/>
                </a:cubicBezTo>
                <a:cubicBezTo>
                  <a:pt x="2643421" y="5483676"/>
                  <a:pt x="2642492" y="5483366"/>
                  <a:pt x="2641407" y="5482746"/>
                </a:cubicBezTo>
                <a:cubicBezTo>
                  <a:pt x="2640710" y="5478306"/>
                  <a:pt x="2642879" y="5475208"/>
                  <a:pt x="2645667" y="5473789"/>
                </a:cubicBezTo>
                <a:close/>
                <a:moveTo>
                  <a:pt x="2872822" y="5472008"/>
                </a:moveTo>
                <a:cubicBezTo>
                  <a:pt x="2873597" y="5471181"/>
                  <a:pt x="2874371" y="5471181"/>
                  <a:pt x="2875301" y="5472111"/>
                </a:cubicBezTo>
                <a:cubicBezTo>
                  <a:pt x="2875301" y="5472111"/>
                  <a:pt x="2874526" y="5473866"/>
                  <a:pt x="2874526" y="5473866"/>
                </a:cubicBezTo>
                <a:cubicBezTo>
                  <a:pt x="2872977" y="5475518"/>
                  <a:pt x="2872048" y="5476344"/>
                  <a:pt x="2871273" y="5477996"/>
                </a:cubicBezTo>
                <a:cubicBezTo>
                  <a:pt x="2869569" y="5477067"/>
                  <a:pt x="2869414" y="5476241"/>
                  <a:pt x="2870344" y="5475415"/>
                </a:cubicBezTo>
                <a:cubicBezTo>
                  <a:pt x="2870344" y="5475415"/>
                  <a:pt x="2871118" y="5474589"/>
                  <a:pt x="2872048" y="5473763"/>
                </a:cubicBezTo>
                <a:cubicBezTo>
                  <a:pt x="2872822" y="5472937"/>
                  <a:pt x="2872822" y="5472008"/>
                  <a:pt x="2872822" y="5472008"/>
                </a:cubicBezTo>
                <a:close/>
                <a:moveTo>
                  <a:pt x="2768112" y="5471904"/>
                </a:moveTo>
                <a:cubicBezTo>
                  <a:pt x="2769197" y="5472214"/>
                  <a:pt x="2770281" y="5472524"/>
                  <a:pt x="2769971" y="5473659"/>
                </a:cubicBezTo>
                <a:cubicBezTo>
                  <a:pt x="2769661" y="5474899"/>
                  <a:pt x="2769971" y="5475621"/>
                  <a:pt x="2768112" y="5475828"/>
                </a:cubicBezTo>
                <a:cubicBezTo>
                  <a:pt x="2767338" y="5476241"/>
                  <a:pt x="2766254" y="5476035"/>
                  <a:pt x="2765479" y="5476551"/>
                </a:cubicBezTo>
                <a:cubicBezTo>
                  <a:pt x="2765479" y="5476551"/>
                  <a:pt x="2765014" y="5476035"/>
                  <a:pt x="2764705" y="5475518"/>
                </a:cubicBezTo>
                <a:cubicBezTo>
                  <a:pt x="2764240" y="5474899"/>
                  <a:pt x="2763775" y="5474176"/>
                  <a:pt x="2763930" y="5473556"/>
                </a:cubicBezTo>
                <a:cubicBezTo>
                  <a:pt x="2763930" y="5471595"/>
                  <a:pt x="2767338" y="5472420"/>
                  <a:pt x="2768112" y="5471904"/>
                </a:cubicBezTo>
                <a:close/>
                <a:moveTo>
                  <a:pt x="2834873" y="5468393"/>
                </a:moveTo>
                <a:cubicBezTo>
                  <a:pt x="2829296" y="5476035"/>
                  <a:pt x="2824030" y="5471491"/>
                  <a:pt x="2820932" y="5475725"/>
                </a:cubicBezTo>
                <a:cubicBezTo>
                  <a:pt x="2820003" y="5473970"/>
                  <a:pt x="2820003" y="5473970"/>
                  <a:pt x="2820777" y="5472214"/>
                </a:cubicBezTo>
                <a:cubicBezTo>
                  <a:pt x="2821552" y="5472214"/>
                  <a:pt x="2821552" y="5471388"/>
                  <a:pt x="2822481" y="5472317"/>
                </a:cubicBezTo>
                <a:cubicBezTo>
                  <a:pt x="2824030" y="5469736"/>
                  <a:pt x="2831465" y="5467361"/>
                  <a:pt x="2834873" y="5468393"/>
                </a:cubicBezTo>
                <a:close/>
                <a:moveTo>
                  <a:pt x="3116629" y="5467877"/>
                </a:moveTo>
                <a:cubicBezTo>
                  <a:pt x="3119107" y="5466225"/>
                  <a:pt x="3127782" y="5471801"/>
                  <a:pt x="3122980" y="5476035"/>
                </a:cubicBezTo>
                <a:cubicBezTo>
                  <a:pt x="3122360" y="5476654"/>
                  <a:pt x="3121431" y="5476654"/>
                  <a:pt x="3120501" y="5476241"/>
                </a:cubicBezTo>
                <a:cubicBezTo>
                  <a:pt x="3117559" y="5475105"/>
                  <a:pt x="3114306" y="5470355"/>
                  <a:pt x="3116629" y="5467877"/>
                </a:cubicBezTo>
                <a:close/>
                <a:moveTo>
                  <a:pt x="2742554" y="5466948"/>
                </a:moveTo>
                <a:cubicBezTo>
                  <a:pt x="2744258" y="5468910"/>
                  <a:pt x="2745962" y="5470872"/>
                  <a:pt x="2744878" y="5475105"/>
                </a:cubicBezTo>
                <a:cubicBezTo>
                  <a:pt x="2743484" y="5476241"/>
                  <a:pt x="2742090" y="5476964"/>
                  <a:pt x="2740696" y="5477067"/>
                </a:cubicBezTo>
                <a:cubicBezTo>
                  <a:pt x="2739147" y="5477274"/>
                  <a:pt x="2737443" y="5476964"/>
                  <a:pt x="2735274" y="5476241"/>
                </a:cubicBezTo>
                <a:cubicBezTo>
                  <a:pt x="2733725" y="5472317"/>
                  <a:pt x="2737288" y="5464883"/>
                  <a:pt x="2742554" y="5466948"/>
                </a:cubicBezTo>
                <a:close/>
                <a:moveTo>
                  <a:pt x="2610428" y="5465606"/>
                </a:moveTo>
                <a:cubicBezTo>
                  <a:pt x="2613681" y="5465812"/>
                  <a:pt x="2616779" y="5467671"/>
                  <a:pt x="2620961" y="5473040"/>
                </a:cubicBezTo>
                <a:cubicBezTo>
                  <a:pt x="2606710" y="5481817"/>
                  <a:pt x="2623749" y="5489871"/>
                  <a:pt x="2613061" y="5497409"/>
                </a:cubicBezTo>
                <a:cubicBezTo>
                  <a:pt x="2609189" y="5498028"/>
                  <a:pt x="2605316" y="5499680"/>
                  <a:pt x="2601289" y="5499990"/>
                </a:cubicBezTo>
                <a:cubicBezTo>
                  <a:pt x="2600050" y="5500093"/>
                  <a:pt x="2598656" y="5500093"/>
                  <a:pt x="2597262" y="5499783"/>
                </a:cubicBezTo>
                <a:cubicBezTo>
                  <a:pt x="2595403" y="5499474"/>
                  <a:pt x="2593699" y="5498751"/>
                  <a:pt x="2591840" y="5497305"/>
                </a:cubicBezTo>
                <a:cubicBezTo>
                  <a:pt x="2601289" y="5486463"/>
                  <a:pt x="2604077" y="5476654"/>
                  <a:pt x="2610428" y="5465606"/>
                </a:cubicBezTo>
                <a:close/>
                <a:moveTo>
                  <a:pt x="2841378" y="5464573"/>
                </a:moveTo>
                <a:cubicBezTo>
                  <a:pt x="2840604" y="5465399"/>
                  <a:pt x="2838900" y="5466225"/>
                  <a:pt x="2838125" y="5467051"/>
                </a:cubicBezTo>
                <a:cubicBezTo>
                  <a:pt x="2838125" y="5467051"/>
                  <a:pt x="2838125" y="5467051"/>
                  <a:pt x="2837196" y="5466122"/>
                </a:cubicBezTo>
                <a:cubicBezTo>
                  <a:pt x="2838900" y="5466225"/>
                  <a:pt x="2839675" y="5462714"/>
                  <a:pt x="2841378" y="5464573"/>
                </a:cubicBezTo>
                <a:close/>
                <a:moveTo>
                  <a:pt x="2828251" y="5463889"/>
                </a:moveTo>
                <a:cubicBezTo>
                  <a:pt x="2830574" y="5463876"/>
                  <a:pt x="2832472" y="5464160"/>
                  <a:pt x="2832859" y="5464160"/>
                </a:cubicBezTo>
                <a:cubicBezTo>
                  <a:pt x="2832859" y="5465089"/>
                  <a:pt x="2832859" y="5465089"/>
                  <a:pt x="2832859" y="5465089"/>
                </a:cubicBezTo>
                <a:cubicBezTo>
                  <a:pt x="2830381" y="5464263"/>
                  <a:pt x="2827438" y="5466328"/>
                  <a:pt x="2824340" y="5466638"/>
                </a:cubicBezTo>
                <a:cubicBezTo>
                  <a:pt x="2823255" y="5466742"/>
                  <a:pt x="2822171" y="5466638"/>
                  <a:pt x="2821087" y="5466225"/>
                </a:cubicBezTo>
                <a:cubicBezTo>
                  <a:pt x="2821087" y="5466225"/>
                  <a:pt x="2821087" y="5466122"/>
                  <a:pt x="2822016" y="5466225"/>
                </a:cubicBezTo>
                <a:cubicBezTo>
                  <a:pt x="2822016" y="5466225"/>
                  <a:pt x="2821087" y="5466225"/>
                  <a:pt x="2821087" y="5465399"/>
                </a:cubicBezTo>
                <a:cubicBezTo>
                  <a:pt x="2823178" y="5464212"/>
                  <a:pt x="2825927" y="5463902"/>
                  <a:pt x="2828251" y="5463889"/>
                </a:cubicBezTo>
                <a:close/>
                <a:moveTo>
                  <a:pt x="3037632" y="5463437"/>
                </a:moveTo>
                <a:cubicBezTo>
                  <a:pt x="3039491" y="5465192"/>
                  <a:pt x="3041194" y="5464470"/>
                  <a:pt x="3042898" y="5466225"/>
                </a:cubicBezTo>
                <a:cubicBezTo>
                  <a:pt x="3041349" y="5467877"/>
                  <a:pt x="3040420" y="5469633"/>
                  <a:pt x="3039646" y="5470458"/>
                </a:cubicBezTo>
                <a:cubicBezTo>
                  <a:pt x="3036238" y="5468600"/>
                  <a:pt x="3035308" y="5465915"/>
                  <a:pt x="3037632" y="5463437"/>
                </a:cubicBezTo>
                <a:close/>
                <a:moveTo>
                  <a:pt x="2673626" y="5461062"/>
                </a:moveTo>
                <a:cubicBezTo>
                  <a:pt x="2681061" y="5461062"/>
                  <a:pt x="2693452" y="5461579"/>
                  <a:pt x="2699028" y="5466225"/>
                </a:cubicBezTo>
                <a:cubicBezTo>
                  <a:pt x="2697789" y="5468497"/>
                  <a:pt x="2695776" y="5469529"/>
                  <a:pt x="2693452" y="5469839"/>
                </a:cubicBezTo>
                <a:cubicBezTo>
                  <a:pt x="2686482" y="5470769"/>
                  <a:pt x="2676414" y="5464573"/>
                  <a:pt x="2673626" y="5461062"/>
                </a:cubicBezTo>
                <a:close/>
                <a:moveTo>
                  <a:pt x="2524771" y="5460236"/>
                </a:moveTo>
                <a:cubicBezTo>
                  <a:pt x="2526319" y="5461166"/>
                  <a:pt x="2528798" y="5460340"/>
                  <a:pt x="2530347" y="5462095"/>
                </a:cubicBezTo>
                <a:cubicBezTo>
                  <a:pt x="2530347" y="5462095"/>
                  <a:pt x="2531121" y="5463024"/>
                  <a:pt x="2530966" y="5464676"/>
                </a:cubicBezTo>
                <a:cubicBezTo>
                  <a:pt x="2532360" y="5467361"/>
                  <a:pt x="2529572" y="5469943"/>
                  <a:pt x="2529572" y="5469943"/>
                </a:cubicBezTo>
                <a:cubicBezTo>
                  <a:pt x="2529572" y="5469943"/>
                  <a:pt x="2529572" y="5469943"/>
                  <a:pt x="2530502" y="5469943"/>
                </a:cubicBezTo>
                <a:cubicBezTo>
                  <a:pt x="2528798" y="5469943"/>
                  <a:pt x="2526939" y="5470769"/>
                  <a:pt x="2525390" y="5470769"/>
                </a:cubicBezTo>
                <a:cubicBezTo>
                  <a:pt x="2523841" y="5469426"/>
                  <a:pt x="2522912" y="5468290"/>
                  <a:pt x="2522292" y="5467361"/>
                </a:cubicBezTo>
                <a:cubicBezTo>
                  <a:pt x="2520588" y="5464470"/>
                  <a:pt x="2522602" y="5462818"/>
                  <a:pt x="2524771" y="5460236"/>
                </a:cubicBezTo>
                <a:close/>
                <a:moveTo>
                  <a:pt x="2934471" y="5456313"/>
                </a:moveTo>
                <a:cubicBezTo>
                  <a:pt x="2938189" y="5453835"/>
                  <a:pt x="2941596" y="5454660"/>
                  <a:pt x="2945469" y="5457242"/>
                </a:cubicBezTo>
                <a:cubicBezTo>
                  <a:pt x="2945314" y="5458894"/>
                  <a:pt x="2942525" y="5460753"/>
                  <a:pt x="2940512" y="5461992"/>
                </a:cubicBezTo>
                <a:cubicBezTo>
                  <a:pt x="2938034" y="5461476"/>
                  <a:pt x="2935865" y="5459204"/>
                  <a:pt x="2934471" y="5456313"/>
                </a:cubicBezTo>
                <a:close/>
                <a:moveTo>
                  <a:pt x="3156283" y="5453421"/>
                </a:moveTo>
                <a:lnTo>
                  <a:pt x="3156283" y="5454557"/>
                </a:lnTo>
                <a:cubicBezTo>
                  <a:pt x="3156283" y="5455486"/>
                  <a:pt x="3156592" y="5456416"/>
                  <a:pt x="3157057" y="5457139"/>
                </a:cubicBezTo>
                <a:lnTo>
                  <a:pt x="3160774" y="5455074"/>
                </a:lnTo>
                <a:lnTo>
                  <a:pt x="3159845" y="5454970"/>
                </a:lnTo>
                <a:close/>
                <a:moveTo>
                  <a:pt x="3166196" y="5453215"/>
                </a:moveTo>
                <a:lnTo>
                  <a:pt x="3165112" y="5453525"/>
                </a:lnTo>
                <a:cubicBezTo>
                  <a:pt x="3164492" y="5453938"/>
                  <a:pt x="3164337" y="5454454"/>
                  <a:pt x="3165266" y="5455074"/>
                </a:cubicBezTo>
                <a:lnTo>
                  <a:pt x="3162323" y="5455074"/>
                </a:lnTo>
                <a:lnTo>
                  <a:pt x="3162943" y="5455280"/>
                </a:lnTo>
                <a:cubicBezTo>
                  <a:pt x="3163563" y="5455590"/>
                  <a:pt x="3164182" y="5456313"/>
                  <a:pt x="3164957" y="5457345"/>
                </a:cubicBezTo>
                <a:lnTo>
                  <a:pt x="3166970" y="5456106"/>
                </a:lnTo>
                <a:close/>
                <a:moveTo>
                  <a:pt x="3117094" y="5452905"/>
                </a:moveTo>
                <a:cubicBezTo>
                  <a:pt x="3117559" y="5453628"/>
                  <a:pt x="3118643" y="5453938"/>
                  <a:pt x="3119107" y="5454660"/>
                </a:cubicBezTo>
                <a:cubicBezTo>
                  <a:pt x="3118488" y="5455074"/>
                  <a:pt x="3117559" y="5456725"/>
                  <a:pt x="3117094" y="5456003"/>
                </a:cubicBezTo>
                <a:cubicBezTo>
                  <a:pt x="3116474" y="5456519"/>
                  <a:pt x="3115390" y="5455074"/>
                  <a:pt x="3115390" y="5455074"/>
                </a:cubicBezTo>
                <a:cubicBezTo>
                  <a:pt x="3114770" y="5455486"/>
                  <a:pt x="3113996" y="5455900"/>
                  <a:pt x="3112912" y="5455693"/>
                </a:cubicBezTo>
                <a:cubicBezTo>
                  <a:pt x="3113066" y="5454454"/>
                  <a:pt x="3112292" y="5454970"/>
                  <a:pt x="3111827" y="5454247"/>
                </a:cubicBezTo>
                <a:cubicBezTo>
                  <a:pt x="3113066" y="5454557"/>
                  <a:pt x="3115235" y="5453112"/>
                  <a:pt x="3117094" y="5452905"/>
                </a:cubicBezTo>
                <a:close/>
                <a:moveTo>
                  <a:pt x="2474584" y="5450737"/>
                </a:moveTo>
                <a:cubicBezTo>
                  <a:pt x="2475359" y="5451666"/>
                  <a:pt x="2475978" y="5452905"/>
                  <a:pt x="2476288" y="5454660"/>
                </a:cubicBezTo>
                <a:cubicBezTo>
                  <a:pt x="2473345" y="5458275"/>
                  <a:pt x="2469317" y="5464573"/>
                  <a:pt x="2463896" y="5465606"/>
                </a:cubicBezTo>
                <a:cubicBezTo>
                  <a:pt x="2462192" y="5465915"/>
                  <a:pt x="2460334" y="5465606"/>
                  <a:pt x="2458165" y="5464470"/>
                </a:cubicBezTo>
                <a:cubicBezTo>
                  <a:pt x="2457700" y="5455280"/>
                  <a:pt x="2469472" y="5444128"/>
                  <a:pt x="2474584" y="5450737"/>
                </a:cubicBezTo>
                <a:close/>
                <a:moveTo>
                  <a:pt x="3142497" y="5449911"/>
                </a:moveTo>
                <a:lnTo>
                  <a:pt x="3141567" y="5450634"/>
                </a:lnTo>
                <a:lnTo>
                  <a:pt x="3141877" y="5451150"/>
                </a:lnTo>
                <a:cubicBezTo>
                  <a:pt x="3142342" y="5451666"/>
                  <a:pt x="3142807" y="5452389"/>
                  <a:pt x="3142342" y="5453318"/>
                </a:cubicBezTo>
                <a:cubicBezTo>
                  <a:pt x="3143736" y="5453525"/>
                  <a:pt x="3146059" y="5453835"/>
                  <a:pt x="3148383" y="5453835"/>
                </a:cubicBezTo>
                <a:cubicBezTo>
                  <a:pt x="3150551" y="5453938"/>
                  <a:pt x="3152720" y="5453731"/>
                  <a:pt x="3153495" y="5452802"/>
                </a:cubicBezTo>
                <a:lnTo>
                  <a:pt x="3153649" y="5452286"/>
                </a:lnTo>
                <a:lnTo>
                  <a:pt x="3147144" y="5450220"/>
                </a:lnTo>
                <a:close/>
                <a:moveTo>
                  <a:pt x="2806991" y="5449085"/>
                </a:moveTo>
                <a:cubicBezTo>
                  <a:pt x="2810089" y="5464780"/>
                  <a:pt x="2816905" y="5478719"/>
                  <a:pt x="2819073" y="5491833"/>
                </a:cubicBezTo>
                <a:cubicBezTo>
                  <a:pt x="2806527" y="5483779"/>
                  <a:pt x="2803429" y="5465606"/>
                  <a:pt x="2797853" y="5450737"/>
                </a:cubicBezTo>
                <a:cubicBezTo>
                  <a:pt x="2800950" y="5450530"/>
                  <a:pt x="2802189" y="5448362"/>
                  <a:pt x="2806991" y="5449085"/>
                </a:cubicBezTo>
                <a:close/>
                <a:moveTo>
                  <a:pt x="2673471" y="5448155"/>
                </a:moveTo>
                <a:cubicBezTo>
                  <a:pt x="2677963" y="5447846"/>
                  <a:pt x="2677963" y="5450634"/>
                  <a:pt x="2678118" y="5453421"/>
                </a:cubicBezTo>
                <a:cubicBezTo>
                  <a:pt x="2675949" y="5453112"/>
                  <a:pt x="2675174" y="5455177"/>
                  <a:pt x="2673781" y="5455280"/>
                </a:cubicBezTo>
                <a:cubicBezTo>
                  <a:pt x="2673316" y="5455280"/>
                  <a:pt x="2672851" y="5455074"/>
                  <a:pt x="2672077" y="5454557"/>
                </a:cubicBezTo>
                <a:cubicBezTo>
                  <a:pt x="2671457" y="5452905"/>
                  <a:pt x="2671612" y="5450943"/>
                  <a:pt x="2673471" y="5448155"/>
                </a:cubicBezTo>
                <a:close/>
                <a:moveTo>
                  <a:pt x="2839829" y="5446090"/>
                </a:moveTo>
                <a:cubicBezTo>
                  <a:pt x="2841533" y="5449911"/>
                  <a:pt x="2837506" y="5454041"/>
                  <a:pt x="2834098" y="5453318"/>
                </a:cubicBezTo>
                <a:cubicBezTo>
                  <a:pt x="2830226" y="5448362"/>
                  <a:pt x="2836886" y="5444645"/>
                  <a:pt x="2839829" y="5446090"/>
                </a:cubicBezTo>
                <a:close/>
                <a:moveTo>
                  <a:pt x="3116784" y="5445471"/>
                </a:moveTo>
                <a:cubicBezTo>
                  <a:pt x="3116784" y="5445471"/>
                  <a:pt x="3118023" y="5445884"/>
                  <a:pt x="3119107" y="5446193"/>
                </a:cubicBezTo>
                <a:cubicBezTo>
                  <a:pt x="3120347" y="5446504"/>
                  <a:pt x="3120966" y="5446090"/>
                  <a:pt x="3120966" y="5446090"/>
                </a:cubicBezTo>
                <a:cubicBezTo>
                  <a:pt x="3122205" y="5446400"/>
                  <a:pt x="3122825" y="5447123"/>
                  <a:pt x="3122515" y="5448362"/>
                </a:cubicBezTo>
                <a:cubicBezTo>
                  <a:pt x="3122515" y="5448362"/>
                  <a:pt x="3120656" y="5448568"/>
                  <a:pt x="3120656" y="5448568"/>
                </a:cubicBezTo>
                <a:cubicBezTo>
                  <a:pt x="3118333" y="5447846"/>
                  <a:pt x="3117094" y="5447536"/>
                  <a:pt x="3115235" y="5447639"/>
                </a:cubicBezTo>
                <a:cubicBezTo>
                  <a:pt x="3114925" y="5445574"/>
                  <a:pt x="3115545" y="5445161"/>
                  <a:pt x="3116784" y="5445471"/>
                </a:cubicBezTo>
                <a:close/>
                <a:moveTo>
                  <a:pt x="2413090" y="5444645"/>
                </a:moveTo>
                <a:cubicBezTo>
                  <a:pt x="2414484" y="5446400"/>
                  <a:pt x="2416808" y="5449085"/>
                  <a:pt x="2414794" y="5451666"/>
                </a:cubicBezTo>
                <a:cubicBezTo>
                  <a:pt x="2414020" y="5451666"/>
                  <a:pt x="2414020" y="5452492"/>
                  <a:pt x="2413090" y="5452492"/>
                </a:cubicBezTo>
                <a:cubicBezTo>
                  <a:pt x="2413090" y="5452492"/>
                  <a:pt x="2412315" y="5452905"/>
                  <a:pt x="2410922" y="5453009"/>
                </a:cubicBezTo>
                <a:cubicBezTo>
                  <a:pt x="2409682" y="5453112"/>
                  <a:pt x="2408134" y="5452905"/>
                  <a:pt x="2406584" y="5451563"/>
                </a:cubicBezTo>
                <a:cubicBezTo>
                  <a:pt x="2406275" y="5451150"/>
                  <a:pt x="2405655" y="5450220"/>
                  <a:pt x="2405345" y="5449394"/>
                </a:cubicBezTo>
                <a:cubicBezTo>
                  <a:pt x="2405036" y="5448672"/>
                  <a:pt x="2404880" y="5448052"/>
                  <a:pt x="2405345" y="5448052"/>
                </a:cubicBezTo>
                <a:cubicBezTo>
                  <a:pt x="2406275" y="5447123"/>
                  <a:pt x="2405345" y="5447123"/>
                  <a:pt x="2405500" y="5446297"/>
                </a:cubicBezTo>
                <a:cubicBezTo>
                  <a:pt x="2408134" y="5443715"/>
                  <a:pt x="2410767" y="5442889"/>
                  <a:pt x="2413090" y="5444645"/>
                </a:cubicBezTo>
                <a:close/>
                <a:moveTo>
                  <a:pt x="2697015" y="5443509"/>
                </a:moveTo>
                <a:cubicBezTo>
                  <a:pt x="2698719" y="5444645"/>
                  <a:pt x="2700113" y="5446813"/>
                  <a:pt x="2700423" y="5450220"/>
                </a:cubicBezTo>
                <a:cubicBezTo>
                  <a:pt x="2696240" y="5451150"/>
                  <a:pt x="2694382" y="5453628"/>
                  <a:pt x="2691594" y="5454247"/>
                </a:cubicBezTo>
                <a:cubicBezTo>
                  <a:pt x="2690664" y="5454351"/>
                  <a:pt x="2689580" y="5454351"/>
                  <a:pt x="2688186" y="5454041"/>
                </a:cubicBezTo>
                <a:cubicBezTo>
                  <a:pt x="2683694" y="5445884"/>
                  <a:pt x="2691903" y="5440101"/>
                  <a:pt x="2697015" y="5443509"/>
                </a:cubicBezTo>
                <a:close/>
                <a:moveTo>
                  <a:pt x="3104547" y="5442889"/>
                </a:moveTo>
                <a:cubicBezTo>
                  <a:pt x="3109349" y="5442889"/>
                  <a:pt x="3111517" y="5444645"/>
                  <a:pt x="3111053" y="5448258"/>
                </a:cubicBezTo>
                <a:cubicBezTo>
                  <a:pt x="3110278" y="5448672"/>
                  <a:pt x="3107800" y="5449291"/>
                  <a:pt x="3108265" y="5450117"/>
                </a:cubicBezTo>
                <a:cubicBezTo>
                  <a:pt x="3105631" y="5449394"/>
                  <a:pt x="3102688" y="5448258"/>
                  <a:pt x="3101295" y="5446504"/>
                </a:cubicBezTo>
                <a:cubicBezTo>
                  <a:pt x="3100984" y="5445884"/>
                  <a:pt x="3100675" y="5445161"/>
                  <a:pt x="3100675" y="5444438"/>
                </a:cubicBezTo>
                <a:cubicBezTo>
                  <a:pt x="3100365" y="5442476"/>
                  <a:pt x="3102224" y="5442270"/>
                  <a:pt x="3104547" y="5442889"/>
                </a:cubicBezTo>
                <a:close/>
                <a:moveTo>
                  <a:pt x="2416808" y="5441341"/>
                </a:moveTo>
                <a:cubicBezTo>
                  <a:pt x="2417427" y="5442270"/>
                  <a:pt x="2418201" y="5443922"/>
                  <a:pt x="2417272" y="5444748"/>
                </a:cubicBezTo>
                <a:cubicBezTo>
                  <a:pt x="2416808" y="5445574"/>
                  <a:pt x="2416343" y="5445574"/>
                  <a:pt x="2415878" y="5445264"/>
                </a:cubicBezTo>
                <a:cubicBezTo>
                  <a:pt x="2415413" y="5444954"/>
                  <a:pt x="2414794" y="5444335"/>
                  <a:pt x="2414020" y="5443922"/>
                </a:cubicBezTo>
                <a:close/>
                <a:moveTo>
                  <a:pt x="2865426" y="5440101"/>
                </a:moveTo>
                <a:cubicBezTo>
                  <a:pt x="2868059" y="5440308"/>
                  <a:pt x="2870809" y="5441341"/>
                  <a:pt x="2873752" y="5444025"/>
                </a:cubicBezTo>
                <a:cubicBezTo>
                  <a:pt x="2874681" y="5450737"/>
                  <a:pt x="2872357" y="5455486"/>
                  <a:pt x="2865077" y="5461476"/>
                </a:cubicBezTo>
                <a:cubicBezTo>
                  <a:pt x="2863529" y="5461372"/>
                  <a:pt x="2861979" y="5460856"/>
                  <a:pt x="2860586" y="5460030"/>
                </a:cubicBezTo>
                <a:lnTo>
                  <a:pt x="2860431" y="5459926"/>
                </a:lnTo>
                <a:lnTo>
                  <a:pt x="2860121" y="5460236"/>
                </a:lnTo>
                <a:cubicBezTo>
                  <a:pt x="2859346" y="5460443"/>
                  <a:pt x="2858727" y="5460443"/>
                  <a:pt x="2858107" y="5459926"/>
                </a:cubicBezTo>
                <a:cubicBezTo>
                  <a:pt x="2857643" y="5459514"/>
                  <a:pt x="2857643" y="5459101"/>
                  <a:pt x="2857643" y="5458687"/>
                </a:cubicBezTo>
                <a:lnTo>
                  <a:pt x="2857797" y="5457655"/>
                </a:lnTo>
                <a:lnTo>
                  <a:pt x="2856713" y="5456725"/>
                </a:lnTo>
                <a:cubicBezTo>
                  <a:pt x="2854544" y="5454041"/>
                  <a:pt x="2853305" y="5450634"/>
                  <a:pt x="2853925" y="5447329"/>
                </a:cubicBezTo>
                <a:cubicBezTo>
                  <a:pt x="2854235" y="5445161"/>
                  <a:pt x="2855474" y="5442992"/>
                  <a:pt x="2857797" y="5441134"/>
                </a:cubicBezTo>
                <a:cubicBezTo>
                  <a:pt x="2860276" y="5440514"/>
                  <a:pt x="2862793" y="5439895"/>
                  <a:pt x="2865426" y="5440101"/>
                </a:cubicBezTo>
                <a:close/>
                <a:moveTo>
                  <a:pt x="2659375" y="5438759"/>
                </a:moveTo>
                <a:cubicBezTo>
                  <a:pt x="2661079" y="5438243"/>
                  <a:pt x="2662783" y="5438656"/>
                  <a:pt x="2664951" y="5440618"/>
                </a:cubicBezTo>
                <a:cubicBezTo>
                  <a:pt x="2664177" y="5445367"/>
                  <a:pt x="2661544" y="5445161"/>
                  <a:pt x="2658756" y="5445058"/>
                </a:cubicBezTo>
                <a:cubicBezTo>
                  <a:pt x="2659995" y="5442063"/>
                  <a:pt x="2656432" y="5441341"/>
                  <a:pt x="2659375" y="5438759"/>
                </a:cubicBezTo>
                <a:close/>
                <a:moveTo>
                  <a:pt x="2426256" y="5437933"/>
                </a:moveTo>
                <a:cubicBezTo>
                  <a:pt x="2427186" y="5437933"/>
                  <a:pt x="2427031" y="5438862"/>
                  <a:pt x="2427805" y="5439688"/>
                </a:cubicBezTo>
                <a:cubicBezTo>
                  <a:pt x="2428425" y="5441444"/>
                  <a:pt x="2428115" y="5443922"/>
                  <a:pt x="2427186" y="5444748"/>
                </a:cubicBezTo>
                <a:cubicBezTo>
                  <a:pt x="2426411" y="5445574"/>
                  <a:pt x="2425482" y="5445574"/>
                  <a:pt x="2425482" y="5445574"/>
                </a:cubicBezTo>
                <a:cubicBezTo>
                  <a:pt x="2424398" y="5444748"/>
                  <a:pt x="2423468" y="5443612"/>
                  <a:pt x="2423158" y="5442476"/>
                </a:cubicBezTo>
                <a:cubicBezTo>
                  <a:pt x="2422848" y="5441237"/>
                  <a:pt x="2423158" y="5439998"/>
                  <a:pt x="2424552" y="5438759"/>
                </a:cubicBezTo>
                <a:cubicBezTo>
                  <a:pt x="2425482" y="5437933"/>
                  <a:pt x="2426411" y="5437107"/>
                  <a:pt x="2426256" y="5437933"/>
                </a:cubicBezTo>
                <a:close/>
                <a:moveTo>
                  <a:pt x="2763156" y="5433183"/>
                </a:moveTo>
                <a:lnTo>
                  <a:pt x="2762536" y="5433390"/>
                </a:lnTo>
                <a:lnTo>
                  <a:pt x="2763156" y="5433390"/>
                </a:lnTo>
                <a:close/>
                <a:moveTo>
                  <a:pt x="3091691" y="5432564"/>
                </a:moveTo>
                <a:cubicBezTo>
                  <a:pt x="3090606" y="5433906"/>
                  <a:pt x="3088903" y="5436797"/>
                  <a:pt x="3087199" y="5437417"/>
                </a:cubicBezTo>
                <a:cubicBezTo>
                  <a:pt x="3086734" y="5437623"/>
                  <a:pt x="3086115" y="5437623"/>
                  <a:pt x="3085650" y="5437210"/>
                </a:cubicBezTo>
                <a:cubicBezTo>
                  <a:pt x="3087044" y="5435352"/>
                  <a:pt x="3088283" y="5431841"/>
                  <a:pt x="3091691" y="5432564"/>
                </a:cubicBezTo>
                <a:close/>
                <a:moveTo>
                  <a:pt x="2618173" y="5431841"/>
                </a:moveTo>
                <a:cubicBezTo>
                  <a:pt x="2620961" y="5432151"/>
                  <a:pt x="2620806" y="5434113"/>
                  <a:pt x="2622665" y="5434113"/>
                </a:cubicBezTo>
                <a:cubicBezTo>
                  <a:pt x="2621581" y="5438243"/>
                  <a:pt x="2619102" y="5439379"/>
                  <a:pt x="2615539" y="5439379"/>
                </a:cubicBezTo>
                <a:cubicBezTo>
                  <a:pt x="2614610" y="5437210"/>
                  <a:pt x="2615849" y="5432977"/>
                  <a:pt x="2618173" y="5431841"/>
                </a:cubicBezTo>
                <a:close/>
                <a:moveTo>
                  <a:pt x="2551471" y="5431441"/>
                </a:moveTo>
                <a:cubicBezTo>
                  <a:pt x="2554665" y="5430344"/>
                  <a:pt x="2558151" y="5431428"/>
                  <a:pt x="2559932" y="5436694"/>
                </a:cubicBezTo>
                <a:cubicBezTo>
                  <a:pt x="2557144" y="5438966"/>
                  <a:pt x="2554820" y="5440824"/>
                  <a:pt x="2552806" y="5442373"/>
                </a:cubicBezTo>
                <a:lnTo>
                  <a:pt x="2547540" y="5445574"/>
                </a:lnTo>
                <a:lnTo>
                  <a:pt x="2549399" y="5447019"/>
                </a:lnTo>
                <a:cubicBezTo>
                  <a:pt x="2555595" y="5452286"/>
                  <a:pt x="2553426" y="5458275"/>
                  <a:pt x="2550483" y="5461785"/>
                </a:cubicBezTo>
                <a:cubicBezTo>
                  <a:pt x="2549863" y="5461062"/>
                  <a:pt x="2545991" y="5465709"/>
                  <a:pt x="2541189" y="5465503"/>
                </a:cubicBezTo>
                <a:cubicBezTo>
                  <a:pt x="2539485" y="5465399"/>
                  <a:pt x="2537782" y="5464780"/>
                  <a:pt x="2536078" y="5463231"/>
                </a:cubicBezTo>
                <a:cubicBezTo>
                  <a:pt x="2535148" y="5462302"/>
                  <a:pt x="2534219" y="5461372"/>
                  <a:pt x="2533445" y="5460236"/>
                </a:cubicBezTo>
                <a:cubicBezTo>
                  <a:pt x="2531431" y="5456932"/>
                  <a:pt x="2531121" y="5452802"/>
                  <a:pt x="2535923" y="5447639"/>
                </a:cubicBezTo>
                <a:cubicBezTo>
                  <a:pt x="2537007" y="5445884"/>
                  <a:pt x="2536852" y="5446710"/>
                  <a:pt x="2537782" y="5445884"/>
                </a:cubicBezTo>
                <a:cubicBezTo>
                  <a:pt x="2538711" y="5445058"/>
                  <a:pt x="2539795" y="5443302"/>
                  <a:pt x="2539795" y="5442476"/>
                </a:cubicBezTo>
                <a:cubicBezTo>
                  <a:pt x="2542119" y="5444438"/>
                  <a:pt x="2543823" y="5443509"/>
                  <a:pt x="2546456" y="5444748"/>
                </a:cubicBezTo>
                <a:lnTo>
                  <a:pt x="2547075" y="5445161"/>
                </a:lnTo>
                <a:lnTo>
                  <a:pt x="2544752" y="5439275"/>
                </a:lnTo>
                <a:cubicBezTo>
                  <a:pt x="2545372" y="5435816"/>
                  <a:pt x="2548276" y="5432538"/>
                  <a:pt x="2551471" y="5431441"/>
                </a:cubicBezTo>
                <a:close/>
                <a:moveTo>
                  <a:pt x="2945043" y="5431286"/>
                </a:moveTo>
                <a:cubicBezTo>
                  <a:pt x="2946398" y="5432306"/>
                  <a:pt x="2947327" y="5434164"/>
                  <a:pt x="2947172" y="5435455"/>
                </a:cubicBezTo>
                <a:cubicBezTo>
                  <a:pt x="2945933" y="5437417"/>
                  <a:pt x="2944539" y="5437726"/>
                  <a:pt x="2943455" y="5437313"/>
                </a:cubicBezTo>
                <a:cubicBezTo>
                  <a:pt x="2942216" y="5437004"/>
                  <a:pt x="2941286" y="5435765"/>
                  <a:pt x="2940822" y="5434525"/>
                </a:cubicBezTo>
                <a:cubicBezTo>
                  <a:pt x="2940357" y="5433700"/>
                  <a:pt x="2940202" y="5432874"/>
                  <a:pt x="2940357" y="5432151"/>
                </a:cubicBezTo>
                <a:cubicBezTo>
                  <a:pt x="2941906" y="5430086"/>
                  <a:pt x="2943688" y="5430266"/>
                  <a:pt x="2945043" y="5431286"/>
                </a:cubicBezTo>
                <a:close/>
                <a:moveTo>
                  <a:pt x="3367911" y="5431053"/>
                </a:moveTo>
                <a:lnTo>
                  <a:pt x="3359352" y="5432151"/>
                </a:lnTo>
                <a:lnTo>
                  <a:pt x="3348819" y="5432874"/>
                </a:lnTo>
                <a:lnTo>
                  <a:pt x="3348819" y="5433286"/>
                </a:lnTo>
                <a:cubicBezTo>
                  <a:pt x="3348354" y="5435248"/>
                  <a:pt x="3347734" y="5437210"/>
                  <a:pt x="3347115" y="5438449"/>
                </a:cubicBezTo>
                <a:cubicBezTo>
                  <a:pt x="3346495" y="5438036"/>
                  <a:pt x="3346185" y="5437210"/>
                  <a:pt x="3346031" y="5436178"/>
                </a:cubicBezTo>
                <a:lnTo>
                  <a:pt x="3346340" y="5433080"/>
                </a:lnTo>
                <a:lnTo>
                  <a:pt x="3340764" y="5433080"/>
                </a:lnTo>
                <a:lnTo>
                  <a:pt x="3347734" y="5441444"/>
                </a:lnTo>
                <a:cubicBezTo>
                  <a:pt x="3337976" y="5450634"/>
                  <a:pt x="3325739" y="5442270"/>
                  <a:pt x="3315671" y="5438552"/>
                </a:cubicBezTo>
                <a:lnTo>
                  <a:pt x="3314742" y="5456622"/>
                </a:lnTo>
                <a:lnTo>
                  <a:pt x="3319853" y="5457861"/>
                </a:lnTo>
                <a:lnTo>
                  <a:pt x="3321712" y="5459720"/>
                </a:lnTo>
                <a:lnTo>
                  <a:pt x="3325894" y="5457965"/>
                </a:lnTo>
                <a:cubicBezTo>
                  <a:pt x="3325894" y="5457965"/>
                  <a:pt x="3324810" y="5460753"/>
                  <a:pt x="3324190" y="5460546"/>
                </a:cubicBezTo>
                <a:cubicBezTo>
                  <a:pt x="3326359" y="5460443"/>
                  <a:pt x="3331160" y="5457345"/>
                  <a:pt x="3333329" y="5457345"/>
                </a:cubicBezTo>
                <a:cubicBezTo>
                  <a:pt x="3335498" y="5457242"/>
                  <a:pt x="3337821" y="5458687"/>
                  <a:pt x="3340144" y="5460030"/>
                </a:cubicBezTo>
                <a:lnTo>
                  <a:pt x="3343088" y="5461062"/>
                </a:lnTo>
                <a:lnTo>
                  <a:pt x="3347115" y="5459410"/>
                </a:lnTo>
                <a:lnTo>
                  <a:pt x="3347115" y="5458687"/>
                </a:lnTo>
                <a:lnTo>
                  <a:pt x="3349283" y="5456313"/>
                </a:lnTo>
                <a:lnTo>
                  <a:pt x="3348199" y="5455486"/>
                </a:lnTo>
                <a:cubicBezTo>
                  <a:pt x="3346650" y="5453112"/>
                  <a:pt x="3347115" y="5448568"/>
                  <a:pt x="3348354" y="5447846"/>
                </a:cubicBezTo>
                <a:cubicBezTo>
                  <a:pt x="3349748" y="5448052"/>
                  <a:pt x="3352381" y="5452905"/>
                  <a:pt x="3351917" y="5455486"/>
                </a:cubicBezTo>
                <a:lnTo>
                  <a:pt x="3350522" y="5456725"/>
                </a:lnTo>
                <a:lnTo>
                  <a:pt x="3351452" y="5457758"/>
                </a:lnTo>
                <a:lnTo>
                  <a:pt x="3355479" y="5456106"/>
                </a:lnTo>
                <a:lnTo>
                  <a:pt x="3356099" y="5456313"/>
                </a:lnTo>
                <a:lnTo>
                  <a:pt x="3359197" y="5453938"/>
                </a:lnTo>
                <a:cubicBezTo>
                  <a:pt x="3363069" y="5452905"/>
                  <a:pt x="3367096" y="5454144"/>
                  <a:pt x="3370349" y="5455177"/>
                </a:cubicBezTo>
                <a:cubicBezTo>
                  <a:pt x="3372363" y="5455796"/>
                  <a:pt x="3373912" y="5455486"/>
                  <a:pt x="3375306" y="5455280"/>
                </a:cubicBezTo>
                <a:cubicBezTo>
                  <a:pt x="3376080" y="5455486"/>
                  <a:pt x="3376700" y="5455590"/>
                  <a:pt x="3376700" y="5455590"/>
                </a:cubicBezTo>
                <a:cubicBezTo>
                  <a:pt x="3377629" y="5455177"/>
                  <a:pt x="3377629" y="5455177"/>
                  <a:pt x="3378404" y="5454660"/>
                </a:cubicBezTo>
                <a:cubicBezTo>
                  <a:pt x="3379333" y="5454144"/>
                  <a:pt x="3380263" y="5453731"/>
                  <a:pt x="3381192" y="5453215"/>
                </a:cubicBezTo>
                <a:cubicBezTo>
                  <a:pt x="3386768" y="5451976"/>
                  <a:pt x="3387543" y="5456003"/>
                  <a:pt x="3391880" y="5455796"/>
                </a:cubicBezTo>
                <a:lnTo>
                  <a:pt x="3403291" y="5452083"/>
                </a:lnTo>
                <a:lnTo>
                  <a:pt x="3395013" y="5447163"/>
                </a:lnTo>
                <a:lnTo>
                  <a:pt x="3394823" y="5448052"/>
                </a:lnTo>
                <a:lnTo>
                  <a:pt x="3391815" y="5445262"/>
                </a:lnTo>
                <a:close/>
                <a:moveTo>
                  <a:pt x="2718391" y="5431015"/>
                </a:moveTo>
                <a:cubicBezTo>
                  <a:pt x="2721334" y="5433390"/>
                  <a:pt x="2720869" y="5437004"/>
                  <a:pt x="2723967" y="5440308"/>
                </a:cubicBezTo>
                <a:cubicBezTo>
                  <a:pt x="2722573" y="5442992"/>
                  <a:pt x="2725826" y="5447123"/>
                  <a:pt x="2723657" y="5450737"/>
                </a:cubicBezTo>
                <a:cubicBezTo>
                  <a:pt x="2718236" y="5447536"/>
                  <a:pt x="2716222" y="5433700"/>
                  <a:pt x="2718391" y="5431015"/>
                </a:cubicBezTo>
                <a:close/>
                <a:moveTo>
                  <a:pt x="2696086" y="5430085"/>
                </a:moveTo>
                <a:cubicBezTo>
                  <a:pt x="2696860" y="5431015"/>
                  <a:pt x="2697635" y="5431015"/>
                  <a:pt x="2696550" y="5432667"/>
                </a:cubicBezTo>
                <a:cubicBezTo>
                  <a:pt x="2696550" y="5433596"/>
                  <a:pt x="2695621" y="5434422"/>
                  <a:pt x="2695466" y="5435248"/>
                </a:cubicBezTo>
                <a:cubicBezTo>
                  <a:pt x="2695466" y="5435248"/>
                  <a:pt x="2694846" y="5435558"/>
                  <a:pt x="2694072" y="5435661"/>
                </a:cubicBezTo>
                <a:cubicBezTo>
                  <a:pt x="2693452" y="5435765"/>
                  <a:pt x="2692523" y="5435765"/>
                  <a:pt x="2692213" y="5435248"/>
                </a:cubicBezTo>
                <a:cubicBezTo>
                  <a:pt x="2691749" y="5435042"/>
                  <a:pt x="2691594" y="5434732"/>
                  <a:pt x="2691594" y="5434319"/>
                </a:cubicBezTo>
                <a:cubicBezTo>
                  <a:pt x="2691749" y="5433183"/>
                  <a:pt x="2693452" y="5431531"/>
                  <a:pt x="2693452" y="5430912"/>
                </a:cubicBezTo>
                <a:cubicBezTo>
                  <a:pt x="2694382" y="5430085"/>
                  <a:pt x="2695311" y="5429259"/>
                  <a:pt x="2696086" y="5430085"/>
                </a:cubicBezTo>
                <a:close/>
                <a:moveTo>
                  <a:pt x="3208173" y="5429879"/>
                </a:moveTo>
                <a:cubicBezTo>
                  <a:pt x="3208947" y="5429569"/>
                  <a:pt x="3209257" y="5430292"/>
                  <a:pt x="3208483" y="5430602"/>
                </a:cubicBezTo>
                <a:cubicBezTo>
                  <a:pt x="3208328" y="5431634"/>
                  <a:pt x="3207708" y="5431841"/>
                  <a:pt x="3207088" y="5431841"/>
                </a:cubicBezTo>
                <a:cubicBezTo>
                  <a:pt x="3206469" y="5431738"/>
                  <a:pt x="3205695" y="5431324"/>
                  <a:pt x="3205230" y="5431118"/>
                </a:cubicBezTo>
                <a:cubicBezTo>
                  <a:pt x="3207398" y="5430189"/>
                  <a:pt x="3208018" y="5429053"/>
                  <a:pt x="3208173" y="5429879"/>
                </a:cubicBezTo>
                <a:close/>
                <a:moveTo>
                  <a:pt x="3048010" y="5427194"/>
                </a:moveTo>
                <a:cubicBezTo>
                  <a:pt x="3049869" y="5428846"/>
                  <a:pt x="3049249" y="5430602"/>
                  <a:pt x="3048629" y="5431531"/>
                </a:cubicBezTo>
                <a:cubicBezTo>
                  <a:pt x="3048320" y="5432874"/>
                  <a:pt x="3047390" y="5433596"/>
                  <a:pt x="3046151" y="5433906"/>
                </a:cubicBezTo>
                <a:cubicBezTo>
                  <a:pt x="3044912" y="5434216"/>
                  <a:pt x="3043363" y="5434009"/>
                  <a:pt x="3042124" y="5433700"/>
                </a:cubicBezTo>
                <a:cubicBezTo>
                  <a:pt x="3042898" y="5433596"/>
                  <a:pt x="3042898" y="5433596"/>
                  <a:pt x="3042898" y="5433596"/>
                </a:cubicBezTo>
                <a:cubicBezTo>
                  <a:pt x="3043673" y="5432667"/>
                  <a:pt x="3042898" y="5432770"/>
                  <a:pt x="3042744" y="5431841"/>
                </a:cubicBezTo>
                <a:cubicBezTo>
                  <a:pt x="3042744" y="5431841"/>
                  <a:pt x="3042898" y="5432770"/>
                  <a:pt x="3041814" y="5431944"/>
                </a:cubicBezTo>
                <a:cubicBezTo>
                  <a:pt x="3042744" y="5431944"/>
                  <a:pt x="3042589" y="5431015"/>
                  <a:pt x="3042434" y="5430085"/>
                </a:cubicBezTo>
                <a:cubicBezTo>
                  <a:pt x="3043828" y="5428330"/>
                  <a:pt x="3046151" y="5426368"/>
                  <a:pt x="3048010" y="5427194"/>
                </a:cubicBezTo>
                <a:close/>
                <a:moveTo>
                  <a:pt x="3098196" y="5424097"/>
                </a:moveTo>
                <a:cubicBezTo>
                  <a:pt x="3098661" y="5424303"/>
                  <a:pt x="3098816" y="5424716"/>
                  <a:pt x="3098816" y="5425232"/>
                </a:cubicBezTo>
                <a:cubicBezTo>
                  <a:pt x="3098661" y="5425749"/>
                  <a:pt x="3098506" y="5426368"/>
                  <a:pt x="3098196" y="5426885"/>
                </a:cubicBezTo>
                <a:cubicBezTo>
                  <a:pt x="3097577" y="5428123"/>
                  <a:pt x="3096957" y="5429259"/>
                  <a:pt x="3096493" y="5430395"/>
                </a:cubicBezTo>
                <a:cubicBezTo>
                  <a:pt x="3096493" y="5430395"/>
                  <a:pt x="3096493" y="5430395"/>
                  <a:pt x="3098196" y="5424097"/>
                </a:cubicBezTo>
                <a:close/>
                <a:moveTo>
                  <a:pt x="2813032" y="5420379"/>
                </a:moveTo>
                <a:cubicBezTo>
                  <a:pt x="2812878" y="5422857"/>
                  <a:pt x="2812722" y="5424097"/>
                  <a:pt x="2813187" y="5425955"/>
                </a:cubicBezTo>
                <a:cubicBezTo>
                  <a:pt x="2809624" y="5425749"/>
                  <a:pt x="2806836" y="5426575"/>
                  <a:pt x="2804823" y="5426678"/>
                </a:cubicBezTo>
                <a:cubicBezTo>
                  <a:pt x="2802654" y="5426781"/>
                  <a:pt x="2801105" y="5426162"/>
                  <a:pt x="2799866" y="5423374"/>
                </a:cubicBezTo>
                <a:cubicBezTo>
                  <a:pt x="2802035" y="5420379"/>
                  <a:pt x="2807766" y="5420689"/>
                  <a:pt x="2813032" y="5420379"/>
                </a:cubicBezTo>
                <a:close/>
                <a:moveTo>
                  <a:pt x="3056065" y="5419141"/>
                </a:moveTo>
                <a:cubicBezTo>
                  <a:pt x="3056065" y="5419141"/>
                  <a:pt x="3056219" y="5419141"/>
                  <a:pt x="3056994" y="5419244"/>
                </a:cubicBezTo>
                <a:cubicBezTo>
                  <a:pt x="3058698" y="5419553"/>
                  <a:pt x="3059472" y="5419656"/>
                  <a:pt x="3060247" y="5419760"/>
                </a:cubicBezTo>
                <a:cubicBezTo>
                  <a:pt x="3061021" y="5420792"/>
                  <a:pt x="3062570" y="5423580"/>
                  <a:pt x="3061641" y="5424303"/>
                </a:cubicBezTo>
                <a:cubicBezTo>
                  <a:pt x="3060866" y="5425026"/>
                  <a:pt x="3059782" y="5425542"/>
                  <a:pt x="3058853" y="5425646"/>
                </a:cubicBezTo>
                <a:cubicBezTo>
                  <a:pt x="3057769" y="5425852"/>
                  <a:pt x="3056994" y="5425749"/>
                  <a:pt x="3056529" y="5425232"/>
                </a:cubicBezTo>
                <a:cubicBezTo>
                  <a:pt x="3055445" y="5423787"/>
                  <a:pt x="3054361" y="5422238"/>
                  <a:pt x="3054980" y="5420689"/>
                </a:cubicBezTo>
                <a:cubicBezTo>
                  <a:pt x="3055135" y="5420173"/>
                  <a:pt x="3055445" y="5419656"/>
                  <a:pt x="3056065" y="5419141"/>
                </a:cubicBezTo>
                <a:close/>
                <a:moveTo>
                  <a:pt x="2752952" y="5416211"/>
                </a:moveTo>
                <a:cubicBezTo>
                  <a:pt x="2754985" y="5416946"/>
                  <a:pt x="2756495" y="5418986"/>
                  <a:pt x="2754482" y="5420896"/>
                </a:cubicBezTo>
                <a:cubicBezTo>
                  <a:pt x="2752623" y="5420896"/>
                  <a:pt x="2750454" y="5420173"/>
                  <a:pt x="2748285" y="5419347"/>
                </a:cubicBezTo>
                <a:cubicBezTo>
                  <a:pt x="2748363" y="5416043"/>
                  <a:pt x="2750919" y="5415475"/>
                  <a:pt x="2752952" y="5416211"/>
                </a:cubicBezTo>
                <a:close/>
                <a:moveTo>
                  <a:pt x="2760058" y="5416146"/>
                </a:moveTo>
                <a:cubicBezTo>
                  <a:pt x="2762691" y="5415940"/>
                  <a:pt x="2764240" y="5415836"/>
                  <a:pt x="2766254" y="5417488"/>
                </a:cubicBezTo>
                <a:lnTo>
                  <a:pt x="2768112" y="5420586"/>
                </a:lnTo>
                <a:lnTo>
                  <a:pt x="2769971" y="5419244"/>
                </a:lnTo>
                <a:cubicBezTo>
                  <a:pt x="2775083" y="5417179"/>
                  <a:pt x="2781124" y="5416765"/>
                  <a:pt x="2783137" y="5425542"/>
                </a:cubicBezTo>
                <a:cubicBezTo>
                  <a:pt x="2783912" y="5427194"/>
                  <a:pt x="2783292" y="5426781"/>
                  <a:pt x="2783447" y="5427917"/>
                </a:cubicBezTo>
                <a:cubicBezTo>
                  <a:pt x="2783602" y="5429156"/>
                  <a:pt x="2784532" y="5430808"/>
                  <a:pt x="2785151" y="5431221"/>
                </a:cubicBezTo>
                <a:cubicBezTo>
                  <a:pt x="2781278" y="5432977"/>
                  <a:pt x="2782363" y="5435765"/>
                  <a:pt x="2776012" y="5438140"/>
                </a:cubicBezTo>
                <a:cubicBezTo>
                  <a:pt x="2773999" y="5438966"/>
                  <a:pt x="2772295" y="5439379"/>
                  <a:pt x="2770746" y="5439379"/>
                </a:cubicBezTo>
                <a:lnTo>
                  <a:pt x="2769661" y="5439069"/>
                </a:lnTo>
                <a:lnTo>
                  <a:pt x="2769971" y="5439379"/>
                </a:lnTo>
                <a:cubicBezTo>
                  <a:pt x="2772140" y="5441547"/>
                  <a:pt x="2773688" y="5443612"/>
                  <a:pt x="2773379" y="5444954"/>
                </a:cubicBezTo>
                <a:cubicBezTo>
                  <a:pt x="2772604" y="5444954"/>
                  <a:pt x="2771830" y="5445058"/>
                  <a:pt x="2770900" y="5444232"/>
                </a:cubicBezTo>
                <a:cubicBezTo>
                  <a:pt x="2769816" y="5443406"/>
                  <a:pt x="2770746" y="5443406"/>
                  <a:pt x="2769816" y="5443406"/>
                </a:cubicBezTo>
                <a:cubicBezTo>
                  <a:pt x="2768887" y="5442580"/>
                  <a:pt x="2769042" y="5443406"/>
                  <a:pt x="2769042" y="5443406"/>
                </a:cubicBezTo>
                <a:cubicBezTo>
                  <a:pt x="2769042" y="5443406"/>
                  <a:pt x="2768887" y="5442580"/>
                  <a:pt x="2768887" y="5442580"/>
                </a:cubicBezTo>
                <a:cubicBezTo>
                  <a:pt x="2768887" y="5442580"/>
                  <a:pt x="2768887" y="5442580"/>
                  <a:pt x="2767028" y="5440927"/>
                </a:cubicBezTo>
                <a:cubicBezTo>
                  <a:pt x="2764240" y="5439379"/>
                  <a:pt x="2763466" y="5439379"/>
                  <a:pt x="2761607" y="5438656"/>
                </a:cubicBezTo>
                <a:cubicBezTo>
                  <a:pt x="2759748" y="5437004"/>
                  <a:pt x="2759438" y="5436178"/>
                  <a:pt x="2757424" y="5433700"/>
                </a:cubicBezTo>
                <a:cubicBezTo>
                  <a:pt x="2758044" y="5431944"/>
                  <a:pt x="2758044" y="5431944"/>
                  <a:pt x="2758974" y="5431841"/>
                </a:cubicBezTo>
                <a:cubicBezTo>
                  <a:pt x="2758044" y="5431944"/>
                  <a:pt x="2758044" y="5431015"/>
                  <a:pt x="2756960" y="5430189"/>
                </a:cubicBezTo>
                <a:cubicBezTo>
                  <a:pt x="2752468" y="5427814"/>
                  <a:pt x="2753552" y="5423477"/>
                  <a:pt x="2756340" y="5418934"/>
                </a:cubicBezTo>
                <a:cubicBezTo>
                  <a:pt x="2757270" y="5419760"/>
                  <a:pt x="2758509" y="5417075"/>
                  <a:pt x="2760058" y="5416146"/>
                </a:cubicBezTo>
                <a:close/>
                <a:moveTo>
                  <a:pt x="2251282" y="5412403"/>
                </a:moveTo>
                <a:cubicBezTo>
                  <a:pt x="2253160" y="5411680"/>
                  <a:pt x="2255483" y="5412067"/>
                  <a:pt x="2256491" y="5413358"/>
                </a:cubicBezTo>
                <a:cubicBezTo>
                  <a:pt x="2256646" y="5416662"/>
                  <a:pt x="2253702" y="5418831"/>
                  <a:pt x="2251224" y="5418831"/>
                </a:cubicBezTo>
                <a:cubicBezTo>
                  <a:pt x="2250295" y="5418831"/>
                  <a:pt x="2249520" y="5418624"/>
                  <a:pt x="2248745" y="5418108"/>
                </a:cubicBezTo>
                <a:cubicBezTo>
                  <a:pt x="2247971" y="5414958"/>
                  <a:pt x="2249404" y="5413125"/>
                  <a:pt x="2251282" y="5412403"/>
                </a:cubicBezTo>
                <a:close/>
                <a:moveTo>
                  <a:pt x="2651166" y="5410570"/>
                </a:moveTo>
                <a:cubicBezTo>
                  <a:pt x="2653024" y="5407989"/>
                  <a:pt x="2655348" y="5409744"/>
                  <a:pt x="2658601" y="5410674"/>
                </a:cubicBezTo>
                <a:cubicBezTo>
                  <a:pt x="2657671" y="5411500"/>
                  <a:pt x="2658446" y="5412325"/>
                  <a:pt x="2659065" y="5413255"/>
                </a:cubicBezTo>
                <a:cubicBezTo>
                  <a:pt x="2657826" y="5414494"/>
                  <a:pt x="2655813" y="5416765"/>
                  <a:pt x="2653799" y="5416352"/>
                </a:cubicBezTo>
                <a:cubicBezTo>
                  <a:pt x="2653024" y="5416146"/>
                  <a:pt x="2652250" y="5415733"/>
                  <a:pt x="2651475" y="5414804"/>
                </a:cubicBezTo>
                <a:cubicBezTo>
                  <a:pt x="2651166" y="5414804"/>
                  <a:pt x="2650856" y="5413978"/>
                  <a:pt x="2650701" y="5412945"/>
                </a:cubicBezTo>
                <a:cubicBezTo>
                  <a:pt x="2650546" y="5412016"/>
                  <a:pt x="2650701" y="5410983"/>
                  <a:pt x="2651166" y="5410570"/>
                </a:cubicBezTo>
                <a:close/>
                <a:moveTo>
                  <a:pt x="2807920" y="5409434"/>
                </a:moveTo>
                <a:cubicBezTo>
                  <a:pt x="2809624" y="5410364"/>
                  <a:pt x="2810554" y="5410364"/>
                  <a:pt x="2812103" y="5409641"/>
                </a:cubicBezTo>
                <a:cubicBezTo>
                  <a:pt x="2812103" y="5409641"/>
                  <a:pt x="2812103" y="5409641"/>
                  <a:pt x="2813807" y="5411396"/>
                </a:cubicBezTo>
                <a:lnTo>
                  <a:pt x="2813962" y="5412222"/>
                </a:lnTo>
                <a:cubicBezTo>
                  <a:pt x="2813807" y="5412635"/>
                  <a:pt x="2813032" y="5412842"/>
                  <a:pt x="2812103" y="5412945"/>
                </a:cubicBezTo>
                <a:cubicBezTo>
                  <a:pt x="2809315" y="5413048"/>
                  <a:pt x="2804513" y="5411809"/>
                  <a:pt x="2803893" y="5411809"/>
                </a:cubicBezTo>
                <a:cubicBezTo>
                  <a:pt x="2803893" y="5411809"/>
                  <a:pt x="2802964" y="5411706"/>
                  <a:pt x="2802189" y="5411706"/>
                </a:cubicBezTo>
                <a:cubicBezTo>
                  <a:pt x="2801260" y="5410777"/>
                  <a:pt x="2801260" y="5409951"/>
                  <a:pt x="2800486" y="5409951"/>
                </a:cubicBezTo>
                <a:cubicBezTo>
                  <a:pt x="2802809" y="5407473"/>
                  <a:pt x="2805442" y="5408402"/>
                  <a:pt x="2807920" y="5409434"/>
                </a:cubicBezTo>
                <a:close/>
                <a:moveTo>
                  <a:pt x="2323095" y="5407576"/>
                </a:moveTo>
                <a:cubicBezTo>
                  <a:pt x="2324644" y="5408505"/>
                  <a:pt x="2325419" y="5409331"/>
                  <a:pt x="2327123" y="5410260"/>
                </a:cubicBezTo>
                <a:cubicBezTo>
                  <a:pt x="2326813" y="5412842"/>
                  <a:pt x="2329136" y="5415526"/>
                  <a:pt x="2325109" y="5420689"/>
                </a:cubicBezTo>
                <a:cubicBezTo>
                  <a:pt x="2320462" y="5425749"/>
                  <a:pt x="2315815" y="5421412"/>
                  <a:pt x="2315815" y="5422238"/>
                </a:cubicBezTo>
                <a:cubicBezTo>
                  <a:pt x="2314886" y="5423167"/>
                  <a:pt x="2314886" y="5423167"/>
                  <a:pt x="2314731" y="5423993"/>
                </a:cubicBezTo>
                <a:cubicBezTo>
                  <a:pt x="2313956" y="5423993"/>
                  <a:pt x="2312098" y="5424716"/>
                  <a:pt x="2311168" y="5425646"/>
                </a:cubicBezTo>
                <a:cubicBezTo>
                  <a:pt x="2311323" y="5424716"/>
                  <a:pt x="2311323" y="5423890"/>
                  <a:pt x="2310549" y="5423890"/>
                </a:cubicBezTo>
                <a:cubicBezTo>
                  <a:pt x="2312408" y="5422135"/>
                  <a:pt x="2313182" y="5422238"/>
                  <a:pt x="2314112" y="5421412"/>
                </a:cubicBezTo>
                <a:cubicBezTo>
                  <a:pt x="2313337" y="5421309"/>
                  <a:pt x="2314266" y="5420483"/>
                  <a:pt x="2314266" y="5420483"/>
                </a:cubicBezTo>
                <a:cubicBezTo>
                  <a:pt x="2314266" y="5420483"/>
                  <a:pt x="2314266" y="5420483"/>
                  <a:pt x="2312717" y="5418727"/>
                </a:cubicBezTo>
                <a:cubicBezTo>
                  <a:pt x="2312717" y="5418727"/>
                  <a:pt x="2309774" y="5414390"/>
                  <a:pt x="2313647" y="5410054"/>
                </a:cubicBezTo>
                <a:cubicBezTo>
                  <a:pt x="2314421" y="5410983"/>
                  <a:pt x="2319998" y="5405820"/>
                  <a:pt x="2323095" y="5407576"/>
                </a:cubicBezTo>
                <a:close/>
                <a:moveTo>
                  <a:pt x="3177194" y="5407473"/>
                </a:moveTo>
                <a:lnTo>
                  <a:pt x="3176109" y="5407576"/>
                </a:lnTo>
                <a:lnTo>
                  <a:pt x="3175180" y="5407782"/>
                </a:lnTo>
                <a:lnTo>
                  <a:pt x="3174715" y="5407576"/>
                </a:lnTo>
                <a:lnTo>
                  <a:pt x="3172702" y="5407782"/>
                </a:lnTo>
                <a:cubicBezTo>
                  <a:pt x="3169759" y="5412119"/>
                  <a:pt x="3178897" y="5411086"/>
                  <a:pt x="3173476" y="5413978"/>
                </a:cubicBezTo>
                <a:cubicBezTo>
                  <a:pt x="3177813" y="5416146"/>
                  <a:pt x="3181376" y="5418624"/>
                  <a:pt x="3184784" y="5421206"/>
                </a:cubicBezTo>
                <a:cubicBezTo>
                  <a:pt x="3187417" y="5424303"/>
                  <a:pt x="3190824" y="5426885"/>
                  <a:pt x="3194387" y="5429466"/>
                </a:cubicBezTo>
                <a:cubicBezTo>
                  <a:pt x="3192993" y="5431221"/>
                  <a:pt x="3188811" y="5428950"/>
                  <a:pt x="3184474" y="5426678"/>
                </a:cubicBezTo>
                <a:lnTo>
                  <a:pt x="3180137" y="5424923"/>
                </a:lnTo>
                <a:lnTo>
                  <a:pt x="3181221" y="5427608"/>
                </a:lnTo>
                <a:lnTo>
                  <a:pt x="3180601" y="5430085"/>
                </a:lnTo>
                <a:lnTo>
                  <a:pt x="3185558" y="5433596"/>
                </a:lnTo>
                <a:cubicBezTo>
                  <a:pt x="3190670" y="5435868"/>
                  <a:pt x="3196865" y="5437004"/>
                  <a:pt x="3201667" y="5437726"/>
                </a:cubicBezTo>
                <a:cubicBezTo>
                  <a:pt x="3198259" y="5441237"/>
                  <a:pt x="3193767" y="5441341"/>
                  <a:pt x="3188346" y="5438243"/>
                </a:cubicBezTo>
                <a:cubicBezTo>
                  <a:pt x="3187881" y="5439585"/>
                  <a:pt x="3189275" y="5439895"/>
                  <a:pt x="3190670" y="5440308"/>
                </a:cubicBezTo>
                <a:cubicBezTo>
                  <a:pt x="3189275" y="5442167"/>
                  <a:pt x="3187572" y="5440927"/>
                  <a:pt x="3186177" y="5440514"/>
                </a:cubicBezTo>
                <a:cubicBezTo>
                  <a:pt x="3192063" y="5442373"/>
                  <a:pt x="3195626" y="5444954"/>
                  <a:pt x="3199034" y="5447536"/>
                </a:cubicBezTo>
                <a:cubicBezTo>
                  <a:pt x="3200738" y="5448775"/>
                  <a:pt x="3202597" y="5450014"/>
                  <a:pt x="3204920" y="5451563"/>
                </a:cubicBezTo>
                <a:cubicBezTo>
                  <a:pt x="3207243" y="5453009"/>
                  <a:pt x="3209876" y="5453835"/>
                  <a:pt x="3212975" y="5455590"/>
                </a:cubicBezTo>
                <a:cubicBezTo>
                  <a:pt x="3211580" y="5457965"/>
                  <a:pt x="3211735" y="5459410"/>
                  <a:pt x="3212819" y="5460443"/>
                </a:cubicBezTo>
                <a:lnTo>
                  <a:pt x="3217312" y="5462508"/>
                </a:lnTo>
                <a:lnTo>
                  <a:pt x="3217466" y="5462405"/>
                </a:lnTo>
                <a:lnTo>
                  <a:pt x="3216382" y="5457448"/>
                </a:lnTo>
                <a:cubicBezTo>
                  <a:pt x="3216537" y="5455486"/>
                  <a:pt x="3217466" y="5453731"/>
                  <a:pt x="3219635" y="5452699"/>
                </a:cubicBezTo>
                <a:cubicBezTo>
                  <a:pt x="3220100" y="5454041"/>
                  <a:pt x="3221029" y="5456003"/>
                  <a:pt x="3222113" y="5458275"/>
                </a:cubicBezTo>
                <a:lnTo>
                  <a:pt x="3223817" y="5462302"/>
                </a:lnTo>
                <a:lnTo>
                  <a:pt x="3225521" y="5462405"/>
                </a:lnTo>
                <a:lnTo>
                  <a:pt x="3229703" y="5462818"/>
                </a:lnTo>
                <a:lnTo>
                  <a:pt x="3229703" y="5461682"/>
                </a:lnTo>
                <a:cubicBezTo>
                  <a:pt x="3230168" y="5459823"/>
                  <a:pt x="3231252" y="5457861"/>
                  <a:pt x="3231872" y="5455693"/>
                </a:cubicBezTo>
                <a:cubicBezTo>
                  <a:pt x="3232801" y="5455693"/>
                  <a:pt x="3233731" y="5454867"/>
                  <a:pt x="3233731" y="5453938"/>
                </a:cubicBezTo>
                <a:cubicBezTo>
                  <a:pt x="3234660" y="5453112"/>
                  <a:pt x="3235589" y="5452182"/>
                  <a:pt x="3234660" y="5452182"/>
                </a:cubicBezTo>
                <a:cubicBezTo>
                  <a:pt x="3237448" y="5449601"/>
                  <a:pt x="3237603" y="5448775"/>
                  <a:pt x="3240081" y="5449704"/>
                </a:cubicBezTo>
                <a:lnTo>
                  <a:pt x="3238997" y="5452492"/>
                </a:lnTo>
                <a:lnTo>
                  <a:pt x="3239927" y="5452492"/>
                </a:lnTo>
                <a:cubicBezTo>
                  <a:pt x="3241166" y="5454454"/>
                  <a:pt x="3241011" y="5455796"/>
                  <a:pt x="3240236" y="5456622"/>
                </a:cubicBezTo>
                <a:lnTo>
                  <a:pt x="3237293" y="5457655"/>
                </a:lnTo>
                <a:lnTo>
                  <a:pt x="3236984" y="5458687"/>
                </a:lnTo>
                <a:lnTo>
                  <a:pt x="3240546" y="5458997"/>
                </a:lnTo>
                <a:cubicBezTo>
                  <a:pt x="3243644" y="5458997"/>
                  <a:pt x="3247207" y="5458894"/>
                  <a:pt x="3250769" y="5458894"/>
                </a:cubicBezTo>
                <a:cubicBezTo>
                  <a:pt x="3257585" y="5457965"/>
                  <a:pt x="3265020" y="5457345"/>
                  <a:pt x="3270596" y="5456003"/>
                </a:cubicBezTo>
                <a:lnTo>
                  <a:pt x="3271061" y="5458687"/>
                </a:lnTo>
                <a:lnTo>
                  <a:pt x="3273849" y="5455590"/>
                </a:lnTo>
                <a:cubicBezTo>
                  <a:pt x="3275708" y="5454351"/>
                  <a:pt x="3277721" y="5453835"/>
                  <a:pt x="3279270" y="5454557"/>
                </a:cubicBezTo>
                <a:lnTo>
                  <a:pt x="3283607" y="5456932"/>
                </a:lnTo>
                <a:lnTo>
                  <a:pt x="3285466" y="5456622"/>
                </a:lnTo>
                <a:lnTo>
                  <a:pt x="3286395" y="5457035"/>
                </a:lnTo>
                <a:lnTo>
                  <a:pt x="3289493" y="5451459"/>
                </a:lnTo>
                <a:cubicBezTo>
                  <a:pt x="3291042" y="5448878"/>
                  <a:pt x="3292591" y="5446813"/>
                  <a:pt x="3293831" y="5446710"/>
                </a:cubicBezTo>
                <a:cubicBezTo>
                  <a:pt x="3294140" y="5447536"/>
                  <a:pt x="3294450" y="5448362"/>
                  <a:pt x="3293831" y="5449498"/>
                </a:cubicBezTo>
                <a:cubicBezTo>
                  <a:pt x="3293211" y="5450634"/>
                  <a:pt x="3293056" y="5449808"/>
                  <a:pt x="3293366" y="5450634"/>
                </a:cubicBezTo>
                <a:cubicBezTo>
                  <a:pt x="3292746" y="5451769"/>
                  <a:pt x="3293521" y="5451459"/>
                  <a:pt x="3293521" y="5451459"/>
                </a:cubicBezTo>
                <a:cubicBezTo>
                  <a:pt x="3293521" y="5451459"/>
                  <a:pt x="3292746" y="5451769"/>
                  <a:pt x="3292746" y="5451769"/>
                </a:cubicBezTo>
                <a:cubicBezTo>
                  <a:pt x="3292746" y="5451769"/>
                  <a:pt x="3292746" y="5451769"/>
                  <a:pt x="3291662" y="5454041"/>
                </a:cubicBezTo>
                <a:cubicBezTo>
                  <a:pt x="3290888" y="5457139"/>
                  <a:pt x="3291042" y="5457965"/>
                  <a:pt x="3290732" y="5459926"/>
                </a:cubicBezTo>
                <a:lnTo>
                  <a:pt x="3290577" y="5460236"/>
                </a:lnTo>
                <a:lnTo>
                  <a:pt x="3290732" y="5460649"/>
                </a:lnTo>
                <a:lnTo>
                  <a:pt x="3292746" y="5459410"/>
                </a:lnTo>
                <a:lnTo>
                  <a:pt x="3293366" y="5458481"/>
                </a:lnTo>
                <a:lnTo>
                  <a:pt x="3293211" y="5458481"/>
                </a:lnTo>
                <a:cubicBezTo>
                  <a:pt x="3293521" y="5457035"/>
                  <a:pt x="3294140" y="5455590"/>
                  <a:pt x="3295689" y="5453938"/>
                </a:cubicBezTo>
                <a:cubicBezTo>
                  <a:pt x="3297393" y="5453628"/>
                  <a:pt x="3298787" y="5453835"/>
                  <a:pt x="3300181" y="5454454"/>
                </a:cubicBezTo>
                <a:lnTo>
                  <a:pt x="3300646" y="5454970"/>
                </a:lnTo>
                <a:lnTo>
                  <a:pt x="3301110" y="5447123"/>
                </a:lnTo>
                <a:cubicBezTo>
                  <a:pt x="3301885" y="5442063"/>
                  <a:pt x="3302659" y="5436591"/>
                  <a:pt x="3302195" y="5431324"/>
                </a:cubicBezTo>
                <a:cubicBezTo>
                  <a:pt x="3300646" y="5428330"/>
                  <a:pt x="3297703" y="5427194"/>
                  <a:pt x="3295534" y="5425129"/>
                </a:cubicBezTo>
                <a:lnTo>
                  <a:pt x="3293056" y="5421102"/>
                </a:lnTo>
                <a:lnTo>
                  <a:pt x="3291042" y="5421412"/>
                </a:lnTo>
                <a:lnTo>
                  <a:pt x="3288719" y="5422032"/>
                </a:lnTo>
                <a:lnTo>
                  <a:pt x="3289648" y="5423890"/>
                </a:lnTo>
                <a:cubicBezTo>
                  <a:pt x="3289958" y="5424923"/>
                  <a:pt x="3289803" y="5425749"/>
                  <a:pt x="3289338" y="5426162"/>
                </a:cubicBezTo>
                <a:cubicBezTo>
                  <a:pt x="3287944" y="5427504"/>
                  <a:pt x="3286550" y="5428743"/>
                  <a:pt x="3285001" y="5428227"/>
                </a:cubicBezTo>
                <a:cubicBezTo>
                  <a:pt x="3284537" y="5428020"/>
                  <a:pt x="3284072" y="5427608"/>
                  <a:pt x="3283452" y="5426988"/>
                </a:cubicBezTo>
                <a:cubicBezTo>
                  <a:pt x="3283452" y="5426988"/>
                  <a:pt x="3283452" y="5426885"/>
                  <a:pt x="3283607" y="5426058"/>
                </a:cubicBezTo>
                <a:lnTo>
                  <a:pt x="3283762" y="5423684"/>
                </a:lnTo>
                <a:lnTo>
                  <a:pt x="3282213" y="5424200"/>
                </a:lnTo>
                <a:lnTo>
                  <a:pt x="3271061" y="5422961"/>
                </a:lnTo>
                <a:lnTo>
                  <a:pt x="3264090" y="5430499"/>
                </a:lnTo>
                <a:lnTo>
                  <a:pt x="3258824" y="5436075"/>
                </a:lnTo>
                <a:lnTo>
                  <a:pt x="3258514" y="5438759"/>
                </a:lnTo>
                <a:lnTo>
                  <a:pt x="3256191" y="5438862"/>
                </a:lnTo>
                <a:lnTo>
                  <a:pt x="3254177" y="5441134"/>
                </a:lnTo>
                <a:lnTo>
                  <a:pt x="3253248" y="5440927"/>
                </a:lnTo>
                <a:lnTo>
                  <a:pt x="3253248" y="5442786"/>
                </a:lnTo>
                <a:cubicBezTo>
                  <a:pt x="3253093" y="5443509"/>
                  <a:pt x="3252783" y="5444025"/>
                  <a:pt x="3252318" y="5444335"/>
                </a:cubicBezTo>
                <a:cubicBezTo>
                  <a:pt x="3250150" y="5445471"/>
                  <a:pt x="3247826" y="5446090"/>
                  <a:pt x="3245967" y="5446090"/>
                </a:cubicBezTo>
                <a:cubicBezTo>
                  <a:pt x="3243954" y="5446193"/>
                  <a:pt x="3242560" y="5445780"/>
                  <a:pt x="3242095" y="5444748"/>
                </a:cubicBezTo>
                <a:cubicBezTo>
                  <a:pt x="3241320" y="5443199"/>
                  <a:pt x="3240546" y="5441547"/>
                  <a:pt x="3240236" y="5440101"/>
                </a:cubicBezTo>
                <a:lnTo>
                  <a:pt x="3240236" y="5439895"/>
                </a:lnTo>
                <a:lnTo>
                  <a:pt x="3235899" y="5440101"/>
                </a:lnTo>
                <a:cubicBezTo>
                  <a:pt x="3229394" y="5440205"/>
                  <a:pt x="3223198" y="5439585"/>
                  <a:pt x="3218551" y="5434525"/>
                </a:cubicBezTo>
                <a:cubicBezTo>
                  <a:pt x="3217621" y="5428950"/>
                  <a:pt x="3215608" y="5425749"/>
                  <a:pt x="3213439" y="5423064"/>
                </a:cubicBezTo>
                <a:lnTo>
                  <a:pt x="3209567" y="5418108"/>
                </a:lnTo>
                <a:lnTo>
                  <a:pt x="3205230" y="5417798"/>
                </a:lnTo>
                <a:cubicBezTo>
                  <a:pt x="3203836" y="5415836"/>
                  <a:pt x="3205384" y="5415526"/>
                  <a:pt x="3206004" y="5413461"/>
                </a:cubicBezTo>
                <a:cubicBezTo>
                  <a:pt x="3203526" y="5412635"/>
                  <a:pt x="3201512" y="5414287"/>
                  <a:pt x="3201202" y="5417282"/>
                </a:cubicBezTo>
                <a:cubicBezTo>
                  <a:pt x="3200273" y="5415836"/>
                  <a:pt x="3198259" y="5414907"/>
                  <a:pt x="3195936" y="5414081"/>
                </a:cubicBezTo>
                <a:lnTo>
                  <a:pt x="3194387" y="5413668"/>
                </a:lnTo>
                <a:lnTo>
                  <a:pt x="3191444" y="5414287"/>
                </a:lnTo>
                <a:cubicBezTo>
                  <a:pt x="3190670" y="5413668"/>
                  <a:pt x="3190360" y="5413151"/>
                  <a:pt x="3190515" y="5412739"/>
                </a:cubicBezTo>
                <a:lnTo>
                  <a:pt x="3190670" y="5412532"/>
                </a:lnTo>
                <a:lnTo>
                  <a:pt x="3188656" y="5412016"/>
                </a:lnTo>
                <a:lnTo>
                  <a:pt x="3185403" y="5410570"/>
                </a:lnTo>
                <a:lnTo>
                  <a:pt x="3186023" y="5411086"/>
                </a:lnTo>
                <a:cubicBezTo>
                  <a:pt x="3182925" y="5410674"/>
                  <a:pt x="3180911" y="5408092"/>
                  <a:pt x="3177194" y="5407473"/>
                </a:cubicBezTo>
                <a:close/>
                <a:moveTo>
                  <a:pt x="2776729" y="5405459"/>
                </a:moveTo>
                <a:cubicBezTo>
                  <a:pt x="2777871" y="5406337"/>
                  <a:pt x="2778181" y="5408144"/>
                  <a:pt x="2778800" y="5410157"/>
                </a:cubicBezTo>
                <a:cubicBezTo>
                  <a:pt x="2777251" y="5411189"/>
                  <a:pt x="2776477" y="5413874"/>
                  <a:pt x="2774153" y="5414494"/>
                </a:cubicBezTo>
                <a:cubicBezTo>
                  <a:pt x="2774153" y="5414494"/>
                  <a:pt x="2773844" y="5414597"/>
                  <a:pt x="2773379" y="5414494"/>
                </a:cubicBezTo>
                <a:cubicBezTo>
                  <a:pt x="2772914" y="5414494"/>
                  <a:pt x="2772295" y="5414390"/>
                  <a:pt x="2771520" y="5413978"/>
                </a:cubicBezTo>
                <a:cubicBezTo>
                  <a:pt x="2768577" y="5414081"/>
                  <a:pt x="2767957" y="5410570"/>
                  <a:pt x="2767957" y="5410570"/>
                </a:cubicBezTo>
                <a:cubicBezTo>
                  <a:pt x="2767957" y="5410570"/>
                  <a:pt x="2767957" y="5410570"/>
                  <a:pt x="2767493" y="5411293"/>
                </a:cubicBezTo>
                <a:cubicBezTo>
                  <a:pt x="2768422" y="5409744"/>
                  <a:pt x="2768732" y="5407782"/>
                  <a:pt x="2769661" y="5406337"/>
                </a:cubicBezTo>
                <a:cubicBezTo>
                  <a:pt x="2773611" y="5404633"/>
                  <a:pt x="2775586" y="5404581"/>
                  <a:pt x="2776729" y="5405459"/>
                </a:cubicBezTo>
                <a:close/>
                <a:moveTo>
                  <a:pt x="2396206" y="5404375"/>
                </a:moveTo>
                <a:cubicBezTo>
                  <a:pt x="2396051" y="5405201"/>
                  <a:pt x="2394967" y="5407885"/>
                  <a:pt x="2395742" y="5407885"/>
                </a:cubicBezTo>
                <a:cubicBezTo>
                  <a:pt x="2393728" y="5409847"/>
                  <a:pt x="2391250" y="5411706"/>
                  <a:pt x="2389081" y="5411809"/>
                </a:cubicBezTo>
                <a:cubicBezTo>
                  <a:pt x="2388307" y="5411809"/>
                  <a:pt x="2387687" y="5411706"/>
                  <a:pt x="2387067" y="5411189"/>
                </a:cubicBezTo>
                <a:cubicBezTo>
                  <a:pt x="2385519" y="5410364"/>
                  <a:pt x="2386603" y="5408608"/>
                  <a:pt x="2388462" y="5406853"/>
                </a:cubicBezTo>
                <a:cubicBezTo>
                  <a:pt x="2391405" y="5402516"/>
                  <a:pt x="2393883" y="5401690"/>
                  <a:pt x="2396206" y="5404375"/>
                </a:cubicBezTo>
                <a:close/>
                <a:moveTo>
                  <a:pt x="2706928" y="5403858"/>
                </a:moveTo>
                <a:cubicBezTo>
                  <a:pt x="2707703" y="5402207"/>
                  <a:pt x="2710336" y="5405820"/>
                  <a:pt x="2711110" y="5404065"/>
                </a:cubicBezTo>
                <a:cubicBezTo>
                  <a:pt x="2714518" y="5407782"/>
                  <a:pt x="2718546" y="5403549"/>
                  <a:pt x="2724586" y="5408195"/>
                </a:cubicBezTo>
                <a:cubicBezTo>
                  <a:pt x="2722573" y="5408712"/>
                  <a:pt x="2720559" y="5408918"/>
                  <a:pt x="2718855" y="5408918"/>
                </a:cubicBezTo>
                <a:cubicBezTo>
                  <a:pt x="2713434" y="5408918"/>
                  <a:pt x="2709097" y="5407059"/>
                  <a:pt x="2705534" y="5408195"/>
                </a:cubicBezTo>
                <a:cubicBezTo>
                  <a:pt x="2705534" y="5408195"/>
                  <a:pt x="2705534" y="5408195"/>
                  <a:pt x="2703676" y="5406337"/>
                </a:cubicBezTo>
                <a:cubicBezTo>
                  <a:pt x="2702901" y="5406337"/>
                  <a:pt x="2702901" y="5406337"/>
                  <a:pt x="2702901" y="5406337"/>
                </a:cubicBezTo>
                <a:cubicBezTo>
                  <a:pt x="2702127" y="5406337"/>
                  <a:pt x="2701972" y="5404478"/>
                  <a:pt x="2701972" y="5404478"/>
                </a:cubicBezTo>
                <a:cubicBezTo>
                  <a:pt x="2702746" y="5402826"/>
                  <a:pt x="2705224" y="5403755"/>
                  <a:pt x="2706928" y="5403858"/>
                </a:cubicBezTo>
                <a:close/>
                <a:moveTo>
                  <a:pt x="2405655" y="5400864"/>
                </a:moveTo>
                <a:cubicBezTo>
                  <a:pt x="2405655" y="5401793"/>
                  <a:pt x="2406120" y="5403652"/>
                  <a:pt x="2405345" y="5403652"/>
                </a:cubicBezTo>
                <a:cubicBezTo>
                  <a:pt x="2405345" y="5404478"/>
                  <a:pt x="2403641" y="5404478"/>
                  <a:pt x="2403641" y="5404478"/>
                </a:cubicBezTo>
                <a:cubicBezTo>
                  <a:pt x="2403641" y="5405407"/>
                  <a:pt x="2403487" y="5406337"/>
                  <a:pt x="2402557" y="5407266"/>
                </a:cubicBezTo>
                <a:cubicBezTo>
                  <a:pt x="2401937" y="5406337"/>
                  <a:pt x="2401783" y="5407163"/>
                  <a:pt x="2401008" y="5407163"/>
                </a:cubicBezTo>
                <a:cubicBezTo>
                  <a:pt x="2401937" y="5406233"/>
                  <a:pt x="2402247" y="5403652"/>
                  <a:pt x="2403177" y="5401793"/>
                </a:cubicBezTo>
                <a:cubicBezTo>
                  <a:pt x="2403951" y="5401793"/>
                  <a:pt x="2404880" y="5400864"/>
                  <a:pt x="2405655" y="5400864"/>
                </a:cubicBezTo>
                <a:close/>
                <a:moveTo>
                  <a:pt x="2860121" y="5399522"/>
                </a:moveTo>
                <a:cubicBezTo>
                  <a:pt x="2861205" y="5399831"/>
                  <a:pt x="2862289" y="5400348"/>
                  <a:pt x="2861670" y="5401484"/>
                </a:cubicBezTo>
                <a:cubicBezTo>
                  <a:pt x="2861205" y="5402619"/>
                  <a:pt x="2861670" y="5403445"/>
                  <a:pt x="2859811" y="5403445"/>
                </a:cubicBezTo>
                <a:cubicBezTo>
                  <a:pt x="2858882" y="5403858"/>
                  <a:pt x="2857797" y="5403445"/>
                  <a:pt x="2857023" y="5403858"/>
                </a:cubicBezTo>
                <a:cubicBezTo>
                  <a:pt x="2857023" y="5403858"/>
                  <a:pt x="2856713" y="5403239"/>
                  <a:pt x="2856248" y="5402619"/>
                </a:cubicBezTo>
                <a:cubicBezTo>
                  <a:pt x="2855939" y="5402000"/>
                  <a:pt x="2855629" y="5401277"/>
                  <a:pt x="2855939" y="5400657"/>
                </a:cubicBezTo>
                <a:cubicBezTo>
                  <a:pt x="2856093" y="5398696"/>
                  <a:pt x="2859346" y="5399831"/>
                  <a:pt x="2860121" y="5399522"/>
                </a:cubicBezTo>
                <a:close/>
                <a:moveTo>
                  <a:pt x="3272609" y="5397870"/>
                </a:moveTo>
                <a:lnTo>
                  <a:pt x="3272455" y="5405923"/>
                </a:lnTo>
                <a:lnTo>
                  <a:pt x="3273694" y="5417901"/>
                </a:lnTo>
                <a:lnTo>
                  <a:pt x="3279735" y="5418934"/>
                </a:lnTo>
                <a:cubicBezTo>
                  <a:pt x="3283143" y="5419244"/>
                  <a:pt x="3286705" y="5419553"/>
                  <a:pt x="3290423" y="5419244"/>
                </a:cubicBezTo>
                <a:lnTo>
                  <a:pt x="3292901" y="5418831"/>
                </a:lnTo>
                <a:lnTo>
                  <a:pt x="3292746" y="5413668"/>
                </a:lnTo>
                <a:lnTo>
                  <a:pt x="3300955" y="5415217"/>
                </a:lnTo>
                <a:lnTo>
                  <a:pt x="3299097" y="5402826"/>
                </a:lnTo>
                <a:lnTo>
                  <a:pt x="3299871" y="5398076"/>
                </a:lnTo>
                <a:lnTo>
                  <a:pt x="3287789" y="5398076"/>
                </a:lnTo>
                <a:close/>
                <a:moveTo>
                  <a:pt x="2731247" y="5397147"/>
                </a:moveTo>
                <a:cubicBezTo>
                  <a:pt x="2736359" y="5398386"/>
                  <a:pt x="2736823" y="5401793"/>
                  <a:pt x="2734035" y="5406956"/>
                </a:cubicBezTo>
                <a:cubicBezTo>
                  <a:pt x="2732176" y="5406956"/>
                  <a:pt x="2730628" y="5407679"/>
                  <a:pt x="2727994" y="5408092"/>
                </a:cubicBezTo>
                <a:cubicBezTo>
                  <a:pt x="2727065" y="5405717"/>
                  <a:pt x="2727529" y="5399935"/>
                  <a:pt x="2731247" y="5397147"/>
                </a:cubicBezTo>
                <a:close/>
                <a:moveTo>
                  <a:pt x="2590621" y="5394553"/>
                </a:moveTo>
                <a:cubicBezTo>
                  <a:pt x="2593428" y="5394385"/>
                  <a:pt x="2595635" y="5395082"/>
                  <a:pt x="2596487" y="5394669"/>
                </a:cubicBezTo>
                <a:cubicBezTo>
                  <a:pt x="2598656" y="5397250"/>
                  <a:pt x="2598656" y="5397353"/>
                  <a:pt x="2594009" y="5402413"/>
                </a:cubicBezTo>
                <a:cubicBezTo>
                  <a:pt x="2593080" y="5403342"/>
                  <a:pt x="2591995" y="5403858"/>
                  <a:pt x="2590911" y="5404168"/>
                </a:cubicBezTo>
                <a:cubicBezTo>
                  <a:pt x="2589672" y="5404478"/>
                  <a:pt x="2588433" y="5404478"/>
                  <a:pt x="2587193" y="5404065"/>
                </a:cubicBezTo>
                <a:cubicBezTo>
                  <a:pt x="2586419" y="5404478"/>
                  <a:pt x="2585335" y="5404684"/>
                  <a:pt x="2584406" y="5404684"/>
                </a:cubicBezTo>
                <a:cubicBezTo>
                  <a:pt x="2583321" y="5404684"/>
                  <a:pt x="2582237" y="5404375"/>
                  <a:pt x="2581462" y="5403962"/>
                </a:cubicBezTo>
                <a:cubicBezTo>
                  <a:pt x="2580843" y="5403032"/>
                  <a:pt x="2580378" y="5402207"/>
                  <a:pt x="2580378" y="5401380"/>
                </a:cubicBezTo>
                <a:cubicBezTo>
                  <a:pt x="2580378" y="5400657"/>
                  <a:pt x="2580688" y="5400038"/>
                  <a:pt x="2581152" y="5399625"/>
                </a:cubicBezTo>
                <a:cubicBezTo>
                  <a:pt x="2584405" y="5395753"/>
                  <a:pt x="2587813" y="5394720"/>
                  <a:pt x="2590621" y="5394553"/>
                </a:cubicBezTo>
                <a:close/>
                <a:moveTo>
                  <a:pt x="2400698" y="5394152"/>
                </a:moveTo>
                <a:cubicBezTo>
                  <a:pt x="2401628" y="5393326"/>
                  <a:pt x="2402557" y="5393223"/>
                  <a:pt x="2403332" y="5394152"/>
                </a:cubicBezTo>
                <a:cubicBezTo>
                  <a:pt x="2403332" y="5394152"/>
                  <a:pt x="2402247" y="5395908"/>
                  <a:pt x="2402247" y="5395908"/>
                </a:cubicBezTo>
                <a:cubicBezTo>
                  <a:pt x="2400389" y="5397560"/>
                  <a:pt x="2399304" y="5398489"/>
                  <a:pt x="2398220" y="5400245"/>
                </a:cubicBezTo>
                <a:cubicBezTo>
                  <a:pt x="2397446" y="5399728"/>
                  <a:pt x="2397136" y="5399315"/>
                  <a:pt x="2397136" y="5398799"/>
                </a:cubicBezTo>
                <a:cubicBezTo>
                  <a:pt x="2396981" y="5398386"/>
                  <a:pt x="2397290" y="5397973"/>
                  <a:pt x="2397755" y="5397560"/>
                </a:cubicBezTo>
                <a:cubicBezTo>
                  <a:pt x="2397755" y="5397560"/>
                  <a:pt x="2398685" y="5396630"/>
                  <a:pt x="2399614" y="5395805"/>
                </a:cubicBezTo>
                <a:cubicBezTo>
                  <a:pt x="2400544" y="5394978"/>
                  <a:pt x="2400698" y="5394152"/>
                  <a:pt x="2400698" y="5394152"/>
                </a:cubicBezTo>
                <a:close/>
                <a:moveTo>
                  <a:pt x="2873597" y="5393636"/>
                </a:moveTo>
                <a:cubicBezTo>
                  <a:pt x="2873287" y="5394875"/>
                  <a:pt x="2876695" y="5395701"/>
                  <a:pt x="2877779" y="5395908"/>
                </a:cubicBezTo>
                <a:cubicBezTo>
                  <a:pt x="2877469" y="5397147"/>
                  <a:pt x="2878244" y="5398179"/>
                  <a:pt x="2878863" y="5399315"/>
                </a:cubicBezTo>
                <a:lnTo>
                  <a:pt x="2879638" y="5400761"/>
                </a:lnTo>
                <a:lnTo>
                  <a:pt x="2892959" y="5395598"/>
                </a:lnTo>
                <a:cubicBezTo>
                  <a:pt x="2892959" y="5397044"/>
                  <a:pt x="2893579" y="5398179"/>
                  <a:pt x="2894198" y="5399522"/>
                </a:cubicBezTo>
                <a:lnTo>
                  <a:pt x="2894663" y="5404168"/>
                </a:lnTo>
                <a:lnTo>
                  <a:pt x="2898845" y="5407163"/>
                </a:lnTo>
                <a:cubicBezTo>
                  <a:pt x="2899929" y="5408918"/>
                  <a:pt x="2900239" y="5411189"/>
                  <a:pt x="2899774" y="5414184"/>
                </a:cubicBezTo>
                <a:cubicBezTo>
                  <a:pt x="2897606" y="5415010"/>
                  <a:pt x="2895747" y="5415630"/>
                  <a:pt x="2894043" y="5415836"/>
                </a:cubicBezTo>
                <a:cubicBezTo>
                  <a:pt x="2892339" y="5416043"/>
                  <a:pt x="2890945" y="5415940"/>
                  <a:pt x="2889706" y="5415630"/>
                </a:cubicBezTo>
                <a:cubicBezTo>
                  <a:pt x="2887073" y="5414907"/>
                  <a:pt x="2885369" y="5413151"/>
                  <a:pt x="2883820" y="5410674"/>
                </a:cubicBezTo>
                <a:lnTo>
                  <a:pt x="2886608" y="5407679"/>
                </a:lnTo>
                <a:lnTo>
                  <a:pt x="2873442" y="5412222"/>
                </a:lnTo>
                <a:lnTo>
                  <a:pt x="2862444" y="5415836"/>
                </a:lnTo>
                <a:lnTo>
                  <a:pt x="2863838" y="5418831"/>
                </a:lnTo>
                <a:cubicBezTo>
                  <a:pt x="2865077" y="5422857"/>
                  <a:pt x="2865542" y="5426885"/>
                  <a:pt x="2865233" y="5430808"/>
                </a:cubicBezTo>
                <a:cubicBezTo>
                  <a:pt x="2864923" y="5433390"/>
                  <a:pt x="2864458" y="5436075"/>
                  <a:pt x="2863529" y="5438552"/>
                </a:cubicBezTo>
                <a:cubicBezTo>
                  <a:pt x="2857023" y="5438036"/>
                  <a:pt x="2856713" y="5430085"/>
                  <a:pt x="2855164" y="5424613"/>
                </a:cubicBezTo>
                <a:cubicBezTo>
                  <a:pt x="2850362" y="5428640"/>
                  <a:pt x="2844167" y="5435971"/>
                  <a:pt x="2839984" y="5431221"/>
                </a:cubicBezTo>
                <a:cubicBezTo>
                  <a:pt x="2840294" y="5424200"/>
                  <a:pt x="2848813" y="5422341"/>
                  <a:pt x="2853925" y="5416559"/>
                </a:cubicBezTo>
                <a:cubicBezTo>
                  <a:pt x="2855009" y="5414081"/>
                  <a:pt x="2853615" y="5411809"/>
                  <a:pt x="2855319" y="5409124"/>
                </a:cubicBezTo>
                <a:lnTo>
                  <a:pt x="2856403" y="5408092"/>
                </a:lnTo>
                <a:lnTo>
                  <a:pt x="2856248" y="5403858"/>
                </a:lnTo>
                <a:cubicBezTo>
                  <a:pt x="2857797" y="5403136"/>
                  <a:pt x="2860431" y="5405820"/>
                  <a:pt x="2862134" y="5406750"/>
                </a:cubicBezTo>
                <a:cubicBezTo>
                  <a:pt x="2861360" y="5407576"/>
                  <a:pt x="2860586" y="5408402"/>
                  <a:pt x="2861360" y="5408402"/>
                </a:cubicBezTo>
                <a:lnTo>
                  <a:pt x="2859501" y="5409434"/>
                </a:lnTo>
                <a:lnTo>
                  <a:pt x="2860431" y="5411293"/>
                </a:lnTo>
                <a:lnTo>
                  <a:pt x="2861205" y="5410364"/>
                </a:lnTo>
                <a:cubicBezTo>
                  <a:pt x="2863374" y="5408608"/>
                  <a:pt x="2865697" y="5407163"/>
                  <a:pt x="2868330" y="5405820"/>
                </a:cubicBezTo>
                <a:lnTo>
                  <a:pt x="2872667" y="5403755"/>
                </a:lnTo>
                <a:lnTo>
                  <a:pt x="2870809" y="5402826"/>
                </a:lnTo>
                <a:cubicBezTo>
                  <a:pt x="2867246" y="5400245"/>
                  <a:pt x="2867246" y="5397353"/>
                  <a:pt x="2866471" y="5397147"/>
                </a:cubicBezTo>
                <a:cubicBezTo>
                  <a:pt x="2867556" y="5393430"/>
                  <a:pt x="2869879" y="5394049"/>
                  <a:pt x="2873597" y="5393636"/>
                </a:cubicBezTo>
                <a:close/>
                <a:moveTo>
                  <a:pt x="2556989" y="5393326"/>
                </a:moveTo>
                <a:cubicBezTo>
                  <a:pt x="2560861" y="5402310"/>
                  <a:pt x="2551567" y="5412119"/>
                  <a:pt x="2543048" y="5413358"/>
                </a:cubicBezTo>
                <a:cubicBezTo>
                  <a:pt x="2540105" y="5413771"/>
                  <a:pt x="2537317" y="5413255"/>
                  <a:pt x="2534994" y="5411396"/>
                </a:cubicBezTo>
                <a:cubicBezTo>
                  <a:pt x="2533754" y="5408402"/>
                  <a:pt x="2533909" y="5405511"/>
                  <a:pt x="2534994" y="5402929"/>
                </a:cubicBezTo>
                <a:cubicBezTo>
                  <a:pt x="2538401" y="5395288"/>
                  <a:pt x="2550018" y="5390332"/>
                  <a:pt x="2556989" y="5393326"/>
                </a:cubicBezTo>
                <a:close/>
                <a:moveTo>
                  <a:pt x="2363213" y="5391571"/>
                </a:moveTo>
                <a:cubicBezTo>
                  <a:pt x="2356553" y="5399522"/>
                  <a:pt x="2351906" y="5394978"/>
                  <a:pt x="2348188" y="5399315"/>
                </a:cubicBezTo>
                <a:cubicBezTo>
                  <a:pt x="2347569" y="5397560"/>
                  <a:pt x="2347569" y="5397560"/>
                  <a:pt x="2348498" y="5395805"/>
                </a:cubicBezTo>
                <a:cubicBezTo>
                  <a:pt x="2349428" y="5395805"/>
                  <a:pt x="2349428" y="5394875"/>
                  <a:pt x="2350202" y="5395805"/>
                </a:cubicBezTo>
                <a:cubicBezTo>
                  <a:pt x="2352216" y="5393223"/>
                  <a:pt x="2359961" y="5390642"/>
                  <a:pt x="2363213" y="5391571"/>
                </a:cubicBezTo>
                <a:close/>
                <a:moveTo>
                  <a:pt x="2849123" y="5391055"/>
                </a:moveTo>
                <a:cubicBezTo>
                  <a:pt x="2850672" y="5392294"/>
                  <a:pt x="2848039" y="5397147"/>
                  <a:pt x="2845870" y="5395908"/>
                </a:cubicBezTo>
                <a:cubicBezTo>
                  <a:pt x="2845096" y="5395598"/>
                  <a:pt x="2844476" y="5394462"/>
                  <a:pt x="2844011" y="5392397"/>
                </a:cubicBezTo>
                <a:cubicBezTo>
                  <a:pt x="2846799" y="5390642"/>
                  <a:pt x="2848349" y="5390539"/>
                  <a:pt x="2849123" y="5391055"/>
                </a:cubicBezTo>
                <a:close/>
                <a:moveTo>
                  <a:pt x="2660150" y="5389299"/>
                </a:moveTo>
                <a:cubicBezTo>
                  <a:pt x="2661853" y="5391158"/>
                  <a:pt x="2663557" y="5392913"/>
                  <a:pt x="2665261" y="5394772"/>
                </a:cubicBezTo>
                <a:cubicBezTo>
                  <a:pt x="2663712" y="5395598"/>
                  <a:pt x="2662938" y="5397353"/>
                  <a:pt x="2662163" y="5398179"/>
                </a:cubicBezTo>
                <a:cubicBezTo>
                  <a:pt x="2659685" y="5398076"/>
                  <a:pt x="2657981" y="5397147"/>
                  <a:pt x="2656277" y="5394359"/>
                </a:cubicBezTo>
                <a:cubicBezTo>
                  <a:pt x="2657671" y="5390951"/>
                  <a:pt x="2656897" y="5391778"/>
                  <a:pt x="2660150" y="5389299"/>
                </a:cubicBezTo>
                <a:close/>
                <a:moveTo>
                  <a:pt x="2723502" y="5388473"/>
                </a:moveTo>
                <a:cubicBezTo>
                  <a:pt x="2724586" y="5388163"/>
                  <a:pt x="2725051" y="5387338"/>
                  <a:pt x="2725206" y="5388473"/>
                </a:cubicBezTo>
                <a:cubicBezTo>
                  <a:pt x="2725516" y="5389712"/>
                  <a:pt x="2725516" y="5389712"/>
                  <a:pt x="2724122" y="5391881"/>
                </a:cubicBezTo>
                <a:cubicBezTo>
                  <a:pt x="2723812" y="5390745"/>
                  <a:pt x="2723812" y="5390745"/>
                  <a:pt x="2722728" y="5391055"/>
                </a:cubicBezTo>
                <a:cubicBezTo>
                  <a:pt x="2722728" y="5391055"/>
                  <a:pt x="2722728" y="5391055"/>
                  <a:pt x="2722263" y="5391778"/>
                </a:cubicBezTo>
                <a:cubicBezTo>
                  <a:pt x="2721643" y="5391364"/>
                  <a:pt x="2722108" y="5390642"/>
                  <a:pt x="2721488" y="5390229"/>
                </a:cubicBezTo>
                <a:cubicBezTo>
                  <a:pt x="2721488" y="5390229"/>
                  <a:pt x="2721954" y="5389506"/>
                  <a:pt x="2721954" y="5389506"/>
                </a:cubicBezTo>
                <a:cubicBezTo>
                  <a:pt x="2721643" y="5389299"/>
                  <a:pt x="2721643" y="5389196"/>
                  <a:pt x="2721798" y="5389196"/>
                </a:cubicBezTo>
                <a:cubicBezTo>
                  <a:pt x="2722108" y="5389093"/>
                  <a:pt x="2722728" y="5388989"/>
                  <a:pt x="2723502" y="5388473"/>
                </a:cubicBezTo>
                <a:close/>
                <a:moveTo>
                  <a:pt x="2370339" y="5387544"/>
                </a:moveTo>
                <a:cubicBezTo>
                  <a:pt x="2369409" y="5388473"/>
                  <a:pt x="2367551" y="5389299"/>
                  <a:pt x="2366621" y="5390125"/>
                </a:cubicBezTo>
                <a:cubicBezTo>
                  <a:pt x="2366621" y="5390125"/>
                  <a:pt x="2366621" y="5390125"/>
                  <a:pt x="2365847" y="5389196"/>
                </a:cubicBezTo>
                <a:cubicBezTo>
                  <a:pt x="2367551" y="5389299"/>
                  <a:pt x="2368790" y="5385788"/>
                  <a:pt x="2370339" y="5387544"/>
                </a:cubicBezTo>
                <a:close/>
                <a:moveTo>
                  <a:pt x="2357250" y="5387234"/>
                </a:moveTo>
                <a:cubicBezTo>
                  <a:pt x="2359573" y="5387183"/>
                  <a:pt x="2361432" y="5387441"/>
                  <a:pt x="2361819" y="5387441"/>
                </a:cubicBezTo>
                <a:cubicBezTo>
                  <a:pt x="2361819" y="5388267"/>
                  <a:pt x="2361819" y="5388267"/>
                  <a:pt x="2361819" y="5388267"/>
                </a:cubicBezTo>
                <a:cubicBezTo>
                  <a:pt x="2359341" y="5387544"/>
                  <a:pt x="2356088" y="5389712"/>
                  <a:pt x="2352990" y="5390125"/>
                </a:cubicBezTo>
                <a:cubicBezTo>
                  <a:pt x="2351906" y="5390229"/>
                  <a:pt x="2350822" y="5390229"/>
                  <a:pt x="2349892" y="5389712"/>
                </a:cubicBezTo>
                <a:cubicBezTo>
                  <a:pt x="2349892" y="5389712"/>
                  <a:pt x="2349892" y="5389712"/>
                  <a:pt x="2350667" y="5389712"/>
                </a:cubicBezTo>
                <a:cubicBezTo>
                  <a:pt x="2350667" y="5389712"/>
                  <a:pt x="2349737" y="5389712"/>
                  <a:pt x="2349892" y="5388886"/>
                </a:cubicBezTo>
                <a:cubicBezTo>
                  <a:pt x="2352138" y="5387647"/>
                  <a:pt x="2354926" y="5387286"/>
                  <a:pt x="2357250" y="5387234"/>
                </a:cubicBezTo>
                <a:close/>
                <a:moveTo>
                  <a:pt x="2859346" y="5386924"/>
                </a:moveTo>
                <a:cubicBezTo>
                  <a:pt x="2861515" y="5387441"/>
                  <a:pt x="2861205" y="5390642"/>
                  <a:pt x="2860586" y="5391055"/>
                </a:cubicBezTo>
                <a:cubicBezTo>
                  <a:pt x="2859346" y="5390848"/>
                  <a:pt x="2858572" y="5389299"/>
                  <a:pt x="2857488" y="5388989"/>
                </a:cubicBezTo>
                <a:cubicBezTo>
                  <a:pt x="2858107" y="5388577"/>
                  <a:pt x="2858572" y="5387338"/>
                  <a:pt x="2859346" y="5386924"/>
                </a:cubicBezTo>
                <a:close/>
                <a:moveTo>
                  <a:pt x="2740076" y="5385892"/>
                </a:moveTo>
                <a:cubicBezTo>
                  <a:pt x="2740851" y="5386511"/>
                  <a:pt x="2741315" y="5387647"/>
                  <a:pt x="2741470" y="5389506"/>
                </a:cubicBezTo>
                <a:cubicBezTo>
                  <a:pt x="2740076" y="5390229"/>
                  <a:pt x="2736823" y="5391261"/>
                  <a:pt x="2733725" y="5391571"/>
                </a:cubicBezTo>
                <a:cubicBezTo>
                  <a:pt x="2730628" y="5391778"/>
                  <a:pt x="2727685" y="5391261"/>
                  <a:pt x="2727220" y="5388886"/>
                </a:cubicBezTo>
                <a:cubicBezTo>
                  <a:pt x="2727220" y="5388267"/>
                  <a:pt x="2727220" y="5387441"/>
                  <a:pt x="2727529" y="5386408"/>
                </a:cubicBezTo>
                <a:cubicBezTo>
                  <a:pt x="2732951" y="5386718"/>
                  <a:pt x="2737753" y="5384137"/>
                  <a:pt x="2740076" y="5385892"/>
                </a:cubicBezTo>
                <a:close/>
                <a:moveTo>
                  <a:pt x="3192838" y="5385273"/>
                </a:moveTo>
                <a:lnTo>
                  <a:pt x="3191289" y="5386615"/>
                </a:lnTo>
                <a:lnTo>
                  <a:pt x="3192683" y="5387131"/>
                </a:lnTo>
                <a:cubicBezTo>
                  <a:pt x="3194851" y="5387750"/>
                  <a:pt x="3196865" y="5388473"/>
                  <a:pt x="3198569" y="5389506"/>
                </a:cubicBezTo>
                <a:lnTo>
                  <a:pt x="3201357" y="5393223"/>
                </a:lnTo>
                <a:lnTo>
                  <a:pt x="3201512" y="5393326"/>
                </a:lnTo>
                <a:lnTo>
                  <a:pt x="3209102" y="5396114"/>
                </a:lnTo>
                <a:lnTo>
                  <a:pt x="3210342" y="5391055"/>
                </a:lnTo>
                <a:lnTo>
                  <a:pt x="3210496" y="5390745"/>
                </a:lnTo>
                <a:close/>
                <a:moveTo>
                  <a:pt x="2617553" y="5383517"/>
                </a:moveTo>
                <a:cubicBezTo>
                  <a:pt x="2618638" y="5383827"/>
                  <a:pt x="2618638" y="5383827"/>
                  <a:pt x="2619722" y="5385995"/>
                </a:cubicBezTo>
                <a:cubicBezTo>
                  <a:pt x="2618638" y="5385685"/>
                  <a:pt x="2618638" y="5385685"/>
                  <a:pt x="2618327" y="5386821"/>
                </a:cubicBezTo>
                <a:cubicBezTo>
                  <a:pt x="2618327" y="5386821"/>
                  <a:pt x="2618327" y="5386821"/>
                  <a:pt x="2618638" y="5387544"/>
                </a:cubicBezTo>
                <a:cubicBezTo>
                  <a:pt x="2617863" y="5387957"/>
                  <a:pt x="2617553" y="5387338"/>
                  <a:pt x="2616934" y="5387750"/>
                </a:cubicBezTo>
                <a:cubicBezTo>
                  <a:pt x="2616934" y="5387750"/>
                  <a:pt x="2616469" y="5387028"/>
                  <a:pt x="2616469" y="5387028"/>
                </a:cubicBezTo>
                <a:cubicBezTo>
                  <a:pt x="2616159" y="5387234"/>
                  <a:pt x="2616159" y="5387234"/>
                  <a:pt x="2616314" y="5386924"/>
                </a:cubicBezTo>
                <a:cubicBezTo>
                  <a:pt x="2616314" y="5386718"/>
                  <a:pt x="2616469" y="5386098"/>
                  <a:pt x="2616469" y="5385169"/>
                </a:cubicBezTo>
                <a:cubicBezTo>
                  <a:pt x="2616779" y="5384033"/>
                  <a:pt x="2616469" y="5383311"/>
                  <a:pt x="2617553" y="5383517"/>
                </a:cubicBezTo>
                <a:close/>
                <a:moveTo>
                  <a:pt x="3178587" y="5382072"/>
                </a:moveTo>
                <a:lnTo>
                  <a:pt x="3178587" y="5382175"/>
                </a:lnTo>
                <a:lnTo>
                  <a:pt x="3177194" y="5383827"/>
                </a:lnTo>
                <a:lnTo>
                  <a:pt x="3179362" y="5385066"/>
                </a:lnTo>
                <a:lnTo>
                  <a:pt x="3179827" y="5383311"/>
                </a:lnTo>
                <a:close/>
                <a:moveTo>
                  <a:pt x="2591124" y="5379477"/>
                </a:moveTo>
                <a:cubicBezTo>
                  <a:pt x="2594164" y="5378509"/>
                  <a:pt x="2596720" y="5380471"/>
                  <a:pt x="2594009" y="5389506"/>
                </a:cubicBezTo>
                <a:cubicBezTo>
                  <a:pt x="2588278" y="5390125"/>
                  <a:pt x="2585799" y="5388783"/>
                  <a:pt x="2585335" y="5387028"/>
                </a:cubicBezTo>
                <a:cubicBezTo>
                  <a:pt x="2584560" y="5384343"/>
                  <a:pt x="2588084" y="5380445"/>
                  <a:pt x="2591124" y="5379477"/>
                </a:cubicBezTo>
                <a:close/>
                <a:moveTo>
                  <a:pt x="3016256" y="5378044"/>
                </a:moveTo>
                <a:cubicBezTo>
                  <a:pt x="3023691" y="5383207"/>
                  <a:pt x="3021368" y="5388473"/>
                  <a:pt x="3017495" y="5389609"/>
                </a:cubicBezTo>
                <a:cubicBezTo>
                  <a:pt x="3016101" y="5390022"/>
                  <a:pt x="3014552" y="5389919"/>
                  <a:pt x="3013158" y="5389196"/>
                </a:cubicBezTo>
                <a:cubicBezTo>
                  <a:pt x="3011300" y="5388267"/>
                  <a:pt x="3009750" y="5386202"/>
                  <a:pt x="3008976" y="5382794"/>
                </a:cubicBezTo>
                <a:cubicBezTo>
                  <a:pt x="3011300" y="5379490"/>
                  <a:pt x="3013778" y="5379593"/>
                  <a:pt x="3016256" y="5378044"/>
                </a:cubicBezTo>
                <a:close/>
                <a:moveTo>
                  <a:pt x="2395587" y="5376599"/>
                </a:moveTo>
                <a:cubicBezTo>
                  <a:pt x="2394193" y="5378457"/>
                  <a:pt x="2391714" y="5381865"/>
                  <a:pt x="2389701" y="5382691"/>
                </a:cubicBezTo>
                <a:cubicBezTo>
                  <a:pt x="2388926" y="5382897"/>
                  <a:pt x="2388307" y="5382897"/>
                  <a:pt x="2387687" y="5382484"/>
                </a:cubicBezTo>
                <a:cubicBezTo>
                  <a:pt x="2386913" y="5381555"/>
                  <a:pt x="2387842" y="5380729"/>
                  <a:pt x="2387997" y="5379903"/>
                </a:cubicBezTo>
                <a:cubicBezTo>
                  <a:pt x="2388926" y="5378148"/>
                  <a:pt x="2394967" y="5375670"/>
                  <a:pt x="2395587" y="5376599"/>
                </a:cubicBezTo>
                <a:close/>
                <a:moveTo>
                  <a:pt x="2959622" y="5376483"/>
                </a:moveTo>
                <a:cubicBezTo>
                  <a:pt x="2961888" y="5376263"/>
                  <a:pt x="2964211" y="5377218"/>
                  <a:pt x="2966844" y="5379903"/>
                </a:cubicBezTo>
                <a:cubicBezTo>
                  <a:pt x="2966690" y="5383311"/>
                  <a:pt x="2963747" y="5384653"/>
                  <a:pt x="2960648" y="5384549"/>
                </a:cubicBezTo>
                <a:cubicBezTo>
                  <a:pt x="2957550" y="5384343"/>
                  <a:pt x="2954143" y="5382794"/>
                  <a:pt x="2952749" y="5380110"/>
                </a:cubicBezTo>
                <a:cubicBezTo>
                  <a:pt x="2955150" y="5378096"/>
                  <a:pt x="2957357" y="5376702"/>
                  <a:pt x="2959622" y="5376483"/>
                </a:cubicBezTo>
                <a:close/>
                <a:moveTo>
                  <a:pt x="2870189" y="5374947"/>
                </a:moveTo>
                <a:cubicBezTo>
                  <a:pt x="2870189" y="5374947"/>
                  <a:pt x="2870189" y="5374947"/>
                  <a:pt x="2871118" y="5376806"/>
                </a:cubicBezTo>
                <a:cubicBezTo>
                  <a:pt x="2871118" y="5377631"/>
                  <a:pt x="2871273" y="5378561"/>
                  <a:pt x="2870344" y="5379387"/>
                </a:cubicBezTo>
                <a:cubicBezTo>
                  <a:pt x="2869569" y="5380316"/>
                  <a:pt x="2867865" y="5380213"/>
                  <a:pt x="2866936" y="5380110"/>
                </a:cubicBezTo>
                <a:cubicBezTo>
                  <a:pt x="2866936" y="5379283"/>
                  <a:pt x="2866162" y="5379180"/>
                  <a:pt x="2866007" y="5378354"/>
                </a:cubicBezTo>
                <a:cubicBezTo>
                  <a:pt x="2865077" y="5376495"/>
                  <a:pt x="2865077" y="5376495"/>
                  <a:pt x="2866007" y="5375566"/>
                </a:cubicBezTo>
                <a:cubicBezTo>
                  <a:pt x="2866781" y="5374740"/>
                  <a:pt x="2869414" y="5375876"/>
                  <a:pt x="2870189" y="5374947"/>
                </a:cubicBezTo>
                <a:close/>
                <a:moveTo>
                  <a:pt x="2482484" y="5374224"/>
                </a:moveTo>
                <a:cubicBezTo>
                  <a:pt x="2482484" y="5374224"/>
                  <a:pt x="2482484" y="5374327"/>
                  <a:pt x="2483258" y="5374740"/>
                </a:cubicBezTo>
                <a:cubicBezTo>
                  <a:pt x="2484497" y="5375566"/>
                  <a:pt x="2485272" y="5375979"/>
                  <a:pt x="2485892" y="5376495"/>
                </a:cubicBezTo>
                <a:cubicBezTo>
                  <a:pt x="2486046" y="5377631"/>
                  <a:pt x="2486046" y="5380729"/>
                  <a:pt x="2484807" y="5381039"/>
                </a:cubicBezTo>
                <a:cubicBezTo>
                  <a:pt x="2483723" y="5381349"/>
                  <a:pt x="2482484" y="5381349"/>
                  <a:pt x="2481554" y="5381142"/>
                </a:cubicBezTo>
                <a:cubicBezTo>
                  <a:pt x="2480625" y="5380936"/>
                  <a:pt x="2480005" y="5380522"/>
                  <a:pt x="2479850" y="5379903"/>
                </a:cubicBezTo>
                <a:cubicBezTo>
                  <a:pt x="2479541" y="5378148"/>
                  <a:pt x="2479231" y="5376392"/>
                  <a:pt x="2480625" y="5375256"/>
                </a:cubicBezTo>
                <a:cubicBezTo>
                  <a:pt x="2481090" y="5374844"/>
                  <a:pt x="2481709" y="5374534"/>
                  <a:pt x="2482484" y="5374224"/>
                </a:cubicBezTo>
                <a:close/>
                <a:moveTo>
                  <a:pt x="2862444" y="5373398"/>
                </a:moveTo>
                <a:cubicBezTo>
                  <a:pt x="2862444" y="5373398"/>
                  <a:pt x="2863219" y="5374327"/>
                  <a:pt x="2863219" y="5374327"/>
                </a:cubicBezTo>
                <a:cubicBezTo>
                  <a:pt x="2866317" y="5377425"/>
                  <a:pt x="2867711" y="5382897"/>
                  <a:pt x="2866781" y="5384549"/>
                </a:cubicBezTo>
                <a:cubicBezTo>
                  <a:pt x="2865852" y="5385273"/>
                  <a:pt x="2864613" y="5385685"/>
                  <a:pt x="2863219" y="5385582"/>
                </a:cubicBezTo>
                <a:cubicBezTo>
                  <a:pt x="2861825" y="5385479"/>
                  <a:pt x="2860431" y="5384756"/>
                  <a:pt x="2859346" y="5383311"/>
                </a:cubicBezTo>
                <a:cubicBezTo>
                  <a:pt x="2856868" y="5381142"/>
                  <a:pt x="2857023" y="5377735"/>
                  <a:pt x="2854700" y="5374740"/>
                </a:cubicBezTo>
                <a:cubicBezTo>
                  <a:pt x="2857488" y="5371643"/>
                  <a:pt x="2858417" y="5370920"/>
                  <a:pt x="2862444" y="5373398"/>
                </a:cubicBezTo>
                <a:close/>
                <a:moveTo>
                  <a:pt x="3156128" y="5371952"/>
                </a:moveTo>
                <a:lnTo>
                  <a:pt x="3157212" y="5375670"/>
                </a:lnTo>
                <a:lnTo>
                  <a:pt x="3157522" y="5375153"/>
                </a:lnTo>
                <a:lnTo>
                  <a:pt x="3162788" y="5379593"/>
                </a:lnTo>
                <a:lnTo>
                  <a:pt x="3166970" y="5380729"/>
                </a:lnTo>
                <a:cubicBezTo>
                  <a:pt x="3168829" y="5381142"/>
                  <a:pt x="3170533" y="5381452"/>
                  <a:pt x="3172082" y="5381968"/>
                </a:cubicBezTo>
                <a:lnTo>
                  <a:pt x="3172856" y="5382175"/>
                </a:lnTo>
                <a:lnTo>
                  <a:pt x="3170378" y="5379593"/>
                </a:lnTo>
                <a:cubicBezTo>
                  <a:pt x="3165886" y="5377012"/>
                  <a:pt x="3160619" y="5376186"/>
                  <a:pt x="3157057" y="5373501"/>
                </a:cubicBezTo>
                <a:close/>
                <a:moveTo>
                  <a:pt x="1821696" y="5371952"/>
                </a:moveTo>
                <a:cubicBezTo>
                  <a:pt x="1820768" y="5372778"/>
                  <a:pt x="1820768" y="5372778"/>
                  <a:pt x="1821542" y="5373605"/>
                </a:cubicBezTo>
                <a:cubicBezTo>
                  <a:pt x="1821542" y="5373605"/>
                  <a:pt x="1821542" y="5373605"/>
                  <a:pt x="1822316" y="5373605"/>
                </a:cubicBezTo>
                <a:cubicBezTo>
                  <a:pt x="1822161" y="5374430"/>
                  <a:pt x="1821387" y="5374430"/>
                  <a:pt x="1821387" y="5375256"/>
                </a:cubicBezTo>
                <a:cubicBezTo>
                  <a:pt x="1821387" y="5375256"/>
                  <a:pt x="1820612" y="5375256"/>
                  <a:pt x="1820612" y="5375256"/>
                </a:cubicBezTo>
                <a:cubicBezTo>
                  <a:pt x="1820457" y="5375670"/>
                  <a:pt x="1820457" y="5375670"/>
                  <a:pt x="1820302" y="5375463"/>
                </a:cubicBezTo>
                <a:cubicBezTo>
                  <a:pt x="1820147" y="5375256"/>
                  <a:pt x="1819838" y="5374844"/>
                  <a:pt x="1819063" y="5374430"/>
                </a:cubicBezTo>
                <a:cubicBezTo>
                  <a:pt x="1818599" y="5374017"/>
                  <a:pt x="1818289" y="5373811"/>
                  <a:pt x="1818134" y="5373501"/>
                </a:cubicBezTo>
                <a:cubicBezTo>
                  <a:pt x="1817979" y="5373294"/>
                  <a:pt x="1817979" y="5373088"/>
                  <a:pt x="1818444" y="5372675"/>
                </a:cubicBezTo>
                <a:cubicBezTo>
                  <a:pt x="1819218" y="5371952"/>
                  <a:pt x="1819218" y="5371849"/>
                  <a:pt x="1821696" y="5371952"/>
                </a:cubicBezTo>
                <a:close/>
                <a:moveTo>
                  <a:pt x="2584095" y="5368958"/>
                </a:moveTo>
                <a:cubicBezTo>
                  <a:pt x="2588588" y="5365963"/>
                  <a:pt x="2602063" y="5379490"/>
                  <a:pt x="2584250" y="5378664"/>
                </a:cubicBezTo>
                <a:cubicBezTo>
                  <a:pt x="2582237" y="5372882"/>
                  <a:pt x="2582702" y="5369990"/>
                  <a:pt x="2584095" y="5368958"/>
                </a:cubicBezTo>
                <a:close/>
                <a:moveTo>
                  <a:pt x="2977842" y="5368854"/>
                </a:moveTo>
                <a:cubicBezTo>
                  <a:pt x="2978616" y="5369268"/>
                  <a:pt x="2979081" y="5368545"/>
                  <a:pt x="2979856" y="5368958"/>
                </a:cubicBezTo>
                <a:cubicBezTo>
                  <a:pt x="2981714" y="5369061"/>
                  <a:pt x="2981714" y="5369061"/>
                  <a:pt x="2981869" y="5370300"/>
                </a:cubicBezTo>
                <a:cubicBezTo>
                  <a:pt x="2982179" y="5371539"/>
                  <a:pt x="2979856" y="5373398"/>
                  <a:pt x="2980165" y="5374637"/>
                </a:cubicBezTo>
                <a:cubicBezTo>
                  <a:pt x="2980165" y="5374637"/>
                  <a:pt x="2980165" y="5374637"/>
                  <a:pt x="2978152" y="5374534"/>
                </a:cubicBezTo>
                <a:cubicBezTo>
                  <a:pt x="2977532" y="5374017"/>
                  <a:pt x="2976758" y="5373605"/>
                  <a:pt x="2976603" y="5372365"/>
                </a:cubicBezTo>
                <a:cubicBezTo>
                  <a:pt x="2976448" y="5371126"/>
                  <a:pt x="2977377" y="5369577"/>
                  <a:pt x="2977842" y="5368854"/>
                </a:cubicBezTo>
                <a:close/>
                <a:moveTo>
                  <a:pt x="2857178" y="5365447"/>
                </a:moveTo>
                <a:cubicBezTo>
                  <a:pt x="2853770" y="5367306"/>
                  <a:pt x="2852996" y="5370300"/>
                  <a:pt x="2851137" y="5370920"/>
                </a:cubicBezTo>
                <a:cubicBezTo>
                  <a:pt x="2850517" y="5371126"/>
                  <a:pt x="2849743" y="5371023"/>
                  <a:pt x="2848658" y="5370610"/>
                </a:cubicBezTo>
                <a:cubicBezTo>
                  <a:pt x="2848349" y="5366893"/>
                  <a:pt x="2853925" y="5363795"/>
                  <a:pt x="2857178" y="5365447"/>
                </a:cubicBezTo>
                <a:close/>
                <a:moveTo>
                  <a:pt x="2427031" y="5361214"/>
                </a:moveTo>
                <a:cubicBezTo>
                  <a:pt x="2423778" y="5370920"/>
                  <a:pt x="2425946" y="5378251"/>
                  <a:pt x="2420215" y="5388680"/>
                </a:cubicBezTo>
                <a:cubicBezTo>
                  <a:pt x="2418666" y="5387441"/>
                  <a:pt x="2417737" y="5385066"/>
                  <a:pt x="2417272" y="5382278"/>
                </a:cubicBezTo>
                <a:cubicBezTo>
                  <a:pt x="2416188" y="5374121"/>
                  <a:pt x="2420060" y="5361937"/>
                  <a:pt x="2427031" y="5361214"/>
                </a:cubicBezTo>
                <a:close/>
                <a:moveTo>
                  <a:pt x="2842618" y="5360801"/>
                </a:moveTo>
                <a:cubicBezTo>
                  <a:pt x="2842618" y="5360801"/>
                  <a:pt x="2842618" y="5360697"/>
                  <a:pt x="2843547" y="5360801"/>
                </a:cubicBezTo>
                <a:cubicBezTo>
                  <a:pt x="2842772" y="5364208"/>
                  <a:pt x="2843856" y="5368751"/>
                  <a:pt x="2842308" y="5371333"/>
                </a:cubicBezTo>
                <a:cubicBezTo>
                  <a:pt x="2841843" y="5371746"/>
                  <a:pt x="2841533" y="5372159"/>
                  <a:pt x="2840914" y="5372159"/>
                </a:cubicBezTo>
                <a:cubicBezTo>
                  <a:pt x="2840449" y="5372262"/>
                  <a:pt x="2839829" y="5372055"/>
                  <a:pt x="2838900" y="5371126"/>
                </a:cubicBezTo>
                <a:cubicBezTo>
                  <a:pt x="2837196" y="5370094"/>
                  <a:pt x="2837196" y="5369268"/>
                  <a:pt x="2838745" y="5366686"/>
                </a:cubicBezTo>
                <a:cubicBezTo>
                  <a:pt x="2840294" y="5365034"/>
                  <a:pt x="2841068" y="5363279"/>
                  <a:pt x="2841998" y="5363382"/>
                </a:cubicBezTo>
                <a:cubicBezTo>
                  <a:pt x="2841843" y="5362453"/>
                  <a:pt x="2842618" y="5361626"/>
                  <a:pt x="2842618" y="5360801"/>
                </a:cubicBezTo>
                <a:close/>
                <a:moveTo>
                  <a:pt x="2944694" y="5358632"/>
                </a:moveTo>
                <a:cubicBezTo>
                  <a:pt x="2945469" y="5358322"/>
                  <a:pt x="2946398" y="5358013"/>
                  <a:pt x="2946553" y="5358736"/>
                </a:cubicBezTo>
                <a:cubicBezTo>
                  <a:pt x="2946708" y="5359045"/>
                  <a:pt x="2946553" y="5359355"/>
                  <a:pt x="2946243" y="5359458"/>
                </a:cubicBezTo>
                <a:cubicBezTo>
                  <a:pt x="2945933" y="5359665"/>
                  <a:pt x="2945314" y="5359561"/>
                  <a:pt x="2944849" y="5359458"/>
                </a:cubicBezTo>
                <a:cubicBezTo>
                  <a:pt x="2944849" y="5359458"/>
                  <a:pt x="2944694" y="5358632"/>
                  <a:pt x="2944694" y="5358632"/>
                </a:cubicBezTo>
                <a:close/>
                <a:moveTo>
                  <a:pt x="2942371" y="5358426"/>
                </a:moveTo>
                <a:lnTo>
                  <a:pt x="2943610" y="5359252"/>
                </a:lnTo>
                <a:lnTo>
                  <a:pt x="2944229" y="5359561"/>
                </a:lnTo>
                <a:lnTo>
                  <a:pt x="2944075" y="5359665"/>
                </a:lnTo>
                <a:lnTo>
                  <a:pt x="2945469" y="5361523"/>
                </a:lnTo>
                <a:cubicBezTo>
                  <a:pt x="2945469" y="5361523"/>
                  <a:pt x="2946398" y="5361626"/>
                  <a:pt x="2947172" y="5361833"/>
                </a:cubicBezTo>
                <a:cubicBezTo>
                  <a:pt x="2949496" y="5363898"/>
                  <a:pt x="2951045" y="5365034"/>
                  <a:pt x="2950115" y="5368235"/>
                </a:cubicBezTo>
                <a:cubicBezTo>
                  <a:pt x="2949186" y="5368132"/>
                  <a:pt x="2947637" y="5366170"/>
                  <a:pt x="2946863" y="5365241"/>
                </a:cubicBezTo>
                <a:cubicBezTo>
                  <a:pt x="2946088" y="5365138"/>
                  <a:pt x="2945314" y="5364105"/>
                  <a:pt x="2945314" y="5363279"/>
                </a:cubicBezTo>
                <a:cubicBezTo>
                  <a:pt x="2945314" y="5363279"/>
                  <a:pt x="2944539" y="5362246"/>
                  <a:pt x="2943765" y="5362143"/>
                </a:cubicBezTo>
                <a:lnTo>
                  <a:pt x="2942835" y="5360491"/>
                </a:lnTo>
                <a:lnTo>
                  <a:pt x="2942680" y="5360491"/>
                </a:lnTo>
                <a:cubicBezTo>
                  <a:pt x="2942061" y="5360904"/>
                  <a:pt x="2941441" y="5361110"/>
                  <a:pt x="2940977" y="5360904"/>
                </a:cubicBezTo>
                <a:cubicBezTo>
                  <a:pt x="2940512" y="5360697"/>
                  <a:pt x="2940202" y="5360594"/>
                  <a:pt x="2940047" y="5360284"/>
                </a:cubicBezTo>
                <a:cubicBezTo>
                  <a:pt x="2939737" y="5360078"/>
                  <a:pt x="2939737" y="5359665"/>
                  <a:pt x="2939428" y="5358839"/>
                </a:cubicBezTo>
                <a:cubicBezTo>
                  <a:pt x="2940822" y="5358736"/>
                  <a:pt x="2941441" y="5358632"/>
                  <a:pt x="2942061" y="5358736"/>
                </a:cubicBezTo>
                <a:lnTo>
                  <a:pt x="2942371" y="5358942"/>
                </a:lnTo>
                <a:close/>
                <a:moveTo>
                  <a:pt x="2400544" y="5357600"/>
                </a:moveTo>
                <a:cubicBezTo>
                  <a:pt x="2401163" y="5359045"/>
                  <a:pt x="2399769" y="5362556"/>
                  <a:pt x="2398685" y="5364827"/>
                </a:cubicBezTo>
                <a:cubicBezTo>
                  <a:pt x="2397600" y="5365447"/>
                  <a:pt x="2396206" y="5365654"/>
                  <a:pt x="2394967" y="5365447"/>
                </a:cubicBezTo>
                <a:cubicBezTo>
                  <a:pt x="2393573" y="5365344"/>
                  <a:pt x="2392179" y="5364827"/>
                  <a:pt x="2390940" y="5364105"/>
                </a:cubicBezTo>
                <a:cubicBezTo>
                  <a:pt x="2392954" y="5359561"/>
                  <a:pt x="2396051" y="5358013"/>
                  <a:pt x="2400544" y="5357600"/>
                </a:cubicBezTo>
                <a:close/>
                <a:moveTo>
                  <a:pt x="2948722" y="5356980"/>
                </a:moveTo>
                <a:cubicBezTo>
                  <a:pt x="2949806" y="5357393"/>
                  <a:pt x="2949806" y="5357393"/>
                  <a:pt x="2950580" y="5357083"/>
                </a:cubicBezTo>
                <a:cubicBezTo>
                  <a:pt x="2950580" y="5357083"/>
                  <a:pt x="2949961" y="5358116"/>
                  <a:pt x="2949961" y="5358116"/>
                </a:cubicBezTo>
                <a:cubicBezTo>
                  <a:pt x="2948876" y="5357806"/>
                  <a:pt x="2949186" y="5358426"/>
                  <a:pt x="2948722" y="5356980"/>
                </a:cubicBezTo>
                <a:close/>
                <a:moveTo>
                  <a:pt x="2964211" y="5354295"/>
                </a:moveTo>
                <a:cubicBezTo>
                  <a:pt x="2962662" y="5354915"/>
                  <a:pt x="2953523" y="5357703"/>
                  <a:pt x="2950735" y="5357187"/>
                </a:cubicBezTo>
                <a:cubicBezTo>
                  <a:pt x="2954917" y="5356257"/>
                  <a:pt x="2960339" y="5353263"/>
                  <a:pt x="2964211" y="5354295"/>
                </a:cubicBezTo>
                <a:close/>
                <a:moveTo>
                  <a:pt x="2656122" y="5353470"/>
                </a:moveTo>
                <a:cubicBezTo>
                  <a:pt x="2657052" y="5351817"/>
                  <a:pt x="2659375" y="5354812"/>
                  <a:pt x="2660305" y="5354915"/>
                </a:cubicBezTo>
                <a:cubicBezTo>
                  <a:pt x="2661079" y="5355948"/>
                  <a:pt x="2661699" y="5356877"/>
                  <a:pt x="2660924" y="5357600"/>
                </a:cubicBezTo>
                <a:cubicBezTo>
                  <a:pt x="2660460" y="5358013"/>
                  <a:pt x="2660305" y="5358426"/>
                  <a:pt x="2659840" y="5358632"/>
                </a:cubicBezTo>
                <a:cubicBezTo>
                  <a:pt x="2659530" y="5358736"/>
                  <a:pt x="2659220" y="5358632"/>
                  <a:pt x="2658446" y="5358116"/>
                </a:cubicBezTo>
                <a:cubicBezTo>
                  <a:pt x="2657517" y="5357910"/>
                  <a:pt x="2656742" y="5356980"/>
                  <a:pt x="2655967" y="5356877"/>
                </a:cubicBezTo>
                <a:cubicBezTo>
                  <a:pt x="2655967" y="5356877"/>
                  <a:pt x="2655658" y="5356154"/>
                  <a:pt x="2655658" y="5355328"/>
                </a:cubicBezTo>
                <a:cubicBezTo>
                  <a:pt x="2655658" y="5354605"/>
                  <a:pt x="2655658" y="5353779"/>
                  <a:pt x="2656122" y="5353470"/>
                </a:cubicBezTo>
                <a:close/>
                <a:moveTo>
                  <a:pt x="2291497" y="5350475"/>
                </a:moveTo>
                <a:cubicBezTo>
                  <a:pt x="2293511" y="5349959"/>
                  <a:pt x="2295834" y="5350475"/>
                  <a:pt x="2298157" y="5352540"/>
                </a:cubicBezTo>
                <a:cubicBezTo>
                  <a:pt x="2294750" y="5357910"/>
                  <a:pt x="2296454" y="5361833"/>
                  <a:pt x="2291807" y="5364931"/>
                </a:cubicBezTo>
                <a:cubicBezTo>
                  <a:pt x="2289638" y="5364415"/>
                  <a:pt x="2288244" y="5363382"/>
                  <a:pt x="2287469" y="5362040"/>
                </a:cubicBezTo>
                <a:cubicBezTo>
                  <a:pt x="2284836" y="5358013"/>
                  <a:pt x="2287315" y="5351611"/>
                  <a:pt x="2291497" y="5350475"/>
                </a:cubicBezTo>
                <a:close/>
                <a:moveTo>
                  <a:pt x="2861515" y="5349236"/>
                </a:moveTo>
                <a:cubicBezTo>
                  <a:pt x="2864458" y="5349649"/>
                  <a:pt x="2863838" y="5352747"/>
                  <a:pt x="2864303" y="5356154"/>
                </a:cubicBezTo>
                <a:cubicBezTo>
                  <a:pt x="2863219" y="5355844"/>
                  <a:pt x="2862599" y="5356980"/>
                  <a:pt x="2862134" y="5358116"/>
                </a:cubicBezTo>
                <a:cubicBezTo>
                  <a:pt x="2860586" y="5357600"/>
                  <a:pt x="2857952" y="5356980"/>
                  <a:pt x="2857488" y="5354812"/>
                </a:cubicBezTo>
                <a:cubicBezTo>
                  <a:pt x="2857332" y="5354089"/>
                  <a:pt x="2857488" y="5353056"/>
                  <a:pt x="2857952" y="5351920"/>
                </a:cubicBezTo>
                <a:cubicBezTo>
                  <a:pt x="2857643" y="5351198"/>
                  <a:pt x="2860431" y="5348823"/>
                  <a:pt x="2861515" y="5349236"/>
                </a:cubicBezTo>
                <a:close/>
                <a:moveTo>
                  <a:pt x="2941132" y="5347893"/>
                </a:moveTo>
                <a:cubicBezTo>
                  <a:pt x="2941132" y="5347893"/>
                  <a:pt x="2942216" y="5348100"/>
                  <a:pt x="2942216" y="5348100"/>
                </a:cubicBezTo>
                <a:cubicBezTo>
                  <a:pt x="2946398" y="5348513"/>
                  <a:pt x="2950115" y="5352024"/>
                  <a:pt x="2950270" y="5353986"/>
                </a:cubicBezTo>
                <a:cubicBezTo>
                  <a:pt x="2949651" y="5355844"/>
                  <a:pt x="2948102" y="5357703"/>
                  <a:pt x="2945933" y="5358219"/>
                </a:cubicBezTo>
                <a:cubicBezTo>
                  <a:pt x="2945159" y="5358322"/>
                  <a:pt x="2944384" y="5358322"/>
                  <a:pt x="2943455" y="5358116"/>
                </a:cubicBezTo>
                <a:cubicBezTo>
                  <a:pt x="2940512" y="5358013"/>
                  <a:pt x="2938963" y="5355121"/>
                  <a:pt x="2935555" y="5354295"/>
                </a:cubicBezTo>
                <a:cubicBezTo>
                  <a:pt x="2936330" y="5349959"/>
                  <a:pt x="2936639" y="5348720"/>
                  <a:pt x="2941132" y="5347893"/>
                </a:cubicBezTo>
                <a:close/>
                <a:moveTo>
                  <a:pt x="2601909" y="5347584"/>
                </a:moveTo>
                <a:cubicBezTo>
                  <a:pt x="2602683" y="5348100"/>
                  <a:pt x="2603148" y="5348926"/>
                  <a:pt x="2603613" y="5350165"/>
                </a:cubicBezTo>
                <a:cubicBezTo>
                  <a:pt x="2602838" y="5357496"/>
                  <a:pt x="2600515" y="5362969"/>
                  <a:pt x="2593389" y="5363898"/>
                </a:cubicBezTo>
                <a:cubicBezTo>
                  <a:pt x="2593544" y="5362659"/>
                  <a:pt x="2592305" y="5362556"/>
                  <a:pt x="2591221" y="5362556"/>
                </a:cubicBezTo>
                <a:cubicBezTo>
                  <a:pt x="2587193" y="5356464"/>
                  <a:pt x="2596952" y="5343867"/>
                  <a:pt x="2601909" y="5347584"/>
                </a:cubicBezTo>
                <a:close/>
                <a:moveTo>
                  <a:pt x="2754172" y="5347171"/>
                </a:moveTo>
                <a:cubicBezTo>
                  <a:pt x="2759748" y="5347274"/>
                  <a:pt x="2762846" y="5350475"/>
                  <a:pt x="2765944" y="5353676"/>
                </a:cubicBezTo>
                <a:cubicBezTo>
                  <a:pt x="2765634" y="5358116"/>
                  <a:pt x="2764240" y="5359768"/>
                  <a:pt x="2762226" y="5359975"/>
                </a:cubicBezTo>
                <a:cubicBezTo>
                  <a:pt x="2761607" y="5359975"/>
                  <a:pt x="2760987" y="5359975"/>
                  <a:pt x="2760213" y="5359768"/>
                </a:cubicBezTo>
                <a:cubicBezTo>
                  <a:pt x="2757270" y="5358942"/>
                  <a:pt x="2753707" y="5356464"/>
                  <a:pt x="2751074" y="5355431"/>
                </a:cubicBezTo>
                <a:cubicBezTo>
                  <a:pt x="2751384" y="5351508"/>
                  <a:pt x="2751848" y="5350269"/>
                  <a:pt x="2754172" y="5347171"/>
                </a:cubicBezTo>
                <a:close/>
                <a:moveTo>
                  <a:pt x="2801880" y="5346654"/>
                </a:moveTo>
                <a:cubicBezTo>
                  <a:pt x="2804203" y="5347248"/>
                  <a:pt x="2806140" y="5348616"/>
                  <a:pt x="2806372" y="5350372"/>
                </a:cubicBezTo>
                <a:cubicBezTo>
                  <a:pt x="2805752" y="5353263"/>
                  <a:pt x="2804668" y="5355535"/>
                  <a:pt x="2803584" y="5357083"/>
                </a:cubicBezTo>
                <a:lnTo>
                  <a:pt x="2800796" y="5359148"/>
                </a:lnTo>
                <a:lnTo>
                  <a:pt x="2804823" y="5361730"/>
                </a:lnTo>
                <a:lnTo>
                  <a:pt x="2805442" y="5362866"/>
                </a:lnTo>
                <a:lnTo>
                  <a:pt x="2805907" y="5361730"/>
                </a:lnTo>
                <a:cubicBezTo>
                  <a:pt x="2808850" y="5357393"/>
                  <a:pt x="2814891" y="5353986"/>
                  <a:pt x="2818453" y="5354295"/>
                </a:cubicBezTo>
                <a:lnTo>
                  <a:pt x="2820157" y="5356774"/>
                </a:lnTo>
                <a:lnTo>
                  <a:pt x="2821087" y="5356257"/>
                </a:lnTo>
                <a:lnTo>
                  <a:pt x="2824804" y="5355121"/>
                </a:lnTo>
                <a:lnTo>
                  <a:pt x="2824495" y="5354605"/>
                </a:lnTo>
                <a:cubicBezTo>
                  <a:pt x="2824340" y="5353882"/>
                  <a:pt x="2824650" y="5353056"/>
                  <a:pt x="2825424" y="5352230"/>
                </a:cubicBezTo>
                <a:cubicBezTo>
                  <a:pt x="2826973" y="5349752"/>
                  <a:pt x="2829606" y="5349855"/>
                  <a:pt x="2832085" y="5350888"/>
                </a:cubicBezTo>
                <a:cubicBezTo>
                  <a:pt x="2833788" y="5350062"/>
                  <a:pt x="2834563" y="5348410"/>
                  <a:pt x="2836267" y="5349339"/>
                </a:cubicBezTo>
                <a:cubicBezTo>
                  <a:pt x="2833788" y="5350991"/>
                  <a:pt x="2833014" y="5351714"/>
                  <a:pt x="2831310" y="5352540"/>
                </a:cubicBezTo>
                <a:cubicBezTo>
                  <a:pt x="2831310" y="5353366"/>
                  <a:pt x="2831310" y="5354192"/>
                  <a:pt x="2830535" y="5355018"/>
                </a:cubicBezTo>
                <a:lnTo>
                  <a:pt x="2828987" y="5355741"/>
                </a:lnTo>
                <a:lnTo>
                  <a:pt x="2829296" y="5356877"/>
                </a:lnTo>
                <a:cubicBezTo>
                  <a:pt x="2829606" y="5357600"/>
                  <a:pt x="2829916" y="5358322"/>
                  <a:pt x="2830535" y="5359148"/>
                </a:cubicBezTo>
                <a:cubicBezTo>
                  <a:pt x="2827902" y="5359665"/>
                  <a:pt x="2826043" y="5360594"/>
                  <a:pt x="2824340" y="5361317"/>
                </a:cubicBezTo>
                <a:lnTo>
                  <a:pt x="2821707" y="5361730"/>
                </a:lnTo>
                <a:lnTo>
                  <a:pt x="2821707" y="5362040"/>
                </a:lnTo>
                <a:cubicBezTo>
                  <a:pt x="2821397" y="5363795"/>
                  <a:pt x="2820467" y="5365344"/>
                  <a:pt x="2819228" y="5366686"/>
                </a:cubicBezTo>
                <a:lnTo>
                  <a:pt x="2817834" y="5367512"/>
                </a:lnTo>
                <a:cubicBezTo>
                  <a:pt x="2819693" y="5369990"/>
                  <a:pt x="2819693" y="5374327"/>
                  <a:pt x="2816130" y="5377631"/>
                </a:cubicBezTo>
                <a:cubicBezTo>
                  <a:pt x="2812567" y="5377528"/>
                  <a:pt x="2810399" y="5376186"/>
                  <a:pt x="2808695" y="5375566"/>
                </a:cubicBezTo>
                <a:lnTo>
                  <a:pt x="2808850" y="5369577"/>
                </a:lnTo>
                <a:lnTo>
                  <a:pt x="2807456" y="5368545"/>
                </a:lnTo>
                <a:lnTo>
                  <a:pt x="2807301" y="5373088"/>
                </a:lnTo>
                <a:cubicBezTo>
                  <a:pt x="2806836" y="5375256"/>
                  <a:pt x="2806062" y="5377528"/>
                  <a:pt x="2804823" y="5379696"/>
                </a:cubicBezTo>
                <a:cubicBezTo>
                  <a:pt x="2799246" y="5390642"/>
                  <a:pt x="2786080" y="5401277"/>
                  <a:pt x="2775547" y="5401071"/>
                </a:cubicBezTo>
                <a:cubicBezTo>
                  <a:pt x="2772140" y="5401071"/>
                  <a:pt x="2768887" y="5399728"/>
                  <a:pt x="2766408" y="5396837"/>
                </a:cubicBezTo>
                <a:cubicBezTo>
                  <a:pt x="2767648" y="5393223"/>
                  <a:pt x="2769197" y="5389712"/>
                  <a:pt x="2770900" y="5386098"/>
                </a:cubicBezTo>
                <a:lnTo>
                  <a:pt x="2777406" y="5376082"/>
                </a:lnTo>
                <a:lnTo>
                  <a:pt x="2774308" y="5376909"/>
                </a:lnTo>
                <a:cubicBezTo>
                  <a:pt x="2772295" y="5377218"/>
                  <a:pt x="2770591" y="5377218"/>
                  <a:pt x="2769042" y="5377115"/>
                </a:cubicBezTo>
                <a:cubicBezTo>
                  <a:pt x="2770126" y="5374947"/>
                  <a:pt x="2771520" y="5373191"/>
                  <a:pt x="2773224" y="5371643"/>
                </a:cubicBezTo>
                <a:lnTo>
                  <a:pt x="2777871" y="5368648"/>
                </a:lnTo>
                <a:lnTo>
                  <a:pt x="2777406" y="5366067"/>
                </a:lnTo>
                <a:lnTo>
                  <a:pt x="2774928" y="5369784"/>
                </a:lnTo>
                <a:cubicBezTo>
                  <a:pt x="2770746" y="5374121"/>
                  <a:pt x="2764860" y="5374947"/>
                  <a:pt x="2758974" y="5375773"/>
                </a:cubicBezTo>
                <a:cubicBezTo>
                  <a:pt x="2759128" y="5371436"/>
                  <a:pt x="2762226" y="5368545"/>
                  <a:pt x="2766099" y="5366686"/>
                </a:cubicBezTo>
                <a:lnTo>
                  <a:pt x="2777251" y="5364415"/>
                </a:lnTo>
                <a:lnTo>
                  <a:pt x="2777251" y="5361833"/>
                </a:lnTo>
                <a:cubicBezTo>
                  <a:pt x="2778645" y="5360697"/>
                  <a:pt x="2779730" y="5360697"/>
                  <a:pt x="2780969" y="5361214"/>
                </a:cubicBezTo>
                <a:lnTo>
                  <a:pt x="2782673" y="5362453"/>
                </a:lnTo>
                <a:lnTo>
                  <a:pt x="2783137" y="5357290"/>
                </a:lnTo>
                <a:cubicBezTo>
                  <a:pt x="2785151" y="5359045"/>
                  <a:pt x="2785616" y="5361626"/>
                  <a:pt x="2788404" y="5363072"/>
                </a:cubicBezTo>
                <a:lnTo>
                  <a:pt x="2790727" y="5363588"/>
                </a:lnTo>
                <a:lnTo>
                  <a:pt x="2797078" y="5359252"/>
                </a:lnTo>
                <a:lnTo>
                  <a:pt x="2796303" y="5359148"/>
                </a:lnTo>
                <a:cubicBezTo>
                  <a:pt x="2795219" y="5358426"/>
                  <a:pt x="2794445" y="5357290"/>
                  <a:pt x="2793980" y="5355741"/>
                </a:cubicBezTo>
                <a:cubicBezTo>
                  <a:pt x="2793515" y="5353676"/>
                  <a:pt x="2793670" y="5350888"/>
                  <a:pt x="2795064" y="5347584"/>
                </a:cubicBezTo>
                <a:cubicBezTo>
                  <a:pt x="2796846" y="5346241"/>
                  <a:pt x="2799556" y="5346061"/>
                  <a:pt x="2801880" y="5346654"/>
                </a:cubicBezTo>
                <a:close/>
                <a:moveTo>
                  <a:pt x="2464671" y="5344383"/>
                </a:moveTo>
                <a:cubicBezTo>
                  <a:pt x="2461263" y="5349855"/>
                  <a:pt x="2457545" y="5354502"/>
                  <a:pt x="2455377" y="5363176"/>
                </a:cubicBezTo>
                <a:cubicBezTo>
                  <a:pt x="2453673" y="5362556"/>
                  <a:pt x="2452898" y="5364208"/>
                  <a:pt x="2451504" y="5364415"/>
                </a:cubicBezTo>
                <a:cubicBezTo>
                  <a:pt x="2451194" y="5364415"/>
                  <a:pt x="2450575" y="5364311"/>
                  <a:pt x="2449956" y="5363898"/>
                </a:cubicBezTo>
                <a:cubicBezTo>
                  <a:pt x="2447632" y="5357600"/>
                  <a:pt x="2456306" y="5342008"/>
                  <a:pt x="2464671" y="5344383"/>
                </a:cubicBezTo>
                <a:close/>
                <a:moveTo>
                  <a:pt x="1746727" y="5343660"/>
                </a:moveTo>
                <a:cubicBezTo>
                  <a:pt x="1747501" y="5345312"/>
                  <a:pt x="1746417" y="5347068"/>
                  <a:pt x="1745332" y="5348823"/>
                </a:cubicBezTo>
                <a:cubicBezTo>
                  <a:pt x="1744403" y="5350062"/>
                  <a:pt x="1743474" y="5350475"/>
                  <a:pt x="1742699" y="5350372"/>
                </a:cubicBezTo>
                <a:cubicBezTo>
                  <a:pt x="1741925" y="5350165"/>
                  <a:pt x="1740996" y="5349546"/>
                  <a:pt x="1740376" y="5348616"/>
                </a:cubicBezTo>
                <a:cubicBezTo>
                  <a:pt x="1738827" y="5346861"/>
                  <a:pt x="1739756" y="5345209"/>
                  <a:pt x="1739756" y="5345209"/>
                </a:cubicBezTo>
                <a:cubicBezTo>
                  <a:pt x="1741770" y="5342627"/>
                  <a:pt x="1744403" y="5341802"/>
                  <a:pt x="1746727" y="5343660"/>
                </a:cubicBezTo>
                <a:close/>
                <a:moveTo>
                  <a:pt x="2745342" y="5343247"/>
                </a:moveTo>
                <a:lnTo>
                  <a:pt x="2744723" y="5355535"/>
                </a:lnTo>
                <a:lnTo>
                  <a:pt x="2745962" y="5356051"/>
                </a:lnTo>
                <a:lnTo>
                  <a:pt x="2746427" y="5355535"/>
                </a:lnTo>
                <a:cubicBezTo>
                  <a:pt x="2749215" y="5355018"/>
                  <a:pt x="2752003" y="5358942"/>
                  <a:pt x="2752158" y="5362246"/>
                </a:cubicBezTo>
                <a:lnTo>
                  <a:pt x="2751693" y="5364311"/>
                </a:lnTo>
                <a:lnTo>
                  <a:pt x="2751848" y="5364518"/>
                </a:lnTo>
                <a:cubicBezTo>
                  <a:pt x="2750919" y="5367203"/>
                  <a:pt x="2750764" y="5367822"/>
                  <a:pt x="2747976" y="5367615"/>
                </a:cubicBezTo>
                <a:cubicBezTo>
                  <a:pt x="2747201" y="5367512"/>
                  <a:pt x="2745962" y="5367409"/>
                  <a:pt x="2744413" y="5367203"/>
                </a:cubicBezTo>
                <a:lnTo>
                  <a:pt x="2743329" y="5366686"/>
                </a:lnTo>
                <a:lnTo>
                  <a:pt x="2742245" y="5370610"/>
                </a:lnTo>
                <a:cubicBezTo>
                  <a:pt x="2740541" y="5369268"/>
                  <a:pt x="2739302" y="5366893"/>
                  <a:pt x="2738527" y="5364105"/>
                </a:cubicBezTo>
                <a:lnTo>
                  <a:pt x="2738218" y="5360284"/>
                </a:lnTo>
                <a:lnTo>
                  <a:pt x="2738063" y="5360078"/>
                </a:lnTo>
                <a:cubicBezTo>
                  <a:pt x="2737598" y="5359148"/>
                  <a:pt x="2737288" y="5358116"/>
                  <a:pt x="2737288" y="5357187"/>
                </a:cubicBezTo>
                <a:lnTo>
                  <a:pt x="2737908" y="5356154"/>
                </a:lnTo>
                <a:lnTo>
                  <a:pt x="2737753" y="5355121"/>
                </a:lnTo>
                <a:cubicBezTo>
                  <a:pt x="2738218" y="5349133"/>
                  <a:pt x="2740696" y="5343660"/>
                  <a:pt x="2745342" y="5343247"/>
                </a:cubicBezTo>
                <a:close/>
                <a:moveTo>
                  <a:pt x="2514238" y="5343041"/>
                </a:moveTo>
                <a:cubicBezTo>
                  <a:pt x="2519813" y="5340253"/>
                  <a:pt x="2526474" y="5344589"/>
                  <a:pt x="2528333" y="5352127"/>
                </a:cubicBezTo>
                <a:cubicBezTo>
                  <a:pt x="2531431" y="5363692"/>
                  <a:pt x="2527713" y="5370920"/>
                  <a:pt x="2527713" y="5370920"/>
                </a:cubicBezTo>
                <a:cubicBezTo>
                  <a:pt x="2525855" y="5371643"/>
                  <a:pt x="2524151" y="5371849"/>
                  <a:pt x="2522602" y="5371643"/>
                </a:cubicBezTo>
                <a:cubicBezTo>
                  <a:pt x="2518265" y="5371023"/>
                  <a:pt x="2515786" y="5366686"/>
                  <a:pt x="2514238" y="5362040"/>
                </a:cubicBezTo>
                <a:cubicBezTo>
                  <a:pt x="2513463" y="5359871"/>
                  <a:pt x="2512998" y="5357806"/>
                  <a:pt x="2512534" y="5355844"/>
                </a:cubicBezTo>
                <a:cubicBezTo>
                  <a:pt x="2511449" y="5352024"/>
                  <a:pt x="2510675" y="5347687"/>
                  <a:pt x="2512069" y="5345003"/>
                </a:cubicBezTo>
                <a:cubicBezTo>
                  <a:pt x="2512534" y="5344176"/>
                  <a:pt x="2513153" y="5343453"/>
                  <a:pt x="2514238" y="5343041"/>
                </a:cubicBezTo>
                <a:close/>
                <a:moveTo>
                  <a:pt x="2750454" y="5342731"/>
                </a:moveTo>
                <a:cubicBezTo>
                  <a:pt x="2752932" y="5341182"/>
                  <a:pt x="2759593" y="5345828"/>
                  <a:pt x="2762226" y="5348410"/>
                </a:cubicBezTo>
                <a:cubicBezTo>
                  <a:pt x="2761607" y="5348823"/>
                  <a:pt x="2760832" y="5348823"/>
                  <a:pt x="2759748" y="5348616"/>
                </a:cubicBezTo>
                <a:cubicBezTo>
                  <a:pt x="2756805" y="5347893"/>
                  <a:pt x="2752468" y="5344796"/>
                  <a:pt x="2750454" y="5342731"/>
                </a:cubicBezTo>
                <a:close/>
                <a:moveTo>
                  <a:pt x="2665106" y="5342214"/>
                </a:moveTo>
                <a:cubicBezTo>
                  <a:pt x="2665106" y="5344176"/>
                  <a:pt x="2666965" y="5345932"/>
                  <a:pt x="2666191" y="5348307"/>
                </a:cubicBezTo>
                <a:cubicBezTo>
                  <a:pt x="2666191" y="5348307"/>
                  <a:pt x="2665881" y="5349546"/>
                  <a:pt x="2664332" y="5350475"/>
                </a:cubicBezTo>
                <a:cubicBezTo>
                  <a:pt x="2662938" y="5353366"/>
                  <a:pt x="2659530" y="5352540"/>
                  <a:pt x="2659530" y="5352540"/>
                </a:cubicBezTo>
                <a:cubicBezTo>
                  <a:pt x="2659530" y="5352540"/>
                  <a:pt x="2659530" y="5352540"/>
                  <a:pt x="2659840" y="5353263"/>
                </a:cubicBezTo>
                <a:cubicBezTo>
                  <a:pt x="2659220" y="5351714"/>
                  <a:pt x="2657671" y="5350785"/>
                  <a:pt x="2656897" y="5349339"/>
                </a:cubicBezTo>
                <a:cubicBezTo>
                  <a:pt x="2658291" y="5340666"/>
                  <a:pt x="2660924" y="5341905"/>
                  <a:pt x="2665106" y="5342214"/>
                </a:cubicBezTo>
                <a:close/>
                <a:moveTo>
                  <a:pt x="2558073" y="5339840"/>
                </a:moveTo>
                <a:cubicBezTo>
                  <a:pt x="2561481" y="5342627"/>
                  <a:pt x="2561636" y="5345106"/>
                  <a:pt x="2560087" y="5348410"/>
                </a:cubicBezTo>
                <a:cubicBezTo>
                  <a:pt x="2557608" y="5348307"/>
                  <a:pt x="2554356" y="5345622"/>
                  <a:pt x="2554201" y="5343144"/>
                </a:cubicBezTo>
                <a:cubicBezTo>
                  <a:pt x="2555749" y="5340666"/>
                  <a:pt x="2557299" y="5341491"/>
                  <a:pt x="2558073" y="5339840"/>
                </a:cubicBezTo>
                <a:close/>
                <a:moveTo>
                  <a:pt x="2448097" y="5339633"/>
                </a:moveTo>
                <a:cubicBezTo>
                  <a:pt x="2449026" y="5340046"/>
                  <a:pt x="2450110" y="5340459"/>
                  <a:pt x="2451194" y="5340872"/>
                </a:cubicBezTo>
                <a:cubicBezTo>
                  <a:pt x="2450265" y="5343144"/>
                  <a:pt x="2449336" y="5345415"/>
                  <a:pt x="2447322" y="5344693"/>
                </a:cubicBezTo>
                <a:cubicBezTo>
                  <a:pt x="2447477" y="5342731"/>
                  <a:pt x="2446393" y="5342318"/>
                  <a:pt x="2448097" y="5339633"/>
                </a:cubicBezTo>
                <a:close/>
                <a:moveTo>
                  <a:pt x="2284372" y="5339323"/>
                </a:moveTo>
                <a:cubicBezTo>
                  <a:pt x="2281739" y="5344486"/>
                  <a:pt x="2284062" y="5348100"/>
                  <a:pt x="2279725" y="5349236"/>
                </a:cubicBezTo>
                <a:cubicBezTo>
                  <a:pt x="2277712" y="5346448"/>
                  <a:pt x="2280964" y="5340149"/>
                  <a:pt x="2284372" y="5339323"/>
                </a:cubicBezTo>
                <a:close/>
                <a:moveTo>
                  <a:pt x="2670992" y="5339117"/>
                </a:moveTo>
                <a:cubicBezTo>
                  <a:pt x="2672851" y="5339840"/>
                  <a:pt x="2673626" y="5341698"/>
                  <a:pt x="2673626" y="5343557"/>
                </a:cubicBezTo>
                <a:lnTo>
                  <a:pt x="2672077" y="5346138"/>
                </a:lnTo>
                <a:lnTo>
                  <a:pt x="2675174" y="5344383"/>
                </a:lnTo>
                <a:cubicBezTo>
                  <a:pt x="2676569" y="5343970"/>
                  <a:pt x="2678428" y="5343867"/>
                  <a:pt x="2680596" y="5344280"/>
                </a:cubicBezTo>
                <a:cubicBezTo>
                  <a:pt x="2682455" y="5344073"/>
                  <a:pt x="2681680" y="5344589"/>
                  <a:pt x="2682764" y="5344796"/>
                </a:cubicBezTo>
                <a:cubicBezTo>
                  <a:pt x="2684004" y="5345106"/>
                  <a:pt x="2685863" y="5344899"/>
                  <a:pt x="2686637" y="5344486"/>
                </a:cubicBezTo>
                <a:cubicBezTo>
                  <a:pt x="2685863" y="5348823"/>
                  <a:pt x="2688806" y="5348926"/>
                  <a:pt x="2687411" y="5355638"/>
                </a:cubicBezTo>
                <a:cubicBezTo>
                  <a:pt x="2686482" y="5362246"/>
                  <a:pt x="2682764" y="5364931"/>
                  <a:pt x="2679357" y="5365654"/>
                </a:cubicBezTo>
                <a:lnTo>
                  <a:pt x="2676569" y="5365757"/>
                </a:lnTo>
                <a:lnTo>
                  <a:pt x="2675794" y="5368339"/>
                </a:lnTo>
                <a:cubicBezTo>
                  <a:pt x="2670373" y="5365447"/>
                  <a:pt x="2669288" y="5370300"/>
                  <a:pt x="2666500" y="5371849"/>
                </a:cubicBezTo>
                <a:cubicBezTo>
                  <a:pt x="2665726" y="5372262"/>
                  <a:pt x="2664642" y="5372469"/>
                  <a:pt x="2663248" y="5371746"/>
                </a:cubicBezTo>
                <a:cubicBezTo>
                  <a:pt x="2661699" y="5369681"/>
                  <a:pt x="2659375" y="5368132"/>
                  <a:pt x="2658601" y="5365344"/>
                </a:cubicBezTo>
                <a:cubicBezTo>
                  <a:pt x="2658291" y="5364311"/>
                  <a:pt x="2658291" y="5363279"/>
                  <a:pt x="2658446" y="5362040"/>
                </a:cubicBezTo>
                <a:cubicBezTo>
                  <a:pt x="2662008" y="5362659"/>
                  <a:pt x="2664951" y="5362556"/>
                  <a:pt x="2667739" y="5362246"/>
                </a:cubicBezTo>
                <a:lnTo>
                  <a:pt x="2670218" y="5362040"/>
                </a:lnTo>
                <a:lnTo>
                  <a:pt x="2668514" y="5359871"/>
                </a:lnTo>
                <a:cubicBezTo>
                  <a:pt x="2667895" y="5358426"/>
                  <a:pt x="2667585" y="5356567"/>
                  <a:pt x="2668050" y="5354089"/>
                </a:cubicBezTo>
                <a:lnTo>
                  <a:pt x="2670683" y="5347997"/>
                </a:lnTo>
                <a:lnTo>
                  <a:pt x="2667895" y="5346551"/>
                </a:lnTo>
                <a:cubicBezTo>
                  <a:pt x="2666191" y="5344073"/>
                  <a:pt x="2668514" y="5339840"/>
                  <a:pt x="2670992" y="5339117"/>
                </a:cubicBezTo>
                <a:close/>
                <a:moveTo>
                  <a:pt x="2824650" y="5337052"/>
                </a:moveTo>
                <a:cubicBezTo>
                  <a:pt x="2825269" y="5337568"/>
                  <a:pt x="2824959" y="5338291"/>
                  <a:pt x="2825734" y="5338807"/>
                </a:cubicBezTo>
                <a:cubicBezTo>
                  <a:pt x="2826043" y="5339426"/>
                  <a:pt x="2825734" y="5340149"/>
                  <a:pt x="2825424" y="5341079"/>
                </a:cubicBezTo>
                <a:cubicBezTo>
                  <a:pt x="2824030" y="5343867"/>
                  <a:pt x="2820622" y="5347377"/>
                  <a:pt x="2820003" y="5347068"/>
                </a:cubicBezTo>
                <a:cubicBezTo>
                  <a:pt x="2819693" y="5347790"/>
                  <a:pt x="2818918" y="5347377"/>
                  <a:pt x="2818453" y="5348100"/>
                </a:cubicBezTo>
                <a:cubicBezTo>
                  <a:pt x="2818453" y="5348100"/>
                  <a:pt x="2818144" y="5348926"/>
                  <a:pt x="2817060" y="5349236"/>
                </a:cubicBezTo>
                <a:cubicBezTo>
                  <a:pt x="2816440" y="5349339"/>
                  <a:pt x="2815975" y="5349546"/>
                  <a:pt x="2815356" y="5349443"/>
                </a:cubicBezTo>
                <a:cubicBezTo>
                  <a:pt x="2814736" y="5349443"/>
                  <a:pt x="2814271" y="5349133"/>
                  <a:pt x="2813652" y="5348307"/>
                </a:cubicBezTo>
                <a:cubicBezTo>
                  <a:pt x="2818764" y="5343453"/>
                  <a:pt x="2820157" y="5340356"/>
                  <a:pt x="2824650" y="5337052"/>
                </a:cubicBezTo>
                <a:close/>
                <a:moveTo>
                  <a:pt x="2731557" y="5336019"/>
                </a:moveTo>
                <a:cubicBezTo>
                  <a:pt x="2732331" y="5336948"/>
                  <a:pt x="2733261" y="5337775"/>
                  <a:pt x="2733416" y="5339530"/>
                </a:cubicBezTo>
                <a:cubicBezTo>
                  <a:pt x="2731867" y="5341182"/>
                  <a:pt x="2729233" y="5340253"/>
                  <a:pt x="2728459" y="5341079"/>
                </a:cubicBezTo>
                <a:cubicBezTo>
                  <a:pt x="2728459" y="5340149"/>
                  <a:pt x="2728304" y="5338394"/>
                  <a:pt x="2726600" y="5337465"/>
                </a:cubicBezTo>
                <a:cubicBezTo>
                  <a:pt x="2728149" y="5335813"/>
                  <a:pt x="2729853" y="5334160"/>
                  <a:pt x="2731557" y="5336019"/>
                </a:cubicBezTo>
                <a:close/>
                <a:moveTo>
                  <a:pt x="2621426" y="5333335"/>
                </a:moveTo>
                <a:cubicBezTo>
                  <a:pt x="2628396" y="5336226"/>
                  <a:pt x="2631804" y="5336432"/>
                  <a:pt x="2636915" y="5339323"/>
                </a:cubicBezTo>
                <a:cubicBezTo>
                  <a:pt x="2636915" y="5340149"/>
                  <a:pt x="2636141" y="5340149"/>
                  <a:pt x="2636141" y="5341079"/>
                </a:cubicBezTo>
                <a:cubicBezTo>
                  <a:pt x="2635831" y="5341491"/>
                  <a:pt x="2634902" y="5341595"/>
                  <a:pt x="2633972" y="5341491"/>
                </a:cubicBezTo>
                <a:cubicBezTo>
                  <a:pt x="2630874" y="5341285"/>
                  <a:pt x="2625918" y="5339426"/>
                  <a:pt x="2625918" y="5338807"/>
                </a:cubicBezTo>
                <a:cubicBezTo>
                  <a:pt x="2625143" y="5338704"/>
                  <a:pt x="2625143" y="5337878"/>
                  <a:pt x="2624214" y="5337775"/>
                </a:cubicBezTo>
                <a:cubicBezTo>
                  <a:pt x="2624214" y="5337775"/>
                  <a:pt x="2623439" y="5337775"/>
                  <a:pt x="2622510" y="5336845"/>
                </a:cubicBezTo>
                <a:cubicBezTo>
                  <a:pt x="2621581" y="5335916"/>
                  <a:pt x="2620651" y="5334986"/>
                  <a:pt x="2621426" y="5333335"/>
                </a:cubicBezTo>
                <a:close/>
                <a:moveTo>
                  <a:pt x="2344936" y="5333128"/>
                </a:moveTo>
                <a:cubicBezTo>
                  <a:pt x="2346485" y="5334057"/>
                  <a:pt x="2347259" y="5334057"/>
                  <a:pt x="2348963" y="5333231"/>
                </a:cubicBezTo>
                <a:cubicBezTo>
                  <a:pt x="2348963" y="5333231"/>
                  <a:pt x="2348963" y="5333335"/>
                  <a:pt x="2350512" y="5334986"/>
                </a:cubicBezTo>
                <a:lnTo>
                  <a:pt x="2350357" y="5335916"/>
                </a:lnTo>
                <a:cubicBezTo>
                  <a:pt x="2350202" y="5336329"/>
                  <a:pt x="2349428" y="5336536"/>
                  <a:pt x="2348498" y="5336536"/>
                </a:cubicBezTo>
                <a:cubicBezTo>
                  <a:pt x="2345865" y="5336742"/>
                  <a:pt x="2341063" y="5335709"/>
                  <a:pt x="2340443" y="5335709"/>
                </a:cubicBezTo>
                <a:cubicBezTo>
                  <a:pt x="2340443" y="5335709"/>
                  <a:pt x="2339514" y="5335709"/>
                  <a:pt x="2338740" y="5335709"/>
                </a:cubicBezTo>
                <a:cubicBezTo>
                  <a:pt x="2337965" y="5334780"/>
                  <a:pt x="2338120" y="5333954"/>
                  <a:pt x="2337191" y="5333954"/>
                </a:cubicBezTo>
                <a:cubicBezTo>
                  <a:pt x="2339979" y="5331373"/>
                  <a:pt x="2342457" y="5332302"/>
                  <a:pt x="2344936" y="5333128"/>
                </a:cubicBezTo>
                <a:close/>
                <a:moveTo>
                  <a:pt x="2590679" y="5333102"/>
                </a:moveTo>
                <a:cubicBezTo>
                  <a:pt x="2592615" y="5332327"/>
                  <a:pt x="2595016" y="5333076"/>
                  <a:pt x="2596487" y="5334986"/>
                </a:cubicBezTo>
                <a:cubicBezTo>
                  <a:pt x="2597417" y="5336226"/>
                  <a:pt x="2598036" y="5337981"/>
                  <a:pt x="2597881" y="5340149"/>
                </a:cubicBezTo>
                <a:cubicBezTo>
                  <a:pt x="2596797" y="5341079"/>
                  <a:pt x="2594629" y="5341595"/>
                  <a:pt x="2592615" y="5341698"/>
                </a:cubicBezTo>
                <a:cubicBezTo>
                  <a:pt x="2590601" y="5341698"/>
                  <a:pt x="2588433" y="5341388"/>
                  <a:pt x="2587658" y="5340356"/>
                </a:cubicBezTo>
                <a:cubicBezTo>
                  <a:pt x="2587271" y="5336174"/>
                  <a:pt x="2588743" y="5333877"/>
                  <a:pt x="2590679" y="5333102"/>
                </a:cubicBezTo>
                <a:close/>
                <a:moveTo>
                  <a:pt x="2787475" y="5332921"/>
                </a:moveTo>
                <a:lnTo>
                  <a:pt x="2786700" y="5335090"/>
                </a:lnTo>
                <a:lnTo>
                  <a:pt x="2786080" y="5336019"/>
                </a:lnTo>
                <a:lnTo>
                  <a:pt x="2789643" y="5337775"/>
                </a:lnTo>
                <a:lnTo>
                  <a:pt x="2790572" y="5339530"/>
                </a:lnTo>
                <a:lnTo>
                  <a:pt x="2791502" y="5333954"/>
                </a:lnTo>
                <a:lnTo>
                  <a:pt x="2790418" y="5335193"/>
                </a:lnTo>
                <a:cubicBezTo>
                  <a:pt x="2789488" y="5335090"/>
                  <a:pt x="2788868" y="5334677"/>
                  <a:pt x="2788249" y="5334057"/>
                </a:cubicBezTo>
                <a:close/>
                <a:moveTo>
                  <a:pt x="2828832" y="5330856"/>
                </a:moveTo>
                <a:cubicBezTo>
                  <a:pt x="2829606" y="5329927"/>
                  <a:pt x="2829606" y="5330856"/>
                  <a:pt x="2830381" y="5330856"/>
                </a:cubicBezTo>
                <a:cubicBezTo>
                  <a:pt x="2829916" y="5331373"/>
                  <a:pt x="2829761" y="5331579"/>
                  <a:pt x="2829606" y="5331579"/>
                </a:cubicBezTo>
                <a:cubicBezTo>
                  <a:pt x="2829451" y="5331579"/>
                  <a:pt x="2829296" y="5331373"/>
                  <a:pt x="2828832" y="5330856"/>
                </a:cubicBezTo>
                <a:close/>
                <a:moveTo>
                  <a:pt x="2244563" y="5330547"/>
                </a:moveTo>
                <a:cubicBezTo>
                  <a:pt x="2245493" y="5328791"/>
                  <a:pt x="2247661" y="5332405"/>
                  <a:pt x="2248591" y="5330650"/>
                </a:cubicBezTo>
                <a:cubicBezTo>
                  <a:pt x="2251689" y="5334264"/>
                  <a:pt x="2256181" y="5329927"/>
                  <a:pt x="2261602" y="5334367"/>
                </a:cubicBezTo>
                <a:cubicBezTo>
                  <a:pt x="2259434" y="5334986"/>
                  <a:pt x="2257420" y="5335296"/>
                  <a:pt x="2255716" y="5335296"/>
                </a:cubicBezTo>
                <a:cubicBezTo>
                  <a:pt x="2250295" y="5335400"/>
                  <a:pt x="2246267" y="5333747"/>
                  <a:pt x="2242395" y="5334986"/>
                </a:cubicBezTo>
                <a:cubicBezTo>
                  <a:pt x="2242395" y="5334986"/>
                  <a:pt x="2242395" y="5334986"/>
                  <a:pt x="2241001" y="5333128"/>
                </a:cubicBezTo>
                <a:cubicBezTo>
                  <a:pt x="2240226" y="5333128"/>
                  <a:pt x="2240226" y="5333128"/>
                  <a:pt x="2240226" y="5333128"/>
                </a:cubicBezTo>
                <a:cubicBezTo>
                  <a:pt x="2239762" y="5333128"/>
                  <a:pt x="2239607" y="5332715"/>
                  <a:pt x="2239452" y="5332302"/>
                </a:cubicBezTo>
                <a:cubicBezTo>
                  <a:pt x="2239452" y="5331786"/>
                  <a:pt x="2239452" y="5331373"/>
                  <a:pt x="2239452" y="5331373"/>
                </a:cubicBezTo>
                <a:cubicBezTo>
                  <a:pt x="2240536" y="5329720"/>
                  <a:pt x="2242860" y="5330547"/>
                  <a:pt x="2244563" y="5330547"/>
                </a:cubicBezTo>
                <a:close/>
                <a:moveTo>
                  <a:pt x="2425946" y="5329617"/>
                </a:moveTo>
                <a:cubicBezTo>
                  <a:pt x="2427186" y="5332715"/>
                  <a:pt x="2425327" y="5335400"/>
                  <a:pt x="2423003" y="5336019"/>
                </a:cubicBezTo>
                <a:cubicBezTo>
                  <a:pt x="2422074" y="5336329"/>
                  <a:pt x="2421145" y="5336329"/>
                  <a:pt x="2420370" y="5336019"/>
                </a:cubicBezTo>
                <a:cubicBezTo>
                  <a:pt x="2416343" y="5330443"/>
                  <a:pt x="2423003" y="5327655"/>
                  <a:pt x="2425946" y="5329617"/>
                </a:cubicBezTo>
                <a:close/>
                <a:moveTo>
                  <a:pt x="2607950" y="5327965"/>
                </a:moveTo>
                <a:cubicBezTo>
                  <a:pt x="2609808" y="5327552"/>
                  <a:pt x="2612132" y="5328069"/>
                  <a:pt x="2614765" y="5330237"/>
                </a:cubicBezTo>
                <a:cubicBezTo>
                  <a:pt x="2612132" y="5335503"/>
                  <a:pt x="2614300" y="5339530"/>
                  <a:pt x="2610118" y="5342421"/>
                </a:cubicBezTo>
                <a:cubicBezTo>
                  <a:pt x="2601444" y="5340046"/>
                  <a:pt x="2602373" y="5329411"/>
                  <a:pt x="2607950" y="5327965"/>
                </a:cubicBezTo>
                <a:close/>
                <a:moveTo>
                  <a:pt x="2394038" y="5326210"/>
                </a:moveTo>
                <a:cubicBezTo>
                  <a:pt x="2395742" y="5325384"/>
                  <a:pt x="2397910" y="5327965"/>
                  <a:pt x="2399459" y="5328894"/>
                </a:cubicBezTo>
                <a:cubicBezTo>
                  <a:pt x="2398530" y="5329720"/>
                  <a:pt x="2397600" y="5330650"/>
                  <a:pt x="2398530" y="5330650"/>
                </a:cubicBezTo>
                <a:cubicBezTo>
                  <a:pt x="2397600" y="5331476"/>
                  <a:pt x="2396671" y="5331889"/>
                  <a:pt x="2395897" y="5331992"/>
                </a:cubicBezTo>
                <a:cubicBezTo>
                  <a:pt x="2395122" y="5332095"/>
                  <a:pt x="2394193" y="5331889"/>
                  <a:pt x="2393418" y="5331373"/>
                </a:cubicBezTo>
                <a:cubicBezTo>
                  <a:pt x="2392644" y="5330547"/>
                  <a:pt x="2392799" y="5328791"/>
                  <a:pt x="2394038" y="5326210"/>
                </a:cubicBezTo>
                <a:close/>
                <a:moveTo>
                  <a:pt x="2677227" y="5323641"/>
                </a:moveTo>
                <a:cubicBezTo>
                  <a:pt x="2679434" y="5324428"/>
                  <a:pt x="2680828" y="5326778"/>
                  <a:pt x="2678273" y="5329927"/>
                </a:cubicBezTo>
                <a:cubicBezTo>
                  <a:pt x="2675020" y="5328791"/>
                  <a:pt x="2672696" y="5327965"/>
                  <a:pt x="2671302" y="5326726"/>
                </a:cubicBezTo>
                <a:cubicBezTo>
                  <a:pt x="2671999" y="5323628"/>
                  <a:pt x="2675019" y="5322854"/>
                  <a:pt x="2677227" y="5323641"/>
                </a:cubicBezTo>
                <a:close/>
                <a:moveTo>
                  <a:pt x="2731867" y="5322802"/>
                </a:moveTo>
                <a:cubicBezTo>
                  <a:pt x="2735584" y="5320118"/>
                  <a:pt x="2741006" y="5324042"/>
                  <a:pt x="2740386" y="5328481"/>
                </a:cubicBezTo>
                <a:cubicBezTo>
                  <a:pt x="2739456" y="5329101"/>
                  <a:pt x="2738527" y="5330650"/>
                  <a:pt x="2736668" y="5331166"/>
                </a:cubicBezTo>
                <a:cubicBezTo>
                  <a:pt x="2732641" y="5329308"/>
                  <a:pt x="2731402" y="5326313"/>
                  <a:pt x="2731867" y="5322802"/>
                </a:cubicBezTo>
                <a:close/>
                <a:moveTo>
                  <a:pt x="2689348" y="5322312"/>
                </a:moveTo>
                <a:cubicBezTo>
                  <a:pt x="2691284" y="5322648"/>
                  <a:pt x="2693065" y="5323990"/>
                  <a:pt x="2694537" y="5325900"/>
                </a:cubicBezTo>
                <a:cubicBezTo>
                  <a:pt x="2699339" y="5332302"/>
                  <a:pt x="2700578" y="5345106"/>
                  <a:pt x="2692988" y="5347893"/>
                </a:cubicBezTo>
                <a:cubicBezTo>
                  <a:pt x="2690354" y="5345415"/>
                  <a:pt x="2687876" y="5342421"/>
                  <a:pt x="2686017" y="5338601"/>
                </a:cubicBezTo>
                <a:cubicBezTo>
                  <a:pt x="2684314" y="5334883"/>
                  <a:pt x="2683229" y="5330340"/>
                  <a:pt x="2683229" y="5324764"/>
                </a:cubicBezTo>
                <a:cubicBezTo>
                  <a:pt x="2685320" y="5322647"/>
                  <a:pt x="2687411" y="5321976"/>
                  <a:pt x="2689348" y="5322312"/>
                </a:cubicBezTo>
                <a:close/>
                <a:moveTo>
                  <a:pt x="2194686" y="5320427"/>
                </a:moveTo>
                <a:cubicBezTo>
                  <a:pt x="2198404" y="5320427"/>
                  <a:pt x="2197785" y="5323525"/>
                  <a:pt x="2197165" y="5326623"/>
                </a:cubicBezTo>
                <a:cubicBezTo>
                  <a:pt x="2196236" y="5326623"/>
                  <a:pt x="2195461" y="5327036"/>
                  <a:pt x="2194532" y="5327242"/>
                </a:cubicBezTo>
                <a:cubicBezTo>
                  <a:pt x="2193758" y="5327449"/>
                  <a:pt x="2192828" y="5327346"/>
                  <a:pt x="2191589" y="5326623"/>
                </a:cubicBezTo>
                <a:cubicBezTo>
                  <a:pt x="2192519" y="5324248"/>
                  <a:pt x="2193758" y="5322699"/>
                  <a:pt x="2194686" y="5320427"/>
                </a:cubicBezTo>
                <a:close/>
                <a:moveTo>
                  <a:pt x="2662008" y="5318466"/>
                </a:moveTo>
                <a:cubicBezTo>
                  <a:pt x="2664642" y="5321150"/>
                  <a:pt x="2667585" y="5323525"/>
                  <a:pt x="2669908" y="5326623"/>
                </a:cubicBezTo>
                <a:cubicBezTo>
                  <a:pt x="2672231" y="5329617"/>
                  <a:pt x="2673935" y="5333231"/>
                  <a:pt x="2674555" y="5338291"/>
                </a:cubicBezTo>
                <a:cubicBezTo>
                  <a:pt x="2669598" y="5338394"/>
                  <a:pt x="2666346" y="5335193"/>
                  <a:pt x="2664487" y="5331063"/>
                </a:cubicBezTo>
                <a:cubicBezTo>
                  <a:pt x="2662628" y="5326933"/>
                  <a:pt x="2661853" y="5321873"/>
                  <a:pt x="2662008" y="5318466"/>
                </a:cubicBezTo>
                <a:close/>
                <a:moveTo>
                  <a:pt x="2921924" y="5317123"/>
                </a:moveTo>
                <a:cubicBezTo>
                  <a:pt x="2923164" y="5316813"/>
                  <a:pt x="2923318" y="5317949"/>
                  <a:pt x="2923938" y="5318362"/>
                </a:cubicBezTo>
                <a:cubicBezTo>
                  <a:pt x="2924868" y="5320014"/>
                  <a:pt x="2923473" y="5326416"/>
                  <a:pt x="2922389" y="5326726"/>
                </a:cubicBezTo>
                <a:cubicBezTo>
                  <a:pt x="2921614" y="5324661"/>
                  <a:pt x="2920221" y="5321047"/>
                  <a:pt x="2920685" y="5318775"/>
                </a:cubicBezTo>
                <a:cubicBezTo>
                  <a:pt x="2920840" y="5318052"/>
                  <a:pt x="2921305" y="5317433"/>
                  <a:pt x="2921924" y="5317123"/>
                </a:cubicBezTo>
                <a:close/>
                <a:moveTo>
                  <a:pt x="2776167" y="5314851"/>
                </a:moveTo>
                <a:cubicBezTo>
                  <a:pt x="2778490" y="5320427"/>
                  <a:pt x="2776477" y="5332095"/>
                  <a:pt x="2768267" y="5331786"/>
                </a:cubicBezTo>
                <a:cubicBezTo>
                  <a:pt x="2770746" y="5326313"/>
                  <a:pt x="2771985" y="5319602"/>
                  <a:pt x="2776167" y="5314851"/>
                </a:cubicBezTo>
                <a:close/>
                <a:moveTo>
                  <a:pt x="2318139" y="5314232"/>
                </a:moveTo>
                <a:cubicBezTo>
                  <a:pt x="2319068" y="5314851"/>
                  <a:pt x="2319533" y="5315884"/>
                  <a:pt x="2319533" y="5317536"/>
                </a:cubicBezTo>
                <a:cubicBezTo>
                  <a:pt x="2318913" y="5322492"/>
                  <a:pt x="2314731" y="5323009"/>
                  <a:pt x="2310084" y="5322802"/>
                </a:cubicBezTo>
                <a:cubicBezTo>
                  <a:pt x="2309619" y="5320944"/>
                  <a:pt x="2308690" y="5319705"/>
                  <a:pt x="2308225" y="5317846"/>
                </a:cubicBezTo>
                <a:cubicBezTo>
                  <a:pt x="2309465" y="5315161"/>
                  <a:pt x="2315351" y="5312580"/>
                  <a:pt x="2318139" y="5314232"/>
                </a:cubicBezTo>
                <a:close/>
                <a:moveTo>
                  <a:pt x="2648378" y="5313509"/>
                </a:moveTo>
                <a:cubicBezTo>
                  <a:pt x="2649462" y="5314232"/>
                  <a:pt x="2650546" y="5315265"/>
                  <a:pt x="2651475" y="5316813"/>
                </a:cubicBezTo>
                <a:cubicBezTo>
                  <a:pt x="2649772" y="5321667"/>
                  <a:pt x="2648223" y="5330340"/>
                  <a:pt x="2641252" y="5330856"/>
                </a:cubicBezTo>
                <a:cubicBezTo>
                  <a:pt x="2640323" y="5330856"/>
                  <a:pt x="2639239" y="5330856"/>
                  <a:pt x="2637999" y="5330547"/>
                </a:cubicBezTo>
                <a:cubicBezTo>
                  <a:pt x="2633972" y="5321873"/>
                  <a:pt x="2640942" y="5308450"/>
                  <a:pt x="2648378" y="5313509"/>
                </a:cubicBezTo>
                <a:close/>
                <a:moveTo>
                  <a:pt x="2794909" y="5313406"/>
                </a:moveTo>
                <a:lnTo>
                  <a:pt x="2789798" y="5327139"/>
                </a:lnTo>
                <a:cubicBezTo>
                  <a:pt x="2792122" y="5326519"/>
                  <a:pt x="2792896" y="5328172"/>
                  <a:pt x="2792896" y="5328172"/>
                </a:cubicBezTo>
                <a:lnTo>
                  <a:pt x="2792896" y="5329101"/>
                </a:lnTo>
                <a:lnTo>
                  <a:pt x="2794290" y="5327242"/>
                </a:lnTo>
                <a:cubicBezTo>
                  <a:pt x="2795374" y="5326416"/>
                  <a:pt x="2796768" y="5326107"/>
                  <a:pt x="2798472" y="5326107"/>
                </a:cubicBezTo>
                <a:lnTo>
                  <a:pt x="2798782" y="5326726"/>
                </a:lnTo>
                <a:lnTo>
                  <a:pt x="2798937" y="5326210"/>
                </a:lnTo>
                <a:lnTo>
                  <a:pt x="2799246" y="5326210"/>
                </a:lnTo>
                <a:lnTo>
                  <a:pt x="2799246" y="5324145"/>
                </a:lnTo>
                <a:cubicBezTo>
                  <a:pt x="2800176" y="5320737"/>
                  <a:pt x="2802345" y="5317330"/>
                  <a:pt x="2806217" y="5314025"/>
                </a:cubicBezTo>
                <a:lnTo>
                  <a:pt x="2809160" y="5315265"/>
                </a:lnTo>
                <a:lnTo>
                  <a:pt x="2809005" y="5314955"/>
                </a:lnTo>
                <a:cubicBezTo>
                  <a:pt x="2809005" y="5314955"/>
                  <a:pt x="2809779" y="5315368"/>
                  <a:pt x="2809779" y="5315368"/>
                </a:cubicBezTo>
                <a:lnTo>
                  <a:pt x="2809779" y="5315575"/>
                </a:lnTo>
                <a:lnTo>
                  <a:pt x="2810864" y="5315058"/>
                </a:lnTo>
                <a:lnTo>
                  <a:pt x="2812258" y="5316710"/>
                </a:lnTo>
                <a:lnTo>
                  <a:pt x="2813807" y="5317433"/>
                </a:lnTo>
                <a:cubicBezTo>
                  <a:pt x="2820622" y="5321873"/>
                  <a:pt x="2824185" y="5329411"/>
                  <a:pt x="2821397" y="5336432"/>
                </a:cubicBezTo>
                <a:cubicBezTo>
                  <a:pt x="2818299" y="5342008"/>
                  <a:pt x="2813807" y="5343557"/>
                  <a:pt x="2809470" y="5342627"/>
                </a:cubicBezTo>
                <a:cubicBezTo>
                  <a:pt x="2807301" y="5342214"/>
                  <a:pt x="2805287" y="5341079"/>
                  <a:pt x="2803584" y="5339530"/>
                </a:cubicBezTo>
                <a:lnTo>
                  <a:pt x="2802499" y="5338084"/>
                </a:lnTo>
                <a:lnTo>
                  <a:pt x="2798627" y="5338601"/>
                </a:lnTo>
                <a:lnTo>
                  <a:pt x="2798317" y="5337775"/>
                </a:lnTo>
                <a:lnTo>
                  <a:pt x="2796923" y="5339220"/>
                </a:lnTo>
                <a:lnTo>
                  <a:pt x="2790882" y="5340046"/>
                </a:lnTo>
                <a:lnTo>
                  <a:pt x="2791192" y="5340459"/>
                </a:lnTo>
                <a:cubicBezTo>
                  <a:pt x="2791656" y="5341595"/>
                  <a:pt x="2791966" y="5342627"/>
                  <a:pt x="2791502" y="5343041"/>
                </a:cubicBezTo>
                <a:cubicBezTo>
                  <a:pt x="2790727" y="5343867"/>
                  <a:pt x="2789952" y="5343867"/>
                  <a:pt x="2789023" y="5343763"/>
                </a:cubicBezTo>
                <a:cubicBezTo>
                  <a:pt x="2787320" y="5342834"/>
                  <a:pt x="2785616" y="5341905"/>
                  <a:pt x="2783912" y="5340976"/>
                </a:cubicBezTo>
                <a:lnTo>
                  <a:pt x="2783292" y="5340253"/>
                </a:lnTo>
                <a:lnTo>
                  <a:pt x="2780039" y="5345312"/>
                </a:lnTo>
                <a:lnTo>
                  <a:pt x="2776631" y="5348616"/>
                </a:lnTo>
                <a:cubicBezTo>
                  <a:pt x="2778181" y="5350681"/>
                  <a:pt x="2776322" y="5353056"/>
                  <a:pt x="2775392" y="5352953"/>
                </a:cubicBezTo>
                <a:lnTo>
                  <a:pt x="2774463" y="5350475"/>
                </a:lnTo>
                <a:lnTo>
                  <a:pt x="2770126" y="5354605"/>
                </a:lnTo>
                <a:cubicBezTo>
                  <a:pt x="2768267" y="5350062"/>
                  <a:pt x="2768267" y="5345519"/>
                  <a:pt x="2769352" y="5341285"/>
                </a:cubicBezTo>
                <a:cubicBezTo>
                  <a:pt x="2772450" y="5328481"/>
                  <a:pt x="2786235" y="5317846"/>
                  <a:pt x="2794909" y="5313406"/>
                </a:cubicBezTo>
                <a:close/>
                <a:moveTo>
                  <a:pt x="1814571" y="5311651"/>
                </a:moveTo>
                <a:cubicBezTo>
                  <a:pt x="1816120" y="5312477"/>
                  <a:pt x="1818599" y="5311754"/>
                  <a:pt x="1820147" y="5313509"/>
                </a:cubicBezTo>
                <a:cubicBezTo>
                  <a:pt x="1820147" y="5313509"/>
                  <a:pt x="1820922" y="5314335"/>
                  <a:pt x="1820768" y="5316090"/>
                </a:cubicBezTo>
                <a:cubicBezTo>
                  <a:pt x="1822161" y="5318672"/>
                  <a:pt x="1819373" y="5321253"/>
                  <a:pt x="1819373" y="5321253"/>
                </a:cubicBezTo>
                <a:cubicBezTo>
                  <a:pt x="1819373" y="5321253"/>
                  <a:pt x="1819373" y="5321253"/>
                  <a:pt x="1820147" y="5321253"/>
                </a:cubicBezTo>
                <a:cubicBezTo>
                  <a:pt x="1818599" y="5321253"/>
                  <a:pt x="1816740" y="5322080"/>
                  <a:pt x="1815036" y="5322080"/>
                </a:cubicBezTo>
                <a:cubicBezTo>
                  <a:pt x="1813487" y="5320737"/>
                  <a:pt x="1812557" y="5319705"/>
                  <a:pt x="1812093" y="5318672"/>
                </a:cubicBezTo>
                <a:cubicBezTo>
                  <a:pt x="1810389" y="5315781"/>
                  <a:pt x="1812402" y="5314232"/>
                  <a:pt x="1814571" y="5311651"/>
                </a:cubicBezTo>
                <a:close/>
                <a:moveTo>
                  <a:pt x="2628860" y="5310308"/>
                </a:moveTo>
                <a:cubicBezTo>
                  <a:pt x="2630564" y="5312064"/>
                  <a:pt x="2632423" y="5313922"/>
                  <a:pt x="2634127" y="5315678"/>
                </a:cubicBezTo>
                <a:cubicBezTo>
                  <a:pt x="2635211" y="5320118"/>
                  <a:pt x="2632888" y="5323732"/>
                  <a:pt x="2629325" y="5324557"/>
                </a:cubicBezTo>
                <a:cubicBezTo>
                  <a:pt x="2628241" y="5324868"/>
                  <a:pt x="2626847" y="5324868"/>
                  <a:pt x="2625453" y="5324351"/>
                </a:cubicBezTo>
                <a:cubicBezTo>
                  <a:pt x="2623749" y="5323732"/>
                  <a:pt x="2621890" y="5322389"/>
                  <a:pt x="2620031" y="5320221"/>
                </a:cubicBezTo>
                <a:cubicBezTo>
                  <a:pt x="2618173" y="5315781"/>
                  <a:pt x="2624524" y="5309173"/>
                  <a:pt x="2628860" y="5310308"/>
                </a:cubicBezTo>
                <a:close/>
                <a:moveTo>
                  <a:pt x="2928895" y="5309895"/>
                </a:moveTo>
                <a:cubicBezTo>
                  <a:pt x="2928275" y="5310824"/>
                  <a:pt x="2928585" y="5311651"/>
                  <a:pt x="2929050" y="5312477"/>
                </a:cubicBezTo>
                <a:lnTo>
                  <a:pt x="2930289" y="5314232"/>
                </a:lnTo>
                <a:lnTo>
                  <a:pt x="2929824" y="5312683"/>
                </a:lnTo>
                <a:lnTo>
                  <a:pt x="2930754" y="5310618"/>
                </a:lnTo>
                <a:close/>
                <a:moveTo>
                  <a:pt x="2479231" y="5308863"/>
                </a:moveTo>
                <a:cubicBezTo>
                  <a:pt x="2483413" y="5308346"/>
                  <a:pt x="2484652" y="5312477"/>
                  <a:pt x="2487595" y="5315368"/>
                </a:cubicBezTo>
                <a:cubicBezTo>
                  <a:pt x="2487130" y="5316194"/>
                  <a:pt x="2487285" y="5317330"/>
                  <a:pt x="2488060" y="5317846"/>
                </a:cubicBezTo>
                <a:cubicBezTo>
                  <a:pt x="2488215" y="5318982"/>
                  <a:pt x="2488524" y="5320221"/>
                  <a:pt x="2488989" y="5319395"/>
                </a:cubicBezTo>
                <a:lnTo>
                  <a:pt x="2489454" y="5322286"/>
                </a:lnTo>
                <a:lnTo>
                  <a:pt x="2498903" y="5316813"/>
                </a:lnTo>
                <a:cubicBezTo>
                  <a:pt x="2510055" y="5312683"/>
                  <a:pt x="2521827" y="5312580"/>
                  <a:pt x="2526629" y="5320221"/>
                </a:cubicBezTo>
                <a:lnTo>
                  <a:pt x="2513927" y="5324661"/>
                </a:lnTo>
                <a:cubicBezTo>
                  <a:pt x="2514082" y="5325487"/>
                  <a:pt x="2513308" y="5325487"/>
                  <a:pt x="2513463" y="5326313"/>
                </a:cubicBezTo>
                <a:cubicBezTo>
                  <a:pt x="2513463" y="5326313"/>
                  <a:pt x="2512688" y="5326416"/>
                  <a:pt x="2512688" y="5326416"/>
                </a:cubicBezTo>
                <a:cubicBezTo>
                  <a:pt x="2512688" y="5326829"/>
                  <a:pt x="2512688" y="5326726"/>
                  <a:pt x="2512379" y="5326623"/>
                </a:cubicBezTo>
                <a:lnTo>
                  <a:pt x="2511294" y="5325900"/>
                </a:lnTo>
                <a:lnTo>
                  <a:pt x="2502620" y="5330030"/>
                </a:lnTo>
                <a:cubicBezTo>
                  <a:pt x="2495030" y="5333541"/>
                  <a:pt x="2486976" y="5336742"/>
                  <a:pt x="2475978" y="5337155"/>
                </a:cubicBezTo>
                <a:cubicBezTo>
                  <a:pt x="2476907" y="5333024"/>
                  <a:pt x="2479850" y="5328998"/>
                  <a:pt x="2484033" y="5325384"/>
                </a:cubicBezTo>
                <a:lnTo>
                  <a:pt x="2486821" y="5323835"/>
                </a:lnTo>
                <a:lnTo>
                  <a:pt x="2481399" y="5317846"/>
                </a:lnTo>
                <a:cubicBezTo>
                  <a:pt x="2479695" y="5315368"/>
                  <a:pt x="2478302" y="5313200"/>
                  <a:pt x="2477837" y="5312374"/>
                </a:cubicBezTo>
                <a:cubicBezTo>
                  <a:pt x="2477527" y="5311547"/>
                  <a:pt x="2477372" y="5311031"/>
                  <a:pt x="2477527" y="5310412"/>
                </a:cubicBezTo>
                <a:cubicBezTo>
                  <a:pt x="2477837" y="5309895"/>
                  <a:pt x="2478302" y="5309482"/>
                  <a:pt x="2479231" y="5308863"/>
                </a:cubicBezTo>
                <a:close/>
                <a:moveTo>
                  <a:pt x="2687566" y="5308759"/>
                </a:moveTo>
                <a:cubicBezTo>
                  <a:pt x="2691749" y="5308037"/>
                  <a:pt x="2696550" y="5311960"/>
                  <a:pt x="2696705" y="5315987"/>
                </a:cubicBezTo>
                <a:cubicBezTo>
                  <a:pt x="2695156" y="5318156"/>
                  <a:pt x="2692833" y="5318879"/>
                  <a:pt x="2690509" y="5318672"/>
                </a:cubicBezTo>
                <a:cubicBezTo>
                  <a:pt x="2688186" y="5318362"/>
                  <a:pt x="2686017" y="5317226"/>
                  <a:pt x="2684778" y="5315368"/>
                </a:cubicBezTo>
                <a:lnTo>
                  <a:pt x="2684159" y="5312477"/>
                </a:lnTo>
                <a:lnTo>
                  <a:pt x="2682455" y="5313406"/>
                </a:lnTo>
                <a:lnTo>
                  <a:pt x="2683229" y="5315678"/>
                </a:lnTo>
                <a:cubicBezTo>
                  <a:pt x="2682919" y="5316917"/>
                  <a:pt x="2682145" y="5318259"/>
                  <a:pt x="2681680" y="5319911"/>
                </a:cubicBezTo>
                <a:cubicBezTo>
                  <a:pt x="2680906" y="5318982"/>
                  <a:pt x="2679976" y="5319705"/>
                  <a:pt x="2679047" y="5320427"/>
                </a:cubicBezTo>
                <a:cubicBezTo>
                  <a:pt x="2677963" y="5318879"/>
                  <a:pt x="2675794" y="5316813"/>
                  <a:pt x="2676414" y="5314645"/>
                </a:cubicBezTo>
                <a:cubicBezTo>
                  <a:pt x="2676569" y="5313922"/>
                  <a:pt x="2677033" y="5313200"/>
                  <a:pt x="2677963" y="5312477"/>
                </a:cubicBezTo>
                <a:cubicBezTo>
                  <a:pt x="2677963" y="5312064"/>
                  <a:pt x="2678892" y="5311754"/>
                  <a:pt x="2679821" y="5311651"/>
                </a:cubicBezTo>
                <a:lnTo>
                  <a:pt x="2681525" y="5312167"/>
                </a:lnTo>
                <a:lnTo>
                  <a:pt x="2681216" y="5310928"/>
                </a:lnTo>
                <a:cubicBezTo>
                  <a:pt x="2682145" y="5310102"/>
                  <a:pt x="2683229" y="5310102"/>
                  <a:pt x="2684004" y="5310412"/>
                </a:cubicBezTo>
                <a:lnTo>
                  <a:pt x="2684314" y="5310928"/>
                </a:lnTo>
                <a:close/>
                <a:moveTo>
                  <a:pt x="2406894" y="5304939"/>
                </a:moveTo>
                <a:cubicBezTo>
                  <a:pt x="2406275" y="5317433"/>
                  <a:pt x="2418356" y="5322596"/>
                  <a:pt x="2415413" y="5336226"/>
                </a:cubicBezTo>
                <a:cubicBezTo>
                  <a:pt x="2410922" y="5335606"/>
                  <a:pt x="2406275" y="5329617"/>
                  <a:pt x="2404106" y="5322802"/>
                </a:cubicBezTo>
                <a:cubicBezTo>
                  <a:pt x="2401783" y="5315987"/>
                  <a:pt x="2401783" y="5308450"/>
                  <a:pt x="2406894" y="5304939"/>
                </a:cubicBezTo>
                <a:close/>
                <a:moveTo>
                  <a:pt x="2581307" y="5303700"/>
                </a:moveTo>
                <a:cubicBezTo>
                  <a:pt x="2583321" y="5305042"/>
                  <a:pt x="2583941" y="5306281"/>
                  <a:pt x="2583941" y="5307520"/>
                </a:cubicBezTo>
                <a:lnTo>
                  <a:pt x="2583011" y="5310928"/>
                </a:lnTo>
                <a:lnTo>
                  <a:pt x="2583631" y="5310824"/>
                </a:lnTo>
                <a:cubicBezTo>
                  <a:pt x="2583631" y="5310824"/>
                  <a:pt x="2583631" y="5311031"/>
                  <a:pt x="2583321" y="5311444"/>
                </a:cubicBezTo>
                <a:cubicBezTo>
                  <a:pt x="2585180" y="5311547"/>
                  <a:pt x="2585954" y="5311960"/>
                  <a:pt x="2586574" y="5312477"/>
                </a:cubicBezTo>
                <a:cubicBezTo>
                  <a:pt x="2586884" y="5313716"/>
                  <a:pt x="2585799" y="5315265"/>
                  <a:pt x="2584095" y="5316297"/>
                </a:cubicBezTo>
                <a:cubicBezTo>
                  <a:pt x="2583941" y="5315058"/>
                  <a:pt x="2582082" y="5314955"/>
                  <a:pt x="2581772" y="5313716"/>
                </a:cubicBezTo>
                <a:cubicBezTo>
                  <a:pt x="2581772" y="5313716"/>
                  <a:pt x="2582082" y="5313096"/>
                  <a:pt x="2582237" y="5312374"/>
                </a:cubicBezTo>
                <a:lnTo>
                  <a:pt x="2582547" y="5311031"/>
                </a:lnTo>
                <a:lnTo>
                  <a:pt x="2581152" y="5310308"/>
                </a:lnTo>
                <a:cubicBezTo>
                  <a:pt x="2580378" y="5310102"/>
                  <a:pt x="2579604" y="5310308"/>
                  <a:pt x="2578984" y="5310102"/>
                </a:cubicBezTo>
                <a:lnTo>
                  <a:pt x="2578209" y="5309276"/>
                </a:lnTo>
                <a:lnTo>
                  <a:pt x="2575886" y="5310618"/>
                </a:lnTo>
                <a:cubicBezTo>
                  <a:pt x="2573253" y="5311135"/>
                  <a:pt x="2570620" y="5309276"/>
                  <a:pt x="2570310" y="5306591"/>
                </a:cubicBezTo>
                <a:cubicBezTo>
                  <a:pt x="2572943" y="5302151"/>
                  <a:pt x="2576505" y="5303803"/>
                  <a:pt x="2577900" y="5306384"/>
                </a:cubicBezTo>
                <a:lnTo>
                  <a:pt x="2577900" y="5306488"/>
                </a:lnTo>
                <a:lnTo>
                  <a:pt x="2578364" y="5305662"/>
                </a:lnTo>
                <a:cubicBezTo>
                  <a:pt x="2578984" y="5304939"/>
                  <a:pt x="2579913" y="5304216"/>
                  <a:pt x="2581307" y="5303700"/>
                </a:cubicBezTo>
                <a:close/>
                <a:moveTo>
                  <a:pt x="1764385" y="5302048"/>
                </a:moveTo>
                <a:cubicBezTo>
                  <a:pt x="1765159" y="5302977"/>
                  <a:pt x="1765779" y="5304319"/>
                  <a:pt x="1766088" y="5305972"/>
                </a:cubicBezTo>
                <a:cubicBezTo>
                  <a:pt x="1763146" y="5309585"/>
                  <a:pt x="1759119" y="5315884"/>
                  <a:pt x="1753697" y="5316917"/>
                </a:cubicBezTo>
                <a:cubicBezTo>
                  <a:pt x="1751993" y="5317226"/>
                  <a:pt x="1750134" y="5316917"/>
                  <a:pt x="1747966" y="5315781"/>
                </a:cubicBezTo>
                <a:cubicBezTo>
                  <a:pt x="1747501" y="5306591"/>
                  <a:pt x="1759273" y="5295543"/>
                  <a:pt x="1764385" y="5302048"/>
                </a:cubicBezTo>
                <a:close/>
                <a:moveTo>
                  <a:pt x="2915419" y="5301118"/>
                </a:moveTo>
                <a:lnTo>
                  <a:pt x="2915883" y="5313613"/>
                </a:lnTo>
                <a:cubicBezTo>
                  <a:pt x="2915264" y="5318466"/>
                  <a:pt x="2914025" y="5323319"/>
                  <a:pt x="2912011" y="5328069"/>
                </a:cubicBezTo>
                <a:cubicBezTo>
                  <a:pt x="2909688" y="5327965"/>
                  <a:pt x="2907364" y="5327965"/>
                  <a:pt x="2907364" y="5330340"/>
                </a:cubicBezTo>
                <a:cubicBezTo>
                  <a:pt x="2903492" y="5330547"/>
                  <a:pt x="2899774" y="5330134"/>
                  <a:pt x="2896366" y="5329101"/>
                </a:cubicBezTo>
                <a:lnTo>
                  <a:pt x="2890635" y="5326416"/>
                </a:lnTo>
                <a:lnTo>
                  <a:pt x="2883975" y="5330959"/>
                </a:lnTo>
                <a:lnTo>
                  <a:pt x="2884130" y="5331373"/>
                </a:lnTo>
                <a:cubicBezTo>
                  <a:pt x="2884285" y="5333128"/>
                  <a:pt x="2883975" y="5335193"/>
                  <a:pt x="2882890" y="5336742"/>
                </a:cubicBezTo>
                <a:lnTo>
                  <a:pt x="2881961" y="5337465"/>
                </a:lnTo>
                <a:lnTo>
                  <a:pt x="2886453" y="5343557"/>
                </a:lnTo>
                <a:cubicBezTo>
                  <a:pt x="2891410" y="5349236"/>
                  <a:pt x="2896986" y="5354605"/>
                  <a:pt x="2899000" y="5357187"/>
                </a:cubicBezTo>
                <a:cubicBezTo>
                  <a:pt x="2894353" y="5359665"/>
                  <a:pt x="2889241" y="5351508"/>
                  <a:pt x="2884130" y="5348307"/>
                </a:cubicBezTo>
                <a:lnTo>
                  <a:pt x="2883046" y="5347790"/>
                </a:lnTo>
                <a:lnTo>
                  <a:pt x="2882890" y="5348307"/>
                </a:lnTo>
                <a:lnTo>
                  <a:pt x="2883665" y="5348720"/>
                </a:lnTo>
                <a:cubicBezTo>
                  <a:pt x="2883355" y="5349546"/>
                  <a:pt x="2883355" y="5350475"/>
                  <a:pt x="2883200" y="5351301"/>
                </a:cubicBezTo>
                <a:lnTo>
                  <a:pt x="2883046" y="5351404"/>
                </a:lnTo>
                <a:lnTo>
                  <a:pt x="2887228" y="5355741"/>
                </a:lnTo>
                <a:cubicBezTo>
                  <a:pt x="2890016" y="5358116"/>
                  <a:pt x="2892494" y="5361214"/>
                  <a:pt x="2895282" y="5363588"/>
                </a:cubicBezTo>
                <a:cubicBezTo>
                  <a:pt x="2898225" y="5365963"/>
                  <a:pt x="2901013" y="5368132"/>
                  <a:pt x="2903956" y="5369887"/>
                </a:cubicBezTo>
                <a:lnTo>
                  <a:pt x="2906125" y="5370816"/>
                </a:lnTo>
                <a:lnTo>
                  <a:pt x="2906590" y="5368028"/>
                </a:lnTo>
                <a:cubicBezTo>
                  <a:pt x="2908139" y="5369164"/>
                  <a:pt x="2909688" y="5370404"/>
                  <a:pt x="2911236" y="5371436"/>
                </a:cubicBezTo>
                <a:cubicBezTo>
                  <a:pt x="2911082" y="5371436"/>
                  <a:pt x="2910927" y="5371952"/>
                  <a:pt x="2910927" y="5372675"/>
                </a:cubicBezTo>
                <a:lnTo>
                  <a:pt x="2912011" y="5373191"/>
                </a:lnTo>
                <a:lnTo>
                  <a:pt x="2912940" y="5371333"/>
                </a:lnTo>
                <a:cubicBezTo>
                  <a:pt x="2915883" y="5366480"/>
                  <a:pt x="2919756" y="5364415"/>
                  <a:pt x="2926261" y="5370713"/>
                </a:cubicBezTo>
                <a:cubicBezTo>
                  <a:pt x="2923938" y="5371849"/>
                  <a:pt x="2922079" y="5373501"/>
                  <a:pt x="2920221" y="5375360"/>
                </a:cubicBezTo>
                <a:lnTo>
                  <a:pt x="2916348" y="5380006"/>
                </a:lnTo>
                <a:lnTo>
                  <a:pt x="2918362" y="5383311"/>
                </a:lnTo>
                <a:cubicBezTo>
                  <a:pt x="2920530" y="5386408"/>
                  <a:pt x="2923164" y="5389506"/>
                  <a:pt x="2926107" y="5392604"/>
                </a:cubicBezTo>
                <a:cubicBezTo>
                  <a:pt x="2931528" y="5398076"/>
                  <a:pt x="2937724" y="5403032"/>
                  <a:pt x="2944694" y="5408195"/>
                </a:cubicBezTo>
                <a:lnTo>
                  <a:pt x="2954143" y="5415010"/>
                </a:lnTo>
                <a:lnTo>
                  <a:pt x="2954762" y="5408608"/>
                </a:lnTo>
                <a:cubicBezTo>
                  <a:pt x="2964211" y="5402310"/>
                  <a:pt x="2963592" y="5396114"/>
                  <a:pt x="2967929" y="5390229"/>
                </a:cubicBezTo>
                <a:cubicBezTo>
                  <a:pt x="2981559" y="5383517"/>
                  <a:pt x="3001386" y="5379077"/>
                  <a:pt x="3013778" y="5389919"/>
                </a:cubicBezTo>
                <a:cubicBezTo>
                  <a:pt x="3024001" y="5398799"/>
                  <a:pt x="3020438" y="5409951"/>
                  <a:pt x="3024156" y="5422651"/>
                </a:cubicBezTo>
                <a:cubicBezTo>
                  <a:pt x="3021833" y="5424200"/>
                  <a:pt x="3020129" y="5425749"/>
                  <a:pt x="3019044" y="5427401"/>
                </a:cubicBezTo>
                <a:lnTo>
                  <a:pt x="3017340" y="5430499"/>
                </a:lnTo>
                <a:lnTo>
                  <a:pt x="3017805" y="5432151"/>
                </a:lnTo>
                <a:lnTo>
                  <a:pt x="3016256" y="5432874"/>
                </a:lnTo>
                <a:lnTo>
                  <a:pt x="3015172" y="5438140"/>
                </a:lnTo>
                <a:lnTo>
                  <a:pt x="3015482" y="5438243"/>
                </a:lnTo>
                <a:lnTo>
                  <a:pt x="3026015" y="5444542"/>
                </a:lnTo>
                <a:lnTo>
                  <a:pt x="3028183" y="5440411"/>
                </a:lnTo>
                <a:cubicBezTo>
                  <a:pt x="3029577" y="5438346"/>
                  <a:pt x="3031591" y="5436281"/>
                  <a:pt x="3033915" y="5434319"/>
                </a:cubicBezTo>
                <a:cubicBezTo>
                  <a:pt x="3036238" y="5435455"/>
                  <a:pt x="3040575" y="5434113"/>
                  <a:pt x="3040730" y="5438449"/>
                </a:cubicBezTo>
                <a:cubicBezTo>
                  <a:pt x="3038097" y="5439585"/>
                  <a:pt x="3036238" y="5441341"/>
                  <a:pt x="3034689" y="5443406"/>
                </a:cubicBezTo>
                <a:lnTo>
                  <a:pt x="3032056" y="5448155"/>
                </a:lnTo>
                <a:lnTo>
                  <a:pt x="3033604" y="5449085"/>
                </a:lnTo>
                <a:lnTo>
                  <a:pt x="3037322" y="5451253"/>
                </a:lnTo>
                <a:lnTo>
                  <a:pt x="3037632" y="5451150"/>
                </a:lnTo>
                <a:cubicBezTo>
                  <a:pt x="3039026" y="5451150"/>
                  <a:pt x="3040575" y="5451563"/>
                  <a:pt x="3041505" y="5451976"/>
                </a:cubicBezTo>
                <a:lnTo>
                  <a:pt x="3042279" y="5454041"/>
                </a:lnTo>
                <a:lnTo>
                  <a:pt x="3049404" y="5457861"/>
                </a:lnTo>
                <a:lnTo>
                  <a:pt x="3050024" y="5457965"/>
                </a:lnTo>
                <a:lnTo>
                  <a:pt x="3050333" y="5458378"/>
                </a:lnTo>
                <a:lnTo>
                  <a:pt x="3052967" y="5459823"/>
                </a:lnTo>
                <a:cubicBezTo>
                  <a:pt x="3059317" y="5463334"/>
                  <a:pt x="3065668" y="5466535"/>
                  <a:pt x="3071709" y="5469220"/>
                </a:cubicBezTo>
                <a:cubicBezTo>
                  <a:pt x="3073103" y="5469839"/>
                  <a:pt x="3075117" y="5470149"/>
                  <a:pt x="3077130" y="5470355"/>
                </a:cubicBezTo>
                <a:lnTo>
                  <a:pt x="3081932" y="5471285"/>
                </a:lnTo>
                <a:lnTo>
                  <a:pt x="3081623" y="5470872"/>
                </a:lnTo>
                <a:cubicBezTo>
                  <a:pt x="3083172" y="5468084"/>
                  <a:pt x="3081313" y="5463953"/>
                  <a:pt x="3086579" y="5463644"/>
                </a:cubicBezTo>
                <a:cubicBezTo>
                  <a:pt x="3089987" y="5465812"/>
                  <a:pt x="3090761" y="5470665"/>
                  <a:pt x="3088593" y="5473453"/>
                </a:cubicBezTo>
                <a:lnTo>
                  <a:pt x="3087354" y="5474073"/>
                </a:lnTo>
                <a:lnTo>
                  <a:pt x="3087663" y="5474279"/>
                </a:lnTo>
                <a:cubicBezTo>
                  <a:pt x="3088593" y="5475621"/>
                  <a:pt x="3088903" y="5477583"/>
                  <a:pt x="3088128" y="5480371"/>
                </a:cubicBezTo>
                <a:cubicBezTo>
                  <a:pt x="3092775" y="5481197"/>
                  <a:pt x="3098196" y="5483469"/>
                  <a:pt x="3101759" y="5483469"/>
                </a:cubicBezTo>
                <a:lnTo>
                  <a:pt x="3103308" y="5482953"/>
                </a:lnTo>
                <a:lnTo>
                  <a:pt x="3103463" y="5482849"/>
                </a:lnTo>
                <a:lnTo>
                  <a:pt x="3103618" y="5482849"/>
                </a:lnTo>
                <a:lnTo>
                  <a:pt x="3104857" y="5482437"/>
                </a:lnTo>
                <a:lnTo>
                  <a:pt x="3105476" y="5483262"/>
                </a:lnTo>
                <a:lnTo>
                  <a:pt x="3108110" y="5483882"/>
                </a:lnTo>
                <a:cubicBezTo>
                  <a:pt x="3109039" y="5484708"/>
                  <a:pt x="3109039" y="5484708"/>
                  <a:pt x="3109194" y="5485638"/>
                </a:cubicBezTo>
                <a:lnTo>
                  <a:pt x="3110278" y="5488632"/>
                </a:lnTo>
                <a:lnTo>
                  <a:pt x="3112602" y="5489354"/>
                </a:lnTo>
                <a:lnTo>
                  <a:pt x="3112602" y="5487909"/>
                </a:lnTo>
                <a:cubicBezTo>
                  <a:pt x="3113221" y="5486980"/>
                  <a:pt x="3114306" y="5486360"/>
                  <a:pt x="3115855" y="5486463"/>
                </a:cubicBezTo>
                <a:lnTo>
                  <a:pt x="3117559" y="5487703"/>
                </a:lnTo>
                <a:lnTo>
                  <a:pt x="3117559" y="5486154"/>
                </a:lnTo>
                <a:cubicBezTo>
                  <a:pt x="3117559" y="5484502"/>
                  <a:pt x="3117868" y="5482643"/>
                  <a:pt x="3120037" y="5482540"/>
                </a:cubicBezTo>
                <a:cubicBezTo>
                  <a:pt x="3123599" y="5482953"/>
                  <a:pt x="3122051" y="5493794"/>
                  <a:pt x="3125613" y="5487393"/>
                </a:cubicBezTo>
                <a:lnTo>
                  <a:pt x="3128711" y="5489148"/>
                </a:lnTo>
                <a:lnTo>
                  <a:pt x="3132429" y="5481507"/>
                </a:lnTo>
                <a:lnTo>
                  <a:pt x="3130880" y="5478100"/>
                </a:lnTo>
                <a:cubicBezTo>
                  <a:pt x="3131034" y="5476964"/>
                  <a:pt x="3131809" y="5475931"/>
                  <a:pt x="3133048" y="5474692"/>
                </a:cubicBezTo>
                <a:lnTo>
                  <a:pt x="3135062" y="5477790"/>
                </a:lnTo>
                <a:lnTo>
                  <a:pt x="3141412" y="5471801"/>
                </a:lnTo>
                <a:cubicBezTo>
                  <a:pt x="3143271" y="5475621"/>
                  <a:pt x="3143891" y="5479752"/>
                  <a:pt x="3143736" y="5483882"/>
                </a:cubicBezTo>
                <a:lnTo>
                  <a:pt x="3140948" y="5495963"/>
                </a:lnTo>
                <a:lnTo>
                  <a:pt x="3154424" y="5500816"/>
                </a:lnTo>
                <a:lnTo>
                  <a:pt x="3171307" y="5504637"/>
                </a:lnTo>
                <a:lnTo>
                  <a:pt x="3171927" y="5502675"/>
                </a:lnTo>
                <a:cubicBezTo>
                  <a:pt x="3172856" y="5503604"/>
                  <a:pt x="3175025" y="5500713"/>
                  <a:pt x="3175799" y="5499783"/>
                </a:cubicBezTo>
                <a:cubicBezTo>
                  <a:pt x="3176729" y="5500610"/>
                  <a:pt x="3177968" y="5500300"/>
                  <a:pt x="3179207" y="5500093"/>
                </a:cubicBezTo>
                <a:lnTo>
                  <a:pt x="3180911" y="5500093"/>
                </a:lnTo>
                <a:lnTo>
                  <a:pt x="3181530" y="5485844"/>
                </a:lnTo>
                <a:cubicBezTo>
                  <a:pt x="3184474" y="5486877"/>
                  <a:pt x="3186487" y="5485431"/>
                  <a:pt x="3190824" y="5487909"/>
                </a:cubicBezTo>
                <a:lnTo>
                  <a:pt x="3189120" y="5507218"/>
                </a:lnTo>
                <a:lnTo>
                  <a:pt x="3194232" y="5507734"/>
                </a:lnTo>
                <a:cubicBezTo>
                  <a:pt x="3196401" y="5512174"/>
                  <a:pt x="3201357" y="5514446"/>
                  <a:pt x="3207398" y="5515582"/>
                </a:cubicBezTo>
                <a:lnTo>
                  <a:pt x="3214214" y="5516098"/>
                </a:lnTo>
                <a:lnTo>
                  <a:pt x="3214059" y="5515995"/>
                </a:lnTo>
                <a:lnTo>
                  <a:pt x="3214988" y="5516201"/>
                </a:lnTo>
                <a:lnTo>
                  <a:pt x="3215763" y="5516305"/>
                </a:lnTo>
                <a:cubicBezTo>
                  <a:pt x="3218396" y="5516305"/>
                  <a:pt x="3221029" y="5516408"/>
                  <a:pt x="3223043" y="5516614"/>
                </a:cubicBezTo>
                <a:cubicBezTo>
                  <a:pt x="3223817" y="5512381"/>
                  <a:pt x="3212045" y="5517027"/>
                  <a:pt x="3215453" y="5511348"/>
                </a:cubicBezTo>
                <a:cubicBezTo>
                  <a:pt x="3220874" y="5512278"/>
                  <a:pt x="3224747" y="5511865"/>
                  <a:pt x="3228464" y="5511555"/>
                </a:cubicBezTo>
                <a:cubicBezTo>
                  <a:pt x="3221649" y="5520745"/>
                  <a:pt x="3245658" y="5518370"/>
                  <a:pt x="3251234" y="5519299"/>
                </a:cubicBezTo>
                <a:cubicBezTo>
                  <a:pt x="3251234" y="5517027"/>
                  <a:pt x="3249220" y="5516408"/>
                  <a:pt x="3247362" y="5515788"/>
                </a:cubicBezTo>
                <a:cubicBezTo>
                  <a:pt x="3245038" y="5515891"/>
                  <a:pt x="3242250" y="5515788"/>
                  <a:pt x="3239617" y="5514962"/>
                </a:cubicBezTo>
                <a:cubicBezTo>
                  <a:pt x="3242095" y="5514240"/>
                  <a:pt x="3244419" y="5513413"/>
                  <a:pt x="3246587" y="5513413"/>
                </a:cubicBezTo>
                <a:cubicBezTo>
                  <a:pt x="3249065" y="5512587"/>
                  <a:pt x="3251234" y="5512587"/>
                  <a:pt x="3253557" y="5512484"/>
                </a:cubicBezTo>
                <a:cubicBezTo>
                  <a:pt x="3258514" y="5512484"/>
                  <a:pt x="3263471" y="5513310"/>
                  <a:pt x="3267963" y="5514755"/>
                </a:cubicBezTo>
                <a:lnTo>
                  <a:pt x="3275398" y="5516201"/>
                </a:lnTo>
                <a:lnTo>
                  <a:pt x="3278960" y="5513929"/>
                </a:lnTo>
                <a:lnTo>
                  <a:pt x="3280510" y="5517130"/>
                </a:lnTo>
                <a:lnTo>
                  <a:pt x="3283452" y="5517750"/>
                </a:lnTo>
                <a:lnTo>
                  <a:pt x="3289958" y="5518163"/>
                </a:lnTo>
                <a:lnTo>
                  <a:pt x="3291352" y="5516408"/>
                </a:lnTo>
                <a:lnTo>
                  <a:pt x="3293676" y="5518060"/>
                </a:lnTo>
                <a:lnTo>
                  <a:pt x="3298942" y="5517544"/>
                </a:lnTo>
                <a:cubicBezTo>
                  <a:pt x="3298477" y="5521054"/>
                  <a:pt x="3304054" y="5519815"/>
                  <a:pt x="3303899" y="5521984"/>
                </a:cubicBezTo>
                <a:cubicBezTo>
                  <a:pt x="3307771" y="5520228"/>
                  <a:pt x="3311799" y="5519402"/>
                  <a:pt x="3315671" y="5518989"/>
                </a:cubicBezTo>
                <a:lnTo>
                  <a:pt x="3326823" y="5518783"/>
                </a:lnTo>
                <a:lnTo>
                  <a:pt x="3327288" y="5516511"/>
                </a:lnTo>
                <a:lnTo>
                  <a:pt x="3330386" y="5512897"/>
                </a:lnTo>
                <a:lnTo>
                  <a:pt x="3329147" y="5510316"/>
                </a:lnTo>
                <a:cubicBezTo>
                  <a:pt x="3329302" y="5509180"/>
                  <a:pt x="3329302" y="5509180"/>
                  <a:pt x="3329456" y="5507941"/>
                </a:cubicBezTo>
                <a:cubicBezTo>
                  <a:pt x="3330851" y="5507011"/>
                  <a:pt x="3331625" y="5505462"/>
                  <a:pt x="3333484" y="5505256"/>
                </a:cubicBezTo>
                <a:lnTo>
                  <a:pt x="3335343" y="5507115"/>
                </a:lnTo>
                <a:lnTo>
                  <a:pt x="3336891" y="5505359"/>
                </a:lnTo>
                <a:lnTo>
                  <a:pt x="3342623" y="5502365"/>
                </a:lnTo>
                <a:lnTo>
                  <a:pt x="3340919" y="5501022"/>
                </a:lnTo>
                <a:lnTo>
                  <a:pt x="3335188" y="5500816"/>
                </a:lnTo>
                <a:cubicBezTo>
                  <a:pt x="3328217" y="5501642"/>
                  <a:pt x="3326049" y="5508457"/>
                  <a:pt x="3318923" y="5510109"/>
                </a:cubicBezTo>
                <a:cubicBezTo>
                  <a:pt x="3319543" y="5510316"/>
                  <a:pt x="3319233" y="5507218"/>
                  <a:pt x="3319233" y="5507218"/>
                </a:cubicBezTo>
                <a:cubicBezTo>
                  <a:pt x="3315980" y="5508457"/>
                  <a:pt x="3309630" y="5513000"/>
                  <a:pt x="3306377" y="5510935"/>
                </a:cubicBezTo>
                <a:lnTo>
                  <a:pt x="3306067" y="5510419"/>
                </a:lnTo>
                <a:lnTo>
                  <a:pt x="3304983" y="5510729"/>
                </a:lnTo>
                <a:cubicBezTo>
                  <a:pt x="3301266" y="5511245"/>
                  <a:pt x="3297238" y="5511348"/>
                  <a:pt x="3292591" y="5510625"/>
                </a:cubicBezTo>
                <a:lnTo>
                  <a:pt x="3290268" y="5502158"/>
                </a:lnTo>
                <a:lnTo>
                  <a:pt x="3279735" y="5501745"/>
                </a:lnTo>
                <a:cubicBezTo>
                  <a:pt x="3274933" y="5501022"/>
                  <a:pt x="3270441" y="5501126"/>
                  <a:pt x="3265639" y="5502675"/>
                </a:cubicBezTo>
                <a:cubicBezTo>
                  <a:pt x="3264245" y="5502262"/>
                  <a:pt x="3264245" y="5499990"/>
                  <a:pt x="3264400" y="5497718"/>
                </a:cubicBezTo>
                <a:lnTo>
                  <a:pt x="3261147" y="5497925"/>
                </a:lnTo>
                <a:lnTo>
                  <a:pt x="3265175" y="5502365"/>
                </a:lnTo>
                <a:cubicBezTo>
                  <a:pt x="3264245" y="5503811"/>
                  <a:pt x="3263316" y="5504430"/>
                  <a:pt x="3262231" y="5504327"/>
                </a:cubicBezTo>
                <a:cubicBezTo>
                  <a:pt x="3261302" y="5504223"/>
                  <a:pt x="3260373" y="5503604"/>
                  <a:pt x="3259753" y="5502675"/>
                </a:cubicBezTo>
                <a:cubicBezTo>
                  <a:pt x="3259134" y="5501849"/>
                  <a:pt x="3258669" y="5500713"/>
                  <a:pt x="3258824" y="5499783"/>
                </a:cubicBezTo>
                <a:lnTo>
                  <a:pt x="3260683" y="5497925"/>
                </a:lnTo>
                <a:lnTo>
                  <a:pt x="3256191" y="5498131"/>
                </a:lnTo>
                <a:lnTo>
                  <a:pt x="3255571" y="5505049"/>
                </a:lnTo>
                <a:cubicBezTo>
                  <a:pt x="3253557" y="5509593"/>
                  <a:pt x="3248910" y="5513000"/>
                  <a:pt x="3244264" y="5513620"/>
                </a:cubicBezTo>
                <a:cubicBezTo>
                  <a:pt x="3241166" y="5514033"/>
                  <a:pt x="3238068" y="5513207"/>
                  <a:pt x="3235434" y="5510419"/>
                </a:cubicBezTo>
                <a:lnTo>
                  <a:pt x="3239927" y="5496892"/>
                </a:lnTo>
                <a:lnTo>
                  <a:pt x="3233886" y="5495860"/>
                </a:lnTo>
                <a:cubicBezTo>
                  <a:pt x="3229239" y="5494414"/>
                  <a:pt x="3224437" y="5493691"/>
                  <a:pt x="3219635" y="5492969"/>
                </a:cubicBezTo>
                <a:lnTo>
                  <a:pt x="3210342" y="5492452"/>
                </a:lnTo>
                <a:lnTo>
                  <a:pt x="3211580" y="5496170"/>
                </a:lnTo>
                <a:cubicBezTo>
                  <a:pt x="3211580" y="5498131"/>
                  <a:pt x="3211116" y="5500196"/>
                  <a:pt x="3209876" y="5502158"/>
                </a:cubicBezTo>
                <a:cubicBezTo>
                  <a:pt x="3208792" y="5502675"/>
                  <a:pt x="3207708" y="5502881"/>
                  <a:pt x="3206469" y="5502778"/>
                </a:cubicBezTo>
                <a:cubicBezTo>
                  <a:pt x="3204765" y="5502675"/>
                  <a:pt x="3202906" y="5501952"/>
                  <a:pt x="3201357" y="5501022"/>
                </a:cubicBezTo>
                <a:lnTo>
                  <a:pt x="3199189" y="5499061"/>
                </a:lnTo>
                <a:lnTo>
                  <a:pt x="3198259" y="5499783"/>
                </a:lnTo>
                <a:lnTo>
                  <a:pt x="3198414" y="5498441"/>
                </a:lnTo>
                <a:lnTo>
                  <a:pt x="3197020" y="5497305"/>
                </a:lnTo>
                <a:lnTo>
                  <a:pt x="3196246" y="5495653"/>
                </a:lnTo>
                <a:lnTo>
                  <a:pt x="3192993" y="5497305"/>
                </a:lnTo>
                <a:cubicBezTo>
                  <a:pt x="3192838" y="5496686"/>
                  <a:pt x="3193148" y="5496273"/>
                  <a:pt x="3193458" y="5495963"/>
                </a:cubicBezTo>
                <a:cubicBezTo>
                  <a:pt x="3193922" y="5495756"/>
                  <a:pt x="3194542" y="5495550"/>
                  <a:pt x="3195162" y="5495447"/>
                </a:cubicBezTo>
                <a:lnTo>
                  <a:pt x="3196091" y="5495137"/>
                </a:lnTo>
                <a:lnTo>
                  <a:pt x="3195162" y="5493485"/>
                </a:lnTo>
                <a:lnTo>
                  <a:pt x="3197795" y="5489458"/>
                </a:lnTo>
                <a:lnTo>
                  <a:pt x="3191908" y="5486670"/>
                </a:lnTo>
                <a:cubicBezTo>
                  <a:pt x="3197330" y="5486670"/>
                  <a:pt x="3196710" y="5484398"/>
                  <a:pt x="3199963" y="5484088"/>
                </a:cubicBezTo>
                <a:lnTo>
                  <a:pt x="3201822" y="5484295"/>
                </a:lnTo>
                <a:lnTo>
                  <a:pt x="3202132" y="5483985"/>
                </a:lnTo>
                <a:lnTo>
                  <a:pt x="3192219" y="5481197"/>
                </a:lnTo>
                <a:cubicBezTo>
                  <a:pt x="3188036" y="5480061"/>
                  <a:pt x="3184319" y="5478306"/>
                  <a:pt x="3181685" y="5474486"/>
                </a:cubicBezTo>
                <a:cubicBezTo>
                  <a:pt x="3180911" y="5476551"/>
                  <a:pt x="3180137" y="5478513"/>
                  <a:pt x="3182150" y="5479132"/>
                </a:cubicBezTo>
                <a:cubicBezTo>
                  <a:pt x="3179517" y="5480578"/>
                  <a:pt x="3172082" y="5474589"/>
                  <a:pt x="3169294" y="5472214"/>
                </a:cubicBezTo>
                <a:cubicBezTo>
                  <a:pt x="3167590" y="5473143"/>
                  <a:pt x="3157676" y="5472420"/>
                  <a:pt x="3162014" y="5476757"/>
                </a:cubicBezTo>
                <a:cubicBezTo>
                  <a:pt x="3155973" y="5474899"/>
                  <a:pt x="3150861" y="5473247"/>
                  <a:pt x="3144665" y="5472111"/>
                </a:cubicBezTo>
                <a:lnTo>
                  <a:pt x="3137385" y="5470252"/>
                </a:lnTo>
                <a:lnTo>
                  <a:pt x="3136920" y="5471904"/>
                </a:lnTo>
                <a:cubicBezTo>
                  <a:pt x="3135062" y="5471595"/>
                  <a:pt x="3133358" y="5472111"/>
                  <a:pt x="3131499" y="5471801"/>
                </a:cubicBezTo>
                <a:lnTo>
                  <a:pt x="3129795" y="5468187"/>
                </a:lnTo>
                <a:lnTo>
                  <a:pt x="3126697" y="5467361"/>
                </a:lnTo>
                <a:cubicBezTo>
                  <a:pt x="3127162" y="5466019"/>
                  <a:pt x="3127937" y="5465192"/>
                  <a:pt x="3128711" y="5464573"/>
                </a:cubicBezTo>
                <a:lnTo>
                  <a:pt x="3129950" y="5464057"/>
                </a:lnTo>
                <a:lnTo>
                  <a:pt x="3130725" y="5462508"/>
                </a:lnTo>
                <a:lnTo>
                  <a:pt x="3132119" y="5462611"/>
                </a:lnTo>
                <a:lnTo>
                  <a:pt x="3132893" y="5461992"/>
                </a:lnTo>
                <a:cubicBezTo>
                  <a:pt x="3133203" y="5461269"/>
                  <a:pt x="3133048" y="5460236"/>
                  <a:pt x="3132584" y="5458584"/>
                </a:cubicBezTo>
                <a:cubicBezTo>
                  <a:pt x="3138469" y="5460443"/>
                  <a:pt x="3143271" y="5463437"/>
                  <a:pt x="3148538" y="5465089"/>
                </a:cubicBezTo>
                <a:cubicBezTo>
                  <a:pt x="3153185" y="5466432"/>
                  <a:pt x="3157986" y="5467154"/>
                  <a:pt x="3163563" y="5463644"/>
                </a:cubicBezTo>
                <a:cubicBezTo>
                  <a:pt x="3165576" y="5464263"/>
                  <a:pt x="3164182" y="5466122"/>
                  <a:pt x="3164182" y="5468290"/>
                </a:cubicBezTo>
                <a:cubicBezTo>
                  <a:pt x="3165731" y="5468084"/>
                  <a:pt x="3165886" y="5465192"/>
                  <a:pt x="3167900" y="5465709"/>
                </a:cubicBezTo>
                <a:cubicBezTo>
                  <a:pt x="3166351" y="5463747"/>
                  <a:pt x="3161549" y="5460856"/>
                  <a:pt x="3157212" y="5458687"/>
                </a:cubicBezTo>
                <a:cubicBezTo>
                  <a:pt x="3152720" y="5457345"/>
                  <a:pt x="3147763" y="5456519"/>
                  <a:pt x="3145130" y="5460236"/>
                </a:cubicBezTo>
                <a:cubicBezTo>
                  <a:pt x="3143426" y="5458584"/>
                  <a:pt x="3141103" y="5457448"/>
                  <a:pt x="3138934" y="5456416"/>
                </a:cubicBezTo>
                <a:lnTo>
                  <a:pt x="3136146" y="5454660"/>
                </a:lnTo>
                <a:lnTo>
                  <a:pt x="3135527" y="5455177"/>
                </a:lnTo>
                <a:lnTo>
                  <a:pt x="3135527" y="5454247"/>
                </a:lnTo>
                <a:lnTo>
                  <a:pt x="3133203" y="5452802"/>
                </a:lnTo>
                <a:cubicBezTo>
                  <a:pt x="3133977" y="5451150"/>
                  <a:pt x="3134597" y="5449601"/>
                  <a:pt x="3135216" y="5448362"/>
                </a:cubicBezTo>
                <a:lnTo>
                  <a:pt x="3132738" y="5442992"/>
                </a:lnTo>
                <a:lnTo>
                  <a:pt x="3131189" y="5440411"/>
                </a:lnTo>
                <a:lnTo>
                  <a:pt x="3129176" y="5439482"/>
                </a:lnTo>
                <a:cubicBezTo>
                  <a:pt x="3122980" y="5438346"/>
                  <a:pt x="3116939" y="5437210"/>
                  <a:pt x="3111827" y="5434939"/>
                </a:cubicBezTo>
                <a:cubicBezTo>
                  <a:pt x="3110433" y="5432977"/>
                  <a:pt x="3108110" y="5431428"/>
                  <a:pt x="3105941" y="5429259"/>
                </a:cubicBezTo>
                <a:cubicBezTo>
                  <a:pt x="3104857" y="5428227"/>
                  <a:pt x="3102998" y="5426885"/>
                  <a:pt x="3101759" y="5426472"/>
                </a:cubicBezTo>
                <a:cubicBezTo>
                  <a:pt x="3100675" y="5425439"/>
                  <a:pt x="3098971" y="5424097"/>
                  <a:pt x="3097887" y="5423064"/>
                </a:cubicBezTo>
                <a:lnTo>
                  <a:pt x="3089987" y="5417901"/>
                </a:lnTo>
                <a:lnTo>
                  <a:pt x="3089522" y="5417901"/>
                </a:lnTo>
                <a:cubicBezTo>
                  <a:pt x="3087044" y="5417591"/>
                  <a:pt x="3084256" y="5416559"/>
                  <a:pt x="3081468" y="5414597"/>
                </a:cubicBezTo>
                <a:lnTo>
                  <a:pt x="3077750" y="5409847"/>
                </a:lnTo>
                <a:lnTo>
                  <a:pt x="3064584" y="5400761"/>
                </a:lnTo>
                <a:lnTo>
                  <a:pt x="3063035" y="5404788"/>
                </a:lnTo>
                <a:cubicBezTo>
                  <a:pt x="3061950" y="5407473"/>
                  <a:pt x="3060247" y="5410054"/>
                  <a:pt x="3057923" y="5411603"/>
                </a:cubicBezTo>
                <a:lnTo>
                  <a:pt x="3056839" y="5411706"/>
                </a:lnTo>
                <a:lnTo>
                  <a:pt x="3056065" y="5412739"/>
                </a:lnTo>
                <a:lnTo>
                  <a:pt x="3056219" y="5412945"/>
                </a:lnTo>
                <a:cubicBezTo>
                  <a:pt x="3055290" y="5412945"/>
                  <a:pt x="3055445" y="5413771"/>
                  <a:pt x="3056374" y="5413771"/>
                </a:cubicBezTo>
                <a:cubicBezTo>
                  <a:pt x="3055600" y="5415113"/>
                  <a:pt x="3055135" y="5416249"/>
                  <a:pt x="3054671" y="5416765"/>
                </a:cubicBezTo>
                <a:cubicBezTo>
                  <a:pt x="3054051" y="5417385"/>
                  <a:pt x="3053431" y="5417385"/>
                  <a:pt x="3052502" y="5416559"/>
                </a:cubicBezTo>
                <a:cubicBezTo>
                  <a:pt x="3050643" y="5415836"/>
                  <a:pt x="3051263" y="5414081"/>
                  <a:pt x="3049404" y="5412429"/>
                </a:cubicBezTo>
                <a:cubicBezTo>
                  <a:pt x="3045686" y="5409951"/>
                  <a:pt x="3041505" y="5417282"/>
                  <a:pt x="3034069" y="5412429"/>
                </a:cubicBezTo>
                <a:cubicBezTo>
                  <a:pt x="3035618" y="5410674"/>
                  <a:pt x="3031591" y="5406440"/>
                  <a:pt x="3033759" y="5403652"/>
                </a:cubicBezTo>
                <a:cubicBezTo>
                  <a:pt x="3039181" y="5394565"/>
                  <a:pt x="3041969" y="5396217"/>
                  <a:pt x="3048320" y="5398489"/>
                </a:cubicBezTo>
                <a:cubicBezTo>
                  <a:pt x="3047390" y="5398489"/>
                  <a:pt x="3048320" y="5399315"/>
                  <a:pt x="3048320" y="5399315"/>
                </a:cubicBezTo>
                <a:cubicBezTo>
                  <a:pt x="3050333" y="5400967"/>
                  <a:pt x="3050333" y="5395701"/>
                  <a:pt x="3053122" y="5397250"/>
                </a:cubicBezTo>
                <a:lnTo>
                  <a:pt x="3053741" y="5398076"/>
                </a:lnTo>
                <a:lnTo>
                  <a:pt x="3054051" y="5398076"/>
                </a:lnTo>
                <a:lnTo>
                  <a:pt x="3056839" y="5395082"/>
                </a:lnTo>
                <a:lnTo>
                  <a:pt x="3056684" y="5395082"/>
                </a:lnTo>
                <a:lnTo>
                  <a:pt x="3056374" y="5395082"/>
                </a:lnTo>
                <a:cubicBezTo>
                  <a:pt x="3053122" y="5394565"/>
                  <a:pt x="3051572" y="5392500"/>
                  <a:pt x="3050798" y="5390745"/>
                </a:cubicBezTo>
                <a:lnTo>
                  <a:pt x="3050179" y="5388886"/>
                </a:lnTo>
                <a:lnTo>
                  <a:pt x="3048784" y="5387647"/>
                </a:lnTo>
                <a:lnTo>
                  <a:pt x="3049094" y="5388473"/>
                </a:lnTo>
                <a:cubicBezTo>
                  <a:pt x="3049249" y="5389196"/>
                  <a:pt x="3049559" y="5389506"/>
                  <a:pt x="3049559" y="5389506"/>
                </a:cubicBezTo>
                <a:cubicBezTo>
                  <a:pt x="3048939" y="5391364"/>
                  <a:pt x="3048010" y="5391364"/>
                  <a:pt x="3048939" y="5391364"/>
                </a:cubicBezTo>
                <a:cubicBezTo>
                  <a:pt x="3047545" y="5393223"/>
                  <a:pt x="3046151" y="5395805"/>
                  <a:pt x="3044448" y="5395082"/>
                </a:cubicBezTo>
                <a:cubicBezTo>
                  <a:pt x="3042279" y="5393533"/>
                  <a:pt x="3041659" y="5391261"/>
                  <a:pt x="3041814" y="5388783"/>
                </a:cubicBezTo>
                <a:lnTo>
                  <a:pt x="3043208" y="5383311"/>
                </a:lnTo>
                <a:lnTo>
                  <a:pt x="3040885" y="5384240"/>
                </a:lnTo>
                <a:cubicBezTo>
                  <a:pt x="3039955" y="5383930"/>
                  <a:pt x="3039026" y="5383001"/>
                  <a:pt x="3037942" y="5381968"/>
                </a:cubicBezTo>
                <a:cubicBezTo>
                  <a:pt x="3036858" y="5380832"/>
                  <a:pt x="3035463" y="5380419"/>
                  <a:pt x="3033759" y="5379180"/>
                </a:cubicBezTo>
                <a:cubicBezTo>
                  <a:pt x="3031746" y="5378561"/>
                  <a:pt x="3029732" y="5377941"/>
                  <a:pt x="3026944" y="5377838"/>
                </a:cubicBezTo>
                <a:cubicBezTo>
                  <a:pt x="3028648" y="5376806"/>
                  <a:pt x="3030661" y="5377528"/>
                  <a:pt x="3031746" y="5376289"/>
                </a:cubicBezTo>
                <a:cubicBezTo>
                  <a:pt x="3024001" y="5373914"/>
                  <a:pt x="3016566" y="5370094"/>
                  <a:pt x="3009131" y="5366273"/>
                </a:cubicBezTo>
                <a:cubicBezTo>
                  <a:pt x="3001851" y="5361833"/>
                  <a:pt x="2995190" y="5358219"/>
                  <a:pt x="2986671" y="5355535"/>
                </a:cubicBezTo>
                <a:cubicBezTo>
                  <a:pt x="2983263" y="5359045"/>
                  <a:pt x="2995500" y="5361317"/>
                  <a:pt x="2990079" y="5364931"/>
                </a:cubicBezTo>
                <a:cubicBezTo>
                  <a:pt x="2986516" y="5362349"/>
                  <a:pt x="2983728" y="5359871"/>
                  <a:pt x="2981559" y="5357703"/>
                </a:cubicBezTo>
                <a:lnTo>
                  <a:pt x="2976138" y="5351508"/>
                </a:lnTo>
                <a:lnTo>
                  <a:pt x="2974280" y="5352953"/>
                </a:lnTo>
                <a:cubicBezTo>
                  <a:pt x="2973195" y="5353470"/>
                  <a:pt x="2971956" y="5353779"/>
                  <a:pt x="2971026" y="5353366"/>
                </a:cubicBezTo>
                <a:cubicBezTo>
                  <a:pt x="2971026" y="5353366"/>
                  <a:pt x="2970872" y="5353263"/>
                  <a:pt x="2969942" y="5352850"/>
                </a:cubicBezTo>
                <a:cubicBezTo>
                  <a:pt x="2971026" y="5352334"/>
                  <a:pt x="2972421" y="5351817"/>
                  <a:pt x="2973814" y="5351404"/>
                </a:cubicBezTo>
                <a:lnTo>
                  <a:pt x="2975673" y="5350991"/>
                </a:lnTo>
                <a:lnTo>
                  <a:pt x="2975364" y="5350578"/>
                </a:lnTo>
                <a:cubicBezTo>
                  <a:pt x="2973040" y="5348720"/>
                  <a:pt x="2970717" y="5347068"/>
                  <a:pt x="2968083" y="5345725"/>
                </a:cubicBezTo>
                <a:lnTo>
                  <a:pt x="2964056" y="5344280"/>
                </a:lnTo>
                <a:lnTo>
                  <a:pt x="2965605" y="5345932"/>
                </a:lnTo>
                <a:cubicBezTo>
                  <a:pt x="2965450" y="5347893"/>
                  <a:pt x="2961888" y="5348823"/>
                  <a:pt x="2960184" y="5349959"/>
                </a:cubicBezTo>
                <a:cubicBezTo>
                  <a:pt x="2960029" y="5348720"/>
                  <a:pt x="2959874" y="5347481"/>
                  <a:pt x="2959409" y="5348307"/>
                </a:cubicBezTo>
                <a:cubicBezTo>
                  <a:pt x="2959254" y="5347068"/>
                  <a:pt x="2959409" y="5346138"/>
                  <a:pt x="2959719" y="5345312"/>
                </a:cubicBezTo>
                <a:lnTo>
                  <a:pt x="2961578" y="5343453"/>
                </a:lnTo>
                <a:lnTo>
                  <a:pt x="2959100" y="5342627"/>
                </a:lnTo>
                <a:cubicBezTo>
                  <a:pt x="2960029" y="5340976"/>
                  <a:pt x="2959874" y="5339426"/>
                  <a:pt x="2959409" y="5337878"/>
                </a:cubicBezTo>
                <a:lnTo>
                  <a:pt x="2958015" y="5333231"/>
                </a:lnTo>
                <a:lnTo>
                  <a:pt x="2957860" y="5333231"/>
                </a:lnTo>
                <a:lnTo>
                  <a:pt x="2956157" y="5333335"/>
                </a:lnTo>
                <a:cubicBezTo>
                  <a:pt x="2954143" y="5334264"/>
                  <a:pt x="2951974" y="5337052"/>
                  <a:pt x="2950115" y="5333024"/>
                </a:cubicBezTo>
                <a:cubicBezTo>
                  <a:pt x="2951355" y="5330650"/>
                  <a:pt x="2952749" y="5331992"/>
                  <a:pt x="2954298" y="5331889"/>
                </a:cubicBezTo>
                <a:lnTo>
                  <a:pt x="2955382" y="5331269"/>
                </a:lnTo>
                <a:lnTo>
                  <a:pt x="2955227" y="5330856"/>
                </a:lnTo>
                <a:lnTo>
                  <a:pt x="2955537" y="5330753"/>
                </a:lnTo>
                <a:lnTo>
                  <a:pt x="2949031" y="5326210"/>
                </a:lnTo>
                <a:cubicBezTo>
                  <a:pt x="2946863" y="5324351"/>
                  <a:pt x="2944849" y="5321976"/>
                  <a:pt x="2942061" y="5318466"/>
                </a:cubicBezTo>
                <a:cubicBezTo>
                  <a:pt x="2943300" y="5323319"/>
                  <a:pt x="2939273" y="5322183"/>
                  <a:pt x="2937724" y="5326933"/>
                </a:cubicBezTo>
                <a:cubicBezTo>
                  <a:pt x="2940512" y="5331476"/>
                  <a:pt x="2943920" y="5325797"/>
                  <a:pt x="2946863" y="5331992"/>
                </a:cubicBezTo>
                <a:lnTo>
                  <a:pt x="2945624" y="5331889"/>
                </a:lnTo>
                <a:lnTo>
                  <a:pt x="2947947" y="5333644"/>
                </a:lnTo>
                <a:cubicBezTo>
                  <a:pt x="2949651" y="5335400"/>
                  <a:pt x="2951200" y="5337465"/>
                  <a:pt x="2951665" y="5338807"/>
                </a:cubicBezTo>
                <a:cubicBezTo>
                  <a:pt x="2950580" y="5341285"/>
                  <a:pt x="2949031" y="5342421"/>
                  <a:pt x="2947172" y="5342627"/>
                </a:cubicBezTo>
                <a:cubicBezTo>
                  <a:pt x="2943300" y="5342937"/>
                  <a:pt x="2938963" y="5338394"/>
                  <a:pt x="2939737" y="5334264"/>
                </a:cubicBezTo>
                <a:lnTo>
                  <a:pt x="2941596" y="5331373"/>
                </a:lnTo>
                <a:lnTo>
                  <a:pt x="2938189" y="5329824"/>
                </a:lnTo>
                <a:cubicBezTo>
                  <a:pt x="2935246" y="5328275"/>
                  <a:pt x="2932302" y="5326726"/>
                  <a:pt x="2929359" y="5328069"/>
                </a:cubicBezTo>
                <a:cubicBezTo>
                  <a:pt x="2927346" y="5327449"/>
                  <a:pt x="2934006" y="5322802"/>
                  <a:pt x="2935710" y="5326313"/>
                </a:cubicBezTo>
                <a:cubicBezTo>
                  <a:pt x="2937259" y="5324971"/>
                  <a:pt x="2938189" y="5323319"/>
                  <a:pt x="2938498" y="5321563"/>
                </a:cubicBezTo>
                <a:lnTo>
                  <a:pt x="2937879" y="5318156"/>
                </a:lnTo>
                <a:lnTo>
                  <a:pt x="2934316" y="5318466"/>
                </a:lnTo>
                <a:cubicBezTo>
                  <a:pt x="2932922" y="5318259"/>
                  <a:pt x="2931838" y="5317536"/>
                  <a:pt x="2930908" y="5316504"/>
                </a:cubicBezTo>
                <a:lnTo>
                  <a:pt x="2930444" y="5315058"/>
                </a:lnTo>
                <a:lnTo>
                  <a:pt x="2925642" y="5315058"/>
                </a:lnTo>
                <a:cubicBezTo>
                  <a:pt x="2923783" y="5315265"/>
                  <a:pt x="2922079" y="5315265"/>
                  <a:pt x="2920375" y="5314025"/>
                </a:cubicBezTo>
                <a:cubicBezTo>
                  <a:pt x="2922389" y="5312374"/>
                  <a:pt x="2923473" y="5310721"/>
                  <a:pt x="2924093" y="5308656"/>
                </a:cubicBezTo>
                <a:lnTo>
                  <a:pt x="2925177" y="5302357"/>
                </a:lnTo>
                <a:lnTo>
                  <a:pt x="2917587" y="5302151"/>
                </a:lnTo>
                <a:close/>
                <a:moveTo>
                  <a:pt x="2431833" y="5300602"/>
                </a:moveTo>
                <a:cubicBezTo>
                  <a:pt x="2432917" y="5302254"/>
                  <a:pt x="2432297" y="5304010"/>
                  <a:pt x="2431678" y="5305765"/>
                </a:cubicBezTo>
                <a:cubicBezTo>
                  <a:pt x="2431058" y="5307108"/>
                  <a:pt x="2430284" y="5307623"/>
                  <a:pt x="2429354" y="5307520"/>
                </a:cubicBezTo>
                <a:cubicBezTo>
                  <a:pt x="2428580" y="5307520"/>
                  <a:pt x="2427650" y="5306901"/>
                  <a:pt x="2426566" y="5306075"/>
                </a:cubicBezTo>
                <a:cubicBezTo>
                  <a:pt x="2424707" y="5304423"/>
                  <a:pt x="2425327" y="5302668"/>
                  <a:pt x="2425327" y="5302668"/>
                </a:cubicBezTo>
                <a:cubicBezTo>
                  <a:pt x="2426566" y="5299983"/>
                  <a:pt x="2429045" y="5299053"/>
                  <a:pt x="2431833" y="5300602"/>
                </a:cubicBezTo>
                <a:close/>
                <a:moveTo>
                  <a:pt x="1963117" y="5299570"/>
                </a:moveTo>
                <a:cubicBezTo>
                  <a:pt x="1967764" y="5299156"/>
                  <a:pt x="1967764" y="5302048"/>
                  <a:pt x="1967918" y="5304733"/>
                </a:cubicBezTo>
                <a:cubicBezTo>
                  <a:pt x="1965750" y="5304423"/>
                  <a:pt x="1964976" y="5306591"/>
                  <a:pt x="1963581" y="5306694"/>
                </a:cubicBezTo>
                <a:cubicBezTo>
                  <a:pt x="1963117" y="5306694"/>
                  <a:pt x="1962652" y="5306488"/>
                  <a:pt x="1961878" y="5305868"/>
                </a:cubicBezTo>
                <a:cubicBezTo>
                  <a:pt x="1961258" y="5304319"/>
                  <a:pt x="1961413" y="5302357"/>
                  <a:pt x="1963117" y="5299570"/>
                </a:cubicBezTo>
                <a:close/>
                <a:moveTo>
                  <a:pt x="2699958" y="5299053"/>
                </a:moveTo>
                <a:cubicBezTo>
                  <a:pt x="2701507" y="5300809"/>
                  <a:pt x="2705070" y="5298227"/>
                  <a:pt x="2707393" y="5300912"/>
                </a:cubicBezTo>
                <a:cubicBezTo>
                  <a:pt x="2707238" y="5302668"/>
                  <a:pt x="2707083" y="5303493"/>
                  <a:pt x="2705999" y="5305249"/>
                </a:cubicBezTo>
                <a:cubicBezTo>
                  <a:pt x="2698719" y="5311341"/>
                  <a:pt x="2694846" y="5308656"/>
                  <a:pt x="2693917" y="5309585"/>
                </a:cubicBezTo>
                <a:cubicBezTo>
                  <a:pt x="2691594" y="5306798"/>
                  <a:pt x="2693452" y="5305146"/>
                  <a:pt x="2695466" y="5301635"/>
                </a:cubicBezTo>
                <a:cubicBezTo>
                  <a:pt x="2696240" y="5302461"/>
                  <a:pt x="2699028" y="5299879"/>
                  <a:pt x="2699958" y="5299053"/>
                </a:cubicBezTo>
                <a:close/>
                <a:moveTo>
                  <a:pt x="2412161" y="5296782"/>
                </a:moveTo>
                <a:cubicBezTo>
                  <a:pt x="2412161" y="5296782"/>
                  <a:pt x="2412161" y="5296782"/>
                  <a:pt x="2412935" y="5298537"/>
                </a:cubicBezTo>
                <a:cubicBezTo>
                  <a:pt x="2412781" y="5299466"/>
                  <a:pt x="2412625" y="5300396"/>
                  <a:pt x="2411696" y="5301325"/>
                </a:cubicBezTo>
                <a:cubicBezTo>
                  <a:pt x="2410767" y="5302151"/>
                  <a:pt x="2409063" y="5302151"/>
                  <a:pt x="2408134" y="5302151"/>
                </a:cubicBezTo>
                <a:cubicBezTo>
                  <a:pt x="2408288" y="5301222"/>
                  <a:pt x="2407359" y="5301222"/>
                  <a:pt x="2407514" y="5300292"/>
                </a:cubicBezTo>
                <a:cubicBezTo>
                  <a:pt x="2406894" y="5298537"/>
                  <a:pt x="2406894" y="5298537"/>
                  <a:pt x="2407823" y="5297608"/>
                </a:cubicBezTo>
                <a:cubicBezTo>
                  <a:pt x="2408753" y="5296679"/>
                  <a:pt x="2411231" y="5297608"/>
                  <a:pt x="2412161" y="5296782"/>
                </a:cubicBezTo>
                <a:close/>
                <a:moveTo>
                  <a:pt x="2811019" y="5296575"/>
                </a:moveTo>
                <a:cubicBezTo>
                  <a:pt x="2811483" y="5297505"/>
                  <a:pt x="2811948" y="5298744"/>
                  <a:pt x="2812103" y="5300086"/>
                </a:cubicBezTo>
                <a:lnTo>
                  <a:pt x="2811328" y="5302254"/>
                </a:lnTo>
                <a:lnTo>
                  <a:pt x="2812567" y="5302461"/>
                </a:lnTo>
                <a:cubicBezTo>
                  <a:pt x="2815201" y="5304319"/>
                  <a:pt x="2817060" y="5308553"/>
                  <a:pt x="2814891" y="5312477"/>
                </a:cubicBezTo>
                <a:cubicBezTo>
                  <a:pt x="2813187" y="5312890"/>
                  <a:pt x="2811638" y="5312786"/>
                  <a:pt x="2810244" y="5312683"/>
                </a:cubicBezTo>
                <a:cubicBezTo>
                  <a:pt x="2809005" y="5312580"/>
                  <a:pt x="2807920" y="5312374"/>
                  <a:pt x="2806991" y="5312270"/>
                </a:cubicBezTo>
                <a:cubicBezTo>
                  <a:pt x="2806217" y="5309792"/>
                  <a:pt x="2805133" y="5308140"/>
                  <a:pt x="2804513" y="5305765"/>
                </a:cubicBezTo>
                <a:lnTo>
                  <a:pt x="2804668" y="5305455"/>
                </a:lnTo>
                <a:lnTo>
                  <a:pt x="2804513" y="5305352"/>
                </a:lnTo>
                <a:cubicBezTo>
                  <a:pt x="2803429" y="5304216"/>
                  <a:pt x="2802964" y="5303287"/>
                  <a:pt x="2803119" y="5302357"/>
                </a:cubicBezTo>
                <a:cubicBezTo>
                  <a:pt x="2803274" y="5301325"/>
                  <a:pt x="2804048" y="5300396"/>
                  <a:pt x="2804978" y="5299156"/>
                </a:cubicBezTo>
                <a:cubicBezTo>
                  <a:pt x="2806836" y="5296782"/>
                  <a:pt x="2809315" y="5298124"/>
                  <a:pt x="2811019" y="5296575"/>
                </a:cubicBezTo>
                <a:close/>
                <a:moveTo>
                  <a:pt x="1702891" y="5295956"/>
                </a:moveTo>
                <a:cubicBezTo>
                  <a:pt x="1704285" y="5297814"/>
                  <a:pt x="1706609" y="5300396"/>
                  <a:pt x="1704595" y="5303080"/>
                </a:cubicBezTo>
                <a:cubicBezTo>
                  <a:pt x="1703820" y="5302977"/>
                  <a:pt x="1703665" y="5303907"/>
                  <a:pt x="1702891" y="5303907"/>
                </a:cubicBezTo>
                <a:cubicBezTo>
                  <a:pt x="1702891" y="5303907"/>
                  <a:pt x="1701962" y="5304319"/>
                  <a:pt x="1700722" y="5304423"/>
                </a:cubicBezTo>
                <a:cubicBezTo>
                  <a:pt x="1699484" y="5304526"/>
                  <a:pt x="1697934" y="5304216"/>
                  <a:pt x="1696385" y="5302874"/>
                </a:cubicBezTo>
                <a:cubicBezTo>
                  <a:pt x="1696076" y="5302461"/>
                  <a:pt x="1695456" y="5301532"/>
                  <a:pt x="1695146" y="5300809"/>
                </a:cubicBezTo>
                <a:cubicBezTo>
                  <a:pt x="1694836" y="5299983"/>
                  <a:pt x="1694681" y="5299363"/>
                  <a:pt x="1695146" y="5299363"/>
                </a:cubicBezTo>
                <a:cubicBezTo>
                  <a:pt x="1695920" y="5298537"/>
                  <a:pt x="1695146" y="5298537"/>
                  <a:pt x="1695146" y="5297608"/>
                </a:cubicBezTo>
                <a:cubicBezTo>
                  <a:pt x="1697934" y="5295026"/>
                  <a:pt x="1700568" y="5294200"/>
                  <a:pt x="1702891" y="5295956"/>
                </a:cubicBezTo>
                <a:close/>
                <a:moveTo>
                  <a:pt x="2649348" y="5295895"/>
                </a:moveTo>
                <a:cubicBezTo>
                  <a:pt x="2651843" y="5295162"/>
                  <a:pt x="2654186" y="5295285"/>
                  <a:pt x="2655967" y="5296679"/>
                </a:cubicBezTo>
                <a:lnTo>
                  <a:pt x="2652870" y="5299570"/>
                </a:lnTo>
                <a:lnTo>
                  <a:pt x="2653334" y="5299466"/>
                </a:lnTo>
                <a:cubicBezTo>
                  <a:pt x="2657052" y="5303803"/>
                  <a:pt x="2655658" y="5307004"/>
                  <a:pt x="2651011" y="5309379"/>
                </a:cubicBezTo>
                <a:cubicBezTo>
                  <a:pt x="2649462" y="5308140"/>
                  <a:pt x="2647913" y="5307830"/>
                  <a:pt x="2645435" y="5306384"/>
                </a:cubicBezTo>
                <a:lnTo>
                  <a:pt x="2645744" y="5305972"/>
                </a:lnTo>
                <a:lnTo>
                  <a:pt x="2640633" y="5310515"/>
                </a:lnTo>
                <a:cubicBezTo>
                  <a:pt x="2638619" y="5311960"/>
                  <a:pt x="2636451" y="5313200"/>
                  <a:pt x="2633817" y="5314335"/>
                </a:cubicBezTo>
                <a:cubicBezTo>
                  <a:pt x="2633004" y="5307985"/>
                  <a:pt x="2641862" y="5298092"/>
                  <a:pt x="2649348" y="5295895"/>
                </a:cubicBezTo>
                <a:close/>
                <a:moveTo>
                  <a:pt x="2857488" y="5295646"/>
                </a:moveTo>
                <a:cubicBezTo>
                  <a:pt x="2859036" y="5297711"/>
                  <a:pt x="2862134" y="5299879"/>
                  <a:pt x="2861050" y="5303184"/>
                </a:cubicBezTo>
                <a:cubicBezTo>
                  <a:pt x="2859966" y="5301738"/>
                  <a:pt x="2857488" y="5299053"/>
                  <a:pt x="2857023" y="5297195"/>
                </a:cubicBezTo>
                <a:cubicBezTo>
                  <a:pt x="2856868" y="5296575"/>
                  <a:pt x="2857023" y="5296059"/>
                  <a:pt x="2857488" y="5295646"/>
                </a:cubicBezTo>
                <a:close/>
                <a:moveTo>
                  <a:pt x="2724586" y="5293890"/>
                </a:moveTo>
                <a:lnTo>
                  <a:pt x="2725516" y="5295440"/>
                </a:lnTo>
                <a:lnTo>
                  <a:pt x="2726290" y="5293890"/>
                </a:lnTo>
                <a:cubicBezTo>
                  <a:pt x="2737908" y="5308140"/>
                  <a:pt x="2730937" y="5322492"/>
                  <a:pt x="2724122" y="5336948"/>
                </a:cubicBezTo>
                <a:cubicBezTo>
                  <a:pt x="2713589" y="5331063"/>
                  <a:pt x="2715448" y="5316917"/>
                  <a:pt x="2720559" y="5304836"/>
                </a:cubicBezTo>
                <a:lnTo>
                  <a:pt x="2722573" y="5300809"/>
                </a:lnTo>
                <a:lnTo>
                  <a:pt x="2720404" y="5299466"/>
                </a:lnTo>
                <a:lnTo>
                  <a:pt x="2720404" y="5299156"/>
                </a:lnTo>
                <a:lnTo>
                  <a:pt x="2719940" y="5299156"/>
                </a:lnTo>
                <a:cubicBezTo>
                  <a:pt x="2719630" y="5299053"/>
                  <a:pt x="2719320" y="5298950"/>
                  <a:pt x="2719010" y="5299156"/>
                </a:cubicBezTo>
                <a:cubicBezTo>
                  <a:pt x="2719010" y="5299156"/>
                  <a:pt x="2718700" y="5298434"/>
                  <a:pt x="2718700" y="5298434"/>
                </a:cubicBezTo>
                <a:cubicBezTo>
                  <a:pt x="2718391" y="5298537"/>
                  <a:pt x="2718391" y="5298641"/>
                  <a:pt x="2718546" y="5298331"/>
                </a:cubicBezTo>
                <a:cubicBezTo>
                  <a:pt x="2718546" y="5298021"/>
                  <a:pt x="2718855" y="5297505"/>
                  <a:pt x="2718855" y="5296472"/>
                </a:cubicBezTo>
                <a:cubicBezTo>
                  <a:pt x="2719320" y="5295440"/>
                  <a:pt x="2719010" y="5294613"/>
                  <a:pt x="2720095" y="5295026"/>
                </a:cubicBezTo>
                <a:cubicBezTo>
                  <a:pt x="2720559" y="5295233"/>
                  <a:pt x="2720869" y="5295336"/>
                  <a:pt x="2721024" y="5295646"/>
                </a:cubicBezTo>
                <a:lnTo>
                  <a:pt x="2721334" y="5296162"/>
                </a:lnTo>
                <a:close/>
                <a:moveTo>
                  <a:pt x="1829596" y="5293787"/>
                </a:moveTo>
                <a:cubicBezTo>
                  <a:pt x="1832694" y="5296472"/>
                  <a:pt x="1834553" y="5293890"/>
                  <a:pt x="1839200" y="5298331"/>
                </a:cubicBezTo>
                <a:cubicBezTo>
                  <a:pt x="1845396" y="5303597"/>
                  <a:pt x="1843072" y="5309689"/>
                  <a:pt x="1840284" y="5313096"/>
                </a:cubicBezTo>
                <a:cubicBezTo>
                  <a:pt x="1839664" y="5312477"/>
                  <a:pt x="1835792" y="5317123"/>
                  <a:pt x="1830835" y="5316813"/>
                </a:cubicBezTo>
                <a:cubicBezTo>
                  <a:pt x="1829287" y="5316710"/>
                  <a:pt x="1827582" y="5316090"/>
                  <a:pt x="1825879" y="5314542"/>
                </a:cubicBezTo>
                <a:cubicBezTo>
                  <a:pt x="1824949" y="5313716"/>
                  <a:pt x="1824020" y="5312683"/>
                  <a:pt x="1823246" y="5311651"/>
                </a:cubicBezTo>
                <a:cubicBezTo>
                  <a:pt x="1821232" y="5308346"/>
                  <a:pt x="1820768" y="5304113"/>
                  <a:pt x="1825724" y="5298950"/>
                </a:cubicBezTo>
                <a:cubicBezTo>
                  <a:pt x="1826809" y="5297195"/>
                  <a:pt x="1826654" y="5298124"/>
                  <a:pt x="1827582" y="5297195"/>
                </a:cubicBezTo>
                <a:cubicBezTo>
                  <a:pt x="1828512" y="5296369"/>
                  <a:pt x="1829596" y="5294717"/>
                  <a:pt x="1829596" y="5293787"/>
                </a:cubicBezTo>
                <a:close/>
                <a:moveTo>
                  <a:pt x="1706454" y="5292755"/>
                </a:moveTo>
                <a:cubicBezTo>
                  <a:pt x="1707228" y="5293581"/>
                  <a:pt x="1708003" y="5295233"/>
                  <a:pt x="1707073" y="5296059"/>
                </a:cubicBezTo>
                <a:cubicBezTo>
                  <a:pt x="1706454" y="5296885"/>
                  <a:pt x="1706144" y="5296885"/>
                  <a:pt x="1705524" y="5296575"/>
                </a:cubicBezTo>
                <a:cubicBezTo>
                  <a:pt x="1705059" y="5296265"/>
                  <a:pt x="1704595" y="5295646"/>
                  <a:pt x="1703665" y="5295233"/>
                </a:cubicBezTo>
                <a:close/>
                <a:moveTo>
                  <a:pt x="2324644" y="5292239"/>
                </a:moveTo>
                <a:cubicBezTo>
                  <a:pt x="2324179" y="5298227"/>
                  <a:pt x="2327587" y="5301222"/>
                  <a:pt x="2324799" y="5305662"/>
                </a:cubicBezTo>
                <a:cubicBezTo>
                  <a:pt x="2316280" y="5306694"/>
                  <a:pt x="2313337" y="5296162"/>
                  <a:pt x="2317674" y="5292651"/>
                </a:cubicBezTo>
                <a:cubicBezTo>
                  <a:pt x="2319223" y="5291516"/>
                  <a:pt x="2321546" y="5291103"/>
                  <a:pt x="2324644" y="5292239"/>
                </a:cubicBezTo>
                <a:close/>
                <a:moveTo>
                  <a:pt x="2791347" y="5290483"/>
                </a:moveTo>
                <a:cubicBezTo>
                  <a:pt x="2794290" y="5292961"/>
                  <a:pt x="2792276" y="5295130"/>
                  <a:pt x="2790418" y="5297298"/>
                </a:cubicBezTo>
                <a:cubicBezTo>
                  <a:pt x="2788868" y="5296059"/>
                  <a:pt x="2787164" y="5296575"/>
                  <a:pt x="2785925" y="5293581"/>
                </a:cubicBezTo>
                <a:cubicBezTo>
                  <a:pt x="2787784" y="5292342"/>
                  <a:pt x="2789488" y="5291825"/>
                  <a:pt x="2791347" y="5290483"/>
                </a:cubicBezTo>
                <a:close/>
                <a:moveTo>
                  <a:pt x="1716057" y="5289244"/>
                </a:moveTo>
                <a:cubicBezTo>
                  <a:pt x="1716832" y="5289347"/>
                  <a:pt x="1716832" y="5290174"/>
                  <a:pt x="1717606" y="5290999"/>
                </a:cubicBezTo>
                <a:cubicBezTo>
                  <a:pt x="1718226" y="5292755"/>
                  <a:pt x="1717916" y="5295336"/>
                  <a:pt x="1716987" y="5296162"/>
                </a:cubicBezTo>
                <a:cubicBezTo>
                  <a:pt x="1716057" y="5296988"/>
                  <a:pt x="1715283" y="5296988"/>
                  <a:pt x="1715283" y="5296988"/>
                </a:cubicBezTo>
                <a:cubicBezTo>
                  <a:pt x="1714043" y="5296059"/>
                  <a:pt x="1713115" y="5295026"/>
                  <a:pt x="1712960" y="5293787"/>
                </a:cubicBezTo>
                <a:cubicBezTo>
                  <a:pt x="1712649" y="5292651"/>
                  <a:pt x="1712960" y="5291412"/>
                  <a:pt x="1714353" y="5290174"/>
                </a:cubicBezTo>
                <a:cubicBezTo>
                  <a:pt x="1715283" y="5289244"/>
                  <a:pt x="1716212" y="5288418"/>
                  <a:pt x="1716057" y="5289244"/>
                </a:cubicBezTo>
                <a:close/>
                <a:moveTo>
                  <a:pt x="2453363" y="5283772"/>
                </a:moveTo>
                <a:cubicBezTo>
                  <a:pt x="2456616" y="5291929"/>
                  <a:pt x="2450110" y="5302151"/>
                  <a:pt x="2445463" y="5306281"/>
                </a:cubicBezTo>
                <a:cubicBezTo>
                  <a:pt x="2442366" y="5298227"/>
                  <a:pt x="2447787" y="5286663"/>
                  <a:pt x="2453363" y="5283772"/>
                </a:cubicBezTo>
                <a:close/>
                <a:moveTo>
                  <a:pt x="2386603" y="5283358"/>
                </a:moveTo>
                <a:cubicBezTo>
                  <a:pt x="2386603" y="5283358"/>
                  <a:pt x="2386603" y="5283358"/>
                  <a:pt x="2387377" y="5283358"/>
                </a:cubicBezTo>
                <a:cubicBezTo>
                  <a:pt x="2386293" y="5286869"/>
                  <a:pt x="2386603" y="5291309"/>
                  <a:pt x="2384744" y="5293890"/>
                </a:cubicBezTo>
                <a:cubicBezTo>
                  <a:pt x="2384279" y="5294407"/>
                  <a:pt x="2383815" y="5294820"/>
                  <a:pt x="2383195" y="5294923"/>
                </a:cubicBezTo>
                <a:cubicBezTo>
                  <a:pt x="2382730" y="5295026"/>
                  <a:pt x="2382111" y="5294717"/>
                  <a:pt x="2381336" y="5293890"/>
                </a:cubicBezTo>
                <a:cubicBezTo>
                  <a:pt x="2380562" y="5293374"/>
                  <a:pt x="2380252" y="5292961"/>
                  <a:pt x="2380252" y="5292342"/>
                </a:cubicBezTo>
                <a:cubicBezTo>
                  <a:pt x="2380407" y="5291619"/>
                  <a:pt x="2380872" y="5290793"/>
                  <a:pt x="2381801" y="5289450"/>
                </a:cubicBezTo>
                <a:cubicBezTo>
                  <a:pt x="2383660" y="5287798"/>
                  <a:pt x="2384744" y="5285940"/>
                  <a:pt x="2385519" y="5286043"/>
                </a:cubicBezTo>
                <a:cubicBezTo>
                  <a:pt x="2385673" y="5285114"/>
                  <a:pt x="2386448" y="5284184"/>
                  <a:pt x="2386603" y="5283358"/>
                </a:cubicBezTo>
                <a:close/>
                <a:moveTo>
                  <a:pt x="2618483" y="5283049"/>
                </a:moveTo>
                <a:cubicBezTo>
                  <a:pt x="2623129" y="5289141"/>
                  <a:pt x="2615539" y="5297091"/>
                  <a:pt x="2609034" y="5301325"/>
                </a:cubicBezTo>
                <a:lnTo>
                  <a:pt x="2607175" y="5302254"/>
                </a:lnTo>
                <a:lnTo>
                  <a:pt x="2607330" y="5302668"/>
                </a:lnTo>
                <a:cubicBezTo>
                  <a:pt x="2606246" y="5304423"/>
                  <a:pt x="2604387" y="5304526"/>
                  <a:pt x="2602528" y="5304733"/>
                </a:cubicBezTo>
                <a:cubicBezTo>
                  <a:pt x="2601134" y="5304629"/>
                  <a:pt x="2600205" y="5304113"/>
                  <a:pt x="2600050" y="5303287"/>
                </a:cubicBezTo>
                <a:cubicBezTo>
                  <a:pt x="2599740" y="5302461"/>
                  <a:pt x="2599895" y="5301428"/>
                  <a:pt x="2600205" y="5300189"/>
                </a:cubicBezTo>
                <a:cubicBezTo>
                  <a:pt x="2600979" y="5297814"/>
                  <a:pt x="2602838" y="5297608"/>
                  <a:pt x="2602838" y="5297608"/>
                </a:cubicBezTo>
                <a:lnTo>
                  <a:pt x="2606091" y="5298950"/>
                </a:lnTo>
                <a:lnTo>
                  <a:pt x="2609653" y="5292239"/>
                </a:lnTo>
                <a:cubicBezTo>
                  <a:pt x="2612132" y="5288212"/>
                  <a:pt x="2615075" y="5284701"/>
                  <a:pt x="2618483" y="5283049"/>
                </a:cubicBezTo>
                <a:close/>
                <a:moveTo>
                  <a:pt x="1985887" y="5281500"/>
                </a:moveTo>
                <a:cubicBezTo>
                  <a:pt x="1986506" y="5282326"/>
                  <a:pt x="1987281" y="5282326"/>
                  <a:pt x="1986351" y="5284081"/>
                </a:cubicBezTo>
                <a:cubicBezTo>
                  <a:pt x="1986196" y="5284907"/>
                  <a:pt x="1985267" y="5285733"/>
                  <a:pt x="1985267" y="5286663"/>
                </a:cubicBezTo>
                <a:cubicBezTo>
                  <a:pt x="1985267" y="5286663"/>
                  <a:pt x="1984648" y="5286869"/>
                  <a:pt x="1983873" y="5286973"/>
                </a:cubicBezTo>
                <a:cubicBezTo>
                  <a:pt x="1983098" y="5287076"/>
                  <a:pt x="1982324" y="5287076"/>
                  <a:pt x="1982014" y="5286663"/>
                </a:cubicBezTo>
                <a:cubicBezTo>
                  <a:pt x="1981549" y="5286456"/>
                  <a:pt x="1981394" y="5286043"/>
                  <a:pt x="1981394" y="5285630"/>
                </a:cubicBezTo>
                <a:cubicBezTo>
                  <a:pt x="1981549" y="5284494"/>
                  <a:pt x="1983098" y="5282945"/>
                  <a:pt x="1983254" y="5282222"/>
                </a:cubicBezTo>
                <a:cubicBezTo>
                  <a:pt x="1984182" y="5281397"/>
                  <a:pt x="1985112" y="5280571"/>
                  <a:pt x="1985887" y="5281500"/>
                </a:cubicBezTo>
                <a:close/>
                <a:moveTo>
                  <a:pt x="2677963" y="5279022"/>
                </a:moveTo>
                <a:cubicBezTo>
                  <a:pt x="2680751" y="5277989"/>
                  <a:pt x="2686017" y="5280571"/>
                  <a:pt x="2686482" y="5283978"/>
                </a:cubicBezTo>
                <a:cubicBezTo>
                  <a:pt x="2686637" y="5285114"/>
                  <a:pt x="2686327" y="5286353"/>
                  <a:pt x="2685088" y="5287592"/>
                </a:cubicBezTo>
                <a:cubicBezTo>
                  <a:pt x="2684004" y="5288315"/>
                  <a:pt x="2683075" y="5288728"/>
                  <a:pt x="2682300" y="5288831"/>
                </a:cubicBezTo>
                <a:cubicBezTo>
                  <a:pt x="2679667" y="5289141"/>
                  <a:pt x="2677498" y="5286869"/>
                  <a:pt x="2675484" y="5284081"/>
                </a:cubicBezTo>
                <a:cubicBezTo>
                  <a:pt x="2676569" y="5282429"/>
                  <a:pt x="2676878" y="5280674"/>
                  <a:pt x="2677963" y="5279022"/>
                </a:cubicBezTo>
                <a:close/>
                <a:moveTo>
                  <a:pt x="2629171" y="5277989"/>
                </a:moveTo>
                <a:cubicBezTo>
                  <a:pt x="2630874" y="5277163"/>
                  <a:pt x="2633662" y="5275408"/>
                  <a:pt x="2636915" y="5278092"/>
                </a:cubicBezTo>
                <a:cubicBezTo>
                  <a:pt x="2637690" y="5279022"/>
                  <a:pt x="2637690" y="5279022"/>
                  <a:pt x="2637535" y="5279951"/>
                </a:cubicBezTo>
                <a:cubicBezTo>
                  <a:pt x="2638154" y="5281706"/>
                  <a:pt x="2639084" y="5282532"/>
                  <a:pt x="2637999" y="5284288"/>
                </a:cubicBezTo>
                <a:cubicBezTo>
                  <a:pt x="2636915" y="5285630"/>
                  <a:pt x="2636141" y="5286043"/>
                  <a:pt x="2635211" y="5285940"/>
                </a:cubicBezTo>
                <a:cubicBezTo>
                  <a:pt x="2634127" y="5285837"/>
                  <a:pt x="2633198" y="5285114"/>
                  <a:pt x="2631959" y="5284184"/>
                </a:cubicBezTo>
                <a:cubicBezTo>
                  <a:pt x="2630719" y="5283255"/>
                  <a:pt x="2630410" y="5282222"/>
                  <a:pt x="2630255" y="5281087"/>
                </a:cubicBezTo>
                <a:cubicBezTo>
                  <a:pt x="2630100" y="5279951"/>
                  <a:pt x="2629945" y="5278918"/>
                  <a:pt x="2629171" y="5277989"/>
                </a:cubicBezTo>
                <a:close/>
                <a:moveTo>
                  <a:pt x="2410611" y="5276750"/>
                </a:moveTo>
                <a:cubicBezTo>
                  <a:pt x="2410611" y="5276750"/>
                  <a:pt x="2410767" y="5277989"/>
                  <a:pt x="2411541" y="5278402"/>
                </a:cubicBezTo>
                <a:cubicBezTo>
                  <a:pt x="2411541" y="5278402"/>
                  <a:pt x="2411696" y="5279538"/>
                  <a:pt x="2411851" y="5280674"/>
                </a:cubicBezTo>
                <a:cubicBezTo>
                  <a:pt x="2411851" y="5280674"/>
                  <a:pt x="2412625" y="5281087"/>
                  <a:pt x="2413245" y="5281500"/>
                </a:cubicBezTo>
                <a:cubicBezTo>
                  <a:pt x="2414329" y="5284288"/>
                  <a:pt x="2415258" y="5285940"/>
                  <a:pt x="2412625" y="5288418"/>
                </a:cubicBezTo>
                <a:cubicBezTo>
                  <a:pt x="2412315" y="5288212"/>
                  <a:pt x="2412006" y="5287592"/>
                  <a:pt x="2411851" y="5286766"/>
                </a:cubicBezTo>
                <a:cubicBezTo>
                  <a:pt x="2411696" y="5285940"/>
                  <a:pt x="2411541" y="5285114"/>
                  <a:pt x="2411386" y="5284494"/>
                </a:cubicBezTo>
                <a:cubicBezTo>
                  <a:pt x="2410767" y="5284081"/>
                  <a:pt x="2410457" y="5282945"/>
                  <a:pt x="2410922" y="5282222"/>
                </a:cubicBezTo>
                <a:cubicBezTo>
                  <a:pt x="2410922" y="5282222"/>
                  <a:pt x="2410767" y="5280983"/>
                  <a:pt x="2410147" y="5280571"/>
                </a:cubicBezTo>
                <a:cubicBezTo>
                  <a:pt x="2409682" y="5278196"/>
                  <a:pt x="2410147" y="5277473"/>
                  <a:pt x="2410611" y="5276750"/>
                </a:cubicBezTo>
                <a:close/>
                <a:moveTo>
                  <a:pt x="2695776" y="5273136"/>
                </a:moveTo>
                <a:cubicBezTo>
                  <a:pt x="2700423" y="5276853"/>
                  <a:pt x="2701507" y="5281500"/>
                  <a:pt x="2702436" y="5286146"/>
                </a:cubicBezTo>
                <a:cubicBezTo>
                  <a:pt x="2700887" y="5288521"/>
                  <a:pt x="2699493" y="5289450"/>
                  <a:pt x="2698254" y="5289554"/>
                </a:cubicBezTo>
                <a:cubicBezTo>
                  <a:pt x="2694537" y="5289760"/>
                  <a:pt x="2691903" y="5281706"/>
                  <a:pt x="2689270" y="5277783"/>
                </a:cubicBezTo>
                <a:cubicBezTo>
                  <a:pt x="2691284" y="5274685"/>
                  <a:pt x="2692368" y="5274065"/>
                  <a:pt x="2695776" y="5273136"/>
                </a:cubicBezTo>
                <a:close/>
                <a:moveTo>
                  <a:pt x="2373591" y="5271897"/>
                </a:moveTo>
                <a:lnTo>
                  <a:pt x="2374366" y="5273239"/>
                </a:lnTo>
                <a:lnTo>
                  <a:pt x="2377464" y="5273755"/>
                </a:lnTo>
                <a:cubicBezTo>
                  <a:pt x="2379322" y="5272930"/>
                  <a:pt x="2380252" y="5271278"/>
                  <a:pt x="2381956" y="5272104"/>
                </a:cubicBezTo>
                <a:cubicBezTo>
                  <a:pt x="2379168" y="5273755"/>
                  <a:pt x="2378238" y="5274582"/>
                  <a:pt x="2376534" y="5275408"/>
                </a:cubicBezTo>
                <a:lnTo>
                  <a:pt x="2376070" y="5276544"/>
                </a:lnTo>
                <a:lnTo>
                  <a:pt x="2376070" y="5276750"/>
                </a:lnTo>
                <a:lnTo>
                  <a:pt x="2375760" y="5277060"/>
                </a:lnTo>
                <a:lnTo>
                  <a:pt x="2375450" y="5277989"/>
                </a:lnTo>
                <a:lnTo>
                  <a:pt x="2374986" y="5278092"/>
                </a:lnTo>
                <a:lnTo>
                  <a:pt x="2373902" y="5280261"/>
                </a:lnTo>
                <a:cubicBezTo>
                  <a:pt x="2373127" y="5282119"/>
                  <a:pt x="2372352" y="5283978"/>
                  <a:pt x="2372352" y="5283978"/>
                </a:cubicBezTo>
                <a:cubicBezTo>
                  <a:pt x="2371268" y="5284288"/>
                  <a:pt x="2370648" y="5284494"/>
                  <a:pt x="2370184" y="5284288"/>
                </a:cubicBezTo>
                <a:cubicBezTo>
                  <a:pt x="2369874" y="5283978"/>
                  <a:pt x="2369564" y="5283358"/>
                  <a:pt x="2369099" y="5281913"/>
                </a:cubicBezTo>
                <a:lnTo>
                  <a:pt x="2369719" y="5278609"/>
                </a:lnTo>
                <a:lnTo>
                  <a:pt x="2369409" y="5277783"/>
                </a:lnTo>
                <a:cubicBezTo>
                  <a:pt x="2369409" y="5277060"/>
                  <a:pt x="2369719" y="5276234"/>
                  <a:pt x="2370648" y="5275305"/>
                </a:cubicBezTo>
                <a:lnTo>
                  <a:pt x="2371578" y="5274788"/>
                </a:lnTo>
                <a:close/>
                <a:moveTo>
                  <a:pt x="2711575" y="5269522"/>
                </a:moveTo>
                <a:cubicBezTo>
                  <a:pt x="2714518" y="5269729"/>
                  <a:pt x="2714673" y="5272826"/>
                  <a:pt x="2715912" y="5276234"/>
                </a:cubicBezTo>
                <a:cubicBezTo>
                  <a:pt x="2714828" y="5275924"/>
                  <a:pt x="2714518" y="5277060"/>
                  <a:pt x="2714364" y="5278299"/>
                </a:cubicBezTo>
                <a:cubicBezTo>
                  <a:pt x="2713434" y="5277989"/>
                  <a:pt x="2712350" y="5277783"/>
                  <a:pt x="2711265" y="5277370"/>
                </a:cubicBezTo>
                <a:lnTo>
                  <a:pt x="2709717" y="5276027"/>
                </a:lnTo>
                <a:lnTo>
                  <a:pt x="2711421" y="5279848"/>
                </a:lnTo>
                <a:cubicBezTo>
                  <a:pt x="2709871" y="5282326"/>
                  <a:pt x="2712505" y="5286766"/>
                  <a:pt x="2710181" y="5290174"/>
                </a:cubicBezTo>
                <a:cubicBezTo>
                  <a:pt x="2704915" y="5286456"/>
                  <a:pt x="2704295" y="5272516"/>
                  <a:pt x="2706773" y="5270039"/>
                </a:cubicBezTo>
                <a:lnTo>
                  <a:pt x="2708787" y="5273962"/>
                </a:lnTo>
                <a:lnTo>
                  <a:pt x="2708632" y="5272516"/>
                </a:lnTo>
                <a:cubicBezTo>
                  <a:pt x="2708167" y="5271794"/>
                  <a:pt x="2710336" y="5269212"/>
                  <a:pt x="2711575" y="5269522"/>
                </a:cubicBezTo>
                <a:close/>
                <a:moveTo>
                  <a:pt x="2296918" y="5268077"/>
                </a:moveTo>
                <a:cubicBezTo>
                  <a:pt x="2299551" y="5266424"/>
                  <a:pt x="2305747" y="5270761"/>
                  <a:pt x="2307915" y="5273343"/>
                </a:cubicBezTo>
                <a:cubicBezTo>
                  <a:pt x="2307296" y="5273755"/>
                  <a:pt x="2306366" y="5273859"/>
                  <a:pt x="2305437" y="5273652"/>
                </a:cubicBezTo>
                <a:cubicBezTo>
                  <a:pt x="2302494" y="5272930"/>
                  <a:pt x="2298622" y="5270039"/>
                  <a:pt x="2296918" y="5268077"/>
                </a:cubicBezTo>
                <a:close/>
                <a:moveTo>
                  <a:pt x="2441436" y="5266424"/>
                </a:moveTo>
                <a:cubicBezTo>
                  <a:pt x="2441436" y="5266424"/>
                  <a:pt x="2441591" y="5267663"/>
                  <a:pt x="2441901" y="5268799"/>
                </a:cubicBezTo>
                <a:cubicBezTo>
                  <a:pt x="2442056" y="5270039"/>
                  <a:pt x="2442056" y="5270039"/>
                  <a:pt x="2443140" y="5269729"/>
                </a:cubicBezTo>
                <a:cubicBezTo>
                  <a:pt x="2443450" y="5270968"/>
                  <a:pt x="2443450" y="5270968"/>
                  <a:pt x="2442366" y="5272413"/>
                </a:cubicBezTo>
                <a:cubicBezTo>
                  <a:pt x="2442211" y="5271278"/>
                  <a:pt x="2440197" y="5266734"/>
                  <a:pt x="2441436" y="5266424"/>
                </a:cubicBezTo>
                <a:close/>
                <a:moveTo>
                  <a:pt x="2633972" y="5265082"/>
                </a:moveTo>
                <a:cubicBezTo>
                  <a:pt x="2635211" y="5264772"/>
                  <a:pt x="2636296" y="5264463"/>
                  <a:pt x="2636605" y="5265702"/>
                </a:cubicBezTo>
                <a:cubicBezTo>
                  <a:pt x="2636605" y="5265702"/>
                  <a:pt x="2635986" y="5266424"/>
                  <a:pt x="2633662" y="5267044"/>
                </a:cubicBezTo>
                <a:cubicBezTo>
                  <a:pt x="2634127" y="5266321"/>
                  <a:pt x="2633508" y="5265908"/>
                  <a:pt x="2633508" y="5265908"/>
                </a:cubicBezTo>
                <a:cubicBezTo>
                  <a:pt x="2633508" y="5265908"/>
                  <a:pt x="2633508" y="5265805"/>
                  <a:pt x="2633043" y="5266528"/>
                </a:cubicBezTo>
                <a:cubicBezTo>
                  <a:pt x="2633043" y="5266011"/>
                  <a:pt x="2633198" y="5265598"/>
                  <a:pt x="2633508" y="5265392"/>
                </a:cubicBezTo>
                <a:cubicBezTo>
                  <a:pt x="2633662" y="5265185"/>
                  <a:pt x="2633972" y="5265082"/>
                  <a:pt x="2633972" y="5265082"/>
                </a:cubicBezTo>
                <a:close/>
                <a:moveTo>
                  <a:pt x="2640633" y="5263946"/>
                </a:moveTo>
                <a:cubicBezTo>
                  <a:pt x="2642337" y="5262914"/>
                  <a:pt x="2642956" y="5263327"/>
                  <a:pt x="2643421" y="5265702"/>
                </a:cubicBezTo>
                <a:cubicBezTo>
                  <a:pt x="2642646" y="5266218"/>
                  <a:pt x="2641252" y="5266631"/>
                  <a:pt x="2639858" y="5266631"/>
                </a:cubicBezTo>
                <a:cubicBezTo>
                  <a:pt x="2638464" y="5266631"/>
                  <a:pt x="2637070" y="5266321"/>
                  <a:pt x="2636605" y="5265495"/>
                </a:cubicBezTo>
                <a:cubicBezTo>
                  <a:pt x="2638309" y="5264566"/>
                  <a:pt x="2639549" y="5264256"/>
                  <a:pt x="2640633" y="5263946"/>
                </a:cubicBezTo>
                <a:close/>
                <a:moveTo>
                  <a:pt x="2491313" y="5263843"/>
                </a:moveTo>
                <a:cubicBezTo>
                  <a:pt x="2493171" y="5264669"/>
                  <a:pt x="2495495" y="5263533"/>
                  <a:pt x="2497354" y="5265185"/>
                </a:cubicBezTo>
                <a:cubicBezTo>
                  <a:pt x="2497354" y="5265185"/>
                  <a:pt x="2498283" y="5266115"/>
                  <a:pt x="2498593" y="5267767"/>
                </a:cubicBezTo>
                <a:cubicBezTo>
                  <a:pt x="2500606" y="5270348"/>
                  <a:pt x="2498438" y="5273033"/>
                  <a:pt x="2498438" y="5273033"/>
                </a:cubicBezTo>
                <a:cubicBezTo>
                  <a:pt x="2498438" y="5273033"/>
                  <a:pt x="2498438" y="5273033"/>
                  <a:pt x="2499367" y="5273033"/>
                </a:cubicBezTo>
                <a:cubicBezTo>
                  <a:pt x="2497663" y="5273136"/>
                  <a:pt x="2496114" y="5274065"/>
                  <a:pt x="2494411" y="5274169"/>
                </a:cubicBezTo>
                <a:cubicBezTo>
                  <a:pt x="2487130" y="5269419"/>
                  <a:pt x="2489299" y="5267457"/>
                  <a:pt x="2491313" y="5263843"/>
                </a:cubicBezTo>
                <a:close/>
                <a:moveTo>
                  <a:pt x="1541082" y="5263804"/>
                </a:moveTo>
                <a:cubicBezTo>
                  <a:pt x="1542961" y="5263068"/>
                  <a:pt x="1545284" y="5263430"/>
                  <a:pt x="1546291" y="5264669"/>
                </a:cubicBezTo>
                <a:cubicBezTo>
                  <a:pt x="1546291" y="5267973"/>
                  <a:pt x="1543503" y="5270142"/>
                  <a:pt x="1540869" y="5270142"/>
                </a:cubicBezTo>
                <a:cubicBezTo>
                  <a:pt x="1540095" y="5270245"/>
                  <a:pt x="1539165" y="5269935"/>
                  <a:pt x="1538546" y="5269522"/>
                </a:cubicBezTo>
                <a:cubicBezTo>
                  <a:pt x="1537772" y="5266373"/>
                  <a:pt x="1539205" y="5264540"/>
                  <a:pt x="1541082" y="5263804"/>
                </a:cubicBezTo>
                <a:close/>
                <a:moveTo>
                  <a:pt x="2169129" y="5262294"/>
                </a:moveTo>
                <a:cubicBezTo>
                  <a:pt x="2175634" y="5265082"/>
                  <a:pt x="2179042" y="5265082"/>
                  <a:pt x="2183844" y="5267870"/>
                </a:cubicBezTo>
                <a:cubicBezTo>
                  <a:pt x="2183689" y="5268799"/>
                  <a:pt x="2182915" y="5268696"/>
                  <a:pt x="2182760" y="5269625"/>
                </a:cubicBezTo>
                <a:cubicBezTo>
                  <a:pt x="2182295" y="5270039"/>
                  <a:pt x="2181521" y="5270245"/>
                  <a:pt x="2180436" y="5270142"/>
                </a:cubicBezTo>
                <a:cubicBezTo>
                  <a:pt x="2177338" y="5270142"/>
                  <a:pt x="2172846" y="5268386"/>
                  <a:pt x="2172846" y="5267663"/>
                </a:cubicBezTo>
                <a:cubicBezTo>
                  <a:pt x="2172072" y="5267663"/>
                  <a:pt x="2172072" y="5266734"/>
                  <a:pt x="2171298" y="5266734"/>
                </a:cubicBezTo>
                <a:cubicBezTo>
                  <a:pt x="2171298" y="5266734"/>
                  <a:pt x="2170523" y="5266734"/>
                  <a:pt x="2169748" y="5265908"/>
                </a:cubicBezTo>
                <a:cubicBezTo>
                  <a:pt x="2169284" y="5265392"/>
                  <a:pt x="2168974" y="5264979"/>
                  <a:pt x="2168819" y="5264359"/>
                </a:cubicBezTo>
                <a:cubicBezTo>
                  <a:pt x="2168665" y="5263843"/>
                  <a:pt x="2168665" y="5263223"/>
                  <a:pt x="2169129" y="5262294"/>
                </a:cubicBezTo>
                <a:close/>
                <a:moveTo>
                  <a:pt x="2786080" y="5262191"/>
                </a:moveTo>
                <a:cubicBezTo>
                  <a:pt x="2787939" y="5262191"/>
                  <a:pt x="2787164" y="5262604"/>
                  <a:pt x="2788249" y="5262914"/>
                </a:cubicBezTo>
                <a:cubicBezTo>
                  <a:pt x="2789333" y="5263327"/>
                  <a:pt x="2791192" y="5263430"/>
                  <a:pt x="2791966" y="5263017"/>
                </a:cubicBezTo>
                <a:cubicBezTo>
                  <a:pt x="2790882" y="5267354"/>
                  <a:pt x="2793670" y="5267767"/>
                  <a:pt x="2791656" y="5274375"/>
                </a:cubicBezTo>
                <a:cubicBezTo>
                  <a:pt x="2789952" y="5280880"/>
                  <a:pt x="2786235" y="5283049"/>
                  <a:pt x="2782673" y="5283462"/>
                </a:cubicBezTo>
                <a:cubicBezTo>
                  <a:pt x="2781589" y="5283565"/>
                  <a:pt x="2780349" y="5283462"/>
                  <a:pt x="2779420" y="5283255"/>
                </a:cubicBezTo>
                <a:cubicBezTo>
                  <a:pt x="2779730" y="5282429"/>
                  <a:pt x="2774308" y="5281190"/>
                  <a:pt x="2772604" y="5276544"/>
                </a:cubicBezTo>
                <a:cubicBezTo>
                  <a:pt x="2772140" y="5274995"/>
                  <a:pt x="2771985" y="5273136"/>
                  <a:pt x="2772759" y="5270658"/>
                </a:cubicBezTo>
                <a:cubicBezTo>
                  <a:pt x="2774308" y="5265185"/>
                  <a:pt x="2777716" y="5259816"/>
                  <a:pt x="2786080" y="5262191"/>
                </a:cubicBezTo>
                <a:close/>
                <a:moveTo>
                  <a:pt x="1940967" y="5261881"/>
                </a:moveTo>
                <a:cubicBezTo>
                  <a:pt x="1942826" y="5259300"/>
                  <a:pt x="1945149" y="5261055"/>
                  <a:pt x="1948247" y="5261984"/>
                </a:cubicBezTo>
                <a:cubicBezTo>
                  <a:pt x="1947472" y="5262811"/>
                  <a:pt x="1948092" y="5263740"/>
                  <a:pt x="1948866" y="5264566"/>
                </a:cubicBezTo>
                <a:cubicBezTo>
                  <a:pt x="1947472" y="5265908"/>
                  <a:pt x="1945614" y="5268077"/>
                  <a:pt x="1943445" y="5267663"/>
                </a:cubicBezTo>
                <a:cubicBezTo>
                  <a:pt x="1942826" y="5267560"/>
                  <a:pt x="1942051" y="5267044"/>
                  <a:pt x="1941276" y="5266218"/>
                </a:cubicBezTo>
                <a:cubicBezTo>
                  <a:pt x="1940812" y="5266218"/>
                  <a:pt x="1940502" y="5265288"/>
                  <a:pt x="1940502" y="5264359"/>
                </a:cubicBezTo>
                <a:cubicBezTo>
                  <a:pt x="1940347" y="5263327"/>
                  <a:pt x="1940502" y="5262294"/>
                  <a:pt x="1940967" y="5261881"/>
                </a:cubicBezTo>
                <a:close/>
                <a:moveTo>
                  <a:pt x="2278950" y="5261778"/>
                </a:moveTo>
                <a:cubicBezTo>
                  <a:pt x="2279725" y="5262604"/>
                  <a:pt x="2280500" y="5263533"/>
                  <a:pt x="2280344" y="5265288"/>
                </a:cubicBezTo>
                <a:cubicBezTo>
                  <a:pt x="2278486" y="5267044"/>
                  <a:pt x="2276162" y="5266011"/>
                  <a:pt x="2275233" y="5266941"/>
                </a:cubicBezTo>
                <a:cubicBezTo>
                  <a:pt x="2275233" y="5266011"/>
                  <a:pt x="2275388" y="5264359"/>
                  <a:pt x="2273839" y="5263430"/>
                </a:cubicBezTo>
                <a:cubicBezTo>
                  <a:pt x="2275698" y="5261675"/>
                  <a:pt x="2277556" y="5260022"/>
                  <a:pt x="2278950" y="5261778"/>
                </a:cubicBezTo>
                <a:close/>
                <a:moveTo>
                  <a:pt x="2843082" y="5260539"/>
                </a:moveTo>
                <a:cubicBezTo>
                  <a:pt x="2844476" y="5260849"/>
                  <a:pt x="2845560" y="5261778"/>
                  <a:pt x="2846180" y="5263430"/>
                </a:cubicBezTo>
                <a:cubicBezTo>
                  <a:pt x="2845870" y="5264772"/>
                  <a:pt x="2845406" y="5265598"/>
                  <a:pt x="2844786" y="5266115"/>
                </a:cubicBezTo>
                <a:lnTo>
                  <a:pt x="2843856" y="5266528"/>
                </a:lnTo>
                <a:lnTo>
                  <a:pt x="2844011" y="5269109"/>
                </a:lnTo>
                <a:cubicBezTo>
                  <a:pt x="2843392" y="5271587"/>
                  <a:pt x="2841378" y="5273446"/>
                  <a:pt x="2839055" y="5273859"/>
                </a:cubicBezTo>
                <a:cubicBezTo>
                  <a:pt x="2837506" y="5274169"/>
                  <a:pt x="2835802" y="5273755"/>
                  <a:pt x="2834253" y="5272413"/>
                </a:cubicBezTo>
                <a:cubicBezTo>
                  <a:pt x="2834718" y="5268489"/>
                  <a:pt x="2834718" y="5264153"/>
                  <a:pt x="2837196" y="5262294"/>
                </a:cubicBezTo>
                <a:lnTo>
                  <a:pt x="2837351" y="5262294"/>
                </a:lnTo>
                <a:cubicBezTo>
                  <a:pt x="2838900" y="5260745"/>
                  <a:pt x="2841223" y="5260022"/>
                  <a:pt x="2843082" y="5260539"/>
                </a:cubicBezTo>
                <a:close/>
                <a:moveTo>
                  <a:pt x="2677653" y="5260022"/>
                </a:moveTo>
                <a:cubicBezTo>
                  <a:pt x="2678428" y="5260436"/>
                  <a:pt x="2680286" y="5260642"/>
                  <a:pt x="2680441" y="5261778"/>
                </a:cubicBezTo>
                <a:cubicBezTo>
                  <a:pt x="2680596" y="5263017"/>
                  <a:pt x="2680596" y="5262914"/>
                  <a:pt x="2679667" y="5264463"/>
                </a:cubicBezTo>
                <a:cubicBezTo>
                  <a:pt x="2678892" y="5263430"/>
                  <a:pt x="2678428" y="5262914"/>
                  <a:pt x="2678273" y="5262294"/>
                </a:cubicBezTo>
                <a:cubicBezTo>
                  <a:pt x="2677963" y="5261778"/>
                  <a:pt x="2677808" y="5261158"/>
                  <a:pt x="2677653" y="5260022"/>
                </a:cubicBezTo>
                <a:close/>
                <a:moveTo>
                  <a:pt x="2875146" y="5259506"/>
                </a:moveTo>
                <a:cubicBezTo>
                  <a:pt x="2874526" y="5260126"/>
                  <a:pt x="2873907" y="5261778"/>
                  <a:pt x="2872977" y="5262088"/>
                </a:cubicBezTo>
                <a:cubicBezTo>
                  <a:pt x="2872667" y="5262294"/>
                  <a:pt x="2872357" y="5262191"/>
                  <a:pt x="2871893" y="5261984"/>
                </a:cubicBezTo>
                <a:cubicBezTo>
                  <a:pt x="2872667" y="5260332"/>
                  <a:pt x="2873442" y="5259506"/>
                  <a:pt x="2875146" y="5259506"/>
                </a:cubicBezTo>
                <a:close/>
                <a:moveTo>
                  <a:pt x="1612896" y="5258990"/>
                </a:moveTo>
                <a:cubicBezTo>
                  <a:pt x="1614445" y="5259816"/>
                  <a:pt x="1615220" y="5260745"/>
                  <a:pt x="1616769" y="5261572"/>
                </a:cubicBezTo>
                <a:cubicBezTo>
                  <a:pt x="1616614" y="5264256"/>
                  <a:pt x="1618783" y="5266838"/>
                  <a:pt x="1614910" y="5272000"/>
                </a:cubicBezTo>
                <a:cubicBezTo>
                  <a:pt x="1610263" y="5277163"/>
                  <a:pt x="1605617" y="5272723"/>
                  <a:pt x="1605462" y="5273652"/>
                </a:cubicBezTo>
                <a:cubicBezTo>
                  <a:pt x="1604532" y="5274478"/>
                  <a:pt x="1604532" y="5274478"/>
                  <a:pt x="1604532" y="5275305"/>
                </a:cubicBezTo>
                <a:cubicBezTo>
                  <a:pt x="1603602" y="5275305"/>
                  <a:pt x="1601898" y="5276130"/>
                  <a:pt x="1600969" y="5276956"/>
                </a:cubicBezTo>
                <a:cubicBezTo>
                  <a:pt x="1600969" y="5276130"/>
                  <a:pt x="1601124" y="5275201"/>
                  <a:pt x="1600350" y="5275201"/>
                </a:cubicBezTo>
                <a:cubicBezTo>
                  <a:pt x="1602208" y="5273549"/>
                  <a:pt x="1602983" y="5273549"/>
                  <a:pt x="1603913" y="5272723"/>
                </a:cubicBezTo>
                <a:cubicBezTo>
                  <a:pt x="1603138" y="5272723"/>
                  <a:pt x="1603913" y="5271897"/>
                  <a:pt x="1603913" y="5271897"/>
                </a:cubicBezTo>
                <a:cubicBezTo>
                  <a:pt x="1603913" y="5271897"/>
                  <a:pt x="1604067" y="5271794"/>
                  <a:pt x="1602518" y="5270039"/>
                </a:cubicBezTo>
                <a:cubicBezTo>
                  <a:pt x="1602518" y="5270039"/>
                  <a:pt x="1599575" y="5265702"/>
                  <a:pt x="1603448" y="5261365"/>
                </a:cubicBezTo>
                <a:cubicBezTo>
                  <a:pt x="1604222" y="5262294"/>
                  <a:pt x="1609643" y="5257131"/>
                  <a:pt x="1612896" y="5258990"/>
                </a:cubicBezTo>
                <a:close/>
                <a:moveTo>
                  <a:pt x="2675794" y="5258680"/>
                </a:moveTo>
                <a:cubicBezTo>
                  <a:pt x="2676104" y="5257957"/>
                  <a:pt x="2676878" y="5258474"/>
                  <a:pt x="2677188" y="5259610"/>
                </a:cubicBezTo>
                <a:cubicBezTo>
                  <a:pt x="2677188" y="5259610"/>
                  <a:pt x="2676724" y="5260332"/>
                  <a:pt x="2676724" y="5260332"/>
                </a:cubicBezTo>
                <a:cubicBezTo>
                  <a:pt x="2676414" y="5260126"/>
                  <a:pt x="2675949" y="5259816"/>
                  <a:pt x="2675794" y="5259506"/>
                </a:cubicBezTo>
                <a:cubicBezTo>
                  <a:pt x="2675639" y="5259300"/>
                  <a:pt x="2675484" y="5258990"/>
                  <a:pt x="2675794" y="5258680"/>
                </a:cubicBezTo>
                <a:close/>
                <a:moveTo>
                  <a:pt x="2418821" y="5257441"/>
                </a:moveTo>
                <a:cubicBezTo>
                  <a:pt x="2421145" y="5258990"/>
                  <a:pt x="2421919" y="5260952"/>
                  <a:pt x="2421919" y="5262811"/>
                </a:cubicBezTo>
                <a:cubicBezTo>
                  <a:pt x="2421764" y="5265908"/>
                  <a:pt x="2418976" y="5268799"/>
                  <a:pt x="2416033" y="5269625"/>
                </a:cubicBezTo>
                <a:cubicBezTo>
                  <a:pt x="2415104" y="5269832"/>
                  <a:pt x="2414020" y="5269832"/>
                  <a:pt x="2413090" y="5269522"/>
                </a:cubicBezTo>
                <a:cubicBezTo>
                  <a:pt x="2411851" y="5269109"/>
                  <a:pt x="2410611" y="5268180"/>
                  <a:pt x="2409837" y="5266424"/>
                </a:cubicBezTo>
                <a:cubicBezTo>
                  <a:pt x="2410457" y="5262914"/>
                  <a:pt x="2416188" y="5258164"/>
                  <a:pt x="2418821" y="5257441"/>
                </a:cubicBezTo>
                <a:close/>
                <a:moveTo>
                  <a:pt x="2328052" y="5257131"/>
                </a:moveTo>
                <a:lnTo>
                  <a:pt x="2328517" y="5257544"/>
                </a:lnTo>
                <a:lnTo>
                  <a:pt x="2336881" y="5261881"/>
                </a:lnTo>
                <a:cubicBezTo>
                  <a:pt x="2337656" y="5262707"/>
                  <a:pt x="2338895" y="5266218"/>
                  <a:pt x="2337965" y="5267044"/>
                </a:cubicBezTo>
                <a:cubicBezTo>
                  <a:pt x="2337036" y="5267973"/>
                  <a:pt x="2336262" y="5267973"/>
                  <a:pt x="2335487" y="5267973"/>
                </a:cubicBezTo>
                <a:lnTo>
                  <a:pt x="2331615" y="5265702"/>
                </a:lnTo>
                <a:lnTo>
                  <a:pt x="2331615" y="5267560"/>
                </a:lnTo>
                <a:cubicBezTo>
                  <a:pt x="2331150" y="5269625"/>
                  <a:pt x="2330376" y="5271174"/>
                  <a:pt x="2329601" y="5271690"/>
                </a:cubicBezTo>
                <a:cubicBezTo>
                  <a:pt x="2327277" y="5272413"/>
                  <a:pt x="2324025" y="5271381"/>
                  <a:pt x="2323405" y="5267767"/>
                </a:cubicBezTo>
                <a:cubicBezTo>
                  <a:pt x="2322321" y="5264979"/>
                  <a:pt x="2324334" y="5261984"/>
                  <a:pt x="2323715" y="5258371"/>
                </a:cubicBezTo>
                <a:cubicBezTo>
                  <a:pt x="2325729" y="5257544"/>
                  <a:pt x="2326968" y="5257028"/>
                  <a:pt x="2328052" y="5257131"/>
                </a:cubicBezTo>
                <a:close/>
                <a:moveTo>
                  <a:pt x="2376844" y="5256821"/>
                </a:moveTo>
                <a:cubicBezTo>
                  <a:pt x="2378703" y="5258371"/>
                  <a:pt x="2381491" y="5260849"/>
                  <a:pt x="2380252" y="5263637"/>
                </a:cubicBezTo>
                <a:cubicBezTo>
                  <a:pt x="2379478" y="5263637"/>
                  <a:pt x="2379633" y="5264566"/>
                  <a:pt x="2378703" y="5264566"/>
                </a:cubicBezTo>
                <a:cubicBezTo>
                  <a:pt x="2378703" y="5264566"/>
                  <a:pt x="2378083" y="5265082"/>
                  <a:pt x="2376844" y="5265185"/>
                </a:cubicBezTo>
                <a:cubicBezTo>
                  <a:pt x="2376225" y="5265288"/>
                  <a:pt x="2375450" y="5265288"/>
                  <a:pt x="2374676" y="5265185"/>
                </a:cubicBezTo>
                <a:cubicBezTo>
                  <a:pt x="2373902" y="5264979"/>
                  <a:pt x="2372972" y="5264669"/>
                  <a:pt x="2372043" y="5264049"/>
                </a:cubicBezTo>
                <a:cubicBezTo>
                  <a:pt x="2371113" y="5263223"/>
                  <a:pt x="2369099" y="5260745"/>
                  <a:pt x="2369874" y="5260745"/>
                </a:cubicBezTo>
                <a:cubicBezTo>
                  <a:pt x="2370648" y="5259816"/>
                  <a:pt x="2369874" y="5259816"/>
                  <a:pt x="2369719" y="5258887"/>
                </a:cubicBezTo>
                <a:cubicBezTo>
                  <a:pt x="2371733" y="5256099"/>
                  <a:pt x="2374056" y="5255170"/>
                  <a:pt x="2376844" y="5256821"/>
                </a:cubicBezTo>
                <a:close/>
                <a:moveTo>
                  <a:pt x="2436169" y="5256718"/>
                </a:moveTo>
                <a:cubicBezTo>
                  <a:pt x="2437254" y="5256409"/>
                  <a:pt x="2437873" y="5256821"/>
                  <a:pt x="2438648" y="5257338"/>
                </a:cubicBezTo>
                <a:cubicBezTo>
                  <a:pt x="2438803" y="5258474"/>
                  <a:pt x="2438338" y="5259196"/>
                  <a:pt x="2438493" y="5260332"/>
                </a:cubicBezTo>
                <a:cubicBezTo>
                  <a:pt x="2439268" y="5260849"/>
                  <a:pt x="2440507" y="5261675"/>
                  <a:pt x="2440816" y="5262914"/>
                </a:cubicBezTo>
                <a:cubicBezTo>
                  <a:pt x="2440971" y="5264049"/>
                  <a:pt x="2440662" y="5266011"/>
                  <a:pt x="2440662" y="5266011"/>
                </a:cubicBezTo>
                <a:cubicBezTo>
                  <a:pt x="2440042" y="5266115"/>
                  <a:pt x="2439732" y="5266218"/>
                  <a:pt x="2439732" y="5266218"/>
                </a:cubicBezTo>
                <a:cubicBezTo>
                  <a:pt x="2439577" y="5266115"/>
                  <a:pt x="2439732" y="5265908"/>
                  <a:pt x="2440042" y="5265495"/>
                </a:cubicBezTo>
                <a:cubicBezTo>
                  <a:pt x="2439113" y="5263946"/>
                  <a:pt x="2439732" y="5264359"/>
                  <a:pt x="2439577" y="5263223"/>
                </a:cubicBezTo>
                <a:cubicBezTo>
                  <a:pt x="2439423" y="5262088"/>
                  <a:pt x="2436944" y="5258371"/>
                  <a:pt x="2435860" y="5258680"/>
                </a:cubicBezTo>
                <a:cubicBezTo>
                  <a:pt x="2436325" y="5257854"/>
                  <a:pt x="2436169" y="5256718"/>
                  <a:pt x="2436169" y="5256718"/>
                </a:cubicBezTo>
                <a:close/>
                <a:moveTo>
                  <a:pt x="2673471" y="5256202"/>
                </a:moveTo>
                <a:cubicBezTo>
                  <a:pt x="2673781" y="5257338"/>
                  <a:pt x="2674090" y="5256718"/>
                  <a:pt x="2673316" y="5258061"/>
                </a:cubicBezTo>
                <a:cubicBezTo>
                  <a:pt x="2673006" y="5256925"/>
                  <a:pt x="2673006" y="5256925"/>
                  <a:pt x="2672231" y="5256409"/>
                </a:cubicBezTo>
                <a:cubicBezTo>
                  <a:pt x="2672231" y="5256409"/>
                  <a:pt x="2673471" y="5256202"/>
                  <a:pt x="2673471" y="5256202"/>
                </a:cubicBezTo>
                <a:close/>
                <a:moveTo>
                  <a:pt x="1685853" y="5255686"/>
                </a:moveTo>
                <a:cubicBezTo>
                  <a:pt x="1685853" y="5256512"/>
                  <a:pt x="1684768" y="5259196"/>
                  <a:pt x="1685543" y="5259196"/>
                </a:cubicBezTo>
                <a:cubicBezTo>
                  <a:pt x="1683529" y="5261158"/>
                  <a:pt x="1680896" y="5263120"/>
                  <a:pt x="1678882" y="5263120"/>
                </a:cubicBezTo>
                <a:cubicBezTo>
                  <a:pt x="1678108" y="5263223"/>
                  <a:pt x="1677488" y="5263017"/>
                  <a:pt x="1676869" y="5262604"/>
                </a:cubicBezTo>
                <a:cubicBezTo>
                  <a:pt x="1675320" y="5261675"/>
                  <a:pt x="1676404" y="5259919"/>
                  <a:pt x="1678108" y="5258164"/>
                </a:cubicBezTo>
                <a:cubicBezTo>
                  <a:pt x="1681051" y="5253827"/>
                  <a:pt x="1683684" y="5253001"/>
                  <a:pt x="1685853" y="5255686"/>
                </a:cubicBezTo>
                <a:close/>
                <a:moveTo>
                  <a:pt x="2855164" y="5254963"/>
                </a:moveTo>
                <a:cubicBezTo>
                  <a:pt x="2854235" y="5257338"/>
                  <a:pt x="2855629" y="5258474"/>
                  <a:pt x="2854700" y="5260849"/>
                </a:cubicBezTo>
                <a:cubicBezTo>
                  <a:pt x="2852531" y="5260022"/>
                  <a:pt x="2850672" y="5260022"/>
                  <a:pt x="2849588" y="5259610"/>
                </a:cubicBezTo>
                <a:cubicBezTo>
                  <a:pt x="2849898" y="5255686"/>
                  <a:pt x="2851911" y="5253724"/>
                  <a:pt x="2855164" y="5254963"/>
                </a:cubicBezTo>
                <a:close/>
                <a:moveTo>
                  <a:pt x="2532050" y="5254860"/>
                </a:moveTo>
                <a:cubicBezTo>
                  <a:pt x="2541964" y="5255686"/>
                  <a:pt x="2549399" y="5258783"/>
                  <a:pt x="2554665" y="5264049"/>
                </a:cubicBezTo>
                <a:cubicBezTo>
                  <a:pt x="2556369" y="5265805"/>
                  <a:pt x="2557763" y="5267767"/>
                  <a:pt x="2559003" y="5270039"/>
                </a:cubicBezTo>
                <a:cubicBezTo>
                  <a:pt x="2553736" y="5274685"/>
                  <a:pt x="2547850" y="5270245"/>
                  <a:pt x="2542738" y="5268180"/>
                </a:cubicBezTo>
                <a:cubicBezTo>
                  <a:pt x="2542119" y="5274272"/>
                  <a:pt x="2542893" y="5283565"/>
                  <a:pt x="2536388" y="5283978"/>
                </a:cubicBezTo>
                <a:cubicBezTo>
                  <a:pt x="2535148" y="5282842"/>
                  <a:pt x="2534529" y="5281500"/>
                  <a:pt x="2534374" y="5279951"/>
                </a:cubicBezTo>
                <a:cubicBezTo>
                  <a:pt x="2533754" y="5275614"/>
                  <a:pt x="2536542" y="5269832"/>
                  <a:pt x="2536233" y="5264256"/>
                </a:cubicBezTo>
                <a:cubicBezTo>
                  <a:pt x="2534839" y="5261158"/>
                  <a:pt x="2530656" y="5261572"/>
                  <a:pt x="2532050" y="5254860"/>
                </a:cubicBezTo>
                <a:close/>
                <a:moveTo>
                  <a:pt x="2565508" y="5254240"/>
                </a:moveTo>
                <a:cubicBezTo>
                  <a:pt x="2568451" y="5254034"/>
                  <a:pt x="2569226" y="5255582"/>
                  <a:pt x="2570929" y="5258783"/>
                </a:cubicBezTo>
                <a:cubicBezTo>
                  <a:pt x="2568916" y="5258990"/>
                  <a:pt x="2567677" y="5258783"/>
                  <a:pt x="2566902" y="5257957"/>
                </a:cubicBezTo>
                <a:cubicBezTo>
                  <a:pt x="2566128" y="5257235"/>
                  <a:pt x="2565818" y="5255995"/>
                  <a:pt x="2565508" y="5254240"/>
                </a:cubicBezTo>
                <a:close/>
                <a:moveTo>
                  <a:pt x="2465600" y="5254137"/>
                </a:moveTo>
                <a:cubicBezTo>
                  <a:pt x="2469472" y="5253724"/>
                  <a:pt x="2471951" y="5254653"/>
                  <a:pt x="2473345" y="5256305"/>
                </a:cubicBezTo>
                <a:cubicBezTo>
                  <a:pt x="2477682" y="5261365"/>
                  <a:pt x="2472260" y="5272930"/>
                  <a:pt x="2463586" y="5272516"/>
                </a:cubicBezTo>
                <a:cubicBezTo>
                  <a:pt x="2462502" y="5271587"/>
                  <a:pt x="2461882" y="5270142"/>
                  <a:pt x="2461573" y="5268489"/>
                </a:cubicBezTo>
                <a:cubicBezTo>
                  <a:pt x="2460643" y="5263637"/>
                  <a:pt x="2462657" y="5256718"/>
                  <a:pt x="2465600" y="5254137"/>
                </a:cubicBezTo>
                <a:close/>
                <a:moveTo>
                  <a:pt x="2762342" y="5253840"/>
                </a:moveTo>
                <a:cubicBezTo>
                  <a:pt x="2764124" y="5254576"/>
                  <a:pt x="2765789" y="5255841"/>
                  <a:pt x="2767028" y="5256615"/>
                </a:cubicBezTo>
                <a:lnTo>
                  <a:pt x="2766254" y="5258164"/>
                </a:lnTo>
                <a:lnTo>
                  <a:pt x="2768112" y="5257957"/>
                </a:lnTo>
                <a:cubicBezTo>
                  <a:pt x="2769042" y="5258164"/>
                  <a:pt x="2769816" y="5258267"/>
                  <a:pt x="2770900" y="5258474"/>
                </a:cubicBezTo>
                <a:cubicBezTo>
                  <a:pt x="2770746" y="5260436"/>
                  <a:pt x="2772450" y="5262398"/>
                  <a:pt x="2771520" y="5264772"/>
                </a:cubicBezTo>
                <a:cubicBezTo>
                  <a:pt x="2771520" y="5264772"/>
                  <a:pt x="2771055" y="5265908"/>
                  <a:pt x="2769507" y="5266734"/>
                </a:cubicBezTo>
                <a:cubicBezTo>
                  <a:pt x="2767803" y="5269419"/>
                  <a:pt x="2764550" y="5268283"/>
                  <a:pt x="2764550" y="5268283"/>
                </a:cubicBezTo>
                <a:cubicBezTo>
                  <a:pt x="2764550" y="5268283"/>
                  <a:pt x="2764395" y="5268283"/>
                  <a:pt x="2764705" y="5269006"/>
                </a:cubicBezTo>
                <a:cubicBezTo>
                  <a:pt x="2764085" y="5267457"/>
                  <a:pt x="2762846" y="5266321"/>
                  <a:pt x="2762226" y="5264772"/>
                </a:cubicBezTo>
                <a:lnTo>
                  <a:pt x="2762381" y="5264049"/>
                </a:lnTo>
                <a:lnTo>
                  <a:pt x="2761917" y="5264669"/>
                </a:lnTo>
                <a:cubicBezTo>
                  <a:pt x="2759748" y="5263946"/>
                  <a:pt x="2758199" y="5262604"/>
                  <a:pt x="2757270" y="5260849"/>
                </a:cubicBezTo>
                <a:cubicBezTo>
                  <a:pt x="2756340" y="5259196"/>
                  <a:pt x="2756031" y="5256925"/>
                  <a:pt x="2756960" y="5254240"/>
                </a:cubicBezTo>
                <a:cubicBezTo>
                  <a:pt x="2758664" y="5252898"/>
                  <a:pt x="2760561" y="5253104"/>
                  <a:pt x="2762342" y="5253840"/>
                </a:cubicBezTo>
                <a:close/>
                <a:moveTo>
                  <a:pt x="2836422" y="5253827"/>
                </a:moveTo>
                <a:cubicBezTo>
                  <a:pt x="2836422" y="5253827"/>
                  <a:pt x="2836422" y="5253827"/>
                  <a:pt x="2841998" y="5257131"/>
                </a:cubicBezTo>
                <a:cubicBezTo>
                  <a:pt x="2841688" y="5257544"/>
                  <a:pt x="2841223" y="5257544"/>
                  <a:pt x="2840759" y="5257338"/>
                </a:cubicBezTo>
                <a:cubicBezTo>
                  <a:pt x="2840294" y="5257131"/>
                  <a:pt x="2839829" y="5256718"/>
                  <a:pt x="2839210" y="5256305"/>
                </a:cubicBezTo>
                <a:cubicBezTo>
                  <a:pt x="2838280" y="5255479"/>
                  <a:pt x="2837351" y="5254653"/>
                  <a:pt x="2836422" y="5253827"/>
                </a:cubicBezTo>
                <a:close/>
                <a:moveTo>
                  <a:pt x="2445928" y="5253724"/>
                </a:moveTo>
                <a:cubicBezTo>
                  <a:pt x="2447787" y="5263740"/>
                  <a:pt x="2453363" y="5269522"/>
                  <a:pt x="2453208" y="5281087"/>
                </a:cubicBezTo>
                <a:cubicBezTo>
                  <a:pt x="2444999" y="5278609"/>
                  <a:pt x="2438028" y="5257957"/>
                  <a:pt x="2445928" y="5253724"/>
                </a:cubicBezTo>
                <a:close/>
                <a:moveTo>
                  <a:pt x="2377154" y="5253724"/>
                </a:moveTo>
                <a:cubicBezTo>
                  <a:pt x="2377929" y="5252795"/>
                  <a:pt x="2377929" y="5253724"/>
                  <a:pt x="2378548" y="5253724"/>
                </a:cubicBezTo>
                <a:cubicBezTo>
                  <a:pt x="2378238" y="5254240"/>
                  <a:pt x="2377929" y="5254447"/>
                  <a:pt x="2377774" y="5254447"/>
                </a:cubicBezTo>
                <a:cubicBezTo>
                  <a:pt x="2377619" y="5254447"/>
                  <a:pt x="2377464" y="5254240"/>
                  <a:pt x="2377154" y="5253724"/>
                </a:cubicBezTo>
                <a:close/>
                <a:moveTo>
                  <a:pt x="2379633" y="5253208"/>
                </a:moveTo>
                <a:cubicBezTo>
                  <a:pt x="2380717" y="5254034"/>
                  <a:pt x="2381646" y="5255582"/>
                  <a:pt x="2381026" y="5256512"/>
                </a:cubicBezTo>
                <a:cubicBezTo>
                  <a:pt x="2380717" y="5257338"/>
                  <a:pt x="2380252" y="5257441"/>
                  <a:pt x="2379633" y="5257131"/>
                </a:cubicBezTo>
                <a:cubicBezTo>
                  <a:pt x="2379168" y="5256821"/>
                  <a:pt x="2378393" y="5256305"/>
                  <a:pt x="2377464" y="5255892"/>
                </a:cubicBezTo>
                <a:close/>
                <a:moveTo>
                  <a:pt x="1695456" y="5252278"/>
                </a:moveTo>
                <a:cubicBezTo>
                  <a:pt x="1695302" y="5253208"/>
                  <a:pt x="1695920" y="5254963"/>
                  <a:pt x="1695146" y="5254963"/>
                </a:cubicBezTo>
                <a:cubicBezTo>
                  <a:pt x="1694991" y="5255892"/>
                  <a:pt x="1693442" y="5255892"/>
                  <a:pt x="1693442" y="5255892"/>
                </a:cubicBezTo>
                <a:cubicBezTo>
                  <a:pt x="1693442" y="5256821"/>
                  <a:pt x="1693287" y="5257648"/>
                  <a:pt x="1692358" y="5258577"/>
                </a:cubicBezTo>
                <a:cubicBezTo>
                  <a:pt x="1691584" y="5257648"/>
                  <a:pt x="1691584" y="5258577"/>
                  <a:pt x="1690809" y="5258474"/>
                </a:cubicBezTo>
                <a:cubicBezTo>
                  <a:pt x="1691584" y="5257648"/>
                  <a:pt x="1691893" y="5254963"/>
                  <a:pt x="1692978" y="5253208"/>
                </a:cubicBezTo>
                <a:cubicBezTo>
                  <a:pt x="1693752" y="5253208"/>
                  <a:pt x="1694681" y="5252278"/>
                  <a:pt x="1695456" y="5252278"/>
                </a:cubicBezTo>
                <a:close/>
                <a:moveTo>
                  <a:pt x="2388307" y="5249077"/>
                </a:moveTo>
                <a:cubicBezTo>
                  <a:pt x="2389236" y="5249077"/>
                  <a:pt x="2389236" y="5249904"/>
                  <a:pt x="2390166" y="5250729"/>
                </a:cubicBezTo>
                <a:cubicBezTo>
                  <a:pt x="2391250" y="5252382"/>
                  <a:pt x="2391714" y="5254963"/>
                  <a:pt x="2390940" y="5255892"/>
                </a:cubicBezTo>
                <a:cubicBezTo>
                  <a:pt x="2390166" y="5256718"/>
                  <a:pt x="2389391" y="5256821"/>
                  <a:pt x="2389391" y="5256821"/>
                </a:cubicBezTo>
                <a:cubicBezTo>
                  <a:pt x="2386603" y="5255170"/>
                  <a:pt x="2384744" y="5252795"/>
                  <a:pt x="2386758" y="5250110"/>
                </a:cubicBezTo>
                <a:cubicBezTo>
                  <a:pt x="2387532" y="5249181"/>
                  <a:pt x="2388307" y="5248251"/>
                  <a:pt x="2388307" y="5249077"/>
                </a:cubicBezTo>
                <a:close/>
                <a:moveTo>
                  <a:pt x="2021049" y="5248561"/>
                </a:moveTo>
                <a:cubicBezTo>
                  <a:pt x="2026160" y="5249697"/>
                  <a:pt x="2026470" y="5253208"/>
                  <a:pt x="2023836" y="5258267"/>
                </a:cubicBezTo>
                <a:cubicBezTo>
                  <a:pt x="2021977" y="5258267"/>
                  <a:pt x="2020428" y="5258990"/>
                  <a:pt x="2017795" y="5259403"/>
                </a:cubicBezTo>
                <a:cubicBezTo>
                  <a:pt x="2016866" y="5257028"/>
                  <a:pt x="2017330" y="5251246"/>
                  <a:pt x="2021049" y="5248561"/>
                </a:cubicBezTo>
                <a:close/>
                <a:moveTo>
                  <a:pt x="2254341" y="5248509"/>
                </a:moveTo>
                <a:cubicBezTo>
                  <a:pt x="2256568" y="5248329"/>
                  <a:pt x="2258427" y="5249025"/>
                  <a:pt x="2259434" y="5251762"/>
                </a:cubicBezTo>
                <a:cubicBezTo>
                  <a:pt x="2258659" y="5255789"/>
                  <a:pt x="2256335" y="5257648"/>
                  <a:pt x="2253857" y="5258061"/>
                </a:cubicBezTo>
                <a:cubicBezTo>
                  <a:pt x="2251379" y="5258474"/>
                  <a:pt x="2248745" y="5257441"/>
                  <a:pt x="2247507" y="5255479"/>
                </a:cubicBezTo>
                <a:cubicBezTo>
                  <a:pt x="2246577" y="5254137"/>
                  <a:pt x="2246422" y="5252485"/>
                  <a:pt x="2247041" y="5250523"/>
                </a:cubicBezTo>
                <a:cubicBezTo>
                  <a:pt x="2249520" y="5249749"/>
                  <a:pt x="2252114" y="5248690"/>
                  <a:pt x="2254341" y="5248509"/>
                </a:cubicBezTo>
                <a:close/>
                <a:moveTo>
                  <a:pt x="2863838" y="5247115"/>
                </a:moveTo>
                <a:cubicBezTo>
                  <a:pt x="2864923" y="5247322"/>
                  <a:pt x="2865697" y="5248561"/>
                  <a:pt x="2866317" y="5249904"/>
                </a:cubicBezTo>
                <a:lnTo>
                  <a:pt x="2867246" y="5253620"/>
                </a:lnTo>
                <a:lnTo>
                  <a:pt x="2867865" y="5253517"/>
                </a:lnTo>
                <a:cubicBezTo>
                  <a:pt x="2867865" y="5253517"/>
                  <a:pt x="2866936" y="5253311"/>
                  <a:pt x="2867865" y="5252588"/>
                </a:cubicBezTo>
                <a:cubicBezTo>
                  <a:pt x="2867865" y="5253414"/>
                  <a:pt x="2868640" y="5253620"/>
                  <a:pt x="2869414" y="5253724"/>
                </a:cubicBezTo>
                <a:cubicBezTo>
                  <a:pt x="2871118" y="5255789"/>
                  <a:pt x="2872513" y="5258680"/>
                  <a:pt x="2871583" y="5260229"/>
                </a:cubicBezTo>
                <a:cubicBezTo>
                  <a:pt x="2870654" y="5260952"/>
                  <a:pt x="2869879" y="5261055"/>
                  <a:pt x="2869105" y="5260849"/>
                </a:cubicBezTo>
                <a:cubicBezTo>
                  <a:pt x="2868485" y="5260642"/>
                  <a:pt x="2867865" y="5260022"/>
                  <a:pt x="2867401" y="5259506"/>
                </a:cubicBezTo>
                <a:cubicBezTo>
                  <a:pt x="2866162" y="5258887"/>
                  <a:pt x="2865542" y="5257751"/>
                  <a:pt x="2865542" y="5256409"/>
                </a:cubicBezTo>
                <a:lnTo>
                  <a:pt x="2865697" y="5255376"/>
                </a:lnTo>
                <a:lnTo>
                  <a:pt x="2865077" y="5256099"/>
                </a:lnTo>
                <a:cubicBezTo>
                  <a:pt x="2863993" y="5256409"/>
                  <a:pt x="2862754" y="5256512"/>
                  <a:pt x="2861670" y="5256202"/>
                </a:cubicBezTo>
                <a:cubicBezTo>
                  <a:pt x="2860740" y="5256305"/>
                  <a:pt x="2859966" y="5255789"/>
                  <a:pt x="2859501" y="5255066"/>
                </a:cubicBezTo>
                <a:lnTo>
                  <a:pt x="2858727" y="5252691"/>
                </a:lnTo>
                <a:lnTo>
                  <a:pt x="2857023" y="5253001"/>
                </a:lnTo>
                <a:cubicBezTo>
                  <a:pt x="2856093" y="5250626"/>
                  <a:pt x="2855319" y="5248251"/>
                  <a:pt x="2857488" y="5247632"/>
                </a:cubicBezTo>
                <a:cubicBezTo>
                  <a:pt x="2858727" y="5247322"/>
                  <a:pt x="2859811" y="5246909"/>
                  <a:pt x="2861360" y="5247838"/>
                </a:cubicBezTo>
                <a:lnTo>
                  <a:pt x="2861360" y="5248354"/>
                </a:lnTo>
                <a:lnTo>
                  <a:pt x="2861515" y="5248148"/>
                </a:lnTo>
                <a:cubicBezTo>
                  <a:pt x="2862134" y="5247632"/>
                  <a:pt x="2862909" y="5247219"/>
                  <a:pt x="2863838" y="5247115"/>
                </a:cubicBezTo>
                <a:close/>
                <a:moveTo>
                  <a:pt x="2459559" y="5247012"/>
                </a:moveTo>
                <a:cubicBezTo>
                  <a:pt x="2462812" y="5247735"/>
                  <a:pt x="2463741" y="5250936"/>
                  <a:pt x="2463122" y="5254240"/>
                </a:cubicBezTo>
                <a:cubicBezTo>
                  <a:pt x="2462657" y="5257441"/>
                  <a:pt x="2460643" y="5260849"/>
                  <a:pt x="2458010" y="5261881"/>
                </a:cubicBezTo>
                <a:cubicBezTo>
                  <a:pt x="2457235" y="5260539"/>
                  <a:pt x="2456461" y="5259196"/>
                  <a:pt x="2455996" y="5257957"/>
                </a:cubicBezTo>
                <a:cubicBezTo>
                  <a:pt x="2454757" y="5254034"/>
                  <a:pt x="2455222" y="5250626"/>
                  <a:pt x="2459559" y="5247012"/>
                </a:cubicBezTo>
                <a:close/>
                <a:moveTo>
                  <a:pt x="2332699" y="5246393"/>
                </a:moveTo>
                <a:cubicBezTo>
                  <a:pt x="2335642" y="5250626"/>
                  <a:pt x="2340599" y="5252588"/>
                  <a:pt x="2340599" y="5255789"/>
                </a:cubicBezTo>
                <a:cubicBezTo>
                  <a:pt x="2340599" y="5256821"/>
                  <a:pt x="2340134" y="5257957"/>
                  <a:pt x="2338895" y="5259403"/>
                </a:cubicBezTo>
                <a:cubicBezTo>
                  <a:pt x="2337036" y="5258783"/>
                  <a:pt x="2333009" y="5255892"/>
                  <a:pt x="2331150" y="5252898"/>
                </a:cubicBezTo>
                <a:cubicBezTo>
                  <a:pt x="2330530" y="5251865"/>
                  <a:pt x="2330066" y="5250833"/>
                  <a:pt x="2330066" y="5249904"/>
                </a:cubicBezTo>
                <a:cubicBezTo>
                  <a:pt x="2330066" y="5248561"/>
                  <a:pt x="2330840" y="5247322"/>
                  <a:pt x="2332699" y="5246393"/>
                </a:cubicBezTo>
                <a:close/>
                <a:moveTo>
                  <a:pt x="1880422" y="5245902"/>
                </a:moveTo>
                <a:cubicBezTo>
                  <a:pt x="1883229" y="5245721"/>
                  <a:pt x="1885436" y="5246393"/>
                  <a:pt x="1886289" y="5245980"/>
                </a:cubicBezTo>
                <a:cubicBezTo>
                  <a:pt x="1888457" y="5248664"/>
                  <a:pt x="1888457" y="5248664"/>
                  <a:pt x="1883810" y="5253827"/>
                </a:cubicBezTo>
                <a:cubicBezTo>
                  <a:pt x="1882880" y="5254653"/>
                  <a:pt x="1881796" y="5255273"/>
                  <a:pt x="1880713" y="5255582"/>
                </a:cubicBezTo>
                <a:cubicBezTo>
                  <a:pt x="1879473" y="5255892"/>
                  <a:pt x="1878234" y="5255892"/>
                  <a:pt x="1876994" y="5255376"/>
                </a:cubicBezTo>
                <a:cubicBezTo>
                  <a:pt x="1876220" y="5255789"/>
                  <a:pt x="1875135" y="5255995"/>
                  <a:pt x="1874051" y="5255995"/>
                </a:cubicBezTo>
                <a:cubicBezTo>
                  <a:pt x="1873122" y="5255995"/>
                  <a:pt x="1872038" y="5255686"/>
                  <a:pt x="1871263" y="5255273"/>
                </a:cubicBezTo>
                <a:cubicBezTo>
                  <a:pt x="1870489" y="5254447"/>
                  <a:pt x="1870179" y="5253517"/>
                  <a:pt x="1870179" y="5252795"/>
                </a:cubicBezTo>
                <a:cubicBezTo>
                  <a:pt x="1870179" y="5251969"/>
                  <a:pt x="1870489" y="5251349"/>
                  <a:pt x="1870953" y="5250936"/>
                </a:cubicBezTo>
                <a:cubicBezTo>
                  <a:pt x="1874206" y="5247115"/>
                  <a:pt x="1877614" y="5246083"/>
                  <a:pt x="1880422" y="5245902"/>
                </a:cubicBezTo>
                <a:close/>
                <a:moveTo>
                  <a:pt x="1690499" y="5245464"/>
                </a:moveTo>
                <a:cubicBezTo>
                  <a:pt x="1691429" y="5244638"/>
                  <a:pt x="1692203" y="5244638"/>
                  <a:pt x="1692978" y="5245464"/>
                </a:cubicBezTo>
                <a:cubicBezTo>
                  <a:pt x="1692978" y="5245464"/>
                  <a:pt x="1692048" y="5247219"/>
                  <a:pt x="1692048" y="5247219"/>
                </a:cubicBezTo>
                <a:cubicBezTo>
                  <a:pt x="1690034" y="5248974"/>
                  <a:pt x="1689105" y="5249800"/>
                  <a:pt x="1688021" y="5251555"/>
                </a:cubicBezTo>
                <a:cubicBezTo>
                  <a:pt x="1687247" y="5251143"/>
                  <a:pt x="1686937" y="5250626"/>
                  <a:pt x="1686782" y="5250213"/>
                </a:cubicBezTo>
                <a:cubicBezTo>
                  <a:pt x="1686782" y="5249800"/>
                  <a:pt x="1686937" y="5249284"/>
                  <a:pt x="1687401" y="5248871"/>
                </a:cubicBezTo>
                <a:cubicBezTo>
                  <a:pt x="1687401" y="5248871"/>
                  <a:pt x="1688331" y="5248045"/>
                  <a:pt x="1689415" y="5247115"/>
                </a:cubicBezTo>
                <a:cubicBezTo>
                  <a:pt x="1690344" y="5246289"/>
                  <a:pt x="1690499" y="5245464"/>
                  <a:pt x="1690499" y="5245464"/>
                </a:cubicBezTo>
                <a:close/>
                <a:moveTo>
                  <a:pt x="2479250" y="5245218"/>
                </a:moveTo>
                <a:cubicBezTo>
                  <a:pt x="2480857" y="5243553"/>
                  <a:pt x="2483568" y="5243243"/>
                  <a:pt x="2485427" y="5246806"/>
                </a:cubicBezTo>
                <a:cubicBezTo>
                  <a:pt x="2482949" y="5249387"/>
                  <a:pt x="2481399" y="5251039"/>
                  <a:pt x="2479695" y="5251762"/>
                </a:cubicBezTo>
                <a:cubicBezTo>
                  <a:pt x="2477140" y="5249903"/>
                  <a:pt x="2477643" y="5246883"/>
                  <a:pt x="2479250" y="5245218"/>
                </a:cubicBezTo>
                <a:close/>
                <a:moveTo>
                  <a:pt x="2502001" y="5245050"/>
                </a:moveTo>
                <a:cubicBezTo>
                  <a:pt x="2505718" y="5247528"/>
                  <a:pt x="2507112" y="5244844"/>
                  <a:pt x="2512688" y="5248871"/>
                </a:cubicBezTo>
                <a:cubicBezTo>
                  <a:pt x="2518265" y="5252485"/>
                  <a:pt x="2519194" y="5256821"/>
                  <a:pt x="2518420" y="5260229"/>
                </a:cubicBezTo>
                <a:lnTo>
                  <a:pt x="2517490" y="5262914"/>
                </a:lnTo>
                <a:lnTo>
                  <a:pt x="2519504" y="5264669"/>
                </a:lnTo>
                <a:cubicBezTo>
                  <a:pt x="2512998" y="5269522"/>
                  <a:pt x="2522292" y="5273343"/>
                  <a:pt x="2517490" y="5277473"/>
                </a:cubicBezTo>
                <a:cubicBezTo>
                  <a:pt x="2515012" y="5277989"/>
                  <a:pt x="2512688" y="5279538"/>
                  <a:pt x="2509745" y="5279125"/>
                </a:cubicBezTo>
                <a:cubicBezTo>
                  <a:pt x="2508816" y="5278918"/>
                  <a:pt x="2507887" y="5278609"/>
                  <a:pt x="2506802" y="5277886"/>
                </a:cubicBezTo>
                <a:cubicBezTo>
                  <a:pt x="2508661" y="5274891"/>
                  <a:pt x="2509900" y="5272207"/>
                  <a:pt x="2510675" y="5269419"/>
                </a:cubicBezTo>
                <a:lnTo>
                  <a:pt x="2511449" y="5267147"/>
                </a:lnTo>
                <a:lnTo>
                  <a:pt x="2508816" y="5267767"/>
                </a:lnTo>
                <a:cubicBezTo>
                  <a:pt x="2507267" y="5267870"/>
                  <a:pt x="2505408" y="5267354"/>
                  <a:pt x="2503394" y="5265908"/>
                </a:cubicBezTo>
                <a:cubicBezTo>
                  <a:pt x="2498593" y="5262707"/>
                  <a:pt x="2494566" y="5257751"/>
                  <a:pt x="2499522" y="5250420"/>
                </a:cubicBezTo>
                <a:cubicBezTo>
                  <a:pt x="2499987" y="5248664"/>
                  <a:pt x="2500142" y="5249594"/>
                  <a:pt x="2500916" y="5248664"/>
                </a:cubicBezTo>
                <a:cubicBezTo>
                  <a:pt x="2501536" y="5247735"/>
                  <a:pt x="2502156" y="5245980"/>
                  <a:pt x="2502001" y="5245050"/>
                </a:cubicBezTo>
                <a:close/>
                <a:moveTo>
                  <a:pt x="2622355" y="5244534"/>
                </a:moveTo>
                <a:cubicBezTo>
                  <a:pt x="2626382" y="5247012"/>
                  <a:pt x="2624524" y="5251039"/>
                  <a:pt x="2621890" y="5255376"/>
                </a:cubicBezTo>
                <a:cubicBezTo>
                  <a:pt x="2620186" y="5254963"/>
                  <a:pt x="2618483" y="5255479"/>
                  <a:pt x="2616624" y="5255066"/>
                </a:cubicBezTo>
                <a:cubicBezTo>
                  <a:pt x="2614920" y="5252898"/>
                  <a:pt x="2615849" y="5246599"/>
                  <a:pt x="2618792" y="5244638"/>
                </a:cubicBezTo>
                <a:cubicBezTo>
                  <a:pt x="2619722" y="5244018"/>
                  <a:pt x="2620961" y="5243915"/>
                  <a:pt x="2622355" y="5244534"/>
                </a:cubicBezTo>
                <a:close/>
                <a:moveTo>
                  <a:pt x="2194532" y="5243708"/>
                </a:moveTo>
                <a:cubicBezTo>
                  <a:pt x="2195306" y="5243708"/>
                  <a:pt x="2196081" y="5244638"/>
                  <a:pt x="2196081" y="5244638"/>
                </a:cubicBezTo>
                <a:cubicBezTo>
                  <a:pt x="2196855" y="5245567"/>
                  <a:pt x="2196855" y="5245464"/>
                  <a:pt x="2197785" y="5244638"/>
                </a:cubicBezTo>
                <a:cubicBezTo>
                  <a:pt x="2197785" y="5244638"/>
                  <a:pt x="2197630" y="5245567"/>
                  <a:pt x="2197630" y="5245567"/>
                </a:cubicBezTo>
                <a:cubicBezTo>
                  <a:pt x="2196855" y="5245567"/>
                  <a:pt x="2197630" y="5245567"/>
                  <a:pt x="2198404" y="5246496"/>
                </a:cubicBezTo>
                <a:cubicBezTo>
                  <a:pt x="2197320" y="5248148"/>
                  <a:pt x="2197320" y="5249077"/>
                  <a:pt x="2196391" y="5249904"/>
                </a:cubicBezTo>
                <a:cubicBezTo>
                  <a:pt x="2195926" y="5250316"/>
                  <a:pt x="2195306" y="5250729"/>
                  <a:pt x="2194532" y="5250936"/>
                </a:cubicBezTo>
                <a:cubicBezTo>
                  <a:pt x="2193912" y="5251143"/>
                  <a:pt x="2193293" y="5251143"/>
                  <a:pt x="2192983" y="5250729"/>
                </a:cubicBezTo>
                <a:cubicBezTo>
                  <a:pt x="2193138" y="5249800"/>
                  <a:pt x="2192208" y="5249800"/>
                  <a:pt x="2192363" y="5248974"/>
                </a:cubicBezTo>
                <a:cubicBezTo>
                  <a:pt x="2191744" y="5247219"/>
                  <a:pt x="2191744" y="5246289"/>
                  <a:pt x="2192674" y="5245464"/>
                </a:cubicBezTo>
                <a:cubicBezTo>
                  <a:pt x="2192674" y="5244534"/>
                  <a:pt x="2193602" y="5244638"/>
                  <a:pt x="2194532" y="5243708"/>
                </a:cubicBezTo>
                <a:close/>
                <a:moveTo>
                  <a:pt x="2636760" y="5243398"/>
                </a:moveTo>
                <a:cubicBezTo>
                  <a:pt x="2639239" y="5242676"/>
                  <a:pt x="2641717" y="5241953"/>
                  <a:pt x="2645125" y="5244638"/>
                </a:cubicBezTo>
                <a:cubicBezTo>
                  <a:pt x="2646054" y="5248148"/>
                  <a:pt x="2645435" y="5250626"/>
                  <a:pt x="2642182" y="5253931"/>
                </a:cubicBezTo>
                <a:cubicBezTo>
                  <a:pt x="2637999" y="5253724"/>
                  <a:pt x="2632733" y="5247528"/>
                  <a:pt x="2636760" y="5243398"/>
                </a:cubicBezTo>
                <a:close/>
                <a:moveTo>
                  <a:pt x="1653014" y="5242985"/>
                </a:moveTo>
                <a:cubicBezTo>
                  <a:pt x="1646354" y="5250833"/>
                  <a:pt x="1641707" y="5246289"/>
                  <a:pt x="1637990" y="5250729"/>
                </a:cubicBezTo>
                <a:cubicBezTo>
                  <a:pt x="1637215" y="5248871"/>
                  <a:pt x="1637215" y="5248871"/>
                  <a:pt x="1638299" y="5247115"/>
                </a:cubicBezTo>
                <a:cubicBezTo>
                  <a:pt x="1639074" y="5247219"/>
                  <a:pt x="1639229" y="5246289"/>
                  <a:pt x="1640003" y="5247115"/>
                </a:cubicBezTo>
                <a:cubicBezTo>
                  <a:pt x="1641862" y="5244534"/>
                  <a:pt x="1649762" y="5242056"/>
                  <a:pt x="1653014" y="5242985"/>
                </a:cubicBezTo>
                <a:close/>
                <a:moveTo>
                  <a:pt x="2571084" y="5241333"/>
                </a:moveTo>
                <a:cubicBezTo>
                  <a:pt x="2572943" y="5239578"/>
                  <a:pt x="2576971" y="5240507"/>
                  <a:pt x="2578519" y="5241437"/>
                </a:cubicBezTo>
                <a:cubicBezTo>
                  <a:pt x="2579913" y="5243192"/>
                  <a:pt x="2578984" y="5245670"/>
                  <a:pt x="2577125" y="5247425"/>
                </a:cubicBezTo>
                <a:cubicBezTo>
                  <a:pt x="2576505" y="5248251"/>
                  <a:pt x="2575731" y="5248664"/>
                  <a:pt x="2574802" y="5248768"/>
                </a:cubicBezTo>
                <a:cubicBezTo>
                  <a:pt x="2573873" y="5248871"/>
                  <a:pt x="2572788" y="5248664"/>
                  <a:pt x="2572014" y="5248148"/>
                </a:cubicBezTo>
                <a:cubicBezTo>
                  <a:pt x="2571239" y="5247322"/>
                  <a:pt x="2571239" y="5247322"/>
                  <a:pt x="2570620" y="5246496"/>
                </a:cubicBezTo>
                <a:cubicBezTo>
                  <a:pt x="2570774" y="5244741"/>
                  <a:pt x="2570000" y="5242985"/>
                  <a:pt x="2571084" y="5241333"/>
                </a:cubicBezTo>
                <a:close/>
                <a:moveTo>
                  <a:pt x="2635366" y="5241127"/>
                </a:moveTo>
                <a:cubicBezTo>
                  <a:pt x="2636451" y="5241333"/>
                  <a:pt x="2637535" y="5241643"/>
                  <a:pt x="2636760" y="5242159"/>
                </a:cubicBezTo>
                <a:cubicBezTo>
                  <a:pt x="2637225" y="5242882"/>
                  <a:pt x="2636451" y="5243295"/>
                  <a:pt x="2636141" y="5244534"/>
                </a:cubicBezTo>
                <a:cubicBezTo>
                  <a:pt x="2635056" y="5246186"/>
                  <a:pt x="2632888" y="5247528"/>
                  <a:pt x="2631649" y="5247219"/>
                </a:cubicBezTo>
                <a:cubicBezTo>
                  <a:pt x="2630564" y="5246909"/>
                  <a:pt x="2630255" y="5246186"/>
                  <a:pt x="2630255" y="5246186"/>
                </a:cubicBezTo>
                <a:cubicBezTo>
                  <a:pt x="2630564" y="5243088"/>
                  <a:pt x="2631959" y="5240197"/>
                  <a:pt x="2635366" y="5241127"/>
                </a:cubicBezTo>
                <a:close/>
                <a:moveTo>
                  <a:pt x="1949796" y="5240610"/>
                </a:moveTo>
                <a:cubicBezTo>
                  <a:pt x="1951654" y="5242469"/>
                  <a:pt x="1953359" y="5244328"/>
                  <a:pt x="1955062" y="5246083"/>
                </a:cubicBezTo>
                <a:cubicBezTo>
                  <a:pt x="1953513" y="5246909"/>
                  <a:pt x="1952739" y="5248664"/>
                  <a:pt x="1951965" y="5249594"/>
                </a:cubicBezTo>
                <a:cubicBezTo>
                  <a:pt x="1949486" y="5249387"/>
                  <a:pt x="1947782" y="5248458"/>
                  <a:pt x="1946079" y="5245773"/>
                </a:cubicBezTo>
                <a:cubicBezTo>
                  <a:pt x="1947472" y="5242262"/>
                  <a:pt x="1946698" y="5243192"/>
                  <a:pt x="1949796" y="5240610"/>
                </a:cubicBezTo>
                <a:close/>
                <a:moveTo>
                  <a:pt x="2696240" y="5240404"/>
                </a:moveTo>
                <a:cubicBezTo>
                  <a:pt x="2703366" y="5247632"/>
                  <a:pt x="2699493" y="5254756"/>
                  <a:pt x="2700268" y="5256615"/>
                </a:cubicBezTo>
                <a:cubicBezTo>
                  <a:pt x="2698874" y="5257751"/>
                  <a:pt x="2698254" y="5258267"/>
                  <a:pt x="2697325" y="5257854"/>
                </a:cubicBezTo>
                <a:cubicBezTo>
                  <a:pt x="2696396" y="5257544"/>
                  <a:pt x="2695311" y="5256202"/>
                  <a:pt x="2692988" y="5253724"/>
                </a:cubicBezTo>
                <a:cubicBezTo>
                  <a:pt x="2692213" y="5252691"/>
                  <a:pt x="2691594" y="5251555"/>
                  <a:pt x="2691284" y="5250316"/>
                </a:cubicBezTo>
                <a:cubicBezTo>
                  <a:pt x="2691129" y="5249077"/>
                  <a:pt x="2691284" y="5247735"/>
                  <a:pt x="2691749" y="5246599"/>
                </a:cubicBezTo>
                <a:cubicBezTo>
                  <a:pt x="2690974" y="5244741"/>
                  <a:pt x="2691129" y="5242159"/>
                  <a:pt x="2692058" y="5240610"/>
                </a:cubicBezTo>
                <a:cubicBezTo>
                  <a:pt x="2693917" y="5239165"/>
                  <a:pt x="2695466" y="5239475"/>
                  <a:pt x="2696240" y="5240404"/>
                </a:cubicBezTo>
                <a:close/>
                <a:moveTo>
                  <a:pt x="1659985" y="5238855"/>
                </a:moveTo>
                <a:cubicBezTo>
                  <a:pt x="1659055" y="5239784"/>
                  <a:pt x="1657352" y="5240610"/>
                  <a:pt x="1656422" y="5241437"/>
                </a:cubicBezTo>
                <a:cubicBezTo>
                  <a:pt x="1656422" y="5241437"/>
                  <a:pt x="1656422" y="5241437"/>
                  <a:pt x="1655648" y="5240610"/>
                </a:cubicBezTo>
                <a:cubicBezTo>
                  <a:pt x="1657352" y="5240610"/>
                  <a:pt x="1658590" y="5237100"/>
                  <a:pt x="1659985" y="5238855"/>
                </a:cubicBezTo>
                <a:close/>
                <a:moveTo>
                  <a:pt x="2653179" y="5238752"/>
                </a:moveTo>
                <a:cubicBezTo>
                  <a:pt x="2654883" y="5238855"/>
                  <a:pt x="2657981" y="5239784"/>
                  <a:pt x="2658446" y="5242159"/>
                </a:cubicBezTo>
                <a:cubicBezTo>
                  <a:pt x="2658446" y="5242159"/>
                  <a:pt x="2658446" y="5242056"/>
                  <a:pt x="2658601" y="5243192"/>
                </a:cubicBezTo>
                <a:cubicBezTo>
                  <a:pt x="2656587" y="5241953"/>
                  <a:pt x="2653954" y="5240301"/>
                  <a:pt x="2653179" y="5238752"/>
                </a:cubicBezTo>
                <a:close/>
                <a:moveTo>
                  <a:pt x="1646993" y="5238597"/>
                </a:moveTo>
                <a:cubicBezTo>
                  <a:pt x="1649297" y="5238519"/>
                  <a:pt x="1651156" y="5238752"/>
                  <a:pt x="1651621" y="5238752"/>
                </a:cubicBezTo>
                <a:cubicBezTo>
                  <a:pt x="1651466" y="5239578"/>
                  <a:pt x="1651466" y="5239578"/>
                  <a:pt x="1651466" y="5239578"/>
                </a:cubicBezTo>
                <a:cubicBezTo>
                  <a:pt x="1649142" y="5238958"/>
                  <a:pt x="1645889" y="5241127"/>
                  <a:pt x="1642636" y="5241437"/>
                </a:cubicBezTo>
                <a:cubicBezTo>
                  <a:pt x="1641707" y="5241643"/>
                  <a:pt x="1640622" y="5241540"/>
                  <a:pt x="1639539" y="5241127"/>
                </a:cubicBezTo>
                <a:cubicBezTo>
                  <a:pt x="1639539" y="5241127"/>
                  <a:pt x="1639539" y="5241127"/>
                  <a:pt x="1640468" y="5241127"/>
                </a:cubicBezTo>
                <a:cubicBezTo>
                  <a:pt x="1640468" y="5241127"/>
                  <a:pt x="1639539" y="5241127"/>
                  <a:pt x="1639694" y="5240301"/>
                </a:cubicBezTo>
                <a:cubicBezTo>
                  <a:pt x="1641940" y="5239062"/>
                  <a:pt x="1644689" y="5238674"/>
                  <a:pt x="1646993" y="5238597"/>
                </a:cubicBezTo>
                <a:close/>
                <a:moveTo>
                  <a:pt x="2844631" y="5237719"/>
                </a:moveTo>
                <a:cubicBezTo>
                  <a:pt x="2846180" y="5237926"/>
                  <a:pt x="2847884" y="5237306"/>
                  <a:pt x="2849588" y="5238442"/>
                </a:cubicBezTo>
                <a:cubicBezTo>
                  <a:pt x="2851137" y="5240404"/>
                  <a:pt x="2849898" y="5244638"/>
                  <a:pt x="2848968" y="5246186"/>
                </a:cubicBezTo>
                <a:cubicBezTo>
                  <a:pt x="2848194" y="5246909"/>
                  <a:pt x="2847109" y="5246909"/>
                  <a:pt x="2846025" y="5246599"/>
                </a:cubicBezTo>
                <a:cubicBezTo>
                  <a:pt x="2845096" y="5246186"/>
                  <a:pt x="2844011" y="5245360"/>
                  <a:pt x="2843237" y="5244431"/>
                </a:cubicBezTo>
                <a:cubicBezTo>
                  <a:pt x="2842463" y="5243811"/>
                  <a:pt x="2842153" y="5242882"/>
                  <a:pt x="2842153" y="5241953"/>
                </a:cubicBezTo>
                <a:cubicBezTo>
                  <a:pt x="2842153" y="5240920"/>
                  <a:pt x="2842308" y="5239887"/>
                  <a:pt x="2842772" y="5239061"/>
                </a:cubicBezTo>
                <a:cubicBezTo>
                  <a:pt x="2843702" y="5238339"/>
                  <a:pt x="2843702" y="5238442"/>
                  <a:pt x="2844631" y="5237719"/>
                </a:cubicBezTo>
                <a:close/>
                <a:moveTo>
                  <a:pt x="2029877" y="5237306"/>
                </a:moveTo>
                <a:cubicBezTo>
                  <a:pt x="2030651" y="5237926"/>
                  <a:pt x="2031117" y="5238958"/>
                  <a:pt x="2031117" y="5240817"/>
                </a:cubicBezTo>
                <a:cubicBezTo>
                  <a:pt x="2029723" y="5241540"/>
                  <a:pt x="2026470" y="5242676"/>
                  <a:pt x="2023372" y="5242882"/>
                </a:cubicBezTo>
                <a:cubicBezTo>
                  <a:pt x="2020273" y="5243192"/>
                  <a:pt x="2017485" y="5242572"/>
                  <a:pt x="2017021" y="5240301"/>
                </a:cubicBezTo>
                <a:cubicBezTo>
                  <a:pt x="2016866" y="5239578"/>
                  <a:pt x="2017021" y="5238752"/>
                  <a:pt x="2017330" y="5237822"/>
                </a:cubicBezTo>
                <a:cubicBezTo>
                  <a:pt x="2022597" y="5238029"/>
                  <a:pt x="2027554" y="5235448"/>
                  <a:pt x="2029877" y="5237306"/>
                </a:cubicBezTo>
                <a:close/>
                <a:moveTo>
                  <a:pt x="2505718" y="5235035"/>
                </a:moveTo>
                <a:cubicBezTo>
                  <a:pt x="2509745" y="5233795"/>
                  <a:pt x="2512998" y="5237306"/>
                  <a:pt x="2509591" y="5241953"/>
                </a:cubicBezTo>
                <a:cubicBezTo>
                  <a:pt x="2507267" y="5240610"/>
                  <a:pt x="2505098" y="5239165"/>
                  <a:pt x="2504944" y="5237203"/>
                </a:cubicBezTo>
                <a:cubicBezTo>
                  <a:pt x="2504944" y="5236583"/>
                  <a:pt x="2505098" y="5235861"/>
                  <a:pt x="2505718" y="5235035"/>
                </a:cubicBezTo>
                <a:close/>
                <a:moveTo>
                  <a:pt x="2733725" y="5234725"/>
                </a:moveTo>
                <a:cubicBezTo>
                  <a:pt x="2737908" y="5238236"/>
                  <a:pt x="2740541" y="5241643"/>
                  <a:pt x="2741780" y="5244947"/>
                </a:cubicBezTo>
                <a:lnTo>
                  <a:pt x="2742245" y="5253208"/>
                </a:lnTo>
                <a:lnTo>
                  <a:pt x="2746427" y="5257338"/>
                </a:lnTo>
                <a:lnTo>
                  <a:pt x="2748905" y="5256718"/>
                </a:lnTo>
                <a:cubicBezTo>
                  <a:pt x="2750299" y="5256925"/>
                  <a:pt x="2751693" y="5257751"/>
                  <a:pt x="2752623" y="5259093"/>
                </a:cubicBezTo>
                <a:lnTo>
                  <a:pt x="2752313" y="5260022"/>
                </a:lnTo>
                <a:lnTo>
                  <a:pt x="2753397" y="5260126"/>
                </a:lnTo>
                <a:cubicBezTo>
                  <a:pt x="2754327" y="5260436"/>
                  <a:pt x="2755101" y="5260952"/>
                  <a:pt x="2756031" y="5261778"/>
                </a:cubicBezTo>
                <a:cubicBezTo>
                  <a:pt x="2758663" y="5264463"/>
                  <a:pt x="2760677" y="5270658"/>
                  <a:pt x="2758199" y="5273136"/>
                </a:cubicBezTo>
                <a:cubicBezTo>
                  <a:pt x="2755875" y="5276440"/>
                  <a:pt x="2753397" y="5277163"/>
                  <a:pt x="2750764" y="5277060"/>
                </a:cubicBezTo>
                <a:cubicBezTo>
                  <a:pt x="2750764" y="5277060"/>
                  <a:pt x="2750764" y="5277060"/>
                  <a:pt x="2751693" y="5277060"/>
                </a:cubicBezTo>
                <a:cubicBezTo>
                  <a:pt x="2755256" y="5280674"/>
                  <a:pt x="2761297" y="5286973"/>
                  <a:pt x="2760677" y="5289554"/>
                </a:cubicBezTo>
                <a:cubicBezTo>
                  <a:pt x="2759748" y="5289554"/>
                  <a:pt x="2758974" y="5289450"/>
                  <a:pt x="2758044" y="5288624"/>
                </a:cubicBezTo>
                <a:cubicBezTo>
                  <a:pt x="2757115" y="5287695"/>
                  <a:pt x="2758044" y="5287695"/>
                  <a:pt x="2757270" y="5287695"/>
                </a:cubicBezTo>
                <a:lnTo>
                  <a:pt x="2756960" y="5287592"/>
                </a:lnTo>
                <a:lnTo>
                  <a:pt x="2758663" y="5290277"/>
                </a:lnTo>
                <a:cubicBezTo>
                  <a:pt x="2757115" y="5291929"/>
                  <a:pt x="2758044" y="5293684"/>
                  <a:pt x="2756340" y="5295336"/>
                </a:cubicBezTo>
                <a:cubicBezTo>
                  <a:pt x="2751074" y="5289967"/>
                  <a:pt x="2745033" y="5284494"/>
                  <a:pt x="2747356" y="5279435"/>
                </a:cubicBezTo>
                <a:lnTo>
                  <a:pt x="2745652" y="5276853"/>
                </a:lnTo>
                <a:cubicBezTo>
                  <a:pt x="2746427" y="5275098"/>
                  <a:pt x="2746427" y="5275098"/>
                  <a:pt x="2747356" y="5275201"/>
                </a:cubicBezTo>
                <a:lnTo>
                  <a:pt x="2745962" y="5273652"/>
                </a:lnTo>
                <a:lnTo>
                  <a:pt x="2744568" y="5277783"/>
                </a:lnTo>
                <a:lnTo>
                  <a:pt x="2742710" y="5279538"/>
                </a:lnTo>
                <a:lnTo>
                  <a:pt x="2742864" y="5280364"/>
                </a:lnTo>
                <a:cubicBezTo>
                  <a:pt x="2743019" y="5283772"/>
                  <a:pt x="2742554" y="5287076"/>
                  <a:pt x="2741470" y="5290277"/>
                </a:cubicBezTo>
                <a:cubicBezTo>
                  <a:pt x="2739456" y="5290174"/>
                  <a:pt x="2737443" y="5289657"/>
                  <a:pt x="2735584" y="5288934"/>
                </a:cubicBezTo>
                <a:lnTo>
                  <a:pt x="2732641" y="5287695"/>
                </a:lnTo>
                <a:lnTo>
                  <a:pt x="2731402" y="5291206"/>
                </a:lnTo>
                <a:cubicBezTo>
                  <a:pt x="2730473" y="5292342"/>
                  <a:pt x="2729233" y="5292961"/>
                  <a:pt x="2727839" y="5293168"/>
                </a:cubicBezTo>
                <a:cubicBezTo>
                  <a:pt x="2726910" y="5292032"/>
                  <a:pt x="2726445" y="5290896"/>
                  <a:pt x="2726445" y="5289760"/>
                </a:cubicBezTo>
                <a:cubicBezTo>
                  <a:pt x="2726445" y="5288005"/>
                  <a:pt x="2727220" y="5286559"/>
                  <a:pt x="2728459" y="5285733"/>
                </a:cubicBezTo>
                <a:lnTo>
                  <a:pt x="2728769" y="5285630"/>
                </a:lnTo>
                <a:lnTo>
                  <a:pt x="2722418" y="5281810"/>
                </a:lnTo>
                <a:lnTo>
                  <a:pt x="2719784" y="5284494"/>
                </a:lnTo>
                <a:cubicBezTo>
                  <a:pt x="2718546" y="5285423"/>
                  <a:pt x="2716996" y="5285837"/>
                  <a:pt x="2715138" y="5285837"/>
                </a:cubicBezTo>
                <a:cubicBezTo>
                  <a:pt x="2714983" y="5277266"/>
                  <a:pt x="2720559" y="5275614"/>
                  <a:pt x="2725361" y="5273343"/>
                </a:cubicBezTo>
                <a:cubicBezTo>
                  <a:pt x="2725516" y="5274272"/>
                  <a:pt x="2725516" y="5275511"/>
                  <a:pt x="2725051" y="5276853"/>
                </a:cubicBezTo>
                <a:lnTo>
                  <a:pt x="2724122" y="5279228"/>
                </a:lnTo>
                <a:lnTo>
                  <a:pt x="2724897" y="5278918"/>
                </a:lnTo>
                <a:cubicBezTo>
                  <a:pt x="2726600" y="5278712"/>
                  <a:pt x="2728149" y="5278609"/>
                  <a:pt x="2729853" y="5278299"/>
                </a:cubicBezTo>
                <a:lnTo>
                  <a:pt x="2733725" y="5276544"/>
                </a:lnTo>
                <a:lnTo>
                  <a:pt x="2731092" y="5266528"/>
                </a:lnTo>
                <a:lnTo>
                  <a:pt x="2731557" y="5260022"/>
                </a:lnTo>
                <a:lnTo>
                  <a:pt x="2729078" y="5260332"/>
                </a:lnTo>
                <a:cubicBezTo>
                  <a:pt x="2725051" y="5259506"/>
                  <a:pt x="2720559" y="5256718"/>
                  <a:pt x="2716687" y="5251452"/>
                </a:cubicBezTo>
                <a:cubicBezTo>
                  <a:pt x="2716532" y="5249387"/>
                  <a:pt x="2717152" y="5247219"/>
                  <a:pt x="2718236" y="5245050"/>
                </a:cubicBezTo>
                <a:cubicBezTo>
                  <a:pt x="2721488" y="5238752"/>
                  <a:pt x="2728924" y="5233176"/>
                  <a:pt x="2733725" y="5234725"/>
                </a:cubicBezTo>
                <a:close/>
                <a:moveTo>
                  <a:pt x="2765479" y="5231627"/>
                </a:moveTo>
                <a:cubicBezTo>
                  <a:pt x="2766563" y="5231730"/>
                  <a:pt x="2768422" y="5231111"/>
                  <a:pt x="2770126" y="5231834"/>
                </a:cubicBezTo>
                <a:cubicBezTo>
                  <a:pt x="2770746" y="5234105"/>
                  <a:pt x="2769816" y="5235241"/>
                  <a:pt x="2768732" y="5235654"/>
                </a:cubicBezTo>
                <a:cubicBezTo>
                  <a:pt x="2767493" y="5235964"/>
                  <a:pt x="2766099" y="5235448"/>
                  <a:pt x="2765324" y="5234415"/>
                </a:cubicBezTo>
                <a:cubicBezTo>
                  <a:pt x="2764860" y="5233692"/>
                  <a:pt x="2764860" y="5232763"/>
                  <a:pt x="2765479" y="5231627"/>
                </a:cubicBezTo>
                <a:close/>
                <a:moveTo>
                  <a:pt x="2413245" y="5231420"/>
                </a:moveTo>
                <a:cubicBezTo>
                  <a:pt x="2411231" y="5235861"/>
                  <a:pt x="2405345" y="5240920"/>
                  <a:pt x="2400544" y="5240404"/>
                </a:cubicBezTo>
                <a:cubicBezTo>
                  <a:pt x="2398994" y="5240301"/>
                  <a:pt x="2397600" y="5239475"/>
                  <a:pt x="2396361" y="5237822"/>
                </a:cubicBezTo>
                <a:cubicBezTo>
                  <a:pt x="2401628" y="5235654"/>
                  <a:pt x="2407359" y="5231730"/>
                  <a:pt x="2413245" y="5231420"/>
                </a:cubicBezTo>
                <a:close/>
                <a:moveTo>
                  <a:pt x="1880925" y="5230801"/>
                </a:moveTo>
                <a:cubicBezTo>
                  <a:pt x="1883965" y="5229846"/>
                  <a:pt x="1886521" y="5231834"/>
                  <a:pt x="1883810" y="5240920"/>
                </a:cubicBezTo>
                <a:cubicBezTo>
                  <a:pt x="1878079" y="5241437"/>
                  <a:pt x="1875601" y="5240197"/>
                  <a:pt x="1875135" y="5238339"/>
                </a:cubicBezTo>
                <a:cubicBezTo>
                  <a:pt x="1874361" y="5235654"/>
                  <a:pt x="1877885" y="5231756"/>
                  <a:pt x="1880925" y="5230801"/>
                </a:cubicBezTo>
                <a:close/>
                <a:moveTo>
                  <a:pt x="1685388" y="5227910"/>
                </a:moveTo>
                <a:cubicBezTo>
                  <a:pt x="1683994" y="5229872"/>
                  <a:pt x="1681515" y="5233176"/>
                  <a:pt x="1679347" y="5234002"/>
                </a:cubicBezTo>
                <a:cubicBezTo>
                  <a:pt x="1678727" y="5234312"/>
                  <a:pt x="1678108" y="5234209"/>
                  <a:pt x="1677488" y="5233795"/>
                </a:cubicBezTo>
                <a:cubicBezTo>
                  <a:pt x="1676714" y="5232970"/>
                  <a:pt x="1677643" y="5232040"/>
                  <a:pt x="1677798" y="5231214"/>
                </a:cubicBezTo>
                <a:cubicBezTo>
                  <a:pt x="1678727" y="5229562"/>
                  <a:pt x="1684613" y="5227084"/>
                  <a:pt x="1685388" y="5227910"/>
                </a:cubicBezTo>
                <a:close/>
                <a:moveTo>
                  <a:pt x="2558073" y="5227497"/>
                </a:moveTo>
                <a:cubicBezTo>
                  <a:pt x="2559157" y="5227807"/>
                  <a:pt x="2559157" y="5227807"/>
                  <a:pt x="2560551" y="5229975"/>
                </a:cubicBezTo>
                <a:cubicBezTo>
                  <a:pt x="2559467" y="5229665"/>
                  <a:pt x="2559467" y="5229665"/>
                  <a:pt x="2559312" y="5230801"/>
                </a:cubicBezTo>
                <a:cubicBezTo>
                  <a:pt x="2559312" y="5230801"/>
                  <a:pt x="2559312" y="5230904"/>
                  <a:pt x="2559777" y="5231627"/>
                </a:cubicBezTo>
                <a:cubicBezTo>
                  <a:pt x="2559157" y="5232040"/>
                  <a:pt x="2558692" y="5231214"/>
                  <a:pt x="2558073" y="5231627"/>
                </a:cubicBezTo>
                <a:cubicBezTo>
                  <a:pt x="2558073" y="5231627"/>
                  <a:pt x="2557453" y="5231008"/>
                  <a:pt x="2557453" y="5231008"/>
                </a:cubicBezTo>
                <a:cubicBezTo>
                  <a:pt x="2557144" y="5231214"/>
                  <a:pt x="2557299" y="5231214"/>
                  <a:pt x="2557299" y="5230904"/>
                </a:cubicBezTo>
                <a:cubicBezTo>
                  <a:pt x="2557299" y="5230594"/>
                  <a:pt x="2557299" y="5229975"/>
                  <a:pt x="2557144" y="5229046"/>
                </a:cubicBezTo>
                <a:cubicBezTo>
                  <a:pt x="2557299" y="5227910"/>
                  <a:pt x="2556989" y="5227290"/>
                  <a:pt x="2558073" y="5227497"/>
                </a:cubicBezTo>
                <a:close/>
                <a:moveTo>
                  <a:pt x="2738837" y="5227290"/>
                </a:moveTo>
                <a:cubicBezTo>
                  <a:pt x="2741006" y="5231524"/>
                  <a:pt x="2736204" y="5235344"/>
                  <a:pt x="2734500" y="5234931"/>
                </a:cubicBezTo>
                <a:cubicBezTo>
                  <a:pt x="2733571" y="5232763"/>
                  <a:pt x="2734655" y="5229562"/>
                  <a:pt x="2733571" y="5227497"/>
                </a:cubicBezTo>
                <a:cubicBezTo>
                  <a:pt x="2735119" y="5228013"/>
                  <a:pt x="2737288" y="5226774"/>
                  <a:pt x="2738837" y="5227290"/>
                </a:cubicBezTo>
                <a:close/>
                <a:moveTo>
                  <a:pt x="2278796" y="5226877"/>
                </a:moveTo>
                <a:cubicBezTo>
                  <a:pt x="2280500" y="5227600"/>
                  <a:pt x="2281429" y="5228426"/>
                  <a:pt x="2283287" y="5229252"/>
                </a:cubicBezTo>
                <a:cubicBezTo>
                  <a:pt x="2283597" y="5231834"/>
                  <a:pt x="2286541" y="5234209"/>
                  <a:pt x="2283907" y="5239578"/>
                </a:cubicBezTo>
                <a:cubicBezTo>
                  <a:pt x="2280500" y="5245050"/>
                  <a:pt x="2274768" y="5241023"/>
                  <a:pt x="2274923" y="5241849"/>
                </a:cubicBezTo>
                <a:cubicBezTo>
                  <a:pt x="2274149" y="5242779"/>
                  <a:pt x="2274149" y="5242779"/>
                  <a:pt x="2274303" y="5243708"/>
                </a:cubicBezTo>
                <a:cubicBezTo>
                  <a:pt x="2273529" y="5243708"/>
                  <a:pt x="2271980" y="5244741"/>
                  <a:pt x="2271205" y="5245567"/>
                </a:cubicBezTo>
                <a:cubicBezTo>
                  <a:pt x="2271051" y="5244741"/>
                  <a:pt x="2271051" y="5243915"/>
                  <a:pt x="2270121" y="5243915"/>
                </a:cubicBezTo>
                <a:cubicBezTo>
                  <a:pt x="2271515" y="5242056"/>
                  <a:pt x="2272445" y="5242056"/>
                  <a:pt x="2273064" y="5241127"/>
                </a:cubicBezTo>
                <a:cubicBezTo>
                  <a:pt x="2272290" y="5241230"/>
                  <a:pt x="2273064" y="5240301"/>
                  <a:pt x="2273064" y="5240301"/>
                </a:cubicBezTo>
                <a:cubicBezTo>
                  <a:pt x="2273064" y="5240301"/>
                  <a:pt x="2273064" y="5240301"/>
                  <a:pt x="2271051" y="5238648"/>
                </a:cubicBezTo>
                <a:cubicBezTo>
                  <a:pt x="2271051" y="5238648"/>
                  <a:pt x="2267178" y="5234518"/>
                  <a:pt x="2269967" y="5229975"/>
                </a:cubicBezTo>
                <a:cubicBezTo>
                  <a:pt x="2270896" y="5230801"/>
                  <a:pt x="2275078" y="5225328"/>
                  <a:pt x="2278796" y="5226877"/>
                </a:cubicBezTo>
                <a:close/>
                <a:moveTo>
                  <a:pt x="2627776" y="5225742"/>
                </a:moveTo>
                <a:lnTo>
                  <a:pt x="2628241" y="5227600"/>
                </a:lnTo>
                <a:lnTo>
                  <a:pt x="2628860" y="5227084"/>
                </a:lnTo>
                <a:cubicBezTo>
                  <a:pt x="2629945" y="5226154"/>
                  <a:pt x="2631339" y="5225432"/>
                  <a:pt x="2632888" y="5225948"/>
                </a:cubicBezTo>
                <a:cubicBezTo>
                  <a:pt x="2632268" y="5226568"/>
                  <a:pt x="2631184" y="5227600"/>
                  <a:pt x="2630255" y="5228529"/>
                </a:cubicBezTo>
                <a:lnTo>
                  <a:pt x="2628860" y="5229459"/>
                </a:lnTo>
                <a:lnTo>
                  <a:pt x="2629635" y="5231627"/>
                </a:lnTo>
                <a:lnTo>
                  <a:pt x="2627776" y="5235448"/>
                </a:lnTo>
                <a:lnTo>
                  <a:pt x="2629480" y="5235861"/>
                </a:lnTo>
                <a:cubicBezTo>
                  <a:pt x="2629171" y="5237100"/>
                  <a:pt x="2628241" y="5238752"/>
                  <a:pt x="2627002" y="5238442"/>
                </a:cubicBezTo>
                <a:lnTo>
                  <a:pt x="2626382" y="5237822"/>
                </a:lnTo>
                <a:lnTo>
                  <a:pt x="2624059" y="5237306"/>
                </a:lnTo>
                <a:lnTo>
                  <a:pt x="2623594" y="5238545"/>
                </a:lnTo>
                <a:cubicBezTo>
                  <a:pt x="2622820" y="5239784"/>
                  <a:pt x="2621735" y="5240714"/>
                  <a:pt x="2620341" y="5240610"/>
                </a:cubicBezTo>
                <a:cubicBezTo>
                  <a:pt x="2619877" y="5239887"/>
                  <a:pt x="2619257" y="5240301"/>
                  <a:pt x="2618792" y="5239578"/>
                </a:cubicBezTo>
                <a:cubicBezTo>
                  <a:pt x="2618792" y="5239578"/>
                  <a:pt x="2618018" y="5239061"/>
                  <a:pt x="2617398" y="5238029"/>
                </a:cubicBezTo>
                <a:cubicBezTo>
                  <a:pt x="2617088" y="5237513"/>
                  <a:pt x="2616779" y="5236893"/>
                  <a:pt x="2616624" y="5236171"/>
                </a:cubicBezTo>
                <a:cubicBezTo>
                  <a:pt x="2616314" y="5235344"/>
                  <a:pt x="2616314" y="5234415"/>
                  <a:pt x="2616624" y="5233279"/>
                </a:cubicBezTo>
                <a:cubicBezTo>
                  <a:pt x="2616934" y="5232040"/>
                  <a:pt x="2618327" y="5229252"/>
                  <a:pt x="2618792" y="5229975"/>
                </a:cubicBezTo>
                <a:cubicBezTo>
                  <a:pt x="2619877" y="5230285"/>
                  <a:pt x="2619567" y="5229459"/>
                  <a:pt x="2620341" y="5229046"/>
                </a:cubicBezTo>
                <a:lnTo>
                  <a:pt x="2620806" y="5229252"/>
                </a:lnTo>
                <a:lnTo>
                  <a:pt x="2623749" y="5226981"/>
                </a:lnTo>
                <a:cubicBezTo>
                  <a:pt x="2625143" y="5226154"/>
                  <a:pt x="2626537" y="5225638"/>
                  <a:pt x="2627776" y="5225742"/>
                </a:cubicBezTo>
                <a:close/>
                <a:moveTo>
                  <a:pt x="1772285" y="5225638"/>
                </a:moveTo>
                <a:cubicBezTo>
                  <a:pt x="1772285" y="5225638"/>
                  <a:pt x="1772285" y="5225638"/>
                  <a:pt x="1772904" y="5226051"/>
                </a:cubicBezTo>
                <a:cubicBezTo>
                  <a:pt x="1774298" y="5226877"/>
                  <a:pt x="1774918" y="5227394"/>
                  <a:pt x="1775692" y="5227807"/>
                </a:cubicBezTo>
                <a:cubicBezTo>
                  <a:pt x="1775847" y="5228943"/>
                  <a:pt x="1775847" y="5232040"/>
                  <a:pt x="1774608" y="5232350"/>
                </a:cubicBezTo>
                <a:cubicBezTo>
                  <a:pt x="1773524" y="5232660"/>
                  <a:pt x="1772285" y="5232763"/>
                  <a:pt x="1771355" y="5232556"/>
                </a:cubicBezTo>
                <a:cubicBezTo>
                  <a:pt x="1770426" y="5232350"/>
                  <a:pt x="1769651" y="5231834"/>
                  <a:pt x="1769651" y="5231317"/>
                </a:cubicBezTo>
                <a:cubicBezTo>
                  <a:pt x="1769342" y="5229459"/>
                  <a:pt x="1769032" y="5227807"/>
                  <a:pt x="1770426" y="5226568"/>
                </a:cubicBezTo>
                <a:cubicBezTo>
                  <a:pt x="1770890" y="5226154"/>
                  <a:pt x="1771510" y="5225845"/>
                  <a:pt x="1772285" y="5225638"/>
                </a:cubicBezTo>
                <a:close/>
                <a:moveTo>
                  <a:pt x="2723192" y="5224503"/>
                </a:moveTo>
                <a:cubicBezTo>
                  <a:pt x="2724897" y="5225225"/>
                  <a:pt x="2725671" y="5234415"/>
                  <a:pt x="2721643" y="5233692"/>
                </a:cubicBezTo>
                <a:cubicBezTo>
                  <a:pt x="2720714" y="5233382"/>
                  <a:pt x="2720404" y="5232660"/>
                  <a:pt x="2720250" y="5231834"/>
                </a:cubicBezTo>
                <a:cubicBezTo>
                  <a:pt x="2719784" y="5229149"/>
                  <a:pt x="2721798" y="5224915"/>
                  <a:pt x="2723192" y="5224503"/>
                </a:cubicBezTo>
                <a:close/>
                <a:moveTo>
                  <a:pt x="2480160" y="5224296"/>
                </a:moveTo>
                <a:cubicBezTo>
                  <a:pt x="2482793" y="5228839"/>
                  <a:pt x="2479076" y="5234105"/>
                  <a:pt x="2474739" y="5234931"/>
                </a:cubicBezTo>
                <a:cubicBezTo>
                  <a:pt x="2473345" y="5235241"/>
                  <a:pt x="2471796" y="5235035"/>
                  <a:pt x="2470557" y="5234105"/>
                </a:cubicBezTo>
                <a:cubicBezTo>
                  <a:pt x="2466994" y="5227910"/>
                  <a:pt x="2475048" y="5222334"/>
                  <a:pt x="2480160" y="5224296"/>
                </a:cubicBezTo>
                <a:close/>
                <a:moveTo>
                  <a:pt x="2569845" y="5223780"/>
                </a:moveTo>
                <a:cubicBezTo>
                  <a:pt x="2574957" y="5219649"/>
                  <a:pt x="2591531" y="5224606"/>
                  <a:pt x="2591531" y="5233795"/>
                </a:cubicBezTo>
                <a:cubicBezTo>
                  <a:pt x="2585645" y="5231627"/>
                  <a:pt x="2580378" y="5229046"/>
                  <a:pt x="2572014" y="5229046"/>
                </a:cubicBezTo>
                <a:cubicBezTo>
                  <a:pt x="2572169" y="5226568"/>
                  <a:pt x="2569071" y="5226774"/>
                  <a:pt x="2569845" y="5223780"/>
                </a:cubicBezTo>
                <a:close/>
                <a:moveTo>
                  <a:pt x="2535148" y="5223573"/>
                </a:moveTo>
                <a:cubicBezTo>
                  <a:pt x="2539331" y="5228839"/>
                  <a:pt x="2543513" y="5234105"/>
                  <a:pt x="2542893" y="5239061"/>
                </a:cubicBezTo>
                <a:cubicBezTo>
                  <a:pt x="2539331" y="5242056"/>
                  <a:pt x="2535458" y="5243811"/>
                  <a:pt x="2531586" y="5243915"/>
                </a:cubicBezTo>
                <a:cubicBezTo>
                  <a:pt x="2527558" y="5243915"/>
                  <a:pt x="2523841" y="5242469"/>
                  <a:pt x="2520124" y="5238855"/>
                </a:cubicBezTo>
                <a:cubicBezTo>
                  <a:pt x="2519969" y="5236790"/>
                  <a:pt x="2520433" y="5234931"/>
                  <a:pt x="2521517" y="5233382"/>
                </a:cubicBezTo>
                <a:cubicBezTo>
                  <a:pt x="2524305" y="5228529"/>
                  <a:pt x="2531121" y="5225742"/>
                  <a:pt x="2535148" y="5223573"/>
                </a:cubicBezTo>
                <a:close/>
                <a:moveTo>
                  <a:pt x="2446702" y="5220682"/>
                </a:moveTo>
                <a:cubicBezTo>
                  <a:pt x="2447787" y="5220992"/>
                  <a:pt x="2448716" y="5221818"/>
                  <a:pt x="2449336" y="5223367"/>
                </a:cubicBezTo>
                <a:cubicBezTo>
                  <a:pt x="2450575" y="5228219"/>
                  <a:pt x="2446858" y="5229665"/>
                  <a:pt x="2442366" y="5230698"/>
                </a:cubicBezTo>
                <a:cubicBezTo>
                  <a:pt x="2441281" y="5229046"/>
                  <a:pt x="2439732" y="5228116"/>
                  <a:pt x="2438803" y="5226361"/>
                </a:cubicBezTo>
                <a:cubicBezTo>
                  <a:pt x="2438803" y="5223470"/>
                  <a:pt x="2443450" y="5219649"/>
                  <a:pt x="2446702" y="5220682"/>
                </a:cubicBezTo>
                <a:close/>
                <a:moveTo>
                  <a:pt x="2804358" y="5218410"/>
                </a:moveTo>
                <a:cubicBezTo>
                  <a:pt x="2811019" y="5216448"/>
                  <a:pt x="2823565" y="5226877"/>
                  <a:pt x="2819073" y="5235241"/>
                </a:cubicBezTo>
                <a:cubicBezTo>
                  <a:pt x="2814736" y="5231214"/>
                  <a:pt x="2811328" y="5226981"/>
                  <a:pt x="2803739" y="5223883"/>
                </a:cubicBezTo>
                <a:cubicBezTo>
                  <a:pt x="2804978" y="5221818"/>
                  <a:pt x="2802189" y="5220888"/>
                  <a:pt x="2804358" y="5218410"/>
                </a:cubicBezTo>
                <a:close/>
                <a:moveTo>
                  <a:pt x="2350357" y="5218101"/>
                </a:moveTo>
                <a:cubicBezTo>
                  <a:pt x="2350512" y="5219030"/>
                  <a:pt x="2350047" y="5221611"/>
                  <a:pt x="2350822" y="5221611"/>
                </a:cubicBezTo>
                <a:cubicBezTo>
                  <a:pt x="2349273" y="5223676"/>
                  <a:pt x="2347259" y="5225845"/>
                  <a:pt x="2345245" y="5226051"/>
                </a:cubicBezTo>
                <a:cubicBezTo>
                  <a:pt x="2344471" y="5226154"/>
                  <a:pt x="2343851" y="5226051"/>
                  <a:pt x="2343077" y="5225638"/>
                </a:cubicBezTo>
                <a:cubicBezTo>
                  <a:pt x="2341373" y="5224812"/>
                  <a:pt x="2341838" y="5223057"/>
                  <a:pt x="2343387" y="5221198"/>
                </a:cubicBezTo>
                <a:cubicBezTo>
                  <a:pt x="2345245" y="5216655"/>
                  <a:pt x="2347569" y="5215622"/>
                  <a:pt x="2350357" y="5218101"/>
                </a:cubicBezTo>
                <a:close/>
                <a:moveTo>
                  <a:pt x="2260518" y="5217584"/>
                </a:moveTo>
                <a:cubicBezTo>
                  <a:pt x="2264081" y="5216655"/>
                  <a:pt x="2264545" y="5219030"/>
                  <a:pt x="2266249" y="5222334"/>
                </a:cubicBezTo>
                <a:cubicBezTo>
                  <a:pt x="2265165" y="5222747"/>
                  <a:pt x="2265629" y="5226258"/>
                  <a:pt x="2265939" y="5227497"/>
                </a:cubicBezTo>
                <a:cubicBezTo>
                  <a:pt x="2263461" y="5228116"/>
                  <a:pt x="2263770" y="5232453"/>
                  <a:pt x="2260208" y="5233382"/>
                </a:cubicBezTo>
                <a:cubicBezTo>
                  <a:pt x="2258814" y="5232556"/>
                  <a:pt x="2258039" y="5232143"/>
                  <a:pt x="2257110" y="5230491"/>
                </a:cubicBezTo>
                <a:cubicBezTo>
                  <a:pt x="2256181" y="5221302"/>
                  <a:pt x="2260673" y="5218823"/>
                  <a:pt x="2260518" y="5217584"/>
                </a:cubicBezTo>
                <a:close/>
                <a:moveTo>
                  <a:pt x="2655038" y="5217481"/>
                </a:moveTo>
                <a:cubicBezTo>
                  <a:pt x="2659065" y="5217171"/>
                  <a:pt x="2661544" y="5218307"/>
                  <a:pt x="2662938" y="5220269"/>
                </a:cubicBezTo>
                <a:cubicBezTo>
                  <a:pt x="2666965" y="5226051"/>
                  <a:pt x="2660305" y="5238545"/>
                  <a:pt x="2651166" y="5237719"/>
                </a:cubicBezTo>
                <a:cubicBezTo>
                  <a:pt x="2649772" y="5236377"/>
                  <a:pt x="2648997" y="5234828"/>
                  <a:pt x="2648842" y="5232970"/>
                </a:cubicBezTo>
                <a:cubicBezTo>
                  <a:pt x="2648532" y="5230285"/>
                  <a:pt x="2649152" y="5227084"/>
                  <a:pt x="2650391" y="5224296"/>
                </a:cubicBezTo>
                <a:lnTo>
                  <a:pt x="2651475" y="5222850"/>
                </a:lnTo>
                <a:lnTo>
                  <a:pt x="2651630" y="5222127"/>
                </a:lnTo>
                <a:lnTo>
                  <a:pt x="2652560" y="5221198"/>
                </a:lnTo>
                <a:close/>
                <a:moveTo>
                  <a:pt x="2591376" y="5215416"/>
                </a:moveTo>
                <a:lnTo>
                  <a:pt x="2591221" y="5218307"/>
                </a:lnTo>
                <a:lnTo>
                  <a:pt x="2591531" y="5219856"/>
                </a:lnTo>
                <a:cubicBezTo>
                  <a:pt x="2591376" y="5220682"/>
                  <a:pt x="2590911" y="5221302"/>
                  <a:pt x="2590446" y="5221714"/>
                </a:cubicBezTo>
                <a:cubicBezTo>
                  <a:pt x="2589982" y="5223057"/>
                  <a:pt x="2588742" y="5223676"/>
                  <a:pt x="2587503" y="5223883"/>
                </a:cubicBezTo>
                <a:cubicBezTo>
                  <a:pt x="2586109" y="5224089"/>
                  <a:pt x="2584715" y="5223780"/>
                  <a:pt x="2583476" y="5223367"/>
                </a:cubicBezTo>
                <a:cubicBezTo>
                  <a:pt x="2584406" y="5223367"/>
                  <a:pt x="2584406" y="5223367"/>
                  <a:pt x="2584406" y="5223367"/>
                </a:cubicBezTo>
                <a:cubicBezTo>
                  <a:pt x="2585335" y="5222437"/>
                  <a:pt x="2584406" y="5222437"/>
                  <a:pt x="2584560" y="5221611"/>
                </a:cubicBezTo>
                <a:cubicBezTo>
                  <a:pt x="2584560" y="5221611"/>
                  <a:pt x="2584406" y="5222541"/>
                  <a:pt x="2583786" y="5221611"/>
                </a:cubicBezTo>
                <a:cubicBezTo>
                  <a:pt x="2584560" y="5221611"/>
                  <a:pt x="2584560" y="5220785"/>
                  <a:pt x="2584715" y="5219856"/>
                </a:cubicBezTo>
                <a:lnTo>
                  <a:pt x="2587658" y="5217687"/>
                </a:lnTo>
                <a:lnTo>
                  <a:pt x="2586729" y="5215932"/>
                </a:lnTo>
                <a:cubicBezTo>
                  <a:pt x="2588433" y="5215622"/>
                  <a:pt x="2588588" y="5214383"/>
                  <a:pt x="2591376" y="5215416"/>
                </a:cubicBezTo>
                <a:close/>
                <a:moveTo>
                  <a:pt x="2106861" y="5215209"/>
                </a:moveTo>
                <a:cubicBezTo>
                  <a:pt x="2106396" y="5216448"/>
                  <a:pt x="2106241" y="5218410"/>
                  <a:pt x="2105002" y="5219959"/>
                </a:cubicBezTo>
                <a:cubicBezTo>
                  <a:pt x="2100819" y="5221095"/>
                  <a:pt x="2098497" y="5219443"/>
                  <a:pt x="2097102" y="5216139"/>
                </a:cubicBezTo>
                <a:cubicBezTo>
                  <a:pt x="2098961" y="5211492"/>
                  <a:pt x="2105312" y="5211182"/>
                  <a:pt x="2106861" y="5215209"/>
                </a:cubicBezTo>
                <a:close/>
                <a:moveTo>
                  <a:pt x="2540105" y="5214590"/>
                </a:moveTo>
                <a:cubicBezTo>
                  <a:pt x="2541499" y="5217378"/>
                  <a:pt x="2542273" y="5218307"/>
                  <a:pt x="2541189" y="5220992"/>
                </a:cubicBezTo>
                <a:cubicBezTo>
                  <a:pt x="2540415" y="5220062"/>
                  <a:pt x="2539795" y="5219133"/>
                  <a:pt x="2539640" y="5218101"/>
                </a:cubicBezTo>
                <a:cubicBezTo>
                  <a:pt x="2539485" y="5217068"/>
                  <a:pt x="2539640" y="5216036"/>
                  <a:pt x="2540105" y="5214590"/>
                </a:cubicBezTo>
                <a:close/>
                <a:moveTo>
                  <a:pt x="2359031" y="5214074"/>
                </a:moveTo>
                <a:cubicBezTo>
                  <a:pt x="2359186" y="5215003"/>
                  <a:pt x="2360115" y="5216758"/>
                  <a:pt x="2359341" y="5216758"/>
                </a:cubicBezTo>
                <a:cubicBezTo>
                  <a:pt x="2359496" y="5217687"/>
                  <a:pt x="2357947" y="5217687"/>
                  <a:pt x="2357947" y="5217687"/>
                </a:cubicBezTo>
                <a:cubicBezTo>
                  <a:pt x="2357947" y="5218617"/>
                  <a:pt x="2358257" y="5219546"/>
                  <a:pt x="2357482" y="5220476"/>
                </a:cubicBezTo>
                <a:cubicBezTo>
                  <a:pt x="2356553" y="5219649"/>
                  <a:pt x="2356708" y="5220579"/>
                  <a:pt x="2355934" y="5220579"/>
                </a:cubicBezTo>
                <a:cubicBezTo>
                  <a:pt x="2356553" y="5219649"/>
                  <a:pt x="2356243" y="5216965"/>
                  <a:pt x="2356708" y="5215106"/>
                </a:cubicBezTo>
                <a:cubicBezTo>
                  <a:pt x="2357482" y="5215003"/>
                  <a:pt x="2358257" y="5214074"/>
                  <a:pt x="2359031" y="5214074"/>
                </a:cubicBezTo>
                <a:close/>
                <a:moveTo>
                  <a:pt x="1716832" y="5212524"/>
                </a:moveTo>
                <a:cubicBezTo>
                  <a:pt x="1713424" y="5222334"/>
                  <a:pt x="1715747" y="5229562"/>
                  <a:pt x="1709861" y="5240094"/>
                </a:cubicBezTo>
                <a:cubicBezTo>
                  <a:pt x="1708312" y="5238752"/>
                  <a:pt x="1707383" y="5236377"/>
                  <a:pt x="1707073" y="5233692"/>
                </a:cubicBezTo>
                <a:cubicBezTo>
                  <a:pt x="1705989" y="5225432"/>
                  <a:pt x="1709861" y="5213247"/>
                  <a:pt x="1716832" y="5212524"/>
                </a:cubicBezTo>
                <a:close/>
                <a:moveTo>
                  <a:pt x="2805133" y="5210666"/>
                </a:moveTo>
                <a:cubicBezTo>
                  <a:pt x="2805133" y="5213144"/>
                  <a:pt x="2806062" y="5213970"/>
                  <a:pt x="2805287" y="5213970"/>
                </a:cubicBezTo>
                <a:cubicBezTo>
                  <a:pt x="2805287" y="5214383"/>
                  <a:pt x="2804978" y="5214486"/>
                  <a:pt x="2804823" y="5214486"/>
                </a:cubicBezTo>
                <a:cubicBezTo>
                  <a:pt x="2804668" y="5214486"/>
                  <a:pt x="2804358" y="5214280"/>
                  <a:pt x="2804358" y="5213867"/>
                </a:cubicBezTo>
                <a:cubicBezTo>
                  <a:pt x="2802654" y="5212938"/>
                  <a:pt x="2804358" y="5211389"/>
                  <a:pt x="2805133" y="5210666"/>
                </a:cubicBezTo>
                <a:close/>
                <a:moveTo>
                  <a:pt x="1690344" y="5208911"/>
                </a:moveTo>
                <a:cubicBezTo>
                  <a:pt x="1690964" y="5210356"/>
                  <a:pt x="1689415" y="5213867"/>
                  <a:pt x="1688486" y="5216139"/>
                </a:cubicBezTo>
                <a:cubicBezTo>
                  <a:pt x="1687401" y="5216758"/>
                  <a:pt x="1686008" y="5216965"/>
                  <a:pt x="1684768" y="5216861"/>
                </a:cubicBezTo>
                <a:cubicBezTo>
                  <a:pt x="1683374" y="5216758"/>
                  <a:pt x="1681980" y="5216242"/>
                  <a:pt x="1680741" y="5215519"/>
                </a:cubicBezTo>
                <a:cubicBezTo>
                  <a:pt x="1682755" y="5210873"/>
                  <a:pt x="1685853" y="5209324"/>
                  <a:pt x="1690344" y="5208911"/>
                </a:cubicBezTo>
                <a:close/>
                <a:moveTo>
                  <a:pt x="2355004" y="5207569"/>
                </a:moveTo>
                <a:cubicBezTo>
                  <a:pt x="2355004" y="5207569"/>
                  <a:pt x="2354384" y="5209324"/>
                  <a:pt x="2354384" y="5209324"/>
                </a:cubicBezTo>
                <a:cubicBezTo>
                  <a:pt x="2352835" y="5211079"/>
                  <a:pt x="2352061" y="5212112"/>
                  <a:pt x="2351441" y="5213867"/>
                </a:cubicBezTo>
                <a:cubicBezTo>
                  <a:pt x="2349737" y="5213144"/>
                  <a:pt x="2349583" y="5212215"/>
                  <a:pt x="2350357" y="5211285"/>
                </a:cubicBezTo>
                <a:cubicBezTo>
                  <a:pt x="2350357" y="5211285"/>
                  <a:pt x="2350977" y="5210356"/>
                  <a:pt x="2351751" y="5209427"/>
                </a:cubicBezTo>
                <a:cubicBezTo>
                  <a:pt x="2352526" y="5208601"/>
                  <a:pt x="2352371" y="5207672"/>
                  <a:pt x="2352371" y="5207672"/>
                </a:cubicBezTo>
                <a:cubicBezTo>
                  <a:pt x="2353145" y="5206742"/>
                  <a:pt x="2354075" y="5206742"/>
                  <a:pt x="2355004" y="5207569"/>
                </a:cubicBezTo>
                <a:close/>
                <a:moveTo>
                  <a:pt x="2446858" y="5206949"/>
                </a:moveTo>
                <a:cubicBezTo>
                  <a:pt x="2448406" y="5209014"/>
                  <a:pt x="2449181" y="5210563"/>
                  <a:pt x="2450265" y="5213454"/>
                </a:cubicBezTo>
                <a:cubicBezTo>
                  <a:pt x="2450265" y="5213454"/>
                  <a:pt x="2451040" y="5218101"/>
                  <a:pt x="2448252" y="5219546"/>
                </a:cubicBezTo>
                <a:cubicBezTo>
                  <a:pt x="2447787" y="5220269"/>
                  <a:pt x="2444999" y="5218514"/>
                  <a:pt x="2444844" y="5217378"/>
                </a:cubicBezTo>
                <a:cubicBezTo>
                  <a:pt x="2444534" y="5215003"/>
                  <a:pt x="2444379" y="5213867"/>
                  <a:pt x="2445309" y="5212318"/>
                </a:cubicBezTo>
                <a:cubicBezTo>
                  <a:pt x="2445154" y="5211182"/>
                  <a:pt x="2444844" y="5209943"/>
                  <a:pt x="2444999" y="5208911"/>
                </a:cubicBezTo>
                <a:cubicBezTo>
                  <a:pt x="2445154" y="5207981"/>
                  <a:pt x="2445773" y="5207258"/>
                  <a:pt x="2446858" y="5206949"/>
                </a:cubicBezTo>
                <a:close/>
                <a:moveTo>
                  <a:pt x="2503394" y="5204161"/>
                </a:moveTo>
                <a:cubicBezTo>
                  <a:pt x="2506028" y="5201476"/>
                  <a:pt x="2509126" y="5207672"/>
                  <a:pt x="2510675" y="5208085"/>
                </a:cubicBezTo>
                <a:cubicBezTo>
                  <a:pt x="2511759" y="5210150"/>
                  <a:pt x="2512688" y="5212318"/>
                  <a:pt x="2510675" y="5213454"/>
                </a:cubicBezTo>
                <a:cubicBezTo>
                  <a:pt x="2509591" y="5213970"/>
                  <a:pt x="2508816" y="5214590"/>
                  <a:pt x="2508196" y="5214796"/>
                </a:cubicBezTo>
                <a:cubicBezTo>
                  <a:pt x="2507422" y="5215003"/>
                  <a:pt x="2506647" y="5214796"/>
                  <a:pt x="2505408" y="5213557"/>
                </a:cubicBezTo>
                <a:cubicBezTo>
                  <a:pt x="2503859" y="5213041"/>
                  <a:pt x="2502930" y="5210976"/>
                  <a:pt x="2501381" y="5210459"/>
                </a:cubicBezTo>
                <a:cubicBezTo>
                  <a:pt x="2501381" y="5210459"/>
                  <a:pt x="2501381" y="5209220"/>
                  <a:pt x="2501691" y="5207775"/>
                </a:cubicBezTo>
                <a:cubicBezTo>
                  <a:pt x="2502001" y="5206329"/>
                  <a:pt x="2502465" y="5204780"/>
                  <a:pt x="2503394" y="5204161"/>
                </a:cubicBezTo>
                <a:close/>
                <a:moveTo>
                  <a:pt x="2283752" y="5203748"/>
                </a:moveTo>
                <a:cubicBezTo>
                  <a:pt x="2286385" y="5206846"/>
                  <a:pt x="2284527" y="5211802"/>
                  <a:pt x="2279415" y="5211079"/>
                </a:cubicBezTo>
                <a:cubicBezTo>
                  <a:pt x="2279880" y="5207362"/>
                  <a:pt x="2280344" y="5203645"/>
                  <a:pt x="2283752" y="5203748"/>
                </a:cubicBezTo>
                <a:close/>
                <a:moveTo>
                  <a:pt x="2320772" y="5203438"/>
                </a:moveTo>
                <a:cubicBezTo>
                  <a:pt x="2319998" y="5204368"/>
                  <a:pt x="2318448" y="5205297"/>
                  <a:pt x="2317674" y="5206226"/>
                </a:cubicBezTo>
                <a:cubicBezTo>
                  <a:pt x="2317674" y="5206226"/>
                  <a:pt x="2317674" y="5206329"/>
                  <a:pt x="2316744" y="5205503"/>
                </a:cubicBezTo>
                <a:cubicBezTo>
                  <a:pt x="2318448" y="5205400"/>
                  <a:pt x="2318758" y="5201786"/>
                  <a:pt x="2320772" y="5203438"/>
                </a:cubicBezTo>
                <a:close/>
                <a:moveTo>
                  <a:pt x="1581297" y="5201786"/>
                </a:moveTo>
                <a:cubicBezTo>
                  <a:pt x="1583311" y="5201270"/>
                  <a:pt x="1585480" y="5201786"/>
                  <a:pt x="1587958" y="5203954"/>
                </a:cubicBezTo>
                <a:cubicBezTo>
                  <a:pt x="1584550" y="5209324"/>
                  <a:pt x="1586099" y="5213144"/>
                  <a:pt x="1581452" y="5216242"/>
                </a:cubicBezTo>
                <a:cubicBezTo>
                  <a:pt x="1579439" y="5215725"/>
                  <a:pt x="1578044" y="5214693"/>
                  <a:pt x="1577270" y="5213351"/>
                </a:cubicBezTo>
                <a:cubicBezTo>
                  <a:pt x="1574637" y="5209324"/>
                  <a:pt x="1577115" y="5203025"/>
                  <a:pt x="1581297" y="5201786"/>
                </a:cubicBezTo>
                <a:close/>
                <a:moveTo>
                  <a:pt x="2425637" y="5199824"/>
                </a:moveTo>
                <a:cubicBezTo>
                  <a:pt x="2426876" y="5199411"/>
                  <a:pt x="2429819" y="5199205"/>
                  <a:pt x="2430903" y="5201992"/>
                </a:cubicBezTo>
                <a:cubicBezTo>
                  <a:pt x="2431833" y="5204780"/>
                  <a:pt x="2434311" y="5205400"/>
                  <a:pt x="2435395" y="5208188"/>
                </a:cubicBezTo>
                <a:cubicBezTo>
                  <a:pt x="2435395" y="5208188"/>
                  <a:pt x="2435395" y="5208188"/>
                  <a:pt x="2434156" y="5208498"/>
                </a:cubicBezTo>
                <a:cubicBezTo>
                  <a:pt x="2431833" y="5204780"/>
                  <a:pt x="2427495" y="5204264"/>
                  <a:pt x="2425637" y="5199824"/>
                </a:cubicBezTo>
                <a:close/>
                <a:moveTo>
                  <a:pt x="2821242" y="5199618"/>
                </a:moveTo>
                <a:lnTo>
                  <a:pt x="2820157" y="5200444"/>
                </a:lnTo>
                <a:lnTo>
                  <a:pt x="2818918" y="5204677"/>
                </a:lnTo>
                <a:lnTo>
                  <a:pt x="2823411" y="5203438"/>
                </a:lnTo>
                <a:lnTo>
                  <a:pt x="2822016" y="5201889"/>
                </a:lnTo>
                <a:close/>
                <a:moveTo>
                  <a:pt x="1891710" y="5198895"/>
                </a:moveTo>
                <a:cubicBezTo>
                  <a:pt x="1892329" y="5199411"/>
                  <a:pt x="1892949" y="5200341"/>
                  <a:pt x="1893413" y="5201580"/>
                </a:cubicBezTo>
                <a:cubicBezTo>
                  <a:pt x="1892639" y="5208911"/>
                  <a:pt x="1890315" y="5214280"/>
                  <a:pt x="1883191" y="5215209"/>
                </a:cubicBezTo>
                <a:cubicBezTo>
                  <a:pt x="1883346" y="5213970"/>
                  <a:pt x="1882106" y="5213867"/>
                  <a:pt x="1881022" y="5213867"/>
                </a:cubicBezTo>
                <a:cubicBezTo>
                  <a:pt x="1876994" y="5207775"/>
                  <a:pt x="1886753" y="5195281"/>
                  <a:pt x="1891710" y="5198895"/>
                </a:cubicBezTo>
                <a:close/>
                <a:moveTo>
                  <a:pt x="2043973" y="5198482"/>
                </a:moveTo>
                <a:cubicBezTo>
                  <a:pt x="2049549" y="5198585"/>
                  <a:pt x="2052647" y="5201786"/>
                  <a:pt x="2055745" y="5204987"/>
                </a:cubicBezTo>
                <a:cubicBezTo>
                  <a:pt x="2055280" y="5209427"/>
                  <a:pt x="2053886" y="5211079"/>
                  <a:pt x="2052027" y="5211285"/>
                </a:cubicBezTo>
                <a:cubicBezTo>
                  <a:pt x="2051407" y="5211389"/>
                  <a:pt x="2050633" y="5211285"/>
                  <a:pt x="2050014" y="5211079"/>
                </a:cubicBezTo>
                <a:cubicBezTo>
                  <a:pt x="2047071" y="5210253"/>
                  <a:pt x="2043508" y="5207775"/>
                  <a:pt x="2040720" y="5206742"/>
                </a:cubicBezTo>
                <a:cubicBezTo>
                  <a:pt x="2041030" y="5202818"/>
                  <a:pt x="2041494" y="5201580"/>
                  <a:pt x="2043973" y="5198482"/>
                </a:cubicBezTo>
                <a:close/>
                <a:moveTo>
                  <a:pt x="2169788" y="5197991"/>
                </a:moveTo>
                <a:cubicBezTo>
                  <a:pt x="2170949" y="5198249"/>
                  <a:pt x="2172227" y="5199153"/>
                  <a:pt x="2173466" y="5200031"/>
                </a:cubicBezTo>
                <a:cubicBezTo>
                  <a:pt x="2172692" y="5201683"/>
                  <a:pt x="2173621" y="5203541"/>
                  <a:pt x="2171143" y="5205090"/>
                </a:cubicBezTo>
                <a:cubicBezTo>
                  <a:pt x="2169439" y="5203335"/>
                  <a:pt x="2168510" y="5201580"/>
                  <a:pt x="2166805" y="5199824"/>
                </a:cubicBezTo>
                <a:cubicBezTo>
                  <a:pt x="2167580" y="5198120"/>
                  <a:pt x="2168626" y="5197733"/>
                  <a:pt x="2169788" y="5197991"/>
                </a:cubicBezTo>
                <a:close/>
                <a:moveTo>
                  <a:pt x="2425792" y="5196623"/>
                </a:moveTo>
                <a:cubicBezTo>
                  <a:pt x="2426721" y="5198172"/>
                  <a:pt x="2415878" y="5203128"/>
                  <a:pt x="2412935" y="5204471"/>
                </a:cubicBezTo>
                <a:cubicBezTo>
                  <a:pt x="2412315" y="5204057"/>
                  <a:pt x="2412315" y="5204057"/>
                  <a:pt x="2412315" y="5204057"/>
                </a:cubicBezTo>
                <a:cubicBezTo>
                  <a:pt x="2411851" y="5203232"/>
                  <a:pt x="2412006" y="5202612"/>
                  <a:pt x="2412781" y="5201889"/>
                </a:cubicBezTo>
                <a:cubicBezTo>
                  <a:pt x="2413400" y="5201270"/>
                  <a:pt x="2414484" y="5200650"/>
                  <a:pt x="2416033" y="5199927"/>
                </a:cubicBezTo>
                <a:cubicBezTo>
                  <a:pt x="2418821" y="5198482"/>
                  <a:pt x="2423003" y="5197966"/>
                  <a:pt x="2424088" y="5197656"/>
                </a:cubicBezTo>
                <a:cubicBezTo>
                  <a:pt x="2425327" y="5197346"/>
                  <a:pt x="2425792" y="5196623"/>
                  <a:pt x="2425792" y="5196623"/>
                </a:cubicBezTo>
                <a:close/>
                <a:moveTo>
                  <a:pt x="2263770" y="5196417"/>
                </a:moveTo>
                <a:cubicBezTo>
                  <a:pt x="2266094" y="5198998"/>
                  <a:pt x="2264855" y="5202509"/>
                  <a:pt x="2267023" y="5206019"/>
                </a:cubicBezTo>
                <a:cubicBezTo>
                  <a:pt x="2265009" y="5208601"/>
                  <a:pt x="2267178" y="5212938"/>
                  <a:pt x="2264235" y="5216345"/>
                </a:cubicBezTo>
                <a:cubicBezTo>
                  <a:pt x="2263151" y="5215519"/>
                  <a:pt x="2262376" y="5213970"/>
                  <a:pt x="2261757" y="5212112"/>
                </a:cubicBezTo>
                <a:cubicBezTo>
                  <a:pt x="2260363" y="5206639"/>
                  <a:pt x="2261757" y="5198275"/>
                  <a:pt x="2263770" y="5196417"/>
                </a:cubicBezTo>
                <a:close/>
                <a:moveTo>
                  <a:pt x="2132147" y="5195771"/>
                </a:moveTo>
                <a:cubicBezTo>
                  <a:pt x="2137879" y="5193732"/>
                  <a:pt x="2143881" y="5193784"/>
                  <a:pt x="2146049" y="5197862"/>
                </a:cubicBezTo>
                <a:cubicBezTo>
                  <a:pt x="2136446" y="5200031"/>
                  <a:pt x="2131024" y="5206019"/>
                  <a:pt x="2119872" y="5206226"/>
                </a:cubicBezTo>
                <a:cubicBezTo>
                  <a:pt x="2120957" y="5201941"/>
                  <a:pt x="2126417" y="5197811"/>
                  <a:pt x="2132147" y="5195771"/>
                </a:cubicBezTo>
                <a:close/>
                <a:moveTo>
                  <a:pt x="1754471" y="5195694"/>
                </a:moveTo>
                <a:cubicBezTo>
                  <a:pt x="1751064" y="5201167"/>
                  <a:pt x="1747346" y="5205916"/>
                  <a:pt x="1745023" y="5214486"/>
                </a:cubicBezTo>
                <a:cubicBezTo>
                  <a:pt x="1743474" y="5213867"/>
                  <a:pt x="1742699" y="5215519"/>
                  <a:pt x="1741305" y="5215725"/>
                </a:cubicBezTo>
                <a:cubicBezTo>
                  <a:pt x="1740841" y="5215829"/>
                  <a:pt x="1740376" y="5215725"/>
                  <a:pt x="1739756" y="5215313"/>
                </a:cubicBezTo>
                <a:cubicBezTo>
                  <a:pt x="1737278" y="5209014"/>
                  <a:pt x="1746107" y="5193319"/>
                  <a:pt x="1754471" y="5195694"/>
                </a:cubicBezTo>
                <a:close/>
                <a:moveTo>
                  <a:pt x="2568451" y="5195178"/>
                </a:moveTo>
                <a:cubicBezTo>
                  <a:pt x="2570155" y="5196004"/>
                  <a:pt x="2571394" y="5197966"/>
                  <a:pt x="2571704" y="5201373"/>
                </a:cubicBezTo>
                <a:cubicBezTo>
                  <a:pt x="2565973" y="5203438"/>
                  <a:pt x="2564579" y="5207672"/>
                  <a:pt x="2559467" y="5207052"/>
                </a:cubicBezTo>
                <a:cubicBezTo>
                  <a:pt x="2554975" y="5199618"/>
                  <a:pt x="2563494" y="5192493"/>
                  <a:pt x="2568451" y="5195178"/>
                </a:cubicBezTo>
                <a:close/>
                <a:moveTo>
                  <a:pt x="2035143" y="5194661"/>
                </a:moveTo>
                <a:cubicBezTo>
                  <a:pt x="2033130" y="5204368"/>
                  <a:pt x="2036383" y="5211699"/>
                  <a:pt x="2032046" y="5222024"/>
                </a:cubicBezTo>
                <a:cubicBezTo>
                  <a:pt x="2025075" y="5216552"/>
                  <a:pt x="2025850" y="5195281"/>
                  <a:pt x="2035143" y="5194661"/>
                </a:cubicBezTo>
                <a:close/>
                <a:moveTo>
                  <a:pt x="1803883" y="5194351"/>
                </a:moveTo>
                <a:cubicBezTo>
                  <a:pt x="1809614" y="5191564"/>
                  <a:pt x="1816275" y="5195901"/>
                  <a:pt x="1818134" y="5203438"/>
                </a:cubicBezTo>
                <a:cubicBezTo>
                  <a:pt x="1821077" y="5215003"/>
                  <a:pt x="1817514" y="5222231"/>
                  <a:pt x="1817514" y="5222231"/>
                </a:cubicBezTo>
                <a:cubicBezTo>
                  <a:pt x="1815501" y="5223057"/>
                  <a:pt x="1813797" y="5223263"/>
                  <a:pt x="1812402" y="5223057"/>
                </a:cubicBezTo>
                <a:cubicBezTo>
                  <a:pt x="1808066" y="5222437"/>
                  <a:pt x="1805587" y="5217997"/>
                  <a:pt x="1804038" y="5213351"/>
                </a:cubicBezTo>
                <a:cubicBezTo>
                  <a:pt x="1803264" y="5211285"/>
                  <a:pt x="1802799" y="5209117"/>
                  <a:pt x="1802334" y="5207258"/>
                </a:cubicBezTo>
                <a:cubicBezTo>
                  <a:pt x="1801250" y="5203335"/>
                  <a:pt x="1800476" y="5198998"/>
                  <a:pt x="1801870" y="5196417"/>
                </a:cubicBezTo>
                <a:cubicBezTo>
                  <a:pt x="1802179" y="5195487"/>
                  <a:pt x="1802954" y="5194765"/>
                  <a:pt x="1803883" y="5194351"/>
                </a:cubicBezTo>
                <a:close/>
                <a:moveTo>
                  <a:pt x="2722263" y="5193113"/>
                </a:moveTo>
                <a:lnTo>
                  <a:pt x="2723347" y="5194042"/>
                </a:lnTo>
                <a:lnTo>
                  <a:pt x="2723347" y="5193319"/>
                </a:lnTo>
                <a:close/>
                <a:moveTo>
                  <a:pt x="2431833" y="5193009"/>
                </a:moveTo>
                <a:cubicBezTo>
                  <a:pt x="2431833" y="5193009"/>
                  <a:pt x="2432297" y="5192183"/>
                  <a:pt x="2433381" y="5195074"/>
                </a:cubicBezTo>
                <a:cubicBezTo>
                  <a:pt x="2432142" y="5195384"/>
                  <a:pt x="2428734" y="5196210"/>
                  <a:pt x="2428734" y="5196210"/>
                </a:cubicBezTo>
                <a:cubicBezTo>
                  <a:pt x="2428270" y="5197036"/>
                  <a:pt x="2428270" y="5197036"/>
                  <a:pt x="2427031" y="5197346"/>
                </a:cubicBezTo>
                <a:cubicBezTo>
                  <a:pt x="2426876" y="5196210"/>
                  <a:pt x="2426876" y="5196210"/>
                  <a:pt x="2427341" y="5195384"/>
                </a:cubicBezTo>
                <a:cubicBezTo>
                  <a:pt x="2428580" y="5195074"/>
                  <a:pt x="2429199" y="5195487"/>
                  <a:pt x="2430284" y="5195178"/>
                </a:cubicBezTo>
                <a:cubicBezTo>
                  <a:pt x="2429974" y="5192803"/>
                  <a:pt x="2429509" y="5193629"/>
                  <a:pt x="2430748" y="5193319"/>
                </a:cubicBezTo>
                <a:cubicBezTo>
                  <a:pt x="2430748" y="5193319"/>
                  <a:pt x="2430748" y="5193319"/>
                  <a:pt x="2431833" y="5193009"/>
                </a:cubicBezTo>
                <a:close/>
                <a:moveTo>
                  <a:pt x="2544752" y="5192286"/>
                </a:moveTo>
                <a:lnTo>
                  <a:pt x="2546611" y="5193525"/>
                </a:lnTo>
                <a:lnTo>
                  <a:pt x="2546766" y="5193525"/>
                </a:lnTo>
                <a:cubicBezTo>
                  <a:pt x="2549709" y="5196004"/>
                  <a:pt x="2549554" y="5196004"/>
                  <a:pt x="2546301" y="5201373"/>
                </a:cubicBezTo>
                <a:cubicBezTo>
                  <a:pt x="2545527" y="5202303"/>
                  <a:pt x="2544597" y="5203025"/>
                  <a:pt x="2543513" y="5203438"/>
                </a:cubicBezTo>
                <a:cubicBezTo>
                  <a:pt x="2542428" y="5203851"/>
                  <a:pt x="2541189" y="5203851"/>
                  <a:pt x="2539950" y="5203438"/>
                </a:cubicBezTo>
                <a:cubicBezTo>
                  <a:pt x="2539176" y="5203954"/>
                  <a:pt x="2538092" y="5204264"/>
                  <a:pt x="2537162" y="5204368"/>
                </a:cubicBezTo>
                <a:cubicBezTo>
                  <a:pt x="2536078" y="5204368"/>
                  <a:pt x="2534994" y="5204264"/>
                  <a:pt x="2534219" y="5203851"/>
                </a:cubicBezTo>
                <a:cubicBezTo>
                  <a:pt x="2532360" y="5202199"/>
                  <a:pt x="2532050" y="5200444"/>
                  <a:pt x="2532825" y="5199514"/>
                </a:cubicBezTo>
                <a:lnTo>
                  <a:pt x="2536542" y="5195384"/>
                </a:lnTo>
                <a:lnTo>
                  <a:pt x="2536388" y="5194765"/>
                </a:lnTo>
                <a:cubicBezTo>
                  <a:pt x="2537007" y="5191977"/>
                  <a:pt x="2541809" y="5191151"/>
                  <a:pt x="2544752" y="5192286"/>
                </a:cubicBezTo>
                <a:close/>
                <a:moveTo>
                  <a:pt x="1847874" y="5191254"/>
                </a:moveTo>
                <a:cubicBezTo>
                  <a:pt x="1851281" y="5193939"/>
                  <a:pt x="1851281" y="5196417"/>
                  <a:pt x="1849888" y="5199824"/>
                </a:cubicBezTo>
                <a:cubicBezTo>
                  <a:pt x="1847409" y="5199721"/>
                  <a:pt x="1844157" y="5197036"/>
                  <a:pt x="1844001" y="5194455"/>
                </a:cubicBezTo>
                <a:cubicBezTo>
                  <a:pt x="1845551" y="5191977"/>
                  <a:pt x="1847100" y="5192906"/>
                  <a:pt x="1847874" y="5191254"/>
                </a:cubicBezTo>
                <a:close/>
                <a:moveTo>
                  <a:pt x="2471602" y="5191176"/>
                </a:moveTo>
                <a:cubicBezTo>
                  <a:pt x="2473577" y="5191589"/>
                  <a:pt x="2474894" y="5193422"/>
                  <a:pt x="2475204" y="5195590"/>
                </a:cubicBezTo>
                <a:cubicBezTo>
                  <a:pt x="2475359" y="5196933"/>
                  <a:pt x="2475048" y="5198585"/>
                  <a:pt x="2474274" y="5199927"/>
                </a:cubicBezTo>
                <a:cubicBezTo>
                  <a:pt x="2473190" y="5201786"/>
                  <a:pt x="2471021" y="5203232"/>
                  <a:pt x="2467768" y="5203645"/>
                </a:cubicBezTo>
                <a:cubicBezTo>
                  <a:pt x="2466374" y="5202096"/>
                  <a:pt x="2465755" y="5200753"/>
                  <a:pt x="2465290" y="5199308"/>
                </a:cubicBezTo>
                <a:cubicBezTo>
                  <a:pt x="2464980" y="5197966"/>
                  <a:pt x="2464671" y="5196726"/>
                  <a:pt x="2464051" y="5195281"/>
                </a:cubicBezTo>
                <a:cubicBezTo>
                  <a:pt x="2466994" y="5191770"/>
                  <a:pt x="2469627" y="5190763"/>
                  <a:pt x="2471602" y="5191176"/>
                </a:cubicBezTo>
                <a:close/>
                <a:moveTo>
                  <a:pt x="1737743" y="5191047"/>
                </a:moveTo>
                <a:cubicBezTo>
                  <a:pt x="1738827" y="5191460"/>
                  <a:pt x="1739911" y="5191770"/>
                  <a:pt x="1740996" y="5192183"/>
                </a:cubicBezTo>
                <a:cubicBezTo>
                  <a:pt x="1740066" y="5194455"/>
                  <a:pt x="1739137" y="5196830"/>
                  <a:pt x="1736968" y="5196004"/>
                </a:cubicBezTo>
                <a:cubicBezTo>
                  <a:pt x="1737123" y="5194042"/>
                  <a:pt x="1736194" y="5193732"/>
                  <a:pt x="1737743" y="5191047"/>
                </a:cubicBezTo>
                <a:close/>
                <a:moveTo>
                  <a:pt x="1574173" y="5190738"/>
                </a:moveTo>
                <a:cubicBezTo>
                  <a:pt x="1571384" y="5195797"/>
                  <a:pt x="1573862" y="5199411"/>
                  <a:pt x="1569526" y="5200547"/>
                </a:cubicBezTo>
                <a:cubicBezTo>
                  <a:pt x="1567512" y="5197759"/>
                  <a:pt x="1570764" y="5191460"/>
                  <a:pt x="1574173" y="5190738"/>
                </a:cubicBezTo>
                <a:close/>
                <a:moveTo>
                  <a:pt x="1960793" y="5190428"/>
                </a:moveTo>
                <a:cubicBezTo>
                  <a:pt x="1964511" y="5191977"/>
                  <a:pt x="1963891" y="5197656"/>
                  <a:pt x="1960638" y="5199514"/>
                </a:cubicBezTo>
                <a:cubicBezTo>
                  <a:pt x="1959090" y="5199308"/>
                  <a:pt x="1958160" y="5198688"/>
                  <a:pt x="1957540" y="5197862"/>
                </a:cubicBezTo>
                <a:cubicBezTo>
                  <a:pt x="1955992" y="5195487"/>
                  <a:pt x="1958315" y="5191151"/>
                  <a:pt x="1960793" y="5190428"/>
                </a:cubicBezTo>
                <a:close/>
                <a:moveTo>
                  <a:pt x="2365847" y="5188156"/>
                </a:moveTo>
                <a:cubicBezTo>
                  <a:pt x="2366157" y="5190531"/>
                  <a:pt x="2368015" y="5193835"/>
                  <a:pt x="2365382" y="5196417"/>
                </a:cubicBezTo>
                <a:cubicBezTo>
                  <a:pt x="2365072" y="5194558"/>
                  <a:pt x="2364143" y="5191151"/>
                  <a:pt x="2364762" y="5189395"/>
                </a:cubicBezTo>
                <a:cubicBezTo>
                  <a:pt x="2364917" y="5188776"/>
                  <a:pt x="2365227" y="5188259"/>
                  <a:pt x="2365847" y="5188156"/>
                </a:cubicBezTo>
                <a:close/>
                <a:moveTo>
                  <a:pt x="2308535" y="5184749"/>
                </a:moveTo>
                <a:cubicBezTo>
                  <a:pt x="2311168" y="5184852"/>
                  <a:pt x="2312717" y="5184852"/>
                  <a:pt x="2314266" y="5186607"/>
                </a:cubicBezTo>
                <a:cubicBezTo>
                  <a:pt x="2316590" y="5189292"/>
                  <a:pt x="2317674" y="5195281"/>
                  <a:pt x="2314886" y="5197862"/>
                </a:cubicBezTo>
                <a:cubicBezTo>
                  <a:pt x="2311943" y="5201270"/>
                  <a:pt x="2309310" y="5202096"/>
                  <a:pt x="2306831" y="5202096"/>
                </a:cubicBezTo>
                <a:cubicBezTo>
                  <a:pt x="2306831" y="5202096"/>
                  <a:pt x="2306831" y="5202096"/>
                  <a:pt x="2307761" y="5202096"/>
                </a:cubicBezTo>
                <a:lnTo>
                  <a:pt x="2309154" y="5204057"/>
                </a:lnTo>
                <a:lnTo>
                  <a:pt x="2310704" y="5203954"/>
                </a:lnTo>
                <a:cubicBezTo>
                  <a:pt x="2311478" y="5203954"/>
                  <a:pt x="2312098" y="5203954"/>
                  <a:pt x="2312253" y="5203954"/>
                </a:cubicBezTo>
                <a:cubicBezTo>
                  <a:pt x="2312408" y="5204780"/>
                  <a:pt x="2312408" y="5204780"/>
                  <a:pt x="2312408" y="5204780"/>
                </a:cubicBezTo>
                <a:lnTo>
                  <a:pt x="2310239" y="5205297"/>
                </a:lnTo>
                <a:lnTo>
                  <a:pt x="2312717" y="5208394"/>
                </a:lnTo>
                <a:lnTo>
                  <a:pt x="2314731" y="5207981"/>
                </a:lnTo>
                <a:lnTo>
                  <a:pt x="2313337" y="5209530"/>
                </a:lnTo>
                <a:lnTo>
                  <a:pt x="2314576" y="5211905"/>
                </a:lnTo>
                <a:cubicBezTo>
                  <a:pt x="2315041" y="5212835"/>
                  <a:pt x="2315196" y="5213764"/>
                  <a:pt x="2314886" y="5214383"/>
                </a:cubicBezTo>
                <a:cubicBezTo>
                  <a:pt x="2313956" y="5214383"/>
                  <a:pt x="2313182" y="5214383"/>
                  <a:pt x="2312408" y="5213454"/>
                </a:cubicBezTo>
                <a:cubicBezTo>
                  <a:pt x="2311633" y="5212628"/>
                  <a:pt x="2312562" y="5212628"/>
                  <a:pt x="2311633" y="5212524"/>
                </a:cubicBezTo>
                <a:cubicBezTo>
                  <a:pt x="2311013" y="5211699"/>
                  <a:pt x="2310858" y="5212524"/>
                  <a:pt x="2310858" y="5212524"/>
                </a:cubicBezTo>
                <a:lnTo>
                  <a:pt x="2310858" y="5212215"/>
                </a:lnTo>
                <a:lnTo>
                  <a:pt x="2307451" y="5213764"/>
                </a:lnTo>
                <a:cubicBezTo>
                  <a:pt x="2304972" y="5214280"/>
                  <a:pt x="2302959" y="5214486"/>
                  <a:pt x="2301565" y="5216758"/>
                </a:cubicBezTo>
                <a:cubicBezTo>
                  <a:pt x="2300480" y="5215003"/>
                  <a:pt x="2300480" y="5215003"/>
                  <a:pt x="2301100" y="5213247"/>
                </a:cubicBezTo>
                <a:cubicBezTo>
                  <a:pt x="2302030" y="5213144"/>
                  <a:pt x="2301875" y="5212318"/>
                  <a:pt x="2302804" y="5213144"/>
                </a:cubicBezTo>
                <a:cubicBezTo>
                  <a:pt x="2303423" y="5211802"/>
                  <a:pt x="2305437" y="5210356"/>
                  <a:pt x="2307915" y="5209324"/>
                </a:cubicBezTo>
                <a:lnTo>
                  <a:pt x="2308225" y="5209220"/>
                </a:lnTo>
                <a:lnTo>
                  <a:pt x="2306676" y="5208291"/>
                </a:lnTo>
                <a:cubicBezTo>
                  <a:pt x="2306057" y="5207878"/>
                  <a:pt x="2305437" y="5207672"/>
                  <a:pt x="2304663" y="5207258"/>
                </a:cubicBezTo>
                <a:lnTo>
                  <a:pt x="2304508" y="5207155"/>
                </a:lnTo>
                <a:lnTo>
                  <a:pt x="2304043" y="5207258"/>
                </a:lnTo>
                <a:cubicBezTo>
                  <a:pt x="2303114" y="5207465"/>
                  <a:pt x="2302030" y="5207465"/>
                  <a:pt x="2300945" y="5207155"/>
                </a:cubicBezTo>
                <a:cubicBezTo>
                  <a:pt x="2300945" y="5207155"/>
                  <a:pt x="2300945" y="5207155"/>
                  <a:pt x="2301720" y="5207052"/>
                </a:cubicBezTo>
                <a:cubicBezTo>
                  <a:pt x="2301720" y="5207052"/>
                  <a:pt x="2300945" y="5207155"/>
                  <a:pt x="2300790" y="5206329"/>
                </a:cubicBezTo>
                <a:lnTo>
                  <a:pt x="2303579" y="5205503"/>
                </a:lnTo>
                <a:lnTo>
                  <a:pt x="2303114" y="5204987"/>
                </a:lnTo>
                <a:cubicBezTo>
                  <a:pt x="2302804" y="5204161"/>
                  <a:pt x="2302494" y="5203335"/>
                  <a:pt x="2301720" y="5201992"/>
                </a:cubicBezTo>
                <a:cubicBezTo>
                  <a:pt x="2302804" y="5200237"/>
                  <a:pt x="2302804" y="5200341"/>
                  <a:pt x="2303579" y="5200341"/>
                </a:cubicBezTo>
                <a:cubicBezTo>
                  <a:pt x="2302804" y="5200341"/>
                  <a:pt x="2302959" y="5199411"/>
                  <a:pt x="2302184" y="5198482"/>
                </a:cubicBezTo>
                <a:cubicBezTo>
                  <a:pt x="2298157" y="5195797"/>
                  <a:pt x="2300326" y="5191564"/>
                  <a:pt x="2304043" y="5187330"/>
                </a:cubicBezTo>
                <a:cubicBezTo>
                  <a:pt x="2304818" y="5188156"/>
                  <a:pt x="2306831" y="5185575"/>
                  <a:pt x="2308535" y="5184749"/>
                </a:cubicBezTo>
                <a:close/>
                <a:moveTo>
                  <a:pt x="1634582" y="5184542"/>
                </a:moveTo>
                <a:cubicBezTo>
                  <a:pt x="1636130" y="5185368"/>
                  <a:pt x="1637060" y="5185368"/>
                  <a:pt x="1638764" y="5184542"/>
                </a:cubicBezTo>
                <a:cubicBezTo>
                  <a:pt x="1638764" y="5184542"/>
                  <a:pt x="1638764" y="5184646"/>
                  <a:pt x="1640313" y="5186401"/>
                </a:cubicBezTo>
                <a:lnTo>
                  <a:pt x="1640158" y="5187227"/>
                </a:lnTo>
                <a:cubicBezTo>
                  <a:pt x="1639848" y="5187640"/>
                  <a:pt x="1639229" y="5187846"/>
                  <a:pt x="1638299" y="5187950"/>
                </a:cubicBezTo>
                <a:cubicBezTo>
                  <a:pt x="1635511" y="5188156"/>
                  <a:pt x="1630864" y="5187020"/>
                  <a:pt x="1630245" y="5187020"/>
                </a:cubicBezTo>
                <a:cubicBezTo>
                  <a:pt x="1630245" y="5187020"/>
                  <a:pt x="1629315" y="5187020"/>
                  <a:pt x="1628541" y="5187020"/>
                </a:cubicBezTo>
                <a:cubicBezTo>
                  <a:pt x="1627766" y="5186194"/>
                  <a:pt x="1627921" y="5185265"/>
                  <a:pt x="1626992" y="5185265"/>
                </a:cubicBezTo>
                <a:cubicBezTo>
                  <a:pt x="1629780" y="5182787"/>
                  <a:pt x="1632258" y="5183613"/>
                  <a:pt x="1634582" y="5184542"/>
                </a:cubicBezTo>
                <a:close/>
                <a:moveTo>
                  <a:pt x="1880480" y="5184426"/>
                </a:moveTo>
                <a:cubicBezTo>
                  <a:pt x="1882416" y="5183639"/>
                  <a:pt x="1884817" y="5184388"/>
                  <a:pt x="1886289" y="5186298"/>
                </a:cubicBezTo>
                <a:cubicBezTo>
                  <a:pt x="1887218" y="5187537"/>
                  <a:pt x="1887837" y="5189395"/>
                  <a:pt x="1887682" y="5191564"/>
                </a:cubicBezTo>
                <a:cubicBezTo>
                  <a:pt x="1886598" y="5192390"/>
                  <a:pt x="1884430" y="5192906"/>
                  <a:pt x="1882416" y="5193009"/>
                </a:cubicBezTo>
                <a:cubicBezTo>
                  <a:pt x="1880247" y="5193113"/>
                  <a:pt x="1878234" y="5192700"/>
                  <a:pt x="1877459" y="5191770"/>
                </a:cubicBezTo>
                <a:cubicBezTo>
                  <a:pt x="1877072" y="5187536"/>
                  <a:pt x="1878543" y="5185213"/>
                  <a:pt x="1880480" y="5184426"/>
                </a:cubicBezTo>
                <a:close/>
                <a:moveTo>
                  <a:pt x="2112901" y="5182993"/>
                </a:moveTo>
                <a:cubicBezTo>
                  <a:pt x="2117703" y="5183716"/>
                  <a:pt x="2119562" y="5190118"/>
                  <a:pt x="2116464" y="5192803"/>
                </a:cubicBezTo>
                <a:lnTo>
                  <a:pt x="2114916" y="5192700"/>
                </a:lnTo>
                <a:lnTo>
                  <a:pt x="2112127" y="5196623"/>
                </a:lnTo>
                <a:cubicBezTo>
                  <a:pt x="2111043" y="5197759"/>
                  <a:pt x="2110113" y="5198585"/>
                  <a:pt x="2109804" y="5198379"/>
                </a:cubicBezTo>
                <a:cubicBezTo>
                  <a:pt x="2109339" y="5199101"/>
                  <a:pt x="2108565" y="5198688"/>
                  <a:pt x="2108254" y="5199514"/>
                </a:cubicBezTo>
                <a:cubicBezTo>
                  <a:pt x="2108254" y="5199514"/>
                  <a:pt x="2107945" y="5200237"/>
                  <a:pt x="2106861" y="5200547"/>
                </a:cubicBezTo>
                <a:cubicBezTo>
                  <a:pt x="2106241" y="5200753"/>
                  <a:pt x="2105621" y="5200960"/>
                  <a:pt x="2105157" y="5200857"/>
                </a:cubicBezTo>
                <a:cubicBezTo>
                  <a:pt x="2104537" y="5200753"/>
                  <a:pt x="2103918" y="5200444"/>
                  <a:pt x="2103298" y="5199618"/>
                </a:cubicBezTo>
                <a:cubicBezTo>
                  <a:pt x="2105931" y="5197243"/>
                  <a:pt x="2107480" y="5195178"/>
                  <a:pt x="2109184" y="5193422"/>
                </a:cubicBezTo>
                <a:lnTo>
                  <a:pt x="2111508" y="5191254"/>
                </a:lnTo>
                <a:lnTo>
                  <a:pt x="2110578" y="5186814"/>
                </a:lnTo>
                <a:cubicBezTo>
                  <a:pt x="2110733" y="5185368"/>
                  <a:pt x="2111663" y="5184129"/>
                  <a:pt x="2112901" y="5182993"/>
                </a:cubicBezTo>
                <a:close/>
                <a:moveTo>
                  <a:pt x="1534364" y="5181961"/>
                </a:moveTo>
                <a:cubicBezTo>
                  <a:pt x="1535293" y="5180206"/>
                  <a:pt x="1537462" y="5183716"/>
                  <a:pt x="1538391" y="5181961"/>
                </a:cubicBezTo>
                <a:cubicBezTo>
                  <a:pt x="1541335" y="5185575"/>
                  <a:pt x="1545981" y="5181238"/>
                  <a:pt x="1551403" y="5185781"/>
                </a:cubicBezTo>
                <a:cubicBezTo>
                  <a:pt x="1549234" y="5186401"/>
                  <a:pt x="1547220" y="5186607"/>
                  <a:pt x="1545516" y="5186607"/>
                </a:cubicBezTo>
                <a:cubicBezTo>
                  <a:pt x="1540095" y="5186711"/>
                  <a:pt x="1536069" y="5185058"/>
                  <a:pt x="1532195" y="5186298"/>
                </a:cubicBezTo>
                <a:cubicBezTo>
                  <a:pt x="1532195" y="5186298"/>
                  <a:pt x="1532195" y="5186298"/>
                  <a:pt x="1530801" y="5184542"/>
                </a:cubicBezTo>
                <a:cubicBezTo>
                  <a:pt x="1529872" y="5184542"/>
                  <a:pt x="1529872" y="5184542"/>
                  <a:pt x="1529872" y="5184542"/>
                </a:cubicBezTo>
                <a:cubicBezTo>
                  <a:pt x="1529562" y="5184542"/>
                  <a:pt x="1529252" y="5184026"/>
                  <a:pt x="1529252" y="5183613"/>
                </a:cubicBezTo>
                <a:cubicBezTo>
                  <a:pt x="1529252" y="5183200"/>
                  <a:pt x="1529252" y="5182787"/>
                  <a:pt x="1529252" y="5182787"/>
                </a:cubicBezTo>
                <a:cubicBezTo>
                  <a:pt x="1530337" y="5181032"/>
                  <a:pt x="1532660" y="5181857"/>
                  <a:pt x="1534364" y="5181961"/>
                </a:cubicBezTo>
                <a:close/>
                <a:moveTo>
                  <a:pt x="2276782" y="5180928"/>
                </a:moveTo>
                <a:cubicBezTo>
                  <a:pt x="2280809" y="5182580"/>
                  <a:pt x="2280964" y="5188156"/>
                  <a:pt x="2278021" y="5189912"/>
                </a:cubicBezTo>
                <a:cubicBezTo>
                  <a:pt x="2271670" y="5188879"/>
                  <a:pt x="2273684" y="5181754"/>
                  <a:pt x="2276782" y="5180928"/>
                </a:cubicBezTo>
                <a:close/>
                <a:moveTo>
                  <a:pt x="1715593" y="5180928"/>
                </a:moveTo>
                <a:cubicBezTo>
                  <a:pt x="1716987" y="5184026"/>
                  <a:pt x="1715128" y="5186711"/>
                  <a:pt x="1712649" y="5187434"/>
                </a:cubicBezTo>
                <a:cubicBezTo>
                  <a:pt x="1711875" y="5187640"/>
                  <a:pt x="1710945" y="5187640"/>
                  <a:pt x="1710171" y="5187330"/>
                </a:cubicBezTo>
                <a:cubicBezTo>
                  <a:pt x="1706144" y="5181754"/>
                  <a:pt x="1712649" y="5178966"/>
                  <a:pt x="1715593" y="5180928"/>
                </a:cubicBezTo>
                <a:close/>
                <a:moveTo>
                  <a:pt x="2818299" y="5180722"/>
                </a:moveTo>
                <a:lnTo>
                  <a:pt x="2816905" y="5181135"/>
                </a:lnTo>
                <a:lnTo>
                  <a:pt x="2817369" y="5182167"/>
                </a:lnTo>
                <a:close/>
                <a:moveTo>
                  <a:pt x="2581617" y="5179689"/>
                </a:moveTo>
                <a:cubicBezTo>
                  <a:pt x="2582392" y="5180722"/>
                  <a:pt x="2582392" y="5180618"/>
                  <a:pt x="2582237" y="5183200"/>
                </a:cubicBezTo>
                <a:cubicBezTo>
                  <a:pt x="2581462" y="5182167"/>
                  <a:pt x="2581462" y="5182167"/>
                  <a:pt x="2580688" y="5182890"/>
                </a:cubicBezTo>
                <a:cubicBezTo>
                  <a:pt x="2580688" y="5182890"/>
                  <a:pt x="2580688" y="5182890"/>
                  <a:pt x="2580533" y="5183716"/>
                </a:cubicBezTo>
                <a:cubicBezTo>
                  <a:pt x="2579759" y="5183613"/>
                  <a:pt x="2579913" y="5182787"/>
                  <a:pt x="2579139" y="5182684"/>
                </a:cubicBezTo>
                <a:cubicBezTo>
                  <a:pt x="2579139" y="5182684"/>
                  <a:pt x="2579139" y="5181754"/>
                  <a:pt x="2579139" y="5181754"/>
                </a:cubicBezTo>
                <a:cubicBezTo>
                  <a:pt x="2578674" y="5181754"/>
                  <a:pt x="2578674" y="5181754"/>
                  <a:pt x="2578984" y="5181651"/>
                </a:cubicBezTo>
                <a:cubicBezTo>
                  <a:pt x="2579139" y="5181445"/>
                  <a:pt x="2579604" y="5181032"/>
                  <a:pt x="2579913" y="5180309"/>
                </a:cubicBezTo>
                <a:cubicBezTo>
                  <a:pt x="2580843" y="5179586"/>
                  <a:pt x="2580998" y="5178760"/>
                  <a:pt x="2581617" y="5179689"/>
                </a:cubicBezTo>
                <a:close/>
                <a:moveTo>
                  <a:pt x="1897750" y="5179379"/>
                </a:moveTo>
                <a:cubicBezTo>
                  <a:pt x="1899455" y="5178863"/>
                  <a:pt x="1901778" y="5179379"/>
                  <a:pt x="1904566" y="5181651"/>
                </a:cubicBezTo>
                <a:cubicBezTo>
                  <a:pt x="1901933" y="5186814"/>
                  <a:pt x="1904101" y="5190841"/>
                  <a:pt x="1899919" y="5193835"/>
                </a:cubicBezTo>
                <a:cubicBezTo>
                  <a:pt x="1891245" y="5191357"/>
                  <a:pt x="1892174" y="5180722"/>
                  <a:pt x="1897750" y="5179379"/>
                </a:cubicBezTo>
                <a:close/>
                <a:moveTo>
                  <a:pt x="2755256" y="5178863"/>
                </a:moveTo>
                <a:lnTo>
                  <a:pt x="2751539" y="5181238"/>
                </a:lnTo>
                <a:lnTo>
                  <a:pt x="2752158" y="5181857"/>
                </a:lnTo>
                <a:cubicBezTo>
                  <a:pt x="2753707" y="5182271"/>
                  <a:pt x="2755411" y="5181341"/>
                  <a:pt x="2756960" y="5180928"/>
                </a:cubicBezTo>
                <a:lnTo>
                  <a:pt x="2757579" y="5180928"/>
                </a:lnTo>
                <a:lnTo>
                  <a:pt x="2756031" y="5180102"/>
                </a:lnTo>
                <a:close/>
                <a:moveTo>
                  <a:pt x="2420990" y="5178553"/>
                </a:moveTo>
                <a:cubicBezTo>
                  <a:pt x="2427341" y="5176179"/>
                  <a:pt x="2430903" y="5187020"/>
                  <a:pt x="2432452" y="5189085"/>
                </a:cubicBezTo>
                <a:cubicBezTo>
                  <a:pt x="2432452" y="5189085"/>
                  <a:pt x="2433072" y="5189499"/>
                  <a:pt x="2433226" y="5190738"/>
                </a:cubicBezTo>
                <a:cubicBezTo>
                  <a:pt x="2434156" y="5192286"/>
                  <a:pt x="2431678" y="5191770"/>
                  <a:pt x="2431833" y="5193009"/>
                </a:cubicBezTo>
                <a:cubicBezTo>
                  <a:pt x="2427341" y="5187950"/>
                  <a:pt x="2421764" y="5186401"/>
                  <a:pt x="2421764" y="5186401"/>
                </a:cubicBezTo>
                <a:cubicBezTo>
                  <a:pt x="2420835" y="5184852"/>
                  <a:pt x="2421300" y="5184129"/>
                  <a:pt x="2420835" y="5184852"/>
                </a:cubicBezTo>
                <a:cubicBezTo>
                  <a:pt x="2420370" y="5182477"/>
                  <a:pt x="2419286" y="5179689"/>
                  <a:pt x="2420990" y="5178553"/>
                </a:cubicBezTo>
                <a:close/>
                <a:moveTo>
                  <a:pt x="2467924" y="5177521"/>
                </a:moveTo>
                <a:cubicBezTo>
                  <a:pt x="2471021" y="5181445"/>
                  <a:pt x="2468078" y="5188673"/>
                  <a:pt x="2462192" y="5188363"/>
                </a:cubicBezTo>
                <a:cubicBezTo>
                  <a:pt x="2461727" y="5186401"/>
                  <a:pt x="2460798" y="5185162"/>
                  <a:pt x="2460334" y="5183303"/>
                </a:cubicBezTo>
                <a:cubicBezTo>
                  <a:pt x="2462967" y="5180928"/>
                  <a:pt x="2462657" y="5176591"/>
                  <a:pt x="2467924" y="5177521"/>
                </a:cubicBezTo>
                <a:close/>
                <a:moveTo>
                  <a:pt x="2088738" y="5177521"/>
                </a:moveTo>
                <a:cubicBezTo>
                  <a:pt x="2091526" y="5176695"/>
                  <a:pt x="2093385" y="5177211"/>
                  <a:pt x="2094779" y="5178347"/>
                </a:cubicBezTo>
                <a:cubicBezTo>
                  <a:pt x="2098497" y="5181857"/>
                  <a:pt x="2095864" y="5191564"/>
                  <a:pt x="2088428" y="5189912"/>
                </a:cubicBezTo>
                <a:cubicBezTo>
                  <a:pt x="2087963" y="5189292"/>
                  <a:pt x="2087653" y="5188363"/>
                  <a:pt x="2087498" y="5187330"/>
                </a:cubicBezTo>
                <a:cubicBezTo>
                  <a:pt x="2086879" y="5184026"/>
                  <a:pt x="2087653" y="5179379"/>
                  <a:pt x="2088738" y="5177521"/>
                </a:cubicBezTo>
                <a:close/>
                <a:moveTo>
                  <a:pt x="1683684" y="5177521"/>
                </a:moveTo>
                <a:cubicBezTo>
                  <a:pt x="1685543" y="5176695"/>
                  <a:pt x="1687711" y="5179379"/>
                  <a:pt x="1689260" y="5180206"/>
                </a:cubicBezTo>
                <a:cubicBezTo>
                  <a:pt x="1688331" y="5181135"/>
                  <a:pt x="1687401" y="5181961"/>
                  <a:pt x="1688176" y="5181961"/>
                </a:cubicBezTo>
                <a:cubicBezTo>
                  <a:pt x="1687401" y="5182890"/>
                  <a:pt x="1686472" y="5183303"/>
                  <a:pt x="1685698" y="5183303"/>
                </a:cubicBezTo>
                <a:cubicBezTo>
                  <a:pt x="1684768" y="5183407"/>
                  <a:pt x="1683994" y="5183200"/>
                  <a:pt x="1683219" y="5182787"/>
                </a:cubicBezTo>
                <a:cubicBezTo>
                  <a:pt x="1682444" y="5181857"/>
                  <a:pt x="1682599" y="5180102"/>
                  <a:pt x="1683684" y="5177521"/>
                </a:cubicBezTo>
                <a:close/>
                <a:moveTo>
                  <a:pt x="2159370" y="5177314"/>
                </a:moveTo>
                <a:cubicBezTo>
                  <a:pt x="2163243" y="5179586"/>
                  <a:pt x="2161849" y="5186194"/>
                  <a:pt x="2157667" y="5187434"/>
                </a:cubicBezTo>
                <a:cubicBezTo>
                  <a:pt x="2156737" y="5186814"/>
                  <a:pt x="2154879" y="5186504"/>
                  <a:pt x="2153639" y="5185058"/>
                </a:cubicBezTo>
                <a:cubicBezTo>
                  <a:pt x="2153794" y="5180722"/>
                  <a:pt x="2155963" y="5178244"/>
                  <a:pt x="2159370" y="5177314"/>
                </a:cubicBezTo>
                <a:close/>
                <a:moveTo>
                  <a:pt x="1802644" y="5174423"/>
                </a:moveTo>
                <a:cubicBezTo>
                  <a:pt x="1802025" y="5175249"/>
                  <a:pt x="1802025" y="5175249"/>
                  <a:pt x="1802954" y="5175972"/>
                </a:cubicBezTo>
                <a:cubicBezTo>
                  <a:pt x="1802954" y="5175972"/>
                  <a:pt x="1802954" y="5176075"/>
                  <a:pt x="1803729" y="5175972"/>
                </a:cubicBezTo>
                <a:cubicBezTo>
                  <a:pt x="1803883" y="5176798"/>
                  <a:pt x="1803109" y="5176798"/>
                  <a:pt x="1803109" y="5177624"/>
                </a:cubicBezTo>
                <a:cubicBezTo>
                  <a:pt x="1803109" y="5177624"/>
                  <a:pt x="1802334" y="5177727"/>
                  <a:pt x="1802334" y="5177727"/>
                </a:cubicBezTo>
                <a:cubicBezTo>
                  <a:pt x="1802489" y="5178140"/>
                  <a:pt x="1802489" y="5178140"/>
                  <a:pt x="1802179" y="5177934"/>
                </a:cubicBezTo>
                <a:cubicBezTo>
                  <a:pt x="1802025" y="5177727"/>
                  <a:pt x="1801560" y="5177314"/>
                  <a:pt x="1800631" y="5177005"/>
                </a:cubicBezTo>
                <a:cubicBezTo>
                  <a:pt x="1799701" y="5176179"/>
                  <a:pt x="1798927" y="5176282"/>
                  <a:pt x="1799546" y="5175455"/>
                </a:cubicBezTo>
                <a:cubicBezTo>
                  <a:pt x="1800321" y="5174526"/>
                  <a:pt x="1800321" y="5174526"/>
                  <a:pt x="1802644" y="5174423"/>
                </a:cubicBezTo>
                <a:close/>
                <a:moveTo>
                  <a:pt x="2021668" y="5174217"/>
                </a:moveTo>
                <a:cubicBezTo>
                  <a:pt x="2025385" y="5171429"/>
                  <a:pt x="2030806" y="5175455"/>
                  <a:pt x="2030187" y="5179792"/>
                </a:cubicBezTo>
                <a:cubicBezTo>
                  <a:pt x="2029258" y="5180515"/>
                  <a:pt x="2028173" y="5182064"/>
                  <a:pt x="2026470" y="5182477"/>
                </a:cubicBezTo>
                <a:cubicBezTo>
                  <a:pt x="2022442" y="5180722"/>
                  <a:pt x="2021203" y="5177727"/>
                  <a:pt x="2021668" y="5174217"/>
                </a:cubicBezTo>
                <a:close/>
                <a:moveTo>
                  <a:pt x="2526823" y="5174204"/>
                </a:moveTo>
                <a:cubicBezTo>
                  <a:pt x="2531276" y="5175481"/>
                  <a:pt x="2535381" y="5178192"/>
                  <a:pt x="2538401" y="5182271"/>
                </a:cubicBezTo>
                <a:cubicBezTo>
                  <a:pt x="2537627" y="5183303"/>
                  <a:pt x="2537007" y="5184336"/>
                  <a:pt x="2537936" y="5184955"/>
                </a:cubicBezTo>
                <a:cubicBezTo>
                  <a:pt x="2534064" y="5192286"/>
                  <a:pt x="2526164" y="5196313"/>
                  <a:pt x="2518420" y="5196933"/>
                </a:cubicBezTo>
                <a:cubicBezTo>
                  <a:pt x="2510520" y="5197449"/>
                  <a:pt x="2503085" y="5194351"/>
                  <a:pt x="2499987" y="5187434"/>
                </a:cubicBezTo>
                <a:cubicBezTo>
                  <a:pt x="2502930" y="5180928"/>
                  <a:pt x="2507732" y="5176798"/>
                  <a:pt x="2513153" y="5174733"/>
                </a:cubicBezTo>
                <a:cubicBezTo>
                  <a:pt x="2517568" y="5173081"/>
                  <a:pt x="2522369" y="5172926"/>
                  <a:pt x="2526823" y="5174204"/>
                </a:cubicBezTo>
                <a:close/>
                <a:moveTo>
                  <a:pt x="2205220" y="5173907"/>
                </a:moveTo>
                <a:cubicBezTo>
                  <a:pt x="2207853" y="5178140"/>
                  <a:pt x="2203206" y="5185162"/>
                  <a:pt x="2199953" y="5188673"/>
                </a:cubicBezTo>
                <a:cubicBezTo>
                  <a:pt x="2197785" y="5187846"/>
                  <a:pt x="2196545" y="5189395"/>
                  <a:pt x="2194377" y="5188569"/>
                </a:cubicBezTo>
                <a:cubicBezTo>
                  <a:pt x="2197165" y="5181548"/>
                  <a:pt x="2199643" y="5173804"/>
                  <a:pt x="2205220" y="5173907"/>
                </a:cubicBezTo>
                <a:close/>
                <a:moveTo>
                  <a:pt x="1979149" y="5173636"/>
                </a:moveTo>
                <a:cubicBezTo>
                  <a:pt x="1981085" y="5173984"/>
                  <a:pt x="1982866" y="5175352"/>
                  <a:pt x="1984337" y="5177314"/>
                </a:cubicBezTo>
                <a:cubicBezTo>
                  <a:pt x="1989139" y="5183716"/>
                  <a:pt x="1990379" y="5196520"/>
                  <a:pt x="1982789" y="5199308"/>
                </a:cubicBezTo>
                <a:cubicBezTo>
                  <a:pt x="1980001" y="5196726"/>
                  <a:pt x="1977522" y="5193732"/>
                  <a:pt x="1975818" y="5190015"/>
                </a:cubicBezTo>
                <a:cubicBezTo>
                  <a:pt x="1973959" y="5186194"/>
                  <a:pt x="1972875" y="5181651"/>
                  <a:pt x="1973030" y="5176075"/>
                </a:cubicBezTo>
                <a:cubicBezTo>
                  <a:pt x="1975122" y="5173959"/>
                  <a:pt x="1977213" y="5173287"/>
                  <a:pt x="1979149" y="5173636"/>
                </a:cubicBezTo>
                <a:close/>
                <a:moveTo>
                  <a:pt x="1484487" y="5171739"/>
                </a:moveTo>
                <a:cubicBezTo>
                  <a:pt x="1488204" y="5171739"/>
                  <a:pt x="1487585" y="5174940"/>
                  <a:pt x="1486966" y="5178037"/>
                </a:cubicBezTo>
                <a:cubicBezTo>
                  <a:pt x="1486036" y="5177934"/>
                  <a:pt x="1485261" y="5178347"/>
                  <a:pt x="1484332" y="5178553"/>
                </a:cubicBezTo>
                <a:cubicBezTo>
                  <a:pt x="1483558" y="5178760"/>
                  <a:pt x="1482628" y="5178760"/>
                  <a:pt x="1481389" y="5177934"/>
                </a:cubicBezTo>
                <a:cubicBezTo>
                  <a:pt x="1482319" y="5175559"/>
                  <a:pt x="1483558" y="5174010"/>
                  <a:pt x="1484487" y="5171739"/>
                </a:cubicBezTo>
                <a:close/>
                <a:moveTo>
                  <a:pt x="2012219" y="5170706"/>
                </a:moveTo>
                <a:cubicBezTo>
                  <a:pt x="2013303" y="5171016"/>
                  <a:pt x="2014542" y="5171325"/>
                  <a:pt x="2014387" y="5172461"/>
                </a:cubicBezTo>
                <a:cubicBezTo>
                  <a:pt x="2014078" y="5173700"/>
                  <a:pt x="2014697" y="5174423"/>
                  <a:pt x="2012838" y="5174526"/>
                </a:cubicBezTo>
                <a:cubicBezTo>
                  <a:pt x="2012064" y="5175043"/>
                  <a:pt x="2010980" y="5174733"/>
                  <a:pt x="2010205" y="5175249"/>
                </a:cubicBezTo>
                <a:cubicBezTo>
                  <a:pt x="2010205" y="5175249"/>
                  <a:pt x="2009741" y="5174733"/>
                  <a:pt x="2009276" y="5174113"/>
                </a:cubicBezTo>
                <a:cubicBezTo>
                  <a:pt x="2008656" y="5173494"/>
                  <a:pt x="2008192" y="5172771"/>
                  <a:pt x="2008347" y="5172151"/>
                </a:cubicBezTo>
                <a:cubicBezTo>
                  <a:pt x="2008037" y="5170293"/>
                  <a:pt x="2011599" y="5171119"/>
                  <a:pt x="2012219" y="5170706"/>
                </a:cubicBezTo>
                <a:close/>
                <a:moveTo>
                  <a:pt x="1951809" y="5169880"/>
                </a:moveTo>
                <a:cubicBezTo>
                  <a:pt x="1954443" y="5172461"/>
                  <a:pt x="1957231" y="5174836"/>
                  <a:pt x="1959554" y="5177934"/>
                </a:cubicBezTo>
                <a:cubicBezTo>
                  <a:pt x="1961878" y="5180928"/>
                  <a:pt x="1963737" y="5184646"/>
                  <a:pt x="1964356" y="5189602"/>
                </a:cubicBezTo>
                <a:cubicBezTo>
                  <a:pt x="1959399" y="5189705"/>
                  <a:pt x="1956147" y="5186504"/>
                  <a:pt x="1954288" y="5182374"/>
                </a:cubicBezTo>
                <a:cubicBezTo>
                  <a:pt x="1952274" y="5178244"/>
                  <a:pt x="1951654" y="5173287"/>
                  <a:pt x="1951809" y="5169880"/>
                </a:cubicBezTo>
                <a:close/>
                <a:moveTo>
                  <a:pt x="2350047" y="5166576"/>
                </a:moveTo>
                <a:cubicBezTo>
                  <a:pt x="2355624" y="5166782"/>
                  <a:pt x="2357018" y="5171119"/>
                  <a:pt x="2356088" y="5176179"/>
                </a:cubicBezTo>
                <a:cubicBezTo>
                  <a:pt x="2354694" y="5182477"/>
                  <a:pt x="2349737" y="5190015"/>
                  <a:pt x="2344471" y="5191667"/>
                </a:cubicBezTo>
                <a:lnTo>
                  <a:pt x="2344006" y="5191564"/>
                </a:lnTo>
                <a:lnTo>
                  <a:pt x="2343851" y="5198482"/>
                </a:lnTo>
                <a:cubicBezTo>
                  <a:pt x="2343387" y="5200960"/>
                  <a:pt x="2342613" y="5203541"/>
                  <a:pt x="2341373" y="5206019"/>
                </a:cubicBezTo>
                <a:cubicBezTo>
                  <a:pt x="2340289" y="5205916"/>
                  <a:pt x="2339050" y="5205916"/>
                  <a:pt x="2339050" y="5207155"/>
                </a:cubicBezTo>
                <a:cubicBezTo>
                  <a:pt x="2331305" y="5207465"/>
                  <a:pt x="2324799" y="5202199"/>
                  <a:pt x="2321391" y="5195178"/>
                </a:cubicBezTo>
                <a:cubicBezTo>
                  <a:pt x="2318913" y="5190015"/>
                  <a:pt x="2318139" y="5183819"/>
                  <a:pt x="2319843" y="5178347"/>
                </a:cubicBezTo>
                <a:lnTo>
                  <a:pt x="2320307" y="5177521"/>
                </a:lnTo>
                <a:lnTo>
                  <a:pt x="2319223" y="5178553"/>
                </a:lnTo>
                <a:cubicBezTo>
                  <a:pt x="2317984" y="5178863"/>
                  <a:pt x="2317984" y="5178863"/>
                  <a:pt x="2317364" y="5178347"/>
                </a:cubicBezTo>
                <a:cubicBezTo>
                  <a:pt x="2315505" y="5178244"/>
                  <a:pt x="2314266" y="5178657"/>
                  <a:pt x="2313337" y="5177005"/>
                </a:cubicBezTo>
                <a:cubicBezTo>
                  <a:pt x="2312872" y="5175559"/>
                  <a:pt x="2313027" y="5174526"/>
                  <a:pt x="2313647" y="5173700"/>
                </a:cubicBezTo>
                <a:cubicBezTo>
                  <a:pt x="2314421" y="5172874"/>
                  <a:pt x="2315505" y="5172255"/>
                  <a:pt x="2316899" y="5171532"/>
                </a:cubicBezTo>
                <a:cubicBezTo>
                  <a:pt x="2319687" y="5170086"/>
                  <a:pt x="2321391" y="5172255"/>
                  <a:pt x="2323715" y="5171532"/>
                </a:cubicBezTo>
                <a:lnTo>
                  <a:pt x="2323250" y="5173081"/>
                </a:lnTo>
                <a:lnTo>
                  <a:pt x="2331615" y="5174010"/>
                </a:lnTo>
                <a:cubicBezTo>
                  <a:pt x="2334248" y="5175043"/>
                  <a:pt x="2336571" y="5176591"/>
                  <a:pt x="2338430" y="5178553"/>
                </a:cubicBezTo>
                <a:lnTo>
                  <a:pt x="2341063" y="5182580"/>
                </a:lnTo>
                <a:lnTo>
                  <a:pt x="2341838" y="5178966"/>
                </a:lnTo>
                <a:cubicBezTo>
                  <a:pt x="2343542" y="5174836"/>
                  <a:pt x="2346020" y="5170603"/>
                  <a:pt x="2350047" y="5166576"/>
                </a:cubicBezTo>
                <a:close/>
                <a:moveTo>
                  <a:pt x="2098806" y="5166266"/>
                </a:moveTo>
                <a:cubicBezTo>
                  <a:pt x="2098806" y="5166266"/>
                  <a:pt x="2099426" y="5166782"/>
                  <a:pt x="2099426" y="5166782"/>
                </a:cubicBezTo>
                <a:cubicBezTo>
                  <a:pt x="2099116" y="5167505"/>
                  <a:pt x="2099580" y="5166782"/>
                  <a:pt x="2100665" y="5166473"/>
                </a:cubicBezTo>
                <a:cubicBezTo>
                  <a:pt x="2101904" y="5168021"/>
                  <a:pt x="2102678" y="5168538"/>
                  <a:pt x="2102988" y="5169777"/>
                </a:cubicBezTo>
                <a:cubicBezTo>
                  <a:pt x="2103298" y="5170293"/>
                  <a:pt x="2103298" y="5171016"/>
                  <a:pt x="2103298" y="5171739"/>
                </a:cubicBezTo>
                <a:cubicBezTo>
                  <a:pt x="2103298" y="5172358"/>
                  <a:pt x="2102988" y="5172978"/>
                  <a:pt x="2102369" y="5173184"/>
                </a:cubicBezTo>
                <a:cubicBezTo>
                  <a:pt x="2101594" y="5172668"/>
                  <a:pt x="2101285" y="5173494"/>
                  <a:pt x="2100510" y="5172978"/>
                </a:cubicBezTo>
                <a:cubicBezTo>
                  <a:pt x="2098651" y="5172874"/>
                  <a:pt x="2097877" y="5172461"/>
                  <a:pt x="2097412" y="5171325"/>
                </a:cubicBezTo>
                <a:cubicBezTo>
                  <a:pt x="2096637" y="5170809"/>
                  <a:pt x="2096947" y="5170086"/>
                  <a:pt x="2096637" y="5168847"/>
                </a:cubicBezTo>
                <a:cubicBezTo>
                  <a:pt x="2096947" y="5168124"/>
                  <a:pt x="2098031" y="5167815"/>
                  <a:pt x="2098031" y="5167815"/>
                </a:cubicBezTo>
                <a:cubicBezTo>
                  <a:pt x="2099116" y="5167505"/>
                  <a:pt x="2099271" y="5167505"/>
                  <a:pt x="2098806" y="5166266"/>
                </a:cubicBezTo>
                <a:close/>
                <a:moveTo>
                  <a:pt x="2065813" y="5166163"/>
                </a:moveTo>
                <a:cubicBezTo>
                  <a:pt x="2068137" y="5171842"/>
                  <a:pt x="2066278" y="5183407"/>
                  <a:pt x="2058068" y="5183200"/>
                </a:cubicBezTo>
                <a:cubicBezTo>
                  <a:pt x="2060392" y="5177727"/>
                  <a:pt x="2061786" y="5171016"/>
                  <a:pt x="2065813" y="5166163"/>
                </a:cubicBezTo>
                <a:close/>
                <a:moveTo>
                  <a:pt x="1607785" y="5165646"/>
                </a:moveTo>
                <a:cubicBezTo>
                  <a:pt x="1608714" y="5166163"/>
                  <a:pt x="1609333" y="5167195"/>
                  <a:pt x="1609333" y="5168847"/>
                </a:cubicBezTo>
                <a:cubicBezTo>
                  <a:pt x="1608714" y="5173804"/>
                  <a:pt x="1604532" y="5174320"/>
                  <a:pt x="1599730" y="5174217"/>
                </a:cubicBezTo>
                <a:cubicBezTo>
                  <a:pt x="1599420" y="5172358"/>
                  <a:pt x="1598336" y="5171119"/>
                  <a:pt x="1598026" y="5169260"/>
                </a:cubicBezTo>
                <a:cubicBezTo>
                  <a:pt x="1599265" y="5166473"/>
                  <a:pt x="1605152" y="5163891"/>
                  <a:pt x="1607785" y="5165646"/>
                </a:cubicBezTo>
                <a:close/>
                <a:moveTo>
                  <a:pt x="1938179" y="5164820"/>
                </a:moveTo>
                <a:cubicBezTo>
                  <a:pt x="1939108" y="5165543"/>
                  <a:pt x="1940192" y="5166679"/>
                  <a:pt x="1941276" y="5168228"/>
                </a:cubicBezTo>
                <a:cubicBezTo>
                  <a:pt x="1939572" y="5172978"/>
                  <a:pt x="1937869" y="5181754"/>
                  <a:pt x="1931053" y="5182167"/>
                </a:cubicBezTo>
                <a:cubicBezTo>
                  <a:pt x="1930124" y="5182271"/>
                  <a:pt x="1928885" y="5182167"/>
                  <a:pt x="1927800" y="5181857"/>
                </a:cubicBezTo>
                <a:cubicBezTo>
                  <a:pt x="1923773" y="5173184"/>
                  <a:pt x="1930744" y="5159761"/>
                  <a:pt x="1938179" y="5164820"/>
                </a:cubicBezTo>
                <a:close/>
                <a:moveTo>
                  <a:pt x="2155808" y="5164304"/>
                </a:moveTo>
                <a:cubicBezTo>
                  <a:pt x="2157357" y="5163272"/>
                  <a:pt x="2157976" y="5166885"/>
                  <a:pt x="2158596" y="5167299"/>
                </a:cubicBezTo>
                <a:cubicBezTo>
                  <a:pt x="2158906" y="5168434"/>
                  <a:pt x="2159061" y="5169673"/>
                  <a:pt x="2157821" y="5169983"/>
                </a:cubicBezTo>
                <a:cubicBezTo>
                  <a:pt x="2157357" y="5170190"/>
                  <a:pt x="2156892" y="5170396"/>
                  <a:pt x="2156582" y="5170396"/>
                </a:cubicBezTo>
                <a:cubicBezTo>
                  <a:pt x="2156118" y="5170499"/>
                  <a:pt x="2155808" y="5170190"/>
                  <a:pt x="2155343" y="5169364"/>
                </a:cubicBezTo>
                <a:cubicBezTo>
                  <a:pt x="2154723" y="5168950"/>
                  <a:pt x="2154569" y="5167815"/>
                  <a:pt x="2153794" y="5167299"/>
                </a:cubicBezTo>
                <a:cubicBezTo>
                  <a:pt x="2153794" y="5167299"/>
                  <a:pt x="2153949" y="5166679"/>
                  <a:pt x="2154414" y="5165956"/>
                </a:cubicBezTo>
                <a:cubicBezTo>
                  <a:pt x="2154723" y="5165233"/>
                  <a:pt x="2155188" y="5164511"/>
                  <a:pt x="2155808" y="5164304"/>
                </a:cubicBezTo>
                <a:close/>
                <a:moveTo>
                  <a:pt x="2394347" y="5163168"/>
                </a:moveTo>
                <a:cubicBezTo>
                  <a:pt x="2395277" y="5164923"/>
                  <a:pt x="2394503" y="5166679"/>
                  <a:pt x="2393728" y="5168331"/>
                </a:cubicBezTo>
                <a:cubicBezTo>
                  <a:pt x="2392954" y="5169570"/>
                  <a:pt x="2392024" y="5169983"/>
                  <a:pt x="2391250" y="5169777"/>
                </a:cubicBezTo>
                <a:cubicBezTo>
                  <a:pt x="2390320" y="5169673"/>
                  <a:pt x="2389546" y="5168950"/>
                  <a:pt x="2388616" y="5168021"/>
                </a:cubicBezTo>
                <a:cubicBezTo>
                  <a:pt x="2386758" y="5166266"/>
                  <a:pt x="2387532" y="5164614"/>
                  <a:pt x="2387532" y="5164614"/>
                </a:cubicBezTo>
                <a:cubicBezTo>
                  <a:pt x="2389236" y="5162033"/>
                  <a:pt x="2391714" y="5161310"/>
                  <a:pt x="2394347" y="5163168"/>
                </a:cubicBezTo>
                <a:close/>
                <a:moveTo>
                  <a:pt x="1971017" y="5162342"/>
                </a:moveTo>
                <a:cubicBezTo>
                  <a:pt x="1972875" y="5160587"/>
                  <a:pt x="1975199" y="5162445"/>
                  <a:pt x="1975044" y="5163272"/>
                </a:cubicBezTo>
                <a:cubicBezTo>
                  <a:pt x="1974115" y="5164201"/>
                  <a:pt x="1972411" y="5164201"/>
                  <a:pt x="1971481" y="5165027"/>
                </a:cubicBezTo>
                <a:cubicBezTo>
                  <a:pt x="1971636" y="5164098"/>
                  <a:pt x="1970862" y="5163168"/>
                  <a:pt x="1971017" y="5162342"/>
                </a:cubicBezTo>
                <a:close/>
                <a:moveTo>
                  <a:pt x="2466220" y="5161826"/>
                </a:moveTo>
                <a:cubicBezTo>
                  <a:pt x="2466994" y="5162755"/>
                  <a:pt x="2468388" y="5163788"/>
                  <a:pt x="2469008" y="5165646"/>
                </a:cubicBezTo>
                <a:cubicBezTo>
                  <a:pt x="2468078" y="5167092"/>
                  <a:pt x="2467304" y="5167608"/>
                  <a:pt x="2466529" y="5167712"/>
                </a:cubicBezTo>
                <a:cubicBezTo>
                  <a:pt x="2465755" y="5167712"/>
                  <a:pt x="2465135" y="5167195"/>
                  <a:pt x="2464671" y="5166473"/>
                </a:cubicBezTo>
                <a:cubicBezTo>
                  <a:pt x="2463896" y="5164923"/>
                  <a:pt x="2464051" y="5162549"/>
                  <a:pt x="2466220" y="5161826"/>
                </a:cubicBezTo>
                <a:close/>
                <a:moveTo>
                  <a:pt x="1918507" y="5161619"/>
                </a:moveTo>
                <a:cubicBezTo>
                  <a:pt x="1920365" y="5163375"/>
                  <a:pt x="1922070" y="5165233"/>
                  <a:pt x="1923928" y="5166988"/>
                </a:cubicBezTo>
                <a:cubicBezTo>
                  <a:pt x="1925012" y="5171429"/>
                  <a:pt x="1922689" y="5175146"/>
                  <a:pt x="1919126" y="5175972"/>
                </a:cubicBezTo>
                <a:cubicBezTo>
                  <a:pt x="1918043" y="5176179"/>
                  <a:pt x="1916648" y="5176179"/>
                  <a:pt x="1915254" y="5175766"/>
                </a:cubicBezTo>
                <a:cubicBezTo>
                  <a:pt x="1913550" y="5175146"/>
                  <a:pt x="1911536" y="5173804"/>
                  <a:pt x="1909832" y="5171532"/>
                </a:cubicBezTo>
                <a:cubicBezTo>
                  <a:pt x="1907974" y="5167092"/>
                  <a:pt x="1914325" y="5160587"/>
                  <a:pt x="1918507" y="5161619"/>
                </a:cubicBezTo>
                <a:close/>
                <a:moveTo>
                  <a:pt x="1769032" y="5160277"/>
                </a:moveTo>
                <a:cubicBezTo>
                  <a:pt x="1773214" y="5159761"/>
                  <a:pt x="1774453" y="5163788"/>
                  <a:pt x="1777396" y="5166782"/>
                </a:cubicBezTo>
                <a:cubicBezTo>
                  <a:pt x="1776932" y="5167505"/>
                  <a:pt x="1777086" y="5168744"/>
                  <a:pt x="1777861" y="5169157"/>
                </a:cubicBezTo>
                <a:cubicBezTo>
                  <a:pt x="1778016" y="5170396"/>
                  <a:pt x="1778171" y="5171532"/>
                  <a:pt x="1778635" y="5170809"/>
                </a:cubicBezTo>
                <a:cubicBezTo>
                  <a:pt x="1779255" y="5174320"/>
                  <a:pt x="1780029" y="5174836"/>
                  <a:pt x="1777861" y="5176591"/>
                </a:cubicBezTo>
                <a:cubicBezTo>
                  <a:pt x="1772904" y="5172358"/>
                  <a:pt x="1768567" y="5165337"/>
                  <a:pt x="1767638" y="5163684"/>
                </a:cubicBezTo>
                <a:cubicBezTo>
                  <a:pt x="1767173" y="5162962"/>
                  <a:pt x="1767173" y="5162342"/>
                  <a:pt x="1767328" y="5161826"/>
                </a:cubicBezTo>
                <a:cubicBezTo>
                  <a:pt x="1767638" y="5161310"/>
                  <a:pt x="1768102" y="5160793"/>
                  <a:pt x="1769032" y="5160277"/>
                </a:cubicBezTo>
                <a:close/>
                <a:moveTo>
                  <a:pt x="2415258" y="5158728"/>
                </a:moveTo>
                <a:cubicBezTo>
                  <a:pt x="2415724" y="5161206"/>
                  <a:pt x="2420990" y="5160277"/>
                  <a:pt x="2421609" y="5163891"/>
                </a:cubicBezTo>
                <a:cubicBezTo>
                  <a:pt x="2424552" y="5174320"/>
                  <a:pt x="2421764" y="5175766"/>
                  <a:pt x="2416188" y="5179792"/>
                </a:cubicBezTo>
                <a:cubicBezTo>
                  <a:pt x="2416653" y="5179070"/>
                  <a:pt x="2415569" y="5179379"/>
                  <a:pt x="2415569" y="5179379"/>
                </a:cubicBezTo>
                <a:cubicBezTo>
                  <a:pt x="2413245" y="5179999"/>
                  <a:pt x="2416808" y="5183407"/>
                  <a:pt x="2414020" y="5184852"/>
                </a:cubicBezTo>
                <a:cubicBezTo>
                  <a:pt x="2412781" y="5185265"/>
                  <a:pt x="2411696" y="5185265"/>
                  <a:pt x="2410611" y="5185058"/>
                </a:cubicBezTo>
                <a:cubicBezTo>
                  <a:pt x="2407359" y="5184439"/>
                  <a:pt x="2404726" y="5181548"/>
                  <a:pt x="2403177" y="5179689"/>
                </a:cubicBezTo>
                <a:lnTo>
                  <a:pt x="2402867" y="5179173"/>
                </a:lnTo>
                <a:lnTo>
                  <a:pt x="2401783" y="5178760"/>
                </a:lnTo>
                <a:lnTo>
                  <a:pt x="2401628" y="5179070"/>
                </a:lnTo>
                <a:lnTo>
                  <a:pt x="2401473" y="5178657"/>
                </a:lnTo>
                <a:lnTo>
                  <a:pt x="2399614" y="5177934"/>
                </a:lnTo>
                <a:lnTo>
                  <a:pt x="2400234" y="5176488"/>
                </a:lnTo>
                <a:lnTo>
                  <a:pt x="2399459" y="5173907"/>
                </a:lnTo>
                <a:cubicBezTo>
                  <a:pt x="2399459" y="5172978"/>
                  <a:pt x="2399769" y="5172461"/>
                  <a:pt x="2401008" y="5172151"/>
                </a:cubicBezTo>
                <a:cubicBezTo>
                  <a:pt x="2402557" y="5171016"/>
                  <a:pt x="2403487" y="5172668"/>
                  <a:pt x="2405810" y="5172048"/>
                </a:cubicBezTo>
                <a:cubicBezTo>
                  <a:pt x="2407823" y="5171222"/>
                  <a:pt x="2408134" y="5168744"/>
                  <a:pt x="2409063" y="5166059"/>
                </a:cubicBezTo>
                <a:lnTo>
                  <a:pt x="2410611" y="5163065"/>
                </a:lnTo>
                <a:lnTo>
                  <a:pt x="2409682" y="5163891"/>
                </a:lnTo>
                <a:cubicBezTo>
                  <a:pt x="2405965" y="5165956"/>
                  <a:pt x="2400234" y="5166988"/>
                  <a:pt x="2397290" y="5162755"/>
                </a:cubicBezTo>
                <a:cubicBezTo>
                  <a:pt x="2400234" y="5159554"/>
                  <a:pt x="2402867" y="5158728"/>
                  <a:pt x="2405345" y="5158935"/>
                </a:cubicBezTo>
                <a:lnTo>
                  <a:pt x="2412006" y="5161310"/>
                </a:lnTo>
                <a:close/>
                <a:moveTo>
                  <a:pt x="2287160" y="5157386"/>
                </a:moveTo>
                <a:cubicBezTo>
                  <a:pt x="2290258" y="5156560"/>
                  <a:pt x="2293975" y="5158109"/>
                  <a:pt x="2294905" y="5162755"/>
                </a:cubicBezTo>
                <a:cubicBezTo>
                  <a:pt x="2292891" y="5166059"/>
                  <a:pt x="2290567" y="5167608"/>
                  <a:pt x="2289174" y="5168847"/>
                </a:cubicBezTo>
                <a:cubicBezTo>
                  <a:pt x="2287160" y="5167712"/>
                  <a:pt x="2285456" y="5167299"/>
                  <a:pt x="2283442" y="5166163"/>
                </a:cubicBezTo>
                <a:cubicBezTo>
                  <a:pt x="2281584" y="5161310"/>
                  <a:pt x="2284062" y="5158109"/>
                  <a:pt x="2287160" y="5157386"/>
                </a:cubicBezTo>
                <a:close/>
                <a:moveTo>
                  <a:pt x="2807301" y="5156663"/>
                </a:moveTo>
                <a:lnTo>
                  <a:pt x="2807920" y="5159141"/>
                </a:lnTo>
                <a:lnTo>
                  <a:pt x="2810244" y="5158728"/>
                </a:lnTo>
                <a:close/>
                <a:moveTo>
                  <a:pt x="2562565" y="5156353"/>
                </a:moveTo>
                <a:lnTo>
                  <a:pt x="2563959" y="5159967"/>
                </a:lnTo>
                <a:lnTo>
                  <a:pt x="2564269" y="5159554"/>
                </a:lnTo>
                <a:cubicBezTo>
                  <a:pt x="2570310" y="5166473"/>
                  <a:pt x="2568141" y="5177831"/>
                  <a:pt x="2565353" y="5182787"/>
                </a:cubicBezTo>
                <a:cubicBezTo>
                  <a:pt x="2563804" y="5181135"/>
                  <a:pt x="2562720" y="5179070"/>
                  <a:pt x="2561945" y="5176798"/>
                </a:cubicBezTo>
                <a:lnTo>
                  <a:pt x="2561171" y="5171532"/>
                </a:lnTo>
                <a:lnTo>
                  <a:pt x="2559777" y="5171842"/>
                </a:lnTo>
                <a:lnTo>
                  <a:pt x="2559157" y="5171739"/>
                </a:lnTo>
                <a:lnTo>
                  <a:pt x="2561016" y="5174526"/>
                </a:lnTo>
                <a:cubicBezTo>
                  <a:pt x="2563340" y="5180102"/>
                  <a:pt x="2561636" y="5185781"/>
                  <a:pt x="2560087" y="5191564"/>
                </a:cubicBezTo>
                <a:cubicBezTo>
                  <a:pt x="2558073" y="5190634"/>
                  <a:pt x="2556679" y="5189085"/>
                  <a:pt x="2555904" y="5187330"/>
                </a:cubicBezTo>
                <a:lnTo>
                  <a:pt x="2555595" y="5186504"/>
                </a:lnTo>
                <a:lnTo>
                  <a:pt x="2555595" y="5187846"/>
                </a:lnTo>
                <a:cubicBezTo>
                  <a:pt x="2555595" y="5195178"/>
                  <a:pt x="2558073" y="5202406"/>
                  <a:pt x="2553581" y="5207362"/>
                </a:cubicBezTo>
                <a:cubicBezTo>
                  <a:pt x="2552806" y="5204264"/>
                  <a:pt x="2550948" y="5200650"/>
                  <a:pt x="2549399" y="5197140"/>
                </a:cubicBezTo>
                <a:cubicBezTo>
                  <a:pt x="2547850" y="5193629"/>
                  <a:pt x="2546611" y="5190221"/>
                  <a:pt x="2546920" y="5187330"/>
                </a:cubicBezTo>
                <a:lnTo>
                  <a:pt x="2548005" y="5184336"/>
                </a:lnTo>
                <a:lnTo>
                  <a:pt x="2547385" y="5184026"/>
                </a:lnTo>
                <a:cubicBezTo>
                  <a:pt x="2549399" y="5182374"/>
                  <a:pt x="2548779" y="5180515"/>
                  <a:pt x="2550638" y="5178966"/>
                </a:cubicBezTo>
                <a:lnTo>
                  <a:pt x="2552961" y="5181341"/>
                </a:lnTo>
                <a:lnTo>
                  <a:pt x="2554665" y="5180928"/>
                </a:lnTo>
                <a:lnTo>
                  <a:pt x="2555285" y="5174836"/>
                </a:lnTo>
                <a:lnTo>
                  <a:pt x="2556524" y="5171325"/>
                </a:lnTo>
                <a:lnTo>
                  <a:pt x="2555749" y="5171222"/>
                </a:lnTo>
                <a:cubicBezTo>
                  <a:pt x="2554046" y="5169054"/>
                  <a:pt x="2553581" y="5165956"/>
                  <a:pt x="2554356" y="5163065"/>
                </a:cubicBezTo>
                <a:cubicBezTo>
                  <a:pt x="2556679" y="5163478"/>
                  <a:pt x="2558383" y="5164407"/>
                  <a:pt x="2559777" y="5165750"/>
                </a:cubicBezTo>
                <a:lnTo>
                  <a:pt x="2561171" y="5168331"/>
                </a:lnTo>
                <a:lnTo>
                  <a:pt x="2561481" y="5165956"/>
                </a:lnTo>
                <a:lnTo>
                  <a:pt x="2558538" y="5165027"/>
                </a:lnTo>
                <a:cubicBezTo>
                  <a:pt x="2556524" y="5164098"/>
                  <a:pt x="2554510" y="5162962"/>
                  <a:pt x="2552806" y="5162033"/>
                </a:cubicBezTo>
                <a:cubicBezTo>
                  <a:pt x="2556060" y="5160380"/>
                  <a:pt x="2559467" y="5162342"/>
                  <a:pt x="2562565" y="5156353"/>
                </a:cubicBezTo>
                <a:close/>
                <a:moveTo>
                  <a:pt x="1696696" y="5156353"/>
                </a:moveTo>
                <a:cubicBezTo>
                  <a:pt x="1696076" y="5168847"/>
                  <a:pt x="1708158" y="5174010"/>
                  <a:pt x="1705215" y="5187640"/>
                </a:cubicBezTo>
                <a:cubicBezTo>
                  <a:pt x="1700722" y="5187020"/>
                  <a:pt x="1696076" y="5180928"/>
                  <a:pt x="1693752" y="5174113"/>
                </a:cubicBezTo>
                <a:cubicBezTo>
                  <a:pt x="1691429" y="5167299"/>
                  <a:pt x="1691584" y="5159761"/>
                  <a:pt x="1696696" y="5156353"/>
                </a:cubicBezTo>
                <a:close/>
                <a:moveTo>
                  <a:pt x="1870953" y="5155011"/>
                </a:moveTo>
                <a:cubicBezTo>
                  <a:pt x="1872967" y="5156353"/>
                  <a:pt x="1873742" y="5157696"/>
                  <a:pt x="1873742" y="5158935"/>
                </a:cubicBezTo>
                <a:lnTo>
                  <a:pt x="1872657" y="5162239"/>
                </a:lnTo>
                <a:lnTo>
                  <a:pt x="1873277" y="5162136"/>
                </a:lnTo>
                <a:cubicBezTo>
                  <a:pt x="1873432" y="5162136"/>
                  <a:pt x="1873277" y="5162342"/>
                  <a:pt x="1873122" y="5162755"/>
                </a:cubicBezTo>
                <a:cubicBezTo>
                  <a:pt x="1874981" y="5162858"/>
                  <a:pt x="1875755" y="5163375"/>
                  <a:pt x="1876375" y="5163788"/>
                </a:cubicBezTo>
                <a:cubicBezTo>
                  <a:pt x="1876530" y="5165027"/>
                  <a:pt x="1875601" y="5166576"/>
                  <a:pt x="1873896" y="5167712"/>
                </a:cubicBezTo>
                <a:cubicBezTo>
                  <a:pt x="1873742" y="5166473"/>
                  <a:pt x="1871883" y="5166266"/>
                  <a:pt x="1871573" y="5165130"/>
                </a:cubicBezTo>
                <a:cubicBezTo>
                  <a:pt x="1871573" y="5165130"/>
                  <a:pt x="1871728" y="5164407"/>
                  <a:pt x="1872038" y="5163684"/>
                </a:cubicBezTo>
                <a:lnTo>
                  <a:pt x="1872348" y="5162342"/>
                </a:lnTo>
                <a:lnTo>
                  <a:pt x="1870953" y="5161619"/>
                </a:lnTo>
                <a:cubicBezTo>
                  <a:pt x="1869405" y="5161310"/>
                  <a:pt x="1868011" y="5162342"/>
                  <a:pt x="1867081" y="5159451"/>
                </a:cubicBezTo>
                <a:cubicBezTo>
                  <a:pt x="1867236" y="5157799"/>
                  <a:pt x="1868321" y="5156147"/>
                  <a:pt x="1870953" y="5155011"/>
                </a:cubicBezTo>
                <a:close/>
                <a:moveTo>
                  <a:pt x="2573873" y="5153462"/>
                </a:moveTo>
                <a:cubicBezTo>
                  <a:pt x="2574647" y="5154391"/>
                  <a:pt x="2575267" y="5155321"/>
                  <a:pt x="2575886" y="5156353"/>
                </a:cubicBezTo>
                <a:cubicBezTo>
                  <a:pt x="2571859" y="5160380"/>
                  <a:pt x="2571239" y="5164717"/>
                  <a:pt x="2568141" y="5168021"/>
                </a:cubicBezTo>
                <a:cubicBezTo>
                  <a:pt x="2567212" y="5163478"/>
                  <a:pt x="2566128" y="5155424"/>
                  <a:pt x="2573873" y="5153462"/>
                </a:cubicBezTo>
                <a:close/>
                <a:moveTo>
                  <a:pt x="2395587" y="5152326"/>
                </a:moveTo>
                <a:cubicBezTo>
                  <a:pt x="2394967" y="5153152"/>
                  <a:pt x="2394967" y="5153152"/>
                  <a:pt x="2394967" y="5153152"/>
                </a:cubicBezTo>
                <a:cubicBezTo>
                  <a:pt x="2395122" y="5154391"/>
                  <a:pt x="2395742" y="5153566"/>
                  <a:pt x="2396361" y="5154082"/>
                </a:cubicBezTo>
                <a:cubicBezTo>
                  <a:pt x="2396361" y="5154082"/>
                  <a:pt x="2395742" y="5153566"/>
                  <a:pt x="2396826" y="5153255"/>
                </a:cubicBezTo>
                <a:cubicBezTo>
                  <a:pt x="2396361" y="5154082"/>
                  <a:pt x="2397136" y="5154495"/>
                  <a:pt x="2397755" y="5154908"/>
                </a:cubicBezTo>
                <a:cubicBezTo>
                  <a:pt x="2398220" y="5157283"/>
                  <a:pt x="2398065" y="5160483"/>
                  <a:pt x="2396361" y="5161619"/>
                </a:cubicBezTo>
                <a:cubicBezTo>
                  <a:pt x="2394038" y="5162239"/>
                  <a:pt x="2393109" y="5160587"/>
                  <a:pt x="2392954" y="5159451"/>
                </a:cubicBezTo>
                <a:cubicBezTo>
                  <a:pt x="2392179" y="5158315"/>
                  <a:pt x="2392334" y="5157076"/>
                  <a:pt x="2392799" y="5155837"/>
                </a:cubicBezTo>
                <a:cubicBezTo>
                  <a:pt x="2393418" y="5154495"/>
                  <a:pt x="2394503" y="5153255"/>
                  <a:pt x="2395587" y="5152326"/>
                </a:cubicBezTo>
                <a:close/>
                <a:moveTo>
                  <a:pt x="1721478" y="5151913"/>
                </a:moveTo>
                <a:cubicBezTo>
                  <a:pt x="1722563" y="5153566"/>
                  <a:pt x="1721943" y="5155424"/>
                  <a:pt x="1721478" y="5157179"/>
                </a:cubicBezTo>
                <a:cubicBezTo>
                  <a:pt x="1720704" y="5158521"/>
                  <a:pt x="1719930" y="5158935"/>
                  <a:pt x="1719155" y="5158935"/>
                </a:cubicBezTo>
                <a:cubicBezTo>
                  <a:pt x="1718226" y="5158831"/>
                  <a:pt x="1717297" y="5158212"/>
                  <a:pt x="1716367" y="5157386"/>
                </a:cubicBezTo>
                <a:cubicBezTo>
                  <a:pt x="1714508" y="5155837"/>
                  <a:pt x="1714973" y="5154082"/>
                  <a:pt x="1714973" y="5154082"/>
                </a:cubicBezTo>
                <a:cubicBezTo>
                  <a:pt x="1716367" y="5151397"/>
                  <a:pt x="1718690" y="5150364"/>
                  <a:pt x="1721478" y="5151913"/>
                </a:cubicBezTo>
                <a:close/>
                <a:moveTo>
                  <a:pt x="2286541" y="5151294"/>
                </a:moveTo>
                <a:cubicBezTo>
                  <a:pt x="2286541" y="5151294"/>
                  <a:pt x="2286541" y="5151294"/>
                  <a:pt x="2288399" y="5152843"/>
                </a:cubicBezTo>
                <a:lnTo>
                  <a:pt x="2288554" y="5153772"/>
                </a:lnTo>
                <a:cubicBezTo>
                  <a:pt x="2288399" y="5154288"/>
                  <a:pt x="2287780" y="5154391"/>
                  <a:pt x="2286850" y="5154598"/>
                </a:cubicBezTo>
                <a:cubicBezTo>
                  <a:pt x="2285611" y="5154805"/>
                  <a:pt x="2283597" y="5154701"/>
                  <a:pt x="2282048" y="5154598"/>
                </a:cubicBezTo>
                <a:cubicBezTo>
                  <a:pt x="2280344" y="5154495"/>
                  <a:pt x="2278950" y="5154391"/>
                  <a:pt x="2278641" y="5154391"/>
                </a:cubicBezTo>
                <a:cubicBezTo>
                  <a:pt x="2278641" y="5154391"/>
                  <a:pt x="2277866" y="5154391"/>
                  <a:pt x="2276937" y="5154391"/>
                </a:cubicBezTo>
                <a:cubicBezTo>
                  <a:pt x="2276007" y="5153669"/>
                  <a:pt x="2276007" y="5152739"/>
                  <a:pt x="2275078" y="5152843"/>
                </a:cubicBezTo>
                <a:cubicBezTo>
                  <a:pt x="2277246" y="5150158"/>
                  <a:pt x="2279880" y="5150777"/>
                  <a:pt x="2282358" y="5151500"/>
                </a:cubicBezTo>
                <a:cubicBezTo>
                  <a:pt x="2284217" y="5152326"/>
                  <a:pt x="2284991" y="5152223"/>
                  <a:pt x="2286541" y="5151294"/>
                </a:cubicBezTo>
                <a:close/>
                <a:moveTo>
                  <a:pt x="1942980" y="5150777"/>
                </a:moveTo>
                <a:cubicBezTo>
                  <a:pt x="1946698" y="5155114"/>
                  <a:pt x="1945459" y="5158315"/>
                  <a:pt x="1940812" y="5160793"/>
                </a:cubicBezTo>
                <a:cubicBezTo>
                  <a:pt x="1939263" y="5159554"/>
                  <a:pt x="1937559" y="5159141"/>
                  <a:pt x="1935236" y="5157696"/>
                </a:cubicBezTo>
                <a:cubicBezTo>
                  <a:pt x="1935545" y="5155217"/>
                  <a:pt x="1938798" y="5150674"/>
                  <a:pt x="1942980" y="5150777"/>
                </a:cubicBezTo>
                <a:close/>
                <a:moveTo>
                  <a:pt x="2238058" y="5150468"/>
                </a:moveTo>
                <a:cubicBezTo>
                  <a:pt x="2229693" y="5154805"/>
                  <a:pt x="2226750" y="5161826"/>
                  <a:pt x="2216217" y="5164717"/>
                </a:cubicBezTo>
                <a:cubicBezTo>
                  <a:pt x="2214978" y="5156044"/>
                  <a:pt x="2230777" y="5143756"/>
                  <a:pt x="2238058" y="5150468"/>
                </a:cubicBezTo>
                <a:close/>
                <a:moveTo>
                  <a:pt x="1989759" y="5150364"/>
                </a:moveTo>
                <a:cubicBezTo>
                  <a:pt x="1991308" y="5152223"/>
                  <a:pt x="1994871" y="5149539"/>
                  <a:pt x="1997039" y="5152223"/>
                </a:cubicBezTo>
                <a:cubicBezTo>
                  <a:pt x="1996884" y="5153978"/>
                  <a:pt x="1996884" y="5154908"/>
                  <a:pt x="1995800" y="5156663"/>
                </a:cubicBezTo>
                <a:cubicBezTo>
                  <a:pt x="1988520" y="5162755"/>
                  <a:pt x="1984493" y="5160071"/>
                  <a:pt x="1983563" y="5160897"/>
                </a:cubicBezTo>
                <a:cubicBezTo>
                  <a:pt x="1981394" y="5158212"/>
                  <a:pt x="1983254" y="5156456"/>
                  <a:pt x="1985267" y="5152946"/>
                </a:cubicBezTo>
                <a:cubicBezTo>
                  <a:pt x="1986041" y="5153875"/>
                  <a:pt x="1988829" y="5151294"/>
                  <a:pt x="1989759" y="5150364"/>
                </a:cubicBezTo>
                <a:close/>
                <a:moveTo>
                  <a:pt x="2450730" y="5150054"/>
                </a:moveTo>
                <a:cubicBezTo>
                  <a:pt x="2455222" y="5152533"/>
                  <a:pt x="2454602" y="5159038"/>
                  <a:pt x="2450575" y="5160071"/>
                </a:cubicBezTo>
                <a:cubicBezTo>
                  <a:pt x="2449490" y="5159554"/>
                  <a:pt x="2447632" y="5159141"/>
                  <a:pt x="2446238" y="5157696"/>
                </a:cubicBezTo>
                <a:cubicBezTo>
                  <a:pt x="2445618" y="5153255"/>
                  <a:pt x="2447632" y="5150984"/>
                  <a:pt x="2450730" y="5150054"/>
                </a:cubicBezTo>
                <a:close/>
                <a:moveTo>
                  <a:pt x="1701962" y="5148093"/>
                </a:moveTo>
                <a:cubicBezTo>
                  <a:pt x="1701962" y="5148093"/>
                  <a:pt x="1701962" y="5148093"/>
                  <a:pt x="1702581" y="5149951"/>
                </a:cubicBezTo>
                <a:cubicBezTo>
                  <a:pt x="1702581" y="5150777"/>
                  <a:pt x="1702426" y="5151707"/>
                  <a:pt x="1701497" y="5152636"/>
                </a:cubicBezTo>
                <a:cubicBezTo>
                  <a:pt x="1700568" y="5153566"/>
                  <a:pt x="1698709" y="5153462"/>
                  <a:pt x="1697934" y="5153462"/>
                </a:cubicBezTo>
                <a:cubicBezTo>
                  <a:pt x="1697934" y="5152533"/>
                  <a:pt x="1697160" y="5152533"/>
                  <a:pt x="1697315" y="5151707"/>
                </a:cubicBezTo>
                <a:cubicBezTo>
                  <a:pt x="1696540" y="5149848"/>
                  <a:pt x="1696540" y="5149848"/>
                  <a:pt x="1697470" y="5148919"/>
                </a:cubicBezTo>
                <a:cubicBezTo>
                  <a:pt x="1698554" y="5148093"/>
                  <a:pt x="1701032" y="5149022"/>
                  <a:pt x="1701962" y="5148093"/>
                </a:cubicBezTo>
                <a:close/>
                <a:moveTo>
                  <a:pt x="2341838" y="5145511"/>
                </a:moveTo>
                <a:cubicBezTo>
                  <a:pt x="2341528" y="5149435"/>
                  <a:pt x="2341373" y="5153462"/>
                  <a:pt x="2340599" y="5157489"/>
                </a:cubicBezTo>
                <a:cubicBezTo>
                  <a:pt x="2339824" y="5161619"/>
                  <a:pt x="2338430" y="5165646"/>
                  <a:pt x="2335177" y="5169880"/>
                </a:cubicBezTo>
                <a:cubicBezTo>
                  <a:pt x="2328981" y="5162136"/>
                  <a:pt x="2336881" y="5150364"/>
                  <a:pt x="2341838" y="5145511"/>
                </a:cubicBezTo>
                <a:close/>
                <a:moveTo>
                  <a:pt x="2014387" y="5145305"/>
                </a:moveTo>
                <a:cubicBezTo>
                  <a:pt x="2019034" y="5150364"/>
                  <a:pt x="2018105" y="5152430"/>
                  <a:pt x="2015937" y="5152843"/>
                </a:cubicBezTo>
                <a:cubicBezTo>
                  <a:pt x="2012219" y="5153462"/>
                  <a:pt x="2004939" y="5149125"/>
                  <a:pt x="2014387" y="5145305"/>
                </a:cubicBezTo>
                <a:close/>
                <a:moveTo>
                  <a:pt x="2206614" y="5144272"/>
                </a:moveTo>
                <a:cubicBezTo>
                  <a:pt x="2206304" y="5146544"/>
                  <a:pt x="2205839" y="5148403"/>
                  <a:pt x="2205065" y="5150054"/>
                </a:cubicBezTo>
                <a:cubicBezTo>
                  <a:pt x="2203052" y="5155011"/>
                  <a:pt x="2199798" y="5158006"/>
                  <a:pt x="2199488" y="5162033"/>
                </a:cubicBezTo>
                <a:cubicBezTo>
                  <a:pt x="2199488" y="5162033"/>
                  <a:pt x="2199333" y="5162033"/>
                  <a:pt x="2197165" y="5162652"/>
                </a:cubicBezTo>
                <a:cubicBezTo>
                  <a:pt x="2196855" y="5163478"/>
                  <a:pt x="2196855" y="5163375"/>
                  <a:pt x="2196855" y="5163375"/>
                </a:cubicBezTo>
                <a:cubicBezTo>
                  <a:pt x="2196700" y="5163788"/>
                  <a:pt x="2196236" y="5163788"/>
                  <a:pt x="2195771" y="5163684"/>
                </a:cubicBezTo>
                <a:cubicBezTo>
                  <a:pt x="2195306" y="5163581"/>
                  <a:pt x="2194997" y="5163272"/>
                  <a:pt x="2194997" y="5163272"/>
                </a:cubicBezTo>
                <a:cubicBezTo>
                  <a:pt x="2194377" y="5162445"/>
                  <a:pt x="2194532" y="5161619"/>
                  <a:pt x="2194997" y="5160793"/>
                </a:cubicBezTo>
                <a:lnTo>
                  <a:pt x="2195306" y="5160174"/>
                </a:lnTo>
                <a:lnTo>
                  <a:pt x="2194532" y="5160277"/>
                </a:lnTo>
                <a:cubicBezTo>
                  <a:pt x="2191898" y="5160587"/>
                  <a:pt x="2189420" y="5160380"/>
                  <a:pt x="2187252" y="5160277"/>
                </a:cubicBezTo>
                <a:lnTo>
                  <a:pt x="2181676" y="5161000"/>
                </a:lnTo>
                <a:lnTo>
                  <a:pt x="2180901" y="5162549"/>
                </a:lnTo>
                <a:cubicBezTo>
                  <a:pt x="2180282" y="5163478"/>
                  <a:pt x="2179662" y="5163994"/>
                  <a:pt x="2179042" y="5164201"/>
                </a:cubicBezTo>
                <a:cubicBezTo>
                  <a:pt x="2178577" y="5164511"/>
                  <a:pt x="2178113" y="5164511"/>
                  <a:pt x="2177649" y="5164407"/>
                </a:cubicBezTo>
                <a:cubicBezTo>
                  <a:pt x="2177184" y="5164201"/>
                  <a:pt x="2176874" y="5163891"/>
                  <a:pt x="2176564" y="5163375"/>
                </a:cubicBezTo>
                <a:cubicBezTo>
                  <a:pt x="2175015" y="5161103"/>
                  <a:pt x="2175170" y="5155837"/>
                  <a:pt x="2178422" y="5156250"/>
                </a:cubicBezTo>
                <a:lnTo>
                  <a:pt x="2179042" y="5156663"/>
                </a:lnTo>
                <a:lnTo>
                  <a:pt x="2179507" y="5156456"/>
                </a:lnTo>
                <a:cubicBezTo>
                  <a:pt x="2180436" y="5156353"/>
                  <a:pt x="2181521" y="5156560"/>
                  <a:pt x="2182295" y="5156456"/>
                </a:cubicBezTo>
                <a:cubicBezTo>
                  <a:pt x="2182915" y="5154701"/>
                  <a:pt x="2185858" y="5158006"/>
                  <a:pt x="2186477" y="5156250"/>
                </a:cubicBezTo>
                <a:cubicBezTo>
                  <a:pt x="2189265" y="5158728"/>
                  <a:pt x="2191898" y="5156766"/>
                  <a:pt x="2195771" y="5157386"/>
                </a:cubicBezTo>
                <a:lnTo>
                  <a:pt x="2196545" y="5157696"/>
                </a:lnTo>
                <a:lnTo>
                  <a:pt x="2197165" y="5156456"/>
                </a:lnTo>
                <a:cubicBezTo>
                  <a:pt x="2197940" y="5155940"/>
                  <a:pt x="2198559" y="5155424"/>
                  <a:pt x="2198095" y="5154598"/>
                </a:cubicBezTo>
                <a:cubicBezTo>
                  <a:pt x="2202431" y="5153359"/>
                  <a:pt x="2200418" y="5147370"/>
                  <a:pt x="2206614" y="5144272"/>
                </a:cubicBezTo>
                <a:close/>
                <a:moveTo>
                  <a:pt x="1614445" y="5143549"/>
                </a:moveTo>
                <a:cubicBezTo>
                  <a:pt x="1613981" y="5149642"/>
                  <a:pt x="1617388" y="5152533"/>
                  <a:pt x="1614600" y="5156973"/>
                </a:cubicBezTo>
                <a:cubicBezTo>
                  <a:pt x="1606081" y="5158006"/>
                  <a:pt x="1602983" y="5147473"/>
                  <a:pt x="1607475" y="5143963"/>
                </a:cubicBezTo>
                <a:cubicBezTo>
                  <a:pt x="1608869" y="5142827"/>
                  <a:pt x="1611193" y="5142414"/>
                  <a:pt x="1614445" y="5143549"/>
                </a:cubicBezTo>
                <a:close/>
                <a:moveTo>
                  <a:pt x="2743639" y="5143240"/>
                </a:moveTo>
                <a:lnTo>
                  <a:pt x="2743019" y="5143963"/>
                </a:lnTo>
                <a:lnTo>
                  <a:pt x="2741625" y="5144272"/>
                </a:lnTo>
                <a:lnTo>
                  <a:pt x="2741935" y="5145718"/>
                </a:lnTo>
                <a:lnTo>
                  <a:pt x="2742864" y="5147267"/>
                </a:lnTo>
                <a:lnTo>
                  <a:pt x="2743019" y="5146750"/>
                </a:lnTo>
                <a:lnTo>
                  <a:pt x="2744103" y="5147267"/>
                </a:lnTo>
                <a:lnTo>
                  <a:pt x="2745033" y="5146854"/>
                </a:lnTo>
                <a:lnTo>
                  <a:pt x="2744878" y="5146854"/>
                </a:lnTo>
                <a:close/>
                <a:moveTo>
                  <a:pt x="2530191" y="5141175"/>
                </a:moveTo>
                <a:cubicBezTo>
                  <a:pt x="2533290" y="5141381"/>
                  <a:pt x="2535458" y="5143240"/>
                  <a:pt x="2535613" y="5146338"/>
                </a:cubicBezTo>
                <a:cubicBezTo>
                  <a:pt x="2534684" y="5147989"/>
                  <a:pt x="2532980" y="5148196"/>
                  <a:pt x="2531121" y="5148299"/>
                </a:cubicBezTo>
                <a:cubicBezTo>
                  <a:pt x="2529572" y="5148196"/>
                  <a:pt x="2528643" y="5147680"/>
                  <a:pt x="2528333" y="5146854"/>
                </a:cubicBezTo>
                <a:cubicBezTo>
                  <a:pt x="2527868" y="5146028"/>
                  <a:pt x="2527868" y="5144892"/>
                  <a:pt x="2528023" y="5143756"/>
                </a:cubicBezTo>
                <a:cubicBezTo>
                  <a:pt x="2528333" y="5141278"/>
                  <a:pt x="2530191" y="5141175"/>
                  <a:pt x="2530191" y="5141175"/>
                </a:cubicBezTo>
                <a:close/>
                <a:moveTo>
                  <a:pt x="2329446" y="5140968"/>
                </a:moveTo>
                <a:cubicBezTo>
                  <a:pt x="2330995" y="5140039"/>
                  <a:pt x="2333938" y="5142414"/>
                  <a:pt x="2335642" y="5143240"/>
                </a:cubicBezTo>
                <a:cubicBezTo>
                  <a:pt x="2334868" y="5144169"/>
                  <a:pt x="2334248" y="5144995"/>
                  <a:pt x="2335022" y="5144995"/>
                </a:cubicBezTo>
                <a:cubicBezTo>
                  <a:pt x="2334403" y="5145924"/>
                  <a:pt x="2333628" y="5146338"/>
                  <a:pt x="2332854" y="5146544"/>
                </a:cubicBezTo>
                <a:cubicBezTo>
                  <a:pt x="2331924" y="5146647"/>
                  <a:pt x="2331150" y="5146544"/>
                  <a:pt x="2330221" y="5146131"/>
                </a:cubicBezTo>
                <a:cubicBezTo>
                  <a:pt x="2329291" y="5145305"/>
                  <a:pt x="2328981" y="5143653"/>
                  <a:pt x="2329446" y="5140968"/>
                </a:cubicBezTo>
                <a:close/>
                <a:moveTo>
                  <a:pt x="2111198" y="5139626"/>
                </a:moveTo>
                <a:cubicBezTo>
                  <a:pt x="2113986" y="5137561"/>
                  <a:pt x="2116929" y="5138800"/>
                  <a:pt x="2118942" y="5141175"/>
                </a:cubicBezTo>
                <a:cubicBezTo>
                  <a:pt x="2120801" y="5143549"/>
                  <a:pt x="2121886" y="5147163"/>
                  <a:pt x="2120646" y="5149848"/>
                </a:cubicBezTo>
                <a:cubicBezTo>
                  <a:pt x="2115844" y="5149229"/>
                  <a:pt x="2112437" y="5147886"/>
                  <a:pt x="2111508" y="5144169"/>
                </a:cubicBezTo>
                <a:cubicBezTo>
                  <a:pt x="2111043" y="5142930"/>
                  <a:pt x="2111043" y="5141484"/>
                  <a:pt x="2111198" y="5139626"/>
                </a:cubicBezTo>
                <a:close/>
                <a:moveTo>
                  <a:pt x="2555904" y="5137974"/>
                </a:moveTo>
                <a:cubicBezTo>
                  <a:pt x="2565663" y="5144788"/>
                  <a:pt x="2562255" y="5152533"/>
                  <a:pt x="2555904" y="5151397"/>
                </a:cubicBezTo>
                <a:cubicBezTo>
                  <a:pt x="2553736" y="5151087"/>
                  <a:pt x="2551258" y="5149745"/>
                  <a:pt x="2548779" y="5147060"/>
                </a:cubicBezTo>
                <a:cubicBezTo>
                  <a:pt x="2547850" y="5142723"/>
                  <a:pt x="2552652" y="5136941"/>
                  <a:pt x="2555904" y="5137974"/>
                </a:cubicBezTo>
                <a:close/>
                <a:moveTo>
                  <a:pt x="2063335" y="5137148"/>
                </a:moveTo>
                <a:cubicBezTo>
                  <a:pt x="2067052" y="5137148"/>
                  <a:pt x="2065968" y="5136735"/>
                  <a:pt x="2069530" y="5138593"/>
                </a:cubicBezTo>
                <a:cubicBezTo>
                  <a:pt x="2068602" y="5140968"/>
                  <a:pt x="2067517" y="5143240"/>
                  <a:pt x="2066588" y="5145615"/>
                </a:cubicBezTo>
                <a:cubicBezTo>
                  <a:pt x="2065194" y="5144479"/>
                  <a:pt x="2063335" y="5144479"/>
                  <a:pt x="2062251" y="5144169"/>
                </a:cubicBezTo>
                <a:cubicBezTo>
                  <a:pt x="2061321" y="5141794"/>
                  <a:pt x="2061476" y="5139832"/>
                  <a:pt x="2063335" y="5137148"/>
                </a:cubicBezTo>
                <a:close/>
                <a:moveTo>
                  <a:pt x="2018182" y="5137057"/>
                </a:moveTo>
                <a:cubicBezTo>
                  <a:pt x="2019422" y="5136270"/>
                  <a:pt x="2021125" y="5136218"/>
                  <a:pt x="2022907" y="5137457"/>
                </a:cubicBezTo>
                <a:cubicBezTo>
                  <a:pt x="2022442" y="5142310"/>
                  <a:pt x="2020583" y="5143963"/>
                  <a:pt x="2017485" y="5144479"/>
                </a:cubicBezTo>
                <a:cubicBezTo>
                  <a:pt x="2016711" y="5143446"/>
                  <a:pt x="2016247" y="5142207"/>
                  <a:pt x="2016247" y="5141072"/>
                </a:cubicBezTo>
                <a:cubicBezTo>
                  <a:pt x="2016169" y="5139368"/>
                  <a:pt x="2016943" y="5137845"/>
                  <a:pt x="2018182" y="5137057"/>
                </a:cubicBezTo>
                <a:close/>
                <a:moveTo>
                  <a:pt x="2324025" y="5137044"/>
                </a:moveTo>
                <a:cubicBezTo>
                  <a:pt x="2326503" y="5135702"/>
                  <a:pt x="2330530" y="5143756"/>
                  <a:pt x="2322476" y="5142207"/>
                </a:cubicBezTo>
                <a:cubicBezTo>
                  <a:pt x="2322476" y="5139006"/>
                  <a:pt x="2323250" y="5137457"/>
                  <a:pt x="2324025" y="5137044"/>
                </a:cubicBezTo>
                <a:close/>
                <a:moveTo>
                  <a:pt x="2195926" y="5135702"/>
                </a:moveTo>
                <a:cubicBezTo>
                  <a:pt x="2196391" y="5134876"/>
                  <a:pt x="2199643" y="5135909"/>
                  <a:pt x="2199798" y="5137044"/>
                </a:cubicBezTo>
                <a:cubicBezTo>
                  <a:pt x="2200883" y="5139936"/>
                  <a:pt x="2198095" y="5141278"/>
                  <a:pt x="2195461" y="5143756"/>
                </a:cubicBezTo>
                <a:cubicBezTo>
                  <a:pt x="2195306" y="5142620"/>
                  <a:pt x="2194067" y="5142930"/>
                  <a:pt x="2192983" y="5143240"/>
                </a:cubicBezTo>
                <a:cubicBezTo>
                  <a:pt x="2192674" y="5141484"/>
                  <a:pt x="2191898" y="5138800"/>
                  <a:pt x="2193448" y="5137044"/>
                </a:cubicBezTo>
                <a:cubicBezTo>
                  <a:pt x="2193912" y="5136425"/>
                  <a:pt x="2194842" y="5136012"/>
                  <a:pt x="2195926" y="5135702"/>
                </a:cubicBezTo>
                <a:close/>
                <a:moveTo>
                  <a:pt x="1743164" y="5135186"/>
                </a:moveTo>
                <a:cubicBezTo>
                  <a:pt x="1746262" y="5143240"/>
                  <a:pt x="1739911" y="5153566"/>
                  <a:pt x="1735265" y="5157696"/>
                </a:cubicBezTo>
                <a:cubicBezTo>
                  <a:pt x="1732166" y="5149539"/>
                  <a:pt x="1737588" y="5138077"/>
                  <a:pt x="1743164" y="5135186"/>
                </a:cubicBezTo>
                <a:close/>
                <a:moveTo>
                  <a:pt x="1676404" y="5134670"/>
                </a:moveTo>
                <a:cubicBezTo>
                  <a:pt x="1676404" y="5134670"/>
                  <a:pt x="1676404" y="5134670"/>
                  <a:pt x="1677178" y="5134670"/>
                </a:cubicBezTo>
                <a:cubicBezTo>
                  <a:pt x="1676094" y="5138180"/>
                  <a:pt x="1676404" y="5142620"/>
                  <a:pt x="1674545" y="5145305"/>
                </a:cubicBezTo>
                <a:cubicBezTo>
                  <a:pt x="1674081" y="5145718"/>
                  <a:pt x="1673616" y="5146131"/>
                  <a:pt x="1672996" y="5146234"/>
                </a:cubicBezTo>
                <a:cubicBezTo>
                  <a:pt x="1672531" y="5146338"/>
                  <a:pt x="1671912" y="5146131"/>
                  <a:pt x="1671137" y="5145202"/>
                </a:cubicBezTo>
                <a:cubicBezTo>
                  <a:pt x="1670363" y="5144788"/>
                  <a:pt x="1670053" y="5144376"/>
                  <a:pt x="1670053" y="5143653"/>
                </a:cubicBezTo>
                <a:cubicBezTo>
                  <a:pt x="1670053" y="5143033"/>
                  <a:pt x="1670673" y="5142104"/>
                  <a:pt x="1671602" y="5140865"/>
                </a:cubicBezTo>
                <a:cubicBezTo>
                  <a:pt x="1673461" y="5139110"/>
                  <a:pt x="1674390" y="5137354"/>
                  <a:pt x="1675320" y="5137354"/>
                </a:cubicBezTo>
                <a:cubicBezTo>
                  <a:pt x="1675320" y="5136425"/>
                  <a:pt x="1676249" y="5135599"/>
                  <a:pt x="1676404" y="5134670"/>
                </a:cubicBezTo>
                <a:close/>
                <a:moveTo>
                  <a:pt x="1908129" y="5134463"/>
                </a:moveTo>
                <a:cubicBezTo>
                  <a:pt x="1914480" y="5142517"/>
                  <a:pt x="1898990" y="5153978"/>
                  <a:pt x="1893103" y="5155424"/>
                </a:cubicBezTo>
                <a:cubicBezTo>
                  <a:pt x="1896202" y="5148609"/>
                  <a:pt x="1901623" y="5137664"/>
                  <a:pt x="1908129" y="5134463"/>
                </a:cubicBezTo>
                <a:close/>
                <a:moveTo>
                  <a:pt x="2370803" y="5133843"/>
                </a:moveTo>
                <a:cubicBezTo>
                  <a:pt x="2370494" y="5136321"/>
                  <a:pt x="2371268" y="5137148"/>
                  <a:pt x="2370494" y="5137148"/>
                </a:cubicBezTo>
                <a:cubicBezTo>
                  <a:pt x="2370494" y="5137561"/>
                  <a:pt x="2370184" y="5137767"/>
                  <a:pt x="2370029" y="5137767"/>
                </a:cubicBezTo>
                <a:cubicBezTo>
                  <a:pt x="2369719" y="5137767"/>
                  <a:pt x="2369564" y="5137561"/>
                  <a:pt x="2369564" y="5137148"/>
                </a:cubicBezTo>
                <a:cubicBezTo>
                  <a:pt x="2368015" y="5136321"/>
                  <a:pt x="2369874" y="5134670"/>
                  <a:pt x="2370803" y="5133843"/>
                </a:cubicBezTo>
                <a:close/>
                <a:moveTo>
                  <a:pt x="2457700" y="5133120"/>
                </a:moveTo>
                <a:cubicBezTo>
                  <a:pt x="2459404" y="5134050"/>
                  <a:pt x="2461882" y="5133327"/>
                  <a:pt x="2463586" y="5135186"/>
                </a:cubicBezTo>
                <a:cubicBezTo>
                  <a:pt x="2463586" y="5135186"/>
                  <a:pt x="2464516" y="5136012"/>
                  <a:pt x="2464516" y="5137767"/>
                </a:cubicBezTo>
                <a:cubicBezTo>
                  <a:pt x="2466374" y="5140452"/>
                  <a:pt x="2463896" y="5142930"/>
                  <a:pt x="2463896" y="5142930"/>
                </a:cubicBezTo>
                <a:cubicBezTo>
                  <a:pt x="2463896" y="5142930"/>
                  <a:pt x="2463896" y="5143033"/>
                  <a:pt x="2464671" y="5143033"/>
                </a:cubicBezTo>
                <a:cubicBezTo>
                  <a:pt x="2463122" y="5142930"/>
                  <a:pt x="2461418" y="5143756"/>
                  <a:pt x="2459714" y="5143653"/>
                </a:cubicBezTo>
                <a:lnTo>
                  <a:pt x="2459249" y="5143137"/>
                </a:lnTo>
                <a:lnTo>
                  <a:pt x="2459559" y="5143859"/>
                </a:lnTo>
                <a:cubicBezTo>
                  <a:pt x="2458010" y="5145511"/>
                  <a:pt x="2456151" y="5146544"/>
                  <a:pt x="2454292" y="5146647"/>
                </a:cubicBezTo>
                <a:cubicBezTo>
                  <a:pt x="2452279" y="5146750"/>
                  <a:pt x="2450110" y="5146028"/>
                  <a:pt x="2448097" y="5144169"/>
                </a:cubicBezTo>
                <a:cubicBezTo>
                  <a:pt x="2447012" y="5139832"/>
                  <a:pt x="2451814" y="5137561"/>
                  <a:pt x="2454292" y="5135909"/>
                </a:cubicBezTo>
                <a:lnTo>
                  <a:pt x="2455377" y="5137148"/>
                </a:lnTo>
                <a:lnTo>
                  <a:pt x="2455996" y="5135392"/>
                </a:lnTo>
                <a:cubicBezTo>
                  <a:pt x="2456461" y="5134670"/>
                  <a:pt x="2457081" y="5133947"/>
                  <a:pt x="2457700" y="5133120"/>
                </a:cubicBezTo>
                <a:close/>
                <a:moveTo>
                  <a:pt x="2383505" y="5131055"/>
                </a:moveTo>
                <a:cubicBezTo>
                  <a:pt x="2384744" y="5131882"/>
                  <a:pt x="2386603" y="5132088"/>
                  <a:pt x="2387532" y="5133637"/>
                </a:cubicBezTo>
                <a:cubicBezTo>
                  <a:pt x="2387842" y="5136012"/>
                  <a:pt x="2384899" y="5139316"/>
                  <a:pt x="2383195" y="5140349"/>
                </a:cubicBezTo>
                <a:cubicBezTo>
                  <a:pt x="2380872" y="5140968"/>
                  <a:pt x="2379322" y="5139006"/>
                  <a:pt x="2378858" y="5136632"/>
                </a:cubicBezTo>
                <a:cubicBezTo>
                  <a:pt x="2378548" y="5135805"/>
                  <a:pt x="2378548" y="5134876"/>
                  <a:pt x="2379013" y="5133947"/>
                </a:cubicBezTo>
                <a:cubicBezTo>
                  <a:pt x="2379478" y="5133017"/>
                  <a:pt x="2380252" y="5132191"/>
                  <a:pt x="2381181" y="5131675"/>
                </a:cubicBezTo>
                <a:cubicBezTo>
                  <a:pt x="2382266" y="5131365"/>
                  <a:pt x="2382266" y="5131365"/>
                  <a:pt x="2383505" y="5131055"/>
                </a:cubicBezTo>
                <a:close/>
                <a:moveTo>
                  <a:pt x="2037157" y="5130746"/>
                </a:moveTo>
                <a:cubicBezTo>
                  <a:pt x="2042114" y="5130126"/>
                  <a:pt x="2046606" y="5137251"/>
                  <a:pt x="2048465" y="5141691"/>
                </a:cubicBezTo>
                <a:cubicBezTo>
                  <a:pt x="2046761" y="5143343"/>
                  <a:pt x="2047690" y="5145099"/>
                  <a:pt x="2046141" y="5146750"/>
                </a:cubicBezTo>
                <a:cubicBezTo>
                  <a:pt x="2040875" y="5141278"/>
                  <a:pt x="2034834" y="5135805"/>
                  <a:pt x="2037157" y="5130746"/>
                </a:cubicBezTo>
                <a:close/>
                <a:moveTo>
                  <a:pt x="1918971" y="5129300"/>
                </a:moveTo>
                <a:cubicBezTo>
                  <a:pt x="1920675" y="5128474"/>
                  <a:pt x="1923463" y="5126822"/>
                  <a:pt x="1926716" y="5129507"/>
                </a:cubicBezTo>
                <a:cubicBezTo>
                  <a:pt x="1927336" y="5130333"/>
                  <a:pt x="1927336" y="5130436"/>
                  <a:pt x="1927336" y="5131262"/>
                </a:cubicBezTo>
                <a:cubicBezTo>
                  <a:pt x="1927955" y="5133017"/>
                  <a:pt x="1928730" y="5133947"/>
                  <a:pt x="1927800" y="5135702"/>
                </a:cubicBezTo>
                <a:cubicBezTo>
                  <a:pt x="1926716" y="5136941"/>
                  <a:pt x="1925787" y="5137354"/>
                  <a:pt x="1924858" y="5137251"/>
                </a:cubicBezTo>
                <a:cubicBezTo>
                  <a:pt x="1923928" y="5137148"/>
                  <a:pt x="1922999" y="5136425"/>
                  <a:pt x="1921759" y="5135496"/>
                </a:cubicBezTo>
                <a:cubicBezTo>
                  <a:pt x="1920520" y="5134670"/>
                  <a:pt x="1920211" y="5133534"/>
                  <a:pt x="1920056" y="5132398"/>
                </a:cubicBezTo>
                <a:cubicBezTo>
                  <a:pt x="1919746" y="5131365"/>
                  <a:pt x="1919746" y="5130229"/>
                  <a:pt x="1918971" y="5129300"/>
                </a:cubicBezTo>
                <a:close/>
                <a:moveTo>
                  <a:pt x="2564424" y="5128371"/>
                </a:moveTo>
                <a:cubicBezTo>
                  <a:pt x="2567986" y="5127029"/>
                  <a:pt x="2570774" y="5127338"/>
                  <a:pt x="2572788" y="5128681"/>
                </a:cubicBezTo>
                <a:cubicBezTo>
                  <a:pt x="2574337" y="5129610"/>
                  <a:pt x="2575421" y="5131055"/>
                  <a:pt x="2576041" y="5132811"/>
                </a:cubicBezTo>
                <a:lnTo>
                  <a:pt x="2576196" y="5134463"/>
                </a:lnTo>
                <a:lnTo>
                  <a:pt x="2576351" y="5134463"/>
                </a:lnTo>
                <a:cubicBezTo>
                  <a:pt x="2579294" y="5133740"/>
                  <a:pt x="2583321" y="5135496"/>
                  <a:pt x="2584870" y="5140142"/>
                </a:cubicBezTo>
                <a:cubicBezTo>
                  <a:pt x="2583321" y="5143343"/>
                  <a:pt x="2581152" y="5144788"/>
                  <a:pt x="2579913" y="5146028"/>
                </a:cubicBezTo>
                <a:lnTo>
                  <a:pt x="2574492" y="5143446"/>
                </a:lnTo>
                <a:lnTo>
                  <a:pt x="2572169" y="5144788"/>
                </a:lnTo>
                <a:lnTo>
                  <a:pt x="2569690" y="5148403"/>
                </a:lnTo>
                <a:cubicBezTo>
                  <a:pt x="2568761" y="5146338"/>
                  <a:pt x="2566592" y="5147473"/>
                  <a:pt x="2564579" y="5148609"/>
                </a:cubicBezTo>
                <a:cubicBezTo>
                  <a:pt x="2563030" y="5145511"/>
                  <a:pt x="2560087" y="5140968"/>
                  <a:pt x="2562255" y="5137044"/>
                </a:cubicBezTo>
                <a:lnTo>
                  <a:pt x="2563804" y="5135702"/>
                </a:lnTo>
                <a:lnTo>
                  <a:pt x="2563494" y="5132605"/>
                </a:lnTo>
                <a:cubicBezTo>
                  <a:pt x="2563649" y="5130952"/>
                  <a:pt x="2563959" y="5129404"/>
                  <a:pt x="2564424" y="5128371"/>
                </a:cubicBezTo>
                <a:close/>
                <a:moveTo>
                  <a:pt x="1700413" y="5128164"/>
                </a:moveTo>
                <a:cubicBezTo>
                  <a:pt x="1700413" y="5128164"/>
                  <a:pt x="1700568" y="5129300"/>
                  <a:pt x="1701342" y="5129713"/>
                </a:cubicBezTo>
                <a:cubicBezTo>
                  <a:pt x="1701342" y="5129713"/>
                  <a:pt x="1701497" y="5130849"/>
                  <a:pt x="1701652" y="5132088"/>
                </a:cubicBezTo>
                <a:cubicBezTo>
                  <a:pt x="1701652" y="5132088"/>
                  <a:pt x="1702272" y="5132501"/>
                  <a:pt x="1703046" y="5132914"/>
                </a:cubicBezTo>
                <a:cubicBezTo>
                  <a:pt x="1704130" y="5135702"/>
                  <a:pt x="1705059" y="5137251"/>
                  <a:pt x="1702426" y="5139832"/>
                </a:cubicBezTo>
                <a:cubicBezTo>
                  <a:pt x="1702117" y="5139626"/>
                  <a:pt x="1701807" y="5138903"/>
                  <a:pt x="1701652" y="5138077"/>
                </a:cubicBezTo>
                <a:cubicBezTo>
                  <a:pt x="1701342" y="5137354"/>
                  <a:pt x="1701187" y="5136425"/>
                  <a:pt x="1701187" y="5135909"/>
                </a:cubicBezTo>
                <a:cubicBezTo>
                  <a:pt x="1700413" y="5135392"/>
                  <a:pt x="1700258" y="5134256"/>
                  <a:pt x="1700722" y="5133534"/>
                </a:cubicBezTo>
                <a:cubicBezTo>
                  <a:pt x="1700722" y="5133534"/>
                  <a:pt x="1700568" y="5132398"/>
                  <a:pt x="1699793" y="5131882"/>
                </a:cubicBezTo>
                <a:cubicBezTo>
                  <a:pt x="1699484" y="5129610"/>
                  <a:pt x="1699948" y="5128887"/>
                  <a:pt x="1700413" y="5128164"/>
                </a:cubicBezTo>
                <a:close/>
                <a:moveTo>
                  <a:pt x="2498593" y="5126719"/>
                </a:moveTo>
                <a:cubicBezTo>
                  <a:pt x="2500452" y="5128577"/>
                  <a:pt x="2500916" y="5130436"/>
                  <a:pt x="2500452" y="5132295"/>
                </a:cubicBezTo>
                <a:cubicBezTo>
                  <a:pt x="2499987" y="5134050"/>
                  <a:pt x="2498283" y="5136012"/>
                  <a:pt x="2495960" y="5137974"/>
                </a:cubicBezTo>
                <a:cubicBezTo>
                  <a:pt x="2494875" y="5137044"/>
                  <a:pt x="2494256" y="5136012"/>
                  <a:pt x="2494101" y="5135186"/>
                </a:cubicBezTo>
                <a:cubicBezTo>
                  <a:pt x="2493791" y="5132398"/>
                  <a:pt x="2496889" y="5129816"/>
                  <a:pt x="2498593" y="5126719"/>
                </a:cubicBezTo>
                <a:close/>
                <a:moveTo>
                  <a:pt x="2015162" y="5124653"/>
                </a:moveTo>
                <a:cubicBezTo>
                  <a:pt x="2015937" y="5128371"/>
                  <a:pt x="2011909" y="5137354"/>
                  <a:pt x="2004939" y="5137148"/>
                </a:cubicBezTo>
                <a:cubicBezTo>
                  <a:pt x="2004784" y="5128577"/>
                  <a:pt x="2010205" y="5127029"/>
                  <a:pt x="2015162" y="5124653"/>
                </a:cubicBezTo>
                <a:close/>
                <a:moveTo>
                  <a:pt x="1985577" y="5124447"/>
                </a:moveTo>
                <a:cubicBezTo>
                  <a:pt x="1990069" y="5128164"/>
                  <a:pt x="1991153" y="5132811"/>
                  <a:pt x="1992238" y="5137561"/>
                </a:cubicBezTo>
                <a:cubicBezTo>
                  <a:pt x="1990688" y="5139832"/>
                  <a:pt x="1989294" y="5140865"/>
                  <a:pt x="1988055" y="5140865"/>
                </a:cubicBezTo>
                <a:cubicBezTo>
                  <a:pt x="1984337" y="5141072"/>
                  <a:pt x="1981704" y="5133120"/>
                  <a:pt x="1979071" y="5129197"/>
                </a:cubicBezTo>
                <a:cubicBezTo>
                  <a:pt x="1981085" y="5126099"/>
                  <a:pt x="1982014" y="5125376"/>
                  <a:pt x="1985577" y="5124447"/>
                </a:cubicBezTo>
                <a:close/>
                <a:moveTo>
                  <a:pt x="2445928" y="5123828"/>
                </a:moveTo>
                <a:cubicBezTo>
                  <a:pt x="2446393" y="5125170"/>
                  <a:pt x="2442985" y="5129713"/>
                  <a:pt x="2440507" y="5130333"/>
                </a:cubicBezTo>
                <a:cubicBezTo>
                  <a:pt x="2439577" y="5130539"/>
                  <a:pt x="2438958" y="5130229"/>
                  <a:pt x="2438493" y="5129300"/>
                </a:cubicBezTo>
                <a:cubicBezTo>
                  <a:pt x="2437409" y="5125686"/>
                  <a:pt x="2444534" y="5122898"/>
                  <a:pt x="2445928" y="5123828"/>
                </a:cubicBezTo>
                <a:close/>
                <a:moveTo>
                  <a:pt x="1663392" y="5123311"/>
                </a:moveTo>
                <a:lnTo>
                  <a:pt x="1664167" y="5124653"/>
                </a:lnTo>
                <a:lnTo>
                  <a:pt x="1667265" y="5125067"/>
                </a:lnTo>
                <a:cubicBezTo>
                  <a:pt x="1669124" y="5124241"/>
                  <a:pt x="1670053" y="5122588"/>
                  <a:pt x="1671602" y="5123518"/>
                </a:cubicBezTo>
                <a:cubicBezTo>
                  <a:pt x="1668969" y="5125170"/>
                  <a:pt x="1668039" y="5125893"/>
                  <a:pt x="1666180" y="5126719"/>
                </a:cubicBezTo>
                <a:lnTo>
                  <a:pt x="1665716" y="5127958"/>
                </a:lnTo>
                <a:lnTo>
                  <a:pt x="1665871" y="5128164"/>
                </a:lnTo>
                <a:lnTo>
                  <a:pt x="1665561" y="5128474"/>
                </a:lnTo>
                <a:lnTo>
                  <a:pt x="1665097" y="5129300"/>
                </a:lnTo>
                <a:lnTo>
                  <a:pt x="1664786" y="5129507"/>
                </a:lnTo>
                <a:lnTo>
                  <a:pt x="1663702" y="5131572"/>
                </a:lnTo>
                <a:cubicBezTo>
                  <a:pt x="1662928" y="5133430"/>
                  <a:pt x="1662153" y="5135392"/>
                  <a:pt x="1662153" y="5135392"/>
                </a:cubicBezTo>
                <a:cubicBezTo>
                  <a:pt x="1660914" y="5135702"/>
                  <a:pt x="1660450" y="5135909"/>
                  <a:pt x="1659985" y="5135599"/>
                </a:cubicBezTo>
                <a:cubicBezTo>
                  <a:pt x="1659520" y="5135289"/>
                  <a:pt x="1659365" y="5134670"/>
                  <a:pt x="1658745" y="5133327"/>
                </a:cubicBezTo>
                <a:lnTo>
                  <a:pt x="1659520" y="5130023"/>
                </a:lnTo>
                <a:lnTo>
                  <a:pt x="1659210" y="5129197"/>
                </a:lnTo>
                <a:cubicBezTo>
                  <a:pt x="1659055" y="5128371"/>
                  <a:pt x="1659365" y="5127545"/>
                  <a:pt x="1660295" y="5126719"/>
                </a:cubicBezTo>
                <a:lnTo>
                  <a:pt x="1661224" y="5126099"/>
                </a:lnTo>
                <a:close/>
                <a:moveTo>
                  <a:pt x="2106861" y="5122588"/>
                </a:moveTo>
                <a:cubicBezTo>
                  <a:pt x="2110423" y="5121866"/>
                  <a:pt x="2111663" y="5121969"/>
                  <a:pt x="2115070" y="5123724"/>
                </a:cubicBezTo>
                <a:cubicBezTo>
                  <a:pt x="2116464" y="5129404"/>
                  <a:pt x="2114451" y="5133430"/>
                  <a:pt x="2112282" y="5137457"/>
                </a:cubicBezTo>
                <a:cubicBezTo>
                  <a:pt x="2110888" y="5137664"/>
                  <a:pt x="2109804" y="5137767"/>
                  <a:pt x="2108874" y="5137664"/>
                </a:cubicBezTo>
                <a:cubicBezTo>
                  <a:pt x="2102524" y="5136941"/>
                  <a:pt x="2106396" y="5127854"/>
                  <a:pt x="2106861" y="5122588"/>
                </a:cubicBezTo>
                <a:close/>
                <a:moveTo>
                  <a:pt x="2001221" y="5120937"/>
                </a:moveTo>
                <a:cubicBezTo>
                  <a:pt x="2004319" y="5121040"/>
                  <a:pt x="2004474" y="5124138"/>
                  <a:pt x="2005713" y="5127545"/>
                </a:cubicBezTo>
                <a:cubicBezTo>
                  <a:pt x="2004474" y="5127235"/>
                  <a:pt x="2004319" y="5128371"/>
                  <a:pt x="2004164" y="5129610"/>
                </a:cubicBezTo>
                <a:cubicBezTo>
                  <a:pt x="2002460" y="5129197"/>
                  <a:pt x="1999672" y="5128887"/>
                  <a:pt x="1998588" y="5126719"/>
                </a:cubicBezTo>
                <a:cubicBezTo>
                  <a:pt x="1998278" y="5125996"/>
                  <a:pt x="1998278" y="5125067"/>
                  <a:pt x="1998433" y="5123828"/>
                </a:cubicBezTo>
                <a:cubicBezTo>
                  <a:pt x="1997968" y="5123105"/>
                  <a:pt x="2000137" y="5120627"/>
                  <a:pt x="2001221" y="5120937"/>
                </a:cubicBezTo>
                <a:close/>
                <a:moveTo>
                  <a:pt x="2183224" y="5120110"/>
                </a:moveTo>
                <a:cubicBezTo>
                  <a:pt x="2186942" y="5120730"/>
                  <a:pt x="2187871" y="5121349"/>
                  <a:pt x="2190195" y="5124138"/>
                </a:cubicBezTo>
                <a:cubicBezTo>
                  <a:pt x="2188646" y="5129816"/>
                  <a:pt x="2184773" y="5132708"/>
                  <a:pt x="2180901" y="5135599"/>
                </a:cubicBezTo>
                <a:cubicBezTo>
                  <a:pt x="2178113" y="5135082"/>
                  <a:pt x="2176719" y="5134256"/>
                  <a:pt x="2176254" y="5133120"/>
                </a:cubicBezTo>
                <a:cubicBezTo>
                  <a:pt x="2174550" y="5129713"/>
                  <a:pt x="2180746" y="5124138"/>
                  <a:pt x="2183224" y="5120110"/>
                </a:cubicBezTo>
                <a:close/>
                <a:moveTo>
                  <a:pt x="1586718" y="5119387"/>
                </a:moveTo>
                <a:cubicBezTo>
                  <a:pt x="1589352" y="5117736"/>
                  <a:pt x="1595548" y="5122072"/>
                  <a:pt x="1597717" y="5124653"/>
                </a:cubicBezTo>
                <a:cubicBezTo>
                  <a:pt x="1597097" y="5125067"/>
                  <a:pt x="1596167" y="5125170"/>
                  <a:pt x="1595238" y="5124963"/>
                </a:cubicBezTo>
                <a:cubicBezTo>
                  <a:pt x="1592295" y="5124344"/>
                  <a:pt x="1588422" y="5121349"/>
                  <a:pt x="1586718" y="5119387"/>
                </a:cubicBezTo>
                <a:close/>
                <a:moveTo>
                  <a:pt x="2219470" y="5118975"/>
                </a:moveTo>
                <a:cubicBezTo>
                  <a:pt x="2221794" y="5117219"/>
                  <a:pt x="2226131" y="5117219"/>
                  <a:pt x="2229074" y="5121040"/>
                </a:cubicBezTo>
                <a:cubicBezTo>
                  <a:pt x="2228919" y="5124757"/>
                  <a:pt x="2227525" y="5127029"/>
                  <a:pt x="2226905" y="5128784"/>
                </a:cubicBezTo>
                <a:lnTo>
                  <a:pt x="2223963" y="5128577"/>
                </a:lnTo>
                <a:lnTo>
                  <a:pt x="2225667" y="5129610"/>
                </a:lnTo>
                <a:cubicBezTo>
                  <a:pt x="2227060" y="5130539"/>
                  <a:pt x="2227989" y="5131469"/>
                  <a:pt x="2227680" y="5133637"/>
                </a:cubicBezTo>
                <a:cubicBezTo>
                  <a:pt x="2225976" y="5134050"/>
                  <a:pt x="2223963" y="5132914"/>
                  <a:pt x="2222568" y="5131159"/>
                </a:cubicBezTo>
                <a:lnTo>
                  <a:pt x="2221484" y="5128371"/>
                </a:lnTo>
                <a:lnTo>
                  <a:pt x="2220245" y="5128268"/>
                </a:lnTo>
                <a:cubicBezTo>
                  <a:pt x="2216372" y="5124550"/>
                  <a:pt x="2216992" y="5120833"/>
                  <a:pt x="2219470" y="5118975"/>
                </a:cubicBezTo>
                <a:close/>
                <a:moveTo>
                  <a:pt x="2238058" y="5118252"/>
                </a:moveTo>
                <a:cubicBezTo>
                  <a:pt x="2241621" y="5123518"/>
                  <a:pt x="2245802" y="5123621"/>
                  <a:pt x="2246732" y="5129094"/>
                </a:cubicBezTo>
                <a:cubicBezTo>
                  <a:pt x="2245493" y="5130746"/>
                  <a:pt x="2243944" y="5131572"/>
                  <a:pt x="2242395" y="5131778"/>
                </a:cubicBezTo>
                <a:cubicBezTo>
                  <a:pt x="2237593" y="5132501"/>
                  <a:pt x="2232791" y="5127854"/>
                  <a:pt x="2233566" y="5123415"/>
                </a:cubicBezTo>
                <a:cubicBezTo>
                  <a:pt x="2233720" y="5121453"/>
                  <a:pt x="2235115" y="5119594"/>
                  <a:pt x="2238058" y="5118252"/>
                </a:cubicBezTo>
                <a:close/>
                <a:moveTo>
                  <a:pt x="1111497" y="5117942"/>
                </a:moveTo>
                <a:cubicBezTo>
                  <a:pt x="1110568" y="5118768"/>
                  <a:pt x="1110568" y="5118768"/>
                  <a:pt x="1111342" y="5119594"/>
                </a:cubicBezTo>
                <a:cubicBezTo>
                  <a:pt x="1111342" y="5119594"/>
                  <a:pt x="1111342" y="5119594"/>
                  <a:pt x="1112117" y="5119594"/>
                </a:cubicBezTo>
                <a:cubicBezTo>
                  <a:pt x="1111962" y="5120420"/>
                  <a:pt x="1111187" y="5120420"/>
                  <a:pt x="1111032" y="5121246"/>
                </a:cubicBezTo>
                <a:cubicBezTo>
                  <a:pt x="1111032" y="5121246"/>
                  <a:pt x="1110413" y="5121246"/>
                  <a:pt x="1110413" y="5121246"/>
                </a:cubicBezTo>
                <a:cubicBezTo>
                  <a:pt x="1110258" y="5121659"/>
                  <a:pt x="1110258" y="5121659"/>
                  <a:pt x="1110103" y="5121453"/>
                </a:cubicBezTo>
                <a:cubicBezTo>
                  <a:pt x="1109948" y="5121246"/>
                  <a:pt x="1109483" y="5120833"/>
                  <a:pt x="1108864" y="5120420"/>
                </a:cubicBezTo>
                <a:cubicBezTo>
                  <a:pt x="1108399" y="5120007"/>
                  <a:pt x="1108089" y="5119697"/>
                  <a:pt x="1107934" y="5119491"/>
                </a:cubicBezTo>
                <a:cubicBezTo>
                  <a:pt x="1107780" y="5119284"/>
                  <a:pt x="1107625" y="5119078"/>
                  <a:pt x="1108089" y="5118665"/>
                </a:cubicBezTo>
                <a:cubicBezTo>
                  <a:pt x="1109019" y="5117839"/>
                  <a:pt x="1109019" y="5117839"/>
                  <a:pt x="1111497" y="5117942"/>
                </a:cubicBezTo>
                <a:close/>
                <a:moveTo>
                  <a:pt x="1731082" y="5117736"/>
                </a:moveTo>
                <a:cubicBezTo>
                  <a:pt x="1731082" y="5117736"/>
                  <a:pt x="1731392" y="5118975"/>
                  <a:pt x="1731547" y="5120214"/>
                </a:cubicBezTo>
                <a:cubicBezTo>
                  <a:pt x="1731857" y="5121349"/>
                  <a:pt x="1731702" y="5121349"/>
                  <a:pt x="1732941" y="5121040"/>
                </a:cubicBezTo>
                <a:cubicBezTo>
                  <a:pt x="1733096" y="5122279"/>
                  <a:pt x="1733096" y="5122279"/>
                  <a:pt x="1732166" y="5123828"/>
                </a:cubicBezTo>
                <a:cubicBezTo>
                  <a:pt x="1732011" y="5122588"/>
                  <a:pt x="1729998" y="5118045"/>
                  <a:pt x="1731082" y="5117736"/>
                </a:cubicBezTo>
                <a:close/>
                <a:moveTo>
                  <a:pt x="1923773" y="5116393"/>
                </a:moveTo>
                <a:cubicBezTo>
                  <a:pt x="1925012" y="5116083"/>
                  <a:pt x="1926096" y="5115877"/>
                  <a:pt x="1926251" y="5117013"/>
                </a:cubicBezTo>
                <a:cubicBezTo>
                  <a:pt x="1926251" y="5117013"/>
                  <a:pt x="1925787" y="5117736"/>
                  <a:pt x="1923463" y="5118355"/>
                </a:cubicBezTo>
                <a:cubicBezTo>
                  <a:pt x="1923928" y="5117632"/>
                  <a:pt x="1923308" y="5117219"/>
                  <a:pt x="1923308" y="5117219"/>
                </a:cubicBezTo>
                <a:cubicBezTo>
                  <a:pt x="1923308" y="5117219"/>
                  <a:pt x="1923308" y="5117219"/>
                  <a:pt x="1922844" y="5117942"/>
                </a:cubicBezTo>
                <a:cubicBezTo>
                  <a:pt x="1922689" y="5117322"/>
                  <a:pt x="1922999" y="5117013"/>
                  <a:pt x="1923153" y="5116806"/>
                </a:cubicBezTo>
                <a:cubicBezTo>
                  <a:pt x="1923463" y="5116496"/>
                  <a:pt x="1923773" y="5116393"/>
                  <a:pt x="1923773" y="5116393"/>
                </a:cubicBezTo>
                <a:close/>
                <a:moveTo>
                  <a:pt x="2276724" y="5116238"/>
                </a:moveTo>
                <a:cubicBezTo>
                  <a:pt x="2280732" y="5115670"/>
                  <a:pt x="2284527" y="5116857"/>
                  <a:pt x="2284681" y="5120110"/>
                </a:cubicBezTo>
                <a:cubicBezTo>
                  <a:pt x="2284681" y="5121040"/>
                  <a:pt x="2284527" y="5122176"/>
                  <a:pt x="2283907" y="5123518"/>
                </a:cubicBezTo>
                <a:cubicBezTo>
                  <a:pt x="2282513" y="5124653"/>
                  <a:pt x="2280964" y="5125686"/>
                  <a:pt x="2279570" y="5126512"/>
                </a:cubicBezTo>
                <a:lnTo>
                  <a:pt x="2275698" y="5128164"/>
                </a:lnTo>
                <a:lnTo>
                  <a:pt x="2276007" y="5134360"/>
                </a:lnTo>
                <a:cubicBezTo>
                  <a:pt x="2276007" y="5136632"/>
                  <a:pt x="2275388" y="5138180"/>
                  <a:pt x="2272600" y="5139316"/>
                </a:cubicBezTo>
                <a:cubicBezTo>
                  <a:pt x="2271205" y="5138180"/>
                  <a:pt x="2270586" y="5136115"/>
                  <a:pt x="2270431" y="5133637"/>
                </a:cubicBezTo>
                <a:lnTo>
                  <a:pt x="2270276" y="5127029"/>
                </a:lnTo>
                <a:lnTo>
                  <a:pt x="2267953" y="5125583"/>
                </a:lnTo>
                <a:cubicBezTo>
                  <a:pt x="2268882" y="5124757"/>
                  <a:pt x="2268108" y="5123828"/>
                  <a:pt x="2267488" y="5122898"/>
                </a:cubicBezTo>
                <a:cubicBezTo>
                  <a:pt x="2268495" y="5119130"/>
                  <a:pt x="2272716" y="5116806"/>
                  <a:pt x="2276724" y="5116238"/>
                </a:cubicBezTo>
                <a:close/>
                <a:moveTo>
                  <a:pt x="2470247" y="5115774"/>
                </a:moveTo>
                <a:cubicBezTo>
                  <a:pt x="2473655" y="5118561"/>
                  <a:pt x="2475359" y="5115980"/>
                  <a:pt x="2480625" y="5120523"/>
                </a:cubicBezTo>
                <a:cubicBezTo>
                  <a:pt x="2487595" y="5126099"/>
                  <a:pt x="2486046" y="5132088"/>
                  <a:pt x="2483723" y="5135392"/>
                </a:cubicBezTo>
                <a:cubicBezTo>
                  <a:pt x="2483103" y="5134773"/>
                  <a:pt x="2479850" y="5139316"/>
                  <a:pt x="2474894" y="5138903"/>
                </a:cubicBezTo>
                <a:cubicBezTo>
                  <a:pt x="2473190" y="5138800"/>
                  <a:pt x="2471486" y="5138077"/>
                  <a:pt x="2469472" y="5136425"/>
                </a:cubicBezTo>
                <a:cubicBezTo>
                  <a:pt x="2465135" y="5132811"/>
                  <a:pt x="2461418" y="5127442"/>
                  <a:pt x="2466994" y="5120833"/>
                </a:cubicBezTo>
                <a:cubicBezTo>
                  <a:pt x="2467768" y="5119181"/>
                  <a:pt x="2467924" y="5120007"/>
                  <a:pt x="2468698" y="5119181"/>
                </a:cubicBezTo>
                <a:cubicBezTo>
                  <a:pt x="2469472" y="5118355"/>
                  <a:pt x="2470247" y="5116703"/>
                  <a:pt x="2470247" y="5115774"/>
                </a:cubicBezTo>
                <a:close/>
                <a:moveTo>
                  <a:pt x="2610428" y="5115361"/>
                </a:moveTo>
                <a:cubicBezTo>
                  <a:pt x="2612752" y="5114018"/>
                  <a:pt x="2617863" y="5122279"/>
                  <a:pt x="2609653" y="5120523"/>
                </a:cubicBezTo>
                <a:cubicBezTo>
                  <a:pt x="2609189" y="5117219"/>
                  <a:pt x="2609653" y="5115774"/>
                  <a:pt x="2610428" y="5115361"/>
                </a:cubicBezTo>
                <a:close/>
                <a:moveTo>
                  <a:pt x="1930434" y="5115257"/>
                </a:moveTo>
                <a:cubicBezTo>
                  <a:pt x="1932138" y="5114225"/>
                  <a:pt x="1932757" y="5114741"/>
                  <a:pt x="1933222" y="5117116"/>
                </a:cubicBezTo>
                <a:cubicBezTo>
                  <a:pt x="1932447" y="5117632"/>
                  <a:pt x="1930899" y="5117942"/>
                  <a:pt x="1929504" y="5117942"/>
                </a:cubicBezTo>
                <a:cubicBezTo>
                  <a:pt x="1928110" y="5118045"/>
                  <a:pt x="1926871" y="5117736"/>
                  <a:pt x="1926406" y="5116909"/>
                </a:cubicBezTo>
                <a:cubicBezTo>
                  <a:pt x="1928110" y="5115877"/>
                  <a:pt x="1929194" y="5115567"/>
                  <a:pt x="1930434" y="5115257"/>
                </a:cubicBezTo>
                <a:close/>
                <a:moveTo>
                  <a:pt x="1781114" y="5115257"/>
                </a:moveTo>
                <a:cubicBezTo>
                  <a:pt x="1782817" y="5115980"/>
                  <a:pt x="1785296" y="5114948"/>
                  <a:pt x="1787155" y="5116600"/>
                </a:cubicBezTo>
                <a:cubicBezTo>
                  <a:pt x="1787155" y="5116600"/>
                  <a:pt x="1788084" y="5117426"/>
                  <a:pt x="1788239" y="5119181"/>
                </a:cubicBezTo>
                <a:cubicBezTo>
                  <a:pt x="1790408" y="5121659"/>
                  <a:pt x="1788239" y="5124344"/>
                  <a:pt x="1788239" y="5124344"/>
                </a:cubicBezTo>
                <a:cubicBezTo>
                  <a:pt x="1788239" y="5124344"/>
                  <a:pt x="1788239" y="5124447"/>
                  <a:pt x="1789013" y="5124344"/>
                </a:cubicBezTo>
                <a:cubicBezTo>
                  <a:pt x="1787464" y="5124447"/>
                  <a:pt x="1785915" y="5125480"/>
                  <a:pt x="1784211" y="5125583"/>
                </a:cubicBezTo>
                <a:cubicBezTo>
                  <a:pt x="1776932" y="5120730"/>
                  <a:pt x="1779100" y="5118871"/>
                  <a:pt x="1781114" y="5115257"/>
                </a:cubicBezTo>
                <a:close/>
                <a:moveTo>
                  <a:pt x="2302649" y="5115154"/>
                </a:moveTo>
                <a:cubicBezTo>
                  <a:pt x="2304818" y="5116393"/>
                  <a:pt x="2308225" y="5115464"/>
                  <a:pt x="2311323" y="5121040"/>
                </a:cubicBezTo>
                <a:cubicBezTo>
                  <a:pt x="2314112" y="5127442"/>
                  <a:pt x="2308225" y="5129920"/>
                  <a:pt x="2309000" y="5130333"/>
                </a:cubicBezTo>
                <a:cubicBezTo>
                  <a:pt x="2309310" y="5131572"/>
                  <a:pt x="2309310" y="5131572"/>
                  <a:pt x="2310084" y="5131985"/>
                </a:cubicBezTo>
                <a:cubicBezTo>
                  <a:pt x="2309774" y="5132708"/>
                  <a:pt x="2309774" y="5134773"/>
                  <a:pt x="2310239" y="5135909"/>
                </a:cubicBezTo>
                <a:cubicBezTo>
                  <a:pt x="2309465" y="5135496"/>
                  <a:pt x="2308690" y="5135082"/>
                  <a:pt x="2308380" y="5135805"/>
                </a:cubicBezTo>
                <a:cubicBezTo>
                  <a:pt x="2307606" y="5133430"/>
                  <a:pt x="2307915" y="5132708"/>
                  <a:pt x="2307451" y="5131469"/>
                </a:cubicBezTo>
                <a:cubicBezTo>
                  <a:pt x="2307141" y="5132191"/>
                  <a:pt x="2306676" y="5131055"/>
                  <a:pt x="2306676" y="5131055"/>
                </a:cubicBezTo>
                <a:cubicBezTo>
                  <a:pt x="2306676" y="5131055"/>
                  <a:pt x="2306676" y="5130952"/>
                  <a:pt x="2304508" y="5131675"/>
                </a:cubicBezTo>
                <a:cubicBezTo>
                  <a:pt x="2304508" y="5131675"/>
                  <a:pt x="2299241" y="5132605"/>
                  <a:pt x="2296918" y="5127442"/>
                </a:cubicBezTo>
                <a:cubicBezTo>
                  <a:pt x="2298003" y="5127029"/>
                  <a:pt x="2295679" y="5119904"/>
                  <a:pt x="2298467" y="5117736"/>
                </a:cubicBezTo>
                <a:cubicBezTo>
                  <a:pt x="2300016" y="5116600"/>
                  <a:pt x="2301100" y="5116290"/>
                  <a:pt x="2302649" y="5115154"/>
                </a:cubicBezTo>
                <a:close/>
                <a:moveTo>
                  <a:pt x="2536058" y="5114831"/>
                </a:moveTo>
                <a:cubicBezTo>
                  <a:pt x="2540918" y="5113863"/>
                  <a:pt x="2545759" y="5114947"/>
                  <a:pt x="2549244" y="5118561"/>
                </a:cubicBezTo>
                <a:cubicBezTo>
                  <a:pt x="2551258" y="5121143"/>
                  <a:pt x="2552032" y="5123621"/>
                  <a:pt x="2552187" y="5125893"/>
                </a:cubicBezTo>
                <a:lnTo>
                  <a:pt x="2550638" y="5130643"/>
                </a:lnTo>
                <a:lnTo>
                  <a:pt x="2550948" y="5131262"/>
                </a:lnTo>
                <a:lnTo>
                  <a:pt x="2550328" y="5131469"/>
                </a:lnTo>
                <a:lnTo>
                  <a:pt x="2550173" y="5131985"/>
                </a:lnTo>
                <a:cubicBezTo>
                  <a:pt x="2547540" y="5135496"/>
                  <a:pt x="2542738" y="5137664"/>
                  <a:pt x="2537782" y="5137354"/>
                </a:cubicBezTo>
                <a:cubicBezTo>
                  <a:pt x="2531741" y="5136941"/>
                  <a:pt x="2525545" y="5133017"/>
                  <a:pt x="2522757" y="5123415"/>
                </a:cubicBezTo>
                <a:cubicBezTo>
                  <a:pt x="2526319" y="5118820"/>
                  <a:pt x="2531198" y="5115800"/>
                  <a:pt x="2536058" y="5114831"/>
                </a:cubicBezTo>
                <a:close/>
                <a:moveTo>
                  <a:pt x="2421455" y="5114741"/>
                </a:moveTo>
                <a:cubicBezTo>
                  <a:pt x="2423933" y="5114121"/>
                  <a:pt x="2425792" y="5114225"/>
                  <a:pt x="2427495" y="5116393"/>
                </a:cubicBezTo>
                <a:cubicBezTo>
                  <a:pt x="2425946" y="5116496"/>
                  <a:pt x="2424862" y="5116600"/>
                  <a:pt x="2423933" y="5116393"/>
                </a:cubicBezTo>
                <a:cubicBezTo>
                  <a:pt x="2423003" y="5116290"/>
                  <a:pt x="2422384" y="5115774"/>
                  <a:pt x="2421455" y="5114741"/>
                </a:cubicBezTo>
                <a:close/>
                <a:moveTo>
                  <a:pt x="1458929" y="5113709"/>
                </a:moveTo>
                <a:cubicBezTo>
                  <a:pt x="1465435" y="5116393"/>
                  <a:pt x="1468843" y="5116496"/>
                  <a:pt x="1473645" y="5119181"/>
                </a:cubicBezTo>
                <a:cubicBezTo>
                  <a:pt x="1473490" y="5120110"/>
                  <a:pt x="1472715" y="5120110"/>
                  <a:pt x="1472560" y="5120937"/>
                </a:cubicBezTo>
                <a:cubicBezTo>
                  <a:pt x="1472095" y="5121349"/>
                  <a:pt x="1471321" y="5121556"/>
                  <a:pt x="1470237" y="5121556"/>
                </a:cubicBezTo>
                <a:cubicBezTo>
                  <a:pt x="1467139" y="5121453"/>
                  <a:pt x="1462492" y="5119697"/>
                  <a:pt x="1462647" y="5118975"/>
                </a:cubicBezTo>
                <a:cubicBezTo>
                  <a:pt x="1461717" y="5118975"/>
                  <a:pt x="1461872" y="5118148"/>
                  <a:pt x="1461098" y="5118148"/>
                </a:cubicBezTo>
                <a:cubicBezTo>
                  <a:pt x="1461098" y="5118148"/>
                  <a:pt x="1460169" y="5118148"/>
                  <a:pt x="1459394" y="5117219"/>
                </a:cubicBezTo>
                <a:cubicBezTo>
                  <a:pt x="1459084" y="5116806"/>
                  <a:pt x="1458774" y="5116290"/>
                  <a:pt x="1458620" y="5115774"/>
                </a:cubicBezTo>
                <a:cubicBezTo>
                  <a:pt x="1458465" y="5115154"/>
                  <a:pt x="1458465" y="5114535"/>
                  <a:pt x="1458929" y="5113709"/>
                </a:cubicBezTo>
                <a:close/>
                <a:moveTo>
                  <a:pt x="1568751" y="5113089"/>
                </a:moveTo>
                <a:cubicBezTo>
                  <a:pt x="1569526" y="5114018"/>
                  <a:pt x="1570300" y="5114844"/>
                  <a:pt x="1570145" y="5116600"/>
                </a:cubicBezTo>
                <a:cubicBezTo>
                  <a:pt x="1568286" y="5118355"/>
                  <a:pt x="1565808" y="5117426"/>
                  <a:pt x="1564879" y="5118252"/>
                </a:cubicBezTo>
                <a:cubicBezTo>
                  <a:pt x="1565034" y="5117426"/>
                  <a:pt x="1565188" y="5115671"/>
                  <a:pt x="1563640" y="5114741"/>
                </a:cubicBezTo>
                <a:cubicBezTo>
                  <a:pt x="1565498" y="5113089"/>
                  <a:pt x="1567202" y="5111334"/>
                  <a:pt x="1568751" y="5113089"/>
                </a:cubicBezTo>
                <a:close/>
                <a:moveTo>
                  <a:pt x="2130250" y="5112779"/>
                </a:moveTo>
                <a:cubicBezTo>
                  <a:pt x="2136755" y="5117632"/>
                  <a:pt x="2133503" y="5124447"/>
                  <a:pt x="2128856" y="5125170"/>
                </a:cubicBezTo>
                <a:cubicBezTo>
                  <a:pt x="2127307" y="5125480"/>
                  <a:pt x="2125603" y="5125067"/>
                  <a:pt x="2124054" y="5123724"/>
                </a:cubicBezTo>
                <a:cubicBezTo>
                  <a:pt x="2124674" y="5118561"/>
                  <a:pt x="2124364" y="5112470"/>
                  <a:pt x="2130250" y="5112779"/>
                </a:cubicBezTo>
                <a:close/>
                <a:moveTo>
                  <a:pt x="2053111" y="5112470"/>
                </a:moveTo>
                <a:cubicBezTo>
                  <a:pt x="2054970" y="5110920"/>
                  <a:pt x="2060392" y="5109991"/>
                  <a:pt x="2063799" y="5112986"/>
                </a:cubicBezTo>
                <a:cubicBezTo>
                  <a:pt x="2063954" y="5117116"/>
                  <a:pt x="2062251" y="5118975"/>
                  <a:pt x="2059307" y="5118975"/>
                </a:cubicBezTo>
                <a:cubicBezTo>
                  <a:pt x="2058223" y="5118975"/>
                  <a:pt x="2057139" y="5118768"/>
                  <a:pt x="2055745" y="5118458"/>
                </a:cubicBezTo>
                <a:cubicBezTo>
                  <a:pt x="2055280" y="5116496"/>
                  <a:pt x="2054196" y="5115051"/>
                  <a:pt x="2053111" y="5112470"/>
                </a:cubicBezTo>
                <a:close/>
                <a:moveTo>
                  <a:pt x="1967454" y="5111334"/>
                </a:moveTo>
                <a:cubicBezTo>
                  <a:pt x="1968073" y="5111747"/>
                  <a:pt x="1969932" y="5111953"/>
                  <a:pt x="1970242" y="5113192"/>
                </a:cubicBezTo>
                <a:cubicBezTo>
                  <a:pt x="1970397" y="5114328"/>
                  <a:pt x="1970397" y="5114328"/>
                  <a:pt x="1969468" y="5115774"/>
                </a:cubicBezTo>
                <a:cubicBezTo>
                  <a:pt x="1968693" y="5114741"/>
                  <a:pt x="1968228" y="5114225"/>
                  <a:pt x="1968073" y="5113709"/>
                </a:cubicBezTo>
                <a:cubicBezTo>
                  <a:pt x="1967764" y="5113089"/>
                  <a:pt x="1967609" y="5112573"/>
                  <a:pt x="1967454" y="5111334"/>
                </a:cubicBezTo>
                <a:close/>
                <a:moveTo>
                  <a:pt x="2346640" y="5111024"/>
                </a:moveTo>
                <a:cubicBezTo>
                  <a:pt x="2347569" y="5111850"/>
                  <a:pt x="2348344" y="5113605"/>
                  <a:pt x="2347569" y="5114431"/>
                </a:cubicBezTo>
                <a:cubicBezTo>
                  <a:pt x="2347259" y="5115257"/>
                  <a:pt x="2346794" y="5115257"/>
                  <a:pt x="2346175" y="5114844"/>
                </a:cubicBezTo>
                <a:cubicBezTo>
                  <a:pt x="2345710" y="5114535"/>
                  <a:pt x="2345090" y="5113915"/>
                  <a:pt x="2344161" y="5113502"/>
                </a:cubicBezTo>
                <a:close/>
                <a:moveTo>
                  <a:pt x="2460914" y="5110469"/>
                </a:moveTo>
                <a:cubicBezTo>
                  <a:pt x="2462347" y="5111334"/>
                  <a:pt x="2463277" y="5113192"/>
                  <a:pt x="2462812" y="5115877"/>
                </a:cubicBezTo>
                <a:cubicBezTo>
                  <a:pt x="2459404" y="5115257"/>
                  <a:pt x="2455841" y="5114638"/>
                  <a:pt x="2455996" y="5111024"/>
                </a:cubicBezTo>
                <a:cubicBezTo>
                  <a:pt x="2457545" y="5109733"/>
                  <a:pt x="2459482" y="5109604"/>
                  <a:pt x="2460914" y="5110469"/>
                </a:cubicBezTo>
                <a:close/>
                <a:moveTo>
                  <a:pt x="2340443" y="5110404"/>
                </a:moveTo>
                <a:cubicBezTo>
                  <a:pt x="2340443" y="5110404"/>
                  <a:pt x="2340599" y="5110404"/>
                  <a:pt x="2341683" y="5112160"/>
                </a:cubicBezTo>
                <a:lnTo>
                  <a:pt x="2341373" y="5113709"/>
                </a:lnTo>
                <a:lnTo>
                  <a:pt x="2343387" y="5114225"/>
                </a:lnTo>
                <a:cubicBezTo>
                  <a:pt x="2345090" y="5115980"/>
                  <a:pt x="2347724" y="5118768"/>
                  <a:pt x="2346175" y="5121349"/>
                </a:cubicBezTo>
                <a:cubicBezTo>
                  <a:pt x="2345401" y="5121349"/>
                  <a:pt x="2345401" y="5122176"/>
                  <a:pt x="2344471" y="5122072"/>
                </a:cubicBezTo>
                <a:cubicBezTo>
                  <a:pt x="2344471" y="5122072"/>
                  <a:pt x="2343697" y="5122485"/>
                  <a:pt x="2342457" y="5122588"/>
                </a:cubicBezTo>
                <a:cubicBezTo>
                  <a:pt x="2341218" y="5122588"/>
                  <a:pt x="2339669" y="5122382"/>
                  <a:pt x="2337965" y="5120937"/>
                </a:cubicBezTo>
                <a:cubicBezTo>
                  <a:pt x="2337036" y="5120007"/>
                  <a:pt x="2335177" y="5117322"/>
                  <a:pt x="2335952" y="5117322"/>
                </a:cubicBezTo>
                <a:cubicBezTo>
                  <a:pt x="2336881" y="5116496"/>
                  <a:pt x="2335952" y="5116496"/>
                  <a:pt x="2335952" y="5115567"/>
                </a:cubicBezTo>
                <a:lnTo>
                  <a:pt x="2337191" y="5114844"/>
                </a:lnTo>
                <a:lnTo>
                  <a:pt x="2336726" y="5114328"/>
                </a:lnTo>
                <a:cubicBezTo>
                  <a:pt x="2335487" y="5112573"/>
                  <a:pt x="2335642" y="5112573"/>
                  <a:pt x="2336416" y="5111643"/>
                </a:cubicBezTo>
                <a:cubicBezTo>
                  <a:pt x="2337036" y="5110611"/>
                  <a:pt x="2339669" y="5111334"/>
                  <a:pt x="2340443" y="5110404"/>
                </a:cubicBezTo>
                <a:close/>
                <a:moveTo>
                  <a:pt x="1965440" y="5109991"/>
                </a:moveTo>
                <a:cubicBezTo>
                  <a:pt x="1965905" y="5109269"/>
                  <a:pt x="1966679" y="5109785"/>
                  <a:pt x="1966989" y="5110920"/>
                </a:cubicBezTo>
                <a:cubicBezTo>
                  <a:pt x="1966989" y="5110920"/>
                  <a:pt x="1966525" y="5111643"/>
                  <a:pt x="1966525" y="5111643"/>
                </a:cubicBezTo>
                <a:cubicBezTo>
                  <a:pt x="1966215" y="5111437"/>
                  <a:pt x="1965750" y="5111127"/>
                  <a:pt x="1965595" y="5110920"/>
                </a:cubicBezTo>
                <a:cubicBezTo>
                  <a:pt x="1965285" y="5110611"/>
                  <a:pt x="1965285" y="5110301"/>
                  <a:pt x="1965440" y="5109991"/>
                </a:cubicBezTo>
                <a:close/>
                <a:moveTo>
                  <a:pt x="1708622" y="5108855"/>
                </a:moveTo>
                <a:cubicBezTo>
                  <a:pt x="1710945" y="5110301"/>
                  <a:pt x="1711720" y="5112263"/>
                  <a:pt x="1711720" y="5114121"/>
                </a:cubicBezTo>
                <a:cubicBezTo>
                  <a:pt x="1711565" y="5117219"/>
                  <a:pt x="1708777" y="5120214"/>
                  <a:pt x="1705834" y="5120937"/>
                </a:cubicBezTo>
                <a:cubicBezTo>
                  <a:pt x="1704750" y="5121246"/>
                  <a:pt x="1703820" y="5121246"/>
                  <a:pt x="1702891" y="5120937"/>
                </a:cubicBezTo>
                <a:cubicBezTo>
                  <a:pt x="1701497" y="5120523"/>
                  <a:pt x="1700413" y="5119491"/>
                  <a:pt x="1699638" y="5117839"/>
                </a:cubicBezTo>
                <a:cubicBezTo>
                  <a:pt x="1700103" y="5114328"/>
                  <a:pt x="1705989" y="5109475"/>
                  <a:pt x="1708622" y="5108855"/>
                </a:cubicBezTo>
                <a:close/>
                <a:moveTo>
                  <a:pt x="1617853" y="5108546"/>
                </a:moveTo>
                <a:lnTo>
                  <a:pt x="1618163" y="5108855"/>
                </a:lnTo>
                <a:lnTo>
                  <a:pt x="1626682" y="5113192"/>
                </a:lnTo>
                <a:cubicBezTo>
                  <a:pt x="1627301" y="5114121"/>
                  <a:pt x="1628696" y="5117632"/>
                  <a:pt x="1627766" y="5118458"/>
                </a:cubicBezTo>
                <a:cubicBezTo>
                  <a:pt x="1626837" y="5119284"/>
                  <a:pt x="1626063" y="5119284"/>
                  <a:pt x="1625133" y="5119284"/>
                </a:cubicBezTo>
                <a:lnTo>
                  <a:pt x="1621416" y="5117116"/>
                </a:lnTo>
                <a:lnTo>
                  <a:pt x="1621416" y="5118975"/>
                </a:lnTo>
                <a:cubicBezTo>
                  <a:pt x="1620951" y="5120937"/>
                  <a:pt x="1620176" y="5122588"/>
                  <a:pt x="1619402" y="5123105"/>
                </a:cubicBezTo>
                <a:cubicBezTo>
                  <a:pt x="1617079" y="5123724"/>
                  <a:pt x="1613826" y="5122692"/>
                  <a:pt x="1613206" y="5119181"/>
                </a:cubicBezTo>
                <a:cubicBezTo>
                  <a:pt x="1612122" y="5116290"/>
                  <a:pt x="1613981" y="5113295"/>
                  <a:pt x="1613516" y="5109681"/>
                </a:cubicBezTo>
                <a:cubicBezTo>
                  <a:pt x="1615530" y="5108855"/>
                  <a:pt x="1616769" y="5108339"/>
                  <a:pt x="1617853" y="5108546"/>
                </a:cubicBezTo>
                <a:close/>
                <a:moveTo>
                  <a:pt x="1666645" y="5108133"/>
                </a:moveTo>
                <a:cubicBezTo>
                  <a:pt x="1668504" y="5109785"/>
                  <a:pt x="1671292" y="5112263"/>
                  <a:pt x="1670053" y="5114948"/>
                </a:cubicBezTo>
                <a:cubicBezTo>
                  <a:pt x="1669279" y="5115051"/>
                  <a:pt x="1669279" y="5115877"/>
                  <a:pt x="1668504" y="5115877"/>
                </a:cubicBezTo>
                <a:cubicBezTo>
                  <a:pt x="1668504" y="5115877"/>
                  <a:pt x="1667730" y="5116393"/>
                  <a:pt x="1666490" y="5116600"/>
                </a:cubicBezTo>
                <a:cubicBezTo>
                  <a:pt x="1666026" y="5116703"/>
                  <a:pt x="1665251" y="5116703"/>
                  <a:pt x="1664476" y="5116496"/>
                </a:cubicBezTo>
                <a:cubicBezTo>
                  <a:pt x="1663702" y="5116393"/>
                  <a:pt x="1662774" y="5115980"/>
                  <a:pt x="1661843" y="5115361"/>
                </a:cubicBezTo>
                <a:cubicBezTo>
                  <a:pt x="1660914" y="5114535"/>
                  <a:pt x="1658900" y="5112056"/>
                  <a:pt x="1659675" y="5112056"/>
                </a:cubicBezTo>
                <a:cubicBezTo>
                  <a:pt x="1660295" y="5111127"/>
                  <a:pt x="1659520" y="5111127"/>
                  <a:pt x="1659520" y="5110198"/>
                </a:cubicBezTo>
                <a:cubicBezTo>
                  <a:pt x="1661534" y="5107513"/>
                  <a:pt x="1663857" y="5106481"/>
                  <a:pt x="1666645" y="5108133"/>
                </a:cubicBezTo>
                <a:close/>
                <a:moveTo>
                  <a:pt x="2625143" y="5108029"/>
                </a:moveTo>
                <a:cubicBezTo>
                  <a:pt x="2626072" y="5108855"/>
                  <a:pt x="2626847" y="5108959"/>
                  <a:pt x="2626072" y="5110611"/>
                </a:cubicBezTo>
                <a:cubicBezTo>
                  <a:pt x="2626072" y="5111540"/>
                  <a:pt x="2625298" y="5112366"/>
                  <a:pt x="2625298" y="5113192"/>
                </a:cubicBezTo>
                <a:cubicBezTo>
                  <a:pt x="2625298" y="5113192"/>
                  <a:pt x="2624678" y="5113399"/>
                  <a:pt x="2623904" y="5113502"/>
                </a:cubicBezTo>
                <a:cubicBezTo>
                  <a:pt x="2623284" y="5113502"/>
                  <a:pt x="2622355" y="5113502"/>
                  <a:pt x="2622045" y="5112986"/>
                </a:cubicBezTo>
                <a:cubicBezTo>
                  <a:pt x="2620341" y="5112056"/>
                  <a:pt x="2622665" y="5109681"/>
                  <a:pt x="2622665" y="5108752"/>
                </a:cubicBezTo>
                <a:cubicBezTo>
                  <a:pt x="2623439" y="5107926"/>
                  <a:pt x="2624214" y="5107100"/>
                  <a:pt x="2625143" y="5108029"/>
                </a:cubicBezTo>
                <a:close/>
                <a:moveTo>
                  <a:pt x="1725816" y="5108029"/>
                </a:moveTo>
                <a:cubicBezTo>
                  <a:pt x="1727055" y="5107719"/>
                  <a:pt x="1727674" y="5108236"/>
                  <a:pt x="1728449" y="5108649"/>
                </a:cubicBezTo>
                <a:cubicBezTo>
                  <a:pt x="1728604" y="5109785"/>
                  <a:pt x="1728139" y="5110508"/>
                  <a:pt x="1728294" y="5111747"/>
                </a:cubicBezTo>
                <a:cubicBezTo>
                  <a:pt x="1728913" y="5112160"/>
                  <a:pt x="1730308" y="5113089"/>
                  <a:pt x="1730463" y="5114225"/>
                </a:cubicBezTo>
                <a:cubicBezTo>
                  <a:pt x="1730772" y="5115464"/>
                  <a:pt x="1730463" y="5117322"/>
                  <a:pt x="1730463" y="5117322"/>
                </a:cubicBezTo>
                <a:cubicBezTo>
                  <a:pt x="1729843" y="5117529"/>
                  <a:pt x="1729533" y="5117632"/>
                  <a:pt x="1729533" y="5117529"/>
                </a:cubicBezTo>
                <a:cubicBezTo>
                  <a:pt x="1729379" y="5117529"/>
                  <a:pt x="1729533" y="5117219"/>
                  <a:pt x="1729688" y="5116909"/>
                </a:cubicBezTo>
                <a:cubicBezTo>
                  <a:pt x="1728913" y="5115257"/>
                  <a:pt x="1729533" y="5115774"/>
                  <a:pt x="1729379" y="5114535"/>
                </a:cubicBezTo>
                <a:cubicBezTo>
                  <a:pt x="1729223" y="5113399"/>
                  <a:pt x="1726745" y="5109681"/>
                  <a:pt x="1725661" y="5109991"/>
                </a:cubicBezTo>
                <a:cubicBezTo>
                  <a:pt x="1726125" y="5109269"/>
                  <a:pt x="1725816" y="5108029"/>
                  <a:pt x="1725816" y="5108029"/>
                </a:cubicBezTo>
                <a:close/>
                <a:moveTo>
                  <a:pt x="1963117" y="5107513"/>
                </a:moveTo>
                <a:cubicBezTo>
                  <a:pt x="1963427" y="5108649"/>
                  <a:pt x="1963891" y="5108029"/>
                  <a:pt x="1962962" y="5109372"/>
                </a:cubicBezTo>
                <a:cubicBezTo>
                  <a:pt x="1962807" y="5108236"/>
                  <a:pt x="1962807" y="5108236"/>
                  <a:pt x="1962033" y="5107823"/>
                </a:cubicBezTo>
                <a:cubicBezTo>
                  <a:pt x="1962033" y="5107823"/>
                  <a:pt x="1963117" y="5107513"/>
                  <a:pt x="1963117" y="5107513"/>
                </a:cubicBezTo>
                <a:close/>
                <a:moveTo>
                  <a:pt x="1821696" y="5106171"/>
                </a:moveTo>
                <a:cubicBezTo>
                  <a:pt x="1831765" y="5106997"/>
                  <a:pt x="1839200" y="5110198"/>
                  <a:pt x="1844312" y="5115361"/>
                </a:cubicBezTo>
                <a:cubicBezTo>
                  <a:pt x="1846170" y="5117116"/>
                  <a:pt x="1847564" y="5119181"/>
                  <a:pt x="1848803" y="5121349"/>
                </a:cubicBezTo>
                <a:cubicBezTo>
                  <a:pt x="1843537" y="5126099"/>
                  <a:pt x="1837651" y="5121556"/>
                  <a:pt x="1832539" y="5119491"/>
                </a:cubicBezTo>
                <a:cubicBezTo>
                  <a:pt x="1831920" y="5125686"/>
                  <a:pt x="1832539" y="5134876"/>
                  <a:pt x="1826189" y="5135289"/>
                </a:cubicBezTo>
                <a:cubicBezTo>
                  <a:pt x="1824949" y="5134153"/>
                  <a:pt x="1824330" y="5132811"/>
                  <a:pt x="1824175" y="5131365"/>
                </a:cubicBezTo>
                <a:cubicBezTo>
                  <a:pt x="1823555" y="5126925"/>
                  <a:pt x="1826189" y="5121143"/>
                  <a:pt x="1826034" y="5115567"/>
                </a:cubicBezTo>
                <a:cubicBezTo>
                  <a:pt x="1824639" y="5112470"/>
                  <a:pt x="1820457" y="5112882"/>
                  <a:pt x="1821696" y="5106171"/>
                </a:cubicBezTo>
                <a:close/>
                <a:moveTo>
                  <a:pt x="1855154" y="5105551"/>
                </a:moveTo>
                <a:cubicBezTo>
                  <a:pt x="1858098" y="5105448"/>
                  <a:pt x="1859026" y="5106997"/>
                  <a:pt x="1860731" y="5110094"/>
                </a:cubicBezTo>
                <a:cubicBezTo>
                  <a:pt x="1858717" y="5110404"/>
                  <a:pt x="1857478" y="5110094"/>
                  <a:pt x="1856703" y="5109372"/>
                </a:cubicBezTo>
                <a:cubicBezTo>
                  <a:pt x="1855774" y="5108546"/>
                  <a:pt x="1855464" y="5107307"/>
                  <a:pt x="1855154" y="5105551"/>
                </a:cubicBezTo>
                <a:close/>
                <a:moveTo>
                  <a:pt x="1755401" y="5105448"/>
                </a:moveTo>
                <a:cubicBezTo>
                  <a:pt x="1759119" y="5105035"/>
                  <a:pt x="1761752" y="5105964"/>
                  <a:pt x="1763146" y="5107616"/>
                </a:cubicBezTo>
                <a:cubicBezTo>
                  <a:pt x="1767483" y="5112676"/>
                  <a:pt x="1762061" y="5124241"/>
                  <a:pt x="1753387" y="5123828"/>
                </a:cubicBezTo>
                <a:cubicBezTo>
                  <a:pt x="1752303" y="5122898"/>
                  <a:pt x="1751683" y="5121453"/>
                  <a:pt x="1751374" y="5119904"/>
                </a:cubicBezTo>
                <a:cubicBezTo>
                  <a:pt x="1750444" y="5114948"/>
                  <a:pt x="1752458" y="5108133"/>
                  <a:pt x="1755401" y="5105448"/>
                </a:cubicBezTo>
                <a:close/>
                <a:moveTo>
                  <a:pt x="1735729" y="5105035"/>
                </a:moveTo>
                <a:cubicBezTo>
                  <a:pt x="1737433" y="5115051"/>
                  <a:pt x="1743164" y="5120833"/>
                  <a:pt x="1743009" y="5132398"/>
                </a:cubicBezTo>
                <a:cubicBezTo>
                  <a:pt x="1734799" y="5129920"/>
                  <a:pt x="1727674" y="5109269"/>
                  <a:pt x="1735729" y="5105035"/>
                </a:cubicBezTo>
                <a:close/>
                <a:moveTo>
                  <a:pt x="1666955" y="5105035"/>
                </a:moveTo>
                <a:cubicBezTo>
                  <a:pt x="1667730" y="5104106"/>
                  <a:pt x="1667575" y="5105035"/>
                  <a:pt x="1668349" y="5105035"/>
                </a:cubicBezTo>
                <a:cubicBezTo>
                  <a:pt x="1667885" y="5105551"/>
                  <a:pt x="1667730" y="5105758"/>
                  <a:pt x="1667575" y="5105758"/>
                </a:cubicBezTo>
                <a:cubicBezTo>
                  <a:pt x="1667419" y="5105758"/>
                  <a:pt x="1667265" y="5105551"/>
                  <a:pt x="1666955" y="5105035"/>
                </a:cubicBezTo>
                <a:close/>
                <a:moveTo>
                  <a:pt x="1669433" y="5104519"/>
                </a:moveTo>
                <a:cubicBezTo>
                  <a:pt x="1670363" y="5105345"/>
                  <a:pt x="1671447" y="5106997"/>
                  <a:pt x="1670828" y="5107823"/>
                </a:cubicBezTo>
                <a:cubicBezTo>
                  <a:pt x="1670518" y="5108752"/>
                  <a:pt x="1670053" y="5108752"/>
                  <a:pt x="1669433" y="5108546"/>
                </a:cubicBezTo>
                <a:cubicBezTo>
                  <a:pt x="1668969" y="5108236"/>
                  <a:pt x="1668194" y="5107616"/>
                  <a:pt x="1667265" y="5107307"/>
                </a:cubicBezTo>
                <a:close/>
                <a:moveTo>
                  <a:pt x="2770159" y="5103802"/>
                </a:moveTo>
                <a:lnTo>
                  <a:pt x="2769335" y="5104754"/>
                </a:lnTo>
                <a:lnTo>
                  <a:pt x="2769816" y="5104932"/>
                </a:lnTo>
                <a:cubicBezTo>
                  <a:pt x="2770746" y="5105861"/>
                  <a:pt x="2770746" y="5107204"/>
                  <a:pt x="2770126" y="5108959"/>
                </a:cubicBezTo>
                <a:cubicBezTo>
                  <a:pt x="2769197" y="5109372"/>
                  <a:pt x="2766563" y="5109785"/>
                  <a:pt x="2766873" y="5110611"/>
                </a:cubicBezTo>
                <a:lnTo>
                  <a:pt x="2765250" y="5109472"/>
                </a:lnTo>
                <a:lnTo>
                  <a:pt x="2758990" y="5116703"/>
                </a:lnTo>
                <a:lnTo>
                  <a:pt x="2760213" y="5119904"/>
                </a:lnTo>
                <a:lnTo>
                  <a:pt x="2760522" y="5121246"/>
                </a:lnTo>
                <a:lnTo>
                  <a:pt x="2760832" y="5121453"/>
                </a:lnTo>
                <a:cubicBezTo>
                  <a:pt x="2767028" y="5125583"/>
                  <a:pt x="2772759" y="5129507"/>
                  <a:pt x="2777716" y="5134153"/>
                </a:cubicBezTo>
                <a:cubicBezTo>
                  <a:pt x="2774153" y="5134670"/>
                  <a:pt x="2770746" y="5134153"/>
                  <a:pt x="2767338" y="5133120"/>
                </a:cubicBezTo>
                <a:lnTo>
                  <a:pt x="2763310" y="5131262"/>
                </a:lnTo>
                <a:lnTo>
                  <a:pt x="2765944" y="5137354"/>
                </a:lnTo>
                <a:cubicBezTo>
                  <a:pt x="2767493" y="5140142"/>
                  <a:pt x="2769352" y="5143137"/>
                  <a:pt x="2770900" y="5145924"/>
                </a:cubicBezTo>
                <a:cubicBezTo>
                  <a:pt x="2773999" y="5152120"/>
                  <a:pt x="2776477" y="5157489"/>
                  <a:pt x="2773999" y="5160483"/>
                </a:cubicBezTo>
                <a:cubicBezTo>
                  <a:pt x="2776477" y="5168021"/>
                  <a:pt x="2779265" y="5174836"/>
                  <a:pt x="2781278" y="5181445"/>
                </a:cubicBezTo>
                <a:lnTo>
                  <a:pt x="2783602" y="5186711"/>
                </a:lnTo>
                <a:lnTo>
                  <a:pt x="2790418" y="5183510"/>
                </a:lnTo>
                <a:cubicBezTo>
                  <a:pt x="2794909" y="5188259"/>
                  <a:pt x="2796458" y="5194145"/>
                  <a:pt x="2795994" y="5199927"/>
                </a:cubicBezTo>
                <a:lnTo>
                  <a:pt x="2793206" y="5206639"/>
                </a:lnTo>
                <a:lnTo>
                  <a:pt x="2798937" y="5217068"/>
                </a:lnTo>
                <a:cubicBezTo>
                  <a:pt x="2801415" y="5222437"/>
                  <a:pt x="2804668" y="5227807"/>
                  <a:pt x="2807146" y="5233176"/>
                </a:cubicBezTo>
                <a:cubicBezTo>
                  <a:pt x="2805442" y="5234105"/>
                  <a:pt x="2803893" y="5232143"/>
                  <a:pt x="2802189" y="5233073"/>
                </a:cubicBezTo>
                <a:cubicBezTo>
                  <a:pt x="2801260" y="5233382"/>
                  <a:pt x="2800950" y="5233899"/>
                  <a:pt x="2800950" y="5234415"/>
                </a:cubicBezTo>
                <a:lnTo>
                  <a:pt x="2801725" y="5235964"/>
                </a:lnTo>
                <a:cubicBezTo>
                  <a:pt x="2802499" y="5237410"/>
                  <a:pt x="2804048" y="5238029"/>
                  <a:pt x="2805752" y="5238855"/>
                </a:cubicBezTo>
                <a:lnTo>
                  <a:pt x="2806527" y="5239578"/>
                </a:lnTo>
                <a:lnTo>
                  <a:pt x="2806682" y="5239578"/>
                </a:lnTo>
                <a:cubicBezTo>
                  <a:pt x="2807146" y="5238029"/>
                  <a:pt x="2804048" y="5235448"/>
                  <a:pt x="2807920" y="5234931"/>
                </a:cubicBezTo>
                <a:lnTo>
                  <a:pt x="2814271" y="5243502"/>
                </a:lnTo>
                <a:lnTo>
                  <a:pt x="2816440" y="5243398"/>
                </a:lnTo>
                <a:cubicBezTo>
                  <a:pt x="2816130" y="5244534"/>
                  <a:pt x="2819693" y="5245464"/>
                  <a:pt x="2820932" y="5245773"/>
                </a:cubicBezTo>
                <a:cubicBezTo>
                  <a:pt x="2820467" y="5248148"/>
                  <a:pt x="2824495" y="5249800"/>
                  <a:pt x="2824030" y="5253414"/>
                </a:cubicBezTo>
                <a:lnTo>
                  <a:pt x="2820777" y="5254756"/>
                </a:lnTo>
                <a:lnTo>
                  <a:pt x="2821242" y="5255582"/>
                </a:lnTo>
                <a:cubicBezTo>
                  <a:pt x="2825734" y="5263740"/>
                  <a:pt x="2830226" y="5271897"/>
                  <a:pt x="2835028" y="5277163"/>
                </a:cubicBezTo>
                <a:cubicBezTo>
                  <a:pt x="2832239" y="5278609"/>
                  <a:pt x="2831000" y="5273652"/>
                  <a:pt x="2828832" y="5276027"/>
                </a:cubicBezTo>
                <a:cubicBezTo>
                  <a:pt x="2831620" y="5282842"/>
                  <a:pt x="2839829" y="5275614"/>
                  <a:pt x="2838900" y="5284391"/>
                </a:cubicBezTo>
                <a:cubicBezTo>
                  <a:pt x="2836576" y="5285114"/>
                  <a:pt x="2834873" y="5283875"/>
                  <a:pt x="2833169" y="5280364"/>
                </a:cubicBezTo>
                <a:cubicBezTo>
                  <a:pt x="2831930" y="5288212"/>
                  <a:pt x="2844941" y="5292239"/>
                  <a:pt x="2844321" y="5296575"/>
                </a:cubicBezTo>
                <a:lnTo>
                  <a:pt x="2845251" y="5293581"/>
                </a:lnTo>
                <a:lnTo>
                  <a:pt x="2843237" y="5292858"/>
                </a:lnTo>
                <a:lnTo>
                  <a:pt x="2843702" y="5288831"/>
                </a:lnTo>
                <a:lnTo>
                  <a:pt x="2842772" y="5286456"/>
                </a:lnTo>
                <a:cubicBezTo>
                  <a:pt x="2841533" y="5285320"/>
                  <a:pt x="2840604" y="5282945"/>
                  <a:pt x="2840759" y="5280983"/>
                </a:cubicBezTo>
                <a:cubicBezTo>
                  <a:pt x="2841688" y="5278712"/>
                  <a:pt x="2843237" y="5277886"/>
                  <a:pt x="2844321" y="5278299"/>
                </a:cubicBezTo>
                <a:cubicBezTo>
                  <a:pt x="2853305" y="5280261"/>
                  <a:pt x="2852996" y="5288728"/>
                  <a:pt x="2854389" y="5289967"/>
                </a:cubicBezTo>
                <a:cubicBezTo>
                  <a:pt x="2853305" y="5292548"/>
                  <a:pt x="2852996" y="5293168"/>
                  <a:pt x="2850362" y="5292755"/>
                </a:cubicBezTo>
                <a:lnTo>
                  <a:pt x="2847729" y="5292032"/>
                </a:lnTo>
                <a:lnTo>
                  <a:pt x="2846490" y="5293994"/>
                </a:lnTo>
                <a:lnTo>
                  <a:pt x="2845715" y="5293787"/>
                </a:lnTo>
                <a:lnTo>
                  <a:pt x="2847419" y="5297298"/>
                </a:lnTo>
                <a:cubicBezTo>
                  <a:pt x="2848194" y="5298744"/>
                  <a:pt x="2849123" y="5300292"/>
                  <a:pt x="2850362" y="5302151"/>
                </a:cubicBezTo>
                <a:lnTo>
                  <a:pt x="2852686" y="5306384"/>
                </a:lnTo>
                <a:lnTo>
                  <a:pt x="2853150" y="5305972"/>
                </a:lnTo>
                <a:cubicBezTo>
                  <a:pt x="2854389" y="5305662"/>
                  <a:pt x="2857332" y="5305455"/>
                  <a:pt x="2856868" y="5306178"/>
                </a:cubicBezTo>
                <a:cubicBezTo>
                  <a:pt x="2857023" y="5307417"/>
                  <a:pt x="2857488" y="5306694"/>
                  <a:pt x="2858262" y="5307108"/>
                </a:cubicBezTo>
                <a:cubicBezTo>
                  <a:pt x="2858572" y="5308863"/>
                  <a:pt x="2858572" y="5310412"/>
                  <a:pt x="2858107" y="5311754"/>
                </a:cubicBezTo>
                <a:lnTo>
                  <a:pt x="2856868" y="5312993"/>
                </a:lnTo>
                <a:lnTo>
                  <a:pt x="2863838" y="5320737"/>
                </a:lnTo>
                <a:cubicBezTo>
                  <a:pt x="2866317" y="5322802"/>
                  <a:pt x="2868795" y="5323732"/>
                  <a:pt x="2870809" y="5322802"/>
                </a:cubicBezTo>
                <a:cubicBezTo>
                  <a:pt x="2872822" y="5325693"/>
                  <a:pt x="2868795" y="5326726"/>
                  <a:pt x="2872048" y="5330030"/>
                </a:cubicBezTo>
                <a:lnTo>
                  <a:pt x="2872822" y="5330237"/>
                </a:lnTo>
                <a:lnTo>
                  <a:pt x="2877469" y="5325074"/>
                </a:lnTo>
                <a:lnTo>
                  <a:pt x="2882426" y="5321253"/>
                </a:lnTo>
                <a:lnTo>
                  <a:pt x="2877934" y="5317433"/>
                </a:lnTo>
                <a:cubicBezTo>
                  <a:pt x="2875456" y="5314645"/>
                  <a:pt x="2873132" y="5311651"/>
                  <a:pt x="2871273" y="5308346"/>
                </a:cubicBezTo>
                <a:lnTo>
                  <a:pt x="2869724" y="5304836"/>
                </a:lnTo>
                <a:lnTo>
                  <a:pt x="2866626" y="5305455"/>
                </a:lnTo>
                <a:cubicBezTo>
                  <a:pt x="2865542" y="5305146"/>
                  <a:pt x="2864458" y="5304526"/>
                  <a:pt x="2863683" y="5303287"/>
                </a:cubicBezTo>
                <a:cubicBezTo>
                  <a:pt x="2864768" y="5301635"/>
                  <a:pt x="2864923" y="5299776"/>
                  <a:pt x="2866007" y="5298124"/>
                </a:cubicBezTo>
                <a:lnTo>
                  <a:pt x="2866781" y="5298021"/>
                </a:lnTo>
                <a:lnTo>
                  <a:pt x="2865077" y="5287076"/>
                </a:lnTo>
                <a:cubicBezTo>
                  <a:pt x="2864923" y="5283358"/>
                  <a:pt x="2865387" y="5279641"/>
                  <a:pt x="2866317" y="5276130"/>
                </a:cubicBezTo>
                <a:lnTo>
                  <a:pt x="2867091" y="5274582"/>
                </a:lnTo>
                <a:lnTo>
                  <a:pt x="2865542" y="5271381"/>
                </a:lnTo>
                <a:cubicBezTo>
                  <a:pt x="2865542" y="5269729"/>
                  <a:pt x="2866007" y="5268077"/>
                  <a:pt x="2867401" y="5266941"/>
                </a:cubicBezTo>
                <a:lnTo>
                  <a:pt x="2870189" y="5268077"/>
                </a:lnTo>
                <a:lnTo>
                  <a:pt x="2871118" y="5266011"/>
                </a:lnTo>
                <a:lnTo>
                  <a:pt x="2882735" y="5267044"/>
                </a:lnTo>
                <a:lnTo>
                  <a:pt x="2882890" y="5267044"/>
                </a:lnTo>
                <a:lnTo>
                  <a:pt x="2882890" y="5265185"/>
                </a:lnTo>
                <a:cubicBezTo>
                  <a:pt x="2882890" y="5262914"/>
                  <a:pt x="2882735" y="5261365"/>
                  <a:pt x="2879173" y="5262191"/>
                </a:cubicBezTo>
                <a:cubicBezTo>
                  <a:pt x="2880567" y="5260332"/>
                  <a:pt x="2880258" y="5257235"/>
                  <a:pt x="2879638" y="5254756"/>
                </a:cubicBezTo>
                <a:cubicBezTo>
                  <a:pt x="2878554" y="5251452"/>
                  <a:pt x="2876695" y="5248561"/>
                  <a:pt x="2874991" y="5245050"/>
                </a:cubicBezTo>
                <a:cubicBezTo>
                  <a:pt x="2873132" y="5245980"/>
                  <a:pt x="2873287" y="5247632"/>
                  <a:pt x="2874216" y="5249387"/>
                </a:cubicBezTo>
                <a:cubicBezTo>
                  <a:pt x="2871118" y="5249904"/>
                  <a:pt x="2871428" y="5244741"/>
                  <a:pt x="2870809" y="5239991"/>
                </a:cubicBezTo>
                <a:cubicBezTo>
                  <a:pt x="2870189" y="5235344"/>
                  <a:pt x="2868795" y="5231111"/>
                  <a:pt x="2863529" y="5231730"/>
                </a:cubicBezTo>
                <a:cubicBezTo>
                  <a:pt x="2864613" y="5230594"/>
                  <a:pt x="2865542" y="5230078"/>
                  <a:pt x="2865387" y="5228529"/>
                </a:cubicBezTo>
                <a:cubicBezTo>
                  <a:pt x="2862754" y="5227704"/>
                  <a:pt x="2863064" y="5230801"/>
                  <a:pt x="2859656" y="5228219"/>
                </a:cubicBezTo>
                <a:cubicBezTo>
                  <a:pt x="2858727" y="5224192"/>
                  <a:pt x="2860586" y="5225535"/>
                  <a:pt x="2863838" y="5224296"/>
                </a:cubicBezTo>
                <a:cubicBezTo>
                  <a:pt x="2858417" y="5223367"/>
                  <a:pt x="2853615" y="5220372"/>
                  <a:pt x="2848813" y="5217378"/>
                </a:cubicBezTo>
                <a:cubicBezTo>
                  <a:pt x="2850672" y="5216448"/>
                  <a:pt x="2852996" y="5213454"/>
                  <a:pt x="2849898" y="5207878"/>
                </a:cubicBezTo>
                <a:cubicBezTo>
                  <a:pt x="2848503" y="5218101"/>
                  <a:pt x="2839055" y="5205400"/>
                  <a:pt x="2845406" y="5202096"/>
                </a:cubicBezTo>
                <a:cubicBezTo>
                  <a:pt x="2843547" y="5200753"/>
                  <a:pt x="2837971" y="5198275"/>
                  <a:pt x="2838745" y="5202303"/>
                </a:cubicBezTo>
                <a:cubicBezTo>
                  <a:pt x="2837971" y="5200444"/>
                  <a:pt x="2841223" y="5188673"/>
                  <a:pt x="2831775" y="5188776"/>
                </a:cubicBezTo>
                <a:cubicBezTo>
                  <a:pt x="2832394" y="5185575"/>
                  <a:pt x="2832085" y="5182477"/>
                  <a:pt x="2831155" y="5179586"/>
                </a:cubicBezTo>
                <a:lnTo>
                  <a:pt x="2828367" y="5174526"/>
                </a:lnTo>
                <a:lnTo>
                  <a:pt x="2826973" y="5176282"/>
                </a:lnTo>
                <a:lnTo>
                  <a:pt x="2828212" y="5176901"/>
                </a:lnTo>
                <a:cubicBezTo>
                  <a:pt x="2828987" y="5177624"/>
                  <a:pt x="2829761" y="5178760"/>
                  <a:pt x="2830071" y="5180722"/>
                </a:cubicBezTo>
                <a:cubicBezTo>
                  <a:pt x="2828367" y="5181754"/>
                  <a:pt x="2827747" y="5179276"/>
                  <a:pt x="2826818" y="5177521"/>
                </a:cubicBezTo>
                <a:cubicBezTo>
                  <a:pt x="2823875" y="5181135"/>
                  <a:pt x="2822791" y="5185472"/>
                  <a:pt x="2822791" y="5190221"/>
                </a:cubicBezTo>
                <a:lnTo>
                  <a:pt x="2823875" y="5195074"/>
                </a:lnTo>
                <a:lnTo>
                  <a:pt x="2826354" y="5194868"/>
                </a:lnTo>
                <a:cubicBezTo>
                  <a:pt x="2827438" y="5194868"/>
                  <a:pt x="2828212" y="5195074"/>
                  <a:pt x="2828677" y="5195590"/>
                </a:cubicBezTo>
                <a:cubicBezTo>
                  <a:pt x="2828367" y="5196417"/>
                  <a:pt x="2828057" y="5197140"/>
                  <a:pt x="2826818" y="5197449"/>
                </a:cubicBezTo>
                <a:cubicBezTo>
                  <a:pt x="2825734" y="5197759"/>
                  <a:pt x="2826198" y="5197036"/>
                  <a:pt x="2825734" y="5197759"/>
                </a:cubicBezTo>
                <a:cubicBezTo>
                  <a:pt x="2824650" y="5198172"/>
                  <a:pt x="2825424" y="5198585"/>
                  <a:pt x="2825424" y="5198585"/>
                </a:cubicBezTo>
                <a:cubicBezTo>
                  <a:pt x="2825424" y="5198585"/>
                  <a:pt x="2824650" y="5198172"/>
                  <a:pt x="2824650" y="5198172"/>
                </a:cubicBezTo>
                <a:cubicBezTo>
                  <a:pt x="2824650" y="5198172"/>
                  <a:pt x="2824650" y="5198172"/>
                  <a:pt x="2824495" y="5198275"/>
                </a:cubicBezTo>
                <a:lnTo>
                  <a:pt x="2825424" y="5202818"/>
                </a:lnTo>
                <a:lnTo>
                  <a:pt x="2825579" y="5202818"/>
                </a:lnTo>
                <a:cubicBezTo>
                  <a:pt x="2828522" y="5202612"/>
                  <a:pt x="2831310" y="5203128"/>
                  <a:pt x="2833788" y="5204161"/>
                </a:cubicBezTo>
                <a:cubicBezTo>
                  <a:pt x="2841998" y="5207465"/>
                  <a:pt x="2847574" y="5216758"/>
                  <a:pt x="2846645" y="5227497"/>
                </a:cubicBezTo>
                <a:cubicBezTo>
                  <a:pt x="2845406" y="5227910"/>
                  <a:pt x="2844321" y="5228323"/>
                  <a:pt x="2844631" y="5229459"/>
                </a:cubicBezTo>
                <a:cubicBezTo>
                  <a:pt x="2841843" y="5230698"/>
                  <a:pt x="2839055" y="5231214"/>
                  <a:pt x="2836267" y="5231008"/>
                </a:cubicBezTo>
                <a:cubicBezTo>
                  <a:pt x="2827902" y="5230594"/>
                  <a:pt x="2819848" y="5224503"/>
                  <a:pt x="2817060" y="5216655"/>
                </a:cubicBezTo>
                <a:cubicBezTo>
                  <a:pt x="2816440" y="5214900"/>
                  <a:pt x="2815975" y="5213041"/>
                  <a:pt x="2815821" y="5211182"/>
                </a:cubicBezTo>
                <a:lnTo>
                  <a:pt x="2816440" y="5205813"/>
                </a:lnTo>
                <a:lnTo>
                  <a:pt x="2815356" y="5205710"/>
                </a:lnTo>
                <a:cubicBezTo>
                  <a:pt x="2813962" y="5205193"/>
                  <a:pt x="2813187" y="5204264"/>
                  <a:pt x="2812878" y="5202922"/>
                </a:cubicBezTo>
                <a:lnTo>
                  <a:pt x="2812878" y="5202612"/>
                </a:lnTo>
                <a:lnTo>
                  <a:pt x="2812103" y="5202612"/>
                </a:lnTo>
                <a:cubicBezTo>
                  <a:pt x="2811019" y="5200960"/>
                  <a:pt x="2811019" y="5200960"/>
                  <a:pt x="2811328" y="5200237"/>
                </a:cubicBezTo>
                <a:cubicBezTo>
                  <a:pt x="2811019" y="5200960"/>
                  <a:pt x="2810244" y="5200547"/>
                  <a:pt x="2809160" y="5200857"/>
                </a:cubicBezTo>
                <a:cubicBezTo>
                  <a:pt x="2804978" y="5203335"/>
                  <a:pt x="2802035" y="5199721"/>
                  <a:pt x="2799711" y="5194558"/>
                </a:cubicBezTo>
                <a:cubicBezTo>
                  <a:pt x="2800796" y="5194145"/>
                  <a:pt x="2799246" y="5191357"/>
                  <a:pt x="2799092" y="5189395"/>
                </a:cubicBezTo>
                <a:lnTo>
                  <a:pt x="2799401" y="5188879"/>
                </a:lnTo>
                <a:lnTo>
                  <a:pt x="2795994" y="5188053"/>
                </a:lnTo>
                <a:cubicBezTo>
                  <a:pt x="2796923" y="5185678"/>
                  <a:pt x="2797388" y="5184646"/>
                  <a:pt x="2797543" y="5182684"/>
                </a:cubicBezTo>
                <a:cubicBezTo>
                  <a:pt x="2800796" y="5183922"/>
                  <a:pt x="2803429" y="5183922"/>
                  <a:pt x="2805442" y="5184439"/>
                </a:cubicBezTo>
                <a:lnTo>
                  <a:pt x="2806836" y="5185058"/>
                </a:lnTo>
                <a:lnTo>
                  <a:pt x="2809160" y="5185265"/>
                </a:lnTo>
                <a:cubicBezTo>
                  <a:pt x="2811328" y="5185884"/>
                  <a:pt x="2813032" y="5187124"/>
                  <a:pt x="2813652" y="5188982"/>
                </a:cubicBezTo>
                <a:cubicBezTo>
                  <a:pt x="2814581" y="5190944"/>
                  <a:pt x="2815046" y="5192700"/>
                  <a:pt x="2815046" y="5194145"/>
                </a:cubicBezTo>
                <a:lnTo>
                  <a:pt x="2814426" y="5197036"/>
                </a:lnTo>
                <a:lnTo>
                  <a:pt x="2818764" y="5194868"/>
                </a:lnTo>
                <a:lnTo>
                  <a:pt x="2819073" y="5196107"/>
                </a:lnTo>
                <a:lnTo>
                  <a:pt x="2820157" y="5195797"/>
                </a:lnTo>
                <a:lnTo>
                  <a:pt x="2819383" y="5193525"/>
                </a:lnTo>
                <a:cubicBezTo>
                  <a:pt x="2819073" y="5190738"/>
                  <a:pt x="2819228" y="5188156"/>
                  <a:pt x="2819538" y="5186504"/>
                </a:cubicBezTo>
                <a:cubicBezTo>
                  <a:pt x="2818299" y="5186091"/>
                  <a:pt x="2817369" y="5185368"/>
                  <a:pt x="2816440" y="5184439"/>
                </a:cubicBezTo>
                <a:lnTo>
                  <a:pt x="2814271" y="5181754"/>
                </a:lnTo>
                <a:lnTo>
                  <a:pt x="2813807" y="5181961"/>
                </a:lnTo>
                <a:cubicBezTo>
                  <a:pt x="2808076" y="5182167"/>
                  <a:pt x="2802189" y="5180309"/>
                  <a:pt x="2797853" y="5176488"/>
                </a:cubicBezTo>
                <a:lnTo>
                  <a:pt x="2797233" y="5175766"/>
                </a:lnTo>
                <a:lnTo>
                  <a:pt x="2797697" y="5177108"/>
                </a:lnTo>
                <a:cubicBezTo>
                  <a:pt x="2797543" y="5178347"/>
                  <a:pt x="2797543" y="5178347"/>
                  <a:pt x="2796768" y="5178863"/>
                </a:cubicBezTo>
                <a:cubicBezTo>
                  <a:pt x="2795994" y="5180515"/>
                  <a:pt x="2795839" y="5181651"/>
                  <a:pt x="2793980" y="5181754"/>
                </a:cubicBezTo>
                <a:cubicBezTo>
                  <a:pt x="2792431" y="5181754"/>
                  <a:pt x="2791502" y="5181135"/>
                  <a:pt x="2791037" y="5180206"/>
                </a:cubicBezTo>
                <a:cubicBezTo>
                  <a:pt x="2790572" y="5179379"/>
                  <a:pt x="2790418" y="5178037"/>
                  <a:pt x="2790418" y="5176488"/>
                </a:cubicBezTo>
                <a:cubicBezTo>
                  <a:pt x="2790263" y="5173287"/>
                  <a:pt x="2792741" y="5172668"/>
                  <a:pt x="2793206" y="5170293"/>
                </a:cubicBezTo>
                <a:lnTo>
                  <a:pt x="2794445" y="5171222"/>
                </a:lnTo>
                <a:lnTo>
                  <a:pt x="2795994" y="5168641"/>
                </a:lnTo>
                <a:lnTo>
                  <a:pt x="2795839" y="5168744"/>
                </a:lnTo>
                <a:cubicBezTo>
                  <a:pt x="2796303" y="5165853"/>
                  <a:pt x="2795994" y="5163581"/>
                  <a:pt x="2795064" y="5161826"/>
                </a:cubicBezTo>
                <a:lnTo>
                  <a:pt x="2792431" y="5158728"/>
                </a:lnTo>
                <a:lnTo>
                  <a:pt x="2789488" y="5158521"/>
                </a:lnTo>
                <a:cubicBezTo>
                  <a:pt x="2783292" y="5155940"/>
                  <a:pt x="2778490" y="5148093"/>
                  <a:pt x="2776631" y="5143137"/>
                </a:cubicBezTo>
                <a:cubicBezTo>
                  <a:pt x="2780194" y="5144995"/>
                  <a:pt x="2783757" y="5146647"/>
                  <a:pt x="2787164" y="5149022"/>
                </a:cubicBezTo>
                <a:cubicBezTo>
                  <a:pt x="2788868" y="5150158"/>
                  <a:pt x="2790572" y="5151500"/>
                  <a:pt x="2792122" y="5153152"/>
                </a:cubicBezTo>
                <a:lnTo>
                  <a:pt x="2792896" y="5154288"/>
                </a:lnTo>
                <a:lnTo>
                  <a:pt x="2793515" y="5152739"/>
                </a:lnTo>
                <a:cubicBezTo>
                  <a:pt x="2792276" y="5150054"/>
                  <a:pt x="2784996" y="5147680"/>
                  <a:pt x="2787320" y="5142723"/>
                </a:cubicBezTo>
                <a:cubicBezTo>
                  <a:pt x="2783602" y="5138593"/>
                  <a:pt x="2785151" y="5148816"/>
                  <a:pt x="2780659" y="5145202"/>
                </a:cubicBezTo>
                <a:cubicBezTo>
                  <a:pt x="2778490" y="5138490"/>
                  <a:pt x="2777096" y="5129816"/>
                  <a:pt x="2775857" y="5121040"/>
                </a:cubicBezTo>
                <a:lnTo>
                  <a:pt x="2774928" y="5117116"/>
                </a:lnTo>
                <a:lnTo>
                  <a:pt x="2774153" y="5117219"/>
                </a:lnTo>
                <a:cubicBezTo>
                  <a:pt x="2773379" y="5117632"/>
                  <a:pt x="2772759" y="5116083"/>
                  <a:pt x="2772759" y="5116083"/>
                </a:cubicBezTo>
                <a:cubicBezTo>
                  <a:pt x="2771985" y="5116496"/>
                  <a:pt x="2771210" y="5116909"/>
                  <a:pt x="2770126" y="5116496"/>
                </a:cubicBezTo>
                <a:cubicBezTo>
                  <a:pt x="2770591" y="5115361"/>
                  <a:pt x="2769816" y="5115774"/>
                  <a:pt x="2769507" y="5115051"/>
                </a:cubicBezTo>
                <a:cubicBezTo>
                  <a:pt x="2769971" y="5115154"/>
                  <a:pt x="2770900" y="5114948"/>
                  <a:pt x="2771830" y="5114741"/>
                </a:cubicBezTo>
                <a:lnTo>
                  <a:pt x="2774153" y="5114225"/>
                </a:lnTo>
                <a:lnTo>
                  <a:pt x="2772914" y="5108649"/>
                </a:lnTo>
                <a:close/>
                <a:moveTo>
                  <a:pt x="2020351" y="5103512"/>
                </a:moveTo>
                <a:cubicBezTo>
                  <a:pt x="2022171" y="5104260"/>
                  <a:pt x="2024146" y="5105654"/>
                  <a:pt x="2026779" y="5106274"/>
                </a:cubicBezTo>
                <a:cubicBezTo>
                  <a:pt x="2025850" y="5108546"/>
                  <a:pt x="2023681" y="5109785"/>
                  <a:pt x="2021358" y="5110198"/>
                </a:cubicBezTo>
                <a:cubicBezTo>
                  <a:pt x="2019034" y="5110508"/>
                  <a:pt x="2016711" y="5109991"/>
                  <a:pt x="2015471" y="5108546"/>
                </a:cubicBezTo>
                <a:cubicBezTo>
                  <a:pt x="2014697" y="5107616"/>
                  <a:pt x="2014387" y="5106274"/>
                  <a:pt x="2014852" y="5104622"/>
                </a:cubicBezTo>
                <a:cubicBezTo>
                  <a:pt x="2016866" y="5102660"/>
                  <a:pt x="2018531" y="5102763"/>
                  <a:pt x="2020351" y="5103512"/>
                </a:cubicBezTo>
                <a:close/>
                <a:moveTo>
                  <a:pt x="2288283" y="5100801"/>
                </a:moveTo>
                <a:cubicBezTo>
                  <a:pt x="2289987" y="5101731"/>
                  <a:pt x="2290877" y="5104157"/>
                  <a:pt x="2290413" y="5106687"/>
                </a:cubicBezTo>
                <a:cubicBezTo>
                  <a:pt x="2290103" y="5108442"/>
                  <a:pt x="2289174" y="5110094"/>
                  <a:pt x="2287469" y="5111540"/>
                </a:cubicBezTo>
                <a:cubicBezTo>
                  <a:pt x="2286850" y="5111437"/>
                  <a:pt x="2286231" y="5111127"/>
                  <a:pt x="2285456" y="5110611"/>
                </a:cubicBezTo>
                <a:lnTo>
                  <a:pt x="2285146" y="5110404"/>
                </a:lnTo>
                <a:lnTo>
                  <a:pt x="2282204" y="5114741"/>
                </a:lnTo>
                <a:cubicBezTo>
                  <a:pt x="2281274" y="5114121"/>
                  <a:pt x="2280654" y="5113295"/>
                  <a:pt x="2280344" y="5112263"/>
                </a:cubicBezTo>
                <a:cubicBezTo>
                  <a:pt x="2279880" y="5110714"/>
                  <a:pt x="2279880" y="5108855"/>
                  <a:pt x="2280344" y="5107100"/>
                </a:cubicBezTo>
                <a:lnTo>
                  <a:pt x="2281739" y="5105035"/>
                </a:lnTo>
                <a:lnTo>
                  <a:pt x="2281274" y="5103899"/>
                </a:lnTo>
                <a:cubicBezTo>
                  <a:pt x="2284062" y="5100440"/>
                  <a:pt x="2286579" y="5099872"/>
                  <a:pt x="2288283" y="5100801"/>
                </a:cubicBezTo>
                <a:close/>
                <a:moveTo>
                  <a:pt x="1678108" y="5100388"/>
                </a:moveTo>
                <a:cubicBezTo>
                  <a:pt x="1678882" y="5100388"/>
                  <a:pt x="1679038" y="5101214"/>
                  <a:pt x="1679966" y="5102041"/>
                </a:cubicBezTo>
                <a:cubicBezTo>
                  <a:pt x="1681051" y="5103693"/>
                  <a:pt x="1681360" y="5106274"/>
                  <a:pt x="1680741" y="5107204"/>
                </a:cubicBezTo>
                <a:cubicBezTo>
                  <a:pt x="1679966" y="5108133"/>
                  <a:pt x="1679192" y="5108133"/>
                  <a:pt x="1679192" y="5108133"/>
                </a:cubicBezTo>
                <a:cubicBezTo>
                  <a:pt x="1676404" y="5106584"/>
                  <a:pt x="1674390" y="5104106"/>
                  <a:pt x="1676559" y="5101421"/>
                </a:cubicBezTo>
                <a:cubicBezTo>
                  <a:pt x="1677333" y="5100492"/>
                  <a:pt x="1677953" y="5099562"/>
                  <a:pt x="1678108" y="5100388"/>
                </a:cubicBezTo>
                <a:close/>
                <a:moveTo>
                  <a:pt x="2612287" y="5099872"/>
                </a:moveTo>
                <a:cubicBezTo>
                  <a:pt x="2613526" y="5101008"/>
                  <a:pt x="2614145" y="5102247"/>
                  <a:pt x="2614455" y="5103486"/>
                </a:cubicBezTo>
                <a:lnTo>
                  <a:pt x="2614300" y="5104209"/>
                </a:lnTo>
                <a:lnTo>
                  <a:pt x="2615075" y="5104932"/>
                </a:lnTo>
                <a:lnTo>
                  <a:pt x="2613836" y="5105758"/>
                </a:lnTo>
                <a:lnTo>
                  <a:pt x="2613526" y="5107100"/>
                </a:lnTo>
                <a:cubicBezTo>
                  <a:pt x="2611822" y="5107719"/>
                  <a:pt x="2610118" y="5106584"/>
                  <a:pt x="2608569" y="5105448"/>
                </a:cubicBezTo>
                <a:cubicBezTo>
                  <a:pt x="2607330" y="5104415"/>
                  <a:pt x="2607020" y="5103486"/>
                  <a:pt x="2607175" y="5102660"/>
                </a:cubicBezTo>
                <a:cubicBezTo>
                  <a:pt x="2607330" y="5101731"/>
                  <a:pt x="2607950" y="5101008"/>
                  <a:pt x="2608879" y="5100285"/>
                </a:cubicBezTo>
                <a:cubicBezTo>
                  <a:pt x="2610583" y="5098737"/>
                  <a:pt x="2612287" y="5099872"/>
                  <a:pt x="2612287" y="5099872"/>
                </a:cubicBezTo>
                <a:close/>
                <a:moveTo>
                  <a:pt x="1544006" y="5099833"/>
                </a:moveTo>
                <a:cubicBezTo>
                  <a:pt x="1546252" y="5099666"/>
                  <a:pt x="1548150" y="5100388"/>
                  <a:pt x="1549234" y="5103176"/>
                </a:cubicBezTo>
                <a:cubicBezTo>
                  <a:pt x="1548305" y="5107100"/>
                  <a:pt x="1545981" y="5108959"/>
                  <a:pt x="1543658" y="5109372"/>
                </a:cubicBezTo>
                <a:cubicBezTo>
                  <a:pt x="1541180" y="5109785"/>
                  <a:pt x="1538546" y="5108752"/>
                  <a:pt x="1537307" y="5106790"/>
                </a:cubicBezTo>
                <a:cubicBezTo>
                  <a:pt x="1536378" y="5105551"/>
                  <a:pt x="1536069" y="5103796"/>
                  <a:pt x="1536687" y="5101834"/>
                </a:cubicBezTo>
                <a:cubicBezTo>
                  <a:pt x="1539166" y="5101059"/>
                  <a:pt x="1541760" y="5100001"/>
                  <a:pt x="1544006" y="5099833"/>
                </a:cubicBezTo>
                <a:close/>
                <a:moveTo>
                  <a:pt x="2311943" y="5099046"/>
                </a:moveTo>
                <a:cubicBezTo>
                  <a:pt x="2311943" y="5099046"/>
                  <a:pt x="2311943" y="5099046"/>
                  <a:pt x="2312872" y="5099046"/>
                </a:cubicBezTo>
                <a:cubicBezTo>
                  <a:pt x="2312408" y="5102557"/>
                  <a:pt x="2313956" y="5106893"/>
                  <a:pt x="2312562" y="5109681"/>
                </a:cubicBezTo>
                <a:cubicBezTo>
                  <a:pt x="2312253" y="5110094"/>
                  <a:pt x="2311943" y="5110611"/>
                  <a:pt x="2311323" y="5110714"/>
                </a:cubicBezTo>
                <a:cubicBezTo>
                  <a:pt x="2310858" y="5110920"/>
                  <a:pt x="2310239" y="5110714"/>
                  <a:pt x="2309310" y="5109888"/>
                </a:cubicBezTo>
                <a:cubicBezTo>
                  <a:pt x="2307451" y="5109062"/>
                  <a:pt x="2307451" y="5108236"/>
                  <a:pt x="2308690" y="5105448"/>
                </a:cubicBezTo>
                <a:cubicBezTo>
                  <a:pt x="2310084" y="5103589"/>
                  <a:pt x="2310704" y="5101834"/>
                  <a:pt x="2311478" y="5101834"/>
                </a:cubicBezTo>
                <a:cubicBezTo>
                  <a:pt x="2311323" y="5100905"/>
                  <a:pt x="2312098" y="5099975"/>
                  <a:pt x="2311943" y="5099046"/>
                </a:cubicBezTo>
                <a:close/>
                <a:moveTo>
                  <a:pt x="2147289" y="5098943"/>
                </a:moveTo>
                <a:cubicBezTo>
                  <a:pt x="2148373" y="5098633"/>
                  <a:pt x="2149457" y="5098323"/>
                  <a:pt x="2151006" y="5099149"/>
                </a:cubicBezTo>
                <a:cubicBezTo>
                  <a:pt x="2151935" y="5101524"/>
                  <a:pt x="2150077" y="5103383"/>
                  <a:pt x="2150542" y="5104519"/>
                </a:cubicBezTo>
                <a:cubicBezTo>
                  <a:pt x="2149767" y="5104106"/>
                  <a:pt x="2148218" y="5103280"/>
                  <a:pt x="2146669" y="5104415"/>
                </a:cubicBezTo>
                <a:cubicBezTo>
                  <a:pt x="2145895" y="5102041"/>
                  <a:pt x="2145120" y="5099562"/>
                  <a:pt x="2147289" y="5098943"/>
                </a:cubicBezTo>
                <a:close/>
                <a:moveTo>
                  <a:pt x="1749360" y="5098323"/>
                </a:moveTo>
                <a:cubicBezTo>
                  <a:pt x="1752458" y="5099046"/>
                  <a:pt x="1753387" y="5102247"/>
                  <a:pt x="1752923" y="5105551"/>
                </a:cubicBezTo>
                <a:cubicBezTo>
                  <a:pt x="1752303" y="5108855"/>
                  <a:pt x="1750444" y="5112160"/>
                  <a:pt x="1747656" y="5113295"/>
                </a:cubicBezTo>
                <a:cubicBezTo>
                  <a:pt x="1746882" y="5111850"/>
                  <a:pt x="1746262" y="5110611"/>
                  <a:pt x="1745797" y="5109269"/>
                </a:cubicBezTo>
                <a:cubicBezTo>
                  <a:pt x="1744403" y="5105448"/>
                  <a:pt x="1745023" y="5101937"/>
                  <a:pt x="1749360" y="5098323"/>
                </a:cubicBezTo>
                <a:close/>
                <a:moveTo>
                  <a:pt x="2351287" y="5097807"/>
                </a:moveTo>
                <a:cubicBezTo>
                  <a:pt x="2354075" y="5098840"/>
                  <a:pt x="2356398" y="5097290"/>
                  <a:pt x="2360270" y="5099562"/>
                </a:cubicBezTo>
                <a:lnTo>
                  <a:pt x="2357792" y="5111024"/>
                </a:lnTo>
                <a:lnTo>
                  <a:pt x="2358102" y="5112573"/>
                </a:lnTo>
                <a:cubicBezTo>
                  <a:pt x="2358257" y="5113502"/>
                  <a:pt x="2358102" y="5114328"/>
                  <a:pt x="2357637" y="5114741"/>
                </a:cubicBezTo>
                <a:lnTo>
                  <a:pt x="2356863" y="5115154"/>
                </a:lnTo>
                <a:lnTo>
                  <a:pt x="2355314" y="5122176"/>
                </a:lnTo>
                <a:cubicBezTo>
                  <a:pt x="2353920" y="5129507"/>
                  <a:pt x="2352680" y="5136425"/>
                  <a:pt x="2350357" y="5142723"/>
                </a:cubicBezTo>
                <a:cubicBezTo>
                  <a:pt x="2342922" y="5130952"/>
                  <a:pt x="2349118" y="5113399"/>
                  <a:pt x="2351287" y="5097807"/>
                </a:cubicBezTo>
                <a:close/>
                <a:moveTo>
                  <a:pt x="1622500" y="5097704"/>
                </a:moveTo>
                <a:cubicBezTo>
                  <a:pt x="1625443" y="5102041"/>
                  <a:pt x="1630245" y="5103899"/>
                  <a:pt x="1630400" y="5107100"/>
                </a:cubicBezTo>
                <a:cubicBezTo>
                  <a:pt x="1630400" y="5108133"/>
                  <a:pt x="1629935" y="5109269"/>
                  <a:pt x="1628696" y="5110714"/>
                </a:cubicBezTo>
                <a:cubicBezTo>
                  <a:pt x="1626837" y="5110094"/>
                  <a:pt x="1622810" y="5107307"/>
                  <a:pt x="1620951" y="5104209"/>
                </a:cubicBezTo>
                <a:cubicBezTo>
                  <a:pt x="1620176" y="5103280"/>
                  <a:pt x="1619867" y="5102144"/>
                  <a:pt x="1619867" y="5101214"/>
                </a:cubicBezTo>
                <a:cubicBezTo>
                  <a:pt x="1619867" y="5099872"/>
                  <a:pt x="1620641" y="5098633"/>
                  <a:pt x="1622500" y="5097704"/>
                </a:cubicBezTo>
                <a:close/>
                <a:moveTo>
                  <a:pt x="1768993" y="5096555"/>
                </a:moveTo>
                <a:cubicBezTo>
                  <a:pt x="1770620" y="5094890"/>
                  <a:pt x="1773369" y="5094606"/>
                  <a:pt x="1775228" y="5098220"/>
                </a:cubicBezTo>
                <a:cubicBezTo>
                  <a:pt x="1772749" y="5100698"/>
                  <a:pt x="1771045" y="5102350"/>
                  <a:pt x="1769497" y="5103176"/>
                </a:cubicBezTo>
                <a:cubicBezTo>
                  <a:pt x="1766863" y="5101266"/>
                  <a:pt x="1767367" y="5098220"/>
                  <a:pt x="1768993" y="5096555"/>
                </a:cubicBezTo>
                <a:close/>
                <a:moveTo>
                  <a:pt x="2085795" y="5096465"/>
                </a:moveTo>
                <a:cubicBezTo>
                  <a:pt x="2087034" y="5097187"/>
                  <a:pt x="2087963" y="5098220"/>
                  <a:pt x="2088273" y="5099769"/>
                </a:cubicBezTo>
                <a:cubicBezTo>
                  <a:pt x="2088738" y="5101731"/>
                  <a:pt x="2088273" y="5104209"/>
                  <a:pt x="2086105" y="5107100"/>
                </a:cubicBezTo>
                <a:cubicBezTo>
                  <a:pt x="2081922" y="5107513"/>
                  <a:pt x="2080373" y="5105551"/>
                  <a:pt x="2077430" y="5104828"/>
                </a:cubicBezTo>
                <a:cubicBezTo>
                  <a:pt x="2076656" y="5096052"/>
                  <a:pt x="2082387" y="5094296"/>
                  <a:pt x="2085795" y="5096465"/>
                </a:cubicBezTo>
                <a:close/>
                <a:moveTo>
                  <a:pt x="1791802" y="5096465"/>
                </a:moveTo>
                <a:cubicBezTo>
                  <a:pt x="1795519" y="5098840"/>
                  <a:pt x="1796758" y="5096155"/>
                  <a:pt x="1802489" y="5100182"/>
                </a:cubicBezTo>
                <a:cubicBezTo>
                  <a:pt x="1808066" y="5103796"/>
                  <a:pt x="1808995" y="5108133"/>
                  <a:pt x="1808221" y="5111643"/>
                </a:cubicBezTo>
                <a:lnTo>
                  <a:pt x="1807291" y="5114225"/>
                </a:lnTo>
                <a:lnTo>
                  <a:pt x="1809150" y="5115980"/>
                </a:lnTo>
                <a:cubicBezTo>
                  <a:pt x="1802799" y="5120833"/>
                  <a:pt x="1812093" y="5124757"/>
                  <a:pt x="1807291" y="5128784"/>
                </a:cubicBezTo>
                <a:cubicBezTo>
                  <a:pt x="1804813" y="5129404"/>
                  <a:pt x="1802334" y="5130849"/>
                  <a:pt x="1799546" y="5130436"/>
                </a:cubicBezTo>
                <a:cubicBezTo>
                  <a:pt x="1798617" y="5130333"/>
                  <a:pt x="1797533" y="5129920"/>
                  <a:pt x="1796448" y="5129197"/>
                </a:cubicBezTo>
                <a:cubicBezTo>
                  <a:pt x="1798462" y="5126306"/>
                  <a:pt x="1799546" y="5123518"/>
                  <a:pt x="1800476" y="5120730"/>
                </a:cubicBezTo>
                <a:lnTo>
                  <a:pt x="1801250" y="5118458"/>
                </a:lnTo>
                <a:lnTo>
                  <a:pt x="1798617" y="5119181"/>
                </a:lnTo>
                <a:cubicBezTo>
                  <a:pt x="1797068" y="5119181"/>
                  <a:pt x="1795209" y="5118665"/>
                  <a:pt x="1793041" y="5117322"/>
                </a:cubicBezTo>
                <a:cubicBezTo>
                  <a:pt x="1788394" y="5114018"/>
                  <a:pt x="1784367" y="5109062"/>
                  <a:pt x="1789168" y="5101834"/>
                </a:cubicBezTo>
                <a:cubicBezTo>
                  <a:pt x="1789788" y="5099975"/>
                  <a:pt x="1789943" y="5100905"/>
                  <a:pt x="1790562" y="5099975"/>
                </a:cubicBezTo>
                <a:cubicBezTo>
                  <a:pt x="1791337" y="5099046"/>
                  <a:pt x="1791957" y="5097290"/>
                  <a:pt x="1791802" y="5096465"/>
                </a:cubicBezTo>
                <a:close/>
                <a:moveTo>
                  <a:pt x="2564211" y="5096310"/>
                </a:moveTo>
                <a:cubicBezTo>
                  <a:pt x="2566089" y="5094580"/>
                  <a:pt x="2568529" y="5093883"/>
                  <a:pt x="2570155" y="5096671"/>
                </a:cubicBezTo>
                <a:cubicBezTo>
                  <a:pt x="2570620" y="5097394"/>
                  <a:pt x="2570620" y="5098323"/>
                  <a:pt x="2570155" y="5099252"/>
                </a:cubicBezTo>
                <a:cubicBezTo>
                  <a:pt x="2569071" y="5101421"/>
                  <a:pt x="2565973" y="5103486"/>
                  <a:pt x="2563649" y="5103280"/>
                </a:cubicBezTo>
                <a:cubicBezTo>
                  <a:pt x="2562875" y="5103176"/>
                  <a:pt x="2562100" y="5102867"/>
                  <a:pt x="2561636" y="5102144"/>
                </a:cubicBezTo>
                <a:cubicBezTo>
                  <a:pt x="2561016" y="5100801"/>
                  <a:pt x="2562333" y="5098039"/>
                  <a:pt x="2564211" y="5096310"/>
                </a:cubicBezTo>
                <a:close/>
                <a:moveTo>
                  <a:pt x="1908593" y="5095948"/>
                </a:moveTo>
                <a:cubicBezTo>
                  <a:pt x="1909523" y="5095329"/>
                  <a:pt x="1910762" y="5095226"/>
                  <a:pt x="1912156" y="5095948"/>
                </a:cubicBezTo>
                <a:cubicBezTo>
                  <a:pt x="1916028" y="5098323"/>
                  <a:pt x="1914325" y="5102350"/>
                  <a:pt x="1911691" y="5106687"/>
                </a:cubicBezTo>
                <a:cubicBezTo>
                  <a:pt x="1909832" y="5106377"/>
                  <a:pt x="1908283" y="5106790"/>
                  <a:pt x="1906424" y="5106481"/>
                </a:cubicBezTo>
                <a:cubicBezTo>
                  <a:pt x="1904721" y="5104312"/>
                  <a:pt x="1905650" y="5097910"/>
                  <a:pt x="1908593" y="5095948"/>
                </a:cubicBezTo>
                <a:close/>
                <a:moveTo>
                  <a:pt x="1484332" y="5095122"/>
                </a:moveTo>
                <a:cubicBezTo>
                  <a:pt x="1485107" y="5095122"/>
                  <a:pt x="1485881" y="5095948"/>
                  <a:pt x="1485881" y="5095948"/>
                </a:cubicBezTo>
                <a:cubicBezTo>
                  <a:pt x="1486656" y="5096878"/>
                  <a:pt x="1486656" y="5096878"/>
                  <a:pt x="1487585" y="5095948"/>
                </a:cubicBezTo>
                <a:cubicBezTo>
                  <a:pt x="1487585" y="5095948"/>
                  <a:pt x="1487431" y="5096878"/>
                  <a:pt x="1487431" y="5096878"/>
                </a:cubicBezTo>
                <a:cubicBezTo>
                  <a:pt x="1486501" y="5096878"/>
                  <a:pt x="1487431" y="5096878"/>
                  <a:pt x="1488204" y="5097807"/>
                </a:cubicBezTo>
                <a:cubicBezTo>
                  <a:pt x="1487121" y="5099562"/>
                  <a:pt x="1487121" y="5100388"/>
                  <a:pt x="1486191" y="5101318"/>
                </a:cubicBezTo>
                <a:cubicBezTo>
                  <a:pt x="1485727" y="5101731"/>
                  <a:pt x="1484952" y="5102144"/>
                  <a:pt x="1484332" y="5102350"/>
                </a:cubicBezTo>
                <a:cubicBezTo>
                  <a:pt x="1483713" y="5102557"/>
                  <a:pt x="1483093" y="5102453"/>
                  <a:pt x="1482784" y="5102041"/>
                </a:cubicBezTo>
                <a:cubicBezTo>
                  <a:pt x="1482784" y="5101214"/>
                  <a:pt x="1482009" y="5101214"/>
                  <a:pt x="1482164" y="5100285"/>
                </a:cubicBezTo>
                <a:cubicBezTo>
                  <a:pt x="1481389" y="5098530"/>
                  <a:pt x="1481544" y="5097601"/>
                  <a:pt x="1482474" y="5096775"/>
                </a:cubicBezTo>
                <a:cubicBezTo>
                  <a:pt x="1482474" y="5095845"/>
                  <a:pt x="1483403" y="5095948"/>
                  <a:pt x="1484332" y="5095122"/>
                </a:cubicBezTo>
                <a:close/>
                <a:moveTo>
                  <a:pt x="1926561" y="5094709"/>
                </a:moveTo>
                <a:cubicBezTo>
                  <a:pt x="1929039" y="5093986"/>
                  <a:pt x="1931518" y="5093264"/>
                  <a:pt x="1934926" y="5095948"/>
                </a:cubicBezTo>
                <a:cubicBezTo>
                  <a:pt x="1935855" y="5099459"/>
                  <a:pt x="1935236" y="5102041"/>
                  <a:pt x="1931982" y="5105242"/>
                </a:cubicBezTo>
                <a:cubicBezTo>
                  <a:pt x="1927800" y="5105035"/>
                  <a:pt x="1922534" y="5098840"/>
                  <a:pt x="1926561" y="5094709"/>
                </a:cubicBezTo>
                <a:close/>
                <a:moveTo>
                  <a:pt x="2091217" y="5094606"/>
                </a:moveTo>
                <a:cubicBezTo>
                  <a:pt x="2094779" y="5095742"/>
                  <a:pt x="2097412" y="5096155"/>
                  <a:pt x="2099735" y="5096671"/>
                </a:cubicBezTo>
                <a:lnTo>
                  <a:pt x="2100200" y="5096878"/>
                </a:lnTo>
                <a:lnTo>
                  <a:pt x="2101594" y="5095122"/>
                </a:lnTo>
                <a:cubicBezTo>
                  <a:pt x="2102678" y="5094709"/>
                  <a:pt x="2104227" y="5094813"/>
                  <a:pt x="2106086" y="5094709"/>
                </a:cubicBezTo>
                <a:cubicBezTo>
                  <a:pt x="2105931" y="5095948"/>
                  <a:pt x="2109494" y="5096775"/>
                  <a:pt x="2110733" y="5097084"/>
                </a:cubicBezTo>
                <a:cubicBezTo>
                  <a:pt x="2110268" y="5099459"/>
                  <a:pt x="2114296" y="5101111"/>
                  <a:pt x="2113831" y="5104725"/>
                </a:cubicBezTo>
                <a:cubicBezTo>
                  <a:pt x="2112437" y="5105654"/>
                  <a:pt x="2111663" y="5106171"/>
                  <a:pt x="2109804" y="5106274"/>
                </a:cubicBezTo>
                <a:cubicBezTo>
                  <a:pt x="2107635" y="5105551"/>
                  <a:pt x="2105931" y="5104725"/>
                  <a:pt x="2104692" y="5103899"/>
                </a:cubicBezTo>
                <a:lnTo>
                  <a:pt x="2101749" y="5101214"/>
                </a:lnTo>
                <a:lnTo>
                  <a:pt x="2099116" y="5100905"/>
                </a:lnTo>
                <a:cubicBezTo>
                  <a:pt x="2097412" y="5100492"/>
                  <a:pt x="2096173" y="5099975"/>
                  <a:pt x="2096173" y="5099562"/>
                </a:cubicBezTo>
                <a:cubicBezTo>
                  <a:pt x="2095243" y="5099666"/>
                  <a:pt x="2095243" y="5098737"/>
                  <a:pt x="2094314" y="5098840"/>
                </a:cubicBezTo>
                <a:cubicBezTo>
                  <a:pt x="2094314" y="5098840"/>
                  <a:pt x="2093540" y="5098840"/>
                  <a:pt x="2092455" y="5098014"/>
                </a:cubicBezTo>
                <a:cubicBezTo>
                  <a:pt x="2091526" y="5097187"/>
                  <a:pt x="2090597" y="5096361"/>
                  <a:pt x="2091217" y="5094606"/>
                </a:cubicBezTo>
                <a:close/>
                <a:moveTo>
                  <a:pt x="2640349" y="5093805"/>
                </a:moveTo>
                <a:lnTo>
                  <a:pt x="2639703" y="5101627"/>
                </a:lnTo>
                <a:lnTo>
                  <a:pt x="2638619" y="5113089"/>
                </a:lnTo>
                <a:lnTo>
                  <a:pt x="2641872" y="5112986"/>
                </a:lnTo>
                <a:cubicBezTo>
                  <a:pt x="2646054" y="5113605"/>
                  <a:pt x="2649927" y="5114844"/>
                  <a:pt x="2653334" y="5116806"/>
                </a:cubicBezTo>
                <a:lnTo>
                  <a:pt x="2656277" y="5118871"/>
                </a:lnTo>
                <a:lnTo>
                  <a:pt x="2657981" y="5118458"/>
                </a:lnTo>
                <a:lnTo>
                  <a:pt x="2659065" y="5118665"/>
                </a:lnTo>
                <a:lnTo>
                  <a:pt x="2659443" y="5118413"/>
                </a:lnTo>
                <a:lnTo>
                  <a:pt x="2648386" y="5106891"/>
                </a:lnTo>
                <a:close/>
                <a:moveTo>
                  <a:pt x="2466839" y="5093677"/>
                </a:moveTo>
                <a:lnTo>
                  <a:pt x="2469472" y="5094503"/>
                </a:lnTo>
                <a:lnTo>
                  <a:pt x="2469782" y="5094296"/>
                </a:lnTo>
                <a:cubicBezTo>
                  <a:pt x="2473655" y="5092954"/>
                  <a:pt x="2476907" y="5095948"/>
                  <a:pt x="2476288" y="5099356"/>
                </a:cubicBezTo>
                <a:cubicBezTo>
                  <a:pt x="2475823" y="5100905"/>
                  <a:pt x="2474739" y="5102557"/>
                  <a:pt x="2472416" y="5103899"/>
                </a:cubicBezTo>
                <a:lnTo>
                  <a:pt x="2471951" y="5103486"/>
                </a:lnTo>
                <a:lnTo>
                  <a:pt x="2471486" y="5104519"/>
                </a:lnTo>
                <a:cubicBezTo>
                  <a:pt x="2470092" y="5106274"/>
                  <a:pt x="2468388" y="5107719"/>
                  <a:pt x="2466684" y="5109062"/>
                </a:cubicBezTo>
                <a:cubicBezTo>
                  <a:pt x="2455377" y="5106687"/>
                  <a:pt x="2464206" y="5098943"/>
                  <a:pt x="2466839" y="5093677"/>
                </a:cubicBezTo>
                <a:close/>
                <a:moveTo>
                  <a:pt x="1860885" y="5092644"/>
                </a:moveTo>
                <a:cubicBezTo>
                  <a:pt x="1862744" y="5090889"/>
                  <a:pt x="1866771" y="5091921"/>
                  <a:pt x="1868321" y="5092747"/>
                </a:cubicBezTo>
                <a:cubicBezTo>
                  <a:pt x="1869869" y="5094503"/>
                  <a:pt x="1868630" y="5097084"/>
                  <a:pt x="1866771" y="5098737"/>
                </a:cubicBezTo>
                <a:cubicBezTo>
                  <a:pt x="1866307" y="5099666"/>
                  <a:pt x="1865533" y="5099975"/>
                  <a:pt x="1864448" y="5100079"/>
                </a:cubicBezTo>
                <a:cubicBezTo>
                  <a:pt x="1863518" y="5100182"/>
                  <a:pt x="1862589" y="5099975"/>
                  <a:pt x="1861814" y="5099562"/>
                </a:cubicBezTo>
                <a:cubicBezTo>
                  <a:pt x="1861040" y="5098633"/>
                  <a:pt x="1861040" y="5098633"/>
                  <a:pt x="1860266" y="5097807"/>
                </a:cubicBezTo>
                <a:cubicBezTo>
                  <a:pt x="1860421" y="5096052"/>
                  <a:pt x="1859801" y="5094296"/>
                  <a:pt x="1860885" y="5092644"/>
                </a:cubicBezTo>
                <a:close/>
                <a:moveTo>
                  <a:pt x="2139389" y="5091715"/>
                </a:moveTo>
                <a:cubicBezTo>
                  <a:pt x="2141867" y="5090889"/>
                  <a:pt x="2147289" y="5092025"/>
                  <a:pt x="2148992" y="5095948"/>
                </a:cubicBezTo>
                <a:cubicBezTo>
                  <a:pt x="2147753" y="5098530"/>
                  <a:pt x="2146205" y="5099872"/>
                  <a:pt x="2144500" y="5100182"/>
                </a:cubicBezTo>
                <a:cubicBezTo>
                  <a:pt x="2142797" y="5100492"/>
                  <a:pt x="2140938" y="5099666"/>
                  <a:pt x="2138924" y="5098014"/>
                </a:cubicBezTo>
                <a:cubicBezTo>
                  <a:pt x="2139389" y="5096155"/>
                  <a:pt x="2139079" y="5094400"/>
                  <a:pt x="2139389" y="5091715"/>
                </a:cubicBezTo>
                <a:close/>
                <a:moveTo>
                  <a:pt x="2219315" y="5090682"/>
                </a:moveTo>
                <a:cubicBezTo>
                  <a:pt x="2221639" y="5088823"/>
                  <a:pt x="2228764" y="5092644"/>
                  <a:pt x="2231552" y="5095122"/>
                </a:cubicBezTo>
                <a:cubicBezTo>
                  <a:pt x="2230933" y="5095536"/>
                  <a:pt x="2230003" y="5095639"/>
                  <a:pt x="2229074" y="5095536"/>
                </a:cubicBezTo>
                <a:cubicBezTo>
                  <a:pt x="2225976" y="5095122"/>
                  <a:pt x="2221484" y="5092438"/>
                  <a:pt x="2219315" y="5090682"/>
                </a:cubicBezTo>
                <a:close/>
                <a:moveTo>
                  <a:pt x="1942980" y="5090063"/>
                </a:moveTo>
                <a:cubicBezTo>
                  <a:pt x="1944684" y="5090166"/>
                  <a:pt x="1947782" y="5091199"/>
                  <a:pt x="1948247" y="5093470"/>
                </a:cubicBezTo>
                <a:cubicBezTo>
                  <a:pt x="1948247" y="5093470"/>
                  <a:pt x="1948247" y="5093367"/>
                  <a:pt x="1948402" y="5094606"/>
                </a:cubicBezTo>
                <a:cubicBezTo>
                  <a:pt x="1946388" y="5093264"/>
                  <a:pt x="1943755" y="5091612"/>
                  <a:pt x="1942980" y="5090063"/>
                </a:cubicBezTo>
                <a:close/>
                <a:moveTo>
                  <a:pt x="2127171" y="5089895"/>
                </a:moveTo>
                <a:cubicBezTo>
                  <a:pt x="2131528" y="5090347"/>
                  <a:pt x="2134897" y="5092799"/>
                  <a:pt x="2134122" y="5097187"/>
                </a:cubicBezTo>
                <a:cubicBezTo>
                  <a:pt x="2133813" y="5098427"/>
                  <a:pt x="2133193" y="5099872"/>
                  <a:pt x="2132264" y="5101421"/>
                </a:cubicBezTo>
                <a:cubicBezTo>
                  <a:pt x="2130869" y="5101524"/>
                  <a:pt x="2129011" y="5101731"/>
                  <a:pt x="2127307" y="5101937"/>
                </a:cubicBezTo>
                <a:cubicBezTo>
                  <a:pt x="2125913" y="5102041"/>
                  <a:pt x="2124364" y="5102041"/>
                  <a:pt x="2122970" y="5101937"/>
                </a:cubicBezTo>
                <a:cubicBezTo>
                  <a:pt x="2118942" y="5101731"/>
                  <a:pt x="2115225" y="5100079"/>
                  <a:pt x="2114296" y="5094606"/>
                </a:cubicBezTo>
                <a:cubicBezTo>
                  <a:pt x="2117471" y="5090992"/>
                  <a:pt x="2122815" y="5089443"/>
                  <a:pt x="2127171" y="5089895"/>
                </a:cubicBezTo>
                <a:close/>
                <a:moveTo>
                  <a:pt x="1036528" y="5089650"/>
                </a:moveTo>
                <a:cubicBezTo>
                  <a:pt x="1037147" y="5091302"/>
                  <a:pt x="1036062" y="5093057"/>
                  <a:pt x="1035133" y="5094709"/>
                </a:cubicBezTo>
                <a:cubicBezTo>
                  <a:pt x="1034204" y="5096052"/>
                  <a:pt x="1033274" y="5096465"/>
                  <a:pt x="1032500" y="5096258"/>
                </a:cubicBezTo>
                <a:cubicBezTo>
                  <a:pt x="1031571" y="5096155"/>
                  <a:pt x="1030796" y="5095536"/>
                  <a:pt x="1030022" y="5094606"/>
                </a:cubicBezTo>
                <a:cubicBezTo>
                  <a:pt x="1028628" y="5092851"/>
                  <a:pt x="1029557" y="5091199"/>
                  <a:pt x="1029557" y="5091199"/>
                </a:cubicBezTo>
                <a:cubicBezTo>
                  <a:pt x="1031571" y="5088617"/>
                  <a:pt x="1034204" y="5087791"/>
                  <a:pt x="1036528" y="5089650"/>
                </a:cubicBezTo>
                <a:close/>
                <a:moveTo>
                  <a:pt x="2577280" y="5087069"/>
                </a:moveTo>
                <a:cubicBezTo>
                  <a:pt x="2578829" y="5084487"/>
                  <a:pt x="2581462" y="5086346"/>
                  <a:pt x="2584715" y="5087378"/>
                </a:cubicBezTo>
                <a:cubicBezTo>
                  <a:pt x="2583941" y="5088204"/>
                  <a:pt x="2584715" y="5089134"/>
                  <a:pt x="2585645" y="5090063"/>
                </a:cubicBezTo>
                <a:cubicBezTo>
                  <a:pt x="2584406" y="5091302"/>
                  <a:pt x="2582856" y="5093470"/>
                  <a:pt x="2580688" y="5092954"/>
                </a:cubicBezTo>
                <a:cubicBezTo>
                  <a:pt x="2579913" y="5092747"/>
                  <a:pt x="2579139" y="5092335"/>
                  <a:pt x="2578364" y="5091405"/>
                </a:cubicBezTo>
                <a:cubicBezTo>
                  <a:pt x="2577435" y="5091405"/>
                  <a:pt x="2576505" y="5087894"/>
                  <a:pt x="2577280" y="5087069"/>
                </a:cubicBezTo>
                <a:close/>
                <a:moveTo>
                  <a:pt x="2081303" y="5086449"/>
                </a:moveTo>
                <a:cubicBezTo>
                  <a:pt x="2084710" y="5085416"/>
                  <a:pt x="2087344" y="5087894"/>
                  <a:pt x="2091371" y="5087378"/>
                </a:cubicBezTo>
                <a:cubicBezTo>
                  <a:pt x="2092920" y="5090166"/>
                  <a:pt x="2097877" y="5090063"/>
                  <a:pt x="2099891" y="5094090"/>
                </a:cubicBezTo>
                <a:cubicBezTo>
                  <a:pt x="2098497" y="5094813"/>
                  <a:pt x="2096792" y="5094916"/>
                  <a:pt x="2094934" y="5094606"/>
                </a:cubicBezTo>
                <a:cubicBezTo>
                  <a:pt x="2089357" y="5093677"/>
                  <a:pt x="2082233" y="5089134"/>
                  <a:pt x="2081303" y="5086449"/>
                </a:cubicBezTo>
                <a:close/>
                <a:moveTo>
                  <a:pt x="1795365" y="5086346"/>
                </a:moveTo>
                <a:cubicBezTo>
                  <a:pt x="1799546" y="5085210"/>
                  <a:pt x="1802644" y="5088720"/>
                  <a:pt x="1799236" y="5093264"/>
                </a:cubicBezTo>
                <a:cubicBezTo>
                  <a:pt x="1797068" y="5091921"/>
                  <a:pt x="1794900" y="5090579"/>
                  <a:pt x="1794744" y="5088617"/>
                </a:cubicBezTo>
                <a:cubicBezTo>
                  <a:pt x="1794744" y="5087894"/>
                  <a:pt x="1794900" y="5087172"/>
                  <a:pt x="1795365" y="5086346"/>
                </a:cubicBezTo>
                <a:close/>
                <a:moveTo>
                  <a:pt x="2199953" y="5085829"/>
                </a:moveTo>
                <a:cubicBezTo>
                  <a:pt x="2201037" y="5086655"/>
                  <a:pt x="2201967" y="5087378"/>
                  <a:pt x="2202122" y="5089134"/>
                </a:cubicBezTo>
                <a:cubicBezTo>
                  <a:pt x="2200728" y="5090992"/>
                  <a:pt x="2198095" y="5090269"/>
                  <a:pt x="2197475" y="5091199"/>
                </a:cubicBezTo>
                <a:cubicBezTo>
                  <a:pt x="2197320" y="5090269"/>
                  <a:pt x="2197010" y="5088514"/>
                  <a:pt x="2195306" y="5087791"/>
                </a:cubicBezTo>
                <a:cubicBezTo>
                  <a:pt x="2196700" y="5085933"/>
                  <a:pt x="2198095" y="5084177"/>
                  <a:pt x="2199953" y="5085829"/>
                </a:cubicBezTo>
                <a:close/>
                <a:moveTo>
                  <a:pt x="2554356" y="5085416"/>
                </a:moveTo>
                <a:cubicBezTo>
                  <a:pt x="2555440" y="5085726"/>
                  <a:pt x="2556679" y="5086036"/>
                  <a:pt x="2555904" y="5086449"/>
                </a:cubicBezTo>
                <a:cubicBezTo>
                  <a:pt x="2556524" y="5087172"/>
                  <a:pt x="2555749" y="5087688"/>
                  <a:pt x="2555595" y="5088823"/>
                </a:cubicBezTo>
                <a:cubicBezTo>
                  <a:pt x="2554820" y="5090476"/>
                  <a:pt x="2552806" y="5091818"/>
                  <a:pt x="2551722" y="5091508"/>
                </a:cubicBezTo>
                <a:cubicBezTo>
                  <a:pt x="2550483" y="5091199"/>
                  <a:pt x="2550018" y="5090373"/>
                  <a:pt x="2550018" y="5090373"/>
                </a:cubicBezTo>
                <a:cubicBezTo>
                  <a:pt x="2549863" y="5087275"/>
                  <a:pt x="2550793" y="5084487"/>
                  <a:pt x="2554356" y="5085416"/>
                </a:cubicBezTo>
                <a:close/>
                <a:moveTo>
                  <a:pt x="2211106" y="5084487"/>
                </a:moveTo>
                <a:cubicBezTo>
                  <a:pt x="2212035" y="5083868"/>
                  <a:pt x="2213274" y="5083868"/>
                  <a:pt x="2214668" y="5084590"/>
                </a:cubicBezTo>
                <a:cubicBezTo>
                  <a:pt x="2219006" y="5087069"/>
                  <a:pt x="2217766" y="5091095"/>
                  <a:pt x="2215752" y="5095329"/>
                </a:cubicBezTo>
                <a:cubicBezTo>
                  <a:pt x="2213894" y="5094916"/>
                  <a:pt x="2212345" y="5095329"/>
                  <a:pt x="2210486" y="5094916"/>
                </a:cubicBezTo>
                <a:cubicBezTo>
                  <a:pt x="2208473" y="5092747"/>
                  <a:pt x="2208473" y="5086346"/>
                  <a:pt x="2211106" y="5084487"/>
                </a:cubicBezTo>
                <a:close/>
                <a:moveTo>
                  <a:pt x="2055125" y="5083041"/>
                </a:moveTo>
                <a:cubicBezTo>
                  <a:pt x="2056364" y="5083041"/>
                  <a:pt x="2058223" y="5082525"/>
                  <a:pt x="2059927" y="5083145"/>
                </a:cubicBezTo>
                <a:cubicBezTo>
                  <a:pt x="2060547" y="5085519"/>
                  <a:pt x="2059617" y="5086655"/>
                  <a:pt x="2058533" y="5086965"/>
                </a:cubicBezTo>
                <a:cubicBezTo>
                  <a:pt x="2057294" y="5087275"/>
                  <a:pt x="2055900" y="5086759"/>
                  <a:pt x="2055125" y="5085726"/>
                </a:cubicBezTo>
                <a:cubicBezTo>
                  <a:pt x="2054661" y="5085003"/>
                  <a:pt x="2054661" y="5084074"/>
                  <a:pt x="2055125" y="5083041"/>
                </a:cubicBezTo>
                <a:close/>
                <a:moveTo>
                  <a:pt x="1702891" y="5082732"/>
                </a:moveTo>
                <a:cubicBezTo>
                  <a:pt x="1701032" y="5087172"/>
                  <a:pt x="1695146" y="5092335"/>
                  <a:pt x="1690344" y="5091818"/>
                </a:cubicBezTo>
                <a:cubicBezTo>
                  <a:pt x="1688795" y="5091612"/>
                  <a:pt x="1687247" y="5090889"/>
                  <a:pt x="1686162" y="5089237"/>
                </a:cubicBezTo>
                <a:cubicBezTo>
                  <a:pt x="1691429" y="5087069"/>
                  <a:pt x="1697005" y="5083145"/>
                  <a:pt x="1702891" y="5082732"/>
                </a:cubicBezTo>
                <a:close/>
                <a:moveTo>
                  <a:pt x="2071080" y="5080563"/>
                </a:moveTo>
                <a:cubicBezTo>
                  <a:pt x="2074332" y="5081699"/>
                  <a:pt x="2076036" y="5083661"/>
                  <a:pt x="2077430" y="5084797"/>
                </a:cubicBezTo>
                <a:cubicBezTo>
                  <a:pt x="2076501" y="5087172"/>
                  <a:pt x="2076346" y="5089134"/>
                  <a:pt x="2075417" y="5091508"/>
                </a:cubicBezTo>
                <a:cubicBezTo>
                  <a:pt x="2074332" y="5092231"/>
                  <a:pt x="2073248" y="5092747"/>
                  <a:pt x="2072319" y="5092954"/>
                </a:cubicBezTo>
                <a:cubicBezTo>
                  <a:pt x="2071389" y="5093160"/>
                  <a:pt x="2070615" y="5093160"/>
                  <a:pt x="2069841" y="5092954"/>
                </a:cubicBezTo>
                <a:cubicBezTo>
                  <a:pt x="2068291" y="5092541"/>
                  <a:pt x="2067208" y="5091405"/>
                  <a:pt x="2066742" y="5089960"/>
                </a:cubicBezTo>
                <a:cubicBezTo>
                  <a:pt x="2065658" y="5086965"/>
                  <a:pt x="2066742" y="5082732"/>
                  <a:pt x="2071080" y="5080563"/>
                </a:cubicBezTo>
                <a:close/>
                <a:moveTo>
                  <a:pt x="2509591" y="5080253"/>
                </a:moveTo>
                <a:lnTo>
                  <a:pt x="2510210" y="5082318"/>
                </a:lnTo>
                <a:lnTo>
                  <a:pt x="2511139" y="5081699"/>
                </a:lnTo>
                <a:cubicBezTo>
                  <a:pt x="2514392" y="5082422"/>
                  <a:pt x="2516406" y="5084797"/>
                  <a:pt x="2516716" y="5087481"/>
                </a:cubicBezTo>
                <a:lnTo>
                  <a:pt x="2515786" y="5090992"/>
                </a:lnTo>
                <a:lnTo>
                  <a:pt x="2520278" y="5094400"/>
                </a:lnTo>
                <a:cubicBezTo>
                  <a:pt x="2521827" y="5095536"/>
                  <a:pt x="2523221" y="5096878"/>
                  <a:pt x="2524305" y="5098323"/>
                </a:cubicBezTo>
                <a:cubicBezTo>
                  <a:pt x="2525855" y="5100285"/>
                  <a:pt x="2526784" y="5102557"/>
                  <a:pt x="2526629" y="5105654"/>
                </a:cubicBezTo>
                <a:cubicBezTo>
                  <a:pt x="2527094" y="5119181"/>
                  <a:pt x="2514857" y="5126719"/>
                  <a:pt x="2504479" y="5126099"/>
                </a:cubicBezTo>
                <a:cubicBezTo>
                  <a:pt x="2498128" y="5125686"/>
                  <a:pt x="2492552" y="5122176"/>
                  <a:pt x="2490848" y="5115361"/>
                </a:cubicBezTo>
                <a:cubicBezTo>
                  <a:pt x="2490073" y="5112779"/>
                  <a:pt x="2490073" y="5109681"/>
                  <a:pt x="2490693" y="5106068"/>
                </a:cubicBezTo>
                <a:cubicBezTo>
                  <a:pt x="2493016" y="5096258"/>
                  <a:pt x="2502465" y="5091095"/>
                  <a:pt x="2509591" y="5080253"/>
                </a:cubicBezTo>
                <a:close/>
                <a:moveTo>
                  <a:pt x="2544287" y="5079118"/>
                </a:moveTo>
                <a:lnTo>
                  <a:pt x="2547695" y="5080047"/>
                </a:lnTo>
                <a:cubicBezTo>
                  <a:pt x="2547540" y="5081286"/>
                  <a:pt x="2546766" y="5082938"/>
                  <a:pt x="2545527" y="5082525"/>
                </a:cubicBezTo>
                <a:cubicBezTo>
                  <a:pt x="2544752" y="5082628"/>
                  <a:pt x="2544442" y="5082215"/>
                  <a:pt x="2544287" y="5081596"/>
                </a:cubicBezTo>
                <a:cubicBezTo>
                  <a:pt x="2544287" y="5080976"/>
                  <a:pt x="2544442" y="5080047"/>
                  <a:pt x="2544287" y="5079118"/>
                </a:cubicBezTo>
                <a:close/>
                <a:moveTo>
                  <a:pt x="1847874" y="5078911"/>
                </a:moveTo>
                <a:cubicBezTo>
                  <a:pt x="1848958" y="5079221"/>
                  <a:pt x="1848958" y="5079221"/>
                  <a:pt x="1850352" y="5081389"/>
                </a:cubicBezTo>
                <a:cubicBezTo>
                  <a:pt x="1849268" y="5081079"/>
                  <a:pt x="1849113" y="5081079"/>
                  <a:pt x="1848958" y="5082215"/>
                </a:cubicBezTo>
                <a:cubicBezTo>
                  <a:pt x="1848958" y="5082215"/>
                  <a:pt x="1849113" y="5082215"/>
                  <a:pt x="1849578" y="5082938"/>
                </a:cubicBezTo>
                <a:cubicBezTo>
                  <a:pt x="1848958" y="5083351"/>
                  <a:pt x="1848493" y="5082628"/>
                  <a:pt x="1847874" y="5083041"/>
                </a:cubicBezTo>
                <a:cubicBezTo>
                  <a:pt x="1847874" y="5083041"/>
                  <a:pt x="1847254" y="5082318"/>
                  <a:pt x="1847254" y="5082318"/>
                </a:cubicBezTo>
                <a:cubicBezTo>
                  <a:pt x="1846945" y="5082525"/>
                  <a:pt x="1846945" y="5082525"/>
                  <a:pt x="1847100" y="5082215"/>
                </a:cubicBezTo>
                <a:cubicBezTo>
                  <a:pt x="1847100" y="5082009"/>
                  <a:pt x="1847100" y="5081389"/>
                  <a:pt x="1846945" y="5080460"/>
                </a:cubicBezTo>
                <a:cubicBezTo>
                  <a:pt x="1847100" y="5079324"/>
                  <a:pt x="1846635" y="5078602"/>
                  <a:pt x="1847874" y="5078911"/>
                </a:cubicBezTo>
                <a:close/>
                <a:moveTo>
                  <a:pt x="1568441" y="5078188"/>
                </a:moveTo>
                <a:cubicBezTo>
                  <a:pt x="1570300" y="5078911"/>
                  <a:pt x="1571229" y="5079841"/>
                  <a:pt x="1572933" y="5080563"/>
                </a:cubicBezTo>
                <a:cubicBezTo>
                  <a:pt x="1573397" y="5083145"/>
                  <a:pt x="1576341" y="5085623"/>
                  <a:pt x="1573708" y="5090992"/>
                </a:cubicBezTo>
                <a:cubicBezTo>
                  <a:pt x="1570145" y="5096361"/>
                  <a:pt x="1564569" y="5092335"/>
                  <a:pt x="1564723" y="5093264"/>
                </a:cubicBezTo>
                <a:cubicBezTo>
                  <a:pt x="1563949" y="5094090"/>
                  <a:pt x="1563949" y="5094193"/>
                  <a:pt x="1564104" y="5095019"/>
                </a:cubicBezTo>
                <a:cubicBezTo>
                  <a:pt x="1563329" y="5095019"/>
                  <a:pt x="1561780" y="5096052"/>
                  <a:pt x="1561006" y="5096981"/>
                </a:cubicBezTo>
                <a:cubicBezTo>
                  <a:pt x="1560851" y="5096052"/>
                  <a:pt x="1560696" y="5095226"/>
                  <a:pt x="1559922" y="5095226"/>
                </a:cubicBezTo>
                <a:cubicBezTo>
                  <a:pt x="1561316" y="5093470"/>
                  <a:pt x="1562090" y="5093367"/>
                  <a:pt x="1562865" y="5092541"/>
                </a:cubicBezTo>
                <a:cubicBezTo>
                  <a:pt x="1562090" y="5092541"/>
                  <a:pt x="1562710" y="5091612"/>
                  <a:pt x="1562710" y="5091612"/>
                </a:cubicBezTo>
                <a:cubicBezTo>
                  <a:pt x="1562710" y="5091612"/>
                  <a:pt x="1562865" y="5091612"/>
                  <a:pt x="1560851" y="5089960"/>
                </a:cubicBezTo>
                <a:cubicBezTo>
                  <a:pt x="1560851" y="5089960"/>
                  <a:pt x="1556979" y="5085829"/>
                  <a:pt x="1559612" y="5081389"/>
                </a:cubicBezTo>
                <a:cubicBezTo>
                  <a:pt x="1560541" y="5082112"/>
                  <a:pt x="1564879" y="5076640"/>
                  <a:pt x="1568441" y="5078188"/>
                </a:cubicBezTo>
                <a:close/>
                <a:moveTo>
                  <a:pt x="2566747" y="5077775"/>
                </a:moveTo>
                <a:cubicBezTo>
                  <a:pt x="2569071" y="5078085"/>
                  <a:pt x="2570310" y="5079427"/>
                  <a:pt x="2570929" y="5081183"/>
                </a:cubicBezTo>
                <a:lnTo>
                  <a:pt x="2571239" y="5085107"/>
                </a:lnTo>
                <a:lnTo>
                  <a:pt x="2572633" y="5083971"/>
                </a:lnTo>
                <a:cubicBezTo>
                  <a:pt x="2574647" y="5082835"/>
                  <a:pt x="2575267" y="5084590"/>
                  <a:pt x="2576661" y="5087378"/>
                </a:cubicBezTo>
                <a:cubicBezTo>
                  <a:pt x="2575267" y="5088617"/>
                  <a:pt x="2574182" y="5088927"/>
                  <a:pt x="2573098" y="5088617"/>
                </a:cubicBezTo>
                <a:lnTo>
                  <a:pt x="2571394" y="5087069"/>
                </a:lnTo>
                <a:lnTo>
                  <a:pt x="2571549" y="5087688"/>
                </a:lnTo>
                <a:cubicBezTo>
                  <a:pt x="2569690" y="5087998"/>
                  <a:pt x="2568451" y="5089030"/>
                  <a:pt x="2566592" y="5089340"/>
                </a:cubicBezTo>
                <a:lnTo>
                  <a:pt x="2565353" y="5091612"/>
                </a:lnTo>
                <a:cubicBezTo>
                  <a:pt x="2562255" y="5089856"/>
                  <a:pt x="2561791" y="5085313"/>
                  <a:pt x="2562875" y="5082318"/>
                </a:cubicBezTo>
                <a:lnTo>
                  <a:pt x="2563494" y="5081492"/>
                </a:lnTo>
                <a:lnTo>
                  <a:pt x="2563494" y="5079118"/>
                </a:lnTo>
                <a:cubicBezTo>
                  <a:pt x="2564114" y="5078188"/>
                  <a:pt x="2565043" y="5077569"/>
                  <a:pt x="2566747" y="5077775"/>
                </a:cubicBezTo>
                <a:close/>
                <a:moveTo>
                  <a:pt x="2169594" y="5077259"/>
                </a:moveTo>
                <a:cubicBezTo>
                  <a:pt x="2169748" y="5077982"/>
                  <a:pt x="2169439" y="5078808"/>
                  <a:pt x="2168819" y="5079634"/>
                </a:cubicBezTo>
                <a:cubicBezTo>
                  <a:pt x="2167115" y="5082009"/>
                  <a:pt x="2162778" y="5084384"/>
                  <a:pt x="2160300" y="5085107"/>
                </a:cubicBezTo>
                <a:cubicBezTo>
                  <a:pt x="2159835" y="5082009"/>
                  <a:pt x="2166341" y="5078188"/>
                  <a:pt x="2169594" y="5077259"/>
                </a:cubicBezTo>
                <a:close/>
                <a:moveTo>
                  <a:pt x="1917422" y="5077052"/>
                </a:moveTo>
                <a:lnTo>
                  <a:pt x="1918043" y="5078911"/>
                </a:lnTo>
                <a:lnTo>
                  <a:pt x="1918507" y="5078395"/>
                </a:lnTo>
                <a:cubicBezTo>
                  <a:pt x="1919746" y="5077466"/>
                  <a:pt x="1920985" y="5076846"/>
                  <a:pt x="1922689" y="5077259"/>
                </a:cubicBezTo>
                <a:cubicBezTo>
                  <a:pt x="1921914" y="5077879"/>
                  <a:pt x="1920985" y="5078911"/>
                  <a:pt x="1920056" y="5079841"/>
                </a:cubicBezTo>
                <a:lnTo>
                  <a:pt x="1918662" y="5080770"/>
                </a:lnTo>
                <a:lnTo>
                  <a:pt x="1919436" y="5083041"/>
                </a:lnTo>
                <a:cubicBezTo>
                  <a:pt x="1919281" y="5085107"/>
                  <a:pt x="1918352" y="5087172"/>
                  <a:pt x="1916338" y="5089237"/>
                </a:cubicBezTo>
                <a:cubicBezTo>
                  <a:pt x="1912156" y="5089753"/>
                  <a:pt x="1910607" y="5084280"/>
                  <a:pt x="1909368" y="5081596"/>
                </a:cubicBezTo>
                <a:cubicBezTo>
                  <a:pt x="1912156" y="5079221"/>
                  <a:pt x="1915099" y="5076846"/>
                  <a:pt x="1917422" y="5077052"/>
                </a:cubicBezTo>
                <a:close/>
                <a:moveTo>
                  <a:pt x="2012994" y="5075813"/>
                </a:moveTo>
                <a:cubicBezTo>
                  <a:pt x="2014697" y="5076536"/>
                  <a:pt x="2015317" y="5085829"/>
                  <a:pt x="2011290" y="5085003"/>
                </a:cubicBezTo>
                <a:cubicBezTo>
                  <a:pt x="2010515" y="5084693"/>
                  <a:pt x="2010050" y="5084074"/>
                  <a:pt x="2009895" y="5083145"/>
                </a:cubicBezTo>
                <a:cubicBezTo>
                  <a:pt x="2009431" y="5080460"/>
                  <a:pt x="2011599" y="5076226"/>
                  <a:pt x="2012994" y="5075813"/>
                </a:cubicBezTo>
                <a:close/>
                <a:moveTo>
                  <a:pt x="1769961" y="5075607"/>
                </a:moveTo>
                <a:cubicBezTo>
                  <a:pt x="1772594" y="5080253"/>
                  <a:pt x="1768722" y="5085519"/>
                  <a:pt x="1764540" y="5086346"/>
                </a:cubicBezTo>
                <a:cubicBezTo>
                  <a:pt x="1763146" y="5086552"/>
                  <a:pt x="1761597" y="5086346"/>
                  <a:pt x="1760357" y="5085519"/>
                </a:cubicBezTo>
                <a:cubicBezTo>
                  <a:pt x="1756640" y="5079324"/>
                  <a:pt x="1764850" y="5073645"/>
                  <a:pt x="1769961" y="5075607"/>
                </a:cubicBezTo>
                <a:close/>
                <a:moveTo>
                  <a:pt x="2559003" y="5075194"/>
                </a:moveTo>
                <a:cubicBezTo>
                  <a:pt x="2559932" y="5076020"/>
                  <a:pt x="2559932" y="5075917"/>
                  <a:pt x="2560087" y="5076846"/>
                </a:cubicBezTo>
                <a:cubicBezTo>
                  <a:pt x="2561171" y="5078498"/>
                  <a:pt x="2562100" y="5079324"/>
                  <a:pt x="2561481" y="5081183"/>
                </a:cubicBezTo>
                <a:cubicBezTo>
                  <a:pt x="2560861" y="5082525"/>
                  <a:pt x="2560087" y="5083041"/>
                  <a:pt x="2559003" y="5082938"/>
                </a:cubicBezTo>
                <a:cubicBezTo>
                  <a:pt x="2558073" y="5082938"/>
                  <a:pt x="2556989" y="5082318"/>
                  <a:pt x="2555595" y="5081492"/>
                </a:cubicBezTo>
                <a:cubicBezTo>
                  <a:pt x="2552652" y="5079944"/>
                  <a:pt x="2553271" y="5077259"/>
                  <a:pt x="2551258" y="5075607"/>
                </a:cubicBezTo>
                <a:cubicBezTo>
                  <a:pt x="2552806" y="5074574"/>
                  <a:pt x="2555130" y="5072716"/>
                  <a:pt x="2559003" y="5075194"/>
                </a:cubicBezTo>
                <a:close/>
                <a:moveTo>
                  <a:pt x="2300171" y="5074471"/>
                </a:moveTo>
                <a:cubicBezTo>
                  <a:pt x="2303579" y="5081492"/>
                  <a:pt x="2300945" y="5084590"/>
                  <a:pt x="2300480" y="5087894"/>
                </a:cubicBezTo>
                <a:lnTo>
                  <a:pt x="2300790" y="5089960"/>
                </a:lnTo>
                <a:lnTo>
                  <a:pt x="2302494" y="5088617"/>
                </a:lnTo>
                <a:cubicBezTo>
                  <a:pt x="2303114" y="5088204"/>
                  <a:pt x="2303733" y="5087894"/>
                  <a:pt x="2304663" y="5088308"/>
                </a:cubicBezTo>
                <a:lnTo>
                  <a:pt x="2301100" y="5091199"/>
                </a:lnTo>
                <a:lnTo>
                  <a:pt x="2301100" y="5091405"/>
                </a:lnTo>
                <a:lnTo>
                  <a:pt x="2300790" y="5091405"/>
                </a:lnTo>
                <a:lnTo>
                  <a:pt x="2300016" y="5092025"/>
                </a:lnTo>
                <a:cubicBezTo>
                  <a:pt x="2300171" y="5092851"/>
                  <a:pt x="2300171" y="5093780"/>
                  <a:pt x="2299551" y="5094606"/>
                </a:cubicBezTo>
                <a:cubicBezTo>
                  <a:pt x="2298003" y="5096465"/>
                  <a:pt x="2296299" y="5095639"/>
                  <a:pt x="2294750" y="5096671"/>
                </a:cubicBezTo>
                <a:cubicBezTo>
                  <a:pt x="2293820" y="5095845"/>
                  <a:pt x="2292581" y="5094193"/>
                  <a:pt x="2294130" y="5092335"/>
                </a:cubicBezTo>
                <a:cubicBezTo>
                  <a:pt x="2294750" y="5091095"/>
                  <a:pt x="2295679" y="5090373"/>
                  <a:pt x="2296918" y="5090063"/>
                </a:cubicBezTo>
                <a:lnTo>
                  <a:pt x="2298467" y="5090166"/>
                </a:lnTo>
                <a:lnTo>
                  <a:pt x="2298003" y="5089650"/>
                </a:lnTo>
                <a:cubicBezTo>
                  <a:pt x="2298312" y="5088927"/>
                  <a:pt x="2297538" y="5088514"/>
                  <a:pt x="2298777" y="5088204"/>
                </a:cubicBezTo>
                <a:cubicBezTo>
                  <a:pt x="2297073" y="5085313"/>
                  <a:pt x="2298003" y="5077156"/>
                  <a:pt x="2300171" y="5074471"/>
                </a:cubicBezTo>
                <a:close/>
                <a:moveTo>
                  <a:pt x="2247817" y="5074471"/>
                </a:moveTo>
                <a:cubicBezTo>
                  <a:pt x="2249520" y="5075401"/>
                  <a:pt x="2250295" y="5076330"/>
                  <a:pt x="2252153" y="5077259"/>
                </a:cubicBezTo>
                <a:lnTo>
                  <a:pt x="2252618" y="5079634"/>
                </a:lnTo>
                <a:lnTo>
                  <a:pt x="2257420" y="5081492"/>
                </a:lnTo>
                <a:cubicBezTo>
                  <a:pt x="2258349" y="5082318"/>
                  <a:pt x="2260518" y="5085726"/>
                  <a:pt x="2259898" y="5086655"/>
                </a:cubicBezTo>
                <a:cubicBezTo>
                  <a:pt x="2259124" y="5087585"/>
                  <a:pt x="2258349" y="5087585"/>
                  <a:pt x="2257575" y="5087688"/>
                </a:cubicBezTo>
                <a:lnTo>
                  <a:pt x="2252618" y="5085519"/>
                </a:lnTo>
                <a:lnTo>
                  <a:pt x="2251689" y="5087688"/>
                </a:lnTo>
                <a:cubicBezTo>
                  <a:pt x="2250759" y="5088927"/>
                  <a:pt x="2249675" y="5089547"/>
                  <a:pt x="2248591" y="5089856"/>
                </a:cubicBezTo>
                <a:lnTo>
                  <a:pt x="2247507" y="5089856"/>
                </a:lnTo>
                <a:lnTo>
                  <a:pt x="2247661" y="5090785"/>
                </a:lnTo>
                <a:lnTo>
                  <a:pt x="2245028" y="5092231"/>
                </a:lnTo>
                <a:lnTo>
                  <a:pt x="2244099" y="5093780"/>
                </a:lnTo>
                <a:cubicBezTo>
                  <a:pt x="2242860" y="5094090"/>
                  <a:pt x="2241930" y="5094296"/>
                  <a:pt x="2241311" y="5094090"/>
                </a:cubicBezTo>
                <a:cubicBezTo>
                  <a:pt x="2240846" y="5093883"/>
                  <a:pt x="2240381" y="5093264"/>
                  <a:pt x="2240072" y="5092025"/>
                </a:cubicBezTo>
                <a:lnTo>
                  <a:pt x="2239916" y="5091508"/>
                </a:lnTo>
                <a:lnTo>
                  <a:pt x="2238367" y="5092231"/>
                </a:lnTo>
                <a:cubicBezTo>
                  <a:pt x="2238367" y="5091405"/>
                  <a:pt x="2238367" y="5090476"/>
                  <a:pt x="2237438" y="5090476"/>
                </a:cubicBezTo>
                <a:lnTo>
                  <a:pt x="2239142" y="5089134"/>
                </a:lnTo>
                <a:lnTo>
                  <a:pt x="2238987" y="5088411"/>
                </a:lnTo>
                <a:lnTo>
                  <a:pt x="2239142" y="5085623"/>
                </a:lnTo>
                <a:lnTo>
                  <a:pt x="2238987" y="5085313"/>
                </a:lnTo>
                <a:cubicBezTo>
                  <a:pt x="2238987" y="5085313"/>
                  <a:pt x="2235424" y="5080873"/>
                  <a:pt x="2238678" y="5076743"/>
                </a:cubicBezTo>
                <a:cubicBezTo>
                  <a:pt x="2239452" y="5077569"/>
                  <a:pt x="2244253" y="5072612"/>
                  <a:pt x="2247817" y="5074471"/>
                </a:cubicBezTo>
                <a:close/>
                <a:moveTo>
                  <a:pt x="2295834" y="5074161"/>
                </a:moveTo>
                <a:cubicBezTo>
                  <a:pt x="2296454" y="5074574"/>
                  <a:pt x="2296454" y="5074471"/>
                  <a:pt x="2296454" y="5074471"/>
                </a:cubicBezTo>
                <a:cubicBezTo>
                  <a:pt x="2294905" y="5076433"/>
                  <a:pt x="2295524" y="5080253"/>
                  <a:pt x="2294595" y="5083351"/>
                </a:cubicBezTo>
                <a:cubicBezTo>
                  <a:pt x="2294285" y="5084384"/>
                  <a:pt x="2293820" y="5085313"/>
                  <a:pt x="2293046" y="5086036"/>
                </a:cubicBezTo>
                <a:cubicBezTo>
                  <a:pt x="2293046" y="5086036"/>
                  <a:pt x="2293046" y="5086036"/>
                  <a:pt x="2293355" y="5085313"/>
                </a:cubicBezTo>
                <a:cubicBezTo>
                  <a:pt x="2293355" y="5085313"/>
                  <a:pt x="2293046" y="5086036"/>
                  <a:pt x="2292271" y="5085623"/>
                </a:cubicBezTo>
                <a:cubicBezTo>
                  <a:pt x="2291807" y="5080563"/>
                  <a:pt x="2295370" y="5074884"/>
                  <a:pt x="2295834" y="5074161"/>
                </a:cubicBezTo>
                <a:close/>
                <a:moveTo>
                  <a:pt x="2320617" y="5073439"/>
                </a:moveTo>
                <a:cubicBezTo>
                  <a:pt x="2320617" y="5074265"/>
                  <a:pt x="2319843" y="5076846"/>
                  <a:pt x="2320772" y="5076846"/>
                </a:cubicBezTo>
                <a:cubicBezTo>
                  <a:pt x="2318913" y="5078808"/>
                  <a:pt x="2316590" y="5080563"/>
                  <a:pt x="2314576" y="5080667"/>
                </a:cubicBezTo>
                <a:cubicBezTo>
                  <a:pt x="2313801" y="5080667"/>
                  <a:pt x="2313182" y="5080460"/>
                  <a:pt x="2312408" y="5079944"/>
                </a:cubicBezTo>
                <a:cubicBezTo>
                  <a:pt x="2310704" y="5079014"/>
                  <a:pt x="2311478" y="5077362"/>
                  <a:pt x="2313182" y="5075710"/>
                </a:cubicBezTo>
                <a:cubicBezTo>
                  <a:pt x="2315505" y="5071374"/>
                  <a:pt x="2317984" y="5070651"/>
                  <a:pt x="2320617" y="5073439"/>
                </a:cubicBezTo>
                <a:close/>
                <a:moveTo>
                  <a:pt x="2123745" y="5073026"/>
                </a:moveTo>
                <a:cubicBezTo>
                  <a:pt x="2126417" y="5073929"/>
                  <a:pt x="2128778" y="5075813"/>
                  <a:pt x="2129165" y="5077982"/>
                </a:cubicBezTo>
                <a:cubicBezTo>
                  <a:pt x="2128236" y="5080357"/>
                  <a:pt x="2127152" y="5082732"/>
                  <a:pt x="2126223" y="5085003"/>
                </a:cubicBezTo>
                <a:cubicBezTo>
                  <a:pt x="2124519" y="5086449"/>
                  <a:pt x="2122506" y="5086965"/>
                  <a:pt x="2120646" y="5086862"/>
                </a:cubicBezTo>
                <a:cubicBezTo>
                  <a:pt x="2118942" y="5086655"/>
                  <a:pt x="2117239" y="5085726"/>
                  <a:pt x="2116155" y="5084280"/>
                </a:cubicBezTo>
                <a:cubicBezTo>
                  <a:pt x="2115535" y="5083351"/>
                  <a:pt x="2114916" y="5082112"/>
                  <a:pt x="2114916" y="5080667"/>
                </a:cubicBezTo>
                <a:lnTo>
                  <a:pt x="2114916" y="5080460"/>
                </a:lnTo>
                <a:lnTo>
                  <a:pt x="2113676" y="5081389"/>
                </a:lnTo>
                <a:cubicBezTo>
                  <a:pt x="2113056" y="5081699"/>
                  <a:pt x="2112437" y="5081802"/>
                  <a:pt x="2111972" y="5081389"/>
                </a:cubicBezTo>
                <a:cubicBezTo>
                  <a:pt x="2111817" y="5080460"/>
                  <a:pt x="2111043" y="5080460"/>
                  <a:pt x="2111043" y="5079634"/>
                </a:cubicBezTo>
                <a:cubicBezTo>
                  <a:pt x="2109959" y="5077879"/>
                  <a:pt x="2109804" y="5077052"/>
                  <a:pt x="2110423" y="5076123"/>
                </a:cubicBezTo>
                <a:cubicBezTo>
                  <a:pt x="2110268" y="5075194"/>
                  <a:pt x="2111198" y="5075194"/>
                  <a:pt x="2111817" y="5074265"/>
                </a:cubicBezTo>
                <a:cubicBezTo>
                  <a:pt x="2112747" y="5074161"/>
                  <a:pt x="2113676" y="5074987"/>
                  <a:pt x="2113676" y="5074987"/>
                </a:cubicBezTo>
                <a:cubicBezTo>
                  <a:pt x="2114606" y="5075813"/>
                  <a:pt x="2114606" y="5075917"/>
                  <a:pt x="2115225" y="5074987"/>
                </a:cubicBezTo>
                <a:cubicBezTo>
                  <a:pt x="2115225" y="5074987"/>
                  <a:pt x="2115380" y="5075813"/>
                  <a:pt x="2115380" y="5075813"/>
                </a:cubicBezTo>
                <a:cubicBezTo>
                  <a:pt x="2115070" y="5075813"/>
                  <a:pt x="2115070" y="5075813"/>
                  <a:pt x="2115225" y="5075917"/>
                </a:cubicBezTo>
                <a:lnTo>
                  <a:pt x="2115844" y="5076330"/>
                </a:lnTo>
                <a:lnTo>
                  <a:pt x="2116464" y="5073955"/>
                </a:lnTo>
                <a:cubicBezTo>
                  <a:pt x="2118091" y="5072199"/>
                  <a:pt x="2121072" y="5072122"/>
                  <a:pt x="2123745" y="5073026"/>
                </a:cubicBezTo>
                <a:close/>
                <a:moveTo>
                  <a:pt x="2537317" y="5073025"/>
                </a:moveTo>
                <a:cubicBezTo>
                  <a:pt x="2540880" y="5073851"/>
                  <a:pt x="2543048" y="5075607"/>
                  <a:pt x="2543203" y="5078808"/>
                </a:cubicBezTo>
                <a:cubicBezTo>
                  <a:pt x="2542738" y="5081183"/>
                  <a:pt x="2542273" y="5084693"/>
                  <a:pt x="2539176" y="5084590"/>
                </a:cubicBezTo>
                <a:cubicBezTo>
                  <a:pt x="2538711" y="5083868"/>
                  <a:pt x="2537936" y="5084280"/>
                  <a:pt x="2537472" y="5083558"/>
                </a:cubicBezTo>
                <a:cubicBezTo>
                  <a:pt x="2537472" y="5083558"/>
                  <a:pt x="2536697" y="5083041"/>
                  <a:pt x="2535923" y="5082009"/>
                </a:cubicBezTo>
                <a:cubicBezTo>
                  <a:pt x="2535148" y="5080976"/>
                  <a:pt x="2534219" y="5079324"/>
                  <a:pt x="2534219" y="5077156"/>
                </a:cubicBezTo>
                <a:cubicBezTo>
                  <a:pt x="2534529" y="5075917"/>
                  <a:pt x="2535613" y="5073129"/>
                  <a:pt x="2536078" y="5073955"/>
                </a:cubicBezTo>
                <a:cubicBezTo>
                  <a:pt x="2537162" y="5074265"/>
                  <a:pt x="2536697" y="5073439"/>
                  <a:pt x="2537317" y="5073025"/>
                </a:cubicBezTo>
                <a:close/>
                <a:moveTo>
                  <a:pt x="1736503" y="5071993"/>
                </a:moveTo>
                <a:cubicBezTo>
                  <a:pt x="1737588" y="5072303"/>
                  <a:pt x="1738517" y="5073129"/>
                  <a:pt x="1739137" y="5074781"/>
                </a:cubicBezTo>
                <a:cubicBezTo>
                  <a:pt x="1740376" y="5079634"/>
                  <a:pt x="1736658" y="5081079"/>
                  <a:pt x="1732166" y="5082009"/>
                </a:cubicBezTo>
                <a:cubicBezTo>
                  <a:pt x="1731082" y="5080357"/>
                  <a:pt x="1729533" y="5079427"/>
                  <a:pt x="1728449" y="5077775"/>
                </a:cubicBezTo>
                <a:cubicBezTo>
                  <a:pt x="1728604" y="5074781"/>
                  <a:pt x="1733251" y="5070960"/>
                  <a:pt x="1736503" y="5071993"/>
                </a:cubicBezTo>
                <a:close/>
                <a:moveTo>
                  <a:pt x="2429199" y="5070857"/>
                </a:moveTo>
                <a:lnTo>
                  <a:pt x="2430129" y="5072716"/>
                </a:lnTo>
                <a:lnTo>
                  <a:pt x="2430748" y="5072922"/>
                </a:lnTo>
                <a:lnTo>
                  <a:pt x="2431997" y="5073982"/>
                </a:lnTo>
                <a:lnTo>
                  <a:pt x="2431482" y="5072172"/>
                </a:lnTo>
                <a:close/>
                <a:moveTo>
                  <a:pt x="2296918" y="5070341"/>
                </a:moveTo>
                <a:cubicBezTo>
                  <a:pt x="2296609" y="5070857"/>
                  <a:pt x="2296454" y="5071167"/>
                  <a:pt x="2296299" y="5071167"/>
                </a:cubicBezTo>
                <a:cubicBezTo>
                  <a:pt x="2296144" y="5071167"/>
                  <a:pt x="2295834" y="5070960"/>
                  <a:pt x="2295370" y="5070547"/>
                </a:cubicBezTo>
                <a:cubicBezTo>
                  <a:pt x="2295989" y="5069515"/>
                  <a:pt x="2296144" y="5070444"/>
                  <a:pt x="2296918" y="5070341"/>
                </a:cubicBezTo>
                <a:close/>
                <a:moveTo>
                  <a:pt x="2329601" y="5070238"/>
                </a:moveTo>
                <a:cubicBezTo>
                  <a:pt x="2329601" y="5071167"/>
                  <a:pt x="2330530" y="5073025"/>
                  <a:pt x="2329756" y="5072922"/>
                </a:cubicBezTo>
                <a:cubicBezTo>
                  <a:pt x="2329756" y="5073851"/>
                  <a:pt x="2328207" y="5073748"/>
                  <a:pt x="2328207" y="5073748"/>
                </a:cubicBezTo>
                <a:cubicBezTo>
                  <a:pt x="2328207" y="5074678"/>
                  <a:pt x="2328207" y="5075607"/>
                  <a:pt x="2327432" y="5076433"/>
                </a:cubicBezTo>
                <a:cubicBezTo>
                  <a:pt x="2326658" y="5075504"/>
                  <a:pt x="2326658" y="5076433"/>
                  <a:pt x="2325883" y="5076330"/>
                </a:cubicBezTo>
                <a:cubicBezTo>
                  <a:pt x="2326658" y="5075504"/>
                  <a:pt x="2326503" y="5072819"/>
                  <a:pt x="2327277" y="5071064"/>
                </a:cubicBezTo>
                <a:cubicBezTo>
                  <a:pt x="2328052" y="5071064"/>
                  <a:pt x="2328826" y="5070238"/>
                  <a:pt x="2329601" y="5070238"/>
                </a:cubicBezTo>
                <a:close/>
                <a:moveTo>
                  <a:pt x="1640158" y="5069515"/>
                </a:moveTo>
                <a:cubicBezTo>
                  <a:pt x="1640313" y="5070341"/>
                  <a:pt x="1639848" y="5073025"/>
                  <a:pt x="1640622" y="5072922"/>
                </a:cubicBezTo>
                <a:cubicBezTo>
                  <a:pt x="1639074" y="5074987"/>
                  <a:pt x="1637060" y="5077156"/>
                  <a:pt x="1634891" y="5077362"/>
                </a:cubicBezTo>
                <a:cubicBezTo>
                  <a:pt x="1634272" y="5077466"/>
                  <a:pt x="1633497" y="5077362"/>
                  <a:pt x="1632878" y="5076949"/>
                </a:cubicBezTo>
                <a:cubicBezTo>
                  <a:pt x="1631175" y="5076226"/>
                  <a:pt x="1631639" y="5074368"/>
                  <a:pt x="1633033" y="5072612"/>
                </a:cubicBezTo>
                <a:cubicBezTo>
                  <a:pt x="1634891" y="5068069"/>
                  <a:pt x="1637370" y="5067037"/>
                  <a:pt x="1640158" y="5069515"/>
                </a:cubicBezTo>
                <a:close/>
                <a:moveTo>
                  <a:pt x="2192674" y="5069412"/>
                </a:moveTo>
                <a:cubicBezTo>
                  <a:pt x="2197165" y="5072612"/>
                  <a:pt x="2193912" y="5076433"/>
                  <a:pt x="2194222" y="5082009"/>
                </a:cubicBezTo>
                <a:cubicBezTo>
                  <a:pt x="2189730" y="5081389"/>
                  <a:pt x="2187407" y="5074471"/>
                  <a:pt x="2189265" y="5071167"/>
                </a:cubicBezTo>
                <a:cubicBezTo>
                  <a:pt x="2189885" y="5070031"/>
                  <a:pt x="2190969" y="5069308"/>
                  <a:pt x="2192674" y="5069412"/>
                </a:cubicBezTo>
                <a:close/>
                <a:moveTo>
                  <a:pt x="2514218" y="5069334"/>
                </a:moveTo>
                <a:cubicBezTo>
                  <a:pt x="2516987" y="5069231"/>
                  <a:pt x="2519272" y="5069979"/>
                  <a:pt x="2520124" y="5069618"/>
                </a:cubicBezTo>
                <a:cubicBezTo>
                  <a:pt x="2521982" y="5071580"/>
                  <a:pt x="2522602" y="5072096"/>
                  <a:pt x="2521053" y="5074368"/>
                </a:cubicBezTo>
                <a:lnTo>
                  <a:pt x="2519349" y="5076536"/>
                </a:lnTo>
                <a:lnTo>
                  <a:pt x="2520743" y="5078395"/>
                </a:lnTo>
                <a:cubicBezTo>
                  <a:pt x="2519813" y="5079221"/>
                  <a:pt x="2519039" y="5080047"/>
                  <a:pt x="2518265" y="5080873"/>
                </a:cubicBezTo>
                <a:lnTo>
                  <a:pt x="2514857" y="5078911"/>
                </a:lnTo>
                <a:lnTo>
                  <a:pt x="2512224" y="5078705"/>
                </a:lnTo>
                <a:cubicBezTo>
                  <a:pt x="2510675" y="5079531"/>
                  <a:pt x="2508196" y="5079427"/>
                  <a:pt x="2506493" y="5078395"/>
                </a:cubicBezTo>
                <a:cubicBezTo>
                  <a:pt x="2504789" y="5076640"/>
                  <a:pt x="2504634" y="5074987"/>
                  <a:pt x="2505408" y="5074161"/>
                </a:cubicBezTo>
                <a:cubicBezTo>
                  <a:pt x="2508196" y="5070392"/>
                  <a:pt x="2511449" y="5069437"/>
                  <a:pt x="2514218" y="5069334"/>
                </a:cubicBezTo>
                <a:close/>
                <a:moveTo>
                  <a:pt x="1550163" y="5068999"/>
                </a:moveTo>
                <a:cubicBezTo>
                  <a:pt x="1553726" y="5067966"/>
                  <a:pt x="1554190" y="5070444"/>
                  <a:pt x="1556049" y="5073748"/>
                </a:cubicBezTo>
                <a:cubicBezTo>
                  <a:pt x="1554810" y="5074058"/>
                  <a:pt x="1555429" y="5077569"/>
                  <a:pt x="1555585" y="5078808"/>
                </a:cubicBezTo>
                <a:cubicBezTo>
                  <a:pt x="1553261" y="5079427"/>
                  <a:pt x="1553416" y="5083868"/>
                  <a:pt x="1549853" y="5084797"/>
                </a:cubicBezTo>
                <a:cubicBezTo>
                  <a:pt x="1548459" y="5083868"/>
                  <a:pt x="1547840" y="5083454"/>
                  <a:pt x="1546911" y="5081802"/>
                </a:cubicBezTo>
                <a:cubicBezTo>
                  <a:pt x="1545981" y="5072612"/>
                  <a:pt x="1550473" y="5070135"/>
                  <a:pt x="1550163" y="5068999"/>
                </a:cubicBezTo>
                <a:close/>
                <a:moveTo>
                  <a:pt x="1944839" y="5068792"/>
                </a:moveTo>
                <a:cubicBezTo>
                  <a:pt x="1948866" y="5068482"/>
                  <a:pt x="1951345" y="5069721"/>
                  <a:pt x="1952739" y="5071580"/>
                </a:cubicBezTo>
                <a:cubicBezTo>
                  <a:pt x="1956766" y="5077362"/>
                  <a:pt x="1950105" y="5089856"/>
                  <a:pt x="1940967" y="5089030"/>
                </a:cubicBezTo>
                <a:cubicBezTo>
                  <a:pt x="1939572" y="5087688"/>
                  <a:pt x="1938798" y="5086139"/>
                  <a:pt x="1938643" y="5084280"/>
                </a:cubicBezTo>
                <a:cubicBezTo>
                  <a:pt x="1938179" y="5081596"/>
                  <a:pt x="1938953" y="5078498"/>
                  <a:pt x="1940192" y="5075710"/>
                </a:cubicBezTo>
                <a:lnTo>
                  <a:pt x="1941276" y="5074161"/>
                </a:lnTo>
                <a:lnTo>
                  <a:pt x="1941431" y="5073439"/>
                </a:lnTo>
                <a:lnTo>
                  <a:pt x="1942361" y="5072612"/>
                </a:lnTo>
                <a:close/>
                <a:moveTo>
                  <a:pt x="1880713" y="5068689"/>
                </a:moveTo>
                <a:cubicBezTo>
                  <a:pt x="1882106" y="5070444"/>
                  <a:pt x="1881177" y="5072199"/>
                  <a:pt x="1880247" y="5073129"/>
                </a:cubicBezTo>
                <a:cubicBezTo>
                  <a:pt x="1879628" y="5074368"/>
                  <a:pt x="1878543" y="5074987"/>
                  <a:pt x="1877149" y="5075194"/>
                </a:cubicBezTo>
                <a:cubicBezTo>
                  <a:pt x="1875910" y="5075401"/>
                  <a:pt x="1874516" y="5075194"/>
                  <a:pt x="1873277" y="5074678"/>
                </a:cubicBezTo>
                <a:cubicBezTo>
                  <a:pt x="1874206" y="5074678"/>
                  <a:pt x="1874051" y="5074678"/>
                  <a:pt x="1874051" y="5074678"/>
                </a:cubicBezTo>
                <a:cubicBezTo>
                  <a:pt x="1875135" y="5073851"/>
                  <a:pt x="1874206" y="5073851"/>
                  <a:pt x="1874361" y="5072922"/>
                </a:cubicBezTo>
                <a:cubicBezTo>
                  <a:pt x="1874361" y="5072922"/>
                  <a:pt x="1874206" y="5073851"/>
                  <a:pt x="1873432" y="5072922"/>
                </a:cubicBezTo>
                <a:cubicBezTo>
                  <a:pt x="1874361" y="5072922"/>
                  <a:pt x="1874361" y="5072096"/>
                  <a:pt x="1874516" y="5071167"/>
                </a:cubicBezTo>
                <a:cubicBezTo>
                  <a:pt x="1876375" y="5069515"/>
                  <a:pt x="1879008" y="5067759"/>
                  <a:pt x="1880713" y="5068689"/>
                </a:cubicBezTo>
                <a:close/>
                <a:moveTo>
                  <a:pt x="2477624" y="5067617"/>
                </a:moveTo>
                <a:cubicBezTo>
                  <a:pt x="2482251" y="5066701"/>
                  <a:pt x="2487750" y="5067966"/>
                  <a:pt x="2488060" y="5071270"/>
                </a:cubicBezTo>
                <a:cubicBezTo>
                  <a:pt x="2488215" y="5073748"/>
                  <a:pt x="2485427" y="5077466"/>
                  <a:pt x="2476907" y="5082215"/>
                </a:cubicBezTo>
                <a:cubicBezTo>
                  <a:pt x="2474739" y="5080357"/>
                  <a:pt x="2473345" y="5078602"/>
                  <a:pt x="2472416" y="5077052"/>
                </a:cubicBezTo>
                <a:cubicBezTo>
                  <a:pt x="2469240" y="5071631"/>
                  <a:pt x="2472996" y="5068534"/>
                  <a:pt x="2477624" y="5067617"/>
                </a:cubicBezTo>
                <a:close/>
                <a:moveTo>
                  <a:pt x="2299241" y="5066417"/>
                </a:moveTo>
                <a:cubicBezTo>
                  <a:pt x="2299706" y="5067656"/>
                  <a:pt x="2299861" y="5069618"/>
                  <a:pt x="2300171" y="5070857"/>
                </a:cubicBezTo>
                <a:cubicBezTo>
                  <a:pt x="2300171" y="5070857"/>
                  <a:pt x="2300171" y="5070857"/>
                  <a:pt x="2299087" y="5071167"/>
                </a:cubicBezTo>
                <a:cubicBezTo>
                  <a:pt x="2299706" y="5069618"/>
                  <a:pt x="2297073" y="5067140"/>
                  <a:pt x="2299241" y="5066417"/>
                </a:cubicBezTo>
                <a:close/>
                <a:moveTo>
                  <a:pt x="1829906" y="5066004"/>
                </a:moveTo>
                <a:cubicBezTo>
                  <a:pt x="1831300" y="5068689"/>
                  <a:pt x="1832075" y="5069618"/>
                  <a:pt x="1830835" y="5072303"/>
                </a:cubicBezTo>
                <a:cubicBezTo>
                  <a:pt x="1830216" y="5071374"/>
                  <a:pt x="1829596" y="5070444"/>
                  <a:pt x="1829441" y="5069515"/>
                </a:cubicBezTo>
                <a:cubicBezTo>
                  <a:pt x="1829132" y="5068482"/>
                  <a:pt x="1829441" y="5067346"/>
                  <a:pt x="1829906" y="5066004"/>
                </a:cubicBezTo>
                <a:close/>
                <a:moveTo>
                  <a:pt x="1999207" y="5065591"/>
                </a:moveTo>
                <a:lnTo>
                  <a:pt x="2000912" y="5066417"/>
                </a:lnTo>
                <a:lnTo>
                  <a:pt x="2002460" y="5066727"/>
                </a:lnTo>
                <a:lnTo>
                  <a:pt x="2002460" y="5067450"/>
                </a:lnTo>
                <a:lnTo>
                  <a:pt x="2005249" y="5073129"/>
                </a:lnTo>
                <a:cubicBezTo>
                  <a:pt x="2005249" y="5074574"/>
                  <a:pt x="2004939" y="5076123"/>
                  <a:pt x="2003854" y="5077362"/>
                </a:cubicBezTo>
                <a:cubicBezTo>
                  <a:pt x="2002306" y="5078085"/>
                  <a:pt x="2000912" y="5078085"/>
                  <a:pt x="1999672" y="5077569"/>
                </a:cubicBezTo>
                <a:lnTo>
                  <a:pt x="1998123" y="5076226"/>
                </a:lnTo>
                <a:lnTo>
                  <a:pt x="1996265" y="5077569"/>
                </a:lnTo>
                <a:cubicBezTo>
                  <a:pt x="1994871" y="5078188"/>
                  <a:pt x="1993322" y="5078808"/>
                  <a:pt x="1991927" y="5080150"/>
                </a:cubicBezTo>
                <a:cubicBezTo>
                  <a:pt x="1990379" y="5078808"/>
                  <a:pt x="1989449" y="5077879"/>
                  <a:pt x="1989139" y="5076743"/>
                </a:cubicBezTo>
                <a:cubicBezTo>
                  <a:pt x="1988829" y="5075710"/>
                  <a:pt x="1989139" y="5074368"/>
                  <a:pt x="1990224" y="5072199"/>
                </a:cubicBezTo>
                <a:cubicBezTo>
                  <a:pt x="1990224" y="5072199"/>
                  <a:pt x="1991153" y="5071374"/>
                  <a:pt x="1991153" y="5071374"/>
                </a:cubicBezTo>
                <a:lnTo>
                  <a:pt x="1995490" y="5068276"/>
                </a:lnTo>
                <a:lnTo>
                  <a:pt x="1995800" y="5066004"/>
                </a:lnTo>
                <a:cubicBezTo>
                  <a:pt x="1997039" y="5065488"/>
                  <a:pt x="1998123" y="5065384"/>
                  <a:pt x="1999207" y="5065591"/>
                </a:cubicBezTo>
                <a:close/>
                <a:moveTo>
                  <a:pt x="1648833" y="5065384"/>
                </a:moveTo>
                <a:cubicBezTo>
                  <a:pt x="1648833" y="5066314"/>
                  <a:pt x="1649916" y="5068069"/>
                  <a:pt x="1649142" y="5068069"/>
                </a:cubicBezTo>
                <a:cubicBezTo>
                  <a:pt x="1649297" y="5068999"/>
                  <a:pt x="1647593" y="5069102"/>
                  <a:pt x="1647593" y="5069102"/>
                </a:cubicBezTo>
                <a:cubicBezTo>
                  <a:pt x="1647749" y="5070031"/>
                  <a:pt x="1647903" y="5070857"/>
                  <a:pt x="1647283" y="5071890"/>
                </a:cubicBezTo>
                <a:cubicBezTo>
                  <a:pt x="1646354" y="5070960"/>
                  <a:pt x="1646509" y="5071890"/>
                  <a:pt x="1645734" y="5071890"/>
                </a:cubicBezTo>
                <a:cubicBezTo>
                  <a:pt x="1646354" y="5070960"/>
                  <a:pt x="1645889" y="5068276"/>
                  <a:pt x="1646509" y="5066417"/>
                </a:cubicBezTo>
                <a:cubicBezTo>
                  <a:pt x="1647283" y="5066417"/>
                  <a:pt x="1647903" y="5065488"/>
                  <a:pt x="1648833" y="5065384"/>
                </a:cubicBezTo>
                <a:close/>
                <a:moveTo>
                  <a:pt x="2096541" y="5064984"/>
                </a:moveTo>
                <a:cubicBezTo>
                  <a:pt x="2099348" y="5063552"/>
                  <a:pt x="2102756" y="5063784"/>
                  <a:pt x="2104537" y="5066004"/>
                </a:cubicBezTo>
                <a:cubicBezTo>
                  <a:pt x="2105621" y="5067553"/>
                  <a:pt x="2106086" y="5069928"/>
                  <a:pt x="2105157" y="5073232"/>
                </a:cubicBezTo>
                <a:lnTo>
                  <a:pt x="2101749" y="5073748"/>
                </a:lnTo>
                <a:lnTo>
                  <a:pt x="2102059" y="5074987"/>
                </a:lnTo>
                <a:cubicBezTo>
                  <a:pt x="2102059" y="5075917"/>
                  <a:pt x="2101749" y="5076949"/>
                  <a:pt x="2101130" y="5078085"/>
                </a:cubicBezTo>
                <a:cubicBezTo>
                  <a:pt x="2099580" y="5077052"/>
                  <a:pt x="2097877" y="5076123"/>
                  <a:pt x="2096947" y="5074987"/>
                </a:cubicBezTo>
                <a:lnTo>
                  <a:pt x="2096792" y="5074574"/>
                </a:lnTo>
                <a:lnTo>
                  <a:pt x="2095243" y="5074884"/>
                </a:lnTo>
                <a:cubicBezTo>
                  <a:pt x="2094159" y="5074884"/>
                  <a:pt x="2093230" y="5074574"/>
                  <a:pt x="2092145" y="5073955"/>
                </a:cubicBezTo>
                <a:cubicBezTo>
                  <a:pt x="2091526" y="5069515"/>
                  <a:pt x="2093733" y="5066417"/>
                  <a:pt x="2096541" y="5064984"/>
                </a:cubicBezTo>
                <a:close/>
                <a:moveTo>
                  <a:pt x="2017795" y="5063526"/>
                </a:moveTo>
                <a:cubicBezTo>
                  <a:pt x="2019809" y="5066417"/>
                  <a:pt x="2021203" y="5068276"/>
                  <a:pt x="2021822" y="5070135"/>
                </a:cubicBezTo>
                <a:cubicBezTo>
                  <a:pt x="2020738" y="5071374"/>
                  <a:pt x="2019499" y="5071683"/>
                  <a:pt x="2018260" y="5071580"/>
                </a:cubicBezTo>
                <a:cubicBezTo>
                  <a:pt x="2017176" y="5071374"/>
                  <a:pt x="2016247" y="5070651"/>
                  <a:pt x="2015471" y="5069721"/>
                </a:cubicBezTo>
                <a:cubicBezTo>
                  <a:pt x="2014078" y="5067863"/>
                  <a:pt x="2014078" y="5064972"/>
                  <a:pt x="2017795" y="5063526"/>
                </a:cubicBezTo>
                <a:close/>
                <a:moveTo>
                  <a:pt x="2323560" y="5063319"/>
                </a:moveTo>
                <a:cubicBezTo>
                  <a:pt x="2324334" y="5062493"/>
                  <a:pt x="2325264" y="5062493"/>
                  <a:pt x="2326193" y="5063423"/>
                </a:cubicBezTo>
                <a:cubicBezTo>
                  <a:pt x="2326193" y="5063423"/>
                  <a:pt x="2325419" y="5065075"/>
                  <a:pt x="2325419" y="5065075"/>
                </a:cubicBezTo>
                <a:cubicBezTo>
                  <a:pt x="2323715" y="5066727"/>
                  <a:pt x="2322941" y="5067553"/>
                  <a:pt x="2322166" y="5069308"/>
                </a:cubicBezTo>
                <a:cubicBezTo>
                  <a:pt x="2320307" y="5068379"/>
                  <a:pt x="2320307" y="5067450"/>
                  <a:pt x="2321082" y="5066624"/>
                </a:cubicBezTo>
                <a:cubicBezTo>
                  <a:pt x="2321082" y="5066624"/>
                  <a:pt x="2322011" y="5065798"/>
                  <a:pt x="2322786" y="5064972"/>
                </a:cubicBezTo>
                <a:cubicBezTo>
                  <a:pt x="2323560" y="5064145"/>
                  <a:pt x="2323560" y="5063319"/>
                  <a:pt x="2323560" y="5063319"/>
                </a:cubicBezTo>
                <a:close/>
                <a:moveTo>
                  <a:pt x="2243169" y="5063319"/>
                </a:moveTo>
                <a:lnTo>
                  <a:pt x="2243944" y="5063732"/>
                </a:lnTo>
                <a:cubicBezTo>
                  <a:pt x="2244253" y="5064145"/>
                  <a:pt x="2244099" y="5064765"/>
                  <a:pt x="2243789" y="5065694"/>
                </a:cubicBezTo>
                <a:cubicBezTo>
                  <a:pt x="2242860" y="5068276"/>
                  <a:pt x="2240072" y="5072199"/>
                  <a:pt x="2239762" y="5072716"/>
                </a:cubicBezTo>
                <a:cubicBezTo>
                  <a:pt x="2239762" y="5072716"/>
                  <a:pt x="2239452" y="5073439"/>
                  <a:pt x="2238987" y="5074265"/>
                </a:cubicBezTo>
                <a:cubicBezTo>
                  <a:pt x="2237903" y="5074574"/>
                  <a:pt x="2237283" y="5074161"/>
                  <a:pt x="2236819" y="5074884"/>
                </a:cubicBezTo>
                <a:cubicBezTo>
                  <a:pt x="2235579" y="5071374"/>
                  <a:pt x="2237438" y="5069515"/>
                  <a:pt x="2239297" y="5067759"/>
                </a:cubicBezTo>
                <a:cubicBezTo>
                  <a:pt x="2240691" y="5066624"/>
                  <a:pt x="2241155" y="5065901"/>
                  <a:pt x="2241001" y="5063939"/>
                </a:cubicBezTo>
                <a:cubicBezTo>
                  <a:pt x="2241001" y="5063939"/>
                  <a:pt x="2241001" y="5063939"/>
                  <a:pt x="2243169" y="5063319"/>
                </a:cubicBezTo>
                <a:close/>
                <a:moveTo>
                  <a:pt x="2218851" y="5063216"/>
                </a:moveTo>
                <a:cubicBezTo>
                  <a:pt x="2220090" y="5063526"/>
                  <a:pt x="2221175" y="5063732"/>
                  <a:pt x="2220864" y="5064972"/>
                </a:cubicBezTo>
                <a:cubicBezTo>
                  <a:pt x="2220399" y="5066107"/>
                  <a:pt x="2220864" y="5066934"/>
                  <a:pt x="2218851" y="5067037"/>
                </a:cubicBezTo>
                <a:cubicBezTo>
                  <a:pt x="2218231" y="5067553"/>
                  <a:pt x="2217147" y="5067243"/>
                  <a:pt x="2216372" y="5067759"/>
                </a:cubicBezTo>
                <a:cubicBezTo>
                  <a:pt x="2216372" y="5067759"/>
                  <a:pt x="2215908" y="5067243"/>
                  <a:pt x="2215443" y="5066727"/>
                </a:cubicBezTo>
                <a:cubicBezTo>
                  <a:pt x="2214978" y="5066107"/>
                  <a:pt x="2214668" y="5065384"/>
                  <a:pt x="2214823" y="5064765"/>
                </a:cubicBezTo>
                <a:cubicBezTo>
                  <a:pt x="2214823" y="5062803"/>
                  <a:pt x="2218231" y="5063629"/>
                  <a:pt x="2218851" y="5063216"/>
                </a:cubicBezTo>
                <a:close/>
                <a:moveTo>
                  <a:pt x="2285766" y="5059706"/>
                </a:moveTo>
                <a:cubicBezTo>
                  <a:pt x="2280189" y="5067346"/>
                  <a:pt x="2274923" y="5062700"/>
                  <a:pt x="2271670" y="5066934"/>
                </a:cubicBezTo>
                <a:cubicBezTo>
                  <a:pt x="2270741" y="5065178"/>
                  <a:pt x="2270741" y="5065178"/>
                  <a:pt x="2271515" y="5063423"/>
                </a:cubicBezTo>
                <a:cubicBezTo>
                  <a:pt x="2272290" y="5063423"/>
                  <a:pt x="2272290" y="5062597"/>
                  <a:pt x="2273219" y="5063423"/>
                </a:cubicBezTo>
                <a:cubicBezTo>
                  <a:pt x="2274768" y="5060945"/>
                  <a:pt x="2282358" y="5058673"/>
                  <a:pt x="2285766" y="5059706"/>
                </a:cubicBezTo>
                <a:close/>
                <a:moveTo>
                  <a:pt x="2567522" y="5059086"/>
                </a:moveTo>
                <a:cubicBezTo>
                  <a:pt x="2569845" y="5057434"/>
                  <a:pt x="2578519" y="5063113"/>
                  <a:pt x="2573717" y="5067243"/>
                </a:cubicBezTo>
                <a:cubicBezTo>
                  <a:pt x="2573098" y="5067863"/>
                  <a:pt x="2572169" y="5067966"/>
                  <a:pt x="2571239" y="5067553"/>
                </a:cubicBezTo>
                <a:cubicBezTo>
                  <a:pt x="2568451" y="5066417"/>
                  <a:pt x="2565043" y="5061564"/>
                  <a:pt x="2567522" y="5059086"/>
                </a:cubicBezTo>
                <a:close/>
                <a:moveTo>
                  <a:pt x="1644805" y="5058879"/>
                </a:moveTo>
                <a:cubicBezTo>
                  <a:pt x="1644805" y="5058879"/>
                  <a:pt x="1644185" y="5060635"/>
                  <a:pt x="1644185" y="5060635"/>
                </a:cubicBezTo>
                <a:cubicBezTo>
                  <a:pt x="1642636" y="5062493"/>
                  <a:pt x="1641862" y="5063423"/>
                  <a:pt x="1641242" y="5065178"/>
                </a:cubicBezTo>
                <a:cubicBezTo>
                  <a:pt x="1639384" y="5064455"/>
                  <a:pt x="1639384" y="5063526"/>
                  <a:pt x="1640003" y="5062597"/>
                </a:cubicBezTo>
                <a:cubicBezTo>
                  <a:pt x="1640003" y="5062597"/>
                  <a:pt x="1640778" y="5061771"/>
                  <a:pt x="1641552" y="5060841"/>
                </a:cubicBezTo>
                <a:cubicBezTo>
                  <a:pt x="1642327" y="5059912"/>
                  <a:pt x="1642172" y="5058983"/>
                  <a:pt x="1642172" y="5058983"/>
                </a:cubicBezTo>
                <a:cubicBezTo>
                  <a:pt x="1642946" y="5058053"/>
                  <a:pt x="1643720" y="5058053"/>
                  <a:pt x="1644805" y="5058879"/>
                </a:cubicBezTo>
                <a:close/>
                <a:moveTo>
                  <a:pt x="1736658" y="5058260"/>
                </a:moveTo>
                <a:cubicBezTo>
                  <a:pt x="1738207" y="5060325"/>
                  <a:pt x="1738982" y="5061977"/>
                  <a:pt x="1740066" y="5064765"/>
                </a:cubicBezTo>
                <a:cubicBezTo>
                  <a:pt x="1740066" y="5064765"/>
                  <a:pt x="1740841" y="5069515"/>
                  <a:pt x="1738053" y="5070857"/>
                </a:cubicBezTo>
                <a:cubicBezTo>
                  <a:pt x="1737588" y="5071683"/>
                  <a:pt x="1734799" y="5069928"/>
                  <a:pt x="1734645" y="5068689"/>
                </a:cubicBezTo>
                <a:cubicBezTo>
                  <a:pt x="1734180" y="5066314"/>
                  <a:pt x="1734180" y="5065178"/>
                  <a:pt x="1735110" y="5063629"/>
                </a:cubicBezTo>
                <a:cubicBezTo>
                  <a:pt x="1734954" y="5062493"/>
                  <a:pt x="1734645" y="5061254"/>
                  <a:pt x="1734799" y="5060325"/>
                </a:cubicBezTo>
                <a:cubicBezTo>
                  <a:pt x="1734954" y="5059292"/>
                  <a:pt x="1735419" y="5058673"/>
                  <a:pt x="1736658" y="5058260"/>
                </a:cubicBezTo>
                <a:close/>
                <a:moveTo>
                  <a:pt x="2193448" y="5058157"/>
                </a:moveTo>
                <a:cubicBezTo>
                  <a:pt x="2195152" y="5060118"/>
                  <a:pt x="2196855" y="5062080"/>
                  <a:pt x="2195771" y="5066417"/>
                </a:cubicBezTo>
                <a:cubicBezTo>
                  <a:pt x="2194377" y="5067553"/>
                  <a:pt x="2192983" y="5068173"/>
                  <a:pt x="2191434" y="5068379"/>
                </a:cubicBezTo>
                <a:cubicBezTo>
                  <a:pt x="2189885" y="5068585"/>
                  <a:pt x="2188181" y="5068173"/>
                  <a:pt x="2186012" y="5067450"/>
                </a:cubicBezTo>
                <a:cubicBezTo>
                  <a:pt x="2184618" y="5063526"/>
                  <a:pt x="2188026" y="5056195"/>
                  <a:pt x="2193448" y="5058157"/>
                </a:cubicBezTo>
                <a:close/>
                <a:moveTo>
                  <a:pt x="1104217" y="5057640"/>
                </a:moveTo>
                <a:cubicBezTo>
                  <a:pt x="1105920" y="5058467"/>
                  <a:pt x="1108399" y="5057744"/>
                  <a:pt x="1109948" y="5059499"/>
                </a:cubicBezTo>
                <a:cubicBezTo>
                  <a:pt x="1109948" y="5059499"/>
                  <a:pt x="1110568" y="5060325"/>
                  <a:pt x="1110413" y="5062080"/>
                </a:cubicBezTo>
                <a:cubicBezTo>
                  <a:pt x="1111807" y="5064662"/>
                  <a:pt x="1109174" y="5067243"/>
                  <a:pt x="1109174" y="5067243"/>
                </a:cubicBezTo>
                <a:cubicBezTo>
                  <a:pt x="1109174" y="5067243"/>
                  <a:pt x="1109174" y="5067243"/>
                  <a:pt x="1109948" y="5067243"/>
                </a:cubicBezTo>
                <a:cubicBezTo>
                  <a:pt x="1108244" y="5067243"/>
                  <a:pt x="1106541" y="5068069"/>
                  <a:pt x="1104837" y="5068069"/>
                </a:cubicBezTo>
                <a:cubicBezTo>
                  <a:pt x="1103287" y="5066727"/>
                  <a:pt x="1102358" y="5065694"/>
                  <a:pt x="1101893" y="5064662"/>
                </a:cubicBezTo>
                <a:cubicBezTo>
                  <a:pt x="1100190" y="5061771"/>
                  <a:pt x="1102203" y="5060222"/>
                  <a:pt x="1104217" y="5057640"/>
                </a:cubicBezTo>
                <a:close/>
                <a:moveTo>
                  <a:pt x="2292271" y="5055782"/>
                </a:moveTo>
                <a:cubicBezTo>
                  <a:pt x="2291343" y="5056608"/>
                  <a:pt x="2289793" y="5057434"/>
                  <a:pt x="2288864" y="5058260"/>
                </a:cubicBezTo>
                <a:cubicBezTo>
                  <a:pt x="2288864" y="5058260"/>
                  <a:pt x="2288864" y="5058260"/>
                  <a:pt x="2288089" y="5057331"/>
                </a:cubicBezTo>
                <a:cubicBezTo>
                  <a:pt x="2289793" y="5057434"/>
                  <a:pt x="2290413" y="5053923"/>
                  <a:pt x="2292271" y="5055782"/>
                </a:cubicBezTo>
                <a:close/>
                <a:moveTo>
                  <a:pt x="2279008" y="5055098"/>
                </a:moveTo>
                <a:cubicBezTo>
                  <a:pt x="2281351" y="5055085"/>
                  <a:pt x="2283287" y="5055369"/>
                  <a:pt x="2283752" y="5055369"/>
                </a:cubicBezTo>
                <a:cubicBezTo>
                  <a:pt x="2283752" y="5056195"/>
                  <a:pt x="2283752" y="5056195"/>
                  <a:pt x="2283752" y="5056195"/>
                </a:cubicBezTo>
                <a:cubicBezTo>
                  <a:pt x="2281119" y="5055472"/>
                  <a:pt x="2278176" y="5057537"/>
                  <a:pt x="2275078" y="5057847"/>
                </a:cubicBezTo>
                <a:cubicBezTo>
                  <a:pt x="2274149" y="5057950"/>
                  <a:pt x="2273064" y="5057847"/>
                  <a:pt x="2271980" y="5057434"/>
                </a:cubicBezTo>
                <a:cubicBezTo>
                  <a:pt x="2271980" y="5057434"/>
                  <a:pt x="2271980" y="5057434"/>
                  <a:pt x="2272755" y="5057434"/>
                </a:cubicBezTo>
                <a:cubicBezTo>
                  <a:pt x="2272755" y="5057434"/>
                  <a:pt x="2271980" y="5057434"/>
                  <a:pt x="2271825" y="5056608"/>
                </a:cubicBezTo>
                <a:cubicBezTo>
                  <a:pt x="2273916" y="5055420"/>
                  <a:pt x="2276666" y="5055111"/>
                  <a:pt x="2279008" y="5055098"/>
                </a:cubicBezTo>
                <a:close/>
                <a:moveTo>
                  <a:pt x="1573553" y="5055059"/>
                </a:moveTo>
                <a:cubicBezTo>
                  <a:pt x="1576186" y="5058260"/>
                  <a:pt x="1574328" y="5063216"/>
                  <a:pt x="1569216" y="5062390"/>
                </a:cubicBezTo>
                <a:cubicBezTo>
                  <a:pt x="1569526" y="5058776"/>
                  <a:pt x="1569990" y="5054956"/>
                  <a:pt x="1573553" y="5055059"/>
                </a:cubicBezTo>
                <a:close/>
                <a:moveTo>
                  <a:pt x="2537472" y="5054852"/>
                </a:moveTo>
                <a:cubicBezTo>
                  <a:pt x="2541964" y="5057847"/>
                  <a:pt x="2541809" y="5065384"/>
                  <a:pt x="2536078" y="5066520"/>
                </a:cubicBezTo>
                <a:cubicBezTo>
                  <a:pt x="2534994" y="5064765"/>
                  <a:pt x="2533445" y="5063836"/>
                  <a:pt x="2532360" y="5062184"/>
                </a:cubicBezTo>
                <a:cubicBezTo>
                  <a:pt x="2533909" y="5059396"/>
                  <a:pt x="2532205" y="5055266"/>
                  <a:pt x="2537472" y="5054852"/>
                </a:cubicBezTo>
                <a:close/>
                <a:moveTo>
                  <a:pt x="1610573" y="5054749"/>
                </a:moveTo>
                <a:cubicBezTo>
                  <a:pt x="1609798" y="5055678"/>
                  <a:pt x="1608250" y="5056711"/>
                  <a:pt x="1607475" y="5057640"/>
                </a:cubicBezTo>
                <a:cubicBezTo>
                  <a:pt x="1607475" y="5057640"/>
                  <a:pt x="1607475" y="5057640"/>
                  <a:pt x="1606546" y="5056814"/>
                </a:cubicBezTo>
                <a:cubicBezTo>
                  <a:pt x="1608250" y="5056711"/>
                  <a:pt x="1608559" y="5053097"/>
                  <a:pt x="1610573" y="5054749"/>
                </a:cubicBezTo>
                <a:close/>
                <a:moveTo>
                  <a:pt x="2488524" y="5054646"/>
                </a:moveTo>
                <a:cubicBezTo>
                  <a:pt x="2490228" y="5056401"/>
                  <a:pt x="2491932" y="5055678"/>
                  <a:pt x="2493636" y="5057434"/>
                </a:cubicBezTo>
                <a:cubicBezTo>
                  <a:pt x="2492087" y="5059086"/>
                  <a:pt x="2491313" y="5060841"/>
                  <a:pt x="2490538" y="5061668"/>
                </a:cubicBezTo>
                <a:cubicBezTo>
                  <a:pt x="2486976" y="5059809"/>
                  <a:pt x="2486046" y="5057124"/>
                  <a:pt x="2488524" y="5054646"/>
                </a:cubicBezTo>
                <a:close/>
                <a:moveTo>
                  <a:pt x="2581462" y="5053820"/>
                </a:moveTo>
                <a:cubicBezTo>
                  <a:pt x="2586419" y="5052271"/>
                  <a:pt x="2591066" y="5057847"/>
                  <a:pt x="2587658" y="5063113"/>
                </a:cubicBezTo>
                <a:cubicBezTo>
                  <a:pt x="2585799" y="5062803"/>
                  <a:pt x="2584250" y="5063319"/>
                  <a:pt x="2582392" y="5063010"/>
                </a:cubicBezTo>
                <a:cubicBezTo>
                  <a:pt x="2582082" y="5061357"/>
                  <a:pt x="2580998" y="5060222"/>
                  <a:pt x="2580378" y="5058879"/>
                </a:cubicBezTo>
                <a:cubicBezTo>
                  <a:pt x="2579759" y="5057537"/>
                  <a:pt x="2579759" y="5056091"/>
                  <a:pt x="2581462" y="5053820"/>
                </a:cubicBezTo>
                <a:close/>
                <a:moveTo>
                  <a:pt x="2046393" y="5053394"/>
                </a:moveTo>
                <a:cubicBezTo>
                  <a:pt x="2047961" y="5052632"/>
                  <a:pt x="2049626" y="5053252"/>
                  <a:pt x="2049239" y="5057640"/>
                </a:cubicBezTo>
                <a:cubicBezTo>
                  <a:pt x="2047690" y="5058053"/>
                  <a:pt x="2046451" y="5058157"/>
                  <a:pt x="2045676" y="5058157"/>
                </a:cubicBezTo>
                <a:cubicBezTo>
                  <a:pt x="2044902" y="5058053"/>
                  <a:pt x="2044283" y="5057744"/>
                  <a:pt x="2044127" y="5057434"/>
                </a:cubicBezTo>
                <a:cubicBezTo>
                  <a:pt x="2043353" y="5056298"/>
                  <a:pt x="2044825" y="5054155"/>
                  <a:pt x="2046393" y="5053394"/>
                </a:cubicBezTo>
                <a:close/>
                <a:moveTo>
                  <a:pt x="2124519" y="5052271"/>
                </a:moveTo>
                <a:cubicBezTo>
                  <a:pt x="2131954" y="5052374"/>
                  <a:pt x="2144190" y="5052787"/>
                  <a:pt x="2149767" y="5057537"/>
                </a:cubicBezTo>
                <a:cubicBezTo>
                  <a:pt x="2148528" y="5059809"/>
                  <a:pt x="2146514" y="5060841"/>
                  <a:pt x="2144345" y="5061151"/>
                </a:cubicBezTo>
                <a:cubicBezTo>
                  <a:pt x="2137375" y="5062080"/>
                  <a:pt x="2127307" y="5055885"/>
                  <a:pt x="2124519" y="5052271"/>
                </a:cubicBezTo>
                <a:close/>
                <a:moveTo>
                  <a:pt x="1966834" y="5052168"/>
                </a:moveTo>
                <a:cubicBezTo>
                  <a:pt x="1976283" y="5053407"/>
                  <a:pt x="1977832" y="5061771"/>
                  <a:pt x="1979536" y="5062803"/>
                </a:cubicBezTo>
                <a:cubicBezTo>
                  <a:pt x="1979071" y="5065488"/>
                  <a:pt x="1979071" y="5066107"/>
                  <a:pt x="1976283" y="5065901"/>
                </a:cubicBezTo>
                <a:cubicBezTo>
                  <a:pt x="1975354" y="5065798"/>
                  <a:pt x="1974115" y="5065591"/>
                  <a:pt x="1972565" y="5065384"/>
                </a:cubicBezTo>
                <a:cubicBezTo>
                  <a:pt x="1971326" y="5065075"/>
                  <a:pt x="1970242" y="5064455"/>
                  <a:pt x="1969313" y="5063629"/>
                </a:cubicBezTo>
                <a:cubicBezTo>
                  <a:pt x="1968384" y="5062700"/>
                  <a:pt x="1967764" y="5061668"/>
                  <a:pt x="1967299" y="5060325"/>
                </a:cubicBezTo>
                <a:cubicBezTo>
                  <a:pt x="1965595" y="5059292"/>
                  <a:pt x="1964201" y="5057021"/>
                  <a:pt x="1963891" y="5055162"/>
                </a:cubicBezTo>
                <a:cubicBezTo>
                  <a:pt x="1964201" y="5052787"/>
                  <a:pt x="1965595" y="5051858"/>
                  <a:pt x="1966834" y="5052168"/>
                </a:cubicBezTo>
                <a:close/>
                <a:moveTo>
                  <a:pt x="1715438" y="5051135"/>
                </a:moveTo>
                <a:cubicBezTo>
                  <a:pt x="1716677" y="5050825"/>
                  <a:pt x="1719620" y="5050516"/>
                  <a:pt x="1720704" y="5053304"/>
                </a:cubicBezTo>
                <a:cubicBezTo>
                  <a:pt x="1721634" y="5056195"/>
                  <a:pt x="1724112" y="5056711"/>
                  <a:pt x="1725197" y="5059499"/>
                </a:cubicBezTo>
                <a:cubicBezTo>
                  <a:pt x="1725197" y="5059499"/>
                  <a:pt x="1725197" y="5059499"/>
                  <a:pt x="1723957" y="5059809"/>
                </a:cubicBezTo>
                <a:cubicBezTo>
                  <a:pt x="1721634" y="5056195"/>
                  <a:pt x="1717297" y="5055575"/>
                  <a:pt x="1715438" y="5051135"/>
                </a:cubicBezTo>
                <a:close/>
                <a:moveTo>
                  <a:pt x="2325109" y="5049586"/>
                </a:moveTo>
                <a:cubicBezTo>
                  <a:pt x="2325883" y="5050000"/>
                  <a:pt x="2327897" y="5052065"/>
                  <a:pt x="2328207" y="5051342"/>
                </a:cubicBezTo>
                <a:cubicBezTo>
                  <a:pt x="2329136" y="5054026"/>
                  <a:pt x="2329911" y="5057124"/>
                  <a:pt x="2329136" y="5059086"/>
                </a:cubicBezTo>
                <a:cubicBezTo>
                  <a:pt x="2328826" y="5059706"/>
                  <a:pt x="2328362" y="5060325"/>
                  <a:pt x="2327742" y="5060635"/>
                </a:cubicBezTo>
                <a:cubicBezTo>
                  <a:pt x="2326348" y="5061668"/>
                  <a:pt x="2325109" y="5060015"/>
                  <a:pt x="2324334" y="5057640"/>
                </a:cubicBezTo>
                <a:cubicBezTo>
                  <a:pt x="2321546" y="5053201"/>
                  <a:pt x="2321701" y="5050516"/>
                  <a:pt x="2325109" y="5049586"/>
                </a:cubicBezTo>
                <a:close/>
                <a:moveTo>
                  <a:pt x="2500819" y="5049147"/>
                </a:moveTo>
                <a:cubicBezTo>
                  <a:pt x="2501884" y="5049664"/>
                  <a:pt x="2502620" y="5050877"/>
                  <a:pt x="2502465" y="5052065"/>
                </a:cubicBezTo>
                <a:cubicBezTo>
                  <a:pt x="2502310" y="5052890"/>
                  <a:pt x="2501846" y="5053717"/>
                  <a:pt x="2500606" y="5054233"/>
                </a:cubicBezTo>
                <a:cubicBezTo>
                  <a:pt x="2499213" y="5053201"/>
                  <a:pt x="2498593" y="5052271"/>
                  <a:pt x="2497199" y="5050412"/>
                </a:cubicBezTo>
                <a:cubicBezTo>
                  <a:pt x="2498361" y="5048812"/>
                  <a:pt x="2499755" y="5048631"/>
                  <a:pt x="2500819" y="5049147"/>
                </a:cubicBezTo>
                <a:close/>
                <a:moveTo>
                  <a:pt x="1054185" y="5048038"/>
                </a:moveTo>
                <a:cubicBezTo>
                  <a:pt x="1054805" y="5048967"/>
                  <a:pt x="1055425" y="5050309"/>
                  <a:pt x="1055889" y="5051961"/>
                </a:cubicBezTo>
                <a:cubicBezTo>
                  <a:pt x="1052792" y="5055575"/>
                  <a:pt x="1048764" y="5061874"/>
                  <a:pt x="1043497" y="5062907"/>
                </a:cubicBezTo>
                <a:cubicBezTo>
                  <a:pt x="1041794" y="5063216"/>
                  <a:pt x="1039780" y="5062907"/>
                  <a:pt x="1037767" y="5061771"/>
                </a:cubicBezTo>
                <a:cubicBezTo>
                  <a:pt x="1037302" y="5052581"/>
                  <a:pt x="1049074" y="5041533"/>
                  <a:pt x="1054185" y="5048038"/>
                </a:cubicBezTo>
                <a:close/>
                <a:moveTo>
                  <a:pt x="1715593" y="5047934"/>
                </a:moveTo>
                <a:cubicBezTo>
                  <a:pt x="1716522" y="5049586"/>
                  <a:pt x="1705679" y="5054440"/>
                  <a:pt x="1702736" y="5055885"/>
                </a:cubicBezTo>
                <a:cubicBezTo>
                  <a:pt x="1702117" y="5055369"/>
                  <a:pt x="1702117" y="5055369"/>
                  <a:pt x="1702117" y="5055369"/>
                </a:cubicBezTo>
                <a:cubicBezTo>
                  <a:pt x="1701652" y="5054543"/>
                  <a:pt x="1701807" y="5053923"/>
                  <a:pt x="1702426" y="5053304"/>
                </a:cubicBezTo>
                <a:cubicBezTo>
                  <a:pt x="1703201" y="5052581"/>
                  <a:pt x="1704285" y="5051961"/>
                  <a:pt x="1705679" y="5051239"/>
                </a:cubicBezTo>
                <a:cubicBezTo>
                  <a:pt x="1708622" y="5049896"/>
                  <a:pt x="1712804" y="5049380"/>
                  <a:pt x="1713888" y="5048967"/>
                </a:cubicBezTo>
                <a:cubicBezTo>
                  <a:pt x="1715128" y="5048657"/>
                  <a:pt x="1715593" y="5047934"/>
                  <a:pt x="1715593" y="5047934"/>
                </a:cubicBezTo>
                <a:close/>
                <a:moveTo>
                  <a:pt x="1553571" y="5047728"/>
                </a:moveTo>
                <a:cubicBezTo>
                  <a:pt x="1555739" y="5050412"/>
                  <a:pt x="1554655" y="5053820"/>
                  <a:pt x="1556824" y="5057331"/>
                </a:cubicBezTo>
                <a:cubicBezTo>
                  <a:pt x="1554810" y="5059912"/>
                  <a:pt x="1556979" y="5064352"/>
                  <a:pt x="1554036" y="5067759"/>
                </a:cubicBezTo>
                <a:cubicBezTo>
                  <a:pt x="1552796" y="5066830"/>
                  <a:pt x="1552022" y="5065281"/>
                  <a:pt x="1551557" y="5063423"/>
                </a:cubicBezTo>
                <a:cubicBezTo>
                  <a:pt x="1550163" y="5057950"/>
                  <a:pt x="1551403" y="5049689"/>
                  <a:pt x="1553571" y="5047728"/>
                </a:cubicBezTo>
                <a:close/>
                <a:moveTo>
                  <a:pt x="1421948" y="5047134"/>
                </a:moveTo>
                <a:cubicBezTo>
                  <a:pt x="1427679" y="5045069"/>
                  <a:pt x="1433681" y="5045095"/>
                  <a:pt x="1435850" y="5049173"/>
                </a:cubicBezTo>
                <a:cubicBezTo>
                  <a:pt x="1426246" y="5051342"/>
                  <a:pt x="1420825" y="5057331"/>
                  <a:pt x="1409672" y="5057640"/>
                </a:cubicBezTo>
                <a:cubicBezTo>
                  <a:pt x="1410756" y="5053355"/>
                  <a:pt x="1416217" y="5049199"/>
                  <a:pt x="1421948" y="5047134"/>
                </a:cubicBezTo>
                <a:close/>
                <a:moveTo>
                  <a:pt x="2170833" y="5046076"/>
                </a:moveTo>
                <a:cubicBezTo>
                  <a:pt x="2171917" y="5045766"/>
                  <a:pt x="2175634" y="5045973"/>
                  <a:pt x="2176099" y="5047108"/>
                </a:cubicBezTo>
                <a:cubicBezTo>
                  <a:pt x="2176564" y="5048347"/>
                  <a:pt x="2176099" y="5049070"/>
                  <a:pt x="2175789" y="5049896"/>
                </a:cubicBezTo>
                <a:lnTo>
                  <a:pt x="2172227" y="5052478"/>
                </a:lnTo>
                <a:lnTo>
                  <a:pt x="2173931" y="5053201"/>
                </a:lnTo>
                <a:cubicBezTo>
                  <a:pt x="2175634" y="5054440"/>
                  <a:pt x="2176719" y="5055782"/>
                  <a:pt x="2176874" y="5056711"/>
                </a:cubicBezTo>
                <a:cubicBezTo>
                  <a:pt x="2176719" y="5058570"/>
                  <a:pt x="2175325" y="5060428"/>
                  <a:pt x="2173156" y="5060841"/>
                </a:cubicBezTo>
                <a:cubicBezTo>
                  <a:pt x="2172537" y="5061048"/>
                  <a:pt x="2171762" y="5060945"/>
                  <a:pt x="2170833" y="5060738"/>
                </a:cubicBezTo>
                <a:cubicBezTo>
                  <a:pt x="2167890" y="5060635"/>
                  <a:pt x="2165876" y="5057640"/>
                  <a:pt x="2162313" y="5056711"/>
                </a:cubicBezTo>
                <a:cubicBezTo>
                  <a:pt x="2162313" y="5054543"/>
                  <a:pt x="2162313" y="5053201"/>
                  <a:pt x="2162933" y="5052271"/>
                </a:cubicBezTo>
                <a:lnTo>
                  <a:pt x="2163553" y="5051961"/>
                </a:lnTo>
                <a:close/>
                <a:moveTo>
                  <a:pt x="2315970" y="5045559"/>
                </a:moveTo>
                <a:cubicBezTo>
                  <a:pt x="2314886" y="5047418"/>
                  <a:pt x="2312872" y="5050722"/>
                  <a:pt x="2310858" y="5051445"/>
                </a:cubicBezTo>
                <a:cubicBezTo>
                  <a:pt x="2310239" y="5051755"/>
                  <a:pt x="2309465" y="5051651"/>
                  <a:pt x="2308845" y="5051239"/>
                </a:cubicBezTo>
                <a:cubicBezTo>
                  <a:pt x="2308070" y="5050309"/>
                  <a:pt x="2308845" y="5049483"/>
                  <a:pt x="2308690" y="5048657"/>
                </a:cubicBezTo>
                <a:cubicBezTo>
                  <a:pt x="2309465" y="5047005"/>
                  <a:pt x="2315041" y="5044734"/>
                  <a:pt x="2315970" y="5045559"/>
                </a:cubicBezTo>
                <a:close/>
                <a:moveTo>
                  <a:pt x="1252917" y="5045559"/>
                </a:moveTo>
                <a:cubicBezTo>
                  <a:pt x="1257409" y="5045146"/>
                  <a:pt x="1257564" y="5048038"/>
                  <a:pt x="1257719" y="5050722"/>
                </a:cubicBezTo>
                <a:cubicBezTo>
                  <a:pt x="1255396" y="5050412"/>
                  <a:pt x="1254776" y="5052581"/>
                  <a:pt x="1253382" y="5052581"/>
                </a:cubicBezTo>
                <a:cubicBezTo>
                  <a:pt x="1252763" y="5052684"/>
                  <a:pt x="1252298" y="5052478"/>
                  <a:pt x="1251678" y="5051858"/>
                </a:cubicBezTo>
                <a:cubicBezTo>
                  <a:pt x="1251059" y="5050309"/>
                  <a:pt x="1251213" y="5048244"/>
                  <a:pt x="1252917" y="5045559"/>
                </a:cubicBezTo>
                <a:close/>
                <a:moveTo>
                  <a:pt x="2538866" y="5044734"/>
                </a:moveTo>
                <a:cubicBezTo>
                  <a:pt x="2540880" y="5041945"/>
                  <a:pt x="2547385" y="5043598"/>
                  <a:pt x="2549089" y="5047005"/>
                </a:cubicBezTo>
                <a:cubicBezTo>
                  <a:pt x="2546456" y="5046282"/>
                  <a:pt x="2544287" y="5046799"/>
                  <a:pt x="2542738" y="5046902"/>
                </a:cubicBezTo>
                <a:cubicBezTo>
                  <a:pt x="2541189" y="5047005"/>
                  <a:pt x="2539950" y="5046799"/>
                  <a:pt x="2538866" y="5044734"/>
                </a:cubicBezTo>
                <a:close/>
                <a:moveTo>
                  <a:pt x="1721634" y="5044320"/>
                </a:moveTo>
                <a:cubicBezTo>
                  <a:pt x="1721634" y="5044320"/>
                  <a:pt x="1722098" y="5043598"/>
                  <a:pt x="1723028" y="5046385"/>
                </a:cubicBezTo>
                <a:cubicBezTo>
                  <a:pt x="1721943" y="5046695"/>
                  <a:pt x="1718536" y="5047624"/>
                  <a:pt x="1718536" y="5047624"/>
                </a:cubicBezTo>
                <a:cubicBezTo>
                  <a:pt x="1718071" y="5048347"/>
                  <a:pt x="1717916" y="5048347"/>
                  <a:pt x="1716832" y="5048657"/>
                </a:cubicBezTo>
                <a:cubicBezTo>
                  <a:pt x="1716677" y="5047521"/>
                  <a:pt x="1716677" y="5047521"/>
                  <a:pt x="1717142" y="5046799"/>
                </a:cubicBezTo>
                <a:cubicBezTo>
                  <a:pt x="1718381" y="5046489"/>
                  <a:pt x="1719000" y="5046902"/>
                  <a:pt x="1720085" y="5046592"/>
                </a:cubicBezTo>
                <a:cubicBezTo>
                  <a:pt x="1719775" y="5044217"/>
                  <a:pt x="1719310" y="5044940"/>
                  <a:pt x="1720394" y="5044630"/>
                </a:cubicBezTo>
                <a:cubicBezTo>
                  <a:pt x="1720394" y="5044630"/>
                  <a:pt x="1720394" y="5044630"/>
                  <a:pt x="1721634" y="5044320"/>
                </a:cubicBezTo>
                <a:close/>
                <a:moveTo>
                  <a:pt x="2567831" y="5044217"/>
                </a:moveTo>
                <a:cubicBezTo>
                  <a:pt x="2568296" y="5044940"/>
                  <a:pt x="2569535" y="5045146"/>
                  <a:pt x="2570000" y="5045869"/>
                </a:cubicBezTo>
                <a:cubicBezTo>
                  <a:pt x="2569226" y="5046282"/>
                  <a:pt x="2568451" y="5048038"/>
                  <a:pt x="2567986" y="5047315"/>
                </a:cubicBezTo>
                <a:cubicBezTo>
                  <a:pt x="2567212" y="5047728"/>
                  <a:pt x="2566282" y="5046282"/>
                  <a:pt x="2566282" y="5046282"/>
                </a:cubicBezTo>
                <a:cubicBezTo>
                  <a:pt x="2565508" y="5046799"/>
                  <a:pt x="2564888" y="5047211"/>
                  <a:pt x="2563649" y="5046902"/>
                </a:cubicBezTo>
                <a:cubicBezTo>
                  <a:pt x="2563804" y="5045766"/>
                  <a:pt x="2563184" y="5046179"/>
                  <a:pt x="2562720" y="5045456"/>
                </a:cubicBezTo>
                <a:cubicBezTo>
                  <a:pt x="2563804" y="5045766"/>
                  <a:pt x="2565973" y="5044423"/>
                  <a:pt x="2567831" y="5044217"/>
                </a:cubicBezTo>
                <a:close/>
                <a:moveTo>
                  <a:pt x="1834553" y="5043701"/>
                </a:moveTo>
                <a:lnTo>
                  <a:pt x="1836256" y="5044837"/>
                </a:lnTo>
                <a:lnTo>
                  <a:pt x="1836567" y="5044837"/>
                </a:lnTo>
                <a:cubicBezTo>
                  <a:pt x="1839355" y="5047315"/>
                  <a:pt x="1839355" y="5047315"/>
                  <a:pt x="1835947" y="5052787"/>
                </a:cubicBezTo>
                <a:cubicBezTo>
                  <a:pt x="1835327" y="5053717"/>
                  <a:pt x="1834398" y="5054336"/>
                  <a:pt x="1833314" y="5054749"/>
                </a:cubicBezTo>
                <a:cubicBezTo>
                  <a:pt x="1832229" y="5055162"/>
                  <a:pt x="1830990" y="5055162"/>
                  <a:pt x="1829596" y="5054852"/>
                </a:cubicBezTo>
                <a:cubicBezTo>
                  <a:pt x="1828977" y="5055266"/>
                  <a:pt x="1827892" y="5055575"/>
                  <a:pt x="1826963" y="5055678"/>
                </a:cubicBezTo>
                <a:cubicBezTo>
                  <a:pt x="1825879" y="5055678"/>
                  <a:pt x="1824794" y="5055575"/>
                  <a:pt x="1823865" y="5055162"/>
                </a:cubicBezTo>
                <a:cubicBezTo>
                  <a:pt x="1822006" y="5053613"/>
                  <a:pt x="1821851" y="5051755"/>
                  <a:pt x="1822471" y="5050929"/>
                </a:cubicBezTo>
                <a:lnTo>
                  <a:pt x="1826344" y="5046799"/>
                </a:lnTo>
                <a:lnTo>
                  <a:pt x="1826189" y="5046076"/>
                </a:lnTo>
                <a:cubicBezTo>
                  <a:pt x="1826809" y="5043391"/>
                  <a:pt x="1831610" y="5042462"/>
                  <a:pt x="1834553" y="5043701"/>
                </a:cubicBezTo>
                <a:close/>
                <a:moveTo>
                  <a:pt x="2492242" y="5043184"/>
                </a:moveTo>
                <a:cubicBezTo>
                  <a:pt x="2494256" y="5044734"/>
                  <a:pt x="2493636" y="5047418"/>
                  <a:pt x="2492242" y="5049173"/>
                </a:cubicBezTo>
                <a:cubicBezTo>
                  <a:pt x="2491932" y="5050103"/>
                  <a:pt x="2491158" y="5050619"/>
                  <a:pt x="2490228" y="5050722"/>
                </a:cubicBezTo>
                <a:cubicBezTo>
                  <a:pt x="2489454" y="5050929"/>
                  <a:pt x="2488370" y="5050722"/>
                  <a:pt x="2487440" y="5050412"/>
                </a:cubicBezTo>
                <a:cubicBezTo>
                  <a:pt x="2486511" y="5049586"/>
                  <a:pt x="2486511" y="5049586"/>
                  <a:pt x="2485581" y="5048760"/>
                </a:cubicBezTo>
                <a:cubicBezTo>
                  <a:pt x="2485272" y="5047005"/>
                  <a:pt x="2484188" y="5045353"/>
                  <a:pt x="2484807" y="5043598"/>
                </a:cubicBezTo>
                <a:cubicBezTo>
                  <a:pt x="2486201" y="5041739"/>
                  <a:pt x="2490538" y="5042358"/>
                  <a:pt x="2492242" y="5043184"/>
                </a:cubicBezTo>
                <a:close/>
                <a:moveTo>
                  <a:pt x="1761403" y="5042487"/>
                </a:moveTo>
                <a:cubicBezTo>
                  <a:pt x="1763378" y="5042901"/>
                  <a:pt x="1764695" y="5044733"/>
                  <a:pt x="1765004" y="5046902"/>
                </a:cubicBezTo>
                <a:cubicBezTo>
                  <a:pt x="1765159" y="5048347"/>
                  <a:pt x="1764850" y="5049896"/>
                  <a:pt x="1764075" y="5051239"/>
                </a:cubicBezTo>
                <a:cubicBezTo>
                  <a:pt x="1762991" y="5053097"/>
                  <a:pt x="1760822" y="5054543"/>
                  <a:pt x="1757414" y="5054956"/>
                </a:cubicBezTo>
                <a:cubicBezTo>
                  <a:pt x="1756021" y="5053510"/>
                  <a:pt x="1755556" y="5052065"/>
                  <a:pt x="1755091" y="5050722"/>
                </a:cubicBezTo>
                <a:cubicBezTo>
                  <a:pt x="1754626" y="5049277"/>
                  <a:pt x="1754471" y="5048038"/>
                  <a:pt x="1753852" y="5046592"/>
                </a:cubicBezTo>
                <a:cubicBezTo>
                  <a:pt x="1756795" y="5043081"/>
                  <a:pt x="1759428" y="5042075"/>
                  <a:pt x="1761403" y="5042487"/>
                </a:cubicBezTo>
                <a:close/>
                <a:moveTo>
                  <a:pt x="992537" y="5041945"/>
                </a:moveTo>
                <a:cubicBezTo>
                  <a:pt x="994086" y="5043804"/>
                  <a:pt x="996255" y="5046385"/>
                  <a:pt x="994395" y="5048967"/>
                </a:cubicBezTo>
                <a:cubicBezTo>
                  <a:pt x="993621" y="5048967"/>
                  <a:pt x="993466" y="5049896"/>
                  <a:pt x="992692" y="5049896"/>
                </a:cubicBezTo>
                <a:cubicBezTo>
                  <a:pt x="992692" y="5049896"/>
                  <a:pt x="991762" y="5050309"/>
                  <a:pt x="990523" y="5050412"/>
                </a:cubicBezTo>
                <a:cubicBezTo>
                  <a:pt x="989283" y="5050412"/>
                  <a:pt x="987581" y="5050206"/>
                  <a:pt x="986186" y="5048864"/>
                </a:cubicBezTo>
                <a:cubicBezTo>
                  <a:pt x="985721" y="5048450"/>
                  <a:pt x="985257" y="5047521"/>
                  <a:pt x="984947" y="5046799"/>
                </a:cubicBezTo>
                <a:cubicBezTo>
                  <a:pt x="984637" y="5045973"/>
                  <a:pt x="984482" y="5045353"/>
                  <a:pt x="984792" y="5045353"/>
                </a:cubicBezTo>
                <a:cubicBezTo>
                  <a:pt x="985721" y="5044527"/>
                  <a:pt x="984947" y="5044423"/>
                  <a:pt x="984947" y="5043598"/>
                </a:cubicBezTo>
                <a:cubicBezTo>
                  <a:pt x="987735" y="5041016"/>
                  <a:pt x="990213" y="5040190"/>
                  <a:pt x="992537" y="5041945"/>
                </a:cubicBezTo>
                <a:close/>
                <a:moveTo>
                  <a:pt x="2257730" y="5040293"/>
                </a:moveTo>
                <a:cubicBezTo>
                  <a:pt x="2260982" y="5055988"/>
                  <a:pt x="2267643" y="5069928"/>
                  <a:pt x="2269811" y="5083041"/>
                </a:cubicBezTo>
                <a:cubicBezTo>
                  <a:pt x="2257265" y="5074987"/>
                  <a:pt x="2254322" y="5056917"/>
                  <a:pt x="2248745" y="5041945"/>
                </a:cubicBezTo>
                <a:cubicBezTo>
                  <a:pt x="2251689" y="5041842"/>
                  <a:pt x="2253083" y="5039571"/>
                  <a:pt x="2257730" y="5040293"/>
                </a:cubicBezTo>
                <a:close/>
                <a:moveTo>
                  <a:pt x="2166651" y="5040190"/>
                </a:moveTo>
                <a:cubicBezTo>
                  <a:pt x="2167735" y="5040603"/>
                  <a:pt x="2168510" y="5041533"/>
                  <a:pt x="2169439" y="5043288"/>
                </a:cubicBezTo>
                <a:cubicBezTo>
                  <a:pt x="2168044" y="5044734"/>
                  <a:pt x="2163863" y="5047211"/>
                  <a:pt x="2160300" y="5047728"/>
                </a:cubicBezTo>
                <a:cubicBezTo>
                  <a:pt x="2159216" y="5047934"/>
                  <a:pt x="2157976" y="5047831"/>
                  <a:pt x="2157047" y="5047418"/>
                </a:cubicBezTo>
                <a:cubicBezTo>
                  <a:pt x="2155963" y="5046902"/>
                  <a:pt x="2155188" y="5045662"/>
                  <a:pt x="2155034" y="5043701"/>
                </a:cubicBezTo>
                <a:cubicBezTo>
                  <a:pt x="2160145" y="5042668"/>
                  <a:pt x="2163863" y="5038951"/>
                  <a:pt x="2166651" y="5040190"/>
                </a:cubicBezTo>
                <a:close/>
                <a:moveTo>
                  <a:pt x="1119397" y="5039777"/>
                </a:moveTo>
                <a:cubicBezTo>
                  <a:pt x="1122495" y="5042462"/>
                  <a:pt x="1124353" y="5039880"/>
                  <a:pt x="1129000" y="5044320"/>
                </a:cubicBezTo>
                <a:cubicBezTo>
                  <a:pt x="1135197" y="5049586"/>
                  <a:pt x="1132873" y="5055678"/>
                  <a:pt x="1130085" y="5059086"/>
                </a:cubicBezTo>
                <a:cubicBezTo>
                  <a:pt x="1129465" y="5058467"/>
                  <a:pt x="1125438" y="5063113"/>
                  <a:pt x="1120636" y="5062803"/>
                </a:cubicBezTo>
                <a:cubicBezTo>
                  <a:pt x="1119087" y="5062700"/>
                  <a:pt x="1117383" y="5062080"/>
                  <a:pt x="1115679" y="5060532"/>
                </a:cubicBezTo>
                <a:cubicBezTo>
                  <a:pt x="1114595" y="5059706"/>
                  <a:pt x="1113820" y="5058673"/>
                  <a:pt x="1113046" y="5057640"/>
                </a:cubicBezTo>
                <a:cubicBezTo>
                  <a:pt x="1110877" y="5054336"/>
                  <a:pt x="1110568" y="5050103"/>
                  <a:pt x="1115524" y="5044940"/>
                </a:cubicBezTo>
                <a:cubicBezTo>
                  <a:pt x="1116454" y="5043184"/>
                  <a:pt x="1116454" y="5044114"/>
                  <a:pt x="1117383" y="5043184"/>
                </a:cubicBezTo>
                <a:cubicBezTo>
                  <a:pt x="1118312" y="5042358"/>
                  <a:pt x="1119242" y="5040706"/>
                  <a:pt x="1119397" y="5039777"/>
                </a:cubicBezTo>
                <a:close/>
                <a:moveTo>
                  <a:pt x="2325883" y="5039571"/>
                </a:moveTo>
                <a:cubicBezTo>
                  <a:pt x="2326658" y="5039983"/>
                  <a:pt x="2328517" y="5040087"/>
                  <a:pt x="2328207" y="5040810"/>
                </a:cubicBezTo>
                <a:cubicBezTo>
                  <a:pt x="2328981" y="5041222"/>
                  <a:pt x="2328362" y="5042772"/>
                  <a:pt x="2328362" y="5042772"/>
                </a:cubicBezTo>
                <a:cubicBezTo>
                  <a:pt x="2329136" y="5043184"/>
                  <a:pt x="2329911" y="5043598"/>
                  <a:pt x="2330376" y="5044837"/>
                </a:cubicBezTo>
                <a:cubicBezTo>
                  <a:pt x="2329291" y="5045146"/>
                  <a:pt x="2330066" y="5045559"/>
                  <a:pt x="2329756" y="5046282"/>
                </a:cubicBezTo>
                <a:cubicBezTo>
                  <a:pt x="2329291" y="5045146"/>
                  <a:pt x="2326813" y="5043804"/>
                  <a:pt x="2325574" y="5042152"/>
                </a:cubicBezTo>
                <a:cubicBezTo>
                  <a:pt x="2326038" y="5041429"/>
                  <a:pt x="2325419" y="5040293"/>
                  <a:pt x="2325883" y="5039571"/>
                </a:cubicBezTo>
                <a:close/>
                <a:moveTo>
                  <a:pt x="1655648" y="5039467"/>
                </a:moveTo>
                <a:cubicBezTo>
                  <a:pt x="1655958" y="5041842"/>
                  <a:pt x="1657816" y="5045146"/>
                  <a:pt x="1655183" y="5047728"/>
                </a:cubicBezTo>
                <a:cubicBezTo>
                  <a:pt x="1654873" y="5045973"/>
                  <a:pt x="1653944" y="5042565"/>
                  <a:pt x="1654563" y="5040706"/>
                </a:cubicBezTo>
                <a:cubicBezTo>
                  <a:pt x="1654719" y="5040087"/>
                  <a:pt x="1655028" y="5039674"/>
                  <a:pt x="1655648" y="5039467"/>
                </a:cubicBezTo>
                <a:close/>
                <a:moveTo>
                  <a:pt x="2318603" y="5039054"/>
                </a:moveTo>
                <a:cubicBezTo>
                  <a:pt x="2318603" y="5039054"/>
                  <a:pt x="2319843" y="5040603"/>
                  <a:pt x="2319843" y="5040603"/>
                </a:cubicBezTo>
                <a:cubicBezTo>
                  <a:pt x="2320617" y="5043081"/>
                  <a:pt x="2320927" y="5044320"/>
                  <a:pt x="2322166" y="5045869"/>
                </a:cubicBezTo>
                <a:cubicBezTo>
                  <a:pt x="2321391" y="5046489"/>
                  <a:pt x="2320927" y="5046695"/>
                  <a:pt x="2320462" y="5046592"/>
                </a:cubicBezTo>
                <a:cubicBezTo>
                  <a:pt x="2319998" y="5046489"/>
                  <a:pt x="2319687" y="5045973"/>
                  <a:pt x="2319533" y="5045353"/>
                </a:cubicBezTo>
                <a:cubicBezTo>
                  <a:pt x="2319533" y="5045353"/>
                  <a:pt x="2319068" y="5044217"/>
                  <a:pt x="2318758" y="5042978"/>
                </a:cubicBezTo>
                <a:cubicBezTo>
                  <a:pt x="2318294" y="5041842"/>
                  <a:pt x="2317519" y="5041326"/>
                  <a:pt x="2317519" y="5041326"/>
                </a:cubicBezTo>
                <a:cubicBezTo>
                  <a:pt x="2317209" y="5040087"/>
                  <a:pt x="2317519" y="5039364"/>
                  <a:pt x="2318603" y="5039054"/>
                </a:cubicBezTo>
                <a:close/>
                <a:moveTo>
                  <a:pt x="2299551" y="5038848"/>
                </a:moveTo>
                <a:cubicBezTo>
                  <a:pt x="2300635" y="5040913"/>
                  <a:pt x="2302649" y="5044527"/>
                  <a:pt x="2302649" y="5046799"/>
                </a:cubicBezTo>
                <a:cubicBezTo>
                  <a:pt x="2302494" y="5047521"/>
                  <a:pt x="2302339" y="5048141"/>
                  <a:pt x="2301565" y="5048450"/>
                </a:cubicBezTo>
                <a:cubicBezTo>
                  <a:pt x="2300480" y="5048864"/>
                  <a:pt x="2300171" y="5047624"/>
                  <a:pt x="2299396" y="5047211"/>
                </a:cubicBezTo>
                <a:cubicBezTo>
                  <a:pt x="2298312" y="5045662"/>
                  <a:pt x="2298467" y="5039157"/>
                  <a:pt x="2299551" y="5038848"/>
                </a:cubicBezTo>
                <a:close/>
                <a:moveTo>
                  <a:pt x="996255" y="5038744"/>
                </a:moveTo>
                <a:cubicBezTo>
                  <a:pt x="997028" y="5039571"/>
                  <a:pt x="997648" y="5041222"/>
                  <a:pt x="996719" y="5042049"/>
                </a:cubicBezTo>
                <a:cubicBezTo>
                  <a:pt x="996255" y="5042875"/>
                  <a:pt x="995790" y="5042875"/>
                  <a:pt x="995325" y="5042565"/>
                </a:cubicBezTo>
                <a:cubicBezTo>
                  <a:pt x="994860" y="5042255"/>
                  <a:pt x="994240" y="5041533"/>
                  <a:pt x="993466" y="5041119"/>
                </a:cubicBezTo>
                <a:close/>
                <a:moveTo>
                  <a:pt x="2567522" y="5036783"/>
                </a:moveTo>
                <a:cubicBezTo>
                  <a:pt x="2567522" y="5036783"/>
                  <a:pt x="2568761" y="5037092"/>
                  <a:pt x="2570000" y="5037402"/>
                </a:cubicBezTo>
                <a:cubicBezTo>
                  <a:pt x="2571239" y="5037712"/>
                  <a:pt x="2571859" y="5037299"/>
                  <a:pt x="2571859" y="5037299"/>
                </a:cubicBezTo>
                <a:cubicBezTo>
                  <a:pt x="2573098" y="5037609"/>
                  <a:pt x="2573563" y="5038332"/>
                  <a:pt x="2573408" y="5039571"/>
                </a:cubicBezTo>
                <a:cubicBezTo>
                  <a:pt x="2573408" y="5039571"/>
                  <a:pt x="2571549" y="5039674"/>
                  <a:pt x="2571549" y="5039674"/>
                </a:cubicBezTo>
                <a:cubicBezTo>
                  <a:pt x="2569226" y="5039054"/>
                  <a:pt x="2567986" y="5038744"/>
                  <a:pt x="2566128" y="5038848"/>
                </a:cubicBezTo>
                <a:cubicBezTo>
                  <a:pt x="2565818" y="5036886"/>
                  <a:pt x="2566437" y="5036473"/>
                  <a:pt x="2567522" y="5036783"/>
                </a:cubicBezTo>
                <a:close/>
                <a:moveTo>
                  <a:pt x="2053731" y="5036679"/>
                </a:moveTo>
                <a:cubicBezTo>
                  <a:pt x="2056364" y="5036473"/>
                  <a:pt x="2058068" y="5037092"/>
                  <a:pt x="2058997" y="5038641"/>
                </a:cubicBezTo>
                <a:lnTo>
                  <a:pt x="2059772" y="5044837"/>
                </a:lnTo>
                <a:lnTo>
                  <a:pt x="2063180" y="5044320"/>
                </a:lnTo>
                <a:cubicBezTo>
                  <a:pt x="2065348" y="5047418"/>
                  <a:pt x="2065813" y="5050206"/>
                  <a:pt x="2066433" y="5052065"/>
                </a:cubicBezTo>
                <a:cubicBezTo>
                  <a:pt x="2064574" y="5053407"/>
                  <a:pt x="2063490" y="5054852"/>
                  <a:pt x="2061631" y="5056195"/>
                </a:cubicBezTo>
                <a:cubicBezTo>
                  <a:pt x="2056519" y="5055885"/>
                  <a:pt x="2054661" y="5052374"/>
                  <a:pt x="2055125" y="5049173"/>
                </a:cubicBezTo>
                <a:lnTo>
                  <a:pt x="2057604" y="5045353"/>
                </a:lnTo>
                <a:lnTo>
                  <a:pt x="2056519" y="5045250"/>
                </a:lnTo>
                <a:cubicBezTo>
                  <a:pt x="2055745" y="5044734"/>
                  <a:pt x="2055280" y="5044011"/>
                  <a:pt x="2054970" y="5043184"/>
                </a:cubicBezTo>
                <a:cubicBezTo>
                  <a:pt x="2054506" y="5041326"/>
                  <a:pt x="2054351" y="5038848"/>
                  <a:pt x="2053731" y="5036679"/>
                </a:cubicBezTo>
                <a:close/>
                <a:moveTo>
                  <a:pt x="1598336" y="5036163"/>
                </a:moveTo>
                <a:cubicBezTo>
                  <a:pt x="1600814" y="5036163"/>
                  <a:pt x="1602518" y="5036266"/>
                  <a:pt x="1604067" y="5038022"/>
                </a:cubicBezTo>
                <a:cubicBezTo>
                  <a:pt x="1606236" y="5040603"/>
                  <a:pt x="1607475" y="5046695"/>
                  <a:pt x="1604686" y="5049173"/>
                </a:cubicBezTo>
                <a:cubicBezTo>
                  <a:pt x="1601744" y="5052581"/>
                  <a:pt x="1599111" y="5053407"/>
                  <a:pt x="1596632" y="5053407"/>
                </a:cubicBezTo>
                <a:cubicBezTo>
                  <a:pt x="1596632" y="5053407"/>
                  <a:pt x="1596632" y="5053407"/>
                  <a:pt x="1597407" y="5053510"/>
                </a:cubicBezTo>
                <a:lnTo>
                  <a:pt x="1598956" y="5055369"/>
                </a:lnTo>
                <a:lnTo>
                  <a:pt x="1600505" y="5055266"/>
                </a:lnTo>
                <a:cubicBezTo>
                  <a:pt x="1601280" y="5055266"/>
                  <a:pt x="1601898" y="5055266"/>
                  <a:pt x="1602053" y="5055266"/>
                </a:cubicBezTo>
                <a:cubicBezTo>
                  <a:pt x="1602208" y="5056091"/>
                  <a:pt x="1602208" y="5056091"/>
                  <a:pt x="1602208" y="5056091"/>
                </a:cubicBezTo>
                <a:lnTo>
                  <a:pt x="1600040" y="5056608"/>
                </a:lnTo>
                <a:lnTo>
                  <a:pt x="1602363" y="5059706"/>
                </a:lnTo>
                <a:lnTo>
                  <a:pt x="1604377" y="5059292"/>
                </a:lnTo>
                <a:lnTo>
                  <a:pt x="1603138" y="5060841"/>
                </a:lnTo>
                <a:lnTo>
                  <a:pt x="1604377" y="5063216"/>
                </a:lnTo>
                <a:cubicBezTo>
                  <a:pt x="1604686" y="5064249"/>
                  <a:pt x="1604841" y="5065075"/>
                  <a:pt x="1604686" y="5065694"/>
                </a:cubicBezTo>
                <a:cubicBezTo>
                  <a:pt x="1603758" y="5065694"/>
                  <a:pt x="1602983" y="5065694"/>
                  <a:pt x="1602208" y="5064869"/>
                </a:cubicBezTo>
                <a:cubicBezTo>
                  <a:pt x="1601434" y="5063939"/>
                  <a:pt x="1602363" y="5063939"/>
                  <a:pt x="1601434" y="5063939"/>
                </a:cubicBezTo>
                <a:cubicBezTo>
                  <a:pt x="1600659" y="5063010"/>
                  <a:pt x="1600659" y="5063939"/>
                  <a:pt x="1600659" y="5063939"/>
                </a:cubicBezTo>
                <a:lnTo>
                  <a:pt x="1600659" y="5063629"/>
                </a:lnTo>
                <a:lnTo>
                  <a:pt x="1597097" y="5065075"/>
                </a:lnTo>
                <a:cubicBezTo>
                  <a:pt x="1594774" y="5065694"/>
                  <a:pt x="1592760" y="5065798"/>
                  <a:pt x="1591366" y="5068069"/>
                </a:cubicBezTo>
                <a:cubicBezTo>
                  <a:pt x="1590282" y="5066417"/>
                  <a:pt x="1590282" y="5066417"/>
                  <a:pt x="1590901" y="5064558"/>
                </a:cubicBezTo>
                <a:cubicBezTo>
                  <a:pt x="1591675" y="5064558"/>
                  <a:pt x="1591675" y="5063629"/>
                  <a:pt x="1592605" y="5064455"/>
                </a:cubicBezTo>
                <a:cubicBezTo>
                  <a:pt x="1593225" y="5063113"/>
                  <a:pt x="1595238" y="5061668"/>
                  <a:pt x="1597717" y="5060635"/>
                </a:cubicBezTo>
                <a:lnTo>
                  <a:pt x="1598026" y="5060532"/>
                </a:lnTo>
                <a:lnTo>
                  <a:pt x="1596477" y="5059602"/>
                </a:lnTo>
                <a:cubicBezTo>
                  <a:pt x="1595858" y="5059292"/>
                  <a:pt x="1595238" y="5058983"/>
                  <a:pt x="1594464" y="5058570"/>
                </a:cubicBezTo>
                <a:lnTo>
                  <a:pt x="1594309" y="5058467"/>
                </a:lnTo>
                <a:lnTo>
                  <a:pt x="1593844" y="5058673"/>
                </a:lnTo>
                <a:cubicBezTo>
                  <a:pt x="1592760" y="5058879"/>
                  <a:pt x="1591830" y="5058879"/>
                  <a:pt x="1590746" y="5058467"/>
                </a:cubicBezTo>
                <a:cubicBezTo>
                  <a:pt x="1590746" y="5058467"/>
                  <a:pt x="1590746" y="5058467"/>
                  <a:pt x="1591521" y="5058467"/>
                </a:cubicBezTo>
                <a:cubicBezTo>
                  <a:pt x="1591521" y="5058467"/>
                  <a:pt x="1590746" y="5058467"/>
                  <a:pt x="1590591" y="5057640"/>
                </a:cubicBezTo>
                <a:lnTo>
                  <a:pt x="1593225" y="5056814"/>
                </a:lnTo>
                <a:lnTo>
                  <a:pt x="1592915" y="5056298"/>
                </a:lnTo>
                <a:cubicBezTo>
                  <a:pt x="1592605" y="5055575"/>
                  <a:pt x="1592295" y="5054646"/>
                  <a:pt x="1591521" y="5053304"/>
                </a:cubicBezTo>
                <a:cubicBezTo>
                  <a:pt x="1592605" y="5051651"/>
                  <a:pt x="1592605" y="5051651"/>
                  <a:pt x="1593379" y="5051651"/>
                </a:cubicBezTo>
                <a:cubicBezTo>
                  <a:pt x="1592605" y="5051651"/>
                  <a:pt x="1592605" y="5050722"/>
                  <a:pt x="1591985" y="5049896"/>
                </a:cubicBezTo>
                <a:cubicBezTo>
                  <a:pt x="1587958" y="5047211"/>
                  <a:pt x="1590127" y="5042875"/>
                  <a:pt x="1593844" y="5038641"/>
                </a:cubicBezTo>
                <a:cubicBezTo>
                  <a:pt x="1594618" y="5039467"/>
                  <a:pt x="1596632" y="5036989"/>
                  <a:pt x="1598336" y="5036163"/>
                </a:cubicBezTo>
                <a:close/>
                <a:moveTo>
                  <a:pt x="1005858" y="5035234"/>
                </a:moveTo>
                <a:cubicBezTo>
                  <a:pt x="1006632" y="5035337"/>
                  <a:pt x="1006477" y="5036163"/>
                  <a:pt x="1007252" y="5036989"/>
                </a:cubicBezTo>
                <a:cubicBezTo>
                  <a:pt x="1008026" y="5038744"/>
                  <a:pt x="1007717" y="5041222"/>
                  <a:pt x="1006787" y="5042152"/>
                </a:cubicBezTo>
                <a:cubicBezTo>
                  <a:pt x="1005858" y="5042978"/>
                  <a:pt x="1005084" y="5042978"/>
                  <a:pt x="1005084" y="5042978"/>
                </a:cubicBezTo>
                <a:cubicBezTo>
                  <a:pt x="1003844" y="5042049"/>
                  <a:pt x="1002915" y="5041016"/>
                  <a:pt x="1002605" y="5039777"/>
                </a:cubicBezTo>
                <a:cubicBezTo>
                  <a:pt x="1002295" y="5038641"/>
                  <a:pt x="1002760" y="5037402"/>
                  <a:pt x="1003999" y="5036163"/>
                </a:cubicBezTo>
                <a:cubicBezTo>
                  <a:pt x="1004928" y="5035234"/>
                  <a:pt x="1005858" y="5034408"/>
                  <a:pt x="1005858" y="5035234"/>
                </a:cubicBezTo>
                <a:close/>
                <a:moveTo>
                  <a:pt x="2147753" y="5034821"/>
                </a:moveTo>
                <a:cubicBezTo>
                  <a:pt x="2149457" y="5035956"/>
                  <a:pt x="2150851" y="5038125"/>
                  <a:pt x="2151316" y="5041533"/>
                </a:cubicBezTo>
                <a:cubicBezTo>
                  <a:pt x="2146979" y="5042358"/>
                  <a:pt x="2145120" y="5044940"/>
                  <a:pt x="2142332" y="5045456"/>
                </a:cubicBezTo>
                <a:cubicBezTo>
                  <a:pt x="2141402" y="5045662"/>
                  <a:pt x="2140318" y="5045662"/>
                  <a:pt x="2139079" y="5045250"/>
                </a:cubicBezTo>
                <a:cubicBezTo>
                  <a:pt x="2134432" y="5037092"/>
                  <a:pt x="2142797" y="5031413"/>
                  <a:pt x="2147753" y="5034821"/>
                </a:cubicBezTo>
                <a:close/>
                <a:moveTo>
                  <a:pt x="1402702" y="5034408"/>
                </a:moveTo>
                <a:cubicBezTo>
                  <a:pt x="1407504" y="5035027"/>
                  <a:pt x="1409363" y="5041429"/>
                  <a:pt x="1406110" y="5044114"/>
                </a:cubicBezTo>
                <a:cubicBezTo>
                  <a:pt x="1405490" y="5044011"/>
                  <a:pt x="1404871" y="5044114"/>
                  <a:pt x="1403942" y="5044011"/>
                </a:cubicBezTo>
                <a:cubicBezTo>
                  <a:pt x="1403167" y="5044011"/>
                  <a:pt x="1402237" y="5043907"/>
                  <a:pt x="1401463" y="5043494"/>
                </a:cubicBezTo>
                <a:cubicBezTo>
                  <a:pt x="1399294" y="5039467"/>
                  <a:pt x="1400069" y="5036473"/>
                  <a:pt x="1402702" y="5034408"/>
                </a:cubicBezTo>
                <a:close/>
                <a:moveTo>
                  <a:pt x="2555285" y="5034098"/>
                </a:moveTo>
                <a:cubicBezTo>
                  <a:pt x="2560241" y="5034098"/>
                  <a:pt x="2562410" y="5035853"/>
                  <a:pt x="2561791" y="5039467"/>
                </a:cubicBezTo>
                <a:cubicBezTo>
                  <a:pt x="2561171" y="5039880"/>
                  <a:pt x="2558538" y="5040500"/>
                  <a:pt x="2559003" y="5041222"/>
                </a:cubicBezTo>
                <a:cubicBezTo>
                  <a:pt x="2556369" y="5040603"/>
                  <a:pt x="2553581" y="5039571"/>
                  <a:pt x="2552187" y="5037712"/>
                </a:cubicBezTo>
                <a:cubicBezTo>
                  <a:pt x="2551722" y="5037092"/>
                  <a:pt x="2551413" y="5036370"/>
                  <a:pt x="2551413" y="5035647"/>
                </a:cubicBezTo>
                <a:cubicBezTo>
                  <a:pt x="2551103" y="5033685"/>
                  <a:pt x="2552961" y="5033478"/>
                  <a:pt x="2555285" y="5034098"/>
                </a:cubicBezTo>
                <a:close/>
                <a:moveTo>
                  <a:pt x="2087344" y="5033995"/>
                </a:moveTo>
                <a:cubicBezTo>
                  <a:pt x="2090441" y="5035234"/>
                  <a:pt x="2093230" y="5035234"/>
                  <a:pt x="2095243" y="5035750"/>
                </a:cubicBezTo>
                <a:lnTo>
                  <a:pt x="2096483" y="5036473"/>
                </a:lnTo>
                <a:lnTo>
                  <a:pt x="2098961" y="5036576"/>
                </a:lnTo>
                <a:cubicBezTo>
                  <a:pt x="2100975" y="5037299"/>
                  <a:pt x="2102833" y="5038538"/>
                  <a:pt x="2103453" y="5040293"/>
                </a:cubicBezTo>
                <a:cubicBezTo>
                  <a:pt x="2105466" y="5044320"/>
                  <a:pt x="2105002" y="5047005"/>
                  <a:pt x="2104073" y="5049380"/>
                </a:cubicBezTo>
                <a:cubicBezTo>
                  <a:pt x="2104073" y="5049380"/>
                  <a:pt x="2104073" y="5049277"/>
                  <a:pt x="2104382" y="5048554"/>
                </a:cubicBezTo>
                <a:cubicBezTo>
                  <a:pt x="2108874" y="5047211"/>
                  <a:pt x="2116619" y="5044940"/>
                  <a:pt x="2118478" y="5046902"/>
                </a:cubicBezTo>
                <a:cubicBezTo>
                  <a:pt x="2118168" y="5047728"/>
                  <a:pt x="2117703" y="5048450"/>
                  <a:pt x="2116619" y="5048864"/>
                </a:cubicBezTo>
                <a:cubicBezTo>
                  <a:pt x="2115535" y="5049173"/>
                  <a:pt x="2115844" y="5048347"/>
                  <a:pt x="2115535" y="5049173"/>
                </a:cubicBezTo>
                <a:cubicBezTo>
                  <a:pt x="2114451" y="5049483"/>
                  <a:pt x="2115225" y="5049896"/>
                  <a:pt x="2115225" y="5049896"/>
                </a:cubicBezTo>
                <a:cubicBezTo>
                  <a:pt x="2115225" y="5049896"/>
                  <a:pt x="2114451" y="5049483"/>
                  <a:pt x="2114451" y="5049483"/>
                </a:cubicBezTo>
                <a:cubicBezTo>
                  <a:pt x="2114451" y="5049483"/>
                  <a:pt x="2114451" y="5049483"/>
                  <a:pt x="2112282" y="5050206"/>
                </a:cubicBezTo>
                <a:cubicBezTo>
                  <a:pt x="2109649" y="5051651"/>
                  <a:pt x="2109339" y="5052374"/>
                  <a:pt x="2107790" y="5053510"/>
                </a:cubicBezTo>
                <a:cubicBezTo>
                  <a:pt x="2105621" y="5054129"/>
                  <a:pt x="2104848" y="5053717"/>
                  <a:pt x="2101904" y="5053923"/>
                </a:cubicBezTo>
                <a:cubicBezTo>
                  <a:pt x="2100665" y="5052271"/>
                  <a:pt x="2100819" y="5052271"/>
                  <a:pt x="2101130" y="5051548"/>
                </a:cubicBezTo>
                <a:cubicBezTo>
                  <a:pt x="2100819" y="5052271"/>
                  <a:pt x="2099891" y="5051858"/>
                  <a:pt x="2098806" y="5052168"/>
                </a:cubicBezTo>
                <a:cubicBezTo>
                  <a:pt x="2094779" y="5054749"/>
                  <a:pt x="2091836" y="5051032"/>
                  <a:pt x="2089357" y="5045869"/>
                </a:cubicBezTo>
                <a:cubicBezTo>
                  <a:pt x="2090597" y="5045559"/>
                  <a:pt x="2088893" y="5042668"/>
                  <a:pt x="2088893" y="5040706"/>
                </a:cubicBezTo>
                <a:lnTo>
                  <a:pt x="2089202" y="5040190"/>
                </a:lnTo>
                <a:lnTo>
                  <a:pt x="2085795" y="5039364"/>
                </a:lnTo>
                <a:cubicBezTo>
                  <a:pt x="2086724" y="5037092"/>
                  <a:pt x="2087189" y="5035956"/>
                  <a:pt x="2087344" y="5033995"/>
                </a:cubicBezTo>
                <a:close/>
                <a:moveTo>
                  <a:pt x="1710791" y="5029968"/>
                </a:moveTo>
                <a:cubicBezTo>
                  <a:pt x="1716987" y="5027593"/>
                  <a:pt x="1720704" y="5038435"/>
                  <a:pt x="1722253" y="5040397"/>
                </a:cubicBezTo>
                <a:cubicBezTo>
                  <a:pt x="1722253" y="5040397"/>
                  <a:pt x="1722873" y="5040913"/>
                  <a:pt x="1723028" y="5042049"/>
                </a:cubicBezTo>
                <a:cubicBezTo>
                  <a:pt x="1723957" y="5043701"/>
                  <a:pt x="1721478" y="5043081"/>
                  <a:pt x="1721634" y="5044320"/>
                </a:cubicBezTo>
                <a:cubicBezTo>
                  <a:pt x="1717142" y="5039364"/>
                  <a:pt x="1711410" y="5037815"/>
                  <a:pt x="1711410" y="5037815"/>
                </a:cubicBezTo>
                <a:cubicBezTo>
                  <a:pt x="1710636" y="5036163"/>
                  <a:pt x="1711100" y="5035440"/>
                  <a:pt x="1710636" y="5036163"/>
                </a:cubicBezTo>
                <a:cubicBezTo>
                  <a:pt x="1710171" y="5033788"/>
                  <a:pt x="1709087" y="5031000"/>
                  <a:pt x="1710791" y="5029968"/>
                </a:cubicBezTo>
                <a:close/>
                <a:moveTo>
                  <a:pt x="1757724" y="5028935"/>
                </a:moveTo>
                <a:cubicBezTo>
                  <a:pt x="1760822" y="5032755"/>
                  <a:pt x="1757724" y="5039983"/>
                  <a:pt x="1751993" y="5039674"/>
                </a:cubicBezTo>
                <a:cubicBezTo>
                  <a:pt x="1751528" y="5037815"/>
                  <a:pt x="1750599" y="5036473"/>
                  <a:pt x="1750134" y="5034614"/>
                </a:cubicBezTo>
                <a:cubicBezTo>
                  <a:pt x="1752768" y="5032343"/>
                  <a:pt x="1752458" y="5028006"/>
                  <a:pt x="1757724" y="5028935"/>
                </a:cubicBezTo>
                <a:close/>
                <a:moveTo>
                  <a:pt x="1449016" y="5028625"/>
                </a:moveTo>
                <a:cubicBezTo>
                  <a:pt x="1453043" y="5030897"/>
                  <a:pt x="1451649" y="5037506"/>
                  <a:pt x="1447467" y="5038744"/>
                </a:cubicBezTo>
                <a:cubicBezTo>
                  <a:pt x="1446382" y="5038228"/>
                  <a:pt x="1444679" y="5037815"/>
                  <a:pt x="1443439" y="5036473"/>
                </a:cubicBezTo>
                <a:cubicBezTo>
                  <a:pt x="1443439" y="5032033"/>
                  <a:pt x="1445763" y="5029658"/>
                  <a:pt x="1449016" y="5028625"/>
                </a:cubicBezTo>
                <a:close/>
                <a:moveTo>
                  <a:pt x="2134897" y="5027386"/>
                </a:moveTo>
                <a:cubicBezTo>
                  <a:pt x="2135671" y="5031104"/>
                  <a:pt x="2134122" y="5033582"/>
                  <a:pt x="2130715" y="5033375"/>
                </a:cubicBezTo>
                <a:cubicBezTo>
                  <a:pt x="2130869" y="5030897"/>
                  <a:pt x="2129165" y="5030174"/>
                  <a:pt x="2129475" y="5027696"/>
                </a:cubicBezTo>
                <a:cubicBezTo>
                  <a:pt x="2131799" y="5027799"/>
                  <a:pt x="2133658" y="5027283"/>
                  <a:pt x="2134897" y="5027386"/>
                </a:cubicBezTo>
                <a:close/>
                <a:moveTo>
                  <a:pt x="1275533" y="5027386"/>
                </a:moveTo>
                <a:cubicBezTo>
                  <a:pt x="1276307" y="5028316"/>
                  <a:pt x="1277081" y="5028316"/>
                  <a:pt x="1276152" y="5030071"/>
                </a:cubicBezTo>
                <a:cubicBezTo>
                  <a:pt x="1275997" y="5030897"/>
                  <a:pt x="1275067" y="5031723"/>
                  <a:pt x="1275067" y="5032652"/>
                </a:cubicBezTo>
                <a:cubicBezTo>
                  <a:pt x="1275067" y="5032652"/>
                  <a:pt x="1274448" y="5032859"/>
                  <a:pt x="1273674" y="5032962"/>
                </a:cubicBezTo>
                <a:cubicBezTo>
                  <a:pt x="1272899" y="5033066"/>
                  <a:pt x="1272124" y="5033066"/>
                  <a:pt x="1271660" y="5032652"/>
                </a:cubicBezTo>
                <a:cubicBezTo>
                  <a:pt x="1271350" y="5032446"/>
                  <a:pt x="1271195" y="5032033"/>
                  <a:pt x="1271195" y="5031620"/>
                </a:cubicBezTo>
                <a:cubicBezTo>
                  <a:pt x="1271350" y="5030484"/>
                  <a:pt x="1272899" y="5028935"/>
                  <a:pt x="1273054" y="5028212"/>
                </a:cubicBezTo>
                <a:cubicBezTo>
                  <a:pt x="1273983" y="5027386"/>
                  <a:pt x="1274758" y="5026560"/>
                  <a:pt x="1275533" y="5027386"/>
                </a:cubicBezTo>
                <a:close/>
                <a:moveTo>
                  <a:pt x="2250914" y="5026767"/>
                </a:moveTo>
                <a:cubicBezTo>
                  <a:pt x="2256181" y="5028729"/>
                  <a:pt x="2259743" y="5026147"/>
                  <a:pt x="2263151" y="5030071"/>
                </a:cubicBezTo>
                <a:cubicBezTo>
                  <a:pt x="2262531" y="5034614"/>
                  <a:pt x="2259589" y="5036886"/>
                  <a:pt x="2256646" y="5037506"/>
                </a:cubicBezTo>
                <a:cubicBezTo>
                  <a:pt x="2253547" y="5038022"/>
                  <a:pt x="2250449" y="5036783"/>
                  <a:pt x="2249520" y="5034098"/>
                </a:cubicBezTo>
                <a:cubicBezTo>
                  <a:pt x="2248900" y="5032239"/>
                  <a:pt x="2249055" y="5029761"/>
                  <a:pt x="2250914" y="5026767"/>
                </a:cubicBezTo>
                <a:close/>
                <a:moveTo>
                  <a:pt x="2284217" y="5026560"/>
                </a:moveTo>
                <a:cubicBezTo>
                  <a:pt x="2285766" y="5026664"/>
                  <a:pt x="2288399" y="5029348"/>
                  <a:pt x="2289948" y="5031207"/>
                </a:cubicBezTo>
                <a:lnTo>
                  <a:pt x="2286385" y="5038022"/>
                </a:lnTo>
                <a:lnTo>
                  <a:pt x="2287935" y="5037092"/>
                </a:lnTo>
                <a:cubicBezTo>
                  <a:pt x="2288864" y="5036886"/>
                  <a:pt x="2289948" y="5036886"/>
                  <a:pt x="2290723" y="5037299"/>
                </a:cubicBezTo>
                <a:cubicBezTo>
                  <a:pt x="2292271" y="5041119"/>
                  <a:pt x="2288244" y="5045250"/>
                  <a:pt x="2284991" y="5044527"/>
                </a:cubicBezTo>
                <a:cubicBezTo>
                  <a:pt x="2282978" y="5042049"/>
                  <a:pt x="2283752" y="5039880"/>
                  <a:pt x="2285301" y="5038538"/>
                </a:cubicBezTo>
                <a:lnTo>
                  <a:pt x="2286231" y="5038022"/>
                </a:lnTo>
                <a:lnTo>
                  <a:pt x="2283442" y="5032549"/>
                </a:lnTo>
                <a:cubicBezTo>
                  <a:pt x="2283132" y="5030690"/>
                  <a:pt x="2283442" y="5028729"/>
                  <a:pt x="2284217" y="5026560"/>
                </a:cubicBezTo>
                <a:close/>
                <a:moveTo>
                  <a:pt x="1816604" y="5025566"/>
                </a:moveTo>
                <a:cubicBezTo>
                  <a:pt x="1821038" y="5026844"/>
                  <a:pt x="1825104" y="5029555"/>
                  <a:pt x="1828047" y="5033582"/>
                </a:cubicBezTo>
                <a:cubicBezTo>
                  <a:pt x="1827428" y="5034717"/>
                  <a:pt x="1826809" y="5035750"/>
                  <a:pt x="1827737" y="5036266"/>
                </a:cubicBezTo>
                <a:cubicBezTo>
                  <a:pt x="1823865" y="5043598"/>
                  <a:pt x="1815965" y="5047728"/>
                  <a:pt x="1808066" y="5048244"/>
                </a:cubicBezTo>
                <a:cubicBezTo>
                  <a:pt x="1800321" y="5048760"/>
                  <a:pt x="1792886" y="5045766"/>
                  <a:pt x="1789788" y="5038744"/>
                </a:cubicBezTo>
                <a:cubicBezTo>
                  <a:pt x="1792731" y="5032239"/>
                  <a:pt x="1797533" y="5028109"/>
                  <a:pt x="1802954" y="5026147"/>
                </a:cubicBezTo>
                <a:cubicBezTo>
                  <a:pt x="1807369" y="5024444"/>
                  <a:pt x="1812171" y="5024289"/>
                  <a:pt x="1816604" y="5025566"/>
                </a:cubicBezTo>
                <a:close/>
                <a:moveTo>
                  <a:pt x="1495020" y="5025218"/>
                </a:moveTo>
                <a:cubicBezTo>
                  <a:pt x="1497653" y="5029451"/>
                  <a:pt x="1492851" y="5036473"/>
                  <a:pt x="1489599" y="5039983"/>
                </a:cubicBezTo>
                <a:cubicBezTo>
                  <a:pt x="1487431" y="5039157"/>
                  <a:pt x="1486191" y="5040706"/>
                  <a:pt x="1484177" y="5039880"/>
                </a:cubicBezTo>
                <a:cubicBezTo>
                  <a:pt x="1486966" y="5032962"/>
                  <a:pt x="1489444" y="5025218"/>
                  <a:pt x="1495020" y="5025218"/>
                </a:cubicBezTo>
                <a:close/>
                <a:moveTo>
                  <a:pt x="2213894" y="5024392"/>
                </a:moveTo>
                <a:lnTo>
                  <a:pt x="2213274" y="5024598"/>
                </a:lnTo>
                <a:lnTo>
                  <a:pt x="2214049" y="5024598"/>
                </a:lnTo>
                <a:close/>
                <a:moveTo>
                  <a:pt x="2542428" y="5023772"/>
                </a:moveTo>
                <a:cubicBezTo>
                  <a:pt x="2541499" y="5025115"/>
                  <a:pt x="2539640" y="5028006"/>
                  <a:pt x="2538092" y="5028729"/>
                </a:cubicBezTo>
                <a:cubicBezTo>
                  <a:pt x="2537472" y="5028935"/>
                  <a:pt x="2537007" y="5028935"/>
                  <a:pt x="2536542" y="5028522"/>
                </a:cubicBezTo>
                <a:cubicBezTo>
                  <a:pt x="2537936" y="5026664"/>
                  <a:pt x="2539021" y="5023049"/>
                  <a:pt x="2542428" y="5023772"/>
                </a:cubicBezTo>
                <a:close/>
                <a:moveTo>
                  <a:pt x="2068911" y="5023049"/>
                </a:moveTo>
                <a:cubicBezTo>
                  <a:pt x="2071854" y="5023463"/>
                  <a:pt x="2071544" y="5025321"/>
                  <a:pt x="2073403" y="5025321"/>
                </a:cubicBezTo>
                <a:cubicBezTo>
                  <a:pt x="2072319" y="5029451"/>
                  <a:pt x="2069996" y="5030587"/>
                  <a:pt x="2066278" y="5030587"/>
                </a:cubicBezTo>
                <a:cubicBezTo>
                  <a:pt x="2065503" y="5028316"/>
                  <a:pt x="2066588" y="5024185"/>
                  <a:pt x="2068911" y="5023049"/>
                </a:cubicBezTo>
                <a:close/>
                <a:moveTo>
                  <a:pt x="2169284" y="5022223"/>
                </a:moveTo>
                <a:cubicBezTo>
                  <a:pt x="2172072" y="5024702"/>
                  <a:pt x="2171762" y="5028109"/>
                  <a:pt x="2174705" y="5031516"/>
                </a:cubicBezTo>
                <a:cubicBezTo>
                  <a:pt x="2173466" y="5034201"/>
                  <a:pt x="2176564" y="5038332"/>
                  <a:pt x="2174550" y="5041945"/>
                </a:cubicBezTo>
                <a:cubicBezTo>
                  <a:pt x="2168974" y="5038744"/>
                  <a:pt x="2167115" y="5025011"/>
                  <a:pt x="2169284" y="5022223"/>
                </a:cubicBezTo>
                <a:close/>
                <a:moveTo>
                  <a:pt x="1847100" y="5020365"/>
                </a:moveTo>
                <a:cubicBezTo>
                  <a:pt x="1854224" y="5027593"/>
                  <a:pt x="1852057" y="5035234"/>
                  <a:pt x="1849733" y="5042875"/>
                </a:cubicBezTo>
                <a:cubicBezTo>
                  <a:pt x="1847874" y="5041945"/>
                  <a:pt x="1846480" y="5040500"/>
                  <a:pt x="1845551" y="5038744"/>
                </a:cubicBezTo>
                <a:lnTo>
                  <a:pt x="1845396" y="5037815"/>
                </a:lnTo>
                <a:lnTo>
                  <a:pt x="1845241" y="5039157"/>
                </a:lnTo>
                <a:cubicBezTo>
                  <a:pt x="1845396" y="5046592"/>
                  <a:pt x="1847719" y="5053820"/>
                  <a:pt x="1843227" y="5058673"/>
                </a:cubicBezTo>
                <a:cubicBezTo>
                  <a:pt x="1842607" y="5055575"/>
                  <a:pt x="1840749" y="5051961"/>
                  <a:pt x="1839200" y="5048450"/>
                </a:cubicBezTo>
                <a:cubicBezTo>
                  <a:pt x="1837651" y="5045043"/>
                  <a:pt x="1836412" y="5041533"/>
                  <a:pt x="1836567" y="5038744"/>
                </a:cubicBezTo>
                <a:lnTo>
                  <a:pt x="1837806" y="5035647"/>
                </a:lnTo>
                <a:lnTo>
                  <a:pt x="1837186" y="5035337"/>
                </a:lnTo>
                <a:cubicBezTo>
                  <a:pt x="1839045" y="5033685"/>
                  <a:pt x="1838580" y="5031930"/>
                  <a:pt x="1840439" y="5030277"/>
                </a:cubicBezTo>
                <a:lnTo>
                  <a:pt x="1842762" y="5032652"/>
                </a:lnTo>
                <a:lnTo>
                  <a:pt x="1844312" y="5032239"/>
                </a:lnTo>
                <a:lnTo>
                  <a:pt x="1845086" y="5026147"/>
                </a:lnTo>
                <a:cubicBezTo>
                  <a:pt x="1845551" y="5024082"/>
                  <a:pt x="1846325" y="5022017"/>
                  <a:pt x="1847100" y="5020365"/>
                </a:cubicBezTo>
                <a:close/>
                <a:moveTo>
                  <a:pt x="1890006" y="5018610"/>
                </a:moveTo>
                <a:cubicBezTo>
                  <a:pt x="1890935" y="5016854"/>
                  <a:pt x="1891555" y="5019436"/>
                  <a:pt x="1892484" y="5018610"/>
                </a:cubicBezTo>
                <a:cubicBezTo>
                  <a:pt x="1890160" y="5025528"/>
                  <a:pt x="1891090" y="5031516"/>
                  <a:pt x="1891090" y="5031516"/>
                </a:cubicBezTo>
                <a:cubicBezTo>
                  <a:pt x="1890160" y="5033272"/>
                  <a:pt x="1889386" y="5033169"/>
                  <a:pt x="1890160" y="5033169"/>
                </a:cubicBezTo>
                <a:cubicBezTo>
                  <a:pt x="1888302" y="5034924"/>
                  <a:pt x="1886443" y="5037402"/>
                  <a:pt x="1884894" y="5036576"/>
                </a:cubicBezTo>
                <a:cubicBezTo>
                  <a:pt x="1880247" y="5032136"/>
                  <a:pt x="1887837" y="5022843"/>
                  <a:pt x="1888921" y="5020262"/>
                </a:cubicBezTo>
                <a:cubicBezTo>
                  <a:pt x="1888921" y="5020262"/>
                  <a:pt x="1889076" y="5019436"/>
                  <a:pt x="1890006" y="5018610"/>
                </a:cubicBezTo>
                <a:close/>
                <a:moveTo>
                  <a:pt x="1639848" y="5017887"/>
                </a:moveTo>
                <a:cubicBezTo>
                  <a:pt x="1645425" y="5018093"/>
                  <a:pt x="1646819" y="5022430"/>
                  <a:pt x="1645734" y="5027489"/>
                </a:cubicBezTo>
                <a:cubicBezTo>
                  <a:pt x="1644495" y="5033891"/>
                  <a:pt x="1639539" y="5041326"/>
                  <a:pt x="1634272" y="5042978"/>
                </a:cubicBezTo>
                <a:lnTo>
                  <a:pt x="1633808" y="5042978"/>
                </a:lnTo>
                <a:lnTo>
                  <a:pt x="1633652" y="5049793"/>
                </a:lnTo>
                <a:cubicBezTo>
                  <a:pt x="1633187" y="5052271"/>
                  <a:pt x="1632413" y="5054852"/>
                  <a:pt x="1631175" y="5057331"/>
                </a:cubicBezTo>
                <a:cubicBezTo>
                  <a:pt x="1630090" y="5057331"/>
                  <a:pt x="1628851" y="5057227"/>
                  <a:pt x="1628696" y="5058467"/>
                </a:cubicBezTo>
                <a:cubicBezTo>
                  <a:pt x="1621106" y="5058776"/>
                  <a:pt x="1614445" y="5053510"/>
                  <a:pt x="1611193" y="5046592"/>
                </a:cubicBezTo>
                <a:cubicBezTo>
                  <a:pt x="1608559" y="5041326"/>
                  <a:pt x="1607785" y="5035234"/>
                  <a:pt x="1609643" y="5029658"/>
                </a:cubicBezTo>
                <a:lnTo>
                  <a:pt x="1610108" y="5028832"/>
                </a:lnTo>
                <a:lnTo>
                  <a:pt x="1609024" y="5029865"/>
                </a:lnTo>
                <a:cubicBezTo>
                  <a:pt x="1607785" y="5030174"/>
                  <a:pt x="1607785" y="5030174"/>
                  <a:pt x="1607010" y="5029761"/>
                </a:cubicBezTo>
                <a:cubicBezTo>
                  <a:pt x="1605152" y="5029658"/>
                  <a:pt x="1604067" y="5029968"/>
                  <a:pt x="1603138" y="5028316"/>
                </a:cubicBezTo>
                <a:cubicBezTo>
                  <a:pt x="1602673" y="5026870"/>
                  <a:pt x="1602828" y="5025941"/>
                  <a:pt x="1603448" y="5025115"/>
                </a:cubicBezTo>
                <a:cubicBezTo>
                  <a:pt x="1604067" y="5024288"/>
                  <a:pt x="1605152" y="5023566"/>
                  <a:pt x="1606700" y="5022843"/>
                </a:cubicBezTo>
                <a:cubicBezTo>
                  <a:pt x="1609489" y="5021398"/>
                  <a:pt x="1611037" y="5023566"/>
                  <a:pt x="1613516" y="5022843"/>
                </a:cubicBezTo>
                <a:lnTo>
                  <a:pt x="1613051" y="5024392"/>
                </a:lnTo>
                <a:lnTo>
                  <a:pt x="1621416" y="5025424"/>
                </a:lnTo>
                <a:cubicBezTo>
                  <a:pt x="1624049" y="5026354"/>
                  <a:pt x="1626372" y="5027903"/>
                  <a:pt x="1628231" y="5029865"/>
                </a:cubicBezTo>
                <a:lnTo>
                  <a:pt x="1630864" y="5033891"/>
                </a:lnTo>
                <a:lnTo>
                  <a:pt x="1631639" y="5030277"/>
                </a:lnTo>
                <a:cubicBezTo>
                  <a:pt x="1633343" y="5026147"/>
                  <a:pt x="1635821" y="5021914"/>
                  <a:pt x="1639848" y="5017887"/>
                </a:cubicBezTo>
                <a:close/>
                <a:moveTo>
                  <a:pt x="1445453" y="5015615"/>
                </a:moveTo>
                <a:cubicBezTo>
                  <a:pt x="1447157" y="5014582"/>
                  <a:pt x="1447777" y="5018197"/>
                  <a:pt x="1448396" y="5018610"/>
                </a:cubicBezTo>
                <a:cubicBezTo>
                  <a:pt x="1448551" y="5019848"/>
                  <a:pt x="1448861" y="5020984"/>
                  <a:pt x="1447622" y="5021294"/>
                </a:cubicBezTo>
                <a:cubicBezTo>
                  <a:pt x="1447003" y="5021501"/>
                  <a:pt x="1446693" y="5021810"/>
                  <a:pt x="1446228" y="5021810"/>
                </a:cubicBezTo>
                <a:cubicBezTo>
                  <a:pt x="1445918" y="5021810"/>
                  <a:pt x="1445608" y="5021604"/>
                  <a:pt x="1445143" y="5020778"/>
                </a:cubicBezTo>
                <a:cubicBezTo>
                  <a:pt x="1444524" y="5020365"/>
                  <a:pt x="1444214" y="5019126"/>
                  <a:pt x="1443595" y="5018713"/>
                </a:cubicBezTo>
                <a:cubicBezTo>
                  <a:pt x="1443595" y="5018713"/>
                  <a:pt x="1443750" y="5017990"/>
                  <a:pt x="1444059" y="5017267"/>
                </a:cubicBezTo>
                <a:cubicBezTo>
                  <a:pt x="1444369" y="5016544"/>
                  <a:pt x="1444989" y="5015821"/>
                  <a:pt x="1445453" y="5015615"/>
                </a:cubicBezTo>
                <a:close/>
                <a:moveTo>
                  <a:pt x="2548934" y="5015305"/>
                </a:moveTo>
                <a:cubicBezTo>
                  <a:pt x="2549554" y="5015512"/>
                  <a:pt x="2549709" y="5015925"/>
                  <a:pt x="2549554" y="5016441"/>
                </a:cubicBezTo>
                <a:cubicBezTo>
                  <a:pt x="2549554" y="5016957"/>
                  <a:pt x="2549244" y="5017577"/>
                  <a:pt x="2548934" y="5018093"/>
                </a:cubicBezTo>
                <a:cubicBezTo>
                  <a:pt x="2548470" y="5019229"/>
                  <a:pt x="2547850" y="5020468"/>
                  <a:pt x="2547230" y="5021604"/>
                </a:cubicBezTo>
                <a:cubicBezTo>
                  <a:pt x="2547230" y="5021604"/>
                  <a:pt x="2547230" y="5021604"/>
                  <a:pt x="2548934" y="5015305"/>
                </a:cubicBezTo>
                <a:close/>
                <a:moveTo>
                  <a:pt x="2045367" y="5015305"/>
                </a:moveTo>
                <a:cubicBezTo>
                  <a:pt x="2045212" y="5016544"/>
                  <a:pt x="2045057" y="5017783"/>
                  <a:pt x="2044902" y="5019022"/>
                </a:cubicBezTo>
                <a:cubicBezTo>
                  <a:pt x="2043508" y="5019848"/>
                  <a:pt x="2041959" y="5020365"/>
                  <a:pt x="2040720" y="5020468"/>
                </a:cubicBezTo>
                <a:cubicBezTo>
                  <a:pt x="2039326" y="5020468"/>
                  <a:pt x="2038086" y="5020055"/>
                  <a:pt x="2037313" y="5018919"/>
                </a:cubicBezTo>
                <a:cubicBezTo>
                  <a:pt x="2036847" y="5018093"/>
                  <a:pt x="2036693" y="5017061"/>
                  <a:pt x="2036693" y="5015718"/>
                </a:cubicBezTo>
                <a:cubicBezTo>
                  <a:pt x="2038552" y="5013963"/>
                  <a:pt x="2043973" y="5013447"/>
                  <a:pt x="2045367" y="5015305"/>
                </a:cubicBezTo>
                <a:close/>
                <a:moveTo>
                  <a:pt x="1683994" y="5014479"/>
                </a:moveTo>
                <a:cubicBezTo>
                  <a:pt x="1684923" y="5016235"/>
                  <a:pt x="1684303" y="5017990"/>
                  <a:pt x="1683529" y="5019642"/>
                </a:cubicBezTo>
                <a:cubicBezTo>
                  <a:pt x="1682599" y="5020881"/>
                  <a:pt x="1681825" y="5021294"/>
                  <a:pt x="1680896" y="5021191"/>
                </a:cubicBezTo>
                <a:cubicBezTo>
                  <a:pt x="1680121" y="5020984"/>
                  <a:pt x="1679192" y="5020262"/>
                  <a:pt x="1678417" y="5019436"/>
                </a:cubicBezTo>
                <a:cubicBezTo>
                  <a:pt x="1676559" y="5017577"/>
                  <a:pt x="1677333" y="5015925"/>
                  <a:pt x="1677333" y="5015925"/>
                </a:cubicBezTo>
                <a:cubicBezTo>
                  <a:pt x="1678882" y="5013447"/>
                  <a:pt x="1681360" y="5012620"/>
                  <a:pt x="1683994" y="5014479"/>
                </a:cubicBezTo>
                <a:close/>
                <a:moveTo>
                  <a:pt x="1756021" y="5013240"/>
                </a:moveTo>
                <a:cubicBezTo>
                  <a:pt x="1756795" y="5014170"/>
                  <a:pt x="1758189" y="5015202"/>
                  <a:pt x="1758809" y="5016957"/>
                </a:cubicBezTo>
                <a:cubicBezTo>
                  <a:pt x="1757879" y="5018403"/>
                  <a:pt x="1756950" y="5019022"/>
                  <a:pt x="1756175" y="5019022"/>
                </a:cubicBezTo>
                <a:cubicBezTo>
                  <a:pt x="1755401" y="5019022"/>
                  <a:pt x="1754781" y="5018506"/>
                  <a:pt x="1754471" y="5017783"/>
                </a:cubicBezTo>
                <a:cubicBezTo>
                  <a:pt x="1753697" y="5016338"/>
                  <a:pt x="1753852" y="5013860"/>
                  <a:pt x="1756021" y="5013240"/>
                </a:cubicBezTo>
                <a:close/>
                <a:moveTo>
                  <a:pt x="2263925" y="5011588"/>
                </a:moveTo>
                <a:cubicBezTo>
                  <a:pt x="2263616" y="5014066"/>
                  <a:pt x="2263616" y="5015305"/>
                  <a:pt x="2263925" y="5017164"/>
                </a:cubicBezTo>
                <a:lnTo>
                  <a:pt x="2258659" y="5017577"/>
                </a:lnTo>
                <a:lnTo>
                  <a:pt x="2258814" y="5020571"/>
                </a:lnTo>
                <a:cubicBezTo>
                  <a:pt x="2258659" y="5021398"/>
                  <a:pt x="2258039" y="5022017"/>
                  <a:pt x="2257265" y="5022533"/>
                </a:cubicBezTo>
                <a:cubicBezTo>
                  <a:pt x="2256181" y="5022843"/>
                  <a:pt x="2254786" y="5022017"/>
                  <a:pt x="2252773" y="5019952"/>
                </a:cubicBezTo>
                <a:lnTo>
                  <a:pt x="2254477" y="5017680"/>
                </a:lnTo>
                <a:lnTo>
                  <a:pt x="2252773" y="5017371"/>
                </a:lnTo>
                <a:cubicBezTo>
                  <a:pt x="2251998" y="5016854"/>
                  <a:pt x="2251379" y="5016028"/>
                  <a:pt x="2250759" y="5014582"/>
                </a:cubicBezTo>
                <a:cubicBezTo>
                  <a:pt x="2252773" y="5011691"/>
                  <a:pt x="2258659" y="5011898"/>
                  <a:pt x="2263925" y="5011588"/>
                </a:cubicBezTo>
                <a:close/>
                <a:moveTo>
                  <a:pt x="2006333" y="5011485"/>
                </a:moveTo>
                <a:cubicBezTo>
                  <a:pt x="2007727" y="5012517"/>
                  <a:pt x="2008502" y="5015202"/>
                  <a:pt x="2007417" y="5020468"/>
                </a:cubicBezTo>
                <a:lnTo>
                  <a:pt x="2006488" y="5024598"/>
                </a:lnTo>
                <a:lnTo>
                  <a:pt x="2006797" y="5024495"/>
                </a:lnTo>
                <a:cubicBezTo>
                  <a:pt x="2007882" y="5024598"/>
                  <a:pt x="2009121" y="5025011"/>
                  <a:pt x="2010205" y="5025734"/>
                </a:cubicBezTo>
                <a:lnTo>
                  <a:pt x="2012994" y="5029761"/>
                </a:lnTo>
                <a:lnTo>
                  <a:pt x="2027244" y="5029245"/>
                </a:lnTo>
                <a:cubicBezTo>
                  <a:pt x="2034214" y="5028625"/>
                  <a:pt x="2040875" y="5028109"/>
                  <a:pt x="2047226" y="5028729"/>
                </a:cubicBezTo>
                <a:lnTo>
                  <a:pt x="2041339" y="5032652"/>
                </a:lnTo>
                <a:lnTo>
                  <a:pt x="2041959" y="5033169"/>
                </a:lnTo>
                <a:cubicBezTo>
                  <a:pt x="2045057" y="5033995"/>
                  <a:pt x="2048310" y="5029865"/>
                  <a:pt x="2050788" y="5033995"/>
                </a:cubicBezTo>
                <a:cubicBezTo>
                  <a:pt x="2050943" y="5036576"/>
                  <a:pt x="2052027" y="5039364"/>
                  <a:pt x="2051253" y="5042255"/>
                </a:cubicBezTo>
                <a:cubicBezTo>
                  <a:pt x="2051098" y="5043184"/>
                  <a:pt x="2050479" y="5044217"/>
                  <a:pt x="2049704" y="5045250"/>
                </a:cubicBezTo>
                <a:cubicBezTo>
                  <a:pt x="2044748" y="5040500"/>
                  <a:pt x="2039945" y="5039157"/>
                  <a:pt x="2034679" y="5036060"/>
                </a:cubicBezTo>
                <a:lnTo>
                  <a:pt x="2034834" y="5035647"/>
                </a:lnTo>
                <a:lnTo>
                  <a:pt x="2027554" y="5037506"/>
                </a:lnTo>
                <a:lnTo>
                  <a:pt x="2022288" y="5038125"/>
                </a:lnTo>
                <a:lnTo>
                  <a:pt x="2022752" y="5038538"/>
                </a:lnTo>
                <a:cubicBezTo>
                  <a:pt x="2024921" y="5045662"/>
                  <a:pt x="2024766" y="5051445"/>
                  <a:pt x="2018260" y="5054026"/>
                </a:cubicBezTo>
                <a:cubicBezTo>
                  <a:pt x="2017950" y="5052787"/>
                  <a:pt x="2016866" y="5052994"/>
                  <a:pt x="2015627" y="5053201"/>
                </a:cubicBezTo>
                <a:cubicBezTo>
                  <a:pt x="2014232" y="5051961"/>
                  <a:pt x="2013303" y="5050206"/>
                  <a:pt x="2012838" y="5048244"/>
                </a:cubicBezTo>
                <a:lnTo>
                  <a:pt x="2013148" y="5044630"/>
                </a:lnTo>
                <a:lnTo>
                  <a:pt x="2008656" y="5044114"/>
                </a:lnTo>
                <a:cubicBezTo>
                  <a:pt x="2008347" y="5042255"/>
                  <a:pt x="2008656" y="5040706"/>
                  <a:pt x="2009276" y="5039467"/>
                </a:cubicBezTo>
                <a:lnTo>
                  <a:pt x="2009431" y="5039261"/>
                </a:lnTo>
                <a:lnTo>
                  <a:pt x="2004474" y="5039674"/>
                </a:lnTo>
                <a:cubicBezTo>
                  <a:pt x="2004784" y="5038228"/>
                  <a:pt x="2004629" y="5036886"/>
                  <a:pt x="2004474" y="5035440"/>
                </a:cubicBezTo>
                <a:lnTo>
                  <a:pt x="2004784" y="5032962"/>
                </a:lnTo>
                <a:lnTo>
                  <a:pt x="2003854" y="5032962"/>
                </a:lnTo>
                <a:cubicBezTo>
                  <a:pt x="2002925" y="5031000"/>
                  <a:pt x="2002460" y="5029348"/>
                  <a:pt x="2002460" y="5028109"/>
                </a:cubicBezTo>
                <a:lnTo>
                  <a:pt x="2003235" y="5026870"/>
                </a:lnTo>
                <a:lnTo>
                  <a:pt x="1998898" y="5027077"/>
                </a:lnTo>
                <a:cubicBezTo>
                  <a:pt x="1997194" y="5026870"/>
                  <a:pt x="1995800" y="5026250"/>
                  <a:pt x="1995026" y="5025528"/>
                </a:cubicBezTo>
                <a:lnTo>
                  <a:pt x="1994251" y="5023669"/>
                </a:lnTo>
                <a:lnTo>
                  <a:pt x="1993012" y="5025424"/>
                </a:lnTo>
                <a:cubicBezTo>
                  <a:pt x="1992082" y="5026250"/>
                  <a:pt x="1990224" y="5027077"/>
                  <a:pt x="1988211" y="5027489"/>
                </a:cubicBezTo>
                <a:cubicBezTo>
                  <a:pt x="1986041" y="5027903"/>
                  <a:pt x="1984028" y="5027799"/>
                  <a:pt x="1982789" y="5026973"/>
                </a:cubicBezTo>
                <a:cubicBezTo>
                  <a:pt x="1983718" y="5025321"/>
                  <a:pt x="1984802" y="5023566"/>
                  <a:pt x="1985887" y="5021914"/>
                </a:cubicBezTo>
                <a:cubicBezTo>
                  <a:pt x="1985732" y="5022740"/>
                  <a:pt x="1993477" y="5021191"/>
                  <a:pt x="1993477" y="5021191"/>
                </a:cubicBezTo>
                <a:lnTo>
                  <a:pt x="1994251" y="5022533"/>
                </a:lnTo>
                <a:lnTo>
                  <a:pt x="1995026" y="5018919"/>
                </a:lnTo>
                <a:cubicBezTo>
                  <a:pt x="1997504" y="5014170"/>
                  <a:pt x="2003390" y="5009523"/>
                  <a:pt x="2006333" y="5011485"/>
                </a:cubicBezTo>
                <a:close/>
                <a:moveTo>
                  <a:pt x="1705059" y="5010143"/>
                </a:moveTo>
                <a:cubicBezTo>
                  <a:pt x="1705524" y="5012517"/>
                  <a:pt x="1710791" y="5011588"/>
                  <a:pt x="1711410" y="5015202"/>
                </a:cubicBezTo>
                <a:cubicBezTo>
                  <a:pt x="1714353" y="5025631"/>
                  <a:pt x="1711410" y="5027077"/>
                  <a:pt x="1705989" y="5031104"/>
                </a:cubicBezTo>
                <a:cubicBezTo>
                  <a:pt x="1706454" y="5030381"/>
                  <a:pt x="1705370" y="5030690"/>
                  <a:pt x="1705370" y="5030690"/>
                </a:cubicBezTo>
                <a:cubicBezTo>
                  <a:pt x="1703046" y="5031310"/>
                  <a:pt x="1706609" y="5034717"/>
                  <a:pt x="1703665" y="5036163"/>
                </a:cubicBezTo>
                <a:cubicBezTo>
                  <a:pt x="1702581" y="5036576"/>
                  <a:pt x="1701342" y="5036679"/>
                  <a:pt x="1700258" y="5036473"/>
                </a:cubicBezTo>
                <a:cubicBezTo>
                  <a:pt x="1697005" y="5035853"/>
                  <a:pt x="1694527" y="5032859"/>
                  <a:pt x="1692978" y="5031000"/>
                </a:cubicBezTo>
                <a:lnTo>
                  <a:pt x="1692513" y="5030587"/>
                </a:lnTo>
                <a:lnTo>
                  <a:pt x="1691584" y="5030071"/>
                </a:lnTo>
                <a:lnTo>
                  <a:pt x="1691274" y="5030381"/>
                </a:lnTo>
                <a:lnTo>
                  <a:pt x="1691274" y="5030071"/>
                </a:lnTo>
                <a:lnTo>
                  <a:pt x="1689415" y="5029245"/>
                </a:lnTo>
                <a:lnTo>
                  <a:pt x="1690034" y="5027799"/>
                </a:lnTo>
                <a:lnTo>
                  <a:pt x="1689260" y="5025218"/>
                </a:lnTo>
                <a:cubicBezTo>
                  <a:pt x="1689105" y="5024392"/>
                  <a:pt x="1689570" y="5023772"/>
                  <a:pt x="1690654" y="5023463"/>
                </a:cubicBezTo>
                <a:cubicBezTo>
                  <a:pt x="1692358" y="5022430"/>
                  <a:pt x="1693287" y="5024082"/>
                  <a:pt x="1695611" y="5023359"/>
                </a:cubicBezTo>
                <a:cubicBezTo>
                  <a:pt x="1697624" y="5022533"/>
                  <a:pt x="1697934" y="5020055"/>
                  <a:pt x="1698864" y="5017371"/>
                </a:cubicBezTo>
                <a:lnTo>
                  <a:pt x="1700258" y="5014376"/>
                </a:lnTo>
                <a:lnTo>
                  <a:pt x="1699328" y="5015202"/>
                </a:lnTo>
                <a:cubicBezTo>
                  <a:pt x="1695766" y="5017371"/>
                  <a:pt x="1690034" y="5018300"/>
                  <a:pt x="1687092" y="5014066"/>
                </a:cubicBezTo>
                <a:cubicBezTo>
                  <a:pt x="1690034" y="5010865"/>
                  <a:pt x="1692668" y="5010039"/>
                  <a:pt x="1695146" y="5010246"/>
                </a:cubicBezTo>
                <a:lnTo>
                  <a:pt x="1701652" y="5012724"/>
                </a:lnTo>
                <a:close/>
                <a:moveTo>
                  <a:pt x="830767" y="5009794"/>
                </a:moveTo>
                <a:cubicBezTo>
                  <a:pt x="832645" y="5009058"/>
                  <a:pt x="835007" y="5009420"/>
                  <a:pt x="836092" y="5010659"/>
                </a:cubicBezTo>
                <a:cubicBezTo>
                  <a:pt x="836092" y="5013963"/>
                  <a:pt x="833303" y="5016131"/>
                  <a:pt x="830670" y="5016131"/>
                </a:cubicBezTo>
                <a:cubicBezTo>
                  <a:pt x="829896" y="5016235"/>
                  <a:pt x="828966" y="5015925"/>
                  <a:pt x="828346" y="5015512"/>
                </a:cubicBezTo>
                <a:cubicBezTo>
                  <a:pt x="827494" y="5012363"/>
                  <a:pt x="828889" y="5010530"/>
                  <a:pt x="830767" y="5009794"/>
                </a:cubicBezTo>
                <a:close/>
                <a:moveTo>
                  <a:pt x="2198404" y="5009110"/>
                </a:moveTo>
                <a:cubicBezTo>
                  <a:pt x="2198869" y="5012208"/>
                  <a:pt x="2199333" y="5013343"/>
                  <a:pt x="2199333" y="5015305"/>
                </a:cubicBezTo>
                <a:lnTo>
                  <a:pt x="2200109" y="5016235"/>
                </a:lnTo>
                <a:lnTo>
                  <a:pt x="2200263" y="5016235"/>
                </a:lnTo>
                <a:lnTo>
                  <a:pt x="2200573" y="5016648"/>
                </a:lnTo>
                <a:lnTo>
                  <a:pt x="2201192" y="5017371"/>
                </a:lnTo>
                <a:lnTo>
                  <a:pt x="2201192" y="5017783"/>
                </a:lnTo>
                <a:lnTo>
                  <a:pt x="2202587" y="5019642"/>
                </a:lnTo>
                <a:cubicBezTo>
                  <a:pt x="2203981" y="5021087"/>
                  <a:pt x="2205530" y="5022637"/>
                  <a:pt x="2205530" y="5022637"/>
                </a:cubicBezTo>
                <a:cubicBezTo>
                  <a:pt x="2205220" y="5025011"/>
                  <a:pt x="2205220" y="5025011"/>
                  <a:pt x="2202277" y="5024805"/>
                </a:cubicBezTo>
                <a:lnTo>
                  <a:pt x="2199488" y="5022843"/>
                </a:lnTo>
                <a:lnTo>
                  <a:pt x="2198559" y="5022843"/>
                </a:lnTo>
                <a:cubicBezTo>
                  <a:pt x="2197785" y="5022533"/>
                  <a:pt x="2197165" y="5021914"/>
                  <a:pt x="2196855" y="5020778"/>
                </a:cubicBezTo>
                <a:lnTo>
                  <a:pt x="2196700" y="5019642"/>
                </a:lnTo>
                <a:lnTo>
                  <a:pt x="2194997" y="5016544"/>
                </a:lnTo>
                <a:lnTo>
                  <a:pt x="2196545" y="5016544"/>
                </a:lnTo>
                <a:lnTo>
                  <a:pt x="2198095" y="5013756"/>
                </a:lnTo>
                <a:cubicBezTo>
                  <a:pt x="2198095" y="5011795"/>
                  <a:pt x="2197010" y="5010143"/>
                  <a:pt x="2198404" y="5009110"/>
                </a:cubicBezTo>
                <a:close/>
                <a:moveTo>
                  <a:pt x="1576960" y="5008697"/>
                </a:moveTo>
                <a:cubicBezTo>
                  <a:pt x="1580058" y="5007871"/>
                  <a:pt x="1583776" y="5009523"/>
                  <a:pt x="1584705" y="5014066"/>
                </a:cubicBezTo>
                <a:cubicBezTo>
                  <a:pt x="1582692" y="5017371"/>
                  <a:pt x="1580368" y="5018919"/>
                  <a:pt x="1578819" y="5020262"/>
                </a:cubicBezTo>
                <a:cubicBezTo>
                  <a:pt x="1576960" y="5019022"/>
                  <a:pt x="1575102" y="5018713"/>
                  <a:pt x="1573243" y="5017474"/>
                </a:cubicBezTo>
                <a:cubicBezTo>
                  <a:pt x="1571384" y="5012620"/>
                  <a:pt x="1573862" y="5009523"/>
                  <a:pt x="1576960" y="5008697"/>
                </a:cubicBezTo>
                <a:close/>
                <a:moveTo>
                  <a:pt x="1230612" y="5007871"/>
                </a:moveTo>
                <a:cubicBezTo>
                  <a:pt x="1232626" y="5005289"/>
                  <a:pt x="1234950" y="5007045"/>
                  <a:pt x="1238047" y="5007974"/>
                </a:cubicBezTo>
                <a:cubicBezTo>
                  <a:pt x="1237118" y="5008800"/>
                  <a:pt x="1237892" y="5009730"/>
                  <a:pt x="1238666" y="5010555"/>
                </a:cubicBezTo>
                <a:cubicBezTo>
                  <a:pt x="1237273" y="5011898"/>
                  <a:pt x="1235414" y="5014066"/>
                  <a:pt x="1233245" y="5013653"/>
                </a:cubicBezTo>
                <a:cubicBezTo>
                  <a:pt x="1232471" y="5013550"/>
                  <a:pt x="1231852" y="5013034"/>
                  <a:pt x="1231077" y="5012208"/>
                </a:cubicBezTo>
                <a:cubicBezTo>
                  <a:pt x="1230612" y="5012208"/>
                  <a:pt x="1230302" y="5011278"/>
                  <a:pt x="1230148" y="5010349"/>
                </a:cubicBezTo>
                <a:cubicBezTo>
                  <a:pt x="1230148" y="5009316"/>
                  <a:pt x="1230148" y="5008284"/>
                  <a:pt x="1230612" y="5007871"/>
                </a:cubicBezTo>
                <a:close/>
                <a:moveTo>
                  <a:pt x="1852366" y="5007768"/>
                </a:moveTo>
                <a:lnTo>
                  <a:pt x="1853760" y="5011381"/>
                </a:lnTo>
                <a:lnTo>
                  <a:pt x="1854070" y="5010865"/>
                </a:lnTo>
                <a:cubicBezTo>
                  <a:pt x="1860111" y="5017887"/>
                  <a:pt x="1857942" y="5029142"/>
                  <a:pt x="1855154" y="5034201"/>
                </a:cubicBezTo>
                <a:cubicBezTo>
                  <a:pt x="1852057" y="5030690"/>
                  <a:pt x="1850662" y="5025941"/>
                  <a:pt x="1850662" y="5021501"/>
                </a:cubicBezTo>
                <a:lnTo>
                  <a:pt x="1851281" y="5017267"/>
                </a:lnTo>
                <a:lnTo>
                  <a:pt x="1848184" y="5016338"/>
                </a:lnTo>
                <a:cubicBezTo>
                  <a:pt x="1846170" y="5015409"/>
                  <a:pt x="1844312" y="5014273"/>
                  <a:pt x="1842607" y="5013343"/>
                </a:cubicBezTo>
                <a:cubicBezTo>
                  <a:pt x="1845860" y="5011795"/>
                  <a:pt x="1849268" y="5013653"/>
                  <a:pt x="1852366" y="5007768"/>
                </a:cubicBezTo>
                <a:close/>
                <a:moveTo>
                  <a:pt x="1468223" y="5007561"/>
                </a:moveTo>
                <a:lnTo>
                  <a:pt x="1468843" y="5008077"/>
                </a:lnTo>
                <a:lnTo>
                  <a:pt x="1469307" y="5007768"/>
                </a:lnTo>
                <a:cubicBezTo>
                  <a:pt x="1470237" y="5007768"/>
                  <a:pt x="1471321" y="5007871"/>
                  <a:pt x="1472095" y="5007871"/>
                </a:cubicBezTo>
                <a:cubicBezTo>
                  <a:pt x="1472715" y="5006012"/>
                  <a:pt x="1475658" y="5009420"/>
                  <a:pt x="1476278" y="5007561"/>
                </a:cubicBezTo>
                <a:cubicBezTo>
                  <a:pt x="1479995" y="5010865"/>
                  <a:pt x="1483558" y="5006322"/>
                  <a:pt x="1489909" y="5010349"/>
                </a:cubicBezTo>
                <a:cubicBezTo>
                  <a:pt x="1487895" y="5011175"/>
                  <a:pt x="1486036" y="5011485"/>
                  <a:pt x="1484332" y="5011691"/>
                </a:cubicBezTo>
                <a:cubicBezTo>
                  <a:pt x="1481699" y="5011898"/>
                  <a:pt x="1479221" y="5011795"/>
                  <a:pt x="1477052" y="5011691"/>
                </a:cubicBezTo>
                <a:lnTo>
                  <a:pt x="1471476" y="5012311"/>
                </a:lnTo>
                <a:lnTo>
                  <a:pt x="1470547" y="5013963"/>
                </a:lnTo>
                <a:cubicBezTo>
                  <a:pt x="1469927" y="5014789"/>
                  <a:pt x="1469462" y="5015305"/>
                  <a:pt x="1468843" y="5015615"/>
                </a:cubicBezTo>
                <a:cubicBezTo>
                  <a:pt x="1468378" y="5015925"/>
                  <a:pt x="1467758" y="5015925"/>
                  <a:pt x="1467449" y="5015718"/>
                </a:cubicBezTo>
                <a:cubicBezTo>
                  <a:pt x="1466984" y="5015512"/>
                  <a:pt x="1466674" y="5015202"/>
                  <a:pt x="1466364" y="5014789"/>
                </a:cubicBezTo>
                <a:cubicBezTo>
                  <a:pt x="1464816" y="5012414"/>
                  <a:pt x="1464971" y="5007148"/>
                  <a:pt x="1468223" y="5007561"/>
                </a:cubicBezTo>
                <a:close/>
                <a:moveTo>
                  <a:pt x="2203748" y="5007432"/>
                </a:moveTo>
                <a:cubicBezTo>
                  <a:pt x="2205762" y="5008181"/>
                  <a:pt x="2207233" y="5010246"/>
                  <a:pt x="2205220" y="5012208"/>
                </a:cubicBezTo>
                <a:cubicBezTo>
                  <a:pt x="2203361" y="5012208"/>
                  <a:pt x="2201192" y="5011381"/>
                  <a:pt x="2199024" y="5010555"/>
                </a:cubicBezTo>
                <a:cubicBezTo>
                  <a:pt x="2199179" y="5007251"/>
                  <a:pt x="2201734" y="5006683"/>
                  <a:pt x="2203748" y="5007432"/>
                </a:cubicBezTo>
                <a:close/>
                <a:moveTo>
                  <a:pt x="2210951" y="5007354"/>
                </a:moveTo>
                <a:cubicBezTo>
                  <a:pt x="2213429" y="5007148"/>
                  <a:pt x="2215133" y="5007148"/>
                  <a:pt x="2216992" y="5008800"/>
                </a:cubicBezTo>
                <a:lnTo>
                  <a:pt x="2219006" y="5011795"/>
                </a:lnTo>
                <a:lnTo>
                  <a:pt x="2220709" y="5010452"/>
                </a:lnTo>
                <a:cubicBezTo>
                  <a:pt x="2225821" y="5008387"/>
                  <a:pt x="2231862" y="5007974"/>
                  <a:pt x="2233876" y="5016854"/>
                </a:cubicBezTo>
                <a:cubicBezTo>
                  <a:pt x="2234805" y="5018403"/>
                  <a:pt x="2234031" y="5017990"/>
                  <a:pt x="2234341" y="5019229"/>
                </a:cubicBezTo>
                <a:cubicBezTo>
                  <a:pt x="2234495" y="5020365"/>
                  <a:pt x="2235270" y="5022017"/>
                  <a:pt x="2236044" y="5022430"/>
                </a:cubicBezTo>
                <a:cubicBezTo>
                  <a:pt x="2232017" y="5024185"/>
                  <a:pt x="2233101" y="5026973"/>
                  <a:pt x="2226750" y="5029348"/>
                </a:cubicBezTo>
                <a:cubicBezTo>
                  <a:pt x="2224737" y="5030174"/>
                  <a:pt x="2223033" y="5030587"/>
                  <a:pt x="2221639" y="5030587"/>
                </a:cubicBezTo>
                <a:lnTo>
                  <a:pt x="2220399" y="5030277"/>
                </a:lnTo>
                <a:lnTo>
                  <a:pt x="2220864" y="5030587"/>
                </a:lnTo>
                <a:cubicBezTo>
                  <a:pt x="2222878" y="5032755"/>
                  <a:pt x="2224427" y="5034821"/>
                  <a:pt x="2224272" y="5036163"/>
                </a:cubicBezTo>
                <a:cubicBezTo>
                  <a:pt x="2223343" y="5036266"/>
                  <a:pt x="2222568" y="5036266"/>
                  <a:pt x="2221639" y="5035440"/>
                </a:cubicBezTo>
                <a:cubicBezTo>
                  <a:pt x="2220709" y="5034614"/>
                  <a:pt x="2221484" y="5034614"/>
                  <a:pt x="2220709" y="5034614"/>
                </a:cubicBezTo>
                <a:cubicBezTo>
                  <a:pt x="2219780" y="5033788"/>
                  <a:pt x="2219780" y="5034717"/>
                  <a:pt x="2219780" y="5034717"/>
                </a:cubicBezTo>
                <a:cubicBezTo>
                  <a:pt x="2219780" y="5034717"/>
                  <a:pt x="2219625" y="5033788"/>
                  <a:pt x="2219625" y="5033788"/>
                </a:cubicBezTo>
                <a:cubicBezTo>
                  <a:pt x="2219625" y="5033788"/>
                  <a:pt x="2219625" y="5033788"/>
                  <a:pt x="2217766" y="5032136"/>
                </a:cubicBezTo>
                <a:cubicBezTo>
                  <a:pt x="2214978" y="5030587"/>
                  <a:pt x="2214204" y="5030690"/>
                  <a:pt x="2212345" y="5029968"/>
                </a:cubicBezTo>
                <a:cubicBezTo>
                  <a:pt x="2210486" y="5028316"/>
                  <a:pt x="2210331" y="5027386"/>
                  <a:pt x="2208318" y="5024908"/>
                </a:cubicBezTo>
                <a:cubicBezTo>
                  <a:pt x="2208938" y="5023153"/>
                  <a:pt x="2208938" y="5023153"/>
                  <a:pt x="2209712" y="5023049"/>
                </a:cubicBezTo>
                <a:cubicBezTo>
                  <a:pt x="2208938" y="5023153"/>
                  <a:pt x="2208783" y="5022327"/>
                  <a:pt x="2207853" y="5021501"/>
                </a:cubicBezTo>
                <a:cubicBezTo>
                  <a:pt x="2203206" y="5019126"/>
                  <a:pt x="2204445" y="5014686"/>
                  <a:pt x="2207078" y="5010143"/>
                </a:cubicBezTo>
                <a:cubicBezTo>
                  <a:pt x="2208008" y="5010969"/>
                  <a:pt x="2209402" y="5008284"/>
                  <a:pt x="2210951" y="5007354"/>
                </a:cubicBezTo>
                <a:close/>
                <a:moveTo>
                  <a:pt x="2055203" y="5005418"/>
                </a:moveTo>
                <a:cubicBezTo>
                  <a:pt x="2056829" y="5005831"/>
                  <a:pt x="2057913" y="5007458"/>
                  <a:pt x="2055590" y="5010865"/>
                </a:cubicBezTo>
                <a:cubicBezTo>
                  <a:pt x="2052647" y="5009523"/>
                  <a:pt x="2051562" y="5008181"/>
                  <a:pt x="2051562" y="5007251"/>
                </a:cubicBezTo>
                <a:cubicBezTo>
                  <a:pt x="2051407" y="5005806"/>
                  <a:pt x="2053576" y="5005005"/>
                  <a:pt x="2055203" y="5005418"/>
                </a:cubicBezTo>
                <a:close/>
                <a:moveTo>
                  <a:pt x="902697" y="5004980"/>
                </a:moveTo>
                <a:cubicBezTo>
                  <a:pt x="904246" y="5005806"/>
                  <a:pt x="905021" y="5006735"/>
                  <a:pt x="906569" y="5007561"/>
                </a:cubicBezTo>
                <a:cubicBezTo>
                  <a:pt x="906259" y="5010143"/>
                  <a:pt x="908583" y="5012827"/>
                  <a:pt x="904711" y="5017990"/>
                </a:cubicBezTo>
                <a:cubicBezTo>
                  <a:pt x="899909" y="5023153"/>
                  <a:pt x="895417" y="5018713"/>
                  <a:pt x="895261" y="5019642"/>
                </a:cubicBezTo>
                <a:cubicBezTo>
                  <a:pt x="894332" y="5020468"/>
                  <a:pt x="894332" y="5020365"/>
                  <a:pt x="894332" y="5021294"/>
                </a:cubicBezTo>
                <a:cubicBezTo>
                  <a:pt x="893404" y="5021294"/>
                  <a:pt x="891699" y="5022120"/>
                  <a:pt x="890770" y="5022946"/>
                </a:cubicBezTo>
                <a:cubicBezTo>
                  <a:pt x="890770" y="5022120"/>
                  <a:pt x="890925" y="5021191"/>
                  <a:pt x="889995" y="5021191"/>
                </a:cubicBezTo>
                <a:cubicBezTo>
                  <a:pt x="891854" y="5019539"/>
                  <a:pt x="892783" y="5019539"/>
                  <a:pt x="893713" y="5018713"/>
                </a:cubicBezTo>
                <a:cubicBezTo>
                  <a:pt x="892783" y="5018713"/>
                  <a:pt x="893868" y="5017783"/>
                  <a:pt x="893868" y="5017783"/>
                </a:cubicBezTo>
                <a:cubicBezTo>
                  <a:pt x="893868" y="5017783"/>
                  <a:pt x="893713" y="5017783"/>
                  <a:pt x="892319" y="5016028"/>
                </a:cubicBezTo>
                <a:cubicBezTo>
                  <a:pt x="892319" y="5016028"/>
                  <a:pt x="889376" y="5011691"/>
                  <a:pt x="893093" y="5007354"/>
                </a:cubicBezTo>
                <a:cubicBezTo>
                  <a:pt x="893868" y="5008284"/>
                  <a:pt x="899444" y="5003121"/>
                  <a:pt x="902697" y="5004980"/>
                </a:cubicBezTo>
                <a:close/>
                <a:moveTo>
                  <a:pt x="1863674" y="5004773"/>
                </a:moveTo>
                <a:cubicBezTo>
                  <a:pt x="1864293" y="5005806"/>
                  <a:pt x="1865068" y="5006735"/>
                  <a:pt x="1865687" y="5007664"/>
                </a:cubicBezTo>
                <a:cubicBezTo>
                  <a:pt x="1861660" y="5011691"/>
                  <a:pt x="1861040" y="5016028"/>
                  <a:pt x="1857942" y="5019332"/>
                </a:cubicBezTo>
                <a:cubicBezTo>
                  <a:pt x="1857013" y="5014789"/>
                  <a:pt x="1855774" y="5006735"/>
                  <a:pt x="1863674" y="5004773"/>
                </a:cubicBezTo>
                <a:close/>
                <a:moveTo>
                  <a:pt x="1685233" y="5003741"/>
                </a:moveTo>
                <a:cubicBezTo>
                  <a:pt x="1684768" y="5004463"/>
                  <a:pt x="1684768" y="5004463"/>
                  <a:pt x="1684768" y="5004463"/>
                </a:cubicBezTo>
                <a:cubicBezTo>
                  <a:pt x="1684923" y="5005703"/>
                  <a:pt x="1685543" y="5004980"/>
                  <a:pt x="1686162" y="5005393"/>
                </a:cubicBezTo>
                <a:cubicBezTo>
                  <a:pt x="1686162" y="5005393"/>
                  <a:pt x="1685388" y="5004980"/>
                  <a:pt x="1686627" y="5004670"/>
                </a:cubicBezTo>
                <a:cubicBezTo>
                  <a:pt x="1686162" y="5005393"/>
                  <a:pt x="1686782" y="5005806"/>
                  <a:pt x="1687556" y="5006219"/>
                </a:cubicBezTo>
                <a:cubicBezTo>
                  <a:pt x="1687866" y="5008697"/>
                  <a:pt x="1687866" y="5011898"/>
                  <a:pt x="1686162" y="5012931"/>
                </a:cubicBezTo>
                <a:cubicBezTo>
                  <a:pt x="1683839" y="5013550"/>
                  <a:pt x="1682909" y="5012001"/>
                  <a:pt x="1682755" y="5010762"/>
                </a:cubicBezTo>
                <a:cubicBezTo>
                  <a:pt x="1681980" y="5009730"/>
                  <a:pt x="1682135" y="5008387"/>
                  <a:pt x="1682599" y="5007148"/>
                </a:cubicBezTo>
                <a:cubicBezTo>
                  <a:pt x="1683219" y="5005909"/>
                  <a:pt x="1684149" y="5004670"/>
                  <a:pt x="1685233" y="5003741"/>
                </a:cubicBezTo>
                <a:close/>
                <a:moveTo>
                  <a:pt x="2554356" y="5003534"/>
                </a:moveTo>
                <a:cubicBezTo>
                  <a:pt x="2555440" y="5005083"/>
                  <a:pt x="2558538" y="5004050"/>
                  <a:pt x="2558228" y="5006425"/>
                </a:cubicBezTo>
                <a:cubicBezTo>
                  <a:pt x="2556989" y="5006115"/>
                  <a:pt x="2555285" y="5005083"/>
                  <a:pt x="2554201" y="5004773"/>
                </a:cubicBezTo>
                <a:cubicBezTo>
                  <a:pt x="2554201" y="5004773"/>
                  <a:pt x="2554201" y="5004773"/>
                  <a:pt x="2554356" y="5003534"/>
                </a:cubicBezTo>
                <a:close/>
                <a:moveTo>
                  <a:pt x="1576341" y="5002605"/>
                </a:moveTo>
                <a:cubicBezTo>
                  <a:pt x="1576341" y="5002605"/>
                  <a:pt x="1576341" y="5002605"/>
                  <a:pt x="1578200" y="5004257"/>
                </a:cubicBezTo>
                <a:lnTo>
                  <a:pt x="1578354" y="5005186"/>
                </a:lnTo>
                <a:cubicBezTo>
                  <a:pt x="1578200" y="5005599"/>
                  <a:pt x="1577580" y="5005806"/>
                  <a:pt x="1576651" y="5005909"/>
                </a:cubicBezTo>
                <a:cubicBezTo>
                  <a:pt x="1575411" y="5006115"/>
                  <a:pt x="1573397" y="5006115"/>
                  <a:pt x="1571849" y="5006012"/>
                </a:cubicBezTo>
                <a:cubicBezTo>
                  <a:pt x="1570145" y="5005909"/>
                  <a:pt x="1568751" y="5005703"/>
                  <a:pt x="1568441" y="5005703"/>
                </a:cubicBezTo>
                <a:cubicBezTo>
                  <a:pt x="1568441" y="5005703"/>
                  <a:pt x="1567512" y="5005703"/>
                  <a:pt x="1566737" y="5005806"/>
                </a:cubicBezTo>
                <a:cubicBezTo>
                  <a:pt x="1565808" y="5004980"/>
                  <a:pt x="1565653" y="5004153"/>
                  <a:pt x="1564879" y="5004153"/>
                </a:cubicBezTo>
                <a:cubicBezTo>
                  <a:pt x="1567047" y="5001469"/>
                  <a:pt x="1569526" y="5002192"/>
                  <a:pt x="1572158" y="5002914"/>
                </a:cubicBezTo>
                <a:cubicBezTo>
                  <a:pt x="1574017" y="5003638"/>
                  <a:pt x="1574792" y="5003534"/>
                  <a:pt x="1576341" y="5002605"/>
                </a:cubicBezTo>
                <a:close/>
                <a:moveTo>
                  <a:pt x="1527858" y="5001882"/>
                </a:moveTo>
                <a:cubicBezTo>
                  <a:pt x="1519339" y="5006219"/>
                  <a:pt x="1516550" y="5013137"/>
                  <a:pt x="1506018" y="5016028"/>
                </a:cubicBezTo>
                <a:cubicBezTo>
                  <a:pt x="1504779" y="5007354"/>
                  <a:pt x="1520423" y="4995067"/>
                  <a:pt x="1527858" y="5001882"/>
                </a:cubicBezTo>
                <a:close/>
                <a:moveTo>
                  <a:pt x="975653" y="5001676"/>
                </a:moveTo>
                <a:cubicBezTo>
                  <a:pt x="975653" y="5002502"/>
                  <a:pt x="974414" y="5005186"/>
                  <a:pt x="975343" y="5005186"/>
                </a:cubicBezTo>
                <a:cubicBezTo>
                  <a:pt x="973175" y="5007148"/>
                  <a:pt x="970696" y="5009007"/>
                  <a:pt x="968528" y="5009110"/>
                </a:cubicBezTo>
                <a:cubicBezTo>
                  <a:pt x="967908" y="5009213"/>
                  <a:pt x="967288" y="5009007"/>
                  <a:pt x="966669" y="5008594"/>
                </a:cubicBezTo>
                <a:cubicBezTo>
                  <a:pt x="965120" y="5007664"/>
                  <a:pt x="966049" y="5005909"/>
                  <a:pt x="967908" y="5004153"/>
                </a:cubicBezTo>
                <a:cubicBezTo>
                  <a:pt x="970851" y="4999817"/>
                  <a:pt x="973484" y="4998991"/>
                  <a:pt x="975653" y="5001676"/>
                </a:cubicBezTo>
                <a:close/>
                <a:moveTo>
                  <a:pt x="1740531" y="5001366"/>
                </a:moveTo>
                <a:cubicBezTo>
                  <a:pt x="1744868" y="5003844"/>
                  <a:pt x="1744403" y="5010349"/>
                  <a:pt x="1740376" y="5011485"/>
                </a:cubicBezTo>
                <a:cubicBezTo>
                  <a:pt x="1739292" y="5010865"/>
                  <a:pt x="1737278" y="5010452"/>
                  <a:pt x="1736039" y="5009007"/>
                </a:cubicBezTo>
                <a:cubicBezTo>
                  <a:pt x="1735419" y="5004567"/>
                  <a:pt x="1737278" y="5002295"/>
                  <a:pt x="1740531" y="5001366"/>
                </a:cubicBezTo>
                <a:close/>
                <a:moveTo>
                  <a:pt x="2311355" y="5000070"/>
                </a:moveTo>
                <a:lnTo>
                  <a:pt x="2310239" y="5000643"/>
                </a:lnTo>
                <a:lnTo>
                  <a:pt x="2311168" y="5002605"/>
                </a:lnTo>
                <a:lnTo>
                  <a:pt x="2312098" y="5001572"/>
                </a:lnTo>
                <a:lnTo>
                  <a:pt x="2312252" y="5001472"/>
                </a:lnTo>
                <a:close/>
                <a:moveTo>
                  <a:pt x="2238678" y="4999507"/>
                </a:moveTo>
                <a:cubicBezTo>
                  <a:pt x="2241311" y="5000849"/>
                  <a:pt x="2244099" y="5001366"/>
                  <a:pt x="2246732" y="5001469"/>
                </a:cubicBezTo>
                <a:lnTo>
                  <a:pt x="2251379" y="5001159"/>
                </a:lnTo>
                <a:lnTo>
                  <a:pt x="2251224" y="5001159"/>
                </a:lnTo>
                <a:cubicBezTo>
                  <a:pt x="2253702" y="4998681"/>
                  <a:pt x="2256181" y="4999610"/>
                  <a:pt x="2258659" y="5000643"/>
                </a:cubicBezTo>
                <a:cubicBezTo>
                  <a:pt x="2260363" y="5001572"/>
                  <a:pt x="2261292" y="5001572"/>
                  <a:pt x="2262996" y="5000849"/>
                </a:cubicBezTo>
                <a:cubicBezTo>
                  <a:pt x="2262996" y="5000849"/>
                  <a:pt x="2262841" y="5000849"/>
                  <a:pt x="2263151" y="5001056"/>
                </a:cubicBezTo>
                <a:lnTo>
                  <a:pt x="2263461" y="5001366"/>
                </a:lnTo>
                <a:lnTo>
                  <a:pt x="2270741" y="5004463"/>
                </a:lnTo>
                <a:cubicBezTo>
                  <a:pt x="2268263" y="5008181"/>
                  <a:pt x="2260827" y="5010039"/>
                  <a:pt x="2253702" y="5009316"/>
                </a:cubicBezTo>
                <a:cubicBezTo>
                  <a:pt x="2246577" y="5008697"/>
                  <a:pt x="2239762" y="5005599"/>
                  <a:pt x="2238678" y="4999507"/>
                </a:cubicBezTo>
                <a:close/>
                <a:moveTo>
                  <a:pt x="2039016" y="4998991"/>
                </a:moveTo>
                <a:cubicBezTo>
                  <a:pt x="2041184" y="5000333"/>
                  <a:pt x="2042114" y="5003224"/>
                  <a:pt x="2040410" y="5007561"/>
                </a:cubicBezTo>
                <a:cubicBezTo>
                  <a:pt x="2039171" y="5008387"/>
                  <a:pt x="2037932" y="5009007"/>
                  <a:pt x="2036693" y="5009213"/>
                </a:cubicBezTo>
                <a:cubicBezTo>
                  <a:pt x="2033130" y="5009936"/>
                  <a:pt x="2029877" y="5008077"/>
                  <a:pt x="2029567" y="5004773"/>
                </a:cubicBezTo>
                <a:cubicBezTo>
                  <a:pt x="2029258" y="5003431"/>
                  <a:pt x="2029567" y="5001676"/>
                  <a:pt x="2030651" y="4999817"/>
                </a:cubicBezTo>
                <a:cubicBezTo>
                  <a:pt x="2033595" y="4997752"/>
                  <a:pt x="2037002" y="4997545"/>
                  <a:pt x="2039016" y="4998991"/>
                </a:cubicBezTo>
                <a:close/>
                <a:moveTo>
                  <a:pt x="2573098" y="4998784"/>
                </a:moveTo>
                <a:cubicBezTo>
                  <a:pt x="2575770" y="4998242"/>
                  <a:pt x="2578752" y="4999662"/>
                  <a:pt x="2580223" y="5003638"/>
                </a:cubicBezTo>
                <a:cubicBezTo>
                  <a:pt x="2579913" y="5007148"/>
                  <a:pt x="2577900" y="5009626"/>
                  <a:pt x="2575421" y="5010349"/>
                </a:cubicBezTo>
                <a:cubicBezTo>
                  <a:pt x="2572943" y="5010969"/>
                  <a:pt x="2570000" y="5009730"/>
                  <a:pt x="2567831" y="5005703"/>
                </a:cubicBezTo>
                <a:cubicBezTo>
                  <a:pt x="2568064" y="5001831"/>
                  <a:pt x="2570426" y="4999326"/>
                  <a:pt x="2573098" y="4998784"/>
                </a:cubicBezTo>
                <a:close/>
                <a:moveTo>
                  <a:pt x="985257" y="4998268"/>
                </a:moveTo>
                <a:cubicBezTo>
                  <a:pt x="985102" y="4999094"/>
                  <a:pt x="985721" y="5000953"/>
                  <a:pt x="984947" y="5000953"/>
                </a:cubicBezTo>
                <a:cubicBezTo>
                  <a:pt x="984792" y="5001882"/>
                  <a:pt x="983243" y="5001882"/>
                  <a:pt x="983243" y="5001882"/>
                </a:cubicBezTo>
                <a:cubicBezTo>
                  <a:pt x="983088" y="5002708"/>
                  <a:pt x="983088" y="5003638"/>
                  <a:pt x="982159" y="5004567"/>
                </a:cubicBezTo>
                <a:cubicBezTo>
                  <a:pt x="981384" y="5003638"/>
                  <a:pt x="981384" y="5004463"/>
                  <a:pt x="980455" y="5004463"/>
                </a:cubicBezTo>
                <a:cubicBezTo>
                  <a:pt x="981384" y="5003638"/>
                  <a:pt x="981694" y="5000953"/>
                  <a:pt x="982778" y="4999094"/>
                </a:cubicBezTo>
                <a:cubicBezTo>
                  <a:pt x="983552" y="4999197"/>
                  <a:pt x="984482" y="4998268"/>
                  <a:pt x="985257" y="4998268"/>
                </a:cubicBezTo>
                <a:close/>
                <a:moveTo>
                  <a:pt x="1631484" y="4996822"/>
                </a:moveTo>
                <a:cubicBezTo>
                  <a:pt x="1631329" y="5000849"/>
                  <a:pt x="1631175" y="5004876"/>
                  <a:pt x="1630400" y="5008904"/>
                </a:cubicBezTo>
                <a:cubicBezTo>
                  <a:pt x="1629625" y="5012931"/>
                  <a:pt x="1628231" y="5017061"/>
                  <a:pt x="1624978" y="5021191"/>
                </a:cubicBezTo>
                <a:cubicBezTo>
                  <a:pt x="1618783" y="5013550"/>
                  <a:pt x="1626528" y="5001779"/>
                  <a:pt x="1631484" y="4996822"/>
                </a:cubicBezTo>
                <a:close/>
                <a:moveTo>
                  <a:pt x="2219625" y="4996203"/>
                </a:moveTo>
                <a:lnTo>
                  <a:pt x="2222103" y="4997029"/>
                </a:lnTo>
                <a:lnTo>
                  <a:pt x="2225047" y="4996203"/>
                </a:lnTo>
                <a:cubicBezTo>
                  <a:pt x="2228454" y="4995790"/>
                  <a:pt x="2228610" y="4998371"/>
                  <a:pt x="2229693" y="5001366"/>
                </a:cubicBezTo>
                <a:cubicBezTo>
                  <a:pt x="2228764" y="5001882"/>
                  <a:pt x="2228144" y="5002811"/>
                  <a:pt x="2227525" y="5003741"/>
                </a:cubicBezTo>
                <a:lnTo>
                  <a:pt x="2227370" y="5003844"/>
                </a:lnTo>
                <a:lnTo>
                  <a:pt x="2227525" y="5004360"/>
                </a:lnTo>
                <a:cubicBezTo>
                  <a:pt x="2226131" y="5006115"/>
                  <a:pt x="2224117" y="5006632"/>
                  <a:pt x="2222258" y="5006425"/>
                </a:cubicBezTo>
                <a:cubicBezTo>
                  <a:pt x="2220245" y="5006322"/>
                  <a:pt x="2218231" y="5005599"/>
                  <a:pt x="2216837" y="5005186"/>
                </a:cubicBezTo>
                <a:cubicBezTo>
                  <a:pt x="2217301" y="5001572"/>
                  <a:pt x="2217612" y="4997958"/>
                  <a:pt x="2219625" y="4996203"/>
                </a:cubicBezTo>
                <a:close/>
                <a:moveTo>
                  <a:pt x="2157821" y="4995067"/>
                </a:moveTo>
                <a:cubicBezTo>
                  <a:pt x="2158441" y="4993312"/>
                  <a:pt x="2161074" y="4997029"/>
                  <a:pt x="2161849" y="4995274"/>
                </a:cubicBezTo>
                <a:cubicBezTo>
                  <a:pt x="2165411" y="4998887"/>
                  <a:pt x="2169284" y="4994757"/>
                  <a:pt x="2175325" y="4999404"/>
                </a:cubicBezTo>
                <a:cubicBezTo>
                  <a:pt x="2173311" y="4999920"/>
                  <a:pt x="2171453" y="5000230"/>
                  <a:pt x="2169594" y="5000127"/>
                </a:cubicBezTo>
                <a:cubicBezTo>
                  <a:pt x="2164327" y="5000127"/>
                  <a:pt x="2159990" y="4998268"/>
                  <a:pt x="2156273" y="4999404"/>
                </a:cubicBezTo>
                <a:cubicBezTo>
                  <a:pt x="2156273" y="4999404"/>
                  <a:pt x="2156273" y="4999404"/>
                  <a:pt x="2154569" y="4997545"/>
                </a:cubicBezTo>
                <a:cubicBezTo>
                  <a:pt x="2153639" y="4997545"/>
                  <a:pt x="2153639" y="4997545"/>
                  <a:pt x="2153639" y="4997545"/>
                </a:cubicBezTo>
                <a:cubicBezTo>
                  <a:pt x="2152865" y="4997442"/>
                  <a:pt x="2152865" y="4995686"/>
                  <a:pt x="2152865" y="4995686"/>
                </a:cubicBezTo>
                <a:cubicBezTo>
                  <a:pt x="2153484" y="4994035"/>
                  <a:pt x="2156118" y="4994964"/>
                  <a:pt x="2157821" y="4995067"/>
                </a:cubicBezTo>
                <a:close/>
                <a:moveTo>
                  <a:pt x="2066433" y="4994447"/>
                </a:moveTo>
                <a:cubicBezTo>
                  <a:pt x="2069996" y="4996306"/>
                  <a:pt x="2073558" y="4998061"/>
                  <a:pt x="2076965" y="5000333"/>
                </a:cubicBezTo>
                <a:cubicBezTo>
                  <a:pt x="2080373" y="5002708"/>
                  <a:pt x="2083471" y="5005703"/>
                  <a:pt x="2085950" y="5010349"/>
                </a:cubicBezTo>
                <a:cubicBezTo>
                  <a:pt x="2084866" y="5010659"/>
                  <a:pt x="2083627" y="5010762"/>
                  <a:pt x="2082542" y="5010659"/>
                </a:cubicBezTo>
                <a:cubicBezTo>
                  <a:pt x="2074642" y="5009936"/>
                  <a:pt x="2068602" y="5000230"/>
                  <a:pt x="2066433" y="4994447"/>
                </a:cubicBezTo>
                <a:close/>
                <a:moveTo>
                  <a:pt x="1310694" y="4994447"/>
                </a:moveTo>
                <a:cubicBezTo>
                  <a:pt x="1315805" y="4995686"/>
                  <a:pt x="1316270" y="4999197"/>
                  <a:pt x="1313636" y="5004257"/>
                </a:cubicBezTo>
                <a:cubicBezTo>
                  <a:pt x="1311778" y="5004257"/>
                  <a:pt x="1310229" y="5004980"/>
                  <a:pt x="1307441" y="5005393"/>
                </a:cubicBezTo>
                <a:cubicBezTo>
                  <a:pt x="1306666" y="5003018"/>
                  <a:pt x="1307131" y="4997236"/>
                  <a:pt x="1310694" y="4994447"/>
                </a:cubicBezTo>
                <a:close/>
                <a:moveTo>
                  <a:pt x="2128391" y="4994344"/>
                </a:moveTo>
                <a:cubicBezTo>
                  <a:pt x="2129475" y="4994447"/>
                  <a:pt x="2130715" y="4994447"/>
                  <a:pt x="2131799" y="4994447"/>
                </a:cubicBezTo>
                <a:cubicBezTo>
                  <a:pt x="2131799" y="5000023"/>
                  <a:pt x="2134432" y="5003224"/>
                  <a:pt x="2134432" y="5007561"/>
                </a:cubicBezTo>
                <a:cubicBezTo>
                  <a:pt x="2132574" y="5006632"/>
                  <a:pt x="2129941" y="5005083"/>
                  <a:pt x="2128236" y="5002914"/>
                </a:cubicBezTo>
                <a:cubicBezTo>
                  <a:pt x="2126687" y="5000849"/>
                  <a:pt x="2126223" y="4997958"/>
                  <a:pt x="2128391" y="4994344"/>
                </a:cubicBezTo>
                <a:close/>
                <a:moveTo>
                  <a:pt x="1819992" y="4992589"/>
                </a:moveTo>
                <a:cubicBezTo>
                  <a:pt x="1822935" y="4992796"/>
                  <a:pt x="1825259" y="4994551"/>
                  <a:pt x="1825414" y="4997752"/>
                </a:cubicBezTo>
                <a:cubicBezTo>
                  <a:pt x="1824485" y="4999404"/>
                  <a:pt x="1822626" y="4999507"/>
                  <a:pt x="1820768" y="4999610"/>
                </a:cubicBezTo>
                <a:cubicBezTo>
                  <a:pt x="1819373" y="4999610"/>
                  <a:pt x="1818444" y="4998991"/>
                  <a:pt x="1818134" y="4998165"/>
                </a:cubicBezTo>
                <a:cubicBezTo>
                  <a:pt x="1817669" y="4997339"/>
                  <a:pt x="1817669" y="4996306"/>
                  <a:pt x="1817824" y="4995067"/>
                </a:cubicBezTo>
                <a:cubicBezTo>
                  <a:pt x="1818134" y="4992692"/>
                  <a:pt x="1819992" y="4992589"/>
                  <a:pt x="1819992" y="4992589"/>
                </a:cubicBezTo>
                <a:close/>
                <a:moveTo>
                  <a:pt x="1619247" y="4992279"/>
                </a:moveTo>
                <a:cubicBezTo>
                  <a:pt x="1620796" y="4991350"/>
                  <a:pt x="1623584" y="4993828"/>
                  <a:pt x="1625443" y="4994551"/>
                </a:cubicBezTo>
                <a:cubicBezTo>
                  <a:pt x="1624668" y="4995480"/>
                  <a:pt x="1624049" y="4996306"/>
                  <a:pt x="1624823" y="4996306"/>
                </a:cubicBezTo>
                <a:cubicBezTo>
                  <a:pt x="1624049" y="4997236"/>
                  <a:pt x="1623430" y="4997648"/>
                  <a:pt x="1622500" y="4997855"/>
                </a:cubicBezTo>
                <a:cubicBezTo>
                  <a:pt x="1621726" y="4997958"/>
                  <a:pt x="1620796" y="4997855"/>
                  <a:pt x="1620021" y="4997442"/>
                </a:cubicBezTo>
                <a:cubicBezTo>
                  <a:pt x="1619092" y="4996616"/>
                  <a:pt x="1618783" y="4994964"/>
                  <a:pt x="1619247" y="4992279"/>
                </a:cubicBezTo>
                <a:close/>
                <a:moveTo>
                  <a:pt x="1170145" y="4991892"/>
                </a:moveTo>
                <a:cubicBezTo>
                  <a:pt x="1172952" y="4991711"/>
                  <a:pt x="1175159" y="4992383"/>
                  <a:pt x="1176088" y="4991970"/>
                </a:cubicBezTo>
                <a:cubicBezTo>
                  <a:pt x="1178257" y="4994654"/>
                  <a:pt x="1178257" y="4994654"/>
                  <a:pt x="1173611" y="4999817"/>
                </a:cubicBezTo>
                <a:cubicBezTo>
                  <a:pt x="1172681" y="5000643"/>
                  <a:pt x="1171597" y="5001263"/>
                  <a:pt x="1170357" y="5001572"/>
                </a:cubicBezTo>
                <a:cubicBezTo>
                  <a:pt x="1169274" y="5001882"/>
                  <a:pt x="1168034" y="5001882"/>
                  <a:pt x="1166795" y="5001366"/>
                </a:cubicBezTo>
                <a:cubicBezTo>
                  <a:pt x="1165865" y="5001779"/>
                  <a:pt x="1164937" y="5001985"/>
                  <a:pt x="1163852" y="5001985"/>
                </a:cubicBezTo>
                <a:cubicBezTo>
                  <a:pt x="1162923" y="5001985"/>
                  <a:pt x="1161839" y="5001676"/>
                  <a:pt x="1161064" y="5001263"/>
                </a:cubicBezTo>
                <a:cubicBezTo>
                  <a:pt x="1160289" y="5000437"/>
                  <a:pt x="1159980" y="4999507"/>
                  <a:pt x="1159980" y="4998784"/>
                </a:cubicBezTo>
                <a:cubicBezTo>
                  <a:pt x="1159980" y="4997958"/>
                  <a:pt x="1160134" y="4997339"/>
                  <a:pt x="1160599" y="4996925"/>
                </a:cubicBezTo>
                <a:cubicBezTo>
                  <a:pt x="1163929" y="4993105"/>
                  <a:pt x="1167337" y="4992073"/>
                  <a:pt x="1170145" y="4991892"/>
                </a:cubicBezTo>
                <a:close/>
                <a:moveTo>
                  <a:pt x="2093985" y="4991685"/>
                </a:moveTo>
                <a:cubicBezTo>
                  <a:pt x="2095940" y="4991556"/>
                  <a:pt x="2098109" y="4992434"/>
                  <a:pt x="2100200" y="4993931"/>
                </a:cubicBezTo>
                <a:cubicBezTo>
                  <a:pt x="2102833" y="4995790"/>
                  <a:pt x="2105466" y="4998578"/>
                  <a:pt x="2107170" y="5001676"/>
                </a:cubicBezTo>
                <a:lnTo>
                  <a:pt x="2107635" y="5002811"/>
                </a:lnTo>
                <a:lnTo>
                  <a:pt x="2109339" y="5001366"/>
                </a:lnTo>
                <a:cubicBezTo>
                  <a:pt x="2110423" y="5001056"/>
                  <a:pt x="2111972" y="5000953"/>
                  <a:pt x="2113676" y="5001263"/>
                </a:cubicBezTo>
                <a:cubicBezTo>
                  <a:pt x="2114606" y="5004050"/>
                  <a:pt x="2116310" y="5007664"/>
                  <a:pt x="2116774" y="5011381"/>
                </a:cubicBezTo>
                <a:lnTo>
                  <a:pt x="2116619" y="5014789"/>
                </a:lnTo>
                <a:lnTo>
                  <a:pt x="2121575" y="5019229"/>
                </a:lnTo>
                <a:cubicBezTo>
                  <a:pt x="2121111" y="5020365"/>
                  <a:pt x="2120492" y="5021398"/>
                  <a:pt x="2121575" y="5022017"/>
                </a:cubicBezTo>
                <a:cubicBezTo>
                  <a:pt x="2120182" y="5025631"/>
                  <a:pt x="2117703" y="5028316"/>
                  <a:pt x="2114451" y="5030277"/>
                </a:cubicBezTo>
                <a:lnTo>
                  <a:pt x="2113676" y="5030484"/>
                </a:lnTo>
                <a:lnTo>
                  <a:pt x="2115844" y="5031826"/>
                </a:lnTo>
                <a:cubicBezTo>
                  <a:pt x="2114916" y="5036576"/>
                  <a:pt x="2112282" y="5036473"/>
                  <a:pt x="2109649" y="5036370"/>
                </a:cubicBezTo>
                <a:cubicBezTo>
                  <a:pt x="2110268" y="5034821"/>
                  <a:pt x="2109649" y="5033891"/>
                  <a:pt x="2109184" y="5033066"/>
                </a:cubicBezTo>
                <a:lnTo>
                  <a:pt x="2109029" y="5031826"/>
                </a:lnTo>
                <a:lnTo>
                  <a:pt x="2103608" y="5033272"/>
                </a:lnTo>
                <a:cubicBezTo>
                  <a:pt x="2097877" y="5033478"/>
                  <a:pt x="2091836" y="5031723"/>
                  <a:pt x="2087498" y="5027799"/>
                </a:cubicBezTo>
                <a:lnTo>
                  <a:pt x="2087034" y="5027077"/>
                </a:lnTo>
                <a:lnTo>
                  <a:pt x="2087498" y="5028522"/>
                </a:lnTo>
                <a:cubicBezTo>
                  <a:pt x="2087344" y="5029761"/>
                  <a:pt x="2087344" y="5029761"/>
                  <a:pt x="2086569" y="5030174"/>
                </a:cubicBezTo>
                <a:cubicBezTo>
                  <a:pt x="2085795" y="5031826"/>
                  <a:pt x="2085485" y="5033066"/>
                  <a:pt x="2083627" y="5033169"/>
                </a:cubicBezTo>
                <a:cubicBezTo>
                  <a:pt x="2082233" y="5033066"/>
                  <a:pt x="2081303" y="5032549"/>
                  <a:pt x="2080838" y="5031620"/>
                </a:cubicBezTo>
                <a:cubicBezTo>
                  <a:pt x="2080373" y="5030690"/>
                  <a:pt x="2080219" y="5029348"/>
                  <a:pt x="2080063" y="5027799"/>
                </a:cubicBezTo>
                <a:cubicBezTo>
                  <a:pt x="2079909" y="5024598"/>
                  <a:pt x="2082542" y="5024082"/>
                  <a:pt x="2082852" y="5021604"/>
                </a:cubicBezTo>
                <a:lnTo>
                  <a:pt x="2084246" y="5022533"/>
                </a:lnTo>
                <a:lnTo>
                  <a:pt x="2088428" y="5015305"/>
                </a:lnTo>
                <a:cubicBezTo>
                  <a:pt x="2090441" y="5013343"/>
                  <a:pt x="2092765" y="5011898"/>
                  <a:pt x="2095243" y="5010969"/>
                </a:cubicBezTo>
                <a:lnTo>
                  <a:pt x="2100045" y="5010143"/>
                </a:lnTo>
                <a:lnTo>
                  <a:pt x="2097102" y="5007974"/>
                </a:lnTo>
                <a:cubicBezTo>
                  <a:pt x="2093849" y="5004773"/>
                  <a:pt x="2091061" y="5000746"/>
                  <a:pt x="2089048" y="4995480"/>
                </a:cubicBezTo>
                <a:cubicBezTo>
                  <a:pt x="2090287" y="4992950"/>
                  <a:pt x="2092029" y="4991814"/>
                  <a:pt x="2093985" y="4991685"/>
                </a:cubicBezTo>
                <a:close/>
                <a:moveTo>
                  <a:pt x="980145" y="4991453"/>
                </a:moveTo>
                <a:cubicBezTo>
                  <a:pt x="981074" y="4990627"/>
                  <a:pt x="982004" y="4990627"/>
                  <a:pt x="982778" y="4991453"/>
                </a:cubicBezTo>
                <a:cubicBezTo>
                  <a:pt x="982778" y="4991453"/>
                  <a:pt x="981694" y="4993209"/>
                  <a:pt x="981694" y="4993209"/>
                </a:cubicBezTo>
                <a:cubicBezTo>
                  <a:pt x="979835" y="4994964"/>
                  <a:pt x="978906" y="4995790"/>
                  <a:pt x="977822" y="4997545"/>
                </a:cubicBezTo>
                <a:cubicBezTo>
                  <a:pt x="977047" y="4997029"/>
                  <a:pt x="976582" y="4996616"/>
                  <a:pt x="976582" y="4996203"/>
                </a:cubicBezTo>
                <a:cubicBezTo>
                  <a:pt x="976582" y="4995686"/>
                  <a:pt x="976737" y="4995274"/>
                  <a:pt x="977202" y="4994861"/>
                </a:cubicBezTo>
                <a:cubicBezTo>
                  <a:pt x="977202" y="4994861"/>
                  <a:pt x="978131" y="4994035"/>
                  <a:pt x="979061" y="4993105"/>
                </a:cubicBezTo>
                <a:cubicBezTo>
                  <a:pt x="979990" y="4992279"/>
                  <a:pt x="980145" y="4991453"/>
                  <a:pt x="980145" y="4991453"/>
                </a:cubicBezTo>
                <a:close/>
                <a:moveTo>
                  <a:pt x="2233256" y="4991350"/>
                </a:moveTo>
                <a:cubicBezTo>
                  <a:pt x="2233256" y="4991350"/>
                  <a:pt x="2233256" y="4991453"/>
                  <a:pt x="2235115" y="4991556"/>
                </a:cubicBezTo>
                <a:cubicBezTo>
                  <a:pt x="2235889" y="4991970"/>
                  <a:pt x="2236819" y="4992382"/>
                  <a:pt x="2237128" y="4993621"/>
                </a:cubicBezTo>
                <a:cubicBezTo>
                  <a:pt x="2237593" y="4994861"/>
                  <a:pt x="2236974" y="4996409"/>
                  <a:pt x="2236509" y="4997236"/>
                </a:cubicBezTo>
                <a:cubicBezTo>
                  <a:pt x="2235734" y="4996719"/>
                  <a:pt x="2235424" y="4997545"/>
                  <a:pt x="2234650" y="4997029"/>
                </a:cubicBezTo>
                <a:cubicBezTo>
                  <a:pt x="2232636" y="4996925"/>
                  <a:pt x="2232636" y="4997029"/>
                  <a:pt x="2232172" y="4995790"/>
                </a:cubicBezTo>
                <a:cubicBezTo>
                  <a:pt x="2231862" y="4994551"/>
                  <a:pt x="2233720" y="4992589"/>
                  <a:pt x="2233256" y="4991350"/>
                </a:cubicBezTo>
                <a:close/>
                <a:moveTo>
                  <a:pt x="2122660" y="4989904"/>
                </a:moveTo>
                <a:cubicBezTo>
                  <a:pt x="2123434" y="4989595"/>
                  <a:pt x="2123589" y="4990420"/>
                  <a:pt x="2124519" y="4990111"/>
                </a:cubicBezTo>
                <a:cubicBezTo>
                  <a:pt x="2124984" y="4990317"/>
                  <a:pt x="2125448" y="4991143"/>
                  <a:pt x="2125758" y="4992073"/>
                </a:cubicBezTo>
                <a:cubicBezTo>
                  <a:pt x="2126532" y="4995067"/>
                  <a:pt x="2126377" y="5000333"/>
                  <a:pt x="2125758" y="5000540"/>
                </a:cubicBezTo>
                <a:cubicBezTo>
                  <a:pt x="2126068" y="5001366"/>
                  <a:pt x="2125293" y="5001779"/>
                  <a:pt x="2125448" y="5002605"/>
                </a:cubicBezTo>
                <a:cubicBezTo>
                  <a:pt x="2125448" y="5002605"/>
                  <a:pt x="2125758" y="5003328"/>
                  <a:pt x="2125139" y="5004463"/>
                </a:cubicBezTo>
                <a:cubicBezTo>
                  <a:pt x="2124674" y="5005599"/>
                  <a:pt x="2124054" y="5006735"/>
                  <a:pt x="2122195" y="5006632"/>
                </a:cubicBezTo>
                <a:lnTo>
                  <a:pt x="2122195" y="5000333"/>
                </a:lnTo>
                <a:lnTo>
                  <a:pt x="2120957" y="5002502"/>
                </a:lnTo>
                <a:cubicBezTo>
                  <a:pt x="2119872" y="5003534"/>
                  <a:pt x="2118478" y="5004257"/>
                  <a:pt x="2117239" y="5004153"/>
                </a:cubicBezTo>
                <a:cubicBezTo>
                  <a:pt x="2115225" y="5002295"/>
                  <a:pt x="2116310" y="5000746"/>
                  <a:pt x="2114760" y="4999714"/>
                </a:cubicBezTo>
                <a:cubicBezTo>
                  <a:pt x="2116310" y="4998165"/>
                  <a:pt x="2117703" y="4997339"/>
                  <a:pt x="2118942" y="4997236"/>
                </a:cubicBezTo>
                <a:lnTo>
                  <a:pt x="2122195" y="4998475"/>
                </a:lnTo>
                <a:lnTo>
                  <a:pt x="2122195" y="4997648"/>
                </a:lnTo>
                <a:lnTo>
                  <a:pt x="2122350" y="4993415"/>
                </a:lnTo>
                <a:close/>
                <a:moveTo>
                  <a:pt x="2115225" y="4989801"/>
                </a:moveTo>
                <a:cubicBezTo>
                  <a:pt x="2116310" y="4990111"/>
                  <a:pt x="2117858" y="4990111"/>
                  <a:pt x="2119252" y="4990524"/>
                </a:cubicBezTo>
                <a:lnTo>
                  <a:pt x="2122350" y="4993415"/>
                </a:lnTo>
                <a:lnTo>
                  <a:pt x="2119097" y="4992692"/>
                </a:lnTo>
                <a:cubicBezTo>
                  <a:pt x="2117858" y="4992382"/>
                  <a:pt x="2116619" y="4991866"/>
                  <a:pt x="2115844" y="4991247"/>
                </a:cubicBezTo>
                <a:cubicBezTo>
                  <a:pt x="2115380" y="4990834"/>
                  <a:pt x="2115070" y="4990420"/>
                  <a:pt x="2115225" y="4989801"/>
                </a:cubicBezTo>
                <a:close/>
                <a:moveTo>
                  <a:pt x="1845705" y="4989285"/>
                </a:moveTo>
                <a:cubicBezTo>
                  <a:pt x="1855464" y="4996203"/>
                  <a:pt x="1852057" y="5003844"/>
                  <a:pt x="1845551" y="5002708"/>
                </a:cubicBezTo>
                <a:cubicBezTo>
                  <a:pt x="1843537" y="5002398"/>
                  <a:pt x="1841058" y="5001056"/>
                  <a:pt x="1838580" y="4998475"/>
                </a:cubicBezTo>
                <a:cubicBezTo>
                  <a:pt x="1837496" y="4994138"/>
                  <a:pt x="1842298" y="4988355"/>
                  <a:pt x="1845705" y="4989285"/>
                </a:cubicBezTo>
                <a:close/>
                <a:moveTo>
                  <a:pt x="942815" y="4988975"/>
                </a:moveTo>
                <a:cubicBezTo>
                  <a:pt x="936155" y="4996822"/>
                  <a:pt x="931507" y="4992279"/>
                  <a:pt x="927635" y="4996719"/>
                </a:cubicBezTo>
                <a:cubicBezTo>
                  <a:pt x="927015" y="4994861"/>
                  <a:pt x="927015" y="4994861"/>
                  <a:pt x="928100" y="4993105"/>
                </a:cubicBezTo>
                <a:cubicBezTo>
                  <a:pt x="928874" y="4993105"/>
                  <a:pt x="929029" y="4992279"/>
                  <a:pt x="929804" y="4993105"/>
                </a:cubicBezTo>
                <a:cubicBezTo>
                  <a:pt x="931662" y="4990524"/>
                  <a:pt x="939562" y="4988046"/>
                  <a:pt x="942815" y="4988975"/>
                </a:cubicBezTo>
                <a:close/>
                <a:moveTo>
                  <a:pt x="2003235" y="4988665"/>
                </a:moveTo>
                <a:cubicBezTo>
                  <a:pt x="2003700" y="4989285"/>
                  <a:pt x="2003700" y="4990214"/>
                  <a:pt x="2003390" y="4991350"/>
                </a:cubicBezTo>
                <a:cubicBezTo>
                  <a:pt x="2002460" y="4991660"/>
                  <a:pt x="2001686" y="4991763"/>
                  <a:pt x="2000912" y="4991763"/>
                </a:cubicBezTo>
                <a:cubicBezTo>
                  <a:pt x="2000137" y="4991866"/>
                  <a:pt x="1999207" y="4991763"/>
                  <a:pt x="1998123" y="4991763"/>
                </a:cubicBezTo>
                <a:cubicBezTo>
                  <a:pt x="1997504" y="4988046"/>
                  <a:pt x="2001686" y="4986910"/>
                  <a:pt x="2003235" y="4988665"/>
                </a:cubicBezTo>
                <a:close/>
                <a:moveTo>
                  <a:pt x="1353135" y="4988458"/>
                </a:moveTo>
                <a:cubicBezTo>
                  <a:pt x="1356853" y="4988458"/>
                  <a:pt x="1355769" y="4988046"/>
                  <a:pt x="1359331" y="4990008"/>
                </a:cubicBezTo>
                <a:cubicBezTo>
                  <a:pt x="1358402" y="4992279"/>
                  <a:pt x="1357317" y="4994654"/>
                  <a:pt x="1356388" y="4996925"/>
                </a:cubicBezTo>
                <a:cubicBezTo>
                  <a:pt x="1354994" y="4995790"/>
                  <a:pt x="1352980" y="4995893"/>
                  <a:pt x="1351896" y="4995480"/>
                </a:cubicBezTo>
                <a:cubicBezTo>
                  <a:pt x="1351122" y="4993105"/>
                  <a:pt x="1351276" y="4991247"/>
                  <a:pt x="1353135" y="4988458"/>
                </a:cubicBezTo>
                <a:close/>
                <a:moveTo>
                  <a:pt x="1613826" y="4988355"/>
                </a:moveTo>
                <a:cubicBezTo>
                  <a:pt x="1616304" y="4987013"/>
                  <a:pt x="1620332" y="4995171"/>
                  <a:pt x="1612276" y="4993621"/>
                </a:cubicBezTo>
                <a:cubicBezTo>
                  <a:pt x="1612276" y="4990317"/>
                  <a:pt x="1612896" y="4988872"/>
                  <a:pt x="1613826" y="4988355"/>
                </a:cubicBezTo>
                <a:close/>
                <a:moveTo>
                  <a:pt x="1485727" y="4987013"/>
                </a:moveTo>
                <a:cubicBezTo>
                  <a:pt x="1486191" y="4986290"/>
                  <a:pt x="1489444" y="4987219"/>
                  <a:pt x="1489599" y="4988458"/>
                </a:cubicBezTo>
                <a:cubicBezTo>
                  <a:pt x="1490683" y="4991247"/>
                  <a:pt x="1487895" y="4992589"/>
                  <a:pt x="1485261" y="4995171"/>
                </a:cubicBezTo>
                <a:cubicBezTo>
                  <a:pt x="1485107" y="4993931"/>
                  <a:pt x="1483868" y="4994344"/>
                  <a:pt x="1482784" y="4994654"/>
                </a:cubicBezTo>
                <a:cubicBezTo>
                  <a:pt x="1482474" y="4992899"/>
                  <a:pt x="1481544" y="4990111"/>
                  <a:pt x="1483248" y="4988355"/>
                </a:cubicBezTo>
                <a:cubicBezTo>
                  <a:pt x="1483713" y="4987736"/>
                  <a:pt x="1484487" y="4987323"/>
                  <a:pt x="1485727" y="4987013"/>
                </a:cubicBezTo>
                <a:close/>
                <a:moveTo>
                  <a:pt x="1239596" y="4986600"/>
                </a:moveTo>
                <a:cubicBezTo>
                  <a:pt x="1241300" y="4988458"/>
                  <a:pt x="1243159" y="4990317"/>
                  <a:pt x="1244863" y="4992073"/>
                </a:cubicBezTo>
                <a:cubicBezTo>
                  <a:pt x="1243314" y="4992899"/>
                  <a:pt x="1242539" y="4994654"/>
                  <a:pt x="1241765" y="4995480"/>
                </a:cubicBezTo>
                <a:cubicBezTo>
                  <a:pt x="1239287" y="4995377"/>
                  <a:pt x="1237582" y="4994447"/>
                  <a:pt x="1235724" y="4991763"/>
                </a:cubicBezTo>
                <a:cubicBezTo>
                  <a:pt x="1237273" y="4988252"/>
                  <a:pt x="1236498" y="4989078"/>
                  <a:pt x="1239596" y="4986600"/>
                </a:cubicBezTo>
                <a:close/>
                <a:moveTo>
                  <a:pt x="2099116" y="4986084"/>
                </a:moveTo>
                <a:cubicBezTo>
                  <a:pt x="2100975" y="4986290"/>
                  <a:pt x="2101594" y="4985877"/>
                  <a:pt x="2102678" y="4986394"/>
                </a:cubicBezTo>
                <a:cubicBezTo>
                  <a:pt x="2103298" y="4986600"/>
                  <a:pt x="2103918" y="4987116"/>
                  <a:pt x="2104227" y="4987633"/>
                </a:cubicBezTo>
                <a:cubicBezTo>
                  <a:pt x="2104692" y="4988149"/>
                  <a:pt x="2104848" y="4988665"/>
                  <a:pt x="2104537" y="4989285"/>
                </a:cubicBezTo>
                <a:cubicBezTo>
                  <a:pt x="2103763" y="4989595"/>
                  <a:pt x="2103918" y="4990420"/>
                  <a:pt x="2103143" y="4990730"/>
                </a:cubicBezTo>
                <a:cubicBezTo>
                  <a:pt x="2102524" y="4991453"/>
                  <a:pt x="2101904" y="4991866"/>
                  <a:pt x="2101439" y="4992073"/>
                </a:cubicBezTo>
                <a:cubicBezTo>
                  <a:pt x="2100975" y="4992279"/>
                  <a:pt x="2100510" y="4992279"/>
                  <a:pt x="2099891" y="4992073"/>
                </a:cubicBezTo>
                <a:cubicBezTo>
                  <a:pt x="2099116" y="4992382"/>
                  <a:pt x="2098806" y="4991660"/>
                  <a:pt x="2097877" y="4991143"/>
                </a:cubicBezTo>
                <a:cubicBezTo>
                  <a:pt x="2097567" y="4990317"/>
                  <a:pt x="2098186" y="4989181"/>
                  <a:pt x="2098186" y="4989181"/>
                </a:cubicBezTo>
                <a:cubicBezTo>
                  <a:pt x="2098651" y="4988046"/>
                  <a:pt x="2098806" y="4988046"/>
                  <a:pt x="2097722" y="4987633"/>
                </a:cubicBezTo>
                <a:cubicBezTo>
                  <a:pt x="2097722" y="4987633"/>
                  <a:pt x="2098497" y="4987219"/>
                  <a:pt x="2098497" y="4987219"/>
                </a:cubicBezTo>
                <a:cubicBezTo>
                  <a:pt x="2098651" y="4988046"/>
                  <a:pt x="2098497" y="4987219"/>
                  <a:pt x="2099116" y="4986084"/>
                </a:cubicBezTo>
                <a:close/>
                <a:moveTo>
                  <a:pt x="1660604" y="4985154"/>
                </a:moveTo>
                <a:cubicBezTo>
                  <a:pt x="1660295" y="4987633"/>
                  <a:pt x="1661069" y="4988562"/>
                  <a:pt x="1660295" y="4988458"/>
                </a:cubicBezTo>
                <a:cubicBezTo>
                  <a:pt x="1660140" y="4988872"/>
                  <a:pt x="1659985" y="4989078"/>
                  <a:pt x="1659675" y="4989078"/>
                </a:cubicBezTo>
                <a:cubicBezTo>
                  <a:pt x="1659520" y="4989078"/>
                  <a:pt x="1659365" y="4988872"/>
                  <a:pt x="1659365" y="4988458"/>
                </a:cubicBezTo>
                <a:cubicBezTo>
                  <a:pt x="1657816" y="4987633"/>
                  <a:pt x="1659675" y="4985980"/>
                  <a:pt x="1660604" y="4985154"/>
                </a:cubicBezTo>
                <a:close/>
                <a:moveTo>
                  <a:pt x="949785" y="4984845"/>
                </a:moveTo>
                <a:cubicBezTo>
                  <a:pt x="948856" y="4985774"/>
                  <a:pt x="947152" y="4986600"/>
                  <a:pt x="946223" y="4987426"/>
                </a:cubicBezTo>
                <a:cubicBezTo>
                  <a:pt x="946223" y="4987426"/>
                  <a:pt x="946223" y="4987426"/>
                  <a:pt x="945448" y="4986600"/>
                </a:cubicBezTo>
                <a:cubicBezTo>
                  <a:pt x="947152" y="4986600"/>
                  <a:pt x="948237" y="4983089"/>
                  <a:pt x="949785" y="4984845"/>
                </a:cubicBezTo>
                <a:close/>
                <a:moveTo>
                  <a:pt x="936735" y="4984574"/>
                </a:moveTo>
                <a:cubicBezTo>
                  <a:pt x="939059" y="4984509"/>
                  <a:pt x="940956" y="4984742"/>
                  <a:pt x="941421" y="4984742"/>
                </a:cubicBezTo>
                <a:cubicBezTo>
                  <a:pt x="941266" y="4985568"/>
                  <a:pt x="941266" y="4985568"/>
                  <a:pt x="941266" y="4985568"/>
                </a:cubicBezTo>
                <a:cubicBezTo>
                  <a:pt x="938788" y="4984948"/>
                  <a:pt x="935690" y="4987116"/>
                  <a:pt x="932437" y="4987426"/>
                </a:cubicBezTo>
                <a:cubicBezTo>
                  <a:pt x="931353" y="4987633"/>
                  <a:pt x="930423" y="4987529"/>
                  <a:pt x="929339" y="4987116"/>
                </a:cubicBezTo>
                <a:cubicBezTo>
                  <a:pt x="929339" y="4987116"/>
                  <a:pt x="929339" y="4987013"/>
                  <a:pt x="930269" y="4987116"/>
                </a:cubicBezTo>
                <a:cubicBezTo>
                  <a:pt x="930269" y="4987116"/>
                  <a:pt x="929339" y="4987116"/>
                  <a:pt x="929494" y="4986187"/>
                </a:cubicBezTo>
                <a:cubicBezTo>
                  <a:pt x="931662" y="4985000"/>
                  <a:pt x="934412" y="4984638"/>
                  <a:pt x="936735" y="4984574"/>
                </a:cubicBezTo>
                <a:close/>
                <a:moveTo>
                  <a:pt x="1747346" y="4984535"/>
                </a:moveTo>
                <a:cubicBezTo>
                  <a:pt x="1749050" y="4985464"/>
                  <a:pt x="1751528" y="4984638"/>
                  <a:pt x="1753387" y="4986497"/>
                </a:cubicBezTo>
                <a:cubicBezTo>
                  <a:pt x="1753387" y="4986497"/>
                  <a:pt x="1754162" y="4987426"/>
                  <a:pt x="1754317" y="4989181"/>
                </a:cubicBezTo>
                <a:cubicBezTo>
                  <a:pt x="1756021" y="4991866"/>
                  <a:pt x="1753697" y="4994344"/>
                  <a:pt x="1753697" y="4994344"/>
                </a:cubicBezTo>
                <a:cubicBezTo>
                  <a:pt x="1753697" y="4994344"/>
                  <a:pt x="1753697" y="4994344"/>
                  <a:pt x="1754471" y="4994344"/>
                </a:cubicBezTo>
                <a:cubicBezTo>
                  <a:pt x="1752768" y="4994241"/>
                  <a:pt x="1751219" y="4995067"/>
                  <a:pt x="1749515" y="4994964"/>
                </a:cubicBezTo>
                <a:lnTo>
                  <a:pt x="1749050" y="4994447"/>
                </a:lnTo>
                <a:lnTo>
                  <a:pt x="1749360" y="4995171"/>
                </a:lnTo>
                <a:cubicBezTo>
                  <a:pt x="1747811" y="4996822"/>
                  <a:pt x="1745952" y="4997855"/>
                  <a:pt x="1743938" y="4997958"/>
                </a:cubicBezTo>
                <a:cubicBezTo>
                  <a:pt x="1742080" y="4998061"/>
                  <a:pt x="1739911" y="4997339"/>
                  <a:pt x="1737743" y="4995480"/>
                </a:cubicBezTo>
                <a:cubicBezTo>
                  <a:pt x="1736813" y="4991247"/>
                  <a:pt x="1741615" y="4988872"/>
                  <a:pt x="1744093" y="4987219"/>
                </a:cubicBezTo>
                <a:lnTo>
                  <a:pt x="1745177" y="4988458"/>
                </a:lnTo>
                <a:lnTo>
                  <a:pt x="1745797" y="4986704"/>
                </a:lnTo>
                <a:cubicBezTo>
                  <a:pt x="1746262" y="4986084"/>
                  <a:pt x="1746882" y="4985361"/>
                  <a:pt x="1747346" y="4984535"/>
                </a:cubicBezTo>
                <a:close/>
                <a:moveTo>
                  <a:pt x="2219780" y="4984225"/>
                </a:moveTo>
                <a:cubicBezTo>
                  <a:pt x="2222878" y="4984328"/>
                  <a:pt x="2224582" y="4984225"/>
                  <a:pt x="2225821" y="4987633"/>
                </a:cubicBezTo>
                <a:cubicBezTo>
                  <a:pt x="2225511" y="4987839"/>
                  <a:pt x="2224737" y="4987736"/>
                  <a:pt x="2223963" y="4987633"/>
                </a:cubicBezTo>
                <a:cubicBezTo>
                  <a:pt x="2223187" y="4987529"/>
                  <a:pt x="2222413" y="4987323"/>
                  <a:pt x="2221794" y="4987116"/>
                </a:cubicBezTo>
                <a:cubicBezTo>
                  <a:pt x="2221019" y="4987633"/>
                  <a:pt x="2219935" y="4987323"/>
                  <a:pt x="2219470" y="4986600"/>
                </a:cubicBezTo>
                <a:cubicBezTo>
                  <a:pt x="2219470" y="4986600"/>
                  <a:pt x="2218231" y="4986290"/>
                  <a:pt x="2217612" y="4986704"/>
                </a:cubicBezTo>
                <a:cubicBezTo>
                  <a:pt x="2215288" y="4986187"/>
                  <a:pt x="2214823" y="4985464"/>
                  <a:pt x="2214358" y="4984742"/>
                </a:cubicBezTo>
                <a:cubicBezTo>
                  <a:pt x="2214358" y="4984742"/>
                  <a:pt x="2215443" y="4985051"/>
                  <a:pt x="2216217" y="4984535"/>
                </a:cubicBezTo>
                <a:cubicBezTo>
                  <a:pt x="2216217" y="4984535"/>
                  <a:pt x="2217301" y="4984845"/>
                  <a:pt x="2218541" y="4985154"/>
                </a:cubicBezTo>
                <a:cubicBezTo>
                  <a:pt x="2218541" y="4985154"/>
                  <a:pt x="2219160" y="4984638"/>
                  <a:pt x="2219780" y="4984225"/>
                </a:cubicBezTo>
                <a:close/>
                <a:moveTo>
                  <a:pt x="1319678" y="4983296"/>
                </a:moveTo>
                <a:cubicBezTo>
                  <a:pt x="1320452" y="4983915"/>
                  <a:pt x="1320762" y="4984948"/>
                  <a:pt x="1320917" y="4986807"/>
                </a:cubicBezTo>
                <a:cubicBezTo>
                  <a:pt x="1319523" y="4987529"/>
                  <a:pt x="1316270" y="4988665"/>
                  <a:pt x="1313172" y="4988872"/>
                </a:cubicBezTo>
                <a:cubicBezTo>
                  <a:pt x="1310074" y="4989181"/>
                  <a:pt x="1307286" y="4988562"/>
                  <a:pt x="1306821" y="4986187"/>
                </a:cubicBezTo>
                <a:cubicBezTo>
                  <a:pt x="1306666" y="4985568"/>
                  <a:pt x="1306821" y="4984742"/>
                  <a:pt x="1307131" y="4983812"/>
                </a:cubicBezTo>
                <a:cubicBezTo>
                  <a:pt x="1312397" y="4984019"/>
                  <a:pt x="1317354" y="4981437"/>
                  <a:pt x="1319678" y="4983296"/>
                </a:cubicBezTo>
                <a:close/>
                <a:moveTo>
                  <a:pt x="1673151" y="4982367"/>
                </a:moveTo>
                <a:cubicBezTo>
                  <a:pt x="1674545" y="4983193"/>
                  <a:pt x="1676404" y="4983399"/>
                  <a:pt x="1677333" y="4985051"/>
                </a:cubicBezTo>
                <a:cubicBezTo>
                  <a:pt x="1677643" y="4987426"/>
                  <a:pt x="1674545" y="4990627"/>
                  <a:pt x="1672996" y="4991763"/>
                </a:cubicBezTo>
                <a:cubicBezTo>
                  <a:pt x="1670673" y="4992382"/>
                  <a:pt x="1669124" y="4990317"/>
                  <a:pt x="1668659" y="4987942"/>
                </a:cubicBezTo>
                <a:cubicBezTo>
                  <a:pt x="1668194" y="4987219"/>
                  <a:pt x="1668349" y="4986187"/>
                  <a:pt x="1668814" y="4985258"/>
                </a:cubicBezTo>
                <a:cubicBezTo>
                  <a:pt x="1669279" y="4984328"/>
                  <a:pt x="1670053" y="4983503"/>
                  <a:pt x="1670828" y="4982986"/>
                </a:cubicBezTo>
                <a:cubicBezTo>
                  <a:pt x="1672067" y="4982676"/>
                  <a:pt x="1672067" y="4982676"/>
                  <a:pt x="1673151" y="4982367"/>
                </a:cubicBezTo>
                <a:close/>
                <a:moveTo>
                  <a:pt x="2299861" y="4982263"/>
                </a:moveTo>
                <a:cubicBezTo>
                  <a:pt x="2301410" y="4983503"/>
                  <a:pt x="2298777" y="4988355"/>
                  <a:pt x="2296609" y="4987116"/>
                </a:cubicBezTo>
                <a:cubicBezTo>
                  <a:pt x="2295834" y="4986704"/>
                  <a:pt x="2295214" y="4985671"/>
                  <a:pt x="2294750" y="4983606"/>
                </a:cubicBezTo>
                <a:cubicBezTo>
                  <a:pt x="2297693" y="4981850"/>
                  <a:pt x="2299241" y="4981644"/>
                  <a:pt x="2299861" y="4982263"/>
                </a:cubicBezTo>
                <a:close/>
                <a:moveTo>
                  <a:pt x="1980620" y="4981953"/>
                </a:moveTo>
                <a:cubicBezTo>
                  <a:pt x="1980620" y="4982367"/>
                  <a:pt x="1980155" y="4982986"/>
                  <a:pt x="1979536" y="4983606"/>
                </a:cubicBezTo>
                <a:lnTo>
                  <a:pt x="1978916" y="4984328"/>
                </a:lnTo>
                <a:lnTo>
                  <a:pt x="1977987" y="4987633"/>
                </a:lnTo>
                <a:cubicBezTo>
                  <a:pt x="1977058" y="4996719"/>
                  <a:pt x="1986041" y="5004050"/>
                  <a:pt x="1980001" y="5011381"/>
                </a:cubicBezTo>
                <a:cubicBezTo>
                  <a:pt x="1977832" y="5007974"/>
                  <a:pt x="1975199" y="5004773"/>
                  <a:pt x="1973340" y="5000953"/>
                </a:cubicBezTo>
                <a:cubicBezTo>
                  <a:pt x="1971481" y="4997132"/>
                  <a:pt x="1970397" y="4992589"/>
                  <a:pt x="1971171" y="4986497"/>
                </a:cubicBezTo>
                <a:cubicBezTo>
                  <a:pt x="1972411" y="4985877"/>
                  <a:pt x="1973495" y="4984535"/>
                  <a:pt x="1974889" y="4983709"/>
                </a:cubicBezTo>
                <a:lnTo>
                  <a:pt x="1976593" y="4982986"/>
                </a:lnTo>
                <a:lnTo>
                  <a:pt x="1977213" y="4982263"/>
                </a:lnTo>
                <a:cubicBezTo>
                  <a:pt x="1977987" y="4981644"/>
                  <a:pt x="1979071" y="4981437"/>
                  <a:pt x="1980620" y="4981953"/>
                </a:cubicBezTo>
                <a:close/>
                <a:moveTo>
                  <a:pt x="1854224" y="4979682"/>
                </a:moveTo>
                <a:cubicBezTo>
                  <a:pt x="1857787" y="4978340"/>
                  <a:pt x="1860576" y="4978752"/>
                  <a:pt x="1862589" y="4979992"/>
                </a:cubicBezTo>
                <a:cubicBezTo>
                  <a:pt x="1864138" y="4980921"/>
                  <a:pt x="1865222" y="4982367"/>
                  <a:pt x="1865842" y="4984122"/>
                </a:cubicBezTo>
                <a:lnTo>
                  <a:pt x="1865997" y="4985877"/>
                </a:lnTo>
                <a:lnTo>
                  <a:pt x="1865997" y="4985774"/>
                </a:lnTo>
                <a:cubicBezTo>
                  <a:pt x="1869095" y="4985051"/>
                  <a:pt x="1872967" y="4986807"/>
                  <a:pt x="1874516" y="4991453"/>
                </a:cubicBezTo>
                <a:cubicBezTo>
                  <a:pt x="1873122" y="4994654"/>
                  <a:pt x="1870953" y="4996100"/>
                  <a:pt x="1869714" y="4997442"/>
                </a:cubicBezTo>
                <a:lnTo>
                  <a:pt x="1864293" y="4994757"/>
                </a:lnTo>
                <a:lnTo>
                  <a:pt x="1859491" y="4997752"/>
                </a:lnTo>
                <a:cubicBezTo>
                  <a:pt x="1853915" y="4995067"/>
                  <a:pt x="1851901" y="4984019"/>
                  <a:pt x="1854224" y="4979682"/>
                </a:cubicBezTo>
                <a:close/>
                <a:moveTo>
                  <a:pt x="1788394" y="4978030"/>
                </a:moveTo>
                <a:cubicBezTo>
                  <a:pt x="1790098" y="4979992"/>
                  <a:pt x="1790717" y="4981747"/>
                  <a:pt x="1790253" y="4983606"/>
                </a:cubicBezTo>
                <a:cubicBezTo>
                  <a:pt x="1789633" y="4985464"/>
                  <a:pt x="1788084" y="4987323"/>
                  <a:pt x="1785606" y="4989285"/>
                </a:cubicBezTo>
                <a:cubicBezTo>
                  <a:pt x="1784521" y="4988355"/>
                  <a:pt x="1784056" y="4987426"/>
                  <a:pt x="1783902" y="4986497"/>
                </a:cubicBezTo>
                <a:cubicBezTo>
                  <a:pt x="1783592" y="4983812"/>
                  <a:pt x="1786535" y="4981231"/>
                  <a:pt x="1788394" y="4978030"/>
                </a:cubicBezTo>
                <a:close/>
                <a:moveTo>
                  <a:pt x="1170590" y="4976791"/>
                </a:moveTo>
                <a:cubicBezTo>
                  <a:pt x="1173649" y="4975836"/>
                  <a:pt x="1176243" y="4977823"/>
                  <a:pt x="1173611" y="4986910"/>
                </a:cubicBezTo>
                <a:cubicBezTo>
                  <a:pt x="1167724" y="4987426"/>
                  <a:pt x="1165401" y="4986187"/>
                  <a:pt x="1164781" y="4984328"/>
                </a:cubicBezTo>
                <a:cubicBezTo>
                  <a:pt x="1164007" y="4981644"/>
                  <a:pt x="1167531" y="4977746"/>
                  <a:pt x="1170590" y="4976791"/>
                </a:cubicBezTo>
                <a:close/>
                <a:moveTo>
                  <a:pt x="6732364" y="4976602"/>
                </a:moveTo>
                <a:cubicBezTo>
                  <a:pt x="6739489" y="4983314"/>
                  <a:pt x="6741503" y="4989715"/>
                  <a:pt x="6739954" y="4996117"/>
                </a:cubicBezTo>
                <a:cubicBezTo>
                  <a:pt x="6739179" y="4999318"/>
                  <a:pt x="6737630" y="5002519"/>
                  <a:pt x="6735152" y="5005720"/>
                </a:cubicBezTo>
                <a:lnTo>
                  <a:pt x="6725858" y="5015530"/>
                </a:lnTo>
                <a:lnTo>
                  <a:pt x="6720902" y="5005307"/>
                </a:lnTo>
                <a:cubicBezTo>
                  <a:pt x="6719817" y="5000351"/>
                  <a:pt x="6720592" y="4995498"/>
                  <a:pt x="6722605" y="4990748"/>
                </a:cubicBezTo>
                <a:cubicBezTo>
                  <a:pt x="6724774" y="4985999"/>
                  <a:pt x="6728182" y="4981352"/>
                  <a:pt x="6732364" y="4976602"/>
                </a:cubicBezTo>
                <a:close/>
                <a:moveTo>
                  <a:pt x="1735729" y="4975242"/>
                </a:moveTo>
                <a:cubicBezTo>
                  <a:pt x="1736194" y="4976584"/>
                  <a:pt x="1732786" y="4981024"/>
                  <a:pt x="1730308" y="4981644"/>
                </a:cubicBezTo>
                <a:cubicBezTo>
                  <a:pt x="1729379" y="4981850"/>
                  <a:pt x="1728604" y="4981644"/>
                  <a:pt x="1728139" y="4980714"/>
                </a:cubicBezTo>
                <a:cubicBezTo>
                  <a:pt x="1727055" y="4977101"/>
                  <a:pt x="1734180" y="4974209"/>
                  <a:pt x="1735729" y="4975242"/>
                </a:cubicBezTo>
                <a:close/>
                <a:moveTo>
                  <a:pt x="2068291" y="4974829"/>
                </a:moveTo>
                <a:cubicBezTo>
                  <a:pt x="2069376" y="4975139"/>
                  <a:pt x="2069376" y="4975036"/>
                  <a:pt x="2070460" y="4977204"/>
                </a:cubicBezTo>
                <a:cubicBezTo>
                  <a:pt x="2069530" y="4976894"/>
                  <a:pt x="2069376" y="4976997"/>
                  <a:pt x="2069066" y="4978133"/>
                </a:cubicBezTo>
                <a:cubicBezTo>
                  <a:pt x="2069066" y="4978133"/>
                  <a:pt x="2069066" y="4978133"/>
                  <a:pt x="2069376" y="4978856"/>
                </a:cubicBezTo>
                <a:cubicBezTo>
                  <a:pt x="2068756" y="4979269"/>
                  <a:pt x="2068446" y="4978546"/>
                  <a:pt x="2067672" y="4978959"/>
                </a:cubicBezTo>
                <a:cubicBezTo>
                  <a:pt x="2067672" y="4978959"/>
                  <a:pt x="2067363" y="4978236"/>
                  <a:pt x="2067363" y="4978236"/>
                </a:cubicBezTo>
                <a:cubicBezTo>
                  <a:pt x="2066897" y="4978443"/>
                  <a:pt x="2066897" y="4978443"/>
                  <a:pt x="2067052" y="4978133"/>
                </a:cubicBezTo>
                <a:cubicBezTo>
                  <a:pt x="2067052" y="4977927"/>
                  <a:pt x="2067363" y="4977307"/>
                  <a:pt x="2067363" y="4976378"/>
                </a:cubicBezTo>
                <a:cubicBezTo>
                  <a:pt x="2067672" y="4975242"/>
                  <a:pt x="2067208" y="4974519"/>
                  <a:pt x="2068291" y="4974829"/>
                </a:cubicBezTo>
                <a:close/>
                <a:moveTo>
                  <a:pt x="1964801" y="4974764"/>
                </a:moveTo>
                <a:cubicBezTo>
                  <a:pt x="1968384" y="4975216"/>
                  <a:pt x="1971869" y="4976894"/>
                  <a:pt x="1975354" y="4978546"/>
                </a:cubicBezTo>
                <a:cubicBezTo>
                  <a:pt x="1973030" y="4982367"/>
                  <a:pt x="1969158" y="4983296"/>
                  <a:pt x="1964976" y="4982780"/>
                </a:cubicBezTo>
                <a:cubicBezTo>
                  <a:pt x="1960948" y="4982367"/>
                  <a:pt x="1956766" y="4980405"/>
                  <a:pt x="1953668" y="4978340"/>
                </a:cubicBezTo>
                <a:cubicBezTo>
                  <a:pt x="1957541" y="4975087"/>
                  <a:pt x="1961220" y="4974313"/>
                  <a:pt x="1964801" y="4974764"/>
                </a:cubicBezTo>
                <a:close/>
                <a:moveTo>
                  <a:pt x="1396661" y="4973900"/>
                </a:moveTo>
                <a:cubicBezTo>
                  <a:pt x="1400224" y="4973177"/>
                  <a:pt x="1401463" y="4973383"/>
                  <a:pt x="1404871" y="4975036"/>
                </a:cubicBezTo>
                <a:cubicBezTo>
                  <a:pt x="1406264" y="4980818"/>
                  <a:pt x="1404096" y="4984742"/>
                  <a:pt x="1402082" y="4988769"/>
                </a:cubicBezTo>
                <a:cubicBezTo>
                  <a:pt x="1400688" y="4988975"/>
                  <a:pt x="1399449" y="4989078"/>
                  <a:pt x="1398675" y="4988975"/>
                </a:cubicBezTo>
                <a:cubicBezTo>
                  <a:pt x="1392324" y="4988252"/>
                  <a:pt x="1396196" y="4979269"/>
                  <a:pt x="1396661" y="4973900"/>
                </a:cubicBezTo>
                <a:close/>
                <a:moveTo>
                  <a:pt x="975188" y="4973900"/>
                </a:moveTo>
                <a:cubicBezTo>
                  <a:pt x="973794" y="4975861"/>
                  <a:pt x="971316" y="4979062"/>
                  <a:pt x="969148" y="4979888"/>
                </a:cubicBezTo>
                <a:cubicBezTo>
                  <a:pt x="968528" y="4980198"/>
                  <a:pt x="967753" y="4980198"/>
                  <a:pt x="967288" y="4979785"/>
                </a:cubicBezTo>
                <a:cubicBezTo>
                  <a:pt x="966514" y="4978959"/>
                  <a:pt x="967444" y="4978030"/>
                  <a:pt x="967444" y="4977204"/>
                </a:cubicBezTo>
                <a:cubicBezTo>
                  <a:pt x="968528" y="4975552"/>
                  <a:pt x="974414" y="4973074"/>
                  <a:pt x="975188" y="4973900"/>
                </a:cubicBezTo>
                <a:close/>
                <a:moveTo>
                  <a:pt x="2289328" y="4973486"/>
                </a:moveTo>
                <a:cubicBezTo>
                  <a:pt x="2291032" y="4975242"/>
                  <a:pt x="2292891" y="4977101"/>
                  <a:pt x="2291187" y="4978649"/>
                </a:cubicBezTo>
                <a:cubicBezTo>
                  <a:pt x="2289638" y="4977823"/>
                  <a:pt x="2288709" y="4978546"/>
                  <a:pt x="2287005" y="4975965"/>
                </a:cubicBezTo>
                <a:cubicBezTo>
                  <a:pt x="2287780" y="4975139"/>
                  <a:pt x="2288554" y="4974313"/>
                  <a:pt x="2289328" y="4973486"/>
                </a:cubicBezTo>
                <a:close/>
                <a:moveTo>
                  <a:pt x="6178145" y="4971956"/>
                </a:moveTo>
                <a:cubicBezTo>
                  <a:pt x="6177216" y="4972678"/>
                  <a:pt x="6177216" y="4972678"/>
                  <a:pt x="6177990" y="4973504"/>
                </a:cubicBezTo>
                <a:cubicBezTo>
                  <a:pt x="6177990" y="4973504"/>
                  <a:pt x="6177990" y="4973504"/>
                  <a:pt x="6178765" y="4973504"/>
                </a:cubicBezTo>
                <a:cubicBezTo>
                  <a:pt x="6178610" y="4974331"/>
                  <a:pt x="6177836" y="4974434"/>
                  <a:pt x="6177836" y="4975157"/>
                </a:cubicBezTo>
                <a:cubicBezTo>
                  <a:pt x="6177836" y="4975157"/>
                  <a:pt x="6177061" y="4975157"/>
                  <a:pt x="6177061" y="4975157"/>
                </a:cubicBezTo>
                <a:cubicBezTo>
                  <a:pt x="6176906" y="4975570"/>
                  <a:pt x="6176906" y="4975570"/>
                  <a:pt x="6176751" y="4975363"/>
                </a:cubicBezTo>
                <a:cubicBezTo>
                  <a:pt x="6176596" y="4975157"/>
                  <a:pt x="6176286" y="4974743"/>
                  <a:pt x="6175512" y="4974331"/>
                </a:cubicBezTo>
                <a:cubicBezTo>
                  <a:pt x="6175047" y="4973917"/>
                  <a:pt x="6174737" y="4973711"/>
                  <a:pt x="6174582" y="4973504"/>
                </a:cubicBezTo>
                <a:cubicBezTo>
                  <a:pt x="6174428" y="4973298"/>
                  <a:pt x="6174428" y="4973091"/>
                  <a:pt x="6174737" y="4972678"/>
                </a:cubicBezTo>
                <a:cubicBezTo>
                  <a:pt x="6175667" y="4971852"/>
                  <a:pt x="6175667" y="4971852"/>
                  <a:pt x="6178145" y="4971956"/>
                </a:cubicBezTo>
                <a:close/>
                <a:moveTo>
                  <a:pt x="1062085" y="4971628"/>
                </a:moveTo>
                <a:cubicBezTo>
                  <a:pt x="1062085" y="4971628"/>
                  <a:pt x="1062085" y="4971628"/>
                  <a:pt x="1062705" y="4972041"/>
                </a:cubicBezTo>
                <a:cubicBezTo>
                  <a:pt x="1064099" y="4972867"/>
                  <a:pt x="1064718" y="4973383"/>
                  <a:pt x="1065493" y="4973796"/>
                </a:cubicBezTo>
                <a:cubicBezTo>
                  <a:pt x="1065648" y="4974932"/>
                  <a:pt x="1065493" y="4978030"/>
                  <a:pt x="1064408" y="4978340"/>
                </a:cubicBezTo>
                <a:cubicBezTo>
                  <a:pt x="1063169" y="4978649"/>
                  <a:pt x="1062085" y="4978752"/>
                  <a:pt x="1061155" y="4978546"/>
                </a:cubicBezTo>
                <a:cubicBezTo>
                  <a:pt x="1060227" y="4978340"/>
                  <a:pt x="1059451" y="4977823"/>
                  <a:pt x="1059297" y="4977307"/>
                </a:cubicBezTo>
                <a:cubicBezTo>
                  <a:pt x="1059142" y="4975448"/>
                  <a:pt x="1058832" y="4973693"/>
                  <a:pt x="1060071" y="4972557"/>
                </a:cubicBezTo>
                <a:cubicBezTo>
                  <a:pt x="1060537" y="4972144"/>
                  <a:pt x="1061155" y="4971834"/>
                  <a:pt x="1062085" y="4971628"/>
                </a:cubicBezTo>
                <a:close/>
                <a:moveTo>
                  <a:pt x="1473025" y="4971421"/>
                </a:moveTo>
                <a:cubicBezTo>
                  <a:pt x="1476587" y="4972144"/>
                  <a:pt x="1477672" y="4972764"/>
                  <a:pt x="1479995" y="4975552"/>
                </a:cubicBezTo>
                <a:cubicBezTo>
                  <a:pt x="1478447" y="4981231"/>
                  <a:pt x="1474574" y="4984122"/>
                  <a:pt x="1470702" y="4986910"/>
                </a:cubicBezTo>
                <a:cubicBezTo>
                  <a:pt x="1467913" y="4986497"/>
                  <a:pt x="1466519" y="4985568"/>
                  <a:pt x="1465900" y="4984432"/>
                </a:cubicBezTo>
                <a:cubicBezTo>
                  <a:pt x="1464351" y="4981024"/>
                  <a:pt x="1470392" y="4975448"/>
                  <a:pt x="1473025" y="4971421"/>
                </a:cubicBezTo>
                <a:close/>
                <a:moveTo>
                  <a:pt x="2165876" y="4970389"/>
                </a:moveTo>
                <a:cubicBezTo>
                  <a:pt x="2165566" y="4972867"/>
                  <a:pt x="2165876" y="4974726"/>
                  <a:pt x="2165102" y="4976584"/>
                </a:cubicBezTo>
                <a:cubicBezTo>
                  <a:pt x="2164172" y="4976997"/>
                  <a:pt x="2163243" y="4977101"/>
                  <a:pt x="2162469" y="4976997"/>
                </a:cubicBezTo>
                <a:cubicBezTo>
                  <a:pt x="2161849" y="4976791"/>
                  <a:pt x="2161230" y="4976481"/>
                  <a:pt x="2160920" y="4975965"/>
                </a:cubicBezTo>
                <a:cubicBezTo>
                  <a:pt x="2160145" y="4974829"/>
                  <a:pt x="2159990" y="4972970"/>
                  <a:pt x="2160454" y="4970802"/>
                </a:cubicBezTo>
                <a:cubicBezTo>
                  <a:pt x="2162313" y="4970285"/>
                  <a:pt x="2164172" y="4969769"/>
                  <a:pt x="2165876" y="4970389"/>
                </a:cubicBezTo>
                <a:close/>
                <a:moveTo>
                  <a:pt x="1509271" y="4970389"/>
                </a:moveTo>
                <a:cubicBezTo>
                  <a:pt x="1511594" y="4968530"/>
                  <a:pt x="1515776" y="4968530"/>
                  <a:pt x="1518874" y="4972454"/>
                </a:cubicBezTo>
                <a:cubicBezTo>
                  <a:pt x="1518720" y="4976068"/>
                  <a:pt x="1517325" y="4978340"/>
                  <a:pt x="1516550" y="4980095"/>
                </a:cubicBezTo>
                <a:cubicBezTo>
                  <a:pt x="1514227" y="4979682"/>
                  <a:pt x="1512369" y="4979992"/>
                  <a:pt x="1510045" y="4979682"/>
                </a:cubicBezTo>
                <a:cubicBezTo>
                  <a:pt x="1506018" y="4975965"/>
                  <a:pt x="1506792" y="4972247"/>
                  <a:pt x="1509271" y="4970389"/>
                </a:cubicBezTo>
                <a:close/>
                <a:moveTo>
                  <a:pt x="2206149" y="4968737"/>
                </a:moveTo>
                <a:cubicBezTo>
                  <a:pt x="2211106" y="4971215"/>
                  <a:pt x="2212190" y="4981024"/>
                  <a:pt x="2204600" y="4981231"/>
                </a:cubicBezTo>
                <a:cubicBezTo>
                  <a:pt x="2201657" y="4979269"/>
                  <a:pt x="2199643" y="4972041"/>
                  <a:pt x="2200109" y="4969356"/>
                </a:cubicBezTo>
                <a:cubicBezTo>
                  <a:pt x="2202431" y="4967911"/>
                  <a:pt x="2204445" y="4967911"/>
                  <a:pt x="2206149" y="4968737"/>
                </a:cubicBezTo>
                <a:close/>
                <a:moveTo>
                  <a:pt x="1566466" y="4967549"/>
                </a:moveTo>
                <a:cubicBezTo>
                  <a:pt x="1570455" y="4966981"/>
                  <a:pt x="1574250" y="4968169"/>
                  <a:pt x="1574482" y="4971421"/>
                </a:cubicBezTo>
                <a:cubicBezTo>
                  <a:pt x="1574482" y="4972351"/>
                  <a:pt x="1574328" y="4973590"/>
                  <a:pt x="1573708" y="4974829"/>
                </a:cubicBezTo>
                <a:cubicBezTo>
                  <a:pt x="1572158" y="4976068"/>
                  <a:pt x="1570764" y="4976997"/>
                  <a:pt x="1569370" y="4977823"/>
                </a:cubicBezTo>
                <a:lnTo>
                  <a:pt x="1565343" y="4979475"/>
                </a:lnTo>
                <a:lnTo>
                  <a:pt x="1565653" y="4985671"/>
                </a:lnTo>
                <a:cubicBezTo>
                  <a:pt x="1565808" y="4987942"/>
                  <a:pt x="1565188" y="4989491"/>
                  <a:pt x="1562400" y="4990627"/>
                </a:cubicBezTo>
                <a:cubicBezTo>
                  <a:pt x="1561006" y="4989491"/>
                  <a:pt x="1560387" y="4987529"/>
                  <a:pt x="1560232" y="4985051"/>
                </a:cubicBezTo>
                <a:lnTo>
                  <a:pt x="1559922" y="4978340"/>
                </a:lnTo>
                <a:lnTo>
                  <a:pt x="1557598" y="4976894"/>
                </a:lnTo>
                <a:cubicBezTo>
                  <a:pt x="1558683" y="4976068"/>
                  <a:pt x="1557908" y="4975139"/>
                  <a:pt x="1557288" y="4974209"/>
                </a:cubicBezTo>
                <a:cubicBezTo>
                  <a:pt x="1558296" y="4970440"/>
                  <a:pt x="1562478" y="4968117"/>
                  <a:pt x="1566466" y="4967549"/>
                </a:cubicBezTo>
                <a:close/>
                <a:moveTo>
                  <a:pt x="1760048" y="4967188"/>
                </a:moveTo>
                <a:cubicBezTo>
                  <a:pt x="1763455" y="4969873"/>
                  <a:pt x="1765004" y="4967394"/>
                  <a:pt x="1770271" y="4971938"/>
                </a:cubicBezTo>
                <a:cubicBezTo>
                  <a:pt x="1777241" y="4977410"/>
                  <a:pt x="1775847" y="4983399"/>
                  <a:pt x="1773524" y="4986704"/>
                </a:cubicBezTo>
                <a:cubicBezTo>
                  <a:pt x="1772749" y="4986084"/>
                  <a:pt x="1769497" y="4990627"/>
                  <a:pt x="1764695" y="4990214"/>
                </a:cubicBezTo>
                <a:cubicBezTo>
                  <a:pt x="1762991" y="4990111"/>
                  <a:pt x="1761132" y="4989388"/>
                  <a:pt x="1759273" y="4987736"/>
                </a:cubicBezTo>
                <a:cubicBezTo>
                  <a:pt x="1754781" y="4984122"/>
                  <a:pt x="1751219" y="4978856"/>
                  <a:pt x="1756795" y="4972144"/>
                </a:cubicBezTo>
                <a:cubicBezTo>
                  <a:pt x="1757569" y="4970492"/>
                  <a:pt x="1757569" y="4971318"/>
                  <a:pt x="1758499" y="4970492"/>
                </a:cubicBezTo>
                <a:cubicBezTo>
                  <a:pt x="1759273" y="4969666"/>
                  <a:pt x="1760048" y="4968014"/>
                  <a:pt x="1760048" y="4967188"/>
                </a:cubicBezTo>
                <a:close/>
                <a:moveTo>
                  <a:pt x="1900229" y="4966672"/>
                </a:moveTo>
                <a:cubicBezTo>
                  <a:pt x="1902552" y="4965433"/>
                  <a:pt x="1907664" y="4973693"/>
                  <a:pt x="1899300" y="4971834"/>
                </a:cubicBezTo>
                <a:cubicBezTo>
                  <a:pt x="1898990" y="4968530"/>
                  <a:pt x="1899455" y="4967085"/>
                  <a:pt x="1900229" y="4966672"/>
                </a:cubicBezTo>
                <a:close/>
                <a:moveTo>
                  <a:pt x="1825782" y="4966142"/>
                </a:moveTo>
                <a:cubicBezTo>
                  <a:pt x="1830681" y="4965174"/>
                  <a:pt x="1835560" y="4966259"/>
                  <a:pt x="1839045" y="4969873"/>
                </a:cubicBezTo>
                <a:cubicBezTo>
                  <a:pt x="1840903" y="4972454"/>
                  <a:pt x="1841833" y="4974932"/>
                  <a:pt x="1841988" y="4977204"/>
                </a:cubicBezTo>
                <a:lnTo>
                  <a:pt x="1840439" y="4981953"/>
                </a:lnTo>
                <a:lnTo>
                  <a:pt x="1840594" y="4982676"/>
                </a:lnTo>
                <a:lnTo>
                  <a:pt x="1840129" y="4982780"/>
                </a:lnTo>
                <a:lnTo>
                  <a:pt x="1839974" y="4983296"/>
                </a:lnTo>
                <a:cubicBezTo>
                  <a:pt x="1837341" y="4986807"/>
                  <a:pt x="1832539" y="4988975"/>
                  <a:pt x="1827582" y="4988665"/>
                </a:cubicBezTo>
                <a:cubicBezTo>
                  <a:pt x="1821542" y="4988252"/>
                  <a:pt x="1815345" y="4984328"/>
                  <a:pt x="1812402" y="4974726"/>
                </a:cubicBezTo>
                <a:cubicBezTo>
                  <a:pt x="1815965" y="4970131"/>
                  <a:pt x="1820883" y="4967110"/>
                  <a:pt x="1825782" y="4966142"/>
                </a:cubicBezTo>
                <a:close/>
                <a:moveTo>
                  <a:pt x="1711255" y="4966052"/>
                </a:moveTo>
                <a:cubicBezTo>
                  <a:pt x="1713734" y="4965433"/>
                  <a:pt x="1715593" y="4965639"/>
                  <a:pt x="1717142" y="4967704"/>
                </a:cubicBezTo>
                <a:cubicBezTo>
                  <a:pt x="1715593" y="4967808"/>
                  <a:pt x="1714508" y="4967911"/>
                  <a:pt x="1713734" y="4967808"/>
                </a:cubicBezTo>
                <a:cubicBezTo>
                  <a:pt x="1712804" y="4967601"/>
                  <a:pt x="1712030" y="4967085"/>
                  <a:pt x="1711255" y="4966052"/>
                </a:cubicBezTo>
                <a:close/>
                <a:moveTo>
                  <a:pt x="2173931" y="4963987"/>
                </a:moveTo>
                <a:cubicBezTo>
                  <a:pt x="2177184" y="4967601"/>
                  <a:pt x="2179507" y="4974932"/>
                  <a:pt x="2177029" y="4979166"/>
                </a:cubicBezTo>
                <a:lnTo>
                  <a:pt x="2176099" y="4979888"/>
                </a:lnTo>
                <a:lnTo>
                  <a:pt x="2175944" y="4981024"/>
                </a:lnTo>
                <a:cubicBezTo>
                  <a:pt x="2175789" y="4981437"/>
                  <a:pt x="2175480" y="4981953"/>
                  <a:pt x="2174861" y="4983089"/>
                </a:cubicBezTo>
                <a:cubicBezTo>
                  <a:pt x="2174705" y="4981953"/>
                  <a:pt x="2174705" y="4981953"/>
                  <a:pt x="2173621" y="4982263"/>
                </a:cubicBezTo>
                <a:cubicBezTo>
                  <a:pt x="2173621" y="4982263"/>
                  <a:pt x="2173466" y="4982263"/>
                  <a:pt x="2173001" y="4982986"/>
                </a:cubicBezTo>
                <a:cubicBezTo>
                  <a:pt x="2172382" y="4982573"/>
                  <a:pt x="2172846" y="4981850"/>
                  <a:pt x="2172227" y="4981437"/>
                </a:cubicBezTo>
                <a:cubicBezTo>
                  <a:pt x="2172227" y="4981437"/>
                  <a:pt x="2172692" y="4980714"/>
                  <a:pt x="2172692" y="4980714"/>
                </a:cubicBezTo>
                <a:cubicBezTo>
                  <a:pt x="2172382" y="4980508"/>
                  <a:pt x="2172382" y="4980508"/>
                  <a:pt x="2172692" y="4980405"/>
                </a:cubicBezTo>
                <a:lnTo>
                  <a:pt x="2172846" y="4980302"/>
                </a:lnTo>
                <a:lnTo>
                  <a:pt x="2172692" y="4972867"/>
                </a:lnTo>
                <a:cubicBezTo>
                  <a:pt x="2172692" y="4969769"/>
                  <a:pt x="2172846" y="4966775"/>
                  <a:pt x="2173931" y="4963987"/>
                </a:cubicBezTo>
                <a:close/>
                <a:moveTo>
                  <a:pt x="1954907" y="4963884"/>
                </a:moveTo>
                <a:cubicBezTo>
                  <a:pt x="1953978" y="4964710"/>
                  <a:pt x="1951035" y="4969150"/>
                  <a:pt x="1950260" y="4968220"/>
                </a:cubicBezTo>
                <a:cubicBezTo>
                  <a:pt x="1950260" y="4968220"/>
                  <a:pt x="1951190" y="4967394"/>
                  <a:pt x="1952119" y="4966465"/>
                </a:cubicBezTo>
                <a:cubicBezTo>
                  <a:pt x="1953048" y="4965639"/>
                  <a:pt x="1953048" y="4965639"/>
                  <a:pt x="1952274" y="4964710"/>
                </a:cubicBezTo>
                <a:cubicBezTo>
                  <a:pt x="1953203" y="4963780"/>
                  <a:pt x="1953203" y="4963780"/>
                  <a:pt x="1954907" y="4963884"/>
                </a:cubicBezTo>
                <a:close/>
                <a:moveTo>
                  <a:pt x="1342912" y="4963780"/>
                </a:moveTo>
                <a:cubicBezTo>
                  <a:pt x="1344771" y="4962232"/>
                  <a:pt x="1350192" y="4961302"/>
                  <a:pt x="1353600" y="4964297"/>
                </a:cubicBezTo>
                <a:cubicBezTo>
                  <a:pt x="1353755" y="4968530"/>
                  <a:pt x="1352051" y="4970285"/>
                  <a:pt x="1348953" y="4970285"/>
                </a:cubicBezTo>
                <a:cubicBezTo>
                  <a:pt x="1348024" y="4970285"/>
                  <a:pt x="1346785" y="4970182"/>
                  <a:pt x="1345546" y="4969769"/>
                </a:cubicBezTo>
                <a:cubicBezTo>
                  <a:pt x="1345080" y="4967911"/>
                  <a:pt x="1343842" y="4966465"/>
                  <a:pt x="1342912" y="4963780"/>
                </a:cubicBezTo>
                <a:close/>
                <a:moveTo>
                  <a:pt x="2067517" y="4963264"/>
                </a:moveTo>
                <a:cubicBezTo>
                  <a:pt x="2069685" y="4964503"/>
                  <a:pt x="2070770" y="4964090"/>
                  <a:pt x="2070460" y="4964916"/>
                </a:cubicBezTo>
                <a:cubicBezTo>
                  <a:pt x="2071080" y="4965329"/>
                  <a:pt x="2070770" y="4966052"/>
                  <a:pt x="2070150" y="4965639"/>
                </a:cubicBezTo>
                <a:cubicBezTo>
                  <a:pt x="2068602" y="4966775"/>
                  <a:pt x="2067982" y="4964400"/>
                  <a:pt x="2067517" y="4963264"/>
                </a:cubicBezTo>
                <a:close/>
                <a:moveTo>
                  <a:pt x="2085020" y="4963058"/>
                </a:moveTo>
                <a:cubicBezTo>
                  <a:pt x="2085795" y="4963058"/>
                  <a:pt x="2086414" y="4963677"/>
                  <a:pt x="2086724" y="4964607"/>
                </a:cubicBezTo>
                <a:cubicBezTo>
                  <a:pt x="2087653" y="4967498"/>
                  <a:pt x="2086105" y="4972970"/>
                  <a:pt x="2082542" y="4972867"/>
                </a:cubicBezTo>
                <a:cubicBezTo>
                  <a:pt x="2081922" y="4972661"/>
                  <a:pt x="2081303" y="4971938"/>
                  <a:pt x="2080838" y="4970905"/>
                </a:cubicBezTo>
                <a:cubicBezTo>
                  <a:pt x="2079599" y="4967911"/>
                  <a:pt x="2080219" y="4962438"/>
                  <a:pt x="2085020" y="4963058"/>
                </a:cubicBezTo>
                <a:close/>
                <a:moveTo>
                  <a:pt x="1636441" y="4962335"/>
                </a:moveTo>
                <a:cubicBezTo>
                  <a:pt x="1637215" y="4963264"/>
                  <a:pt x="1638144" y="4965019"/>
                  <a:pt x="1637370" y="4965742"/>
                </a:cubicBezTo>
                <a:cubicBezTo>
                  <a:pt x="1636905" y="4966569"/>
                  <a:pt x="1636596" y="4966569"/>
                  <a:pt x="1635976" y="4966259"/>
                </a:cubicBezTo>
                <a:cubicBezTo>
                  <a:pt x="1635511" y="4965846"/>
                  <a:pt x="1634737" y="4965329"/>
                  <a:pt x="1633962" y="4964813"/>
                </a:cubicBezTo>
                <a:close/>
                <a:moveTo>
                  <a:pt x="1750715" y="4961818"/>
                </a:moveTo>
                <a:cubicBezTo>
                  <a:pt x="1752148" y="4962670"/>
                  <a:pt x="1753078" y="4964503"/>
                  <a:pt x="1752613" y="4967188"/>
                </a:cubicBezTo>
                <a:cubicBezTo>
                  <a:pt x="1749050" y="4966569"/>
                  <a:pt x="1745488" y="4966052"/>
                  <a:pt x="1745797" y="4962335"/>
                </a:cubicBezTo>
                <a:cubicBezTo>
                  <a:pt x="1747346" y="4961096"/>
                  <a:pt x="1749282" y="4960967"/>
                  <a:pt x="1750715" y="4961818"/>
                </a:cubicBezTo>
                <a:close/>
                <a:moveTo>
                  <a:pt x="1630245" y="4961818"/>
                </a:moveTo>
                <a:cubicBezTo>
                  <a:pt x="1630245" y="4961818"/>
                  <a:pt x="1630245" y="4961818"/>
                  <a:pt x="1631329" y="4963574"/>
                </a:cubicBezTo>
                <a:lnTo>
                  <a:pt x="1631019" y="4965123"/>
                </a:lnTo>
                <a:lnTo>
                  <a:pt x="1633187" y="4965536"/>
                </a:lnTo>
                <a:cubicBezTo>
                  <a:pt x="1634891" y="4967394"/>
                  <a:pt x="1637525" y="4970182"/>
                  <a:pt x="1635976" y="4972661"/>
                </a:cubicBezTo>
                <a:cubicBezTo>
                  <a:pt x="1635046" y="4972661"/>
                  <a:pt x="1635202" y="4973486"/>
                  <a:pt x="1634272" y="4973486"/>
                </a:cubicBezTo>
                <a:cubicBezTo>
                  <a:pt x="1634272" y="4973486"/>
                  <a:pt x="1633497" y="4973900"/>
                  <a:pt x="1632258" y="4973900"/>
                </a:cubicBezTo>
                <a:cubicBezTo>
                  <a:pt x="1631019" y="4974003"/>
                  <a:pt x="1629315" y="4973693"/>
                  <a:pt x="1627611" y="4972351"/>
                </a:cubicBezTo>
                <a:cubicBezTo>
                  <a:pt x="1626837" y="4971421"/>
                  <a:pt x="1624978" y="4968634"/>
                  <a:pt x="1625753" y="4968737"/>
                </a:cubicBezTo>
                <a:cubicBezTo>
                  <a:pt x="1626528" y="4967808"/>
                  <a:pt x="1625753" y="4967808"/>
                  <a:pt x="1625753" y="4966981"/>
                </a:cubicBezTo>
                <a:lnTo>
                  <a:pt x="1626837" y="4966259"/>
                </a:lnTo>
                <a:lnTo>
                  <a:pt x="1626372" y="4965639"/>
                </a:lnTo>
                <a:cubicBezTo>
                  <a:pt x="1625288" y="4963884"/>
                  <a:pt x="1625443" y="4963884"/>
                  <a:pt x="1626063" y="4962954"/>
                </a:cubicBezTo>
                <a:cubicBezTo>
                  <a:pt x="1626837" y="4962025"/>
                  <a:pt x="1629470" y="4962748"/>
                  <a:pt x="1630245" y="4961818"/>
                </a:cubicBezTo>
                <a:close/>
                <a:moveTo>
                  <a:pt x="1396661" y="4961096"/>
                </a:moveTo>
                <a:cubicBezTo>
                  <a:pt x="1396196" y="4962335"/>
                  <a:pt x="1396042" y="4964297"/>
                  <a:pt x="1394803" y="4965949"/>
                </a:cubicBezTo>
                <a:cubicBezTo>
                  <a:pt x="1390620" y="4966981"/>
                  <a:pt x="1388142" y="4965433"/>
                  <a:pt x="1386902" y="4962128"/>
                </a:cubicBezTo>
                <a:cubicBezTo>
                  <a:pt x="1388761" y="4957379"/>
                  <a:pt x="1395112" y="4957172"/>
                  <a:pt x="1396661" y="4961096"/>
                </a:cubicBezTo>
                <a:close/>
                <a:moveTo>
                  <a:pt x="1914944" y="4959341"/>
                </a:moveTo>
                <a:cubicBezTo>
                  <a:pt x="1915719" y="4960270"/>
                  <a:pt x="1916493" y="4960270"/>
                  <a:pt x="1915874" y="4962025"/>
                </a:cubicBezTo>
                <a:cubicBezTo>
                  <a:pt x="1915874" y="4962851"/>
                  <a:pt x="1915099" y="4963677"/>
                  <a:pt x="1915099" y="4964607"/>
                </a:cubicBezTo>
                <a:cubicBezTo>
                  <a:pt x="1915099" y="4964607"/>
                  <a:pt x="1914480" y="4964710"/>
                  <a:pt x="1913705" y="4964813"/>
                </a:cubicBezTo>
                <a:cubicBezTo>
                  <a:pt x="1913085" y="4964916"/>
                  <a:pt x="1912156" y="4964813"/>
                  <a:pt x="1911691" y="4964400"/>
                </a:cubicBezTo>
                <a:cubicBezTo>
                  <a:pt x="1909987" y="4963471"/>
                  <a:pt x="1912466" y="4960993"/>
                  <a:pt x="1912311" y="4960063"/>
                </a:cubicBezTo>
                <a:cubicBezTo>
                  <a:pt x="1913240" y="4959237"/>
                  <a:pt x="1914015" y="4958411"/>
                  <a:pt x="1914944" y="4959341"/>
                </a:cubicBezTo>
                <a:close/>
                <a:moveTo>
                  <a:pt x="2031891" y="4958927"/>
                </a:moveTo>
                <a:lnTo>
                  <a:pt x="2034679" y="4960993"/>
                </a:lnTo>
                <a:lnTo>
                  <a:pt x="2034989" y="4960270"/>
                </a:lnTo>
                <a:cubicBezTo>
                  <a:pt x="2037157" y="4958721"/>
                  <a:pt x="2041649" y="4961302"/>
                  <a:pt x="2043353" y="4964193"/>
                </a:cubicBezTo>
                <a:lnTo>
                  <a:pt x="2043198" y="4967291"/>
                </a:lnTo>
                <a:lnTo>
                  <a:pt x="2050633" y="4972764"/>
                </a:lnTo>
                <a:cubicBezTo>
                  <a:pt x="2056674" y="4976894"/>
                  <a:pt x="2062560" y="4980818"/>
                  <a:pt x="2067363" y="4985464"/>
                </a:cubicBezTo>
                <a:cubicBezTo>
                  <a:pt x="2065658" y="4985671"/>
                  <a:pt x="2063954" y="4985774"/>
                  <a:pt x="2062251" y="4985568"/>
                </a:cubicBezTo>
                <a:cubicBezTo>
                  <a:pt x="2050169" y="4984432"/>
                  <a:pt x="2038397" y="4973693"/>
                  <a:pt x="2026779" y="4966465"/>
                </a:cubicBezTo>
                <a:cubicBezTo>
                  <a:pt x="2028793" y="4964297"/>
                  <a:pt x="2028173" y="4961612"/>
                  <a:pt x="2031891" y="4958927"/>
                </a:cubicBezTo>
                <a:close/>
                <a:moveTo>
                  <a:pt x="1954598" y="4958514"/>
                </a:moveTo>
                <a:cubicBezTo>
                  <a:pt x="1963271" y="4958618"/>
                  <a:pt x="1968693" y="4968427"/>
                  <a:pt x="1969777" y="4974313"/>
                </a:cubicBezTo>
                <a:cubicBezTo>
                  <a:pt x="1963271" y="4974209"/>
                  <a:pt x="1957695" y="4968943"/>
                  <a:pt x="1955682" y="4963677"/>
                </a:cubicBezTo>
                <a:cubicBezTo>
                  <a:pt x="1954907" y="4961922"/>
                  <a:pt x="1954443" y="4960167"/>
                  <a:pt x="1954598" y="4958514"/>
                </a:cubicBezTo>
                <a:close/>
                <a:moveTo>
                  <a:pt x="1006632" y="4958514"/>
                </a:moveTo>
                <a:cubicBezTo>
                  <a:pt x="1003225" y="4968324"/>
                  <a:pt x="1005393" y="4975552"/>
                  <a:pt x="999662" y="4986084"/>
                </a:cubicBezTo>
                <a:cubicBezTo>
                  <a:pt x="998113" y="4984742"/>
                  <a:pt x="997183" y="4982367"/>
                  <a:pt x="996873" y="4979682"/>
                </a:cubicBezTo>
                <a:cubicBezTo>
                  <a:pt x="995790" y="4971421"/>
                  <a:pt x="999507" y="4959237"/>
                  <a:pt x="1006632" y="4958514"/>
                </a:cubicBezTo>
                <a:close/>
                <a:moveTo>
                  <a:pt x="1900539" y="4955623"/>
                </a:moveTo>
                <a:cubicBezTo>
                  <a:pt x="1902088" y="4953764"/>
                  <a:pt x="1904721" y="4955417"/>
                  <a:pt x="1904876" y="4956346"/>
                </a:cubicBezTo>
                <a:cubicBezTo>
                  <a:pt x="1904256" y="4957275"/>
                  <a:pt x="1902552" y="4957275"/>
                  <a:pt x="1901778" y="4958205"/>
                </a:cubicBezTo>
                <a:cubicBezTo>
                  <a:pt x="1901623" y="4957379"/>
                  <a:pt x="1900694" y="4956552"/>
                  <a:pt x="1900539" y="4955623"/>
                </a:cubicBezTo>
                <a:close/>
                <a:moveTo>
                  <a:pt x="980145" y="4954901"/>
                </a:moveTo>
                <a:cubicBezTo>
                  <a:pt x="980764" y="4956346"/>
                  <a:pt x="979216" y="4959857"/>
                  <a:pt x="978286" y="4962128"/>
                </a:cubicBezTo>
                <a:cubicBezTo>
                  <a:pt x="977047" y="4962748"/>
                  <a:pt x="975808" y="4962954"/>
                  <a:pt x="974414" y="4962851"/>
                </a:cubicBezTo>
                <a:cubicBezTo>
                  <a:pt x="973175" y="4962645"/>
                  <a:pt x="971780" y="4962232"/>
                  <a:pt x="970541" y="4961509"/>
                </a:cubicBezTo>
                <a:cubicBezTo>
                  <a:pt x="972555" y="4956862"/>
                  <a:pt x="975653" y="4955313"/>
                  <a:pt x="980145" y="4954901"/>
                </a:cubicBezTo>
                <a:close/>
                <a:moveTo>
                  <a:pt x="2217301" y="4952319"/>
                </a:moveTo>
                <a:lnTo>
                  <a:pt x="2219653" y="4952922"/>
                </a:lnTo>
                <a:lnTo>
                  <a:pt x="2219625" y="4952939"/>
                </a:lnTo>
                <a:cubicBezTo>
                  <a:pt x="2218541" y="4952629"/>
                  <a:pt x="2217301" y="4952319"/>
                  <a:pt x="2217301" y="4952319"/>
                </a:cubicBezTo>
                <a:close/>
                <a:moveTo>
                  <a:pt x="1578084" y="4952112"/>
                </a:moveTo>
                <a:cubicBezTo>
                  <a:pt x="1579787" y="4953042"/>
                  <a:pt x="1580678" y="4955468"/>
                  <a:pt x="1580213" y="4957998"/>
                </a:cubicBezTo>
                <a:cubicBezTo>
                  <a:pt x="1579903" y="4959753"/>
                  <a:pt x="1578974" y="4961509"/>
                  <a:pt x="1577270" y="4962851"/>
                </a:cubicBezTo>
                <a:cubicBezTo>
                  <a:pt x="1576651" y="4962851"/>
                  <a:pt x="1575876" y="4962541"/>
                  <a:pt x="1575257" y="4962025"/>
                </a:cubicBezTo>
                <a:lnTo>
                  <a:pt x="1574947" y="4961818"/>
                </a:lnTo>
                <a:lnTo>
                  <a:pt x="1572004" y="4966052"/>
                </a:lnTo>
                <a:cubicBezTo>
                  <a:pt x="1571074" y="4965536"/>
                  <a:pt x="1570454" y="4964607"/>
                  <a:pt x="1570145" y="4963574"/>
                </a:cubicBezTo>
                <a:cubicBezTo>
                  <a:pt x="1569526" y="4962025"/>
                  <a:pt x="1569680" y="4960167"/>
                  <a:pt x="1570145" y="4958514"/>
                </a:cubicBezTo>
                <a:lnTo>
                  <a:pt x="1571539" y="4956346"/>
                </a:lnTo>
                <a:lnTo>
                  <a:pt x="1571074" y="4955210"/>
                </a:lnTo>
                <a:cubicBezTo>
                  <a:pt x="1573863" y="4951751"/>
                  <a:pt x="1576379" y="4951183"/>
                  <a:pt x="1578084" y="4952112"/>
                </a:cubicBezTo>
                <a:close/>
                <a:moveTo>
                  <a:pt x="2221175" y="4952009"/>
                </a:moveTo>
                <a:cubicBezTo>
                  <a:pt x="2222258" y="4952319"/>
                  <a:pt x="2222258" y="4952319"/>
                  <a:pt x="2223343" y="4953868"/>
                </a:cubicBezTo>
                <a:lnTo>
                  <a:pt x="2219653" y="4952922"/>
                </a:lnTo>
                <a:close/>
                <a:moveTo>
                  <a:pt x="2207853" y="4951183"/>
                </a:moveTo>
                <a:cubicBezTo>
                  <a:pt x="2208938" y="4951493"/>
                  <a:pt x="2209557" y="4952216"/>
                  <a:pt x="2210641" y="4952525"/>
                </a:cubicBezTo>
                <a:cubicBezTo>
                  <a:pt x="2211261" y="4952112"/>
                  <a:pt x="2212655" y="4951183"/>
                  <a:pt x="2213894" y="4951493"/>
                </a:cubicBezTo>
                <a:cubicBezTo>
                  <a:pt x="2214978" y="4951803"/>
                  <a:pt x="2216682" y="4952835"/>
                  <a:pt x="2216682" y="4952835"/>
                </a:cubicBezTo>
                <a:cubicBezTo>
                  <a:pt x="2216528" y="4954074"/>
                  <a:pt x="2216372" y="4954074"/>
                  <a:pt x="2215908" y="4953351"/>
                </a:cubicBezTo>
                <a:cubicBezTo>
                  <a:pt x="2214049" y="4953455"/>
                  <a:pt x="2214823" y="4953042"/>
                  <a:pt x="2213584" y="4952732"/>
                </a:cubicBezTo>
                <a:cubicBezTo>
                  <a:pt x="2212500" y="4952422"/>
                  <a:pt x="2208163" y="4953145"/>
                  <a:pt x="2208008" y="4954281"/>
                </a:cubicBezTo>
                <a:cubicBezTo>
                  <a:pt x="2207388" y="4953558"/>
                  <a:pt x="2206304" y="4953248"/>
                  <a:pt x="2206304" y="4953248"/>
                </a:cubicBezTo>
                <a:cubicBezTo>
                  <a:pt x="2206459" y="4952112"/>
                  <a:pt x="2207078" y="4951596"/>
                  <a:pt x="2207853" y="4951183"/>
                </a:cubicBezTo>
                <a:close/>
                <a:moveTo>
                  <a:pt x="1602518" y="4950357"/>
                </a:moveTo>
                <a:cubicBezTo>
                  <a:pt x="1602208" y="4953971"/>
                  <a:pt x="1603602" y="4958308"/>
                  <a:pt x="1602363" y="4960993"/>
                </a:cubicBezTo>
                <a:cubicBezTo>
                  <a:pt x="1602053" y="4961509"/>
                  <a:pt x="1601589" y="4961922"/>
                  <a:pt x="1601124" y="4962128"/>
                </a:cubicBezTo>
                <a:cubicBezTo>
                  <a:pt x="1600659" y="4962232"/>
                  <a:pt x="1599885" y="4962025"/>
                  <a:pt x="1598956" y="4961199"/>
                </a:cubicBezTo>
                <a:cubicBezTo>
                  <a:pt x="1597252" y="4960373"/>
                  <a:pt x="1597097" y="4959547"/>
                  <a:pt x="1598491" y="4956862"/>
                </a:cubicBezTo>
                <a:cubicBezTo>
                  <a:pt x="1599885" y="4955004"/>
                  <a:pt x="1600505" y="4953145"/>
                  <a:pt x="1601280" y="4953145"/>
                </a:cubicBezTo>
                <a:cubicBezTo>
                  <a:pt x="1601124" y="4952216"/>
                  <a:pt x="1601898" y="4951286"/>
                  <a:pt x="1601744" y="4950460"/>
                </a:cubicBezTo>
                <a:cubicBezTo>
                  <a:pt x="1601744" y="4950460"/>
                  <a:pt x="1601744" y="4950460"/>
                  <a:pt x="1602518" y="4950357"/>
                </a:cubicBezTo>
                <a:close/>
                <a:moveTo>
                  <a:pt x="1641087" y="4949221"/>
                </a:moveTo>
                <a:cubicBezTo>
                  <a:pt x="1643876" y="4950150"/>
                  <a:pt x="1646199" y="4948602"/>
                  <a:pt x="1650072" y="4950977"/>
                </a:cubicBezTo>
                <a:lnTo>
                  <a:pt x="1647593" y="4962335"/>
                </a:lnTo>
                <a:lnTo>
                  <a:pt x="1647903" y="4963884"/>
                </a:lnTo>
                <a:cubicBezTo>
                  <a:pt x="1647903" y="4964916"/>
                  <a:pt x="1647749" y="4965742"/>
                  <a:pt x="1647438" y="4966155"/>
                </a:cubicBezTo>
                <a:lnTo>
                  <a:pt x="1646509" y="4966465"/>
                </a:lnTo>
                <a:lnTo>
                  <a:pt x="1644960" y="4973486"/>
                </a:lnTo>
                <a:cubicBezTo>
                  <a:pt x="1643720" y="4980818"/>
                  <a:pt x="1642482" y="4987736"/>
                  <a:pt x="1640158" y="4994138"/>
                </a:cubicBezTo>
                <a:cubicBezTo>
                  <a:pt x="1632723" y="4982263"/>
                  <a:pt x="1638919" y="4964710"/>
                  <a:pt x="1641087" y="4949221"/>
                </a:cubicBezTo>
                <a:close/>
                <a:moveTo>
                  <a:pt x="2238058" y="4948395"/>
                </a:moveTo>
                <a:cubicBezTo>
                  <a:pt x="2246732" y="4948808"/>
                  <a:pt x="2253547" y="4958927"/>
                  <a:pt x="2255561" y="4964710"/>
                </a:cubicBezTo>
                <a:cubicBezTo>
                  <a:pt x="2251069" y="4964607"/>
                  <a:pt x="2246887" y="4962025"/>
                  <a:pt x="2243634" y="4958824"/>
                </a:cubicBezTo>
                <a:lnTo>
                  <a:pt x="2241775" y="4956346"/>
                </a:lnTo>
                <a:lnTo>
                  <a:pt x="2240226" y="4957895"/>
                </a:lnTo>
                <a:lnTo>
                  <a:pt x="2240846" y="4957895"/>
                </a:lnTo>
                <a:lnTo>
                  <a:pt x="2237438" y="4962128"/>
                </a:lnTo>
                <a:lnTo>
                  <a:pt x="2237128" y="4963367"/>
                </a:lnTo>
                <a:cubicBezTo>
                  <a:pt x="2237128" y="4964813"/>
                  <a:pt x="2237128" y="4966362"/>
                  <a:pt x="2235734" y="4967498"/>
                </a:cubicBezTo>
                <a:lnTo>
                  <a:pt x="2231862" y="4965949"/>
                </a:lnTo>
                <a:lnTo>
                  <a:pt x="2231088" y="4966465"/>
                </a:lnTo>
                <a:cubicBezTo>
                  <a:pt x="2227060" y="4968117"/>
                  <a:pt x="2222723" y="4968634"/>
                  <a:pt x="2219935" y="4968324"/>
                </a:cubicBezTo>
                <a:cubicBezTo>
                  <a:pt x="2220864" y="4966259"/>
                  <a:pt x="2222258" y="4964400"/>
                  <a:pt x="2223963" y="4962851"/>
                </a:cubicBezTo>
                <a:lnTo>
                  <a:pt x="2228610" y="4959857"/>
                </a:lnTo>
                <a:lnTo>
                  <a:pt x="2228144" y="4957275"/>
                </a:lnTo>
                <a:lnTo>
                  <a:pt x="2225821" y="4961096"/>
                </a:lnTo>
                <a:cubicBezTo>
                  <a:pt x="2221639" y="4965433"/>
                  <a:pt x="2215752" y="4966155"/>
                  <a:pt x="2209866" y="4966981"/>
                </a:cubicBezTo>
                <a:cubicBezTo>
                  <a:pt x="2210021" y="4962645"/>
                  <a:pt x="2212964" y="4959753"/>
                  <a:pt x="2216837" y="4957895"/>
                </a:cubicBezTo>
                <a:lnTo>
                  <a:pt x="2228144" y="4955623"/>
                </a:lnTo>
                <a:lnTo>
                  <a:pt x="2228144" y="4953042"/>
                </a:lnTo>
                <a:cubicBezTo>
                  <a:pt x="2229384" y="4952009"/>
                  <a:pt x="2230623" y="4951906"/>
                  <a:pt x="2231707" y="4952422"/>
                </a:cubicBezTo>
                <a:lnTo>
                  <a:pt x="2233566" y="4953764"/>
                </a:lnTo>
                <a:lnTo>
                  <a:pt x="2234031" y="4948499"/>
                </a:lnTo>
                <a:cubicBezTo>
                  <a:pt x="2236044" y="4950254"/>
                  <a:pt x="2236354" y="4952835"/>
                  <a:pt x="2239142" y="4954281"/>
                </a:cubicBezTo>
                <a:lnTo>
                  <a:pt x="2240381" y="4954487"/>
                </a:lnTo>
                <a:lnTo>
                  <a:pt x="2239762" y="4953558"/>
                </a:lnTo>
                <a:cubicBezTo>
                  <a:pt x="2238678" y="4951803"/>
                  <a:pt x="2238212" y="4950047"/>
                  <a:pt x="2238058" y="4948395"/>
                </a:cubicBezTo>
                <a:close/>
                <a:moveTo>
                  <a:pt x="2074023" y="4947879"/>
                </a:moveTo>
                <a:cubicBezTo>
                  <a:pt x="2075262" y="4948189"/>
                  <a:pt x="2076346" y="4949428"/>
                  <a:pt x="2077120" y="4950770"/>
                </a:cubicBezTo>
                <a:lnTo>
                  <a:pt x="2077895" y="4952939"/>
                </a:lnTo>
                <a:lnTo>
                  <a:pt x="2078670" y="4952009"/>
                </a:lnTo>
                <a:cubicBezTo>
                  <a:pt x="2079599" y="4951596"/>
                  <a:pt x="2080993" y="4952009"/>
                  <a:pt x="2083007" y="4952319"/>
                </a:cubicBezTo>
                <a:cubicBezTo>
                  <a:pt x="2082697" y="4956036"/>
                  <a:pt x="2080838" y="4956552"/>
                  <a:pt x="2077276" y="4956449"/>
                </a:cubicBezTo>
                <a:lnTo>
                  <a:pt x="2077430" y="4956036"/>
                </a:lnTo>
                <a:lnTo>
                  <a:pt x="2076656" y="4956862"/>
                </a:lnTo>
                <a:cubicBezTo>
                  <a:pt x="2075726" y="4957275"/>
                  <a:pt x="2074487" y="4957275"/>
                  <a:pt x="2073403" y="4956966"/>
                </a:cubicBezTo>
                <a:cubicBezTo>
                  <a:pt x="2072474" y="4956966"/>
                  <a:pt x="2071544" y="4956552"/>
                  <a:pt x="2070925" y="4955726"/>
                </a:cubicBezTo>
                <a:cubicBezTo>
                  <a:pt x="2070305" y="4954901"/>
                  <a:pt x="2069841" y="4953868"/>
                  <a:pt x="2069685" y="4952835"/>
                </a:cubicBezTo>
                <a:cubicBezTo>
                  <a:pt x="2069996" y="4951700"/>
                  <a:pt x="2069841" y="4951700"/>
                  <a:pt x="2070150" y="4950460"/>
                </a:cubicBezTo>
                <a:cubicBezTo>
                  <a:pt x="2071389" y="4949635"/>
                  <a:pt x="2072164" y="4947982"/>
                  <a:pt x="2074023" y="4947879"/>
                </a:cubicBezTo>
                <a:close/>
                <a:moveTo>
                  <a:pt x="871098" y="4947776"/>
                </a:moveTo>
                <a:cubicBezTo>
                  <a:pt x="872957" y="4947259"/>
                  <a:pt x="875280" y="4947673"/>
                  <a:pt x="877603" y="4949841"/>
                </a:cubicBezTo>
                <a:cubicBezTo>
                  <a:pt x="874351" y="4955210"/>
                  <a:pt x="875900" y="4959134"/>
                  <a:pt x="871253" y="4962232"/>
                </a:cubicBezTo>
                <a:cubicBezTo>
                  <a:pt x="869239" y="4961715"/>
                  <a:pt x="867845" y="4960579"/>
                  <a:pt x="866915" y="4959237"/>
                </a:cubicBezTo>
                <a:cubicBezTo>
                  <a:pt x="864438" y="4955313"/>
                  <a:pt x="866761" y="4949015"/>
                  <a:pt x="871098" y="4947776"/>
                </a:cubicBezTo>
                <a:close/>
                <a:moveTo>
                  <a:pt x="1854012" y="4947647"/>
                </a:moveTo>
                <a:cubicBezTo>
                  <a:pt x="1855890" y="4945917"/>
                  <a:pt x="1858329" y="4945246"/>
                  <a:pt x="1859956" y="4948085"/>
                </a:cubicBezTo>
                <a:cubicBezTo>
                  <a:pt x="1860421" y="4948705"/>
                  <a:pt x="1860421" y="4949635"/>
                  <a:pt x="1859801" y="4950667"/>
                </a:cubicBezTo>
                <a:cubicBezTo>
                  <a:pt x="1858717" y="4952732"/>
                  <a:pt x="1855774" y="4954901"/>
                  <a:pt x="1853450" y="4954591"/>
                </a:cubicBezTo>
                <a:cubicBezTo>
                  <a:pt x="1852676" y="4954487"/>
                  <a:pt x="1851901" y="4954281"/>
                  <a:pt x="1851436" y="4953558"/>
                </a:cubicBezTo>
                <a:cubicBezTo>
                  <a:pt x="1850817" y="4952164"/>
                  <a:pt x="1852133" y="4949376"/>
                  <a:pt x="1854012" y="4947647"/>
                </a:cubicBezTo>
                <a:close/>
                <a:moveTo>
                  <a:pt x="2097722" y="4947053"/>
                </a:moveTo>
                <a:cubicBezTo>
                  <a:pt x="2100045" y="4947673"/>
                  <a:pt x="2102988" y="4949118"/>
                  <a:pt x="2103298" y="4951080"/>
                </a:cubicBezTo>
                <a:cubicBezTo>
                  <a:pt x="2102988" y="4953455"/>
                  <a:pt x="2101130" y="4953661"/>
                  <a:pt x="2099891" y="4953351"/>
                </a:cubicBezTo>
                <a:cubicBezTo>
                  <a:pt x="2098651" y="4953661"/>
                  <a:pt x="2097412" y="4953042"/>
                  <a:pt x="2096483" y="4952009"/>
                </a:cubicBezTo>
                <a:cubicBezTo>
                  <a:pt x="2095553" y="4950977"/>
                  <a:pt x="2094934" y="4949531"/>
                  <a:pt x="2094469" y="4948189"/>
                </a:cubicBezTo>
                <a:cubicBezTo>
                  <a:pt x="2094934" y="4948912"/>
                  <a:pt x="2094934" y="4948912"/>
                  <a:pt x="2094934" y="4948912"/>
                </a:cubicBezTo>
                <a:cubicBezTo>
                  <a:pt x="2096173" y="4949221"/>
                  <a:pt x="2095708" y="4948395"/>
                  <a:pt x="2096328" y="4947982"/>
                </a:cubicBezTo>
                <a:cubicBezTo>
                  <a:pt x="2096328" y="4947982"/>
                  <a:pt x="2095708" y="4948499"/>
                  <a:pt x="2095864" y="4947259"/>
                </a:cubicBezTo>
                <a:cubicBezTo>
                  <a:pt x="2096328" y="4947982"/>
                  <a:pt x="2096947" y="4947569"/>
                  <a:pt x="2097722" y="4947053"/>
                </a:cubicBezTo>
                <a:close/>
                <a:moveTo>
                  <a:pt x="1381017" y="4945917"/>
                </a:moveTo>
                <a:cubicBezTo>
                  <a:pt x="1388142" y="4948189"/>
                  <a:pt x="1391395" y="4947982"/>
                  <a:pt x="1396816" y="4950254"/>
                </a:cubicBezTo>
                <a:cubicBezTo>
                  <a:pt x="1396971" y="4951183"/>
                  <a:pt x="1396042" y="4951183"/>
                  <a:pt x="1396196" y="4952112"/>
                </a:cubicBezTo>
                <a:cubicBezTo>
                  <a:pt x="1395887" y="4952525"/>
                  <a:pt x="1395112" y="4952835"/>
                  <a:pt x="1394028" y="4952835"/>
                </a:cubicBezTo>
                <a:cubicBezTo>
                  <a:pt x="1390930" y="4953042"/>
                  <a:pt x="1385973" y="4951596"/>
                  <a:pt x="1385973" y="4950977"/>
                </a:cubicBezTo>
                <a:cubicBezTo>
                  <a:pt x="1385044" y="4950977"/>
                  <a:pt x="1384889" y="4950150"/>
                  <a:pt x="1384114" y="4950150"/>
                </a:cubicBezTo>
                <a:cubicBezTo>
                  <a:pt x="1384114" y="4950150"/>
                  <a:pt x="1383185" y="4950254"/>
                  <a:pt x="1382256" y="4949428"/>
                </a:cubicBezTo>
                <a:cubicBezTo>
                  <a:pt x="1381326" y="4948602"/>
                  <a:pt x="1380397" y="4947776"/>
                  <a:pt x="1381017" y="4945917"/>
                </a:cubicBezTo>
                <a:close/>
                <a:moveTo>
                  <a:pt x="2191434" y="4945297"/>
                </a:moveTo>
                <a:lnTo>
                  <a:pt x="2196855" y="4947156"/>
                </a:lnTo>
                <a:lnTo>
                  <a:pt x="2197320" y="4946743"/>
                </a:lnTo>
                <a:cubicBezTo>
                  <a:pt x="2200109" y="4946227"/>
                  <a:pt x="2202741" y="4950150"/>
                  <a:pt x="2202896" y="4953351"/>
                </a:cubicBezTo>
                <a:lnTo>
                  <a:pt x="2202431" y="4955520"/>
                </a:lnTo>
                <a:lnTo>
                  <a:pt x="2202587" y="4955726"/>
                </a:lnTo>
                <a:cubicBezTo>
                  <a:pt x="2201812" y="4958411"/>
                  <a:pt x="2201502" y="4959134"/>
                  <a:pt x="2198869" y="4958927"/>
                </a:cubicBezTo>
                <a:cubicBezTo>
                  <a:pt x="2197940" y="4958824"/>
                  <a:pt x="2196855" y="4958618"/>
                  <a:pt x="2195306" y="4958411"/>
                </a:cubicBezTo>
                <a:cubicBezTo>
                  <a:pt x="2194067" y="4958205"/>
                  <a:pt x="2193138" y="4957585"/>
                  <a:pt x="2192208" y="4956759"/>
                </a:cubicBezTo>
                <a:cubicBezTo>
                  <a:pt x="2191434" y="4955933"/>
                  <a:pt x="2190969" y="4954797"/>
                  <a:pt x="2190659" y="4953455"/>
                </a:cubicBezTo>
                <a:cubicBezTo>
                  <a:pt x="2189265" y="4952422"/>
                  <a:pt x="2188026" y="4950254"/>
                  <a:pt x="2188026" y="4948395"/>
                </a:cubicBezTo>
                <a:cubicBezTo>
                  <a:pt x="2188801" y="4946020"/>
                  <a:pt x="2190350" y="4945091"/>
                  <a:pt x="2191434" y="4945297"/>
                </a:cubicBezTo>
                <a:close/>
                <a:moveTo>
                  <a:pt x="6418680" y="4945096"/>
                </a:moveTo>
                <a:cubicBezTo>
                  <a:pt x="6422107" y="4945058"/>
                  <a:pt x="6425437" y="4946555"/>
                  <a:pt x="6428458" y="4950169"/>
                </a:cubicBezTo>
                <a:cubicBezTo>
                  <a:pt x="6426909" y="4955022"/>
                  <a:pt x="6423656" y="4959255"/>
                  <a:pt x="6416841" y="4964211"/>
                </a:cubicBezTo>
                <a:cubicBezTo>
                  <a:pt x="6413433" y="4961423"/>
                  <a:pt x="6411419" y="4959048"/>
                  <a:pt x="6410025" y="4956674"/>
                </a:cubicBezTo>
                <a:cubicBezTo>
                  <a:pt x="6408786" y="4954196"/>
                  <a:pt x="6408321" y="4951821"/>
                  <a:pt x="6408321" y="4949239"/>
                </a:cubicBezTo>
                <a:cubicBezTo>
                  <a:pt x="6411729" y="4946710"/>
                  <a:pt x="6415253" y="4945135"/>
                  <a:pt x="6418680" y="4945096"/>
                </a:cubicBezTo>
                <a:close/>
                <a:moveTo>
                  <a:pt x="1756640" y="4944988"/>
                </a:moveTo>
                <a:lnTo>
                  <a:pt x="1759273" y="4945814"/>
                </a:lnTo>
                <a:lnTo>
                  <a:pt x="1759583" y="4945607"/>
                </a:lnTo>
                <a:cubicBezTo>
                  <a:pt x="1763300" y="4944265"/>
                  <a:pt x="1766708" y="4947259"/>
                  <a:pt x="1765934" y="4950770"/>
                </a:cubicBezTo>
                <a:cubicBezTo>
                  <a:pt x="1765624" y="4952319"/>
                  <a:pt x="1764540" y="4953971"/>
                  <a:pt x="1762216" y="4955313"/>
                </a:cubicBezTo>
                <a:lnTo>
                  <a:pt x="1761597" y="4954901"/>
                </a:lnTo>
                <a:lnTo>
                  <a:pt x="1761287" y="4955933"/>
                </a:lnTo>
                <a:cubicBezTo>
                  <a:pt x="1759893" y="4957688"/>
                  <a:pt x="1758034" y="4959031"/>
                  <a:pt x="1756331" y="4960476"/>
                </a:cubicBezTo>
                <a:cubicBezTo>
                  <a:pt x="1745023" y="4958102"/>
                  <a:pt x="1753852" y="4950254"/>
                  <a:pt x="1756640" y="4944988"/>
                </a:cubicBezTo>
                <a:close/>
                <a:moveTo>
                  <a:pt x="1181510" y="4944884"/>
                </a:moveTo>
                <a:cubicBezTo>
                  <a:pt x="1182130" y="4945401"/>
                  <a:pt x="1182749" y="4946227"/>
                  <a:pt x="1183214" y="4947569"/>
                </a:cubicBezTo>
                <a:cubicBezTo>
                  <a:pt x="1182439" y="4954901"/>
                  <a:pt x="1180116" y="4960270"/>
                  <a:pt x="1172991" y="4961199"/>
                </a:cubicBezTo>
                <a:cubicBezTo>
                  <a:pt x="1172991" y="4959960"/>
                  <a:pt x="1171907" y="4959857"/>
                  <a:pt x="1170667" y="4959857"/>
                </a:cubicBezTo>
                <a:cubicBezTo>
                  <a:pt x="1166795" y="4953764"/>
                  <a:pt x="1176554" y="4941271"/>
                  <a:pt x="1181510" y="4944884"/>
                </a:cubicBezTo>
                <a:close/>
                <a:moveTo>
                  <a:pt x="1333773" y="4944472"/>
                </a:moveTo>
                <a:cubicBezTo>
                  <a:pt x="1339349" y="4944575"/>
                  <a:pt x="1342447" y="4947776"/>
                  <a:pt x="1345391" y="4950977"/>
                </a:cubicBezTo>
                <a:cubicBezTo>
                  <a:pt x="1345080" y="4955417"/>
                  <a:pt x="1343686" y="4957069"/>
                  <a:pt x="1341828" y="4957275"/>
                </a:cubicBezTo>
                <a:cubicBezTo>
                  <a:pt x="1341053" y="4957379"/>
                  <a:pt x="1340434" y="4957275"/>
                  <a:pt x="1339660" y="4957069"/>
                </a:cubicBezTo>
                <a:cubicBezTo>
                  <a:pt x="1336716" y="4956243"/>
                  <a:pt x="1333153" y="4953764"/>
                  <a:pt x="1330521" y="4952732"/>
                </a:cubicBezTo>
                <a:cubicBezTo>
                  <a:pt x="1330830" y="4948808"/>
                  <a:pt x="1331295" y="4947569"/>
                  <a:pt x="1333773" y="4944472"/>
                </a:cubicBezTo>
                <a:close/>
                <a:moveTo>
                  <a:pt x="1459472" y="4943981"/>
                </a:moveTo>
                <a:cubicBezTo>
                  <a:pt x="1460633" y="4944239"/>
                  <a:pt x="1461950" y="4945142"/>
                  <a:pt x="1463266" y="4946020"/>
                </a:cubicBezTo>
                <a:cubicBezTo>
                  <a:pt x="1462492" y="4947673"/>
                  <a:pt x="1463421" y="4949531"/>
                  <a:pt x="1460943" y="4951080"/>
                </a:cubicBezTo>
                <a:cubicBezTo>
                  <a:pt x="1459239" y="4949324"/>
                  <a:pt x="1458310" y="4947569"/>
                  <a:pt x="1456606" y="4945814"/>
                </a:cubicBezTo>
                <a:cubicBezTo>
                  <a:pt x="1457303" y="4944110"/>
                  <a:pt x="1458310" y="4943723"/>
                  <a:pt x="1459472" y="4943981"/>
                </a:cubicBezTo>
                <a:close/>
                <a:moveTo>
                  <a:pt x="6103175" y="4943560"/>
                </a:moveTo>
                <a:cubicBezTo>
                  <a:pt x="6103795" y="4945315"/>
                  <a:pt x="6102711" y="4946968"/>
                  <a:pt x="6101781" y="4948723"/>
                </a:cubicBezTo>
                <a:cubicBezTo>
                  <a:pt x="6100852" y="4949962"/>
                  <a:pt x="6099923" y="4950375"/>
                  <a:pt x="6099148" y="4950272"/>
                </a:cubicBezTo>
                <a:cubicBezTo>
                  <a:pt x="6098219" y="4950169"/>
                  <a:pt x="6097444" y="4949549"/>
                  <a:pt x="6096670" y="4948620"/>
                </a:cubicBezTo>
                <a:cubicBezTo>
                  <a:pt x="6095276" y="4946865"/>
                  <a:pt x="6096205" y="4945109"/>
                  <a:pt x="6096205" y="4945109"/>
                </a:cubicBezTo>
                <a:cubicBezTo>
                  <a:pt x="6098219" y="4942528"/>
                  <a:pt x="6100852" y="4941805"/>
                  <a:pt x="6103175" y="4943560"/>
                </a:cubicBezTo>
                <a:close/>
                <a:moveTo>
                  <a:pt x="1429189" y="4943026"/>
                </a:moveTo>
                <a:cubicBezTo>
                  <a:pt x="1431668" y="4942303"/>
                  <a:pt x="1437089" y="4943336"/>
                  <a:pt x="1438638" y="4947363"/>
                </a:cubicBezTo>
                <a:cubicBezTo>
                  <a:pt x="1437399" y="4949944"/>
                  <a:pt x="1436005" y="4951286"/>
                  <a:pt x="1434301" y="4951493"/>
                </a:cubicBezTo>
                <a:cubicBezTo>
                  <a:pt x="1432597" y="4951803"/>
                  <a:pt x="1430738" y="4950977"/>
                  <a:pt x="1428725" y="4949428"/>
                </a:cubicBezTo>
                <a:cubicBezTo>
                  <a:pt x="1429189" y="4947466"/>
                  <a:pt x="1428879" y="4945814"/>
                  <a:pt x="1429189" y="4943026"/>
                </a:cubicBezTo>
                <a:close/>
                <a:moveTo>
                  <a:pt x="1509116" y="4941993"/>
                </a:moveTo>
                <a:cubicBezTo>
                  <a:pt x="1511284" y="4940135"/>
                  <a:pt x="1518409" y="4944058"/>
                  <a:pt x="1521198" y="4946434"/>
                </a:cubicBezTo>
                <a:cubicBezTo>
                  <a:pt x="1520733" y="4946846"/>
                  <a:pt x="1519804" y="4947053"/>
                  <a:pt x="1518874" y="4946846"/>
                </a:cubicBezTo>
                <a:cubicBezTo>
                  <a:pt x="1515776" y="4946434"/>
                  <a:pt x="1511284" y="4943749"/>
                  <a:pt x="1509116" y="4941993"/>
                </a:cubicBezTo>
                <a:close/>
                <a:moveTo>
                  <a:pt x="1044272" y="4941683"/>
                </a:moveTo>
                <a:cubicBezTo>
                  <a:pt x="1040864" y="4947156"/>
                  <a:pt x="1036992" y="4951906"/>
                  <a:pt x="1034823" y="4960476"/>
                </a:cubicBezTo>
                <a:cubicBezTo>
                  <a:pt x="1033274" y="4959857"/>
                  <a:pt x="1032500" y="4961509"/>
                  <a:pt x="1031106" y="4961612"/>
                </a:cubicBezTo>
                <a:cubicBezTo>
                  <a:pt x="1030641" y="4961715"/>
                  <a:pt x="1030176" y="4961715"/>
                  <a:pt x="1029557" y="4961302"/>
                </a:cubicBezTo>
                <a:cubicBezTo>
                  <a:pt x="1027078" y="4955004"/>
                  <a:pt x="1035907" y="4939309"/>
                  <a:pt x="1044272" y="4941683"/>
                </a:cubicBezTo>
                <a:close/>
                <a:moveTo>
                  <a:pt x="1416894" y="4941258"/>
                </a:moveTo>
                <a:cubicBezTo>
                  <a:pt x="1421251" y="4941735"/>
                  <a:pt x="1424620" y="4944213"/>
                  <a:pt x="1423768" y="4948602"/>
                </a:cubicBezTo>
                <a:cubicBezTo>
                  <a:pt x="1423613" y="4949841"/>
                  <a:pt x="1422993" y="4951183"/>
                  <a:pt x="1422064" y="4952732"/>
                </a:cubicBezTo>
                <a:cubicBezTo>
                  <a:pt x="1420515" y="4952835"/>
                  <a:pt x="1418811" y="4953145"/>
                  <a:pt x="1416953" y="4953248"/>
                </a:cubicBezTo>
                <a:cubicBezTo>
                  <a:pt x="1415558" y="4953351"/>
                  <a:pt x="1414164" y="4953455"/>
                  <a:pt x="1412770" y="4953351"/>
                </a:cubicBezTo>
                <a:cubicBezTo>
                  <a:pt x="1408743" y="4953042"/>
                  <a:pt x="1405025" y="4951493"/>
                  <a:pt x="1404096" y="4945917"/>
                </a:cubicBezTo>
                <a:cubicBezTo>
                  <a:pt x="1407194" y="4942303"/>
                  <a:pt x="1412538" y="4940780"/>
                  <a:pt x="1416894" y="4941258"/>
                </a:cubicBezTo>
                <a:close/>
                <a:moveTo>
                  <a:pt x="1324789" y="4940548"/>
                </a:moveTo>
                <a:cubicBezTo>
                  <a:pt x="1322930" y="4950254"/>
                  <a:pt x="1326184" y="4957585"/>
                  <a:pt x="1321846" y="4967911"/>
                </a:cubicBezTo>
                <a:cubicBezTo>
                  <a:pt x="1314876" y="4962438"/>
                  <a:pt x="1315650" y="4941271"/>
                  <a:pt x="1324789" y="4940548"/>
                </a:cubicBezTo>
                <a:close/>
                <a:moveTo>
                  <a:pt x="1093684" y="4940341"/>
                </a:moveTo>
                <a:cubicBezTo>
                  <a:pt x="1099260" y="4937553"/>
                  <a:pt x="1106075" y="4941890"/>
                  <a:pt x="1107780" y="4949428"/>
                </a:cubicBezTo>
                <a:cubicBezTo>
                  <a:pt x="1110877" y="4960993"/>
                  <a:pt x="1107315" y="4968220"/>
                  <a:pt x="1107315" y="4968220"/>
                </a:cubicBezTo>
                <a:cubicBezTo>
                  <a:pt x="1105301" y="4969046"/>
                  <a:pt x="1103597" y="4969253"/>
                  <a:pt x="1102203" y="4969046"/>
                </a:cubicBezTo>
                <a:cubicBezTo>
                  <a:pt x="1097711" y="4968427"/>
                  <a:pt x="1095388" y="4963987"/>
                  <a:pt x="1093684" y="4959341"/>
                </a:cubicBezTo>
                <a:cubicBezTo>
                  <a:pt x="1093064" y="4957275"/>
                  <a:pt x="1092599" y="4955107"/>
                  <a:pt x="1092135" y="4953248"/>
                </a:cubicBezTo>
                <a:cubicBezTo>
                  <a:pt x="1091051" y="4949324"/>
                  <a:pt x="1090276" y="4944988"/>
                  <a:pt x="1091516" y="4942407"/>
                </a:cubicBezTo>
                <a:cubicBezTo>
                  <a:pt x="1091980" y="4941477"/>
                  <a:pt x="1092755" y="4940754"/>
                  <a:pt x="1093684" y="4940341"/>
                </a:cubicBezTo>
                <a:close/>
                <a:moveTo>
                  <a:pt x="2001531" y="4940238"/>
                </a:moveTo>
                <a:cubicBezTo>
                  <a:pt x="2002925" y="4941271"/>
                  <a:pt x="2004319" y="4943129"/>
                  <a:pt x="2005713" y="4944988"/>
                </a:cubicBezTo>
                <a:cubicBezTo>
                  <a:pt x="2004784" y="4946434"/>
                  <a:pt x="2003854" y="4946950"/>
                  <a:pt x="2002770" y="4946846"/>
                </a:cubicBezTo>
                <a:cubicBezTo>
                  <a:pt x="2001841" y="4946846"/>
                  <a:pt x="2000912" y="4946124"/>
                  <a:pt x="2000292" y="4945297"/>
                </a:cubicBezTo>
                <a:cubicBezTo>
                  <a:pt x="1999053" y="4943542"/>
                  <a:pt x="1998898" y="4940857"/>
                  <a:pt x="2001531" y="4940238"/>
                </a:cubicBezTo>
                <a:close/>
                <a:moveTo>
                  <a:pt x="2227370" y="4939928"/>
                </a:moveTo>
                <a:cubicBezTo>
                  <a:pt x="2228919" y="4941890"/>
                  <a:pt x="2227060" y="4944265"/>
                  <a:pt x="2226285" y="4944058"/>
                </a:cubicBezTo>
                <a:cubicBezTo>
                  <a:pt x="2225356" y="4943129"/>
                  <a:pt x="2225511" y="4941374"/>
                  <a:pt x="2224737" y="4940341"/>
                </a:cubicBezTo>
                <a:cubicBezTo>
                  <a:pt x="2225511" y="4940548"/>
                  <a:pt x="2226596" y="4939825"/>
                  <a:pt x="2227370" y="4939928"/>
                </a:cubicBezTo>
                <a:close/>
                <a:moveTo>
                  <a:pt x="1594309" y="4939618"/>
                </a:moveTo>
                <a:cubicBezTo>
                  <a:pt x="1592140" y="4941477"/>
                  <a:pt x="1591366" y="4942407"/>
                  <a:pt x="1589817" y="4943336"/>
                </a:cubicBezTo>
                <a:cubicBezTo>
                  <a:pt x="1589972" y="4944162"/>
                  <a:pt x="1589972" y="4945091"/>
                  <a:pt x="1589197" y="4946020"/>
                </a:cubicBezTo>
                <a:cubicBezTo>
                  <a:pt x="1587803" y="4947776"/>
                  <a:pt x="1586099" y="4947053"/>
                  <a:pt x="1584550" y="4947982"/>
                </a:cubicBezTo>
                <a:cubicBezTo>
                  <a:pt x="1583466" y="4947156"/>
                  <a:pt x="1582382" y="4945504"/>
                  <a:pt x="1583776" y="4943749"/>
                </a:cubicBezTo>
                <a:cubicBezTo>
                  <a:pt x="1585170" y="4941064"/>
                  <a:pt x="1587649" y="4940857"/>
                  <a:pt x="1590437" y="4941580"/>
                </a:cubicBezTo>
                <a:cubicBezTo>
                  <a:pt x="1591985" y="4940651"/>
                  <a:pt x="1592605" y="4938896"/>
                  <a:pt x="1594309" y="4939618"/>
                </a:cubicBezTo>
                <a:close/>
                <a:moveTo>
                  <a:pt x="1867081" y="4938379"/>
                </a:moveTo>
                <a:cubicBezTo>
                  <a:pt x="1868630" y="4935798"/>
                  <a:pt x="1871108" y="4937760"/>
                  <a:pt x="1874516" y="4938792"/>
                </a:cubicBezTo>
                <a:cubicBezTo>
                  <a:pt x="1873742" y="4939618"/>
                  <a:pt x="1874516" y="4940445"/>
                  <a:pt x="1875446" y="4941374"/>
                </a:cubicBezTo>
                <a:cubicBezTo>
                  <a:pt x="1874206" y="4942613"/>
                  <a:pt x="1872657" y="4944781"/>
                  <a:pt x="1870489" y="4944265"/>
                </a:cubicBezTo>
                <a:cubicBezTo>
                  <a:pt x="1869714" y="4944162"/>
                  <a:pt x="1868940" y="4943645"/>
                  <a:pt x="1868011" y="4942716"/>
                </a:cubicBezTo>
                <a:cubicBezTo>
                  <a:pt x="1867236" y="4942716"/>
                  <a:pt x="1866307" y="4939206"/>
                  <a:pt x="1867081" y="4938379"/>
                </a:cubicBezTo>
                <a:close/>
                <a:moveTo>
                  <a:pt x="2252638" y="4937863"/>
                </a:moveTo>
                <a:cubicBezTo>
                  <a:pt x="2254942" y="4938457"/>
                  <a:pt x="2256877" y="4939825"/>
                  <a:pt x="2257110" y="4941580"/>
                </a:cubicBezTo>
                <a:cubicBezTo>
                  <a:pt x="2256026" y="4947466"/>
                  <a:pt x="2253238" y="4950357"/>
                  <a:pt x="2250604" y="4950977"/>
                </a:cubicBezTo>
                <a:cubicBezTo>
                  <a:pt x="2248126" y="4951700"/>
                  <a:pt x="2245648" y="4950047"/>
                  <a:pt x="2244718" y="4946950"/>
                </a:cubicBezTo>
                <a:cubicBezTo>
                  <a:pt x="2244253" y="4944884"/>
                  <a:pt x="2244409" y="4942097"/>
                  <a:pt x="2245957" y="4938792"/>
                </a:cubicBezTo>
                <a:cubicBezTo>
                  <a:pt x="2247661" y="4937450"/>
                  <a:pt x="2250333" y="4937269"/>
                  <a:pt x="2252638" y="4937863"/>
                </a:cubicBezTo>
                <a:close/>
                <a:moveTo>
                  <a:pt x="1137674" y="4937244"/>
                </a:moveTo>
                <a:cubicBezTo>
                  <a:pt x="1140927" y="4939928"/>
                  <a:pt x="1141082" y="4942407"/>
                  <a:pt x="1139688" y="4945814"/>
                </a:cubicBezTo>
                <a:cubicBezTo>
                  <a:pt x="1137209" y="4945711"/>
                  <a:pt x="1133802" y="4943026"/>
                  <a:pt x="1133802" y="4940445"/>
                </a:cubicBezTo>
                <a:cubicBezTo>
                  <a:pt x="1135197" y="4937967"/>
                  <a:pt x="1136900" y="4938896"/>
                  <a:pt x="1137674" y="4937244"/>
                </a:cubicBezTo>
                <a:close/>
                <a:moveTo>
                  <a:pt x="1489754" y="4937140"/>
                </a:moveTo>
                <a:cubicBezTo>
                  <a:pt x="1490683" y="4937967"/>
                  <a:pt x="1491612" y="4938792"/>
                  <a:pt x="1491922" y="4940445"/>
                </a:cubicBezTo>
                <a:cubicBezTo>
                  <a:pt x="1490528" y="4942303"/>
                  <a:pt x="1487895" y="4941580"/>
                  <a:pt x="1487276" y="4942510"/>
                </a:cubicBezTo>
                <a:cubicBezTo>
                  <a:pt x="1487121" y="4941580"/>
                  <a:pt x="1486811" y="4939928"/>
                  <a:pt x="1485107" y="4939102"/>
                </a:cubicBezTo>
                <a:cubicBezTo>
                  <a:pt x="1486501" y="4937347"/>
                  <a:pt x="1487895" y="4935488"/>
                  <a:pt x="1489754" y="4937140"/>
                </a:cubicBezTo>
                <a:close/>
                <a:moveTo>
                  <a:pt x="2051873" y="4937037"/>
                </a:moveTo>
                <a:cubicBezTo>
                  <a:pt x="2050323" y="4943233"/>
                  <a:pt x="2037467" y="4948395"/>
                  <a:pt x="2034369" y="4946950"/>
                </a:cubicBezTo>
                <a:cubicBezTo>
                  <a:pt x="2036073" y="4943542"/>
                  <a:pt x="2039481" y="4943129"/>
                  <a:pt x="2041805" y="4939309"/>
                </a:cubicBezTo>
                <a:cubicBezTo>
                  <a:pt x="2044748" y="4939928"/>
                  <a:pt x="2048000" y="4935901"/>
                  <a:pt x="2051873" y="4937037"/>
                </a:cubicBezTo>
                <a:close/>
                <a:moveTo>
                  <a:pt x="1027543" y="4937037"/>
                </a:moveTo>
                <a:cubicBezTo>
                  <a:pt x="1028628" y="4937450"/>
                  <a:pt x="1029712" y="4937760"/>
                  <a:pt x="1030641" y="4938173"/>
                </a:cubicBezTo>
                <a:cubicBezTo>
                  <a:pt x="1029866" y="4940445"/>
                  <a:pt x="1028937" y="4942716"/>
                  <a:pt x="1026769" y="4941993"/>
                </a:cubicBezTo>
                <a:cubicBezTo>
                  <a:pt x="1026923" y="4940032"/>
                  <a:pt x="1025839" y="4939722"/>
                  <a:pt x="1027543" y="4937037"/>
                </a:cubicBezTo>
                <a:close/>
                <a:moveTo>
                  <a:pt x="1844001" y="4936727"/>
                </a:moveTo>
                <a:cubicBezTo>
                  <a:pt x="1845241" y="4937037"/>
                  <a:pt x="1846325" y="4937347"/>
                  <a:pt x="1845705" y="4937760"/>
                </a:cubicBezTo>
                <a:cubicBezTo>
                  <a:pt x="1846170" y="4938483"/>
                  <a:pt x="1845551" y="4938999"/>
                  <a:pt x="1845396" y="4940135"/>
                </a:cubicBezTo>
                <a:cubicBezTo>
                  <a:pt x="1844466" y="4941787"/>
                  <a:pt x="1842607" y="4943129"/>
                  <a:pt x="1841368" y="4942819"/>
                </a:cubicBezTo>
                <a:cubicBezTo>
                  <a:pt x="1840284" y="4942510"/>
                  <a:pt x="1839664" y="4941683"/>
                  <a:pt x="1839664" y="4941683"/>
                </a:cubicBezTo>
                <a:cubicBezTo>
                  <a:pt x="1839664" y="4938586"/>
                  <a:pt x="1840594" y="4935798"/>
                  <a:pt x="1844001" y="4936727"/>
                </a:cubicBezTo>
                <a:close/>
                <a:moveTo>
                  <a:pt x="863972" y="4936727"/>
                </a:moveTo>
                <a:cubicBezTo>
                  <a:pt x="861185" y="4941787"/>
                  <a:pt x="863508" y="4945401"/>
                  <a:pt x="859325" y="4946537"/>
                </a:cubicBezTo>
                <a:cubicBezTo>
                  <a:pt x="857313" y="4943749"/>
                  <a:pt x="860410" y="4937450"/>
                  <a:pt x="863972" y="4936727"/>
                </a:cubicBezTo>
                <a:close/>
                <a:moveTo>
                  <a:pt x="1250594" y="4936417"/>
                </a:moveTo>
                <a:cubicBezTo>
                  <a:pt x="1254311" y="4937967"/>
                  <a:pt x="1253537" y="4943645"/>
                  <a:pt x="1250439" y="4945504"/>
                </a:cubicBezTo>
                <a:cubicBezTo>
                  <a:pt x="1248890" y="4945297"/>
                  <a:pt x="1247960" y="4944678"/>
                  <a:pt x="1247341" y="4943852"/>
                </a:cubicBezTo>
                <a:cubicBezTo>
                  <a:pt x="1245792" y="4941477"/>
                  <a:pt x="1248116" y="4937140"/>
                  <a:pt x="1250594" y="4936417"/>
                </a:cubicBezTo>
                <a:close/>
                <a:moveTo>
                  <a:pt x="2179662" y="4936314"/>
                </a:moveTo>
                <a:cubicBezTo>
                  <a:pt x="2179662" y="4936314"/>
                  <a:pt x="2180127" y="4937037"/>
                  <a:pt x="2179817" y="4938070"/>
                </a:cubicBezTo>
                <a:cubicBezTo>
                  <a:pt x="2179817" y="4938070"/>
                  <a:pt x="2179662" y="4938070"/>
                  <a:pt x="2179352" y="4937863"/>
                </a:cubicBezTo>
                <a:cubicBezTo>
                  <a:pt x="2179197" y="4937657"/>
                  <a:pt x="2178888" y="4937244"/>
                  <a:pt x="2179042" y="4936727"/>
                </a:cubicBezTo>
                <a:cubicBezTo>
                  <a:pt x="2179042" y="4936727"/>
                  <a:pt x="2179042" y="4936727"/>
                  <a:pt x="2179662" y="4936314"/>
                </a:cubicBezTo>
                <a:close/>
                <a:moveTo>
                  <a:pt x="1686782" y="4936314"/>
                </a:moveTo>
                <a:cubicBezTo>
                  <a:pt x="1692978" y="4934146"/>
                  <a:pt x="1698864" y="4934972"/>
                  <a:pt x="1703976" y="4937863"/>
                </a:cubicBezTo>
                <a:cubicBezTo>
                  <a:pt x="1712340" y="4942613"/>
                  <a:pt x="1718071" y="4952732"/>
                  <a:pt x="1717297" y="4963264"/>
                </a:cubicBezTo>
                <a:cubicBezTo>
                  <a:pt x="1716212" y="4963471"/>
                  <a:pt x="1715128" y="4963780"/>
                  <a:pt x="1715438" y="4964916"/>
                </a:cubicBezTo>
                <a:cubicBezTo>
                  <a:pt x="1713579" y="4965433"/>
                  <a:pt x="1711720" y="4965639"/>
                  <a:pt x="1709861" y="4965536"/>
                </a:cubicBezTo>
                <a:cubicBezTo>
                  <a:pt x="1696696" y="4964710"/>
                  <a:pt x="1683064" y="4949428"/>
                  <a:pt x="1686782" y="4936314"/>
                </a:cubicBezTo>
                <a:close/>
                <a:moveTo>
                  <a:pt x="1404096" y="4934456"/>
                </a:moveTo>
                <a:cubicBezTo>
                  <a:pt x="1404871" y="4934869"/>
                  <a:pt x="1404560" y="4935695"/>
                  <a:pt x="1405335" y="4936108"/>
                </a:cubicBezTo>
                <a:cubicBezTo>
                  <a:pt x="1405490" y="4936727"/>
                  <a:pt x="1405335" y="4937553"/>
                  <a:pt x="1404871" y="4938379"/>
                </a:cubicBezTo>
                <a:cubicBezTo>
                  <a:pt x="1403477" y="4941168"/>
                  <a:pt x="1400069" y="4944678"/>
                  <a:pt x="1399449" y="4944368"/>
                </a:cubicBezTo>
                <a:cubicBezTo>
                  <a:pt x="1399139" y="4945091"/>
                  <a:pt x="1398365" y="4944678"/>
                  <a:pt x="1398055" y="4945504"/>
                </a:cubicBezTo>
                <a:cubicBezTo>
                  <a:pt x="1398055" y="4945504"/>
                  <a:pt x="1397745" y="4946227"/>
                  <a:pt x="1396506" y="4946537"/>
                </a:cubicBezTo>
                <a:cubicBezTo>
                  <a:pt x="1396042" y="4946743"/>
                  <a:pt x="1395422" y="4946950"/>
                  <a:pt x="1394803" y="4946846"/>
                </a:cubicBezTo>
                <a:cubicBezTo>
                  <a:pt x="1394338" y="4946743"/>
                  <a:pt x="1393718" y="4946330"/>
                  <a:pt x="1393099" y="4945504"/>
                </a:cubicBezTo>
                <a:cubicBezTo>
                  <a:pt x="1398210" y="4940754"/>
                  <a:pt x="1399604" y="4937657"/>
                  <a:pt x="1404096" y="4934456"/>
                </a:cubicBezTo>
                <a:close/>
                <a:moveTo>
                  <a:pt x="2161694" y="4934249"/>
                </a:moveTo>
                <a:cubicBezTo>
                  <a:pt x="2161694" y="4934249"/>
                  <a:pt x="2161694" y="4934249"/>
                  <a:pt x="2161539" y="4935488"/>
                </a:cubicBezTo>
                <a:cubicBezTo>
                  <a:pt x="2159370" y="4935798"/>
                  <a:pt x="2157667" y="4936831"/>
                  <a:pt x="2155963" y="4937863"/>
                </a:cubicBezTo>
                <a:lnTo>
                  <a:pt x="2154259" y="4938379"/>
                </a:lnTo>
                <a:lnTo>
                  <a:pt x="2157821" y="4938999"/>
                </a:lnTo>
                <a:cubicBezTo>
                  <a:pt x="2159990" y="4939928"/>
                  <a:pt x="2162004" y="4941477"/>
                  <a:pt x="2163398" y="4943439"/>
                </a:cubicBezTo>
                <a:cubicBezTo>
                  <a:pt x="2166960" y="4947982"/>
                  <a:pt x="2168044" y="4955107"/>
                  <a:pt x="2162469" y="4963574"/>
                </a:cubicBezTo>
                <a:cubicBezTo>
                  <a:pt x="2153484" y="4964090"/>
                  <a:pt x="2145430" y="4960270"/>
                  <a:pt x="2142332" y="4954074"/>
                </a:cubicBezTo>
                <a:cubicBezTo>
                  <a:pt x="2141402" y="4952112"/>
                  <a:pt x="2140938" y="4949841"/>
                  <a:pt x="2141248" y="4947363"/>
                </a:cubicBezTo>
                <a:cubicBezTo>
                  <a:pt x="2142022" y="4944265"/>
                  <a:pt x="2143261" y="4941993"/>
                  <a:pt x="2145120" y="4940445"/>
                </a:cubicBezTo>
                <a:lnTo>
                  <a:pt x="2147444" y="4939412"/>
                </a:lnTo>
                <a:lnTo>
                  <a:pt x="2147133" y="4938276"/>
                </a:lnTo>
                <a:lnTo>
                  <a:pt x="2147753" y="4939309"/>
                </a:lnTo>
                <a:lnTo>
                  <a:pt x="2150696" y="4938070"/>
                </a:lnTo>
                <a:lnTo>
                  <a:pt x="2151006" y="4937244"/>
                </a:lnTo>
                <a:cubicBezTo>
                  <a:pt x="2151626" y="4936417"/>
                  <a:pt x="2152710" y="4935695"/>
                  <a:pt x="2154104" y="4935798"/>
                </a:cubicBezTo>
                <a:cubicBezTo>
                  <a:pt x="2157202" y="4936108"/>
                  <a:pt x="2158596" y="4934043"/>
                  <a:pt x="2161694" y="4934249"/>
                </a:cubicBezTo>
                <a:close/>
                <a:moveTo>
                  <a:pt x="2201347" y="4934043"/>
                </a:moveTo>
                <a:cubicBezTo>
                  <a:pt x="2203671" y="4932494"/>
                  <a:pt x="2210486" y="4936934"/>
                  <a:pt x="2213120" y="4939618"/>
                </a:cubicBezTo>
                <a:cubicBezTo>
                  <a:pt x="2212500" y="4940032"/>
                  <a:pt x="2211571" y="4940135"/>
                  <a:pt x="2210641" y="4939825"/>
                </a:cubicBezTo>
                <a:cubicBezTo>
                  <a:pt x="2207544" y="4939102"/>
                  <a:pt x="2203206" y="4936005"/>
                  <a:pt x="2201347" y="4934043"/>
                </a:cubicBezTo>
                <a:close/>
                <a:moveTo>
                  <a:pt x="1799236" y="4931565"/>
                </a:moveTo>
                <a:lnTo>
                  <a:pt x="1800011" y="4933630"/>
                </a:lnTo>
                <a:lnTo>
                  <a:pt x="1800940" y="4933113"/>
                </a:lnTo>
                <a:cubicBezTo>
                  <a:pt x="1804194" y="4933836"/>
                  <a:pt x="1806207" y="4936211"/>
                  <a:pt x="1806517" y="4938792"/>
                </a:cubicBezTo>
                <a:lnTo>
                  <a:pt x="1805587" y="4942303"/>
                </a:lnTo>
                <a:lnTo>
                  <a:pt x="1810079" y="4945711"/>
                </a:lnTo>
                <a:cubicBezTo>
                  <a:pt x="1811628" y="4946950"/>
                  <a:pt x="1812868" y="4948189"/>
                  <a:pt x="1814106" y="4949635"/>
                </a:cubicBezTo>
                <a:cubicBezTo>
                  <a:pt x="1815501" y="4951596"/>
                  <a:pt x="1816430" y="4953971"/>
                  <a:pt x="1816430" y="4956966"/>
                </a:cubicBezTo>
                <a:cubicBezTo>
                  <a:pt x="1816895" y="4970595"/>
                  <a:pt x="1804658" y="4978133"/>
                  <a:pt x="1794125" y="4977410"/>
                </a:cubicBezTo>
                <a:cubicBezTo>
                  <a:pt x="1787929" y="4976997"/>
                  <a:pt x="1782353" y="4973590"/>
                  <a:pt x="1780494" y="4966775"/>
                </a:cubicBezTo>
                <a:cubicBezTo>
                  <a:pt x="1779875" y="4964193"/>
                  <a:pt x="1779875" y="4961096"/>
                  <a:pt x="1780494" y="4957482"/>
                </a:cubicBezTo>
                <a:cubicBezTo>
                  <a:pt x="1782663" y="4947673"/>
                  <a:pt x="1792111" y="4942407"/>
                  <a:pt x="1799236" y="4931565"/>
                </a:cubicBezTo>
                <a:close/>
                <a:moveTo>
                  <a:pt x="2148838" y="4930842"/>
                </a:moveTo>
                <a:cubicBezTo>
                  <a:pt x="2148683" y="4931978"/>
                  <a:pt x="2148063" y="4935488"/>
                  <a:pt x="2148063" y="4935488"/>
                </a:cubicBezTo>
                <a:cubicBezTo>
                  <a:pt x="2148528" y="4936314"/>
                  <a:pt x="2148528" y="4936314"/>
                  <a:pt x="2148373" y="4937450"/>
                </a:cubicBezTo>
                <a:cubicBezTo>
                  <a:pt x="2147289" y="4937140"/>
                  <a:pt x="2147289" y="4937140"/>
                  <a:pt x="2146669" y="4936417"/>
                </a:cubicBezTo>
                <a:cubicBezTo>
                  <a:pt x="2146824" y="4935282"/>
                  <a:pt x="2147598" y="4934869"/>
                  <a:pt x="2147753" y="4933630"/>
                </a:cubicBezTo>
                <a:cubicBezTo>
                  <a:pt x="2145430" y="4933010"/>
                  <a:pt x="2145895" y="4933733"/>
                  <a:pt x="2146049" y="4932597"/>
                </a:cubicBezTo>
                <a:cubicBezTo>
                  <a:pt x="2146049" y="4932597"/>
                  <a:pt x="2146049" y="4932597"/>
                  <a:pt x="2146205" y="4931358"/>
                </a:cubicBezTo>
                <a:cubicBezTo>
                  <a:pt x="2146205" y="4931358"/>
                  <a:pt x="2145740" y="4930635"/>
                  <a:pt x="2148838" y="4930842"/>
                </a:cubicBezTo>
                <a:close/>
                <a:moveTo>
                  <a:pt x="924382" y="4930532"/>
                </a:moveTo>
                <a:cubicBezTo>
                  <a:pt x="925931" y="4931358"/>
                  <a:pt x="926706" y="4931358"/>
                  <a:pt x="928565" y="4930532"/>
                </a:cubicBezTo>
                <a:cubicBezTo>
                  <a:pt x="928565" y="4930532"/>
                  <a:pt x="928565" y="4930532"/>
                  <a:pt x="929959" y="4932287"/>
                </a:cubicBezTo>
                <a:lnTo>
                  <a:pt x="929959" y="4933216"/>
                </a:lnTo>
                <a:cubicBezTo>
                  <a:pt x="929649" y="4933630"/>
                  <a:pt x="929029" y="4933836"/>
                  <a:pt x="928100" y="4933940"/>
                </a:cubicBezTo>
                <a:cubicBezTo>
                  <a:pt x="925312" y="4934146"/>
                  <a:pt x="920510" y="4933010"/>
                  <a:pt x="919890" y="4933010"/>
                </a:cubicBezTo>
                <a:cubicBezTo>
                  <a:pt x="919890" y="4933010"/>
                  <a:pt x="919115" y="4933010"/>
                  <a:pt x="918186" y="4933010"/>
                </a:cubicBezTo>
                <a:cubicBezTo>
                  <a:pt x="917567" y="4932184"/>
                  <a:pt x="917567" y="4931255"/>
                  <a:pt x="916792" y="4931255"/>
                </a:cubicBezTo>
                <a:cubicBezTo>
                  <a:pt x="919580" y="4928777"/>
                  <a:pt x="922059" y="4929603"/>
                  <a:pt x="924382" y="4930532"/>
                </a:cubicBezTo>
                <a:close/>
                <a:moveTo>
                  <a:pt x="1834088" y="4930429"/>
                </a:moveTo>
                <a:lnTo>
                  <a:pt x="1837496" y="4931358"/>
                </a:lnTo>
                <a:cubicBezTo>
                  <a:pt x="1837341" y="4932597"/>
                  <a:pt x="1836567" y="4934249"/>
                  <a:pt x="1835327" y="4933940"/>
                </a:cubicBezTo>
                <a:cubicBezTo>
                  <a:pt x="1834398" y="4933940"/>
                  <a:pt x="1834244" y="4933630"/>
                  <a:pt x="1834088" y="4932907"/>
                </a:cubicBezTo>
                <a:cubicBezTo>
                  <a:pt x="1834088" y="4932287"/>
                  <a:pt x="1834244" y="4931358"/>
                  <a:pt x="1834088" y="4930429"/>
                </a:cubicBezTo>
                <a:close/>
                <a:moveTo>
                  <a:pt x="1170164" y="4930416"/>
                </a:moveTo>
                <a:cubicBezTo>
                  <a:pt x="1172101" y="4929628"/>
                  <a:pt x="1174540" y="4930377"/>
                  <a:pt x="1176088" y="4932287"/>
                </a:cubicBezTo>
                <a:cubicBezTo>
                  <a:pt x="1177018" y="4933526"/>
                  <a:pt x="1177638" y="4935385"/>
                  <a:pt x="1177328" y="4937553"/>
                </a:cubicBezTo>
                <a:cubicBezTo>
                  <a:pt x="1176398" y="4938379"/>
                  <a:pt x="1174230" y="4938896"/>
                  <a:pt x="1172216" y="4938999"/>
                </a:cubicBezTo>
                <a:cubicBezTo>
                  <a:pt x="1170048" y="4939102"/>
                  <a:pt x="1168034" y="4938689"/>
                  <a:pt x="1167260" y="4937760"/>
                </a:cubicBezTo>
                <a:cubicBezTo>
                  <a:pt x="1166795" y="4933526"/>
                  <a:pt x="1168228" y="4931203"/>
                  <a:pt x="1170164" y="4930416"/>
                </a:cubicBezTo>
                <a:close/>
                <a:moveTo>
                  <a:pt x="1941741" y="4929603"/>
                </a:moveTo>
                <a:cubicBezTo>
                  <a:pt x="1948402" y="4927434"/>
                  <a:pt x="1955372" y="4936727"/>
                  <a:pt x="1950415" y="4944781"/>
                </a:cubicBezTo>
                <a:cubicBezTo>
                  <a:pt x="1949331" y="4945194"/>
                  <a:pt x="1948247" y="4945401"/>
                  <a:pt x="1947163" y="4945297"/>
                </a:cubicBezTo>
                <a:cubicBezTo>
                  <a:pt x="1943600" y="4945091"/>
                  <a:pt x="1939882" y="4942613"/>
                  <a:pt x="1937559" y="4939825"/>
                </a:cubicBezTo>
                <a:lnTo>
                  <a:pt x="1936784" y="4938276"/>
                </a:lnTo>
                <a:lnTo>
                  <a:pt x="1933532" y="4939825"/>
                </a:lnTo>
                <a:cubicBezTo>
                  <a:pt x="1933377" y="4939206"/>
                  <a:pt x="1933687" y="4938896"/>
                  <a:pt x="1933996" y="4938586"/>
                </a:cubicBezTo>
                <a:cubicBezTo>
                  <a:pt x="1934461" y="4938379"/>
                  <a:pt x="1935081" y="4938173"/>
                  <a:pt x="1935701" y="4937967"/>
                </a:cubicBezTo>
                <a:lnTo>
                  <a:pt x="1936630" y="4937760"/>
                </a:lnTo>
                <a:lnTo>
                  <a:pt x="1935701" y="4936005"/>
                </a:lnTo>
                <a:cubicBezTo>
                  <a:pt x="1937404" y="4932287"/>
                  <a:pt x="1939572" y="4930325"/>
                  <a:pt x="1941741" y="4929603"/>
                </a:cubicBezTo>
                <a:close/>
                <a:moveTo>
                  <a:pt x="1856393" y="4929086"/>
                </a:moveTo>
                <a:cubicBezTo>
                  <a:pt x="1858871" y="4929500"/>
                  <a:pt x="1860111" y="4930739"/>
                  <a:pt x="1860731" y="4932597"/>
                </a:cubicBezTo>
                <a:lnTo>
                  <a:pt x="1861040" y="4936417"/>
                </a:lnTo>
                <a:lnTo>
                  <a:pt x="1862434" y="4935282"/>
                </a:lnTo>
                <a:cubicBezTo>
                  <a:pt x="1864448" y="4934249"/>
                  <a:pt x="1865068" y="4936005"/>
                  <a:pt x="1866461" y="4938792"/>
                </a:cubicBezTo>
                <a:cubicBezTo>
                  <a:pt x="1865068" y="4939928"/>
                  <a:pt x="1863828" y="4940238"/>
                  <a:pt x="1862899" y="4939928"/>
                </a:cubicBezTo>
                <a:lnTo>
                  <a:pt x="1861195" y="4938379"/>
                </a:lnTo>
                <a:lnTo>
                  <a:pt x="1861350" y="4939102"/>
                </a:lnTo>
                <a:cubicBezTo>
                  <a:pt x="1859491" y="4939412"/>
                  <a:pt x="1858252" y="4940341"/>
                  <a:pt x="1856393" y="4940651"/>
                </a:cubicBezTo>
                <a:lnTo>
                  <a:pt x="1855154" y="4942923"/>
                </a:lnTo>
                <a:cubicBezTo>
                  <a:pt x="1852057" y="4941168"/>
                  <a:pt x="1851436" y="4936727"/>
                  <a:pt x="1852676" y="4933630"/>
                </a:cubicBezTo>
                <a:lnTo>
                  <a:pt x="1853296" y="4932804"/>
                </a:lnTo>
                <a:lnTo>
                  <a:pt x="1853296" y="4930429"/>
                </a:lnTo>
                <a:cubicBezTo>
                  <a:pt x="1853760" y="4929500"/>
                  <a:pt x="1854844" y="4928983"/>
                  <a:pt x="1856393" y="4929086"/>
                </a:cubicBezTo>
                <a:close/>
                <a:moveTo>
                  <a:pt x="1733096" y="4929022"/>
                </a:moveTo>
                <a:cubicBezTo>
                  <a:pt x="1737588" y="4927305"/>
                  <a:pt x="1742700" y="4927383"/>
                  <a:pt x="1745642" y="4931151"/>
                </a:cubicBezTo>
                <a:cubicBezTo>
                  <a:pt x="1740222" y="4933423"/>
                  <a:pt x="1734954" y="4934869"/>
                  <a:pt x="1729068" y="4940548"/>
                </a:cubicBezTo>
                <a:cubicBezTo>
                  <a:pt x="1727520" y="4938483"/>
                  <a:pt x="1725661" y="4940651"/>
                  <a:pt x="1724267" y="4937657"/>
                </a:cubicBezTo>
                <a:cubicBezTo>
                  <a:pt x="1724732" y="4934249"/>
                  <a:pt x="1728604" y="4930738"/>
                  <a:pt x="1733096" y="4929022"/>
                </a:cubicBezTo>
                <a:close/>
                <a:moveTo>
                  <a:pt x="2115535" y="4928983"/>
                </a:moveTo>
                <a:cubicBezTo>
                  <a:pt x="2120957" y="4929706"/>
                  <a:pt x="2123745" y="4930842"/>
                  <a:pt x="2125293" y="4932701"/>
                </a:cubicBezTo>
                <a:lnTo>
                  <a:pt x="2126223" y="4935591"/>
                </a:lnTo>
                <a:lnTo>
                  <a:pt x="2128856" y="4935488"/>
                </a:lnTo>
                <a:cubicBezTo>
                  <a:pt x="2129165" y="4928777"/>
                  <a:pt x="2140473" y="4929809"/>
                  <a:pt x="2142952" y="4929293"/>
                </a:cubicBezTo>
                <a:cubicBezTo>
                  <a:pt x="2142952" y="4929293"/>
                  <a:pt x="2143571" y="4928880"/>
                  <a:pt x="2144810" y="4929190"/>
                </a:cubicBezTo>
                <a:cubicBezTo>
                  <a:pt x="2146669" y="4928983"/>
                  <a:pt x="2145120" y="4931048"/>
                  <a:pt x="2146205" y="4931358"/>
                </a:cubicBezTo>
                <a:cubicBezTo>
                  <a:pt x="2143106" y="4932390"/>
                  <a:pt x="2140628" y="4934043"/>
                  <a:pt x="2138924" y="4935488"/>
                </a:cubicBezTo>
                <a:lnTo>
                  <a:pt x="2137530" y="4936727"/>
                </a:lnTo>
                <a:lnTo>
                  <a:pt x="2138150" y="4940445"/>
                </a:lnTo>
                <a:cubicBezTo>
                  <a:pt x="2138614" y="4941890"/>
                  <a:pt x="2138924" y="4943542"/>
                  <a:pt x="2138305" y="4946950"/>
                </a:cubicBezTo>
                <a:cubicBezTo>
                  <a:pt x="2137220" y="4953455"/>
                  <a:pt x="2133658" y="4956036"/>
                  <a:pt x="2130095" y="4956862"/>
                </a:cubicBezTo>
                <a:lnTo>
                  <a:pt x="2127307" y="4956966"/>
                </a:lnTo>
                <a:lnTo>
                  <a:pt x="2126532" y="4959547"/>
                </a:lnTo>
                <a:cubicBezTo>
                  <a:pt x="2121266" y="4956656"/>
                  <a:pt x="2120027" y="4961509"/>
                  <a:pt x="2117394" y="4963058"/>
                </a:cubicBezTo>
                <a:cubicBezTo>
                  <a:pt x="2116464" y="4963471"/>
                  <a:pt x="2115380" y="4963677"/>
                  <a:pt x="2113986" y="4963058"/>
                </a:cubicBezTo>
                <a:cubicBezTo>
                  <a:pt x="2112592" y="4960993"/>
                  <a:pt x="2110113" y="4959341"/>
                  <a:pt x="2109339" y="4956552"/>
                </a:cubicBezTo>
                <a:cubicBezTo>
                  <a:pt x="2109184" y="4955623"/>
                  <a:pt x="2109029" y="4954487"/>
                  <a:pt x="2109339" y="4953248"/>
                </a:cubicBezTo>
                <a:lnTo>
                  <a:pt x="2118013" y="4953455"/>
                </a:lnTo>
                <a:lnTo>
                  <a:pt x="2115690" y="4953248"/>
                </a:lnTo>
                <a:cubicBezTo>
                  <a:pt x="2114916" y="4952939"/>
                  <a:pt x="2114606" y="4952422"/>
                  <a:pt x="2114760" y="4951183"/>
                </a:cubicBezTo>
                <a:cubicBezTo>
                  <a:pt x="2114451" y="4949221"/>
                  <a:pt x="2116310" y="4949118"/>
                  <a:pt x="2116619" y="4946640"/>
                </a:cubicBezTo>
                <a:cubicBezTo>
                  <a:pt x="2116619" y="4945607"/>
                  <a:pt x="2116155" y="4944678"/>
                  <a:pt x="2115380" y="4943852"/>
                </a:cubicBezTo>
                <a:lnTo>
                  <a:pt x="2113986" y="4942613"/>
                </a:lnTo>
                <a:lnTo>
                  <a:pt x="2112282" y="4943749"/>
                </a:lnTo>
                <a:cubicBezTo>
                  <a:pt x="2111198" y="4943955"/>
                  <a:pt x="2110268" y="4943749"/>
                  <a:pt x="2110268" y="4943749"/>
                </a:cubicBezTo>
                <a:cubicBezTo>
                  <a:pt x="2110268" y="4943749"/>
                  <a:pt x="2110268" y="4943749"/>
                  <a:pt x="2110733" y="4944472"/>
                </a:cubicBezTo>
                <a:lnTo>
                  <a:pt x="2110113" y="4943749"/>
                </a:lnTo>
                <a:lnTo>
                  <a:pt x="2109959" y="4945297"/>
                </a:lnTo>
                <a:lnTo>
                  <a:pt x="2111043" y="4946124"/>
                </a:lnTo>
                <a:cubicBezTo>
                  <a:pt x="2111817" y="4947156"/>
                  <a:pt x="2112592" y="4948189"/>
                  <a:pt x="2111663" y="4948912"/>
                </a:cubicBezTo>
                <a:cubicBezTo>
                  <a:pt x="2111198" y="4949221"/>
                  <a:pt x="2111043" y="4949635"/>
                  <a:pt x="2110733" y="4949738"/>
                </a:cubicBezTo>
                <a:cubicBezTo>
                  <a:pt x="2110423" y="4949944"/>
                  <a:pt x="2109959" y="4949944"/>
                  <a:pt x="2109184" y="4949324"/>
                </a:cubicBezTo>
                <a:lnTo>
                  <a:pt x="2108100" y="4948705"/>
                </a:lnTo>
                <a:lnTo>
                  <a:pt x="2107790" y="4949221"/>
                </a:lnTo>
                <a:cubicBezTo>
                  <a:pt x="2107016" y="4949944"/>
                  <a:pt x="2105931" y="4950460"/>
                  <a:pt x="2104692" y="4950770"/>
                </a:cubicBezTo>
                <a:cubicBezTo>
                  <a:pt x="2102988" y="4946743"/>
                  <a:pt x="2103143" y="4943955"/>
                  <a:pt x="2104382" y="4941890"/>
                </a:cubicBezTo>
                <a:lnTo>
                  <a:pt x="2108409" y="4937553"/>
                </a:lnTo>
                <a:lnTo>
                  <a:pt x="2109029" y="4935695"/>
                </a:lnTo>
                <a:lnTo>
                  <a:pt x="2108409" y="4932597"/>
                </a:lnTo>
                <a:cubicBezTo>
                  <a:pt x="2110733" y="4933216"/>
                  <a:pt x="2111972" y="4928054"/>
                  <a:pt x="2115535" y="4928983"/>
                </a:cubicBezTo>
                <a:close/>
                <a:moveTo>
                  <a:pt x="1922070" y="4928467"/>
                </a:moveTo>
                <a:cubicBezTo>
                  <a:pt x="1925012" y="4929500"/>
                  <a:pt x="1927181" y="4928054"/>
                  <a:pt x="1931363" y="4930532"/>
                </a:cubicBezTo>
                <a:cubicBezTo>
                  <a:pt x="1929969" y="4938173"/>
                  <a:pt x="1929659" y="4945711"/>
                  <a:pt x="1929349" y="4952939"/>
                </a:cubicBezTo>
                <a:lnTo>
                  <a:pt x="1928265" y="4964400"/>
                </a:lnTo>
                <a:lnTo>
                  <a:pt x="1931673" y="4964400"/>
                </a:lnTo>
                <a:cubicBezTo>
                  <a:pt x="1935855" y="4964916"/>
                  <a:pt x="1939572" y="4966259"/>
                  <a:pt x="1943135" y="4968117"/>
                </a:cubicBezTo>
                <a:lnTo>
                  <a:pt x="1946079" y="4970285"/>
                </a:lnTo>
                <a:lnTo>
                  <a:pt x="1947627" y="4969873"/>
                </a:lnTo>
                <a:lnTo>
                  <a:pt x="1948866" y="4969976"/>
                </a:lnTo>
                <a:lnTo>
                  <a:pt x="1949176" y="4969666"/>
                </a:lnTo>
                <a:cubicBezTo>
                  <a:pt x="1949796" y="4969356"/>
                  <a:pt x="1950260" y="4969150"/>
                  <a:pt x="1950260" y="4969150"/>
                </a:cubicBezTo>
                <a:cubicBezTo>
                  <a:pt x="1951035" y="4969976"/>
                  <a:pt x="1951035" y="4969976"/>
                  <a:pt x="1950105" y="4969976"/>
                </a:cubicBezTo>
                <a:lnTo>
                  <a:pt x="1950105" y="4970079"/>
                </a:lnTo>
                <a:lnTo>
                  <a:pt x="1952584" y="4970389"/>
                </a:lnTo>
                <a:cubicBezTo>
                  <a:pt x="1952274" y="4972557"/>
                  <a:pt x="1951345" y="4974622"/>
                  <a:pt x="1950105" y="4976584"/>
                </a:cubicBezTo>
                <a:lnTo>
                  <a:pt x="1946543" y="4982057"/>
                </a:lnTo>
                <a:lnTo>
                  <a:pt x="1946079" y="4977720"/>
                </a:lnTo>
                <a:cubicBezTo>
                  <a:pt x="1945303" y="4977720"/>
                  <a:pt x="1944374" y="4978546"/>
                  <a:pt x="1944374" y="4978546"/>
                </a:cubicBezTo>
                <a:lnTo>
                  <a:pt x="1943755" y="4975965"/>
                </a:lnTo>
                <a:lnTo>
                  <a:pt x="1942361" y="4976171"/>
                </a:lnTo>
                <a:lnTo>
                  <a:pt x="1936939" y="4975345"/>
                </a:lnTo>
                <a:lnTo>
                  <a:pt x="1936939" y="4976791"/>
                </a:lnTo>
                <a:lnTo>
                  <a:pt x="1940812" y="4978340"/>
                </a:lnTo>
                <a:lnTo>
                  <a:pt x="1946543" y="4982057"/>
                </a:lnTo>
                <a:lnTo>
                  <a:pt x="1947627" y="4982780"/>
                </a:lnTo>
                <a:cubicBezTo>
                  <a:pt x="1950105" y="4984225"/>
                  <a:pt x="1952584" y="4985774"/>
                  <a:pt x="1955682" y="4987013"/>
                </a:cubicBezTo>
                <a:cubicBezTo>
                  <a:pt x="1953203" y="4998061"/>
                  <a:pt x="1958780" y="5000746"/>
                  <a:pt x="1961723" y="5005806"/>
                </a:cubicBezTo>
                <a:cubicBezTo>
                  <a:pt x="1956922" y="5012414"/>
                  <a:pt x="1956302" y="5022843"/>
                  <a:pt x="1952893" y="5031413"/>
                </a:cubicBezTo>
                <a:cubicBezTo>
                  <a:pt x="1942980" y="5035956"/>
                  <a:pt x="1935855" y="5042565"/>
                  <a:pt x="1925942" y="5047108"/>
                </a:cubicBezTo>
                <a:cubicBezTo>
                  <a:pt x="1923618" y="5045559"/>
                  <a:pt x="1920985" y="5044527"/>
                  <a:pt x="1918043" y="5043701"/>
                </a:cubicBezTo>
                <a:lnTo>
                  <a:pt x="1911381" y="5042255"/>
                </a:lnTo>
                <a:lnTo>
                  <a:pt x="1912466" y="5046076"/>
                </a:lnTo>
                <a:cubicBezTo>
                  <a:pt x="1913240" y="5047521"/>
                  <a:pt x="1913860" y="5049173"/>
                  <a:pt x="1913705" y="5052581"/>
                </a:cubicBezTo>
                <a:cubicBezTo>
                  <a:pt x="1913550" y="5061254"/>
                  <a:pt x="1907974" y="5062803"/>
                  <a:pt x="1903791" y="5062390"/>
                </a:cubicBezTo>
                <a:cubicBezTo>
                  <a:pt x="1903791" y="5062184"/>
                  <a:pt x="1903327" y="5061977"/>
                  <a:pt x="1902862" y="5061771"/>
                </a:cubicBezTo>
                <a:lnTo>
                  <a:pt x="1901158" y="5060945"/>
                </a:lnTo>
                <a:lnTo>
                  <a:pt x="1898525" y="5062080"/>
                </a:lnTo>
                <a:cubicBezTo>
                  <a:pt x="1897750" y="5061977"/>
                  <a:pt x="1896976" y="5061564"/>
                  <a:pt x="1896046" y="5060738"/>
                </a:cubicBezTo>
                <a:cubicBezTo>
                  <a:pt x="1895117" y="5060738"/>
                  <a:pt x="1893878" y="5057331"/>
                  <a:pt x="1894653" y="5056401"/>
                </a:cubicBezTo>
                <a:lnTo>
                  <a:pt x="1895272" y="5055678"/>
                </a:lnTo>
                <a:lnTo>
                  <a:pt x="1893878" y="5050516"/>
                </a:lnTo>
                <a:cubicBezTo>
                  <a:pt x="1894033" y="5049380"/>
                  <a:pt x="1894188" y="5048347"/>
                  <a:pt x="1894343" y="5047315"/>
                </a:cubicBezTo>
                <a:cubicBezTo>
                  <a:pt x="1894033" y="5049070"/>
                  <a:pt x="1893568" y="5051032"/>
                  <a:pt x="1893103" y="5052271"/>
                </a:cubicBezTo>
                <a:lnTo>
                  <a:pt x="1892329" y="5054026"/>
                </a:lnTo>
                <a:lnTo>
                  <a:pt x="1893258" y="5054026"/>
                </a:lnTo>
                <a:lnTo>
                  <a:pt x="1892329" y="5054956"/>
                </a:lnTo>
                <a:lnTo>
                  <a:pt x="1892174" y="5055162"/>
                </a:lnTo>
                <a:cubicBezTo>
                  <a:pt x="1891400" y="5055162"/>
                  <a:pt x="1891245" y="5055988"/>
                  <a:pt x="1892174" y="5055988"/>
                </a:cubicBezTo>
                <a:cubicBezTo>
                  <a:pt x="1891090" y="5057227"/>
                  <a:pt x="1890470" y="5058363"/>
                  <a:pt x="1889696" y="5058879"/>
                </a:cubicBezTo>
                <a:lnTo>
                  <a:pt x="1888921" y="5058776"/>
                </a:lnTo>
                <a:lnTo>
                  <a:pt x="1889076" y="5063629"/>
                </a:lnTo>
                <a:lnTo>
                  <a:pt x="1888767" y="5064972"/>
                </a:lnTo>
                <a:lnTo>
                  <a:pt x="1889231" y="5065384"/>
                </a:lnTo>
                <a:lnTo>
                  <a:pt x="1888612" y="5066107"/>
                </a:lnTo>
                <a:lnTo>
                  <a:pt x="1887837" y="5070444"/>
                </a:lnTo>
                <a:cubicBezTo>
                  <a:pt x="1887063" y="5072303"/>
                  <a:pt x="1885979" y="5073542"/>
                  <a:pt x="1884120" y="5073748"/>
                </a:cubicBezTo>
                <a:lnTo>
                  <a:pt x="1883346" y="5067966"/>
                </a:lnTo>
                <a:lnTo>
                  <a:pt x="1883035" y="5067553"/>
                </a:lnTo>
                <a:lnTo>
                  <a:pt x="1883191" y="5067243"/>
                </a:lnTo>
                <a:lnTo>
                  <a:pt x="1882571" y="5060325"/>
                </a:lnTo>
                <a:lnTo>
                  <a:pt x="1883655" y="5053820"/>
                </a:lnTo>
                <a:lnTo>
                  <a:pt x="1882726" y="5053613"/>
                </a:lnTo>
                <a:cubicBezTo>
                  <a:pt x="1879628" y="5054129"/>
                  <a:pt x="1875135" y="5057021"/>
                  <a:pt x="1870489" y="5052994"/>
                </a:cubicBezTo>
                <a:cubicBezTo>
                  <a:pt x="1872348" y="5051342"/>
                  <a:pt x="1869405" y="5046902"/>
                  <a:pt x="1872193" y="5044320"/>
                </a:cubicBezTo>
                <a:cubicBezTo>
                  <a:pt x="1877924" y="5037918"/>
                  <a:pt x="1880713" y="5037299"/>
                  <a:pt x="1884120" y="5038538"/>
                </a:cubicBezTo>
                <a:lnTo>
                  <a:pt x="1884275" y="5038641"/>
                </a:lnTo>
                <a:lnTo>
                  <a:pt x="1889231" y="5038641"/>
                </a:lnTo>
                <a:lnTo>
                  <a:pt x="1890006" y="5040293"/>
                </a:lnTo>
                <a:cubicBezTo>
                  <a:pt x="1890780" y="5039467"/>
                  <a:pt x="1891865" y="5038538"/>
                  <a:pt x="1892949" y="5039467"/>
                </a:cubicBezTo>
                <a:cubicBezTo>
                  <a:pt x="1894653" y="5041119"/>
                  <a:pt x="1894963" y="5043494"/>
                  <a:pt x="1894807" y="5045869"/>
                </a:cubicBezTo>
                <a:cubicBezTo>
                  <a:pt x="1896046" y="5042358"/>
                  <a:pt x="1898835" y="5039777"/>
                  <a:pt x="1905031" y="5041016"/>
                </a:cubicBezTo>
                <a:cubicBezTo>
                  <a:pt x="1906890" y="5040913"/>
                  <a:pt x="1906270" y="5041326"/>
                  <a:pt x="1907354" y="5041636"/>
                </a:cubicBezTo>
                <a:lnTo>
                  <a:pt x="1908593" y="5041636"/>
                </a:lnTo>
                <a:lnTo>
                  <a:pt x="1900384" y="5038744"/>
                </a:lnTo>
                <a:cubicBezTo>
                  <a:pt x="1897905" y="5037299"/>
                  <a:pt x="1895737" y="5035337"/>
                  <a:pt x="1894498" y="5032343"/>
                </a:cubicBezTo>
                <a:cubicBezTo>
                  <a:pt x="1895737" y="5026870"/>
                  <a:pt x="1895117" y="5023256"/>
                  <a:pt x="1894033" y="5020158"/>
                </a:cubicBezTo>
                <a:lnTo>
                  <a:pt x="1893878" y="5019745"/>
                </a:lnTo>
                <a:lnTo>
                  <a:pt x="1893723" y="5020055"/>
                </a:lnTo>
                <a:cubicBezTo>
                  <a:pt x="1893568" y="5020158"/>
                  <a:pt x="1893568" y="5019952"/>
                  <a:pt x="1893258" y="5019436"/>
                </a:cubicBezTo>
                <a:cubicBezTo>
                  <a:pt x="1893258" y="5019436"/>
                  <a:pt x="1893258" y="5019539"/>
                  <a:pt x="1892484" y="5018610"/>
                </a:cubicBezTo>
                <a:cubicBezTo>
                  <a:pt x="1892484" y="5018610"/>
                  <a:pt x="1892329" y="5018610"/>
                  <a:pt x="1892329" y="5018300"/>
                </a:cubicBezTo>
                <a:lnTo>
                  <a:pt x="1892949" y="5017267"/>
                </a:lnTo>
                <a:lnTo>
                  <a:pt x="1892329" y="5015821"/>
                </a:lnTo>
                <a:cubicBezTo>
                  <a:pt x="1891710" y="5014376"/>
                  <a:pt x="1891245" y="5012931"/>
                  <a:pt x="1890935" y="5011175"/>
                </a:cubicBezTo>
                <a:cubicBezTo>
                  <a:pt x="1892329" y="5007561"/>
                  <a:pt x="1894033" y="5003638"/>
                  <a:pt x="1896046" y="4999817"/>
                </a:cubicBezTo>
                <a:lnTo>
                  <a:pt x="1898215" y="4996513"/>
                </a:lnTo>
                <a:lnTo>
                  <a:pt x="1899765" y="4993518"/>
                </a:lnTo>
                <a:lnTo>
                  <a:pt x="1899919" y="4993209"/>
                </a:lnTo>
                <a:lnTo>
                  <a:pt x="1901003" y="4986084"/>
                </a:lnTo>
                <a:cubicBezTo>
                  <a:pt x="1901778" y="4983812"/>
                  <a:pt x="1903172" y="4981850"/>
                  <a:pt x="1905185" y="4980198"/>
                </a:cubicBezTo>
                <a:cubicBezTo>
                  <a:pt x="1907819" y="4978546"/>
                  <a:pt x="1910297" y="4977927"/>
                  <a:pt x="1912311" y="4978133"/>
                </a:cubicBezTo>
                <a:lnTo>
                  <a:pt x="1914789" y="4979372"/>
                </a:lnTo>
                <a:lnTo>
                  <a:pt x="1924547" y="4975345"/>
                </a:lnTo>
                <a:lnTo>
                  <a:pt x="1924858" y="4975345"/>
                </a:lnTo>
                <a:lnTo>
                  <a:pt x="1926096" y="4974313"/>
                </a:lnTo>
                <a:lnTo>
                  <a:pt x="1925477" y="4972661"/>
                </a:lnTo>
                <a:cubicBezTo>
                  <a:pt x="1922999" y="4969976"/>
                  <a:pt x="1919281" y="4971421"/>
                  <a:pt x="1917887" y="4964710"/>
                </a:cubicBezTo>
                <a:lnTo>
                  <a:pt x="1923308" y="4964607"/>
                </a:lnTo>
                <a:lnTo>
                  <a:pt x="1922844" y="4963367"/>
                </a:lnTo>
                <a:cubicBezTo>
                  <a:pt x="1922070" y="4960683"/>
                  <a:pt x="1921759" y="4957998"/>
                  <a:pt x="1921449" y="4955107"/>
                </a:cubicBezTo>
                <a:lnTo>
                  <a:pt x="1921449" y="4950254"/>
                </a:lnTo>
                <a:lnTo>
                  <a:pt x="1919746" y="4951700"/>
                </a:lnTo>
                <a:cubicBezTo>
                  <a:pt x="1916028" y="4953764"/>
                  <a:pt x="1913240" y="4952525"/>
                  <a:pt x="1912775" y="4953248"/>
                </a:cubicBezTo>
                <a:cubicBezTo>
                  <a:pt x="1909832" y="4950770"/>
                  <a:pt x="1911381" y="4948912"/>
                  <a:pt x="1912466" y="4945297"/>
                </a:cubicBezTo>
                <a:cubicBezTo>
                  <a:pt x="1913550" y="4946124"/>
                  <a:pt x="1915564" y="4943336"/>
                  <a:pt x="1916338" y="4942407"/>
                </a:cubicBezTo>
                <a:cubicBezTo>
                  <a:pt x="1917268" y="4943233"/>
                  <a:pt x="1918507" y="4942923"/>
                  <a:pt x="1919746" y="4942716"/>
                </a:cubicBezTo>
                <a:lnTo>
                  <a:pt x="1921604" y="4942716"/>
                </a:lnTo>
                <a:close/>
                <a:moveTo>
                  <a:pt x="824009" y="4927950"/>
                </a:moveTo>
                <a:cubicBezTo>
                  <a:pt x="825094" y="4926195"/>
                  <a:pt x="827108" y="4929706"/>
                  <a:pt x="828191" y="4927950"/>
                </a:cubicBezTo>
                <a:cubicBezTo>
                  <a:pt x="831135" y="4931565"/>
                  <a:pt x="835781" y="4927228"/>
                  <a:pt x="841048" y="4931668"/>
                </a:cubicBezTo>
                <a:cubicBezTo>
                  <a:pt x="838880" y="4932390"/>
                  <a:pt x="837021" y="4932597"/>
                  <a:pt x="835162" y="4932597"/>
                </a:cubicBezTo>
                <a:cubicBezTo>
                  <a:pt x="829896" y="4932701"/>
                  <a:pt x="825868" y="4931048"/>
                  <a:pt x="821996" y="4932287"/>
                </a:cubicBezTo>
                <a:cubicBezTo>
                  <a:pt x="821996" y="4932287"/>
                  <a:pt x="821996" y="4932287"/>
                  <a:pt x="820446" y="4930532"/>
                </a:cubicBezTo>
                <a:cubicBezTo>
                  <a:pt x="819672" y="4930429"/>
                  <a:pt x="819672" y="4930532"/>
                  <a:pt x="819672" y="4930532"/>
                </a:cubicBezTo>
                <a:cubicBezTo>
                  <a:pt x="819208" y="4930532"/>
                  <a:pt x="819053" y="4930016"/>
                  <a:pt x="819053" y="4929603"/>
                </a:cubicBezTo>
                <a:cubicBezTo>
                  <a:pt x="818898" y="4929190"/>
                  <a:pt x="819053" y="4928777"/>
                  <a:pt x="819053" y="4928777"/>
                </a:cubicBezTo>
                <a:cubicBezTo>
                  <a:pt x="819982" y="4927021"/>
                  <a:pt x="822460" y="4927847"/>
                  <a:pt x="824009" y="4927950"/>
                </a:cubicBezTo>
                <a:close/>
                <a:moveTo>
                  <a:pt x="2214978" y="4927538"/>
                </a:moveTo>
                <a:cubicBezTo>
                  <a:pt x="2217766" y="4929293"/>
                  <a:pt x="2220090" y="4932494"/>
                  <a:pt x="2219935" y="4935385"/>
                </a:cubicBezTo>
                <a:cubicBezTo>
                  <a:pt x="2218386" y="4935591"/>
                  <a:pt x="2216837" y="4935591"/>
                  <a:pt x="2215443" y="4935488"/>
                </a:cubicBezTo>
                <a:cubicBezTo>
                  <a:pt x="2211416" y="4935178"/>
                  <a:pt x="2208473" y="4933320"/>
                  <a:pt x="2206923" y="4927950"/>
                </a:cubicBezTo>
                <a:cubicBezTo>
                  <a:pt x="2208938" y="4925266"/>
                  <a:pt x="2212190" y="4925679"/>
                  <a:pt x="2214978" y="4927538"/>
                </a:cubicBezTo>
                <a:close/>
                <a:moveTo>
                  <a:pt x="2182295" y="4927228"/>
                </a:moveTo>
                <a:cubicBezTo>
                  <a:pt x="2183224" y="4928157"/>
                  <a:pt x="2184154" y="4928983"/>
                  <a:pt x="2184154" y="4930739"/>
                </a:cubicBezTo>
                <a:cubicBezTo>
                  <a:pt x="2182605" y="4932390"/>
                  <a:pt x="2179972" y="4931358"/>
                  <a:pt x="2179197" y="4932184"/>
                </a:cubicBezTo>
                <a:cubicBezTo>
                  <a:pt x="2179197" y="4931358"/>
                  <a:pt x="2179197" y="4929603"/>
                  <a:pt x="2177494" y="4928673"/>
                </a:cubicBezTo>
                <a:cubicBezTo>
                  <a:pt x="2179042" y="4927021"/>
                  <a:pt x="2180591" y="4925369"/>
                  <a:pt x="2182295" y="4927228"/>
                </a:cubicBezTo>
                <a:close/>
                <a:moveTo>
                  <a:pt x="1566582" y="4926918"/>
                </a:moveTo>
                <a:cubicBezTo>
                  <a:pt x="1570609" y="4928570"/>
                  <a:pt x="1570764" y="4934146"/>
                  <a:pt x="1567821" y="4935798"/>
                </a:cubicBezTo>
                <a:cubicBezTo>
                  <a:pt x="1561471" y="4934766"/>
                  <a:pt x="1563329" y="4927744"/>
                  <a:pt x="1566582" y="4926918"/>
                </a:cubicBezTo>
                <a:close/>
                <a:moveTo>
                  <a:pt x="1005393" y="4926918"/>
                </a:moveTo>
                <a:cubicBezTo>
                  <a:pt x="1006787" y="4930016"/>
                  <a:pt x="1004928" y="4932701"/>
                  <a:pt x="1002450" y="4933423"/>
                </a:cubicBezTo>
                <a:cubicBezTo>
                  <a:pt x="1001675" y="4933630"/>
                  <a:pt x="1000746" y="4933630"/>
                  <a:pt x="999817" y="4933320"/>
                </a:cubicBezTo>
                <a:cubicBezTo>
                  <a:pt x="995944" y="4927744"/>
                  <a:pt x="1002450" y="4924956"/>
                  <a:pt x="1005393" y="4926918"/>
                </a:cubicBezTo>
                <a:close/>
                <a:moveTo>
                  <a:pt x="1848648" y="4926505"/>
                </a:moveTo>
                <a:cubicBezTo>
                  <a:pt x="1849733" y="4927331"/>
                  <a:pt x="1849733" y="4927331"/>
                  <a:pt x="1849733" y="4928157"/>
                </a:cubicBezTo>
                <a:cubicBezTo>
                  <a:pt x="1850972" y="4929912"/>
                  <a:pt x="1851901" y="4930739"/>
                  <a:pt x="1851281" y="4932494"/>
                </a:cubicBezTo>
                <a:cubicBezTo>
                  <a:pt x="1850662" y="4933836"/>
                  <a:pt x="1849733" y="4934352"/>
                  <a:pt x="1848803" y="4934249"/>
                </a:cubicBezTo>
                <a:cubicBezTo>
                  <a:pt x="1847874" y="4934249"/>
                  <a:pt x="1846635" y="4933630"/>
                  <a:pt x="1845241" y="4932907"/>
                </a:cubicBezTo>
                <a:cubicBezTo>
                  <a:pt x="1842453" y="4931255"/>
                  <a:pt x="1842917" y="4928570"/>
                  <a:pt x="1841058" y="4926918"/>
                </a:cubicBezTo>
                <a:cubicBezTo>
                  <a:pt x="1842607" y="4925989"/>
                  <a:pt x="1844931" y="4924027"/>
                  <a:pt x="1848648" y="4926505"/>
                </a:cubicBezTo>
                <a:close/>
                <a:moveTo>
                  <a:pt x="1537462" y="4925885"/>
                </a:moveTo>
                <a:cubicBezTo>
                  <a:pt x="1539320" y="4926815"/>
                  <a:pt x="1540095" y="4927641"/>
                  <a:pt x="1541799" y="4928673"/>
                </a:cubicBezTo>
                <a:lnTo>
                  <a:pt x="1542418" y="4931048"/>
                </a:lnTo>
                <a:lnTo>
                  <a:pt x="1547220" y="4932907"/>
                </a:lnTo>
                <a:cubicBezTo>
                  <a:pt x="1548150" y="4933733"/>
                  <a:pt x="1550318" y="4937037"/>
                  <a:pt x="1549543" y="4937967"/>
                </a:cubicBezTo>
                <a:cubicBezTo>
                  <a:pt x="1548924" y="4938896"/>
                  <a:pt x="1548150" y="4938999"/>
                  <a:pt x="1547220" y="4938999"/>
                </a:cubicBezTo>
                <a:lnTo>
                  <a:pt x="1542418" y="4936831"/>
                </a:lnTo>
                <a:lnTo>
                  <a:pt x="1541489" y="4938999"/>
                </a:lnTo>
                <a:cubicBezTo>
                  <a:pt x="1540405" y="4940238"/>
                  <a:pt x="1539475" y="4940961"/>
                  <a:pt x="1538391" y="4941168"/>
                </a:cubicBezTo>
                <a:lnTo>
                  <a:pt x="1537152" y="4941168"/>
                </a:lnTo>
                <a:lnTo>
                  <a:pt x="1537462" y="4942200"/>
                </a:lnTo>
                <a:lnTo>
                  <a:pt x="1534828" y="4943542"/>
                </a:lnTo>
                <a:lnTo>
                  <a:pt x="1533899" y="4945091"/>
                </a:lnTo>
                <a:cubicBezTo>
                  <a:pt x="1532505" y="4945401"/>
                  <a:pt x="1531730" y="4945711"/>
                  <a:pt x="1531111" y="4945504"/>
                </a:cubicBezTo>
                <a:cubicBezTo>
                  <a:pt x="1530491" y="4945297"/>
                  <a:pt x="1530182" y="4944678"/>
                  <a:pt x="1529717" y="4943336"/>
                </a:cubicBezTo>
                <a:lnTo>
                  <a:pt x="1529717" y="4942923"/>
                </a:lnTo>
                <a:lnTo>
                  <a:pt x="1528168" y="4943542"/>
                </a:lnTo>
                <a:cubicBezTo>
                  <a:pt x="1528168" y="4942716"/>
                  <a:pt x="1528168" y="4941787"/>
                  <a:pt x="1527239" y="4941787"/>
                </a:cubicBezTo>
                <a:lnTo>
                  <a:pt x="1528943" y="4940445"/>
                </a:lnTo>
                <a:lnTo>
                  <a:pt x="1528788" y="4939722"/>
                </a:lnTo>
                <a:lnTo>
                  <a:pt x="1528943" y="4936934"/>
                </a:lnTo>
                <a:lnTo>
                  <a:pt x="1528633" y="4936727"/>
                </a:lnTo>
                <a:cubicBezTo>
                  <a:pt x="1528633" y="4936727"/>
                  <a:pt x="1525225" y="4932184"/>
                  <a:pt x="1528323" y="4928054"/>
                </a:cubicBezTo>
                <a:cubicBezTo>
                  <a:pt x="1529252" y="4928983"/>
                  <a:pt x="1534054" y="4923923"/>
                  <a:pt x="1537462" y="4925885"/>
                </a:cubicBezTo>
                <a:close/>
                <a:moveTo>
                  <a:pt x="1187396" y="4925266"/>
                </a:moveTo>
                <a:cubicBezTo>
                  <a:pt x="1189255" y="4924749"/>
                  <a:pt x="1191578" y="4925369"/>
                  <a:pt x="1194212" y="4927641"/>
                </a:cubicBezTo>
                <a:cubicBezTo>
                  <a:pt x="1191733" y="4932804"/>
                  <a:pt x="1193902" y="4936831"/>
                  <a:pt x="1189565" y="4939825"/>
                </a:cubicBezTo>
                <a:cubicBezTo>
                  <a:pt x="1181045" y="4937347"/>
                  <a:pt x="1181975" y="4926711"/>
                  <a:pt x="1187396" y="4925266"/>
                </a:cubicBezTo>
                <a:close/>
                <a:moveTo>
                  <a:pt x="1610263" y="4924749"/>
                </a:moveTo>
                <a:cubicBezTo>
                  <a:pt x="1610418" y="4925576"/>
                  <a:pt x="1609643" y="4928157"/>
                  <a:pt x="1610573" y="4928260"/>
                </a:cubicBezTo>
                <a:cubicBezTo>
                  <a:pt x="1608714" y="4930119"/>
                  <a:pt x="1606391" y="4931978"/>
                  <a:pt x="1604377" y="4931978"/>
                </a:cubicBezTo>
                <a:cubicBezTo>
                  <a:pt x="1603602" y="4931978"/>
                  <a:pt x="1602828" y="4931771"/>
                  <a:pt x="1602208" y="4931358"/>
                </a:cubicBezTo>
                <a:cubicBezTo>
                  <a:pt x="1600505" y="4930429"/>
                  <a:pt x="1601280" y="4928673"/>
                  <a:pt x="1602828" y="4927021"/>
                </a:cubicBezTo>
                <a:cubicBezTo>
                  <a:pt x="1605152" y="4922788"/>
                  <a:pt x="1607630" y="4921962"/>
                  <a:pt x="1610263" y="4924749"/>
                </a:cubicBezTo>
                <a:close/>
                <a:moveTo>
                  <a:pt x="2072319" y="4924543"/>
                </a:moveTo>
                <a:cubicBezTo>
                  <a:pt x="2079134" y="4927434"/>
                  <a:pt x="2082542" y="4927641"/>
                  <a:pt x="2087808" y="4930532"/>
                </a:cubicBezTo>
                <a:cubicBezTo>
                  <a:pt x="2087808" y="4931461"/>
                  <a:pt x="2086879" y="4931358"/>
                  <a:pt x="2087034" y="4932184"/>
                </a:cubicBezTo>
                <a:cubicBezTo>
                  <a:pt x="2086569" y="4932701"/>
                  <a:pt x="2085795" y="4932804"/>
                  <a:pt x="2084710" y="4932701"/>
                </a:cubicBezTo>
                <a:cubicBezTo>
                  <a:pt x="2081612" y="4932597"/>
                  <a:pt x="2076811" y="4930739"/>
                  <a:pt x="2076656" y="4930016"/>
                </a:cubicBezTo>
                <a:lnTo>
                  <a:pt x="2075726" y="4929500"/>
                </a:lnTo>
                <a:lnTo>
                  <a:pt x="2080838" y="4934146"/>
                </a:lnTo>
                <a:cubicBezTo>
                  <a:pt x="2084246" y="4938689"/>
                  <a:pt x="2086569" y="4944678"/>
                  <a:pt x="2086879" y="4947776"/>
                </a:cubicBezTo>
                <a:cubicBezTo>
                  <a:pt x="2080838" y="4943749"/>
                  <a:pt x="2071234" y="4936624"/>
                  <a:pt x="2069066" y="4929293"/>
                </a:cubicBezTo>
                <a:cubicBezTo>
                  <a:pt x="2070150" y="4928673"/>
                  <a:pt x="2071080" y="4928364"/>
                  <a:pt x="2072164" y="4928260"/>
                </a:cubicBezTo>
                <a:lnTo>
                  <a:pt x="2074797" y="4928983"/>
                </a:lnTo>
                <a:lnTo>
                  <a:pt x="2073248" y="4928157"/>
                </a:lnTo>
                <a:cubicBezTo>
                  <a:pt x="2072474" y="4927228"/>
                  <a:pt x="2071544" y="4926195"/>
                  <a:pt x="2072319" y="4924543"/>
                </a:cubicBezTo>
                <a:close/>
                <a:moveTo>
                  <a:pt x="1413525" y="4924427"/>
                </a:moveTo>
                <a:cubicBezTo>
                  <a:pt x="1416178" y="4925317"/>
                  <a:pt x="1418502" y="4927176"/>
                  <a:pt x="1418811" y="4929293"/>
                </a:cubicBezTo>
                <a:cubicBezTo>
                  <a:pt x="1417882" y="4931668"/>
                  <a:pt x="1416953" y="4934043"/>
                  <a:pt x="1416023" y="4936314"/>
                </a:cubicBezTo>
                <a:cubicBezTo>
                  <a:pt x="1414164" y="4937760"/>
                  <a:pt x="1412306" y="4938379"/>
                  <a:pt x="1410447" y="4938173"/>
                </a:cubicBezTo>
                <a:cubicBezTo>
                  <a:pt x="1408743" y="4937967"/>
                  <a:pt x="1407039" y="4937140"/>
                  <a:pt x="1405955" y="4935695"/>
                </a:cubicBezTo>
                <a:cubicBezTo>
                  <a:pt x="1405180" y="4934662"/>
                  <a:pt x="1404716" y="4933423"/>
                  <a:pt x="1404560" y="4932081"/>
                </a:cubicBezTo>
                <a:lnTo>
                  <a:pt x="1404716" y="4931874"/>
                </a:lnTo>
                <a:lnTo>
                  <a:pt x="1403477" y="4932701"/>
                </a:lnTo>
                <a:cubicBezTo>
                  <a:pt x="1402857" y="4933010"/>
                  <a:pt x="1402237" y="4933113"/>
                  <a:pt x="1401773" y="4932701"/>
                </a:cubicBezTo>
                <a:cubicBezTo>
                  <a:pt x="1401618" y="4931771"/>
                  <a:pt x="1400844" y="4931771"/>
                  <a:pt x="1400688" y="4930945"/>
                </a:cubicBezTo>
                <a:cubicBezTo>
                  <a:pt x="1399604" y="4929190"/>
                  <a:pt x="1399449" y="4928364"/>
                  <a:pt x="1400224" y="4927434"/>
                </a:cubicBezTo>
                <a:cubicBezTo>
                  <a:pt x="1400069" y="4926608"/>
                  <a:pt x="1400998" y="4926505"/>
                  <a:pt x="1401618" y="4925576"/>
                </a:cubicBezTo>
                <a:cubicBezTo>
                  <a:pt x="1402547" y="4925576"/>
                  <a:pt x="1403322" y="4926402"/>
                  <a:pt x="1403322" y="4926402"/>
                </a:cubicBezTo>
                <a:cubicBezTo>
                  <a:pt x="1404406" y="4927228"/>
                  <a:pt x="1404406" y="4927228"/>
                  <a:pt x="1405025" y="4926299"/>
                </a:cubicBezTo>
                <a:cubicBezTo>
                  <a:pt x="1405025" y="4926299"/>
                  <a:pt x="1405180" y="4927124"/>
                  <a:pt x="1405180" y="4927124"/>
                </a:cubicBezTo>
                <a:cubicBezTo>
                  <a:pt x="1404716" y="4927124"/>
                  <a:pt x="1404716" y="4927124"/>
                  <a:pt x="1405025" y="4927228"/>
                </a:cubicBezTo>
                <a:lnTo>
                  <a:pt x="1405645" y="4927744"/>
                </a:lnTo>
                <a:lnTo>
                  <a:pt x="1406264" y="4925369"/>
                </a:lnTo>
                <a:cubicBezTo>
                  <a:pt x="1407891" y="4923613"/>
                  <a:pt x="1410873" y="4923536"/>
                  <a:pt x="1413525" y="4924427"/>
                </a:cubicBezTo>
                <a:close/>
                <a:moveTo>
                  <a:pt x="1827118" y="4924337"/>
                </a:moveTo>
                <a:cubicBezTo>
                  <a:pt x="1830681" y="4925266"/>
                  <a:pt x="1832849" y="4927021"/>
                  <a:pt x="1832849" y="4930119"/>
                </a:cubicBezTo>
                <a:cubicBezTo>
                  <a:pt x="1832539" y="4932494"/>
                  <a:pt x="1831920" y="4936005"/>
                  <a:pt x="1828977" y="4935901"/>
                </a:cubicBezTo>
                <a:cubicBezTo>
                  <a:pt x="1828512" y="4935178"/>
                  <a:pt x="1827737" y="4935591"/>
                  <a:pt x="1827273" y="4934869"/>
                </a:cubicBezTo>
                <a:cubicBezTo>
                  <a:pt x="1827273" y="4934869"/>
                  <a:pt x="1826498" y="4934352"/>
                  <a:pt x="1825724" y="4933320"/>
                </a:cubicBezTo>
                <a:cubicBezTo>
                  <a:pt x="1824794" y="4932287"/>
                  <a:pt x="1824020" y="4930635"/>
                  <a:pt x="1824020" y="4928467"/>
                </a:cubicBezTo>
                <a:cubicBezTo>
                  <a:pt x="1824175" y="4927331"/>
                  <a:pt x="1825259" y="4924543"/>
                  <a:pt x="1825724" y="4925266"/>
                </a:cubicBezTo>
                <a:cubicBezTo>
                  <a:pt x="1826963" y="4925576"/>
                  <a:pt x="1826498" y="4924853"/>
                  <a:pt x="1827118" y="4924337"/>
                </a:cubicBezTo>
                <a:close/>
                <a:moveTo>
                  <a:pt x="973484" y="4923511"/>
                </a:moveTo>
                <a:cubicBezTo>
                  <a:pt x="975188" y="4922684"/>
                  <a:pt x="977512" y="4925369"/>
                  <a:pt x="979061" y="4926195"/>
                </a:cubicBezTo>
                <a:cubicBezTo>
                  <a:pt x="978131" y="4927124"/>
                  <a:pt x="977202" y="4927950"/>
                  <a:pt x="977976" y="4927950"/>
                </a:cubicBezTo>
                <a:cubicBezTo>
                  <a:pt x="977047" y="4928880"/>
                  <a:pt x="976272" y="4929190"/>
                  <a:pt x="975498" y="4929293"/>
                </a:cubicBezTo>
                <a:cubicBezTo>
                  <a:pt x="974569" y="4929396"/>
                  <a:pt x="973794" y="4929190"/>
                  <a:pt x="973019" y="4928777"/>
                </a:cubicBezTo>
                <a:cubicBezTo>
                  <a:pt x="972245" y="4927847"/>
                  <a:pt x="972400" y="4926092"/>
                  <a:pt x="973484" y="4923511"/>
                </a:cubicBezTo>
                <a:close/>
                <a:moveTo>
                  <a:pt x="2172537" y="4922788"/>
                </a:moveTo>
                <a:cubicBezTo>
                  <a:pt x="2172537" y="4922788"/>
                  <a:pt x="2177029" y="4924027"/>
                  <a:pt x="2177184" y="4927124"/>
                </a:cubicBezTo>
                <a:cubicBezTo>
                  <a:pt x="2177803" y="4927847"/>
                  <a:pt x="2175015" y="4929603"/>
                  <a:pt x="2173931" y="4929293"/>
                </a:cubicBezTo>
                <a:cubicBezTo>
                  <a:pt x="2171607" y="4928673"/>
                  <a:pt x="2170368" y="4928364"/>
                  <a:pt x="2169439" y="4926918"/>
                </a:cubicBezTo>
                <a:cubicBezTo>
                  <a:pt x="2168199" y="4926608"/>
                  <a:pt x="2167115" y="4926299"/>
                  <a:pt x="2166341" y="4925782"/>
                </a:cubicBezTo>
                <a:cubicBezTo>
                  <a:pt x="2165411" y="4925266"/>
                  <a:pt x="2164947" y="4924543"/>
                  <a:pt x="2165102" y="4923304"/>
                </a:cubicBezTo>
                <a:cubicBezTo>
                  <a:pt x="2167735" y="4922788"/>
                  <a:pt x="2169439" y="4922581"/>
                  <a:pt x="2172537" y="4922788"/>
                </a:cubicBezTo>
                <a:close/>
                <a:moveTo>
                  <a:pt x="1586718" y="4921755"/>
                </a:moveTo>
                <a:cubicBezTo>
                  <a:pt x="1586409" y="4922168"/>
                  <a:pt x="1586254" y="4922478"/>
                  <a:pt x="1586099" y="4922478"/>
                </a:cubicBezTo>
                <a:cubicBezTo>
                  <a:pt x="1585790" y="4922478"/>
                  <a:pt x="1585635" y="4922272"/>
                  <a:pt x="1585170" y="4921858"/>
                </a:cubicBezTo>
                <a:cubicBezTo>
                  <a:pt x="1585790" y="4920826"/>
                  <a:pt x="1585944" y="4921755"/>
                  <a:pt x="1586718" y="4921755"/>
                </a:cubicBezTo>
                <a:close/>
                <a:moveTo>
                  <a:pt x="1619402" y="4921549"/>
                </a:moveTo>
                <a:cubicBezTo>
                  <a:pt x="1619402" y="4922478"/>
                  <a:pt x="1620332" y="4924337"/>
                  <a:pt x="1619402" y="4924337"/>
                </a:cubicBezTo>
                <a:cubicBezTo>
                  <a:pt x="1619557" y="4925163"/>
                  <a:pt x="1617853" y="4925163"/>
                  <a:pt x="1617853" y="4925163"/>
                </a:cubicBezTo>
                <a:cubicBezTo>
                  <a:pt x="1618008" y="4925989"/>
                  <a:pt x="1618008" y="4926918"/>
                  <a:pt x="1617233" y="4927744"/>
                </a:cubicBezTo>
                <a:cubicBezTo>
                  <a:pt x="1616304" y="4926815"/>
                  <a:pt x="1616459" y="4927744"/>
                  <a:pt x="1615530" y="4927744"/>
                </a:cubicBezTo>
                <a:cubicBezTo>
                  <a:pt x="1616304" y="4926815"/>
                  <a:pt x="1616304" y="4924130"/>
                  <a:pt x="1617079" y="4922375"/>
                </a:cubicBezTo>
                <a:cubicBezTo>
                  <a:pt x="1617853" y="4922375"/>
                  <a:pt x="1618627" y="4921549"/>
                  <a:pt x="1619402" y="4921549"/>
                </a:cubicBezTo>
                <a:close/>
                <a:moveTo>
                  <a:pt x="1482319" y="4920723"/>
                </a:moveTo>
                <a:cubicBezTo>
                  <a:pt x="1486966" y="4923923"/>
                  <a:pt x="1483713" y="4927744"/>
                  <a:pt x="1483868" y="4933423"/>
                </a:cubicBezTo>
                <a:cubicBezTo>
                  <a:pt x="1479375" y="4932701"/>
                  <a:pt x="1477052" y="4925782"/>
                  <a:pt x="1479066" y="4922478"/>
                </a:cubicBezTo>
                <a:cubicBezTo>
                  <a:pt x="1479685" y="4921445"/>
                  <a:pt x="1480770" y="4920619"/>
                  <a:pt x="1482319" y="4920723"/>
                </a:cubicBezTo>
                <a:close/>
                <a:moveTo>
                  <a:pt x="1803961" y="4920684"/>
                </a:moveTo>
                <a:cubicBezTo>
                  <a:pt x="1806749" y="4920593"/>
                  <a:pt x="1809072" y="4921342"/>
                  <a:pt x="1809924" y="4920929"/>
                </a:cubicBezTo>
                <a:cubicBezTo>
                  <a:pt x="1811783" y="4922994"/>
                  <a:pt x="1812402" y="4923511"/>
                  <a:pt x="1810854" y="4925679"/>
                </a:cubicBezTo>
                <a:lnTo>
                  <a:pt x="1809150" y="4927847"/>
                </a:lnTo>
                <a:lnTo>
                  <a:pt x="1810389" y="4929809"/>
                </a:lnTo>
                <a:cubicBezTo>
                  <a:pt x="1809614" y="4930635"/>
                  <a:pt x="1808840" y="4931358"/>
                  <a:pt x="1808066" y="4932184"/>
                </a:cubicBezTo>
                <a:lnTo>
                  <a:pt x="1804503" y="4930222"/>
                </a:lnTo>
                <a:lnTo>
                  <a:pt x="1802025" y="4930016"/>
                </a:lnTo>
                <a:cubicBezTo>
                  <a:pt x="1800476" y="4930842"/>
                  <a:pt x="1797997" y="4930739"/>
                  <a:pt x="1796293" y="4929809"/>
                </a:cubicBezTo>
                <a:cubicBezTo>
                  <a:pt x="1794589" y="4927950"/>
                  <a:pt x="1794435" y="4926299"/>
                  <a:pt x="1795209" y="4925473"/>
                </a:cubicBezTo>
                <a:cubicBezTo>
                  <a:pt x="1797920" y="4921704"/>
                  <a:pt x="1801173" y="4920774"/>
                  <a:pt x="1803961" y="4920684"/>
                </a:cubicBezTo>
                <a:close/>
                <a:moveTo>
                  <a:pt x="1092445" y="4920413"/>
                </a:moveTo>
                <a:cubicBezTo>
                  <a:pt x="1091825" y="4921239"/>
                  <a:pt x="1091671" y="4921239"/>
                  <a:pt x="1092599" y="4921962"/>
                </a:cubicBezTo>
                <a:cubicBezTo>
                  <a:pt x="1092599" y="4921962"/>
                  <a:pt x="1092755" y="4922065"/>
                  <a:pt x="1093529" y="4921962"/>
                </a:cubicBezTo>
                <a:cubicBezTo>
                  <a:pt x="1093684" y="4922788"/>
                  <a:pt x="1092755" y="4922788"/>
                  <a:pt x="1092909" y="4923614"/>
                </a:cubicBezTo>
                <a:cubicBezTo>
                  <a:pt x="1092909" y="4923614"/>
                  <a:pt x="1092135" y="4923614"/>
                  <a:pt x="1092135" y="4923614"/>
                </a:cubicBezTo>
                <a:cubicBezTo>
                  <a:pt x="1092135" y="4924027"/>
                  <a:pt x="1092135" y="4924130"/>
                  <a:pt x="1091980" y="4923923"/>
                </a:cubicBezTo>
                <a:cubicBezTo>
                  <a:pt x="1091671" y="4923717"/>
                  <a:pt x="1091206" y="4923304"/>
                  <a:pt x="1090431" y="4922994"/>
                </a:cubicBezTo>
                <a:cubicBezTo>
                  <a:pt x="1089502" y="4922168"/>
                  <a:pt x="1088727" y="4922272"/>
                  <a:pt x="1089347" y="4921445"/>
                </a:cubicBezTo>
                <a:cubicBezTo>
                  <a:pt x="1090121" y="4920516"/>
                  <a:pt x="1090121" y="4920516"/>
                  <a:pt x="1092445" y="4920413"/>
                </a:cubicBezTo>
                <a:close/>
                <a:moveTo>
                  <a:pt x="1311313" y="4920206"/>
                </a:moveTo>
                <a:cubicBezTo>
                  <a:pt x="1315185" y="4917418"/>
                  <a:pt x="1320607" y="4921445"/>
                  <a:pt x="1319988" y="4925782"/>
                </a:cubicBezTo>
                <a:cubicBezTo>
                  <a:pt x="1319058" y="4926505"/>
                  <a:pt x="1317974" y="4927950"/>
                  <a:pt x="1316270" y="4928467"/>
                </a:cubicBezTo>
                <a:cubicBezTo>
                  <a:pt x="1312243" y="4926711"/>
                  <a:pt x="1310849" y="4923614"/>
                  <a:pt x="1311313" y="4920206"/>
                </a:cubicBezTo>
                <a:close/>
                <a:moveTo>
                  <a:pt x="1268910" y="4919626"/>
                </a:moveTo>
                <a:cubicBezTo>
                  <a:pt x="1270846" y="4919974"/>
                  <a:pt x="1272589" y="4921342"/>
                  <a:pt x="1273983" y="4923304"/>
                </a:cubicBezTo>
                <a:cubicBezTo>
                  <a:pt x="1278785" y="4929706"/>
                  <a:pt x="1280179" y="4942407"/>
                  <a:pt x="1272434" y="4945297"/>
                </a:cubicBezTo>
                <a:cubicBezTo>
                  <a:pt x="1269801" y="4942716"/>
                  <a:pt x="1267322" y="4939722"/>
                  <a:pt x="1265619" y="4935901"/>
                </a:cubicBezTo>
                <a:cubicBezTo>
                  <a:pt x="1263760" y="4932184"/>
                  <a:pt x="1262676" y="4927641"/>
                  <a:pt x="1262676" y="4922065"/>
                </a:cubicBezTo>
                <a:cubicBezTo>
                  <a:pt x="1264844" y="4919948"/>
                  <a:pt x="1266974" y="4919277"/>
                  <a:pt x="1268910" y="4919626"/>
                </a:cubicBezTo>
                <a:close/>
                <a:moveTo>
                  <a:pt x="2155866" y="4919019"/>
                </a:moveTo>
                <a:cubicBezTo>
                  <a:pt x="2158248" y="4917625"/>
                  <a:pt x="2161152" y="4918348"/>
                  <a:pt x="2162778" y="4921033"/>
                </a:cubicBezTo>
                <a:cubicBezTo>
                  <a:pt x="2163863" y="4922788"/>
                  <a:pt x="2164482" y="4925473"/>
                  <a:pt x="2163863" y="4928983"/>
                </a:cubicBezTo>
                <a:cubicBezTo>
                  <a:pt x="2162469" y="4930842"/>
                  <a:pt x="2159990" y="4931771"/>
                  <a:pt x="2157512" y="4931874"/>
                </a:cubicBezTo>
                <a:cubicBezTo>
                  <a:pt x="2155188" y="4932081"/>
                  <a:pt x="2152865" y="4931255"/>
                  <a:pt x="2152090" y="4929706"/>
                </a:cubicBezTo>
                <a:cubicBezTo>
                  <a:pt x="2151626" y="4923923"/>
                  <a:pt x="2153484" y="4920413"/>
                  <a:pt x="2155866" y="4919019"/>
                </a:cubicBezTo>
                <a:close/>
                <a:moveTo>
                  <a:pt x="2221019" y="4918967"/>
                </a:moveTo>
                <a:cubicBezTo>
                  <a:pt x="2224272" y="4918038"/>
                  <a:pt x="2227989" y="4920000"/>
                  <a:pt x="2230313" y="4923098"/>
                </a:cubicBezTo>
                <a:lnTo>
                  <a:pt x="2231088" y="4924853"/>
                </a:lnTo>
                <a:lnTo>
                  <a:pt x="2231088" y="4924233"/>
                </a:lnTo>
                <a:cubicBezTo>
                  <a:pt x="2234495" y="4926092"/>
                  <a:pt x="2236974" y="4927124"/>
                  <a:pt x="2240381" y="4928983"/>
                </a:cubicBezTo>
                <a:cubicBezTo>
                  <a:pt x="2241311" y="4929912"/>
                  <a:pt x="2243169" y="4933423"/>
                  <a:pt x="2242395" y="4934249"/>
                </a:cubicBezTo>
                <a:cubicBezTo>
                  <a:pt x="2241621" y="4935178"/>
                  <a:pt x="2240691" y="4935075"/>
                  <a:pt x="2239916" y="4935075"/>
                </a:cubicBezTo>
                <a:cubicBezTo>
                  <a:pt x="2238212" y="4934146"/>
                  <a:pt x="2236509" y="4933216"/>
                  <a:pt x="2234805" y="4932184"/>
                </a:cubicBezTo>
                <a:lnTo>
                  <a:pt x="2232636" y="4929706"/>
                </a:lnTo>
                <a:lnTo>
                  <a:pt x="2231862" y="4934559"/>
                </a:lnTo>
                <a:cubicBezTo>
                  <a:pt x="2230623" y="4935178"/>
                  <a:pt x="2228919" y="4935075"/>
                  <a:pt x="2227370" y="4934766"/>
                </a:cubicBezTo>
                <a:cubicBezTo>
                  <a:pt x="2222568" y="4933630"/>
                  <a:pt x="2217147" y="4929086"/>
                  <a:pt x="2215908" y="4925369"/>
                </a:cubicBezTo>
                <a:cubicBezTo>
                  <a:pt x="2216992" y="4921652"/>
                  <a:pt x="2219006" y="4919690"/>
                  <a:pt x="2221019" y="4918967"/>
                </a:cubicBezTo>
                <a:close/>
                <a:moveTo>
                  <a:pt x="1767425" y="4918967"/>
                </a:moveTo>
                <a:cubicBezTo>
                  <a:pt x="1772052" y="4918064"/>
                  <a:pt x="1777551" y="4919329"/>
                  <a:pt x="1777861" y="4922581"/>
                </a:cubicBezTo>
                <a:cubicBezTo>
                  <a:pt x="1778016" y="4925163"/>
                  <a:pt x="1775228" y="4928777"/>
                  <a:pt x="1766708" y="4933630"/>
                </a:cubicBezTo>
                <a:cubicBezTo>
                  <a:pt x="1764540" y="4931668"/>
                  <a:pt x="1763146" y="4929912"/>
                  <a:pt x="1762216" y="4928364"/>
                </a:cubicBezTo>
                <a:cubicBezTo>
                  <a:pt x="1759041" y="4922943"/>
                  <a:pt x="1762797" y="4919871"/>
                  <a:pt x="1767425" y="4918967"/>
                </a:cubicBezTo>
                <a:close/>
                <a:moveTo>
                  <a:pt x="1292261" y="4918038"/>
                </a:moveTo>
                <a:cubicBezTo>
                  <a:pt x="1293810" y="4922581"/>
                  <a:pt x="1291332" y="4923407"/>
                  <a:pt x="1288853" y="4924337"/>
                </a:cubicBezTo>
                <a:cubicBezTo>
                  <a:pt x="1288389" y="4921136"/>
                  <a:pt x="1284671" y="4921858"/>
                  <a:pt x="1286220" y="4918348"/>
                </a:cubicBezTo>
                <a:cubicBezTo>
                  <a:pt x="1287459" y="4917212"/>
                  <a:pt x="1289318" y="4917006"/>
                  <a:pt x="1292261" y="4918038"/>
                </a:cubicBezTo>
                <a:close/>
                <a:moveTo>
                  <a:pt x="774288" y="4917728"/>
                </a:moveTo>
                <a:cubicBezTo>
                  <a:pt x="777850" y="4917728"/>
                  <a:pt x="777386" y="4920929"/>
                  <a:pt x="776766" y="4924027"/>
                </a:cubicBezTo>
                <a:cubicBezTo>
                  <a:pt x="775837" y="4923923"/>
                  <a:pt x="774907" y="4924337"/>
                  <a:pt x="774133" y="4924543"/>
                </a:cubicBezTo>
                <a:cubicBezTo>
                  <a:pt x="773203" y="4924749"/>
                  <a:pt x="772429" y="4924749"/>
                  <a:pt x="771190" y="4923923"/>
                </a:cubicBezTo>
                <a:cubicBezTo>
                  <a:pt x="772119" y="4921549"/>
                  <a:pt x="773358" y="4920000"/>
                  <a:pt x="774288" y="4917728"/>
                </a:cubicBezTo>
                <a:close/>
                <a:moveTo>
                  <a:pt x="2101749" y="4917315"/>
                </a:moveTo>
                <a:cubicBezTo>
                  <a:pt x="2106086" y="4916696"/>
                  <a:pt x="2109184" y="4919587"/>
                  <a:pt x="2109494" y="4923304"/>
                </a:cubicBezTo>
                <a:cubicBezTo>
                  <a:pt x="2109649" y="4924543"/>
                  <a:pt x="2109494" y="4925989"/>
                  <a:pt x="2108874" y="4927331"/>
                </a:cubicBezTo>
                <a:cubicBezTo>
                  <a:pt x="2108100" y="4929190"/>
                  <a:pt x="2106551" y="4930945"/>
                  <a:pt x="2104227" y="4932494"/>
                </a:cubicBezTo>
                <a:cubicBezTo>
                  <a:pt x="2100975" y="4933526"/>
                  <a:pt x="2097102" y="4929500"/>
                  <a:pt x="2096018" y="4925679"/>
                </a:cubicBezTo>
                <a:cubicBezTo>
                  <a:pt x="2095708" y="4924337"/>
                  <a:pt x="2095553" y="4923098"/>
                  <a:pt x="2096018" y="4922065"/>
                </a:cubicBezTo>
                <a:cubicBezTo>
                  <a:pt x="2097877" y="4920413"/>
                  <a:pt x="2099891" y="4918864"/>
                  <a:pt x="2101749" y="4917315"/>
                </a:cubicBezTo>
                <a:close/>
                <a:moveTo>
                  <a:pt x="1699793" y="4917109"/>
                </a:moveTo>
                <a:cubicBezTo>
                  <a:pt x="1702426" y="4920000"/>
                  <a:pt x="1703046" y="4922788"/>
                  <a:pt x="1702426" y="4925266"/>
                </a:cubicBezTo>
                <a:cubicBezTo>
                  <a:pt x="1701652" y="4928983"/>
                  <a:pt x="1697934" y="4931771"/>
                  <a:pt x="1693908" y="4932701"/>
                </a:cubicBezTo>
                <a:cubicBezTo>
                  <a:pt x="1689725" y="4933733"/>
                  <a:pt x="1685233" y="4932804"/>
                  <a:pt x="1682755" y="4928880"/>
                </a:cubicBezTo>
                <a:cubicBezTo>
                  <a:pt x="1683374" y="4920929"/>
                  <a:pt x="1694063" y="4916592"/>
                  <a:pt x="1699793" y="4917109"/>
                </a:cubicBezTo>
                <a:close/>
                <a:moveTo>
                  <a:pt x="1302020" y="4916696"/>
                </a:moveTo>
                <a:cubicBezTo>
                  <a:pt x="1303104" y="4917006"/>
                  <a:pt x="1304343" y="4917315"/>
                  <a:pt x="1304033" y="4918451"/>
                </a:cubicBezTo>
                <a:cubicBezTo>
                  <a:pt x="1303878" y="4919690"/>
                  <a:pt x="1304343" y="4920413"/>
                  <a:pt x="1302484" y="4920516"/>
                </a:cubicBezTo>
                <a:cubicBezTo>
                  <a:pt x="1301864" y="4921033"/>
                  <a:pt x="1300625" y="4920723"/>
                  <a:pt x="1300006" y="4921239"/>
                </a:cubicBezTo>
                <a:cubicBezTo>
                  <a:pt x="1300006" y="4921239"/>
                  <a:pt x="1299541" y="4920723"/>
                  <a:pt x="1298922" y="4920103"/>
                </a:cubicBezTo>
                <a:cubicBezTo>
                  <a:pt x="1298457" y="4919483"/>
                  <a:pt x="1297992" y="4918761"/>
                  <a:pt x="1298147" y="4918141"/>
                </a:cubicBezTo>
                <a:cubicBezTo>
                  <a:pt x="1297837" y="4916283"/>
                  <a:pt x="1301245" y="4917109"/>
                  <a:pt x="1302020" y="4916696"/>
                </a:cubicBezTo>
                <a:close/>
                <a:moveTo>
                  <a:pt x="1241455" y="4915870"/>
                </a:moveTo>
                <a:cubicBezTo>
                  <a:pt x="1244244" y="4918451"/>
                  <a:pt x="1247032" y="4920826"/>
                  <a:pt x="1249355" y="4923923"/>
                </a:cubicBezTo>
                <a:cubicBezTo>
                  <a:pt x="1251678" y="4926918"/>
                  <a:pt x="1253537" y="4930635"/>
                  <a:pt x="1254156" y="4935591"/>
                </a:cubicBezTo>
                <a:cubicBezTo>
                  <a:pt x="1249045" y="4935695"/>
                  <a:pt x="1245947" y="4932494"/>
                  <a:pt x="1244089" y="4928364"/>
                </a:cubicBezTo>
                <a:cubicBezTo>
                  <a:pt x="1242075" y="4924233"/>
                  <a:pt x="1241455" y="4919277"/>
                  <a:pt x="1241455" y="4915870"/>
                </a:cubicBezTo>
                <a:close/>
                <a:moveTo>
                  <a:pt x="2127985" y="4914850"/>
                </a:moveTo>
                <a:cubicBezTo>
                  <a:pt x="2130173" y="4915637"/>
                  <a:pt x="2131566" y="4917986"/>
                  <a:pt x="2129011" y="4921136"/>
                </a:cubicBezTo>
                <a:cubicBezTo>
                  <a:pt x="2125758" y="4920000"/>
                  <a:pt x="2123589" y="4919174"/>
                  <a:pt x="2122195" y="4917935"/>
                </a:cubicBezTo>
                <a:cubicBezTo>
                  <a:pt x="2122815" y="4914837"/>
                  <a:pt x="2125797" y="4914063"/>
                  <a:pt x="2127985" y="4914850"/>
                </a:cubicBezTo>
                <a:close/>
                <a:moveTo>
                  <a:pt x="1613361" y="4914631"/>
                </a:moveTo>
                <a:cubicBezTo>
                  <a:pt x="1614136" y="4913805"/>
                  <a:pt x="1615065" y="4913805"/>
                  <a:pt x="1615839" y="4914734"/>
                </a:cubicBezTo>
                <a:cubicBezTo>
                  <a:pt x="1615839" y="4914734"/>
                  <a:pt x="1615065" y="4916386"/>
                  <a:pt x="1615065" y="4916386"/>
                </a:cubicBezTo>
                <a:cubicBezTo>
                  <a:pt x="1613516" y="4918038"/>
                  <a:pt x="1612587" y="4918967"/>
                  <a:pt x="1611812" y="4920619"/>
                </a:cubicBezTo>
                <a:cubicBezTo>
                  <a:pt x="1610108" y="4919690"/>
                  <a:pt x="1610108" y="4918761"/>
                  <a:pt x="1610883" y="4917935"/>
                </a:cubicBezTo>
                <a:cubicBezTo>
                  <a:pt x="1610883" y="4917935"/>
                  <a:pt x="1611657" y="4917109"/>
                  <a:pt x="1612587" y="4916283"/>
                </a:cubicBezTo>
                <a:cubicBezTo>
                  <a:pt x="1613361" y="4915456"/>
                  <a:pt x="1613361" y="4914631"/>
                  <a:pt x="1613361" y="4914631"/>
                </a:cubicBezTo>
                <a:close/>
                <a:moveTo>
                  <a:pt x="1508651" y="4914527"/>
                </a:moveTo>
                <a:cubicBezTo>
                  <a:pt x="1509735" y="4914837"/>
                  <a:pt x="1510974" y="4915147"/>
                  <a:pt x="1510510" y="4916283"/>
                </a:cubicBezTo>
                <a:cubicBezTo>
                  <a:pt x="1510200" y="4917522"/>
                  <a:pt x="1510510" y="4918245"/>
                  <a:pt x="1508651" y="4918451"/>
                </a:cubicBezTo>
                <a:cubicBezTo>
                  <a:pt x="1507876" y="4918864"/>
                  <a:pt x="1506792" y="4918657"/>
                  <a:pt x="1506173" y="4919071"/>
                </a:cubicBezTo>
                <a:cubicBezTo>
                  <a:pt x="1506173" y="4919071"/>
                  <a:pt x="1505553" y="4918657"/>
                  <a:pt x="1505243" y="4918038"/>
                </a:cubicBezTo>
                <a:cubicBezTo>
                  <a:pt x="1504779" y="4917418"/>
                  <a:pt x="1504314" y="4916696"/>
                  <a:pt x="1504624" y="4916076"/>
                </a:cubicBezTo>
                <a:cubicBezTo>
                  <a:pt x="1504469" y="4914217"/>
                  <a:pt x="1507876" y="4915044"/>
                  <a:pt x="1508651" y="4914527"/>
                </a:cubicBezTo>
                <a:close/>
                <a:moveTo>
                  <a:pt x="1388607" y="4912255"/>
                </a:moveTo>
                <a:cubicBezTo>
                  <a:pt x="1388607" y="4912255"/>
                  <a:pt x="1389226" y="4912772"/>
                  <a:pt x="1389226" y="4912772"/>
                </a:cubicBezTo>
                <a:cubicBezTo>
                  <a:pt x="1388916" y="4913495"/>
                  <a:pt x="1389226" y="4912772"/>
                  <a:pt x="1390465" y="4912462"/>
                </a:cubicBezTo>
                <a:cubicBezTo>
                  <a:pt x="1391549" y="4914011"/>
                  <a:pt x="1392324" y="4914424"/>
                  <a:pt x="1392789" y="4915663"/>
                </a:cubicBezTo>
                <a:lnTo>
                  <a:pt x="1392944" y="4916696"/>
                </a:lnTo>
                <a:lnTo>
                  <a:pt x="1394183" y="4917418"/>
                </a:lnTo>
                <a:cubicBezTo>
                  <a:pt x="1395422" y="4918864"/>
                  <a:pt x="1395887" y="4921239"/>
                  <a:pt x="1394803" y="4924646"/>
                </a:cubicBezTo>
                <a:cubicBezTo>
                  <a:pt x="1392634" y="4924543"/>
                  <a:pt x="1390930" y="4924956"/>
                  <a:pt x="1389381" y="4925369"/>
                </a:cubicBezTo>
                <a:lnTo>
                  <a:pt x="1385354" y="4926195"/>
                </a:lnTo>
                <a:lnTo>
                  <a:pt x="1386128" y="4927950"/>
                </a:lnTo>
                <a:cubicBezTo>
                  <a:pt x="1386592" y="4932081"/>
                  <a:pt x="1383804" y="4937140"/>
                  <a:pt x="1378228" y="4935901"/>
                </a:cubicBezTo>
                <a:cubicBezTo>
                  <a:pt x="1377764" y="4935282"/>
                  <a:pt x="1377454" y="4934352"/>
                  <a:pt x="1377145" y="4933216"/>
                </a:cubicBezTo>
                <a:cubicBezTo>
                  <a:pt x="1376680" y="4930016"/>
                  <a:pt x="1377454" y="4925369"/>
                  <a:pt x="1378538" y="4923511"/>
                </a:cubicBezTo>
                <a:cubicBezTo>
                  <a:pt x="1379932" y="4923098"/>
                  <a:pt x="1381017" y="4922994"/>
                  <a:pt x="1382101" y="4923201"/>
                </a:cubicBezTo>
                <a:lnTo>
                  <a:pt x="1382256" y="4923304"/>
                </a:lnTo>
                <a:lnTo>
                  <a:pt x="1382875" y="4919690"/>
                </a:lnTo>
                <a:cubicBezTo>
                  <a:pt x="1383650" y="4918245"/>
                  <a:pt x="1384889" y="4917109"/>
                  <a:pt x="1386283" y="4916386"/>
                </a:cubicBezTo>
                <a:lnTo>
                  <a:pt x="1386748" y="4916283"/>
                </a:lnTo>
                <a:lnTo>
                  <a:pt x="1386283" y="4914837"/>
                </a:lnTo>
                <a:cubicBezTo>
                  <a:pt x="1386748" y="4914114"/>
                  <a:pt x="1387832" y="4913805"/>
                  <a:pt x="1387832" y="4913805"/>
                </a:cubicBezTo>
                <a:cubicBezTo>
                  <a:pt x="1388916" y="4913495"/>
                  <a:pt x="1388916" y="4913495"/>
                  <a:pt x="1388607" y="4912255"/>
                </a:cubicBezTo>
                <a:close/>
                <a:moveTo>
                  <a:pt x="1355613" y="4912152"/>
                </a:moveTo>
                <a:cubicBezTo>
                  <a:pt x="1357937" y="4917832"/>
                  <a:pt x="1356078" y="4929396"/>
                  <a:pt x="1347869" y="4929190"/>
                </a:cubicBezTo>
                <a:cubicBezTo>
                  <a:pt x="1350192" y="4923717"/>
                  <a:pt x="1351586" y="4916902"/>
                  <a:pt x="1355613" y="4912152"/>
                </a:cubicBezTo>
                <a:close/>
                <a:moveTo>
                  <a:pt x="897585" y="4911636"/>
                </a:moveTo>
                <a:cubicBezTo>
                  <a:pt x="898514" y="4912152"/>
                  <a:pt x="899134" y="4913185"/>
                  <a:pt x="898979" y="4914837"/>
                </a:cubicBezTo>
                <a:cubicBezTo>
                  <a:pt x="898360" y="4919793"/>
                  <a:pt x="894177" y="4920310"/>
                  <a:pt x="889530" y="4920206"/>
                </a:cubicBezTo>
                <a:cubicBezTo>
                  <a:pt x="889221" y="4918348"/>
                  <a:pt x="888136" y="4917109"/>
                  <a:pt x="887826" y="4915250"/>
                </a:cubicBezTo>
                <a:cubicBezTo>
                  <a:pt x="889066" y="4912462"/>
                  <a:pt x="894797" y="4909881"/>
                  <a:pt x="897585" y="4911636"/>
                </a:cubicBezTo>
                <a:close/>
                <a:moveTo>
                  <a:pt x="6170865" y="4911551"/>
                </a:moveTo>
                <a:cubicBezTo>
                  <a:pt x="6172569" y="4912480"/>
                  <a:pt x="6175047" y="4911654"/>
                  <a:pt x="6176596" y="4913409"/>
                </a:cubicBezTo>
                <a:cubicBezTo>
                  <a:pt x="6176596" y="4913409"/>
                  <a:pt x="6177371" y="4914339"/>
                  <a:pt x="6177061" y="4915991"/>
                </a:cubicBezTo>
                <a:cubicBezTo>
                  <a:pt x="6178455" y="4918675"/>
                  <a:pt x="6175822" y="4921257"/>
                  <a:pt x="6175822" y="4921257"/>
                </a:cubicBezTo>
                <a:cubicBezTo>
                  <a:pt x="6175822" y="4921257"/>
                  <a:pt x="6175822" y="4921257"/>
                  <a:pt x="6176596" y="4921257"/>
                </a:cubicBezTo>
                <a:cubicBezTo>
                  <a:pt x="6174893" y="4921257"/>
                  <a:pt x="6173189" y="4922083"/>
                  <a:pt x="6171485" y="4922083"/>
                </a:cubicBezTo>
                <a:cubicBezTo>
                  <a:pt x="6169936" y="4920740"/>
                  <a:pt x="6169006" y="4919605"/>
                  <a:pt x="6168542" y="4918572"/>
                </a:cubicBezTo>
                <a:cubicBezTo>
                  <a:pt x="6166838" y="4915784"/>
                  <a:pt x="6168851" y="4914132"/>
                  <a:pt x="6170865" y="4911551"/>
                </a:cubicBezTo>
                <a:close/>
                <a:moveTo>
                  <a:pt x="1575411" y="4911016"/>
                </a:moveTo>
                <a:cubicBezTo>
                  <a:pt x="1569835" y="4918657"/>
                  <a:pt x="1564569" y="4914011"/>
                  <a:pt x="1561471" y="4918348"/>
                </a:cubicBezTo>
                <a:cubicBezTo>
                  <a:pt x="1560541" y="4916489"/>
                  <a:pt x="1560541" y="4916489"/>
                  <a:pt x="1561316" y="4914734"/>
                </a:cubicBezTo>
                <a:cubicBezTo>
                  <a:pt x="1562090" y="4914837"/>
                  <a:pt x="1562090" y="4913908"/>
                  <a:pt x="1563020" y="4914837"/>
                </a:cubicBezTo>
                <a:cubicBezTo>
                  <a:pt x="1564569" y="4912255"/>
                  <a:pt x="1572004" y="4909984"/>
                  <a:pt x="1575411" y="4911016"/>
                </a:cubicBezTo>
                <a:close/>
                <a:moveTo>
                  <a:pt x="1227824" y="4910810"/>
                </a:moveTo>
                <a:cubicBezTo>
                  <a:pt x="1228908" y="4911533"/>
                  <a:pt x="1229992" y="4912669"/>
                  <a:pt x="1231077" y="4914217"/>
                </a:cubicBezTo>
                <a:cubicBezTo>
                  <a:pt x="1229218" y="4918967"/>
                  <a:pt x="1227669" y="4927744"/>
                  <a:pt x="1220854" y="4928157"/>
                </a:cubicBezTo>
                <a:cubicBezTo>
                  <a:pt x="1219769" y="4928260"/>
                  <a:pt x="1218685" y="4928054"/>
                  <a:pt x="1217446" y="4927744"/>
                </a:cubicBezTo>
                <a:cubicBezTo>
                  <a:pt x="1213419" y="4919174"/>
                  <a:pt x="1220544" y="4905750"/>
                  <a:pt x="1227824" y="4910810"/>
                </a:cubicBezTo>
                <a:close/>
                <a:moveTo>
                  <a:pt x="1857168" y="4910397"/>
                </a:moveTo>
                <a:cubicBezTo>
                  <a:pt x="1859646" y="4908745"/>
                  <a:pt x="1868321" y="4914424"/>
                  <a:pt x="1863518" y="4918657"/>
                </a:cubicBezTo>
                <a:cubicBezTo>
                  <a:pt x="1862899" y="4919277"/>
                  <a:pt x="1861969" y="4919277"/>
                  <a:pt x="1861040" y="4918864"/>
                </a:cubicBezTo>
                <a:cubicBezTo>
                  <a:pt x="1858252" y="4917728"/>
                  <a:pt x="1854844" y="4912978"/>
                  <a:pt x="1857168" y="4910397"/>
                </a:cubicBezTo>
                <a:close/>
                <a:moveTo>
                  <a:pt x="1483248" y="4909571"/>
                </a:moveTo>
                <a:cubicBezTo>
                  <a:pt x="1484952" y="4911430"/>
                  <a:pt x="1486501" y="4913495"/>
                  <a:pt x="1485417" y="4917728"/>
                </a:cubicBezTo>
                <a:cubicBezTo>
                  <a:pt x="1484023" y="4918864"/>
                  <a:pt x="1482784" y="4919587"/>
                  <a:pt x="1481235" y="4919690"/>
                </a:cubicBezTo>
                <a:cubicBezTo>
                  <a:pt x="1479685" y="4919897"/>
                  <a:pt x="1477982" y="4919587"/>
                  <a:pt x="1475813" y="4918761"/>
                </a:cubicBezTo>
                <a:cubicBezTo>
                  <a:pt x="1474264" y="4914837"/>
                  <a:pt x="1477827" y="4907506"/>
                  <a:pt x="1483248" y="4909571"/>
                </a:cubicBezTo>
                <a:close/>
                <a:moveTo>
                  <a:pt x="1260662" y="4908332"/>
                </a:moveTo>
                <a:cubicBezTo>
                  <a:pt x="1262676" y="4906577"/>
                  <a:pt x="1265000" y="4908332"/>
                  <a:pt x="1264844" y="4909261"/>
                </a:cubicBezTo>
                <a:cubicBezTo>
                  <a:pt x="1263915" y="4910087"/>
                  <a:pt x="1262211" y="4910087"/>
                  <a:pt x="1261281" y="4911016"/>
                </a:cubicBezTo>
                <a:cubicBezTo>
                  <a:pt x="1261436" y="4910087"/>
                  <a:pt x="1260662" y="4909158"/>
                  <a:pt x="1260662" y="4908332"/>
                </a:cubicBezTo>
                <a:close/>
                <a:moveTo>
                  <a:pt x="6738715" y="4908246"/>
                </a:moveTo>
                <a:cubicBezTo>
                  <a:pt x="6746460" y="4922186"/>
                  <a:pt x="6746150" y="4930756"/>
                  <a:pt x="6742432" y="4935300"/>
                </a:cubicBezTo>
                <a:cubicBezTo>
                  <a:pt x="6740728" y="4937468"/>
                  <a:pt x="6738250" y="4938810"/>
                  <a:pt x="6735617" y="4939430"/>
                </a:cubicBezTo>
                <a:cubicBezTo>
                  <a:pt x="6733448" y="4939843"/>
                  <a:pt x="6731280" y="4939843"/>
                  <a:pt x="6729111" y="4939533"/>
                </a:cubicBezTo>
                <a:cubicBezTo>
                  <a:pt x="6722605" y="4938604"/>
                  <a:pt x="6716255" y="4934577"/>
                  <a:pt x="6715635" y="4929104"/>
                </a:cubicBezTo>
                <a:cubicBezTo>
                  <a:pt x="6715480" y="4927555"/>
                  <a:pt x="6715635" y="4926007"/>
                  <a:pt x="6716255" y="4924354"/>
                </a:cubicBezTo>
                <a:cubicBezTo>
                  <a:pt x="6718423" y="4919398"/>
                  <a:pt x="6725084" y="4913719"/>
                  <a:pt x="6738715" y="4908246"/>
                </a:cubicBezTo>
                <a:close/>
                <a:moveTo>
                  <a:pt x="1208307" y="4907609"/>
                </a:moveTo>
                <a:cubicBezTo>
                  <a:pt x="1210166" y="4909365"/>
                  <a:pt x="1211870" y="4911223"/>
                  <a:pt x="1213574" y="4912978"/>
                </a:cubicBezTo>
                <a:cubicBezTo>
                  <a:pt x="1214813" y="4917418"/>
                  <a:pt x="1212489" y="4921136"/>
                  <a:pt x="1208927" y="4921962"/>
                </a:cubicBezTo>
                <a:cubicBezTo>
                  <a:pt x="1207687" y="4922168"/>
                  <a:pt x="1206448" y="4922168"/>
                  <a:pt x="1205054" y="4921755"/>
                </a:cubicBezTo>
                <a:cubicBezTo>
                  <a:pt x="1203196" y="4921136"/>
                  <a:pt x="1201337" y="4919793"/>
                  <a:pt x="1199633" y="4917522"/>
                </a:cubicBezTo>
                <a:cubicBezTo>
                  <a:pt x="1197774" y="4913082"/>
                  <a:pt x="1204125" y="4906577"/>
                  <a:pt x="1208307" y="4907609"/>
                </a:cubicBezTo>
                <a:close/>
                <a:moveTo>
                  <a:pt x="1581917" y="4907093"/>
                </a:moveTo>
                <a:cubicBezTo>
                  <a:pt x="1581143" y="4908022"/>
                  <a:pt x="1579439" y="4908848"/>
                  <a:pt x="1578665" y="4909674"/>
                </a:cubicBezTo>
                <a:cubicBezTo>
                  <a:pt x="1578665" y="4909674"/>
                  <a:pt x="1578665" y="4909571"/>
                  <a:pt x="1577735" y="4908642"/>
                </a:cubicBezTo>
                <a:cubicBezTo>
                  <a:pt x="1579439" y="4908745"/>
                  <a:pt x="1580213" y="4905338"/>
                  <a:pt x="1581917" y="4907093"/>
                </a:cubicBezTo>
                <a:close/>
                <a:moveTo>
                  <a:pt x="2094934" y="4906680"/>
                </a:moveTo>
                <a:cubicBezTo>
                  <a:pt x="2095864" y="4906680"/>
                  <a:pt x="2096637" y="4907609"/>
                  <a:pt x="2096637" y="4907609"/>
                </a:cubicBezTo>
                <a:cubicBezTo>
                  <a:pt x="2097567" y="4908539"/>
                  <a:pt x="2097567" y="4908539"/>
                  <a:pt x="2098342" y="4907712"/>
                </a:cubicBezTo>
                <a:cubicBezTo>
                  <a:pt x="2098342" y="4907712"/>
                  <a:pt x="2098342" y="4908539"/>
                  <a:pt x="2098342" y="4908539"/>
                </a:cubicBezTo>
                <a:cubicBezTo>
                  <a:pt x="2097567" y="4908539"/>
                  <a:pt x="2098342" y="4908539"/>
                  <a:pt x="2099271" y="4909468"/>
                </a:cubicBezTo>
                <a:cubicBezTo>
                  <a:pt x="2098497" y="4911223"/>
                  <a:pt x="2098497" y="4912152"/>
                  <a:pt x="2097722" y="4912978"/>
                </a:cubicBezTo>
                <a:cubicBezTo>
                  <a:pt x="2097412" y="4913391"/>
                  <a:pt x="2096792" y="4913701"/>
                  <a:pt x="2096173" y="4913908"/>
                </a:cubicBezTo>
                <a:cubicBezTo>
                  <a:pt x="2095553" y="4914114"/>
                  <a:pt x="2094934" y="4914114"/>
                  <a:pt x="2094469" y="4913701"/>
                </a:cubicBezTo>
                <a:cubicBezTo>
                  <a:pt x="2094469" y="4912772"/>
                  <a:pt x="2093540" y="4912772"/>
                  <a:pt x="2093540" y="4911843"/>
                </a:cubicBezTo>
                <a:cubicBezTo>
                  <a:pt x="2092610" y="4910087"/>
                  <a:pt x="2092610" y="4909158"/>
                  <a:pt x="2093385" y="4908332"/>
                </a:cubicBezTo>
                <a:cubicBezTo>
                  <a:pt x="2093385" y="4907506"/>
                  <a:pt x="2094159" y="4907506"/>
                  <a:pt x="2094934" y="4906680"/>
                </a:cubicBezTo>
                <a:close/>
                <a:moveTo>
                  <a:pt x="1568789" y="4906422"/>
                </a:moveTo>
                <a:cubicBezTo>
                  <a:pt x="1571113" y="4906422"/>
                  <a:pt x="1573011" y="4906732"/>
                  <a:pt x="1573397" y="4906783"/>
                </a:cubicBezTo>
                <a:cubicBezTo>
                  <a:pt x="1573553" y="4907609"/>
                  <a:pt x="1573397" y="4907609"/>
                  <a:pt x="1573397" y="4907609"/>
                </a:cubicBezTo>
                <a:cubicBezTo>
                  <a:pt x="1570919" y="4906886"/>
                  <a:pt x="1567976" y="4908951"/>
                  <a:pt x="1564879" y="4909158"/>
                </a:cubicBezTo>
                <a:lnTo>
                  <a:pt x="1562555" y="4908848"/>
                </a:lnTo>
                <a:lnTo>
                  <a:pt x="1561626" y="4907919"/>
                </a:lnTo>
                <a:cubicBezTo>
                  <a:pt x="1563717" y="4906731"/>
                  <a:pt x="1566466" y="4906422"/>
                  <a:pt x="1568789" y="4906422"/>
                </a:cubicBezTo>
                <a:close/>
                <a:moveTo>
                  <a:pt x="1827273" y="4906267"/>
                </a:moveTo>
                <a:cubicBezTo>
                  <a:pt x="1831765" y="4909158"/>
                  <a:pt x="1831610" y="4916799"/>
                  <a:pt x="1825879" y="4917832"/>
                </a:cubicBezTo>
                <a:cubicBezTo>
                  <a:pt x="1824794" y="4916179"/>
                  <a:pt x="1823246" y="4915250"/>
                  <a:pt x="1822161" y="4913495"/>
                </a:cubicBezTo>
                <a:cubicBezTo>
                  <a:pt x="1823710" y="4910707"/>
                  <a:pt x="1821851" y="4906577"/>
                  <a:pt x="1827273" y="4906267"/>
                </a:cubicBezTo>
                <a:close/>
                <a:moveTo>
                  <a:pt x="1058677" y="4906267"/>
                </a:moveTo>
                <a:cubicBezTo>
                  <a:pt x="1062860" y="4905750"/>
                  <a:pt x="1064254" y="4909778"/>
                  <a:pt x="1067196" y="4912772"/>
                </a:cubicBezTo>
                <a:cubicBezTo>
                  <a:pt x="1066732" y="4913495"/>
                  <a:pt x="1066887" y="4914734"/>
                  <a:pt x="1067507" y="4915147"/>
                </a:cubicBezTo>
                <a:cubicBezTo>
                  <a:pt x="1067816" y="4916386"/>
                  <a:pt x="1067971" y="4917522"/>
                  <a:pt x="1068436" y="4916799"/>
                </a:cubicBezTo>
                <a:cubicBezTo>
                  <a:pt x="1069056" y="4920310"/>
                  <a:pt x="1069830" y="4920826"/>
                  <a:pt x="1067662" y="4922581"/>
                </a:cubicBezTo>
                <a:cubicBezTo>
                  <a:pt x="1062550" y="4918348"/>
                  <a:pt x="1058367" y="4911326"/>
                  <a:pt x="1057438" y="4909674"/>
                </a:cubicBezTo>
                <a:cubicBezTo>
                  <a:pt x="1056973" y="4908848"/>
                  <a:pt x="1056818" y="4908332"/>
                  <a:pt x="1057128" y="4907816"/>
                </a:cubicBezTo>
                <a:cubicBezTo>
                  <a:pt x="1057284" y="4907299"/>
                  <a:pt x="1057903" y="4906783"/>
                  <a:pt x="1058677" y="4906267"/>
                </a:cubicBezTo>
                <a:close/>
                <a:moveTo>
                  <a:pt x="1778325" y="4905957"/>
                </a:moveTo>
                <a:cubicBezTo>
                  <a:pt x="1780029" y="4907816"/>
                  <a:pt x="1781733" y="4906989"/>
                  <a:pt x="1783437" y="4908848"/>
                </a:cubicBezTo>
                <a:cubicBezTo>
                  <a:pt x="1781888" y="4910500"/>
                  <a:pt x="1781114" y="4912152"/>
                  <a:pt x="1780184" y="4912978"/>
                </a:cubicBezTo>
                <a:cubicBezTo>
                  <a:pt x="1776777" y="4911120"/>
                  <a:pt x="1775847" y="4908435"/>
                  <a:pt x="1778325" y="4905957"/>
                </a:cubicBezTo>
                <a:close/>
                <a:moveTo>
                  <a:pt x="1871263" y="4905131"/>
                </a:moveTo>
                <a:cubicBezTo>
                  <a:pt x="1876220" y="4903685"/>
                  <a:pt x="1880867" y="4909158"/>
                  <a:pt x="1877459" y="4914527"/>
                </a:cubicBezTo>
                <a:cubicBezTo>
                  <a:pt x="1875601" y="4914217"/>
                  <a:pt x="1873896" y="4914734"/>
                  <a:pt x="1872193" y="4914321"/>
                </a:cubicBezTo>
                <a:cubicBezTo>
                  <a:pt x="1871883" y="4912772"/>
                  <a:pt x="1870644" y="4911533"/>
                  <a:pt x="1870179" y="4910190"/>
                </a:cubicBezTo>
                <a:cubicBezTo>
                  <a:pt x="1869560" y="4908848"/>
                  <a:pt x="1869405" y="4907403"/>
                  <a:pt x="1871263" y="4905131"/>
                </a:cubicBezTo>
                <a:close/>
                <a:moveTo>
                  <a:pt x="1414164" y="4903685"/>
                </a:moveTo>
                <a:cubicBezTo>
                  <a:pt x="1421754" y="4903685"/>
                  <a:pt x="1433991" y="4904202"/>
                  <a:pt x="1439567" y="4908848"/>
                </a:cubicBezTo>
                <a:cubicBezTo>
                  <a:pt x="1438328" y="4911120"/>
                  <a:pt x="1436315" y="4912152"/>
                  <a:pt x="1433991" y="4912462"/>
                </a:cubicBezTo>
                <a:cubicBezTo>
                  <a:pt x="1427021" y="4913391"/>
                  <a:pt x="1416953" y="4907196"/>
                  <a:pt x="1414164" y="4903685"/>
                </a:cubicBezTo>
                <a:close/>
                <a:moveTo>
                  <a:pt x="2133038" y="4903479"/>
                </a:moveTo>
                <a:cubicBezTo>
                  <a:pt x="2135362" y="4905647"/>
                  <a:pt x="2133503" y="4907919"/>
                  <a:pt x="2132419" y="4911223"/>
                </a:cubicBezTo>
                <a:cubicBezTo>
                  <a:pt x="2131644" y="4910190"/>
                  <a:pt x="2130715" y="4910913"/>
                  <a:pt x="2129941" y="4911636"/>
                </a:cubicBezTo>
                <a:cubicBezTo>
                  <a:pt x="2128701" y="4910190"/>
                  <a:pt x="2126687" y="4908022"/>
                  <a:pt x="2127152" y="4905854"/>
                </a:cubicBezTo>
                <a:cubicBezTo>
                  <a:pt x="2127307" y="4905131"/>
                  <a:pt x="2127772" y="4904408"/>
                  <a:pt x="2128701" y="4903685"/>
                </a:cubicBezTo>
                <a:cubicBezTo>
                  <a:pt x="2128856" y="4902859"/>
                  <a:pt x="2132264" y="4902549"/>
                  <a:pt x="2133038" y="4903479"/>
                </a:cubicBezTo>
                <a:close/>
                <a:moveTo>
                  <a:pt x="986496" y="4902343"/>
                </a:moveTo>
                <a:cubicBezTo>
                  <a:pt x="985721" y="4914837"/>
                  <a:pt x="997958" y="4919897"/>
                  <a:pt x="994860" y="4933630"/>
                </a:cubicBezTo>
                <a:cubicBezTo>
                  <a:pt x="990523" y="4933010"/>
                  <a:pt x="985876" y="4926815"/>
                  <a:pt x="983552" y="4920000"/>
                </a:cubicBezTo>
                <a:cubicBezTo>
                  <a:pt x="981229" y="4913288"/>
                  <a:pt x="981384" y="4905750"/>
                  <a:pt x="986496" y="4902343"/>
                </a:cubicBezTo>
                <a:close/>
                <a:moveTo>
                  <a:pt x="6120834" y="4901948"/>
                </a:moveTo>
                <a:cubicBezTo>
                  <a:pt x="6121453" y="4902877"/>
                  <a:pt x="6122073" y="4904219"/>
                  <a:pt x="6122537" y="4905975"/>
                </a:cubicBezTo>
                <a:cubicBezTo>
                  <a:pt x="6119439" y="4909589"/>
                  <a:pt x="6115412" y="4915784"/>
                  <a:pt x="6110146" y="4916817"/>
                </a:cubicBezTo>
                <a:cubicBezTo>
                  <a:pt x="6108442" y="4917127"/>
                  <a:pt x="6106428" y="4916920"/>
                  <a:pt x="6104414" y="4915681"/>
                </a:cubicBezTo>
                <a:cubicBezTo>
                  <a:pt x="6103950" y="4906491"/>
                  <a:pt x="6115722" y="4895443"/>
                  <a:pt x="6120834" y="4901948"/>
                </a:cubicBezTo>
                <a:close/>
                <a:moveTo>
                  <a:pt x="1160754" y="4901001"/>
                </a:moveTo>
                <a:cubicBezTo>
                  <a:pt x="1162767" y="4902343"/>
                  <a:pt x="1163387" y="4903685"/>
                  <a:pt x="1163542" y="4904924"/>
                </a:cubicBezTo>
                <a:lnTo>
                  <a:pt x="1162458" y="4908229"/>
                </a:lnTo>
                <a:lnTo>
                  <a:pt x="1163077" y="4908125"/>
                </a:lnTo>
                <a:cubicBezTo>
                  <a:pt x="1163232" y="4908125"/>
                  <a:pt x="1163077" y="4908332"/>
                  <a:pt x="1162923" y="4908745"/>
                </a:cubicBezTo>
                <a:cubicBezTo>
                  <a:pt x="1164781" y="4908848"/>
                  <a:pt x="1165401" y="4909365"/>
                  <a:pt x="1166175" y="4909778"/>
                </a:cubicBezTo>
                <a:cubicBezTo>
                  <a:pt x="1166330" y="4911016"/>
                  <a:pt x="1165401" y="4912566"/>
                  <a:pt x="1163697" y="4913701"/>
                </a:cubicBezTo>
                <a:cubicBezTo>
                  <a:pt x="1163542" y="4912462"/>
                  <a:pt x="1161529" y="4912255"/>
                  <a:pt x="1161374" y="4911120"/>
                </a:cubicBezTo>
                <a:cubicBezTo>
                  <a:pt x="1161374" y="4911120"/>
                  <a:pt x="1161529" y="4910294"/>
                  <a:pt x="1161684" y="4909674"/>
                </a:cubicBezTo>
                <a:lnTo>
                  <a:pt x="1162148" y="4908332"/>
                </a:lnTo>
                <a:lnTo>
                  <a:pt x="1160754" y="4907609"/>
                </a:lnTo>
                <a:cubicBezTo>
                  <a:pt x="1159050" y="4907299"/>
                  <a:pt x="1157656" y="4908332"/>
                  <a:pt x="1156727" y="4905441"/>
                </a:cubicBezTo>
                <a:cubicBezTo>
                  <a:pt x="1157037" y="4903685"/>
                  <a:pt x="1158121" y="4902137"/>
                  <a:pt x="1160754" y="4901001"/>
                </a:cubicBezTo>
                <a:close/>
                <a:moveTo>
                  <a:pt x="2142545" y="4900600"/>
                </a:moveTo>
                <a:cubicBezTo>
                  <a:pt x="2145236" y="4901826"/>
                  <a:pt x="2147444" y="4904459"/>
                  <a:pt x="2147598" y="4907196"/>
                </a:cubicBezTo>
                <a:cubicBezTo>
                  <a:pt x="2146049" y="4909365"/>
                  <a:pt x="2143571" y="4910190"/>
                  <a:pt x="2141248" y="4909881"/>
                </a:cubicBezTo>
                <a:cubicBezTo>
                  <a:pt x="2139079" y="4909674"/>
                  <a:pt x="2136755" y="4908435"/>
                  <a:pt x="2135516" y="4906577"/>
                </a:cubicBezTo>
                <a:cubicBezTo>
                  <a:pt x="2134743" y="4905441"/>
                  <a:pt x="2134277" y="4903995"/>
                  <a:pt x="2134587" y="4902446"/>
                </a:cubicBezTo>
                <a:cubicBezTo>
                  <a:pt x="2136678" y="4899555"/>
                  <a:pt x="2139853" y="4899374"/>
                  <a:pt x="2142545" y="4900600"/>
                </a:cubicBezTo>
                <a:close/>
                <a:moveTo>
                  <a:pt x="1790601" y="4900549"/>
                </a:moveTo>
                <a:cubicBezTo>
                  <a:pt x="1791647" y="4901078"/>
                  <a:pt x="1792344" y="4902291"/>
                  <a:pt x="1792111" y="4903479"/>
                </a:cubicBezTo>
                <a:cubicBezTo>
                  <a:pt x="1792111" y="4904305"/>
                  <a:pt x="1791492" y="4905028"/>
                  <a:pt x="1790408" y="4905544"/>
                </a:cubicBezTo>
                <a:cubicBezTo>
                  <a:pt x="1789013" y="4904615"/>
                  <a:pt x="1788239" y="4903582"/>
                  <a:pt x="1787000" y="4901723"/>
                </a:cubicBezTo>
                <a:cubicBezTo>
                  <a:pt x="1788162" y="4900175"/>
                  <a:pt x="1789556" y="4900020"/>
                  <a:pt x="1790601" y="4900549"/>
                </a:cubicBezTo>
                <a:close/>
                <a:moveTo>
                  <a:pt x="1735303" y="4899594"/>
                </a:moveTo>
                <a:cubicBezTo>
                  <a:pt x="1739989" y="4899142"/>
                  <a:pt x="1745023" y="4900123"/>
                  <a:pt x="1749670" y="4902756"/>
                </a:cubicBezTo>
                <a:cubicBezTo>
                  <a:pt x="1749515" y="4903995"/>
                  <a:pt x="1749515" y="4905131"/>
                  <a:pt x="1750754" y="4905338"/>
                </a:cubicBezTo>
                <a:cubicBezTo>
                  <a:pt x="1750754" y="4917315"/>
                  <a:pt x="1738827" y="4926195"/>
                  <a:pt x="1727674" y="4925369"/>
                </a:cubicBezTo>
                <a:cubicBezTo>
                  <a:pt x="1725816" y="4925266"/>
                  <a:pt x="1724112" y="4924853"/>
                  <a:pt x="1722253" y="4924130"/>
                </a:cubicBezTo>
                <a:lnTo>
                  <a:pt x="1717606" y="4921445"/>
                </a:lnTo>
                <a:lnTo>
                  <a:pt x="1716987" y="4922478"/>
                </a:lnTo>
                <a:cubicBezTo>
                  <a:pt x="1715128" y="4924440"/>
                  <a:pt x="1712340" y="4923820"/>
                  <a:pt x="1708932" y="4921342"/>
                </a:cubicBezTo>
                <a:cubicBezTo>
                  <a:pt x="1709087" y="4919380"/>
                  <a:pt x="1708622" y="4917728"/>
                  <a:pt x="1708622" y="4915044"/>
                </a:cubicBezTo>
                <a:cubicBezTo>
                  <a:pt x="1709706" y="4914734"/>
                  <a:pt x="1711720" y="4914837"/>
                  <a:pt x="1713734" y="4915560"/>
                </a:cubicBezTo>
                <a:lnTo>
                  <a:pt x="1717606" y="4918761"/>
                </a:lnTo>
                <a:lnTo>
                  <a:pt x="1718536" y="4911946"/>
                </a:lnTo>
                <a:cubicBezTo>
                  <a:pt x="1719620" y="4909158"/>
                  <a:pt x="1721169" y="4906886"/>
                  <a:pt x="1723028" y="4905028"/>
                </a:cubicBezTo>
                <a:cubicBezTo>
                  <a:pt x="1726280" y="4901930"/>
                  <a:pt x="1730617" y="4900046"/>
                  <a:pt x="1735303" y="4899594"/>
                </a:cubicBezTo>
                <a:close/>
                <a:moveTo>
                  <a:pt x="6319565" y="4899573"/>
                </a:moveTo>
                <a:cubicBezTo>
                  <a:pt x="6324058" y="4899160"/>
                  <a:pt x="6324212" y="4901948"/>
                  <a:pt x="6324367" y="4904736"/>
                </a:cubicBezTo>
                <a:cubicBezTo>
                  <a:pt x="6322199" y="4904323"/>
                  <a:pt x="6321424" y="4906491"/>
                  <a:pt x="6320030" y="4906595"/>
                </a:cubicBezTo>
                <a:cubicBezTo>
                  <a:pt x="6319565" y="4906698"/>
                  <a:pt x="6318946" y="4906491"/>
                  <a:pt x="6318326" y="4905872"/>
                </a:cubicBezTo>
                <a:cubicBezTo>
                  <a:pt x="6317707" y="4904219"/>
                  <a:pt x="6317862" y="4902258"/>
                  <a:pt x="6319565" y="4899573"/>
                </a:cubicBezTo>
                <a:close/>
                <a:moveTo>
                  <a:pt x="1675009" y="4898936"/>
                </a:moveTo>
                <a:cubicBezTo>
                  <a:pt x="1678727" y="4896457"/>
                  <a:pt x="1682135" y="4897180"/>
                  <a:pt x="1686008" y="4899762"/>
                </a:cubicBezTo>
                <a:cubicBezTo>
                  <a:pt x="1685853" y="4901414"/>
                  <a:pt x="1683064" y="4903272"/>
                  <a:pt x="1681206" y="4904511"/>
                </a:cubicBezTo>
                <a:cubicBezTo>
                  <a:pt x="1678572" y="4903995"/>
                  <a:pt x="1676404" y="4901827"/>
                  <a:pt x="1675009" y="4898936"/>
                </a:cubicBezTo>
                <a:close/>
                <a:moveTo>
                  <a:pt x="1011279" y="4897903"/>
                </a:moveTo>
                <a:cubicBezTo>
                  <a:pt x="1012364" y="4899555"/>
                  <a:pt x="1011744" y="4901414"/>
                  <a:pt x="1011124" y="4903169"/>
                </a:cubicBezTo>
                <a:cubicBezTo>
                  <a:pt x="1010505" y="4904511"/>
                  <a:pt x="1009730" y="4904924"/>
                  <a:pt x="1008956" y="4904924"/>
                </a:cubicBezTo>
                <a:cubicBezTo>
                  <a:pt x="1008026" y="4904821"/>
                  <a:pt x="1007097" y="4904202"/>
                  <a:pt x="1006168" y="4903376"/>
                </a:cubicBezTo>
                <a:cubicBezTo>
                  <a:pt x="1004154" y="4901723"/>
                  <a:pt x="1004773" y="4900072"/>
                  <a:pt x="1004773" y="4900072"/>
                </a:cubicBezTo>
                <a:cubicBezTo>
                  <a:pt x="1006168" y="4897387"/>
                  <a:pt x="1008491" y="4896354"/>
                  <a:pt x="1011279" y="4897903"/>
                </a:cubicBezTo>
                <a:close/>
                <a:moveTo>
                  <a:pt x="1605771" y="4896974"/>
                </a:moveTo>
                <a:cubicBezTo>
                  <a:pt x="1604532" y="4898832"/>
                  <a:pt x="1602673" y="4902033"/>
                  <a:pt x="1600659" y="4902859"/>
                </a:cubicBezTo>
                <a:cubicBezTo>
                  <a:pt x="1599885" y="4903066"/>
                  <a:pt x="1599265" y="4902963"/>
                  <a:pt x="1598646" y="4902549"/>
                </a:cubicBezTo>
                <a:cubicBezTo>
                  <a:pt x="1597717" y="4901620"/>
                  <a:pt x="1598491" y="4900794"/>
                  <a:pt x="1598491" y="4899968"/>
                </a:cubicBezTo>
                <a:cubicBezTo>
                  <a:pt x="1599265" y="4898316"/>
                  <a:pt x="1604841" y="4896044"/>
                  <a:pt x="1605771" y="4896974"/>
                </a:cubicBezTo>
                <a:close/>
                <a:moveTo>
                  <a:pt x="1232781" y="4896767"/>
                </a:moveTo>
                <a:cubicBezTo>
                  <a:pt x="1236498" y="4901104"/>
                  <a:pt x="1235259" y="4904305"/>
                  <a:pt x="1230612" y="4906783"/>
                </a:cubicBezTo>
                <a:cubicBezTo>
                  <a:pt x="1229063" y="4905544"/>
                  <a:pt x="1227359" y="4905131"/>
                  <a:pt x="1225036" y="4903685"/>
                </a:cubicBezTo>
                <a:cubicBezTo>
                  <a:pt x="1225345" y="4901207"/>
                  <a:pt x="1228443" y="4896664"/>
                  <a:pt x="1232781" y="4896767"/>
                </a:cubicBezTo>
                <a:close/>
                <a:moveTo>
                  <a:pt x="2036228" y="4896457"/>
                </a:moveTo>
                <a:cubicBezTo>
                  <a:pt x="2039636" y="4895941"/>
                  <a:pt x="2041959" y="4896974"/>
                  <a:pt x="2044592" y="4900794"/>
                </a:cubicBezTo>
                <a:cubicBezTo>
                  <a:pt x="2044127" y="4903995"/>
                  <a:pt x="2040255" y="4907506"/>
                  <a:pt x="2037002" y="4906989"/>
                </a:cubicBezTo>
                <a:cubicBezTo>
                  <a:pt x="2035918" y="4906886"/>
                  <a:pt x="2034834" y="4906267"/>
                  <a:pt x="2034059" y="4905131"/>
                </a:cubicBezTo>
                <a:cubicBezTo>
                  <a:pt x="2033595" y="4902446"/>
                  <a:pt x="2033285" y="4899762"/>
                  <a:pt x="2036228" y="4896457"/>
                </a:cubicBezTo>
                <a:close/>
                <a:moveTo>
                  <a:pt x="1279560" y="4896251"/>
                </a:moveTo>
                <a:cubicBezTo>
                  <a:pt x="1280953" y="4898110"/>
                  <a:pt x="1284671" y="4895528"/>
                  <a:pt x="1286839" y="4898213"/>
                </a:cubicBezTo>
                <a:cubicBezTo>
                  <a:pt x="1286685" y="4899968"/>
                  <a:pt x="1286530" y="4900898"/>
                  <a:pt x="1285600" y="4902653"/>
                </a:cubicBezTo>
                <a:cubicBezTo>
                  <a:pt x="1278166" y="4908745"/>
                  <a:pt x="1274293" y="4905957"/>
                  <a:pt x="1273364" y="4906886"/>
                </a:cubicBezTo>
                <a:cubicBezTo>
                  <a:pt x="1271195" y="4904202"/>
                  <a:pt x="1273054" y="4902446"/>
                  <a:pt x="1275067" y="4898936"/>
                </a:cubicBezTo>
                <a:cubicBezTo>
                  <a:pt x="1275842" y="4899865"/>
                  <a:pt x="1278630" y="4897180"/>
                  <a:pt x="1279560" y="4896251"/>
                </a:cubicBezTo>
                <a:close/>
                <a:moveTo>
                  <a:pt x="6059185" y="4895959"/>
                </a:moveTo>
                <a:cubicBezTo>
                  <a:pt x="6060734" y="4897714"/>
                  <a:pt x="6062902" y="4900399"/>
                  <a:pt x="6061044" y="4902980"/>
                </a:cubicBezTo>
                <a:cubicBezTo>
                  <a:pt x="6060269" y="4902980"/>
                  <a:pt x="6060114" y="4903910"/>
                  <a:pt x="6059340" y="4903806"/>
                </a:cubicBezTo>
                <a:cubicBezTo>
                  <a:pt x="6059340" y="4903806"/>
                  <a:pt x="6058411" y="4904323"/>
                  <a:pt x="6057171" y="4904323"/>
                </a:cubicBezTo>
                <a:cubicBezTo>
                  <a:pt x="6055932" y="4904426"/>
                  <a:pt x="6054383" y="4904116"/>
                  <a:pt x="6052834" y="4902774"/>
                </a:cubicBezTo>
                <a:cubicBezTo>
                  <a:pt x="6052369" y="4902361"/>
                  <a:pt x="6051905" y="4901535"/>
                  <a:pt x="6051595" y="4900709"/>
                </a:cubicBezTo>
                <a:cubicBezTo>
                  <a:pt x="6051285" y="4899986"/>
                  <a:pt x="6051130" y="4899367"/>
                  <a:pt x="6051440" y="4899367"/>
                </a:cubicBezTo>
                <a:cubicBezTo>
                  <a:pt x="6052369" y="4898437"/>
                  <a:pt x="6051595" y="4898437"/>
                  <a:pt x="6051595" y="4897611"/>
                </a:cubicBezTo>
                <a:cubicBezTo>
                  <a:pt x="6054383" y="4895030"/>
                  <a:pt x="6057016" y="4894101"/>
                  <a:pt x="6059185" y="4895959"/>
                </a:cubicBezTo>
                <a:close/>
                <a:moveTo>
                  <a:pt x="1857632" y="4895528"/>
                </a:moveTo>
                <a:cubicBezTo>
                  <a:pt x="1858098" y="4896251"/>
                  <a:pt x="1859336" y="4896457"/>
                  <a:pt x="1859801" y="4897180"/>
                </a:cubicBezTo>
                <a:cubicBezTo>
                  <a:pt x="1859026" y="4897696"/>
                  <a:pt x="1858098" y="4899349"/>
                  <a:pt x="1857632" y="4898626"/>
                </a:cubicBezTo>
                <a:cubicBezTo>
                  <a:pt x="1857013" y="4899039"/>
                  <a:pt x="1855928" y="4897696"/>
                  <a:pt x="1855928" y="4897696"/>
                </a:cubicBezTo>
                <a:cubicBezTo>
                  <a:pt x="1855309" y="4898110"/>
                  <a:pt x="1854535" y="4898522"/>
                  <a:pt x="1853450" y="4898316"/>
                </a:cubicBezTo>
                <a:cubicBezTo>
                  <a:pt x="1853605" y="4897077"/>
                  <a:pt x="1852985" y="4897490"/>
                  <a:pt x="1852521" y="4896767"/>
                </a:cubicBezTo>
                <a:cubicBezTo>
                  <a:pt x="1853605" y="4897077"/>
                  <a:pt x="1855774" y="4895735"/>
                  <a:pt x="1857632" y="4895528"/>
                </a:cubicBezTo>
                <a:close/>
                <a:moveTo>
                  <a:pt x="1960174" y="4895218"/>
                </a:moveTo>
                <a:cubicBezTo>
                  <a:pt x="1962188" y="4900587"/>
                  <a:pt x="1971481" y="4916386"/>
                  <a:pt x="1965130" y="4918967"/>
                </a:cubicBezTo>
                <a:cubicBezTo>
                  <a:pt x="1962188" y="4913288"/>
                  <a:pt x="1951809" y="4899452"/>
                  <a:pt x="1960174" y="4895218"/>
                </a:cubicBezTo>
                <a:close/>
                <a:moveTo>
                  <a:pt x="1782043" y="4894496"/>
                </a:moveTo>
                <a:cubicBezTo>
                  <a:pt x="1783902" y="4896148"/>
                  <a:pt x="1783437" y="4898729"/>
                  <a:pt x="1782043" y="4900587"/>
                </a:cubicBezTo>
                <a:cubicBezTo>
                  <a:pt x="1781733" y="4901414"/>
                  <a:pt x="1780959" y="4901930"/>
                  <a:pt x="1780029" y="4902137"/>
                </a:cubicBezTo>
                <a:cubicBezTo>
                  <a:pt x="1779100" y="4902240"/>
                  <a:pt x="1778171" y="4902137"/>
                  <a:pt x="1777241" y="4901723"/>
                </a:cubicBezTo>
                <a:cubicBezTo>
                  <a:pt x="1776312" y="4900898"/>
                  <a:pt x="1776157" y="4900898"/>
                  <a:pt x="1775228" y="4900072"/>
                </a:cubicBezTo>
                <a:cubicBezTo>
                  <a:pt x="1775073" y="4898419"/>
                  <a:pt x="1773989" y="4896664"/>
                  <a:pt x="1774608" y="4894909"/>
                </a:cubicBezTo>
                <a:cubicBezTo>
                  <a:pt x="1776002" y="4893153"/>
                  <a:pt x="1780339" y="4893773"/>
                  <a:pt x="1782043" y="4894496"/>
                </a:cubicBezTo>
                <a:close/>
                <a:moveTo>
                  <a:pt x="991607" y="4894082"/>
                </a:moveTo>
                <a:cubicBezTo>
                  <a:pt x="991607" y="4894082"/>
                  <a:pt x="991762" y="4894082"/>
                  <a:pt x="992382" y="4895941"/>
                </a:cubicBezTo>
                <a:cubicBezTo>
                  <a:pt x="992227" y="4896767"/>
                  <a:pt x="992227" y="4897696"/>
                  <a:pt x="991297" y="4898626"/>
                </a:cubicBezTo>
                <a:cubicBezTo>
                  <a:pt x="990213" y="4899452"/>
                  <a:pt x="988509" y="4899452"/>
                  <a:pt x="987735" y="4899452"/>
                </a:cubicBezTo>
                <a:cubicBezTo>
                  <a:pt x="987735" y="4898522"/>
                  <a:pt x="986960" y="4898522"/>
                  <a:pt x="986960" y="4897696"/>
                </a:cubicBezTo>
                <a:cubicBezTo>
                  <a:pt x="986341" y="4895838"/>
                  <a:pt x="986341" y="4895838"/>
                  <a:pt x="987270" y="4894909"/>
                </a:cubicBezTo>
                <a:cubicBezTo>
                  <a:pt x="988199" y="4894082"/>
                  <a:pt x="990678" y="4895012"/>
                  <a:pt x="991607" y="4894082"/>
                </a:cubicBezTo>
                <a:close/>
                <a:moveTo>
                  <a:pt x="6186045" y="4893791"/>
                </a:moveTo>
                <a:cubicBezTo>
                  <a:pt x="6189143" y="4896475"/>
                  <a:pt x="6191002" y="4893791"/>
                  <a:pt x="6195648" y="4898231"/>
                </a:cubicBezTo>
                <a:cubicBezTo>
                  <a:pt x="6201844" y="4903600"/>
                  <a:pt x="6199521" y="4909692"/>
                  <a:pt x="6196733" y="4913100"/>
                </a:cubicBezTo>
                <a:cubicBezTo>
                  <a:pt x="6196113" y="4912377"/>
                  <a:pt x="6192241" y="4917023"/>
                  <a:pt x="6187284" y="4916817"/>
                </a:cubicBezTo>
                <a:cubicBezTo>
                  <a:pt x="6185735" y="4916713"/>
                  <a:pt x="6184031" y="4916094"/>
                  <a:pt x="6182327" y="4914545"/>
                </a:cubicBezTo>
                <a:cubicBezTo>
                  <a:pt x="6181398" y="4913719"/>
                  <a:pt x="6180469" y="4912686"/>
                  <a:pt x="6179694" y="4911551"/>
                </a:cubicBezTo>
                <a:cubicBezTo>
                  <a:pt x="6177526" y="4908246"/>
                  <a:pt x="6177216" y="4904013"/>
                  <a:pt x="6182172" y="4898850"/>
                </a:cubicBezTo>
                <a:cubicBezTo>
                  <a:pt x="6183102" y="4897198"/>
                  <a:pt x="6183102" y="4898024"/>
                  <a:pt x="6184031" y="4897198"/>
                </a:cubicBezTo>
                <a:cubicBezTo>
                  <a:pt x="6184961" y="4896372"/>
                  <a:pt x="6185890" y="4894616"/>
                  <a:pt x="6186045" y="4893791"/>
                </a:cubicBezTo>
                <a:close/>
                <a:moveTo>
                  <a:pt x="6062902" y="4892655"/>
                </a:moveTo>
                <a:cubicBezTo>
                  <a:pt x="6063677" y="4893481"/>
                  <a:pt x="6064296" y="4895236"/>
                  <a:pt x="6063367" y="4896062"/>
                </a:cubicBezTo>
                <a:cubicBezTo>
                  <a:pt x="6062902" y="4896888"/>
                  <a:pt x="6062592" y="4896888"/>
                  <a:pt x="6061973" y="4896578"/>
                </a:cubicBezTo>
                <a:cubicBezTo>
                  <a:pt x="6061508" y="4896269"/>
                  <a:pt x="6060889" y="4895546"/>
                  <a:pt x="6060114" y="4895133"/>
                </a:cubicBezTo>
                <a:close/>
                <a:moveTo>
                  <a:pt x="1980620" y="4892224"/>
                </a:moveTo>
                <a:lnTo>
                  <a:pt x="1979691" y="4895115"/>
                </a:lnTo>
                <a:lnTo>
                  <a:pt x="1980465" y="4895115"/>
                </a:lnTo>
                <a:cubicBezTo>
                  <a:pt x="1981704" y="4896974"/>
                  <a:pt x="1981549" y="4898316"/>
                  <a:pt x="1980775" y="4899245"/>
                </a:cubicBezTo>
                <a:lnTo>
                  <a:pt x="1977832" y="4900278"/>
                </a:lnTo>
                <a:lnTo>
                  <a:pt x="1977058" y="4902446"/>
                </a:lnTo>
                <a:cubicBezTo>
                  <a:pt x="1975663" y="4905544"/>
                  <a:pt x="1974424" y="4907919"/>
                  <a:pt x="1973804" y="4908848"/>
                </a:cubicBezTo>
                <a:cubicBezTo>
                  <a:pt x="1973340" y="4909674"/>
                  <a:pt x="1972875" y="4910087"/>
                  <a:pt x="1972411" y="4910190"/>
                </a:cubicBezTo>
                <a:cubicBezTo>
                  <a:pt x="1971791" y="4910294"/>
                  <a:pt x="1971171" y="4910087"/>
                  <a:pt x="1970397" y="4909674"/>
                </a:cubicBezTo>
                <a:cubicBezTo>
                  <a:pt x="1968228" y="4906060"/>
                  <a:pt x="1971171" y="4902653"/>
                  <a:pt x="1972411" y="4898213"/>
                </a:cubicBezTo>
                <a:cubicBezTo>
                  <a:pt x="1973340" y="4898213"/>
                  <a:pt x="1974269" y="4897387"/>
                  <a:pt x="1974269" y="4896561"/>
                </a:cubicBezTo>
                <a:cubicBezTo>
                  <a:pt x="1975199" y="4895735"/>
                  <a:pt x="1976128" y="4894805"/>
                  <a:pt x="1975354" y="4894805"/>
                </a:cubicBezTo>
                <a:cubicBezTo>
                  <a:pt x="1978142" y="4892224"/>
                  <a:pt x="1978142" y="4891295"/>
                  <a:pt x="1980620" y="4892224"/>
                </a:cubicBezTo>
                <a:close/>
                <a:moveTo>
                  <a:pt x="1547530" y="4891605"/>
                </a:moveTo>
                <a:cubicBezTo>
                  <a:pt x="1550628" y="4907403"/>
                  <a:pt x="1557444" y="4921239"/>
                  <a:pt x="1559612" y="4934352"/>
                </a:cubicBezTo>
                <a:cubicBezTo>
                  <a:pt x="1547065" y="4926299"/>
                  <a:pt x="1544122" y="4908229"/>
                  <a:pt x="1538546" y="4893360"/>
                </a:cubicBezTo>
                <a:cubicBezTo>
                  <a:pt x="1541489" y="4893153"/>
                  <a:pt x="1542884" y="4890882"/>
                  <a:pt x="1547530" y="4891605"/>
                </a:cubicBezTo>
                <a:close/>
                <a:moveTo>
                  <a:pt x="1304033" y="4891295"/>
                </a:moveTo>
                <a:cubicBezTo>
                  <a:pt x="1308680" y="4896354"/>
                  <a:pt x="1307906" y="4898419"/>
                  <a:pt x="1305582" y="4898832"/>
                </a:cubicBezTo>
                <a:cubicBezTo>
                  <a:pt x="1302020" y="4899452"/>
                  <a:pt x="1294739" y="4895115"/>
                  <a:pt x="1304033" y="4891295"/>
                </a:cubicBezTo>
                <a:close/>
                <a:moveTo>
                  <a:pt x="1496414" y="4890262"/>
                </a:moveTo>
                <a:cubicBezTo>
                  <a:pt x="1496105" y="4892534"/>
                  <a:pt x="1495639" y="4894392"/>
                  <a:pt x="1494865" y="4896044"/>
                </a:cubicBezTo>
                <a:cubicBezTo>
                  <a:pt x="1492851" y="4901001"/>
                  <a:pt x="1489599" y="4903995"/>
                  <a:pt x="1489134" y="4908022"/>
                </a:cubicBezTo>
                <a:cubicBezTo>
                  <a:pt x="1489134" y="4908022"/>
                  <a:pt x="1489134" y="4908022"/>
                  <a:pt x="1486966" y="4908642"/>
                </a:cubicBezTo>
                <a:cubicBezTo>
                  <a:pt x="1486656" y="4909365"/>
                  <a:pt x="1486656" y="4909365"/>
                  <a:pt x="1486656" y="4909365"/>
                </a:cubicBezTo>
                <a:cubicBezTo>
                  <a:pt x="1486501" y="4909778"/>
                  <a:pt x="1485881" y="4909778"/>
                  <a:pt x="1485571" y="4909674"/>
                </a:cubicBezTo>
                <a:cubicBezTo>
                  <a:pt x="1485107" y="4909571"/>
                  <a:pt x="1484797" y="4909261"/>
                  <a:pt x="1484797" y="4909261"/>
                </a:cubicBezTo>
                <a:cubicBezTo>
                  <a:pt x="1483558" y="4907609"/>
                  <a:pt x="1485417" y="4905854"/>
                  <a:pt x="1486036" y="4904408"/>
                </a:cubicBezTo>
                <a:cubicBezTo>
                  <a:pt x="1484797" y="4902756"/>
                  <a:pt x="1488979" y="4902137"/>
                  <a:pt x="1487740" y="4900587"/>
                </a:cubicBezTo>
                <a:cubicBezTo>
                  <a:pt x="1492232" y="4899245"/>
                  <a:pt x="1490218" y="4893360"/>
                  <a:pt x="1496414" y="4890262"/>
                </a:cubicBezTo>
                <a:close/>
                <a:moveTo>
                  <a:pt x="904246" y="4889539"/>
                </a:moveTo>
                <a:cubicBezTo>
                  <a:pt x="903781" y="4895632"/>
                  <a:pt x="907034" y="4898522"/>
                  <a:pt x="904401" y="4902963"/>
                </a:cubicBezTo>
                <a:cubicBezTo>
                  <a:pt x="895881" y="4903995"/>
                  <a:pt x="892783" y="4893463"/>
                  <a:pt x="897276" y="4889952"/>
                </a:cubicBezTo>
                <a:cubicBezTo>
                  <a:pt x="898670" y="4888816"/>
                  <a:pt x="900993" y="4888404"/>
                  <a:pt x="904246" y="4889539"/>
                </a:cubicBezTo>
                <a:close/>
                <a:moveTo>
                  <a:pt x="6072506" y="4889247"/>
                </a:moveTo>
                <a:cubicBezTo>
                  <a:pt x="6073280" y="4889247"/>
                  <a:pt x="6073280" y="4890073"/>
                  <a:pt x="6073900" y="4890900"/>
                </a:cubicBezTo>
                <a:cubicBezTo>
                  <a:pt x="6074675" y="4892655"/>
                  <a:pt x="6074365" y="4895236"/>
                  <a:pt x="6073435" y="4896062"/>
                </a:cubicBezTo>
                <a:cubicBezTo>
                  <a:pt x="6072506" y="4896992"/>
                  <a:pt x="6071732" y="4896992"/>
                  <a:pt x="6071732" y="4896992"/>
                </a:cubicBezTo>
                <a:cubicBezTo>
                  <a:pt x="6070492" y="4896062"/>
                  <a:pt x="6069563" y="4894927"/>
                  <a:pt x="6069253" y="4893791"/>
                </a:cubicBezTo>
                <a:cubicBezTo>
                  <a:pt x="6068943" y="4892551"/>
                  <a:pt x="6069408" y="4891312"/>
                  <a:pt x="6070802" y="4890073"/>
                </a:cubicBezTo>
                <a:cubicBezTo>
                  <a:pt x="6071577" y="4889247"/>
                  <a:pt x="6072506" y="4888318"/>
                  <a:pt x="6072506" y="4889247"/>
                </a:cubicBezTo>
                <a:close/>
                <a:moveTo>
                  <a:pt x="2034524" y="4889230"/>
                </a:moveTo>
                <a:cubicBezTo>
                  <a:pt x="2034679" y="4890055"/>
                  <a:pt x="2034989" y="4890882"/>
                  <a:pt x="2034369" y="4892017"/>
                </a:cubicBezTo>
                <a:cubicBezTo>
                  <a:pt x="2033905" y="4893153"/>
                  <a:pt x="2033595" y="4892431"/>
                  <a:pt x="2033905" y="4893153"/>
                </a:cubicBezTo>
                <a:cubicBezTo>
                  <a:pt x="2033285" y="4894392"/>
                  <a:pt x="2034059" y="4894082"/>
                  <a:pt x="2034059" y="4894082"/>
                </a:cubicBezTo>
                <a:cubicBezTo>
                  <a:pt x="2034059" y="4894082"/>
                  <a:pt x="2033285" y="4894392"/>
                  <a:pt x="2033285" y="4894392"/>
                </a:cubicBezTo>
                <a:cubicBezTo>
                  <a:pt x="2033285" y="4894392"/>
                  <a:pt x="2033285" y="4894289"/>
                  <a:pt x="2032201" y="4896664"/>
                </a:cubicBezTo>
                <a:cubicBezTo>
                  <a:pt x="2031426" y="4899762"/>
                  <a:pt x="2031736" y="4900484"/>
                  <a:pt x="2031426" y="4902446"/>
                </a:cubicBezTo>
                <a:lnTo>
                  <a:pt x="2031117" y="4902859"/>
                </a:lnTo>
                <a:lnTo>
                  <a:pt x="2032820" y="4905441"/>
                </a:lnTo>
                <a:cubicBezTo>
                  <a:pt x="2034524" y="4911223"/>
                  <a:pt x="2031891" y="4919071"/>
                  <a:pt x="2025075" y="4920103"/>
                </a:cubicBezTo>
                <a:cubicBezTo>
                  <a:pt x="2023216" y="4919174"/>
                  <a:pt x="2021977" y="4917728"/>
                  <a:pt x="2021049" y="4916076"/>
                </a:cubicBezTo>
                <a:lnTo>
                  <a:pt x="2020273" y="4913185"/>
                </a:lnTo>
                <a:lnTo>
                  <a:pt x="2013768" y="4912462"/>
                </a:lnTo>
                <a:cubicBezTo>
                  <a:pt x="2014387" y="4911326"/>
                  <a:pt x="2011445" y="4910604"/>
                  <a:pt x="2010205" y="4909365"/>
                </a:cubicBezTo>
                <a:cubicBezTo>
                  <a:pt x="2009431" y="4906886"/>
                  <a:pt x="2008966" y="4905338"/>
                  <a:pt x="2010050" y="4902963"/>
                </a:cubicBezTo>
                <a:cubicBezTo>
                  <a:pt x="2011754" y="4899555"/>
                  <a:pt x="2016711" y="4895632"/>
                  <a:pt x="2019809" y="4897180"/>
                </a:cubicBezTo>
                <a:lnTo>
                  <a:pt x="2021203" y="4897800"/>
                </a:lnTo>
                <a:lnTo>
                  <a:pt x="2023991" y="4895218"/>
                </a:lnTo>
                <a:cubicBezTo>
                  <a:pt x="2024921" y="4894909"/>
                  <a:pt x="2025850" y="4895115"/>
                  <a:pt x="2026779" y="4895632"/>
                </a:cubicBezTo>
                <a:lnTo>
                  <a:pt x="2028328" y="4897180"/>
                </a:lnTo>
                <a:lnTo>
                  <a:pt x="2030032" y="4893979"/>
                </a:lnTo>
                <a:cubicBezTo>
                  <a:pt x="2031581" y="4891398"/>
                  <a:pt x="2033130" y="4889333"/>
                  <a:pt x="2034524" y="4889230"/>
                </a:cubicBezTo>
                <a:close/>
                <a:moveTo>
                  <a:pt x="2053577" y="4888816"/>
                </a:moveTo>
                <a:cubicBezTo>
                  <a:pt x="2056674" y="4888920"/>
                  <a:pt x="2058378" y="4890778"/>
                  <a:pt x="2058068" y="4893876"/>
                </a:cubicBezTo>
                <a:cubicBezTo>
                  <a:pt x="2056984" y="4895528"/>
                  <a:pt x="2055280" y="4895735"/>
                  <a:pt x="2053421" y="4895941"/>
                </a:cubicBezTo>
                <a:cubicBezTo>
                  <a:pt x="2051873" y="4895838"/>
                  <a:pt x="2051098" y="4895321"/>
                  <a:pt x="2050788" y="4894599"/>
                </a:cubicBezTo>
                <a:cubicBezTo>
                  <a:pt x="2050479" y="4893773"/>
                  <a:pt x="2050633" y="4892637"/>
                  <a:pt x="2051098" y="4891398"/>
                </a:cubicBezTo>
                <a:cubicBezTo>
                  <a:pt x="2051718" y="4889023"/>
                  <a:pt x="2053577" y="4888816"/>
                  <a:pt x="2053577" y="4888816"/>
                </a:cubicBezTo>
                <a:close/>
                <a:moveTo>
                  <a:pt x="1580368" y="4888610"/>
                </a:moveTo>
                <a:cubicBezTo>
                  <a:pt x="1582072" y="4892534"/>
                  <a:pt x="1578044" y="4896561"/>
                  <a:pt x="1574637" y="4895941"/>
                </a:cubicBezTo>
                <a:cubicBezTo>
                  <a:pt x="1570919" y="4890882"/>
                  <a:pt x="1577580" y="4887164"/>
                  <a:pt x="1580368" y="4888610"/>
                </a:cubicBezTo>
                <a:close/>
                <a:moveTo>
                  <a:pt x="1857323" y="4888093"/>
                </a:moveTo>
                <a:cubicBezTo>
                  <a:pt x="1857323" y="4888093"/>
                  <a:pt x="1858562" y="4888404"/>
                  <a:pt x="1859801" y="4888713"/>
                </a:cubicBezTo>
                <a:cubicBezTo>
                  <a:pt x="1860885" y="4889126"/>
                  <a:pt x="1861660" y="4888610"/>
                  <a:pt x="1861660" y="4888610"/>
                </a:cubicBezTo>
                <a:cubicBezTo>
                  <a:pt x="1862744" y="4888920"/>
                  <a:pt x="1863364" y="4889746"/>
                  <a:pt x="1863209" y="4890985"/>
                </a:cubicBezTo>
                <a:cubicBezTo>
                  <a:pt x="1863209" y="4890985"/>
                  <a:pt x="1861350" y="4891088"/>
                  <a:pt x="1861350" y="4891088"/>
                </a:cubicBezTo>
                <a:cubicBezTo>
                  <a:pt x="1858871" y="4890365"/>
                  <a:pt x="1857787" y="4890159"/>
                  <a:pt x="1855928" y="4890262"/>
                </a:cubicBezTo>
                <a:cubicBezTo>
                  <a:pt x="1855464" y="4888197"/>
                  <a:pt x="1856238" y="4887784"/>
                  <a:pt x="1857323" y="4888093"/>
                </a:cubicBezTo>
                <a:close/>
                <a:moveTo>
                  <a:pt x="1912930" y="4887887"/>
                </a:moveTo>
                <a:lnTo>
                  <a:pt x="1914015" y="4892740"/>
                </a:lnTo>
                <a:lnTo>
                  <a:pt x="1915254" y="4891811"/>
                </a:lnTo>
                <a:cubicBezTo>
                  <a:pt x="1915719" y="4891088"/>
                  <a:pt x="1917422" y="4893153"/>
                  <a:pt x="1917422" y="4893153"/>
                </a:cubicBezTo>
                <a:cubicBezTo>
                  <a:pt x="1917577" y="4893773"/>
                  <a:pt x="1916803" y="4894496"/>
                  <a:pt x="1916028" y="4895115"/>
                </a:cubicBezTo>
                <a:lnTo>
                  <a:pt x="1915099" y="4895941"/>
                </a:lnTo>
                <a:lnTo>
                  <a:pt x="1918043" y="4902033"/>
                </a:lnTo>
                <a:cubicBezTo>
                  <a:pt x="1920211" y="4906370"/>
                  <a:pt x="1921914" y="4910500"/>
                  <a:pt x="1920365" y="4914321"/>
                </a:cubicBezTo>
                <a:cubicBezTo>
                  <a:pt x="1918816" y="4912049"/>
                  <a:pt x="1916493" y="4909778"/>
                  <a:pt x="1914325" y="4907403"/>
                </a:cubicBezTo>
                <a:lnTo>
                  <a:pt x="1909987" y="4902653"/>
                </a:lnTo>
                <a:lnTo>
                  <a:pt x="1909987" y="4902859"/>
                </a:lnTo>
                <a:cubicBezTo>
                  <a:pt x="1909678" y="4903376"/>
                  <a:pt x="1908748" y="4903685"/>
                  <a:pt x="1907664" y="4903995"/>
                </a:cubicBezTo>
                <a:cubicBezTo>
                  <a:pt x="1907199" y="4903169"/>
                  <a:pt x="1906890" y="4902446"/>
                  <a:pt x="1907199" y="4901827"/>
                </a:cubicBezTo>
                <a:lnTo>
                  <a:pt x="1908439" y="4900587"/>
                </a:lnTo>
                <a:lnTo>
                  <a:pt x="1908129" y="4900278"/>
                </a:lnTo>
                <a:cubicBezTo>
                  <a:pt x="1904876" y="4895632"/>
                  <a:pt x="1904566" y="4891191"/>
                  <a:pt x="1912930" y="4887887"/>
                </a:cubicBezTo>
                <a:close/>
                <a:moveTo>
                  <a:pt x="2100142" y="4887138"/>
                </a:moveTo>
                <a:cubicBezTo>
                  <a:pt x="2102640" y="4886390"/>
                  <a:pt x="2105002" y="4886493"/>
                  <a:pt x="2106861" y="4887887"/>
                </a:cubicBezTo>
                <a:cubicBezTo>
                  <a:pt x="2102524" y="4890778"/>
                  <a:pt x="2099735" y="4894082"/>
                  <a:pt x="2096483" y="4897180"/>
                </a:cubicBezTo>
                <a:lnTo>
                  <a:pt x="2092455" y="4900898"/>
                </a:lnTo>
                <a:lnTo>
                  <a:pt x="2093385" y="4902549"/>
                </a:lnTo>
                <a:cubicBezTo>
                  <a:pt x="2092610" y="4902859"/>
                  <a:pt x="2091061" y="4903479"/>
                  <a:pt x="2090752" y="4905441"/>
                </a:cubicBezTo>
                <a:cubicBezTo>
                  <a:pt x="2089667" y="4905028"/>
                  <a:pt x="2088583" y="4904511"/>
                  <a:pt x="2087963" y="4903892"/>
                </a:cubicBezTo>
                <a:lnTo>
                  <a:pt x="2087963" y="4903685"/>
                </a:lnTo>
                <a:lnTo>
                  <a:pt x="2084555" y="4905647"/>
                </a:lnTo>
                <a:cubicBezTo>
                  <a:pt x="2084401" y="4903479"/>
                  <a:pt x="2085175" y="4901001"/>
                  <a:pt x="2086724" y="4898522"/>
                </a:cubicBezTo>
                <a:lnTo>
                  <a:pt x="2088428" y="4896457"/>
                </a:lnTo>
                <a:lnTo>
                  <a:pt x="2087808" y="4893670"/>
                </a:lnTo>
                <a:cubicBezTo>
                  <a:pt x="2087808" y="4892120"/>
                  <a:pt x="2088273" y="4890882"/>
                  <a:pt x="2088893" y="4890469"/>
                </a:cubicBezTo>
                <a:cubicBezTo>
                  <a:pt x="2089202" y="4890572"/>
                  <a:pt x="2089667" y="4890882"/>
                  <a:pt x="2090132" y="4891398"/>
                </a:cubicBezTo>
                <a:lnTo>
                  <a:pt x="2091217" y="4893153"/>
                </a:lnTo>
                <a:lnTo>
                  <a:pt x="2092610" y="4891501"/>
                </a:lnTo>
                <a:cubicBezTo>
                  <a:pt x="2095011" y="4889488"/>
                  <a:pt x="2097644" y="4887887"/>
                  <a:pt x="2100142" y="4887138"/>
                </a:cubicBezTo>
                <a:close/>
                <a:moveTo>
                  <a:pt x="1437554" y="4886132"/>
                </a:moveTo>
                <a:cubicBezTo>
                  <a:pt x="1439258" y="4887268"/>
                  <a:pt x="1440651" y="4889436"/>
                  <a:pt x="1440961" y="4892843"/>
                </a:cubicBezTo>
                <a:cubicBezTo>
                  <a:pt x="1436779" y="4893773"/>
                  <a:pt x="1434921" y="4896251"/>
                  <a:pt x="1432132" y="4896767"/>
                </a:cubicBezTo>
                <a:cubicBezTo>
                  <a:pt x="1431203" y="4896974"/>
                  <a:pt x="1430119" y="4896974"/>
                  <a:pt x="1428879" y="4896664"/>
                </a:cubicBezTo>
                <a:cubicBezTo>
                  <a:pt x="1424233" y="4888507"/>
                  <a:pt x="1432442" y="4882724"/>
                  <a:pt x="1437554" y="4886132"/>
                </a:cubicBezTo>
                <a:close/>
                <a:moveTo>
                  <a:pt x="1845086" y="4885409"/>
                </a:moveTo>
                <a:cubicBezTo>
                  <a:pt x="1850043" y="4885409"/>
                  <a:pt x="1852057" y="4887268"/>
                  <a:pt x="1851591" y="4890778"/>
                </a:cubicBezTo>
                <a:cubicBezTo>
                  <a:pt x="1850817" y="4891295"/>
                  <a:pt x="1848339" y="4891914"/>
                  <a:pt x="1848803" y="4892637"/>
                </a:cubicBezTo>
                <a:cubicBezTo>
                  <a:pt x="1846170" y="4891914"/>
                  <a:pt x="1843227" y="4890882"/>
                  <a:pt x="1841988" y="4889023"/>
                </a:cubicBezTo>
                <a:cubicBezTo>
                  <a:pt x="1841523" y="4888507"/>
                  <a:pt x="1841213" y="4887681"/>
                  <a:pt x="1841213" y="4886958"/>
                </a:cubicBezTo>
                <a:cubicBezTo>
                  <a:pt x="1840903" y="4884996"/>
                  <a:pt x="1842762" y="4884893"/>
                  <a:pt x="1845086" y="4885409"/>
                </a:cubicBezTo>
                <a:close/>
                <a:moveTo>
                  <a:pt x="1307964" y="4883034"/>
                </a:moveTo>
                <a:cubicBezTo>
                  <a:pt x="1309222" y="4882234"/>
                  <a:pt x="1310926" y="4882156"/>
                  <a:pt x="1312707" y="4883344"/>
                </a:cubicBezTo>
                <a:cubicBezTo>
                  <a:pt x="1312243" y="4888300"/>
                  <a:pt x="1310229" y="4889952"/>
                  <a:pt x="1307286" y="4890469"/>
                </a:cubicBezTo>
                <a:cubicBezTo>
                  <a:pt x="1306356" y="4889436"/>
                  <a:pt x="1306046" y="4888197"/>
                  <a:pt x="1305892" y="4887061"/>
                </a:cubicBezTo>
                <a:cubicBezTo>
                  <a:pt x="1305892" y="4885357"/>
                  <a:pt x="1306705" y="4883834"/>
                  <a:pt x="1307964" y="4883034"/>
                </a:cubicBezTo>
                <a:close/>
                <a:moveTo>
                  <a:pt x="6342180" y="4881400"/>
                </a:moveTo>
                <a:cubicBezTo>
                  <a:pt x="6342955" y="4882226"/>
                  <a:pt x="6343730" y="4882329"/>
                  <a:pt x="6342800" y="4884084"/>
                </a:cubicBezTo>
                <a:cubicBezTo>
                  <a:pt x="6342645" y="4884910"/>
                  <a:pt x="6341716" y="4885737"/>
                  <a:pt x="6341716" y="4886666"/>
                </a:cubicBezTo>
                <a:cubicBezTo>
                  <a:pt x="6341716" y="4886666"/>
                  <a:pt x="6341096" y="4886872"/>
                  <a:pt x="6340322" y="4886976"/>
                </a:cubicBezTo>
                <a:cubicBezTo>
                  <a:pt x="6339547" y="4887079"/>
                  <a:pt x="6338773" y="4886976"/>
                  <a:pt x="6338308" y="4886563"/>
                </a:cubicBezTo>
                <a:cubicBezTo>
                  <a:pt x="6337998" y="4886356"/>
                  <a:pt x="6337843" y="4886046"/>
                  <a:pt x="6337843" y="4885634"/>
                </a:cubicBezTo>
                <a:cubicBezTo>
                  <a:pt x="6337998" y="4884498"/>
                  <a:pt x="6339547" y="4882845"/>
                  <a:pt x="6339702" y="4882226"/>
                </a:cubicBezTo>
                <a:cubicBezTo>
                  <a:pt x="6340631" y="4881400"/>
                  <a:pt x="6341561" y="4880471"/>
                  <a:pt x="6342180" y="4881400"/>
                </a:cubicBezTo>
                <a:close/>
                <a:moveTo>
                  <a:pt x="1399914" y="4881279"/>
                </a:moveTo>
                <a:cubicBezTo>
                  <a:pt x="1401618" y="4880866"/>
                  <a:pt x="1403477" y="4881176"/>
                  <a:pt x="1405645" y="4883241"/>
                </a:cubicBezTo>
                <a:lnTo>
                  <a:pt x="1405025" y="4884789"/>
                </a:lnTo>
                <a:lnTo>
                  <a:pt x="1405180" y="4884686"/>
                </a:lnTo>
                <a:cubicBezTo>
                  <a:pt x="1406574" y="4884996"/>
                  <a:pt x="1407659" y="4885925"/>
                  <a:pt x="1408743" y="4887164"/>
                </a:cubicBezTo>
                <a:cubicBezTo>
                  <a:pt x="1410602" y="4889539"/>
                  <a:pt x="1411531" y="4893153"/>
                  <a:pt x="1410447" y="4895838"/>
                </a:cubicBezTo>
                <a:cubicBezTo>
                  <a:pt x="1405645" y="4895218"/>
                  <a:pt x="1402237" y="4893876"/>
                  <a:pt x="1401153" y="4890159"/>
                </a:cubicBezTo>
                <a:lnTo>
                  <a:pt x="1400998" y="4887474"/>
                </a:lnTo>
                <a:lnTo>
                  <a:pt x="1399449" y="4887681"/>
                </a:lnTo>
                <a:cubicBezTo>
                  <a:pt x="1400533" y="4884686"/>
                  <a:pt x="1396971" y="4883964"/>
                  <a:pt x="1399914" y="4881279"/>
                </a:cubicBezTo>
                <a:close/>
                <a:moveTo>
                  <a:pt x="1032964" y="4881176"/>
                </a:moveTo>
                <a:cubicBezTo>
                  <a:pt x="1036062" y="4889230"/>
                  <a:pt x="1029557" y="4899452"/>
                  <a:pt x="1025065" y="4903685"/>
                </a:cubicBezTo>
                <a:cubicBezTo>
                  <a:pt x="1021812" y="4895528"/>
                  <a:pt x="1027233" y="4884067"/>
                  <a:pt x="1032964" y="4881176"/>
                </a:cubicBezTo>
                <a:close/>
                <a:moveTo>
                  <a:pt x="966205" y="4880659"/>
                </a:moveTo>
                <a:cubicBezTo>
                  <a:pt x="966205" y="4880659"/>
                  <a:pt x="966205" y="4880659"/>
                  <a:pt x="966979" y="4880659"/>
                </a:cubicBezTo>
                <a:cubicBezTo>
                  <a:pt x="965739" y="4884170"/>
                  <a:pt x="966205" y="4888610"/>
                  <a:pt x="964191" y="4891295"/>
                </a:cubicBezTo>
                <a:cubicBezTo>
                  <a:pt x="963726" y="4891708"/>
                  <a:pt x="963261" y="4892120"/>
                  <a:pt x="962796" y="4892224"/>
                </a:cubicBezTo>
                <a:cubicBezTo>
                  <a:pt x="962177" y="4892327"/>
                  <a:pt x="961712" y="4892120"/>
                  <a:pt x="960938" y="4891191"/>
                </a:cubicBezTo>
                <a:cubicBezTo>
                  <a:pt x="960163" y="4890778"/>
                  <a:pt x="959698" y="4890262"/>
                  <a:pt x="959854" y="4889643"/>
                </a:cubicBezTo>
                <a:cubicBezTo>
                  <a:pt x="959854" y="4889023"/>
                  <a:pt x="960318" y="4888093"/>
                  <a:pt x="961403" y="4886854"/>
                </a:cubicBezTo>
                <a:cubicBezTo>
                  <a:pt x="963261" y="4885099"/>
                  <a:pt x="964191" y="4883344"/>
                  <a:pt x="964965" y="4883344"/>
                </a:cubicBezTo>
                <a:cubicBezTo>
                  <a:pt x="965120" y="4882415"/>
                  <a:pt x="966049" y="4881588"/>
                  <a:pt x="966205" y="4880659"/>
                </a:cubicBezTo>
                <a:close/>
                <a:moveTo>
                  <a:pt x="1197929" y="4880349"/>
                </a:moveTo>
                <a:cubicBezTo>
                  <a:pt x="1204125" y="4888507"/>
                  <a:pt x="1188790" y="4899968"/>
                  <a:pt x="1182904" y="4901414"/>
                </a:cubicBezTo>
                <a:cubicBezTo>
                  <a:pt x="1186002" y="4894599"/>
                  <a:pt x="1191423" y="4883550"/>
                  <a:pt x="1197929" y="4880349"/>
                </a:cubicBezTo>
                <a:close/>
                <a:moveTo>
                  <a:pt x="1774453" y="4876942"/>
                </a:moveTo>
                <a:cubicBezTo>
                  <a:pt x="1776777" y="4877975"/>
                  <a:pt x="1781114" y="4876632"/>
                  <a:pt x="1781268" y="4880969"/>
                </a:cubicBezTo>
                <a:cubicBezTo>
                  <a:pt x="1770581" y="4885306"/>
                  <a:pt x="1772130" y="4901207"/>
                  <a:pt x="1762061" y="4902137"/>
                </a:cubicBezTo>
                <a:cubicBezTo>
                  <a:pt x="1764230" y="4893566"/>
                  <a:pt x="1764850" y="4884893"/>
                  <a:pt x="1774453" y="4876942"/>
                </a:cubicBezTo>
                <a:close/>
                <a:moveTo>
                  <a:pt x="1326803" y="4876736"/>
                </a:moveTo>
                <a:cubicBezTo>
                  <a:pt x="1331915" y="4876116"/>
                  <a:pt x="1336251" y="4883241"/>
                  <a:pt x="1338110" y="4887681"/>
                </a:cubicBezTo>
                <a:cubicBezTo>
                  <a:pt x="1336561" y="4889333"/>
                  <a:pt x="1337490" y="4890985"/>
                  <a:pt x="1335942" y="4892637"/>
                </a:cubicBezTo>
                <a:cubicBezTo>
                  <a:pt x="1330676" y="4887268"/>
                  <a:pt x="1324635" y="4881795"/>
                  <a:pt x="1326803" y="4876736"/>
                </a:cubicBezTo>
                <a:close/>
                <a:moveTo>
                  <a:pt x="1503694" y="4875806"/>
                </a:moveTo>
                <a:lnTo>
                  <a:pt x="1503075" y="4876013"/>
                </a:lnTo>
                <a:lnTo>
                  <a:pt x="1503850" y="4875909"/>
                </a:lnTo>
                <a:close/>
                <a:moveTo>
                  <a:pt x="1208617" y="4875290"/>
                </a:moveTo>
                <a:cubicBezTo>
                  <a:pt x="1210476" y="4874464"/>
                  <a:pt x="1213264" y="4872812"/>
                  <a:pt x="1216362" y="4875497"/>
                </a:cubicBezTo>
                <a:cubicBezTo>
                  <a:pt x="1217136" y="4876322"/>
                  <a:pt x="1217136" y="4876426"/>
                  <a:pt x="1216981" y="4877252"/>
                </a:cubicBezTo>
                <a:cubicBezTo>
                  <a:pt x="1217756" y="4879007"/>
                  <a:pt x="1218530" y="4879937"/>
                  <a:pt x="1217446" y="4881692"/>
                </a:cubicBezTo>
                <a:cubicBezTo>
                  <a:pt x="1216517" y="4882931"/>
                  <a:pt x="1215588" y="4883344"/>
                  <a:pt x="1214658" y="4883241"/>
                </a:cubicBezTo>
                <a:cubicBezTo>
                  <a:pt x="1213728" y="4883034"/>
                  <a:pt x="1212644" y="4882415"/>
                  <a:pt x="1211560" y="4881485"/>
                </a:cubicBezTo>
                <a:cubicBezTo>
                  <a:pt x="1210321" y="4880659"/>
                  <a:pt x="1210011" y="4879523"/>
                  <a:pt x="1209701" y="4878387"/>
                </a:cubicBezTo>
                <a:cubicBezTo>
                  <a:pt x="1209546" y="4877355"/>
                  <a:pt x="1209392" y="4876219"/>
                  <a:pt x="1208617" y="4875290"/>
                </a:cubicBezTo>
                <a:close/>
                <a:moveTo>
                  <a:pt x="1832229" y="4875083"/>
                </a:moveTo>
                <a:cubicBezTo>
                  <a:pt x="1831145" y="4876426"/>
                  <a:pt x="1829441" y="4879420"/>
                  <a:pt x="1827737" y="4880040"/>
                </a:cubicBezTo>
                <a:cubicBezTo>
                  <a:pt x="1827273" y="4880246"/>
                  <a:pt x="1826654" y="4880246"/>
                  <a:pt x="1826189" y="4879833"/>
                </a:cubicBezTo>
                <a:cubicBezTo>
                  <a:pt x="1827737" y="4877975"/>
                  <a:pt x="1828822" y="4874361"/>
                  <a:pt x="1832229" y="4875083"/>
                </a:cubicBezTo>
                <a:close/>
                <a:moveTo>
                  <a:pt x="1358711" y="4874464"/>
                </a:moveTo>
                <a:cubicBezTo>
                  <a:pt x="1361500" y="4874774"/>
                  <a:pt x="1361345" y="4876736"/>
                  <a:pt x="1363203" y="4876632"/>
                </a:cubicBezTo>
                <a:cubicBezTo>
                  <a:pt x="1362119" y="4880866"/>
                  <a:pt x="1359796" y="4882002"/>
                  <a:pt x="1356078" y="4882002"/>
                </a:cubicBezTo>
                <a:cubicBezTo>
                  <a:pt x="1355149" y="4879730"/>
                  <a:pt x="1356388" y="4875600"/>
                  <a:pt x="1358711" y="4874464"/>
                </a:cubicBezTo>
                <a:close/>
                <a:moveTo>
                  <a:pt x="990058" y="4874154"/>
                </a:moveTo>
                <a:cubicBezTo>
                  <a:pt x="990058" y="4874154"/>
                  <a:pt x="990368" y="4875290"/>
                  <a:pt x="990987" y="4875703"/>
                </a:cubicBezTo>
                <a:cubicBezTo>
                  <a:pt x="990987" y="4875703"/>
                  <a:pt x="991297" y="4876839"/>
                  <a:pt x="991452" y="4878078"/>
                </a:cubicBezTo>
                <a:cubicBezTo>
                  <a:pt x="991452" y="4878078"/>
                  <a:pt x="992072" y="4878491"/>
                  <a:pt x="992846" y="4878904"/>
                </a:cubicBezTo>
                <a:cubicBezTo>
                  <a:pt x="993931" y="4881692"/>
                  <a:pt x="994705" y="4883241"/>
                  <a:pt x="992227" y="4885822"/>
                </a:cubicBezTo>
                <a:cubicBezTo>
                  <a:pt x="991917" y="4885512"/>
                  <a:pt x="991607" y="4884893"/>
                  <a:pt x="991297" y="4884067"/>
                </a:cubicBezTo>
                <a:cubicBezTo>
                  <a:pt x="991143" y="4883344"/>
                  <a:pt x="990987" y="4882415"/>
                  <a:pt x="990833" y="4881795"/>
                </a:cubicBezTo>
                <a:cubicBezTo>
                  <a:pt x="990213" y="4881382"/>
                  <a:pt x="990058" y="4880246"/>
                  <a:pt x="990523" y="4879523"/>
                </a:cubicBezTo>
                <a:cubicBezTo>
                  <a:pt x="990523" y="4879523"/>
                  <a:pt x="990368" y="4878387"/>
                  <a:pt x="989594" y="4877871"/>
                </a:cubicBezTo>
                <a:cubicBezTo>
                  <a:pt x="989283" y="4875600"/>
                  <a:pt x="989594" y="4874877"/>
                  <a:pt x="990058" y="4874154"/>
                </a:cubicBezTo>
                <a:close/>
                <a:moveTo>
                  <a:pt x="1685581" y="4873870"/>
                </a:moveTo>
                <a:cubicBezTo>
                  <a:pt x="1686937" y="4874877"/>
                  <a:pt x="1687866" y="4876735"/>
                  <a:pt x="1687711" y="4878078"/>
                </a:cubicBezTo>
                <a:cubicBezTo>
                  <a:pt x="1686472" y="4879937"/>
                  <a:pt x="1685078" y="4880349"/>
                  <a:pt x="1683994" y="4879937"/>
                </a:cubicBezTo>
                <a:cubicBezTo>
                  <a:pt x="1682909" y="4879626"/>
                  <a:pt x="1681825" y="4878387"/>
                  <a:pt x="1681360" y="4877148"/>
                </a:cubicBezTo>
                <a:cubicBezTo>
                  <a:pt x="1681051" y="4876322"/>
                  <a:pt x="1680741" y="4875497"/>
                  <a:pt x="1680896" y="4874774"/>
                </a:cubicBezTo>
                <a:cubicBezTo>
                  <a:pt x="1682445" y="4872709"/>
                  <a:pt x="1684226" y="4872863"/>
                  <a:pt x="1685581" y="4873870"/>
                </a:cubicBezTo>
                <a:close/>
                <a:moveTo>
                  <a:pt x="1458929" y="4873638"/>
                </a:moveTo>
                <a:cubicBezTo>
                  <a:pt x="1461872" y="4876013"/>
                  <a:pt x="1461562" y="4879523"/>
                  <a:pt x="1464506" y="4882828"/>
                </a:cubicBezTo>
                <a:cubicBezTo>
                  <a:pt x="1463111" y="4885512"/>
                  <a:pt x="1466364" y="4889643"/>
                  <a:pt x="1464351" y="4893256"/>
                </a:cubicBezTo>
                <a:cubicBezTo>
                  <a:pt x="1458774" y="4890055"/>
                  <a:pt x="1456915" y="4876322"/>
                  <a:pt x="1458929" y="4873638"/>
                </a:cubicBezTo>
                <a:close/>
                <a:moveTo>
                  <a:pt x="1948712" y="4872399"/>
                </a:moveTo>
                <a:cubicBezTo>
                  <a:pt x="1949486" y="4872089"/>
                  <a:pt x="1949796" y="4872915"/>
                  <a:pt x="1949021" y="4873225"/>
                </a:cubicBezTo>
                <a:cubicBezTo>
                  <a:pt x="1948866" y="4874257"/>
                  <a:pt x="1948402" y="4874464"/>
                  <a:pt x="1947627" y="4874361"/>
                </a:cubicBezTo>
                <a:cubicBezTo>
                  <a:pt x="1947008" y="4874257"/>
                  <a:pt x="1946233" y="4873948"/>
                  <a:pt x="1945769" y="4873638"/>
                </a:cubicBezTo>
                <a:cubicBezTo>
                  <a:pt x="1947937" y="4872709"/>
                  <a:pt x="1948557" y="4871573"/>
                  <a:pt x="1948712" y="4872399"/>
                </a:cubicBezTo>
                <a:close/>
                <a:moveTo>
                  <a:pt x="1304962" y="4870643"/>
                </a:moveTo>
                <a:cubicBezTo>
                  <a:pt x="1305737" y="4874361"/>
                  <a:pt x="1301710" y="4883344"/>
                  <a:pt x="1294739" y="4883138"/>
                </a:cubicBezTo>
                <a:cubicBezTo>
                  <a:pt x="1294585" y="4874567"/>
                  <a:pt x="1300006" y="4872915"/>
                  <a:pt x="1304962" y="4870643"/>
                </a:cubicBezTo>
                <a:close/>
                <a:moveTo>
                  <a:pt x="1275377" y="4870437"/>
                </a:moveTo>
                <a:cubicBezTo>
                  <a:pt x="1279869" y="4874154"/>
                  <a:pt x="1280953" y="4878801"/>
                  <a:pt x="1282038" y="4883550"/>
                </a:cubicBezTo>
                <a:cubicBezTo>
                  <a:pt x="1280489" y="4885822"/>
                  <a:pt x="1279095" y="4886854"/>
                  <a:pt x="1277856" y="4886854"/>
                </a:cubicBezTo>
                <a:cubicBezTo>
                  <a:pt x="1274138" y="4887061"/>
                  <a:pt x="1271505" y="4879110"/>
                  <a:pt x="1268872" y="4875083"/>
                </a:cubicBezTo>
                <a:cubicBezTo>
                  <a:pt x="1270885" y="4872089"/>
                  <a:pt x="1271815" y="4871366"/>
                  <a:pt x="1275377" y="4870437"/>
                </a:cubicBezTo>
                <a:close/>
                <a:moveTo>
                  <a:pt x="1788549" y="4869714"/>
                </a:moveTo>
                <a:cubicBezTo>
                  <a:pt x="1790408" y="4871366"/>
                  <a:pt x="1789943" y="4873225"/>
                  <a:pt x="1789168" y="4874154"/>
                </a:cubicBezTo>
                <a:cubicBezTo>
                  <a:pt x="1788858" y="4875393"/>
                  <a:pt x="1787929" y="4876116"/>
                  <a:pt x="1786690" y="4876426"/>
                </a:cubicBezTo>
                <a:cubicBezTo>
                  <a:pt x="1785451" y="4876736"/>
                  <a:pt x="1783902" y="4876632"/>
                  <a:pt x="1782663" y="4876219"/>
                </a:cubicBezTo>
                <a:cubicBezTo>
                  <a:pt x="1783437" y="4876219"/>
                  <a:pt x="1783437" y="4876219"/>
                  <a:pt x="1783437" y="4876219"/>
                </a:cubicBezTo>
                <a:cubicBezTo>
                  <a:pt x="1784211" y="4875290"/>
                  <a:pt x="1783437" y="4875290"/>
                  <a:pt x="1783282" y="4874464"/>
                </a:cubicBezTo>
                <a:cubicBezTo>
                  <a:pt x="1783282" y="4874464"/>
                  <a:pt x="1783437" y="4875290"/>
                  <a:pt x="1782508" y="4874464"/>
                </a:cubicBezTo>
                <a:cubicBezTo>
                  <a:pt x="1783282" y="4874464"/>
                  <a:pt x="1783128" y="4873535"/>
                  <a:pt x="1782972" y="4872709"/>
                </a:cubicBezTo>
                <a:cubicBezTo>
                  <a:pt x="1784521" y="4870850"/>
                  <a:pt x="1786690" y="4868888"/>
                  <a:pt x="1788549" y="4869714"/>
                </a:cubicBezTo>
                <a:close/>
                <a:moveTo>
                  <a:pt x="953193" y="4869301"/>
                </a:moveTo>
                <a:lnTo>
                  <a:pt x="953813" y="4870643"/>
                </a:lnTo>
                <a:lnTo>
                  <a:pt x="957065" y="4871056"/>
                </a:lnTo>
                <a:cubicBezTo>
                  <a:pt x="958770" y="4870230"/>
                  <a:pt x="959854" y="4868578"/>
                  <a:pt x="961403" y="4869508"/>
                </a:cubicBezTo>
                <a:cubicBezTo>
                  <a:pt x="958770" y="4871160"/>
                  <a:pt x="957840" y="4871882"/>
                  <a:pt x="955981" y="4872709"/>
                </a:cubicBezTo>
                <a:lnTo>
                  <a:pt x="955516" y="4873948"/>
                </a:lnTo>
                <a:lnTo>
                  <a:pt x="955671" y="4874051"/>
                </a:lnTo>
                <a:lnTo>
                  <a:pt x="955361" y="4874464"/>
                </a:lnTo>
                <a:lnTo>
                  <a:pt x="954897" y="4875290"/>
                </a:lnTo>
                <a:lnTo>
                  <a:pt x="954587" y="4875497"/>
                </a:lnTo>
                <a:lnTo>
                  <a:pt x="953503" y="4877562"/>
                </a:lnTo>
                <a:cubicBezTo>
                  <a:pt x="952573" y="4879420"/>
                  <a:pt x="951799" y="4881279"/>
                  <a:pt x="951799" y="4881279"/>
                </a:cubicBezTo>
                <a:cubicBezTo>
                  <a:pt x="950715" y="4881692"/>
                  <a:pt x="950095" y="4881898"/>
                  <a:pt x="949785" y="4881588"/>
                </a:cubicBezTo>
                <a:cubicBezTo>
                  <a:pt x="949321" y="4881279"/>
                  <a:pt x="949011" y="4880556"/>
                  <a:pt x="948546" y="4879214"/>
                </a:cubicBezTo>
                <a:lnTo>
                  <a:pt x="949321" y="4876013"/>
                </a:lnTo>
                <a:lnTo>
                  <a:pt x="948856" y="4875083"/>
                </a:lnTo>
                <a:cubicBezTo>
                  <a:pt x="948856" y="4874361"/>
                  <a:pt x="949166" y="4873535"/>
                  <a:pt x="950095" y="4872709"/>
                </a:cubicBezTo>
                <a:lnTo>
                  <a:pt x="951024" y="4872089"/>
                </a:lnTo>
                <a:close/>
                <a:moveTo>
                  <a:pt x="2088893" y="4867959"/>
                </a:moveTo>
                <a:cubicBezTo>
                  <a:pt x="2089512" y="4868372"/>
                  <a:pt x="2089822" y="4869198"/>
                  <a:pt x="2089977" y="4870230"/>
                </a:cubicBezTo>
                <a:cubicBezTo>
                  <a:pt x="2090286" y="4873328"/>
                  <a:pt x="2088893" y="4878491"/>
                  <a:pt x="2087653" y="4880969"/>
                </a:cubicBezTo>
                <a:cubicBezTo>
                  <a:pt x="2087034" y="4880556"/>
                  <a:pt x="2086724" y="4879730"/>
                  <a:pt x="2086724" y="4878697"/>
                </a:cubicBezTo>
                <a:cubicBezTo>
                  <a:pt x="2086260" y="4875600"/>
                  <a:pt x="2087653" y="4870437"/>
                  <a:pt x="2088893" y="4867959"/>
                </a:cubicBezTo>
                <a:close/>
                <a:moveTo>
                  <a:pt x="1909987" y="4866926"/>
                </a:moveTo>
                <a:cubicBezTo>
                  <a:pt x="1909987" y="4867855"/>
                  <a:pt x="1910762" y="4869714"/>
                  <a:pt x="1909832" y="4870540"/>
                </a:cubicBezTo>
                <a:cubicBezTo>
                  <a:pt x="1909368" y="4870850"/>
                  <a:pt x="1909213" y="4871056"/>
                  <a:pt x="1908903" y="4871160"/>
                </a:cubicBezTo>
                <a:cubicBezTo>
                  <a:pt x="1908593" y="4871160"/>
                  <a:pt x="1908129" y="4871056"/>
                  <a:pt x="1907354" y="4871056"/>
                </a:cubicBezTo>
                <a:cubicBezTo>
                  <a:pt x="1908283" y="4868475"/>
                  <a:pt x="1908283" y="4868475"/>
                  <a:pt x="1909987" y="4866926"/>
                </a:cubicBezTo>
                <a:close/>
                <a:moveTo>
                  <a:pt x="1291022" y="4866926"/>
                </a:moveTo>
                <a:cubicBezTo>
                  <a:pt x="1294120" y="4867029"/>
                  <a:pt x="1294120" y="4870127"/>
                  <a:pt x="1295513" y="4873535"/>
                </a:cubicBezTo>
                <a:cubicBezTo>
                  <a:pt x="1294275" y="4873225"/>
                  <a:pt x="1294120" y="4874361"/>
                  <a:pt x="1293965" y="4875600"/>
                </a:cubicBezTo>
                <a:cubicBezTo>
                  <a:pt x="1292106" y="4875186"/>
                  <a:pt x="1289318" y="4874877"/>
                  <a:pt x="1288389" y="4872709"/>
                </a:cubicBezTo>
                <a:cubicBezTo>
                  <a:pt x="1288078" y="4871986"/>
                  <a:pt x="1287924" y="4871056"/>
                  <a:pt x="1288078" y="4869817"/>
                </a:cubicBezTo>
                <a:cubicBezTo>
                  <a:pt x="1287614" y="4869095"/>
                  <a:pt x="1289937" y="4866616"/>
                  <a:pt x="1291022" y="4866926"/>
                </a:cubicBezTo>
                <a:close/>
                <a:moveTo>
                  <a:pt x="1838735" y="4866616"/>
                </a:moveTo>
                <a:cubicBezTo>
                  <a:pt x="1839355" y="4866823"/>
                  <a:pt x="1839355" y="4867236"/>
                  <a:pt x="1839355" y="4867752"/>
                </a:cubicBezTo>
                <a:cubicBezTo>
                  <a:pt x="1839200" y="4868269"/>
                  <a:pt x="1839045" y="4868888"/>
                  <a:pt x="1838735" y="4869508"/>
                </a:cubicBezTo>
                <a:cubicBezTo>
                  <a:pt x="1838271" y="4870643"/>
                  <a:pt x="1837651" y="4871779"/>
                  <a:pt x="1837031" y="4872915"/>
                </a:cubicBezTo>
                <a:cubicBezTo>
                  <a:pt x="1837031" y="4872915"/>
                  <a:pt x="1837031" y="4872915"/>
                  <a:pt x="1838735" y="4866616"/>
                </a:cubicBezTo>
                <a:close/>
                <a:moveTo>
                  <a:pt x="6593422" y="4865395"/>
                </a:moveTo>
                <a:cubicBezTo>
                  <a:pt x="6598069" y="4872004"/>
                  <a:pt x="6598379" y="4881297"/>
                  <a:pt x="6595126" y="4889557"/>
                </a:cubicBezTo>
                <a:cubicBezTo>
                  <a:pt x="6591873" y="4897714"/>
                  <a:pt x="6585213" y="4904839"/>
                  <a:pt x="6575764" y="4907214"/>
                </a:cubicBezTo>
                <a:cubicBezTo>
                  <a:pt x="6577158" y="4900606"/>
                  <a:pt x="6577933" y="4891209"/>
                  <a:pt x="6580101" y="4882949"/>
                </a:cubicBezTo>
                <a:cubicBezTo>
                  <a:pt x="6582269" y="4874688"/>
                  <a:pt x="6585987" y="4867460"/>
                  <a:pt x="6593422" y="4865395"/>
                </a:cubicBezTo>
                <a:close/>
                <a:moveTo>
                  <a:pt x="876519" y="4865377"/>
                </a:moveTo>
                <a:cubicBezTo>
                  <a:pt x="879152" y="4863725"/>
                  <a:pt x="885348" y="4868062"/>
                  <a:pt x="887517" y="4870643"/>
                </a:cubicBezTo>
                <a:cubicBezTo>
                  <a:pt x="886897" y="4871056"/>
                  <a:pt x="885968" y="4871160"/>
                  <a:pt x="885039" y="4870953"/>
                </a:cubicBezTo>
                <a:cubicBezTo>
                  <a:pt x="882096" y="4870334"/>
                  <a:pt x="878223" y="4867339"/>
                  <a:pt x="876519" y="4865377"/>
                </a:cubicBezTo>
                <a:close/>
                <a:moveTo>
                  <a:pt x="1910142" y="4864448"/>
                </a:moveTo>
                <a:cubicBezTo>
                  <a:pt x="1910917" y="4864551"/>
                  <a:pt x="1910917" y="4865481"/>
                  <a:pt x="1909987" y="4866307"/>
                </a:cubicBezTo>
                <a:cubicBezTo>
                  <a:pt x="1909987" y="4866307"/>
                  <a:pt x="1909213" y="4866204"/>
                  <a:pt x="1909213" y="4866204"/>
                </a:cubicBezTo>
                <a:cubicBezTo>
                  <a:pt x="1909368" y="4865274"/>
                  <a:pt x="1909368" y="4864345"/>
                  <a:pt x="1910142" y="4864448"/>
                </a:cubicBezTo>
                <a:close/>
                <a:moveTo>
                  <a:pt x="1020883" y="4863725"/>
                </a:moveTo>
                <a:cubicBezTo>
                  <a:pt x="1020883" y="4863725"/>
                  <a:pt x="1021193" y="4864964"/>
                  <a:pt x="1021348" y="4866204"/>
                </a:cubicBezTo>
                <a:cubicBezTo>
                  <a:pt x="1021502" y="4867339"/>
                  <a:pt x="1021502" y="4867339"/>
                  <a:pt x="1022741" y="4867029"/>
                </a:cubicBezTo>
                <a:cubicBezTo>
                  <a:pt x="1022896" y="4868269"/>
                  <a:pt x="1022896" y="4868269"/>
                  <a:pt x="1021967" y="4869817"/>
                </a:cubicBezTo>
                <a:cubicBezTo>
                  <a:pt x="1021657" y="4868578"/>
                  <a:pt x="1019643" y="4864035"/>
                  <a:pt x="1020883" y="4863725"/>
                </a:cubicBezTo>
                <a:close/>
                <a:moveTo>
                  <a:pt x="5897415" y="4863704"/>
                </a:moveTo>
                <a:cubicBezTo>
                  <a:pt x="5899293" y="4862969"/>
                  <a:pt x="5901655" y="4863330"/>
                  <a:pt x="5902740" y="4864569"/>
                </a:cubicBezTo>
                <a:cubicBezTo>
                  <a:pt x="5902740" y="4867873"/>
                  <a:pt x="5899951" y="4870042"/>
                  <a:pt x="5897318" y="4870145"/>
                </a:cubicBezTo>
                <a:cubicBezTo>
                  <a:pt x="5896544" y="4870145"/>
                  <a:pt x="5895614" y="4869835"/>
                  <a:pt x="5894995" y="4869422"/>
                </a:cubicBezTo>
                <a:cubicBezTo>
                  <a:pt x="5894143" y="4866273"/>
                  <a:pt x="5895537" y="4864440"/>
                  <a:pt x="5897415" y="4863704"/>
                </a:cubicBezTo>
                <a:close/>
                <a:moveTo>
                  <a:pt x="2028793" y="4863622"/>
                </a:moveTo>
                <a:cubicBezTo>
                  <a:pt x="2030342" y="4865377"/>
                  <a:pt x="2030806" y="4867855"/>
                  <a:pt x="2029877" y="4868785"/>
                </a:cubicBezTo>
                <a:cubicBezTo>
                  <a:pt x="2028638" y="4870024"/>
                  <a:pt x="2027089" y="4871263"/>
                  <a:pt x="2025695" y="4870747"/>
                </a:cubicBezTo>
                <a:cubicBezTo>
                  <a:pt x="2025075" y="4870540"/>
                  <a:pt x="2024611" y="4870230"/>
                  <a:pt x="2023991" y="4869508"/>
                </a:cubicBezTo>
                <a:cubicBezTo>
                  <a:pt x="2023991" y="4869508"/>
                  <a:pt x="2023991" y="4869508"/>
                  <a:pt x="2024146" y="4868681"/>
                </a:cubicBezTo>
                <a:cubicBezTo>
                  <a:pt x="2024301" y="4866926"/>
                  <a:pt x="2024301" y="4866100"/>
                  <a:pt x="2024456" y="4865171"/>
                </a:cubicBezTo>
                <a:cubicBezTo>
                  <a:pt x="2025385" y="4864345"/>
                  <a:pt x="2028018" y="4862693"/>
                  <a:pt x="2028793" y="4863622"/>
                </a:cubicBezTo>
                <a:close/>
                <a:moveTo>
                  <a:pt x="1553726" y="4862899"/>
                </a:moveTo>
                <a:cubicBezTo>
                  <a:pt x="1553416" y="4865377"/>
                  <a:pt x="1553261" y="4866616"/>
                  <a:pt x="1553726" y="4868475"/>
                </a:cubicBezTo>
                <a:cubicBezTo>
                  <a:pt x="1550163" y="4868269"/>
                  <a:pt x="1547530" y="4869095"/>
                  <a:pt x="1545361" y="4869198"/>
                </a:cubicBezTo>
                <a:cubicBezTo>
                  <a:pt x="1543193" y="4869301"/>
                  <a:pt x="1541644" y="4868785"/>
                  <a:pt x="1540560" y="4865997"/>
                </a:cubicBezTo>
                <a:cubicBezTo>
                  <a:pt x="1542573" y="4863002"/>
                  <a:pt x="1548305" y="4863312"/>
                  <a:pt x="1553726" y="4862899"/>
                </a:cubicBezTo>
                <a:close/>
                <a:moveTo>
                  <a:pt x="1213574" y="4862383"/>
                </a:moveTo>
                <a:cubicBezTo>
                  <a:pt x="1214658" y="4862073"/>
                  <a:pt x="1215897" y="4861867"/>
                  <a:pt x="1216052" y="4863002"/>
                </a:cubicBezTo>
                <a:cubicBezTo>
                  <a:pt x="1216052" y="4863002"/>
                  <a:pt x="1215588" y="4863725"/>
                  <a:pt x="1213264" y="4864345"/>
                </a:cubicBezTo>
                <a:cubicBezTo>
                  <a:pt x="1213728" y="4863622"/>
                  <a:pt x="1213109" y="4863209"/>
                  <a:pt x="1213109" y="4863209"/>
                </a:cubicBezTo>
                <a:cubicBezTo>
                  <a:pt x="1213109" y="4863209"/>
                  <a:pt x="1213109" y="4863106"/>
                  <a:pt x="1212644" y="4863932"/>
                </a:cubicBezTo>
                <a:cubicBezTo>
                  <a:pt x="1212489" y="4863312"/>
                  <a:pt x="1212644" y="4863002"/>
                  <a:pt x="1212955" y="4862796"/>
                </a:cubicBezTo>
                <a:cubicBezTo>
                  <a:pt x="1213264" y="4862486"/>
                  <a:pt x="1213574" y="4862383"/>
                  <a:pt x="1213574" y="4862383"/>
                </a:cubicBezTo>
                <a:close/>
                <a:moveTo>
                  <a:pt x="6297261" y="4861781"/>
                </a:moveTo>
                <a:cubicBezTo>
                  <a:pt x="6299274" y="4859200"/>
                  <a:pt x="6301597" y="4860955"/>
                  <a:pt x="6304695" y="4861884"/>
                </a:cubicBezTo>
                <a:cubicBezTo>
                  <a:pt x="6303766" y="4862814"/>
                  <a:pt x="6304540" y="4863640"/>
                  <a:pt x="6305315" y="4864569"/>
                </a:cubicBezTo>
                <a:cubicBezTo>
                  <a:pt x="6303921" y="4865808"/>
                  <a:pt x="6302062" y="4868080"/>
                  <a:pt x="6299894" y="4867667"/>
                </a:cubicBezTo>
                <a:lnTo>
                  <a:pt x="6297880" y="4866221"/>
                </a:lnTo>
                <a:lnTo>
                  <a:pt x="6299894" y="4870145"/>
                </a:lnTo>
                <a:cubicBezTo>
                  <a:pt x="6300204" y="4871797"/>
                  <a:pt x="6299894" y="4873346"/>
                  <a:pt x="6299274" y="4874998"/>
                </a:cubicBezTo>
                <a:cubicBezTo>
                  <a:pt x="6295712" y="4884704"/>
                  <a:pt x="6278363" y="4893997"/>
                  <a:pt x="6270618" y="4894204"/>
                </a:cubicBezTo>
                <a:cubicBezTo>
                  <a:pt x="6268915" y="4890590"/>
                  <a:pt x="6269069" y="4887079"/>
                  <a:pt x="6270308" y="4883878"/>
                </a:cubicBezTo>
                <a:cubicBezTo>
                  <a:pt x="6273406" y="4876547"/>
                  <a:pt x="6282545" y="4870661"/>
                  <a:pt x="6290290" y="4867564"/>
                </a:cubicBezTo>
                <a:lnTo>
                  <a:pt x="6297416" y="4865395"/>
                </a:lnTo>
                <a:lnTo>
                  <a:pt x="6296951" y="4864259"/>
                </a:lnTo>
                <a:cubicBezTo>
                  <a:pt x="6296796" y="4863330"/>
                  <a:pt x="6296796" y="4862194"/>
                  <a:pt x="6297261" y="4861781"/>
                </a:cubicBezTo>
                <a:close/>
                <a:moveTo>
                  <a:pt x="1796758" y="4861660"/>
                </a:moveTo>
                <a:cubicBezTo>
                  <a:pt x="1796758" y="4861660"/>
                  <a:pt x="1796758" y="4861660"/>
                  <a:pt x="1797533" y="4861763"/>
                </a:cubicBezTo>
                <a:cubicBezTo>
                  <a:pt x="1799236" y="4862073"/>
                  <a:pt x="1800011" y="4862176"/>
                  <a:pt x="1800786" y="4862383"/>
                </a:cubicBezTo>
                <a:cubicBezTo>
                  <a:pt x="1801560" y="4863312"/>
                  <a:pt x="1803109" y="4866204"/>
                  <a:pt x="1802179" y="4866926"/>
                </a:cubicBezTo>
                <a:cubicBezTo>
                  <a:pt x="1801405" y="4867649"/>
                  <a:pt x="1800321" y="4868165"/>
                  <a:pt x="1799392" y="4868269"/>
                </a:cubicBezTo>
                <a:cubicBezTo>
                  <a:pt x="1798462" y="4868475"/>
                  <a:pt x="1797533" y="4868372"/>
                  <a:pt x="1797223" y="4867855"/>
                </a:cubicBezTo>
                <a:cubicBezTo>
                  <a:pt x="1795984" y="4866307"/>
                  <a:pt x="1794900" y="4864861"/>
                  <a:pt x="1795519" y="4863312"/>
                </a:cubicBezTo>
                <a:cubicBezTo>
                  <a:pt x="1795674" y="4862693"/>
                  <a:pt x="1795984" y="4862176"/>
                  <a:pt x="1796758" y="4861660"/>
                </a:cubicBezTo>
                <a:close/>
                <a:moveTo>
                  <a:pt x="1220234" y="4861247"/>
                </a:moveTo>
                <a:cubicBezTo>
                  <a:pt x="1221938" y="4860214"/>
                  <a:pt x="1222557" y="4860628"/>
                  <a:pt x="1223022" y="4863106"/>
                </a:cubicBezTo>
                <a:cubicBezTo>
                  <a:pt x="1222093" y="4863622"/>
                  <a:pt x="1220699" y="4863932"/>
                  <a:pt x="1219305" y="4863932"/>
                </a:cubicBezTo>
                <a:cubicBezTo>
                  <a:pt x="1217910" y="4864035"/>
                  <a:pt x="1216671" y="4863725"/>
                  <a:pt x="1216207" y="4862899"/>
                </a:cubicBezTo>
                <a:cubicBezTo>
                  <a:pt x="1217756" y="4861867"/>
                  <a:pt x="1218995" y="4861557"/>
                  <a:pt x="1220234" y="4861247"/>
                </a:cubicBezTo>
                <a:close/>
                <a:moveTo>
                  <a:pt x="1070914" y="4861247"/>
                </a:moveTo>
                <a:cubicBezTo>
                  <a:pt x="1072618" y="4861970"/>
                  <a:pt x="1074941" y="4860937"/>
                  <a:pt x="1076955" y="4862589"/>
                </a:cubicBezTo>
                <a:cubicBezTo>
                  <a:pt x="1076955" y="4862589"/>
                  <a:pt x="1077885" y="4863415"/>
                  <a:pt x="1078039" y="4865171"/>
                </a:cubicBezTo>
                <a:cubicBezTo>
                  <a:pt x="1080053" y="4867649"/>
                  <a:pt x="1078039" y="4870334"/>
                  <a:pt x="1078039" y="4870334"/>
                </a:cubicBezTo>
                <a:cubicBezTo>
                  <a:pt x="1078039" y="4870334"/>
                  <a:pt x="1078039" y="4870437"/>
                  <a:pt x="1078814" y="4870334"/>
                </a:cubicBezTo>
                <a:cubicBezTo>
                  <a:pt x="1077265" y="4870437"/>
                  <a:pt x="1075716" y="4871470"/>
                  <a:pt x="1074012" y="4871573"/>
                </a:cubicBezTo>
                <a:cubicBezTo>
                  <a:pt x="1066732" y="4866719"/>
                  <a:pt x="1068901" y="4864861"/>
                  <a:pt x="1070914" y="4861247"/>
                </a:cubicBezTo>
                <a:close/>
                <a:moveTo>
                  <a:pt x="1910297" y="4860008"/>
                </a:moveTo>
                <a:cubicBezTo>
                  <a:pt x="1910297" y="4860008"/>
                  <a:pt x="1910917" y="4861041"/>
                  <a:pt x="1910917" y="4861041"/>
                </a:cubicBezTo>
                <a:cubicBezTo>
                  <a:pt x="1910607" y="4861453"/>
                  <a:pt x="1910607" y="4861763"/>
                  <a:pt x="1910452" y="4861867"/>
                </a:cubicBezTo>
                <a:cubicBezTo>
                  <a:pt x="1910297" y="4861970"/>
                  <a:pt x="1910142" y="4861970"/>
                  <a:pt x="1909368" y="4861867"/>
                </a:cubicBezTo>
                <a:cubicBezTo>
                  <a:pt x="1910142" y="4861041"/>
                  <a:pt x="1910297" y="4860937"/>
                  <a:pt x="1910297" y="4860008"/>
                </a:cubicBezTo>
                <a:close/>
                <a:moveTo>
                  <a:pt x="748730" y="4859698"/>
                </a:moveTo>
                <a:cubicBezTo>
                  <a:pt x="755235" y="4862383"/>
                  <a:pt x="758489" y="4862486"/>
                  <a:pt x="763290" y="4865171"/>
                </a:cubicBezTo>
                <a:cubicBezTo>
                  <a:pt x="763290" y="4866100"/>
                  <a:pt x="762361" y="4866100"/>
                  <a:pt x="762361" y="4866926"/>
                </a:cubicBezTo>
                <a:cubicBezTo>
                  <a:pt x="761896" y="4867339"/>
                  <a:pt x="760967" y="4867546"/>
                  <a:pt x="760037" y="4867546"/>
                </a:cubicBezTo>
                <a:cubicBezTo>
                  <a:pt x="756940" y="4867442"/>
                  <a:pt x="752293" y="4865687"/>
                  <a:pt x="752447" y="4864964"/>
                </a:cubicBezTo>
                <a:cubicBezTo>
                  <a:pt x="751518" y="4864964"/>
                  <a:pt x="751673" y="4864138"/>
                  <a:pt x="750899" y="4864138"/>
                </a:cubicBezTo>
                <a:cubicBezTo>
                  <a:pt x="750899" y="4864138"/>
                  <a:pt x="749969" y="4864138"/>
                  <a:pt x="749194" y="4863209"/>
                </a:cubicBezTo>
                <a:cubicBezTo>
                  <a:pt x="748885" y="4862796"/>
                  <a:pt x="748420" y="4862280"/>
                  <a:pt x="748265" y="4861763"/>
                </a:cubicBezTo>
                <a:cubicBezTo>
                  <a:pt x="748111" y="4861144"/>
                  <a:pt x="748265" y="4860524"/>
                  <a:pt x="748730" y="4859698"/>
                </a:cubicBezTo>
                <a:close/>
                <a:moveTo>
                  <a:pt x="858551" y="4859079"/>
                </a:moveTo>
                <a:cubicBezTo>
                  <a:pt x="859325" y="4859905"/>
                  <a:pt x="860100" y="4860834"/>
                  <a:pt x="859946" y="4862589"/>
                </a:cubicBezTo>
                <a:cubicBezTo>
                  <a:pt x="858087" y="4864345"/>
                  <a:pt x="855608" y="4863415"/>
                  <a:pt x="854679" y="4864242"/>
                </a:cubicBezTo>
                <a:cubicBezTo>
                  <a:pt x="854834" y="4863312"/>
                  <a:pt x="854989" y="4861660"/>
                  <a:pt x="853285" y="4860731"/>
                </a:cubicBezTo>
                <a:cubicBezTo>
                  <a:pt x="855144" y="4859079"/>
                  <a:pt x="857002" y="4857323"/>
                  <a:pt x="858551" y="4859079"/>
                </a:cubicBezTo>
                <a:close/>
                <a:moveTo>
                  <a:pt x="5969345" y="4858890"/>
                </a:moveTo>
                <a:cubicBezTo>
                  <a:pt x="5970894" y="4859819"/>
                  <a:pt x="5971668" y="4860645"/>
                  <a:pt x="5973217" y="4861575"/>
                </a:cubicBezTo>
                <a:cubicBezTo>
                  <a:pt x="5972908" y="4864156"/>
                  <a:pt x="5975231" y="4866841"/>
                  <a:pt x="5971359" y="4872004"/>
                </a:cubicBezTo>
                <a:cubicBezTo>
                  <a:pt x="5966712" y="4877063"/>
                  <a:pt x="5962065" y="4872623"/>
                  <a:pt x="5961910" y="4873552"/>
                </a:cubicBezTo>
                <a:cubicBezTo>
                  <a:pt x="5960981" y="4874378"/>
                  <a:pt x="5960981" y="4874378"/>
                  <a:pt x="5960981" y="4875308"/>
                </a:cubicBezTo>
                <a:cubicBezTo>
                  <a:pt x="5960051" y="4875205"/>
                  <a:pt x="5958347" y="4876134"/>
                  <a:pt x="5957418" y="4876960"/>
                </a:cubicBezTo>
                <a:cubicBezTo>
                  <a:pt x="5957418" y="4876031"/>
                  <a:pt x="5957573" y="4875205"/>
                  <a:pt x="5956798" y="4875205"/>
                </a:cubicBezTo>
                <a:cubicBezTo>
                  <a:pt x="5958502" y="4873449"/>
                  <a:pt x="5959432" y="4873552"/>
                  <a:pt x="5960361" y="4872726"/>
                </a:cubicBezTo>
                <a:cubicBezTo>
                  <a:pt x="5959432" y="4872623"/>
                  <a:pt x="5960361" y="4871797"/>
                  <a:pt x="5960361" y="4871797"/>
                </a:cubicBezTo>
                <a:cubicBezTo>
                  <a:pt x="5960361" y="4871797"/>
                  <a:pt x="5960361" y="4871797"/>
                  <a:pt x="5958967" y="4870042"/>
                </a:cubicBezTo>
                <a:cubicBezTo>
                  <a:pt x="5958967" y="4870042"/>
                  <a:pt x="5956024" y="4865705"/>
                  <a:pt x="5959896" y="4861368"/>
                </a:cubicBezTo>
                <a:cubicBezTo>
                  <a:pt x="5960516" y="4862298"/>
                  <a:pt x="5966092" y="4857135"/>
                  <a:pt x="5969345" y="4858890"/>
                </a:cubicBezTo>
                <a:close/>
                <a:moveTo>
                  <a:pt x="1420050" y="4858769"/>
                </a:moveTo>
                <a:cubicBezTo>
                  <a:pt x="1426556" y="4863622"/>
                  <a:pt x="1423304" y="4870437"/>
                  <a:pt x="1418657" y="4871160"/>
                </a:cubicBezTo>
                <a:cubicBezTo>
                  <a:pt x="1417108" y="4871470"/>
                  <a:pt x="1415248" y="4871056"/>
                  <a:pt x="1413700" y="4869611"/>
                </a:cubicBezTo>
                <a:cubicBezTo>
                  <a:pt x="1414319" y="4864551"/>
                  <a:pt x="1414164" y="4858459"/>
                  <a:pt x="1420050" y="4858769"/>
                </a:cubicBezTo>
                <a:close/>
                <a:moveTo>
                  <a:pt x="1493491" y="4858743"/>
                </a:moveTo>
                <a:cubicBezTo>
                  <a:pt x="1495524" y="4859492"/>
                  <a:pt x="1497034" y="4861557"/>
                  <a:pt x="1495020" y="4863519"/>
                </a:cubicBezTo>
                <a:cubicBezTo>
                  <a:pt x="1493161" y="4863519"/>
                  <a:pt x="1490993" y="4862693"/>
                  <a:pt x="1488824" y="4861867"/>
                </a:cubicBezTo>
                <a:cubicBezTo>
                  <a:pt x="1488902" y="4858563"/>
                  <a:pt x="1491458" y="4857995"/>
                  <a:pt x="1493491" y="4858743"/>
                </a:cubicBezTo>
                <a:close/>
                <a:moveTo>
                  <a:pt x="1500751" y="4858666"/>
                </a:moveTo>
                <a:cubicBezTo>
                  <a:pt x="1503229" y="4858562"/>
                  <a:pt x="1504779" y="4858459"/>
                  <a:pt x="1506792" y="4860111"/>
                </a:cubicBezTo>
                <a:lnTo>
                  <a:pt x="1508806" y="4863106"/>
                </a:lnTo>
                <a:lnTo>
                  <a:pt x="1510510" y="4861763"/>
                </a:lnTo>
                <a:cubicBezTo>
                  <a:pt x="1515621" y="4859698"/>
                  <a:pt x="1521662" y="4859388"/>
                  <a:pt x="1523676" y="4868165"/>
                </a:cubicBezTo>
                <a:lnTo>
                  <a:pt x="1523831" y="4868681"/>
                </a:lnTo>
                <a:lnTo>
                  <a:pt x="1527858" y="4864242"/>
                </a:lnTo>
                <a:cubicBezTo>
                  <a:pt x="1531421" y="4869404"/>
                  <a:pt x="1535603" y="4869508"/>
                  <a:pt x="1536532" y="4874980"/>
                </a:cubicBezTo>
                <a:cubicBezTo>
                  <a:pt x="1535293" y="4876632"/>
                  <a:pt x="1533589" y="4877562"/>
                  <a:pt x="1532040" y="4877768"/>
                </a:cubicBezTo>
                <a:cubicBezTo>
                  <a:pt x="1529717" y="4878181"/>
                  <a:pt x="1527394" y="4877148"/>
                  <a:pt x="1525690" y="4875497"/>
                </a:cubicBezTo>
                <a:lnTo>
                  <a:pt x="1525225" y="4874257"/>
                </a:lnTo>
                <a:lnTo>
                  <a:pt x="1521972" y="4877045"/>
                </a:lnTo>
                <a:cubicBezTo>
                  <a:pt x="1521043" y="4878181"/>
                  <a:pt x="1519649" y="4879523"/>
                  <a:pt x="1516550" y="4880659"/>
                </a:cubicBezTo>
                <a:cubicBezTo>
                  <a:pt x="1514537" y="4881588"/>
                  <a:pt x="1512833" y="4881898"/>
                  <a:pt x="1511284" y="4881898"/>
                </a:cubicBezTo>
                <a:lnTo>
                  <a:pt x="1510200" y="4881692"/>
                </a:lnTo>
                <a:lnTo>
                  <a:pt x="1510510" y="4881898"/>
                </a:lnTo>
                <a:cubicBezTo>
                  <a:pt x="1512679" y="4884067"/>
                  <a:pt x="1514227" y="4886235"/>
                  <a:pt x="1513918" y="4887474"/>
                </a:cubicBezTo>
                <a:cubicBezTo>
                  <a:pt x="1513143" y="4887577"/>
                  <a:pt x="1512369" y="4887577"/>
                  <a:pt x="1511439" y="4886854"/>
                </a:cubicBezTo>
                <a:cubicBezTo>
                  <a:pt x="1510510" y="4886029"/>
                  <a:pt x="1511284" y="4885925"/>
                  <a:pt x="1510355" y="4885925"/>
                </a:cubicBezTo>
                <a:cubicBezTo>
                  <a:pt x="1509426" y="4885203"/>
                  <a:pt x="1509581" y="4886029"/>
                  <a:pt x="1509581" y="4886029"/>
                </a:cubicBezTo>
                <a:cubicBezTo>
                  <a:pt x="1509581" y="4886029"/>
                  <a:pt x="1509426" y="4885099"/>
                  <a:pt x="1509426" y="4885099"/>
                </a:cubicBezTo>
                <a:cubicBezTo>
                  <a:pt x="1509426" y="4885099"/>
                  <a:pt x="1509426" y="4885099"/>
                  <a:pt x="1507567" y="4883550"/>
                </a:cubicBezTo>
                <a:cubicBezTo>
                  <a:pt x="1504779" y="4881898"/>
                  <a:pt x="1504004" y="4882002"/>
                  <a:pt x="1502145" y="4881279"/>
                </a:cubicBezTo>
                <a:cubicBezTo>
                  <a:pt x="1500286" y="4879626"/>
                  <a:pt x="1500132" y="4878697"/>
                  <a:pt x="1497963" y="4876219"/>
                </a:cubicBezTo>
                <a:cubicBezTo>
                  <a:pt x="1498582" y="4874464"/>
                  <a:pt x="1498738" y="4874464"/>
                  <a:pt x="1499512" y="4874464"/>
                </a:cubicBezTo>
                <a:cubicBezTo>
                  <a:pt x="1498738" y="4874464"/>
                  <a:pt x="1498582" y="4873638"/>
                  <a:pt x="1497653" y="4872812"/>
                </a:cubicBezTo>
                <a:cubicBezTo>
                  <a:pt x="1493006" y="4870437"/>
                  <a:pt x="1494091" y="4865997"/>
                  <a:pt x="1496879" y="4861557"/>
                </a:cubicBezTo>
                <a:cubicBezTo>
                  <a:pt x="1497808" y="4862383"/>
                  <a:pt x="1499202" y="4859595"/>
                  <a:pt x="1500751" y="4858666"/>
                </a:cubicBezTo>
                <a:close/>
                <a:moveTo>
                  <a:pt x="1673635" y="4858478"/>
                </a:moveTo>
                <a:cubicBezTo>
                  <a:pt x="1675494" y="4857820"/>
                  <a:pt x="1677372" y="4857994"/>
                  <a:pt x="1679192" y="4859492"/>
                </a:cubicBezTo>
                <a:cubicBezTo>
                  <a:pt x="1675784" y="4863002"/>
                  <a:pt x="1667110" y="4874877"/>
                  <a:pt x="1661689" y="4874567"/>
                </a:cubicBezTo>
                <a:cubicBezTo>
                  <a:pt x="1660914" y="4874464"/>
                  <a:pt x="1660140" y="4874257"/>
                  <a:pt x="1659520" y="4873638"/>
                </a:cubicBezTo>
                <a:cubicBezTo>
                  <a:pt x="1662657" y="4869920"/>
                  <a:pt x="1668059" y="4860453"/>
                  <a:pt x="1673635" y="4858478"/>
                </a:cubicBezTo>
                <a:close/>
                <a:moveTo>
                  <a:pt x="1257254" y="4857323"/>
                </a:moveTo>
                <a:cubicBezTo>
                  <a:pt x="1257874" y="4857737"/>
                  <a:pt x="1259733" y="4857840"/>
                  <a:pt x="1259888" y="4859079"/>
                </a:cubicBezTo>
                <a:cubicBezTo>
                  <a:pt x="1260197" y="4860318"/>
                  <a:pt x="1260197" y="4860318"/>
                  <a:pt x="1259113" y="4861763"/>
                </a:cubicBezTo>
                <a:cubicBezTo>
                  <a:pt x="1258339" y="4860731"/>
                  <a:pt x="1258029" y="4860214"/>
                  <a:pt x="1257719" y="4859698"/>
                </a:cubicBezTo>
                <a:cubicBezTo>
                  <a:pt x="1257564" y="4859079"/>
                  <a:pt x="1257409" y="4858562"/>
                  <a:pt x="1257254" y="4857323"/>
                </a:cubicBezTo>
                <a:close/>
                <a:moveTo>
                  <a:pt x="1255241" y="4855981"/>
                </a:moveTo>
                <a:cubicBezTo>
                  <a:pt x="1255706" y="4855258"/>
                  <a:pt x="1256480" y="4855775"/>
                  <a:pt x="1256790" y="4856910"/>
                </a:cubicBezTo>
                <a:cubicBezTo>
                  <a:pt x="1256790" y="4856910"/>
                  <a:pt x="1256325" y="4857633"/>
                  <a:pt x="1256325" y="4857633"/>
                </a:cubicBezTo>
                <a:cubicBezTo>
                  <a:pt x="1255860" y="4857323"/>
                  <a:pt x="1255551" y="4857117"/>
                  <a:pt x="1255241" y="4856910"/>
                </a:cubicBezTo>
                <a:cubicBezTo>
                  <a:pt x="1255086" y="4856601"/>
                  <a:pt x="1255086" y="4856291"/>
                  <a:pt x="1255241" y="4855981"/>
                </a:cubicBezTo>
                <a:close/>
                <a:moveTo>
                  <a:pt x="6042301" y="4855689"/>
                </a:moveTo>
                <a:cubicBezTo>
                  <a:pt x="6042301" y="4856515"/>
                  <a:pt x="6041062" y="4859097"/>
                  <a:pt x="6041991" y="4859097"/>
                </a:cubicBezTo>
                <a:cubicBezTo>
                  <a:pt x="6039823" y="4861059"/>
                  <a:pt x="6037345" y="4863020"/>
                  <a:pt x="6035176" y="4863124"/>
                </a:cubicBezTo>
                <a:cubicBezTo>
                  <a:pt x="6034556" y="4863124"/>
                  <a:pt x="6033937" y="4862917"/>
                  <a:pt x="6033317" y="4862504"/>
                </a:cubicBezTo>
                <a:cubicBezTo>
                  <a:pt x="6031768" y="4861575"/>
                  <a:pt x="6032698" y="4859923"/>
                  <a:pt x="6034556" y="4858167"/>
                </a:cubicBezTo>
                <a:cubicBezTo>
                  <a:pt x="6037500" y="4853831"/>
                  <a:pt x="6040133" y="4853004"/>
                  <a:pt x="6042301" y="4855689"/>
                </a:cubicBezTo>
                <a:close/>
                <a:moveTo>
                  <a:pt x="1844157" y="4854845"/>
                </a:moveTo>
                <a:cubicBezTo>
                  <a:pt x="1845086" y="4856394"/>
                  <a:pt x="1848339" y="4855361"/>
                  <a:pt x="1848029" y="4857737"/>
                </a:cubicBezTo>
                <a:cubicBezTo>
                  <a:pt x="1846790" y="4857427"/>
                  <a:pt x="1845086" y="4856394"/>
                  <a:pt x="1844001" y="4856084"/>
                </a:cubicBezTo>
                <a:cubicBezTo>
                  <a:pt x="1844001" y="4856084"/>
                  <a:pt x="1844001" y="4856084"/>
                  <a:pt x="1844157" y="4854845"/>
                </a:cubicBezTo>
                <a:close/>
                <a:moveTo>
                  <a:pt x="998423" y="4854845"/>
                </a:moveTo>
                <a:cubicBezTo>
                  <a:pt x="1000591" y="4856291"/>
                  <a:pt x="1001521" y="4858252"/>
                  <a:pt x="1001366" y="4860111"/>
                </a:cubicBezTo>
                <a:cubicBezTo>
                  <a:pt x="1001211" y="4863209"/>
                  <a:pt x="998577" y="4866204"/>
                  <a:pt x="995480" y="4866926"/>
                </a:cubicBezTo>
                <a:cubicBezTo>
                  <a:pt x="994550" y="4867236"/>
                  <a:pt x="993466" y="4867236"/>
                  <a:pt x="992537" y="4866926"/>
                </a:cubicBezTo>
                <a:cubicBezTo>
                  <a:pt x="991297" y="4866513"/>
                  <a:pt x="990213" y="4865481"/>
                  <a:pt x="989283" y="4863829"/>
                </a:cubicBezTo>
                <a:cubicBezTo>
                  <a:pt x="989904" y="4860318"/>
                  <a:pt x="995790" y="4855465"/>
                  <a:pt x="998423" y="4854845"/>
                </a:cubicBezTo>
                <a:close/>
                <a:moveTo>
                  <a:pt x="907653" y="4854535"/>
                </a:moveTo>
                <a:lnTo>
                  <a:pt x="907963" y="4854845"/>
                </a:lnTo>
                <a:lnTo>
                  <a:pt x="916328" y="4859182"/>
                </a:lnTo>
                <a:cubicBezTo>
                  <a:pt x="917102" y="4860111"/>
                  <a:pt x="918496" y="4863519"/>
                  <a:pt x="917567" y="4864448"/>
                </a:cubicBezTo>
                <a:cubicBezTo>
                  <a:pt x="916637" y="4865274"/>
                  <a:pt x="915863" y="4865274"/>
                  <a:pt x="914934" y="4865274"/>
                </a:cubicBezTo>
                <a:lnTo>
                  <a:pt x="911216" y="4863106"/>
                </a:lnTo>
                <a:lnTo>
                  <a:pt x="911216" y="4864964"/>
                </a:lnTo>
                <a:cubicBezTo>
                  <a:pt x="910751" y="4866926"/>
                  <a:pt x="909977" y="4868578"/>
                  <a:pt x="909048" y="4869095"/>
                </a:cubicBezTo>
                <a:cubicBezTo>
                  <a:pt x="906724" y="4869714"/>
                  <a:pt x="903626" y="4868681"/>
                  <a:pt x="903006" y="4865171"/>
                </a:cubicBezTo>
                <a:cubicBezTo>
                  <a:pt x="901922" y="4862280"/>
                  <a:pt x="903781" y="4859285"/>
                  <a:pt x="903161" y="4855671"/>
                </a:cubicBezTo>
                <a:cubicBezTo>
                  <a:pt x="905175" y="4854845"/>
                  <a:pt x="906569" y="4854329"/>
                  <a:pt x="907653" y="4854535"/>
                </a:cubicBezTo>
                <a:close/>
                <a:moveTo>
                  <a:pt x="956446" y="4854122"/>
                </a:moveTo>
                <a:cubicBezTo>
                  <a:pt x="958304" y="4855775"/>
                  <a:pt x="961093" y="4858252"/>
                  <a:pt x="959854" y="4860937"/>
                </a:cubicBezTo>
                <a:cubicBezTo>
                  <a:pt x="958924" y="4860937"/>
                  <a:pt x="959079" y="4861867"/>
                  <a:pt x="958304" y="4861867"/>
                </a:cubicBezTo>
                <a:cubicBezTo>
                  <a:pt x="958304" y="4861867"/>
                  <a:pt x="957530" y="4862383"/>
                  <a:pt x="956291" y="4862589"/>
                </a:cubicBezTo>
                <a:cubicBezTo>
                  <a:pt x="955671" y="4862693"/>
                  <a:pt x="955052" y="4862693"/>
                  <a:pt x="954122" y="4862486"/>
                </a:cubicBezTo>
                <a:cubicBezTo>
                  <a:pt x="953348" y="4862280"/>
                  <a:pt x="952419" y="4861970"/>
                  <a:pt x="951489" y="4861350"/>
                </a:cubicBezTo>
                <a:cubicBezTo>
                  <a:pt x="950560" y="4860524"/>
                  <a:pt x="948546" y="4858046"/>
                  <a:pt x="949475" y="4857943"/>
                </a:cubicBezTo>
                <a:cubicBezTo>
                  <a:pt x="950095" y="4857014"/>
                  <a:pt x="949321" y="4857117"/>
                  <a:pt x="949166" y="4856187"/>
                </a:cubicBezTo>
                <a:cubicBezTo>
                  <a:pt x="951334" y="4853503"/>
                  <a:pt x="953658" y="4852470"/>
                  <a:pt x="956446" y="4854122"/>
                </a:cubicBezTo>
                <a:close/>
                <a:moveTo>
                  <a:pt x="1015616" y="4854019"/>
                </a:moveTo>
                <a:cubicBezTo>
                  <a:pt x="1016855" y="4853709"/>
                  <a:pt x="1017475" y="4854226"/>
                  <a:pt x="1018095" y="4854639"/>
                </a:cubicBezTo>
                <a:cubicBezTo>
                  <a:pt x="1018404" y="4855775"/>
                  <a:pt x="1017939" y="4856497"/>
                  <a:pt x="1018095" y="4857737"/>
                </a:cubicBezTo>
                <a:cubicBezTo>
                  <a:pt x="1018714" y="4858149"/>
                  <a:pt x="1020108" y="4859079"/>
                  <a:pt x="1020263" y="4860214"/>
                </a:cubicBezTo>
                <a:cubicBezTo>
                  <a:pt x="1020418" y="4861453"/>
                  <a:pt x="1020263" y="4863312"/>
                  <a:pt x="1020263" y="4863312"/>
                </a:cubicBezTo>
                <a:cubicBezTo>
                  <a:pt x="1019643" y="4863519"/>
                  <a:pt x="1019334" y="4863622"/>
                  <a:pt x="1019179" y="4863519"/>
                </a:cubicBezTo>
                <a:cubicBezTo>
                  <a:pt x="1019179" y="4863415"/>
                  <a:pt x="1019179" y="4863209"/>
                  <a:pt x="1019488" y="4862899"/>
                </a:cubicBezTo>
                <a:cubicBezTo>
                  <a:pt x="1018559" y="4861247"/>
                  <a:pt x="1019334" y="4861660"/>
                  <a:pt x="1019179" y="4860524"/>
                </a:cubicBezTo>
                <a:cubicBezTo>
                  <a:pt x="1018870" y="4859285"/>
                  <a:pt x="1016546" y="4855671"/>
                  <a:pt x="1015307" y="4855981"/>
                </a:cubicBezTo>
                <a:cubicBezTo>
                  <a:pt x="1015771" y="4855258"/>
                  <a:pt x="1015616" y="4854019"/>
                  <a:pt x="1015616" y="4854019"/>
                </a:cubicBezTo>
                <a:close/>
                <a:moveTo>
                  <a:pt x="1880228" y="4853645"/>
                </a:moveTo>
                <a:cubicBezTo>
                  <a:pt x="1886172" y="4851928"/>
                  <a:pt x="1892794" y="4852987"/>
                  <a:pt x="1897441" y="4856394"/>
                </a:cubicBezTo>
                <a:lnTo>
                  <a:pt x="1901623" y="4861350"/>
                </a:lnTo>
                <a:lnTo>
                  <a:pt x="1903172" y="4860008"/>
                </a:lnTo>
                <a:cubicBezTo>
                  <a:pt x="1904721" y="4859182"/>
                  <a:pt x="1906424" y="4858872"/>
                  <a:pt x="1907354" y="4859285"/>
                </a:cubicBezTo>
                <a:cubicBezTo>
                  <a:pt x="1909213" y="4860937"/>
                  <a:pt x="1910452" y="4864345"/>
                  <a:pt x="1908439" y="4867029"/>
                </a:cubicBezTo>
                <a:cubicBezTo>
                  <a:pt x="1907664" y="4868372"/>
                  <a:pt x="1906580" y="4869095"/>
                  <a:pt x="1905340" y="4869817"/>
                </a:cubicBezTo>
                <a:lnTo>
                  <a:pt x="1902398" y="4872089"/>
                </a:lnTo>
                <a:lnTo>
                  <a:pt x="1900849" y="4877975"/>
                </a:lnTo>
                <a:cubicBezTo>
                  <a:pt x="1896046" y="4886958"/>
                  <a:pt x="1885824" y="4889230"/>
                  <a:pt x="1876065" y="4897696"/>
                </a:cubicBezTo>
                <a:cubicBezTo>
                  <a:pt x="1877769" y="4887784"/>
                  <a:pt x="1869869" y="4882621"/>
                  <a:pt x="1867391" y="4875497"/>
                </a:cubicBezTo>
                <a:lnTo>
                  <a:pt x="1866926" y="4873225"/>
                </a:lnTo>
                <a:lnTo>
                  <a:pt x="1863209" y="4871882"/>
                </a:lnTo>
                <a:cubicBezTo>
                  <a:pt x="1862589" y="4871470"/>
                  <a:pt x="1862124" y="4870850"/>
                  <a:pt x="1862124" y="4870127"/>
                </a:cubicBezTo>
                <a:cubicBezTo>
                  <a:pt x="1862279" y="4868888"/>
                  <a:pt x="1863518" y="4869301"/>
                  <a:pt x="1864138" y="4868785"/>
                </a:cubicBezTo>
                <a:lnTo>
                  <a:pt x="1866771" y="4870024"/>
                </a:lnTo>
                <a:lnTo>
                  <a:pt x="1867081" y="4867546"/>
                </a:lnTo>
                <a:cubicBezTo>
                  <a:pt x="1869017" y="4859853"/>
                  <a:pt x="1874284" y="4855362"/>
                  <a:pt x="1880228" y="4853645"/>
                </a:cubicBezTo>
                <a:close/>
                <a:moveTo>
                  <a:pt x="1252917" y="4853503"/>
                </a:moveTo>
                <a:cubicBezTo>
                  <a:pt x="1253227" y="4854639"/>
                  <a:pt x="1253692" y="4854019"/>
                  <a:pt x="1252763" y="4855361"/>
                </a:cubicBezTo>
                <a:cubicBezTo>
                  <a:pt x="1252453" y="4854226"/>
                  <a:pt x="1252453" y="4854226"/>
                  <a:pt x="1251833" y="4853709"/>
                </a:cubicBezTo>
                <a:cubicBezTo>
                  <a:pt x="1251833" y="4853709"/>
                  <a:pt x="1252917" y="4853503"/>
                  <a:pt x="1252917" y="4853503"/>
                </a:cubicBezTo>
                <a:close/>
                <a:moveTo>
                  <a:pt x="1670518" y="4852264"/>
                </a:moveTo>
                <a:cubicBezTo>
                  <a:pt x="1672067" y="4851747"/>
                  <a:pt x="1674081" y="4852161"/>
                  <a:pt x="1676559" y="4854329"/>
                </a:cubicBezTo>
                <a:cubicBezTo>
                  <a:pt x="1676249" y="4858975"/>
                  <a:pt x="1673616" y="4858769"/>
                  <a:pt x="1670828" y="4858666"/>
                </a:cubicBezTo>
                <a:cubicBezTo>
                  <a:pt x="1671602" y="4855671"/>
                  <a:pt x="1667885" y="4854845"/>
                  <a:pt x="1670518" y="4852264"/>
                </a:cubicBezTo>
                <a:close/>
                <a:moveTo>
                  <a:pt x="6051905" y="4852178"/>
                </a:moveTo>
                <a:cubicBezTo>
                  <a:pt x="6051750" y="4853108"/>
                  <a:pt x="6052369" y="4854966"/>
                  <a:pt x="6051595" y="4854966"/>
                </a:cubicBezTo>
                <a:cubicBezTo>
                  <a:pt x="6051440" y="4855792"/>
                  <a:pt x="6049891" y="4855792"/>
                  <a:pt x="6049891" y="4855792"/>
                </a:cubicBezTo>
                <a:cubicBezTo>
                  <a:pt x="6049736" y="4856722"/>
                  <a:pt x="6049736" y="4857548"/>
                  <a:pt x="6048807" y="4858477"/>
                </a:cubicBezTo>
                <a:cubicBezTo>
                  <a:pt x="6048032" y="4857548"/>
                  <a:pt x="6048032" y="4858477"/>
                  <a:pt x="6047258" y="4858477"/>
                </a:cubicBezTo>
                <a:cubicBezTo>
                  <a:pt x="6048032" y="4857548"/>
                  <a:pt x="6048342" y="4854863"/>
                  <a:pt x="6049426" y="4853108"/>
                </a:cubicBezTo>
                <a:cubicBezTo>
                  <a:pt x="6050201" y="4853108"/>
                  <a:pt x="6051130" y="4852178"/>
                  <a:pt x="6051905" y="4852178"/>
                </a:cubicBezTo>
                <a:close/>
                <a:moveTo>
                  <a:pt x="1111497" y="4852161"/>
                </a:moveTo>
                <a:cubicBezTo>
                  <a:pt x="1121565" y="4852986"/>
                  <a:pt x="1129000" y="4856187"/>
                  <a:pt x="1134112" y="4861350"/>
                </a:cubicBezTo>
                <a:cubicBezTo>
                  <a:pt x="1135816" y="4863106"/>
                  <a:pt x="1137364" y="4865171"/>
                  <a:pt x="1138604" y="4867339"/>
                </a:cubicBezTo>
                <a:cubicBezTo>
                  <a:pt x="1133337" y="4872089"/>
                  <a:pt x="1127452" y="4867546"/>
                  <a:pt x="1122340" y="4865481"/>
                </a:cubicBezTo>
                <a:cubicBezTo>
                  <a:pt x="1121720" y="4871676"/>
                  <a:pt x="1122340" y="4880866"/>
                  <a:pt x="1115834" y="4881279"/>
                </a:cubicBezTo>
                <a:cubicBezTo>
                  <a:pt x="1114750" y="4880143"/>
                  <a:pt x="1114130" y="4878801"/>
                  <a:pt x="1113820" y="4877355"/>
                </a:cubicBezTo>
                <a:cubicBezTo>
                  <a:pt x="1113201" y="4872915"/>
                  <a:pt x="1115989" y="4867133"/>
                  <a:pt x="1115679" y="4861557"/>
                </a:cubicBezTo>
                <a:cubicBezTo>
                  <a:pt x="1114285" y="4858459"/>
                  <a:pt x="1110103" y="4858872"/>
                  <a:pt x="1111497" y="4852161"/>
                </a:cubicBezTo>
                <a:close/>
                <a:moveTo>
                  <a:pt x="1548459" y="4851954"/>
                </a:moveTo>
                <a:cubicBezTo>
                  <a:pt x="1550163" y="4852883"/>
                  <a:pt x="1551093" y="4852986"/>
                  <a:pt x="1552642" y="4852161"/>
                </a:cubicBezTo>
                <a:cubicBezTo>
                  <a:pt x="1552642" y="4852161"/>
                  <a:pt x="1552642" y="4852161"/>
                  <a:pt x="1554500" y="4854019"/>
                </a:cubicBezTo>
                <a:lnTo>
                  <a:pt x="1554500" y="4854845"/>
                </a:lnTo>
                <a:cubicBezTo>
                  <a:pt x="1554345" y="4855258"/>
                  <a:pt x="1553571" y="4855465"/>
                  <a:pt x="1552642" y="4855465"/>
                </a:cubicBezTo>
                <a:cubicBezTo>
                  <a:pt x="1550008" y="4855568"/>
                  <a:pt x="1545052" y="4854432"/>
                  <a:pt x="1544432" y="4854329"/>
                </a:cubicBezTo>
                <a:cubicBezTo>
                  <a:pt x="1544432" y="4854329"/>
                  <a:pt x="1543658" y="4854329"/>
                  <a:pt x="1542728" y="4854329"/>
                </a:cubicBezTo>
                <a:cubicBezTo>
                  <a:pt x="1541954" y="4853400"/>
                  <a:pt x="1541799" y="4852574"/>
                  <a:pt x="1541024" y="4852470"/>
                </a:cubicBezTo>
                <a:cubicBezTo>
                  <a:pt x="1543348" y="4849992"/>
                  <a:pt x="1545981" y="4851025"/>
                  <a:pt x="1548459" y="4851954"/>
                </a:cubicBezTo>
                <a:close/>
                <a:moveTo>
                  <a:pt x="1144954" y="4851541"/>
                </a:moveTo>
                <a:cubicBezTo>
                  <a:pt x="1147898" y="4851438"/>
                  <a:pt x="1148827" y="4852986"/>
                  <a:pt x="1150531" y="4856084"/>
                </a:cubicBezTo>
                <a:cubicBezTo>
                  <a:pt x="1148517" y="4856394"/>
                  <a:pt x="1147123" y="4856084"/>
                  <a:pt x="1146349" y="4855361"/>
                </a:cubicBezTo>
                <a:cubicBezTo>
                  <a:pt x="1145574" y="4854535"/>
                  <a:pt x="1145265" y="4853296"/>
                  <a:pt x="1144954" y="4851541"/>
                </a:cubicBezTo>
                <a:close/>
                <a:moveTo>
                  <a:pt x="1045046" y="4851438"/>
                </a:moveTo>
                <a:cubicBezTo>
                  <a:pt x="1048919" y="4851025"/>
                  <a:pt x="1051397" y="4851954"/>
                  <a:pt x="1052946" y="4853606"/>
                </a:cubicBezTo>
                <a:cubicBezTo>
                  <a:pt x="1057284" y="4858666"/>
                  <a:pt x="1051862" y="4870230"/>
                  <a:pt x="1043033" y="4869817"/>
                </a:cubicBezTo>
                <a:cubicBezTo>
                  <a:pt x="1042103" y="4868888"/>
                  <a:pt x="1041484" y="4867442"/>
                  <a:pt x="1041174" y="4865894"/>
                </a:cubicBezTo>
                <a:cubicBezTo>
                  <a:pt x="1040090" y="4860937"/>
                  <a:pt x="1042258" y="4854122"/>
                  <a:pt x="1045046" y="4851438"/>
                </a:cubicBezTo>
                <a:close/>
                <a:moveTo>
                  <a:pt x="1025529" y="4851025"/>
                </a:moveTo>
                <a:cubicBezTo>
                  <a:pt x="1027233" y="4861041"/>
                  <a:pt x="1032810" y="4866823"/>
                  <a:pt x="1032655" y="4878387"/>
                </a:cubicBezTo>
                <a:cubicBezTo>
                  <a:pt x="1024600" y="4875909"/>
                  <a:pt x="1017475" y="4855258"/>
                  <a:pt x="1025529" y="4851025"/>
                </a:cubicBezTo>
                <a:close/>
                <a:moveTo>
                  <a:pt x="956601" y="4851025"/>
                </a:moveTo>
                <a:cubicBezTo>
                  <a:pt x="957530" y="4850095"/>
                  <a:pt x="957375" y="4851025"/>
                  <a:pt x="958149" y="4851025"/>
                </a:cubicBezTo>
                <a:cubicBezTo>
                  <a:pt x="957685" y="4851541"/>
                  <a:pt x="957530" y="4851747"/>
                  <a:pt x="957220" y="4851747"/>
                </a:cubicBezTo>
                <a:cubicBezTo>
                  <a:pt x="957065" y="4851747"/>
                  <a:pt x="956911" y="4851541"/>
                  <a:pt x="956601" y="4851025"/>
                </a:cubicBezTo>
                <a:close/>
                <a:moveTo>
                  <a:pt x="959234" y="4850508"/>
                </a:moveTo>
                <a:cubicBezTo>
                  <a:pt x="960163" y="4851335"/>
                  <a:pt x="961248" y="4852986"/>
                  <a:pt x="960473" y="4853813"/>
                </a:cubicBezTo>
                <a:cubicBezTo>
                  <a:pt x="960163" y="4854742"/>
                  <a:pt x="959854" y="4854742"/>
                  <a:pt x="959234" y="4854535"/>
                </a:cubicBezTo>
                <a:cubicBezTo>
                  <a:pt x="958615" y="4854226"/>
                  <a:pt x="957995" y="4853606"/>
                  <a:pt x="957065" y="4853193"/>
                </a:cubicBezTo>
                <a:close/>
                <a:moveTo>
                  <a:pt x="1862861" y="4850121"/>
                </a:moveTo>
                <a:cubicBezTo>
                  <a:pt x="1865532" y="4849579"/>
                  <a:pt x="1868475" y="4851025"/>
                  <a:pt x="1869869" y="4855052"/>
                </a:cubicBezTo>
                <a:cubicBezTo>
                  <a:pt x="1869714" y="4858459"/>
                  <a:pt x="1867701" y="4861041"/>
                  <a:pt x="1865222" y="4861660"/>
                </a:cubicBezTo>
                <a:cubicBezTo>
                  <a:pt x="1862744" y="4862280"/>
                  <a:pt x="1859801" y="4861041"/>
                  <a:pt x="1857478" y="4857117"/>
                </a:cubicBezTo>
                <a:cubicBezTo>
                  <a:pt x="1857787" y="4853193"/>
                  <a:pt x="1860188" y="4850663"/>
                  <a:pt x="1862861" y="4850121"/>
                </a:cubicBezTo>
                <a:close/>
                <a:moveTo>
                  <a:pt x="1310132" y="4849502"/>
                </a:moveTo>
                <a:cubicBezTo>
                  <a:pt x="1311933" y="4850250"/>
                  <a:pt x="1313869" y="4851644"/>
                  <a:pt x="1316424" y="4852264"/>
                </a:cubicBezTo>
                <a:cubicBezTo>
                  <a:pt x="1315650" y="4854535"/>
                  <a:pt x="1313327" y="4855775"/>
                  <a:pt x="1311158" y="4856187"/>
                </a:cubicBezTo>
                <a:cubicBezTo>
                  <a:pt x="1308835" y="4856497"/>
                  <a:pt x="1306511" y="4855981"/>
                  <a:pt x="1305272" y="4854535"/>
                </a:cubicBezTo>
                <a:cubicBezTo>
                  <a:pt x="1304498" y="4853606"/>
                  <a:pt x="1304033" y="4852264"/>
                  <a:pt x="1304653" y="4850612"/>
                </a:cubicBezTo>
                <a:cubicBezTo>
                  <a:pt x="1306666" y="4848650"/>
                  <a:pt x="1308331" y="4848753"/>
                  <a:pt x="1310132" y="4849502"/>
                </a:cubicBezTo>
                <a:close/>
                <a:moveTo>
                  <a:pt x="6377342" y="4848461"/>
                </a:moveTo>
                <a:cubicBezTo>
                  <a:pt x="6382453" y="4849700"/>
                  <a:pt x="6382918" y="4853211"/>
                  <a:pt x="6380285" y="4858271"/>
                </a:cubicBezTo>
                <a:cubicBezTo>
                  <a:pt x="6378426" y="4858271"/>
                  <a:pt x="6376877" y="4858993"/>
                  <a:pt x="6374244" y="4859406"/>
                </a:cubicBezTo>
                <a:cubicBezTo>
                  <a:pt x="6373315" y="4857032"/>
                  <a:pt x="6373779" y="4851249"/>
                  <a:pt x="6377342" y="4848461"/>
                </a:cubicBezTo>
                <a:close/>
                <a:moveTo>
                  <a:pt x="1517325" y="4848030"/>
                </a:moveTo>
                <a:cubicBezTo>
                  <a:pt x="1518448" y="4848882"/>
                  <a:pt x="1518720" y="4850663"/>
                  <a:pt x="1519339" y="4852677"/>
                </a:cubicBezTo>
                <a:cubicBezTo>
                  <a:pt x="1517790" y="4853709"/>
                  <a:pt x="1517016" y="4856394"/>
                  <a:pt x="1514692" y="4857117"/>
                </a:cubicBezTo>
                <a:cubicBezTo>
                  <a:pt x="1514692" y="4857117"/>
                  <a:pt x="1514382" y="4857117"/>
                  <a:pt x="1513918" y="4857117"/>
                </a:cubicBezTo>
                <a:cubicBezTo>
                  <a:pt x="1513453" y="4857117"/>
                  <a:pt x="1512833" y="4856910"/>
                  <a:pt x="1512059" y="4856497"/>
                </a:cubicBezTo>
                <a:cubicBezTo>
                  <a:pt x="1509116" y="4856704"/>
                  <a:pt x="1508496" y="4853090"/>
                  <a:pt x="1508496" y="4853090"/>
                </a:cubicBezTo>
                <a:cubicBezTo>
                  <a:pt x="1508496" y="4853090"/>
                  <a:pt x="1508496" y="4853193"/>
                  <a:pt x="1508032" y="4853916"/>
                </a:cubicBezTo>
                <a:cubicBezTo>
                  <a:pt x="1508961" y="4852367"/>
                  <a:pt x="1509271" y="4850405"/>
                  <a:pt x="1510200" y="4848960"/>
                </a:cubicBezTo>
                <a:cubicBezTo>
                  <a:pt x="1514227" y="4847256"/>
                  <a:pt x="1516202" y="4847179"/>
                  <a:pt x="1517325" y="4848030"/>
                </a:cubicBezTo>
                <a:close/>
                <a:moveTo>
                  <a:pt x="1913240" y="4846585"/>
                </a:moveTo>
                <a:cubicBezTo>
                  <a:pt x="1913240" y="4848237"/>
                  <a:pt x="1912001" y="4857633"/>
                  <a:pt x="1910452" y="4860008"/>
                </a:cubicBezTo>
                <a:cubicBezTo>
                  <a:pt x="1911381" y="4855775"/>
                  <a:pt x="1910762" y="4849682"/>
                  <a:pt x="1913240" y="4846585"/>
                </a:cubicBezTo>
                <a:close/>
                <a:moveTo>
                  <a:pt x="1447467" y="4846378"/>
                </a:moveTo>
                <a:cubicBezTo>
                  <a:pt x="1448241" y="4844726"/>
                  <a:pt x="1450875" y="4848340"/>
                  <a:pt x="1451649" y="4846585"/>
                </a:cubicBezTo>
                <a:cubicBezTo>
                  <a:pt x="1455057" y="4850302"/>
                  <a:pt x="1459084" y="4846069"/>
                  <a:pt x="1465125" y="4850715"/>
                </a:cubicBezTo>
                <a:cubicBezTo>
                  <a:pt x="1463111" y="4851335"/>
                  <a:pt x="1461253" y="4851541"/>
                  <a:pt x="1459394" y="4851541"/>
                </a:cubicBezTo>
                <a:cubicBezTo>
                  <a:pt x="1453972" y="4851438"/>
                  <a:pt x="1449791" y="4849579"/>
                  <a:pt x="1446073" y="4850715"/>
                </a:cubicBezTo>
                <a:cubicBezTo>
                  <a:pt x="1446073" y="4850715"/>
                  <a:pt x="1446073" y="4850818"/>
                  <a:pt x="1444369" y="4848960"/>
                </a:cubicBezTo>
                <a:cubicBezTo>
                  <a:pt x="1443439" y="4848856"/>
                  <a:pt x="1443439" y="4848856"/>
                  <a:pt x="1443439" y="4848856"/>
                </a:cubicBezTo>
                <a:cubicBezTo>
                  <a:pt x="1442665" y="4848856"/>
                  <a:pt x="1442510" y="4847101"/>
                  <a:pt x="1442510" y="4847101"/>
                </a:cubicBezTo>
                <a:cubicBezTo>
                  <a:pt x="1443285" y="4845346"/>
                  <a:pt x="1445918" y="4846378"/>
                  <a:pt x="1447467" y="4846378"/>
                </a:cubicBezTo>
                <a:close/>
                <a:moveTo>
                  <a:pt x="967908" y="4846378"/>
                </a:moveTo>
                <a:cubicBezTo>
                  <a:pt x="968682" y="4846378"/>
                  <a:pt x="968838" y="4847204"/>
                  <a:pt x="969767" y="4848030"/>
                </a:cubicBezTo>
                <a:cubicBezTo>
                  <a:pt x="970851" y="4849682"/>
                  <a:pt x="971161" y="4852264"/>
                  <a:pt x="970386" y="4853193"/>
                </a:cubicBezTo>
                <a:cubicBezTo>
                  <a:pt x="969767" y="4854122"/>
                  <a:pt x="968838" y="4854122"/>
                  <a:pt x="968838" y="4854122"/>
                </a:cubicBezTo>
                <a:cubicBezTo>
                  <a:pt x="966205" y="4852574"/>
                  <a:pt x="964191" y="4850095"/>
                  <a:pt x="966360" y="4847411"/>
                </a:cubicBezTo>
                <a:cubicBezTo>
                  <a:pt x="966979" y="4846481"/>
                  <a:pt x="967753" y="4845552"/>
                  <a:pt x="967908" y="4846378"/>
                </a:cubicBezTo>
                <a:close/>
                <a:moveTo>
                  <a:pt x="6236793" y="4845906"/>
                </a:moveTo>
                <a:cubicBezTo>
                  <a:pt x="6239600" y="4845725"/>
                  <a:pt x="6241808" y="4846396"/>
                  <a:pt x="6242737" y="4845983"/>
                </a:cubicBezTo>
                <a:cubicBezTo>
                  <a:pt x="6244905" y="4848565"/>
                  <a:pt x="6244905" y="4848565"/>
                  <a:pt x="6240259" y="4853727"/>
                </a:cubicBezTo>
                <a:cubicBezTo>
                  <a:pt x="6239329" y="4854553"/>
                  <a:pt x="6238245" y="4855173"/>
                  <a:pt x="6237006" y="4855482"/>
                </a:cubicBezTo>
                <a:cubicBezTo>
                  <a:pt x="6235922" y="4855792"/>
                  <a:pt x="6234683" y="4855792"/>
                  <a:pt x="6233443" y="4855276"/>
                </a:cubicBezTo>
                <a:cubicBezTo>
                  <a:pt x="6232514" y="4855792"/>
                  <a:pt x="6231584" y="4855999"/>
                  <a:pt x="6230500" y="4855999"/>
                </a:cubicBezTo>
                <a:cubicBezTo>
                  <a:pt x="6229571" y="4855999"/>
                  <a:pt x="6228486" y="4855689"/>
                  <a:pt x="6227712" y="4855276"/>
                </a:cubicBezTo>
                <a:cubicBezTo>
                  <a:pt x="6226938" y="4854347"/>
                  <a:pt x="6226628" y="4853521"/>
                  <a:pt x="6226628" y="4852695"/>
                </a:cubicBezTo>
                <a:cubicBezTo>
                  <a:pt x="6226628" y="4851972"/>
                  <a:pt x="6226938" y="4851352"/>
                  <a:pt x="6227247" y="4850939"/>
                </a:cubicBezTo>
                <a:cubicBezTo>
                  <a:pt x="6230577" y="4847119"/>
                  <a:pt x="6233985" y="4846086"/>
                  <a:pt x="6236793" y="4845906"/>
                </a:cubicBezTo>
                <a:close/>
                <a:moveTo>
                  <a:pt x="833807" y="4845823"/>
                </a:moveTo>
                <a:cubicBezTo>
                  <a:pt x="836053" y="4845655"/>
                  <a:pt x="837950" y="4846378"/>
                  <a:pt x="839035" y="4849166"/>
                </a:cubicBezTo>
                <a:cubicBezTo>
                  <a:pt x="838105" y="4853090"/>
                  <a:pt x="835781" y="4854948"/>
                  <a:pt x="833303" y="4855361"/>
                </a:cubicBezTo>
                <a:cubicBezTo>
                  <a:pt x="830980" y="4855775"/>
                  <a:pt x="828346" y="4854742"/>
                  <a:pt x="826953" y="4852780"/>
                </a:cubicBezTo>
                <a:cubicBezTo>
                  <a:pt x="826178" y="4851541"/>
                  <a:pt x="825868" y="4849785"/>
                  <a:pt x="826488" y="4847824"/>
                </a:cubicBezTo>
                <a:cubicBezTo>
                  <a:pt x="828966" y="4847049"/>
                  <a:pt x="831561" y="4845991"/>
                  <a:pt x="833807" y="4845823"/>
                </a:cubicBezTo>
                <a:close/>
                <a:moveTo>
                  <a:pt x="6046793" y="4845364"/>
                </a:moveTo>
                <a:cubicBezTo>
                  <a:pt x="6047878" y="4844537"/>
                  <a:pt x="6048652" y="4844537"/>
                  <a:pt x="6049426" y="4845467"/>
                </a:cubicBezTo>
                <a:cubicBezTo>
                  <a:pt x="6049426" y="4845467"/>
                  <a:pt x="6048342" y="4847222"/>
                  <a:pt x="6048342" y="4847222"/>
                </a:cubicBezTo>
                <a:cubicBezTo>
                  <a:pt x="6046483" y="4848874"/>
                  <a:pt x="6045554" y="4849700"/>
                  <a:pt x="6044470" y="4851456"/>
                </a:cubicBezTo>
                <a:cubicBezTo>
                  <a:pt x="6043695" y="4851042"/>
                  <a:pt x="6043385" y="4850630"/>
                  <a:pt x="6043231" y="4850216"/>
                </a:cubicBezTo>
                <a:cubicBezTo>
                  <a:pt x="6043231" y="4849700"/>
                  <a:pt x="6043385" y="4849287"/>
                  <a:pt x="6043850" y="4848771"/>
                </a:cubicBezTo>
                <a:cubicBezTo>
                  <a:pt x="6043850" y="4848771"/>
                  <a:pt x="6044779" y="4847945"/>
                  <a:pt x="6045709" y="4847119"/>
                </a:cubicBezTo>
                <a:cubicBezTo>
                  <a:pt x="6046638" y="4846293"/>
                  <a:pt x="6046793" y="4845364"/>
                  <a:pt x="6046793" y="4845364"/>
                </a:cubicBezTo>
                <a:close/>
                <a:moveTo>
                  <a:pt x="1437089" y="4844933"/>
                </a:moveTo>
                <a:cubicBezTo>
                  <a:pt x="1438173" y="4844623"/>
                  <a:pt x="1439258" y="4844313"/>
                  <a:pt x="1440806" y="4845139"/>
                </a:cubicBezTo>
                <a:cubicBezTo>
                  <a:pt x="1441581" y="4847514"/>
                  <a:pt x="1439877" y="4849373"/>
                  <a:pt x="1440187" y="4850508"/>
                </a:cubicBezTo>
                <a:cubicBezTo>
                  <a:pt x="1439413" y="4850095"/>
                  <a:pt x="1438018" y="4849270"/>
                  <a:pt x="1436469" y="4850302"/>
                </a:cubicBezTo>
                <a:cubicBezTo>
                  <a:pt x="1435695" y="4847927"/>
                  <a:pt x="1434921" y="4845552"/>
                  <a:pt x="1437089" y="4844933"/>
                </a:cubicBezTo>
                <a:close/>
                <a:moveTo>
                  <a:pt x="1039160" y="4844313"/>
                </a:moveTo>
                <a:cubicBezTo>
                  <a:pt x="1042258" y="4845036"/>
                  <a:pt x="1043187" y="4848237"/>
                  <a:pt x="1042723" y="4851541"/>
                </a:cubicBezTo>
                <a:cubicBezTo>
                  <a:pt x="1042103" y="4854742"/>
                  <a:pt x="1040090" y="4858149"/>
                  <a:pt x="1037457" y="4859285"/>
                </a:cubicBezTo>
                <a:cubicBezTo>
                  <a:pt x="1036682" y="4857840"/>
                  <a:pt x="1036062" y="4856497"/>
                  <a:pt x="1035598" y="4855258"/>
                </a:cubicBezTo>
                <a:cubicBezTo>
                  <a:pt x="1034204" y="4851438"/>
                  <a:pt x="1034823" y="4847927"/>
                  <a:pt x="1039160" y="4844313"/>
                </a:cubicBezTo>
                <a:close/>
                <a:moveTo>
                  <a:pt x="1879008" y="4844107"/>
                </a:moveTo>
                <a:cubicBezTo>
                  <a:pt x="1880713" y="4842971"/>
                  <a:pt x="1880867" y="4845346"/>
                  <a:pt x="1881022" y="4846481"/>
                </a:cubicBezTo>
                <a:cubicBezTo>
                  <a:pt x="1879163" y="4845242"/>
                  <a:pt x="1878079" y="4845655"/>
                  <a:pt x="1878543" y="4844829"/>
                </a:cubicBezTo>
                <a:cubicBezTo>
                  <a:pt x="1877924" y="4844416"/>
                  <a:pt x="1878389" y="4843694"/>
                  <a:pt x="1879008" y="4844107"/>
                </a:cubicBezTo>
                <a:close/>
                <a:moveTo>
                  <a:pt x="912145" y="4843694"/>
                </a:moveTo>
                <a:cubicBezTo>
                  <a:pt x="915243" y="4848030"/>
                  <a:pt x="920045" y="4849889"/>
                  <a:pt x="920200" y="4853090"/>
                </a:cubicBezTo>
                <a:cubicBezTo>
                  <a:pt x="920200" y="4854122"/>
                  <a:pt x="919735" y="4855258"/>
                  <a:pt x="918341" y="4856704"/>
                </a:cubicBezTo>
                <a:cubicBezTo>
                  <a:pt x="916637" y="4856084"/>
                  <a:pt x="912610" y="4853296"/>
                  <a:pt x="910596" y="4850199"/>
                </a:cubicBezTo>
                <a:cubicBezTo>
                  <a:pt x="909977" y="4849270"/>
                  <a:pt x="909668" y="4848134"/>
                  <a:pt x="909668" y="4847204"/>
                </a:cubicBezTo>
                <a:cubicBezTo>
                  <a:pt x="909668" y="4845862"/>
                  <a:pt x="910441" y="4844623"/>
                  <a:pt x="912145" y="4843694"/>
                </a:cubicBezTo>
                <a:close/>
                <a:moveTo>
                  <a:pt x="2091991" y="4843487"/>
                </a:moveTo>
                <a:cubicBezTo>
                  <a:pt x="2097877" y="4846998"/>
                  <a:pt x="2101285" y="4851231"/>
                  <a:pt x="2098186" y="4858149"/>
                </a:cubicBezTo>
                <a:cubicBezTo>
                  <a:pt x="2097257" y="4857633"/>
                  <a:pt x="2096483" y="4858666"/>
                  <a:pt x="2095864" y="4859698"/>
                </a:cubicBezTo>
                <a:cubicBezTo>
                  <a:pt x="2092145" y="4860421"/>
                  <a:pt x="2089048" y="4857323"/>
                  <a:pt x="2087498" y="4853606"/>
                </a:cubicBezTo>
                <a:cubicBezTo>
                  <a:pt x="2085795" y="4849992"/>
                  <a:pt x="2085795" y="4845759"/>
                  <a:pt x="2088738" y="4844210"/>
                </a:cubicBezTo>
                <a:cubicBezTo>
                  <a:pt x="2089512" y="4843694"/>
                  <a:pt x="2090597" y="4843487"/>
                  <a:pt x="2091991" y="4843487"/>
                </a:cubicBezTo>
                <a:close/>
                <a:moveTo>
                  <a:pt x="6009463" y="4842885"/>
                </a:moveTo>
                <a:cubicBezTo>
                  <a:pt x="6002803" y="4850733"/>
                  <a:pt x="5998156" y="4846293"/>
                  <a:pt x="5994283" y="4850630"/>
                </a:cubicBezTo>
                <a:cubicBezTo>
                  <a:pt x="5993664" y="4848874"/>
                  <a:pt x="5993664" y="4848874"/>
                  <a:pt x="5994748" y="4847119"/>
                </a:cubicBezTo>
                <a:cubicBezTo>
                  <a:pt x="5995523" y="4847119"/>
                  <a:pt x="5995677" y="4846190"/>
                  <a:pt x="5996452" y="4847119"/>
                </a:cubicBezTo>
                <a:cubicBezTo>
                  <a:pt x="5998311" y="4844537"/>
                  <a:pt x="6006210" y="4841956"/>
                  <a:pt x="6009463" y="4842885"/>
                </a:cubicBezTo>
                <a:close/>
                <a:moveTo>
                  <a:pt x="1058774" y="4842493"/>
                </a:moveTo>
                <a:cubicBezTo>
                  <a:pt x="1060381" y="4840803"/>
                  <a:pt x="1063092" y="4840493"/>
                  <a:pt x="1064874" y="4844107"/>
                </a:cubicBezTo>
                <a:cubicBezTo>
                  <a:pt x="1062550" y="4846585"/>
                  <a:pt x="1060846" y="4848340"/>
                  <a:pt x="1059297" y="4849166"/>
                </a:cubicBezTo>
                <a:cubicBezTo>
                  <a:pt x="1056664" y="4847256"/>
                  <a:pt x="1057167" y="4844184"/>
                  <a:pt x="1058774" y="4842493"/>
                </a:cubicBezTo>
                <a:close/>
                <a:moveTo>
                  <a:pt x="1375595" y="4842454"/>
                </a:moveTo>
                <a:cubicBezTo>
                  <a:pt x="1376680" y="4843177"/>
                  <a:pt x="1377609" y="4844210"/>
                  <a:pt x="1378074" y="4845759"/>
                </a:cubicBezTo>
                <a:cubicBezTo>
                  <a:pt x="1378538" y="4847720"/>
                  <a:pt x="1378074" y="4850199"/>
                  <a:pt x="1375905" y="4853090"/>
                </a:cubicBezTo>
                <a:cubicBezTo>
                  <a:pt x="1371723" y="4853503"/>
                  <a:pt x="1370019" y="4851541"/>
                  <a:pt x="1367231" y="4850818"/>
                </a:cubicBezTo>
                <a:cubicBezTo>
                  <a:pt x="1366456" y="4842041"/>
                  <a:pt x="1372033" y="4840286"/>
                  <a:pt x="1375595" y="4842454"/>
                </a:cubicBezTo>
                <a:close/>
                <a:moveTo>
                  <a:pt x="1081602" y="4842454"/>
                </a:moveTo>
                <a:cubicBezTo>
                  <a:pt x="1085319" y="4844829"/>
                  <a:pt x="1086559" y="4842145"/>
                  <a:pt x="1092135" y="4846172"/>
                </a:cubicBezTo>
                <a:cubicBezTo>
                  <a:pt x="1097711" y="4849785"/>
                  <a:pt x="1098641" y="4854122"/>
                  <a:pt x="1098021" y="4857633"/>
                </a:cubicBezTo>
                <a:lnTo>
                  <a:pt x="1096937" y="4860214"/>
                </a:lnTo>
                <a:lnTo>
                  <a:pt x="1098951" y="4861970"/>
                </a:lnTo>
                <a:cubicBezTo>
                  <a:pt x="1092599" y="4866823"/>
                  <a:pt x="1101893" y="4870747"/>
                  <a:pt x="1097091" y="4874774"/>
                </a:cubicBezTo>
                <a:cubicBezTo>
                  <a:pt x="1094613" y="4875393"/>
                  <a:pt x="1092135" y="4876839"/>
                  <a:pt x="1089347" y="4876426"/>
                </a:cubicBezTo>
                <a:cubicBezTo>
                  <a:pt x="1088417" y="4876322"/>
                  <a:pt x="1087333" y="4875909"/>
                  <a:pt x="1086249" y="4875186"/>
                </a:cubicBezTo>
                <a:cubicBezTo>
                  <a:pt x="1088263" y="4872296"/>
                  <a:pt x="1089347" y="4869508"/>
                  <a:pt x="1090276" y="4866719"/>
                </a:cubicBezTo>
                <a:lnTo>
                  <a:pt x="1091051" y="4864448"/>
                </a:lnTo>
                <a:lnTo>
                  <a:pt x="1088417" y="4865171"/>
                </a:lnTo>
                <a:cubicBezTo>
                  <a:pt x="1086714" y="4865171"/>
                  <a:pt x="1085010" y="4864654"/>
                  <a:pt x="1082841" y="4863312"/>
                </a:cubicBezTo>
                <a:cubicBezTo>
                  <a:pt x="1078195" y="4860008"/>
                  <a:pt x="1074167" y="4855052"/>
                  <a:pt x="1078969" y="4847824"/>
                </a:cubicBezTo>
                <a:cubicBezTo>
                  <a:pt x="1079588" y="4845965"/>
                  <a:pt x="1079743" y="4846894"/>
                  <a:pt x="1080363" y="4845965"/>
                </a:cubicBezTo>
                <a:cubicBezTo>
                  <a:pt x="1081137" y="4845036"/>
                  <a:pt x="1081757" y="4843280"/>
                  <a:pt x="1081602" y="4842454"/>
                </a:cubicBezTo>
                <a:close/>
                <a:moveTo>
                  <a:pt x="1600659" y="4842145"/>
                </a:moveTo>
                <a:cubicBezTo>
                  <a:pt x="1601744" y="4842454"/>
                  <a:pt x="1602828" y="4842868"/>
                  <a:pt x="1602363" y="4844003"/>
                </a:cubicBezTo>
                <a:cubicBezTo>
                  <a:pt x="1601898" y="4845242"/>
                  <a:pt x="1602208" y="4845965"/>
                  <a:pt x="1600350" y="4845965"/>
                </a:cubicBezTo>
                <a:cubicBezTo>
                  <a:pt x="1599575" y="4846378"/>
                  <a:pt x="1598491" y="4845965"/>
                  <a:pt x="1597717" y="4846378"/>
                </a:cubicBezTo>
                <a:cubicBezTo>
                  <a:pt x="1597717" y="4846378"/>
                  <a:pt x="1597252" y="4845862"/>
                  <a:pt x="1596942" y="4845242"/>
                </a:cubicBezTo>
                <a:cubicBezTo>
                  <a:pt x="1596477" y="4844623"/>
                  <a:pt x="1596167" y="4843797"/>
                  <a:pt x="1596477" y="4843280"/>
                </a:cubicBezTo>
                <a:cubicBezTo>
                  <a:pt x="1596632" y="4841318"/>
                  <a:pt x="1599885" y="4842454"/>
                  <a:pt x="1600659" y="4842145"/>
                </a:cubicBezTo>
                <a:close/>
                <a:moveTo>
                  <a:pt x="1198394" y="4841938"/>
                </a:moveTo>
                <a:cubicBezTo>
                  <a:pt x="1199323" y="4841318"/>
                  <a:pt x="1200563" y="4841215"/>
                  <a:pt x="1201957" y="4841938"/>
                </a:cubicBezTo>
                <a:cubicBezTo>
                  <a:pt x="1205829" y="4844313"/>
                  <a:pt x="1204125" y="4848340"/>
                  <a:pt x="1201492" y="4852677"/>
                </a:cubicBezTo>
                <a:cubicBezTo>
                  <a:pt x="1199633" y="4852367"/>
                  <a:pt x="1197929" y="4852780"/>
                  <a:pt x="1196226" y="4852470"/>
                </a:cubicBezTo>
                <a:cubicBezTo>
                  <a:pt x="1194521" y="4850302"/>
                  <a:pt x="1195451" y="4843900"/>
                  <a:pt x="1198394" y="4841938"/>
                </a:cubicBezTo>
                <a:close/>
                <a:moveTo>
                  <a:pt x="1906270" y="4841732"/>
                </a:moveTo>
                <a:cubicBezTo>
                  <a:pt x="1907974" y="4842868"/>
                  <a:pt x="1907354" y="4846378"/>
                  <a:pt x="1907664" y="4848340"/>
                </a:cubicBezTo>
                <a:cubicBezTo>
                  <a:pt x="1906580" y="4848030"/>
                  <a:pt x="1905340" y="4847720"/>
                  <a:pt x="1905805" y="4848443"/>
                </a:cubicBezTo>
                <a:cubicBezTo>
                  <a:pt x="1904566" y="4848237"/>
                  <a:pt x="1903791" y="4847720"/>
                  <a:pt x="1903172" y="4846998"/>
                </a:cubicBezTo>
                <a:cubicBezTo>
                  <a:pt x="1902707" y="4846275"/>
                  <a:pt x="1902398" y="4845449"/>
                  <a:pt x="1902243" y="4844519"/>
                </a:cubicBezTo>
                <a:cubicBezTo>
                  <a:pt x="1902398" y="4843280"/>
                  <a:pt x="1903791" y="4842351"/>
                  <a:pt x="1906270" y="4841732"/>
                </a:cubicBezTo>
                <a:close/>
                <a:moveTo>
                  <a:pt x="774133" y="4841112"/>
                </a:moveTo>
                <a:cubicBezTo>
                  <a:pt x="774907" y="4841112"/>
                  <a:pt x="775682" y="4841938"/>
                  <a:pt x="775682" y="4841938"/>
                </a:cubicBezTo>
                <a:cubicBezTo>
                  <a:pt x="776301" y="4842868"/>
                  <a:pt x="776301" y="4842868"/>
                  <a:pt x="777231" y="4841938"/>
                </a:cubicBezTo>
                <a:cubicBezTo>
                  <a:pt x="777231" y="4841938"/>
                  <a:pt x="777231" y="4842868"/>
                  <a:pt x="777231" y="4842868"/>
                </a:cubicBezTo>
                <a:cubicBezTo>
                  <a:pt x="776456" y="4842868"/>
                  <a:pt x="777231" y="4842868"/>
                  <a:pt x="777850" y="4843694"/>
                </a:cubicBezTo>
                <a:cubicBezTo>
                  <a:pt x="776921" y="4845449"/>
                  <a:pt x="776921" y="4846378"/>
                  <a:pt x="775992" y="4847308"/>
                </a:cubicBezTo>
                <a:cubicBezTo>
                  <a:pt x="775527" y="4847720"/>
                  <a:pt x="774753" y="4848134"/>
                  <a:pt x="774133" y="4848340"/>
                </a:cubicBezTo>
                <a:cubicBezTo>
                  <a:pt x="773513" y="4848547"/>
                  <a:pt x="772893" y="4848443"/>
                  <a:pt x="772584" y="4848030"/>
                </a:cubicBezTo>
                <a:cubicBezTo>
                  <a:pt x="772584" y="4847204"/>
                  <a:pt x="771809" y="4847204"/>
                  <a:pt x="771809" y="4846275"/>
                </a:cubicBezTo>
                <a:cubicBezTo>
                  <a:pt x="771190" y="4844519"/>
                  <a:pt x="771190" y="4843590"/>
                  <a:pt x="772119" y="4842764"/>
                </a:cubicBezTo>
                <a:cubicBezTo>
                  <a:pt x="772274" y="4841835"/>
                  <a:pt x="773203" y="4841938"/>
                  <a:pt x="774133" y="4841112"/>
                </a:cubicBezTo>
                <a:close/>
                <a:moveTo>
                  <a:pt x="1395887" y="4840699"/>
                </a:moveTo>
                <a:cubicBezTo>
                  <a:pt x="1395732" y="4841938"/>
                  <a:pt x="1399294" y="4842764"/>
                  <a:pt x="1400379" y="4843074"/>
                </a:cubicBezTo>
                <a:cubicBezTo>
                  <a:pt x="1400069" y="4845449"/>
                  <a:pt x="1404096" y="4847101"/>
                  <a:pt x="1403477" y="4850715"/>
                </a:cubicBezTo>
                <a:cubicBezTo>
                  <a:pt x="1402082" y="4851644"/>
                  <a:pt x="1401463" y="4852057"/>
                  <a:pt x="1399604" y="4852264"/>
                </a:cubicBezTo>
                <a:cubicBezTo>
                  <a:pt x="1390775" y="4849373"/>
                  <a:pt x="1390310" y="4844313"/>
                  <a:pt x="1389226" y="4844003"/>
                </a:cubicBezTo>
                <a:cubicBezTo>
                  <a:pt x="1389691" y="4840389"/>
                  <a:pt x="1392170" y="4841009"/>
                  <a:pt x="1395887" y="4840699"/>
                </a:cubicBezTo>
                <a:close/>
                <a:moveTo>
                  <a:pt x="1216207" y="4840699"/>
                </a:moveTo>
                <a:cubicBezTo>
                  <a:pt x="1218685" y="4839976"/>
                  <a:pt x="1221164" y="4839253"/>
                  <a:pt x="1224726" y="4841938"/>
                </a:cubicBezTo>
                <a:cubicBezTo>
                  <a:pt x="1225655" y="4845449"/>
                  <a:pt x="1224881" y="4848030"/>
                  <a:pt x="1221784" y="4851231"/>
                </a:cubicBezTo>
                <a:cubicBezTo>
                  <a:pt x="1217601" y="4851025"/>
                  <a:pt x="1212334" y="4844829"/>
                  <a:pt x="1216207" y="4840699"/>
                </a:cubicBezTo>
                <a:close/>
                <a:moveTo>
                  <a:pt x="6306244" y="4840510"/>
                </a:moveTo>
                <a:cubicBezTo>
                  <a:pt x="6308103" y="4842369"/>
                  <a:pt x="6309807" y="4844228"/>
                  <a:pt x="6311511" y="4846086"/>
                </a:cubicBezTo>
                <a:cubicBezTo>
                  <a:pt x="6309962" y="4846912"/>
                  <a:pt x="6309187" y="4848565"/>
                  <a:pt x="6308413" y="4849494"/>
                </a:cubicBezTo>
                <a:cubicBezTo>
                  <a:pt x="6305935" y="4849390"/>
                  <a:pt x="6304231" y="4848461"/>
                  <a:pt x="6302372" y="4845673"/>
                </a:cubicBezTo>
                <a:cubicBezTo>
                  <a:pt x="6303921" y="4842266"/>
                  <a:pt x="6303147" y="4843092"/>
                  <a:pt x="6306244" y="4840510"/>
                </a:cubicBezTo>
                <a:close/>
                <a:moveTo>
                  <a:pt x="1880713" y="4839150"/>
                </a:moveTo>
                <a:cubicBezTo>
                  <a:pt x="1882571" y="4838427"/>
                  <a:pt x="1884120" y="4838531"/>
                  <a:pt x="1885514" y="4839150"/>
                </a:cubicBezTo>
                <a:lnTo>
                  <a:pt x="1886443" y="4840079"/>
                </a:lnTo>
                <a:lnTo>
                  <a:pt x="1887063" y="4840699"/>
                </a:lnTo>
                <a:lnTo>
                  <a:pt x="1888612" y="4842454"/>
                </a:lnTo>
                <a:cubicBezTo>
                  <a:pt x="1887992" y="4843590"/>
                  <a:pt x="1887372" y="4844313"/>
                  <a:pt x="1886443" y="4844623"/>
                </a:cubicBezTo>
                <a:cubicBezTo>
                  <a:pt x="1885669" y="4844933"/>
                  <a:pt x="1884894" y="4844933"/>
                  <a:pt x="1884120" y="4844519"/>
                </a:cubicBezTo>
                <a:cubicBezTo>
                  <a:pt x="1882416" y="4843900"/>
                  <a:pt x="1881022" y="4841938"/>
                  <a:pt x="1880713" y="4839150"/>
                </a:cubicBezTo>
                <a:close/>
                <a:moveTo>
                  <a:pt x="6016434" y="4838858"/>
                </a:moveTo>
                <a:cubicBezTo>
                  <a:pt x="6015504" y="4839684"/>
                  <a:pt x="6013800" y="4840614"/>
                  <a:pt x="6012871" y="4841440"/>
                </a:cubicBezTo>
                <a:cubicBezTo>
                  <a:pt x="6012871" y="4841440"/>
                  <a:pt x="6012871" y="4841440"/>
                  <a:pt x="6012096" y="4840510"/>
                </a:cubicBezTo>
                <a:cubicBezTo>
                  <a:pt x="6013800" y="4840614"/>
                  <a:pt x="6014885" y="4837000"/>
                  <a:pt x="6016434" y="4838858"/>
                </a:cubicBezTo>
                <a:close/>
                <a:moveTo>
                  <a:pt x="1150531" y="4838634"/>
                </a:moveTo>
                <a:cubicBezTo>
                  <a:pt x="1152390" y="4836879"/>
                  <a:pt x="1156572" y="4837808"/>
                  <a:pt x="1158121" y="4838737"/>
                </a:cubicBezTo>
                <a:cubicBezTo>
                  <a:pt x="1159515" y="4840493"/>
                  <a:pt x="1158431" y="4843074"/>
                  <a:pt x="1156572" y="4844726"/>
                </a:cubicBezTo>
                <a:cubicBezTo>
                  <a:pt x="1156107" y="4845552"/>
                  <a:pt x="1155177" y="4845965"/>
                  <a:pt x="1154248" y="4846069"/>
                </a:cubicBezTo>
                <a:cubicBezTo>
                  <a:pt x="1153319" y="4846172"/>
                  <a:pt x="1152390" y="4845965"/>
                  <a:pt x="1151615" y="4845552"/>
                </a:cubicBezTo>
                <a:cubicBezTo>
                  <a:pt x="1150841" y="4844623"/>
                  <a:pt x="1150841" y="4844623"/>
                  <a:pt x="1150066" y="4843797"/>
                </a:cubicBezTo>
                <a:cubicBezTo>
                  <a:pt x="1150221" y="4842041"/>
                  <a:pt x="1149601" y="4840286"/>
                  <a:pt x="1150531" y="4838634"/>
                </a:cubicBezTo>
                <a:close/>
                <a:moveTo>
                  <a:pt x="6003384" y="4838497"/>
                </a:moveTo>
                <a:cubicBezTo>
                  <a:pt x="6005707" y="4838420"/>
                  <a:pt x="6007605" y="4838652"/>
                  <a:pt x="6008069" y="4838652"/>
                </a:cubicBezTo>
                <a:cubicBezTo>
                  <a:pt x="6007914" y="4839478"/>
                  <a:pt x="6007914" y="4839581"/>
                  <a:pt x="6007914" y="4839581"/>
                </a:cubicBezTo>
                <a:cubicBezTo>
                  <a:pt x="6005436" y="4838858"/>
                  <a:pt x="6002338" y="4841027"/>
                  <a:pt x="5999085" y="4841440"/>
                </a:cubicBezTo>
                <a:cubicBezTo>
                  <a:pt x="5998001" y="4841543"/>
                  <a:pt x="5997071" y="4841543"/>
                  <a:pt x="5995987" y="4841027"/>
                </a:cubicBezTo>
                <a:cubicBezTo>
                  <a:pt x="5995987" y="4841027"/>
                  <a:pt x="5995987" y="4841027"/>
                  <a:pt x="5996917" y="4841027"/>
                </a:cubicBezTo>
                <a:cubicBezTo>
                  <a:pt x="5996917" y="4841027"/>
                  <a:pt x="5995987" y="4841027"/>
                  <a:pt x="5996142" y="4840201"/>
                </a:cubicBezTo>
                <a:cubicBezTo>
                  <a:pt x="5998311" y="4838962"/>
                  <a:pt x="6001060" y="4838574"/>
                  <a:pt x="6003384" y="4838497"/>
                </a:cubicBezTo>
                <a:close/>
                <a:moveTo>
                  <a:pt x="6386326" y="4837206"/>
                </a:moveTo>
                <a:cubicBezTo>
                  <a:pt x="6387100" y="4837826"/>
                  <a:pt x="6387565" y="4838962"/>
                  <a:pt x="6387565" y="4840820"/>
                </a:cubicBezTo>
                <a:cubicBezTo>
                  <a:pt x="6386171" y="4841543"/>
                  <a:pt x="6382918" y="4842575"/>
                  <a:pt x="6379820" y="4842782"/>
                </a:cubicBezTo>
                <a:cubicBezTo>
                  <a:pt x="6376722" y="4843092"/>
                  <a:pt x="6373934" y="4842575"/>
                  <a:pt x="6373469" y="4840201"/>
                </a:cubicBezTo>
                <a:cubicBezTo>
                  <a:pt x="6373315" y="4839581"/>
                  <a:pt x="6373469" y="4838755"/>
                  <a:pt x="6373779" y="4837723"/>
                </a:cubicBezTo>
                <a:cubicBezTo>
                  <a:pt x="6379046" y="4837929"/>
                  <a:pt x="6384002" y="4835347"/>
                  <a:pt x="6386326" y="4837206"/>
                </a:cubicBezTo>
                <a:close/>
                <a:moveTo>
                  <a:pt x="1935081" y="4836775"/>
                </a:moveTo>
                <a:cubicBezTo>
                  <a:pt x="1936165" y="4837085"/>
                  <a:pt x="1937095" y="4839873"/>
                  <a:pt x="1938334" y="4840183"/>
                </a:cubicBezTo>
                <a:cubicBezTo>
                  <a:pt x="1938334" y="4840183"/>
                  <a:pt x="1938334" y="4840286"/>
                  <a:pt x="1937404" y="4841938"/>
                </a:cubicBezTo>
                <a:cubicBezTo>
                  <a:pt x="1936784" y="4842454"/>
                  <a:pt x="1936010" y="4842868"/>
                  <a:pt x="1934771" y="4842558"/>
                </a:cubicBezTo>
                <a:cubicBezTo>
                  <a:pt x="1933687" y="4842248"/>
                  <a:pt x="1932602" y="4840699"/>
                  <a:pt x="1932138" y="4839873"/>
                </a:cubicBezTo>
                <a:cubicBezTo>
                  <a:pt x="1932757" y="4839460"/>
                  <a:pt x="1932292" y="4838737"/>
                  <a:pt x="1932912" y="4838221"/>
                </a:cubicBezTo>
                <a:cubicBezTo>
                  <a:pt x="1933841" y="4836569"/>
                  <a:pt x="1933841" y="4836466"/>
                  <a:pt x="1935081" y="4836775"/>
                </a:cubicBezTo>
                <a:close/>
                <a:moveTo>
                  <a:pt x="1614136" y="4836156"/>
                </a:moveTo>
                <a:cubicBezTo>
                  <a:pt x="1613826" y="4837395"/>
                  <a:pt x="1617233" y="4838221"/>
                  <a:pt x="1618318" y="4838531"/>
                </a:cubicBezTo>
                <a:cubicBezTo>
                  <a:pt x="1618008" y="4839667"/>
                  <a:pt x="1618783" y="4840699"/>
                  <a:pt x="1619402" y="4841835"/>
                </a:cubicBezTo>
                <a:lnTo>
                  <a:pt x="1620176" y="4843384"/>
                </a:lnTo>
                <a:lnTo>
                  <a:pt x="1633497" y="4838118"/>
                </a:lnTo>
                <a:cubicBezTo>
                  <a:pt x="1633652" y="4841215"/>
                  <a:pt x="1635821" y="4842454"/>
                  <a:pt x="1635356" y="4847411"/>
                </a:cubicBezTo>
                <a:cubicBezTo>
                  <a:pt x="1627766" y="4849270"/>
                  <a:pt x="1620796" y="4852057"/>
                  <a:pt x="1613981" y="4854742"/>
                </a:cubicBezTo>
                <a:lnTo>
                  <a:pt x="1603138" y="4858459"/>
                </a:lnTo>
                <a:lnTo>
                  <a:pt x="1604377" y="4861350"/>
                </a:lnTo>
                <a:cubicBezTo>
                  <a:pt x="1605617" y="4865481"/>
                  <a:pt x="1606081" y="4869508"/>
                  <a:pt x="1605771" y="4873431"/>
                </a:cubicBezTo>
                <a:cubicBezTo>
                  <a:pt x="1605462" y="4876013"/>
                  <a:pt x="1604996" y="4878594"/>
                  <a:pt x="1604067" y="4881176"/>
                </a:cubicBezTo>
                <a:cubicBezTo>
                  <a:pt x="1602518" y="4880969"/>
                  <a:pt x="1601280" y="4880349"/>
                  <a:pt x="1600195" y="4879420"/>
                </a:cubicBezTo>
                <a:lnTo>
                  <a:pt x="1599730" y="4878697"/>
                </a:lnTo>
                <a:lnTo>
                  <a:pt x="1599730" y="4879730"/>
                </a:lnTo>
                <a:cubicBezTo>
                  <a:pt x="1599730" y="4880556"/>
                  <a:pt x="1599730" y="4881279"/>
                  <a:pt x="1600040" y="4881795"/>
                </a:cubicBezTo>
                <a:cubicBezTo>
                  <a:pt x="1599265" y="4881382"/>
                  <a:pt x="1598491" y="4880969"/>
                  <a:pt x="1598181" y="4881795"/>
                </a:cubicBezTo>
                <a:cubicBezTo>
                  <a:pt x="1597252" y="4879420"/>
                  <a:pt x="1597562" y="4878697"/>
                  <a:pt x="1597252" y="4877458"/>
                </a:cubicBezTo>
                <a:cubicBezTo>
                  <a:pt x="1596787" y="4878181"/>
                  <a:pt x="1596477" y="4877045"/>
                  <a:pt x="1596477" y="4877045"/>
                </a:cubicBezTo>
                <a:cubicBezTo>
                  <a:pt x="1596477" y="4877045"/>
                  <a:pt x="1596477" y="4876942"/>
                  <a:pt x="1594309" y="4877665"/>
                </a:cubicBezTo>
                <a:cubicBezTo>
                  <a:pt x="1594309" y="4877665"/>
                  <a:pt x="1591366" y="4878181"/>
                  <a:pt x="1588887" y="4876219"/>
                </a:cubicBezTo>
                <a:lnTo>
                  <a:pt x="1587184" y="4874051"/>
                </a:lnTo>
                <a:lnTo>
                  <a:pt x="1583931" y="4875290"/>
                </a:lnTo>
                <a:cubicBezTo>
                  <a:pt x="1582692" y="4875393"/>
                  <a:pt x="1581607" y="4874980"/>
                  <a:pt x="1580523" y="4873741"/>
                </a:cubicBezTo>
                <a:cubicBezTo>
                  <a:pt x="1580678" y="4870230"/>
                  <a:pt x="1582847" y="4868062"/>
                  <a:pt x="1585790" y="4865997"/>
                </a:cubicBezTo>
                <a:lnTo>
                  <a:pt x="1587958" y="4864242"/>
                </a:lnTo>
                <a:lnTo>
                  <a:pt x="1588268" y="4863622"/>
                </a:lnTo>
                <a:lnTo>
                  <a:pt x="1590437" y="4862383"/>
                </a:lnTo>
                <a:lnTo>
                  <a:pt x="1594464" y="4859182"/>
                </a:lnTo>
                <a:cubicBezTo>
                  <a:pt x="1595548" y="4856601"/>
                  <a:pt x="1594154" y="4854432"/>
                  <a:pt x="1595858" y="4851747"/>
                </a:cubicBezTo>
                <a:lnTo>
                  <a:pt x="1596942" y="4850715"/>
                </a:lnTo>
                <a:lnTo>
                  <a:pt x="1596787" y="4846378"/>
                </a:lnTo>
                <a:cubicBezTo>
                  <a:pt x="1598336" y="4845655"/>
                  <a:pt x="1600969" y="4848340"/>
                  <a:pt x="1602828" y="4849373"/>
                </a:cubicBezTo>
                <a:cubicBezTo>
                  <a:pt x="1601898" y="4850199"/>
                  <a:pt x="1601124" y="4850921"/>
                  <a:pt x="1602053" y="4851025"/>
                </a:cubicBezTo>
                <a:lnTo>
                  <a:pt x="1600040" y="4852057"/>
                </a:lnTo>
                <a:lnTo>
                  <a:pt x="1600969" y="4853916"/>
                </a:lnTo>
                <a:lnTo>
                  <a:pt x="1601744" y="4852986"/>
                </a:lnTo>
                <a:cubicBezTo>
                  <a:pt x="1603913" y="4851231"/>
                  <a:pt x="1606391" y="4849682"/>
                  <a:pt x="1608869" y="4848340"/>
                </a:cubicBezTo>
                <a:lnTo>
                  <a:pt x="1613206" y="4846378"/>
                </a:lnTo>
                <a:lnTo>
                  <a:pt x="1611347" y="4845346"/>
                </a:lnTo>
                <a:cubicBezTo>
                  <a:pt x="1607785" y="4842764"/>
                  <a:pt x="1607940" y="4839873"/>
                  <a:pt x="1607010" y="4839667"/>
                </a:cubicBezTo>
                <a:cubicBezTo>
                  <a:pt x="1608095" y="4836052"/>
                  <a:pt x="1610418" y="4836569"/>
                  <a:pt x="1614136" y="4836156"/>
                </a:cubicBezTo>
                <a:close/>
                <a:moveTo>
                  <a:pt x="1232626" y="4836052"/>
                </a:moveTo>
                <a:cubicBezTo>
                  <a:pt x="1234485" y="4836156"/>
                  <a:pt x="1237582" y="4837188"/>
                  <a:pt x="1237892" y="4839460"/>
                </a:cubicBezTo>
                <a:cubicBezTo>
                  <a:pt x="1237892" y="4839460"/>
                  <a:pt x="1237892" y="4839357"/>
                  <a:pt x="1238202" y="4840596"/>
                </a:cubicBezTo>
                <a:cubicBezTo>
                  <a:pt x="1236188" y="4839253"/>
                  <a:pt x="1233555" y="4837602"/>
                  <a:pt x="1232626" y="4836052"/>
                </a:cubicBezTo>
                <a:close/>
                <a:moveTo>
                  <a:pt x="1915254" y="4833265"/>
                </a:moveTo>
                <a:cubicBezTo>
                  <a:pt x="1916028" y="4835020"/>
                  <a:pt x="1916803" y="4838531"/>
                  <a:pt x="1915099" y="4839976"/>
                </a:cubicBezTo>
                <a:cubicBezTo>
                  <a:pt x="1915099" y="4839976"/>
                  <a:pt x="1915099" y="4839976"/>
                  <a:pt x="1914325" y="4840699"/>
                </a:cubicBezTo>
                <a:cubicBezTo>
                  <a:pt x="1914325" y="4838221"/>
                  <a:pt x="1914480" y="4834813"/>
                  <a:pt x="1915254" y="4833265"/>
                </a:cubicBezTo>
                <a:close/>
                <a:moveTo>
                  <a:pt x="1371103" y="4832439"/>
                </a:moveTo>
                <a:cubicBezTo>
                  <a:pt x="1374511" y="4831406"/>
                  <a:pt x="1377145" y="4833884"/>
                  <a:pt x="1381171" y="4833368"/>
                </a:cubicBezTo>
                <a:cubicBezTo>
                  <a:pt x="1382721" y="4836156"/>
                  <a:pt x="1387677" y="4836052"/>
                  <a:pt x="1389536" y="4840079"/>
                </a:cubicBezTo>
                <a:cubicBezTo>
                  <a:pt x="1388296" y="4840699"/>
                  <a:pt x="1386592" y="4840906"/>
                  <a:pt x="1384734" y="4840596"/>
                </a:cubicBezTo>
                <a:cubicBezTo>
                  <a:pt x="1379158" y="4839667"/>
                  <a:pt x="1372033" y="4835123"/>
                  <a:pt x="1371103" y="4832439"/>
                </a:cubicBezTo>
                <a:close/>
                <a:moveTo>
                  <a:pt x="1085165" y="4832336"/>
                </a:moveTo>
                <a:cubicBezTo>
                  <a:pt x="1089192" y="4831200"/>
                  <a:pt x="1092445" y="4834710"/>
                  <a:pt x="1089037" y="4839253"/>
                </a:cubicBezTo>
                <a:cubicBezTo>
                  <a:pt x="1086869" y="4837911"/>
                  <a:pt x="1084700" y="4836569"/>
                  <a:pt x="1084545" y="4834504"/>
                </a:cubicBezTo>
                <a:cubicBezTo>
                  <a:pt x="1084545" y="4833884"/>
                  <a:pt x="1084700" y="4833161"/>
                  <a:pt x="1085165" y="4832336"/>
                </a:cubicBezTo>
                <a:close/>
                <a:moveTo>
                  <a:pt x="1583156" y="4831303"/>
                </a:moveTo>
                <a:cubicBezTo>
                  <a:pt x="1582847" y="4832026"/>
                  <a:pt x="1582692" y="4832026"/>
                  <a:pt x="1582692" y="4832026"/>
                </a:cubicBezTo>
                <a:lnTo>
                  <a:pt x="1583149" y="4831305"/>
                </a:lnTo>
                <a:close/>
                <a:moveTo>
                  <a:pt x="1464041" y="4830993"/>
                </a:moveTo>
                <a:cubicBezTo>
                  <a:pt x="1465125" y="4830683"/>
                  <a:pt x="1465590" y="4829960"/>
                  <a:pt x="1465900" y="4831096"/>
                </a:cubicBezTo>
                <a:cubicBezTo>
                  <a:pt x="1466055" y="4832232"/>
                  <a:pt x="1466055" y="4832232"/>
                  <a:pt x="1464660" y="4834401"/>
                </a:cubicBezTo>
                <a:cubicBezTo>
                  <a:pt x="1464506" y="4833265"/>
                  <a:pt x="1464506" y="4833265"/>
                  <a:pt x="1463266" y="4833574"/>
                </a:cubicBezTo>
                <a:cubicBezTo>
                  <a:pt x="1463266" y="4833574"/>
                  <a:pt x="1463266" y="4833678"/>
                  <a:pt x="1462802" y="4834401"/>
                </a:cubicBezTo>
                <a:cubicBezTo>
                  <a:pt x="1462182" y="4833987"/>
                  <a:pt x="1462647" y="4833265"/>
                  <a:pt x="1462027" y="4832851"/>
                </a:cubicBezTo>
                <a:cubicBezTo>
                  <a:pt x="1462027" y="4832851"/>
                  <a:pt x="1462492" y="4832026"/>
                  <a:pt x="1462492" y="4832026"/>
                </a:cubicBezTo>
                <a:cubicBezTo>
                  <a:pt x="1462182" y="4831819"/>
                  <a:pt x="1462182" y="4831819"/>
                  <a:pt x="1462492" y="4831819"/>
                </a:cubicBezTo>
                <a:cubicBezTo>
                  <a:pt x="1462647" y="4831716"/>
                  <a:pt x="1463266" y="4831509"/>
                  <a:pt x="1464041" y="4830993"/>
                </a:cubicBezTo>
                <a:close/>
                <a:moveTo>
                  <a:pt x="6237258" y="4830753"/>
                </a:moveTo>
                <a:cubicBezTo>
                  <a:pt x="6240297" y="4829772"/>
                  <a:pt x="6242892" y="4831734"/>
                  <a:pt x="6240259" y="4840820"/>
                </a:cubicBezTo>
                <a:cubicBezTo>
                  <a:pt x="6234372" y="4841337"/>
                  <a:pt x="6232049" y="4840098"/>
                  <a:pt x="6231584" y="4838342"/>
                </a:cubicBezTo>
                <a:cubicBezTo>
                  <a:pt x="6230732" y="4835658"/>
                  <a:pt x="6234218" y="4831734"/>
                  <a:pt x="6237258" y="4830753"/>
                </a:cubicBezTo>
                <a:close/>
                <a:moveTo>
                  <a:pt x="1500906" y="4830477"/>
                </a:moveTo>
                <a:cubicBezTo>
                  <a:pt x="1501836" y="4829857"/>
                  <a:pt x="1502920" y="4829857"/>
                  <a:pt x="1504469" y="4830580"/>
                </a:cubicBezTo>
                <a:cubicBezTo>
                  <a:pt x="1508806" y="4833058"/>
                  <a:pt x="1507567" y="4837085"/>
                  <a:pt x="1505553" y="4841318"/>
                </a:cubicBezTo>
                <a:cubicBezTo>
                  <a:pt x="1503694" y="4840906"/>
                  <a:pt x="1502145" y="4841318"/>
                  <a:pt x="1500286" y="4840906"/>
                </a:cubicBezTo>
                <a:cubicBezTo>
                  <a:pt x="1498273" y="4838634"/>
                  <a:pt x="1498118" y="4832336"/>
                  <a:pt x="1500906" y="4830477"/>
                </a:cubicBezTo>
                <a:close/>
                <a:moveTo>
                  <a:pt x="1885824" y="4830270"/>
                </a:moveTo>
                <a:cubicBezTo>
                  <a:pt x="1887372" y="4831406"/>
                  <a:pt x="1888302" y="4832439"/>
                  <a:pt x="1889076" y="4833368"/>
                </a:cubicBezTo>
                <a:cubicBezTo>
                  <a:pt x="1890625" y="4834504"/>
                  <a:pt x="1890625" y="4835433"/>
                  <a:pt x="1888921" y="4836982"/>
                </a:cubicBezTo>
                <a:cubicBezTo>
                  <a:pt x="1887218" y="4835949"/>
                  <a:pt x="1884894" y="4832026"/>
                  <a:pt x="1885824" y="4830270"/>
                </a:cubicBezTo>
                <a:close/>
                <a:moveTo>
                  <a:pt x="6284637" y="4829694"/>
                </a:moveTo>
                <a:cubicBezTo>
                  <a:pt x="6289980" y="4826777"/>
                  <a:pt x="6295634" y="4826623"/>
                  <a:pt x="6299739" y="4831217"/>
                </a:cubicBezTo>
                <a:cubicBezTo>
                  <a:pt x="6301288" y="4832973"/>
                  <a:pt x="6302527" y="4835451"/>
                  <a:pt x="6303611" y="4838755"/>
                </a:cubicBezTo>
                <a:cubicBezTo>
                  <a:pt x="6297880" y="4845880"/>
                  <a:pt x="6290600" y="4858374"/>
                  <a:pt x="6279912" y="4860026"/>
                </a:cubicBezTo>
                <a:cubicBezTo>
                  <a:pt x="6278363" y="4860233"/>
                  <a:pt x="6276814" y="4860336"/>
                  <a:pt x="6275110" y="4860026"/>
                </a:cubicBezTo>
                <a:cubicBezTo>
                  <a:pt x="6273097" y="4859716"/>
                  <a:pt x="6271083" y="4859097"/>
                  <a:pt x="6269069" y="4858064"/>
                </a:cubicBezTo>
                <a:cubicBezTo>
                  <a:pt x="6268450" y="4853624"/>
                  <a:pt x="6269379" y="4849081"/>
                  <a:pt x="6271393" y="4844744"/>
                </a:cubicBezTo>
                <a:cubicBezTo>
                  <a:pt x="6274259" y="4838290"/>
                  <a:pt x="6279293" y="4832611"/>
                  <a:pt x="6284637" y="4829694"/>
                </a:cubicBezTo>
                <a:close/>
                <a:moveTo>
                  <a:pt x="1599885" y="4829444"/>
                </a:moveTo>
                <a:cubicBezTo>
                  <a:pt x="1602208" y="4830064"/>
                  <a:pt x="1601898" y="4833265"/>
                  <a:pt x="1601124" y="4833678"/>
                </a:cubicBezTo>
                <a:cubicBezTo>
                  <a:pt x="1599885" y="4833471"/>
                  <a:pt x="1599111" y="4831922"/>
                  <a:pt x="1598026" y="4831612"/>
                </a:cubicBezTo>
                <a:cubicBezTo>
                  <a:pt x="1598801" y="4831200"/>
                  <a:pt x="1599111" y="4829960"/>
                  <a:pt x="1599885" y="4829444"/>
                </a:cubicBezTo>
                <a:close/>
                <a:moveTo>
                  <a:pt x="1344925" y="4829031"/>
                </a:moveTo>
                <a:cubicBezTo>
                  <a:pt x="1346165" y="4829031"/>
                  <a:pt x="1348024" y="4828515"/>
                  <a:pt x="1349573" y="4829135"/>
                </a:cubicBezTo>
                <a:cubicBezTo>
                  <a:pt x="1350192" y="4831509"/>
                  <a:pt x="1349418" y="4832645"/>
                  <a:pt x="1348179" y="4832955"/>
                </a:cubicBezTo>
                <a:cubicBezTo>
                  <a:pt x="1347094" y="4833265"/>
                  <a:pt x="1345546" y="4832748"/>
                  <a:pt x="1344925" y="4831716"/>
                </a:cubicBezTo>
                <a:cubicBezTo>
                  <a:pt x="1344461" y="4830993"/>
                  <a:pt x="1344306" y="4830064"/>
                  <a:pt x="1344925" y="4829031"/>
                </a:cubicBezTo>
                <a:close/>
                <a:moveTo>
                  <a:pt x="992692" y="4828721"/>
                </a:moveTo>
                <a:cubicBezTo>
                  <a:pt x="990678" y="4833161"/>
                  <a:pt x="984947" y="4838324"/>
                  <a:pt x="980145" y="4837808"/>
                </a:cubicBezTo>
                <a:cubicBezTo>
                  <a:pt x="978596" y="4837602"/>
                  <a:pt x="977047" y="4836879"/>
                  <a:pt x="975808" y="4835226"/>
                </a:cubicBezTo>
                <a:cubicBezTo>
                  <a:pt x="981229" y="4833058"/>
                  <a:pt x="986806" y="4829135"/>
                  <a:pt x="992692" y="4828721"/>
                </a:cubicBezTo>
                <a:close/>
                <a:moveTo>
                  <a:pt x="1899919" y="4828205"/>
                </a:moveTo>
                <a:cubicBezTo>
                  <a:pt x="1901623" y="4830064"/>
                  <a:pt x="1904876" y="4827585"/>
                  <a:pt x="1907509" y="4830374"/>
                </a:cubicBezTo>
                <a:cubicBezTo>
                  <a:pt x="1907664" y="4832129"/>
                  <a:pt x="1907664" y="4832955"/>
                  <a:pt x="1906890" y="4834710"/>
                </a:cubicBezTo>
                <a:cubicBezTo>
                  <a:pt x="1905185" y="4836156"/>
                  <a:pt x="1903791" y="4837085"/>
                  <a:pt x="1902398" y="4837602"/>
                </a:cubicBezTo>
                <a:lnTo>
                  <a:pt x="1899145" y="4838531"/>
                </a:lnTo>
                <a:lnTo>
                  <a:pt x="1899300" y="4840183"/>
                </a:lnTo>
                <a:cubicBezTo>
                  <a:pt x="1898835" y="4841318"/>
                  <a:pt x="1897905" y="4842248"/>
                  <a:pt x="1896666" y="4842145"/>
                </a:cubicBezTo>
                <a:cubicBezTo>
                  <a:pt x="1895892" y="4842145"/>
                  <a:pt x="1895117" y="4841732"/>
                  <a:pt x="1894498" y="4840596"/>
                </a:cubicBezTo>
                <a:lnTo>
                  <a:pt x="1896046" y="4838531"/>
                </a:lnTo>
                <a:lnTo>
                  <a:pt x="1895272" y="4838634"/>
                </a:lnTo>
                <a:cubicBezTo>
                  <a:pt x="1892639" y="4835846"/>
                  <a:pt x="1894188" y="4834091"/>
                  <a:pt x="1895737" y="4830683"/>
                </a:cubicBezTo>
                <a:cubicBezTo>
                  <a:pt x="1896666" y="4831612"/>
                  <a:pt x="1898990" y="4829031"/>
                  <a:pt x="1899919" y="4828205"/>
                </a:cubicBezTo>
                <a:close/>
                <a:moveTo>
                  <a:pt x="6041836" y="4827913"/>
                </a:moveTo>
                <a:cubicBezTo>
                  <a:pt x="6040443" y="4829772"/>
                  <a:pt x="6037964" y="4833076"/>
                  <a:pt x="6035796" y="4833902"/>
                </a:cubicBezTo>
                <a:cubicBezTo>
                  <a:pt x="6035176" y="4834212"/>
                  <a:pt x="6034401" y="4834108"/>
                  <a:pt x="6033937" y="4833696"/>
                </a:cubicBezTo>
                <a:cubicBezTo>
                  <a:pt x="6033162" y="4832870"/>
                  <a:pt x="6034092" y="4832043"/>
                  <a:pt x="6034092" y="4831217"/>
                </a:cubicBezTo>
                <a:cubicBezTo>
                  <a:pt x="6035176" y="4829462"/>
                  <a:pt x="6041062" y="4827087"/>
                  <a:pt x="6041836" y="4827913"/>
                </a:cubicBezTo>
                <a:close/>
                <a:moveTo>
                  <a:pt x="1884430" y="4827173"/>
                </a:moveTo>
                <a:cubicBezTo>
                  <a:pt x="1884739" y="4827379"/>
                  <a:pt x="1884894" y="4827585"/>
                  <a:pt x="1884894" y="4827585"/>
                </a:cubicBezTo>
                <a:cubicBezTo>
                  <a:pt x="1885669" y="4828515"/>
                  <a:pt x="1886598" y="4829547"/>
                  <a:pt x="1885669" y="4830270"/>
                </a:cubicBezTo>
                <a:cubicBezTo>
                  <a:pt x="1885669" y="4830270"/>
                  <a:pt x="1884739" y="4830167"/>
                  <a:pt x="1883191" y="4828205"/>
                </a:cubicBezTo>
                <a:cubicBezTo>
                  <a:pt x="1883965" y="4828308"/>
                  <a:pt x="1884120" y="4827482"/>
                  <a:pt x="1884120" y="4827482"/>
                </a:cubicBezTo>
                <a:cubicBezTo>
                  <a:pt x="1884120" y="4827482"/>
                  <a:pt x="1884120" y="4827482"/>
                  <a:pt x="1883191" y="4827379"/>
                </a:cubicBezTo>
                <a:cubicBezTo>
                  <a:pt x="1883655" y="4826966"/>
                  <a:pt x="1884120" y="4827069"/>
                  <a:pt x="1884430" y="4827173"/>
                </a:cubicBezTo>
                <a:close/>
                <a:moveTo>
                  <a:pt x="1358092" y="4826140"/>
                </a:moveTo>
                <a:cubicBezTo>
                  <a:pt x="1358557" y="4826346"/>
                  <a:pt x="1358866" y="4826346"/>
                  <a:pt x="1359176" y="4826656"/>
                </a:cubicBezTo>
                <a:lnTo>
                  <a:pt x="1359796" y="4827689"/>
                </a:lnTo>
                <a:lnTo>
                  <a:pt x="1360880" y="4826553"/>
                </a:lnTo>
                <a:cubicBezTo>
                  <a:pt x="1364133" y="4827689"/>
                  <a:pt x="1365837" y="4829651"/>
                  <a:pt x="1367231" y="4830786"/>
                </a:cubicBezTo>
                <a:cubicBezTo>
                  <a:pt x="1366301" y="4833161"/>
                  <a:pt x="1366147" y="4835123"/>
                  <a:pt x="1365062" y="4837498"/>
                </a:cubicBezTo>
                <a:cubicBezTo>
                  <a:pt x="1363978" y="4838221"/>
                  <a:pt x="1363049" y="4838737"/>
                  <a:pt x="1362119" y="4838944"/>
                </a:cubicBezTo>
                <a:cubicBezTo>
                  <a:pt x="1361190" y="4839150"/>
                  <a:pt x="1360260" y="4839150"/>
                  <a:pt x="1359641" y="4838944"/>
                </a:cubicBezTo>
                <a:cubicBezTo>
                  <a:pt x="1358092" y="4838531"/>
                  <a:pt x="1357007" y="4837395"/>
                  <a:pt x="1356543" y="4835949"/>
                </a:cubicBezTo>
                <a:cubicBezTo>
                  <a:pt x="1355924" y="4834401"/>
                  <a:pt x="1355924" y="4832645"/>
                  <a:pt x="1356698" y="4830890"/>
                </a:cubicBezTo>
                <a:lnTo>
                  <a:pt x="1357317" y="4830167"/>
                </a:lnTo>
                <a:lnTo>
                  <a:pt x="1357007" y="4829547"/>
                </a:lnTo>
                <a:cubicBezTo>
                  <a:pt x="1356698" y="4829754"/>
                  <a:pt x="1356698" y="4829857"/>
                  <a:pt x="1356853" y="4829547"/>
                </a:cubicBezTo>
                <a:cubicBezTo>
                  <a:pt x="1356853" y="4829238"/>
                  <a:pt x="1357007" y="4828618"/>
                  <a:pt x="1357007" y="4827689"/>
                </a:cubicBezTo>
                <a:cubicBezTo>
                  <a:pt x="1357472" y="4826553"/>
                  <a:pt x="1357007" y="4825934"/>
                  <a:pt x="1358092" y="4826140"/>
                </a:cubicBezTo>
                <a:close/>
                <a:moveTo>
                  <a:pt x="1731857" y="4826101"/>
                </a:moveTo>
                <a:cubicBezTo>
                  <a:pt x="1740066" y="4825494"/>
                  <a:pt x="1748121" y="4827069"/>
                  <a:pt x="1754317" y="4832439"/>
                </a:cubicBezTo>
                <a:cubicBezTo>
                  <a:pt x="1764540" y="4841318"/>
                  <a:pt x="1760977" y="4852574"/>
                  <a:pt x="1764695" y="4865274"/>
                </a:cubicBezTo>
                <a:cubicBezTo>
                  <a:pt x="1755401" y="4871470"/>
                  <a:pt x="1756795" y="4877768"/>
                  <a:pt x="1755091" y="4883860"/>
                </a:cubicBezTo>
                <a:cubicBezTo>
                  <a:pt x="1747346" y="4884893"/>
                  <a:pt x="1739446" y="4892224"/>
                  <a:pt x="1731392" y="4895941"/>
                </a:cubicBezTo>
                <a:cubicBezTo>
                  <a:pt x="1726745" y="4893773"/>
                  <a:pt x="1722253" y="4892431"/>
                  <a:pt x="1717606" y="4891088"/>
                </a:cubicBezTo>
                <a:lnTo>
                  <a:pt x="1710171" y="4888507"/>
                </a:lnTo>
                <a:lnTo>
                  <a:pt x="1708312" y="4891811"/>
                </a:lnTo>
                <a:lnTo>
                  <a:pt x="1706454" y="4887371"/>
                </a:lnTo>
                <a:lnTo>
                  <a:pt x="1703820" y="4886338"/>
                </a:lnTo>
                <a:cubicBezTo>
                  <a:pt x="1703201" y="4874774"/>
                  <a:pt x="1689880" y="4863932"/>
                  <a:pt x="1695456" y="4851128"/>
                </a:cubicBezTo>
                <a:cubicBezTo>
                  <a:pt x="1704750" y="4844933"/>
                  <a:pt x="1704130" y="4838737"/>
                  <a:pt x="1708467" y="4832851"/>
                </a:cubicBezTo>
                <a:cubicBezTo>
                  <a:pt x="1715283" y="4829496"/>
                  <a:pt x="1723647" y="4826708"/>
                  <a:pt x="1731857" y="4826101"/>
                </a:cubicBezTo>
                <a:close/>
                <a:moveTo>
                  <a:pt x="6128733" y="4825538"/>
                </a:moveTo>
                <a:cubicBezTo>
                  <a:pt x="6128733" y="4825538"/>
                  <a:pt x="6128733" y="4825538"/>
                  <a:pt x="6129353" y="4825951"/>
                </a:cubicBezTo>
                <a:cubicBezTo>
                  <a:pt x="6130747" y="4826880"/>
                  <a:pt x="6131367" y="4827294"/>
                  <a:pt x="6132141" y="4827707"/>
                </a:cubicBezTo>
                <a:cubicBezTo>
                  <a:pt x="6132296" y="4828946"/>
                  <a:pt x="6132141" y="4832043"/>
                  <a:pt x="6131057" y="4832353"/>
                </a:cubicBezTo>
                <a:cubicBezTo>
                  <a:pt x="6129972" y="4832663"/>
                  <a:pt x="6128733" y="4832663"/>
                  <a:pt x="6127804" y="4832456"/>
                </a:cubicBezTo>
                <a:cubicBezTo>
                  <a:pt x="6126875" y="4832250"/>
                  <a:pt x="6126100" y="4831837"/>
                  <a:pt x="6126100" y="4831217"/>
                </a:cubicBezTo>
                <a:cubicBezTo>
                  <a:pt x="6125790" y="4829462"/>
                  <a:pt x="6125481" y="4827707"/>
                  <a:pt x="6126875" y="4826468"/>
                </a:cubicBezTo>
                <a:cubicBezTo>
                  <a:pt x="6127184" y="4826055"/>
                  <a:pt x="6127804" y="4825848"/>
                  <a:pt x="6128733" y="4825538"/>
                </a:cubicBezTo>
                <a:close/>
                <a:moveTo>
                  <a:pt x="1137519" y="4824901"/>
                </a:moveTo>
                <a:cubicBezTo>
                  <a:pt x="1138604" y="4825211"/>
                  <a:pt x="1138604" y="4825107"/>
                  <a:pt x="1140154" y="4827276"/>
                </a:cubicBezTo>
                <a:cubicBezTo>
                  <a:pt x="1138914" y="4827069"/>
                  <a:pt x="1138914" y="4827069"/>
                  <a:pt x="1138759" y="4828205"/>
                </a:cubicBezTo>
                <a:cubicBezTo>
                  <a:pt x="1138759" y="4828205"/>
                  <a:pt x="1138759" y="4828102"/>
                  <a:pt x="1139378" y="4828825"/>
                </a:cubicBezTo>
                <a:cubicBezTo>
                  <a:pt x="1138604" y="4829341"/>
                  <a:pt x="1138139" y="4828618"/>
                  <a:pt x="1137519" y="4829031"/>
                </a:cubicBezTo>
                <a:cubicBezTo>
                  <a:pt x="1137519" y="4829031"/>
                  <a:pt x="1137055" y="4828308"/>
                  <a:pt x="1137055" y="4828308"/>
                </a:cubicBezTo>
                <a:cubicBezTo>
                  <a:pt x="1136745" y="4828515"/>
                  <a:pt x="1136745" y="4828515"/>
                  <a:pt x="1136745" y="4828205"/>
                </a:cubicBezTo>
                <a:cubicBezTo>
                  <a:pt x="1136900" y="4827895"/>
                  <a:pt x="1136900" y="4827379"/>
                  <a:pt x="1136745" y="4826450"/>
                </a:cubicBezTo>
                <a:cubicBezTo>
                  <a:pt x="1136900" y="4825314"/>
                  <a:pt x="1136435" y="4824591"/>
                  <a:pt x="1137519" y="4824901"/>
                </a:cubicBezTo>
                <a:close/>
                <a:moveTo>
                  <a:pt x="858241" y="4824178"/>
                </a:moveTo>
                <a:cubicBezTo>
                  <a:pt x="860100" y="4824901"/>
                  <a:pt x="861030" y="4825830"/>
                  <a:pt x="862733" y="4826553"/>
                </a:cubicBezTo>
                <a:cubicBezTo>
                  <a:pt x="863198" y="4829135"/>
                  <a:pt x="865987" y="4831509"/>
                  <a:pt x="863353" y="4836982"/>
                </a:cubicBezTo>
                <a:cubicBezTo>
                  <a:pt x="859946" y="4842351"/>
                  <a:pt x="854369" y="4838324"/>
                  <a:pt x="854524" y="4839150"/>
                </a:cubicBezTo>
                <a:cubicBezTo>
                  <a:pt x="853750" y="4840079"/>
                  <a:pt x="853750" y="4840183"/>
                  <a:pt x="853904" y="4841009"/>
                </a:cubicBezTo>
                <a:cubicBezTo>
                  <a:pt x="852975" y="4841009"/>
                  <a:pt x="851426" y="4842041"/>
                  <a:pt x="850806" y="4842971"/>
                </a:cubicBezTo>
                <a:cubicBezTo>
                  <a:pt x="850651" y="4842041"/>
                  <a:pt x="850497" y="4841215"/>
                  <a:pt x="849723" y="4841215"/>
                </a:cubicBezTo>
                <a:cubicBezTo>
                  <a:pt x="851117" y="4839460"/>
                  <a:pt x="851891" y="4839357"/>
                  <a:pt x="852665" y="4838531"/>
                </a:cubicBezTo>
                <a:cubicBezTo>
                  <a:pt x="851736" y="4838531"/>
                  <a:pt x="852511" y="4837602"/>
                  <a:pt x="852511" y="4837602"/>
                </a:cubicBezTo>
                <a:cubicBezTo>
                  <a:pt x="852511" y="4837602"/>
                  <a:pt x="852511" y="4837602"/>
                  <a:pt x="850651" y="4835949"/>
                </a:cubicBezTo>
                <a:cubicBezTo>
                  <a:pt x="850651" y="4835949"/>
                  <a:pt x="846624" y="4831819"/>
                  <a:pt x="849412" y="4827276"/>
                </a:cubicBezTo>
                <a:cubicBezTo>
                  <a:pt x="850342" y="4828102"/>
                  <a:pt x="854679" y="4822629"/>
                  <a:pt x="858241" y="4824178"/>
                </a:cubicBezTo>
                <a:close/>
                <a:moveTo>
                  <a:pt x="1459394" y="4823145"/>
                </a:moveTo>
                <a:cubicBezTo>
                  <a:pt x="1459549" y="4823972"/>
                  <a:pt x="1459239" y="4824798"/>
                  <a:pt x="1458620" y="4825624"/>
                </a:cubicBezTo>
                <a:cubicBezTo>
                  <a:pt x="1456761" y="4827999"/>
                  <a:pt x="1452579" y="4830374"/>
                  <a:pt x="1450100" y="4831096"/>
                </a:cubicBezTo>
                <a:cubicBezTo>
                  <a:pt x="1449636" y="4827999"/>
                  <a:pt x="1456141" y="4824178"/>
                  <a:pt x="1459394" y="4823145"/>
                </a:cubicBezTo>
                <a:close/>
                <a:moveTo>
                  <a:pt x="1207223" y="4823042"/>
                </a:moveTo>
                <a:lnTo>
                  <a:pt x="1207843" y="4824901"/>
                </a:lnTo>
                <a:lnTo>
                  <a:pt x="1208307" y="4824384"/>
                </a:lnTo>
                <a:cubicBezTo>
                  <a:pt x="1209546" y="4823352"/>
                  <a:pt x="1210785" y="4822836"/>
                  <a:pt x="1212334" y="4823249"/>
                </a:cubicBezTo>
                <a:cubicBezTo>
                  <a:pt x="1211715" y="4823869"/>
                  <a:pt x="1210785" y="4824901"/>
                  <a:pt x="1209701" y="4825830"/>
                </a:cubicBezTo>
                <a:lnTo>
                  <a:pt x="1208462" y="4826759"/>
                </a:lnTo>
                <a:lnTo>
                  <a:pt x="1209237" y="4829031"/>
                </a:lnTo>
                <a:cubicBezTo>
                  <a:pt x="1209081" y="4831096"/>
                  <a:pt x="1207998" y="4833161"/>
                  <a:pt x="1206138" y="4835226"/>
                </a:cubicBezTo>
                <a:cubicBezTo>
                  <a:pt x="1201957" y="4835743"/>
                  <a:pt x="1200253" y="4830270"/>
                  <a:pt x="1199169" y="4827585"/>
                </a:cubicBezTo>
                <a:cubicBezTo>
                  <a:pt x="1201957" y="4825211"/>
                  <a:pt x="1204744" y="4822836"/>
                  <a:pt x="1207223" y="4823042"/>
                </a:cubicBezTo>
                <a:close/>
                <a:moveTo>
                  <a:pt x="1302794" y="4821803"/>
                </a:moveTo>
                <a:cubicBezTo>
                  <a:pt x="1304343" y="4822526"/>
                  <a:pt x="1305117" y="4831819"/>
                  <a:pt x="1301090" y="4830993"/>
                </a:cubicBezTo>
                <a:cubicBezTo>
                  <a:pt x="1300316" y="4830683"/>
                  <a:pt x="1299851" y="4830064"/>
                  <a:pt x="1299696" y="4829135"/>
                </a:cubicBezTo>
                <a:cubicBezTo>
                  <a:pt x="1299231" y="4826450"/>
                  <a:pt x="1301400" y="4822216"/>
                  <a:pt x="1302794" y="4821803"/>
                </a:cubicBezTo>
                <a:close/>
                <a:moveTo>
                  <a:pt x="1059762" y="4821597"/>
                </a:moveTo>
                <a:cubicBezTo>
                  <a:pt x="1062395" y="4826243"/>
                  <a:pt x="1058522" y="4831509"/>
                  <a:pt x="1054340" y="4832336"/>
                </a:cubicBezTo>
                <a:cubicBezTo>
                  <a:pt x="1052792" y="4832542"/>
                  <a:pt x="1051397" y="4832336"/>
                  <a:pt x="1050003" y="4831406"/>
                </a:cubicBezTo>
                <a:cubicBezTo>
                  <a:pt x="1046441" y="4825211"/>
                  <a:pt x="1054650" y="4819635"/>
                  <a:pt x="1059762" y="4821597"/>
                </a:cubicBezTo>
                <a:close/>
                <a:moveTo>
                  <a:pt x="1756795" y="4820564"/>
                </a:moveTo>
                <a:cubicBezTo>
                  <a:pt x="1764230" y="4825727"/>
                  <a:pt x="1761907" y="4830993"/>
                  <a:pt x="1758034" y="4832129"/>
                </a:cubicBezTo>
                <a:cubicBezTo>
                  <a:pt x="1756640" y="4832542"/>
                  <a:pt x="1755246" y="4832439"/>
                  <a:pt x="1753852" y="4831819"/>
                </a:cubicBezTo>
                <a:cubicBezTo>
                  <a:pt x="1751993" y="4830890"/>
                  <a:pt x="1750289" y="4828825"/>
                  <a:pt x="1749515" y="4825417"/>
                </a:cubicBezTo>
                <a:cubicBezTo>
                  <a:pt x="1751839" y="4822113"/>
                  <a:pt x="1754317" y="4822113"/>
                  <a:pt x="1756795" y="4820564"/>
                </a:cubicBezTo>
                <a:close/>
                <a:moveTo>
                  <a:pt x="1589972" y="4820461"/>
                </a:moveTo>
                <a:cubicBezTo>
                  <a:pt x="1594464" y="4829754"/>
                  <a:pt x="1588422" y="4832129"/>
                  <a:pt x="1590901" y="4837395"/>
                </a:cubicBezTo>
                <a:lnTo>
                  <a:pt x="1589197" y="4837085"/>
                </a:lnTo>
                <a:lnTo>
                  <a:pt x="1588113" y="4838427"/>
                </a:lnTo>
                <a:cubicBezTo>
                  <a:pt x="1587494" y="4838737"/>
                  <a:pt x="1586874" y="4838737"/>
                  <a:pt x="1586409" y="4838531"/>
                </a:cubicBezTo>
                <a:cubicBezTo>
                  <a:pt x="1585635" y="4838118"/>
                  <a:pt x="1585015" y="4836982"/>
                  <a:pt x="1584550" y="4834917"/>
                </a:cubicBezTo>
                <a:cubicBezTo>
                  <a:pt x="1585944" y="4834091"/>
                  <a:pt x="1587029" y="4833574"/>
                  <a:pt x="1587958" y="4833368"/>
                </a:cubicBezTo>
                <a:lnTo>
                  <a:pt x="1588268" y="4833471"/>
                </a:lnTo>
                <a:lnTo>
                  <a:pt x="1587649" y="4831200"/>
                </a:lnTo>
                <a:cubicBezTo>
                  <a:pt x="1587338" y="4827585"/>
                  <a:pt x="1588268" y="4822423"/>
                  <a:pt x="1589972" y="4820461"/>
                </a:cubicBezTo>
                <a:close/>
                <a:moveTo>
                  <a:pt x="1585480" y="4820151"/>
                </a:moveTo>
                <a:cubicBezTo>
                  <a:pt x="1586254" y="4820564"/>
                  <a:pt x="1586254" y="4820461"/>
                  <a:pt x="1586254" y="4820461"/>
                </a:cubicBezTo>
                <a:cubicBezTo>
                  <a:pt x="1584550" y="4822423"/>
                  <a:pt x="1585325" y="4826243"/>
                  <a:pt x="1584395" y="4829341"/>
                </a:cubicBezTo>
                <a:lnTo>
                  <a:pt x="1583149" y="4831305"/>
                </a:lnTo>
                <a:lnTo>
                  <a:pt x="1582072" y="4831612"/>
                </a:lnTo>
                <a:cubicBezTo>
                  <a:pt x="1581607" y="4826553"/>
                  <a:pt x="1585170" y="4820874"/>
                  <a:pt x="1585480" y="4820151"/>
                </a:cubicBezTo>
                <a:close/>
                <a:moveTo>
                  <a:pt x="1700239" y="4819054"/>
                </a:moveTo>
                <a:cubicBezTo>
                  <a:pt x="1702543" y="4818860"/>
                  <a:pt x="1704905" y="4819841"/>
                  <a:pt x="1707538" y="4822526"/>
                </a:cubicBezTo>
                <a:cubicBezTo>
                  <a:pt x="1707228" y="4825934"/>
                  <a:pt x="1704285" y="4827276"/>
                  <a:pt x="1701187" y="4827173"/>
                </a:cubicBezTo>
                <a:cubicBezTo>
                  <a:pt x="1698089" y="4826966"/>
                  <a:pt x="1694681" y="4825314"/>
                  <a:pt x="1693287" y="4822629"/>
                </a:cubicBezTo>
                <a:cubicBezTo>
                  <a:pt x="1695688" y="4820616"/>
                  <a:pt x="1697935" y="4819248"/>
                  <a:pt x="1700239" y="4819054"/>
                </a:cubicBezTo>
                <a:close/>
                <a:moveTo>
                  <a:pt x="1026304" y="4817983"/>
                </a:moveTo>
                <a:cubicBezTo>
                  <a:pt x="1027388" y="4818292"/>
                  <a:pt x="1028317" y="4819118"/>
                  <a:pt x="1028783" y="4820771"/>
                </a:cubicBezTo>
                <a:cubicBezTo>
                  <a:pt x="1030176" y="4825520"/>
                  <a:pt x="1026459" y="4827069"/>
                  <a:pt x="1021812" y="4827999"/>
                </a:cubicBezTo>
                <a:cubicBezTo>
                  <a:pt x="1020883" y="4826346"/>
                  <a:pt x="1019334" y="4825417"/>
                  <a:pt x="1018249" y="4823662"/>
                </a:cubicBezTo>
                <a:cubicBezTo>
                  <a:pt x="1018404" y="4820771"/>
                  <a:pt x="1023051" y="4816950"/>
                  <a:pt x="1026304" y="4817983"/>
                </a:cubicBezTo>
                <a:close/>
                <a:moveTo>
                  <a:pt x="1610728" y="4817570"/>
                </a:moveTo>
                <a:cubicBezTo>
                  <a:pt x="1610728" y="4817570"/>
                  <a:pt x="1610728" y="4817570"/>
                  <a:pt x="1611657" y="4819428"/>
                </a:cubicBezTo>
                <a:cubicBezTo>
                  <a:pt x="1611812" y="4820254"/>
                  <a:pt x="1611812" y="4821184"/>
                  <a:pt x="1610883" y="4822010"/>
                </a:cubicBezTo>
                <a:cubicBezTo>
                  <a:pt x="1610108" y="4822939"/>
                  <a:pt x="1608404" y="4822836"/>
                  <a:pt x="1607475" y="4822733"/>
                </a:cubicBezTo>
                <a:cubicBezTo>
                  <a:pt x="1607475" y="4821803"/>
                  <a:pt x="1606700" y="4821803"/>
                  <a:pt x="1606700" y="4820977"/>
                </a:cubicBezTo>
                <a:cubicBezTo>
                  <a:pt x="1605617" y="4819118"/>
                  <a:pt x="1605617" y="4819118"/>
                  <a:pt x="1606546" y="4818189"/>
                </a:cubicBezTo>
                <a:cubicBezTo>
                  <a:pt x="1607320" y="4817363"/>
                  <a:pt x="1609953" y="4818396"/>
                  <a:pt x="1610728" y="4817570"/>
                </a:cubicBezTo>
                <a:close/>
                <a:moveTo>
                  <a:pt x="1788703" y="4816640"/>
                </a:moveTo>
                <a:cubicBezTo>
                  <a:pt x="1789633" y="4817467"/>
                  <a:pt x="1792576" y="4819945"/>
                  <a:pt x="1792576" y="4819945"/>
                </a:cubicBezTo>
                <a:cubicBezTo>
                  <a:pt x="1793350" y="4819841"/>
                  <a:pt x="1793350" y="4819841"/>
                  <a:pt x="1794280" y="4820668"/>
                </a:cubicBezTo>
                <a:cubicBezTo>
                  <a:pt x="1793505" y="4821597"/>
                  <a:pt x="1793660" y="4821493"/>
                  <a:pt x="1792731" y="4821597"/>
                </a:cubicBezTo>
                <a:cubicBezTo>
                  <a:pt x="1791802" y="4820771"/>
                  <a:pt x="1791646" y="4819945"/>
                  <a:pt x="1790717" y="4819118"/>
                </a:cubicBezTo>
                <a:cubicBezTo>
                  <a:pt x="1789323" y="4820977"/>
                  <a:pt x="1790098" y="4820874"/>
                  <a:pt x="1789168" y="4820151"/>
                </a:cubicBezTo>
                <a:cubicBezTo>
                  <a:pt x="1789168" y="4820151"/>
                  <a:pt x="1789168" y="4820048"/>
                  <a:pt x="1788239" y="4819222"/>
                </a:cubicBezTo>
                <a:lnTo>
                  <a:pt x="1788084" y="4819118"/>
                </a:lnTo>
                <a:lnTo>
                  <a:pt x="1787929" y="4819222"/>
                </a:lnTo>
                <a:lnTo>
                  <a:pt x="1788239" y="4819222"/>
                </a:lnTo>
                <a:lnTo>
                  <a:pt x="1788858" y="4827792"/>
                </a:lnTo>
                <a:lnTo>
                  <a:pt x="1789788" y="4828308"/>
                </a:lnTo>
                <a:cubicBezTo>
                  <a:pt x="1789323" y="4827585"/>
                  <a:pt x="1790562" y="4827792"/>
                  <a:pt x="1790562" y="4827792"/>
                </a:cubicBezTo>
                <a:cubicBezTo>
                  <a:pt x="1790562" y="4827792"/>
                  <a:pt x="1790408" y="4827895"/>
                  <a:pt x="1790873" y="4825417"/>
                </a:cubicBezTo>
                <a:cubicBezTo>
                  <a:pt x="1790873" y="4825417"/>
                  <a:pt x="1792266" y="4820254"/>
                  <a:pt x="1797533" y="4820977"/>
                </a:cubicBezTo>
                <a:cubicBezTo>
                  <a:pt x="1797533" y="4821907"/>
                  <a:pt x="1801405" y="4823145"/>
                  <a:pt x="1803574" y="4825417"/>
                </a:cubicBezTo>
                <a:lnTo>
                  <a:pt x="1804038" y="4826037"/>
                </a:lnTo>
                <a:lnTo>
                  <a:pt x="1804967" y="4826553"/>
                </a:lnTo>
                <a:cubicBezTo>
                  <a:pt x="1806207" y="4827379"/>
                  <a:pt x="1807446" y="4828102"/>
                  <a:pt x="1808066" y="4828515"/>
                </a:cubicBezTo>
                <a:cubicBezTo>
                  <a:pt x="1808221" y="4829341"/>
                  <a:pt x="1808221" y="4829341"/>
                  <a:pt x="1808221" y="4829341"/>
                </a:cubicBezTo>
                <a:cubicBezTo>
                  <a:pt x="1807911" y="4830270"/>
                  <a:pt x="1807291" y="4830477"/>
                  <a:pt x="1806517" y="4830270"/>
                </a:cubicBezTo>
                <a:lnTo>
                  <a:pt x="1805278" y="4829754"/>
                </a:lnTo>
                <a:lnTo>
                  <a:pt x="1805587" y="4833058"/>
                </a:lnTo>
                <a:cubicBezTo>
                  <a:pt x="1804503" y="4833781"/>
                  <a:pt x="1803883" y="4834917"/>
                  <a:pt x="1802799" y="4835949"/>
                </a:cubicBezTo>
                <a:lnTo>
                  <a:pt x="1801405" y="4836775"/>
                </a:lnTo>
                <a:lnTo>
                  <a:pt x="1803419" y="4836672"/>
                </a:lnTo>
                <a:cubicBezTo>
                  <a:pt x="1804503" y="4837188"/>
                  <a:pt x="1805433" y="4838118"/>
                  <a:pt x="1806517" y="4839563"/>
                </a:cubicBezTo>
                <a:cubicBezTo>
                  <a:pt x="1804813" y="4843900"/>
                  <a:pt x="1803264" y="4851128"/>
                  <a:pt x="1798462" y="4854122"/>
                </a:cubicBezTo>
                <a:lnTo>
                  <a:pt x="1797533" y="4854329"/>
                </a:lnTo>
                <a:lnTo>
                  <a:pt x="1796758" y="4855258"/>
                </a:lnTo>
                <a:lnTo>
                  <a:pt x="1796758" y="4855465"/>
                </a:lnTo>
                <a:cubicBezTo>
                  <a:pt x="1795984" y="4855465"/>
                  <a:pt x="1795984" y="4856394"/>
                  <a:pt x="1796913" y="4856394"/>
                </a:cubicBezTo>
                <a:cubicBezTo>
                  <a:pt x="1796293" y="4857737"/>
                  <a:pt x="1795829" y="4858769"/>
                  <a:pt x="1795209" y="4859388"/>
                </a:cubicBezTo>
                <a:cubicBezTo>
                  <a:pt x="1794900" y="4859698"/>
                  <a:pt x="1794589" y="4859802"/>
                  <a:pt x="1794280" y="4859802"/>
                </a:cubicBezTo>
                <a:cubicBezTo>
                  <a:pt x="1793970" y="4859802"/>
                  <a:pt x="1793505" y="4859595"/>
                  <a:pt x="1793041" y="4859182"/>
                </a:cubicBezTo>
                <a:cubicBezTo>
                  <a:pt x="1791182" y="4858459"/>
                  <a:pt x="1791802" y="4856601"/>
                  <a:pt x="1789943" y="4855052"/>
                </a:cubicBezTo>
                <a:cubicBezTo>
                  <a:pt x="1786225" y="4852574"/>
                  <a:pt x="1782198" y="4859802"/>
                  <a:pt x="1774763" y="4855052"/>
                </a:cubicBezTo>
                <a:cubicBezTo>
                  <a:pt x="1776157" y="4853193"/>
                  <a:pt x="1772130" y="4849063"/>
                  <a:pt x="1774298" y="4846275"/>
                </a:cubicBezTo>
                <a:cubicBezTo>
                  <a:pt x="1779875" y="4837188"/>
                  <a:pt x="1782663" y="4838841"/>
                  <a:pt x="1788858" y="4841112"/>
                </a:cubicBezTo>
                <a:cubicBezTo>
                  <a:pt x="1787929" y="4841112"/>
                  <a:pt x="1789013" y="4841938"/>
                  <a:pt x="1789013" y="4841938"/>
                </a:cubicBezTo>
                <a:cubicBezTo>
                  <a:pt x="1790873" y="4843590"/>
                  <a:pt x="1791027" y="4838324"/>
                  <a:pt x="1793660" y="4839873"/>
                </a:cubicBezTo>
                <a:lnTo>
                  <a:pt x="1794280" y="4840596"/>
                </a:lnTo>
                <a:lnTo>
                  <a:pt x="1794589" y="4840596"/>
                </a:lnTo>
                <a:lnTo>
                  <a:pt x="1797378" y="4837602"/>
                </a:lnTo>
                <a:lnTo>
                  <a:pt x="1796913" y="4837602"/>
                </a:lnTo>
                <a:cubicBezTo>
                  <a:pt x="1790408" y="4836569"/>
                  <a:pt x="1790717" y="4829754"/>
                  <a:pt x="1790098" y="4830270"/>
                </a:cubicBezTo>
                <a:lnTo>
                  <a:pt x="1789478" y="4830064"/>
                </a:lnTo>
                <a:lnTo>
                  <a:pt x="1789633" y="4831096"/>
                </a:lnTo>
                <a:cubicBezTo>
                  <a:pt x="1789943" y="4831819"/>
                  <a:pt x="1790098" y="4832129"/>
                  <a:pt x="1790098" y="4832129"/>
                </a:cubicBezTo>
                <a:cubicBezTo>
                  <a:pt x="1789478" y="4833884"/>
                  <a:pt x="1788703" y="4833987"/>
                  <a:pt x="1789478" y="4833884"/>
                </a:cubicBezTo>
                <a:cubicBezTo>
                  <a:pt x="1788084" y="4835743"/>
                  <a:pt x="1786690" y="4838427"/>
                  <a:pt x="1784986" y="4837602"/>
                </a:cubicBezTo>
                <a:cubicBezTo>
                  <a:pt x="1780804" y="4834607"/>
                  <a:pt x="1782817" y="4828308"/>
                  <a:pt x="1784211" y="4824281"/>
                </a:cubicBezTo>
                <a:lnTo>
                  <a:pt x="1785141" y="4821493"/>
                </a:lnTo>
                <a:lnTo>
                  <a:pt x="1783128" y="4819532"/>
                </a:lnTo>
                <a:cubicBezTo>
                  <a:pt x="1782972" y="4817879"/>
                  <a:pt x="1784676" y="4816537"/>
                  <a:pt x="1786380" y="4816744"/>
                </a:cubicBezTo>
                <a:lnTo>
                  <a:pt x="1788239" y="4818189"/>
                </a:lnTo>
                <a:close/>
                <a:moveTo>
                  <a:pt x="1602983" y="4815917"/>
                </a:moveTo>
                <a:cubicBezTo>
                  <a:pt x="1602983" y="4815917"/>
                  <a:pt x="1603758" y="4816847"/>
                  <a:pt x="1603758" y="4816847"/>
                </a:cubicBezTo>
                <a:cubicBezTo>
                  <a:pt x="1607010" y="4820048"/>
                  <a:pt x="1608250" y="4825520"/>
                  <a:pt x="1607320" y="4827069"/>
                </a:cubicBezTo>
                <a:cubicBezTo>
                  <a:pt x="1606391" y="4827792"/>
                  <a:pt x="1605152" y="4828308"/>
                  <a:pt x="1603758" y="4828205"/>
                </a:cubicBezTo>
                <a:cubicBezTo>
                  <a:pt x="1602363" y="4827999"/>
                  <a:pt x="1600969" y="4827379"/>
                  <a:pt x="1599885" y="4825830"/>
                </a:cubicBezTo>
                <a:cubicBezTo>
                  <a:pt x="1597407" y="4823662"/>
                  <a:pt x="1597717" y="4820254"/>
                  <a:pt x="1595393" y="4817260"/>
                </a:cubicBezTo>
                <a:cubicBezTo>
                  <a:pt x="1598026" y="4814266"/>
                  <a:pt x="1598956" y="4813543"/>
                  <a:pt x="1602983" y="4815917"/>
                </a:cubicBezTo>
                <a:close/>
                <a:moveTo>
                  <a:pt x="929959" y="4815505"/>
                </a:moveTo>
                <a:cubicBezTo>
                  <a:pt x="930114" y="4816331"/>
                  <a:pt x="929494" y="4819015"/>
                  <a:pt x="930423" y="4818912"/>
                </a:cubicBezTo>
                <a:cubicBezTo>
                  <a:pt x="928874" y="4820977"/>
                  <a:pt x="926861" y="4823145"/>
                  <a:pt x="924693" y="4823352"/>
                </a:cubicBezTo>
                <a:cubicBezTo>
                  <a:pt x="924072" y="4823455"/>
                  <a:pt x="923298" y="4823352"/>
                  <a:pt x="922678" y="4822939"/>
                </a:cubicBezTo>
                <a:cubicBezTo>
                  <a:pt x="920819" y="4822113"/>
                  <a:pt x="921439" y="4820358"/>
                  <a:pt x="922833" y="4818602"/>
                </a:cubicBezTo>
                <a:cubicBezTo>
                  <a:pt x="924693" y="4814059"/>
                  <a:pt x="927015" y="4813026"/>
                  <a:pt x="929959" y="4815505"/>
                </a:cubicBezTo>
                <a:close/>
                <a:moveTo>
                  <a:pt x="6463310" y="4815109"/>
                </a:moveTo>
                <a:cubicBezTo>
                  <a:pt x="6462844" y="4816348"/>
                  <a:pt x="6462690" y="4818310"/>
                  <a:pt x="6461451" y="4819859"/>
                </a:cubicBezTo>
                <a:cubicBezTo>
                  <a:pt x="6457268" y="4820995"/>
                  <a:pt x="6454790" y="4819343"/>
                  <a:pt x="6453551" y="4816142"/>
                </a:cubicBezTo>
                <a:cubicBezTo>
                  <a:pt x="6455410" y="4811392"/>
                  <a:pt x="6461760" y="4811082"/>
                  <a:pt x="6463310" y="4815109"/>
                </a:cubicBezTo>
                <a:close/>
                <a:moveTo>
                  <a:pt x="839964" y="4814988"/>
                </a:moveTo>
                <a:cubicBezTo>
                  <a:pt x="843526" y="4813956"/>
                  <a:pt x="843991" y="4816434"/>
                  <a:pt x="845850" y="4819738"/>
                </a:cubicBezTo>
                <a:cubicBezTo>
                  <a:pt x="844611" y="4820048"/>
                  <a:pt x="845230" y="4823559"/>
                  <a:pt x="845385" y="4824798"/>
                </a:cubicBezTo>
                <a:cubicBezTo>
                  <a:pt x="843061" y="4825417"/>
                  <a:pt x="843217" y="4829754"/>
                  <a:pt x="839654" y="4830786"/>
                </a:cubicBezTo>
                <a:cubicBezTo>
                  <a:pt x="838260" y="4829857"/>
                  <a:pt x="837485" y="4829444"/>
                  <a:pt x="836711" y="4827792"/>
                </a:cubicBezTo>
                <a:cubicBezTo>
                  <a:pt x="835626" y="4818602"/>
                  <a:pt x="840273" y="4816124"/>
                  <a:pt x="839964" y="4814988"/>
                </a:cubicBezTo>
                <a:close/>
                <a:moveTo>
                  <a:pt x="1234639" y="4814782"/>
                </a:moveTo>
                <a:cubicBezTo>
                  <a:pt x="1238666" y="4814472"/>
                  <a:pt x="1241145" y="4815608"/>
                  <a:pt x="1242539" y="4817570"/>
                </a:cubicBezTo>
                <a:cubicBezTo>
                  <a:pt x="1246412" y="4823352"/>
                  <a:pt x="1239906" y="4835846"/>
                  <a:pt x="1230612" y="4835020"/>
                </a:cubicBezTo>
                <a:cubicBezTo>
                  <a:pt x="1229373" y="4833678"/>
                  <a:pt x="1228599" y="4832129"/>
                  <a:pt x="1228289" y="4830270"/>
                </a:cubicBezTo>
                <a:cubicBezTo>
                  <a:pt x="1227979" y="4827585"/>
                  <a:pt x="1228753" y="4824488"/>
                  <a:pt x="1229992" y="4821597"/>
                </a:cubicBezTo>
                <a:lnTo>
                  <a:pt x="1230922" y="4820151"/>
                </a:lnTo>
                <a:lnTo>
                  <a:pt x="1231232" y="4819428"/>
                </a:lnTo>
                <a:lnTo>
                  <a:pt x="1232161" y="4818602"/>
                </a:lnTo>
                <a:close/>
                <a:moveTo>
                  <a:pt x="1982673" y="4814730"/>
                </a:moveTo>
                <a:cubicBezTo>
                  <a:pt x="1988055" y="4816176"/>
                  <a:pt x="1993554" y="4818550"/>
                  <a:pt x="2000137" y="4819428"/>
                </a:cubicBezTo>
                <a:cubicBezTo>
                  <a:pt x="2001996" y="4830477"/>
                  <a:pt x="2008347" y="4831716"/>
                  <a:pt x="2013148" y="4835846"/>
                </a:cubicBezTo>
                <a:cubicBezTo>
                  <a:pt x="2010980" y="4843280"/>
                  <a:pt x="2014542" y="4853400"/>
                  <a:pt x="2014542" y="4862383"/>
                </a:cubicBezTo>
                <a:cubicBezTo>
                  <a:pt x="2010670" y="4865687"/>
                  <a:pt x="2007727" y="4869301"/>
                  <a:pt x="2004629" y="4873018"/>
                </a:cubicBezTo>
                <a:lnTo>
                  <a:pt x="1999363" y="4878594"/>
                </a:lnTo>
                <a:lnTo>
                  <a:pt x="1999053" y="4881279"/>
                </a:lnTo>
                <a:lnTo>
                  <a:pt x="1996729" y="4881485"/>
                </a:lnTo>
                <a:lnTo>
                  <a:pt x="1994715" y="4883757"/>
                </a:lnTo>
                <a:cubicBezTo>
                  <a:pt x="1983873" y="4879626"/>
                  <a:pt x="1968538" y="4887268"/>
                  <a:pt x="1959090" y="4877045"/>
                </a:cubicBezTo>
                <a:cubicBezTo>
                  <a:pt x="1957231" y="4865997"/>
                  <a:pt x="1951190" y="4864035"/>
                  <a:pt x="1947627" y="4857737"/>
                </a:cubicBezTo>
                <a:cubicBezTo>
                  <a:pt x="1947008" y="4842558"/>
                  <a:pt x="1951035" y="4822629"/>
                  <a:pt x="1965905" y="4815608"/>
                </a:cubicBezTo>
                <a:cubicBezTo>
                  <a:pt x="1972023" y="4812768"/>
                  <a:pt x="1977290" y="4813285"/>
                  <a:pt x="1982673" y="4814730"/>
                </a:cubicBezTo>
                <a:close/>
                <a:moveTo>
                  <a:pt x="1170357" y="4814575"/>
                </a:moveTo>
                <a:cubicBezTo>
                  <a:pt x="1171907" y="4816434"/>
                  <a:pt x="1170977" y="4818189"/>
                  <a:pt x="1170048" y="4819118"/>
                </a:cubicBezTo>
                <a:cubicBezTo>
                  <a:pt x="1169428" y="4820358"/>
                  <a:pt x="1168344" y="4820977"/>
                  <a:pt x="1166950" y="4821184"/>
                </a:cubicBezTo>
                <a:cubicBezTo>
                  <a:pt x="1165711" y="4821390"/>
                  <a:pt x="1164317" y="4821184"/>
                  <a:pt x="1163077" y="4820668"/>
                </a:cubicBezTo>
                <a:cubicBezTo>
                  <a:pt x="1163852" y="4820668"/>
                  <a:pt x="1163852" y="4820668"/>
                  <a:pt x="1163852" y="4820668"/>
                </a:cubicBezTo>
                <a:cubicBezTo>
                  <a:pt x="1164781" y="4819841"/>
                  <a:pt x="1164007" y="4819841"/>
                  <a:pt x="1164007" y="4818912"/>
                </a:cubicBezTo>
                <a:cubicBezTo>
                  <a:pt x="1164007" y="4818912"/>
                  <a:pt x="1164007" y="4819841"/>
                  <a:pt x="1163232" y="4818912"/>
                </a:cubicBezTo>
                <a:cubicBezTo>
                  <a:pt x="1164162" y="4818912"/>
                  <a:pt x="1164162" y="4818086"/>
                  <a:pt x="1164162" y="4817157"/>
                </a:cubicBezTo>
                <a:cubicBezTo>
                  <a:pt x="1166020" y="4815505"/>
                  <a:pt x="1168809" y="4813749"/>
                  <a:pt x="1170357" y="4814575"/>
                </a:cubicBezTo>
                <a:close/>
                <a:moveTo>
                  <a:pt x="1889076" y="4814266"/>
                </a:moveTo>
                <a:cubicBezTo>
                  <a:pt x="1890935" y="4815814"/>
                  <a:pt x="1890935" y="4815814"/>
                  <a:pt x="1889696" y="4818499"/>
                </a:cubicBezTo>
                <a:cubicBezTo>
                  <a:pt x="1888921" y="4819428"/>
                  <a:pt x="1887218" y="4820358"/>
                  <a:pt x="1885204" y="4820874"/>
                </a:cubicBezTo>
                <a:cubicBezTo>
                  <a:pt x="1884275" y="4821184"/>
                  <a:pt x="1883191" y="4821287"/>
                  <a:pt x="1882261" y="4821287"/>
                </a:cubicBezTo>
                <a:cubicBezTo>
                  <a:pt x="1881332" y="4821287"/>
                  <a:pt x="1880558" y="4821080"/>
                  <a:pt x="1879937" y="4820771"/>
                </a:cubicBezTo>
                <a:cubicBezTo>
                  <a:pt x="1880402" y="4819015"/>
                  <a:pt x="1881022" y="4817260"/>
                  <a:pt x="1881641" y="4815505"/>
                </a:cubicBezTo>
                <a:cubicBezTo>
                  <a:pt x="1881796" y="4816331"/>
                  <a:pt x="1889076" y="4814266"/>
                  <a:pt x="1889076" y="4814266"/>
                </a:cubicBezTo>
                <a:close/>
                <a:moveTo>
                  <a:pt x="6073280" y="4812425"/>
                </a:moveTo>
                <a:cubicBezTo>
                  <a:pt x="6069873" y="4822234"/>
                  <a:pt x="6072196" y="4829462"/>
                  <a:pt x="6066310" y="4839994"/>
                </a:cubicBezTo>
                <a:cubicBezTo>
                  <a:pt x="6064761" y="4838652"/>
                  <a:pt x="6063832" y="4836380"/>
                  <a:pt x="6063522" y="4833592"/>
                </a:cubicBezTo>
                <a:cubicBezTo>
                  <a:pt x="6062438" y="4825332"/>
                  <a:pt x="6066310" y="4813147"/>
                  <a:pt x="6073280" y="4812425"/>
                </a:cubicBezTo>
                <a:close/>
                <a:moveTo>
                  <a:pt x="1589042" y="4812407"/>
                </a:moveTo>
                <a:cubicBezTo>
                  <a:pt x="1589507" y="4813646"/>
                  <a:pt x="1589507" y="4815608"/>
                  <a:pt x="1589972" y="4816847"/>
                </a:cubicBezTo>
                <a:cubicBezTo>
                  <a:pt x="1589972" y="4816847"/>
                  <a:pt x="1589972" y="4816847"/>
                  <a:pt x="1588887" y="4817157"/>
                </a:cubicBezTo>
                <a:cubicBezTo>
                  <a:pt x="1589507" y="4815608"/>
                  <a:pt x="1586874" y="4813026"/>
                  <a:pt x="1589042" y="4812407"/>
                </a:cubicBezTo>
                <a:close/>
                <a:moveTo>
                  <a:pt x="1285600" y="4811994"/>
                </a:moveTo>
                <a:cubicBezTo>
                  <a:pt x="1290247" y="4809825"/>
                  <a:pt x="1294739" y="4814472"/>
                  <a:pt x="1295049" y="4819118"/>
                </a:cubicBezTo>
                <a:cubicBezTo>
                  <a:pt x="1295049" y="4820564"/>
                  <a:pt x="1294739" y="4822113"/>
                  <a:pt x="1293655" y="4823352"/>
                </a:cubicBezTo>
                <a:cubicBezTo>
                  <a:pt x="1292106" y="4824075"/>
                  <a:pt x="1290557" y="4824075"/>
                  <a:pt x="1289318" y="4823559"/>
                </a:cubicBezTo>
                <a:lnTo>
                  <a:pt x="1287924" y="4822216"/>
                </a:lnTo>
                <a:lnTo>
                  <a:pt x="1286065" y="4823559"/>
                </a:lnTo>
                <a:cubicBezTo>
                  <a:pt x="1284671" y="4824178"/>
                  <a:pt x="1283123" y="4824798"/>
                  <a:pt x="1281728" y="4826140"/>
                </a:cubicBezTo>
                <a:cubicBezTo>
                  <a:pt x="1280179" y="4824798"/>
                  <a:pt x="1279095" y="4823869"/>
                  <a:pt x="1278785" y="4822733"/>
                </a:cubicBezTo>
                <a:cubicBezTo>
                  <a:pt x="1278630" y="4821700"/>
                  <a:pt x="1278940" y="4820358"/>
                  <a:pt x="1280024" y="4818189"/>
                </a:cubicBezTo>
                <a:cubicBezTo>
                  <a:pt x="1280024" y="4818189"/>
                  <a:pt x="1280799" y="4817363"/>
                  <a:pt x="1280799" y="4817363"/>
                </a:cubicBezTo>
                <a:lnTo>
                  <a:pt x="1285291" y="4814266"/>
                </a:lnTo>
                <a:close/>
                <a:moveTo>
                  <a:pt x="1119706" y="4811994"/>
                </a:moveTo>
                <a:cubicBezTo>
                  <a:pt x="1121101" y="4814678"/>
                  <a:pt x="1121720" y="4815608"/>
                  <a:pt x="1120636" y="4818292"/>
                </a:cubicBezTo>
                <a:cubicBezTo>
                  <a:pt x="1119861" y="4817363"/>
                  <a:pt x="1119397" y="4816434"/>
                  <a:pt x="1119242" y="4815505"/>
                </a:cubicBezTo>
                <a:cubicBezTo>
                  <a:pt x="1118932" y="4814472"/>
                  <a:pt x="1119087" y="4813336"/>
                  <a:pt x="1119706" y="4811994"/>
                </a:cubicBezTo>
                <a:close/>
                <a:moveTo>
                  <a:pt x="1324789" y="4811581"/>
                </a:moveTo>
                <a:cubicBezTo>
                  <a:pt x="1329126" y="4808586"/>
                  <a:pt x="1342602" y="4822010"/>
                  <a:pt x="1324789" y="4821184"/>
                </a:cubicBezTo>
                <a:cubicBezTo>
                  <a:pt x="1322776" y="4815402"/>
                  <a:pt x="1323240" y="4812613"/>
                  <a:pt x="1324789" y="4811581"/>
                </a:cubicBezTo>
                <a:close/>
                <a:moveTo>
                  <a:pt x="1718381" y="4811374"/>
                </a:moveTo>
                <a:cubicBezTo>
                  <a:pt x="1719155" y="4811891"/>
                  <a:pt x="1719620" y="4811065"/>
                  <a:pt x="1720394" y="4811478"/>
                </a:cubicBezTo>
                <a:cubicBezTo>
                  <a:pt x="1722253" y="4811684"/>
                  <a:pt x="1722253" y="4811684"/>
                  <a:pt x="1722563" y="4812923"/>
                </a:cubicBezTo>
                <a:cubicBezTo>
                  <a:pt x="1722718" y="4814059"/>
                  <a:pt x="1720549" y="4816021"/>
                  <a:pt x="1720704" y="4817260"/>
                </a:cubicBezTo>
                <a:cubicBezTo>
                  <a:pt x="1720704" y="4817260"/>
                  <a:pt x="1720704" y="4817260"/>
                  <a:pt x="1718690" y="4817157"/>
                </a:cubicBezTo>
                <a:cubicBezTo>
                  <a:pt x="1718071" y="4816640"/>
                  <a:pt x="1717297" y="4816227"/>
                  <a:pt x="1717142" y="4814988"/>
                </a:cubicBezTo>
                <a:cubicBezTo>
                  <a:pt x="1716987" y="4813749"/>
                  <a:pt x="1717916" y="4812201"/>
                  <a:pt x="1718381" y="4811374"/>
                </a:cubicBezTo>
                <a:close/>
                <a:moveTo>
                  <a:pt x="938478" y="4811374"/>
                </a:moveTo>
                <a:cubicBezTo>
                  <a:pt x="938633" y="4812304"/>
                  <a:pt x="939717" y="4814059"/>
                  <a:pt x="938943" y="4814059"/>
                </a:cubicBezTo>
                <a:cubicBezTo>
                  <a:pt x="939097" y="4814988"/>
                  <a:pt x="937393" y="4815091"/>
                  <a:pt x="937393" y="4815091"/>
                </a:cubicBezTo>
                <a:cubicBezTo>
                  <a:pt x="937549" y="4815917"/>
                  <a:pt x="937703" y="4816847"/>
                  <a:pt x="937083" y="4817879"/>
                </a:cubicBezTo>
                <a:cubicBezTo>
                  <a:pt x="936155" y="4816950"/>
                  <a:pt x="936155" y="4817879"/>
                  <a:pt x="935380" y="4817879"/>
                </a:cubicBezTo>
                <a:cubicBezTo>
                  <a:pt x="936155" y="4816950"/>
                  <a:pt x="935690" y="4814266"/>
                  <a:pt x="936309" y="4812407"/>
                </a:cubicBezTo>
                <a:cubicBezTo>
                  <a:pt x="937083" y="4812407"/>
                  <a:pt x="937703" y="4811478"/>
                  <a:pt x="938478" y="4811374"/>
                </a:cubicBezTo>
                <a:close/>
                <a:moveTo>
                  <a:pt x="2021203" y="4810651"/>
                </a:moveTo>
                <a:lnTo>
                  <a:pt x="2022288" y="4814575"/>
                </a:lnTo>
                <a:lnTo>
                  <a:pt x="2026315" y="4813543"/>
                </a:lnTo>
                <a:cubicBezTo>
                  <a:pt x="2032975" y="4813646"/>
                  <a:pt x="2042269" y="4818086"/>
                  <a:pt x="2042269" y="4825107"/>
                </a:cubicBezTo>
                <a:cubicBezTo>
                  <a:pt x="2039326" y="4823972"/>
                  <a:pt x="2036538" y="4822836"/>
                  <a:pt x="2033439" y="4821907"/>
                </a:cubicBezTo>
                <a:lnTo>
                  <a:pt x="2025075" y="4820564"/>
                </a:lnTo>
                <a:lnTo>
                  <a:pt x="2028018" y="4824488"/>
                </a:lnTo>
                <a:cubicBezTo>
                  <a:pt x="2031271" y="4828412"/>
                  <a:pt x="2034369" y="4832026"/>
                  <a:pt x="2032665" y="4836775"/>
                </a:cubicBezTo>
                <a:cubicBezTo>
                  <a:pt x="2025695" y="4831303"/>
                  <a:pt x="2017950" y="4827173"/>
                  <a:pt x="2014697" y="4815195"/>
                </a:cubicBezTo>
                <a:cubicBezTo>
                  <a:pt x="2016556" y="4813543"/>
                  <a:pt x="2017176" y="4809000"/>
                  <a:pt x="2021203" y="4810651"/>
                </a:cubicBezTo>
                <a:close/>
                <a:moveTo>
                  <a:pt x="1894033" y="4810445"/>
                </a:moveTo>
                <a:cubicBezTo>
                  <a:pt x="1902398" y="4811684"/>
                  <a:pt x="1910762" y="4811271"/>
                  <a:pt x="1919436" y="4820254"/>
                </a:cubicBezTo>
                <a:cubicBezTo>
                  <a:pt x="1918662" y="4822836"/>
                  <a:pt x="1920520" y="4827276"/>
                  <a:pt x="1916338" y="4827895"/>
                </a:cubicBezTo>
                <a:cubicBezTo>
                  <a:pt x="1910917" y="4817260"/>
                  <a:pt x="1896046" y="4820977"/>
                  <a:pt x="1894033" y="4810445"/>
                </a:cubicBezTo>
                <a:close/>
                <a:moveTo>
                  <a:pt x="1875755" y="4810445"/>
                </a:moveTo>
                <a:lnTo>
                  <a:pt x="1875601" y="4813233"/>
                </a:lnTo>
                <a:lnTo>
                  <a:pt x="1876065" y="4813336"/>
                </a:lnTo>
                <a:cubicBezTo>
                  <a:pt x="1880247" y="4816950"/>
                  <a:pt x="1881177" y="4828515"/>
                  <a:pt x="1876839" y="4829547"/>
                </a:cubicBezTo>
                <a:cubicBezTo>
                  <a:pt x="1874516" y="4830167"/>
                  <a:pt x="1870644" y="4827689"/>
                  <a:pt x="1865068" y="4819428"/>
                </a:cubicBezTo>
                <a:lnTo>
                  <a:pt x="1868630" y="4814885"/>
                </a:lnTo>
                <a:lnTo>
                  <a:pt x="1868011" y="4814575"/>
                </a:lnTo>
                <a:cubicBezTo>
                  <a:pt x="1868940" y="4812510"/>
                  <a:pt x="1870179" y="4811271"/>
                  <a:pt x="1871573" y="4810651"/>
                </a:cubicBezTo>
                <a:cubicBezTo>
                  <a:pt x="1872967" y="4810032"/>
                  <a:pt x="1874361" y="4810032"/>
                  <a:pt x="1875755" y="4810445"/>
                </a:cubicBezTo>
                <a:close/>
                <a:moveTo>
                  <a:pt x="2046141" y="4809825"/>
                </a:moveTo>
                <a:cubicBezTo>
                  <a:pt x="2046761" y="4810239"/>
                  <a:pt x="2047226" y="4810961"/>
                  <a:pt x="2047381" y="4812201"/>
                </a:cubicBezTo>
                <a:cubicBezTo>
                  <a:pt x="2045831" y="4813130"/>
                  <a:pt x="2044592" y="4813440"/>
                  <a:pt x="2042424" y="4813852"/>
                </a:cubicBezTo>
                <a:cubicBezTo>
                  <a:pt x="2040565" y="4810445"/>
                  <a:pt x="2044127" y="4808483"/>
                  <a:pt x="2046141" y="4809825"/>
                </a:cubicBezTo>
                <a:close/>
                <a:moveTo>
                  <a:pt x="1307441" y="4809516"/>
                </a:moveTo>
                <a:cubicBezTo>
                  <a:pt x="1309610" y="4812407"/>
                  <a:pt x="1311003" y="4814266"/>
                  <a:pt x="1311468" y="4816124"/>
                </a:cubicBezTo>
                <a:cubicBezTo>
                  <a:pt x="1310384" y="4817363"/>
                  <a:pt x="1309300" y="4817673"/>
                  <a:pt x="1308060" y="4817570"/>
                </a:cubicBezTo>
                <a:cubicBezTo>
                  <a:pt x="1306976" y="4817363"/>
                  <a:pt x="1305892" y="4816640"/>
                  <a:pt x="1305272" y="4815711"/>
                </a:cubicBezTo>
                <a:cubicBezTo>
                  <a:pt x="1303878" y="4813852"/>
                  <a:pt x="1303878" y="4810961"/>
                  <a:pt x="1307441" y="4809516"/>
                </a:cubicBezTo>
                <a:close/>
                <a:moveTo>
                  <a:pt x="1658804" y="4809464"/>
                </a:moveTo>
                <a:cubicBezTo>
                  <a:pt x="1660953" y="4809129"/>
                  <a:pt x="1663547" y="4810187"/>
                  <a:pt x="1666800" y="4813336"/>
                </a:cubicBezTo>
                <a:cubicBezTo>
                  <a:pt x="1657662" y="4817776"/>
                  <a:pt x="1653944" y="4830580"/>
                  <a:pt x="1645734" y="4830786"/>
                </a:cubicBezTo>
                <a:lnTo>
                  <a:pt x="1649607" y="4822526"/>
                </a:lnTo>
                <a:lnTo>
                  <a:pt x="1648058" y="4821287"/>
                </a:lnTo>
                <a:cubicBezTo>
                  <a:pt x="1647283" y="4820358"/>
                  <a:pt x="1646509" y="4818292"/>
                  <a:pt x="1646354" y="4816124"/>
                </a:cubicBezTo>
                <a:cubicBezTo>
                  <a:pt x="1646044" y="4814059"/>
                  <a:pt x="1646199" y="4811891"/>
                  <a:pt x="1647128" y="4810651"/>
                </a:cubicBezTo>
                <a:cubicBezTo>
                  <a:pt x="1648677" y="4811787"/>
                  <a:pt x="1650226" y="4812923"/>
                  <a:pt x="1651775" y="4814059"/>
                </a:cubicBezTo>
                <a:cubicBezTo>
                  <a:pt x="1651311" y="4813956"/>
                  <a:pt x="1651466" y="4815917"/>
                  <a:pt x="1651621" y="4817983"/>
                </a:cubicBezTo>
                <a:lnTo>
                  <a:pt x="1653479" y="4813956"/>
                </a:lnTo>
                <a:cubicBezTo>
                  <a:pt x="1654951" y="4811529"/>
                  <a:pt x="1656654" y="4809800"/>
                  <a:pt x="1658804" y="4809464"/>
                </a:cubicBezTo>
                <a:close/>
                <a:moveTo>
                  <a:pt x="2049549" y="4809309"/>
                </a:moveTo>
                <a:cubicBezTo>
                  <a:pt x="2050788" y="4809619"/>
                  <a:pt x="2050788" y="4809619"/>
                  <a:pt x="2050014" y="4810755"/>
                </a:cubicBezTo>
                <a:cubicBezTo>
                  <a:pt x="2049549" y="4810548"/>
                  <a:pt x="2049549" y="4810342"/>
                  <a:pt x="2049549" y="4810135"/>
                </a:cubicBezTo>
                <a:cubicBezTo>
                  <a:pt x="2049549" y="4809929"/>
                  <a:pt x="2049704" y="4809619"/>
                  <a:pt x="2049549" y="4809309"/>
                </a:cubicBezTo>
                <a:close/>
                <a:moveTo>
                  <a:pt x="6046793" y="4808914"/>
                </a:moveTo>
                <a:cubicBezTo>
                  <a:pt x="6047413" y="4810360"/>
                  <a:pt x="6045864" y="4813767"/>
                  <a:pt x="6044935" y="4816142"/>
                </a:cubicBezTo>
                <a:cubicBezTo>
                  <a:pt x="6043695" y="4816658"/>
                  <a:pt x="6042456" y="4816865"/>
                  <a:pt x="6041062" y="4816762"/>
                </a:cubicBezTo>
                <a:cubicBezTo>
                  <a:pt x="6039823" y="4816658"/>
                  <a:pt x="6038429" y="4816245"/>
                  <a:pt x="6037190" y="4815419"/>
                </a:cubicBezTo>
                <a:cubicBezTo>
                  <a:pt x="6039203" y="4810876"/>
                  <a:pt x="6042301" y="4809327"/>
                  <a:pt x="6046793" y="4808914"/>
                </a:cubicBezTo>
                <a:close/>
                <a:moveTo>
                  <a:pt x="1597717" y="4808070"/>
                </a:moveTo>
                <a:cubicBezTo>
                  <a:pt x="1594309" y="4809929"/>
                  <a:pt x="1593534" y="4812820"/>
                  <a:pt x="1591675" y="4813440"/>
                </a:cubicBezTo>
                <a:cubicBezTo>
                  <a:pt x="1591056" y="4813646"/>
                  <a:pt x="1590282" y="4813543"/>
                  <a:pt x="1589197" y="4813130"/>
                </a:cubicBezTo>
                <a:cubicBezTo>
                  <a:pt x="1588887" y="4809516"/>
                  <a:pt x="1594464" y="4806418"/>
                  <a:pt x="1597717" y="4808070"/>
                </a:cubicBezTo>
                <a:close/>
                <a:moveTo>
                  <a:pt x="2042269" y="4806728"/>
                </a:moveTo>
                <a:cubicBezTo>
                  <a:pt x="2042114" y="4807864"/>
                  <a:pt x="2041959" y="4809000"/>
                  <a:pt x="2041959" y="4810239"/>
                </a:cubicBezTo>
                <a:cubicBezTo>
                  <a:pt x="2039636" y="4809929"/>
                  <a:pt x="2037313" y="4809516"/>
                  <a:pt x="2037467" y="4807141"/>
                </a:cubicBezTo>
                <a:cubicBezTo>
                  <a:pt x="2039326" y="4806831"/>
                  <a:pt x="2039326" y="4805695"/>
                  <a:pt x="2042269" y="4806728"/>
                </a:cubicBezTo>
                <a:close/>
                <a:moveTo>
                  <a:pt x="934450" y="4804766"/>
                </a:moveTo>
                <a:cubicBezTo>
                  <a:pt x="934450" y="4804766"/>
                  <a:pt x="933831" y="4806624"/>
                  <a:pt x="933831" y="4806624"/>
                </a:cubicBezTo>
                <a:cubicBezTo>
                  <a:pt x="932437" y="4808483"/>
                  <a:pt x="931662" y="4809412"/>
                  <a:pt x="931043" y="4811168"/>
                </a:cubicBezTo>
                <a:cubicBezTo>
                  <a:pt x="929184" y="4810445"/>
                  <a:pt x="929029" y="4809516"/>
                  <a:pt x="929804" y="4808586"/>
                </a:cubicBezTo>
                <a:cubicBezTo>
                  <a:pt x="929804" y="4808586"/>
                  <a:pt x="930578" y="4807760"/>
                  <a:pt x="931353" y="4806831"/>
                </a:cubicBezTo>
                <a:cubicBezTo>
                  <a:pt x="931972" y="4805902"/>
                  <a:pt x="931972" y="4804973"/>
                  <a:pt x="931972" y="4804973"/>
                </a:cubicBezTo>
                <a:cubicBezTo>
                  <a:pt x="932747" y="4804043"/>
                  <a:pt x="933521" y="4803940"/>
                  <a:pt x="934450" y="4804766"/>
                </a:cubicBezTo>
                <a:close/>
                <a:moveTo>
                  <a:pt x="1026459" y="4804250"/>
                </a:moveTo>
                <a:cubicBezTo>
                  <a:pt x="1028008" y="4806315"/>
                  <a:pt x="1028783" y="4807967"/>
                  <a:pt x="1029866" y="4810755"/>
                </a:cubicBezTo>
                <a:cubicBezTo>
                  <a:pt x="1029866" y="4810755"/>
                  <a:pt x="1030641" y="4815505"/>
                  <a:pt x="1027853" y="4816847"/>
                </a:cubicBezTo>
                <a:cubicBezTo>
                  <a:pt x="1027388" y="4817673"/>
                  <a:pt x="1024600" y="4815814"/>
                  <a:pt x="1024445" y="4814678"/>
                </a:cubicBezTo>
                <a:cubicBezTo>
                  <a:pt x="1023981" y="4812304"/>
                  <a:pt x="1023826" y="4811168"/>
                  <a:pt x="1024910" y="4809619"/>
                </a:cubicBezTo>
                <a:cubicBezTo>
                  <a:pt x="1024600" y="4808483"/>
                  <a:pt x="1024445" y="4807244"/>
                  <a:pt x="1024600" y="4806315"/>
                </a:cubicBezTo>
                <a:cubicBezTo>
                  <a:pt x="1024755" y="4805282"/>
                  <a:pt x="1025220" y="4804663"/>
                  <a:pt x="1026459" y="4804250"/>
                </a:cubicBezTo>
                <a:close/>
                <a:moveTo>
                  <a:pt x="1829596" y="4803734"/>
                </a:moveTo>
                <a:lnTo>
                  <a:pt x="1829906" y="4804043"/>
                </a:lnTo>
                <a:lnTo>
                  <a:pt x="1830990" y="4804146"/>
                </a:lnTo>
                <a:cubicBezTo>
                  <a:pt x="1831765" y="4804353"/>
                  <a:pt x="1832539" y="4804766"/>
                  <a:pt x="1833468" y="4805489"/>
                </a:cubicBezTo>
                <a:cubicBezTo>
                  <a:pt x="1834398" y="4806418"/>
                  <a:pt x="1834398" y="4806418"/>
                  <a:pt x="1834398" y="4807244"/>
                </a:cubicBezTo>
                <a:cubicBezTo>
                  <a:pt x="1834863" y="4808173"/>
                  <a:pt x="1835327" y="4808896"/>
                  <a:pt x="1835637" y="4809516"/>
                </a:cubicBezTo>
                <a:lnTo>
                  <a:pt x="1835637" y="4809929"/>
                </a:lnTo>
                <a:lnTo>
                  <a:pt x="1836722" y="4810858"/>
                </a:lnTo>
                <a:cubicBezTo>
                  <a:pt x="1839510" y="4812407"/>
                  <a:pt x="1842453" y="4813440"/>
                  <a:pt x="1845396" y="4814575"/>
                </a:cubicBezTo>
                <a:lnTo>
                  <a:pt x="1846170" y="4813026"/>
                </a:lnTo>
                <a:cubicBezTo>
                  <a:pt x="1847409" y="4811994"/>
                  <a:pt x="1848803" y="4811271"/>
                  <a:pt x="1849578" y="4810032"/>
                </a:cubicBezTo>
                <a:cubicBezTo>
                  <a:pt x="1852831" y="4812097"/>
                  <a:pt x="1853605" y="4814988"/>
                  <a:pt x="1853296" y="4817157"/>
                </a:cubicBezTo>
                <a:lnTo>
                  <a:pt x="1852366" y="4818809"/>
                </a:lnTo>
                <a:lnTo>
                  <a:pt x="1853605" y="4820048"/>
                </a:lnTo>
                <a:cubicBezTo>
                  <a:pt x="1854535" y="4821080"/>
                  <a:pt x="1855154" y="4822319"/>
                  <a:pt x="1855774" y="4823765"/>
                </a:cubicBezTo>
                <a:cubicBezTo>
                  <a:pt x="1856858" y="4826553"/>
                  <a:pt x="1857478" y="4829135"/>
                  <a:pt x="1857478" y="4831612"/>
                </a:cubicBezTo>
                <a:lnTo>
                  <a:pt x="1856703" y="4835536"/>
                </a:lnTo>
                <a:lnTo>
                  <a:pt x="1856858" y="4835743"/>
                </a:lnTo>
                <a:cubicBezTo>
                  <a:pt x="1857787" y="4837085"/>
                  <a:pt x="1857632" y="4839357"/>
                  <a:pt x="1856393" y="4841938"/>
                </a:cubicBezTo>
                <a:lnTo>
                  <a:pt x="1854380" y="4840699"/>
                </a:lnTo>
                <a:lnTo>
                  <a:pt x="1852057" y="4843694"/>
                </a:lnTo>
                <a:lnTo>
                  <a:pt x="1849113" y="4845552"/>
                </a:lnTo>
                <a:lnTo>
                  <a:pt x="1848339" y="4847927"/>
                </a:lnTo>
                <a:lnTo>
                  <a:pt x="1850662" y="4847411"/>
                </a:lnTo>
                <a:cubicBezTo>
                  <a:pt x="1851591" y="4847514"/>
                  <a:pt x="1852521" y="4848030"/>
                  <a:pt x="1853605" y="4848960"/>
                </a:cubicBezTo>
                <a:cubicBezTo>
                  <a:pt x="1853760" y="4851541"/>
                  <a:pt x="1850662" y="4855775"/>
                  <a:pt x="1848184" y="4855671"/>
                </a:cubicBezTo>
                <a:cubicBezTo>
                  <a:pt x="1847254" y="4854742"/>
                  <a:pt x="1846325" y="4853813"/>
                  <a:pt x="1845551" y="4852986"/>
                </a:cubicBezTo>
                <a:lnTo>
                  <a:pt x="1846170" y="4851747"/>
                </a:lnTo>
                <a:lnTo>
                  <a:pt x="1843537" y="4855568"/>
                </a:lnTo>
                <a:cubicBezTo>
                  <a:pt x="1839974" y="4859079"/>
                  <a:pt x="1835327" y="4861247"/>
                  <a:pt x="1830061" y="4860524"/>
                </a:cubicBezTo>
                <a:cubicBezTo>
                  <a:pt x="1827582" y="4860111"/>
                  <a:pt x="1824794" y="4859079"/>
                  <a:pt x="1822006" y="4857117"/>
                </a:cubicBezTo>
                <a:cubicBezTo>
                  <a:pt x="1820302" y="4855671"/>
                  <a:pt x="1818908" y="4853916"/>
                  <a:pt x="1817979" y="4851954"/>
                </a:cubicBezTo>
                <a:lnTo>
                  <a:pt x="1816275" y="4847308"/>
                </a:lnTo>
                <a:lnTo>
                  <a:pt x="1815036" y="4846378"/>
                </a:lnTo>
                <a:lnTo>
                  <a:pt x="1815811" y="4845759"/>
                </a:lnTo>
                <a:lnTo>
                  <a:pt x="1814261" y="4841732"/>
                </a:lnTo>
                <a:cubicBezTo>
                  <a:pt x="1813177" y="4837911"/>
                  <a:pt x="1811938" y="4833884"/>
                  <a:pt x="1809924" y="4829857"/>
                </a:cubicBezTo>
                <a:lnTo>
                  <a:pt x="1811318" y="4829960"/>
                </a:lnTo>
                <a:lnTo>
                  <a:pt x="1810544" y="4829031"/>
                </a:lnTo>
                <a:cubicBezTo>
                  <a:pt x="1809460" y="4827379"/>
                  <a:pt x="1808685" y="4825727"/>
                  <a:pt x="1808530" y="4824281"/>
                </a:cubicBezTo>
                <a:cubicBezTo>
                  <a:pt x="1808530" y="4823352"/>
                  <a:pt x="1808840" y="4822423"/>
                  <a:pt x="1809460" y="4821597"/>
                </a:cubicBezTo>
                <a:cubicBezTo>
                  <a:pt x="1812248" y="4818189"/>
                  <a:pt x="1817514" y="4818086"/>
                  <a:pt x="1822316" y="4820771"/>
                </a:cubicBezTo>
                <a:lnTo>
                  <a:pt x="1823091" y="4821493"/>
                </a:lnTo>
                <a:lnTo>
                  <a:pt x="1826963" y="4811891"/>
                </a:lnTo>
                <a:lnTo>
                  <a:pt x="1827892" y="4809103"/>
                </a:lnTo>
                <a:lnTo>
                  <a:pt x="1827273" y="4808277"/>
                </a:lnTo>
                <a:cubicBezTo>
                  <a:pt x="1826963" y="4807141"/>
                  <a:pt x="1826654" y="4806005"/>
                  <a:pt x="1825724" y="4805179"/>
                </a:cubicBezTo>
                <a:cubicBezTo>
                  <a:pt x="1826654" y="4804766"/>
                  <a:pt x="1827582" y="4804146"/>
                  <a:pt x="1828822" y="4803940"/>
                </a:cubicBezTo>
                <a:lnTo>
                  <a:pt x="1829596" y="4804043"/>
                </a:lnTo>
                <a:close/>
                <a:moveTo>
                  <a:pt x="1583156" y="4803320"/>
                </a:moveTo>
                <a:cubicBezTo>
                  <a:pt x="1583156" y="4803320"/>
                  <a:pt x="1583156" y="4803320"/>
                  <a:pt x="1584085" y="4803423"/>
                </a:cubicBezTo>
                <a:cubicBezTo>
                  <a:pt x="1583311" y="4806831"/>
                  <a:pt x="1584395" y="4811271"/>
                  <a:pt x="1582847" y="4813852"/>
                </a:cubicBezTo>
                <a:cubicBezTo>
                  <a:pt x="1582382" y="4814266"/>
                  <a:pt x="1582072" y="4814678"/>
                  <a:pt x="1581452" y="4814782"/>
                </a:cubicBezTo>
                <a:cubicBezTo>
                  <a:pt x="1580987" y="4814885"/>
                  <a:pt x="1580368" y="4814678"/>
                  <a:pt x="1579439" y="4813749"/>
                </a:cubicBezTo>
                <a:cubicBezTo>
                  <a:pt x="1577735" y="4812717"/>
                  <a:pt x="1577735" y="4811891"/>
                  <a:pt x="1579284" y="4809309"/>
                </a:cubicBezTo>
                <a:cubicBezTo>
                  <a:pt x="1580833" y="4807657"/>
                  <a:pt x="1581607" y="4805902"/>
                  <a:pt x="1582537" y="4806005"/>
                </a:cubicBezTo>
                <a:cubicBezTo>
                  <a:pt x="1582382" y="4805076"/>
                  <a:pt x="1583311" y="4804250"/>
                  <a:pt x="1583156" y="4803320"/>
                </a:cubicBezTo>
                <a:close/>
                <a:moveTo>
                  <a:pt x="5937746" y="4801789"/>
                </a:moveTo>
                <a:cubicBezTo>
                  <a:pt x="5939605" y="4801273"/>
                  <a:pt x="5941928" y="4801686"/>
                  <a:pt x="5944407" y="4803854"/>
                </a:cubicBezTo>
                <a:cubicBezTo>
                  <a:pt x="5940999" y="4809224"/>
                  <a:pt x="5942548" y="4813147"/>
                  <a:pt x="5937901" y="4816245"/>
                </a:cubicBezTo>
                <a:cubicBezTo>
                  <a:pt x="5935888" y="4815729"/>
                  <a:pt x="5934493" y="4814593"/>
                  <a:pt x="5933564" y="4813251"/>
                </a:cubicBezTo>
                <a:cubicBezTo>
                  <a:pt x="5931086" y="4809224"/>
                  <a:pt x="5933409" y="4802925"/>
                  <a:pt x="5937746" y="4801789"/>
                </a:cubicBezTo>
                <a:close/>
                <a:moveTo>
                  <a:pt x="1685233" y="4801255"/>
                </a:moveTo>
                <a:cubicBezTo>
                  <a:pt x="1686008" y="4800945"/>
                  <a:pt x="1686937" y="4800533"/>
                  <a:pt x="1687092" y="4801255"/>
                </a:cubicBezTo>
                <a:cubicBezTo>
                  <a:pt x="1687247" y="4801668"/>
                  <a:pt x="1687092" y="4801875"/>
                  <a:pt x="1686782" y="4802081"/>
                </a:cubicBezTo>
                <a:cubicBezTo>
                  <a:pt x="1686472" y="4802184"/>
                  <a:pt x="1686008" y="4802184"/>
                  <a:pt x="1685388" y="4801978"/>
                </a:cubicBezTo>
                <a:cubicBezTo>
                  <a:pt x="1685388" y="4801978"/>
                  <a:pt x="1685233" y="4801255"/>
                  <a:pt x="1685233" y="4801255"/>
                </a:cubicBezTo>
                <a:close/>
                <a:moveTo>
                  <a:pt x="2073566" y="4801102"/>
                </a:moveTo>
                <a:lnTo>
                  <a:pt x="2072938" y="4801668"/>
                </a:lnTo>
                <a:lnTo>
                  <a:pt x="2073868" y="4802907"/>
                </a:lnTo>
                <a:cubicBezTo>
                  <a:pt x="2074332" y="4803630"/>
                  <a:pt x="2074487" y="4804456"/>
                  <a:pt x="2075107" y="4805179"/>
                </a:cubicBezTo>
                <a:cubicBezTo>
                  <a:pt x="2074642" y="4806315"/>
                  <a:pt x="2073248" y="4807760"/>
                  <a:pt x="2071234" y="4806728"/>
                </a:cubicBezTo>
                <a:lnTo>
                  <a:pt x="2069221" y="4805179"/>
                </a:lnTo>
                <a:lnTo>
                  <a:pt x="2065194" y="4808793"/>
                </a:lnTo>
                <a:cubicBezTo>
                  <a:pt x="2062096" y="4811994"/>
                  <a:pt x="2060082" y="4815814"/>
                  <a:pt x="2058688" y="4819635"/>
                </a:cubicBezTo>
                <a:lnTo>
                  <a:pt x="2056055" y="4830890"/>
                </a:lnTo>
                <a:lnTo>
                  <a:pt x="2057759" y="4830786"/>
                </a:lnTo>
                <a:cubicBezTo>
                  <a:pt x="2058997" y="4831200"/>
                  <a:pt x="2060082" y="4832336"/>
                  <a:pt x="2061166" y="4834710"/>
                </a:cubicBezTo>
                <a:lnTo>
                  <a:pt x="2061786" y="4836775"/>
                </a:lnTo>
                <a:lnTo>
                  <a:pt x="2063335" y="4831612"/>
                </a:lnTo>
                <a:lnTo>
                  <a:pt x="2067363" y="4825417"/>
                </a:lnTo>
                <a:lnTo>
                  <a:pt x="2067363" y="4824591"/>
                </a:lnTo>
                <a:cubicBezTo>
                  <a:pt x="2067672" y="4823352"/>
                  <a:pt x="2069221" y="4820461"/>
                  <a:pt x="2069685" y="4821184"/>
                </a:cubicBezTo>
                <a:cubicBezTo>
                  <a:pt x="2070770" y="4821493"/>
                  <a:pt x="2070305" y="4820771"/>
                  <a:pt x="2071080" y="4820254"/>
                </a:cubicBezTo>
                <a:cubicBezTo>
                  <a:pt x="2074487" y="4821080"/>
                  <a:pt x="2076346" y="4822733"/>
                  <a:pt x="2076036" y="4825934"/>
                </a:cubicBezTo>
                <a:lnTo>
                  <a:pt x="2075417" y="4827482"/>
                </a:lnTo>
                <a:lnTo>
                  <a:pt x="2076811" y="4828412"/>
                </a:lnTo>
                <a:lnTo>
                  <a:pt x="2076965" y="4826243"/>
                </a:lnTo>
                <a:lnTo>
                  <a:pt x="2080373" y="4827173"/>
                </a:lnTo>
                <a:cubicBezTo>
                  <a:pt x="2080219" y="4827689"/>
                  <a:pt x="2079909" y="4828412"/>
                  <a:pt x="2079444" y="4828928"/>
                </a:cubicBezTo>
                <a:lnTo>
                  <a:pt x="2077895" y="4829651"/>
                </a:lnTo>
                <a:lnTo>
                  <a:pt x="2081612" y="4835536"/>
                </a:lnTo>
                <a:lnTo>
                  <a:pt x="2082387" y="4833368"/>
                </a:lnTo>
                <a:lnTo>
                  <a:pt x="2083781" y="4832955"/>
                </a:lnTo>
                <a:lnTo>
                  <a:pt x="2082387" y="4830374"/>
                </a:lnTo>
                <a:cubicBezTo>
                  <a:pt x="2080219" y="4825520"/>
                  <a:pt x="2078205" y="4820151"/>
                  <a:pt x="2074642" y="4814782"/>
                </a:cubicBezTo>
                <a:lnTo>
                  <a:pt x="2076811" y="4814885"/>
                </a:lnTo>
                <a:lnTo>
                  <a:pt x="2076656" y="4813852"/>
                </a:lnTo>
                <a:lnTo>
                  <a:pt x="2082039" y="4811802"/>
                </a:lnTo>
                <a:close/>
                <a:moveTo>
                  <a:pt x="1682909" y="4801049"/>
                </a:moveTo>
                <a:lnTo>
                  <a:pt x="1684149" y="4801875"/>
                </a:lnTo>
                <a:lnTo>
                  <a:pt x="1684768" y="4802184"/>
                </a:lnTo>
                <a:lnTo>
                  <a:pt x="1684613" y="4802288"/>
                </a:lnTo>
                <a:lnTo>
                  <a:pt x="1686008" y="4804146"/>
                </a:lnTo>
                <a:cubicBezTo>
                  <a:pt x="1686008" y="4804146"/>
                  <a:pt x="1686937" y="4804250"/>
                  <a:pt x="1687711" y="4804456"/>
                </a:cubicBezTo>
                <a:cubicBezTo>
                  <a:pt x="1690034" y="4806521"/>
                  <a:pt x="1691739" y="4807657"/>
                  <a:pt x="1690654" y="4810858"/>
                </a:cubicBezTo>
                <a:cubicBezTo>
                  <a:pt x="1689880" y="4810755"/>
                  <a:pt x="1688176" y="4808793"/>
                  <a:pt x="1687401" y="4807760"/>
                </a:cubicBezTo>
                <a:cubicBezTo>
                  <a:pt x="1686627" y="4807657"/>
                  <a:pt x="1685853" y="4806728"/>
                  <a:pt x="1685853" y="4805799"/>
                </a:cubicBezTo>
                <a:cubicBezTo>
                  <a:pt x="1685853" y="4805799"/>
                  <a:pt x="1685078" y="4804766"/>
                  <a:pt x="1684303" y="4804663"/>
                </a:cubicBezTo>
                <a:lnTo>
                  <a:pt x="1683374" y="4803114"/>
                </a:lnTo>
                <a:lnTo>
                  <a:pt x="1683219" y="4803114"/>
                </a:lnTo>
                <a:cubicBezTo>
                  <a:pt x="1682755" y="4803527"/>
                  <a:pt x="1682135" y="4803734"/>
                  <a:pt x="1681515" y="4803527"/>
                </a:cubicBezTo>
                <a:cubicBezTo>
                  <a:pt x="1681051" y="4803320"/>
                  <a:pt x="1680741" y="4803114"/>
                  <a:pt x="1680586" y="4802907"/>
                </a:cubicBezTo>
                <a:cubicBezTo>
                  <a:pt x="1680431" y="4802598"/>
                  <a:pt x="1680276" y="4802184"/>
                  <a:pt x="1679966" y="4801358"/>
                </a:cubicBezTo>
                <a:cubicBezTo>
                  <a:pt x="1681360" y="4801255"/>
                  <a:pt x="1681980" y="4801255"/>
                  <a:pt x="1682599" y="4801358"/>
                </a:cubicBezTo>
                <a:lnTo>
                  <a:pt x="1682909" y="4801462"/>
                </a:lnTo>
                <a:close/>
                <a:moveTo>
                  <a:pt x="863353" y="4801049"/>
                </a:moveTo>
                <a:cubicBezTo>
                  <a:pt x="865832" y="4804250"/>
                  <a:pt x="864127" y="4809206"/>
                  <a:pt x="858861" y="4808380"/>
                </a:cubicBezTo>
                <a:cubicBezTo>
                  <a:pt x="859325" y="4804766"/>
                  <a:pt x="859791" y="4800945"/>
                  <a:pt x="863353" y="4801049"/>
                </a:cubicBezTo>
                <a:close/>
                <a:moveTo>
                  <a:pt x="900218" y="4800739"/>
                </a:moveTo>
                <a:cubicBezTo>
                  <a:pt x="899599" y="4801668"/>
                  <a:pt x="897895" y="4802701"/>
                  <a:pt x="897276" y="4803630"/>
                </a:cubicBezTo>
                <a:cubicBezTo>
                  <a:pt x="897276" y="4803630"/>
                  <a:pt x="897276" y="4803527"/>
                  <a:pt x="896192" y="4802701"/>
                </a:cubicBezTo>
                <a:cubicBezTo>
                  <a:pt x="897895" y="4802598"/>
                  <a:pt x="898360" y="4799087"/>
                  <a:pt x="900218" y="4800739"/>
                </a:cubicBezTo>
                <a:close/>
                <a:moveTo>
                  <a:pt x="1823246" y="4800326"/>
                </a:moveTo>
                <a:cubicBezTo>
                  <a:pt x="1824175" y="4801255"/>
                  <a:pt x="1824175" y="4801255"/>
                  <a:pt x="1823246" y="4801152"/>
                </a:cubicBezTo>
                <a:cubicBezTo>
                  <a:pt x="1824020" y="4803114"/>
                  <a:pt x="1824020" y="4803940"/>
                  <a:pt x="1824020" y="4804869"/>
                </a:cubicBezTo>
                <a:cubicBezTo>
                  <a:pt x="1823555" y="4805282"/>
                  <a:pt x="1822935" y="4805385"/>
                  <a:pt x="1822161" y="4805282"/>
                </a:cubicBezTo>
                <a:cubicBezTo>
                  <a:pt x="1821387" y="4805282"/>
                  <a:pt x="1820612" y="4804869"/>
                  <a:pt x="1819838" y="4804353"/>
                </a:cubicBezTo>
                <a:cubicBezTo>
                  <a:pt x="1820612" y="4803527"/>
                  <a:pt x="1819838" y="4801668"/>
                  <a:pt x="1820768" y="4800842"/>
                </a:cubicBezTo>
                <a:cubicBezTo>
                  <a:pt x="1820768" y="4800842"/>
                  <a:pt x="1823246" y="4800326"/>
                  <a:pt x="1823246" y="4800326"/>
                </a:cubicBezTo>
                <a:close/>
                <a:moveTo>
                  <a:pt x="1523676" y="4799810"/>
                </a:moveTo>
                <a:cubicBezTo>
                  <a:pt x="1526464" y="4802184"/>
                  <a:pt x="1526155" y="4806005"/>
                  <a:pt x="1532815" y="4806418"/>
                </a:cubicBezTo>
                <a:lnTo>
                  <a:pt x="1530027" y="4809206"/>
                </a:lnTo>
                <a:lnTo>
                  <a:pt x="1530491" y="4809309"/>
                </a:lnTo>
                <a:lnTo>
                  <a:pt x="1527239" y="4813543"/>
                </a:lnTo>
                <a:lnTo>
                  <a:pt x="1526929" y="4814782"/>
                </a:lnTo>
                <a:cubicBezTo>
                  <a:pt x="1526929" y="4815298"/>
                  <a:pt x="1526929" y="4815917"/>
                  <a:pt x="1526774" y="4816537"/>
                </a:cubicBezTo>
                <a:cubicBezTo>
                  <a:pt x="1527239" y="4815402"/>
                  <a:pt x="1528168" y="4814575"/>
                  <a:pt x="1529098" y="4813749"/>
                </a:cubicBezTo>
                <a:cubicBezTo>
                  <a:pt x="1530491" y="4812613"/>
                  <a:pt x="1530801" y="4811891"/>
                  <a:pt x="1530801" y="4809929"/>
                </a:cubicBezTo>
                <a:cubicBezTo>
                  <a:pt x="1530801" y="4809929"/>
                  <a:pt x="1530801" y="4809929"/>
                  <a:pt x="1532970" y="4809309"/>
                </a:cubicBezTo>
                <a:lnTo>
                  <a:pt x="1533744" y="4809722"/>
                </a:lnTo>
                <a:cubicBezTo>
                  <a:pt x="1534054" y="4810135"/>
                  <a:pt x="1533899" y="4810755"/>
                  <a:pt x="1533589" y="4811684"/>
                </a:cubicBezTo>
                <a:cubicBezTo>
                  <a:pt x="1532660" y="4814266"/>
                  <a:pt x="1529717" y="4818189"/>
                  <a:pt x="1529562" y="4818706"/>
                </a:cubicBezTo>
                <a:cubicBezTo>
                  <a:pt x="1529562" y="4818706"/>
                  <a:pt x="1529252" y="4819428"/>
                  <a:pt x="1528943" y="4820254"/>
                </a:cubicBezTo>
                <a:cubicBezTo>
                  <a:pt x="1527703" y="4820564"/>
                  <a:pt x="1526929" y="4820151"/>
                  <a:pt x="1526619" y="4820874"/>
                </a:cubicBezTo>
                <a:cubicBezTo>
                  <a:pt x="1526000" y="4819222"/>
                  <a:pt x="1526309" y="4817983"/>
                  <a:pt x="1526774" y="4816950"/>
                </a:cubicBezTo>
                <a:cubicBezTo>
                  <a:pt x="1526619" y="4817673"/>
                  <a:pt x="1526155" y="4818292"/>
                  <a:pt x="1525535" y="4818809"/>
                </a:cubicBezTo>
                <a:lnTo>
                  <a:pt x="1521662" y="4817363"/>
                </a:lnTo>
                <a:lnTo>
                  <a:pt x="1520888" y="4817879"/>
                </a:lnTo>
                <a:cubicBezTo>
                  <a:pt x="1516861" y="4819428"/>
                  <a:pt x="1512524" y="4819945"/>
                  <a:pt x="1509581" y="4819738"/>
                </a:cubicBezTo>
                <a:cubicBezTo>
                  <a:pt x="1510665" y="4817570"/>
                  <a:pt x="1512059" y="4815711"/>
                  <a:pt x="1513763" y="4814162"/>
                </a:cubicBezTo>
                <a:lnTo>
                  <a:pt x="1518409" y="4811168"/>
                </a:lnTo>
                <a:lnTo>
                  <a:pt x="1517945" y="4808586"/>
                </a:lnTo>
                <a:lnTo>
                  <a:pt x="1515466" y="4812407"/>
                </a:lnTo>
                <a:cubicBezTo>
                  <a:pt x="1511439" y="4816744"/>
                  <a:pt x="1505553" y="4817570"/>
                  <a:pt x="1499512" y="4818396"/>
                </a:cubicBezTo>
                <a:cubicBezTo>
                  <a:pt x="1499667" y="4814059"/>
                  <a:pt x="1502765" y="4811065"/>
                  <a:pt x="1506638" y="4809309"/>
                </a:cubicBezTo>
                <a:lnTo>
                  <a:pt x="1517790" y="4807038"/>
                </a:lnTo>
                <a:lnTo>
                  <a:pt x="1517790" y="4804456"/>
                </a:lnTo>
                <a:cubicBezTo>
                  <a:pt x="1519184" y="4803320"/>
                  <a:pt x="1520268" y="4803217"/>
                  <a:pt x="1521507" y="4803734"/>
                </a:cubicBezTo>
                <a:lnTo>
                  <a:pt x="1523211" y="4805076"/>
                </a:lnTo>
                <a:close/>
                <a:moveTo>
                  <a:pt x="1689260" y="4799603"/>
                </a:moveTo>
                <a:cubicBezTo>
                  <a:pt x="1690344" y="4799913"/>
                  <a:pt x="1690344" y="4799913"/>
                  <a:pt x="1691274" y="4799603"/>
                </a:cubicBezTo>
                <a:cubicBezTo>
                  <a:pt x="1691274" y="4799603"/>
                  <a:pt x="1690499" y="4800636"/>
                  <a:pt x="1690499" y="4800636"/>
                </a:cubicBezTo>
                <a:cubicBezTo>
                  <a:pt x="1689415" y="4800326"/>
                  <a:pt x="1689725" y="4801049"/>
                  <a:pt x="1689260" y="4799603"/>
                </a:cubicBezTo>
                <a:close/>
                <a:moveTo>
                  <a:pt x="1336116" y="4799383"/>
                </a:moveTo>
                <a:cubicBezTo>
                  <a:pt x="1337684" y="4798622"/>
                  <a:pt x="1339349" y="4799242"/>
                  <a:pt x="1339039" y="4803630"/>
                </a:cubicBezTo>
                <a:cubicBezTo>
                  <a:pt x="1337490" y="4804043"/>
                  <a:pt x="1336251" y="4804146"/>
                  <a:pt x="1335477" y="4804146"/>
                </a:cubicBezTo>
                <a:cubicBezTo>
                  <a:pt x="1334548" y="4804043"/>
                  <a:pt x="1334083" y="4803734"/>
                  <a:pt x="1333773" y="4803423"/>
                </a:cubicBezTo>
                <a:cubicBezTo>
                  <a:pt x="1333076" y="4802288"/>
                  <a:pt x="1334548" y="4800145"/>
                  <a:pt x="1336116" y="4799383"/>
                </a:cubicBezTo>
                <a:close/>
                <a:moveTo>
                  <a:pt x="6248158" y="4798898"/>
                </a:moveTo>
                <a:cubicBezTo>
                  <a:pt x="6248778" y="4799414"/>
                  <a:pt x="6249397" y="4800240"/>
                  <a:pt x="6249862" y="4801479"/>
                </a:cubicBezTo>
                <a:cubicBezTo>
                  <a:pt x="6249088" y="4808811"/>
                  <a:pt x="6246764" y="4814180"/>
                  <a:pt x="6239639" y="4815109"/>
                </a:cubicBezTo>
                <a:cubicBezTo>
                  <a:pt x="6239639" y="4813870"/>
                  <a:pt x="6238555" y="4813870"/>
                  <a:pt x="6237316" y="4813870"/>
                </a:cubicBezTo>
                <a:cubicBezTo>
                  <a:pt x="6233443" y="4807778"/>
                  <a:pt x="6243202" y="4795181"/>
                  <a:pt x="6248158" y="4798898"/>
                </a:cubicBezTo>
                <a:close/>
                <a:moveTo>
                  <a:pt x="6400421" y="4798485"/>
                </a:moveTo>
                <a:cubicBezTo>
                  <a:pt x="6405997" y="4798588"/>
                  <a:pt x="6409096" y="4801789"/>
                  <a:pt x="6412039" y="4804990"/>
                </a:cubicBezTo>
                <a:cubicBezTo>
                  <a:pt x="6411729" y="4809430"/>
                  <a:pt x="6410335" y="4811082"/>
                  <a:pt x="6408476" y="4811289"/>
                </a:cubicBezTo>
                <a:cubicBezTo>
                  <a:pt x="6407856" y="4811289"/>
                  <a:pt x="6407082" y="4811289"/>
                  <a:pt x="6406308" y="4811082"/>
                </a:cubicBezTo>
                <a:cubicBezTo>
                  <a:pt x="6403364" y="4810256"/>
                  <a:pt x="6399957" y="4807675"/>
                  <a:pt x="6397169" y="4806642"/>
                </a:cubicBezTo>
                <a:cubicBezTo>
                  <a:pt x="6397478" y="4802719"/>
                  <a:pt x="6397943" y="4801583"/>
                  <a:pt x="6400421" y="4798485"/>
                </a:cubicBezTo>
                <a:close/>
                <a:moveTo>
                  <a:pt x="1256480" y="4798157"/>
                </a:moveTo>
                <a:cubicBezTo>
                  <a:pt x="1265928" y="4799397"/>
                  <a:pt x="1267632" y="4807760"/>
                  <a:pt x="1269336" y="4808793"/>
                </a:cubicBezTo>
                <a:cubicBezTo>
                  <a:pt x="1268872" y="4811478"/>
                  <a:pt x="1268872" y="4812097"/>
                  <a:pt x="1266084" y="4811891"/>
                </a:cubicBezTo>
                <a:cubicBezTo>
                  <a:pt x="1265154" y="4811787"/>
                  <a:pt x="1263915" y="4811581"/>
                  <a:pt x="1262211" y="4811374"/>
                </a:cubicBezTo>
                <a:cubicBezTo>
                  <a:pt x="1261127" y="4811065"/>
                  <a:pt x="1260043" y="4810445"/>
                  <a:pt x="1259113" y="4809619"/>
                </a:cubicBezTo>
                <a:cubicBezTo>
                  <a:pt x="1258184" y="4808690"/>
                  <a:pt x="1257409" y="4807657"/>
                  <a:pt x="1257100" y="4806315"/>
                </a:cubicBezTo>
                <a:cubicBezTo>
                  <a:pt x="1255396" y="4805282"/>
                  <a:pt x="1254002" y="4803011"/>
                  <a:pt x="1253692" y="4801152"/>
                </a:cubicBezTo>
                <a:cubicBezTo>
                  <a:pt x="1254002" y="4798777"/>
                  <a:pt x="1255396" y="4797848"/>
                  <a:pt x="1256480" y="4798157"/>
                </a:cubicBezTo>
                <a:close/>
                <a:moveTo>
                  <a:pt x="6526177" y="4797943"/>
                </a:moveTo>
                <a:cubicBezTo>
                  <a:pt x="6527320" y="4798201"/>
                  <a:pt x="6528597" y="4799105"/>
                  <a:pt x="6529914" y="4800034"/>
                </a:cubicBezTo>
                <a:cubicBezTo>
                  <a:pt x="6529140" y="4801686"/>
                  <a:pt x="6530069" y="4803441"/>
                  <a:pt x="6527591" y="4805094"/>
                </a:cubicBezTo>
                <a:cubicBezTo>
                  <a:pt x="6525887" y="4803235"/>
                  <a:pt x="6524958" y="4801479"/>
                  <a:pt x="6523254" y="4799724"/>
                </a:cubicBezTo>
                <a:cubicBezTo>
                  <a:pt x="6524029" y="4798072"/>
                  <a:pt x="6525035" y="4797685"/>
                  <a:pt x="6526177" y="4797943"/>
                </a:cubicBezTo>
                <a:close/>
                <a:moveTo>
                  <a:pt x="1005238" y="4797125"/>
                </a:moveTo>
                <a:cubicBezTo>
                  <a:pt x="1006322" y="4796815"/>
                  <a:pt x="1009421" y="4796506"/>
                  <a:pt x="1010350" y="4799293"/>
                </a:cubicBezTo>
                <a:cubicBezTo>
                  <a:pt x="1011434" y="4802184"/>
                  <a:pt x="1013913" y="4802701"/>
                  <a:pt x="1014841" y="4805489"/>
                </a:cubicBezTo>
                <a:cubicBezTo>
                  <a:pt x="1014841" y="4805489"/>
                  <a:pt x="1014841" y="4805489"/>
                  <a:pt x="1013758" y="4805799"/>
                </a:cubicBezTo>
                <a:cubicBezTo>
                  <a:pt x="1011434" y="4802184"/>
                  <a:pt x="1007097" y="4801565"/>
                  <a:pt x="1005238" y="4797125"/>
                </a:cubicBezTo>
                <a:close/>
                <a:moveTo>
                  <a:pt x="1704750" y="4796815"/>
                </a:moveTo>
                <a:cubicBezTo>
                  <a:pt x="1703201" y="4797435"/>
                  <a:pt x="1694217" y="4800326"/>
                  <a:pt x="1691274" y="4799706"/>
                </a:cubicBezTo>
                <a:cubicBezTo>
                  <a:pt x="1695456" y="4798880"/>
                  <a:pt x="1700877" y="4795783"/>
                  <a:pt x="1704750" y="4796815"/>
                </a:cubicBezTo>
                <a:close/>
                <a:moveTo>
                  <a:pt x="1481235" y="4796712"/>
                </a:moveTo>
                <a:lnTo>
                  <a:pt x="1486501" y="4798571"/>
                </a:lnTo>
                <a:lnTo>
                  <a:pt x="1487121" y="4798054"/>
                </a:lnTo>
                <a:cubicBezTo>
                  <a:pt x="1489754" y="4797538"/>
                  <a:pt x="1492542" y="4801462"/>
                  <a:pt x="1492697" y="4804766"/>
                </a:cubicBezTo>
                <a:lnTo>
                  <a:pt x="1492232" y="4806831"/>
                </a:lnTo>
                <a:lnTo>
                  <a:pt x="1492387" y="4807038"/>
                </a:lnTo>
                <a:cubicBezTo>
                  <a:pt x="1491612" y="4809722"/>
                  <a:pt x="1491303" y="4810445"/>
                  <a:pt x="1488670" y="4810239"/>
                </a:cubicBezTo>
                <a:cubicBezTo>
                  <a:pt x="1487740" y="4810135"/>
                  <a:pt x="1486656" y="4810032"/>
                  <a:pt x="1484952" y="4809825"/>
                </a:cubicBezTo>
                <a:cubicBezTo>
                  <a:pt x="1483868" y="4809516"/>
                  <a:pt x="1482784" y="4808896"/>
                  <a:pt x="1482009" y="4808070"/>
                </a:cubicBezTo>
                <a:cubicBezTo>
                  <a:pt x="1481235" y="4807244"/>
                  <a:pt x="1480615" y="4806108"/>
                  <a:pt x="1480460" y="4804766"/>
                </a:cubicBezTo>
                <a:cubicBezTo>
                  <a:pt x="1479066" y="4803837"/>
                  <a:pt x="1477827" y="4801668"/>
                  <a:pt x="1477827" y="4799706"/>
                </a:cubicBezTo>
                <a:cubicBezTo>
                  <a:pt x="1478602" y="4797332"/>
                  <a:pt x="1480150" y="4796402"/>
                  <a:pt x="1481235" y="4796712"/>
                </a:cubicBezTo>
                <a:close/>
                <a:moveTo>
                  <a:pt x="1658590" y="4796402"/>
                </a:moveTo>
                <a:cubicBezTo>
                  <a:pt x="1660759" y="4795783"/>
                  <a:pt x="1664167" y="4794853"/>
                  <a:pt x="1665716" y="4797641"/>
                </a:cubicBezTo>
                <a:cubicBezTo>
                  <a:pt x="1665406" y="4798364"/>
                  <a:pt x="1666180" y="4798880"/>
                  <a:pt x="1665716" y="4799603"/>
                </a:cubicBezTo>
                <a:cubicBezTo>
                  <a:pt x="1665716" y="4799603"/>
                  <a:pt x="1665871" y="4800533"/>
                  <a:pt x="1665406" y="4801668"/>
                </a:cubicBezTo>
                <a:cubicBezTo>
                  <a:pt x="1664942" y="4802907"/>
                  <a:pt x="1664012" y="4804250"/>
                  <a:pt x="1662308" y="4805179"/>
                </a:cubicBezTo>
                <a:cubicBezTo>
                  <a:pt x="1661689" y="4805282"/>
                  <a:pt x="1660759" y="4805385"/>
                  <a:pt x="1659830" y="4805385"/>
                </a:cubicBezTo>
                <a:cubicBezTo>
                  <a:pt x="1659055" y="4805385"/>
                  <a:pt x="1658281" y="4805282"/>
                  <a:pt x="1658436" y="4804869"/>
                </a:cubicBezTo>
                <a:cubicBezTo>
                  <a:pt x="1658126" y="4803734"/>
                  <a:pt x="1657816" y="4804456"/>
                  <a:pt x="1657042" y="4804043"/>
                </a:cubicBezTo>
                <a:cubicBezTo>
                  <a:pt x="1655803" y="4800429"/>
                  <a:pt x="1655958" y="4797848"/>
                  <a:pt x="1658590" y="4796402"/>
                </a:cubicBezTo>
                <a:close/>
                <a:moveTo>
                  <a:pt x="1866461" y="4796196"/>
                </a:moveTo>
                <a:cubicBezTo>
                  <a:pt x="1869869" y="4797125"/>
                  <a:pt x="1870799" y="4799706"/>
                  <a:pt x="1871573" y="4802391"/>
                </a:cubicBezTo>
                <a:cubicBezTo>
                  <a:pt x="1871883" y="4804353"/>
                  <a:pt x="1872348" y="4805076"/>
                  <a:pt x="1874051" y="4806211"/>
                </a:cubicBezTo>
                <a:cubicBezTo>
                  <a:pt x="1874051" y="4806211"/>
                  <a:pt x="1874051" y="4806108"/>
                  <a:pt x="1873742" y="4808483"/>
                </a:cubicBezTo>
                <a:lnTo>
                  <a:pt x="1872967" y="4808896"/>
                </a:lnTo>
                <a:cubicBezTo>
                  <a:pt x="1872502" y="4809000"/>
                  <a:pt x="1871883" y="4808483"/>
                  <a:pt x="1871418" y="4807760"/>
                </a:cubicBezTo>
                <a:cubicBezTo>
                  <a:pt x="1869560" y="4805385"/>
                  <a:pt x="1867391" y="4800636"/>
                  <a:pt x="1867081" y="4800016"/>
                </a:cubicBezTo>
                <a:cubicBezTo>
                  <a:pt x="1867081" y="4800016"/>
                  <a:pt x="1866616" y="4799190"/>
                  <a:pt x="1865997" y="4798467"/>
                </a:cubicBezTo>
                <a:cubicBezTo>
                  <a:pt x="1866307" y="4797332"/>
                  <a:pt x="1866926" y="4796918"/>
                  <a:pt x="1866461" y="4796196"/>
                </a:cubicBezTo>
                <a:close/>
                <a:moveTo>
                  <a:pt x="6110920" y="4795697"/>
                </a:moveTo>
                <a:cubicBezTo>
                  <a:pt x="6107513" y="4801170"/>
                  <a:pt x="6103795" y="4805816"/>
                  <a:pt x="6101471" y="4814490"/>
                </a:cubicBezTo>
                <a:cubicBezTo>
                  <a:pt x="6099923" y="4813870"/>
                  <a:pt x="6099148" y="4815522"/>
                  <a:pt x="6097754" y="4815626"/>
                </a:cubicBezTo>
                <a:cubicBezTo>
                  <a:pt x="6097290" y="4815729"/>
                  <a:pt x="6096824" y="4815626"/>
                  <a:pt x="6096205" y="4815213"/>
                </a:cubicBezTo>
                <a:cubicBezTo>
                  <a:pt x="6093727" y="4808914"/>
                  <a:pt x="6102556" y="4793219"/>
                  <a:pt x="6110920" y="4795697"/>
                </a:cubicBezTo>
                <a:close/>
                <a:moveTo>
                  <a:pt x="1614910" y="4795576"/>
                </a:moveTo>
                <a:cubicBezTo>
                  <a:pt x="1615684" y="4795989"/>
                  <a:pt x="1617699" y="4798054"/>
                  <a:pt x="1618008" y="4797332"/>
                </a:cubicBezTo>
                <a:cubicBezTo>
                  <a:pt x="1618937" y="4800016"/>
                  <a:pt x="1619712" y="4803114"/>
                  <a:pt x="1618937" y="4805076"/>
                </a:cubicBezTo>
                <a:cubicBezTo>
                  <a:pt x="1618627" y="4805695"/>
                  <a:pt x="1618163" y="4806315"/>
                  <a:pt x="1617544" y="4806624"/>
                </a:cubicBezTo>
                <a:cubicBezTo>
                  <a:pt x="1615994" y="4807657"/>
                  <a:pt x="1614910" y="4806005"/>
                  <a:pt x="1613981" y="4803630"/>
                </a:cubicBezTo>
                <a:cubicBezTo>
                  <a:pt x="1611193" y="4799190"/>
                  <a:pt x="1611502" y="4796506"/>
                  <a:pt x="1614910" y="4795576"/>
                </a:cubicBezTo>
                <a:close/>
                <a:moveTo>
                  <a:pt x="6391592" y="4794562"/>
                </a:moveTo>
                <a:cubicBezTo>
                  <a:pt x="6389579" y="4804268"/>
                  <a:pt x="6392831" y="4811599"/>
                  <a:pt x="6388495" y="4821924"/>
                </a:cubicBezTo>
                <a:cubicBezTo>
                  <a:pt x="6381524" y="4816452"/>
                  <a:pt x="6382298" y="4795181"/>
                  <a:pt x="6391592" y="4794562"/>
                </a:cubicBezTo>
                <a:close/>
                <a:moveTo>
                  <a:pt x="6160332" y="4794252"/>
                </a:moveTo>
                <a:cubicBezTo>
                  <a:pt x="6165908" y="4791464"/>
                  <a:pt x="6172724" y="4795801"/>
                  <a:pt x="6174428" y="4803338"/>
                </a:cubicBezTo>
                <a:cubicBezTo>
                  <a:pt x="6177526" y="4815006"/>
                  <a:pt x="6173963" y="4822234"/>
                  <a:pt x="6173963" y="4822234"/>
                </a:cubicBezTo>
                <a:cubicBezTo>
                  <a:pt x="6171949" y="4822957"/>
                  <a:pt x="6170246" y="4823164"/>
                  <a:pt x="6168851" y="4822957"/>
                </a:cubicBezTo>
                <a:cubicBezTo>
                  <a:pt x="6164359" y="4822441"/>
                  <a:pt x="6162036" y="4818001"/>
                  <a:pt x="6160487" y="4813354"/>
                </a:cubicBezTo>
                <a:cubicBezTo>
                  <a:pt x="6159713" y="4811289"/>
                  <a:pt x="6159248" y="4809121"/>
                  <a:pt x="6158783" y="4807159"/>
                </a:cubicBezTo>
                <a:cubicBezTo>
                  <a:pt x="6157699" y="4803338"/>
                  <a:pt x="6156925" y="4799002"/>
                  <a:pt x="6158164" y="4796317"/>
                </a:cubicBezTo>
                <a:cubicBezTo>
                  <a:pt x="6158628" y="4795491"/>
                  <a:pt x="6159403" y="4794768"/>
                  <a:pt x="6160332" y="4794252"/>
                </a:cubicBezTo>
                <a:close/>
                <a:moveTo>
                  <a:pt x="1005393" y="4793924"/>
                </a:moveTo>
                <a:cubicBezTo>
                  <a:pt x="1006168" y="4795576"/>
                  <a:pt x="995325" y="4800429"/>
                  <a:pt x="992537" y="4801875"/>
                </a:cubicBezTo>
                <a:cubicBezTo>
                  <a:pt x="991762" y="4801358"/>
                  <a:pt x="991762" y="4801358"/>
                  <a:pt x="991762" y="4801358"/>
                </a:cubicBezTo>
                <a:cubicBezTo>
                  <a:pt x="991297" y="4800533"/>
                  <a:pt x="991607" y="4799913"/>
                  <a:pt x="992227" y="4799293"/>
                </a:cubicBezTo>
                <a:cubicBezTo>
                  <a:pt x="993001" y="4798571"/>
                  <a:pt x="994086" y="4797951"/>
                  <a:pt x="995480" y="4797228"/>
                </a:cubicBezTo>
                <a:cubicBezTo>
                  <a:pt x="998268" y="4795886"/>
                  <a:pt x="1002450" y="4795370"/>
                  <a:pt x="1003690" y="4794956"/>
                </a:cubicBezTo>
                <a:cubicBezTo>
                  <a:pt x="1004928" y="4794647"/>
                  <a:pt x="1005393" y="4793924"/>
                  <a:pt x="1005393" y="4793924"/>
                </a:cubicBezTo>
                <a:close/>
                <a:moveTo>
                  <a:pt x="843217" y="4793717"/>
                </a:moveTo>
                <a:cubicBezTo>
                  <a:pt x="845540" y="4796402"/>
                  <a:pt x="844301" y="4799810"/>
                  <a:pt x="846469" y="4803320"/>
                </a:cubicBezTo>
                <a:cubicBezTo>
                  <a:pt x="844611" y="4805902"/>
                  <a:pt x="846624" y="4810239"/>
                  <a:pt x="843836" y="4813749"/>
                </a:cubicBezTo>
                <a:cubicBezTo>
                  <a:pt x="842597" y="4812820"/>
                  <a:pt x="841823" y="4811271"/>
                  <a:pt x="841357" y="4809412"/>
                </a:cubicBezTo>
                <a:cubicBezTo>
                  <a:pt x="839964" y="4803940"/>
                  <a:pt x="841203" y="4795679"/>
                  <a:pt x="843217" y="4793717"/>
                </a:cubicBezTo>
                <a:close/>
                <a:moveTo>
                  <a:pt x="1717761" y="4793305"/>
                </a:moveTo>
                <a:cubicBezTo>
                  <a:pt x="1716367" y="4794750"/>
                  <a:pt x="1713579" y="4796815"/>
                  <a:pt x="1711565" y="4795886"/>
                </a:cubicBezTo>
                <a:cubicBezTo>
                  <a:pt x="1711565" y="4795886"/>
                  <a:pt x="1711565" y="4795886"/>
                  <a:pt x="1710481" y="4795473"/>
                </a:cubicBezTo>
                <a:cubicBezTo>
                  <a:pt x="1712804" y="4794544"/>
                  <a:pt x="1715902" y="4793201"/>
                  <a:pt x="1717761" y="4793305"/>
                </a:cubicBezTo>
                <a:close/>
                <a:moveTo>
                  <a:pt x="711690" y="4793124"/>
                </a:moveTo>
                <a:cubicBezTo>
                  <a:pt x="717441" y="4791059"/>
                  <a:pt x="723482" y="4791084"/>
                  <a:pt x="725650" y="4795163"/>
                </a:cubicBezTo>
                <a:cubicBezTo>
                  <a:pt x="715892" y="4797332"/>
                  <a:pt x="710625" y="4803320"/>
                  <a:pt x="699473" y="4803630"/>
                </a:cubicBezTo>
                <a:cubicBezTo>
                  <a:pt x="700480" y="4799345"/>
                  <a:pt x="705940" y="4795189"/>
                  <a:pt x="711690" y="4793124"/>
                </a:cubicBezTo>
                <a:close/>
                <a:moveTo>
                  <a:pt x="1460633" y="4792066"/>
                </a:moveTo>
                <a:cubicBezTo>
                  <a:pt x="1461717" y="4791756"/>
                  <a:pt x="1465435" y="4791962"/>
                  <a:pt x="1465900" y="4793098"/>
                </a:cubicBezTo>
                <a:cubicBezTo>
                  <a:pt x="1466210" y="4794337"/>
                  <a:pt x="1465900" y="4795060"/>
                  <a:pt x="1465590" y="4795886"/>
                </a:cubicBezTo>
                <a:lnTo>
                  <a:pt x="1462027" y="4798467"/>
                </a:lnTo>
                <a:lnTo>
                  <a:pt x="1463731" y="4799190"/>
                </a:lnTo>
                <a:cubicBezTo>
                  <a:pt x="1465280" y="4800429"/>
                  <a:pt x="1466519" y="4801772"/>
                  <a:pt x="1466674" y="4802701"/>
                </a:cubicBezTo>
                <a:cubicBezTo>
                  <a:pt x="1466364" y="4804559"/>
                  <a:pt x="1465125" y="4806418"/>
                  <a:pt x="1462957" y="4806831"/>
                </a:cubicBezTo>
                <a:cubicBezTo>
                  <a:pt x="1462182" y="4807038"/>
                  <a:pt x="1461562" y="4806935"/>
                  <a:pt x="1460633" y="4806728"/>
                </a:cubicBezTo>
                <a:cubicBezTo>
                  <a:pt x="1457535" y="4806624"/>
                  <a:pt x="1455677" y="4803630"/>
                  <a:pt x="1452114" y="4802701"/>
                </a:cubicBezTo>
                <a:cubicBezTo>
                  <a:pt x="1452114" y="4800533"/>
                  <a:pt x="1452114" y="4799087"/>
                  <a:pt x="1452734" y="4798157"/>
                </a:cubicBezTo>
                <a:lnTo>
                  <a:pt x="1453198" y="4797951"/>
                </a:lnTo>
                <a:close/>
                <a:moveTo>
                  <a:pt x="1602053" y="4791859"/>
                </a:moveTo>
                <a:cubicBezTo>
                  <a:pt x="1604996" y="4792272"/>
                  <a:pt x="1604377" y="4795267"/>
                  <a:pt x="1604841" y="4798777"/>
                </a:cubicBezTo>
                <a:cubicBezTo>
                  <a:pt x="1603758" y="4798364"/>
                  <a:pt x="1603293" y="4799500"/>
                  <a:pt x="1602828" y="4800636"/>
                </a:cubicBezTo>
                <a:cubicBezTo>
                  <a:pt x="1601124" y="4800119"/>
                  <a:pt x="1598491" y="4799500"/>
                  <a:pt x="1598026" y="4797332"/>
                </a:cubicBezTo>
                <a:cubicBezTo>
                  <a:pt x="1597871" y="4796609"/>
                  <a:pt x="1598026" y="4795679"/>
                  <a:pt x="1598491" y="4794544"/>
                </a:cubicBezTo>
                <a:cubicBezTo>
                  <a:pt x="1598181" y="4793821"/>
                  <a:pt x="1600969" y="4791446"/>
                  <a:pt x="1602053" y="4791859"/>
                </a:cubicBezTo>
                <a:close/>
                <a:moveTo>
                  <a:pt x="1576806" y="4791859"/>
                </a:moveTo>
                <a:cubicBezTo>
                  <a:pt x="1574482" y="4793511"/>
                  <a:pt x="1573553" y="4794337"/>
                  <a:pt x="1571849" y="4795163"/>
                </a:cubicBezTo>
                <a:cubicBezTo>
                  <a:pt x="1572004" y="4795989"/>
                  <a:pt x="1572004" y="4796815"/>
                  <a:pt x="1571074" y="4797641"/>
                </a:cubicBezTo>
                <a:lnTo>
                  <a:pt x="1569526" y="4798364"/>
                </a:lnTo>
                <a:lnTo>
                  <a:pt x="1569835" y="4799397"/>
                </a:lnTo>
                <a:cubicBezTo>
                  <a:pt x="1570145" y="4800223"/>
                  <a:pt x="1570454" y="4800945"/>
                  <a:pt x="1571074" y="4801772"/>
                </a:cubicBezTo>
                <a:cubicBezTo>
                  <a:pt x="1568596" y="4802288"/>
                  <a:pt x="1566582" y="4803114"/>
                  <a:pt x="1564879" y="4803837"/>
                </a:cubicBezTo>
                <a:lnTo>
                  <a:pt x="1562245" y="4804250"/>
                </a:lnTo>
                <a:lnTo>
                  <a:pt x="1562245" y="4804559"/>
                </a:lnTo>
                <a:cubicBezTo>
                  <a:pt x="1561935" y="4806315"/>
                  <a:pt x="1561006" y="4807864"/>
                  <a:pt x="1559767" y="4809206"/>
                </a:cubicBezTo>
                <a:lnTo>
                  <a:pt x="1558373" y="4810135"/>
                </a:lnTo>
                <a:cubicBezTo>
                  <a:pt x="1560232" y="4812510"/>
                  <a:pt x="1560232" y="4816950"/>
                  <a:pt x="1556669" y="4820254"/>
                </a:cubicBezTo>
                <a:cubicBezTo>
                  <a:pt x="1553106" y="4820151"/>
                  <a:pt x="1550938" y="4818809"/>
                  <a:pt x="1549234" y="4818086"/>
                </a:cubicBezTo>
                <a:lnTo>
                  <a:pt x="1549389" y="4812097"/>
                </a:lnTo>
                <a:lnTo>
                  <a:pt x="1544742" y="4808896"/>
                </a:lnTo>
                <a:cubicBezTo>
                  <a:pt x="1544897" y="4802701"/>
                  <a:pt x="1554190" y="4796402"/>
                  <a:pt x="1559147" y="4796918"/>
                </a:cubicBezTo>
                <a:lnTo>
                  <a:pt x="1560696" y="4799293"/>
                </a:lnTo>
                <a:lnTo>
                  <a:pt x="1561626" y="4798777"/>
                </a:lnTo>
                <a:lnTo>
                  <a:pt x="1565343" y="4797641"/>
                </a:lnTo>
                <a:lnTo>
                  <a:pt x="1565034" y="4797228"/>
                </a:lnTo>
                <a:cubicBezTo>
                  <a:pt x="1564879" y="4796506"/>
                  <a:pt x="1565188" y="4795576"/>
                  <a:pt x="1565963" y="4794853"/>
                </a:cubicBezTo>
                <a:cubicBezTo>
                  <a:pt x="1567512" y="4792375"/>
                  <a:pt x="1570145" y="4792478"/>
                  <a:pt x="1572623" y="4793408"/>
                </a:cubicBezTo>
                <a:cubicBezTo>
                  <a:pt x="1574328" y="4792685"/>
                  <a:pt x="1575102" y="4790930"/>
                  <a:pt x="1576806" y="4791859"/>
                </a:cubicBezTo>
                <a:close/>
                <a:moveTo>
                  <a:pt x="1657042" y="4791756"/>
                </a:moveTo>
                <a:cubicBezTo>
                  <a:pt x="1658126" y="4791343"/>
                  <a:pt x="1659985" y="4791446"/>
                  <a:pt x="1660295" y="4792582"/>
                </a:cubicBezTo>
                <a:cubicBezTo>
                  <a:pt x="1660914" y="4793408"/>
                  <a:pt x="1660759" y="4793821"/>
                  <a:pt x="1660295" y="4794131"/>
                </a:cubicBezTo>
                <a:cubicBezTo>
                  <a:pt x="1659675" y="4794440"/>
                  <a:pt x="1658900" y="4794750"/>
                  <a:pt x="1658281" y="4795267"/>
                </a:cubicBezTo>
                <a:close/>
                <a:moveTo>
                  <a:pt x="1517170" y="4791239"/>
                </a:moveTo>
                <a:cubicBezTo>
                  <a:pt x="1518720" y="4793305"/>
                  <a:pt x="1516861" y="4795576"/>
                  <a:pt x="1515931" y="4795473"/>
                </a:cubicBezTo>
                <a:cubicBezTo>
                  <a:pt x="1515157" y="4794440"/>
                  <a:pt x="1515311" y="4792685"/>
                  <a:pt x="1514537" y="4791756"/>
                </a:cubicBezTo>
                <a:cubicBezTo>
                  <a:pt x="1515311" y="4791859"/>
                  <a:pt x="1516241" y="4791136"/>
                  <a:pt x="1517170" y="4791239"/>
                </a:cubicBezTo>
                <a:close/>
                <a:moveTo>
                  <a:pt x="6204323" y="4791154"/>
                </a:moveTo>
                <a:cubicBezTo>
                  <a:pt x="6207575" y="4793839"/>
                  <a:pt x="6207730" y="4796420"/>
                  <a:pt x="6206337" y="4799724"/>
                </a:cubicBezTo>
                <a:cubicBezTo>
                  <a:pt x="6203858" y="4799621"/>
                  <a:pt x="6200605" y="4796936"/>
                  <a:pt x="6200450" y="4794355"/>
                </a:cubicBezTo>
                <a:cubicBezTo>
                  <a:pt x="6201999" y="4791877"/>
                  <a:pt x="6203548" y="4792806"/>
                  <a:pt x="6204323" y="4791154"/>
                </a:cubicBezTo>
                <a:close/>
                <a:moveTo>
                  <a:pt x="6094191" y="4790947"/>
                </a:moveTo>
                <a:cubicBezTo>
                  <a:pt x="6095276" y="4791361"/>
                  <a:pt x="6096360" y="4791773"/>
                  <a:pt x="6097444" y="4792186"/>
                </a:cubicBezTo>
                <a:cubicBezTo>
                  <a:pt x="6096515" y="4794458"/>
                  <a:pt x="6095586" y="4796730"/>
                  <a:pt x="6093417" y="4795904"/>
                </a:cubicBezTo>
                <a:cubicBezTo>
                  <a:pt x="6093572" y="4793942"/>
                  <a:pt x="6092488" y="4793632"/>
                  <a:pt x="6094191" y="4790947"/>
                </a:cubicBezTo>
                <a:close/>
                <a:moveTo>
                  <a:pt x="5930621" y="4790638"/>
                </a:moveTo>
                <a:cubicBezTo>
                  <a:pt x="5927833" y="4795801"/>
                  <a:pt x="5930156" y="4799414"/>
                  <a:pt x="5925974" y="4800550"/>
                </a:cubicBezTo>
                <a:cubicBezTo>
                  <a:pt x="5923960" y="4797763"/>
                  <a:pt x="5927058" y="4791464"/>
                  <a:pt x="5930621" y="4790638"/>
                </a:cubicBezTo>
                <a:close/>
                <a:moveTo>
                  <a:pt x="1869405" y="4790620"/>
                </a:moveTo>
                <a:cubicBezTo>
                  <a:pt x="1869405" y="4790620"/>
                  <a:pt x="1870179" y="4790620"/>
                  <a:pt x="1871728" y="4792375"/>
                </a:cubicBezTo>
                <a:cubicBezTo>
                  <a:pt x="1870953" y="4792375"/>
                  <a:pt x="1870799" y="4793305"/>
                  <a:pt x="1870799" y="4793305"/>
                </a:cubicBezTo>
                <a:cubicBezTo>
                  <a:pt x="1870799" y="4793305"/>
                  <a:pt x="1870799" y="4793305"/>
                  <a:pt x="1871573" y="4793305"/>
                </a:cubicBezTo>
                <a:cubicBezTo>
                  <a:pt x="1871108" y="4793717"/>
                  <a:pt x="1870799" y="4793717"/>
                  <a:pt x="1870489" y="4793614"/>
                </a:cubicBezTo>
                <a:cubicBezTo>
                  <a:pt x="1870179" y="4793511"/>
                  <a:pt x="1870024" y="4793305"/>
                  <a:pt x="1870024" y="4793305"/>
                </a:cubicBezTo>
                <a:cubicBezTo>
                  <a:pt x="1869560" y="4792788"/>
                  <a:pt x="1869249" y="4792375"/>
                  <a:pt x="1869095" y="4791962"/>
                </a:cubicBezTo>
                <a:cubicBezTo>
                  <a:pt x="1868940" y="4791549"/>
                  <a:pt x="1868940" y="4791033"/>
                  <a:pt x="1869405" y="4790620"/>
                </a:cubicBezTo>
                <a:close/>
                <a:moveTo>
                  <a:pt x="1681670" y="4790516"/>
                </a:moveTo>
                <a:cubicBezTo>
                  <a:pt x="1681670" y="4790516"/>
                  <a:pt x="1682755" y="4790723"/>
                  <a:pt x="1682755" y="4790723"/>
                </a:cubicBezTo>
                <a:cubicBezTo>
                  <a:pt x="1686937" y="4791136"/>
                  <a:pt x="1690809" y="4794647"/>
                  <a:pt x="1690809" y="4796506"/>
                </a:cubicBezTo>
                <a:cubicBezTo>
                  <a:pt x="1690190" y="4798364"/>
                  <a:pt x="1688641" y="4800223"/>
                  <a:pt x="1686472" y="4800739"/>
                </a:cubicBezTo>
                <a:cubicBezTo>
                  <a:pt x="1685698" y="4800945"/>
                  <a:pt x="1684923" y="4800945"/>
                  <a:pt x="1683994" y="4800739"/>
                </a:cubicBezTo>
                <a:cubicBezTo>
                  <a:pt x="1681051" y="4800636"/>
                  <a:pt x="1679501" y="4797744"/>
                  <a:pt x="1676249" y="4796918"/>
                </a:cubicBezTo>
                <a:cubicBezTo>
                  <a:pt x="1676869" y="4792478"/>
                  <a:pt x="1677178" y="4791343"/>
                  <a:pt x="1681670" y="4790516"/>
                </a:cubicBezTo>
                <a:close/>
                <a:moveTo>
                  <a:pt x="6317242" y="4790431"/>
                </a:moveTo>
                <a:cubicBezTo>
                  <a:pt x="6320960" y="4791980"/>
                  <a:pt x="6320340" y="4797556"/>
                  <a:pt x="6317087" y="4799414"/>
                </a:cubicBezTo>
                <a:cubicBezTo>
                  <a:pt x="6315538" y="4799208"/>
                  <a:pt x="6314609" y="4798588"/>
                  <a:pt x="6313989" y="4797763"/>
                </a:cubicBezTo>
                <a:cubicBezTo>
                  <a:pt x="6312440" y="4795387"/>
                  <a:pt x="6314764" y="4791154"/>
                  <a:pt x="6317242" y="4790431"/>
                </a:cubicBezTo>
                <a:close/>
                <a:moveTo>
                  <a:pt x="1740531" y="4790310"/>
                </a:moveTo>
                <a:cubicBezTo>
                  <a:pt x="1742234" y="4789277"/>
                  <a:pt x="1742855" y="4789794"/>
                  <a:pt x="1743938" y="4792582"/>
                </a:cubicBezTo>
                <a:cubicBezTo>
                  <a:pt x="1744403" y="4794956"/>
                  <a:pt x="1745332" y="4796609"/>
                  <a:pt x="1744868" y="4797435"/>
                </a:cubicBezTo>
                <a:cubicBezTo>
                  <a:pt x="1745488" y="4797848"/>
                  <a:pt x="1745797" y="4798983"/>
                  <a:pt x="1746417" y="4799500"/>
                </a:cubicBezTo>
                <a:cubicBezTo>
                  <a:pt x="1746417" y="4799500"/>
                  <a:pt x="1746417" y="4799500"/>
                  <a:pt x="1745952" y="4800223"/>
                </a:cubicBezTo>
                <a:cubicBezTo>
                  <a:pt x="1743784" y="4797744"/>
                  <a:pt x="1739756" y="4796196"/>
                  <a:pt x="1738672" y="4793408"/>
                </a:cubicBezTo>
                <a:cubicBezTo>
                  <a:pt x="1738517" y="4792788"/>
                  <a:pt x="1738362" y="4792169"/>
                  <a:pt x="1738672" y="4791652"/>
                </a:cubicBezTo>
                <a:cubicBezTo>
                  <a:pt x="1738827" y="4791136"/>
                  <a:pt x="1739446" y="4790620"/>
                  <a:pt x="1740531" y="4790310"/>
                </a:cubicBezTo>
                <a:close/>
                <a:moveTo>
                  <a:pt x="1011434" y="4790310"/>
                </a:moveTo>
                <a:cubicBezTo>
                  <a:pt x="1011434" y="4790310"/>
                  <a:pt x="1011744" y="4789587"/>
                  <a:pt x="1012828" y="4792375"/>
                </a:cubicBezTo>
                <a:cubicBezTo>
                  <a:pt x="1011744" y="4792685"/>
                  <a:pt x="1008336" y="4793614"/>
                  <a:pt x="1008336" y="4793614"/>
                </a:cubicBezTo>
                <a:cubicBezTo>
                  <a:pt x="1007717" y="4794337"/>
                  <a:pt x="1007717" y="4794337"/>
                  <a:pt x="1006632" y="4794647"/>
                </a:cubicBezTo>
                <a:cubicBezTo>
                  <a:pt x="1006322" y="4793511"/>
                  <a:pt x="1006477" y="4793511"/>
                  <a:pt x="1006942" y="4792788"/>
                </a:cubicBezTo>
                <a:cubicBezTo>
                  <a:pt x="1008026" y="4792375"/>
                  <a:pt x="1008646" y="4792891"/>
                  <a:pt x="1009885" y="4792582"/>
                </a:cubicBezTo>
                <a:cubicBezTo>
                  <a:pt x="1009421" y="4790207"/>
                  <a:pt x="1009111" y="4790930"/>
                  <a:pt x="1010195" y="4790620"/>
                </a:cubicBezTo>
                <a:cubicBezTo>
                  <a:pt x="1010195" y="4790620"/>
                  <a:pt x="1010195" y="4790620"/>
                  <a:pt x="1011434" y="4790310"/>
                </a:cubicBezTo>
                <a:close/>
                <a:moveTo>
                  <a:pt x="1124353" y="4789690"/>
                </a:moveTo>
                <a:lnTo>
                  <a:pt x="1126058" y="4790826"/>
                </a:lnTo>
                <a:lnTo>
                  <a:pt x="1126367" y="4790826"/>
                </a:lnTo>
                <a:cubicBezTo>
                  <a:pt x="1129155" y="4793305"/>
                  <a:pt x="1129155" y="4793305"/>
                  <a:pt x="1125748" y="4798777"/>
                </a:cubicBezTo>
                <a:cubicBezTo>
                  <a:pt x="1125128" y="4799603"/>
                  <a:pt x="1124198" y="4800326"/>
                  <a:pt x="1123114" y="4800739"/>
                </a:cubicBezTo>
                <a:cubicBezTo>
                  <a:pt x="1122030" y="4801152"/>
                  <a:pt x="1120791" y="4801152"/>
                  <a:pt x="1119397" y="4800842"/>
                </a:cubicBezTo>
                <a:cubicBezTo>
                  <a:pt x="1118622" y="4801255"/>
                  <a:pt x="1117693" y="4801565"/>
                  <a:pt x="1116608" y="4801668"/>
                </a:cubicBezTo>
                <a:cubicBezTo>
                  <a:pt x="1115679" y="4801668"/>
                  <a:pt x="1114595" y="4801565"/>
                  <a:pt x="1113665" y="4801152"/>
                </a:cubicBezTo>
                <a:cubicBezTo>
                  <a:pt x="1111807" y="4799500"/>
                  <a:pt x="1111497" y="4797744"/>
                  <a:pt x="1112271" y="4796918"/>
                </a:cubicBezTo>
                <a:lnTo>
                  <a:pt x="1116144" y="4792788"/>
                </a:lnTo>
                <a:lnTo>
                  <a:pt x="1115989" y="4792066"/>
                </a:lnTo>
                <a:cubicBezTo>
                  <a:pt x="1116608" y="4789381"/>
                  <a:pt x="1121410" y="4788451"/>
                  <a:pt x="1124353" y="4789690"/>
                </a:cubicBezTo>
                <a:close/>
                <a:moveTo>
                  <a:pt x="1542419" y="4789174"/>
                </a:moveTo>
                <a:cubicBezTo>
                  <a:pt x="1544743" y="4789768"/>
                  <a:pt x="1546678" y="4791136"/>
                  <a:pt x="1546911" y="4792891"/>
                </a:cubicBezTo>
                <a:cubicBezTo>
                  <a:pt x="1545671" y="4798777"/>
                  <a:pt x="1543038" y="4801668"/>
                  <a:pt x="1540405" y="4802391"/>
                </a:cubicBezTo>
                <a:cubicBezTo>
                  <a:pt x="1537772" y="4803011"/>
                  <a:pt x="1535293" y="4801462"/>
                  <a:pt x="1534518" y="4798261"/>
                </a:cubicBezTo>
                <a:cubicBezTo>
                  <a:pt x="1534054" y="4796196"/>
                  <a:pt x="1534209" y="4793408"/>
                  <a:pt x="1535603" y="4790104"/>
                </a:cubicBezTo>
                <a:cubicBezTo>
                  <a:pt x="1537384" y="4788761"/>
                  <a:pt x="1540095" y="4788581"/>
                  <a:pt x="1542419" y="4789174"/>
                </a:cubicBezTo>
                <a:close/>
                <a:moveTo>
                  <a:pt x="1051126" y="4788477"/>
                </a:moveTo>
                <a:cubicBezTo>
                  <a:pt x="1053101" y="4788890"/>
                  <a:pt x="1054418" y="4790723"/>
                  <a:pt x="1054650" y="4792891"/>
                </a:cubicBezTo>
                <a:cubicBezTo>
                  <a:pt x="1054960" y="4794337"/>
                  <a:pt x="1054650" y="4795886"/>
                  <a:pt x="1053876" y="4797228"/>
                </a:cubicBezTo>
                <a:cubicBezTo>
                  <a:pt x="1052637" y="4799087"/>
                  <a:pt x="1050623" y="4800533"/>
                  <a:pt x="1047215" y="4800945"/>
                </a:cubicBezTo>
                <a:cubicBezTo>
                  <a:pt x="1045821" y="4799500"/>
                  <a:pt x="1045202" y="4798054"/>
                  <a:pt x="1044891" y="4796712"/>
                </a:cubicBezTo>
                <a:cubicBezTo>
                  <a:pt x="1044427" y="4795267"/>
                  <a:pt x="1044272" y="4793924"/>
                  <a:pt x="1043652" y="4792582"/>
                </a:cubicBezTo>
                <a:cubicBezTo>
                  <a:pt x="1046518" y="4789071"/>
                  <a:pt x="1049151" y="4788064"/>
                  <a:pt x="1051126" y="4788477"/>
                </a:cubicBezTo>
                <a:close/>
                <a:moveTo>
                  <a:pt x="6470745" y="4788469"/>
                </a:moveTo>
                <a:cubicBezTo>
                  <a:pt x="6471519" y="4788882"/>
                  <a:pt x="6471209" y="4789605"/>
                  <a:pt x="6471984" y="4790018"/>
                </a:cubicBezTo>
                <a:cubicBezTo>
                  <a:pt x="6472138" y="4790638"/>
                  <a:pt x="6471984" y="4791464"/>
                  <a:pt x="6471519" y="4792393"/>
                </a:cubicBezTo>
                <a:cubicBezTo>
                  <a:pt x="6470125" y="4795181"/>
                  <a:pt x="6466717" y="4798692"/>
                  <a:pt x="6466252" y="4798382"/>
                </a:cubicBezTo>
                <a:cubicBezTo>
                  <a:pt x="6465787" y="4799105"/>
                  <a:pt x="6465013" y="4798692"/>
                  <a:pt x="6464703" y="4799414"/>
                </a:cubicBezTo>
                <a:cubicBezTo>
                  <a:pt x="6464703" y="4799414"/>
                  <a:pt x="6464394" y="4800240"/>
                  <a:pt x="6463155" y="4800550"/>
                </a:cubicBezTo>
                <a:cubicBezTo>
                  <a:pt x="6462690" y="4800757"/>
                  <a:pt x="6462070" y="4800860"/>
                  <a:pt x="6461606" y="4800757"/>
                </a:cubicBezTo>
                <a:cubicBezTo>
                  <a:pt x="6460986" y="4800654"/>
                  <a:pt x="6460366" y="4800344"/>
                  <a:pt x="6459747" y="4799518"/>
                </a:cubicBezTo>
                <a:cubicBezTo>
                  <a:pt x="6465013" y="4794768"/>
                  <a:pt x="6466252" y="4791670"/>
                  <a:pt x="6470745" y="4788469"/>
                </a:cubicBezTo>
                <a:close/>
                <a:moveTo>
                  <a:pt x="1421135" y="4786903"/>
                </a:moveTo>
                <a:cubicBezTo>
                  <a:pt x="1422993" y="4786696"/>
                  <a:pt x="1422219" y="4787109"/>
                  <a:pt x="1423458" y="4787419"/>
                </a:cubicBezTo>
                <a:cubicBezTo>
                  <a:pt x="1424542" y="4787625"/>
                  <a:pt x="1426401" y="4787522"/>
                  <a:pt x="1427176" y="4787109"/>
                </a:cubicBezTo>
                <a:cubicBezTo>
                  <a:pt x="1426401" y="4791446"/>
                  <a:pt x="1429499" y="4791549"/>
                  <a:pt x="1428105" y="4798261"/>
                </a:cubicBezTo>
                <a:cubicBezTo>
                  <a:pt x="1427021" y="4804869"/>
                  <a:pt x="1423458" y="4807450"/>
                  <a:pt x="1419896" y="4808173"/>
                </a:cubicBezTo>
                <a:lnTo>
                  <a:pt x="1417108" y="4808277"/>
                </a:lnTo>
                <a:lnTo>
                  <a:pt x="1416333" y="4810858"/>
                </a:lnTo>
                <a:cubicBezTo>
                  <a:pt x="1411067" y="4807967"/>
                  <a:pt x="1409827" y="4812820"/>
                  <a:pt x="1407194" y="4814369"/>
                </a:cubicBezTo>
                <a:cubicBezTo>
                  <a:pt x="1406264" y="4814885"/>
                  <a:pt x="1405180" y="4814988"/>
                  <a:pt x="1403786" y="4814369"/>
                </a:cubicBezTo>
                <a:cubicBezTo>
                  <a:pt x="1402237" y="4812304"/>
                  <a:pt x="1399914" y="4810755"/>
                  <a:pt x="1399139" y="4807864"/>
                </a:cubicBezTo>
                <a:cubicBezTo>
                  <a:pt x="1398829" y="4806935"/>
                  <a:pt x="1398829" y="4805902"/>
                  <a:pt x="1399139" y="4804663"/>
                </a:cubicBezTo>
                <a:cubicBezTo>
                  <a:pt x="1402547" y="4805179"/>
                  <a:pt x="1405490" y="4805179"/>
                  <a:pt x="1408279" y="4804869"/>
                </a:cubicBezTo>
                <a:lnTo>
                  <a:pt x="1410757" y="4804663"/>
                </a:lnTo>
                <a:lnTo>
                  <a:pt x="1409053" y="4802494"/>
                </a:lnTo>
                <a:cubicBezTo>
                  <a:pt x="1408434" y="4801049"/>
                  <a:pt x="1408124" y="4799087"/>
                  <a:pt x="1408588" y="4796609"/>
                </a:cubicBezTo>
                <a:cubicBezTo>
                  <a:pt x="1409672" y="4791033"/>
                  <a:pt x="1412460" y="4785354"/>
                  <a:pt x="1421135" y="4786903"/>
                </a:cubicBezTo>
                <a:close/>
                <a:moveTo>
                  <a:pt x="1456451" y="4786180"/>
                </a:moveTo>
                <a:cubicBezTo>
                  <a:pt x="1457381" y="4786593"/>
                  <a:pt x="1458310" y="4787522"/>
                  <a:pt x="1459084" y="4789277"/>
                </a:cubicBezTo>
                <a:cubicBezTo>
                  <a:pt x="1457845" y="4790620"/>
                  <a:pt x="1453663" y="4793201"/>
                  <a:pt x="1450100" y="4793717"/>
                </a:cubicBezTo>
                <a:cubicBezTo>
                  <a:pt x="1448861" y="4793924"/>
                  <a:pt x="1447777" y="4793821"/>
                  <a:pt x="1446848" y="4793408"/>
                </a:cubicBezTo>
                <a:cubicBezTo>
                  <a:pt x="1445608" y="4792891"/>
                  <a:pt x="1444834" y="4791652"/>
                  <a:pt x="1444679" y="4789690"/>
                </a:cubicBezTo>
                <a:cubicBezTo>
                  <a:pt x="1449946" y="4788555"/>
                  <a:pt x="1453663" y="4784941"/>
                  <a:pt x="1456451" y="4786180"/>
                </a:cubicBezTo>
                <a:close/>
                <a:moveTo>
                  <a:pt x="1702117" y="4785870"/>
                </a:moveTo>
                <a:cubicBezTo>
                  <a:pt x="1703356" y="4785560"/>
                  <a:pt x="1704750" y="4786489"/>
                  <a:pt x="1706298" y="4788555"/>
                </a:cubicBezTo>
                <a:cubicBezTo>
                  <a:pt x="1705989" y="4790516"/>
                  <a:pt x="1702426" y="4791446"/>
                  <a:pt x="1700877" y="4792478"/>
                </a:cubicBezTo>
                <a:cubicBezTo>
                  <a:pt x="1700568" y="4791343"/>
                  <a:pt x="1700413" y="4790104"/>
                  <a:pt x="1699948" y="4790826"/>
                </a:cubicBezTo>
                <a:cubicBezTo>
                  <a:pt x="1699793" y="4789690"/>
                  <a:pt x="1699948" y="4788761"/>
                  <a:pt x="1700258" y="4787935"/>
                </a:cubicBezTo>
                <a:cubicBezTo>
                  <a:pt x="1700722" y="4787109"/>
                  <a:pt x="1701342" y="4786386"/>
                  <a:pt x="1702117" y="4785870"/>
                </a:cubicBezTo>
                <a:close/>
                <a:moveTo>
                  <a:pt x="1615530" y="4785457"/>
                </a:moveTo>
                <a:cubicBezTo>
                  <a:pt x="1616459" y="4785870"/>
                  <a:pt x="1618318" y="4786077"/>
                  <a:pt x="1618008" y="4786800"/>
                </a:cubicBezTo>
                <a:cubicBezTo>
                  <a:pt x="1618783" y="4787212"/>
                  <a:pt x="1618163" y="4788761"/>
                  <a:pt x="1618163" y="4788761"/>
                </a:cubicBezTo>
                <a:lnTo>
                  <a:pt x="1619092" y="4789794"/>
                </a:lnTo>
                <a:lnTo>
                  <a:pt x="1620021" y="4788658"/>
                </a:lnTo>
                <a:cubicBezTo>
                  <a:pt x="1621106" y="4788348"/>
                  <a:pt x="1622345" y="4788658"/>
                  <a:pt x="1624049" y="4789277"/>
                </a:cubicBezTo>
                <a:cubicBezTo>
                  <a:pt x="1623274" y="4791962"/>
                  <a:pt x="1622500" y="4793098"/>
                  <a:pt x="1621571" y="4793305"/>
                </a:cubicBezTo>
                <a:cubicBezTo>
                  <a:pt x="1620486" y="4793408"/>
                  <a:pt x="1619247" y="4792582"/>
                  <a:pt x="1617388" y="4791549"/>
                </a:cubicBezTo>
                <a:lnTo>
                  <a:pt x="1618163" y="4790826"/>
                </a:lnTo>
                <a:lnTo>
                  <a:pt x="1617699" y="4790310"/>
                </a:lnTo>
                <a:cubicBezTo>
                  <a:pt x="1616924" y="4789690"/>
                  <a:pt x="1615994" y="4788865"/>
                  <a:pt x="1615375" y="4788142"/>
                </a:cubicBezTo>
                <a:cubicBezTo>
                  <a:pt x="1615684" y="4787316"/>
                  <a:pt x="1615220" y="4786180"/>
                  <a:pt x="1615530" y="4785457"/>
                </a:cubicBezTo>
                <a:close/>
                <a:moveTo>
                  <a:pt x="945293" y="4785457"/>
                </a:moveTo>
                <a:cubicBezTo>
                  <a:pt x="945758" y="4787832"/>
                  <a:pt x="947462" y="4791033"/>
                  <a:pt x="944829" y="4793614"/>
                </a:cubicBezTo>
                <a:cubicBezTo>
                  <a:pt x="944673" y="4791859"/>
                  <a:pt x="943745" y="4788555"/>
                  <a:pt x="944209" y="4786696"/>
                </a:cubicBezTo>
                <a:cubicBezTo>
                  <a:pt x="944519" y="4786077"/>
                  <a:pt x="944829" y="4785560"/>
                  <a:pt x="945293" y="4785457"/>
                </a:cubicBezTo>
                <a:close/>
                <a:moveTo>
                  <a:pt x="1490993" y="4785354"/>
                </a:moveTo>
                <a:cubicBezTo>
                  <a:pt x="1493472" y="4783805"/>
                  <a:pt x="1500286" y="4788348"/>
                  <a:pt x="1502765" y="4791033"/>
                </a:cubicBezTo>
                <a:cubicBezTo>
                  <a:pt x="1502145" y="4791446"/>
                  <a:pt x="1501371" y="4791446"/>
                  <a:pt x="1500286" y="4791239"/>
                </a:cubicBezTo>
                <a:cubicBezTo>
                  <a:pt x="1497344" y="4790413"/>
                  <a:pt x="1493006" y="4787419"/>
                  <a:pt x="1490993" y="4785354"/>
                </a:cubicBezTo>
                <a:close/>
                <a:moveTo>
                  <a:pt x="1815656" y="4785250"/>
                </a:moveTo>
                <a:cubicBezTo>
                  <a:pt x="1818908" y="4783702"/>
                  <a:pt x="1822471" y="4790723"/>
                  <a:pt x="1821696" y="4792375"/>
                </a:cubicBezTo>
                <a:cubicBezTo>
                  <a:pt x="1820147" y="4793201"/>
                  <a:pt x="1812402" y="4787729"/>
                  <a:pt x="1815656" y="4785250"/>
                </a:cubicBezTo>
                <a:close/>
                <a:moveTo>
                  <a:pt x="1608404" y="4785044"/>
                </a:moveTo>
                <a:cubicBezTo>
                  <a:pt x="1608404" y="4785044"/>
                  <a:pt x="1609643" y="4786593"/>
                  <a:pt x="1609643" y="4786593"/>
                </a:cubicBezTo>
                <a:cubicBezTo>
                  <a:pt x="1610418" y="4789071"/>
                  <a:pt x="1610728" y="4790207"/>
                  <a:pt x="1611967" y="4791859"/>
                </a:cubicBezTo>
                <a:cubicBezTo>
                  <a:pt x="1611193" y="4792478"/>
                  <a:pt x="1610728" y="4792685"/>
                  <a:pt x="1610263" y="4792582"/>
                </a:cubicBezTo>
                <a:cubicBezTo>
                  <a:pt x="1609798" y="4792478"/>
                  <a:pt x="1609489" y="4791962"/>
                  <a:pt x="1609333" y="4791343"/>
                </a:cubicBezTo>
                <a:cubicBezTo>
                  <a:pt x="1609333" y="4791343"/>
                  <a:pt x="1608869" y="4790207"/>
                  <a:pt x="1608559" y="4788968"/>
                </a:cubicBezTo>
                <a:cubicBezTo>
                  <a:pt x="1608095" y="4787832"/>
                  <a:pt x="1607320" y="4787316"/>
                  <a:pt x="1607320" y="4787316"/>
                </a:cubicBezTo>
                <a:cubicBezTo>
                  <a:pt x="1607010" y="4786077"/>
                  <a:pt x="1607320" y="4785354"/>
                  <a:pt x="1608404" y="4785044"/>
                </a:cubicBezTo>
                <a:close/>
                <a:moveTo>
                  <a:pt x="1589197" y="4784838"/>
                </a:moveTo>
                <a:cubicBezTo>
                  <a:pt x="1590437" y="4786903"/>
                  <a:pt x="1592450" y="4790516"/>
                  <a:pt x="1592295" y="4792788"/>
                </a:cubicBezTo>
                <a:cubicBezTo>
                  <a:pt x="1592295" y="4793511"/>
                  <a:pt x="1591985" y="4794131"/>
                  <a:pt x="1591366" y="4794440"/>
                </a:cubicBezTo>
                <a:cubicBezTo>
                  <a:pt x="1590282" y="4794750"/>
                  <a:pt x="1589972" y="4793614"/>
                  <a:pt x="1589197" y="4793201"/>
                </a:cubicBezTo>
                <a:cubicBezTo>
                  <a:pt x="1588113" y="4791652"/>
                  <a:pt x="1588113" y="4785147"/>
                  <a:pt x="1589197" y="4784838"/>
                </a:cubicBezTo>
                <a:close/>
                <a:moveTo>
                  <a:pt x="5991031" y="4784442"/>
                </a:moveTo>
                <a:cubicBezTo>
                  <a:pt x="5992579" y="4785372"/>
                  <a:pt x="5993354" y="4785372"/>
                  <a:pt x="5995213" y="4784545"/>
                </a:cubicBezTo>
                <a:cubicBezTo>
                  <a:pt x="5995213" y="4784545"/>
                  <a:pt x="5995213" y="4784545"/>
                  <a:pt x="5996607" y="4786301"/>
                </a:cubicBezTo>
                <a:lnTo>
                  <a:pt x="5996607" y="4787127"/>
                </a:lnTo>
                <a:cubicBezTo>
                  <a:pt x="5996297" y="4787540"/>
                  <a:pt x="5995677" y="4787746"/>
                  <a:pt x="5994748" y="4787850"/>
                </a:cubicBezTo>
                <a:cubicBezTo>
                  <a:pt x="5991960" y="4788056"/>
                  <a:pt x="5987158" y="4787024"/>
                  <a:pt x="5986539" y="4787024"/>
                </a:cubicBezTo>
                <a:cubicBezTo>
                  <a:pt x="5986539" y="4787024"/>
                  <a:pt x="5985764" y="4786920"/>
                  <a:pt x="5984989" y="4786920"/>
                </a:cubicBezTo>
                <a:cubicBezTo>
                  <a:pt x="5984215" y="4786095"/>
                  <a:pt x="5984215" y="4785165"/>
                  <a:pt x="5983441" y="4785165"/>
                </a:cubicBezTo>
                <a:cubicBezTo>
                  <a:pt x="5986229" y="4782687"/>
                  <a:pt x="5988707" y="4783616"/>
                  <a:pt x="5991031" y="4784442"/>
                </a:cubicBezTo>
                <a:close/>
                <a:moveTo>
                  <a:pt x="6236812" y="4784365"/>
                </a:moveTo>
                <a:cubicBezTo>
                  <a:pt x="6238748" y="4783590"/>
                  <a:pt x="6241188" y="4784339"/>
                  <a:pt x="6242737" y="4786198"/>
                </a:cubicBezTo>
                <a:cubicBezTo>
                  <a:pt x="6243666" y="4787540"/>
                  <a:pt x="6244286" y="4789295"/>
                  <a:pt x="6243976" y="4791464"/>
                </a:cubicBezTo>
                <a:cubicBezTo>
                  <a:pt x="6243047" y="4792393"/>
                  <a:pt x="6240878" y="4792909"/>
                  <a:pt x="6238865" y="4792909"/>
                </a:cubicBezTo>
                <a:cubicBezTo>
                  <a:pt x="6236696" y="4793012"/>
                  <a:pt x="6234683" y="4792600"/>
                  <a:pt x="6233908" y="4791670"/>
                </a:cubicBezTo>
                <a:cubicBezTo>
                  <a:pt x="6233443" y="4787437"/>
                  <a:pt x="6234876" y="4785139"/>
                  <a:pt x="6236812" y="4784365"/>
                </a:cubicBezTo>
                <a:close/>
                <a:moveTo>
                  <a:pt x="1841523" y="4783185"/>
                </a:moveTo>
                <a:cubicBezTo>
                  <a:pt x="1841368" y="4784424"/>
                  <a:pt x="1841213" y="4785973"/>
                  <a:pt x="1840903" y="4787316"/>
                </a:cubicBezTo>
                <a:lnTo>
                  <a:pt x="1839974" y="4790516"/>
                </a:lnTo>
                <a:lnTo>
                  <a:pt x="1840284" y="4790620"/>
                </a:lnTo>
                <a:cubicBezTo>
                  <a:pt x="1844157" y="4792582"/>
                  <a:pt x="1847564" y="4795576"/>
                  <a:pt x="1849578" y="4798054"/>
                </a:cubicBezTo>
                <a:cubicBezTo>
                  <a:pt x="1847564" y="4798777"/>
                  <a:pt x="1845396" y="4798983"/>
                  <a:pt x="1843227" y="4798777"/>
                </a:cubicBezTo>
                <a:cubicBezTo>
                  <a:pt x="1836722" y="4798054"/>
                  <a:pt x="1830061" y="4793614"/>
                  <a:pt x="1828047" y="4789174"/>
                </a:cubicBezTo>
                <a:cubicBezTo>
                  <a:pt x="1830061" y="4788348"/>
                  <a:pt x="1832229" y="4788245"/>
                  <a:pt x="1834244" y="4788555"/>
                </a:cubicBezTo>
                <a:lnTo>
                  <a:pt x="1839819" y="4790413"/>
                </a:lnTo>
                <a:lnTo>
                  <a:pt x="1839355" y="4787419"/>
                </a:lnTo>
                <a:cubicBezTo>
                  <a:pt x="1839355" y="4786077"/>
                  <a:pt x="1839664" y="4784838"/>
                  <a:pt x="1840594" y="4784011"/>
                </a:cubicBezTo>
                <a:cubicBezTo>
                  <a:pt x="1840594" y="4784011"/>
                  <a:pt x="1840594" y="4784011"/>
                  <a:pt x="1841523" y="4783185"/>
                </a:cubicBezTo>
                <a:close/>
                <a:moveTo>
                  <a:pt x="1343532" y="4782669"/>
                </a:moveTo>
                <a:cubicBezTo>
                  <a:pt x="1346165" y="4782463"/>
                  <a:pt x="1347869" y="4783082"/>
                  <a:pt x="1348798" y="4784631"/>
                </a:cubicBezTo>
                <a:lnTo>
                  <a:pt x="1349573" y="4790826"/>
                </a:lnTo>
                <a:lnTo>
                  <a:pt x="1352980" y="4790310"/>
                </a:lnTo>
                <a:cubicBezTo>
                  <a:pt x="1355149" y="4793408"/>
                  <a:pt x="1355613" y="4796196"/>
                  <a:pt x="1356233" y="4798054"/>
                </a:cubicBezTo>
                <a:cubicBezTo>
                  <a:pt x="1354374" y="4799293"/>
                  <a:pt x="1353291" y="4800842"/>
                  <a:pt x="1351431" y="4802184"/>
                </a:cubicBezTo>
                <a:cubicBezTo>
                  <a:pt x="1346320" y="4801875"/>
                  <a:pt x="1344461" y="4798364"/>
                  <a:pt x="1344925" y="4795163"/>
                </a:cubicBezTo>
                <a:lnTo>
                  <a:pt x="1347249" y="4791343"/>
                </a:lnTo>
                <a:lnTo>
                  <a:pt x="1346320" y="4791239"/>
                </a:lnTo>
                <a:cubicBezTo>
                  <a:pt x="1345546" y="4790723"/>
                  <a:pt x="1345080" y="4790000"/>
                  <a:pt x="1344771" y="4789174"/>
                </a:cubicBezTo>
                <a:cubicBezTo>
                  <a:pt x="1344151" y="4787316"/>
                  <a:pt x="1344151" y="4784838"/>
                  <a:pt x="1343532" y="4782669"/>
                </a:cubicBezTo>
                <a:close/>
                <a:moveTo>
                  <a:pt x="888136" y="4782049"/>
                </a:moveTo>
                <a:cubicBezTo>
                  <a:pt x="890615" y="4782153"/>
                  <a:pt x="892319" y="4782153"/>
                  <a:pt x="893868" y="4783908"/>
                </a:cubicBezTo>
                <a:cubicBezTo>
                  <a:pt x="896037" y="4786593"/>
                  <a:pt x="897120" y="4792685"/>
                  <a:pt x="894332" y="4795163"/>
                </a:cubicBezTo>
                <a:cubicBezTo>
                  <a:pt x="891544" y="4798571"/>
                  <a:pt x="888911" y="4799397"/>
                  <a:pt x="886433" y="4799397"/>
                </a:cubicBezTo>
                <a:cubicBezTo>
                  <a:pt x="886433" y="4799397"/>
                  <a:pt x="886433" y="4799397"/>
                  <a:pt x="887207" y="4799500"/>
                </a:cubicBezTo>
                <a:lnTo>
                  <a:pt x="888756" y="4801358"/>
                </a:lnTo>
                <a:lnTo>
                  <a:pt x="890150" y="4801255"/>
                </a:lnTo>
                <a:cubicBezTo>
                  <a:pt x="891080" y="4801255"/>
                  <a:pt x="891544" y="4801255"/>
                  <a:pt x="891854" y="4801255"/>
                </a:cubicBezTo>
                <a:cubicBezTo>
                  <a:pt x="891854" y="4802081"/>
                  <a:pt x="892009" y="4802081"/>
                  <a:pt x="892009" y="4802081"/>
                </a:cubicBezTo>
                <a:lnTo>
                  <a:pt x="889685" y="4802598"/>
                </a:lnTo>
                <a:lnTo>
                  <a:pt x="892164" y="4805695"/>
                </a:lnTo>
                <a:lnTo>
                  <a:pt x="894177" y="4805282"/>
                </a:lnTo>
                <a:lnTo>
                  <a:pt x="892938" y="4806831"/>
                </a:lnTo>
                <a:lnTo>
                  <a:pt x="894177" y="4809206"/>
                </a:lnTo>
                <a:cubicBezTo>
                  <a:pt x="894487" y="4810239"/>
                  <a:pt x="894642" y="4811065"/>
                  <a:pt x="894332" y="4811684"/>
                </a:cubicBezTo>
                <a:cubicBezTo>
                  <a:pt x="893558" y="4811684"/>
                  <a:pt x="892628" y="4811581"/>
                  <a:pt x="892009" y="4810755"/>
                </a:cubicBezTo>
                <a:cubicBezTo>
                  <a:pt x="891235" y="4809825"/>
                  <a:pt x="892009" y="4809929"/>
                  <a:pt x="891235" y="4809929"/>
                </a:cubicBezTo>
                <a:cubicBezTo>
                  <a:pt x="890460" y="4809000"/>
                  <a:pt x="890460" y="4809929"/>
                  <a:pt x="890460" y="4809929"/>
                </a:cubicBezTo>
                <a:lnTo>
                  <a:pt x="890460" y="4809619"/>
                </a:lnTo>
                <a:lnTo>
                  <a:pt x="886897" y="4811065"/>
                </a:lnTo>
                <a:cubicBezTo>
                  <a:pt x="884574" y="4811684"/>
                  <a:pt x="882406" y="4811787"/>
                  <a:pt x="881166" y="4814059"/>
                </a:cubicBezTo>
                <a:cubicBezTo>
                  <a:pt x="880082" y="4812407"/>
                  <a:pt x="880082" y="4812407"/>
                  <a:pt x="880701" y="4810548"/>
                </a:cubicBezTo>
                <a:cubicBezTo>
                  <a:pt x="881476" y="4810548"/>
                  <a:pt x="881321" y="4809619"/>
                  <a:pt x="882251" y="4810445"/>
                </a:cubicBezTo>
                <a:cubicBezTo>
                  <a:pt x="883025" y="4809103"/>
                  <a:pt x="885039" y="4807657"/>
                  <a:pt x="887362" y="4806624"/>
                </a:cubicBezTo>
                <a:lnTo>
                  <a:pt x="887826" y="4806521"/>
                </a:lnTo>
                <a:lnTo>
                  <a:pt x="886278" y="4805592"/>
                </a:lnTo>
                <a:cubicBezTo>
                  <a:pt x="885503" y="4805282"/>
                  <a:pt x="885039" y="4804973"/>
                  <a:pt x="884264" y="4804559"/>
                </a:cubicBezTo>
                <a:lnTo>
                  <a:pt x="884109" y="4804456"/>
                </a:lnTo>
                <a:lnTo>
                  <a:pt x="883645" y="4804663"/>
                </a:lnTo>
                <a:cubicBezTo>
                  <a:pt x="882560" y="4804869"/>
                  <a:pt x="881631" y="4804869"/>
                  <a:pt x="880392" y="4804456"/>
                </a:cubicBezTo>
                <a:cubicBezTo>
                  <a:pt x="880392" y="4804456"/>
                  <a:pt x="880392" y="4804456"/>
                  <a:pt x="881321" y="4804456"/>
                </a:cubicBezTo>
                <a:cubicBezTo>
                  <a:pt x="881321" y="4804456"/>
                  <a:pt x="880392" y="4804456"/>
                  <a:pt x="880392" y="4803630"/>
                </a:cubicBezTo>
                <a:lnTo>
                  <a:pt x="883025" y="4802804"/>
                </a:lnTo>
                <a:lnTo>
                  <a:pt x="882715" y="4802288"/>
                </a:lnTo>
                <a:cubicBezTo>
                  <a:pt x="882406" y="4801565"/>
                  <a:pt x="881940" y="4800636"/>
                  <a:pt x="881321" y="4799293"/>
                </a:cubicBezTo>
                <a:cubicBezTo>
                  <a:pt x="882251" y="4797641"/>
                  <a:pt x="882251" y="4797641"/>
                  <a:pt x="883180" y="4797641"/>
                </a:cubicBezTo>
                <a:cubicBezTo>
                  <a:pt x="882251" y="4797641"/>
                  <a:pt x="882406" y="4796712"/>
                  <a:pt x="881631" y="4795886"/>
                </a:cubicBezTo>
                <a:cubicBezTo>
                  <a:pt x="877758" y="4793201"/>
                  <a:pt x="879772" y="4788865"/>
                  <a:pt x="883645" y="4784631"/>
                </a:cubicBezTo>
                <a:cubicBezTo>
                  <a:pt x="884419" y="4785457"/>
                  <a:pt x="886433" y="4782979"/>
                  <a:pt x="888136" y="4782049"/>
                </a:cubicBezTo>
                <a:close/>
                <a:moveTo>
                  <a:pt x="5890658" y="4781861"/>
                </a:moveTo>
                <a:cubicBezTo>
                  <a:pt x="5891742" y="4780209"/>
                  <a:pt x="5893910" y="4783719"/>
                  <a:pt x="5894840" y="4781964"/>
                </a:cubicBezTo>
                <a:cubicBezTo>
                  <a:pt x="5897783" y="4785578"/>
                  <a:pt x="5902430" y="4781241"/>
                  <a:pt x="5907696" y="4785681"/>
                </a:cubicBezTo>
                <a:cubicBezTo>
                  <a:pt x="5905683" y="4786301"/>
                  <a:pt x="5903669" y="4786611"/>
                  <a:pt x="5901810" y="4786611"/>
                </a:cubicBezTo>
                <a:cubicBezTo>
                  <a:pt x="5896544" y="4786714"/>
                  <a:pt x="5892517" y="4784959"/>
                  <a:pt x="5888644" y="4786198"/>
                </a:cubicBezTo>
                <a:cubicBezTo>
                  <a:pt x="5888644" y="4786198"/>
                  <a:pt x="5888644" y="4786301"/>
                  <a:pt x="5887095" y="4784442"/>
                </a:cubicBezTo>
                <a:cubicBezTo>
                  <a:pt x="5886321" y="4784442"/>
                  <a:pt x="5886321" y="4784442"/>
                  <a:pt x="5886321" y="4784442"/>
                </a:cubicBezTo>
                <a:cubicBezTo>
                  <a:pt x="5885856" y="4784442"/>
                  <a:pt x="5885701" y="4784029"/>
                  <a:pt x="5885701" y="4783616"/>
                </a:cubicBezTo>
                <a:cubicBezTo>
                  <a:pt x="5885701" y="4783100"/>
                  <a:pt x="5885701" y="4782687"/>
                  <a:pt x="5885701" y="4782687"/>
                </a:cubicBezTo>
                <a:cubicBezTo>
                  <a:pt x="5886630" y="4780932"/>
                  <a:pt x="5889109" y="4781861"/>
                  <a:pt x="5890658" y="4781861"/>
                </a:cubicBezTo>
                <a:close/>
                <a:moveTo>
                  <a:pt x="1659985" y="4780914"/>
                </a:moveTo>
                <a:cubicBezTo>
                  <a:pt x="1661843" y="4781017"/>
                  <a:pt x="1664167" y="4782359"/>
                  <a:pt x="1664476" y="4783495"/>
                </a:cubicBezTo>
                <a:cubicBezTo>
                  <a:pt x="1664942" y="4784734"/>
                  <a:pt x="1664476" y="4785457"/>
                  <a:pt x="1664476" y="4785457"/>
                </a:cubicBezTo>
                <a:cubicBezTo>
                  <a:pt x="1663237" y="4786180"/>
                  <a:pt x="1661843" y="4786593"/>
                  <a:pt x="1660759" y="4786386"/>
                </a:cubicBezTo>
                <a:cubicBezTo>
                  <a:pt x="1659520" y="4786180"/>
                  <a:pt x="1658436" y="4785354"/>
                  <a:pt x="1657816" y="4783599"/>
                </a:cubicBezTo>
                <a:cubicBezTo>
                  <a:pt x="1657506" y="4782359"/>
                  <a:pt x="1657042" y="4781223"/>
                  <a:pt x="1657816" y="4781637"/>
                </a:cubicBezTo>
                <a:cubicBezTo>
                  <a:pt x="1658126" y="4780914"/>
                  <a:pt x="1658900" y="4781223"/>
                  <a:pt x="1659985" y="4780914"/>
                </a:cubicBezTo>
                <a:close/>
                <a:moveTo>
                  <a:pt x="6633230" y="4780828"/>
                </a:moveTo>
                <a:cubicBezTo>
                  <a:pt x="6637258" y="4782480"/>
                  <a:pt x="6637413" y="4788160"/>
                  <a:pt x="6634469" y="4789811"/>
                </a:cubicBezTo>
                <a:cubicBezTo>
                  <a:pt x="6628119" y="4788779"/>
                  <a:pt x="6629978" y="4781654"/>
                  <a:pt x="6633230" y="4780828"/>
                </a:cubicBezTo>
                <a:close/>
                <a:moveTo>
                  <a:pt x="6072041" y="4780828"/>
                </a:moveTo>
                <a:cubicBezTo>
                  <a:pt x="6073435" y="4784029"/>
                  <a:pt x="6071577" y="4786714"/>
                  <a:pt x="6069098" y="4787437"/>
                </a:cubicBezTo>
                <a:cubicBezTo>
                  <a:pt x="6068324" y="4787643"/>
                  <a:pt x="6067394" y="4787540"/>
                  <a:pt x="6066465" y="4787230"/>
                </a:cubicBezTo>
                <a:cubicBezTo>
                  <a:pt x="6062592" y="4781654"/>
                  <a:pt x="6069098" y="4778970"/>
                  <a:pt x="6072041" y="4780828"/>
                </a:cubicBezTo>
                <a:close/>
                <a:moveTo>
                  <a:pt x="1706454" y="4780707"/>
                </a:moveTo>
                <a:lnTo>
                  <a:pt x="1705989" y="4780914"/>
                </a:lnTo>
                <a:lnTo>
                  <a:pt x="1707073" y="4782153"/>
                </a:lnTo>
                <a:lnTo>
                  <a:pt x="1707693" y="4782256"/>
                </a:lnTo>
                <a:close/>
                <a:moveTo>
                  <a:pt x="692502" y="4780398"/>
                </a:moveTo>
                <a:cubicBezTo>
                  <a:pt x="697150" y="4781017"/>
                  <a:pt x="699163" y="4787419"/>
                  <a:pt x="695910" y="4790104"/>
                </a:cubicBezTo>
                <a:cubicBezTo>
                  <a:pt x="695291" y="4790000"/>
                  <a:pt x="694516" y="4790104"/>
                  <a:pt x="693742" y="4790000"/>
                </a:cubicBezTo>
                <a:cubicBezTo>
                  <a:pt x="692967" y="4790000"/>
                  <a:pt x="692038" y="4789897"/>
                  <a:pt x="691108" y="4789484"/>
                </a:cubicBezTo>
                <a:cubicBezTo>
                  <a:pt x="689095" y="4785457"/>
                  <a:pt x="689869" y="4782463"/>
                  <a:pt x="692502" y="4780398"/>
                </a:cubicBezTo>
                <a:close/>
                <a:moveTo>
                  <a:pt x="6254044" y="4779279"/>
                </a:moveTo>
                <a:cubicBezTo>
                  <a:pt x="6255903" y="4778763"/>
                  <a:pt x="6258227" y="4779383"/>
                  <a:pt x="6260860" y="4781551"/>
                </a:cubicBezTo>
                <a:cubicBezTo>
                  <a:pt x="6258382" y="4786817"/>
                  <a:pt x="6260550" y="4790741"/>
                  <a:pt x="6256368" y="4793735"/>
                </a:cubicBezTo>
                <a:cubicBezTo>
                  <a:pt x="6247694" y="4791257"/>
                  <a:pt x="6248623" y="4780622"/>
                  <a:pt x="6254044" y="4779279"/>
                </a:cubicBezTo>
                <a:close/>
                <a:moveTo>
                  <a:pt x="1472095" y="4778539"/>
                </a:moveTo>
                <a:cubicBezTo>
                  <a:pt x="1473025" y="4779468"/>
                  <a:pt x="1473954" y="4780398"/>
                  <a:pt x="1473954" y="4782049"/>
                </a:cubicBezTo>
                <a:cubicBezTo>
                  <a:pt x="1472405" y="4783805"/>
                  <a:pt x="1469772" y="4782772"/>
                  <a:pt x="1468997" y="4783599"/>
                </a:cubicBezTo>
                <a:cubicBezTo>
                  <a:pt x="1468997" y="4782669"/>
                  <a:pt x="1468843" y="4781017"/>
                  <a:pt x="1467139" y="4779984"/>
                </a:cubicBezTo>
                <a:cubicBezTo>
                  <a:pt x="1468843" y="4778333"/>
                  <a:pt x="1470392" y="4776783"/>
                  <a:pt x="1472095" y="4778539"/>
                </a:cubicBezTo>
                <a:close/>
                <a:moveTo>
                  <a:pt x="6445187" y="4777524"/>
                </a:moveTo>
                <a:cubicBezTo>
                  <a:pt x="6447975" y="4776698"/>
                  <a:pt x="6449833" y="4777214"/>
                  <a:pt x="6451073" y="4778350"/>
                </a:cubicBezTo>
                <a:cubicBezTo>
                  <a:pt x="6454945" y="4781861"/>
                  <a:pt x="6452157" y="4791567"/>
                  <a:pt x="6444876" y="4789915"/>
                </a:cubicBezTo>
                <a:cubicBezTo>
                  <a:pt x="6444412" y="4789295"/>
                  <a:pt x="6444102" y="4788263"/>
                  <a:pt x="6443792" y="4787230"/>
                </a:cubicBezTo>
                <a:cubicBezTo>
                  <a:pt x="6443328" y="4783926"/>
                  <a:pt x="6444102" y="4779383"/>
                  <a:pt x="6445187" y="4777524"/>
                </a:cubicBezTo>
                <a:close/>
                <a:moveTo>
                  <a:pt x="6040133" y="4777421"/>
                </a:moveTo>
                <a:cubicBezTo>
                  <a:pt x="6041836" y="4776595"/>
                  <a:pt x="6044160" y="4779279"/>
                  <a:pt x="6045709" y="4780209"/>
                </a:cubicBezTo>
                <a:cubicBezTo>
                  <a:pt x="6044779" y="4781035"/>
                  <a:pt x="6043850" y="4781861"/>
                  <a:pt x="6044624" y="4781861"/>
                </a:cubicBezTo>
                <a:cubicBezTo>
                  <a:pt x="6043695" y="4782790"/>
                  <a:pt x="6042921" y="4783203"/>
                  <a:pt x="6042146" y="4783306"/>
                </a:cubicBezTo>
                <a:cubicBezTo>
                  <a:pt x="6041217" y="4783306"/>
                  <a:pt x="6040443" y="4783100"/>
                  <a:pt x="6039668" y="4782687"/>
                </a:cubicBezTo>
                <a:cubicBezTo>
                  <a:pt x="6038893" y="4781758"/>
                  <a:pt x="6039048" y="4780002"/>
                  <a:pt x="6040133" y="4777421"/>
                </a:cubicBezTo>
                <a:close/>
                <a:moveTo>
                  <a:pt x="1603758" y="4775957"/>
                </a:moveTo>
                <a:cubicBezTo>
                  <a:pt x="1604841" y="4776164"/>
                  <a:pt x="1605771" y="4776783"/>
                  <a:pt x="1606236" y="4778333"/>
                </a:cubicBezTo>
                <a:cubicBezTo>
                  <a:pt x="1607475" y="4782979"/>
                  <a:pt x="1603758" y="4785044"/>
                  <a:pt x="1599111" y="4786800"/>
                </a:cubicBezTo>
                <a:cubicBezTo>
                  <a:pt x="1598181" y="4785250"/>
                  <a:pt x="1596632" y="4784631"/>
                  <a:pt x="1595703" y="4783082"/>
                </a:cubicBezTo>
                <a:lnTo>
                  <a:pt x="1595703" y="4782979"/>
                </a:lnTo>
                <a:lnTo>
                  <a:pt x="1593069" y="4782772"/>
                </a:lnTo>
                <a:cubicBezTo>
                  <a:pt x="1593534" y="4779262"/>
                  <a:pt x="1597252" y="4776887"/>
                  <a:pt x="1600505" y="4776680"/>
                </a:cubicBezTo>
                <a:lnTo>
                  <a:pt x="1601589" y="4776887"/>
                </a:lnTo>
                <a:close/>
                <a:moveTo>
                  <a:pt x="1361965" y="4775854"/>
                </a:moveTo>
                <a:cubicBezTo>
                  <a:pt x="1365527" y="4777300"/>
                  <a:pt x="1368005" y="4778126"/>
                  <a:pt x="1370483" y="4778849"/>
                </a:cubicBezTo>
                <a:lnTo>
                  <a:pt x="1376680" y="4781533"/>
                </a:lnTo>
                <a:lnTo>
                  <a:pt x="1376989" y="4779881"/>
                </a:lnTo>
                <a:cubicBezTo>
                  <a:pt x="1380242" y="4781120"/>
                  <a:pt x="1383030" y="4781223"/>
                  <a:pt x="1385044" y="4781740"/>
                </a:cubicBezTo>
                <a:lnTo>
                  <a:pt x="1386283" y="4782463"/>
                </a:lnTo>
                <a:lnTo>
                  <a:pt x="1388761" y="4782566"/>
                </a:lnTo>
                <a:cubicBezTo>
                  <a:pt x="1390775" y="4783288"/>
                  <a:pt x="1392634" y="4784528"/>
                  <a:pt x="1393253" y="4786283"/>
                </a:cubicBezTo>
                <a:cubicBezTo>
                  <a:pt x="1395112" y="4790310"/>
                  <a:pt x="1394803" y="4792995"/>
                  <a:pt x="1393718" y="4795370"/>
                </a:cubicBezTo>
                <a:cubicBezTo>
                  <a:pt x="1393718" y="4795370"/>
                  <a:pt x="1393873" y="4795267"/>
                  <a:pt x="1394183" y="4794544"/>
                </a:cubicBezTo>
                <a:lnTo>
                  <a:pt x="1398675" y="4793408"/>
                </a:lnTo>
                <a:lnTo>
                  <a:pt x="1397436" y="4791859"/>
                </a:lnTo>
                <a:cubicBezTo>
                  <a:pt x="1398829" y="4783185"/>
                  <a:pt x="1401463" y="4784528"/>
                  <a:pt x="1405645" y="4784838"/>
                </a:cubicBezTo>
                <a:cubicBezTo>
                  <a:pt x="1405645" y="4786800"/>
                  <a:pt x="1407504" y="4788555"/>
                  <a:pt x="1406729" y="4790930"/>
                </a:cubicBezTo>
                <a:cubicBezTo>
                  <a:pt x="1406729" y="4790930"/>
                  <a:pt x="1406729" y="4791239"/>
                  <a:pt x="1406419" y="4791652"/>
                </a:cubicBezTo>
                <a:lnTo>
                  <a:pt x="1405955" y="4792169"/>
                </a:lnTo>
                <a:lnTo>
                  <a:pt x="1408279" y="4792891"/>
                </a:lnTo>
                <a:cubicBezTo>
                  <a:pt x="1407814" y="4793717"/>
                  <a:pt x="1407504" y="4794440"/>
                  <a:pt x="1406419" y="4794853"/>
                </a:cubicBezTo>
                <a:cubicBezTo>
                  <a:pt x="1405335" y="4795163"/>
                  <a:pt x="1405645" y="4794337"/>
                  <a:pt x="1405335" y="4795163"/>
                </a:cubicBezTo>
                <a:cubicBezTo>
                  <a:pt x="1404251" y="4795473"/>
                  <a:pt x="1405025" y="4795886"/>
                  <a:pt x="1405025" y="4795886"/>
                </a:cubicBezTo>
                <a:cubicBezTo>
                  <a:pt x="1405025" y="4795886"/>
                  <a:pt x="1404251" y="4795473"/>
                  <a:pt x="1404251" y="4795473"/>
                </a:cubicBezTo>
                <a:cubicBezTo>
                  <a:pt x="1404251" y="4795473"/>
                  <a:pt x="1404251" y="4795473"/>
                  <a:pt x="1401928" y="4796196"/>
                </a:cubicBezTo>
                <a:lnTo>
                  <a:pt x="1400379" y="4797228"/>
                </a:lnTo>
                <a:lnTo>
                  <a:pt x="1400844" y="4797538"/>
                </a:lnTo>
                <a:cubicBezTo>
                  <a:pt x="1401618" y="4798467"/>
                  <a:pt x="1402392" y="4799500"/>
                  <a:pt x="1401463" y="4800223"/>
                </a:cubicBezTo>
                <a:cubicBezTo>
                  <a:pt x="1400998" y="4800636"/>
                  <a:pt x="1400844" y="4800945"/>
                  <a:pt x="1400533" y="4801152"/>
                </a:cubicBezTo>
                <a:cubicBezTo>
                  <a:pt x="1400224" y="4801255"/>
                  <a:pt x="1399759" y="4801255"/>
                  <a:pt x="1398985" y="4800636"/>
                </a:cubicBezTo>
                <a:lnTo>
                  <a:pt x="1396816" y="4799603"/>
                </a:lnTo>
                <a:lnTo>
                  <a:pt x="1394957" y="4799810"/>
                </a:lnTo>
                <a:cubicBezTo>
                  <a:pt x="1394028" y="4799810"/>
                  <a:pt x="1393099" y="4799810"/>
                  <a:pt x="1391704" y="4799913"/>
                </a:cubicBezTo>
                <a:cubicBezTo>
                  <a:pt x="1390465" y="4798261"/>
                  <a:pt x="1390465" y="4798261"/>
                  <a:pt x="1390930" y="4797538"/>
                </a:cubicBezTo>
                <a:cubicBezTo>
                  <a:pt x="1390465" y="4798261"/>
                  <a:pt x="1389691" y="4797848"/>
                  <a:pt x="1388607" y="4798157"/>
                </a:cubicBezTo>
                <a:cubicBezTo>
                  <a:pt x="1384579" y="4800636"/>
                  <a:pt x="1381481" y="4797022"/>
                  <a:pt x="1379158" y="4791859"/>
                </a:cubicBezTo>
                <a:cubicBezTo>
                  <a:pt x="1380242" y="4791549"/>
                  <a:pt x="1378693" y="4788658"/>
                  <a:pt x="1378693" y="4786696"/>
                </a:cubicBezTo>
                <a:lnTo>
                  <a:pt x="1379003" y="4786180"/>
                </a:lnTo>
                <a:lnTo>
                  <a:pt x="1375595" y="4785354"/>
                </a:lnTo>
                <a:lnTo>
                  <a:pt x="1376214" y="4783702"/>
                </a:lnTo>
                <a:lnTo>
                  <a:pt x="1374511" y="4784115"/>
                </a:lnTo>
                <a:cubicBezTo>
                  <a:pt x="1371413" y="4783908"/>
                  <a:pt x="1366456" y="4782049"/>
                  <a:pt x="1366456" y="4781430"/>
                </a:cubicBezTo>
                <a:cubicBezTo>
                  <a:pt x="1365682" y="4781327"/>
                  <a:pt x="1365682" y="4780501"/>
                  <a:pt x="1364753" y="4780398"/>
                </a:cubicBezTo>
                <a:cubicBezTo>
                  <a:pt x="1364753" y="4780398"/>
                  <a:pt x="1363978" y="4780398"/>
                  <a:pt x="1363049" y="4779468"/>
                </a:cubicBezTo>
                <a:cubicBezTo>
                  <a:pt x="1362119" y="4778539"/>
                  <a:pt x="1361190" y="4777610"/>
                  <a:pt x="1361965" y="4775854"/>
                </a:cubicBezTo>
                <a:close/>
                <a:moveTo>
                  <a:pt x="1000591" y="4775854"/>
                </a:moveTo>
                <a:cubicBezTo>
                  <a:pt x="1006787" y="4773582"/>
                  <a:pt x="1010350" y="4784321"/>
                  <a:pt x="1011898" y="4786386"/>
                </a:cubicBezTo>
                <a:cubicBezTo>
                  <a:pt x="1011898" y="4786386"/>
                  <a:pt x="1012518" y="4786800"/>
                  <a:pt x="1012828" y="4788039"/>
                </a:cubicBezTo>
                <a:cubicBezTo>
                  <a:pt x="1013602" y="4789690"/>
                  <a:pt x="1011124" y="4789071"/>
                  <a:pt x="1011434" y="4790310"/>
                </a:cubicBezTo>
                <a:cubicBezTo>
                  <a:pt x="1006942" y="4785354"/>
                  <a:pt x="1001211" y="4783805"/>
                  <a:pt x="1001211" y="4783805"/>
                </a:cubicBezTo>
                <a:cubicBezTo>
                  <a:pt x="1000437" y="4782153"/>
                  <a:pt x="1000746" y="4781430"/>
                  <a:pt x="1000282" y="4782153"/>
                </a:cubicBezTo>
                <a:cubicBezTo>
                  <a:pt x="999972" y="4779778"/>
                  <a:pt x="998887" y="4776990"/>
                  <a:pt x="1000591" y="4775854"/>
                </a:cubicBezTo>
                <a:close/>
                <a:moveTo>
                  <a:pt x="1719930" y="4775544"/>
                </a:moveTo>
                <a:cubicBezTo>
                  <a:pt x="1721788" y="4775648"/>
                  <a:pt x="1722873" y="4777197"/>
                  <a:pt x="1724112" y="4778849"/>
                </a:cubicBezTo>
                <a:cubicBezTo>
                  <a:pt x="1724886" y="4780294"/>
                  <a:pt x="1724886" y="4781327"/>
                  <a:pt x="1724421" y="4782049"/>
                </a:cubicBezTo>
                <a:cubicBezTo>
                  <a:pt x="1723957" y="4782772"/>
                  <a:pt x="1723028" y="4783185"/>
                  <a:pt x="1721943" y="4783495"/>
                </a:cubicBezTo>
                <a:cubicBezTo>
                  <a:pt x="1719775" y="4784218"/>
                  <a:pt x="1718536" y="4782566"/>
                  <a:pt x="1718536" y="4782566"/>
                </a:cubicBezTo>
                <a:cubicBezTo>
                  <a:pt x="1716987" y="4779778"/>
                  <a:pt x="1717297" y="4776990"/>
                  <a:pt x="1719930" y="4775544"/>
                </a:cubicBezTo>
                <a:close/>
                <a:moveTo>
                  <a:pt x="1520888" y="4775544"/>
                </a:moveTo>
                <a:cubicBezTo>
                  <a:pt x="1524295" y="4777506"/>
                  <a:pt x="1526774" y="4778436"/>
                  <a:pt x="1530182" y="4780398"/>
                </a:cubicBezTo>
                <a:cubicBezTo>
                  <a:pt x="1531111" y="4781223"/>
                  <a:pt x="1532970" y="4784838"/>
                  <a:pt x="1532040" y="4785664"/>
                </a:cubicBezTo>
                <a:cubicBezTo>
                  <a:pt x="1531266" y="4786489"/>
                  <a:pt x="1530491" y="4786489"/>
                  <a:pt x="1529717" y="4786386"/>
                </a:cubicBezTo>
                <a:cubicBezTo>
                  <a:pt x="1528013" y="4785457"/>
                  <a:pt x="1526155" y="4784528"/>
                  <a:pt x="1524450" y="4783599"/>
                </a:cubicBezTo>
                <a:cubicBezTo>
                  <a:pt x="1521817" y="4780810"/>
                  <a:pt x="1519184" y="4778126"/>
                  <a:pt x="1520888" y="4775544"/>
                </a:cubicBezTo>
                <a:close/>
                <a:moveTo>
                  <a:pt x="1047370" y="4774821"/>
                </a:moveTo>
                <a:cubicBezTo>
                  <a:pt x="1050623" y="4778745"/>
                  <a:pt x="1047525" y="4785973"/>
                  <a:pt x="1041639" y="4785664"/>
                </a:cubicBezTo>
                <a:cubicBezTo>
                  <a:pt x="1041329" y="4783805"/>
                  <a:pt x="1040245" y="4782463"/>
                  <a:pt x="1039935" y="4780604"/>
                </a:cubicBezTo>
                <a:cubicBezTo>
                  <a:pt x="1042413" y="4778333"/>
                  <a:pt x="1042258" y="4773996"/>
                  <a:pt x="1047370" y="4774821"/>
                </a:cubicBezTo>
                <a:close/>
                <a:moveTo>
                  <a:pt x="738817" y="4774615"/>
                </a:moveTo>
                <a:cubicBezTo>
                  <a:pt x="742844" y="4776887"/>
                  <a:pt x="741450" y="4783495"/>
                  <a:pt x="737267" y="4784734"/>
                </a:cubicBezTo>
                <a:cubicBezTo>
                  <a:pt x="736183" y="4784115"/>
                  <a:pt x="734324" y="4783805"/>
                  <a:pt x="733240" y="4782463"/>
                </a:cubicBezTo>
                <a:cubicBezTo>
                  <a:pt x="733240" y="4778022"/>
                  <a:pt x="735409" y="4775648"/>
                  <a:pt x="738817" y="4774615"/>
                </a:cubicBezTo>
                <a:close/>
                <a:moveTo>
                  <a:pt x="6159093" y="4774323"/>
                </a:moveTo>
                <a:cubicBezTo>
                  <a:pt x="6158473" y="4775149"/>
                  <a:pt x="6158473" y="4775149"/>
                  <a:pt x="6159248" y="4775975"/>
                </a:cubicBezTo>
                <a:cubicBezTo>
                  <a:pt x="6159248" y="4775975"/>
                  <a:pt x="6159403" y="4775975"/>
                  <a:pt x="6160177" y="4775872"/>
                </a:cubicBezTo>
                <a:cubicBezTo>
                  <a:pt x="6160332" y="4776698"/>
                  <a:pt x="6159403" y="4776801"/>
                  <a:pt x="6159558" y="4777628"/>
                </a:cubicBezTo>
                <a:cubicBezTo>
                  <a:pt x="6159558" y="4777628"/>
                  <a:pt x="6158783" y="4777628"/>
                  <a:pt x="6158783" y="4777628"/>
                </a:cubicBezTo>
                <a:cubicBezTo>
                  <a:pt x="6158783" y="4778040"/>
                  <a:pt x="6158783" y="4778040"/>
                  <a:pt x="6158628" y="4777834"/>
                </a:cubicBezTo>
                <a:cubicBezTo>
                  <a:pt x="6158318" y="4777628"/>
                  <a:pt x="6157854" y="4777318"/>
                  <a:pt x="6157079" y="4776905"/>
                </a:cubicBezTo>
                <a:cubicBezTo>
                  <a:pt x="6156150" y="4776182"/>
                  <a:pt x="6155375" y="4776182"/>
                  <a:pt x="6155995" y="4775356"/>
                </a:cubicBezTo>
                <a:cubicBezTo>
                  <a:pt x="6156770" y="4774427"/>
                  <a:pt x="6156770" y="4774427"/>
                  <a:pt x="6159093" y="4774323"/>
                </a:cubicBezTo>
                <a:close/>
                <a:moveTo>
                  <a:pt x="6378116" y="4774116"/>
                </a:moveTo>
                <a:cubicBezTo>
                  <a:pt x="6381834" y="4771432"/>
                  <a:pt x="6387255" y="4775356"/>
                  <a:pt x="6386636" y="4779693"/>
                </a:cubicBezTo>
                <a:cubicBezTo>
                  <a:pt x="6385706" y="4780415"/>
                  <a:pt x="6384622" y="4781964"/>
                  <a:pt x="6382918" y="4782480"/>
                </a:cubicBezTo>
                <a:cubicBezTo>
                  <a:pt x="6378891" y="4780622"/>
                  <a:pt x="6377652" y="4777628"/>
                  <a:pt x="6378116" y="4774116"/>
                </a:cubicBezTo>
                <a:close/>
                <a:moveTo>
                  <a:pt x="6335559" y="4773626"/>
                </a:moveTo>
                <a:cubicBezTo>
                  <a:pt x="6337495" y="4773962"/>
                  <a:pt x="6339237" y="4775304"/>
                  <a:pt x="6340631" y="4777214"/>
                </a:cubicBezTo>
                <a:cubicBezTo>
                  <a:pt x="6345433" y="4783719"/>
                  <a:pt x="6346827" y="4796420"/>
                  <a:pt x="6339083" y="4799208"/>
                </a:cubicBezTo>
                <a:cubicBezTo>
                  <a:pt x="6336449" y="4796730"/>
                  <a:pt x="6333971" y="4793632"/>
                  <a:pt x="6332267" y="4789915"/>
                </a:cubicBezTo>
                <a:cubicBezTo>
                  <a:pt x="6330408" y="4786095"/>
                  <a:pt x="6329324" y="4781654"/>
                  <a:pt x="6329324" y="4776078"/>
                </a:cubicBezTo>
                <a:cubicBezTo>
                  <a:pt x="6331493" y="4773962"/>
                  <a:pt x="6333622" y="4773291"/>
                  <a:pt x="6335559" y="4773626"/>
                </a:cubicBezTo>
                <a:close/>
                <a:moveTo>
                  <a:pt x="1569370" y="4773376"/>
                </a:moveTo>
                <a:cubicBezTo>
                  <a:pt x="1570145" y="4772447"/>
                  <a:pt x="1570145" y="4773376"/>
                  <a:pt x="1570919" y="4773479"/>
                </a:cubicBezTo>
                <a:cubicBezTo>
                  <a:pt x="1570454" y="4773892"/>
                  <a:pt x="1570300" y="4774202"/>
                  <a:pt x="1570145" y="4774202"/>
                </a:cubicBezTo>
                <a:cubicBezTo>
                  <a:pt x="1569990" y="4774202"/>
                  <a:pt x="1569835" y="4773892"/>
                  <a:pt x="1569370" y="4773376"/>
                </a:cubicBezTo>
                <a:close/>
                <a:moveTo>
                  <a:pt x="1424542" y="4773273"/>
                </a:moveTo>
                <a:cubicBezTo>
                  <a:pt x="1425317" y="4777093"/>
                  <a:pt x="1423923" y="4779572"/>
                  <a:pt x="1420360" y="4779365"/>
                </a:cubicBezTo>
                <a:cubicBezTo>
                  <a:pt x="1420670" y="4776887"/>
                  <a:pt x="1418967" y="4776164"/>
                  <a:pt x="1419276" y="4773686"/>
                </a:cubicBezTo>
                <a:cubicBezTo>
                  <a:pt x="1421600" y="4773789"/>
                  <a:pt x="1423458" y="4773273"/>
                  <a:pt x="1424542" y="4773273"/>
                </a:cubicBezTo>
                <a:close/>
                <a:moveTo>
                  <a:pt x="1682755" y="4773066"/>
                </a:moveTo>
                <a:cubicBezTo>
                  <a:pt x="1686162" y="4773170"/>
                  <a:pt x="1691429" y="4778642"/>
                  <a:pt x="1692358" y="4781327"/>
                </a:cubicBezTo>
                <a:cubicBezTo>
                  <a:pt x="1691119" y="4783908"/>
                  <a:pt x="1689570" y="4784941"/>
                  <a:pt x="1687866" y="4785147"/>
                </a:cubicBezTo>
                <a:cubicBezTo>
                  <a:pt x="1682599" y="4785560"/>
                  <a:pt x="1676714" y="4777403"/>
                  <a:pt x="1682755" y="4773066"/>
                </a:cubicBezTo>
                <a:close/>
                <a:moveTo>
                  <a:pt x="1698244" y="4772963"/>
                </a:moveTo>
                <a:cubicBezTo>
                  <a:pt x="1699019" y="4773996"/>
                  <a:pt x="1699019" y="4774821"/>
                  <a:pt x="1699793" y="4775854"/>
                </a:cubicBezTo>
                <a:cubicBezTo>
                  <a:pt x="1700568" y="4775957"/>
                  <a:pt x="1702272" y="4776267"/>
                  <a:pt x="1703046" y="4777300"/>
                </a:cubicBezTo>
                <a:lnTo>
                  <a:pt x="1703201" y="4777403"/>
                </a:lnTo>
                <a:lnTo>
                  <a:pt x="1705059" y="4777919"/>
                </a:lnTo>
                <a:lnTo>
                  <a:pt x="1704750" y="4777197"/>
                </a:lnTo>
                <a:cubicBezTo>
                  <a:pt x="1706144" y="4773686"/>
                  <a:pt x="1708467" y="4774409"/>
                  <a:pt x="1712185" y="4774409"/>
                </a:cubicBezTo>
                <a:cubicBezTo>
                  <a:pt x="1711720" y="4775648"/>
                  <a:pt x="1714973" y="4776783"/>
                  <a:pt x="1716057" y="4777197"/>
                </a:cubicBezTo>
                <a:cubicBezTo>
                  <a:pt x="1715128" y="4779572"/>
                  <a:pt x="1718690" y="4781533"/>
                  <a:pt x="1717297" y="4785044"/>
                </a:cubicBezTo>
                <a:cubicBezTo>
                  <a:pt x="1715747" y="4785870"/>
                  <a:pt x="1714973" y="4786180"/>
                  <a:pt x="1712960" y="4786180"/>
                </a:cubicBezTo>
                <a:lnTo>
                  <a:pt x="1709397" y="4784011"/>
                </a:lnTo>
                <a:lnTo>
                  <a:pt x="1709397" y="4785147"/>
                </a:lnTo>
                <a:cubicBezTo>
                  <a:pt x="1708932" y="4784734"/>
                  <a:pt x="1707848" y="4783599"/>
                  <a:pt x="1706764" y="4782566"/>
                </a:cubicBezTo>
                <a:lnTo>
                  <a:pt x="1705524" y="4781223"/>
                </a:lnTo>
                <a:lnTo>
                  <a:pt x="1704905" y="4781430"/>
                </a:lnTo>
                <a:cubicBezTo>
                  <a:pt x="1703665" y="4781637"/>
                  <a:pt x="1702426" y="4781017"/>
                  <a:pt x="1702117" y="4779984"/>
                </a:cubicBezTo>
                <a:lnTo>
                  <a:pt x="1702426" y="4778436"/>
                </a:lnTo>
                <a:lnTo>
                  <a:pt x="1702117" y="4777919"/>
                </a:lnTo>
                <a:cubicBezTo>
                  <a:pt x="1701342" y="4776990"/>
                  <a:pt x="1697315" y="4774512"/>
                  <a:pt x="1696540" y="4775235"/>
                </a:cubicBezTo>
                <a:cubicBezTo>
                  <a:pt x="1696540" y="4774409"/>
                  <a:pt x="1695766" y="4773479"/>
                  <a:pt x="1695766" y="4773479"/>
                </a:cubicBezTo>
                <a:cubicBezTo>
                  <a:pt x="1696696" y="4772756"/>
                  <a:pt x="1697470" y="4772860"/>
                  <a:pt x="1698244" y="4772963"/>
                </a:cubicBezTo>
                <a:close/>
                <a:moveTo>
                  <a:pt x="1573862" y="4772550"/>
                </a:moveTo>
                <a:cubicBezTo>
                  <a:pt x="1575566" y="4772653"/>
                  <a:pt x="1578044" y="4775338"/>
                  <a:pt x="1579748" y="4777197"/>
                </a:cubicBezTo>
                <a:cubicBezTo>
                  <a:pt x="1579903" y="4779778"/>
                  <a:pt x="1578354" y="4782359"/>
                  <a:pt x="1576031" y="4784011"/>
                </a:cubicBezTo>
                <a:cubicBezTo>
                  <a:pt x="1572623" y="4780294"/>
                  <a:pt x="1572469" y="4776887"/>
                  <a:pt x="1573862" y="4772550"/>
                </a:cubicBezTo>
                <a:close/>
                <a:moveTo>
                  <a:pt x="1106385" y="4771518"/>
                </a:moveTo>
                <a:cubicBezTo>
                  <a:pt x="1110839" y="4772782"/>
                  <a:pt x="1114905" y="4775493"/>
                  <a:pt x="1117848" y="4779572"/>
                </a:cubicBezTo>
                <a:cubicBezTo>
                  <a:pt x="1117228" y="4780604"/>
                  <a:pt x="1116454" y="4781740"/>
                  <a:pt x="1117538" y="4782256"/>
                </a:cubicBezTo>
                <a:cubicBezTo>
                  <a:pt x="1113665" y="4789587"/>
                  <a:pt x="1105611" y="4793717"/>
                  <a:pt x="1097866" y="4794234"/>
                </a:cubicBezTo>
                <a:cubicBezTo>
                  <a:pt x="1090121" y="4794750"/>
                  <a:pt x="1082531" y="4791756"/>
                  <a:pt x="1079433" y="4784734"/>
                </a:cubicBezTo>
                <a:cubicBezTo>
                  <a:pt x="1082531" y="4778229"/>
                  <a:pt x="1087333" y="4774099"/>
                  <a:pt x="1092599" y="4772137"/>
                </a:cubicBezTo>
                <a:cubicBezTo>
                  <a:pt x="1097092" y="4770433"/>
                  <a:pt x="1101932" y="4770253"/>
                  <a:pt x="1106385" y="4771518"/>
                </a:cubicBezTo>
                <a:close/>
                <a:moveTo>
                  <a:pt x="784821" y="4771208"/>
                </a:moveTo>
                <a:cubicBezTo>
                  <a:pt x="787299" y="4775441"/>
                  <a:pt x="782652" y="4782463"/>
                  <a:pt x="779399" y="4785973"/>
                </a:cubicBezTo>
                <a:cubicBezTo>
                  <a:pt x="777231" y="4785147"/>
                  <a:pt x="775992" y="4786696"/>
                  <a:pt x="773823" y="4785870"/>
                </a:cubicBezTo>
                <a:cubicBezTo>
                  <a:pt x="776766" y="4778952"/>
                  <a:pt x="779244" y="4771208"/>
                  <a:pt x="784821" y="4771208"/>
                </a:cubicBezTo>
                <a:close/>
                <a:moveTo>
                  <a:pt x="6368668" y="4770709"/>
                </a:moveTo>
                <a:cubicBezTo>
                  <a:pt x="6369752" y="4771019"/>
                  <a:pt x="6370991" y="4771329"/>
                  <a:pt x="6370681" y="4772465"/>
                </a:cubicBezTo>
                <a:cubicBezTo>
                  <a:pt x="6370527" y="4773704"/>
                  <a:pt x="6370991" y="4774427"/>
                  <a:pt x="6369132" y="4774530"/>
                </a:cubicBezTo>
                <a:cubicBezTo>
                  <a:pt x="6368513" y="4774943"/>
                  <a:pt x="6367429" y="4774633"/>
                  <a:pt x="6366654" y="4775149"/>
                </a:cubicBezTo>
                <a:cubicBezTo>
                  <a:pt x="6366654" y="4775149"/>
                  <a:pt x="6366189" y="4774736"/>
                  <a:pt x="6365725" y="4774116"/>
                </a:cubicBezTo>
                <a:cubicBezTo>
                  <a:pt x="6365105" y="4773497"/>
                  <a:pt x="6364641" y="4772774"/>
                  <a:pt x="6364795" y="4772155"/>
                </a:cubicBezTo>
                <a:cubicBezTo>
                  <a:pt x="6364486" y="4770193"/>
                  <a:pt x="6367893" y="4771122"/>
                  <a:pt x="6368668" y="4770709"/>
                </a:cubicBezTo>
                <a:close/>
                <a:moveTo>
                  <a:pt x="6308103" y="4769780"/>
                </a:moveTo>
                <a:cubicBezTo>
                  <a:pt x="6310891" y="4772361"/>
                  <a:pt x="6313680" y="4774839"/>
                  <a:pt x="6316003" y="4777937"/>
                </a:cubicBezTo>
                <a:cubicBezTo>
                  <a:pt x="6318326" y="4780932"/>
                  <a:pt x="6320185" y="4784545"/>
                  <a:pt x="6320805" y="4789605"/>
                </a:cubicBezTo>
                <a:cubicBezTo>
                  <a:pt x="6315848" y="4789708"/>
                  <a:pt x="6312595" y="4786404"/>
                  <a:pt x="6310737" y="4782274"/>
                </a:cubicBezTo>
                <a:cubicBezTo>
                  <a:pt x="6308723" y="4778144"/>
                  <a:pt x="6308103" y="4773187"/>
                  <a:pt x="6308103" y="4769780"/>
                </a:cubicBezTo>
                <a:close/>
                <a:moveTo>
                  <a:pt x="1530337" y="4769762"/>
                </a:moveTo>
                <a:cubicBezTo>
                  <a:pt x="1532660" y="4769143"/>
                  <a:pt x="1533589" y="4770691"/>
                  <a:pt x="1533589" y="4770691"/>
                </a:cubicBezTo>
                <a:cubicBezTo>
                  <a:pt x="1534518" y="4773582"/>
                  <a:pt x="1533744" y="4776267"/>
                  <a:pt x="1530956" y="4777713"/>
                </a:cubicBezTo>
                <a:cubicBezTo>
                  <a:pt x="1529098" y="4777610"/>
                  <a:pt x="1528323" y="4775957"/>
                  <a:pt x="1527394" y="4774305"/>
                </a:cubicBezTo>
                <a:cubicBezTo>
                  <a:pt x="1526929" y="4772963"/>
                  <a:pt x="1527083" y="4771931"/>
                  <a:pt x="1527549" y="4771208"/>
                </a:cubicBezTo>
                <a:cubicBezTo>
                  <a:pt x="1528168" y="4770588"/>
                  <a:pt x="1529098" y="4770072"/>
                  <a:pt x="1530337" y="4769762"/>
                </a:cubicBezTo>
                <a:close/>
                <a:moveTo>
                  <a:pt x="1587958" y="4768213"/>
                </a:moveTo>
                <a:cubicBezTo>
                  <a:pt x="1590746" y="4766871"/>
                  <a:pt x="1593689" y="4766665"/>
                  <a:pt x="1594309" y="4770175"/>
                </a:cubicBezTo>
                <a:cubicBezTo>
                  <a:pt x="1594464" y="4771311"/>
                  <a:pt x="1594618" y="4772550"/>
                  <a:pt x="1593999" y="4772137"/>
                </a:cubicBezTo>
                <a:cubicBezTo>
                  <a:pt x="1593534" y="4772860"/>
                  <a:pt x="1592760" y="4772447"/>
                  <a:pt x="1591675" y="4772756"/>
                </a:cubicBezTo>
                <a:cubicBezTo>
                  <a:pt x="1589817" y="4772653"/>
                  <a:pt x="1587803" y="4771311"/>
                  <a:pt x="1587649" y="4770175"/>
                </a:cubicBezTo>
                <a:cubicBezTo>
                  <a:pt x="1587494" y="4768936"/>
                  <a:pt x="1587958" y="4768213"/>
                  <a:pt x="1587958" y="4768213"/>
                </a:cubicBezTo>
                <a:close/>
                <a:moveTo>
                  <a:pt x="1136900" y="4766354"/>
                </a:moveTo>
                <a:cubicBezTo>
                  <a:pt x="1144025" y="4773582"/>
                  <a:pt x="1141702" y="4781223"/>
                  <a:pt x="1139533" y="4788865"/>
                </a:cubicBezTo>
                <a:cubicBezTo>
                  <a:pt x="1137674" y="4787935"/>
                  <a:pt x="1136280" y="4786489"/>
                  <a:pt x="1135351" y="4784631"/>
                </a:cubicBezTo>
                <a:lnTo>
                  <a:pt x="1135197" y="4783805"/>
                </a:lnTo>
                <a:lnTo>
                  <a:pt x="1135041" y="4785147"/>
                </a:lnTo>
                <a:cubicBezTo>
                  <a:pt x="1135041" y="4792582"/>
                  <a:pt x="1137519" y="4799810"/>
                  <a:pt x="1133028" y="4804663"/>
                </a:cubicBezTo>
                <a:cubicBezTo>
                  <a:pt x="1132253" y="4801565"/>
                  <a:pt x="1130549" y="4797951"/>
                  <a:pt x="1129000" y="4794440"/>
                </a:cubicBezTo>
                <a:cubicBezTo>
                  <a:pt x="1127452" y="4791033"/>
                  <a:pt x="1126212" y="4787522"/>
                  <a:pt x="1126367" y="4784631"/>
                </a:cubicBezTo>
                <a:lnTo>
                  <a:pt x="1127452" y="4781637"/>
                </a:lnTo>
                <a:lnTo>
                  <a:pt x="1126986" y="4781327"/>
                </a:lnTo>
                <a:cubicBezTo>
                  <a:pt x="1128845" y="4779675"/>
                  <a:pt x="1128226" y="4777919"/>
                  <a:pt x="1130240" y="4776267"/>
                </a:cubicBezTo>
                <a:lnTo>
                  <a:pt x="1132408" y="4778642"/>
                </a:lnTo>
                <a:lnTo>
                  <a:pt x="1134112" y="4778229"/>
                </a:lnTo>
                <a:lnTo>
                  <a:pt x="1134886" y="4772137"/>
                </a:lnTo>
                <a:cubicBezTo>
                  <a:pt x="1135351" y="4770072"/>
                  <a:pt x="1136126" y="4768007"/>
                  <a:pt x="1136900" y="4766354"/>
                </a:cubicBezTo>
                <a:close/>
                <a:moveTo>
                  <a:pt x="6455255" y="4766269"/>
                </a:moveTo>
                <a:cubicBezTo>
                  <a:pt x="6455255" y="4766269"/>
                  <a:pt x="6455874" y="4766785"/>
                  <a:pt x="6455874" y="4766785"/>
                </a:cubicBezTo>
                <a:cubicBezTo>
                  <a:pt x="6455565" y="4767508"/>
                  <a:pt x="6456029" y="4766785"/>
                  <a:pt x="6457113" y="4766372"/>
                </a:cubicBezTo>
                <a:cubicBezTo>
                  <a:pt x="6458198" y="4768025"/>
                  <a:pt x="6458972" y="4768438"/>
                  <a:pt x="6459437" y="4769677"/>
                </a:cubicBezTo>
                <a:cubicBezTo>
                  <a:pt x="6459747" y="4770193"/>
                  <a:pt x="6459747" y="4771019"/>
                  <a:pt x="6459747" y="4771742"/>
                </a:cubicBezTo>
                <a:cubicBezTo>
                  <a:pt x="6459592" y="4772361"/>
                  <a:pt x="6459437" y="4772981"/>
                  <a:pt x="6458817" y="4773084"/>
                </a:cubicBezTo>
                <a:cubicBezTo>
                  <a:pt x="6458043" y="4772671"/>
                  <a:pt x="6457733" y="4773394"/>
                  <a:pt x="6456959" y="4772981"/>
                </a:cubicBezTo>
                <a:cubicBezTo>
                  <a:pt x="6455100" y="4772877"/>
                  <a:pt x="6454325" y="4772465"/>
                  <a:pt x="6453861" y="4771226"/>
                </a:cubicBezTo>
                <a:cubicBezTo>
                  <a:pt x="6453086" y="4770812"/>
                  <a:pt x="6453396" y="4770090"/>
                  <a:pt x="6453086" y="4768850"/>
                </a:cubicBezTo>
                <a:cubicBezTo>
                  <a:pt x="6453396" y="4768128"/>
                  <a:pt x="6454480" y="4767818"/>
                  <a:pt x="6454480" y="4767818"/>
                </a:cubicBezTo>
                <a:cubicBezTo>
                  <a:pt x="6455565" y="4767405"/>
                  <a:pt x="6455565" y="4767508"/>
                  <a:pt x="6455255" y="4766269"/>
                </a:cubicBezTo>
                <a:close/>
                <a:moveTo>
                  <a:pt x="1417766" y="4766213"/>
                </a:moveTo>
                <a:cubicBezTo>
                  <a:pt x="1419973" y="4767000"/>
                  <a:pt x="1421367" y="4769349"/>
                  <a:pt x="1418811" y="4772447"/>
                </a:cubicBezTo>
                <a:cubicBezTo>
                  <a:pt x="1415558" y="4771311"/>
                  <a:pt x="1413235" y="4770485"/>
                  <a:pt x="1411841" y="4769349"/>
                </a:cubicBezTo>
                <a:cubicBezTo>
                  <a:pt x="1412538" y="4766200"/>
                  <a:pt x="1415558" y="4765425"/>
                  <a:pt x="1417766" y="4766213"/>
                </a:cubicBezTo>
                <a:close/>
                <a:moveTo>
                  <a:pt x="6422262" y="4766166"/>
                </a:moveTo>
                <a:cubicBezTo>
                  <a:pt x="6424585" y="4771742"/>
                  <a:pt x="6422727" y="4783410"/>
                  <a:pt x="6414517" y="4783100"/>
                </a:cubicBezTo>
                <a:cubicBezTo>
                  <a:pt x="6416841" y="4777628"/>
                  <a:pt x="6418234" y="4770916"/>
                  <a:pt x="6422262" y="4766166"/>
                </a:cubicBezTo>
                <a:close/>
                <a:moveTo>
                  <a:pt x="1833779" y="4765942"/>
                </a:moveTo>
                <a:cubicBezTo>
                  <a:pt x="1834708" y="4766768"/>
                  <a:pt x="1834708" y="4766768"/>
                  <a:pt x="1833933" y="4766768"/>
                </a:cubicBezTo>
                <a:cubicBezTo>
                  <a:pt x="1833314" y="4768626"/>
                  <a:pt x="1833159" y="4767800"/>
                  <a:pt x="1832384" y="4768626"/>
                </a:cubicBezTo>
                <a:cubicBezTo>
                  <a:pt x="1831765" y="4769555"/>
                  <a:pt x="1830681" y="4773892"/>
                  <a:pt x="1831610" y="4774718"/>
                </a:cubicBezTo>
                <a:cubicBezTo>
                  <a:pt x="1830835" y="4774821"/>
                  <a:pt x="1830061" y="4775751"/>
                  <a:pt x="1830061" y="4775751"/>
                </a:cubicBezTo>
                <a:cubicBezTo>
                  <a:pt x="1829132" y="4774925"/>
                  <a:pt x="1828977" y="4774099"/>
                  <a:pt x="1828822" y="4773170"/>
                </a:cubicBezTo>
                <a:cubicBezTo>
                  <a:pt x="1829596" y="4772240"/>
                  <a:pt x="1830525" y="4772240"/>
                  <a:pt x="1831145" y="4771311"/>
                </a:cubicBezTo>
                <a:cubicBezTo>
                  <a:pt x="1830990" y="4770485"/>
                  <a:pt x="1830835" y="4768730"/>
                  <a:pt x="1831455" y="4767800"/>
                </a:cubicBezTo>
                <a:cubicBezTo>
                  <a:pt x="1832229" y="4766974"/>
                  <a:pt x="1833779" y="4765942"/>
                  <a:pt x="1833779" y="4765942"/>
                </a:cubicBezTo>
                <a:close/>
                <a:moveTo>
                  <a:pt x="6294627" y="4764824"/>
                </a:moveTo>
                <a:cubicBezTo>
                  <a:pt x="6295557" y="4765546"/>
                  <a:pt x="6296641" y="4766579"/>
                  <a:pt x="6297725" y="4768128"/>
                </a:cubicBezTo>
                <a:cubicBezTo>
                  <a:pt x="6295866" y="4772981"/>
                  <a:pt x="6294318" y="4781654"/>
                  <a:pt x="6287502" y="4782068"/>
                </a:cubicBezTo>
                <a:cubicBezTo>
                  <a:pt x="6286418" y="4782171"/>
                  <a:pt x="6285333" y="4782068"/>
                  <a:pt x="6284094" y="4781758"/>
                </a:cubicBezTo>
                <a:cubicBezTo>
                  <a:pt x="6280067" y="4773084"/>
                  <a:pt x="6287192" y="4759764"/>
                  <a:pt x="6294627" y="4764824"/>
                </a:cubicBezTo>
                <a:close/>
                <a:moveTo>
                  <a:pt x="1729998" y="4764703"/>
                </a:moveTo>
                <a:lnTo>
                  <a:pt x="1731392" y="4769969"/>
                </a:lnTo>
                <a:lnTo>
                  <a:pt x="1732941" y="4770381"/>
                </a:lnTo>
                <a:cubicBezTo>
                  <a:pt x="1734954" y="4771517"/>
                  <a:pt x="1736658" y="4773892"/>
                  <a:pt x="1736503" y="4776887"/>
                </a:cubicBezTo>
                <a:lnTo>
                  <a:pt x="1733251" y="4778126"/>
                </a:lnTo>
                <a:lnTo>
                  <a:pt x="1733406" y="4783805"/>
                </a:lnTo>
                <a:cubicBezTo>
                  <a:pt x="1733096" y="4786283"/>
                  <a:pt x="1732476" y="4788968"/>
                  <a:pt x="1731237" y="4791859"/>
                </a:cubicBezTo>
                <a:cubicBezTo>
                  <a:pt x="1729379" y="4792169"/>
                  <a:pt x="1726900" y="4794234"/>
                  <a:pt x="1724886" y="4793717"/>
                </a:cubicBezTo>
                <a:cubicBezTo>
                  <a:pt x="1724267" y="4793511"/>
                  <a:pt x="1723647" y="4793098"/>
                  <a:pt x="1723028" y="4792272"/>
                </a:cubicBezTo>
                <a:cubicBezTo>
                  <a:pt x="1726900" y="4787625"/>
                  <a:pt x="1726435" y="4782256"/>
                  <a:pt x="1726125" y="4777300"/>
                </a:cubicBezTo>
                <a:lnTo>
                  <a:pt x="1726280" y="4772240"/>
                </a:lnTo>
                <a:lnTo>
                  <a:pt x="1726125" y="4770691"/>
                </a:lnTo>
                <a:lnTo>
                  <a:pt x="1726280" y="4770588"/>
                </a:lnTo>
                <a:lnTo>
                  <a:pt x="1726280" y="4770278"/>
                </a:lnTo>
                <a:cubicBezTo>
                  <a:pt x="1726745" y="4768110"/>
                  <a:pt x="1727830" y="4766251"/>
                  <a:pt x="1729998" y="4764703"/>
                </a:cubicBezTo>
                <a:close/>
                <a:moveTo>
                  <a:pt x="1179806" y="4764599"/>
                </a:moveTo>
                <a:cubicBezTo>
                  <a:pt x="1180736" y="4762844"/>
                  <a:pt x="1181355" y="4765425"/>
                  <a:pt x="1182285" y="4764599"/>
                </a:cubicBezTo>
                <a:cubicBezTo>
                  <a:pt x="1179806" y="4771414"/>
                  <a:pt x="1180890" y="4777506"/>
                  <a:pt x="1180890" y="4777506"/>
                </a:cubicBezTo>
                <a:cubicBezTo>
                  <a:pt x="1179961" y="4779262"/>
                  <a:pt x="1179187" y="4779158"/>
                  <a:pt x="1179961" y="4779158"/>
                </a:cubicBezTo>
                <a:cubicBezTo>
                  <a:pt x="1178102" y="4780914"/>
                  <a:pt x="1176243" y="4783392"/>
                  <a:pt x="1174540" y="4782566"/>
                </a:cubicBezTo>
                <a:cubicBezTo>
                  <a:pt x="1170048" y="4778126"/>
                  <a:pt x="1177638" y="4768833"/>
                  <a:pt x="1178722" y="4766251"/>
                </a:cubicBezTo>
                <a:cubicBezTo>
                  <a:pt x="1178722" y="4766251"/>
                  <a:pt x="1178877" y="4765425"/>
                  <a:pt x="1179806" y="4764599"/>
                </a:cubicBezTo>
                <a:close/>
                <a:moveTo>
                  <a:pt x="1698244" y="4764083"/>
                </a:moveTo>
                <a:cubicBezTo>
                  <a:pt x="1699793" y="4765529"/>
                  <a:pt x="1700413" y="4767077"/>
                  <a:pt x="1700258" y="4768523"/>
                </a:cubicBezTo>
                <a:lnTo>
                  <a:pt x="1699793" y="4769659"/>
                </a:lnTo>
                <a:lnTo>
                  <a:pt x="1699484" y="4770588"/>
                </a:lnTo>
                <a:lnTo>
                  <a:pt x="1698554" y="4772756"/>
                </a:lnTo>
                <a:cubicBezTo>
                  <a:pt x="1696076" y="4772550"/>
                  <a:pt x="1694836" y="4771105"/>
                  <a:pt x="1694836" y="4769349"/>
                </a:cubicBezTo>
                <a:cubicBezTo>
                  <a:pt x="1694681" y="4767697"/>
                  <a:pt x="1695920" y="4765632"/>
                  <a:pt x="1698244" y="4764083"/>
                </a:cubicBezTo>
                <a:close/>
                <a:moveTo>
                  <a:pt x="929494" y="4763876"/>
                </a:moveTo>
                <a:cubicBezTo>
                  <a:pt x="935070" y="4764083"/>
                  <a:pt x="936619" y="4768420"/>
                  <a:pt x="935535" y="4773479"/>
                </a:cubicBezTo>
                <a:cubicBezTo>
                  <a:pt x="934296" y="4779881"/>
                  <a:pt x="929184" y="4787212"/>
                  <a:pt x="924072" y="4788968"/>
                </a:cubicBezTo>
                <a:lnTo>
                  <a:pt x="923608" y="4788968"/>
                </a:lnTo>
                <a:lnTo>
                  <a:pt x="923298" y="4795783"/>
                </a:lnTo>
                <a:cubicBezTo>
                  <a:pt x="922988" y="4798261"/>
                  <a:pt x="922214" y="4800842"/>
                  <a:pt x="920975" y="4803320"/>
                </a:cubicBezTo>
                <a:cubicBezTo>
                  <a:pt x="919735" y="4803320"/>
                  <a:pt x="918651" y="4803217"/>
                  <a:pt x="918496" y="4804456"/>
                </a:cubicBezTo>
                <a:cubicBezTo>
                  <a:pt x="910751" y="4804766"/>
                  <a:pt x="904246" y="4799500"/>
                  <a:pt x="900838" y="4792582"/>
                </a:cubicBezTo>
                <a:cubicBezTo>
                  <a:pt x="898360" y="4787316"/>
                  <a:pt x="897585" y="4781223"/>
                  <a:pt x="899444" y="4775648"/>
                </a:cubicBezTo>
                <a:lnTo>
                  <a:pt x="899754" y="4774821"/>
                </a:lnTo>
                <a:lnTo>
                  <a:pt x="898670" y="4775854"/>
                </a:lnTo>
                <a:cubicBezTo>
                  <a:pt x="897585" y="4776164"/>
                  <a:pt x="897585" y="4776164"/>
                  <a:pt x="896811" y="4775751"/>
                </a:cubicBezTo>
                <a:cubicBezTo>
                  <a:pt x="894952" y="4775648"/>
                  <a:pt x="893713" y="4775957"/>
                  <a:pt x="892938" y="4774305"/>
                </a:cubicBezTo>
                <a:cubicBezTo>
                  <a:pt x="892319" y="4772860"/>
                  <a:pt x="892628" y="4771931"/>
                  <a:pt x="893248" y="4771105"/>
                </a:cubicBezTo>
                <a:cubicBezTo>
                  <a:pt x="893868" y="4770278"/>
                  <a:pt x="894952" y="4769555"/>
                  <a:pt x="896347" y="4768833"/>
                </a:cubicBezTo>
                <a:cubicBezTo>
                  <a:pt x="899289" y="4767387"/>
                  <a:pt x="900838" y="4769555"/>
                  <a:pt x="903161" y="4768833"/>
                </a:cubicBezTo>
                <a:lnTo>
                  <a:pt x="902851" y="4770381"/>
                </a:lnTo>
                <a:lnTo>
                  <a:pt x="911216" y="4771414"/>
                </a:lnTo>
                <a:cubicBezTo>
                  <a:pt x="913849" y="4772343"/>
                  <a:pt x="916018" y="4773892"/>
                  <a:pt x="917876" y="4775854"/>
                </a:cubicBezTo>
                <a:lnTo>
                  <a:pt x="920665" y="4779881"/>
                </a:lnTo>
                <a:lnTo>
                  <a:pt x="921439" y="4776267"/>
                </a:lnTo>
                <a:cubicBezTo>
                  <a:pt x="922988" y="4772137"/>
                  <a:pt x="925622" y="4767904"/>
                  <a:pt x="929494" y="4763876"/>
                </a:cubicBezTo>
                <a:close/>
                <a:moveTo>
                  <a:pt x="1846790" y="4763360"/>
                </a:moveTo>
                <a:cubicBezTo>
                  <a:pt x="1845551" y="4767697"/>
                  <a:pt x="1845705" y="4773789"/>
                  <a:pt x="1842917" y="4777197"/>
                </a:cubicBezTo>
                <a:cubicBezTo>
                  <a:pt x="1843072" y="4775441"/>
                  <a:pt x="1844931" y="4765942"/>
                  <a:pt x="1846790" y="4763360"/>
                </a:cubicBezTo>
                <a:close/>
                <a:moveTo>
                  <a:pt x="5953081" y="4762759"/>
                </a:moveTo>
                <a:lnTo>
                  <a:pt x="5956643" y="4767405"/>
                </a:lnTo>
                <a:lnTo>
                  <a:pt x="5958812" y="4765753"/>
                </a:lnTo>
                <a:cubicBezTo>
                  <a:pt x="5960671" y="4764927"/>
                  <a:pt x="5962839" y="4764617"/>
                  <a:pt x="5964233" y="4765546"/>
                </a:cubicBezTo>
                <a:cubicBezTo>
                  <a:pt x="5965163" y="4766063"/>
                  <a:pt x="5965782" y="4767199"/>
                  <a:pt x="5965628" y="4768850"/>
                </a:cubicBezTo>
                <a:cubicBezTo>
                  <a:pt x="5965318" y="4771329"/>
                  <a:pt x="5964233" y="4772671"/>
                  <a:pt x="5962530" y="4773394"/>
                </a:cubicBezTo>
                <a:lnTo>
                  <a:pt x="5961445" y="4773497"/>
                </a:lnTo>
                <a:lnTo>
                  <a:pt x="5961445" y="4773704"/>
                </a:lnTo>
                <a:cubicBezTo>
                  <a:pt x="5958038" y="4775149"/>
                  <a:pt x="5956024" y="4778350"/>
                  <a:pt x="5954165" y="4779899"/>
                </a:cubicBezTo>
                <a:cubicBezTo>
                  <a:pt x="5949364" y="4779486"/>
                  <a:pt x="5946421" y="4777524"/>
                  <a:pt x="5943787" y="4772258"/>
                </a:cubicBezTo>
                <a:cubicBezTo>
                  <a:pt x="5947814" y="4765753"/>
                  <a:pt x="5945956" y="4767302"/>
                  <a:pt x="5953081" y="4762759"/>
                </a:cubicBezTo>
                <a:close/>
                <a:moveTo>
                  <a:pt x="6327465" y="4762242"/>
                </a:moveTo>
                <a:cubicBezTo>
                  <a:pt x="6329324" y="4760590"/>
                  <a:pt x="6331648" y="4762345"/>
                  <a:pt x="6331493" y="4763275"/>
                </a:cubicBezTo>
                <a:cubicBezTo>
                  <a:pt x="6330563" y="4764101"/>
                  <a:pt x="6328859" y="4764101"/>
                  <a:pt x="6327930" y="4764927"/>
                </a:cubicBezTo>
                <a:cubicBezTo>
                  <a:pt x="6328085" y="4763998"/>
                  <a:pt x="6327310" y="4763172"/>
                  <a:pt x="6327465" y="4762242"/>
                </a:cubicBezTo>
                <a:close/>
                <a:moveTo>
                  <a:pt x="1641552" y="4762121"/>
                </a:moveTo>
                <a:cubicBezTo>
                  <a:pt x="1643256" y="4760985"/>
                  <a:pt x="1644030" y="4761398"/>
                  <a:pt x="1644185" y="4762638"/>
                </a:cubicBezTo>
                <a:cubicBezTo>
                  <a:pt x="1644185" y="4762638"/>
                  <a:pt x="1644340" y="4763876"/>
                  <a:pt x="1644495" y="4765115"/>
                </a:cubicBezTo>
                <a:cubicBezTo>
                  <a:pt x="1644650" y="4766251"/>
                  <a:pt x="1645425" y="4766768"/>
                  <a:pt x="1645425" y="4766768"/>
                </a:cubicBezTo>
                <a:cubicBezTo>
                  <a:pt x="1645579" y="4768007"/>
                  <a:pt x="1644960" y="4768730"/>
                  <a:pt x="1643876" y="4769039"/>
                </a:cubicBezTo>
                <a:cubicBezTo>
                  <a:pt x="1643876" y="4769039"/>
                  <a:pt x="1642946" y="4767387"/>
                  <a:pt x="1642946" y="4767387"/>
                </a:cubicBezTo>
                <a:cubicBezTo>
                  <a:pt x="1642636" y="4764909"/>
                  <a:pt x="1642482" y="4763773"/>
                  <a:pt x="1641552" y="4762121"/>
                </a:cubicBezTo>
                <a:close/>
                <a:moveTo>
                  <a:pt x="735254" y="4761605"/>
                </a:moveTo>
                <a:cubicBezTo>
                  <a:pt x="736957" y="4760572"/>
                  <a:pt x="737577" y="4764186"/>
                  <a:pt x="738197" y="4764599"/>
                </a:cubicBezTo>
                <a:cubicBezTo>
                  <a:pt x="738352" y="4765838"/>
                  <a:pt x="738507" y="4766974"/>
                  <a:pt x="737422" y="4767284"/>
                </a:cubicBezTo>
                <a:cubicBezTo>
                  <a:pt x="736803" y="4767490"/>
                  <a:pt x="736493" y="4767800"/>
                  <a:pt x="736028" y="4767800"/>
                </a:cubicBezTo>
                <a:cubicBezTo>
                  <a:pt x="735719" y="4767800"/>
                  <a:pt x="735409" y="4767594"/>
                  <a:pt x="734944" y="4766768"/>
                </a:cubicBezTo>
                <a:cubicBezTo>
                  <a:pt x="734170" y="4766354"/>
                  <a:pt x="734014" y="4765115"/>
                  <a:pt x="733395" y="4764703"/>
                </a:cubicBezTo>
                <a:cubicBezTo>
                  <a:pt x="733395" y="4764703"/>
                  <a:pt x="733550" y="4763980"/>
                  <a:pt x="733860" y="4763257"/>
                </a:cubicBezTo>
                <a:cubicBezTo>
                  <a:pt x="734170" y="4762534"/>
                  <a:pt x="734634" y="4761811"/>
                  <a:pt x="735254" y="4761605"/>
                </a:cubicBezTo>
                <a:close/>
                <a:moveTo>
                  <a:pt x="6274955" y="4761519"/>
                </a:moveTo>
                <a:cubicBezTo>
                  <a:pt x="6276814" y="4763275"/>
                  <a:pt x="6278518" y="4765133"/>
                  <a:pt x="6280222" y="4766889"/>
                </a:cubicBezTo>
                <a:cubicBezTo>
                  <a:pt x="6281461" y="4771329"/>
                  <a:pt x="6279138" y="4775046"/>
                  <a:pt x="6275575" y="4775872"/>
                </a:cubicBezTo>
                <a:cubicBezTo>
                  <a:pt x="6274336" y="4776182"/>
                  <a:pt x="6273097" y="4776078"/>
                  <a:pt x="6271703" y="4775666"/>
                </a:cubicBezTo>
                <a:cubicBezTo>
                  <a:pt x="6269844" y="4775046"/>
                  <a:pt x="6267985" y="4773704"/>
                  <a:pt x="6266281" y="4771535"/>
                </a:cubicBezTo>
                <a:cubicBezTo>
                  <a:pt x="6264422" y="4767095"/>
                  <a:pt x="6270773" y="4760487"/>
                  <a:pt x="6274955" y="4761519"/>
                </a:cubicBezTo>
                <a:close/>
                <a:moveTo>
                  <a:pt x="1335167" y="4761295"/>
                </a:moveTo>
                <a:cubicBezTo>
                  <a:pt x="1335012" y="4762534"/>
                  <a:pt x="1334858" y="4763670"/>
                  <a:pt x="1334703" y="4764909"/>
                </a:cubicBezTo>
                <a:cubicBezTo>
                  <a:pt x="1333309" y="4765838"/>
                  <a:pt x="1331759" y="4766354"/>
                  <a:pt x="1330366" y="4766458"/>
                </a:cubicBezTo>
                <a:cubicBezTo>
                  <a:pt x="1328971" y="4766458"/>
                  <a:pt x="1327887" y="4765942"/>
                  <a:pt x="1327113" y="4764909"/>
                </a:cubicBezTo>
                <a:cubicBezTo>
                  <a:pt x="1326648" y="4764083"/>
                  <a:pt x="1326338" y="4763050"/>
                  <a:pt x="1326338" y="4761708"/>
                </a:cubicBezTo>
                <a:cubicBezTo>
                  <a:pt x="1328352" y="4759953"/>
                  <a:pt x="1333618" y="4759437"/>
                  <a:pt x="1335167" y="4761295"/>
                </a:cubicBezTo>
                <a:close/>
                <a:moveTo>
                  <a:pt x="973794" y="4760469"/>
                </a:moveTo>
                <a:cubicBezTo>
                  <a:pt x="974724" y="4762224"/>
                  <a:pt x="973949" y="4763876"/>
                  <a:pt x="973175" y="4765529"/>
                </a:cubicBezTo>
                <a:cubicBezTo>
                  <a:pt x="972400" y="4766871"/>
                  <a:pt x="971626" y="4767284"/>
                  <a:pt x="970696" y="4767077"/>
                </a:cubicBezTo>
                <a:cubicBezTo>
                  <a:pt x="969922" y="4766974"/>
                  <a:pt x="968992" y="4766251"/>
                  <a:pt x="968063" y="4765425"/>
                </a:cubicBezTo>
                <a:cubicBezTo>
                  <a:pt x="966360" y="4763567"/>
                  <a:pt x="967134" y="4761914"/>
                  <a:pt x="967134" y="4761914"/>
                </a:cubicBezTo>
                <a:cubicBezTo>
                  <a:pt x="968682" y="4759437"/>
                  <a:pt x="971161" y="4758610"/>
                  <a:pt x="973794" y="4760469"/>
                </a:cubicBezTo>
                <a:close/>
                <a:moveTo>
                  <a:pt x="1837031" y="4760366"/>
                </a:moveTo>
                <a:cubicBezTo>
                  <a:pt x="1836412" y="4761295"/>
                  <a:pt x="1834553" y="4765942"/>
                  <a:pt x="1833468" y="4765115"/>
                </a:cubicBezTo>
                <a:cubicBezTo>
                  <a:pt x="1833468" y="4765115"/>
                  <a:pt x="1834244" y="4764186"/>
                  <a:pt x="1835017" y="4763153"/>
                </a:cubicBezTo>
                <a:cubicBezTo>
                  <a:pt x="1835637" y="4762224"/>
                  <a:pt x="1835637" y="4762224"/>
                  <a:pt x="1834708" y="4761398"/>
                </a:cubicBezTo>
                <a:cubicBezTo>
                  <a:pt x="1835483" y="4760469"/>
                  <a:pt x="1835483" y="4760469"/>
                  <a:pt x="1837031" y="4760366"/>
                </a:cubicBezTo>
                <a:close/>
                <a:moveTo>
                  <a:pt x="6125325" y="4760177"/>
                </a:moveTo>
                <a:cubicBezTo>
                  <a:pt x="6129663" y="4759764"/>
                  <a:pt x="6130902" y="4763688"/>
                  <a:pt x="6133845" y="4766682"/>
                </a:cubicBezTo>
                <a:cubicBezTo>
                  <a:pt x="6133380" y="4767405"/>
                  <a:pt x="6133535" y="4768644"/>
                  <a:pt x="6134155" y="4769057"/>
                </a:cubicBezTo>
                <a:cubicBezTo>
                  <a:pt x="6134464" y="4770296"/>
                  <a:pt x="6134619" y="4771535"/>
                  <a:pt x="6135084" y="4770709"/>
                </a:cubicBezTo>
                <a:cubicBezTo>
                  <a:pt x="6135703" y="4774323"/>
                  <a:pt x="6136478" y="4774736"/>
                  <a:pt x="6134310" y="4776595"/>
                </a:cubicBezTo>
                <a:cubicBezTo>
                  <a:pt x="6129198" y="4772361"/>
                  <a:pt x="6125016" y="4765237"/>
                  <a:pt x="6124086" y="4763688"/>
                </a:cubicBezTo>
                <a:cubicBezTo>
                  <a:pt x="6123622" y="4762862"/>
                  <a:pt x="6123622" y="4762242"/>
                  <a:pt x="6123777" y="4761726"/>
                </a:cubicBezTo>
                <a:cubicBezTo>
                  <a:pt x="6123932" y="4761210"/>
                  <a:pt x="6124551" y="4760797"/>
                  <a:pt x="6125325" y="4760177"/>
                </a:cubicBezTo>
                <a:close/>
                <a:moveTo>
                  <a:pt x="1662618" y="4759746"/>
                </a:moveTo>
                <a:cubicBezTo>
                  <a:pt x="1663702" y="4759437"/>
                  <a:pt x="1663857" y="4760572"/>
                  <a:pt x="1664632" y="4760985"/>
                </a:cubicBezTo>
                <a:cubicBezTo>
                  <a:pt x="1665406" y="4762638"/>
                  <a:pt x="1664167" y="4769039"/>
                  <a:pt x="1662928" y="4769349"/>
                </a:cubicBezTo>
                <a:cubicBezTo>
                  <a:pt x="1662153" y="4767284"/>
                  <a:pt x="1660759" y="4763670"/>
                  <a:pt x="1661224" y="4761398"/>
                </a:cubicBezTo>
                <a:cubicBezTo>
                  <a:pt x="1661379" y="4760676"/>
                  <a:pt x="1661843" y="4760056"/>
                  <a:pt x="1662618" y="4759746"/>
                </a:cubicBezTo>
                <a:close/>
                <a:moveTo>
                  <a:pt x="1045821" y="4759230"/>
                </a:moveTo>
                <a:cubicBezTo>
                  <a:pt x="1046441" y="4760159"/>
                  <a:pt x="1047990" y="4761192"/>
                  <a:pt x="1048454" y="4762947"/>
                </a:cubicBezTo>
                <a:cubicBezTo>
                  <a:pt x="1047680" y="4764393"/>
                  <a:pt x="1046750" y="4765012"/>
                  <a:pt x="1045976" y="4765012"/>
                </a:cubicBezTo>
                <a:cubicBezTo>
                  <a:pt x="1045202" y="4765012"/>
                  <a:pt x="1044582" y="4764496"/>
                  <a:pt x="1044272" y="4763773"/>
                </a:cubicBezTo>
                <a:cubicBezTo>
                  <a:pt x="1043343" y="4762328"/>
                  <a:pt x="1043652" y="4759849"/>
                  <a:pt x="1045821" y="4759230"/>
                </a:cubicBezTo>
                <a:close/>
                <a:moveTo>
                  <a:pt x="1295978" y="4757475"/>
                </a:moveTo>
                <a:cubicBezTo>
                  <a:pt x="1297527" y="4758404"/>
                  <a:pt x="1298147" y="4761192"/>
                  <a:pt x="1297218" y="4766458"/>
                </a:cubicBezTo>
                <a:lnTo>
                  <a:pt x="1296288" y="4770588"/>
                </a:lnTo>
                <a:lnTo>
                  <a:pt x="1296598" y="4770485"/>
                </a:lnTo>
                <a:cubicBezTo>
                  <a:pt x="1297682" y="4770588"/>
                  <a:pt x="1298767" y="4771001"/>
                  <a:pt x="1299851" y="4771724"/>
                </a:cubicBezTo>
                <a:lnTo>
                  <a:pt x="1302794" y="4775751"/>
                </a:lnTo>
                <a:lnTo>
                  <a:pt x="1317045" y="4775235"/>
                </a:lnTo>
                <a:cubicBezTo>
                  <a:pt x="1324014" y="4774615"/>
                  <a:pt x="1330676" y="4774099"/>
                  <a:pt x="1336871" y="4774718"/>
                </a:cubicBezTo>
                <a:lnTo>
                  <a:pt x="1331140" y="4778539"/>
                </a:lnTo>
                <a:lnTo>
                  <a:pt x="1331759" y="4779158"/>
                </a:lnTo>
                <a:cubicBezTo>
                  <a:pt x="1334858" y="4779881"/>
                  <a:pt x="1338110" y="4775854"/>
                  <a:pt x="1340589" y="4779984"/>
                </a:cubicBezTo>
                <a:cubicBezTo>
                  <a:pt x="1340744" y="4782566"/>
                  <a:pt x="1341828" y="4785250"/>
                  <a:pt x="1341053" y="4788245"/>
                </a:cubicBezTo>
                <a:cubicBezTo>
                  <a:pt x="1340744" y="4789174"/>
                  <a:pt x="1340279" y="4790207"/>
                  <a:pt x="1339504" y="4791239"/>
                </a:cubicBezTo>
                <a:cubicBezTo>
                  <a:pt x="1334548" y="4786489"/>
                  <a:pt x="1329746" y="4785147"/>
                  <a:pt x="1324479" y="4782049"/>
                </a:cubicBezTo>
                <a:lnTo>
                  <a:pt x="1324635" y="4781533"/>
                </a:lnTo>
                <a:lnTo>
                  <a:pt x="1317199" y="4783495"/>
                </a:lnTo>
                <a:lnTo>
                  <a:pt x="1312088" y="4784115"/>
                </a:lnTo>
                <a:lnTo>
                  <a:pt x="1312553" y="4784528"/>
                </a:lnTo>
                <a:cubicBezTo>
                  <a:pt x="1314566" y="4791652"/>
                  <a:pt x="1314412" y="4797435"/>
                  <a:pt x="1308060" y="4800016"/>
                </a:cubicBezTo>
                <a:cubicBezTo>
                  <a:pt x="1307750" y="4798777"/>
                  <a:pt x="1306511" y="4798983"/>
                  <a:pt x="1305427" y="4799190"/>
                </a:cubicBezTo>
                <a:cubicBezTo>
                  <a:pt x="1303878" y="4797951"/>
                  <a:pt x="1302949" y="4796196"/>
                  <a:pt x="1302639" y="4794234"/>
                </a:cubicBezTo>
                <a:lnTo>
                  <a:pt x="1302949" y="4790516"/>
                </a:lnTo>
                <a:lnTo>
                  <a:pt x="1298457" y="4790104"/>
                </a:lnTo>
                <a:cubicBezTo>
                  <a:pt x="1298147" y="4788245"/>
                  <a:pt x="1298457" y="4786696"/>
                  <a:pt x="1299076" y="4785457"/>
                </a:cubicBezTo>
                <a:lnTo>
                  <a:pt x="1299231" y="4785250"/>
                </a:lnTo>
                <a:lnTo>
                  <a:pt x="1294275" y="4785664"/>
                </a:lnTo>
                <a:cubicBezTo>
                  <a:pt x="1294585" y="4784115"/>
                  <a:pt x="1294275" y="4782876"/>
                  <a:pt x="1294275" y="4781430"/>
                </a:cubicBezTo>
                <a:lnTo>
                  <a:pt x="1294585" y="4778952"/>
                </a:lnTo>
                <a:lnTo>
                  <a:pt x="1293655" y="4778952"/>
                </a:lnTo>
                <a:cubicBezTo>
                  <a:pt x="1292571" y="4776990"/>
                  <a:pt x="1292261" y="4775338"/>
                  <a:pt x="1292261" y="4774099"/>
                </a:cubicBezTo>
                <a:lnTo>
                  <a:pt x="1292880" y="4772756"/>
                </a:lnTo>
                <a:lnTo>
                  <a:pt x="1288699" y="4773066"/>
                </a:lnTo>
                <a:cubicBezTo>
                  <a:pt x="1286839" y="4772860"/>
                  <a:pt x="1285600" y="4772240"/>
                  <a:pt x="1284826" y="4771517"/>
                </a:cubicBezTo>
                <a:lnTo>
                  <a:pt x="1283896" y="4769659"/>
                </a:lnTo>
                <a:lnTo>
                  <a:pt x="1282812" y="4771414"/>
                </a:lnTo>
                <a:cubicBezTo>
                  <a:pt x="1281883" y="4772240"/>
                  <a:pt x="1279869" y="4772963"/>
                  <a:pt x="1277856" y="4773376"/>
                </a:cubicBezTo>
                <a:cubicBezTo>
                  <a:pt x="1275842" y="4773789"/>
                  <a:pt x="1273674" y="4773789"/>
                  <a:pt x="1272589" y="4772963"/>
                </a:cubicBezTo>
                <a:cubicBezTo>
                  <a:pt x="1273518" y="4771311"/>
                  <a:pt x="1274603" y="4769555"/>
                  <a:pt x="1275533" y="4767904"/>
                </a:cubicBezTo>
                <a:cubicBezTo>
                  <a:pt x="1275533" y="4768730"/>
                  <a:pt x="1283277" y="4767181"/>
                  <a:pt x="1283277" y="4767181"/>
                </a:cubicBezTo>
                <a:lnTo>
                  <a:pt x="1284052" y="4768523"/>
                </a:lnTo>
                <a:lnTo>
                  <a:pt x="1284826" y="4764909"/>
                </a:lnTo>
                <a:cubicBezTo>
                  <a:pt x="1287304" y="4760159"/>
                  <a:pt x="1293190" y="4755513"/>
                  <a:pt x="1295978" y="4757475"/>
                </a:cubicBezTo>
                <a:close/>
                <a:moveTo>
                  <a:pt x="1847564" y="4756958"/>
                </a:moveTo>
                <a:cubicBezTo>
                  <a:pt x="1847564" y="4756958"/>
                  <a:pt x="1848339" y="4756958"/>
                  <a:pt x="1848339" y="4756958"/>
                </a:cubicBezTo>
                <a:cubicBezTo>
                  <a:pt x="1848184" y="4757991"/>
                  <a:pt x="1848184" y="4758920"/>
                  <a:pt x="1847409" y="4758920"/>
                </a:cubicBezTo>
                <a:cubicBezTo>
                  <a:pt x="1847100" y="4758920"/>
                  <a:pt x="1846790" y="4758610"/>
                  <a:pt x="1846945" y="4758301"/>
                </a:cubicBezTo>
                <a:cubicBezTo>
                  <a:pt x="1846945" y="4757887"/>
                  <a:pt x="1847254" y="4757475"/>
                  <a:pt x="1847564" y="4756958"/>
                </a:cubicBezTo>
                <a:close/>
                <a:moveTo>
                  <a:pt x="1546755" y="4756648"/>
                </a:moveTo>
                <a:cubicBezTo>
                  <a:pt x="1558063" y="4759437"/>
                  <a:pt x="1565653" y="4769555"/>
                  <a:pt x="1561935" y="4778952"/>
                </a:cubicBezTo>
                <a:cubicBezTo>
                  <a:pt x="1559612" y="4783185"/>
                  <a:pt x="1556514" y="4785147"/>
                  <a:pt x="1553261" y="4785457"/>
                </a:cubicBezTo>
                <a:cubicBezTo>
                  <a:pt x="1552177" y="4785560"/>
                  <a:pt x="1551093" y="4785457"/>
                  <a:pt x="1550008" y="4785250"/>
                </a:cubicBezTo>
                <a:lnTo>
                  <a:pt x="1546601" y="4783392"/>
                </a:lnTo>
                <a:lnTo>
                  <a:pt x="1546291" y="4783495"/>
                </a:lnTo>
                <a:cubicBezTo>
                  <a:pt x="1543348" y="4784011"/>
                  <a:pt x="1540250" y="4782772"/>
                  <a:pt x="1539320" y="4779984"/>
                </a:cubicBezTo>
                <a:lnTo>
                  <a:pt x="1540095" y="4775648"/>
                </a:lnTo>
                <a:lnTo>
                  <a:pt x="1539785" y="4766768"/>
                </a:lnTo>
                <a:cubicBezTo>
                  <a:pt x="1540715" y="4763360"/>
                  <a:pt x="1543038" y="4759849"/>
                  <a:pt x="1546755" y="4756648"/>
                </a:cubicBezTo>
                <a:close/>
                <a:moveTo>
                  <a:pt x="6053144" y="4756253"/>
                </a:moveTo>
                <a:cubicBezTo>
                  <a:pt x="6052369" y="4768747"/>
                  <a:pt x="6064606" y="4773910"/>
                  <a:pt x="6061508" y="4787540"/>
                </a:cubicBezTo>
                <a:cubicBezTo>
                  <a:pt x="6057171" y="4786920"/>
                  <a:pt x="6052524" y="4780828"/>
                  <a:pt x="6050201" y="4774013"/>
                </a:cubicBezTo>
                <a:cubicBezTo>
                  <a:pt x="6047878" y="4767199"/>
                  <a:pt x="6048032" y="4759661"/>
                  <a:pt x="6053144" y="4756253"/>
                </a:cubicBezTo>
                <a:close/>
                <a:moveTo>
                  <a:pt x="994860" y="4756132"/>
                </a:moveTo>
                <a:cubicBezTo>
                  <a:pt x="995170" y="4758507"/>
                  <a:pt x="1000591" y="4757578"/>
                  <a:pt x="1001211" y="4761192"/>
                </a:cubicBezTo>
                <a:cubicBezTo>
                  <a:pt x="1003999" y="4771621"/>
                  <a:pt x="1001211" y="4773066"/>
                  <a:pt x="995790" y="4777093"/>
                </a:cubicBezTo>
                <a:cubicBezTo>
                  <a:pt x="996255" y="4776371"/>
                  <a:pt x="995170" y="4776680"/>
                  <a:pt x="995170" y="4776680"/>
                </a:cubicBezTo>
                <a:cubicBezTo>
                  <a:pt x="992692" y="4777300"/>
                  <a:pt x="996255" y="4780707"/>
                  <a:pt x="993466" y="4782153"/>
                </a:cubicBezTo>
                <a:cubicBezTo>
                  <a:pt x="992227" y="4782566"/>
                  <a:pt x="991143" y="4782669"/>
                  <a:pt x="990058" y="4782463"/>
                </a:cubicBezTo>
                <a:cubicBezTo>
                  <a:pt x="986806" y="4781843"/>
                  <a:pt x="984172" y="4778849"/>
                  <a:pt x="982778" y="4776990"/>
                </a:cubicBezTo>
                <a:lnTo>
                  <a:pt x="982313" y="4776577"/>
                </a:lnTo>
                <a:lnTo>
                  <a:pt x="981229" y="4776061"/>
                </a:lnTo>
                <a:lnTo>
                  <a:pt x="981074" y="4776371"/>
                </a:lnTo>
                <a:lnTo>
                  <a:pt x="981074" y="4776061"/>
                </a:lnTo>
                <a:lnTo>
                  <a:pt x="979061" y="4775235"/>
                </a:lnTo>
                <a:lnTo>
                  <a:pt x="979835" y="4773789"/>
                </a:lnTo>
                <a:lnTo>
                  <a:pt x="978906" y="4771208"/>
                </a:lnTo>
                <a:cubicBezTo>
                  <a:pt x="978906" y="4770381"/>
                  <a:pt x="979216" y="4769762"/>
                  <a:pt x="980455" y="4769452"/>
                </a:cubicBezTo>
                <a:cubicBezTo>
                  <a:pt x="982159" y="4768316"/>
                  <a:pt x="983088" y="4770072"/>
                  <a:pt x="985411" y="4769349"/>
                </a:cubicBezTo>
                <a:cubicBezTo>
                  <a:pt x="987425" y="4768523"/>
                  <a:pt x="987735" y="4766045"/>
                  <a:pt x="988509" y="4763360"/>
                </a:cubicBezTo>
                <a:lnTo>
                  <a:pt x="990058" y="4760366"/>
                </a:lnTo>
                <a:lnTo>
                  <a:pt x="989129" y="4761192"/>
                </a:lnTo>
                <a:cubicBezTo>
                  <a:pt x="985566" y="4763360"/>
                  <a:pt x="979835" y="4764289"/>
                  <a:pt x="976737" y="4760056"/>
                </a:cubicBezTo>
                <a:cubicBezTo>
                  <a:pt x="979835" y="4756855"/>
                  <a:pt x="982469" y="4756029"/>
                  <a:pt x="984792" y="4756236"/>
                </a:cubicBezTo>
                <a:lnTo>
                  <a:pt x="991452" y="4758714"/>
                </a:lnTo>
                <a:close/>
                <a:moveTo>
                  <a:pt x="1862899" y="4755616"/>
                </a:moveTo>
                <a:cubicBezTo>
                  <a:pt x="1863828" y="4757165"/>
                  <a:pt x="1863828" y="4757165"/>
                  <a:pt x="1863364" y="4757991"/>
                </a:cubicBezTo>
                <a:cubicBezTo>
                  <a:pt x="1863828" y="4757165"/>
                  <a:pt x="1864448" y="4757681"/>
                  <a:pt x="1865687" y="4757371"/>
                </a:cubicBezTo>
                <a:cubicBezTo>
                  <a:pt x="1870179" y="4754790"/>
                  <a:pt x="1872502" y="4758507"/>
                  <a:pt x="1874051" y="4763670"/>
                </a:cubicBezTo>
                <a:cubicBezTo>
                  <a:pt x="1872812" y="4764083"/>
                  <a:pt x="1873896" y="4766871"/>
                  <a:pt x="1873587" y="4768833"/>
                </a:cubicBezTo>
                <a:cubicBezTo>
                  <a:pt x="1872812" y="4769969"/>
                  <a:pt x="1872193" y="4770898"/>
                  <a:pt x="1871418" y="4771621"/>
                </a:cubicBezTo>
                <a:lnTo>
                  <a:pt x="1871418" y="4771724"/>
                </a:lnTo>
                <a:lnTo>
                  <a:pt x="1871728" y="4777403"/>
                </a:lnTo>
                <a:cubicBezTo>
                  <a:pt x="1871728" y="4780088"/>
                  <a:pt x="1870953" y="4782463"/>
                  <a:pt x="1869249" y="4783805"/>
                </a:cubicBezTo>
                <a:lnTo>
                  <a:pt x="1867081" y="4784734"/>
                </a:lnTo>
                <a:lnTo>
                  <a:pt x="1868940" y="4787109"/>
                </a:lnTo>
                <a:cubicBezTo>
                  <a:pt x="1869560" y="4788348"/>
                  <a:pt x="1869714" y="4789690"/>
                  <a:pt x="1869249" y="4790620"/>
                </a:cubicBezTo>
                <a:cubicBezTo>
                  <a:pt x="1867701" y="4789690"/>
                  <a:pt x="1866926" y="4788865"/>
                  <a:pt x="1866307" y="4787935"/>
                </a:cubicBezTo>
                <a:cubicBezTo>
                  <a:pt x="1865533" y="4787419"/>
                  <a:pt x="1865068" y="4786903"/>
                  <a:pt x="1865222" y="4786386"/>
                </a:cubicBezTo>
                <a:lnTo>
                  <a:pt x="1865997" y="4785147"/>
                </a:lnTo>
                <a:lnTo>
                  <a:pt x="1865687" y="4785250"/>
                </a:lnTo>
                <a:lnTo>
                  <a:pt x="1861350" y="4785044"/>
                </a:lnTo>
                <a:lnTo>
                  <a:pt x="1861350" y="4785147"/>
                </a:lnTo>
                <a:cubicBezTo>
                  <a:pt x="1860885" y="4785354"/>
                  <a:pt x="1860421" y="4785354"/>
                  <a:pt x="1860111" y="4785354"/>
                </a:cubicBezTo>
                <a:lnTo>
                  <a:pt x="1860111" y="4785044"/>
                </a:lnTo>
                <a:lnTo>
                  <a:pt x="1860266" y="4784941"/>
                </a:lnTo>
                <a:lnTo>
                  <a:pt x="1860576" y="4783599"/>
                </a:lnTo>
                <a:lnTo>
                  <a:pt x="1861040" y="4783185"/>
                </a:lnTo>
                <a:lnTo>
                  <a:pt x="1861814" y="4781120"/>
                </a:lnTo>
                <a:lnTo>
                  <a:pt x="1861814" y="4780088"/>
                </a:lnTo>
                <a:lnTo>
                  <a:pt x="1863364" y="4777300"/>
                </a:lnTo>
                <a:lnTo>
                  <a:pt x="1864293" y="4772963"/>
                </a:lnTo>
                <a:lnTo>
                  <a:pt x="1862744" y="4772963"/>
                </a:lnTo>
                <a:cubicBezTo>
                  <a:pt x="1861814" y="4772550"/>
                  <a:pt x="1860885" y="4772034"/>
                  <a:pt x="1860266" y="4771414"/>
                </a:cubicBezTo>
                <a:lnTo>
                  <a:pt x="1859181" y="4769555"/>
                </a:lnTo>
                <a:lnTo>
                  <a:pt x="1859181" y="4771208"/>
                </a:lnTo>
                <a:cubicBezTo>
                  <a:pt x="1858407" y="4770278"/>
                  <a:pt x="1856548" y="4770898"/>
                  <a:pt x="1855774" y="4769865"/>
                </a:cubicBezTo>
                <a:cubicBezTo>
                  <a:pt x="1855774" y="4769865"/>
                  <a:pt x="1855154" y="4767077"/>
                  <a:pt x="1855154" y="4767077"/>
                </a:cubicBezTo>
                <a:cubicBezTo>
                  <a:pt x="1856083" y="4766354"/>
                  <a:pt x="1855928" y="4766354"/>
                  <a:pt x="1855928" y="4767181"/>
                </a:cubicBezTo>
                <a:lnTo>
                  <a:pt x="1858717" y="4766974"/>
                </a:lnTo>
                <a:lnTo>
                  <a:pt x="1858562" y="4763980"/>
                </a:lnTo>
                <a:lnTo>
                  <a:pt x="1859026" y="4762534"/>
                </a:lnTo>
                <a:lnTo>
                  <a:pt x="1858717" y="4761088"/>
                </a:lnTo>
                <a:lnTo>
                  <a:pt x="1853296" y="4762534"/>
                </a:lnTo>
                <a:cubicBezTo>
                  <a:pt x="1851127" y="4762947"/>
                  <a:pt x="1848958" y="4763257"/>
                  <a:pt x="1847409" y="4763153"/>
                </a:cubicBezTo>
                <a:lnTo>
                  <a:pt x="1847100" y="4763050"/>
                </a:lnTo>
                <a:lnTo>
                  <a:pt x="1846945" y="4763360"/>
                </a:lnTo>
                <a:lnTo>
                  <a:pt x="1846635" y="4763050"/>
                </a:lnTo>
                <a:lnTo>
                  <a:pt x="1845086" y="4762431"/>
                </a:lnTo>
                <a:cubicBezTo>
                  <a:pt x="1845705" y="4761708"/>
                  <a:pt x="1846170" y="4760882"/>
                  <a:pt x="1847254" y="4760572"/>
                </a:cubicBezTo>
                <a:cubicBezTo>
                  <a:pt x="1848493" y="4760263"/>
                  <a:pt x="1848029" y="4760985"/>
                  <a:pt x="1848493" y="4760263"/>
                </a:cubicBezTo>
                <a:cubicBezTo>
                  <a:pt x="1849578" y="4759849"/>
                  <a:pt x="1848958" y="4759437"/>
                  <a:pt x="1848958" y="4759437"/>
                </a:cubicBezTo>
                <a:cubicBezTo>
                  <a:pt x="1848958" y="4759437"/>
                  <a:pt x="1849578" y="4759953"/>
                  <a:pt x="1849578" y="4759953"/>
                </a:cubicBezTo>
                <a:cubicBezTo>
                  <a:pt x="1849578" y="4759953"/>
                  <a:pt x="1849578" y="4759953"/>
                  <a:pt x="1851901" y="4759230"/>
                </a:cubicBezTo>
                <a:cubicBezTo>
                  <a:pt x="1854689" y="4757887"/>
                  <a:pt x="1855309" y="4757062"/>
                  <a:pt x="1856858" y="4755926"/>
                </a:cubicBezTo>
                <a:cubicBezTo>
                  <a:pt x="1859181" y="4755306"/>
                  <a:pt x="1859956" y="4755822"/>
                  <a:pt x="1862899" y="4755616"/>
                </a:cubicBezTo>
                <a:close/>
                <a:moveTo>
                  <a:pt x="1720240" y="4755409"/>
                </a:moveTo>
                <a:cubicBezTo>
                  <a:pt x="1719620" y="4755926"/>
                  <a:pt x="1724576" y="4761708"/>
                  <a:pt x="1724576" y="4761708"/>
                </a:cubicBezTo>
                <a:cubicBezTo>
                  <a:pt x="1723802" y="4764083"/>
                  <a:pt x="1723802" y="4764083"/>
                  <a:pt x="1720859" y="4763980"/>
                </a:cubicBezTo>
                <a:cubicBezTo>
                  <a:pt x="1719775" y="4763670"/>
                  <a:pt x="1718226" y="4762431"/>
                  <a:pt x="1716987" y="4760882"/>
                </a:cubicBezTo>
                <a:cubicBezTo>
                  <a:pt x="1715747" y="4759333"/>
                  <a:pt x="1714663" y="4757475"/>
                  <a:pt x="1714818" y="4755926"/>
                </a:cubicBezTo>
                <a:cubicBezTo>
                  <a:pt x="1716677" y="4755719"/>
                  <a:pt x="1718536" y="4755616"/>
                  <a:pt x="1720240" y="4755409"/>
                </a:cubicBezTo>
                <a:close/>
                <a:moveTo>
                  <a:pt x="1488204" y="4755100"/>
                </a:moveTo>
                <a:cubicBezTo>
                  <a:pt x="1488670" y="4758197"/>
                  <a:pt x="1488979" y="4759333"/>
                  <a:pt x="1489134" y="4761295"/>
                </a:cubicBezTo>
                <a:lnTo>
                  <a:pt x="1489909" y="4762224"/>
                </a:lnTo>
                <a:lnTo>
                  <a:pt x="1490064" y="4762224"/>
                </a:lnTo>
                <a:lnTo>
                  <a:pt x="1490218" y="4762638"/>
                </a:lnTo>
                <a:lnTo>
                  <a:pt x="1490993" y="4763360"/>
                </a:lnTo>
                <a:lnTo>
                  <a:pt x="1490993" y="4763773"/>
                </a:lnTo>
                <a:lnTo>
                  <a:pt x="1492387" y="4765529"/>
                </a:lnTo>
                <a:cubicBezTo>
                  <a:pt x="1493781" y="4767077"/>
                  <a:pt x="1495330" y="4768626"/>
                  <a:pt x="1495330" y="4768626"/>
                </a:cubicBezTo>
                <a:cubicBezTo>
                  <a:pt x="1495020" y="4771001"/>
                  <a:pt x="1494865" y="4771001"/>
                  <a:pt x="1491922" y="4770691"/>
                </a:cubicBezTo>
                <a:lnTo>
                  <a:pt x="1489289" y="4768833"/>
                </a:lnTo>
                <a:lnTo>
                  <a:pt x="1488360" y="4768833"/>
                </a:lnTo>
                <a:cubicBezTo>
                  <a:pt x="1487585" y="4768523"/>
                  <a:pt x="1486966" y="4767904"/>
                  <a:pt x="1486501" y="4766768"/>
                </a:cubicBezTo>
                <a:lnTo>
                  <a:pt x="1486501" y="4765632"/>
                </a:lnTo>
                <a:lnTo>
                  <a:pt x="1484642" y="4762534"/>
                </a:lnTo>
                <a:lnTo>
                  <a:pt x="1486191" y="4762534"/>
                </a:lnTo>
                <a:lnTo>
                  <a:pt x="1487895" y="4759746"/>
                </a:lnTo>
                <a:cubicBezTo>
                  <a:pt x="1487895" y="4757784"/>
                  <a:pt x="1486811" y="4756132"/>
                  <a:pt x="1488204" y="4755100"/>
                </a:cubicBezTo>
                <a:close/>
                <a:moveTo>
                  <a:pt x="6227402" y="4755014"/>
                </a:moveTo>
                <a:cubicBezTo>
                  <a:pt x="6229416" y="4756357"/>
                  <a:pt x="6230036" y="4757596"/>
                  <a:pt x="6230190" y="4758835"/>
                </a:cubicBezTo>
                <a:lnTo>
                  <a:pt x="6229106" y="4762242"/>
                </a:lnTo>
                <a:lnTo>
                  <a:pt x="6229726" y="4762139"/>
                </a:lnTo>
                <a:cubicBezTo>
                  <a:pt x="6229881" y="4762139"/>
                  <a:pt x="6229726" y="4762345"/>
                  <a:pt x="6229571" y="4762759"/>
                </a:cubicBezTo>
                <a:cubicBezTo>
                  <a:pt x="6231429" y="4762862"/>
                  <a:pt x="6232049" y="4763275"/>
                  <a:pt x="6232824" y="4763791"/>
                </a:cubicBezTo>
                <a:cubicBezTo>
                  <a:pt x="6232979" y="4765030"/>
                  <a:pt x="6232049" y="4766476"/>
                  <a:pt x="6230345" y="4767611"/>
                </a:cubicBezTo>
                <a:cubicBezTo>
                  <a:pt x="6230190" y="4766372"/>
                  <a:pt x="6228177" y="4766166"/>
                  <a:pt x="6228022" y="4765030"/>
                </a:cubicBezTo>
                <a:cubicBezTo>
                  <a:pt x="6228022" y="4765030"/>
                  <a:pt x="6228177" y="4764307"/>
                  <a:pt x="6228486" y="4763688"/>
                </a:cubicBezTo>
                <a:lnTo>
                  <a:pt x="6228796" y="4762345"/>
                </a:lnTo>
                <a:lnTo>
                  <a:pt x="6227402" y="4761623"/>
                </a:lnTo>
                <a:cubicBezTo>
                  <a:pt x="6225698" y="4761313"/>
                  <a:pt x="6224305" y="4762242"/>
                  <a:pt x="6223375" y="4759351"/>
                </a:cubicBezTo>
                <a:cubicBezTo>
                  <a:pt x="6223685" y="4757699"/>
                  <a:pt x="6224769" y="4756150"/>
                  <a:pt x="6227402" y="4755014"/>
                </a:cubicBezTo>
                <a:close/>
                <a:moveTo>
                  <a:pt x="1422683" y="4754893"/>
                </a:moveTo>
                <a:cubicBezTo>
                  <a:pt x="1425162" y="4756958"/>
                  <a:pt x="1423304" y="4759230"/>
                  <a:pt x="1422219" y="4762534"/>
                </a:cubicBezTo>
                <a:cubicBezTo>
                  <a:pt x="1421444" y="4761605"/>
                  <a:pt x="1420515" y="4762328"/>
                  <a:pt x="1419586" y="4763050"/>
                </a:cubicBezTo>
                <a:cubicBezTo>
                  <a:pt x="1418502" y="4761502"/>
                  <a:pt x="1416333" y="4759333"/>
                  <a:pt x="1416953" y="4757165"/>
                </a:cubicBezTo>
                <a:cubicBezTo>
                  <a:pt x="1417108" y="4756442"/>
                  <a:pt x="1417572" y="4755822"/>
                  <a:pt x="1418502" y="4755100"/>
                </a:cubicBezTo>
                <a:cubicBezTo>
                  <a:pt x="1418502" y="4754171"/>
                  <a:pt x="1421909" y="4753861"/>
                  <a:pt x="1422683" y="4754893"/>
                </a:cubicBezTo>
                <a:close/>
                <a:moveTo>
                  <a:pt x="866761" y="4754686"/>
                </a:moveTo>
                <a:cubicBezTo>
                  <a:pt x="869859" y="4753861"/>
                  <a:pt x="873577" y="4755409"/>
                  <a:pt x="874506" y="4760056"/>
                </a:cubicBezTo>
                <a:cubicBezTo>
                  <a:pt x="872492" y="4763257"/>
                  <a:pt x="870169" y="4764909"/>
                  <a:pt x="868620" y="4766251"/>
                </a:cubicBezTo>
                <a:cubicBezTo>
                  <a:pt x="866606" y="4765012"/>
                  <a:pt x="864902" y="4764599"/>
                  <a:pt x="862888" y="4763464"/>
                </a:cubicBezTo>
                <a:cubicBezTo>
                  <a:pt x="861185" y="4758610"/>
                  <a:pt x="863663" y="4755513"/>
                  <a:pt x="866761" y="4754686"/>
                </a:cubicBezTo>
                <a:close/>
                <a:moveTo>
                  <a:pt x="1500751" y="4754583"/>
                </a:moveTo>
                <a:cubicBezTo>
                  <a:pt x="1503539" y="4757062"/>
                  <a:pt x="1507722" y="4758507"/>
                  <a:pt x="1509271" y="4761295"/>
                </a:cubicBezTo>
                <a:cubicBezTo>
                  <a:pt x="1509426" y="4761914"/>
                  <a:pt x="1509735" y="4762534"/>
                  <a:pt x="1509581" y="4763050"/>
                </a:cubicBezTo>
                <a:cubicBezTo>
                  <a:pt x="1509426" y="4763567"/>
                  <a:pt x="1508961" y="4764083"/>
                  <a:pt x="1507876" y="4764393"/>
                </a:cubicBezTo>
                <a:cubicBezTo>
                  <a:pt x="1507102" y="4764909"/>
                  <a:pt x="1506638" y="4765012"/>
                  <a:pt x="1506018" y="4764703"/>
                </a:cubicBezTo>
                <a:cubicBezTo>
                  <a:pt x="1505398" y="4764393"/>
                  <a:pt x="1504779" y="4763567"/>
                  <a:pt x="1504004" y="4762121"/>
                </a:cubicBezTo>
                <a:cubicBezTo>
                  <a:pt x="1503229" y="4759746"/>
                  <a:pt x="1501991" y="4758094"/>
                  <a:pt x="1502300" y="4757371"/>
                </a:cubicBezTo>
                <a:cubicBezTo>
                  <a:pt x="1501526" y="4756958"/>
                  <a:pt x="1501216" y="4755719"/>
                  <a:pt x="1500441" y="4755306"/>
                </a:cubicBezTo>
                <a:cubicBezTo>
                  <a:pt x="1500441" y="4755306"/>
                  <a:pt x="1500441" y="4755306"/>
                  <a:pt x="1500751" y="4754583"/>
                </a:cubicBezTo>
                <a:close/>
                <a:moveTo>
                  <a:pt x="1142011" y="4753757"/>
                </a:moveTo>
                <a:lnTo>
                  <a:pt x="1143560" y="4757371"/>
                </a:lnTo>
                <a:lnTo>
                  <a:pt x="1143716" y="4756855"/>
                </a:lnTo>
                <a:cubicBezTo>
                  <a:pt x="1149911" y="4763876"/>
                  <a:pt x="1147588" y="4775132"/>
                  <a:pt x="1144799" y="4780191"/>
                </a:cubicBezTo>
                <a:cubicBezTo>
                  <a:pt x="1141702" y="4776680"/>
                  <a:pt x="1140463" y="4771827"/>
                  <a:pt x="1140463" y="4767387"/>
                </a:cubicBezTo>
                <a:lnTo>
                  <a:pt x="1140927" y="4763257"/>
                </a:lnTo>
                <a:lnTo>
                  <a:pt x="1137984" y="4762328"/>
                </a:lnTo>
                <a:cubicBezTo>
                  <a:pt x="1135971" y="4761398"/>
                  <a:pt x="1134112" y="4760263"/>
                  <a:pt x="1132408" y="4759333"/>
                </a:cubicBezTo>
                <a:cubicBezTo>
                  <a:pt x="1135661" y="4757784"/>
                  <a:pt x="1139069" y="4759643"/>
                  <a:pt x="1142011" y="4753757"/>
                </a:cubicBezTo>
                <a:close/>
                <a:moveTo>
                  <a:pt x="758023" y="4753551"/>
                </a:moveTo>
                <a:lnTo>
                  <a:pt x="758643" y="4754067"/>
                </a:lnTo>
                <a:lnTo>
                  <a:pt x="758953" y="4753757"/>
                </a:lnTo>
                <a:cubicBezTo>
                  <a:pt x="759882" y="4753757"/>
                  <a:pt x="760967" y="4753861"/>
                  <a:pt x="761896" y="4753861"/>
                </a:cubicBezTo>
                <a:cubicBezTo>
                  <a:pt x="762515" y="4752002"/>
                  <a:pt x="765459" y="4755409"/>
                  <a:pt x="765923" y="4753551"/>
                </a:cubicBezTo>
                <a:cubicBezTo>
                  <a:pt x="769796" y="4756855"/>
                  <a:pt x="773358" y="4752312"/>
                  <a:pt x="779709" y="4756339"/>
                </a:cubicBezTo>
                <a:cubicBezTo>
                  <a:pt x="777696" y="4757165"/>
                  <a:pt x="775837" y="4757475"/>
                  <a:pt x="774133" y="4757681"/>
                </a:cubicBezTo>
                <a:cubicBezTo>
                  <a:pt x="771345" y="4757887"/>
                  <a:pt x="769021" y="4757681"/>
                  <a:pt x="766698" y="4757578"/>
                </a:cubicBezTo>
                <a:lnTo>
                  <a:pt x="761276" y="4758301"/>
                </a:lnTo>
                <a:lnTo>
                  <a:pt x="760347" y="4759953"/>
                </a:lnTo>
                <a:cubicBezTo>
                  <a:pt x="759728" y="4760779"/>
                  <a:pt x="759108" y="4761192"/>
                  <a:pt x="758643" y="4761502"/>
                </a:cubicBezTo>
                <a:cubicBezTo>
                  <a:pt x="758023" y="4761811"/>
                  <a:pt x="757559" y="4761914"/>
                  <a:pt x="757094" y="4761708"/>
                </a:cubicBezTo>
                <a:cubicBezTo>
                  <a:pt x="756785" y="4761502"/>
                  <a:pt x="756320" y="4761192"/>
                  <a:pt x="756010" y="4760779"/>
                </a:cubicBezTo>
                <a:cubicBezTo>
                  <a:pt x="754461" y="4758404"/>
                  <a:pt x="754771" y="4753138"/>
                  <a:pt x="758023" y="4753551"/>
                </a:cubicBezTo>
                <a:close/>
                <a:moveTo>
                  <a:pt x="1822006" y="4753035"/>
                </a:moveTo>
                <a:cubicBezTo>
                  <a:pt x="1820768" y="4754274"/>
                  <a:pt x="1818599" y="4757062"/>
                  <a:pt x="1816895" y="4757475"/>
                </a:cubicBezTo>
                <a:cubicBezTo>
                  <a:pt x="1816430" y="4757681"/>
                  <a:pt x="1815965" y="4757578"/>
                  <a:pt x="1815501" y="4757165"/>
                </a:cubicBezTo>
                <a:cubicBezTo>
                  <a:pt x="1817050" y="4755513"/>
                  <a:pt x="1818599" y="4752002"/>
                  <a:pt x="1822006" y="4753035"/>
                </a:cubicBezTo>
                <a:close/>
                <a:moveTo>
                  <a:pt x="1850662" y="4752002"/>
                </a:moveTo>
                <a:cubicBezTo>
                  <a:pt x="1849578" y="4754583"/>
                  <a:pt x="1849578" y="4754583"/>
                  <a:pt x="1847719" y="4756339"/>
                </a:cubicBezTo>
                <a:cubicBezTo>
                  <a:pt x="1847874" y="4755513"/>
                  <a:pt x="1847100" y="4753654"/>
                  <a:pt x="1848029" y="4752828"/>
                </a:cubicBezTo>
                <a:cubicBezTo>
                  <a:pt x="1848958" y="4751899"/>
                  <a:pt x="1848958" y="4751899"/>
                  <a:pt x="1850662" y="4752002"/>
                </a:cubicBezTo>
                <a:close/>
                <a:moveTo>
                  <a:pt x="1432345" y="4751950"/>
                </a:moveTo>
                <a:cubicBezTo>
                  <a:pt x="1435037" y="4753189"/>
                  <a:pt x="1437244" y="4755823"/>
                  <a:pt x="1437399" y="4758507"/>
                </a:cubicBezTo>
                <a:cubicBezTo>
                  <a:pt x="1435695" y="4760676"/>
                  <a:pt x="1433371" y="4761502"/>
                  <a:pt x="1431048" y="4761295"/>
                </a:cubicBezTo>
                <a:cubicBezTo>
                  <a:pt x="1428725" y="4760985"/>
                  <a:pt x="1426556" y="4759746"/>
                  <a:pt x="1425317" y="4757991"/>
                </a:cubicBezTo>
                <a:cubicBezTo>
                  <a:pt x="1424542" y="4756752"/>
                  <a:pt x="1424078" y="4755306"/>
                  <a:pt x="1424388" y="4753757"/>
                </a:cubicBezTo>
                <a:cubicBezTo>
                  <a:pt x="1426479" y="4750866"/>
                  <a:pt x="1429654" y="4750711"/>
                  <a:pt x="1432345" y="4751950"/>
                </a:cubicBezTo>
                <a:close/>
                <a:moveTo>
                  <a:pt x="6077927" y="4751916"/>
                </a:moveTo>
                <a:cubicBezTo>
                  <a:pt x="6079012" y="4753569"/>
                  <a:pt x="6078392" y="4755324"/>
                  <a:pt x="6077772" y="4757079"/>
                </a:cubicBezTo>
                <a:cubicBezTo>
                  <a:pt x="6077153" y="4758422"/>
                  <a:pt x="6076378" y="4758938"/>
                  <a:pt x="6075604" y="4758835"/>
                </a:cubicBezTo>
                <a:cubicBezTo>
                  <a:pt x="6074675" y="4758835"/>
                  <a:pt x="6073745" y="4758215"/>
                  <a:pt x="6072816" y="4757389"/>
                </a:cubicBezTo>
                <a:cubicBezTo>
                  <a:pt x="6070802" y="4755737"/>
                  <a:pt x="6071422" y="4753982"/>
                  <a:pt x="6071422" y="4753982"/>
                </a:cubicBezTo>
                <a:cubicBezTo>
                  <a:pt x="6072816" y="4751297"/>
                  <a:pt x="6075139" y="4750368"/>
                  <a:pt x="6077927" y="4751916"/>
                </a:cubicBezTo>
                <a:close/>
                <a:moveTo>
                  <a:pt x="1344984" y="4751408"/>
                </a:moveTo>
                <a:cubicBezTo>
                  <a:pt x="1346629" y="4751821"/>
                  <a:pt x="1347714" y="4753447"/>
                  <a:pt x="1345391" y="4756855"/>
                </a:cubicBezTo>
                <a:cubicBezTo>
                  <a:pt x="1342447" y="4755409"/>
                  <a:pt x="1341363" y="4754171"/>
                  <a:pt x="1341208" y="4753241"/>
                </a:cubicBezTo>
                <a:cubicBezTo>
                  <a:pt x="1341131" y="4751796"/>
                  <a:pt x="1343338" y="4750995"/>
                  <a:pt x="1344984" y="4751408"/>
                </a:cubicBezTo>
                <a:close/>
                <a:moveTo>
                  <a:pt x="6299429" y="4750781"/>
                </a:moveTo>
                <a:cubicBezTo>
                  <a:pt x="6303147" y="4755117"/>
                  <a:pt x="6301907" y="4758318"/>
                  <a:pt x="6297261" y="4760694"/>
                </a:cubicBezTo>
                <a:cubicBezTo>
                  <a:pt x="6295712" y="4759454"/>
                  <a:pt x="6294008" y="4759041"/>
                  <a:pt x="6291684" y="4757596"/>
                </a:cubicBezTo>
                <a:cubicBezTo>
                  <a:pt x="6291994" y="4755117"/>
                  <a:pt x="6295247" y="4750574"/>
                  <a:pt x="6299429" y="4750781"/>
                </a:cubicBezTo>
                <a:close/>
                <a:moveTo>
                  <a:pt x="1153474" y="4750763"/>
                </a:moveTo>
                <a:cubicBezTo>
                  <a:pt x="1154094" y="4751796"/>
                  <a:pt x="1154713" y="4752725"/>
                  <a:pt x="1155487" y="4753654"/>
                </a:cubicBezTo>
                <a:cubicBezTo>
                  <a:pt x="1151460" y="4757681"/>
                  <a:pt x="1150686" y="4762018"/>
                  <a:pt x="1147743" y="4765322"/>
                </a:cubicBezTo>
                <a:cubicBezTo>
                  <a:pt x="1146813" y="4760779"/>
                  <a:pt x="1145574" y="4752725"/>
                  <a:pt x="1153474" y="4750763"/>
                </a:cubicBezTo>
                <a:close/>
                <a:moveTo>
                  <a:pt x="6346208" y="4750265"/>
                </a:moveTo>
                <a:cubicBezTo>
                  <a:pt x="6347602" y="4752123"/>
                  <a:pt x="6351319" y="4749542"/>
                  <a:pt x="6353488" y="4752227"/>
                </a:cubicBezTo>
                <a:cubicBezTo>
                  <a:pt x="6353333" y="4753982"/>
                  <a:pt x="6353178" y="4754808"/>
                  <a:pt x="6352249" y="4756563"/>
                </a:cubicBezTo>
                <a:cubicBezTo>
                  <a:pt x="6344969" y="4762655"/>
                  <a:pt x="6340941" y="4759971"/>
                  <a:pt x="6340012" y="4760900"/>
                </a:cubicBezTo>
                <a:cubicBezTo>
                  <a:pt x="6337843" y="4758215"/>
                  <a:pt x="6339702" y="4756357"/>
                  <a:pt x="6341716" y="4752846"/>
                </a:cubicBezTo>
                <a:cubicBezTo>
                  <a:pt x="6342490" y="4753775"/>
                  <a:pt x="6345278" y="4751194"/>
                  <a:pt x="6346208" y="4750265"/>
                </a:cubicBezTo>
                <a:close/>
                <a:moveTo>
                  <a:pt x="1672687" y="4750247"/>
                </a:moveTo>
                <a:cubicBezTo>
                  <a:pt x="1679966" y="4747459"/>
                  <a:pt x="1685543" y="4754893"/>
                  <a:pt x="1679501" y="4760676"/>
                </a:cubicBezTo>
                <a:cubicBezTo>
                  <a:pt x="1677798" y="4761295"/>
                  <a:pt x="1676249" y="4761398"/>
                  <a:pt x="1674855" y="4761088"/>
                </a:cubicBezTo>
                <a:cubicBezTo>
                  <a:pt x="1673461" y="4760779"/>
                  <a:pt x="1672376" y="4760056"/>
                  <a:pt x="1671602" y="4759023"/>
                </a:cubicBezTo>
                <a:cubicBezTo>
                  <a:pt x="1669898" y="4757062"/>
                  <a:pt x="1669898" y="4753861"/>
                  <a:pt x="1672687" y="4750247"/>
                </a:cubicBezTo>
                <a:close/>
                <a:moveTo>
                  <a:pt x="975034" y="4749730"/>
                </a:moveTo>
                <a:cubicBezTo>
                  <a:pt x="974569" y="4750453"/>
                  <a:pt x="974569" y="4750453"/>
                  <a:pt x="974569" y="4750453"/>
                </a:cubicBezTo>
                <a:cubicBezTo>
                  <a:pt x="974724" y="4751692"/>
                  <a:pt x="975188" y="4750970"/>
                  <a:pt x="975962" y="4751382"/>
                </a:cubicBezTo>
                <a:cubicBezTo>
                  <a:pt x="975962" y="4751382"/>
                  <a:pt x="975188" y="4750970"/>
                  <a:pt x="976427" y="4750660"/>
                </a:cubicBezTo>
                <a:cubicBezTo>
                  <a:pt x="975962" y="4751382"/>
                  <a:pt x="976582" y="4751796"/>
                  <a:pt x="977357" y="4752209"/>
                </a:cubicBezTo>
                <a:cubicBezTo>
                  <a:pt x="977667" y="4754686"/>
                  <a:pt x="977667" y="4757887"/>
                  <a:pt x="975962" y="4758920"/>
                </a:cubicBezTo>
                <a:cubicBezTo>
                  <a:pt x="973639" y="4759540"/>
                  <a:pt x="972710" y="4757991"/>
                  <a:pt x="972400" y="4756752"/>
                </a:cubicBezTo>
                <a:cubicBezTo>
                  <a:pt x="971626" y="4755719"/>
                  <a:pt x="971780" y="4754377"/>
                  <a:pt x="972400" y="4753138"/>
                </a:cubicBezTo>
                <a:cubicBezTo>
                  <a:pt x="973019" y="4751899"/>
                  <a:pt x="973949" y="4750660"/>
                  <a:pt x="975034" y="4749730"/>
                </a:cubicBezTo>
                <a:close/>
                <a:moveTo>
                  <a:pt x="1593689" y="4748595"/>
                </a:moveTo>
                <a:cubicBezTo>
                  <a:pt x="1594929" y="4748285"/>
                  <a:pt x="1597871" y="4748078"/>
                  <a:pt x="1597407" y="4748801"/>
                </a:cubicBezTo>
                <a:cubicBezTo>
                  <a:pt x="1597562" y="4750040"/>
                  <a:pt x="1598026" y="4749214"/>
                  <a:pt x="1598801" y="4749627"/>
                </a:cubicBezTo>
                <a:cubicBezTo>
                  <a:pt x="1599111" y="4751382"/>
                  <a:pt x="1599111" y="4753035"/>
                  <a:pt x="1598646" y="4754274"/>
                </a:cubicBezTo>
                <a:lnTo>
                  <a:pt x="1596942" y="4756132"/>
                </a:lnTo>
                <a:lnTo>
                  <a:pt x="1599265" y="4757578"/>
                </a:lnTo>
                <a:cubicBezTo>
                  <a:pt x="1602983" y="4759849"/>
                  <a:pt x="1606700" y="4762534"/>
                  <a:pt x="1610263" y="4767284"/>
                </a:cubicBezTo>
                <a:lnTo>
                  <a:pt x="1604996" y="4767284"/>
                </a:lnTo>
                <a:lnTo>
                  <a:pt x="1605462" y="4770175"/>
                </a:lnTo>
                <a:cubicBezTo>
                  <a:pt x="1605152" y="4771414"/>
                  <a:pt x="1605152" y="4771414"/>
                  <a:pt x="1604377" y="4771931"/>
                </a:cubicBezTo>
                <a:cubicBezTo>
                  <a:pt x="1603293" y="4773582"/>
                  <a:pt x="1602983" y="4774821"/>
                  <a:pt x="1601124" y="4775028"/>
                </a:cubicBezTo>
                <a:cubicBezTo>
                  <a:pt x="1599575" y="4774925"/>
                  <a:pt x="1598801" y="4774409"/>
                  <a:pt x="1598491" y="4773479"/>
                </a:cubicBezTo>
                <a:cubicBezTo>
                  <a:pt x="1598026" y="4772653"/>
                  <a:pt x="1598181" y="4771311"/>
                  <a:pt x="1598336" y="4769659"/>
                </a:cubicBezTo>
                <a:cubicBezTo>
                  <a:pt x="1598491" y="4768110"/>
                  <a:pt x="1599265" y="4767181"/>
                  <a:pt x="1600040" y="4766251"/>
                </a:cubicBezTo>
                <a:lnTo>
                  <a:pt x="1600350" y="4765942"/>
                </a:lnTo>
                <a:lnTo>
                  <a:pt x="1597252" y="4764599"/>
                </a:lnTo>
                <a:lnTo>
                  <a:pt x="1592915" y="4761088"/>
                </a:lnTo>
                <a:lnTo>
                  <a:pt x="1593069" y="4761295"/>
                </a:lnTo>
                <a:cubicBezTo>
                  <a:pt x="1593534" y="4763050"/>
                  <a:pt x="1592605" y="4765942"/>
                  <a:pt x="1590746" y="4765425"/>
                </a:cubicBezTo>
                <a:cubicBezTo>
                  <a:pt x="1589972" y="4765219"/>
                  <a:pt x="1588887" y="4764393"/>
                  <a:pt x="1587649" y="4762534"/>
                </a:cubicBezTo>
                <a:cubicBezTo>
                  <a:pt x="1588732" y="4761295"/>
                  <a:pt x="1589507" y="4760572"/>
                  <a:pt x="1590282" y="4760263"/>
                </a:cubicBezTo>
                <a:lnTo>
                  <a:pt x="1591675" y="4760056"/>
                </a:lnTo>
                <a:lnTo>
                  <a:pt x="1588268" y="4755100"/>
                </a:lnTo>
                <a:cubicBezTo>
                  <a:pt x="1587494" y="4753241"/>
                  <a:pt x="1587338" y="4751486"/>
                  <a:pt x="1587958" y="4749834"/>
                </a:cubicBezTo>
                <a:lnTo>
                  <a:pt x="1590282" y="4751692"/>
                </a:lnTo>
                <a:close/>
                <a:moveTo>
                  <a:pt x="865987" y="4748595"/>
                </a:moveTo>
                <a:cubicBezTo>
                  <a:pt x="865987" y="4748595"/>
                  <a:pt x="866141" y="4748595"/>
                  <a:pt x="868000" y="4750247"/>
                </a:cubicBezTo>
                <a:lnTo>
                  <a:pt x="868155" y="4751176"/>
                </a:lnTo>
                <a:cubicBezTo>
                  <a:pt x="868000" y="4751589"/>
                  <a:pt x="867380" y="4751796"/>
                  <a:pt x="866451" y="4751899"/>
                </a:cubicBezTo>
                <a:cubicBezTo>
                  <a:pt x="865057" y="4752105"/>
                  <a:pt x="863198" y="4752105"/>
                  <a:pt x="861494" y="4752002"/>
                </a:cubicBezTo>
                <a:cubicBezTo>
                  <a:pt x="859946" y="4751899"/>
                  <a:pt x="858551" y="4751692"/>
                  <a:pt x="858241" y="4751692"/>
                </a:cubicBezTo>
                <a:cubicBezTo>
                  <a:pt x="858241" y="4751692"/>
                  <a:pt x="857313" y="4751692"/>
                  <a:pt x="856538" y="4751796"/>
                </a:cubicBezTo>
                <a:cubicBezTo>
                  <a:pt x="855608" y="4750970"/>
                  <a:pt x="855453" y="4750143"/>
                  <a:pt x="854679" y="4750143"/>
                </a:cubicBezTo>
                <a:cubicBezTo>
                  <a:pt x="856692" y="4747459"/>
                  <a:pt x="859325" y="4748181"/>
                  <a:pt x="861959" y="4748904"/>
                </a:cubicBezTo>
                <a:cubicBezTo>
                  <a:pt x="863663" y="4749627"/>
                  <a:pt x="864592" y="4749524"/>
                  <a:pt x="865987" y="4748595"/>
                </a:cubicBezTo>
                <a:close/>
                <a:moveTo>
                  <a:pt x="1778016" y="4748181"/>
                </a:moveTo>
                <a:lnTo>
                  <a:pt x="1776777" y="4749214"/>
                </a:lnTo>
                <a:lnTo>
                  <a:pt x="1777706" y="4749008"/>
                </a:lnTo>
                <a:close/>
                <a:moveTo>
                  <a:pt x="6058411" y="4748096"/>
                </a:moveTo>
                <a:cubicBezTo>
                  <a:pt x="6058411" y="4748096"/>
                  <a:pt x="6058411" y="4748096"/>
                  <a:pt x="6059030" y="4749851"/>
                </a:cubicBezTo>
                <a:cubicBezTo>
                  <a:pt x="6059030" y="4750781"/>
                  <a:pt x="6058875" y="4751710"/>
                  <a:pt x="6057946" y="4752536"/>
                </a:cubicBezTo>
                <a:cubicBezTo>
                  <a:pt x="6056861" y="4753466"/>
                  <a:pt x="6055157" y="4753362"/>
                  <a:pt x="6054383" y="4753362"/>
                </a:cubicBezTo>
                <a:cubicBezTo>
                  <a:pt x="6054383" y="4752536"/>
                  <a:pt x="6053609" y="4752433"/>
                  <a:pt x="6053764" y="4751607"/>
                </a:cubicBezTo>
                <a:cubicBezTo>
                  <a:pt x="6052989" y="4749748"/>
                  <a:pt x="6052989" y="4749851"/>
                  <a:pt x="6053918" y="4748922"/>
                </a:cubicBezTo>
                <a:cubicBezTo>
                  <a:pt x="6054848" y="4748096"/>
                  <a:pt x="6057326" y="4749025"/>
                  <a:pt x="6058411" y="4748096"/>
                </a:cubicBezTo>
                <a:close/>
                <a:moveTo>
                  <a:pt x="817504" y="4747872"/>
                </a:moveTo>
                <a:cubicBezTo>
                  <a:pt x="809139" y="4752105"/>
                  <a:pt x="806351" y="4759127"/>
                  <a:pt x="795664" y="4762018"/>
                </a:cubicBezTo>
                <a:cubicBezTo>
                  <a:pt x="794579" y="4753344"/>
                  <a:pt x="810223" y="4741057"/>
                  <a:pt x="817504" y="4747872"/>
                </a:cubicBezTo>
                <a:close/>
                <a:moveTo>
                  <a:pt x="1638609" y="4747355"/>
                </a:moveTo>
                <a:cubicBezTo>
                  <a:pt x="1640313" y="4746323"/>
                  <a:pt x="1641242" y="4747872"/>
                  <a:pt x="1641552" y="4750247"/>
                </a:cubicBezTo>
                <a:cubicBezTo>
                  <a:pt x="1643565" y="4754790"/>
                  <a:pt x="1642791" y="4757475"/>
                  <a:pt x="1639384" y="4758404"/>
                </a:cubicBezTo>
                <a:lnTo>
                  <a:pt x="1638299" y="4757578"/>
                </a:lnTo>
                <a:lnTo>
                  <a:pt x="1640932" y="4762328"/>
                </a:lnTo>
                <a:lnTo>
                  <a:pt x="1636905" y="4765115"/>
                </a:lnTo>
                <a:lnTo>
                  <a:pt x="1637525" y="4765838"/>
                </a:lnTo>
                <a:cubicBezTo>
                  <a:pt x="1637060" y="4766561"/>
                  <a:pt x="1637215" y="4767800"/>
                  <a:pt x="1636751" y="4768523"/>
                </a:cubicBezTo>
                <a:cubicBezTo>
                  <a:pt x="1635976" y="4768007"/>
                  <a:pt x="1634272" y="4767904"/>
                  <a:pt x="1634737" y="4767077"/>
                </a:cubicBezTo>
                <a:lnTo>
                  <a:pt x="1634582" y="4766665"/>
                </a:lnTo>
                <a:lnTo>
                  <a:pt x="1624514" y="4773582"/>
                </a:lnTo>
                <a:lnTo>
                  <a:pt x="1624823" y="4773996"/>
                </a:lnTo>
                <a:cubicBezTo>
                  <a:pt x="1625133" y="4777403"/>
                  <a:pt x="1622964" y="4782566"/>
                  <a:pt x="1618627" y="4780501"/>
                </a:cubicBezTo>
                <a:cubicBezTo>
                  <a:pt x="1617853" y="4780294"/>
                  <a:pt x="1617544" y="4779468"/>
                  <a:pt x="1617388" y="4778436"/>
                </a:cubicBezTo>
                <a:lnTo>
                  <a:pt x="1607320" y="4785147"/>
                </a:lnTo>
                <a:cubicBezTo>
                  <a:pt x="1609333" y="4770795"/>
                  <a:pt x="1624514" y="4763153"/>
                  <a:pt x="1635666" y="4753861"/>
                </a:cubicBezTo>
                <a:lnTo>
                  <a:pt x="1636441" y="4754893"/>
                </a:lnTo>
                <a:lnTo>
                  <a:pt x="1636130" y="4752518"/>
                </a:lnTo>
                <a:cubicBezTo>
                  <a:pt x="1636285" y="4751176"/>
                  <a:pt x="1636441" y="4749834"/>
                  <a:pt x="1637060" y="4748904"/>
                </a:cubicBezTo>
                <a:cubicBezTo>
                  <a:pt x="1637370" y="4748181"/>
                  <a:pt x="1637990" y="4747769"/>
                  <a:pt x="1638609" y="4747355"/>
                </a:cubicBezTo>
                <a:close/>
                <a:moveTo>
                  <a:pt x="1030331" y="4747355"/>
                </a:moveTo>
                <a:cubicBezTo>
                  <a:pt x="1034669" y="4749834"/>
                  <a:pt x="1034204" y="4756339"/>
                  <a:pt x="1030022" y="4757475"/>
                </a:cubicBezTo>
                <a:cubicBezTo>
                  <a:pt x="1028937" y="4756855"/>
                  <a:pt x="1027078" y="4756442"/>
                  <a:pt x="1025684" y="4754997"/>
                </a:cubicBezTo>
                <a:cubicBezTo>
                  <a:pt x="1025220" y="4750556"/>
                  <a:pt x="1027078" y="4748285"/>
                  <a:pt x="1030331" y="4747355"/>
                </a:cubicBezTo>
                <a:close/>
                <a:moveTo>
                  <a:pt x="1316483" y="4746930"/>
                </a:moveTo>
                <a:cubicBezTo>
                  <a:pt x="1318129" y="4747846"/>
                  <a:pt x="1319290" y="4749937"/>
                  <a:pt x="1319058" y="4751692"/>
                </a:cubicBezTo>
                <a:cubicBezTo>
                  <a:pt x="1318284" y="4752415"/>
                  <a:pt x="1317354" y="4753035"/>
                  <a:pt x="1316424" y="4753241"/>
                </a:cubicBezTo>
                <a:cubicBezTo>
                  <a:pt x="1313791" y="4753757"/>
                  <a:pt x="1311158" y="4751899"/>
                  <a:pt x="1311003" y="4749214"/>
                </a:cubicBezTo>
                <a:cubicBezTo>
                  <a:pt x="1312707" y="4746271"/>
                  <a:pt x="1314837" y="4746013"/>
                  <a:pt x="1316483" y="4746930"/>
                </a:cubicBezTo>
                <a:close/>
                <a:moveTo>
                  <a:pt x="1898835" y="4745290"/>
                </a:moveTo>
                <a:cubicBezTo>
                  <a:pt x="1900539" y="4747046"/>
                  <a:pt x="1901623" y="4750556"/>
                  <a:pt x="1899145" y="4753035"/>
                </a:cubicBezTo>
                <a:cubicBezTo>
                  <a:pt x="1897596" y="4755616"/>
                  <a:pt x="1894343" y="4755513"/>
                  <a:pt x="1891865" y="4757991"/>
                </a:cubicBezTo>
                <a:cubicBezTo>
                  <a:pt x="1888457" y="4755203"/>
                  <a:pt x="1887527" y="4754274"/>
                  <a:pt x="1888921" y="4750040"/>
                </a:cubicBezTo>
                <a:cubicBezTo>
                  <a:pt x="1888921" y="4750040"/>
                  <a:pt x="1889851" y="4749214"/>
                  <a:pt x="1889851" y="4749214"/>
                </a:cubicBezTo>
                <a:cubicBezTo>
                  <a:pt x="1892174" y="4745807"/>
                  <a:pt x="1897131" y="4744361"/>
                  <a:pt x="1898835" y="4745290"/>
                </a:cubicBezTo>
                <a:close/>
                <a:moveTo>
                  <a:pt x="6370681" y="4745205"/>
                </a:moveTo>
                <a:cubicBezTo>
                  <a:pt x="6375328" y="4750265"/>
                  <a:pt x="6374554" y="4752433"/>
                  <a:pt x="6372230" y="4752846"/>
                </a:cubicBezTo>
                <a:cubicBezTo>
                  <a:pt x="6368668" y="4753466"/>
                  <a:pt x="6361387" y="4749025"/>
                  <a:pt x="6370681" y="4745205"/>
                </a:cubicBezTo>
                <a:close/>
                <a:moveTo>
                  <a:pt x="1328816" y="4744980"/>
                </a:moveTo>
                <a:cubicBezTo>
                  <a:pt x="1330985" y="4746323"/>
                  <a:pt x="1331915" y="4749214"/>
                  <a:pt x="1330211" y="4753551"/>
                </a:cubicBezTo>
                <a:cubicBezTo>
                  <a:pt x="1328971" y="4754377"/>
                  <a:pt x="1327732" y="4754997"/>
                  <a:pt x="1326493" y="4755203"/>
                </a:cubicBezTo>
                <a:cubicBezTo>
                  <a:pt x="1322930" y="4755926"/>
                  <a:pt x="1319678" y="4753964"/>
                  <a:pt x="1319213" y="4750763"/>
                </a:cubicBezTo>
                <a:cubicBezTo>
                  <a:pt x="1319058" y="4749317"/>
                  <a:pt x="1319367" y="4747665"/>
                  <a:pt x="1320452" y="4745807"/>
                </a:cubicBezTo>
                <a:cubicBezTo>
                  <a:pt x="1323395" y="4743742"/>
                  <a:pt x="1326648" y="4743535"/>
                  <a:pt x="1328816" y="4744980"/>
                </a:cubicBezTo>
                <a:close/>
                <a:moveTo>
                  <a:pt x="1573708" y="4744671"/>
                </a:moveTo>
                <a:cubicBezTo>
                  <a:pt x="1573397" y="4745497"/>
                  <a:pt x="1573088" y="4746219"/>
                  <a:pt x="1572469" y="4746426"/>
                </a:cubicBezTo>
                <a:cubicBezTo>
                  <a:pt x="1571849" y="4746633"/>
                  <a:pt x="1570919" y="4746426"/>
                  <a:pt x="1569526" y="4745704"/>
                </a:cubicBezTo>
                <a:cubicBezTo>
                  <a:pt x="1569526" y="4745704"/>
                  <a:pt x="1569526" y="4744877"/>
                  <a:pt x="1569526" y="4744877"/>
                </a:cubicBezTo>
                <a:cubicBezTo>
                  <a:pt x="1570764" y="4742296"/>
                  <a:pt x="1571849" y="4743122"/>
                  <a:pt x="1573708" y="4744671"/>
                </a:cubicBezTo>
                <a:close/>
                <a:moveTo>
                  <a:pt x="6563062" y="4744276"/>
                </a:moveTo>
                <a:cubicBezTo>
                  <a:pt x="6562753" y="4746444"/>
                  <a:pt x="6562288" y="4748406"/>
                  <a:pt x="6561513" y="4750058"/>
                </a:cubicBezTo>
                <a:cubicBezTo>
                  <a:pt x="6559500" y="4755014"/>
                  <a:pt x="6556247" y="4757905"/>
                  <a:pt x="6555782" y="4761933"/>
                </a:cubicBezTo>
                <a:cubicBezTo>
                  <a:pt x="6555782" y="4761933"/>
                  <a:pt x="6555782" y="4761933"/>
                  <a:pt x="6553613" y="4762655"/>
                </a:cubicBezTo>
                <a:cubicBezTo>
                  <a:pt x="6553304" y="4763378"/>
                  <a:pt x="6553304" y="4763378"/>
                  <a:pt x="6553304" y="4763378"/>
                </a:cubicBezTo>
                <a:cubicBezTo>
                  <a:pt x="6553149" y="4763791"/>
                  <a:pt x="6552684" y="4763688"/>
                  <a:pt x="6552220" y="4763584"/>
                </a:cubicBezTo>
                <a:cubicBezTo>
                  <a:pt x="6551755" y="4763481"/>
                  <a:pt x="6551445" y="4763275"/>
                  <a:pt x="6551445" y="4763275"/>
                </a:cubicBezTo>
                <a:cubicBezTo>
                  <a:pt x="6550206" y="4761623"/>
                  <a:pt x="6552065" y="4759764"/>
                  <a:pt x="6552684" y="4758318"/>
                </a:cubicBezTo>
                <a:cubicBezTo>
                  <a:pt x="6551445" y="4756666"/>
                  <a:pt x="6555627" y="4756150"/>
                  <a:pt x="6554388" y="4754498"/>
                </a:cubicBezTo>
                <a:cubicBezTo>
                  <a:pt x="6558880" y="4753259"/>
                  <a:pt x="6556867" y="4747373"/>
                  <a:pt x="6563062" y="4744276"/>
                </a:cubicBezTo>
                <a:close/>
                <a:moveTo>
                  <a:pt x="5970894" y="4743449"/>
                </a:moveTo>
                <a:cubicBezTo>
                  <a:pt x="5970429" y="4749542"/>
                  <a:pt x="5973682" y="4752433"/>
                  <a:pt x="5971049" y="4756976"/>
                </a:cubicBezTo>
                <a:cubicBezTo>
                  <a:pt x="5962530" y="4757905"/>
                  <a:pt x="5959432" y="4747373"/>
                  <a:pt x="5963924" y="4743863"/>
                </a:cubicBezTo>
                <a:cubicBezTo>
                  <a:pt x="5965318" y="4742727"/>
                  <a:pt x="5967641" y="4742314"/>
                  <a:pt x="5970894" y="4743449"/>
                </a:cubicBezTo>
                <a:close/>
                <a:moveTo>
                  <a:pt x="1683529" y="4743432"/>
                </a:moveTo>
                <a:cubicBezTo>
                  <a:pt x="1683529" y="4743432"/>
                  <a:pt x="1683529" y="4743432"/>
                  <a:pt x="1684303" y="4743535"/>
                </a:cubicBezTo>
                <a:cubicBezTo>
                  <a:pt x="1684303" y="4743535"/>
                  <a:pt x="1684149" y="4744361"/>
                  <a:pt x="1683374" y="4744980"/>
                </a:cubicBezTo>
                <a:cubicBezTo>
                  <a:pt x="1683374" y="4744980"/>
                  <a:pt x="1683219" y="4744774"/>
                  <a:pt x="1683219" y="4744464"/>
                </a:cubicBezTo>
                <a:cubicBezTo>
                  <a:pt x="1683064" y="4744154"/>
                  <a:pt x="1683064" y="4743742"/>
                  <a:pt x="1683529" y="4743432"/>
                </a:cubicBezTo>
                <a:close/>
                <a:moveTo>
                  <a:pt x="1778635" y="4743225"/>
                </a:moveTo>
                <a:cubicBezTo>
                  <a:pt x="1779410" y="4744154"/>
                  <a:pt x="1779720" y="4744980"/>
                  <a:pt x="1779720" y="4745807"/>
                </a:cubicBezTo>
                <a:lnTo>
                  <a:pt x="1779100" y="4746942"/>
                </a:lnTo>
                <a:lnTo>
                  <a:pt x="1780339" y="4748388"/>
                </a:lnTo>
                <a:lnTo>
                  <a:pt x="1790253" y="4745910"/>
                </a:lnTo>
                <a:cubicBezTo>
                  <a:pt x="1796603" y="4754893"/>
                  <a:pt x="1813952" y="4756648"/>
                  <a:pt x="1815345" y="4769865"/>
                </a:cubicBezTo>
                <a:lnTo>
                  <a:pt x="1815036" y="4771001"/>
                </a:lnTo>
                <a:lnTo>
                  <a:pt x="1816120" y="4772137"/>
                </a:lnTo>
                <a:cubicBezTo>
                  <a:pt x="1817204" y="4773892"/>
                  <a:pt x="1817669" y="4775957"/>
                  <a:pt x="1817514" y="4778229"/>
                </a:cubicBezTo>
                <a:cubicBezTo>
                  <a:pt x="1816585" y="4779262"/>
                  <a:pt x="1815191" y="4779881"/>
                  <a:pt x="1813642" y="4780191"/>
                </a:cubicBezTo>
                <a:lnTo>
                  <a:pt x="1812712" y="4780191"/>
                </a:lnTo>
                <a:lnTo>
                  <a:pt x="1812557" y="4781946"/>
                </a:lnTo>
                <a:cubicBezTo>
                  <a:pt x="1812712" y="4785250"/>
                  <a:pt x="1813332" y="4788245"/>
                  <a:pt x="1812868" y="4791756"/>
                </a:cubicBezTo>
                <a:cubicBezTo>
                  <a:pt x="1810544" y="4794956"/>
                  <a:pt x="1807911" y="4798261"/>
                  <a:pt x="1804967" y="4801358"/>
                </a:cubicBezTo>
                <a:lnTo>
                  <a:pt x="1797533" y="4807760"/>
                </a:lnTo>
                <a:lnTo>
                  <a:pt x="1797533" y="4813852"/>
                </a:lnTo>
                <a:cubicBezTo>
                  <a:pt x="1797688" y="4815917"/>
                  <a:pt x="1797843" y="4818086"/>
                  <a:pt x="1796758" y="4820254"/>
                </a:cubicBezTo>
                <a:cubicBezTo>
                  <a:pt x="1795829" y="4819532"/>
                  <a:pt x="1793815" y="4817053"/>
                  <a:pt x="1795209" y="4814472"/>
                </a:cubicBezTo>
                <a:cubicBezTo>
                  <a:pt x="1795829" y="4813130"/>
                  <a:pt x="1795829" y="4811787"/>
                  <a:pt x="1795829" y="4810548"/>
                </a:cubicBezTo>
                <a:lnTo>
                  <a:pt x="1796138" y="4809000"/>
                </a:lnTo>
                <a:lnTo>
                  <a:pt x="1795055" y="4809929"/>
                </a:lnTo>
                <a:cubicBezTo>
                  <a:pt x="1787929" y="4814885"/>
                  <a:pt x="1779875" y="4817983"/>
                  <a:pt x="1771665" y="4816950"/>
                </a:cubicBezTo>
                <a:cubicBezTo>
                  <a:pt x="1758034" y="4815298"/>
                  <a:pt x="1755556" y="4804353"/>
                  <a:pt x="1745797" y="4795989"/>
                </a:cubicBezTo>
                <a:cubicBezTo>
                  <a:pt x="1748586" y="4790930"/>
                  <a:pt x="1748740" y="4787419"/>
                  <a:pt x="1748121" y="4784321"/>
                </a:cubicBezTo>
                <a:lnTo>
                  <a:pt x="1747501" y="4782153"/>
                </a:lnTo>
                <a:lnTo>
                  <a:pt x="1742699" y="4780501"/>
                </a:lnTo>
                <a:cubicBezTo>
                  <a:pt x="1742855" y="4777506"/>
                  <a:pt x="1743164" y="4775441"/>
                  <a:pt x="1743784" y="4774099"/>
                </a:cubicBezTo>
                <a:lnTo>
                  <a:pt x="1746107" y="4771931"/>
                </a:lnTo>
                <a:lnTo>
                  <a:pt x="1745332" y="4770485"/>
                </a:lnTo>
                <a:cubicBezTo>
                  <a:pt x="1744249" y="4764496"/>
                  <a:pt x="1749670" y="4758714"/>
                  <a:pt x="1753542" y="4754790"/>
                </a:cubicBezTo>
                <a:cubicBezTo>
                  <a:pt x="1756175" y="4751796"/>
                  <a:pt x="1759273" y="4749008"/>
                  <a:pt x="1762061" y="4749008"/>
                </a:cubicBezTo>
                <a:cubicBezTo>
                  <a:pt x="1762836" y="4749008"/>
                  <a:pt x="1763765" y="4749317"/>
                  <a:pt x="1764695" y="4750143"/>
                </a:cubicBezTo>
                <a:lnTo>
                  <a:pt x="1765470" y="4751176"/>
                </a:lnTo>
                <a:lnTo>
                  <a:pt x="1766708" y="4751692"/>
                </a:lnTo>
                <a:lnTo>
                  <a:pt x="1775383" y="4749627"/>
                </a:lnTo>
                <a:lnTo>
                  <a:pt x="1772130" y="4749111"/>
                </a:lnTo>
                <a:cubicBezTo>
                  <a:pt x="1772904" y="4749111"/>
                  <a:pt x="1772904" y="4749111"/>
                  <a:pt x="1772904" y="4749111"/>
                </a:cubicBezTo>
                <a:cubicBezTo>
                  <a:pt x="1773679" y="4748285"/>
                  <a:pt x="1772904" y="4748181"/>
                  <a:pt x="1772904" y="4747355"/>
                </a:cubicBezTo>
                <a:cubicBezTo>
                  <a:pt x="1772904" y="4747355"/>
                  <a:pt x="1772904" y="4748285"/>
                  <a:pt x="1771975" y="4747355"/>
                </a:cubicBezTo>
                <a:cubicBezTo>
                  <a:pt x="1772904" y="4747355"/>
                  <a:pt x="1772749" y="4746426"/>
                  <a:pt x="1772749" y="4745600"/>
                </a:cubicBezTo>
                <a:cubicBezTo>
                  <a:pt x="1774453" y="4743948"/>
                  <a:pt x="1776777" y="4742296"/>
                  <a:pt x="1778635" y="4743225"/>
                </a:cubicBezTo>
                <a:close/>
                <a:moveTo>
                  <a:pt x="1560077" y="4742915"/>
                </a:moveTo>
                <a:cubicBezTo>
                  <a:pt x="1560696" y="4741986"/>
                  <a:pt x="1563640" y="4743535"/>
                  <a:pt x="1564414" y="4743432"/>
                </a:cubicBezTo>
                <a:cubicBezTo>
                  <a:pt x="1564569" y="4744361"/>
                  <a:pt x="1563795" y="4745290"/>
                  <a:pt x="1563949" y="4746116"/>
                </a:cubicBezTo>
                <a:cubicBezTo>
                  <a:pt x="1563175" y="4746219"/>
                  <a:pt x="1561471" y="4746323"/>
                  <a:pt x="1560387" y="4745497"/>
                </a:cubicBezTo>
                <a:cubicBezTo>
                  <a:pt x="1559612" y="4745600"/>
                  <a:pt x="1560077" y="4742915"/>
                  <a:pt x="1560077" y="4742915"/>
                </a:cubicBezTo>
                <a:close/>
                <a:moveTo>
                  <a:pt x="921284" y="4742812"/>
                </a:moveTo>
                <a:cubicBezTo>
                  <a:pt x="920975" y="4746839"/>
                  <a:pt x="920975" y="4750763"/>
                  <a:pt x="920200" y="4754790"/>
                </a:cubicBezTo>
                <a:cubicBezTo>
                  <a:pt x="919426" y="4758817"/>
                  <a:pt x="918032" y="4763050"/>
                  <a:pt x="914779" y="4767181"/>
                </a:cubicBezTo>
                <a:cubicBezTo>
                  <a:pt x="908583" y="4759540"/>
                  <a:pt x="916328" y="4747665"/>
                  <a:pt x="921284" y="4742812"/>
                </a:cubicBezTo>
                <a:close/>
                <a:moveTo>
                  <a:pt x="1689105" y="4742606"/>
                </a:moveTo>
                <a:cubicBezTo>
                  <a:pt x="1690190" y="4742296"/>
                  <a:pt x="1691584" y="4742296"/>
                  <a:pt x="1693287" y="4742606"/>
                </a:cubicBezTo>
                <a:cubicBezTo>
                  <a:pt x="1696076" y="4748285"/>
                  <a:pt x="1702581" y="4757475"/>
                  <a:pt x="1694991" y="4763153"/>
                </a:cubicBezTo>
                <a:cubicBezTo>
                  <a:pt x="1686317" y="4759953"/>
                  <a:pt x="1681051" y="4744671"/>
                  <a:pt x="1689105" y="4742606"/>
                </a:cubicBezTo>
                <a:close/>
                <a:moveTo>
                  <a:pt x="1509426" y="4742193"/>
                </a:moveTo>
                <a:cubicBezTo>
                  <a:pt x="1511749" y="4742296"/>
                  <a:pt x="1513763" y="4742915"/>
                  <a:pt x="1515002" y="4744258"/>
                </a:cubicBezTo>
                <a:cubicBezTo>
                  <a:pt x="1516396" y="4745600"/>
                  <a:pt x="1517325" y="4747562"/>
                  <a:pt x="1517325" y="4750350"/>
                </a:cubicBezTo>
                <a:cubicBezTo>
                  <a:pt x="1515931" y="4752105"/>
                  <a:pt x="1513918" y="4752518"/>
                  <a:pt x="1511904" y="4752415"/>
                </a:cubicBezTo>
                <a:cubicBezTo>
                  <a:pt x="1510045" y="4752312"/>
                  <a:pt x="1508032" y="4751589"/>
                  <a:pt x="1506638" y="4751176"/>
                </a:cubicBezTo>
                <a:cubicBezTo>
                  <a:pt x="1507102" y="4747562"/>
                  <a:pt x="1507412" y="4743948"/>
                  <a:pt x="1509426" y="4742193"/>
                </a:cubicBezTo>
                <a:close/>
                <a:moveTo>
                  <a:pt x="1710016" y="4741780"/>
                </a:moveTo>
                <a:cubicBezTo>
                  <a:pt x="1727674" y="4744051"/>
                  <a:pt x="1718690" y="4754480"/>
                  <a:pt x="1711410" y="4757165"/>
                </a:cubicBezTo>
                <a:lnTo>
                  <a:pt x="1709242" y="4757475"/>
                </a:lnTo>
                <a:lnTo>
                  <a:pt x="1712649" y="4763360"/>
                </a:lnTo>
                <a:cubicBezTo>
                  <a:pt x="1714353" y="4766148"/>
                  <a:pt x="1715593" y="4769039"/>
                  <a:pt x="1716212" y="4772137"/>
                </a:cubicBezTo>
                <a:cubicBezTo>
                  <a:pt x="1714663" y="4771621"/>
                  <a:pt x="1713115" y="4770691"/>
                  <a:pt x="1711565" y="4769452"/>
                </a:cubicBezTo>
                <a:lnTo>
                  <a:pt x="1708312" y="4765735"/>
                </a:lnTo>
                <a:lnTo>
                  <a:pt x="1707073" y="4769349"/>
                </a:lnTo>
                <a:cubicBezTo>
                  <a:pt x="1706609" y="4771311"/>
                  <a:pt x="1705834" y="4771621"/>
                  <a:pt x="1703665" y="4770691"/>
                </a:cubicBezTo>
                <a:cubicBezTo>
                  <a:pt x="1703820" y="4769762"/>
                  <a:pt x="1704595" y="4768316"/>
                  <a:pt x="1705524" y="4767181"/>
                </a:cubicBezTo>
                <a:lnTo>
                  <a:pt x="1708003" y="4765425"/>
                </a:lnTo>
                <a:lnTo>
                  <a:pt x="1707693" y="4765115"/>
                </a:lnTo>
                <a:cubicBezTo>
                  <a:pt x="1706764" y="4763567"/>
                  <a:pt x="1706144" y="4761811"/>
                  <a:pt x="1705989" y="4760056"/>
                </a:cubicBezTo>
                <a:lnTo>
                  <a:pt x="1707073" y="4757371"/>
                </a:lnTo>
                <a:lnTo>
                  <a:pt x="1705524" y="4756648"/>
                </a:lnTo>
                <a:cubicBezTo>
                  <a:pt x="1704130" y="4754686"/>
                  <a:pt x="1704750" y="4750247"/>
                  <a:pt x="1710016" y="4741780"/>
                </a:cubicBezTo>
                <a:close/>
                <a:moveTo>
                  <a:pt x="1812694" y="4740334"/>
                </a:moveTo>
                <a:cubicBezTo>
                  <a:pt x="1814455" y="4740515"/>
                  <a:pt x="1816275" y="4741728"/>
                  <a:pt x="1816740" y="4742915"/>
                </a:cubicBezTo>
                <a:cubicBezTo>
                  <a:pt x="1816430" y="4745497"/>
                  <a:pt x="1814726" y="4746323"/>
                  <a:pt x="1813023" y="4746219"/>
                </a:cubicBezTo>
                <a:cubicBezTo>
                  <a:pt x="1811164" y="4746116"/>
                  <a:pt x="1809460" y="4745084"/>
                  <a:pt x="1808995" y="4743948"/>
                </a:cubicBezTo>
                <a:cubicBezTo>
                  <a:pt x="1809227" y="4741005"/>
                  <a:pt x="1810931" y="4740153"/>
                  <a:pt x="1812694" y="4740334"/>
                </a:cubicBezTo>
                <a:close/>
                <a:moveTo>
                  <a:pt x="1418036" y="4740334"/>
                </a:moveTo>
                <a:cubicBezTo>
                  <a:pt x="1419276" y="4740437"/>
                  <a:pt x="1420360" y="4740437"/>
                  <a:pt x="1421600" y="4740437"/>
                </a:cubicBezTo>
                <a:cubicBezTo>
                  <a:pt x="1421600" y="4746013"/>
                  <a:pt x="1424078" y="4749214"/>
                  <a:pt x="1424233" y="4753551"/>
                </a:cubicBezTo>
                <a:cubicBezTo>
                  <a:pt x="1422219" y="4752621"/>
                  <a:pt x="1419586" y="4751073"/>
                  <a:pt x="1418036" y="4748904"/>
                </a:cubicBezTo>
                <a:cubicBezTo>
                  <a:pt x="1416488" y="4746736"/>
                  <a:pt x="1415868" y="4743948"/>
                  <a:pt x="1418036" y="4740334"/>
                </a:cubicBezTo>
                <a:close/>
                <a:moveTo>
                  <a:pt x="1343377" y="4740128"/>
                </a:moveTo>
                <a:cubicBezTo>
                  <a:pt x="1346320" y="4740334"/>
                  <a:pt x="1348179" y="4742089"/>
                  <a:pt x="1347869" y="4745290"/>
                </a:cubicBezTo>
                <a:cubicBezTo>
                  <a:pt x="1346785" y="4746942"/>
                  <a:pt x="1344925" y="4747046"/>
                  <a:pt x="1343067" y="4747252"/>
                </a:cubicBezTo>
                <a:cubicBezTo>
                  <a:pt x="1341673" y="4747149"/>
                  <a:pt x="1340899" y="4746736"/>
                  <a:pt x="1340589" y="4745910"/>
                </a:cubicBezTo>
                <a:cubicBezTo>
                  <a:pt x="1340279" y="4745084"/>
                  <a:pt x="1340434" y="4743948"/>
                  <a:pt x="1340744" y="4742709"/>
                </a:cubicBezTo>
                <a:cubicBezTo>
                  <a:pt x="1341518" y="4740334"/>
                  <a:pt x="1343377" y="4740128"/>
                  <a:pt x="1343377" y="4740128"/>
                </a:cubicBezTo>
                <a:close/>
                <a:moveTo>
                  <a:pt x="1611328" y="4739856"/>
                </a:moveTo>
                <a:cubicBezTo>
                  <a:pt x="1612780" y="4739663"/>
                  <a:pt x="1614135" y="4740024"/>
                  <a:pt x="1615375" y="4742399"/>
                </a:cubicBezTo>
                <a:cubicBezTo>
                  <a:pt x="1614910" y="4745290"/>
                  <a:pt x="1612432" y="4747562"/>
                  <a:pt x="1609798" y="4748078"/>
                </a:cubicBezTo>
                <a:cubicBezTo>
                  <a:pt x="1608869" y="4748285"/>
                  <a:pt x="1608095" y="4748285"/>
                  <a:pt x="1607165" y="4748078"/>
                </a:cubicBezTo>
                <a:cubicBezTo>
                  <a:pt x="1606081" y="4747769"/>
                  <a:pt x="1604996" y="4747046"/>
                  <a:pt x="1604222" y="4745807"/>
                </a:cubicBezTo>
                <a:cubicBezTo>
                  <a:pt x="1605307" y="4744154"/>
                  <a:pt x="1605617" y="4742399"/>
                  <a:pt x="1606700" y="4740644"/>
                </a:cubicBezTo>
                <a:cubicBezTo>
                  <a:pt x="1608327" y="4740798"/>
                  <a:pt x="1609876" y="4740050"/>
                  <a:pt x="1611328" y="4739856"/>
                </a:cubicBezTo>
                <a:close/>
                <a:moveTo>
                  <a:pt x="6467646" y="4739526"/>
                </a:moveTo>
                <a:cubicBezTo>
                  <a:pt x="6470434" y="4737461"/>
                  <a:pt x="6473377" y="4738700"/>
                  <a:pt x="6475391" y="4741075"/>
                </a:cubicBezTo>
                <a:cubicBezTo>
                  <a:pt x="6477250" y="4743553"/>
                  <a:pt x="6478179" y="4747064"/>
                  <a:pt x="6477095" y="4749748"/>
                </a:cubicBezTo>
                <a:cubicBezTo>
                  <a:pt x="6472293" y="4749129"/>
                  <a:pt x="6468886" y="4747786"/>
                  <a:pt x="6467801" y="4744069"/>
                </a:cubicBezTo>
                <a:cubicBezTo>
                  <a:pt x="6467491" y="4742830"/>
                  <a:pt x="6467337" y="4741384"/>
                  <a:pt x="6467646" y="4739526"/>
                </a:cubicBezTo>
                <a:close/>
                <a:moveTo>
                  <a:pt x="1551712" y="4739198"/>
                </a:moveTo>
                <a:cubicBezTo>
                  <a:pt x="1552022" y="4740128"/>
                  <a:pt x="1552487" y="4741263"/>
                  <a:pt x="1552642" y="4742709"/>
                </a:cubicBezTo>
                <a:lnTo>
                  <a:pt x="1551867" y="4744774"/>
                </a:lnTo>
                <a:lnTo>
                  <a:pt x="1553106" y="4745084"/>
                </a:lnTo>
                <a:lnTo>
                  <a:pt x="1555429" y="4748285"/>
                </a:lnTo>
                <a:lnTo>
                  <a:pt x="1560387" y="4750453"/>
                </a:lnTo>
                <a:lnTo>
                  <a:pt x="1555585" y="4753344"/>
                </a:lnTo>
                <a:lnTo>
                  <a:pt x="1555429" y="4755100"/>
                </a:lnTo>
                <a:cubicBezTo>
                  <a:pt x="1553726" y="4755409"/>
                  <a:pt x="1552177" y="4755409"/>
                  <a:pt x="1550938" y="4755306"/>
                </a:cubicBezTo>
                <a:lnTo>
                  <a:pt x="1548305" y="4754893"/>
                </a:lnTo>
                <a:lnTo>
                  <a:pt x="1543503" y="4755306"/>
                </a:lnTo>
                <a:cubicBezTo>
                  <a:pt x="1536378" y="4754686"/>
                  <a:pt x="1529407" y="4751486"/>
                  <a:pt x="1528323" y="4745497"/>
                </a:cubicBezTo>
                <a:cubicBezTo>
                  <a:pt x="1533899" y="4748285"/>
                  <a:pt x="1539165" y="4747459"/>
                  <a:pt x="1544432" y="4746942"/>
                </a:cubicBezTo>
                <a:lnTo>
                  <a:pt x="1544742" y="4746942"/>
                </a:lnTo>
                <a:lnTo>
                  <a:pt x="1543658" y="4744980"/>
                </a:lnTo>
                <a:cubicBezTo>
                  <a:pt x="1543813" y="4743948"/>
                  <a:pt x="1544587" y="4742915"/>
                  <a:pt x="1545516" y="4741780"/>
                </a:cubicBezTo>
                <a:cubicBezTo>
                  <a:pt x="1547375" y="4739405"/>
                  <a:pt x="1549853" y="4740644"/>
                  <a:pt x="1551712" y="4739198"/>
                </a:cubicBezTo>
                <a:close/>
                <a:moveTo>
                  <a:pt x="1109793" y="4738579"/>
                </a:moveTo>
                <a:cubicBezTo>
                  <a:pt x="1112736" y="4738785"/>
                  <a:pt x="1114905" y="4740541"/>
                  <a:pt x="1115060" y="4743742"/>
                </a:cubicBezTo>
                <a:cubicBezTo>
                  <a:pt x="1114285" y="4745394"/>
                  <a:pt x="1112427" y="4745497"/>
                  <a:pt x="1110568" y="4745600"/>
                </a:cubicBezTo>
                <a:cubicBezTo>
                  <a:pt x="1109019" y="4745497"/>
                  <a:pt x="1108244" y="4744980"/>
                  <a:pt x="1107780" y="4744154"/>
                </a:cubicBezTo>
                <a:cubicBezTo>
                  <a:pt x="1107470" y="4743329"/>
                  <a:pt x="1107315" y="4742296"/>
                  <a:pt x="1107625" y="4741057"/>
                </a:cubicBezTo>
                <a:cubicBezTo>
                  <a:pt x="1107934" y="4738682"/>
                  <a:pt x="1109793" y="4738579"/>
                  <a:pt x="1109793" y="4738579"/>
                </a:cubicBezTo>
                <a:close/>
                <a:moveTo>
                  <a:pt x="1598026" y="4738269"/>
                </a:moveTo>
                <a:cubicBezTo>
                  <a:pt x="1599575" y="4740231"/>
                  <a:pt x="1602673" y="4742503"/>
                  <a:pt x="1601589" y="4745807"/>
                </a:cubicBezTo>
                <a:cubicBezTo>
                  <a:pt x="1600505" y="4744258"/>
                  <a:pt x="1598026" y="4741676"/>
                  <a:pt x="1597562" y="4739818"/>
                </a:cubicBezTo>
                <a:cubicBezTo>
                  <a:pt x="1597407" y="4739198"/>
                  <a:pt x="1597562" y="4738579"/>
                  <a:pt x="1598026" y="4738269"/>
                </a:cubicBezTo>
                <a:close/>
                <a:moveTo>
                  <a:pt x="909048" y="4738269"/>
                </a:moveTo>
                <a:cubicBezTo>
                  <a:pt x="910596" y="4737236"/>
                  <a:pt x="913385" y="4739818"/>
                  <a:pt x="915089" y="4740541"/>
                </a:cubicBezTo>
                <a:cubicBezTo>
                  <a:pt x="914469" y="4741470"/>
                  <a:pt x="913694" y="4742296"/>
                  <a:pt x="914624" y="4742296"/>
                </a:cubicBezTo>
                <a:cubicBezTo>
                  <a:pt x="913849" y="4743225"/>
                  <a:pt x="913075" y="4743638"/>
                  <a:pt x="912301" y="4743845"/>
                </a:cubicBezTo>
                <a:cubicBezTo>
                  <a:pt x="911525" y="4743948"/>
                  <a:pt x="910596" y="4743845"/>
                  <a:pt x="909668" y="4743432"/>
                </a:cubicBezTo>
                <a:cubicBezTo>
                  <a:pt x="908738" y="4742606"/>
                  <a:pt x="908583" y="4740850"/>
                  <a:pt x="909048" y="4738269"/>
                </a:cubicBezTo>
                <a:close/>
                <a:moveTo>
                  <a:pt x="1383804" y="4737649"/>
                </a:moveTo>
                <a:lnTo>
                  <a:pt x="1388452" y="4739302"/>
                </a:lnTo>
                <a:lnTo>
                  <a:pt x="1390001" y="4738475"/>
                </a:lnTo>
                <a:cubicBezTo>
                  <a:pt x="1392479" y="4737752"/>
                  <a:pt x="1394803" y="4737856"/>
                  <a:pt x="1396506" y="4739302"/>
                </a:cubicBezTo>
                <a:lnTo>
                  <a:pt x="1392634" y="4742812"/>
                </a:lnTo>
                <a:lnTo>
                  <a:pt x="1396971" y="4747665"/>
                </a:lnTo>
                <a:lnTo>
                  <a:pt x="1397436" y="4748801"/>
                </a:lnTo>
                <a:lnTo>
                  <a:pt x="1399139" y="4747355"/>
                </a:lnTo>
                <a:cubicBezTo>
                  <a:pt x="1400224" y="4747046"/>
                  <a:pt x="1401773" y="4746942"/>
                  <a:pt x="1403322" y="4747252"/>
                </a:cubicBezTo>
                <a:cubicBezTo>
                  <a:pt x="1404406" y="4750040"/>
                  <a:pt x="1406110" y="4753654"/>
                  <a:pt x="1406574" y="4757371"/>
                </a:cubicBezTo>
                <a:lnTo>
                  <a:pt x="1406419" y="4760779"/>
                </a:lnTo>
                <a:lnTo>
                  <a:pt x="1411376" y="4765219"/>
                </a:lnTo>
                <a:cubicBezTo>
                  <a:pt x="1410912" y="4766354"/>
                  <a:pt x="1410292" y="4767387"/>
                  <a:pt x="1411376" y="4768007"/>
                </a:cubicBezTo>
                <a:cubicBezTo>
                  <a:pt x="1408588" y="4775132"/>
                  <a:pt x="1401153" y="4778952"/>
                  <a:pt x="1393408" y="4779262"/>
                </a:cubicBezTo>
                <a:cubicBezTo>
                  <a:pt x="1387522" y="4779468"/>
                  <a:pt x="1381636" y="4777713"/>
                  <a:pt x="1377299" y="4773789"/>
                </a:cubicBezTo>
                <a:lnTo>
                  <a:pt x="1376680" y="4773066"/>
                </a:lnTo>
                <a:lnTo>
                  <a:pt x="1377299" y="4774512"/>
                </a:lnTo>
                <a:cubicBezTo>
                  <a:pt x="1377145" y="4775751"/>
                  <a:pt x="1376989" y="4775751"/>
                  <a:pt x="1376370" y="4776164"/>
                </a:cubicBezTo>
                <a:cubicBezTo>
                  <a:pt x="1375440" y="4777816"/>
                  <a:pt x="1375285" y="4778952"/>
                  <a:pt x="1373427" y="4779158"/>
                </a:cubicBezTo>
                <a:cubicBezTo>
                  <a:pt x="1371878" y="4779055"/>
                  <a:pt x="1371103" y="4778539"/>
                  <a:pt x="1370638" y="4777610"/>
                </a:cubicBezTo>
                <a:cubicBezTo>
                  <a:pt x="1370174" y="4776680"/>
                  <a:pt x="1370019" y="4775338"/>
                  <a:pt x="1369864" y="4773789"/>
                </a:cubicBezTo>
                <a:cubicBezTo>
                  <a:pt x="1369709" y="4770588"/>
                  <a:pt x="1372342" y="4769969"/>
                  <a:pt x="1372652" y="4767594"/>
                </a:cubicBezTo>
                <a:lnTo>
                  <a:pt x="1373891" y="4768523"/>
                </a:lnTo>
                <a:lnTo>
                  <a:pt x="1378228" y="4761295"/>
                </a:lnTo>
                <a:cubicBezTo>
                  <a:pt x="1380242" y="4759333"/>
                  <a:pt x="1382565" y="4757887"/>
                  <a:pt x="1385044" y="4756958"/>
                </a:cubicBezTo>
                <a:lnTo>
                  <a:pt x="1389846" y="4756132"/>
                </a:lnTo>
                <a:lnTo>
                  <a:pt x="1386748" y="4753861"/>
                </a:lnTo>
                <a:lnTo>
                  <a:pt x="1383959" y="4750453"/>
                </a:lnTo>
                <a:lnTo>
                  <a:pt x="1381171" y="4753035"/>
                </a:lnTo>
                <a:lnTo>
                  <a:pt x="1375750" y="4756236"/>
                </a:lnTo>
                <a:lnTo>
                  <a:pt x="1375750" y="4756339"/>
                </a:lnTo>
                <a:lnTo>
                  <a:pt x="1375595" y="4756339"/>
                </a:lnTo>
                <a:lnTo>
                  <a:pt x="1374356" y="4756958"/>
                </a:lnTo>
                <a:lnTo>
                  <a:pt x="1374666" y="4756236"/>
                </a:lnTo>
                <a:lnTo>
                  <a:pt x="1369090" y="4755822"/>
                </a:lnTo>
                <a:cubicBezTo>
                  <a:pt x="1362739" y="4753241"/>
                  <a:pt x="1358092" y="4745394"/>
                  <a:pt x="1356233" y="4740437"/>
                </a:cubicBezTo>
                <a:cubicBezTo>
                  <a:pt x="1359641" y="4742296"/>
                  <a:pt x="1363358" y="4744051"/>
                  <a:pt x="1366766" y="4746323"/>
                </a:cubicBezTo>
                <a:cubicBezTo>
                  <a:pt x="1368470" y="4747562"/>
                  <a:pt x="1370019" y="4748904"/>
                  <a:pt x="1371568" y="4750453"/>
                </a:cubicBezTo>
                <a:lnTo>
                  <a:pt x="1374975" y="4755100"/>
                </a:lnTo>
                <a:lnTo>
                  <a:pt x="1376370" y="4749834"/>
                </a:lnTo>
                <a:lnTo>
                  <a:pt x="1380552" y="4744980"/>
                </a:lnTo>
                <a:lnTo>
                  <a:pt x="1378848" y="4741470"/>
                </a:lnTo>
                <a:cubicBezTo>
                  <a:pt x="1380087" y="4738888"/>
                  <a:pt x="1381791" y="4737752"/>
                  <a:pt x="1383804" y="4737649"/>
                </a:cubicBezTo>
                <a:close/>
                <a:moveTo>
                  <a:pt x="1460633" y="4737546"/>
                </a:moveTo>
                <a:cubicBezTo>
                  <a:pt x="1461717" y="4737959"/>
                  <a:pt x="1461717" y="4738062"/>
                  <a:pt x="1462492" y="4740334"/>
                </a:cubicBezTo>
                <a:cubicBezTo>
                  <a:pt x="1461562" y="4739921"/>
                  <a:pt x="1461562" y="4739921"/>
                  <a:pt x="1461098" y="4740953"/>
                </a:cubicBezTo>
                <a:cubicBezTo>
                  <a:pt x="1461098" y="4740953"/>
                  <a:pt x="1461098" y="4741057"/>
                  <a:pt x="1461408" y="4741780"/>
                </a:cubicBezTo>
                <a:cubicBezTo>
                  <a:pt x="1460633" y="4742089"/>
                  <a:pt x="1460323" y="4741367"/>
                  <a:pt x="1459549" y="4741676"/>
                </a:cubicBezTo>
                <a:cubicBezTo>
                  <a:pt x="1459549" y="4741676"/>
                  <a:pt x="1459394" y="4740953"/>
                  <a:pt x="1459394" y="4740953"/>
                </a:cubicBezTo>
                <a:cubicBezTo>
                  <a:pt x="1458929" y="4741160"/>
                  <a:pt x="1458929" y="4741160"/>
                  <a:pt x="1459084" y="4740850"/>
                </a:cubicBezTo>
                <a:cubicBezTo>
                  <a:pt x="1459239" y="4740541"/>
                  <a:pt x="1459394" y="4740024"/>
                  <a:pt x="1459394" y="4739095"/>
                </a:cubicBezTo>
                <a:cubicBezTo>
                  <a:pt x="1459859" y="4737959"/>
                  <a:pt x="1459549" y="4737236"/>
                  <a:pt x="1460633" y="4737546"/>
                </a:cubicBezTo>
                <a:close/>
                <a:moveTo>
                  <a:pt x="1523056" y="4737340"/>
                </a:moveTo>
                <a:cubicBezTo>
                  <a:pt x="1523056" y="4737340"/>
                  <a:pt x="1523056" y="4737443"/>
                  <a:pt x="1524915" y="4737546"/>
                </a:cubicBezTo>
                <a:cubicBezTo>
                  <a:pt x="1525690" y="4737959"/>
                  <a:pt x="1526464" y="4738372"/>
                  <a:pt x="1526929" y="4739611"/>
                </a:cubicBezTo>
                <a:cubicBezTo>
                  <a:pt x="1527394" y="4740850"/>
                  <a:pt x="1526619" y="4742399"/>
                  <a:pt x="1526309" y="4743225"/>
                </a:cubicBezTo>
                <a:cubicBezTo>
                  <a:pt x="1525535" y="4742709"/>
                  <a:pt x="1525070" y="4743535"/>
                  <a:pt x="1524295" y="4743019"/>
                </a:cubicBezTo>
                <a:cubicBezTo>
                  <a:pt x="1522437" y="4742915"/>
                  <a:pt x="1522437" y="4743019"/>
                  <a:pt x="1521972" y="4741780"/>
                </a:cubicBezTo>
                <a:cubicBezTo>
                  <a:pt x="1521507" y="4740541"/>
                  <a:pt x="1523366" y="4738579"/>
                  <a:pt x="1523056" y="4737340"/>
                </a:cubicBezTo>
                <a:close/>
                <a:moveTo>
                  <a:pt x="6374631" y="4737048"/>
                </a:moveTo>
                <a:cubicBezTo>
                  <a:pt x="6375870" y="4736247"/>
                  <a:pt x="6377574" y="4736170"/>
                  <a:pt x="6379355" y="4737358"/>
                </a:cubicBezTo>
                <a:cubicBezTo>
                  <a:pt x="6378891" y="4742210"/>
                  <a:pt x="6376877" y="4743966"/>
                  <a:pt x="6373934" y="4744482"/>
                </a:cubicBezTo>
                <a:cubicBezTo>
                  <a:pt x="6373005" y="4743346"/>
                  <a:pt x="6372695" y="4742210"/>
                  <a:pt x="6372695" y="4741075"/>
                </a:cubicBezTo>
                <a:cubicBezTo>
                  <a:pt x="6372618" y="4739371"/>
                  <a:pt x="6373392" y="4737848"/>
                  <a:pt x="6374631" y="4737048"/>
                </a:cubicBezTo>
                <a:close/>
                <a:moveTo>
                  <a:pt x="1412306" y="4735894"/>
                </a:moveTo>
                <a:cubicBezTo>
                  <a:pt x="1413235" y="4735584"/>
                  <a:pt x="1413390" y="4736410"/>
                  <a:pt x="1414164" y="4736101"/>
                </a:cubicBezTo>
                <a:cubicBezTo>
                  <a:pt x="1414784" y="4736307"/>
                  <a:pt x="1415093" y="4737133"/>
                  <a:pt x="1415403" y="4738062"/>
                </a:cubicBezTo>
                <a:cubicBezTo>
                  <a:pt x="1416333" y="4741057"/>
                  <a:pt x="1416178" y="4746323"/>
                  <a:pt x="1415558" y="4746530"/>
                </a:cubicBezTo>
                <a:cubicBezTo>
                  <a:pt x="1415868" y="4747355"/>
                  <a:pt x="1414939" y="4747665"/>
                  <a:pt x="1415248" y="4748491"/>
                </a:cubicBezTo>
                <a:cubicBezTo>
                  <a:pt x="1415248" y="4748491"/>
                  <a:pt x="1415558" y="4749317"/>
                  <a:pt x="1414939" y="4750453"/>
                </a:cubicBezTo>
                <a:cubicBezTo>
                  <a:pt x="1414319" y="4751589"/>
                  <a:pt x="1413854" y="4752725"/>
                  <a:pt x="1411841" y="4752621"/>
                </a:cubicBezTo>
                <a:lnTo>
                  <a:pt x="1411841" y="4746323"/>
                </a:lnTo>
                <a:lnTo>
                  <a:pt x="1410757" y="4748491"/>
                </a:lnTo>
                <a:cubicBezTo>
                  <a:pt x="1409672" y="4749524"/>
                  <a:pt x="1408279" y="4750247"/>
                  <a:pt x="1407039" y="4750143"/>
                </a:cubicBezTo>
                <a:cubicBezTo>
                  <a:pt x="1404871" y="4748285"/>
                  <a:pt x="1405955" y="4746736"/>
                  <a:pt x="1404560" y="4745704"/>
                </a:cubicBezTo>
                <a:cubicBezTo>
                  <a:pt x="1406110" y="4744154"/>
                  <a:pt x="1407349" y="4743329"/>
                  <a:pt x="1408743" y="4743225"/>
                </a:cubicBezTo>
                <a:lnTo>
                  <a:pt x="1411996" y="4744464"/>
                </a:lnTo>
                <a:lnTo>
                  <a:pt x="1411996" y="4743638"/>
                </a:lnTo>
                <a:lnTo>
                  <a:pt x="1412150" y="4739405"/>
                </a:lnTo>
                <a:close/>
                <a:moveTo>
                  <a:pt x="1404871" y="4735791"/>
                </a:moveTo>
                <a:cubicBezTo>
                  <a:pt x="1406110" y="4736101"/>
                  <a:pt x="1407659" y="4736101"/>
                  <a:pt x="1409053" y="4736513"/>
                </a:cubicBezTo>
                <a:lnTo>
                  <a:pt x="1412150" y="4739405"/>
                </a:lnTo>
                <a:lnTo>
                  <a:pt x="1408743" y="4738682"/>
                </a:lnTo>
                <a:cubicBezTo>
                  <a:pt x="1407504" y="4738372"/>
                  <a:pt x="1406264" y="4737856"/>
                  <a:pt x="1405645" y="4737236"/>
                </a:cubicBezTo>
                <a:cubicBezTo>
                  <a:pt x="1405025" y="4736823"/>
                  <a:pt x="1404871" y="4736410"/>
                  <a:pt x="1404871" y="4735791"/>
                </a:cubicBezTo>
                <a:close/>
                <a:moveTo>
                  <a:pt x="1783282" y="4735584"/>
                </a:moveTo>
                <a:cubicBezTo>
                  <a:pt x="1783282" y="4735584"/>
                  <a:pt x="1784211" y="4735997"/>
                  <a:pt x="1784211" y="4735997"/>
                </a:cubicBezTo>
                <a:cubicBezTo>
                  <a:pt x="1788239" y="4736720"/>
                  <a:pt x="1791646" y="4740747"/>
                  <a:pt x="1791492" y="4742709"/>
                </a:cubicBezTo>
                <a:cubicBezTo>
                  <a:pt x="1790873" y="4744464"/>
                  <a:pt x="1789013" y="4746116"/>
                  <a:pt x="1786845" y="4746426"/>
                </a:cubicBezTo>
                <a:cubicBezTo>
                  <a:pt x="1786070" y="4746530"/>
                  <a:pt x="1785296" y="4746426"/>
                  <a:pt x="1784521" y="4746116"/>
                </a:cubicBezTo>
                <a:cubicBezTo>
                  <a:pt x="1781579" y="4745704"/>
                  <a:pt x="1780339" y="4742606"/>
                  <a:pt x="1777086" y="4741470"/>
                </a:cubicBezTo>
                <a:cubicBezTo>
                  <a:pt x="1778171" y="4737133"/>
                  <a:pt x="1778790" y="4735894"/>
                  <a:pt x="1783282" y="4735584"/>
                </a:cubicBezTo>
                <a:close/>
                <a:moveTo>
                  <a:pt x="6655071" y="4735499"/>
                </a:moveTo>
                <a:cubicBezTo>
                  <a:pt x="6655690" y="4737461"/>
                  <a:pt x="6655225" y="4739939"/>
                  <a:pt x="6654141" y="4742520"/>
                </a:cubicBezTo>
                <a:cubicBezTo>
                  <a:pt x="6650889" y="4750161"/>
                  <a:pt x="6641595" y="4758732"/>
                  <a:pt x="6635399" y="4758112"/>
                </a:cubicBezTo>
                <a:cubicBezTo>
                  <a:pt x="6633850" y="4756563"/>
                  <a:pt x="6632766" y="4755014"/>
                  <a:pt x="6632301" y="4753569"/>
                </a:cubicBezTo>
                <a:cubicBezTo>
                  <a:pt x="6631371" y="4750987"/>
                  <a:pt x="6631991" y="4748612"/>
                  <a:pt x="6633540" y="4746547"/>
                </a:cubicBezTo>
                <a:cubicBezTo>
                  <a:pt x="6637877" y="4740248"/>
                  <a:pt x="6650269" y="4736428"/>
                  <a:pt x="6655071" y="4735499"/>
                </a:cubicBezTo>
                <a:close/>
                <a:moveTo>
                  <a:pt x="1135506" y="4735275"/>
                </a:moveTo>
                <a:cubicBezTo>
                  <a:pt x="1145265" y="4742193"/>
                  <a:pt x="1141702" y="4749834"/>
                  <a:pt x="1135351" y="4748698"/>
                </a:cubicBezTo>
                <a:cubicBezTo>
                  <a:pt x="1133183" y="4748388"/>
                  <a:pt x="1130704" y="4747046"/>
                  <a:pt x="1128381" y="4744464"/>
                </a:cubicBezTo>
                <a:cubicBezTo>
                  <a:pt x="1127296" y="4740128"/>
                  <a:pt x="1132098" y="4734345"/>
                  <a:pt x="1135506" y="4735275"/>
                </a:cubicBezTo>
                <a:close/>
                <a:moveTo>
                  <a:pt x="6099613" y="4735086"/>
                </a:moveTo>
                <a:cubicBezTo>
                  <a:pt x="6102711" y="4743140"/>
                  <a:pt x="6096360" y="4753466"/>
                  <a:pt x="6091713" y="4757596"/>
                </a:cubicBezTo>
                <a:cubicBezTo>
                  <a:pt x="6088460" y="4749438"/>
                  <a:pt x="6093882" y="4737977"/>
                  <a:pt x="6099613" y="4735086"/>
                </a:cubicBezTo>
                <a:close/>
                <a:moveTo>
                  <a:pt x="6032853" y="4734673"/>
                </a:moveTo>
                <a:cubicBezTo>
                  <a:pt x="6032853" y="4734673"/>
                  <a:pt x="6032853" y="4734673"/>
                  <a:pt x="6033627" y="4734673"/>
                </a:cubicBezTo>
                <a:cubicBezTo>
                  <a:pt x="6032388" y="4738183"/>
                  <a:pt x="6032853" y="4742624"/>
                  <a:pt x="6030994" y="4745205"/>
                </a:cubicBezTo>
                <a:cubicBezTo>
                  <a:pt x="6030529" y="4745618"/>
                  <a:pt x="6029910" y="4746031"/>
                  <a:pt x="6029445" y="4746134"/>
                </a:cubicBezTo>
                <a:cubicBezTo>
                  <a:pt x="6028980" y="4746238"/>
                  <a:pt x="6028360" y="4746134"/>
                  <a:pt x="6027586" y="4745205"/>
                </a:cubicBezTo>
                <a:cubicBezTo>
                  <a:pt x="6026812" y="4744689"/>
                  <a:pt x="6026347" y="4744276"/>
                  <a:pt x="6026502" y="4743553"/>
                </a:cubicBezTo>
                <a:cubicBezTo>
                  <a:pt x="6026502" y="4742933"/>
                  <a:pt x="6027121" y="4742004"/>
                  <a:pt x="6028051" y="4740765"/>
                </a:cubicBezTo>
                <a:cubicBezTo>
                  <a:pt x="6029910" y="4739009"/>
                  <a:pt x="6030839" y="4737358"/>
                  <a:pt x="6031768" y="4737358"/>
                </a:cubicBezTo>
                <a:cubicBezTo>
                  <a:pt x="6031768" y="4736428"/>
                  <a:pt x="6032698" y="4735602"/>
                  <a:pt x="6032853" y="4734673"/>
                </a:cubicBezTo>
                <a:close/>
                <a:moveTo>
                  <a:pt x="1292880" y="4734655"/>
                </a:moveTo>
                <a:cubicBezTo>
                  <a:pt x="1293345" y="4735275"/>
                  <a:pt x="1293500" y="4736204"/>
                  <a:pt x="1293190" y="4737340"/>
                </a:cubicBezTo>
                <a:cubicBezTo>
                  <a:pt x="1292261" y="4737649"/>
                  <a:pt x="1291487" y="4737752"/>
                  <a:pt x="1290712" y="4737752"/>
                </a:cubicBezTo>
                <a:cubicBezTo>
                  <a:pt x="1289937" y="4737856"/>
                  <a:pt x="1289008" y="4737752"/>
                  <a:pt x="1287769" y="4737752"/>
                </a:cubicBezTo>
                <a:cubicBezTo>
                  <a:pt x="1287304" y="4734036"/>
                  <a:pt x="1291487" y="4732900"/>
                  <a:pt x="1292880" y="4734655"/>
                </a:cubicBezTo>
                <a:close/>
                <a:moveTo>
                  <a:pt x="642781" y="4734448"/>
                </a:moveTo>
                <a:cubicBezTo>
                  <a:pt x="646654" y="4734448"/>
                  <a:pt x="645569" y="4734036"/>
                  <a:pt x="649131" y="4735997"/>
                </a:cubicBezTo>
                <a:cubicBezTo>
                  <a:pt x="648047" y="4738269"/>
                  <a:pt x="647118" y="4740644"/>
                  <a:pt x="646188" y="4742915"/>
                </a:cubicBezTo>
                <a:cubicBezTo>
                  <a:pt x="644794" y="4741780"/>
                  <a:pt x="642781" y="4741780"/>
                  <a:pt x="641697" y="4741470"/>
                </a:cubicBezTo>
                <a:cubicBezTo>
                  <a:pt x="640767" y="4739095"/>
                  <a:pt x="641077" y="4737236"/>
                  <a:pt x="642781" y="4734448"/>
                </a:cubicBezTo>
                <a:close/>
                <a:moveTo>
                  <a:pt x="6264577" y="4734363"/>
                </a:moveTo>
                <a:cubicBezTo>
                  <a:pt x="6270773" y="4742417"/>
                  <a:pt x="6255439" y="4753878"/>
                  <a:pt x="6249552" y="4755427"/>
                </a:cubicBezTo>
                <a:cubicBezTo>
                  <a:pt x="6252650" y="4748612"/>
                  <a:pt x="6258072" y="4737564"/>
                  <a:pt x="6264577" y="4734363"/>
                </a:cubicBezTo>
                <a:close/>
                <a:moveTo>
                  <a:pt x="903471" y="4734345"/>
                </a:moveTo>
                <a:cubicBezTo>
                  <a:pt x="906104" y="4733003"/>
                  <a:pt x="910132" y="4741160"/>
                  <a:pt x="901922" y="4739611"/>
                </a:cubicBezTo>
                <a:cubicBezTo>
                  <a:pt x="902077" y="4736307"/>
                  <a:pt x="902697" y="4734758"/>
                  <a:pt x="903471" y="4734345"/>
                </a:cubicBezTo>
                <a:close/>
                <a:moveTo>
                  <a:pt x="1731857" y="4733622"/>
                </a:moveTo>
                <a:cubicBezTo>
                  <a:pt x="1732166" y="4735378"/>
                  <a:pt x="1731857" y="4736823"/>
                  <a:pt x="1731082" y="4737856"/>
                </a:cubicBezTo>
                <a:lnTo>
                  <a:pt x="1728294" y="4740850"/>
                </a:lnTo>
                <a:lnTo>
                  <a:pt x="1729223" y="4742296"/>
                </a:lnTo>
                <a:cubicBezTo>
                  <a:pt x="1729533" y="4743225"/>
                  <a:pt x="1729533" y="4744154"/>
                  <a:pt x="1729223" y="4745497"/>
                </a:cubicBezTo>
                <a:cubicBezTo>
                  <a:pt x="1728294" y="4744464"/>
                  <a:pt x="1727674" y="4743535"/>
                  <a:pt x="1727210" y="4742503"/>
                </a:cubicBezTo>
                <a:lnTo>
                  <a:pt x="1727210" y="4741676"/>
                </a:lnTo>
                <a:lnTo>
                  <a:pt x="1726435" y="4742399"/>
                </a:lnTo>
                <a:cubicBezTo>
                  <a:pt x="1726125" y="4743019"/>
                  <a:pt x="1725970" y="4743638"/>
                  <a:pt x="1725816" y="4744568"/>
                </a:cubicBezTo>
                <a:cubicBezTo>
                  <a:pt x="1725816" y="4744568"/>
                  <a:pt x="1725816" y="4744568"/>
                  <a:pt x="1723492" y="4745290"/>
                </a:cubicBezTo>
                <a:lnTo>
                  <a:pt x="1722873" y="4744774"/>
                </a:lnTo>
                <a:cubicBezTo>
                  <a:pt x="1722563" y="4744361"/>
                  <a:pt x="1722873" y="4743742"/>
                  <a:pt x="1723337" y="4742915"/>
                </a:cubicBezTo>
                <a:cubicBezTo>
                  <a:pt x="1724732" y="4740231"/>
                  <a:pt x="1728294" y="4736410"/>
                  <a:pt x="1728604" y="4735791"/>
                </a:cubicBezTo>
                <a:cubicBezTo>
                  <a:pt x="1728604" y="4735791"/>
                  <a:pt x="1729068" y="4735068"/>
                  <a:pt x="1729533" y="4734242"/>
                </a:cubicBezTo>
                <a:cubicBezTo>
                  <a:pt x="1730772" y="4733932"/>
                  <a:pt x="1731392" y="4734345"/>
                  <a:pt x="1731857" y="4733622"/>
                </a:cubicBezTo>
                <a:close/>
                <a:moveTo>
                  <a:pt x="1722563" y="4733416"/>
                </a:moveTo>
                <a:cubicBezTo>
                  <a:pt x="1723182" y="4733622"/>
                  <a:pt x="1723802" y="4734036"/>
                  <a:pt x="1724421" y="4734758"/>
                </a:cubicBezTo>
                <a:cubicBezTo>
                  <a:pt x="1724421" y="4734758"/>
                  <a:pt x="1724267" y="4734758"/>
                  <a:pt x="1724267" y="4735687"/>
                </a:cubicBezTo>
                <a:cubicBezTo>
                  <a:pt x="1724267" y="4737340"/>
                  <a:pt x="1724267" y="4738166"/>
                  <a:pt x="1724267" y="4739095"/>
                </a:cubicBezTo>
                <a:cubicBezTo>
                  <a:pt x="1723802" y="4739405"/>
                  <a:pt x="1723028" y="4739921"/>
                  <a:pt x="1722098" y="4740334"/>
                </a:cubicBezTo>
                <a:cubicBezTo>
                  <a:pt x="1721323" y="4740644"/>
                  <a:pt x="1720394" y="4740747"/>
                  <a:pt x="1719930" y="4740334"/>
                </a:cubicBezTo>
                <a:cubicBezTo>
                  <a:pt x="1718381" y="4738372"/>
                  <a:pt x="1717606" y="4735687"/>
                  <a:pt x="1718381" y="4734965"/>
                </a:cubicBezTo>
                <a:cubicBezTo>
                  <a:pt x="1719775" y="4733829"/>
                  <a:pt x="1721014" y="4732693"/>
                  <a:pt x="1722563" y="4733416"/>
                </a:cubicBezTo>
                <a:close/>
                <a:moveTo>
                  <a:pt x="1852831" y="4733209"/>
                </a:moveTo>
                <a:cubicBezTo>
                  <a:pt x="1853140" y="4734139"/>
                  <a:pt x="1854380" y="4735481"/>
                  <a:pt x="1853760" y="4736617"/>
                </a:cubicBezTo>
                <a:cubicBezTo>
                  <a:pt x="1853140" y="4737752"/>
                  <a:pt x="1853140" y="4737752"/>
                  <a:pt x="1851591" y="4738372"/>
                </a:cubicBezTo>
                <a:cubicBezTo>
                  <a:pt x="1851746" y="4735584"/>
                  <a:pt x="1851746" y="4735481"/>
                  <a:pt x="1852831" y="4733209"/>
                </a:cubicBezTo>
                <a:close/>
                <a:moveTo>
                  <a:pt x="1531885" y="4733106"/>
                </a:moveTo>
                <a:cubicBezTo>
                  <a:pt x="1534828" y="4735481"/>
                  <a:pt x="1532970" y="4737752"/>
                  <a:pt x="1530956" y="4739921"/>
                </a:cubicBezTo>
                <a:cubicBezTo>
                  <a:pt x="1529407" y="4738682"/>
                  <a:pt x="1527703" y="4739095"/>
                  <a:pt x="1526464" y="4736204"/>
                </a:cubicBezTo>
                <a:cubicBezTo>
                  <a:pt x="1528323" y="4734862"/>
                  <a:pt x="1530027" y="4734345"/>
                  <a:pt x="1531885" y="4733106"/>
                </a:cubicBezTo>
                <a:close/>
                <a:moveTo>
                  <a:pt x="775527" y="4733003"/>
                </a:moveTo>
                <a:cubicBezTo>
                  <a:pt x="775992" y="4732280"/>
                  <a:pt x="779090" y="4733209"/>
                  <a:pt x="779399" y="4734448"/>
                </a:cubicBezTo>
                <a:cubicBezTo>
                  <a:pt x="780483" y="4737236"/>
                  <a:pt x="777696" y="4738579"/>
                  <a:pt x="775062" y="4741160"/>
                </a:cubicBezTo>
                <a:cubicBezTo>
                  <a:pt x="774753" y="4739921"/>
                  <a:pt x="773668" y="4740334"/>
                  <a:pt x="772584" y="4740644"/>
                </a:cubicBezTo>
                <a:cubicBezTo>
                  <a:pt x="772274" y="4738785"/>
                  <a:pt x="771345" y="4736101"/>
                  <a:pt x="772893" y="4734345"/>
                </a:cubicBezTo>
                <a:cubicBezTo>
                  <a:pt x="773513" y="4733726"/>
                  <a:pt x="774288" y="4733313"/>
                  <a:pt x="775527" y="4733003"/>
                </a:cubicBezTo>
                <a:close/>
                <a:moveTo>
                  <a:pt x="1836567" y="4732280"/>
                </a:moveTo>
                <a:cubicBezTo>
                  <a:pt x="1835327" y="4738475"/>
                  <a:pt x="1835483" y="4755203"/>
                  <a:pt x="1825879" y="4754377"/>
                </a:cubicBezTo>
                <a:cubicBezTo>
                  <a:pt x="1827428" y="4748904"/>
                  <a:pt x="1829752" y="4731041"/>
                  <a:pt x="1836567" y="4732280"/>
                </a:cubicBezTo>
                <a:close/>
                <a:moveTo>
                  <a:pt x="1388761" y="4732074"/>
                </a:moveTo>
                <a:cubicBezTo>
                  <a:pt x="1390620" y="4732280"/>
                  <a:pt x="1391395" y="4731867"/>
                  <a:pt x="1392479" y="4732383"/>
                </a:cubicBezTo>
                <a:cubicBezTo>
                  <a:pt x="1392944" y="4732590"/>
                  <a:pt x="1393718" y="4733106"/>
                  <a:pt x="1394028" y="4733622"/>
                </a:cubicBezTo>
                <a:cubicBezTo>
                  <a:pt x="1394492" y="4734139"/>
                  <a:pt x="1394492" y="4734655"/>
                  <a:pt x="1394338" y="4735275"/>
                </a:cubicBezTo>
                <a:cubicBezTo>
                  <a:pt x="1393408" y="4735584"/>
                  <a:pt x="1393718" y="4736410"/>
                  <a:pt x="1392944" y="4736720"/>
                </a:cubicBezTo>
                <a:cubicBezTo>
                  <a:pt x="1392324" y="4737443"/>
                  <a:pt x="1391704" y="4737856"/>
                  <a:pt x="1391239" y="4738062"/>
                </a:cubicBezTo>
                <a:cubicBezTo>
                  <a:pt x="1390620" y="4738269"/>
                  <a:pt x="1390310" y="4738269"/>
                  <a:pt x="1389691" y="4738062"/>
                </a:cubicBezTo>
                <a:cubicBezTo>
                  <a:pt x="1388916" y="4738372"/>
                  <a:pt x="1388607" y="4737649"/>
                  <a:pt x="1387522" y="4737133"/>
                </a:cubicBezTo>
                <a:cubicBezTo>
                  <a:pt x="1387368" y="4736307"/>
                  <a:pt x="1387832" y="4735171"/>
                  <a:pt x="1387832" y="4735171"/>
                </a:cubicBezTo>
                <a:cubicBezTo>
                  <a:pt x="1388452" y="4734036"/>
                  <a:pt x="1388452" y="4734036"/>
                  <a:pt x="1387522" y="4733622"/>
                </a:cubicBezTo>
                <a:cubicBezTo>
                  <a:pt x="1387522" y="4733622"/>
                  <a:pt x="1388296" y="4733209"/>
                  <a:pt x="1388296" y="4733209"/>
                </a:cubicBezTo>
                <a:cubicBezTo>
                  <a:pt x="1388452" y="4734036"/>
                  <a:pt x="1388296" y="4733209"/>
                  <a:pt x="1388761" y="4732074"/>
                </a:cubicBezTo>
                <a:close/>
                <a:moveTo>
                  <a:pt x="1858562" y="4731247"/>
                </a:moveTo>
                <a:cubicBezTo>
                  <a:pt x="1865997" y="4730731"/>
                  <a:pt x="1871573" y="4741367"/>
                  <a:pt x="1871728" y="4747355"/>
                </a:cubicBezTo>
                <a:cubicBezTo>
                  <a:pt x="1869405" y="4750556"/>
                  <a:pt x="1866926" y="4751589"/>
                  <a:pt x="1864448" y="4751279"/>
                </a:cubicBezTo>
                <a:cubicBezTo>
                  <a:pt x="1857323" y="4750453"/>
                  <a:pt x="1851901" y="4737443"/>
                  <a:pt x="1858562" y="4731247"/>
                </a:cubicBezTo>
                <a:close/>
                <a:moveTo>
                  <a:pt x="950250" y="4731144"/>
                </a:moveTo>
                <a:cubicBezTo>
                  <a:pt x="950095" y="4733622"/>
                  <a:pt x="950870" y="4734448"/>
                  <a:pt x="949940" y="4734448"/>
                </a:cubicBezTo>
                <a:cubicBezTo>
                  <a:pt x="949940" y="4734862"/>
                  <a:pt x="949630" y="4735068"/>
                  <a:pt x="949475" y="4735068"/>
                </a:cubicBezTo>
                <a:cubicBezTo>
                  <a:pt x="949321" y="4735068"/>
                  <a:pt x="949166" y="4734862"/>
                  <a:pt x="949166" y="4734448"/>
                </a:cubicBezTo>
                <a:cubicBezTo>
                  <a:pt x="947617" y="4733622"/>
                  <a:pt x="949475" y="4731970"/>
                  <a:pt x="950250" y="4731144"/>
                </a:cubicBezTo>
                <a:close/>
                <a:moveTo>
                  <a:pt x="1852366" y="4730835"/>
                </a:moveTo>
                <a:cubicBezTo>
                  <a:pt x="1852985" y="4730628"/>
                  <a:pt x="1853296" y="4731557"/>
                  <a:pt x="1852831" y="4732693"/>
                </a:cubicBezTo>
                <a:cubicBezTo>
                  <a:pt x="1852831" y="4732693"/>
                  <a:pt x="1852057" y="4732900"/>
                  <a:pt x="1852057" y="4732900"/>
                </a:cubicBezTo>
                <a:cubicBezTo>
                  <a:pt x="1851901" y="4732074"/>
                  <a:pt x="1851591" y="4731144"/>
                  <a:pt x="1852366" y="4730835"/>
                </a:cubicBezTo>
                <a:close/>
                <a:moveTo>
                  <a:pt x="6393451" y="4730749"/>
                </a:moveTo>
                <a:cubicBezTo>
                  <a:pt x="6398563" y="4730130"/>
                  <a:pt x="6402900" y="4737151"/>
                  <a:pt x="6404759" y="4741591"/>
                </a:cubicBezTo>
                <a:cubicBezTo>
                  <a:pt x="6403209" y="4743243"/>
                  <a:pt x="6404139" y="4744999"/>
                  <a:pt x="6402590" y="4746650"/>
                </a:cubicBezTo>
                <a:cubicBezTo>
                  <a:pt x="6397323" y="4741281"/>
                  <a:pt x="6391283" y="4735809"/>
                  <a:pt x="6393451" y="4730749"/>
                </a:cubicBezTo>
                <a:close/>
                <a:moveTo>
                  <a:pt x="1037147" y="4730525"/>
                </a:moveTo>
                <a:cubicBezTo>
                  <a:pt x="1038851" y="4731454"/>
                  <a:pt x="1041329" y="4730628"/>
                  <a:pt x="1043033" y="4732486"/>
                </a:cubicBezTo>
                <a:cubicBezTo>
                  <a:pt x="1043033" y="4732486"/>
                  <a:pt x="1043962" y="4733416"/>
                  <a:pt x="1044117" y="4735171"/>
                </a:cubicBezTo>
                <a:cubicBezTo>
                  <a:pt x="1045821" y="4737856"/>
                  <a:pt x="1043497" y="4740334"/>
                  <a:pt x="1043497" y="4740334"/>
                </a:cubicBezTo>
                <a:cubicBezTo>
                  <a:pt x="1043497" y="4740334"/>
                  <a:pt x="1043497" y="4740334"/>
                  <a:pt x="1044272" y="4740334"/>
                </a:cubicBezTo>
                <a:cubicBezTo>
                  <a:pt x="1042568" y="4740231"/>
                  <a:pt x="1041019" y="4741057"/>
                  <a:pt x="1039316" y="4740953"/>
                </a:cubicBezTo>
                <a:lnTo>
                  <a:pt x="1038851" y="4740437"/>
                </a:lnTo>
                <a:lnTo>
                  <a:pt x="1039160" y="4741160"/>
                </a:lnTo>
                <a:cubicBezTo>
                  <a:pt x="1037457" y="4742812"/>
                  <a:pt x="1035752" y="4743845"/>
                  <a:pt x="1033739" y="4743948"/>
                </a:cubicBezTo>
                <a:cubicBezTo>
                  <a:pt x="1031725" y="4744051"/>
                  <a:pt x="1029712" y="4743329"/>
                  <a:pt x="1027543" y="4741470"/>
                </a:cubicBezTo>
                <a:cubicBezTo>
                  <a:pt x="1026614" y="4737236"/>
                  <a:pt x="1031416" y="4734862"/>
                  <a:pt x="1033739" y="4733209"/>
                </a:cubicBezTo>
                <a:lnTo>
                  <a:pt x="1034979" y="4734448"/>
                </a:lnTo>
                <a:lnTo>
                  <a:pt x="1035598" y="4732693"/>
                </a:lnTo>
                <a:cubicBezTo>
                  <a:pt x="1036062" y="4732074"/>
                  <a:pt x="1036528" y="4731351"/>
                  <a:pt x="1037147" y="4730525"/>
                </a:cubicBezTo>
                <a:close/>
                <a:moveTo>
                  <a:pt x="1509581" y="4730215"/>
                </a:moveTo>
                <a:cubicBezTo>
                  <a:pt x="1512524" y="4730318"/>
                  <a:pt x="1514382" y="4730215"/>
                  <a:pt x="1515621" y="4733622"/>
                </a:cubicBezTo>
                <a:cubicBezTo>
                  <a:pt x="1515311" y="4733829"/>
                  <a:pt x="1514537" y="4733726"/>
                  <a:pt x="1513763" y="4733622"/>
                </a:cubicBezTo>
                <a:cubicBezTo>
                  <a:pt x="1512989" y="4733519"/>
                  <a:pt x="1512059" y="4733313"/>
                  <a:pt x="1511594" y="4733106"/>
                </a:cubicBezTo>
                <a:cubicBezTo>
                  <a:pt x="1510819" y="4733519"/>
                  <a:pt x="1509735" y="4733313"/>
                  <a:pt x="1509271" y="4732590"/>
                </a:cubicBezTo>
                <a:cubicBezTo>
                  <a:pt x="1509271" y="4732590"/>
                  <a:pt x="1508032" y="4732280"/>
                  <a:pt x="1507412" y="4732693"/>
                </a:cubicBezTo>
                <a:cubicBezTo>
                  <a:pt x="1505089" y="4732074"/>
                  <a:pt x="1504624" y="4731454"/>
                  <a:pt x="1504159" y="4730628"/>
                </a:cubicBezTo>
                <a:cubicBezTo>
                  <a:pt x="1504159" y="4730628"/>
                  <a:pt x="1505243" y="4730938"/>
                  <a:pt x="1505863" y="4730525"/>
                </a:cubicBezTo>
                <a:cubicBezTo>
                  <a:pt x="1505863" y="4730525"/>
                  <a:pt x="1507102" y="4730731"/>
                  <a:pt x="1508186" y="4731041"/>
                </a:cubicBezTo>
                <a:cubicBezTo>
                  <a:pt x="1508186" y="4731041"/>
                  <a:pt x="1508961" y="4730628"/>
                  <a:pt x="1509581" y="4730215"/>
                </a:cubicBezTo>
                <a:close/>
                <a:moveTo>
                  <a:pt x="6275265" y="4729304"/>
                </a:moveTo>
                <a:cubicBezTo>
                  <a:pt x="6277124" y="4728477"/>
                  <a:pt x="6279912" y="4726722"/>
                  <a:pt x="6283010" y="4729407"/>
                </a:cubicBezTo>
                <a:cubicBezTo>
                  <a:pt x="6283784" y="4730336"/>
                  <a:pt x="6283784" y="4730336"/>
                  <a:pt x="6283784" y="4731162"/>
                </a:cubicBezTo>
                <a:cubicBezTo>
                  <a:pt x="6284404" y="4732917"/>
                  <a:pt x="6285179" y="4733847"/>
                  <a:pt x="6284094" y="4735602"/>
                </a:cubicBezTo>
                <a:cubicBezTo>
                  <a:pt x="6283165" y="4736841"/>
                  <a:pt x="6282236" y="4737358"/>
                  <a:pt x="6281306" y="4737151"/>
                </a:cubicBezTo>
                <a:cubicBezTo>
                  <a:pt x="6280377" y="4737048"/>
                  <a:pt x="6279293" y="4736428"/>
                  <a:pt x="6278208" y="4735499"/>
                </a:cubicBezTo>
                <a:cubicBezTo>
                  <a:pt x="6276969" y="4734570"/>
                  <a:pt x="6276659" y="4733537"/>
                  <a:pt x="6276350" y="4732401"/>
                </a:cubicBezTo>
                <a:cubicBezTo>
                  <a:pt x="6276195" y="4731265"/>
                  <a:pt x="6276040" y="4730233"/>
                  <a:pt x="6275265" y="4729304"/>
                </a:cubicBezTo>
                <a:close/>
                <a:moveTo>
                  <a:pt x="962951" y="4728356"/>
                </a:moveTo>
                <a:cubicBezTo>
                  <a:pt x="964345" y="4729182"/>
                  <a:pt x="966205" y="4729285"/>
                  <a:pt x="966979" y="4730938"/>
                </a:cubicBezTo>
                <a:cubicBezTo>
                  <a:pt x="967444" y="4733313"/>
                  <a:pt x="964345" y="4736617"/>
                  <a:pt x="962642" y="4737752"/>
                </a:cubicBezTo>
                <a:cubicBezTo>
                  <a:pt x="960318" y="4738372"/>
                  <a:pt x="958770" y="4736307"/>
                  <a:pt x="958459" y="4733932"/>
                </a:cubicBezTo>
                <a:cubicBezTo>
                  <a:pt x="957995" y="4733106"/>
                  <a:pt x="958149" y="4732177"/>
                  <a:pt x="958615" y="4731247"/>
                </a:cubicBezTo>
                <a:cubicBezTo>
                  <a:pt x="959079" y="4730318"/>
                  <a:pt x="959854" y="4729492"/>
                  <a:pt x="960628" y="4728976"/>
                </a:cubicBezTo>
                <a:cubicBezTo>
                  <a:pt x="961867" y="4728666"/>
                  <a:pt x="961867" y="4728666"/>
                  <a:pt x="962951" y="4728356"/>
                </a:cubicBezTo>
                <a:close/>
                <a:moveTo>
                  <a:pt x="6056861" y="4728065"/>
                </a:moveTo>
                <a:cubicBezTo>
                  <a:pt x="6056861" y="4728065"/>
                  <a:pt x="6057016" y="4729200"/>
                  <a:pt x="6057636" y="4729613"/>
                </a:cubicBezTo>
                <a:cubicBezTo>
                  <a:pt x="6057636" y="4729613"/>
                  <a:pt x="6057946" y="4730852"/>
                  <a:pt x="6058100" y="4731988"/>
                </a:cubicBezTo>
                <a:cubicBezTo>
                  <a:pt x="6058100" y="4731988"/>
                  <a:pt x="6058720" y="4732401"/>
                  <a:pt x="6059495" y="4732917"/>
                </a:cubicBezTo>
                <a:cubicBezTo>
                  <a:pt x="6060579" y="4735602"/>
                  <a:pt x="6061508" y="4737254"/>
                  <a:pt x="6058875" y="4739732"/>
                </a:cubicBezTo>
                <a:cubicBezTo>
                  <a:pt x="6058565" y="4739526"/>
                  <a:pt x="6058256" y="4738906"/>
                  <a:pt x="6057946" y="4738080"/>
                </a:cubicBezTo>
                <a:cubicBezTo>
                  <a:pt x="6057791" y="4737358"/>
                  <a:pt x="6057636" y="4736428"/>
                  <a:pt x="6057636" y="4735809"/>
                </a:cubicBezTo>
                <a:cubicBezTo>
                  <a:pt x="6056861" y="4735396"/>
                  <a:pt x="6056707" y="4734157"/>
                  <a:pt x="6057171" y="4733434"/>
                </a:cubicBezTo>
                <a:cubicBezTo>
                  <a:pt x="6057171" y="4733434"/>
                  <a:pt x="6057016" y="4732298"/>
                  <a:pt x="6056242" y="4731885"/>
                </a:cubicBezTo>
                <a:cubicBezTo>
                  <a:pt x="6055932" y="4729510"/>
                  <a:pt x="6056397" y="4728787"/>
                  <a:pt x="6056861" y="4728065"/>
                </a:cubicBezTo>
                <a:close/>
                <a:moveTo>
                  <a:pt x="1270421" y="4727943"/>
                </a:moveTo>
                <a:cubicBezTo>
                  <a:pt x="1270421" y="4728356"/>
                  <a:pt x="1269956" y="4728976"/>
                  <a:pt x="1269336" y="4729595"/>
                </a:cubicBezTo>
                <a:lnTo>
                  <a:pt x="1268717" y="4730318"/>
                </a:lnTo>
                <a:lnTo>
                  <a:pt x="1267787" y="4733622"/>
                </a:lnTo>
                <a:cubicBezTo>
                  <a:pt x="1266858" y="4742709"/>
                  <a:pt x="1275687" y="4750040"/>
                  <a:pt x="1269801" y="4757371"/>
                </a:cubicBezTo>
                <a:cubicBezTo>
                  <a:pt x="1267478" y="4753964"/>
                  <a:pt x="1265000" y="4750763"/>
                  <a:pt x="1263141" y="4746942"/>
                </a:cubicBezTo>
                <a:cubicBezTo>
                  <a:pt x="1261281" y="4743122"/>
                  <a:pt x="1260197" y="4738579"/>
                  <a:pt x="1260817" y="4732486"/>
                </a:cubicBezTo>
                <a:cubicBezTo>
                  <a:pt x="1262056" y="4731867"/>
                  <a:pt x="1263295" y="4730525"/>
                  <a:pt x="1264534" y="4729595"/>
                </a:cubicBezTo>
                <a:lnTo>
                  <a:pt x="1266393" y="4728976"/>
                </a:lnTo>
                <a:lnTo>
                  <a:pt x="1266858" y="4728253"/>
                </a:lnTo>
                <a:cubicBezTo>
                  <a:pt x="1267787" y="4727634"/>
                  <a:pt x="1268872" y="4727427"/>
                  <a:pt x="1270421" y="4727943"/>
                </a:cubicBezTo>
                <a:close/>
                <a:moveTo>
                  <a:pt x="1851281" y="4726704"/>
                </a:moveTo>
                <a:cubicBezTo>
                  <a:pt x="1851281" y="4726704"/>
                  <a:pt x="1852211" y="4727324"/>
                  <a:pt x="1852211" y="4727324"/>
                </a:cubicBezTo>
                <a:cubicBezTo>
                  <a:pt x="1851746" y="4728460"/>
                  <a:pt x="1852366" y="4728253"/>
                  <a:pt x="1850972" y="4728769"/>
                </a:cubicBezTo>
                <a:cubicBezTo>
                  <a:pt x="1851436" y="4727530"/>
                  <a:pt x="1851436" y="4727530"/>
                  <a:pt x="1851281" y="4726704"/>
                </a:cubicBezTo>
                <a:close/>
                <a:moveTo>
                  <a:pt x="6565076" y="4726619"/>
                </a:moveTo>
                <a:cubicBezTo>
                  <a:pt x="6567245" y="4733227"/>
                  <a:pt x="6568793" y="4737667"/>
                  <a:pt x="6568948" y="4741384"/>
                </a:cubicBezTo>
                <a:cubicBezTo>
                  <a:pt x="6567864" y="4742004"/>
                  <a:pt x="6566935" y="4742417"/>
                  <a:pt x="6566005" y="4742520"/>
                </a:cubicBezTo>
                <a:cubicBezTo>
                  <a:pt x="6565076" y="4742727"/>
                  <a:pt x="6564301" y="4742624"/>
                  <a:pt x="6563372" y="4742520"/>
                </a:cubicBezTo>
                <a:cubicBezTo>
                  <a:pt x="6558415" y="4741384"/>
                  <a:pt x="6555317" y="4734466"/>
                  <a:pt x="6557951" y="4730130"/>
                </a:cubicBezTo>
                <a:cubicBezTo>
                  <a:pt x="6559035" y="4728271"/>
                  <a:pt x="6561358" y="4726825"/>
                  <a:pt x="6565076" y="4726619"/>
                </a:cubicBezTo>
                <a:close/>
                <a:moveTo>
                  <a:pt x="1144025" y="4725672"/>
                </a:moveTo>
                <a:cubicBezTo>
                  <a:pt x="1147588" y="4724329"/>
                  <a:pt x="1150376" y="4724742"/>
                  <a:pt x="1152390" y="4725981"/>
                </a:cubicBezTo>
                <a:cubicBezTo>
                  <a:pt x="1153784" y="4726911"/>
                  <a:pt x="1154868" y="4728356"/>
                  <a:pt x="1155487" y="4730112"/>
                </a:cubicBezTo>
                <a:lnTo>
                  <a:pt x="1155798" y="4731867"/>
                </a:lnTo>
                <a:lnTo>
                  <a:pt x="1155798" y="4731764"/>
                </a:lnTo>
                <a:cubicBezTo>
                  <a:pt x="1158741" y="4731041"/>
                  <a:pt x="1162767" y="4732796"/>
                  <a:pt x="1164317" y="4737443"/>
                </a:cubicBezTo>
                <a:cubicBezTo>
                  <a:pt x="1162767" y="4740644"/>
                  <a:pt x="1160754" y="4742089"/>
                  <a:pt x="1159360" y="4743432"/>
                </a:cubicBezTo>
                <a:lnTo>
                  <a:pt x="1153938" y="4740747"/>
                </a:lnTo>
                <a:lnTo>
                  <a:pt x="1149137" y="4743638"/>
                </a:lnTo>
                <a:cubicBezTo>
                  <a:pt x="1143560" y="4740953"/>
                  <a:pt x="1141702" y="4730008"/>
                  <a:pt x="1144025" y="4725672"/>
                </a:cubicBezTo>
                <a:close/>
                <a:moveTo>
                  <a:pt x="6576848" y="4725380"/>
                </a:moveTo>
                <a:cubicBezTo>
                  <a:pt x="6580566" y="4729923"/>
                  <a:pt x="6584748" y="4729304"/>
                  <a:pt x="6584128" y="4733640"/>
                </a:cubicBezTo>
                <a:cubicBezTo>
                  <a:pt x="6580721" y="4734363"/>
                  <a:pt x="6576229" y="4728891"/>
                  <a:pt x="6576848" y="4725380"/>
                </a:cubicBezTo>
                <a:close/>
                <a:moveTo>
                  <a:pt x="6371611" y="4724657"/>
                </a:moveTo>
                <a:cubicBezTo>
                  <a:pt x="6372385" y="4728271"/>
                  <a:pt x="6368358" y="4737358"/>
                  <a:pt x="6361387" y="4737151"/>
                </a:cubicBezTo>
                <a:cubicBezTo>
                  <a:pt x="6361233" y="4728581"/>
                  <a:pt x="6366654" y="4726929"/>
                  <a:pt x="6371611" y="4724657"/>
                </a:cubicBezTo>
                <a:close/>
                <a:moveTo>
                  <a:pt x="6342026" y="4724450"/>
                </a:moveTo>
                <a:cubicBezTo>
                  <a:pt x="6346518" y="4728168"/>
                  <a:pt x="6347602" y="4732814"/>
                  <a:pt x="6348686" y="4737564"/>
                </a:cubicBezTo>
                <a:cubicBezTo>
                  <a:pt x="6347137" y="4739836"/>
                  <a:pt x="6345743" y="4740765"/>
                  <a:pt x="6344504" y="4740765"/>
                </a:cubicBezTo>
                <a:cubicBezTo>
                  <a:pt x="6340786" y="4740971"/>
                  <a:pt x="6338153" y="4733021"/>
                  <a:pt x="6335520" y="4729097"/>
                </a:cubicBezTo>
                <a:cubicBezTo>
                  <a:pt x="6337533" y="4726103"/>
                  <a:pt x="6338463" y="4725380"/>
                  <a:pt x="6342026" y="4724450"/>
                </a:cubicBezTo>
                <a:close/>
                <a:moveTo>
                  <a:pt x="1810079" y="4724019"/>
                </a:moveTo>
                <a:cubicBezTo>
                  <a:pt x="1810079" y="4727117"/>
                  <a:pt x="1802799" y="4730938"/>
                  <a:pt x="1799392" y="4731867"/>
                </a:cubicBezTo>
                <a:cubicBezTo>
                  <a:pt x="1799392" y="4731041"/>
                  <a:pt x="1799856" y="4730215"/>
                  <a:pt x="1800631" y="4729492"/>
                </a:cubicBezTo>
                <a:cubicBezTo>
                  <a:pt x="1802799" y="4727014"/>
                  <a:pt x="1807601" y="4724742"/>
                  <a:pt x="1810079" y="4724019"/>
                </a:cubicBezTo>
                <a:close/>
                <a:moveTo>
                  <a:pt x="1078195" y="4724019"/>
                </a:moveTo>
                <a:cubicBezTo>
                  <a:pt x="1079898" y="4725981"/>
                  <a:pt x="1080518" y="4727737"/>
                  <a:pt x="1079898" y="4729595"/>
                </a:cubicBezTo>
                <a:cubicBezTo>
                  <a:pt x="1079433" y="4731454"/>
                  <a:pt x="1077885" y="4733209"/>
                  <a:pt x="1075406" y="4735275"/>
                </a:cubicBezTo>
                <a:cubicBezTo>
                  <a:pt x="1074322" y="4734242"/>
                  <a:pt x="1073857" y="4733416"/>
                  <a:pt x="1073702" y="4732486"/>
                </a:cubicBezTo>
                <a:cubicBezTo>
                  <a:pt x="1073238" y="4729699"/>
                  <a:pt x="1076335" y="4727220"/>
                  <a:pt x="1078195" y="4724019"/>
                </a:cubicBezTo>
                <a:close/>
                <a:moveTo>
                  <a:pt x="6019841" y="4723211"/>
                </a:moveTo>
                <a:lnTo>
                  <a:pt x="6020461" y="4724657"/>
                </a:lnTo>
                <a:lnTo>
                  <a:pt x="6023713" y="4725070"/>
                </a:lnTo>
                <a:cubicBezTo>
                  <a:pt x="6025417" y="4724244"/>
                  <a:pt x="6026502" y="4722489"/>
                  <a:pt x="6028051" y="4723418"/>
                </a:cubicBezTo>
                <a:cubicBezTo>
                  <a:pt x="6025417" y="4725070"/>
                  <a:pt x="6024488" y="4725896"/>
                  <a:pt x="6022629" y="4726722"/>
                </a:cubicBezTo>
                <a:lnTo>
                  <a:pt x="6022165" y="4727858"/>
                </a:lnTo>
                <a:lnTo>
                  <a:pt x="6022320" y="4728065"/>
                </a:lnTo>
                <a:lnTo>
                  <a:pt x="6022010" y="4728374"/>
                </a:lnTo>
                <a:lnTo>
                  <a:pt x="6021545" y="4729304"/>
                </a:lnTo>
                <a:lnTo>
                  <a:pt x="6021235" y="4729407"/>
                </a:lnTo>
                <a:lnTo>
                  <a:pt x="6020151" y="4731472"/>
                </a:lnTo>
                <a:cubicBezTo>
                  <a:pt x="6019222" y="4733434"/>
                  <a:pt x="6018602" y="4735292"/>
                  <a:pt x="6018602" y="4735292"/>
                </a:cubicBezTo>
                <a:cubicBezTo>
                  <a:pt x="6017363" y="4735705"/>
                  <a:pt x="6016743" y="4735809"/>
                  <a:pt x="6016434" y="4735602"/>
                </a:cubicBezTo>
                <a:cubicBezTo>
                  <a:pt x="6015969" y="4735292"/>
                  <a:pt x="6015814" y="4734570"/>
                  <a:pt x="6015194" y="4733227"/>
                </a:cubicBezTo>
                <a:lnTo>
                  <a:pt x="6015969" y="4729923"/>
                </a:lnTo>
                <a:lnTo>
                  <a:pt x="6015504" y="4729097"/>
                </a:lnTo>
                <a:cubicBezTo>
                  <a:pt x="6015504" y="4728271"/>
                  <a:pt x="6015814" y="4727445"/>
                  <a:pt x="6016743" y="4726619"/>
                </a:cubicBezTo>
                <a:lnTo>
                  <a:pt x="6017673" y="4725999"/>
                </a:lnTo>
                <a:close/>
                <a:moveTo>
                  <a:pt x="1744558" y="4722884"/>
                </a:moveTo>
                <a:cubicBezTo>
                  <a:pt x="1747656" y="4722987"/>
                  <a:pt x="1749515" y="4722780"/>
                  <a:pt x="1750289" y="4726085"/>
                </a:cubicBezTo>
                <a:cubicBezTo>
                  <a:pt x="1749825" y="4726291"/>
                  <a:pt x="1749050" y="4726291"/>
                  <a:pt x="1748276" y="4726188"/>
                </a:cubicBezTo>
                <a:cubicBezTo>
                  <a:pt x="1747501" y="4726085"/>
                  <a:pt x="1746727" y="4725878"/>
                  <a:pt x="1746107" y="4725775"/>
                </a:cubicBezTo>
                <a:cubicBezTo>
                  <a:pt x="1745332" y="4726188"/>
                  <a:pt x="1744249" y="4725981"/>
                  <a:pt x="1743938" y="4725259"/>
                </a:cubicBezTo>
                <a:cubicBezTo>
                  <a:pt x="1743938" y="4725259"/>
                  <a:pt x="1742855" y="4724949"/>
                  <a:pt x="1742080" y="4725465"/>
                </a:cubicBezTo>
                <a:cubicBezTo>
                  <a:pt x="1739756" y="4724949"/>
                  <a:pt x="1739446" y="4724123"/>
                  <a:pt x="1739137" y="4723400"/>
                </a:cubicBezTo>
                <a:cubicBezTo>
                  <a:pt x="1739137" y="4723400"/>
                  <a:pt x="1740222" y="4723710"/>
                  <a:pt x="1740996" y="4723297"/>
                </a:cubicBezTo>
                <a:cubicBezTo>
                  <a:pt x="1740996" y="4723297"/>
                  <a:pt x="1742080" y="4723503"/>
                  <a:pt x="1743164" y="4723813"/>
                </a:cubicBezTo>
                <a:cubicBezTo>
                  <a:pt x="1743164" y="4723813"/>
                  <a:pt x="1743938" y="4723297"/>
                  <a:pt x="1744558" y="4722884"/>
                </a:cubicBezTo>
                <a:close/>
                <a:moveTo>
                  <a:pt x="1418502" y="4721541"/>
                </a:moveTo>
                <a:cubicBezTo>
                  <a:pt x="1421290" y="4720509"/>
                  <a:pt x="1426711" y="4723194"/>
                  <a:pt x="1427021" y="4726498"/>
                </a:cubicBezTo>
                <a:cubicBezTo>
                  <a:pt x="1427176" y="4727634"/>
                  <a:pt x="1426866" y="4728873"/>
                  <a:pt x="1425627" y="4730112"/>
                </a:cubicBezTo>
                <a:cubicBezTo>
                  <a:pt x="1424542" y="4730835"/>
                  <a:pt x="1423613" y="4731247"/>
                  <a:pt x="1422838" y="4731351"/>
                </a:cubicBezTo>
                <a:cubicBezTo>
                  <a:pt x="1420205" y="4731764"/>
                  <a:pt x="1418036" y="4729389"/>
                  <a:pt x="1416023" y="4726601"/>
                </a:cubicBezTo>
                <a:cubicBezTo>
                  <a:pt x="1417108" y="4724949"/>
                  <a:pt x="1417417" y="4723194"/>
                  <a:pt x="1418502" y="4721541"/>
                </a:cubicBezTo>
                <a:close/>
                <a:moveTo>
                  <a:pt x="1025529" y="4721232"/>
                </a:moveTo>
                <a:cubicBezTo>
                  <a:pt x="1025839" y="4722574"/>
                  <a:pt x="1022587" y="4727014"/>
                  <a:pt x="1019953" y="4727634"/>
                </a:cubicBezTo>
                <a:cubicBezTo>
                  <a:pt x="1019179" y="4727840"/>
                  <a:pt x="1018404" y="4727634"/>
                  <a:pt x="1017939" y="4726704"/>
                </a:cubicBezTo>
                <a:cubicBezTo>
                  <a:pt x="1016855" y="4723090"/>
                  <a:pt x="1023981" y="4720199"/>
                  <a:pt x="1025529" y="4721232"/>
                </a:cubicBezTo>
                <a:close/>
                <a:moveTo>
                  <a:pt x="6357670" y="4720837"/>
                </a:moveTo>
                <a:cubicBezTo>
                  <a:pt x="6360768" y="4720940"/>
                  <a:pt x="6360768" y="4724141"/>
                  <a:pt x="6362162" y="4727548"/>
                </a:cubicBezTo>
                <a:cubicBezTo>
                  <a:pt x="6360923" y="4727238"/>
                  <a:pt x="6360768" y="4728374"/>
                  <a:pt x="6360613" y="4729613"/>
                </a:cubicBezTo>
                <a:cubicBezTo>
                  <a:pt x="6358754" y="4729097"/>
                  <a:pt x="6355966" y="4728787"/>
                  <a:pt x="6355037" y="4726619"/>
                </a:cubicBezTo>
                <a:cubicBezTo>
                  <a:pt x="6354727" y="4725896"/>
                  <a:pt x="6354572" y="4724967"/>
                  <a:pt x="6354882" y="4723728"/>
                </a:cubicBezTo>
                <a:cubicBezTo>
                  <a:pt x="6354262" y="4723005"/>
                  <a:pt x="6356586" y="4720527"/>
                  <a:pt x="6357670" y="4720837"/>
                </a:cubicBezTo>
                <a:close/>
                <a:moveTo>
                  <a:pt x="1584860" y="4720818"/>
                </a:moveTo>
                <a:cubicBezTo>
                  <a:pt x="1593844" y="4722780"/>
                  <a:pt x="1593534" y="4731351"/>
                  <a:pt x="1594929" y="4732486"/>
                </a:cubicBezTo>
                <a:cubicBezTo>
                  <a:pt x="1593844" y="4735068"/>
                  <a:pt x="1593534" y="4735791"/>
                  <a:pt x="1590901" y="4735275"/>
                </a:cubicBezTo>
                <a:lnTo>
                  <a:pt x="1588268" y="4734655"/>
                </a:lnTo>
                <a:lnTo>
                  <a:pt x="1587029" y="4736617"/>
                </a:lnTo>
                <a:cubicBezTo>
                  <a:pt x="1585944" y="4736204"/>
                  <a:pt x="1584860" y="4735791"/>
                  <a:pt x="1583776" y="4735378"/>
                </a:cubicBezTo>
                <a:lnTo>
                  <a:pt x="1584240" y="4731351"/>
                </a:lnTo>
                <a:lnTo>
                  <a:pt x="1583466" y="4728976"/>
                </a:lnTo>
                <a:cubicBezTo>
                  <a:pt x="1582072" y="4727840"/>
                  <a:pt x="1581143" y="4725465"/>
                  <a:pt x="1581297" y="4723607"/>
                </a:cubicBezTo>
                <a:cubicBezTo>
                  <a:pt x="1582227" y="4721232"/>
                  <a:pt x="1583776" y="4720509"/>
                  <a:pt x="1584860" y="4720818"/>
                </a:cubicBezTo>
                <a:close/>
                <a:moveTo>
                  <a:pt x="1254582" y="4720741"/>
                </a:moveTo>
                <a:cubicBezTo>
                  <a:pt x="1258145" y="4721180"/>
                  <a:pt x="1261592" y="4722832"/>
                  <a:pt x="1265000" y="4724433"/>
                </a:cubicBezTo>
                <a:cubicBezTo>
                  <a:pt x="1262831" y="4728356"/>
                  <a:pt x="1258803" y="4729285"/>
                  <a:pt x="1254776" y="4728769"/>
                </a:cubicBezTo>
                <a:cubicBezTo>
                  <a:pt x="1250749" y="4728356"/>
                  <a:pt x="1246412" y="4726395"/>
                  <a:pt x="1243469" y="4724329"/>
                </a:cubicBezTo>
                <a:cubicBezTo>
                  <a:pt x="1247341" y="4721077"/>
                  <a:pt x="1251020" y="4720302"/>
                  <a:pt x="1254582" y="4720741"/>
                </a:cubicBezTo>
                <a:close/>
                <a:moveTo>
                  <a:pt x="686307" y="4719889"/>
                </a:moveTo>
                <a:cubicBezTo>
                  <a:pt x="690024" y="4719167"/>
                  <a:pt x="691108" y="4719373"/>
                  <a:pt x="694671" y="4721025"/>
                </a:cubicBezTo>
                <a:cubicBezTo>
                  <a:pt x="695910" y="4726808"/>
                  <a:pt x="693897" y="4730731"/>
                  <a:pt x="691728" y="4734758"/>
                </a:cubicBezTo>
                <a:cubicBezTo>
                  <a:pt x="690489" y="4734965"/>
                  <a:pt x="689250" y="4735068"/>
                  <a:pt x="688321" y="4734965"/>
                </a:cubicBezTo>
                <a:cubicBezTo>
                  <a:pt x="681970" y="4734242"/>
                  <a:pt x="685997" y="4725155"/>
                  <a:pt x="686307" y="4719889"/>
                </a:cubicBezTo>
                <a:close/>
                <a:moveTo>
                  <a:pt x="6551600" y="4719494"/>
                </a:moveTo>
                <a:cubicBezTo>
                  <a:pt x="6551445" y="4724864"/>
                  <a:pt x="6551290" y="4732814"/>
                  <a:pt x="6548967" y="4739836"/>
                </a:cubicBezTo>
                <a:cubicBezTo>
                  <a:pt x="6546489" y="4746857"/>
                  <a:pt x="6541842" y="4753052"/>
                  <a:pt x="6532703" y="4754601"/>
                </a:cubicBezTo>
                <a:cubicBezTo>
                  <a:pt x="6531928" y="4751710"/>
                  <a:pt x="6532238" y="4748303"/>
                  <a:pt x="6533322" y="4744689"/>
                </a:cubicBezTo>
                <a:lnTo>
                  <a:pt x="6535955" y="4738080"/>
                </a:lnTo>
                <a:lnTo>
                  <a:pt x="6537040" y="4736428"/>
                </a:lnTo>
                <a:lnTo>
                  <a:pt x="6537040" y="4735705"/>
                </a:lnTo>
                <a:lnTo>
                  <a:pt x="6541377" y="4728891"/>
                </a:lnTo>
                <a:cubicBezTo>
                  <a:pt x="6544785" y="4724244"/>
                  <a:pt x="6548502" y="4720630"/>
                  <a:pt x="6551600" y="4719494"/>
                </a:cubicBezTo>
                <a:close/>
                <a:moveTo>
                  <a:pt x="1579129" y="4719476"/>
                </a:moveTo>
                <a:cubicBezTo>
                  <a:pt x="1580833" y="4721232"/>
                  <a:pt x="1582537" y="4723090"/>
                  <a:pt x="1580987" y="4724639"/>
                </a:cubicBezTo>
                <a:cubicBezTo>
                  <a:pt x="1579284" y="4723710"/>
                  <a:pt x="1578509" y="4724536"/>
                  <a:pt x="1576806" y="4721954"/>
                </a:cubicBezTo>
                <a:cubicBezTo>
                  <a:pt x="1577580" y="4721128"/>
                  <a:pt x="1578354" y="4720302"/>
                  <a:pt x="1579129" y="4719476"/>
                </a:cubicBezTo>
                <a:close/>
                <a:moveTo>
                  <a:pt x="5943167" y="4719288"/>
                </a:moveTo>
                <a:cubicBezTo>
                  <a:pt x="5945801" y="4717636"/>
                  <a:pt x="5951997" y="4722075"/>
                  <a:pt x="5954165" y="4724657"/>
                </a:cubicBezTo>
                <a:cubicBezTo>
                  <a:pt x="5953545" y="4725070"/>
                  <a:pt x="5952616" y="4725070"/>
                  <a:pt x="5951687" y="4724864"/>
                </a:cubicBezTo>
                <a:cubicBezTo>
                  <a:pt x="5948744" y="4724244"/>
                  <a:pt x="5944871" y="4721249"/>
                  <a:pt x="5943167" y="4719288"/>
                </a:cubicBezTo>
                <a:close/>
                <a:moveTo>
                  <a:pt x="6594506" y="4718152"/>
                </a:moveTo>
                <a:cubicBezTo>
                  <a:pt x="6598069" y="4723418"/>
                  <a:pt x="6602251" y="4723521"/>
                  <a:pt x="6603180" y="4728994"/>
                </a:cubicBezTo>
                <a:cubicBezTo>
                  <a:pt x="6601941" y="4730646"/>
                  <a:pt x="6600392" y="4731575"/>
                  <a:pt x="6598689" y="4731781"/>
                </a:cubicBezTo>
                <a:cubicBezTo>
                  <a:pt x="6594042" y="4732504"/>
                  <a:pt x="6589240" y="4727755"/>
                  <a:pt x="6589859" y="4723314"/>
                </a:cubicBezTo>
                <a:cubicBezTo>
                  <a:pt x="6590169" y="4721353"/>
                  <a:pt x="6591563" y="4719494"/>
                  <a:pt x="6594506" y="4718152"/>
                </a:cubicBezTo>
                <a:close/>
                <a:moveTo>
                  <a:pt x="6087531" y="4717636"/>
                </a:moveTo>
                <a:cubicBezTo>
                  <a:pt x="6087531" y="4717636"/>
                  <a:pt x="6087841" y="4718875"/>
                  <a:pt x="6087996" y="4720114"/>
                </a:cubicBezTo>
                <a:cubicBezTo>
                  <a:pt x="6088305" y="4721353"/>
                  <a:pt x="6088150" y="4721353"/>
                  <a:pt x="6089390" y="4721043"/>
                </a:cubicBezTo>
                <a:cubicBezTo>
                  <a:pt x="6089545" y="4722179"/>
                  <a:pt x="6089545" y="4722282"/>
                  <a:pt x="6088615" y="4723728"/>
                </a:cubicBezTo>
                <a:cubicBezTo>
                  <a:pt x="6088460" y="4722592"/>
                  <a:pt x="6086446" y="4717945"/>
                  <a:pt x="6087531" y="4717636"/>
                </a:cubicBezTo>
                <a:close/>
                <a:moveTo>
                  <a:pt x="6523409" y="4717429"/>
                </a:moveTo>
                <a:cubicBezTo>
                  <a:pt x="6530844" y="4716500"/>
                  <a:pt x="6535955" y="4722798"/>
                  <a:pt x="6537195" y="4729613"/>
                </a:cubicBezTo>
                <a:lnTo>
                  <a:pt x="6537040" y="4735705"/>
                </a:lnTo>
                <a:lnTo>
                  <a:pt x="6536575" y="4736532"/>
                </a:lnTo>
                <a:lnTo>
                  <a:pt x="6535955" y="4738080"/>
                </a:lnTo>
                <a:lnTo>
                  <a:pt x="6532238" y="4743553"/>
                </a:lnTo>
                <a:cubicBezTo>
                  <a:pt x="6522479" y="4744689"/>
                  <a:pt x="6518297" y="4733743"/>
                  <a:pt x="6519846" y="4724967"/>
                </a:cubicBezTo>
                <a:cubicBezTo>
                  <a:pt x="6520466" y="4721972"/>
                  <a:pt x="6521705" y="4719391"/>
                  <a:pt x="6523409" y="4717429"/>
                </a:cubicBezTo>
                <a:close/>
                <a:moveTo>
                  <a:pt x="762825" y="4717411"/>
                </a:moveTo>
                <a:cubicBezTo>
                  <a:pt x="766389" y="4718134"/>
                  <a:pt x="767472" y="4718753"/>
                  <a:pt x="769796" y="4721541"/>
                </a:cubicBezTo>
                <a:cubicBezTo>
                  <a:pt x="768247" y="4727220"/>
                  <a:pt x="764374" y="4730008"/>
                  <a:pt x="760502" y="4732900"/>
                </a:cubicBezTo>
                <a:cubicBezTo>
                  <a:pt x="757714" y="4732486"/>
                  <a:pt x="756320" y="4731557"/>
                  <a:pt x="755701" y="4730421"/>
                </a:cubicBezTo>
                <a:cubicBezTo>
                  <a:pt x="753996" y="4727014"/>
                  <a:pt x="760192" y="4721438"/>
                  <a:pt x="762825" y="4717411"/>
                </a:cubicBezTo>
                <a:close/>
                <a:moveTo>
                  <a:pt x="6280222" y="4716397"/>
                </a:moveTo>
                <a:cubicBezTo>
                  <a:pt x="6281461" y="4716087"/>
                  <a:pt x="6282545" y="4715777"/>
                  <a:pt x="6282700" y="4716913"/>
                </a:cubicBezTo>
                <a:cubicBezTo>
                  <a:pt x="6282700" y="4716913"/>
                  <a:pt x="6282236" y="4717739"/>
                  <a:pt x="6279912" y="4718358"/>
                </a:cubicBezTo>
                <a:cubicBezTo>
                  <a:pt x="6280377" y="4717636"/>
                  <a:pt x="6279757" y="4717119"/>
                  <a:pt x="6279757" y="4717119"/>
                </a:cubicBezTo>
                <a:cubicBezTo>
                  <a:pt x="6279757" y="4717119"/>
                  <a:pt x="6279757" y="4717119"/>
                  <a:pt x="6279293" y="4717945"/>
                </a:cubicBezTo>
                <a:cubicBezTo>
                  <a:pt x="6279138" y="4717326"/>
                  <a:pt x="6279448" y="4716913"/>
                  <a:pt x="6279602" y="4716706"/>
                </a:cubicBezTo>
                <a:cubicBezTo>
                  <a:pt x="6279912" y="4716397"/>
                  <a:pt x="6280222" y="4716397"/>
                  <a:pt x="6280222" y="4716397"/>
                </a:cubicBezTo>
                <a:close/>
                <a:moveTo>
                  <a:pt x="798916" y="4716379"/>
                </a:moveTo>
                <a:cubicBezTo>
                  <a:pt x="801394" y="4714520"/>
                  <a:pt x="805577" y="4714520"/>
                  <a:pt x="808675" y="4718444"/>
                </a:cubicBezTo>
                <a:cubicBezTo>
                  <a:pt x="808365" y="4722058"/>
                  <a:pt x="807126" y="4724329"/>
                  <a:pt x="806351" y="4725981"/>
                </a:cubicBezTo>
                <a:cubicBezTo>
                  <a:pt x="804028" y="4725672"/>
                  <a:pt x="802169" y="4725981"/>
                  <a:pt x="799846" y="4725672"/>
                </a:cubicBezTo>
                <a:cubicBezTo>
                  <a:pt x="795973" y="4721954"/>
                  <a:pt x="796593" y="4718237"/>
                  <a:pt x="798916" y="4716379"/>
                </a:cubicBezTo>
                <a:close/>
                <a:moveTo>
                  <a:pt x="6659098" y="4715157"/>
                </a:moveTo>
                <a:cubicBezTo>
                  <a:pt x="6661267" y="4716397"/>
                  <a:pt x="6664674" y="4715467"/>
                  <a:pt x="6667772" y="4721043"/>
                </a:cubicBezTo>
                <a:cubicBezTo>
                  <a:pt x="6670560" y="4727445"/>
                  <a:pt x="6664519" y="4729820"/>
                  <a:pt x="6665294" y="4730336"/>
                </a:cubicBezTo>
                <a:cubicBezTo>
                  <a:pt x="6665758" y="4731472"/>
                  <a:pt x="6665758" y="4731472"/>
                  <a:pt x="6666533" y="4731885"/>
                </a:cubicBezTo>
                <a:cubicBezTo>
                  <a:pt x="6666223" y="4732711"/>
                  <a:pt x="6666223" y="4734673"/>
                  <a:pt x="6666688" y="4735809"/>
                </a:cubicBezTo>
                <a:cubicBezTo>
                  <a:pt x="6665914" y="4735396"/>
                  <a:pt x="6665139" y="4734982"/>
                  <a:pt x="6664829" y="4735809"/>
                </a:cubicBezTo>
                <a:cubicBezTo>
                  <a:pt x="6663900" y="4733434"/>
                  <a:pt x="6664210" y="4732608"/>
                  <a:pt x="6663900" y="4731369"/>
                </a:cubicBezTo>
                <a:cubicBezTo>
                  <a:pt x="6663435" y="4732195"/>
                  <a:pt x="6663126" y="4730956"/>
                  <a:pt x="6663126" y="4730956"/>
                </a:cubicBezTo>
                <a:cubicBezTo>
                  <a:pt x="6663126" y="4730956"/>
                  <a:pt x="6663126" y="4730956"/>
                  <a:pt x="6660957" y="4731678"/>
                </a:cubicBezTo>
                <a:cubicBezTo>
                  <a:pt x="6660957" y="4731678"/>
                  <a:pt x="6655690" y="4732504"/>
                  <a:pt x="6653367" y="4727342"/>
                </a:cubicBezTo>
                <a:cubicBezTo>
                  <a:pt x="6654451" y="4727032"/>
                  <a:pt x="6651973" y="4719804"/>
                  <a:pt x="6654916" y="4717636"/>
                </a:cubicBezTo>
                <a:cubicBezTo>
                  <a:pt x="6656465" y="4716500"/>
                  <a:pt x="6657549" y="4716190"/>
                  <a:pt x="6659098" y="4715157"/>
                </a:cubicBezTo>
                <a:close/>
                <a:moveTo>
                  <a:pt x="6286883" y="4715157"/>
                </a:moveTo>
                <a:cubicBezTo>
                  <a:pt x="6288586" y="4714125"/>
                  <a:pt x="6289206" y="4714641"/>
                  <a:pt x="6289671" y="4717016"/>
                </a:cubicBezTo>
                <a:cubicBezTo>
                  <a:pt x="6288741" y="4717532"/>
                  <a:pt x="6287347" y="4717945"/>
                  <a:pt x="6285953" y="4717945"/>
                </a:cubicBezTo>
                <a:cubicBezTo>
                  <a:pt x="6284559" y="4717945"/>
                  <a:pt x="6283320" y="4717636"/>
                  <a:pt x="6282855" y="4716809"/>
                </a:cubicBezTo>
                <a:cubicBezTo>
                  <a:pt x="6284404" y="4715777"/>
                  <a:pt x="6285643" y="4715467"/>
                  <a:pt x="6286883" y="4715157"/>
                </a:cubicBezTo>
                <a:close/>
                <a:moveTo>
                  <a:pt x="6137562" y="4715157"/>
                </a:moveTo>
                <a:cubicBezTo>
                  <a:pt x="6139266" y="4715880"/>
                  <a:pt x="6141745" y="4714951"/>
                  <a:pt x="6143603" y="4716500"/>
                </a:cubicBezTo>
                <a:cubicBezTo>
                  <a:pt x="6143603" y="4716500"/>
                  <a:pt x="6144533" y="4717326"/>
                  <a:pt x="6144688" y="4719081"/>
                </a:cubicBezTo>
                <a:cubicBezTo>
                  <a:pt x="6146701" y="4721559"/>
                  <a:pt x="6144688" y="4724347"/>
                  <a:pt x="6144688" y="4724347"/>
                </a:cubicBezTo>
                <a:cubicBezTo>
                  <a:pt x="6144688" y="4724347"/>
                  <a:pt x="6144688" y="4724347"/>
                  <a:pt x="6145462" y="4724244"/>
                </a:cubicBezTo>
                <a:cubicBezTo>
                  <a:pt x="6143913" y="4724347"/>
                  <a:pt x="6142209" y="4725380"/>
                  <a:pt x="6140660" y="4725483"/>
                </a:cubicBezTo>
                <a:cubicBezTo>
                  <a:pt x="6133225" y="4720630"/>
                  <a:pt x="6135549" y="4718771"/>
                  <a:pt x="6137562" y="4715157"/>
                </a:cubicBezTo>
                <a:close/>
                <a:moveTo>
                  <a:pt x="5815378" y="4713608"/>
                </a:moveTo>
                <a:cubicBezTo>
                  <a:pt x="5821884" y="4716397"/>
                  <a:pt x="5825291" y="4716397"/>
                  <a:pt x="5829938" y="4719184"/>
                </a:cubicBezTo>
                <a:cubicBezTo>
                  <a:pt x="5829938" y="4720114"/>
                  <a:pt x="5829009" y="4720010"/>
                  <a:pt x="5829009" y="4720940"/>
                </a:cubicBezTo>
                <a:cubicBezTo>
                  <a:pt x="5828544" y="4721353"/>
                  <a:pt x="5827615" y="4721456"/>
                  <a:pt x="5826686" y="4721456"/>
                </a:cubicBezTo>
                <a:cubicBezTo>
                  <a:pt x="5823587" y="4721353"/>
                  <a:pt x="5818941" y="4719701"/>
                  <a:pt x="5819095" y="4718978"/>
                </a:cubicBezTo>
                <a:cubicBezTo>
                  <a:pt x="5818166" y="4718978"/>
                  <a:pt x="5818321" y="4718152"/>
                  <a:pt x="5817547" y="4718048"/>
                </a:cubicBezTo>
                <a:cubicBezTo>
                  <a:pt x="5817547" y="4718048"/>
                  <a:pt x="5816617" y="4718048"/>
                  <a:pt x="5815843" y="4717119"/>
                </a:cubicBezTo>
                <a:cubicBezTo>
                  <a:pt x="5815533" y="4716706"/>
                  <a:pt x="5815068" y="4716293"/>
                  <a:pt x="5814913" y="4715674"/>
                </a:cubicBezTo>
                <a:cubicBezTo>
                  <a:pt x="5814759" y="4715157"/>
                  <a:pt x="5814913" y="4714435"/>
                  <a:pt x="5815378" y="4713608"/>
                </a:cubicBezTo>
                <a:close/>
                <a:moveTo>
                  <a:pt x="856189" y="4713539"/>
                </a:moveTo>
                <a:cubicBezTo>
                  <a:pt x="860178" y="4712971"/>
                  <a:pt x="863973" y="4714158"/>
                  <a:pt x="864127" y="4717411"/>
                </a:cubicBezTo>
                <a:cubicBezTo>
                  <a:pt x="864282" y="4718341"/>
                  <a:pt x="863972" y="4719476"/>
                  <a:pt x="863353" y="4720715"/>
                </a:cubicBezTo>
                <a:cubicBezTo>
                  <a:pt x="861959" y="4721954"/>
                  <a:pt x="860565" y="4722987"/>
                  <a:pt x="859171" y="4723813"/>
                </a:cubicBezTo>
                <a:lnTo>
                  <a:pt x="855144" y="4725465"/>
                </a:lnTo>
                <a:lnTo>
                  <a:pt x="855453" y="4731661"/>
                </a:lnTo>
                <a:cubicBezTo>
                  <a:pt x="855453" y="4733932"/>
                  <a:pt x="854989" y="4735481"/>
                  <a:pt x="852201" y="4736617"/>
                </a:cubicBezTo>
                <a:cubicBezTo>
                  <a:pt x="850806" y="4735481"/>
                  <a:pt x="850187" y="4733519"/>
                  <a:pt x="849877" y="4731041"/>
                </a:cubicBezTo>
                <a:lnTo>
                  <a:pt x="849723" y="4724329"/>
                </a:lnTo>
                <a:lnTo>
                  <a:pt x="847399" y="4722884"/>
                </a:lnTo>
                <a:cubicBezTo>
                  <a:pt x="848328" y="4722058"/>
                  <a:pt x="847709" y="4721128"/>
                  <a:pt x="847089" y="4720199"/>
                </a:cubicBezTo>
                <a:cubicBezTo>
                  <a:pt x="848018" y="4716430"/>
                  <a:pt x="852201" y="4714107"/>
                  <a:pt x="856189" y="4713539"/>
                </a:cubicBezTo>
                <a:close/>
                <a:moveTo>
                  <a:pt x="5925199" y="4713092"/>
                </a:moveTo>
                <a:cubicBezTo>
                  <a:pt x="5925974" y="4713918"/>
                  <a:pt x="5926749" y="4714847"/>
                  <a:pt x="5926594" y="4716500"/>
                </a:cubicBezTo>
                <a:cubicBezTo>
                  <a:pt x="5924735" y="4718255"/>
                  <a:pt x="5922256" y="4717326"/>
                  <a:pt x="5921327" y="4718255"/>
                </a:cubicBezTo>
                <a:cubicBezTo>
                  <a:pt x="5921482" y="4717326"/>
                  <a:pt x="5921637" y="4715674"/>
                  <a:pt x="5920088" y="4714744"/>
                </a:cubicBezTo>
                <a:cubicBezTo>
                  <a:pt x="5921792" y="4712989"/>
                  <a:pt x="5923651" y="4711337"/>
                  <a:pt x="5925199" y="4713092"/>
                </a:cubicBezTo>
                <a:close/>
                <a:moveTo>
                  <a:pt x="1772130" y="4713074"/>
                </a:moveTo>
                <a:lnTo>
                  <a:pt x="1771355" y="4713797"/>
                </a:lnTo>
                <a:lnTo>
                  <a:pt x="1772130" y="4713487"/>
                </a:lnTo>
                <a:close/>
                <a:moveTo>
                  <a:pt x="1049693" y="4713074"/>
                </a:moveTo>
                <a:cubicBezTo>
                  <a:pt x="1053256" y="4715862"/>
                  <a:pt x="1054805" y="4713384"/>
                  <a:pt x="1060071" y="4717927"/>
                </a:cubicBezTo>
                <a:cubicBezTo>
                  <a:pt x="1067041" y="4723400"/>
                  <a:pt x="1065648" y="4729389"/>
                  <a:pt x="1063169" y="4732693"/>
                </a:cubicBezTo>
                <a:cubicBezTo>
                  <a:pt x="1062550" y="4732074"/>
                  <a:pt x="1059297" y="4736617"/>
                  <a:pt x="1054340" y="4736204"/>
                </a:cubicBezTo>
                <a:cubicBezTo>
                  <a:pt x="1052792" y="4736101"/>
                  <a:pt x="1050932" y="4735378"/>
                  <a:pt x="1048919" y="4733726"/>
                </a:cubicBezTo>
                <a:cubicBezTo>
                  <a:pt x="1044582" y="4730112"/>
                  <a:pt x="1041019" y="4724846"/>
                  <a:pt x="1046595" y="4718134"/>
                </a:cubicBezTo>
                <a:cubicBezTo>
                  <a:pt x="1047370" y="4716482"/>
                  <a:pt x="1047370" y="4717308"/>
                  <a:pt x="1048144" y="4716482"/>
                </a:cubicBezTo>
                <a:cubicBezTo>
                  <a:pt x="1049074" y="4715656"/>
                  <a:pt x="1049848" y="4714004"/>
                  <a:pt x="1049693" y="4713074"/>
                </a:cubicBezTo>
                <a:close/>
                <a:moveTo>
                  <a:pt x="6486699" y="4712782"/>
                </a:moveTo>
                <a:cubicBezTo>
                  <a:pt x="6493204" y="4717532"/>
                  <a:pt x="6489952" y="4724347"/>
                  <a:pt x="6485305" y="4725173"/>
                </a:cubicBezTo>
                <a:cubicBezTo>
                  <a:pt x="6483755" y="4725380"/>
                  <a:pt x="6481897" y="4724967"/>
                  <a:pt x="6480503" y="4723624"/>
                </a:cubicBezTo>
                <a:cubicBezTo>
                  <a:pt x="6481122" y="4718462"/>
                  <a:pt x="6480812" y="4712473"/>
                  <a:pt x="6486699" y="4712782"/>
                </a:cubicBezTo>
                <a:close/>
                <a:moveTo>
                  <a:pt x="1850352" y="4712661"/>
                </a:moveTo>
                <a:cubicBezTo>
                  <a:pt x="1850817" y="4714313"/>
                  <a:pt x="1852366" y="4723607"/>
                  <a:pt x="1851436" y="4726704"/>
                </a:cubicBezTo>
                <a:cubicBezTo>
                  <a:pt x="1851127" y="4722264"/>
                  <a:pt x="1848803" y="4716792"/>
                  <a:pt x="1850352" y="4712661"/>
                </a:cubicBezTo>
                <a:close/>
                <a:moveTo>
                  <a:pt x="1447312" y="4712661"/>
                </a:moveTo>
                <a:cubicBezTo>
                  <a:pt x="1448706" y="4714004"/>
                  <a:pt x="1449171" y="4715552"/>
                  <a:pt x="1449636" y="4717205"/>
                </a:cubicBezTo>
                <a:lnTo>
                  <a:pt x="1450410" y="4718960"/>
                </a:lnTo>
                <a:lnTo>
                  <a:pt x="1450255" y="4716792"/>
                </a:lnTo>
                <a:cubicBezTo>
                  <a:pt x="1452114" y="4716275"/>
                  <a:pt x="1453972" y="4715759"/>
                  <a:pt x="1455522" y="4716379"/>
                </a:cubicBezTo>
                <a:cubicBezTo>
                  <a:pt x="1455367" y="4718857"/>
                  <a:pt x="1455677" y="4720715"/>
                  <a:pt x="1454902" y="4722574"/>
                </a:cubicBezTo>
                <a:cubicBezTo>
                  <a:pt x="1453818" y="4722987"/>
                  <a:pt x="1453043" y="4723090"/>
                  <a:pt x="1452269" y="4722884"/>
                </a:cubicBezTo>
                <a:lnTo>
                  <a:pt x="1451959" y="4722780"/>
                </a:lnTo>
                <a:lnTo>
                  <a:pt x="1451649" y="4727220"/>
                </a:lnTo>
                <a:cubicBezTo>
                  <a:pt x="1451804" y="4729079"/>
                  <a:pt x="1451959" y="4731041"/>
                  <a:pt x="1450720" y="4732693"/>
                </a:cubicBezTo>
                <a:cubicBezTo>
                  <a:pt x="1445453" y="4728976"/>
                  <a:pt x="1444834" y="4715140"/>
                  <a:pt x="1447312" y="4712661"/>
                </a:cubicBezTo>
                <a:close/>
                <a:moveTo>
                  <a:pt x="1190029" y="4712661"/>
                </a:moveTo>
                <a:cubicBezTo>
                  <a:pt x="1192353" y="4711422"/>
                  <a:pt x="1197464" y="4719683"/>
                  <a:pt x="1189100" y="4717824"/>
                </a:cubicBezTo>
                <a:cubicBezTo>
                  <a:pt x="1188635" y="4714520"/>
                  <a:pt x="1189100" y="4713074"/>
                  <a:pt x="1190029" y="4712661"/>
                </a:cubicBezTo>
                <a:close/>
                <a:moveTo>
                  <a:pt x="1765624" y="4712351"/>
                </a:moveTo>
                <a:cubicBezTo>
                  <a:pt x="1764695" y="4713591"/>
                  <a:pt x="1763765" y="4714210"/>
                  <a:pt x="1762681" y="4714417"/>
                </a:cubicBezTo>
                <a:cubicBezTo>
                  <a:pt x="1761442" y="4714623"/>
                  <a:pt x="1760202" y="4714520"/>
                  <a:pt x="1758344" y="4714417"/>
                </a:cubicBezTo>
                <a:cubicBezTo>
                  <a:pt x="1760822" y="4710803"/>
                  <a:pt x="1762526" y="4711009"/>
                  <a:pt x="1765624" y="4712351"/>
                </a:cubicBezTo>
                <a:close/>
                <a:moveTo>
                  <a:pt x="1115524" y="4712132"/>
                </a:moveTo>
                <a:cubicBezTo>
                  <a:pt x="1120404" y="4711164"/>
                  <a:pt x="1125283" y="4712248"/>
                  <a:pt x="1128845" y="4715862"/>
                </a:cubicBezTo>
                <a:cubicBezTo>
                  <a:pt x="1130704" y="4718444"/>
                  <a:pt x="1131634" y="4720922"/>
                  <a:pt x="1131634" y="4723194"/>
                </a:cubicBezTo>
                <a:lnTo>
                  <a:pt x="1130085" y="4727943"/>
                </a:lnTo>
                <a:lnTo>
                  <a:pt x="1130395" y="4728563"/>
                </a:lnTo>
                <a:lnTo>
                  <a:pt x="1129930" y="4728769"/>
                </a:lnTo>
                <a:lnTo>
                  <a:pt x="1129619" y="4729285"/>
                </a:lnTo>
                <a:cubicBezTo>
                  <a:pt x="1127141" y="4732796"/>
                  <a:pt x="1122340" y="4734965"/>
                  <a:pt x="1117228" y="4734655"/>
                </a:cubicBezTo>
                <a:cubicBezTo>
                  <a:pt x="1111342" y="4734242"/>
                  <a:pt x="1105146" y="4730318"/>
                  <a:pt x="1102203" y="4720715"/>
                </a:cubicBezTo>
                <a:cubicBezTo>
                  <a:pt x="1105766" y="4716120"/>
                  <a:pt x="1110645" y="4713100"/>
                  <a:pt x="1115524" y="4712132"/>
                </a:cubicBezTo>
                <a:close/>
                <a:moveTo>
                  <a:pt x="1001056" y="4712042"/>
                </a:moveTo>
                <a:cubicBezTo>
                  <a:pt x="1003379" y="4711422"/>
                  <a:pt x="1005393" y="4711629"/>
                  <a:pt x="1006942" y="4713694"/>
                </a:cubicBezTo>
                <a:cubicBezTo>
                  <a:pt x="1005393" y="4713797"/>
                  <a:pt x="1004308" y="4713901"/>
                  <a:pt x="1003379" y="4713694"/>
                </a:cubicBezTo>
                <a:cubicBezTo>
                  <a:pt x="1002605" y="4713487"/>
                  <a:pt x="1001830" y="4713074"/>
                  <a:pt x="1001056" y="4712042"/>
                </a:cubicBezTo>
                <a:close/>
                <a:moveTo>
                  <a:pt x="1753852" y="4711526"/>
                </a:moveTo>
                <a:cubicBezTo>
                  <a:pt x="1754936" y="4712042"/>
                  <a:pt x="1754936" y="4712042"/>
                  <a:pt x="1754162" y="4712351"/>
                </a:cubicBezTo>
                <a:cubicBezTo>
                  <a:pt x="1755401" y="4713694"/>
                  <a:pt x="1755556" y="4714520"/>
                  <a:pt x="1755866" y="4715346"/>
                </a:cubicBezTo>
                <a:cubicBezTo>
                  <a:pt x="1755246" y="4716482"/>
                  <a:pt x="1753542" y="4717205"/>
                  <a:pt x="1751683" y="4716895"/>
                </a:cubicBezTo>
                <a:cubicBezTo>
                  <a:pt x="1752303" y="4715759"/>
                  <a:pt x="1751064" y="4714417"/>
                  <a:pt x="1751683" y="4713281"/>
                </a:cubicBezTo>
                <a:cubicBezTo>
                  <a:pt x="1751683" y="4713281"/>
                  <a:pt x="1753852" y="4711526"/>
                  <a:pt x="1753852" y="4711526"/>
                </a:cubicBezTo>
                <a:close/>
                <a:moveTo>
                  <a:pt x="6323903" y="4711234"/>
                </a:moveTo>
                <a:cubicBezTo>
                  <a:pt x="6324522" y="4711750"/>
                  <a:pt x="6326381" y="4711853"/>
                  <a:pt x="6326691" y="4713092"/>
                </a:cubicBezTo>
                <a:cubicBezTo>
                  <a:pt x="6326846" y="4714228"/>
                  <a:pt x="6326846" y="4714228"/>
                  <a:pt x="6325916" y="4715777"/>
                </a:cubicBezTo>
                <a:cubicBezTo>
                  <a:pt x="6324987" y="4714744"/>
                  <a:pt x="6324677" y="4714228"/>
                  <a:pt x="6324367" y="4713608"/>
                </a:cubicBezTo>
                <a:cubicBezTo>
                  <a:pt x="6324212" y="4713092"/>
                  <a:pt x="6324058" y="4712473"/>
                  <a:pt x="6323903" y="4711234"/>
                </a:cubicBezTo>
                <a:close/>
                <a:moveTo>
                  <a:pt x="6321889" y="4709995"/>
                </a:moveTo>
                <a:cubicBezTo>
                  <a:pt x="6322354" y="4709272"/>
                  <a:pt x="6323128" y="4709685"/>
                  <a:pt x="6323438" y="4710821"/>
                </a:cubicBezTo>
                <a:cubicBezTo>
                  <a:pt x="6323438" y="4710821"/>
                  <a:pt x="6322973" y="4711543"/>
                  <a:pt x="6322973" y="4711543"/>
                </a:cubicBezTo>
                <a:cubicBezTo>
                  <a:pt x="6322508" y="4711337"/>
                  <a:pt x="6322199" y="4711131"/>
                  <a:pt x="6322044" y="4710821"/>
                </a:cubicBezTo>
                <a:cubicBezTo>
                  <a:pt x="6321734" y="4710614"/>
                  <a:pt x="6321734" y="4710304"/>
                  <a:pt x="6321889" y="4709995"/>
                </a:cubicBezTo>
                <a:close/>
                <a:moveTo>
                  <a:pt x="1463576" y="4709977"/>
                </a:moveTo>
                <a:cubicBezTo>
                  <a:pt x="1468068" y="4714830"/>
                  <a:pt x="1470702" y="4726291"/>
                  <a:pt x="1462802" y="4727943"/>
                </a:cubicBezTo>
                <a:cubicBezTo>
                  <a:pt x="1462957" y="4722161"/>
                  <a:pt x="1461562" y="4715449"/>
                  <a:pt x="1463576" y="4709977"/>
                </a:cubicBezTo>
                <a:close/>
                <a:moveTo>
                  <a:pt x="1244708" y="4709770"/>
                </a:moveTo>
                <a:cubicBezTo>
                  <a:pt x="1243778" y="4710700"/>
                  <a:pt x="1240835" y="4715140"/>
                  <a:pt x="1240061" y="4714210"/>
                </a:cubicBezTo>
                <a:cubicBezTo>
                  <a:pt x="1240061" y="4714210"/>
                  <a:pt x="1240990" y="4713384"/>
                  <a:pt x="1241920" y="4712455"/>
                </a:cubicBezTo>
                <a:cubicBezTo>
                  <a:pt x="1242849" y="4711629"/>
                  <a:pt x="1242849" y="4711629"/>
                  <a:pt x="1242075" y="4710700"/>
                </a:cubicBezTo>
                <a:cubicBezTo>
                  <a:pt x="1243004" y="4709770"/>
                  <a:pt x="1243004" y="4709770"/>
                  <a:pt x="1244708" y="4709770"/>
                </a:cubicBezTo>
                <a:close/>
                <a:moveTo>
                  <a:pt x="632558" y="4709770"/>
                </a:moveTo>
                <a:cubicBezTo>
                  <a:pt x="634571" y="4708221"/>
                  <a:pt x="639993" y="4707292"/>
                  <a:pt x="643400" y="4710286"/>
                </a:cubicBezTo>
                <a:cubicBezTo>
                  <a:pt x="643555" y="4714520"/>
                  <a:pt x="641852" y="4716275"/>
                  <a:pt x="638753" y="4716275"/>
                </a:cubicBezTo>
                <a:cubicBezTo>
                  <a:pt x="637669" y="4716275"/>
                  <a:pt x="636585" y="4716172"/>
                  <a:pt x="635346" y="4715759"/>
                </a:cubicBezTo>
                <a:cubicBezTo>
                  <a:pt x="634726" y="4713797"/>
                  <a:pt x="633642" y="4712351"/>
                  <a:pt x="632558" y="4709770"/>
                </a:cubicBezTo>
                <a:close/>
                <a:moveTo>
                  <a:pt x="1607940" y="4709460"/>
                </a:moveTo>
                <a:cubicBezTo>
                  <a:pt x="1612741" y="4711422"/>
                  <a:pt x="1618627" y="4712765"/>
                  <a:pt x="1617853" y="4718753"/>
                </a:cubicBezTo>
                <a:cubicBezTo>
                  <a:pt x="1616614" y="4720199"/>
                  <a:pt x="1615220" y="4720818"/>
                  <a:pt x="1613826" y="4721025"/>
                </a:cubicBezTo>
                <a:cubicBezTo>
                  <a:pt x="1609953" y="4721645"/>
                  <a:pt x="1606391" y="4717721"/>
                  <a:pt x="1606236" y="4714004"/>
                </a:cubicBezTo>
                <a:cubicBezTo>
                  <a:pt x="1606081" y="4712248"/>
                  <a:pt x="1606546" y="4710700"/>
                  <a:pt x="1607940" y="4709460"/>
                </a:cubicBezTo>
                <a:close/>
                <a:moveTo>
                  <a:pt x="1357317" y="4709254"/>
                </a:moveTo>
                <a:cubicBezTo>
                  <a:pt x="1359486" y="4710493"/>
                  <a:pt x="1360570" y="4710080"/>
                  <a:pt x="1360106" y="4710906"/>
                </a:cubicBezTo>
                <a:cubicBezTo>
                  <a:pt x="1360880" y="4711319"/>
                  <a:pt x="1360570" y="4712042"/>
                  <a:pt x="1359796" y="4711629"/>
                </a:cubicBezTo>
                <a:cubicBezTo>
                  <a:pt x="1358402" y="4712765"/>
                  <a:pt x="1357627" y="4710390"/>
                  <a:pt x="1357317" y="4709254"/>
                </a:cubicBezTo>
                <a:close/>
                <a:moveTo>
                  <a:pt x="1374666" y="4709047"/>
                </a:moveTo>
                <a:cubicBezTo>
                  <a:pt x="1375595" y="4709047"/>
                  <a:pt x="1376214" y="4709667"/>
                  <a:pt x="1376524" y="4710596"/>
                </a:cubicBezTo>
                <a:cubicBezTo>
                  <a:pt x="1377454" y="4713487"/>
                  <a:pt x="1375905" y="4718960"/>
                  <a:pt x="1372342" y="4718857"/>
                </a:cubicBezTo>
                <a:cubicBezTo>
                  <a:pt x="1371568" y="4718650"/>
                  <a:pt x="1371103" y="4717927"/>
                  <a:pt x="1370638" y="4716895"/>
                </a:cubicBezTo>
                <a:cubicBezTo>
                  <a:pt x="1369399" y="4713901"/>
                  <a:pt x="1369864" y="4708428"/>
                  <a:pt x="1374666" y="4709047"/>
                </a:cubicBezTo>
                <a:close/>
                <a:moveTo>
                  <a:pt x="6065071" y="4708755"/>
                </a:moveTo>
                <a:cubicBezTo>
                  <a:pt x="6067239" y="4710304"/>
                  <a:pt x="6068169" y="4712266"/>
                  <a:pt x="6068014" y="4714125"/>
                </a:cubicBezTo>
                <a:cubicBezTo>
                  <a:pt x="6068014" y="4717223"/>
                  <a:pt x="6065226" y="4720114"/>
                  <a:pt x="6062283" y="4720837"/>
                </a:cubicBezTo>
                <a:cubicBezTo>
                  <a:pt x="6061199" y="4721146"/>
                  <a:pt x="6060269" y="4721146"/>
                  <a:pt x="6059185" y="4720837"/>
                </a:cubicBezTo>
                <a:cubicBezTo>
                  <a:pt x="6057946" y="4720424"/>
                  <a:pt x="6056861" y="4719391"/>
                  <a:pt x="6056087" y="4717739"/>
                </a:cubicBezTo>
                <a:cubicBezTo>
                  <a:pt x="6056552" y="4714228"/>
                  <a:pt x="6062438" y="4709478"/>
                  <a:pt x="6065071" y="4708755"/>
                </a:cubicBezTo>
                <a:close/>
                <a:moveTo>
                  <a:pt x="1587803" y="4708635"/>
                </a:moveTo>
                <a:cubicBezTo>
                  <a:pt x="1591521" y="4714004"/>
                  <a:pt x="1594154" y="4719270"/>
                  <a:pt x="1601280" y="4724846"/>
                </a:cubicBezTo>
                <a:cubicBezTo>
                  <a:pt x="1599575" y="4726498"/>
                  <a:pt x="1602208" y="4728356"/>
                  <a:pt x="1599730" y="4730008"/>
                </a:cubicBezTo>
                <a:cubicBezTo>
                  <a:pt x="1592915" y="4729699"/>
                  <a:pt x="1582227" y="4715243"/>
                  <a:pt x="1587803" y="4708635"/>
                </a:cubicBezTo>
                <a:close/>
                <a:moveTo>
                  <a:pt x="5974302" y="4708446"/>
                </a:moveTo>
                <a:lnTo>
                  <a:pt x="5974611" y="4708755"/>
                </a:lnTo>
                <a:lnTo>
                  <a:pt x="5982976" y="4713092"/>
                </a:lnTo>
                <a:cubicBezTo>
                  <a:pt x="5983750" y="4714022"/>
                  <a:pt x="5985144" y="4717532"/>
                  <a:pt x="5984215" y="4718462"/>
                </a:cubicBezTo>
                <a:cubicBezTo>
                  <a:pt x="5983286" y="4719288"/>
                  <a:pt x="5982511" y="4719288"/>
                  <a:pt x="5981582" y="4719288"/>
                </a:cubicBezTo>
                <a:lnTo>
                  <a:pt x="5977864" y="4717016"/>
                </a:lnTo>
                <a:lnTo>
                  <a:pt x="5977864" y="4718875"/>
                </a:lnTo>
                <a:cubicBezTo>
                  <a:pt x="5977399" y="4720837"/>
                  <a:pt x="5976625" y="4722489"/>
                  <a:pt x="5975696" y="4723005"/>
                </a:cubicBezTo>
                <a:cubicBezTo>
                  <a:pt x="5973372" y="4723624"/>
                  <a:pt x="5970275" y="4722592"/>
                  <a:pt x="5969655" y="4719081"/>
                </a:cubicBezTo>
                <a:cubicBezTo>
                  <a:pt x="5968571" y="4716190"/>
                  <a:pt x="5970429" y="4713196"/>
                  <a:pt x="5969809" y="4709685"/>
                </a:cubicBezTo>
                <a:cubicBezTo>
                  <a:pt x="5971823" y="4708755"/>
                  <a:pt x="5973217" y="4708342"/>
                  <a:pt x="5974302" y="4708446"/>
                </a:cubicBezTo>
                <a:close/>
                <a:moveTo>
                  <a:pt x="926086" y="4708325"/>
                </a:moveTo>
                <a:cubicBezTo>
                  <a:pt x="927015" y="4709254"/>
                  <a:pt x="927945" y="4711009"/>
                  <a:pt x="927170" y="4711732"/>
                </a:cubicBezTo>
                <a:cubicBezTo>
                  <a:pt x="926706" y="4712558"/>
                  <a:pt x="926241" y="4712558"/>
                  <a:pt x="925776" y="4712248"/>
                </a:cubicBezTo>
                <a:cubicBezTo>
                  <a:pt x="925157" y="4711835"/>
                  <a:pt x="924537" y="4711216"/>
                  <a:pt x="923608" y="4710803"/>
                </a:cubicBezTo>
                <a:close/>
                <a:moveTo>
                  <a:pt x="1818134" y="4708118"/>
                </a:moveTo>
                <a:cubicBezTo>
                  <a:pt x="1818444" y="4708118"/>
                  <a:pt x="1818753" y="4708221"/>
                  <a:pt x="1818753" y="4708221"/>
                </a:cubicBezTo>
                <a:cubicBezTo>
                  <a:pt x="1819838" y="4708738"/>
                  <a:pt x="1820768" y="4709254"/>
                  <a:pt x="1820147" y="4710390"/>
                </a:cubicBezTo>
                <a:cubicBezTo>
                  <a:pt x="1820147" y="4710390"/>
                  <a:pt x="1819992" y="4710390"/>
                  <a:pt x="1819528" y="4710390"/>
                </a:cubicBezTo>
                <a:cubicBezTo>
                  <a:pt x="1819063" y="4710286"/>
                  <a:pt x="1818444" y="4710183"/>
                  <a:pt x="1817359" y="4709667"/>
                </a:cubicBezTo>
                <a:cubicBezTo>
                  <a:pt x="1818134" y="4709357"/>
                  <a:pt x="1817979" y="4708531"/>
                  <a:pt x="1817979" y="4708531"/>
                </a:cubicBezTo>
                <a:cubicBezTo>
                  <a:pt x="1817979" y="4708531"/>
                  <a:pt x="1817979" y="4708531"/>
                  <a:pt x="1817204" y="4708841"/>
                </a:cubicBezTo>
                <a:cubicBezTo>
                  <a:pt x="1817514" y="4708221"/>
                  <a:pt x="1817824" y="4708118"/>
                  <a:pt x="1818134" y="4708118"/>
                </a:cubicBezTo>
                <a:close/>
                <a:moveTo>
                  <a:pt x="6082264" y="4708033"/>
                </a:moveTo>
                <a:cubicBezTo>
                  <a:pt x="6083503" y="4707723"/>
                  <a:pt x="6084123" y="4708136"/>
                  <a:pt x="6084743" y="4708549"/>
                </a:cubicBezTo>
                <a:cubicBezTo>
                  <a:pt x="6085053" y="4709685"/>
                  <a:pt x="6084588" y="4710511"/>
                  <a:pt x="6084743" y="4711750"/>
                </a:cubicBezTo>
                <a:cubicBezTo>
                  <a:pt x="6085362" y="4712163"/>
                  <a:pt x="6086757" y="4712989"/>
                  <a:pt x="6086911" y="4714125"/>
                </a:cubicBezTo>
                <a:cubicBezTo>
                  <a:pt x="6087066" y="4715364"/>
                  <a:pt x="6086911" y="4717326"/>
                  <a:pt x="6086911" y="4717326"/>
                </a:cubicBezTo>
                <a:cubicBezTo>
                  <a:pt x="6086292" y="4717429"/>
                  <a:pt x="6085982" y="4717532"/>
                  <a:pt x="6085827" y="4717429"/>
                </a:cubicBezTo>
                <a:cubicBezTo>
                  <a:pt x="6085827" y="4717429"/>
                  <a:pt x="6085982" y="4717223"/>
                  <a:pt x="6086137" y="4716913"/>
                </a:cubicBezTo>
                <a:cubicBezTo>
                  <a:pt x="6085207" y="4715261"/>
                  <a:pt x="6085982" y="4715674"/>
                  <a:pt x="6085827" y="4714435"/>
                </a:cubicBezTo>
                <a:cubicBezTo>
                  <a:pt x="6085517" y="4713299"/>
                  <a:pt x="6083194" y="4709685"/>
                  <a:pt x="6081955" y="4709995"/>
                </a:cubicBezTo>
                <a:cubicBezTo>
                  <a:pt x="6082574" y="4709169"/>
                  <a:pt x="6082264" y="4708033"/>
                  <a:pt x="6082264" y="4708033"/>
                </a:cubicBezTo>
                <a:close/>
                <a:moveTo>
                  <a:pt x="6022939" y="4708033"/>
                </a:moveTo>
                <a:cubicBezTo>
                  <a:pt x="6024953" y="4709685"/>
                  <a:pt x="6027741" y="4712163"/>
                  <a:pt x="6026502" y="4714847"/>
                </a:cubicBezTo>
                <a:cubicBezTo>
                  <a:pt x="6025572" y="4714951"/>
                  <a:pt x="6025727" y="4715777"/>
                  <a:pt x="6024953" y="4715880"/>
                </a:cubicBezTo>
                <a:cubicBezTo>
                  <a:pt x="6024953" y="4715880"/>
                  <a:pt x="6024179" y="4716397"/>
                  <a:pt x="6022939" y="4716500"/>
                </a:cubicBezTo>
                <a:cubicBezTo>
                  <a:pt x="6022320" y="4716603"/>
                  <a:pt x="6021700" y="4716603"/>
                  <a:pt x="6020925" y="4716500"/>
                </a:cubicBezTo>
                <a:cubicBezTo>
                  <a:pt x="6019996" y="4716293"/>
                  <a:pt x="6019067" y="4715983"/>
                  <a:pt x="6018137" y="4715364"/>
                </a:cubicBezTo>
                <a:cubicBezTo>
                  <a:pt x="6017208" y="4714538"/>
                  <a:pt x="6015194" y="4712060"/>
                  <a:pt x="6016124" y="4711957"/>
                </a:cubicBezTo>
                <a:cubicBezTo>
                  <a:pt x="6016743" y="4711027"/>
                  <a:pt x="6015969" y="4711131"/>
                  <a:pt x="6015814" y="4710201"/>
                </a:cubicBezTo>
                <a:cubicBezTo>
                  <a:pt x="6017982" y="4707413"/>
                  <a:pt x="6020306" y="4706380"/>
                  <a:pt x="6022939" y="4708033"/>
                </a:cubicBezTo>
                <a:close/>
                <a:moveTo>
                  <a:pt x="1809150" y="4707808"/>
                </a:moveTo>
                <a:cubicBezTo>
                  <a:pt x="1811009" y="4707705"/>
                  <a:pt x="1811783" y="4710390"/>
                  <a:pt x="1812712" y="4711835"/>
                </a:cubicBezTo>
                <a:cubicBezTo>
                  <a:pt x="1814571" y="4711629"/>
                  <a:pt x="1813332" y="4715656"/>
                  <a:pt x="1815191" y="4715552"/>
                </a:cubicBezTo>
                <a:cubicBezTo>
                  <a:pt x="1814416" y="4720302"/>
                  <a:pt x="1820302" y="4721748"/>
                  <a:pt x="1820302" y="4729285"/>
                </a:cubicBezTo>
                <a:lnTo>
                  <a:pt x="1816430" y="4724846"/>
                </a:lnTo>
                <a:lnTo>
                  <a:pt x="1814261" y="4725362"/>
                </a:lnTo>
                <a:cubicBezTo>
                  <a:pt x="1813177" y="4724949"/>
                  <a:pt x="1812248" y="4723916"/>
                  <a:pt x="1811164" y="4722471"/>
                </a:cubicBezTo>
                <a:cubicBezTo>
                  <a:pt x="1812402" y="4721851"/>
                  <a:pt x="1813487" y="4721851"/>
                  <a:pt x="1814571" y="4722264"/>
                </a:cubicBezTo>
                <a:lnTo>
                  <a:pt x="1814881" y="4722368"/>
                </a:lnTo>
                <a:lnTo>
                  <a:pt x="1812248" y="4717824"/>
                </a:lnTo>
                <a:cubicBezTo>
                  <a:pt x="1811164" y="4715759"/>
                  <a:pt x="1809924" y="4713901"/>
                  <a:pt x="1808375" y="4712558"/>
                </a:cubicBezTo>
                <a:cubicBezTo>
                  <a:pt x="1808375" y="4712558"/>
                  <a:pt x="1808375" y="4712661"/>
                  <a:pt x="1808840" y="4710183"/>
                </a:cubicBezTo>
                <a:cubicBezTo>
                  <a:pt x="1808221" y="4709460"/>
                  <a:pt x="1808221" y="4709460"/>
                  <a:pt x="1808221" y="4709460"/>
                </a:cubicBezTo>
                <a:cubicBezTo>
                  <a:pt x="1807756" y="4708738"/>
                  <a:pt x="1809150" y="4707808"/>
                  <a:pt x="1809150" y="4707808"/>
                </a:cubicBezTo>
                <a:close/>
                <a:moveTo>
                  <a:pt x="1040438" y="4707808"/>
                </a:moveTo>
                <a:cubicBezTo>
                  <a:pt x="1041910" y="4708660"/>
                  <a:pt x="1042878" y="4710493"/>
                  <a:pt x="1042413" y="4713178"/>
                </a:cubicBezTo>
                <a:cubicBezTo>
                  <a:pt x="1038851" y="4712558"/>
                  <a:pt x="1035288" y="4712042"/>
                  <a:pt x="1035443" y="4708325"/>
                </a:cubicBezTo>
                <a:cubicBezTo>
                  <a:pt x="1036992" y="4707086"/>
                  <a:pt x="1038967" y="4706956"/>
                  <a:pt x="1040438" y="4707808"/>
                </a:cubicBezTo>
                <a:close/>
                <a:moveTo>
                  <a:pt x="920045" y="4707808"/>
                </a:moveTo>
                <a:cubicBezTo>
                  <a:pt x="920045" y="4707808"/>
                  <a:pt x="920045" y="4707808"/>
                  <a:pt x="921129" y="4709564"/>
                </a:cubicBezTo>
                <a:lnTo>
                  <a:pt x="920819" y="4711009"/>
                </a:lnTo>
                <a:lnTo>
                  <a:pt x="922833" y="4711526"/>
                </a:lnTo>
                <a:cubicBezTo>
                  <a:pt x="924693" y="4713384"/>
                  <a:pt x="927170" y="4716172"/>
                  <a:pt x="925622" y="4718650"/>
                </a:cubicBezTo>
                <a:cubicBezTo>
                  <a:pt x="924847" y="4718650"/>
                  <a:pt x="924847" y="4719476"/>
                  <a:pt x="924072" y="4719476"/>
                </a:cubicBezTo>
                <a:cubicBezTo>
                  <a:pt x="924072" y="4719476"/>
                  <a:pt x="923298" y="4719889"/>
                  <a:pt x="922059" y="4719889"/>
                </a:cubicBezTo>
                <a:cubicBezTo>
                  <a:pt x="920819" y="4719993"/>
                  <a:pt x="919115" y="4719683"/>
                  <a:pt x="917412" y="4718237"/>
                </a:cubicBezTo>
                <a:cubicBezTo>
                  <a:pt x="916482" y="4717411"/>
                  <a:pt x="914779" y="4714623"/>
                  <a:pt x="915553" y="4714623"/>
                </a:cubicBezTo>
                <a:cubicBezTo>
                  <a:pt x="916328" y="4713797"/>
                  <a:pt x="915553" y="4713797"/>
                  <a:pt x="915553" y="4712971"/>
                </a:cubicBezTo>
                <a:lnTo>
                  <a:pt x="916637" y="4712248"/>
                </a:lnTo>
                <a:lnTo>
                  <a:pt x="916173" y="4711629"/>
                </a:lnTo>
                <a:cubicBezTo>
                  <a:pt x="915089" y="4709874"/>
                  <a:pt x="915089" y="4709874"/>
                  <a:pt x="915863" y="4708944"/>
                </a:cubicBezTo>
                <a:cubicBezTo>
                  <a:pt x="916637" y="4708015"/>
                  <a:pt x="919270" y="4708738"/>
                  <a:pt x="920045" y="4707808"/>
                </a:cubicBezTo>
                <a:close/>
                <a:moveTo>
                  <a:pt x="6319565" y="4707516"/>
                </a:moveTo>
                <a:cubicBezTo>
                  <a:pt x="6319875" y="4708652"/>
                  <a:pt x="6320340" y="4708033"/>
                  <a:pt x="6319411" y="4709375"/>
                </a:cubicBezTo>
                <a:cubicBezTo>
                  <a:pt x="6319101" y="4708239"/>
                  <a:pt x="6319101" y="4708136"/>
                  <a:pt x="6318481" y="4707723"/>
                </a:cubicBezTo>
                <a:cubicBezTo>
                  <a:pt x="6318481" y="4707723"/>
                  <a:pt x="6319565" y="4707516"/>
                  <a:pt x="6319565" y="4707516"/>
                </a:cubicBezTo>
                <a:close/>
                <a:moveTo>
                  <a:pt x="6178145" y="4706174"/>
                </a:moveTo>
                <a:cubicBezTo>
                  <a:pt x="6188214" y="4707000"/>
                  <a:pt x="6195648" y="4710098"/>
                  <a:pt x="6200760" y="4715364"/>
                </a:cubicBezTo>
                <a:cubicBezTo>
                  <a:pt x="6202464" y="4717119"/>
                  <a:pt x="6204013" y="4719081"/>
                  <a:pt x="6205252" y="4721353"/>
                </a:cubicBezTo>
                <a:cubicBezTo>
                  <a:pt x="6199986" y="4725999"/>
                  <a:pt x="6194100" y="4721456"/>
                  <a:pt x="6188988" y="4719494"/>
                </a:cubicBezTo>
                <a:cubicBezTo>
                  <a:pt x="6188369" y="4725586"/>
                  <a:pt x="6188988" y="4734776"/>
                  <a:pt x="6182482" y="4735189"/>
                </a:cubicBezTo>
                <a:cubicBezTo>
                  <a:pt x="6181398" y="4734053"/>
                  <a:pt x="6180779" y="4732711"/>
                  <a:pt x="6180469" y="4731265"/>
                </a:cubicBezTo>
                <a:cubicBezTo>
                  <a:pt x="6179849" y="4726825"/>
                  <a:pt x="6182637" y="4721043"/>
                  <a:pt x="6182482" y="4715467"/>
                </a:cubicBezTo>
                <a:cubicBezTo>
                  <a:pt x="6180933" y="4712370"/>
                  <a:pt x="6176751" y="4712886"/>
                  <a:pt x="6178145" y="4706174"/>
                </a:cubicBezTo>
                <a:close/>
                <a:moveTo>
                  <a:pt x="1880867" y="4705950"/>
                </a:moveTo>
                <a:cubicBezTo>
                  <a:pt x="1880867" y="4705950"/>
                  <a:pt x="1880867" y="4706879"/>
                  <a:pt x="1879008" y="4708325"/>
                </a:cubicBezTo>
                <a:cubicBezTo>
                  <a:pt x="1879163" y="4707395"/>
                  <a:pt x="1878234" y="4707292"/>
                  <a:pt x="1878234" y="4707292"/>
                </a:cubicBezTo>
                <a:cubicBezTo>
                  <a:pt x="1878234" y="4707292"/>
                  <a:pt x="1878234" y="4707292"/>
                  <a:pt x="1878234" y="4708118"/>
                </a:cubicBezTo>
                <a:cubicBezTo>
                  <a:pt x="1877769" y="4707705"/>
                  <a:pt x="1877924" y="4707189"/>
                  <a:pt x="1877924" y="4706982"/>
                </a:cubicBezTo>
                <a:cubicBezTo>
                  <a:pt x="1878079" y="4706673"/>
                  <a:pt x="1878389" y="4706466"/>
                  <a:pt x="1878389" y="4706466"/>
                </a:cubicBezTo>
                <a:cubicBezTo>
                  <a:pt x="1879163" y="4705743"/>
                  <a:pt x="1880092" y="4704917"/>
                  <a:pt x="1880867" y="4705950"/>
                </a:cubicBezTo>
                <a:close/>
                <a:moveTo>
                  <a:pt x="6211603" y="4705555"/>
                </a:moveTo>
                <a:cubicBezTo>
                  <a:pt x="6214546" y="4705348"/>
                  <a:pt x="6215475" y="4706897"/>
                  <a:pt x="6217179" y="4710098"/>
                </a:cubicBezTo>
                <a:cubicBezTo>
                  <a:pt x="6215165" y="4710304"/>
                  <a:pt x="6213926" y="4710098"/>
                  <a:pt x="6212997" y="4709272"/>
                </a:cubicBezTo>
                <a:cubicBezTo>
                  <a:pt x="6212222" y="4708549"/>
                  <a:pt x="6211913" y="4707207"/>
                  <a:pt x="6211603" y="4705555"/>
                </a:cubicBezTo>
                <a:close/>
                <a:moveTo>
                  <a:pt x="6111695" y="4705451"/>
                </a:moveTo>
                <a:cubicBezTo>
                  <a:pt x="6115567" y="4705038"/>
                  <a:pt x="6118200" y="4705968"/>
                  <a:pt x="6119594" y="4707620"/>
                </a:cubicBezTo>
                <a:cubicBezTo>
                  <a:pt x="6123932" y="4712679"/>
                  <a:pt x="6118510" y="4724141"/>
                  <a:pt x="6109836" y="4723728"/>
                </a:cubicBezTo>
                <a:cubicBezTo>
                  <a:pt x="6108752" y="4722798"/>
                  <a:pt x="6108132" y="4721353"/>
                  <a:pt x="6107822" y="4719804"/>
                </a:cubicBezTo>
                <a:cubicBezTo>
                  <a:pt x="6106738" y="4714847"/>
                  <a:pt x="6108907" y="4708136"/>
                  <a:pt x="6111695" y="4705451"/>
                </a:cubicBezTo>
                <a:close/>
                <a:moveTo>
                  <a:pt x="1204590" y="4705330"/>
                </a:moveTo>
                <a:cubicBezTo>
                  <a:pt x="1205519" y="4706259"/>
                  <a:pt x="1206293" y="4706259"/>
                  <a:pt x="1205519" y="4708015"/>
                </a:cubicBezTo>
                <a:cubicBezTo>
                  <a:pt x="1205674" y="4708841"/>
                  <a:pt x="1204744" y="4709667"/>
                  <a:pt x="1204900" y="4710493"/>
                </a:cubicBezTo>
                <a:cubicBezTo>
                  <a:pt x="1204900" y="4710493"/>
                  <a:pt x="1204280" y="4710700"/>
                  <a:pt x="1203506" y="4710803"/>
                </a:cubicBezTo>
                <a:cubicBezTo>
                  <a:pt x="1202731" y="4710906"/>
                  <a:pt x="1201957" y="4710803"/>
                  <a:pt x="1201492" y="4710390"/>
                </a:cubicBezTo>
                <a:cubicBezTo>
                  <a:pt x="1199788" y="4709357"/>
                  <a:pt x="1202111" y="4706982"/>
                  <a:pt x="1202111" y="4706053"/>
                </a:cubicBezTo>
                <a:cubicBezTo>
                  <a:pt x="1202886" y="4705227"/>
                  <a:pt x="1203816" y="4704401"/>
                  <a:pt x="1204590" y="4705330"/>
                </a:cubicBezTo>
                <a:close/>
                <a:moveTo>
                  <a:pt x="6023249" y="4705038"/>
                </a:moveTo>
                <a:cubicBezTo>
                  <a:pt x="6024179" y="4704109"/>
                  <a:pt x="6024023" y="4705038"/>
                  <a:pt x="6024798" y="4705038"/>
                </a:cubicBezTo>
                <a:cubicBezTo>
                  <a:pt x="6024333" y="4705555"/>
                  <a:pt x="6024179" y="4705761"/>
                  <a:pt x="6024023" y="4705761"/>
                </a:cubicBezTo>
                <a:cubicBezTo>
                  <a:pt x="6023713" y="4705761"/>
                  <a:pt x="6023713" y="4705555"/>
                  <a:pt x="6023249" y="4705038"/>
                </a:cubicBezTo>
                <a:close/>
                <a:moveTo>
                  <a:pt x="6092178" y="4704935"/>
                </a:moveTo>
                <a:cubicBezTo>
                  <a:pt x="6093882" y="4715054"/>
                  <a:pt x="6099458" y="4720837"/>
                  <a:pt x="6099303" y="4732401"/>
                </a:cubicBezTo>
                <a:cubicBezTo>
                  <a:pt x="6091248" y="4729923"/>
                  <a:pt x="6084123" y="4709169"/>
                  <a:pt x="6092178" y="4704935"/>
                </a:cubicBezTo>
                <a:close/>
                <a:moveTo>
                  <a:pt x="1824639" y="4704917"/>
                </a:moveTo>
                <a:lnTo>
                  <a:pt x="1824794" y="4705227"/>
                </a:lnTo>
                <a:lnTo>
                  <a:pt x="1824949" y="4705227"/>
                </a:lnTo>
                <a:lnTo>
                  <a:pt x="1826344" y="4705020"/>
                </a:lnTo>
                <a:close/>
                <a:moveTo>
                  <a:pt x="1321691" y="4704917"/>
                </a:moveTo>
                <a:cubicBezTo>
                  <a:pt x="1333928" y="4715552"/>
                  <a:pt x="1347404" y="4722264"/>
                  <a:pt x="1357163" y="4731454"/>
                </a:cubicBezTo>
                <a:cubicBezTo>
                  <a:pt x="1355459" y="4731661"/>
                  <a:pt x="1353755" y="4731764"/>
                  <a:pt x="1352051" y="4731557"/>
                </a:cubicBezTo>
                <a:cubicBezTo>
                  <a:pt x="1339969" y="4730421"/>
                  <a:pt x="1328197" y="4719683"/>
                  <a:pt x="1316580" y="4712455"/>
                </a:cubicBezTo>
                <a:cubicBezTo>
                  <a:pt x="1318593" y="4710286"/>
                  <a:pt x="1317974" y="4707499"/>
                  <a:pt x="1321691" y="4704917"/>
                </a:cubicBezTo>
                <a:close/>
                <a:moveTo>
                  <a:pt x="1526619" y="4704711"/>
                </a:moveTo>
                <a:cubicBezTo>
                  <a:pt x="1528478" y="4704711"/>
                  <a:pt x="1527703" y="4705227"/>
                  <a:pt x="1528788" y="4705537"/>
                </a:cubicBezTo>
                <a:cubicBezTo>
                  <a:pt x="1529872" y="4705950"/>
                  <a:pt x="1531730" y="4705950"/>
                  <a:pt x="1532505" y="4705537"/>
                </a:cubicBezTo>
                <a:cubicBezTo>
                  <a:pt x="1531421" y="4709874"/>
                  <a:pt x="1534209" y="4710286"/>
                  <a:pt x="1532195" y="4716895"/>
                </a:cubicBezTo>
                <a:cubicBezTo>
                  <a:pt x="1530647" y="4723400"/>
                  <a:pt x="1526774" y="4725672"/>
                  <a:pt x="1523211" y="4725981"/>
                </a:cubicBezTo>
                <a:cubicBezTo>
                  <a:pt x="1522127" y="4726188"/>
                  <a:pt x="1521043" y="4726085"/>
                  <a:pt x="1519959" y="4725878"/>
                </a:cubicBezTo>
                <a:cubicBezTo>
                  <a:pt x="1520268" y="4724949"/>
                  <a:pt x="1514847" y="4723813"/>
                  <a:pt x="1513143" y="4719167"/>
                </a:cubicBezTo>
                <a:cubicBezTo>
                  <a:pt x="1512679" y="4717618"/>
                  <a:pt x="1512524" y="4715656"/>
                  <a:pt x="1513298" y="4713281"/>
                </a:cubicBezTo>
                <a:cubicBezTo>
                  <a:pt x="1514847" y="4707808"/>
                  <a:pt x="1518254" y="4702336"/>
                  <a:pt x="1526619" y="4704711"/>
                </a:cubicBezTo>
                <a:close/>
                <a:moveTo>
                  <a:pt x="6025882" y="4704522"/>
                </a:moveTo>
                <a:cubicBezTo>
                  <a:pt x="6026812" y="4705348"/>
                  <a:pt x="6027896" y="4706897"/>
                  <a:pt x="6027121" y="4707826"/>
                </a:cubicBezTo>
                <a:cubicBezTo>
                  <a:pt x="6026812" y="4708652"/>
                  <a:pt x="6026502" y="4708652"/>
                  <a:pt x="6025882" y="4708446"/>
                </a:cubicBezTo>
                <a:cubicBezTo>
                  <a:pt x="6025263" y="4708136"/>
                  <a:pt x="6024643" y="4707516"/>
                  <a:pt x="6023713" y="4707207"/>
                </a:cubicBezTo>
                <a:close/>
                <a:moveTo>
                  <a:pt x="1244398" y="4704504"/>
                </a:moveTo>
                <a:cubicBezTo>
                  <a:pt x="1253072" y="4704607"/>
                  <a:pt x="1258493" y="4714417"/>
                  <a:pt x="1259578" y="4720302"/>
                </a:cubicBezTo>
                <a:cubicBezTo>
                  <a:pt x="1253072" y="4720199"/>
                  <a:pt x="1247496" y="4714933"/>
                  <a:pt x="1245327" y="4709667"/>
                </a:cubicBezTo>
                <a:cubicBezTo>
                  <a:pt x="1244708" y="4707912"/>
                  <a:pt x="1244244" y="4706053"/>
                  <a:pt x="1244398" y="4704504"/>
                </a:cubicBezTo>
                <a:close/>
                <a:moveTo>
                  <a:pt x="1583776" y="4703059"/>
                </a:moveTo>
                <a:cubicBezTo>
                  <a:pt x="1585015" y="4703368"/>
                  <a:pt x="1586099" y="4704298"/>
                  <a:pt x="1586718" y="4705950"/>
                </a:cubicBezTo>
                <a:cubicBezTo>
                  <a:pt x="1585790" y="4711319"/>
                  <a:pt x="1580833" y="4709047"/>
                  <a:pt x="1575876" y="4710700"/>
                </a:cubicBezTo>
                <a:cubicBezTo>
                  <a:pt x="1574482" y="4706156"/>
                  <a:pt x="1579903" y="4702026"/>
                  <a:pt x="1583776" y="4703059"/>
                </a:cubicBezTo>
                <a:close/>
                <a:moveTo>
                  <a:pt x="1615684" y="4702129"/>
                </a:moveTo>
                <a:cubicBezTo>
                  <a:pt x="1615065" y="4702749"/>
                  <a:pt x="1614445" y="4704298"/>
                  <a:pt x="1613516" y="4704711"/>
                </a:cubicBezTo>
                <a:cubicBezTo>
                  <a:pt x="1613206" y="4704814"/>
                  <a:pt x="1612896" y="4704814"/>
                  <a:pt x="1612432" y="4704504"/>
                </a:cubicBezTo>
                <a:cubicBezTo>
                  <a:pt x="1613206" y="4702852"/>
                  <a:pt x="1613981" y="4702026"/>
                  <a:pt x="1615684" y="4702129"/>
                </a:cubicBezTo>
                <a:close/>
                <a:moveTo>
                  <a:pt x="1190340" y="4701613"/>
                </a:moveTo>
                <a:cubicBezTo>
                  <a:pt x="1191733" y="4699754"/>
                  <a:pt x="1194521" y="4701407"/>
                  <a:pt x="1194676" y="4702336"/>
                </a:cubicBezTo>
                <a:cubicBezTo>
                  <a:pt x="1193902" y="4703265"/>
                  <a:pt x="1192353" y="4703265"/>
                  <a:pt x="1191578" y="4704194"/>
                </a:cubicBezTo>
                <a:cubicBezTo>
                  <a:pt x="1191423" y="4703368"/>
                  <a:pt x="1190494" y="4702542"/>
                  <a:pt x="1190340" y="4701613"/>
                </a:cubicBezTo>
                <a:close/>
                <a:moveTo>
                  <a:pt x="1484487" y="4700580"/>
                </a:moveTo>
                <a:cubicBezTo>
                  <a:pt x="1488204" y="4698309"/>
                  <a:pt x="1491148" y="4699135"/>
                  <a:pt x="1493316" y="4701716"/>
                </a:cubicBezTo>
                <a:lnTo>
                  <a:pt x="1492851" y="4702645"/>
                </a:lnTo>
                <a:lnTo>
                  <a:pt x="1493936" y="4702749"/>
                </a:lnTo>
                <a:cubicBezTo>
                  <a:pt x="1494865" y="4702955"/>
                  <a:pt x="1495794" y="4703472"/>
                  <a:pt x="1496569" y="4704401"/>
                </a:cubicBezTo>
                <a:cubicBezTo>
                  <a:pt x="1499202" y="4707085"/>
                  <a:pt x="1501216" y="4713178"/>
                  <a:pt x="1498738" y="4715656"/>
                </a:cubicBezTo>
                <a:lnTo>
                  <a:pt x="1497653" y="4716585"/>
                </a:lnTo>
                <a:lnTo>
                  <a:pt x="1498738" y="4717721"/>
                </a:lnTo>
                <a:cubicBezTo>
                  <a:pt x="1500132" y="4720302"/>
                  <a:pt x="1500286" y="4723503"/>
                  <a:pt x="1498428" y="4725465"/>
                </a:cubicBezTo>
                <a:lnTo>
                  <a:pt x="1497808" y="4725775"/>
                </a:lnTo>
                <a:lnTo>
                  <a:pt x="1498273" y="4726291"/>
                </a:lnTo>
                <a:cubicBezTo>
                  <a:pt x="1500132" y="4728666"/>
                  <a:pt x="1501526" y="4730835"/>
                  <a:pt x="1501216" y="4732177"/>
                </a:cubicBezTo>
                <a:cubicBezTo>
                  <a:pt x="1500286" y="4732074"/>
                  <a:pt x="1499512" y="4732074"/>
                  <a:pt x="1498582" y="4731144"/>
                </a:cubicBezTo>
                <a:cubicBezTo>
                  <a:pt x="1497808" y="4730318"/>
                  <a:pt x="1498582" y="4730318"/>
                  <a:pt x="1497808" y="4730318"/>
                </a:cubicBezTo>
                <a:cubicBezTo>
                  <a:pt x="1496879" y="4729389"/>
                  <a:pt x="1496879" y="4730215"/>
                  <a:pt x="1496879" y="4730215"/>
                </a:cubicBezTo>
                <a:cubicBezTo>
                  <a:pt x="1496879" y="4730215"/>
                  <a:pt x="1496879" y="4729389"/>
                  <a:pt x="1496879" y="4729389"/>
                </a:cubicBezTo>
                <a:cubicBezTo>
                  <a:pt x="1496879" y="4729389"/>
                  <a:pt x="1496879" y="4729389"/>
                  <a:pt x="1495175" y="4727530"/>
                </a:cubicBezTo>
                <a:lnTo>
                  <a:pt x="1494401" y="4727220"/>
                </a:lnTo>
                <a:lnTo>
                  <a:pt x="1494091" y="4727014"/>
                </a:lnTo>
                <a:lnTo>
                  <a:pt x="1492232" y="4725878"/>
                </a:lnTo>
                <a:cubicBezTo>
                  <a:pt x="1491458" y="4725465"/>
                  <a:pt x="1490838" y="4725259"/>
                  <a:pt x="1489909" y="4724742"/>
                </a:cubicBezTo>
                <a:cubicBezTo>
                  <a:pt x="1488204" y="4722884"/>
                  <a:pt x="1488050" y="4722058"/>
                  <a:pt x="1486346" y="4719373"/>
                </a:cubicBezTo>
                <a:cubicBezTo>
                  <a:pt x="1487121" y="4717721"/>
                  <a:pt x="1487121" y="4717721"/>
                  <a:pt x="1487895" y="4717721"/>
                </a:cubicBezTo>
                <a:cubicBezTo>
                  <a:pt x="1487121" y="4717721"/>
                  <a:pt x="1487121" y="4716895"/>
                  <a:pt x="1486191" y="4715966"/>
                </a:cubicBezTo>
                <a:cubicBezTo>
                  <a:pt x="1484023" y="4714623"/>
                  <a:pt x="1483248" y="4712765"/>
                  <a:pt x="1483558" y="4710906"/>
                </a:cubicBezTo>
                <a:lnTo>
                  <a:pt x="1485727" y="4706569"/>
                </a:lnTo>
                <a:lnTo>
                  <a:pt x="1484023" y="4705537"/>
                </a:lnTo>
                <a:cubicBezTo>
                  <a:pt x="1484023" y="4704298"/>
                  <a:pt x="1483713" y="4702439"/>
                  <a:pt x="1484487" y="4700580"/>
                </a:cubicBezTo>
                <a:close/>
                <a:moveTo>
                  <a:pt x="6034556" y="4700392"/>
                </a:moveTo>
                <a:cubicBezTo>
                  <a:pt x="6035331" y="4700392"/>
                  <a:pt x="6035486" y="4701218"/>
                  <a:pt x="6036415" y="4702044"/>
                </a:cubicBezTo>
                <a:cubicBezTo>
                  <a:pt x="6037500" y="4703696"/>
                  <a:pt x="6037809" y="4706174"/>
                  <a:pt x="6037190" y="4707103"/>
                </a:cubicBezTo>
                <a:cubicBezTo>
                  <a:pt x="6036415" y="4708033"/>
                  <a:pt x="6035641" y="4708136"/>
                  <a:pt x="6035641" y="4708136"/>
                </a:cubicBezTo>
                <a:cubicBezTo>
                  <a:pt x="6032853" y="4706484"/>
                  <a:pt x="6030839" y="4704109"/>
                  <a:pt x="6033007" y="4701424"/>
                </a:cubicBezTo>
                <a:cubicBezTo>
                  <a:pt x="6033627" y="4700495"/>
                  <a:pt x="6034401" y="4699566"/>
                  <a:pt x="6034556" y="4700392"/>
                </a:cubicBezTo>
                <a:close/>
                <a:moveTo>
                  <a:pt x="5900455" y="4699772"/>
                </a:moveTo>
                <a:cubicBezTo>
                  <a:pt x="5902701" y="4699592"/>
                  <a:pt x="5904598" y="4700289"/>
                  <a:pt x="5905683" y="4703076"/>
                </a:cubicBezTo>
                <a:cubicBezTo>
                  <a:pt x="5904753" y="4707000"/>
                  <a:pt x="5902430" y="4708962"/>
                  <a:pt x="5899951" y="4709375"/>
                </a:cubicBezTo>
                <a:cubicBezTo>
                  <a:pt x="5897628" y="4709788"/>
                  <a:pt x="5894995" y="4708755"/>
                  <a:pt x="5893756" y="4706794"/>
                </a:cubicBezTo>
                <a:cubicBezTo>
                  <a:pt x="5892826" y="4705451"/>
                  <a:pt x="5892517" y="4703696"/>
                  <a:pt x="5893136" y="4701734"/>
                </a:cubicBezTo>
                <a:cubicBezTo>
                  <a:pt x="5895615" y="4701011"/>
                  <a:pt x="5898209" y="4699953"/>
                  <a:pt x="5900455" y="4699772"/>
                </a:cubicBezTo>
                <a:close/>
                <a:moveTo>
                  <a:pt x="1848648" y="4699341"/>
                </a:moveTo>
                <a:cubicBezTo>
                  <a:pt x="1849888" y="4700580"/>
                  <a:pt x="1851436" y="4703472"/>
                  <a:pt x="1850352" y="4705640"/>
                </a:cubicBezTo>
                <a:cubicBezTo>
                  <a:pt x="1850352" y="4705640"/>
                  <a:pt x="1850352" y="4705640"/>
                  <a:pt x="1849733" y="4706776"/>
                </a:cubicBezTo>
                <a:cubicBezTo>
                  <a:pt x="1849113" y="4704401"/>
                  <a:pt x="1848339" y="4701200"/>
                  <a:pt x="1848648" y="4699341"/>
                </a:cubicBezTo>
                <a:close/>
                <a:moveTo>
                  <a:pt x="6503737" y="4698946"/>
                </a:moveTo>
                <a:cubicBezTo>
                  <a:pt x="6504821" y="4698636"/>
                  <a:pt x="6505906" y="4698223"/>
                  <a:pt x="6507455" y="4699153"/>
                </a:cubicBezTo>
                <a:cubicBezTo>
                  <a:pt x="6508229" y="4701528"/>
                  <a:pt x="6506525" y="4703283"/>
                  <a:pt x="6506835" y="4704522"/>
                </a:cubicBezTo>
                <a:cubicBezTo>
                  <a:pt x="6506060" y="4704006"/>
                  <a:pt x="6504666" y="4703179"/>
                  <a:pt x="6503117" y="4704315"/>
                </a:cubicBezTo>
                <a:cubicBezTo>
                  <a:pt x="6502343" y="4701941"/>
                  <a:pt x="6501568" y="4699566"/>
                  <a:pt x="6503737" y="4698946"/>
                </a:cubicBezTo>
                <a:close/>
                <a:moveTo>
                  <a:pt x="6105809" y="4698327"/>
                </a:moveTo>
                <a:cubicBezTo>
                  <a:pt x="6108907" y="4699049"/>
                  <a:pt x="6109836" y="4702250"/>
                  <a:pt x="6109371" y="4705555"/>
                </a:cubicBezTo>
                <a:cubicBezTo>
                  <a:pt x="6108752" y="4708755"/>
                  <a:pt x="6106738" y="4712060"/>
                  <a:pt x="6104105" y="4713196"/>
                </a:cubicBezTo>
                <a:cubicBezTo>
                  <a:pt x="6103330" y="4711750"/>
                  <a:pt x="6102711" y="4710511"/>
                  <a:pt x="6102246" y="4709169"/>
                </a:cubicBezTo>
                <a:cubicBezTo>
                  <a:pt x="6100852" y="4705348"/>
                  <a:pt x="6101471" y="4701941"/>
                  <a:pt x="6105809" y="4698327"/>
                </a:cubicBezTo>
                <a:close/>
                <a:moveTo>
                  <a:pt x="1507102" y="4698309"/>
                </a:moveTo>
                <a:lnTo>
                  <a:pt x="1509452" y="4698911"/>
                </a:lnTo>
                <a:lnTo>
                  <a:pt x="1509426" y="4698928"/>
                </a:lnTo>
                <a:cubicBezTo>
                  <a:pt x="1508186" y="4698618"/>
                  <a:pt x="1507102" y="4698309"/>
                  <a:pt x="1507102" y="4698309"/>
                </a:cubicBezTo>
                <a:close/>
                <a:moveTo>
                  <a:pt x="867826" y="4698102"/>
                </a:moveTo>
                <a:cubicBezTo>
                  <a:pt x="869549" y="4699032"/>
                  <a:pt x="870479" y="4701458"/>
                  <a:pt x="870014" y="4703988"/>
                </a:cubicBezTo>
                <a:cubicBezTo>
                  <a:pt x="869704" y="4705743"/>
                  <a:pt x="868775" y="4707499"/>
                  <a:pt x="867070" y="4708841"/>
                </a:cubicBezTo>
                <a:cubicBezTo>
                  <a:pt x="866451" y="4708841"/>
                  <a:pt x="865676" y="4708531"/>
                  <a:pt x="864902" y="4708015"/>
                </a:cubicBezTo>
                <a:lnTo>
                  <a:pt x="864747" y="4707808"/>
                </a:lnTo>
                <a:lnTo>
                  <a:pt x="861804" y="4712042"/>
                </a:lnTo>
                <a:cubicBezTo>
                  <a:pt x="860875" y="4711422"/>
                  <a:pt x="860255" y="4710596"/>
                  <a:pt x="859946" y="4709564"/>
                </a:cubicBezTo>
                <a:cubicBezTo>
                  <a:pt x="859325" y="4708015"/>
                  <a:pt x="859480" y="4706156"/>
                  <a:pt x="859946" y="4704401"/>
                </a:cubicBezTo>
                <a:lnTo>
                  <a:pt x="861339" y="4702336"/>
                </a:lnTo>
                <a:lnTo>
                  <a:pt x="860875" y="4701200"/>
                </a:lnTo>
                <a:cubicBezTo>
                  <a:pt x="863585" y="4697741"/>
                  <a:pt x="866102" y="4697173"/>
                  <a:pt x="867826" y="4698102"/>
                </a:cubicBezTo>
                <a:close/>
                <a:moveTo>
                  <a:pt x="1510819" y="4697999"/>
                </a:moveTo>
                <a:cubicBezTo>
                  <a:pt x="1512059" y="4698309"/>
                  <a:pt x="1512059" y="4698309"/>
                  <a:pt x="1513143" y="4699858"/>
                </a:cubicBezTo>
                <a:lnTo>
                  <a:pt x="1509452" y="4698911"/>
                </a:lnTo>
                <a:close/>
                <a:moveTo>
                  <a:pt x="5978794" y="4697707"/>
                </a:moveTo>
                <a:cubicBezTo>
                  <a:pt x="5981892" y="4701941"/>
                  <a:pt x="5986693" y="4703903"/>
                  <a:pt x="5986848" y="4707000"/>
                </a:cubicBezTo>
                <a:cubicBezTo>
                  <a:pt x="5986848" y="4708033"/>
                  <a:pt x="5986384" y="4709272"/>
                  <a:pt x="5984989" y="4710717"/>
                </a:cubicBezTo>
                <a:cubicBezTo>
                  <a:pt x="5983286" y="4709995"/>
                  <a:pt x="5979258" y="4707207"/>
                  <a:pt x="5977245" y="4704109"/>
                </a:cubicBezTo>
                <a:cubicBezTo>
                  <a:pt x="5976625" y="4703179"/>
                  <a:pt x="5976315" y="4702147"/>
                  <a:pt x="5976315" y="4701114"/>
                </a:cubicBezTo>
                <a:cubicBezTo>
                  <a:pt x="5976315" y="4699772"/>
                  <a:pt x="5977090" y="4698636"/>
                  <a:pt x="5978794" y="4697707"/>
                </a:cubicBezTo>
                <a:close/>
                <a:moveTo>
                  <a:pt x="6397769" y="4697591"/>
                </a:moveTo>
                <a:cubicBezTo>
                  <a:pt x="6399957" y="4698198"/>
                  <a:pt x="6402203" y="4700030"/>
                  <a:pt x="6404449" y="4701837"/>
                </a:cubicBezTo>
                <a:cubicBezTo>
                  <a:pt x="6402435" y="4704935"/>
                  <a:pt x="6403674" y="4708342"/>
                  <a:pt x="6398408" y="4711234"/>
                </a:cubicBezTo>
                <a:cubicBezTo>
                  <a:pt x="6395465" y="4707723"/>
                  <a:pt x="6394226" y="4704212"/>
                  <a:pt x="6391437" y="4700702"/>
                </a:cubicBezTo>
                <a:cubicBezTo>
                  <a:pt x="6393451" y="4697604"/>
                  <a:pt x="6395581" y="4696984"/>
                  <a:pt x="6397769" y="4697591"/>
                </a:cubicBezTo>
                <a:close/>
                <a:moveTo>
                  <a:pt x="1595858" y="4697586"/>
                </a:moveTo>
                <a:cubicBezTo>
                  <a:pt x="1594774" y="4699961"/>
                  <a:pt x="1596167" y="4701097"/>
                  <a:pt x="1595238" y="4703472"/>
                </a:cubicBezTo>
                <a:cubicBezTo>
                  <a:pt x="1593069" y="4702645"/>
                  <a:pt x="1591211" y="4702645"/>
                  <a:pt x="1590127" y="4702233"/>
                </a:cubicBezTo>
                <a:cubicBezTo>
                  <a:pt x="1590437" y="4698309"/>
                  <a:pt x="1592605" y="4696347"/>
                  <a:pt x="1595858" y="4697586"/>
                </a:cubicBezTo>
                <a:close/>
                <a:moveTo>
                  <a:pt x="6804507" y="4697126"/>
                </a:moveTo>
                <a:cubicBezTo>
                  <a:pt x="6808766" y="4696313"/>
                  <a:pt x="6812290" y="4695900"/>
                  <a:pt x="6814614" y="4697604"/>
                </a:cubicBezTo>
                <a:cubicBezTo>
                  <a:pt x="6816163" y="4698740"/>
                  <a:pt x="6817247" y="4700805"/>
                  <a:pt x="6817712" y="4704315"/>
                </a:cubicBezTo>
                <a:cubicBezTo>
                  <a:pt x="6814614" y="4706071"/>
                  <a:pt x="6806714" y="4708549"/>
                  <a:pt x="6800054" y="4708652"/>
                </a:cubicBezTo>
                <a:cubicBezTo>
                  <a:pt x="6793238" y="4708859"/>
                  <a:pt x="6787817" y="4706690"/>
                  <a:pt x="6789985" y="4699049"/>
                </a:cubicBezTo>
                <a:cubicBezTo>
                  <a:pt x="6795252" y="4699152"/>
                  <a:pt x="6800247" y="4697939"/>
                  <a:pt x="6804507" y="4697126"/>
                </a:cubicBezTo>
                <a:close/>
                <a:moveTo>
                  <a:pt x="1789168" y="4696967"/>
                </a:moveTo>
                <a:cubicBezTo>
                  <a:pt x="1789943" y="4695314"/>
                  <a:pt x="1799546" y="4702749"/>
                  <a:pt x="1802179" y="4704607"/>
                </a:cubicBezTo>
                <a:cubicBezTo>
                  <a:pt x="1802179" y="4705434"/>
                  <a:pt x="1802179" y="4705434"/>
                  <a:pt x="1802179" y="4705434"/>
                </a:cubicBezTo>
                <a:cubicBezTo>
                  <a:pt x="1801870" y="4706259"/>
                  <a:pt x="1801250" y="4706466"/>
                  <a:pt x="1800321" y="4706259"/>
                </a:cubicBezTo>
                <a:cubicBezTo>
                  <a:pt x="1799546" y="4705950"/>
                  <a:pt x="1798462" y="4705330"/>
                  <a:pt x="1797068" y="4704401"/>
                </a:cubicBezTo>
                <a:cubicBezTo>
                  <a:pt x="1794435" y="4702439"/>
                  <a:pt x="1791802" y="4698825"/>
                  <a:pt x="1790873" y="4697999"/>
                </a:cubicBezTo>
                <a:cubicBezTo>
                  <a:pt x="1789943" y="4697070"/>
                  <a:pt x="1789168" y="4696967"/>
                  <a:pt x="1789168" y="4696967"/>
                </a:cubicBezTo>
                <a:close/>
                <a:moveTo>
                  <a:pt x="6125422" y="4696494"/>
                </a:moveTo>
                <a:cubicBezTo>
                  <a:pt x="6127029" y="4694816"/>
                  <a:pt x="6129740" y="4694506"/>
                  <a:pt x="6131522" y="4698120"/>
                </a:cubicBezTo>
                <a:cubicBezTo>
                  <a:pt x="6129198" y="4700598"/>
                  <a:pt x="6127494" y="4702354"/>
                  <a:pt x="6125945" y="4703076"/>
                </a:cubicBezTo>
                <a:cubicBezTo>
                  <a:pt x="6123312" y="4701218"/>
                  <a:pt x="6123815" y="4698172"/>
                  <a:pt x="6125422" y="4696494"/>
                </a:cubicBezTo>
                <a:close/>
                <a:moveTo>
                  <a:pt x="1576960" y="4696450"/>
                </a:moveTo>
                <a:cubicBezTo>
                  <a:pt x="1576960" y="4696450"/>
                  <a:pt x="1576960" y="4696450"/>
                  <a:pt x="1582537" y="4699651"/>
                </a:cubicBezTo>
                <a:cubicBezTo>
                  <a:pt x="1582227" y="4700064"/>
                  <a:pt x="1581762" y="4700168"/>
                  <a:pt x="1581297" y="4699961"/>
                </a:cubicBezTo>
                <a:cubicBezTo>
                  <a:pt x="1580833" y="4699754"/>
                  <a:pt x="1580368" y="4699341"/>
                  <a:pt x="1579903" y="4698928"/>
                </a:cubicBezTo>
                <a:cubicBezTo>
                  <a:pt x="1578819" y="4698102"/>
                  <a:pt x="1577890" y="4697276"/>
                  <a:pt x="1576960" y="4696450"/>
                </a:cubicBezTo>
                <a:close/>
                <a:moveTo>
                  <a:pt x="1502939" y="4696373"/>
                </a:moveTo>
                <a:cubicBezTo>
                  <a:pt x="1504701" y="4697121"/>
                  <a:pt x="1506328" y="4698412"/>
                  <a:pt x="1507567" y="4699238"/>
                </a:cubicBezTo>
                <a:lnTo>
                  <a:pt x="1506947" y="4700683"/>
                </a:lnTo>
                <a:lnTo>
                  <a:pt x="1508806" y="4700580"/>
                </a:lnTo>
                <a:cubicBezTo>
                  <a:pt x="1509581" y="4700683"/>
                  <a:pt x="1510510" y="4700890"/>
                  <a:pt x="1511439" y="4701097"/>
                </a:cubicBezTo>
                <a:cubicBezTo>
                  <a:pt x="1511284" y="4703059"/>
                  <a:pt x="1512989" y="4705020"/>
                  <a:pt x="1512059" y="4707292"/>
                </a:cubicBezTo>
                <a:cubicBezTo>
                  <a:pt x="1512059" y="4707292"/>
                  <a:pt x="1511594" y="4708531"/>
                  <a:pt x="1510045" y="4709357"/>
                </a:cubicBezTo>
                <a:cubicBezTo>
                  <a:pt x="1508341" y="4712042"/>
                  <a:pt x="1505089" y="4710803"/>
                  <a:pt x="1505089" y="4710803"/>
                </a:cubicBezTo>
                <a:cubicBezTo>
                  <a:pt x="1505089" y="4710803"/>
                  <a:pt x="1505089" y="4710803"/>
                  <a:pt x="1505398" y="4711526"/>
                </a:cubicBezTo>
                <a:cubicBezTo>
                  <a:pt x="1504779" y="4709977"/>
                  <a:pt x="1503385" y="4708841"/>
                  <a:pt x="1502765" y="4707292"/>
                </a:cubicBezTo>
                <a:lnTo>
                  <a:pt x="1503075" y="4706673"/>
                </a:lnTo>
                <a:lnTo>
                  <a:pt x="1502455" y="4707292"/>
                </a:lnTo>
                <a:cubicBezTo>
                  <a:pt x="1500286" y="4706466"/>
                  <a:pt x="1498738" y="4705227"/>
                  <a:pt x="1497808" y="4703472"/>
                </a:cubicBezTo>
                <a:lnTo>
                  <a:pt x="1497653" y="4700271"/>
                </a:lnTo>
                <a:lnTo>
                  <a:pt x="1496105" y="4699238"/>
                </a:lnTo>
                <a:lnTo>
                  <a:pt x="1497499" y="4697276"/>
                </a:lnTo>
                <a:lnTo>
                  <a:pt x="1497499" y="4696760"/>
                </a:lnTo>
                <a:cubicBezTo>
                  <a:pt x="1499280" y="4695418"/>
                  <a:pt x="1501177" y="4695624"/>
                  <a:pt x="1502939" y="4696373"/>
                </a:cubicBezTo>
                <a:close/>
                <a:moveTo>
                  <a:pt x="6442243" y="4696365"/>
                </a:moveTo>
                <a:cubicBezTo>
                  <a:pt x="6443328" y="4697087"/>
                  <a:pt x="6444257" y="4698223"/>
                  <a:pt x="6444722" y="4699669"/>
                </a:cubicBezTo>
                <a:cubicBezTo>
                  <a:pt x="6445187" y="4701631"/>
                  <a:pt x="6444722" y="4704212"/>
                  <a:pt x="6442553" y="4707103"/>
                </a:cubicBezTo>
                <a:cubicBezTo>
                  <a:pt x="6438371" y="4707516"/>
                  <a:pt x="6436667" y="4705555"/>
                  <a:pt x="6433879" y="4704832"/>
                </a:cubicBezTo>
                <a:cubicBezTo>
                  <a:pt x="6433105" y="4696055"/>
                  <a:pt x="6438681" y="4694197"/>
                  <a:pt x="6442243" y="4696365"/>
                </a:cubicBezTo>
                <a:close/>
                <a:moveTo>
                  <a:pt x="6148250" y="4696365"/>
                </a:moveTo>
                <a:cubicBezTo>
                  <a:pt x="6151968" y="4698740"/>
                  <a:pt x="6153207" y="4696055"/>
                  <a:pt x="6158938" y="4700082"/>
                </a:cubicBezTo>
                <a:cubicBezTo>
                  <a:pt x="6164359" y="4703696"/>
                  <a:pt x="6165289" y="4708136"/>
                  <a:pt x="6164669" y="4711543"/>
                </a:cubicBezTo>
                <a:lnTo>
                  <a:pt x="6163585" y="4714228"/>
                </a:lnTo>
                <a:lnTo>
                  <a:pt x="6165599" y="4715983"/>
                </a:lnTo>
                <a:cubicBezTo>
                  <a:pt x="6159248" y="4720837"/>
                  <a:pt x="6168542" y="4724657"/>
                  <a:pt x="6163740" y="4728787"/>
                </a:cubicBezTo>
                <a:cubicBezTo>
                  <a:pt x="6161261" y="4729304"/>
                  <a:pt x="6158783" y="4730852"/>
                  <a:pt x="6155995" y="4730336"/>
                </a:cubicBezTo>
                <a:cubicBezTo>
                  <a:pt x="6155066" y="4730233"/>
                  <a:pt x="6153981" y="4729923"/>
                  <a:pt x="6152897" y="4729200"/>
                </a:cubicBezTo>
                <a:cubicBezTo>
                  <a:pt x="6154911" y="4726309"/>
                  <a:pt x="6155995" y="4723521"/>
                  <a:pt x="6156925" y="4720733"/>
                </a:cubicBezTo>
                <a:lnTo>
                  <a:pt x="6157699" y="4718462"/>
                </a:lnTo>
                <a:lnTo>
                  <a:pt x="6155066" y="4719081"/>
                </a:lnTo>
                <a:cubicBezTo>
                  <a:pt x="6153362" y="4719184"/>
                  <a:pt x="6151658" y="4718668"/>
                  <a:pt x="6149490" y="4717223"/>
                </a:cubicBezTo>
                <a:cubicBezTo>
                  <a:pt x="6144843" y="4714022"/>
                  <a:pt x="6140815" y="4709065"/>
                  <a:pt x="6145617" y="4701734"/>
                </a:cubicBezTo>
                <a:cubicBezTo>
                  <a:pt x="6146236" y="4699979"/>
                  <a:pt x="6146392" y="4700908"/>
                  <a:pt x="6147011" y="4699979"/>
                </a:cubicBezTo>
                <a:cubicBezTo>
                  <a:pt x="6147786" y="4699049"/>
                  <a:pt x="6148405" y="4697191"/>
                  <a:pt x="6148250" y="4696365"/>
                </a:cubicBezTo>
                <a:close/>
                <a:moveTo>
                  <a:pt x="892319" y="4696347"/>
                </a:moveTo>
                <a:cubicBezTo>
                  <a:pt x="892009" y="4699961"/>
                  <a:pt x="893404" y="4704298"/>
                  <a:pt x="892164" y="4706982"/>
                </a:cubicBezTo>
                <a:cubicBezTo>
                  <a:pt x="891699" y="4707499"/>
                  <a:pt x="891390" y="4707912"/>
                  <a:pt x="890925" y="4708118"/>
                </a:cubicBezTo>
                <a:cubicBezTo>
                  <a:pt x="890460" y="4708221"/>
                  <a:pt x="889685" y="4708015"/>
                  <a:pt x="888756" y="4707189"/>
                </a:cubicBezTo>
                <a:cubicBezTo>
                  <a:pt x="887052" y="4706363"/>
                  <a:pt x="886897" y="4705537"/>
                  <a:pt x="888136" y="4702852"/>
                </a:cubicBezTo>
                <a:cubicBezTo>
                  <a:pt x="889530" y="4700993"/>
                  <a:pt x="890150" y="4699135"/>
                  <a:pt x="891080" y="4699135"/>
                </a:cubicBezTo>
                <a:cubicBezTo>
                  <a:pt x="890925" y="4698206"/>
                  <a:pt x="891544" y="4697276"/>
                  <a:pt x="891544" y="4696450"/>
                </a:cubicBezTo>
                <a:cubicBezTo>
                  <a:pt x="891544" y="4696450"/>
                  <a:pt x="891544" y="4696450"/>
                  <a:pt x="892319" y="4696347"/>
                </a:cubicBezTo>
                <a:close/>
                <a:moveTo>
                  <a:pt x="6268605" y="4695848"/>
                </a:moveTo>
                <a:cubicBezTo>
                  <a:pt x="6272477" y="4698223"/>
                  <a:pt x="6270773" y="4702354"/>
                  <a:pt x="6268140" y="4706690"/>
                </a:cubicBezTo>
                <a:cubicBezTo>
                  <a:pt x="6266281" y="4706277"/>
                  <a:pt x="6264732" y="4706794"/>
                  <a:pt x="6262873" y="4706380"/>
                </a:cubicBezTo>
                <a:cubicBezTo>
                  <a:pt x="6261170" y="4704212"/>
                  <a:pt x="6262099" y="4697913"/>
                  <a:pt x="6265042" y="4695952"/>
                </a:cubicBezTo>
                <a:cubicBezTo>
                  <a:pt x="6265972" y="4695332"/>
                  <a:pt x="6267211" y="4695126"/>
                  <a:pt x="6268605" y="4695848"/>
                </a:cubicBezTo>
                <a:close/>
                <a:moveTo>
                  <a:pt x="1722718" y="4695727"/>
                </a:moveTo>
                <a:lnTo>
                  <a:pt x="1723028" y="4696244"/>
                </a:lnTo>
                <a:lnTo>
                  <a:pt x="1724732" y="4696760"/>
                </a:lnTo>
                <a:cubicBezTo>
                  <a:pt x="1727674" y="4696553"/>
                  <a:pt x="1728913" y="4700168"/>
                  <a:pt x="1728913" y="4700168"/>
                </a:cubicBezTo>
                <a:cubicBezTo>
                  <a:pt x="1728913" y="4700168"/>
                  <a:pt x="1728913" y="4700168"/>
                  <a:pt x="1729223" y="4699341"/>
                </a:cubicBezTo>
                <a:cubicBezTo>
                  <a:pt x="1728604" y="4700890"/>
                  <a:pt x="1728604" y="4702852"/>
                  <a:pt x="1727985" y="4704401"/>
                </a:cubicBezTo>
                <a:lnTo>
                  <a:pt x="1726125" y="4704917"/>
                </a:lnTo>
                <a:lnTo>
                  <a:pt x="1726435" y="4707602"/>
                </a:lnTo>
                <a:cubicBezTo>
                  <a:pt x="1726125" y="4711939"/>
                  <a:pt x="1724732" y="4716275"/>
                  <a:pt x="1723337" y="4718960"/>
                </a:cubicBezTo>
                <a:cubicBezTo>
                  <a:pt x="1721788" y="4717514"/>
                  <a:pt x="1720859" y="4715552"/>
                  <a:pt x="1720085" y="4713487"/>
                </a:cubicBezTo>
                <a:cubicBezTo>
                  <a:pt x="1719155" y="4710390"/>
                  <a:pt x="1719000" y="4706879"/>
                  <a:pt x="1719465" y="4703678"/>
                </a:cubicBezTo>
                <a:lnTo>
                  <a:pt x="1719465" y="4703368"/>
                </a:lnTo>
                <a:lnTo>
                  <a:pt x="1718071" y="4700683"/>
                </a:lnTo>
                <a:cubicBezTo>
                  <a:pt x="1719620" y="4699548"/>
                  <a:pt x="1719775" y="4696863"/>
                  <a:pt x="1722098" y="4696244"/>
                </a:cubicBezTo>
                <a:lnTo>
                  <a:pt x="1722563" y="4696244"/>
                </a:lnTo>
                <a:close/>
                <a:moveTo>
                  <a:pt x="930888" y="4695211"/>
                </a:moveTo>
                <a:cubicBezTo>
                  <a:pt x="933676" y="4696140"/>
                  <a:pt x="935844" y="4694592"/>
                  <a:pt x="939872" y="4696967"/>
                </a:cubicBezTo>
                <a:lnTo>
                  <a:pt x="937238" y="4708325"/>
                </a:lnTo>
                <a:lnTo>
                  <a:pt x="937703" y="4709874"/>
                </a:lnTo>
                <a:cubicBezTo>
                  <a:pt x="937703" y="4710906"/>
                  <a:pt x="937549" y="4711732"/>
                  <a:pt x="937238" y="4712042"/>
                </a:cubicBezTo>
                <a:lnTo>
                  <a:pt x="936309" y="4712455"/>
                </a:lnTo>
                <a:lnTo>
                  <a:pt x="934760" y="4719476"/>
                </a:lnTo>
                <a:cubicBezTo>
                  <a:pt x="933521" y="4726808"/>
                  <a:pt x="932127" y="4733726"/>
                  <a:pt x="929959" y="4740128"/>
                </a:cubicBezTo>
                <a:cubicBezTo>
                  <a:pt x="922524" y="4728253"/>
                  <a:pt x="928565" y="4710700"/>
                  <a:pt x="930888" y="4695211"/>
                </a:cubicBezTo>
                <a:close/>
                <a:moveTo>
                  <a:pt x="5840781" y="4695022"/>
                </a:moveTo>
                <a:cubicBezTo>
                  <a:pt x="5841555" y="4695022"/>
                  <a:pt x="5842330" y="4695848"/>
                  <a:pt x="5842330" y="4695848"/>
                </a:cubicBezTo>
                <a:cubicBezTo>
                  <a:pt x="5842950" y="4696778"/>
                  <a:pt x="5842950" y="4696778"/>
                  <a:pt x="5843879" y="4695952"/>
                </a:cubicBezTo>
                <a:cubicBezTo>
                  <a:pt x="5843879" y="4695952"/>
                  <a:pt x="5843879" y="4696778"/>
                  <a:pt x="5843879" y="4696778"/>
                </a:cubicBezTo>
                <a:cubicBezTo>
                  <a:pt x="5842950" y="4696778"/>
                  <a:pt x="5843879" y="4696778"/>
                  <a:pt x="5844653" y="4697707"/>
                </a:cubicBezTo>
                <a:cubicBezTo>
                  <a:pt x="5843569" y="4699463"/>
                  <a:pt x="5843569" y="4700288"/>
                  <a:pt x="5842640" y="4701218"/>
                </a:cubicBezTo>
                <a:cubicBezTo>
                  <a:pt x="5842175" y="4701631"/>
                  <a:pt x="5841401" y="4702044"/>
                  <a:pt x="5840781" y="4702250"/>
                </a:cubicBezTo>
                <a:cubicBezTo>
                  <a:pt x="5840162" y="4702457"/>
                  <a:pt x="5839542" y="4702457"/>
                  <a:pt x="5839232" y="4702044"/>
                </a:cubicBezTo>
                <a:cubicBezTo>
                  <a:pt x="5839232" y="4701114"/>
                  <a:pt x="5838458" y="4701114"/>
                  <a:pt x="5838458" y="4700185"/>
                </a:cubicBezTo>
                <a:cubicBezTo>
                  <a:pt x="5837838" y="4698430"/>
                  <a:pt x="5837993" y="4697604"/>
                  <a:pt x="5838922" y="4696778"/>
                </a:cubicBezTo>
                <a:cubicBezTo>
                  <a:pt x="5838922" y="4695848"/>
                  <a:pt x="5839851" y="4695848"/>
                  <a:pt x="5840781" y="4695022"/>
                </a:cubicBezTo>
                <a:close/>
                <a:moveTo>
                  <a:pt x="6283010" y="4694712"/>
                </a:moveTo>
                <a:cubicBezTo>
                  <a:pt x="6285333" y="4693887"/>
                  <a:pt x="6287812" y="4693164"/>
                  <a:pt x="6291374" y="4695848"/>
                </a:cubicBezTo>
                <a:cubicBezTo>
                  <a:pt x="6292304" y="4699359"/>
                  <a:pt x="6291684" y="4701941"/>
                  <a:pt x="6288431" y="4705141"/>
                </a:cubicBezTo>
                <a:cubicBezTo>
                  <a:pt x="6284249" y="4705038"/>
                  <a:pt x="6278983" y="4698740"/>
                  <a:pt x="6283010" y="4694712"/>
                </a:cubicBezTo>
                <a:close/>
                <a:moveTo>
                  <a:pt x="6462535" y="4694609"/>
                </a:moveTo>
                <a:cubicBezTo>
                  <a:pt x="6462380" y="4695848"/>
                  <a:pt x="6465943" y="4696674"/>
                  <a:pt x="6467027" y="4696984"/>
                </a:cubicBezTo>
                <a:cubicBezTo>
                  <a:pt x="6466717" y="4699359"/>
                  <a:pt x="6470745" y="4701114"/>
                  <a:pt x="6470125" y="4704729"/>
                </a:cubicBezTo>
                <a:cubicBezTo>
                  <a:pt x="6468731" y="4705658"/>
                  <a:pt x="6468111" y="4706071"/>
                  <a:pt x="6466252" y="4706174"/>
                </a:cubicBezTo>
                <a:cubicBezTo>
                  <a:pt x="6457423" y="4703386"/>
                  <a:pt x="6457113" y="4698223"/>
                  <a:pt x="6455874" y="4697913"/>
                </a:cubicBezTo>
                <a:cubicBezTo>
                  <a:pt x="6456494" y="4694300"/>
                  <a:pt x="6458817" y="4694919"/>
                  <a:pt x="6462535" y="4694609"/>
                </a:cubicBezTo>
                <a:close/>
                <a:moveTo>
                  <a:pt x="1363823" y="4693869"/>
                </a:moveTo>
                <a:cubicBezTo>
                  <a:pt x="1365062" y="4694178"/>
                  <a:pt x="1366147" y="4695417"/>
                  <a:pt x="1366921" y="4696760"/>
                </a:cubicBezTo>
                <a:lnTo>
                  <a:pt x="1367695" y="4698928"/>
                </a:lnTo>
                <a:lnTo>
                  <a:pt x="1368470" y="4697999"/>
                </a:lnTo>
                <a:cubicBezTo>
                  <a:pt x="1369399" y="4697483"/>
                  <a:pt x="1370793" y="4697896"/>
                  <a:pt x="1372807" y="4698309"/>
                </a:cubicBezTo>
                <a:cubicBezTo>
                  <a:pt x="1372342" y="4702026"/>
                  <a:pt x="1370638" y="4702542"/>
                  <a:pt x="1367076" y="4702439"/>
                </a:cubicBezTo>
                <a:lnTo>
                  <a:pt x="1367076" y="4702026"/>
                </a:lnTo>
                <a:lnTo>
                  <a:pt x="1366456" y="4702852"/>
                </a:lnTo>
                <a:cubicBezTo>
                  <a:pt x="1365527" y="4703265"/>
                  <a:pt x="1364288" y="4703265"/>
                  <a:pt x="1363049" y="4702955"/>
                </a:cubicBezTo>
                <a:cubicBezTo>
                  <a:pt x="1362274" y="4702955"/>
                  <a:pt x="1361345" y="4702439"/>
                  <a:pt x="1360725" y="4701716"/>
                </a:cubicBezTo>
                <a:cubicBezTo>
                  <a:pt x="1360106" y="4700890"/>
                  <a:pt x="1359641" y="4699858"/>
                  <a:pt x="1359486" y="4698825"/>
                </a:cubicBezTo>
                <a:cubicBezTo>
                  <a:pt x="1359641" y="4697689"/>
                  <a:pt x="1359641" y="4697689"/>
                  <a:pt x="1359796" y="4696450"/>
                </a:cubicBezTo>
                <a:cubicBezTo>
                  <a:pt x="1361190" y="4695624"/>
                  <a:pt x="1361965" y="4693972"/>
                  <a:pt x="1363823" y="4693869"/>
                </a:cubicBezTo>
                <a:close/>
                <a:moveTo>
                  <a:pt x="1709087" y="4693766"/>
                </a:moveTo>
                <a:cubicBezTo>
                  <a:pt x="1709087" y="4693766"/>
                  <a:pt x="1710636" y="4695934"/>
                  <a:pt x="1710636" y="4695934"/>
                </a:cubicBezTo>
                <a:cubicBezTo>
                  <a:pt x="1710016" y="4697070"/>
                  <a:pt x="1710016" y="4697070"/>
                  <a:pt x="1709861" y="4696244"/>
                </a:cubicBezTo>
                <a:cubicBezTo>
                  <a:pt x="1708467" y="4697689"/>
                  <a:pt x="1707538" y="4698102"/>
                  <a:pt x="1706764" y="4698412"/>
                </a:cubicBezTo>
                <a:cubicBezTo>
                  <a:pt x="1705679" y="4697896"/>
                  <a:pt x="1705215" y="4696347"/>
                  <a:pt x="1705524" y="4694385"/>
                </a:cubicBezTo>
                <a:cubicBezTo>
                  <a:pt x="1706609" y="4694798"/>
                  <a:pt x="1708003" y="4693249"/>
                  <a:pt x="1709087" y="4693766"/>
                </a:cubicBezTo>
                <a:close/>
                <a:moveTo>
                  <a:pt x="1143754" y="4693636"/>
                </a:moveTo>
                <a:cubicBezTo>
                  <a:pt x="1145613" y="4691907"/>
                  <a:pt x="1148053" y="4691236"/>
                  <a:pt x="1149756" y="4694075"/>
                </a:cubicBezTo>
                <a:cubicBezTo>
                  <a:pt x="1150221" y="4694695"/>
                  <a:pt x="1150066" y="4695624"/>
                  <a:pt x="1149601" y="4696657"/>
                </a:cubicBezTo>
                <a:cubicBezTo>
                  <a:pt x="1148517" y="4698722"/>
                  <a:pt x="1145574" y="4700890"/>
                  <a:pt x="1143251" y="4700580"/>
                </a:cubicBezTo>
                <a:cubicBezTo>
                  <a:pt x="1142476" y="4700477"/>
                  <a:pt x="1141702" y="4700271"/>
                  <a:pt x="1141237" y="4699548"/>
                </a:cubicBezTo>
                <a:cubicBezTo>
                  <a:pt x="1140618" y="4698154"/>
                  <a:pt x="1141896" y="4695366"/>
                  <a:pt x="1143754" y="4693636"/>
                </a:cubicBezTo>
                <a:close/>
                <a:moveTo>
                  <a:pt x="1780649" y="4693352"/>
                </a:moveTo>
                <a:cubicBezTo>
                  <a:pt x="1781423" y="4691701"/>
                  <a:pt x="1782353" y="4694282"/>
                  <a:pt x="1783128" y="4693456"/>
                </a:cubicBezTo>
                <a:lnTo>
                  <a:pt x="1782972" y="4699858"/>
                </a:lnTo>
                <a:lnTo>
                  <a:pt x="1788084" y="4700168"/>
                </a:lnTo>
                <a:cubicBezTo>
                  <a:pt x="1790717" y="4705124"/>
                  <a:pt x="1787155" y="4711629"/>
                  <a:pt x="1782817" y="4715656"/>
                </a:cubicBezTo>
                <a:lnTo>
                  <a:pt x="1782508" y="4716069"/>
                </a:lnTo>
                <a:lnTo>
                  <a:pt x="1782817" y="4716172"/>
                </a:lnTo>
                <a:cubicBezTo>
                  <a:pt x="1783902" y="4715552"/>
                  <a:pt x="1784676" y="4712971"/>
                  <a:pt x="1786690" y="4714313"/>
                </a:cubicBezTo>
                <a:cubicBezTo>
                  <a:pt x="1790562" y="4717824"/>
                  <a:pt x="1789478" y="4723916"/>
                  <a:pt x="1788703" y="4727117"/>
                </a:cubicBezTo>
                <a:lnTo>
                  <a:pt x="1788239" y="4728976"/>
                </a:lnTo>
                <a:lnTo>
                  <a:pt x="1789013" y="4728976"/>
                </a:lnTo>
                <a:lnTo>
                  <a:pt x="1788239" y="4729802"/>
                </a:lnTo>
                <a:lnTo>
                  <a:pt x="1788239" y="4730008"/>
                </a:lnTo>
                <a:cubicBezTo>
                  <a:pt x="1787310" y="4730008"/>
                  <a:pt x="1787464" y="4730938"/>
                  <a:pt x="1788239" y="4730938"/>
                </a:cubicBezTo>
                <a:cubicBezTo>
                  <a:pt x="1787464" y="4732177"/>
                  <a:pt x="1786845" y="4733209"/>
                  <a:pt x="1786225" y="4733726"/>
                </a:cubicBezTo>
                <a:cubicBezTo>
                  <a:pt x="1785915" y="4734036"/>
                  <a:pt x="1785606" y="4734139"/>
                  <a:pt x="1785296" y="4734139"/>
                </a:cubicBezTo>
                <a:cubicBezTo>
                  <a:pt x="1784986" y="4734036"/>
                  <a:pt x="1784521" y="4733726"/>
                  <a:pt x="1784056" y="4733313"/>
                </a:cubicBezTo>
                <a:cubicBezTo>
                  <a:pt x="1782353" y="4732383"/>
                  <a:pt x="1783128" y="4730731"/>
                  <a:pt x="1781423" y="4728873"/>
                </a:cubicBezTo>
                <a:cubicBezTo>
                  <a:pt x="1777861" y="4726085"/>
                  <a:pt x="1773059" y="4732796"/>
                  <a:pt x="1766088" y="4727324"/>
                </a:cubicBezTo>
                <a:cubicBezTo>
                  <a:pt x="1767792" y="4725672"/>
                  <a:pt x="1764075" y="4721128"/>
                  <a:pt x="1766553" y="4718650"/>
                </a:cubicBezTo>
                <a:lnTo>
                  <a:pt x="1768257" y="4716895"/>
                </a:lnTo>
                <a:lnTo>
                  <a:pt x="1766244" y="4716585"/>
                </a:lnTo>
                <a:cubicBezTo>
                  <a:pt x="1767328" y="4709770"/>
                  <a:pt x="1770890" y="4702336"/>
                  <a:pt x="1771820" y="4700683"/>
                </a:cubicBezTo>
                <a:cubicBezTo>
                  <a:pt x="1772285" y="4699858"/>
                  <a:pt x="1772749" y="4699445"/>
                  <a:pt x="1773214" y="4699445"/>
                </a:cubicBezTo>
                <a:cubicBezTo>
                  <a:pt x="1773679" y="4699445"/>
                  <a:pt x="1774453" y="4699651"/>
                  <a:pt x="1775228" y="4700271"/>
                </a:cubicBezTo>
                <a:cubicBezTo>
                  <a:pt x="1775847" y="4701200"/>
                  <a:pt x="1776157" y="4702129"/>
                  <a:pt x="1776157" y="4702955"/>
                </a:cubicBezTo>
                <a:lnTo>
                  <a:pt x="1776777" y="4702645"/>
                </a:lnTo>
                <a:lnTo>
                  <a:pt x="1776777" y="4702439"/>
                </a:lnTo>
                <a:cubicBezTo>
                  <a:pt x="1777706" y="4699238"/>
                  <a:pt x="1779565" y="4696347"/>
                  <a:pt x="1779875" y="4695108"/>
                </a:cubicBezTo>
                <a:cubicBezTo>
                  <a:pt x="1779875" y="4695108"/>
                  <a:pt x="1779875" y="4694178"/>
                  <a:pt x="1780649" y="4693352"/>
                </a:cubicBezTo>
                <a:close/>
                <a:moveTo>
                  <a:pt x="1387522" y="4693043"/>
                </a:moveTo>
                <a:cubicBezTo>
                  <a:pt x="1389846" y="4693662"/>
                  <a:pt x="1392789" y="4695108"/>
                  <a:pt x="1393099" y="4697070"/>
                </a:cubicBezTo>
                <a:cubicBezTo>
                  <a:pt x="1392634" y="4699445"/>
                  <a:pt x="1390775" y="4699651"/>
                  <a:pt x="1389691" y="4699341"/>
                </a:cubicBezTo>
                <a:cubicBezTo>
                  <a:pt x="1388296" y="4699651"/>
                  <a:pt x="1387213" y="4699032"/>
                  <a:pt x="1386283" y="4697999"/>
                </a:cubicBezTo>
                <a:cubicBezTo>
                  <a:pt x="1385354" y="4696967"/>
                  <a:pt x="1384579" y="4695417"/>
                  <a:pt x="1384269" y="4694075"/>
                </a:cubicBezTo>
                <a:cubicBezTo>
                  <a:pt x="1384734" y="4694901"/>
                  <a:pt x="1384734" y="4694901"/>
                  <a:pt x="1384734" y="4694901"/>
                </a:cubicBezTo>
                <a:cubicBezTo>
                  <a:pt x="1385973" y="4695211"/>
                  <a:pt x="1385354" y="4694385"/>
                  <a:pt x="1386128" y="4693972"/>
                </a:cubicBezTo>
                <a:cubicBezTo>
                  <a:pt x="1386128" y="4693972"/>
                  <a:pt x="1385508" y="4694488"/>
                  <a:pt x="1385664" y="4693249"/>
                </a:cubicBezTo>
                <a:cubicBezTo>
                  <a:pt x="1386128" y="4693972"/>
                  <a:pt x="1386902" y="4693559"/>
                  <a:pt x="1387522" y="4693043"/>
                </a:cubicBezTo>
                <a:close/>
                <a:moveTo>
                  <a:pt x="6217179" y="4692544"/>
                </a:moveTo>
                <a:cubicBezTo>
                  <a:pt x="6219038" y="4690892"/>
                  <a:pt x="6223065" y="4691821"/>
                  <a:pt x="6224614" y="4692647"/>
                </a:cubicBezTo>
                <a:cubicBezTo>
                  <a:pt x="6226163" y="4694403"/>
                  <a:pt x="6225079" y="4697087"/>
                  <a:pt x="6223220" y="4698740"/>
                </a:cubicBezTo>
                <a:cubicBezTo>
                  <a:pt x="6222755" y="4699566"/>
                  <a:pt x="6221826" y="4699979"/>
                  <a:pt x="6220897" y="4700082"/>
                </a:cubicBezTo>
                <a:cubicBezTo>
                  <a:pt x="6219967" y="4700185"/>
                  <a:pt x="6219038" y="4699979"/>
                  <a:pt x="6218263" y="4699463"/>
                </a:cubicBezTo>
                <a:cubicBezTo>
                  <a:pt x="6217489" y="4698636"/>
                  <a:pt x="6217489" y="4698636"/>
                  <a:pt x="6216715" y="4697810"/>
                </a:cubicBezTo>
                <a:cubicBezTo>
                  <a:pt x="6216869" y="4696055"/>
                  <a:pt x="6216250" y="4694300"/>
                  <a:pt x="6217179" y="4692544"/>
                </a:cubicBezTo>
                <a:close/>
                <a:moveTo>
                  <a:pt x="1865068" y="4692113"/>
                </a:moveTo>
                <a:cubicBezTo>
                  <a:pt x="1866152" y="4692423"/>
                  <a:pt x="1868940" y="4693766"/>
                  <a:pt x="1868476" y="4694901"/>
                </a:cubicBezTo>
                <a:cubicBezTo>
                  <a:pt x="1867856" y="4697276"/>
                  <a:pt x="1865997" y="4699445"/>
                  <a:pt x="1864758" y="4699238"/>
                </a:cubicBezTo>
                <a:cubicBezTo>
                  <a:pt x="1863209" y="4698722"/>
                  <a:pt x="1861505" y="4698309"/>
                  <a:pt x="1861195" y="4696657"/>
                </a:cubicBezTo>
                <a:cubicBezTo>
                  <a:pt x="1861195" y="4696037"/>
                  <a:pt x="1861195" y="4695417"/>
                  <a:pt x="1861350" y="4694488"/>
                </a:cubicBezTo>
                <a:cubicBezTo>
                  <a:pt x="1861350" y="4694488"/>
                  <a:pt x="1861505" y="4694488"/>
                  <a:pt x="1862124" y="4694075"/>
                </a:cubicBezTo>
                <a:cubicBezTo>
                  <a:pt x="1863674" y="4693146"/>
                  <a:pt x="1864293" y="4692630"/>
                  <a:pt x="1865068" y="4692113"/>
                </a:cubicBezTo>
                <a:close/>
                <a:moveTo>
                  <a:pt x="670817" y="4691907"/>
                </a:moveTo>
                <a:cubicBezTo>
                  <a:pt x="677788" y="4694178"/>
                  <a:pt x="681195" y="4693972"/>
                  <a:pt x="686617" y="4696244"/>
                </a:cubicBezTo>
                <a:cubicBezTo>
                  <a:pt x="686617" y="4697173"/>
                  <a:pt x="685842" y="4697173"/>
                  <a:pt x="685997" y="4698102"/>
                </a:cubicBezTo>
                <a:cubicBezTo>
                  <a:pt x="685687" y="4698515"/>
                  <a:pt x="684757" y="4698825"/>
                  <a:pt x="683828" y="4698825"/>
                </a:cubicBezTo>
                <a:cubicBezTo>
                  <a:pt x="680731" y="4699032"/>
                  <a:pt x="675774" y="4697586"/>
                  <a:pt x="675619" y="4696967"/>
                </a:cubicBezTo>
                <a:cubicBezTo>
                  <a:pt x="674844" y="4696967"/>
                  <a:pt x="674689" y="4696140"/>
                  <a:pt x="673915" y="4696140"/>
                </a:cubicBezTo>
                <a:cubicBezTo>
                  <a:pt x="673915" y="4696140"/>
                  <a:pt x="672986" y="4696244"/>
                  <a:pt x="672056" y="4695417"/>
                </a:cubicBezTo>
                <a:cubicBezTo>
                  <a:pt x="671127" y="4694592"/>
                  <a:pt x="670197" y="4693766"/>
                  <a:pt x="670817" y="4691907"/>
                </a:cubicBezTo>
                <a:close/>
                <a:moveTo>
                  <a:pt x="1783902" y="4690978"/>
                </a:moveTo>
                <a:cubicBezTo>
                  <a:pt x="1784676" y="4691804"/>
                  <a:pt x="1787310" y="4694592"/>
                  <a:pt x="1787310" y="4694592"/>
                </a:cubicBezTo>
                <a:cubicBezTo>
                  <a:pt x="1788239" y="4694592"/>
                  <a:pt x="1788239" y="4694592"/>
                  <a:pt x="1789013" y="4695417"/>
                </a:cubicBezTo>
                <a:cubicBezTo>
                  <a:pt x="1788239" y="4696244"/>
                  <a:pt x="1788239" y="4696244"/>
                  <a:pt x="1787464" y="4696244"/>
                </a:cubicBezTo>
                <a:cubicBezTo>
                  <a:pt x="1786535" y="4695314"/>
                  <a:pt x="1786535" y="4694488"/>
                  <a:pt x="1785606" y="4693559"/>
                </a:cubicBezTo>
                <a:cubicBezTo>
                  <a:pt x="1784056" y="4695211"/>
                  <a:pt x="1784986" y="4695211"/>
                  <a:pt x="1784056" y="4694385"/>
                </a:cubicBezTo>
                <a:cubicBezTo>
                  <a:pt x="1784056" y="4694385"/>
                  <a:pt x="1784056" y="4694385"/>
                  <a:pt x="1783128" y="4693456"/>
                </a:cubicBezTo>
                <a:cubicBezTo>
                  <a:pt x="1783128" y="4693456"/>
                  <a:pt x="1782353" y="4693456"/>
                  <a:pt x="1783902" y="4690978"/>
                </a:cubicBezTo>
                <a:close/>
                <a:moveTo>
                  <a:pt x="1046285" y="4690978"/>
                </a:moveTo>
                <a:lnTo>
                  <a:pt x="1048919" y="4691804"/>
                </a:lnTo>
                <a:lnTo>
                  <a:pt x="1049384" y="4691597"/>
                </a:lnTo>
                <a:cubicBezTo>
                  <a:pt x="1053101" y="4690255"/>
                  <a:pt x="1056509" y="4693249"/>
                  <a:pt x="1055734" y="4696760"/>
                </a:cubicBezTo>
                <a:cubicBezTo>
                  <a:pt x="1055425" y="4698309"/>
                  <a:pt x="1054185" y="4699858"/>
                  <a:pt x="1052017" y="4701303"/>
                </a:cubicBezTo>
                <a:lnTo>
                  <a:pt x="1051397" y="4700890"/>
                </a:lnTo>
                <a:lnTo>
                  <a:pt x="1050932" y="4701923"/>
                </a:lnTo>
                <a:cubicBezTo>
                  <a:pt x="1049538" y="4703678"/>
                  <a:pt x="1047835" y="4705020"/>
                  <a:pt x="1046130" y="4706363"/>
                </a:cubicBezTo>
                <a:cubicBezTo>
                  <a:pt x="1034823" y="4703988"/>
                  <a:pt x="1043652" y="4696244"/>
                  <a:pt x="1046285" y="4690978"/>
                </a:cubicBezTo>
                <a:close/>
                <a:moveTo>
                  <a:pt x="1530956" y="4690565"/>
                </a:moveTo>
                <a:cubicBezTo>
                  <a:pt x="1532815" y="4691494"/>
                  <a:pt x="1533744" y="4693249"/>
                  <a:pt x="1533589" y="4694901"/>
                </a:cubicBezTo>
                <a:lnTo>
                  <a:pt x="1532505" y="4695831"/>
                </a:lnTo>
                <a:lnTo>
                  <a:pt x="1533899" y="4696244"/>
                </a:lnTo>
                <a:lnTo>
                  <a:pt x="1537152" y="4698928"/>
                </a:lnTo>
                <a:lnTo>
                  <a:pt x="1537462" y="4693869"/>
                </a:lnTo>
                <a:cubicBezTo>
                  <a:pt x="1539785" y="4690461"/>
                  <a:pt x="1546911" y="4693249"/>
                  <a:pt x="1551248" y="4693456"/>
                </a:cubicBezTo>
                <a:cubicBezTo>
                  <a:pt x="1552022" y="4697173"/>
                  <a:pt x="1552022" y="4698412"/>
                  <a:pt x="1550473" y="4702129"/>
                </a:cubicBezTo>
                <a:cubicBezTo>
                  <a:pt x="1547685" y="4702852"/>
                  <a:pt x="1545361" y="4702749"/>
                  <a:pt x="1543193" y="4702129"/>
                </a:cubicBezTo>
                <a:lnTo>
                  <a:pt x="1538856" y="4700271"/>
                </a:lnTo>
                <a:lnTo>
                  <a:pt x="1539011" y="4700477"/>
                </a:lnTo>
                <a:cubicBezTo>
                  <a:pt x="1542108" y="4703781"/>
                  <a:pt x="1544277" y="4707808"/>
                  <a:pt x="1545207" y="4710700"/>
                </a:cubicBezTo>
                <a:cubicBezTo>
                  <a:pt x="1536532" y="4710390"/>
                  <a:pt x="1528168" y="4700683"/>
                  <a:pt x="1527858" y="4694385"/>
                </a:cubicBezTo>
                <a:lnTo>
                  <a:pt x="1528633" y="4694695"/>
                </a:lnTo>
                <a:lnTo>
                  <a:pt x="1528633" y="4693869"/>
                </a:lnTo>
                <a:cubicBezTo>
                  <a:pt x="1528633" y="4692423"/>
                  <a:pt x="1529252" y="4691287"/>
                  <a:pt x="1530956" y="4690565"/>
                </a:cubicBezTo>
                <a:close/>
                <a:moveTo>
                  <a:pt x="6299274" y="4690066"/>
                </a:moveTo>
                <a:cubicBezTo>
                  <a:pt x="6301133" y="4690169"/>
                  <a:pt x="6304231" y="4691099"/>
                  <a:pt x="6304540" y="4693370"/>
                </a:cubicBezTo>
                <a:cubicBezTo>
                  <a:pt x="6304540" y="4693370"/>
                  <a:pt x="6304540" y="4693370"/>
                  <a:pt x="6304851" y="4694506"/>
                </a:cubicBezTo>
                <a:cubicBezTo>
                  <a:pt x="6302837" y="4693267"/>
                  <a:pt x="6300204" y="4691615"/>
                  <a:pt x="6299274" y="4690066"/>
                </a:cubicBezTo>
                <a:close/>
                <a:moveTo>
                  <a:pt x="1691584" y="4689945"/>
                </a:moveTo>
                <a:lnTo>
                  <a:pt x="1688486" y="4694488"/>
                </a:lnTo>
                <a:lnTo>
                  <a:pt x="1690344" y="4695934"/>
                </a:lnTo>
                <a:cubicBezTo>
                  <a:pt x="1691274" y="4697999"/>
                  <a:pt x="1691739" y="4700580"/>
                  <a:pt x="1691429" y="4703368"/>
                </a:cubicBezTo>
                <a:lnTo>
                  <a:pt x="1691274" y="4704298"/>
                </a:lnTo>
                <a:lnTo>
                  <a:pt x="1701497" y="4703988"/>
                </a:lnTo>
                <a:lnTo>
                  <a:pt x="1704440" y="4703678"/>
                </a:lnTo>
                <a:lnTo>
                  <a:pt x="1704905" y="4702749"/>
                </a:lnTo>
                <a:cubicBezTo>
                  <a:pt x="1705834" y="4701923"/>
                  <a:pt x="1706764" y="4701303"/>
                  <a:pt x="1707228" y="4700064"/>
                </a:cubicBezTo>
                <a:cubicBezTo>
                  <a:pt x="1707848" y="4700683"/>
                  <a:pt x="1708932" y="4701407"/>
                  <a:pt x="1709552" y="4702542"/>
                </a:cubicBezTo>
                <a:lnTo>
                  <a:pt x="1709706" y="4703059"/>
                </a:lnTo>
                <a:lnTo>
                  <a:pt x="1710171" y="4703059"/>
                </a:lnTo>
                <a:lnTo>
                  <a:pt x="1709861" y="4703472"/>
                </a:lnTo>
                <a:lnTo>
                  <a:pt x="1710171" y="4704504"/>
                </a:lnTo>
                <a:cubicBezTo>
                  <a:pt x="1710326" y="4705330"/>
                  <a:pt x="1710326" y="4706259"/>
                  <a:pt x="1710016" y="4707292"/>
                </a:cubicBezTo>
                <a:cubicBezTo>
                  <a:pt x="1709552" y="4708531"/>
                  <a:pt x="1709552" y="4708531"/>
                  <a:pt x="1708777" y="4708944"/>
                </a:cubicBezTo>
                <a:cubicBezTo>
                  <a:pt x="1708158" y="4709770"/>
                  <a:pt x="1707693" y="4710390"/>
                  <a:pt x="1707228" y="4710906"/>
                </a:cubicBezTo>
                <a:lnTo>
                  <a:pt x="1706764" y="4711009"/>
                </a:lnTo>
                <a:lnTo>
                  <a:pt x="1706454" y="4712455"/>
                </a:lnTo>
                <a:cubicBezTo>
                  <a:pt x="1706144" y="4715552"/>
                  <a:pt x="1706298" y="4718753"/>
                  <a:pt x="1706454" y="4721851"/>
                </a:cubicBezTo>
                <a:lnTo>
                  <a:pt x="1708158" y="4721954"/>
                </a:lnTo>
                <a:cubicBezTo>
                  <a:pt x="1709552" y="4722677"/>
                  <a:pt x="1710945" y="4723607"/>
                  <a:pt x="1712340" y="4723813"/>
                </a:cubicBezTo>
                <a:cubicBezTo>
                  <a:pt x="1711720" y="4727634"/>
                  <a:pt x="1709552" y="4729595"/>
                  <a:pt x="1707383" y="4730112"/>
                </a:cubicBezTo>
                <a:lnTo>
                  <a:pt x="1705370" y="4729905"/>
                </a:lnTo>
                <a:lnTo>
                  <a:pt x="1704750" y="4731557"/>
                </a:lnTo>
                <a:cubicBezTo>
                  <a:pt x="1704285" y="4732796"/>
                  <a:pt x="1703356" y="4734036"/>
                  <a:pt x="1702272" y="4735171"/>
                </a:cubicBezTo>
                <a:cubicBezTo>
                  <a:pt x="1694217" y="4743948"/>
                  <a:pt x="1683684" y="4742193"/>
                  <a:pt x="1677178" y="4736204"/>
                </a:cubicBezTo>
                <a:lnTo>
                  <a:pt x="1676714" y="4735687"/>
                </a:lnTo>
                <a:lnTo>
                  <a:pt x="1675474" y="4737856"/>
                </a:lnTo>
                <a:lnTo>
                  <a:pt x="1677178" y="4737959"/>
                </a:lnTo>
                <a:cubicBezTo>
                  <a:pt x="1678572" y="4738888"/>
                  <a:pt x="1679192" y="4740644"/>
                  <a:pt x="1678417" y="4743329"/>
                </a:cubicBezTo>
                <a:cubicBezTo>
                  <a:pt x="1677333" y="4743948"/>
                  <a:pt x="1675474" y="4743845"/>
                  <a:pt x="1673770" y="4743432"/>
                </a:cubicBezTo>
                <a:lnTo>
                  <a:pt x="1671912" y="4742193"/>
                </a:lnTo>
                <a:lnTo>
                  <a:pt x="1667110" y="4744980"/>
                </a:lnTo>
                <a:cubicBezTo>
                  <a:pt x="1665871" y="4745187"/>
                  <a:pt x="1664476" y="4745394"/>
                  <a:pt x="1662928" y="4745394"/>
                </a:cubicBezTo>
                <a:cubicBezTo>
                  <a:pt x="1661534" y="4745394"/>
                  <a:pt x="1659830" y="4745084"/>
                  <a:pt x="1658126" y="4744774"/>
                </a:cubicBezTo>
                <a:cubicBezTo>
                  <a:pt x="1653479" y="4743432"/>
                  <a:pt x="1649916" y="4740231"/>
                  <a:pt x="1646199" y="4736513"/>
                </a:cubicBezTo>
                <a:lnTo>
                  <a:pt x="1643720" y="4733932"/>
                </a:lnTo>
                <a:lnTo>
                  <a:pt x="1642636" y="4733622"/>
                </a:lnTo>
                <a:cubicBezTo>
                  <a:pt x="1641397" y="4733313"/>
                  <a:pt x="1640158" y="4732900"/>
                  <a:pt x="1639539" y="4732280"/>
                </a:cubicBezTo>
                <a:cubicBezTo>
                  <a:pt x="1639074" y="4731867"/>
                  <a:pt x="1638919" y="4731454"/>
                  <a:pt x="1639074" y="4730835"/>
                </a:cubicBezTo>
                <a:lnTo>
                  <a:pt x="1641242" y="4731144"/>
                </a:lnTo>
                <a:lnTo>
                  <a:pt x="1640622" y="4730525"/>
                </a:lnTo>
                <a:cubicBezTo>
                  <a:pt x="1638609" y="4728460"/>
                  <a:pt x="1636285" y="4726395"/>
                  <a:pt x="1633652" y="4724433"/>
                </a:cubicBezTo>
                <a:cubicBezTo>
                  <a:pt x="1638454" y="4724019"/>
                  <a:pt x="1641552" y="4721438"/>
                  <a:pt x="1644030" y="4718444"/>
                </a:cubicBezTo>
                <a:lnTo>
                  <a:pt x="1646819" y="4715036"/>
                </a:lnTo>
                <a:lnTo>
                  <a:pt x="1646044" y="4714313"/>
                </a:lnTo>
                <a:cubicBezTo>
                  <a:pt x="1645889" y="4714107"/>
                  <a:pt x="1645889" y="4714107"/>
                  <a:pt x="1645889" y="4714520"/>
                </a:cubicBezTo>
                <a:cubicBezTo>
                  <a:pt x="1644340" y="4712558"/>
                  <a:pt x="1642017" y="4710493"/>
                  <a:pt x="1642946" y="4708841"/>
                </a:cubicBezTo>
                <a:cubicBezTo>
                  <a:pt x="1645115" y="4706673"/>
                  <a:pt x="1648522" y="4707602"/>
                  <a:pt x="1651466" y="4709254"/>
                </a:cubicBezTo>
                <a:lnTo>
                  <a:pt x="1651931" y="4709564"/>
                </a:lnTo>
                <a:lnTo>
                  <a:pt x="1654719" y="4707912"/>
                </a:lnTo>
                <a:cubicBezTo>
                  <a:pt x="1655958" y="4707499"/>
                  <a:pt x="1657197" y="4707292"/>
                  <a:pt x="1658745" y="4707395"/>
                </a:cubicBezTo>
                <a:lnTo>
                  <a:pt x="1664786" y="4708841"/>
                </a:lnTo>
                <a:lnTo>
                  <a:pt x="1665097" y="4706982"/>
                </a:lnTo>
                <a:cubicBezTo>
                  <a:pt x="1668039" y="4707292"/>
                  <a:pt x="1668814" y="4708841"/>
                  <a:pt x="1668969" y="4710803"/>
                </a:cubicBezTo>
                <a:lnTo>
                  <a:pt x="1668814" y="4711009"/>
                </a:lnTo>
                <a:lnTo>
                  <a:pt x="1672222" y="4713797"/>
                </a:lnTo>
                <a:lnTo>
                  <a:pt x="1673770" y="4707602"/>
                </a:lnTo>
                <a:cubicBezTo>
                  <a:pt x="1674545" y="4705434"/>
                  <a:pt x="1675629" y="4703265"/>
                  <a:pt x="1676404" y="4701407"/>
                </a:cubicBezTo>
                <a:cubicBezTo>
                  <a:pt x="1678108" y="4697483"/>
                  <a:pt x="1680121" y="4693456"/>
                  <a:pt x="1682755" y="4692113"/>
                </a:cubicBezTo>
                <a:lnTo>
                  <a:pt x="1683064" y="4692113"/>
                </a:lnTo>
                <a:lnTo>
                  <a:pt x="1684458" y="4690048"/>
                </a:lnTo>
                <a:cubicBezTo>
                  <a:pt x="1686627" y="4687570"/>
                  <a:pt x="1689260" y="4686434"/>
                  <a:pt x="1691584" y="4689945"/>
                </a:cubicBezTo>
                <a:close/>
                <a:moveTo>
                  <a:pt x="1744558" y="4689739"/>
                </a:moveTo>
                <a:cubicBezTo>
                  <a:pt x="1751993" y="4689222"/>
                  <a:pt x="1760357" y="4690565"/>
                  <a:pt x="1769032" y="4697792"/>
                </a:cubicBezTo>
                <a:cubicBezTo>
                  <a:pt x="1769651" y="4703678"/>
                  <a:pt x="1765624" y="4705640"/>
                  <a:pt x="1760822" y="4705227"/>
                </a:cubicBezTo>
                <a:cubicBezTo>
                  <a:pt x="1754626" y="4704711"/>
                  <a:pt x="1747036" y="4700477"/>
                  <a:pt x="1744713" y="4695211"/>
                </a:cubicBezTo>
                <a:lnTo>
                  <a:pt x="1744558" y="4691907"/>
                </a:lnTo>
                <a:lnTo>
                  <a:pt x="1744093" y="4691907"/>
                </a:lnTo>
                <a:cubicBezTo>
                  <a:pt x="1743938" y="4691804"/>
                  <a:pt x="1743784" y="4691597"/>
                  <a:pt x="1743319" y="4691494"/>
                </a:cubicBezTo>
                <a:cubicBezTo>
                  <a:pt x="1742234" y="4691184"/>
                  <a:pt x="1737743" y="4692010"/>
                  <a:pt x="1737278" y="4693146"/>
                </a:cubicBezTo>
                <a:cubicBezTo>
                  <a:pt x="1736968" y="4692423"/>
                  <a:pt x="1735884" y="4692113"/>
                  <a:pt x="1735884" y="4692113"/>
                </a:cubicBezTo>
                <a:cubicBezTo>
                  <a:pt x="1736194" y="4690978"/>
                  <a:pt x="1736968" y="4690461"/>
                  <a:pt x="1737743" y="4690048"/>
                </a:cubicBezTo>
                <a:cubicBezTo>
                  <a:pt x="1738827" y="4690255"/>
                  <a:pt x="1739137" y="4691081"/>
                  <a:pt x="1740376" y="4691287"/>
                </a:cubicBezTo>
                <a:cubicBezTo>
                  <a:pt x="1740996" y="4690874"/>
                  <a:pt x="1742544" y="4689945"/>
                  <a:pt x="1743629" y="4690255"/>
                </a:cubicBezTo>
                <a:lnTo>
                  <a:pt x="1744558" y="4690565"/>
                </a:lnTo>
                <a:close/>
                <a:moveTo>
                  <a:pt x="1604377" y="4689739"/>
                </a:moveTo>
                <a:cubicBezTo>
                  <a:pt x="1605462" y="4689945"/>
                  <a:pt x="1606236" y="4691081"/>
                  <a:pt x="1606855" y="4692526"/>
                </a:cubicBezTo>
                <a:lnTo>
                  <a:pt x="1607785" y="4696140"/>
                </a:lnTo>
                <a:lnTo>
                  <a:pt x="1608404" y="4696037"/>
                </a:lnTo>
                <a:cubicBezTo>
                  <a:pt x="1608404" y="4696037"/>
                  <a:pt x="1607475" y="4695934"/>
                  <a:pt x="1608404" y="4695211"/>
                </a:cubicBezTo>
                <a:cubicBezTo>
                  <a:pt x="1608404" y="4696037"/>
                  <a:pt x="1609179" y="4696140"/>
                  <a:pt x="1610108" y="4696244"/>
                </a:cubicBezTo>
                <a:cubicBezTo>
                  <a:pt x="1611657" y="4698309"/>
                  <a:pt x="1613206" y="4701303"/>
                  <a:pt x="1612122" y="4702852"/>
                </a:cubicBezTo>
                <a:cubicBezTo>
                  <a:pt x="1611347" y="4703575"/>
                  <a:pt x="1610418" y="4703678"/>
                  <a:pt x="1609798" y="4703472"/>
                </a:cubicBezTo>
                <a:cubicBezTo>
                  <a:pt x="1609024" y="4703265"/>
                  <a:pt x="1608404" y="4702645"/>
                  <a:pt x="1607940" y="4702129"/>
                </a:cubicBezTo>
                <a:cubicBezTo>
                  <a:pt x="1606700" y="4701510"/>
                  <a:pt x="1606236" y="4700374"/>
                  <a:pt x="1606081" y="4699032"/>
                </a:cubicBezTo>
                <a:lnTo>
                  <a:pt x="1606236" y="4697999"/>
                </a:lnTo>
                <a:lnTo>
                  <a:pt x="1605617" y="4698722"/>
                </a:lnTo>
                <a:cubicBezTo>
                  <a:pt x="1604532" y="4699032"/>
                  <a:pt x="1603293" y="4699032"/>
                  <a:pt x="1602208" y="4698825"/>
                </a:cubicBezTo>
                <a:cubicBezTo>
                  <a:pt x="1601280" y="4698928"/>
                  <a:pt x="1600505" y="4698309"/>
                  <a:pt x="1600040" y="4697586"/>
                </a:cubicBezTo>
                <a:cubicBezTo>
                  <a:pt x="1599575" y="4696760"/>
                  <a:pt x="1599265" y="4695727"/>
                  <a:pt x="1599265" y="4694798"/>
                </a:cubicBezTo>
                <a:cubicBezTo>
                  <a:pt x="1599575" y="4693559"/>
                  <a:pt x="1599575" y="4693559"/>
                  <a:pt x="1599885" y="4692423"/>
                </a:cubicBezTo>
                <a:cubicBezTo>
                  <a:pt x="1601434" y="4691494"/>
                  <a:pt x="1602518" y="4689842"/>
                  <a:pt x="1604377" y="4689739"/>
                </a:cubicBezTo>
                <a:close/>
                <a:moveTo>
                  <a:pt x="718989" y="4689016"/>
                </a:moveTo>
                <a:cubicBezTo>
                  <a:pt x="721468" y="4688293"/>
                  <a:pt x="726889" y="4689325"/>
                  <a:pt x="728439" y="4693352"/>
                </a:cubicBezTo>
                <a:cubicBezTo>
                  <a:pt x="727200" y="4695934"/>
                  <a:pt x="725805" y="4697276"/>
                  <a:pt x="724101" y="4697483"/>
                </a:cubicBezTo>
                <a:cubicBezTo>
                  <a:pt x="722397" y="4697792"/>
                  <a:pt x="720539" y="4696967"/>
                  <a:pt x="718370" y="4695417"/>
                </a:cubicBezTo>
                <a:cubicBezTo>
                  <a:pt x="718989" y="4693456"/>
                  <a:pt x="718680" y="4691804"/>
                  <a:pt x="718989" y="4689016"/>
                </a:cubicBezTo>
                <a:close/>
                <a:moveTo>
                  <a:pt x="1679501" y="4688396"/>
                </a:moveTo>
                <a:lnTo>
                  <a:pt x="1679347" y="4688706"/>
                </a:lnTo>
                <a:lnTo>
                  <a:pt x="1679192" y="4689429"/>
                </a:lnTo>
                <a:close/>
                <a:moveTo>
                  <a:pt x="1628076" y="4688396"/>
                </a:moveTo>
                <a:cubicBezTo>
                  <a:pt x="1630400" y="4688912"/>
                  <a:pt x="1633033" y="4690255"/>
                  <a:pt x="1633033" y="4692216"/>
                </a:cubicBezTo>
                <a:lnTo>
                  <a:pt x="1631794" y="4693869"/>
                </a:lnTo>
                <a:lnTo>
                  <a:pt x="1633962" y="4694075"/>
                </a:lnTo>
                <a:cubicBezTo>
                  <a:pt x="1634737" y="4694178"/>
                  <a:pt x="1635511" y="4694592"/>
                  <a:pt x="1635976" y="4695417"/>
                </a:cubicBezTo>
                <a:lnTo>
                  <a:pt x="1638764" y="4698722"/>
                </a:lnTo>
                <a:lnTo>
                  <a:pt x="1639694" y="4697070"/>
                </a:lnTo>
                <a:cubicBezTo>
                  <a:pt x="1640313" y="4696450"/>
                  <a:pt x="1640932" y="4696037"/>
                  <a:pt x="1641862" y="4695934"/>
                </a:cubicBezTo>
                <a:cubicBezTo>
                  <a:pt x="1642327" y="4695934"/>
                  <a:pt x="1642946" y="4696140"/>
                  <a:pt x="1643720" y="4696450"/>
                </a:cubicBezTo>
                <a:cubicBezTo>
                  <a:pt x="1643720" y="4696450"/>
                  <a:pt x="1643720" y="4696450"/>
                  <a:pt x="1644030" y="4697276"/>
                </a:cubicBezTo>
                <a:cubicBezTo>
                  <a:pt x="1644340" y="4698928"/>
                  <a:pt x="1644650" y="4699754"/>
                  <a:pt x="1644805" y="4700580"/>
                </a:cubicBezTo>
                <a:cubicBezTo>
                  <a:pt x="1644495" y="4701097"/>
                  <a:pt x="1643876" y="4701923"/>
                  <a:pt x="1643101" y="4702645"/>
                </a:cubicBezTo>
                <a:lnTo>
                  <a:pt x="1641397" y="4703575"/>
                </a:lnTo>
                <a:lnTo>
                  <a:pt x="1641707" y="4704504"/>
                </a:lnTo>
                <a:cubicBezTo>
                  <a:pt x="1641862" y="4706879"/>
                  <a:pt x="1640622" y="4708841"/>
                  <a:pt x="1639229" y="4711732"/>
                </a:cubicBezTo>
                <a:cubicBezTo>
                  <a:pt x="1639229" y="4710803"/>
                  <a:pt x="1638299" y="4711526"/>
                  <a:pt x="1638299" y="4711526"/>
                </a:cubicBezTo>
                <a:cubicBezTo>
                  <a:pt x="1636596" y="4713074"/>
                  <a:pt x="1641552" y="4714727"/>
                  <a:pt x="1639694" y="4717102"/>
                </a:cubicBezTo>
                <a:cubicBezTo>
                  <a:pt x="1638919" y="4717927"/>
                  <a:pt x="1637835" y="4718444"/>
                  <a:pt x="1636751" y="4718650"/>
                </a:cubicBezTo>
                <a:cubicBezTo>
                  <a:pt x="1635666" y="4718857"/>
                  <a:pt x="1634582" y="4718857"/>
                  <a:pt x="1633343" y="4718650"/>
                </a:cubicBezTo>
                <a:cubicBezTo>
                  <a:pt x="1631175" y="4718341"/>
                  <a:pt x="1629006" y="4717308"/>
                  <a:pt x="1627456" y="4716585"/>
                </a:cubicBezTo>
                <a:lnTo>
                  <a:pt x="1625598" y="4715759"/>
                </a:lnTo>
                <a:lnTo>
                  <a:pt x="1625598" y="4716585"/>
                </a:lnTo>
                <a:lnTo>
                  <a:pt x="1624823" y="4715552"/>
                </a:lnTo>
                <a:lnTo>
                  <a:pt x="1624668" y="4715552"/>
                </a:lnTo>
                <a:cubicBezTo>
                  <a:pt x="1624668" y="4714623"/>
                  <a:pt x="1623894" y="4714520"/>
                  <a:pt x="1623739" y="4715346"/>
                </a:cubicBezTo>
                <a:cubicBezTo>
                  <a:pt x="1622655" y="4714313"/>
                  <a:pt x="1621571" y="4713487"/>
                  <a:pt x="1621106" y="4712765"/>
                </a:cubicBezTo>
                <a:cubicBezTo>
                  <a:pt x="1620641" y="4712042"/>
                  <a:pt x="1620641" y="4711319"/>
                  <a:pt x="1621571" y="4710596"/>
                </a:cubicBezTo>
                <a:cubicBezTo>
                  <a:pt x="1622035" y="4709770"/>
                  <a:pt x="1622655" y="4709667"/>
                  <a:pt x="1623430" y="4709564"/>
                </a:cubicBezTo>
                <a:lnTo>
                  <a:pt x="1625443" y="4708841"/>
                </a:lnTo>
                <a:lnTo>
                  <a:pt x="1624049" y="4708325"/>
                </a:lnTo>
                <a:cubicBezTo>
                  <a:pt x="1623274" y="4708015"/>
                  <a:pt x="1622655" y="4707395"/>
                  <a:pt x="1622500" y="4706569"/>
                </a:cubicBezTo>
                <a:cubicBezTo>
                  <a:pt x="1622190" y="4705950"/>
                  <a:pt x="1622190" y="4705330"/>
                  <a:pt x="1622345" y="4704401"/>
                </a:cubicBezTo>
                <a:cubicBezTo>
                  <a:pt x="1622345" y="4704401"/>
                  <a:pt x="1622345" y="4704401"/>
                  <a:pt x="1622964" y="4703988"/>
                </a:cubicBezTo>
                <a:cubicBezTo>
                  <a:pt x="1624358" y="4703059"/>
                  <a:pt x="1624978" y="4702645"/>
                  <a:pt x="1625753" y="4702129"/>
                </a:cubicBezTo>
                <a:lnTo>
                  <a:pt x="1626063" y="4702336"/>
                </a:lnTo>
                <a:lnTo>
                  <a:pt x="1625598" y="4697689"/>
                </a:lnTo>
                <a:lnTo>
                  <a:pt x="1627456" y="4693869"/>
                </a:lnTo>
                <a:lnTo>
                  <a:pt x="1626217" y="4693352"/>
                </a:lnTo>
                <a:cubicBezTo>
                  <a:pt x="1625443" y="4692320"/>
                  <a:pt x="1624978" y="4690874"/>
                  <a:pt x="1624823" y="4689532"/>
                </a:cubicBezTo>
                <a:cubicBezTo>
                  <a:pt x="1625133" y="4690255"/>
                  <a:pt x="1625133" y="4690255"/>
                  <a:pt x="1625133" y="4690255"/>
                </a:cubicBezTo>
                <a:cubicBezTo>
                  <a:pt x="1626217" y="4690461"/>
                  <a:pt x="1625907" y="4689739"/>
                  <a:pt x="1626682" y="4689325"/>
                </a:cubicBezTo>
                <a:cubicBezTo>
                  <a:pt x="1626682" y="4689325"/>
                  <a:pt x="1625907" y="4689739"/>
                  <a:pt x="1626217" y="4688500"/>
                </a:cubicBezTo>
                <a:cubicBezTo>
                  <a:pt x="1626682" y="4689325"/>
                  <a:pt x="1627301" y="4688809"/>
                  <a:pt x="1628076" y="4688396"/>
                </a:cubicBezTo>
                <a:close/>
                <a:moveTo>
                  <a:pt x="798916" y="4687983"/>
                </a:moveTo>
                <a:cubicBezTo>
                  <a:pt x="801085" y="4686124"/>
                  <a:pt x="808210" y="4690048"/>
                  <a:pt x="810998" y="4692423"/>
                </a:cubicBezTo>
                <a:cubicBezTo>
                  <a:pt x="810533" y="4692836"/>
                  <a:pt x="809604" y="4693043"/>
                  <a:pt x="808520" y="4692836"/>
                </a:cubicBezTo>
                <a:cubicBezTo>
                  <a:pt x="805577" y="4692423"/>
                  <a:pt x="800930" y="4689739"/>
                  <a:pt x="798916" y="4687983"/>
                </a:cubicBezTo>
                <a:close/>
                <a:moveTo>
                  <a:pt x="6373934" y="4687795"/>
                </a:moveTo>
                <a:cubicBezTo>
                  <a:pt x="6375483" y="4692131"/>
                  <a:pt x="6375638" y="4696365"/>
                  <a:pt x="6374244" y="4700185"/>
                </a:cubicBezTo>
                <a:lnTo>
                  <a:pt x="6371765" y="4704315"/>
                </a:lnTo>
                <a:lnTo>
                  <a:pt x="6374089" y="4702973"/>
                </a:lnTo>
                <a:cubicBezTo>
                  <a:pt x="6376877" y="4702664"/>
                  <a:pt x="6379201" y="4705348"/>
                  <a:pt x="6383073" y="4706277"/>
                </a:cubicBezTo>
                <a:cubicBezTo>
                  <a:pt x="6382298" y="4708549"/>
                  <a:pt x="6379975" y="4709685"/>
                  <a:pt x="6377807" y="4710098"/>
                </a:cubicBezTo>
                <a:cubicBezTo>
                  <a:pt x="6375483" y="4710408"/>
                  <a:pt x="6373160" y="4709891"/>
                  <a:pt x="6371920" y="4708446"/>
                </a:cubicBezTo>
                <a:lnTo>
                  <a:pt x="6371301" y="4705038"/>
                </a:lnTo>
                <a:lnTo>
                  <a:pt x="6371146" y="4705348"/>
                </a:lnTo>
                <a:cubicBezTo>
                  <a:pt x="6369597" y="4707000"/>
                  <a:pt x="6367738" y="4708446"/>
                  <a:pt x="6365415" y="4709685"/>
                </a:cubicBezTo>
                <a:cubicBezTo>
                  <a:pt x="6357360" y="4707930"/>
                  <a:pt x="6357360" y="4696881"/>
                  <a:pt x="6356586" y="4691099"/>
                </a:cubicBezTo>
                <a:cubicBezTo>
                  <a:pt x="6363091" y="4688517"/>
                  <a:pt x="6369597" y="4685833"/>
                  <a:pt x="6373934" y="4687795"/>
                </a:cubicBezTo>
                <a:close/>
                <a:moveTo>
                  <a:pt x="1845396" y="4687570"/>
                </a:moveTo>
                <a:cubicBezTo>
                  <a:pt x="1845551" y="4694592"/>
                  <a:pt x="1843382" y="4702645"/>
                  <a:pt x="1842762" y="4704504"/>
                </a:cubicBezTo>
                <a:cubicBezTo>
                  <a:pt x="1842453" y="4705330"/>
                  <a:pt x="1842143" y="4705846"/>
                  <a:pt x="1841678" y="4706053"/>
                </a:cubicBezTo>
                <a:cubicBezTo>
                  <a:pt x="1841058" y="4706156"/>
                  <a:pt x="1840439" y="4705950"/>
                  <a:pt x="1839510" y="4705537"/>
                </a:cubicBezTo>
                <a:cubicBezTo>
                  <a:pt x="1836567" y="4702233"/>
                  <a:pt x="1838580" y="4698618"/>
                  <a:pt x="1838735" y="4694178"/>
                </a:cubicBezTo>
                <a:cubicBezTo>
                  <a:pt x="1839664" y="4694075"/>
                  <a:pt x="1840284" y="4693146"/>
                  <a:pt x="1840129" y="4692320"/>
                </a:cubicBezTo>
                <a:cubicBezTo>
                  <a:pt x="1840903" y="4691391"/>
                  <a:pt x="1841678" y="4690461"/>
                  <a:pt x="1840749" y="4690461"/>
                </a:cubicBezTo>
                <a:cubicBezTo>
                  <a:pt x="1842917" y="4687673"/>
                  <a:pt x="1842762" y="4686847"/>
                  <a:pt x="1845396" y="4687570"/>
                </a:cubicBezTo>
                <a:close/>
                <a:moveTo>
                  <a:pt x="706695" y="4687209"/>
                </a:moveTo>
                <a:cubicBezTo>
                  <a:pt x="711051" y="4687673"/>
                  <a:pt x="714420" y="4690151"/>
                  <a:pt x="713568" y="4694592"/>
                </a:cubicBezTo>
                <a:cubicBezTo>
                  <a:pt x="713414" y="4695831"/>
                  <a:pt x="712794" y="4697173"/>
                  <a:pt x="711865" y="4698722"/>
                </a:cubicBezTo>
                <a:cubicBezTo>
                  <a:pt x="710315" y="4698825"/>
                  <a:pt x="708612" y="4699135"/>
                  <a:pt x="706753" y="4699238"/>
                </a:cubicBezTo>
                <a:cubicBezTo>
                  <a:pt x="705359" y="4699341"/>
                  <a:pt x="703965" y="4699445"/>
                  <a:pt x="702571" y="4699341"/>
                </a:cubicBezTo>
                <a:cubicBezTo>
                  <a:pt x="698389" y="4699032"/>
                  <a:pt x="694826" y="4697483"/>
                  <a:pt x="693897" y="4691907"/>
                </a:cubicBezTo>
                <a:cubicBezTo>
                  <a:pt x="696995" y="4688293"/>
                  <a:pt x="702338" y="4686744"/>
                  <a:pt x="706695" y="4687209"/>
                </a:cubicBezTo>
                <a:close/>
                <a:moveTo>
                  <a:pt x="6437752" y="4686349"/>
                </a:moveTo>
                <a:cubicBezTo>
                  <a:pt x="6441159" y="4685316"/>
                  <a:pt x="6443792" y="4687898"/>
                  <a:pt x="6447820" y="4687278"/>
                </a:cubicBezTo>
                <a:cubicBezTo>
                  <a:pt x="6449369" y="4690169"/>
                  <a:pt x="6454325" y="4690066"/>
                  <a:pt x="6456184" y="4693990"/>
                </a:cubicBezTo>
                <a:cubicBezTo>
                  <a:pt x="6454945" y="4694712"/>
                  <a:pt x="6453241" y="4694816"/>
                  <a:pt x="6451382" y="4694506"/>
                </a:cubicBezTo>
                <a:cubicBezTo>
                  <a:pt x="6445651" y="4693680"/>
                  <a:pt x="6438681" y="4689034"/>
                  <a:pt x="6437752" y="4686349"/>
                </a:cubicBezTo>
                <a:close/>
                <a:moveTo>
                  <a:pt x="6151813" y="4686349"/>
                </a:moveTo>
                <a:cubicBezTo>
                  <a:pt x="6155840" y="4685110"/>
                  <a:pt x="6159093" y="4688724"/>
                  <a:pt x="6155685" y="4693267"/>
                </a:cubicBezTo>
                <a:cubicBezTo>
                  <a:pt x="6153517" y="4691925"/>
                  <a:pt x="6151348" y="4690479"/>
                  <a:pt x="6151193" y="4688517"/>
                </a:cubicBezTo>
                <a:cubicBezTo>
                  <a:pt x="6151193" y="4687898"/>
                  <a:pt x="6151348" y="4687175"/>
                  <a:pt x="6151813" y="4686349"/>
                </a:cubicBezTo>
                <a:close/>
                <a:moveTo>
                  <a:pt x="1291177" y="4686228"/>
                </a:moveTo>
                <a:cubicBezTo>
                  <a:pt x="1292725" y="4687260"/>
                  <a:pt x="1294120" y="4689119"/>
                  <a:pt x="1295513" y="4690978"/>
                </a:cubicBezTo>
                <a:cubicBezTo>
                  <a:pt x="1294585" y="4692423"/>
                  <a:pt x="1293500" y="4692940"/>
                  <a:pt x="1292571" y="4692836"/>
                </a:cubicBezTo>
                <a:cubicBezTo>
                  <a:pt x="1291642" y="4692836"/>
                  <a:pt x="1290712" y="4692113"/>
                  <a:pt x="1290092" y="4691287"/>
                </a:cubicBezTo>
                <a:cubicBezTo>
                  <a:pt x="1288853" y="4689532"/>
                  <a:pt x="1288699" y="4686847"/>
                  <a:pt x="1291177" y="4686228"/>
                </a:cubicBezTo>
                <a:close/>
                <a:moveTo>
                  <a:pt x="884109" y="4685608"/>
                </a:moveTo>
                <a:cubicBezTo>
                  <a:pt x="881786" y="4687467"/>
                  <a:pt x="881166" y="4688396"/>
                  <a:pt x="879617" y="4689325"/>
                </a:cubicBezTo>
                <a:cubicBezTo>
                  <a:pt x="879617" y="4690151"/>
                  <a:pt x="879772" y="4690978"/>
                  <a:pt x="878997" y="4691907"/>
                </a:cubicBezTo>
                <a:cubicBezTo>
                  <a:pt x="877603" y="4693662"/>
                  <a:pt x="875745" y="4692940"/>
                  <a:pt x="874196" y="4693869"/>
                </a:cubicBezTo>
                <a:cubicBezTo>
                  <a:pt x="873266" y="4693146"/>
                  <a:pt x="872182" y="4691494"/>
                  <a:pt x="873577" y="4689635"/>
                </a:cubicBezTo>
                <a:cubicBezTo>
                  <a:pt x="874970" y="4686950"/>
                  <a:pt x="877449" y="4686847"/>
                  <a:pt x="880082" y="4687570"/>
                </a:cubicBezTo>
                <a:cubicBezTo>
                  <a:pt x="881631" y="4686641"/>
                  <a:pt x="882251" y="4684885"/>
                  <a:pt x="884109" y="4685608"/>
                </a:cubicBezTo>
                <a:close/>
                <a:moveTo>
                  <a:pt x="6567554" y="4684490"/>
                </a:moveTo>
                <a:cubicBezTo>
                  <a:pt x="6568484" y="4683871"/>
                  <a:pt x="6569568" y="4683768"/>
                  <a:pt x="6571117" y="4684490"/>
                </a:cubicBezTo>
                <a:cubicBezTo>
                  <a:pt x="6575454" y="4686969"/>
                  <a:pt x="6574215" y="4691099"/>
                  <a:pt x="6572201" y="4695332"/>
                </a:cubicBezTo>
                <a:cubicBezTo>
                  <a:pt x="6570343" y="4694919"/>
                  <a:pt x="6568793" y="4695332"/>
                  <a:pt x="6566935" y="4694816"/>
                </a:cubicBezTo>
                <a:cubicBezTo>
                  <a:pt x="6564921" y="4692647"/>
                  <a:pt x="6564921" y="4686245"/>
                  <a:pt x="6567554" y="4684490"/>
                </a:cubicBezTo>
                <a:close/>
                <a:moveTo>
                  <a:pt x="1156727" y="4684369"/>
                </a:moveTo>
                <a:cubicBezTo>
                  <a:pt x="1158275" y="4681788"/>
                  <a:pt x="1160909" y="4683749"/>
                  <a:pt x="1164317" y="4684782"/>
                </a:cubicBezTo>
                <a:cubicBezTo>
                  <a:pt x="1163542" y="4685608"/>
                  <a:pt x="1164317" y="4686434"/>
                  <a:pt x="1165246" y="4687364"/>
                </a:cubicBezTo>
                <a:cubicBezTo>
                  <a:pt x="1164007" y="4688603"/>
                  <a:pt x="1162458" y="4690771"/>
                  <a:pt x="1160134" y="4690255"/>
                </a:cubicBezTo>
                <a:cubicBezTo>
                  <a:pt x="1159515" y="4690151"/>
                  <a:pt x="1158741" y="4689635"/>
                  <a:pt x="1157811" y="4688706"/>
                </a:cubicBezTo>
                <a:cubicBezTo>
                  <a:pt x="1157037" y="4688706"/>
                  <a:pt x="1155952" y="4685195"/>
                  <a:pt x="1156727" y="4684369"/>
                </a:cubicBezTo>
                <a:close/>
                <a:moveTo>
                  <a:pt x="779555" y="4683130"/>
                </a:moveTo>
                <a:cubicBezTo>
                  <a:pt x="780483" y="4683956"/>
                  <a:pt x="781413" y="4684782"/>
                  <a:pt x="781723" y="4686434"/>
                </a:cubicBezTo>
                <a:cubicBezTo>
                  <a:pt x="780329" y="4688293"/>
                  <a:pt x="777696" y="4687570"/>
                  <a:pt x="776921" y="4688500"/>
                </a:cubicBezTo>
                <a:cubicBezTo>
                  <a:pt x="776766" y="4687570"/>
                  <a:pt x="776611" y="4685918"/>
                  <a:pt x="774907" y="4685092"/>
                </a:cubicBezTo>
                <a:cubicBezTo>
                  <a:pt x="776301" y="4683337"/>
                  <a:pt x="777696" y="4681478"/>
                  <a:pt x="779555" y="4683130"/>
                </a:cubicBezTo>
                <a:close/>
                <a:moveTo>
                  <a:pt x="6411574" y="4683045"/>
                </a:moveTo>
                <a:cubicBezTo>
                  <a:pt x="6412813" y="4683045"/>
                  <a:pt x="6414672" y="4682425"/>
                  <a:pt x="6416376" y="4683148"/>
                </a:cubicBezTo>
                <a:cubicBezTo>
                  <a:pt x="6416841" y="4685420"/>
                  <a:pt x="6416066" y="4686555"/>
                  <a:pt x="6414827" y="4686969"/>
                </a:cubicBezTo>
                <a:cubicBezTo>
                  <a:pt x="6413742" y="4687278"/>
                  <a:pt x="6412194" y="4686762"/>
                  <a:pt x="6411574" y="4685730"/>
                </a:cubicBezTo>
                <a:cubicBezTo>
                  <a:pt x="6411109" y="4685007"/>
                  <a:pt x="6410954" y="4684077"/>
                  <a:pt x="6411574" y="4683045"/>
                </a:cubicBezTo>
                <a:close/>
                <a:moveTo>
                  <a:pt x="1341673" y="4683027"/>
                </a:moveTo>
                <a:cubicBezTo>
                  <a:pt x="1339969" y="4689222"/>
                  <a:pt x="1327268" y="4694385"/>
                  <a:pt x="1324169" y="4692940"/>
                </a:cubicBezTo>
                <a:cubicBezTo>
                  <a:pt x="1325874" y="4689532"/>
                  <a:pt x="1329126" y="4689016"/>
                  <a:pt x="1331605" y="4685299"/>
                </a:cubicBezTo>
                <a:cubicBezTo>
                  <a:pt x="1334548" y="4685918"/>
                  <a:pt x="1337800" y="4681891"/>
                  <a:pt x="1341673" y="4683027"/>
                </a:cubicBezTo>
                <a:close/>
                <a:moveTo>
                  <a:pt x="6059340" y="4682735"/>
                </a:moveTo>
                <a:cubicBezTo>
                  <a:pt x="6057326" y="4687175"/>
                  <a:pt x="6051595" y="4692235"/>
                  <a:pt x="6046793" y="4691718"/>
                </a:cubicBezTo>
                <a:cubicBezTo>
                  <a:pt x="6045244" y="4691615"/>
                  <a:pt x="6043695" y="4690789"/>
                  <a:pt x="6042611" y="4689137"/>
                </a:cubicBezTo>
                <a:cubicBezTo>
                  <a:pt x="6047878" y="4686969"/>
                  <a:pt x="6053454" y="4683148"/>
                  <a:pt x="6059340" y="4682735"/>
                </a:cubicBezTo>
                <a:close/>
                <a:moveTo>
                  <a:pt x="1133802" y="4682717"/>
                </a:moveTo>
                <a:cubicBezTo>
                  <a:pt x="1135041" y="4683027"/>
                  <a:pt x="1136126" y="4683337"/>
                  <a:pt x="1135506" y="4683749"/>
                </a:cubicBezTo>
                <a:cubicBezTo>
                  <a:pt x="1135971" y="4684473"/>
                  <a:pt x="1135351" y="4684989"/>
                  <a:pt x="1135041" y="4686124"/>
                </a:cubicBezTo>
                <a:cubicBezTo>
                  <a:pt x="1134267" y="4687777"/>
                  <a:pt x="1132408" y="4689119"/>
                  <a:pt x="1131169" y="4688809"/>
                </a:cubicBezTo>
                <a:cubicBezTo>
                  <a:pt x="1130085" y="4688500"/>
                  <a:pt x="1129465" y="4687673"/>
                  <a:pt x="1129465" y="4687673"/>
                </a:cubicBezTo>
                <a:cubicBezTo>
                  <a:pt x="1129310" y="4684576"/>
                  <a:pt x="1130395" y="4681788"/>
                  <a:pt x="1133802" y="4682717"/>
                </a:cubicBezTo>
                <a:close/>
                <a:moveTo>
                  <a:pt x="1469462" y="4682304"/>
                </a:moveTo>
                <a:cubicBezTo>
                  <a:pt x="1469462" y="4682304"/>
                  <a:pt x="1469772" y="4683027"/>
                  <a:pt x="1469617" y="4684059"/>
                </a:cubicBezTo>
                <a:cubicBezTo>
                  <a:pt x="1469617" y="4684059"/>
                  <a:pt x="1469307" y="4684059"/>
                  <a:pt x="1469153" y="4683853"/>
                </a:cubicBezTo>
                <a:cubicBezTo>
                  <a:pt x="1468843" y="4683646"/>
                  <a:pt x="1468688" y="4683234"/>
                  <a:pt x="1468688" y="4682717"/>
                </a:cubicBezTo>
                <a:cubicBezTo>
                  <a:pt x="1468688" y="4682717"/>
                  <a:pt x="1468843" y="4682717"/>
                  <a:pt x="1469462" y="4682304"/>
                </a:cubicBezTo>
                <a:close/>
                <a:moveTo>
                  <a:pt x="976582" y="4682304"/>
                </a:moveTo>
                <a:cubicBezTo>
                  <a:pt x="982623" y="4680136"/>
                  <a:pt x="988664" y="4680962"/>
                  <a:pt x="993621" y="4683853"/>
                </a:cubicBezTo>
                <a:cubicBezTo>
                  <a:pt x="1002140" y="4688603"/>
                  <a:pt x="1007871" y="4698722"/>
                  <a:pt x="1007097" y="4709254"/>
                </a:cubicBezTo>
                <a:cubicBezTo>
                  <a:pt x="1006013" y="4709460"/>
                  <a:pt x="1004773" y="4709770"/>
                  <a:pt x="1005238" y="4710906"/>
                </a:cubicBezTo>
                <a:cubicBezTo>
                  <a:pt x="1003379" y="4711422"/>
                  <a:pt x="1001521" y="4711629"/>
                  <a:pt x="999662" y="4711526"/>
                </a:cubicBezTo>
                <a:cubicBezTo>
                  <a:pt x="986496" y="4710700"/>
                  <a:pt x="972865" y="4695417"/>
                  <a:pt x="976582" y="4682304"/>
                </a:cubicBezTo>
                <a:close/>
                <a:moveTo>
                  <a:pt x="1792731" y="4681891"/>
                </a:moveTo>
                <a:cubicBezTo>
                  <a:pt x="1792731" y="4681891"/>
                  <a:pt x="1792731" y="4681891"/>
                  <a:pt x="1793660" y="4682820"/>
                </a:cubicBezTo>
                <a:cubicBezTo>
                  <a:pt x="1792111" y="4686950"/>
                  <a:pt x="1794125" y="4691287"/>
                  <a:pt x="1791646" y="4695417"/>
                </a:cubicBezTo>
                <a:cubicBezTo>
                  <a:pt x="1790717" y="4694488"/>
                  <a:pt x="1788858" y="4691804"/>
                  <a:pt x="1790562" y="4689429"/>
                </a:cubicBezTo>
                <a:cubicBezTo>
                  <a:pt x="1792111" y="4686950"/>
                  <a:pt x="1791182" y="4684369"/>
                  <a:pt x="1792731" y="4681891"/>
                </a:cubicBezTo>
                <a:close/>
                <a:moveTo>
                  <a:pt x="6427528" y="4680463"/>
                </a:moveTo>
                <a:cubicBezTo>
                  <a:pt x="6430781" y="4681599"/>
                  <a:pt x="6432485" y="4683664"/>
                  <a:pt x="6433879" y="4684800"/>
                </a:cubicBezTo>
                <a:cubicBezTo>
                  <a:pt x="6432950" y="4687175"/>
                  <a:pt x="6432795" y="4689034"/>
                  <a:pt x="6431710" y="4691408"/>
                </a:cubicBezTo>
                <a:cubicBezTo>
                  <a:pt x="6429542" y="4692957"/>
                  <a:pt x="6427683" y="4693370"/>
                  <a:pt x="6426289" y="4692957"/>
                </a:cubicBezTo>
                <a:cubicBezTo>
                  <a:pt x="6424740" y="4692544"/>
                  <a:pt x="6423656" y="4691408"/>
                  <a:pt x="6423191" y="4689860"/>
                </a:cubicBezTo>
                <a:cubicBezTo>
                  <a:pt x="6422107" y="4686969"/>
                  <a:pt x="6423191" y="4682632"/>
                  <a:pt x="6427528" y="4680463"/>
                </a:cubicBezTo>
                <a:close/>
                <a:moveTo>
                  <a:pt x="1585170" y="4680239"/>
                </a:moveTo>
                <a:cubicBezTo>
                  <a:pt x="1586718" y="4680445"/>
                  <a:pt x="1588578" y="4679929"/>
                  <a:pt x="1590127" y="4681065"/>
                </a:cubicBezTo>
                <a:cubicBezTo>
                  <a:pt x="1591675" y="4683027"/>
                  <a:pt x="1590591" y="4687157"/>
                  <a:pt x="1589662" y="4688706"/>
                </a:cubicBezTo>
                <a:cubicBezTo>
                  <a:pt x="1588732" y="4689429"/>
                  <a:pt x="1587649" y="4689532"/>
                  <a:pt x="1586564" y="4689119"/>
                </a:cubicBezTo>
                <a:cubicBezTo>
                  <a:pt x="1585635" y="4688706"/>
                  <a:pt x="1584550" y="4687880"/>
                  <a:pt x="1583776" y="4686950"/>
                </a:cubicBezTo>
                <a:cubicBezTo>
                  <a:pt x="1583001" y="4686331"/>
                  <a:pt x="1582692" y="4685505"/>
                  <a:pt x="1582692" y="4684473"/>
                </a:cubicBezTo>
                <a:cubicBezTo>
                  <a:pt x="1582692" y="4683543"/>
                  <a:pt x="1583001" y="4682407"/>
                  <a:pt x="1583466" y="4681684"/>
                </a:cubicBezTo>
                <a:cubicBezTo>
                  <a:pt x="1584240" y="4680962"/>
                  <a:pt x="1584240" y="4680962"/>
                  <a:pt x="1585170" y="4680239"/>
                </a:cubicBezTo>
                <a:close/>
                <a:moveTo>
                  <a:pt x="1451339" y="4680239"/>
                </a:moveTo>
                <a:cubicBezTo>
                  <a:pt x="1451339" y="4680239"/>
                  <a:pt x="1451339" y="4680239"/>
                  <a:pt x="1451185" y="4681478"/>
                </a:cubicBezTo>
                <a:cubicBezTo>
                  <a:pt x="1449171" y="4681788"/>
                  <a:pt x="1447467" y="4682820"/>
                  <a:pt x="1445763" y="4683853"/>
                </a:cubicBezTo>
                <a:lnTo>
                  <a:pt x="1443904" y="4684369"/>
                </a:lnTo>
                <a:lnTo>
                  <a:pt x="1447622" y="4684989"/>
                </a:lnTo>
                <a:cubicBezTo>
                  <a:pt x="1449791" y="4685918"/>
                  <a:pt x="1451649" y="4687467"/>
                  <a:pt x="1453198" y="4689429"/>
                </a:cubicBezTo>
                <a:cubicBezTo>
                  <a:pt x="1456761" y="4693972"/>
                  <a:pt x="1457690" y="4701097"/>
                  <a:pt x="1452114" y="4709564"/>
                </a:cubicBezTo>
                <a:cubicBezTo>
                  <a:pt x="1443285" y="4710080"/>
                  <a:pt x="1435231" y="4706259"/>
                  <a:pt x="1432132" y="4700064"/>
                </a:cubicBezTo>
                <a:cubicBezTo>
                  <a:pt x="1431203" y="4697999"/>
                  <a:pt x="1430738" y="4695831"/>
                  <a:pt x="1431048" y="4693352"/>
                </a:cubicBezTo>
                <a:lnTo>
                  <a:pt x="1432132" y="4691391"/>
                </a:lnTo>
                <a:lnTo>
                  <a:pt x="1432287" y="4689222"/>
                </a:lnTo>
                <a:cubicBezTo>
                  <a:pt x="1431513" y="4687364"/>
                  <a:pt x="1431668" y="4684782"/>
                  <a:pt x="1432752" y="4683234"/>
                </a:cubicBezTo>
                <a:cubicBezTo>
                  <a:pt x="1434456" y="4681788"/>
                  <a:pt x="1436160" y="4682098"/>
                  <a:pt x="1436934" y="4683027"/>
                </a:cubicBezTo>
                <a:lnTo>
                  <a:pt x="1438173" y="4684989"/>
                </a:lnTo>
                <a:lnTo>
                  <a:pt x="1440497" y="4684059"/>
                </a:lnTo>
                <a:lnTo>
                  <a:pt x="1440806" y="4683234"/>
                </a:lnTo>
                <a:cubicBezTo>
                  <a:pt x="1441426" y="4682407"/>
                  <a:pt x="1442510" y="4681684"/>
                  <a:pt x="1443904" y="4681788"/>
                </a:cubicBezTo>
                <a:cubicBezTo>
                  <a:pt x="1447003" y="4682098"/>
                  <a:pt x="1448396" y="4680033"/>
                  <a:pt x="1451339" y="4680239"/>
                </a:cubicBezTo>
                <a:close/>
                <a:moveTo>
                  <a:pt x="1776409" y="4680084"/>
                </a:moveTo>
                <a:cubicBezTo>
                  <a:pt x="1780920" y="4681374"/>
                  <a:pt x="1785296" y="4684162"/>
                  <a:pt x="1787929" y="4686434"/>
                </a:cubicBezTo>
                <a:cubicBezTo>
                  <a:pt x="1784056" y="4686641"/>
                  <a:pt x="1780339" y="4687157"/>
                  <a:pt x="1776312" y="4686847"/>
                </a:cubicBezTo>
                <a:cubicBezTo>
                  <a:pt x="1772440" y="4686538"/>
                  <a:pt x="1768412" y="4685505"/>
                  <a:pt x="1764075" y="4682717"/>
                </a:cubicBezTo>
                <a:cubicBezTo>
                  <a:pt x="1767251" y="4679000"/>
                  <a:pt x="1771897" y="4678793"/>
                  <a:pt x="1776409" y="4680084"/>
                </a:cubicBezTo>
                <a:close/>
                <a:moveTo>
                  <a:pt x="1818134" y="4679206"/>
                </a:moveTo>
                <a:cubicBezTo>
                  <a:pt x="1822471" y="4684782"/>
                  <a:pt x="1817979" y="4690771"/>
                  <a:pt x="1815811" y="4695934"/>
                </a:cubicBezTo>
                <a:cubicBezTo>
                  <a:pt x="1821696" y="4696760"/>
                  <a:pt x="1830681" y="4696347"/>
                  <a:pt x="1830835" y="4703162"/>
                </a:cubicBezTo>
                <a:lnTo>
                  <a:pt x="1827118" y="4704917"/>
                </a:lnTo>
                <a:lnTo>
                  <a:pt x="1827428" y="4708118"/>
                </a:lnTo>
                <a:lnTo>
                  <a:pt x="1826654" y="4708944"/>
                </a:lnTo>
                <a:lnTo>
                  <a:pt x="1827428" y="4710183"/>
                </a:lnTo>
                <a:cubicBezTo>
                  <a:pt x="1827892" y="4710803"/>
                  <a:pt x="1828202" y="4711216"/>
                  <a:pt x="1828202" y="4711216"/>
                </a:cubicBezTo>
                <a:cubicBezTo>
                  <a:pt x="1827737" y="4712351"/>
                  <a:pt x="1827428" y="4712971"/>
                  <a:pt x="1826963" y="4713178"/>
                </a:cubicBezTo>
                <a:lnTo>
                  <a:pt x="1825569" y="4713074"/>
                </a:lnTo>
                <a:lnTo>
                  <a:pt x="1825104" y="4715140"/>
                </a:lnTo>
                <a:cubicBezTo>
                  <a:pt x="1823246" y="4714830"/>
                  <a:pt x="1819992" y="4712248"/>
                  <a:pt x="1820302" y="4710286"/>
                </a:cubicBezTo>
                <a:lnTo>
                  <a:pt x="1822316" y="4711009"/>
                </a:lnTo>
                <a:lnTo>
                  <a:pt x="1820768" y="4709564"/>
                </a:lnTo>
                <a:cubicBezTo>
                  <a:pt x="1819683" y="4707912"/>
                  <a:pt x="1818908" y="4705950"/>
                  <a:pt x="1819218" y="4704401"/>
                </a:cubicBezTo>
                <a:lnTo>
                  <a:pt x="1821387" y="4704401"/>
                </a:lnTo>
                <a:lnTo>
                  <a:pt x="1817204" y="4703368"/>
                </a:lnTo>
                <a:cubicBezTo>
                  <a:pt x="1815345" y="4702852"/>
                  <a:pt x="1813642" y="4702542"/>
                  <a:pt x="1811938" y="4702645"/>
                </a:cubicBezTo>
                <a:cubicBezTo>
                  <a:pt x="1809614" y="4703678"/>
                  <a:pt x="1809150" y="4706363"/>
                  <a:pt x="1806362" y="4706982"/>
                </a:cubicBezTo>
                <a:cubicBezTo>
                  <a:pt x="1805433" y="4707085"/>
                  <a:pt x="1804194" y="4707189"/>
                  <a:pt x="1802644" y="4706776"/>
                </a:cubicBezTo>
                <a:cubicBezTo>
                  <a:pt x="1803729" y="4696347"/>
                  <a:pt x="1806982" y="4688706"/>
                  <a:pt x="1812248" y="4683543"/>
                </a:cubicBezTo>
                <a:cubicBezTo>
                  <a:pt x="1813952" y="4681891"/>
                  <a:pt x="1815965" y="4680342"/>
                  <a:pt x="1818134" y="4679206"/>
                </a:cubicBezTo>
                <a:close/>
                <a:moveTo>
                  <a:pt x="6204168" y="4678811"/>
                </a:moveTo>
                <a:cubicBezTo>
                  <a:pt x="6205407" y="4679121"/>
                  <a:pt x="6205252" y="4679121"/>
                  <a:pt x="6206801" y="4681289"/>
                </a:cubicBezTo>
                <a:cubicBezTo>
                  <a:pt x="6205562" y="4680979"/>
                  <a:pt x="6205562" y="4680979"/>
                  <a:pt x="6205407" y="4682115"/>
                </a:cubicBezTo>
                <a:cubicBezTo>
                  <a:pt x="6205407" y="4682115"/>
                  <a:pt x="6205562" y="4682115"/>
                  <a:pt x="6206027" y="4682838"/>
                </a:cubicBezTo>
                <a:cubicBezTo>
                  <a:pt x="6205252" y="4683251"/>
                  <a:pt x="6204787" y="4682529"/>
                  <a:pt x="6204168" y="4683045"/>
                </a:cubicBezTo>
                <a:cubicBezTo>
                  <a:pt x="6204168" y="4683045"/>
                  <a:pt x="6203703" y="4682322"/>
                  <a:pt x="6203703" y="4682322"/>
                </a:cubicBezTo>
                <a:cubicBezTo>
                  <a:pt x="6203394" y="4682529"/>
                  <a:pt x="6203394" y="4682529"/>
                  <a:pt x="6203394" y="4682219"/>
                </a:cubicBezTo>
                <a:cubicBezTo>
                  <a:pt x="6203548" y="4681909"/>
                  <a:pt x="6203548" y="4681393"/>
                  <a:pt x="6203394" y="4680463"/>
                </a:cubicBezTo>
                <a:cubicBezTo>
                  <a:pt x="6203548" y="4679224"/>
                  <a:pt x="6203083" y="4678501"/>
                  <a:pt x="6204168" y="4678811"/>
                </a:cubicBezTo>
                <a:close/>
                <a:moveTo>
                  <a:pt x="6621458" y="4678295"/>
                </a:moveTo>
                <a:cubicBezTo>
                  <a:pt x="6624401" y="4694403"/>
                  <a:pt x="6638342" y="4680257"/>
                  <a:pt x="6641285" y="4692647"/>
                </a:cubicBezTo>
                <a:cubicBezTo>
                  <a:pt x="6640201" y="4697707"/>
                  <a:pt x="6640820" y="4703489"/>
                  <a:pt x="6637722" y="4708446"/>
                </a:cubicBezTo>
                <a:cubicBezTo>
                  <a:pt x="6636793" y="4710098"/>
                  <a:pt x="6635399" y="4711646"/>
                  <a:pt x="6633385" y="4712989"/>
                </a:cubicBezTo>
                <a:cubicBezTo>
                  <a:pt x="6630133" y="4706897"/>
                  <a:pt x="6626415" y="4702560"/>
                  <a:pt x="6622543" y="4698430"/>
                </a:cubicBezTo>
                <a:lnTo>
                  <a:pt x="6621303" y="4697294"/>
                </a:lnTo>
                <a:lnTo>
                  <a:pt x="6621303" y="4698327"/>
                </a:lnTo>
                <a:cubicBezTo>
                  <a:pt x="6619290" y="4699463"/>
                  <a:pt x="6616657" y="4702354"/>
                  <a:pt x="6613094" y="4702973"/>
                </a:cubicBezTo>
                <a:cubicBezTo>
                  <a:pt x="6605969" y="4698946"/>
                  <a:pt x="6604575" y="4693061"/>
                  <a:pt x="6606743" y="4686555"/>
                </a:cubicBezTo>
                <a:lnTo>
                  <a:pt x="6611080" y="4685730"/>
                </a:lnTo>
                <a:lnTo>
                  <a:pt x="6614023" y="4682115"/>
                </a:lnTo>
                <a:cubicBezTo>
                  <a:pt x="6615727" y="4680773"/>
                  <a:pt x="6618205" y="4679534"/>
                  <a:pt x="6621458" y="4678295"/>
                </a:cubicBezTo>
                <a:close/>
                <a:moveTo>
                  <a:pt x="5924890" y="4678192"/>
                </a:moveTo>
                <a:cubicBezTo>
                  <a:pt x="5926749" y="4678914"/>
                  <a:pt x="5927678" y="4679740"/>
                  <a:pt x="5929382" y="4680463"/>
                </a:cubicBezTo>
                <a:cubicBezTo>
                  <a:pt x="5929846" y="4683045"/>
                  <a:pt x="5932634" y="4685523"/>
                  <a:pt x="5930001" y="4690892"/>
                </a:cubicBezTo>
                <a:cubicBezTo>
                  <a:pt x="5926594" y="4696365"/>
                  <a:pt x="5921017" y="4692338"/>
                  <a:pt x="5921172" y="4693164"/>
                </a:cubicBezTo>
                <a:cubicBezTo>
                  <a:pt x="5920398" y="4694093"/>
                  <a:pt x="5920398" y="4694093"/>
                  <a:pt x="5920552" y="4695022"/>
                </a:cubicBezTo>
                <a:cubicBezTo>
                  <a:pt x="5919623" y="4695022"/>
                  <a:pt x="5918074" y="4695952"/>
                  <a:pt x="5917455" y="4696881"/>
                </a:cubicBezTo>
                <a:cubicBezTo>
                  <a:pt x="5917300" y="4695952"/>
                  <a:pt x="5917145" y="4695126"/>
                  <a:pt x="5916370" y="4695229"/>
                </a:cubicBezTo>
                <a:cubicBezTo>
                  <a:pt x="5917764" y="4693370"/>
                  <a:pt x="5918539" y="4693370"/>
                  <a:pt x="5919313" y="4692441"/>
                </a:cubicBezTo>
                <a:cubicBezTo>
                  <a:pt x="5918539" y="4692441"/>
                  <a:pt x="5919159" y="4691615"/>
                  <a:pt x="5919159" y="4691615"/>
                </a:cubicBezTo>
                <a:cubicBezTo>
                  <a:pt x="5919159" y="4691615"/>
                  <a:pt x="5919159" y="4691512"/>
                  <a:pt x="5917300" y="4689860"/>
                </a:cubicBezTo>
                <a:cubicBezTo>
                  <a:pt x="5917300" y="4689860"/>
                  <a:pt x="5913273" y="4685730"/>
                  <a:pt x="5916061" y="4681289"/>
                </a:cubicBezTo>
                <a:cubicBezTo>
                  <a:pt x="5916990" y="4682115"/>
                  <a:pt x="5921327" y="4676643"/>
                  <a:pt x="5924890" y="4678192"/>
                </a:cubicBezTo>
                <a:close/>
                <a:moveTo>
                  <a:pt x="1089037" y="4677554"/>
                </a:moveTo>
                <a:lnTo>
                  <a:pt x="1089811" y="4679619"/>
                </a:lnTo>
                <a:lnTo>
                  <a:pt x="1090586" y="4679103"/>
                </a:lnTo>
                <a:cubicBezTo>
                  <a:pt x="1093839" y="4679826"/>
                  <a:pt x="1096007" y="4682201"/>
                  <a:pt x="1096317" y="4684782"/>
                </a:cubicBezTo>
                <a:lnTo>
                  <a:pt x="1095388" y="4688293"/>
                </a:lnTo>
                <a:lnTo>
                  <a:pt x="1099880" y="4691701"/>
                </a:lnTo>
                <a:cubicBezTo>
                  <a:pt x="1101274" y="4692940"/>
                  <a:pt x="1102668" y="4694178"/>
                  <a:pt x="1103752" y="4695624"/>
                </a:cubicBezTo>
                <a:cubicBezTo>
                  <a:pt x="1105301" y="4697586"/>
                  <a:pt x="1106230" y="4699858"/>
                  <a:pt x="1106230" y="4702955"/>
                </a:cubicBezTo>
                <a:cubicBezTo>
                  <a:pt x="1106695" y="4716585"/>
                  <a:pt x="1094303" y="4724019"/>
                  <a:pt x="1083926" y="4723297"/>
                </a:cubicBezTo>
                <a:cubicBezTo>
                  <a:pt x="1077729" y="4722884"/>
                  <a:pt x="1071998" y="4719579"/>
                  <a:pt x="1070295" y="4712765"/>
                </a:cubicBezTo>
                <a:cubicBezTo>
                  <a:pt x="1069675" y="4710183"/>
                  <a:pt x="1069520" y="4707085"/>
                  <a:pt x="1070140" y="4703472"/>
                </a:cubicBezTo>
                <a:cubicBezTo>
                  <a:pt x="1072463" y="4693662"/>
                  <a:pt x="1081912" y="4688396"/>
                  <a:pt x="1089037" y="4677554"/>
                </a:cubicBezTo>
                <a:close/>
                <a:moveTo>
                  <a:pt x="6273871" y="4676953"/>
                </a:moveTo>
                <a:lnTo>
                  <a:pt x="6274491" y="4678914"/>
                </a:lnTo>
                <a:lnTo>
                  <a:pt x="6274955" y="4678398"/>
                </a:lnTo>
                <a:cubicBezTo>
                  <a:pt x="6276195" y="4677366"/>
                  <a:pt x="6277434" y="4676746"/>
                  <a:pt x="6279138" y="4677263"/>
                </a:cubicBezTo>
                <a:cubicBezTo>
                  <a:pt x="6278363" y="4677882"/>
                  <a:pt x="6277434" y="4678811"/>
                  <a:pt x="6276350" y="4679740"/>
                </a:cubicBezTo>
                <a:lnTo>
                  <a:pt x="6275110" y="4680670"/>
                </a:lnTo>
                <a:lnTo>
                  <a:pt x="6275885" y="4683045"/>
                </a:lnTo>
                <a:cubicBezTo>
                  <a:pt x="6275730" y="4685110"/>
                  <a:pt x="6274801" y="4687175"/>
                  <a:pt x="6272787" y="4689137"/>
                </a:cubicBezTo>
                <a:cubicBezTo>
                  <a:pt x="6268605" y="4689653"/>
                  <a:pt x="6266901" y="4684284"/>
                  <a:pt x="6265817" y="4681599"/>
                </a:cubicBezTo>
                <a:cubicBezTo>
                  <a:pt x="6268605" y="4679224"/>
                  <a:pt x="6271393" y="4676746"/>
                  <a:pt x="6273871" y="4676953"/>
                </a:cubicBezTo>
                <a:close/>
                <a:moveTo>
                  <a:pt x="1438483" y="4676832"/>
                </a:moveTo>
                <a:cubicBezTo>
                  <a:pt x="1438328" y="4677967"/>
                  <a:pt x="1437864" y="4681478"/>
                  <a:pt x="1437864" y="4681478"/>
                </a:cubicBezTo>
                <a:cubicBezTo>
                  <a:pt x="1438328" y="4682304"/>
                  <a:pt x="1438328" y="4682304"/>
                  <a:pt x="1438173" y="4683440"/>
                </a:cubicBezTo>
                <a:cubicBezTo>
                  <a:pt x="1436934" y="4683130"/>
                  <a:pt x="1436934" y="4683130"/>
                  <a:pt x="1436469" y="4682407"/>
                </a:cubicBezTo>
                <a:cubicBezTo>
                  <a:pt x="1436624" y="4681272"/>
                  <a:pt x="1437399" y="4680755"/>
                  <a:pt x="1437554" y="4679619"/>
                </a:cubicBezTo>
                <a:cubicBezTo>
                  <a:pt x="1435231" y="4679000"/>
                  <a:pt x="1435695" y="4679723"/>
                  <a:pt x="1435850" y="4678587"/>
                </a:cubicBezTo>
                <a:cubicBezTo>
                  <a:pt x="1435850" y="4678587"/>
                  <a:pt x="1435850" y="4678587"/>
                  <a:pt x="1436005" y="4677348"/>
                </a:cubicBezTo>
                <a:cubicBezTo>
                  <a:pt x="1436005" y="4677348"/>
                  <a:pt x="1435540" y="4676625"/>
                  <a:pt x="1438483" y="4676832"/>
                </a:cubicBezTo>
                <a:close/>
                <a:moveTo>
                  <a:pt x="1123888" y="4676418"/>
                </a:moveTo>
                <a:lnTo>
                  <a:pt x="1127296" y="4677348"/>
                </a:lnTo>
                <a:cubicBezTo>
                  <a:pt x="1127141" y="4678587"/>
                  <a:pt x="1126212" y="4680239"/>
                  <a:pt x="1125128" y="4679929"/>
                </a:cubicBezTo>
                <a:cubicBezTo>
                  <a:pt x="1124198" y="4679929"/>
                  <a:pt x="1123888" y="4679516"/>
                  <a:pt x="1123888" y="4678897"/>
                </a:cubicBezTo>
                <a:cubicBezTo>
                  <a:pt x="1123888" y="4678277"/>
                  <a:pt x="1124044" y="4677348"/>
                  <a:pt x="1123888" y="4676418"/>
                </a:cubicBezTo>
                <a:close/>
                <a:moveTo>
                  <a:pt x="6369442" y="4675817"/>
                </a:moveTo>
                <a:cubicBezTo>
                  <a:pt x="6371146" y="4676540"/>
                  <a:pt x="6371765" y="4685730"/>
                  <a:pt x="6367738" y="4685007"/>
                </a:cubicBezTo>
                <a:cubicBezTo>
                  <a:pt x="6366964" y="4684697"/>
                  <a:pt x="6366499" y="4683974"/>
                  <a:pt x="6366344" y="4683045"/>
                </a:cubicBezTo>
                <a:cubicBezTo>
                  <a:pt x="6365880" y="4680463"/>
                  <a:pt x="6368048" y="4676230"/>
                  <a:pt x="6369442" y="4675817"/>
                </a:cubicBezTo>
                <a:close/>
                <a:moveTo>
                  <a:pt x="1231542" y="4675592"/>
                </a:moveTo>
                <a:cubicBezTo>
                  <a:pt x="1238202" y="4673424"/>
                  <a:pt x="1245172" y="4682717"/>
                  <a:pt x="1240216" y="4690771"/>
                </a:cubicBezTo>
                <a:cubicBezTo>
                  <a:pt x="1239132" y="4691184"/>
                  <a:pt x="1238047" y="4691391"/>
                  <a:pt x="1236808" y="4691287"/>
                </a:cubicBezTo>
                <a:cubicBezTo>
                  <a:pt x="1233400" y="4691081"/>
                  <a:pt x="1229528" y="4688603"/>
                  <a:pt x="1227359" y="4685815"/>
                </a:cubicBezTo>
                <a:lnTo>
                  <a:pt x="1226585" y="4684266"/>
                </a:lnTo>
                <a:lnTo>
                  <a:pt x="1223177" y="4685815"/>
                </a:lnTo>
                <a:cubicBezTo>
                  <a:pt x="1223177" y="4685195"/>
                  <a:pt x="1223332" y="4684885"/>
                  <a:pt x="1223797" y="4684576"/>
                </a:cubicBezTo>
                <a:cubicBezTo>
                  <a:pt x="1224262" y="4684369"/>
                  <a:pt x="1224881" y="4684163"/>
                  <a:pt x="1225501" y="4683956"/>
                </a:cubicBezTo>
                <a:lnTo>
                  <a:pt x="1226275" y="4683749"/>
                </a:lnTo>
                <a:lnTo>
                  <a:pt x="1225501" y="4681994"/>
                </a:lnTo>
                <a:cubicBezTo>
                  <a:pt x="1227204" y="4678277"/>
                  <a:pt x="1229373" y="4676315"/>
                  <a:pt x="1231542" y="4675592"/>
                </a:cubicBezTo>
                <a:close/>
                <a:moveTo>
                  <a:pt x="6126410" y="4675507"/>
                </a:moveTo>
                <a:cubicBezTo>
                  <a:pt x="6129043" y="4680154"/>
                  <a:pt x="6125171" y="4685523"/>
                  <a:pt x="6120989" y="4686245"/>
                </a:cubicBezTo>
                <a:cubicBezTo>
                  <a:pt x="6119439" y="4686555"/>
                  <a:pt x="6118046" y="4686349"/>
                  <a:pt x="6116806" y="4685420"/>
                </a:cubicBezTo>
                <a:cubicBezTo>
                  <a:pt x="6113089" y="4679224"/>
                  <a:pt x="6121298" y="4673545"/>
                  <a:pt x="6126410" y="4675507"/>
                </a:cubicBezTo>
                <a:close/>
                <a:moveTo>
                  <a:pt x="1434611" y="4675076"/>
                </a:moveTo>
                <a:cubicBezTo>
                  <a:pt x="1436315" y="4674973"/>
                  <a:pt x="1434921" y="4677038"/>
                  <a:pt x="1436005" y="4677348"/>
                </a:cubicBezTo>
                <a:cubicBezTo>
                  <a:pt x="1429654" y="4679413"/>
                  <a:pt x="1426092" y="4683956"/>
                  <a:pt x="1426092" y="4683956"/>
                </a:cubicBezTo>
                <a:cubicBezTo>
                  <a:pt x="1424233" y="4684059"/>
                  <a:pt x="1423613" y="4683440"/>
                  <a:pt x="1424233" y="4684163"/>
                </a:cubicBezTo>
                <a:cubicBezTo>
                  <a:pt x="1421909" y="4683543"/>
                  <a:pt x="1418811" y="4683337"/>
                  <a:pt x="1418502" y="4681478"/>
                </a:cubicBezTo>
                <a:cubicBezTo>
                  <a:pt x="1418967" y="4674767"/>
                  <a:pt x="1430274" y="4675799"/>
                  <a:pt x="1432752" y="4675282"/>
                </a:cubicBezTo>
                <a:cubicBezTo>
                  <a:pt x="1432752" y="4675282"/>
                  <a:pt x="1433371" y="4674870"/>
                  <a:pt x="1434611" y="4675076"/>
                </a:cubicBezTo>
                <a:close/>
                <a:moveTo>
                  <a:pt x="1146194" y="4675076"/>
                </a:moveTo>
                <a:cubicBezTo>
                  <a:pt x="1148517" y="4675489"/>
                  <a:pt x="1149911" y="4676728"/>
                  <a:pt x="1150531" y="4678483"/>
                </a:cubicBezTo>
                <a:lnTo>
                  <a:pt x="1150841" y="4682407"/>
                </a:lnTo>
                <a:lnTo>
                  <a:pt x="1152234" y="4681272"/>
                </a:lnTo>
                <a:cubicBezTo>
                  <a:pt x="1154094" y="4680239"/>
                  <a:pt x="1154868" y="4681994"/>
                  <a:pt x="1156262" y="4684782"/>
                </a:cubicBezTo>
                <a:cubicBezTo>
                  <a:pt x="1154713" y="4685918"/>
                  <a:pt x="1153629" y="4686228"/>
                  <a:pt x="1152699" y="4685918"/>
                </a:cubicBezTo>
                <a:lnTo>
                  <a:pt x="1150996" y="4684369"/>
                </a:lnTo>
                <a:lnTo>
                  <a:pt x="1150996" y="4685092"/>
                </a:lnTo>
                <a:cubicBezTo>
                  <a:pt x="1149292" y="4685402"/>
                  <a:pt x="1148053" y="4686331"/>
                  <a:pt x="1146194" y="4686641"/>
                </a:cubicBezTo>
                <a:lnTo>
                  <a:pt x="1144799" y="4688912"/>
                </a:lnTo>
                <a:cubicBezTo>
                  <a:pt x="1141857" y="4687157"/>
                  <a:pt x="1141237" y="4682717"/>
                  <a:pt x="1142476" y="4679619"/>
                </a:cubicBezTo>
                <a:lnTo>
                  <a:pt x="1142941" y="4678793"/>
                </a:lnTo>
                <a:lnTo>
                  <a:pt x="1142941" y="4676418"/>
                </a:lnTo>
                <a:cubicBezTo>
                  <a:pt x="1143560" y="4675489"/>
                  <a:pt x="1144645" y="4674973"/>
                  <a:pt x="1146194" y="4675076"/>
                </a:cubicBezTo>
                <a:close/>
                <a:moveTo>
                  <a:pt x="1022896" y="4674973"/>
                </a:moveTo>
                <a:cubicBezTo>
                  <a:pt x="1027388" y="4673269"/>
                  <a:pt x="1032500" y="4673372"/>
                  <a:pt x="1035443" y="4677141"/>
                </a:cubicBezTo>
                <a:cubicBezTo>
                  <a:pt x="1030022" y="4679413"/>
                  <a:pt x="1024600" y="4680858"/>
                  <a:pt x="1018714" y="4686538"/>
                </a:cubicBezTo>
                <a:cubicBezTo>
                  <a:pt x="1017320" y="4684473"/>
                  <a:pt x="1015461" y="4686641"/>
                  <a:pt x="1014067" y="4683646"/>
                </a:cubicBezTo>
                <a:cubicBezTo>
                  <a:pt x="1014532" y="4680187"/>
                  <a:pt x="1018404" y="4676676"/>
                  <a:pt x="1022896" y="4674973"/>
                </a:cubicBezTo>
                <a:close/>
                <a:moveTo>
                  <a:pt x="1405335" y="4674870"/>
                </a:moveTo>
                <a:cubicBezTo>
                  <a:pt x="1416023" y="4676418"/>
                  <a:pt x="1416178" y="4679619"/>
                  <a:pt x="1417727" y="4686331"/>
                </a:cubicBezTo>
                <a:cubicBezTo>
                  <a:pt x="1417262" y="4685505"/>
                  <a:pt x="1416953" y="4686744"/>
                  <a:pt x="1416953" y="4686744"/>
                </a:cubicBezTo>
                <a:cubicBezTo>
                  <a:pt x="1416643" y="4689119"/>
                  <a:pt x="1421290" y="4687157"/>
                  <a:pt x="1421444" y="4690358"/>
                </a:cubicBezTo>
                <a:cubicBezTo>
                  <a:pt x="1421135" y="4695417"/>
                  <a:pt x="1415403" y="4697379"/>
                  <a:pt x="1412306" y="4698206"/>
                </a:cubicBezTo>
                <a:lnTo>
                  <a:pt x="1411686" y="4698309"/>
                </a:lnTo>
                <a:lnTo>
                  <a:pt x="1410912" y="4699135"/>
                </a:lnTo>
                <a:lnTo>
                  <a:pt x="1411067" y="4699341"/>
                </a:lnTo>
                <a:lnTo>
                  <a:pt x="1410757" y="4699341"/>
                </a:lnTo>
                <a:lnTo>
                  <a:pt x="1409208" y="4700787"/>
                </a:lnTo>
                <a:lnTo>
                  <a:pt x="1408124" y="4699548"/>
                </a:lnTo>
                <a:lnTo>
                  <a:pt x="1405490" y="4699238"/>
                </a:lnTo>
                <a:cubicBezTo>
                  <a:pt x="1404716" y="4698928"/>
                  <a:pt x="1404251" y="4698309"/>
                  <a:pt x="1404406" y="4697173"/>
                </a:cubicBezTo>
                <a:cubicBezTo>
                  <a:pt x="1404096" y="4695211"/>
                  <a:pt x="1406110" y="4695108"/>
                  <a:pt x="1406419" y="4692630"/>
                </a:cubicBezTo>
                <a:cubicBezTo>
                  <a:pt x="1406419" y="4690461"/>
                  <a:pt x="1404251" y="4689119"/>
                  <a:pt x="1402237" y="4687260"/>
                </a:cubicBezTo>
                <a:lnTo>
                  <a:pt x="1400069" y="4684782"/>
                </a:lnTo>
                <a:lnTo>
                  <a:pt x="1400379" y="4685918"/>
                </a:lnTo>
                <a:cubicBezTo>
                  <a:pt x="1400844" y="4690048"/>
                  <a:pt x="1399449" y="4695624"/>
                  <a:pt x="1394492" y="4696760"/>
                </a:cubicBezTo>
                <a:cubicBezTo>
                  <a:pt x="1392634" y="4692733"/>
                  <a:pt x="1392944" y="4689945"/>
                  <a:pt x="1394183" y="4687777"/>
                </a:cubicBezTo>
                <a:lnTo>
                  <a:pt x="1399139" y="4682717"/>
                </a:lnTo>
                <a:lnTo>
                  <a:pt x="1398055" y="4678587"/>
                </a:lnTo>
                <a:cubicBezTo>
                  <a:pt x="1400379" y="4679206"/>
                  <a:pt x="1401773" y="4673940"/>
                  <a:pt x="1405335" y="4674870"/>
                </a:cubicBezTo>
                <a:close/>
                <a:moveTo>
                  <a:pt x="6656620" y="4674474"/>
                </a:moveTo>
                <a:cubicBezTo>
                  <a:pt x="6661112" y="4683768"/>
                  <a:pt x="6655071" y="4686142"/>
                  <a:pt x="6657549" y="4691408"/>
                </a:cubicBezTo>
                <a:cubicBezTo>
                  <a:pt x="6655690" y="4691305"/>
                  <a:pt x="6655690" y="4691305"/>
                  <a:pt x="6654451" y="4689653"/>
                </a:cubicBezTo>
                <a:cubicBezTo>
                  <a:pt x="6654761" y="4688827"/>
                  <a:pt x="6653986" y="4688414"/>
                  <a:pt x="6655225" y="4688104"/>
                </a:cubicBezTo>
                <a:cubicBezTo>
                  <a:pt x="6653522" y="4685213"/>
                  <a:pt x="6654451" y="4677056"/>
                  <a:pt x="6656620" y="4674474"/>
                </a:cubicBezTo>
                <a:close/>
                <a:moveTo>
                  <a:pt x="1211870" y="4674457"/>
                </a:moveTo>
                <a:cubicBezTo>
                  <a:pt x="1214813" y="4675489"/>
                  <a:pt x="1216827" y="4674044"/>
                  <a:pt x="1221164" y="4676522"/>
                </a:cubicBezTo>
                <a:cubicBezTo>
                  <a:pt x="1219769" y="4684163"/>
                  <a:pt x="1219460" y="4691701"/>
                  <a:pt x="1219150" y="4698928"/>
                </a:cubicBezTo>
                <a:lnTo>
                  <a:pt x="1218066" y="4710390"/>
                </a:lnTo>
                <a:lnTo>
                  <a:pt x="1221318" y="4710390"/>
                </a:lnTo>
                <a:cubicBezTo>
                  <a:pt x="1225501" y="4710906"/>
                  <a:pt x="1229373" y="4712248"/>
                  <a:pt x="1232935" y="4714107"/>
                </a:cubicBezTo>
                <a:lnTo>
                  <a:pt x="1235879" y="4716172"/>
                </a:lnTo>
                <a:lnTo>
                  <a:pt x="1237428" y="4715862"/>
                </a:lnTo>
                <a:lnTo>
                  <a:pt x="1238666" y="4715862"/>
                </a:lnTo>
                <a:lnTo>
                  <a:pt x="1238977" y="4715656"/>
                </a:lnTo>
                <a:cubicBezTo>
                  <a:pt x="1239596" y="4715346"/>
                  <a:pt x="1240061" y="4715140"/>
                  <a:pt x="1240061" y="4715140"/>
                </a:cubicBezTo>
                <a:cubicBezTo>
                  <a:pt x="1240835" y="4715966"/>
                  <a:pt x="1240680" y="4715966"/>
                  <a:pt x="1239906" y="4715966"/>
                </a:cubicBezTo>
                <a:lnTo>
                  <a:pt x="1239751" y="4716069"/>
                </a:lnTo>
                <a:lnTo>
                  <a:pt x="1242384" y="4716379"/>
                </a:lnTo>
                <a:cubicBezTo>
                  <a:pt x="1242075" y="4718547"/>
                  <a:pt x="1240990" y="4720612"/>
                  <a:pt x="1239906" y="4722574"/>
                </a:cubicBezTo>
                <a:lnTo>
                  <a:pt x="1236343" y="4728046"/>
                </a:lnTo>
                <a:lnTo>
                  <a:pt x="1235879" y="4723710"/>
                </a:lnTo>
                <a:cubicBezTo>
                  <a:pt x="1234950" y="4723710"/>
                  <a:pt x="1234020" y="4724536"/>
                  <a:pt x="1234020" y="4724536"/>
                </a:cubicBezTo>
                <a:lnTo>
                  <a:pt x="1233555" y="4721954"/>
                </a:lnTo>
                <a:lnTo>
                  <a:pt x="1232161" y="4722161"/>
                </a:lnTo>
                <a:lnTo>
                  <a:pt x="1226740" y="4721335"/>
                </a:lnTo>
                <a:lnTo>
                  <a:pt x="1226740" y="4722780"/>
                </a:lnTo>
                <a:lnTo>
                  <a:pt x="1230612" y="4724329"/>
                </a:lnTo>
                <a:lnTo>
                  <a:pt x="1236343" y="4728046"/>
                </a:lnTo>
                <a:lnTo>
                  <a:pt x="1237428" y="4728769"/>
                </a:lnTo>
                <a:cubicBezTo>
                  <a:pt x="1239906" y="4730215"/>
                  <a:pt x="1242384" y="4731764"/>
                  <a:pt x="1245327" y="4732900"/>
                </a:cubicBezTo>
                <a:cubicBezTo>
                  <a:pt x="1243004" y="4743948"/>
                  <a:pt x="1248580" y="4746736"/>
                  <a:pt x="1251523" y="4751796"/>
                </a:cubicBezTo>
                <a:cubicBezTo>
                  <a:pt x="1246566" y="4758404"/>
                  <a:pt x="1246102" y="4768833"/>
                  <a:pt x="1242694" y="4777403"/>
                </a:cubicBezTo>
                <a:cubicBezTo>
                  <a:pt x="1232781" y="4781946"/>
                  <a:pt x="1225655" y="4788451"/>
                  <a:pt x="1215588" y="4793098"/>
                </a:cubicBezTo>
                <a:cubicBezTo>
                  <a:pt x="1213419" y="4791446"/>
                  <a:pt x="1210631" y="4790516"/>
                  <a:pt x="1207687" y="4789690"/>
                </a:cubicBezTo>
                <a:lnTo>
                  <a:pt x="1201182" y="4788245"/>
                </a:lnTo>
                <a:lnTo>
                  <a:pt x="1202266" y="4792066"/>
                </a:lnTo>
                <a:cubicBezTo>
                  <a:pt x="1203041" y="4793511"/>
                  <a:pt x="1203660" y="4795163"/>
                  <a:pt x="1203506" y="4798571"/>
                </a:cubicBezTo>
                <a:cubicBezTo>
                  <a:pt x="1203350" y="4807244"/>
                  <a:pt x="1197619" y="4808793"/>
                  <a:pt x="1193437" y="4808380"/>
                </a:cubicBezTo>
                <a:cubicBezTo>
                  <a:pt x="1193592" y="4808173"/>
                  <a:pt x="1193127" y="4807967"/>
                  <a:pt x="1192663" y="4807760"/>
                </a:cubicBezTo>
                <a:lnTo>
                  <a:pt x="1190959" y="4806935"/>
                </a:lnTo>
                <a:lnTo>
                  <a:pt x="1188325" y="4808070"/>
                </a:lnTo>
                <a:cubicBezTo>
                  <a:pt x="1187552" y="4807967"/>
                  <a:pt x="1186777" y="4807450"/>
                  <a:pt x="1185692" y="4806728"/>
                </a:cubicBezTo>
                <a:cubicBezTo>
                  <a:pt x="1184918" y="4806728"/>
                  <a:pt x="1183678" y="4803320"/>
                  <a:pt x="1184298" y="4802391"/>
                </a:cubicBezTo>
                <a:lnTo>
                  <a:pt x="1184918" y="4801668"/>
                </a:lnTo>
                <a:lnTo>
                  <a:pt x="1183678" y="4796506"/>
                </a:lnTo>
                <a:cubicBezTo>
                  <a:pt x="1183678" y="4795370"/>
                  <a:pt x="1183988" y="4794337"/>
                  <a:pt x="1184143" y="4793305"/>
                </a:cubicBezTo>
                <a:cubicBezTo>
                  <a:pt x="1183833" y="4795060"/>
                  <a:pt x="1183369" y="4797022"/>
                  <a:pt x="1182904" y="4798261"/>
                </a:cubicBezTo>
                <a:lnTo>
                  <a:pt x="1182130" y="4800016"/>
                </a:lnTo>
                <a:lnTo>
                  <a:pt x="1183059" y="4800016"/>
                </a:lnTo>
                <a:lnTo>
                  <a:pt x="1181975" y="4800945"/>
                </a:lnTo>
                <a:lnTo>
                  <a:pt x="1181975" y="4801152"/>
                </a:lnTo>
                <a:cubicBezTo>
                  <a:pt x="1181045" y="4801152"/>
                  <a:pt x="1181045" y="4801978"/>
                  <a:pt x="1181820" y="4801978"/>
                </a:cubicBezTo>
                <a:cubicBezTo>
                  <a:pt x="1180890" y="4803217"/>
                  <a:pt x="1180116" y="4804353"/>
                  <a:pt x="1179496" y="4804869"/>
                </a:cubicBezTo>
                <a:lnTo>
                  <a:pt x="1178722" y="4804766"/>
                </a:lnTo>
                <a:lnTo>
                  <a:pt x="1178722" y="4809619"/>
                </a:lnTo>
                <a:lnTo>
                  <a:pt x="1178567" y="4810961"/>
                </a:lnTo>
                <a:lnTo>
                  <a:pt x="1179031" y="4811374"/>
                </a:lnTo>
                <a:lnTo>
                  <a:pt x="1178412" y="4812097"/>
                </a:lnTo>
                <a:lnTo>
                  <a:pt x="1177638" y="4816434"/>
                </a:lnTo>
                <a:cubicBezTo>
                  <a:pt x="1176863" y="4818292"/>
                  <a:pt x="1175779" y="4819532"/>
                  <a:pt x="1173920" y="4819738"/>
                </a:cubicBezTo>
                <a:lnTo>
                  <a:pt x="1173146" y="4813956"/>
                </a:lnTo>
                <a:lnTo>
                  <a:pt x="1172836" y="4813543"/>
                </a:lnTo>
                <a:lnTo>
                  <a:pt x="1172991" y="4813233"/>
                </a:lnTo>
                <a:lnTo>
                  <a:pt x="1172371" y="4806315"/>
                </a:lnTo>
                <a:lnTo>
                  <a:pt x="1173455" y="4799810"/>
                </a:lnTo>
                <a:lnTo>
                  <a:pt x="1172526" y="4799603"/>
                </a:lnTo>
                <a:cubicBezTo>
                  <a:pt x="1169274" y="4800119"/>
                  <a:pt x="1164937" y="4803011"/>
                  <a:pt x="1160289" y="4798983"/>
                </a:cubicBezTo>
                <a:cubicBezTo>
                  <a:pt x="1162148" y="4797332"/>
                  <a:pt x="1159205" y="4792891"/>
                  <a:pt x="1161993" y="4790310"/>
                </a:cubicBezTo>
                <a:cubicBezTo>
                  <a:pt x="1167724" y="4783908"/>
                  <a:pt x="1170357" y="4783288"/>
                  <a:pt x="1173765" y="4784528"/>
                </a:cubicBezTo>
                <a:lnTo>
                  <a:pt x="1174076" y="4784631"/>
                </a:lnTo>
                <a:lnTo>
                  <a:pt x="1179031" y="4784631"/>
                </a:lnTo>
                <a:lnTo>
                  <a:pt x="1179806" y="4786283"/>
                </a:lnTo>
                <a:cubicBezTo>
                  <a:pt x="1180581" y="4785457"/>
                  <a:pt x="1181510" y="4784528"/>
                  <a:pt x="1182749" y="4785457"/>
                </a:cubicBezTo>
                <a:cubicBezTo>
                  <a:pt x="1184453" y="4787109"/>
                  <a:pt x="1184763" y="4789484"/>
                  <a:pt x="1184608" y="4791859"/>
                </a:cubicBezTo>
                <a:cubicBezTo>
                  <a:pt x="1185692" y="4788348"/>
                  <a:pt x="1188635" y="4785767"/>
                  <a:pt x="1194831" y="4786903"/>
                </a:cubicBezTo>
                <a:cubicBezTo>
                  <a:pt x="1196691" y="4786800"/>
                  <a:pt x="1196070" y="4787316"/>
                  <a:pt x="1197154" y="4787625"/>
                </a:cubicBezTo>
                <a:lnTo>
                  <a:pt x="1198394" y="4787625"/>
                </a:lnTo>
                <a:lnTo>
                  <a:pt x="1190184" y="4784734"/>
                </a:lnTo>
                <a:cubicBezTo>
                  <a:pt x="1187706" y="4783288"/>
                  <a:pt x="1185538" y="4781327"/>
                  <a:pt x="1184298" y="4778333"/>
                </a:cubicBezTo>
                <a:cubicBezTo>
                  <a:pt x="1185538" y="4772756"/>
                  <a:pt x="1184918" y="4769246"/>
                  <a:pt x="1183833" y="4766148"/>
                </a:cubicBezTo>
                <a:lnTo>
                  <a:pt x="1183678" y="4765735"/>
                </a:lnTo>
                <a:lnTo>
                  <a:pt x="1183369" y="4765942"/>
                </a:lnTo>
                <a:cubicBezTo>
                  <a:pt x="1183369" y="4766045"/>
                  <a:pt x="1183369" y="4765838"/>
                  <a:pt x="1183059" y="4765425"/>
                </a:cubicBezTo>
                <a:cubicBezTo>
                  <a:pt x="1183059" y="4765425"/>
                  <a:pt x="1182904" y="4765425"/>
                  <a:pt x="1182285" y="4764599"/>
                </a:cubicBezTo>
                <a:cubicBezTo>
                  <a:pt x="1182285" y="4764599"/>
                  <a:pt x="1181975" y="4764599"/>
                  <a:pt x="1182130" y="4764186"/>
                </a:cubicBezTo>
                <a:lnTo>
                  <a:pt x="1182595" y="4763153"/>
                </a:lnTo>
                <a:lnTo>
                  <a:pt x="1182130" y="4761811"/>
                </a:lnTo>
                <a:cubicBezTo>
                  <a:pt x="1181510" y="4760366"/>
                  <a:pt x="1181045" y="4758817"/>
                  <a:pt x="1180736" y="4757165"/>
                </a:cubicBezTo>
                <a:cubicBezTo>
                  <a:pt x="1181975" y="4753447"/>
                  <a:pt x="1183833" y="4749627"/>
                  <a:pt x="1185847" y="4745807"/>
                </a:cubicBezTo>
                <a:lnTo>
                  <a:pt x="1188016" y="4742503"/>
                </a:lnTo>
                <a:lnTo>
                  <a:pt x="1189565" y="4739508"/>
                </a:lnTo>
                <a:lnTo>
                  <a:pt x="1189720" y="4739198"/>
                </a:lnTo>
                <a:lnTo>
                  <a:pt x="1190804" y="4732074"/>
                </a:lnTo>
                <a:cubicBezTo>
                  <a:pt x="1191578" y="4729802"/>
                  <a:pt x="1192973" y="4727840"/>
                  <a:pt x="1194986" y="4726188"/>
                </a:cubicBezTo>
                <a:cubicBezTo>
                  <a:pt x="1197619" y="4724536"/>
                  <a:pt x="1199943" y="4723916"/>
                  <a:pt x="1202111" y="4724123"/>
                </a:cubicBezTo>
                <a:lnTo>
                  <a:pt x="1204590" y="4725362"/>
                </a:lnTo>
                <a:lnTo>
                  <a:pt x="1214348" y="4721335"/>
                </a:lnTo>
                <a:lnTo>
                  <a:pt x="1214658" y="4721335"/>
                </a:lnTo>
                <a:lnTo>
                  <a:pt x="1215897" y="4720302"/>
                </a:lnTo>
                <a:lnTo>
                  <a:pt x="1215277" y="4718650"/>
                </a:lnTo>
                <a:cubicBezTo>
                  <a:pt x="1212799" y="4715966"/>
                  <a:pt x="1208927" y="4717411"/>
                  <a:pt x="1207687" y="4710700"/>
                </a:cubicBezTo>
                <a:lnTo>
                  <a:pt x="1213109" y="4710493"/>
                </a:lnTo>
                <a:lnTo>
                  <a:pt x="1212489" y="4709357"/>
                </a:lnTo>
                <a:cubicBezTo>
                  <a:pt x="1211870" y="4706673"/>
                  <a:pt x="1211405" y="4703884"/>
                  <a:pt x="1211250" y="4701097"/>
                </a:cubicBezTo>
                <a:lnTo>
                  <a:pt x="1211250" y="4696244"/>
                </a:lnTo>
                <a:lnTo>
                  <a:pt x="1209546" y="4697586"/>
                </a:lnTo>
                <a:cubicBezTo>
                  <a:pt x="1205829" y="4699754"/>
                  <a:pt x="1203041" y="4698515"/>
                  <a:pt x="1202576" y="4699238"/>
                </a:cubicBezTo>
                <a:cubicBezTo>
                  <a:pt x="1199633" y="4696760"/>
                  <a:pt x="1201027" y="4694901"/>
                  <a:pt x="1202266" y="4691287"/>
                </a:cubicBezTo>
                <a:cubicBezTo>
                  <a:pt x="1203196" y="4692113"/>
                  <a:pt x="1205365" y="4689325"/>
                  <a:pt x="1206138" y="4688396"/>
                </a:cubicBezTo>
                <a:cubicBezTo>
                  <a:pt x="1207068" y="4689222"/>
                  <a:pt x="1208152" y="4688912"/>
                  <a:pt x="1209546" y="4688706"/>
                </a:cubicBezTo>
                <a:lnTo>
                  <a:pt x="1211250" y="4688706"/>
                </a:lnTo>
                <a:close/>
                <a:moveTo>
                  <a:pt x="1846325" y="4674353"/>
                </a:moveTo>
                <a:cubicBezTo>
                  <a:pt x="1846325" y="4674353"/>
                  <a:pt x="1847254" y="4674767"/>
                  <a:pt x="1848029" y="4674353"/>
                </a:cubicBezTo>
                <a:cubicBezTo>
                  <a:pt x="1848029" y="4674353"/>
                  <a:pt x="1849113" y="4674663"/>
                  <a:pt x="1850197" y="4675076"/>
                </a:cubicBezTo>
                <a:cubicBezTo>
                  <a:pt x="1850197" y="4675076"/>
                  <a:pt x="1850972" y="4674767"/>
                  <a:pt x="1851746" y="4674353"/>
                </a:cubicBezTo>
                <a:cubicBezTo>
                  <a:pt x="1854689" y="4674767"/>
                  <a:pt x="1856548" y="4674663"/>
                  <a:pt x="1857013" y="4678174"/>
                </a:cubicBezTo>
                <a:cubicBezTo>
                  <a:pt x="1856238" y="4678587"/>
                  <a:pt x="1854070" y="4677761"/>
                  <a:pt x="1852985" y="4677348"/>
                </a:cubicBezTo>
                <a:cubicBezTo>
                  <a:pt x="1852211" y="4677761"/>
                  <a:pt x="1851127" y="4677348"/>
                  <a:pt x="1850817" y="4676625"/>
                </a:cubicBezTo>
                <a:cubicBezTo>
                  <a:pt x="1850817" y="4676625"/>
                  <a:pt x="1849733" y="4676212"/>
                  <a:pt x="1848958" y="4676625"/>
                </a:cubicBezTo>
                <a:cubicBezTo>
                  <a:pt x="1846790" y="4675799"/>
                  <a:pt x="1846480" y="4675076"/>
                  <a:pt x="1846325" y="4674353"/>
                </a:cubicBezTo>
                <a:close/>
                <a:moveTo>
                  <a:pt x="6652128" y="4674062"/>
                </a:moveTo>
                <a:cubicBezTo>
                  <a:pt x="6652902" y="4674474"/>
                  <a:pt x="6652902" y="4674474"/>
                  <a:pt x="6652902" y="4674474"/>
                </a:cubicBezTo>
                <a:cubicBezTo>
                  <a:pt x="6651353" y="4676436"/>
                  <a:pt x="6651973" y="4680257"/>
                  <a:pt x="6651043" y="4683354"/>
                </a:cubicBezTo>
                <a:cubicBezTo>
                  <a:pt x="6650734" y="4684284"/>
                  <a:pt x="6650269" y="4685316"/>
                  <a:pt x="6649339" y="4686039"/>
                </a:cubicBezTo>
                <a:cubicBezTo>
                  <a:pt x="6649339" y="4686039"/>
                  <a:pt x="6649494" y="4686039"/>
                  <a:pt x="6649804" y="4685213"/>
                </a:cubicBezTo>
                <a:cubicBezTo>
                  <a:pt x="6649804" y="4685213"/>
                  <a:pt x="6649494" y="4686039"/>
                  <a:pt x="6648720" y="4685626"/>
                </a:cubicBezTo>
                <a:cubicBezTo>
                  <a:pt x="6648255" y="4680463"/>
                  <a:pt x="6651818" y="4674784"/>
                  <a:pt x="6652128" y="4674062"/>
                </a:cubicBezTo>
                <a:close/>
                <a:moveTo>
                  <a:pt x="1694063" y="4674044"/>
                </a:moveTo>
                <a:cubicBezTo>
                  <a:pt x="1694063" y="4674044"/>
                  <a:pt x="1694063" y="4674147"/>
                  <a:pt x="1693597" y="4675282"/>
                </a:cubicBezTo>
                <a:cubicBezTo>
                  <a:pt x="1689260" y="4676109"/>
                  <a:pt x="1686472" y="4679826"/>
                  <a:pt x="1681670" y="4679723"/>
                </a:cubicBezTo>
                <a:cubicBezTo>
                  <a:pt x="1681980" y="4678587"/>
                  <a:pt x="1683374" y="4675696"/>
                  <a:pt x="1686317" y="4675799"/>
                </a:cubicBezTo>
                <a:cubicBezTo>
                  <a:pt x="1689260" y="4676006"/>
                  <a:pt x="1691119" y="4673940"/>
                  <a:pt x="1694063" y="4674044"/>
                </a:cubicBezTo>
                <a:close/>
                <a:moveTo>
                  <a:pt x="1504779" y="4673527"/>
                </a:moveTo>
                <a:cubicBezTo>
                  <a:pt x="1507567" y="4675282"/>
                  <a:pt x="1509735" y="4678483"/>
                  <a:pt x="1509735" y="4681375"/>
                </a:cubicBezTo>
                <a:cubicBezTo>
                  <a:pt x="1508186" y="4681581"/>
                  <a:pt x="1506638" y="4681581"/>
                  <a:pt x="1505243" y="4681478"/>
                </a:cubicBezTo>
                <a:cubicBezTo>
                  <a:pt x="1501216" y="4681168"/>
                  <a:pt x="1498273" y="4679206"/>
                  <a:pt x="1496724" y="4673837"/>
                </a:cubicBezTo>
                <a:cubicBezTo>
                  <a:pt x="1498738" y="4671256"/>
                  <a:pt x="1501991" y="4671669"/>
                  <a:pt x="1504779" y="4673527"/>
                </a:cubicBezTo>
                <a:close/>
                <a:moveTo>
                  <a:pt x="1138449" y="4672495"/>
                </a:moveTo>
                <a:cubicBezTo>
                  <a:pt x="1139378" y="4673321"/>
                  <a:pt x="1139378" y="4673321"/>
                  <a:pt x="1139533" y="4674147"/>
                </a:cubicBezTo>
                <a:cubicBezTo>
                  <a:pt x="1140618" y="4675902"/>
                  <a:pt x="1141702" y="4676728"/>
                  <a:pt x="1141082" y="4678483"/>
                </a:cubicBezTo>
                <a:cubicBezTo>
                  <a:pt x="1140308" y="4679826"/>
                  <a:pt x="1139533" y="4680342"/>
                  <a:pt x="1138604" y="4680239"/>
                </a:cubicBezTo>
                <a:cubicBezTo>
                  <a:pt x="1137674" y="4680239"/>
                  <a:pt x="1136435" y="4679619"/>
                  <a:pt x="1135041" y="4678793"/>
                </a:cubicBezTo>
                <a:cubicBezTo>
                  <a:pt x="1132253" y="4677244"/>
                  <a:pt x="1132718" y="4674560"/>
                  <a:pt x="1130859" y="4672908"/>
                </a:cubicBezTo>
                <a:cubicBezTo>
                  <a:pt x="1132408" y="4671978"/>
                  <a:pt x="1134731" y="4670016"/>
                  <a:pt x="1138449" y="4672495"/>
                </a:cubicBezTo>
                <a:close/>
                <a:moveTo>
                  <a:pt x="6092952" y="4671893"/>
                </a:moveTo>
                <a:cubicBezTo>
                  <a:pt x="6094036" y="4672203"/>
                  <a:pt x="6094966" y="4673132"/>
                  <a:pt x="6095431" y="4674784"/>
                </a:cubicBezTo>
                <a:cubicBezTo>
                  <a:pt x="6096824" y="4679534"/>
                  <a:pt x="6093107" y="4681083"/>
                  <a:pt x="6088615" y="4682012"/>
                </a:cubicBezTo>
                <a:cubicBezTo>
                  <a:pt x="6087531" y="4680360"/>
                  <a:pt x="6085982" y="4679431"/>
                  <a:pt x="6084898" y="4677675"/>
                </a:cubicBezTo>
                <a:cubicBezTo>
                  <a:pt x="6085053" y="4674784"/>
                  <a:pt x="6089700" y="4670861"/>
                  <a:pt x="6092952" y="4671893"/>
                </a:cubicBezTo>
                <a:close/>
                <a:moveTo>
                  <a:pt x="827262" y="4671875"/>
                </a:moveTo>
                <a:cubicBezTo>
                  <a:pt x="828966" y="4672805"/>
                  <a:pt x="829896" y="4673631"/>
                  <a:pt x="831599" y="4674560"/>
                </a:cubicBezTo>
                <a:lnTo>
                  <a:pt x="832219" y="4677038"/>
                </a:lnTo>
                <a:lnTo>
                  <a:pt x="837021" y="4678897"/>
                </a:lnTo>
                <a:cubicBezTo>
                  <a:pt x="837950" y="4679723"/>
                  <a:pt x="840119" y="4683027"/>
                  <a:pt x="839344" y="4683956"/>
                </a:cubicBezTo>
                <a:cubicBezTo>
                  <a:pt x="838570" y="4684885"/>
                  <a:pt x="837795" y="4684989"/>
                  <a:pt x="837021" y="4684989"/>
                </a:cubicBezTo>
                <a:lnTo>
                  <a:pt x="832065" y="4682820"/>
                </a:lnTo>
                <a:lnTo>
                  <a:pt x="831290" y="4684989"/>
                </a:lnTo>
                <a:cubicBezTo>
                  <a:pt x="830205" y="4686228"/>
                  <a:pt x="829121" y="4686950"/>
                  <a:pt x="828191" y="4687157"/>
                </a:cubicBezTo>
                <a:lnTo>
                  <a:pt x="826953" y="4687157"/>
                </a:lnTo>
                <a:lnTo>
                  <a:pt x="827108" y="4688190"/>
                </a:lnTo>
                <a:lnTo>
                  <a:pt x="824629" y="4689429"/>
                </a:lnTo>
                <a:lnTo>
                  <a:pt x="823545" y="4691081"/>
                </a:lnTo>
                <a:cubicBezTo>
                  <a:pt x="822306" y="4691391"/>
                  <a:pt x="821531" y="4691597"/>
                  <a:pt x="820912" y="4691494"/>
                </a:cubicBezTo>
                <a:cubicBezTo>
                  <a:pt x="820292" y="4691287"/>
                  <a:pt x="819982" y="4690668"/>
                  <a:pt x="819517" y="4689325"/>
                </a:cubicBezTo>
                <a:lnTo>
                  <a:pt x="819363" y="4688912"/>
                </a:lnTo>
                <a:lnTo>
                  <a:pt x="817969" y="4689532"/>
                </a:lnTo>
                <a:cubicBezTo>
                  <a:pt x="817969" y="4688603"/>
                  <a:pt x="817813" y="4687777"/>
                  <a:pt x="817039" y="4687777"/>
                </a:cubicBezTo>
                <a:lnTo>
                  <a:pt x="818743" y="4686434"/>
                </a:lnTo>
                <a:lnTo>
                  <a:pt x="818434" y="4685711"/>
                </a:lnTo>
                <a:lnTo>
                  <a:pt x="818743" y="4682924"/>
                </a:lnTo>
                <a:lnTo>
                  <a:pt x="818434" y="4682717"/>
                </a:lnTo>
                <a:cubicBezTo>
                  <a:pt x="818434" y="4682717"/>
                  <a:pt x="814871" y="4678174"/>
                  <a:pt x="818123" y="4674044"/>
                </a:cubicBezTo>
                <a:cubicBezTo>
                  <a:pt x="819053" y="4674973"/>
                  <a:pt x="823855" y="4669913"/>
                  <a:pt x="827262" y="4671875"/>
                </a:cubicBezTo>
                <a:close/>
                <a:moveTo>
                  <a:pt x="1360880" y="4671669"/>
                </a:moveTo>
                <a:cubicBezTo>
                  <a:pt x="1362584" y="4672082"/>
                  <a:pt x="1363823" y="4672701"/>
                  <a:pt x="1364598" y="4673527"/>
                </a:cubicBezTo>
                <a:lnTo>
                  <a:pt x="1365062" y="4675076"/>
                </a:lnTo>
                <a:lnTo>
                  <a:pt x="1368315" y="4677967"/>
                </a:lnTo>
                <a:lnTo>
                  <a:pt x="1370019" y="4678483"/>
                </a:lnTo>
                <a:lnTo>
                  <a:pt x="1369709" y="4679206"/>
                </a:lnTo>
                <a:lnTo>
                  <a:pt x="1370638" y="4680136"/>
                </a:lnTo>
                <a:lnTo>
                  <a:pt x="1373117" y="4684473"/>
                </a:lnTo>
                <a:lnTo>
                  <a:pt x="1375905" y="4683749"/>
                </a:lnTo>
                <a:cubicBezTo>
                  <a:pt x="1376989" y="4683956"/>
                  <a:pt x="1378074" y="4684266"/>
                  <a:pt x="1377454" y="4684679"/>
                </a:cubicBezTo>
                <a:cubicBezTo>
                  <a:pt x="1377764" y="4685402"/>
                  <a:pt x="1376989" y="4685918"/>
                  <a:pt x="1376680" y="4687054"/>
                </a:cubicBezTo>
                <a:lnTo>
                  <a:pt x="1375130" y="4688500"/>
                </a:lnTo>
                <a:lnTo>
                  <a:pt x="1376680" y="4693766"/>
                </a:lnTo>
                <a:cubicBezTo>
                  <a:pt x="1373736" y="4691701"/>
                  <a:pt x="1369709" y="4688912"/>
                  <a:pt x="1366301" y="4685815"/>
                </a:cubicBezTo>
                <a:lnTo>
                  <a:pt x="1362739" y="4681994"/>
                </a:lnTo>
                <a:lnTo>
                  <a:pt x="1360880" y="4683234"/>
                </a:lnTo>
                <a:cubicBezTo>
                  <a:pt x="1360415" y="4682407"/>
                  <a:pt x="1359796" y="4682924"/>
                  <a:pt x="1359331" y="4682201"/>
                </a:cubicBezTo>
                <a:cubicBezTo>
                  <a:pt x="1359331" y="4682201"/>
                  <a:pt x="1358557" y="4681684"/>
                  <a:pt x="1357937" y="4680652"/>
                </a:cubicBezTo>
                <a:cubicBezTo>
                  <a:pt x="1357627" y="4680136"/>
                  <a:pt x="1357317" y="4679516"/>
                  <a:pt x="1357163" y="4678690"/>
                </a:cubicBezTo>
                <a:cubicBezTo>
                  <a:pt x="1357007" y="4677864"/>
                  <a:pt x="1357007" y="4676935"/>
                  <a:pt x="1357163" y="4675902"/>
                </a:cubicBezTo>
                <a:cubicBezTo>
                  <a:pt x="1357472" y="4674663"/>
                  <a:pt x="1359021" y="4671772"/>
                  <a:pt x="1359331" y="4672495"/>
                </a:cubicBezTo>
                <a:cubicBezTo>
                  <a:pt x="1360570" y="4672805"/>
                  <a:pt x="1360106" y="4672082"/>
                  <a:pt x="1360880" y="4671669"/>
                </a:cubicBezTo>
                <a:close/>
                <a:moveTo>
                  <a:pt x="1746882" y="4671256"/>
                </a:moveTo>
                <a:cubicBezTo>
                  <a:pt x="1749050" y="4672082"/>
                  <a:pt x="1752768" y="4672082"/>
                  <a:pt x="1753232" y="4675592"/>
                </a:cubicBezTo>
                <a:cubicBezTo>
                  <a:pt x="1751528" y="4674973"/>
                  <a:pt x="1748276" y="4674147"/>
                  <a:pt x="1747191" y="4672805"/>
                </a:cubicBezTo>
                <a:cubicBezTo>
                  <a:pt x="1746882" y="4672391"/>
                  <a:pt x="1746727" y="4671875"/>
                  <a:pt x="1746882" y="4671256"/>
                </a:cubicBezTo>
                <a:close/>
                <a:moveTo>
                  <a:pt x="900064" y="4670739"/>
                </a:moveTo>
                <a:cubicBezTo>
                  <a:pt x="900064" y="4671566"/>
                  <a:pt x="899444" y="4674147"/>
                  <a:pt x="900218" y="4674250"/>
                </a:cubicBezTo>
                <a:cubicBezTo>
                  <a:pt x="898514" y="4676109"/>
                  <a:pt x="896192" y="4677967"/>
                  <a:pt x="894023" y="4677967"/>
                </a:cubicBezTo>
                <a:cubicBezTo>
                  <a:pt x="893404" y="4677967"/>
                  <a:pt x="892628" y="4677761"/>
                  <a:pt x="892009" y="4677348"/>
                </a:cubicBezTo>
                <a:cubicBezTo>
                  <a:pt x="890305" y="4676315"/>
                  <a:pt x="891080" y="4674663"/>
                  <a:pt x="892628" y="4673011"/>
                </a:cubicBezTo>
                <a:cubicBezTo>
                  <a:pt x="894952" y="4668777"/>
                  <a:pt x="897430" y="4667951"/>
                  <a:pt x="900064" y="4670739"/>
                </a:cubicBezTo>
                <a:close/>
                <a:moveTo>
                  <a:pt x="703249" y="4670417"/>
                </a:moveTo>
                <a:cubicBezTo>
                  <a:pt x="705901" y="4671307"/>
                  <a:pt x="708225" y="4673166"/>
                  <a:pt x="708612" y="4675282"/>
                </a:cubicBezTo>
                <a:cubicBezTo>
                  <a:pt x="707682" y="4677657"/>
                  <a:pt x="706753" y="4680033"/>
                  <a:pt x="705824" y="4682304"/>
                </a:cubicBezTo>
                <a:cubicBezTo>
                  <a:pt x="703965" y="4683749"/>
                  <a:pt x="702106" y="4684369"/>
                  <a:pt x="700247" y="4684163"/>
                </a:cubicBezTo>
                <a:cubicBezTo>
                  <a:pt x="698389" y="4683956"/>
                  <a:pt x="696839" y="4683130"/>
                  <a:pt x="695755" y="4681684"/>
                </a:cubicBezTo>
                <a:cubicBezTo>
                  <a:pt x="694981" y="4680652"/>
                  <a:pt x="694516" y="4679413"/>
                  <a:pt x="694361" y="4678071"/>
                </a:cubicBezTo>
                <a:lnTo>
                  <a:pt x="694361" y="4677864"/>
                </a:lnTo>
                <a:lnTo>
                  <a:pt x="693277" y="4678690"/>
                </a:lnTo>
                <a:cubicBezTo>
                  <a:pt x="692657" y="4679000"/>
                  <a:pt x="692038" y="4679000"/>
                  <a:pt x="691573" y="4678587"/>
                </a:cubicBezTo>
                <a:cubicBezTo>
                  <a:pt x="691418" y="4677761"/>
                  <a:pt x="690644" y="4677761"/>
                  <a:pt x="690489" y="4676935"/>
                </a:cubicBezTo>
                <a:cubicBezTo>
                  <a:pt x="689405" y="4675179"/>
                  <a:pt x="689250" y="4674353"/>
                  <a:pt x="690024" y="4673424"/>
                </a:cubicBezTo>
                <a:cubicBezTo>
                  <a:pt x="689869" y="4672598"/>
                  <a:pt x="690644" y="4672495"/>
                  <a:pt x="691418" y="4671566"/>
                </a:cubicBezTo>
                <a:cubicBezTo>
                  <a:pt x="692193" y="4671566"/>
                  <a:pt x="693122" y="4672391"/>
                  <a:pt x="693122" y="4672391"/>
                </a:cubicBezTo>
                <a:cubicBezTo>
                  <a:pt x="694051" y="4673217"/>
                  <a:pt x="694051" y="4673217"/>
                  <a:pt x="694826" y="4672288"/>
                </a:cubicBezTo>
                <a:cubicBezTo>
                  <a:pt x="694826" y="4672288"/>
                  <a:pt x="694981" y="4673114"/>
                  <a:pt x="694981" y="4673114"/>
                </a:cubicBezTo>
                <a:cubicBezTo>
                  <a:pt x="694516" y="4673114"/>
                  <a:pt x="694516" y="4673114"/>
                  <a:pt x="694826" y="4673217"/>
                </a:cubicBezTo>
                <a:lnTo>
                  <a:pt x="695445" y="4673734"/>
                </a:lnTo>
                <a:lnTo>
                  <a:pt x="695910" y="4671359"/>
                </a:lnTo>
                <a:cubicBezTo>
                  <a:pt x="697614" y="4669603"/>
                  <a:pt x="700596" y="4669526"/>
                  <a:pt x="703249" y="4670417"/>
                </a:cubicBezTo>
                <a:close/>
                <a:moveTo>
                  <a:pt x="1116918" y="4670326"/>
                </a:moveTo>
                <a:cubicBezTo>
                  <a:pt x="1120481" y="4671256"/>
                  <a:pt x="1122495" y="4673011"/>
                  <a:pt x="1122649" y="4676109"/>
                </a:cubicBezTo>
                <a:cubicBezTo>
                  <a:pt x="1122340" y="4678483"/>
                  <a:pt x="1121720" y="4681994"/>
                  <a:pt x="1118777" y="4681891"/>
                </a:cubicBezTo>
                <a:cubicBezTo>
                  <a:pt x="1118157" y="4681168"/>
                  <a:pt x="1117538" y="4681581"/>
                  <a:pt x="1117074" y="4680858"/>
                </a:cubicBezTo>
                <a:cubicBezTo>
                  <a:pt x="1117074" y="4680858"/>
                  <a:pt x="1116299" y="4680342"/>
                  <a:pt x="1115369" y="4679310"/>
                </a:cubicBezTo>
                <a:cubicBezTo>
                  <a:pt x="1114595" y="4678277"/>
                  <a:pt x="1113820" y="4676625"/>
                  <a:pt x="1113820" y="4674457"/>
                </a:cubicBezTo>
                <a:cubicBezTo>
                  <a:pt x="1113975" y="4673321"/>
                  <a:pt x="1115060" y="4670430"/>
                  <a:pt x="1115524" y="4671152"/>
                </a:cubicBezTo>
                <a:cubicBezTo>
                  <a:pt x="1116763" y="4671462"/>
                  <a:pt x="1116299" y="4670843"/>
                  <a:pt x="1116918" y="4670326"/>
                </a:cubicBezTo>
                <a:close/>
                <a:moveTo>
                  <a:pt x="1648833" y="4669810"/>
                </a:moveTo>
                <a:cubicBezTo>
                  <a:pt x="1659210" y="4671152"/>
                  <a:pt x="1658900" y="4674250"/>
                  <a:pt x="1659365" y="4680858"/>
                </a:cubicBezTo>
                <a:cubicBezTo>
                  <a:pt x="1659055" y="4680136"/>
                  <a:pt x="1658590" y="4681272"/>
                  <a:pt x="1658590" y="4681272"/>
                </a:cubicBezTo>
                <a:cubicBezTo>
                  <a:pt x="1657971" y="4683749"/>
                  <a:pt x="1662774" y="4681684"/>
                  <a:pt x="1662463" y="4684885"/>
                </a:cubicBezTo>
                <a:cubicBezTo>
                  <a:pt x="1661379" y="4689945"/>
                  <a:pt x="1655493" y="4692010"/>
                  <a:pt x="1652240" y="4692940"/>
                </a:cubicBezTo>
                <a:lnTo>
                  <a:pt x="1650381" y="4693456"/>
                </a:lnTo>
                <a:lnTo>
                  <a:pt x="1650846" y="4694178"/>
                </a:lnTo>
                <a:lnTo>
                  <a:pt x="1649607" y="4693869"/>
                </a:lnTo>
                <a:lnTo>
                  <a:pt x="1649452" y="4693972"/>
                </a:lnTo>
                <a:cubicBezTo>
                  <a:pt x="1649142" y="4693249"/>
                  <a:pt x="1648367" y="4693662"/>
                  <a:pt x="1648677" y="4694385"/>
                </a:cubicBezTo>
                <a:cubicBezTo>
                  <a:pt x="1647128" y="4694385"/>
                  <a:pt x="1645889" y="4694385"/>
                  <a:pt x="1645270" y="4694178"/>
                </a:cubicBezTo>
                <a:cubicBezTo>
                  <a:pt x="1644495" y="4693869"/>
                  <a:pt x="1644185" y="4693352"/>
                  <a:pt x="1644495" y="4692113"/>
                </a:cubicBezTo>
                <a:cubicBezTo>
                  <a:pt x="1644495" y="4690151"/>
                  <a:pt x="1646354" y="4689945"/>
                  <a:pt x="1647128" y="4687467"/>
                </a:cubicBezTo>
                <a:cubicBezTo>
                  <a:pt x="1647749" y="4683130"/>
                  <a:pt x="1639539" y="4682407"/>
                  <a:pt x="1640932" y="4673631"/>
                </a:cubicBezTo>
                <a:cubicBezTo>
                  <a:pt x="1643256" y="4674250"/>
                  <a:pt x="1645425" y="4668881"/>
                  <a:pt x="1648833" y="4669810"/>
                </a:cubicBezTo>
                <a:close/>
                <a:moveTo>
                  <a:pt x="5996607" y="4669415"/>
                </a:moveTo>
                <a:cubicBezTo>
                  <a:pt x="5996762" y="4670344"/>
                  <a:pt x="5996297" y="4673029"/>
                  <a:pt x="5997071" y="4672926"/>
                </a:cubicBezTo>
                <a:cubicBezTo>
                  <a:pt x="5995523" y="4674991"/>
                  <a:pt x="5993509" y="4677159"/>
                  <a:pt x="5991340" y="4677366"/>
                </a:cubicBezTo>
                <a:cubicBezTo>
                  <a:pt x="5990721" y="4677469"/>
                  <a:pt x="5989946" y="4677366"/>
                  <a:pt x="5989327" y="4676953"/>
                </a:cubicBezTo>
                <a:cubicBezTo>
                  <a:pt x="5987468" y="4676127"/>
                  <a:pt x="5988087" y="4674371"/>
                  <a:pt x="5989481" y="4672512"/>
                </a:cubicBezTo>
                <a:cubicBezTo>
                  <a:pt x="5991340" y="4667969"/>
                  <a:pt x="5993819" y="4666937"/>
                  <a:pt x="5996607" y="4669415"/>
                </a:cubicBezTo>
                <a:close/>
                <a:moveTo>
                  <a:pt x="5906612" y="4668899"/>
                </a:moveTo>
                <a:cubicBezTo>
                  <a:pt x="5910174" y="4667969"/>
                  <a:pt x="5910639" y="4670344"/>
                  <a:pt x="5912498" y="4673648"/>
                </a:cubicBezTo>
                <a:cubicBezTo>
                  <a:pt x="5911259" y="4673958"/>
                  <a:pt x="5911878" y="4677572"/>
                  <a:pt x="5912033" y="4678811"/>
                </a:cubicBezTo>
                <a:cubicBezTo>
                  <a:pt x="5909710" y="4679431"/>
                  <a:pt x="5909865" y="4683768"/>
                  <a:pt x="5906302" y="4684697"/>
                </a:cubicBezTo>
                <a:cubicBezTo>
                  <a:pt x="5904908" y="4683871"/>
                  <a:pt x="5904134" y="4683458"/>
                  <a:pt x="5903359" y="4681806"/>
                </a:cubicBezTo>
                <a:cubicBezTo>
                  <a:pt x="5902275" y="4672616"/>
                  <a:pt x="5906922" y="4670034"/>
                  <a:pt x="5906612" y="4668899"/>
                </a:cubicBezTo>
                <a:close/>
                <a:moveTo>
                  <a:pt x="1462182" y="4668777"/>
                </a:moveTo>
                <a:cubicBezTo>
                  <a:pt x="1462182" y="4668777"/>
                  <a:pt x="1466829" y="4669913"/>
                  <a:pt x="1466984" y="4673011"/>
                </a:cubicBezTo>
                <a:cubicBezTo>
                  <a:pt x="1467449" y="4673837"/>
                  <a:pt x="1464816" y="4675592"/>
                  <a:pt x="1463576" y="4675282"/>
                </a:cubicBezTo>
                <a:cubicBezTo>
                  <a:pt x="1461253" y="4674663"/>
                  <a:pt x="1460169" y="4674353"/>
                  <a:pt x="1459239" y="4672908"/>
                </a:cubicBezTo>
                <a:cubicBezTo>
                  <a:pt x="1458000" y="4672598"/>
                  <a:pt x="1456915" y="4672288"/>
                  <a:pt x="1455986" y="4671772"/>
                </a:cubicBezTo>
                <a:cubicBezTo>
                  <a:pt x="1455212" y="4671256"/>
                  <a:pt x="1454747" y="4670533"/>
                  <a:pt x="1454902" y="4669294"/>
                </a:cubicBezTo>
                <a:cubicBezTo>
                  <a:pt x="1457381" y="4668777"/>
                  <a:pt x="1459239" y="4668571"/>
                  <a:pt x="1462182" y="4668777"/>
                </a:cubicBezTo>
                <a:close/>
                <a:moveTo>
                  <a:pt x="6301288" y="4668692"/>
                </a:moveTo>
                <a:cubicBezTo>
                  <a:pt x="6305315" y="4668382"/>
                  <a:pt x="6307794" y="4669621"/>
                  <a:pt x="6309187" y="4671583"/>
                </a:cubicBezTo>
                <a:cubicBezTo>
                  <a:pt x="6313060" y="4677366"/>
                  <a:pt x="6306554" y="4689860"/>
                  <a:pt x="6297261" y="4689034"/>
                </a:cubicBezTo>
                <a:cubicBezTo>
                  <a:pt x="6296021" y="4687691"/>
                  <a:pt x="6295247" y="4686039"/>
                  <a:pt x="6294937" y="4684180"/>
                </a:cubicBezTo>
                <a:cubicBezTo>
                  <a:pt x="6294627" y="4681496"/>
                  <a:pt x="6295402" y="4678398"/>
                  <a:pt x="6296641" y="4675610"/>
                </a:cubicBezTo>
                <a:lnTo>
                  <a:pt x="6297725" y="4674062"/>
                </a:lnTo>
                <a:lnTo>
                  <a:pt x="6297880" y="4673442"/>
                </a:lnTo>
                <a:lnTo>
                  <a:pt x="6298809" y="4672512"/>
                </a:lnTo>
                <a:close/>
                <a:moveTo>
                  <a:pt x="6237006" y="4668589"/>
                </a:moveTo>
                <a:cubicBezTo>
                  <a:pt x="6238555" y="4670344"/>
                  <a:pt x="6237626" y="4672100"/>
                  <a:pt x="6236696" y="4673029"/>
                </a:cubicBezTo>
                <a:cubicBezTo>
                  <a:pt x="6236076" y="4674268"/>
                  <a:pt x="6234992" y="4674887"/>
                  <a:pt x="6233598" y="4675094"/>
                </a:cubicBezTo>
                <a:cubicBezTo>
                  <a:pt x="6232359" y="4675301"/>
                  <a:pt x="6230965" y="4675094"/>
                  <a:pt x="6229726" y="4674681"/>
                </a:cubicBezTo>
                <a:cubicBezTo>
                  <a:pt x="6230500" y="4674681"/>
                  <a:pt x="6230500" y="4674681"/>
                  <a:pt x="6230500" y="4674681"/>
                </a:cubicBezTo>
                <a:cubicBezTo>
                  <a:pt x="6231429" y="4673855"/>
                  <a:pt x="6230655" y="4673855"/>
                  <a:pt x="6230810" y="4672926"/>
                </a:cubicBezTo>
                <a:cubicBezTo>
                  <a:pt x="6230810" y="4672926"/>
                  <a:pt x="6230655" y="4673752"/>
                  <a:pt x="6229881" y="4672822"/>
                </a:cubicBezTo>
                <a:cubicBezTo>
                  <a:pt x="6230810" y="4672926"/>
                  <a:pt x="6230810" y="4671996"/>
                  <a:pt x="6230810" y="4671170"/>
                </a:cubicBezTo>
                <a:cubicBezTo>
                  <a:pt x="6232669" y="4669415"/>
                  <a:pt x="6235457" y="4667660"/>
                  <a:pt x="6237006" y="4668589"/>
                </a:cubicBezTo>
                <a:close/>
                <a:moveTo>
                  <a:pt x="6785610" y="4667879"/>
                </a:moveTo>
                <a:cubicBezTo>
                  <a:pt x="6788127" y="4668563"/>
                  <a:pt x="6790296" y="4670447"/>
                  <a:pt x="6792464" y="4673235"/>
                </a:cubicBezTo>
                <a:cubicBezTo>
                  <a:pt x="6790915" y="4676540"/>
                  <a:pt x="6786578" y="4679637"/>
                  <a:pt x="6782550" y="4680050"/>
                </a:cubicBezTo>
                <a:cubicBezTo>
                  <a:pt x="6781311" y="4680257"/>
                  <a:pt x="6779917" y="4680154"/>
                  <a:pt x="6778833" y="4679740"/>
                </a:cubicBezTo>
                <a:cubicBezTo>
                  <a:pt x="6776045" y="4674784"/>
                  <a:pt x="6778833" y="4672512"/>
                  <a:pt x="6776664" y="4669725"/>
                </a:cubicBezTo>
                <a:cubicBezTo>
                  <a:pt x="6780227" y="4667711"/>
                  <a:pt x="6783093" y="4667195"/>
                  <a:pt x="6785610" y="4667879"/>
                </a:cubicBezTo>
                <a:close/>
                <a:moveTo>
                  <a:pt x="874970" y="4667745"/>
                </a:moveTo>
                <a:cubicBezTo>
                  <a:pt x="875590" y="4666815"/>
                  <a:pt x="875745" y="4667745"/>
                  <a:pt x="876519" y="4667745"/>
                </a:cubicBezTo>
                <a:cubicBezTo>
                  <a:pt x="876210" y="4668158"/>
                  <a:pt x="876055" y="4668468"/>
                  <a:pt x="875745" y="4668468"/>
                </a:cubicBezTo>
                <a:cubicBezTo>
                  <a:pt x="875590" y="4668468"/>
                  <a:pt x="875435" y="4668261"/>
                  <a:pt x="874970" y="4667745"/>
                </a:cubicBezTo>
                <a:close/>
                <a:moveTo>
                  <a:pt x="1802954" y="4667538"/>
                </a:moveTo>
                <a:cubicBezTo>
                  <a:pt x="1802954" y="4667538"/>
                  <a:pt x="1803729" y="4667538"/>
                  <a:pt x="1804503" y="4668365"/>
                </a:cubicBezTo>
                <a:cubicBezTo>
                  <a:pt x="1804503" y="4668365"/>
                  <a:pt x="1804348" y="4668571"/>
                  <a:pt x="1804194" y="4668674"/>
                </a:cubicBezTo>
                <a:cubicBezTo>
                  <a:pt x="1803883" y="4668777"/>
                  <a:pt x="1803419" y="4668777"/>
                  <a:pt x="1802954" y="4668365"/>
                </a:cubicBezTo>
                <a:cubicBezTo>
                  <a:pt x="1802954" y="4668365"/>
                  <a:pt x="1803109" y="4668365"/>
                  <a:pt x="1802954" y="4667538"/>
                </a:cubicBezTo>
                <a:close/>
                <a:moveTo>
                  <a:pt x="909202" y="4667538"/>
                </a:moveTo>
                <a:cubicBezTo>
                  <a:pt x="909202" y="4668468"/>
                  <a:pt x="909977" y="4670326"/>
                  <a:pt x="909202" y="4670326"/>
                </a:cubicBezTo>
                <a:cubicBezTo>
                  <a:pt x="909202" y="4671152"/>
                  <a:pt x="907653" y="4671152"/>
                  <a:pt x="907653" y="4671152"/>
                </a:cubicBezTo>
                <a:cubicBezTo>
                  <a:pt x="907653" y="4671978"/>
                  <a:pt x="907808" y="4672908"/>
                  <a:pt x="907034" y="4673734"/>
                </a:cubicBezTo>
                <a:cubicBezTo>
                  <a:pt x="906104" y="4672805"/>
                  <a:pt x="906104" y="4673734"/>
                  <a:pt x="905330" y="4673734"/>
                </a:cubicBezTo>
                <a:cubicBezTo>
                  <a:pt x="906104" y="4672805"/>
                  <a:pt x="906104" y="4670120"/>
                  <a:pt x="906724" y="4668365"/>
                </a:cubicBezTo>
                <a:cubicBezTo>
                  <a:pt x="907653" y="4668365"/>
                  <a:pt x="908428" y="4667538"/>
                  <a:pt x="909202" y="4667538"/>
                </a:cubicBezTo>
                <a:close/>
                <a:moveTo>
                  <a:pt x="1813952" y="4667022"/>
                </a:moveTo>
                <a:cubicBezTo>
                  <a:pt x="1814261" y="4667848"/>
                  <a:pt x="1815501" y="4668055"/>
                  <a:pt x="1816120" y="4667642"/>
                </a:cubicBezTo>
                <a:cubicBezTo>
                  <a:pt x="1817359" y="4667951"/>
                  <a:pt x="1818444" y="4668158"/>
                  <a:pt x="1818134" y="4667435"/>
                </a:cubicBezTo>
                <a:cubicBezTo>
                  <a:pt x="1821542" y="4668261"/>
                  <a:pt x="1822316" y="4667745"/>
                  <a:pt x="1822626" y="4670430"/>
                </a:cubicBezTo>
                <a:cubicBezTo>
                  <a:pt x="1816275" y="4673424"/>
                  <a:pt x="1808066" y="4674663"/>
                  <a:pt x="1806052" y="4674870"/>
                </a:cubicBezTo>
                <a:cubicBezTo>
                  <a:pt x="1805122" y="4674973"/>
                  <a:pt x="1804658" y="4674870"/>
                  <a:pt x="1804194" y="4674457"/>
                </a:cubicBezTo>
                <a:cubicBezTo>
                  <a:pt x="1803883" y="4674044"/>
                  <a:pt x="1803729" y="4673321"/>
                  <a:pt x="1803729" y="4672391"/>
                </a:cubicBezTo>
                <a:cubicBezTo>
                  <a:pt x="1805587" y="4668261"/>
                  <a:pt x="1809769" y="4668674"/>
                  <a:pt x="1813952" y="4667022"/>
                </a:cubicBezTo>
                <a:close/>
                <a:moveTo>
                  <a:pt x="1676869" y="4667022"/>
                </a:moveTo>
                <a:cubicBezTo>
                  <a:pt x="1678108" y="4666093"/>
                  <a:pt x="1680276" y="4667229"/>
                  <a:pt x="1680741" y="4668881"/>
                </a:cubicBezTo>
                <a:lnTo>
                  <a:pt x="1680121" y="4671152"/>
                </a:lnTo>
                <a:lnTo>
                  <a:pt x="1681670" y="4670946"/>
                </a:lnTo>
                <a:cubicBezTo>
                  <a:pt x="1681360" y="4672082"/>
                  <a:pt x="1680276" y="4675696"/>
                  <a:pt x="1680276" y="4675696"/>
                </a:cubicBezTo>
                <a:cubicBezTo>
                  <a:pt x="1680586" y="4676418"/>
                  <a:pt x="1680586" y="4676418"/>
                  <a:pt x="1680276" y="4677657"/>
                </a:cubicBezTo>
                <a:cubicBezTo>
                  <a:pt x="1679192" y="4677348"/>
                  <a:pt x="1679192" y="4677348"/>
                  <a:pt x="1678727" y="4676625"/>
                </a:cubicBezTo>
                <a:cubicBezTo>
                  <a:pt x="1679192" y="4675386"/>
                  <a:pt x="1679811" y="4674973"/>
                  <a:pt x="1680276" y="4673734"/>
                </a:cubicBezTo>
                <a:cubicBezTo>
                  <a:pt x="1677953" y="4673217"/>
                  <a:pt x="1678417" y="4673940"/>
                  <a:pt x="1678727" y="4672701"/>
                </a:cubicBezTo>
                <a:cubicBezTo>
                  <a:pt x="1678727" y="4672701"/>
                  <a:pt x="1678727" y="4672701"/>
                  <a:pt x="1679038" y="4671462"/>
                </a:cubicBezTo>
                <a:lnTo>
                  <a:pt x="1679192" y="4671359"/>
                </a:lnTo>
                <a:lnTo>
                  <a:pt x="1679038" y="4671152"/>
                </a:lnTo>
                <a:lnTo>
                  <a:pt x="1679038" y="4671462"/>
                </a:lnTo>
                <a:lnTo>
                  <a:pt x="1671602" y="4675592"/>
                </a:lnTo>
                <a:lnTo>
                  <a:pt x="1671447" y="4676625"/>
                </a:lnTo>
                <a:cubicBezTo>
                  <a:pt x="1671912" y="4675799"/>
                  <a:pt x="1672222" y="4677038"/>
                  <a:pt x="1672222" y="4677038"/>
                </a:cubicBezTo>
                <a:cubicBezTo>
                  <a:pt x="1672222" y="4677038"/>
                  <a:pt x="1672222" y="4677038"/>
                  <a:pt x="1674545" y="4676418"/>
                </a:cubicBezTo>
                <a:cubicBezTo>
                  <a:pt x="1674545" y="4676418"/>
                  <a:pt x="1679811" y="4675592"/>
                  <a:pt x="1681206" y="4680755"/>
                </a:cubicBezTo>
                <a:cubicBezTo>
                  <a:pt x="1680896" y="4680962"/>
                  <a:pt x="1680741" y="4681994"/>
                  <a:pt x="1680586" y="4683337"/>
                </a:cubicBezTo>
                <a:lnTo>
                  <a:pt x="1680121" y="4685918"/>
                </a:lnTo>
                <a:lnTo>
                  <a:pt x="1680431" y="4684782"/>
                </a:lnTo>
                <a:cubicBezTo>
                  <a:pt x="1681360" y="4683749"/>
                  <a:pt x="1682755" y="4683234"/>
                  <a:pt x="1684149" y="4683234"/>
                </a:cubicBezTo>
                <a:cubicBezTo>
                  <a:pt x="1686627" y="4686331"/>
                  <a:pt x="1685543" y="4689222"/>
                  <a:pt x="1682599" y="4689842"/>
                </a:cubicBezTo>
                <a:lnTo>
                  <a:pt x="1679192" y="4689635"/>
                </a:lnTo>
                <a:lnTo>
                  <a:pt x="1679192" y="4689739"/>
                </a:lnTo>
                <a:cubicBezTo>
                  <a:pt x="1679038" y="4691287"/>
                  <a:pt x="1678882" y="4692630"/>
                  <a:pt x="1678727" y="4693456"/>
                </a:cubicBezTo>
                <a:cubicBezTo>
                  <a:pt x="1677953" y="4693869"/>
                  <a:pt x="1677953" y="4693869"/>
                  <a:pt x="1677953" y="4693869"/>
                </a:cubicBezTo>
                <a:cubicBezTo>
                  <a:pt x="1677023" y="4693972"/>
                  <a:pt x="1676559" y="4693559"/>
                  <a:pt x="1676404" y="4692630"/>
                </a:cubicBezTo>
                <a:lnTo>
                  <a:pt x="1676404" y="4691287"/>
                </a:lnTo>
                <a:lnTo>
                  <a:pt x="1673461" y="4692940"/>
                </a:lnTo>
                <a:cubicBezTo>
                  <a:pt x="1671447" y="4691597"/>
                  <a:pt x="1667885" y="4692630"/>
                  <a:pt x="1665716" y="4686950"/>
                </a:cubicBezTo>
                <a:cubicBezTo>
                  <a:pt x="1664167" y="4680549"/>
                  <a:pt x="1670518" y="4678174"/>
                  <a:pt x="1669898" y="4677657"/>
                </a:cubicBezTo>
                <a:lnTo>
                  <a:pt x="1669588" y="4676935"/>
                </a:lnTo>
                <a:lnTo>
                  <a:pt x="1668814" y="4677657"/>
                </a:lnTo>
                <a:cubicBezTo>
                  <a:pt x="1668349" y="4678071"/>
                  <a:pt x="1668039" y="4678380"/>
                  <a:pt x="1668039" y="4678380"/>
                </a:cubicBezTo>
                <a:cubicBezTo>
                  <a:pt x="1666180" y="4678587"/>
                  <a:pt x="1665871" y="4677864"/>
                  <a:pt x="1666180" y="4678587"/>
                </a:cubicBezTo>
                <a:cubicBezTo>
                  <a:pt x="1664012" y="4678071"/>
                  <a:pt x="1660914" y="4677864"/>
                  <a:pt x="1660914" y="4676006"/>
                </a:cubicBezTo>
                <a:cubicBezTo>
                  <a:pt x="1661998" y="4670946"/>
                  <a:pt x="1668504" y="4670223"/>
                  <a:pt x="1672841" y="4669810"/>
                </a:cubicBezTo>
                <a:lnTo>
                  <a:pt x="1675784" y="4669604"/>
                </a:lnTo>
                <a:close/>
                <a:moveTo>
                  <a:pt x="772119" y="4666712"/>
                </a:moveTo>
                <a:cubicBezTo>
                  <a:pt x="776766" y="4669913"/>
                  <a:pt x="773513" y="4673734"/>
                  <a:pt x="773668" y="4679413"/>
                </a:cubicBezTo>
                <a:cubicBezTo>
                  <a:pt x="769176" y="4678690"/>
                  <a:pt x="766853" y="4671772"/>
                  <a:pt x="768712" y="4668468"/>
                </a:cubicBezTo>
                <a:cubicBezTo>
                  <a:pt x="769332" y="4667332"/>
                  <a:pt x="770415" y="4666609"/>
                  <a:pt x="772119" y="4666712"/>
                </a:cubicBezTo>
                <a:close/>
                <a:moveTo>
                  <a:pt x="1093742" y="4666674"/>
                </a:moveTo>
                <a:cubicBezTo>
                  <a:pt x="1096511" y="4666583"/>
                  <a:pt x="1098795" y="4667332"/>
                  <a:pt x="1099570" y="4666919"/>
                </a:cubicBezTo>
                <a:cubicBezTo>
                  <a:pt x="1101584" y="4668984"/>
                  <a:pt x="1102048" y="4669500"/>
                  <a:pt x="1100654" y="4671669"/>
                </a:cubicBezTo>
                <a:lnTo>
                  <a:pt x="1098951" y="4673837"/>
                </a:lnTo>
                <a:lnTo>
                  <a:pt x="1100190" y="4675799"/>
                </a:lnTo>
                <a:cubicBezTo>
                  <a:pt x="1099415" y="4676625"/>
                  <a:pt x="1098641" y="4677348"/>
                  <a:pt x="1097866" y="4678174"/>
                </a:cubicBezTo>
                <a:lnTo>
                  <a:pt x="1094303" y="4676212"/>
                </a:lnTo>
                <a:lnTo>
                  <a:pt x="1091825" y="4676006"/>
                </a:lnTo>
                <a:cubicBezTo>
                  <a:pt x="1090276" y="4676832"/>
                  <a:pt x="1087643" y="4676728"/>
                  <a:pt x="1085939" y="4675799"/>
                </a:cubicBezTo>
                <a:cubicBezTo>
                  <a:pt x="1084235" y="4673940"/>
                  <a:pt x="1084235" y="4672288"/>
                  <a:pt x="1085010" y="4671462"/>
                </a:cubicBezTo>
                <a:cubicBezTo>
                  <a:pt x="1087720" y="4667693"/>
                  <a:pt x="1090973" y="4666764"/>
                  <a:pt x="1093742" y="4666674"/>
                </a:cubicBezTo>
                <a:close/>
                <a:moveTo>
                  <a:pt x="6655690" y="4666317"/>
                </a:moveTo>
                <a:cubicBezTo>
                  <a:pt x="6656155" y="4667556"/>
                  <a:pt x="6656155" y="4669518"/>
                  <a:pt x="6656620" y="4670757"/>
                </a:cubicBezTo>
                <a:cubicBezTo>
                  <a:pt x="6656620" y="4670757"/>
                  <a:pt x="6656620" y="4670757"/>
                  <a:pt x="6655536" y="4671067"/>
                </a:cubicBezTo>
                <a:cubicBezTo>
                  <a:pt x="6656155" y="4669518"/>
                  <a:pt x="6653522" y="4667040"/>
                  <a:pt x="6655690" y="4666317"/>
                </a:cubicBezTo>
                <a:close/>
                <a:moveTo>
                  <a:pt x="6352249" y="4666007"/>
                </a:moveTo>
                <a:cubicBezTo>
                  <a:pt x="6356896" y="4663839"/>
                  <a:pt x="6361387" y="4668486"/>
                  <a:pt x="6361697" y="4673029"/>
                </a:cubicBezTo>
                <a:cubicBezTo>
                  <a:pt x="6361697" y="4674578"/>
                  <a:pt x="6361387" y="4676127"/>
                  <a:pt x="6360303" y="4677366"/>
                </a:cubicBezTo>
                <a:cubicBezTo>
                  <a:pt x="6358754" y="4678088"/>
                  <a:pt x="6357360" y="4677985"/>
                  <a:pt x="6355966" y="4677469"/>
                </a:cubicBezTo>
                <a:lnTo>
                  <a:pt x="6354572" y="4676127"/>
                </a:lnTo>
                <a:lnTo>
                  <a:pt x="6352713" y="4677469"/>
                </a:lnTo>
                <a:cubicBezTo>
                  <a:pt x="6351319" y="4678088"/>
                  <a:pt x="6349770" y="4678708"/>
                  <a:pt x="6348376" y="4680050"/>
                </a:cubicBezTo>
                <a:cubicBezTo>
                  <a:pt x="6346827" y="4678708"/>
                  <a:pt x="6345898" y="4677778"/>
                  <a:pt x="6345588" y="4676746"/>
                </a:cubicBezTo>
                <a:cubicBezTo>
                  <a:pt x="6345278" y="4675610"/>
                  <a:pt x="6345588" y="4674268"/>
                  <a:pt x="6346673" y="4672203"/>
                </a:cubicBezTo>
                <a:cubicBezTo>
                  <a:pt x="6346673" y="4672203"/>
                  <a:pt x="6347447" y="4671273"/>
                  <a:pt x="6347447" y="4671273"/>
                </a:cubicBezTo>
                <a:lnTo>
                  <a:pt x="6351939" y="4668176"/>
                </a:lnTo>
                <a:close/>
                <a:moveTo>
                  <a:pt x="6186355" y="4666007"/>
                </a:moveTo>
                <a:cubicBezTo>
                  <a:pt x="6187749" y="4668692"/>
                  <a:pt x="6188369" y="4669621"/>
                  <a:pt x="6187284" y="4672306"/>
                </a:cubicBezTo>
                <a:cubicBezTo>
                  <a:pt x="6186510" y="4671377"/>
                  <a:pt x="6186045" y="4670447"/>
                  <a:pt x="6185890" y="4669415"/>
                </a:cubicBezTo>
                <a:cubicBezTo>
                  <a:pt x="6185580" y="4668382"/>
                  <a:pt x="6185735" y="4667350"/>
                  <a:pt x="6186355" y="4666007"/>
                </a:cubicBezTo>
                <a:close/>
                <a:moveTo>
                  <a:pt x="6005126" y="4665284"/>
                </a:moveTo>
                <a:cubicBezTo>
                  <a:pt x="6005281" y="4666214"/>
                  <a:pt x="6006365" y="4667969"/>
                  <a:pt x="6005591" y="4668073"/>
                </a:cubicBezTo>
                <a:cubicBezTo>
                  <a:pt x="6005745" y="4668899"/>
                  <a:pt x="6004042" y="4669105"/>
                  <a:pt x="6004042" y="4669105"/>
                </a:cubicBezTo>
                <a:cubicBezTo>
                  <a:pt x="6004197" y="4669931"/>
                  <a:pt x="6004352" y="4670861"/>
                  <a:pt x="6003732" y="4671790"/>
                </a:cubicBezTo>
                <a:cubicBezTo>
                  <a:pt x="6002803" y="4670964"/>
                  <a:pt x="6002957" y="4671893"/>
                  <a:pt x="6002028" y="4671893"/>
                </a:cubicBezTo>
                <a:cubicBezTo>
                  <a:pt x="6002803" y="4670964"/>
                  <a:pt x="6002338" y="4668176"/>
                  <a:pt x="6002957" y="4666317"/>
                </a:cubicBezTo>
                <a:cubicBezTo>
                  <a:pt x="6003732" y="4666317"/>
                  <a:pt x="6004352" y="4665388"/>
                  <a:pt x="6005126" y="4665284"/>
                </a:cubicBezTo>
                <a:close/>
                <a:moveTo>
                  <a:pt x="1445608" y="4665008"/>
                </a:moveTo>
                <a:cubicBezTo>
                  <a:pt x="1447971" y="4663615"/>
                  <a:pt x="1450875" y="4664337"/>
                  <a:pt x="1452579" y="4667022"/>
                </a:cubicBezTo>
                <a:cubicBezTo>
                  <a:pt x="1453663" y="4668777"/>
                  <a:pt x="1454127" y="4671462"/>
                  <a:pt x="1453663" y="4674973"/>
                </a:cubicBezTo>
                <a:cubicBezTo>
                  <a:pt x="1452269" y="4676728"/>
                  <a:pt x="1449791" y="4677657"/>
                  <a:pt x="1447312" y="4677864"/>
                </a:cubicBezTo>
                <a:cubicBezTo>
                  <a:pt x="1444834" y="4677967"/>
                  <a:pt x="1442665" y="4677244"/>
                  <a:pt x="1441891" y="4675696"/>
                </a:cubicBezTo>
                <a:cubicBezTo>
                  <a:pt x="1441426" y="4669913"/>
                  <a:pt x="1443246" y="4666403"/>
                  <a:pt x="1445608" y="4665008"/>
                </a:cubicBezTo>
                <a:close/>
                <a:moveTo>
                  <a:pt x="1510819" y="4664957"/>
                </a:moveTo>
                <a:cubicBezTo>
                  <a:pt x="1515621" y="4663511"/>
                  <a:pt x="1521507" y="4668571"/>
                  <a:pt x="1522437" y="4674457"/>
                </a:cubicBezTo>
                <a:lnTo>
                  <a:pt x="1521972" y="4678380"/>
                </a:lnTo>
                <a:lnTo>
                  <a:pt x="1522282" y="4678793"/>
                </a:lnTo>
                <a:lnTo>
                  <a:pt x="1521817" y="4679723"/>
                </a:lnTo>
                <a:lnTo>
                  <a:pt x="1521662" y="4680445"/>
                </a:lnTo>
                <a:cubicBezTo>
                  <a:pt x="1520268" y="4681065"/>
                  <a:pt x="1518720" y="4681065"/>
                  <a:pt x="1517170" y="4680755"/>
                </a:cubicBezTo>
                <a:cubicBezTo>
                  <a:pt x="1512214" y="4679619"/>
                  <a:pt x="1506947" y="4674973"/>
                  <a:pt x="1505708" y="4671256"/>
                </a:cubicBezTo>
                <a:cubicBezTo>
                  <a:pt x="1506792" y="4667538"/>
                  <a:pt x="1508651" y="4665680"/>
                  <a:pt x="1510819" y="4664957"/>
                </a:cubicBezTo>
                <a:close/>
                <a:moveTo>
                  <a:pt x="1057206" y="4664957"/>
                </a:moveTo>
                <a:cubicBezTo>
                  <a:pt x="1061814" y="4664053"/>
                  <a:pt x="1067274" y="4665318"/>
                  <a:pt x="1067507" y="4668571"/>
                </a:cubicBezTo>
                <a:cubicBezTo>
                  <a:pt x="1067816" y="4671152"/>
                  <a:pt x="1064874" y="4674767"/>
                  <a:pt x="1056509" y="4679619"/>
                </a:cubicBezTo>
                <a:cubicBezTo>
                  <a:pt x="1054340" y="4677657"/>
                  <a:pt x="1052792" y="4675902"/>
                  <a:pt x="1052017" y="4674353"/>
                </a:cubicBezTo>
                <a:cubicBezTo>
                  <a:pt x="1048841" y="4668932"/>
                  <a:pt x="1052598" y="4665860"/>
                  <a:pt x="1057206" y="4664957"/>
                </a:cubicBezTo>
                <a:close/>
                <a:moveTo>
                  <a:pt x="581907" y="4663924"/>
                </a:moveTo>
                <a:cubicBezTo>
                  <a:pt x="583455" y="4668571"/>
                  <a:pt x="580977" y="4669397"/>
                  <a:pt x="578499" y="4670326"/>
                </a:cubicBezTo>
                <a:cubicBezTo>
                  <a:pt x="578189" y="4667125"/>
                  <a:pt x="574472" y="4667745"/>
                  <a:pt x="575865" y="4664234"/>
                </a:cubicBezTo>
                <a:cubicBezTo>
                  <a:pt x="577260" y="4663202"/>
                  <a:pt x="578963" y="4662892"/>
                  <a:pt x="581907" y="4663924"/>
                </a:cubicBezTo>
                <a:close/>
                <a:moveTo>
                  <a:pt x="1794435" y="4663821"/>
                </a:moveTo>
                <a:cubicBezTo>
                  <a:pt x="1795209" y="4663821"/>
                  <a:pt x="1795365" y="4667229"/>
                  <a:pt x="1794589" y="4668055"/>
                </a:cubicBezTo>
                <a:cubicBezTo>
                  <a:pt x="1793041" y="4669707"/>
                  <a:pt x="1792266" y="4670533"/>
                  <a:pt x="1790562" y="4670430"/>
                </a:cubicBezTo>
                <a:cubicBezTo>
                  <a:pt x="1789788" y="4671256"/>
                  <a:pt x="1789013" y="4672185"/>
                  <a:pt x="1788084" y="4672495"/>
                </a:cubicBezTo>
                <a:cubicBezTo>
                  <a:pt x="1787774" y="4672701"/>
                  <a:pt x="1787310" y="4672805"/>
                  <a:pt x="1786845" y="4672701"/>
                </a:cubicBezTo>
                <a:cubicBezTo>
                  <a:pt x="1786535" y="4672701"/>
                  <a:pt x="1786070" y="4672391"/>
                  <a:pt x="1785606" y="4671978"/>
                </a:cubicBezTo>
                <a:cubicBezTo>
                  <a:pt x="1786380" y="4669397"/>
                  <a:pt x="1787155" y="4667745"/>
                  <a:pt x="1788703" y="4665267"/>
                </a:cubicBezTo>
                <a:cubicBezTo>
                  <a:pt x="1788703" y="4665267"/>
                  <a:pt x="1791802" y="4661963"/>
                  <a:pt x="1794435" y="4663821"/>
                </a:cubicBezTo>
                <a:close/>
                <a:moveTo>
                  <a:pt x="6374244" y="4663529"/>
                </a:moveTo>
                <a:cubicBezTo>
                  <a:pt x="6376258" y="4666317"/>
                  <a:pt x="6377652" y="4668176"/>
                  <a:pt x="6378116" y="4670034"/>
                </a:cubicBezTo>
                <a:cubicBezTo>
                  <a:pt x="6377187" y="4671273"/>
                  <a:pt x="6375948" y="4671686"/>
                  <a:pt x="6374708" y="4671480"/>
                </a:cubicBezTo>
                <a:cubicBezTo>
                  <a:pt x="6373624" y="4671377"/>
                  <a:pt x="6372540" y="4670654"/>
                  <a:pt x="6371920" y="4669725"/>
                </a:cubicBezTo>
                <a:cubicBezTo>
                  <a:pt x="6370527" y="4667763"/>
                  <a:pt x="6370527" y="4664975"/>
                  <a:pt x="6374244" y="4663529"/>
                </a:cubicBezTo>
                <a:close/>
                <a:moveTo>
                  <a:pt x="1732011" y="4663408"/>
                </a:moveTo>
                <a:cubicBezTo>
                  <a:pt x="1736503" y="4665473"/>
                  <a:pt x="1737123" y="4673011"/>
                  <a:pt x="1733561" y="4677864"/>
                </a:cubicBezTo>
                <a:lnTo>
                  <a:pt x="1732166" y="4678897"/>
                </a:lnTo>
                <a:lnTo>
                  <a:pt x="1738827" y="4680239"/>
                </a:lnTo>
                <a:cubicBezTo>
                  <a:pt x="1745952" y="4680342"/>
                  <a:pt x="1752923" y="4678071"/>
                  <a:pt x="1757569" y="4682820"/>
                </a:cubicBezTo>
                <a:cubicBezTo>
                  <a:pt x="1751528" y="4684266"/>
                  <a:pt x="1743629" y="4689842"/>
                  <a:pt x="1738053" y="4689119"/>
                </a:cubicBezTo>
                <a:cubicBezTo>
                  <a:pt x="1736503" y="4688912"/>
                  <a:pt x="1734954" y="4688190"/>
                  <a:pt x="1733870" y="4686538"/>
                </a:cubicBezTo>
                <a:lnTo>
                  <a:pt x="1731857" y="4679206"/>
                </a:lnTo>
                <a:lnTo>
                  <a:pt x="1730153" y="4680445"/>
                </a:lnTo>
                <a:lnTo>
                  <a:pt x="1730308" y="4681168"/>
                </a:lnTo>
                <a:cubicBezTo>
                  <a:pt x="1730463" y="4683130"/>
                  <a:pt x="1730617" y="4685608"/>
                  <a:pt x="1729533" y="4687777"/>
                </a:cubicBezTo>
                <a:cubicBezTo>
                  <a:pt x="1728759" y="4689222"/>
                  <a:pt x="1727520" y="4690565"/>
                  <a:pt x="1725351" y="4691494"/>
                </a:cubicBezTo>
                <a:cubicBezTo>
                  <a:pt x="1724267" y="4692010"/>
                  <a:pt x="1723028" y="4692423"/>
                  <a:pt x="1721634" y="4692630"/>
                </a:cubicBezTo>
                <a:cubicBezTo>
                  <a:pt x="1720704" y="4692733"/>
                  <a:pt x="1719775" y="4692836"/>
                  <a:pt x="1718690" y="4692630"/>
                </a:cubicBezTo>
                <a:cubicBezTo>
                  <a:pt x="1715902" y="4692216"/>
                  <a:pt x="1713115" y="4690151"/>
                  <a:pt x="1711100" y="4685299"/>
                </a:cubicBezTo>
                <a:cubicBezTo>
                  <a:pt x="1709861" y="4683646"/>
                  <a:pt x="1710636" y="4684059"/>
                  <a:pt x="1710171" y="4682820"/>
                </a:cubicBezTo>
                <a:cubicBezTo>
                  <a:pt x="1709861" y="4681684"/>
                  <a:pt x="1708622" y="4680033"/>
                  <a:pt x="1707848" y="4679619"/>
                </a:cubicBezTo>
                <a:lnTo>
                  <a:pt x="1711100" y="4676418"/>
                </a:lnTo>
                <a:lnTo>
                  <a:pt x="1710945" y="4676212"/>
                </a:lnTo>
                <a:lnTo>
                  <a:pt x="1711565" y="4675799"/>
                </a:lnTo>
                <a:lnTo>
                  <a:pt x="1712649" y="4674560"/>
                </a:lnTo>
                <a:cubicBezTo>
                  <a:pt x="1713424" y="4673940"/>
                  <a:pt x="1714508" y="4673321"/>
                  <a:pt x="1715902" y="4672701"/>
                </a:cubicBezTo>
                <a:cubicBezTo>
                  <a:pt x="1717761" y="4671772"/>
                  <a:pt x="1719465" y="4671359"/>
                  <a:pt x="1721014" y="4671359"/>
                </a:cubicBezTo>
                <a:lnTo>
                  <a:pt x="1723028" y="4671875"/>
                </a:lnTo>
                <a:lnTo>
                  <a:pt x="1722718" y="4668881"/>
                </a:lnTo>
                <a:cubicBezTo>
                  <a:pt x="1722873" y="4667229"/>
                  <a:pt x="1723182" y="4665680"/>
                  <a:pt x="1723802" y="4664441"/>
                </a:cubicBezTo>
                <a:cubicBezTo>
                  <a:pt x="1727365" y="4662582"/>
                  <a:pt x="1729998" y="4662479"/>
                  <a:pt x="1732011" y="4663408"/>
                </a:cubicBezTo>
                <a:close/>
                <a:moveTo>
                  <a:pt x="6599618" y="4663219"/>
                </a:moveTo>
                <a:lnTo>
                  <a:pt x="6600392" y="4663633"/>
                </a:lnTo>
                <a:cubicBezTo>
                  <a:pt x="6600702" y="4664045"/>
                  <a:pt x="6600547" y="4664768"/>
                  <a:pt x="6600237" y="4665595"/>
                </a:cubicBezTo>
                <a:cubicBezTo>
                  <a:pt x="6599308" y="4668279"/>
                  <a:pt x="6596520" y="4672100"/>
                  <a:pt x="6596210" y="4672719"/>
                </a:cubicBezTo>
                <a:cubicBezTo>
                  <a:pt x="6596210" y="4672719"/>
                  <a:pt x="6595746" y="4673442"/>
                  <a:pt x="6595435" y="4674268"/>
                </a:cubicBezTo>
                <a:cubicBezTo>
                  <a:pt x="6594351" y="4674578"/>
                  <a:pt x="6593577" y="4674062"/>
                  <a:pt x="6593267" y="4674887"/>
                </a:cubicBezTo>
                <a:cubicBezTo>
                  <a:pt x="6592028" y="4671273"/>
                  <a:pt x="6593887" y="4669518"/>
                  <a:pt x="6595590" y="4667660"/>
                </a:cubicBezTo>
                <a:cubicBezTo>
                  <a:pt x="6597139" y="4666524"/>
                  <a:pt x="6597449" y="4665801"/>
                  <a:pt x="6597449" y="4663942"/>
                </a:cubicBezTo>
                <a:cubicBezTo>
                  <a:pt x="6597449" y="4663942"/>
                  <a:pt x="6597449" y="4663942"/>
                  <a:pt x="6599618" y="4663219"/>
                </a:cubicBezTo>
                <a:close/>
                <a:moveTo>
                  <a:pt x="1391549" y="4663202"/>
                </a:moveTo>
                <a:cubicBezTo>
                  <a:pt x="1395887" y="4662685"/>
                  <a:pt x="1398985" y="4665577"/>
                  <a:pt x="1399294" y="4669294"/>
                </a:cubicBezTo>
                <a:cubicBezTo>
                  <a:pt x="1399449" y="4670533"/>
                  <a:pt x="1399139" y="4671978"/>
                  <a:pt x="1398675" y="4673321"/>
                </a:cubicBezTo>
                <a:cubicBezTo>
                  <a:pt x="1397745" y="4675076"/>
                  <a:pt x="1396351" y="4676935"/>
                  <a:pt x="1394028" y="4678483"/>
                </a:cubicBezTo>
                <a:cubicBezTo>
                  <a:pt x="1390620" y="4679516"/>
                  <a:pt x="1386902" y="4675489"/>
                  <a:pt x="1385819" y="4671669"/>
                </a:cubicBezTo>
                <a:cubicBezTo>
                  <a:pt x="1385354" y="4670326"/>
                  <a:pt x="1385354" y="4669087"/>
                  <a:pt x="1385664" y="4668055"/>
                </a:cubicBezTo>
                <a:cubicBezTo>
                  <a:pt x="1387677" y="4666403"/>
                  <a:pt x="1389536" y="4664854"/>
                  <a:pt x="1391549" y="4663202"/>
                </a:cubicBezTo>
                <a:close/>
                <a:moveTo>
                  <a:pt x="989438" y="4663099"/>
                </a:moveTo>
                <a:cubicBezTo>
                  <a:pt x="992072" y="4665989"/>
                  <a:pt x="992846" y="4668777"/>
                  <a:pt x="992227" y="4671256"/>
                </a:cubicBezTo>
                <a:cubicBezTo>
                  <a:pt x="991297" y="4674973"/>
                  <a:pt x="987735" y="4677761"/>
                  <a:pt x="983552" y="4678690"/>
                </a:cubicBezTo>
                <a:cubicBezTo>
                  <a:pt x="979525" y="4679723"/>
                  <a:pt x="975034" y="4678690"/>
                  <a:pt x="972555" y="4674870"/>
                </a:cubicBezTo>
                <a:cubicBezTo>
                  <a:pt x="973019" y="4666919"/>
                  <a:pt x="983708" y="4662582"/>
                  <a:pt x="989438" y="4663099"/>
                </a:cubicBezTo>
                <a:close/>
                <a:moveTo>
                  <a:pt x="675987" y="4662337"/>
                </a:moveTo>
                <a:cubicBezTo>
                  <a:pt x="678795" y="4660930"/>
                  <a:pt x="682202" y="4661188"/>
                  <a:pt x="683983" y="4663408"/>
                </a:cubicBezTo>
                <a:cubicBezTo>
                  <a:pt x="685222" y="4664854"/>
                  <a:pt x="685532" y="4667229"/>
                  <a:pt x="684603" y="4670636"/>
                </a:cubicBezTo>
                <a:cubicBezTo>
                  <a:pt x="680265" y="4670430"/>
                  <a:pt x="677632" y="4672391"/>
                  <a:pt x="674689" y="4672185"/>
                </a:cubicBezTo>
                <a:cubicBezTo>
                  <a:pt x="673760" y="4672185"/>
                  <a:pt x="672831" y="4671875"/>
                  <a:pt x="671591" y="4671256"/>
                </a:cubicBezTo>
                <a:cubicBezTo>
                  <a:pt x="670972" y="4666816"/>
                  <a:pt x="673179" y="4663744"/>
                  <a:pt x="675987" y="4662337"/>
                </a:cubicBezTo>
                <a:close/>
                <a:moveTo>
                  <a:pt x="1706609" y="4662272"/>
                </a:moveTo>
                <a:cubicBezTo>
                  <a:pt x="1706609" y="4662272"/>
                  <a:pt x="1711100" y="4663408"/>
                  <a:pt x="1710636" y="4666506"/>
                </a:cubicBezTo>
                <a:cubicBezTo>
                  <a:pt x="1711100" y="4667229"/>
                  <a:pt x="1708158" y="4669190"/>
                  <a:pt x="1707073" y="4668881"/>
                </a:cubicBezTo>
                <a:cubicBezTo>
                  <a:pt x="1704750" y="4668261"/>
                  <a:pt x="1703665" y="4668055"/>
                  <a:pt x="1702891" y="4666506"/>
                </a:cubicBezTo>
                <a:cubicBezTo>
                  <a:pt x="1701807" y="4666300"/>
                  <a:pt x="1700722" y="4665989"/>
                  <a:pt x="1699948" y="4665473"/>
                </a:cubicBezTo>
                <a:cubicBezTo>
                  <a:pt x="1699174" y="4664957"/>
                  <a:pt x="1698864" y="4664234"/>
                  <a:pt x="1699174" y="4662995"/>
                </a:cubicBezTo>
                <a:cubicBezTo>
                  <a:pt x="1701807" y="4662376"/>
                  <a:pt x="1703665" y="4662169"/>
                  <a:pt x="1706609" y="4662272"/>
                </a:cubicBezTo>
                <a:close/>
                <a:moveTo>
                  <a:pt x="5769219" y="4661361"/>
                </a:moveTo>
                <a:cubicBezTo>
                  <a:pt x="5774950" y="4666730"/>
                  <a:pt x="5774330" y="4671686"/>
                  <a:pt x="5770303" y="4677882"/>
                </a:cubicBezTo>
                <a:cubicBezTo>
                  <a:pt x="5765656" y="4677469"/>
                  <a:pt x="5759925" y="4672100"/>
                  <a:pt x="5760545" y="4667246"/>
                </a:cubicBezTo>
                <a:cubicBezTo>
                  <a:pt x="5764263" y="4662600"/>
                  <a:pt x="5767205" y="4664459"/>
                  <a:pt x="5769219" y="4661361"/>
                </a:cubicBezTo>
                <a:close/>
                <a:moveTo>
                  <a:pt x="903161" y="4660620"/>
                </a:moveTo>
                <a:cubicBezTo>
                  <a:pt x="903936" y="4659794"/>
                  <a:pt x="904711" y="4659794"/>
                  <a:pt x="905640" y="4660723"/>
                </a:cubicBezTo>
                <a:cubicBezTo>
                  <a:pt x="905640" y="4660723"/>
                  <a:pt x="904866" y="4662376"/>
                  <a:pt x="904866" y="4662376"/>
                </a:cubicBezTo>
                <a:cubicBezTo>
                  <a:pt x="903316" y="4664028"/>
                  <a:pt x="902387" y="4664957"/>
                  <a:pt x="901612" y="4666609"/>
                </a:cubicBezTo>
                <a:cubicBezTo>
                  <a:pt x="899909" y="4665680"/>
                  <a:pt x="899754" y="4664750"/>
                  <a:pt x="900683" y="4663924"/>
                </a:cubicBezTo>
                <a:cubicBezTo>
                  <a:pt x="900683" y="4663924"/>
                  <a:pt x="901458" y="4663099"/>
                  <a:pt x="902387" y="4662272"/>
                </a:cubicBezTo>
                <a:cubicBezTo>
                  <a:pt x="903161" y="4661446"/>
                  <a:pt x="903161" y="4660620"/>
                  <a:pt x="903161" y="4660620"/>
                </a:cubicBezTo>
                <a:close/>
                <a:moveTo>
                  <a:pt x="798452" y="4660517"/>
                </a:moveTo>
                <a:cubicBezTo>
                  <a:pt x="799536" y="4660827"/>
                  <a:pt x="800621" y="4661033"/>
                  <a:pt x="800311" y="4662272"/>
                </a:cubicBezTo>
                <a:cubicBezTo>
                  <a:pt x="800001" y="4663511"/>
                  <a:pt x="800311" y="4664234"/>
                  <a:pt x="798452" y="4664441"/>
                </a:cubicBezTo>
                <a:cubicBezTo>
                  <a:pt x="797677" y="4664854"/>
                  <a:pt x="796593" y="4664544"/>
                  <a:pt x="795818" y="4665060"/>
                </a:cubicBezTo>
                <a:cubicBezTo>
                  <a:pt x="795818" y="4665060"/>
                  <a:pt x="795354" y="4664647"/>
                  <a:pt x="794889" y="4664028"/>
                </a:cubicBezTo>
                <a:cubicBezTo>
                  <a:pt x="794579" y="4663408"/>
                  <a:pt x="794114" y="4662685"/>
                  <a:pt x="794269" y="4662066"/>
                </a:cubicBezTo>
                <a:cubicBezTo>
                  <a:pt x="794269" y="4660104"/>
                  <a:pt x="797677" y="4661033"/>
                  <a:pt x="798452" y="4660517"/>
                </a:cubicBezTo>
                <a:close/>
                <a:moveTo>
                  <a:pt x="6001254" y="4658779"/>
                </a:moveTo>
                <a:cubicBezTo>
                  <a:pt x="6001254" y="4658779"/>
                  <a:pt x="6000479" y="4660638"/>
                  <a:pt x="6000479" y="4660638"/>
                </a:cubicBezTo>
                <a:cubicBezTo>
                  <a:pt x="5999085" y="4662394"/>
                  <a:pt x="5998311" y="4663323"/>
                  <a:pt x="5997691" y="4665078"/>
                </a:cubicBezTo>
                <a:cubicBezTo>
                  <a:pt x="5995832" y="4664355"/>
                  <a:pt x="5995677" y="4663529"/>
                  <a:pt x="5996452" y="4662600"/>
                </a:cubicBezTo>
                <a:cubicBezTo>
                  <a:pt x="5996452" y="4662600"/>
                  <a:pt x="5997226" y="4661671"/>
                  <a:pt x="5998001" y="4660741"/>
                </a:cubicBezTo>
                <a:cubicBezTo>
                  <a:pt x="5998620" y="4659812"/>
                  <a:pt x="5998620" y="4658883"/>
                  <a:pt x="5998620" y="4658883"/>
                </a:cubicBezTo>
                <a:cubicBezTo>
                  <a:pt x="5999395" y="4658057"/>
                  <a:pt x="6000169" y="4657953"/>
                  <a:pt x="6001254" y="4658779"/>
                </a:cubicBezTo>
                <a:close/>
                <a:moveTo>
                  <a:pt x="6093107" y="4658263"/>
                </a:moveTo>
                <a:cubicBezTo>
                  <a:pt x="6094656" y="4660225"/>
                  <a:pt x="6095431" y="4661877"/>
                  <a:pt x="6096515" y="4664665"/>
                </a:cubicBezTo>
                <a:cubicBezTo>
                  <a:pt x="6096515" y="4664665"/>
                  <a:pt x="6097290" y="4669415"/>
                  <a:pt x="6094501" y="4670757"/>
                </a:cubicBezTo>
                <a:cubicBezTo>
                  <a:pt x="6094036" y="4671583"/>
                  <a:pt x="6091248" y="4669828"/>
                  <a:pt x="6091093" y="4668692"/>
                </a:cubicBezTo>
                <a:cubicBezTo>
                  <a:pt x="6090629" y="4666317"/>
                  <a:pt x="6090474" y="4665181"/>
                  <a:pt x="6091558" y="4663633"/>
                </a:cubicBezTo>
                <a:cubicBezTo>
                  <a:pt x="6091248" y="4662497"/>
                  <a:pt x="6091093" y="4661258"/>
                  <a:pt x="6091248" y="4660329"/>
                </a:cubicBezTo>
                <a:cubicBezTo>
                  <a:pt x="6091403" y="4659296"/>
                  <a:pt x="6091868" y="4658573"/>
                  <a:pt x="6093107" y="4658263"/>
                </a:cubicBezTo>
                <a:close/>
                <a:moveTo>
                  <a:pt x="1331915" y="4658039"/>
                </a:moveTo>
                <a:cubicBezTo>
                  <a:pt x="1331915" y="4659175"/>
                  <a:pt x="1331759" y="4660414"/>
                  <a:pt x="1331759" y="4661549"/>
                </a:cubicBezTo>
                <a:cubicBezTo>
                  <a:pt x="1329436" y="4661240"/>
                  <a:pt x="1327113" y="4660827"/>
                  <a:pt x="1327268" y="4658452"/>
                </a:cubicBezTo>
                <a:cubicBezTo>
                  <a:pt x="1328971" y="4658142"/>
                  <a:pt x="1329126" y="4657006"/>
                  <a:pt x="1331915" y="4658039"/>
                </a:cubicBezTo>
                <a:close/>
                <a:moveTo>
                  <a:pt x="1449481" y="4657213"/>
                </a:moveTo>
                <a:cubicBezTo>
                  <a:pt x="1450565" y="4660827"/>
                  <a:pt x="1448086" y="4663718"/>
                  <a:pt x="1445143" y="4663924"/>
                </a:cubicBezTo>
                <a:cubicBezTo>
                  <a:pt x="1444059" y="4663924"/>
                  <a:pt x="1443130" y="4663718"/>
                  <a:pt x="1442201" y="4663099"/>
                </a:cubicBezTo>
                <a:cubicBezTo>
                  <a:pt x="1441736" y="4661859"/>
                  <a:pt x="1440651" y="4660104"/>
                  <a:pt x="1440651" y="4658245"/>
                </a:cubicBezTo>
                <a:cubicBezTo>
                  <a:pt x="1443439" y="4655148"/>
                  <a:pt x="1446538" y="4655148"/>
                  <a:pt x="1449481" y="4657213"/>
                </a:cubicBezTo>
                <a:close/>
                <a:moveTo>
                  <a:pt x="865212" y="4657006"/>
                </a:moveTo>
                <a:cubicBezTo>
                  <a:pt x="859636" y="4664647"/>
                  <a:pt x="854369" y="4660001"/>
                  <a:pt x="851271" y="4664234"/>
                </a:cubicBezTo>
                <a:cubicBezTo>
                  <a:pt x="850342" y="4662479"/>
                  <a:pt x="850187" y="4662479"/>
                  <a:pt x="850962" y="4660723"/>
                </a:cubicBezTo>
                <a:cubicBezTo>
                  <a:pt x="851891" y="4660723"/>
                  <a:pt x="851891" y="4659898"/>
                  <a:pt x="852820" y="4660827"/>
                </a:cubicBezTo>
                <a:cubicBezTo>
                  <a:pt x="854369" y="4658245"/>
                  <a:pt x="861804" y="4655974"/>
                  <a:pt x="865212" y="4657006"/>
                </a:cubicBezTo>
                <a:close/>
                <a:moveTo>
                  <a:pt x="1146968" y="4656387"/>
                </a:moveTo>
                <a:cubicBezTo>
                  <a:pt x="1149446" y="4654735"/>
                  <a:pt x="1158121" y="4660414"/>
                  <a:pt x="1153164" y="4664647"/>
                </a:cubicBezTo>
                <a:cubicBezTo>
                  <a:pt x="1152699" y="4665267"/>
                  <a:pt x="1151770" y="4665267"/>
                  <a:pt x="1150841" y="4664854"/>
                </a:cubicBezTo>
                <a:cubicBezTo>
                  <a:pt x="1147898" y="4663718"/>
                  <a:pt x="1144645" y="4658968"/>
                  <a:pt x="1146968" y="4656387"/>
                </a:cubicBezTo>
                <a:close/>
                <a:moveTo>
                  <a:pt x="772893" y="4655457"/>
                </a:moveTo>
                <a:cubicBezTo>
                  <a:pt x="774598" y="4657419"/>
                  <a:pt x="776301" y="4659381"/>
                  <a:pt x="775217" y="4663615"/>
                </a:cubicBezTo>
                <a:cubicBezTo>
                  <a:pt x="773823" y="4664750"/>
                  <a:pt x="772429" y="4665473"/>
                  <a:pt x="771035" y="4665680"/>
                </a:cubicBezTo>
                <a:cubicBezTo>
                  <a:pt x="769486" y="4665783"/>
                  <a:pt x="767782" y="4665577"/>
                  <a:pt x="765614" y="4664750"/>
                </a:cubicBezTo>
                <a:cubicBezTo>
                  <a:pt x="764065" y="4660827"/>
                  <a:pt x="767627" y="4653496"/>
                  <a:pt x="772893" y="4655457"/>
                </a:cubicBezTo>
                <a:close/>
                <a:moveTo>
                  <a:pt x="5930001" y="4655062"/>
                </a:moveTo>
                <a:cubicBezTo>
                  <a:pt x="5932634" y="4658160"/>
                  <a:pt x="5930776" y="4663116"/>
                  <a:pt x="5925509" y="4662394"/>
                </a:cubicBezTo>
                <a:cubicBezTo>
                  <a:pt x="5925974" y="4658676"/>
                  <a:pt x="5926439" y="4654959"/>
                  <a:pt x="5930001" y="4655062"/>
                </a:cubicBezTo>
                <a:close/>
                <a:moveTo>
                  <a:pt x="5966867" y="4654752"/>
                </a:moveTo>
                <a:cubicBezTo>
                  <a:pt x="5966247" y="4655682"/>
                  <a:pt x="5964543" y="4656611"/>
                  <a:pt x="5963924" y="4657540"/>
                </a:cubicBezTo>
                <a:cubicBezTo>
                  <a:pt x="5963924" y="4657540"/>
                  <a:pt x="5963924" y="4657540"/>
                  <a:pt x="5962994" y="4656714"/>
                </a:cubicBezTo>
                <a:cubicBezTo>
                  <a:pt x="5964543" y="4656611"/>
                  <a:pt x="5965008" y="4653100"/>
                  <a:pt x="5966867" y="4654752"/>
                </a:cubicBezTo>
                <a:close/>
                <a:moveTo>
                  <a:pt x="6402764" y="4653333"/>
                </a:moveTo>
                <a:cubicBezTo>
                  <a:pt x="6404333" y="4652584"/>
                  <a:pt x="6405998" y="4653204"/>
                  <a:pt x="6405688" y="4657540"/>
                </a:cubicBezTo>
                <a:cubicBezTo>
                  <a:pt x="6404139" y="4657953"/>
                  <a:pt x="6402900" y="4658057"/>
                  <a:pt x="6402125" y="4658057"/>
                </a:cubicBezTo>
                <a:cubicBezTo>
                  <a:pt x="6401351" y="4657953"/>
                  <a:pt x="6400731" y="4657644"/>
                  <a:pt x="6400421" y="4657334"/>
                </a:cubicBezTo>
                <a:cubicBezTo>
                  <a:pt x="6399724" y="4656198"/>
                  <a:pt x="6401196" y="4654081"/>
                  <a:pt x="6402764" y="4653333"/>
                </a:cubicBezTo>
                <a:close/>
                <a:moveTo>
                  <a:pt x="1545671" y="4653186"/>
                </a:moveTo>
                <a:cubicBezTo>
                  <a:pt x="1545826" y="4655664"/>
                  <a:pt x="1546601" y="4656490"/>
                  <a:pt x="1545826" y="4656490"/>
                </a:cubicBezTo>
                <a:cubicBezTo>
                  <a:pt x="1545826" y="4656903"/>
                  <a:pt x="1545671" y="4657110"/>
                  <a:pt x="1545361" y="4657110"/>
                </a:cubicBezTo>
                <a:cubicBezTo>
                  <a:pt x="1545207" y="4657110"/>
                  <a:pt x="1544897" y="4656903"/>
                  <a:pt x="1544897" y="4656490"/>
                </a:cubicBezTo>
                <a:cubicBezTo>
                  <a:pt x="1543193" y="4655561"/>
                  <a:pt x="1544897" y="4654012"/>
                  <a:pt x="1545671" y="4653186"/>
                </a:cubicBezTo>
                <a:close/>
                <a:moveTo>
                  <a:pt x="871717" y="4653082"/>
                </a:moveTo>
                <a:cubicBezTo>
                  <a:pt x="870943" y="4654012"/>
                  <a:pt x="869239" y="4654838"/>
                  <a:pt x="868465" y="4655664"/>
                </a:cubicBezTo>
                <a:cubicBezTo>
                  <a:pt x="868465" y="4655664"/>
                  <a:pt x="868465" y="4655561"/>
                  <a:pt x="867536" y="4654632"/>
                </a:cubicBezTo>
                <a:cubicBezTo>
                  <a:pt x="869239" y="4654735"/>
                  <a:pt x="870014" y="4651327"/>
                  <a:pt x="871717" y="4653082"/>
                </a:cubicBezTo>
                <a:close/>
                <a:moveTo>
                  <a:pt x="858590" y="4652412"/>
                </a:moveTo>
                <a:cubicBezTo>
                  <a:pt x="860913" y="4652412"/>
                  <a:pt x="862811" y="4652721"/>
                  <a:pt x="863198" y="4652773"/>
                </a:cubicBezTo>
                <a:cubicBezTo>
                  <a:pt x="863198" y="4653599"/>
                  <a:pt x="863198" y="4653599"/>
                  <a:pt x="863198" y="4653599"/>
                </a:cubicBezTo>
                <a:cubicBezTo>
                  <a:pt x="860720" y="4652876"/>
                  <a:pt x="857777" y="4654941"/>
                  <a:pt x="854679" y="4655148"/>
                </a:cubicBezTo>
                <a:cubicBezTo>
                  <a:pt x="853595" y="4655251"/>
                  <a:pt x="852511" y="4655251"/>
                  <a:pt x="851426" y="4654735"/>
                </a:cubicBezTo>
                <a:cubicBezTo>
                  <a:pt x="851426" y="4654735"/>
                  <a:pt x="851426" y="4654735"/>
                  <a:pt x="852356" y="4654838"/>
                </a:cubicBezTo>
                <a:cubicBezTo>
                  <a:pt x="852356" y="4654838"/>
                  <a:pt x="851426" y="4654735"/>
                  <a:pt x="851426" y="4653909"/>
                </a:cubicBezTo>
                <a:cubicBezTo>
                  <a:pt x="853517" y="4652721"/>
                  <a:pt x="856267" y="4652412"/>
                  <a:pt x="858590" y="4652412"/>
                </a:cubicBezTo>
                <a:close/>
                <a:moveTo>
                  <a:pt x="6323128" y="4652171"/>
                </a:moveTo>
                <a:cubicBezTo>
                  <a:pt x="6332732" y="4653307"/>
                  <a:pt x="6334281" y="4661774"/>
                  <a:pt x="6335985" y="4662806"/>
                </a:cubicBezTo>
                <a:cubicBezTo>
                  <a:pt x="6335520" y="4665491"/>
                  <a:pt x="6335520" y="4666111"/>
                  <a:pt x="6332732" y="4665801"/>
                </a:cubicBezTo>
                <a:cubicBezTo>
                  <a:pt x="6331802" y="4665698"/>
                  <a:pt x="6330563" y="4665595"/>
                  <a:pt x="6329014" y="4665284"/>
                </a:cubicBezTo>
                <a:cubicBezTo>
                  <a:pt x="6327775" y="4664975"/>
                  <a:pt x="6326691" y="4664459"/>
                  <a:pt x="6325762" y="4663529"/>
                </a:cubicBezTo>
                <a:cubicBezTo>
                  <a:pt x="6324832" y="4662703"/>
                  <a:pt x="6324058" y="4661567"/>
                  <a:pt x="6323748" y="4660329"/>
                </a:cubicBezTo>
                <a:cubicBezTo>
                  <a:pt x="6322044" y="4659296"/>
                  <a:pt x="6320650" y="4657024"/>
                  <a:pt x="6320340" y="4655062"/>
                </a:cubicBezTo>
                <a:cubicBezTo>
                  <a:pt x="6320650" y="4652687"/>
                  <a:pt x="6322044" y="4651862"/>
                  <a:pt x="6323128" y="4652171"/>
                </a:cubicBezTo>
                <a:close/>
                <a:moveTo>
                  <a:pt x="1116918" y="4652153"/>
                </a:moveTo>
                <a:cubicBezTo>
                  <a:pt x="1121410" y="4655148"/>
                  <a:pt x="1121255" y="4662789"/>
                  <a:pt x="1115679" y="4663821"/>
                </a:cubicBezTo>
                <a:cubicBezTo>
                  <a:pt x="1114595" y="4662169"/>
                  <a:pt x="1113046" y="4661240"/>
                  <a:pt x="1111807" y="4659484"/>
                </a:cubicBezTo>
                <a:cubicBezTo>
                  <a:pt x="1113511" y="4656697"/>
                  <a:pt x="1111652" y="4652566"/>
                  <a:pt x="1116918" y="4652153"/>
                </a:cubicBezTo>
                <a:close/>
                <a:moveTo>
                  <a:pt x="1067971" y="4651947"/>
                </a:moveTo>
                <a:cubicBezTo>
                  <a:pt x="1069830" y="4653805"/>
                  <a:pt x="1071534" y="4652979"/>
                  <a:pt x="1073238" y="4654838"/>
                </a:cubicBezTo>
                <a:cubicBezTo>
                  <a:pt x="1071689" y="4656490"/>
                  <a:pt x="1070759" y="4658142"/>
                  <a:pt x="1069985" y="4658968"/>
                </a:cubicBezTo>
                <a:cubicBezTo>
                  <a:pt x="1066577" y="4657110"/>
                  <a:pt x="1065648" y="4654425"/>
                  <a:pt x="1067971" y="4651947"/>
                </a:cubicBezTo>
                <a:close/>
                <a:moveTo>
                  <a:pt x="1160909" y="4651121"/>
                </a:moveTo>
                <a:cubicBezTo>
                  <a:pt x="1166020" y="4649675"/>
                  <a:pt x="1170513" y="4655148"/>
                  <a:pt x="1167105" y="4660517"/>
                </a:cubicBezTo>
                <a:cubicBezTo>
                  <a:pt x="1165401" y="4660104"/>
                  <a:pt x="1163697" y="4660723"/>
                  <a:pt x="1161839" y="4660310"/>
                </a:cubicBezTo>
                <a:cubicBezTo>
                  <a:pt x="1161529" y="4658762"/>
                  <a:pt x="1160444" y="4657522"/>
                  <a:pt x="1159824" y="4656180"/>
                </a:cubicBezTo>
                <a:cubicBezTo>
                  <a:pt x="1159360" y="4654838"/>
                  <a:pt x="1159205" y="4653392"/>
                  <a:pt x="1160909" y="4651121"/>
                </a:cubicBezTo>
                <a:close/>
                <a:moveTo>
                  <a:pt x="6071886" y="4651035"/>
                </a:moveTo>
                <a:cubicBezTo>
                  <a:pt x="6073125" y="4650726"/>
                  <a:pt x="6076068" y="4650519"/>
                  <a:pt x="6076998" y="4653307"/>
                </a:cubicBezTo>
                <a:cubicBezTo>
                  <a:pt x="6078082" y="4656198"/>
                  <a:pt x="6080560" y="4656611"/>
                  <a:pt x="6081645" y="4659399"/>
                </a:cubicBezTo>
                <a:cubicBezTo>
                  <a:pt x="6081645" y="4659399"/>
                  <a:pt x="6081645" y="4659502"/>
                  <a:pt x="6080406" y="4659812"/>
                </a:cubicBezTo>
                <a:cubicBezTo>
                  <a:pt x="6078082" y="4656095"/>
                  <a:pt x="6073745" y="4655475"/>
                  <a:pt x="6071886" y="4651035"/>
                </a:cubicBezTo>
                <a:close/>
                <a:moveTo>
                  <a:pt x="1617388" y="4650501"/>
                </a:moveTo>
                <a:cubicBezTo>
                  <a:pt x="1615994" y="4651121"/>
                  <a:pt x="1615065" y="4651637"/>
                  <a:pt x="1614290" y="4651843"/>
                </a:cubicBezTo>
                <a:cubicBezTo>
                  <a:pt x="1613361" y="4652050"/>
                  <a:pt x="1612432" y="4651843"/>
                  <a:pt x="1611193" y="4651224"/>
                </a:cubicBezTo>
                <a:cubicBezTo>
                  <a:pt x="1613051" y="4649778"/>
                  <a:pt x="1614910" y="4649159"/>
                  <a:pt x="1617388" y="4650501"/>
                </a:cubicBezTo>
                <a:close/>
                <a:moveTo>
                  <a:pt x="6725239" y="4650416"/>
                </a:moveTo>
                <a:cubicBezTo>
                  <a:pt x="6727407" y="4649796"/>
                  <a:pt x="6730815" y="4648867"/>
                  <a:pt x="6732364" y="4651655"/>
                </a:cubicBezTo>
                <a:cubicBezTo>
                  <a:pt x="6732054" y="4652377"/>
                  <a:pt x="6732829" y="4652791"/>
                  <a:pt x="6732519" y="4653617"/>
                </a:cubicBezTo>
                <a:cubicBezTo>
                  <a:pt x="6732519" y="4653617"/>
                  <a:pt x="6732519" y="4654546"/>
                  <a:pt x="6732054" y="4655682"/>
                </a:cubicBezTo>
                <a:cubicBezTo>
                  <a:pt x="6731590" y="4656921"/>
                  <a:pt x="6730815" y="4658263"/>
                  <a:pt x="6728956" y="4659089"/>
                </a:cubicBezTo>
                <a:cubicBezTo>
                  <a:pt x="6728337" y="4659296"/>
                  <a:pt x="6727407" y="4659399"/>
                  <a:pt x="6726478" y="4659399"/>
                </a:cubicBezTo>
                <a:cubicBezTo>
                  <a:pt x="6725704" y="4659399"/>
                  <a:pt x="6724929" y="4659193"/>
                  <a:pt x="6725084" y="4658883"/>
                </a:cubicBezTo>
                <a:cubicBezTo>
                  <a:pt x="6724774" y="4657644"/>
                  <a:pt x="6724464" y="4658470"/>
                  <a:pt x="6723690" y="4658057"/>
                </a:cubicBezTo>
                <a:cubicBezTo>
                  <a:pt x="6722450" y="4654443"/>
                  <a:pt x="6722605" y="4651758"/>
                  <a:pt x="6725239" y="4650416"/>
                </a:cubicBezTo>
                <a:close/>
                <a:moveTo>
                  <a:pt x="703965" y="4649675"/>
                </a:moveTo>
                <a:cubicBezTo>
                  <a:pt x="711399" y="4649675"/>
                  <a:pt x="723636" y="4650088"/>
                  <a:pt x="729213" y="4654838"/>
                </a:cubicBezTo>
                <a:cubicBezTo>
                  <a:pt x="728129" y="4657006"/>
                  <a:pt x="726115" y="4658142"/>
                  <a:pt x="723791" y="4658452"/>
                </a:cubicBezTo>
                <a:cubicBezTo>
                  <a:pt x="716821" y="4659381"/>
                  <a:pt x="706753" y="4653186"/>
                  <a:pt x="703965" y="4649675"/>
                </a:cubicBezTo>
                <a:close/>
                <a:moveTo>
                  <a:pt x="6681558" y="4649590"/>
                </a:moveTo>
                <a:cubicBezTo>
                  <a:pt x="6682333" y="4650003"/>
                  <a:pt x="6684346" y="4652068"/>
                  <a:pt x="6684656" y="4651345"/>
                </a:cubicBezTo>
                <a:cubicBezTo>
                  <a:pt x="6685585" y="4654030"/>
                  <a:pt x="6686360" y="4657128"/>
                  <a:pt x="6685585" y="4659089"/>
                </a:cubicBezTo>
                <a:cubicBezTo>
                  <a:pt x="6685275" y="4659709"/>
                  <a:pt x="6684811" y="4660225"/>
                  <a:pt x="6684191" y="4660535"/>
                </a:cubicBezTo>
                <a:cubicBezTo>
                  <a:pt x="6682797" y="4661567"/>
                  <a:pt x="6681558" y="4660019"/>
                  <a:pt x="6680629" y="4657644"/>
                </a:cubicBezTo>
                <a:cubicBezTo>
                  <a:pt x="6677995" y="4653204"/>
                  <a:pt x="6678150" y="4650519"/>
                  <a:pt x="6681558" y="4649590"/>
                </a:cubicBezTo>
                <a:close/>
                <a:moveTo>
                  <a:pt x="6072041" y="4647834"/>
                </a:moveTo>
                <a:cubicBezTo>
                  <a:pt x="6072971" y="4649486"/>
                  <a:pt x="6061973" y="4654443"/>
                  <a:pt x="6059185" y="4655785"/>
                </a:cubicBezTo>
                <a:cubicBezTo>
                  <a:pt x="6058565" y="4655372"/>
                  <a:pt x="6058411" y="4655372"/>
                  <a:pt x="6058411" y="4655372"/>
                </a:cubicBezTo>
                <a:cubicBezTo>
                  <a:pt x="6058100" y="4654546"/>
                  <a:pt x="6058256" y="4653823"/>
                  <a:pt x="6058875" y="4653204"/>
                </a:cubicBezTo>
                <a:cubicBezTo>
                  <a:pt x="6059650" y="4652481"/>
                  <a:pt x="6060734" y="4651965"/>
                  <a:pt x="6062128" y="4651242"/>
                </a:cubicBezTo>
                <a:cubicBezTo>
                  <a:pt x="6065071" y="4649796"/>
                  <a:pt x="6069098" y="4649280"/>
                  <a:pt x="6070337" y="4648970"/>
                </a:cubicBezTo>
                <a:cubicBezTo>
                  <a:pt x="6071577" y="4648557"/>
                  <a:pt x="6072041" y="4647834"/>
                  <a:pt x="6072041" y="4647834"/>
                </a:cubicBezTo>
                <a:close/>
                <a:moveTo>
                  <a:pt x="5910020" y="4647731"/>
                </a:moveTo>
                <a:cubicBezTo>
                  <a:pt x="5912188" y="4650312"/>
                  <a:pt x="5910949" y="4653720"/>
                  <a:pt x="5913118" y="4657231"/>
                </a:cubicBezTo>
                <a:cubicBezTo>
                  <a:pt x="5911259" y="4659812"/>
                  <a:pt x="5913273" y="4664252"/>
                  <a:pt x="5910485" y="4667660"/>
                </a:cubicBezTo>
                <a:cubicBezTo>
                  <a:pt x="5909245" y="4666730"/>
                  <a:pt x="5908471" y="4665181"/>
                  <a:pt x="5908006" y="4663426"/>
                </a:cubicBezTo>
                <a:cubicBezTo>
                  <a:pt x="5906612" y="4657850"/>
                  <a:pt x="5907851" y="4649590"/>
                  <a:pt x="5910020" y="4647731"/>
                </a:cubicBezTo>
                <a:close/>
                <a:moveTo>
                  <a:pt x="5778397" y="4647086"/>
                </a:moveTo>
                <a:cubicBezTo>
                  <a:pt x="5784128" y="4645046"/>
                  <a:pt x="5790130" y="4645098"/>
                  <a:pt x="5792298" y="4649177"/>
                </a:cubicBezTo>
                <a:cubicBezTo>
                  <a:pt x="5782540" y="4651345"/>
                  <a:pt x="5777273" y="4657334"/>
                  <a:pt x="5766121" y="4657540"/>
                </a:cubicBezTo>
                <a:cubicBezTo>
                  <a:pt x="5767205" y="4653255"/>
                  <a:pt x="5772665" y="4649125"/>
                  <a:pt x="5778397" y="4647086"/>
                </a:cubicBezTo>
                <a:close/>
                <a:moveTo>
                  <a:pt x="1080382" y="4646539"/>
                </a:moveTo>
                <a:cubicBezTo>
                  <a:pt x="1081447" y="4647068"/>
                  <a:pt x="1082144" y="4648281"/>
                  <a:pt x="1081912" y="4649469"/>
                </a:cubicBezTo>
                <a:cubicBezTo>
                  <a:pt x="1081757" y="4650191"/>
                  <a:pt x="1081292" y="4651017"/>
                  <a:pt x="1080208" y="4651534"/>
                </a:cubicBezTo>
                <a:cubicBezTo>
                  <a:pt x="1078659" y="4650604"/>
                  <a:pt x="1078039" y="4649572"/>
                  <a:pt x="1076645" y="4647713"/>
                </a:cubicBezTo>
                <a:cubicBezTo>
                  <a:pt x="1077885" y="4646164"/>
                  <a:pt x="1079317" y="4646009"/>
                  <a:pt x="1080382" y="4646539"/>
                </a:cubicBezTo>
                <a:close/>
                <a:moveTo>
                  <a:pt x="6723690" y="4645666"/>
                </a:moveTo>
                <a:cubicBezTo>
                  <a:pt x="6724774" y="4645356"/>
                  <a:pt x="6726633" y="4645460"/>
                  <a:pt x="6727097" y="4646595"/>
                </a:cubicBezTo>
                <a:cubicBezTo>
                  <a:pt x="6727562" y="4647421"/>
                  <a:pt x="6727407" y="4647731"/>
                  <a:pt x="6726943" y="4648041"/>
                </a:cubicBezTo>
                <a:cubicBezTo>
                  <a:pt x="6726478" y="4648454"/>
                  <a:pt x="6725549" y="4648661"/>
                  <a:pt x="6724929" y="4649280"/>
                </a:cubicBezTo>
                <a:close/>
                <a:moveTo>
                  <a:pt x="1833933" y="4645648"/>
                </a:moveTo>
                <a:cubicBezTo>
                  <a:pt x="1834863" y="4646577"/>
                  <a:pt x="1834863" y="4646577"/>
                  <a:pt x="1833933" y="4646577"/>
                </a:cubicBezTo>
                <a:cubicBezTo>
                  <a:pt x="1833159" y="4648230"/>
                  <a:pt x="1833159" y="4647300"/>
                  <a:pt x="1832384" y="4648126"/>
                </a:cubicBezTo>
                <a:cubicBezTo>
                  <a:pt x="1831610" y="4648952"/>
                  <a:pt x="1830061" y="4653186"/>
                  <a:pt x="1830990" y="4654115"/>
                </a:cubicBezTo>
                <a:cubicBezTo>
                  <a:pt x="1830061" y="4654012"/>
                  <a:pt x="1829287" y="4654838"/>
                  <a:pt x="1829287" y="4654838"/>
                </a:cubicBezTo>
                <a:cubicBezTo>
                  <a:pt x="1828512" y="4654012"/>
                  <a:pt x="1828357" y="4653186"/>
                  <a:pt x="1828357" y="4652256"/>
                </a:cubicBezTo>
                <a:cubicBezTo>
                  <a:pt x="1829132" y="4651431"/>
                  <a:pt x="1830061" y="4651534"/>
                  <a:pt x="1830835" y="4650708"/>
                </a:cubicBezTo>
                <a:cubicBezTo>
                  <a:pt x="1830835" y="4649778"/>
                  <a:pt x="1830681" y="4648023"/>
                  <a:pt x="1831610" y="4647300"/>
                </a:cubicBezTo>
                <a:cubicBezTo>
                  <a:pt x="1832384" y="4646474"/>
                  <a:pt x="1833933" y="4645648"/>
                  <a:pt x="1833933" y="4645648"/>
                </a:cubicBezTo>
                <a:close/>
                <a:moveTo>
                  <a:pt x="1025046" y="4645545"/>
                </a:moveTo>
                <a:cubicBezTo>
                  <a:pt x="1029712" y="4645106"/>
                  <a:pt x="1034746" y="4646113"/>
                  <a:pt x="1039470" y="4648746"/>
                </a:cubicBezTo>
                <a:cubicBezTo>
                  <a:pt x="1039316" y="4649985"/>
                  <a:pt x="1039316" y="4651121"/>
                  <a:pt x="1040400" y="4651327"/>
                </a:cubicBezTo>
                <a:cubicBezTo>
                  <a:pt x="1040554" y="4663305"/>
                  <a:pt x="1028628" y="4672082"/>
                  <a:pt x="1017475" y="4671359"/>
                </a:cubicBezTo>
                <a:cubicBezTo>
                  <a:pt x="1015616" y="4671256"/>
                  <a:pt x="1013913" y="4670843"/>
                  <a:pt x="1012054" y="4670120"/>
                </a:cubicBezTo>
                <a:lnTo>
                  <a:pt x="1007407" y="4667332"/>
                </a:lnTo>
                <a:lnTo>
                  <a:pt x="1006787" y="4668468"/>
                </a:lnTo>
                <a:cubicBezTo>
                  <a:pt x="1004928" y="4670430"/>
                  <a:pt x="1002140" y="4669810"/>
                  <a:pt x="998577" y="4667332"/>
                </a:cubicBezTo>
                <a:cubicBezTo>
                  <a:pt x="998887" y="4665370"/>
                  <a:pt x="998423" y="4663718"/>
                  <a:pt x="998268" y="4661033"/>
                </a:cubicBezTo>
                <a:cubicBezTo>
                  <a:pt x="999507" y="4660723"/>
                  <a:pt x="1001521" y="4660723"/>
                  <a:pt x="1003379" y="4661549"/>
                </a:cubicBezTo>
                <a:lnTo>
                  <a:pt x="1007407" y="4664750"/>
                </a:lnTo>
                <a:lnTo>
                  <a:pt x="1008336" y="4657936"/>
                </a:lnTo>
                <a:cubicBezTo>
                  <a:pt x="1009421" y="4655148"/>
                  <a:pt x="1010969" y="4652876"/>
                  <a:pt x="1012828" y="4651017"/>
                </a:cubicBezTo>
                <a:cubicBezTo>
                  <a:pt x="1016081" y="4647868"/>
                  <a:pt x="1020379" y="4645984"/>
                  <a:pt x="1025046" y="4645545"/>
                </a:cubicBezTo>
                <a:close/>
                <a:moveTo>
                  <a:pt x="964810" y="4644925"/>
                </a:moveTo>
                <a:cubicBezTo>
                  <a:pt x="968528" y="4642447"/>
                  <a:pt x="971780" y="4643170"/>
                  <a:pt x="975808" y="4645751"/>
                </a:cubicBezTo>
                <a:cubicBezTo>
                  <a:pt x="975653" y="4647404"/>
                  <a:pt x="972865" y="4649262"/>
                  <a:pt x="970851" y="4650501"/>
                </a:cubicBezTo>
                <a:cubicBezTo>
                  <a:pt x="968372" y="4649985"/>
                  <a:pt x="966049" y="4647816"/>
                  <a:pt x="964810" y="4644925"/>
                </a:cubicBezTo>
                <a:close/>
                <a:moveTo>
                  <a:pt x="6078082" y="4644220"/>
                </a:moveTo>
                <a:cubicBezTo>
                  <a:pt x="6078082" y="4644220"/>
                  <a:pt x="6078392" y="4643498"/>
                  <a:pt x="6079476" y="4646285"/>
                </a:cubicBezTo>
                <a:cubicBezTo>
                  <a:pt x="6078392" y="4646595"/>
                  <a:pt x="6074984" y="4647525"/>
                  <a:pt x="6074984" y="4647525"/>
                </a:cubicBezTo>
                <a:cubicBezTo>
                  <a:pt x="6074365" y="4648350"/>
                  <a:pt x="6074365" y="4648350"/>
                  <a:pt x="6073280" y="4648661"/>
                </a:cubicBezTo>
                <a:cubicBezTo>
                  <a:pt x="6073125" y="4647525"/>
                  <a:pt x="6073125" y="4647525"/>
                  <a:pt x="6073590" y="4646699"/>
                </a:cubicBezTo>
                <a:cubicBezTo>
                  <a:pt x="6074675" y="4646389"/>
                  <a:pt x="6075449" y="4646802"/>
                  <a:pt x="6076533" y="4646492"/>
                </a:cubicBezTo>
                <a:cubicBezTo>
                  <a:pt x="6076224" y="4644117"/>
                  <a:pt x="6075759" y="4644840"/>
                  <a:pt x="6076843" y="4644530"/>
                </a:cubicBezTo>
                <a:cubicBezTo>
                  <a:pt x="6076843" y="4644530"/>
                  <a:pt x="6076843" y="4644530"/>
                  <a:pt x="6078082" y="4644220"/>
                </a:cubicBezTo>
                <a:close/>
                <a:moveTo>
                  <a:pt x="6191002" y="4643601"/>
                </a:moveTo>
                <a:lnTo>
                  <a:pt x="6192705" y="4644840"/>
                </a:lnTo>
                <a:lnTo>
                  <a:pt x="6193015" y="4644840"/>
                </a:lnTo>
                <a:cubicBezTo>
                  <a:pt x="6195804" y="4647215"/>
                  <a:pt x="6195804" y="4647215"/>
                  <a:pt x="6192396" y="4652687"/>
                </a:cubicBezTo>
                <a:cubicBezTo>
                  <a:pt x="6191776" y="4653617"/>
                  <a:pt x="6190847" y="4654236"/>
                  <a:pt x="6189762" y="4654649"/>
                </a:cubicBezTo>
                <a:cubicBezTo>
                  <a:pt x="6188678" y="4655062"/>
                  <a:pt x="6187439" y="4655166"/>
                  <a:pt x="6186045" y="4654752"/>
                </a:cubicBezTo>
                <a:cubicBezTo>
                  <a:pt x="6185271" y="4655269"/>
                  <a:pt x="6184341" y="4655475"/>
                  <a:pt x="6183257" y="4655578"/>
                </a:cubicBezTo>
                <a:cubicBezTo>
                  <a:pt x="6182327" y="4655682"/>
                  <a:pt x="6181243" y="4655475"/>
                  <a:pt x="6180314" y="4655166"/>
                </a:cubicBezTo>
                <a:cubicBezTo>
                  <a:pt x="6178455" y="4653513"/>
                  <a:pt x="6178300" y="4651758"/>
                  <a:pt x="6178920" y="4650829"/>
                </a:cubicBezTo>
                <a:lnTo>
                  <a:pt x="6182792" y="4646699"/>
                </a:lnTo>
                <a:lnTo>
                  <a:pt x="6182637" y="4646079"/>
                </a:lnTo>
                <a:cubicBezTo>
                  <a:pt x="6183257" y="4643291"/>
                  <a:pt x="6188059" y="4642465"/>
                  <a:pt x="6191002" y="4643601"/>
                </a:cubicBezTo>
                <a:close/>
                <a:moveTo>
                  <a:pt x="895417" y="4642964"/>
                </a:moveTo>
                <a:cubicBezTo>
                  <a:pt x="894332" y="4644822"/>
                  <a:pt x="892319" y="4648023"/>
                  <a:pt x="890460" y="4648849"/>
                </a:cubicBezTo>
                <a:cubicBezTo>
                  <a:pt x="889685" y="4649055"/>
                  <a:pt x="889066" y="4648952"/>
                  <a:pt x="888447" y="4648539"/>
                </a:cubicBezTo>
                <a:cubicBezTo>
                  <a:pt x="887517" y="4647610"/>
                  <a:pt x="888291" y="4646784"/>
                  <a:pt x="888291" y="4645958"/>
                </a:cubicBezTo>
                <a:cubicBezTo>
                  <a:pt x="889066" y="4644306"/>
                  <a:pt x="894642" y="4642034"/>
                  <a:pt x="895417" y="4642964"/>
                </a:cubicBezTo>
                <a:close/>
                <a:moveTo>
                  <a:pt x="1326028" y="4642447"/>
                </a:moveTo>
                <a:cubicBezTo>
                  <a:pt x="1329436" y="4641931"/>
                  <a:pt x="1331605" y="4642964"/>
                  <a:pt x="1334392" y="4646784"/>
                </a:cubicBezTo>
                <a:cubicBezTo>
                  <a:pt x="1333773" y="4649985"/>
                  <a:pt x="1330056" y="4653496"/>
                  <a:pt x="1326803" y="4652979"/>
                </a:cubicBezTo>
                <a:cubicBezTo>
                  <a:pt x="1325564" y="4652876"/>
                  <a:pt x="1324635" y="4652256"/>
                  <a:pt x="1323705" y="4651017"/>
                </a:cubicBezTo>
                <a:cubicBezTo>
                  <a:pt x="1323395" y="4648333"/>
                  <a:pt x="1323085" y="4645751"/>
                  <a:pt x="1326028" y="4642447"/>
                </a:cubicBezTo>
                <a:close/>
                <a:moveTo>
                  <a:pt x="6117794" y="4642439"/>
                </a:moveTo>
                <a:cubicBezTo>
                  <a:pt x="6119788" y="4642878"/>
                  <a:pt x="6121144" y="4644737"/>
                  <a:pt x="6121453" y="4646905"/>
                </a:cubicBezTo>
                <a:cubicBezTo>
                  <a:pt x="6121608" y="4648247"/>
                  <a:pt x="6121298" y="4649796"/>
                  <a:pt x="6120524" y="4651139"/>
                </a:cubicBezTo>
                <a:cubicBezTo>
                  <a:pt x="6119439" y="4652997"/>
                  <a:pt x="6117271" y="4654546"/>
                  <a:pt x="6113863" y="4654959"/>
                </a:cubicBezTo>
                <a:cubicBezTo>
                  <a:pt x="6112469" y="4653513"/>
                  <a:pt x="6111850" y="4652068"/>
                  <a:pt x="6111540" y="4650622"/>
                </a:cubicBezTo>
                <a:cubicBezTo>
                  <a:pt x="6111075" y="4649280"/>
                  <a:pt x="6110920" y="4647938"/>
                  <a:pt x="6110301" y="4646492"/>
                </a:cubicBezTo>
                <a:cubicBezTo>
                  <a:pt x="6113166" y="4642981"/>
                  <a:pt x="6115800" y="4642000"/>
                  <a:pt x="6117794" y="4642439"/>
                </a:cubicBezTo>
                <a:close/>
                <a:moveTo>
                  <a:pt x="1147433" y="4641518"/>
                </a:moveTo>
                <a:cubicBezTo>
                  <a:pt x="1147898" y="4642241"/>
                  <a:pt x="1148982" y="4642447"/>
                  <a:pt x="1149446" y="4643170"/>
                </a:cubicBezTo>
                <a:cubicBezTo>
                  <a:pt x="1148827" y="4643686"/>
                  <a:pt x="1147898" y="4645338"/>
                  <a:pt x="1147433" y="4644615"/>
                </a:cubicBezTo>
                <a:cubicBezTo>
                  <a:pt x="1146659" y="4645029"/>
                  <a:pt x="1145729" y="4643583"/>
                  <a:pt x="1145729" y="4643583"/>
                </a:cubicBezTo>
                <a:cubicBezTo>
                  <a:pt x="1145109" y="4643996"/>
                  <a:pt x="1144335" y="4644512"/>
                  <a:pt x="1143251" y="4644306"/>
                </a:cubicBezTo>
                <a:cubicBezTo>
                  <a:pt x="1143406" y="4643067"/>
                  <a:pt x="1142631" y="4643480"/>
                  <a:pt x="1142166" y="4642757"/>
                </a:cubicBezTo>
                <a:cubicBezTo>
                  <a:pt x="1143406" y="4643067"/>
                  <a:pt x="1145420" y="4641724"/>
                  <a:pt x="1147433" y="4641518"/>
                </a:cubicBezTo>
                <a:close/>
                <a:moveTo>
                  <a:pt x="1249819" y="4641208"/>
                </a:moveTo>
                <a:cubicBezTo>
                  <a:pt x="1251988" y="4646474"/>
                  <a:pt x="1261281" y="4662376"/>
                  <a:pt x="1254931" y="4664957"/>
                </a:cubicBezTo>
                <a:cubicBezTo>
                  <a:pt x="1251988" y="4659278"/>
                  <a:pt x="1241455" y="4645442"/>
                  <a:pt x="1249819" y="4641208"/>
                </a:cubicBezTo>
                <a:close/>
                <a:moveTo>
                  <a:pt x="1071843" y="4640485"/>
                </a:moveTo>
                <a:cubicBezTo>
                  <a:pt x="1073702" y="4642137"/>
                  <a:pt x="1073238" y="4644719"/>
                  <a:pt x="1071843" y="4646577"/>
                </a:cubicBezTo>
                <a:cubicBezTo>
                  <a:pt x="1071534" y="4647404"/>
                  <a:pt x="1070759" y="4647920"/>
                  <a:pt x="1069830" y="4648126"/>
                </a:cubicBezTo>
                <a:cubicBezTo>
                  <a:pt x="1068901" y="4648230"/>
                  <a:pt x="1067816" y="4648126"/>
                  <a:pt x="1067041" y="4647713"/>
                </a:cubicBezTo>
                <a:cubicBezTo>
                  <a:pt x="1065957" y="4646887"/>
                  <a:pt x="1065957" y="4646887"/>
                  <a:pt x="1065028" y="4646061"/>
                </a:cubicBezTo>
                <a:cubicBezTo>
                  <a:pt x="1064874" y="4644409"/>
                  <a:pt x="1063789" y="4642654"/>
                  <a:pt x="1064408" y="4640898"/>
                </a:cubicBezTo>
                <a:cubicBezTo>
                  <a:pt x="1065802" y="4639143"/>
                  <a:pt x="1069985" y="4639763"/>
                  <a:pt x="1071843" y="4640485"/>
                </a:cubicBezTo>
                <a:close/>
                <a:moveTo>
                  <a:pt x="1681825" y="4640382"/>
                </a:moveTo>
                <a:cubicBezTo>
                  <a:pt x="1685078" y="4642757"/>
                  <a:pt x="1683529" y="4646990"/>
                  <a:pt x="1683839" y="4651431"/>
                </a:cubicBezTo>
                <a:cubicBezTo>
                  <a:pt x="1682909" y="4651637"/>
                  <a:pt x="1682290" y="4652773"/>
                  <a:pt x="1682599" y="4653599"/>
                </a:cubicBezTo>
                <a:cubicBezTo>
                  <a:pt x="1681980" y="4654735"/>
                  <a:pt x="1681360" y="4655871"/>
                  <a:pt x="1682290" y="4655561"/>
                </a:cubicBezTo>
                <a:cubicBezTo>
                  <a:pt x="1680431" y="4658968"/>
                  <a:pt x="1680586" y="4659794"/>
                  <a:pt x="1677953" y="4659794"/>
                </a:cubicBezTo>
                <a:cubicBezTo>
                  <a:pt x="1677023" y="4652979"/>
                  <a:pt x="1678417" y="4644306"/>
                  <a:pt x="1678727" y="4642344"/>
                </a:cubicBezTo>
                <a:cubicBezTo>
                  <a:pt x="1678882" y="4641414"/>
                  <a:pt x="1679192" y="4640795"/>
                  <a:pt x="1679656" y="4640588"/>
                </a:cubicBezTo>
                <a:cubicBezTo>
                  <a:pt x="1680276" y="4640279"/>
                  <a:pt x="1680896" y="4640279"/>
                  <a:pt x="1681825" y="4640382"/>
                </a:cubicBezTo>
                <a:close/>
                <a:moveTo>
                  <a:pt x="6682178" y="4639471"/>
                </a:moveTo>
                <a:cubicBezTo>
                  <a:pt x="6683107" y="4639883"/>
                  <a:pt x="6684966" y="4640090"/>
                  <a:pt x="6684656" y="4640813"/>
                </a:cubicBezTo>
                <a:cubicBezTo>
                  <a:pt x="6685430" y="4641226"/>
                  <a:pt x="6684811" y="4642775"/>
                  <a:pt x="6684811" y="4642775"/>
                </a:cubicBezTo>
                <a:cubicBezTo>
                  <a:pt x="6685585" y="4643188"/>
                  <a:pt x="6686360" y="4643601"/>
                  <a:pt x="6686825" y="4644840"/>
                </a:cubicBezTo>
                <a:cubicBezTo>
                  <a:pt x="6685585" y="4645046"/>
                  <a:pt x="6686515" y="4645563"/>
                  <a:pt x="6686050" y="4646285"/>
                </a:cubicBezTo>
                <a:cubicBezTo>
                  <a:pt x="6685740" y="4645150"/>
                  <a:pt x="6683262" y="4643704"/>
                  <a:pt x="6682023" y="4642052"/>
                </a:cubicBezTo>
                <a:cubicBezTo>
                  <a:pt x="6682333" y="4641329"/>
                  <a:pt x="6681868" y="4640193"/>
                  <a:pt x="6682178" y="4639471"/>
                </a:cubicBezTo>
                <a:close/>
                <a:moveTo>
                  <a:pt x="6011942" y="4639471"/>
                </a:moveTo>
                <a:cubicBezTo>
                  <a:pt x="6012406" y="4641845"/>
                  <a:pt x="6014110" y="4645046"/>
                  <a:pt x="6011631" y="4647628"/>
                </a:cubicBezTo>
                <a:cubicBezTo>
                  <a:pt x="6011322" y="4645872"/>
                  <a:pt x="6010392" y="4642465"/>
                  <a:pt x="6010857" y="4640710"/>
                </a:cubicBezTo>
                <a:cubicBezTo>
                  <a:pt x="6011167" y="4640090"/>
                  <a:pt x="6011477" y="4639574"/>
                  <a:pt x="6011942" y="4639471"/>
                </a:cubicBezTo>
                <a:close/>
                <a:moveTo>
                  <a:pt x="6675052" y="4638954"/>
                </a:moveTo>
                <a:cubicBezTo>
                  <a:pt x="6675052" y="4638954"/>
                  <a:pt x="6676292" y="4640606"/>
                  <a:pt x="6676292" y="4640606"/>
                </a:cubicBezTo>
                <a:cubicBezTo>
                  <a:pt x="6677066" y="4643084"/>
                  <a:pt x="6677376" y="4644220"/>
                  <a:pt x="6678615" y="4645872"/>
                </a:cubicBezTo>
                <a:cubicBezTo>
                  <a:pt x="6677840" y="4646492"/>
                  <a:pt x="6677376" y="4646699"/>
                  <a:pt x="6676911" y="4646492"/>
                </a:cubicBezTo>
                <a:cubicBezTo>
                  <a:pt x="6676447" y="4646389"/>
                  <a:pt x="6676137" y="4645976"/>
                  <a:pt x="6675982" y="4645356"/>
                </a:cubicBezTo>
                <a:cubicBezTo>
                  <a:pt x="6675982" y="4645356"/>
                  <a:pt x="6675517" y="4644117"/>
                  <a:pt x="6675207" y="4642878"/>
                </a:cubicBezTo>
                <a:cubicBezTo>
                  <a:pt x="6674743" y="4641742"/>
                  <a:pt x="6673968" y="4641329"/>
                  <a:pt x="6673968" y="4641329"/>
                </a:cubicBezTo>
                <a:cubicBezTo>
                  <a:pt x="6673658" y="4640090"/>
                  <a:pt x="6673968" y="4639264"/>
                  <a:pt x="6675052" y="4638954"/>
                </a:cubicBezTo>
                <a:close/>
                <a:moveTo>
                  <a:pt x="6656000" y="4638748"/>
                </a:moveTo>
                <a:cubicBezTo>
                  <a:pt x="6657084" y="4640813"/>
                  <a:pt x="6659098" y="4644427"/>
                  <a:pt x="6659098" y="4646699"/>
                </a:cubicBezTo>
                <a:cubicBezTo>
                  <a:pt x="6658943" y="4647525"/>
                  <a:pt x="6658633" y="4648041"/>
                  <a:pt x="6658014" y="4648454"/>
                </a:cubicBezTo>
                <a:cubicBezTo>
                  <a:pt x="6656929" y="4648764"/>
                  <a:pt x="6656620" y="4647525"/>
                  <a:pt x="6655845" y="4647111"/>
                </a:cubicBezTo>
                <a:cubicBezTo>
                  <a:pt x="6654761" y="4645563"/>
                  <a:pt x="6654916" y="4639161"/>
                  <a:pt x="6656000" y="4638748"/>
                </a:cubicBezTo>
                <a:close/>
                <a:moveTo>
                  <a:pt x="1270421" y="4638214"/>
                </a:moveTo>
                <a:lnTo>
                  <a:pt x="1269336" y="4641105"/>
                </a:lnTo>
                <a:lnTo>
                  <a:pt x="1270266" y="4641105"/>
                </a:lnTo>
                <a:cubicBezTo>
                  <a:pt x="1271505" y="4642964"/>
                  <a:pt x="1271350" y="4644306"/>
                  <a:pt x="1270576" y="4645235"/>
                </a:cubicBezTo>
                <a:lnTo>
                  <a:pt x="1267632" y="4646268"/>
                </a:lnTo>
                <a:lnTo>
                  <a:pt x="1266858" y="4648436"/>
                </a:lnTo>
                <a:cubicBezTo>
                  <a:pt x="1265464" y="4651534"/>
                  <a:pt x="1264070" y="4653909"/>
                  <a:pt x="1263605" y="4654838"/>
                </a:cubicBezTo>
                <a:cubicBezTo>
                  <a:pt x="1263141" y="4655664"/>
                  <a:pt x="1262676" y="4656077"/>
                  <a:pt x="1262211" y="4656180"/>
                </a:cubicBezTo>
                <a:cubicBezTo>
                  <a:pt x="1261591" y="4656283"/>
                  <a:pt x="1260972" y="4656077"/>
                  <a:pt x="1260197" y="4655664"/>
                </a:cubicBezTo>
                <a:cubicBezTo>
                  <a:pt x="1258029" y="4652050"/>
                  <a:pt x="1260972" y="4648539"/>
                  <a:pt x="1262211" y="4644203"/>
                </a:cubicBezTo>
                <a:cubicBezTo>
                  <a:pt x="1262985" y="4644203"/>
                  <a:pt x="1264070" y="4643376"/>
                  <a:pt x="1264070" y="4642550"/>
                </a:cubicBezTo>
                <a:cubicBezTo>
                  <a:pt x="1265000" y="4641724"/>
                  <a:pt x="1265928" y="4640795"/>
                  <a:pt x="1265000" y="4640795"/>
                </a:cubicBezTo>
                <a:cubicBezTo>
                  <a:pt x="1267787" y="4638214"/>
                  <a:pt x="1267942" y="4637284"/>
                  <a:pt x="1270421" y="4638214"/>
                </a:cubicBezTo>
                <a:close/>
                <a:moveTo>
                  <a:pt x="1436624" y="4638110"/>
                </a:moveTo>
                <a:cubicBezTo>
                  <a:pt x="1441426" y="4636768"/>
                  <a:pt x="1446693" y="4642447"/>
                  <a:pt x="1444059" y="4647713"/>
                </a:cubicBezTo>
                <a:cubicBezTo>
                  <a:pt x="1442201" y="4647300"/>
                  <a:pt x="1440651" y="4647816"/>
                  <a:pt x="1438793" y="4647404"/>
                </a:cubicBezTo>
                <a:cubicBezTo>
                  <a:pt x="1437708" y="4644099"/>
                  <a:pt x="1433681" y="4642447"/>
                  <a:pt x="1436624" y="4638110"/>
                </a:cubicBezTo>
                <a:close/>
                <a:moveTo>
                  <a:pt x="1481389" y="4637801"/>
                </a:moveTo>
                <a:cubicBezTo>
                  <a:pt x="1483403" y="4645958"/>
                  <a:pt x="1472715" y="4652256"/>
                  <a:pt x="1465435" y="4654425"/>
                </a:cubicBezTo>
                <a:lnTo>
                  <a:pt x="1466984" y="4649262"/>
                </a:lnTo>
                <a:lnTo>
                  <a:pt x="1465900" y="4648643"/>
                </a:lnTo>
                <a:cubicBezTo>
                  <a:pt x="1465435" y="4648126"/>
                  <a:pt x="1465125" y="4647507"/>
                  <a:pt x="1464196" y="4645648"/>
                </a:cubicBezTo>
                <a:cubicBezTo>
                  <a:pt x="1466210" y="4644099"/>
                  <a:pt x="1468068" y="4642447"/>
                  <a:pt x="1470082" y="4640898"/>
                </a:cubicBezTo>
                <a:cubicBezTo>
                  <a:pt x="1470392" y="4641724"/>
                  <a:pt x="1470856" y="4642447"/>
                  <a:pt x="1471321" y="4643067"/>
                </a:cubicBezTo>
                <a:lnTo>
                  <a:pt x="1471631" y="4643273"/>
                </a:lnTo>
                <a:close/>
                <a:moveTo>
                  <a:pt x="6464703" y="4637715"/>
                </a:moveTo>
                <a:lnTo>
                  <a:pt x="6464084" y="4642672"/>
                </a:lnTo>
                <a:lnTo>
                  <a:pt x="6461141" y="4645976"/>
                </a:lnTo>
                <a:lnTo>
                  <a:pt x="6460366" y="4649280"/>
                </a:lnTo>
                <a:cubicBezTo>
                  <a:pt x="6460366" y="4649280"/>
                  <a:pt x="6460521" y="4649280"/>
                  <a:pt x="6460831" y="4648557"/>
                </a:cubicBezTo>
                <a:cubicBezTo>
                  <a:pt x="6463000" y="4647834"/>
                  <a:pt x="6466098" y="4647008"/>
                  <a:pt x="6468886" y="4646492"/>
                </a:cubicBezTo>
                <a:lnTo>
                  <a:pt x="6470125" y="4646389"/>
                </a:lnTo>
                <a:close/>
                <a:moveTo>
                  <a:pt x="837331" y="4637594"/>
                </a:moveTo>
                <a:cubicBezTo>
                  <a:pt x="840428" y="4653392"/>
                  <a:pt x="847244" y="4667229"/>
                  <a:pt x="849412" y="4680342"/>
                </a:cubicBezTo>
                <a:cubicBezTo>
                  <a:pt x="836866" y="4672288"/>
                  <a:pt x="833768" y="4654218"/>
                  <a:pt x="828191" y="4639349"/>
                </a:cubicBezTo>
                <a:cubicBezTo>
                  <a:pt x="831290" y="4639143"/>
                  <a:pt x="832529" y="4636871"/>
                  <a:pt x="837331" y="4637594"/>
                </a:cubicBezTo>
                <a:close/>
                <a:moveTo>
                  <a:pt x="1550202" y="4636807"/>
                </a:moveTo>
                <a:cubicBezTo>
                  <a:pt x="1554384" y="4636251"/>
                  <a:pt x="1558683" y="4635993"/>
                  <a:pt x="1563949" y="4637594"/>
                </a:cubicBezTo>
                <a:lnTo>
                  <a:pt x="1560232" y="4640485"/>
                </a:lnTo>
                <a:lnTo>
                  <a:pt x="1560851" y="4642344"/>
                </a:lnTo>
                <a:lnTo>
                  <a:pt x="1559457" y="4647300"/>
                </a:lnTo>
                <a:lnTo>
                  <a:pt x="1566117" y="4645338"/>
                </a:lnTo>
                <a:cubicBezTo>
                  <a:pt x="1569061" y="4645235"/>
                  <a:pt x="1571849" y="4645648"/>
                  <a:pt x="1574328" y="4646681"/>
                </a:cubicBezTo>
                <a:cubicBezTo>
                  <a:pt x="1582537" y="4650088"/>
                  <a:pt x="1588113" y="4659381"/>
                  <a:pt x="1587184" y="4670016"/>
                </a:cubicBezTo>
                <a:cubicBezTo>
                  <a:pt x="1585944" y="4670430"/>
                  <a:pt x="1584860" y="4670843"/>
                  <a:pt x="1585170" y="4671978"/>
                </a:cubicBezTo>
                <a:cubicBezTo>
                  <a:pt x="1582537" y="4673217"/>
                  <a:pt x="1579594" y="4673734"/>
                  <a:pt x="1576806" y="4673527"/>
                </a:cubicBezTo>
                <a:lnTo>
                  <a:pt x="1571694" y="4672495"/>
                </a:lnTo>
                <a:lnTo>
                  <a:pt x="1573243" y="4675179"/>
                </a:lnTo>
                <a:lnTo>
                  <a:pt x="1572158" y="4676315"/>
                </a:lnTo>
                <a:lnTo>
                  <a:pt x="1572933" y="4676522"/>
                </a:lnTo>
                <a:cubicBezTo>
                  <a:pt x="1574173" y="4676728"/>
                  <a:pt x="1575257" y="4677141"/>
                  <a:pt x="1574792" y="4676315"/>
                </a:cubicBezTo>
                <a:cubicBezTo>
                  <a:pt x="1578354" y="4677244"/>
                  <a:pt x="1578974" y="4676832"/>
                  <a:pt x="1579903" y="4679516"/>
                </a:cubicBezTo>
                <a:cubicBezTo>
                  <a:pt x="1573862" y="4682407"/>
                  <a:pt x="1565808" y="4683440"/>
                  <a:pt x="1563949" y="4683543"/>
                </a:cubicBezTo>
                <a:cubicBezTo>
                  <a:pt x="1563020" y="4683646"/>
                  <a:pt x="1562400" y="4683440"/>
                  <a:pt x="1561935" y="4683027"/>
                </a:cubicBezTo>
                <a:cubicBezTo>
                  <a:pt x="1561626" y="4682614"/>
                  <a:pt x="1561471" y="4681994"/>
                  <a:pt x="1561316" y="4680962"/>
                </a:cubicBezTo>
                <a:lnTo>
                  <a:pt x="1563795" y="4678587"/>
                </a:lnTo>
                <a:lnTo>
                  <a:pt x="1561780" y="4677761"/>
                </a:lnTo>
                <a:lnTo>
                  <a:pt x="1559767" y="4675386"/>
                </a:lnTo>
                <a:lnTo>
                  <a:pt x="1559612" y="4677864"/>
                </a:lnTo>
                <a:cubicBezTo>
                  <a:pt x="1555275" y="4673837"/>
                  <a:pt x="1551867" y="4669500"/>
                  <a:pt x="1544277" y="4666506"/>
                </a:cubicBezTo>
                <a:cubicBezTo>
                  <a:pt x="1545516" y="4664338"/>
                  <a:pt x="1542728" y="4663408"/>
                  <a:pt x="1544897" y="4661033"/>
                </a:cubicBezTo>
                <a:cubicBezTo>
                  <a:pt x="1549853" y="4659484"/>
                  <a:pt x="1558218" y="4665060"/>
                  <a:pt x="1560077" y="4671462"/>
                </a:cubicBezTo>
                <a:lnTo>
                  <a:pt x="1559922" y="4674044"/>
                </a:lnTo>
                <a:lnTo>
                  <a:pt x="1564569" y="4670326"/>
                </a:lnTo>
                <a:lnTo>
                  <a:pt x="1568441" y="4671049"/>
                </a:lnTo>
                <a:lnTo>
                  <a:pt x="1565034" y="4669190"/>
                </a:lnTo>
                <a:cubicBezTo>
                  <a:pt x="1561626" y="4666609"/>
                  <a:pt x="1558992" y="4663099"/>
                  <a:pt x="1557598" y="4659175"/>
                </a:cubicBezTo>
                <a:cubicBezTo>
                  <a:pt x="1556979" y="4657419"/>
                  <a:pt x="1556514" y="4655561"/>
                  <a:pt x="1556360" y="4653702"/>
                </a:cubicBezTo>
                <a:lnTo>
                  <a:pt x="1557133" y="4648333"/>
                </a:lnTo>
                <a:lnTo>
                  <a:pt x="1555895" y="4648230"/>
                </a:lnTo>
                <a:cubicBezTo>
                  <a:pt x="1554500" y="4647713"/>
                  <a:pt x="1553726" y="4646887"/>
                  <a:pt x="1553416" y="4645545"/>
                </a:cubicBezTo>
                <a:lnTo>
                  <a:pt x="1553571" y="4643273"/>
                </a:lnTo>
                <a:lnTo>
                  <a:pt x="1549543" y="4644099"/>
                </a:lnTo>
                <a:cubicBezTo>
                  <a:pt x="1543658" y="4644306"/>
                  <a:pt x="1538081" y="4642550"/>
                  <a:pt x="1537152" y="4637801"/>
                </a:cubicBezTo>
                <a:cubicBezTo>
                  <a:pt x="1541954" y="4638214"/>
                  <a:pt x="1546020" y="4637362"/>
                  <a:pt x="1550202" y="4636807"/>
                </a:cubicBezTo>
                <a:close/>
                <a:moveTo>
                  <a:pt x="6410180" y="4636579"/>
                </a:moveTo>
                <a:cubicBezTo>
                  <a:pt x="6412813" y="4636373"/>
                  <a:pt x="6414517" y="4637096"/>
                  <a:pt x="6415446" y="4638644"/>
                </a:cubicBezTo>
                <a:lnTo>
                  <a:pt x="6416221" y="4644840"/>
                </a:lnTo>
                <a:lnTo>
                  <a:pt x="6419629" y="4644324"/>
                </a:lnTo>
                <a:cubicBezTo>
                  <a:pt x="6421797" y="4647421"/>
                  <a:pt x="6422262" y="4650106"/>
                  <a:pt x="6422881" y="4652068"/>
                </a:cubicBezTo>
                <a:cubicBezTo>
                  <a:pt x="6421023" y="4653307"/>
                  <a:pt x="6419938" y="4654856"/>
                  <a:pt x="6418080" y="4656198"/>
                </a:cubicBezTo>
                <a:cubicBezTo>
                  <a:pt x="6412968" y="4655888"/>
                  <a:pt x="6411109" y="4652377"/>
                  <a:pt x="6411574" y="4649177"/>
                </a:cubicBezTo>
                <a:lnTo>
                  <a:pt x="6414052" y="4645356"/>
                </a:lnTo>
                <a:lnTo>
                  <a:pt x="6412968" y="4645150"/>
                </a:lnTo>
                <a:cubicBezTo>
                  <a:pt x="6412194" y="4644737"/>
                  <a:pt x="6411729" y="4644014"/>
                  <a:pt x="6411419" y="4643084"/>
                </a:cubicBezTo>
                <a:cubicBezTo>
                  <a:pt x="6410799" y="4641329"/>
                  <a:pt x="6410799" y="4638748"/>
                  <a:pt x="6410180" y="4636579"/>
                </a:cubicBezTo>
                <a:close/>
                <a:moveTo>
                  <a:pt x="5954785" y="4636063"/>
                </a:moveTo>
                <a:cubicBezTo>
                  <a:pt x="5957263" y="4636166"/>
                  <a:pt x="5958967" y="4636166"/>
                  <a:pt x="5960516" y="4637922"/>
                </a:cubicBezTo>
                <a:cubicBezTo>
                  <a:pt x="5962685" y="4640503"/>
                  <a:pt x="5963769" y="4646595"/>
                  <a:pt x="5960981" y="4649177"/>
                </a:cubicBezTo>
                <a:cubicBezTo>
                  <a:pt x="5958192" y="4652584"/>
                  <a:pt x="5955559" y="4653410"/>
                  <a:pt x="5953081" y="4653410"/>
                </a:cubicBezTo>
                <a:cubicBezTo>
                  <a:pt x="5953081" y="4653410"/>
                  <a:pt x="5953081" y="4653410"/>
                  <a:pt x="5953855" y="4653410"/>
                </a:cubicBezTo>
                <a:lnTo>
                  <a:pt x="5955404" y="4655269"/>
                </a:lnTo>
                <a:lnTo>
                  <a:pt x="5956798" y="4655269"/>
                </a:lnTo>
                <a:cubicBezTo>
                  <a:pt x="5957728" y="4655269"/>
                  <a:pt x="5958192" y="4655269"/>
                  <a:pt x="5958502" y="4655269"/>
                </a:cubicBezTo>
                <a:cubicBezTo>
                  <a:pt x="5958657" y="4656095"/>
                  <a:pt x="5958657" y="4656095"/>
                  <a:pt x="5958657" y="4656095"/>
                </a:cubicBezTo>
                <a:lnTo>
                  <a:pt x="5956334" y="4656508"/>
                </a:lnTo>
                <a:lnTo>
                  <a:pt x="5958812" y="4659606"/>
                </a:lnTo>
                <a:lnTo>
                  <a:pt x="5960826" y="4659296"/>
                </a:lnTo>
                <a:lnTo>
                  <a:pt x="5959586" y="4660844"/>
                </a:lnTo>
                <a:lnTo>
                  <a:pt x="5960826" y="4663116"/>
                </a:lnTo>
                <a:cubicBezTo>
                  <a:pt x="5961135" y="4664149"/>
                  <a:pt x="5961290" y="4664975"/>
                  <a:pt x="5960981" y="4665595"/>
                </a:cubicBezTo>
                <a:cubicBezTo>
                  <a:pt x="5960206" y="4665595"/>
                  <a:pt x="5959277" y="4665595"/>
                  <a:pt x="5958657" y="4664768"/>
                </a:cubicBezTo>
                <a:cubicBezTo>
                  <a:pt x="5957883" y="4663839"/>
                  <a:pt x="5958657" y="4663839"/>
                  <a:pt x="5957883" y="4663839"/>
                </a:cubicBezTo>
                <a:cubicBezTo>
                  <a:pt x="5957108" y="4662910"/>
                  <a:pt x="5957108" y="4663839"/>
                  <a:pt x="5957108" y="4663839"/>
                </a:cubicBezTo>
                <a:lnTo>
                  <a:pt x="5957108" y="4663529"/>
                </a:lnTo>
                <a:lnTo>
                  <a:pt x="5953545" y="4665078"/>
                </a:lnTo>
                <a:cubicBezTo>
                  <a:pt x="5951222" y="4665595"/>
                  <a:pt x="5949053" y="4665801"/>
                  <a:pt x="5947814" y="4668073"/>
                </a:cubicBezTo>
                <a:cubicBezTo>
                  <a:pt x="5946730" y="4666420"/>
                  <a:pt x="5946730" y="4666317"/>
                  <a:pt x="5947350" y="4664562"/>
                </a:cubicBezTo>
                <a:cubicBezTo>
                  <a:pt x="5948124" y="4664459"/>
                  <a:pt x="5947969" y="4663529"/>
                  <a:pt x="5949053" y="4664459"/>
                </a:cubicBezTo>
                <a:cubicBezTo>
                  <a:pt x="5949673" y="4663013"/>
                  <a:pt x="5951687" y="4661567"/>
                  <a:pt x="5954010" y="4660535"/>
                </a:cubicBezTo>
                <a:lnTo>
                  <a:pt x="5954475" y="4660432"/>
                </a:lnTo>
                <a:lnTo>
                  <a:pt x="5952926" y="4659606"/>
                </a:lnTo>
                <a:cubicBezTo>
                  <a:pt x="5952152" y="4659193"/>
                  <a:pt x="5951687" y="4658986"/>
                  <a:pt x="5950912" y="4658573"/>
                </a:cubicBezTo>
                <a:lnTo>
                  <a:pt x="5950757" y="4658367"/>
                </a:lnTo>
                <a:lnTo>
                  <a:pt x="5950293" y="4658573"/>
                </a:lnTo>
                <a:cubicBezTo>
                  <a:pt x="5949209" y="4658779"/>
                  <a:pt x="5948279" y="4658883"/>
                  <a:pt x="5947040" y="4658470"/>
                </a:cubicBezTo>
                <a:cubicBezTo>
                  <a:pt x="5947040" y="4658470"/>
                  <a:pt x="5947040" y="4658470"/>
                  <a:pt x="5947969" y="4658367"/>
                </a:cubicBezTo>
                <a:cubicBezTo>
                  <a:pt x="5947969" y="4658367"/>
                  <a:pt x="5947040" y="4658470"/>
                  <a:pt x="5947040" y="4657644"/>
                </a:cubicBezTo>
                <a:lnTo>
                  <a:pt x="5949673" y="4656714"/>
                </a:lnTo>
                <a:lnTo>
                  <a:pt x="5949364" y="4656198"/>
                </a:lnTo>
                <a:cubicBezTo>
                  <a:pt x="5949053" y="4655475"/>
                  <a:pt x="5948589" y="4654649"/>
                  <a:pt x="5947969" y="4653307"/>
                </a:cubicBezTo>
                <a:cubicBezTo>
                  <a:pt x="5948899" y="4651551"/>
                  <a:pt x="5949053" y="4651551"/>
                  <a:pt x="5949828" y="4651551"/>
                </a:cubicBezTo>
                <a:cubicBezTo>
                  <a:pt x="5949053" y="4651551"/>
                  <a:pt x="5949053" y="4650726"/>
                  <a:pt x="5948279" y="4649796"/>
                </a:cubicBezTo>
                <a:cubicBezTo>
                  <a:pt x="5944407" y="4647215"/>
                  <a:pt x="5946421" y="4642878"/>
                  <a:pt x="5950293" y="4638644"/>
                </a:cubicBezTo>
                <a:cubicBezTo>
                  <a:pt x="5951067" y="4639471"/>
                  <a:pt x="5953081" y="4636889"/>
                  <a:pt x="5954785" y="4636063"/>
                </a:cubicBezTo>
                <a:close/>
                <a:moveTo>
                  <a:pt x="1501836" y="4635632"/>
                </a:moveTo>
                <a:cubicBezTo>
                  <a:pt x="1504004" y="4639040"/>
                  <a:pt x="1504314" y="4640176"/>
                  <a:pt x="1504314" y="4643996"/>
                </a:cubicBezTo>
                <a:cubicBezTo>
                  <a:pt x="1501991" y="4645442"/>
                  <a:pt x="1499667" y="4645854"/>
                  <a:pt x="1497344" y="4645854"/>
                </a:cubicBezTo>
                <a:cubicBezTo>
                  <a:pt x="1495175" y="4645751"/>
                  <a:pt x="1492851" y="4645235"/>
                  <a:pt x="1490683" y="4644719"/>
                </a:cubicBezTo>
                <a:cubicBezTo>
                  <a:pt x="1484023" y="4634600"/>
                  <a:pt x="1496105" y="4636768"/>
                  <a:pt x="1501836" y="4635632"/>
                </a:cubicBezTo>
                <a:close/>
                <a:moveTo>
                  <a:pt x="1324169" y="4635219"/>
                </a:moveTo>
                <a:cubicBezTo>
                  <a:pt x="1324479" y="4636045"/>
                  <a:pt x="1324635" y="4636871"/>
                  <a:pt x="1324169" y="4638007"/>
                </a:cubicBezTo>
                <a:cubicBezTo>
                  <a:pt x="1323550" y="4639143"/>
                  <a:pt x="1323395" y="4638420"/>
                  <a:pt x="1323705" y="4639143"/>
                </a:cubicBezTo>
                <a:cubicBezTo>
                  <a:pt x="1323085" y="4640279"/>
                  <a:pt x="1323860" y="4640072"/>
                  <a:pt x="1323860" y="4640072"/>
                </a:cubicBezTo>
                <a:cubicBezTo>
                  <a:pt x="1323860" y="4640072"/>
                  <a:pt x="1323085" y="4640382"/>
                  <a:pt x="1323085" y="4640382"/>
                </a:cubicBezTo>
                <a:cubicBezTo>
                  <a:pt x="1323085" y="4640382"/>
                  <a:pt x="1323085" y="4640279"/>
                  <a:pt x="1322002" y="4642654"/>
                </a:cubicBezTo>
                <a:cubicBezTo>
                  <a:pt x="1321227" y="4645751"/>
                  <a:pt x="1321381" y="4646474"/>
                  <a:pt x="1321071" y="4648436"/>
                </a:cubicBezTo>
                <a:lnTo>
                  <a:pt x="1320917" y="4648849"/>
                </a:lnTo>
                <a:lnTo>
                  <a:pt x="1322466" y="4651431"/>
                </a:lnTo>
                <a:cubicBezTo>
                  <a:pt x="1323860" y="4655767"/>
                  <a:pt x="1322621" y="4661240"/>
                  <a:pt x="1319058" y="4664131"/>
                </a:cubicBezTo>
                <a:lnTo>
                  <a:pt x="1317045" y="4665060"/>
                </a:lnTo>
                <a:lnTo>
                  <a:pt x="1323240" y="4666300"/>
                </a:lnTo>
                <a:cubicBezTo>
                  <a:pt x="1327887" y="4668261"/>
                  <a:pt x="1332069" y="4671772"/>
                  <a:pt x="1332069" y="4676418"/>
                </a:cubicBezTo>
                <a:cubicBezTo>
                  <a:pt x="1326184" y="4674250"/>
                  <a:pt x="1320917" y="4671669"/>
                  <a:pt x="1312553" y="4671566"/>
                </a:cubicBezTo>
                <a:cubicBezTo>
                  <a:pt x="1312707" y="4669087"/>
                  <a:pt x="1309610" y="4669294"/>
                  <a:pt x="1310539" y="4666300"/>
                </a:cubicBezTo>
                <a:lnTo>
                  <a:pt x="1314101" y="4665370"/>
                </a:lnTo>
                <a:lnTo>
                  <a:pt x="1310849" y="4662066"/>
                </a:lnTo>
                <a:lnTo>
                  <a:pt x="1309919" y="4659175"/>
                </a:lnTo>
                <a:lnTo>
                  <a:pt x="1303569" y="4658452"/>
                </a:lnTo>
                <a:cubicBezTo>
                  <a:pt x="1304188" y="4657316"/>
                  <a:pt x="1301245" y="4656593"/>
                  <a:pt x="1300006" y="4655354"/>
                </a:cubicBezTo>
                <a:cubicBezTo>
                  <a:pt x="1299231" y="4652876"/>
                  <a:pt x="1298767" y="4651327"/>
                  <a:pt x="1299851" y="4648952"/>
                </a:cubicBezTo>
                <a:lnTo>
                  <a:pt x="1298767" y="4644203"/>
                </a:lnTo>
                <a:cubicBezTo>
                  <a:pt x="1299541" y="4639246"/>
                  <a:pt x="1305272" y="4635736"/>
                  <a:pt x="1308989" y="4637698"/>
                </a:cubicBezTo>
                <a:cubicBezTo>
                  <a:pt x="1310694" y="4638523"/>
                  <a:pt x="1311933" y="4640485"/>
                  <a:pt x="1312243" y="4643893"/>
                </a:cubicBezTo>
                <a:lnTo>
                  <a:pt x="1311778" y="4644203"/>
                </a:lnTo>
                <a:lnTo>
                  <a:pt x="1313946" y="4645442"/>
                </a:lnTo>
                <a:lnTo>
                  <a:pt x="1315805" y="4645235"/>
                </a:lnTo>
                <a:lnTo>
                  <a:pt x="1316734" y="4645648"/>
                </a:lnTo>
                <a:lnTo>
                  <a:pt x="1319833" y="4639969"/>
                </a:lnTo>
                <a:cubicBezTo>
                  <a:pt x="1321381" y="4637387"/>
                  <a:pt x="1322930" y="4635322"/>
                  <a:pt x="1324169" y="4635219"/>
                </a:cubicBezTo>
                <a:close/>
                <a:moveTo>
                  <a:pt x="6726633" y="4634928"/>
                </a:moveTo>
                <a:cubicBezTo>
                  <a:pt x="6728492" y="4635031"/>
                  <a:pt x="6730815" y="4636373"/>
                  <a:pt x="6731125" y="4637509"/>
                </a:cubicBezTo>
                <a:cubicBezTo>
                  <a:pt x="6731590" y="4638644"/>
                  <a:pt x="6731125" y="4639471"/>
                  <a:pt x="6731125" y="4639471"/>
                </a:cubicBezTo>
                <a:cubicBezTo>
                  <a:pt x="6729886" y="4640193"/>
                  <a:pt x="6728492" y="4640503"/>
                  <a:pt x="6727407" y="4640297"/>
                </a:cubicBezTo>
                <a:cubicBezTo>
                  <a:pt x="6726168" y="4640090"/>
                  <a:pt x="6725084" y="4639264"/>
                  <a:pt x="6724464" y="4637509"/>
                </a:cubicBezTo>
                <a:cubicBezTo>
                  <a:pt x="6724154" y="4636373"/>
                  <a:pt x="6723690" y="4635134"/>
                  <a:pt x="6724464" y="4635547"/>
                </a:cubicBezTo>
                <a:cubicBezTo>
                  <a:pt x="6724774" y="4634824"/>
                  <a:pt x="6725549" y="4635237"/>
                  <a:pt x="6726633" y="4634928"/>
                </a:cubicBezTo>
                <a:close/>
                <a:moveTo>
                  <a:pt x="1760048" y="4634909"/>
                </a:moveTo>
                <a:lnTo>
                  <a:pt x="1759893" y="4635529"/>
                </a:lnTo>
                <a:lnTo>
                  <a:pt x="1761597" y="4635529"/>
                </a:lnTo>
                <a:lnTo>
                  <a:pt x="1760822" y="4635219"/>
                </a:lnTo>
                <a:lnTo>
                  <a:pt x="1760668" y="4635426"/>
                </a:lnTo>
                <a:cubicBezTo>
                  <a:pt x="1760513" y="4635013"/>
                  <a:pt x="1760202" y="4634806"/>
                  <a:pt x="1760048" y="4634909"/>
                </a:cubicBezTo>
                <a:close/>
                <a:moveTo>
                  <a:pt x="870169" y="4634600"/>
                </a:moveTo>
                <a:cubicBezTo>
                  <a:pt x="871872" y="4638523"/>
                  <a:pt x="867845" y="4642550"/>
                  <a:pt x="864438" y="4641931"/>
                </a:cubicBezTo>
                <a:cubicBezTo>
                  <a:pt x="860565" y="4636871"/>
                  <a:pt x="867225" y="4633154"/>
                  <a:pt x="870169" y="4634600"/>
                </a:cubicBezTo>
                <a:close/>
                <a:moveTo>
                  <a:pt x="5759151" y="4634308"/>
                </a:moveTo>
                <a:cubicBezTo>
                  <a:pt x="5763952" y="4634928"/>
                  <a:pt x="5765811" y="4641433"/>
                  <a:pt x="5762559" y="4644117"/>
                </a:cubicBezTo>
                <a:cubicBezTo>
                  <a:pt x="5761939" y="4644014"/>
                  <a:pt x="5761164" y="4644014"/>
                  <a:pt x="5760390" y="4644014"/>
                </a:cubicBezTo>
                <a:cubicBezTo>
                  <a:pt x="5759615" y="4644014"/>
                  <a:pt x="5758686" y="4643807"/>
                  <a:pt x="5757757" y="4643395"/>
                </a:cubicBezTo>
                <a:cubicBezTo>
                  <a:pt x="5755743" y="4639367"/>
                  <a:pt x="5756518" y="4636373"/>
                  <a:pt x="5759151" y="4634308"/>
                </a:cubicBezTo>
                <a:close/>
                <a:moveTo>
                  <a:pt x="1147123" y="4634083"/>
                </a:moveTo>
                <a:cubicBezTo>
                  <a:pt x="1147123" y="4634083"/>
                  <a:pt x="1148363" y="4634393"/>
                  <a:pt x="1149446" y="4634703"/>
                </a:cubicBezTo>
                <a:cubicBezTo>
                  <a:pt x="1150686" y="4635013"/>
                  <a:pt x="1151305" y="4634600"/>
                  <a:pt x="1151305" y="4634600"/>
                </a:cubicBezTo>
                <a:cubicBezTo>
                  <a:pt x="1152544" y="4634909"/>
                  <a:pt x="1153009" y="4635736"/>
                  <a:pt x="1152854" y="4636975"/>
                </a:cubicBezTo>
                <a:cubicBezTo>
                  <a:pt x="1152854" y="4636975"/>
                  <a:pt x="1150996" y="4637078"/>
                  <a:pt x="1150996" y="4637078"/>
                </a:cubicBezTo>
                <a:cubicBezTo>
                  <a:pt x="1148672" y="4636355"/>
                  <a:pt x="1147433" y="4636148"/>
                  <a:pt x="1145574" y="4636252"/>
                </a:cubicBezTo>
                <a:cubicBezTo>
                  <a:pt x="1145265" y="4634186"/>
                  <a:pt x="1145884" y="4633774"/>
                  <a:pt x="1147123" y="4634083"/>
                </a:cubicBezTo>
                <a:close/>
                <a:moveTo>
                  <a:pt x="1202731" y="4633877"/>
                </a:moveTo>
                <a:lnTo>
                  <a:pt x="1203816" y="4638730"/>
                </a:lnTo>
                <a:lnTo>
                  <a:pt x="1205054" y="4637801"/>
                </a:lnTo>
                <a:cubicBezTo>
                  <a:pt x="1205519" y="4637078"/>
                  <a:pt x="1207223" y="4639143"/>
                  <a:pt x="1207223" y="4639143"/>
                </a:cubicBezTo>
                <a:cubicBezTo>
                  <a:pt x="1207223" y="4639763"/>
                  <a:pt x="1206603" y="4640485"/>
                  <a:pt x="1205829" y="4641105"/>
                </a:cubicBezTo>
                <a:lnTo>
                  <a:pt x="1204744" y="4641931"/>
                </a:lnTo>
                <a:lnTo>
                  <a:pt x="1207687" y="4648023"/>
                </a:lnTo>
                <a:cubicBezTo>
                  <a:pt x="1210011" y="4652360"/>
                  <a:pt x="1211715" y="4656490"/>
                  <a:pt x="1210011" y="4660310"/>
                </a:cubicBezTo>
                <a:cubicBezTo>
                  <a:pt x="1208617" y="4658039"/>
                  <a:pt x="1206293" y="4655664"/>
                  <a:pt x="1203970" y="4653289"/>
                </a:cubicBezTo>
                <a:lnTo>
                  <a:pt x="1199788" y="4648539"/>
                </a:lnTo>
                <a:lnTo>
                  <a:pt x="1199788" y="4648849"/>
                </a:lnTo>
                <a:cubicBezTo>
                  <a:pt x="1199323" y="4649366"/>
                  <a:pt x="1198549" y="4649572"/>
                  <a:pt x="1197310" y="4649985"/>
                </a:cubicBezTo>
                <a:cubicBezTo>
                  <a:pt x="1197000" y="4649159"/>
                  <a:pt x="1196691" y="4648436"/>
                  <a:pt x="1196845" y="4647816"/>
                </a:cubicBezTo>
                <a:lnTo>
                  <a:pt x="1198084" y="4646577"/>
                </a:lnTo>
                <a:lnTo>
                  <a:pt x="1197774" y="4646268"/>
                </a:lnTo>
                <a:cubicBezTo>
                  <a:pt x="1194676" y="4641621"/>
                  <a:pt x="1194366" y="4637181"/>
                  <a:pt x="1202731" y="4633877"/>
                </a:cubicBezTo>
                <a:close/>
                <a:moveTo>
                  <a:pt x="1426092" y="4632328"/>
                </a:moveTo>
                <a:cubicBezTo>
                  <a:pt x="1428105" y="4635013"/>
                  <a:pt x="1426866" y="4636458"/>
                  <a:pt x="1425162" y="4636562"/>
                </a:cubicBezTo>
                <a:cubicBezTo>
                  <a:pt x="1423458" y="4636768"/>
                  <a:pt x="1421290" y="4635529"/>
                  <a:pt x="1421600" y="4633257"/>
                </a:cubicBezTo>
                <a:cubicBezTo>
                  <a:pt x="1422683" y="4632947"/>
                  <a:pt x="1424233" y="4632018"/>
                  <a:pt x="1426092" y="4632328"/>
                </a:cubicBezTo>
                <a:close/>
                <a:moveTo>
                  <a:pt x="727354" y="4632121"/>
                </a:moveTo>
                <a:cubicBezTo>
                  <a:pt x="729058" y="4633257"/>
                  <a:pt x="730452" y="4635426"/>
                  <a:pt x="730762" y="4638833"/>
                </a:cubicBezTo>
                <a:cubicBezTo>
                  <a:pt x="726580" y="4639763"/>
                  <a:pt x="724721" y="4642241"/>
                  <a:pt x="721933" y="4642757"/>
                </a:cubicBezTo>
                <a:cubicBezTo>
                  <a:pt x="720849" y="4642964"/>
                  <a:pt x="719919" y="4642964"/>
                  <a:pt x="718525" y="4642550"/>
                </a:cubicBezTo>
                <a:cubicBezTo>
                  <a:pt x="714033" y="4634393"/>
                  <a:pt x="722243" y="4628714"/>
                  <a:pt x="727354" y="4632121"/>
                </a:cubicBezTo>
                <a:close/>
                <a:moveTo>
                  <a:pt x="1644805" y="4631605"/>
                </a:moveTo>
                <a:cubicBezTo>
                  <a:pt x="1647283" y="4631915"/>
                  <a:pt x="1649916" y="4632844"/>
                  <a:pt x="1652240" y="4634497"/>
                </a:cubicBezTo>
                <a:lnTo>
                  <a:pt x="1656887" y="4639556"/>
                </a:lnTo>
                <a:lnTo>
                  <a:pt x="1657816" y="4638523"/>
                </a:lnTo>
                <a:cubicBezTo>
                  <a:pt x="1661843" y="4639349"/>
                  <a:pt x="1662774" y="4641724"/>
                  <a:pt x="1665251" y="4643376"/>
                </a:cubicBezTo>
                <a:cubicBezTo>
                  <a:pt x="1663857" y="4649985"/>
                  <a:pt x="1660295" y="4651740"/>
                  <a:pt x="1657506" y="4650811"/>
                </a:cubicBezTo>
                <a:cubicBezTo>
                  <a:pt x="1656577" y="4650501"/>
                  <a:pt x="1655803" y="4649881"/>
                  <a:pt x="1655028" y="4649159"/>
                </a:cubicBezTo>
                <a:lnTo>
                  <a:pt x="1654253" y="4646474"/>
                </a:lnTo>
                <a:lnTo>
                  <a:pt x="1651931" y="4648436"/>
                </a:lnTo>
                <a:lnTo>
                  <a:pt x="1650381" y="4650604"/>
                </a:lnTo>
                <a:lnTo>
                  <a:pt x="1652240" y="4651017"/>
                </a:lnTo>
                <a:cubicBezTo>
                  <a:pt x="1652240" y="4651843"/>
                  <a:pt x="1652395" y="4651843"/>
                  <a:pt x="1651466" y="4651947"/>
                </a:cubicBezTo>
                <a:cubicBezTo>
                  <a:pt x="1651621" y="4652050"/>
                  <a:pt x="1651621" y="4652050"/>
                  <a:pt x="1651775" y="4652050"/>
                </a:cubicBezTo>
                <a:cubicBezTo>
                  <a:pt x="1651155" y="4652566"/>
                  <a:pt x="1650536" y="4652979"/>
                  <a:pt x="1649916" y="4652979"/>
                </a:cubicBezTo>
                <a:lnTo>
                  <a:pt x="1648833" y="4652566"/>
                </a:lnTo>
                <a:lnTo>
                  <a:pt x="1647128" y="4654632"/>
                </a:lnTo>
                <a:cubicBezTo>
                  <a:pt x="1645579" y="4656490"/>
                  <a:pt x="1644030" y="4658245"/>
                  <a:pt x="1642017" y="4659588"/>
                </a:cubicBezTo>
                <a:lnTo>
                  <a:pt x="1637370" y="4661549"/>
                </a:lnTo>
                <a:lnTo>
                  <a:pt x="1637525" y="4661756"/>
                </a:lnTo>
                <a:cubicBezTo>
                  <a:pt x="1637370" y="4667951"/>
                  <a:pt x="1633497" y="4670120"/>
                  <a:pt x="1628851" y="4670533"/>
                </a:cubicBezTo>
                <a:cubicBezTo>
                  <a:pt x="1627301" y="4670636"/>
                  <a:pt x="1625598" y="4670636"/>
                  <a:pt x="1624049" y="4670430"/>
                </a:cubicBezTo>
                <a:cubicBezTo>
                  <a:pt x="1621726" y="4670326"/>
                  <a:pt x="1619712" y="4669913"/>
                  <a:pt x="1617699" y="4669500"/>
                </a:cubicBezTo>
                <a:cubicBezTo>
                  <a:pt x="1613671" y="4668881"/>
                  <a:pt x="1609489" y="4667951"/>
                  <a:pt x="1607630" y="4665680"/>
                </a:cubicBezTo>
                <a:cubicBezTo>
                  <a:pt x="1607010" y="4664854"/>
                  <a:pt x="1606546" y="4663924"/>
                  <a:pt x="1606700" y="4662892"/>
                </a:cubicBezTo>
                <a:cubicBezTo>
                  <a:pt x="1606391" y="4656593"/>
                  <a:pt x="1612896" y="4652153"/>
                  <a:pt x="1620641" y="4653599"/>
                </a:cubicBezTo>
                <a:lnTo>
                  <a:pt x="1627456" y="4655457"/>
                </a:lnTo>
                <a:lnTo>
                  <a:pt x="1625907" y="4652463"/>
                </a:lnTo>
                <a:cubicBezTo>
                  <a:pt x="1622810" y="4641621"/>
                  <a:pt x="1633497" y="4630263"/>
                  <a:pt x="1644805" y="4631605"/>
                </a:cubicBezTo>
                <a:close/>
                <a:moveTo>
                  <a:pt x="1134886" y="4631399"/>
                </a:moveTo>
                <a:cubicBezTo>
                  <a:pt x="1139688" y="4631399"/>
                  <a:pt x="1141857" y="4633257"/>
                  <a:pt x="1141237" y="4636768"/>
                </a:cubicBezTo>
                <a:cubicBezTo>
                  <a:pt x="1140618" y="4637284"/>
                  <a:pt x="1138139" y="4637904"/>
                  <a:pt x="1138604" y="4638627"/>
                </a:cubicBezTo>
                <a:cubicBezTo>
                  <a:pt x="1135971" y="4637904"/>
                  <a:pt x="1133028" y="4636768"/>
                  <a:pt x="1131634" y="4635013"/>
                </a:cubicBezTo>
                <a:cubicBezTo>
                  <a:pt x="1131169" y="4634393"/>
                  <a:pt x="1131014" y="4633670"/>
                  <a:pt x="1131014" y="4632947"/>
                </a:cubicBezTo>
                <a:cubicBezTo>
                  <a:pt x="1130704" y="4630986"/>
                  <a:pt x="1132563" y="4630882"/>
                  <a:pt x="1134886" y="4631399"/>
                </a:cubicBezTo>
                <a:close/>
                <a:moveTo>
                  <a:pt x="6320030" y="4629868"/>
                </a:moveTo>
                <a:cubicBezTo>
                  <a:pt x="6326691" y="4635443"/>
                  <a:pt x="6323438" y="4639883"/>
                  <a:pt x="6320185" y="4644220"/>
                </a:cubicBezTo>
                <a:cubicBezTo>
                  <a:pt x="6316622" y="4639574"/>
                  <a:pt x="6311201" y="4645046"/>
                  <a:pt x="6310427" y="4637612"/>
                </a:cubicBezTo>
                <a:cubicBezTo>
                  <a:pt x="6311511" y="4634308"/>
                  <a:pt x="6314144" y="4631623"/>
                  <a:pt x="6320030" y="4629868"/>
                </a:cubicBezTo>
                <a:close/>
                <a:moveTo>
                  <a:pt x="6067239" y="4629868"/>
                </a:moveTo>
                <a:cubicBezTo>
                  <a:pt x="6073435" y="4627596"/>
                  <a:pt x="6076998" y="4638335"/>
                  <a:pt x="6078547" y="4640297"/>
                </a:cubicBezTo>
                <a:cubicBezTo>
                  <a:pt x="6078547" y="4640297"/>
                  <a:pt x="6079322" y="4640813"/>
                  <a:pt x="6079476" y="4641949"/>
                </a:cubicBezTo>
                <a:cubicBezTo>
                  <a:pt x="6080251" y="4643601"/>
                  <a:pt x="6077772" y="4642981"/>
                  <a:pt x="6078082" y="4644220"/>
                </a:cubicBezTo>
                <a:cubicBezTo>
                  <a:pt x="6073590" y="4639264"/>
                  <a:pt x="6067859" y="4637715"/>
                  <a:pt x="6067859" y="4637715"/>
                </a:cubicBezTo>
                <a:cubicBezTo>
                  <a:pt x="6067085" y="4636166"/>
                  <a:pt x="6067394" y="4635443"/>
                  <a:pt x="6066930" y="4636166"/>
                </a:cubicBezTo>
                <a:cubicBezTo>
                  <a:pt x="6066620" y="4633792"/>
                  <a:pt x="6065535" y="4631004"/>
                  <a:pt x="6067239" y="4629868"/>
                </a:cubicBezTo>
                <a:close/>
                <a:moveTo>
                  <a:pt x="1447157" y="4629540"/>
                </a:moveTo>
                <a:cubicBezTo>
                  <a:pt x="1448396" y="4631296"/>
                  <a:pt x="1449326" y="4633051"/>
                  <a:pt x="1449791" y="4634806"/>
                </a:cubicBezTo>
                <a:lnTo>
                  <a:pt x="1451030" y="4640072"/>
                </a:lnTo>
                <a:lnTo>
                  <a:pt x="1455986" y="4638730"/>
                </a:lnTo>
                <a:cubicBezTo>
                  <a:pt x="1457381" y="4639143"/>
                  <a:pt x="1458774" y="4639969"/>
                  <a:pt x="1459704" y="4641311"/>
                </a:cubicBezTo>
                <a:cubicBezTo>
                  <a:pt x="1460943" y="4643067"/>
                  <a:pt x="1461253" y="4645648"/>
                  <a:pt x="1460323" y="4648849"/>
                </a:cubicBezTo>
                <a:cubicBezTo>
                  <a:pt x="1458310" y="4649572"/>
                  <a:pt x="1456915" y="4649469"/>
                  <a:pt x="1455522" y="4649366"/>
                </a:cubicBezTo>
                <a:lnTo>
                  <a:pt x="1453043" y="4648952"/>
                </a:lnTo>
                <a:lnTo>
                  <a:pt x="1452579" y="4649985"/>
                </a:lnTo>
                <a:lnTo>
                  <a:pt x="1452734" y="4650708"/>
                </a:lnTo>
                <a:lnTo>
                  <a:pt x="1453353" y="4649985"/>
                </a:lnTo>
                <a:cubicBezTo>
                  <a:pt x="1453972" y="4649778"/>
                  <a:pt x="1454282" y="4649778"/>
                  <a:pt x="1454282" y="4649778"/>
                </a:cubicBezTo>
                <a:lnTo>
                  <a:pt x="1457690" y="4651534"/>
                </a:lnTo>
                <a:lnTo>
                  <a:pt x="1458929" y="4650501"/>
                </a:lnTo>
                <a:cubicBezTo>
                  <a:pt x="1461408" y="4653599"/>
                  <a:pt x="1462027" y="4658555"/>
                  <a:pt x="1462802" y="4662272"/>
                </a:cubicBezTo>
                <a:cubicBezTo>
                  <a:pt x="1459394" y="4660930"/>
                  <a:pt x="1458620" y="4657213"/>
                  <a:pt x="1451959" y="4658865"/>
                </a:cubicBezTo>
                <a:lnTo>
                  <a:pt x="1453198" y="4656697"/>
                </a:lnTo>
                <a:lnTo>
                  <a:pt x="1451030" y="4655148"/>
                </a:lnTo>
                <a:lnTo>
                  <a:pt x="1451649" y="4652153"/>
                </a:lnTo>
                <a:lnTo>
                  <a:pt x="1451339" y="4652256"/>
                </a:lnTo>
                <a:cubicBezTo>
                  <a:pt x="1450410" y="4652256"/>
                  <a:pt x="1450100" y="4651534"/>
                  <a:pt x="1449791" y="4650604"/>
                </a:cubicBezTo>
                <a:cubicBezTo>
                  <a:pt x="1449481" y="4649675"/>
                  <a:pt x="1449326" y="4648539"/>
                  <a:pt x="1449171" y="4647816"/>
                </a:cubicBezTo>
                <a:cubicBezTo>
                  <a:pt x="1447312" y="4647610"/>
                  <a:pt x="1449791" y="4643893"/>
                  <a:pt x="1447932" y="4643789"/>
                </a:cubicBezTo>
                <a:cubicBezTo>
                  <a:pt x="1450100" y="4639246"/>
                  <a:pt x="1444834" y="4636871"/>
                  <a:pt x="1447157" y="4629540"/>
                </a:cubicBezTo>
                <a:close/>
                <a:moveTo>
                  <a:pt x="1384424" y="4629321"/>
                </a:moveTo>
                <a:cubicBezTo>
                  <a:pt x="1386980" y="4629101"/>
                  <a:pt x="1389846" y="4630263"/>
                  <a:pt x="1392944" y="4633877"/>
                </a:cubicBezTo>
                <a:cubicBezTo>
                  <a:pt x="1394492" y="4635013"/>
                  <a:pt x="1393718" y="4634806"/>
                  <a:pt x="1394492" y="4635839"/>
                </a:cubicBezTo>
                <a:lnTo>
                  <a:pt x="1394803" y="4636045"/>
                </a:lnTo>
                <a:lnTo>
                  <a:pt x="1395267" y="4634806"/>
                </a:lnTo>
                <a:cubicBezTo>
                  <a:pt x="1395577" y="4634497"/>
                  <a:pt x="1396042" y="4634497"/>
                  <a:pt x="1396506" y="4634600"/>
                </a:cubicBezTo>
                <a:cubicBezTo>
                  <a:pt x="1396506" y="4634600"/>
                  <a:pt x="1397745" y="4634909"/>
                  <a:pt x="1398829" y="4635219"/>
                </a:cubicBezTo>
                <a:cubicBezTo>
                  <a:pt x="1400069" y="4635529"/>
                  <a:pt x="1400688" y="4635013"/>
                  <a:pt x="1400688" y="4635013"/>
                </a:cubicBezTo>
                <a:cubicBezTo>
                  <a:pt x="1401928" y="4635322"/>
                  <a:pt x="1402237" y="4636045"/>
                  <a:pt x="1401928" y="4637284"/>
                </a:cubicBezTo>
                <a:cubicBezTo>
                  <a:pt x="1401928" y="4637284"/>
                  <a:pt x="1400069" y="4637491"/>
                  <a:pt x="1400069" y="4637491"/>
                </a:cubicBezTo>
                <a:cubicBezTo>
                  <a:pt x="1398829" y="4637181"/>
                  <a:pt x="1398055" y="4636975"/>
                  <a:pt x="1397281" y="4636871"/>
                </a:cubicBezTo>
                <a:lnTo>
                  <a:pt x="1395887" y="4636768"/>
                </a:lnTo>
                <a:lnTo>
                  <a:pt x="1397745" y="4638110"/>
                </a:lnTo>
                <a:cubicBezTo>
                  <a:pt x="1396971" y="4638833"/>
                  <a:pt x="1396661" y="4639556"/>
                  <a:pt x="1396351" y="4640279"/>
                </a:cubicBezTo>
                <a:lnTo>
                  <a:pt x="1396042" y="4642241"/>
                </a:lnTo>
                <a:lnTo>
                  <a:pt x="1397590" y="4643686"/>
                </a:lnTo>
                <a:cubicBezTo>
                  <a:pt x="1396816" y="4644203"/>
                  <a:pt x="1395577" y="4645854"/>
                  <a:pt x="1395267" y="4645132"/>
                </a:cubicBezTo>
                <a:lnTo>
                  <a:pt x="1394957" y="4645029"/>
                </a:lnTo>
                <a:lnTo>
                  <a:pt x="1392944" y="4647816"/>
                </a:lnTo>
                <a:cubicBezTo>
                  <a:pt x="1390155" y="4650811"/>
                  <a:pt x="1387368" y="4651637"/>
                  <a:pt x="1384889" y="4651431"/>
                </a:cubicBezTo>
                <a:cubicBezTo>
                  <a:pt x="1383650" y="4651224"/>
                  <a:pt x="1382411" y="4650811"/>
                  <a:pt x="1381326" y="4650191"/>
                </a:cubicBezTo>
                <a:lnTo>
                  <a:pt x="1381171" y="4650088"/>
                </a:lnTo>
                <a:lnTo>
                  <a:pt x="1380552" y="4651431"/>
                </a:lnTo>
                <a:cubicBezTo>
                  <a:pt x="1379468" y="4651017"/>
                  <a:pt x="1378383" y="4650501"/>
                  <a:pt x="1377764" y="4649881"/>
                </a:cubicBezTo>
                <a:cubicBezTo>
                  <a:pt x="1376989" y="4649159"/>
                  <a:pt x="1376835" y="4648436"/>
                  <a:pt x="1377454" y="4647300"/>
                </a:cubicBezTo>
                <a:lnTo>
                  <a:pt x="1377919" y="4646681"/>
                </a:lnTo>
                <a:lnTo>
                  <a:pt x="1376989" y="4644822"/>
                </a:lnTo>
                <a:cubicBezTo>
                  <a:pt x="1376060" y="4643067"/>
                  <a:pt x="1375130" y="4640692"/>
                  <a:pt x="1375440" y="4638214"/>
                </a:cubicBezTo>
                <a:cubicBezTo>
                  <a:pt x="1375595" y="4636562"/>
                  <a:pt x="1376214" y="4634806"/>
                  <a:pt x="1377764" y="4633051"/>
                </a:cubicBezTo>
                <a:cubicBezTo>
                  <a:pt x="1379623" y="4631141"/>
                  <a:pt x="1381868" y="4629540"/>
                  <a:pt x="1384424" y="4629321"/>
                </a:cubicBezTo>
                <a:close/>
                <a:moveTo>
                  <a:pt x="6114018" y="4628835"/>
                </a:moveTo>
                <a:cubicBezTo>
                  <a:pt x="6117271" y="4632656"/>
                  <a:pt x="6114173" y="4639987"/>
                  <a:pt x="6108287" y="4639677"/>
                </a:cubicBezTo>
                <a:cubicBezTo>
                  <a:pt x="6107977" y="4637715"/>
                  <a:pt x="6106893" y="4636476"/>
                  <a:pt x="6106583" y="4634617"/>
                </a:cubicBezTo>
                <a:cubicBezTo>
                  <a:pt x="6109061" y="4632243"/>
                  <a:pt x="6108907" y="4627906"/>
                  <a:pt x="6114018" y="4628835"/>
                </a:cubicBezTo>
                <a:close/>
                <a:moveTo>
                  <a:pt x="5805465" y="4628629"/>
                </a:moveTo>
                <a:cubicBezTo>
                  <a:pt x="5809492" y="4630900"/>
                  <a:pt x="5808098" y="4637509"/>
                  <a:pt x="5803916" y="4638748"/>
                </a:cubicBezTo>
                <a:cubicBezTo>
                  <a:pt x="5802831" y="4638128"/>
                  <a:pt x="5800972" y="4637818"/>
                  <a:pt x="5799888" y="4636373"/>
                </a:cubicBezTo>
                <a:cubicBezTo>
                  <a:pt x="5799888" y="4632036"/>
                  <a:pt x="5802057" y="4629558"/>
                  <a:pt x="5805465" y="4628629"/>
                </a:cubicBezTo>
                <a:close/>
                <a:moveTo>
                  <a:pt x="1738362" y="4627475"/>
                </a:moveTo>
                <a:cubicBezTo>
                  <a:pt x="1738672" y="4628301"/>
                  <a:pt x="1739446" y="4627888"/>
                  <a:pt x="1740222" y="4627475"/>
                </a:cubicBezTo>
                <a:cubicBezTo>
                  <a:pt x="1742389" y="4628301"/>
                  <a:pt x="1744868" y="4629953"/>
                  <a:pt x="1744713" y="4631915"/>
                </a:cubicBezTo>
                <a:cubicBezTo>
                  <a:pt x="1744249" y="4633051"/>
                  <a:pt x="1743474" y="4633670"/>
                  <a:pt x="1742699" y="4633877"/>
                </a:cubicBezTo>
                <a:lnTo>
                  <a:pt x="1741460" y="4633877"/>
                </a:lnTo>
                <a:lnTo>
                  <a:pt x="1739446" y="4638317"/>
                </a:lnTo>
                <a:cubicBezTo>
                  <a:pt x="1736658" y="4641931"/>
                  <a:pt x="1732631" y="4642137"/>
                  <a:pt x="1728759" y="4642654"/>
                </a:cubicBezTo>
                <a:cubicBezTo>
                  <a:pt x="1729068" y="4639763"/>
                  <a:pt x="1732476" y="4634703"/>
                  <a:pt x="1736968" y="4633361"/>
                </a:cubicBezTo>
                <a:lnTo>
                  <a:pt x="1739911" y="4633464"/>
                </a:lnTo>
                <a:lnTo>
                  <a:pt x="1737743" y="4632328"/>
                </a:lnTo>
                <a:cubicBezTo>
                  <a:pt x="1737123" y="4631192"/>
                  <a:pt x="1736813" y="4629643"/>
                  <a:pt x="1736658" y="4628301"/>
                </a:cubicBezTo>
                <a:cubicBezTo>
                  <a:pt x="1736968" y="4629024"/>
                  <a:pt x="1736968" y="4629024"/>
                  <a:pt x="1736968" y="4629024"/>
                </a:cubicBezTo>
                <a:cubicBezTo>
                  <a:pt x="1738053" y="4629437"/>
                  <a:pt x="1737743" y="4628714"/>
                  <a:pt x="1738517" y="4628301"/>
                </a:cubicBezTo>
                <a:cubicBezTo>
                  <a:pt x="1738517" y="4628301"/>
                  <a:pt x="1737898" y="4628714"/>
                  <a:pt x="1738362" y="4627475"/>
                </a:cubicBezTo>
                <a:close/>
                <a:moveTo>
                  <a:pt x="689714" y="4627269"/>
                </a:moveTo>
                <a:cubicBezTo>
                  <a:pt x="691418" y="4626855"/>
                  <a:pt x="693122" y="4627165"/>
                  <a:pt x="695291" y="4629231"/>
                </a:cubicBezTo>
                <a:cubicBezTo>
                  <a:pt x="694516" y="4633877"/>
                  <a:pt x="691883" y="4633774"/>
                  <a:pt x="689095" y="4633670"/>
                </a:cubicBezTo>
                <a:cubicBezTo>
                  <a:pt x="690334" y="4630676"/>
                  <a:pt x="686771" y="4629953"/>
                  <a:pt x="689714" y="4627269"/>
                </a:cubicBezTo>
                <a:close/>
                <a:moveTo>
                  <a:pt x="6607208" y="4626770"/>
                </a:moveTo>
                <a:cubicBezTo>
                  <a:pt x="6612629" y="4628732"/>
                  <a:pt x="6616192" y="4626047"/>
                  <a:pt x="6619600" y="4629971"/>
                </a:cubicBezTo>
                <a:cubicBezTo>
                  <a:pt x="6618980" y="4634514"/>
                  <a:pt x="6616037" y="4636889"/>
                  <a:pt x="6613094" y="4637405"/>
                </a:cubicBezTo>
                <a:cubicBezTo>
                  <a:pt x="6609996" y="4638025"/>
                  <a:pt x="6606898" y="4636786"/>
                  <a:pt x="6605969" y="4633998"/>
                </a:cubicBezTo>
                <a:cubicBezTo>
                  <a:pt x="6605194" y="4632243"/>
                  <a:pt x="6605504" y="4629765"/>
                  <a:pt x="6607208" y="4626770"/>
                </a:cubicBezTo>
                <a:close/>
                <a:moveTo>
                  <a:pt x="6640511" y="4626564"/>
                </a:moveTo>
                <a:cubicBezTo>
                  <a:pt x="6642214" y="4626564"/>
                  <a:pt x="6644693" y="4629248"/>
                  <a:pt x="6646397" y="4631107"/>
                </a:cubicBezTo>
                <a:cubicBezTo>
                  <a:pt x="6646551" y="4633792"/>
                  <a:pt x="6645003" y="4636373"/>
                  <a:pt x="6642679" y="4637922"/>
                </a:cubicBezTo>
                <a:cubicBezTo>
                  <a:pt x="6639271" y="4634308"/>
                  <a:pt x="6639116" y="4630797"/>
                  <a:pt x="6640511" y="4626564"/>
                </a:cubicBezTo>
                <a:close/>
                <a:moveTo>
                  <a:pt x="1530956" y="4626133"/>
                </a:moveTo>
                <a:cubicBezTo>
                  <a:pt x="1535448" y="4630882"/>
                  <a:pt x="1537152" y="4636665"/>
                  <a:pt x="1536532" y="4642447"/>
                </a:cubicBezTo>
                <a:cubicBezTo>
                  <a:pt x="1535603" y="4652050"/>
                  <a:pt x="1528633" y="4661446"/>
                  <a:pt x="1518720" y="4665060"/>
                </a:cubicBezTo>
                <a:cubicBezTo>
                  <a:pt x="1517945" y="4664131"/>
                  <a:pt x="1517325" y="4663202"/>
                  <a:pt x="1516396" y="4663924"/>
                </a:cubicBezTo>
                <a:cubicBezTo>
                  <a:pt x="1515157" y="4662479"/>
                  <a:pt x="1514227" y="4660930"/>
                  <a:pt x="1513607" y="4659071"/>
                </a:cubicBezTo>
                <a:cubicBezTo>
                  <a:pt x="1508961" y="4646784"/>
                  <a:pt x="1517635" y="4628095"/>
                  <a:pt x="1530956" y="4626133"/>
                </a:cubicBezTo>
                <a:close/>
                <a:moveTo>
                  <a:pt x="6173034" y="4625518"/>
                </a:moveTo>
                <a:cubicBezTo>
                  <a:pt x="6177487" y="4626796"/>
                  <a:pt x="6181553" y="4629506"/>
                  <a:pt x="6184496" y="4633585"/>
                </a:cubicBezTo>
                <a:cubicBezTo>
                  <a:pt x="6183876" y="4634617"/>
                  <a:pt x="6183102" y="4635650"/>
                  <a:pt x="6184186" y="4636270"/>
                </a:cubicBezTo>
                <a:cubicBezTo>
                  <a:pt x="6180314" y="4643601"/>
                  <a:pt x="6172259" y="4647731"/>
                  <a:pt x="6164515" y="4648247"/>
                </a:cubicBezTo>
                <a:cubicBezTo>
                  <a:pt x="6156770" y="4648764"/>
                  <a:pt x="6149180" y="4645666"/>
                  <a:pt x="6146082" y="4638748"/>
                </a:cubicBezTo>
                <a:cubicBezTo>
                  <a:pt x="6149180" y="4632243"/>
                  <a:pt x="6153981" y="4628112"/>
                  <a:pt x="6159248" y="4626047"/>
                </a:cubicBezTo>
                <a:cubicBezTo>
                  <a:pt x="6163740" y="4624395"/>
                  <a:pt x="6168581" y="4624240"/>
                  <a:pt x="6173034" y="4625518"/>
                </a:cubicBezTo>
                <a:close/>
                <a:moveTo>
                  <a:pt x="5851469" y="4625221"/>
                </a:moveTo>
                <a:cubicBezTo>
                  <a:pt x="5853947" y="4629455"/>
                  <a:pt x="5849300" y="4636373"/>
                  <a:pt x="5846048" y="4639883"/>
                </a:cubicBezTo>
                <a:cubicBezTo>
                  <a:pt x="5843879" y="4639058"/>
                  <a:pt x="5842640" y="4640710"/>
                  <a:pt x="5840471" y="4639883"/>
                </a:cubicBezTo>
                <a:cubicBezTo>
                  <a:pt x="5843414" y="4632862"/>
                  <a:pt x="5845893" y="4625118"/>
                  <a:pt x="5851469" y="4625221"/>
                </a:cubicBezTo>
                <a:close/>
                <a:moveTo>
                  <a:pt x="1507489" y="4623100"/>
                </a:moveTo>
                <a:cubicBezTo>
                  <a:pt x="1509039" y="4622803"/>
                  <a:pt x="1510897" y="4623655"/>
                  <a:pt x="1512369" y="4626133"/>
                </a:cubicBezTo>
                <a:cubicBezTo>
                  <a:pt x="1510200" y="4627578"/>
                  <a:pt x="1508032" y="4629024"/>
                  <a:pt x="1506173" y="4628301"/>
                </a:cubicBezTo>
                <a:cubicBezTo>
                  <a:pt x="1505553" y="4628095"/>
                  <a:pt x="1504934" y="4627681"/>
                  <a:pt x="1504469" y="4626959"/>
                </a:cubicBezTo>
                <a:cubicBezTo>
                  <a:pt x="1504701" y="4624842"/>
                  <a:pt x="1505940" y="4623396"/>
                  <a:pt x="1507489" y="4623100"/>
                </a:cubicBezTo>
                <a:close/>
                <a:moveTo>
                  <a:pt x="1791182" y="4622829"/>
                </a:moveTo>
                <a:cubicBezTo>
                  <a:pt x="1792576" y="4622829"/>
                  <a:pt x="1791337" y="4629540"/>
                  <a:pt x="1790408" y="4634186"/>
                </a:cubicBezTo>
                <a:lnTo>
                  <a:pt x="1789788" y="4637284"/>
                </a:lnTo>
                <a:lnTo>
                  <a:pt x="1790873" y="4637387"/>
                </a:lnTo>
                <a:lnTo>
                  <a:pt x="1792266" y="4638317"/>
                </a:lnTo>
                <a:lnTo>
                  <a:pt x="1794125" y="4638007"/>
                </a:lnTo>
                <a:lnTo>
                  <a:pt x="1794435" y="4637594"/>
                </a:lnTo>
                <a:cubicBezTo>
                  <a:pt x="1794900" y="4636355"/>
                  <a:pt x="1795055" y="4635116"/>
                  <a:pt x="1794589" y="4634600"/>
                </a:cubicBezTo>
                <a:cubicBezTo>
                  <a:pt x="1795519" y="4634703"/>
                  <a:pt x="1796448" y="4633877"/>
                  <a:pt x="1796448" y="4633877"/>
                </a:cubicBezTo>
                <a:cubicBezTo>
                  <a:pt x="1797223" y="4634806"/>
                  <a:pt x="1797223" y="4635736"/>
                  <a:pt x="1797223" y="4636562"/>
                </a:cubicBezTo>
                <a:lnTo>
                  <a:pt x="1794900" y="4637904"/>
                </a:lnTo>
                <a:lnTo>
                  <a:pt x="1801560" y="4636665"/>
                </a:lnTo>
                <a:lnTo>
                  <a:pt x="1804194" y="4637078"/>
                </a:lnTo>
                <a:lnTo>
                  <a:pt x="1804038" y="4636045"/>
                </a:lnTo>
                <a:cubicBezTo>
                  <a:pt x="1805742" y="4636458"/>
                  <a:pt x="1806207" y="4635529"/>
                  <a:pt x="1808685" y="4637491"/>
                </a:cubicBezTo>
                <a:lnTo>
                  <a:pt x="1808530" y="4637801"/>
                </a:lnTo>
                <a:lnTo>
                  <a:pt x="1812868" y="4638523"/>
                </a:lnTo>
                <a:cubicBezTo>
                  <a:pt x="1815191" y="4639453"/>
                  <a:pt x="1817359" y="4640588"/>
                  <a:pt x="1819218" y="4642137"/>
                </a:cubicBezTo>
                <a:cubicBezTo>
                  <a:pt x="1815965" y="4648333"/>
                  <a:pt x="1808685" y="4646681"/>
                  <a:pt x="1802954" y="4646784"/>
                </a:cubicBezTo>
                <a:cubicBezTo>
                  <a:pt x="1804503" y="4652566"/>
                  <a:pt x="1808685" y="4660517"/>
                  <a:pt x="1802489" y="4663408"/>
                </a:cubicBezTo>
                <a:cubicBezTo>
                  <a:pt x="1797843" y="4661756"/>
                  <a:pt x="1797843" y="4656387"/>
                  <a:pt x="1796758" y="4651017"/>
                </a:cubicBezTo>
                <a:lnTo>
                  <a:pt x="1796138" y="4648849"/>
                </a:lnTo>
                <a:lnTo>
                  <a:pt x="1794744" y="4647713"/>
                </a:lnTo>
                <a:lnTo>
                  <a:pt x="1789788" y="4644822"/>
                </a:lnTo>
                <a:lnTo>
                  <a:pt x="1789478" y="4645235"/>
                </a:lnTo>
                <a:lnTo>
                  <a:pt x="1789478" y="4645442"/>
                </a:lnTo>
                <a:lnTo>
                  <a:pt x="1789478" y="4645545"/>
                </a:lnTo>
                <a:lnTo>
                  <a:pt x="1789323" y="4646165"/>
                </a:lnTo>
                <a:lnTo>
                  <a:pt x="1789323" y="4646990"/>
                </a:lnTo>
                <a:lnTo>
                  <a:pt x="1789168" y="4647094"/>
                </a:lnTo>
                <a:lnTo>
                  <a:pt x="1789013" y="4648023"/>
                </a:lnTo>
                <a:cubicBezTo>
                  <a:pt x="1788549" y="4648849"/>
                  <a:pt x="1787774" y="4649778"/>
                  <a:pt x="1787310" y="4650501"/>
                </a:cubicBezTo>
                <a:cubicBezTo>
                  <a:pt x="1788239" y="4652153"/>
                  <a:pt x="1783902" y="4652566"/>
                  <a:pt x="1784831" y="4654218"/>
                </a:cubicBezTo>
                <a:cubicBezTo>
                  <a:pt x="1780184" y="4655457"/>
                  <a:pt x="1781114" y="4661343"/>
                  <a:pt x="1774453" y="4664441"/>
                </a:cubicBezTo>
                <a:lnTo>
                  <a:pt x="1776777" y="4659071"/>
                </a:lnTo>
                <a:lnTo>
                  <a:pt x="1775537" y="4657316"/>
                </a:lnTo>
                <a:cubicBezTo>
                  <a:pt x="1775383" y="4656180"/>
                  <a:pt x="1776002" y="4654838"/>
                  <a:pt x="1776777" y="4653289"/>
                </a:cubicBezTo>
                <a:cubicBezTo>
                  <a:pt x="1777861" y="4654115"/>
                  <a:pt x="1778480" y="4655044"/>
                  <a:pt x="1778480" y="4656180"/>
                </a:cubicBezTo>
                <a:lnTo>
                  <a:pt x="1778480" y="4656697"/>
                </a:lnTo>
                <a:lnTo>
                  <a:pt x="1781579" y="4652360"/>
                </a:lnTo>
                <a:cubicBezTo>
                  <a:pt x="1782972" y="4650501"/>
                  <a:pt x="1784211" y="4648746"/>
                  <a:pt x="1784831" y="4646784"/>
                </a:cubicBezTo>
                <a:cubicBezTo>
                  <a:pt x="1784831" y="4646784"/>
                  <a:pt x="1784831" y="4646784"/>
                  <a:pt x="1787155" y="4646165"/>
                </a:cubicBezTo>
                <a:cubicBezTo>
                  <a:pt x="1787619" y="4645442"/>
                  <a:pt x="1787619" y="4645338"/>
                  <a:pt x="1787619" y="4645338"/>
                </a:cubicBezTo>
                <a:cubicBezTo>
                  <a:pt x="1787774" y="4645029"/>
                  <a:pt x="1788239" y="4645029"/>
                  <a:pt x="1788703" y="4645235"/>
                </a:cubicBezTo>
                <a:lnTo>
                  <a:pt x="1789013" y="4644925"/>
                </a:lnTo>
                <a:lnTo>
                  <a:pt x="1789323" y="4644512"/>
                </a:lnTo>
                <a:lnTo>
                  <a:pt x="1785141" y="4642034"/>
                </a:lnTo>
                <a:cubicBezTo>
                  <a:pt x="1786070" y="4639866"/>
                  <a:pt x="1783128" y="4638833"/>
                  <a:pt x="1784986" y="4636562"/>
                </a:cubicBezTo>
                <a:lnTo>
                  <a:pt x="1787310" y="4636871"/>
                </a:lnTo>
                <a:cubicBezTo>
                  <a:pt x="1787310" y="4635942"/>
                  <a:pt x="1787464" y="4634703"/>
                  <a:pt x="1787774" y="4633154"/>
                </a:cubicBezTo>
                <a:cubicBezTo>
                  <a:pt x="1788394" y="4629953"/>
                  <a:pt x="1790562" y="4626030"/>
                  <a:pt x="1791027" y="4624790"/>
                </a:cubicBezTo>
                <a:cubicBezTo>
                  <a:pt x="1791492" y="4623654"/>
                  <a:pt x="1791182" y="4622829"/>
                  <a:pt x="1791182" y="4622829"/>
                </a:cubicBezTo>
                <a:close/>
                <a:moveTo>
                  <a:pt x="1064254" y="4622829"/>
                </a:moveTo>
                <a:cubicBezTo>
                  <a:pt x="1066577" y="4623964"/>
                  <a:pt x="1070914" y="4622622"/>
                  <a:pt x="1071069" y="4626959"/>
                </a:cubicBezTo>
                <a:cubicBezTo>
                  <a:pt x="1060381" y="4631296"/>
                  <a:pt x="1061930" y="4647197"/>
                  <a:pt x="1051707" y="4648126"/>
                </a:cubicBezTo>
                <a:cubicBezTo>
                  <a:pt x="1054030" y="4639556"/>
                  <a:pt x="1054650" y="4630779"/>
                  <a:pt x="1064254" y="4622829"/>
                </a:cubicBezTo>
                <a:close/>
                <a:moveTo>
                  <a:pt x="1322156" y="4622312"/>
                </a:moveTo>
                <a:cubicBezTo>
                  <a:pt x="1322930" y="4623242"/>
                  <a:pt x="1322930" y="4623242"/>
                  <a:pt x="1322776" y="4625719"/>
                </a:cubicBezTo>
                <a:cubicBezTo>
                  <a:pt x="1322002" y="4624790"/>
                  <a:pt x="1322002" y="4624790"/>
                  <a:pt x="1321227" y="4625513"/>
                </a:cubicBezTo>
                <a:cubicBezTo>
                  <a:pt x="1321227" y="4625513"/>
                  <a:pt x="1321227" y="4625513"/>
                  <a:pt x="1321071" y="4626339"/>
                </a:cubicBezTo>
                <a:cubicBezTo>
                  <a:pt x="1320297" y="4626236"/>
                  <a:pt x="1320452" y="4625410"/>
                  <a:pt x="1319678" y="4625203"/>
                </a:cubicBezTo>
                <a:cubicBezTo>
                  <a:pt x="1319678" y="4625203"/>
                  <a:pt x="1319678" y="4624377"/>
                  <a:pt x="1319678" y="4624377"/>
                </a:cubicBezTo>
                <a:cubicBezTo>
                  <a:pt x="1319213" y="4624377"/>
                  <a:pt x="1319367" y="4624377"/>
                  <a:pt x="1319523" y="4624171"/>
                </a:cubicBezTo>
                <a:cubicBezTo>
                  <a:pt x="1319678" y="4623964"/>
                  <a:pt x="1320142" y="4623654"/>
                  <a:pt x="1320607" y="4622829"/>
                </a:cubicBezTo>
                <a:cubicBezTo>
                  <a:pt x="1321381" y="4622209"/>
                  <a:pt x="1321536" y="4621280"/>
                  <a:pt x="1322156" y="4622312"/>
                </a:cubicBezTo>
                <a:close/>
                <a:moveTo>
                  <a:pt x="793495" y="4621796"/>
                </a:moveTo>
                <a:lnTo>
                  <a:pt x="792875" y="4622003"/>
                </a:lnTo>
                <a:lnTo>
                  <a:pt x="793495" y="4621899"/>
                </a:lnTo>
                <a:close/>
                <a:moveTo>
                  <a:pt x="1122030" y="4621073"/>
                </a:moveTo>
                <a:cubicBezTo>
                  <a:pt x="1120945" y="4622415"/>
                  <a:pt x="1119242" y="4625307"/>
                  <a:pt x="1117538" y="4626030"/>
                </a:cubicBezTo>
                <a:cubicBezTo>
                  <a:pt x="1117074" y="4626236"/>
                  <a:pt x="1116454" y="4626236"/>
                  <a:pt x="1115989" y="4625823"/>
                </a:cubicBezTo>
                <a:cubicBezTo>
                  <a:pt x="1117383" y="4623964"/>
                  <a:pt x="1118622" y="4620350"/>
                  <a:pt x="1122030" y="4621073"/>
                </a:cubicBezTo>
                <a:close/>
                <a:moveTo>
                  <a:pt x="648512" y="4620453"/>
                </a:moveTo>
                <a:cubicBezTo>
                  <a:pt x="651300" y="4620763"/>
                  <a:pt x="651145" y="4622622"/>
                  <a:pt x="653004" y="4622622"/>
                </a:cubicBezTo>
                <a:cubicBezTo>
                  <a:pt x="651765" y="4626855"/>
                  <a:pt x="649442" y="4627991"/>
                  <a:pt x="645879" y="4627991"/>
                </a:cubicBezTo>
                <a:cubicBezTo>
                  <a:pt x="644949" y="4625719"/>
                  <a:pt x="646188" y="4621589"/>
                  <a:pt x="648512" y="4620453"/>
                </a:cubicBezTo>
                <a:close/>
                <a:moveTo>
                  <a:pt x="6203548" y="4620368"/>
                </a:moveTo>
                <a:cubicBezTo>
                  <a:pt x="6210673" y="4627596"/>
                  <a:pt x="6208505" y="4635134"/>
                  <a:pt x="6206182" y="4642775"/>
                </a:cubicBezTo>
                <a:cubicBezTo>
                  <a:pt x="6204323" y="4641845"/>
                  <a:pt x="6202929" y="4640400"/>
                  <a:pt x="6201999" y="4638644"/>
                </a:cubicBezTo>
                <a:lnTo>
                  <a:pt x="6201844" y="4637818"/>
                </a:lnTo>
                <a:lnTo>
                  <a:pt x="6201690" y="4639058"/>
                </a:lnTo>
                <a:cubicBezTo>
                  <a:pt x="6201844" y="4646492"/>
                  <a:pt x="6204168" y="4653720"/>
                  <a:pt x="6199676" y="4658573"/>
                </a:cubicBezTo>
                <a:cubicBezTo>
                  <a:pt x="6198901" y="4655475"/>
                  <a:pt x="6197197" y="4651965"/>
                  <a:pt x="6195648" y="4648454"/>
                </a:cubicBezTo>
                <a:cubicBezTo>
                  <a:pt x="6194100" y="4644943"/>
                  <a:pt x="6192860" y="4641536"/>
                  <a:pt x="6193015" y="4638644"/>
                </a:cubicBezTo>
                <a:lnTo>
                  <a:pt x="6194100" y="4635547"/>
                </a:lnTo>
                <a:lnTo>
                  <a:pt x="6193635" y="4635237"/>
                </a:lnTo>
                <a:cubicBezTo>
                  <a:pt x="6195493" y="4633688"/>
                  <a:pt x="6194874" y="4631830"/>
                  <a:pt x="6196888" y="4630177"/>
                </a:cubicBezTo>
                <a:lnTo>
                  <a:pt x="6199056" y="4632656"/>
                </a:lnTo>
                <a:lnTo>
                  <a:pt x="6200760" y="4632243"/>
                </a:lnTo>
                <a:lnTo>
                  <a:pt x="6201535" y="4626150"/>
                </a:lnTo>
                <a:cubicBezTo>
                  <a:pt x="6201999" y="4623982"/>
                  <a:pt x="6202774" y="4622020"/>
                  <a:pt x="6203548" y="4620368"/>
                </a:cubicBezTo>
                <a:close/>
                <a:moveTo>
                  <a:pt x="975363" y="4619860"/>
                </a:moveTo>
                <a:cubicBezTo>
                  <a:pt x="976698" y="4620867"/>
                  <a:pt x="977589" y="4622725"/>
                  <a:pt x="977357" y="4624068"/>
                </a:cubicBezTo>
                <a:cubicBezTo>
                  <a:pt x="976272" y="4625926"/>
                  <a:pt x="974879" y="4626339"/>
                  <a:pt x="973794" y="4625926"/>
                </a:cubicBezTo>
                <a:cubicBezTo>
                  <a:pt x="972555" y="4625513"/>
                  <a:pt x="971626" y="4624377"/>
                  <a:pt x="971161" y="4623138"/>
                </a:cubicBezTo>
                <a:cubicBezTo>
                  <a:pt x="970696" y="4622312"/>
                  <a:pt x="970541" y="4621486"/>
                  <a:pt x="970696" y="4620763"/>
                </a:cubicBezTo>
                <a:cubicBezTo>
                  <a:pt x="972245" y="4618698"/>
                  <a:pt x="974026" y="4618853"/>
                  <a:pt x="975363" y="4619860"/>
                </a:cubicBezTo>
                <a:close/>
                <a:moveTo>
                  <a:pt x="748730" y="4619524"/>
                </a:moveTo>
                <a:cubicBezTo>
                  <a:pt x="751673" y="4622003"/>
                  <a:pt x="751208" y="4625513"/>
                  <a:pt x="754306" y="4628817"/>
                </a:cubicBezTo>
                <a:cubicBezTo>
                  <a:pt x="752912" y="4631502"/>
                  <a:pt x="756010" y="4635632"/>
                  <a:pt x="753996" y="4639246"/>
                </a:cubicBezTo>
                <a:cubicBezTo>
                  <a:pt x="748575" y="4636045"/>
                  <a:pt x="746561" y="4622209"/>
                  <a:pt x="748730" y="4619524"/>
                </a:cubicBezTo>
                <a:close/>
                <a:moveTo>
                  <a:pt x="6246454" y="4618509"/>
                </a:moveTo>
                <a:cubicBezTo>
                  <a:pt x="6247384" y="4616754"/>
                  <a:pt x="6248004" y="4619336"/>
                  <a:pt x="6248933" y="4618509"/>
                </a:cubicBezTo>
                <a:cubicBezTo>
                  <a:pt x="6246454" y="4625428"/>
                  <a:pt x="6247539" y="4631416"/>
                  <a:pt x="6247539" y="4631416"/>
                </a:cubicBezTo>
                <a:cubicBezTo>
                  <a:pt x="6246609" y="4633172"/>
                  <a:pt x="6245835" y="4633172"/>
                  <a:pt x="6246609" y="4633172"/>
                </a:cubicBezTo>
                <a:cubicBezTo>
                  <a:pt x="6244750" y="4634928"/>
                  <a:pt x="6242892" y="4637405"/>
                  <a:pt x="6241188" y="4636579"/>
                </a:cubicBezTo>
                <a:cubicBezTo>
                  <a:pt x="6236696" y="4632139"/>
                  <a:pt x="6244286" y="4622743"/>
                  <a:pt x="6245370" y="4620265"/>
                </a:cubicBezTo>
                <a:cubicBezTo>
                  <a:pt x="6245370" y="4620265"/>
                  <a:pt x="6245525" y="4619336"/>
                  <a:pt x="6246454" y="4618509"/>
                </a:cubicBezTo>
                <a:close/>
                <a:moveTo>
                  <a:pt x="1238512" y="4618388"/>
                </a:moveTo>
                <a:cubicBezTo>
                  <a:pt x="1239287" y="4618079"/>
                  <a:pt x="1239596" y="4618905"/>
                  <a:pt x="1238822" y="4619214"/>
                </a:cubicBezTo>
                <a:cubicBezTo>
                  <a:pt x="1238666" y="4620247"/>
                  <a:pt x="1238047" y="4620453"/>
                  <a:pt x="1237428" y="4620350"/>
                </a:cubicBezTo>
                <a:cubicBezTo>
                  <a:pt x="1236808" y="4620247"/>
                  <a:pt x="1236033" y="4619834"/>
                  <a:pt x="1235569" y="4619628"/>
                </a:cubicBezTo>
                <a:cubicBezTo>
                  <a:pt x="1237738" y="4618698"/>
                  <a:pt x="1238357" y="4617563"/>
                  <a:pt x="1238512" y="4618388"/>
                </a:cubicBezTo>
                <a:close/>
                <a:moveTo>
                  <a:pt x="1481912" y="4617730"/>
                </a:moveTo>
                <a:cubicBezTo>
                  <a:pt x="1483248" y="4617201"/>
                  <a:pt x="1484487" y="4617304"/>
                  <a:pt x="1485571" y="4618698"/>
                </a:cubicBezTo>
                <a:cubicBezTo>
                  <a:pt x="1485107" y="4620867"/>
                  <a:pt x="1483868" y="4622519"/>
                  <a:pt x="1482319" y="4623035"/>
                </a:cubicBezTo>
                <a:cubicBezTo>
                  <a:pt x="1480770" y="4623551"/>
                  <a:pt x="1478911" y="4622932"/>
                  <a:pt x="1477672" y="4620557"/>
                </a:cubicBezTo>
                <a:cubicBezTo>
                  <a:pt x="1479143" y="4619421"/>
                  <a:pt x="1480577" y="4618259"/>
                  <a:pt x="1481912" y="4617730"/>
                </a:cubicBezTo>
                <a:close/>
                <a:moveTo>
                  <a:pt x="1606197" y="4616930"/>
                </a:moveTo>
                <a:cubicBezTo>
                  <a:pt x="1609101" y="4617614"/>
                  <a:pt x="1611347" y="4619215"/>
                  <a:pt x="1612276" y="4622003"/>
                </a:cubicBezTo>
                <a:lnTo>
                  <a:pt x="1607165" y="4622415"/>
                </a:lnTo>
                <a:lnTo>
                  <a:pt x="1604996" y="4624377"/>
                </a:lnTo>
                <a:cubicBezTo>
                  <a:pt x="1602673" y="4625823"/>
                  <a:pt x="1599885" y="4626649"/>
                  <a:pt x="1597717" y="4627062"/>
                </a:cubicBezTo>
                <a:lnTo>
                  <a:pt x="1596323" y="4625926"/>
                </a:lnTo>
                <a:lnTo>
                  <a:pt x="1588887" y="4628508"/>
                </a:lnTo>
                <a:cubicBezTo>
                  <a:pt x="1587494" y="4628817"/>
                  <a:pt x="1586099" y="4628920"/>
                  <a:pt x="1584705" y="4628817"/>
                </a:cubicBezTo>
                <a:cubicBezTo>
                  <a:pt x="1583311" y="4628714"/>
                  <a:pt x="1581917" y="4628404"/>
                  <a:pt x="1580368" y="4627888"/>
                </a:cubicBezTo>
                <a:cubicBezTo>
                  <a:pt x="1582072" y="4623448"/>
                  <a:pt x="1589197" y="4619111"/>
                  <a:pt x="1596167" y="4617356"/>
                </a:cubicBezTo>
                <a:cubicBezTo>
                  <a:pt x="1599730" y="4616478"/>
                  <a:pt x="1603293" y="4616246"/>
                  <a:pt x="1606197" y="4616930"/>
                </a:cubicBezTo>
                <a:close/>
                <a:moveTo>
                  <a:pt x="6613868" y="4615928"/>
                </a:moveTo>
                <a:cubicBezTo>
                  <a:pt x="6614333" y="4617064"/>
                  <a:pt x="6614798" y="4618303"/>
                  <a:pt x="6615107" y="4617477"/>
                </a:cubicBezTo>
                <a:cubicBezTo>
                  <a:pt x="6615572" y="4618716"/>
                  <a:pt x="6615572" y="4619645"/>
                  <a:pt x="6615262" y="4620471"/>
                </a:cubicBezTo>
                <a:cubicBezTo>
                  <a:pt x="6614953" y="4621298"/>
                  <a:pt x="6614488" y="4621917"/>
                  <a:pt x="6613713" y="4622433"/>
                </a:cubicBezTo>
                <a:cubicBezTo>
                  <a:pt x="6612629" y="4622846"/>
                  <a:pt x="6611080" y="4621917"/>
                  <a:pt x="6609222" y="4619852"/>
                </a:cubicBezTo>
                <a:cubicBezTo>
                  <a:pt x="6609222" y="4617993"/>
                  <a:pt x="6612474" y="4616961"/>
                  <a:pt x="6613868" y="4615928"/>
                </a:cubicBezTo>
                <a:close/>
                <a:moveTo>
                  <a:pt x="1078195" y="4615704"/>
                </a:moveTo>
                <a:cubicBezTo>
                  <a:pt x="1080208" y="4617356"/>
                  <a:pt x="1079588" y="4619111"/>
                  <a:pt x="1078969" y="4620041"/>
                </a:cubicBezTo>
                <a:cubicBezTo>
                  <a:pt x="1078659" y="4621383"/>
                  <a:pt x="1077729" y="4622106"/>
                  <a:pt x="1076491" y="4622415"/>
                </a:cubicBezTo>
                <a:cubicBezTo>
                  <a:pt x="1075252" y="4622725"/>
                  <a:pt x="1073702" y="4622622"/>
                  <a:pt x="1072463" y="4622209"/>
                </a:cubicBezTo>
                <a:cubicBezTo>
                  <a:pt x="1073238" y="4622209"/>
                  <a:pt x="1073238" y="4622106"/>
                  <a:pt x="1073238" y="4622106"/>
                </a:cubicBezTo>
                <a:cubicBezTo>
                  <a:pt x="1074012" y="4621176"/>
                  <a:pt x="1073238" y="4621280"/>
                  <a:pt x="1073083" y="4620453"/>
                </a:cubicBezTo>
                <a:cubicBezTo>
                  <a:pt x="1073083" y="4620453"/>
                  <a:pt x="1073238" y="4621280"/>
                  <a:pt x="1072153" y="4620453"/>
                </a:cubicBezTo>
                <a:cubicBezTo>
                  <a:pt x="1073083" y="4620453"/>
                  <a:pt x="1072928" y="4619524"/>
                  <a:pt x="1072773" y="4618698"/>
                </a:cubicBezTo>
                <a:cubicBezTo>
                  <a:pt x="1074167" y="4616840"/>
                  <a:pt x="1076491" y="4614878"/>
                  <a:pt x="1078195" y="4615704"/>
                </a:cubicBezTo>
                <a:close/>
                <a:moveTo>
                  <a:pt x="5801902" y="4615618"/>
                </a:moveTo>
                <a:cubicBezTo>
                  <a:pt x="5803606" y="4614586"/>
                  <a:pt x="5804226" y="4618097"/>
                  <a:pt x="5804845" y="4618509"/>
                </a:cubicBezTo>
                <a:cubicBezTo>
                  <a:pt x="5805000" y="4619748"/>
                  <a:pt x="5805310" y="4620884"/>
                  <a:pt x="5804071" y="4621298"/>
                </a:cubicBezTo>
                <a:cubicBezTo>
                  <a:pt x="5803451" y="4621401"/>
                  <a:pt x="5803141" y="4621710"/>
                  <a:pt x="5802676" y="4621710"/>
                </a:cubicBezTo>
                <a:cubicBezTo>
                  <a:pt x="5802367" y="4621710"/>
                  <a:pt x="5802057" y="4621504"/>
                  <a:pt x="5801592" y="4620678"/>
                </a:cubicBezTo>
                <a:cubicBezTo>
                  <a:pt x="5800818" y="4620265"/>
                  <a:pt x="5800663" y="4619026"/>
                  <a:pt x="5800043" y="4618613"/>
                </a:cubicBezTo>
                <a:cubicBezTo>
                  <a:pt x="5800043" y="4618613"/>
                  <a:pt x="5800198" y="4617993"/>
                  <a:pt x="5800508" y="4617270"/>
                </a:cubicBezTo>
                <a:cubicBezTo>
                  <a:pt x="5800818" y="4616547"/>
                  <a:pt x="5801283" y="4615825"/>
                  <a:pt x="5801902" y="4615618"/>
                </a:cubicBezTo>
                <a:close/>
                <a:moveTo>
                  <a:pt x="1794589" y="4615601"/>
                </a:moveTo>
                <a:cubicBezTo>
                  <a:pt x="1794125" y="4616736"/>
                  <a:pt x="1792886" y="4620247"/>
                  <a:pt x="1792886" y="4620247"/>
                </a:cubicBezTo>
                <a:cubicBezTo>
                  <a:pt x="1793196" y="4620970"/>
                  <a:pt x="1793041" y="4620970"/>
                  <a:pt x="1792576" y="4622106"/>
                </a:cubicBezTo>
                <a:cubicBezTo>
                  <a:pt x="1791492" y="4621796"/>
                  <a:pt x="1791646" y="4621796"/>
                  <a:pt x="1791337" y="4620970"/>
                </a:cubicBezTo>
                <a:cubicBezTo>
                  <a:pt x="1791802" y="4619834"/>
                  <a:pt x="1792421" y="4619421"/>
                  <a:pt x="1792886" y="4618285"/>
                </a:cubicBezTo>
                <a:cubicBezTo>
                  <a:pt x="1790873" y="4617459"/>
                  <a:pt x="1791182" y="4618285"/>
                  <a:pt x="1791646" y="4617149"/>
                </a:cubicBezTo>
                <a:cubicBezTo>
                  <a:pt x="1791646" y="4617149"/>
                  <a:pt x="1791646" y="4617149"/>
                  <a:pt x="1792111" y="4615910"/>
                </a:cubicBezTo>
                <a:cubicBezTo>
                  <a:pt x="1792111" y="4615910"/>
                  <a:pt x="1791646" y="4615187"/>
                  <a:pt x="1794589" y="4615601"/>
                </a:cubicBezTo>
                <a:close/>
                <a:moveTo>
                  <a:pt x="6401816" y="4615205"/>
                </a:moveTo>
                <a:cubicBezTo>
                  <a:pt x="6401661" y="4616444"/>
                  <a:pt x="6401506" y="4617683"/>
                  <a:pt x="6401351" y="4618923"/>
                </a:cubicBezTo>
                <a:cubicBezTo>
                  <a:pt x="6399957" y="4619852"/>
                  <a:pt x="6398408" y="4620368"/>
                  <a:pt x="6397014" y="4620368"/>
                </a:cubicBezTo>
                <a:cubicBezTo>
                  <a:pt x="6395775" y="4620471"/>
                  <a:pt x="6394535" y="4619955"/>
                  <a:pt x="6393761" y="4618819"/>
                </a:cubicBezTo>
                <a:cubicBezTo>
                  <a:pt x="6393296" y="4618097"/>
                  <a:pt x="6392986" y="4617064"/>
                  <a:pt x="6393141" y="4615722"/>
                </a:cubicBezTo>
                <a:cubicBezTo>
                  <a:pt x="6395000" y="4613863"/>
                  <a:pt x="6400266" y="4613347"/>
                  <a:pt x="6401816" y="4615205"/>
                </a:cubicBezTo>
                <a:close/>
                <a:moveTo>
                  <a:pt x="1406264" y="4615084"/>
                </a:moveTo>
                <a:cubicBezTo>
                  <a:pt x="1408124" y="4614878"/>
                  <a:pt x="1412925" y="4618595"/>
                  <a:pt x="1412615" y="4619731"/>
                </a:cubicBezTo>
                <a:cubicBezTo>
                  <a:pt x="1410292" y="4619731"/>
                  <a:pt x="1406419" y="4619628"/>
                  <a:pt x="1404871" y="4618285"/>
                </a:cubicBezTo>
                <a:cubicBezTo>
                  <a:pt x="1404251" y="4617872"/>
                  <a:pt x="1403942" y="4617252"/>
                  <a:pt x="1404096" y="4616427"/>
                </a:cubicBezTo>
                <a:cubicBezTo>
                  <a:pt x="1404406" y="4615291"/>
                  <a:pt x="1405490" y="4615497"/>
                  <a:pt x="1406264" y="4615084"/>
                </a:cubicBezTo>
                <a:close/>
                <a:moveTo>
                  <a:pt x="6040443" y="4614482"/>
                </a:moveTo>
                <a:cubicBezTo>
                  <a:pt x="6041372" y="4616238"/>
                  <a:pt x="6040597" y="4617890"/>
                  <a:pt x="6039823" y="4619542"/>
                </a:cubicBezTo>
                <a:cubicBezTo>
                  <a:pt x="6039048" y="4620781"/>
                  <a:pt x="6038274" y="4621194"/>
                  <a:pt x="6037345" y="4621091"/>
                </a:cubicBezTo>
                <a:cubicBezTo>
                  <a:pt x="6036570" y="4620884"/>
                  <a:pt x="6035641" y="4620162"/>
                  <a:pt x="6034866" y="4619336"/>
                </a:cubicBezTo>
                <a:cubicBezTo>
                  <a:pt x="6033007" y="4617477"/>
                  <a:pt x="6033782" y="4615825"/>
                  <a:pt x="6033782" y="4615825"/>
                </a:cubicBezTo>
                <a:cubicBezTo>
                  <a:pt x="6035331" y="4613347"/>
                  <a:pt x="6037809" y="4612624"/>
                  <a:pt x="6040443" y="4614482"/>
                </a:cubicBezTo>
                <a:close/>
                <a:moveTo>
                  <a:pt x="1378693" y="4613845"/>
                </a:moveTo>
                <a:cubicBezTo>
                  <a:pt x="1379313" y="4614362"/>
                  <a:pt x="1379623" y="4615187"/>
                  <a:pt x="1379778" y="4616220"/>
                </a:cubicBezTo>
                <a:lnTo>
                  <a:pt x="1379313" y="4619524"/>
                </a:lnTo>
                <a:lnTo>
                  <a:pt x="1381326" y="4621486"/>
                </a:lnTo>
                <a:cubicBezTo>
                  <a:pt x="1380397" y="4623138"/>
                  <a:pt x="1381017" y="4625823"/>
                  <a:pt x="1379313" y="4627269"/>
                </a:cubicBezTo>
                <a:cubicBezTo>
                  <a:pt x="1379313" y="4627269"/>
                  <a:pt x="1378383" y="4627991"/>
                  <a:pt x="1376680" y="4627681"/>
                </a:cubicBezTo>
                <a:cubicBezTo>
                  <a:pt x="1376060" y="4627991"/>
                  <a:pt x="1375440" y="4628095"/>
                  <a:pt x="1374821" y="4627991"/>
                </a:cubicBezTo>
                <a:cubicBezTo>
                  <a:pt x="1373117" y="4627681"/>
                  <a:pt x="1371723" y="4626030"/>
                  <a:pt x="1371723" y="4626030"/>
                </a:cubicBezTo>
                <a:cubicBezTo>
                  <a:pt x="1371723" y="4626030"/>
                  <a:pt x="1371723" y="4626030"/>
                  <a:pt x="1371723" y="4626855"/>
                </a:cubicBezTo>
                <a:cubicBezTo>
                  <a:pt x="1371878" y="4625100"/>
                  <a:pt x="1371103" y="4623242"/>
                  <a:pt x="1371258" y="4621589"/>
                </a:cubicBezTo>
                <a:cubicBezTo>
                  <a:pt x="1373891" y="4618595"/>
                  <a:pt x="1375750" y="4617769"/>
                  <a:pt x="1377145" y="4618079"/>
                </a:cubicBezTo>
                <a:lnTo>
                  <a:pt x="1377299" y="4618182"/>
                </a:lnTo>
                <a:close/>
                <a:moveTo>
                  <a:pt x="5974147" y="4613657"/>
                </a:moveTo>
                <a:cubicBezTo>
                  <a:pt x="5975851" y="4615825"/>
                  <a:pt x="5976780" y="4617890"/>
                  <a:pt x="5977245" y="4619852"/>
                </a:cubicBezTo>
                <a:lnTo>
                  <a:pt x="5976935" y="4625221"/>
                </a:lnTo>
                <a:lnTo>
                  <a:pt x="5977864" y="4625428"/>
                </a:lnTo>
                <a:cubicBezTo>
                  <a:pt x="5980498" y="4626357"/>
                  <a:pt x="5982666" y="4627906"/>
                  <a:pt x="5984525" y="4629868"/>
                </a:cubicBezTo>
                <a:lnTo>
                  <a:pt x="5987313" y="4633895"/>
                </a:lnTo>
                <a:lnTo>
                  <a:pt x="5988087" y="4630177"/>
                </a:lnTo>
                <a:cubicBezTo>
                  <a:pt x="5989636" y="4626047"/>
                  <a:pt x="5992270" y="4621917"/>
                  <a:pt x="5996142" y="4617890"/>
                </a:cubicBezTo>
                <a:cubicBezTo>
                  <a:pt x="6001873" y="4618097"/>
                  <a:pt x="6003268" y="4622433"/>
                  <a:pt x="6002183" y="4627493"/>
                </a:cubicBezTo>
                <a:cubicBezTo>
                  <a:pt x="6000944" y="4633895"/>
                  <a:pt x="5995832" y="4641226"/>
                  <a:pt x="5990721" y="4642878"/>
                </a:cubicBezTo>
                <a:lnTo>
                  <a:pt x="5990256" y="4642878"/>
                </a:lnTo>
                <a:lnTo>
                  <a:pt x="5989946" y="4649796"/>
                </a:lnTo>
                <a:cubicBezTo>
                  <a:pt x="5989636" y="4652274"/>
                  <a:pt x="5988862" y="4654856"/>
                  <a:pt x="5987623" y="4657334"/>
                </a:cubicBezTo>
                <a:cubicBezTo>
                  <a:pt x="5986384" y="4657231"/>
                  <a:pt x="5985300" y="4657231"/>
                  <a:pt x="5985144" y="4658367"/>
                </a:cubicBezTo>
                <a:cubicBezTo>
                  <a:pt x="5977554" y="4658676"/>
                  <a:pt x="5970894" y="4653513"/>
                  <a:pt x="5967486" y="4646492"/>
                </a:cubicBezTo>
                <a:cubicBezTo>
                  <a:pt x="5966247" y="4643910"/>
                  <a:pt x="5965473" y="4641123"/>
                  <a:pt x="5965163" y="4638232"/>
                </a:cubicBezTo>
                <a:lnTo>
                  <a:pt x="5965628" y="4633998"/>
                </a:lnTo>
                <a:lnTo>
                  <a:pt x="5964543" y="4634411"/>
                </a:lnTo>
                <a:cubicBezTo>
                  <a:pt x="5959277" y="4634824"/>
                  <a:pt x="5954010" y="4632036"/>
                  <a:pt x="5952926" y="4624499"/>
                </a:cubicBezTo>
                <a:cubicBezTo>
                  <a:pt x="5955869" y="4618406"/>
                  <a:pt x="5969035" y="4613243"/>
                  <a:pt x="5974147" y="4613657"/>
                </a:cubicBezTo>
                <a:close/>
                <a:moveTo>
                  <a:pt x="1789323" y="4613536"/>
                </a:moveTo>
                <a:cubicBezTo>
                  <a:pt x="1789323" y="4613536"/>
                  <a:pt x="1790098" y="4613122"/>
                  <a:pt x="1791182" y="4613536"/>
                </a:cubicBezTo>
                <a:cubicBezTo>
                  <a:pt x="1793041" y="4613536"/>
                  <a:pt x="1791027" y="4615601"/>
                  <a:pt x="1792111" y="4615910"/>
                </a:cubicBezTo>
                <a:cubicBezTo>
                  <a:pt x="1785296" y="4617459"/>
                  <a:pt x="1780494" y="4621693"/>
                  <a:pt x="1780494" y="4621693"/>
                </a:cubicBezTo>
                <a:cubicBezTo>
                  <a:pt x="1778635" y="4621693"/>
                  <a:pt x="1778325" y="4620867"/>
                  <a:pt x="1778635" y="4621589"/>
                </a:cubicBezTo>
                <a:cubicBezTo>
                  <a:pt x="1776466" y="4620867"/>
                  <a:pt x="1773524" y="4620453"/>
                  <a:pt x="1773679" y="4618492"/>
                </a:cubicBezTo>
                <a:cubicBezTo>
                  <a:pt x="1775692" y="4611986"/>
                  <a:pt x="1786690" y="4613948"/>
                  <a:pt x="1789323" y="4613536"/>
                </a:cubicBezTo>
                <a:close/>
                <a:moveTo>
                  <a:pt x="6112469" y="4613140"/>
                </a:moveTo>
                <a:cubicBezTo>
                  <a:pt x="6113089" y="4614070"/>
                  <a:pt x="6114638" y="4615102"/>
                  <a:pt x="6115258" y="4616961"/>
                </a:cubicBezTo>
                <a:cubicBezTo>
                  <a:pt x="6114328" y="4618406"/>
                  <a:pt x="6113399" y="4618923"/>
                  <a:pt x="6112624" y="4619026"/>
                </a:cubicBezTo>
                <a:cubicBezTo>
                  <a:pt x="6111850" y="4619026"/>
                  <a:pt x="6111230" y="4618509"/>
                  <a:pt x="6110920" y="4617787"/>
                </a:cubicBezTo>
                <a:cubicBezTo>
                  <a:pt x="6109991" y="4616238"/>
                  <a:pt x="6110301" y="4613863"/>
                  <a:pt x="6112469" y="4613140"/>
                </a:cubicBezTo>
                <a:close/>
                <a:moveTo>
                  <a:pt x="1199788" y="4612916"/>
                </a:moveTo>
                <a:cubicBezTo>
                  <a:pt x="1199788" y="4613845"/>
                  <a:pt x="1200563" y="4615601"/>
                  <a:pt x="1199633" y="4616427"/>
                </a:cubicBezTo>
                <a:cubicBezTo>
                  <a:pt x="1199169" y="4616840"/>
                  <a:pt x="1199013" y="4617046"/>
                  <a:pt x="1198703" y="4617149"/>
                </a:cubicBezTo>
                <a:cubicBezTo>
                  <a:pt x="1198394" y="4617149"/>
                  <a:pt x="1197929" y="4617046"/>
                  <a:pt x="1197154" y="4616943"/>
                </a:cubicBezTo>
                <a:cubicBezTo>
                  <a:pt x="1198084" y="4614465"/>
                  <a:pt x="1198084" y="4614465"/>
                  <a:pt x="1199788" y="4612916"/>
                </a:cubicBezTo>
                <a:close/>
                <a:moveTo>
                  <a:pt x="1842453" y="4612813"/>
                </a:moveTo>
                <a:lnTo>
                  <a:pt x="1841678" y="4614258"/>
                </a:lnTo>
                <a:cubicBezTo>
                  <a:pt x="1841523" y="4614465"/>
                  <a:pt x="1841368" y="4614568"/>
                  <a:pt x="1841213" y="4614671"/>
                </a:cubicBezTo>
                <a:cubicBezTo>
                  <a:pt x="1841523" y="4614465"/>
                  <a:pt x="1841988" y="4614362"/>
                  <a:pt x="1842453" y="4614465"/>
                </a:cubicBezTo>
                <a:cubicBezTo>
                  <a:pt x="1843072" y="4614051"/>
                  <a:pt x="1843537" y="4614775"/>
                  <a:pt x="1844776" y="4615084"/>
                </a:cubicBezTo>
                <a:lnTo>
                  <a:pt x="1845086" y="4616013"/>
                </a:lnTo>
                <a:lnTo>
                  <a:pt x="1846015" y="4615807"/>
                </a:lnTo>
                <a:lnTo>
                  <a:pt x="1846170" y="4615807"/>
                </a:lnTo>
                <a:lnTo>
                  <a:pt x="1844312" y="4613845"/>
                </a:lnTo>
                <a:close/>
                <a:moveTo>
                  <a:pt x="1128535" y="4612606"/>
                </a:moveTo>
                <a:cubicBezTo>
                  <a:pt x="1129000" y="4612813"/>
                  <a:pt x="1129155" y="4613226"/>
                  <a:pt x="1129155" y="4613742"/>
                </a:cubicBezTo>
                <a:cubicBezTo>
                  <a:pt x="1129000" y="4614258"/>
                  <a:pt x="1128845" y="4614878"/>
                  <a:pt x="1128535" y="4615394"/>
                </a:cubicBezTo>
                <a:cubicBezTo>
                  <a:pt x="1127916" y="4616633"/>
                  <a:pt x="1127296" y="4617769"/>
                  <a:pt x="1126832" y="4618905"/>
                </a:cubicBezTo>
                <a:cubicBezTo>
                  <a:pt x="1126832" y="4618905"/>
                  <a:pt x="1126832" y="4618905"/>
                  <a:pt x="1128535" y="4612606"/>
                </a:cubicBezTo>
                <a:close/>
                <a:moveTo>
                  <a:pt x="1576651" y="4612503"/>
                </a:moveTo>
                <a:cubicBezTo>
                  <a:pt x="1578665" y="4613948"/>
                  <a:pt x="1581452" y="4614775"/>
                  <a:pt x="1583001" y="4617149"/>
                </a:cubicBezTo>
                <a:cubicBezTo>
                  <a:pt x="1583466" y="4617975"/>
                  <a:pt x="1583776" y="4618905"/>
                  <a:pt x="1583931" y="4620144"/>
                </a:cubicBezTo>
                <a:cubicBezTo>
                  <a:pt x="1576806" y="4621176"/>
                  <a:pt x="1572313" y="4624068"/>
                  <a:pt x="1566273" y="4626339"/>
                </a:cubicBezTo>
                <a:cubicBezTo>
                  <a:pt x="1565653" y="4625719"/>
                  <a:pt x="1565343" y="4624997"/>
                  <a:pt x="1565188" y="4623861"/>
                </a:cubicBezTo>
                <a:cubicBezTo>
                  <a:pt x="1565034" y="4622829"/>
                  <a:pt x="1565034" y="4621383"/>
                  <a:pt x="1565343" y="4619524"/>
                </a:cubicBezTo>
                <a:cubicBezTo>
                  <a:pt x="1573243" y="4621073"/>
                  <a:pt x="1570300" y="4611677"/>
                  <a:pt x="1576651" y="4612503"/>
                </a:cubicBezTo>
                <a:close/>
                <a:moveTo>
                  <a:pt x="6362627" y="4611488"/>
                </a:moveTo>
                <a:cubicBezTo>
                  <a:pt x="6364176" y="4612417"/>
                  <a:pt x="6364795" y="4615205"/>
                  <a:pt x="6363866" y="4620471"/>
                </a:cubicBezTo>
                <a:lnTo>
                  <a:pt x="6362937" y="4624499"/>
                </a:lnTo>
                <a:lnTo>
                  <a:pt x="6363246" y="4624499"/>
                </a:lnTo>
                <a:cubicBezTo>
                  <a:pt x="6364330" y="4624499"/>
                  <a:pt x="6365415" y="4624911"/>
                  <a:pt x="6366499" y="4625634"/>
                </a:cubicBezTo>
                <a:lnTo>
                  <a:pt x="6369442" y="4629661"/>
                </a:lnTo>
                <a:lnTo>
                  <a:pt x="6383693" y="4629145"/>
                </a:lnTo>
                <a:cubicBezTo>
                  <a:pt x="6390663" y="4628629"/>
                  <a:pt x="6397323" y="4628009"/>
                  <a:pt x="6403520" y="4628629"/>
                </a:cubicBezTo>
                <a:lnTo>
                  <a:pt x="6397788" y="4632552"/>
                </a:lnTo>
                <a:lnTo>
                  <a:pt x="6398408" y="4633069"/>
                </a:lnTo>
                <a:cubicBezTo>
                  <a:pt x="6401506" y="4633895"/>
                  <a:pt x="6404759" y="4629765"/>
                  <a:pt x="6407237" y="4633895"/>
                </a:cubicBezTo>
                <a:cubicBezTo>
                  <a:pt x="6407392" y="4636579"/>
                  <a:pt x="6408476" y="4639264"/>
                  <a:pt x="6407702" y="4642259"/>
                </a:cubicBezTo>
                <a:cubicBezTo>
                  <a:pt x="6407392" y="4643188"/>
                  <a:pt x="6406927" y="4644117"/>
                  <a:pt x="6406153" y="4645150"/>
                </a:cubicBezTo>
                <a:cubicBezTo>
                  <a:pt x="6401196" y="4640400"/>
                  <a:pt x="6396394" y="4639058"/>
                  <a:pt x="6391128" y="4635960"/>
                </a:cubicBezTo>
                <a:lnTo>
                  <a:pt x="6391283" y="4635547"/>
                </a:lnTo>
                <a:lnTo>
                  <a:pt x="6383848" y="4637509"/>
                </a:lnTo>
                <a:lnTo>
                  <a:pt x="6378736" y="4638025"/>
                </a:lnTo>
                <a:lnTo>
                  <a:pt x="6379201" y="4638438"/>
                </a:lnTo>
                <a:cubicBezTo>
                  <a:pt x="6381214" y="4645666"/>
                  <a:pt x="6381059" y="4651345"/>
                  <a:pt x="6374708" y="4653927"/>
                </a:cubicBezTo>
                <a:cubicBezTo>
                  <a:pt x="6374399" y="4652687"/>
                  <a:pt x="6373160" y="4652997"/>
                  <a:pt x="6372075" y="4653204"/>
                </a:cubicBezTo>
                <a:cubicBezTo>
                  <a:pt x="6370527" y="4651965"/>
                  <a:pt x="6369752" y="4650106"/>
                  <a:pt x="6369287" y="4648144"/>
                </a:cubicBezTo>
                <a:lnTo>
                  <a:pt x="6369597" y="4644530"/>
                </a:lnTo>
                <a:lnTo>
                  <a:pt x="6365105" y="4644117"/>
                </a:lnTo>
                <a:cubicBezTo>
                  <a:pt x="6364795" y="4642259"/>
                  <a:pt x="6365105" y="4640710"/>
                  <a:pt x="6365725" y="4639471"/>
                </a:cubicBezTo>
                <a:lnTo>
                  <a:pt x="6365880" y="4639264"/>
                </a:lnTo>
                <a:lnTo>
                  <a:pt x="6360923" y="4639677"/>
                </a:lnTo>
                <a:cubicBezTo>
                  <a:pt x="6361233" y="4638128"/>
                  <a:pt x="6360923" y="4636786"/>
                  <a:pt x="6360923" y="4635340"/>
                </a:cubicBezTo>
                <a:lnTo>
                  <a:pt x="6361233" y="4632966"/>
                </a:lnTo>
                <a:lnTo>
                  <a:pt x="6360303" y="4632862"/>
                </a:lnTo>
                <a:cubicBezTo>
                  <a:pt x="6359219" y="4630900"/>
                  <a:pt x="6358909" y="4629248"/>
                  <a:pt x="6358909" y="4628009"/>
                </a:cubicBezTo>
                <a:lnTo>
                  <a:pt x="6359529" y="4626770"/>
                </a:lnTo>
                <a:lnTo>
                  <a:pt x="6355347" y="4626976"/>
                </a:lnTo>
                <a:cubicBezTo>
                  <a:pt x="6353488" y="4626770"/>
                  <a:pt x="6352249" y="4626254"/>
                  <a:pt x="6351474" y="4625428"/>
                </a:cubicBezTo>
                <a:lnTo>
                  <a:pt x="6350545" y="4623569"/>
                </a:lnTo>
                <a:lnTo>
                  <a:pt x="6349461" y="4625428"/>
                </a:lnTo>
                <a:cubicBezTo>
                  <a:pt x="6348531" y="4626254"/>
                  <a:pt x="6346673" y="4626976"/>
                  <a:pt x="6344504" y="4627390"/>
                </a:cubicBezTo>
                <a:cubicBezTo>
                  <a:pt x="6342490" y="4627803"/>
                  <a:pt x="6340322" y="4627699"/>
                  <a:pt x="6339237" y="4626873"/>
                </a:cubicBezTo>
                <a:cubicBezTo>
                  <a:pt x="6340167" y="4625221"/>
                  <a:pt x="6341251" y="4623466"/>
                  <a:pt x="6342180" y="4621814"/>
                </a:cubicBezTo>
                <a:cubicBezTo>
                  <a:pt x="6342180" y="4622640"/>
                  <a:pt x="6349925" y="4621091"/>
                  <a:pt x="6349925" y="4621091"/>
                </a:cubicBezTo>
                <a:lnTo>
                  <a:pt x="6350700" y="4622433"/>
                </a:lnTo>
                <a:lnTo>
                  <a:pt x="6351474" y="4618819"/>
                </a:lnTo>
                <a:cubicBezTo>
                  <a:pt x="6353952" y="4614070"/>
                  <a:pt x="6359839" y="4609423"/>
                  <a:pt x="6362627" y="4611488"/>
                </a:cubicBezTo>
                <a:close/>
                <a:moveTo>
                  <a:pt x="1199943" y="4610438"/>
                </a:moveTo>
                <a:cubicBezTo>
                  <a:pt x="1200717" y="4610541"/>
                  <a:pt x="1200563" y="4611470"/>
                  <a:pt x="1199788" y="4612296"/>
                </a:cubicBezTo>
                <a:cubicBezTo>
                  <a:pt x="1199788" y="4612296"/>
                  <a:pt x="1199013" y="4612193"/>
                  <a:pt x="1199013" y="4612193"/>
                </a:cubicBezTo>
                <a:cubicBezTo>
                  <a:pt x="1199013" y="4611264"/>
                  <a:pt x="1199169" y="4610335"/>
                  <a:pt x="1199943" y="4610438"/>
                </a:cubicBezTo>
                <a:close/>
                <a:moveTo>
                  <a:pt x="5917455" y="4610249"/>
                </a:moveTo>
                <a:cubicBezTo>
                  <a:pt x="5920243" y="4613760"/>
                  <a:pt x="5923186" y="4617270"/>
                  <a:pt x="5925974" y="4620884"/>
                </a:cubicBezTo>
                <a:cubicBezTo>
                  <a:pt x="5926749" y="4629351"/>
                  <a:pt x="5921017" y="4636270"/>
                  <a:pt x="5913892" y="4637612"/>
                </a:cubicBezTo>
                <a:cubicBezTo>
                  <a:pt x="5912653" y="4637818"/>
                  <a:pt x="5911414" y="4637818"/>
                  <a:pt x="5910174" y="4637715"/>
                </a:cubicBezTo>
                <a:cubicBezTo>
                  <a:pt x="5908935" y="4637612"/>
                  <a:pt x="5907696" y="4637302"/>
                  <a:pt x="5906457" y="4636889"/>
                </a:cubicBezTo>
                <a:cubicBezTo>
                  <a:pt x="5903049" y="4635547"/>
                  <a:pt x="5899797" y="4632862"/>
                  <a:pt x="5897008" y="4628526"/>
                </a:cubicBezTo>
                <a:cubicBezTo>
                  <a:pt x="5896544" y="4626357"/>
                  <a:pt x="5897008" y="4623982"/>
                  <a:pt x="5898093" y="4621710"/>
                </a:cubicBezTo>
                <a:cubicBezTo>
                  <a:pt x="5901655" y="4614792"/>
                  <a:pt x="5911414" y="4608494"/>
                  <a:pt x="5917455" y="4610249"/>
                </a:cubicBezTo>
                <a:close/>
                <a:moveTo>
                  <a:pt x="6061508" y="4610042"/>
                </a:moveTo>
                <a:cubicBezTo>
                  <a:pt x="6061818" y="4612417"/>
                  <a:pt x="6067239" y="4611592"/>
                  <a:pt x="6067859" y="4615205"/>
                </a:cubicBezTo>
                <a:cubicBezTo>
                  <a:pt x="6070802" y="4625634"/>
                  <a:pt x="6067859" y="4627080"/>
                  <a:pt x="6062438" y="4631107"/>
                </a:cubicBezTo>
                <a:cubicBezTo>
                  <a:pt x="6062902" y="4630384"/>
                  <a:pt x="6061818" y="4630694"/>
                  <a:pt x="6061818" y="4630694"/>
                </a:cubicBezTo>
                <a:cubicBezTo>
                  <a:pt x="6059495" y="4631313"/>
                  <a:pt x="6063057" y="4634721"/>
                  <a:pt x="6060114" y="4636063"/>
                </a:cubicBezTo>
                <a:cubicBezTo>
                  <a:pt x="6059030" y="4636579"/>
                  <a:pt x="6057791" y="4636579"/>
                  <a:pt x="6056707" y="4636373"/>
                </a:cubicBezTo>
                <a:lnTo>
                  <a:pt x="6051440" y="4643395"/>
                </a:lnTo>
                <a:cubicBezTo>
                  <a:pt x="6048962" y="4645356"/>
                  <a:pt x="6046174" y="4646699"/>
                  <a:pt x="6043540" y="4646905"/>
                </a:cubicBezTo>
                <a:cubicBezTo>
                  <a:pt x="6041991" y="4640606"/>
                  <a:pt x="6041527" y="4635340"/>
                  <a:pt x="6042921" y="4630900"/>
                </a:cubicBezTo>
                <a:lnTo>
                  <a:pt x="6046019" y="4626150"/>
                </a:lnTo>
                <a:lnTo>
                  <a:pt x="6045709" y="4625221"/>
                </a:lnTo>
                <a:cubicBezTo>
                  <a:pt x="6045554" y="4624292"/>
                  <a:pt x="6046019" y="4623776"/>
                  <a:pt x="6047103" y="4623466"/>
                </a:cubicBezTo>
                <a:cubicBezTo>
                  <a:pt x="6047878" y="4622949"/>
                  <a:pt x="6048652" y="4622949"/>
                  <a:pt x="6049271" y="4623156"/>
                </a:cubicBezTo>
                <a:lnTo>
                  <a:pt x="6049426" y="4623156"/>
                </a:lnTo>
                <a:lnTo>
                  <a:pt x="6054228" y="4620265"/>
                </a:lnTo>
                <a:lnTo>
                  <a:pt x="6055312" y="4617270"/>
                </a:lnTo>
                <a:lnTo>
                  <a:pt x="6056707" y="4614379"/>
                </a:lnTo>
                <a:lnTo>
                  <a:pt x="6055777" y="4615102"/>
                </a:lnTo>
                <a:cubicBezTo>
                  <a:pt x="6052214" y="4617270"/>
                  <a:pt x="6046483" y="4618200"/>
                  <a:pt x="6043385" y="4614070"/>
                </a:cubicBezTo>
                <a:cubicBezTo>
                  <a:pt x="6046483" y="4610765"/>
                  <a:pt x="6049117" y="4610042"/>
                  <a:pt x="6051440" y="4610249"/>
                </a:cubicBezTo>
                <a:lnTo>
                  <a:pt x="6058100" y="4612624"/>
                </a:lnTo>
                <a:close/>
                <a:moveTo>
                  <a:pt x="1318593" y="4609612"/>
                </a:moveTo>
                <a:cubicBezTo>
                  <a:pt x="1319988" y="4611367"/>
                  <a:pt x="1320607" y="4613845"/>
                  <a:pt x="1319678" y="4614775"/>
                </a:cubicBezTo>
                <a:cubicBezTo>
                  <a:pt x="1318284" y="4616013"/>
                  <a:pt x="1316890" y="4617252"/>
                  <a:pt x="1315341" y="4616736"/>
                </a:cubicBezTo>
                <a:cubicBezTo>
                  <a:pt x="1314876" y="4616530"/>
                  <a:pt x="1314257" y="4616117"/>
                  <a:pt x="1313791" y="4615497"/>
                </a:cubicBezTo>
                <a:cubicBezTo>
                  <a:pt x="1313791" y="4615497"/>
                  <a:pt x="1313791" y="4615497"/>
                  <a:pt x="1313946" y="4614671"/>
                </a:cubicBezTo>
                <a:cubicBezTo>
                  <a:pt x="1314101" y="4612916"/>
                  <a:pt x="1314101" y="4612090"/>
                  <a:pt x="1314257" y="4611161"/>
                </a:cubicBezTo>
                <a:cubicBezTo>
                  <a:pt x="1315185" y="4610335"/>
                  <a:pt x="1317819" y="4608682"/>
                  <a:pt x="1318593" y="4609612"/>
                </a:cubicBezTo>
                <a:close/>
                <a:moveTo>
                  <a:pt x="843371" y="4608889"/>
                </a:moveTo>
                <a:cubicBezTo>
                  <a:pt x="843217" y="4611367"/>
                  <a:pt x="843061" y="4612606"/>
                  <a:pt x="843526" y="4614465"/>
                </a:cubicBezTo>
                <a:cubicBezTo>
                  <a:pt x="839964" y="4614258"/>
                  <a:pt x="837176" y="4615084"/>
                  <a:pt x="835162" y="4615187"/>
                </a:cubicBezTo>
                <a:cubicBezTo>
                  <a:pt x="832993" y="4615291"/>
                  <a:pt x="831444" y="4614775"/>
                  <a:pt x="830205" y="4611986"/>
                </a:cubicBezTo>
                <a:cubicBezTo>
                  <a:pt x="832374" y="4608992"/>
                  <a:pt x="838105" y="4609302"/>
                  <a:pt x="843371" y="4608889"/>
                </a:cubicBezTo>
                <a:close/>
                <a:moveTo>
                  <a:pt x="5933409" y="4608700"/>
                </a:moveTo>
                <a:cubicBezTo>
                  <a:pt x="5936507" y="4607874"/>
                  <a:pt x="5940224" y="4609423"/>
                  <a:pt x="5941154" y="4614070"/>
                </a:cubicBezTo>
                <a:cubicBezTo>
                  <a:pt x="5939140" y="4617270"/>
                  <a:pt x="5936817" y="4618819"/>
                  <a:pt x="5935268" y="4620162"/>
                </a:cubicBezTo>
                <a:cubicBezTo>
                  <a:pt x="5933409" y="4618923"/>
                  <a:pt x="5931550" y="4618613"/>
                  <a:pt x="5929692" y="4617477"/>
                </a:cubicBezTo>
                <a:cubicBezTo>
                  <a:pt x="5927833" y="4612624"/>
                  <a:pt x="5930311" y="4609423"/>
                  <a:pt x="5933409" y="4608700"/>
                </a:cubicBezTo>
                <a:close/>
                <a:moveTo>
                  <a:pt x="1774240" y="4608463"/>
                </a:moveTo>
                <a:cubicBezTo>
                  <a:pt x="1777357" y="4608321"/>
                  <a:pt x="1779874" y="4608424"/>
                  <a:pt x="1780804" y="4608476"/>
                </a:cubicBezTo>
                <a:cubicBezTo>
                  <a:pt x="1781733" y="4608579"/>
                  <a:pt x="1782353" y="4608785"/>
                  <a:pt x="1782508" y="4609199"/>
                </a:cubicBezTo>
                <a:cubicBezTo>
                  <a:pt x="1782817" y="4609715"/>
                  <a:pt x="1782817" y="4610438"/>
                  <a:pt x="1782663" y="4611367"/>
                </a:cubicBezTo>
                <a:cubicBezTo>
                  <a:pt x="1780184" y="4615187"/>
                  <a:pt x="1776157" y="4614051"/>
                  <a:pt x="1771975" y="4614878"/>
                </a:cubicBezTo>
                <a:cubicBezTo>
                  <a:pt x="1771665" y="4614051"/>
                  <a:pt x="1770581" y="4613639"/>
                  <a:pt x="1769806" y="4613948"/>
                </a:cubicBezTo>
                <a:lnTo>
                  <a:pt x="1768722" y="4613432"/>
                </a:lnTo>
                <a:lnTo>
                  <a:pt x="1770890" y="4615497"/>
                </a:lnTo>
                <a:cubicBezTo>
                  <a:pt x="1772130" y="4617459"/>
                  <a:pt x="1771820" y="4619937"/>
                  <a:pt x="1771665" y="4623242"/>
                </a:cubicBezTo>
                <a:cubicBezTo>
                  <a:pt x="1771355" y="4622415"/>
                  <a:pt x="1770890" y="4623654"/>
                  <a:pt x="1770890" y="4623654"/>
                </a:cubicBezTo>
                <a:cubicBezTo>
                  <a:pt x="1769961" y="4626030"/>
                  <a:pt x="1775073" y="4624480"/>
                  <a:pt x="1774453" y="4627681"/>
                </a:cubicBezTo>
                <a:cubicBezTo>
                  <a:pt x="1772904" y="4632638"/>
                  <a:pt x="1766708" y="4634083"/>
                  <a:pt x="1763455" y="4634600"/>
                </a:cubicBezTo>
                <a:lnTo>
                  <a:pt x="1761597" y="4634909"/>
                </a:lnTo>
                <a:lnTo>
                  <a:pt x="1761907" y="4635529"/>
                </a:lnTo>
                <a:lnTo>
                  <a:pt x="1763765" y="4635529"/>
                </a:lnTo>
                <a:cubicBezTo>
                  <a:pt x="1768722" y="4635942"/>
                  <a:pt x="1773059" y="4637181"/>
                  <a:pt x="1773369" y="4640898"/>
                </a:cubicBezTo>
                <a:cubicBezTo>
                  <a:pt x="1770426" y="4641105"/>
                  <a:pt x="1765159" y="4642344"/>
                  <a:pt x="1760357" y="4642241"/>
                </a:cubicBezTo>
                <a:cubicBezTo>
                  <a:pt x="1755711" y="4642137"/>
                  <a:pt x="1751374" y="4640692"/>
                  <a:pt x="1750599" y="4635736"/>
                </a:cubicBezTo>
                <a:cubicBezTo>
                  <a:pt x="1751839" y="4635736"/>
                  <a:pt x="1754007" y="4635632"/>
                  <a:pt x="1756331" y="4635529"/>
                </a:cubicBezTo>
                <a:lnTo>
                  <a:pt x="1758964" y="4635529"/>
                </a:lnTo>
                <a:lnTo>
                  <a:pt x="1756486" y="4635013"/>
                </a:lnTo>
                <a:cubicBezTo>
                  <a:pt x="1755866" y="4634703"/>
                  <a:pt x="1755556" y="4634083"/>
                  <a:pt x="1756021" y="4632947"/>
                </a:cubicBezTo>
                <a:cubicBezTo>
                  <a:pt x="1756175" y="4630986"/>
                  <a:pt x="1758034" y="4630986"/>
                  <a:pt x="1758964" y="4628714"/>
                </a:cubicBezTo>
                <a:cubicBezTo>
                  <a:pt x="1759583" y="4626546"/>
                  <a:pt x="1757724" y="4624997"/>
                  <a:pt x="1756175" y="4623035"/>
                </a:cubicBezTo>
                <a:lnTo>
                  <a:pt x="1755866" y="4622519"/>
                </a:lnTo>
                <a:cubicBezTo>
                  <a:pt x="1755246" y="4622003"/>
                  <a:pt x="1754781" y="4621073"/>
                  <a:pt x="1754626" y="4620247"/>
                </a:cubicBezTo>
                <a:lnTo>
                  <a:pt x="1754626" y="4620144"/>
                </a:lnTo>
                <a:lnTo>
                  <a:pt x="1754162" y="4619421"/>
                </a:lnTo>
                <a:cubicBezTo>
                  <a:pt x="1753697" y="4617975"/>
                  <a:pt x="1753697" y="4616220"/>
                  <a:pt x="1754317" y="4614051"/>
                </a:cubicBezTo>
                <a:cubicBezTo>
                  <a:pt x="1756486" y="4614878"/>
                  <a:pt x="1759119" y="4609818"/>
                  <a:pt x="1762371" y="4610954"/>
                </a:cubicBezTo>
                <a:lnTo>
                  <a:pt x="1764695" y="4611780"/>
                </a:lnTo>
                <a:lnTo>
                  <a:pt x="1764075" y="4609921"/>
                </a:lnTo>
                <a:cubicBezTo>
                  <a:pt x="1767406" y="4608992"/>
                  <a:pt x="1771123" y="4608605"/>
                  <a:pt x="1774240" y="4608463"/>
                </a:cubicBezTo>
                <a:close/>
                <a:moveTo>
                  <a:pt x="6208815" y="4607668"/>
                </a:moveTo>
                <a:lnTo>
                  <a:pt x="6210209" y="4611281"/>
                </a:lnTo>
                <a:lnTo>
                  <a:pt x="6210364" y="4610765"/>
                </a:lnTo>
                <a:cubicBezTo>
                  <a:pt x="6216560" y="4617787"/>
                  <a:pt x="6214236" y="4629145"/>
                  <a:pt x="6211448" y="4634101"/>
                </a:cubicBezTo>
                <a:cubicBezTo>
                  <a:pt x="6208505" y="4630694"/>
                  <a:pt x="6207111" y="4625841"/>
                  <a:pt x="6207111" y="4621401"/>
                </a:cubicBezTo>
                <a:lnTo>
                  <a:pt x="6207575" y="4617167"/>
                </a:lnTo>
                <a:lnTo>
                  <a:pt x="6204633" y="4616341"/>
                </a:lnTo>
                <a:cubicBezTo>
                  <a:pt x="6202619" y="4615412"/>
                  <a:pt x="6200760" y="4614173"/>
                  <a:pt x="6199056" y="4613243"/>
                </a:cubicBezTo>
                <a:cubicBezTo>
                  <a:pt x="6202309" y="4611695"/>
                  <a:pt x="6205717" y="4613553"/>
                  <a:pt x="6208815" y="4607668"/>
                </a:cubicBezTo>
                <a:close/>
                <a:moveTo>
                  <a:pt x="1086404" y="4607650"/>
                </a:moveTo>
                <a:cubicBezTo>
                  <a:pt x="1086404" y="4607650"/>
                  <a:pt x="1086404" y="4607650"/>
                  <a:pt x="1087333" y="4607753"/>
                </a:cubicBezTo>
                <a:cubicBezTo>
                  <a:pt x="1088882" y="4608063"/>
                  <a:pt x="1089811" y="4608166"/>
                  <a:pt x="1090586" y="4608373"/>
                </a:cubicBezTo>
                <a:cubicBezTo>
                  <a:pt x="1091360" y="4609302"/>
                  <a:pt x="1092909" y="4612090"/>
                  <a:pt x="1091980" y="4612813"/>
                </a:cubicBezTo>
                <a:cubicBezTo>
                  <a:pt x="1091051" y="4613536"/>
                  <a:pt x="1090121" y="4614155"/>
                  <a:pt x="1089037" y="4614258"/>
                </a:cubicBezTo>
                <a:cubicBezTo>
                  <a:pt x="1088108" y="4614465"/>
                  <a:pt x="1087333" y="4614258"/>
                  <a:pt x="1086869" y="4613742"/>
                </a:cubicBezTo>
                <a:cubicBezTo>
                  <a:pt x="1085784" y="4612296"/>
                  <a:pt x="1084700" y="4610851"/>
                  <a:pt x="1085165" y="4609199"/>
                </a:cubicBezTo>
                <a:cubicBezTo>
                  <a:pt x="1085474" y="4608682"/>
                  <a:pt x="1085784" y="4608166"/>
                  <a:pt x="1086404" y="4607650"/>
                </a:cubicBezTo>
                <a:close/>
                <a:moveTo>
                  <a:pt x="5824672" y="4607565"/>
                </a:moveTo>
                <a:lnTo>
                  <a:pt x="5825291" y="4607977"/>
                </a:lnTo>
                <a:lnTo>
                  <a:pt x="5825756" y="4607771"/>
                </a:lnTo>
                <a:cubicBezTo>
                  <a:pt x="5826686" y="4607668"/>
                  <a:pt x="5827770" y="4607874"/>
                  <a:pt x="5828544" y="4607874"/>
                </a:cubicBezTo>
                <a:cubicBezTo>
                  <a:pt x="5829164" y="4606015"/>
                  <a:pt x="5832107" y="4609320"/>
                  <a:pt x="5832727" y="4607565"/>
                </a:cubicBezTo>
                <a:cubicBezTo>
                  <a:pt x="5836444" y="4610869"/>
                  <a:pt x="5840006" y="4606222"/>
                  <a:pt x="5846357" y="4610249"/>
                </a:cubicBezTo>
                <a:cubicBezTo>
                  <a:pt x="5844344" y="4611075"/>
                  <a:pt x="5842485" y="4611488"/>
                  <a:pt x="5840781" y="4611592"/>
                </a:cubicBezTo>
                <a:cubicBezTo>
                  <a:pt x="5837993" y="4611901"/>
                  <a:pt x="5835670" y="4611695"/>
                  <a:pt x="5833501" y="4611592"/>
                </a:cubicBezTo>
                <a:lnTo>
                  <a:pt x="5827925" y="4612211"/>
                </a:lnTo>
                <a:lnTo>
                  <a:pt x="5826995" y="4613863"/>
                </a:lnTo>
                <a:cubicBezTo>
                  <a:pt x="5826376" y="4614689"/>
                  <a:pt x="5825911" y="4615205"/>
                  <a:pt x="5825291" y="4615515"/>
                </a:cubicBezTo>
                <a:cubicBezTo>
                  <a:pt x="5824827" y="4615825"/>
                  <a:pt x="5824207" y="4615825"/>
                  <a:pt x="5823742" y="4615618"/>
                </a:cubicBezTo>
                <a:cubicBezTo>
                  <a:pt x="5823433" y="4615515"/>
                  <a:pt x="5822968" y="4615102"/>
                  <a:pt x="5822658" y="4614689"/>
                </a:cubicBezTo>
                <a:cubicBezTo>
                  <a:pt x="5821109" y="4612314"/>
                  <a:pt x="5821419" y="4607151"/>
                  <a:pt x="5824672" y="4607565"/>
                </a:cubicBezTo>
                <a:close/>
                <a:moveTo>
                  <a:pt x="1199943" y="4605998"/>
                </a:moveTo>
                <a:cubicBezTo>
                  <a:pt x="1199943" y="4605998"/>
                  <a:pt x="1200717" y="4607030"/>
                  <a:pt x="1200717" y="4607030"/>
                </a:cubicBezTo>
                <a:cubicBezTo>
                  <a:pt x="1200408" y="4607443"/>
                  <a:pt x="1200253" y="4607753"/>
                  <a:pt x="1200253" y="4607856"/>
                </a:cubicBezTo>
                <a:cubicBezTo>
                  <a:pt x="1200098" y="4607960"/>
                  <a:pt x="1199943" y="4607960"/>
                  <a:pt x="1199169" y="4607856"/>
                </a:cubicBezTo>
                <a:cubicBezTo>
                  <a:pt x="1199943" y="4607030"/>
                  <a:pt x="1199943" y="4606927"/>
                  <a:pt x="1199943" y="4605998"/>
                </a:cubicBezTo>
                <a:close/>
                <a:moveTo>
                  <a:pt x="6411632" y="4605370"/>
                </a:moveTo>
                <a:cubicBezTo>
                  <a:pt x="6413278" y="4605757"/>
                  <a:pt x="6414362" y="4607358"/>
                  <a:pt x="6412039" y="4610765"/>
                </a:cubicBezTo>
                <a:cubicBezTo>
                  <a:pt x="6409096" y="4609423"/>
                  <a:pt x="6408011" y="4608184"/>
                  <a:pt x="6407856" y="4607255"/>
                </a:cubicBezTo>
                <a:cubicBezTo>
                  <a:pt x="6407779" y="4605809"/>
                  <a:pt x="6409986" y="4604983"/>
                  <a:pt x="6411632" y="4605370"/>
                </a:cubicBezTo>
                <a:close/>
                <a:moveTo>
                  <a:pt x="6220122" y="4604776"/>
                </a:moveTo>
                <a:cubicBezTo>
                  <a:pt x="6220742" y="4605706"/>
                  <a:pt x="6221361" y="4606738"/>
                  <a:pt x="6222136" y="4607668"/>
                </a:cubicBezTo>
                <a:cubicBezTo>
                  <a:pt x="6218108" y="4611695"/>
                  <a:pt x="6217334" y="4616032"/>
                  <a:pt x="6214391" y="4619336"/>
                </a:cubicBezTo>
                <a:cubicBezTo>
                  <a:pt x="6213461" y="4614792"/>
                  <a:pt x="6212222" y="4606738"/>
                  <a:pt x="6220122" y="4604776"/>
                </a:cubicBezTo>
                <a:close/>
                <a:moveTo>
                  <a:pt x="783291" y="4604720"/>
                </a:moveTo>
                <a:cubicBezTo>
                  <a:pt x="785324" y="4605455"/>
                  <a:pt x="786834" y="4607495"/>
                  <a:pt x="784821" y="4609405"/>
                </a:cubicBezTo>
                <a:cubicBezTo>
                  <a:pt x="782962" y="4609405"/>
                  <a:pt x="780793" y="4608682"/>
                  <a:pt x="778625" y="4607856"/>
                </a:cubicBezTo>
                <a:cubicBezTo>
                  <a:pt x="778702" y="4604552"/>
                  <a:pt x="781258" y="4603984"/>
                  <a:pt x="783291" y="4604720"/>
                </a:cubicBezTo>
                <a:close/>
                <a:moveTo>
                  <a:pt x="790397" y="4604655"/>
                </a:moveTo>
                <a:cubicBezTo>
                  <a:pt x="793030" y="4604552"/>
                  <a:pt x="794579" y="4604449"/>
                  <a:pt x="796438" y="4606101"/>
                </a:cubicBezTo>
                <a:lnTo>
                  <a:pt x="798452" y="4609095"/>
                </a:lnTo>
                <a:lnTo>
                  <a:pt x="800311" y="4607753"/>
                </a:lnTo>
                <a:cubicBezTo>
                  <a:pt x="805422" y="4605688"/>
                  <a:pt x="811308" y="4605275"/>
                  <a:pt x="813477" y="4614051"/>
                </a:cubicBezTo>
                <a:cubicBezTo>
                  <a:pt x="814251" y="4615704"/>
                  <a:pt x="813632" y="4615291"/>
                  <a:pt x="813786" y="4616427"/>
                </a:cubicBezTo>
                <a:cubicBezTo>
                  <a:pt x="813941" y="4617666"/>
                  <a:pt x="814871" y="4619318"/>
                  <a:pt x="815490" y="4619731"/>
                </a:cubicBezTo>
                <a:cubicBezTo>
                  <a:pt x="811618" y="4621486"/>
                  <a:pt x="812702" y="4624274"/>
                  <a:pt x="806351" y="4626649"/>
                </a:cubicBezTo>
                <a:cubicBezTo>
                  <a:pt x="804338" y="4627578"/>
                  <a:pt x="802634" y="4627888"/>
                  <a:pt x="801085" y="4627888"/>
                </a:cubicBezTo>
                <a:lnTo>
                  <a:pt x="800001" y="4627681"/>
                </a:lnTo>
                <a:lnTo>
                  <a:pt x="800311" y="4627888"/>
                </a:lnTo>
                <a:cubicBezTo>
                  <a:pt x="802479" y="4630056"/>
                  <a:pt x="804028" y="4632225"/>
                  <a:pt x="803718" y="4633464"/>
                </a:cubicBezTo>
                <a:cubicBezTo>
                  <a:pt x="802944" y="4633567"/>
                  <a:pt x="802169" y="4633567"/>
                  <a:pt x="801085" y="4632844"/>
                </a:cubicBezTo>
                <a:cubicBezTo>
                  <a:pt x="800155" y="4632018"/>
                  <a:pt x="801085" y="4631915"/>
                  <a:pt x="800155" y="4631915"/>
                </a:cubicBezTo>
                <a:cubicBezTo>
                  <a:pt x="799226" y="4631192"/>
                  <a:pt x="799381" y="4632018"/>
                  <a:pt x="799381" y="4632018"/>
                </a:cubicBezTo>
                <a:cubicBezTo>
                  <a:pt x="799381" y="4632018"/>
                  <a:pt x="799226" y="4631089"/>
                  <a:pt x="799226" y="4631089"/>
                </a:cubicBezTo>
                <a:cubicBezTo>
                  <a:pt x="799226" y="4631089"/>
                  <a:pt x="799226" y="4631089"/>
                  <a:pt x="797213" y="4629540"/>
                </a:cubicBezTo>
                <a:cubicBezTo>
                  <a:pt x="794579" y="4627888"/>
                  <a:pt x="793650" y="4627991"/>
                  <a:pt x="791946" y="4627269"/>
                </a:cubicBezTo>
                <a:cubicBezTo>
                  <a:pt x="790087" y="4625616"/>
                  <a:pt x="789778" y="4624687"/>
                  <a:pt x="787764" y="4622209"/>
                </a:cubicBezTo>
                <a:cubicBezTo>
                  <a:pt x="788383" y="4620453"/>
                  <a:pt x="788383" y="4620453"/>
                  <a:pt x="789312" y="4620453"/>
                </a:cubicBezTo>
                <a:cubicBezTo>
                  <a:pt x="788383" y="4620453"/>
                  <a:pt x="788383" y="4619628"/>
                  <a:pt x="787299" y="4618802"/>
                </a:cubicBezTo>
                <a:cubicBezTo>
                  <a:pt x="782807" y="4616427"/>
                  <a:pt x="783891" y="4611986"/>
                  <a:pt x="786680" y="4607546"/>
                </a:cubicBezTo>
                <a:cubicBezTo>
                  <a:pt x="787609" y="4608269"/>
                  <a:pt x="788848" y="4605584"/>
                  <a:pt x="790397" y="4604655"/>
                </a:cubicBezTo>
                <a:close/>
                <a:moveTo>
                  <a:pt x="963414" y="4604468"/>
                </a:moveTo>
                <a:cubicBezTo>
                  <a:pt x="965285" y="4603810"/>
                  <a:pt x="967173" y="4603984"/>
                  <a:pt x="968992" y="4605481"/>
                </a:cubicBezTo>
                <a:cubicBezTo>
                  <a:pt x="965430" y="4608992"/>
                  <a:pt x="956911" y="4620867"/>
                  <a:pt x="951489" y="4620557"/>
                </a:cubicBezTo>
                <a:cubicBezTo>
                  <a:pt x="950715" y="4620453"/>
                  <a:pt x="949940" y="4620247"/>
                  <a:pt x="949321" y="4619628"/>
                </a:cubicBezTo>
                <a:cubicBezTo>
                  <a:pt x="952341" y="4615910"/>
                  <a:pt x="957801" y="4606443"/>
                  <a:pt x="963414" y="4604468"/>
                </a:cubicBezTo>
                <a:close/>
                <a:moveTo>
                  <a:pt x="1673734" y="4604391"/>
                </a:moveTo>
                <a:cubicBezTo>
                  <a:pt x="1675397" y="4604365"/>
                  <a:pt x="1677914" y="4605507"/>
                  <a:pt x="1681515" y="4608579"/>
                </a:cubicBezTo>
                <a:cubicBezTo>
                  <a:pt x="1679656" y="4614155"/>
                  <a:pt x="1677488" y="4615910"/>
                  <a:pt x="1675629" y="4615601"/>
                </a:cubicBezTo>
                <a:cubicBezTo>
                  <a:pt x="1671447" y="4615058"/>
                  <a:pt x="1668746" y="4604468"/>
                  <a:pt x="1673734" y="4604391"/>
                </a:cubicBezTo>
                <a:close/>
                <a:moveTo>
                  <a:pt x="1344636" y="4604371"/>
                </a:moveTo>
                <a:cubicBezTo>
                  <a:pt x="1347598" y="4603932"/>
                  <a:pt x="1350425" y="4604552"/>
                  <a:pt x="1352670" y="4606720"/>
                </a:cubicBezTo>
                <a:cubicBezTo>
                  <a:pt x="1341208" y="4609302"/>
                  <a:pt x="1339660" y="4623138"/>
                  <a:pt x="1326493" y="4623551"/>
                </a:cubicBezTo>
                <a:cubicBezTo>
                  <a:pt x="1326028" y="4618905"/>
                  <a:pt x="1330211" y="4612503"/>
                  <a:pt x="1335787" y="4608373"/>
                </a:cubicBezTo>
                <a:cubicBezTo>
                  <a:pt x="1338575" y="4606307"/>
                  <a:pt x="1341673" y="4604810"/>
                  <a:pt x="1344636" y="4604371"/>
                </a:cubicBezTo>
                <a:close/>
                <a:moveTo>
                  <a:pt x="6654606" y="4603847"/>
                </a:moveTo>
                <a:cubicBezTo>
                  <a:pt x="6662196" y="4610869"/>
                  <a:pt x="6669631" y="4611695"/>
                  <a:pt x="6676911" y="4621298"/>
                </a:cubicBezTo>
                <a:cubicBezTo>
                  <a:pt x="6675982" y="4621710"/>
                  <a:pt x="6675052" y="4621917"/>
                  <a:pt x="6673813" y="4621917"/>
                </a:cubicBezTo>
                <a:cubicBezTo>
                  <a:pt x="6672574" y="4621917"/>
                  <a:pt x="6671335" y="4621607"/>
                  <a:pt x="6669941" y="4621298"/>
                </a:cubicBezTo>
                <a:cubicBezTo>
                  <a:pt x="6662041" y="4618923"/>
                  <a:pt x="6652437" y="4610559"/>
                  <a:pt x="6654606" y="4603847"/>
                </a:cubicBezTo>
                <a:close/>
                <a:moveTo>
                  <a:pt x="6041681" y="4603744"/>
                </a:moveTo>
                <a:cubicBezTo>
                  <a:pt x="6041217" y="4604467"/>
                  <a:pt x="6041217" y="4604467"/>
                  <a:pt x="6041217" y="4604467"/>
                </a:cubicBezTo>
                <a:cubicBezTo>
                  <a:pt x="6041372" y="4605706"/>
                  <a:pt x="6041836" y="4604880"/>
                  <a:pt x="6042611" y="4605293"/>
                </a:cubicBezTo>
                <a:cubicBezTo>
                  <a:pt x="6042611" y="4605293"/>
                  <a:pt x="6041836" y="4604880"/>
                  <a:pt x="6043076" y="4604570"/>
                </a:cubicBezTo>
                <a:cubicBezTo>
                  <a:pt x="6042611" y="4605293"/>
                  <a:pt x="6043231" y="4605809"/>
                  <a:pt x="6044005" y="4606222"/>
                </a:cubicBezTo>
                <a:cubicBezTo>
                  <a:pt x="6044315" y="4608597"/>
                  <a:pt x="6044315" y="4611798"/>
                  <a:pt x="6042611" y="4612934"/>
                </a:cubicBezTo>
                <a:cubicBezTo>
                  <a:pt x="6040288" y="4613553"/>
                  <a:pt x="6039358" y="4611901"/>
                  <a:pt x="6039048" y="4610662"/>
                </a:cubicBezTo>
                <a:cubicBezTo>
                  <a:pt x="6038274" y="4609630"/>
                  <a:pt x="6038429" y="4608391"/>
                  <a:pt x="6039048" y="4607151"/>
                </a:cubicBezTo>
                <a:cubicBezTo>
                  <a:pt x="6039668" y="4605809"/>
                  <a:pt x="6040597" y="4604673"/>
                  <a:pt x="6041681" y="4603744"/>
                </a:cubicBezTo>
                <a:close/>
                <a:moveTo>
                  <a:pt x="5932789" y="4602608"/>
                </a:moveTo>
                <a:cubicBezTo>
                  <a:pt x="5932789" y="4602608"/>
                  <a:pt x="5932789" y="4602608"/>
                  <a:pt x="5934648" y="4604260"/>
                </a:cubicBezTo>
                <a:lnTo>
                  <a:pt x="5934803" y="4605086"/>
                </a:lnTo>
                <a:cubicBezTo>
                  <a:pt x="5934648" y="4605499"/>
                  <a:pt x="5934029" y="4605809"/>
                  <a:pt x="5933099" y="4605912"/>
                </a:cubicBezTo>
                <a:cubicBezTo>
                  <a:pt x="5931705" y="4606119"/>
                  <a:pt x="5929846" y="4606015"/>
                  <a:pt x="5928143" y="4605912"/>
                </a:cubicBezTo>
                <a:cubicBezTo>
                  <a:pt x="5926594" y="4605809"/>
                  <a:pt x="5925199" y="4605603"/>
                  <a:pt x="5924890" y="4605603"/>
                </a:cubicBezTo>
                <a:cubicBezTo>
                  <a:pt x="5924890" y="4605603"/>
                  <a:pt x="5923960" y="4605706"/>
                  <a:pt x="5923186" y="4605809"/>
                </a:cubicBezTo>
                <a:cubicBezTo>
                  <a:pt x="5922256" y="4604983"/>
                  <a:pt x="5922102" y="4604054"/>
                  <a:pt x="5921327" y="4604157"/>
                </a:cubicBezTo>
                <a:cubicBezTo>
                  <a:pt x="5923496" y="4601472"/>
                  <a:pt x="5925974" y="4602195"/>
                  <a:pt x="5928607" y="4602814"/>
                </a:cubicBezTo>
                <a:cubicBezTo>
                  <a:pt x="5930311" y="4603641"/>
                  <a:pt x="5931241" y="4603537"/>
                  <a:pt x="5932789" y="4602608"/>
                </a:cubicBezTo>
                <a:close/>
                <a:moveTo>
                  <a:pt x="5884152" y="4601782"/>
                </a:moveTo>
                <a:cubicBezTo>
                  <a:pt x="5875788" y="4606119"/>
                  <a:pt x="5872999" y="4613140"/>
                  <a:pt x="5862466" y="4615928"/>
                </a:cubicBezTo>
                <a:cubicBezTo>
                  <a:pt x="5861228" y="4607255"/>
                  <a:pt x="5876872" y="4595070"/>
                  <a:pt x="5884152" y="4601782"/>
                </a:cubicBezTo>
                <a:close/>
                <a:moveTo>
                  <a:pt x="6096980" y="4601369"/>
                </a:moveTo>
                <a:cubicBezTo>
                  <a:pt x="6101317" y="4603847"/>
                  <a:pt x="6100852" y="4610352"/>
                  <a:pt x="6096670" y="4611488"/>
                </a:cubicBezTo>
                <a:cubicBezTo>
                  <a:pt x="6095586" y="4610869"/>
                  <a:pt x="6093727" y="4610456"/>
                  <a:pt x="6092333" y="4609010"/>
                </a:cubicBezTo>
                <a:cubicBezTo>
                  <a:pt x="6091868" y="4604570"/>
                  <a:pt x="6093727" y="4602298"/>
                  <a:pt x="6096980" y="4601369"/>
                </a:cubicBezTo>
                <a:close/>
                <a:moveTo>
                  <a:pt x="1133957" y="4600835"/>
                </a:moveTo>
                <a:cubicBezTo>
                  <a:pt x="1134886" y="4602384"/>
                  <a:pt x="1138139" y="4601351"/>
                  <a:pt x="1137830" y="4603726"/>
                </a:cubicBezTo>
                <a:cubicBezTo>
                  <a:pt x="1136590" y="4603416"/>
                  <a:pt x="1134886" y="4602384"/>
                  <a:pt x="1133647" y="4602074"/>
                </a:cubicBezTo>
                <a:cubicBezTo>
                  <a:pt x="1133647" y="4602074"/>
                  <a:pt x="1133647" y="4602074"/>
                  <a:pt x="1133957" y="4600835"/>
                </a:cubicBezTo>
                <a:close/>
                <a:moveTo>
                  <a:pt x="1560387" y="4600318"/>
                </a:moveTo>
                <a:cubicBezTo>
                  <a:pt x="1564259" y="4602694"/>
                  <a:pt x="1564879" y="4606101"/>
                  <a:pt x="1564104" y="4610747"/>
                </a:cubicBezTo>
                <a:cubicBezTo>
                  <a:pt x="1562555" y="4611161"/>
                  <a:pt x="1559612" y="4609405"/>
                  <a:pt x="1557753" y="4608166"/>
                </a:cubicBezTo>
                <a:cubicBezTo>
                  <a:pt x="1557288" y="4605584"/>
                  <a:pt x="1558373" y="4602694"/>
                  <a:pt x="1560387" y="4600318"/>
                </a:cubicBezTo>
                <a:close/>
                <a:moveTo>
                  <a:pt x="1170028" y="4599635"/>
                </a:moveTo>
                <a:cubicBezTo>
                  <a:pt x="1175973" y="4597918"/>
                  <a:pt x="1182595" y="4598976"/>
                  <a:pt x="1187242" y="4602384"/>
                </a:cubicBezTo>
                <a:lnTo>
                  <a:pt x="1191423" y="4607340"/>
                </a:lnTo>
                <a:lnTo>
                  <a:pt x="1192818" y="4605998"/>
                </a:lnTo>
                <a:cubicBezTo>
                  <a:pt x="1194521" y="4605172"/>
                  <a:pt x="1196226" y="4604862"/>
                  <a:pt x="1197000" y="4605275"/>
                </a:cubicBezTo>
                <a:cubicBezTo>
                  <a:pt x="1199013" y="4606927"/>
                  <a:pt x="1200253" y="4610335"/>
                  <a:pt x="1198084" y="4613019"/>
                </a:cubicBezTo>
                <a:cubicBezTo>
                  <a:pt x="1197464" y="4614362"/>
                  <a:pt x="1196380" y="4615084"/>
                  <a:pt x="1195141" y="4615807"/>
                </a:cubicBezTo>
                <a:lnTo>
                  <a:pt x="1192198" y="4618079"/>
                </a:lnTo>
                <a:lnTo>
                  <a:pt x="1190649" y="4623964"/>
                </a:lnTo>
                <a:cubicBezTo>
                  <a:pt x="1185692" y="4632947"/>
                  <a:pt x="1175469" y="4635116"/>
                  <a:pt x="1165865" y="4643686"/>
                </a:cubicBezTo>
                <a:cubicBezTo>
                  <a:pt x="1167569" y="4633774"/>
                  <a:pt x="1159670" y="4628611"/>
                  <a:pt x="1157037" y="4621486"/>
                </a:cubicBezTo>
                <a:lnTo>
                  <a:pt x="1156727" y="4619214"/>
                </a:lnTo>
                <a:lnTo>
                  <a:pt x="1152854" y="4617872"/>
                </a:lnTo>
                <a:cubicBezTo>
                  <a:pt x="1152234" y="4617459"/>
                  <a:pt x="1151925" y="4616840"/>
                  <a:pt x="1151925" y="4616117"/>
                </a:cubicBezTo>
                <a:cubicBezTo>
                  <a:pt x="1152080" y="4614878"/>
                  <a:pt x="1153164" y="4615187"/>
                  <a:pt x="1153938" y="4614775"/>
                </a:cubicBezTo>
                <a:lnTo>
                  <a:pt x="1156572" y="4615910"/>
                </a:lnTo>
                <a:lnTo>
                  <a:pt x="1156882" y="4613536"/>
                </a:lnTo>
                <a:cubicBezTo>
                  <a:pt x="1158818" y="4605843"/>
                  <a:pt x="1164084" y="4601351"/>
                  <a:pt x="1170028" y="4599635"/>
                </a:cubicBezTo>
                <a:close/>
                <a:moveTo>
                  <a:pt x="960318" y="4598253"/>
                </a:moveTo>
                <a:cubicBezTo>
                  <a:pt x="961867" y="4597737"/>
                  <a:pt x="963881" y="4598150"/>
                  <a:pt x="966205" y="4600318"/>
                </a:cubicBezTo>
                <a:cubicBezTo>
                  <a:pt x="966049" y="4604965"/>
                  <a:pt x="963261" y="4604759"/>
                  <a:pt x="960628" y="4604552"/>
                </a:cubicBezTo>
                <a:cubicBezTo>
                  <a:pt x="961403" y="4601661"/>
                  <a:pt x="957685" y="4600835"/>
                  <a:pt x="960318" y="4598253"/>
                </a:cubicBezTo>
                <a:close/>
                <a:moveTo>
                  <a:pt x="838260" y="4597944"/>
                </a:moveTo>
                <a:cubicBezTo>
                  <a:pt x="839964" y="4598873"/>
                  <a:pt x="840738" y="4598976"/>
                  <a:pt x="842442" y="4598150"/>
                </a:cubicBezTo>
                <a:cubicBezTo>
                  <a:pt x="842442" y="4598150"/>
                  <a:pt x="842442" y="4598150"/>
                  <a:pt x="844146" y="4600009"/>
                </a:cubicBezTo>
                <a:lnTo>
                  <a:pt x="844301" y="4600835"/>
                </a:lnTo>
                <a:cubicBezTo>
                  <a:pt x="843991" y="4601248"/>
                  <a:pt x="843371" y="4601351"/>
                  <a:pt x="842442" y="4601454"/>
                </a:cubicBezTo>
                <a:cubicBezTo>
                  <a:pt x="839654" y="4601558"/>
                  <a:pt x="834852" y="4600422"/>
                  <a:pt x="834233" y="4600318"/>
                </a:cubicBezTo>
                <a:cubicBezTo>
                  <a:pt x="834233" y="4600318"/>
                  <a:pt x="833303" y="4600318"/>
                  <a:pt x="832529" y="4600318"/>
                </a:cubicBezTo>
                <a:cubicBezTo>
                  <a:pt x="831599" y="4599389"/>
                  <a:pt x="831599" y="4598460"/>
                  <a:pt x="830825" y="4598460"/>
                </a:cubicBezTo>
                <a:cubicBezTo>
                  <a:pt x="833148" y="4595982"/>
                  <a:pt x="835781" y="4597014"/>
                  <a:pt x="838260" y="4597944"/>
                </a:cubicBezTo>
                <a:close/>
                <a:moveTo>
                  <a:pt x="1570764" y="4597324"/>
                </a:moveTo>
                <a:cubicBezTo>
                  <a:pt x="1572313" y="4594846"/>
                  <a:pt x="1573243" y="4595775"/>
                  <a:pt x="1574947" y="4597531"/>
                </a:cubicBezTo>
                <a:cubicBezTo>
                  <a:pt x="1574482" y="4598357"/>
                  <a:pt x="1574173" y="4598976"/>
                  <a:pt x="1573553" y="4599079"/>
                </a:cubicBezTo>
                <a:cubicBezTo>
                  <a:pt x="1572933" y="4599286"/>
                  <a:pt x="1572004" y="4599079"/>
                  <a:pt x="1570764" y="4598150"/>
                </a:cubicBezTo>
                <a:cubicBezTo>
                  <a:pt x="1570764" y="4598150"/>
                  <a:pt x="1570764" y="4597324"/>
                  <a:pt x="1570764" y="4597324"/>
                </a:cubicBezTo>
                <a:close/>
                <a:moveTo>
                  <a:pt x="5987932" y="4596723"/>
                </a:moveTo>
                <a:cubicBezTo>
                  <a:pt x="5987778" y="4600749"/>
                  <a:pt x="5987623" y="4604776"/>
                  <a:pt x="5986848" y="4608803"/>
                </a:cubicBezTo>
                <a:cubicBezTo>
                  <a:pt x="5986074" y="4612831"/>
                  <a:pt x="5984680" y="4616961"/>
                  <a:pt x="5981427" y="4621091"/>
                </a:cubicBezTo>
                <a:cubicBezTo>
                  <a:pt x="5975231" y="4613450"/>
                  <a:pt x="5982976" y="4601679"/>
                  <a:pt x="5987932" y="4596723"/>
                </a:cubicBezTo>
                <a:close/>
                <a:moveTo>
                  <a:pt x="6755753" y="4596619"/>
                </a:moveTo>
                <a:cubicBezTo>
                  <a:pt x="6756838" y="4596309"/>
                  <a:pt x="6758232" y="4596309"/>
                  <a:pt x="6759936" y="4596619"/>
                </a:cubicBezTo>
                <a:cubicBezTo>
                  <a:pt x="6762724" y="4602298"/>
                  <a:pt x="6769229" y="4611385"/>
                  <a:pt x="6761639" y="4617167"/>
                </a:cubicBezTo>
                <a:cubicBezTo>
                  <a:pt x="6752965" y="4613863"/>
                  <a:pt x="6747699" y="4598581"/>
                  <a:pt x="6755753" y="4596619"/>
                </a:cubicBezTo>
                <a:close/>
                <a:moveTo>
                  <a:pt x="1491922" y="4596498"/>
                </a:moveTo>
                <a:cubicBezTo>
                  <a:pt x="1493006" y="4596911"/>
                  <a:pt x="1494091" y="4597221"/>
                  <a:pt x="1493316" y="4597634"/>
                </a:cubicBezTo>
                <a:cubicBezTo>
                  <a:pt x="1493626" y="4598460"/>
                  <a:pt x="1492851" y="4598770"/>
                  <a:pt x="1492387" y="4600009"/>
                </a:cubicBezTo>
                <a:cubicBezTo>
                  <a:pt x="1491148" y="4601454"/>
                  <a:pt x="1488824" y="4602590"/>
                  <a:pt x="1487740" y="4602177"/>
                </a:cubicBezTo>
                <a:cubicBezTo>
                  <a:pt x="1486656" y="4601868"/>
                  <a:pt x="1486346" y="4601041"/>
                  <a:pt x="1486346" y="4601041"/>
                </a:cubicBezTo>
                <a:cubicBezTo>
                  <a:pt x="1486966" y="4597944"/>
                  <a:pt x="1488670" y="4595259"/>
                  <a:pt x="1491922" y="4596498"/>
                </a:cubicBezTo>
                <a:close/>
                <a:moveTo>
                  <a:pt x="1152602" y="4596085"/>
                </a:moveTo>
                <a:cubicBezTo>
                  <a:pt x="1155294" y="4595543"/>
                  <a:pt x="1158276" y="4596963"/>
                  <a:pt x="1159670" y="4600938"/>
                </a:cubicBezTo>
                <a:cubicBezTo>
                  <a:pt x="1159360" y="4604449"/>
                  <a:pt x="1157501" y="4607030"/>
                  <a:pt x="1155023" y="4607650"/>
                </a:cubicBezTo>
                <a:cubicBezTo>
                  <a:pt x="1152544" y="4608269"/>
                  <a:pt x="1149601" y="4607030"/>
                  <a:pt x="1147278" y="4603003"/>
                </a:cubicBezTo>
                <a:cubicBezTo>
                  <a:pt x="1147510" y="4599131"/>
                  <a:pt x="1149911" y="4596627"/>
                  <a:pt x="1152602" y="4596085"/>
                </a:cubicBezTo>
                <a:close/>
                <a:moveTo>
                  <a:pt x="1561471" y="4594330"/>
                </a:moveTo>
                <a:cubicBezTo>
                  <a:pt x="1562245" y="4593504"/>
                  <a:pt x="1564879" y="4595362"/>
                  <a:pt x="1565808" y="4595362"/>
                </a:cubicBezTo>
                <a:cubicBezTo>
                  <a:pt x="1565808" y="4596292"/>
                  <a:pt x="1565034" y="4597117"/>
                  <a:pt x="1565034" y="4598047"/>
                </a:cubicBezTo>
                <a:cubicBezTo>
                  <a:pt x="1564104" y="4597944"/>
                  <a:pt x="1562400" y="4597944"/>
                  <a:pt x="1561471" y="4597014"/>
                </a:cubicBezTo>
                <a:cubicBezTo>
                  <a:pt x="1560696" y="4596911"/>
                  <a:pt x="1561471" y="4594330"/>
                  <a:pt x="1561471" y="4594330"/>
                </a:cubicBezTo>
                <a:close/>
                <a:moveTo>
                  <a:pt x="1794125" y="4594123"/>
                </a:moveTo>
                <a:cubicBezTo>
                  <a:pt x="1798772" y="4595569"/>
                  <a:pt x="1800940" y="4599699"/>
                  <a:pt x="1801560" y="4604346"/>
                </a:cubicBezTo>
                <a:lnTo>
                  <a:pt x="1801560" y="4607340"/>
                </a:lnTo>
                <a:lnTo>
                  <a:pt x="1804194" y="4609095"/>
                </a:lnTo>
                <a:cubicBezTo>
                  <a:pt x="1808066" y="4613948"/>
                  <a:pt x="1808840" y="4622725"/>
                  <a:pt x="1804348" y="4623654"/>
                </a:cubicBezTo>
                <a:cubicBezTo>
                  <a:pt x="1803419" y="4623758"/>
                  <a:pt x="1802489" y="4623654"/>
                  <a:pt x="1801095" y="4623138"/>
                </a:cubicBezTo>
                <a:lnTo>
                  <a:pt x="1800786" y="4622829"/>
                </a:lnTo>
                <a:lnTo>
                  <a:pt x="1800011" y="4623138"/>
                </a:lnTo>
                <a:cubicBezTo>
                  <a:pt x="1798152" y="4623964"/>
                  <a:pt x="1796138" y="4624687"/>
                  <a:pt x="1793660" y="4624480"/>
                </a:cubicBezTo>
                <a:cubicBezTo>
                  <a:pt x="1794125" y="4623345"/>
                  <a:pt x="1795829" y="4620557"/>
                  <a:pt x="1798772" y="4621073"/>
                </a:cubicBezTo>
                <a:lnTo>
                  <a:pt x="1799236" y="4620970"/>
                </a:lnTo>
                <a:lnTo>
                  <a:pt x="1797688" y="4619214"/>
                </a:lnTo>
                <a:cubicBezTo>
                  <a:pt x="1795829" y="4616530"/>
                  <a:pt x="1794900" y="4613845"/>
                  <a:pt x="1795209" y="4611057"/>
                </a:cubicBezTo>
                <a:lnTo>
                  <a:pt x="1796138" y="4608889"/>
                </a:lnTo>
                <a:lnTo>
                  <a:pt x="1795365" y="4607134"/>
                </a:lnTo>
                <a:cubicBezTo>
                  <a:pt x="1793970" y="4603416"/>
                  <a:pt x="1793350" y="4599286"/>
                  <a:pt x="1794125" y="4594123"/>
                </a:cubicBezTo>
                <a:close/>
                <a:moveTo>
                  <a:pt x="807068" y="4594020"/>
                </a:moveTo>
                <a:cubicBezTo>
                  <a:pt x="808210" y="4594872"/>
                  <a:pt x="808520" y="4596653"/>
                  <a:pt x="809139" y="4598667"/>
                </a:cubicBezTo>
                <a:cubicBezTo>
                  <a:pt x="807435" y="4599699"/>
                  <a:pt x="806816" y="4602384"/>
                  <a:pt x="804492" y="4603003"/>
                </a:cubicBezTo>
                <a:cubicBezTo>
                  <a:pt x="804492" y="4603003"/>
                  <a:pt x="804182" y="4603107"/>
                  <a:pt x="803718" y="4603107"/>
                </a:cubicBezTo>
                <a:cubicBezTo>
                  <a:pt x="803253" y="4603107"/>
                  <a:pt x="802479" y="4602900"/>
                  <a:pt x="801859" y="4602487"/>
                </a:cubicBezTo>
                <a:cubicBezTo>
                  <a:pt x="798916" y="4602694"/>
                  <a:pt x="798297" y="4599079"/>
                  <a:pt x="798297" y="4599079"/>
                </a:cubicBezTo>
                <a:cubicBezTo>
                  <a:pt x="798297" y="4599079"/>
                  <a:pt x="798297" y="4599183"/>
                  <a:pt x="797832" y="4599906"/>
                </a:cubicBezTo>
                <a:cubicBezTo>
                  <a:pt x="798761" y="4598357"/>
                  <a:pt x="799071" y="4596395"/>
                  <a:pt x="800001" y="4594949"/>
                </a:cubicBezTo>
                <a:cubicBezTo>
                  <a:pt x="803951" y="4593246"/>
                  <a:pt x="805926" y="4593168"/>
                  <a:pt x="807068" y="4594020"/>
                </a:cubicBezTo>
                <a:close/>
                <a:moveTo>
                  <a:pt x="1475658" y="4592884"/>
                </a:moveTo>
                <a:lnTo>
                  <a:pt x="1475349" y="4594227"/>
                </a:lnTo>
                <a:lnTo>
                  <a:pt x="1476742" y="4594123"/>
                </a:lnTo>
                <a:lnTo>
                  <a:pt x="1476433" y="4593813"/>
                </a:lnTo>
                <a:cubicBezTo>
                  <a:pt x="1476278" y="4593710"/>
                  <a:pt x="1475968" y="4593607"/>
                  <a:pt x="1475813" y="4593297"/>
                </a:cubicBezTo>
                <a:close/>
                <a:moveTo>
                  <a:pt x="1203041" y="4592574"/>
                </a:moveTo>
                <a:cubicBezTo>
                  <a:pt x="1202886" y="4594227"/>
                  <a:pt x="1201802" y="4603623"/>
                  <a:pt x="1200098" y="4605998"/>
                </a:cubicBezTo>
                <a:cubicBezTo>
                  <a:pt x="1201027" y="4601764"/>
                  <a:pt x="1200408" y="4595672"/>
                  <a:pt x="1203041" y="4592574"/>
                </a:cubicBezTo>
                <a:close/>
                <a:moveTo>
                  <a:pt x="6176441" y="4592489"/>
                </a:moveTo>
                <a:cubicBezTo>
                  <a:pt x="6179384" y="4592696"/>
                  <a:pt x="6181553" y="4594554"/>
                  <a:pt x="6181708" y="4597652"/>
                </a:cubicBezTo>
                <a:cubicBezTo>
                  <a:pt x="6180933" y="4599304"/>
                  <a:pt x="6179075" y="4599407"/>
                  <a:pt x="6177216" y="4599613"/>
                </a:cubicBezTo>
                <a:cubicBezTo>
                  <a:pt x="6175822" y="4599510"/>
                  <a:pt x="6174893" y="4598994"/>
                  <a:pt x="6174428" y="4598168"/>
                </a:cubicBezTo>
                <a:cubicBezTo>
                  <a:pt x="6174118" y="4597342"/>
                  <a:pt x="6174118" y="4596206"/>
                  <a:pt x="6174273" y="4595070"/>
                </a:cubicBezTo>
                <a:cubicBezTo>
                  <a:pt x="6174582" y="4592696"/>
                  <a:pt x="6176441" y="4592489"/>
                  <a:pt x="6176441" y="4592489"/>
                </a:cubicBezTo>
                <a:close/>
                <a:moveTo>
                  <a:pt x="737267" y="4592368"/>
                </a:moveTo>
                <a:cubicBezTo>
                  <a:pt x="738042" y="4590716"/>
                  <a:pt x="740676" y="4594330"/>
                  <a:pt x="741450" y="4592574"/>
                </a:cubicBezTo>
                <a:cubicBezTo>
                  <a:pt x="744857" y="4596292"/>
                  <a:pt x="748885" y="4592058"/>
                  <a:pt x="754925" y="4596705"/>
                </a:cubicBezTo>
                <a:cubicBezTo>
                  <a:pt x="752912" y="4597324"/>
                  <a:pt x="750899" y="4597531"/>
                  <a:pt x="749194" y="4597531"/>
                </a:cubicBezTo>
                <a:cubicBezTo>
                  <a:pt x="743774" y="4597428"/>
                  <a:pt x="739436" y="4595569"/>
                  <a:pt x="735719" y="4596705"/>
                </a:cubicBezTo>
                <a:cubicBezTo>
                  <a:pt x="735719" y="4596705"/>
                  <a:pt x="735874" y="4596705"/>
                  <a:pt x="734014" y="4594949"/>
                </a:cubicBezTo>
                <a:cubicBezTo>
                  <a:pt x="733240" y="4594846"/>
                  <a:pt x="733240" y="4594846"/>
                  <a:pt x="733240" y="4594846"/>
                </a:cubicBezTo>
                <a:cubicBezTo>
                  <a:pt x="732311" y="4594846"/>
                  <a:pt x="732311" y="4593091"/>
                  <a:pt x="732311" y="4593091"/>
                </a:cubicBezTo>
                <a:cubicBezTo>
                  <a:pt x="733085" y="4591335"/>
                  <a:pt x="735564" y="4592368"/>
                  <a:pt x="737267" y="4592368"/>
                </a:cubicBezTo>
                <a:close/>
                <a:moveTo>
                  <a:pt x="1558063" y="4592265"/>
                </a:moveTo>
                <a:cubicBezTo>
                  <a:pt x="1560232" y="4598976"/>
                  <a:pt x="1553726" y="4602590"/>
                  <a:pt x="1549853" y="4606307"/>
                </a:cubicBezTo>
                <a:cubicBezTo>
                  <a:pt x="1555120" y="4609405"/>
                  <a:pt x="1563949" y="4612503"/>
                  <a:pt x="1561626" y="4618595"/>
                </a:cubicBezTo>
                <a:cubicBezTo>
                  <a:pt x="1560077" y="4619214"/>
                  <a:pt x="1558528" y="4619214"/>
                  <a:pt x="1557133" y="4618802"/>
                </a:cubicBezTo>
                <a:cubicBezTo>
                  <a:pt x="1552796" y="4617563"/>
                  <a:pt x="1548770" y="4612709"/>
                  <a:pt x="1543503" y="4610747"/>
                </a:cubicBezTo>
                <a:cubicBezTo>
                  <a:pt x="1540095" y="4610747"/>
                  <a:pt x="1538856" y="4614775"/>
                  <a:pt x="1533125" y="4610747"/>
                </a:cubicBezTo>
                <a:cubicBezTo>
                  <a:pt x="1538081" y="4601971"/>
                  <a:pt x="1543967" y="4596498"/>
                  <a:pt x="1550783" y="4593917"/>
                </a:cubicBezTo>
                <a:cubicBezTo>
                  <a:pt x="1553106" y="4592987"/>
                  <a:pt x="1555585" y="4592471"/>
                  <a:pt x="1558063" y="4592265"/>
                </a:cubicBezTo>
                <a:close/>
                <a:moveTo>
                  <a:pt x="5975696" y="4592179"/>
                </a:moveTo>
                <a:cubicBezTo>
                  <a:pt x="5977245" y="4591250"/>
                  <a:pt x="5980033" y="4593728"/>
                  <a:pt x="5981892" y="4594451"/>
                </a:cubicBezTo>
                <a:cubicBezTo>
                  <a:pt x="5981117" y="4595380"/>
                  <a:pt x="5980342" y="4596309"/>
                  <a:pt x="5981272" y="4596309"/>
                </a:cubicBezTo>
                <a:cubicBezTo>
                  <a:pt x="5980498" y="4597239"/>
                  <a:pt x="5979723" y="4597652"/>
                  <a:pt x="5978949" y="4597858"/>
                </a:cubicBezTo>
                <a:cubicBezTo>
                  <a:pt x="5978174" y="4597962"/>
                  <a:pt x="5977245" y="4597858"/>
                  <a:pt x="5976470" y="4597445"/>
                </a:cubicBezTo>
                <a:cubicBezTo>
                  <a:pt x="5975386" y="4596619"/>
                  <a:pt x="5975231" y="4594864"/>
                  <a:pt x="5975696" y="4592179"/>
                </a:cubicBezTo>
                <a:close/>
                <a:moveTo>
                  <a:pt x="6463464" y="4591663"/>
                </a:moveTo>
                <a:lnTo>
                  <a:pt x="6453861" y="4592799"/>
                </a:lnTo>
                <a:lnTo>
                  <a:pt x="6456649" y="4593831"/>
                </a:lnTo>
                <a:lnTo>
                  <a:pt x="6460676" y="4598271"/>
                </a:lnTo>
                <a:lnTo>
                  <a:pt x="6460676" y="4597962"/>
                </a:lnTo>
                <a:close/>
                <a:moveTo>
                  <a:pt x="1846325" y="4590200"/>
                </a:moveTo>
                <a:lnTo>
                  <a:pt x="1837960" y="4592368"/>
                </a:lnTo>
                <a:lnTo>
                  <a:pt x="1840903" y="4593091"/>
                </a:lnTo>
                <a:lnTo>
                  <a:pt x="1846015" y="4593091"/>
                </a:lnTo>
                <a:lnTo>
                  <a:pt x="1846325" y="4590303"/>
                </a:lnTo>
                <a:close/>
                <a:moveTo>
                  <a:pt x="1168809" y="4590096"/>
                </a:moveTo>
                <a:cubicBezTo>
                  <a:pt x="1170357" y="4588960"/>
                  <a:pt x="1170667" y="4591335"/>
                  <a:pt x="1170822" y="4592471"/>
                </a:cubicBezTo>
                <a:cubicBezTo>
                  <a:pt x="1168964" y="4591232"/>
                  <a:pt x="1167724" y="4591645"/>
                  <a:pt x="1168344" y="4590819"/>
                </a:cubicBezTo>
                <a:cubicBezTo>
                  <a:pt x="1167569" y="4590406"/>
                  <a:pt x="1168189" y="4589683"/>
                  <a:pt x="1168809" y="4590096"/>
                </a:cubicBezTo>
                <a:close/>
                <a:moveTo>
                  <a:pt x="1402547" y="4589477"/>
                </a:moveTo>
                <a:cubicBezTo>
                  <a:pt x="1405025" y="4588650"/>
                  <a:pt x="1406884" y="4588857"/>
                  <a:pt x="1408279" y="4590096"/>
                </a:cubicBezTo>
                <a:cubicBezTo>
                  <a:pt x="1409827" y="4591335"/>
                  <a:pt x="1410912" y="4593401"/>
                  <a:pt x="1411686" y="4596498"/>
                </a:cubicBezTo>
                <a:cubicBezTo>
                  <a:pt x="1410447" y="4597117"/>
                  <a:pt x="1409363" y="4597221"/>
                  <a:pt x="1408434" y="4596911"/>
                </a:cubicBezTo>
                <a:cubicBezTo>
                  <a:pt x="1405800" y="4596188"/>
                  <a:pt x="1404716" y="4592368"/>
                  <a:pt x="1402547" y="4589477"/>
                </a:cubicBezTo>
                <a:close/>
                <a:moveTo>
                  <a:pt x="1483558" y="4589373"/>
                </a:moveTo>
                <a:lnTo>
                  <a:pt x="1486811" y="4590612"/>
                </a:lnTo>
                <a:cubicBezTo>
                  <a:pt x="1486346" y="4591748"/>
                  <a:pt x="1485107" y="4593297"/>
                  <a:pt x="1484023" y="4592884"/>
                </a:cubicBezTo>
                <a:cubicBezTo>
                  <a:pt x="1483093" y="4592884"/>
                  <a:pt x="1482938" y="4592471"/>
                  <a:pt x="1483093" y="4591851"/>
                </a:cubicBezTo>
                <a:cubicBezTo>
                  <a:pt x="1483093" y="4591232"/>
                  <a:pt x="1483403" y="4590406"/>
                  <a:pt x="1483558" y="4589373"/>
                </a:cubicBezTo>
                <a:close/>
                <a:moveTo>
                  <a:pt x="6202154" y="4589288"/>
                </a:moveTo>
                <a:cubicBezTo>
                  <a:pt x="6211913" y="4596206"/>
                  <a:pt x="6208505" y="4603847"/>
                  <a:pt x="6201999" y="4602711"/>
                </a:cubicBezTo>
                <a:cubicBezTo>
                  <a:pt x="6199831" y="4602402"/>
                  <a:pt x="6197352" y="4601059"/>
                  <a:pt x="6195029" y="4598375"/>
                </a:cubicBezTo>
                <a:cubicBezTo>
                  <a:pt x="6193945" y="4594038"/>
                  <a:pt x="6198747" y="4588255"/>
                  <a:pt x="6202154" y="4589288"/>
                </a:cubicBezTo>
                <a:close/>
                <a:moveTo>
                  <a:pt x="5709429" y="4588359"/>
                </a:moveTo>
                <a:cubicBezTo>
                  <a:pt x="5713301" y="4588359"/>
                  <a:pt x="5712217" y="4587946"/>
                  <a:pt x="5715780" y="4589908"/>
                </a:cubicBezTo>
                <a:cubicBezTo>
                  <a:pt x="5714695" y="4592179"/>
                  <a:pt x="5713766" y="4594554"/>
                  <a:pt x="5712836" y="4596929"/>
                </a:cubicBezTo>
                <a:cubicBezTo>
                  <a:pt x="5711443" y="4595793"/>
                  <a:pt x="5709429" y="4595793"/>
                  <a:pt x="5708345" y="4595380"/>
                </a:cubicBezTo>
                <a:cubicBezTo>
                  <a:pt x="5707416" y="4593005"/>
                  <a:pt x="5707725" y="4591146"/>
                  <a:pt x="5709429" y="4588359"/>
                </a:cubicBezTo>
                <a:close/>
                <a:moveTo>
                  <a:pt x="890460" y="4588135"/>
                </a:moveTo>
                <a:cubicBezTo>
                  <a:pt x="891544" y="4588444"/>
                  <a:pt x="892474" y="4588857"/>
                  <a:pt x="892009" y="4589993"/>
                </a:cubicBezTo>
                <a:cubicBezTo>
                  <a:pt x="891544" y="4591232"/>
                  <a:pt x="891854" y="4591955"/>
                  <a:pt x="889995" y="4591955"/>
                </a:cubicBezTo>
                <a:cubicBezTo>
                  <a:pt x="889221" y="4592368"/>
                  <a:pt x="888136" y="4591955"/>
                  <a:pt x="887362" y="4592368"/>
                </a:cubicBezTo>
                <a:cubicBezTo>
                  <a:pt x="887362" y="4592368"/>
                  <a:pt x="887052" y="4591851"/>
                  <a:pt x="886587" y="4591232"/>
                </a:cubicBezTo>
                <a:cubicBezTo>
                  <a:pt x="886278" y="4590612"/>
                  <a:pt x="885968" y="4589786"/>
                  <a:pt x="886123" y="4589270"/>
                </a:cubicBezTo>
                <a:cubicBezTo>
                  <a:pt x="886433" y="4587308"/>
                  <a:pt x="889530" y="4588444"/>
                  <a:pt x="890460" y="4588135"/>
                </a:cubicBezTo>
                <a:close/>
                <a:moveTo>
                  <a:pt x="1196070" y="4587721"/>
                </a:moveTo>
                <a:cubicBezTo>
                  <a:pt x="1197619" y="4588857"/>
                  <a:pt x="1197154" y="4592368"/>
                  <a:pt x="1197464" y="4594330"/>
                </a:cubicBezTo>
                <a:cubicBezTo>
                  <a:pt x="1196226" y="4594020"/>
                  <a:pt x="1195141" y="4593710"/>
                  <a:pt x="1195606" y="4594433"/>
                </a:cubicBezTo>
                <a:cubicBezTo>
                  <a:pt x="1194366" y="4594123"/>
                  <a:pt x="1193592" y="4593710"/>
                  <a:pt x="1192973" y="4592987"/>
                </a:cubicBezTo>
                <a:cubicBezTo>
                  <a:pt x="1192353" y="4592265"/>
                  <a:pt x="1192043" y="4591439"/>
                  <a:pt x="1191888" y="4590509"/>
                </a:cubicBezTo>
                <a:cubicBezTo>
                  <a:pt x="1192198" y="4589270"/>
                  <a:pt x="1193437" y="4588341"/>
                  <a:pt x="1196070" y="4587721"/>
                </a:cubicBezTo>
                <a:close/>
                <a:moveTo>
                  <a:pt x="1853605" y="4587618"/>
                </a:moveTo>
                <a:lnTo>
                  <a:pt x="1853296" y="4587721"/>
                </a:lnTo>
                <a:lnTo>
                  <a:pt x="1853140" y="4588031"/>
                </a:lnTo>
                <a:close/>
                <a:moveTo>
                  <a:pt x="1499667" y="4587102"/>
                </a:moveTo>
                <a:cubicBezTo>
                  <a:pt x="1502765" y="4586999"/>
                  <a:pt x="1504004" y="4586585"/>
                  <a:pt x="1506018" y="4588754"/>
                </a:cubicBezTo>
                <a:cubicBezTo>
                  <a:pt x="1504779" y="4589064"/>
                  <a:pt x="1503694" y="4589167"/>
                  <a:pt x="1502765" y="4588960"/>
                </a:cubicBezTo>
                <a:cubicBezTo>
                  <a:pt x="1501681" y="4588650"/>
                  <a:pt x="1500751" y="4588135"/>
                  <a:pt x="1499667" y="4587102"/>
                </a:cubicBezTo>
                <a:close/>
                <a:moveTo>
                  <a:pt x="5842175" y="4587016"/>
                </a:moveTo>
                <a:cubicBezTo>
                  <a:pt x="5842640" y="4586294"/>
                  <a:pt x="5845738" y="4587223"/>
                  <a:pt x="5846048" y="4588359"/>
                </a:cubicBezTo>
                <a:cubicBezTo>
                  <a:pt x="5847132" y="4591250"/>
                  <a:pt x="5844344" y="4592592"/>
                  <a:pt x="5841710" y="4595070"/>
                </a:cubicBezTo>
                <a:cubicBezTo>
                  <a:pt x="5841555" y="4593935"/>
                  <a:pt x="5840317" y="4594244"/>
                  <a:pt x="5839232" y="4594554"/>
                </a:cubicBezTo>
                <a:cubicBezTo>
                  <a:pt x="5838922" y="4592799"/>
                  <a:pt x="5837993" y="4590114"/>
                  <a:pt x="5839542" y="4588359"/>
                </a:cubicBezTo>
                <a:cubicBezTo>
                  <a:pt x="5840162" y="4587739"/>
                  <a:pt x="5840936" y="4587326"/>
                  <a:pt x="5842175" y="4587016"/>
                </a:cubicBezTo>
                <a:close/>
                <a:moveTo>
                  <a:pt x="1592450" y="4585411"/>
                </a:moveTo>
                <a:cubicBezTo>
                  <a:pt x="1593960" y="4584701"/>
                  <a:pt x="1595857" y="4585811"/>
                  <a:pt x="1597252" y="4591129"/>
                </a:cubicBezTo>
                <a:cubicBezTo>
                  <a:pt x="1594618" y="4592781"/>
                  <a:pt x="1592915" y="4593297"/>
                  <a:pt x="1591675" y="4593091"/>
                </a:cubicBezTo>
                <a:cubicBezTo>
                  <a:pt x="1590591" y="4592781"/>
                  <a:pt x="1590127" y="4591748"/>
                  <a:pt x="1589972" y="4590612"/>
                </a:cubicBezTo>
                <a:cubicBezTo>
                  <a:pt x="1589817" y="4588651"/>
                  <a:pt x="1590940" y="4586121"/>
                  <a:pt x="1592450" y="4585411"/>
                </a:cubicBezTo>
                <a:close/>
                <a:moveTo>
                  <a:pt x="6017053" y="4585158"/>
                </a:moveTo>
                <a:cubicBezTo>
                  <a:pt x="6016743" y="4587636"/>
                  <a:pt x="6017518" y="4588462"/>
                  <a:pt x="6016589" y="4588359"/>
                </a:cubicBezTo>
                <a:cubicBezTo>
                  <a:pt x="6016589" y="4588772"/>
                  <a:pt x="6016278" y="4589081"/>
                  <a:pt x="6016124" y="4589081"/>
                </a:cubicBezTo>
                <a:cubicBezTo>
                  <a:pt x="6015969" y="4589081"/>
                  <a:pt x="6015814" y="4588772"/>
                  <a:pt x="6015814" y="4588359"/>
                </a:cubicBezTo>
                <a:cubicBezTo>
                  <a:pt x="6014265" y="4587533"/>
                  <a:pt x="6016124" y="4585880"/>
                  <a:pt x="6017053" y="4585158"/>
                </a:cubicBezTo>
                <a:close/>
                <a:moveTo>
                  <a:pt x="1170357" y="4585140"/>
                </a:moveTo>
                <a:cubicBezTo>
                  <a:pt x="1172216" y="4584417"/>
                  <a:pt x="1173920" y="4584520"/>
                  <a:pt x="1175314" y="4585140"/>
                </a:cubicBezTo>
                <a:lnTo>
                  <a:pt x="1176088" y="4586069"/>
                </a:lnTo>
                <a:lnTo>
                  <a:pt x="1176863" y="4586689"/>
                </a:lnTo>
                <a:lnTo>
                  <a:pt x="1178412" y="4588444"/>
                </a:lnTo>
                <a:cubicBezTo>
                  <a:pt x="1177792" y="4589580"/>
                  <a:pt x="1177018" y="4590200"/>
                  <a:pt x="1176243" y="4590509"/>
                </a:cubicBezTo>
                <a:cubicBezTo>
                  <a:pt x="1175469" y="4590819"/>
                  <a:pt x="1174695" y="4590922"/>
                  <a:pt x="1173765" y="4590509"/>
                </a:cubicBezTo>
                <a:cubicBezTo>
                  <a:pt x="1172216" y="4589890"/>
                  <a:pt x="1170822" y="4587928"/>
                  <a:pt x="1170357" y="4585140"/>
                </a:cubicBezTo>
                <a:close/>
                <a:moveTo>
                  <a:pt x="1416643" y="4584624"/>
                </a:moveTo>
                <a:cubicBezTo>
                  <a:pt x="1415558" y="4587205"/>
                  <a:pt x="1414474" y="4589890"/>
                  <a:pt x="1412615" y="4590509"/>
                </a:cubicBezTo>
                <a:cubicBezTo>
                  <a:pt x="1411996" y="4590716"/>
                  <a:pt x="1411221" y="4590716"/>
                  <a:pt x="1410447" y="4590509"/>
                </a:cubicBezTo>
                <a:cubicBezTo>
                  <a:pt x="1409053" y="4586585"/>
                  <a:pt x="1411996" y="4582249"/>
                  <a:pt x="1416643" y="4584624"/>
                </a:cubicBezTo>
                <a:close/>
                <a:moveTo>
                  <a:pt x="6103795" y="4584435"/>
                </a:moveTo>
                <a:cubicBezTo>
                  <a:pt x="6104725" y="4584951"/>
                  <a:pt x="6105809" y="4584951"/>
                  <a:pt x="6106738" y="4585158"/>
                </a:cubicBezTo>
                <a:lnTo>
                  <a:pt x="6109681" y="4586397"/>
                </a:lnTo>
                <a:lnTo>
                  <a:pt x="6110456" y="4586087"/>
                </a:lnTo>
                <a:cubicBezTo>
                  <a:pt x="6117891" y="4596000"/>
                  <a:pt x="6115412" y="4600027"/>
                  <a:pt x="6110920" y="4600543"/>
                </a:cubicBezTo>
                <a:cubicBezTo>
                  <a:pt x="6108132" y="4600853"/>
                  <a:pt x="6104569" y="4599923"/>
                  <a:pt x="6102401" y="4598168"/>
                </a:cubicBezTo>
                <a:lnTo>
                  <a:pt x="6101626" y="4597239"/>
                </a:lnTo>
                <a:lnTo>
                  <a:pt x="6100387" y="4597962"/>
                </a:lnTo>
                <a:cubicBezTo>
                  <a:pt x="6098374" y="4598065"/>
                  <a:pt x="6096360" y="4597342"/>
                  <a:pt x="6094191" y="4595483"/>
                </a:cubicBezTo>
                <a:cubicBezTo>
                  <a:pt x="6093262" y="4591146"/>
                  <a:pt x="6098064" y="4588875"/>
                  <a:pt x="6100542" y="4587223"/>
                </a:cubicBezTo>
                <a:lnTo>
                  <a:pt x="6101626" y="4588462"/>
                </a:lnTo>
                <a:lnTo>
                  <a:pt x="6102246" y="4586707"/>
                </a:lnTo>
                <a:cubicBezTo>
                  <a:pt x="6102711" y="4585984"/>
                  <a:pt x="6103175" y="4585261"/>
                  <a:pt x="6103795" y="4584435"/>
                </a:cubicBezTo>
                <a:close/>
                <a:moveTo>
                  <a:pt x="1632568" y="4584314"/>
                </a:moveTo>
                <a:cubicBezTo>
                  <a:pt x="1634117" y="4583901"/>
                  <a:pt x="1635976" y="4584107"/>
                  <a:pt x="1637835" y="4585140"/>
                </a:cubicBezTo>
                <a:lnTo>
                  <a:pt x="1637680" y="4586276"/>
                </a:lnTo>
                <a:lnTo>
                  <a:pt x="1643720" y="4590922"/>
                </a:lnTo>
                <a:cubicBezTo>
                  <a:pt x="1644805" y="4592987"/>
                  <a:pt x="1644805" y="4595466"/>
                  <a:pt x="1643411" y="4598976"/>
                </a:cubicBezTo>
                <a:cubicBezTo>
                  <a:pt x="1642636" y="4599286"/>
                  <a:pt x="1641862" y="4599389"/>
                  <a:pt x="1641242" y="4599286"/>
                </a:cubicBezTo>
                <a:cubicBezTo>
                  <a:pt x="1639074" y="4599079"/>
                  <a:pt x="1637525" y="4597324"/>
                  <a:pt x="1636751" y="4595156"/>
                </a:cubicBezTo>
                <a:lnTo>
                  <a:pt x="1636285" y="4592265"/>
                </a:lnTo>
                <a:lnTo>
                  <a:pt x="1635666" y="4593091"/>
                </a:lnTo>
                <a:cubicBezTo>
                  <a:pt x="1635202" y="4593813"/>
                  <a:pt x="1634582" y="4594330"/>
                  <a:pt x="1633962" y="4594536"/>
                </a:cubicBezTo>
                <a:cubicBezTo>
                  <a:pt x="1625907" y="4591955"/>
                  <a:pt x="1627921" y="4585450"/>
                  <a:pt x="1632568" y="4584314"/>
                </a:cubicBezTo>
                <a:close/>
                <a:moveTo>
                  <a:pt x="1607940" y="4584211"/>
                </a:moveTo>
                <a:cubicBezTo>
                  <a:pt x="1609179" y="4584520"/>
                  <a:pt x="1610263" y="4586069"/>
                  <a:pt x="1610573" y="4588031"/>
                </a:cubicBezTo>
                <a:cubicBezTo>
                  <a:pt x="1609333" y="4587721"/>
                  <a:pt x="1608404" y="4589373"/>
                  <a:pt x="1607165" y="4589167"/>
                </a:cubicBezTo>
                <a:cubicBezTo>
                  <a:pt x="1607165" y="4589167"/>
                  <a:pt x="1604996" y="4587308"/>
                  <a:pt x="1604996" y="4587308"/>
                </a:cubicBezTo>
                <a:cubicBezTo>
                  <a:pt x="1605152" y="4586069"/>
                  <a:pt x="1605152" y="4586069"/>
                  <a:pt x="1605771" y="4586895"/>
                </a:cubicBezTo>
                <a:cubicBezTo>
                  <a:pt x="1606546" y="4585140"/>
                  <a:pt x="1607320" y="4584624"/>
                  <a:pt x="1607940" y="4584211"/>
                </a:cubicBezTo>
                <a:close/>
                <a:moveTo>
                  <a:pt x="1649452" y="4584004"/>
                </a:moveTo>
                <a:cubicBezTo>
                  <a:pt x="1655803" y="4587618"/>
                  <a:pt x="1659830" y="4591955"/>
                  <a:pt x="1657816" y="4598873"/>
                </a:cubicBezTo>
                <a:cubicBezTo>
                  <a:pt x="1656732" y="4598253"/>
                  <a:pt x="1656112" y="4599286"/>
                  <a:pt x="1655648" y="4600318"/>
                </a:cubicBezTo>
                <a:cubicBezTo>
                  <a:pt x="1648522" y="4601454"/>
                  <a:pt x="1640932" y="4587515"/>
                  <a:pt x="1646354" y="4584520"/>
                </a:cubicBezTo>
                <a:cubicBezTo>
                  <a:pt x="1647128" y="4584004"/>
                  <a:pt x="1648058" y="4583901"/>
                  <a:pt x="1649452" y="4584004"/>
                </a:cubicBezTo>
                <a:close/>
                <a:moveTo>
                  <a:pt x="1224726" y="4582765"/>
                </a:moveTo>
                <a:cubicBezTo>
                  <a:pt x="1225965" y="4583075"/>
                  <a:pt x="1226895" y="4585863"/>
                  <a:pt x="1228134" y="4586173"/>
                </a:cubicBezTo>
                <a:cubicBezTo>
                  <a:pt x="1228134" y="4586173"/>
                  <a:pt x="1228134" y="4586276"/>
                  <a:pt x="1227204" y="4587928"/>
                </a:cubicBezTo>
                <a:cubicBezTo>
                  <a:pt x="1226430" y="4588444"/>
                  <a:pt x="1225810" y="4588857"/>
                  <a:pt x="1224571" y="4588547"/>
                </a:cubicBezTo>
                <a:cubicBezTo>
                  <a:pt x="1223332" y="4588238"/>
                  <a:pt x="1222402" y="4586689"/>
                  <a:pt x="1221784" y="4585863"/>
                </a:cubicBezTo>
                <a:cubicBezTo>
                  <a:pt x="1222557" y="4585450"/>
                  <a:pt x="1222093" y="4584624"/>
                  <a:pt x="1222712" y="4584211"/>
                </a:cubicBezTo>
                <a:cubicBezTo>
                  <a:pt x="1223642" y="4582559"/>
                  <a:pt x="1223642" y="4582455"/>
                  <a:pt x="1224726" y="4582765"/>
                </a:cubicBezTo>
                <a:close/>
                <a:moveTo>
                  <a:pt x="6029600" y="4582370"/>
                </a:moveTo>
                <a:cubicBezTo>
                  <a:pt x="6030994" y="4583196"/>
                  <a:pt x="6032853" y="4583299"/>
                  <a:pt x="6033627" y="4584951"/>
                </a:cubicBezTo>
                <a:cubicBezTo>
                  <a:pt x="6034092" y="4587326"/>
                  <a:pt x="6030994" y="4590631"/>
                  <a:pt x="6029445" y="4591663"/>
                </a:cubicBezTo>
                <a:cubicBezTo>
                  <a:pt x="6027121" y="4592386"/>
                  <a:pt x="6025572" y="4590217"/>
                  <a:pt x="6025108" y="4587842"/>
                </a:cubicBezTo>
                <a:cubicBezTo>
                  <a:pt x="6024643" y="4587120"/>
                  <a:pt x="6024798" y="4586190"/>
                  <a:pt x="6025263" y="4585261"/>
                </a:cubicBezTo>
                <a:cubicBezTo>
                  <a:pt x="6025727" y="4584332"/>
                  <a:pt x="6026502" y="4583506"/>
                  <a:pt x="6027276" y="4582989"/>
                </a:cubicBezTo>
                <a:cubicBezTo>
                  <a:pt x="6028515" y="4582679"/>
                  <a:pt x="6028515" y="4582679"/>
                  <a:pt x="6029600" y="4582370"/>
                </a:cubicBezTo>
                <a:close/>
                <a:moveTo>
                  <a:pt x="903936" y="4582145"/>
                </a:moveTo>
                <a:cubicBezTo>
                  <a:pt x="903626" y="4583384"/>
                  <a:pt x="907034" y="4584211"/>
                  <a:pt x="908118" y="4584520"/>
                </a:cubicBezTo>
                <a:cubicBezTo>
                  <a:pt x="907808" y="4585656"/>
                  <a:pt x="908583" y="4586689"/>
                  <a:pt x="909202" y="4587825"/>
                </a:cubicBezTo>
                <a:lnTo>
                  <a:pt x="909977" y="4589373"/>
                </a:lnTo>
                <a:lnTo>
                  <a:pt x="923298" y="4584107"/>
                </a:lnTo>
                <a:cubicBezTo>
                  <a:pt x="923453" y="4587205"/>
                  <a:pt x="925622" y="4588444"/>
                  <a:pt x="925157" y="4593401"/>
                </a:cubicBezTo>
                <a:cubicBezTo>
                  <a:pt x="917567" y="4595259"/>
                  <a:pt x="910596" y="4598047"/>
                  <a:pt x="903781" y="4600732"/>
                </a:cubicBezTo>
                <a:lnTo>
                  <a:pt x="892783" y="4604449"/>
                </a:lnTo>
                <a:lnTo>
                  <a:pt x="894177" y="4607340"/>
                </a:lnTo>
                <a:cubicBezTo>
                  <a:pt x="895417" y="4611470"/>
                  <a:pt x="895727" y="4615497"/>
                  <a:pt x="895417" y="4619421"/>
                </a:cubicBezTo>
                <a:cubicBezTo>
                  <a:pt x="895261" y="4622003"/>
                  <a:pt x="894642" y="4624584"/>
                  <a:pt x="893868" y="4627165"/>
                </a:cubicBezTo>
                <a:cubicBezTo>
                  <a:pt x="887362" y="4626546"/>
                  <a:pt x="887052" y="4618595"/>
                  <a:pt x="885348" y="4613226"/>
                </a:cubicBezTo>
                <a:cubicBezTo>
                  <a:pt x="880547" y="4617149"/>
                  <a:pt x="874506" y="4624584"/>
                  <a:pt x="870324" y="4619731"/>
                </a:cubicBezTo>
                <a:cubicBezTo>
                  <a:pt x="870633" y="4612709"/>
                  <a:pt x="879152" y="4610851"/>
                  <a:pt x="884264" y="4605172"/>
                </a:cubicBezTo>
                <a:cubicBezTo>
                  <a:pt x="885348" y="4602590"/>
                  <a:pt x="883954" y="4600422"/>
                  <a:pt x="885658" y="4597737"/>
                </a:cubicBezTo>
                <a:lnTo>
                  <a:pt x="886743" y="4596705"/>
                </a:lnTo>
                <a:lnTo>
                  <a:pt x="886587" y="4592368"/>
                </a:lnTo>
                <a:cubicBezTo>
                  <a:pt x="888136" y="4591645"/>
                  <a:pt x="890770" y="4594330"/>
                  <a:pt x="892474" y="4595362"/>
                </a:cubicBezTo>
                <a:cubicBezTo>
                  <a:pt x="891699" y="4596188"/>
                  <a:pt x="890925" y="4596911"/>
                  <a:pt x="891699" y="4597014"/>
                </a:cubicBezTo>
                <a:lnTo>
                  <a:pt x="889840" y="4597944"/>
                </a:lnTo>
                <a:lnTo>
                  <a:pt x="890770" y="4599906"/>
                </a:lnTo>
                <a:lnTo>
                  <a:pt x="891544" y="4598976"/>
                </a:lnTo>
                <a:cubicBezTo>
                  <a:pt x="893713" y="4597221"/>
                  <a:pt x="896037" y="4595672"/>
                  <a:pt x="898670" y="4594330"/>
                </a:cubicBezTo>
                <a:lnTo>
                  <a:pt x="903006" y="4592368"/>
                </a:lnTo>
                <a:lnTo>
                  <a:pt x="901148" y="4591335"/>
                </a:lnTo>
                <a:cubicBezTo>
                  <a:pt x="897585" y="4588754"/>
                  <a:pt x="897585" y="4585863"/>
                  <a:pt x="896811" y="4585656"/>
                </a:cubicBezTo>
                <a:cubicBezTo>
                  <a:pt x="897895" y="4581939"/>
                  <a:pt x="900064" y="4582559"/>
                  <a:pt x="903936" y="4582145"/>
                </a:cubicBezTo>
                <a:close/>
                <a:moveTo>
                  <a:pt x="1351896" y="4581733"/>
                </a:moveTo>
                <a:lnTo>
                  <a:pt x="1351276" y="4582145"/>
                </a:lnTo>
                <a:lnTo>
                  <a:pt x="1351586" y="4582765"/>
                </a:lnTo>
                <a:close/>
                <a:moveTo>
                  <a:pt x="6210673" y="4579685"/>
                </a:moveTo>
                <a:cubicBezTo>
                  <a:pt x="6214236" y="4578343"/>
                  <a:pt x="6217024" y="4578653"/>
                  <a:pt x="6219038" y="4579892"/>
                </a:cubicBezTo>
                <a:cubicBezTo>
                  <a:pt x="6220587" y="4580821"/>
                  <a:pt x="6221516" y="4582267"/>
                  <a:pt x="6222291" y="4584022"/>
                </a:cubicBezTo>
                <a:lnTo>
                  <a:pt x="6222446" y="4585777"/>
                </a:lnTo>
                <a:cubicBezTo>
                  <a:pt x="6225543" y="4585055"/>
                  <a:pt x="6229416" y="4586707"/>
                  <a:pt x="6230965" y="4591353"/>
                </a:cubicBezTo>
                <a:cubicBezTo>
                  <a:pt x="6229416" y="4594554"/>
                  <a:pt x="6227402" y="4596000"/>
                  <a:pt x="6226163" y="4597342"/>
                </a:cubicBezTo>
                <a:lnTo>
                  <a:pt x="6220742" y="4594761"/>
                </a:lnTo>
                <a:lnTo>
                  <a:pt x="6215785" y="4597652"/>
                </a:lnTo>
                <a:cubicBezTo>
                  <a:pt x="6210209" y="4594967"/>
                  <a:pt x="6208350" y="4584022"/>
                  <a:pt x="6210673" y="4579685"/>
                </a:cubicBezTo>
                <a:close/>
                <a:moveTo>
                  <a:pt x="6854112" y="4579582"/>
                </a:moveTo>
                <a:cubicBezTo>
                  <a:pt x="6858295" y="4600853"/>
                  <a:pt x="6863871" y="4623569"/>
                  <a:pt x="6854577" y="4641123"/>
                </a:cubicBezTo>
                <a:cubicBezTo>
                  <a:pt x="6851479" y="4647008"/>
                  <a:pt x="6846677" y="4652274"/>
                  <a:pt x="6839552" y="4656714"/>
                </a:cubicBezTo>
                <a:cubicBezTo>
                  <a:pt x="6834596" y="4659606"/>
                  <a:pt x="6829639" y="4661154"/>
                  <a:pt x="6824992" y="4661671"/>
                </a:cubicBezTo>
                <a:cubicBezTo>
                  <a:pt x="6810741" y="4663013"/>
                  <a:pt x="6798195" y="4654339"/>
                  <a:pt x="6791689" y="4641536"/>
                </a:cubicBezTo>
                <a:lnTo>
                  <a:pt x="6790140" y="4636476"/>
                </a:lnTo>
                <a:lnTo>
                  <a:pt x="6788591" y="4637405"/>
                </a:lnTo>
                <a:cubicBezTo>
                  <a:pt x="6786423" y="4638128"/>
                  <a:pt x="6785184" y="4636579"/>
                  <a:pt x="6785184" y="4636579"/>
                </a:cubicBezTo>
                <a:cubicBezTo>
                  <a:pt x="6783635" y="4633688"/>
                  <a:pt x="6783944" y="4631004"/>
                  <a:pt x="6786578" y="4629558"/>
                </a:cubicBezTo>
                <a:lnTo>
                  <a:pt x="6788437" y="4630384"/>
                </a:lnTo>
                <a:lnTo>
                  <a:pt x="6786733" y="4624499"/>
                </a:lnTo>
                <a:cubicBezTo>
                  <a:pt x="6786268" y="4618406"/>
                  <a:pt x="6786887" y="4612004"/>
                  <a:pt x="6789056" y="4605706"/>
                </a:cubicBezTo>
                <a:cubicBezTo>
                  <a:pt x="6812290" y="4582679"/>
                  <a:pt x="6831652" y="4590424"/>
                  <a:pt x="6854112" y="4579582"/>
                </a:cubicBezTo>
                <a:close/>
                <a:moveTo>
                  <a:pt x="879462" y="4579564"/>
                </a:moveTo>
                <a:cubicBezTo>
                  <a:pt x="881011" y="4580803"/>
                  <a:pt x="878223" y="4585656"/>
                  <a:pt x="876055" y="4584520"/>
                </a:cubicBezTo>
                <a:cubicBezTo>
                  <a:pt x="875435" y="4584107"/>
                  <a:pt x="874815" y="4582972"/>
                  <a:pt x="874351" y="4580906"/>
                </a:cubicBezTo>
                <a:cubicBezTo>
                  <a:pt x="877139" y="4579151"/>
                  <a:pt x="878688" y="4579048"/>
                  <a:pt x="879462" y="4579564"/>
                </a:cubicBezTo>
                <a:close/>
                <a:moveTo>
                  <a:pt x="1205054" y="4579254"/>
                </a:moveTo>
                <a:cubicBezTo>
                  <a:pt x="1205829" y="4581010"/>
                  <a:pt x="1206448" y="4584520"/>
                  <a:pt x="1204900" y="4585966"/>
                </a:cubicBezTo>
                <a:cubicBezTo>
                  <a:pt x="1204900" y="4585966"/>
                  <a:pt x="1204900" y="4585966"/>
                  <a:pt x="1203970" y="4586689"/>
                </a:cubicBezTo>
                <a:cubicBezTo>
                  <a:pt x="1204125" y="4584107"/>
                  <a:pt x="1204125" y="4580803"/>
                  <a:pt x="1205054" y="4579254"/>
                </a:cubicBezTo>
                <a:close/>
                <a:moveTo>
                  <a:pt x="6707348" y="4578511"/>
                </a:moveTo>
                <a:cubicBezTo>
                  <a:pt x="6711182" y="4579066"/>
                  <a:pt x="6714784" y="4581544"/>
                  <a:pt x="6717804" y="4585158"/>
                </a:cubicBezTo>
                <a:cubicBezTo>
                  <a:pt x="6728027" y="4597239"/>
                  <a:pt x="6732054" y="4621504"/>
                  <a:pt x="6717339" y="4627080"/>
                </a:cubicBezTo>
                <a:cubicBezTo>
                  <a:pt x="6706341" y="4617580"/>
                  <a:pt x="6696738" y="4604570"/>
                  <a:pt x="6695499" y="4583402"/>
                </a:cubicBezTo>
                <a:cubicBezTo>
                  <a:pt x="6699448" y="4579324"/>
                  <a:pt x="6703514" y="4577956"/>
                  <a:pt x="6707348" y="4578511"/>
                </a:cubicBezTo>
                <a:close/>
                <a:moveTo>
                  <a:pt x="6144843" y="4577930"/>
                </a:moveTo>
                <a:cubicBezTo>
                  <a:pt x="6146547" y="4579892"/>
                  <a:pt x="6147166" y="4581750"/>
                  <a:pt x="6146547" y="4583609"/>
                </a:cubicBezTo>
                <a:cubicBezTo>
                  <a:pt x="6146082" y="4585364"/>
                  <a:pt x="6144533" y="4587223"/>
                  <a:pt x="6142054" y="4589288"/>
                </a:cubicBezTo>
                <a:cubicBezTo>
                  <a:pt x="6140970" y="4588255"/>
                  <a:pt x="6140505" y="4587326"/>
                  <a:pt x="6140350" y="4586397"/>
                </a:cubicBezTo>
                <a:cubicBezTo>
                  <a:pt x="6139886" y="4583712"/>
                  <a:pt x="6142984" y="4581131"/>
                  <a:pt x="6144843" y="4577930"/>
                </a:cubicBezTo>
                <a:close/>
                <a:moveTo>
                  <a:pt x="5975696" y="4577517"/>
                </a:moveTo>
                <a:cubicBezTo>
                  <a:pt x="5977554" y="4578653"/>
                  <a:pt x="5978794" y="4580614"/>
                  <a:pt x="5978794" y="4583815"/>
                </a:cubicBezTo>
                <a:cubicBezTo>
                  <a:pt x="5978484" y="4588565"/>
                  <a:pt x="5976315" y="4591146"/>
                  <a:pt x="5973063" y="4592592"/>
                </a:cubicBezTo>
                <a:lnTo>
                  <a:pt x="5972908" y="4592696"/>
                </a:lnTo>
                <a:lnTo>
                  <a:pt x="5972598" y="4593212"/>
                </a:lnTo>
                <a:lnTo>
                  <a:pt x="5969809" y="4593418"/>
                </a:lnTo>
                <a:lnTo>
                  <a:pt x="5967486" y="4594038"/>
                </a:lnTo>
                <a:cubicBezTo>
                  <a:pt x="5965473" y="4594244"/>
                  <a:pt x="5963149" y="4594244"/>
                  <a:pt x="5960826" y="4594244"/>
                </a:cubicBezTo>
                <a:cubicBezTo>
                  <a:pt x="5959896" y="4590734"/>
                  <a:pt x="5957728" y="4588359"/>
                  <a:pt x="5956798" y="4584848"/>
                </a:cubicBezTo>
                <a:cubicBezTo>
                  <a:pt x="5958967" y="4579582"/>
                  <a:pt x="5970120" y="4574419"/>
                  <a:pt x="5975696" y="4577517"/>
                </a:cubicBezTo>
                <a:close/>
                <a:moveTo>
                  <a:pt x="1601280" y="4577293"/>
                </a:moveTo>
                <a:cubicBezTo>
                  <a:pt x="1602363" y="4578532"/>
                  <a:pt x="1602673" y="4580390"/>
                  <a:pt x="1601744" y="4583488"/>
                </a:cubicBezTo>
                <a:cubicBezTo>
                  <a:pt x="1600659" y="4583901"/>
                  <a:pt x="1599730" y="4584107"/>
                  <a:pt x="1599111" y="4584107"/>
                </a:cubicBezTo>
                <a:cubicBezTo>
                  <a:pt x="1596942" y="4584004"/>
                  <a:pt x="1596323" y="4582042"/>
                  <a:pt x="1595548" y="4580183"/>
                </a:cubicBezTo>
                <a:cubicBezTo>
                  <a:pt x="1598646" y="4579668"/>
                  <a:pt x="1597871" y="4575847"/>
                  <a:pt x="1601280" y="4577293"/>
                </a:cubicBezTo>
                <a:close/>
                <a:moveTo>
                  <a:pt x="753841" y="4576983"/>
                </a:moveTo>
                <a:cubicBezTo>
                  <a:pt x="754925" y="4576673"/>
                  <a:pt x="755390" y="4575950"/>
                  <a:pt x="755545" y="4577086"/>
                </a:cubicBezTo>
                <a:cubicBezTo>
                  <a:pt x="755855" y="4578222"/>
                  <a:pt x="755855" y="4578222"/>
                  <a:pt x="754306" y="4580390"/>
                </a:cubicBezTo>
                <a:cubicBezTo>
                  <a:pt x="754151" y="4579254"/>
                  <a:pt x="754151" y="4579254"/>
                  <a:pt x="753067" y="4579564"/>
                </a:cubicBezTo>
                <a:cubicBezTo>
                  <a:pt x="753067" y="4579564"/>
                  <a:pt x="753067" y="4579564"/>
                  <a:pt x="752602" y="4580390"/>
                </a:cubicBezTo>
                <a:cubicBezTo>
                  <a:pt x="751982" y="4579977"/>
                  <a:pt x="752447" y="4579151"/>
                  <a:pt x="751828" y="4578738"/>
                </a:cubicBezTo>
                <a:cubicBezTo>
                  <a:pt x="751828" y="4578738"/>
                  <a:pt x="752293" y="4578015"/>
                  <a:pt x="752293" y="4578015"/>
                </a:cubicBezTo>
                <a:cubicBezTo>
                  <a:pt x="751982" y="4577809"/>
                  <a:pt x="751982" y="4577809"/>
                  <a:pt x="752138" y="4577809"/>
                </a:cubicBezTo>
                <a:cubicBezTo>
                  <a:pt x="752447" y="4577706"/>
                  <a:pt x="753067" y="4577499"/>
                  <a:pt x="753841" y="4576983"/>
                </a:cubicBezTo>
                <a:close/>
                <a:moveTo>
                  <a:pt x="1552487" y="4576776"/>
                </a:moveTo>
                <a:cubicBezTo>
                  <a:pt x="1552022" y="4578738"/>
                  <a:pt x="1551248" y="4579771"/>
                  <a:pt x="1550163" y="4580183"/>
                </a:cubicBezTo>
                <a:cubicBezTo>
                  <a:pt x="1549234" y="4580597"/>
                  <a:pt x="1547995" y="4580390"/>
                  <a:pt x="1546291" y="4579977"/>
                </a:cubicBezTo>
                <a:cubicBezTo>
                  <a:pt x="1547220" y="4577189"/>
                  <a:pt x="1548924" y="4577086"/>
                  <a:pt x="1552487" y="4576776"/>
                </a:cubicBezTo>
                <a:close/>
                <a:moveTo>
                  <a:pt x="1175624" y="4576260"/>
                </a:moveTo>
                <a:cubicBezTo>
                  <a:pt x="1177173" y="4577396"/>
                  <a:pt x="1177948" y="4578428"/>
                  <a:pt x="1178722" y="4579358"/>
                </a:cubicBezTo>
                <a:cubicBezTo>
                  <a:pt x="1180426" y="4580493"/>
                  <a:pt x="1180426" y="4581423"/>
                  <a:pt x="1178722" y="4582972"/>
                </a:cubicBezTo>
                <a:cubicBezTo>
                  <a:pt x="1177018" y="4581939"/>
                  <a:pt x="1174695" y="4578015"/>
                  <a:pt x="1175624" y="4576260"/>
                </a:cubicBezTo>
                <a:close/>
                <a:moveTo>
                  <a:pt x="1469462" y="4575640"/>
                </a:moveTo>
                <a:cubicBezTo>
                  <a:pt x="1470082" y="4576673"/>
                  <a:pt x="1470856" y="4577706"/>
                  <a:pt x="1471786" y="4577086"/>
                </a:cubicBezTo>
                <a:lnTo>
                  <a:pt x="1475038" y="4585140"/>
                </a:lnTo>
                <a:lnTo>
                  <a:pt x="1475504" y="4584314"/>
                </a:lnTo>
                <a:cubicBezTo>
                  <a:pt x="1475968" y="4583591"/>
                  <a:pt x="1476587" y="4583178"/>
                  <a:pt x="1476742" y="4583591"/>
                </a:cubicBezTo>
                <a:cubicBezTo>
                  <a:pt x="1477827" y="4584004"/>
                  <a:pt x="1477517" y="4583178"/>
                  <a:pt x="1478292" y="4582765"/>
                </a:cubicBezTo>
                <a:lnTo>
                  <a:pt x="1479375" y="4583488"/>
                </a:lnTo>
                <a:lnTo>
                  <a:pt x="1479840" y="4582868"/>
                </a:lnTo>
                <a:cubicBezTo>
                  <a:pt x="1480925" y="4581113"/>
                  <a:pt x="1480925" y="4581113"/>
                  <a:pt x="1482009" y="4581423"/>
                </a:cubicBezTo>
                <a:cubicBezTo>
                  <a:pt x="1482628" y="4581629"/>
                  <a:pt x="1482938" y="4582352"/>
                  <a:pt x="1483403" y="4583075"/>
                </a:cubicBezTo>
                <a:lnTo>
                  <a:pt x="1484177" y="4584004"/>
                </a:lnTo>
                <a:lnTo>
                  <a:pt x="1485727" y="4582662"/>
                </a:lnTo>
                <a:cubicBezTo>
                  <a:pt x="1486346" y="4581939"/>
                  <a:pt x="1486966" y="4581216"/>
                  <a:pt x="1487895" y="4580390"/>
                </a:cubicBezTo>
                <a:cubicBezTo>
                  <a:pt x="1490218" y="4581836"/>
                  <a:pt x="1493316" y="4586895"/>
                  <a:pt x="1492077" y="4591026"/>
                </a:cubicBezTo>
                <a:cubicBezTo>
                  <a:pt x="1490838" y="4591439"/>
                  <a:pt x="1489754" y="4591542"/>
                  <a:pt x="1488824" y="4591439"/>
                </a:cubicBezTo>
                <a:cubicBezTo>
                  <a:pt x="1487431" y="4591335"/>
                  <a:pt x="1486346" y="4590612"/>
                  <a:pt x="1485417" y="4589373"/>
                </a:cubicBezTo>
                <a:lnTo>
                  <a:pt x="1484177" y="4585760"/>
                </a:lnTo>
                <a:lnTo>
                  <a:pt x="1483713" y="4586585"/>
                </a:lnTo>
                <a:lnTo>
                  <a:pt x="1482164" y="4586895"/>
                </a:lnTo>
                <a:lnTo>
                  <a:pt x="1482474" y="4588960"/>
                </a:lnTo>
                <a:cubicBezTo>
                  <a:pt x="1482009" y="4590200"/>
                  <a:pt x="1481389" y="4591542"/>
                  <a:pt x="1480615" y="4592678"/>
                </a:cubicBezTo>
                <a:lnTo>
                  <a:pt x="1477827" y="4594020"/>
                </a:lnTo>
                <a:lnTo>
                  <a:pt x="1479840" y="4593917"/>
                </a:lnTo>
                <a:cubicBezTo>
                  <a:pt x="1480460" y="4596292"/>
                  <a:pt x="1479221" y="4597634"/>
                  <a:pt x="1477672" y="4598047"/>
                </a:cubicBezTo>
                <a:lnTo>
                  <a:pt x="1475038" y="4597531"/>
                </a:lnTo>
                <a:lnTo>
                  <a:pt x="1474729" y="4599802"/>
                </a:lnTo>
                <a:cubicBezTo>
                  <a:pt x="1472095" y="4607134"/>
                  <a:pt x="1466210" y="4612813"/>
                  <a:pt x="1458620" y="4612813"/>
                </a:cubicBezTo>
                <a:cubicBezTo>
                  <a:pt x="1453972" y="4607443"/>
                  <a:pt x="1451959" y="4601351"/>
                  <a:pt x="1452424" y="4595672"/>
                </a:cubicBezTo>
                <a:cubicBezTo>
                  <a:pt x="1452424" y="4594949"/>
                  <a:pt x="1452734" y="4594330"/>
                  <a:pt x="1452734" y="4593607"/>
                </a:cubicBezTo>
                <a:cubicBezTo>
                  <a:pt x="1451649" y="4593401"/>
                  <a:pt x="1450565" y="4593091"/>
                  <a:pt x="1451030" y="4593813"/>
                </a:cubicBezTo>
                <a:cubicBezTo>
                  <a:pt x="1449946" y="4593504"/>
                  <a:pt x="1449171" y="4592987"/>
                  <a:pt x="1448706" y="4592368"/>
                </a:cubicBezTo>
                <a:cubicBezTo>
                  <a:pt x="1448241" y="4591645"/>
                  <a:pt x="1447932" y="4590819"/>
                  <a:pt x="1447932" y="4589786"/>
                </a:cubicBezTo>
                <a:cubicBezTo>
                  <a:pt x="1448396" y="4588650"/>
                  <a:pt x="1449946" y="4587721"/>
                  <a:pt x="1452424" y="4587102"/>
                </a:cubicBezTo>
                <a:cubicBezTo>
                  <a:pt x="1453818" y="4587928"/>
                  <a:pt x="1453043" y="4590819"/>
                  <a:pt x="1452889" y="4592884"/>
                </a:cubicBezTo>
                <a:cubicBezTo>
                  <a:pt x="1454592" y="4584624"/>
                  <a:pt x="1460633" y="4577499"/>
                  <a:pt x="1469462" y="4575640"/>
                </a:cubicBezTo>
                <a:close/>
                <a:moveTo>
                  <a:pt x="889685" y="4575434"/>
                </a:moveTo>
                <a:cubicBezTo>
                  <a:pt x="891854" y="4575950"/>
                  <a:pt x="891544" y="4579254"/>
                  <a:pt x="890770" y="4579668"/>
                </a:cubicBezTo>
                <a:cubicBezTo>
                  <a:pt x="889685" y="4579461"/>
                  <a:pt x="888911" y="4577912"/>
                  <a:pt x="887672" y="4577602"/>
                </a:cubicBezTo>
                <a:cubicBezTo>
                  <a:pt x="888447" y="4577189"/>
                  <a:pt x="888911" y="4575950"/>
                  <a:pt x="889685" y="4575434"/>
                </a:cubicBezTo>
                <a:close/>
                <a:moveTo>
                  <a:pt x="6092178" y="4575142"/>
                </a:moveTo>
                <a:cubicBezTo>
                  <a:pt x="6092488" y="4576484"/>
                  <a:pt x="6089235" y="4581028"/>
                  <a:pt x="6086602" y="4581647"/>
                </a:cubicBezTo>
                <a:cubicBezTo>
                  <a:pt x="6085827" y="4581854"/>
                  <a:pt x="6085053" y="4581544"/>
                  <a:pt x="6084588" y="4580614"/>
                </a:cubicBezTo>
                <a:cubicBezTo>
                  <a:pt x="6083503" y="4577104"/>
                  <a:pt x="6090629" y="4574212"/>
                  <a:pt x="6092178" y="4575142"/>
                </a:cubicBezTo>
                <a:close/>
                <a:moveTo>
                  <a:pt x="1189565" y="4574195"/>
                </a:moveTo>
                <a:cubicBezTo>
                  <a:pt x="1191423" y="4576053"/>
                  <a:pt x="1194676" y="4573472"/>
                  <a:pt x="1197310" y="4576260"/>
                </a:cubicBezTo>
                <a:cubicBezTo>
                  <a:pt x="1197310" y="4578015"/>
                  <a:pt x="1197310" y="4578945"/>
                  <a:pt x="1196535" y="4580700"/>
                </a:cubicBezTo>
                <a:cubicBezTo>
                  <a:pt x="1194986" y="4582145"/>
                  <a:pt x="1193592" y="4583075"/>
                  <a:pt x="1192198" y="4583591"/>
                </a:cubicBezTo>
                <a:lnTo>
                  <a:pt x="1188945" y="4584520"/>
                </a:lnTo>
                <a:lnTo>
                  <a:pt x="1188945" y="4586173"/>
                </a:lnTo>
                <a:cubicBezTo>
                  <a:pt x="1188635" y="4587308"/>
                  <a:pt x="1187552" y="4588238"/>
                  <a:pt x="1186466" y="4588135"/>
                </a:cubicBezTo>
                <a:cubicBezTo>
                  <a:pt x="1185692" y="4588135"/>
                  <a:pt x="1184918" y="4587618"/>
                  <a:pt x="1184143" y="4586585"/>
                </a:cubicBezTo>
                <a:lnTo>
                  <a:pt x="1185692" y="4584520"/>
                </a:lnTo>
                <a:lnTo>
                  <a:pt x="1184918" y="4584520"/>
                </a:lnTo>
                <a:cubicBezTo>
                  <a:pt x="1182285" y="4581733"/>
                  <a:pt x="1183988" y="4580080"/>
                  <a:pt x="1185538" y="4576673"/>
                </a:cubicBezTo>
                <a:cubicBezTo>
                  <a:pt x="1186312" y="4577602"/>
                  <a:pt x="1188790" y="4575021"/>
                  <a:pt x="1189565" y="4574195"/>
                </a:cubicBezTo>
                <a:close/>
                <a:moveTo>
                  <a:pt x="5753110" y="4573800"/>
                </a:moveTo>
                <a:cubicBezTo>
                  <a:pt x="5756672" y="4573077"/>
                  <a:pt x="5757912" y="4573283"/>
                  <a:pt x="5761319" y="4575039"/>
                </a:cubicBezTo>
                <a:cubicBezTo>
                  <a:pt x="5762713" y="4580718"/>
                  <a:pt x="5760545" y="4584745"/>
                  <a:pt x="5758376" y="4588772"/>
                </a:cubicBezTo>
                <a:cubicBezTo>
                  <a:pt x="5757137" y="4588978"/>
                  <a:pt x="5755898" y="4588978"/>
                  <a:pt x="5754969" y="4588875"/>
                </a:cubicBezTo>
                <a:cubicBezTo>
                  <a:pt x="5748618" y="4588152"/>
                  <a:pt x="5752645" y="4579169"/>
                  <a:pt x="5753110" y="4573800"/>
                </a:cubicBezTo>
                <a:close/>
                <a:moveTo>
                  <a:pt x="6645777" y="4573490"/>
                </a:moveTo>
                <a:cubicBezTo>
                  <a:pt x="6647481" y="4575245"/>
                  <a:pt x="6649185" y="4577001"/>
                  <a:pt x="6647636" y="4578549"/>
                </a:cubicBezTo>
                <a:cubicBezTo>
                  <a:pt x="6645932" y="4577723"/>
                  <a:pt x="6645158" y="4578446"/>
                  <a:pt x="6643454" y="4575865"/>
                </a:cubicBezTo>
                <a:cubicBezTo>
                  <a:pt x="6644228" y="4575039"/>
                  <a:pt x="6645003" y="4574316"/>
                  <a:pt x="6645777" y="4573490"/>
                </a:cubicBezTo>
                <a:close/>
                <a:moveTo>
                  <a:pt x="1174076" y="4573162"/>
                </a:moveTo>
                <a:cubicBezTo>
                  <a:pt x="1174385" y="4573369"/>
                  <a:pt x="1174695" y="4573575"/>
                  <a:pt x="1174695" y="4573575"/>
                </a:cubicBezTo>
                <a:cubicBezTo>
                  <a:pt x="1175469" y="4574505"/>
                  <a:pt x="1176243" y="4575537"/>
                  <a:pt x="1175469" y="4576260"/>
                </a:cubicBezTo>
                <a:cubicBezTo>
                  <a:pt x="1175469" y="4576260"/>
                  <a:pt x="1174540" y="4576157"/>
                  <a:pt x="1172991" y="4574195"/>
                </a:cubicBezTo>
                <a:cubicBezTo>
                  <a:pt x="1173765" y="4574298"/>
                  <a:pt x="1173765" y="4573472"/>
                  <a:pt x="1173765" y="4573472"/>
                </a:cubicBezTo>
                <a:cubicBezTo>
                  <a:pt x="1173765" y="4573472"/>
                  <a:pt x="1173765" y="4573472"/>
                  <a:pt x="1172991" y="4573369"/>
                </a:cubicBezTo>
                <a:cubicBezTo>
                  <a:pt x="1173455" y="4572956"/>
                  <a:pt x="1173765" y="4573059"/>
                  <a:pt x="1174076" y="4573162"/>
                </a:cubicBezTo>
                <a:close/>
                <a:moveTo>
                  <a:pt x="6842805" y="4572457"/>
                </a:moveTo>
                <a:cubicBezTo>
                  <a:pt x="6843270" y="4573593"/>
                  <a:pt x="6843270" y="4573593"/>
                  <a:pt x="6844199" y="4573283"/>
                </a:cubicBezTo>
                <a:cubicBezTo>
                  <a:pt x="6844199" y="4573283"/>
                  <a:pt x="6844199" y="4573283"/>
                  <a:pt x="6844509" y="4572561"/>
                </a:cubicBezTo>
                <a:cubicBezTo>
                  <a:pt x="6845284" y="4572974"/>
                  <a:pt x="6844974" y="4573697"/>
                  <a:pt x="6845748" y="4574109"/>
                </a:cubicBezTo>
                <a:cubicBezTo>
                  <a:pt x="6845748" y="4574109"/>
                  <a:pt x="6845284" y="4574832"/>
                  <a:pt x="6845284" y="4574832"/>
                </a:cubicBezTo>
                <a:cubicBezTo>
                  <a:pt x="6845748" y="4575039"/>
                  <a:pt x="6845748" y="4575039"/>
                  <a:pt x="6845438" y="4575142"/>
                </a:cubicBezTo>
                <a:cubicBezTo>
                  <a:pt x="6845284" y="4575245"/>
                  <a:pt x="6844664" y="4575348"/>
                  <a:pt x="6843889" y="4575865"/>
                </a:cubicBezTo>
                <a:cubicBezTo>
                  <a:pt x="6843425" y="4576071"/>
                  <a:pt x="6843115" y="4576278"/>
                  <a:pt x="6842805" y="4576381"/>
                </a:cubicBezTo>
                <a:cubicBezTo>
                  <a:pt x="6842650" y="4576484"/>
                  <a:pt x="6842341" y="4576381"/>
                  <a:pt x="6842185" y="4575865"/>
                </a:cubicBezTo>
                <a:cubicBezTo>
                  <a:pt x="6841876" y="4574729"/>
                  <a:pt x="6841876" y="4574626"/>
                  <a:pt x="6842805" y="4572457"/>
                </a:cubicBezTo>
                <a:close/>
                <a:moveTo>
                  <a:pt x="647892" y="4572130"/>
                </a:moveTo>
                <a:cubicBezTo>
                  <a:pt x="648976" y="4572336"/>
                  <a:pt x="648976" y="4572439"/>
                  <a:pt x="650061" y="4574505"/>
                </a:cubicBezTo>
                <a:cubicBezTo>
                  <a:pt x="648976" y="4574298"/>
                  <a:pt x="648976" y="4574298"/>
                  <a:pt x="648667" y="4575434"/>
                </a:cubicBezTo>
                <a:cubicBezTo>
                  <a:pt x="648667" y="4575434"/>
                  <a:pt x="648512" y="4575434"/>
                  <a:pt x="648976" y="4576157"/>
                </a:cubicBezTo>
                <a:cubicBezTo>
                  <a:pt x="648202" y="4576570"/>
                  <a:pt x="647892" y="4575847"/>
                  <a:pt x="647273" y="4576260"/>
                </a:cubicBezTo>
                <a:cubicBezTo>
                  <a:pt x="647273" y="4576260"/>
                  <a:pt x="646809" y="4575537"/>
                  <a:pt x="646809" y="4575537"/>
                </a:cubicBezTo>
                <a:cubicBezTo>
                  <a:pt x="646498" y="4575744"/>
                  <a:pt x="646498" y="4575744"/>
                  <a:pt x="646498" y="4575537"/>
                </a:cubicBezTo>
                <a:cubicBezTo>
                  <a:pt x="646654" y="4575227"/>
                  <a:pt x="646809" y="4574608"/>
                  <a:pt x="646809" y="4573678"/>
                </a:cubicBezTo>
                <a:cubicBezTo>
                  <a:pt x="647118" y="4572543"/>
                  <a:pt x="646809" y="4571820"/>
                  <a:pt x="647892" y="4572130"/>
                </a:cubicBezTo>
                <a:close/>
                <a:moveTo>
                  <a:pt x="1021599" y="4572091"/>
                </a:moveTo>
                <a:cubicBezTo>
                  <a:pt x="1029828" y="4571484"/>
                  <a:pt x="1037921" y="4573059"/>
                  <a:pt x="1044117" y="4578428"/>
                </a:cubicBezTo>
                <a:cubicBezTo>
                  <a:pt x="1054340" y="4587308"/>
                  <a:pt x="1050777" y="4598563"/>
                  <a:pt x="1054495" y="4611264"/>
                </a:cubicBezTo>
                <a:cubicBezTo>
                  <a:pt x="1045202" y="4617459"/>
                  <a:pt x="1046595" y="4623758"/>
                  <a:pt x="1044737" y="4629850"/>
                </a:cubicBezTo>
                <a:cubicBezTo>
                  <a:pt x="1037147" y="4630882"/>
                  <a:pt x="1029247" y="4638214"/>
                  <a:pt x="1021038" y="4641931"/>
                </a:cubicBezTo>
                <a:cubicBezTo>
                  <a:pt x="1016391" y="4639763"/>
                  <a:pt x="1011898" y="4638420"/>
                  <a:pt x="1007407" y="4637078"/>
                </a:cubicBezTo>
                <a:lnTo>
                  <a:pt x="999817" y="4634497"/>
                </a:lnTo>
                <a:lnTo>
                  <a:pt x="998113" y="4637801"/>
                </a:lnTo>
                <a:lnTo>
                  <a:pt x="996255" y="4633361"/>
                </a:lnTo>
                <a:lnTo>
                  <a:pt x="993621" y="4632328"/>
                </a:lnTo>
                <a:cubicBezTo>
                  <a:pt x="993001" y="4620763"/>
                  <a:pt x="979680" y="4609921"/>
                  <a:pt x="985102" y="4597117"/>
                </a:cubicBezTo>
                <a:cubicBezTo>
                  <a:pt x="994550" y="4590819"/>
                  <a:pt x="993931" y="4584624"/>
                  <a:pt x="998268" y="4578841"/>
                </a:cubicBezTo>
                <a:cubicBezTo>
                  <a:pt x="1005006" y="4575486"/>
                  <a:pt x="1013370" y="4572698"/>
                  <a:pt x="1021599" y="4572091"/>
                </a:cubicBezTo>
                <a:close/>
                <a:moveTo>
                  <a:pt x="5829474" y="4571425"/>
                </a:moveTo>
                <a:cubicBezTo>
                  <a:pt x="5833036" y="4572147"/>
                  <a:pt x="5834120" y="4572664"/>
                  <a:pt x="5836444" y="4575555"/>
                </a:cubicBezTo>
                <a:cubicBezTo>
                  <a:pt x="5834895" y="4581131"/>
                  <a:pt x="5831023" y="4584022"/>
                  <a:pt x="5827150" y="4586913"/>
                </a:cubicBezTo>
                <a:cubicBezTo>
                  <a:pt x="5824362" y="4586397"/>
                  <a:pt x="5822968" y="4585571"/>
                  <a:pt x="5822348" y="4584435"/>
                </a:cubicBezTo>
                <a:cubicBezTo>
                  <a:pt x="5820644" y="4581028"/>
                  <a:pt x="5826840" y="4575452"/>
                  <a:pt x="5829474" y="4571425"/>
                </a:cubicBezTo>
                <a:close/>
                <a:moveTo>
                  <a:pt x="5865565" y="4570289"/>
                </a:moveTo>
                <a:cubicBezTo>
                  <a:pt x="5868043" y="4568430"/>
                  <a:pt x="5872225" y="4568534"/>
                  <a:pt x="5875323" y="4572457"/>
                </a:cubicBezTo>
                <a:cubicBezTo>
                  <a:pt x="5875013" y="4576071"/>
                  <a:pt x="5873774" y="4578240"/>
                  <a:pt x="5872999" y="4579995"/>
                </a:cubicBezTo>
                <a:cubicBezTo>
                  <a:pt x="5870676" y="4579685"/>
                  <a:pt x="5868817" y="4579995"/>
                  <a:pt x="5866494" y="4579582"/>
                </a:cubicBezTo>
                <a:cubicBezTo>
                  <a:pt x="5862466" y="4575865"/>
                  <a:pt x="5863241" y="4572147"/>
                  <a:pt x="5865565" y="4570289"/>
                </a:cubicBezTo>
                <a:close/>
                <a:moveTo>
                  <a:pt x="1210785" y="4569651"/>
                </a:moveTo>
                <a:cubicBezTo>
                  <a:pt x="1217291" y="4576467"/>
                  <a:pt x="1229838" y="4574505"/>
                  <a:pt x="1232316" y="4582559"/>
                </a:cubicBezTo>
                <a:cubicBezTo>
                  <a:pt x="1228599" y="4581939"/>
                  <a:pt x="1223487" y="4582559"/>
                  <a:pt x="1219150" y="4582559"/>
                </a:cubicBezTo>
                <a:cubicBezTo>
                  <a:pt x="1214658" y="4582559"/>
                  <a:pt x="1210785" y="4581939"/>
                  <a:pt x="1209546" y="4579048"/>
                </a:cubicBezTo>
                <a:cubicBezTo>
                  <a:pt x="1208617" y="4577086"/>
                  <a:pt x="1208927" y="4574195"/>
                  <a:pt x="1210785" y="4569651"/>
                </a:cubicBezTo>
                <a:close/>
                <a:moveTo>
                  <a:pt x="1810854" y="4568103"/>
                </a:moveTo>
                <a:cubicBezTo>
                  <a:pt x="1810079" y="4570065"/>
                  <a:pt x="1809150" y="4571097"/>
                  <a:pt x="1808066" y="4571510"/>
                </a:cubicBezTo>
                <a:cubicBezTo>
                  <a:pt x="1806982" y="4571923"/>
                  <a:pt x="1805742" y="4571820"/>
                  <a:pt x="1804038" y="4571407"/>
                </a:cubicBezTo>
                <a:cubicBezTo>
                  <a:pt x="1805433" y="4568619"/>
                  <a:pt x="1807291" y="4568412"/>
                  <a:pt x="1810854" y="4568103"/>
                </a:cubicBezTo>
                <a:close/>
                <a:moveTo>
                  <a:pt x="1682444" y="4568103"/>
                </a:moveTo>
                <a:cubicBezTo>
                  <a:pt x="1681825" y="4569032"/>
                  <a:pt x="1681825" y="4569032"/>
                  <a:pt x="1681980" y="4570065"/>
                </a:cubicBezTo>
                <a:cubicBezTo>
                  <a:pt x="1681980" y="4570065"/>
                  <a:pt x="1681051" y="4569135"/>
                  <a:pt x="1681051" y="4569135"/>
                </a:cubicBezTo>
                <a:cubicBezTo>
                  <a:pt x="1681670" y="4568103"/>
                  <a:pt x="1680896" y="4568206"/>
                  <a:pt x="1682444" y="4568103"/>
                </a:cubicBezTo>
                <a:close/>
                <a:moveTo>
                  <a:pt x="1653014" y="4567793"/>
                </a:moveTo>
                <a:cubicBezTo>
                  <a:pt x="1653014" y="4567793"/>
                  <a:pt x="1652550" y="4568929"/>
                  <a:pt x="1652705" y="4569755"/>
                </a:cubicBezTo>
                <a:cubicBezTo>
                  <a:pt x="1652705" y="4569755"/>
                  <a:pt x="1652085" y="4570891"/>
                  <a:pt x="1651466" y="4571923"/>
                </a:cubicBezTo>
                <a:cubicBezTo>
                  <a:pt x="1651466" y="4571923"/>
                  <a:pt x="1651775" y="4572749"/>
                  <a:pt x="1651931" y="4573575"/>
                </a:cubicBezTo>
                <a:cubicBezTo>
                  <a:pt x="1651001" y="4576570"/>
                  <a:pt x="1650691" y="4578532"/>
                  <a:pt x="1647283" y="4578841"/>
                </a:cubicBezTo>
                <a:cubicBezTo>
                  <a:pt x="1647128" y="4578015"/>
                  <a:pt x="1648212" y="4575847"/>
                  <a:pt x="1648833" y="4574711"/>
                </a:cubicBezTo>
                <a:cubicBezTo>
                  <a:pt x="1648677" y="4573885"/>
                  <a:pt x="1649142" y="4572852"/>
                  <a:pt x="1649916" y="4572543"/>
                </a:cubicBezTo>
                <a:cubicBezTo>
                  <a:pt x="1649916" y="4572543"/>
                  <a:pt x="1650536" y="4571407"/>
                  <a:pt x="1650381" y="4570581"/>
                </a:cubicBezTo>
                <a:cubicBezTo>
                  <a:pt x="1651466" y="4568412"/>
                  <a:pt x="1652240" y="4568103"/>
                  <a:pt x="1653014" y="4567793"/>
                </a:cubicBezTo>
                <a:close/>
                <a:moveTo>
                  <a:pt x="5922837" y="4567501"/>
                </a:moveTo>
                <a:cubicBezTo>
                  <a:pt x="5926826" y="4566959"/>
                  <a:pt x="5930621" y="4568172"/>
                  <a:pt x="5930776" y="4571425"/>
                </a:cubicBezTo>
                <a:cubicBezTo>
                  <a:pt x="5930931" y="4572354"/>
                  <a:pt x="5930621" y="4573490"/>
                  <a:pt x="5930001" y="4574729"/>
                </a:cubicBezTo>
                <a:cubicBezTo>
                  <a:pt x="5928607" y="4575968"/>
                  <a:pt x="5927213" y="4577001"/>
                  <a:pt x="5925819" y="4577723"/>
                </a:cubicBezTo>
                <a:lnTo>
                  <a:pt x="5921792" y="4579375"/>
                </a:lnTo>
                <a:lnTo>
                  <a:pt x="5922102" y="4585674"/>
                </a:lnTo>
                <a:cubicBezTo>
                  <a:pt x="5922256" y="4587842"/>
                  <a:pt x="5921637" y="4589495"/>
                  <a:pt x="5918849" y="4590631"/>
                </a:cubicBezTo>
                <a:cubicBezTo>
                  <a:pt x="5917455" y="4589495"/>
                  <a:pt x="5916835" y="4587430"/>
                  <a:pt x="5916525" y="4584951"/>
                </a:cubicBezTo>
                <a:lnTo>
                  <a:pt x="5916370" y="4578343"/>
                </a:lnTo>
                <a:lnTo>
                  <a:pt x="5914047" y="4576897"/>
                </a:lnTo>
                <a:cubicBezTo>
                  <a:pt x="5914976" y="4576071"/>
                  <a:pt x="5914357" y="4575142"/>
                  <a:pt x="5913737" y="4574109"/>
                </a:cubicBezTo>
                <a:cubicBezTo>
                  <a:pt x="5914667" y="4570340"/>
                  <a:pt x="5918849" y="4568043"/>
                  <a:pt x="5922837" y="4567501"/>
                </a:cubicBezTo>
                <a:close/>
                <a:moveTo>
                  <a:pt x="6116342" y="4567088"/>
                </a:moveTo>
                <a:cubicBezTo>
                  <a:pt x="6119904" y="4569773"/>
                  <a:pt x="6121453" y="4567295"/>
                  <a:pt x="6126720" y="4571838"/>
                </a:cubicBezTo>
                <a:cubicBezTo>
                  <a:pt x="6133690" y="4577310"/>
                  <a:pt x="6132296" y="4583299"/>
                  <a:pt x="6129972" y="4586707"/>
                </a:cubicBezTo>
                <a:cubicBezTo>
                  <a:pt x="6129198" y="4585984"/>
                  <a:pt x="6125945" y="4590527"/>
                  <a:pt x="6120989" y="4590114"/>
                </a:cubicBezTo>
                <a:cubicBezTo>
                  <a:pt x="6119439" y="4590011"/>
                  <a:pt x="6117581" y="4589391"/>
                  <a:pt x="6115567" y="4587739"/>
                </a:cubicBezTo>
                <a:cubicBezTo>
                  <a:pt x="6111230" y="4584125"/>
                  <a:pt x="6107668" y="4578756"/>
                  <a:pt x="6113244" y="4572044"/>
                </a:cubicBezTo>
                <a:cubicBezTo>
                  <a:pt x="6114018" y="4570392"/>
                  <a:pt x="6114018" y="4571322"/>
                  <a:pt x="6114792" y="4570496"/>
                </a:cubicBezTo>
                <a:cubicBezTo>
                  <a:pt x="6115722" y="4569669"/>
                  <a:pt x="6116496" y="4567914"/>
                  <a:pt x="6116342" y="4567088"/>
                </a:cubicBezTo>
                <a:close/>
                <a:moveTo>
                  <a:pt x="1046595" y="4566554"/>
                </a:moveTo>
                <a:cubicBezTo>
                  <a:pt x="1054030" y="4571716"/>
                  <a:pt x="1051707" y="4576983"/>
                  <a:pt x="1047680" y="4578118"/>
                </a:cubicBezTo>
                <a:cubicBezTo>
                  <a:pt x="1046441" y="4578532"/>
                  <a:pt x="1044891" y="4578428"/>
                  <a:pt x="1043497" y="4577809"/>
                </a:cubicBezTo>
                <a:cubicBezTo>
                  <a:pt x="1041639" y="4576879"/>
                  <a:pt x="1040090" y="4574814"/>
                  <a:pt x="1039160" y="4571407"/>
                </a:cubicBezTo>
                <a:cubicBezTo>
                  <a:pt x="1041639" y="4568000"/>
                  <a:pt x="1044117" y="4568103"/>
                  <a:pt x="1046595" y="4566554"/>
                </a:cubicBezTo>
                <a:close/>
                <a:moveTo>
                  <a:pt x="6067704" y="4566055"/>
                </a:moveTo>
                <a:cubicBezTo>
                  <a:pt x="6070028" y="4565436"/>
                  <a:pt x="6072041" y="4565539"/>
                  <a:pt x="6073590" y="4567707"/>
                </a:cubicBezTo>
                <a:cubicBezTo>
                  <a:pt x="6072041" y="4567811"/>
                  <a:pt x="6070957" y="4567914"/>
                  <a:pt x="6070028" y="4567707"/>
                </a:cubicBezTo>
                <a:cubicBezTo>
                  <a:pt x="6069253" y="4567501"/>
                  <a:pt x="6068479" y="4567088"/>
                  <a:pt x="6067704" y="4566055"/>
                </a:cubicBezTo>
                <a:close/>
                <a:moveTo>
                  <a:pt x="989962" y="4565044"/>
                </a:moveTo>
                <a:cubicBezTo>
                  <a:pt x="992227" y="4564850"/>
                  <a:pt x="994550" y="4565831"/>
                  <a:pt x="997183" y="4568516"/>
                </a:cubicBezTo>
                <a:cubicBezTo>
                  <a:pt x="997028" y="4571923"/>
                  <a:pt x="994086" y="4573266"/>
                  <a:pt x="990987" y="4573162"/>
                </a:cubicBezTo>
                <a:cubicBezTo>
                  <a:pt x="987890" y="4572956"/>
                  <a:pt x="984482" y="4571304"/>
                  <a:pt x="983088" y="4568619"/>
                </a:cubicBezTo>
                <a:cubicBezTo>
                  <a:pt x="985489" y="4566605"/>
                  <a:pt x="987696" y="4565237"/>
                  <a:pt x="989962" y="4565044"/>
                </a:cubicBezTo>
                <a:close/>
                <a:moveTo>
                  <a:pt x="5699361" y="4563784"/>
                </a:moveTo>
                <a:cubicBezTo>
                  <a:pt x="5701219" y="4562235"/>
                  <a:pt x="5706641" y="4561306"/>
                  <a:pt x="5710048" y="4564300"/>
                </a:cubicBezTo>
                <a:cubicBezTo>
                  <a:pt x="5710204" y="4568430"/>
                  <a:pt x="5708500" y="4570289"/>
                  <a:pt x="5705402" y="4570289"/>
                </a:cubicBezTo>
                <a:cubicBezTo>
                  <a:pt x="5704317" y="4570289"/>
                  <a:pt x="5703233" y="4570082"/>
                  <a:pt x="5701994" y="4569669"/>
                </a:cubicBezTo>
                <a:cubicBezTo>
                  <a:pt x="5701374" y="4567811"/>
                  <a:pt x="5700290" y="4566365"/>
                  <a:pt x="5699361" y="4563784"/>
                </a:cubicBezTo>
                <a:close/>
                <a:moveTo>
                  <a:pt x="1681051" y="4563663"/>
                </a:moveTo>
                <a:cubicBezTo>
                  <a:pt x="1681051" y="4563663"/>
                  <a:pt x="1681825" y="4563663"/>
                  <a:pt x="1681825" y="4563663"/>
                </a:cubicBezTo>
                <a:cubicBezTo>
                  <a:pt x="1681980" y="4564592"/>
                  <a:pt x="1682135" y="4565521"/>
                  <a:pt x="1681360" y="4565521"/>
                </a:cubicBezTo>
                <a:cubicBezTo>
                  <a:pt x="1680586" y="4565625"/>
                  <a:pt x="1680431" y="4564695"/>
                  <a:pt x="1681051" y="4563663"/>
                </a:cubicBezTo>
                <a:close/>
                <a:moveTo>
                  <a:pt x="900528" y="4563456"/>
                </a:moveTo>
                <a:cubicBezTo>
                  <a:pt x="900528" y="4563456"/>
                  <a:pt x="900528" y="4563456"/>
                  <a:pt x="901458" y="4565315"/>
                </a:cubicBezTo>
                <a:cubicBezTo>
                  <a:pt x="901458" y="4566244"/>
                  <a:pt x="901612" y="4567070"/>
                  <a:pt x="900683" y="4568000"/>
                </a:cubicBezTo>
                <a:cubicBezTo>
                  <a:pt x="899909" y="4568825"/>
                  <a:pt x="898204" y="4568722"/>
                  <a:pt x="897276" y="4568722"/>
                </a:cubicBezTo>
                <a:cubicBezTo>
                  <a:pt x="897276" y="4567793"/>
                  <a:pt x="896501" y="4567793"/>
                  <a:pt x="896347" y="4566864"/>
                </a:cubicBezTo>
                <a:cubicBezTo>
                  <a:pt x="895417" y="4565005"/>
                  <a:pt x="895417" y="4565108"/>
                  <a:pt x="896192" y="4564179"/>
                </a:cubicBezTo>
                <a:cubicBezTo>
                  <a:pt x="897120" y="4563353"/>
                  <a:pt x="899754" y="4564385"/>
                  <a:pt x="900528" y="4563456"/>
                </a:cubicBezTo>
                <a:close/>
                <a:moveTo>
                  <a:pt x="5628883" y="4563164"/>
                </a:moveTo>
                <a:cubicBezTo>
                  <a:pt x="5627954" y="4563887"/>
                  <a:pt x="5628108" y="4563990"/>
                  <a:pt x="5628728" y="4564816"/>
                </a:cubicBezTo>
                <a:cubicBezTo>
                  <a:pt x="5628728" y="4564816"/>
                  <a:pt x="5628728" y="4564816"/>
                  <a:pt x="5629503" y="4564816"/>
                </a:cubicBezTo>
                <a:cubicBezTo>
                  <a:pt x="5629503" y="4565642"/>
                  <a:pt x="5628728" y="4565539"/>
                  <a:pt x="5628573" y="4566365"/>
                </a:cubicBezTo>
                <a:cubicBezTo>
                  <a:pt x="5628573" y="4566365"/>
                  <a:pt x="5627799" y="4566365"/>
                  <a:pt x="5627799" y="4566365"/>
                </a:cubicBezTo>
                <a:cubicBezTo>
                  <a:pt x="5627799" y="4566778"/>
                  <a:pt x="5627799" y="4566778"/>
                  <a:pt x="5627489" y="4566572"/>
                </a:cubicBezTo>
                <a:cubicBezTo>
                  <a:pt x="5627334" y="4566365"/>
                  <a:pt x="5627024" y="4565952"/>
                  <a:pt x="5626250" y="4565539"/>
                </a:cubicBezTo>
                <a:cubicBezTo>
                  <a:pt x="5625940" y="4565126"/>
                  <a:pt x="5625475" y="4564919"/>
                  <a:pt x="5625320" y="4564713"/>
                </a:cubicBezTo>
                <a:cubicBezTo>
                  <a:pt x="5625165" y="4564507"/>
                  <a:pt x="5625165" y="4564300"/>
                  <a:pt x="5625630" y="4563887"/>
                </a:cubicBezTo>
                <a:cubicBezTo>
                  <a:pt x="5626560" y="4563061"/>
                  <a:pt x="5626404" y="4563061"/>
                  <a:pt x="5628883" y="4563164"/>
                </a:cubicBezTo>
                <a:close/>
                <a:moveTo>
                  <a:pt x="1784521" y="4562940"/>
                </a:moveTo>
                <a:cubicBezTo>
                  <a:pt x="1784676" y="4568000"/>
                  <a:pt x="1787310" y="4572233"/>
                  <a:pt x="1789323" y="4576260"/>
                </a:cubicBezTo>
                <a:lnTo>
                  <a:pt x="1790562" y="4579358"/>
                </a:lnTo>
                <a:lnTo>
                  <a:pt x="1791957" y="4576260"/>
                </a:lnTo>
                <a:cubicBezTo>
                  <a:pt x="1796138" y="4578841"/>
                  <a:pt x="1797223" y="4582249"/>
                  <a:pt x="1797223" y="4586895"/>
                </a:cubicBezTo>
                <a:cubicBezTo>
                  <a:pt x="1796448" y="4587102"/>
                  <a:pt x="1795209" y="4586689"/>
                  <a:pt x="1793970" y="4586069"/>
                </a:cubicBezTo>
                <a:lnTo>
                  <a:pt x="1791646" y="4584830"/>
                </a:lnTo>
                <a:lnTo>
                  <a:pt x="1791337" y="4588238"/>
                </a:lnTo>
                <a:cubicBezTo>
                  <a:pt x="1790562" y="4586999"/>
                  <a:pt x="1789323" y="4585760"/>
                  <a:pt x="1787929" y="4584520"/>
                </a:cubicBezTo>
                <a:lnTo>
                  <a:pt x="1787310" y="4583901"/>
                </a:lnTo>
                <a:lnTo>
                  <a:pt x="1785141" y="4584830"/>
                </a:lnTo>
                <a:lnTo>
                  <a:pt x="1781423" y="4584004"/>
                </a:lnTo>
                <a:lnTo>
                  <a:pt x="1783592" y="4590406"/>
                </a:lnTo>
                <a:cubicBezTo>
                  <a:pt x="1784211" y="4594640"/>
                  <a:pt x="1783902" y="4599389"/>
                  <a:pt x="1782353" y="4604759"/>
                </a:cubicBezTo>
                <a:cubicBezTo>
                  <a:pt x="1781114" y="4605481"/>
                  <a:pt x="1779875" y="4605895"/>
                  <a:pt x="1778790" y="4605998"/>
                </a:cubicBezTo>
                <a:cubicBezTo>
                  <a:pt x="1775692" y="4606204"/>
                  <a:pt x="1773369" y="4603726"/>
                  <a:pt x="1772130" y="4600318"/>
                </a:cubicBezTo>
                <a:cubicBezTo>
                  <a:pt x="1770116" y="4594433"/>
                  <a:pt x="1771045" y="4585656"/>
                  <a:pt x="1774918" y="4581526"/>
                </a:cubicBezTo>
                <a:lnTo>
                  <a:pt x="1775073" y="4581423"/>
                </a:lnTo>
                <a:lnTo>
                  <a:pt x="1770426" y="4577912"/>
                </a:lnTo>
                <a:cubicBezTo>
                  <a:pt x="1770271" y="4573678"/>
                  <a:pt x="1771510" y="4571097"/>
                  <a:pt x="1773369" y="4569858"/>
                </a:cubicBezTo>
                <a:lnTo>
                  <a:pt x="1778325" y="4568825"/>
                </a:lnTo>
                <a:lnTo>
                  <a:pt x="1778480" y="4568103"/>
                </a:lnTo>
                <a:cubicBezTo>
                  <a:pt x="1779410" y="4566450"/>
                  <a:pt x="1781423" y="4564695"/>
                  <a:pt x="1784521" y="4562940"/>
                </a:cubicBezTo>
                <a:close/>
                <a:moveTo>
                  <a:pt x="1539785" y="4562837"/>
                </a:moveTo>
                <a:cubicBezTo>
                  <a:pt x="1541954" y="4562217"/>
                  <a:pt x="1543813" y="4564282"/>
                  <a:pt x="1544742" y="4566554"/>
                </a:cubicBezTo>
                <a:cubicBezTo>
                  <a:pt x="1545207" y="4567380"/>
                  <a:pt x="1545361" y="4568309"/>
                  <a:pt x="1545052" y="4569239"/>
                </a:cubicBezTo>
                <a:cubicBezTo>
                  <a:pt x="1544742" y="4570168"/>
                  <a:pt x="1544122" y="4570994"/>
                  <a:pt x="1543348" y="4571613"/>
                </a:cubicBezTo>
                <a:cubicBezTo>
                  <a:pt x="1542264" y="4571923"/>
                  <a:pt x="1542264" y="4571923"/>
                  <a:pt x="1541180" y="4572233"/>
                </a:cubicBezTo>
                <a:cubicBezTo>
                  <a:pt x="1539630" y="4571407"/>
                  <a:pt x="1537772" y="4571201"/>
                  <a:pt x="1536687" y="4569651"/>
                </a:cubicBezTo>
                <a:cubicBezTo>
                  <a:pt x="1535758" y="4567277"/>
                  <a:pt x="1538391" y="4563972"/>
                  <a:pt x="1539785" y="4562837"/>
                </a:cubicBezTo>
                <a:close/>
                <a:moveTo>
                  <a:pt x="1078504" y="4562630"/>
                </a:moveTo>
                <a:cubicBezTo>
                  <a:pt x="1079433" y="4563456"/>
                  <a:pt x="1082222" y="4565934"/>
                  <a:pt x="1082222" y="4565934"/>
                </a:cubicBezTo>
                <a:cubicBezTo>
                  <a:pt x="1083151" y="4565831"/>
                  <a:pt x="1082996" y="4565831"/>
                  <a:pt x="1084081" y="4566554"/>
                </a:cubicBezTo>
                <a:cubicBezTo>
                  <a:pt x="1083306" y="4567483"/>
                  <a:pt x="1083306" y="4567483"/>
                  <a:pt x="1082531" y="4567586"/>
                </a:cubicBezTo>
                <a:cubicBezTo>
                  <a:pt x="1081602" y="4566760"/>
                  <a:pt x="1081447" y="4565934"/>
                  <a:pt x="1080518" y="4565108"/>
                </a:cubicBezTo>
                <a:cubicBezTo>
                  <a:pt x="1079124" y="4566967"/>
                  <a:pt x="1079898" y="4566864"/>
                  <a:pt x="1078969" y="4566038"/>
                </a:cubicBezTo>
                <a:cubicBezTo>
                  <a:pt x="1078969" y="4566038"/>
                  <a:pt x="1078969" y="4566038"/>
                  <a:pt x="1078039" y="4565211"/>
                </a:cubicBezTo>
                <a:lnTo>
                  <a:pt x="1077885" y="4565005"/>
                </a:lnTo>
                <a:lnTo>
                  <a:pt x="1077729" y="4565211"/>
                </a:lnTo>
                <a:lnTo>
                  <a:pt x="1078039" y="4565211"/>
                </a:lnTo>
                <a:lnTo>
                  <a:pt x="1078659" y="4573782"/>
                </a:lnTo>
                <a:lnTo>
                  <a:pt x="1079588" y="4574298"/>
                </a:lnTo>
                <a:cubicBezTo>
                  <a:pt x="1079124" y="4573575"/>
                  <a:pt x="1080208" y="4573782"/>
                  <a:pt x="1080208" y="4573782"/>
                </a:cubicBezTo>
                <a:cubicBezTo>
                  <a:pt x="1080208" y="4573782"/>
                  <a:pt x="1080208" y="4573885"/>
                  <a:pt x="1080518" y="4571407"/>
                </a:cubicBezTo>
                <a:cubicBezTo>
                  <a:pt x="1080518" y="4571407"/>
                  <a:pt x="1082066" y="4566141"/>
                  <a:pt x="1087333" y="4566967"/>
                </a:cubicBezTo>
                <a:cubicBezTo>
                  <a:pt x="1087178" y="4567896"/>
                  <a:pt x="1091051" y="4569135"/>
                  <a:pt x="1093374" y="4571407"/>
                </a:cubicBezTo>
                <a:lnTo>
                  <a:pt x="1093684" y="4572026"/>
                </a:lnTo>
                <a:lnTo>
                  <a:pt x="1094613" y="4572543"/>
                </a:lnTo>
                <a:cubicBezTo>
                  <a:pt x="1096007" y="4573369"/>
                  <a:pt x="1097246" y="4573988"/>
                  <a:pt x="1097866" y="4574401"/>
                </a:cubicBezTo>
                <a:cubicBezTo>
                  <a:pt x="1098021" y="4575331"/>
                  <a:pt x="1098021" y="4575331"/>
                  <a:pt x="1098021" y="4575331"/>
                </a:cubicBezTo>
                <a:cubicBezTo>
                  <a:pt x="1097711" y="4576260"/>
                  <a:pt x="1097091" y="4576467"/>
                  <a:pt x="1096163" y="4576260"/>
                </a:cubicBezTo>
                <a:lnTo>
                  <a:pt x="1094923" y="4575744"/>
                </a:lnTo>
                <a:lnTo>
                  <a:pt x="1095233" y="4579048"/>
                </a:lnTo>
                <a:cubicBezTo>
                  <a:pt x="1094303" y="4579771"/>
                  <a:pt x="1093684" y="4580906"/>
                  <a:pt x="1092599" y="4581939"/>
                </a:cubicBezTo>
                <a:lnTo>
                  <a:pt x="1091206" y="4582765"/>
                </a:lnTo>
                <a:lnTo>
                  <a:pt x="1093219" y="4582662"/>
                </a:lnTo>
                <a:cubicBezTo>
                  <a:pt x="1094149" y="4583178"/>
                  <a:pt x="1095233" y="4584107"/>
                  <a:pt x="1096163" y="4585553"/>
                </a:cubicBezTo>
                <a:cubicBezTo>
                  <a:pt x="1094613" y="4589890"/>
                  <a:pt x="1093064" y="4597117"/>
                  <a:pt x="1088263" y="4600112"/>
                </a:cubicBezTo>
                <a:lnTo>
                  <a:pt x="1087178" y="4600318"/>
                </a:lnTo>
                <a:lnTo>
                  <a:pt x="1086404" y="4601248"/>
                </a:lnTo>
                <a:lnTo>
                  <a:pt x="1086559" y="4601454"/>
                </a:lnTo>
                <a:cubicBezTo>
                  <a:pt x="1085629" y="4601454"/>
                  <a:pt x="1085784" y="4602384"/>
                  <a:pt x="1086714" y="4602384"/>
                </a:cubicBezTo>
                <a:cubicBezTo>
                  <a:pt x="1085939" y="4603726"/>
                  <a:pt x="1085474" y="4604759"/>
                  <a:pt x="1085010" y="4605378"/>
                </a:cubicBezTo>
                <a:cubicBezTo>
                  <a:pt x="1084700" y="4605688"/>
                  <a:pt x="1084390" y="4605791"/>
                  <a:pt x="1084081" y="4605791"/>
                </a:cubicBezTo>
                <a:cubicBezTo>
                  <a:pt x="1083616" y="4605791"/>
                  <a:pt x="1083306" y="4605584"/>
                  <a:pt x="1082841" y="4605172"/>
                </a:cubicBezTo>
                <a:cubicBezTo>
                  <a:pt x="1080982" y="4604449"/>
                  <a:pt x="1081602" y="4602590"/>
                  <a:pt x="1079743" y="4600938"/>
                </a:cubicBezTo>
                <a:cubicBezTo>
                  <a:pt x="1076026" y="4598563"/>
                  <a:pt x="1071843" y="4605791"/>
                  <a:pt x="1064408" y="4600938"/>
                </a:cubicBezTo>
                <a:cubicBezTo>
                  <a:pt x="1065957" y="4599183"/>
                  <a:pt x="1061930" y="4595052"/>
                  <a:pt x="1064099" y="4592265"/>
                </a:cubicBezTo>
                <a:cubicBezTo>
                  <a:pt x="1069520" y="4583178"/>
                  <a:pt x="1072308" y="4584830"/>
                  <a:pt x="1078659" y="4587102"/>
                </a:cubicBezTo>
                <a:cubicBezTo>
                  <a:pt x="1077729" y="4587102"/>
                  <a:pt x="1078659" y="4587928"/>
                  <a:pt x="1078659" y="4587928"/>
                </a:cubicBezTo>
                <a:cubicBezTo>
                  <a:pt x="1080673" y="4589580"/>
                  <a:pt x="1080673" y="4584314"/>
                  <a:pt x="1083461" y="4585863"/>
                </a:cubicBezTo>
                <a:lnTo>
                  <a:pt x="1084081" y="4586585"/>
                </a:lnTo>
                <a:lnTo>
                  <a:pt x="1084390" y="4586585"/>
                </a:lnTo>
                <a:lnTo>
                  <a:pt x="1087178" y="4583591"/>
                </a:lnTo>
                <a:lnTo>
                  <a:pt x="1086714" y="4583591"/>
                </a:lnTo>
                <a:cubicBezTo>
                  <a:pt x="1080208" y="4582559"/>
                  <a:pt x="1080518" y="4575744"/>
                  <a:pt x="1079898" y="4576260"/>
                </a:cubicBezTo>
                <a:lnTo>
                  <a:pt x="1079124" y="4576053"/>
                </a:lnTo>
                <a:lnTo>
                  <a:pt x="1079433" y="4577086"/>
                </a:lnTo>
                <a:cubicBezTo>
                  <a:pt x="1079588" y="4577809"/>
                  <a:pt x="1079743" y="4578118"/>
                  <a:pt x="1079743" y="4578118"/>
                </a:cubicBezTo>
                <a:cubicBezTo>
                  <a:pt x="1079278" y="4579874"/>
                  <a:pt x="1078349" y="4579977"/>
                  <a:pt x="1079278" y="4579874"/>
                </a:cubicBezTo>
                <a:cubicBezTo>
                  <a:pt x="1077885" y="4581733"/>
                  <a:pt x="1076491" y="4584417"/>
                  <a:pt x="1074786" y="4583591"/>
                </a:cubicBezTo>
                <a:cubicBezTo>
                  <a:pt x="1070604" y="4580597"/>
                  <a:pt x="1072463" y="4574298"/>
                  <a:pt x="1074012" y="4570271"/>
                </a:cubicBezTo>
                <a:lnTo>
                  <a:pt x="1074786" y="4567483"/>
                </a:lnTo>
                <a:lnTo>
                  <a:pt x="1072928" y="4565521"/>
                </a:lnTo>
                <a:cubicBezTo>
                  <a:pt x="1072618" y="4563869"/>
                  <a:pt x="1074477" y="4562527"/>
                  <a:pt x="1076181" y="4562734"/>
                </a:cubicBezTo>
                <a:lnTo>
                  <a:pt x="1078039" y="4564179"/>
                </a:lnTo>
                <a:close/>
                <a:moveTo>
                  <a:pt x="6654451" y="4562545"/>
                </a:moveTo>
                <a:cubicBezTo>
                  <a:pt x="6658169" y="4567914"/>
                  <a:pt x="6660802" y="4573283"/>
                  <a:pt x="6667927" y="4578756"/>
                </a:cubicBezTo>
                <a:cubicBezTo>
                  <a:pt x="6666223" y="4580408"/>
                  <a:pt x="6668857" y="4582267"/>
                  <a:pt x="6666378" y="4583919"/>
                </a:cubicBezTo>
                <a:lnTo>
                  <a:pt x="6665449" y="4583506"/>
                </a:lnTo>
                <a:lnTo>
                  <a:pt x="6669476" y="4587326"/>
                </a:lnTo>
                <a:cubicBezTo>
                  <a:pt x="6674433" y="4593108"/>
                  <a:pt x="6678460" y="4599923"/>
                  <a:pt x="6680319" y="4609423"/>
                </a:cubicBezTo>
                <a:cubicBezTo>
                  <a:pt x="6660492" y="4610146"/>
                  <a:pt x="6653522" y="4585261"/>
                  <a:pt x="6653057" y="4572251"/>
                </a:cubicBezTo>
                <a:lnTo>
                  <a:pt x="6655225" y="4574109"/>
                </a:lnTo>
                <a:lnTo>
                  <a:pt x="6653057" y="4568637"/>
                </a:lnTo>
                <a:cubicBezTo>
                  <a:pt x="6652747" y="4566365"/>
                  <a:pt x="6653057" y="4564197"/>
                  <a:pt x="6654451" y="4562545"/>
                </a:cubicBezTo>
                <a:close/>
                <a:moveTo>
                  <a:pt x="5992734" y="4562338"/>
                </a:moveTo>
                <a:cubicBezTo>
                  <a:pt x="5993664" y="4563268"/>
                  <a:pt x="5994593" y="4564919"/>
                  <a:pt x="5993819" y="4565745"/>
                </a:cubicBezTo>
                <a:cubicBezTo>
                  <a:pt x="5993354" y="4566572"/>
                  <a:pt x="5992889" y="4566572"/>
                  <a:pt x="5992424" y="4566262"/>
                </a:cubicBezTo>
                <a:cubicBezTo>
                  <a:pt x="5991805" y="4565849"/>
                  <a:pt x="5991185" y="4565230"/>
                  <a:pt x="5990411" y="4564713"/>
                </a:cubicBezTo>
                <a:close/>
                <a:moveTo>
                  <a:pt x="892783" y="4561907"/>
                </a:moveTo>
                <a:cubicBezTo>
                  <a:pt x="892783" y="4561907"/>
                  <a:pt x="893558" y="4562837"/>
                  <a:pt x="893558" y="4562837"/>
                </a:cubicBezTo>
                <a:cubicBezTo>
                  <a:pt x="896656" y="4566038"/>
                  <a:pt x="898050" y="4571510"/>
                  <a:pt x="897120" y="4573059"/>
                </a:cubicBezTo>
                <a:cubicBezTo>
                  <a:pt x="896192" y="4573782"/>
                  <a:pt x="894952" y="4574195"/>
                  <a:pt x="893558" y="4574092"/>
                </a:cubicBezTo>
                <a:cubicBezTo>
                  <a:pt x="892164" y="4573988"/>
                  <a:pt x="890770" y="4573369"/>
                  <a:pt x="889685" y="4571820"/>
                </a:cubicBezTo>
                <a:cubicBezTo>
                  <a:pt x="887207" y="4569651"/>
                  <a:pt x="887362" y="4566244"/>
                  <a:pt x="885039" y="4563249"/>
                </a:cubicBezTo>
                <a:cubicBezTo>
                  <a:pt x="887826" y="4560255"/>
                  <a:pt x="888756" y="4559533"/>
                  <a:pt x="892783" y="4561907"/>
                </a:cubicBezTo>
                <a:close/>
                <a:moveTo>
                  <a:pt x="6107087" y="4561783"/>
                </a:moveTo>
                <a:cubicBezTo>
                  <a:pt x="6108558" y="4562648"/>
                  <a:pt x="6109526" y="4564506"/>
                  <a:pt x="6109061" y="4567191"/>
                </a:cubicBezTo>
                <a:cubicBezTo>
                  <a:pt x="6105499" y="4566572"/>
                  <a:pt x="6101936" y="4565952"/>
                  <a:pt x="6102091" y="4562338"/>
                </a:cubicBezTo>
                <a:cubicBezTo>
                  <a:pt x="6103640" y="4561047"/>
                  <a:pt x="6105615" y="4560918"/>
                  <a:pt x="6107087" y="4561783"/>
                </a:cubicBezTo>
                <a:close/>
                <a:moveTo>
                  <a:pt x="5986693" y="4561719"/>
                </a:moveTo>
                <a:cubicBezTo>
                  <a:pt x="5986693" y="4561719"/>
                  <a:pt x="5986693" y="4561719"/>
                  <a:pt x="5987778" y="4563474"/>
                </a:cubicBezTo>
                <a:lnTo>
                  <a:pt x="5987468" y="4565023"/>
                </a:lnTo>
                <a:lnTo>
                  <a:pt x="5989636" y="4565539"/>
                </a:lnTo>
                <a:cubicBezTo>
                  <a:pt x="5991340" y="4567295"/>
                  <a:pt x="5993819" y="4570082"/>
                  <a:pt x="5992270" y="4572561"/>
                </a:cubicBezTo>
                <a:cubicBezTo>
                  <a:pt x="5991495" y="4572561"/>
                  <a:pt x="5991495" y="4573490"/>
                  <a:pt x="5990721" y="4573490"/>
                </a:cubicBezTo>
                <a:cubicBezTo>
                  <a:pt x="5990721" y="4573490"/>
                  <a:pt x="5989946" y="4573800"/>
                  <a:pt x="5988707" y="4573903"/>
                </a:cubicBezTo>
                <a:cubicBezTo>
                  <a:pt x="5987468" y="4573903"/>
                  <a:pt x="5985764" y="4573593"/>
                  <a:pt x="5984060" y="4572251"/>
                </a:cubicBezTo>
                <a:cubicBezTo>
                  <a:pt x="5983286" y="4571322"/>
                  <a:pt x="5981427" y="4568637"/>
                  <a:pt x="5982201" y="4568637"/>
                </a:cubicBezTo>
                <a:cubicBezTo>
                  <a:pt x="5982976" y="4567811"/>
                  <a:pt x="5982201" y="4567811"/>
                  <a:pt x="5982201" y="4566881"/>
                </a:cubicBezTo>
                <a:lnTo>
                  <a:pt x="5983286" y="4566262"/>
                </a:lnTo>
                <a:lnTo>
                  <a:pt x="5982821" y="4565539"/>
                </a:lnTo>
                <a:cubicBezTo>
                  <a:pt x="5981737" y="4563784"/>
                  <a:pt x="5981737" y="4563887"/>
                  <a:pt x="5982511" y="4562958"/>
                </a:cubicBezTo>
                <a:cubicBezTo>
                  <a:pt x="5983286" y="4562029"/>
                  <a:pt x="5985919" y="4562751"/>
                  <a:pt x="5986693" y="4561719"/>
                </a:cubicBezTo>
                <a:close/>
                <a:moveTo>
                  <a:pt x="6877192" y="4560893"/>
                </a:moveTo>
                <a:cubicBezTo>
                  <a:pt x="6882304" y="4571528"/>
                  <a:pt x="6879980" y="4593728"/>
                  <a:pt x="6863871" y="4593522"/>
                </a:cubicBezTo>
                <a:cubicBezTo>
                  <a:pt x="6865885" y="4588255"/>
                  <a:pt x="6867279" y="4582370"/>
                  <a:pt x="6869292" y="4576691"/>
                </a:cubicBezTo>
                <a:cubicBezTo>
                  <a:pt x="6871151" y="4571012"/>
                  <a:pt x="6873474" y="4565539"/>
                  <a:pt x="6877192" y="4560893"/>
                </a:cubicBezTo>
                <a:close/>
                <a:moveTo>
                  <a:pt x="1272454" y="4560720"/>
                </a:moveTo>
                <a:cubicBezTo>
                  <a:pt x="1277817" y="4562165"/>
                  <a:pt x="1283277" y="4564540"/>
                  <a:pt x="1289782" y="4565418"/>
                </a:cubicBezTo>
                <a:cubicBezTo>
                  <a:pt x="1291797" y="4576467"/>
                  <a:pt x="1298147" y="4577706"/>
                  <a:pt x="1302794" y="4581836"/>
                </a:cubicBezTo>
                <a:cubicBezTo>
                  <a:pt x="1300780" y="4589270"/>
                  <a:pt x="1304188" y="4599389"/>
                  <a:pt x="1304343" y="4608373"/>
                </a:cubicBezTo>
                <a:lnTo>
                  <a:pt x="1301710" y="4611057"/>
                </a:lnTo>
                <a:lnTo>
                  <a:pt x="1303413" y="4613845"/>
                </a:lnTo>
                <a:cubicBezTo>
                  <a:pt x="1302794" y="4614362"/>
                  <a:pt x="1301555" y="4614465"/>
                  <a:pt x="1300316" y="4614362"/>
                </a:cubicBezTo>
                <a:lnTo>
                  <a:pt x="1298922" y="4614155"/>
                </a:lnTo>
                <a:lnTo>
                  <a:pt x="1294430" y="4619008"/>
                </a:lnTo>
                <a:lnTo>
                  <a:pt x="1289163" y="4624584"/>
                </a:lnTo>
                <a:lnTo>
                  <a:pt x="1288853" y="4627269"/>
                </a:lnTo>
                <a:lnTo>
                  <a:pt x="1286530" y="4627475"/>
                </a:lnTo>
                <a:lnTo>
                  <a:pt x="1284516" y="4629747"/>
                </a:lnTo>
                <a:cubicBezTo>
                  <a:pt x="1273674" y="4625513"/>
                  <a:pt x="1258339" y="4633257"/>
                  <a:pt x="1248890" y="4623035"/>
                </a:cubicBezTo>
                <a:cubicBezTo>
                  <a:pt x="1246877" y="4611986"/>
                  <a:pt x="1240990" y="4610025"/>
                  <a:pt x="1237428" y="4603726"/>
                </a:cubicBezTo>
                <a:cubicBezTo>
                  <a:pt x="1236653" y="4588547"/>
                  <a:pt x="1240680" y="4568516"/>
                  <a:pt x="1255706" y="4561598"/>
                </a:cubicBezTo>
                <a:cubicBezTo>
                  <a:pt x="1261824" y="4558758"/>
                  <a:pt x="1267090" y="4559274"/>
                  <a:pt x="1272454" y="4560720"/>
                </a:cubicBezTo>
                <a:close/>
                <a:moveTo>
                  <a:pt x="1178877" y="4560255"/>
                </a:moveTo>
                <a:cubicBezTo>
                  <a:pt x="1180736" y="4561804"/>
                  <a:pt x="1180736" y="4561804"/>
                  <a:pt x="1179496" y="4564489"/>
                </a:cubicBezTo>
                <a:cubicBezTo>
                  <a:pt x="1178722" y="4565315"/>
                  <a:pt x="1176863" y="4566244"/>
                  <a:pt x="1175004" y="4566760"/>
                </a:cubicBezTo>
                <a:cubicBezTo>
                  <a:pt x="1174076" y="4567070"/>
                  <a:pt x="1172991" y="4567277"/>
                  <a:pt x="1172061" y="4567277"/>
                </a:cubicBezTo>
                <a:cubicBezTo>
                  <a:pt x="1171132" y="4567277"/>
                  <a:pt x="1170357" y="4567070"/>
                  <a:pt x="1169583" y="4566760"/>
                </a:cubicBezTo>
                <a:cubicBezTo>
                  <a:pt x="1170203" y="4565005"/>
                  <a:pt x="1170822" y="4563249"/>
                  <a:pt x="1171443" y="4561494"/>
                </a:cubicBezTo>
                <a:cubicBezTo>
                  <a:pt x="1171597" y="4562320"/>
                  <a:pt x="1178877" y="4560255"/>
                  <a:pt x="1178877" y="4560255"/>
                </a:cubicBezTo>
                <a:close/>
                <a:moveTo>
                  <a:pt x="1682909" y="4558500"/>
                </a:moveTo>
                <a:cubicBezTo>
                  <a:pt x="1682444" y="4561184"/>
                  <a:pt x="1682444" y="4561184"/>
                  <a:pt x="1681051" y="4563043"/>
                </a:cubicBezTo>
                <a:cubicBezTo>
                  <a:pt x="1680896" y="4562217"/>
                  <a:pt x="1679811" y="4560462"/>
                  <a:pt x="1680586" y="4559533"/>
                </a:cubicBezTo>
                <a:cubicBezTo>
                  <a:pt x="1681206" y="4558603"/>
                  <a:pt x="1681206" y="4558603"/>
                  <a:pt x="1682909" y="4558500"/>
                </a:cubicBezTo>
                <a:close/>
                <a:moveTo>
                  <a:pt x="1726900" y="4558190"/>
                </a:moveTo>
                <a:cubicBezTo>
                  <a:pt x="1727365" y="4559429"/>
                  <a:pt x="1728449" y="4559016"/>
                  <a:pt x="1729533" y="4558706"/>
                </a:cubicBezTo>
                <a:cubicBezTo>
                  <a:pt x="1730153" y="4560462"/>
                  <a:pt x="1731392" y="4563146"/>
                  <a:pt x="1730153" y="4564902"/>
                </a:cubicBezTo>
                <a:lnTo>
                  <a:pt x="1728294" y="4566038"/>
                </a:lnTo>
                <a:lnTo>
                  <a:pt x="1734645" y="4568309"/>
                </a:lnTo>
                <a:cubicBezTo>
                  <a:pt x="1736813" y="4573472"/>
                  <a:pt x="1739292" y="4578015"/>
                  <a:pt x="1741925" y="4582559"/>
                </a:cubicBezTo>
                <a:lnTo>
                  <a:pt x="1742544" y="4584004"/>
                </a:lnTo>
                <a:lnTo>
                  <a:pt x="1743784" y="4581733"/>
                </a:lnTo>
                <a:cubicBezTo>
                  <a:pt x="1744713" y="4581010"/>
                  <a:pt x="1746727" y="4580493"/>
                  <a:pt x="1748740" y="4580287"/>
                </a:cubicBezTo>
                <a:cubicBezTo>
                  <a:pt x="1750754" y="4580080"/>
                  <a:pt x="1752768" y="4580287"/>
                  <a:pt x="1754007" y="4581319"/>
                </a:cubicBezTo>
                <a:cubicBezTo>
                  <a:pt x="1753232" y="4582868"/>
                  <a:pt x="1752303" y="4584417"/>
                  <a:pt x="1751374" y="4586069"/>
                </a:cubicBezTo>
                <a:cubicBezTo>
                  <a:pt x="1751374" y="4585140"/>
                  <a:pt x="1743784" y="4585966"/>
                  <a:pt x="1743784" y="4585966"/>
                </a:cubicBezTo>
                <a:lnTo>
                  <a:pt x="1742699" y="4584417"/>
                </a:lnTo>
                <a:lnTo>
                  <a:pt x="1749050" y="4596911"/>
                </a:lnTo>
                <a:cubicBezTo>
                  <a:pt x="1742544" y="4605688"/>
                  <a:pt x="1745488" y="4623964"/>
                  <a:pt x="1733870" y="4628920"/>
                </a:cubicBezTo>
                <a:lnTo>
                  <a:pt x="1730927" y="4628508"/>
                </a:lnTo>
                <a:lnTo>
                  <a:pt x="1730772" y="4628817"/>
                </a:lnTo>
                <a:cubicBezTo>
                  <a:pt x="1729843" y="4629437"/>
                  <a:pt x="1728913" y="4629850"/>
                  <a:pt x="1727985" y="4629747"/>
                </a:cubicBezTo>
                <a:lnTo>
                  <a:pt x="1726280" y="4628714"/>
                </a:lnTo>
                <a:lnTo>
                  <a:pt x="1721478" y="4629643"/>
                </a:lnTo>
                <a:lnTo>
                  <a:pt x="1720549" y="4629540"/>
                </a:lnTo>
                <a:lnTo>
                  <a:pt x="1719000" y="4630056"/>
                </a:lnTo>
                <a:lnTo>
                  <a:pt x="1719310" y="4633361"/>
                </a:lnTo>
                <a:cubicBezTo>
                  <a:pt x="1718845" y="4634497"/>
                  <a:pt x="1718071" y="4635219"/>
                  <a:pt x="1716987" y="4635529"/>
                </a:cubicBezTo>
                <a:cubicBezTo>
                  <a:pt x="1715902" y="4635839"/>
                  <a:pt x="1714663" y="4635632"/>
                  <a:pt x="1713734" y="4635219"/>
                </a:cubicBezTo>
                <a:cubicBezTo>
                  <a:pt x="1712804" y="4635219"/>
                  <a:pt x="1712030" y="4634703"/>
                  <a:pt x="1711565" y="4633877"/>
                </a:cubicBezTo>
                <a:cubicBezTo>
                  <a:pt x="1711100" y="4633051"/>
                  <a:pt x="1710945" y="4631915"/>
                  <a:pt x="1711100" y="4630986"/>
                </a:cubicBezTo>
                <a:lnTo>
                  <a:pt x="1711100" y="4630779"/>
                </a:lnTo>
                <a:lnTo>
                  <a:pt x="1702426" y="4626236"/>
                </a:lnTo>
                <a:lnTo>
                  <a:pt x="1693287" y="4618285"/>
                </a:lnTo>
                <a:lnTo>
                  <a:pt x="1692048" y="4620660"/>
                </a:lnTo>
                <a:cubicBezTo>
                  <a:pt x="1692048" y="4622622"/>
                  <a:pt x="1691119" y="4624894"/>
                  <a:pt x="1689570" y="4625926"/>
                </a:cubicBezTo>
                <a:cubicBezTo>
                  <a:pt x="1688486" y="4626236"/>
                  <a:pt x="1687556" y="4626133"/>
                  <a:pt x="1686937" y="4625926"/>
                </a:cubicBezTo>
                <a:cubicBezTo>
                  <a:pt x="1686162" y="4625616"/>
                  <a:pt x="1685698" y="4625100"/>
                  <a:pt x="1685543" y="4624584"/>
                </a:cubicBezTo>
                <a:cubicBezTo>
                  <a:pt x="1683219" y="4619937"/>
                  <a:pt x="1683684" y="4616427"/>
                  <a:pt x="1684768" y="4613845"/>
                </a:cubicBezTo>
                <a:lnTo>
                  <a:pt x="1686008" y="4610851"/>
                </a:lnTo>
                <a:lnTo>
                  <a:pt x="1682599" y="4605275"/>
                </a:lnTo>
                <a:cubicBezTo>
                  <a:pt x="1681206" y="4602384"/>
                  <a:pt x="1680276" y="4599286"/>
                  <a:pt x="1679811" y="4595982"/>
                </a:cubicBezTo>
                <a:cubicBezTo>
                  <a:pt x="1679347" y="4592368"/>
                  <a:pt x="1679501" y="4589270"/>
                  <a:pt x="1680121" y="4586585"/>
                </a:cubicBezTo>
                <a:lnTo>
                  <a:pt x="1681360" y="4583798"/>
                </a:lnTo>
                <a:lnTo>
                  <a:pt x="1681206" y="4581526"/>
                </a:lnTo>
                <a:lnTo>
                  <a:pt x="1681051" y="4580390"/>
                </a:lnTo>
                <a:lnTo>
                  <a:pt x="1680121" y="4582249"/>
                </a:lnTo>
                <a:cubicBezTo>
                  <a:pt x="1679501" y="4583384"/>
                  <a:pt x="1679501" y="4583384"/>
                  <a:pt x="1680586" y="4583901"/>
                </a:cubicBezTo>
                <a:cubicBezTo>
                  <a:pt x="1679966" y="4585037"/>
                  <a:pt x="1679966" y="4585037"/>
                  <a:pt x="1678263" y="4585656"/>
                </a:cubicBezTo>
                <a:cubicBezTo>
                  <a:pt x="1678727" y="4584727"/>
                  <a:pt x="1679656" y="4581733"/>
                  <a:pt x="1680431" y="4580493"/>
                </a:cubicBezTo>
                <a:lnTo>
                  <a:pt x="1681051" y="4580080"/>
                </a:lnTo>
                <a:lnTo>
                  <a:pt x="1681051" y="4579151"/>
                </a:lnTo>
                <a:cubicBezTo>
                  <a:pt x="1679966" y="4578635"/>
                  <a:pt x="1679966" y="4578635"/>
                  <a:pt x="1680896" y="4578325"/>
                </a:cubicBezTo>
                <a:lnTo>
                  <a:pt x="1681051" y="4577602"/>
                </a:lnTo>
                <a:lnTo>
                  <a:pt x="1681051" y="4575227"/>
                </a:lnTo>
                <a:cubicBezTo>
                  <a:pt x="1681051" y="4573059"/>
                  <a:pt x="1681360" y="4570994"/>
                  <a:pt x="1681825" y="4570065"/>
                </a:cubicBezTo>
                <a:lnTo>
                  <a:pt x="1682135" y="4575537"/>
                </a:lnTo>
                <a:lnTo>
                  <a:pt x="1682755" y="4572749"/>
                </a:lnTo>
                <a:cubicBezTo>
                  <a:pt x="1682755" y="4571407"/>
                  <a:pt x="1682599" y="4570065"/>
                  <a:pt x="1682135" y="4569858"/>
                </a:cubicBezTo>
                <a:cubicBezTo>
                  <a:pt x="1682909" y="4569548"/>
                  <a:pt x="1683529" y="4568412"/>
                  <a:pt x="1683529" y="4568412"/>
                </a:cubicBezTo>
                <a:cubicBezTo>
                  <a:pt x="1684613" y="4568929"/>
                  <a:pt x="1684768" y="4569755"/>
                  <a:pt x="1685078" y="4570581"/>
                </a:cubicBezTo>
                <a:cubicBezTo>
                  <a:pt x="1684458" y="4571613"/>
                  <a:pt x="1683684" y="4571923"/>
                  <a:pt x="1683064" y="4573059"/>
                </a:cubicBezTo>
                <a:cubicBezTo>
                  <a:pt x="1683219" y="4573885"/>
                  <a:pt x="1683684" y="4575537"/>
                  <a:pt x="1683064" y="4576570"/>
                </a:cubicBezTo>
                <a:lnTo>
                  <a:pt x="1682135" y="4577809"/>
                </a:lnTo>
                <a:lnTo>
                  <a:pt x="1681360" y="4583591"/>
                </a:lnTo>
                <a:lnTo>
                  <a:pt x="1683219" y="4579151"/>
                </a:lnTo>
                <a:cubicBezTo>
                  <a:pt x="1685853" y="4574505"/>
                  <a:pt x="1689570" y="4570168"/>
                  <a:pt x="1692048" y="4564076"/>
                </a:cubicBezTo>
                <a:cubicBezTo>
                  <a:pt x="1702581" y="4566967"/>
                  <a:pt x="1705215" y="4561288"/>
                  <a:pt x="1710171" y="4558293"/>
                </a:cubicBezTo>
                <a:cubicBezTo>
                  <a:pt x="1713424" y="4560978"/>
                  <a:pt x="1717451" y="4562527"/>
                  <a:pt x="1721788" y="4563869"/>
                </a:cubicBezTo>
                <a:lnTo>
                  <a:pt x="1723802" y="4564489"/>
                </a:lnTo>
                <a:lnTo>
                  <a:pt x="1723957" y="4561391"/>
                </a:lnTo>
                <a:cubicBezTo>
                  <a:pt x="1724576" y="4560462"/>
                  <a:pt x="1725816" y="4559533"/>
                  <a:pt x="1726900" y="4558190"/>
                </a:cubicBezTo>
                <a:close/>
                <a:moveTo>
                  <a:pt x="5905992" y="4557795"/>
                </a:moveTo>
                <a:cubicBezTo>
                  <a:pt x="5915596" y="4573593"/>
                  <a:pt x="5881519" y="4594347"/>
                  <a:pt x="5869592" y="4596723"/>
                </a:cubicBezTo>
                <a:cubicBezTo>
                  <a:pt x="5877801" y="4584022"/>
                  <a:pt x="5892052" y="4563371"/>
                  <a:pt x="5905992" y="4557795"/>
                </a:cubicBezTo>
                <a:close/>
                <a:moveTo>
                  <a:pt x="614435" y="4557467"/>
                </a:moveTo>
                <a:cubicBezTo>
                  <a:pt x="618927" y="4554473"/>
                  <a:pt x="632403" y="4568000"/>
                  <a:pt x="614589" y="4567173"/>
                </a:cubicBezTo>
                <a:cubicBezTo>
                  <a:pt x="612576" y="4561391"/>
                  <a:pt x="613041" y="4558500"/>
                  <a:pt x="614435" y="4557467"/>
                </a:cubicBezTo>
                <a:close/>
                <a:moveTo>
                  <a:pt x="1008181" y="4557364"/>
                </a:moveTo>
                <a:cubicBezTo>
                  <a:pt x="1008956" y="4557777"/>
                  <a:pt x="1009421" y="4557054"/>
                  <a:pt x="1010195" y="4557467"/>
                </a:cubicBezTo>
                <a:cubicBezTo>
                  <a:pt x="1012054" y="4557674"/>
                  <a:pt x="1012054" y="4557674"/>
                  <a:pt x="1012208" y="4558810"/>
                </a:cubicBezTo>
                <a:cubicBezTo>
                  <a:pt x="1012518" y="4560049"/>
                  <a:pt x="1010195" y="4562011"/>
                  <a:pt x="1010505" y="4563249"/>
                </a:cubicBezTo>
                <a:cubicBezTo>
                  <a:pt x="1010505" y="4563249"/>
                  <a:pt x="1010505" y="4563249"/>
                  <a:pt x="1008491" y="4563146"/>
                </a:cubicBezTo>
                <a:cubicBezTo>
                  <a:pt x="1007871" y="4562630"/>
                  <a:pt x="1007097" y="4562217"/>
                  <a:pt x="1006942" y="4560978"/>
                </a:cubicBezTo>
                <a:cubicBezTo>
                  <a:pt x="1006632" y="4559739"/>
                  <a:pt x="1007717" y="4558190"/>
                  <a:pt x="1008181" y="4557364"/>
                </a:cubicBezTo>
                <a:close/>
                <a:moveTo>
                  <a:pt x="1515466" y="4556744"/>
                </a:moveTo>
                <a:cubicBezTo>
                  <a:pt x="1515776" y="4557467"/>
                  <a:pt x="1516861" y="4557880"/>
                  <a:pt x="1517170" y="4558603"/>
                </a:cubicBezTo>
                <a:cubicBezTo>
                  <a:pt x="1516396" y="4559016"/>
                  <a:pt x="1515002" y="4560565"/>
                  <a:pt x="1514692" y="4559739"/>
                </a:cubicBezTo>
                <a:cubicBezTo>
                  <a:pt x="1513918" y="4560152"/>
                  <a:pt x="1513298" y="4558706"/>
                  <a:pt x="1513298" y="4558706"/>
                </a:cubicBezTo>
                <a:cubicBezTo>
                  <a:pt x="1512524" y="4559016"/>
                  <a:pt x="1511749" y="4559429"/>
                  <a:pt x="1510665" y="4559119"/>
                </a:cubicBezTo>
                <a:cubicBezTo>
                  <a:pt x="1511129" y="4557983"/>
                  <a:pt x="1510355" y="4558397"/>
                  <a:pt x="1510045" y="4557674"/>
                </a:cubicBezTo>
                <a:cubicBezTo>
                  <a:pt x="1511129" y="4557983"/>
                  <a:pt x="1513607" y="4556744"/>
                  <a:pt x="1515466" y="4556744"/>
                </a:cubicBezTo>
                <a:close/>
                <a:moveTo>
                  <a:pt x="1770193" y="4556732"/>
                </a:moveTo>
                <a:cubicBezTo>
                  <a:pt x="1771355" y="4556564"/>
                  <a:pt x="1772672" y="4557054"/>
                  <a:pt x="1773989" y="4557571"/>
                </a:cubicBezTo>
                <a:cubicBezTo>
                  <a:pt x="1772440" y="4560152"/>
                  <a:pt x="1775847" y="4562011"/>
                  <a:pt x="1772440" y="4563663"/>
                </a:cubicBezTo>
                <a:cubicBezTo>
                  <a:pt x="1770736" y="4563559"/>
                  <a:pt x="1769032" y="4562630"/>
                  <a:pt x="1767328" y="4559842"/>
                </a:cubicBezTo>
                <a:cubicBezTo>
                  <a:pt x="1768025" y="4557726"/>
                  <a:pt x="1769032" y="4556899"/>
                  <a:pt x="1770193" y="4556732"/>
                </a:cubicBezTo>
                <a:close/>
                <a:moveTo>
                  <a:pt x="1311003" y="4556641"/>
                </a:moveTo>
                <a:cubicBezTo>
                  <a:pt x="1310539" y="4568206"/>
                  <a:pt x="1325719" y="4573162"/>
                  <a:pt x="1322466" y="4582765"/>
                </a:cubicBezTo>
                <a:cubicBezTo>
                  <a:pt x="1315495" y="4577293"/>
                  <a:pt x="1307750" y="4573162"/>
                  <a:pt x="1304343" y="4561184"/>
                </a:cubicBezTo>
                <a:cubicBezTo>
                  <a:pt x="1306356" y="4559533"/>
                  <a:pt x="1306821" y="4554989"/>
                  <a:pt x="1311003" y="4556641"/>
                </a:cubicBezTo>
                <a:close/>
                <a:moveTo>
                  <a:pt x="1183833" y="4556435"/>
                </a:moveTo>
                <a:cubicBezTo>
                  <a:pt x="1192198" y="4557674"/>
                  <a:pt x="1200408" y="4557157"/>
                  <a:pt x="1209237" y="4566244"/>
                </a:cubicBezTo>
                <a:cubicBezTo>
                  <a:pt x="1208462" y="4568722"/>
                  <a:pt x="1210321" y="4573266"/>
                  <a:pt x="1206138" y="4573885"/>
                </a:cubicBezTo>
                <a:cubicBezTo>
                  <a:pt x="1200717" y="4563249"/>
                  <a:pt x="1185847" y="4566967"/>
                  <a:pt x="1183833" y="4556435"/>
                </a:cubicBezTo>
                <a:close/>
                <a:moveTo>
                  <a:pt x="1165556" y="4556435"/>
                </a:moveTo>
                <a:lnTo>
                  <a:pt x="1165401" y="4559223"/>
                </a:lnTo>
                <a:lnTo>
                  <a:pt x="1165711" y="4559326"/>
                </a:lnTo>
                <a:cubicBezTo>
                  <a:pt x="1170048" y="4562940"/>
                  <a:pt x="1170822" y="4574505"/>
                  <a:pt x="1166486" y="4575537"/>
                </a:cubicBezTo>
                <a:cubicBezTo>
                  <a:pt x="1164162" y="4576157"/>
                  <a:pt x="1160444" y="4573678"/>
                  <a:pt x="1154713" y="4565418"/>
                </a:cubicBezTo>
                <a:lnTo>
                  <a:pt x="1158431" y="4560875"/>
                </a:lnTo>
                <a:lnTo>
                  <a:pt x="1157811" y="4560565"/>
                </a:lnTo>
                <a:cubicBezTo>
                  <a:pt x="1158741" y="4558500"/>
                  <a:pt x="1159980" y="4557261"/>
                  <a:pt x="1161374" y="4556641"/>
                </a:cubicBezTo>
                <a:cubicBezTo>
                  <a:pt x="1162767" y="4556022"/>
                  <a:pt x="1164162" y="4556022"/>
                  <a:pt x="1165556" y="4556435"/>
                </a:cubicBezTo>
                <a:close/>
                <a:moveTo>
                  <a:pt x="1678572" y="4556332"/>
                </a:moveTo>
                <a:cubicBezTo>
                  <a:pt x="1679811" y="4559429"/>
                  <a:pt x="1677023" y="4566554"/>
                  <a:pt x="1675009" y="4568516"/>
                </a:cubicBezTo>
                <a:cubicBezTo>
                  <a:pt x="1672222" y="4568412"/>
                  <a:pt x="1670518" y="4567380"/>
                  <a:pt x="1669588" y="4565831"/>
                </a:cubicBezTo>
                <a:cubicBezTo>
                  <a:pt x="1667110" y="4561184"/>
                  <a:pt x="1672222" y="4552511"/>
                  <a:pt x="1678572" y="4556332"/>
                </a:cubicBezTo>
                <a:close/>
                <a:moveTo>
                  <a:pt x="6692401" y="4556143"/>
                </a:moveTo>
                <a:cubicBezTo>
                  <a:pt x="6693485" y="4556452"/>
                  <a:pt x="6696428" y="4557795"/>
                  <a:pt x="6696118" y="4559034"/>
                </a:cubicBezTo>
                <a:cubicBezTo>
                  <a:pt x="6695808" y="4561409"/>
                  <a:pt x="6694260" y="4563371"/>
                  <a:pt x="6693175" y="4563164"/>
                </a:cubicBezTo>
                <a:cubicBezTo>
                  <a:pt x="6691471" y="4562648"/>
                  <a:pt x="6689613" y="4562235"/>
                  <a:pt x="6689148" y="4560583"/>
                </a:cubicBezTo>
                <a:cubicBezTo>
                  <a:pt x="6688838" y="4559963"/>
                  <a:pt x="6688838" y="4559240"/>
                  <a:pt x="6688993" y="4558311"/>
                </a:cubicBezTo>
                <a:cubicBezTo>
                  <a:pt x="6688993" y="4558311"/>
                  <a:pt x="6688993" y="4558311"/>
                  <a:pt x="6689613" y="4557898"/>
                </a:cubicBezTo>
                <a:cubicBezTo>
                  <a:pt x="6691007" y="4556969"/>
                  <a:pt x="6691781" y="4556556"/>
                  <a:pt x="6692401" y="4556143"/>
                </a:cubicBezTo>
                <a:close/>
                <a:moveTo>
                  <a:pt x="1335942" y="4555712"/>
                </a:moveTo>
                <a:cubicBezTo>
                  <a:pt x="1336561" y="4556228"/>
                  <a:pt x="1337026" y="4556951"/>
                  <a:pt x="1337181" y="4558190"/>
                </a:cubicBezTo>
                <a:cubicBezTo>
                  <a:pt x="1335633" y="4559119"/>
                  <a:pt x="1334392" y="4559429"/>
                  <a:pt x="1332224" y="4559842"/>
                </a:cubicBezTo>
                <a:cubicBezTo>
                  <a:pt x="1330211" y="4556435"/>
                  <a:pt x="1333928" y="4554473"/>
                  <a:pt x="1335942" y="4555712"/>
                </a:cubicBezTo>
                <a:close/>
                <a:moveTo>
                  <a:pt x="948585" y="4555441"/>
                </a:moveTo>
                <a:cubicBezTo>
                  <a:pt x="950714" y="4555118"/>
                  <a:pt x="953270" y="4556177"/>
                  <a:pt x="956446" y="4559326"/>
                </a:cubicBezTo>
                <a:cubicBezTo>
                  <a:pt x="947462" y="4563766"/>
                  <a:pt x="943745" y="4576570"/>
                  <a:pt x="935380" y="4576776"/>
                </a:cubicBezTo>
                <a:lnTo>
                  <a:pt x="939252" y="4568516"/>
                </a:lnTo>
                <a:lnTo>
                  <a:pt x="937858" y="4567277"/>
                </a:lnTo>
                <a:cubicBezTo>
                  <a:pt x="937083" y="4566347"/>
                  <a:pt x="936309" y="4564179"/>
                  <a:pt x="935999" y="4562114"/>
                </a:cubicBezTo>
                <a:cubicBezTo>
                  <a:pt x="935844" y="4559945"/>
                  <a:pt x="935999" y="4557880"/>
                  <a:pt x="936774" y="4556641"/>
                </a:cubicBezTo>
                <a:cubicBezTo>
                  <a:pt x="938478" y="4557777"/>
                  <a:pt x="940027" y="4558913"/>
                  <a:pt x="941576" y="4560049"/>
                </a:cubicBezTo>
                <a:cubicBezTo>
                  <a:pt x="941111" y="4559945"/>
                  <a:pt x="941111" y="4561907"/>
                  <a:pt x="941421" y="4563972"/>
                </a:cubicBezTo>
                <a:lnTo>
                  <a:pt x="943280" y="4559842"/>
                </a:lnTo>
                <a:cubicBezTo>
                  <a:pt x="944751" y="4557467"/>
                  <a:pt x="946455" y="4555763"/>
                  <a:pt x="948585" y="4555441"/>
                </a:cubicBezTo>
                <a:close/>
                <a:moveTo>
                  <a:pt x="1339349" y="4555196"/>
                </a:moveTo>
                <a:cubicBezTo>
                  <a:pt x="1340434" y="4555609"/>
                  <a:pt x="1340434" y="4555609"/>
                  <a:pt x="1339814" y="4556744"/>
                </a:cubicBezTo>
                <a:cubicBezTo>
                  <a:pt x="1339349" y="4556538"/>
                  <a:pt x="1339195" y="4556332"/>
                  <a:pt x="1339349" y="4556125"/>
                </a:cubicBezTo>
                <a:cubicBezTo>
                  <a:pt x="1339349" y="4555815"/>
                  <a:pt x="1339504" y="4555609"/>
                  <a:pt x="1339349" y="4555196"/>
                </a:cubicBezTo>
                <a:close/>
                <a:moveTo>
                  <a:pt x="1214967" y="4554886"/>
                </a:moveTo>
                <a:cubicBezTo>
                  <a:pt x="1216207" y="4555196"/>
                  <a:pt x="1217136" y="4555299"/>
                  <a:pt x="1218066" y="4555402"/>
                </a:cubicBezTo>
                <a:lnTo>
                  <a:pt x="1218995" y="4555815"/>
                </a:lnTo>
                <a:lnTo>
                  <a:pt x="1218995" y="4555609"/>
                </a:lnTo>
                <a:lnTo>
                  <a:pt x="1221474" y="4555712"/>
                </a:lnTo>
                <a:lnTo>
                  <a:pt x="1222248" y="4555505"/>
                </a:lnTo>
                <a:lnTo>
                  <a:pt x="1222402" y="4555712"/>
                </a:lnTo>
                <a:lnTo>
                  <a:pt x="1223332" y="4555712"/>
                </a:lnTo>
                <a:cubicBezTo>
                  <a:pt x="1222402" y="4556538"/>
                  <a:pt x="1223022" y="4558397"/>
                  <a:pt x="1222093" y="4559223"/>
                </a:cubicBezTo>
                <a:cubicBezTo>
                  <a:pt x="1222093" y="4559223"/>
                  <a:pt x="1219460" y="4560152"/>
                  <a:pt x="1219460" y="4560152"/>
                </a:cubicBezTo>
                <a:cubicBezTo>
                  <a:pt x="1218995" y="4559739"/>
                  <a:pt x="1218840" y="4559429"/>
                  <a:pt x="1218995" y="4559326"/>
                </a:cubicBezTo>
                <a:cubicBezTo>
                  <a:pt x="1218995" y="4559223"/>
                  <a:pt x="1219150" y="4559223"/>
                  <a:pt x="1219614" y="4559223"/>
                </a:cubicBezTo>
                <a:lnTo>
                  <a:pt x="1219305" y="4557983"/>
                </a:lnTo>
                <a:lnTo>
                  <a:pt x="1218066" y="4558706"/>
                </a:lnTo>
                <a:cubicBezTo>
                  <a:pt x="1216517" y="4559533"/>
                  <a:pt x="1214967" y="4560255"/>
                  <a:pt x="1213574" y="4560152"/>
                </a:cubicBezTo>
                <a:cubicBezTo>
                  <a:pt x="1212955" y="4560049"/>
                  <a:pt x="1212334" y="4559842"/>
                  <a:pt x="1212025" y="4559429"/>
                </a:cubicBezTo>
                <a:cubicBezTo>
                  <a:pt x="1211560" y="4559016"/>
                  <a:pt x="1211405" y="4558397"/>
                  <a:pt x="1211560" y="4557157"/>
                </a:cubicBezTo>
                <a:cubicBezTo>
                  <a:pt x="1211250" y="4555196"/>
                  <a:pt x="1212025" y="4554782"/>
                  <a:pt x="1214967" y="4554886"/>
                </a:cubicBezTo>
                <a:close/>
                <a:moveTo>
                  <a:pt x="1386902" y="4554473"/>
                </a:moveTo>
                <a:cubicBezTo>
                  <a:pt x="1389381" y="4553853"/>
                  <a:pt x="1391859" y="4553957"/>
                  <a:pt x="1394647" y="4555196"/>
                </a:cubicBezTo>
                <a:cubicBezTo>
                  <a:pt x="1414784" y="4563353"/>
                  <a:pt x="1407504" y="4595156"/>
                  <a:pt x="1389071" y="4592058"/>
                </a:cubicBezTo>
                <a:lnTo>
                  <a:pt x="1382875" y="4589373"/>
                </a:lnTo>
                <a:lnTo>
                  <a:pt x="1385819" y="4592781"/>
                </a:lnTo>
                <a:lnTo>
                  <a:pt x="1386438" y="4593917"/>
                </a:lnTo>
                <a:lnTo>
                  <a:pt x="1388142" y="4595466"/>
                </a:lnTo>
                <a:lnTo>
                  <a:pt x="1387987" y="4602487"/>
                </a:lnTo>
                <a:lnTo>
                  <a:pt x="1388296" y="4601558"/>
                </a:lnTo>
                <a:cubicBezTo>
                  <a:pt x="1389071" y="4603107"/>
                  <a:pt x="1392479" y="4601971"/>
                  <a:pt x="1391704" y="4604449"/>
                </a:cubicBezTo>
                <a:lnTo>
                  <a:pt x="1387987" y="4602797"/>
                </a:lnTo>
                <a:lnTo>
                  <a:pt x="1387987" y="4604139"/>
                </a:lnTo>
                <a:cubicBezTo>
                  <a:pt x="1387058" y="4603519"/>
                  <a:pt x="1386283" y="4604655"/>
                  <a:pt x="1385664" y="4605688"/>
                </a:cubicBezTo>
                <a:cubicBezTo>
                  <a:pt x="1381946" y="4606411"/>
                  <a:pt x="1378848" y="4603313"/>
                  <a:pt x="1377145" y="4599596"/>
                </a:cubicBezTo>
                <a:lnTo>
                  <a:pt x="1376524" y="4595879"/>
                </a:lnTo>
                <a:lnTo>
                  <a:pt x="1374821" y="4593813"/>
                </a:lnTo>
                <a:lnTo>
                  <a:pt x="1373117" y="4592884"/>
                </a:lnTo>
                <a:lnTo>
                  <a:pt x="1372342" y="4599286"/>
                </a:lnTo>
                <a:lnTo>
                  <a:pt x="1370174" y="4602384"/>
                </a:lnTo>
                <a:lnTo>
                  <a:pt x="1371103" y="4604139"/>
                </a:lnTo>
                <a:cubicBezTo>
                  <a:pt x="1370638" y="4605069"/>
                  <a:pt x="1370019" y="4605584"/>
                  <a:pt x="1369244" y="4605998"/>
                </a:cubicBezTo>
                <a:lnTo>
                  <a:pt x="1367540" y="4606411"/>
                </a:lnTo>
                <a:lnTo>
                  <a:pt x="1365837" y="4608992"/>
                </a:lnTo>
                <a:cubicBezTo>
                  <a:pt x="1359486" y="4607650"/>
                  <a:pt x="1354994" y="4603726"/>
                  <a:pt x="1352670" y="4598770"/>
                </a:cubicBezTo>
                <a:cubicBezTo>
                  <a:pt x="1351586" y="4596705"/>
                  <a:pt x="1350967" y="4594433"/>
                  <a:pt x="1350657" y="4592058"/>
                </a:cubicBezTo>
                <a:lnTo>
                  <a:pt x="1350657" y="4591955"/>
                </a:lnTo>
                <a:lnTo>
                  <a:pt x="1346475" y="4593297"/>
                </a:lnTo>
                <a:cubicBezTo>
                  <a:pt x="1340279" y="4594020"/>
                  <a:pt x="1339039" y="4589270"/>
                  <a:pt x="1339969" y="4584727"/>
                </a:cubicBezTo>
                <a:lnTo>
                  <a:pt x="1340434" y="4583798"/>
                </a:lnTo>
                <a:lnTo>
                  <a:pt x="1340279" y="4583798"/>
                </a:lnTo>
                <a:cubicBezTo>
                  <a:pt x="1337955" y="4581423"/>
                  <a:pt x="1338575" y="4577706"/>
                  <a:pt x="1337955" y="4578118"/>
                </a:cubicBezTo>
                <a:cubicBezTo>
                  <a:pt x="1336871" y="4577809"/>
                  <a:pt x="1336871" y="4577809"/>
                  <a:pt x="1336096" y="4578325"/>
                </a:cubicBezTo>
                <a:cubicBezTo>
                  <a:pt x="1335787" y="4577499"/>
                  <a:pt x="1334238" y="4576467"/>
                  <a:pt x="1333153" y="4576260"/>
                </a:cubicBezTo>
                <a:cubicBezTo>
                  <a:pt x="1333928" y="4575744"/>
                  <a:pt x="1334703" y="4575331"/>
                  <a:pt x="1334238" y="4574505"/>
                </a:cubicBezTo>
                <a:cubicBezTo>
                  <a:pt x="1336561" y="4575124"/>
                  <a:pt x="1336871" y="4575847"/>
                  <a:pt x="1337955" y="4576157"/>
                </a:cubicBezTo>
                <a:cubicBezTo>
                  <a:pt x="1337646" y="4575434"/>
                  <a:pt x="1338730" y="4575744"/>
                  <a:pt x="1338730" y="4575744"/>
                </a:cubicBezTo>
                <a:cubicBezTo>
                  <a:pt x="1338730" y="4575744"/>
                  <a:pt x="1338730" y="4575640"/>
                  <a:pt x="1339504" y="4573266"/>
                </a:cubicBezTo>
                <a:cubicBezTo>
                  <a:pt x="1339504" y="4573266"/>
                  <a:pt x="1341673" y="4568000"/>
                  <a:pt x="1346939" y="4568619"/>
                </a:cubicBezTo>
                <a:cubicBezTo>
                  <a:pt x="1346475" y="4569858"/>
                  <a:pt x="1353291" y="4571510"/>
                  <a:pt x="1353291" y="4575434"/>
                </a:cubicBezTo>
                <a:lnTo>
                  <a:pt x="1353291" y="4577396"/>
                </a:lnTo>
                <a:lnTo>
                  <a:pt x="1357472" y="4570891"/>
                </a:lnTo>
                <a:cubicBezTo>
                  <a:pt x="1358557" y="4571304"/>
                  <a:pt x="1359641" y="4571613"/>
                  <a:pt x="1360106" y="4570478"/>
                </a:cubicBezTo>
                <a:cubicBezTo>
                  <a:pt x="1368315" y="4572749"/>
                  <a:pt x="1373117" y="4581526"/>
                  <a:pt x="1373427" y="4590509"/>
                </a:cubicBezTo>
                <a:lnTo>
                  <a:pt x="1373427" y="4590716"/>
                </a:lnTo>
                <a:lnTo>
                  <a:pt x="1374821" y="4590406"/>
                </a:lnTo>
                <a:cubicBezTo>
                  <a:pt x="1375285" y="4591129"/>
                  <a:pt x="1376060" y="4590716"/>
                  <a:pt x="1375595" y="4591851"/>
                </a:cubicBezTo>
                <a:lnTo>
                  <a:pt x="1377145" y="4592368"/>
                </a:lnTo>
                <a:lnTo>
                  <a:pt x="1378538" y="4590200"/>
                </a:lnTo>
                <a:lnTo>
                  <a:pt x="1381017" y="4589683"/>
                </a:lnTo>
                <a:lnTo>
                  <a:pt x="1380552" y="4588444"/>
                </a:lnTo>
                <a:cubicBezTo>
                  <a:pt x="1372497" y="4582352"/>
                  <a:pt x="1371568" y="4571613"/>
                  <a:pt x="1364443" y="4560772"/>
                </a:cubicBezTo>
                <a:lnTo>
                  <a:pt x="1366611" y="4560875"/>
                </a:lnTo>
                <a:lnTo>
                  <a:pt x="1366456" y="4559842"/>
                </a:lnTo>
                <a:cubicBezTo>
                  <a:pt x="1368470" y="4557157"/>
                  <a:pt x="1371413" y="4556228"/>
                  <a:pt x="1373891" y="4556951"/>
                </a:cubicBezTo>
                <a:lnTo>
                  <a:pt x="1376835" y="4559223"/>
                </a:lnTo>
                <a:lnTo>
                  <a:pt x="1381791" y="4556641"/>
                </a:lnTo>
                <a:cubicBezTo>
                  <a:pt x="1383495" y="4555712"/>
                  <a:pt x="1385199" y="4554886"/>
                  <a:pt x="1386902" y="4554473"/>
                </a:cubicBezTo>
                <a:close/>
                <a:moveTo>
                  <a:pt x="887517" y="4554060"/>
                </a:moveTo>
                <a:cubicBezTo>
                  <a:pt x="884109" y="4555918"/>
                  <a:pt x="883335" y="4558810"/>
                  <a:pt x="881476" y="4559429"/>
                </a:cubicBezTo>
                <a:cubicBezTo>
                  <a:pt x="880856" y="4559636"/>
                  <a:pt x="880082" y="4559533"/>
                  <a:pt x="878997" y="4559119"/>
                </a:cubicBezTo>
                <a:cubicBezTo>
                  <a:pt x="878688" y="4555505"/>
                  <a:pt x="884264" y="4552408"/>
                  <a:pt x="887517" y="4554060"/>
                </a:cubicBezTo>
                <a:close/>
                <a:moveTo>
                  <a:pt x="1476433" y="4553647"/>
                </a:moveTo>
                <a:cubicBezTo>
                  <a:pt x="1478756" y="4554267"/>
                  <a:pt x="1480615" y="4554060"/>
                  <a:pt x="1481080" y="4554782"/>
                </a:cubicBezTo>
                <a:cubicBezTo>
                  <a:pt x="1481699" y="4554370"/>
                  <a:pt x="1482784" y="4554576"/>
                  <a:pt x="1483558" y="4554060"/>
                </a:cubicBezTo>
                <a:cubicBezTo>
                  <a:pt x="1483558" y="4554060"/>
                  <a:pt x="1483558" y="4554163"/>
                  <a:pt x="1484023" y="4554886"/>
                </a:cubicBezTo>
                <a:cubicBezTo>
                  <a:pt x="1482319" y="4555402"/>
                  <a:pt x="1480615" y="4556435"/>
                  <a:pt x="1478911" y="4557364"/>
                </a:cubicBezTo>
                <a:lnTo>
                  <a:pt x="1475658" y="4558500"/>
                </a:lnTo>
                <a:lnTo>
                  <a:pt x="1481389" y="4562217"/>
                </a:lnTo>
                <a:cubicBezTo>
                  <a:pt x="1488204" y="4565108"/>
                  <a:pt x="1495794" y="4565831"/>
                  <a:pt x="1498428" y="4571923"/>
                </a:cubicBezTo>
                <a:cubicBezTo>
                  <a:pt x="1495330" y="4571304"/>
                  <a:pt x="1491303" y="4571510"/>
                  <a:pt x="1487585" y="4571510"/>
                </a:cubicBezTo>
                <a:cubicBezTo>
                  <a:pt x="1483713" y="4571510"/>
                  <a:pt x="1479995" y="4571304"/>
                  <a:pt x="1477517" y="4569858"/>
                </a:cubicBezTo>
                <a:lnTo>
                  <a:pt x="1475193" y="4567586"/>
                </a:lnTo>
                <a:lnTo>
                  <a:pt x="1474574" y="4568103"/>
                </a:lnTo>
                <a:cubicBezTo>
                  <a:pt x="1473954" y="4565625"/>
                  <a:pt x="1472095" y="4565418"/>
                  <a:pt x="1471321" y="4562940"/>
                </a:cubicBezTo>
                <a:lnTo>
                  <a:pt x="1474419" y="4561907"/>
                </a:lnTo>
                <a:lnTo>
                  <a:pt x="1475038" y="4558706"/>
                </a:lnTo>
                <a:lnTo>
                  <a:pt x="1474109" y="4559016"/>
                </a:lnTo>
                <a:cubicBezTo>
                  <a:pt x="1473645" y="4558810"/>
                  <a:pt x="1473025" y="4558706"/>
                  <a:pt x="1472715" y="4558293"/>
                </a:cubicBezTo>
                <a:cubicBezTo>
                  <a:pt x="1472405" y="4557880"/>
                  <a:pt x="1472250" y="4557261"/>
                  <a:pt x="1472715" y="4556022"/>
                </a:cubicBezTo>
                <a:cubicBezTo>
                  <a:pt x="1472715" y="4554060"/>
                  <a:pt x="1473335" y="4553647"/>
                  <a:pt x="1476433" y="4553647"/>
                </a:cubicBezTo>
                <a:close/>
                <a:moveTo>
                  <a:pt x="5934474" y="4552077"/>
                </a:moveTo>
                <a:cubicBezTo>
                  <a:pt x="5936197" y="4552994"/>
                  <a:pt x="5937127" y="4555420"/>
                  <a:pt x="5936662" y="4558001"/>
                </a:cubicBezTo>
                <a:cubicBezTo>
                  <a:pt x="5936352" y="4559653"/>
                  <a:pt x="5935423" y="4561409"/>
                  <a:pt x="5933719" y="4562855"/>
                </a:cubicBezTo>
                <a:cubicBezTo>
                  <a:pt x="5933099" y="4562855"/>
                  <a:pt x="5932325" y="4562441"/>
                  <a:pt x="5931550" y="4561925"/>
                </a:cubicBezTo>
                <a:lnTo>
                  <a:pt x="5931396" y="4561719"/>
                </a:lnTo>
                <a:lnTo>
                  <a:pt x="5928452" y="4566055"/>
                </a:lnTo>
                <a:cubicBezTo>
                  <a:pt x="5927523" y="4565436"/>
                  <a:pt x="5926903" y="4564610"/>
                  <a:pt x="5926594" y="4563577"/>
                </a:cubicBezTo>
                <a:cubicBezTo>
                  <a:pt x="5925974" y="4562029"/>
                  <a:pt x="5926129" y="4560170"/>
                  <a:pt x="5926594" y="4558414"/>
                </a:cubicBezTo>
                <a:lnTo>
                  <a:pt x="5927988" y="4556246"/>
                </a:lnTo>
                <a:lnTo>
                  <a:pt x="5927523" y="4555213"/>
                </a:lnTo>
                <a:cubicBezTo>
                  <a:pt x="5930233" y="4551755"/>
                  <a:pt x="5932751" y="4551161"/>
                  <a:pt x="5934474" y="4552077"/>
                </a:cubicBezTo>
                <a:close/>
                <a:moveTo>
                  <a:pt x="1240061" y="4551685"/>
                </a:moveTo>
                <a:cubicBezTo>
                  <a:pt x="1239906" y="4553647"/>
                  <a:pt x="1240526" y="4555299"/>
                  <a:pt x="1240370" y="4557261"/>
                </a:cubicBezTo>
                <a:cubicBezTo>
                  <a:pt x="1238047" y="4558397"/>
                  <a:pt x="1236963" y="4561081"/>
                  <a:pt x="1234485" y="4561288"/>
                </a:cubicBezTo>
                <a:cubicBezTo>
                  <a:pt x="1233710" y="4561391"/>
                  <a:pt x="1232781" y="4561184"/>
                  <a:pt x="1231696" y="4560565"/>
                </a:cubicBezTo>
                <a:cubicBezTo>
                  <a:pt x="1229838" y="4555815"/>
                  <a:pt x="1234639" y="4549620"/>
                  <a:pt x="1240061" y="4551685"/>
                </a:cubicBezTo>
                <a:close/>
                <a:moveTo>
                  <a:pt x="5958192" y="4550361"/>
                </a:moveTo>
                <a:cubicBezTo>
                  <a:pt x="5958192" y="4550361"/>
                  <a:pt x="5958192" y="4550361"/>
                  <a:pt x="5958967" y="4550361"/>
                </a:cubicBezTo>
                <a:cubicBezTo>
                  <a:pt x="5958812" y="4552116"/>
                  <a:pt x="5959122" y="4554078"/>
                  <a:pt x="5959277" y="4555936"/>
                </a:cubicBezTo>
                <a:lnTo>
                  <a:pt x="5958812" y="4560893"/>
                </a:lnTo>
                <a:lnTo>
                  <a:pt x="5960361" y="4560686"/>
                </a:lnTo>
                <a:cubicBezTo>
                  <a:pt x="5966247" y="4560067"/>
                  <a:pt x="5972133" y="4559963"/>
                  <a:pt x="5977554" y="4561512"/>
                </a:cubicBezTo>
                <a:cubicBezTo>
                  <a:pt x="5973527" y="4566159"/>
                  <a:pt x="5966247" y="4570289"/>
                  <a:pt x="5959432" y="4571425"/>
                </a:cubicBezTo>
                <a:cubicBezTo>
                  <a:pt x="5957573" y="4571631"/>
                  <a:pt x="5956024" y="4571631"/>
                  <a:pt x="5954320" y="4571528"/>
                </a:cubicBezTo>
                <a:cubicBezTo>
                  <a:pt x="5949364" y="4571012"/>
                  <a:pt x="5945181" y="4568430"/>
                  <a:pt x="5943322" y="4562751"/>
                </a:cubicBezTo>
                <a:lnTo>
                  <a:pt x="5955714" y="4561202"/>
                </a:lnTo>
                <a:lnTo>
                  <a:pt x="5955404" y="4561202"/>
                </a:lnTo>
                <a:cubicBezTo>
                  <a:pt x="5953700" y="4560376"/>
                  <a:pt x="5953545" y="4559550"/>
                  <a:pt x="5954785" y="4556763"/>
                </a:cubicBezTo>
                <a:cubicBezTo>
                  <a:pt x="5956334" y="4554904"/>
                  <a:pt x="5956798" y="4553148"/>
                  <a:pt x="5957728" y="4553045"/>
                </a:cubicBezTo>
                <a:cubicBezTo>
                  <a:pt x="5957573" y="4552219"/>
                  <a:pt x="5958192" y="4551290"/>
                  <a:pt x="5958192" y="4550361"/>
                </a:cubicBezTo>
                <a:close/>
                <a:moveTo>
                  <a:pt x="1582847" y="4550343"/>
                </a:moveTo>
                <a:cubicBezTo>
                  <a:pt x="1582847" y="4550343"/>
                  <a:pt x="1582847" y="4550343"/>
                  <a:pt x="1588113" y="4554060"/>
                </a:cubicBezTo>
                <a:cubicBezTo>
                  <a:pt x="1587803" y="4554473"/>
                  <a:pt x="1587338" y="4554473"/>
                  <a:pt x="1586874" y="4554267"/>
                </a:cubicBezTo>
                <a:cubicBezTo>
                  <a:pt x="1586409" y="4554060"/>
                  <a:pt x="1586099" y="4553544"/>
                  <a:pt x="1585635" y="4553027"/>
                </a:cubicBezTo>
                <a:cubicBezTo>
                  <a:pt x="1584705" y="4552098"/>
                  <a:pt x="1583776" y="4551272"/>
                  <a:pt x="1582847" y="4550343"/>
                </a:cubicBezTo>
                <a:close/>
                <a:moveTo>
                  <a:pt x="6788746" y="4550257"/>
                </a:moveTo>
                <a:cubicBezTo>
                  <a:pt x="6788746" y="4550257"/>
                  <a:pt x="6789830" y="4549844"/>
                  <a:pt x="6791380" y="4550773"/>
                </a:cubicBezTo>
                <a:cubicBezTo>
                  <a:pt x="6794322" y="4550567"/>
                  <a:pt x="6795561" y="4554078"/>
                  <a:pt x="6795561" y="4554078"/>
                </a:cubicBezTo>
                <a:cubicBezTo>
                  <a:pt x="6795561" y="4554078"/>
                  <a:pt x="6795561" y="4554078"/>
                  <a:pt x="6795872" y="4553355"/>
                </a:cubicBezTo>
                <a:cubicBezTo>
                  <a:pt x="6795252" y="4554904"/>
                  <a:pt x="6795252" y="4556763"/>
                  <a:pt x="6794632" y="4558311"/>
                </a:cubicBezTo>
                <a:cubicBezTo>
                  <a:pt x="6792773" y="4559137"/>
                  <a:pt x="6791380" y="4559653"/>
                  <a:pt x="6790140" y="4559757"/>
                </a:cubicBezTo>
                <a:cubicBezTo>
                  <a:pt x="6786887" y="4560170"/>
                  <a:pt x="6786268" y="4557588"/>
                  <a:pt x="6784719" y="4554594"/>
                </a:cubicBezTo>
                <a:cubicBezTo>
                  <a:pt x="6786268" y="4553562"/>
                  <a:pt x="6786423" y="4550877"/>
                  <a:pt x="6788746" y="4550257"/>
                </a:cubicBezTo>
                <a:close/>
                <a:moveTo>
                  <a:pt x="1525686" y="4550237"/>
                </a:moveTo>
                <a:lnTo>
                  <a:pt x="1525690" y="4550239"/>
                </a:lnTo>
                <a:cubicBezTo>
                  <a:pt x="1525690" y="4550239"/>
                  <a:pt x="1525690" y="4550239"/>
                  <a:pt x="1525225" y="4550962"/>
                </a:cubicBezTo>
                <a:close/>
                <a:moveTo>
                  <a:pt x="1119397" y="4549723"/>
                </a:moveTo>
                <a:lnTo>
                  <a:pt x="1119552" y="4550033"/>
                </a:lnTo>
                <a:lnTo>
                  <a:pt x="1120791" y="4550033"/>
                </a:lnTo>
                <a:cubicBezTo>
                  <a:pt x="1121565" y="4550343"/>
                  <a:pt x="1122340" y="4550756"/>
                  <a:pt x="1123269" y="4551478"/>
                </a:cubicBezTo>
                <a:cubicBezTo>
                  <a:pt x="1124198" y="4552305"/>
                  <a:pt x="1124198" y="4552408"/>
                  <a:pt x="1124198" y="4553234"/>
                </a:cubicBezTo>
                <a:cubicBezTo>
                  <a:pt x="1124663" y="4554163"/>
                  <a:pt x="1125128" y="4554886"/>
                  <a:pt x="1125438" y="4555505"/>
                </a:cubicBezTo>
                <a:lnTo>
                  <a:pt x="1125438" y="4555918"/>
                </a:lnTo>
                <a:lnTo>
                  <a:pt x="1126522" y="4556744"/>
                </a:lnTo>
                <a:cubicBezTo>
                  <a:pt x="1129155" y="4558397"/>
                  <a:pt x="1132253" y="4559429"/>
                  <a:pt x="1135041" y="4560565"/>
                </a:cubicBezTo>
                <a:lnTo>
                  <a:pt x="1135816" y="4559016"/>
                </a:lnTo>
                <a:cubicBezTo>
                  <a:pt x="1137055" y="4557983"/>
                  <a:pt x="1138449" y="4557261"/>
                  <a:pt x="1139378" y="4556022"/>
                </a:cubicBezTo>
                <a:cubicBezTo>
                  <a:pt x="1142476" y="4558087"/>
                  <a:pt x="1143406" y="4560978"/>
                  <a:pt x="1142941" y="4563146"/>
                </a:cubicBezTo>
                <a:lnTo>
                  <a:pt x="1142011" y="4564799"/>
                </a:lnTo>
                <a:lnTo>
                  <a:pt x="1143406" y="4566038"/>
                </a:lnTo>
                <a:cubicBezTo>
                  <a:pt x="1144180" y="4567070"/>
                  <a:pt x="1144954" y="4568309"/>
                  <a:pt x="1145574" y="4569755"/>
                </a:cubicBezTo>
                <a:cubicBezTo>
                  <a:pt x="1146659" y="4572543"/>
                  <a:pt x="1147278" y="4575124"/>
                  <a:pt x="1147278" y="4577602"/>
                </a:cubicBezTo>
                <a:lnTo>
                  <a:pt x="1146349" y="4581526"/>
                </a:lnTo>
                <a:lnTo>
                  <a:pt x="1146659" y="4581733"/>
                </a:lnTo>
                <a:cubicBezTo>
                  <a:pt x="1147433" y="4583075"/>
                  <a:pt x="1147433" y="4585346"/>
                  <a:pt x="1146039" y="4587928"/>
                </a:cubicBezTo>
                <a:lnTo>
                  <a:pt x="1144025" y="4586689"/>
                </a:lnTo>
                <a:lnTo>
                  <a:pt x="1141857" y="4589683"/>
                </a:lnTo>
                <a:lnTo>
                  <a:pt x="1138914" y="4591542"/>
                </a:lnTo>
                <a:lnTo>
                  <a:pt x="1138139" y="4593917"/>
                </a:lnTo>
                <a:lnTo>
                  <a:pt x="1140463" y="4593401"/>
                </a:lnTo>
                <a:cubicBezTo>
                  <a:pt x="1141237" y="4593504"/>
                  <a:pt x="1142321" y="4594020"/>
                  <a:pt x="1143406" y="4594949"/>
                </a:cubicBezTo>
                <a:cubicBezTo>
                  <a:pt x="1143560" y="4597531"/>
                  <a:pt x="1140308" y="4601764"/>
                  <a:pt x="1137830" y="4601661"/>
                </a:cubicBezTo>
                <a:cubicBezTo>
                  <a:pt x="1137055" y="4600732"/>
                  <a:pt x="1136126" y="4599802"/>
                  <a:pt x="1135351" y="4598976"/>
                </a:cubicBezTo>
                <a:lnTo>
                  <a:pt x="1135971" y="4597737"/>
                </a:lnTo>
                <a:lnTo>
                  <a:pt x="1133183" y="4601454"/>
                </a:lnTo>
                <a:cubicBezTo>
                  <a:pt x="1129619" y="4605069"/>
                  <a:pt x="1124973" y="4607134"/>
                  <a:pt x="1119861" y="4606514"/>
                </a:cubicBezTo>
                <a:cubicBezTo>
                  <a:pt x="1117383" y="4606101"/>
                  <a:pt x="1114595" y="4605069"/>
                  <a:pt x="1111807" y="4603107"/>
                </a:cubicBezTo>
                <a:cubicBezTo>
                  <a:pt x="1109948" y="4601661"/>
                  <a:pt x="1108709" y="4599906"/>
                  <a:pt x="1107625" y="4597944"/>
                </a:cubicBezTo>
                <a:lnTo>
                  <a:pt x="1106075" y="4593297"/>
                </a:lnTo>
                <a:lnTo>
                  <a:pt x="1104681" y="4592368"/>
                </a:lnTo>
                <a:lnTo>
                  <a:pt x="1105456" y="4591748"/>
                </a:lnTo>
                <a:lnTo>
                  <a:pt x="1104062" y="4587721"/>
                </a:lnTo>
                <a:cubicBezTo>
                  <a:pt x="1102978" y="4583901"/>
                  <a:pt x="1101739" y="4579874"/>
                  <a:pt x="1099725" y="4575847"/>
                </a:cubicBezTo>
                <a:lnTo>
                  <a:pt x="1101119" y="4575950"/>
                </a:lnTo>
                <a:lnTo>
                  <a:pt x="1100345" y="4575021"/>
                </a:lnTo>
                <a:cubicBezTo>
                  <a:pt x="1099105" y="4573369"/>
                  <a:pt x="1098330" y="4571716"/>
                  <a:pt x="1098330" y="4570271"/>
                </a:cubicBezTo>
                <a:cubicBezTo>
                  <a:pt x="1098330" y="4569342"/>
                  <a:pt x="1098485" y="4568412"/>
                  <a:pt x="1099260" y="4567586"/>
                </a:cubicBezTo>
                <a:cubicBezTo>
                  <a:pt x="1102048" y="4564179"/>
                  <a:pt x="1107315" y="4564076"/>
                  <a:pt x="1112117" y="4566760"/>
                </a:cubicBezTo>
                <a:lnTo>
                  <a:pt x="1112891" y="4567483"/>
                </a:lnTo>
                <a:lnTo>
                  <a:pt x="1116763" y="4557880"/>
                </a:lnTo>
                <a:lnTo>
                  <a:pt x="1117693" y="4555092"/>
                </a:lnTo>
                <a:lnTo>
                  <a:pt x="1117074" y="4554163"/>
                </a:lnTo>
                <a:cubicBezTo>
                  <a:pt x="1116608" y="4553131"/>
                  <a:pt x="1116454" y="4551995"/>
                  <a:pt x="1115524" y="4551066"/>
                </a:cubicBezTo>
                <a:cubicBezTo>
                  <a:pt x="1116299" y="4550756"/>
                  <a:pt x="1117383" y="4550136"/>
                  <a:pt x="1118622" y="4549930"/>
                </a:cubicBezTo>
                <a:lnTo>
                  <a:pt x="1119242" y="4550033"/>
                </a:lnTo>
                <a:close/>
                <a:moveTo>
                  <a:pt x="1517016" y="4549310"/>
                </a:moveTo>
                <a:cubicBezTo>
                  <a:pt x="1517016" y="4549310"/>
                  <a:pt x="1518100" y="4549826"/>
                  <a:pt x="1519184" y="4550239"/>
                </a:cubicBezTo>
                <a:cubicBezTo>
                  <a:pt x="1520268" y="4550652"/>
                  <a:pt x="1521043" y="4550239"/>
                  <a:pt x="1521043" y="4550239"/>
                </a:cubicBezTo>
                <a:cubicBezTo>
                  <a:pt x="1522127" y="4550652"/>
                  <a:pt x="1522437" y="4551478"/>
                  <a:pt x="1521972" y="4552614"/>
                </a:cubicBezTo>
                <a:cubicBezTo>
                  <a:pt x="1521972" y="4552614"/>
                  <a:pt x="1520114" y="4552614"/>
                  <a:pt x="1520114" y="4552614"/>
                </a:cubicBezTo>
                <a:cubicBezTo>
                  <a:pt x="1517945" y="4551788"/>
                  <a:pt x="1516861" y="4551375"/>
                  <a:pt x="1515002" y="4551272"/>
                </a:cubicBezTo>
                <a:cubicBezTo>
                  <a:pt x="1515157" y="4549310"/>
                  <a:pt x="1515931" y="4548897"/>
                  <a:pt x="1517016" y="4549310"/>
                </a:cubicBezTo>
                <a:close/>
                <a:moveTo>
                  <a:pt x="872957" y="4549310"/>
                </a:moveTo>
                <a:cubicBezTo>
                  <a:pt x="872957" y="4549310"/>
                  <a:pt x="872957" y="4549310"/>
                  <a:pt x="873732" y="4549413"/>
                </a:cubicBezTo>
                <a:cubicBezTo>
                  <a:pt x="873112" y="4552821"/>
                  <a:pt x="874196" y="4557261"/>
                  <a:pt x="872647" y="4559842"/>
                </a:cubicBezTo>
                <a:cubicBezTo>
                  <a:pt x="872182" y="4560255"/>
                  <a:pt x="871872" y="4560668"/>
                  <a:pt x="871253" y="4560772"/>
                </a:cubicBezTo>
                <a:cubicBezTo>
                  <a:pt x="870788" y="4560875"/>
                  <a:pt x="870169" y="4560565"/>
                  <a:pt x="869239" y="4559739"/>
                </a:cubicBezTo>
                <a:cubicBezTo>
                  <a:pt x="867536" y="4558706"/>
                  <a:pt x="867536" y="4557880"/>
                  <a:pt x="869084" y="4555299"/>
                </a:cubicBezTo>
                <a:cubicBezTo>
                  <a:pt x="870633" y="4553647"/>
                  <a:pt x="871408" y="4551891"/>
                  <a:pt x="872182" y="4551995"/>
                </a:cubicBezTo>
                <a:cubicBezTo>
                  <a:pt x="872182" y="4551066"/>
                  <a:pt x="872957" y="4550239"/>
                  <a:pt x="872957" y="4549310"/>
                </a:cubicBezTo>
                <a:close/>
                <a:moveTo>
                  <a:pt x="5997536" y="4549225"/>
                </a:moveTo>
                <a:cubicBezTo>
                  <a:pt x="6000324" y="4550154"/>
                  <a:pt x="6002493" y="4548605"/>
                  <a:pt x="6006520" y="4550877"/>
                </a:cubicBezTo>
                <a:lnTo>
                  <a:pt x="6003887" y="4562338"/>
                </a:lnTo>
                <a:lnTo>
                  <a:pt x="6004352" y="4563887"/>
                </a:lnTo>
                <a:cubicBezTo>
                  <a:pt x="6004352" y="4564816"/>
                  <a:pt x="6004197" y="4565642"/>
                  <a:pt x="6003887" y="4566055"/>
                </a:cubicBezTo>
                <a:lnTo>
                  <a:pt x="6002957" y="4566468"/>
                </a:lnTo>
                <a:lnTo>
                  <a:pt x="6001409" y="4573490"/>
                </a:lnTo>
                <a:cubicBezTo>
                  <a:pt x="6000169" y="4580821"/>
                  <a:pt x="5998775" y="4587739"/>
                  <a:pt x="5996607" y="4594038"/>
                </a:cubicBezTo>
                <a:cubicBezTo>
                  <a:pt x="5989172" y="4582267"/>
                  <a:pt x="5995367" y="4564713"/>
                  <a:pt x="5997536" y="4549225"/>
                </a:cubicBezTo>
                <a:close/>
                <a:moveTo>
                  <a:pt x="6210402" y="4547585"/>
                </a:moveTo>
                <a:cubicBezTo>
                  <a:pt x="6212261" y="4545869"/>
                  <a:pt x="6214701" y="4545197"/>
                  <a:pt x="6216405" y="4547985"/>
                </a:cubicBezTo>
                <a:cubicBezTo>
                  <a:pt x="6216869" y="4548708"/>
                  <a:pt x="6216715" y="4549638"/>
                  <a:pt x="6216250" y="4550567"/>
                </a:cubicBezTo>
                <a:cubicBezTo>
                  <a:pt x="6215165" y="4552735"/>
                  <a:pt x="6212222" y="4554904"/>
                  <a:pt x="6209899" y="4554594"/>
                </a:cubicBezTo>
                <a:cubicBezTo>
                  <a:pt x="6209125" y="4554491"/>
                  <a:pt x="6208350" y="4554181"/>
                  <a:pt x="6207885" y="4553458"/>
                </a:cubicBezTo>
                <a:cubicBezTo>
                  <a:pt x="6207266" y="4552064"/>
                  <a:pt x="6208544" y="4549302"/>
                  <a:pt x="6210402" y="4547585"/>
                </a:cubicBezTo>
                <a:close/>
                <a:moveTo>
                  <a:pt x="975034" y="4547245"/>
                </a:moveTo>
                <a:cubicBezTo>
                  <a:pt x="975808" y="4546935"/>
                  <a:pt x="976737" y="4546522"/>
                  <a:pt x="976892" y="4547245"/>
                </a:cubicBezTo>
                <a:cubicBezTo>
                  <a:pt x="977047" y="4547658"/>
                  <a:pt x="976892" y="4547865"/>
                  <a:pt x="976582" y="4547968"/>
                </a:cubicBezTo>
                <a:cubicBezTo>
                  <a:pt x="976118" y="4548174"/>
                  <a:pt x="975653" y="4548174"/>
                  <a:pt x="975188" y="4547968"/>
                </a:cubicBezTo>
                <a:cubicBezTo>
                  <a:pt x="975188" y="4547968"/>
                  <a:pt x="975034" y="4547245"/>
                  <a:pt x="975034" y="4547245"/>
                </a:cubicBezTo>
                <a:close/>
                <a:moveTo>
                  <a:pt x="972710" y="4547038"/>
                </a:moveTo>
                <a:lnTo>
                  <a:pt x="973949" y="4547865"/>
                </a:lnTo>
                <a:lnTo>
                  <a:pt x="974569" y="4548174"/>
                </a:lnTo>
                <a:lnTo>
                  <a:pt x="974259" y="4548277"/>
                </a:lnTo>
                <a:lnTo>
                  <a:pt x="975808" y="4550033"/>
                </a:lnTo>
                <a:cubicBezTo>
                  <a:pt x="975808" y="4550033"/>
                  <a:pt x="976737" y="4550239"/>
                  <a:pt x="977512" y="4550446"/>
                </a:cubicBezTo>
                <a:cubicBezTo>
                  <a:pt x="979835" y="4552511"/>
                  <a:pt x="981384" y="4553544"/>
                  <a:pt x="980455" y="4556744"/>
                </a:cubicBezTo>
                <a:cubicBezTo>
                  <a:pt x="979525" y="4556641"/>
                  <a:pt x="977976" y="4554782"/>
                  <a:pt x="977202" y="4553750"/>
                </a:cubicBezTo>
                <a:cubicBezTo>
                  <a:pt x="976427" y="4553647"/>
                  <a:pt x="975653" y="4552717"/>
                  <a:pt x="975653" y="4551788"/>
                </a:cubicBezTo>
                <a:cubicBezTo>
                  <a:pt x="975653" y="4551788"/>
                  <a:pt x="974879" y="4550756"/>
                  <a:pt x="974104" y="4550652"/>
                </a:cubicBezTo>
                <a:lnTo>
                  <a:pt x="973175" y="4549000"/>
                </a:lnTo>
                <a:lnTo>
                  <a:pt x="973019" y="4549104"/>
                </a:lnTo>
                <a:cubicBezTo>
                  <a:pt x="972400" y="4549516"/>
                  <a:pt x="971780" y="4549723"/>
                  <a:pt x="971316" y="4549413"/>
                </a:cubicBezTo>
                <a:cubicBezTo>
                  <a:pt x="970696" y="4549207"/>
                  <a:pt x="970541" y="4549104"/>
                  <a:pt x="970386" y="4548897"/>
                </a:cubicBezTo>
                <a:cubicBezTo>
                  <a:pt x="970077" y="4548587"/>
                  <a:pt x="969922" y="4548174"/>
                  <a:pt x="969767" y="4547348"/>
                </a:cubicBezTo>
                <a:cubicBezTo>
                  <a:pt x="971161" y="4547245"/>
                  <a:pt x="971780" y="4547245"/>
                  <a:pt x="972400" y="4547348"/>
                </a:cubicBezTo>
                <a:lnTo>
                  <a:pt x="972710" y="4547451"/>
                </a:lnTo>
                <a:close/>
                <a:moveTo>
                  <a:pt x="1113046" y="4546315"/>
                </a:moveTo>
                <a:cubicBezTo>
                  <a:pt x="1113820" y="4547245"/>
                  <a:pt x="1113820" y="4547245"/>
                  <a:pt x="1113046" y="4547142"/>
                </a:cubicBezTo>
                <a:cubicBezTo>
                  <a:pt x="1113820" y="4549104"/>
                  <a:pt x="1113820" y="4549930"/>
                  <a:pt x="1113820" y="4550859"/>
                </a:cubicBezTo>
                <a:cubicBezTo>
                  <a:pt x="1113356" y="4551272"/>
                  <a:pt x="1112736" y="4551375"/>
                  <a:pt x="1111962" y="4551272"/>
                </a:cubicBezTo>
                <a:cubicBezTo>
                  <a:pt x="1111187" y="4551169"/>
                  <a:pt x="1110413" y="4550859"/>
                  <a:pt x="1109638" y="4550343"/>
                </a:cubicBezTo>
                <a:cubicBezTo>
                  <a:pt x="1110413" y="4549516"/>
                  <a:pt x="1109638" y="4547658"/>
                  <a:pt x="1110413" y="4546832"/>
                </a:cubicBezTo>
                <a:cubicBezTo>
                  <a:pt x="1110413" y="4546832"/>
                  <a:pt x="1113046" y="4546315"/>
                  <a:pt x="1113046" y="4546315"/>
                </a:cubicBezTo>
                <a:close/>
                <a:moveTo>
                  <a:pt x="5737465" y="4545817"/>
                </a:moveTo>
                <a:cubicBezTo>
                  <a:pt x="5744436" y="4548089"/>
                  <a:pt x="5747843" y="4547882"/>
                  <a:pt x="5753265" y="4550257"/>
                </a:cubicBezTo>
                <a:cubicBezTo>
                  <a:pt x="5753419" y="4551186"/>
                  <a:pt x="5752490" y="4551186"/>
                  <a:pt x="5752645" y="4552116"/>
                </a:cubicBezTo>
                <a:cubicBezTo>
                  <a:pt x="5752335" y="4552529"/>
                  <a:pt x="5751406" y="4552735"/>
                  <a:pt x="5750476" y="4552839"/>
                </a:cubicBezTo>
                <a:cubicBezTo>
                  <a:pt x="5747379" y="4552942"/>
                  <a:pt x="5742422" y="4551600"/>
                  <a:pt x="5742267" y="4550877"/>
                </a:cubicBezTo>
                <a:cubicBezTo>
                  <a:pt x="5741493" y="4550980"/>
                  <a:pt x="5741337" y="4550051"/>
                  <a:pt x="5740563" y="4550154"/>
                </a:cubicBezTo>
                <a:cubicBezTo>
                  <a:pt x="5740563" y="4550154"/>
                  <a:pt x="5739634" y="4550154"/>
                  <a:pt x="5738705" y="4549328"/>
                </a:cubicBezTo>
                <a:cubicBezTo>
                  <a:pt x="5737775" y="4548502"/>
                  <a:pt x="5736846" y="4547676"/>
                  <a:pt x="5737465" y="4545817"/>
                </a:cubicBezTo>
                <a:close/>
                <a:moveTo>
                  <a:pt x="813477" y="4545800"/>
                </a:moveTo>
                <a:cubicBezTo>
                  <a:pt x="816265" y="4548174"/>
                  <a:pt x="815800" y="4551995"/>
                  <a:pt x="822460" y="4552408"/>
                </a:cubicBezTo>
                <a:lnTo>
                  <a:pt x="819672" y="4555196"/>
                </a:lnTo>
                <a:lnTo>
                  <a:pt x="820292" y="4555196"/>
                </a:lnTo>
                <a:lnTo>
                  <a:pt x="817039" y="4559533"/>
                </a:lnTo>
                <a:lnTo>
                  <a:pt x="816729" y="4560772"/>
                </a:lnTo>
                <a:cubicBezTo>
                  <a:pt x="816729" y="4562114"/>
                  <a:pt x="816575" y="4563663"/>
                  <a:pt x="815180" y="4564799"/>
                </a:cubicBezTo>
                <a:lnTo>
                  <a:pt x="811308" y="4563353"/>
                </a:lnTo>
                <a:lnTo>
                  <a:pt x="810533" y="4563869"/>
                </a:lnTo>
                <a:cubicBezTo>
                  <a:pt x="806506" y="4565418"/>
                  <a:pt x="802324" y="4565934"/>
                  <a:pt x="799381" y="4565728"/>
                </a:cubicBezTo>
                <a:cubicBezTo>
                  <a:pt x="800311" y="4563559"/>
                  <a:pt x="801859" y="4561701"/>
                  <a:pt x="803563" y="4560152"/>
                </a:cubicBezTo>
                <a:lnTo>
                  <a:pt x="808055" y="4557157"/>
                </a:lnTo>
                <a:lnTo>
                  <a:pt x="807745" y="4554576"/>
                </a:lnTo>
                <a:lnTo>
                  <a:pt x="805267" y="4558397"/>
                </a:lnTo>
                <a:cubicBezTo>
                  <a:pt x="801085" y="4562734"/>
                  <a:pt x="795199" y="4563559"/>
                  <a:pt x="789312" y="4564385"/>
                </a:cubicBezTo>
                <a:cubicBezTo>
                  <a:pt x="789467" y="4560049"/>
                  <a:pt x="792411" y="4557054"/>
                  <a:pt x="796438" y="4555196"/>
                </a:cubicBezTo>
                <a:lnTo>
                  <a:pt x="807590" y="4553027"/>
                </a:lnTo>
                <a:lnTo>
                  <a:pt x="807590" y="4550446"/>
                </a:lnTo>
                <a:cubicBezTo>
                  <a:pt x="808985" y="4549310"/>
                  <a:pt x="810068" y="4549207"/>
                  <a:pt x="811153" y="4549723"/>
                </a:cubicBezTo>
                <a:lnTo>
                  <a:pt x="813012" y="4551066"/>
                </a:lnTo>
                <a:close/>
                <a:moveTo>
                  <a:pt x="1505553" y="4545696"/>
                </a:moveTo>
                <a:cubicBezTo>
                  <a:pt x="1510355" y="4546109"/>
                  <a:pt x="1512059" y="4548071"/>
                  <a:pt x="1510665" y="4551582"/>
                </a:cubicBezTo>
                <a:cubicBezTo>
                  <a:pt x="1509891" y="4551995"/>
                  <a:pt x="1507102" y="4552305"/>
                  <a:pt x="1507412" y="4553131"/>
                </a:cubicBezTo>
                <a:cubicBezTo>
                  <a:pt x="1505089" y="4552201"/>
                  <a:pt x="1502455" y="4550859"/>
                  <a:pt x="1501526" y="4549000"/>
                </a:cubicBezTo>
                <a:cubicBezTo>
                  <a:pt x="1501216" y="4548381"/>
                  <a:pt x="1501216" y="4547658"/>
                  <a:pt x="1501371" y="4546832"/>
                </a:cubicBezTo>
                <a:cubicBezTo>
                  <a:pt x="1501526" y="4544870"/>
                  <a:pt x="1503385" y="4544870"/>
                  <a:pt x="1505553" y="4545696"/>
                </a:cubicBezTo>
                <a:close/>
                <a:moveTo>
                  <a:pt x="979061" y="4545593"/>
                </a:moveTo>
                <a:cubicBezTo>
                  <a:pt x="980145" y="4545903"/>
                  <a:pt x="980145" y="4545903"/>
                  <a:pt x="980919" y="4545593"/>
                </a:cubicBezTo>
                <a:cubicBezTo>
                  <a:pt x="980919" y="4545593"/>
                  <a:pt x="980300" y="4546625"/>
                  <a:pt x="980300" y="4546625"/>
                </a:cubicBezTo>
                <a:cubicBezTo>
                  <a:pt x="979216" y="4546315"/>
                  <a:pt x="979525" y="4547038"/>
                  <a:pt x="979061" y="4545593"/>
                </a:cubicBezTo>
                <a:close/>
                <a:moveTo>
                  <a:pt x="6498625" y="4545507"/>
                </a:moveTo>
                <a:lnTo>
                  <a:pt x="6494753" y="4546850"/>
                </a:lnTo>
                <a:lnTo>
                  <a:pt x="6497386" y="4547572"/>
                </a:lnTo>
                <a:lnTo>
                  <a:pt x="6497696" y="4547366"/>
                </a:lnTo>
                <a:lnTo>
                  <a:pt x="6497696" y="4547263"/>
                </a:lnTo>
                <a:close/>
                <a:moveTo>
                  <a:pt x="6112934" y="4544888"/>
                </a:moveTo>
                <a:lnTo>
                  <a:pt x="6115567" y="4545817"/>
                </a:lnTo>
                <a:lnTo>
                  <a:pt x="6116032" y="4545507"/>
                </a:lnTo>
                <a:cubicBezTo>
                  <a:pt x="6119749" y="4544165"/>
                  <a:pt x="6123157" y="4547263"/>
                  <a:pt x="6122382" y="4550773"/>
                </a:cubicBezTo>
                <a:cubicBezTo>
                  <a:pt x="6122073" y="4552219"/>
                  <a:pt x="6120834" y="4553871"/>
                  <a:pt x="6118665" y="4555213"/>
                </a:cubicBezTo>
                <a:lnTo>
                  <a:pt x="6118046" y="4554801"/>
                </a:lnTo>
                <a:lnTo>
                  <a:pt x="6117581" y="4555936"/>
                </a:lnTo>
                <a:cubicBezTo>
                  <a:pt x="6116187" y="4557588"/>
                  <a:pt x="6114483" y="4558931"/>
                  <a:pt x="6112779" y="4560376"/>
                </a:cubicBezTo>
                <a:cubicBezTo>
                  <a:pt x="6101471" y="4558001"/>
                  <a:pt x="6110301" y="4550154"/>
                  <a:pt x="6112934" y="4544888"/>
                </a:cubicBezTo>
                <a:close/>
                <a:moveTo>
                  <a:pt x="1354685" y="4543424"/>
                </a:moveTo>
                <a:cubicBezTo>
                  <a:pt x="1357007" y="4545180"/>
                  <a:pt x="1357937" y="4545696"/>
                  <a:pt x="1359331" y="4546935"/>
                </a:cubicBezTo>
                <a:cubicBezTo>
                  <a:pt x="1360106" y="4546625"/>
                  <a:pt x="1360880" y="4546315"/>
                  <a:pt x="1361965" y="4546832"/>
                </a:cubicBezTo>
                <a:cubicBezTo>
                  <a:pt x="1363978" y="4547865"/>
                  <a:pt x="1363668" y="4549826"/>
                  <a:pt x="1364907" y="4551066"/>
                </a:cubicBezTo>
                <a:cubicBezTo>
                  <a:pt x="1364598" y="4551685"/>
                  <a:pt x="1364288" y="4552305"/>
                  <a:pt x="1363513" y="4552717"/>
                </a:cubicBezTo>
                <a:cubicBezTo>
                  <a:pt x="1362894" y="4553131"/>
                  <a:pt x="1361965" y="4553234"/>
                  <a:pt x="1361035" y="4552717"/>
                </a:cubicBezTo>
                <a:cubicBezTo>
                  <a:pt x="1358092" y="4552098"/>
                  <a:pt x="1357472" y="4549620"/>
                  <a:pt x="1357472" y="4546832"/>
                </a:cubicBezTo>
                <a:cubicBezTo>
                  <a:pt x="1356233" y="4545490"/>
                  <a:pt x="1354374" y="4545386"/>
                  <a:pt x="1354685" y="4543424"/>
                </a:cubicBezTo>
                <a:close/>
                <a:moveTo>
                  <a:pt x="5785638" y="4542926"/>
                </a:moveTo>
                <a:cubicBezTo>
                  <a:pt x="5788116" y="4542203"/>
                  <a:pt x="5793538" y="4543236"/>
                  <a:pt x="5795087" y="4547263"/>
                </a:cubicBezTo>
                <a:cubicBezTo>
                  <a:pt x="5793848" y="4549844"/>
                  <a:pt x="5792453" y="4551186"/>
                  <a:pt x="5790749" y="4551393"/>
                </a:cubicBezTo>
                <a:cubicBezTo>
                  <a:pt x="5789046" y="4551703"/>
                  <a:pt x="5787187" y="4550980"/>
                  <a:pt x="5785173" y="4549328"/>
                </a:cubicBezTo>
                <a:cubicBezTo>
                  <a:pt x="5785638" y="4547366"/>
                  <a:pt x="5785328" y="4545714"/>
                  <a:pt x="5785638" y="4542926"/>
                </a:cubicBezTo>
                <a:close/>
                <a:moveTo>
                  <a:pt x="994550" y="4542805"/>
                </a:moveTo>
                <a:cubicBezTo>
                  <a:pt x="993001" y="4543424"/>
                  <a:pt x="983862" y="4546315"/>
                  <a:pt x="981074" y="4545696"/>
                </a:cubicBezTo>
                <a:cubicBezTo>
                  <a:pt x="985257" y="4544870"/>
                  <a:pt x="990678" y="4541772"/>
                  <a:pt x="994550" y="4542805"/>
                </a:cubicBezTo>
                <a:close/>
                <a:moveTo>
                  <a:pt x="771035" y="4542702"/>
                </a:moveTo>
                <a:lnTo>
                  <a:pt x="776301" y="4544560"/>
                </a:lnTo>
                <a:lnTo>
                  <a:pt x="776766" y="4544044"/>
                </a:lnTo>
                <a:cubicBezTo>
                  <a:pt x="779555" y="4543528"/>
                  <a:pt x="782343" y="4547451"/>
                  <a:pt x="782497" y="4550756"/>
                </a:cubicBezTo>
                <a:lnTo>
                  <a:pt x="782033" y="4552821"/>
                </a:lnTo>
                <a:lnTo>
                  <a:pt x="782188" y="4553027"/>
                </a:lnTo>
                <a:cubicBezTo>
                  <a:pt x="781258" y="4555712"/>
                  <a:pt x="781103" y="4556435"/>
                  <a:pt x="778315" y="4556228"/>
                </a:cubicBezTo>
                <a:cubicBezTo>
                  <a:pt x="777540" y="4556125"/>
                  <a:pt x="776301" y="4556022"/>
                  <a:pt x="774753" y="4555712"/>
                </a:cubicBezTo>
                <a:cubicBezTo>
                  <a:pt x="773668" y="4555505"/>
                  <a:pt x="772584" y="4554886"/>
                  <a:pt x="771809" y="4554060"/>
                </a:cubicBezTo>
                <a:cubicBezTo>
                  <a:pt x="771035" y="4553234"/>
                  <a:pt x="770415" y="4552098"/>
                  <a:pt x="770260" y="4550756"/>
                </a:cubicBezTo>
                <a:cubicBezTo>
                  <a:pt x="768712" y="4549826"/>
                  <a:pt x="767627" y="4547658"/>
                  <a:pt x="767627" y="4545696"/>
                </a:cubicBezTo>
                <a:cubicBezTo>
                  <a:pt x="768402" y="4543321"/>
                  <a:pt x="769796" y="4542392"/>
                  <a:pt x="771035" y="4542702"/>
                </a:cubicBezTo>
                <a:close/>
                <a:moveTo>
                  <a:pt x="1352825" y="4542495"/>
                </a:moveTo>
                <a:cubicBezTo>
                  <a:pt x="1355303" y="4544664"/>
                  <a:pt x="1355924" y="4547451"/>
                  <a:pt x="1354064" y="4549723"/>
                </a:cubicBezTo>
                <a:cubicBezTo>
                  <a:pt x="1352361" y="4550343"/>
                  <a:pt x="1350657" y="4549207"/>
                  <a:pt x="1349108" y="4548071"/>
                </a:cubicBezTo>
                <a:cubicBezTo>
                  <a:pt x="1347869" y="4547038"/>
                  <a:pt x="1347559" y="4546006"/>
                  <a:pt x="1347714" y="4545180"/>
                </a:cubicBezTo>
                <a:cubicBezTo>
                  <a:pt x="1347869" y="4544354"/>
                  <a:pt x="1348489" y="4543528"/>
                  <a:pt x="1349418" y="4542805"/>
                </a:cubicBezTo>
                <a:cubicBezTo>
                  <a:pt x="1351276" y="4541359"/>
                  <a:pt x="1352825" y="4542495"/>
                  <a:pt x="1352825" y="4542495"/>
                </a:cubicBezTo>
                <a:close/>
                <a:moveTo>
                  <a:pt x="1419586" y="4542185"/>
                </a:moveTo>
                <a:cubicBezTo>
                  <a:pt x="1421290" y="4542599"/>
                  <a:pt x="1422219" y="4543528"/>
                  <a:pt x="1422683" y="4544560"/>
                </a:cubicBezTo>
                <a:lnTo>
                  <a:pt x="1423613" y="4543528"/>
                </a:lnTo>
                <a:cubicBezTo>
                  <a:pt x="1425007" y="4542908"/>
                  <a:pt x="1426401" y="4543011"/>
                  <a:pt x="1427795" y="4543528"/>
                </a:cubicBezTo>
                <a:cubicBezTo>
                  <a:pt x="1429034" y="4547348"/>
                  <a:pt x="1427021" y="4549516"/>
                  <a:pt x="1423923" y="4548897"/>
                </a:cubicBezTo>
                <a:lnTo>
                  <a:pt x="1423768" y="4548794"/>
                </a:lnTo>
                <a:lnTo>
                  <a:pt x="1424078" y="4550549"/>
                </a:lnTo>
                <a:cubicBezTo>
                  <a:pt x="1424388" y="4551066"/>
                  <a:pt x="1424852" y="4551478"/>
                  <a:pt x="1425627" y="4551995"/>
                </a:cubicBezTo>
                <a:cubicBezTo>
                  <a:pt x="1425627" y="4551995"/>
                  <a:pt x="1425627" y="4551995"/>
                  <a:pt x="1424852" y="4554370"/>
                </a:cubicBezTo>
                <a:lnTo>
                  <a:pt x="1424388" y="4554679"/>
                </a:lnTo>
                <a:cubicBezTo>
                  <a:pt x="1423923" y="4555918"/>
                  <a:pt x="1423148" y="4556228"/>
                  <a:pt x="1423304" y="4556951"/>
                </a:cubicBezTo>
                <a:cubicBezTo>
                  <a:pt x="1421754" y="4556228"/>
                  <a:pt x="1420980" y="4555196"/>
                  <a:pt x="1420670" y="4554060"/>
                </a:cubicBezTo>
                <a:cubicBezTo>
                  <a:pt x="1420205" y="4552821"/>
                  <a:pt x="1420205" y="4551478"/>
                  <a:pt x="1420360" y="4550033"/>
                </a:cubicBezTo>
                <a:lnTo>
                  <a:pt x="1420360" y="4547968"/>
                </a:lnTo>
                <a:lnTo>
                  <a:pt x="1420205" y="4547658"/>
                </a:lnTo>
                <a:lnTo>
                  <a:pt x="1419121" y="4546006"/>
                </a:lnTo>
                <a:cubicBezTo>
                  <a:pt x="1419121" y="4546006"/>
                  <a:pt x="1419121" y="4546006"/>
                  <a:pt x="1419121" y="4545800"/>
                </a:cubicBezTo>
                <a:lnTo>
                  <a:pt x="1419276" y="4545490"/>
                </a:lnTo>
                <a:lnTo>
                  <a:pt x="1418811" y="4544560"/>
                </a:lnTo>
                <a:cubicBezTo>
                  <a:pt x="1419276" y="4543321"/>
                  <a:pt x="1419896" y="4542908"/>
                  <a:pt x="1419586" y="4542185"/>
                </a:cubicBezTo>
                <a:close/>
                <a:moveTo>
                  <a:pt x="5865565" y="4541997"/>
                </a:moveTo>
                <a:cubicBezTo>
                  <a:pt x="5867733" y="4540138"/>
                  <a:pt x="5874858" y="4543959"/>
                  <a:pt x="5877646" y="4546437"/>
                </a:cubicBezTo>
                <a:cubicBezTo>
                  <a:pt x="5877182" y="4546850"/>
                  <a:pt x="5876253" y="4546953"/>
                  <a:pt x="5875168" y="4546746"/>
                </a:cubicBezTo>
                <a:cubicBezTo>
                  <a:pt x="5872225" y="4546334"/>
                  <a:pt x="5867733" y="4543752"/>
                  <a:pt x="5865565" y="4541997"/>
                </a:cubicBezTo>
                <a:close/>
                <a:moveTo>
                  <a:pt x="686462" y="4541979"/>
                </a:moveTo>
                <a:cubicBezTo>
                  <a:pt x="687391" y="4540327"/>
                  <a:pt x="689714" y="4543321"/>
                  <a:pt x="690644" y="4543528"/>
                </a:cubicBezTo>
                <a:cubicBezTo>
                  <a:pt x="691418" y="4544457"/>
                  <a:pt x="692038" y="4545490"/>
                  <a:pt x="691264" y="4546212"/>
                </a:cubicBezTo>
                <a:cubicBezTo>
                  <a:pt x="690799" y="4546522"/>
                  <a:pt x="690644" y="4546935"/>
                  <a:pt x="690179" y="4547142"/>
                </a:cubicBezTo>
                <a:cubicBezTo>
                  <a:pt x="689869" y="4547245"/>
                  <a:pt x="689560" y="4547245"/>
                  <a:pt x="688630" y="4546625"/>
                </a:cubicBezTo>
                <a:cubicBezTo>
                  <a:pt x="687855" y="4546522"/>
                  <a:pt x="687081" y="4545490"/>
                  <a:pt x="686307" y="4545386"/>
                </a:cubicBezTo>
                <a:cubicBezTo>
                  <a:pt x="686307" y="4545386"/>
                  <a:pt x="685997" y="4544767"/>
                  <a:pt x="685997" y="4543941"/>
                </a:cubicBezTo>
                <a:cubicBezTo>
                  <a:pt x="685997" y="4543218"/>
                  <a:pt x="685997" y="4542289"/>
                  <a:pt x="686462" y="4541979"/>
                </a:cubicBezTo>
                <a:close/>
                <a:moveTo>
                  <a:pt x="1522747" y="4541772"/>
                </a:moveTo>
                <a:cubicBezTo>
                  <a:pt x="1525070" y="4541049"/>
                  <a:pt x="1526155" y="4542702"/>
                  <a:pt x="1526619" y="4543941"/>
                </a:cubicBezTo>
                <a:cubicBezTo>
                  <a:pt x="1527549" y="4544973"/>
                  <a:pt x="1527703" y="4546315"/>
                  <a:pt x="1527394" y="4547555"/>
                </a:cubicBezTo>
                <a:lnTo>
                  <a:pt x="1525686" y="4550237"/>
                </a:lnTo>
                <a:lnTo>
                  <a:pt x="1524140" y="4549310"/>
                </a:lnTo>
                <a:cubicBezTo>
                  <a:pt x="1524140" y="4549310"/>
                  <a:pt x="1524915" y="4549723"/>
                  <a:pt x="1523676" y="4550033"/>
                </a:cubicBezTo>
                <a:cubicBezTo>
                  <a:pt x="1524140" y="4549310"/>
                  <a:pt x="1523366" y="4548897"/>
                  <a:pt x="1522592" y="4548484"/>
                </a:cubicBezTo>
                <a:cubicBezTo>
                  <a:pt x="1521662" y="4546109"/>
                  <a:pt x="1521198" y="4542908"/>
                  <a:pt x="1522747" y="4541772"/>
                </a:cubicBezTo>
                <a:close/>
                <a:moveTo>
                  <a:pt x="5773343" y="4541196"/>
                </a:moveTo>
                <a:cubicBezTo>
                  <a:pt x="5777699" y="4541661"/>
                  <a:pt x="5781068" y="4544113"/>
                  <a:pt x="5780216" y="4548502"/>
                </a:cubicBezTo>
                <a:cubicBezTo>
                  <a:pt x="5780062" y="4549741"/>
                  <a:pt x="5779442" y="4551186"/>
                  <a:pt x="5778513" y="4552735"/>
                </a:cubicBezTo>
                <a:cubicBezTo>
                  <a:pt x="5776964" y="4552839"/>
                  <a:pt x="5775260" y="4553045"/>
                  <a:pt x="5773401" y="4553148"/>
                </a:cubicBezTo>
                <a:cubicBezTo>
                  <a:pt x="5772007" y="4553252"/>
                  <a:pt x="5770613" y="4553355"/>
                  <a:pt x="5769219" y="4553252"/>
                </a:cubicBezTo>
                <a:cubicBezTo>
                  <a:pt x="5765192" y="4552942"/>
                  <a:pt x="5761474" y="4551393"/>
                  <a:pt x="5760545" y="4545817"/>
                </a:cubicBezTo>
                <a:cubicBezTo>
                  <a:pt x="5763643" y="4542255"/>
                  <a:pt x="5768986" y="4540732"/>
                  <a:pt x="5773343" y="4541196"/>
                </a:cubicBezTo>
                <a:close/>
                <a:moveTo>
                  <a:pt x="6468731" y="4541067"/>
                </a:moveTo>
                <a:lnTo>
                  <a:pt x="6466872" y="4541790"/>
                </a:lnTo>
                <a:lnTo>
                  <a:pt x="6466252" y="4546437"/>
                </a:lnTo>
                <a:cubicBezTo>
                  <a:pt x="6465168" y="4548502"/>
                  <a:pt x="6463619" y="4550154"/>
                  <a:pt x="6461141" y="4550773"/>
                </a:cubicBezTo>
                <a:cubicBezTo>
                  <a:pt x="6460211" y="4548708"/>
                  <a:pt x="6459902" y="4546953"/>
                  <a:pt x="6459902" y="4545507"/>
                </a:cubicBezTo>
                <a:lnTo>
                  <a:pt x="6460676" y="4542203"/>
                </a:lnTo>
                <a:lnTo>
                  <a:pt x="6460366" y="4542203"/>
                </a:lnTo>
                <a:lnTo>
                  <a:pt x="6458043" y="4542513"/>
                </a:lnTo>
                <a:lnTo>
                  <a:pt x="6458972" y="4542823"/>
                </a:lnTo>
                <a:lnTo>
                  <a:pt x="6454170" y="4547056"/>
                </a:lnTo>
                <a:lnTo>
                  <a:pt x="6457733" y="4548502"/>
                </a:lnTo>
                <a:cubicBezTo>
                  <a:pt x="6458663" y="4549225"/>
                  <a:pt x="6459592" y="4550051"/>
                  <a:pt x="6459747" y="4550980"/>
                </a:cubicBezTo>
                <a:cubicBezTo>
                  <a:pt x="6459282" y="4553355"/>
                  <a:pt x="6457423" y="4553562"/>
                  <a:pt x="6456339" y="4553252"/>
                </a:cubicBezTo>
                <a:cubicBezTo>
                  <a:pt x="6455100" y="4553562"/>
                  <a:pt x="6453861" y="4552942"/>
                  <a:pt x="6452931" y="4551909"/>
                </a:cubicBezTo>
                <a:lnTo>
                  <a:pt x="6451537" y="4549328"/>
                </a:lnTo>
                <a:lnTo>
                  <a:pt x="6449678" y="4551083"/>
                </a:lnTo>
                <a:cubicBezTo>
                  <a:pt x="6446735" y="4553562"/>
                  <a:pt x="6443638" y="4555833"/>
                  <a:pt x="6440695" y="4558001"/>
                </a:cubicBezTo>
                <a:lnTo>
                  <a:pt x="6434963" y="4561719"/>
                </a:lnTo>
                <a:lnTo>
                  <a:pt x="6436048" y="4561822"/>
                </a:lnTo>
                <a:cubicBezTo>
                  <a:pt x="6439765" y="4561512"/>
                  <a:pt x="6444102" y="4561306"/>
                  <a:pt x="6447510" y="4560067"/>
                </a:cubicBezTo>
                <a:cubicBezTo>
                  <a:pt x="6459902" y="4561719"/>
                  <a:pt x="6468731" y="4561409"/>
                  <a:pt x="6477715" y="4560376"/>
                </a:cubicBezTo>
                <a:lnTo>
                  <a:pt x="6484530" y="4558828"/>
                </a:lnTo>
                <a:lnTo>
                  <a:pt x="6484840" y="4558621"/>
                </a:lnTo>
                <a:lnTo>
                  <a:pt x="6492895" y="4551600"/>
                </a:lnTo>
                <a:lnTo>
                  <a:pt x="6490881" y="4551703"/>
                </a:lnTo>
                <a:cubicBezTo>
                  <a:pt x="6489022" y="4547676"/>
                  <a:pt x="6491191" y="4544991"/>
                  <a:pt x="6487783" y="4544991"/>
                </a:cubicBezTo>
                <a:lnTo>
                  <a:pt x="6487628" y="4544991"/>
                </a:lnTo>
                <a:lnTo>
                  <a:pt x="6484530" y="4549844"/>
                </a:lnTo>
                <a:cubicBezTo>
                  <a:pt x="6482671" y="4551083"/>
                  <a:pt x="6480503" y="4551703"/>
                  <a:pt x="6478954" y="4552116"/>
                </a:cubicBezTo>
                <a:lnTo>
                  <a:pt x="6478334" y="4552322"/>
                </a:lnTo>
                <a:lnTo>
                  <a:pt x="6477560" y="4553045"/>
                </a:lnTo>
                <a:lnTo>
                  <a:pt x="6477715" y="4553355"/>
                </a:lnTo>
                <a:lnTo>
                  <a:pt x="6477405" y="4553252"/>
                </a:lnTo>
                <a:lnTo>
                  <a:pt x="6475856" y="4554697"/>
                </a:lnTo>
                <a:lnTo>
                  <a:pt x="6474772" y="4553458"/>
                </a:lnTo>
                <a:lnTo>
                  <a:pt x="6472138" y="4553148"/>
                </a:lnTo>
                <a:cubicBezTo>
                  <a:pt x="6471364" y="4552942"/>
                  <a:pt x="6470899" y="4552322"/>
                  <a:pt x="6471209" y="4551083"/>
                </a:cubicBezTo>
                <a:cubicBezTo>
                  <a:pt x="6470745" y="4549121"/>
                  <a:pt x="6472758" y="4549018"/>
                  <a:pt x="6473068" y="4546643"/>
                </a:cubicBezTo>
                <a:cubicBezTo>
                  <a:pt x="6473068" y="4544372"/>
                  <a:pt x="6470899" y="4543133"/>
                  <a:pt x="6468886" y="4541274"/>
                </a:cubicBezTo>
                <a:close/>
                <a:moveTo>
                  <a:pt x="5950757" y="4539518"/>
                </a:moveTo>
                <a:cubicBezTo>
                  <a:pt x="5948434" y="4541377"/>
                  <a:pt x="5947814" y="4542306"/>
                  <a:pt x="5946265" y="4543339"/>
                </a:cubicBezTo>
                <a:cubicBezTo>
                  <a:pt x="5946265" y="4544165"/>
                  <a:pt x="5946421" y="4544991"/>
                  <a:pt x="5945646" y="4545920"/>
                </a:cubicBezTo>
                <a:cubicBezTo>
                  <a:pt x="5944252" y="4547676"/>
                  <a:pt x="5942548" y="4546953"/>
                  <a:pt x="5940844" y="4547882"/>
                </a:cubicBezTo>
                <a:cubicBezTo>
                  <a:pt x="5939915" y="4547056"/>
                  <a:pt x="5938830" y="4545404"/>
                  <a:pt x="5940224" y="4543649"/>
                </a:cubicBezTo>
                <a:cubicBezTo>
                  <a:pt x="5941619" y="4540964"/>
                  <a:pt x="5944097" y="4540758"/>
                  <a:pt x="5946730" y="4541480"/>
                </a:cubicBezTo>
                <a:cubicBezTo>
                  <a:pt x="5948279" y="4540551"/>
                  <a:pt x="5949053" y="4538796"/>
                  <a:pt x="5950757" y="4539518"/>
                </a:cubicBezTo>
                <a:close/>
                <a:moveTo>
                  <a:pt x="1007561" y="4539294"/>
                </a:moveTo>
                <a:cubicBezTo>
                  <a:pt x="1006168" y="4540740"/>
                  <a:pt x="1003379" y="4542805"/>
                  <a:pt x="1001366" y="4541876"/>
                </a:cubicBezTo>
                <a:cubicBezTo>
                  <a:pt x="1001366" y="4541876"/>
                  <a:pt x="1001211" y="4541876"/>
                  <a:pt x="1000282" y="4541463"/>
                </a:cubicBezTo>
                <a:cubicBezTo>
                  <a:pt x="1002605" y="4540533"/>
                  <a:pt x="1005703" y="4539191"/>
                  <a:pt x="1007561" y="4539294"/>
                </a:cubicBezTo>
                <a:close/>
                <a:moveTo>
                  <a:pt x="1802025" y="4539191"/>
                </a:moveTo>
                <a:cubicBezTo>
                  <a:pt x="1802025" y="4539191"/>
                  <a:pt x="1802025" y="4539191"/>
                  <a:pt x="1798307" y="4543941"/>
                </a:cubicBezTo>
                <a:cubicBezTo>
                  <a:pt x="1797843" y="4543424"/>
                  <a:pt x="1797997" y="4542908"/>
                  <a:pt x="1798152" y="4542495"/>
                </a:cubicBezTo>
                <a:cubicBezTo>
                  <a:pt x="1798462" y="4542082"/>
                  <a:pt x="1798927" y="4541772"/>
                  <a:pt x="1799392" y="4541463"/>
                </a:cubicBezTo>
                <a:cubicBezTo>
                  <a:pt x="1800321" y="4540740"/>
                  <a:pt x="1801095" y="4539914"/>
                  <a:pt x="1802025" y="4539191"/>
                </a:cubicBezTo>
                <a:close/>
                <a:moveTo>
                  <a:pt x="6467027" y="4539105"/>
                </a:moveTo>
                <a:lnTo>
                  <a:pt x="6466872" y="4539209"/>
                </a:lnTo>
                <a:lnTo>
                  <a:pt x="6467027" y="4539828"/>
                </a:lnTo>
                <a:lnTo>
                  <a:pt x="6467027" y="4540035"/>
                </a:lnTo>
                <a:lnTo>
                  <a:pt x="6467956" y="4540035"/>
                </a:lnTo>
                <a:close/>
                <a:moveTo>
                  <a:pt x="1629780" y="4538984"/>
                </a:moveTo>
                <a:cubicBezTo>
                  <a:pt x="1629315" y="4540843"/>
                  <a:pt x="1629006" y="4542805"/>
                  <a:pt x="1628541" y="4544664"/>
                </a:cubicBezTo>
                <a:cubicBezTo>
                  <a:pt x="1628386" y="4543838"/>
                  <a:pt x="1621416" y="4548174"/>
                  <a:pt x="1621416" y="4548174"/>
                </a:cubicBezTo>
                <a:cubicBezTo>
                  <a:pt x="1620332" y="4547658"/>
                  <a:pt x="1619867" y="4547451"/>
                  <a:pt x="1619712" y="4546935"/>
                </a:cubicBezTo>
                <a:cubicBezTo>
                  <a:pt x="1619712" y="4546419"/>
                  <a:pt x="1619867" y="4545593"/>
                  <a:pt x="1620332" y="4544147"/>
                </a:cubicBezTo>
                <a:cubicBezTo>
                  <a:pt x="1620951" y="4543011"/>
                  <a:pt x="1622655" y="4541669"/>
                  <a:pt x="1624514" y="4540533"/>
                </a:cubicBezTo>
                <a:cubicBezTo>
                  <a:pt x="1626372" y="4539398"/>
                  <a:pt x="1628386" y="4538675"/>
                  <a:pt x="1629780" y="4538984"/>
                </a:cubicBezTo>
                <a:close/>
                <a:moveTo>
                  <a:pt x="5822039" y="4537970"/>
                </a:moveTo>
                <a:cubicBezTo>
                  <a:pt x="5825291" y="4547882"/>
                  <a:pt x="5833036" y="4554491"/>
                  <a:pt x="5831487" y="4560376"/>
                </a:cubicBezTo>
                <a:cubicBezTo>
                  <a:pt x="5831023" y="4562338"/>
                  <a:pt x="5829474" y="4564300"/>
                  <a:pt x="5826376" y="4566159"/>
                </a:cubicBezTo>
                <a:cubicBezTo>
                  <a:pt x="5822503" y="4563061"/>
                  <a:pt x="5813364" y="4550051"/>
                  <a:pt x="5815533" y="4542823"/>
                </a:cubicBezTo>
                <a:cubicBezTo>
                  <a:pt x="5816152" y="4540344"/>
                  <a:pt x="5818166" y="4538589"/>
                  <a:pt x="5822039" y="4537970"/>
                </a:cubicBezTo>
                <a:close/>
                <a:moveTo>
                  <a:pt x="866606" y="4537848"/>
                </a:moveTo>
                <a:cubicBezTo>
                  <a:pt x="864127" y="4539501"/>
                  <a:pt x="863353" y="4540327"/>
                  <a:pt x="861649" y="4541153"/>
                </a:cubicBezTo>
                <a:cubicBezTo>
                  <a:pt x="861649" y="4541979"/>
                  <a:pt x="861649" y="4542805"/>
                  <a:pt x="860875" y="4543631"/>
                </a:cubicBezTo>
                <a:lnTo>
                  <a:pt x="859325" y="4544250"/>
                </a:lnTo>
                <a:lnTo>
                  <a:pt x="859636" y="4545386"/>
                </a:lnTo>
                <a:cubicBezTo>
                  <a:pt x="859946" y="4546212"/>
                  <a:pt x="860255" y="4546935"/>
                  <a:pt x="860875" y="4547761"/>
                </a:cubicBezTo>
                <a:cubicBezTo>
                  <a:pt x="858241" y="4548277"/>
                  <a:pt x="856383" y="4549104"/>
                  <a:pt x="854679" y="4549826"/>
                </a:cubicBezTo>
                <a:lnTo>
                  <a:pt x="852046" y="4550239"/>
                </a:lnTo>
                <a:lnTo>
                  <a:pt x="852046" y="4550549"/>
                </a:lnTo>
                <a:cubicBezTo>
                  <a:pt x="851736" y="4552305"/>
                  <a:pt x="850962" y="4553853"/>
                  <a:pt x="849567" y="4555196"/>
                </a:cubicBezTo>
                <a:lnTo>
                  <a:pt x="848174" y="4556125"/>
                </a:lnTo>
                <a:cubicBezTo>
                  <a:pt x="850032" y="4558500"/>
                  <a:pt x="850032" y="4562837"/>
                  <a:pt x="846314" y="4566141"/>
                </a:cubicBezTo>
                <a:cubicBezTo>
                  <a:pt x="842907" y="4566038"/>
                  <a:pt x="840583" y="4564799"/>
                  <a:pt x="839035" y="4564076"/>
                </a:cubicBezTo>
                <a:lnTo>
                  <a:pt x="839190" y="4558087"/>
                </a:lnTo>
                <a:lnTo>
                  <a:pt x="834543" y="4554886"/>
                </a:lnTo>
                <a:cubicBezTo>
                  <a:pt x="834697" y="4548690"/>
                  <a:pt x="843991" y="4542392"/>
                  <a:pt x="848793" y="4542908"/>
                </a:cubicBezTo>
                <a:lnTo>
                  <a:pt x="850497" y="4545283"/>
                </a:lnTo>
                <a:lnTo>
                  <a:pt x="851426" y="4544767"/>
                </a:lnTo>
                <a:lnTo>
                  <a:pt x="855144" y="4543631"/>
                </a:lnTo>
                <a:lnTo>
                  <a:pt x="854834" y="4543218"/>
                </a:lnTo>
                <a:cubicBezTo>
                  <a:pt x="854679" y="4542495"/>
                  <a:pt x="854989" y="4541566"/>
                  <a:pt x="855763" y="4540843"/>
                </a:cubicBezTo>
                <a:cubicBezTo>
                  <a:pt x="857313" y="4538262"/>
                  <a:pt x="859791" y="4538468"/>
                  <a:pt x="862424" y="4539398"/>
                </a:cubicBezTo>
                <a:cubicBezTo>
                  <a:pt x="864127" y="4538675"/>
                  <a:pt x="864902" y="4536919"/>
                  <a:pt x="866606" y="4537848"/>
                </a:cubicBezTo>
                <a:close/>
                <a:moveTo>
                  <a:pt x="891854" y="4537745"/>
                </a:moveTo>
                <a:cubicBezTo>
                  <a:pt x="894797" y="4538158"/>
                  <a:pt x="894177" y="4541256"/>
                  <a:pt x="894642" y="4544767"/>
                </a:cubicBezTo>
                <a:cubicBezTo>
                  <a:pt x="893558" y="4544354"/>
                  <a:pt x="892938" y="4545490"/>
                  <a:pt x="892474" y="4546625"/>
                </a:cubicBezTo>
                <a:cubicBezTo>
                  <a:pt x="890925" y="4546109"/>
                  <a:pt x="888291" y="4545490"/>
                  <a:pt x="887826" y="4543321"/>
                </a:cubicBezTo>
                <a:cubicBezTo>
                  <a:pt x="887672" y="4542599"/>
                  <a:pt x="887826" y="4541669"/>
                  <a:pt x="888291" y="4540430"/>
                </a:cubicBezTo>
                <a:cubicBezTo>
                  <a:pt x="887981" y="4539707"/>
                  <a:pt x="890770" y="4537333"/>
                  <a:pt x="891854" y="4537745"/>
                </a:cubicBezTo>
                <a:close/>
                <a:moveTo>
                  <a:pt x="806971" y="4537229"/>
                </a:moveTo>
                <a:cubicBezTo>
                  <a:pt x="808520" y="4539294"/>
                  <a:pt x="806661" y="4541566"/>
                  <a:pt x="805732" y="4541463"/>
                </a:cubicBezTo>
                <a:cubicBezTo>
                  <a:pt x="804957" y="4540430"/>
                  <a:pt x="805112" y="4538675"/>
                  <a:pt x="804182" y="4537745"/>
                </a:cubicBezTo>
                <a:cubicBezTo>
                  <a:pt x="805112" y="4537848"/>
                  <a:pt x="806042" y="4537126"/>
                  <a:pt x="806971" y="4537229"/>
                </a:cubicBezTo>
                <a:close/>
                <a:moveTo>
                  <a:pt x="5846202" y="4537040"/>
                </a:moveTo>
                <a:cubicBezTo>
                  <a:pt x="5847132" y="4537867"/>
                  <a:pt x="5848061" y="4538693"/>
                  <a:pt x="5848371" y="4540448"/>
                </a:cubicBezTo>
                <a:cubicBezTo>
                  <a:pt x="5846977" y="4542306"/>
                  <a:pt x="5844344" y="4541584"/>
                  <a:pt x="5843569" y="4542513"/>
                </a:cubicBezTo>
                <a:cubicBezTo>
                  <a:pt x="5843569" y="4541584"/>
                  <a:pt x="5843260" y="4539932"/>
                  <a:pt x="5841555" y="4539105"/>
                </a:cubicBezTo>
                <a:cubicBezTo>
                  <a:pt x="5842950" y="4537247"/>
                  <a:pt x="5844344" y="4535388"/>
                  <a:pt x="5846202" y="4537040"/>
                </a:cubicBezTo>
                <a:close/>
                <a:moveTo>
                  <a:pt x="1159205" y="4536609"/>
                </a:moveTo>
                <a:cubicBezTo>
                  <a:pt x="1159205" y="4536609"/>
                  <a:pt x="1159360" y="4536609"/>
                  <a:pt x="1159824" y="4536816"/>
                </a:cubicBezTo>
                <a:lnTo>
                  <a:pt x="1160599" y="4537745"/>
                </a:lnTo>
                <a:lnTo>
                  <a:pt x="1163232" y="4537022"/>
                </a:lnTo>
                <a:cubicBezTo>
                  <a:pt x="1166795" y="4540430"/>
                  <a:pt x="1165711" y="4545386"/>
                  <a:pt x="1162613" y="4547968"/>
                </a:cubicBezTo>
                <a:lnTo>
                  <a:pt x="1161374" y="4548587"/>
                </a:lnTo>
                <a:lnTo>
                  <a:pt x="1161993" y="4550549"/>
                </a:lnTo>
                <a:cubicBezTo>
                  <a:pt x="1162458" y="4551169"/>
                  <a:pt x="1162923" y="4551582"/>
                  <a:pt x="1163697" y="4552098"/>
                </a:cubicBezTo>
                <a:cubicBezTo>
                  <a:pt x="1163697" y="4552098"/>
                  <a:pt x="1163852" y="4552098"/>
                  <a:pt x="1163387" y="4554473"/>
                </a:cubicBezTo>
                <a:lnTo>
                  <a:pt x="1162767" y="4554886"/>
                </a:lnTo>
                <a:cubicBezTo>
                  <a:pt x="1162303" y="4554989"/>
                  <a:pt x="1161684" y="4554473"/>
                  <a:pt x="1161064" y="4553647"/>
                </a:cubicBezTo>
                <a:cubicBezTo>
                  <a:pt x="1160134" y="4552511"/>
                  <a:pt x="1159205" y="4550756"/>
                  <a:pt x="1158431" y="4549207"/>
                </a:cubicBezTo>
                <a:lnTo>
                  <a:pt x="1158275" y="4549000"/>
                </a:lnTo>
                <a:lnTo>
                  <a:pt x="1155177" y="4545490"/>
                </a:lnTo>
                <a:cubicBezTo>
                  <a:pt x="1154713" y="4544044"/>
                  <a:pt x="1155023" y="4542599"/>
                  <a:pt x="1155798" y="4541359"/>
                </a:cubicBezTo>
                <a:lnTo>
                  <a:pt x="1159050" y="4538158"/>
                </a:lnTo>
                <a:lnTo>
                  <a:pt x="1158741" y="4537952"/>
                </a:lnTo>
                <a:cubicBezTo>
                  <a:pt x="1158586" y="4537539"/>
                  <a:pt x="1158741" y="4537022"/>
                  <a:pt x="1159205" y="4536609"/>
                </a:cubicBezTo>
                <a:close/>
                <a:moveTo>
                  <a:pt x="971471" y="4536403"/>
                </a:moveTo>
                <a:cubicBezTo>
                  <a:pt x="971471" y="4536403"/>
                  <a:pt x="972555" y="4536713"/>
                  <a:pt x="972555" y="4536713"/>
                </a:cubicBezTo>
                <a:cubicBezTo>
                  <a:pt x="976737" y="4537126"/>
                  <a:pt x="980455" y="4540637"/>
                  <a:pt x="980455" y="4542495"/>
                </a:cubicBezTo>
                <a:cubicBezTo>
                  <a:pt x="979990" y="4544354"/>
                  <a:pt x="978441" y="4546212"/>
                  <a:pt x="976272" y="4546729"/>
                </a:cubicBezTo>
                <a:cubicBezTo>
                  <a:pt x="975498" y="4546935"/>
                  <a:pt x="974724" y="4546935"/>
                  <a:pt x="973794" y="4546729"/>
                </a:cubicBezTo>
                <a:cubicBezTo>
                  <a:pt x="970851" y="4546625"/>
                  <a:pt x="969302" y="4543631"/>
                  <a:pt x="965894" y="4542805"/>
                </a:cubicBezTo>
                <a:cubicBezTo>
                  <a:pt x="966669" y="4538468"/>
                  <a:pt x="966979" y="4537229"/>
                  <a:pt x="971471" y="4536403"/>
                </a:cubicBezTo>
                <a:close/>
                <a:moveTo>
                  <a:pt x="6043231" y="4536317"/>
                </a:moveTo>
                <a:cubicBezTo>
                  <a:pt x="6049271" y="4534046"/>
                  <a:pt x="6055312" y="4534975"/>
                  <a:pt x="6060269" y="4537867"/>
                </a:cubicBezTo>
                <a:cubicBezTo>
                  <a:pt x="6068789" y="4542513"/>
                  <a:pt x="6074520" y="4552735"/>
                  <a:pt x="6073745" y="4563268"/>
                </a:cubicBezTo>
                <a:cubicBezTo>
                  <a:pt x="6072661" y="4563474"/>
                  <a:pt x="6071422" y="4563680"/>
                  <a:pt x="6071886" y="4564919"/>
                </a:cubicBezTo>
                <a:cubicBezTo>
                  <a:pt x="6070028" y="4565436"/>
                  <a:pt x="6068169" y="4565642"/>
                  <a:pt x="6066310" y="4565539"/>
                </a:cubicBezTo>
                <a:cubicBezTo>
                  <a:pt x="6053144" y="4564713"/>
                  <a:pt x="6039513" y="4549328"/>
                  <a:pt x="6043231" y="4536317"/>
                </a:cubicBezTo>
                <a:close/>
                <a:moveTo>
                  <a:pt x="1030331" y="4536300"/>
                </a:moveTo>
                <a:cubicBezTo>
                  <a:pt x="1032035" y="4535267"/>
                  <a:pt x="1032655" y="4535783"/>
                  <a:pt x="1033739" y="4538571"/>
                </a:cubicBezTo>
                <a:cubicBezTo>
                  <a:pt x="1034204" y="4540946"/>
                  <a:pt x="1035133" y="4542599"/>
                  <a:pt x="1034513" y="4543424"/>
                </a:cubicBezTo>
                <a:cubicBezTo>
                  <a:pt x="1035288" y="4543838"/>
                  <a:pt x="1035443" y="4544973"/>
                  <a:pt x="1036217" y="4545490"/>
                </a:cubicBezTo>
                <a:cubicBezTo>
                  <a:pt x="1036217" y="4545490"/>
                  <a:pt x="1036217" y="4545490"/>
                  <a:pt x="1035752" y="4546212"/>
                </a:cubicBezTo>
                <a:cubicBezTo>
                  <a:pt x="1033429" y="4543734"/>
                  <a:pt x="1029557" y="4542185"/>
                  <a:pt x="1028317" y="4539398"/>
                </a:cubicBezTo>
                <a:cubicBezTo>
                  <a:pt x="1028317" y="4538778"/>
                  <a:pt x="1028162" y="4538158"/>
                  <a:pt x="1028317" y="4537642"/>
                </a:cubicBezTo>
                <a:cubicBezTo>
                  <a:pt x="1028628" y="4537126"/>
                  <a:pt x="1029092" y="4536609"/>
                  <a:pt x="1030331" y="4536300"/>
                </a:cubicBezTo>
                <a:close/>
                <a:moveTo>
                  <a:pt x="6486079" y="4536111"/>
                </a:moveTo>
                <a:lnTo>
                  <a:pt x="6482981" y="4536214"/>
                </a:lnTo>
                <a:lnTo>
                  <a:pt x="6484375" y="4540241"/>
                </a:lnTo>
                <a:cubicBezTo>
                  <a:pt x="6483911" y="4539415"/>
                  <a:pt x="6483601" y="4540654"/>
                  <a:pt x="6483601" y="4540654"/>
                </a:cubicBezTo>
                <a:cubicBezTo>
                  <a:pt x="6483446" y="4541894"/>
                  <a:pt x="6484530" y="4541997"/>
                  <a:pt x="6485614" y="4542203"/>
                </a:cubicBezTo>
                <a:lnTo>
                  <a:pt x="6486699" y="4542616"/>
                </a:lnTo>
                <a:lnTo>
                  <a:pt x="6487163" y="4542306"/>
                </a:lnTo>
                <a:cubicBezTo>
                  <a:pt x="6488557" y="4540964"/>
                  <a:pt x="6490261" y="4539828"/>
                  <a:pt x="6493669" y="4539725"/>
                </a:cubicBezTo>
                <a:lnTo>
                  <a:pt x="6492120" y="4537867"/>
                </a:lnTo>
                <a:lnTo>
                  <a:pt x="6490881" y="4537867"/>
                </a:lnTo>
                <a:cubicBezTo>
                  <a:pt x="6490571" y="4537763"/>
                  <a:pt x="6490571" y="4537660"/>
                  <a:pt x="6490881" y="4538073"/>
                </a:cubicBezTo>
                <a:cubicBezTo>
                  <a:pt x="6489642" y="4537763"/>
                  <a:pt x="6488402" y="4537557"/>
                  <a:pt x="6487318" y="4537247"/>
                </a:cubicBezTo>
                <a:close/>
                <a:moveTo>
                  <a:pt x="913849" y="4535267"/>
                </a:moveTo>
                <a:cubicBezTo>
                  <a:pt x="913075" y="4537952"/>
                  <a:pt x="912301" y="4539088"/>
                  <a:pt x="911216" y="4539294"/>
                </a:cubicBezTo>
                <a:cubicBezTo>
                  <a:pt x="910287" y="4539398"/>
                  <a:pt x="909048" y="4538571"/>
                  <a:pt x="907189" y="4537539"/>
                </a:cubicBezTo>
                <a:cubicBezTo>
                  <a:pt x="908583" y="4534028"/>
                  <a:pt x="910596" y="4534028"/>
                  <a:pt x="913849" y="4535267"/>
                </a:cubicBezTo>
                <a:close/>
                <a:moveTo>
                  <a:pt x="1604686" y="4535164"/>
                </a:moveTo>
                <a:cubicBezTo>
                  <a:pt x="1606081" y="4537022"/>
                  <a:pt x="1606236" y="4541256"/>
                  <a:pt x="1604222" y="4543011"/>
                </a:cubicBezTo>
                <a:cubicBezTo>
                  <a:pt x="1601280" y="4543528"/>
                  <a:pt x="1600969" y="4541669"/>
                  <a:pt x="1599111" y="4542185"/>
                </a:cubicBezTo>
                <a:cubicBezTo>
                  <a:pt x="1599111" y="4537952"/>
                  <a:pt x="1600969" y="4536300"/>
                  <a:pt x="1604686" y="4535164"/>
                </a:cubicBezTo>
                <a:close/>
                <a:moveTo>
                  <a:pt x="832219" y="4535164"/>
                </a:moveTo>
                <a:cubicBezTo>
                  <a:pt x="834543" y="4535758"/>
                  <a:pt x="836479" y="4537126"/>
                  <a:pt x="836711" y="4538881"/>
                </a:cubicBezTo>
                <a:cubicBezTo>
                  <a:pt x="835472" y="4544767"/>
                  <a:pt x="832838" y="4547658"/>
                  <a:pt x="830205" y="4548381"/>
                </a:cubicBezTo>
                <a:cubicBezTo>
                  <a:pt x="827572" y="4549000"/>
                  <a:pt x="825094" y="4547451"/>
                  <a:pt x="824319" y="4544250"/>
                </a:cubicBezTo>
                <a:cubicBezTo>
                  <a:pt x="823855" y="4542185"/>
                  <a:pt x="824009" y="4539398"/>
                  <a:pt x="825403" y="4536093"/>
                </a:cubicBezTo>
                <a:cubicBezTo>
                  <a:pt x="827185" y="4534751"/>
                  <a:pt x="829896" y="4534570"/>
                  <a:pt x="832219" y="4535164"/>
                </a:cubicBezTo>
                <a:close/>
                <a:moveTo>
                  <a:pt x="1482628" y="4535061"/>
                </a:moveTo>
                <a:cubicBezTo>
                  <a:pt x="1485571" y="4535164"/>
                  <a:pt x="1486656" y="4537436"/>
                  <a:pt x="1487121" y="4540120"/>
                </a:cubicBezTo>
                <a:cubicBezTo>
                  <a:pt x="1488670" y="4541153"/>
                  <a:pt x="1490374" y="4541049"/>
                  <a:pt x="1490528" y="4543011"/>
                </a:cubicBezTo>
                <a:cubicBezTo>
                  <a:pt x="1487895" y="4541669"/>
                  <a:pt x="1486811" y="4541359"/>
                  <a:pt x="1485261" y="4540327"/>
                </a:cubicBezTo>
                <a:cubicBezTo>
                  <a:pt x="1484487" y="4540843"/>
                  <a:pt x="1483868" y="4541256"/>
                  <a:pt x="1482628" y="4540946"/>
                </a:cubicBezTo>
                <a:cubicBezTo>
                  <a:pt x="1480460" y="4540327"/>
                  <a:pt x="1480460" y="4538365"/>
                  <a:pt x="1478911" y="4537333"/>
                </a:cubicBezTo>
                <a:cubicBezTo>
                  <a:pt x="1479221" y="4536093"/>
                  <a:pt x="1480305" y="4534441"/>
                  <a:pt x="1482628" y="4535061"/>
                </a:cubicBezTo>
                <a:close/>
                <a:moveTo>
                  <a:pt x="5553913" y="4534769"/>
                </a:moveTo>
                <a:cubicBezTo>
                  <a:pt x="5554688" y="4536524"/>
                  <a:pt x="5553603" y="4538279"/>
                  <a:pt x="5552519" y="4539932"/>
                </a:cubicBezTo>
                <a:cubicBezTo>
                  <a:pt x="5551590" y="4541274"/>
                  <a:pt x="5550815" y="4541584"/>
                  <a:pt x="5549886" y="4541480"/>
                </a:cubicBezTo>
                <a:cubicBezTo>
                  <a:pt x="5549112" y="4541377"/>
                  <a:pt x="5548337" y="4540654"/>
                  <a:pt x="5547562" y="4539828"/>
                </a:cubicBezTo>
                <a:cubicBezTo>
                  <a:pt x="5546013" y="4538073"/>
                  <a:pt x="5546943" y="4536421"/>
                  <a:pt x="5546943" y="4536421"/>
                </a:cubicBezTo>
                <a:cubicBezTo>
                  <a:pt x="5548956" y="4533839"/>
                  <a:pt x="5551590" y="4533013"/>
                  <a:pt x="5553913" y="4534769"/>
                </a:cubicBezTo>
                <a:close/>
                <a:moveTo>
                  <a:pt x="1721943" y="4534648"/>
                </a:moveTo>
                <a:cubicBezTo>
                  <a:pt x="1721788" y="4537333"/>
                  <a:pt x="1721478" y="4539294"/>
                  <a:pt x="1720394" y="4542289"/>
                </a:cubicBezTo>
                <a:cubicBezTo>
                  <a:pt x="1720394" y="4542289"/>
                  <a:pt x="1717916" y="4546729"/>
                  <a:pt x="1715128" y="4545903"/>
                </a:cubicBezTo>
                <a:cubicBezTo>
                  <a:pt x="1714818" y="4546109"/>
                  <a:pt x="1714353" y="4545386"/>
                  <a:pt x="1714043" y="4544457"/>
                </a:cubicBezTo>
                <a:cubicBezTo>
                  <a:pt x="1713888" y="4543528"/>
                  <a:pt x="1713888" y="4542392"/>
                  <a:pt x="1714043" y="4541876"/>
                </a:cubicBezTo>
                <a:lnTo>
                  <a:pt x="1716057" y="4539810"/>
                </a:lnTo>
                <a:lnTo>
                  <a:pt x="1705989" y="4546109"/>
                </a:lnTo>
                <a:cubicBezTo>
                  <a:pt x="1704130" y="4547038"/>
                  <a:pt x="1702117" y="4547761"/>
                  <a:pt x="1699793" y="4548071"/>
                </a:cubicBezTo>
                <a:cubicBezTo>
                  <a:pt x="1697470" y="4548484"/>
                  <a:pt x="1694991" y="4548484"/>
                  <a:pt x="1692048" y="4547968"/>
                </a:cubicBezTo>
                <a:cubicBezTo>
                  <a:pt x="1690964" y="4545386"/>
                  <a:pt x="1686937" y="4542908"/>
                  <a:pt x="1689570" y="4539707"/>
                </a:cubicBezTo>
                <a:cubicBezTo>
                  <a:pt x="1698554" y="4544354"/>
                  <a:pt x="1706298" y="4535164"/>
                  <a:pt x="1713269" y="4537745"/>
                </a:cubicBezTo>
                <a:lnTo>
                  <a:pt x="1716212" y="4539604"/>
                </a:lnTo>
                <a:lnTo>
                  <a:pt x="1717606" y="4538055"/>
                </a:lnTo>
                <a:cubicBezTo>
                  <a:pt x="1718071" y="4536919"/>
                  <a:pt x="1718690" y="4535783"/>
                  <a:pt x="1719465" y="4535164"/>
                </a:cubicBezTo>
                <a:cubicBezTo>
                  <a:pt x="1720085" y="4534441"/>
                  <a:pt x="1721014" y="4534132"/>
                  <a:pt x="1721943" y="4534648"/>
                </a:cubicBezTo>
                <a:close/>
                <a:moveTo>
                  <a:pt x="1816120" y="4533202"/>
                </a:moveTo>
                <a:cubicBezTo>
                  <a:pt x="1816585" y="4533099"/>
                  <a:pt x="1817204" y="4533202"/>
                  <a:pt x="1817514" y="4533718"/>
                </a:cubicBezTo>
                <a:cubicBezTo>
                  <a:pt x="1816275" y="4534854"/>
                  <a:pt x="1814881" y="4537022"/>
                  <a:pt x="1813023" y="4537436"/>
                </a:cubicBezTo>
                <a:cubicBezTo>
                  <a:pt x="1812248" y="4537539"/>
                  <a:pt x="1811628" y="4537539"/>
                  <a:pt x="1810699" y="4537229"/>
                </a:cubicBezTo>
                <a:cubicBezTo>
                  <a:pt x="1812093" y="4535990"/>
                  <a:pt x="1814261" y="4533615"/>
                  <a:pt x="1816120" y="4533202"/>
                </a:cubicBezTo>
                <a:close/>
                <a:moveTo>
                  <a:pt x="710935" y="4532892"/>
                </a:moveTo>
                <a:cubicBezTo>
                  <a:pt x="712794" y="4532686"/>
                  <a:pt x="712020" y="4533099"/>
                  <a:pt x="713103" y="4533409"/>
                </a:cubicBezTo>
                <a:cubicBezTo>
                  <a:pt x="714343" y="4533615"/>
                  <a:pt x="716201" y="4533512"/>
                  <a:pt x="716821" y="4533099"/>
                </a:cubicBezTo>
                <a:cubicBezTo>
                  <a:pt x="716201" y="4537436"/>
                  <a:pt x="719144" y="4537539"/>
                  <a:pt x="717750" y="4544250"/>
                </a:cubicBezTo>
                <a:cubicBezTo>
                  <a:pt x="716821" y="4550859"/>
                  <a:pt x="713103" y="4553440"/>
                  <a:pt x="709696" y="4554163"/>
                </a:cubicBezTo>
                <a:lnTo>
                  <a:pt x="706753" y="4554267"/>
                </a:lnTo>
                <a:lnTo>
                  <a:pt x="705978" y="4556848"/>
                </a:lnTo>
                <a:cubicBezTo>
                  <a:pt x="700712" y="4553957"/>
                  <a:pt x="699628" y="4558810"/>
                  <a:pt x="696839" y="4560358"/>
                </a:cubicBezTo>
                <a:cubicBezTo>
                  <a:pt x="696065" y="4560875"/>
                  <a:pt x="694981" y="4560978"/>
                  <a:pt x="693587" y="4560255"/>
                </a:cubicBezTo>
                <a:cubicBezTo>
                  <a:pt x="692038" y="4558190"/>
                  <a:pt x="689560" y="4556641"/>
                  <a:pt x="688940" y="4553853"/>
                </a:cubicBezTo>
                <a:cubicBezTo>
                  <a:pt x="688630" y="4552924"/>
                  <a:pt x="688630" y="4551891"/>
                  <a:pt x="688785" y="4550549"/>
                </a:cubicBezTo>
                <a:cubicBezTo>
                  <a:pt x="692347" y="4551169"/>
                  <a:pt x="695291" y="4551169"/>
                  <a:pt x="698079" y="4550859"/>
                </a:cubicBezTo>
                <a:lnTo>
                  <a:pt x="700557" y="4550549"/>
                </a:lnTo>
                <a:lnTo>
                  <a:pt x="698853" y="4548484"/>
                </a:lnTo>
                <a:cubicBezTo>
                  <a:pt x="698234" y="4547038"/>
                  <a:pt x="697924" y="4545077"/>
                  <a:pt x="698234" y="4542599"/>
                </a:cubicBezTo>
                <a:cubicBezTo>
                  <a:pt x="699318" y="4537022"/>
                  <a:pt x="702261" y="4531343"/>
                  <a:pt x="710935" y="4532892"/>
                </a:cubicBezTo>
                <a:close/>
                <a:moveTo>
                  <a:pt x="1759893" y="4531860"/>
                </a:moveTo>
                <a:cubicBezTo>
                  <a:pt x="1760977" y="4531550"/>
                  <a:pt x="1761287" y="4530827"/>
                  <a:pt x="1762526" y="4532376"/>
                </a:cubicBezTo>
                <a:cubicBezTo>
                  <a:pt x="1763300" y="4532789"/>
                  <a:pt x="1763611" y="4533925"/>
                  <a:pt x="1764385" y="4534441"/>
                </a:cubicBezTo>
                <a:cubicBezTo>
                  <a:pt x="1764385" y="4534441"/>
                  <a:pt x="1764385" y="4535061"/>
                  <a:pt x="1764230" y="4535783"/>
                </a:cubicBezTo>
                <a:cubicBezTo>
                  <a:pt x="1763920" y="4536506"/>
                  <a:pt x="1763611" y="4537229"/>
                  <a:pt x="1762991" y="4537436"/>
                </a:cubicBezTo>
                <a:cubicBezTo>
                  <a:pt x="1762681" y="4537745"/>
                  <a:pt x="1762371" y="4537642"/>
                  <a:pt x="1762061" y="4537539"/>
                </a:cubicBezTo>
                <a:cubicBezTo>
                  <a:pt x="1760977" y="4536919"/>
                  <a:pt x="1760202" y="4534854"/>
                  <a:pt x="1759583" y="4534544"/>
                </a:cubicBezTo>
                <a:cubicBezTo>
                  <a:pt x="1759119" y="4533305"/>
                  <a:pt x="1758809" y="4532170"/>
                  <a:pt x="1759893" y="4531860"/>
                </a:cubicBezTo>
                <a:close/>
                <a:moveTo>
                  <a:pt x="991917" y="4531860"/>
                </a:moveTo>
                <a:cubicBezTo>
                  <a:pt x="993156" y="4531550"/>
                  <a:pt x="994395" y="4532479"/>
                  <a:pt x="995944" y="4534544"/>
                </a:cubicBezTo>
                <a:cubicBezTo>
                  <a:pt x="995790" y="4536506"/>
                  <a:pt x="992227" y="4537436"/>
                  <a:pt x="990523" y="4538468"/>
                </a:cubicBezTo>
                <a:cubicBezTo>
                  <a:pt x="990368" y="4537229"/>
                  <a:pt x="990213" y="4536093"/>
                  <a:pt x="989748" y="4536816"/>
                </a:cubicBezTo>
                <a:cubicBezTo>
                  <a:pt x="989594" y="4535680"/>
                  <a:pt x="989748" y="4534648"/>
                  <a:pt x="990058" y="4533925"/>
                </a:cubicBezTo>
                <a:cubicBezTo>
                  <a:pt x="990523" y="4533099"/>
                  <a:pt x="991143" y="4532376"/>
                  <a:pt x="991917" y="4531860"/>
                </a:cubicBezTo>
                <a:close/>
                <a:moveTo>
                  <a:pt x="6155685" y="4531568"/>
                </a:moveTo>
                <a:lnTo>
                  <a:pt x="6156460" y="4533530"/>
                </a:lnTo>
                <a:lnTo>
                  <a:pt x="6157389" y="4533013"/>
                </a:lnTo>
                <a:cubicBezTo>
                  <a:pt x="6160487" y="4533736"/>
                  <a:pt x="6162656" y="4536111"/>
                  <a:pt x="6162965" y="4538693"/>
                </a:cubicBezTo>
                <a:lnTo>
                  <a:pt x="6162036" y="4542203"/>
                </a:lnTo>
                <a:lnTo>
                  <a:pt x="6166528" y="4545714"/>
                </a:lnTo>
                <a:cubicBezTo>
                  <a:pt x="6167922" y="4546850"/>
                  <a:pt x="6169316" y="4548089"/>
                  <a:pt x="6170555" y="4549534"/>
                </a:cubicBezTo>
                <a:cubicBezTo>
                  <a:pt x="6171949" y="4551496"/>
                  <a:pt x="6172879" y="4553871"/>
                  <a:pt x="6172879" y="4556969"/>
                </a:cubicBezTo>
                <a:cubicBezTo>
                  <a:pt x="6173034" y="4560273"/>
                  <a:pt x="6172259" y="4563371"/>
                  <a:pt x="6171020" y="4565952"/>
                </a:cubicBezTo>
                <a:lnTo>
                  <a:pt x="6170865" y="4566262"/>
                </a:lnTo>
                <a:lnTo>
                  <a:pt x="6171949" y="4567398"/>
                </a:lnTo>
                <a:lnTo>
                  <a:pt x="6173653" y="4570392"/>
                </a:lnTo>
                <a:lnTo>
                  <a:pt x="6175047" y="4569050"/>
                </a:lnTo>
                <a:cubicBezTo>
                  <a:pt x="6181863" y="4564713"/>
                  <a:pt x="6190227" y="4564403"/>
                  <a:pt x="6195493" y="4569876"/>
                </a:cubicBezTo>
                <a:cubicBezTo>
                  <a:pt x="6197352" y="4572354"/>
                  <a:pt x="6198282" y="4574832"/>
                  <a:pt x="6198282" y="4577104"/>
                </a:cubicBezTo>
                <a:lnTo>
                  <a:pt x="6196733" y="4581957"/>
                </a:lnTo>
                <a:lnTo>
                  <a:pt x="6197043" y="4582576"/>
                </a:lnTo>
                <a:lnTo>
                  <a:pt x="6196578" y="4582679"/>
                </a:lnTo>
                <a:lnTo>
                  <a:pt x="6196423" y="4583196"/>
                </a:lnTo>
                <a:cubicBezTo>
                  <a:pt x="6193790" y="4586810"/>
                  <a:pt x="6188988" y="4588978"/>
                  <a:pt x="6184031" y="4588565"/>
                </a:cubicBezTo>
                <a:cubicBezTo>
                  <a:pt x="6182482" y="4588462"/>
                  <a:pt x="6180933" y="4588255"/>
                  <a:pt x="6179539" y="4587636"/>
                </a:cubicBezTo>
                <a:lnTo>
                  <a:pt x="6175822" y="4585468"/>
                </a:lnTo>
                <a:lnTo>
                  <a:pt x="6175357" y="4586397"/>
                </a:lnTo>
                <a:cubicBezTo>
                  <a:pt x="6174737" y="4588049"/>
                  <a:pt x="6174118" y="4589598"/>
                  <a:pt x="6172259" y="4591146"/>
                </a:cubicBezTo>
                <a:cubicBezTo>
                  <a:pt x="6170091" y="4588462"/>
                  <a:pt x="6167922" y="4585777"/>
                  <a:pt x="6165908" y="4583093"/>
                </a:cubicBezTo>
                <a:lnTo>
                  <a:pt x="6160487" y="4575245"/>
                </a:lnTo>
                <a:lnTo>
                  <a:pt x="6158473" y="4576381"/>
                </a:lnTo>
                <a:cubicBezTo>
                  <a:pt x="6155995" y="4577207"/>
                  <a:pt x="6153207" y="4577517"/>
                  <a:pt x="6150574" y="4577310"/>
                </a:cubicBezTo>
                <a:cubicBezTo>
                  <a:pt x="6144378" y="4576897"/>
                  <a:pt x="6138802" y="4573490"/>
                  <a:pt x="6136943" y="4566778"/>
                </a:cubicBezTo>
                <a:cubicBezTo>
                  <a:pt x="6136323" y="4564094"/>
                  <a:pt x="6136168" y="4561099"/>
                  <a:pt x="6136788" y="4557485"/>
                </a:cubicBezTo>
                <a:cubicBezTo>
                  <a:pt x="6139111" y="4547676"/>
                  <a:pt x="6148560" y="4542410"/>
                  <a:pt x="6155685" y="4531568"/>
                </a:cubicBezTo>
                <a:close/>
                <a:moveTo>
                  <a:pt x="780793" y="4531343"/>
                </a:moveTo>
                <a:cubicBezTo>
                  <a:pt x="783272" y="4529795"/>
                  <a:pt x="789932" y="4534338"/>
                  <a:pt x="792565" y="4537022"/>
                </a:cubicBezTo>
                <a:cubicBezTo>
                  <a:pt x="791946" y="4537333"/>
                  <a:pt x="791171" y="4537436"/>
                  <a:pt x="790087" y="4537229"/>
                </a:cubicBezTo>
                <a:cubicBezTo>
                  <a:pt x="787144" y="4536403"/>
                  <a:pt x="782807" y="4533409"/>
                  <a:pt x="780793" y="4531343"/>
                </a:cubicBezTo>
                <a:close/>
                <a:moveTo>
                  <a:pt x="1105301" y="4531240"/>
                </a:moveTo>
                <a:cubicBezTo>
                  <a:pt x="1108709" y="4529691"/>
                  <a:pt x="1112271" y="4536713"/>
                  <a:pt x="1111497" y="4538365"/>
                </a:cubicBezTo>
                <a:cubicBezTo>
                  <a:pt x="1109793" y="4539191"/>
                  <a:pt x="1102203" y="4533718"/>
                  <a:pt x="1105301" y="4531240"/>
                </a:cubicBezTo>
                <a:close/>
                <a:moveTo>
                  <a:pt x="695445" y="4530827"/>
                </a:moveTo>
                <a:cubicBezTo>
                  <a:pt x="695445" y="4532789"/>
                  <a:pt x="697304" y="4534544"/>
                  <a:pt x="696530" y="4536919"/>
                </a:cubicBezTo>
                <a:cubicBezTo>
                  <a:pt x="696530" y="4536919"/>
                  <a:pt x="696220" y="4538158"/>
                  <a:pt x="694671" y="4539088"/>
                </a:cubicBezTo>
                <a:cubicBezTo>
                  <a:pt x="693277" y="4541876"/>
                  <a:pt x="689869" y="4541049"/>
                  <a:pt x="689869" y="4541049"/>
                </a:cubicBezTo>
                <a:cubicBezTo>
                  <a:pt x="689869" y="4541049"/>
                  <a:pt x="689869" y="4541049"/>
                  <a:pt x="690179" y="4541876"/>
                </a:cubicBezTo>
                <a:cubicBezTo>
                  <a:pt x="689560" y="4540327"/>
                  <a:pt x="688010" y="4539294"/>
                  <a:pt x="687236" y="4537848"/>
                </a:cubicBezTo>
                <a:cubicBezTo>
                  <a:pt x="688630" y="4529175"/>
                  <a:pt x="691264" y="4530517"/>
                  <a:pt x="695445" y="4530827"/>
                </a:cubicBezTo>
                <a:close/>
                <a:moveTo>
                  <a:pt x="1460943" y="4530724"/>
                </a:moveTo>
                <a:cubicBezTo>
                  <a:pt x="1461872" y="4533409"/>
                  <a:pt x="1463421" y="4535371"/>
                  <a:pt x="1464816" y="4537126"/>
                </a:cubicBezTo>
                <a:lnTo>
                  <a:pt x="1467604" y="4541463"/>
                </a:lnTo>
                <a:lnTo>
                  <a:pt x="1467449" y="4540946"/>
                </a:lnTo>
                <a:cubicBezTo>
                  <a:pt x="1469617" y="4537952"/>
                  <a:pt x="1472095" y="4536816"/>
                  <a:pt x="1476742" y="4537022"/>
                </a:cubicBezTo>
                <a:cubicBezTo>
                  <a:pt x="1479221" y="4540223"/>
                  <a:pt x="1477827" y="4548174"/>
                  <a:pt x="1472095" y="4547865"/>
                </a:cubicBezTo>
                <a:cubicBezTo>
                  <a:pt x="1471011" y="4547245"/>
                  <a:pt x="1469772" y="4546625"/>
                  <a:pt x="1468997" y="4545593"/>
                </a:cubicBezTo>
                <a:lnTo>
                  <a:pt x="1467913" y="4542392"/>
                </a:lnTo>
                <a:lnTo>
                  <a:pt x="1460788" y="4539604"/>
                </a:lnTo>
                <a:cubicBezTo>
                  <a:pt x="1458465" y="4537952"/>
                  <a:pt x="1456761" y="4535474"/>
                  <a:pt x="1457535" y="4531550"/>
                </a:cubicBezTo>
                <a:cubicBezTo>
                  <a:pt x="1458620" y="4531240"/>
                  <a:pt x="1459704" y="4530931"/>
                  <a:pt x="1460943" y="4530724"/>
                </a:cubicBezTo>
                <a:close/>
                <a:moveTo>
                  <a:pt x="1373117" y="4530311"/>
                </a:moveTo>
                <a:cubicBezTo>
                  <a:pt x="1373582" y="4530621"/>
                  <a:pt x="1374201" y="4530827"/>
                  <a:pt x="1374356" y="4531240"/>
                </a:cubicBezTo>
                <a:cubicBezTo>
                  <a:pt x="1374666" y="4531756"/>
                  <a:pt x="1374666" y="4532376"/>
                  <a:pt x="1374047" y="4533615"/>
                </a:cubicBezTo>
                <a:cubicBezTo>
                  <a:pt x="1373891" y="4534544"/>
                  <a:pt x="1373736" y="4535164"/>
                  <a:pt x="1373117" y="4535371"/>
                </a:cubicBezTo>
                <a:cubicBezTo>
                  <a:pt x="1372497" y="4535577"/>
                  <a:pt x="1371568" y="4535577"/>
                  <a:pt x="1370019" y="4535267"/>
                </a:cubicBezTo>
                <a:cubicBezTo>
                  <a:pt x="1368005" y="4534338"/>
                  <a:pt x="1366147" y="4534132"/>
                  <a:pt x="1365837" y="4533305"/>
                </a:cubicBezTo>
                <a:cubicBezTo>
                  <a:pt x="1365062" y="4533615"/>
                  <a:pt x="1363978" y="4533202"/>
                  <a:pt x="1363203" y="4533512"/>
                </a:cubicBezTo>
                <a:cubicBezTo>
                  <a:pt x="1363203" y="4533512"/>
                  <a:pt x="1363203" y="4533512"/>
                  <a:pt x="1362894" y="4532686"/>
                </a:cubicBezTo>
                <a:cubicBezTo>
                  <a:pt x="1366456" y="4532170"/>
                  <a:pt x="1370174" y="4529691"/>
                  <a:pt x="1373117" y="4530311"/>
                </a:cubicBezTo>
                <a:close/>
                <a:moveTo>
                  <a:pt x="1383650" y="4530001"/>
                </a:moveTo>
                <a:cubicBezTo>
                  <a:pt x="1385044" y="4531860"/>
                  <a:pt x="1386748" y="4531137"/>
                  <a:pt x="1388142" y="4532996"/>
                </a:cubicBezTo>
                <a:cubicBezTo>
                  <a:pt x="1383804" y="4536609"/>
                  <a:pt x="1379313" y="4540637"/>
                  <a:pt x="1375440" y="4541153"/>
                </a:cubicBezTo>
                <a:cubicBezTo>
                  <a:pt x="1374201" y="4541256"/>
                  <a:pt x="1372962" y="4541049"/>
                  <a:pt x="1371878" y="4540327"/>
                </a:cubicBezTo>
                <a:cubicBezTo>
                  <a:pt x="1371878" y="4535061"/>
                  <a:pt x="1379313" y="4531343"/>
                  <a:pt x="1383650" y="4530001"/>
                </a:cubicBezTo>
                <a:close/>
                <a:moveTo>
                  <a:pt x="1131169" y="4529175"/>
                </a:moveTo>
                <a:cubicBezTo>
                  <a:pt x="1131169" y="4530414"/>
                  <a:pt x="1131014" y="4531963"/>
                  <a:pt x="1130704" y="4533305"/>
                </a:cubicBezTo>
                <a:lnTo>
                  <a:pt x="1129775" y="4536506"/>
                </a:lnTo>
                <a:lnTo>
                  <a:pt x="1130085" y="4536609"/>
                </a:lnTo>
                <a:cubicBezTo>
                  <a:pt x="1133957" y="4538571"/>
                  <a:pt x="1137364" y="4541566"/>
                  <a:pt x="1139378" y="4544044"/>
                </a:cubicBezTo>
                <a:cubicBezTo>
                  <a:pt x="1137364" y="4544767"/>
                  <a:pt x="1135197" y="4544973"/>
                  <a:pt x="1133028" y="4544767"/>
                </a:cubicBezTo>
                <a:cubicBezTo>
                  <a:pt x="1126367" y="4544044"/>
                  <a:pt x="1119861" y="4539501"/>
                  <a:pt x="1117848" y="4535164"/>
                </a:cubicBezTo>
                <a:cubicBezTo>
                  <a:pt x="1119861" y="4534338"/>
                  <a:pt x="1121875" y="4534235"/>
                  <a:pt x="1124044" y="4534544"/>
                </a:cubicBezTo>
                <a:lnTo>
                  <a:pt x="1129619" y="4536403"/>
                </a:lnTo>
                <a:lnTo>
                  <a:pt x="1129155" y="4533409"/>
                </a:lnTo>
                <a:cubicBezTo>
                  <a:pt x="1129155" y="4532066"/>
                  <a:pt x="1129465" y="4530827"/>
                  <a:pt x="1130395" y="4530001"/>
                </a:cubicBezTo>
                <a:cubicBezTo>
                  <a:pt x="1130395" y="4530001"/>
                  <a:pt x="1130395" y="4530001"/>
                  <a:pt x="1131169" y="4529175"/>
                </a:cubicBezTo>
                <a:close/>
                <a:moveTo>
                  <a:pt x="1740996" y="4527007"/>
                </a:moveTo>
                <a:cubicBezTo>
                  <a:pt x="1744249" y="4530001"/>
                  <a:pt x="1745023" y="4531034"/>
                  <a:pt x="1743319" y="4535164"/>
                </a:cubicBezTo>
                <a:cubicBezTo>
                  <a:pt x="1743319" y="4535164"/>
                  <a:pt x="1742389" y="4535887"/>
                  <a:pt x="1742389" y="4535887"/>
                </a:cubicBezTo>
                <a:cubicBezTo>
                  <a:pt x="1740996" y="4537436"/>
                  <a:pt x="1739137" y="4538468"/>
                  <a:pt x="1737278" y="4539088"/>
                </a:cubicBezTo>
                <a:cubicBezTo>
                  <a:pt x="1735574" y="4539604"/>
                  <a:pt x="1733870" y="4539604"/>
                  <a:pt x="1733096" y="4539088"/>
                </a:cubicBezTo>
                <a:cubicBezTo>
                  <a:pt x="1731392" y="4537126"/>
                  <a:pt x="1730617" y="4533615"/>
                  <a:pt x="1733251" y="4531343"/>
                </a:cubicBezTo>
                <a:cubicBezTo>
                  <a:pt x="1734954" y="4528969"/>
                  <a:pt x="1738362" y="4529381"/>
                  <a:pt x="1740996" y="4527007"/>
                </a:cubicBezTo>
                <a:close/>
                <a:moveTo>
                  <a:pt x="1442510" y="4526697"/>
                </a:moveTo>
                <a:cubicBezTo>
                  <a:pt x="1443130" y="4528969"/>
                  <a:pt x="1443439" y="4530104"/>
                  <a:pt x="1444524" y="4531550"/>
                </a:cubicBezTo>
                <a:cubicBezTo>
                  <a:pt x="1439413" y="4533409"/>
                  <a:pt x="1436779" y="4536403"/>
                  <a:pt x="1433837" y="4536093"/>
                </a:cubicBezTo>
                <a:cubicBezTo>
                  <a:pt x="1432907" y="4535990"/>
                  <a:pt x="1431977" y="4535474"/>
                  <a:pt x="1430893" y="4534441"/>
                </a:cubicBezTo>
                <a:cubicBezTo>
                  <a:pt x="1431822" y="4531034"/>
                  <a:pt x="1437554" y="4529072"/>
                  <a:pt x="1442510" y="4526697"/>
                </a:cubicBezTo>
                <a:close/>
                <a:moveTo>
                  <a:pt x="996255" y="4526697"/>
                </a:moveTo>
                <a:lnTo>
                  <a:pt x="995790" y="4526904"/>
                </a:lnTo>
                <a:lnTo>
                  <a:pt x="996719" y="4528142"/>
                </a:lnTo>
                <a:lnTo>
                  <a:pt x="997494" y="4528246"/>
                </a:lnTo>
                <a:close/>
                <a:moveTo>
                  <a:pt x="5893910" y="4525785"/>
                </a:moveTo>
                <a:cubicBezTo>
                  <a:pt x="5895614" y="4526715"/>
                  <a:pt x="5896544" y="4527644"/>
                  <a:pt x="5898248" y="4528573"/>
                </a:cubicBezTo>
                <a:lnTo>
                  <a:pt x="5898867" y="4530948"/>
                </a:lnTo>
                <a:lnTo>
                  <a:pt x="5903669" y="4532807"/>
                </a:lnTo>
                <a:cubicBezTo>
                  <a:pt x="5904599" y="4533633"/>
                  <a:pt x="5906767" y="4537040"/>
                  <a:pt x="5905992" y="4537970"/>
                </a:cubicBezTo>
                <a:cubicBezTo>
                  <a:pt x="5905373" y="4538899"/>
                  <a:pt x="5904443" y="4538899"/>
                  <a:pt x="5903669" y="4538899"/>
                </a:cubicBezTo>
                <a:lnTo>
                  <a:pt x="5898712" y="4536834"/>
                </a:lnTo>
                <a:lnTo>
                  <a:pt x="5897938" y="4538899"/>
                </a:lnTo>
                <a:cubicBezTo>
                  <a:pt x="5896854" y="4540138"/>
                  <a:pt x="5895769" y="4540861"/>
                  <a:pt x="5894840" y="4541067"/>
                </a:cubicBezTo>
                <a:lnTo>
                  <a:pt x="5893601" y="4541067"/>
                </a:lnTo>
                <a:lnTo>
                  <a:pt x="5893756" y="4542100"/>
                </a:lnTo>
                <a:lnTo>
                  <a:pt x="5891277" y="4543442"/>
                </a:lnTo>
                <a:lnTo>
                  <a:pt x="5890193" y="4545095"/>
                </a:lnTo>
                <a:cubicBezTo>
                  <a:pt x="5888954" y="4545404"/>
                  <a:pt x="5888179" y="4545611"/>
                  <a:pt x="5887560" y="4545404"/>
                </a:cubicBezTo>
                <a:cubicBezTo>
                  <a:pt x="5886940" y="4545198"/>
                  <a:pt x="5886630" y="4544578"/>
                  <a:pt x="5886166" y="4543339"/>
                </a:cubicBezTo>
                <a:lnTo>
                  <a:pt x="5886011" y="4542823"/>
                </a:lnTo>
                <a:lnTo>
                  <a:pt x="5884617" y="4543545"/>
                </a:lnTo>
                <a:cubicBezTo>
                  <a:pt x="5884617" y="4542616"/>
                  <a:pt x="5884462" y="4541790"/>
                  <a:pt x="5883687" y="4541790"/>
                </a:cubicBezTo>
                <a:lnTo>
                  <a:pt x="5885391" y="4540448"/>
                </a:lnTo>
                <a:lnTo>
                  <a:pt x="5885236" y="4539622"/>
                </a:lnTo>
                <a:lnTo>
                  <a:pt x="5885391" y="4536834"/>
                </a:lnTo>
                <a:lnTo>
                  <a:pt x="5885081" y="4536628"/>
                </a:lnTo>
                <a:cubicBezTo>
                  <a:pt x="5885081" y="4536628"/>
                  <a:pt x="5881519" y="4532084"/>
                  <a:pt x="5884772" y="4527954"/>
                </a:cubicBezTo>
                <a:cubicBezTo>
                  <a:pt x="5885701" y="4528883"/>
                  <a:pt x="5890503" y="4523927"/>
                  <a:pt x="5893910" y="4525785"/>
                </a:cubicBezTo>
                <a:close/>
                <a:moveTo>
                  <a:pt x="5966712" y="4524649"/>
                </a:moveTo>
                <a:cubicBezTo>
                  <a:pt x="5966712" y="4525579"/>
                  <a:pt x="5966092" y="4528161"/>
                  <a:pt x="5966867" y="4528161"/>
                </a:cubicBezTo>
                <a:cubicBezTo>
                  <a:pt x="5965163" y="4530122"/>
                  <a:pt x="5962839" y="4531877"/>
                  <a:pt x="5960671" y="4531981"/>
                </a:cubicBezTo>
                <a:cubicBezTo>
                  <a:pt x="5960051" y="4531981"/>
                  <a:pt x="5959277" y="4531774"/>
                  <a:pt x="5958657" y="4531258"/>
                </a:cubicBezTo>
                <a:cubicBezTo>
                  <a:pt x="5956953" y="4530329"/>
                  <a:pt x="5957728" y="4528677"/>
                  <a:pt x="5959277" y="4527025"/>
                </a:cubicBezTo>
                <a:cubicBezTo>
                  <a:pt x="5961600" y="4522688"/>
                  <a:pt x="5964078" y="4521965"/>
                  <a:pt x="5966712" y="4524649"/>
                </a:cubicBezTo>
                <a:close/>
                <a:moveTo>
                  <a:pt x="761896" y="4524529"/>
                </a:moveTo>
                <a:cubicBezTo>
                  <a:pt x="762671" y="4525458"/>
                  <a:pt x="763600" y="4526387"/>
                  <a:pt x="763755" y="4528039"/>
                </a:cubicBezTo>
                <a:cubicBezTo>
                  <a:pt x="762206" y="4529691"/>
                  <a:pt x="759573" y="4528762"/>
                  <a:pt x="758798" y="4529588"/>
                </a:cubicBezTo>
                <a:cubicBezTo>
                  <a:pt x="758798" y="4528659"/>
                  <a:pt x="758643" y="4527007"/>
                  <a:pt x="756940" y="4525974"/>
                </a:cubicBezTo>
                <a:cubicBezTo>
                  <a:pt x="758489" y="4524322"/>
                  <a:pt x="760037" y="4522670"/>
                  <a:pt x="761896" y="4524529"/>
                </a:cubicBezTo>
                <a:close/>
                <a:moveTo>
                  <a:pt x="1596942" y="4524425"/>
                </a:moveTo>
                <a:cubicBezTo>
                  <a:pt x="1598026" y="4524012"/>
                  <a:pt x="1598181" y="4524012"/>
                  <a:pt x="1598956" y="4524425"/>
                </a:cubicBezTo>
                <a:cubicBezTo>
                  <a:pt x="1600814" y="4524529"/>
                  <a:pt x="1601898" y="4524219"/>
                  <a:pt x="1603138" y="4525871"/>
                </a:cubicBezTo>
                <a:cubicBezTo>
                  <a:pt x="1603913" y="4527316"/>
                  <a:pt x="1603758" y="4528246"/>
                  <a:pt x="1603293" y="4529072"/>
                </a:cubicBezTo>
                <a:cubicBezTo>
                  <a:pt x="1602828" y="4529898"/>
                  <a:pt x="1601898" y="4530621"/>
                  <a:pt x="1600505" y="4531343"/>
                </a:cubicBezTo>
                <a:cubicBezTo>
                  <a:pt x="1599265" y="4532066"/>
                  <a:pt x="1598026" y="4531860"/>
                  <a:pt x="1596942" y="4531653"/>
                </a:cubicBezTo>
                <a:cubicBezTo>
                  <a:pt x="1595858" y="4531343"/>
                  <a:pt x="1594774" y="4531034"/>
                  <a:pt x="1593689" y="4531343"/>
                </a:cubicBezTo>
                <a:cubicBezTo>
                  <a:pt x="1593689" y="4529381"/>
                  <a:pt x="1593225" y="4526181"/>
                  <a:pt x="1596942" y="4524425"/>
                </a:cubicBezTo>
                <a:close/>
                <a:moveTo>
                  <a:pt x="5769916" y="4524379"/>
                </a:moveTo>
                <a:cubicBezTo>
                  <a:pt x="5772549" y="4525269"/>
                  <a:pt x="5774873" y="4527128"/>
                  <a:pt x="5775260" y="4529296"/>
                </a:cubicBezTo>
                <a:cubicBezTo>
                  <a:pt x="5774330" y="4531671"/>
                  <a:pt x="5773401" y="4533943"/>
                  <a:pt x="5772472" y="4536317"/>
                </a:cubicBezTo>
                <a:cubicBezTo>
                  <a:pt x="5770613" y="4537660"/>
                  <a:pt x="5768754" y="4538279"/>
                  <a:pt x="5766895" y="4538073"/>
                </a:cubicBezTo>
                <a:cubicBezTo>
                  <a:pt x="5765037" y="4537867"/>
                  <a:pt x="5763488" y="4537040"/>
                  <a:pt x="5762404" y="4535595"/>
                </a:cubicBezTo>
                <a:cubicBezTo>
                  <a:pt x="5761629" y="4534666"/>
                  <a:pt x="5761164" y="4533427"/>
                  <a:pt x="5761009" y="4531981"/>
                </a:cubicBezTo>
                <a:lnTo>
                  <a:pt x="5761164" y="4531774"/>
                </a:lnTo>
                <a:lnTo>
                  <a:pt x="5759925" y="4532704"/>
                </a:lnTo>
                <a:cubicBezTo>
                  <a:pt x="5759306" y="4533013"/>
                  <a:pt x="5758686" y="4533013"/>
                  <a:pt x="5758221" y="4532600"/>
                </a:cubicBezTo>
                <a:cubicBezTo>
                  <a:pt x="5758066" y="4531671"/>
                  <a:pt x="5757292" y="4531774"/>
                  <a:pt x="5757137" y="4530948"/>
                </a:cubicBezTo>
                <a:cubicBezTo>
                  <a:pt x="5756053" y="4529193"/>
                  <a:pt x="5755898" y="4528264"/>
                  <a:pt x="5756672" y="4527334"/>
                </a:cubicBezTo>
                <a:cubicBezTo>
                  <a:pt x="5756518" y="4526508"/>
                  <a:pt x="5757292" y="4526508"/>
                  <a:pt x="5758066" y="4525579"/>
                </a:cubicBezTo>
                <a:cubicBezTo>
                  <a:pt x="5758841" y="4525476"/>
                  <a:pt x="5759770" y="4526302"/>
                  <a:pt x="5759770" y="4526302"/>
                </a:cubicBezTo>
                <a:cubicBezTo>
                  <a:pt x="5760700" y="4527128"/>
                  <a:pt x="5760855" y="4527128"/>
                  <a:pt x="5761474" y="4526199"/>
                </a:cubicBezTo>
                <a:cubicBezTo>
                  <a:pt x="5761474" y="4526199"/>
                  <a:pt x="5761629" y="4527128"/>
                  <a:pt x="5761629" y="4527128"/>
                </a:cubicBezTo>
                <a:cubicBezTo>
                  <a:pt x="5761164" y="4527128"/>
                  <a:pt x="5761164" y="4527128"/>
                  <a:pt x="5761474" y="4527231"/>
                </a:cubicBezTo>
                <a:lnTo>
                  <a:pt x="5762093" y="4527644"/>
                </a:lnTo>
                <a:lnTo>
                  <a:pt x="5762713" y="4525269"/>
                </a:lnTo>
                <a:cubicBezTo>
                  <a:pt x="5764340" y="4523566"/>
                  <a:pt x="5767283" y="4523488"/>
                  <a:pt x="5769916" y="4524379"/>
                </a:cubicBezTo>
                <a:close/>
                <a:moveTo>
                  <a:pt x="1565614" y="4523922"/>
                </a:moveTo>
                <a:cubicBezTo>
                  <a:pt x="1567202" y="4524941"/>
                  <a:pt x="1568673" y="4526800"/>
                  <a:pt x="1570145" y="4528866"/>
                </a:cubicBezTo>
                <a:cubicBezTo>
                  <a:pt x="1569061" y="4530311"/>
                  <a:pt x="1568906" y="4531963"/>
                  <a:pt x="1567821" y="4533512"/>
                </a:cubicBezTo>
                <a:cubicBezTo>
                  <a:pt x="1565188" y="4534235"/>
                  <a:pt x="1559612" y="4530827"/>
                  <a:pt x="1558992" y="4527420"/>
                </a:cubicBezTo>
                <a:cubicBezTo>
                  <a:pt x="1558838" y="4526181"/>
                  <a:pt x="1559147" y="4525045"/>
                  <a:pt x="1560387" y="4524012"/>
                </a:cubicBezTo>
                <a:cubicBezTo>
                  <a:pt x="1562323" y="4522722"/>
                  <a:pt x="1564027" y="4522902"/>
                  <a:pt x="1565614" y="4523922"/>
                </a:cubicBezTo>
                <a:close/>
                <a:moveTo>
                  <a:pt x="6105963" y="4523862"/>
                </a:moveTo>
                <a:cubicBezTo>
                  <a:pt x="6109332" y="4525914"/>
                  <a:pt x="6110765" y="4530174"/>
                  <a:pt x="6110146" y="4534356"/>
                </a:cubicBezTo>
                <a:cubicBezTo>
                  <a:pt x="6109836" y="4537144"/>
                  <a:pt x="6108597" y="4539828"/>
                  <a:pt x="6106273" y="4541790"/>
                </a:cubicBezTo>
                <a:cubicBezTo>
                  <a:pt x="6104725" y="4543133"/>
                  <a:pt x="6102866" y="4544165"/>
                  <a:pt x="6100542" y="4544681"/>
                </a:cubicBezTo>
                <a:cubicBezTo>
                  <a:pt x="6098219" y="4545198"/>
                  <a:pt x="6095431" y="4545301"/>
                  <a:pt x="6092178" y="4544578"/>
                </a:cubicBezTo>
                <a:lnTo>
                  <a:pt x="6090474" y="4536937"/>
                </a:lnTo>
                <a:lnTo>
                  <a:pt x="6085517" y="4540448"/>
                </a:lnTo>
                <a:cubicBezTo>
                  <a:pt x="6083968" y="4538383"/>
                  <a:pt x="6082110" y="4540551"/>
                  <a:pt x="6080715" y="4537660"/>
                </a:cubicBezTo>
                <a:cubicBezTo>
                  <a:pt x="6081180" y="4534149"/>
                  <a:pt x="6085053" y="4530638"/>
                  <a:pt x="6089545" y="4528883"/>
                </a:cubicBezTo>
                <a:lnTo>
                  <a:pt x="6090164" y="4528883"/>
                </a:lnTo>
                <a:lnTo>
                  <a:pt x="6090164" y="4526611"/>
                </a:lnTo>
                <a:cubicBezTo>
                  <a:pt x="6097289" y="4521965"/>
                  <a:pt x="6102594" y="4521810"/>
                  <a:pt x="6105963" y="4523862"/>
                </a:cubicBezTo>
                <a:close/>
                <a:moveTo>
                  <a:pt x="1746107" y="4523599"/>
                </a:moveTo>
                <a:cubicBezTo>
                  <a:pt x="1749515" y="4522876"/>
                  <a:pt x="1762991" y="4523806"/>
                  <a:pt x="1758189" y="4530827"/>
                </a:cubicBezTo>
                <a:lnTo>
                  <a:pt x="1759119" y="4533202"/>
                </a:lnTo>
                <a:cubicBezTo>
                  <a:pt x="1758964" y="4534338"/>
                  <a:pt x="1758189" y="4535371"/>
                  <a:pt x="1756950" y="4536506"/>
                </a:cubicBezTo>
                <a:cubicBezTo>
                  <a:pt x="1756175" y="4535267"/>
                  <a:pt x="1755866" y="4534235"/>
                  <a:pt x="1756021" y="4533099"/>
                </a:cubicBezTo>
                <a:lnTo>
                  <a:pt x="1756950" y="4530621"/>
                </a:lnTo>
                <a:lnTo>
                  <a:pt x="1751064" y="4529485"/>
                </a:lnTo>
                <a:cubicBezTo>
                  <a:pt x="1748895" y="4529175"/>
                  <a:pt x="1747191" y="4528866"/>
                  <a:pt x="1746417" y="4527523"/>
                </a:cubicBezTo>
                <a:cubicBezTo>
                  <a:pt x="1745797" y="4526697"/>
                  <a:pt x="1745797" y="4525458"/>
                  <a:pt x="1746107" y="4523599"/>
                </a:cubicBezTo>
                <a:close/>
                <a:moveTo>
                  <a:pt x="1618473" y="4523289"/>
                </a:moveTo>
                <a:cubicBezTo>
                  <a:pt x="1621261" y="4525561"/>
                  <a:pt x="1619867" y="4532892"/>
                  <a:pt x="1616614" y="4533718"/>
                </a:cubicBezTo>
                <a:cubicBezTo>
                  <a:pt x="1614755" y="4534235"/>
                  <a:pt x="1612276" y="4532479"/>
                  <a:pt x="1609643" y="4525871"/>
                </a:cubicBezTo>
                <a:cubicBezTo>
                  <a:pt x="1614136" y="4522360"/>
                  <a:pt x="1616924" y="4522154"/>
                  <a:pt x="1618473" y="4523289"/>
                </a:cubicBezTo>
                <a:close/>
                <a:moveTo>
                  <a:pt x="893558" y="4521947"/>
                </a:moveTo>
                <a:cubicBezTo>
                  <a:pt x="894642" y="4522154"/>
                  <a:pt x="895572" y="4522773"/>
                  <a:pt x="896037" y="4524322"/>
                </a:cubicBezTo>
                <a:cubicBezTo>
                  <a:pt x="897276" y="4528969"/>
                  <a:pt x="893404" y="4531034"/>
                  <a:pt x="888911" y="4532789"/>
                </a:cubicBezTo>
                <a:cubicBezTo>
                  <a:pt x="887826" y="4531240"/>
                  <a:pt x="886433" y="4530621"/>
                  <a:pt x="885348" y="4529072"/>
                </a:cubicBezTo>
                <a:lnTo>
                  <a:pt x="885348" y="4528969"/>
                </a:lnTo>
                <a:lnTo>
                  <a:pt x="882870" y="4528762"/>
                </a:lnTo>
                <a:cubicBezTo>
                  <a:pt x="883180" y="4525251"/>
                  <a:pt x="887052" y="4522876"/>
                  <a:pt x="890305" y="4522670"/>
                </a:cubicBezTo>
                <a:lnTo>
                  <a:pt x="891390" y="4522876"/>
                </a:lnTo>
                <a:close/>
                <a:moveTo>
                  <a:pt x="651765" y="4521844"/>
                </a:moveTo>
                <a:cubicBezTo>
                  <a:pt x="658735" y="4524838"/>
                  <a:pt x="662143" y="4524942"/>
                  <a:pt x="667254" y="4527833"/>
                </a:cubicBezTo>
                <a:cubicBezTo>
                  <a:pt x="667254" y="4528659"/>
                  <a:pt x="666480" y="4528659"/>
                  <a:pt x="666480" y="4529588"/>
                </a:cubicBezTo>
                <a:cubicBezTo>
                  <a:pt x="666170" y="4530001"/>
                  <a:pt x="665241" y="4530104"/>
                  <a:pt x="664312" y="4530104"/>
                </a:cubicBezTo>
                <a:cubicBezTo>
                  <a:pt x="661213" y="4529898"/>
                  <a:pt x="656257" y="4528039"/>
                  <a:pt x="656257" y="4527420"/>
                </a:cubicBezTo>
                <a:cubicBezTo>
                  <a:pt x="655328" y="4527316"/>
                  <a:pt x="655482" y="4526490"/>
                  <a:pt x="654553" y="4526387"/>
                </a:cubicBezTo>
                <a:cubicBezTo>
                  <a:pt x="654553" y="4526387"/>
                  <a:pt x="653778" y="4526387"/>
                  <a:pt x="652849" y="4525458"/>
                </a:cubicBezTo>
                <a:cubicBezTo>
                  <a:pt x="651920" y="4524529"/>
                  <a:pt x="650990" y="4523599"/>
                  <a:pt x="651765" y="4521844"/>
                </a:cubicBezTo>
                <a:close/>
                <a:moveTo>
                  <a:pt x="5943167" y="4521655"/>
                </a:moveTo>
                <a:cubicBezTo>
                  <a:pt x="5942858" y="4522171"/>
                  <a:pt x="5942703" y="4522378"/>
                  <a:pt x="5942393" y="4522378"/>
                </a:cubicBezTo>
                <a:cubicBezTo>
                  <a:pt x="5942238" y="4522378"/>
                  <a:pt x="5942083" y="4522171"/>
                  <a:pt x="5941619" y="4521759"/>
                </a:cubicBezTo>
                <a:cubicBezTo>
                  <a:pt x="5942238" y="4520726"/>
                  <a:pt x="5942393" y="4521759"/>
                  <a:pt x="5943167" y="4521655"/>
                </a:cubicBezTo>
                <a:close/>
                <a:moveTo>
                  <a:pt x="5975851" y="4521552"/>
                </a:moveTo>
                <a:cubicBezTo>
                  <a:pt x="5975851" y="4522481"/>
                  <a:pt x="5976625" y="4524237"/>
                  <a:pt x="5975851" y="4524237"/>
                </a:cubicBezTo>
                <a:cubicBezTo>
                  <a:pt x="5975851" y="4525063"/>
                  <a:pt x="5974302" y="4525063"/>
                  <a:pt x="5974302" y="4525063"/>
                </a:cubicBezTo>
                <a:cubicBezTo>
                  <a:pt x="5974302" y="4525992"/>
                  <a:pt x="5974456" y="4526921"/>
                  <a:pt x="5973682" y="4527747"/>
                </a:cubicBezTo>
                <a:cubicBezTo>
                  <a:pt x="5972753" y="4526818"/>
                  <a:pt x="5972753" y="4527747"/>
                  <a:pt x="5971978" y="4527644"/>
                </a:cubicBezTo>
                <a:cubicBezTo>
                  <a:pt x="5972753" y="4526818"/>
                  <a:pt x="5972753" y="4524133"/>
                  <a:pt x="5973372" y="4522378"/>
                </a:cubicBezTo>
                <a:cubicBezTo>
                  <a:pt x="5974302" y="4522378"/>
                  <a:pt x="5975076" y="4521552"/>
                  <a:pt x="5975851" y="4521552"/>
                </a:cubicBezTo>
                <a:close/>
                <a:moveTo>
                  <a:pt x="810533" y="4521534"/>
                </a:moveTo>
                <a:cubicBezTo>
                  <a:pt x="813941" y="4523496"/>
                  <a:pt x="816575" y="4524425"/>
                  <a:pt x="819982" y="4526387"/>
                </a:cubicBezTo>
                <a:cubicBezTo>
                  <a:pt x="820757" y="4527213"/>
                  <a:pt x="822615" y="4530827"/>
                  <a:pt x="821841" y="4531653"/>
                </a:cubicBezTo>
                <a:cubicBezTo>
                  <a:pt x="821067" y="4532479"/>
                  <a:pt x="820292" y="4532479"/>
                  <a:pt x="819363" y="4532376"/>
                </a:cubicBezTo>
                <a:cubicBezTo>
                  <a:pt x="817659" y="4531447"/>
                  <a:pt x="815955" y="4530517"/>
                  <a:pt x="814251" y="4529588"/>
                </a:cubicBezTo>
                <a:cubicBezTo>
                  <a:pt x="811618" y="4526800"/>
                  <a:pt x="808985" y="4524115"/>
                  <a:pt x="810533" y="4521534"/>
                </a:cubicBezTo>
                <a:close/>
                <a:moveTo>
                  <a:pt x="5838767" y="4520726"/>
                </a:moveTo>
                <a:cubicBezTo>
                  <a:pt x="5843414" y="4523927"/>
                  <a:pt x="5840162" y="4527747"/>
                  <a:pt x="5840317" y="4533323"/>
                </a:cubicBezTo>
                <a:cubicBezTo>
                  <a:pt x="5835824" y="4532704"/>
                  <a:pt x="5833501" y="4525682"/>
                  <a:pt x="5835360" y="4522378"/>
                </a:cubicBezTo>
                <a:cubicBezTo>
                  <a:pt x="5835979" y="4521345"/>
                  <a:pt x="5837063" y="4520623"/>
                  <a:pt x="5838767" y="4520726"/>
                </a:cubicBezTo>
                <a:close/>
                <a:moveTo>
                  <a:pt x="1263450" y="4520708"/>
                </a:moveTo>
                <a:cubicBezTo>
                  <a:pt x="1268872" y="4521637"/>
                  <a:pt x="1264844" y="4528039"/>
                  <a:pt x="1262211" y="4528762"/>
                </a:cubicBezTo>
                <a:cubicBezTo>
                  <a:pt x="1261127" y="4528452"/>
                  <a:pt x="1260507" y="4527833"/>
                  <a:pt x="1260197" y="4527110"/>
                </a:cubicBezTo>
                <a:cubicBezTo>
                  <a:pt x="1259268" y="4524838"/>
                  <a:pt x="1261436" y="4521328"/>
                  <a:pt x="1263450" y="4520708"/>
                </a:cubicBezTo>
                <a:close/>
                <a:moveTo>
                  <a:pt x="6160390" y="4520597"/>
                </a:moveTo>
                <a:cubicBezTo>
                  <a:pt x="6163159" y="4520520"/>
                  <a:pt x="6165444" y="4521294"/>
                  <a:pt x="6166218" y="4520933"/>
                </a:cubicBezTo>
                <a:cubicBezTo>
                  <a:pt x="6168232" y="4522998"/>
                  <a:pt x="6168851" y="4523410"/>
                  <a:pt x="6167303" y="4525579"/>
                </a:cubicBezTo>
                <a:lnTo>
                  <a:pt x="6165599" y="4527850"/>
                </a:lnTo>
                <a:lnTo>
                  <a:pt x="6166838" y="4529709"/>
                </a:lnTo>
                <a:cubicBezTo>
                  <a:pt x="6166063" y="4530535"/>
                  <a:pt x="6165289" y="4531361"/>
                  <a:pt x="6164515" y="4532187"/>
                </a:cubicBezTo>
                <a:lnTo>
                  <a:pt x="6160952" y="4530226"/>
                </a:lnTo>
                <a:lnTo>
                  <a:pt x="6158473" y="4530019"/>
                </a:lnTo>
                <a:cubicBezTo>
                  <a:pt x="6156925" y="4530845"/>
                  <a:pt x="6154291" y="4530742"/>
                  <a:pt x="6152742" y="4529709"/>
                </a:cubicBezTo>
                <a:cubicBezTo>
                  <a:pt x="6150883" y="4527954"/>
                  <a:pt x="6150883" y="4526199"/>
                  <a:pt x="6151658" y="4525372"/>
                </a:cubicBezTo>
                <a:cubicBezTo>
                  <a:pt x="6154369" y="4521603"/>
                  <a:pt x="6157622" y="4520674"/>
                  <a:pt x="6160390" y="4520597"/>
                </a:cubicBezTo>
                <a:close/>
                <a:moveTo>
                  <a:pt x="1585480" y="4519675"/>
                </a:moveTo>
                <a:cubicBezTo>
                  <a:pt x="1585480" y="4519675"/>
                  <a:pt x="1585944" y="4520295"/>
                  <a:pt x="1585480" y="4522773"/>
                </a:cubicBezTo>
                <a:cubicBezTo>
                  <a:pt x="1585015" y="4521947"/>
                  <a:pt x="1584395" y="4522464"/>
                  <a:pt x="1584395" y="4522464"/>
                </a:cubicBezTo>
                <a:cubicBezTo>
                  <a:pt x="1584395" y="4522464"/>
                  <a:pt x="1584395" y="4522464"/>
                  <a:pt x="1584860" y="4523186"/>
                </a:cubicBezTo>
                <a:cubicBezTo>
                  <a:pt x="1584240" y="4522980"/>
                  <a:pt x="1584085" y="4522670"/>
                  <a:pt x="1583931" y="4522360"/>
                </a:cubicBezTo>
                <a:cubicBezTo>
                  <a:pt x="1583931" y="4522050"/>
                  <a:pt x="1583931" y="4521741"/>
                  <a:pt x="1583931" y="4521741"/>
                </a:cubicBezTo>
                <a:cubicBezTo>
                  <a:pt x="1584085" y="4520502"/>
                  <a:pt x="1584240" y="4519366"/>
                  <a:pt x="1585480" y="4519675"/>
                </a:cubicBezTo>
                <a:close/>
                <a:moveTo>
                  <a:pt x="859171" y="4519366"/>
                </a:moveTo>
                <a:cubicBezTo>
                  <a:pt x="859946" y="4518437"/>
                  <a:pt x="859946" y="4519366"/>
                  <a:pt x="860565" y="4519469"/>
                </a:cubicBezTo>
                <a:cubicBezTo>
                  <a:pt x="860255" y="4519882"/>
                  <a:pt x="860100" y="4520192"/>
                  <a:pt x="859946" y="4520192"/>
                </a:cubicBezTo>
                <a:cubicBezTo>
                  <a:pt x="859791" y="4520088"/>
                  <a:pt x="859636" y="4519882"/>
                  <a:pt x="859171" y="4519366"/>
                </a:cubicBezTo>
                <a:close/>
                <a:moveTo>
                  <a:pt x="972555" y="4519056"/>
                </a:moveTo>
                <a:cubicBezTo>
                  <a:pt x="975808" y="4519159"/>
                  <a:pt x="981074" y="4524632"/>
                  <a:pt x="982004" y="4527316"/>
                </a:cubicBezTo>
                <a:cubicBezTo>
                  <a:pt x="980919" y="4529898"/>
                  <a:pt x="979370" y="4530931"/>
                  <a:pt x="977512" y="4531137"/>
                </a:cubicBezTo>
                <a:cubicBezTo>
                  <a:pt x="972245" y="4531550"/>
                  <a:pt x="966360" y="4523289"/>
                  <a:pt x="972555" y="4519056"/>
                </a:cubicBezTo>
                <a:close/>
                <a:moveTo>
                  <a:pt x="988044" y="4518953"/>
                </a:moveTo>
                <a:cubicBezTo>
                  <a:pt x="988819" y="4519985"/>
                  <a:pt x="988819" y="4520811"/>
                  <a:pt x="989594" y="4521844"/>
                </a:cubicBezTo>
                <a:cubicBezTo>
                  <a:pt x="990368" y="4521947"/>
                  <a:pt x="992072" y="4522257"/>
                  <a:pt x="992846" y="4523289"/>
                </a:cubicBezTo>
                <a:lnTo>
                  <a:pt x="992846" y="4523393"/>
                </a:lnTo>
                <a:lnTo>
                  <a:pt x="994860" y="4523909"/>
                </a:lnTo>
                <a:lnTo>
                  <a:pt x="994550" y="4523186"/>
                </a:lnTo>
                <a:cubicBezTo>
                  <a:pt x="995944" y="4519675"/>
                  <a:pt x="998113" y="4520399"/>
                  <a:pt x="1001985" y="4520399"/>
                </a:cubicBezTo>
                <a:cubicBezTo>
                  <a:pt x="1001521" y="4521534"/>
                  <a:pt x="1004773" y="4522773"/>
                  <a:pt x="1005858" y="4523186"/>
                </a:cubicBezTo>
                <a:cubicBezTo>
                  <a:pt x="1004928" y="4525561"/>
                  <a:pt x="1008491" y="4527523"/>
                  <a:pt x="1007097" y="4531034"/>
                </a:cubicBezTo>
                <a:cubicBezTo>
                  <a:pt x="1005393" y="4531860"/>
                  <a:pt x="1004618" y="4532170"/>
                  <a:pt x="1002760" y="4532170"/>
                </a:cubicBezTo>
                <a:lnTo>
                  <a:pt x="999197" y="4530001"/>
                </a:lnTo>
                <a:lnTo>
                  <a:pt x="999197" y="4531137"/>
                </a:lnTo>
                <a:cubicBezTo>
                  <a:pt x="998733" y="4530621"/>
                  <a:pt x="997494" y="4529588"/>
                  <a:pt x="996564" y="4528555"/>
                </a:cubicBezTo>
                <a:lnTo>
                  <a:pt x="995325" y="4527213"/>
                </a:lnTo>
                <a:lnTo>
                  <a:pt x="994705" y="4527420"/>
                </a:lnTo>
                <a:cubicBezTo>
                  <a:pt x="993466" y="4527626"/>
                  <a:pt x="992227" y="4527007"/>
                  <a:pt x="991762" y="4525974"/>
                </a:cubicBezTo>
                <a:lnTo>
                  <a:pt x="992072" y="4524425"/>
                </a:lnTo>
                <a:lnTo>
                  <a:pt x="991917" y="4523909"/>
                </a:lnTo>
                <a:cubicBezTo>
                  <a:pt x="991143" y="4522980"/>
                  <a:pt x="987116" y="4520502"/>
                  <a:pt x="986186" y="4521224"/>
                </a:cubicBezTo>
                <a:cubicBezTo>
                  <a:pt x="986341" y="4520399"/>
                  <a:pt x="985566" y="4519469"/>
                  <a:pt x="985566" y="4519469"/>
                </a:cubicBezTo>
                <a:cubicBezTo>
                  <a:pt x="986496" y="4518746"/>
                  <a:pt x="987270" y="4518849"/>
                  <a:pt x="988044" y="4518953"/>
                </a:cubicBezTo>
                <a:close/>
                <a:moveTo>
                  <a:pt x="1276926" y="4518746"/>
                </a:moveTo>
                <a:cubicBezTo>
                  <a:pt x="1276461" y="4519572"/>
                  <a:pt x="1276152" y="4520295"/>
                  <a:pt x="1275842" y="4521018"/>
                </a:cubicBezTo>
                <a:cubicBezTo>
                  <a:pt x="1275377" y="4521224"/>
                  <a:pt x="1275067" y="4521328"/>
                  <a:pt x="1274912" y="4521224"/>
                </a:cubicBezTo>
                <a:cubicBezTo>
                  <a:pt x="1274758" y="4521121"/>
                  <a:pt x="1274603" y="4520811"/>
                  <a:pt x="1274448" y="4520192"/>
                </a:cubicBezTo>
                <a:cubicBezTo>
                  <a:pt x="1274758" y="4519469"/>
                  <a:pt x="1275067" y="4518746"/>
                  <a:pt x="1275842" y="4519159"/>
                </a:cubicBezTo>
                <a:cubicBezTo>
                  <a:pt x="1276152" y="4518333"/>
                  <a:pt x="1276152" y="4518437"/>
                  <a:pt x="1276926" y="4518746"/>
                </a:cubicBezTo>
                <a:close/>
                <a:moveTo>
                  <a:pt x="5648710" y="4517938"/>
                </a:moveTo>
                <a:cubicBezTo>
                  <a:pt x="5650104" y="4522584"/>
                  <a:pt x="5647625" y="4523410"/>
                  <a:pt x="5645147" y="4524237"/>
                </a:cubicBezTo>
                <a:cubicBezTo>
                  <a:pt x="5644837" y="4521139"/>
                  <a:pt x="5641120" y="4521759"/>
                  <a:pt x="5642514" y="4518248"/>
                </a:cubicBezTo>
                <a:cubicBezTo>
                  <a:pt x="5643908" y="4517215"/>
                  <a:pt x="5645612" y="4516905"/>
                  <a:pt x="5648710" y="4517938"/>
                </a:cubicBezTo>
                <a:close/>
                <a:moveTo>
                  <a:pt x="1671641" y="4517288"/>
                </a:moveTo>
                <a:cubicBezTo>
                  <a:pt x="1673267" y="4518101"/>
                  <a:pt x="1674545" y="4519727"/>
                  <a:pt x="1674700" y="4521534"/>
                </a:cubicBezTo>
                <a:cubicBezTo>
                  <a:pt x="1673926" y="4522876"/>
                  <a:pt x="1672996" y="4523496"/>
                  <a:pt x="1672067" y="4523703"/>
                </a:cubicBezTo>
                <a:cubicBezTo>
                  <a:pt x="1669124" y="4524219"/>
                  <a:pt x="1666180" y="4520399"/>
                  <a:pt x="1666490" y="4517920"/>
                </a:cubicBezTo>
                <a:cubicBezTo>
                  <a:pt x="1668039" y="4516474"/>
                  <a:pt x="1670014" y="4516474"/>
                  <a:pt x="1671641" y="4517288"/>
                </a:cubicBezTo>
                <a:close/>
                <a:moveTo>
                  <a:pt x="6056087" y="4517009"/>
                </a:moveTo>
                <a:cubicBezTo>
                  <a:pt x="6058720" y="4519900"/>
                  <a:pt x="6059495" y="4522791"/>
                  <a:pt x="6058875" y="4525269"/>
                </a:cubicBezTo>
                <a:cubicBezTo>
                  <a:pt x="6057946" y="4528883"/>
                  <a:pt x="6054383" y="4531671"/>
                  <a:pt x="6050201" y="4532704"/>
                </a:cubicBezTo>
                <a:cubicBezTo>
                  <a:pt x="6046174" y="4533633"/>
                  <a:pt x="6041681" y="4532704"/>
                  <a:pt x="6039203" y="4528883"/>
                </a:cubicBezTo>
                <a:cubicBezTo>
                  <a:pt x="6039668" y="4520933"/>
                  <a:pt x="6050356" y="4516493"/>
                  <a:pt x="6056087" y="4517009"/>
                </a:cubicBezTo>
                <a:close/>
                <a:moveTo>
                  <a:pt x="1756486" y="4516887"/>
                </a:moveTo>
                <a:cubicBezTo>
                  <a:pt x="1756486" y="4516887"/>
                  <a:pt x="1757260" y="4516991"/>
                  <a:pt x="1757260" y="4516991"/>
                </a:cubicBezTo>
                <a:lnTo>
                  <a:pt x="1758189" y="4518540"/>
                </a:lnTo>
                <a:lnTo>
                  <a:pt x="1758344" y="4518437"/>
                </a:lnTo>
                <a:cubicBezTo>
                  <a:pt x="1759738" y="4518849"/>
                  <a:pt x="1760822" y="4519985"/>
                  <a:pt x="1761442" y="4521328"/>
                </a:cubicBezTo>
                <a:cubicBezTo>
                  <a:pt x="1760513" y="4523083"/>
                  <a:pt x="1759119" y="4524012"/>
                  <a:pt x="1757879" y="4524219"/>
                </a:cubicBezTo>
                <a:cubicBezTo>
                  <a:pt x="1756640" y="4524425"/>
                  <a:pt x="1755556" y="4523806"/>
                  <a:pt x="1754626" y="4522567"/>
                </a:cubicBezTo>
                <a:cubicBezTo>
                  <a:pt x="1754007" y="4521741"/>
                  <a:pt x="1753542" y="4520708"/>
                  <a:pt x="1753387" y="4519263"/>
                </a:cubicBezTo>
                <a:lnTo>
                  <a:pt x="1755711" y="4518953"/>
                </a:lnTo>
                <a:close/>
                <a:moveTo>
                  <a:pt x="1283123" y="4516784"/>
                </a:moveTo>
                <a:cubicBezTo>
                  <a:pt x="1287614" y="4521121"/>
                  <a:pt x="1296753" y="4527523"/>
                  <a:pt x="1292106" y="4535990"/>
                </a:cubicBezTo>
                <a:cubicBezTo>
                  <a:pt x="1289937" y="4535990"/>
                  <a:pt x="1287614" y="4535267"/>
                  <a:pt x="1285445" y="4534028"/>
                </a:cubicBezTo>
                <a:lnTo>
                  <a:pt x="1280644" y="4529795"/>
                </a:lnTo>
                <a:lnTo>
                  <a:pt x="1280179" y="4530311"/>
                </a:lnTo>
                <a:cubicBezTo>
                  <a:pt x="1279405" y="4529898"/>
                  <a:pt x="1279405" y="4529898"/>
                  <a:pt x="1279095" y="4528762"/>
                </a:cubicBezTo>
                <a:lnTo>
                  <a:pt x="1279405" y="4528039"/>
                </a:lnTo>
                <a:lnTo>
                  <a:pt x="1277391" y="4523393"/>
                </a:lnTo>
                <a:cubicBezTo>
                  <a:pt x="1277236" y="4521431"/>
                  <a:pt x="1277701" y="4519779"/>
                  <a:pt x="1279249" y="4518437"/>
                </a:cubicBezTo>
                <a:cubicBezTo>
                  <a:pt x="1280179" y="4517714"/>
                  <a:pt x="1281573" y="4517198"/>
                  <a:pt x="1283123" y="4516784"/>
                </a:cubicBezTo>
                <a:close/>
                <a:moveTo>
                  <a:pt x="5742654" y="4516312"/>
                </a:moveTo>
                <a:cubicBezTo>
                  <a:pt x="5745443" y="4514892"/>
                  <a:pt x="5748850" y="4515150"/>
                  <a:pt x="5750631" y="4517422"/>
                </a:cubicBezTo>
                <a:cubicBezTo>
                  <a:pt x="5751870" y="4518867"/>
                  <a:pt x="5752180" y="4521139"/>
                  <a:pt x="5751251" y="4524546"/>
                </a:cubicBezTo>
                <a:cubicBezTo>
                  <a:pt x="5746914" y="4524340"/>
                  <a:pt x="5744281" y="4526302"/>
                  <a:pt x="5741337" y="4526199"/>
                </a:cubicBezTo>
                <a:cubicBezTo>
                  <a:pt x="5740408" y="4526199"/>
                  <a:pt x="5739479" y="4525889"/>
                  <a:pt x="5738394" y="4525269"/>
                </a:cubicBezTo>
                <a:cubicBezTo>
                  <a:pt x="5737697" y="4520829"/>
                  <a:pt x="5739866" y="4517732"/>
                  <a:pt x="5742654" y="4516312"/>
                </a:cubicBezTo>
                <a:close/>
                <a:moveTo>
                  <a:pt x="819982" y="4515752"/>
                </a:moveTo>
                <a:cubicBezTo>
                  <a:pt x="822460" y="4515132"/>
                  <a:pt x="823235" y="4516681"/>
                  <a:pt x="823235" y="4516681"/>
                </a:cubicBezTo>
                <a:cubicBezTo>
                  <a:pt x="824319" y="4519572"/>
                  <a:pt x="823545" y="4522257"/>
                  <a:pt x="820757" y="4523703"/>
                </a:cubicBezTo>
                <a:cubicBezTo>
                  <a:pt x="818898" y="4523599"/>
                  <a:pt x="817969" y="4521947"/>
                  <a:pt x="817194" y="4520295"/>
                </a:cubicBezTo>
                <a:cubicBezTo>
                  <a:pt x="816575" y="4518953"/>
                  <a:pt x="816729" y="4517920"/>
                  <a:pt x="817349" y="4517198"/>
                </a:cubicBezTo>
                <a:cubicBezTo>
                  <a:pt x="817969" y="4516578"/>
                  <a:pt x="818898" y="4516062"/>
                  <a:pt x="819982" y="4515752"/>
                </a:cubicBezTo>
                <a:close/>
                <a:moveTo>
                  <a:pt x="1512059" y="4515339"/>
                </a:moveTo>
                <a:cubicBezTo>
                  <a:pt x="1512679" y="4516887"/>
                  <a:pt x="1516241" y="4516062"/>
                  <a:pt x="1515157" y="4518437"/>
                </a:cubicBezTo>
                <a:cubicBezTo>
                  <a:pt x="1514072" y="4518023"/>
                  <a:pt x="1512679" y="4516887"/>
                  <a:pt x="1511594" y="4516578"/>
                </a:cubicBezTo>
                <a:cubicBezTo>
                  <a:pt x="1511594" y="4516578"/>
                  <a:pt x="1511594" y="4516475"/>
                  <a:pt x="1512059" y="4515339"/>
                </a:cubicBezTo>
                <a:close/>
                <a:moveTo>
                  <a:pt x="5969809" y="4514531"/>
                </a:moveTo>
                <a:cubicBezTo>
                  <a:pt x="5970584" y="4513704"/>
                  <a:pt x="5971359" y="4513704"/>
                  <a:pt x="5972288" y="4514634"/>
                </a:cubicBezTo>
                <a:cubicBezTo>
                  <a:pt x="5972288" y="4514634"/>
                  <a:pt x="5971513" y="4516389"/>
                  <a:pt x="5971513" y="4516389"/>
                </a:cubicBezTo>
                <a:cubicBezTo>
                  <a:pt x="5969965" y="4518041"/>
                  <a:pt x="5969035" y="4518867"/>
                  <a:pt x="5968261" y="4520519"/>
                </a:cubicBezTo>
                <a:cubicBezTo>
                  <a:pt x="5966557" y="4519590"/>
                  <a:pt x="5966402" y="4518764"/>
                  <a:pt x="5967331" y="4517938"/>
                </a:cubicBezTo>
                <a:cubicBezTo>
                  <a:pt x="5967331" y="4517938"/>
                  <a:pt x="5968106" y="4517112"/>
                  <a:pt x="5969035" y="4516286"/>
                </a:cubicBezTo>
                <a:cubicBezTo>
                  <a:pt x="5969809" y="4515460"/>
                  <a:pt x="5969809" y="4514531"/>
                  <a:pt x="5969809" y="4514531"/>
                </a:cubicBezTo>
                <a:close/>
                <a:moveTo>
                  <a:pt x="5865100" y="4514427"/>
                </a:moveTo>
                <a:cubicBezTo>
                  <a:pt x="5866184" y="4514737"/>
                  <a:pt x="5867268" y="4515047"/>
                  <a:pt x="5866959" y="4516182"/>
                </a:cubicBezTo>
                <a:cubicBezTo>
                  <a:pt x="5866649" y="4517422"/>
                  <a:pt x="5866959" y="4518144"/>
                  <a:pt x="5865100" y="4518351"/>
                </a:cubicBezTo>
                <a:cubicBezTo>
                  <a:pt x="5864325" y="4518764"/>
                  <a:pt x="5863241" y="4518558"/>
                  <a:pt x="5862466" y="4519074"/>
                </a:cubicBezTo>
                <a:cubicBezTo>
                  <a:pt x="5862466" y="4519074"/>
                  <a:pt x="5862002" y="4518558"/>
                  <a:pt x="5861692" y="4518041"/>
                </a:cubicBezTo>
                <a:cubicBezTo>
                  <a:pt x="5861228" y="4517422"/>
                  <a:pt x="5860763" y="4516699"/>
                  <a:pt x="5860917" y="4516079"/>
                </a:cubicBezTo>
                <a:cubicBezTo>
                  <a:pt x="5860917" y="4514118"/>
                  <a:pt x="5864325" y="4514943"/>
                  <a:pt x="5865100" y="4514427"/>
                </a:cubicBezTo>
                <a:close/>
                <a:moveTo>
                  <a:pt x="877758" y="4514203"/>
                </a:moveTo>
                <a:cubicBezTo>
                  <a:pt x="880547" y="4512861"/>
                  <a:pt x="883490" y="4512551"/>
                  <a:pt x="884109" y="4516165"/>
                </a:cubicBezTo>
                <a:cubicBezTo>
                  <a:pt x="884264" y="4517301"/>
                  <a:pt x="884419" y="4518540"/>
                  <a:pt x="883800" y="4518127"/>
                </a:cubicBezTo>
                <a:cubicBezTo>
                  <a:pt x="883335" y="4518849"/>
                  <a:pt x="882560" y="4518437"/>
                  <a:pt x="881476" y="4518746"/>
                </a:cubicBezTo>
                <a:cubicBezTo>
                  <a:pt x="879617" y="4518643"/>
                  <a:pt x="877603" y="4517301"/>
                  <a:pt x="877449" y="4516165"/>
                </a:cubicBezTo>
                <a:cubicBezTo>
                  <a:pt x="877293" y="4514926"/>
                  <a:pt x="877758" y="4514203"/>
                  <a:pt x="877758" y="4514203"/>
                </a:cubicBezTo>
                <a:close/>
                <a:moveTo>
                  <a:pt x="1588268" y="4513274"/>
                </a:moveTo>
                <a:cubicBezTo>
                  <a:pt x="1588578" y="4515236"/>
                  <a:pt x="1587184" y="4519263"/>
                  <a:pt x="1585325" y="4519469"/>
                </a:cubicBezTo>
                <a:cubicBezTo>
                  <a:pt x="1585015" y="4517610"/>
                  <a:pt x="1585325" y="4516371"/>
                  <a:pt x="1585480" y="4515132"/>
                </a:cubicBezTo>
                <a:cubicBezTo>
                  <a:pt x="1585325" y="4513274"/>
                  <a:pt x="1585944" y="4512757"/>
                  <a:pt x="1588268" y="4513274"/>
                </a:cubicBezTo>
                <a:close/>
                <a:moveTo>
                  <a:pt x="1504934" y="4513067"/>
                </a:moveTo>
                <a:cubicBezTo>
                  <a:pt x="1506483" y="4513997"/>
                  <a:pt x="1507567" y="4515752"/>
                  <a:pt x="1507876" y="4518953"/>
                </a:cubicBezTo>
                <a:lnTo>
                  <a:pt x="1506947" y="4519366"/>
                </a:lnTo>
                <a:lnTo>
                  <a:pt x="1507722" y="4519675"/>
                </a:lnTo>
                <a:cubicBezTo>
                  <a:pt x="1509735" y="4520811"/>
                  <a:pt x="1511594" y="4522567"/>
                  <a:pt x="1512679" y="4523806"/>
                </a:cubicBezTo>
                <a:lnTo>
                  <a:pt x="1514072" y="4525148"/>
                </a:lnTo>
                <a:lnTo>
                  <a:pt x="1514537" y="4524425"/>
                </a:lnTo>
                <a:lnTo>
                  <a:pt x="1514847" y="4525665"/>
                </a:lnTo>
                <a:lnTo>
                  <a:pt x="1515002" y="4525768"/>
                </a:lnTo>
                <a:cubicBezTo>
                  <a:pt x="1514692" y="4526490"/>
                  <a:pt x="1515466" y="4526904"/>
                  <a:pt x="1515776" y="4526181"/>
                </a:cubicBezTo>
                <a:cubicBezTo>
                  <a:pt x="1516706" y="4527523"/>
                  <a:pt x="1517325" y="4528762"/>
                  <a:pt x="1517481" y="4529588"/>
                </a:cubicBezTo>
                <a:lnTo>
                  <a:pt x="1517016" y="4530208"/>
                </a:lnTo>
                <a:lnTo>
                  <a:pt x="1518874" y="4531034"/>
                </a:lnTo>
                <a:lnTo>
                  <a:pt x="1519494" y="4530311"/>
                </a:lnTo>
                <a:cubicBezTo>
                  <a:pt x="1526155" y="4527316"/>
                  <a:pt x="1537772" y="4530104"/>
                  <a:pt x="1541489" y="4532582"/>
                </a:cubicBezTo>
                <a:lnTo>
                  <a:pt x="1533125" y="4534544"/>
                </a:lnTo>
                <a:lnTo>
                  <a:pt x="1534209" y="4536197"/>
                </a:lnTo>
                <a:cubicBezTo>
                  <a:pt x="1533125" y="4535990"/>
                  <a:pt x="1531575" y="4535783"/>
                  <a:pt x="1530182" y="4535474"/>
                </a:cubicBezTo>
                <a:lnTo>
                  <a:pt x="1530027" y="4535267"/>
                </a:lnTo>
                <a:lnTo>
                  <a:pt x="1528168" y="4535783"/>
                </a:lnTo>
                <a:lnTo>
                  <a:pt x="1527239" y="4535783"/>
                </a:lnTo>
                <a:lnTo>
                  <a:pt x="1527239" y="4535887"/>
                </a:lnTo>
                <a:cubicBezTo>
                  <a:pt x="1528633" y="4537333"/>
                  <a:pt x="1529407" y="4538881"/>
                  <a:pt x="1528943" y="4540637"/>
                </a:cubicBezTo>
                <a:cubicBezTo>
                  <a:pt x="1526000" y="4539604"/>
                  <a:pt x="1520423" y="4538571"/>
                  <a:pt x="1515931" y="4536713"/>
                </a:cubicBezTo>
                <a:lnTo>
                  <a:pt x="1510355" y="4532996"/>
                </a:lnTo>
                <a:lnTo>
                  <a:pt x="1509891" y="4533718"/>
                </a:lnTo>
                <a:lnTo>
                  <a:pt x="1509426" y="4535887"/>
                </a:lnTo>
                <a:lnTo>
                  <a:pt x="1510200" y="4535990"/>
                </a:lnTo>
                <a:cubicBezTo>
                  <a:pt x="1510355" y="4536816"/>
                  <a:pt x="1511749" y="4538158"/>
                  <a:pt x="1512679" y="4538571"/>
                </a:cubicBezTo>
                <a:cubicBezTo>
                  <a:pt x="1511904" y="4538881"/>
                  <a:pt x="1511129" y="4539191"/>
                  <a:pt x="1511439" y="4540017"/>
                </a:cubicBezTo>
                <a:cubicBezTo>
                  <a:pt x="1510355" y="4539501"/>
                  <a:pt x="1509735" y="4539088"/>
                  <a:pt x="1509271" y="4538778"/>
                </a:cubicBezTo>
                <a:lnTo>
                  <a:pt x="1508961" y="4538571"/>
                </a:lnTo>
                <a:lnTo>
                  <a:pt x="1508806" y="4539398"/>
                </a:lnTo>
                <a:cubicBezTo>
                  <a:pt x="1508341" y="4541463"/>
                  <a:pt x="1507102" y="4543424"/>
                  <a:pt x="1504314" y="4544767"/>
                </a:cubicBezTo>
                <a:cubicBezTo>
                  <a:pt x="1504159" y="4544147"/>
                  <a:pt x="1503694" y="4543734"/>
                  <a:pt x="1503075" y="4543424"/>
                </a:cubicBezTo>
                <a:lnTo>
                  <a:pt x="1502610" y="4543321"/>
                </a:lnTo>
                <a:lnTo>
                  <a:pt x="1501526" y="4543838"/>
                </a:lnTo>
                <a:cubicBezTo>
                  <a:pt x="1500596" y="4544044"/>
                  <a:pt x="1499357" y="4544044"/>
                  <a:pt x="1498118" y="4543631"/>
                </a:cubicBezTo>
                <a:cubicBezTo>
                  <a:pt x="1498582" y="4542805"/>
                  <a:pt x="1495175" y="4540946"/>
                  <a:pt x="1493626" y="4538365"/>
                </a:cubicBezTo>
                <a:cubicBezTo>
                  <a:pt x="1493161" y="4537539"/>
                  <a:pt x="1492851" y="4536609"/>
                  <a:pt x="1493006" y="4535680"/>
                </a:cubicBezTo>
                <a:cubicBezTo>
                  <a:pt x="1493316" y="4533718"/>
                  <a:pt x="1493936" y="4532582"/>
                  <a:pt x="1494091" y="4530621"/>
                </a:cubicBezTo>
                <a:lnTo>
                  <a:pt x="1494865" y="4530208"/>
                </a:lnTo>
                <a:lnTo>
                  <a:pt x="1494865" y="4529278"/>
                </a:lnTo>
                <a:cubicBezTo>
                  <a:pt x="1495485" y="4527110"/>
                  <a:pt x="1497344" y="4525768"/>
                  <a:pt x="1499667" y="4523806"/>
                </a:cubicBezTo>
                <a:cubicBezTo>
                  <a:pt x="1499357" y="4524529"/>
                  <a:pt x="1500441" y="4524115"/>
                  <a:pt x="1500441" y="4524115"/>
                </a:cubicBezTo>
                <a:cubicBezTo>
                  <a:pt x="1502610" y="4523496"/>
                  <a:pt x="1498428" y="4520192"/>
                  <a:pt x="1501061" y="4518746"/>
                </a:cubicBezTo>
                <a:lnTo>
                  <a:pt x="1502145" y="4518643"/>
                </a:lnTo>
                <a:lnTo>
                  <a:pt x="1500751" y="4517198"/>
                </a:lnTo>
                <a:cubicBezTo>
                  <a:pt x="1503385" y="4515958"/>
                  <a:pt x="1501216" y="4512551"/>
                  <a:pt x="1504934" y="4513067"/>
                </a:cubicBezTo>
                <a:close/>
                <a:moveTo>
                  <a:pt x="1646799" y="4512280"/>
                </a:moveTo>
                <a:cubicBezTo>
                  <a:pt x="1648910" y="4511467"/>
                  <a:pt x="1651388" y="4511828"/>
                  <a:pt x="1653169" y="4514409"/>
                </a:cubicBezTo>
                <a:lnTo>
                  <a:pt x="1654563" y="4513790"/>
                </a:lnTo>
                <a:lnTo>
                  <a:pt x="1657971" y="4513480"/>
                </a:lnTo>
                <a:lnTo>
                  <a:pt x="1658436" y="4512447"/>
                </a:lnTo>
                <a:cubicBezTo>
                  <a:pt x="1658436" y="4511621"/>
                  <a:pt x="1661998" y="4513377"/>
                  <a:pt x="1662774" y="4513377"/>
                </a:cubicBezTo>
                <a:lnTo>
                  <a:pt x="1662618" y="4513480"/>
                </a:lnTo>
                <a:lnTo>
                  <a:pt x="1667265" y="4514203"/>
                </a:lnTo>
                <a:cubicBezTo>
                  <a:pt x="1665251" y="4518849"/>
                  <a:pt x="1661069" y="4520399"/>
                  <a:pt x="1656422" y="4520502"/>
                </a:cubicBezTo>
                <a:lnTo>
                  <a:pt x="1652705" y="4520088"/>
                </a:lnTo>
                <a:lnTo>
                  <a:pt x="1651155" y="4522670"/>
                </a:lnTo>
                <a:cubicBezTo>
                  <a:pt x="1647749" y="4522773"/>
                  <a:pt x="1645579" y="4521328"/>
                  <a:pt x="1642636" y="4517198"/>
                </a:cubicBezTo>
                <a:cubicBezTo>
                  <a:pt x="1642946" y="4515081"/>
                  <a:pt x="1644689" y="4513093"/>
                  <a:pt x="1646799" y="4512280"/>
                </a:cubicBezTo>
                <a:close/>
                <a:moveTo>
                  <a:pt x="707566" y="4512203"/>
                </a:moveTo>
                <a:cubicBezTo>
                  <a:pt x="709773" y="4512990"/>
                  <a:pt x="711167" y="4515339"/>
                  <a:pt x="708612" y="4518437"/>
                </a:cubicBezTo>
                <a:cubicBezTo>
                  <a:pt x="705359" y="4517301"/>
                  <a:pt x="703035" y="4516475"/>
                  <a:pt x="701641" y="4515339"/>
                </a:cubicBezTo>
                <a:cubicBezTo>
                  <a:pt x="702338" y="4512190"/>
                  <a:pt x="705359" y="4511415"/>
                  <a:pt x="707566" y="4512203"/>
                </a:cubicBezTo>
                <a:close/>
                <a:moveTo>
                  <a:pt x="1404096" y="4511931"/>
                </a:moveTo>
                <a:cubicBezTo>
                  <a:pt x="1405025" y="4511725"/>
                  <a:pt x="1405800" y="4512138"/>
                  <a:pt x="1406419" y="4512964"/>
                </a:cubicBezTo>
                <a:cubicBezTo>
                  <a:pt x="1407349" y="4514203"/>
                  <a:pt x="1408124" y="4516268"/>
                  <a:pt x="1407969" y="4518127"/>
                </a:cubicBezTo>
                <a:lnTo>
                  <a:pt x="1407969" y="4518746"/>
                </a:lnTo>
                <a:lnTo>
                  <a:pt x="1409363" y="4518953"/>
                </a:lnTo>
                <a:lnTo>
                  <a:pt x="1408124" y="4520192"/>
                </a:lnTo>
                <a:lnTo>
                  <a:pt x="1408279" y="4520399"/>
                </a:lnTo>
                <a:cubicBezTo>
                  <a:pt x="1408434" y="4520708"/>
                  <a:pt x="1408434" y="4521018"/>
                  <a:pt x="1407969" y="4520914"/>
                </a:cubicBezTo>
                <a:cubicBezTo>
                  <a:pt x="1407969" y="4521741"/>
                  <a:pt x="1407194" y="4521637"/>
                  <a:pt x="1406264" y="4522360"/>
                </a:cubicBezTo>
                <a:lnTo>
                  <a:pt x="1405955" y="4522360"/>
                </a:lnTo>
                <a:lnTo>
                  <a:pt x="1404251" y="4523909"/>
                </a:lnTo>
                <a:cubicBezTo>
                  <a:pt x="1402237" y="4525045"/>
                  <a:pt x="1400069" y="4525458"/>
                  <a:pt x="1397745" y="4525665"/>
                </a:cubicBezTo>
                <a:cubicBezTo>
                  <a:pt x="1393253" y="4525871"/>
                  <a:pt x="1388607" y="4524632"/>
                  <a:pt x="1385664" y="4523289"/>
                </a:cubicBezTo>
                <a:cubicBezTo>
                  <a:pt x="1389226" y="4521741"/>
                  <a:pt x="1392944" y="4519985"/>
                  <a:pt x="1396816" y="4518953"/>
                </a:cubicBezTo>
                <a:lnTo>
                  <a:pt x="1401928" y="4518230"/>
                </a:lnTo>
                <a:lnTo>
                  <a:pt x="1401308" y="4517198"/>
                </a:lnTo>
                <a:cubicBezTo>
                  <a:pt x="1400533" y="4514822"/>
                  <a:pt x="1400844" y="4512241"/>
                  <a:pt x="1404096" y="4511931"/>
                </a:cubicBezTo>
                <a:close/>
                <a:moveTo>
                  <a:pt x="1123424" y="4511931"/>
                </a:moveTo>
                <a:cubicBezTo>
                  <a:pt x="1124508" y="4512757"/>
                  <a:pt x="1124508" y="4512757"/>
                  <a:pt x="1123579" y="4512757"/>
                </a:cubicBezTo>
                <a:cubicBezTo>
                  <a:pt x="1123114" y="4514513"/>
                  <a:pt x="1122960" y="4513687"/>
                  <a:pt x="1122185" y="4514616"/>
                </a:cubicBezTo>
                <a:cubicBezTo>
                  <a:pt x="1121565" y="4515545"/>
                  <a:pt x="1120481" y="4519882"/>
                  <a:pt x="1121410" y="4520708"/>
                </a:cubicBezTo>
                <a:cubicBezTo>
                  <a:pt x="1120481" y="4520811"/>
                  <a:pt x="1119861" y="4521741"/>
                  <a:pt x="1119861" y="4521741"/>
                </a:cubicBezTo>
                <a:cubicBezTo>
                  <a:pt x="1118932" y="4520914"/>
                  <a:pt x="1118777" y="4520088"/>
                  <a:pt x="1118622" y="4519159"/>
                </a:cubicBezTo>
                <a:cubicBezTo>
                  <a:pt x="1119397" y="4518230"/>
                  <a:pt x="1120171" y="4518230"/>
                  <a:pt x="1120945" y="4517301"/>
                </a:cubicBezTo>
                <a:cubicBezTo>
                  <a:pt x="1120791" y="4516475"/>
                  <a:pt x="1120481" y="4514719"/>
                  <a:pt x="1121255" y="4513790"/>
                </a:cubicBezTo>
                <a:cubicBezTo>
                  <a:pt x="1121875" y="4512964"/>
                  <a:pt x="1123424" y="4511931"/>
                  <a:pt x="1123424" y="4511931"/>
                </a:cubicBezTo>
                <a:close/>
                <a:moveTo>
                  <a:pt x="1521043" y="4511002"/>
                </a:moveTo>
                <a:cubicBezTo>
                  <a:pt x="1526619" y="4512241"/>
                  <a:pt x="1523366" y="4518437"/>
                  <a:pt x="1521043" y="4519056"/>
                </a:cubicBezTo>
                <a:cubicBezTo>
                  <a:pt x="1516241" y="4517714"/>
                  <a:pt x="1518565" y="4511725"/>
                  <a:pt x="1521043" y="4511002"/>
                </a:cubicBezTo>
                <a:close/>
                <a:moveTo>
                  <a:pt x="5931860" y="4510916"/>
                </a:moveTo>
                <a:cubicBezTo>
                  <a:pt x="5926284" y="4518558"/>
                  <a:pt x="5921017" y="4514014"/>
                  <a:pt x="5917919" y="4518248"/>
                </a:cubicBezTo>
                <a:cubicBezTo>
                  <a:pt x="5916990" y="4516493"/>
                  <a:pt x="5916990" y="4516493"/>
                  <a:pt x="5917764" y="4514737"/>
                </a:cubicBezTo>
                <a:cubicBezTo>
                  <a:pt x="5918539" y="4514737"/>
                  <a:pt x="5918539" y="4513911"/>
                  <a:pt x="5919468" y="4514840"/>
                </a:cubicBezTo>
                <a:cubicBezTo>
                  <a:pt x="5921017" y="4512259"/>
                  <a:pt x="5928452" y="4509884"/>
                  <a:pt x="5931860" y="4510916"/>
                </a:cubicBezTo>
                <a:close/>
                <a:moveTo>
                  <a:pt x="1481854" y="4510692"/>
                </a:moveTo>
                <a:cubicBezTo>
                  <a:pt x="1487121" y="4515648"/>
                  <a:pt x="1493006" y="4517094"/>
                  <a:pt x="1493006" y="4517094"/>
                </a:cubicBezTo>
                <a:cubicBezTo>
                  <a:pt x="1494091" y="4518746"/>
                  <a:pt x="1493781" y="4519469"/>
                  <a:pt x="1494091" y="4518746"/>
                </a:cubicBezTo>
                <a:cubicBezTo>
                  <a:pt x="1495020" y="4521121"/>
                  <a:pt x="1496569" y="4523909"/>
                  <a:pt x="1495020" y="4524942"/>
                </a:cubicBezTo>
                <a:cubicBezTo>
                  <a:pt x="1494401" y="4525251"/>
                  <a:pt x="1493626" y="4525355"/>
                  <a:pt x="1493006" y="4525355"/>
                </a:cubicBezTo>
                <a:cubicBezTo>
                  <a:pt x="1487895" y="4524838"/>
                  <a:pt x="1483558" y="4516371"/>
                  <a:pt x="1481854" y="4514616"/>
                </a:cubicBezTo>
                <a:cubicBezTo>
                  <a:pt x="1481854" y="4514616"/>
                  <a:pt x="1481080" y="4514203"/>
                  <a:pt x="1480615" y="4512964"/>
                </a:cubicBezTo>
                <a:cubicBezTo>
                  <a:pt x="1479530" y="4511415"/>
                  <a:pt x="1482164" y="4511931"/>
                  <a:pt x="1481854" y="4510692"/>
                </a:cubicBezTo>
                <a:close/>
                <a:moveTo>
                  <a:pt x="1019798" y="4510692"/>
                </a:moveTo>
                <a:lnTo>
                  <a:pt x="1021038" y="4515958"/>
                </a:lnTo>
                <a:lnTo>
                  <a:pt x="1022587" y="4516371"/>
                </a:lnTo>
                <a:cubicBezTo>
                  <a:pt x="1024755" y="4517507"/>
                  <a:pt x="1026459" y="4519882"/>
                  <a:pt x="1026149" y="4522876"/>
                </a:cubicBezTo>
                <a:lnTo>
                  <a:pt x="1023051" y="4524115"/>
                </a:lnTo>
                <a:lnTo>
                  <a:pt x="1023206" y="4529795"/>
                </a:lnTo>
                <a:cubicBezTo>
                  <a:pt x="1022896" y="4532273"/>
                  <a:pt x="1022276" y="4534957"/>
                  <a:pt x="1021038" y="4537848"/>
                </a:cubicBezTo>
                <a:cubicBezTo>
                  <a:pt x="1019024" y="4538158"/>
                  <a:pt x="1016701" y="4540120"/>
                  <a:pt x="1014687" y="4539604"/>
                </a:cubicBezTo>
                <a:cubicBezTo>
                  <a:pt x="1014067" y="4539501"/>
                  <a:pt x="1013448" y="4539088"/>
                  <a:pt x="1012828" y="4538262"/>
                </a:cubicBezTo>
                <a:cubicBezTo>
                  <a:pt x="1016546" y="4533615"/>
                  <a:pt x="1016236" y="4528142"/>
                  <a:pt x="1015926" y="4523289"/>
                </a:cubicBezTo>
                <a:lnTo>
                  <a:pt x="1016081" y="4518230"/>
                </a:lnTo>
                <a:lnTo>
                  <a:pt x="1015926" y="4516681"/>
                </a:lnTo>
                <a:lnTo>
                  <a:pt x="1016081" y="4516578"/>
                </a:lnTo>
                <a:lnTo>
                  <a:pt x="1016081" y="4516268"/>
                </a:lnTo>
                <a:cubicBezTo>
                  <a:pt x="1016546" y="4514100"/>
                  <a:pt x="1017630" y="4512241"/>
                  <a:pt x="1019798" y="4510692"/>
                </a:cubicBezTo>
                <a:close/>
                <a:moveTo>
                  <a:pt x="6213616" y="4510400"/>
                </a:moveTo>
                <a:cubicBezTo>
                  <a:pt x="6216095" y="4508748"/>
                  <a:pt x="6224769" y="4514324"/>
                  <a:pt x="6219967" y="4518558"/>
                </a:cubicBezTo>
                <a:cubicBezTo>
                  <a:pt x="6219348" y="4519177"/>
                  <a:pt x="6218418" y="4519177"/>
                  <a:pt x="6217489" y="4518764"/>
                </a:cubicBezTo>
                <a:cubicBezTo>
                  <a:pt x="6214546" y="4517628"/>
                  <a:pt x="6211293" y="4512878"/>
                  <a:pt x="6213616" y="4510400"/>
                </a:cubicBezTo>
                <a:close/>
                <a:moveTo>
                  <a:pt x="988044" y="4509970"/>
                </a:moveTo>
                <a:cubicBezTo>
                  <a:pt x="989594" y="4511415"/>
                  <a:pt x="990058" y="4513067"/>
                  <a:pt x="990058" y="4514513"/>
                </a:cubicBezTo>
                <a:lnTo>
                  <a:pt x="989594" y="4515648"/>
                </a:lnTo>
                <a:lnTo>
                  <a:pt x="989283" y="4516578"/>
                </a:lnTo>
                <a:lnTo>
                  <a:pt x="988354" y="4518746"/>
                </a:lnTo>
                <a:cubicBezTo>
                  <a:pt x="985876" y="4518540"/>
                  <a:pt x="984482" y="4517094"/>
                  <a:pt x="984482" y="4515339"/>
                </a:cubicBezTo>
                <a:cubicBezTo>
                  <a:pt x="984482" y="4513687"/>
                  <a:pt x="985721" y="4511518"/>
                  <a:pt x="988044" y="4509970"/>
                </a:cubicBezTo>
                <a:close/>
                <a:moveTo>
                  <a:pt x="6729886" y="4509574"/>
                </a:moveTo>
                <a:cubicBezTo>
                  <a:pt x="6748318" y="4504825"/>
                  <a:pt x="6755134" y="4543236"/>
                  <a:pt x="6752965" y="4555213"/>
                </a:cubicBezTo>
                <a:cubicBezTo>
                  <a:pt x="6744136" y="4543855"/>
                  <a:pt x="6730040" y="4524443"/>
                  <a:pt x="6729886" y="4509574"/>
                </a:cubicBezTo>
                <a:close/>
                <a:moveTo>
                  <a:pt x="5839542" y="4509471"/>
                </a:moveTo>
                <a:cubicBezTo>
                  <a:pt x="5841246" y="4511433"/>
                  <a:pt x="5842950" y="4513395"/>
                  <a:pt x="5841865" y="4517628"/>
                </a:cubicBezTo>
                <a:cubicBezTo>
                  <a:pt x="5840471" y="4518764"/>
                  <a:pt x="5839077" y="4519487"/>
                  <a:pt x="5837683" y="4519590"/>
                </a:cubicBezTo>
                <a:cubicBezTo>
                  <a:pt x="5836134" y="4519797"/>
                  <a:pt x="5834431" y="4519487"/>
                  <a:pt x="5832262" y="4518764"/>
                </a:cubicBezTo>
                <a:cubicBezTo>
                  <a:pt x="5830713" y="4514840"/>
                  <a:pt x="5834275" y="4507406"/>
                  <a:pt x="5839542" y="4509471"/>
                </a:cubicBezTo>
                <a:close/>
                <a:moveTo>
                  <a:pt x="1136590" y="4509350"/>
                </a:moveTo>
                <a:cubicBezTo>
                  <a:pt x="1135351" y="4513687"/>
                  <a:pt x="1135506" y="4519779"/>
                  <a:pt x="1132718" y="4523186"/>
                </a:cubicBezTo>
                <a:cubicBezTo>
                  <a:pt x="1132873" y="4521431"/>
                  <a:pt x="1134731" y="4511931"/>
                  <a:pt x="1136590" y="4509350"/>
                </a:cubicBezTo>
                <a:close/>
                <a:moveTo>
                  <a:pt x="891854" y="4509350"/>
                </a:moveTo>
                <a:cubicBezTo>
                  <a:pt x="893404" y="4510382"/>
                  <a:pt x="896037" y="4511725"/>
                  <a:pt x="895261" y="4516165"/>
                </a:cubicBezTo>
                <a:cubicBezTo>
                  <a:pt x="894952" y="4517404"/>
                  <a:pt x="894952" y="4517404"/>
                  <a:pt x="894177" y="4517920"/>
                </a:cubicBezTo>
                <a:cubicBezTo>
                  <a:pt x="893093" y="4519572"/>
                  <a:pt x="892783" y="4520811"/>
                  <a:pt x="890770" y="4521018"/>
                </a:cubicBezTo>
                <a:cubicBezTo>
                  <a:pt x="889376" y="4520914"/>
                  <a:pt x="888602" y="4520399"/>
                  <a:pt x="888136" y="4519469"/>
                </a:cubicBezTo>
                <a:cubicBezTo>
                  <a:pt x="887826" y="4518540"/>
                  <a:pt x="887981" y="4517301"/>
                  <a:pt x="888136" y="4515648"/>
                </a:cubicBezTo>
                <a:cubicBezTo>
                  <a:pt x="888447" y="4512447"/>
                  <a:pt x="891080" y="4511828"/>
                  <a:pt x="891854" y="4509350"/>
                </a:cubicBezTo>
                <a:close/>
                <a:moveTo>
                  <a:pt x="5707416" y="4508129"/>
                </a:moveTo>
                <a:cubicBezTo>
                  <a:pt x="5710668" y="4508335"/>
                  <a:pt x="5713766" y="4510194"/>
                  <a:pt x="5717948" y="4515563"/>
                </a:cubicBezTo>
                <a:cubicBezTo>
                  <a:pt x="5703698" y="4524340"/>
                  <a:pt x="5720737" y="4532394"/>
                  <a:pt x="5710048" y="4539932"/>
                </a:cubicBezTo>
                <a:cubicBezTo>
                  <a:pt x="5706176" y="4540551"/>
                  <a:pt x="5702304" y="4542203"/>
                  <a:pt x="5698276" y="4542513"/>
                </a:cubicBezTo>
                <a:cubicBezTo>
                  <a:pt x="5697037" y="4542616"/>
                  <a:pt x="5695643" y="4542616"/>
                  <a:pt x="5694249" y="4542306"/>
                </a:cubicBezTo>
                <a:cubicBezTo>
                  <a:pt x="5692391" y="4541997"/>
                  <a:pt x="5690687" y="4541274"/>
                  <a:pt x="5688828" y="4539828"/>
                </a:cubicBezTo>
                <a:cubicBezTo>
                  <a:pt x="5698276" y="4528986"/>
                  <a:pt x="5701065" y="4519177"/>
                  <a:pt x="5707416" y="4508129"/>
                </a:cubicBezTo>
                <a:close/>
                <a:moveTo>
                  <a:pt x="931353" y="4508111"/>
                </a:moveTo>
                <a:cubicBezTo>
                  <a:pt x="933056" y="4506975"/>
                  <a:pt x="933831" y="4507388"/>
                  <a:pt x="933986" y="4508627"/>
                </a:cubicBezTo>
                <a:cubicBezTo>
                  <a:pt x="933986" y="4508627"/>
                  <a:pt x="934140" y="4509866"/>
                  <a:pt x="934296" y="4511002"/>
                </a:cubicBezTo>
                <a:cubicBezTo>
                  <a:pt x="934450" y="4512241"/>
                  <a:pt x="935225" y="4512654"/>
                  <a:pt x="935225" y="4512654"/>
                </a:cubicBezTo>
                <a:cubicBezTo>
                  <a:pt x="935380" y="4513893"/>
                  <a:pt x="934760" y="4514719"/>
                  <a:pt x="933676" y="4515029"/>
                </a:cubicBezTo>
                <a:cubicBezTo>
                  <a:pt x="933676" y="4515029"/>
                  <a:pt x="932747" y="4513377"/>
                  <a:pt x="932747" y="4513377"/>
                </a:cubicBezTo>
                <a:cubicBezTo>
                  <a:pt x="932437" y="4510899"/>
                  <a:pt x="932282" y="4509763"/>
                  <a:pt x="931353" y="4508111"/>
                </a:cubicBezTo>
                <a:close/>
                <a:moveTo>
                  <a:pt x="1403012" y="4507801"/>
                </a:moveTo>
                <a:lnTo>
                  <a:pt x="1405180" y="4510899"/>
                </a:lnTo>
                <a:cubicBezTo>
                  <a:pt x="1404716" y="4511208"/>
                  <a:pt x="1404096" y="4511621"/>
                  <a:pt x="1403477" y="4511725"/>
                </a:cubicBezTo>
                <a:cubicBezTo>
                  <a:pt x="1402857" y="4511828"/>
                  <a:pt x="1402237" y="4511725"/>
                  <a:pt x="1401928" y="4511208"/>
                </a:cubicBezTo>
                <a:cubicBezTo>
                  <a:pt x="1401153" y="4510692"/>
                  <a:pt x="1401153" y="4510176"/>
                  <a:pt x="1401463" y="4509660"/>
                </a:cubicBezTo>
                <a:cubicBezTo>
                  <a:pt x="1401928" y="4509247"/>
                  <a:pt x="1402547" y="4508627"/>
                  <a:pt x="1403012" y="4507801"/>
                </a:cubicBezTo>
                <a:close/>
                <a:moveTo>
                  <a:pt x="6789366" y="4507715"/>
                </a:moveTo>
                <a:lnTo>
                  <a:pt x="6788437" y="4511020"/>
                </a:lnTo>
                <a:lnTo>
                  <a:pt x="6796336" y="4507922"/>
                </a:lnTo>
                <a:cubicBezTo>
                  <a:pt x="6804546" y="4509471"/>
                  <a:pt x="6808883" y="4517009"/>
                  <a:pt x="6807489" y="4524237"/>
                </a:cubicBezTo>
                <a:cubicBezTo>
                  <a:pt x="6806869" y="4526611"/>
                  <a:pt x="6805940" y="4529090"/>
                  <a:pt x="6804081" y="4531155"/>
                </a:cubicBezTo>
                <a:lnTo>
                  <a:pt x="6796801" y="4535388"/>
                </a:lnTo>
                <a:lnTo>
                  <a:pt x="6796181" y="4541790"/>
                </a:lnTo>
                <a:cubicBezTo>
                  <a:pt x="6795407" y="4543236"/>
                  <a:pt x="6794168" y="4544475"/>
                  <a:pt x="6791999" y="4545404"/>
                </a:cubicBezTo>
                <a:cubicBezTo>
                  <a:pt x="6790915" y="4545920"/>
                  <a:pt x="6789676" y="4546437"/>
                  <a:pt x="6788282" y="4546643"/>
                </a:cubicBezTo>
                <a:cubicBezTo>
                  <a:pt x="6784409" y="4547160"/>
                  <a:pt x="6780382" y="4545817"/>
                  <a:pt x="6777749" y="4539209"/>
                </a:cubicBezTo>
                <a:cubicBezTo>
                  <a:pt x="6776509" y="4537660"/>
                  <a:pt x="6777284" y="4538073"/>
                  <a:pt x="6776974" y="4536834"/>
                </a:cubicBezTo>
                <a:cubicBezTo>
                  <a:pt x="6776509" y="4535698"/>
                  <a:pt x="6775270" y="4534046"/>
                  <a:pt x="6774650" y="4533633"/>
                </a:cubicBezTo>
                <a:cubicBezTo>
                  <a:pt x="6777284" y="4532291"/>
                  <a:pt x="6777129" y="4530329"/>
                  <a:pt x="6779297" y="4528470"/>
                </a:cubicBezTo>
                <a:lnTo>
                  <a:pt x="6782550" y="4526611"/>
                </a:lnTo>
                <a:lnTo>
                  <a:pt x="6781466" y="4520519"/>
                </a:lnTo>
                <a:lnTo>
                  <a:pt x="6779607" y="4521449"/>
                </a:lnTo>
                <a:cubicBezTo>
                  <a:pt x="6775735" y="4517318"/>
                  <a:pt x="6775735" y="4512362"/>
                  <a:pt x="6777904" y="4509265"/>
                </a:cubicBezTo>
                <a:cubicBezTo>
                  <a:pt x="6780072" y="4506064"/>
                  <a:pt x="6784409" y="4504721"/>
                  <a:pt x="6789366" y="4507715"/>
                </a:cubicBezTo>
                <a:close/>
                <a:moveTo>
                  <a:pt x="1463886" y="4507698"/>
                </a:moveTo>
                <a:cubicBezTo>
                  <a:pt x="1464041" y="4510382"/>
                  <a:pt x="1466984" y="4512447"/>
                  <a:pt x="1468223" y="4515339"/>
                </a:cubicBezTo>
                <a:cubicBezTo>
                  <a:pt x="1468688" y="4516268"/>
                  <a:pt x="1468997" y="4517301"/>
                  <a:pt x="1468997" y="4518437"/>
                </a:cubicBezTo>
                <a:cubicBezTo>
                  <a:pt x="1468997" y="4518437"/>
                  <a:pt x="1468997" y="4518437"/>
                  <a:pt x="1468688" y="4517610"/>
                </a:cubicBezTo>
                <a:cubicBezTo>
                  <a:pt x="1468688" y="4517610"/>
                  <a:pt x="1468997" y="4518437"/>
                  <a:pt x="1468223" y="4518746"/>
                </a:cubicBezTo>
                <a:cubicBezTo>
                  <a:pt x="1466364" y="4517198"/>
                  <a:pt x="1465125" y="4514719"/>
                  <a:pt x="1464351" y="4512551"/>
                </a:cubicBezTo>
                <a:cubicBezTo>
                  <a:pt x="1463576" y="4510279"/>
                  <a:pt x="1463266" y="4508420"/>
                  <a:pt x="1463111" y="4508008"/>
                </a:cubicBezTo>
                <a:cubicBezTo>
                  <a:pt x="1463886" y="4507698"/>
                  <a:pt x="1463886" y="4507698"/>
                  <a:pt x="1463886" y="4507698"/>
                </a:cubicBezTo>
                <a:close/>
                <a:moveTo>
                  <a:pt x="1757724" y="4507595"/>
                </a:moveTo>
                <a:cubicBezTo>
                  <a:pt x="1757879" y="4506665"/>
                  <a:pt x="1760357" y="4508008"/>
                  <a:pt x="1760357" y="4508008"/>
                </a:cubicBezTo>
                <a:cubicBezTo>
                  <a:pt x="1761132" y="4509040"/>
                  <a:pt x="1759273" y="4511415"/>
                  <a:pt x="1759273" y="4512241"/>
                </a:cubicBezTo>
                <a:cubicBezTo>
                  <a:pt x="1758344" y="4512138"/>
                  <a:pt x="1757569" y="4511105"/>
                  <a:pt x="1756640" y="4511002"/>
                </a:cubicBezTo>
                <a:cubicBezTo>
                  <a:pt x="1756795" y="4510073"/>
                  <a:pt x="1756950" y="4508317"/>
                  <a:pt x="1757724" y="4507595"/>
                </a:cubicBezTo>
                <a:close/>
                <a:moveTo>
                  <a:pt x="1576651" y="4507491"/>
                </a:moveTo>
                <a:cubicBezTo>
                  <a:pt x="1578044" y="4508627"/>
                  <a:pt x="1576651" y="4512138"/>
                  <a:pt x="1576496" y="4514100"/>
                </a:cubicBezTo>
                <a:cubicBezTo>
                  <a:pt x="1575411" y="4513687"/>
                  <a:pt x="1574328" y="4513274"/>
                  <a:pt x="1574637" y="4514100"/>
                </a:cubicBezTo>
                <a:cubicBezTo>
                  <a:pt x="1573553" y="4513687"/>
                  <a:pt x="1572933" y="4513067"/>
                  <a:pt x="1572469" y="4512344"/>
                </a:cubicBezTo>
                <a:cubicBezTo>
                  <a:pt x="1572158" y="4511621"/>
                  <a:pt x="1572004" y="4510692"/>
                  <a:pt x="1572004" y="4509763"/>
                </a:cubicBezTo>
                <a:cubicBezTo>
                  <a:pt x="1572469" y="4508627"/>
                  <a:pt x="1574017" y="4507904"/>
                  <a:pt x="1576651" y="4507491"/>
                </a:cubicBezTo>
                <a:close/>
                <a:moveTo>
                  <a:pt x="5938366" y="4507096"/>
                </a:moveTo>
                <a:cubicBezTo>
                  <a:pt x="5937591" y="4507922"/>
                  <a:pt x="5935888" y="4508748"/>
                  <a:pt x="5935113" y="4509574"/>
                </a:cubicBezTo>
                <a:cubicBezTo>
                  <a:pt x="5935113" y="4509574"/>
                  <a:pt x="5935113" y="4509574"/>
                  <a:pt x="5934184" y="4508645"/>
                </a:cubicBezTo>
                <a:cubicBezTo>
                  <a:pt x="5935888" y="4508748"/>
                  <a:pt x="5936662" y="4505237"/>
                  <a:pt x="5938366" y="4507096"/>
                </a:cubicBezTo>
                <a:close/>
                <a:moveTo>
                  <a:pt x="1547685" y="4506872"/>
                </a:moveTo>
                <a:cubicBezTo>
                  <a:pt x="1547995" y="4507698"/>
                  <a:pt x="1548459" y="4509040"/>
                  <a:pt x="1548924" y="4510382"/>
                </a:cubicBezTo>
                <a:lnTo>
                  <a:pt x="1549234" y="4511931"/>
                </a:lnTo>
                <a:lnTo>
                  <a:pt x="1551557" y="4512241"/>
                </a:lnTo>
                <a:cubicBezTo>
                  <a:pt x="1553416" y="4513170"/>
                  <a:pt x="1554965" y="4514926"/>
                  <a:pt x="1556049" y="4517507"/>
                </a:cubicBezTo>
                <a:cubicBezTo>
                  <a:pt x="1554810" y="4521534"/>
                  <a:pt x="1549079" y="4520811"/>
                  <a:pt x="1546136" y="4520811"/>
                </a:cubicBezTo>
                <a:cubicBezTo>
                  <a:pt x="1545207" y="4517198"/>
                  <a:pt x="1544122" y="4513687"/>
                  <a:pt x="1545361" y="4511518"/>
                </a:cubicBezTo>
                <a:lnTo>
                  <a:pt x="1547220" y="4511725"/>
                </a:lnTo>
                <a:lnTo>
                  <a:pt x="1547065" y="4511002"/>
                </a:lnTo>
                <a:cubicBezTo>
                  <a:pt x="1546601" y="4509660"/>
                  <a:pt x="1546601" y="4508111"/>
                  <a:pt x="1547685" y="4506872"/>
                </a:cubicBezTo>
                <a:close/>
                <a:moveTo>
                  <a:pt x="5925238" y="4506412"/>
                </a:moveTo>
                <a:cubicBezTo>
                  <a:pt x="5927562" y="4506399"/>
                  <a:pt x="5929459" y="4506683"/>
                  <a:pt x="5929846" y="4506683"/>
                </a:cubicBezTo>
                <a:cubicBezTo>
                  <a:pt x="5929846" y="4507612"/>
                  <a:pt x="5929846" y="4507612"/>
                  <a:pt x="5929846" y="4507612"/>
                </a:cubicBezTo>
                <a:cubicBezTo>
                  <a:pt x="5927368" y="4506786"/>
                  <a:pt x="5924425" y="4508851"/>
                  <a:pt x="5921327" y="4509161"/>
                </a:cubicBezTo>
                <a:cubicBezTo>
                  <a:pt x="5920243" y="4509265"/>
                  <a:pt x="5919159" y="4509161"/>
                  <a:pt x="5918074" y="4508748"/>
                </a:cubicBezTo>
                <a:cubicBezTo>
                  <a:pt x="5918074" y="4508748"/>
                  <a:pt x="5918074" y="4508645"/>
                  <a:pt x="5919004" y="4508748"/>
                </a:cubicBezTo>
                <a:cubicBezTo>
                  <a:pt x="5919004" y="4508748"/>
                  <a:pt x="5918074" y="4508748"/>
                  <a:pt x="5918074" y="4507922"/>
                </a:cubicBezTo>
                <a:cubicBezTo>
                  <a:pt x="5920165" y="4506735"/>
                  <a:pt x="5922915" y="4506425"/>
                  <a:pt x="5925238" y="4506412"/>
                </a:cubicBezTo>
                <a:close/>
                <a:moveTo>
                  <a:pt x="1126832" y="4506355"/>
                </a:moveTo>
                <a:cubicBezTo>
                  <a:pt x="1126212" y="4507285"/>
                  <a:pt x="1124198" y="4511931"/>
                  <a:pt x="1123269" y="4511002"/>
                </a:cubicBezTo>
                <a:cubicBezTo>
                  <a:pt x="1123269" y="4511002"/>
                  <a:pt x="1124044" y="4510073"/>
                  <a:pt x="1124663" y="4509143"/>
                </a:cubicBezTo>
                <a:cubicBezTo>
                  <a:pt x="1125438" y="4508214"/>
                  <a:pt x="1125438" y="4508214"/>
                  <a:pt x="1124508" y="4507388"/>
                </a:cubicBezTo>
                <a:cubicBezTo>
                  <a:pt x="1125128" y="4506459"/>
                  <a:pt x="1125128" y="4506459"/>
                  <a:pt x="1126832" y="4506355"/>
                </a:cubicBezTo>
                <a:close/>
                <a:moveTo>
                  <a:pt x="1784406" y="4506252"/>
                </a:moveTo>
                <a:cubicBezTo>
                  <a:pt x="1786613" y="4506459"/>
                  <a:pt x="1788626" y="4507388"/>
                  <a:pt x="1788239" y="4509453"/>
                </a:cubicBezTo>
                <a:cubicBezTo>
                  <a:pt x="1787774" y="4510279"/>
                  <a:pt x="1787155" y="4510692"/>
                  <a:pt x="1786380" y="4510899"/>
                </a:cubicBezTo>
                <a:cubicBezTo>
                  <a:pt x="1783747" y="4511208"/>
                  <a:pt x="1779720" y="4508834"/>
                  <a:pt x="1779410" y="4507388"/>
                </a:cubicBezTo>
                <a:cubicBezTo>
                  <a:pt x="1779797" y="4506562"/>
                  <a:pt x="1782198" y="4506045"/>
                  <a:pt x="1784406" y="4506252"/>
                </a:cubicBezTo>
                <a:close/>
                <a:moveTo>
                  <a:pt x="6134619" y="4505960"/>
                </a:moveTo>
                <a:cubicBezTo>
                  <a:pt x="6136478" y="4507715"/>
                  <a:pt x="6138182" y="4506993"/>
                  <a:pt x="6139886" y="4508748"/>
                </a:cubicBezTo>
                <a:cubicBezTo>
                  <a:pt x="6138337" y="4510400"/>
                  <a:pt x="6137407" y="4512156"/>
                  <a:pt x="6136633" y="4512981"/>
                </a:cubicBezTo>
                <a:cubicBezTo>
                  <a:pt x="6133225" y="4511123"/>
                  <a:pt x="6132296" y="4508438"/>
                  <a:pt x="6134619" y="4505960"/>
                </a:cubicBezTo>
                <a:close/>
                <a:moveTo>
                  <a:pt x="881786" y="4505942"/>
                </a:moveTo>
                <a:cubicBezTo>
                  <a:pt x="883800" y="4506769"/>
                  <a:pt x="883025" y="4512035"/>
                  <a:pt x="880547" y="4511415"/>
                </a:cubicBezTo>
                <a:cubicBezTo>
                  <a:pt x="879617" y="4511208"/>
                  <a:pt x="878688" y="4510382"/>
                  <a:pt x="877449" y="4508420"/>
                </a:cubicBezTo>
                <a:cubicBezTo>
                  <a:pt x="879462" y="4506149"/>
                  <a:pt x="880856" y="4505633"/>
                  <a:pt x="881786" y="4505942"/>
                </a:cubicBezTo>
                <a:close/>
                <a:moveTo>
                  <a:pt x="952264" y="4505736"/>
                </a:moveTo>
                <a:cubicBezTo>
                  <a:pt x="953503" y="4505426"/>
                  <a:pt x="953658" y="4506459"/>
                  <a:pt x="954277" y="4506872"/>
                </a:cubicBezTo>
                <a:cubicBezTo>
                  <a:pt x="955207" y="4508524"/>
                  <a:pt x="953813" y="4515029"/>
                  <a:pt x="952728" y="4515339"/>
                </a:cubicBezTo>
                <a:cubicBezTo>
                  <a:pt x="951954" y="4513274"/>
                  <a:pt x="950560" y="4509660"/>
                  <a:pt x="951024" y="4507388"/>
                </a:cubicBezTo>
                <a:cubicBezTo>
                  <a:pt x="951179" y="4506665"/>
                  <a:pt x="951644" y="4506046"/>
                  <a:pt x="952264" y="4505736"/>
                </a:cubicBezTo>
                <a:close/>
                <a:moveTo>
                  <a:pt x="1606391" y="4504910"/>
                </a:moveTo>
                <a:cubicBezTo>
                  <a:pt x="1607475" y="4505323"/>
                  <a:pt x="1607630" y="4508214"/>
                  <a:pt x="1608869" y="4508627"/>
                </a:cubicBezTo>
                <a:cubicBezTo>
                  <a:pt x="1608869" y="4508627"/>
                  <a:pt x="1608869" y="4508524"/>
                  <a:pt x="1607475" y="4510176"/>
                </a:cubicBezTo>
                <a:cubicBezTo>
                  <a:pt x="1606700" y="4510589"/>
                  <a:pt x="1605926" y="4510899"/>
                  <a:pt x="1604841" y="4510486"/>
                </a:cubicBezTo>
                <a:cubicBezTo>
                  <a:pt x="1603758" y="4510073"/>
                  <a:pt x="1603138" y="4508524"/>
                  <a:pt x="1602828" y="4507698"/>
                </a:cubicBezTo>
                <a:cubicBezTo>
                  <a:pt x="1603602" y="4507285"/>
                  <a:pt x="1603293" y="4506562"/>
                  <a:pt x="1604067" y="4506149"/>
                </a:cubicBezTo>
                <a:cubicBezTo>
                  <a:pt x="1605307" y="4504497"/>
                  <a:pt x="1605307" y="4504497"/>
                  <a:pt x="1606391" y="4504910"/>
                </a:cubicBezTo>
                <a:close/>
                <a:moveTo>
                  <a:pt x="1466364" y="4504703"/>
                </a:moveTo>
                <a:cubicBezTo>
                  <a:pt x="1475504" y="4507388"/>
                  <a:pt x="1472870" y="4513893"/>
                  <a:pt x="1477982" y="4515545"/>
                </a:cubicBezTo>
                <a:cubicBezTo>
                  <a:pt x="1476587" y="4516991"/>
                  <a:pt x="1476587" y="4516991"/>
                  <a:pt x="1474729" y="4516887"/>
                </a:cubicBezTo>
                <a:cubicBezTo>
                  <a:pt x="1474419" y="4516062"/>
                  <a:pt x="1473645" y="4516371"/>
                  <a:pt x="1474109" y="4515132"/>
                </a:cubicBezTo>
                <a:cubicBezTo>
                  <a:pt x="1471166" y="4514513"/>
                  <a:pt x="1466674" y="4508214"/>
                  <a:pt x="1466364" y="4504703"/>
                </a:cubicBezTo>
                <a:close/>
                <a:moveTo>
                  <a:pt x="885813" y="4504394"/>
                </a:moveTo>
                <a:lnTo>
                  <a:pt x="886278" y="4507904"/>
                </a:lnTo>
                <a:cubicBezTo>
                  <a:pt x="885658" y="4508111"/>
                  <a:pt x="884884" y="4508214"/>
                  <a:pt x="884264" y="4508111"/>
                </a:cubicBezTo>
                <a:cubicBezTo>
                  <a:pt x="883645" y="4507904"/>
                  <a:pt x="883180" y="4507595"/>
                  <a:pt x="883180" y="4507078"/>
                </a:cubicBezTo>
                <a:cubicBezTo>
                  <a:pt x="882715" y="4506252"/>
                  <a:pt x="883025" y="4505839"/>
                  <a:pt x="883490" y="4505530"/>
                </a:cubicBezTo>
                <a:cubicBezTo>
                  <a:pt x="884109" y="4505219"/>
                  <a:pt x="884884" y="4504910"/>
                  <a:pt x="885813" y="4504394"/>
                </a:cubicBezTo>
                <a:close/>
                <a:moveTo>
                  <a:pt x="674535" y="4503980"/>
                </a:moveTo>
                <a:cubicBezTo>
                  <a:pt x="675309" y="4503980"/>
                  <a:pt x="676238" y="4504910"/>
                  <a:pt x="676238" y="4504910"/>
                </a:cubicBezTo>
                <a:cubicBezTo>
                  <a:pt x="677013" y="4505839"/>
                  <a:pt x="677013" y="4505839"/>
                  <a:pt x="677788" y="4505013"/>
                </a:cubicBezTo>
                <a:cubicBezTo>
                  <a:pt x="677788" y="4505013"/>
                  <a:pt x="677943" y="4505839"/>
                  <a:pt x="677943" y="4505839"/>
                </a:cubicBezTo>
                <a:cubicBezTo>
                  <a:pt x="677013" y="4505839"/>
                  <a:pt x="677943" y="4505839"/>
                  <a:pt x="678717" y="4506769"/>
                </a:cubicBezTo>
                <a:cubicBezTo>
                  <a:pt x="677943" y="4508524"/>
                  <a:pt x="678098" y="4509350"/>
                  <a:pt x="677322" y="4510176"/>
                </a:cubicBezTo>
                <a:cubicBezTo>
                  <a:pt x="676858" y="4510589"/>
                  <a:pt x="676238" y="4511002"/>
                  <a:pt x="675619" y="4511208"/>
                </a:cubicBezTo>
                <a:cubicBezTo>
                  <a:pt x="674999" y="4511415"/>
                  <a:pt x="674380" y="4511415"/>
                  <a:pt x="673915" y="4511002"/>
                </a:cubicBezTo>
                <a:cubicBezTo>
                  <a:pt x="673915" y="4510073"/>
                  <a:pt x="673141" y="4510073"/>
                  <a:pt x="673141" y="4509143"/>
                </a:cubicBezTo>
                <a:cubicBezTo>
                  <a:pt x="672211" y="4507388"/>
                  <a:pt x="672056" y="4506459"/>
                  <a:pt x="672831" y="4505633"/>
                </a:cubicBezTo>
                <a:cubicBezTo>
                  <a:pt x="672831" y="4504703"/>
                  <a:pt x="673760" y="4504807"/>
                  <a:pt x="674535" y="4503980"/>
                </a:cubicBezTo>
                <a:close/>
                <a:moveTo>
                  <a:pt x="5770613" y="4503585"/>
                </a:moveTo>
                <a:cubicBezTo>
                  <a:pt x="5778048" y="4503585"/>
                  <a:pt x="5790440" y="4504102"/>
                  <a:pt x="5796016" y="4508748"/>
                </a:cubicBezTo>
                <a:cubicBezTo>
                  <a:pt x="5794777" y="4511020"/>
                  <a:pt x="5792763" y="4512052"/>
                  <a:pt x="5790440" y="4512362"/>
                </a:cubicBezTo>
                <a:cubicBezTo>
                  <a:pt x="5783470" y="4513292"/>
                  <a:pt x="5773401" y="4507096"/>
                  <a:pt x="5770613" y="4503585"/>
                </a:cubicBezTo>
                <a:close/>
                <a:moveTo>
                  <a:pt x="1137364" y="4502948"/>
                </a:moveTo>
                <a:cubicBezTo>
                  <a:pt x="1137364" y="4502948"/>
                  <a:pt x="1138139" y="4502948"/>
                  <a:pt x="1138139" y="4502948"/>
                </a:cubicBezTo>
                <a:cubicBezTo>
                  <a:pt x="1137984" y="4503980"/>
                  <a:pt x="1137984" y="4504910"/>
                  <a:pt x="1137209" y="4504807"/>
                </a:cubicBezTo>
                <a:cubicBezTo>
                  <a:pt x="1136745" y="4504807"/>
                  <a:pt x="1136590" y="4504600"/>
                  <a:pt x="1136590" y="4504290"/>
                </a:cubicBezTo>
                <a:cubicBezTo>
                  <a:pt x="1136745" y="4503877"/>
                  <a:pt x="1136900" y="4503464"/>
                  <a:pt x="1137364" y="4502948"/>
                </a:cubicBezTo>
                <a:close/>
                <a:moveTo>
                  <a:pt x="5621758" y="4502759"/>
                </a:moveTo>
                <a:cubicBezTo>
                  <a:pt x="5623307" y="4503689"/>
                  <a:pt x="5625785" y="4502863"/>
                  <a:pt x="5627334" y="4504618"/>
                </a:cubicBezTo>
                <a:cubicBezTo>
                  <a:pt x="5627334" y="4504618"/>
                  <a:pt x="5628108" y="4505547"/>
                  <a:pt x="5627954" y="4507199"/>
                </a:cubicBezTo>
                <a:cubicBezTo>
                  <a:pt x="5629347" y="4509884"/>
                  <a:pt x="5626560" y="4512466"/>
                  <a:pt x="5626560" y="4512466"/>
                </a:cubicBezTo>
                <a:cubicBezTo>
                  <a:pt x="5626560" y="4512466"/>
                  <a:pt x="5626560" y="4512466"/>
                  <a:pt x="5627489" y="4512466"/>
                </a:cubicBezTo>
                <a:cubicBezTo>
                  <a:pt x="5625785" y="4512466"/>
                  <a:pt x="5623926" y="4513292"/>
                  <a:pt x="5622377" y="4513292"/>
                </a:cubicBezTo>
                <a:cubicBezTo>
                  <a:pt x="5620828" y="4511949"/>
                  <a:pt x="5619899" y="4510813"/>
                  <a:pt x="5619279" y="4509884"/>
                </a:cubicBezTo>
                <a:cubicBezTo>
                  <a:pt x="5617576" y="4506993"/>
                  <a:pt x="5619589" y="4505341"/>
                  <a:pt x="5621758" y="4502759"/>
                </a:cubicBezTo>
                <a:close/>
                <a:moveTo>
                  <a:pt x="836556" y="4502638"/>
                </a:moveTo>
                <a:cubicBezTo>
                  <a:pt x="847864" y="4505426"/>
                  <a:pt x="855453" y="4515545"/>
                  <a:pt x="851736" y="4524942"/>
                </a:cubicBezTo>
                <a:cubicBezTo>
                  <a:pt x="849412" y="4529072"/>
                  <a:pt x="846314" y="4531137"/>
                  <a:pt x="843061" y="4531447"/>
                </a:cubicBezTo>
                <a:cubicBezTo>
                  <a:pt x="841978" y="4531550"/>
                  <a:pt x="840893" y="4531447"/>
                  <a:pt x="839809" y="4531240"/>
                </a:cubicBezTo>
                <a:cubicBezTo>
                  <a:pt x="835472" y="4530311"/>
                  <a:pt x="831599" y="4526800"/>
                  <a:pt x="829896" y="4522050"/>
                </a:cubicBezTo>
                <a:cubicBezTo>
                  <a:pt x="827882" y="4516475"/>
                  <a:pt x="828966" y="4509143"/>
                  <a:pt x="836556" y="4502638"/>
                </a:cubicBezTo>
                <a:close/>
                <a:moveTo>
                  <a:pt x="1152699" y="4501606"/>
                </a:moveTo>
                <a:cubicBezTo>
                  <a:pt x="1153474" y="4503154"/>
                  <a:pt x="1153474" y="4503154"/>
                  <a:pt x="1153009" y="4503980"/>
                </a:cubicBezTo>
                <a:cubicBezTo>
                  <a:pt x="1153474" y="4503154"/>
                  <a:pt x="1154248" y="4503671"/>
                  <a:pt x="1155487" y="4503258"/>
                </a:cubicBezTo>
                <a:cubicBezTo>
                  <a:pt x="1159980" y="4500780"/>
                  <a:pt x="1162303" y="4504497"/>
                  <a:pt x="1163697" y="4509660"/>
                </a:cubicBezTo>
                <a:cubicBezTo>
                  <a:pt x="1162613" y="4509970"/>
                  <a:pt x="1163542" y="4512861"/>
                  <a:pt x="1163232" y="4514822"/>
                </a:cubicBezTo>
                <a:cubicBezTo>
                  <a:pt x="1162613" y="4515958"/>
                  <a:pt x="1161993" y="4516887"/>
                  <a:pt x="1161219" y="4517610"/>
                </a:cubicBezTo>
                <a:lnTo>
                  <a:pt x="1161219" y="4517714"/>
                </a:lnTo>
                <a:lnTo>
                  <a:pt x="1161529" y="4523393"/>
                </a:lnTo>
                <a:cubicBezTo>
                  <a:pt x="1161374" y="4526077"/>
                  <a:pt x="1160754" y="4528349"/>
                  <a:pt x="1159050" y="4529795"/>
                </a:cubicBezTo>
                <a:lnTo>
                  <a:pt x="1156727" y="4530724"/>
                </a:lnTo>
                <a:lnTo>
                  <a:pt x="1158586" y="4533099"/>
                </a:lnTo>
                <a:cubicBezTo>
                  <a:pt x="1159205" y="4534338"/>
                  <a:pt x="1159515" y="4535680"/>
                  <a:pt x="1159050" y="4536609"/>
                </a:cubicBezTo>
                <a:cubicBezTo>
                  <a:pt x="1157501" y="4535680"/>
                  <a:pt x="1156727" y="4534751"/>
                  <a:pt x="1155952" y="4533822"/>
                </a:cubicBezTo>
                <a:cubicBezTo>
                  <a:pt x="1155177" y="4533409"/>
                  <a:pt x="1154868" y="4532892"/>
                  <a:pt x="1154868" y="4532376"/>
                </a:cubicBezTo>
                <a:lnTo>
                  <a:pt x="1155798" y="4531137"/>
                </a:lnTo>
                <a:lnTo>
                  <a:pt x="1155487" y="4531240"/>
                </a:lnTo>
                <a:lnTo>
                  <a:pt x="1151150" y="4531034"/>
                </a:lnTo>
                <a:lnTo>
                  <a:pt x="1150996" y="4531137"/>
                </a:lnTo>
                <a:cubicBezTo>
                  <a:pt x="1150531" y="4531343"/>
                  <a:pt x="1150221" y="4531343"/>
                  <a:pt x="1149756" y="4531343"/>
                </a:cubicBezTo>
                <a:lnTo>
                  <a:pt x="1149911" y="4531034"/>
                </a:lnTo>
                <a:lnTo>
                  <a:pt x="1149911" y="4530931"/>
                </a:lnTo>
                <a:lnTo>
                  <a:pt x="1150376" y="4529588"/>
                </a:lnTo>
                <a:lnTo>
                  <a:pt x="1150686" y="4529072"/>
                </a:lnTo>
                <a:lnTo>
                  <a:pt x="1151615" y="4527110"/>
                </a:lnTo>
                <a:lnTo>
                  <a:pt x="1151460" y="4526077"/>
                </a:lnTo>
                <a:lnTo>
                  <a:pt x="1153164" y="4523289"/>
                </a:lnTo>
                <a:lnTo>
                  <a:pt x="1153938" y="4518953"/>
                </a:lnTo>
                <a:lnTo>
                  <a:pt x="1152544" y="4518953"/>
                </a:lnTo>
                <a:cubicBezTo>
                  <a:pt x="1151615" y="4518540"/>
                  <a:pt x="1150686" y="4518023"/>
                  <a:pt x="1150066" y="4517404"/>
                </a:cubicBezTo>
                <a:lnTo>
                  <a:pt x="1148982" y="4515545"/>
                </a:lnTo>
                <a:lnTo>
                  <a:pt x="1148982" y="4517198"/>
                </a:lnTo>
                <a:cubicBezTo>
                  <a:pt x="1148053" y="4516268"/>
                  <a:pt x="1146349" y="4516887"/>
                  <a:pt x="1145574" y="4515855"/>
                </a:cubicBezTo>
                <a:cubicBezTo>
                  <a:pt x="1145574" y="4515855"/>
                  <a:pt x="1144799" y="4513067"/>
                  <a:pt x="1144799" y="4513067"/>
                </a:cubicBezTo>
                <a:cubicBezTo>
                  <a:pt x="1145729" y="4512344"/>
                  <a:pt x="1145729" y="4512344"/>
                  <a:pt x="1145729" y="4513170"/>
                </a:cubicBezTo>
                <a:lnTo>
                  <a:pt x="1148517" y="4512964"/>
                </a:lnTo>
                <a:lnTo>
                  <a:pt x="1148207" y="4509970"/>
                </a:lnTo>
                <a:lnTo>
                  <a:pt x="1148827" y="4508420"/>
                </a:lnTo>
                <a:lnTo>
                  <a:pt x="1148363" y="4507078"/>
                </a:lnTo>
                <a:lnTo>
                  <a:pt x="1143096" y="4508420"/>
                </a:lnTo>
                <a:cubicBezTo>
                  <a:pt x="1140927" y="4508937"/>
                  <a:pt x="1138759" y="4509247"/>
                  <a:pt x="1137055" y="4509143"/>
                </a:cubicBezTo>
                <a:lnTo>
                  <a:pt x="1136745" y="4509040"/>
                </a:lnTo>
                <a:lnTo>
                  <a:pt x="1136745" y="4509350"/>
                </a:lnTo>
                <a:lnTo>
                  <a:pt x="1136435" y="4508937"/>
                </a:lnTo>
                <a:lnTo>
                  <a:pt x="1134886" y="4508420"/>
                </a:lnTo>
                <a:cubicBezTo>
                  <a:pt x="1135351" y="4507595"/>
                  <a:pt x="1135816" y="4506872"/>
                  <a:pt x="1137055" y="4506562"/>
                </a:cubicBezTo>
                <a:cubicBezTo>
                  <a:pt x="1138139" y="4506252"/>
                  <a:pt x="1137674" y="4506975"/>
                  <a:pt x="1138139" y="4506252"/>
                </a:cubicBezTo>
                <a:cubicBezTo>
                  <a:pt x="1139378" y="4505839"/>
                  <a:pt x="1138759" y="4505426"/>
                  <a:pt x="1138759" y="4505426"/>
                </a:cubicBezTo>
                <a:cubicBezTo>
                  <a:pt x="1138759" y="4505426"/>
                  <a:pt x="1139378" y="4505839"/>
                  <a:pt x="1139378" y="4505839"/>
                </a:cubicBezTo>
                <a:cubicBezTo>
                  <a:pt x="1139378" y="4505839"/>
                  <a:pt x="1139378" y="4505942"/>
                  <a:pt x="1141702" y="4505219"/>
                </a:cubicBezTo>
                <a:cubicBezTo>
                  <a:pt x="1144490" y="4503877"/>
                  <a:pt x="1144954" y="4503051"/>
                  <a:pt x="1146659" y="4501915"/>
                </a:cubicBezTo>
                <a:cubicBezTo>
                  <a:pt x="1148982" y="4501296"/>
                  <a:pt x="1149601" y="4501812"/>
                  <a:pt x="1152699" y="4501606"/>
                </a:cubicBezTo>
                <a:close/>
                <a:moveTo>
                  <a:pt x="1010040" y="4501399"/>
                </a:moveTo>
                <a:cubicBezTo>
                  <a:pt x="1009421" y="4501915"/>
                  <a:pt x="1014222" y="4507698"/>
                  <a:pt x="1014222" y="4507698"/>
                </a:cubicBezTo>
                <a:cubicBezTo>
                  <a:pt x="1013602" y="4510073"/>
                  <a:pt x="1013602" y="4510073"/>
                  <a:pt x="1010659" y="4509866"/>
                </a:cubicBezTo>
                <a:cubicBezTo>
                  <a:pt x="1009575" y="4509556"/>
                  <a:pt x="1008026" y="4508420"/>
                  <a:pt x="1006787" y="4506872"/>
                </a:cubicBezTo>
                <a:cubicBezTo>
                  <a:pt x="1005393" y="4505323"/>
                  <a:pt x="1004464" y="4503464"/>
                  <a:pt x="1004618" y="4501915"/>
                </a:cubicBezTo>
                <a:cubicBezTo>
                  <a:pt x="1006477" y="4501709"/>
                  <a:pt x="1008181" y="4501606"/>
                  <a:pt x="1010040" y="4501399"/>
                </a:cubicBezTo>
                <a:close/>
                <a:moveTo>
                  <a:pt x="1748121" y="4501089"/>
                </a:moveTo>
                <a:cubicBezTo>
                  <a:pt x="1750909" y="4504497"/>
                  <a:pt x="1748276" y="4507801"/>
                  <a:pt x="1748740" y="4510899"/>
                </a:cubicBezTo>
                <a:cubicBezTo>
                  <a:pt x="1741460" y="4511621"/>
                  <a:pt x="1739137" y="4503877"/>
                  <a:pt x="1742699" y="4501296"/>
                </a:cubicBezTo>
                <a:cubicBezTo>
                  <a:pt x="1743938" y="4500470"/>
                  <a:pt x="1745642" y="4500160"/>
                  <a:pt x="1748121" y="4501089"/>
                </a:cubicBezTo>
                <a:close/>
                <a:moveTo>
                  <a:pt x="1371258" y="4500883"/>
                </a:moveTo>
                <a:cubicBezTo>
                  <a:pt x="1372342" y="4501399"/>
                  <a:pt x="1372807" y="4503051"/>
                  <a:pt x="1373117" y="4503877"/>
                </a:cubicBezTo>
                <a:cubicBezTo>
                  <a:pt x="1372342" y="4504187"/>
                  <a:pt x="1372497" y="4505116"/>
                  <a:pt x="1371723" y="4505426"/>
                </a:cubicBezTo>
                <a:cubicBezTo>
                  <a:pt x="1370949" y="4506149"/>
                  <a:pt x="1370638" y="4506562"/>
                  <a:pt x="1370328" y="4506665"/>
                </a:cubicBezTo>
                <a:cubicBezTo>
                  <a:pt x="1370019" y="4506769"/>
                  <a:pt x="1369864" y="4506665"/>
                  <a:pt x="1369244" y="4506355"/>
                </a:cubicBezTo>
                <a:cubicBezTo>
                  <a:pt x="1368160" y="4505942"/>
                  <a:pt x="1368160" y="4503051"/>
                  <a:pt x="1367076" y="4502638"/>
                </a:cubicBezTo>
                <a:cubicBezTo>
                  <a:pt x="1367076" y="4502638"/>
                  <a:pt x="1367231" y="4502535"/>
                  <a:pt x="1368470" y="4501089"/>
                </a:cubicBezTo>
                <a:cubicBezTo>
                  <a:pt x="1369399" y="4500676"/>
                  <a:pt x="1370174" y="4500470"/>
                  <a:pt x="1371258" y="4500883"/>
                </a:cubicBezTo>
                <a:close/>
                <a:moveTo>
                  <a:pt x="712484" y="4500883"/>
                </a:moveTo>
                <a:cubicBezTo>
                  <a:pt x="714962" y="4502948"/>
                  <a:pt x="713103" y="4505219"/>
                  <a:pt x="712020" y="4508524"/>
                </a:cubicBezTo>
                <a:cubicBezTo>
                  <a:pt x="711245" y="4507595"/>
                  <a:pt x="710315" y="4508317"/>
                  <a:pt x="709387" y="4508937"/>
                </a:cubicBezTo>
                <a:cubicBezTo>
                  <a:pt x="708302" y="4507491"/>
                  <a:pt x="706133" y="4505323"/>
                  <a:pt x="706753" y="4503154"/>
                </a:cubicBezTo>
                <a:cubicBezTo>
                  <a:pt x="706908" y="4502432"/>
                  <a:pt x="707372" y="4501812"/>
                  <a:pt x="708302" y="4501089"/>
                </a:cubicBezTo>
                <a:cubicBezTo>
                  <a:pt x="708302" y="4500160"/>
                  <a:pt x="711710" y="4499850"/>
                  <a:pt x="712484" y="4500883"/>
                </a:cubicBezTo>
                <a:close/>
                <a:moveTo>
                  <a:pt x="1540715" y="4500160"/>
                </a:moveTo>
                <a:cubicBezTo>
                  <a:pt x="1541644" y="4500883"/>
                  <a:pt x="1542418" y="4501915"/>
                  <a:pt x="1543038" y="4503154"/>
                </a:cubicBezTo>
                <a:lnTo>
                  <a:pt x="1543193" y="4508420"/>
                </a:lnTo>
                <a:lnTo>
                  <a:pt x="1543348" y="4508317"/>
                </a:lnTo>
                <a:cubicBezTo>
                  <a:pt x="1543658" y="4508420"/>
                  <a:pt x="1543967" y="4508627"/>
                  <a:pt x="1544277" y="4509143"/>
                </a:cubicBezTo>
                <a:cubicBezTo>
                  <a:pt x="1545052" y="4510176"/>
                  <a:pt x="1544122" y="4512757"/>
                  <a:pt x="1544897" y="4513790"/>
                </a:cubicBezTo>
                <a:cubicBezTo>
                  <a:pt x="1544897" y="4513790"/>
                  <a:pt x="1544897" y="4513790"/>
                  <a:pt x="1543038" y="4514409"/>
                </a:cubicBezTo>
                <a:cubicBezTo>
                  <a:pt x="1542264" y="4514306"/>
                  <a:pt x="1541335" y="4514100"/>
                  <a:pt x="1540560" y="4513067"/>
                </a:cubicBezTo>
                <a:lnTo>
                  <a:pt x="1540405" y="4512241"/>
                </a:lnTo>
                <a:lnTo>
                  <a:pt x="1536378" y="4512964"/>
                </a:lnTo>
                <a:cubicBezTo>
                  <a:pt x="1533434" y="4512861"/>
                  <a:pt x="1530647" y="4511931"/>
                  <a:pt x="1529717" y="4509970"/>
                </a:cubicBezTo>
                <a:cubicBezTo>
                  <a:pt x="1530027" y="4507595"/>
                  <a:pt x="1530337" y="4505013"/>
                  <a:pt x="1530491" y="4502638"/>
                </a:cubicBezTo>
                <a:cubicBezTo>
                  <a:pt x="1533280" y="4498921"/>
                  <a:pt x="1537772" y="4498198"/>
                  <a:pt x="1540715" y="4500160"/>
                </a:cubicBezTo>
                <a:close/>
                <a:moveTo>
                  <a:pt x="1460633" y="4499850"/>
                </a:moveTo>
                <a:cubicBezTo>
                  <a:pt x="1461717" y="4500264"/>
                  <a:pt x="1462957" y="4501606"/>
                  <a:pt x="1464041" y="4502122"/>
                </a:cubicBezTo>
                <a:cubicBezTo>
                  <a:pt x="1464041" y="4502122"/>
                  <a:pt x="1464041" y="4502122"/>
                  <a:pt x="1463421" y="4503258"/>
                </a:cubicBezTo>
                <a:cubicBezTo>
                  <a:pt x="1463111" y="4502019"/>
                  <a:pt x="1460943" y="4501915"/>
                  <a:pt x="1460478" y="4501089"/>
                </a:cubicBezTo>
                <a:cubicBezTo>
                  <a:pt x="1460323" y="4500780"/>
                  <a:pt x="1460323" y="4500367"/>
                  <a:pt x="1460633" y="4499850"/>
                </a:cubicBezTo>
                <a:close/>
                <a:moveTo>
                  <a:pt x="1111652" y="4499024"/>
                </a:moveTo>
                <a:cubicBezTo>
                  <a:pt x="1110568" y="4500264"/>
                  <a:pt x="1108399" y="4503051"/>
                  <a:pt x="1106695" y="4503464"/>
                </a:cubicBezTo>
                <a:cubicBezTo>
                  <a:pt x="1106230" y="4503671"/>
                  <a:pt x="1105611" y="4503568"/>
                  <a:pt x="1105301" y="4503154"/>
                </a:cubicBezTo>
                <a:cubicBezTo>
                  <a:pt x="1106850" y="4501503"/>
                  <a:pt x="1108244" y="4497992"/>
                  <a:pt x="1111652" y="4499024"/>
                </a:cubicBezTo>
                <a:close/>
                <a:moveTo>
                  <a:pt x="6031458" y="4498836"/>
                </a:moveTo>
                <a:cubicBezTo>
                  <a:pt x="6035176" y="4496358"/>
                  <a:pt x="6038584" y="4497183"/>
                  <a:pt x="6042456" y="4499765"/>
                </a:cubicBezTo>
                <a:cubicBezTo>
                  <a:pt x="6042301" y="4501417"/>
                  <a:pt x="6039513" y="4503276"/>
                  <a:pt x="6037500" y="4504515"/>
                </a:cubicBezTo>
                <a:cubicBezTo>
                  <a:pt x="6035021" y="4503999"/>
                  <a:pt x="6032853" y="4501727"/>
                  <a:pt x="6031458" y="4498836"/>
                </a:cubicBezTo>
                <a:close/>
                <a:moveTo>
                  <a:pt x="1322311" y="4498198"/>
                </a:moveTo>
                <a:cubicBezTo>
                  <a:pt x="1322776" y="4498508"/>
                  <a:pt x="1323240" y="4498921"/>
                  <a:pt x="1323705" y="4499437"/>
                </a:cubicBezTo>
                <a:cubicBezTo>
                  <a:pt x="1324479" y="4500470"/>
                  <a:pt x="1325254" y="4501399"/>
                  <a:pt x="1326184" y="4502432"/>
                </a:cubicBezTo>
                <a:cubicBezTo>
                  <a:pt x="1326184" y="4502432"/>
                  <a:pt x="1326184" y="4502432"/>
                  <a:pt x="1321071" y="4498302"/>
                </a:cubicBezTo>
                <a:cubicBezTo>
                  <a:pt x="1321536" y="4497888"/>
                  <a:pt x="1322002" y="4497888"/>
                  <a:pt x="1322311" y="4498198"/>
                </a:cubicBezTo>
                <a:close/>
                <a:moveTo>
                  <a:pt x="1140463" y="4497992"/>
                </a:moveTo>
                <a:cubicBezTo>
                  <a:pt x="1139378" y="4500573"/>
                  <a:pt x="1139378" y="4500573"/>
                  <a:pt x="1137519" y="4502329"/>
                </a:cubicBezTo>
                <a:cubicBezTo>
                  <a:pt x="1137519" y="4501503"/>
                  <a:pt x="1136900" y="4499644"/>
                  <a:pt x="1137830" y="4498818"/>
                </a:cubicBezTo>
                <a:cubicBezTo>
                  <a:pt x="1138759" y="4497888"/>
                  <a:pt x="1138759" y="4497888"/>
                  <a:pt x="1140463" y="4497992"/>
                </a:cubicBezTo>
                <a:close/>
                <a:moveTo>
                  <a:pt x="722068" y="4497940"/>
                </a:moveTo>
                <a:cubicBezTo>
                  <a:pt x="724721" y="4499179"/>
                  <a:pt x="726890" y="4501812"/>
                  <a:pt x="727045" y="4504497"/>
                </a:cubicBezTo>
                <a:cubicBezTo>
                  <a:pt x="725496" y="4506665"/>
                  <a:pt x="723172" y="4507491"/>
                  <a:pt x="720849" y="4507285"/>
                </a:cubicBezTo>
                <a:cubicBezTo>
                  <a:pt x="718525" y="4506975"/>
                  <a:pt x="716356" y="4505736"/>
                  <a:pt x="715117" y="4503980"/>
                </a:cubicBezTo>
                <a:cubicBezTo>
                  <a:pt x="714188" y="4502741"/>
                  <a:pt x="713878" y="4501296"/>
                  <a:pt x="714188" y="4499747"/>
                </a:cubicBezTo>
                <a:cubicBezTo>
                  <a:pt x="716279" y="4496856"/>
                  <a:pt x="719416" y="4496701"/>
                  <a:pt x="722068" y="4497940"/>
                </a:cubicBezTo>
                <a:close/>
                <a:moveTo>
                  <a:pt x="1438948" y="4496443"/>
                </a:moveTo>
                <a:cubicBezTo>
                  <a:pt x="1439877" y="4497372"/>
                  <a:pt x="1442356" y="4497785"/>
                  <a:pt x="1444059" y="4498921"/>
                </a:cubicBezTo>
                <a:cubicBezTo>
                  <a:pt x="1444059" y="4499747"/>
                  <a:pt x="1444834" y="4500780"/>
                  <a:pt x="1444834" y="4501606"/>
                </a:cubicBezTo>
                <a:cubicBezTo>
                  <a:pt x="1444369" y="4501503"/>
                  <a:pt x="1443750" y="4501606"/>
                  <a:pt x="1443130" y="4501606"/>
                </a:cubicBezTo>
                <a:cubicBezTo>
                  <a:pt x="1442510" y="4501606"/>
                  <a:pt x="1442201" y="4501503"/>
                  <a:pt x="1442201" y="4501089"/>
                </a:cubicBezTo>
                <a:cubicBezTo>
                  <a:pt x="1441271" y="4500986"/>
                  <a:pt x="1441426" y="4499334"/>
                  <a:pt x="1441426" y="4499334"/>
                </a:cubicBezTo>
                <a:cubicBezTo>
                  <a:pt x="1440651" y="4499128"/>
                  <a:pt x="1439723" y="4499024"/>
                  <a:pt x="1438948" y="4498095"/>
                </a:cubicBezTo>
                <a:cubicBezTo>
                  <a:pt x="1439723" y="4497372"/>
                  <a:pt x="1438948" y="4497269"/>
                  <a:pt x="1438948" y="4496443"/>
                </a:cubicBezTo>
                <a:close/>
                <a:moveTo>
                  <a:pt x="962332" y="4496236"/>
                </a:moveTo>
                <a:cubicBezTo>
                  <a:pt x="969767" y="4493448"/>
                  <a:pt x="975343" y="4500883"/>
                  <a:pt x="969302" y="4506665"/>
                </a:cubicBezTo>
                <a:cubicBezTo>
                  <a:pt x="967598" y="4507285"/>
                  <a:pt x="966049" y="4507388"/>
                  <a:pt x="964655" y="4507078"/>
                </a:cubicBezTo>
                <a:cubicBezTo>
                  <a:pt x="963261" y="4506769"/>
                  <a:pt x="962022" y="4506046"/>
                  <a:pt x="961248" y="4505013"/>
                </a:cubicBezTo>
                <a:cubicBezTo>
                  <a:pt x="959698" y="4503051"/>
                  <a:pt x="959698" y="4499850"/>
                  <a:pt x="962332" y="4496236"/>
                </a:cubicBezTo>
                <a:close/>
                <a:moveTo>
                  <a:pt x="6253270" y="4495944"/>
                </a:moveTo>
                <a:lnTo>
                  <a:pt x="6253270" y="4497080"/>
                </a:lnTo>
                <a:cubicBezTo>
                  <a:pt x="6253270" y="4498009"/>
                  <a:pt x="6253580" y="4498939"/>
                  <a:pt x="6254044" y="4499662"/>
                </a:cubicBezTo>
                <a:lnTo>
                  <a:pt x="6257762" y="4497597"/>
                </a:lnTo>
                <a:lnTo>
                  <a:pt x="6256833" y="4497493"/>
                </a:lnTo>
                <a:close/>
                <a:moveTo>
                  <a:pt x="6263184" y="4495738"/>
                </a:moveTo>
                <a:lnTo>
                  <a:pt x="6262099" y="4496048"/>
                </a:lnTo>
                <a:cubicBezTo>
                  <a:pt x="6261480" y="4496461"/>
                  <a:pt x="6261325" y="4496977"/>
                  <a:pt x="6262254" y="4497597"/>
                </a:cubicBezTo>
                <a:lnTo>
                  <a:pt x="6259311" y="4497597"/>
                </a:lnTo>
                <a:lnTo>
                  <a:pt x="6259930" y="4497803"/>
                </a:lnTo>
                <a:cubicBezTo>
                  <a:pt x="6260550" y="4498113"/>
                  <a:pt x="6261170" y="4498836"/>
                  <a:pt x="6261944" y="4499868"/>
                </a:cubicBezTo>
                <a:lnTo>
                  <a:pt x="6263958" y="4498629"/>
                </a:lnTo>
                <a:close/>
                <a:moveTo>
                  <a:pt x="6214081" y="4495428"/>
                </a:moveTo>
                <a:cubicBezTo>
                  <a:pt x="6214546" y="4496151"/>
                  <a:pt x="6215630" y="4496461"/>
                  <a:pt x="6216095" y="4497183"/>
                </a:cubicBezTo>
                <a:cubicBezTo>
                  <a:pt x="6215475" y="4497597"/>
                  <a:pt x="6214546" y="4499248"/>
                  <a:pt x="6214081" y="4498526"/>
                </a:cubicBezTo>
                <a:cubicBezTo>
                  <a:pt x="6213461" y="4499042"/>
                  <a:pt x="6212377" y="4497597"/>
                  <a:pt x="6212377" y="4497597"/>
                </a:cubicBezTo>
                <a:cubicBezTo>
                  <a:pt x="6211758" y="4498009"/>
                  <a:pt x="6210983" y="4498423"/>
                  <a:pt x="6209899" y="4498216"/>
                </a:cubicBezTo>
                <a:cubicBezTo>
                  <a:pt x="6210054" y="4496977"/>
                  <a:pt x="6209279" y="4497493"/>
                  <a:pt x="6208815" y="4496770"/>
                </a:cubicBezTo>
                <a:cubicBezTo>
                  <a:pt x="6210054" y="4497080"/>
                  <a:pt x="6212222" y="4495635"/>
                  <a:pt x="6214081" y="4495428"/>
                </a:cubicBezTo>
                <a:close/>
                <a:moveTo>
                  <a:pt x="883490" y="4494481"/>
                </a:moveTo>
                <a:cubicBezTo>
                  <a:pt x="884574" y="4494274"/>
                  <a:pt x="887672" y="4494068"/>
                  <a:pt x="887207" y="4494791"/>
                </a:cubicBezTo>
                <a:cubicBezTo>
                  <a:pt x="887362" y="4495927"/>
                  <a:pt x="887826" y="4495204"/>
                  <a:pt x="888447" y="4495617"/>
                </a:cubicBezTo>
                <a:cubicBezTo>
                  <a:pt x="889066" y="4499231"/>
                  <a:pt x="888447" y="4501915"/>
                  <a:pt x="885658" y="4503258"/>
                </a:cubicBezTo>
                <a:cubicBezTo>
                  <a:pt x="884419" y="4503568"/>
                  <a:pt x="883025" y="4503980"/>
                  <a:pt x="881631" y="4503877"/>
                </a:cubicBezTo>
                <a:cubicBezTo>
                  <a:pt x="880392" y="4503877"/>
                  <a:pt x="879152" y="4503361"/>
                  <a:pt x="878688" y="4501915"/>
                </a:cubicBezTo>
                <a:cubicBezTo>
                  <a:pt x="879152" y="4501193"/>
                  <a:pt x="878533" y="4500780"/>
                  <a:pt x="878997" y="4500057"/>
                </a:cubicBezTo>
                <a:cubicBezTo>
                  <a:pt x="878997" y="4500057"/>
                  <a:pt x="879152" y="4499024"/>
                  <a:pt x="879772" y="4497888"/>
                </a:cubicBezTo>
                <a:cubicBezTo>
                  <a:pt x="880392" y="4496752"/>
                  <a:pt x="881476" y="4495410"/>
                  <a:pt x="883490" y="4494481"/>
                </a:cubicBezTo>
                <a:close/>
                <a:moveTo>
                  <a:pt x="1602828" y="4494378"/>
                </a:moveTo>
                <a:cubicBezTo>
                  <a:pt x="1606700" y="4495617"/>
                  <a:pt x="1607630" y="4496133"/>
                  <a:pt x="1607165" y="4500780"/>
                </a:cubicBezTo>
                <a:cubicBezTo>
                  <a:pt x="1607165" y="4500780"/>
                  <a:pt x="1606546" y="4501915"/>
                  <a:pt x="1606546" y="4501915"/>
                </a:cubicBezTo>
                <a:cubicBezTo>
                  <a:pt x="1604996" y="4506149"/>
                  <a:pt x="1600505" y="4509556"/>
                  <a:pt x="1598646" y="4509350"/>
                </a:cubicBezTo>
                <a:cubicBezTo>
                  <a:pt x="1597717" y="4508834"/>
                  <a:pt x="1596787" y="4507801"/>
                  <a:pt x="1596323" y="4506459"/>
                </a:cubicBezTo>
                <a:cubicBezTo>
                  <a:pt x="1595858" y="4505219"/>
                  <a:pt x="1595858" y="4503671"/>
                  <a:pt x="1596787" y="4501915"/>
                </a:cubicBezTo>
                <a:cubicBezTo>
                  <a:pt x="1597717" y="4498921"/>
                  <a:pt x="1600969" y="4497682"/>
                  <a:pt x="1602828" y="4494378"/>
                </a:cubicBezTo>
                <a:close/>
                <a:moveTo>
                  <a:pt x="1067816" y="4494171"/>
                </a:moveTo>
                <a:lnTo>
                  <a:pt x="1066422" y="4495204"/>
                </a:lnTo>
                <a:lnTo>
                  <a:pt x="1067507" y="4494997"/>
                </a:lnTo>
                <a:close/>
                <a:moveTo>
                  <a:pt x="1448551" y="4493448"/>
                </a:moveTo>
                <a:cubicBezTo>
                  <a:pt x="1448551" y="4493448"/>
                  <a:pt x="1449326" y="4494584"/>
                  <a:pt x="1450100" y="4495513"/>
                </a:cubicBezTo>
                <a:cubicBezTo>
                  <a:pt x="1450875" y="4496546"/>
                  <a:pt x="1451649" y="4496752"/>
                  <a:pt x="1451649" y="4496752"/>
                </a:cubicBezTo>
                <a:cubicBezTo>
                  <a:pt x="1452424" y="4497785"/>
                  <a:pt x="1452424" y="4498611"/>
                  <a:pt x="1451495" y="4499334"/>
                </a:cubicBezTo>
                <a:cubicBezTo>
                  <a:pt x="1451495" y="4499334"/>
                  <a:pt x="1449791" y="4498198"/>
                  <a:pt x="1449791" y="4498198"/>
                </a:cubicBezTo>
                <a:cubicBezTo>
                  <a:pt x="1448241" y="4496133"/>
                  <a:pt x="1447467" y="4495101"/>
                  <a:pt x="1445918" y="4493965"/>
                </a:cubicBezTo>
                <a:cubicBezTo>
                  <a:pt x="1446848" y="4492313"/>
                  <a:pt x="1447777" y="4492519"/>
                  <a:pt x="1448551" y="4493448"/>
                </a:cubicBezTo>
                <a:close/>
                <a:moveTo>
                  <a:pt x="928409" y="4493345"/>
                </a:moveTo>
                <a:cubicBezTo>
                  <a:pt x="930114" y="4492209"/>
                  <a:pt x="930888" y="4493862"/>
                  <a:pt x="931353" y="4496236"/>
                </a:cubicBezTo>
                <a:cubicBezTo>
                  <a:pt x="933366" y="4500780"/>
                  <a:pt x="932592" y="4503464"/>
                  <a:pt x="929029" y="4504394"/>
                </a:cubicBezTo>
                <a:lnTo>
                  <a:pt x="928100" y="4503568"/>
                </a:lnTo>
                <a:lnTo>
                  <a:pt x="930733" y="4508317"/>
                </a:lnTo>
                <a:lnTo>
                  <a:pt x="926706" y="4511105"/>
                </a:lnTo>
                <a:lnTo>
                  <a:pt x="927170" y="4511828"/>
                </a:lnTo>
                <a:cubicBezTo>
                  <a:pt x="926706" y="4512551"/>
                  <a:pt x="927015" y="4513790"/>
                  <a:pt x="926551" y="4514513"/>
                </a:cubicBezTo>
                <a:cubicBezTo>
                  <a:pt x="925776" y="4513997"/>
                  <a:pt x="923918" y="4513893"/>
                  <a:pt x="924382" y="4513067"/>
                </a:cubicBezTo>
                <a:lnTo>
                  <a:pt x="924382" y="4512654"/>
                </a:lnTo>
                <a:lnTo>
                  <a:pt x="914314" y="4519572"/>
                </a:lnTo>
                <a:lnTo>
                  <a:pt x="914469" y="4519985"/>
                </a:lnTo>
                <a:cubicBezTo>
                  <a:pt x="914779" y="4523393"/>
                  <a:pt x="912765" y="4528555"/>
                  <a:pt x="908428" y="4526490"/>
                </a:cubicBezTo>
                <a:cubicBezTo>
                  <a:pt x="907653" y="4526284"/>
                  <a:pt x="907189" y="4525458"/>
                  <a:pt x="907189" y="4524425"/>
                </a:cubicBezTo>
                <a:lnTo>
                  <a:pt x="897120" y="4531137"/>
                </a:lnTo>
                <a:cubicBezTo>
                  <a:pt x="898979" y="4516784"/>
                  <a:pt x="914159" y="4509143"/>
                  <a:pt x="925312" y="4499850"/>
                </a:cubicBezTo>
                <a:lnTo>
                  <a:pt x="926241" y="4500883"/>
                </a:lnTo>
                <a:lnTo>
                  <a:pt x="925931" y="4498508"/>
                </a:lnTo>
                <a:cubicBezTo>
                  <a:pt x="925931" y="4497063"/>
                  <a:pt x="926241" y="4495823"/>
                  <a:pt x="926706" y="4494894"/>
                </a:cubicBezTo>
                <a:cubicBezTo>
                  <a:pt x="927170" y="4494171"/>
                  <a:pt x="927635" y="4493655"/>
                  <a:pt x="928409" y="4493345"/>
                </a:cubicBezTo>
                <a:close/>
                <a:moveTo>
                  <a:pt x="5571571" y="4493260"/>
                </a:moveTo>
                <a:cubicBezTo>
                  <a:pt x="5572346" y="4494189"/>
                  <a:pt x="5572965" y="4495428"/>
                  <a:pt x="5573275" y="4497183"/>
                </a:cubicBezTo>
                <a:cubicBezTo>
                  <a:pt x="5570332" y="4500798"/>
                  <a:pt x="5566305" y="4507096"/>
                  <a:pt x="5560883" y="4508129"/>
                </a:cubicBezTo>
                <a:cubicBezTo>
                  <a:pt x="5559179" y="4508438"/>
                  <a:pt x="5557321" y="4508129"/>
                  <a:pt x="5555152" y="4506993"/>
                </a:cubicBezTo>
                <a:cubicBezTo>
                  <a:pt x="5554688" y="4497803"/>
                  <a:pt x="5566460" y="4486651"/>
                  <a:pt x="5571571" y="4493260"/>
                </a:cubicBezTo>
                <a:close/>
                <a:moveTo>
                  <a:pt x="1384889" y="4493139"/>
                </a:moveTo>
                <a:cubicBezTo>
                  <a:pt x="1388607" y="4490764"/>
                  <a:pt x="1394803" y="4492003"/>
                  <a:pt x="1399759" y="4494997"/>
                </a:cubicBezTo>
                <a:lnTo>
                  <a:pt x="1403942" y="4499024"/>
                </a:lnTo>
                <a:lnTo>
                  <a:pt x="1409517" y="4495823"/>
                </a:lnTo>
                <a:cubicBezTo>
                  <a:pt x="1417572" y="4493758"/>
                  <a:pt x="1429189" y="4497269"/>
                  <a:pt x="1427485" y="4505530"/>
                </a:cubicBezTo>
                <a:cubicBezTo>
                  <a:pt x="1423768" y="4506975"/>
                  <a:pt x="1419896" y="4508111"/>
                  <a:pt x="1415713" y="4508420"/>
                </a:cubicBezTo>
                <a:cubicBezTo>
                  <a:pt x="1413700" y="4508524"/>
                  <a:pt x="1411531" y="4508420"/>
                  <a:pt x="1409363" y="4508008"/>
                </a:cubicBezTo>
                <a:lnTo>
                  <a:pt x="1406574" y="4507181"/>
                </a:lnTo>
                <a:lnTo>
                  <a:pt x="1406729" y="4507388"/>
                </a:lnTo>
                <a:lnTo>
                  <a:pt x="1405955" y="4506975"/>
                </a:lnTo>
                <a:lnTo>
                  <a:pt x="1402547" y="4505839"/>
                </a:lnTo>
                <a:lnTo>
                  <a:pt x="1402237" y="4506872"/>
                </a:lnTo>
                <a:cubicBezTo>
                  <a:pt x="1400844" y="4508008"/>
                  <a:pt x="1398985" y="4509453"/>
                  <a:pt x="1397125" y="4509247"/>
                </a:cubicBezTo>
                <a:cubicBezTo>
                  <a:pt x="1396506" y="4509143"/>
                  <a:pt x="1395887" y="4508834"/>
                  <a:pt x="1395267" y="4508317"/>
                </a:cubicBezTo>
                <a:lnTo>
                  <a:pt x="1394803" y="4507181"/>
                </a:lnTo>
                <a:lnTo>
                  <a:pt x="1394338" y="4507388"/>
                </a:lnTo>
                <a:cubicBezTo>
                  <a:pt x="1393253" y="4504807"/>
                  <a:pt x="1393099" y="4503464"/>
                  <a:pt x="1393873" y="4502845"/>
                </a:cubicBezTo>
                <a:lnTo>
                  <a:pt x="1394803" y="4502741"/>
                </a:lnTo>
                <a:lnTo>
                  <a:pt x="1395422" y="4501089"/>
                </a:lnTo>
                <a:lnTo>
                  <a:pt x="1390155" y="4498095"/>
                </a:lnTo>
                <a:cubicBezTo>
                  <a:pt x="1388296" y="4496856"/>
                  <a:pt x="1386592" y="4495204"/>
                  <a:pt x="1384889" y="4493139"/>
                </a:cubicBezTo>
                <a:close/>
                <a:moveTo>
                  <a:pt x="606245" y="4492906"/>
                </a:moveTo>
                <a:cubicBezTo>
                  <a:pt x="607890" y="4493810"/>
                  <a:pt x="609013" y="4495875"/>
                  <a:pt x="608703" y="4497579"/>
                </a:cubicBezTo>
                <a:cubicBezTo>
                  <a:pt x="607930" y="4498405"/>
                  <a:pt x="607155" y="4498921"/>
                  <a:pt x="606225" y="4499128"/>
                </a:cubicBezTo>
                <a:cubicBezTo>
                  <a:pt x="603592" y="4499747"/>
                  <a:pt x="600959" y="4497888"/>
                  <a:pt x="600649" y="4495204"/>
                </a:cubicBezTo>
                <a:cubicBezTo>
                  <a:pt x="602430" y="4492261"/>
                  <a:pt x="604599" y="4492003"/>
                  <a:pt x="606245" y="4492906"/>
                </a:cubicBezTo>
                <a:close/>
                <a:moveTo>
                  <a:pt x="6239484" y="4492434"/>
                </a:moveTo>
                <a:lnTo>
                  <a:pt x="6238555" y="4493157"/>
                </a:lnTo>
                <a:lnTo>
                  <a:pt x="6238865" y="4493673"/>
                </a:lnTo>
                <a:cubicBezTo>
                  <a:pt x="6239329" y="4494189"/>
                  <a:pt x="6239794" y="4494912"/>
                  <a:pt x="6239329" y="4495841"/>
                </a:cubicBezTo>
                <a:cubicBezTo>
                  <a:pt x="6240723" y="4496048"/>
                  <a:pt x="6243047" y="4496358"/>
                  <a:pt x="6245370" y="4496358"/>
                </a:cubicBezTo>
                <a:cubicBezTo>
                  <a:pt x="6247539" y="4496461"/>
                  <a:pt x="6249707" y="4496254"/>
                  <a:pt x="6250482" y="4495325"/>
                </a:cubicBezTo>
                <a:lnTo>
                  <a:pt x="6250637" y="4494809"/>
                </a:lnTo>
                <a:lnTo>
                  <a:pt x="6244131" y="4492743"/>
                </a:lnTo>
                <a:close/>
                <a:moveTo>
                  <a:pt x="1703201" y="4491900"/>
                </a:moveTo>
                <a:cubicBezTo>
                  <a:pt x="1705524" y="4496030"/>
                  <a:pt x="1709087" y="4497785"/>
                  <a:pt x="1712960" y="4498818"/>
                </a:cubicBezTo>
                <a:lnTo>
                  <a:pt x="1717142" y="4499850"/>
                </a:lnTo>
                <a:lnTo>
                  <a:pt x="1717451" y="4499024"/>
                </a:lnTo>
                <a:cubicBezTo>
                  <a:pt x="1717606" y="4498818"/>
                  <a:pt x="1717606" y="4498818"/>
                  <a:pt x="1717142" y="4498921"/>
                </a:cubicBezTo>
                <a:cubicBezTo>
                  <a:pt x="1718381" y="4496752"/>
                  <a:pt x="1719310" y="4493758"/>
                  <a:pt x="1721169" y="4493965"/>
                </a:cubicBezTo>
                <a:cubicBezTo>
                  <a:pt x="1724112" y="4495101"/>
                  <a:pt x="1724576" y="4498405"/>
                  <a:pt x="1724267" y="4501915"/>
                </a:cubicBezTo>
                <a:lnTo>
                  <a:pt x="1724112" y="4502329"/>
                </a:lnTo>
                <a:lnTo>
                  <a:pt x="1726900" y="4504394"/>
                </a:lnTo>
                <a:cubicBezTo>
                  <a:pt x="1727674" y="4505323"/>
                  <a:pt x="1728449" y="4506459"/>
                  <a:pt x="1728913" y="4507801"/>
                </a:cubicBezTo>
                <a:lnTo>
                  <a:pt x="1729843" y="4512551"/>
                </a:lnTo>
                <a:lnTo>
                  <a:pt x="1731857" y="4513170"/>
                </a:lnTo>
                <a:cubicBezTo>
                  <a:pt x="1733096" y="4522464"/>
                  <a:pt x="1730772" y="4525561"/>
                  <a:pt x="1727520" y="4525458"/>
                </a:cubicBezTo>
                <a:lnTo>
                  <a:pt x="1726900" y="4525148"/>
                </a:lnTo>
                <a:lnTo>
                  <a:pt x="1723802" y="4529381"/>
                </a:lnTo>
                <a:cubicBezTo>
                  <a:pt x="1720085" y="4532892"/>
                  <a:pt x="1715128" y="4535267"/>
                  <a:pt x="1710481" y="4535783"/>
                </a:cubicBezTo>
                <a:cubicBezTo>
                  <a:pt x="1705059" y="4536300"/>
                  <a:pt x="1699948" y="4534338"/>
                  <a:pt x="1696850" y="4528969"/>
                </a:cubicBezTo>
                <a:lnTo>
                  <a:pt x="1696076" y="4526697"/>
                </a:lnTo>
                <a:lnTo>
                  <a:pt x="1693908" y="4525458"/>
                </a:lnTo>
                <a:cubicBezTo>
                  <a:pt x="1690964" y="4523289"/>
                  <a:pt x="1688795" y="4520399"/>
                  <a:pt x="1688795" y="4517610"/>
                </a:cubicBezTo>
                <a:cubicBezTo>
                  <a:pt x="1690964" y="4514719"/>
                  <a:pt x="1692978" y="4513687"/>
                  <a:pt x="1694836" y="4512964"/>
                </a:cubicBezTo>
                <a:lnTo>
                  <a:pt x="1695920" y="4512551"/>
                </a:lnTo>
                <a:lnTo>
                  <a:pt x="1698864" y="4504497"/>
                </a:lnTo>
                <a:cubicBezTo>
                  <a:pt x="1700413" y="4500676"/>
                  <a:pt x="1702117" y="4496546"/>
                  <a:pt x="1703201" y="4491900"/>
                </a:cubicBezTo>
                <a:close/>
                <a:moveTo>
                  <a:pt x="5903979" y="4491608"/>
                </a:moveTo>
                <a:cubicBezTo>
                  <a:pt x="5907077" y="4507303"/>
                  <a:pt x="5913892" y="4521242"/>
                  <a:pt x="5916061" y="4534356"/>
                </a:cubicBezTo>
                <a:cubicBezTo>
                  <a:pt x="5903514" y="4526302"/>
                  <a:pt x="5900416" y="4508129"/>
                  <a:pt x="5894840" y="4493260"/>
                </a:cubicBezTo>
                <a:cubicBezTo>
                  <a:pt x="5897938" y="4493053"/>
                  <a:pt x="5899177" y="4490885"/>
                  <a:pt x="5903979" y="4491608"/>
                </a:cubicBezTo>
                <a:close/>
                <a:moveTo>
                  <a:pt x="1188635" y="4491280"/>
                </a:moveTo>
                <a:cubicBezTo>
                  <a:pt x="1190340" y="4493036"/>
                  <a:pt x="1191269" y="4496546"/>
                  <a:pt x="1188945" y="4499024"/>
                </a:cubicBezTo>
                <a:cubicBezTo>
                  <a:pt x="1187396" y="4501606"/>
                  <a:pt x="1183988" y="4501503"/>
                  <a:pt x="1181665" y="4503980"/>
                </a:cubicBezTo>
                <a:cubicBezTo>
                  <a:pt x="1178102" y="4501193"/>
                  <a:pt x="1177173" y="4500264"/>
                  <a:pt x="1178722" y="4496030"/>
                </a:cubicBezTo>
                <a:cubicBezTo>
                  <a:pt x="1178722" y="4496030"/>
                  <a:pt x="1179496" y="4495204"/>
                  <a:pt x="1179496" y="4495204"/>
                </a:cubicBezTo>
                <a:cubicBezTo>
                  <a:pt x="1181975" y="4491796"/>
                  <a:pt x="1186932" y="4490247"/>
                  <a:pt x="1188635" y="4491280"/>
                </a:cubicBezTo>
                <a:close/>
                <a:moveTo>
                  <a:pt x="1664012" y="4491074"/>
                </a:moveTo>
                <a:cubicBezTo>
                  <a:pt x="1671912" y="4489215"/>
                  <a:pt x="1683994" y="4493242"/>
                  <a:pt x="1683529" y="4501399"/>
                </a:cubicBezTo>
                <a:lnTo>
                  <a:pt x="1673461" y="4503568"/>
                </a:lnTo>
                <a:lnTo>
                  <a:pt x="1677023" y="4505530"/>
                </a:lnTo>
                <a:cubicBezTo>
                  <a:pt x="1675009" y="4507904"/>
                  <a:pt x="1675320" y="4510692"/>
                  <a:pt x="1671602" y="4513790"/>
                </a:cubicBezTo>
                <a:cubicBezTo>
                  <a:pt x="1663547" y="4507698"/>
                  <a:pt x="1654873" y="4503568"/>
                  <a:pt x="1647128" y="4499128"/>
                </a:cubicBezTo>
                <a:cubicBezTo>
                  <a:pt x="1648212" y="4501089"/>
                  <a:pt x="1650691" y="4506769"/>
                  <a:pt x="1649916" y="4508317"/>
                </a:cubicBezTo>
                <a:cubicBezTo>
                  <a:pt x="1648212" y="4505736"/>
                  <a:pt x="1646354" y="4500264"/>
                  <a:pt x="1646974" y="4499024"/>
                </a:cubicBezTo>
                <a:cubicBezTo>
                  <a:pt x="1643411" y="4496959"/>
                  <a:pt x="1640003" y="4494791"/>
                  <a:pt x="1637060" y="4492313"/>
                </a:cubicBezTo>
                <a:cubicBezTo>
                  <a:pt x="1644030" y="4490351"/>
                  <a:pt x="1650691" y="4492003"/>
                  <a:pt x="1657352" y="4494997"/>
                </a:cubicBezTo>
                <a:lnTo>
                  <a:pt x="1658590" y="4495720"/>
                </a:lnTo>
                <a:lnTo>
                  <a:pt x="1658590" y="4494274"/>
                </a:lnTo>
                <a:cubicBezTo>
                  <a:pt x="1659675" y="4492622"/>
                  <a:pt x="1661689" y="4491590"/>
                  <a:pt x="1664012" y="4491074"/>
                </a:cubicBezTo>
                <a:close/>
                <a:moveTo>
                  <a:pt x="5770458" y="4490678"/>
                </a:moveTo>
                <a:cubicBezTo>
                  <a:pt x="5774950" y="4490369"/>
                  <a:pt x="5774950" y="4493157"/>
                  <a:pt x="5775105" y="4495944"/>
                </a:cubicBezTo>
                <a:cubicBezTo>
                  <a:pt x="5772937" y="4495635"/>
                  <a:pt x="5772162" y="4497700"/>
                  <a:pt x="5770768" y="4497803"/>
                </a:cubicBezTo>
                <a:cubicBezTo>
                  <a:pt x="5770303" y="4497803"/>
                  <a:pt x="5769839" y="4497597"/>
                  <a:pt x="5769064" y="4497080"/>
                </a:cubicBezTo>
                <a:cubicBezTo>
                  <a:pt x="5768444" y="4495428"/>
                  <a:pt x="5768599" y="4493466"/>
                  <a:pt x="5770458" y="4490678"/>
                </a:cubicBezTo>
                <a:close/>
                <a:moveTo>
                  <a:pt x="863508" y="4490661"/>
                </a:moveTo>
                <a:cubicBezTo>
                  <a:pt x="863198" y="4491486"/>
                  <a:pt x="862733" y="4492106"/>
                  <a:pt x="862114" y="4492416"/>
                </a:cubicBezTo>
                <a:cubicBezTo>
                  <a:pt x="861649" y="4492622"/>
                  <a:pt x="860720" y="4492416"/>
                  <a:pt x="859325" y="4491693"/>
                </a:cubicBezTo>
                <a:cubicBezTo>
                  <a:pt x="859325" y="4491693"/>
                  <a:pt x="859171" y="4490867"/>
                  <a:pt x="859171" y="4490867"/>
                </a:cubicBezTo>
                <a:cubicBezTo>
                  <a:pt x="860565" y="4488182"/>
                  <a:pt x="861494" y="4489112"/>
                  <a:pt x="863508" y="4490661"/>
                </a:cubicBezTo>
                <a:close/>
                <a:moveTo>
                  <a:pt x="1572778" y="4490041"/>
                </a:moveTo>
                <a:cubicBezTo>
                  <a:pt x="1572778" y="4490041"/>
                  <a:pt x="1572778" y="4490041"/>
                  <a:pt x="1573862" y="4490351"/>
                </a:cubicBezTo>
                <a:cubicBezTo>
                  <a:pt x="1572004" y="4491590"/>
                  <a:pt x="1569370" y="4493345"/>
                  <a:pt x="1567512" y="4493448"/>
                </a:cubicBezTo>
                <a:cubicBezTo>
                  <a:pt x="1568286" y="4491900"/>
                  <a:pt x="1570454" y="4489525"/>
                  <a:pt x="1572778" y="4490041"/>
                </a:cubicBezTo>
                <a:close/>
                <a:moveTo>
                  <a:pt x="973175" y="4489421"/>
                </a:moveTo>
                <a:cubicBezTo>
                  <a:pt x="973175" y="4489421"/>
                  <a:pt x="973175" y="4489421"/>
                  <a:pt x="973949" y="4489525"/>
                </a:cubicBezTo>
                <a:cubicBezTo>
                  <a:pt x="973949" y="4489525"/>
                  <a:pt x="973949" y="4490351"/>
                  <a:pt x="973175" y="4490970"/>
                </a:cubicBezTo>
                <a:cubicBezTo>
                  <a:pt x="973175" y="4490970"/>
                  <a:pt x="973019" y="4490661"/>
                  <a:pt x="972865" y="4490454"/>
                </a:cubicBezTo>
                <a:cubicBezTo>
                  <a:pt x="972865" y="4490144"/>
                  <a:pt x="972865" y="4489731"/>
                  <a:pt x="973175" y="4489421"/>
                </a:cubicBezTo>
                <a:close/>
                <a:moveTo>
                  <a:pt x="1068281" y="4489215"/>
                </a:moveTo>
                <a:cubicBezTo>
                  <a:pt x="1069210" y="4490144"/>
                  <a:pt x="1069520" y="4490970"/>
                  <a:pt x="1069365" y="4491796"/>
                </a:cubicBezTo>
                <a:lnTo>
                  <a:pt x="1068901" y="4492932"/>
                </a:lnTo>
                <a:lnTo>
                  <a:pt x="1070140" y="4494378"/>
                </a:lnTo>
                <a:lnTo>
                  <a:pt x="1080053" y="4491900"/>
                </a:lnTo>
                <a:cubicBezTo>
                  <a:pt x="1086404" y="4500883"/>
                  <a:pt x="1103752" y="4502638"/>
                  <a:pt x="1105146" y="4515855"/>
                </a:cubicBezTo>
                <a:lnTo>
                  <a:pt x="1104837" y="4516887"/>
                </a:lnTo>
                <a:lnTo>
                  <a:pt x="1105920" y="4518127"/>
                </a:lnTo>
                <a:cubicBezTo>
                  <a:pt x="1106850" y="4519882"/>
                  <a:pt x="1107470" y="4521844"/>
                  <a:pt x="1107315" y="4524115"/>
                </a:cubicBezTo>
                <a:cubicBezTo>
                  <a:pt x="1106385" y="4525251"/>
                  <a:pt x="1104991" y="4525871"/>
                  <a:pt x="1103442" y="4526181"/>
                </a:cubicBezTo>
                <a:lnTo>
                  <a:pt x="1102358" y="4526181"/>
                </a:lnTo>
                <a:lnTo>
                  <a:pt x="1102203" y="4527936"/>
                </a:lnTo>
                <a:cubicBezTo>
                  <a:pt x="1102358" y="4531240"/>
                  <a:pt x="1103132" y="4534235"/>
                  <a:pt x="1102668" y="4537745"/>
                </a:cubicBezTo>
                <a:cubicBezTo>
                  <a:pt x="1100345" y="4540946"/>
                  <a:pt x="1097711" y="4544250"/>
                  <a:pt x="1094768" y="4547348"/>
                </a:cubicBezTo>
                <a:lnTo>
                  <a:pt x="1087333" y="4553750"/>
                </a:lnTo>
                <a:lnTo>
                  <a:pt x="1087333" y="4559842"/>
                </a:lnTo>
                <a:cubicBezTo>
                  <a:pt x="1087488" y="4561907"/>
                  <a:pt x="1087643" y="4564076"/>
                  <a:pt x="1086559" y="4566244"/>
                </a:cubicBezTo>
                <a:cubicBezTo>
                  <a:pt x="1085629" y="4565521"/>
                  <a:pt x="1083616" y="4563043"/>
                  <a:pt x="1084855" y="4560358"/>
                </a:cubicBezTo>
                <a:cubicBezTo>
                  <a:pt x="1085629" y="4559119"/>
                  <a:pt x="1085629" y="4557777"/>
                  <a:pt x="1085629" y="4556538"/>
                </a:cubicBezTo>
                <a:lnTo>
                  <a:pt x="1085939" y="4554989"/>
                </a:lnTo>
                <a:lnTo>
                  <a:pt x="1084855" y="4555918"/>
                </a:lnTo>
                <a:cubicBezTo>
                  <a:pt x="1077729" y="4560875"/>
                  <a:pt x="1069675" y="4563972"/>
                  <a:pt x="1061311" y="4562940"/>
                </a:cubicBezTo>
                <a:cubicBezTo>
                  <a:pt x="1047680" y="4561288"/>
                  <a:pt x="1045356" y="4550239"/>
                  <a:pt x="1035598" y="4541979"/>
                </a:cubicBezTo>
                <a:cubicBezTo>
                  <a:pt x="1038231" y="4536919"/>
                  <a:pt x="1038541" y="4533409"/>
                  <a:pt x="1037921" y="4530311"/>
                </a:cubicBezTo>
                <a:lnTo>
                  <a:pt x="1037302" y="4528142"/>
                </a:lnTo>
                <a:lnTo>
                  <a:pt x="1032500" y="4526490"/>
                </a:lnTo>
                <a:cubicBezTo>
                  <a:pt x="1032655" y="4523496"/>
                  <a:pt x="1032964" y="4521431"/>
                  <a:pt x="1033584" y="4520088"/>
                </a:cubicBezTo>
                <a:lnTo>
                  <a:pt x="1035907" y="4517920"/>
                </a:lnTo>
                <a:lnTo>
                  <a:pt x="1034979" y="4516475"/>
                </a:lnTo>
                <a:cubicBezTo>
                  <a:pt x="1034049" y="4510486"/>
                  <a:pt x="1039470" y="4504703"/>
                  <a:pt x="1043343" y="4500676"/>
                </a:cubicBezTo>
                <a:cubicBezTo>
                  <a:pt x="1045976" y="4497785"/>
                  <a:pt x="1048919" y="4494997"/>
                  <a:pt x="1051707" y="4494997"/>
                </a:cubicBezTo>
                <a:cubicBezTo>
                  <a:pt x="1052637" y="4494997"/>
                  <a:pt x="1053566" y="4495307"/>
                  <a:pt x="1054340" y="4496030"/>
                </a:cubicBezTo>
                <a:lnTo>
                  <a:pt x="1055270" y="4497166"/>
                </a:lnTo>
                <a:lnTo>
                  <a:pt x="1056509" y="4497579"/>
                </a:lnTo>
                <a:lnTo>
                  <a:pt x="1065183" y="4495513"/>
                </a:lnTo>
                <a:lnTo>
                  <a:pt x="1061775" y="4494997"/>
                </a:lnTo>
                <a:cubicBezTo>
                  <a:pt x="1062705" y="4495101"/>
                  <a:pt x="1062705" y="4495101"/>
                  <a:pt x="1062705" y="4495101"/>
                </a:cubicBezTo>
                <a:cubicBezTo>
                  <a:pt x="1063479" y="4494274"/>
                  <a:pt x="1062705" y="4494171"/>
                  <a:pt x="1062550" y="4493345"/>
                </a:cubicBezTo>
                <a:cubicBezTo>
                  <a:pt x="1062550" y="4493345"/>
                  <a:pt x="1062705" y="4494171"/>
                  <a:pt x="1061775" y="4493345"/>
                </a:cubicBezTo>
                <a:cubicBezTo>
                  <a:pt x="1062550" y="4493345"/>
                  <a:pt x="1062550" y="4492416"/>
                  <a:pt x="1062550" y="4491590"/>
                </a:cubicBezTo>
                <a:cubicBezTo>
                  <a:pt x="1064099" y="4489938"/>
                  <a:pt x="1066577" y="4488285"/>
                  <a:pt x="1068281" y="4489215"/>
                </a:cubicBezTo>
                <a:close/>
                <a:moveTo>
                  <a:pt x="849877" y="4488905"/>
                </a:moveTo>
                <a:cubicBezTo>
                  <a:pt x="850497" y="4487873"/>
                  <a:pt x="853285" y="4489525"/>
                  <a:pt x="854214" y="4489421"/>
                </a:cubicBezTo>
                <a:cubicBezTo>
                  <a:pt x="854369" y="4490351"/>
                  <a:pt x="853595" y="4491280"/>
                  <a:pt x="853750" y="4492106"/>
                </a:cubicBezTo>
                <a:cubicBezTo>
                  <a:pt x="852820" y="4492209"/>
                  <a:pt x="851117" y="4492313"/>
                  <a:pt x="850187" y="4491486"/>
                </a:cubicBezTo>
                <a:cubicBezTo>
                  <a:pt x="849412" y="4491590"/>
                  <a:pt x="849877" y="4488905"/>
                  <a:pt x="849877" y="4488905"/>
                </a:cubicBezTo>
                <a:close/>
                <a:moveTo>
                  <a:pt x="5936817" y="4488613"/>
                </a:moveTo>
                <a:cubicBezTo>
                  <a:pt x="5938520" y="4492434"/>
                  <a:pt x="5934493" y="4496564"/>
                  <a:pt x="5931086" y="4495841"/>
                </a:cubicBezTo>
                <a:cubicBezTo>
                  <a:pt x="5927213" y="4490885"/>
                  <a:pt x="5933874" y="4487168"/>
                  <a:pt x="5936817" y="4488613"/>
                </a:cubicBezTo>
                <a:close/>
                <a:moveTo>
                  <a:pt x="6213771" y="4487994"/>
                </a:moveTo>
                <a:cubicBezTo>
                  <a:pt x="6213771" y="4487994"/>
                  <a:pt x="6215011" y="4488407"/>
                  <a:pt x="6216095" y="4488716"/>
                </a:cubicBezTo>
                <a:cubicBezTo>
                  <a:pt x="6217334" y="4489027"/>
                  <a:pt x="6217954" y="4488613"/>
                  <a:pt x="6217954" y="4488613"/>
                </a:cubicBezTo>
                <a:cubicBezTo>
                  <a:pt x="6219193" y="4488923"/>
                  <a:pt x="6219812" y="4489646"/>
                  <a:pt x="6219503" y="4490885"/>
                </a:cubicBezTo>
                <a:cubicBezTo>
                  <a:pt x="6219503" y="4490885"/>
                  <a:pt x="6217644" y="4491091"/>
                  <a:pt x="6217644" y="4491091"/>
                </a:cubicBezTo>
                <a:cubicBezTo>
                  <a:pt x="6215320" y="4490369"/>
                  <a:pt x="6214081" y="4490059"/>
                  <a:pt x="6212222" y="4490162"/>
                </a:cubicBezTo>
                <a:cubicBezTo>
                  <a:pt x="6211913" y="4488097"/>
                  <a:pt x="6212532" y="4487684"/>
                  <a:pt x="6213771" y="4487994"/>
                </a:cubicBezTo>
                <a:close/>
                <a:moveTo>
                  <a:pt x="999817" y="4487769"/>
                </a:moveTo>
                <a:cubicBezTo>
                  <a:pt x="1017320" y="4490041"/>
                  <a:pt x="1008491" y="4500470"/>
                  <a:pt x="1001056" y="4503154"/>
                </a:cubicBezTo>
                <a:lnTo>
                  <a:pt x="999042" y="4503464"/>
                </a:lnTo>
                <a:lnTo>
                  <a:pt x="1002450" y="4509350"/>
                </a:lnTo>
                <a:cubicBezTo>
                  <a:pt x="1003999" y="4512138"/>
                  <a:pt x="1005393" y="4514926"/>
                  <a:pt x="1006013" y="4518023"/>
                </a:cubicBezTo>
                <a:cubicBezTo>
                  <a:pt x="1004464" y="4517507"/>
                  <a:pt x="1002915" y="4516578"/>
                  <a:pt x="1001366" y="4515339"/>
                </a:cubicBezTo>
                <a:lnTo>
                  <a:pt x="998113" y="4511725"/>
                </a:lnTo>
                <a:lnTo>
                  <a:pt x="996719" y="4515339"/>
                </a:lnTo>
                <a:cubicBezTo>
                  <a:pt x="996409" y="4517301"/>
                  <a:pt x="995634" y="4517610"/>
                  <a:pt x="993466" y="4516681"/>
                </a:cubicBezTo>
                <a:cubicBezTo>
                  <a:pt x="993621" y="4515752"/>
                  <a:pt x="994395" y="4514306"/>
                  <a:pt x="995325" y="4513170"/>
                </a:cubicBezTo>
                <a:lnTo>
                  <a:pt x="997803" y="4511415"/>
                </a:lnTo>
                <a:lnTo>
                  <a:pt x="997494" y="4511105"/>
                </a:lnTo>
                <a:cubicBezTo>
                  <a:pt x="996409" y="4509453"/>
                  <a:pt x="995790" y="4507801"/>
                  <a:pt x="995790" y="4506046"/>
                </a:cubicBezTo>
                <a:lnTo>
                  <a:pt x="996873" y="4503361"/>
                </a:lnTo>
                <a:lnTo>
                  <a:pt x="995325" y="4502638"/>
                </a:lnTo>
                <a:cubicBezTo>
                  <a:pt x="993776" y="4500676"/>
                  <a:pt x="994550" y="4496236"/>
                  <a:pt x="999817" y="4487769"/>
                </a:cubicBezTo>
                <a:close/>
                <a:moveTo>
                  <a:pt x="5510077" y="4487168"/>
                </a:moveTo>
                <a:cubicBezTo>
                  <a:pt x="5511471" y="4488923"/>
                  <a:pt x="5513795" y="4491608"/>
                  <a:pt x="5511781" y="4494189"/>
                </a:cubicBezTo>
                <a:cubicBezTo>
                  <a:pt x="5511007" y="4494189"/>
                  <a:pt x="5511007" y="4495015"/>
                  <a:pt x="5510077" y="4495015"/>
                </a:cubicBezTo>
                <a:cubicBezTo>
                  <a:pt x="5510077" y="4495015"/>
                  <a:pt x="5509303" y="4495428"/>
                  <a:pt x="5507909" y="4495532"/>
                </a:cubicBezTo>
                <a:cubicBezTo>
                  <a:pt x="5506670" y="4495635"/>
                  <a:pt x="5505121" y="4495428"/>
                  <a:pt x="5503572" y="4494086"/>
                </a:cubicBezTo>
                <a:cubicBezTo>
                  <a:pt x="5503262" y="4493673"/>
                  <a:pt x="5502643" y="4492743"/>
                  <a:pt x="5502332" y="4491917"/>
                </a:cubicBezTo>
                <a:cubicBezTo>
                  <a:pt x="5502023" y="4491195"/>
                  <a:pt x="5501868" y="4490575"/>
                  <a:pt x="5502332" y="4490575"/>
                </a:cubicBezTo>
                <a:cubicBezTo>
                  <a:pt x="5503262" y="4489646"/>
                  <a:pt x="5502332" y="4489646"/>
                  <a:pt x="5502488" y="4488820"/>
                </a:cubicBezTo>
                <a:cubicBezTo>
                  <a:pt x="5505121" y="4486238"/>
                  <a:pt x="5507754" y="4485412"/>
                  <a:pt x="5510077" y="4487168"/>
                </a:cubicBezTo>
                <a:close/>
                <a:moveTo>
                  <a:pt x="1604067" y="4487150"/>
                </a:moveTo>
                <a:cubicBezTo>
                  <a:pt x="1607320" y="4485291"/>
                  <a:pt x="1612432" y="4489112"/>
                  <a:pt x="1612276" y="4492829"/>
                </a:cubicBezTo>
                <a:cubicBezTo>
                  <a:pt x="1609179" y="4490351"/>
                  <a:pt x="1606081" y="4490867"/>
                  <a:pt x="1604686" y="4489421"/>
                </a:cubicBezTo>
                <a:cubicBezTo>
                  <a:pt x="1604377" y="4488905"/>
                  <a:pt x="1604067" y="4488285"/>
                  <a:pt x="1604067" y="4487150"/>
                </a:cubicBezTo>
                <a:close/>
                <a:moveTo>
                  <a:pt x="1102494" y="4486324"/>
                </a:moveTo>
                <a:cubicBezTo>
                  <a:pt x="1104256" y="4486504"/>
                  <a:pt x="1106076" y="4487718"/>
                  <a:pt x="1106541" y="4488905"/>
                </a:cubicBezTo>
                <a:cubicBezTo>
                  <a:pt x="1106230" y="4491486"/>
                  <a:pt x="1104372" y="4492313"/>
                  <a:pt x="1102668" y="4492209"/>
                </a:cubicBezTo>
                <a:cubicBezTo>
                  <a:pt x="1100964" y="4492106"/>
                  <a:pt x="1099260" y="4491074"/>
                  <a:pt x="1098796" y="4489938"/>
                </a:cubicBezTo>
                <a:cubicBezTo>
                  <a:pt x="1099028" y="4486995"/>
                  <a:pt x="1100732" y="4486143"/>
                  <a:pt x="1102494" y="4486324"/>
                </a:cubicBezTo>
                <a:close/>
                <a:moveTo>
                  <a:pt x="6492740" y="4486238"/>
                </a:moveTo>
                <a:cubicBezTo>
                  <a:pt x="6494753" y="4489027"/>
                  <a:pt x="6493514" y="4490369"/>
                  <a:pt x="6491810" y="4490575"/>
                </a:cubicBezTo>
                <a:cubicBezTo>
                  <a:pt x="6490106" y="4490678"/>
                  <a:pt x="6487938" y="4489542"/>
                  <a:pt x="6488248" y="4487271"/>
                </a:cubicBezTo>
                <a:cubicBezTo>
                  <a:pt x="6489332" y="4486961"/>
                  <a:pt x="6490881" y="4486032"/>
                  <a:pt x="6492740" y="4486238"/>
                </a:cubicBezTo>
                <a:close/>
                <a:moveTo>
                  <a:pt x="1758499" y="4486220"/>
                </a:moveTo>
                <a:cubicBezTo>
                  <a:pt x="1759428" y="4487873"/>
                  <a:pt x="1760668" y="4487666"/>
                  <a:pt x="1760822" y="4490764"/>
                </a:cubicBezTo>
                <a:cubicBezTo>
                  <a:pt x="1759738" y="4490970"/>
                  <a:pt x="1758654" y="4491177"/>
                  <a:pt x="1757569" y="4491383"/>
                </a:cubicBezTo>
                <a:cubicBezTo>
                  <a:pt x="1756795" y="4489008"/>
                  <a:pt x="1756175" y="4486634"/>
                  <a:pt x="1758499" y="4486220"/>
                </a:cubicBezTo>
                <a:close/>
                <a:moveTo>
                  <a:pt x="633177" y="4486117"/>
                </a:moveTo>
                <a:cubicBezTo>
                  <a:pt x="636120" y="4486220"/>
                  <a:pt x="637979" y="4488079"/>
                  <a:pt x="637669" y="4491280"/>
                </a:cubicBezTo>
                <a:cubicBezTo>
                  <a:pt x="636585" y="4492932"/>
                  <a:pt x="634726" y="4493036"/>
                  <a:pt x="632867" y="4493242"/>
                </a:cubicBezTo>
                <a:cubicBezTo>
                  <a:pt x="631318" y="4493139"/>
                  <a:pt x="630544" y="4492726"/>
                  <a:pt x="630234" y="4491900"/>
                </a:cubicBezTo>
                <a:cubicBezTo>
                  <a:pt x="630079" y="4491074"/>
                  <a:pt x="630234" y="4489938"/>
                  <a:pt x="630544" y="4488699"/>
                </a:cubicBezTo>
                <a:cubicBezTo>
                  <a:pt x="631318" y="4486324"/>
                  <a:pt x="633177" y="4486117"/>
                  <a:pt x="633177" y="4486117"/>
                </a:cubicBezTo>
                <a:close/>
                <a:moveTo>
                  <a:pt x="5794002" y="4486032"/>
                </a:moveTo>
                <a:cubicBezTo>
                  <a:pt x="5795706" y="4487168"/>
                  <a:pt x="5797100" y="4489336"/>
                  <a:pt x="5797410" y="4492743"/>
                </a:cubicBezTo>
                <a:cubicBezTo>
                  <a:pt x="5793228" y="4493673"/>
                  <a:pt x="5791369" y="4496151"/>
                  <a:pt x="5788581" y="4496770"/>
                </a:cubicBezTo>
                <a:cubicBezTo>
                  <a:pt x="5787652" y="4496874"/>
                  <a:pt x="5786567" y="4496874"/>
                  <a:pt x="5785173" y="4496564"/>
                </a:cubicBezTo>
                <a:cubicBezTo>
                  <a:pt x="5780681" y="4488407"/>
                  <a:pt x="5788891" y="4482624"/>
                  <a:pt x="5794002" y="4486032"/>
                </a:cubicBezTo>
                <a:close/>
                <a:moveTo>
                  <a:pt x="901070" y="4485846"/>
                </a:moveTo>
                <a:cubicBezTo>
                  <a:pt x="902542" y="4485653"/>
                  <a:pt x="903936" y="4486014"/>
                  <a:pt x="905175" y="4488389"/>
                </a:cubicBezTo>
                <a:cubicBezTo>
                  <a:pt x="904711" y="4491280"/>
                  <a:pt x="902232" y="4493552"/>
                  <a:pt x="899599" y="4494068"/>
                </a:cubicBezTo>
                <a:cubicBezTo>
                  <a:pt x="898670" y="4494274"/>
                  <a:pt x="897895" y="4494274"/>
                  <a:pt x="896965" y="4493965"/>
                </a:cubicBezTo>
                <a:cubicBezTo>
                  <a:pt x="895881" y="4493655"/>
                  <a:pt x="894797" y="4493036"/>
                  <a:pt x="893868" y="4491796"/>
                </a:cubicBezTo>
                <a:cubicBezTo>
                  <a:pt x="895107" y="4490144"/>
                  <a:pt x="895417" y="4488389"/>
                  <a:pt x="896501" y="4486634"/>
                </a:cubicBezTo>
                <a:cubicBezTo>
                  <a:pt x="898050" y="4486789"/>
                  <a:pt x="899599" y="4486040"/>
                  <a:pt x="901070" y="4485846"/>
                </a:cubicBezTo>
                <a:close/>
                <a:moveTo>
                  <a:pt x="6201535" y="4485412"/>
                </a:moveTo>
                <a:cubicBezTo>
                  <a:pt x="6206337" y="4485412"/>
                  <a:pt x="6208505" y="4487168"/>
                  <a:pt x="6208040" y="4490781"/>
                </a:cubicBezTo>
                <a:cubicBezTo>
                  <a:pt x="6207266" y="4491195"/>
                  <a:pt x="6204787" y="4491814"/>
                  <a:pt x="6205252" y="4492640"/>
                </a:cubicBezTo>
                <a:cubicBezTo>
                  <a:pt x="6202619" y="4491917"/>
                  <a:pt x="6199676" y="4490781"/>
                  <a:pt x="6198282" y="4489027"/>
                </a:cubicBezTo>
                <a:cubicBezTo>
                  <a:pt x="6197972" y="4488407"/>
                  <a:pt x="6197662" y="4487684"/>
                  <a:pt x="6197662" y="4486961"/>
                </a:cubicBezTo>
                <a:cubicBezTo>
                  <a:pt x="6197352" y="4484999"/>
                  <a:pt x="6199211" y="4484793"/>
                  <a:pt x="6201535" y="4485412"/>
                </a:cubicBezTo>
                <a:close/>
                <a:moveTo>
                  <a:pt x="1789788" y="4485395"/>
                </a:moveTo>
                <a:cubicBezTo>
                  <a:pt x="1790562" y="4484465"/>
                  <a:pt x="1792266" y="4484569"/>
                  <a:pt x="1794125" y="4485601"/>
                </a:cubicBezTo>
                <a:cubicBezTo>
                  <a:pt x="1793196" y="4486427"/>
                  <a:pt x="1794125" y="4488285"/>
                  <a:pt x="1793350" y="4489112"/>
                </a:cubicBezTo>
                <a:cubicBezTo>
                  <a:pt x="1793350" y="4489112"/>
                  <a:pt x="1790873" y="4489938"/>
                  <a:pt x="1790873" y="4489938"/>
                </a:cubicBezTo>
                <a:cubicBezTo>
                  <a:pt x="1789943" y="4488905"/>
                  <a:pt x="1789943" y="4488905"/>
                  <a:pt x="1790873" y="4489008"/>
                </a:cubicBezTo>
                <a:cubicBezTo>
                  <a:pt x="1789943" y="4487150"/>
                  <a:pt x="1789788" y="4486220"/>
                  <a:pt x="1789788" y="4485395"/>
                </a:cubicBezTo>
                <a:close/>
                <a:moveTo>
                  <a:pt x="841357" y="4485188"/>
                </a:moveTo>
                <a:cubicBezTo>
                  <a:pt x="841823" y="4486117"/>
                  <a:pt x="842287" y="4487253"/>
                  <a:pt x="842442" y="4488699"/>
                </a:cubicBezTo>
                <a:lnTo>
                  <a:pt x="841668" y="4490764"/>
                </a:lnTo>
                <a:lnTo>
                  <a:pt x="842907" y="4491074"/>
                </a:lnTo>
                <a:cubicBezTo>
                  <a:pt x="845540" y="4492932"/>
                  <a:pt x="847399" y="4497063"/>
                  <a:pt x="845230" y="4501089"/>
                </a:cubicBezTo>
                <a:cubicBezTo>
                  <a:pt x="843526" y="4501399"/>
                  <a:pt x="841978" y="4501399"/>
                  <a:pt x="840583" y="4501296"/>
                </a:cubicBezTo>
                <a:cubicBezTo>
                  <a:pt x="839344" y="4501193"/>
                  <a:pt x="838260" y="4500883"/>
                  <a:pt x="837331" y="4500780"/>
                </a:cubicBezTo>
                <a:cubicBezTo>
                  <a:pt x="836556" y="4498405"/>
                  <a:pt x="835472" y="4496649"/>
                  <a:pt x="834852" y="4494274"/>
                </a:cubicBezTo>
                <a:lnTo>
                  <a:pt x="835007" y="4493965"/>
                </a:lnTo>
                <a:lnTo>
                  <a:pt x="834852" y="4493862"/>
                </a:lnTo>
                <a:cubicBezTo>
                  <a:pt x="833768" y="4492829"/>
                  <a:pt x="833303" y="4491900"/>
                  <a:pt x="833458" y="4490867"/>
                </a:cubicBezTo>
                <a:cubicBezTo>
                  <a:pt x="833613" y="4489938"/>
                  <a:pt x="834387" y="4488905"/>
                  <a:pt x="835317" y="4487769"/>
                </a:cubicBezTo>
                <a:cubicBezTo>
                  <a:pt x="837176" y="4485395"/>
                  <a:pt x="839654" y="4486634"/>
                  <a:pt x="841357" y="4485188"/>
                </a:cubicBezTo>
                <a:close/>
                <a:moveTo>
                  <a:pt x="679687" y="4484463"/>
                </a:moveTo>
                <a:cubicBezTo>
                  <a:pt x="682183" y="4483736"/>
                  <a:pt x="684525" y="4483871"/>
                  <a:pt x="686307" y="4485291"/>
                </a:cubicBezTo>
                <a:cubicBezTo>
                  <a:pt x="677788" y="4490970"/>
                  <a:pt x="674844" y="4498405"/>
                  <a:pt x="664156" y="4502948"/>
                </a:cubicBezTo>
                <a:cubicBezTo>
                  <a:pt x="663344" y="4496597"/>
                  <a:pt x="672201" y="4486646"/>
                  <a:pt x="679687" y="4484463"/>
                </a:cubicBezTo>
                <a:close/>
                <a:moveTo>
                  <a:pt x="887672" y="4484259"/>
                </a:moveTo>
                <a:cubicBezTo>
                  <a:pt x="889221" y="4486220"/>
                  <a:pt x="892474" y="4488492"/>
                  <a:pt x="891390" y="4491796"/>
                </a:cubicBezTo>
                <a:cubicBezTo>
                  <a:pt x="890305" y="4490247"/>
                  <a:pt x="887826" y="4487666"/>
                  <a:pt x="887362" y="4485807"/>
                </a:cubicBezTo>
                <a:cubicBezTo>
                  <a:pt x="887207" y="4485188"/>
                  <a:pt x="887362" y="4484569"/>
                  <a:pt x="887672" y="4484259"/>
                </a:cubicBezTo>
                <a:close/>
                <a:moveTo>
                  <a:pt x="5513795" y="4483864"/>
                </a:moveTo>
                <a:cubicBezTo>
                  <a:pt x="5514414" y="4484793"/>
                  <a:pt x="5515189" y="4486445"/>
                  <a:pt x="5514260" y="4487271"/>
                </a:cubicBezTo>
                <a:cubicBezTo>
                  <a:pt x="5513795" y="4488097"/>
                  <a:pt x="5513330" y="4488097"/>
                  <a:pt x="5512865" y="4487787"/>
                </a:cubicBezTo>
                <a:cubicBezTo>
                  <a:pt x="5512401" y="4487477"/>
                  <a:pt x="5511781" y="4486858"/>
                  <a:pt x="5511007" y="4486445"/>
                </a:cubicBezTo>
                <a:close/>
                <a:moveTo>
                  <a:pt x="750433" y="4483536"/>
                </a:moveTo>
                <a:cubicBezTo>
                  <a:pt x="751363" y="4483949"/>
                  <a:pt x="751363" y="4483949"/>
                  <a:pt x="752293" y="4486220"/>
                </a:cubicBezTo>
                <a:cubicBezTo>
                  <a:pt x="751208" y="4485807"/>
                  <a:pt x="751208" y="4485911"/>
                  <a:pt x="750899" y="4486943"/>
                </a:cubicBezTo>
                <a:cubicBezTo>
                  <a:pt x="750899" y="4486943"/>
                  <a:pt x="750899" y="4486943"/>
                  <a:pt x="751208" y="4487666"/>
                </a:cubicBezTo>
                <a:cubicBezTo>
                  <a:pt x="750433" y="4488079"/>
                  <a:pt x="750124" y="4487356"/>
                  <a:pt x="749349" y="4487666"/>
                </a:cubicBezTo>
                <a:cubicBezTo>
                  <a:pt x="749349" y="4487666"/>
                  <a:pt x="749040" y="4486943"/>
                  <a:pt x="749040" y="4486943"/>
                </a:cubicBezTo>
                <a:cubicBezTo>
                  <a:pt x="748730" y="4487150"/>
                  <a:pt x="748730" y="4487150"/>
                  <a:pt x="748885" y="4486840"/>
                </a:cubicBezTo>
                <a:cubicBezTo>
                  <a:pt x="748885" y="4486530"/>
                  <a:pt x="749194" y="4486014"/>
                  <a:pt x="749194" y="4485084"/>
                </a:cubicBezTo>
                <a:cubicBezTo>
                  <a:pt x="749659" y="4483949"/>
                  <a:pt x="749349" y="4483123"/>
                  <a:pt x="750433" y="4483536"/>
                </a:cubicBezTo>
                <a:close/>
                <a:moveTo>
                  <a:pt x="5962413" y="4482624"/>
                </a:moveTo>
                <a:cubicBezTo>
                  <a:pt x="5965047" y="4482831"/>
                  <a:pt x="5967796" y="4483863"/>
                  <a:pt x="5970739" y="4486548"/>
                </a:cubicBezTo>
                <a:cubicBezTo>
                  <a:pt x="5971668" y="4493260"/>
                  <a:pt x="5969345" y="4498009"/>
                  <a:pt x="5962065" y="4503999"/>
                </a:cubicBezTo>
                <a:cubicBezTo>
                  <a:pt x="5960516" y="4503895"/>
                  <a:pt x="5958967" y="4503379"/>
                  <a:pt x="5957573" y="4502553"/>
                </a:cubicBezTo>
                <a:lnTo>
                  <a:pt x="5957418" y="4502449"/>
                </a:lnTo>
                <a:lnTo>
                  <a:pt x="5957108" y="4502759"/>
                </a:lnTo>
                <a:cubicBezTo>
                  <a:pt x="5956334" y="4502966"/>
                  <a:pt x="5955714" y="4502966"/>
                  <a:pt x="5955095" y="4502449"/>
                </a:cubicBezTo>
                <a:cubicBezTo>
                  <a:pt x="5954630" y="4502037"/>
                  <a:pt x="5954630" y="4501624"/>
                  <a:pt x="5954630" y="4501210"/>
                </a:cubicBezTo>
                <a:lnTo>
                  <a:pt x="5954785" y="4500178"/>
                </a:lnTo>
                <a:lnTo>
                  <a:pt x="5953700" y="4499248"/>
                </a:lnTo>
                <a:cubicBezTo>
                  <a:pt x="5951532" y="4496564"/>
                  <a:pt x="5950293" y="4493157"/>
                  <a:pt x="5950912" y="4489852"/>
                </a:cubicBezTo>
                <a:cubicBezTo>
                  <a:pt x="5951222" y="4487684"/>
                  <a:pt x="5952461" y="4485515"/>
                  <a:pt x="5954785" y="4483657"/>
                </a:cubicBezTo>
                <a:cubicBezTo>
                  <a:pt x="5957263" y="4483037"/>
                  <a:pt x="5959780" y="4482418"/>
                  <a:pt x="5962413" y="4482624"/>
                </a:cubicBezTo>
                <a:close/>
                <a:moveTo>
                  <a:pt x="1591675" y="4482090"/>
                </a:moveTo>
                <a:cubicBezTo>
                  <a:pt x="1592915" y="4482297"/>
                  <a:pt x="1592450" y="4481574"/>
                  <a:pt x="1593379" y="4482916"/>
                </a:cubicBezTo>
                <a:cubicBezTo>
                  <a:pt x="1592140" y="4482710"/>
                  <a:pt x="1592140" y="4482710"/>
                  <a:pt x="1591521" y="4483226"/>
                </a:cubicBezTo>
                <a:cubicBezTo>
                  <a:pt x="1591521" y="4483226"/>
                  <a:pt x="1591675" y="4482090"/>
                  <a:pt x="1591675" y="4482090"/>
                </a:cubicBezTo>
                <a:close/>
                <a:moveTo>
                  <a:pt x="1435850" y="4481780"/>
                </a:moveTo>
                <a:cubicBezTo>
                  <a:pt x="1436779" y="4480232"/>
                  <a:pt x="1438328" y="4481368"/>
                  <a:pt x="1440032" y="4483329"/>
                </a:cubicBezTo>
                <a:cubicBezTo>
                  <a:pt x="1444059" y="4486634"/>
                  <a:pt x="1444679" y="4489318"/>
                  <a:pt x="1442046" y="4491486"/>
                </a:cubicBezTo>
                <a:cubicBezTo>
                  <a:pt x="1441116" y="4491383"/>
                  <a:pt x="1438638" y="4490144"/>
                  <a:pt x="1438638" y="4490970"/>
                </a:cubicBezTo>
                <a:cubicBezTo>
                  <a:pt x="1436779" y="4488699"/>
                  <a:pt x="1435075" y="4486014"/>
                  <a:pt x="1435075" y="4483846"/>
                </a:cubicBezTo>
                <a:cubicBezTo>
                  <a:pt x="1435075" y="4483123"/>
                  <a:pt x="1435385" y="4482400"/>
                  <a:pt x="1435850" y="4481780"/>
                </a:cubicBezTo>
                <a:close/>
                <a:moveTo>
                  <a:pt x="1072928" y="4481574"/>
                </a:moveTo>
                <a:cubicBezTo>
                  <a:pt x="1072928" y="4481574"/>
                  <a:pt x="1074012" y="4481987"/>
                  <a:pt x="1074012" y="4481987"/>
                </a:cubicBezTo>
                <a:cubicBezTo>
                  <a:pt x="1078039" y="4482710"/>
                  <a:pt x="1081447" y="4486737"/>
                  <a:pt x="1081292" y="4488699"/>
                </a:cubicBezTo>
                <a:cubicBezTo>
                  <a:pt x="1080518" y="4490454"/>
                  <a:pt x="1078814" y="4492106"/>
                  <a:pt x="1076645" y="4492416"/>
                </a:cubicBezTo>
                <a:cubicBezTo>
                  <a:pt x="1075871" y="4492519"/>
                  <a:pt x="1075096" y="4492416"/>
                  <a:pt x="1074322" y="4492106"/>
                </a:cubicBezTo>
                <a:cubicBezTo>
                  <a:pt x="1071379" y="4491693"/>
                  <a:pt x="1070140" y="4488596"/>
                  <a:pt x="1066887" y="4487356"/>
                </a:cubicBezTo>
                <a:cubicBezTo>
                  <a:pt x="1067971" y="4483123"/>
                  <a:pt x="1068436" y="4481884"/>
                  <a:pt x="1072928" y="4481574"/>
                </a:cubicBezTo>
                <a:close/>
                <a:moveTo>
                  <a:pt x="5756362" y="4481282"/>
                </a:moveTo>
                <a:cubicBezTo>
                  <a:pt x="5758066" y="4480766"/>
                  <a:pt x="5759770" y="4481179"/>
                  <a:pt x="5761939" y="4483141"/>
                </a:cubicBezTo>
                <a:cubicBezTo>
                  <a:pt x="5761164" y="4487890"/>
                  <a:pt x="5758531" y="4487684"/>
                  <a:pt x="5755743" y="4487581"/>
                </a:cubicBezTo>
                <a:cubicBezTo>
                  <a:pt x="5756982" y="4484586"/>
                  <a:pt x="5753419" y="4483864"/>
                  <a:pt x="5756362" y="4481282"/>
                </a:cubicBezTo>
                <a:close/>
                <a:moveTo>
                  <a:pt x="1443130" y="4480645"/>
                </a:moveTo>
                <a:cubicBezTo>
                  <a:pt x="1445143" y="4481161"/>
                  <a:pt x="1448861" y="4481884"/>
                  <a:pt x="1450255" y="4483536"/>
                </a:cubicBezTo>
                <a:cubicBezTo>
                  <a:pt x="1450720" y="4484155"/>
                  <a:pt x="1450875" y="4484775"/>
                  <a:pt x="1450720" y="4485498"/>
                </a:cubicBezTo>
                <a:cubicBezTo>
                  <a:pt x="1450100" y="4486634"/>
                  <a:pt x="1449171" y="4486117"/>
                  <a:pt x="1448396" y="4486427"/>
                </a:cubicBezTo>
                <a:cubicBezTo>
                  <a:pt x="1447003" y="4486324"/>
                  <a:pt x="1444369" y="4483742"/>
                  <a:pt x="1443439" y="4481987"/>
                </a:cubicBezTo>
                <a:cubicBezTo>
                  <a:pt x="1443130" y="4481471"/>
                  <a:pt x="1442975" y="4480954"/>
                  <a:pt x="1443130" y="4480645"/>
                </a:cubicBezTo>
                <a:close/>
                <a:moveTo>
                  <a:pt x="5523244" y="4480456"/>
                </a:moveTo>
                <a:cubicBezTo>
                  <a:pt x="5524173" y="4480456"/>
                  <a:pt x="5524018" y="4481385"/>
                  <a:pt x="5524793" y="4482211"/>
                </a:cubicBezTo>
                <a:cubicBezTo>
                  <a:pt x="5525412" y="4483967"/>
                  <a:pt x="5525102" y="4486445"/>
                  <a:pt x="5524173" y="4487271"/>
                </a:cubicBezTo>
                <a:cubicBezTo>
                  <a:pt x="5523399" y="4488097"/>
                  <a:pt x="5522469" y="4488097"/>
                  <a:pt x="5522469" y="4488097"/>
                </a:cubicBezTo>
                <a:cubicBezTo>
                  <a:pt x="5521385" y="4487271"/>
                  <a:pt x="5520455" y="4486135"/>
                  <a:pt x="5520146" y="4484999"/>
                </a:cubicBezTo>
                <a:cubicBezTo>
                  <a:pt x="5519836" y="4483760"/>
                  <a:pt x="5520146" y="4482521"/>
                  <a:pt x="5521540" y="4481282"/>
                </a:cubicBezTo>
                <a:cubicBezTo>
                  <a:pt x="5522469" y="4480456"/>
                  <a:pt x="5523399" y="4479630"/>
                  <a:pt x="5523244" y="4480456"/>
                </a:cubicBezTo>
                <a:close/>
                <a:moveTo>
                  <a:pt x="1596323" y="4480025"/>
                </a:moveTo>
                <a:cubicBezTo>
                  <a:pt x="1596323" y="4480025"/>
                  <a:pt x="1596787" y="4480645"/>
                  <a:pt x="1596787" y="4480645"/>
                </a:cubicBezTo>
                <a:cubicBezTo>
                  <a:pt x="1596477" y="4480954"/>
                  <a:pt x="1596012" y="4481161"/>
                  <a:pt x="1595703" y="4481264"/>
                </a:cubicBezTo>
                <a:cubicBezTo>
                  <a:pt x="1595393" y="4481368"/>
                  <a:pt x="1595084" y="4481368"/>
                  <a:pt x="1594929" y="4480954"/>
                </a:cubicBezTo>
                <a:cubicBezTo>
                  <a:pt x="1594464" y="4480335"/>
                  <a:pt x="1595238" y="4479818"/>
                  <a:pt x="1596323" y="4480025"/>
                </a:cubicBezTo>
                <a:close/>
                <a:moveTo>
                  <a:pt x="1021657" y="4479612"/>
                </a:moveTo>
                <a:cubicBezTo>
                  <a:pt x="1021967" y="4481368"/>
                  <a:pt x="1021502" y="4482710"/>
                  <a:pt x="1020883" y="4483846"/>
                </a:cubicBezTo>
                <a:lnTo>
                  <a:pt x="1018095" y="4486840"/>
                </a:lnTo>
                <a:lnTo>
                  <a:pt x="1018870" y="4488285"/>
                </a:lnTo>
                <a:cubicBezTo>
                  <a:pt x="1019334" y="4489215"/>
                  <a:pt x="1019334" y="4490144"/>
                  <a:pt x="1019024" y="4491383"/>
                </a:cubicBezTo>
                <a:cubicBezTo>
                  <a:pt x="1018095" y="4490454"/>
                  <a:pt x="1017320" y="4489525"/>
                  <a:pt x="1017010" y="4488492"/>
                </a:cubicBezTo>
                <a:lnTo>
                  <a:pt x="1017010" y="4487666"/>
                </a:lnTo>
                <a:lnTo>
                  <a:pt x="1016236" y="4488389"/>
                </a:lnTo>
                <a:cubicBezTo>
                  <a:pt x="1015926" y="4489008"/>
                  <a:pt x="1015771" y="4489628"/>
                  <a:pt x="1015616" y="4490557"/>
                </a:cubicBezTo>
                <a:cubicBezTo>
                  <a:pt x="1015616" y="4490557"/>
                  <a:pt x="1015616" y="4490557"/>
                  <a:pt x="1013293" y="4491280"/>
                </a:cubicBezTo>
                <a:lnTo>
                  <a:pt x="1012518" y="4490764"/>
                </a:lnTo>
                <a:cubicBezTo>
                  <a:pt x="1012364" y="4490351"/>
                  <a:pt x="1012518" y="4489731"/>
                  <a:pt x="1012983" y="4488905"/>
                </a:cubicBezTo>
                <a:cubicBezTo>
                  <a:pt x="1014377" y="4486220"/>
                  <a:pt x="1018095" y="4482297"/>
                  <a:pt x="1018404" y="4481780"/>
                </a:cubicBezTo>
                <a:cubicBezTo>
                  <a:pt x="1018404" y="4481780"/>
                  <a:pt x="1018870" y="4481058"/>
                  <a:pt x="1019334" y="4480232"/>
                </a:cubicBezTo>
                <a:cubicBezTo>
                  <a:pt x="1020572" y="4479922"/>
                  <a:pt x="1021193" y="4480335"/>
                  <a:pt x="1021657" y="4479612"/>
                </a:cubicBezTo>
                <a:close/>
                <a:moveTo>
                  <a:pt x="1012364" y="4479406"/>
                </a:moveTo>
                <a:cubicBezTo>
                  <a:pt x="1012983" y="4479612"/>
                  <a:pt x="1013602" y="4480025"/>
                  <a:pt x="1014067" y="4480748"/>
                </a:cubicBezTo>
                <a:cubicBezTo>
                  <a:pt x="1014067" y="4480748"/>
                  <a:pt x="1014067" y="4480748"/>
                  <a:pt x="1014067" y="4481677"/>
                </a:cubicBezTo>
                <a:cubicBezTo>
                  <a:pt x="1014067" y="4483329"/>
                  <a:pt x="1014067" y="4484155"/>
                  <a:pt x="1014067" y="4485084"/>
                </a:cubicBezTo>
                <a:cubicBezTo>
                  <a:pt x="1013602" y="4485395"/>
                  <a:pt x="1012673" y="4485911"/>
                  <a:pt x="1011898" y="4486324"/>
                </a:cubicBezTo>
                <a:cubicBezTo>
                  <a:pt x="1010969" y="4486634"/>
                  <a:pt x="1010195" y="4486737"/>
                  <a:pt x="1009730" y="4486220"/>
                </a:cubicBezTo>
                <a:cubicBezTo>
                  <a:pt x="1008181" y="4484259"/>
                  <a:pt x="1007407" y="4481677"/>
                  <a:pt x="1008181" y="4480954"/>
                </a:cubicBezTo>
                <a:cubicBezTo>
                  <a:pt x="1009421" y="4479818"/>
                  <a:pt x="1010814" y="4478683"/>
                  <a:pt x="1012364" y="4479406"/>
                </a:cubicBezTo>
                <a:close/>
                <a:moveTo>
                  <a:pt x="1373872" y="4479315"/>
                </a:moveTo>
                <a:cubicBezTo>
                  <a:pt x="1376137" y="4478838"/>
                  <a:pt x="1378770" y="4479664"/>
                  <a:pt x="1380552" y="4482297"/>
                </a:cubicBezTo>
                <a:cubicBezTo>
                  <a:pt x="1379468" y="4483846"/>
                  <a:pt x="1379313" y="4485601"/>
                  <a:pt x="1378228" y="4487150"/>
                </a:cubicBezTo>
                <a:cubicBezTo>
                  <a:pt x="1376524" y="4486737"/>
                  <a:pt x="1374975" y="4487253"/>
                  <a:pt x="1373582" y="4487253"/>
                </a:cubicBezTo>
                <a:cubicBezTo>
                  <a:pt x="1372188" y="4487253"/>
                  <a:pt x="1370793" y="4486634"/>
                  <a:pt x="1369399" y="4484155"/>
                </a:cubicBezTo>
                <a:cubicBezTo>
                  <a:pt x="1369709" y="4481574"/>
                  <a:pt x="1371607" y="4479793"/>
                  <a:pt x="1373872" y="4479315"/>
                </a:cubicBezTo>
                <a:close/>
                <a:moveTo>
                  <a:pt x="1142631" y="4479199"/>
                </a:moveTo>
                <a:cubicBezTo>
                  <a:pt x="1142941" y="4480025"/>
                  <a:pt x="1144025" y="4481471"/>
                  <a:pt x="1143560" y="4482607"/>
                </a:cubicBezTo>
                <a:cubicBezTo>
                  <a:pt x="1142941" y="4483742"/>
                  <a:pt x="1142941" y="4483742"/>
                  <a:pt x="1141237" y="4484362"/>
                </a:cubicBezTo>
                <a:cubicBezTo>
                  <a:pt x="1141392" y="4481574"/>
                  <a:pt x="1141547" y="4481471"/>
                  <a:pt x="1142631" y="4479199"/>
                </a:cubicBezTo>
                <a:close/>
                <a:moveTo>
                  <a:pt x="1776622" y="4479096"/>
                </a:moveTo>
                <a:lnTo>
                  <a:pt x="1777086" y="4479406"/>
                </a:lnTo>
                <a:cubicBezTo>
                  <a:pt x="1776777" y="4479612"/>
                  <a:pt x="1776622" y="4479818"/>
                  <a:pt x="1776622" y="4479715"/>
                </a:cubicBezTo>
                <a:close/>
                <a:moveTo>
                  <a:pt x="821531" y="4479096"/>
                </a:moveTo>
                <a:cubicBezTo>
                  <a:pt x="824629" y="4481471"/>
                  <a:pt x="822615" y="4483639"/>
                  <a:pt x="820757" y="4485807"/>
                </a:cubicBezTo>
                <a:cubicBezTo>
                  <a:pt x="819208" y="4484569"/>
                  <a:pt x="817504" y="4485084"/>
                  <a:pt x="816265" y="4482194"/>
                </a:cubicBezTo>
                <a:cubicBezTo>
                  <a:pt x="817969" y="4480851"/>
                  <a:pt x="819828" y="4480335"/>
                  <a:pt x="821531" y="4479096"/>
                </a:cubicBezTo>
                <a:close/>
                <a:moveTo>
                  <a:pt x="1680121" y="4478579"/>
                </a:moveTo>
                <a:cubicBezTo>
                  <a:pt x="1683374" y="4473210"/>
                  <a:pt x="1689570" y="4483433"/>
                  <a:pt x="1684458" y="4483949"/>
                </a:cubicBezTo>
                <a:cubicBezTo>
                  <a:pt x="1682909" y="4482710"/>
                  <a:pt x="1681515" y="4480645"/>
                  <a:pt x="1680121" y="4478579"/>
                </a:cubicBezTo>
                <a:close/>
                <a:moveTo>
                  <a:pt x="1701032" y="4478270"/>
                </a:moveTo>
                <a:cubicBezTo>
                  <a:pt x="1701962" y="4476721"/>
                  <a:pt x="1703510" y="4478683"/>
                  <a:pt x="1704130" y="4479715"/>
                </a:cubicBezTo>
                <a:cubicBezTo>
                  <a:pt x="1703046" y="4479509"/>
                  <a:pt x="1702117" y="4479509"/>
                  <a:pt x="1701652" y="4479612"/>
                </a:cubicBezTo>
                <a:cubicBezTo>
                  <a:pt x="1701187" y="4479612"/>
                  <a:pt x="1701032" y="4479612"/>
                  <a:pt x="1701032" y="4479199"/>
                </a:cubicBezTo>
                <a:cubicBezTo>
                  <a:pt x="1700258" y="4479096"/>
                  <a:pt x="1700258" y="4478167"/>
                  <a:pt x="1701032" y="4478270"/>
                </a:cubicBezTo>
                <a:close/>
                <a:moveTo>
                  <a:pt x="1126367" y="4478270"/>
                </a:moveTo>
                <a:cubicBezTo>
                  <a:pt x="1125128" y="4484465"/>
                  <a:pt x="1125128" y="4501193"/>
                  <a:pt x="1115679" y="4500367"/>
                </a:cubicBezTo>
                <a:cubicBezTo>
                  <a:pt x="1117228" y="4494894"/>
                  <a:pt x="1119397" y="4477031"/>
                  <a:pt x="1126367" y="4478270"/>
                </a:cubicBezTo>
                <a:close/>
                <a:moveTo>
                  <a:pt x="1427950" y="4477547"/>
                </a:moveTo>
                <a:cubicBezTo>
                  <a:pt x="1430583" y="4478993"/>
                  <a:pt x="1432287" y="4482916"/>
                  <a:pt x="1429964" y="4487253"/>
                </a:cubicBezTo>
                <a:cubicBezTo>
                  <a:pt x="1426556" y="4488492"/>
                  <a:pt x="1423923" y="4488182"/>
                  <a:pt x="1422064" y="4488285"/>
                </a:cubicBezTo>
                <a:cubicBezTo>
                  <a:pt x="1421444" y="4485911"/>
                  <a:pt x="1420360" y="4484465"/>
                  <a:pt x="1419741" y="4482194"/>
                </a:cubicBezTo>
                <a:cubicBezTo>
                  <a:pt x="1421600" y="4477031"/>
                  <a:pt x="1425317" y="4476102"/>
                  <a:pt x="1427950" y="4477547"/>
                </a:cubicBezTo>
                <a:close/>
                <a:moveTo>
                  <a:pt x="1148207" y="4477237"/>
                </a:moveTo>
                <a:cubicBezTo>
                  <a:pt x="1155798" y="4476721"/>
                  <a:pt x="1161374" y="4487356"/>
                  <a:pt x="1161529" y="4493345"/>
                </a:cubicBezTo>
                <a:cubicBezTo>
                  <a:pt x="1159205" y="4496443"/>
                  <a:pt x="1156727" y="4497475"/>
                  <a:pt x="1154248" y="4497269"/>
                </a:cubicBezTo>
                <a:cubicBezTo>
                  <a:pt x="1147123" y="4496340"/>
                  <a:pt x="1141547" y="4483433"/>
                  <a:pt x="1148207" y="4477237"/>
                </a:cubicBezTo>
                <a:close/>
                <a:moveTo>
                  <a:pt x="1554655" y="4477031"/>
                </a:moveTo>
                <a:cubicBezTo>
                  <a:pt x="1561471" y="4475688"/>
                  <a:pt x="1570300" y="4486943"/>
                  <a:pt x="1565808" y="4494997"/>
                </a:cubicBezTo>
                <a:cubicBezTo>
                  <a:pt x="1564104" y="4495720"/>
                  <a:pt x="1562245" y="4495617"/>
                  <a:pt x="1560541" y="4495101"/>
                </a:cubicBezTo>
                <a:cubicBezTo>
                  <a:pt x="1557908" y="4494378"/>
                  <a:pt x="1555275" y="4492416"/>
                  <a:pt x="1553261" y="4490247"/>
                </a:cubicBezTo>
                <a:lnTo>
                  <a:pt x="1550938" y="4486324"/>
                </a:lnTo>
                <a:lnTo>
                  <a:pt x="1549079" y="4485601"/>
                </a:lnTo>
                <a:cubicBezTo>
                  <a:pt x="1548615" y="4485084"/>
                  <a:pt x="1548305" y="4484569"/>
                  <a:pt x="1548305" y="4484052"/>
                </a:cubicBezTo>
                <a:cubicBezTo>
                  <a:pt x="1548150" y="4483433"/>
                  <a:pt x="1548305" y="4482813"/>
                  <a:pt x="1549234" y="4482194"/>
                </a:cubicBezTo>
                <a:lnTo>
                  <a:pt x="1549543" y="4481987"/>
                </a:lnTo>
                <a:lnTo>
                  <a:pt x="1551403" y="4478889"/>
                </a:lnTo>
                <a:cubicBezTo>
                  <a:pt x="1552332" y="4477857"/>
                  <a:pt x="1553416" y="4477237"/>
                  <a:pt x="1554655" y="4477031"/>
                </a:cubicBezTo>
                <a:close/>
                <a:moveTo>
                  <a:pt x="1581607" y="4476824"/>
                </a:moveTo>
                <a:cubicBezTo>
                  <a:pt x="1583776" y="4476411"/>
                  <a:pt x="1586254" y="4478270"/>
                  <a:pt x="1588113" y="4480748"/>
                </a:cubicBezTo>
                <a:lnTo>
                  <a:pt x="1588113" y="4480851"/>
                </a:lnTo>
                <a:lnTo>
                  <a:pt x="1588268" y="4479818"/>
                </a:lnTo>
                <a:cubicBezTo>
                  <a:pt x="1588732" y="4480335"/>
                  <a:pt x="1588578" y="4480438"/>
                  <a:pt x="1588422" y="4480645"/>
                </a:cubicBezTo>
                <a:lnTo>
                  <a:pt x="1588268" y="4481161"/>
                </a:lnTo>
                <a:lnTo>
                  <a:pt x="1589662" y="4483742"/>
                </a:lnTo>
                <a:lnTo>
                  <a:pt x="1591366" y="4483123"/>
                </a:lnTo>
                <a:lnTo>
                  <a:pt x="1589662" y="4483949"/>
                </a:lnTo>
                <a:lnTo>
                  <a:pt x="1590127" y="4484775"/>
                </a:lnTo>
                <a:cubicBezTo>
                  <a:pt x="1590591" y="4486117"/>
                  <a:pt x="1590591" y="4487356"/>
                  <a:pt x="1590282" y="4488389"/>
                </a:cubicBezTo>
                <a:cubicBezTo>
                  <a:pt x="1588422" y="4489731"/>
                  <a:pt x="1586564" y="4491074"/>
                  <a:pt x="1584705" y="4492416"/>
                </a:cubicBezTo>
                <a:cubicBezTo>
                  <a:pt x="1580368" y="4492416"/>
                  <a:pt x="1577115" y="4489008"/>
                  <a:pt x="1576651" y="4485188"/>
                </a:cubicBezTo>
                <a:cubicBezTo>
                  <a:pt x="1576496" y="4483949"/>
                  <a:pt x="1576651" y="4482607"/>
                  <a:pt x="1577115" y="4481264"/>
                </a:cubicBezTo>
                <a:cubicBezTo>
                  <a:pt x="1577890" y="4479612"/>
                  <a:pt x="1579439" y="4478063"/>
                  <a:pt x="1581607" y="4476824"/>
                </a:cubicBezTo>
                <a:close/>
                <a:moveTo>
                  <a:pt x="1142011" y="4476824"/>
                </a:moveTo>
                <a:cubicBezTo>
                  <a:pt x="1142786" y="4476617"/>
                  <a:pt x="1143096" y="4477547"/>
                  <a:pt x="1142476" y="4478683"/>
                </a:cubicBezTo>
                <a:cubicBezTo>
                  <a:pt x="1142476" y="4478683"/>
                  <a:pt x="1141857" y="4478889"/>
                  <a:pt x="1141857" y="4478889"/>
                </a:cubicBezTo>
                <a:cubicBezTo>
                  <a:pt x="1141547" y="4478063"/>
                  <a:pt x="1141392" y="4477134"/>
                  <a:pt x="1142011" y="4476824"/>
                </a:cubicBezTo>
                <a:close/>
                <a:moveTo>
                  <a:pt x="1789788" y="4476514"/>
                </a:moveTo>
                <a:cubicBezTo>
                  <a:pt x="1791802" y="4475688"/>
                  <a:pt x="1794744" y="4475792"/>
                  <a:pt x="1797997" y="4476824"/>
                </a:cubicBezTo>
                <a:lnTo>
                  <a:pt x="1801250" y="4478476"/>
                </a:lnTo>
                <a:lnTo>
                  <a:pt x="1801250" y="4478167"/>
                </a:lnTo>
                <a:cubicBezTo>
                  <a:pt x="1802179" y="4476928"/>
                  <a:pt x="1803109" y="4476617"/>
                  <a:pt x="1804038" y="4476824"/>
                </a:cubicBezTo>
                <a:cubicBezTo>
                  <a:pt x="1804967" y="4477031"/>
                  <a:pt x="1806052" y="4477857"/>
                  <a:pt x="1807291" y="4478889"/>
                </a:cubicBezTo>
                <a:cubicBezTo>
                  <a:pt x="1808685" y="4479922"/>
                  <a:pt x="1808995" y="4481058"/>
                  <a:pt x="1809305" y="4482194"/>
                </a:cubicBezTo>
                <a:lnTo>
                  <a:pt x="1810234" y="4484362"/>
                </a:lnTo>
                <a:lnTo>
                  <a:pt x="1815036" y="4489421"/>
                </a:lnTo>
                <a:cubicBezTo>
                  <a:pt x="1816740" y="4492209"/>
                  <a:pt x="1817359" y="4495101"/>
                  <a:pt x="1816275" y="4497785"/>
                </a:cubicBezTo>
                <a:cubicBezTo>
                  <a:pt x="1809150" y="4487253"/>
                  <a:pt x="1795829" y="4489318"/>
                  <a:pt x="1789788" y="4476514"/>
                </a:cubicBezTo>
                <a:close/>
                <a:moveTo>
                  <a:pt x="5860143" y="4475706"/>
                </a:moveTo>
                <a:lnTo>
                  <a:pt x="5859524" y="4475913"/>
                </a:lnTo>
                <a:lnTo>
                  <a:pt x="5860143" y="4475913"/>
                </a:lnTo>
                <a:close/>
                <a:moveTo>
                  <a:pt x="1785606" y="4475172"/>
                </a:moveTo>
                <a:cubicBezTo>
                  <a:pt x="1785915" y="4475895"/>
                  <a:pt x="1786380" y="4476617"/>
                  <a:pt x="1785606" y="4477031"/>
                </a:cubicBezTo>
                <a:cubicBezTo>
                  <a:pt x="1786070" y="4477753"/>
                  <a:pt x="1786070" y="4477753"/>
                  <a:pt x="1785296" y="4478167"/>
                </a:cubicBezTo>
                <a:cubicBezTo>
                  <a:pt x="1784986" y="4477444"/>
                  <a:pt x="1784521" y="4476721"/>
                  <a:pt x="1784211" y="4475998"/>
                </a:cubicBezTo>
                <a:cubicBezTo>
                  <a:pt x="1784521" y="4474862"/>
                  <a:pt x="1784521" y="4474862"/>
                  <a:pt x="1785606" y="4475172"/>
                </a:cubicBezTo>
                <a:close/>
                <a:moveTo>
                  <a:pt x="6188678" y="4475087"/>
                </a:moveTo>
                <a:cubicBezTo>
                  <a:pt x="6187594" y="4476429"/>
                  <a:pt x="6185890" y="4479320"/>
                  <a:pt x="6184186" y="4479940"/>
                </a:cubicBezTo>
                <a:cubicBezTo>
                  <a:pt x="6183722" y="4480146"/>
                  <a:pt x="6183102" y="4480146"/>
                  <a:pt x="6182637" y="4479733"/>
                </a:cubicBezTo>
                <a:cubicBezTo>
                  <a:pt x="6184031" y="4477875"/>
                  <a:pt x="6185271" y="4474364"/>
                  <a:pt x="6188678" y="4475087"/>
                </a:cubicBezTo>
                <a:close/>
                <a:moveTo>
                  <a:pt x="1296303" y="4474767"/>
                </a:moveTo>
                <a:cubicBezTo>
                  <a:pt x="1310636" y="4477889"/>
                  <a:pt x="1323008" y="4499205"/>
                  <a:pt x="1305582" y="4509660"/>
                </a:cubicBezTo>
                <a:cubicBezTo>
                  <a:pt x="1303569" y="4510796"/>
                  <a:pt x="1301400" y="4511208"/>
                  <a:pt x="1299231" y="4511415"/>
                </a:cubicBezTo>
                <a:cubicBezTo>
                  <a:pt x="1292416" y="4511828"/>
                  <a:pt x="1284826" y="4509247"/>
                  <a:pt x="1275842" y="4509763"/>
                </a:cubicBezTo>
                <a:cubicBezTo>
                  <a:pt x="1281883" y="4502638"/>
                  <a:pt x="1277701" y="4493036"/>
                  <a:pt x="1278785" y="4485498"/>
                </a:cubicBezTo>
                <a:cubicBezTo>
                  <a:pt x="1279249" y="4483019"/>
                  <a:pt x="1280179" y="4480748"/>
                  <a:pt x="1282348" y="4478786"/>
                </a:cubicBezTo>
                <a:cubicBezTo>
                  <a:pt x="1286530" y="4474707"/>
                  <a:pt x="1291525" y="4473726"/>
                  <a:pt x="1296303" y="4474767"/>
                </a:cubicBezTo>
                <a:close/>
                <a:moveTo>
                  <a:pt x="1776622" y="4474759"/>
                </a:moveTo>
                <a:cubicBezTo>
                  <a:pt x="1777241" y="4474346"/>
                  <a:pt x="1777396" y="4478270"/>
                  <a:pt x="1777861" y="4478993"/>
                </a:cubicBezTo>
                <a:cubicBezTo>
                  <a:pt x="1777086" y="4479406"/>
                  <a:pt x="1777086" y="4479406"/>
                  <a:pt x="1776777" y="4478683"/>
                </a:cubicBezTo>
                <a:lnTo>
                  <a:pt x="1776622" y="4479096"/>
                </a:lnTo>
                <a:lnTo>
                  <a:pt x="1775228" y="4477650"/>
                </a:lnTo>
                <a:cubicBezTo>
                  <a:pt x="1774918" y="4476824"/>
                  <a:pt x="1774763" y="4475895"/>
                  <a:pt x="1774763" y="4474966"/>
                </a:cubicBezTo>
                <a:cubicBezTo>
                  <a:pt x="1775537" y="4474449"/>
                  <a:pt x="1775537" y="4474449"/>
                  <a:pt x="1776622" y="4474759"/>
                </a:cubicBezTo>
                <a:close/>
                <a:moveTo>
                  <a:pt x="5715160" y="4474364"/>
                </a:moveTo>
                <a:cubicBezTo>
                  <a:pt x="5717948" y="4474674"/>
                  <a:pt x="5717793" y="4476636"/>
                  <a:pt x="5719652" y="4476636"/>
                </a:cubicBezTo>
                <a:cubicBezTo>
                  <a:pt x="5718568" y="4480766"/>
                  <a:pt x="5716090" y="4481902"/>
                  <a:pt x="5712527" y="4481902"/>
                </a:cubicBezTo>
                <a:cubicBezTo>
                  <a:pt x="5711597" y="4479733"/>
                  <a:pt x="5712836" y="4475500"/>
                  <a:pt x="5715160" y="4474364"/>
                </a:cubicBezTo>
                <a:close/>
                <a:moveTo>
                  <a:pt x="5648458" y="4473964"/>
                </a:moveTo>
                <a:cubicBezTo>
                  <a:pt x="5651653" y="4472867"/>
                  <a:pt x="5655138" y="4473951"/>
                  <a:pt x="5656919" y="4479217"/>
                </a:cubicBezTo>
                <a:cubicBezTo>
                  <a:pt x="5654131" y="4481489"/>
                  <a:pt x="5651808" y="4483347"/>
                  <a:pt x="5649794" y="4484896"/>
                </a:cubicBezTo>
                <a:lnTo>
                  <a:pt x="5644527" y="4488097"/>
                </a:lnTo>
                <a:lnTo>
                  <a:pt x="5646386" y="4489542"/>
                </a:lnTo>
                <a:cubicBezTo>
                  <a:pt x="5652582" y="4494809"/>
                  <a:pt x="5650413" y="4500798"/>
                  <a:pt x="5647470" y="4504308"/>
                </a:cubicBezTo>
                <a:cubicBezTo>
                  <a:pt x="5646851" y="4503585"/>
                  <a:pt x="5642979" y="4508232"/>
                  <a:pt x="5638177" y="4508026"/>
                </a:cubicBezTo>
                <a:cubicBezTo>
                  <a:pt x="5636473" y="4507922"/>
                  <a:pt x="5634769" y="4507303"/>
                  <a:pt x="5633065" y="4505754"/>
                </a:cubicBezTo>
                <a:cubicBezTo>
                  <a:pt x="5632136" y="4504825"/>
                  <a:pt x="5631206" y="4503895"/>
                  <a:pt x="5630432" y="4502759"/>
                </a:cubicBezTo>
                <a:cubicBezTo>
                  <a:pt x="5628418" y="4499455"/>
                  <a:pt x="5628108" y="4495325"/>
                  <a:pt x="5632910" y="4490162"/>
                </a:cubicBezTo>
                <a:cubicBezTo>
                  <a:pt x="5633994" y="4488407"/>
                  <a:pt x="5633840" y="4489233"/>
                  <a:pt x="5634769" y="4488407"/>
                </a:cubicBezTo>
                <a:cubicBezTo>
                  <a:pt x="5635698" y="4487581"/>
                  <a:pt x="5636782" y="4485825"/>
                  <a:pt x="5636782" y="4484999"/>
                </a:cubicBezTo>
                <a:cubicBezTo>
                  <a:pt x="5639106" y="4486961"/>
                  <a:pt x="5640810" y="4486032"/>
                  <a:pt x="5643443" y="4487271"/>
                </a:cubicBezTo>
                <a:lnTo>
                  <a:pt x="5644063" y="4487684"/>
                </a:lnTo>
                <a:lnTo>
                  <a:pt x="5641739" y="4481798"/>
                </a:lnTo>
                <a:cubicBezTo>
                  <a:pt x="5642359" y="4478339"/>
                  <a:pt x="5645263" y="4475061"/>
                  <a:pt x="5648458" y="4473964"/>
                </a:cubicBezTo>
                <a:close/>
                <a:moveTo>
                  <a:pt x="6042030" y="4473809"/>
                </a:moveTo>
                <a:cubicBezTo>
                  <a:pt x="6043385" y="4474829"/>
                  <a:pt x="6044315" y="4476687"/>
                  <a:pt x="6044160" y="4477978"/>
                </a:cubicBezTo>
                <a:cubicBezTo>
                  <a:pt x="6042921" y="4479940"/>
                  <a:pt x="6041527" y="4480249"/>
                  <a:pt x="6040443" y="4479836"/>
                </a:cubicBezTo>
                <a:cubicBezTo>
                  <a:pt x="6039203" y="4479527"/>
                  <a:pt x="6038274" y="4478288"/>
                  <a:pt x="6037809" y="4477048"/>
                </a:cubicBezTo>
                <a:cubicBezTo>
                  <a:pt x="6037345" y="4476223"/>
                  <a:pt x="6037190" y="4475397"/>
                  <a:pt x="6037345" y="4474674"/>
                </a:cubicBezTo>
                <a:cubicBezTo>
                  <a:pt x="6038894" y="4472608"/>
                  <a:pt x="6040675" y="4472789"/>
                  <a:pt x="6042030" y="4473809"/>
                </a:cubicBezTo>
                <a:close/>
                <a:moveTo>
                  <a:pt x="5815378" y="4473538"/>
                </a:moveTo>
                <a:cubicBezTo>
                  <a:pt x="5818321" y="4475913"/>
                  <a:pt x="5817856" y="4479527"/>
                  <a:pt x="5820954" y="4482831"/>
                </a:cubicBezTo>
                <a:cubicBezTo>
                  <a:pt x="5819560" y="4485515"/>
                  <a:pt x="5822813" y="4489646"/>
                  <a:pt x="5820644" y="4493260"/>
                </a:cubicBezTo>
                <a:cubicBezTo>
                  <a:pt x="5815223" y="4490059"/>
                  <a:pt x="5813209" y="4476223"/>
                  <a:pt x="5815378" y="4473538"/>
                </a:cubicBezTo>
                <a:close/>
                <a:moveTo>
                  <a:pt x="1140927" y="4472694"/>
                </a:moveTo>
                <a:cubicBezTo>
                  <a:pt x="1140927" y="4472694"/>
                  <a:pt x="1142011" y="4473313"/>
                  <a:pt x="1142011" y="4473313"/>
                </a:cubicBezTo>
                <a:cubicBezTo>
                  <a:pt x="1141392" y="4474449"/>
                  <a:pt x="1142166" y="4474140"/>
                  <a:pt x="1140772" y="4474759"/>
                </a:cubicBezTo>
                <a:cubicBezTo>
                  <a:pt x="1141237" y="4473520"/>
                  <a:pt x="1141237" y="4473520"/>
                  <a:pt x="1140927" y="4472694"/>
                </a:cubicBezTo>
                <a:close/>
                <a:moveTo>
                  <a:pt x="5793073" y="4472608"/>
                </a:moveTo>
                <a:cubicBezTo>
                  <a:pt x="5793848" y="4473538"/>
                  <a:pt x="5794622" y="4473538"/>
                  <a:pt x="5793538" y="4475190"/>
                </a:cubicBezTo>
                <a:cubicBezTo>
                  <a:pt x="5793538" y="4476119"/>
                  <a:pt x="5792608" y="4476945"/>
                  <a:pt x="5792453" y="4477771"/>
                </a:cubicBezTo>
                <a:cubicBezTo>
                  <a:pt x="5792453" y="4477771"/>
                  <a:pt x="5791834" y="4478081"/>
                  <a:pt x="5791059" y="4478184"/>
                </a:cubicBezTo>
                <a:cubicBezTo>
                  <a:pt x="5790440" y="4478288"/>
                  <a:pt x="5789510" y="4478288"/>
                  <a:pt x="5789201" y="4477771"/>
                </a:cubicBezTo>
                <a:cubicBezTo>
                  <a:pt x="5788736" y="4477565"/>
                  <a:pt x="5788581" y="4477255"/>
                  <a:pt x="5788581" y="4476842"/>
                </a:cubicBezTo>
                <a:cubicBezTo>
                  <a:pt x="5788736" y="4475706"/>
                  <a:pt x="5790440" y="4474054"/>
                  <a:pt x="5790440" y="4473435"/>
                </a:cubicBezTo>
                <a:cubicBezTo>
                  <a:pt x="5791369" y="4472608"/>
                  <a:pt x="5792298" y="4471782"/>
                  <a:pt x="5793073" y="4472608"/>
                </a:cubicBezTo>
                <a:close/>
                <a:moveTo>
                  <a:pt x="6305160" y="4472402"/>
                </a:moveTo>
                <a:cubicBezTo>
                  <a:pt x="6305935" y="4472092"/>
                  <a:pt x="6306244" y="4472815"/>
                  <a:pt x="6305470" y="4473125"/>
                </a:cubicBezTo>
                <a:cubicBezTo>
                  <a:pt x="6305315" y="4474157"/>
                  <a:pt x="6304695" y="4474364"/>
                  <a:pt x="6304076" y="4474364"/>
                </a:cubicBezTo>
                <a:cubicBezTo>
                  <a:pt x="6303456" y="4474261"/>
                  <a:pt x="6302682" y="4473847"/>
                  <a:pt x="6302217" y="4473641"/>
                </a:cubicBezTo>
                <a:cubicBezTo>
                  <a:pt x="6304386" y="4472712"/>
                  <a:pt x="6305005" y="4471576"/>
                  <a:pt x="6305160" y="4472402"/>
                </a:cubicBezTo>
                <a:close/>
                <a:moveTo>
                  <a:pt x="1744093" y="4471868"/>
                </a:moveTo>
                <a:cubicBezTo>
                  <a:pt x="1745642" y="4472797"/>
                  <a:pt x="1746882" y="4474656"/>
                  <a:pt x="1747811" y="4476824"/>
                </a:cubicBezTo>
                <a:lnTo>
                  <a:pt x="1749515" y="4484052"/>
                </a:lnTo>
                <a:lnTo>
                  <a:pt x="1751528" y="4484878"/>
                </a:lnTo>
                <a:cubicBezTo>
                  <a:pt x="1752303" y="4485601"/>
                  <a:pt x="1753232" y="4486530"/>
                  <a:pt x="1754007" y="4487666"/>
                </a:cubicBezTo>
                <a:cubicBezTo>
                  <a:pt x="1753232" y="4489421"/>
                  <a:pt x="1753387" y="4491074"/>
                  <a:pt x="1752768" y="4493655"/>
                </a:cubicBezTo>
                <a:lnTo>
                  <a:pt x="1748121" y="4491796"/>
                </a:lnTo>
                <a:lnTo>
                  <a:pt x="1744249" y="4495513"/>
                </a:lnTo>
                <a:cubicBezTo>
                  <a:pt x="1743938" y="4492416"/>
                  <a:pt x="1743784" y="4489318"/>
                  <a:pt x="1743319" y="4486117"/>
                </a:cubicBezTo>
                <a:lnTo>
                  <a:pt x="1740841" y="4477547"/>
                </a:lnTo>
                <a:lnTo>
                  <a:pt x="1739911" y="4481780"/>
                </a:lnTo>
                <a:cubicBezTo>
                  <a:pt x="1738827" y="4484775"/>
                  <a:pt x="1737278" y="4487150"/>
                  <a:pt x="1734954" y="4486634"/>
                </a:cubicBezTo>
                <a:cubicBezTo>
                  <a:pt x="1734180" y="4486427"/>
                  <a:pt x="1733406" y="4486014"/>
                  <a:pt x="1732631" y="4485291"/>
                </a:cubicBezTo>
                <a:cubicBezTo>
                  <a:pt x="1735110" y="4480541"/>
                  <a:pt x="1734799" y="4474966"/>
                  <a:pt x="1737278" y="4473623"/>
                </a:cubicBezTo>
                <a:cubicBezTo>
                  <a:pt x="1738207" y="4473210"/>
                  <a:pt x="1739446" y="4473210"/>
                  <a:pt x="1741151" y="4473933"/>
                </a:cubicBezTo>
                <a:lnTo>
                  <a:pt x="1741151" y="4474243"/>
                </a:lnTo>
                <a:lnTo>
                  <a:pt x="1741925" y="4473417"/>
                </a:lnTo>
                <a:cubicBezTo>
                  <a:pt x="1742234" y="4472591"/>
                  <a:pt x="1742544" y="4471765"/>
                  <a:pt x="1744093" y="4471868"/>
                </a:cubicBezTo>
                <a:close/>
                <a:moveTo>
                  <a:pt x="1722098" y="4471868"/>
                </a:moveTo>
                <a:cubicBezTo>
                  <a:pt x="1723337" y="4472074"/>
                  <a:pt x="1724421" y="4472281"/>
                  <a:pt x="1725661" y="4472487"/>
                </a:cubicBezTo>
                <a:lnTo>
                  <a:pt x="1725816" y="4473623"/>
                </a:lnTo>
                <a:lnTo>
                  <a:pt x="1729379" y="4473727"/>
                </a:lnTo>
                <a:cubicBezTo>
                  <a:pt x="1728139" y="4475998"/>
                  <a:pt x="1732631" y="4478889"/>
                  <a:pt x="1730772" y="4482194"/>
                </a:cubicBezTo>
                <a:cubicBezTo>
                  <a:pt x="1726280" y="4492829"/>
                  <a:pt x="1723492" y="4492003"/>
                  <a:pt x="1717142" y="4491693"/>
                </a:cubicBezTo>
                <a:cubicBezTo>
                  <a:pt x="1717916" y="4491383"/>
                  <a:pt x="1716832" y="4490867"/>
                  <a:pt x="1716832" y="4490867"/>
                </a:cubicBezTo>
                <a:cubicBezTo>
                  <a:pt x="1714818" y="4489835"/>
                  <a:pt x="1715283" y="4495101"/>
                  <a:pt x="1712340" y="4494378"/>
                </a:cubicBezTo>
                <a:cubicBezTo>
                  <a:pt x="1710171" y="4493448"/>
                  <a:pt x="1708932" y="4491486"/>
                  <a:pt x="1708312" y="4489215"/>
                </a:cubicBezTo>
                <a:lnTo>
                  <a:pt x="1708158" y="4487046"/>
                </a:lnTo>
                <a:lnTo>
                  <a:pt x="1706764" y="4486634"/>
                </a:lnTo>
                <a:cubicBezTo>
                  <a:pt x="1704905" y="4483536"/>
                  <a:pt x="1704750" y="4480129"/>
                  <a:pt x="1706144" y="4478063"/>
                </a:cubicBezTo>
                <a:lnTo>
                  <a:pt x="1708467" y="4476411"/>
                </a:lnTo>
                <a:lnTo>
                  <a:pt x="1708777" y="4475585"/>
                </a:lnTo>
                <a:cubicBezTo>
                  <a:pt x="1709242" y="4474862"/>
                  <a:pt x="1709861" y="4474552"/>
                  <a:pt x="1710945" y="4475069"/>
                </a:cubicBezTo>
                <a:cubicBezTo>
                  <a:pt x="1711875" y="4475172"/>
                  <a:pt x="1712185" y="4475792"/>
                  <a:pt x="1712649" y="4476411"/>
                </a:cubicBezTo>
                <a:lnTo>
                  <a:pt x="1712804" y="4476514"/>
                </a:lnTo>
                <a:lnTo>
                  <a:pt x="1714508" y="4476824"/>
                </a:lnTo>
                <a:lnTo>
                  <a:pt x="1714973" y="4478167"/>
                </a:lnTo>
                <a:lnTo>
                  <a:pt x="1717297" y="4477753"/>
                </a:lnTo>
                <a:cubicBezTo>
                  <a:pt x="1718381" y="4477237"/>
                  <a:pt x="1719310" y="4476411"/>
                  <a:pt x="1720549" y="4475585"/>
                </a:cubicBezTo>
                <a:lnTo>
                  <a:pt x="1721169" y="4475275"/>
                </a:lnTo>
                <a:close/>
                <a:moveTo>
                  <a:pt x="1563640" y="4471248"/>
                </a:moveTo>
                <a:cubicBezTo>
                  <a:pt x="1564569" y="4470526"/>
                  <a:pt x="1566273" y="4469906"/>
                  <a:pt x="1567667" y="4471971"/>
                </a:cubicBezTo>
                <a:cubicBezTo>
                  <a:pt x="1569990" y="4474140"/>
                  <a:pt x="1569990" y="4476721"/>
                  <a:pt x="1568906" y="4479199"/>
                </a:cubicBezTo>
                <a:cubicBezTo>
                  <a:pt x="1569680" y="4481058"/>
                  <a:pt x="1571229" y="4482194"/>
                  <a:pt x="1570300" y="4483846"/>
                </a:cubicBezTo>
                <a:cubicBezTo>
                  <a:pt x="1568751" y="4480954"/>
                  <a:pt x="1567976" y="4479922"/>
                  <a:pt x="1567357" y="4478063"/>
                </a:cubicBezTo>
                <a:cubicBezTo>
                  <a:pt x="1566582" y="4477960"/>
                  <a:pt x="1565653" y="4477753"/>
                  <a:pt x="1564879" y="4476824"/>
                </a:cubicBezTo>
                <a:cubicBezTo>
                  <a:pt x="1563484" y="4474759"/>
                  <a:pt x="1564414" y="4473107"/>
                  <a:pt x="1563640" y="4471248"/>
                </a:cubicBezTo>
                <a:close/>
                <a:moveTo>
                  <a:pt x="1099880" y="4470009"/>
                </a:moveTo>
                <a:cubicBezTo>
                  <a:pt x="1099725" y="4473107"/>
                  <a:pt x="1092599" y="4476928"/>
                  <a:pt x="1089192" y="4477857"/>
                </a:cubicBezTo>
                <a:cubicBezTo>
                  <a:pt x="1089192" y="4477031"/>
                  <a:pt x="1089656" y="4476205"/>
                  <a:pt x="1090431" y="4475482"/>
                </a:cubicBezTo>
                <a:cubicBezTo>
                  <a:pt x="1092599" y="4473004"/>
                  <a:pt x="1097246" y="4470732"/>
                  <a:pt x="1099880" y="4470009"/>
                </a:cubicBezTo>
                <a:close/>
                <a:moveTo>
                  <a:pt x="6144997" y="4469717"/>
                </a:moveTo>
                <a:cubicBezTo>
                  <a:pt x="6146856" y="4471369"/>
                  <a:pt x="6146236" y="4473125"/>
                  <a:pt x="6145617" y="4474054"/>
                </a:cubicBezTo>
                <a:cubicBezTo>
                  <a:pt x="6145307" y="4475397"/>
                  <a:pt x="6144378" y="4476119"/>
                  <a:pt x="6143139" y="4476429"/>
                </a:cubicBezTo>
                <a:cubicBezTo>
                  <a:pt x="6141900" y="4476739"/>
                  <a:pt x="6140350" y="4476532"/>
                  <a:pt x="6139111" y="4476223"/>
                </a:cubicBezTo>
                <a:cubicBezTo>
                  <a:pt x="6139886" y="4476119"/>
                  <a:pt x="6139886" y="4476119"/>
                  <a:pt x="6139886" y="4476119"/>
                </a:cubicBezTo>
                <a:cubicBezTo>
                  <a:pt x="6140660" y="4475190"/>
                  <a:pt x="6139886" y="4475293"/>
                  <a:pt x="6139731" y="4474364"/>
                </a:cubicBezTo>
                <a:cubicBezTo>
                  <a:pt x="6139731" y="4474364"/>
                  <a:pt x="6139886" y="4475293"/>
                  <a:pt x="6138802" y="4474467"/>
                </a:cubicBezTo>
                <a:cubicBezTo>
                  <a:pt x="6139731" y="4474467"/>
                  <a:pt x="6139576" y="4473538"/>
                  <a:pt x="6139421" y="4472608"/>
                </a:cubicBezTo>
                <a:cubicBezTo>
                  <a:pt x="6140815" y="4470853"/>
                  <a:pt x="6143139" y="4468891"/>
                  <a:pt x="6144997" y="4469717"/>
                </a:cubicBezTo>
                <a:close/>
                <a:moveTo>
                  <a:pt x="1646354" y="4469183"/>
                </a:moveTo>
                <a:cubicBezTo>
                  <a:pt x="1647903" y="4470009"/>
                  <a:pt x="1648677" y="4470526"/>
                  <a:pt x="1649916" y="4472178"/>
                </a:cubicBezTo>
                <a:cubicBezTo>
                  <a:pt x="1652395" y="4481368"/>
                  <a:pt x="1648367" y="4483742"/>
                  <a:pt x="1648833" y="4484981"/>
                </a:cubicBezTo>
                <a:cubicBezTo>
                  <a:pt x="1647903" y="4485188"/>
                  <a:pt x="1647283" y="4485291"/>
                  <a:pt x="1646664" y="4485084"/>
                </a:cubicBezTo>
                <a:cubicBezTo>
                  <a:pt x="1644805" y="4484672"/>
                  <a:pt x="1644030" y="4482710"/>
                  <a:pt x="1642172" y="4480232"/>
                </a:cubicBezTo>
                <a:cubicBezTo>
                  <a:pt x="1643256" y="4479922"/>
                  <a:pt x="1642017" y="4476308"/>
                  <a:pt x="1641552" y="4475069"/>
                </a:cubicBezTo>
                <a:cubicBezTo>
                  <a:pt x="1643876" y="4474449"/>
                  <a:pt x="1642946" y="4470112"/>
                  <a:pt x="1646354" y="4469183"/>
                </a:cubicBezTo>
                <a:close/>
                <a:moveTo>
                  <a:pt x="1300141" y="4469170"/>
                </a:moveTo>
                <a:cubicBezTo>
                  <a:pt x="1301787" y="4468925"/>
                  <a:pt x="1303878" y="4469906"/>
                  <a:pt x="1305582" y="4472178"/>
                </a:cubicBezTo>
                <a:cubicBezTo>
                  <a:pt x="1304498" y="4473933"/>
                  <a:pt x="1303104" y="4474656"/>
                  <a:pt x="1301710" y="4474862"/>
                </a:cubicBezTo>
                <a:cubicBezTo>
                  <a:pt x="1300161" y="4474966"/>
                  <a:pt x="1298767" y="4474449"/>
                  <a:pt x="1297373" y="4473520"/>
                </a:cubicBezTo>
                <a:cubicBezTo>
                  <a:pt x="1297295" y="4470887"/>
                  <a:pt x="1298496" y="4469416"/>
                  <a:pt x="1300141" y="4469170"/>
                </a:cubicBezTo>
                <a:close/>
                <a:moveTo>
                  <a:pt x="1034359" y="4468873"/>
                </a:moveTo>
                <a:cubicBezTo>
                  <a:pt x="1037302" y="4468873"/>
                  <a:pt x="1039316" y="4468770"/>
                  <a:pt x="1039935" y="4472074"/>
                </a:cubicBezTo>
                <a:cubicBezTo>
                  <a:pt x="1039625" y="4472281"/>
                  <a:pt x="1038851" y="4472281"/>
                  <a:pt x="1038076" y="4472178"/>
                </a:cubicBezTo>
                <a:cubicBezTo>
                  <a:pt x="1037302" y="4472074"/>
                  <a:pt x="1036373" y="4471868"/>
                  <a:pt x="1035907" y="4471765"/>
                </a:cubicBezTo>
                <a:cubicBezTo>
                  <a:pt x="1035133" y="4472178"/>
                  <a:pt x="1034049" y="4471971"/>
                  <a:pt x="1033739" y="4471248"/>
                </a:cubicBezTo>
                <a:cubicBezTo>
                  <a:pt x="1033739" y="4471248"/>
                  <a:pt x="1032500" y="4470939"/>
                  <a:pt x="1031880" y="4471455"/>
                </a:cubicBezTo>
                <a:cubicBezTo>
                  <a:pt x="1029557" y="4470939"/>
                  <a:pt x="1029247" y="4470112"/>
                  <a:pt x="1028783" y="4469390"/>
                </a:cubicBezTo>
                <a:cubicBezTo>
                  <a:pt x="1028783" y="4469390"/>
                  <a:pt x="1030022" y="4469700"/>
                  <a:pt x="1030641" y="4469286"/>
                </a:cubicBezTo>
                <a:cubicBezTo>
                  <a:pt x="1030641" y="4469286"/>
                  <a:pt x="1031725" y="4469493"/>
                  <a:pt x="1032964" y="4469803"/>
                </a:cubicBezTo>
                <a:cubicBezTo>
                  <a:pt x="1032964" y="4469803"/>
                  <a:pt x="1033584" y="4469286"/>
                  <a:pt x="1034359" y="4468873"/>
                </a:cubicBezTo>
                <a:close/>
                <a:moveTo>
                  <a:pt x="1199013" y="4468254"/>
                </a:moveTo>
                <a:cubicBezTo>
                  <a:pt x="1203350" y="4471042"/>
                  <a:pt x="1199323" y="4475895"/>
                  <a:pt x="1196845" y="4475792"/>
                </a:cubicBezTo>
                <a:cubicBezTo>
                  <a:pt x="1191578" y="4473004"/>
                  <a:pt x="1196380" y="4468150"/>
                  <a:pt x="1199013" y="4468254"/>
                </a:cubicBezTo>
                <a:close/>
                <a:moveTo>
                  <a:pt x="708302" y="4467531"/>
                </a:moveTo>
                <a:cubicBezTo>
                  <a:pt x="710935" y="4466499"/>
                  <a:pt x="716356" y="4469183"/>
                  <a:pt x="716821" y="4472487"/>
                </a:cubicBezTo>
                <a:cubicBezTo>
                  <a:pt x="716976" y="4473623"/>
                  <a:pt x="716666" y="4474862"/>
                  <a:pt x="715272" y="4476102"/>
                </a:cubicBezTo>
                <a:cubicBezTo>
                  <a:pt x="714343" y="4476824"/>
                  <a:pt x="713414" y="4477237"/>
                  <a:pt x="712639" y="4477340"/>
                </a:cubicBezTo>
                <a:cubicBezTo>
                  <a:pt x="710006" y="4477753"/>
                  <a:pt x="707837" y="4475379"/>
                  <a:pt x="705824" y="4472591"/>
                </a:cubicBezTo>
                <a:cubicBezTo>
                  <a:pt x="706908" y="4470939"/>
                  <a:pt x="707218" y="4469183"/>
                  <a:pt x="708302" y="4467531"/>
                </a:cubicBezTo>
                <a:close/>
                <a:moveTo>
                  <a:pt x="874506" y="4466808"/>
                </a:moveTo>
                <a:cubicBezTo>
                  <a:pt x="883645" y="4468770"/>
                  <a:pt x="883335" y="4477340"/>
                  <a:pt x="884574" y="4478476"/>
                </a:cubicBezTo>
                <a:cubicBezTo>
                  <a:pt x="883645" y="4481058"/>
                  <a:pt x="883335" y="4481780"/>
                  <a:pt x="880701" y="4481264"/>
                </a:cubicBezTo>
                <a:lnTo>
                  <a:pt x="878069" y="4480645"/>
                </a:lnTo>
                <a:lnTo>
                  <a:pt x="876829" y="4482607"/>
                </a:lnTo>
                <a:cubicBezTo>
                  <a:pt x="875745" y="4482194"/>
                  <a:pt x="874660" y="4481780"/>
                  <a:pt x="873577" y="4481368"/>
                </a:cubicBezTo>
                <a:lnTo>
                  <a:pt x="874041" y="4477340"/>
                </a:lnTo>
                <a:lnTo>
                  <a:pt x="873112" y="4474966"/>
                </a:lnTo>
                <a:cubicBezTo>
                  <a:pt x="871717" y="4473830"/>
                  <a:pt x="870788" y="4471455"/>
                  <a:pt x="871098" y="4469596"/>
                </a:cubicBezTo>
                <a:cubicBezTo>
                  <a:pt x="872027" y="4467221"/>
                  <a:pt x="873577" y="4466499"/>
                  <a:pt x="874506" y="4466808"/>
                </a:cubicBezTo>
                <a:close/>
                <a:moveTo>
                  <a:pt x="1179031" y="4466705"/>
                </a:moveTo>
                <a:cubicBezTo>
                  <a:pt x="1181820" y="4468047"/>
                  <a:pt x="1182439" y="4476102"/>
                  <a:pt x="1181820" y="4479612"/>
                </a:cubicBezTo>
                <a:cubicBezTo>
                  <a:pt x="1181200" y="4479302"/>
                  <a:pt x="1180581" y="4478579"/>
                  <a:pt x="1180271" y="4477547"/>
                </a:cubicBezTo>
                <a:cubicBezTo>
                  <a:pt x="1179573" y="4476050"/>
                  <a:pt x="1179187" y="4474010"/>
                  <a:pt x="1179013" y="4472010"/>
                </a:cubicBezTo>
                <a:lnTo>
                  <a:pt x="1179022" y="4469182"/>
                </a:lnTo>
                <a:lnTo>
                  <a:pt x="1179031" y="4469183"/>
                </a:lnTo>
                <a:lnTo>
                  <a:pt x="1179022" y="4469175"/>
                </a:lnTo>
                <a:close/>
                <a:moveTo>
                  <a:pt x="6195184" y="4466620"/>
                </a:moveTo>
                <a:cubicBezTo>
                  <a:pt x="6195648" y="4466826"/>
                  <a:pt x="6195804" y="4467239"/>
                  <a:pt x="6195804" y="4467755"/>
                </a:cubicBezTo>
                <a:cubicBezTo>
                  <a:pt x="6195648" y="4468272"/>
                  <a:pt x="6195493" y="4468891"/>
                  <a:pt x="6195184" y="4469408"/>
                </a:cubicBezTo>
                <a:cubicBezTo>
                  <a:pt x="6194564" y="4470646"/>
                  <a:pt x="6193945" y="4471782"/>
                  <a:pt x="6193480" y="4472918"/>
                </a:cubicBezTo>
                <a:cubicBezTo>
                  <a:pt x="6193480" y="4472918"/>
                  <a:pt x="6193480" y="4472918"/>
                  <a:pt x="6195184" y="4466620"/>
                </a:cubicBezTo>
                <a:close/>
                <a:moveTo>
                  <a:pt x="1649762" y="4465156"/>
                </a:moveTo>
                <a:cubicBezTo>
                  <a:pt x="1652705" y="4466085"/>
                  <a:pt x="1653789" y="4467221"/>
                  <a:pt x="1653789" y="4468150"/>
                </a:cubicBezTo>
                <a:cubicBezTo>
                  <a:pt x="1653789" y="4469183"/>
                  <a:pt x="1652550" y="4470112"/>
                  <a:pt x="1651311" y="4470422"/>
                </a:cubicBezTo>
                <a:cubicBezTo>
                  <a:pt x="1649916" y="4470732"/>
                  <a:pt x="1648677" y="4470422"/>
                  <a:pt x="1648367" y="4469183"/>
                </a:cubicBezTo>
                <a:cubicBezTo>
                  <a:pt x="1648212" y="4468357"/>
                  <a:pt x="1648522" y="4467015"/>
                  <a:pt x="1649762" y="4465156"/>
                </a:cubicBezTo>
                <a:close/>
                <a:moveTo>
                  <a:pt x="1676094" y="4464743"/>
                </a:moveTo>
                <a:cubicBezTo>
                  <a:pt x="1674855" y="4466911"/>
                  <a:pt x="1674081" y="4470835"/>
                  <a:pt x="1670673" y="4471145"/>
                </a:cubicBezTo>
                <a:cubicBezTo>
                  <a:pt x="1671602" y="4469493"/>
                  <a:pt x="1672996" y="4466085"/>
                  <a:pt x="1674545" y="4464950"/>
                </a:cubicBezTo>
                <a:cubicBezTo>
                  <a:pt x="1675009" y="4464640"/>
                  <a:pt x="1675629" y="4464434"/>
                  <a:pt x="1676094" y="4464743"/>
                </a:cubicBezTo>
                <a:close/>
                <a:moveTo>
                  <a:pt x="1726900" y="4464640"/>
                </a:moveTo>
                <a:cubicBezTo>
                  <a:pt x="1726900" y="4464640"/>
                  <a:pt x="1727830" y="4464640"/>
                  <a:pt x="1729533" y="4466499"/>
                </a:cubicBezTo>
                <a:cubicBezTo>
                  <a:pt x="1728759" y="4466395"/>
                  <a:pt x="1728759" y="4467325"/>
                  <a:pt x="1728759" y="4467325"/>
                </a:cubicBezTo>
                <a:cubicBezTo>
                  <a:pt x="1728759" y="4467325"/>
                  <a:pt x="1728759" y="4467221"/>
                  <a:pt x="1729533" y="4467325"/>
                </a:cubicBezTo>
                <a:cubicBezTo>
                  <a:pt x="1729223" y="4467738"/>
                  <a:pt x="1728759" y="4467635"/>
                  <a:pt x="1728449" y="4467531"/>
                </a:cubicBezTo>
                <a:cubicBezTo>
                  <a:pt x="1728139" y="4467428"/>
                  <a:pt x="1727985" y="4467221"/>
                  <a:pt x="1727985" y="4467221"/>
                </a:cubicBezTo>
                <a:cubicBezTo>
                  <a:pt x="1727055" y="4466292"/>
                  <a:pt x="1726125" y="4465466"/>
                  <a:pt x="1726900" y="4464640"/>
                </a:cubicBezTo>
                <a:close/>
                <a:moveTo>
                  <a:pt x="1819992" y="4464434"/>
                </a:moveTo>
                <a:cubicBezTo>
                  <a:pt x="1822935" y="4462781"/>
                  <a:pt x="1828512" y="4466808"/>
                  <a:pt x="1828822" y="4470422"/>
                </a:cubicBezTo>
                <a:cubicBezTo>
                  <a:pt x="1824330" y="4467015"/>
                  <a:pt x="1820612" y="4468977"/>
                  <a:pt x="1819992" y="4464434"/>
                </a:cubicBezTo>
                <a:close/>
                <a:moveTo>
                  <a:pt x="1413216" y="4464278"/>
                </a:moveTo>
                <a:cubicBezTo>
                  <a:pt x="1415016" y="4464098"/>
                  <a:pt x="1417108" y="4464691"/>
                  <a:pt x="1419276" y="4465466"/>
                </a:cubicBezTo>
                <a:cubicBezTo>
                  <a:pt x="1419121" y="4467325"/>
                  <a:pt x="1419741" y="4468873"/>
                  <a:pt x="1419586" y="4470835"/>
                </a:cubicBezTo>
                <a:cubicBezTo>
                  <a:pt x="1418502" y="4471971"/>
                  <a:pt x="1416488" y="4472797"/>
                  <a:pt x="1414474" y="4473004"/>
                </a:cubicBezTo>
                <a:cubicBezTo>
                  <a:pt x="1412460" y="4473210"/>
                  <a:pt x="1410447" y="4472797"/>
                  <a:pt x="1409363" y="4471455"/>
                </a:cubicBezTo>
                <a:cubicBezTo>
                  <a:pt x="1408743" y="4470629"/>
                  <a:pt x="1408434" y="4469390"/>
                  <a:pt x="1408898" y="4467738"/>
                </a:cubicBezTo>
                <a:cubicBezTo>
                  <a:pt x="1409905" y="4465414"/>
                  <a:pt x="1411415" y="4464459"/>
                  <a:pt x="1413216" y="4464278"/>
                </a:cubicBezTo>
                <a:close/>
                <a:moveTo>
                  <a:pt x="1598336" y="4463917"/>
                </a:moveTo>
                <a:cubicBezTo>
                  <a:pt x="1604532" y="4468873"/>
                  <a:pt x="1614600" y="4477444"/>
                  <a:pt x="1617079" y="4485084"/>
                </a:cubicBezTo>
                <a:cubicBezTo>
                  <a:pt x="1615994" y="4485601"/>
                  <a:pt x="1614910" y="4485704"/>
                  <a:pt x="1613981" y="4485601"/>
                </a:cubicBezTo>
                <a:cubicBezTo>
                  <a:pt x="1612122" y="4485395"/>
                  <a:pt x="1610263" y="4484259"/>
                  <a:pt x="1608559" y="4482710"/>
                </a:cubicBezTo>
                <a:lnTo>
                  <a:pt x="1606546" y="4480129"/>
                </a:lnTo>
                <a:lnTo>
                  <a:pt x="1605771" y="4480438"/>
                </a:lnTo>
                <a:cubicBezTo>
                  <a:pt x="1604067" y="4481161"/>
                  <a:pt x="1602363" y="4481677"/>
                  <a:pt x="1600814" y="4481471"/>
                </a:cubicBezTo>
                <a:cubicBezTo>
                  <a:pt x="1600350" y="4481264"/>
                  <a:pt x="1599730" y="4481161"/>
                  <a:pt x="1599420" y="4480748"/>
                </a:cubicBezTo>
                <a:lnTo>
                  <a:pt x="1599575" y="4480129"/>
                </a:lnTo>
                <a:lnTo>
                  <a:pt x="1599265" y="4480232"/>
                </a:lnTo>
                <a:cubicBezTo>
                  <a:pt x="1598646" y="4480232"/>
                  <a:pt x="1598026" y="4480025"/>
                  <a:pt x="1596942" y="4479715"/>
                </a:cubicBezTo>
                <a:cubicBezTo>
                  <a:pt x="1597562" y="4479302"/>
                  <a:pt x="1598491" y="4477650"/>
                  <a:pt x="1599730" y="4477960"/>
                </a:cubicBezTo>
                <a:lnTo>
                  <a:pt x="1599885" y="4478063"/>
                </a:lnTo>
                <a:lnTo>
                  <a:pt x="1600505" y="4476514"/>
                </a:lnTo>
                <a:cubicBezTo>
                  <a:pt x="1601124" y="4476205"/>
                  <a:pt x="1602053" y="4476308"/>
                  <a:pt x="1603602" y="4476514"/>
                </a:cubicBezTo>
                <a:lnTo>
                  <a:pt x="1600040" y="4469596"/>
                </a:lnTo>
                <a:cubicBezTo>
                  <a:pt x="1599265" y="4467325"/>
                  <a:pt x="1598491" y="4465363"/>
                  <a:pt x="1598336" y="4463917"/>
                </a:cubicBezTo>
                <a:close/>
                <a:moveTo>
                  <a:pt x="5910020" y="4462902"/>
                </a:moveTo>
                <a:cubicBezTo>
                  <a:pt x="5909865" y="4465380"/>
                  <a:pt x="5909710" y="4466620"/>
                  <a:pt x="5910174" y="4468478"/>
                </a:cubicBezTo>
                <a:cubicBezTo>
                  <a:pt x="5906612" y="4468272"/>
                  <a:pt x="5903824" y="4469098"/>
                  <a:pt x="5901810" y="4469201"/>
                </a:cubicBezTo>
                <a:cubicBezTo>
                  <a:pt x="5899641" y="4469304"/>
                  <a:pt x="5898093" y="4468685"/>
                  <a:pt x="5896854" y="4465897"/>
                </a:cubicBezTo>
                <a:cubicBezTo>
                  <a:pt x="5899022" y="4462902"/>
                  <a:pt x="5904753" y="4463212"/>
                  <a:pt x="5910020" y="4462902"/>
                </a:cubicBezTo>
                <a:close/>
                <a:moveTo>
                  <a:pt x="1706454" y="4462265"/>
                </a:moveTo>
                <a:cubicBezTo>
                  <a:pt x="1706609" y="4467531"/>
                  <a:pt x="1707693" y="4473313"/>
                  <a:pt x="1701962" y="4475069"/>
                </a:cubicBezTo>
                <a:cubicBezTo>
                  <a:pt x="1700103" y="4474449"/>
                  <a:pt x="1699019" y="4473417"/>
                  <a:pt x="1698244" y="4472384"/>
                </a:cubicBezTo>
                <a:cubicBezTo>
                  <a:pt x="1696231" y="4468977"/>
                  <a:pt x="1698244" y="4464124"/>
                  <a:pt x="1701652" y="4462368"/>
                </a:cubicBezTo>
                <a:cubicBezTo>
                  <a:pt x="1703046" y="4461645"/>
                  <a:pt x="1704750" y="4461439"/>
                  <a:pt x="1706454" y="4462265"/>
                </a:cubicBezTo>
                <a:close/>
                <a:moveTo>
                  <a:pt x="6153052" y="4461664"/>
                </a:moveTo>
                <a:cubicBezTo>
                  <a:pt x="6153052" y="4461664"/>
                  <a:pt x="6153207" y="4461664"/>
                  <a:pt x="6153981" y="4461767"/>
                </a:cubicBezTo>
                <a:cubicBezTo>
                  <a:pt x="6155685" y="4462076"/>
                  <a:pt x="6156460" y="4462179"/>
                  <a:pt x="6157234" y="4462283"/>
                </a:cubicBezTo>
                <a:cubicBezTo>
                  <a:pt x="6158009" y="4463315"/>
                  <a:pt x="6159558" y="4466103"/>
                  <a:pt x="6158628" y="4466826"/>
                </a:cubicBezTo>
                <a:cubicBezTo>
                  <a:pt x="6157854" y="4467549"/>
                  <a:pt x="6156770" y="4468065"/>
                  <a:pt x="6155840" y="4468169"/>
                </a:cubicBezTo>
                <a:cubicBezTo>
                  <a:pt x="6154756" y="4468375"/>
                  <a:pt x="6153981" y="4468272"/>
                  <a:pt x="6153517" y="4467755"/>
                </a:cubicBezTo>
                <a:cubicBezTo>
                  <a:pt x="6152433" y="4466310"/>
                  <a:pt x="6151348" y="4464761"/>
                  <a:pt x="6151968" y="4463212"/>
                </a:cubicBezTo>
                <a:cubicBezTo>
                  <a:pt x="6152123" y="4462696"/>
                  <a:pt x="6152433" y="4462179"/>
                  <a:pt x="6153052" y="4461664"/>
                </a:cubicBezTo>
                <a:close/>
                <a:moveTo>
                  <a:pt x="1161839" y="4461439"/>
                </a:moveTo>
                <a:cubicBezTo>
                  <a:pt x="1164704" y="4460045"/>
                  <a:pt x="1168847" y="4461078"/>
                  <a:pt x="1172352" y="4462911"/>
                </a:cubicBezTo>
                <a:lnTo>
                  <a:pt x="1179022" y="4469175"/>
                </a:lnTo>
                <a:lnTo>
                  <a:pt x="1179022" y="4469182"/>
                </a:lnTo>
                <a:lnTo>
                  <a:pt x="1174308" y="4468822"/>
                </a:lnTo>
                <a:cubicBezTo>
                  <a:pt x="1172797" y="4468383"/>
                  <a:pt x="1171209" y="4467892"/>
                  <a:pt x="1169119" y="4468150"/>
                </a:cubicBezTo>
                <a:cubicBezTo>
                  <a:pt x="1168034" y="4465363"/>
                  <a:pt x="1163077" y="4465466"/>
                  <a:pt x="1161839" y="4461439"/>
                </a:cubicBezTo>
                <a:close/>
                <a:moveTo>
                  <a:pt x="1787929" y="4459064"/>
                </a:moveTo>
                <a:cubicBezTo>
                  <a:pt x="1792421" y="4458032"/>
                  <a:pt x="1792266" y="4462678"/>
                  <a:pt x="1790253" y="4464124"/>
                </a:cubicBezTo>
                <a:cubicBezTo>
                  <a:pt x="1789633" y="4464537"/>
                  <a:pt x="1788549" y="4464537"/>
                  <a:pt x="1787619" y="4463917"/>
                </a:cubicBezTo>
                <a:cubicBezTo>
                  <a:pt x="1787619" y="4462781"/>
                  <a:pt x="1787155" y="4460819"/>
                  <a:pt x="1787929" y="4459064"/>
                </a:cubicBezTo>
                <a:close/>
                <a:moveTo>
                  <a:pt x="1061930" y="4459064"/>
                </a:moveTo>
                <a:lnTo>
                  <a:pt x="1061155" y="4459787"/>
                </a:lnTo>
                <a:lnTo>
                  <a:pt x="1061930" y="4459477"/>
                </a:lnTo>
                <a:close/>
                <a:moveTo>
                  <a:pt x="1548615" y="4458961"/>
                </a:moveTo>
                <a:cubicBezTo>
                  <a:pt x="1551712" y="4460200"/>
                  <a:pt x="1552022" y="4462884"/>
                  <a:pt x="1552177" y="4465569"/>
                </a:cubicBezTo>
                <a:cubicBezTo>
                  <a:pt x="1551867" y="4467531"/>
                  <a:pt x="1552177" y="4468357"/>
                  <a:pt x="1553571" y="4469493"/>
                </a:cubicBezTo>
                <a:cubicBezTo>
                  <a:pt x="1553571" y="4469493"/>
                  <a:pt x="1553571" y="4469493"/>
                  <a:pt x="1552642" y="4471868"/>
                </a:cubicBezTo>
                <a:lnTo>
                  <a:pt x="1551867" y="4472178"/>
                </a:lnTo>
                <a:cubicBezTo>
                  <a:pt x="1551403" y="4472178"/>
                  <a:pt x="1551093" y="4471661"/>
                  <a:pt x="1550628" y="4470835"/>
                </a:cubicBezTo>
                <a:cubicBezTo>
                  <a:pt x="1549389" y="4468357"/>
                  <a:pt x="1548459" y="4463401"/>
                  <a:pt x="1548305" y="4462884"/>
                </a:cubicBezTo>
                <a:cubicBezTo>
                  <a:pt x="1548305" y="4462884"/>
                  <a:pt x="1547995" y="4462059"/>
                  <a:pt x="1547685" y="4461336"/>
                </a:cubicBezTo>
                <a:cubicBezTo>
                  <a:pt x="1548150" y="4460097"/>
                  <a:pt x="1548924" y="4459787"/>
                  <a:pt x="1548615" y="4458961"/>
                </a:cubicBezTo>
                <a:close/>
                <a:moveTo>
                  <a:pt x="5849939" y="4458734"/>
                </a:moveTo>
                <a:cubicBezTo>
                  <a:pt x="5851973" y="4459469"/>
                  <a:pt x="5853483" y="4461509"/>
                  <a:pt x="5851469" y="4463419"/>
                </a:cubicBezTo>
                <a:cubicBezTo>
                  <a:pt x="5849610" y="4463419"/>
                  <a:pt x="5847442" y="4462696"/>
                  <a:pt x="5845273" y="4461870"/>
                </a:cubicBezTo>
                <a:cubicBezTo>
                  <a:pt x="5845351" y="4458566"/>
                  <a:pt x="5847906" y="4457998"/>
                  <a:pt x="5849939" y="4458734"/>
                </a:cubicBezTo>
                <a:close/>
                <a:moveTo>
                  <a:pt x="5857045" y="4458669"/>
                </a:moveTo>
                <a:cubicBezTo>
                  <a:pt x="5859678" y="4458463"/>
                  <a:pt x="5861228" y="4458359"/>
                  <a:pt x="5863241" y="4460011"/>
                </a:cubicBezTo>
                <a:lnTo>
                  <a:pt x="5865100" y="4463109"/>
                </a:lnTo>
                <a:lnTo>
                  <a:pt x="5866959" y="4461767"/>
                </a:lnTo>
                <a:cubicBezTo>
                  <a:pt x="5872070" y="4459702"/>
                  <a:pt x="5878111" y="4459288"/>
                  <a:pt x="5880125" y="4468065"/>
                </a:cubicBezTo>
                <a:cubicBezTo>
                  <a:pt x="5880899" y="4469717"/>
                  <a:pt x="5880280" y="4469304"/>
                  <a:pt x="5880434" y="4470440"/>
                </a:cubicBezTo>
                <a:cubicBezTo>
                  <a:pt x="5880589" y="4471679"/>
                  <a:pt x="5881519" y="4473331"/>
                  <a:pt x="5882138" y="4473744"/>
                </a:cubicBezTo>
                <a:cubicBezTo>
                  <a:pt x="5878266" y="4475500"/>
                  <a:pt x="5879350" y="4478288"/>
                  <a:pt x="5872999" y="4480663"/>
                </a:cubicBezTo>
                <a:cubicBezTo>
                  <a:pt x="5870986" y="4481489"/>
                  <a:pt x="5869282" y="4481902"/>
                  <a:pt x="5867733" y="4481902"/>
                </a:cubicBezTo>
                <a:lnTo>
                  <a:pt x="5866649" y="4481592"/>
                </a:lnTo>
                <a:lnTo>
                  <a:pt x="5866959" y="4481902"/>
                </a:lnTo>
                <a:cubicBezTo>
                  <a:pt x="5869127" y="4484070"/>
                  <a:pt x="5870676" y="4486135"/>
                  <a:pt x="5870366" y="4487477"/>
                </a:cubicBezTo>
                <a:cubicBezTo>
                  <a:pt x="5869592" y="4487477"/>
                  <a:pt x="5868817" y="4487581"/>
                  <a:pt x="5867888" y="4486755"/>
                </a:cubicBezTo>
                <a:cubicBezTo>
                  <a:pt x="5866804" y="4485929"/>
                  <a:pt x="5867733" y="4485929"/>
                  <a:pt x="5866804" y="4485929"/>
                </a:cubicBezTo>
                <a:cubicBezTo>
                  <a:pt x="5865874" y="4485103"/>
                  <a:pt x="5866029" y="4485929"/>
                  <a:pt x="5866029" y="4485929"/>
                </a:cubicBezTo>
                <a:cubicBezTo>
                  <a:pt x="5866029" y="4485929"/>
                  <a:pt x="5865874" y="4485103"/>
                  <a:pt x="5865874" y="4485103"/>
                </a:cubicBezTo>
                <a:cubicBezTo>
                  <a:pt x="5865874" y="4485103"/>
                  <a:pt x="5865874" y="4485103"/>
                  <a:pt x="5864016" y="4483450"/>
                </a:cubicBezTo>
                <a:cubicBezTo>
                  <a:pt x="5861228" y="4481902"/>
                  <a:pt x="5860453" y="4481902"/>
                  <a:pt x="5858594" y="4481179"/>
                </a:cubicBezTo>
                <a:cubicBezTo>
                  <a:pt x="5856735" y="4479527"/>
                  <a:pt x="5856426" y="4478701"/>
                  <a:pt x="5854412" y="4476223"/>
                </a:cubicBezTo>
                <a:cubicBezTo>
                  <a:pt x="5855031" y="4474467"/>
                  <a:pt x="5855031" y="4474467"/>
                  <a:pt x="5855961" y="4474364"/>
                </a:cubicBezTo>
                <a:cubicBezTo>
                  <a:pt x="5855031" y="4474467"/>
                  <a:pt x="5855031" y="4473538"/>
                  <a:pt x="5853947" y="4472712"/>
                </a:cubicBezTo>
                <a:cubicBezTo>
                  <a:pt x="5849455" y="4470337"/>
                  <a:pt x="5850539" y="4466000"/>
                  <a:pt x="5853328" y="4461457"/>
                </a:cubicBezTo>
                <a:cubicBezTo>
                  <a:pt x="5854257" y="4462283"/>
                  <a:pt x="5855496" y="4459598"/>
                  <a:pt x="5857045" y="4458669"/>
                </a:cubicBezTo>
                <a:close/>
                <a:moveTo>
                  <a:pt x="1140154" y="4458651"/>
                </a:moveTo>
                <a:cubicBezTo>
                  <a:pt x="1140463" y="4460303"/>
                  <a:pt x="1142166" y="4469596"/>
                  <a:pt x="1141237" y="4472694"/>
                </a:cubicBezTo>
                <a:cubicBezTo>
                  <a:pt x="1140927" y="4468254"/>
                  <a:pt x="1138604" y="4462781"/>
                  <a:pt x="1140154" y="4458651"/>
                </a:cubicBezTo>
                <a:close/>
                <a:moveTo>
                  <a:pt x="737113" y="4458651"/>
                </a:moveTo>
                <a:cubicBezTo>
                  <a:pt x="739746" y="4461336"/>
                  <a:pt x="738971" y="4464743"/>
                  <a:pt x="741759" y="4468357"/>
                </a:cubicBezTo>
                <a:cubicBezTo>
                  <a:pt x="740211" y="4470835"/>
                  <a:pt x="742844" y="4475275"/>
                  <a:pt x="740520" y="4478683"/>
                </a:cubicBezTo>
                <a:cubicBezTo>
                  <a:pt x="735254" y="4474966"/>
                  <a:pt x="734634" y="4461129"/>
                  <a:pt x="737113" y="4458651"/>
                </a:cubicBezTo>
                <a:close/>
                <a:moveTo>
                  <a:pt x="1055425" y="4458341"/>
                </a:moveTo>
                <a:cubicBezTo>
                  <a:pt x="1054495" y="4459580"/>
                  <a:pt x="1053566" y="4460200"/>
                  <a:pt x="1052327" y="4460406"/>
                </a:cubicBezTo>
                <a:cubicBezTo>
                  <a:pt x="1051242" y="4460613"/>
                  <a:pt x="1049848" y="4460510"/>
                  <a:pt x="1048144" y="4460406"/>
                </a:cubicBezTo>
                <a:cubicBezTo>
                  <a:pt x="1050468" y="4456793"/>
                  <a:pt x="1052327" y="4456999"/>
                  <a:pt x="1055425" y="4458341"/>
                </a:cubicBezTo>
                <a:close/>
                <a:moveTo>
                  <a:pt x="1782817" y="4458135"/>
                </a:moveTo>
                <a:cubicBezTo>
                  <a:pt x="1781733" y="4459787"/>
                  <a:pt x="1777861" y="4465260"/>
                  <a:pt x="1776002" y="4465466"/>
                </a:cubicBezTo>
                <a:cubicBezTo>
                  <a:pt x="1777396" y="4462575"/>
                  <a:pt x="1781733" y="4457825"/>
                  <a:pt x="1782817" y="4458135"/>
                </a:cubicBezTo>
                <a:close/>
                <a:moveTo>
                  <a:pt x="1723337" y="4458135"/>
                </a:moveTo>
                <a:cubicBezTo>
                  <a:pt x="1725042" y="4459168"/>
                  <a:pt x="1727520" y="4462781"/>
                  <a:pt x="1726900" y="4464640"/>
                </a:cubicBezTo>
                <a:cubicBezTo>
                  <a:pt x="1725197" y="4463607"/>
                  <a:pt x="1724267" y="4462678"/>
                  <a:pt x="1723337" y="4461749"/>
                </a:cubicBezTo>
                <a:cubicBezTo>
                  <a:pt x="1721788" y="4460819"/>
                  <a:pt x="1721634" y="4459890"/>
                  <a:pt x="1723337" y="4458135"/>
                </a:cubicBezTo>
                <a:close/>
                <a:moveTo>
                  <a:pt x="1043652" y="4457515"/>
                </a:moveTo>
                <a:cubicBezTo>
                  <a:pt x="1044737" y="4458032"/>
                  <a:pt x="1044737" y="4458032"/>
                  <a:pt x="1043807" y="4458341"/>
                </a:cubicBezTo>
                <a:cubicBezTo>
                  <a:pt x="1045202" y="4459683"/>
                  <a:pt x="1045356" y="4460510"/>
                  <a:pt x="1045511" y="4461336"/>
                </a:cubicBezTo>
                <a:cubicBezTo>
                  <a:pt x="1044891" y="4462472"/>
                  <a:pt x="1043343" y="4463194"/>
                  <a:pt x="1041484" y="4462884"/>
                </a:cubicBezTo>
                <a:cubicBezTo>
                  <a:pt x="1042103" y="4461749"/>
                  <a:pt x="1040864" y="4460406"/>
                  <a:pt x="1041484" y="4459271"/>
                </a:cubicBezTo>
                <a:cubicBezTo>
                  <a:pt x="1041484" y="4459271"/>
                  <a:pt x="1043652" y="4457515"/>
                  <a:pt x="1043652" y="4457515"/>
                </a:cubicBezTo>
                <a:close/>
                <a:moveTo>
                  <a:pt x="1697779" y="4456379"/>
                </a:moveTo>
                <a:cubicBezTo>
                  <a:pt x="1697934" y="4458858"/>
                  <a:pt x="1698089" y="4462265"/>
                  <a:pt x="1697470" y="4463917"/>
                </a:cubicBezTo>
                <a:cubicBezTo>
                  <a:pt x="1696540" y="4462162"/>
                  <a:pt x="1695611" y="4458754"/>
                  <a:pt x="1697005" y="4457102"/>
                </a:cubicBezTo>
                <a:cubicBezTo>
                  <a:pt x="1697005" y="4457102"/>
                  <a:pt x="1697160" y="4457102"/>
                  <a:pt x="1697779" y="4456379"/>
                </a:cubicBezTo>
                <a:close/>
                <a:moveTo>
                  <a:pt x="6543081" y="4456294"/>
                </a:moveTo>
                <a:cubicBezTo>
                  <a:pt x="6540447" y="4455571"/>
                  <a:pt x="6536265" y="4459495"/>
                  <a:pt x="6537814" y="4459185"/>
                </a:cubicBezTo>
                <a:lnTo>
                  <a:pt x="6537659" y="4459185"/>
                </a:lnTo>
                <a:lnTo>
                  <a:pt x="6535181" y="4463006"/>
                </a:lnTo>
                <a:cubicBezTo>
                  <a:pt x="6532393" y="4465380"/>
                  <a:pt x="6529140" y="4466826"/>
                  <a:pt x="6525267" y="4466826"/>
                </a:cubicBezTo>
                <a:lnTo>
                  <a:pt x="6521860" y="4460941"/>
                </a:lnTo>
                <a:lnTo>
                  <a:pt x="6519691" y="4461147"/>
                </a:lnTo>
                <a:cubicBezTo>
                  <a:pt x="6515819" y="4462179"/>
                  <a:pt x="6512256" y="4464141"/>
                  <a:pt x="6509313" y="4468478"/>
                </a:cubicBezTo>
                <a:cubicBezTo>
                  <a:pt x="6509313" y="4468478"/>
                  <a:pt x="6509158" y="4468478"/>
                  <a:pt x="6508539" y="4468272"/>
                </a:cubicBezTo>
                <a:cubicBezTo>
                  <a:pt x="6508539" y="4468272"/>
                  <a:pt x="6508539" y="4468272"/>
                  <a:pt x="6507764" y="4468685"/>
                </a:cubicBezTo>
                <a:cubicBezTo>
                  <a:pt x="6507764" y="4468685"/>
                  <a:pt x="6507610" y="4468685"/>
                  <a:pt x="6506990" y="4468478"/>
                </a:cubicBezTo>
                <a:cubicBezTo>
                  <a:pt x="6506990" y="4468478"/>
                  <a:pt x="6506990" y="4468478"/>
                  <a:pt x="6503272" y="4468891"/>
                </a:cubicBezTo>
                <a:cubicBezTo>
                  <a:pt x="6501104" y="4468891"/>
                  <a:pt x="6498006" y="4469511"/>
                  <a:pt x="6495837" y="4469511"/>
                </a:cubicBezTo>
                <a:cubicBezTo>
                  <a:pt x="6491191" y="4470440"/>
                  <a:pt x="6485924" y="4471060"/>
                  <a:pt x="6481432" y="4471163"/>
                </a:cubicBezTo>
                <a:cubicBezTo>
                  <a:pt x="6478954" y="4471886"/>
                  <a:pt x="6476785" y="4471989"/>
                  <a:pt x="6474307" y="4472712"/>
                </a:cubicBezTo>
                <a:cubicBezTo>
                  <a:pt x="6474307" y="4472712"/>
                  <a:pt x="6474307" y="4472815"/>
                  <a:pt x="6472758" y="4473022"/>
                </a:cubicBezTo>
                <a:cubicBezTo>
                  <a:pt x="6472758" y="4473022"/>
                  <a:pt x="6472913" y="4473022"/>
                  <a:pt x="6471519" y="4472608"/>
                </a:cubicBezTo>
                <a:cubicBezTo>
                  <a:pt x="6471519" y="4472608"/>
                  <a:pt x="6471519" y="4472608"/>
                  <a:pt x="6468421" y="4473125"/>
                </a:cubicBezTo>
                <a:cubicBezTo>
                  <a:pt x="6464084" y="4473331"/>
                  <a:pt x="6460056" y="4474364"/>
                  <a:pt x="6456339" y="4474674"/>
                </a:cubicBezTo>
                <a:lnTo>
                  <a:pt x="6445806" y="4475397"/>
                </a:lnTo>
                <a:lnTo>
                  <a:pt x="6445806" y="4475809"/>
                </a:lnTo>
                <a:cubicBezTo>
                  <a:pt x="6445342" y="4477771"/>
                  <a:pt x="6444722" y="4479733"/>
                  <a:pt x="6444102" y="4480972"/>
                </a:cubicBezTo>
                <a:cubicBezTo>
                  <a:pt x="6443483" y="4480559"/>
                  <a:pt x="6443173" y="4479733"/>
                  <a:pt x="6443018" y="4478701"/>
                </a:cubicBezTo>
                <a:lnTo>
                  <a:pt x="6443328" y="4475603"/>
                </a:lnTo>
                <a:lnTo>
                  <a:pt x="6437752" y="4475603"/>
                </a:lnTo>
                <a:lnTo>
                  <a:pt x="6444722" y="4483967"/>
                </a:lnTo>
                <a:cubicBezTo>
                  <a:pt x="6434963" y="4493157"/>
                  <a:pt x="6422727" y="4484793"/>
                  <a:pt x="6412658" y="4481075"/>
                </a:cubicBezTo>
                <a:lnTo>
                  <a:pt x="6411729" y="4499145"/>
                </a:lnTo>
                <a:lnTo>
                  <a:pt x="6416841" y="4500384"/>
                </a:lnTo>
                <a:lnTo>
                  <a:pt x="6418699" y="4502243"/>
                </a:lnTo>
                <a:lnTo>
                  <a:pt x="6422881" y="4500488"/>
                </a:lnTo>
                <a:cubicBezTo>
                  <a:pt x="6422881" y="4500488"/>
                  <a:pt x="6421797" y="4503276"/>
                  <a:pt x="6421177" y="4503069"/>
                </a:cubicBezTo>
                <a:cubicBezTo>
                  <a:pt x="6423346" y="4502966"/>
                  <a:pt x="6428148" y="4499868"/>
                  <a:pt x="6430316" y="4499868"/>
                </a:cubicBezTo>
                <a:cubicBezTo>
                  <a:pt x="6432485" y="4499765"/>
                  <a:pt x="6434809" y="4501210"/>
                  <a:pt x="6437132" y="4502553"/>
                </a:cubicBezTo>
                <a:lnTo>
                  <a:pt x="6440075" y="4503585"/>
                </a:lnTo>
                <a:lnTo>
                  <a:pt x="6444102" y="4501933"/>
                </a:lnTo>
                <a:lnTo>
                  <a:pt x="6444102" y="4501210"/>
                </a:lnTo>
                <a:lnTo>
                  <a:pt x="6446271" y="4498836"/>
                </a:lnTo>
                <a:lnTo>
                  <a:pt x="6445187" y="4498009"/>
                </a:lnTo>
                <a:cubicBezTo>
                  <a:pt x="6443638" y="4495635"/>
                  <a:pt x="6444102" y="4491091"/>
                  <a:pt x="6445342" y="4490369"/>
                </a:cubicBezTo>
                <a:cubicBezTo>
                  <a:pt x="6446735" y="4490575"/>
                  <a:pt x="6449369" y="4495428"/>
                  <a:pt x="6448904" y="4498009"/>
                </a:cubicBezTo>
                <a:lnTo>
                  <a:pt x="6447510" y="4499248"/>
                </a:lnTo>
                <a:lnTo>
                  <a:pt x="6448439" y="4500281"/>
                </a:lnTo>
                <a:lnTo>
                  <a:pt x="6452466" y="4498629"/>
                </a:lnTo>
                <a:lnTo>
                  <a:pt x="6453086" y="4498836"/>
                </a:lnTo>
                <a:lnTo>
                  <a:pt x="6456184" y="4496461"/>
                </a:lnTo>
                <a:cubicBezTo>
                  <a:pt x="6460056" y="4495428"/>
                  <a:pt x="6464084" y="4496667"/>
                  <a:pt x="6467337" y="4497700"/>
                </a:cubicBezTo>
                <a:cubicBezTo>
                  <a:pt x="6469350" y="4498319"/>
                  <a:pt x="6470899" y="4498009"/>
                  <a:pt x="6472293" y="4497803"/>
                </a:cubicBezTo>
                <a:cubicBezTo>
                  <a:pt x="6473068" y="4498009"/>
                  <a:pt x="6473688" y="4498113"/>
                  <a:pt x="6473688" y="4498113"/>
                </a:cubicBezTo>
                <a:cubicBezTo>
                  <a:pt x="6474617" y="4497700"/>
                  <a:pt x="6474617" y="4497700"/>
                  <a:pt x="6475391" y="4497183"/>
                </a:cubicBezTo>
                <a:cubicBezTo>
                  <a:pt x="6476321" y="4496667"/>
                  <a:pt x="6477250" y="4496254"/>
                  <a:pt x="6478179" y="4495738"/>
                </a:cubicBezTo>
                <a:cubicBezTo>
                  <a:pt x="6483755" y="4494499"/>
                  <a:pt x="6484530" y="4498526"/>
                  <a:pt x="6488867" y="4498319"/>
                </a:cubicBezTo>
                <a:cubicBezTo>
                  <a:pt x="6493824" y="4496874"/>
                  <a:pt x="6498006" y="4495118"/>
                  <a:pt x="6501878" y="4494086"/>
                </a:cubicBezTo>
                <a:lnTo>
                  <a:pt x="6502498" y="4493879"/>
                </a:lnTo>
                <a:lnTo>
                  <a:pt x="6503272" y="4492124"/>
                </a:lnTo>
                <a:cubicBezTo>
                  <a:pt x="6504356" y="4491711"/>
                  <a:pt x="6505751" y="4491814"/>
                  <a:pt x="6506835" y="4492227"/>
                </a:cubicBezTo>
                <a:lnTo>
                  <a:pt x="6507145" y="4492640"/>
                </a:lnTo>
                <a:lnTo>
                  <a:pt x="6508384" y="4492227"/>
                </a:lnTo>
                <a:cubicBezTo>
                  <a:pt x="6508384" y="4492227"/>
                  <a:pt x="6508384" y="4492227"/>
                  <a:pt x="6510088" y="4491298"/>
                </a:cubicBezTo>
                <a:cubicBezTo>
                  <a:pt x="6510088" y="4491298"/>
                  <a:pt x="6510243" y="4491298"/>
                  <a:pt x="6510862" y="4491504"/>
                </a:cubicBezTo>
                <a:cubicBezTo>
                  <a:pt x="6511017" y="4490781"/>
                  <a:pt x="6511637" y="4491091"/>
                  <a:pt x="6511637" y="4491091"/>
                </a:cubicBezTo>
                <a:cubicBezTo>
                  <a:pt x="6511637" y="4491091"/>
                  <a:pt x="6511637" y="4491091"/>
                  <a:pt x="6513186" y="4490781"/>
                </a:cubicBezTo>
                <a:lnTo>
                  <a:pt x="6513805" y="4490472"/>
                </a:lnTo>
                <a:lnTo>
                  <a:pt x="6513341" y="4488200"/>
                </a:lnTo>
                <a:cubicBezTo>
                  <a:pt x="6513186" y="4486858"/>
                  <a:pt x="6513341" y="4485412"/>
                  <a:pt x="6513805" y="4483554"/>
                </a:cubicBezTo>
                <a:cubicBezTo>
                  <a:pt x="6515045" y="4485309"/>
                  <a:pt x="6515974" y="4487065"/>
                  <a:pt x="6516439" y="4488820"/>
                </a:cubicBezTo>
                <a:lnTo>
                  <a:pt x="6516593" y="4489130"/>
                </a:lnTo>
                <a:lnTo>
                  <a:pt x="6526352" y="4484276"/>
                </a:lnTo>
                <a:cubicBezTo>
                  <a:pt x="6526197" y="4480456"/>
                  <a:pt x="6529914" y="4469511"/>
                  <a:pt x="6524958" y="4471060"/>
                </a:cubicBezTo>
                <a:cubicBezTo>
                  <a:pt x="6525887" y="4470543"/>
                  <a:pt x="6526507" y="4470750"/>
                  <a:pt x="6527436" y="4470234"/>
                </a:cubicBezTo>
                <a:cubicBezTo>
                  <a:pt x="6527436" y="4470234"/>
                  <a:pt x="6527436" y="4470234"/>
                  <a:pt x="6533632" y="4469201"/>
                </a:cubicBezTo>
                <a:cubicBezTo>
                  <a:pt x="6533632" y="4469201"/>
                  <a:pt x="6533632" y="4469201"/>
                  <a:pt x="6534252" y="4469408"/>
                </a:cubicBezTo>
                <a:cubicBezTo>
                  <a:pt x="6534252" y="4469408"/>
                  <a:pt x="6534252" y="4469408"/>
                  <a:pt x="6535181" y="4468891"/>
                </a:cubicBezTo>
                <a:cubicBezTo>
                  <a:pt x="6535491" y="4468272"/>
                  <a:pt x="6536111" y="4468478"/>
                  <a:pt x="6536885" y="4467962"/>
                </a:cubicBezTo>
                <a:cubicBezTo>
                  <a:pt x="6539673" y="4466516"/>
                  <a:pt x="6542151" y="4465794"/>
                  <a:pt x="6544165" y="4464141"/>
                </a:cubicBezTo>
                <a:cubicBezTo>
                  <a:pt x="6547882" y="4461560"/>
                  <a:pt x="6548812" y="4458875"/>
                  <a:pt x="6543081" y="4456294"/>
                </a:cubicBezTo>
                <a:close/>
                <a:moveTo>
                  <a:pt x="897740" y="4455450"/>
                </a:moveTo>
                <a:cubicBezTo>
                  <a:pt x="902542" y="4457412"/>
                  <a:pt x="908428" y="4458754"/>
                  <a:pt x="907653" y="4464743"/>
                </a:cubicBezTo>
                <a:cubicBezTo>
                  <a:pt x="906259" y="4466189"/>
                  <a:pt x="904866" y="4466808"/>
                  <a:pt x="903626" y="4467015"/>
                </a:cubicBezTo>
                <a:cubicBezTo>
                  <a:pt x="899754" y="4467635"/>
                  <a:pt x="896192" y="4463711"/>
                  <a:pt x="895881" y="4459993"/>
                </a:cubicBezTo>
                <a:cubicBezTo>
                  <a:pt x="895881" y="4458238"/>
                  <a:pt x="896347" y="4456689"/>
                  <a:pt x="897740" y="4455450"/>
                </a:cubicBezTo>
                <a:close/>
                <a:moveTo>
                  <a:pt x="1719310" y="4455244"/>
                </a:moveTo>
                <a:cubicBezTo>
                  <a:pt x="1718536" y="4455553"/>
                  <a:pt x="1718536" y="4455450"/>
                  <a:pt x="1718536" y="4455450"/>
                </a:cubicBezTo>
                <a:cubicBezTo>
                  <a:pt x="1717916" y="4456586"/>
                  <a:pt x="1718690" y="4456379"/>
                  <a:pt x="1719000" y="4457206"/>
                </a:cubicBezTo>
                <a:cubicBezTo>
                  <a:pt x="1719000" y="4457206"/>
                  <a:pt x="1718690" y="4456276"/>
                  <a:pt x="1719775" y="4456896"/>
                </a:cubicBezTo>
                <a:cubicBezTo>
                  <a:pt x="1718845" y="4457102"/>
                  <a:pt x="1719155" y="4457928"/>
                  <a:pt x="1719310" y="4458754"/>
                </a:cubicBezTo>
                <a:cubicBezTo>
                  <a:pt x="1718071" y="4461026"/>
                  <a:pt x="1716057" y="4463607"/>
                  <a:pt x="1714199" y="4463401"/>
                </a:cubicBezTo>
                <a:cubicBezTo>
                  <a:pt x="1713269" y="4462884"/>
                  <a:pt x="1712804" y="4462162"/>
                  <a:pt x="1712649" y="4461336"/>
                </a:cubicBezTo>
                <a:cubicBezTo>
                  <a:pt x="1712649" y="4460613"/>
                  <a:pt x="1712804" y="4459787"/>
                  <a:pt x="1713115" y="4459271"/>
                </a:cubicBezTo>
                <a:cubicBezTo>
                  <a:pt x="1713269" y="4457825"/>
                  <a:pt x="1714043" y="4456896"/>
                  <a:pt x="1715283" y="4456173"/>
                </a:cubicBezTo>
                <a:cubicBezTo>
                  <a:pt x="1716522" y="4455553"/>
                  <a:pt x="1718071" y="4455244"/>
                  <a:pt x="1719310" y="4455244"/>
                </a:cubicBezTo>
                <a:close/>
                <a:moveTo>
                  <a:pt x="1375595" y="4454934"/>
                </a:moveTo>
                <a:cubicBezTo>
                  <a:pt x="1377454" y="4454727"/>
                  <a:pt x="1377919" y="4457412"/>
                  <a:pt x="1378538" y="4458858"/>
                </a:cubicBezTo>
                <a:cubicBezTo>
                  <a:pt x="1380552" y="4458651"/>
                  <a:pt x="1378538" y="4462781"/>
                  <a:pt x="1380552" y="4462575"/>
                </a:cubicBezTo>
                <a:cubicBezTo>
                  <a:pt x="1379003" y="4467325"/>
                  <a:pt x="1384734" y="4468667"/>
                  <a:pt x="1383650" y="4476102"/>
                </a:cubicBezTo>
                <a:cubicBezTo>
                  <a:pt x="1382101" y="4474656"/>
                  <a:pt x="1381017" y="4473107"/>
                  <a:pt x="1380087" y="4471558"/>
                </a:cubicBezTo>
                <a:cubicBezTo>
                  <a:pt x="1377454" y="4466911"/>
                  <a:pt x="1376989" y="4462265"/>
                  <a:pt x="1374047" y="4459683"/>
                </a:cubicBezTo>
                <a:cubicBezTo>
                  <a:pt x="1374047" y="4459683"/>
                  <a:pt x="1374047" y="4459683"/>
                  <a:pt x="1374821" y="4457309"/>
                </a:cubicBezTo>
                <a:cubicBezTo>
                  <a:pt x="1374511" y="4456586"/>
                  <a:pt x="1374511" y="4456483"/>
                  <a:pt x="1374511" y="4456483"/>
                </a:cubicBezTo>
                <a:cubicBezTo>
                  <a:pt x="1374047" y="4455760"/>
                  <a:pt x="1375595" y="4454934"/>
                  <a:pt x="1375595" y="4454934"/>
                </a:cubicBezTo>
                <a:close/>
                <a:moveTo>
                  <a:pt x="5348269" y="4454926"/>
                </a:moveTo>
                <a:cubicBezTo>
                  <a:pt x="5350147" y="4454203"/>
                  <a:pt x="5352470" y="4454591"/>
                  <a:pt x="5353477" y="4455881"/>
                </a:cubicBezTo>
                <a:cubicBezTo>
                  <a:pt x="5353632" y="4459185"/>
                  <a:pt x="5350689" y="4461354"/>
                  <a:pt x="5348211" y="4461354"/>
                </a:cubicBezTo>
                <a:cubicBezTo>
                  <a:pt x="5347282" y="4461354"/>
                  <a:pt x="5346507" y="4461147"/>
                  <a:pt x="5345732" y="4460631"/>
                </a:cubicBezTo>
                <a:cubicBezTo>
                  <a:pt x="5344958" y="4457481"/>
                  <a:pt x="5346391" y="4455649"/>
                  <a:pt x="5348269" y="4454926"/>
                </a:cubicBezTo>
                <a:close/>
                <a:moveTo>
                  <a:pt x="1107934" y="4454108"/>
                </a:moveTo>
                <a:cubicBezTo>
                  <a:pt x="1108244" y="4454108"/>
                  <a:pt x="1108554" y="4454211"/>
                  <a:pt x="1108554" y="4454211"/>
                </a:cubicBezTo>
                <a:cubicBezTo>
                  <a:pt x="1109483" y="4454727"/>
                  <a:pt x="1110568" y="4455244"/>
                  <a:pt x="1109948" y="4456379"/>
                </a:cubicBezTo>
                <a:cubicBezTo>
                  <a:pt x="1109948" y="4456379"/>
                  <a:pt x="1109793" y="4456379"/>
                  <a:pt x="1109328" y="4456379"/>
                </a:cubicBezTo>
                <a:cubicBezTo>
                  <a:pt x="1108864" y="4456276"/>
                  <a:pt x="1108089" y="4456070"/>
                  <a:pt x="1107160" y="4455553"/>
                </a:cubicBezTo>
                <a:cubicBezTo>
                  <a:pt x="1107934" y="4455244"/>
                  <a:pt x="1107625" y="4454417"/>
                  <a:pt x="1107625" y="4454417"/>
                </a:cubicBezTo>
                <a:cubicBezTo>
                  <a:pt x="1107625" y="4454417"/>
                  <a:pt x="1107780" y="4454521"/>
                  <a:pt x="1106850" y="4454831"/>
                </a:cubicBezTo>
                <a:cubicBezTo>
                  <a:pt x="1107160" y="4454211"/>
                  <a:pt x="1107625" y="4454108"/>
                  <a:pt x="1107934" y="4454108"/>
                </a:cubicBezTo>
                <a:close/>
                <a:moveTo>
                  <a:pt x="1600969" y="4453798"/>
                </a:moveTo>
                <a:cubicBezTo>
                  <a:pt x="1602673" y="4453488"/>
                  <a:pt x="1604377" y="4454521"/>
                  <a:pt x="1606081" y="4456070"/>
                </a:cubicBezTo>
                <a:lnTo>
                  <a:pt x="1608559" y="4458961"/>
                </a:lnTo>
                <a:lnTo>
                  <a:pt x="1608869" y="4458548"/>
                </a:lnTo>
                <a:cubicBezTo>
                  <a:pt x="1609489" y="4458135"/>
                  <a:pt x="1610263" y="4458032"/>
                  <a:pt x="1611347" y="4458444"/>
                </a:cubicBezTo>
                <a:cubicBezTo>
                  <a:pt x="1614290" y="4458858"/>
                  <a:pt x="1615220" y="4461233"/>
                  <a:pt x="1615375" y="4463917"/>
                </a:cubicBezTo>
                <a:cubicBezTo>
                  <a:pt x="1616769" y="4465156"/>
                  <a:pt x="1618627" y="4465260"/>
                  <a:pt x="1618473" y="4467221"/>
                </a:cubicBezTo>
                <a:cubicBezTo>
                  <a:pt x="1615994" y="4465569"/>
                  <a:pt x="1614910" y="4465156"/>
                  <a:pt x="1613516" y="4463917"/>
                </a:cubicBezTo>
                <a:cubicBezTo>
                  <a:pt x="1612896" y="4464330"/>
                  <a:pt x="1611967" y="4464640"/>
                  <a:pt x="1610883" y="4464227"/>
                </a:cubicBezTo>
                <a:lnTo>
                  <a:pt x="1609643" y="4463091"/>
                </a:lnTo>
                <a:lnTo>
                  <a:pt x="1608869" y="4463814"/>
                </a:lnTo>
                <a:cubicBezTo>
                  <a:pt x="1608250" y="4464434"/>
                  <a:pt x="1607630" y="4465053"/>
                  <a:pt x="1607165" y="4465879"/>
                </a:cubicBezTo>
                <a:cubicBezTo>
                  <a:pt x="1604222" y="4461645"/>
                  <a:pt x="1600659" y="4460303"/>
                  <a:pt x="1600350" y="4457412"/>
                </a:cubicBezTo>
                <a:cubicBezTo>
                  <a:pt x="1600195" y="4456379"/>
                  <a:pt x="1600350" y="4455244"/>
                  <a:pt x="1600969" y="4453798"/>
                </a:cubicBezTo>
                <a:close/>
                <a:moveTo>
                  <a:pt x="1098951" y="4453798"/>
                </a:moveTo>
                <a:cubicBezTo>
                  <a:pt x="1100809" y="4453695"/>
                  <a:pt x="1101584" y="4456379"/>
                  <a:pt x="1102513" y="4457825"/>
                </a:cubicBezTo>
                <a:cubicBezTo>
                  <a:pt x="1104372" y="4457618"/>
                  <a:pt x="1103132" y="4461645"/>
                  <a:pt x="1104991" y="4461542"/>
                </a:cubicBezTo>
                <a:cubicBezTo>
                  <a:pt x="1104217" y="4466292"/>
                  <a:pt x="1110103" y="4467738"/>
                  <a:pt x="1110103" y="4475275"/>
                </a:cubicBezTo>
                <a:lnTo>
                  <a:pt x="1106230" y="4470835"/>
                </a:lnTo>
                <a:lnTo>
                  <a:pt x="1104062" y="4471351"/>
                </a:lnTo>
                <a:cubicBezTo>
                  <a:pt x="1102978" y="4470939"/>
                  <a:pt x="1102048" y="4469906"/>
                  <a:pt x="1100809" y="4468461"/>
                </a:cubicBezTo>
                <a:cubicBezTo>
                  <a:pt x="1102048" y="4467841"/>
                  <a:pt x="1103132" y="4467738"/>
                  <a:pt x="1104217" y="4468150"/>
                </a:cubicBezTo>
                <a:lnTo>
                  <a:pt x="1104681" y="4468357"/>
                </a:lnTo>
                <a:lnTo>
                  <a:pt x="1102048" y="4463814"/>
                </a:lnTo>
                <a:cubicBezTo>
                  <a:pt x="1100964" y="4461749"/>
                  <a:pt x="1099725" y="4459890"/>
                  <a:pt x="1098176" y="4458548"/>
                </a:cubicBezTo>
                <a:cubicBezTo>
                  <a:pt x="1098176" y="4458548"/>
                  <a:pt x="1098176" y="4458548"/>
                  <a:pt x="1098485" y="4456173"/>
                </a:cubicBezTo>
                <a:cubicBezTo>
                  <a:pt x="1098021" y="4455450"/>
                  <a:pt x="1098021" y="4455450"/>
                  <a:pt x="1098021" y="4455450"/>
                </a:cubicBezTo>
                <a:cubicBezTo>
                  <a:pt x="1097556" y="4454727"/>
                  <a:pt x="1098951" y="4453798"/>
                  <a:pt x="1098951" y="4453798"/>
                </a:cubicBezTo>
                <a:close/>
                <a:moveTo>
                  <a:pt x="5748153" y="4453093"/>
                </a:moveTo>
                <a:cubicBezTo>
                  <a:pt x="5750012" y="4450512"/>
                  <a:pt x="5752335" y="4452267"/>
                  <a:pt x="5755588" y="4453197"/>
                </a:cubicBezTo>
                <a:cubicBezTo>
                  <a:pt x="5754659" y="4454023"/>
                  <a:pt x="5755433" y="4454848"/>
                  <a:pt x="5756053" y="4455778"/>
                </a:cubicBezTo>
                <a:cubicBezTo>
                  <a:pt x="5754814" y="4457017"/>
                  <a:pt x="5752800" y="4459288"/>
                  <a:pt x="5750786" y="4458875"/>
                </a:cubicBezTo>
                <a:cubicBezTo>
                  <a:pt x="5750012" y="4458669"/>
                  <a:pt x="5749237" y="4458256"/>
                  <a:pt x="5748463" y="4457327"/>
                </a:cubicBezTo>
                <a:cubicBezTo>
                  <a:pt x="5748153" y="4457327"/>
                  <a:pt x="5747843" y="4456501"/>
                  <a:pt x="5747688" y="4455468"/>
                </a:cubicBezTo>
                <a:cubicBezTo>
                  <a:pt x="5747533" y="4454539"/>
                  <a:pt x="5747688" y="4453506"/>
                  <a:pt x="5748153" y="4453093"/>
                </a:cubicBezTo>
                <a:close/>
                <a:moveTo>
                  <a:pt x="5904908" y="4451957"/>
                </a:moveTo>
                <a:cubicBezTo>
                  <a:pt x="5906612" y="4452887"/>
                  <a:pt x="5907542" y="4452887"/>
                  <a:pt x="5909090" y="4452164"/>
                </a:cubicBezTo>
                <a:cubicBezTo>
                  <a:pt x="5909090" y="4452164"/>
                  <a:pt x="5909090" y="4452164"/>
                  <a:pt x="5910794" y="4453919"/>
                </a:cubicBezTo>
                <a:lnTo>
                  <a:pt x="5910949" y="4454745"/>
                </a:lnTo>
                <a:cubicBezTo>
                  <a:pt x="5910794" y="4455158"/>
                  <a:pt x="5910020" y="4455365"/>
                  <a:pt x="5909090" y="4455468"/>
                </a:cubicBezTo>
                <a:cubicBezTo>
                  <a:pt x="5906302" y="4455571"/>
                  <a:pt x="5901500" y="4454332"/>
                  <a:pt x="5900881" y="4454332"/>
                </a:cubicBezTo>
                <a:cubicBezTo>
                  <a:pt x="5900881" y="4454332"/>
                  <a:pt x="5899951" y="4454229"/>
                  <a:pt x="5899177" y="4454229"/>
                </a:cubicBezTo>
                <a:cubicBezTo>
                  <a:pt x="5898248" y="4453300"/>
                  <a:pt x="5898248" y="4452474"/>
                  <a:pt x="5897473" y="4452474"/>
                </a:cubicBezTo>
                <a:cubicBezTo>
                  <a:pt x="5899797" y="4449996"/>
                  <a:pt x="5902430" y="4450925"/>
                  <a:pt x="5904908" y="4451957"/>
                </a:cubicBezTo>
                <a:close/>
                <a:moveTo>
                  <a:pt x="1170667" y="4451939"/>
                </a:moveTo>
                <a:cubicBezTo>
                  <a:pt x="1170667" y="4451939"/>
                  <a:pt x="1170513" y="4452869"/>
                  <a:pt x="1168809" y="4454314"/>
                </a:cubicBezTo>
                <a:cubicBezTo>
                  <a:pt x="1168809" y="4453385"/>
                  <a:pt x="1168034" y="4453282"/>
                  <a:pt x="1168034" y="4453282"/>
                </a:cubicBezTo>
                <a:cubicBezTo>
                  <a:pt x="1168034" y="4453282"/>
                  <a:pt x="1168034" y="4453282"/>
                  <a:pt x="1167879" y="4454108"/>
                </a:cubicBezTo>
                <a:cubicBezTo>
                  <a:pt x="1167569" y="4453695"/>
                  <a:pt x="1167569" y="4453178"/>
                  <a:pt x="1167724" y="4452869"/>
                </a:cubicBezTo>
                <a:cubicBezTo>
                  <a:pt x="1167879" y="4452559"/>
                  <a:pt x="1168034" y="4452352"/>
                  <a:pt x="1168034" y="4452352"/>
                </a:cubicBezTo>
                <a:cubicBezTo>
                  <a:pt x="1168964" y="4451630"/>
                  <a:pt x="1169893" y="4450907"/>
                  <a:pt x="1170667" y="4451939"/>
                </a:cubicBezTo>
                <a:close/>
                <a:moveTo>
                  <a:pt x="1319833" y="4451320"/>
                </a:moveTo>
                <a:cubicBezTo>
                  <a:pt x="1317974" y="4452662"/>
                  <a:pt x="1317819" y="4453798"/>
                  <a:pt x="1317199" y="4453075"/>
                </a:cubicBezTo>
                <a:cubicBezTo>
                  <a:pt x="1316580" y="4453488"/>
                  <a:pt x="1316115" y="4452766"/>
                  <a:pt x="1316734" y="4452352"/>
                </a:cubicBezTo>
                <a:cubicBezTo>
                  <a:pt x="1316424" y="4450391"/>
                  <a:pt x="1318748" y="4451010"/>
                  <a:pt x="1319833" y="4451320"/>
                </a:cubicBezTo>
                <a:close/>
                <a:moveTo>
                  <a:pt x="1455677" y="4451216"/>
                </a:moveTo>
                <a:lnTo>
                  <a:pt x="1455832" y="4452766"/>
                </a:lnTo>
                <a:lnTo>
                  <a:pt x="1458000" y="4451836"/>
                </a:lnTo>
                <a:lnTo>
                  <a:pt x="1458465" y="4452043"/>
                </a:lnTo>
                <a:lnTo>
                  <a:pt x="1458774" y="4451939"/>
                </a:lnTo>
                <a:lnTo>
                  <a:pt x="1458929" y="4452043"/>
                </a:lnTo>
                <a:lnTo>
                  <a:pt x="1458929" y="4451939"/>
                </a:lnTo>
                <a:lnTo>
                  <a:pt x="1458774" y="4451939"/>
                </a:lnTo>
                <a:lnTo>
                  <a:pt x="1458310" y="4451733"/>
                </a:lnTo>
                <a:lnTo>
                  <a:pt x="1458000" y="4451836"/>
                </a:lnTo>
                <a:close/>
                <a:moveTo>
                  <a:pt x="1114440" y="4450804"/>
                </a:moveTo>
                <a:lnTo>
                  <a:pt x="1114595" y="4451216"/>
                </a:lnTo>
                <a:lnTo>
                  <a:pt x="1116144" y="4451010"/>
                </a:lnTo>
                <a:close/>
                <a:moveTo>
                  <a:pt x="816420" y="4450701"/>
                </a:moveTo>
                <a:cubicBezTo>
                  <a:pt x="818279" y="4450701"/>
                  <a:pt x="817504" y="4451113"/>
                  <a:pt x="818434" y="4451526"/>
                </a:cubicBezTo>
                <a:cubicBezTo>
                  <a:pt x="819517" y="4451939"/>
                  <a:pt x="821531" y="4451939"/>
                  <a:pt x="822306" y="4451526"/>
                </a:cubicBezTo>
                <a:cubicBezTo>
                  <a:pt x="821222" y="4455863"/>
                  <a:pt x="824009" y="4456276"/>
                  <a:pt x="821996" y="4462884"/>
                </a:cubicBezTo>
                <a:cubicBezTo>
                  <a:pt x="820292" y="4469390"/>
                  <a:pt x="816575" y="4471661"/>
                  <a:pt x="813012" y="4471971"/>
                </a:cubicBezTo>
                <a:cubicBezTo>
                  <a:pt x="811927" y="4472178"/>
                  <a:pt x="810689" y="4472074"/>
                  <a:pt x="809759" y="4471868"/>
                </a:cubicBezTo>
                <a:cubicBezTo>
                  <a:pt x="810068" y="4470939"/>
                  <a:pt x="804647" y="4469803"/>
                  <a:pt x="802944" y="4465156"/>
                </a:cubicBezTo>
                <a:cubicBezTo>
                  <a:pt x="802479" y="4463607"/>
                  <a:pt x="802324" y="4461645"/>
                  <a:pt x="803098" y="4459271"/>
                </a:cubicBezTo>
                <a:cubicBezTo>
                  <a:pt x="804647" y="4453798"/>
                  <a:pt x="808055" y="4448326"/>
                  <a:pt x="816420" y="4450701"/>
                </a:cubicBezTo>
                <a:close/>
                <a:moveTo>
                  <a:pt x="5420083" y="4450099"/>
                </a:moveTo>
                <a:cubicBezTo>
                  <a:pt x="5421631" y="4451028"/>
                  <a:pt x="5422406" y="4451854"/>
                  <a:pt x="5424110" y="4452783"/>
                </a:cubicBezTo>
                <a:cubicBezTo>
                  <a:pt x="5423800" y="4455365"/>
                  <a:pt x="5426124" y="4458049"/>
                  <a:pt x="5422096" y="4463212"/>
                </a:cubicBezTo>
                <a:cubicBezTo>
                  <a:pt x="5417450" y="4468272"/>
                  <a:pt x="5412803" y="4463935"/>
                  <a:pt x="5412803" y="4464761"/>
                </a:cubicBezTo>
                <a:cubicBezTo>
                  <a:pt x="5411873" y="4465690"/>
                  <a:pt x="5411873" y="4465690"/>
                  <a:pt x="5411718" y="4466516"/>
                </a:cubicBezTo>
                <a:cubicBezTo>
                  <a:pt x="5410944" y="4466516"/>
                  <a:pt x="5409085" y="4467239"/>
                  <a:pt x="5408156" y="4468169"/>
                </a:cubicBezTo>
                <a:cubicBezTo>
                  <a:pt x="5408310" y="4467239"/>
                  <a:pt x="5408310" y="4466413"/>
                  <a:pt x="5407536" y="4466413"/>
                </a:cubicBezTo>
                <a:cubicBezTo>
                  <a:pt x="5409395" y="4464658"/>
                  <a:pt x="5410169" y="4464761"/>
                  <a:pt x="5411099" y="4463935"/>
                </a:cubicBezTo>
                <a:cubicBezTo>
                  <a:pt x="5410324" y="4463832"/>
                  <a:pt x="5411254" y="4463006"/>
                  <a:pt x="5411254" y="4463006"/>
                </a:cubicBezTo>
                <a:cubicBezTo>
                  <a:pt x="5411254" y="4463006"/>
                  <a:pt x="5411254" y="4463006"/>
                  <a:pt x="5409705" y="4461250"/>
                </a:cubicBezTo>
                <a:cubicBezTo>
                  <a:pt x="5409705" y="4461250"/>
                  <a:pt x="5406762" y="4456913"/>
                  <a:pt x="5410634" y="4452577"/>
                </a:cubicBezTo>
                <a:cubicBezTo>
                  <a:pt x="5411408" y="4453506"/>
                  <a:pt x="5416985" y="4448343"/>
                  <a:pt x="5420083" y="4450099"/>
                </a:cubicBezTo>
                <a:close/>
                <a:moveTo>
                  <a:pt x="6274181" y="4449996"/>
                </a:moveTo>
                <a:lnTo>
                  <a:pt x="6273097" y="4450099"/>
                </a:lnTo>
                <a:lnTo>
                  <a:pt x="6272167" y="4450305"/>
                </a:lnTo>
                <a:lnTo>
                  <a:pt x="6271703" y="4450099"/>
                </a:lnTo>
                <a:lnTo>
                  <a:pt x="6269689" y="4450305"/>
                </a:lnTo>
                <a:cubicBezTo>
                  <a:pt x="6266746" y="4454642"/>
                  <a:pt x="6275885" y="4453609"/>
                  <a:pt x="6270463" y="4456501"/>
                </a:cubicBezTo>
                <a:cubicBezTo>
                  <a:pt x="6274801" y="4458669"/>
                  <a:pt x="6278363" y="4461147"/>
                  <a:pt x="6281771" y="4463729"/>
                </a:cubicBezTo>
                <a:cubicBezTo>
                  <a:pt x="6284404" y="4466826"/>
                  <a:pt x="6287812" y="4469408"/>
                  <a:pt x="6291374" y="4471989"/>
                </a:cubicBezTo>
                <a:cubicBezTo>
                  <a:pt x="6289980" y="4473744"/>
                  <a:pt x="6285798" y="4471473"/>
                  <a:pt x="6281461" y="4469201"/>
                </a:cubicBezTo>
                <a:lnTo>
                  <a:pt x="6277124" y="4467446"/>
                </a:lnTo>
                <a:lnTo>
                  <a:pt x="6278208" y="4470131"/>
                </a:lnTo>
                <a:lnTo>
                  <a:pt x="6277589" y="4472608"/>
                </a:lnTo>
                <a:lnTo>
                  <a:pt x="6282545" y="4476119"/>
                </a:lnTo>
                <a:cubicBezTo>
                  <a:pt x="6287657" y="4478391"/>
                  <a:pt x="6293853" y="4479527"/>
                  <a:pt x="6298654" y="4480249"/>
                </a:cubicBezTo>
                <a:cubicBezTo>
                  <a:pt x="6295247" y="4483760"/>
                  <a:pt x="6290755" y="4483864"/>
                  <a:pt x="6285333" y="4480766"/>
                </a:cubicBezTo>
                <a:cubicBezTo>
                  <a:pt x="6284869" y="4482108"/>
                  <a:pt x="6286263" y="4482418"/>
                  <a:pt x="6287657" y="4482831"/>
                </a:cubicBezTo>
                <a:cubicBezTo>
                  <a:pt x="6286263" y="4484690"/>
                  <a:pt x="6284559" y="4483450"/>
                  <a:pt x="6283165" y="4483037"/>
                </a:cubicBezTo>
                <a:cubicBezTo>
                  <a:pt x="6289051" y="4484896"/>
                  <a:pt x="6292614" y="4487477"/>
                  <a:pt x="6296021" y="4490059"/>
                </a:cubicBezTo>
                <a:cubicBezTo>
                  <a:pt x="6297725" y="4491298"/>
                  <a:pt x="6299584" y="4492537"/>
                  <a:pt x="6301907" y="4494086"/>
                </a:cubicBezTo>
                <a:cubicBezTo>
                  <a:pt x="6304231" y="4495532"/>
                  <a:pt x="6306864" y="4496358"/>
                  <a:pt x="6309962" y="4498113"/>
                </a:cubicBezTo>
                <a:cubicBezTo>
                  <a:pt x="6308568" y="4500488"/>
                  <a:pt x="6308723" y="4501933"/>
                  <a:pt x="6309807" y="4502966"/>
                </a:cubicBezTo>
                <a:lnTo>
                  <a:pt x="6314299" y="4505031"/>
                </a:lnTo>
                <a:lnTo>
                  <a:pt x="6314454" y="4504928"/>
                </a:lnTo>
                <a:lnTo>
                  <a:pt x="6313370" y="4499971"/>
                </a:lnTo>
                <a:cubicBezTo>
                  <a:pt x="6313525" y="4498009"/>
                  <a:pt x="6314454" y="4496254"/>
                  <a:pt x="6316622" y="4495222"/>
                </a:cubicBezTo>
                <a:cubicBezTo>
                  <a:pt x="6317087" y="4496564"/>
                  <a:pt x="6318017" y="4498526"/>
                  <a:pt x="6319101" y="4500798"/>
                </a:cubicBezTo>
                <a:lnTo>
                  <a:pt x="6320805" y="4504825"/>
                </a:lnTo>
                <a:lnTo>
                  <a:pt x="6322508" y="4504928"/>
                </a:lnTo>
                <a:lnTo>
                  <a:pt x="6326691" y="4505341"/>
                </a:lnTo>
                <a:lnTo>
                  <a:pt x="6326691" y="4504205"/>
                </a:lnTo>
                <a:cubicBezTo>
                  <a:pt x="6327155" y="4502346"/>
                  <a:pt x="6328240" y="4500384"/>
                  <a:pt x="6328859" y="4498216"/>
                </a:cubicBezTo>
                <a:cubicBezTo>
                  <a:pt x="6329789" y="4498216"/>
                  <a:pt x="6330718" y="4497390"/>
                  <a:pt x="6330718" y="4496461"/>
                </a:cubicBezTo>
                <a:cubicBezTo>
                  <a:pt x="6331648" y="4495635"/>
                  <a:pt x="6332577" y="4494705"/>
                  <a:pt x="6331648" y="4494705"/>
                </a:cubicBezTo>
                <a:cubicBezTo>
                  <a:pt x="6334436" y="4492124"/>
                  <a:pt x="6334590" y="4491298"/>
                  <a:pt x="6337069" y="4492227"/>
                </a:cubicBezTo>
                <a:lnTo>
                  <a:pt x="6335985" y="4495015"/>
                </a:lnTo>
                <a:lnTo>
                  <a:pt x="6336914" y="4495015"/>
                </a:lnTo>
                <a:cubicBezTo>
                  <a:pt x="6338153" y="4496977"/>
                  <a:pt x="6337998" y="4498319"/>
                  <a:pt x="6337224" y="4499145"/>
                </a:cubicBezTo>
                <a:lnTo>
                  <a:pt x="6334281" y="4500178"/>
                </a:lnTo>
                <a:lnTo>
                  <a:pt x="6333971" y="4501210"/>
                </a:lnTo>
                <a:lnTo>
                  <a:pt x="6337533" y="4501520"/>
                </a:lnTo>
                <a:cubicBezTo>
                  <a:pt x="6340631" y="4501520"/>
                  <a:pt x="6344194" y="4501417"/>
                  <a:pt x="6347757" y="4501417"/>
                </a:cubicBezTo>
                <a:cubicBezTo>
                  <a:pt x="6354572" y="4500488"/>
                  <a:pt x="6362007" y="4499868"/>
                  <a:pt x="6367584" y="4498526"/>
                </a:cubicBezTo>
                <a:lnTo>
                  <a:pt x="6368048" y="4501210"/>
                </a:lnTo>
                <a:lnTo>
                  <a:pt x="6370836" y="4498113"/>
                </a:lnTo>
                <a:cubicBezTo>
                  <a:pt x="6372695" y="4496874"/>
                  <a:pt x="6374708" y="4496358"/>
                  <a:pt x="6376258" y="4497080"/>
                </a:cubicBezTo>
                <a:lnTo>
                  <a:pt x="6380595" y="4499455"/>
                </a:lnTo>
                <a:lnTo>
                  <a:pt x="6382453" y="4499145"/>
                </a:lnTo>
                <a:lnTo>
                  <a:pt x="6383383" y="4499558"/>
                </a:lnTo>
                <a:lnTo>
                  <a:pt x="6386481" y="4493982"/>
                </a:lnTo>
                <a:cubicBezTo>
                  <a:pt x="6388030" y="4491401"/>
                  <a:pt x="6389579" y="4489336"/>
                  <a:pt x="6390818" y="4489233"/>
                </a:cubicBezTo>
                <a:cubicBezTo>
                  <a:pt x="6391128" y="4490059"/>
                  <a:pt x="6391437" y="4490885"/>
                  <a:pt x="6390818" y="4492021"/>
                </a:cubicBezTo>
                <a:cubicBezTo>
                  <a:pt x="6390198" y="4493157"/>
                  <a:pt x="6390043" y="4492331"/>
                  <a:pt x="6390353" y="4493157"/>
                </a:cubicBezTo>
                <a:cubicBezTo>
                  <a:pt x="6389733" y="4494292"/>
                  <a:pt x="6390508" y="4493982"/>
                  <a:pt x="6390508" y="4493982"/>
                </a:cubicBezTo>
                <a:cubicBezTo>
                  <a:pt x="6390508" y="4493982"/>
                  <a:pt x="6389733" y="4494292"/>
                  <a:pt x="6389733" y="4494292"/>
                </a:cubicBezTo>
                <a:cubicBezTo>
                  <a:pt x="6389733" y="4494292"/>
                  <a:pt x="6389733" y="4494292"/>
                  <a:pt x="6388649" y="4496564"/>
                </a:cubicBezTo>
                <a:cubicBezTo>
                  <a:pt x="6387875" y="4499662"/>
                  <a:pt x="6388030" y="4500488"/>
                  <a:pt x="6387720" y="4502449"/>
                </a:cubicBezTo>
                <a:lnTo>
                  <a:pt x="6387565" y="4502759"/>
                </a:lnTo>
                <a:lnTo>
                  <a:pt x="6387720" y="4503172"/>
                </a:lnTo>
                <a:lnTo>
                  <a:pt x="6389733" y="4501933"/>
                </a:lnTo>
                <a:lnTo>
                  <a:pt x="6390353" y="4501004"/>
                </a:lnTo>
                <a:lnTo>
                  <a:pt x="6390198" y="4501004"/>
                </a:lnTo>
                <a:cubicBezTo>
                  <a:pt x="6390508" y="4499558"/>
                  <a:pt x="6391128" y="4498113"/>
                  <a:pt x="6392676" y="4496461"/>
                </a:cubicBezTo>
                <a:cubicBezTo>
                  <a:pt x="6394380" y="4496151"/>
                  <a:pt x="6395775" y="4496358"/>
                  <a:pt x="6397169" y="4496977"/>
                </a:cubicBezTo>
                <a:lnTo>
                  <a:pt x="6397633" y="4497493"/>
                </a:lnTo>
                <a:lnTo>
                  <a:pt x="6398098" y="4489646"/>
                </a:lnTo>
                <a:cubicBezTo>
                  <a:pt x="6398873" y="4484586"/>
                  <a:pt x="6399647" y="4479114"/>
                  <a:pt x="6399182" y="4473847"/>
                </a:cubicBezTo>
                <a:cubicBezTo>
                  <a:pt x="6397633" y="4470853"/>
                  <a:pt x="6394690" y="4469717"/>
                  <a:pt x="6392522" y="4467652"/>
                </a:cubicBezTo>
                <a:lnTo>
                  <a:pt x="6390043" y="4463625"/>
                </a:lnTo>
                <a:lnTo>
                  <a:pt x="6388030" y="4463935"/>
                </a:lnTo>
                <a:lnTo>
                  <a:pt x="6385706" y="4464555"/>
                </a:lnTo>
                <a:lnTo>
                  <a:pt x="6386636" y="4466413"/>
                </a:lnTo>
                <a:cubicBezTo>
                  <a:pt x="6386945" y="4467446"/>
                  <a:pt x="6386791" y="4468272"/>
                  <a:pt x="6386326" y="4468685"/>
                </a:cubicBezTo>
                <a:cubicBezTo>
                  <a:pt x="6384932" y="4470027"/>
                  <a:pt x="6383538" y="4471266"/>
                  <a:pt x="6381989" y="4470750"/>
                </a:cubicBezTo>
                <a:cubicBezTo>
                  <a:pt x="6381524" y="4470543"/>
                  <a:pt x="6381059" y="4470131"/>
                  <a:pt x="6380440" y="4469511"/>
                </a:cubicBezTo>
                <a:cubicBezTo>
                  <a:pt x="6380440" y="4469511"/>
                  <a:pt x="6380440" y="4469408"/>
                  <a:pt x="6380595" y="4468581"/>
                </a:cubicBezTo>
                <a:lnTo>
                  <a:pt x="6380750" y="4466207"/>
                </a:lnTo>
                <a:lnTo>
                  <a:pt x="6379201" y="4466723"/>
                </a:lnTo>
                <a:lnTo>
                  <a:pt x="6368048" y="4465484"/>
                </a:lnTo>
                <a:lnTo>
                  <a:pt x="6361078" y="4473022"/>
                </a:lnTo>
                <a:lnTo>
                  <a:pt x="6355811" y="4478598"/>
                </a:lnTo>
                <a:lnTo>
                  <a:pt x="6355501" y="4481282"/>
                </a:lnTo>
                <a:lnTo>
                  <a:pt x="6353178" y="4481385"/>
                </a:lnTo>
                <a:lnTo>
                  <a:pt x="6351164" y="4483657"/>
                </a:lnTo>
                <a:lnTo>
                  <a:pt x="6350235" y="4483450"/>
                </a:lnTo>
                <a:lnTo>
                  <a:pt x="6350235" y="4485309"/>
                </a:lnTo>
                <a:cubicBezTo>
                  <a:pt x="6350080" y="4486032"/>
                  <a:pt x="6349770" y="4486548"/>
                  <a:pt x="6349306" y="4486858"/>
                </a:cubicBezTo>
                <a:cubicBezTo>
                  <a:pt x="6347137" y="4487994"/>
                  <a:pt x="6344814" y="4488613"/>
                  <a:pt x="6342955" y="4488613"/>
                </a:cubicBezTo>
                <a:cubicBezTo>
                  <a:pt x="6340941" y="4488716"/>
                  <a:pt x="6339547" y="4488303"/>
                  <a:pt x="6339083" y="4487271"/>
                </a:cubicBezTo>
                <a:cubicBezTo>
                  <a:pt x="6338308" y="4485722"/>
                  <a:pt x="6337533" y="4484070"/>
                  <a:pt x="6337224" y="4482624"/>
                </a:cubicBezTo>
                <a:lnTo>
                  <a:pt x="6337224" y="4482418"/>
                </a:lnTo>
                <a:lnTo>
                  <a:pt x="6332886" y="4482624"/>
                </a:lnTo>
                <a:cubicBezTo>
                  <a:pt x="6326381" y="4482728"/>
                  <a:pt x="6320185" y="4482108"/>
                  <a:pt x="6315538" y="4477048"/>
                </a:cubicBezTo>
                <a:cubicBezTo>
                  <a:pt x="6314609" y="4471473"/>
                  <a:pt x="6312595" y="4468272"/>
                  <a:pt x="6310427" y="4465587"/>
                </a:cubicBezTo>
                <a:lnTo>
                  <a:pt x="6306554" y="4460631"/>
                </a:lnTo>
                <a:lnTo>
                  <a:pt x="6302217" y="4460321"/>
                </a:lnTo>
                <a:cubicBezTo>
                  <a:pt x="6300823" y="4458359"/>
                  <a:pt x="6302372" y="4458049"/>
                  <a:pt x="6302992" y="4455984"/>
                </a:cubicBezTo>
                <a:cubicBezTo>
                  <a:pt x="6300513" y="4455158"/>
                  <a:pt x="6298500" y="4456810"/>
                  <a:pt x="6298190" y="4459805"/>
                </a:cubicBezTo>
                <a:cubicBezTo>
                  <a:pt x="6297261" y="4458359"/>
                  <a:pt x="6295247" y="4457430"/>
                  <a:pt x="6292923" y="4456604"/>
                </a:cubicBezTo>
                <a:lnTo>
                  <a:pt x="6291374" y="4456191"/>
                </a:lnTo>
                <a:lnTo>
                  <a:pt x="6288431" y="4456810"/>
                </a:lnTo>
                <a:cubicBezTo>
                  <a:pt x="6287657" y="4456191"/>
                  <a:pt x="6287347" y="4455674"/>
                  <a:pt x="6287502" y="4455262"/>
                </a:cubicBezTo>
                <a:lnTo>
                  <a:pt x="6287657" y="4455055"/>
                </a:lnTo>
                <a:lnTo>
                  <a:pt x="6285643" y="4454539"/>
                </a:lnTo>
                <a:lnTo>
                  <a:pt x="6282390" y="4453093"/>
                </a:lnTo>
                <a:lnTo>
                  <a:pt x="6283010" y="4453609"/>
                </a:lnTo>
                <a:cubicBezTo>
                  <a:pt x="6279912" y="4453197"/>
                  <a:pt x="6277898" y="4450615"/>
                  <a:pt x="6274181" y="4449996"/>
                </a:cubicBezTo>
                <a:close/>
                <a:moveTo>
                  <a:pt x="1752613" y="4449771"/>
                </a:moveTo>
                <a:cubicBezTo>
                  <a:pt x="1756795" y="4449874"/>
                  <a:pt x="1761907" y="4456379"/>
                  <a:pt x="1760513" y="4459580"/>
                </a:cubicBezTo>
                <a:cubicBezTo>
                  <a:pt x="1756950" y="4463607"/>
                  <a:pt x="1753232" y="4464227"/>
                  <a:pt x="1750754" y="4463091"/>
                </a:cubicBezTo>
                <a:lnTo>
                  <a:pt x="1749979" y="4462265"/>
                </a:lnTo>
                <a:lnTo>
                  <a:pt x="1749205" y="4462884"/>
                </a:lnTo>
                <a:cubicBezTo>
                  <a:pt x="1747501" y="4463401"/>
                  <a:pt x="1745023" y="4463401"/>
                  <a:pt x="1742855" y="4463917"/>
                </a:cubicBezTo>
                <a:cubicBezTo>
                  <a:pt x="1742699" y="4461129"/>
                  <a:pt x="1743474" y="4459374"/>
                  <a:pt x="1745023" y="4458444"/>
                </a:cubicBezTo>
                <a:lnTo>
                  <a:pt x="1747966" y="4458238"/>
                </a:lnTo>
                <a:lnTo>
                  <a:pt x="1747811" y="4455863"/>
                </a:lnTo>
                <a:cubicBezTo>
                  <a:pt x="1748276" y="4453695"/>
                  <a:pt x="1749825" y="4451630"/>
                  <a:pt x="1752613" y="4449771"/>
                </a:cubicBezTo>
                <a:close/>
                <a:moveTo>
                  <a:pt x="873422" y="4449048"/>
                </a:moveTo>
                <a:cubicBezTo>
                  <a:pt x="874815" y="4449358"/>
                  <a:pt x="875900" y="4450287"/>
                  <a:pt x="876519" y="4451939"/>
                </a:cubicBezTo>
                <a:cubicBezTo>
                  <a:pt x="875590" y="4457309"/>
                  <a:pt x="870633" y="4455037"/>
                  <a:pt x="865676" y="4456689"/>
                </a:cubicBezTo>
                <a:cubicBezTo>
                  <a:pt x="864282" y="4452146"/>
                  <a:pt x="869704" y="4448016"/>
                  <a:pt x="873422" y="4449048"/>
                </a:cubicBezTo>
                <a:close/>
                <a:moveTo>
                  <a:pt x="5873716" y="4447982"/>
                </a:moveTo>
                <a:cubicBezTo>
                  <a:pt x="5874858" y="4448860"/>
                  <a:pt x="5875168" y="4450667"/>
                  <a:pt x="5875788" y="4452680"/>
                </a:cubicBezTo>
                <a:cubicBezTo>
                  <a:pt x="5874239" y="4453712"/>
                  <a:pt x="5873464" y="4456397"/>
                  <a:pt x="5871141" y="4457017"/>
                </a:cubicBezTo>
                <a:cubicBezTo>
                  <a:pt x="5871141" y="4457017"/>
                  <a:pt x="5870831" y="4457120"/>
                  <a:pt x="5870366" y="4457017"/>
                </a:cubicBezTo>
                <a:cubicBezTo>
                  <a:pt x="5869902" y="4457017"/>
                  <a:pt x="5869282" y="4456913"/>
                  <a:pt x="5868508" y="4456501"/>
                </a:cubicBezTo>
                <a:cubicBezTo>
                  <a:pt x="5865565" y="4456604"/>
                  <a:pt x="5864945" y="4453093"/>
                  <a:pt x="5864945" y="4453093"/>
                </a:cubicBezTo>
                <a:cubicBezTo>
                  <a:pt x="5864945" y="4453093"/>
                  <a:pt x="5864945" y="4453093"/>
                  <a:pt x="5864480" y="4453816"/>
                </a:cubicBezTo>
                <a:cubicBezTo>
                  <a:pt x="5865409" y="4452267"/>
                  <a:pt x="5865720" y="4450305"/>
                  <a:pt x="5866649" y="4448860"/>
                </a:cubicBezTo>
                <a:cubicBezTo>
                  <a:pt x="5870599" y="4447156"/>
                  <a:pt x="5872574" y="4447104"/>
                  <a:pt x="5873716" y="4447982"/>
                </a:cubicBezTo>
                <a:close/>
                <a:moveTo>
                  <a:pt x="1596942" y="4447603"/>
                </a:moveTo>
                <a:cubicBezTo>
                  <a:pt x="1594929" y="4448842"/>
                  <a:pt x="1594618" y="4450081"/>
                  <a:pt x="1594154" y="4449255"/>
                </a:cubicBezTo>
                <a:cubicBezTo>
                  <a:pt x="1593534" y="4449771"/>
                  <a:pt x="1593069" y="4448945"/>
                  <a:pt x="1593844" y="4448532"/>
                </a:cubicBezTo>
                <a:cubicBezTo>
                  <a:pt x="1593689" y="4446570"/>
                  <a:pt x="1595858" y="4447293"/>
                  <a:pt x="1596942" y="4447603"/>
                </a:cubicBezTo>
                <a:close/>
                <a:moveTo>
                  <a:pt x="915243" y="4447190"/>
                </a:moveTo>
                <a:cubicBezTo>
                  <a:pt x="914159" y="4447293"/>
                  <a:pt x="913229" y="4447603"/>
                  <a:pt x="912145" y="4448119"/>
                </a:cubicBezTo>
                <a:cubicBezTo>
                  <a:pt x="913075" y="4449771"/>
                  <a:pt x="913694" y="4451939"/>
                  <a:pt x="914004" y="4454314"/>
                </a:cubicBezTo>
                <a:lnTo>
                  <a:pt x="914004" y="4455244"/>
                </a:lnTo>
                <a:lnTo>
                  <a:pt x="915708" y="4454624"/>
                </a:lnTo>
                <a:cubicBezTo>
                  <a:pt x="916637" y="4453488"/>
                  <a:pt x="916482" y="4451939"/>
                  <a:pt x="916018" y="4449977"/>
                </a:cubicBezTo>
                <a:lnTo>
                  <a:pt x="915708" y="4447190"/>
                </a:lnTo>
                <a:close/>
                <a:moveTo>
                  <a:pt x="5493194" y="4446898"/>
                </a:moveTo>
                <a:cubicBezTo>
                  <a:pt x="5493039" y="4447724"/>
                  <a:pt x="5491955" y="4450408"/>
                  <a:pt x="5492729" y="4450408"/>
                </a:cubicBezTo>
                <a:cubicBezTo>
                  <a:pt x="5490715" y="4452370"/>
                  <a:pt x="5488237" y="4454229"/>
                  <a:pt x="5486068" y="4454332"/>
                </a:cubicBezTo>
                <a:cubicBezTo>
                  <a:pt x="5485294" y="4454332"/>
                  <a:pt x="5484675" y="4454229"/>
                  <a:pt x="5484055" y="4453712"/>
                </a:cubicBezTo>
                <a:cubicBezTo>
                  <a:pt x="5482506" y="4452887"/>
                  <a:pt x="5483590" y="4451131"/>
                  <a:pt x="5485449" y="4449376"/>
                </a:cubicBezTo>
                <a:cubicBezTo>
                  <a:pt x="5488392" y="4445039"/>
                  <a:pt x="5490870" y="4444213"/>
                  <a:pt x="5493194" y="4446898"/>
                </a:cubicBezTo>
                <a:close/>
                <a:moveTo>
                  <a:pt x="1380552" y="4446673"/>
                </a:moveTo>
                <a:cubicBezTo>
                  <a:pt x="1382101" y="4446777"/>
                  <a:pt x="1382721" y="4447086"/>
                  <a:pt x="1383030" y="4447706"/>
                </a:cubicBezTo>
                <a:lnTo>
                  <a:pt x="1383030" y="4448532"/>
                </a:lnTo>
                <a:lnTo>
                  <a:pt x="1383650" y="4448842"/>
                </a:lnTo>
                <a:cubicBezTo>
                  <a:pt x="1386592" y="4451423"/>
                  <a:pt x="1388916" y="4456586"/>
                  <a:pt x="1385973" y="4461439"/>
                </a:cubicBezTo>
                <a:cubicBezTo>
                  <a:pt x="1382256" y="4459890"/>
                  <a:pt x="1380862" y="4457722"/>
                  <a:pt x="1380397" y="4455244"/>
                </a:cubicBezTo>
                <a:lnTo>
                  <a:pt x="1380707" y="4449255"/>
                </a:lnTo>
                <a:lnTo>
                  <a:pt x="1379932" y="4447086"/>
                </a:lnTo>
                <a:cubicBezTo>
                  <a:pt x="1379932" y="4447086"/>
                  <a:pt x="1380552" y="4446673"/>
                  <a:pt x="1380552" y="4446673"/>
                </a:cubicBezTo>
                <a:close/>
                <a:moveTo>
                  <a:pt x="5803916" y="4446381"/>
                </a:moveTo>
                <a:cubicBezTo>
                  <a:pt x="5804690" y="4444730"/>
                  <a:pt x="5807323" y="4448343"/>
                  <a:pt x="5808098" y="4446588"/>
                </a:cubicBezTo>
                <a:cubicBezTo>
                  <a:pt x="5811505" y="4450305"/>
                  <a:pt x="5815533" y="4446072"/>
                  <a:pt x="5821574" y="4450718"/>
                </a:cubicBezTo>
                <a:cubicBezTo>
                  <a:pt x="5819560" y="4451235"/>
                  <a:pt x="5817547" y="4451441"/>
                  <a:pt x="5815843" y="4451441"/>
                </a:cubicBezTo>
                <a:cubicBezTo>
                  <a:pt x="5810421" y="4451441"/>
                  <a:pt x="5806084" y="4449582"/>
                  <a:pt x="5802522" y="4450718"/>
                </a:cubicBezTo>
                <a:cubicBezTo>
                  <a:pt x="5802522" y="4450718"/>
                  <a:pt x="5802522" y="4450718"/>
                  <a:pt x="5800663" y="4448860"/>
                </a:cubicBezTo>
                <a:cubicBezTo>
                  <a:pt x="5799888" y="4448860"/>
                  <a:pt x="5799888" y="4448860"/>
                  <a:pt x="5799888" y="4448860"/>
                </a:cubicBezTo>
                <a:cubicBezTo>
                  <a:pt x="5799114" y="4448860"/>
                  <a:pt x="5798959" y="4447001"/>
                  <a:pt x="5798959" y="4447001"/>
                </a:cubicBezTo>
                <a:cubicBezTo>
                  <a:pt x="5799734" y="4445349"/>
                  <a:pt x="5802212" y="4446278"/>
                  <a:pt x="5803916" y="4446381"/>
                </a:cubicBezTo>
                <a:close/>
                <a:moveTo>
                  <a:pt x="1197310" y="4445847"/>
                </a:moveTo>
                <a:cubicBezTo>
                  <a:pt x="1201802" y="4449048"/>
                  <a:pt x="1214193" y="4454624"/>
                  <a:pt x="1214038" y="4461542"/>
                </a:cubicBezTo>
                <a:lnTo>
                  <a:pt x="1213574" y="4463194"/>
                </a:lnTo>
                <a:lnTo>
                  <a:pt x="1215432" y="4461645"/>
                </a:lnTo>
                <a:cubicBezTo>
                  <a:pt x="1220079" y="4458341"/>
                  <a:pt x="1225501" y="4455657"/>
                  <a:pt x="1230767" y="4451010"/>
                </a:cubicBezTo>
                <a:lnTo>
                  <a:pt x="1232781" y="4452146"/>
                </a:lnTo>
                <a:lnTo>
                  <a:pt x="1232161" y="4451526"/>
                </a:lnTo>
                <a:cubicBezTo>
                  <a:pt x="1231077" y="4450597"/>
                  <a:pt x="1230302" y="4449771"/>
                  <a:pt x="1229838" y="4449151"/>
                </a:cubicBezTo>
                <a:cubicBezTo>
                  <a:pt x="1231696" y="4450597"/>
                  <a:pt x="1233865" y="4451836"/>
                  <a:pt x="1236033" y="4453282"/>
                </a:cubicBezTo>
                <a:lnTo>
                  <a:pt x="1236808" y="4454108"/>
                </a:lnTo>
                <a:lnTo>
                  <a:pt x="1241300" y="4454417"/>
                </a:lnTo>
                <a:cubicBezTo>
                  <a:pt x="1244398" y="4454108"/>
                  <a:pt x="1247186" y="4452869"/>
                  <a:pt x="1250129" y="4452352"/>
                </a:cubicBezTo>
                <a:cubicBezTo>
                  <a:pt x="1253227" y="4459374"/>
                  <a:pt x="1261902" y="4463814"/>
                  <a:pt x="1267478" y="4470112"/>
                </a:cubicBezTo>
                <a:cubicBezTo>
                  <a:pt x="1266084" y="4481161"/>
                  <a:pt x="1267787" y="4490351"/>
                  <a:pt x="1266548" y="4501296"/>
                </a:cubicBezTo>
                <a:cubicBezTo>
                  <a:pt x="1261281" y="4504187"/>
                  <a:pt x="1257254" y="4509970"/>
                  <a:pt x="1252763" y="4515132"/>
                </a:cubicBezTo>
                <a:lnTo>
                  <a:pt x="1251523" y="4516371"/>
                </a:lnTo>
                <a:lnTo>
                  <a:pt x="1252143" y="4527936"/>
                </a:lnTo>
                <a:lnTo>
                  <a:pt x="1249045" y="4537229"/>
                </a:lnTo>
                <a:lnTo>
                  <a:pt x="1254156" y="4539088"/>
                </a:lnTo>
                <a:lnTo>
                  <a:pt x="1256015" y="4539810"/>
                </a:lnTo>
                <a:lnTo>
                  <a:pt x="1255860" y="4538881"/>
                </a:lnTo>
                <a:lnTo>
                  <a:pt x="1256325" y="4539914"/>
                </a:lnTo>
                <a:lnTo>
                  <a:pt x="1260972" y="4541876"/>
                </a:lnTo>
                <a:cubicBezTo>
                  <a:pt x="1265309" y="4543941"/>
                  <a:pt x="1268562" y="4546625"/>
                  <a:pt x="1267168" y="4550136"/>
                </a:cubicBezTo>
                <a:cubicBezTo>
                  <a:pt x="1265928" y="4549723"/>
                  <a:pt x="1264224" y="4549413"/>
                  <a:pt x="1262211" y="4548897"/>
                </a:cubicBezTo>
                <a:lnTo>
                  <a:pt x="1258339" y="4547761"/>
                </a:lnTo>
                <a:lnTo>
                  <a:pt x="1258184" y="4548587"/>
                </a:lnTo>
                <a:lnTo>
                  <a:pt x="1257874" y="4547658"/>
                </a:lnTo>
                <a:lnTo>
                  <a:pt x="1256325" y="4547245"/>
                </a:lnTo>
                <a:cubicBezTo>
                  <a:pt x="1252453" y="4545903"/>
                  <a:pt x="1249045" y="4543838"/>
                  <a:pt x="1248580" y="4540430"/>
                </a:cubicBezTo>
                <a:lnTo>
                  <a:pt x="1248890" y="4538158"/>
                </a:lnTo>
                <a:lnTo>
                  <a:pt x="1248425" y="4539501"/>
                </a:lnTo>
                <a:cubicBezTo>
                  <a:pt x="1241455" y="4551272"/>
                  <a:pt x="1230457" y="4549104"/>
                  <a:pt x="1218995" y="4554576"/>
                </a:cubicBezTo>
                <a:cubicBezTo>
                  <a:pt x="1211870" y="4545593"/>
                  <a:pt x="1205984" y="4547968"/>
                  <a:pt x="1200098" y="4546832"/>
                </a:cubicBezTo>
                <a:cubicBezTo>
                  <a:pt x="1198084" y="4538881"/>
                  <a:pt x="1190184" y="4531653"/>
                  <a:pt x="1185692" y="4523703"/>
                </a:cubicBezTo>
                <a:cubicBezTo>
                  <a:pt x="1188635" y="4513480"/>
                  <a:pt x="1188171" y="4503877"/>
                  <a:pt x="1191113" y="4493655"/>
                </a:cubicBezTo>
                <a:cubicBezTo>
                  <a:pt x="1193747" y="4493139"/>
                  <a:pt x="1196380" y="4491796"/>
                  <a:pt x="1198859" y="4490144"/>
                </a:cubicBezTo>
                <a:lnTo>
                  <a:pt x="1202111" y="4487769"/>
                </a:lnTo>
                <a:lnTo>
                  <a:pt x="1204125" y="4475585"/>
                </a:lnTo>
                <a:cubicBezTo>
                  <a:pt x="1205365" y="4472178"/>
                  <a:pt x="1207068" y="4469493"/>
                  <a:pt x="1208927" y="4467221"/>
                </a:cubicBezTo>
                <a:lnTo>
                  <a:pt x="1212644" y="4464124"/>
                </a:lnTo>
                <a:lnTo>
                  <a:pt x="1208307" y="4460923"/>
                </a:lnTo>
                <a:cubicBezTo>
                  <a:pt x="1202421" y="4456483"/>
                  <a:pt x="1194366" y="4450184"/>
                  <a:pt x="1197310" y="4445847"/>
                </a:cubicBezTo>
                <a:close/>
                <a:moveTo>
                  <a:pt x="1138449" y="4445331"/>
                </a:moveTo>
                <a:cubicBezTo>
                  <a:pt x="1139533" y="4446570"/>
                  <a:pt x="1141237" y="4449461"/>
                  <a:pt x="1140154" y="4451630"/>
                </a:cubicBezTo>
                <a:cubicBezTo>
                  <a:pt x="1140154" y="4451630"/>
                  <a:pt x="1139998" y="4451630"/>
                  <a:pt x="1139533" y="4452766"/>
                </a:cubicBezTo>
                <a:cubicBezTo>
                  <a:pt x="1138914" y="4450391"/>
                  <a:pt x="1137984" y="4447190"/>
                  <a:pt x="1138449" y="4445331"/>
                </a:cubicBezTo>
                <a:close/>
                <a:moveTo>
                  <a:pt x="1224726" y="4445125"/>
                </a:moveTo>
                <a:cubicBezTo>
                  <a:pt x="1225501" y="4445538"/>
                  <a:pt x="1226430" y="4446054"/>
                  <a:pt x="1226120" y="4446673"/>
                </a:cubicBezTo>
                <a:cubicBezTo>
                  <a:pt x="1225965" y="4447086"/>
                  <a:pt x="1225655" y="4447190"/>
                  <a:pt x="1225345" y="4446983"/>
                </a:cubicBezTo>
                <a:cubicBezTo>
                  <a:pt x="1225036" y="4446777"/>
                  <a:pt x="1224726" y="4446364"/>
                  <a:pt x="1224417" y="4445847"/>
                </a:cubicBezTo>
                <a:cubicBezTo>
                  <a:pt x="1224417" y="4445847"/>
                  <a:pt x="1224726" y="4445125"/>
                  <a:pt x="1224726" y="4445125"/>
                </a:cubicBezTo>
                <a:close/>
                <a:moveTo>
                  <a:pt x="1395887" y="4444711"/>
                </a:moveTo>
                <a:cubicBezTo>
                  <a:pt x="1399759" y="4447086"/>
                  <a:pt x="1400224" y="4449565"/>
                  <a:pt x="1399139" y="4452456"/>
                </a:cubicBezTo>
                <a:cubicBezTo>
                  <a:pt x="1396196" y="4453282"/>
                  <a:pt x="1394028" y="4452146"/>
                  <a:pt x="1393253" y="4450494"/>
                </a:cubicBezTo>
                <a:cubicBezTo>
                  <a:pt x="1392634" y="4448739"/>
                  <a:pt x="1393253" y="4446364"/>
                  <a:pt x="1395887" y="4444711"/>
                </a:cubicBezTo>
                <a:close/>
                <a:moveTo>
                  <a:pt x="1755091" y="4444092"/>
                </a:moveTo>
                <a:cubicBezTo>
                  <a:pt x="1755091" y="4444918"/>
                  <a:pt x="1755866" y="4445950"/>
                  <a:pt x="1755866" y="4446777"/>
                </a:cubicBezTo>
                <a:cubicBezTo>
                  <a:pt x="1755401" y="4447190"/>
                  <a:pt x="1754936" y="4447396"/>
                  <a:pt x="1754471" y="4447396"/>
                </a:cubicBezTo>
                <a:cubicBezTo>
                  <a:pt x="1754007" y="4447396"/>
                  <a:pt x="1753542" y="4447190"/>
                  <a:pt x="1753077" y="4446983"/>
                </a:cubicBezTo>
                <a:cubicBezTo>
                  <a:pt x="1752303" y="4446570"/>
                  <a:pt x="1751528" y="4445847"/>
                  <a:pt x="1751528" y="4445331"/>
                </a:cubicBezTo>
                <a:cubicBezTo>
                  <a:pt x="1752458" y="4444608"/>
                  <a:pt x="1754162" y="4444815"/>
                  <a:pt x="1755091" y="4444092"/>
                </a:cubicBezTo>
                <a:close/>
                <a:moveTo>
                  <a:pt x="885503" y="4443472"/>
                </a:moveTo>
                <a:cubicBezTo>
                  <a:pt x="884574" y="4445847"/>
                  <a:pt x="885968" y="4447086"/>
                  <a:pt x="885039" y="4449461"/>
                </a:cubicBezTo>
                <a:cubicBezTo>
                  <a:pt x="882870" y="4448635"/>
                  <a:pt x="881011" y="4448635"/>
                  <a:pt x="879927" y="4448222"/>
                </a:cubicBezTo>
                <a:cubicBezTo>
                  <a:pt x="880236" y="4444299"/>
                  <a:pt x="882251" y="4442337"/>
                  <a:pt x="885503" y="4443472"/>
                </a:cubicBezTo>
                <a:close/>
                <a:moveTo>
                  <a:pt x="5502643" y="4443387"/>
                </a:moveTo>
                <a:cubicBezTo>
                  <a:pt x="5502643" y="4444316"/>
                  <a:pt x="5503107" y="4446175"/>
                  <a:pt x="5502332" y="4446175"/>
                </a:cubicBezTo>
                <a:cubicBezTo>
                  <a:pt x="5502332" y="4447001"/>
                  <a:pt x="5500629" y="4447001"/>
                  <a:pt x="5500629" y="4447001"/>
                </a:cubicBezTo>
                <a:cubicBezTo>
                  <a:pt x="5500629" y="4447930"/>
                  <a:pt x="5500474" y="4448860"/>
                  <a:pt x="5499544" y="4449789"/>
                </a:cubicBezTo>
                <a:cubicBezTo>
                  <a:pt x="5498925" y="4448860"/>
                  <a:pt x="5498770" y="4449686"/>
                  <a:pt x="5497996" y="4449686"/>
                </a:cubicBezTo>
                <a:cubicBezTo>
                  <a:pt x="5498925" y="4448756"/>
                  <a:pt x="5499235" y="4446175"/>
                  <a:pt x="5500164" y="4444316"/>
                </a:cubicBezTo>
                <a:cubicBezTo>
                  <a:pt x="5500939" y="4444316"/>
                  <a:pt x="5501868" y="4443387"/>
                  <a:pt x="5502643" y="4443387"/>
                </a:cubicBezTo>
                <a:close/>
                <a:moveTo>
                  <a:pt x="1078969" y="4442956"/>
                </a:moveTo>
                <a:cubicBezTo>
                  <a:pt x="1079743" y="4441304"/>
                  <a:pt x="1089347" y="4448739"/>
                  <a:pt x="1091980" y="4450597"/>
                </a:cubicBezTo>
                <a:cubicBezTo>
                  <a:pt x="1091980" y="4451423"/>
                  <a:pt x="1091980" y="4451423"/>
                  <a:pt x="1091980" y="4451423"/>
                </a:cubicBezTo>
                <a:cubicBezTo>
                  <a:pt x="1091671" y="4452249"/>
                  <a:pt x="1091051" y="4452456"/>
                  <a:pt x="1090121" y="4452249"/>
                </a:cubicBezTo>
                <a:cubicBezTo>
                  <a:pt x="1089347" y="4451939"/>
                  <a:pt x="1088108" y="4451216"/>
                  <a:pt x="1086869" y="4450287"/>
                </a:cubicBezTo>
                <a:cubicBezTo>
                  <a:pt x="1084235" y="4448429"/>
                  <a:pt x="1081602" y="4444815"/>
                  <a:pt x="1080673" y="4443989"/>
                </a:cubicBezTo>
                <a:cubicBezTo>
                  <a:pt x="1079743" y="4443059"/>
                  <a:pt x="1078969" y="4442956"/>
                  <a:pt x="1078969" y="4442956"/>
                </a:cubicBezTo>
                <a:close/>
                <a:moveTo>
                  <a:pt x="1446693" y="4442853"/>
                </a:moveTo>
                <a:cubicBezTo>
                  <a:pt x="1448861" y="4443369"/>
                  <a:pt x="1451185" y="4443989"/>
                  <a:pt x="1450410" y="4446364"/>
                </a:cubicBezTo>
                <a:cubicBezTo>
                  <a:pt x="1450100" y="4447603"/>
                  <a:pt x="1449791" y="4448739"/>
                  <a:pt x="1448241" y="4449668"/>
                </a:cubicBezTo>
                <a:cubicBezTo>
                  <a:pt x="1445918" y="4449151"/>
                  <a:pt x="1445608" y="4446467"/>
                  <a:pt x="1444524" y="4446157"/>
                </a:cubicBezTo>
                <a:cubicBezTo>
                  <a:pt x="1445298" y="4445744"/>
                  <a:pt x="1446693" y="4444815"/>
                  <a:pt x="1446693" y="4442853"/>
                </a:cubicBezTo>
                <a:close/>
                <a:moveTo>
                  <a:pt x="1806362" y="4442543"/>
                </a:moveTo>
                <a:cubicBezTo>
                  <a:pt x="1813952" y="4448119"/>
                  <a:pt x="1814881" y="4464020"/>
                  <a:pt x="1806362" y="4463401"/>
                </a:cubicBezTo>
                <a:cubicBezTo>
                  <a:pt x="1805122" y="4463401"/>
                  <a:pt x="1803729" y="4462988"/>
                  <a:pt x="1802179" y="4462162"/>
                </a:cubicBezTo>
                <a:cubicBezTo>
                  <a:pt x="1801095" y="4456070"/>
                  <a:pt x="1797223" y="4445538"/>
                  <a:pt x="1806362" y="4442543"/>
                </a:cubicBezTo>
                <a:close/>
                <a:moveTo>
                  <a:pt x="866761" y="4442440"/>
                </a:moveTo>
                <a:cubicBezTo>
                  <a:pt x="866761" y="4442440"/>
                  <a:pt x="866761" y="4442440"/>
                  <a:pt x="872337" y="4445641"/>
                </a:cubicBezTo>
                <a:cubicBezTo>
                  <a:pt x="872027" y="4446054"/>
                  <a:pt x="871562" y="4446157"/>
                  <a:pt x="871098" y="4445950"/>
                </a:cubicBezTo>
                <a:cubicBezTo>
                  <a:pt x="870633" y="4445744"/>
                  <a:pt x="870169" y="4445331"/>
                  <a:pt x="869549" y="4444918"/>
                </a:cubicBezTo>
                <a:cubicBezTo>
                  <a:pt x="868620" y="4444092"/>
                  <a:pt x="867690" y="4443266"/>
                  <a:pt x="866761" y="4442440"/>
                </a:cubicBezTo>
                <a:close/>
                <a:moveTo>
                  <a:pt x="792663" y="4442349"/>
                </a:moveTo>
                <a:cubicBezTo>
                  <a:pt x="794463" y="4443085"/>
                  <a:pt x="796128" y="4444350"/>
                  <a:pt x="797367" y="4445125"/>
                </a:cubicBezTo>
                <a:lnTo>
                  <a:pt x="796593" y="4446673"/>
                </a:lnTo>
                <a:lnTo>
                  <a:pt x="798452" y="4446570"/>
                </a:lnTo>
                <a:cubicBezTo>
                  <a:pt x="799381" y="4446673"/>
                  <a:pt x="800155" y="4446880"/>
                  <a:pt x="801240" y="4447086"/>
                </a:cubicBezTo>
                <a:cubicBezTo>
                  <a:pt x="801085" y="4449048"/>
                  <a:pt x="802789" y="4451010"/>
                  <a:pt x="801859" y="4453282"/>
                </a:cubicBezTo>
                <a:cubicBezTo>
                  <a:pt x="801859" y="4453282"/>
                  <a:pt x="801394" y="4454417"/>
                  <a:pt x="799846" y="4455244"/>
                </a:cubicBezTo>
                <a:cubicBezTo>
                  <a:pt x="798142" y="4457928"/>
                  <a:pt x="794889" y="4456793"/>
                  <a:pt x="794889" y="4456793"/>
                </a:cubicBezTo>
                <a:cubicBezTo>
                  <a:pt x="794889" y="4456793"/>
                  <a:pt x="794734" y="4456793"/>
                  <a:pt x="795044" y="4457515"/>
                </a:cubicBezTo>
                <a:cubicBezTo>
                  <a:pt x="794424" y="4455967"/>
                  <a:pt x="793185" y="4454831"/>
                  <a:pt x="792565" y="4453282"/>
                </a:cubicBezTo>
                <a:lnTo>
                  <a:pt x="792720" y="4452662"/>
                </a:lnTo>
                <a:lnTo>
                  <a:pt x="792256" y="4453282"/>
                </a:lnTo>
                <a:cubicBezTo>
                  <a:pt x="790087" y="4452456"/>
                  <a:pt x="788383" y="4451216"/>
                  <a:pt x="787609" y="4449461"/>
                </a:cubicBezTo>
                <a:cubicBezTo>
                  <a:pt x="786680" y="4447706"/>
                  <a:pt x="786370" y="4445538"/>
                  <a:pt x="787144" y="4442749"/>
                </a:cubicBezTo>
                <a:cubicBezTo>
                  <a:pt x="788926" y="4441407"/>
                  <a:pt x="790862" y="4441614"/>
                  <a:pt x="792663" y="4442349"/>
                </a:cubicBezTo>
                <a:close/>
                <a:moveTo>
                  <a:pt x="5957108" y="4442045"/>
                </a:moveTo>
                <a:cubicBezTo>
                  <a:pt x="5958192" y="4442354"/>
                  <a:pt x="5959277" y="4442871"/>
                  <a:pt x="5958657" y="4444007"/>
                </a:cubicBezTo>
                <a:cubicBezTo>
                  <a:pt x="5958192" y="4445142"/>
                  <a:pt x="5958657" y="4445968"/>
                  <a:pt x="5956798" y="4445968"/>
                </a:cubicBezTo>
                <a:cubicBezTo>
                  <a:pt x="5955869" y="4446381"/>
                  <a:pt x="5954785" y="4445968"/>
                  <a:pt x="5954010" y="4446381"/>
                </a:cubicBezTo>
                <a:cubicBezTo>
                  <a:pt x="5954010" y="4446381"/>
                  <a:pt x="5953700" y="4445762"/>
                  <a:pt x="5953236" y="4445142"/>
                </a:cubicBezTo>
                <a:cubicBezTo>
                  <a:pt x="5952926" y="4444523"/>
                  <a:pt x="5952616" y="4443800"/>
                  <a:pt x="5952926" y="4443180"/>
                </a:cubicBezTo>
                <a:cubicBezTo>
                  <a:pt x="5953081" y="4441219"/>
                  <a:pt x="5956334" y="4442354"/>
                  <a:pt x="5957108" y="4442045"/>
                </a:cubicBezTo>
                <a:close/>
                <a:moveTo>
                  <a:pt x="1012518" y="4441717"/>
                </a:moveTo>
                <a:cubicBezTo>
                  <a:pt x="1018559" y="4447809"/>
                  <a:pt x="1016081" y="4459477"/>
                  <a:pt x="1013138" y="4464950"/>
                </a:cubicBezTo>
                <a:cubicBezTo>
                  <a:pt x="1011589" y="4463504"/>
                  <a:pt x="1010505" y="4461542"/>
                  <a:pt x="1009885" y="4459477"/>
                </a:cubicBezTo>
                <a:cubicBezTo>
                  <a:pt x="1007871" y="4453178"/>
                  <a:pt x="1009265" y="4445331"/>
                  <a:pt x="1012518" y="4441717"/>
                </a:cubicBezTo>
                <a:close/>
                <a:moveTo>
                  <a:pt x="1628386" y="4441510"/>
                </a:moveTo>
                <a:cubicBezTo>
                  <a:pt x="1632103" y="4442337"/>
                  <a:pt x="1638764" y="4449565"/>
                  <a:pt x="1635666" y="4455863"/>
                </a:cubicBezTo>
                <a:lnTo>
                  <a:pt x="1632878" y="4454108"/>
                </a:lnTo>
                <a:lnTo>
                  <a:pt x="1632878" y="4454314"/>
                </a:lnTo>
                <a:cubicBezTo>
                  <a:pt x="1632413" y="4454108"/>
                  <a:pt x="1632103" y="4454108"/>
                  <a:pt x="1632103" y="4453901"/>
                </a:cubicBezTo>
                <a:lnTo>
                  <a:pt x="1632103" y="4453592"/>
                </a:lnTo>
                <a:lnTo>
                  <a:pt x="1631329" y="4452972"/>
                </a:lnTo>
                <a:cubicBezTo>
                  <a:pt x="1628076" y="4449771"/>
                  <a:pt x="1628541" y="4445538"/>
                  <a:pt x="1628386" y="4441510"/>
                </a:cubicBezTo>
                <a:close/>
                <a:moveTo>
                  <a:pt x="1658436" y="4441407"/>
                </a:moveTo>
                <a:cubicBezTo>
                  <a:pt x="1661379" y="4441510"/>
                  <a:pt x="1661069" y="4442749"/>
                  <a:pt x="1660450" y="4445125"/>
                </a:cubicBezTo>
                <a:cubicBezTo>
                  <a:pt x="1659520" y="4445228"/>
                  <a:pt x="1658745" y="4445125"/>
                  <a:pt x="1658281" y="4444711"/>
                </a:cubicBezTo>
                <a:cubicBezTo>
                  <a:pt x="1657816" y="4444299"/>
                  <a:pt x="1657662" y="4443369"/>
                  <a:pt x="1657816" y="4441820"/>
                </a:cubicBezTo>
                <a:cubicBezTo>
                  <a:pt x="1657816" y="4441820"/>
                  <a:pt x="1658436" y="4441407"/>
                  <a:pt x="1658436" y="4441407"/>
                </a:cubicBezTo>
                <a:close/>
                <a:moveTo>
                  <a:pt x="897276" y="4441201"/>
                </a:moveTo>
                <a:lnTo>
                  <a:pt x="897585" y="4442130"/>
                </a:lnTo>
                <a:lnTo>
                  <a:pt x="897895" y="4442027"/>
                </a:lnTo>
                <a:lnTo>
                  <a:pt x="897585" y="4441614"/>
                </a:lnTo>
                <a:close/>
                <a:moveTo>
                  <a:pt x="1221009" y="4440994"/>
                </a:moveTo>
                <a:cubicBezTo>
                  <a:pt x="1223022" y="4443059"/>
                  <a:pt x="1223022" y="4443059"/>
                  <a:pt x="1223952" y="4445434"/>
                </a:cubicBezTo>
                <a:cubicBezTo>
                  <a:pt x="1223177" y="4445021"/>
                  <a:pt x="1221164" y="4444815"/>
                  <a:pt x="1220854" y="4443576"/>
                </a:cubicBezTo>
                <a:cubicBezTo>
                  <a:pt x="1220389" y="4442440"/>
                  <a:pt x="1220389" y="4442440"/>
                  <a:pt x="1221009" y="4440994"/>
                </a:cubicBezTo>
                <a:close/>
                <a:moveTo>
                  <a:pt x="1792576" y="4440891"/>
                </a:moveTo>
                <a:cubicBezTo>
                  <a:pt x="1793815" y="4445744"/>
                  <a:pt x="1792111" y="4448635"/>
                  <a:pt x="1788703" y="4451320"/>
                </a:cubicBezTo>
                <a:cubicBezTo>
                  <a:pt x="1787310" y="4450391"/>
                  <a:pt x="1786380" y="4446777"/>
                  <a:pt x="1785760" y="4444402"/>
                </a:cubicBezTo>
                <a:cubicBezTo>
                  <a:pt x="1787000" y="4442234"/>
                  <a:pt x="1789633" y="4440994"/>
                  <a:pt x="1792576" y="4440891"/>
                </a:cubicBezTo>
                <a:close/>
                <a:moveTo>
                  <a:pt x="1288389" y="4440788"/>
                </a:moveTo>
                <a:lnTo>
                  <a:pt x="1287924" y="4443989"/>
                </a:lnTo>
                <a:lnTo>
                  <a:pt x="1288699" y="4445538"/>
                </a:lnTo>
                <a:cubicBezTo>
                  <a:pt x="1288699" y="4446467"/>
                  <a:pt x="1288389" y="4447396"/>
                  <a:pt x="1287924" y="4448222"/>
                </a:cubicBezTo>
                <a:lnTo>
                  <a:pt x="1286375" y="4449461"/>
                </a:lnTo>
                <a:lnTo>
                  <a:pt x="1284206" y="4453592"/>
                </a:lnTo>
                <a:cubicBezTo>
                  <a:pt x="1281418" y="4457309"/>
                  <a:pt x="1277856" y="4459993"/>
                  <a:pt x="1274758" y="4460510"/>
                </a:cubicBezTo>
                <a:cubicBezTo>
                  <a:pt x="1274293" y="4453798"/>
                  <a:pt x="1279095" y="4447603"/>
                  <a:pt x="1283896" y="4443782"/>
                </a:cubicBezTo>
                <a:lnTo>
                  <a:pt x="1284671" y="4441717"/>
                </a:lnTo>
                <a:lnTo>
                  <a:pt x="1286065" y="4442337"/>
                </a:lnTo>
                <a:close/>
                <a:moveTo>
                  <a:pt x="6369597" y="4440393"/>
                </a:moveTo>
                <a:lnTo>
                  <a:pt x="6369442" y="4448446"/>
                </a:lnTo>
                <a:lnTo>
                  <a:pt x="6370681" y="4460424"/>
                </a:lnTo>
                <a:lnTo>
                  <a:pt x="6376722" y="4461457"/>
                </a:lnTo>
                <a:cubicBezTo>
                  <a:pt x="6380130" y="4461767"/>
                  <a:pt x="6383693" y="4462076"/>
                  <a:pt x="6387410" y="4461767"/>
                </a:cubicBezTo>
                <a:lnTo>
                  <a:pt x="6389888" y="4461354"/>
                </a:lnTo>
                <a:lnTo>
                  <a:pt x="6389733" y="4456191"/>
                </a:lnTo>
                <a:lnTo>
                  <a:pt x="6397943" y="4457740"/>
                </a:lnTo>
                <a:lnTo>
                  <a:pt x="6396084" y="4445349"/>
                </a:lnTo>
                <a:lnTo>
                  <a:pt x="6396859" y="4440599"/>
                </a:lnTo>
                <a:lnTo>
                  <a:pt x="6384777" y="4440599"/>
                </a:lnTo>
                <a:close/>
                <a:moveTo>
                  <a:pt x="998733" y="4439755"/>
                </a:moveTo>
                <a:cubicBezTo>
                  <a:pt x="998733" y="4439755"/>
                  <a:pt x="1000437" y="4441924"/>
                  <a:pt x="1000437" y="4441924"/>
                </a:cubicBezTo>
                <a:cubicBezTo>
                  <a:pt x="999817" y="4443059"/>
                  <a:pt x="999817" y="4443059"/>
                  <a:pt x="999507" y="4442234"/>
                </a:cubicBezTo>
                <a:cubicBezTo>
                  <a:pt x="998113" y="4443679"/>
                  <a:pt x="997339" y="4444092"/>
                  <a:pt x="996564" y="4444402"/>
                </a:cubicBezTo>
                <a:cubicBezTo>
                  <a:pt x="995480" y="4443885"/>
                  <a:pt x="994860" y="4442337"/>
                  <a:pt x="995170" y="4440375"/>
                </a:cubicBezTo>
                <a:cubicBezTo>
                  <a:pt x="996255" y="4440788"/>
                  <a:pt x="997648" y="4439239"/>
                  <a:pt x="998733" y="4439755"/>
                </a:cubicBezTo>
                <a:close/>
                <a:moveTo>
                  <a:pt x="5828234" y="4439670"/>
                </a:moveTo>
                <a:cubicBezTo>
                  <a:pt x="5833346" y="4440909"/>
                  <a:pt x="5833811" y="4444316"/>
                  <a:pt x="5831023" y="4449479"/>
                </a:cubicBezTo>
                <a:cubicBezTo>
                  <a:pt x="5829164" y="4449479"/>
                  <a:pt x="5827615" y="4450202"/>
                  <a:pt x="5824982" y="4450615"/>
                </a:cubicBezTo>
                <a:cubicBezTo>
                  <a:pt x="5824052" y="4448240"/>
                  <a:pt x="5824517" y="4442458"/>
                  <a:pt x="5828234" y="4439670"/>
                </a:cubicBezTo>
                <a:close/>
                <a:moveTo>
                  <a:pt x="1643256" y="4439445"/>
                </a:moveTo>
                <a:cubicBezTo>
                  <a:pt x="1647438" y="4441924"/>
                  <a:pt x="1648212" y="4444402"/>
                  <a:pt x="1647593" y="4447293"/>
                </a:cubicBezTo>
                <a:cubicBezTo>
                  <a:pt x="1646199" y="4447706"/>
                  <a:pt x="1644960" y="4447603"/>
                  <a:pt x="1643876" y="4447190"/>
                </a:cubicBezTo>
                <a:cubicBezTo>
                  <a:pt x="1640778" y="4445950"/>
                  <a:pt x="1639539" y="4441820"/>
                  <a:pt x="1643256" y="4439445"/>
                </a:cubicBezTo>
                <a:close/>
                <a:moveTo>
                  <a:pt x="1070450" y="4439342"/>
                </a:moveTo>
                <a:cubicBezTo>
                  <a:pt x="1071224" y="4437587"/>
                  <a:pt x="1072153" y="4440272"/>
                  <a:pt x="1072928" y="4439445"/>
                </a:cubicBezTo>
                <a:lnTo>
                  <a:pt x="1072773" y="4445847"/>
                </a:lnTo>
                <a:lnTo>
                  <a:pt x="1077885" y="4446157"/>
                </a:lnTo>
                <a:cubicBezTo>
                  <a:pt x="1080518" y="4451113"/>
                  <a:pt x="1076800" y="4457618"/>
                  <a:pt x="1072618" y="4461645"/>
                </a:cubicBezTo>
                <a:lnTo>
                  <a:pt x="1072153" y="4462059"/>
                </a:lnTo>
                <a:lnTo>
                  <a:pt x="1072618" y="4462162"/>
                </a:lnTo>
                <a:cubicBezTo>
                  <a:pt x="1073702" y="4461542"/>
                  <a:pt x="1074477" y="4458961"/>
                  <a:pt x="1076335" y="4460303"/>
                </a:cubicBezTo>
                <a:cubicBezTo>
                  <a:pt x="1080363" y="4463814"/>
                  <a:pt x="1079278" y="4469906"/>
                  <a:pt x="1078349" y="4473107"/>
                </a:cubicBezTo>
                <a:lnTo>
                  <a:pt x="1077885" y="4474966"/>
                </a:lnTo>
                <a:lnTo>
                  <a:pt x="1078814" y="4474966"/>
                </a:lnTo>
                <a:lnTo>
                  <a:pt x="1077885" y="4475792"/>
                </a:lnTo>
                <a:lnTo>
                  <a:pt x="1077885" y="4475998"/>
                </a:lnTo>
                <a:cubicBezTo>
                  <a:pt x="1077110" y="4475998"/>
                  <a:pt x="1077110" y="4476928"/>
                  <a:pt x="1078039" y="4476928"/>
                </a:cubicBezTo>
                <a:cubicBezTo>
                  <a:pt x="1077265" y="4478167"/>
                  <a:pt x="1076645" y="4479199"/>
                  <a:pt x="1076026" y="4479715"/>
                </a:cubicBezTo>
                <a:cubicBezTo>
                  <a:pt x="1075716" y="4479922"/>
                  <a:pt x="1075406" y="4480025"/>
                  <a:pt x="1075096" y="4480025"/>
                </a:cubicBezTo>
                <a:cubicBezTo>
                  <a:pt x="1074631" y="4479922"/>
                  <a:pt x="1074322" y="4479715"/>
                  <a:pt x="1073857" y="4479302"/>
                </a:cubicBezTo>
                <a:cubicBezTo>
                  <a:pt x="1072153" y="4478373"/>
                  <a:pt x="1072928" y="4476617"/>
                  <a:pt x="1071224" y="4474862"/>
                </a:cubicBezTo>
                <a:cubicBezTo>
                  <a:pt x="1067662" y="4472074"/>
                  <a:pt x="1062860" y="4478786"/>
                  <a:pt x="1055889" y="4473313"/>
                </a:cubicBezTo>
                <a:cubicBezTo>
                  <a:pt x="1057438" y="4471661"/>
                  <a:pt x="1053876" y="4467118"/>
                  <a:pt x="1056354" y="4464640"/>
                </a:cubicBezTo>
                <a:lnTo>
                  <a:pt x="1058058" y="4462884"/>
                </a:lnTo>
                <a:lnTo>
                  <a:pt x="1056044" y="4462575"/>
                </a:lnTo>
                <a:cubicBezTo>
                  <a:pt x="1057128" y="4455760"/>
                  <a:pt x="1060691" y="4448326"/>
                  <a:pt x="1061620" y="4446673"/>
                </a:cubicBezTo>
                <a:cubicBezTo>
                  <a:pt x="1061930" y="4445847"/>
                  <a:pt x="1062395" y="4445434"/>
                  <a:pt x="1063014" y="4445434"/>
                </a:cubicBezTo>
                <a:cubicBezTo>
                  <a:pt x="1063479" y="4445434"/>
                  <a:pt x="1064099" y="4445641"/>
                  <a:pt x="1065028" y="4446157"/>
                </a:cubicBezTo>
                <a:cubicBezTo>
                  <a:pt x="1065648" y="4447190"/>
                  <a:pt x="1065802" y="4448119"/>
                  <a:pt x="1065957" y="4448945"/>
                </a:cubicBezTo>
                <a:lnTo>
                  <a:pt x="1066577" y="4448635"/>
                </a:lnTo>
                <a:lnTo>
                  <a:pt x="1066577" y="4448326"/>
                </a:lnTo>
                <a:cubicBezTo>
                  <a:pt x="1067507" y="4445125"/>
                  <a:pt x="1069210" y="4442234"/>
                  <a:pt x="1069675" y="4440994"/>
                </a:cubicBezTo>
                <a:cubicBezTo>
                  <a:pt x="1069675" y="4440994"/>
                  <a:pt x="1069675" y="4440168"/>
                  <a:pt x="1070450" y="4439342"/>
                </a:cubicBezTo>
                <a:close/>
                <a:moveTo>
                  <a:pt x="1341869" y="4438528"/>
                </a:moveTo>
                <a:cubicBezTo>
                  <a:pt x="1346523" y="4438303"/>
                  <a:pt x="1351664" y="4440426"/>
                  <a:pt x="1356543" y="4446054"/>
                </a:cubicBezTo>
                <a:cubicBezTo>
                  <a:pt x="1362739" y="4454108"/>
                  <a:pt x="1360725" y="4464434"/>
                  <a:pt x="1364598" y="4476721"/>
                </a:cubicBezTo>
                <a:cubicBezTo>
                  <a:pt x="1356233" y="4471145"/>
                  <a:pt x="1348179" y="4476308"/>
                  <a:pt x="1340744" y="4475792"/>
                </a:cubicBezTo>
                <a:cubicBezTo>
                  <a:pt x="1338265" y="4475585"/>
                  <a:pt x="1335787" y="4474759"/>
                  <a:pt x="1333309" y="4472694"/>
                </a:cubicBezTo>
                <a:cubicBezTo>
                  <a:pt x="1318322" y="4461000"/>
                  <a:pt x="1327906" y="4439200"/>
                  <a:pt x="1341869" y="4438528"/>
                </a:cubicBezTo>
                <a:close/>
                <a:moveTo>
                  <a:pt x="830864" y="4438155"/>
                </a:moveTo>
                <a:cubicBezTo>
                  <a:pt x="833962" y="4438000"/>
                  <a:pt x="838105" y="4439291"/>
                  <a:pt x="841048" y="4439445"/>
                </a:cubicBezTo>
                <a:cubicBezTo>
                  <a:pt x="841823" y="4443163"/>
                  <a:pt x="841668" y="4444402"/>
                  <a:pt x="840119" y="4448119"/>
                </a:cubicBezTo>
                <a:cubicBezTo>
                  <a:pt x="838880" y="4448429"/>
                  <a:pt x="837640" y="4448635"/>
                  <a:pt x="836401" y="4448635"/>
                </a:cubicBezTo>
                <a:cubicBezTo>
                  <a:pt x="835162" y="4448635"/>
                  <a:pt x="834078" y="4448429"/>
                  <a:pt x="832993" y="4448119"/>
                </a:cubicBezTo>
                <a:cubicBezTo>
                  <a:pt x="830825" y="4447603"/>
                  <a:pt x="828811" y="4446570"/>
                  <a:pt x="826953" y="4445538"/>
                </a:cubicBezTo>
                <a:cubicBezTo>
                  <a:pt x="825713" y="4439910"/>
                  <a:pt x="827766" y="4438309"/>
                  <a:pt x="830864" y="4438155"/>
                </a:cubicBezTo>
                <a:close/>
                <a:moveTo>
                  <a:pt x="1266548" y="4438103"/>
                </a:moveTo>
                <a:cubicBezTo>
                  <a:pt x="1266239" y="4438826"/>
                  <a:pt x="1267013" y="4439239"/>
                  <a:pt x="1267013" y="4439239"/>
                </a:cubicBezTo>
                <a:cubicBezTo>
                  <a:pt x="1267013" y="4439239"/>
                  <a:pt x="1267013" y="4439239"/>
                  <a:pt x="1267322" y="4438516"/>
                </a:cubicBezTo>
                <a:cubicBezTo>
                  <a:pt x="1267478" y="4439136"/>
                  <a:pt x="1267322" y="4439445"/>
                  <a:pt x="1267168" y="4439652"/>
                </a:cubicBezTo>
                <a:cubicBezTo>
                  <a:pt x="1266858" y="4439962"/>
                  <a:pt x="1266548" y="4439962"/>
                  <a:pt x="1266548" y="4439962"/>
                </a:cubicBezTo>
                <a:cubicBezTo>
                  <a:pt x="1266084" y="4440168"/>
                  <a:pt x="1265464" y="4440375"/>
                  <a:pt x="1265000" y="4440375"/>
                </a:cubicBezTo>
                <a:cubicBezTo>
                  <a:pt x="1264534" y="4440272"/>
                  <a:pt x="1264224" y="4440065"/>
                  <a:pt x="1263915" y="4439445"/>
                </a:cubicBezTo>
                <a:cubicBezTo>
                  <a:pt x="1263915" y="4439445"/>
                  <a:pt x="1264380" y="4438723"/>
                  <a:pt x="1266548" y="4438103"/>
                </a:cubicBezTo>
                <a:close/>
                <a:moveTo>
                  <a:pt x="1154868" y="4438103"/>
                </a:moveTo>
                <a:cubicBezTo>
                  <a:pt x="1155952" y="4438413"/>
                  <a:pt x="1158586" y="4439755"/>
                  <a:pt x="1158275" y="4440891"/>
                </a:cubicBezTo>
                <a:cubicBezTo>
                  <a:pt x="1157501" y="4443266"/>
                  <a:pt x="1155642" y="4445434"/>
                  <a:pt x="1154558" y="4445125"/>
                </a:cubicBezTo>
                <a:cubicBezTo>
                  <a:pt x="1152854" y="4444711"/>
                  <a:pt x="1151305" y="4444299"/>
                  <a:pt x="1150996" y="4442543"/>
                </a:cubicBezTo>
                <a:cubicBezTo>
                  <a:pt x="1150841" y="4442027"/>
                  <a:pt x="1150841" y="4441407"/>
                  <a:pt x="1151150" y="4440478"/>
                </a:cubicBezTo>
                <a:cubicBezTo>
                  <a:pt x="1151150" y="4440478"/>
                  <a:pt x="1151150" y="4440478"/>
                  <a:pt x="1151925" y="4439962"/>
                </a:cubicBezTo>
                <a:cubicBezTo>
                  <a:pt x="1153474" y="4439136"/>
                  <a:pt x="1154094" y="4438619"/>
                  <a:pt x="1154868" y="4438103"/>
                </a:cubicBezTo>
                <a:close/>
                <a:moveTo>
                  <a:pt x="5687608" y="4437075"/>
                </a:moveTo>
                <a:cubicBezTo>
                  <a:pt x="5690415" y="4436908"/>
                  <a:pt x="5692623" y="4437605"/>
                  <a:pt x="5693475" y="4437192"/>
                </a:cubicBezTo>
                <a:cubicBezTo>
                  <a:pt x="5695643" y="4439773"/>
                  <a:pt x="5695643" y="4439876"/>
                  <a:pt x="5690996" y="4444936"/>
                </a:cubicBezTo>
                <a:cubicBezTo>
                  <a:pt x="5690067" y="4445865"/>
                  <a:pt x="5688983" y="4446381"/>
                  <a:pt x="5687898" y="4446691"/>
                </a:cubicBezTo>
                <a:cubicBezTo>
                  <a:pt x="5686659" y="4447001"/>
                  <a:pt x="5685420" y="4447001"/>
                  <a:pt x="5684181" y="4446588"/>
                </a:cubicBezTo>
                <a:cubicBezTo>
                  <a:pt x="5683406" y="4447001"/>
                  <a:pt x="5682322" y="4447207"/>
                  <a:pt x="5681393" y="4447207"/>
                </a:cubicBezTo>
                <a:cubicBezTo>
                  <a:pt x="5680308" y="4447207"/>
                  <a:pt x="5679224" y="4446898"/>
                  <a:pt x="5678450" y="4446485"/>
                </a:cubicBezTo>
                <a:cubicBezTo>
                  <a:pt x="5677830" y="4445555"/>
                  <a:pt x="5677365" y="4444730"/>
                  <a:pt x="5677365" y="4443903"/>
                </a:cubicBezTo>
                <a:cubicBezTo>
                  <a:pt x="5677365" y="4443180"/>
                  <a:pt x="5677675" y="4442561"/>
                  <a:pt x="5678140" y="4442148"/>
                </a:cubicBezTo>
                <a:cubicBezTo>
                  <a:pt x="5681393" y="4438276"/>
                  <a:pt x="5684801" y="4437243"/>
                  <a:pt x="5687608" y="4437075"/>
                </a:cubicBezTo>
                <a:close/>
                <a:moveTo>
                  <a:pt x="1377145" y="4437071"/>
                </a:moveTo>
                <a:cubicBezTo>
                  <a:pt x="1378383" y="4437380"/>
                  <a:pt x="1378538" y="4440684"/>
                  <a:pt x="1379003" y="4441407"/>
                </a:cubicBezTo>
                <a:lnTo>
                  <a:pt x="1377764" y="4441717"/>
                </a:lnTo>
                <a:lnTo>
                  <a:pt x="1378383" y="4443885"/>
                </a:lnTo>
                <a:cubicBezTo>
                  <a:pt x="1378538" y="4445538"/>
                  <a:pt x="1377919" y="4447293"/>
                  <a:pt x="1376370" y="4448739"/>
                </a:cubicBezTo>
                <a:cubicBezTo>
                  <a:pt x="1372807" y="4447706"/>
                  <a:pt x="1368780" y="4447190"/>
                  <a:pt x="1367386" y="4444402"/>
                </a:cubicBezTo>
                <a:cubicBezTo>
                  <a:pt x="1366921" y="4443472"/>
                  <a:pt x="1366611" y="4442234"/>
                  <a:pt x="1366921" y="4440684"/>
                </a:cubicBezTo>
                <a:cubicBezTo>
                  <a:pt x="1369555" y="4437587"/>
                  <a:pt x="1372497" y="4437174"/>
                  <a:pt x="1374666" y="4438103"/>
                </a:cubicBezTo>
                <a:lnTo>
                  <a:pt x="1375130" y="4438516"/>
                </a:lnTo>
                <a:lnTo>
                  <a:pt x="1375130" y="4438413"/>
                </a:lnTo>
                <a:cubicBezTo>
                  <a:pt x="1374666" y="4437690"/>
                  <a:pt x="1377145" y="4437071"/>
                  <a:pt x="1377145" y="4437071"/>
                </a:cubicBezTo>
                <a:close/>
                <a:moveTo>
                  <a:pt x="1073548" y="4436864"/>
                </a:moveTo>
                <a:cubicBezTo>
                  <a:pt x="1074477" y="4437793"/>
                  <a:pt x="1077110" y="4440478"/>
                  <a:pt x="1077110" y="4440478"/>
                </a:cubicBezTo>
                <a:cubicBezTo>
                  <a:pt x="1077885" y="4440581"/>
                  <a:pt x="1078039" y="4440581"/>
                  <a:pt x="1078814" y="4441407"/>
                </a:cubicBezTo>
                <a:cubicBezTo>
                  <a:pt x="1078039" y="4442234"/>
                  <a:pt x="1078039" y="4442234"/>
                  <a:pt x="1077265" y="4442234"/>
                </a:cubicBezTo>
                <a:cubicBezTo>
                  <a:pt x="1076335" y="4441304"/>
                  <a:pt x="1076335" y="4440478"/>
                  <a:pt x="1075406" y="4439549"/>
                </a:cubicBezTo>
                <a:cubicBezTo>
                  <a:pt x="1073857" y="4441201"/>
                  <a:pt x="1074631" y="4441201"/>
                  <a:pt x="1073857" y="4440375"/>
                </a:cubicBezTo>
                <a:cubicBezTo>
                  <a:pt x="1073857" y="4440375"/>
                  <a:pt x="1073857" y="4440375"/>
                  <a:pt x="1072928" y="4439445"/>
                </a:cubicBezTo>
                <a:cubicBezTo>
                  <a:pt x="1072928" y="4439445"/>
                  <a:pt x="1071998" y="4439445"/>
                  <a:pt x="1073548" y="4436864"/>
                </a:cubicBezTo>
                <a:close/>
                <a:moveTo>
                  <a:pt x="5497686" y="4436675"/>
                </a:moveTo>
                <a:cubicBezTo>
                  <a:pt x="5498615" y="4435849"/>
                  <a:pt x="5499544" y="4435746"/>
                  <a:pt x="5500319" y="4436675"/>
                </a:cubicBezTo>
                <a:cubicBezTo>
                  <a:pt x="5500319" y="4436675"/>
                  <a:pt x="5499235" y="4438431"/>
                  <a:pt x="5499235" y="4438431"/>
                </a:cubicBezTo>
                <a:cubicBezTo>
                  <a:pt x="5497376" y="4440083"/>
                  <a:pt x="5496292" y="4441012"/>
                  <a:pt x="5495207" y="4442768"/>
                </a:cubicBezTo>
                <a:cubicBezTo>
                  <a:pt x="5494433" y="4442251"/>
                  <a:pt x="5494123" y="4441838"/>
                  <a:pt x="5494123" y="4441322"/>
                </a:cubicBezTo>
                <a:cubicBezTo>
                  <a:pt x="5493968" y="4440909"/>
                  <a:pt x="5494278" y="4440496"/>
                  <a:pt x="5494743" y="4440083"/>
                </a:cubicBezTo>
                <a:cubicBezTo>
                  <a:pt x="5494743" y="4440083"/>
                  <a:pt x="5495672" y="4439153"/>
                  <a:pt x="5496601" y="4438328"/>
                </a:cubicBezTo>
                <a:cubicBezTo>
                  <a:pt x="5497531" y="4437501"/>
                  <a:pt x="5497686" y="4436675"/>
                  <a:pt x="5497686" y="4436675"/>
                </a:cubicBezTo>
                <a:close/>
                <a:moveTo>
                  <a:pt x="5970584" y="4436159"/>
                </a:moveTo>
                <a:cubicBezTo>
                  <a:pt x="5970275" y="4437398"/>
                  <a:pt x="5973682" y="4438224"/>
                  <a:pt x="5974767" y="4438431"/>
                </a:cubicBezTo>
                <a:cubicBezTo>
                  <a:pt x="5974456" y="4439670"/>
                  <a:pt x="5975231" y="4440702"/>
                  <a:pt x="5975851" y="4441838"/>
                </a:cubicBezTo>
                <a:lnTo>
                  <a:pt x="5976625" y="4443284"/>
                </a:lnTo>
                <a:lnTo>
                  <a:pt x="5989946" y="4438121"/>
                </a:lnTo>
                <a:cubicBezTo>
                  <a:pt x="5989946" y="4439567"/>
                  <a:pt x="5990566" y="4440702"/>
                  <a:pt x="5991185" y="4442045"/>
                </a:cubicBezTo>
                <a:lnTo>
                  <a:pt x="5991650" y="4446691"/>
                </a:lnTo>
                <a:lnTo>
                  <a:pt x="5995832" y="4449686"/>
                </a:lnTo>
                <a:cubicBezTo>
                  <a:pt x="5996917" y="4451441"/>
                  <a:pt x="5997226" y="4453712"/>
                  <a:pt x="5996762" y="4456707"/>
                </a:cubicBezTo>
                <a:cubicBezTo>
                  <a:pt x="5994593" y="4457533"/>
                  <a:pt x="5992734" y="4458153"/>
                  <a:pt x="5991031" y="4458359"/>
                </a:cubicBezTo>
                <a:cubicBezTo>
                  <a:pt x="5989327" y="4458566"/>
                  <a:pt x="5987932" y="4458463"/>
                  <a:pt x="5986693" y="4458153"/>
                </a:cubicBezTo>
                <a:cubicBezTo>
                  <a:pt x="5984060" y="4457430"/>
                  <a:pt x="5982356" y="4455674"/>
                  <a:pt x="5980807" y="4453197"/>
                </a:cubicBezTo>
                <a:lnTo>
                  <a:pt x="5983596" y="4450202"/>
                </a:lnTo>
                <a:lnTo>
                  <a:pt x="5970429" y="4454745"/>
                </a:lnTo>
                <a:lnTo>
                  <a:pt x="5959432" y="4458359"/>
                </a:lnTo>
                <a:lnTo>
                  <a:pt x="5960826" y="4461354"/>
                </a:lnTo>
                <a:cubicBezTo>
                  <a:pt x="5962065" y="4465380"/>
                  <a:pt x="5962530" y="4469408"/>
                  <a:pt x="5962220" y="4473331"/>
                </a:cubicBezTo>
                <a:cubicBezTo>
                  <a:pt x="5961910" y="4475913"/>
                  <a:pt x="5961445" y="4478598"/>
                  <a:pt x="5960516" y="4481075"/>
                </a:cubicBezTo>
                <a:cubicBezTo>
                  <a:pt x="5954010" y="4480559"/>
                  <a:pt x="5953700" y="4472608"/>
                  <a:pt x="5952152" y="4467136"/>
                </a:cubicBezTo>
                <a:cubicBezTo>
                  <a:pt x="5947350" y="4471163"/>
                  <a:pt x="5941154" y="4478494"/>
                  <a:pt x="5936972" y="4473744"/>
                </a:cubicBezTo>
                <a:cubicBezTo>
                  <a:pt x="5937281" y="4466723"/>
                  <a:pt x="5945801" y="4464864"/>
                  <a:pt x="5950912" y="4459082"/>
                </a:cubicBezTo>
                <a:cubicBezTo>
                  <a:pt x="5951997" y="4456604"/>
                  <a:pt x="5950603" y="4454332"/>
                  <a:pt x="5952307" y="4451647"/>
                </a:cubicBezTo>
                <a:lnTo>
                  <a:pt x="5953391" y="4450615"/>
                </a:lnTo>
                <a:lnTo>
                  <a:pt x="5953236" y="4446381"/>
                </a:lnTo>
                <a:cubicBezTo>
                  <a:pt x="5954785" y="4445659"/>
                  <a:pt x="5957418" y="4448343"/>
                  <a:pt x="5959122" y="4449273"/>
                </a:cubicBezTo>
                <a:cubicBezTo>
                  <a:pt x="5958347" y="4450099"/>
                  <a:pt x="5957573" y="4450925"/>
                  <a:pt x="5958347" y="4450925"/>
                </a:cubicBezTo>
                <a:lnTo>
                  <a:pt x="5956489" y="4451957"/>
                </a:lnTo>
                <a:lnTo>
                  <a:pt x="5957418" y="4453816"/>
                </a:lnTo>
                <a:lnTo>
                  <a:pt x="5958192" y="4452887"/>
                </a:lnTo>
                <a:cubicBezTo>
                  <a:pt x="5960361" y="4451131"/>
                  <a:pt x="5962685" y="4449686"/>
                  <a:pt x="5965318" y="4448343"/>
                </a:cubicBezTo>
                <a:lnTo>
                  <a:pt x="5969655" y="4446278"/>
                </a:lnTo>
                <a:lnTo>
                  <a:pt x="5967796" y="4445349"/>
                </a:lnTo>
                <a:cubicBezTo>
                  <a:pt x="5964233" y="4442768"/>
                  <a:pt x="5964233" y="4439876"/>
                  <a:pt x="5963459" y="4439670"/>
                </a:cubicBezTo>
                <a:cubicBezTo>
                  <a:pt x="5964543" y="4435953"/>
                  <a:pt x="5966867" y="4436572"/>
                  <a:pt x="5970584" y="4436159"/>
                </a:cubicBezTo>
                <a:close/>
                <a:moveTo>
                  <a:pt x="1462027" y="4436141"/>
                </a:moveTo>
                <a:cubicBezTo>
                  <a:pt x="1463886" y="4437380"/>
                  <a:pt x="1465280" y="4439136"/>
                  <a:pt x="1466674" y="4440994"/>
                </a:cubicBezTo>
                <a:lnTo>
                  <a:pt x="1470237" y="4446467"/>
                </a:lnTo>
                <a:lnTo>
                  <a:pt x="1465900" y="4445021"/>
                </a:lnTo>
                <a:lnTo>
                  <a:pt x="1466055" y="4445125"/>
                </a:lnTo>
                <a:cubicBezTo>
                  <a:pt x="1465745" y="4445950"/>
                  <a:pt x="1466055" y="4447086"/>
                  <a:pt x="1466055" y="4447086"/>
                </a:cubicBezTo>
                <a:cubicBezTo>
                  <a:pt x="1464971" y="4447396"/>
                  <a:pt x="1464196" y="4446983"/>
                  <a:pt x="1463576" y="4446570"/>
                </a:cubicBezTo>
                <a:lnTo>
                  <a:pt x="1463266" y="4444608"/>
                </a:lnTo>
                <a:lnTo>
                  <a:pt x="1462338" y="4444505"/>
                </a:lnTo>
                <a:lnTo>
                  <a:pt x="1459704" y="4445434"/>
                </a:lnTo>
                <a:lnTo>
                  <a:pt x="1461098" y="4447190"/>
                </a:lnTo>
                <a:cubicBezTo>
                  <a:pt x="1461717" y="4448739"/>
                  <a:pt x="1461717" y="4450494"/>
                  <a:pt x="1460788" y="4451320"/>
                </a:cubicBezTo>
                <a:lnTo>
                  <a:pt x="1460478" y="4451526"/>
                </a:lnTo>
                <a:lnTo>
                  <a:pt x="1460478" y="4452249"/>
                </a:lnTo>
                <a:lnTo>
                  <a:pt x="1460478" y="4452662"/>
                </a:lnTo>
                <a:lnTo>
                  <a:pt x="1461562" y="4453075"/>
                </a:lnTo>
                <a:lnTo>
                  <a:pt x="1464506" y="4450184"/>
                </a:lnTo>
                <a:lnTo>
                  <a:pt x="1470237" y="4446467"/>
                </a:lnTo>
                <a:lnTo>
                  <a:pt x="1471321" y="4445641"/>
                </a:lnTo>
                <a:cubicBezTo>
                  <a:pt x="1473800" y="4444092"/>
                  <a:pt x="1476123" y="4442337"/>
                  <a:pt x="1478447" y="4440168"/>
                </a:cubicBezTo>
                <a:cubicBezTo>
                  <a:pt x="1487585" y="4446777"/>
                  <a:pt x="1492232" y="4442853"/>
                  <a:pt x="1498118" y="4442130"/>
                </a:cubicBezTo>
                <a:cubicBezTo>
                  <a:pt x="1502145" y="4449255"/>
                  <a:pt x="1511439" y="4454108"/>
                  <a:pt x="1517945" y="4460613"/>
                </a:cubicBezTo>
                <a:cubicBezTo>
                  <a:pt x="1518100" y="4471558"/>
                  <a:pt x="1521198" y="4480748"/>
                  <a:pt x="1521353" y="4491693"/>
                </a:cubicBezTo>
                <a:lnTo>
                  <a:pt x="1516706" y="4496030"/>
                </a:lnTo>
                <a:lnTo>
                  <a:pt x="1516550" y="4496340"/>
                </a:lnTo>
                <a:cubicBezTo>
                  <a:pt x="1515931" y="4497269"/>
                  <a:pt x="1515002" y="4498198"/>
                  <a:pt x="1514537" y="4499024"/>
                </a:cubicBezTo>
                <a:lnTo>
                  <a:pt x="1514227" y="4498611"/>
                </a:lnTo>
                <a:lnTo>
                  <a:pt x="1509581" y="4505013"/>
                </a:lnTo>
                <a:lnTo>
                  <a:pt x="1510510" y="4506252"/>
                </a:lnTo>
                <a:cubicBezTo>
                  <a:pt x="1511439" y="4508317"/>
                  <a:pt x="1511904" y="4510176"/>
                  <a:pt x="1512059" y="4510589"/>
                </a:cubicBezTo>
                <a:cubicBezTo>
                  <a:pt x="1511284" y="4511002"/>
                  <a:pt x="1511284" y="4510899"/>
                  <a:pt x="1511284" y="4510899"/>
                </a:cubicBezTo>
                <a:cubicBezTo>
                  <a:pt x="1511129" y="4509556"/>
                  <a:pt x="1510355" y="4508524"/>
                  <a:pt x="1509271" y="4507388"/>
                </a:cubicBezTo>
                <a:lnTo>
                  <a:pt x="1508496" y="4506252"/>
                </a:lnTo>
                <a:lnTo>
                  <a:pt x="1506173" y="4508834"/>
                </a:lnTo>
                <a:lnTo>
                  <a:pt x="1508961" y="4514100"/>
                </a:lnTo>
                <a:cubicBezTo>
                  <a:pt x="1506638" y="4513687"/>
                  <a:pt x="1505089" y="4512861"/>
                  <a:pt x="1503850" y="4511931"/>
                </a:cubicBezTo>
                <a:lnTo>
                  <a:pt x="1503539" y="4511518"/>
                </a:lnTo>
                <a:lnTo>
                  <a:pt x="1503385" y="4511621"/>
                </a:lnTo>
                <a:cubicBezTo>
                  <a:pt x="1501061" y="4513377"/>
                  <a:pt x="1498428" y="4514409"/>
                  <a:pt x="1495175" y="4514409"/>
                </a:cubicBezTo>
                <a:cubicBezTo>
                  <a:pt x="1490528" y="4511105"/>
                  <a:pt x="1487121" y="4510176"/>
                  <a:pt x="1483868" y="4509866"/>
                </a:cubicBezTo>
                <a:lnTo>
                  <a:pt x="1483403" y="4509866"/>
                </a:lnTo>
                <a:lnTo>
                  <a:pt x="1483558" y="4510176"/>
                </a:lnTo>
                <a:cubicBezTo>
                  <a:pt x="1483558" y="4510279"/>
                  <a:pt x="1483403" y="4510279"/>
                  <a:pt x="1482938" y="4510382"/>
                </a:cubicBezTo>
                <a:cubicBezTo>
                  <a:pt x="1482938" y="4510382"/>
                  <a:pt x="1482938" y="4510382"/>
                  <a:pt x="1481854" y="4510692"/>
                </a:cubicBezTo>
                <a:cubicBezTo>
                  <a:pt x="1481854" y="4510692"/>
                  <a:pt x="1481699" y="4510899"/>
                  <a:pt x="1481389" y="4510692"/>
                </a:cubicBezTo>
                <a:lnTo>
                  <a:pt x="1480615" y="4509763"/>
                </a:lnTo>
                <a:lnTo>
                  <a:pt x="1479066" y="4509660"/>
                </a:lnTo>
                <a:cubicBezTo>
                  <a:pt x="1477517" y="4509660"/>
                  <a:pt x="1475968" y="4509556"/>
                  <a:pt x="1474419" y="4509040"/>
                </a:cubicBezTo>
                <a:cubicBezTo>
                  <a:pt x="1471476" y="4506355"/>
                  <a:pt x="1468688" y="4503258"/>
                  <a:pt x="1466055" y="4499850"/>
                </a:cubicBezTo>
                <a:lnTo>
                  <a:pt x="1463886" y="4496443"/>
                </a:lnTo>
                <a:lnTo>
                  <a:pt x="1461717" y="4493862"/>
                </a:lnTo>
                <a:lnTo>
                  <a:pt x="1461562" y="4493552"/>
                </a:lnTo>
                <a:lnTo>
                  <a:pt x="1455522" y="4489731"/>
                </a:lnTo>
                <a:cubicBezTo>
                  <a:pt x="1453818" y="4488079"/>
                  <a:pt x="1452424" y="4486014"/>
                  <a:pt x="1451804" y="4483536"/>
                </a:cubicBezTo>
                <a:cubicBezTo>
                  <a:pt x="1451339" y="4480438"/>
                  <a:pt x="1451804" y="4478063"/>
                  <a:pt x="1452889" y="4476102"/>
                </a:cubicBezTo>
                <a:lnTo>
                  <a:pt x="1453198" y="4475792"/>
                </a:lnTo>
                <a:lnTo>
                  <a:pt x="1452889" y="4471351"/>
                </a:lnTo>
                <a:cubicBezTo>
                  <a:pt x="1453043" y="4469390"/>
                  <a:pt x="1453508" y="4467325"/>
                  <a:pt x="1453818" y="4465982"/>
                </a:cubicBezTo>
                <a:lnTo>
                  <a:pt x="1455057" y="4467841"/>
                </a:lnTo>
                <a:lnTo>
                  <a:pt x="1455057" y="4463917"/>
                </a:lnTo>
                <a:lnTo>
                  <a:pt x="1455212" y="4463607"/>
                </a:lnTo>
                <a:lnTo>
                  <a:pt x="1453508" y="4457412"/>
                </a:lnTo>
                <a:lnTo>
                  <a:pt x="1454127" y="4455553"/>
                </a:lnTo>
                <a:lnTo>
                  <a:pt x="1452424" y="4453178"/>
                </a:lnTo>
                <a:cubicBezTo>
                  <a:pt x="1450565" y="4448635"/>
                  <a:pt x="1452269" y="4445331"/>
                  <a:pt x="1449326" y="4442234"/>
                </a:cubicBezTo>
                <a:cubicBezTo>
                  <a:pt x="1451030" y="4441614"/>
                  <a:pt x="1451030" y="4441614"/>
                  <a:pt x="1452734" y="4442749"/>
                </a:cubicBezTo>
                <a:cubicBezTo>
                  <a:pt x="1452734" y="4443576"/>
                  <a:pt x="1453508" y="4443782"/>
                  <a:pt x="1452579" y="4444505"/>
                </a:cubicBezTo>
                <a:cubicBezTo>
                  <a:pt x="1453198" y="4445021"/>
                  <a:pt x="1453818" y="4445950"/>
                  <a:pt x="1454282" y="4447086"/>
                </a:cubicBezTo>
                <a:lnTo>
                  <a:pt x="1454902" y="4448739"/>
                </a:lnTo>
                <a:lnTo>
                  <a:pt x="1455367" y="4446880"/>
                </a:lnTo>
                <a:cubicBezTo>
                  <a:pt x="1455677" y="4445847"/>
                  <a:pt x="1456141" y="4445228"/>
                  <a:pt x="1456606" y="4444815"/>
                </a:cubicBezTo>
                <a:lnTo>
                  <a:pt x="1458465" y="4444815"/>
                </a:lnTo>
                <a:lnTo>
                  <a:pt x="1458929" y="4444815"/>
                </a:lnTo>
                <a:lnTo>
                  <a:pt x="1459549" y="4440478"/>
                </a:lnTo>
                <a:lnTo>
                  <a:pt x="1460169" y="4439445"/>
                </a:lnTo>
                <a:lnTo>
                  <a:pt x="1460014" y="4438929"/>
                </a:lnTo>
                <a:cubicBezTo>
                  <a:pt x="1459859" y="4438310"/>
                  <a:pt x="1459859" y="4437793"/>
                  <a:pt x="1459859" y="4437793"/>
                </a:cubicBezTo>
                <a:cubicBezTo>
                  <a:pt x="1460943" y="4437483"/>
                  <a:pt x="1461098" y="4437483"/>
                  <a:pt x="1460633" y="4438310"/>
                </a:cubicBezTo>
                <a:lnTo>
                  <a:pt x="1460788" y="4438413"/>
                </a:lnTo>
                <a:close/>
                <a:moveTo>
                  <a:pt x="5653976" y="4435849"/>
                </a:moveTo>
                <a:cubicBezTo>
                  <a:pt x="5657849" y="4444833"/>
                  <a:pt x="5648555" y="4454642"/>
                  <a:pt x="5640036" y="4455881"/>
                </a:cubicBezTo>
                <a:cubicBezTo>
                  <a:pt x="5637092" y="4456294"/>
                  <a:pt x="5634304" y="4455778"/>
                  <a:pt x="5631981" y="4453919"/>
                </a:cubicBezTo>
                <a:cubicBezTo>
                  <a:pt x="5630742" y="4450925"/>
                  <a:pt x="5630897" y="4448034"/>
                  <a:pt x="5631981" y="4445452"/>
                </a:cubicBezTo>
                <a:cubicBezTo>
                  <a:pt x="5635389" y="4437811"/>
                  <a:pt x="5647006" y="4432855"/>
                  <a:pt x="5653976" y="4435849"/>
                </a:cubicBezTo>
                <a:close/>
                <a:moveTo>
                  <a:pt x="981384" y="4435832"/>
                </a:moveTo>
                <a:lnTo>
                  <a:pt x="978286" y="4440478"/>
                </a:lnTo>
                <a:lnTo>
                  <a:pt x="980145" y="4441924"/>
                </a:lnTo>
                <a:cubicBezTo>
                  <a:pt x="981074" y="4443989"/>
                  <a:pt x="981539" y="4446570"/>
                  <a:pt x="981229" y="4449255"/>
                </a:cubicBezTo>
                <a:lnTo>
                  <a:pt x="980919" y="4450287"/>
                </a:lnTo>
                <a:lnTo>
                  <a:pt x="991297" y="4449977"/>
                </a:lnTo>
                <a:lnTo>
                  <a:pt x="994240" y="4449668"/>
                </a:lnTo>
                <a:lnTo>
                  <a:pt x="994705" y="4448739"/>
                </a:lnTo>
                <a:cubicBezTo>
                  <a:pt x="995634" y="4447912"/>
                  <a:pt x="996564" y="4447293"/>
                  <a:pt x="997028" y="4446054"/>
                </a:cubicBezTo>
                <a:cubicBezTo>
                  <a:pt x="997648" y="4446673"/>
                  <a:pt x="998577" y="4447396"/>
                  <a:pt x="999352" y="4448532"/>
                </a:cubicBezTo>
                <a:lnTo>
                  <a:pt x="999507" y="4449048"/>
                </a:lnTo>
                <a:lnTo>
                  <a:pt x="999817" y="4449048"/>
                </a:lnTo>
                <a:lnTo>
                  <a:pt x="999662" y="4449461"/>
                </a:lnTo>
                <a:lnTo>
                  <a:pt x="999972" y="4450494"/>
                </a:lnTo>
                <a:cubicBezTo>
                  <a:pt x="1000127" y="4451320"/>
                  <a:pt x="1000127" y="4452249"/>
                  <a:pt x="999817" y="4453282"/>
                </a:cubicBezTo>
                <a:cubicBezTo>
                  <a:pt x="999352" y="4454521"/>
                  <a:pt x="999352" y="4454521"/>
                  <a:pt x="998577" y="4454934"/>
                </a:cubicBezTo>
                <a:cubicBezTo>
                  <a:pt x="997958" y="4455657"/>
                  <a:pt x="997494" y="4456379"/>
                  <a:pt x="997028" y="4456896"/>
                </a:cubicBezTo>
                <a:lnTo>
                  <a:pt x="996564" y="4456999"/>
                </a:lnTo>
                <a:lnTo>
                  <a:pt x="996255" y="4458444"/>
                </a:lnTo>
                <a:cubicBezTo>
                  <a:pt x="995790" y="4461542"/>
                  <a:pt x="996099" y="4464743"/>
                  <a:pt x="996255" y="4467841"/>
                </a:cubicBezTo>
                <a:lnTo>
                  <a:pt x="997958" y="4467944"/>
                </a:lnTo>
                <a:cubicBezTo>
                  <a:pt x="999352" y="4468667"/>
                  <a:pt x="1000591" y="4469596"/>
                  <a:pt x="1002140" y="4469803"/>
                </a:cubicBezTo>
                <a:cubicBezTo>
                  <a:pt x="1001521" y="4473623"/>
                  <a:pt x="999352" y="4475585"/>
                  <a:pt x="997028" y="4476102"/>
                </a:cubicBezTo>
                <a:lnTo>
                  <a:pt x="995170" y="4475895"/>
                </a:lnTo>
                <a:lnTo>
                  <a:pt x="994550" y="4477547"/>
                </a:lnTo>
                <a:cubicBezTo>
                  <a:pt x="993931" y="4478786"/>
                  <a:pt x="993156" y="4480025"/>
                  <a:pt x="992072" y="4481161"/>
                </a:cubicBezTo>
                <a:cubicBezTo>
                  <a:pt x="984017" y="4489938"/>
                  <a:pt x="973329" y="4488182"/>
                  <a:pt x="966979" y="4482194"/>
                </a:cubicBezTo>
                <a:lnTo>
                  <a:pt x="966514" y="4481677"/>
                </a:lnTo>
                <a:lnTo>
                  <a:pt x="965275" y="4483846"/>
                </a:lnTo>
                <a:lnTo>
                  <a:pt x="966979" y="4483949"/>
                </a:lnTo>
                <a:cubicBezTo>
                  <a:pt x="968372" y="4484878"/>
                  <a:pt x="968992" y="4486530"/>
                  <a:pt x="968218" y="4489215"/>
                </a:cubicBezTo>
                <a:cubicBezTo>
                  <a:pt x="966979" y="4489835"/>
                  <a:pt x="965120" y="4489835"/>
                  <a:pt x="963416" y="4489421"/>
                </a:cubicBezTo>
                <a:lnTo>
                  <a:pt x="961712" y="4488182"/>
                </a:lnTo>
                <a:lnTo>
                  <a:pt x="956911" y="4490867"/>
                </a:lnTo>
                <a:cubicBezTo>
                  <a:pt x="955516" y="4491177"/>
                  <a:pt x="954277" y="4491280"/>
                  <a:pt x="952728" y="4491280"/>
                </a:cubicBezTo>
                <a:cubicBezTo>
                  <a:pt x="951179" y="4491280"/>
                  <a:pt x="949630" y="4491074"/>
                  <a:pt x="947927" y="4490764"/>
                </a:cubicBezTo>
                <a:cubicBezTo>
                  <a:pt x="943125" y="4489421"/>
                  <a:pt x="939562" y="4486220"/>
                  <a:pt x="935999" y="4482503"/>
                </a:cubicBezTo>
                <a:lnTo>
                  <a:pt x="933521" y="4479922"/>
                </a:lnTo>
                <a:lnTo>
                  <a:pt x="932282" y="4479612"/>
                </a:lnTo>
                <a:cubicBezTo>
                  <a:pt x="931043" y="4479302"/>
                  <a:pt x="929959" y="4478889"/>
                  <a:pt x="929339" y="4478270"/>
                </a:cubicBezTo>
                <a:cubicBezTo>
                  <a:pt x="928874" y="4477857"/>
                  <a:pt x="928719" y="4477340"/>
                  <a:pt x="928874" y="4476824"/>
                </a:cubicBezTo>
                <a:lnTo>
                  <a:pt x="931043" y="4477134"/>
                </a:lnTo>
                <a:lnTo>
                  <a:pt x="930269" y="4476514"/>
                </a:lnTo>
                <a:cubicBezTo>
                  <a:pt x="928255" y="4474449"/>
                  <a:pt x="926086" y="4472281"/>
                  <a:pt x="923453" y="4470422"/>
                </a:cubicBezTo>
                <a:cubicBezTo>
                  <a:pt x="928255" y="4470009"/>
                  <a:pt x="931198" y="4467428"/>
                  <a:pt x="933831" y="4464434"/>
                </a:cubicBezTo>
                <a:lnTo>
                  <a:pt x="936464" y="4461026"/>
                </a:lnTo>
                <a:lnTo>
                  <a:pt x="935844" y="4460303"/>
                </a:lnTo>
                <a:cubicBezTo>
                  <a:pt x="935690" y="4460097"/>
                  <a:pt x="935690" y="4460097"/>
                  <a:pt x="935690" y="4460510"/>
                </a:cubicBezTo>
                <a:cubicBezTo>
                  <a:pt x="934140" y="4458548"/>
                  <a:pt x="931662" y="4456483"/>
                  <a:pt x="932592" y="4454831"/>
                </a:cubicBezTo>
                <a:cubicBezTo>
                  <a:pt x="934915" y="4452662"/>
                  <a:pt x="938168" y="4453592"/>
                  <a:pt x="941266" y="4455244"/>
                </a:cubicBezTo>
                <a:lnTo>
                  <a:pt x="941576" y="4455450"/>
                </a:lnTo>
                <a:lnTo>
                  <a:pt x="944519" y="4453901"/>
                </a:lnTo>
                <a:cubicBezTo>
                  <a:pt x="945758" y="4453488"/>
                  <a:pt x="946997" y="4453282"/>
                  <a:pt x="948546" y="4453385"/>
                </a:cubicBezTo>
                <a:lnTo>
                  <a:pt x="954587" y="4454831"/>
                </a:lnTo>
                <a:lnTo>
                  <a:pt x="954897" y="4452869"/>
                </a:lnTo>
                <a:cubicBezTo>
                  <a:pt x="957840" y="4453282"/>
                  <a:pt x="958615" y="4454831"/>
                  <a:pt x="958770" y="4456793"/>
                </a:cubicBezTo>
                <a:lnTo>
                  <a:pt x="958615" y="4456999"/>
                </a:lnTo>
                <a:lnTo>
                  <a:pt x="962022" y="4459787"/>
                </a:lnTo>
                <a:lnTo>
                  <a:pt x="963571" y="4453592"/>
                </a:lnTo>
                <a:cubicBezTo>
                  <a:pt x="964345" y="4451423"/>
                  <a:pt x="965275" y="4449255"/>
                  <a:pt x="966205" y="4447396"/>
                </a:cubicBezTo>
                <a:cubicBezTo>
                  <a:pt x="967908" y="4443472"/>
                  <a:pt x="969922" y="4439445"/>
                  <a:pt x="972555" y="4438103"/>
                </a:cubicBezTo>
                <a:lnTo>
                  <a:pt x="972865" y="4438103"/>
                </a:lnTo>
                <a:lnTo>
                  <a:pt x="974259" y="4436038"/>
                </a:lnTo>
                <a:cubicBezTo>
                  <a:pt x="976427" y="4433560"/>
                  <a:pt x="979061" y="4432321"/>
                  <a:pt x="981384" y="4435832"/>
                </a:cubicBezTo>
                <a:close/>
                <a:moveTo>
                  <a:pt x="1034204" y="4435728"/>
                </a:moveTo>
                <a:cubicBezTo>
                  <a:pt x="1041794" y="4435212"/>
                  <a:pt x="1050158" y="4436554"/>
                  <a:pt x="1058832" y="4443782"/>
                </a:cubicBezTo>
                <a:cubicBezTo>
                  <a:pt x="1059451" y="4449668"/>
                  <a:pt x="1055425" y="4451630"/>
                  <a:pt x="1050468" y="4451216"/>
                </a:cubicBezTo>
                <a:cubicBezTo>
                  <a:pt x="1044427" y="4450701"/>
                  <a:pt x="1036837" y="4446467"/>
                  <a:pt x="1034513" y="4441201"/>
                </a:cubicBezTo>
                <a:lnTo>
                  <a:pt x="1034359" y="4437897"/>
                </a:lnTo>
                <a:lnTo>
                  <a:pt x="1033894" y="4437897"/>
                </a:lnTo>
                <a:cubicBezTo>
                  <a:pt x="1033739" y="4437793"/>
                  <a:pt x="1033584" y="4437587"/>
                  <a:pt x="1032964" y="4437380"/>
                </a:cubicBezTo>
                <a:cubicBezTo>
                  <a:pt x="1031880" y="4437174"/>
                  <a:pt x="1027388" y="4438000"/>
                  <a:pt x="1027078" y="4439136"/>
                </a:cubicBezTo>
                <a:cubicBezTo>
                  <a:pt x="1026769" y="4438413"/>
                  <a:pt x="1025684" y="4438103"/>
                  <a:pt x="1025684" y="4438103"/>
                </a:cubicBezTo>
                <a:cubicBezTo>
                  <a:pt x="1025994" y="4436967"/>
                  <a:pt x="1026614" y="4436451"/>
                  <a:pt x="1027388" y="4436038"/>
                </a:cubicBezTo>
                <a:cubicBezTo>
                  <a:pt x="1028473" y="4436244"/>
                  <a:pt x="1028937" y="4437071"/>
                  <a:pt x="1030022" y="4437277"/>
                </a:cubicBezTo>
                <a:cubicBezTo>
                  <a:pt x="1030796" y="4436864"/>
                  <a:pt x="1032190" y="4435935"/>
                  <a:pt x="1033429" y="4436244"/>
                </a:cubicBezTo>
                <a:lnTo>
                  <a:pt x="1034359" y="4436554"/>
                </a:lnTo>
                <a:close/>
                <a:moveTo>
                  <a:pt x="1197619" y="4435418"/>
                </a:moveTo>
                <a:cubicBezTo>
                  <a:pt x="1200717" y="4441201"/>
                  <a:pt x="1193902" y="4447396"/>
                  <a:pt x="1192198" y="4454727"/>
                </a:cubicBezTo>
                <a:cubicBezTo>
                  <a:pt x="1192663" y="4458238"/>
                  <a:pt x="1196691" y="4459064"/>
                  <a:pt x="1193437" y="4465260"/>
                </a:cubicBezTo>
                <a:cubicBezTo>
                  <a:pt x="1188945" y="4463298"/>
                  <a:pt x="1185228" y="4461026"/>
                  <a:pt x="1182130" y="4458341"/>
                </a:cubicBezTo>
                <a:lnTo>
                  <a:pt x="1179806" y="4455347"/>
                </a:lnTo>
                <a:lnTo>
                  <a:pt x="1179651" y="4455450"/>
                </a:lnTo>
                <a:cubicBezTo>
                  <a:pt x="1178722" y="4456586"/>
                  <a:pt x="1177638" y="4457618"/>
                  <a:pt x="1175934" y="4458548"/>
                </a:cubicBezTo>
                <a:cubicBezTo>
                  <a:pt x="1175624" y="4457412"/>
                  <a:pt x="1174540" y="4457825"/>
                  <a:pt x="1173301" y="4458238"/>
                </a:cubicBezTo>
                <a:cubicBezTo>
                  <a:pt x="1171907" y="4457206"/>
                  <a:pt x="1170977" y="4455553"/>
                  <a:pt x="1170667" y="4453592"/>
                </a:cubicBezTo>
                <a:lnTo>
                  <a:pt x="1170822" y="4451836"/>
                </a:lnTo>
                <a:lnTo>
                  <a:pt x="1170667" y="4451836"/>
                </a:lnTo>
                <a:lnTo>
                  <a:pt x="1170977" y="4451526"/>
                </a:lnTo>
                <a:lnTo>
                  <a:pt x="1170977" y="4450804"/>
                </a:lnTo>
                <a:lnTo>
                  <a:pt x="1170203" y="4451113"/>
                </a:lnTo>
                <a:cubicBezTo>
                  <a:pt x="1168189" y="4451423"/>
                  <a:pt x="1166020" y="4451320"/>
                  <a:pt x="1164781" y="4450494"/>
                </a:cubicBezTo>
                <a:cubicBezTo>
                  <a:pt x="1165556" y="4448842"/>
                  <a:pt x="1166330" y="4447190"/>
                  <a:pt x="1167105" y="4445538"/>
                </a:cubicBezTo>
                <a:lnTo>
                  <a:pt x="1167724" y="4445641"/>
                </a:lnTo>
                <a:lnTo>
                  <a:pt x="1167879" y="4445538"/>
                </a:lnTo>
                <a:cubicBezTo>
                  <a:pt x="1168344" y="4445021"/>
                  <a:pt x="1168498" y="4444299"/>
                  <a:pt x="1168344" y="4443369"/>
                </a:cubicBezTo>
                <a:cubicBezTo>
                  <a:pt x="1169583" y="4443679"/>
                  <a:pt x="1170667" y="4443989"/>
                  <a:pt x="1171597" y="4444505"/>
                </a:cubicBezTo>
                <a:lnTo>
                  <a:pt x="1171907" y="4445434"/>
                </a:lnTo>
                <a:lnTo>
                  <a:pt x="1172371" y="4445331"/>
                </a:lnTo>
                <a:lnTo>
                  <a:pt x="1173146" y="4443885"/>
                </a:lnTo>
                <a:lnTo>
                  <a:pt x="1172526" y="4442234"/>
                </a:lnTo>
                <a:lnTo>
                  <a:pt x="1175624" y="4441614"/>
                </a:lnTo>
                <a:lnTo>
                  <a:pt x="1178257" y="4440684"/>
                </a:lnTo>
                <a:cubicBezTo>
                  <a:pt x="1179031" y="4440891"/>
                  <a:pt x="1179961" y="4441304"/>
                  <a:pt x="1180890" y="4442234"/>
                </a:cubicBezTo>
                <a:lnTo>
                  <a:pt x="1180890" y="4443266"/>
                </a:lnTo>
                <a:lnTo>
                  <a:pt x="1187242" y="4448945"/>
                </a:lnTo>
                <a:cubicBezTo>
                  <a:pt x="1189565" y="4443059"/>
                  <a:pt x="1191423" y="4433766"/>
                  <a:pt x="1197619" y="4435418"/>
                </a:cubicBezTo>
                <a:close/>
                <a:moveTo>
                  <a:pt x="969302" y="4434386"/>
                </a:moveTo>
                <a:lnTo>
                  <a:pt x="968992" y="4434696"/>
                </a:lnTo>
                <a:lnTo>
                  <a:pt x="968992" y="4435418"/>
                </a:lnTo>
                <a:close/>
                <a:moveTo>
                  <a:pt x="5460201" y="4434094"/>
                </a:moveTo>
                <a:cubicBezTo>
                  <a:pt x="5453540" y="4442045"/>
                  <a:pt x="5448893" y="4437501"/>
                  <a:pt x="5445176" y="4441838"/>
                </a:cubicBezTo>
                <a:cubicBezTo>
                  <a:pt x="5444556" y="4440083"/>
                  <a:pt x="5444556" y="4440083"/>
                  <a:pt x="5445486" y="4438328"/>
                </a:cubicBezTo>
                <a:cubicBezTo>
                  <a:pt x="5446415" y="4438328"/>
                  <a:pt x="5446415" y="4437398"/>
                  <a:pt x="5447189" y="4438328"/>
                </a:cubicBezTo>
                <a:cubicBezTo>
                  <a:pt x="5449203" y="4435746"/>
                  <a:pt x="5456948" y="4433165"/>
                  <a:pt x="5460201" y="4434094"/>
                </a:cubicBezTo>
                <a:close/>
                <a:moveTo>
                  <a:pt x="1511749" y="4433766"/>
                </a:moveTo>
                <a:cubicBezTo>
                  <a:pt x="1511749" y="4433766"/>
                  <a:pt x="1511749" y="4433766"/>
                  <a:pt x="1512214" y="4434489"/>
                </a:cubicBezTo>
                <a:lnTo>
                  <a:pt x="1511904" y="4435212"/>
                </a:lnTo>
                <a:lnTo>
                  <a:pt x="1512524" y="4434696"/>
                </a:lnTo>
                <a:close/>
                <a:moveTo>
                  <a:pt x="5946110" y="4433578"/>
                </a:moveTo>
                <a:cubicBezTo>
                  <a:pt x="5947660" y="4434817"/>
                  <a:pt x="5945026" y="4439670"/>
                  <a:pt x="5942858" y="4438431"/>
                </a:cubicBezTo>
                <a:cubicBezTo>
                  <a:pt x="5942083" y="4438121"/>
                  <a:pt x="5941463" y="4436985"/>
                  <a:pt x="5940999" y="4434920"/>
                </a:cubicBezTo>
                <a:cubicBezTo>
                  <a:pt x="5943787" y="4433165"/>
                  <a:pt x="5945336" y="4433062"/>
                  <a:pt x="5946110" y="4433578"/>
                </a:cubicBezTo>
                <a:close/>
                <a:moveTo>
                  <a:pt x="1135197" y="4433560"/>
                </a:moveTo>
                <a:cubicBezTo>
                  <a:pt x="1135351" y="4440581"/>
                  <a:pt x="1133183" y="4448635"/>
                  <a:pt x="1132563" y="4450494"/>
                </a:cubicBezTo>
                <a:cubicBezTo>
                  <a:pt x="1132253" y="4451320"/>
                  <a:pt x="1131943" y="4451836"/>
                  <a:pt x="1131324" y="4451939"/>
                </a:cubicBezTo>
                <a:cubicBezTo>
                  <a:pt x="1130859" y="4452043"/>
                  <a:pt x="1130240" y="4451939"/>
                  <a:pt x="1129310" y="4451526"/>
                </a:cubicBezTo>
                <a:cubicBezTo>
                  <a:pt x="1126367" y="4448222"/>
                  <a:pt x="1128381" y="4444608"/>
                  <a:pt x="1128535" y="4440168"/>
                </a:cubicBezTo>
                <a:cubicBezTo>
                  <a:pt x="1129310" y="4440065"/>
                  <a:pt x="1130085" y="4439136"/>
                  <a:pt x="1129930" y="4438310"/>
                </a:cubicBezTo>
                <a:cubicBezTo>
                  <a:pt x="1130704" y="4437380"/>
                  <a:pt x="1131324" y="4436451"/>
                  <a:pt x="1130549" y="4436451"/>
                </a:cubicBezTo>
                <a:cubicBezTo>
                  <a:pt x="1132718" y="4433663"/>
                  <a:pt x="1132563" y="4432837"/>
                  <a:pt x="1135197" y="4433560"/>
                </a:cubicBezTo>
                <a:close/>
                <a:moveTo>
                  <a:pt x="1698554" y="4432837"/>
                </a:moveTo>
                <a:lnTo>
                  <a:pt x="1701187" y="4434696"/>
                </a:lnTo>
                <a:lnTo>
                  <a:pt x="1701187" y="4434799"/>
                </a:lnTo>
                <a:lnTo>
                  <a:pt x="1702426" y="4437483"/>
                </a:lnTo>
                <a:cubicBezTo>
                  <a:pt x="1702736" y="4438826"/>
                  <a:pt x="1702272" y="4440168"/>
                  <a:pt x="1701032" y="4441407"/>
                </a:cubicBezTo>
                <a:lnTo>
                  <a:pt x="1700103" y="4441304"/>
                </a:lnTo>
                <a:lnTo>
                  <a:pt x="1700103" y="4443782"/>
                </a:lnTo>
                <a:cubicBezTo>
                  <a:pt x="1699948" y="4446260"/>
                  <a:pt x="1699638" y="4448739"/>
                  <a:pt x="1698554" y="4450391"/>
                </a:cubicBezTo>
                <a:cubicBezTo>
                  <a:pt x="1698399" y="4449565"/>
                  <a:pt x="1698554" y="4446673"/>
                  <a:pt x="1698864" y="4443782"/>
                </a:cubicBezTo>
                <a:lnTo>
                  <a:pt x="1699174" y="4441304"/>
                </a:lnTo>
                <a:lnTo>
                  <a:pt x="1697934" y="4441201"/>
                </a:lnTo>
                <a:cubicBezTo>
                  <a:pt x="1695611" y="4440065"/>
                  <a:pt x="1694991" y="4436348"/>
                  <a:pt x="1692358" y="4433457"/>
                </a:cubicBezTo>
                <a:cubicBezTo>
                  <a:pt x="1694063" y="4431908"/>
                  <a:pt x="1696540" y="4431908"/>
                  <a:pt x="1698554" y="4432837"/>
                </a:cubicBezTo>
                <a:close/>
                <a:moveTo>
                  <a:pt x="1656577" y="4431908"/>
                </a:moveTo>
                <a:cubicBezTo>
                  <a:pt x="1657662" y="4432217"/>
                  <a:pt x="1657352" y="4435418"/>
                  <a:pt x="1657662" y="4436244"/>
                </a:cubicBezTo>
                <a:cubicBezTo>
                  <a:pt x="1657042" y="4436658"/>
                  <a:pt x="1655803" y="4436348"/>
                  <a:pt x="1655028" y="4436864"/>
                </a:cubicBezTo>
                <a:cubicBezTo>
                  <a:pt x="1654719" y="4436141"/>
                  <a:pt x="1653944" y="4434592"/>
                  <a:pt x="1654253" y="4433353"/>
                </a:cubicBezTo>
                <a:cubicBezTo>
                  <a:pt x="1653944" y="4432631"/>
                  <a:pt x="1656577" y="4431908"/>
                  <a:pt x="1656577" y="4431908"/>
                </a:cubicBezTo>
                <a:close/>
                <a:moveTo>
                  <a:pt x="5757137" y="4431822"/>
                </a:moveTo>
                <a:cubicBezTo>
                  <a:pt x="5758841" y="4433681"/>
                  <a:pt x="5760545" y="4435436"/>
                  <a:pt x="5762249" y="4437295"/>
                </a:cubicBezTo>
                <a:cubicBezTo>
                  <a:pt x="5760700" y="4438121"/>
                  <a:pt x="5759925" y="4439876"/>
                  <a:pt x="5759151" y="4440702"/>
                </a:cubicBezTo>
                <a:cubicBezTo>
                  <a:pt x="5756672" y="4440599"/>
                  <a:pt x="5754969" y="4439670"/>
                  <a:pt x="5753265" y="4436882"/>
                </a:cubicBezTo>
                <a:cubicBezTo>
                  <a:pt x="5754659" y="4433474"/>
                  <a:pt x="5753884" y="4434301"/>
                  <a:pt x="5757137" y="4431822"/>
                </a:cubicBezTo>
                <a:close/>
                <a:moveTo>
                  <a:pt x="1168498" y="4431495"/>
                </a:moveTo>
                <a:cubicBezTo>
                  <a:pt x="1169893" y="4432217"/>
                  <a:pt x="1171132" y="4433560"/>
                  <a:pt x="1171597" y="4435625"/>
                </a:cubicBezTo>
                <a:cubicBezTo>
                  <a:pt x="1170667" y="4437380"/>
                  <a:pt x="1166950" y="4439445"/>
                  <a:pt x="1164317" y="4439858"/>
                </a:cubicBezTo>
                <a:cubicBezTo>
                  <a:pt x="1163387" y="4440065"/>
                  <a:pt x="1162613" y="4440065"/>
                  <a:pt x="1161993" y="4439755"/>
                </a:cubicBezTo>
                <a:cubicBezTo>
                  <a:pt x="1158121" y="4432527"/>
                  <a:pt x="1164317" y="4429223"/>
                  <a:pt x="1168498" y="4431495"/>
                </a:cubicBezTo>
                <a:close/>
                <a:moveTo>
                  <a:pt x="1204900" y="4431391"/>
                </a:moveTo>
                <a:cubicBezTo>
                  <a:pt x="1205674" y="4431495"/>
                  <a:pt x="1207377" y="4430978"/>
                  <a:pt x="1208152" y="4431908"/>
                </a:cubicBezTo>
                <a:cubicBezTo>
                  <a:pt x="1209081" y="4432940"/>
                  <a:pt x="1209081" y="4432940"/>
                  <a:pt x="1208927" y="4434696"/>
                </a:cubicBezTo>
                <a:cubicBezTo>
                  <a:pt x="1206448" y="4433353"/>
                  <a:pt x="1206448" y="4433353"/>
                  <a:pt x="1204900" y="4431391"/>
                </a:cubicBezTo>
                <a:close/>
                <a:moveTo>
                  <a:pt x="5820490" y="4430996"/>
                </a:moveTo>
                <a:cubicBezTo>
                  <a:pt x="5821574" y="4430686"/>
                  <a:pt x="5822039" y="4429861"/>
                  <a:pt x="5822194" y="4430996"/>
                </a:cubicBezTo>
                <a:cubicBezTo>
                  <a:pt x="5822503" y="4432235"/>
                  <a:pt x="5822503" y="4432235"/>
                  <a:pt x="5821109" y="4434404"/>
                </a:cubicBezTo>
                <a:cubicBezTo>
                  <a:pt x="5820799" y="4433268"/>
                  <a:pt x="5820799" y="4433268"/>
                  <a:pt x="5819715" y="4433578"/>
                </a:cubicBezTo>
                <a:cubicBezTo>
                  <a:pt x="5819715" y="4433578"/>
                  <a:pt x="5819715" y="4433578"/>
                  <a:pt x="5819250" y="4434301"/>
                </a:cubicBezTo>
                <a:cubicBezTo>
                  <a:pt x="5818631" y="4433887"/>
                  <a:pt x="5819095" y="4433165"/>
                  <a:pt x="5818476" y="4432752"/>
                </a:cubicBezTo>
                <a:cubicBezTo>
                  <a:pt x="5818476" y="4432752"/>
                  <a:pt x="5818941" y="4432029"/>
                  <a:pt x="5818941" y="4432029"/>
                </a:cubicBezTo>
                <a:cubicBezTo>
                  <a:pt x="5818631" y="4431822"/>
                  <a:pt x="5818631" y="4431719"/>
                  <a:pt x="5818786" y="4431719"/>
                </a:cubicBezTo>
                <a:cubicBezTo>
                  <a:pt x="5819095" y="4431616"/>
                  <a:pt x="5819715" y="4431512"/>
                  <a:pt x="5820490" y="4430996"/>
                </a:cubicBezTo>
                <a:close/>
                <a:moveTo>
                  <a:pt x="1337646" y="4430978"/>
                </a:moveTo>
                <a:cubicBezTo>
                  <a:pt x="1339195" y="4429636"/>
                  <a:pt x="1347559" y="4432527"/>
                  <a:pt x="1344771" y="4435935"/>
                </a:cubicBezTo>
                <a:cubicBezTo>
                  <a:pt x="1344151" y="4436451"/>
                  <a:pt x="1343532" y="4436554"/>
                  <a:pt x="1342912" y="4436554"/>
                </a:cubicBezTo>
                <a:cubicBezTo>
                  <a:pt x="1342292" y="4436554"/>
                  <a:pt x="1341673" y="4436348"/>
                  <a:pt x="1341053" y="4436038"/>
                </a:cubicBezTo>
                <a:cubicBezTo>
                  <a:pt x="1339814" y="4435315"/>
                  <a:pt x="1338730" y="4434076"/>
                  <a:pt x="1338110" y="4432940"/>
                </a:cubicBezTo>
                <a:cubicBezTo>
                  <a:pt x="1337800" y="4432114"/>
                  <a:pt x="1337646" y="4431495"/>
                  <a:pt x="1337646" y="4430978"/>
                </a:cubicBezTo>
                <a:close/>
                <a:moveTo>
                  <a:pt x="1202421" y="4430875"/>
                </a:moveTo>
                <a:cubicBezTo>
                  <a:pt x="1202421" y="4430152"/>
                  <a:pt x="1203350" y="4430256"/>
                  <a:pt x="1204280" y="4431185"/>
                </a:cubicBezTo>
                <a:cubicBezTo>
                  <a:pt x="1204280" y="4431185"/>
                  <a:pt x="1204280" y="4431908"/>
                  <a:pt x="1204280" y="4431908"/>
                </a:cubicBezTo>
                <a:cubicBezTo>
                  <a:pt x="1203350" y="4431805"/>
                  <a:pt x="1202421" y="4431701"/>
                  <a:pt x="1202421" y="4430875"/>
                </a:cubicBezTo>
                <a:close/>
                <a:moveTo>
                  <a:pt x="1459549" y="4430566"/>
                </a:moveTo>
                <a:cubicBezTo>
                  <a:pt x="1460788" y="4430669"/>
                  <a:pt x="1461872" y="4431391"/>
                  <a:pt x="1462492" y="4432940"/>
                </a:cubicBezTo>
                <a:cubicBezTo>
                  <a:pt x="1462182" y="4434386"/>
                  <a:pt x="1461562" y="4435315"/>
                  <a:pt x="1460943" y="4435935"/>
                </a:cubicBezTo>
                <a:lnTo>
                  <a:pt x="1458929" y="4437071"/>
                </a:lnTo>
                <a:lnTo>
                  <a:pt x="1458465" y="4437380"/>
                </a:lnTo>
                <a:cubicBezTo>
                  <a:pt x="1456451" y="4438000"/>
                  <a:pt x="1453972" y="4438206"/>
                  <a:pt x="1451495" y="4439445"/>
                </a:cubicBezTo>
                <a:cubicBezTo>
                  <a:pt x="1450255" y="4435109"/>
                  <a:pt x="1455677" y="4430152"/>
                  <a:pt x="1459549" y="4430566"/>
                </a:cubicBezTo>
                <a:close/>
                <a:moveTo>
                  <a:pt x="1700103" y="4430256"/>
                </a:moveTo>
                <a:cubicBezTo>
                  <a:pt x="1700103" y="4430256"/>
                  <a:pt x="1700877" y="4430359"/>
                  <a:pt x="1700877" y="4430359"/>
                </a:cubicBezTo>
                <a:cubicBezTo>
                  <a:pt x="1701032" y="4431288"/>
                  <a:pt x="1701032" y="4432217"/>
                  <a:pt x="1700258" y="4432217"/>
                </a:cubicBezTo>
                <a:cubicBezTo>
                  <a:pt x="1699484" y="4432217"/>
                  <a:pt x="1699484" y="4431185"/>
                  <a:pt x="1700103" y="4430256"/>
                </a:cubicBezTo>
                <a:close/>
                <a:moveTo>
                  <a:pt x="1804813" y="4430152"/>
                </a:moveTo>
                <a:cubicBezTo>
                  <a:pt x="1806671" y="4429739"/>
                  <a:pt x="1808995" y="4430256"/>
                  <a:pt x="1811783" y="4432631"/>
                </a:cubicBezTo>
                <a:cubicBezTo>
                  <a:pt x="1812093" y="4436967"/>
                  <a:pt x="1810234" y="4438619"/>
                  <a:pt x="1809305" y="4441510"/>
                </a:cubicBezTo>
                <a:cubicBezTo>
                  <a:pt x="1800940" y="4442027"/>
                  <a:pt x="1799236" y="4436141"/>
                  <a:pt x="1801405" y="4432631"/>
                </a:cubicBezTo>
                <a:cubicBezTo>
                  <a:pt x="1802179" y="4431391"/>
                  <a:pt x="1803264" y="4430462"/>
                  <a:pt x="1804813" y="4430152"/>
                </a:cubicBezTo>
                <a:close/>
                <a:moveTo>
                  <a:pt x="5467326" y="4430067"/>
                </a:moveTo>
                <a:cubicBezTo>
                  <a:pt x="5466397" y="4430996"/>
                  <a:pt x="5464538" y="4431822"/>
                  <a:pt x="5463609" y="4432648"/>
                </a:cubicBezTo>
                <a:cubicBezTo>
                  <a:pt x="5463609" y="4432648"/>
                  <a:pt x="5463609" y="4432648"/>
                  <a:pt x="5462834" y="4431719"/>
                </a:cubicBezTo>
                <a:cubicBezTo>
                  <a:pt x="5464538" y="4431822"/>
                  <a:pt x="5465777" y="4428311"/>
                  <a:pt x="5467326" y="4430067"/>
                </a:cubicBezTo>
                <a:close/>
                <a:moveTo>
                  <a:pt x="5454237" y="4429757"/>
                </a:moveTo>
                <a:cubicBezTo>
                  <a:pt x="5456561" y="4429706"/>
                  <a:pt x="5458419" y="4429964"/>
                  <a:pt x="5458807" y="4429964"/>
                </a:cubicBezTo>
                <a:cubicBezTo>
                  <a:pt x="5458807" y="4430790"/>
                  <a:pt x="5458807" y="4430790"/>
                  <a:pt x="5458807" y="4430790"/>
                </a:cubicBezTo>
                <a:cubicBezTo>
                  <a:pt x="5456329" y="4430067"/>
                  <a:pt x="5453076" y="4432235"/>
                  <a:pt x="5449978" y="4432648"/>
                </a:cubicBezTo>
                <a:cubicBezTo>
                  <a:pt x="5448893" y="4432752"/>
                  <a:pt x="5447809" y="4432752"/>
                  <a:pt x="5446880" y="4432235"/>
                </a:cubicBezTo>
                <a:cubicBezTo>
                  <a:pt x="5446880" y="4432235"/>
                  <a:pt x="5446880" y="4432235"/>
                  <a:pt x="5447654" y="4432235"/>
                </a:cubicBezTo>
                <a:cubicBezTo>
                  <a:pt x="5447654" y="4432235"/>
                  <a:pt x="5446725" y="4432235"/>
                  <a:pt x="5446880" y="4431409"/>
                </a:cubicBezTo>
                <a:cubicBezTo>
                  <a:pt x="5449126" y="4430170"/>
                  <a:pt x="5451914" y="4429809"/>
                  <a:pt x="5454237" y="4429757"/>
                </a:cubicBezTo>
                <a:close/>
                <a:moveTo>
                  <a:pt x="665706" y="4429739"/>
                </a:moveTo>
                <a:cubicBezTo>
                  <a:pt x="666789" y="4429946"/>
                  <a:pt x="667874" y="4430152"/>
                  <a:pt x="667099" y="4430669"/>
                </a:cubicBezTo>
                <a:cubicBezTo>
                  <a:pt x="667564" y="4431391"/>
                  <a:pt x="666789" y="4431805"/>
                  <a:pt x="666480" y="4433043"/>
                </a:cubicBezTo>
                <a:cubicBezTo>
                  <a:pt x="665396" y="4434696"/>
                  <a:pt x="663227" y="4436141"/>
                  <a:pt x="661988" y="4435832"/>
                </a:cubicBezTo>
                <a:cubicBezTo>
                  <a:pt x="660904" y="4435522"/>
                  <a:pt x="660594" y="4434799"/>
                  <a:pt x="660594" y="4434799"/>
                </a:cubicBezTo>
                <a:cubicBezTo>
                  <a:pt x="660904" y="4431701"/>
                  <a:pt x="662298" y="4428810"/>
                  <a:pt x="665706" y="4429739"/>
                </a:cubicBezTo>
                <a:close/>
                <a:moveTo>
                  <a:pt x="1199169" y="4429533"/>
                </a:moveTo>
                <a:cubicBezTo>
                  <a:pt x="1199943" y="4430462"/>
                  <a:pt x="1200098" y="4429636"/>
                  <a:pt x="1199943" y="4431288"/>
                </a:cubicBezTo>
                <a:cubicBezTo>
                  <a:pt x="1199169" y="4430359"/>
                  <a:pt x="1199013" y="4430359"/>
                  <a:pt x="1198084" y="4430256"/>
                </a:cubicBezTo>
                <a:cubicBezTo>
                  <a:pt x="1198084" y="4430256"/>
                  <a:pt x="1199169" y="4429533"/>
                  <a:pt x="1199169" y="4429533"/>
                </a:cubicBezTo>
                <a:close/>
                <a:moveTo>
                  <a:pt x="5956334" y="4429447"/>
                </a:moveTo>
                <a:cubicBezTo>
                  <a:pt x="5958502" y="4429964"/>
                  <a:pt x="5958192" y="4433165"/>
                  <a:pt x="5957573" y="4433578"/>
                </a:cubicBezTo>
                <a:cubicBezTo>
                  <a:pt x="5956334" y="4433371"/>
                  <a:pt x="5955559" y="4431822"/>
                  <a:pt x="5954475" y="4431512"/>
                </a:cubicBezTo>
                <a:cubicBezTo>
                  <a:pt x="5955095" y="4431100"/>
                  <a:pt x="5955559" y="4429861"/>
                  <a:pt x="5956334" y="4429447"/>
                </a:cubicBezTo>
                <a:close/>
                <a:moveTo>
                  <a:pt x="1777396" y="4429326"/>
                </a:moveTo>
                <a:cubicBezTo>
                  <a:pt x="1785451" y="4439033"/>
                  <a:pt x="1787155" y="4452662"/>
                  <a:pt x="1779720" y="4457928"/>
                </a:cubicBezTo>
                <a:cubicBezTo>
                  <a:pt x="1778325" y="4458548"/>
                  <a:pt x="1777086" y="4458858"/>
                  <a:pt x="1776002" y="4459064"/>
                </a:cubicBezTo>
                <a:cubicBezTo>
                  <a:pt x="1769651" y="4459890"/>
                  <a:pt x="1764695" y="4454314"/>
                  <a:pt x="1763146" y="4447706"/>
                </a:cubicBezTo>
                <a:lnTo>
                  <a:pt x="1762991" y="4445847"/>
                </a:lnTo>
                <a:lnTo>
                  <a:pt x="1761752" y="4444608"/>
                </a:lnTo>
                <a:cubicBezTo>
                  <a:pt x="1761132" y="4443885"/>
                  <a:pt x="1760977" y="4443059"/>
                  <a:pt x="1761132" y="4441614"/>
                </a:cubicBezTo>
                <a:lnTo>
                  <a:pt x="1762836" y="4443163"/>
                </a:lnTo>
                <a:lnTo>
                  <a:pt x="1762836" y="4441098"/>
                </a:lnTo>
                <a:cubicBezTo>
                  <a:pt x="1763765" y="4435109"/>
                  <a:pt x="1768102" y="4429739"/>
                  <a:pt x="1777396" y="4429326"/>
                </a:cubicBezTo>
                <a:close/>
                <a:moveTo>
                  <a:pt x="726580" y="4429016"/>
                </a:moveTo>
                <a:cubicBezTo>
                  <a:pt x="733705" y="4436244"/>
                  <a:pt x="729833" y="4443369"/>
                  <a:pt x="730607" y="4445125"/>
                </a:cubicBezTo>
                <a:cubicBezTo>
                  <a:pt x="729213" y="4446260"/>
                  <a:pt x="728593" y="4446777"/>
                  <a:pt x="727664" y="4446364"/>
                </a:cubicBezTo>
                <a:cubicBezTo>
                  <a:pt x="726734" y="4446054"/>
                  <a:pt x="725650" y="4444815"/>
                  <a:pt x="723327" y="4442234"/>
                </a:cubicBezTo>
                <a:cubicBezTo>
                  <a:pt x="722553" y="4441304"/>
                  <a:pt x="721933" y="4440065"/>
                  <a:pt x="721623" y="4438826"/>
                </a:cubicBezTo>
                <a:cubicBezTo>
                  <a:pt x="721468" y="4437587"/>
                  <a:pt x="721623" y="4436348"/>
                  <a:pt x="722088" y="4435212"/>
                </a:cubicBezTo>
                <a:cubicBezTo>
                  <a:pt x="721313" y="4433353"/>
                  <a:pt x="721468" y="4430772"/>
                  <a:pt x="722397" y="4429223"/>
                </a:cubicBezTo>
                <a:cubicBezTo>
                  <a:pt x="724256" y="4427777"/>
                  <a:pt x="725805" y="4428087"/>
                  <a:pt x="726580" y="4429016"/>
                </a:cubicBezTo>
                <a:close/>
                <a:moveTo>
                  <a:pt x="1010969" y="4428810"/>
                </a:moveTo>
                <a:cubicBezTo>
                  <a:pt x="1013758" y="4431185"/>
                  <a:pt x="1008801" y="4437277"/>
                  <a:pt x="1006942" y="4437277"/>
                </a:cubicBezTo>
                <a:cubicBezTo>
                  <a:pt x="1005548" y="4436141"/>
                  <a:pt x="1007407" y="4426848"/>
                  <a:pt x="1010969" y="4428810"/>
                </a:cubicBezTo>
                <a:close/>
                <a:moveTo>
                  <a:pt x="1705834" y="4428604"/>
                </a:moveTo>
                <a:cubicBezTo>
                  <a:pt x="1705834" y="4428604"/>
                  <a:pt x="1705834" y="4428604"/>
                  <a:pt x="1705215" y="4435005"/>
                </a:cubicBezTo>
                <a:cubicBezTo>
                  <a:pt x="1704595" y="4434902"/>
                  <a:pt x="1704440" y="4434489"/>
                  <a:pt x="1704440" y="4433973"/>
                </a:cubicBezTo>
                <a:cubicBezTo>
                  <a:pt x="1704440" y="4433560"/>
                  <a:pt x="1704595" y="4432837"/>
                  <a:pt x="1704750" y="4432321"/>
                </a:cubicBezTo>
                <a:cubicBezTo>
                  <a:pt x="1705059" y="4431082"/>
                  <a:pt x="1705524" y="4429843"/>
                  <a:pt x="1705834" y="4428604"/>
                </a:cubicBezTo>
                <a:close/>
                <a:moveTo>
                  <a:pt x="1721943" y="4428500"/>
                </a:moveTo>
                <a:cubicBezTo>
                  <a:pt x="1722873" y="4429016"/>
                  <a:pt x="1723028" y="4429016"/>
                  <a:pt x="1723957" y="4429533"/>
                </a:cubicBezTo>
                <a:cubicBezTo>
                  <a:pt x="1724421" y="4431082"/>
                  <a:pt x="1725661" y="4432527"/>
                  <a:pt x="1725197" y="4434386"/>
                </a:cubicBezTo>
                <a:cubicBezTo>
                  <a:pt x="1724576" y="4435522"/>
                  <a:pt x="1723337" y="4436244"/>
                  <a:pt x="1721788" y="4436658"/>
                </a:cubicBezTo>
                <a:lnTo>
                  <a:pt x="1718381" y="4436967"/>
                </a:lnTo>
                <a:lnTo>
                  <a:pt x="1722563" y="4440994"/>
                </a:lnTo>
                <a:cubicBezTo>
                  <a:pt x="1723028" y="4442234"/>
                  <a:pt x="1722563" y="4443576"/>
                  <a:pt x="1721478" y="4444711"/>
                </a:cubicBezTo>
                <a:lnTo>
                  <a:pt x="1719000" y="4446880"/>
                </a:lnTo>
                <a:lnTo>
                  <a:pt x="1725661" y="4449151"/>
                </a:lnTo>
                <a:lnTo>
                  <a:pt x="1730772" y="4452559"/>
                </a:lnTo>
                <a:lnTo>
                  <a:pt x="1731237" y="4449771"/>
                </a:lnTo>
                <a:cubicBezTo>
                  <a:pt x="1738207" y="4444505"/>
                  <a:pt x="1742389" y="4447706"/>
                  <a:pt x="1743164" y="4446880"/>
                </a:cubicBezTo>
                <a:cubicBezTo>
                  <a:pt x="1745642" y="4449874"/>
                  <a:pt x="1743938" y="4451423"/>
                  <a:pt x="1742234" y="4454727"/>
                </a:cubicBezTo>
                <a:cubicBezTo>
                  <a:pt x="1741770" y="4454211"/>
                  <a:pt x="1740841" y="4454521"/>
                  <a:pt x="1740066" y="4455140"/>
                </a:cubicBezTo>
                <a:lnTo>
                  <a:pt x="1738982" y="4455967"/>
                </a:lnTo>
                <a:lnTo>
                  <a:pt x="1739756" y="4458238"/>
                </a:lnTo>
                <a:cubicBezTo>
                  <a:pt x="1740376" y="4459168"/>
                  <a:pt x="1741151" y="4460303"/>
                  <a:pt x="1742544" y="4461439"/>
                </a:cubicBezTo>
                <a:cubicBezTo>
                  <a:pt x="1740686" y="4461852"/>
                  <a:pt x="1738982" y="4462162"/>
                  <a:pt x="1737278" y="4462059"/>
                </a:cubicBezTo>
                <a:cubicBezTo>
                  <a:pt x="1735574" y="4462059"/>
                  <a:pt x="1734025" y="4461645"/>
                  <a:pt x="1732321" y="4460819"/>
                </a:cubicBezTo>
                <a:lnTo>
                  <a:pt x="1734335" y="4455863"/>
                </a:lnTo>
                <a:lnTo>
                  <a:pt x="1732321" y="4455450"/>
                </a:lnTo>
                <a:cubicBezTo>
                  <a:pt x="1731547" y="4455244"/>
                  <a:pt x="1730927" y="4454831"/>
                  <a:pt x="1730308" y="4454108"/>
                </a:cubicBezTo>
                <a:lnTo>
                  <a:pt x="1730617" y="4452766"/>
                </a:lnTo>
                <a:lnTo>
                  <a:pt x="1725351" y="4455037"/>
                </a:lnTo>
                <a:cubicBezTo>
                  <a:pt x="1724112" y="4455244"/>
                  <a:pt x="1722718" y="4455244"/>
                  <a:pt x="1721323" y="4454934"/>
                </a:cubicBezTo>
                <a:cubicBezTo>
                  <a:pt x="1717297" y="4454314"/>
                  <a:pt x="1713269" y="4451836"/>
                  <a:pt x="1709397" y="4449461"/>
                </a:cubicBezTo>
                <a:lnTo>
                  <a:pt x="1710171" y="4448739"/>
                </a:lnTo>
                <a:lnTo>
                  <a:pt x="1707538" y="4445021"/>
                </a:lnTo>
                <a:cubicBezTo>
                  <a:pt x="1708777" y="4442543"/>
                  <a:pt x="1710326" y="4440891"/>
                  <a:pt x="1712185" y="4439652"/>
                </a:cubicBezTo>
                <a:lnTo>
                  <a:pt x="1718226" y="4437071"/>
                </a:lnTo>
                <a:lnTo>
                  <a:pt x="1717916" y="4437071"/>
                </a:lnTo>
                <a:cubicBezTo>
                  <a:pt x="1716987" y="4436554"/>
                  <a:pt x="1716522" y="4435625"/>
                  <a:pt x="1716367" y="4434489"/>
                </a:cubicBezTo>
                <a:cubicBezTo>
                  <a:pt x="1716367" y="4433457"/>
                  <a:pt x="1716677" y="4432114"/>
                  <a:pt x="1717297" y="4431082"/>
                </a:cubicBezTo>
                <a:cubicBezTo>
                  <a:pt x="1717451" y="4430049"/>
                  <a:pt x="1718226" y="4429430"/>
                  <a:pt x="1719155" y="4429016"/>
                </a:cubicBezTo>
                <a:cubicBezTo>
                  <a:pt x="1719930" y="4428500"/>
                  <a:pt x="1721014" y="4428397"/>
                  <a:pt x="1721943" y="4428500"/>
                </a:cubicBezTo>
                <a:close/>
                <a:moveTo>
                  <a:pt x="5837063" y="4428415"/>
                </a:moveTo>
                <a:cubicBezTo>
                  <a:pt x="5837838" y="4429034"/>
                  <a:pt x="5838303" y="4430170"/>
                  <a:pt x="5838458" y="4432029"/>
                </a:cubicBezTo>
                <a:cubicBezTo>
                  <a:pt x="5837063" y="4432752"/>
                  <a:pt x="5833811" y="4433784"/>
                  <a:pt x="5830713" y="4434094"/>
                </a:cubicBezTo>
                <a:cubicBezTo>
                  <a:pt x="5827615" y="4434301"/>
                  <a:pt x="5824672" y="4433784"/>
                  <a:pt x="5824207" y="4431409"/>
                </a:cubicBezTo>
                <a:cubicBezTo>
                  <a:pt x="5824207" y="4430790"/>
                  <a:pt x="5824207" y="4429964"/>
                  <a:pt x="5824517" y="4428931"/>
                </a:cubicBezTo>
                <a:cubicBezTo>
                  <a:pt x="5829938" y="4429241"/>
                  <a:pt x="5834740" y="4426660"/>
                  <a:pt x="5837063" y="4428415"/>
                </a:cubicBezTo>
                <a:close/>
                <a:moveTo>
                  <a:pt x="1360415" y="4427984"/>
                </a:moveTo>
                <a:cubicBezTo>
                  <a:pt x="1363049" y="4432734"/>
                  <a:pt x="1366921" y="4437587"/>
                  <a:pt x="1362429" y="4441201"/>
                </a:cubicBezTo>
                <a:cubicBezTo>
                  <a:pt x="1354839" y="4441510"/>
                  <a:pt x="1353135" y="4433560"/>
                  <a:pt x="1356078" y="4429843"/>
                </a:cubicBezTo>
                <a:cubicBezTo>
                  <a:pt x="1357007" y="4428604"/>
                  <a:pt x="1358557" y="4427881"/>
                  <a:pt x="1360415" y="4427984"/>
                </a:cubicBezTo>
                <a:close/>
                <a:moveTo>
                  <a:pt x="1082531" y="4427881"/>
                </a:moveTo>
                <a:cubicBezTo>
                  <a:pt x="1082531" y="4427881"/>
                  <a:pt x="1082531" y="4427881"/>
                  <a:pt x="1083461" y="4428707"/>
                </a:cubicBezTo>
                <a:cubicBezTo>
                  <a:pt x="1081912" y="4432837"/>
                  <a:pt x="1083771" y="4437277"/>
                  <a:pt x="1081447" y="4441407"/>
                </a:cubicBezTo>
                <a:cubicBezTo>
                  <a:pt x="1080518" y="4440478"/>
                  <a:pt x="1078659" y="4437793"/>
                  <a:pt x="1080208" y="4435418"/>
                </a:cubicBezTo>
                <a:cubicBezTo>
                  <a:pt x="1081912" y="4432940"/>
                  <a:pt x="1080982" y="4430359"/>
                  <a:pt x="1082531" y="4427881"/>
                </a:cubicBezTo>
                <a:close/>
                <a:moveTo>
                  <a:pt x="6289826" y="4427796"/>
                </a:moveTo>
                <a:lnTo>
                  <a:pt x="6288276" y="4429138"/>
                </a:lnTo>
                <a:lnTo>
                  <a:pt x="6289671" y="4429654"/>
                </a:lnTo>
                <a:cubicBezTo>
                  <a:pt x="6291839" y="4430273"/>
                  <a:pt x="6293853" y="4430996"/>
                  <a:pt x="6295557" y="4432029"/>
                </a:cubicBezTo>
                <a:lnTo>
                  <a:pt x="6298345" y="4435746"/>
                </a:lnTo>
                <a:lnTo>
                  <a:pt x="6298500" y="4435849"/>
                </a:lnTo>
                <a:lnTo>
                  <a:pt x="6306090" y="4438637"/>
                </a:lnTo>
                <a:lnTo>
                  <a:pt x="6307329" y="4433578"/>
                </a:lnTo>
                <a:lnTo>
                  <a:pt x="6307484" y="4433268"/>
                </a:lnTo>
                <a:close/>
                <a:moveTo>
                  <a:pt x="1674545" y="4427468"/>
                </a:moveTo>
                <a:cubicBezTo>
                  <a:pt x="1677333" y="4426538"/>
                  <a:pt x="1682599" y="4428294"/>
                  <a:pt x="1682444" y="4432011"/>
                </a:cubicBezTo>
                <a:cubicBezTo>
                  <a:pt x="1681980" y="4433457"/>
                  <a:pt x="1679347" y="4434489"/>
                  <a:pt x="1677023" y="4434179"/>
                </a:cubicBezTo>
                <a:cubicBezTo>
                  <a:pt x="1674700" y="4433973"/>
                  <a:pt x="1672531" y="4432527"/>
                  <a:pt x="1672996" y="4429223"/>
                </a:cubicBezTo>
                <a:cubicBezTo>
                  <a:pt x="1672996" y="4428294"/>
                  <a:pt x="1673616" y="4427777"/>
                  <a:pt x="1674545" y="4427468"/>
                </a:cubicBezTo>
                <a:close/>
                <a:moveTo>
                  <a:pt x="1066132" y="4426074"/>
                </a:moveTo>
                <a:cubicBezTo>
                  <a:pt x="1070604" y="4427364"/>
                  <a:pt x="1074941" y="4430152"/>
                  <a:pt x="1077575" y="4432424"/>
                </a:cubicBezTo>
                <a:cubicBezTo>
                  <a:pt x="1073857" y="4432631"/>
                  <a:pt x="1069985" y="4433147"/>
                  <a:pt x="1066112" y="4432837"/>
                </a:cubicBezTo>
                <a:cubicBezTo>
                  <a:pt x="1062240" y="4432527"/>
                  <a:pt x="1058213" y="4431495"/>
                  <a:pt x="1053876" y="4428707"/>
                </a:cubicBezTo>
                <a:cubicBezTo>
                  <a:pt x="1057052" y="4424989"/>
                  <a:pt x="1061659" y="4424783"/>
                  <a:pt x="1066132" y="4426074"/>
                </a:cubicBezTo>
                <a:close/>
                <a:moveTo>
                  <a:pt x="5714540" y="4426040"/>
                </a:moveTo>
                <a:cubicBezTo>
                  <a:pt x="5715625" y="4426350"/>
                  <a:pt x="5715625" y="4426350"/>
                  <a:pt x="5716709" y="4428518"/>
                </a:cubicBezTo>
                <a:cubicBezTo>
                  <a:pt x="5715625" y="4428208"/>
                  <a:pt x="5715625" y="4428208"/>
                  <a:pt x="5715315" y="4429344"/>
                </a:cubicBezTo>
                <a:cubicBezTo>
                  <a:pt x="5715315" y="4429344"/>
                  <a:pt x="5715315" y="4429344"/>
                  <a:pt x="5715625" y="4430067"/>
                </a:cubicBezTo>
                <a:cubicBezTo>
                  <a:pt x="5714850" y="4430480"/>
                  <a:pt x="5714540" y="4429861"/>
                  <a:pt x="5713921" y="4430273"/>
                </a:cubicBezTo>
                <a:cubicBezTo>
                  <a:pt x="5713921" y="4430273"/>
                  <a:pt x="5713456" y="4429551"/>
                  <a:pt x="5713456" y="4429551"/>
                </a:cubicBezTo>
                <a:cubicBezTo>
                  <a:pt x="5713147" y="4429757"/>
                  <a:pt x="5713147" y="4429757"/>
                  <a:pt x="5713301" y="4429447"/>
                </a:cubicBezTo>
                <a:cubicBezTo>
                  <a:pt x="5713301" y="4429241"/>
                  <a:pt x="5713456" y="4428621"/>
                  <a:pt x="5713456" y="4427692"/>
                </a:cubicBezTo>
                <a:cubicBezTo>
                  <a:pt x="5713766" y="4426556"/>
                  <a:pt x="5713456" y="4425834"/>
                  <a:pt x="5714540" y="4426040"/>
                </a:cubicBezTo>
                <a:close/>
                <a:moveTo>
                  <a:pt x="1702581" y="4425403"/>
                </a:moveTo>
                <a:cubicBezTo>
                  <a:pt x="1701807" y="4427984"/>
                  <a:pt x="1701807" y="4427984"/>
                  <a:pt x="1700258" y="4429739"/>
                </a:cubicBezTo>
                <a:cubicBezTo>
                  <a:pt x="1700258" y="4428810"/>
                  <a:pt x="1699328" y="4426951"/>
                  <a:pt x="1700103" y="4426125"/>
                </a:cubicBezTo>
                <a:cubicBezTo>
                  <a:pt x="1700877" y="4425299"/>
                  <a:pt x="1700877" y="4425299"/>
                  <a:pt x="1702581" y="4425403"/>
                </a:cubicBezTo>
                <a:close/>
                <a:moveTo>
                  <a:pt x="1184918" y="4425403"/>
                </a:moveTo>
                <a:cubicBezTo>
                  <a:pt x="1186622" y="4425609"/>
                  <a:pt x="1195761" y="4427984"/>
                  <a:pt x="1198084" y="4430049"/>
                </a:cubicBezTo>
                <a:cubicBezTo>
                  <a:pt x="1194056" y="4428500"/>
                  <a:pt x="1188171" y="4428397"/>
                  <a:pt x="1184918" y="4425403"/>
                </a:cubicBezTo>
                <a:close/>
                <a:moveTo>
                  <a:pt x="1107934" y="4425196"/>
                </a:moveTo>
                <a:cubicBezTo>
                  <a:pt x="1112271" y="4430772"/>
                  <a:pt x="1107780" y="4436761"/>
                  <a:pt x="1105611" y="4441924"/>
                </a:cubicBezTo>
                <a:cubicBezTo>
                  <a:pt x="1111497" y="4442749"/>
                  <a:pt x="1120481" y="4442337"/>
                  <a:pt x="1120636" y="4449151"/>
                </a:cubicBezTo>
                <a:lnTo>
                  <a:pt x="1116918" y="4450907"/>
                </a:lnTo>
                <a:lnTo>
                  <a:pt x="1117228" y="4454108"/>
                </a:lnTo>
                <a:lnTo>
                  <a:pt x="1116454" y="4454934"/>
                </a:lnTo>
                <a:lnTo>
                  <a:pt x="1117228" y="4456173"/>
                </a:lnTo>
                <a:cubicBezTo>
                  <a:pt x="1117693" y="4456793"/>
                  <a:pt x="1118003" y="4457206"/>
                  <a:pt x="1118003" y="4457206"/>
                </a:cubicBezTo>
                <a:cubicBezTo>
                  <a:pt x="1117538" y="4458341"/>
                  <a:pt x="1117228" y="4458961"/>
                  <a:pt x="1116763" y="4459168"/>
                </a:cubicBezTo>
                <a:lnTo>
                  <a:pt x="1115369" y="4459064"/>
                </a:lnTo>
                <a:lnTo>
                  <a:pt x="1114905" y="4461026"/>
                </a:lnTo>
                <a:cubicBezTo>
                  <a:pt x="1113046" y="4460819"/>
                  <a:pt x="1109793" y="4458238"/>
                  <a:pt x="1110103" y="4456276"/>
                </a:cubicBezTo>
                <a:lnTo>
                  <a:pt x="1111962" y="4456999"/>
                </a:lnTo>
                <a:lnTo>
                  <a:pt x="1110568" y="4455553"/>
                </a:lnTo>
                <a:cubicBezTo>
                  <a:pt x="1109483" y="4453901"/>
                  <a:pt x="1108709" y="4451939"/>
                  <a:pt x="1109019" y="4450287"/>
                </a:cubicBezTo>
                <a:lnTo>
                  <a:pt x="1111032" y="4450287"/>
                </a:lnTo>
                <a:lnTo>
                  <a:pt x="1106850" y="4449255"/>
                </a:lnTo>
                <a:cubicBezTo>
                  <a:pt x="1105146" y="4448842"/>
                  <a:pt x="1103442" y="4448532"/>
                  <a:pt x="1101584" y="4448635"/>
                </a:cubicBezTo>
                <a:cubicBezTo>
                  <a:pt x="1099260" y="4449565"/>
                  <a:pt x="1098951" y="4452352"/>
                  <a:pt x="1096163" y="4452869"/>
                </a:cubicBezTo>
                <a:cubicBezTo>
                  <a:pt x="1095233" y="4453075"/>
                  <a:pt x="1093994" y="4453075"/>
                  <a:pt x="1092445" y="4452662"/>
                </a:cubicBezTo>
                <a:cubicBezTo>
                  <a:pt x="1093529" y="4442337"/>
                  <a:pt x="1096782" y="4434696"/>
                  <a:pt x="1102048" y="4429533"/>
                </a:cubicBezTo>
                <a:cubicBezTo>
                  <a:pt x="1103752" y="4427777"/>
                  <a:pt x="1105766" y="4426332"/>
                  <a:pt x="1107934" y="4425196"/>
                </a:cubicBezTo>
                <a:close/>
                <a:moveTo>
                  <a:pt x="6275575" y="4424595"/>
                </a:moveTo>
                <a:lnTo>
                  <a:pt x="6275575" y="4424698"/>
                </a:lnTo>
                <a:lnTo>
                  <a:pt x="6274181" y="4426350"/>
                </a:lnTo>
                <a:lnTo>
                  <a:pt x="6276350" y="4427589"/>
                </a:lnTo>
                <a:lnTo>
                  <a:pt x="6276814" y="4425834"/>
                </a:lnTo>
                <a:close/>
                <a:moveTo>
                  <a:pt x="1241145" y="4424370"/>
                </a:moveTo>
                <a:cubicBezTo>
                  <a:pt x="1240990" y="4425609"/>
                  <a:pt x="1244089" y="4425815"/>
                  <a:pt x="1245637" y="4426848"/>
                </a:cubicBezTo>
                <a:cubicBezTo>
                  <a:pt x="1246412" y="4427984"/>
                  <a:pt x="1247186" y="4428913"/>
                  <a:pt x="1247496" y="4429843"/>
                </a:cubicBezTo>
                <a:lnTo>
                  <a:pt x="1247496" y="4430049"/>
                </a:lnTo>
                <a:lnTo>
                  <a:pt x="1252917" y="4431908"/>
                </a:lnTo>
                <a:lnTo>
                  <a:pt x="1253382" y="4432321"/>
                </a:lnTo>
                <a:lnTo>
                  <a:pt x="1253692" y="4432424"/>
                </a:lnTo>
                <a:cubicBezTo>
                  <a:pt x="1258493" y="4432527"/>
                  <a:pt x="1262831" y="4432734"/>
                  <a:pt x="1264689" y="4437483"/>
                </a:cubicBezTo>
                <a:lnTo>
                  <a:pt x="1257564" y="4438826"/>
                </a:lnTo>
                <a:lnTo>
                  <a:pt x="1257564" y="4439342"/>
                </a:lnTo>
                <a:lnTo>
                  <a:pt x="1260507" y="4438516"/>
                </a:lnTo>
                <a:cubicBezTo>
                  <a:pt x="1261902" y="4438516"/>
                  <a:pt x="1263295" y="4438826"/>
                  <a:pt x="1263915" y="4439652"/>
                </a:cubicBezTo>
                <a:cubicBezTo>
                  <a:pt x="1262366" y="4440684"/>
                  <a:pt x="1261281" y="4440994"/>
                  <a:pt x="1260197" y="4441201"/>
                </a:cubicBezTo>
                <a:cubicBezTo>
                  <a:pt x="1259423" y="4441717"/>
                  <a:pt x="1258803" y="4441924"/>
                  <a:pt x="1258339" y="4441614"/>
                </a:cubicBezTo>
                <a:lnTo>
                  <a:pt x="1257564" y="4440375"/>
                </a:lnTo>
                <a:lnTo>
                  <a:pt x="1257564" y="4440684"/>
                </a:lnTo>
                <a:cubicBezTo>
                  <a:pt x="1257100" y="4442130"/>
                  <a:pt x="1256325" y="4443782"/>
                  <a:pt x="1255086" y="4445641"/>
                </a:cubicBezTo>
                <a:cubicBezTo>
                  <a:pt x="1253846" y="4443472"/>
                  <a:pt x="1251988" y="4441717"/>
                  <a:pt x="1249974" y="4440065"/>
                </a:cubicBezTo>
                <a:lnTo>
                  <a:pt x="1249355" y="4439549"/>
                </a:lnTo>
                <a:lnTo>
                  <a:pt x="1245637" y="4439342"/>
                </a:lnTo>
                <a:lnTo>
                  <a:pt x="1244398" y="4438826"/>
                </a:lnTo>
                <a:lnTo>
                  <a:pt x="1242694" y="4440065"/>
                </a:lnTo>
                <a:cubicBezTo>
                  <a:pt x="1241920" y="4440478"/>
                  <a:pt x="1240990" y="4440478"/>
                  <a:pt x="1240061" y="4440272"/>
                </a:cubicBezTo>
                <a:cubicBezTo>
                  <a:pt x="1235879" y="4439755"/>
                  <a:pt x="1233710" y="4438000"/>
                  <a:pt x="1232316" y="4435728"/>
                </a:cubicBezTo>
                <a:cubicBezTo>
                  <a:pt x="1232316" y="4435728"/>
                  <a:pt x="1232316" y="4435728"/>
                  <a:pt x="1232781" y="4436451"/>
                </a:cubicBezTo>
                <a:cubicBezTo>
                  <a:pt x="1232316" y="4440065"/>
                  <a:pt x="1231387" y="4445744"/>
                  <a:pt x="1229992" y="4448532"/>
                </a:cubicBezTo>
                <a:lnTo>
                  <a:pt x="1229683" y="4448739"/>
                </a:lnTo>
                <a:lnTo>
                  <a:pt x="1229838" y="4448945"/>
                </a:lnTo>
                <a:lnTo>
                  <a:pt x="1229528" y="4449048"/>
                </a:lnTo>
                <a:lnTo>
                  <a:pt x="1228289" y="4450184"/>
                </a:lnTo>
                <a:cubicBezTo>
                  <a:pt x="1227824" y="4449461"/>
                  <a:pt x="1227359" y="4448739"/>
                  <a:pt x="1227514" y="4447500"/>
                </a:cubicBezTo>
                <a:cubicBezTo>
                  <a:pt x="1227669" y="4446260"/>
                  <a:pt x="1228134" y="4447086"/>
                  <a:pt x="1227669" y="4446364"/>
                </a:cubicBezTo>
                <a:cubicBezTo>
                  <a:pt x="1227824" y="4445125"/>
                  <a:pt x="1227204" y="4445538"/>
                  <a:pt x="1227204" y="4445538"/>
                </a:cubicBezTo>
                <a:cubicBezTo>
                  <a:pt x="1227204" y="4445538"/>
                  <a:pt x="1227824" y="4445125"/>
                  <a:pt x="1227824" y="4445125"/>
                </a:cubicBezTo>
                <a:cubicBezTo>
                  <a:pt x="1227824" y="4445125"/>
                  <a:pt x="1227824" y="4445125"/>
                  <a:pt x="1228289" y="4442749"/>
                </a:cubicBezTo>
                <a:cubicBezTo>
                  <a:pt x="1228134" y="4439549"/>
                  <a:pt x="1227514" y="4438826"/>
                  <a:pt x="1227204" y="4436864"/>
                </a:cubicBezTo>
                <a:cubicBezTo>
                  <a:pt x="1227669" y="4434489"/>
                  <a:pt x="1228289" y="4433973"/>
                  <a:pt x="1229373" y="4431185"/>
                </a:cubicBezTo>
                <a:cubicBezTo>
                  <a:pt x="1231077" y="4431082"/>
                  <a:pt x="1231077" y="4431082"/>
                  <a:pt x="1231696" y="4431805"/>
                </a:cubicBezTo>
                <a:cubicBezTo>
                  <a:pt x="1231077" y="4431082"/>
                  <a:pt x="1231852" y="4430669"/>
                  <a:pt x="1232006" y="4429430"/>
                </a:cubicBezTo>
                <a:cubicBezTo>
                  <a:pt x="1231542" y="4424370"/>
                  <a:pt x="1235879" y="4423647"/>
                  <a:pt x="1241145" y="4424370"/>
                </a:cubicBezTo>
                <a:close/>
                <a:moveTo>
                  <a:pt x="1616304" y="4423544"/>
                </a:moveTo>
                <a:cubicBezTo>
                  <a:pt x="1619712" y="4426951"/>
                  <a:pt x="1617388" y="4433560"/>
                  <a:pt x="1613826" y="4434696"/>
                </a:cubicBezTo>
                <a:cubicBezTo>
                  <a:pt x="1613206" y="4434799"/>
                  <a:pt x="1612587" y="4434902"/>
                  <a:pt x="1611967" y="4434696"/>
                </a:cubicBezTo>
                <a:cubicBezTo>
                  <a:pt x="1611347" y="4434592"/>
                  <a:pt x="1610573" y="4434179"/>
                  <a:pt x="1609953" y="4433663"/>
                </a:cubicBezTo>
                <a:cubicBezTo>
                  <a:pt x="1608095" y="4428294"/>
                  <a:pt x="1613051" y="4427674"/>
                  <a:pt x="1616304" y="4423544"/>
                </a:cubicBezTo>
                <a:close/>
                <a:moveTo>
                  <a:pt x="656566" y="4423544"/>
                </a:moveTo>
                <a:lnTo>
                  <a:pt x="659819" y="4424473"/>
                </a:lnTo>
                <a:cubicBezTo>
                  <a:pt x="659509" y="4425712"/>
                  <a:pt x="658580" y="4427261"/>
                  <a:pt x="657341" y="4426951"/>
                </a:cubicBezTo>
                <a:cubicBezTo>
                  <a:pt x="656412" y="4427055"/>
                  <a:pt x="656257" y="4426745"/>
                  <a:pt x="656257" y="4426125"/>
                </a:cubicBezTo>
                <a:cubicBezTo>
                  <a:pt x="656412" y="4425403"/>
                  <a:pt x="656566" y="4424576"/>
                  <a:pt x="656566" y="4423544"/>
                </a:cubicBezTo>
                <a:close/>
                <a:moveTo>
                  <a:pt x="1427350" y="4423157"/>
                </a:moveTo>
                <a:cubicBezTo>
                  <a:pt x="1430932" y="4422615"/>
                  <a:pt x="1435075" y="4423905"/>
                  <a:pt x="1437708" y="4427777"/>
                </a:cubicBezTo>
                <a:cubicBezTo>
                  <a:pt x="1437708" y="4430152"/>
                  <a:pt x="1436469" y="4432217"/>
                  <a:pt x="1434611" y="4433973"/>
                </a:cubicBezTo>
                <a:lnTo>
                  <a:pt x="1433681" y="4434489"/>
                </a:lnTo>
                <a:lnTo>
                  <a:pt x="1433217" y="4437277"/>
                </a:lnTo>
                <a:cubicBezTo>
                  <a:pt x="1432287" y="4440478"/>
                  <a:pt x="1430893" y="4442853"/>
                  <a:pt x="1428105" y="4443679"/>
                </a:cubicBezTo>
                <a:cubicBezTo>
                  <a:pt x="1427176" y="4442853"/>
                  <a:pt x="1426711" y="4441820"/>
                  <a:pt x="1426401" y="4440478"/>
                </a:cubicBezTo>
                <a:lnTo>
                  <a:pt x="1426711" y="4437587"/>
                </a:lnTo>
                <a:lnTo>
                  <a:pt x="1426246" y="4437587"/>
                </a:lnTo>
                <a:lnTo>
                  <a:pt x="1426401" y="4441304"/>
                </a:lnTo>
                <a:cubicBezTo>
                  <a:pt x="1425781" y="4441098"/>
                  <a:pt x="1425472" y="4440788"/>
                  <a:pt x="1425472" y="4440272"/>
                </a:cubicBezTo>
                <a:cubicBezTo>
                  <a:pt x="1425317" y="4439755"/>
                  <a:pt x="1425472" y="4439136"/>
                  <a:pt x="1425627" y="4438516"/>
                </a:cubicBezTo>
                <a:lnTo>
                  <a:pt x="1425781" y="4437587"/>
                </a:lnTo>
                <a:lnTo>
                  <a:pt x="1423768" y="4437690"/>
                </a:lnTo>
                <a:cubicBezTo>
                  <a:pt x="1421135" y="4434592"/>
                  <a:pt x="1420050" y="4431908"/>
                  <a:pt x="1420360" y="4429533"/>
                </a:cubicBezTo>
                <a:cubicBezTo>
                  <a:pt x="1420747" y="4426074"/>
                  <a:pt x="1423768" y="4423699"/>
                  <a:pt x="1427350" y="4423157"/>
                </a:cubicBezTo>
                <a:close/>
                <a:moveTo>
                  <a:pt x="5688111" y="4422000"/>
                </a:moveTo>
                <a:cubicBezTo>
                  <a:pt x="5691151" y="4421032"/>
                  <a:pt x="5693707" y="4422994"/>
                  <a:pt x="5690996" y="4432029"/>
                </a:cubicBezTo>
                <a:cubicBezTo>
                  <a:pt x="5685265" y="4432648"/>
                  <a:pt x="5682787" y="4431306"/>
                  <a:pt x="5682322" y="4429551"/>
                </a:cubicBezTo>
                <a:cubicBezTo>
                  <a:pt x="5681548" y="4426866"/>
                  <a:pt x="5685072" y="4422968"/>
                  <a:pt x="5688111" y="4422000"/>
                </a:cubicBezTo>
                <a:close/>
                <a:moveTo>
                  <a:pt x="1001366" y="4421789"/>
                </a:moveTo>
                <a:cubicBezTo>
                  <a:pt x="1001366" y="4421789"/>
                  <a:pt x="1001830" y="4422408"/>
                  <a:pt x="1001521" y="4423544"/>
                </a:cubicBezTo>
                <a:cubicBezTo>
                  <a:pt x="1001521" y="4423544"/>
                  <a:pt x="1001211" y="4423441"/>
                  <a:pt x="1000901" y="4423234"/>
                </a:cubicBezTo>
                <a:cubicBezTo>
                  <a:pt x="1000746" y="4423028"/>
                  <a:pt x="1000591" y="4422718"/>
                  <a:pt x="1000746" y="4422099"/>
                </a:cubicBezTo>
                <a:cubicBezTo>
                  <a:pt x="1000746" y="4422099"/>
                  <a:pt x="1000746" y="4422202"/>
                  <a:pt x="1001366" y="4421789"/>
                </a:cubicBezTo>
                <a:close/>
                <a:moveTo>
                  <a:pt x="1172061" y="4421479"/>
                </a:moveTo>
                <a:cubicBezTo>
                  <a:pt x="1173765" y="4420859"/>
                  <a:pt x="1177018" y="4420549"/>
                  <a:pt x="1178567" y="4422511"/>
                </a:cubicBezTo>
                <a:cubicBezTo>
                  <a:pt x="1178567" y="4422511"/>
                  <a:pt x="1178567" y="4422511"/>
                  <a:pt x="1179342" y="4423544"/>
                </a:cubicBezTo>
                <a:cubicBezTo>
                  <a:pt x="1176863" y="4423131"/>
                  <a:pt x="1173611" y="4422511"/>
                  <a:pt x="1172061" y="4421479"/>
                </a:cubicBezTo>
                <a:close/>
                <a:moveTo>
                  <a:pt x="1324789" y="4420859"/>
                </a:moveTo>
                <a:cubicBezTo>
                  <a:pt x="1325719" y="4421066"/>
                  <a:pt x="1326648" y="4421892"/>
                  <a:pt x="1327422" y="4423544"/>
                </a:cubicBezTo>
                <a:cubicBezTo>
                  <a:pt x="1325874" y="4425299"/>
                  <a:pt x="1320297" y="4429430"/>
                  <a:pt x="1316580" y="4429739"/>
                </a:cubicBezTo>
                <a:cubicBezTo>
                  <a:pt x="1315341" y="4429739"/>
                  <a:pt x="1314257" y="4429533"/>
                  <a:pt x="1313636" y="4428500"/>
                </a:cubicBezTo>
                <a:cubicBezTo>
                  <a:pt x="1313172" y="4427984"/>
                  <a:pt x="1313018" y="4427261"/>
                  <a:pt x="1313018" y="4426229"/>
                </a:cubicBezTo>
                <a:cubicBezTo>
                  <a:pt x="1318128" y="4424370"/>
                  <a:pt x="1322002" y="4420137"/>
                  <a:pt x="1324789" y="4420859"/>
                </a:cubicBezTo>
                <a:close/>
                <a:moveTo>
                  <a:pt x="6113244" y="4420567"/>
                </a:moveTo>
                <a:cubicBezTo>
                  <a:pt x="6120679" y="4425730"/>
                  <a:pt x="6118355" y="4430996"/>
                  <a:pt x="6114483" y="4432132"/>
                </a:cubicBezTo>
                <a:cubicBezTo>
                  <a:pt x="6113089" y="4432545"/>
                  <a:pt x="6111540" y="4432442"/>
                  <a:pt x="6110146" y="4431719"/>
                </a:cubicBezTo>
                <a:cubicBezTo>
                  <a:pt x="6108287" y="4430790"/>
                  <a:pt x="6106738" y="4428725"/>
                  <a:pt x="6105964" y="4425317"/>
                </a:cubicBezTo>
                <a:cubicBezTo>
                  <a:pt x="6108287" y="4422013"/>
                  <a:pt x="6110765" y="4422116"/>
                  <a:pt x="6113244" y="4420567"/>
                </a:cubicBezTo>
                <a:close/>
                <a:moveTo>
                  <a:pt x="983862" y="4420033"/>
                </a:moveTo>
                <a:cubicBezTo>
                  <a:pt x="983862" y="4420033"/>
                  <a:pt x="983708" y="4420033"/>
                  <a:pt x="983398" y="4421272"/>
                </a:cubicBezTo>
                <a:cubicBezTo>
                  <a:pt x="979061" y="4421995"/>
                  <a:pt x="976118" y="4425815"/>
                  <a:pt x="971316" y="4425712"/>
                </a:cubicBezTo>
                <a:cubicBezTo>
                  <a:pt x="971626" y="4424576"/>
                  <a:pt x="973175" y="4421685"/>
                  <a:pt x="976118" y="4421789"/>
                </a:cubicBezTo>
                <a:cubicBezTo>
                  <a:pt x="979061" y="4421995"/>
                  <a:pt x="980919" y="4419930"/>
                  <a:pt x="983862" y="4420033"/>
                </a:cubicBezTo>
                <a:close/>
                <a:moveTo>
                  <a:pt x="5492574" y="4419122"/>
                </a:moveTo>
                <a:cubicBezTo>
                  <a:pt x="5491180" y="4420980"/>
                  <a:pt x="5488702" y="4424388"/>
                  <a:pt x="5486688" y="4425214"/>
                </a:cubicBezTo>
                <a:cubicBezTo>
                  <a:pt x="5485914" y="4425420"/>
                  <a:pt x="5485294" y="4425420"/>
                  <a:pt x="5484675" y="4425007"/>
                </a:cubicBezTo>
                <a:cubicBezTo>
                  <a:pt x="5483900" y="4424078"/>
                  <a:pt x="5484829" y="4423252"/>
                  <a:pt x="5484984" y="4422426"/>
                </a:cubicBezTo>
                <a:cubicBezTo>
                  <a:pt x="5485914" y="4420671"/>
                  <a:pt x="5491955" y="4418193"/>
                  <a:pt x="5492574" y="4419122"/>
                </a:cubicBezTo>
                <a:close/>
                <a:moveTo>
                  <a:pt x="6056610" y="4419006"/>
                </a:moveTo>
                <a:cubicBezTo>
                  <a:pt x="6058875" y="4418786"/>
                  <a:pt x="6061198" y="4419741"/>
                  <a:pt x="6063832" y="4422426"/>
                </a:cubicBezTo>
                <a:cubicBezTo>
                  <a:pt x="6063677" y="4425834"/>
                  <a:pt x="6060734" y="4427176"/>
                  <a:pt x="6057636" y="4427072"/>
                </a:cubicBezTo>
                <a:cubicBezTo>
                  <a:pt x="6054538" y="4426866"/>
                  <a:pt x="6051130" y="4425317"/>
                  <a:pt x="6049736" y="4422633"/>
                </a:cubicBezTo>
                <a:cubicBezTo>
                  <a:pt x="6052137" y="4420619"/>
                  <a:pt x="6054344" y="4419225"/>
                  <a:pt x="6056610" y="4419006"/>
                </a:cubicBezTo>
                <a:close/>
                <a:moveTo>
                  <a:pt x="1478602" y="4418691"/>
                </a:moveTo>
                <a:cubicBezTo>
                  <a:pt x="1483713" y="4426022"/>
                  <a:pt x="1475968" y="4434592"/>
                  <a:pt x="1469772" y="4438413"/>
                </a:cubicBezTo>
                <a:cubicBezTo>
                  <a:pt x="1466984" y="4428707"/>
                  <a:pt x="1472870" y="4423750"/>
                  <a:pt x="1478602" y="4418691"/>
                </a:cubicBezTo>
                <a:close/>
                <a:moveTo>
                  <a:pt x="1583156" y="4418278"/>
                </a:moveTo>
                <a:cubicBezTo>
                  <a:pt x="1584705" y="4419104"/>
                  <a:pt x="1585170" y="4420033"/>
                  <a:pt x="1585170" y="4421272"/>
                </a:cubicBezTo>
                <a:lnTo>
                  <a:pt x="1584705" y="4423544"/>
                </a:lnTo>
                <a:lnTo>
                  <a:pt x="1585015" y="4423544"/>
                </a:lnTo>
                <a:cubicBezTo>
                  <a:pt x="1587958" y="4423957"/>
                  <a:pt x="1592450" y="4426435"/>
                  <a:pt x="1590746" y="4428913"/>
                </a:cubicBezTo>
                <a:cubicBezTo>
                  <a:pt x="1589972" y="4429533"/>
                  <a:pt x="1589197" y="4429636"/>
                  <a:pt x="1588268" y="4429430"/>
                </a:cubicBezTo>
                <a:cubicBezTo>
                  <a:pt x="1587029" y="4429120"/>
                  <a:pt x="1585635" y="4427984"/>
                  <a:pt x="1584550" y="4426848"/>
                </a:cubicBezTo>
                <a:lnTo>
                  <a:pt x="1584240" y="4426125"/>
                </a:lnTo>
                <a:lnTo>
                  <a:pt x="1582382" y="4427468"/>
                </a:lnTo>
                <a:cubicBezTo>
                  <a:pt x="1581762" y="4428397"/>
                  <a:pt x="1581143" y="4429533"/>
                  <a:pt x="1580833" y="4430049"/>
                </a:cubicBezTo>
                <a:cubicBezTo>
                  <a:pt x="1580058" y="4429636"/>
                  <a:pt x="1579284" y="4429946"/>
                  <a:pt x="1578354" y="4430359"/>
                </a:cubicBezTo>
                <a:lnTo>
                  <a:pt x="1578200" y="4430359"/>
                </a:lnTo>
                <a:lnTo>
                  <a:pt x="1578200" y="4430462"/>
                </a:lnTo>
                <a:lnTo>
                  <a:pt x="1579439" y="4431598"/>
                </a:lnTo>
                <a:lnTo>
                  <a:pt x="1579594" y="4431288"/>
                </a:lnTo>
                <a:cubicBezTo>
                  <a:pt x="1582227" y="4429120"/>
                  <a:pt x="1584860" y="4426951"/>
                  <a:pt x="1587338" y="4429016"/>
                </a:cubicBezTo>
                <a:cubicBezTo>
                  <a:pt x="1585325" y="4432217"/>
                  <a:pt x="1584395" y="4434696"/>
                  <a:pt x="1582537" y="4437793"/>
                </a:cubicBezTo>
                <a:cubicBezTo>
                  <a:pt x="1582072" y="4438206"/>
                  <a:pt x="1580987" y="4438619"/>
                  <a:pt x="1579903" y="4438929"/>
                </a:cubicBezTo>
                <a:lnTo>
                  <a:pt x="1577580" y="4438723"/>
                </a:lnTo>
                <a:lnTo>
                  <a:pt x="1577580" y="4439652"/>
                </a:lnTo>
                <a:cubicBezTo>
                  <a:pt x="1577580" y="4441201"/>
                  <a:pt x="1577580" y="4442853"/>
                  <a:pt x="1578200" y="4444608"/>
                </a:cubicBezTo>
                <a:cubicBezTo>
                  <a:pt x="1576341" y="4445538"/>
                  <a:pt x="1575257" y="4446054"/>
                  <a:pt x="1574173" y="4445847"/>
                </a:cubicBezTo>
                <a:cubicBezTo>
                  <a:pt x="1572933" y="4445744"/>
                  <a:pt x="1571849" y="4444918"/>
                  <a:pt x="1570300" y="4443059"/>
                </a:cubicBezTo>
                <a:cubicBezTo>
                  <a:pt x="1570300" y="4443059"/>
                  <a:pt x="1569990" y="4441924"/>
                  <a:pt x="1569990" y="4441924"/>
                </a:cubicBezTo>
                <a:lnTo>
                  <a:pt x="1568906" y="4436658"/>
                </a:lnTo>
                <a:lnTo>
                  <a:pt x="1567047" y="4435418"/>
                </a:lnTo>
                <a:cubicBezTo>
                  <a:pt x="1566892" y="4432837"/>
                  <a:pt x="1568441" y="4430978"/>
                  <a:pt x="1570454" y="4429946"/>
                </a:cubicBezTo>
                <a:lnTo>
                  <a:pt x="1572158" y="4429843"/>
                </a:lnTo>
                <a:lnTo>
                  <a:pt x="1572313" y="4428087"/>
                </a:lnTo>
                <a:lnTo>
                  <a:pt x="1572778" y="4428191"/>
                </a:lnTo>
                <a:lnTo>
                  <a:pt x="1572778" y="4426642"/>
                </a:lnTo>
                <a:cubicBezTo>
                  <a:pt x="1577890" y="4418484"/>
                  <a:pt x="1582537" y="4419414"/>
                  <a:pt x="1583156" y="4418278"/>
                </a:cubicBezTo>
                <a:close/>
                <a:moveTo>
                  <a:pt x="650681" y="4417658"/>
                </a:moveTo>
                <a:cubicBezTo>
                  <a:pt x="653933" y="4418381"/>
                  <a:pt x="655947" y="4420137"/>
                  <a:pt x="655482" y="4423234"/>
                </a:cubicBezTo>
                <a:cubicBezTo>
                  <a:pt x="654863" y="4425609"/>
                  <a:pt x="653623" y="4429223"/>
                  <a:pt x="650681" y="4429223"/>
                </a:cubicBezTo>
                <a:cubicBezTo>
                  <a:pt x="650216" y="4428397"/>
                  <a:pt x="649596" y="4428913"/>
                  <a:pt x="649131" y="4428191"/>
                </a:cubicBezTo>
                <a:cubicBezTo>
                  <a:pt x="649131" y="4428191"/>
                  <a:pt x="648357" y="4427674"/>
                  <a:pt x="647738" y="4426642"/>
                </a:cubicBezTo>
                <a:cubicBezTo>
                  <a:pt x="647428" y="4426125"/>
                  <a:pt x="647118" y="4425403"/>
                  <a:pt x="646963" y="4424680"/>
                </a:cubicBezTo>
                <a:cubicBezTo>
                  <a:pt x="646654" y="4423854"/>
                  <a:pt x="646654" y="4422924"/>
                  <a:pt x="646963" y="4421892"/>
                </a:cubicBezTo>
                <a:cubicBezTo>
                  <a:pt x="647273" y="4420653"/>
                  <a:pt x="648821" y="4417762"/>
                  <a:pt x="649131" y="4418484"/>
                </a:cubicBezTo>
                <a:cubicBezTo>
                  <a:pt x="650216" y="4418794"/>
                  <a:pt x="649906" y="4418071"/>
                  <a:pt x="650681" y="4417658"/>
                </a:cubicBezTo>
                <a:close/>
                <a:moveTo>
                  <a:pt x="5967177" y="4417470"/>
                </a:moveTo>
                <a:cubicBezTo>
                  <a:pt x="5967177" y="4417470"/>
                  <a:pt x="5967177" y="4417470"/>
                  <a:pt x="5968106" y="4419329"/>
                </a:cubicBezTo>
                <a:cubicBezTo>
                  <a:pt x="5968106" y="4420154"/>
                  <a:pt x="5968261" y="4421084"/>
                  <a:pt x="5967331" y="4421910"/>
                </a:cubicBezTo>
                <a:cubicBezTo>
                  <a:pt x="5966557" y="4422839"/>
                  <a:pt x="5964853" y="4422736"/>
                  <a:pt x="5963924" y="4422633"/>
                </a:cubicBezTo>
                <a:cubicBezTo>
                  <a:pt x="5963924" y="4421806"/>
                  <a:pt x="5963149" y="4421703"/>
                  <a:pt x="5962994" y="4420877"/>
                </a:cubicBezTo>
                <a:cubicBezTo>
                  <a:pt x="5962065" y="4419018"/>
                  <a:pt x="5962065" y="4419018"/>
                  <a:pt x="5962994" y="4418089"/>
                </a:cubicBezTo>
                <a:cubicBezTo>
                  <a:pt x="5963769" y="4417263"/>
                  <a:pt x="5966402" y="4418399"/>
                  <a:pt x="5967177" y="4417470"/>
                </a:cubicBezTo>
                <a:close/>
                <a:moveTo>
                  <a:pt x="1036682" y="4417245"/>
                </a:moveTo>
                <a:cubicBezTo>
                  <a:pt x="1038851" y="4418071"/>
                  <a:pt x="1042568" y="4417968"/>
                  <a:pt x="1043033" y="4421479"/>
                </a:cubicBezTo>
                <a:cubicBezTo>
                  <a:pt x="1041329" y="4420859"/>
                  <a:pt x="1038076" y="4420137"/>
                  <a:pt x="1036992" y="4418794"/>
                </a:cubicBezTo>
                <a:cubicBezTo>
                  <a:pt x="1036528" y="4418381"/>
                  <a:pt x="1036528" y="4417865"/>
                  <a:pt x="1036682" y="4417245"/>
                </a:cubicBezTo>
                <a:close/>
                <a:moveTo>
                  <a:pt x="5579471" y="4416747"/>
                </a:moveTo>
                <a:cubicBezTo>
                  <a:pt x="5579471" y="4416747"/>
                  <a:pt x="5579471" y="4416850"/>
                  <a:pt x="5580245" y="4417263"/>
                </a:cubicBezTo>
                <a:cubicBezTo>
                  <a:pt x="5581485" y="4418089"/>
                  <a:pt x="5582259" y="4418502"/>
                  <a:pt x="5582879" y="4419018"/>
                </a:cubicBezTo>
                <a:cubicBezTo>
                  <a:pt x="5583033" y="4420154"/>
                  <a:pt x="5583033" y="4423252"/>
                  <a:pt x="5581794" y="4423562"/>
                </a:cubicBezTo>
                <a:cubicBezTo>
                  <a:pt x="5580710" y="4423872"/>
                  <a:pt x="5579471" y="4423872"/>
                  <a:pt x="5578542" y="4423665"/>
                </a:cubicBezTo>
                <a:cubicBezTo>
                  <a:pt x="5577612" y="4423459"/>
                  <a:pt x="5576993" y="4423045"/>
                  <a:pt x="5576838" y="4422426"/>
                </a:cubicBezTo>
                <a:cubicBezTo>
                  <a:pt x="5576528" y="4420671"/>
                  <a:pt x="5576218" y="4418915"/>
                  <a:pt x="5577612" y="4417779"/>
                </a:cubicBezTo>
                <a:cubicBezTo>
                  <a:pt x="5578077" y="4417367"/>
                  <a:pt x="5578697" y="4417057"/>
                  <a:pt x="5579471" y="4416747"/>
                </a:cubicBezTo>
                <a:close/>
                <a:moveTo>
                  <a:pt x="5959432" y="4415921"/>
                </a:moveTo>
                <a:cubicBezTo>
                  <a:pt x="5959432" y="4415921"/>
                  <a:pt x="5960206" y="4416850"/>
                  <a:pt x="5960206" y="4416850"/>
                </a:cubicBezTo>
                <a:cubicBezTo>
                  <a:pt x="5963304" y="4419948"/>
                  <a:pt x="5964698" y="4425420"/>
                  <a:pt x="5963769" y="4427072"/>
                </a:cubicBezTo>
                <a:cubicBezTo>
                  <a:pt x="5962839" y="4427796"/>
                  <a:pt x="5961600" y="4428208"/>
                  <a:pt x="5960206" y="4428105"/>
                </a:cubicBezTo>
                <a:cubicBezTo>
                  <a:pt x="5958812" y="4428002"/>
                  <a:pt x="5957418" y="4427279"/>
                  <a:pt x="5956334" y="4425834"/>
                </a:cubicBezTo>
                <a:cubicBezTo>
                  <a:pt x="5953855" y="4423665"/>
                  <a:pt x="5954010" y="4420258"/>
                  <a:pt x="5951687" y="4417263"/>
                </a:cubicBezTo>
                <a:cubicBezTo>
                  <a:pt x="5954475" y="4414166"/>
                  <a:pt x="5955404" y="4413443"/>
                  <a:pt x="5959432" y="4415921"/>
                </a:cubicBezTo>
                <a:close/>
                <a:moveTo>
                  <a:pt x="1443595" y="4415593"/>
                </a:moveTo>
                <a:cubicBezTo>
                  <a:pt x="1448086" y="4415593"/>
                  <a:pt x="1454282" y="4419001"/>
                  <a:pt x="1455057" y="4423957"/>
                </a:cubicBezTo>
                <a:lnTo>
                  <a:pt x="1454437" y="4426538"/>
                </a:lnTo>
                <a:lnTo>
                  <a:pt x="1455832" y="4424783"/>
                </a:lnTo>
                <a:cubicBezTo>
                  <a:pt x="1460788" y="4421272"/>
                  <a:pt x="1468223" y="4420963"/>
                  <a:pt x="1472560" y="4421995"/>
                </a:cubicBezTo>
                <a:cubicBezTo>
                  <a:pt x="1469927" y="4427984"/>
                  <a:pt x="1462802" y="4430875"/>
                  <a:pt x="1457071" y="4430772"/>
                </a:cubicBezTo>
                <a:cubicBezTo>
                  <a:pt x="1455212" y="4430669"/>
                  <a:pt x="1453353" y="4430256"/>
                  <a:pt x="1451959" y="4429533"/>
                </a:cubicBezTo>
                <a:lnTo>
                  <a:pt x="1453043" y="4428294"/>
                </a:lnTo>
                <a:lnTo>
                  <a:pt x="1448086" y="4422924"/>
                </a:lnTo>
                <a:cubicBezTo>
                  <a:pt x="1446228" y="4420756"/>
                  <a:pt x="1444524" y="4418381"/>
                  <a:pt x="1443595" y="4415593"/>
                </a:cubicBezTo>
                <a:close/>
                <a:moveTo>
                  <a:pt x="1483868" y="4415283"/>
                </a:moveTo>
                <a:cubicBezTo>
                  <a:pt x="1484332" y="4415490"/>
                  <a:pt x="1484642" y="4416109"/>
                  <a:pt x="1485107" y="4416936"/>
                </a:cubicBezTo>
                <a:lnTo>
                  <a:pt x="1485417" y="4417762"/>
                </a:lnTo>
                <a:lnTo>
                  <a:pt x="1488050" y="4419930"/>
                </a:lnTo>
                <a:lnTo>
                  <a:pt x="1488824" y="4420240"/>
                </a:lnTo>
                <a:lnTo>
                  <a:pt x="1488979" y="4419827"/>
                </a:lnTo>
                <a:cubicBezTo>
                  <a:pt x="1490374" y="4418381"/>
                  <a:pt x="1492697" y="4417348"/>
                  <a:pt x="1493781" y="4417865"/>
                </a:cubicBezTo>
                <a:cubicBezTo>
                  <a:pt x="1494711" y="4418381"/>
                  <a:pt x="1495020" y="4419207"/>
                  <a:pt x="1495020" y="4419207"/>
                </a:cubicBezTo>
                <a:lnTo>
                  <a:pt x="1493626" y="4421685"/>
                </a:lnTo>
                <a:lnTo>
                  <a:pt x="1494401" y="4421892"/>
                </a:lnTo>
                <a:cubicBezTo>
                  <a:pt x="1500751" y="4422718"/>
                  <a:pt x="1507412" y="4421479"/>
                  <a:pt x="1510665" y="4427777"/>
                </a:cubicBezTo>
                <a:lnTo>
                  <a:pt x="1505398" y="4428500"/>
                </a:lnTo>
                <a:lnTo>
                  <a:pt x="1506173" y="4429636"/>
                </a:lnTo>
                <a:cubicBezTo>
                  <a:pt x="1506638" y="4430772"/>
                  <a:pt x="1506792" y="4432424"/>
                  <a:pt x="1506173" y="4434489"/>
                </a:cubicBezTo>
                <a:cubicBezTo>
                  <a:pt x="1505553" y="4435625"/>
                  <a:pt x="1503694" y="4438206"/>
                  <a:pt x="1503385" y="4437380"/>
                </a:cubicBezTo>
                <a:cubicBezTo>
                  <a:pt x="1502300" y="4436967"/>
                  <a:pt x="1502610" y="4437793"/>
                  <a:pt x="1501836" y="4438103"/>
                </a:cubicBezTo>
                <a:cubicBezTo>
                  <a:pt x="1500132" y="4437483"/>
                  <a:pt x="1499048" y="4436554"/>
                  <a:pt x="1498428" y="4435522"/>
                </a:cubicBezTo>
                <a:cubicBezTo>
                  <a:pt x="1497653" y="4434386"/>
                  <a:pt x="1497499" y="4433043"/>
                  <a:pt x="1497963" y="4431598"/>
                </a:cubicBezTo>
                <a:lnTo>
                  <a:pt x="1499202" y="4429533"/>
                </a:lnTo>
                <a:lnTo>
                  <a:pt x="1498428" y="4429636"/>
                </a:lnTo>
                <a:lnTo>
                  <a:pt x="1497344" y="4429533"/>
                </a:lnTo>
                <a:lnTo>
                  <a:pt x="1497034" y="4431082"/>
                </a:lnTo>
                <a:lnTo>
                  <a:pt x="1493936" y="4429533"/>
                </a:lnTo>
                <a:lnTo>
                  <a:pt x="1494246" y="4429223"/>
                </a:lnTo>
                <a:lnTo>
                  <a:pt x="1491767" y="4428913"/>
                </a:lnTo>
                <a:cubicBezTo>
                  <a:pt x="1489444" y="4428294"/>
                  <a:pt x="1486811" y="4427365"/>
                  <a:pt x="1484177" y="4425712"/>
                </a:cubicBezTo>
                <a:cubicBezTo>
                  <a:pt x="1484177" y="4424370"/>
                  <a:pt x="1483558" y="4422821"/>
                  <a:pt x="1483248" y="4421272"/>
                </a:cubicBezTo>
                <a:lnTo>
                  <a:pt x="1483248" y="4419414"/>
                </a:lnTo>
                <a:lnTo>
                  <a:pt x="1482784" y="4418588"/>
                </a:lnTo>
                <a:cubicBezTo>
                  <a:pt x="1482628" y="4417555"/>
                  <a:pt x="1482784" y="4416523"/>
                  <a:pt x="1483868" y="4415283"/>
                </a:cubicBezTo>
                <a:close/>
                <a:moveTo>
                  <a:pt x="6253115" y="4414475"/>
                </a:moveTo>
                <a:lnTo>
                  <a:pt x="6254199" y="4418193"/>
                </a:lnTo>
                <a:lnTo>
                  <a:pt x="6254509" y="4417676"/>
                </a:lnTo>
                <a:lnTo>
                  <a:pt x="6259775" y="4422116"/>
                </a:lnTo>
                <a:lnTo>
                  <a:pt x="6263958" y="4423252"/>
                </a:lnTo>
                <a:cubicBezTo>
                  <a:pt x="6265817" y="4423665"/>
                  <a:pt x="6267520" y="4423975"/>
                  <a:pt x="6269069" y="4424491"/>
                </a:cubicBezTo>
                <a:lnTo>
                  <a:pt x="6269844" y="4424698"/>
                </a:lnTo>
                <a:lnTo>
                  <a:pt x="6267365" y="4422116"/>
                </a:lnTo>
                <a:cubicBezTo>
                  <a:pt x="6262873" y="4419535"/>
                  <a:pt x="6257607" y="4418709"/>
                  <a:pt x="6254044" y="4416024"/>
                </a:cubicBezTo>
                <a:close/>
                <a:moveTo>
                  <a:pt x="4918683" y="4414475"/>
                </a:moveTo>
                <a:cubicBezTo>
                  <a:pt x="4917754" y="4415301"/>
                  <a:pt x="4917754" y="4415301"/>
                  <a:pt x="4918529" y="4416128"/>
                </a:cubicBezTo>
                <a:cubicBezTo>
                  <a:pt x="4918529" y="4416128"/>
                  <a:pt x="4918529" y="4416128"/>
                  <a:pt x="4919303" y="4416128"/>
                </a:cubicBezTo>
                <a:cubicBezTo>
                  <a:pt x="4919148" y="4416953"/>
                  <a:pt x="4918374" y="4416953"/>
                  <a:pt x="4918374" y="4417779"/>
                </a:cubicBezTo>
                <a:cubicBezTo>
                  <a:pt x="4918374" y="4417779"/>
                  <a:pt x="4917599" y="4417779"/>
                  <a:pt x="4917599" y="4417779"/>
                </a:cubicBezTo>
                <a:cubicBezTo>
                  <a:pt x="4917444" y="4418193"/>
                  <a:pt x="4917444" y="4418193"/>
                  <a:pt x="4917289" y="4417986"/>
                </a:cubicBezTo>
                <a:cubicBezTo>
                  <a:pt x="4917134" y="4417779"/>
                  <a:pt x="4916825" y="4417367"/>
                  <a:pt x="4916050" y="4416953"/>
                </a:cubicBezTo>
                <a:cubicBezTo>
                  <a:pt x="4915586" y="4416540"/>
                  <a:pt x="4915276" y="4416334"/>
                  <a:pt x="4915121" y="4416024"/>
                </a:cubicBezTo>
                <a:cubicBezTo>
                  <a:pt x="4914966" y="4415817"/>
                  <a:pt x="4914966" y="4415611"/>
                  <a:pt x="4915431" y="4415198"/>
                </a:cubicBezTo>
                <a:cubicBezTo>
                  <a:pt x="4916205" y="4414475"/>
                  <a:pt x="4916205" y="4414372"/>
                  <a:pt x="4918683" y="4414475"/>
                </a:cubicBezTo>
                <a:close/>
                <a:moveTo>
                  <a:pt x="1779100" y="4413735"/>
                </a:moveTo>
                <a:cubicBezTo>
                  <a:pt x="1784986" y="4417245"/>
                  <a:pt x="1791802" y="4420549"/>
                  <a:pt x="1790253" y="4426229"/>
                </a:cubicBezTo>
                <a:cubicBezTo>
                  <a:pt x="1789013" y="4426848"/>
                  <a:pt x="1787774" y="4426951"/>
                  <a:pt x="1786690" y="4426745"/>
                </a:cubicBezTo>
                <a:lnTo>
                  <a:pt x="1784211" y="4425609"/>
                </a:lnTo>
                <a:lnTo>
                  <a:pt x="1783592" y="4426229"/>
                </a:lnTo>
                <a:cubicBezTo>
                  <a:pt x="1782043" y="4424990"/>
                  <a:pt x="1780649" y="4423750"/>
                  <a:pt x="1780029" y="4421892"/>
                </a:cubicBezTo>
                <a:lnTo>
                  <a:pt x="1777706" y="4419414"/>
                </a:lnTo>
                <a:cubicBezTo>
                  <a:pt x="1778945" y="4417245"/>
                  <a:pt x="1777861" y="4415903"/>
                  <a:pt x="1779100" y="4413735"/>
                </a:cubicBezTo>
                <a:close/>
                <a:moveTo>
                  <a:pt x="1092755" y="4413528"/>
                </a:moveTo>
                <a:cubicBezTo>
                  <a:pt x="1092755" y="4413528"/>
                  <a:pt x="1093529" y="4413528"/>
                  <a:pt x="1094303" y="4414354"/>
                </a:cubicBezTo>
                <a:cubicBezTo>
                  <a:pt x="1094303" y="4414354"/>
                  <a:pt x="1094149" y="4414561"/>
                  <a:pt x="1093839" y="4414664"/>
                </a:cubicBezTo>
                <a:cubicBezTo>
                  <a:pt x="1093529" y="4414767"/>
                  <a:pt x="1093219" y="4414767"/>
                  <a:pt x="1092755" y="4414354"/>
                </a:cubicBezTo>
                <a:cubicBezTo>
                  <a:pt x="1092755" y="4414354"/>
                  <a:pt x="1092755" y="4414251"/>
                  <a:pt x="1092755" y="4413528"/>
                </a:cubicBezTo>
                <a:close/>
                <a:moveTo>
                  <a:pt x="1581143" y="4413322"/>
                </a:moveTo>
                <a:cubicBezTo>
                  <a:pt x="1582537" y="4416316"/>
                  <a:pt x="1580678" y="4418484"/>
                  <a:pt x="1578354" y="4419001"/>
                </a:cubicBezTo>
                <a:cubicBezTo>
                  <a:pt x="1576031" y="4419517"/>
                  <a:pt x="1573397" y="4418278"/>
                  <a:pt x="1573553" y="4414354"/>
                </a:cubicBezTo>
                <a:cubicBezTo>
                  <a:pt x="1576960" y="4413632"/>
                  <a:pt x="1579284" y="4413115"/>
                  <a:pt x="1581143" y="4413322"/>
                </a:cubicBezTo>
                <a:close/>
                <a:moveTo>
                  <a:pt x="1299076" y="4413218"/>
                </a:moveTo>
                <a:cubicBezTo>
                  <a:pt x="1297837" y="4414457"/>
                  <a:pt x="1297837" y="4414457"/>
                  <a:pt x="1299076" y="4415593"/>
                </a:cubicBezTo>
                <a:cubicBezTo>
                  <a:pt x="1299076" y="4415593"/>
                  <a:pt x="1299076" y="4415593"/>
                  <a:pt x="1300470" y="4415593"/>
                </a:cubicBezTo>
                <a:cubicBezTo>
                  <a:pt x="1300470" y="4416832"/>
                  <a:pt x="1299076" y="4416832"/>
                  <a:pt x="1299076" y="4417968"/>
                </a:cubicBezTo>
                <a:cubicBezTo>
                  <a:pt x="1299076" y="4417968"/>
                  <a:pt x="1297837" y="4417968"/>
                  <a:pt x="1297837" y="4417968"/>
                </a:cubicBezTo>
                <a:cubicBezTo>
                  <a:pt x="1297837" y="4418588"/>
                  <a:pt x="1297837" y="4418588"/>
                  <a:pt x="1297527" y="4418381"/>
                </a:cubicBezTo>
                <a:cubicBezTo>
                  <a:pt x="1297218" y="4418071"/>
                  <a:pt x="1296598" y="4417452"/>
                  <a:pt x="1295204" y="4416832"/>
                </a:cubicBezTo>
                <a:cubicBezTo>
                  <a:pt x="1293965" y="4415697"/>
                  <a:pt x="1292725" y="4415593"/>
                  <a:pt x="1293965" y="4414354"/>
                </a:cubicBezTo>
                <a:cubicBezTo>
                  <a:pt x="1295204" y="4413218"/>
                  <a:pt x="1295204" y="4413218"/>
                  <a:pt x="1299076" y="4413218"/>
                </a:cubicBezTo>
                <a:close/>
                <a:moveTo>
                  <a:pt x="1278785" y="4413115"/>
                </a:moveTo>
                <a:cubicBezTo>
                  <a:pt x="1281108" y="4411773"/>
                  <a:pt x="1285135" y="4412909"/>
                  <a:pt x="1291642" y="4419001"/>
                </a:cubicBezTo>
                <a:cubicBezTo>
                  <a:pt x="1289473" y="4424990"/>
                  <a:pt x="1287149" y="4427881"/>
                  <a:pt x="1284981" y="4428707"/>
                </a:cubicBezTo>
                <a:cubicBezTo>
                  <a:pt x="1282812" y="4429636"/>
                  <a:pt x="1280799" y="4428500"/>
                  <a:pt x="1279405" y="4426435"/>
                </a:cubicBezTo>
                <a:cubicBezTo>
                  <a:pt x="1276461" y="4422511"/>
                  <a:pt x="1275533" y="4415077"/>
                  <a:pt x="1278785" y="4413115"/>
                </a:cubicBezTo>
                <a:close/>
                <a:moveTo>
                  <a:pt x="1103752" y="4413012"/>
                </a:moveTo>
                <a:cubicBezTo>
                  <a:pt x="1104062" y="4413735"/>
                  <a:pt x="1105146" y="4414044"/>
                  <a:pt x="1105920" y="4413528"/>
                </a:cubicBezTo>
                <a:cubicBezTo>
                  <a:pt x="1107005" y="4413838"/>
                  <a:pt x="1108244" y="4414148"/>
                  <a:pt x="1107934" y="4413322"/>
                </a:cubicBezTo>
                <a:cubicBezTo>
                  <a:pt x="1111342" y="4414148"/>
                  <a:pt x="1111962" y="4413735"/>
                  <a:pt x="1112427" y="4416419"/>
                </a:cubicBezTo>
                <a:cubicBezTo>
                  <a:pt x="1106075" y="4419414"/>
                  <a:pt x="1097711" y="4420653"/>
                  <a:pt x="1095853" y="4420859"/>
                </a:cubicBezTo>
                <a:cubicBezTo>
                  <a:pt x="1094923" y="4420963"/>
                  <a:pt x="1094303" y="4420756"/>
                  <a:pt x="1093994" y="4420446"/>
                </a:cubicBezTo>
                <a:cubicBezTo>
                  <a:pt x="1093684" y="4420033"/>
                  <a:pt x="1093529" y="4419310"/>
                  <a:pt x="1093529" y="4418381"/>
                </a:cubicBezTo>
                <a:cubicBezTo>
                  <a:pt x="1095388" y="4414251"/>
                  <a:pt x="1099570" y="4414664"/>
                  <a:pt x="1103752" y="4413012"/>
                </a:cubicBezTo>
                <a:close/>
                <a:moveTo>
                  <a:pt x="966514" y="4412909"/>
                </a:moveTo>
                <a:cubicBezTo>
                  <a:pt x="967908" y="4412082"/>
                  <a:pt x="969922" y="4413218"/>
                  <a:pt x="970386" y="4414871"/>
                </a:cubicBezTo>
                <a:lnTo>
                  <a:pt x="969767" y="4417039"/>
                </a:lnTo>
                <a:lnTo>
                  <a:pt x="971471" y="4416832"/>
                </a:lnTo>
                <a:cubicBezTo>
                  <a:pt x="971006" y="4418071"/>
                  <a:pt x="970077" y="4421685"/>
                  <a:pt x="970077" y="4421685"/>
                </a:cubicBezTo>
                <a:cubicBezTo>
                  <a:pt x="970386" y="4422408"/>
                  <a:pt x="970386" y="4422408"/>
                  <a:pt x="970077" y="4423544"/>
                </a:cubicBezTo>
                <a:cubicBezTo>
                  <a:pt x="968838" y="4423234"/>
                  <a:pt x="968838" y="4423338"/>
                  <a:pt x="968528" y="4422615"/>
                </a:cubicBezTo>
                <a:cubicBezTo>
                  <a:pt x="968838" y="4421376"/>
                  <a:pt x="969612" y="4420963"/>
                  <a:pt x="970077" y="4419723"/>
                </a:cubicBezTo>
                <a:cubicBezTo>
                  <a:pt x="967753" y="4419207"/>
                  <a:pt x="968218" y="4419930"/>
                  <a:pt x="968528" y="4418691"/>
                </a:cubicBezTo>
                <a:cubicBezTo>
                  <a:pt x="968528" y="4418691"/>
                  <a:pt x="968528" y="4418691"/>
                  <a:pt x="968838" y="4417452"/>
                </a:cubicBezTo>
                <a:lnTo>
                  <a:pt x="968992" y="4417245"/>
                </a:lnTo>
                <a:lnTo>
                  <a:pt x="968838" y="4417142"/>
                </a:lnTo>
                <a:lnTo>
                  <a:pt x="968838" y="4417452"/>
                </a:lnTo>
                <a:lnTo>
                  <a:pt x="961248" y="4421582"/>
                </a:lnTo>
                <a:lnTo>
                  <a:pt x="961248" y="4422615"/>
                </a:lnTo>
                <a:cubicBezTo>
                  <a:pt x="961712" y="4421789"/>
                  <a:pt x="961867" y="4423028"/>
                  <a:pt x="961867" y="4423028"/>
                </a:cubicBezTo>
                <a:cubicBezTo>
                  <a:pt x="961867" y="4423028"/>
                  <a:pt x="961867" y="4423028"/>
                  <a:pt x="964191" y="4422408"/>
                </a:cubicBezTo>
                <a:cubicBezTo>
                  <a:pt x="964191" y="4422408"/>
                  <a:pt x="969612" y="4421479"/>
                  <a:pt x="971006" y="4426745"/>
                </a:cubicBezTo>
                <a:cubicBezTo>
                  <a:pt x="970541" y="4426848"/>
                  <a:pt x="970541" y="4427984"/>
                  <a:pt x="970386" y="4429326"/>
                </a:cubicBezTo>
                <a:lnTo>
                  <a:pt x="969922" y="4431908"/>
                </a:lnTo>
                <a:lnTo>
                  <a:pt x="970232" y="4430772"/>
                </a:lnTo>
                <a:cubicBezTo>
                  <a:pt x="971161" y="4429739"/>
                  <a:pt x="972400" y="4429223"/>
                  <a:pt x="973949" y="4429223"/>
                </a:cubicBezTo>
                <a:cubicBezTo>
                  <a:pt x="976427" y="4432321"/>
                  <a:pt x="975343" y="4435212"/>
                  <a:pt x="972400" y="4435832"/>
                </a:cubicBezTo>
                <a:lnTo>
                  <a:pt x="968992" y="4435625"/>
                </a:lnTo>
                <a:lnTo>
                  <a:pt x="968838" y="4435728"/>
                </a:lnTo>
                <a:cubicBezTo>
                  <a:pt x="968682" y="4437277"/>
                  <a:pt x="968528" y="4438619"/>
                  <a:pt x="968528" y="4439445"/>
                </a:cubicBezTo>
                <a:cubicBezTo>
                  <a:pt x="967753" y="4439858"/>
                  <a:pt x="967753" y="4439858"/>
                  <a:pt x="967753" y="4439858"/>
                </a:cubicBezTo>
                <a:cubicBezTo>
                  <a:pt x="966824" y="4439962"/>
                  <a:pt x="966360" y="4439549"/>
                  <a:pt x="966205" y="4438619"/>
                </a:cubicBezTo>
                <a:lnTo>
                  <a:pt x="966205" y="4437277"/>
                </a:lnTo>
                <a:lnTo>
                  <a:pt x="963261" y="4438929"/>
                </a:lnTo>
                <a:cubicBezTo>
                  <a:pt x="961248" y="4437587"/>
                  <a:pt x="957685" y="4438619"/>
                  <a:pt x="955516" y="4432940"/>
                </a:cubicBezTo>
                <a:cubicBezTo>
                  <a:pt x="953967" y="4426538"/>
                  <a:pt x="960318" y="4424164"/>
                  <a:pt x="959544" y="4423647"/>
                </a:cubicBezTo>
                <a:lnTo>
                  <a:pt x="959389" y="4422924"/>
                </a:lnTo>
                <a:lnTo>
                  <a:pt x="958615" y="4423647"/>
                </a:lnTo>
                <a:cubicBezTo>
                  <a:pt x="957995" y="4424060"/>
                  <a:pt x="957840" y="4424370"/>
                  <a:pt x="957840" y="4424370"/>
                </a:cubicBezTo>
                <a:cubicBezTo>
                  <a:pt x="955981" y="4424576"/>
                  <a:pt x="955516" y="4423750"/>
                  <a:pt x="955981" y="4424576"/>
                </a:cubicBezTo>
                <a:cubicBezTo>
                  <a:pt x="953658" y="4423957"/>
                  <a:pt x="950715" y="4423854"/>
                  <a:pt x="950715" y="4421995"/>
                </a:cubicBezTo>
                <a:cubicBezTo>
                  <a:pt x="951799" y="4416936"/>
                  <a:pt x="958304" y="4416109"/>
                  <a:pt x="962642" y="4415800"/>
                </a:cubicBezTo>
                <a:lnTo>
                  <a:pt x="965430" y="4415490"/>
                </a:lnTo>
                <a:close/>
                <a:moveTo>
                  <a:pt x="600185" y="4412289"/>
                </a:moveTo>
                <a:cubicBezTo>
                  <a:pt x="605296" y="4408159"/>
                  <a:pt x="621870" y="4413115"/>
                  <a:pt x="621715" y="4422408"/>
                </a:cubicBezTo>
                <a:cubicBezTo>
                  <a:pt x="615984" y="4420240"/>
                  <a:pt x="610717" y="4417555"/>
                  <a:pt x="602352" y="4417555"/>
                </a:cubicBezTo>
                <a:cubicBezTo>
                  <a:pt x="602508" y="4415077"/>
                  <a:pt x="599410" y="4415283"/>
                  <a:pt x="600185" y="4412289"/>
                </a:cubicBezTo>
                <a:close/>
                <a:moveTo>
                  <a:pt x="1307441" y="4412186"/>
                </a:moveTo>
                <a:cubicBezTo>
                  <a:pt x="1308835" y="4411876"/>
                  <a:pt x="1310694" y="4412186"/>
                  <a:pt x="1312553" y="4413838"/>
                </a:cubicBezTo>
                <a:cubicBezTo>
                  <a:pt x="1313327" y="4418071"/>
                  <a:pt x="1309300" y="4420137"/>
                  <a:pt x="1308215" y="4423131"/>
                </a:cubicBezTo>
                <a:cubicBezTo>
                  <a:pt x="1306356" y="4422615"/>
                  <a:pt x="1305272" y="4421789"/>
                  <a:pt x="1304498" y="4420756"/>
                </a:cubicBezTo>
                <a:cubicBezTo>
                  <a:pt x="1302329" y="4417658"/>
                  <a:pt x="1304033" y="4413012"/>
                  <a:pt x="1307441" y="4412186"/>
                </a:cubicBezTo>
                <a:close/>
                <a:moveTo>
                  <a:pt x="1686937" y="4411979"/>
                </a:moveTo>
                <a:cubicBezTo>
                  <a:pt x="1692978" y="4412082"/>
                  <a:pt x="1702891" y="4418588"/>
                  <a:pt x="1699328" y="4425919"/>
                </a:cubicBezTo>
                <a:cubicBezTo>
                  <a:pt x="1695302" y="4421582"/>
                  <a:pt x="1689725" y="4417555"/>
                  <a:pt x="1686937" y="4411979"/>
                </a:cubicBezTo>
                <a:close/>
                <a:moveTo>
                  <a:pt x="5681083" y="4411481"/>
                </a:moveTo>
                <a:cubicBezTo>
                  <a:pt x="5685575" y="4408486"/>
                  <a:pt x="5699051" y="4422013"/>
                  <a:pt x="5681238" y="4421187"/>
                </a:cubicBezTo>
                <a:cubicBezTo>
                  <a:pt x="5679224" y="4415405"/>
                  <a:pt x="5679689" y="4412513"/>
                  <a:pt x="5681083" y="4411481"/>
                </a:cubicBezTo>
                <a:close/>
                <a:moveTo>
                  <a:pt x="6074829" y="4411377"/>
                </a:moveTo>
                <a:cubicBezTo>
                  <a:pt x="6075604" y="4411791"/>
                  <a:pt x="6076068" y="4411068"/>
                  <a:pt x="6076843" y="4411481"/>
                </a:cubicBezTo>
                <a:cubicBezTo>
                  <a:pt x="6078702" y="4411584"/>
                  <a:pt x="6078702" y="4411584"/>
                  <a:pt x="6078857" y="4412823"/>
                </a:cubicBezTo>
                <a:cubicBezTo>
                  <a:pt x="6079167" y="4414062"/>
                  <a:pt x="6076843" y="4415921"/>
                  <a:pt x="6077153" y="4417160"/>
                </a:cubicBezTo>
                <a:cubicBezTo>
                  <a:pt x="6077153" y="4417160"/>
                  <a:pt x="6077153" y="4417160"/>
                  <a:pt x="6075139" y="4417057"/>
                </a:cubicBezTo>
                <a:cubicBezTo>
                  <a:pt x="6074520" y="4416540"/>
                  <a:pt x="6073745" y="4416128"/>
                  <a:pt x="6073590" y="4414888"/>
                </a:cubicBezTo>
                <a:cubicBezTo>
                  <a:pt x="6073435" y="4413649"/>
                  <a:pt x="6074365" y="4412100"/>
                  <a:pt x="6074829" y="4411377"/>
                </a:cubicBezTo>
                <a:close/>
                <a:moveTo>
                  <a:pt x="1593534" y="4410121"/>
                </a:moveTo>
                <a:cubicBezTo>
                  <a:pt x="1593689" y="4410947"/>
                  <a:pt x="1594618" y="4411463"/>
                  <a:pt x="1594929" y="4412289"/>
                </a:cubicBezTo>
                <a:cubicBezTo>
                  <a:pt x="1594309" y="4413425"/>
                  <a:pt x="1593225" y="4413838"/>
                  <a:pt x="1592295" y="4413838"/>
                </a:cubicBezTo>
                <a:cubicBezTo>
                  <a:pt x="1591521" y="4413838"/>
                  <a:pt x="1590591" y="4413425"/>
                  <a:pt x="1590591" y="4413012"/>
                </a:cubicBezTo>
                <a:cubicBezTo>
                  <a:pt x="1591211" y="4411876"/>
                  <a:pt x="1592915" y="4411256"/>
                  <a:pt x="1593534" y="4410121"/>
                </a:cubicBezTo>
                <a:close/>
                <a:moveTo>
                  <a:pt x="1084235" y="4409811"/>
                </a:moveTo>
                <a:cubicBezTo>
                  <a:pt x="1085010" y="4409811"/>
                  <a:pt x="1085165" y="4413218"/>
                  <a:pt x="1084390" y="4414044"/>
                </a:cubicBezTo>
                <a:cubicBezTo>
                  <a:pt x="1082841" y="4415697"/>
                  <a:pt x="1082066" y="4416523"/>
                  <a:pt x="1080363" y="4416419"/>
                </a:cubicBezTo>
                <a:cubicBezTo>
                  <a:pt x="1079588" y="4417245"/>
                  <a:pt x="1078659" y="4418071"/>
                  <a:pt x="1077885" y="4418484"/>
                </a:cubicBezTo>
                <a:cubicBezTo>
                  <a:pt x="1077419" y="4418691"/>
                  <a:pt x="1077110" y="4418794"/>
                  <a:pt x="1076645" y="4418691"/>
                </a:cubicBezTo>
                <a:cubicBezTo>
                  <a:pt x="1076181" y="4418691"/>
                  <a:pt x="1075871" y="4418381"/>
                  <a:pt x="1075406" y="4417968"/>
                </a:cubicBezTo>
                <a:cubicBezTo>
                  <a:pt x="1076026" y="4415387"/>
                  <a:pt x="1076800" y="4413735"/>
                  <a:pt x="1078349" y="4411256"/>
                </a:cubicBezTo>
                <a:cubicBezTo>
                  <a:pt x="1078349" y="4411256"/>
                  <a:pt x="1081602" y="4407952"/>
                  <a:pt x="1084235" y="4409811"/>
                </a:cubicBezTo>
                <a:close/>
                <a:moveTo>
                  <a:pt x="1021812" y="4409398"/>
                </a:moveTo>
                <a:cubicBezTo>
                  <a:pt x="1026304" y="4411463"/>
                  <a:pt x="1026923" y="4419001"/>
                  <a:pt x="1023361" y="4423854"/>
                </a:cubicBezTo>
                <a:lnTo>
                  <a:pt x="1021967" y="4424886"/>
                </a:lnTo>
                <a:lnTo>
                  <a:pt x="1028473" y="4426229"/>
                </a:lnTo>
                <a:cubicBezTo>
                  <a:pt x="1035598" y="4426332"/>
                  <a:pt x="1042723" y="4424060"/>
                  <a:pt x="1047370" y="4428810"/>
                </a:cubicBezTo>
                <a:cubicBezTo>
                  <a:pt x="1041329" y="4430152"/>
                  <a:pt x="1033429" y="4435832"/>
                  <a:pt x="1027853" y="4435109"/>
                </a:cubicBezTo>
                <a:cubicBezTo>
                  <a:pt x="1026149" y="4434902"/>
                  <a:pt x="1024755" y="4434076"/>
                  <a:pt x="1023671" y="4432424"/>
                </a:cubicBezTo>
                <a:lnTo>
                  <a:pt x="1021502" y="4425196"/>
                </a:lnTo>
                <a:lnTo>
                  <a:pt x="1018249" y="4427674"/>
                </a:lnTo>
                <a:cubicBezTo>
                  <a:pt x="1015461" y="4426745"/>
                  <a:pt x="1013758" y="4423647"/>
                  <a:pt x="1012983" y="4420137"/>
                </a:cubicBezTo>
                <a:cubicBezTo>
                  <a:pt x="1012054" y="4416626"/>
                  <a:pt x="1012364" y="4412805"/>
                  <a:pt x="1013602" y="4410431"/>
                </a:cubicBezTo>
                <a:cubicBezTo>
                  <a:pt x="1017165" y="4408572"/>
                  <a:pt x="1019798" y="4408469"/>
                  <a:pt x="1021812" y="4409398"/>
                </a:cubicBezTo>
                <a:close/>
                <a:moveTo>
                  <a:pt x="1610728" y="4409295"/>
                </a:moveTo>
                <a:cubicBezTo>
                  <a:pt x="1610418" y="4413218"/>
                  <a:pt x="1610573" y="4415903"/>
                  <a:pt x="1610108" y="4419827"/>
                </a:cubicBezTo>
                <a:cubicBezTo>
                  <a:pt x="1609643" y="4420963"/>
                  <a:pt x="1607165" y="4424060"/>
                  <a:pt x="1606081" y="4423647"/>
                </a:cubicBezTo>
                <a:cubicBezTo>
                  <a:pt x="1604996" y="4423338"/>
                  <a:pt x="1604686" y="4422511"/>
                  <a:pt x="1604377" y="4421789"/>
                </a:cubicBezTo>
                <a:cubicBezTo>
                  <a:pt x="1604532" y="4419827"/>
                  <a:pt x="1604841" y="4417865"/>
                  <a:pt x="1604996" y="4415903"/>
                </a:cubicBezTo>
                <a:cubicBezTo>
                  <a:pt x="1606391" y="4412496"/>
                  <a:pt x="1607785" y="4408881"/>
                  <a:pt x="1610728" y="4409295"/>
                </a:cubicBezTo>
                <a:close/>
                <a:moveTo>
                  <a:pt x="996255" y="4408262"/>
                </a:moveTo>
                <a:cubicBezTo>
                  <a:pt x="996255" y="4408262"/>
                  <a:pt x="1000746" y="4409398"/>
                  <a:pt x="1000437" y="4412496"/>
                </a:cubicBezTo>
                <a:cubicBezTo>
                  <a:pt x="1000901" y="4413218"/>
                  <a:pt x="997958" y="4415077"/>
                  <a:pt x="996719" y="4414767"/>
                </a:cubicBezTo>
                <a:cubicBezTo>
                  <a:pt x="994550" y="4414251"/>
                  <a:pt x="993466" y="4414044"/>
                  <a:pt x="992692" y="4412496"/>
                </a:cubicBezTo>
                <a:cubicBezTo>
                  <a:pt x="991607" y="4412289"/>
                  <a:pt x="990523" y="4411979"/>
                  <a:pt x="989748" y="4411463"/>
                </a:cubicBezTo>
                <a:cubicBezTo>
                  <a:pt x="988974" y="4410947"/>
                  <a:pt x="988664" y="4410121"/>
                  <a:pt x="988974" y="4408985"/>
                </a:cubicBezTo>
                <a:cubicBezTo>
                  <a:pt x="991607" y="4408365"/>
                  <a:pt x="993311" y="4408159"/>
                  <a:pt x="996255" y="4408262"/>
                </a:cubicBezTo>
                <a:close/>
                <a:moveTo>
                  <a:pt x="5954165" y="4407970"/>
                </a:moveTo>
                <a:cubicBezTo>
                  <a:pt x="5950757" y="4409829"/>
                  <a:pt x="5949983" y="4412823"/>
                  <a:pt x="5948124" y="4413443"/>
                </a:cubicBezTo>
                <a:cubicBezTo>
                  <a:pt x="5947505" y="4413649"/>
                  <a:pt x="5946730" y="4413546"/>
                  <a:pt x="5945646" y="4413133"/>
                </a:cubicBezTo>
                <a:cubicBezTo>
                  <a:pt x="5945336" y="4409416"/>
                  <a:pt x="5950912" y="4406318"/>
                  <a:pt x="5954165" y="4407970"/>
                </a:cubicBezTo>
                <a:close/>
                <a:moveTo>
                  <a:pt x="1257564" y="4407436"/>
                </a:moveTo>
                <a:cubicBezTo>
                  <a:pt x="1258339" y="4407230"/>
                  <a:pt x="1259268" y="4407333"/>
                  <a:pt x="1260043" y="4408159"/>
                </a:cubicBezTo>
                <a:cubicBezTo>
                  <a:pt x="1259578" y="4410121"/>
                  <a:pt x="1258803" y="4411153"/>
                  <a:pt x="1257564" y="4413322"/>
                </a:cubicBezTo>
                <a:cubicBezTo>
                  <a:pt x="1256635" y="4413115"/>
                  <a:pt x="1256015" y="4412599"/>
                  <a:pt x="1255706" y="4412082"/>
                </a:cubicBezTo>
                <a:cubicBezTo>
                  <a:pt x="1254776" y="4410431"/>
                  <a:pt x="1256015" y="4407952"/>
                  <a:pt x="1257564" y="4407436"/>
                </a:cubicBezTo>
                <a:close/>
                <a:moveTo>
                  <a:pt x="1454747" y="4407023"/>
                </a:moveTo>
                <a:cubicBezTo>
                  <a:pt x="1456141" y="4407952"/>
                  <a:pt x="1458000" y="4407230"/>
                  <a:pt x="1459084" y="4410017"/>
                </a:cubicBezTo>
                <a:cubicBezTo>
                  <a:pt x="1457226" y="4411566"/>
                  <a:pt x="1455522" y="4412392"/>
                  <a:pt x="1453508" y="4413941"/>
                </a:cubicBezTo>
                <a:cubicBezTo>
                  <a:pt x="1452889" y="4413425"/>
                  <a:pt x="1452424" y="4412909"/>
                  <a:pt x="1452269" y="4412289"/>
                </a:cubicBezTo>
                <a:cubicBezTo>
                  <a:pt x="1451649" y="4410637"/>
                  <a:pt x="1453198" y="4408778"/>
                  <a:pt x="1454747" y="4407023"/>
                </a:cubicBezTo>
                <a:close/>
                <a:moveTo>
                  <a:pt x="1119087" y="4405577"/>
                </a:moveTo>
                <a:cubicBezTo>
                  <a:pt x="1126212" y="4410121"/>
                  <a:pt x="1134731" y="4410637"/>
                  <a:pt x="1136590" y="4414871"/>
                </a:cubicBezTo>
                <a:lnTo>
                  <a:pt x="1136126" y="4420343"/>
                </a:lnTo>
                <a:lnTo>
                  <a:pt x="1137830" y="4420343"/>
                </a:lnTo>
                <a:cubicBezTo>
                  <a:pt x="1137830" y="4420343"/>
                  <a:pt x="1138914" y="4420653"/>
                  <a:pt x="1139998" y="4421066"/>
                </a:cubicBezTo>
                <a:cubicBezTo>
                  <a:pt x="1139998" y="4421066"/>
                  <a:pt x="1140772" y="4420756"/>
                  <a:pt x="1141547" y="4420343"/>
                </a:cubicBezTo>
                <a:cubicBezTo>
                  <a:pt x="1144335" y="4420756"/>
                  <a:pt x="1146349" y="4420653"/>
                  <a:pt x="1146659" y="4424164"/>
                </a:cubicBezTo>
                <a:cubicBezTo>
                  <a:pt x="1145884" y="4424473"/>
                  <a:pt x="1143870" y="4423750"/>
                  <a:pt x="1142786" y="4423338"/>
                </a:cubicBezTo>
                <a:cubicBezTo>
                  <a:pt x="1142011" y="4423750"/>
                  <a:pt x="1140927" y="4423338"/>
                  <a:pt x="1140618" y="4422615"/>
                </a:cubicBezTo>
                <a:cubicBezTo>
                  <a:pt x="1140618" y="4422615"/>
                  <a:pt x="1139533" y="4422202"/>
                  <a:pt x="1138759" y="4422615"/>
                </a:cubicBezTo>
                <a:cubicBezTo>
                  <a:pt x="1137674" y="4422202"/>
                  <a:pt x="1137055" y="4421789"/>
                  <a:pt x="1136590" y="4421479"/>
                </a:cubicBezTo>
                <a:lnTo>
                  <a:pt x="1136126" y="4420446"/>
                </a:lnTo>
                <a:lnTo>
                  <a:pt x="1135971" y="4420549"/>
                </a:lnTo>
                <a:cubicBezTo>
                  <a:pt x="1130549" y="4420343"/>
                  <a:pt x="1110103" y="4414044"/>
                  <a:pt x="1119087" y="4405577"/>
                </a:cubicBezTo>
                <a:close/>
                <a:moveTo>
                  <a:pt x="621715" y="4404029"/>
                </a:moveTo>
                <a:cubicBezTo>
                  <a:pt x="621715" y="4405165"/>
                  <a:pt x="621560" y="4406404"/>
                  <a:pt x="621405" y="4407539"/>
                </a:cubicBezTo>
                <a:cubicBezTo>
                  <a:pt x="619082" y="4407230"/>
                  <a:pt x="616913" y="4406816"/>
                  <a:pt x="617068" y="4404442"/>
                </a:cubicBezTo>
                <a:cubicBezTo>
                  <a:pt x="618772" y="4404132"/>
                  <a:pt x="618927" y="4402996"/>
                  <a:pt x="621715" y="4404029"/>
                </a:cubicBezTo>
                <a:close/>
                <a:moveTo>
                  <a:pt x="1521353" y="4403822"/>
                </a:moveTo>
                <a:cubicBezTo>
                  <a:pt x="1523366" y="4402583"/>
                  <a:pt x="1527703" y="4403822"/>
                  <a:pt x="1535139" y="4410224"/>
                </a:cubicBezTo>
                <a:cubicBezTo>
                  <a:pt x="1533744" y="4416109"/>
                  <a:pt x="1531730" y="4418794"/>
                  <a:pt x="1529717" y="4419620"/>
                </a:cubicBezTo>
                <a:lnTo>
                  <a:pt x="1527549" y="4419723"/>
                </a:lnTo>
                <a:lnTo>
                  <a:pt x="1528633" y="4421479"/>
                </a:lnTo>
                <a:cubicBezTo>
                  <a:pt x="1529098" y="4422718"/>
                  <a:pt x="1529098" y="4424783"/>
                  <a:pt x="1528633" y="4426848"/>
                </a:cubicBezTo>
                <a:lnTo>
                  <a:pt x="1527549" y="4429636"/>
                </a:lnTo>
                <a:lnTo>
                  <a:pt x="1527858" y="4430772"/>
                </a:lnTo>
                <a:cubicBezTo>
                  <a:pt x="1526774" y="4434386"/>
                  <a:pt x="1522282" y="4439033"/>
                  <a:pt x="1518874" y="4438206"/>
                </a:cubicBezTo>
                <a:cubicBezTo>
                  <a:pt x="1516861" y="4438000"/>
                  <a:pt x="1515311" y="4437380"/>
                  <a:pt x="1514227" y="4436658"/>
                </a:cubicBezTo>
                <a:lnTo>
                  <a:pt x="1513453" y="4435728"/>
                </a:lnTo>
                <a:lnTo>
                  <a:pt x="1514382" y="4438516"/>
                </a:lnTo>
                <a:cubicBezTo>
                  <a:pt x="1514227" y="4439858"/>
                  <a:pt x="1513763" y="4441098"/>
                  <a:pt x="1513298" y="4442234"/>
                </a:cubicBezTo>
                <a:cubicBezTo>
                  <a:pt x="1512369" y="4443885"/>
                  <a:pt x="1512369" y="4444711"/>
                  <a:pt x="1512989" y="4446570"/>
                </a:cubicBezTo>
                <a:cubicBezTo>
                  <a:pt x="1512989" y="4446570"/>
                  <a:pt x="1512989" y="4446570"/>
                  <a:pt x="1511284" y="4448016"/>
                </a:cubicBezTo>
                <a:lnTo>
                  <a:pt x="1510355" y="4447809"/>
                </a:lnTo>
                <a:cubicBezTo>
                  <a:pt x="1510045" y="4447500"/>
                  <a:pt x="1509891" y="4446880"/>
                  <a:pt x="1509891" y="4445847"/>
                </a:cubicBezTo>
                <a:cubicBezTo>
                  <a:pt x="1509891" y="4444505"/>
                  <a:pt x="1510045" y="4442543"/>
                  <a:pt x="1510355" y="4440891"/>
                </a:cubicBezTo>
                <a:lnTo>
                  <a:pt x="1510974" y="4437897"/>
                </a:lnTo>
                <a:lnTo>
                  <a:pt x="1509271" y="4443059"/>
                </a:lnTo>
                <a:cubicBezTo>
                  <a:pt x="1508186" y="4445847"/>
                  <a:pt x="1506947" y="4448119"/>
                  <a:pt x="1505708" y="4448429"/>
                </a:cubicBezTo>
                <a:cubicBezTo>
                  <a:pt x="1505243" y="4447603"/>
                  <a:pt x="1504779" y="4446880"/>
                  <a:pt x="1505243" y="4445641"/>
                </a:cubicBezTo>
                <a:cubicBezTo>
                  <a:pt x="1505553" y="4444505"/>
                  <a:pt x="1506018" y="4445228"/>
                  <a:pt x="1505553" y="4444505"/>
                </a:cubicBezTo>
                <a:cubicBezTo>
                  <a:pt x="1506018" y="4443369"/>
                  <a:pt x="1505243" y="4443782"/>
                  <a:pt x="1505243" y="4443782"/>
                </a:cubicBezTo>
                <a:cubicBezTo>
                  <a:pt x="1505243" y="4443782"/>
                  <a:pt x="1505863" y="4443266"/>
                  <a:pt x="1505863" y="4443266"/>
                </a:cubicBezTo>
                <a:cubicBezTo>
                  <a:pt x="1505863" y="4443266"/>
                  <a:pt x="1505863" y="4443369"/>
                  <a:pt x="1506638" y="4440891"/>
                </a:cubicBezTo>
                <a:cubicBezTo>
                  <a:pt x="1506947" y="4437793"/>
                  <a:pt x="1506638" y="4436967"/>
                  <a:pt x="1506483" y="4435005"/>
                </a:cubicBezTo>
                <a:cubicBezTo>
                  <a:pt x="1507257" y="4432631"/>
                  <a:pt x="1508032" y="4432217"/>
                  <a:pt x="1509426" y="4429326"/>
                </a:cubicBezTo>
                <a:cubicBezTo>
                  <a:pt x="1511284" y="4429120"/>
                  <a:pt x="1511284" y="4429120"/>
                  <a:pt x="1511749" y="4429843"/>
                </a:cubicBezTo>
                <a:cubicBezTo>
                  <a:pt x="1511284" y="4429120"/>
                  <a:pt x="1512059" y="4428604"/>
                  <a:pt x="1512369" y="4427468"/>
                </a:cubicBezTo>
                <a:cubicBezTo>
                  <a:pt x="1512679" y="4422305"/>
                  <a:pt x="1517170" y="4421479"/>
                  <a:pt x="1522437" y="4422202"/>
                </a:cubicBezTo>
                <a:cubicBezTo>
                  <a:pt x="1522282" y="4422821"/>
                  <a:pt x="1522901" y="4423131"/>
                  <a:pt x="1523831" y="4423441"/>
                </a:cubicBezTo>
                <a:lnTo>
                  <a:pt x="1523986" y="4423544"/>
                </a:lnTo>
                <a:lnTo>
                  <a:pt x="1524140" y="4423131"/>
                </a:lnTo>
                <a:cubicBezTo>
                  <a:pt x="1524605" y="4421272"/>
                  <a:pt x="1525070" y="4419414"/>
                  <a:pt x="1525070" y="4419414"/>
                </a:cubicBezTo>
                <a:lnTo>
                  <a:pt x="1526619" y="4419207"/>
                </a:lnTo>
                <a:lnTo>
                  <a:pt x="1523521" y="4417039"/>
                </a:lnTo>
                <a:cubicBezTo>
                  <a:pt x="1520268" y="4412909"/>
                  <a:pt x="1518409" y="4405680"/>
                  <a:pt x="1521353" y="4403822"/>
                </a:cubicBezTo>
                <a:close/>
                <a:moveTo>
                  <a:pt x="5524018" y="4403737"/>
                </a:moveTo>
                <a:cubicBezTo>
                  <a:pt x="5520765" y="4413443"/>
                  <a:pt x="5522934" y="4420774"/>
                  <a:pt x="5517203" y="4431203"/>
                </a:cubicBezTo>
                <a:cubicBezTo>
                  <a:pt x="5515654" y="4429964"/>
                  <a:pt x="5514724" y="4427589"/>
                  <a:pt x="5514260" y="4424801"/>
                </a:cubicBezTo>
                <a:cubicBezTo>
                  <a:pt x="5513175" y="4416644"/>
                  <a:pt x="5517048" y="4404460"/>
                  <a:pt x="5524018" y="4403737"/>
                </a:cubicBezTo>
                <a:close/>
                <a:moveTo>
                  <a:pt x="5939605" y="4403324"/>
                </a:moveTo>
                <a:cubicBezTo>
                  <a:pt x="5939605" y="4403324"/>
                  <a:pt x="5939605" y="4403220"/>
                  <a:pt x="5940534" y="4403324"/>
                </a:cubicBezTo>
                <a:cubicBezTo>
                  <a:pt x="5939760" y="4406731"/>
                  <a:pt x="5940844" y="4411274"/>
                  <a:pt x="5939295" y="4413856"/>
                </a:cubicBezTo>
                <a:cubicBezTo>
                  <a:pt x="5938830" y="4414269"/>
                  <a:pt x="5938520" y="4414682"/>
                  <a:pt x="5937901" y="4414682"/>
                </a:cubicBezTo>
                <a:cubicBezTo>
                  <a:pt x="5937436" y="4414785"/>
                  <a:pt x="5936817" y="4414578"/>
                  <a:pt x="5935888" y="4413649"/>
                </a:cubicBezTo>
                <a:cubicBezTo>
                  <a:pt x="5934184" y="4412617"/>
                  <a:pt x="5934184" y="4411791"/>
                  <a:pt x="5935732" y="4409209"/>
                </a:cubicBezTo>
                <a:cubicBezTo>
                  <a:pt x="5937281" y="4407557"/>
                  <a:pt x="5938056" y="4405802"/>
                  <a:pt x="5938985" y="4405905"/>
                </a:cubicBezTo>
                <a:cubicBezTo>
                  <a:pt x="5938830" y="4404976"/>
                  <a:pt x="5939605" y="4404149"/>
                  <a:pt x="5939605" y="4403324"/>
                </a:cubicBezTo>
                <a:close/>
                <a:moveTo>
                  <a:pt x="739281" y="4403203"/>
                </a:moveTo>
                <a:cubicBezTo>
                  <a:pt x="740365" y="4406816"/>
                  <a:pt x="737732" y="4409708"/>
                  <a:pt x="734789" y="4409914"/>
                </a:cubicBezTo>
                <a:cubicBezTo>
                  <a:pt x="733860" y="4409914"/>
                  <a:pt x="732930" y="4409708"/>
                  <a:pt x="732001" y="4409088"/>
                </a:cubicBezTo>
                <a:cubicBezTo>
                  <a:pt x="731536" y="4407849"/>
                  <a:pt x="730452" y="4406094"/>
                  <a:pt x="730452" y="4404235"/>
                </a:cubicBezTo>
                <a:cubicBezTo>
                  <a:pt x="733240" y="4401137"/>
                  <a:pt x="736183" y="4401137"/>
                  <a:pt x="739281" y="4403203"/>
                </a:cubicBezTo>
                <a:close/>
                <a:moveTo>
                  <a:pt x="1565653" y="4402996"/>
                </a:moveTo>
                <a:cubicBezTo>
                  <a:pt x="1567976" y="4405268"/>
                  <a:pt x="1567047" y="4406713"/>
                  <a:pt x="1568441" y="4407952"/>
                </a:cubicBezTo>
                <a:cubicBezTo>
                  <a:pt x="1567047" y="4409295"/>
                  <a:pt x="1565653" y="4409811"/>
                  <a:pt x="1564414" y="4409708"/>
                </a:cubicBezTo>
                <a:cubicBezTo>
                  <a:pt x="1563020" y="4409604"/>
                  <a:pt x="1561626" y="4408881"/>
                  <a:pt x="1560077" y="4407642"/>
                </a:cubicBezTo>
                <a:cubicBezTo>
                  <a:pt x="1560387" y="4405268"/>
                  <a:pt x="1563329" y="4402480"/>
                  <a:pt x="1565653" y="4402996"/>
                </a:cubicBezTo>
                <a:close/>
                <a:moveTo>
                  <a:pt x="1427640" y="4401964"/>
                </a:moveTo>
                <a:cubicBezTo>
                  <a:pt x="1429189" y="4403925"/>
                  <a:pt x="1429034" y="4404855"/>
                  <a:pt x="1429809" y="4405784"/>
                </a:cubicBezTo>
                <a:cubicBezTo>
                  <a:pt x="1429964" y="4404958"/>
                  <a:pt x="1430738" y="4405990"/>
                  <a:pt x="1430738" y="4405990"/>
                </a:cubicBezTo>
                <a:cubicBezTo>
                  <a:pt x="1430738" y="4405990"/>
                  <a:pt x="1430738" y="4405990"/>
                  <a:pt x="1432442" y="4404545"/>
                </a:cubicBezTo>
                <a:cubicBezTo>
                  <a:pt x="1432442" y="4404545"/>
                  <a:pt x="1436934" y="4401757"/>
                  <a:pt x="1440806" y="4405887"/>
                </a:cubicBezTo>
                <a:cubicBezTo>
                  <a:pt x="1439877" y="4406610"/>
                  <a:pt x="1444524" y="4412599"/>
                  <a:pt x="1442665" y="4415800"/>
                </a:cubicBezTo>
                <a:cubicBezTo>
                  <a:pt x="1441736" y="4417452"/>
                  <a:pt x="1440806" y="4418175"/>
                  <a:pt x="1439877" y="4419723"/>
                </a:cubicBezTo>
                <a:cubicBezTo>
                  <a:pt x="1438638" y="4419517"/>
                  <a:pt x="1437399" y="4420033"/>
                  <a:pt x="1435850" y="4419930"/>
                </a:cubicBezTo>
                <a:cubicBezTo>
                  <a:pt x="1434146" y="4419930"/>
                  <a:pt x="1432287" y="4419414"/>
                  <a:pt x="1429964" y="4417245"/>
                </a:cubicBezTo>
                <a:cubicBezTo>
                  <a:pt x="1425317" y="4412082"/>
                  <a:pt x="1429809" y="4407539"/>
                  <a:pt x="1428879" y="4407436"/>
                </a:cubicBezTo>
                <a:cubicBezTo>
                  <a:pt x="1428105" y="4406404"/>
                  <a:pt x="1428105" y="4406507"/>
                  <a:pt x="1427331" y="4406300"/>
                </a:cubicBezTo>
                <a:cubicBezTo>
                  <a:pt x="1427331" y="4405474"/>
                  <a:pt x="1426711" y="4403512"/>
                  <a:pt x="1425937" y="4402480"/>
                </a:cubicBezTo>
                <a:cubicBezTo>
                  <a:pt x="1426711" y="4402686"/>
                  <a:pt x="1427485" y="4402789"/>
                  <a:pt x="1427640" y="4401964"/>
                </a:cubicBezTo>
                <a:close/>
                <a:moveTo>
                  <a:pt x="1176088" y="4401550"/>
                </a:moveTo>
                <a:cubicBezTo>
                  <a:pt x="1177948" y="4403203"/>
                  <a:pt x="1179187" y="4405680"/>
                  <a:pt x="1178412" y="4406610"/>
                </a:cubicBezTo>
                <a:cubicBezTo>
                  <a:pt x="1177483" y="4407952"/>
                  <a:pt x="1176398" y="4409295"/>
                  <a:pt x="1174695" y="4408881"/>
                </a:cubicBezTo>
                <a:cubicBezTo>
                  <a:pt x="1174230" y="4408778"/>
                  <a:pt x="1173455" y="4408469"/>
                  <a:pt x="1172836" y="4407849"/>
                </a:cubicBezTo>
                <a:cubicBezTo>
                  <a:pt x="1172836" y="4407849"/>
                  <a:pt x="1172836" y="4407849"/>
                  <a:pt x="1172681" y="4407023"/>
                </a:cubicBezTo>
                <a:cubicBezTo>
                  <a:pt x="1172526" y="4405268"/>
                  <a:pt x="1172371" y="4404338"/>
                  <a:pt x="1172216" y="4403512"/>
                </a:cubicBezTo>
                <a:cubicBezTo>
                  <a:pt x="1172991" y="4402583"/>
                  <a:pt x="1175159" y="4400724"/>
                  <a:pt x="1176088" y="4401550"/>
                </a:cubicBezTo>
                <a:close/>
                <a:moveTo>
                  <a:pt x="6041681" y="4401155"/>
                </a:moveTo>
                <a:cubicBezTo>
                  <a:pt x="6042456" y="4400845"/>
                  <a:pt x="6043385" y="4400536"/>
                  <a:pt x="6043540" y="4401259"/>
                </a:cubicBezTo>
                <a:cubicBezTo>
                  <a:pt x="6043695" y="4401568"/>
                  <a:pt x="6043540" y="4401878"/>
                  <a:pt x="6043231" y="4401981"/>
                </a:cubicBezTo>
                <a:cubicBezTo>
                  <a:pt x="6042921" y="4402188"/>
                  <a:pt x="6042301" y="4402084"/>
                  <a:pt x="6041836" y="4401981"/>
                </a:cubicBezTo>
                <a:cubicBezTo>
                  <a:pt x="6041836" y="4401981"/>
                  <a:pt x="6041681" y="4401155"/>
                  <a:pt x="6041681" y="4401155"/>
                </a:cubicBezTo>
                <a:close/>
                <a:moveTo>
                  <a:pt x="6039358" y="4400949"/>
                </a:moveTo>
                <a:lnTo>
                  <a:pt x="6040597" y="4401775"/>
                </a:lnTo>
                <a:lnTo>
                  <a:pt x="6041217" y="4402084"/>
                </a:lnTo>
                <a:lnTo>
                  <a:pt x="6041062" y="4402188"/>
                </a:lnTo>
                <a:lnTo>
                  <a:pt x="6042456" y="4404046"/>
                </a:lnTo>
                <a:cubicBezTo>
                  <a:pt x="6042456" y="4404046"/>
                  <a:pt x="6043385" y="4404149"/>
                  <a:pt x="6044160" y="4404356"/>
                </a:cubicBezTo>
                <a:cubicBezTo>
                  <a:pt x="6046483" y="4406421"/>
                  <a:pt x="6048032" y="4407557"/>
                  <a:pt x="6047103" y="4410758"/>
                </a:cubicBezTo>
                <a:cubicBezTo>
                  <a:pt x="6046174" y="4410655"/>
                  <a:pt x="6044624" y="4408693"/>
                  <a:pt x="6043850" y="4407764"/>
                </a:cubicBezTo>
                <a:cubicBezTo>
                  <a:pt x="6043076" y="4407661"/>
                  <a:pt x="6042301" y="4406628"/>
                  <a:pt x="6042301" y="4405802"/>
                </a:cubicBezTo>
                <a:cubicBezTo>
                  <a:pt x="6042301" y="4405802"/>
                  <a:pt x="6041527" y="4404769"/>
                  <a:pt x="6040752" y="4404666"/>
                </a:cubicBezTo>
                <a:lnTo>
                  <a:pt x="6039823" y="4403014"/>
                </a:lnTo>
                <a:lnTo>
                  <a:pt x="6039668" y="4403014"/>
                </a:lnTo>
                <a:cubicBezTo>
                  <a:pt x="6039048" y="4403427"/>
                  <a:pt x="6038429" y="4403633"/>
                  <a:pt x="6037964" y="4403427"/>
                </a:cubicBezTo>
                <a:cubicBezTo>
                  <a:pt x="6037500" y="4403220"/>
                  <a:pt x="6037190" y="4403117"/>
                  <a:pt x="6037035" y="4402807"/>
                </a:cubicBezTo>
                <a:cubicBezTo>
                  <a:pt x="6036725" y="4402601"/>
                  <a:pt x="6036725" y="4402188"/>
                  <a:pt x="6036415" y="4401362"/>
                </a:cubicBezTo>
                <a:cubicBezTo>
                  <a:pt x="6037809" y="4401259"/>
                  <a:pt x="6038429" y="4401155"/>
                  <a:pt x="6039048" y="4401259"/>
                </a:cubicBezTo>
                <a:lnTo>
                  <a:pt x="6039358" y="4401465"/>
                </a:lnTo>
                <a:close/>
                <a:moveTo>
                  <a:pt x="5497531" y="4400123"/>
                </a:moveTo>
                <a:cubicBezTo>
                  <a:pt x="5498150" y="4401568"/>
                  <a:pt x="5496757" y="4405079"/>
                  <a:pt x="5495672" y="4407350"/>
                </a:cubicBezTo>
                <a:cubicBezTo>
                  <a:pt x="5494588" y="4407970"/>
                  <a:pt x="5493194" y="4408177"/>
                  <a:pt x="5491955" y="4407970"/>
                </a:cubicBezTo>
                <a:cubicBezTo>
                  <a:pt x="5490561" y="4407867"/>
                  <a:pt x="5489167" y="4407350"/>
                  <a:pt x="5487927" y="4406628"/>
                </a:cubicBezTo>
                <a:cubicBezTo>
                  <a:pt x="5489941" y="4402084"/>
                  <a:pt x="5493039" y="4400536"/>
                  <a:pt x="5497531" y="4400123"/>
                </a:cubicBezTo>
                <a:close/>
                <a:moveTo>
                  <a:pt x="1370949" y="4400002"/>
                </a:moveTo>
                <a:cubicBezTo>
                  <a:pt x="1370949" y="4399175"/>
                  <a:pt x="1371723" y="4399279"/>
                  <a:pt x="1371723" y="4400105"/>
                </a:cubicBezTo>
                <a:cubicBezTo>
                  <a:pt x="1373427" y="4401137"/>
                  <a:pt x="1371723" y="4402583"/>
                  <a:pt x="1370793" y="4403306"/>
                </a:cubicBezTo>
                <a:cubicBezTo>
                  <a:pt x="1370793" y="4400828"/>
                  <a:pt x="1370019" y="4399898"/>
                  <a:pt x="1370949" y="4400002"/>
                </a:cubicBezTo>
                <a:close/>
                <a:moveTo>
                  <a:pt x="6045709" y="4399503"/>
                </a:moveTo>
                <a:cubicBezTo>
                  <a:pt x="6046793" y="4399916"/>
                  <a:pt x="6046793" y="4399916"/>
                  <a:pt x="6047568" y="4399606"/>
                </a:cubicBezTo>
                <a:cubicBezTo>
                  <a:pt x="6047568" y="4399606"/>
                  <a:pt x="6046948" y="4400639"/>
                  <a:pt x="6046948" y="4400639"/>
                </a:cubicBezTo>
                <a:cubicBezTo>
                  <a:pt x="6045864" y="4400329"/>
                  <a:pt x="6046174" y="4400949"/>
                  <a:pt x="6045709" y="4399503"/>
                </a:cubicBezTo>
                <a:close/>
                <a:moveTo>
                  <a:pt x="1648987" y="4398556"/>
                </a:moveTo>
                <a:cubicBezTo>
                  <a:pt x="1651001" y="4399692"/>
                  <a:pt x="1652085" y="4401034"/>
                  <a:pt x="1654099" y="4402170"/>
                </a:cubicBezTo>
                <a:lnTo>
                  <a:pt x="1651775" y="4404545"/>
                </a:lnTo>
                <a:lnTo>
                  <a:pt x="1656112" y="4407849"/>
                </a:lnTo>
                <a:cubicBezTo>
                  <a:pt x="1655183" y="4408572"/>
                  <a:pt x="1657662" y="4410740"/>
                  <a:pt x="1658281" y="4412702"/>
                </a:cubicBezTo>
                <a:cubicBezTo>
                  <a:pt x="1658126" y="4415283"/>
                  <a:pt x="1657971" y="4417039"/>
                  <a:pt x="1656267" y="4418484"/>
                </a:cubicBezTo>
                <a:lnTo>
                  <a:pt x="1653324" y="4419517"/>
                </a:lnTo>
                <a:lnTo>
                  <a:pt x="1654408" y="4420446"/>
                </a:lnTo>
                <a:cubicBezTo>
                  <a:pt x="1655028" y="4421272"/>
                  <a:pt x="1655493" y="4422305"/>
                  <a:pt x="1656422" y="4422821"/>
                </a:cubicBezTo>
                <a:cubicBezTo>
                  <a:pt x="1655803" y="4423544"/>
                  <a:pt x="1654873" y="4424473"/>
                  <a:pt x="1653789" y="4425196"/>
                </a:cubicBezTo>
                <a:lnTo>
                  <a:pt x="1651466" y="4425299"/>
                </a:lnTo>
                <a:lnTo>
                  <a:pt x="1651775" y="4426538"/>
                </a:lnTo>
                <a:cubicBezTo>
                  <a:pt x="1651155" y="4429739"/>
                  <a:pt x="1648058" y="4433043"/>
                  <a:pt x="1643411" y="4432631"/>
                </a:cubicBezTo>
                <a:cubicBezTo>
                  <a:pt x="1642482" y="4431288"/>
                  <a:pt x="1641862" y="4429843"/>
                  <a:pt x="1641397" y="4428604"/>
                </a:cubicBezTo>
                <a:cubicBezTo>
                  <a:pt x="1640932" y="4427365"/>
                  <a:pt x="1640778" y="4426229"/>
                  <a:pt x="1640468" y="4425299"/>
                </a:cubicBezTo>
                <a:cubicBezTo>
                  <a:pt x="1642482" y="4423750"/>
                  <a:pt x="1643565" y="4422099"/>
                  <a:pt x="1645579" y="4420446"/>
                </a:cubicBezTo>
                <a:lnTo>
                  <a:pt x="1645889" y="4420549"/>
                </a:lnTo>
                <a:lnTo>
                  <a:pt x="1645889" y="4420343"/>
                </a:lnTo>
                <a:lnTo>
                  <a:pt x="1646974" y="4419001"/>
                </a:lnTo>
                <a:lnTo>
                  <a:pt x="1645270" y="4418381"/>
                </a:lnTo>
                <a:cubicBezTo>
                  <a:pt x="1642172" y="4415283"/>
                  <a:pt x="1641552" y="4412599"/>
                  <a:pt x="1641707" y="4409914"/>
                </a:cubicBezTo>
                <a:cubicBezTo>
                  <a:pt x="1641707" y="4409914"/>
                  <a:pt x="1641707" y="4409914"/>
                  <a:pt x="1641707" y="4410740"/>
                </a:cubicBezTo>
                <a:cubicBezTo>
                  <a:pt x="1638144" y="4413735"/>
                  <a:pt x="1631948" y="4418794"/>
                  <a:pt x="1629470" y="4417555"/>
                </a:cubicBezTo>
                <a:cubicBezTo>
                  <a:pt x="1629470" y="4416729"/>
                  <a:pt x="1629470" y="4415800"/>
                  <a:pt x="1630400" y="4415077"/>
                </a:cubicBezTo>
                <a:cubicBezTo>
                  <a:pt x="1631329" y="4414354"/>
                  <a:pt x="1631329" y="4415283"/>
                  <a:pt x="1631329" y="4414354"/>
                </a:cubicBezTo>
                <a:cubicBezTo>
                  <a:pt x="1632258" y="4413632"/>
                  <a:pt x="1631329" y="4413528"/>
                  <a:pt x="1631329" y="4413528"/>
                </a:cubicBezTo>
                <a:cubicBezTo>
                  <a:pt x="1631329" y="4413528"/>
                  <a:pt x="1632258" y="4413632"/>
                  <a:pt x="1632258" y="4413632"/>
                </a:cubicBezTo>
                <a:cubicBezTo>
                  <a:pt x="1632258" y="4413632"/>
                  <a:pt x="1632258" y="4413632"/>
                  <a:pt x="1633962" y="4412186"/>
                </a:cubicBezTo>
                <a:cubicBezTo>
                  <a:pt x="1635821" y="4409914"/>
                  <a:pt x="1635821" y="4408985"/>
                  <a:pt x="1636751" y="4407333"/>
                </a:cubicBezTo>
                <a:cubicBezTo>
                  <a:pt x="1638609" y="4405887"/>
                  <a:pt x="1639384" y="4406094"/>
                  <a:pt x="1642017" y="4404751"/>
                </a:cubicBezTo>
                <a:cubicBezTo>
                  <a:pt x="1643720" y="4405887"/>
                  <a:pt x="1643720" y="4405887"/>
                  <a:pt x="1643565" y="4406713"/>
                </a:cubicBezTo>
                <a:cubicBezTo>
                  <a:pt x="1643720" y="4405887"/>
                  <a:pt x="1644495" y="4405990"/>
                  <a:pt x="1645425" y="4405268"/>
                </a:cubicBezTo>
                <a:lnTo>
                  <a:pt x="1647593" y="4403512"/>
                </a:lnTo>
                <a:lnTo>
                  <a:pt x="1647593" y="4401447"/>
                </a:lnTo>
                <a:cubicBezTo>
                  <a:pt x="1647749" y="4400621"/>
                  <a:pt x="1647903" y="4399692"/>
                  <a:pt x="1648987" y="4398556"/>
                </a:cubicBezTo>
                <a:close/>
                <a:moveTo>
                  <a:pt x="1499202" y="4397317"/>
                </a:moveTo>
                <a:cubicBezTo>
                  <a:pt x="1499977" y="4397213"/>
                  <a:pt x="1500906" y="4397420"/>
                  <a:pt x="1501836" y="4398246"/>
                </a:cubicBezTo>
                <a:cubicBezTo>
                  <a:pt x="1501526" y="4400105"/>
                  <a:pt x="1501061" y="4401241"/>
                  <a:pt x="1499977" y="4403306"/>
                </a:cubicBezTo>
                <a:cubicBezTo>
                  <a:pt x="1496414" y="4402273"/>
                  <a:pt x="1497034" y="4397937"/>
                  <a:pt x="1499202" y="4397317"/>
                </a:cubicBezTo>
                <a:close/>
                <a:moveTo>
                  <a:pt x="6061199" y="4396818"/>
                </a:moveTo>
                <a:cubicBezTo>
                  <a:pt x="6059650" y="4397438"/>
                  <a:pt x="6050511" y="4400226"/>
                  <a:pt x="6047723" y="4399710"/>
                </a:cubicBezTo>
                <a:cubicBezTo>
                  <a:pt x="6051905" y="4398780"/>
                  <a:pt x="6057326" y="4395786"/>
                  <a:pt x="6061199" y="4396818"/>
                </a:cubicBezTo>
                <a:close/>
                <a:moveTo>
                  <a:pt x="1578665" y="4396284"/>
                </a:moveTo>
                <a:cubicBezTo>
                  <a:pt x="1580058" y="4399072"/>
                  <a:pt x="1575566" y="4405165"/>
                  <a:pt x="1572933" y="4407333"/>
                </a:cubicBezTo>
                <a:cubicBezTo>
                  <a:pt x="1572469" y="4406610"/>
                  <a:pt x="1572623" y="4405680"/>
                  <a:pt x="1572778" y="4404648"/>
                </a:cubicBezTo>
                <a:cubicBezTo>
                  <a:pt x="1573553" y="4401654"/>
                  <a:pt x="1576651" y="4397833"/>
                  <a:pt x="1578665" y="4396284"/>
                </a:cubicBezTo>
                <a:close/>
                <a:moveTo>
                  <a:pt x="5753110" y="4395993"/>
                </a:moveTo>
                <a:cubicBezTo>
                  <a:pt x="5754039" y="4394340"/>
                  <a:pt x="5756362" y="4397335"/>
                  <a:pt x="5757292" y="4397438"/>
                </a:cubicBezTo>
                <a:cubicBezTo>
                  <a:pt x="5758066" y="4398471"/>
                  <a:pt x="5758686" y="4399400"/>
                  <a:pt x="5757912" y="4400123"/>
                </a:cubicBezTo>
                <a:cubicBezTo>
                  <a:pt x="5757447" y="4400536"/>
                  <a:pt x="5757292" y="4400949"/>
                  <a:pt x="5756827" y="4401155"/>
                </a:cubicBezTo>
                <a:cubicBezTo>
                  <a:pt x="5756518" y="4401259"/>
                  <a:pt x="5756208" y="4401155"/>
                  <a:pt x="5755433" y="4400639"/>
                </a:cubicBezTo>
                <a:cubicBezTo>
                  <a:pt x="5754504" y="4400433"/>
                  <a:pt x="5753729" y="4399503"/>
                  <a:pt x="5752955" y="4399400"/>
                </a:cubicBezTo>
                <a:cubicBezTo>
                  <a:pt x="5752955" y="4399400"/>
                  <a:pt x="5752645" y="4398677"/>
                  <a:pt x="5752645" y="4397851"/>
                </a:cubicBezTo>
                <a:cubicBezTo>
                  <a:pt x="5752645" y="4397128"/>
                  <a:pt x="5752645" y="4396302"/>
                  <a:pt x="5753110" y="4395993"/>
                </a:cubicBezTo>
                <a:close/>
                <a:moveTo>
                  <a:pt x="744083" y="4395768"/>
                </a:moveTo>
                <a:cubicBezTo>
                  <a:pt x="747026" y="4396181"/>
                  <a:pt x="748730" y="4398143"/>
                  <a:pt x="748111" y="4401344"/>
                </a:cubicBezTo>
                <a:cubicBezTo>
                  <a:pt x="746871" y="4402893"/>
                  <a:pt x="745012" y="4402893"/>
                  <a:pt x="743154" y="4402893"/>
                </a:cubicBezTo>
                <a:cubicBezTo>
                  <a:pt x="741759" y="4402583"/>
                  <a:pt x="740985" y="4401964"/>
                  <a:pt x="740831" y="4401137"/>
                </a:cubicBezTo>
                <a:cubicBezTo>
                  <a:pt x="740676" y="4400311"/>
                  <a:pt x="740831" y="4399279"/>
                  <a:pt x="741295" y="4398040"/>
                </a:cubicBezTo>
                <a:cubicBezTo>
                  <a:pt x="742224" y="4395768"/>
                  <a:pt x="744083" y="4395768"/>
                  <a:pt x="744083" y="4395768"/>
                </a:cubicBezTo>
                <a:close/>
                <a:moveTo>
                  <a:pt x="1748276" y="4394219"/>
                </a:moveTo>
                <a:cubicBezTo>
                  <a:pt x="1749205" y="4395148"/>
                  <a:pt x="1751064" y="4396078"/>
                  <a:pt x="1751993" y="4397833"/>
                </a:cubicBezTo>
                <a:cubicBezTo>
                  <a:pt x="1751219" y="4402170"/>
                  <a:pt x="1748740" y="4403719"/>
                  <a:pt x="1745332" y="4403512"/>
                </a:cubicBezTo>
                <a:cubicBezTo>
                  <a:pt x="1741770" y="4400002"/>
                  <a:pt x="1743938" y="4394116"/>
                  <a:pt x="1748276" y="4394219"/>
                </a:cubicBezTo>
                <a:close/>
                <a:moveTo>
                  <a:pt x="1210321" y="4394013"/>
                </a:moveTo>
                <a:cubicBezTo>
                  <a:pt x="1209856" y="4397627"/>
                  <a:pt x="1206603" y="4398659"/>
                  <a:pt x="1205365" y="4402686"/>
                </a:cubicBezTo>
                <a:cubicBezTo>
                  <a:pt x="1202421" y="4402583"/>
                  <a:pt x="1200563" y="4407023"/>
                  <a:pt x="1196380" y="4406507"/>
                </a:cubicBezTo>
                <a:cubicBezTo>
                  <a:pt x="1196070" y="4400208"/>
                  <a:pt x="1206758" y="4393083"/>
                  <a:pt x="1210321" y="4394013"/>
                </a:cubicBezTo>
                <a:close/>
                <a:moveTo>
                  <a:pt x="1469307" y="4393290"/>
                </a:moveTo>
                <a:cubicBezTo>
                  <a:pt x="1474419" y="4391121"/>
                  <a:pt x="1481235" y="4397213"/>
                  <a:pt x="1475968" y="4403409"/>
                </a:cubicBezTo>
                <a:cubicBezTo>
                  <a:pt x="1472715" y="4404442"/>
                  <a:pt x="1466829" y="4400828"/>
                  <a:pt x="1465435" y="4398556"/>
                </a:cubicBezTo>
                <a:cubicBezTo>
                  <a:pt x="1466210" y="4395665"/>
                  <a:pt x="1467604" y="4394013"/>
                  <a:pt x="1469307" y="4393290"/>
                </a:cubicBezTo>
                <a:close/>
                <a:moveTo>
                  <a:pt x="5388484" y="4392998"/>
                </a:moveTo>
                <a:cubicBezTo>
                  <a:pt x="5390498" y="4392482"/>
                  <a:pt x="5392821" y="4392998"/>
                  <a:pt x="5395144" y="4395063"/>
                </a:cubicBezTo>
                <a:cubicBezTo>
                  <a:pt x="5391737" y="4400433"/>
                  <a:pt x="5393441" y="4404356"/>
                  <a:pt x="5388794" y="4407454"/>
                </a:cubicBezTo>
                <a:cubicBezTo>
                  <a:pt x="5386625" y="4406938"/>
                  <a:pt x="5385231" y="4405905"/>
                  <a:pt x="5384456" y="4404563"/>
                </a:cubicBezTo>
                <a:cubicBezTo>
                  <a:pt x="5381823" y="4400536"/>
                  <a:pt x="5384302" y="4394134"/>
                  <a:pt x="5388484" y="4392998"/>
                </a:cubicBezTo>
                <a:close/>
                <a:moveTo>
                  <a:pt x="5958502" y="4391759"/>
                </a:moveTo>
                <a:cubicBezTo>
                  <a:pt x="5961445" y="4392172"/>
                  <a:pt x="5960826" y="4395270"/>
                  <a:pt x="5961290" y="4398677"/>
                </a:cubicBezTo>
                <a:cubicBezTo>
                  <a:pt x="5960206" y="4398367"/>
                  <a:pt x="5959586" y="4399503"/>
                  <a:pt x="5959122" y="4400639"/>
                </a:cubicBezTo>
                <a:cubicBezTo>
                  <a:pt x="5957573" y="4400123"/>
                  <a:pt x="5954940" y="4399503"/>
                  <a:pt x="5954475" y="4397335"/>
                </a:cubicBezTo>
                <a:cubicBezTo>
                  <a:pt x="5954320" y="4396612"/>
                  <a:pt x="5954475" y="4395579"/>
                  <a:pt x="5954940" y="4394443"/>
                </a:cubicBezTo>
                <a:cubicBezTo>
                  <a:pt x="5954630" y="4393721"/>
                  <a:pt x="5957418" y="4391346"/>
                  <a:pt x="5958502" y="4391759"/>
                </a:cubicBezTo>
                <a:close/>
                <a:moveTo>
                  <a:pt x="1123734" y="4391638"/>
                </a:moveTo>
                <a:cubicBezTo>
                  <a:pt x="1124508" y="4392567"/>
                  <a:pt x="1124663" y="4392464"/>
                  <a:pt x="1123734" y="4392464"/>
                </a:cubicBezTo>
                <a:cubicBezTo>
                  <a:pt x="1122960" y="4394116"/>
                  <a:pt x="1122960" y="4393290"/>
                  <a:pt x="1122185" y="4394116"/>
                </a:cubicBezTo>
                <a:cubicBezTo>
                  <a:pt x="1121410" y="4394942"/>
                  <a:pt x="1119861" y="4399175"/>
                  <a:pt x="1120791" y="4400105"/>
                </a:cubicBezTo>
                <a:cubicBezTo>
                  <a:pt x="1119861" y="4400002"/>
                  <a:pt x="1119087" y="4400828"/>
                  <a:pt x="1119087" y="4400828"/>
                </a:cubicBezTo>
                <a:cubicBezTo>
                  <a:pt x="1118312" y="4399898"/>
                  <a:pt x="1118157" y="4399175"/>
                  <a:pt x="1118157" y="4398246"/>
                </a:cubicBezTo>
                <a:cubicBezTo>
                  <a:pt x="1118932" y="4397420"/>
                  <a:pt x="1119861" y="4397523"/>
                  <a:pt x="1120636" y="4396698"/>
                </a:cubicBezTo>
                <a:cubicBezTo>
                  <a:pt x="1120481" y="4395768"/>
                  <a:pt x="1120481" y="4394013"/>
                  <a:pt x="1121255" y="4393187"/>
                </a:cubicBezTo>
                <a:cubicBezTo>
                  <a:pt x="1122030" y="4392464"/>
                  <a:pt x="1123734" y="4391638"/>
                  <a:pt x="1123734" y="4391638"/>
                </a:cubicBezTo>
                <a:close/>
                <a:moveTo>
                  <a:pt x="1335633" y="4391225"/>
                </a:moveTo>
                <a:cubicBezTo>
                  <a:pt x="1332534" y="4395975"/>
                  <a:pt x="1330676" y="4404442"/>
                  <a:pt x="1327268" y="4408469"/>
                </a:cubicBezTo>
                <a:lnTo>
                  <a:pt x="1325719" y="4409191"/>
                </a:lnTo>
                <a:lnTo>
                  <a:pt x="1325409" y="4410947"/>
                </a:lnTo>
                <a:cubicBezTo>
                  <a:pt x="1324479" y="4412289"/>
                  <a:pt x="1323240" y="4413218"/>
                  <a:pt x="1321691" y="4413528"/>
                </a:cubicBezTo>
                <a:cubicBezTo>
                  <a:pt x="1320762" y="4413735"/>
                  <a:pt x="1319678" y="4413735"/>
                  <a:pt x="1318748" y="4413218"/>
                </a:cubicBezTo>
                <a:cubicBezTo>
                  <a:pt x="1318593" y="4412702"/>
                  <a:pt x="1318284" y="4411979"/>
                  <a:pt x="1317974" y="4411256"/>
                </a:cubicBezTo>
                <a:cubicBezTo>
                  <a:pt x="1317664" y="4410431"/>
                  <a:pt x="1317354" y="4409604"/>
                  <a:pt x="1317509" y="4408572"/>
                </a:cubicBezTo>
                <a:lnTo>
                  <a:pt x="1317974" y="4408159"/>
                </a:lnTo>
                <a:lnTo>
                  <a:pt x="1315031" y="4405577"/>
                </a:lnTo>
                <a:cubicBezTo>
                  <a:pt x="1324014" y="4402480"/>
                  <a:pt x="1327268" y="4390192"/>
                  <a:pt x="1335633" y="4391225"/>
                </a:cubicBezTo>
                <a:close/>
                <a:moveTo>
                  <a:pt x="1225501" y="4391121"/>
                </a:moveTo>
                <a:cubicBezTo>
                  <a:pt x="1228908" y="4392361"/>
                  <a:pt x="1232626" y="4393497"/>
                  <a:pt x="1235879" y="4395252"/>
                </a:cubicBezTo>
                <a:cubicBezTo>
                  <a:pt x="1239287" y="4397110"/>
                  <a:pt x="1242384" y="4399692"/>
                  <a:pt x="1244708" y="4403925"/>
                </a:cubicBezTo>
                <a:cubicBezTo>
                  <a:pt x="1243469" y="4404442"/>
                  <a:pt x="1242384" y="4404648"/>
                  <a:pt x="1241300" y="4404751"/>
                </a:cubicBezTo>
                <a:cubicBezTo>
                  <a:pt x="1240061" y="4404855"/>
                  <a:pt x="1239132" y="4404751"/>
                  <a:pt x="1238047" y="4404442"/>
                </a:cubicBezTo>
                <a:cubicBezTo>
                  <a:pt x="1231852" y="4402893"/>
                  <a:pt x="1227204" y="4395665"/>
                  <a:pt x="1225501" y="4391121"/>
                </a:cubicBezTo>
                <a:close/>
                <a:moveTo>
                  <a:pt x="1277081" y="4390812"/>
                </a:moveTo>
                <a:cubicBezTo>
                  <a:pt x="1279405" y="4391121"/>
                  <a:pt x="1281108" y="4391947"/>
                  <a:pt x="1283432" y="4392361"/>
                </a:cubicBezTo>
                <a:cubicBezTo>
                  <a:pt x="1284361" y="4396078"/>
                  <a:pt x="1281418" y="4396284"/>
                  <a:pt x="1278475" y="4396491"/>
                </a:cubicBezTo>
                <a:cubicBezTo>
                  <a:pt x="1278011" y="4394529"/>
                  <a:pt x="1276307" y="4393703"/>
                  <a:pt x="1277081" y="4390812"/>
                </a:cubicBezTo>
                <a:close/>
                <a:moveTo>
                  <a:pt x="1709706" y="4390502"/>
                </a:moveTo>
                <a:cubicBezTo>
                  <a:pt x="1714508" y="4388437"/>
                  <a:pt x="1722253" y="4394839"/>
                  <a:pt x="1717761" y="4400828"/>
                </a:cubicBezTo>
                <a:cubicBezTo>
                  <a:pt x="1716987" y="4401034"/>
                  <a:pt x="1716057" y="4401034"/>
                  <a:pt x="1714973" y="4400724"/>
                </a:cubicBezTo>
                <a:cubicBezTo>
                  <a:pt x="1711720" y="4399898"/>
                  <a:pt x="1707848" y="4397317"/>
                  <a:pt x="1706609" y="4395665"/>
                </a:cubicBezTo>
                <a:cubicBezTo>
                  <a:pt x="1706918" y="4392774"/>
                  <a:pt x="1708158" y="4391121"/>
                  <a:pt x="1709706" y="4390502"/>
                </a:cubicBezTo>
                <a:close/>
                <a:moveTo>
                  <a:pt x="6038119" y="4390416"/>
                </a:moveTo>
                <a:cubicBezTo>
                  <a:pt x="6038119" y="4390416"/>
                  <a:pt x="6039203" y="4390623"/>
                  <a:pt x="6039203" y="4390623"/>
                </a:cubicBezTo>
                <a:cubicBezTo>
                  <a:pt x="6043385" y="4391036"/>
                  <a:pt x="6047103" y="4394547"/>
                  <a:pt x="6047258" y="4396509"/>
                </a:cubicBezTo>
                <a:cubicBezTo>
                  <a:pt x="6046638" y="4398367"/>
                  <a:pt x="6045090" y="4400226"/>
                  <a:pt x="6042921" y="4400742"/>
                </a:cubicBezTo>
                <a:cubicBezTo>
                  <a:pt x="6042146" y="4400845"/>
                  <a:pt x="6041372" y="4400845"/>
                  <a:pt x="6040443" y="4400639"/>
                </a:cubicBezTo>
                <a:cubicBezTo>
                  <a:pt x="6037500" y="4400536"/>
                  <a:pt x="6035950" y="4397644"/>
                  <a:pt x="6032543" y="4396818"/>
                </a:cubicBezTo>
                <a:cubicBezTo>
                  <a:pt x="6033317" y="4392482"/>
                  <a:pt x="6033627" y="4391243"/>
                  <a:pt x="6038119" y="4390416"/>
                </a:cubicBezTo>
                <a:close/>
                <a:moveTo>
                  <a:pt x="1502765" y="4390296"/>
                </a:moveTo>
                <a:cubicBezTo>
                  <a:pt x="1502765" y="4393600"/>
                  <a:pt x="1500906" y="4395045"/>
                  <a:pt x="1498893" y="4395148"/>
                </a:cubicBezTo>
                <a:cubicBezTo>
                  <a:pt x="1497963" y="4395252"/>
                  <a:pt x="1496879" y="4394942"/>
                  <a:pt x="1496105" y="4394529"/>
                </a:cubicBezTo>
                <a:lnTo>
                  <a:pt x="1495330" y="4393703"/>
                </a:lnTo>
                <a:lnTo>
                  <a:pt x="1493316" y="4396698"/>
                </a:lnTo>
                <a:cubicBezTo>
                  <a:pt x="1492077" y="4397937"/>
                  <a:pt x="1490838" y="4399175"/>
                  <a:pt x="1489909" y="4401241"/>
                </a:cubicBezTo>
                <a:cubicBezTo>
                  <a:pt x="1486966" y="4401137"/>
                  <a:pt x="1484332" y="4405680"/>
                  <a:pt x="1480305" y="4405268"/>
                </a:cubicBezTo>
                <a:cubicBezTo>
                  <a:pt x="1480770" y="4400518"/>
                  <a:pt x="1487431" y="4395252"/>
                  <a:pt x="1492232" y="4393187"/>
                </a:cubicBezTo>
                <a:lnTo>
                  <a:pt x="1494401" y="4392774"/>
                </a:lnTo>
                <a:lnTo>
                  <a:pt x="1494246" y="4392670"/>
                </a:lnTo>
                <a:cubicBezTo>
                  <a:pt x="1495485" y="4388334"/>
                  <a:pt x="1500751" y="4387508"/>
                  <a:pt x="1502765" y="4390296"/>
                </a:cubicBezTo>
                <a:close/>
                <a:moveTo>
                  <a:pt x="5698896" y="4390107"/>
                </a:moveTo>
                <a:cubicBezTo>
                  <a:pt x="5699671" y="4390623"/>
                  <a:pt x="5700135" y="4391449"/>
                  <a:pt x="5700600" y="4392688"/>
                </a:cubicBezTo>
                <a:cubicBezTo>
                  <a:pt x="5699825" y="4400019"/>
                  <a:pt x="5697502" y="4405492"/>
                  <a:pt x="5690377" y="4406421"/>
                </a:cubicBezTo>
                <a:cubicBezTo>
                  <a:pt x="5690532" y="4405182"/>
                  <a:pt x="5689292" y="4405079"/>
                  <a:pt x="5688208" y="4405079"/>
                </a:cubicBezTo>
                <a:cubicBezTo>
                  <a:pt x="5684181" y="4398987"/>
                  <a:pt x="5693939" y="4386390"/>
                  <a:pt x="5698896" y="4390107"/>
                </a:cubicBezTo>
                <a:close/>
                <a:moveTo>
                  <a:pt x="1368935" y="4390089"/>
                </a:moveTo>
                <a:cubicBezTo>
                  <a:pt x="1373582" y="4390708"/>
                  <a:pt x="1371258" y="4394942"/>
                  <a:pt x="1368625" y="4395458"/>
                </a:cubicBezTo>
                <a:cubicBezTo>
                  <a:pt x="1367850" y="4395562"/>
                  <a:pt x="1366921" y="4395355"/>
                  <a:pt x="1366301" y="4394426"/>
                </a:cubicBezTo>
                <a:cubicBezTo>
                  <a:pt x="1367076" y="4393290"/>
                  <a:pt x="1367540" y="4391431"/>
                  <a:pt x="1368935" y="4390089"/>
                </a:cubicBezTo>
                <a:close/>
                <a:moveTo>
                  <a:pt x="5851159" y="4389694"/>
                </a:moveTo>
                <a:cubicBezTo>
                  <a:pt x="5856735" y="4389797"/>
                  <a:pt x="5859833" y="4392998"/>
                  <a:pt x="5862931" y="4396199"/>
                </a:cubicBezTo>
                <a:cubicBezTo>
                  <a:pt x="5862621" y="4400639"/>
                  <a:pt x="5861228" y="4402291"/>
                  <a:pt x="5859214" y="4402498"/>
                </a:cubicBezTo>
                <a:cubicBezTo>
                  <a:pt x="5858594" y="4402498"/>
                  <a:pt x="5857975" y="4402498"/>
                  <a:pt x="5857200" y="4402291"/>
                </a:cubicBezTo>
                <a:cubicBezTo>
                  <a:pt x="5854257" y="4401465"/>
                  <a:pt x="5850695" y="4398987"/>
                  <a:pt x="5848061" y="4397954"/>
                </a:cubicBezTo>
                <a:cubicBezTo>
                  <a:pt x="5848371" y="4394031"/>
                  <a:pt x="5848836" y="4392792"/>
                  <a:pt x="5851159" y="4389694"/>
                </a:cubicBezTo>
                <a:close/>
                <a:moveTo>
                  <a:pt x="5898867" y="4389177"/>
                </a:moveTo>
                <a:cubicBezTo>
                  <a:pt x="5901191" y="4389771"/>
                  <a:pt x="5903127" y="4391139"/>
                  <a:pt x="5903359" y="4392895"/>
                </a:cubicBezTo>
                <a:cubicBezTo>
                  <a:pt x="5902740" y="4395786"/>
                  <a:pt x="5901655" y="4398058"/>
                  <a:pt x="5900571" y="4399606"/>
                </a:cubicBezTo>
                <a:lnTo>
                  <a:pt x="5897783" y="4401671"/>
                </a:lnTo>
                <a:lnTo>
                  <a:pt x="5901810" y="4404253"/>
                </a:lnTo>
                <a:lnTo>
                  <a:pt x="5902430" y="4405389"/>
                </a:lnTo>
                <a:lnTo>
                  <a:pt x="5902895" y="4404253"/>
                </a:lnTo>
                <a:cubicBezTo>
                  <a:pt x="5905838" y="4399916"/>
                  <a:pt x="5911878" y="4396509"/>
                  <a:pt x="5915441" y="4396818"/>
                </a:cubicBezTo>
                <a:lnTo>
                  <a:pt x="5917145" y="4399297"/>
                </a:lnTo>
                <a:lnTo>
                  <a:pt x="5918074" y="4398780"/>
                </a:lnTo>
                <a:lnTo>
                  <a:pt x="5921792" y="4397644"/>
                </a:lnTo>
                <a:lnTo>
                  <a:pt x="5921482" y="4397128"/>
                </a:lnTo>
                <a:cubicBezTo>
                  <a:pt x="5921327" y="4396405"/>
                  <a:pt x="5921637" y="4395579"/>
                  <a:pt x="5922411" y="4394753"/>
                </a:cubicBezTo>
                <a:cubicBezTo>
                  <a:pt x="5923960" y="4392275"/>
                  <a:pt x="5926594" y="4392378"/>
                  <a:pt x="5929072" y="4393411"/>
                </a:cubicBezTo>
                <a:cubicBezTo>
                  <a:pt x="5930776" y="4392585"/>
                  <a:pt x="5931550" y="4390933"/>
                  <a:pt x="5933254" y="4391862"/>
                </a:cubicBezTo>
                <a:cubicBezTo>
                  <a:pt x="5930776" y="4393514"/>
                  <a:pt x="5930001" y="4394237"/>
                  <a:pt x="5928297" y="4395063"/>
                </a:cubicBezTo>
                <a:cubicBezTo>
                  <a:pt x="5928297" y="4395889"/>
                  <a:pt x="5928297" y="4396715"/>
                  <a:pt x="5927523" y="4397541"/>
                </a:cubicBezTo>
                <a:lnTo>
                  <a:pt x="5925974" y="4398264"/>
                </a:lnTo>
                <a:lnTo>
                  <a:pt x="5926284" y="4399400"/>
                </a:lnTo>
                <a:cubicBezTo>
                  <a:pt x="5926594" y="4400123"/>
                  <a:pt x="5926903" y="4400845"/>
                  <a:pt x="5927523" y="4401671"/>
                </a:cubicBezTo>
                <a:cubicBezTo>
                  <a:pt x="5924890" y="4402188"/>
                  <a:pt x="5923031" y="4403117"/>
                  <a:pt x="5921327" y="4403840"/>
                </a:cubicBezTo>
                <a:lnTo>
                  <a:pt x="5918694" y="4404253"/>
                </a:lnTo>
                <a:lnTo>
                  <a:pt x="5918694" y="4404563"/>
                </a:lnTo>
                <a:cubicBezTo>
                  <a:pt x="5918384" y="4406318"/>
                  <a:pt x="5917455" y="4407867"/>
                  <a:pt x="5916216" y="4409209"/>
                </a:cubicBezTo>
                <a:lnTo>
                  <a:pt x="5914821" y="4410035"/>
                </a:lnTo>
                <a:cubicBezTo>
                  <a:pt x="5916680" y="4412513"/>
                  <a:pt x="5916680" y="4416850"/>
                  <a:pt x="5913118" y="4420154"/>
                </a:cubicBezTo>
                <a:cubicBezTo>
                  <a:pt x="5909555" y="4420051"/>
                  <a:pt x="5907387" y="4418709"/>
                  <a:pt x="5905683" y="4418089"/>
                </a:cubicBezTo>
                <a:lnTo>
                  <a:pt x="5905838" y="4412100"/>
                </a:lnTo>
                <a:lnTo>
                  <a:pt x="5904443" y="4411068"/>
                </a:lnTo>
                <a:lnTo>
                  <a:pt x="5904288" y="4415611"/>
                </a:lnTo>
                <a:cubicBezTo>
                  <a:pt x="5903824" y="4417779"/>
                  <a:pt x="5903049" y="4420051"/>
                  <a:pt x="5901810" y="4422219"/>
                </a:cubicBezTo>
                <a:cubicBezTo>
                  <a:pt x="5896234" y="4433165"/>
                  <a:pt x="5883068" y="4443800"/>
                  <a:pt x="5872535" y="4443594"/>
                </a:cubicBezTo>
                <a:cubicBezTo>
                  <a:pt x="5869127" y="4443594"/>
                  <a:pt x="5865874" y="4442251"/>
                  <a:pt x="5863396" y="4439360"/>
                </a:cubicBezTo>
                <a:cubicBezTo>
                  <a:pt x="5864635" y="4435746"/>
                  <a:pt x="5866184" y="4432235"/>
                  <a:pt x="5867888" y="4428621"/>
                </a:cubicBezTo>
                <a:lnTo>
                  <a:pt x="5874394" y="4418605"/>
                </a:lnTo>
                <a:lnTo>
                  <a:pt x="5871296" y="4419432"/>
                </a:lnTo>
                <a:cubicBezTo>
                  <a:pt x="5869282" y="4419741"/>
                  <a:pt x="5867578" y="4419741"/>
                  <a:pt x="5866029" y="4419638"/>
                </a:cubicBezTo>
                <a:cubicBezTo>
                  <a:pt x="5867113" y="4417470"/>
                  <a:pt x="5868508" y="4415714"/>
                  <a:pt x="5870211" y="4414166"/>
                </a:cubicBezTo>
                <a:lnTo>
                  <a:pt x="5874858" y="4411171"/>
                </a:lnTo>
                <a:lnTo>
                  <a:pt x="5874394" y="4408590"/>
                </a:lnTo>
                <a:lnTo>
                  <a:pt x="5871915" y="4412307"/>
                </a:lnTo>
                <a:cubicBezTo>
                  <a:pt x="5867733" y="4416644"/>
                  <a:pt x="5861847" y="4417470"/>
                  <a:pt x="5855961" y="4418296"/>
                </a:cubicBezTo>
                <a:cubicBezTo>
                  <a:pt x="5856116" y="4413959"/>
                  <a:pt x="5859214" y="4411068"/>
                  <a:pt x="5863086" y="4409209"/>
                </a:cubicBezTo>
                <a:lnTo>
                  <a:pt x="5874239" y="4406938"/>
                </a:lnTo>
                <a:lnTo>
                  <a:pt x="5874239" y="4404356"/>
                </a:lnTo>
                <a:cubicBezTo>
                  <a:pt x="5875633" y="4403220"/>
                  <a:pt x="5876717" y="4403220"/>
                  <a:pt x="5877956" y="4403737"/>
                </a:cubicBezTo>
                <a:lnTo>
                  <a:pt x="5879660" y="4404976"/>
                </a:lnTo>
                <a:lnTo>
                  <a:pt x="5880125" y="4399813"/>
                </a:lnTo>
                <a:cubicBezTo>
                  <a:pt x="5882138" y="4401568"/>
                  <a:pt x="5882603" y="4404149"/>
                  <a:pt x="5885391" y="4405595"/>
                </a:cubicBezTo>
                <a:lnTo>
                  <a:pt x="5887715" y="4406111"/>
                </a:lnTo>
                <a:lnTo>
                  <a:pt x="5894065" y="4401775"/>
                </a:lnTo>
                <a:lnTo>
                  <a:pt x="5893291" y="4401671"/>
                </a:lnTo>
                <a:cubicBezTo>
                  <a:pt x="5892207" y="4400949"/>
                  <a:pt x="5891432" y="4399813"/>
                  <a:pt x="5890967" y="4398264"/>
                </a:cubicBezTo>
                <a:cubicBezTo>
                  <a:pt x="5890503" y="4396199"/>
                  <a:pt x="5890658" y="4393411"/>
                  <a:pt x="5892052" y="4390107"/>
                </a:cubicBezTo>
                <a:cubicBezTo>
                  <a:pt x="5893833" y="4388764"/>
                  <a:pt x="5896544" y="4388584"/>
                  <a:pt x="5898867" y="4389177"/>
                </a:cubicBezTo>
                <a:close/>
                <a:moveTo>
                  <a:pt x="1307441" y="4388540"/>
                </a:moveTo>
                <a:cubicBezTo>
                  <a:pt x="1307750" y="4389779"/>
                  <a:pt x="1309764" y="4389882"/>
                  <a:pt x="1310229" y="4391121"/>
                </a:cubicBezTo>
                <a:cubicBezTo>
                  <a:pt x="1310229" y="4391121"/>
                  <a:pt x="1309919" y="4393909"/>
                  <a:pt x="1309919" y="4393909"/>
                </a:cubicBezTo>
                <a:cubicBezTo>
                  <a:pt x="1309300" y="4394013"/>
                  <a:pt x="1308989" y="4394116"/>
                  <a:pt x="1308989" y="4394116"/>
                </a:cubicBezTo>
                <a:cubicBezTo>
                  <a:pt x="1308835" y="4394013"/>
                  <a:pt x="1308989" y="4393806"/>
                  <a:pt x="1309145" y="4393393"/>
                </a:cubicBezTo>
                <a:cubicBezTo>
                  <a:pt x="1307131" y="4393290"/>
                  <a:pt x="1306356" y="4392877"/>
                  <a:pt x="1305582" y="4392361"/>
                </a:cubicBezTo>
                <a:cubicBezTo>
                  <a:pt x="1305272" y="4391225"/>
                  <a:pt x="1305892" y="4389676"/>
                  <a:pt x="1307441" y="4388540"/>
                </a:cubicBezTo>
                <a:close/>
                <a:moveTo>
                  <a:pt x="5561658" y="4386906"/>
                </a:moveTo>
                <a:cubicBezTo>
                  <a:pt x="5558250" y="4392378"/>
                  <a:pt x="5554533" y="4397025"/>
                  <a:pt x="5552364" y="4405699"/>
                </a:cubicBezTo>
                <a:cubicBezTo>
                  <a:pt x="5550660" y="4405079"/>
                  <a:pt x="5549886" y="4406731"/>
                  <a:pt x="5548492" y="4406938"/>
                </a:cubicBezTo>
                <a:cubicBezTo>
                  <a:pt x="5548182" y="4406938"/>
                  <a:pt x="5547562" y="4406834"/>
                  <a:pt x="5546943" y="4406421"/>
                </a:cubicBezTo>
                <a:cubicBezTo>
                  <a:pt x="5544619" y="4400123"/>
                  <a:pt x="5553293" y="4384531"/>
                  <a:pt x="5561658" y="4386906"/>
                </a:cubicBezTo>
                <a:close/>
                <a:moveTo>
                  <a:pt x="4843714" y="4386183"/>
                </a:moveTo>
                <a:cubicBezTo>
                  <a:pt x="4844488" y="4387835"/>
                  <a:pt x="4843404" y="4389591"/>
                  <a:pt x="4842319" y="4391346"/>
                </a:cubicBezTo>
                <a:cubicBezTo>
                  <a:pt x="4841390" y="4392585"/>
                  <a:pt x="4840461" y="4392998"/>
                  <a:pt x="4839686" y="4392895"/>
                </a:cubicBezTo>
                <a:cubicBezTo>
                  <a:pt x="4838912" y="4392688"/>
                  <a:pt x="4837983" y="4392069"/>
                  <a:pt x="4837363" y="4391139"/>
                </a:cubicBezTo>
                <a:cubicBezTo>
                  <a:pt x="4835814" y="4389384"/>
                  <a:pt x="4836743" y="4387732"/>
                  <a:pt x="4836743" y="4387732"/>
                </a:cubicBezTo>
                <a:cubicBezTo>
                  <a:pt x="4838757" y="4385150"/>
                  <a:pt x="4841390" y="4384325"/>
                  <a:pt x="4843714" y="4386183"/>
                </a:cubicBezTo>
                <a:close/>
                <a:moveTo>
                  <a:pt x="1589662" y="4386062"/>
                </a:moveTo>
                <a:cubicBezTo>
                  <a:pt x="1592140" y="4387611"/>
                  <a:pt x="1590746" y="4395768"/>
                  <a:pt x="1589352" y="4399175"/>
                </a:cubicBezTo>
                <a:cubicBezTo>
                  <a:pt x="1588732" y="4398763"/>
                  <a:pt x="1588422" y="4397937"/>
                  <a:pt x="1588113" y="4396904"/>
                </a:cubicBezTo>
                <a:cubicBezTo>
                  <a:pt x="1587649" y="4393806"/>
                  <a:pt x="1588732" y="4388643"/>
                  <a:pt x="1589662" y="4386062"/>
                </a:cubicBezTo>
                <a:close/>
                <a:moveTo>
                  <a:pt x="5842330" y="4385770"/>
                </a:moveTo>
                <a:lnTo>
                  <a:pt x="5841710" y="4398058"/>
                </a:lnTo>
                <a:lnTo>
                  <a:pt x="5842950" y="4398574"/>
                </a:lnTo>
                <a:lnTo>
                  <a:pt x="5843414" y="4398058"/>
                </a:lnTo>
                <a:cubicBezTo>
                  <a:pt x="5846202" y="4397541"/>
                  <a:pt x="5848991" y="4401465"/>
                  <a:pt x="5849145" y="4404769"/>
                </a:cubicBezTo>
                <a:lnTo>
                  <a:pt x="5848681" y="4406834"/>
                </a:lnTo>
                <a:lnTo>
                  <a:pt x="5848836" y="4407041"/>
                </a:lnTo>
                <a:cubicBezTo>
                  <a:pt x="5847906" y="4409726"/>
                  <a:pt x="5847752" y="4410345"/>
                  <a:pt x="5844964" y="4410138"/>
                </a:cubicBezTo>
                <a:cubicBezTo>
                  <a:pt x="5844189" y="4410035"/>
                  <a:pt x="5842950" y="4409932"/>
                  <a:pt x="5841401" y="4409726"/>
                </a:cubicBezTo>
                <a:lnTo>
                  <a:pt x="5840317" y="4409209"/>
                </a:lnTo>
                <a:lnTo>
                  <a:pt x="5839232" y="4413133"/>
                </a:lnTo>
                <a:cubicBezTo>
                  <a:pt x="5837528" y="4411791"/>
                  <a:pt x="5836289" y="4409416"/>
                  <a:pt x="5835515" y="4406628"/>
                </a:cubicBezTo>
                <a:lnTo>
                  <a:pt x="5835205" y="4402807"/>
                </a:lnTo>
                <a:lnTo>
                  <a:pt x="5835050" y="4402601"/>
                </a:lnTo>
                <a:cubicBezTo>
                  <a:pt x="5834585" y="4401671"/>
                  <a:pt x="5834275" y="4400639"/>
                  <a:pt x="5834275" y="4399710"/>
                </a:cubicBezTo>
                <a:lnTo>
                  <a:pt x="5834895" y="4398677"/>
                </a:lnTo>
                <a:lnTo>
                  <a:pt x="5834740" y="4397644"/>
                </a:lnTo>
                <a:cubicBezTo>
                  <a:pt x="5835205" y="4391656"/>
                  <a:pt x="5837683" y="4386183"/>
                  <a:pt x="5842330" y="4385770"/>
                </a:cubicBezTo>
                <a:close/>
                <a:moveTo>
                  <a:pt x="5611225" y="4385564"/>
                </a:moveTo>
                <a:cubicBezTo>
                  <a:pt x="5616801" y="4382776"/>
                  <a:pt x="5623461" y="4387112"/>
                  <a:pt x="5625320" y="4394650"/>
                </a:cubicBezTo>
                <a:cubicBezTo>
                  <a:pt x="5628418" y="4406215"/>
                  <a:pt x="5624701" y="4413443"/>
                  <a:pt x="5624701" y="4413443"/>
                </a:cubicBezTo>
                <a:cubicBezTo>
                  <a:pt x="5622842" y="4414166"/>
                  <a:pt x="5621138" y="4414372"/>
                  <a:pt x="5619589" y="4414166"/>
                </a:cubicBezTo>
                <a:cubicBezTo>
                  <a:pt x="5615252" y="4413546"/>
                  <a:pt x="5612774" y="4409209"/>
                  <a:pt x="5611225" y="4404563"/>
                </a:cubicBezTo>
                <a:cubicBezTo>
                  <a:pt x="5610450" y="4402394"/>
                  <a:pt x="5609986" y="4400329"/>
                  <a:pt x="5609521" y="4398367"/>
                </a:cubicBezTo>
                <a:cubicBezTo>
                  <a:pt x="5608437" y="4394547"/>
                  <a:pt x="5607662" y="4390210"/>
                  <a:pt x="5609056" y="4387526"/>
                </a:cubicBezTo>
                <a:cubicBezTo>
                  <a:pt x="5609521" y="4386699"/>
                  <a:pt x="5610140" y="4385976"/>
                  <a:pt x="5611225" y="4385564"/>
                </a:cubicBezTo>
                <a:close/>
                <a:moveTo>
                  <a:pt x="5847442" y="4385254"/>
                </a:moveTo>
                <a:cubicBezTo>
                  <a:pt x="5849920" y="4383705"/>
                  <a:pt x="5856581" y="4388351"/>
                  <a:pt x="5859214" y="4390933"/>
                </a:cubicBezTo>
                <a:cubicBezTo>
                  <a:pt x="5858594" y="4391346"/>
                  <a:pt x="5857820" y="4391346"/>
                  <a:pt x="5856735" y="4391139"/>
                </a:cubicBezTo>
                <a:cubicBezTo>
                  <a:pt x="5853792" y="4390416"/>
                  <a:pt x="5849455" y="4387319"/>
                  <a:pt x="5847442" y="4385254"/>
                </a:cubicBezTo>
                <a:close/>
                <a:moveTo>
                  <a:pt x="5762093" y="4384737"/>
                </a:moveTo>
                <a:cubicBezTo>
                  <a:pt x="5762093" y="4386699"/>
                  <a:pt x="5763952" y="4388455"/>
                  <a:pt x="5763178" y="4390830"/>
                </a:cubicBezTo>
                <a:cubicBezTo>
                  <a:pt x="5763178" y="4390830"/>
                  <a:pt x="5762868" y="4392069"/>
                  <a:pt x="5761319" y="4392998"/>
                </a:cubicBezTo>
                <a:cubicBezTo>
                  <a:pt x="5759925" y="4395889"/>
                  <a:pt x="5756518" y="4395063"/>
                  <a:pt x="5756518" y="4395063"/>
                </a:cubicBezTo>
                <a:cubicBezTo>
                  <a:pt x="5756518" y="4395063"/>
                  <a:pt x="5756518" y="4395063"/>
                  <a:pt x="5756827" y="4395786"/>
                </a:cubicBezTo>
                <a:cubicBezTo>
                  <a:pt x="5756208" y="4394237"/>
                  <a:pt x="5754659" y="4393308"/>
                  <a:pt x="5753884" y="4391862"/>
                </a:cubicBezTo>
                <a:cubicBezTo>
                  <a:pt x="5755278" y="4383189"/>
                  <a:pt x="5757912" y="4384428"/>
                  <a:pt x="5762093" y="4384737"/>
                </a:cubicBezTo>
                <a:close/>
                <a:moveTo>
                  <a:pt x="1608559" y="4383790"/>
                </a:moveTo>
                <a:cubicBezTo>
                  <a:pt x="1613361" y="4384616"/>
                  <a:pt x="1611502" y="4388746"/>
                  <a:pt x="1609024" y="4389160"/>
                </a:cubicBezTo>
                <a:cubicBezTo>
                  <a:pt x="1608250" y="4389263"/>
                  <a:pt x="1607320" y="4389056"/>
                  <a:pt x="1606546" y="4388024"/>
                </a:cubicBezTo>
                <a:cubicBezTo>
                  <a:pt x="1607010" y="4386991"/>
                  <a:pt x="1607320" y="4385133"/>
                  <a:pt x="1608559" y="4383790"/>
                </a:cubicBezTo>
                <a:close/>
                <a:moveTo>
                  <a:pt x="598790" y="4383687"/>
                </a:moveTo>
                <a:cubicBezTo>
                  <a:pt x="600495" y="4384513"/>
                  <a:pt x="601734" y="4386475"/>
                  <a:pt x="602043" y="4389882"/>
                </a:cubicBezTo>
                <a:cubicBezTo>
                  <a:pt x="596312" y="4391947"/>
                  <a:pt x="594918" y="4396181"/>
                  <a:pt x="589651" y="4395562"/>
                </a:cubicBezTo>
                <a:cubicBezTo>
                  <a:pt x="585315" y="4388127"/>
                  <a:pt x="593833" y="4381106"/>
                  <a:pt x="598790" y="4383687"/>
                </a:cubicBezTo>
                <a:close/>
                <a:moveTo>
                  <a:pt x="1580833" y="4383171"/>
                </a:moveTo>
                <a:cubicBezTo>
                  <a:pt x="1580368" y="4386372"/>
                  <a:pt x="1579439" y="4387611"/>
                  <a:pt x="1578665" y="4387714"/>
                </a:cubicBezTo>
                <a:cubicBezTo>
                  <a:pt x="1575876" y="4388231"/>
                  <a:pt x="1573243" y="4378937"/>
                  <a:pt x="1580833" y="4383171"/>
                </a:cubicBezTo>
                <a:close/>
                <a:moveTo>
                  <a:pt x="1793970" y="4382758"/>
                </a:moveTo>
                <a:cubicBezTo>
                  <a:pt x="1796758" y="4383171"/>
                  <a:pt x="1796293" y="4384410"/>
                  <a:pt x="1795519" y="4386681"/>
                </a:cubicBezTo>
                <a:cubicBezTo>
                  <a:pt x="1794589" y="4386681"/>
                  <a:pt x="1793815" y="4386578"/>
                  <a:pt x="1793350" y="4386062"/>
                </a:cubicBezTo>
                <a:cubicBezTo>
                  <a:pt x="1793041" y="4385546"/>
                  <a:pt x="1792886" y="4384720"/>
                  <a:pt x="1793196" y="4383068"/>
                </a:cubicBezTo>
                <a:cubicBezTo>
                  <a:pt x="1793196" y="4383068"/>
                  <a:pt x="1793970" y="4382758"/>
                  <a:pt x="1793970" y="4382758"/>
                </a:cubicBezTo>
                <a:close/>
                <a:moveTo>
                  <a:pt x="1732631" y="4382448"/>
                </a:moveTo>
                <a:cubicBezTo>
                  <a:pt x="1730463" y="4383584"/>
                  <a:pt x="1729998" y="4384720"/>
                  <a:pt x="1729688" y="4383894"/>
                </a:cubicBezTo>
                <a:cubicBezTo>
                  <a:pt x="1729068" y="4384307"/>
                  <a:pt x="1728604" y="4383584"/>
                  <a:pt x="1729379" y="4383171"/>
                </a:cubicBezTo>
                <a:cubicBezTo>
                  <a:pt x="1729533" y="4381209"/>
                  <a:pt x="1731702" y="4382035"/>
                  <a:pt x="1732631" y="4382448"/>
                </a:cubicBezTo>
                <a:close/>
                <a:moveTo>
                  <a:pt x="5655060" y="4382363"/>
                </a:moveTo>
                <a:cubicBezTo>
                  <a:pt x="5658468" y="4385150"/>
                  <a:pt x="5658623" y="4387629"/>
                  <a:pt x="5657074" y="4390933"/>
                </a:cubicBezTo>
                <a:cubicBezTo>
                  <a:pt x="5654596" y="4390830"/>
                  <a:pt x="5651343" y="4388145"/>
                  <a:pt x="5651188" y="4385667"/>
                </a:cubicBezTo>
                <a:cubicBezTo>
                  <a:pt x="5652737" y="4383189"/>
                  <a:pt x="5654286" y="4384014"/>
                  <a:pt x="5655060" y="4382363"/>
                </a:cubicBezTo>
                <a:close/>
                <a:moveTo>
                  <a:pt x="5545084" y="4382156"/>
                </a:moveTo>
                <a:cubicBezTo>
                  <a:pt x="5546013" y="4382569"/>
                  <a:pt x="5547098" y="4382982"/>
                  <a:pt x="5548182" y="4383395"/>
                </a:cubicBezTo>
                <a:cubicBezTo>
                  <a:pt x="5547253" y="4385667"/>
                  <a:pt x="5546323" y="4387938"/>
                  <a:pt x="5544310" y="4387216"/>
                </a:cubicBezTo>
                <a:cubicBezTo>
                  <a:pt x="5544465" y="4385254"/>
                  <a:pt x="5543380" y="4384841"/>
                  <a:pt x="5545084" y="4382156"/>
                </a:cubicBezTo>
                <a:close/>
                <a:moveTo>
                  <a:pt x="5381359" y="4381846"/>
                </a:moveTo>
                <a:cubicBezTo>
                  <a:pt x="5378725" y="4387009"/>
                  <a:pt x="5381049" y="4390623"/>
                  <a:pt x="5376712" y="4391759"/>
                </a:cubicBezTo>
                <a:cubicBezTo>
                  <a:pt x="5374698" y="4388971"/>
                  <a:pt x="5377951" y="4382672"/>
                  <a:pt x="5381359" y="4381846"/>
                </a:cubicBezTo>
                <a:close/>
                <a:moveTo>
                  <a:pt x="5767980" y="4381640"/>
                </a:moveTo>
                <a:cubicBezTo>
                  <a:pt x="5769839" y="4382363"/>
                  <a:pt x="5770613" y="4384221"/>
                  <a:pt x="5770613" y="4386080"/>
                </a:cubicBezTo>
                <a:lnTo>
                  <a:pt x="5769064" y="4388661"/>
                </a:lnTo>
                <a:lnTo>
                  <a:pt x="5772162" y="4386906"/>
                </a:lnTo>
                <a:cubicBezTo>
                  <a:pt x="5773556" y="4386493"/>
                  <a:pt x="5775415" y="4386390"/>
                  <a:pt x="5777584" y="4386803"/>
                </a:cubicBezTo>
                <a:cubicBezTo>
                  <a:pt x="5779442" y="4386596"/>
                  <a:pt x="5778668" y="4387112"/>
                  <a:pt x="5779752" y="4387319"/>
                </a:cubicBezTo>
                <a:cubicBezTo>
                  <a:pt x="5780991" y="4387629"/>
                  <a:pt x="5782850" y="4387422"/>
                  <a:pt x="5783624" y="4387009"/>
                </a:cubicBezTo>
                <a:cubicBezTo>
                  <a:pt x="5782850" y="4391346"/>
                  <a:pt x="5785793" y="4391449"/>
                  <a:pt x="5784399" y="4398161"/>
                </a:cubicBezTo>
                <a:cubicBezTo>
                  <a:pt x="5783470" y="4404769"/>
                  <a:pt x="5779752" y="4407454"/>
                  <a:pt x="5776344" y="4408177"/>
                </a:cubicBezTo>
                <a:lnTo>
                  <a:pt x="5773556" y="4408280"/>
                </a:lnTo>
                <a:lnTo>
                  <a:pt x="5772782" y="4410862"/>
                </a:lnTo>
                <a:cubicBezTo>
                  <a:pt x="5767360" y="4407970"/>
                  <a:pt x="5766276" y="4412823"/>
                  <a:pt x="5763488" y="4414372"/>
                </a:cubicBezTo>
                <a:cubicBezTo>
                  <a:pt x="5762713" y="4414785"/>
                  <a:pt x="5761629" y="4414992"/>
                  <a:pt x="5760235" y="4414269"/>
                </a:cubicBezTo>
                <a:cubicBezTo>
                  <a:pt x="5758686" y="4412204"/>
                  <a:pt x="5756362" y="4410655"/>
                  <a:pt x="5755588" y="4407867"/>
                </a:cubicBezTo>
                <a:cubicBezTo>
                  <a:pt x="5755278" y="4406834"/>
                  <a:pt x="5755278" y="4405802"/>
                  <a:pt x="5755433" y="4404563"/>
                </a:cubicBezTo>
                <a:cubicBezTo>
                  <a:pt x="5758996" y="4405182"/>
                  <a:pt x="5761939" y="4405079"/>
                  <a:pt x="5764727" y="4404769"/>
                </a:cubicBezTo>
                <a:lnTo>
                  <a:pt x="5767205" y="4404563"/>
                </a:lnTo>
                <a:lnTo>
                  <a:pt x="5765502" y="4402394"/>
                </a:lnTo>
                <a:cubicBezTo>
                  <a:pt x="5764882" y="4400949"/>
                  <a:pt x="5764572" y="4399090"/>
                  <a:pt x="5765037" y="4396612"/>
                </a:cubicBezTo>
                <a:lnTo>
                  <a:pt x="5767670" y="4390520"/>
                </a:lnTo>
                <a:lnTo>
                  <a:pt x="5764882" y="4389074"/>
                </a:lnTo>
                <a:cubicBezTo>
                  <a:pt x="5763178" y="4386596"/>
                  <a:pt x="5765502" y="4382363"/>
                  <a:pt x="5767980" y="4381640"/>
                </a:cubicBezTo>
                <a:close/>
                <a:moveTo>
                  <a:pt x="1049848" y="4380899"/>
                </a:moveTo>
                <a:lnTo>
                  <a:pt x="1049693" y="4381519"/>
                </a:lnTo>
                <a:lnTo>
                  <a:pt x="1051397" y="4381519"/>
                </a:lnTo>
                <a:lnTo>
                  <a:pt x="1050623" y="4381209"/>
                </a:lnTo>
                <a:lnTo>
                  <a:pt x="1050468" y="4381312"/>
                </a:lnTo>
                <a:cubicBezTo>
                  <a:pt x="1050313" y="4381003"/>
                  <a:pt x="1050003" y="4380796"/>
                  <a:pt x="1049848" y="4380899"/>
                </a:cubicBezTo>
                <a:close/>
                <a:moveTo>
                  <a:pt x="1356969" y="4379880"/>
                </a:moveTo>
                <a:cubicBezTo>
                  <a:pt x="1359253" y="4378731"/>
                  <a:pt x="1362042" y="4378937"/>
                  <a:pt x="1363823" y="4380383"/>
                </a:cubicBezTo>
                <a:cubicBezTo>
                  <a:pt x="1365062" y="4381312"/>
                  <a:pt x="1365837" y="4382861"/>
                  <a:pt x="1365837" y="4384926"/>
                </a:cubicBezTo>
                <a:cubicBezTo>
                  <a:pt x="1362429" y="4387095"/>
                  <a:pt x="1359176" y="4389986"/>
                  <a:pt x="1356078" y="4389366"/>
                </a:cubicBezTo>
                <a:cubicBezTo>
                  <a:pt x="1355149" y="4389160"/>
                  <a:pt x="1354064" y="4388643"/>
                  <a:pt x="1353135" y="4387508"/>
                </a:cubicBezTo>
                <a:cubicBezTo>
                  <a:pt x="1352903" y="4383532"/>
                  <a:pt x="1354684" y="4381028"/>
                  <a:pt x="1356969" y="4379880"/>
                </a:cubicBezTo>
                <a:close/>
                <a:moveTo>
                  <a:pt x="5921637" y="4379575"/>
                </a:moveTo>
                <a:cubicBezTo>
                  <a:pt x="5922256" y="4380091"/>
                  <a:pt x="5921947" y="4380814"/>
                  <a:pt x="5922721" y="4381330"/>
                </a:cubicBezTo>
                <a:cubicBezTo>
                  <a:pt x="5923031" y="4381949"/>
                  <a:pt x="5922721" y="4382672"/>
                  <a:pt x="5922411" y="4383602"/>
                </a:cubicBezTo>
                <a:cubicBezTo>
                  <a:pt x="5921017" y="4386390"/>
                  <a:pt x="5917610" y="4389900"/>
                  <a:pt x="5916990" y="4389591"/>
                </a:cubicBezTo>
                <a:cubicBezTo>
                  <a:pt x="5916680" y="4390313"/>
                  <a:pt x="5915906" y="4389900"/>
                  <a:pt x="5915441" y="4390623"/>
                </a:cubicBezTo>
                <a:cubicBezTo>
                  <a:pt x="5915441" y="4390623"/>
                  <a:pt x="5915132" y="4391449"/>
                  <a:pt x="5914047" y="4391759"/>
                </a:cubicBezTo>
                <a:cubicBezTo>
                  <a:pt x="5913428" y="4391862"/>
                  <a:pt x="5912963" y="4392069"/>
                  <a:pt x="5912343" y="4391966"/>
                </a:cubicBezTo>
                <a:cubicBezTo>
                  <a:pt x="5911724" y="4391966"/>
                  <a:pt x="5911259" y="4391656"/>
                  <a:pt x="5910639" y="4390830"/>
                </a:cubicBezTo>
                <a:cubicBezTo>
                  <a:pt x="5915751" y="4385976"/>
                  <a:pt x="5917145" y="4382879"/>
                  <a:pt x="5921637" y="4379575"/>
                </a:cubicBezTo>
                <a:close/>
                <a:moveTo>
                  <a:pt x="1736503" y="4379557"/>
                </a:moveTo>
                <a:cubicBezTo>
                  <a:pt x="1740066" y="4378834"/>
                  <a:pt x="1742389" y="4380486"/>
                  <a:pt x="1742080" y="4384100"/>
                </a:cubicBezTo>
                <a:cubicBezTo>
                  <a:pt x="1739756" y="4383790"/>
                  <a:pt x="1739137" y="4385442"/>
                  <a:pt x="1736658" y="4385133"/>
                </a:cubicBezTo>
                <a:cubicBezTo>
                  <a:pt x="1736813" y="4382654"/>
                  <a:pt x="1736349" y="4380796"/>
                  <a:pt x="1736503" y="4379557"/>
                </a:cubicBezTo>
                <a:close/>
                <a:moveTo>
                  <a:pt x="1717451" y="4379350"/>
                </a:moveTo>
                <a:cubicBezTo>
                  <a:pt x="1715902" y="4382241"/>
                  <a:pt x="1713269" y="4386785"/>
                  <a:pt x="1709087" y="4386888"/>
                </a:cubicBezTo>
                <a:cubicBezTo>
                  <a:pt x="1707848" y="4386888"/>
                  <a:pt x="1706144" y="4386475"/>
                  <a:pt x="1704440" y="4385236"/>
                </a:cubicBezTo>
                <a:cubicBezTo>
                  <a:pt x="1704595" y="4383997"/>
                  <a:pt x="1704595" y="4382861"/>
                  <a:pt x="1704750" y="4381622"/>
                </a:cubicBezTo>
                <a:cubicBezTo>
                  <a:pt x="1710016" y="4381829"/>
                  <a:pt x="1713269" y="4379247"/>
                  <a:pt x="1717451" y="4379350"/>
                </a:cubicBezTo>
                <a:close/>
                <a:moveTo>
                  <a:pt x="1401928" y="4378937"/>
                </a:moveTo>
                <a:cubicBezTo>
                  <a:pt x="1407659" y="4383274"/>
                  <a:pt x="1413235" y="4390192"/>
                  <a:pt x="1414319" y="4391844"/>
                </a:cubicBezTo>
                <a:cubicBezTo>
                  <a:pt x="1414939" y="4392670"/>
                  <a:pt x="1415248" y="4393187"/>
                  <a:pt x="1415093" y="4393703"/>
                </a:cubicBezTo>
                <a:cubicBezTo>
                  <a:pt x="1414939" y="4394322"/>
                  <a:pt x="1414474" y="4394736"/>
                  <a:pt x="1413700" y="4395252"/>
                </a:cubicBezTo>
                <a:cubicBezTo>
                  <a:pt x="1409517" y="4395768"/>
                  <a:pt x="1407504" y="4391741"/>
                  <a:pt x="1404096" y="4388850"/>
                </a:cubicBezTo>
                <a:cubicBezTo>
                  <a:pt x="1404406" y="4388127"/>
                  <a:pt x="1404096" y="4386888"/>
                  <a:pt x="1403322" y="4386475"/>
                </a:cubicBezTo>
                <a:cubicBezTo>
                  <a:pt x="1402857" y="4385236"/>
                  <a:pt x="1402392" y="4384100"/>
                  <a:pt x="1402082" y="4384823"/>
                </a:cubicBezTo>
                <a:cubicBezTo>
                  <a:pt x="1400844" y="4381312"/>
                  <a:pt x="1400069" y="4380796"/>
                  <a:pt x="1401928" y="4378937"/>
                </a:cubicBezTo>
                <a:close/>
                <a:moveTo>
                  <a:pt x="5828544" y="4378542"/>
                </a:moveTo>
                <a:cubicBezTo>
                  <a:pt x="5829319" y="4379471"/>
                  <a:pt x="5830248" y="4380298"/>
                  <a:pt x="5830403" y="4382053"/>
                </a:cubicBezTo>
                <a:cubicBezTo>
                  <a:pt x="5828854" y="4383705"/>
                  <a:pt x="5826221" y="4382776"/>
                  <a:pt x="5825446" y="4383602"/>
                </a:cubicBezTo>
                <a:cubicBezTo>
                  <a:pt x="5825446" y="4382672"/>
                  <a:pt x="5825291" y="4380917"/>
                  <a:pt x="5823587" y="4379988"/>
                </a:cubicBezTo>
                <a:cubicBezTo>
                  <a:pt x="5825137" y="4378336"/>
                  <a:pt x="5826840" y="4376683"/>
                  <a:pt x="5828544" y="4378542"/>
                </a:cubicBezTo>
                <a:close/>
                <a:moveTo>
                  <a:pt x="1303104" y="4378008"/>
                </a:moveTo>
                <a:cubicBezTo>
                  <a:pt x="1304033" y="4378628"/>
                  <a:pt x="1304962" y="4379247"/>
                  <a:pt x="1305892" y="4379867"/>
                </a:cubicBezTo>
                <a:cubicBezTo>
                  <a:pt x="1305892" y="4383171"/>
                  <a:pt x="1304498" y="4386372"/>
                  <a:pt x="1301710" y="4386888"/>
                </a:cubicBezTo>
                <a:cubicBezTo>
                  <a:pt x="1300935" y="4387095"/>
                  <a:pt x="1299851" y="4386888"/>
                  <a:pt x="1298612" y="4386372"/>
                </a:cubicBezTo>
                <a:cubicBezTo>
                  <a:pt x="1298147" y="4383894"/>
                  <a:pt x="1300625" y="4378731"/>
                  <a:pt x="1303104" y="4378008"/>
                </a:cubicBezTo>
                <a:close/>
                <a:moveTo>
                  <a:pt x="1285445" y="4377905"/>
                </a:moveTo>
                <a:cubicBezTo>
                  <a:pt x="1287769" y="4376459"/>
                  <a:pt x="1290867" y="4376666"/>
                  <a:pt x="1293655" y="4379867"/>
                </a:cubicBezTo>
                <a:cubicBezTo>
                  <a:pt x="1294120" y="4385649"/>
                  <a:pt x="1289473" y="4389986"/>
                  <a:pt x="1285445" y="4388953"/>
                </a:cubicBezTo>
                <a:cubicBezTo>
                  <a:pt x="1284052" y="4388540"/>
                  <a:pt x="1282812" y="4387611"/>
                  <a:pt x="1281883" y="4385959"/>
                </a:cubicBezTo>
                <a:cubicBezTo>
                  <a:pt x="1281728" y="4382448"/>
                  <a:pt x="1283277" y="4379350"/>
                  <a:pt x="1285445" y="4377905"/>
                </a:cubicBezTo>
                <a:close/>
                <a:moveTo>
                  <a:pt x="1379003" y="4376046"/>
                </a:moveTo>
                <a:cubicBezTo>
                  <a:pt x="1381171" y="4379144"/>
                  <a:pt x="1381481" y="4380176"/>
                  <a:pt x="1381326" y="4384100"/>
                </a:cubicBezTo>
                <a:cubicBezTo>
                  <a:pt x="1379003" y="4385855"/>
                  <a:pt x="1376680" y="4386681"/>
                  <a:pt x="1374511" y="4386991"/>
                </a:cubicBezTo>
                <a:cubicBezTo>
                  <a:pt x="1372188" y="4387404"/>
                  <a:pt x="1370019" y="4387198"/>
                  <a:pt x="1367695" y="4386991"/>
                </a:cubicBezTo>
                <a:cubicBezTo>
                  <a:pt x="1361345" y="4377905"/>
                  <a:pt x="1373271" y="4378111"/>
                  <a:pt x="1379003" y="4376046"/>
                </a:cubicBezTo>
                <a:close/>
                <a:moveTo>
                  <a:pt x="5718413" y="4375858"/>
                </a:moveTo>
                <a:cubicBezTo>
                  <a:pt x="5725383" y="4378749"/>
                  <a:pt x="5728791" y="4378955"/>
                  <a:pt x="5733903" y="4381846"/>
                </a:cubicBezTo>
                <a:cubicBezTo>
                  <a:pt x="5733903" y="4382672"/>
                  <a:pt x="5733128" y="4382672"/>
                  <a:pt x="5733128" y="4383602"/>
                </a:cubicBezTo>
                <a:cubicBezTo>
                  <a:pt x="5732818" y="4384014"/>
                  <a:pt x="5731889" y="4384118"/>
                  <a:pt x="5730960" y="4384014"/>
                </a:cubicBezTo>
                <a:cubicBezTo>
                  <a:pt x="5727861" y="4383808"/>
                  <a:pt x="5722905" y="4381949"/>
                  <a:pt x="5722905" y="4381330"/>
                </a:cubicBezTo>
                <a:cubicBezTo>
                  <a:pt x="5722130" y="4381227"/>
                  <a:pt x="5722130" y="4380401"/>
                  <a:pt x="5721201" y="4380298"/>
                </a:cubicBezTo>
                <a:cubicBezTo>
                  <a:pt x="5721201" y="4380298"/>
                  <a:pt x="5720427" y="4380298"/>
                  <a:pt x="5719497" y="4379368"/>
                </a:cubicBezTo>
                <a:cubicBezTo>
                  <a:pt x="5718568" y="4378439"/>
                  <a:pt x="5717638" y="4377509"/>
                  <a:pt x="5718413" y="4375858"/>
                </a:cubicBezTo>
                <a:close/>
                <a:moveTo>
                  <a:pt x="5441923" y="4375651"/>
                </a:moveTo>
                <a:cubicBezTo>
                  <a:pt x="5443472" y="4376580"/>
                  <a:pt x="5444246" y="4376580"/>
                  <a:pt x="5445950" y="4375754"/>
                </a:cubicBezTo>
                <a:cubicBezTo>
                  <a:pt x="5445950" y="4375754"/>
                  <a:pt x="5445950" y="4375858"/>
                  <a:pt x="5447499" y="4377509"/>
                </a:cubicBezTo>
                <a:lnTo>
                  <a:pt x="5447345" y="4378439"/>
                </a:lnTo>
                <a:cubicBezTo>
                  <a:pt x="5447189" y="4378852"/>
                  <a:pt x="5446415" y="4379059"/>
                  <a:pt x="5445486" y="4379059"/>
                </a:cubicBezTo>
                <a:cubicBezTo>
                  <a:pt x="5442853" y="4379265"/>
                  <a:pt x="5438051" y="4378232"/>
                  <a:pt x="5437431" y="4378232"/>
                </a:cubicBezTo>
                <a:cubicBezTo>
                  <a:pt x="5437431" y="4378232"/>
                  <a:pt x="5436502" y="4378232"/>
                  <a:pt x="5435727" y="4378232"/>
                </a:cubicBezTo>
                <a:cubicBezTo>
                  <a:pt x="5434952" y="4377303"/>
                  <a:pt x="5435108" y="4376477"/>
                  <a:pt x="5434178" y="4376477"/>
                </a:cubicBezTo>
                <a:cubicBezTo>
                  <a:pt x="5436966" y="4373896"/>
                  <a:pt x="5439445" y="4374825"/>
                  <a:pt x="5441923" y="4375651"/>
                </a:cubicBezTo>
                <a:close/>
                <a:moveTo>
                  <a:pt x="5687666" y="4375625"/>
                </a:moveTo>
                <a:cubicBezTo>
                  <a:pt x="5689602" y="4374851"/>
                  <a:pt x="5692003" y="4375599"/>
                  <a:pt x="5693475" y="4377509"/>
                </a:cubicBezTo>
                <a:cubicBezTo>
                  <a:pt x="5694404" y="4378749"/>
                  <a:pt x="5695024" y="4380504"/>
                  <a:pt x="5694869" y="4382672"/>
                </a:cubicBezTo>
                <a:cubicBezTo>
                  <a:pt x="5693784" y="4383602"/>
                  <a:pt x="5691616" y="4384118"/>
                  <a:pt x="5689602" y="4384221"/>
                </a:cubicBezTo>
                <a:cubicBezTo>
                  <a:pt x="5687589" y="4384221"/>
                  <a:pt x="5685420" y="4383911"/>
                  <a:pt x="5684646" y="4382879"/>
                </a:cubicBezTo>
                <a:cubicBezTo>
                  <a:pt x="5684258" y="4378697"/>
                  <a:pt x="5685730" y="4376400"/>
                  <a:pt x="5687666" y="4375625"/>
                </a:cubicBezTo>
                <a:close/>
                <a:moveTo>
                  <a:pt x="5884462" y="4375444"/>
                </a:moveTo>
                <a:lnTo>
                  <a:pt x="5883687" y="4377613"/>
                </a:lnTo>
                <a:lnTo>
                  <a:pt x="5883068" y="4378542"/>
                </a:lnTo>
                <a:lnTo>
                  <a:pt x="5886630" y="4380298"/>
                </a:lnTo>
                <a:lnTo>
                  <a:pt x="5887560" y="4382053"/>
                </a:lnTo>
                <a:lnTo>
                  <a:pt x="5888489" y="4376477"/>
                </a:lnTo>
                <a:lnTo>
                  <a:pt x="5887405" y="4377716"/>
                </a:lnTo>
                <a:cubicBezTo>
                  <a:pt x="5886475" y="4377613"/>
                  <a:pt x="5885856" y="4377200"/>
                  <a:pt x="5885236" y="4376580"/>
                </a:cubicBezTo>
                <a:close/>
                <a:moveTo>
                  <a:pt x="674167" y="4375297"/>
                </a:moveTo>
                <a:cubicBezTo>
                  <a:pt x="676703" y="4375065"/>
                  <a:pt x="679568" y="4376201"/>
                  <a:pt x="682744" y="4379764"/>
                </a:cubicBezTo>
                <a:cubicBezTo>
                  <a:pt x="684293" y="4380899"/>
                  <a:pt x="683519" y="4380796"/>
                  <a:pt x="684293" y="4381829"/>
                </a:cubicBezTo>
                <a:lnTo>
                  <a:pt x="684603" y="4382035"/>
                </a:lnTo>
                <a:lnTo>
                  <a:pt x="684912" y="4380796"/>
                </a:lnTo>
                <a:cubicBezTo>
                  <a:pt x="685222" y="4380486"/>
                  <a:pt x="685687" y="4380486"/>
                  <a:pt x="686307" y="4380589"/>
                </a:cubicBezTo>
                <a:cubicBezTo>
                  <a:pt x="686307" y="4380589"/>
                  <a:pt x="687546" y="4380899"/>
                  <a:pt x="688630" y="4381209"/>
                </a:cubicBezTo>
                <a:cubicBezTo>
                  <a:pt x="689714" y="4381519"/>
                  <a:pt x="690489" y="4381003"/>
                  <a:pt x="690489" y="4381003"/>
                </a:cubicBezTo>
                <a:cubicBezTo>
                  <a:pt x="691573" y="4381312"/>
                  <a:pt x="692038" y="4382035"/>
                  <a:pt x="691728" y="4383274"/>
                </a:cubicBezTo>
                <a:cubicBezTo>
                  <a:pt x="691728" y="4383274"/>
                  <a:pt x="689869" y="4383480"/>
                  <a:pt x="689869" y="4383480"/>
                </a:cubicBezTo>
                <a:cubicBezTo>
                  <a:pt x="688630" y="4383171"/>
                  <a:pt x="687855" y="4382964"/>
                  <a:pt x="687081" y="4382861"/>
                </a:cubicBezTo>
                <a:lnTo>
                  <a:pt x="685687" y="4382758"/>
                </a:lnTo>
                <a:lnTo>
                  <a:pt x="687546" y="4384100"/>
                </a:lnTo>
                <a:cubicBezTo>
                  <a:pt x="686771" y="4384823"/>
                  <a:pt x="686462" y="4385546"/>
                  <a:pt x="686152" y="4386165"/>
                </a:cubicBezTo>
                <a:lnTo>
                  <a:pt x="685687" y="4388231"/>
                </a:lnTo>
                <a:lnTo>
                  <a:pt x="687391" y="4389676"/>
                </a:lnTo>
                <a:cubicBezTo>
                  <a:pt x="686617" y="4390192"/>
                  <a:pt x="685377" y="4391844"/>
                  <a:pt x="685067" y="4391121"/>
                </a:cubicBezTo>
                <a:lnTo>
                  <a:pt x="684757" y="4391018"/>
                </a:lnTo>
                <a:lnTo>
                  <a:pt x="682589" y="4393703"/>
                </a:lnTo>
                <a:cubicBezTo>
                  <a:pt x="679956" y="4396801"/>
                  <a:pt x="677168" y="4397627"/>
                  <a:pt x="674689" y="4397317"/>
                </a:cubicBezTo>
                <a:cubicBezTo>
                  <a:pt x="672056" y="4397110"/>
                  <a:pt x="669887" y="4395665"/>
                  <a:pt x="668339" y="4394116"/>
                </a:cubicBezTo>
                <a:cubicBezTo>
                  <a:pt x="668958" y="4393497"/>
                  <a:pt x="664621" y="4389160"/>
                  <a:pt x="665086" y="4384203"/>
                </a:cubicBezTo>
                <a:cubicBezTo>
                  <a:pt x="665241" y="4382551"/>
                  <a:pt x="666015" y="4380796"/>
                  <a:pt x="667564" y="4379041"/>
                </a:cubicBezTo>
                <a:cubicBezTo>
                  <a:pt x="669423" y="4377130"/>
                  <a:pt x="671630" y="4375530"/>
                  <a:pt x="674167" y="4375297"/>
                </a:cubicBezTo>
                <a:close/>
                <a:moveTo>
                  <a:pt x="1330366" y="4374084"/>
                </a:moveTo>
                <a:cubicBezTo>
                  <a:pt x="1332069" y="4373774"/>
                  <a:pt x="1334238" y="4374497"/>
                  <a:pt x="1336716" y="4375943"/>
                </a:cubicBezTo>
                <a:cubicBezTo>
                  <a:pt x="1335477" y="4378937"/>
                  <a:pt x="1333928" y="4379660"/>
                  <a:pt x="1332069" y="4379557"/>
                </a:cubicBezTo>
                <a:cubicBezTo>
                  <a:pt x="1330211" y="4379453"/>
                  <a:pt x="1328042" y="4378524"/>
                  <a:pt x="1325874" y="4378318"/>
                </a:cubicBezTo>
                <a:cubicBezTo>
                  <a:pt x="1327113" y="4375736"/>
                  <a:pt x="1328507" y="4374394"/>
                  <a:pt x="1330366" y="4374084"/>
                </a:cubicBezTo>
                <a:close/>
                <a:moveTo>
                  <a:pt x="1174695" y="4373671"/>
                </a:moveTo>
                <a:cubicBezTo>
                  <a:pt x="1176088" y="4376149"/>
                  <a:pt x="1174695" y="4378731"/>
                  <a:pt x="1173301" y="4381209"/>
                </a:cubicBezTo>
                <a:lnTo>
                  <a:pt x="1171597" y="4382861"/>
                </a:lnTo>
                <a:lnTo>
                  <a:pt x="1171907" y="4383068"/>
                </a:lnTo>
                <a:lnTo>
                  <a:pt x="1172216" y="4385030"/>
                </a:lnTo>
                <a:lnTo>
                  <a:pt x="1172216" y="4383584"/>
                </a:lnTo>
                <a:cubicBezTo>
                  <a:pt x="1172526" y="4382964"/>
                  <a:pt x="1172836" y="4382448"/>
                  <a:pt x="1173455" y="4382241"/>
                </a:cubicBezTo>
                <a:cubicBezTo>
                  <a:pt x="1174076" y="4382758"/>
                  <a:pt x="1174540" y="4381932"/>
                  <a:pt x="1175314" y="4382345"/>
                </a:cubicBezTo>
                <a:cubicBezTo>
                  <a:pt x="1177173" y="4382551"/>
                  <a:pt x="1177792" y="4382964"/>
                  <a:pt x="1177948" y="4384100"/>
                </a:cubicBezTo>
                <a:cubicBezTo>
                  <a:pt x="1178722" y="4384616"/>
                  <a:pt x="1178257" y="4385339"/>
                  <a:pt x="1178412" y="4386475"/>
                </a:cubicBezTo>
                <a:lnTo>
                  <a:pt x="1177638" y="4387198"/>
                </a:lnTo>
                <a:lnTo>
                  <a:pt x="1178412" y="4388024"/>
                </a:lnTo>
                <a:cubicBezTo>
                  <a:pt x="1179342" y="4389676"/>
                  <a:pt x="1179961" y="4391121"/>
                  <a:pt x="1179651" y="4391638"/>
                </a:cubicBezTo>
                <a:lnTo>
                  <a:pt x="1176863" y="4388231"/>
                </a:lnTo>
                <a:lnTo>
                  <a:pt x="1177948" y="4392567"/>
                </a:lnTo>
                <a:cubicBezTo>
                  <a:pt x="1177948" y="4394736"/>
                  <a:pt x="1177483" y="4396801"/>
                  <a:pt x="1176554" y="4397627"/>
                </a:cubicBezTo>
                <a:lnTo>
                  <a:pt x="1172526" y="4397007"/>
                </a:lnTo>
                <a:lnTo>
                  <a:pt x="1172836" y="4397317"/>
                </a:lnTo>
                <a:cubicBezTo>
                  <a:pt x="1171287" y="4405680"/>
                  <a:pt x="1164472" y="4406816"/>
                  <a:pt x="1157966" y="4406404"/>
                </a:cubicBezTo>
                <a:lnTo>
                  <a:pt x="1155642" y="4406094"/>
                </a:lnTo>
                <a:lnTo>
                  <a:pt x="1155177" y="4407023"/>
                </a:lnTo>
                <a:cubicBezTo>
                  <a:pt x="1154713" y="4407642"/>
                  <a:pt x="1154094" y="4408262"/>
                  <a:pt x="1153784" y="4408675"/>
                </a:cubicBezTo>
                <a:cubicBezTo>
                  <a:pt x="1153784" y="4409501"/>
                  <a:pt x="1153009" y="4410327"/>
                  <a:pt x="1152234" y="4410224"/>
                </a:cubicBezTo>
                <a:cubicBezTo>
                  <a:pt x="1152234" y="4410224"/>
                  <a:pt x="1151460" y="4411050"/>
                  <a:pt x="1151460" y="4411979"/>
                </a:cubicBezTo>
                <a:cubicBezTo>
                  <a:pt x="1149911" y="4413632"/>
                  <a:pt x="1149137" y="4413632"/>
                  <a:pt x="1148207" y="4413528"/>
                </a:cubicBezTo>
                <a:cubicBezTo>
                  <a:pt x="1148207" y="4413528"/>
                  <a:pt x="1148982" y="4412702"/>
                  <a:pt x="1148982" y="4411876"/>
                </a:cubicBezTo>
                <a:cubicBezTo>
                  <a:pt x="1148982" y="4411876"/>
                  <a:pt x="1149756" y="4411050"/>
                  <a:pt x="1150531" y="4410224"/>
                </a:cubicBezTo>
                <a:cubicBezTo>
                  <a:pt x="1150531" y="4410224"/>
                  <a:pt x="1150531" y="4409398"/>
                  <a:pt x="1150531" y="4408572"/>
                </a:cubicBezTo>
                <a:lnTo>
                  <a:pt x="1152544" y="4405680"/>
                </a:lnTo>
                <a:lnTo>
                  <a:pt x="1151770" y="4405577"/>
                </a:lnTo>
                <a:cubicBezTo>
                  <a:pt x="1147898" y="4405061"/>
                  <a:pt x="1143870" y="4404132"/>
                  <a:pt x="1142321" y="4401860"/>
                </a:cubicBezTo>
                <a:cubicBezTo>
                  <a:pt x="1141702" y="4401137"/>
                  <a:pt x="1141547" y="4400208"/>
                  <a:pt x="1141702" y="4399175"/>
                </a:cubicBezTo>
                <a:cubicBezTo>
                  <a:pt x="1142011" y="4396078"/>
                  <a:pt x="1144025" y="4393290"/>
                  <a:pt x="1146968" y="4391535"/>
                </a:cubicBezTo>
                <a:lnTo>
                  <a:pt x="1150531" y="4390089"/>
                </a:lnTo>
                <a:lnTo>
                  <a:pt x="1148982" y="4389779"/>
                </a:lnTo>
                <a:cubicBezTo>
                  <a:pt x="1147743" y="4389470"/>
                  <a:pt x="1146659" y="4389160"/>
                  <a:pt x="1146813" y="4388540"/>
                </a:cubicBezTo>
                <a:cubicBezTo>
                  <a:pt x="1146813" y="4388540"/>
                  <a:pt x="1148053" y="4388953"/>
                  <a:pt x="1149137" y="4389263"/>
                </a:cubicBezTo>
                <a:cubicBezTo>
                  <a:pt x="1150221" y="4389676"/>
                  <a:pt x="1150221" y="4389676"/>
                  <a:pt x="1150686" y="4388540"/>
                </a:cubicBezTo>
                <a:cubicBezTo>
                  <a:pt x="1151305" y="4388746"/>
                  <a:pt x="1151615" y="4388746"/>
                  <a:pt x="1151770" y="4389056"/>
                </a:cubicBezTo>
                <a:lnTo>
                  <a:pt x="1152080" y="4389573"/>
                </a:lnTo>
                <a:lnTo>
                  <a:pt x="1157191" y="4389573"/>
                </a:lnTo>
                <a:lnTo>
                  <a:pt x="1162303" y="4390915"/>
                </a:lnTo>
                <a:lnTo>
                  <a:pt x="1162458" y="4390915"/>
                </a:lnTo>
                <a:lnTo>
                  <a:pt x="1164472" y="4391431"/>
                </a:lnTo>
                <a:lnTo>
                  <a:pt x="1169893" y="4394736"/>
                </a:lnTo>
                <a:lnTo>
                  <a:pt x="1169583" y="4394426"/>
                </a:lnTo>
                <a:cubicBezTo>
                  <a:pt x="1168964" y="4392361"/>
                  <a:pt x="1169738" y="4389882"/>
                  <a:pt x="1171597" y="4388437"/>
                </a:cubicBezTo>
                <a:lnTo>
                  <a:pt x="1173455" y="4387920"/>
                </a:lnTo>
                <a:lnTo>
                  <a:pt x="1172216" y="4385649"/>
                </a:lnTo>
                <a:lnTo>
                  <a:pt x="1164937" y="4384926"/>
                </a:lnTo>
                <a:lnTo>
                  <a:pt x="1163232" y="4383790"/>
                </a:lnTo>
                <a:lnTo>
                  <a:pt x="1161529" y="4383894"/>
                </a:lnTo>
                <a:cubicBezTo>
                  <a:pt x="1161374" y="4383171"/>
                  <a:pt x="1161374" y="4383171"/>
                  <a:pt x="1162148" y="4382861"/>
                </a:cubicBezTo>
                <a:cubicBezTo>
                  <a:pt x="1161993" y="4382861"/>
                  <a:pt x="1161993" y="4382861"/>
                  <a:pt x="1161839" y="4382758"/>
                </a:cubicBezTo>
                <a:lnTo>
                  <a:pt x="1162148" y="4382551"/>
                </a:lnTo>
                <a:lnTo>
                  <a:pt x="1161839" y="4382035"/>
                </a:lnTo>
                <a:cubicBezTo>
                  <a:pt x="1161684" y="4381415"/>
                  <a:pt x="1161529" y="4380796"/>
                  <a:pt x="1161684" y="4379970"/>
                </a:cubicBezTo>
                <a:cubicBezTo>
                  <a:pt x="1161529" y="4379557"/>
                  <a:pt x="1162303" y="4379041"/>
                  <a:pt x="1163232" y="4378731"/>
                </a:cubicBezTo>
                <a:lnTo>
                  <a:pt x="1164007" y="4378628"/>
                </a:lnTo>
                <a:lnTo>
                  <a:pt x="1163542" y="4377802"/>
                </a:lnTo>
                <a:cubicBezTo>
                  <a:pt x="1163542" y="4376769"/>
                  <a:pt x="1163852" y="4376253"/>
                  <a:pt x="1163852" y="4376253"/>
                </a:cubicBezTo>
                <a:cubicBezTo>
                  <a:pt x="1166486" y="4372432"/>
                  <a:pt x="1170667" y="4371090"/>
                  <a:pt x="1174695" y="4373671"/>
                </a:cubicBezTo>
                <a:close/>
                <a:moveTo>
                  <a:pt x="1028008" y="4373465"/>
                </a:moveTo>
                <a:cubicBezTo>
                  <a:pt x="1028317" y="4374291"/>
                  <a:pt x="1029092" y="4373878"/>
                  <a:pt x="1029866" y="4373465"/>
                </a:cubicBezTo>
                <a:cubicBezTo>
                  <a:pt x="1032190" y="4374291"/>
                  <a:pt x="1034669" y="4375943"/>
                  <a:pt x="1034513" y="4377905"/>
                </a:cubicBezTo>
                <a:cubicBezTo>
                  <a:pt x="1034049" y="4379041"/>
                  <a:pt x="1033274" y="4379660"/>
                  <a:pt x="1032500" y="4379867"/>
                </a:cubicBezTo>
                <a:lnTo>
                  <a:pt x="1031261" y="4379867"/>
                </a:lnTo>
                <a:lnTo>
                  <a:pt x="1029247" y="4384307"/>
                </a:lnTo>
                <a:cubicBezTo>
                  <a:pt x="1026459" y="4387920"/>
                  <a:pt x="1022432" y="4388127"/>
                  <a:pt x="1018559" y="4388643"/>
                </a:cubicBezTo>
                <a:cubicBezTo>
                  <a:pt x="1018714" y="4385752"/>
                  <a:pt x="1022276" y="4380693"/>
                  <a:pt x="1026769" y="4379350"/>
                </a:cubicBezTo>
                <a:lnTo>
                  <a:pt x="1029712" y="4379453"/>
                </a:lnTo>
                <a:lnTo>
                  <a:pt x="1027543" y="4378214"/>
                </a:lnTo>
                <a:cubicBezTo>
                  <a:pt x="1026923" y="4377079"/>
                  <a:pt x="1026459" y="4375633"/>
                  <a:pt x="1026459" y="4374291"/>
                </a:cubicBezTo>
                <a:cubicBezTo>
                  <a:pt x="1026769" y="4375013"/>
                  <a:pt x="1026769" y="4375013"/>
                  <a:pt x="1026769" y="4375013"/>
                </a:cubicBezTo>
                <a:cubicBezTo>
                  <a:pt x="1027853" y="4375427"/>
                  <a:pt x="1027543" y="4374704"/>
                  <a:pt x="1028317" y="4374291"/>
                </a:cubicBezTo>
                <a:cubicBezTo>
                  <a:pt x="1028317" y="4374291"/>
                  <a:pt x="1027543" y="4374704"/>
                  <a:pt x="1028008" y="4373465"/>
                </a:cubicBezTo>
                <a:close/>
                <a:moveTo>
                  <a:pt x="5925819" y="4373379"/>
                </a:moveTo>
                <a:cubicBezTo>
                  <a:pt x="5926594" y="4372450"/>
                  <a:pt x="5926594" y="4373379"/>
                  <a:pt x="5927368" y="4373379"/>
                </a:cubicBezTo>
                <a:cubicBezTo>
                  <a:pt x="5926903" y="4373896"/>
                  <a:pt x="5926749" y="4374102"/>
                  <a:pt x="5926594" y="4374102"/>
                </a:cubicBezTo>
                <a:cubicBezTo>
                  <a:pt x="5926439" y="4374102"/>
                  <a:pt x="5926284" y="4373896"/>
                  <a:pt x="5925819" y="4373379"/>
                </a:cubicBezTo>
                <a:close/>
                <a:moveTo>
                  <a:pt x="5341550" y="4373070"/>
                </a:moveTo>
                <a:cubicBezTo>
                  <a:pt x="5342480" y="4371314"/>
                  <a:pt x="5344648" y="4374928"/>
                  <a:pt x="5345578" y="4373173"/>
                </a:cubicBezTo>
                <a:cubicBezTo>
                  <a:pt x="5348676" y="4376787"/>
                  <a:pt x="5353167" y="4372450"/>
                  <a:pt x="5358589" y="4376890"/>
                </a:cubicBezTo>
                <a:cubicBezTo>
                  <a:pt x="5356421" y="4377509"/>
                  <a:pt x="5354407" y="4377819"/>
                  <a:pt x="5352703" y="4377819"/>
                </a:cubicBezTo>
                <a:cubicBezTo>
                  <a:pt x="5347282" y="4377923"/>
                  <a:pt x="5343254" y="4376270"/>
                  <a:pt x="5339382" y="4377509"/>
                </a:cubicBezTo>
                <a:cubicBezTo>
                  <a:pt x="5339382" y="4377509"/>
                  <a:pt x="5339382" y="4377509"/>
                  <a:pt x="5337988" y="4375651"/>
                </a:cubicBezTo>
                <a:cubicBezTo>
                  <a:pt x="5337213" y="4375651"/>
                  <a:pt x="5337213" y="4375651"/>
                  <a:pt x="5337213" y="4375651"/>
                </a:cubicBezTo>
                <a:cubicBezTo>
                  <a:pt x="5336749" y="4375651"/>
                  <a:pt x="5336594" y="4375238"/>
                  <a:pt x="5336439" y="4374825"/>
                </a:cubicBezTo>
                <a:cubicBezTo>
                  <a:pt x="5336439" y="4374309"/>
                  <a:pt x="5336439" y="4373896"/>
                  <a:pt x="5336439" y="4373896"/>
                </a:cubicBezTo>
                <a:cubicBezTo>
                  <a:pt x="5337523" y="4372243"/>
                  <a:pt x="5339846" y="4373070"/>
                  <a:pt x="5341550" y="4373070"/>
                </a:cubicBezTo>
                <a:close/>
                <a:moveTo>
                  <a:pt x="5522934" y="4372140"/>
                </a:moveTo>
                <a:cubicBezTo>
                  <a:pt x="5524173" y="4375238"/>
                  <a:pt x="5522314" y="4377923"/>
                  <a:pt x="5519991" y="4378542"/>
                </a:cubicBezTo>
                <a:cubicBezTo>
                  <a:pt x="5519061" y="4378852"/>
                  <a:pt x="5518132" y="4378852"/>
                  <a:pt x="5517357" y="4378542"/>
                </a:cubicBezTo>
                <a:cubicBezTo>
                  <a:pt x="5513330" y="4372966"/>
                  <a:pt x="5519991" y="4370178"/>
                  <a:pt x="5522934" y="4372140"/>
                </a:cubicBezTo>
                <a:close/>
                <a:moveTo>
                  <a:pt x="1559922" y="4372122"/>
                </a:moveTo>
                <a:cubicBezTo>
                  <a:pt x="1562400" y="4373052"/>
                  <a:pt x="1565343" y="4373155"/>
                  <a:pt x="1567667" y="4375013"/>
                </a:cubicBezTo>
                <a:cubicBezTo>
                  <a:pt x="1568441" y="4375633"/>
                  <a:pt x="1569216" y="4376563"/>
                  <a:pt x="1569835" y="4377698"/>
                </a:cubicBezTo>
                <a:cubicBezTo>
                  <a:pt x="1563329" y="4380279"/>
                  <a:pt x="1560232" y="4384100"/>
                  <a:pt x="1555275" y="4387714"/>
                </a:cubicBezTo>
                <a:lnTo>
                  <a:pt x="1554965" y="4387404"/>
                </a:lnTo>
                <a:lnTo>
                  <a:pt x="1553726" y="4394942"/>
                </a:lnTo>
                <a:lnTo>
                  <a:pt x="1550783" y="4403925"/>
                </a:lnTo>
                <a:lnTo>
                  <a:pt x="1552332" y="4404029"/>
                </a:lnTo>
                <a:cubicBezTo>
                  <a:pt x="1553261" y="4404338"/>
                  <a:pt x="1554190" y="4404855"/>
                  <a:pt x="1555275" y="4405784"/>
                </a:cubicBezTo>
                <a:cubicBezTo>
                  <a:pt x="1556514" y="4409914"/>
                  <a:pt x="1552951" y="4411876"/>
                  <a:pt x="1552177" y="4414767"/>
                </a:cubicBezTo>
                <a:cubicBezTo>
                  <a:pt x="1550318" y="4414251"/>
                  <a:pt x="1549079" y="4413425"/>
                  <a:pt x="1548150" y="4412289"/>
                </a:cubicBezTo>
                <a:lnTo>
                  <a:pt x="1547995" y="4412082"/>
                </a:lnTo>
                <a:lnTo>
                  <a:pt x="1546446" y="4416832"/>
                </a:lnTo>
                <a:cubicBezTo>
                  <a:pt x="1543813" y="4414974"/>
                  <a:pt x="1541335" y="4415697"/>
                  <a:pt x="1537927" y="4412186"/>
                </a:cubicBezTo>
                <a:cubicBezTo>
                  <a:pt x="1544742" y="4398763"/>
                  <a:pt x="1547530" y="4384203"/>
                  <a:pt x="1553726" y="4373362"/>
                </a:cubicBezTo>
                <a:lnTo>
                  <a:pt x="1554810" y="4380279"/>
                </a:lnTo>
                <a:lnTo>
                  <a:pt x="1555585" y="4379970"/>
                </a:lnTo>
                <a:cubicBezTo>
                  <a:pt x="1557598" y="4377388"/>
                  <a:pt x="1555120" y="4372639"/>
                  <a:pt x="1559922" y="4372122"/>
                </a:cubicBezTo>
                <a:close/>
                <a:moveTo>
                  <a:pt x="1310539" y="4371606"/>
                </a:moveTo>
                <a:cubicBezTo>
                  <a:pt x="1312243" y="4372535"/>
                  <a:pt x="1313946" y="4372639"/>
                  <a:pt x="1315650" y="4373568"/>
                </a:cubicBezTo>
                <a:cubicBezTo>
                  <a:pt x="1315805" y="4376975"/>
                  <a:pt x="1319367" y="4379660"/>
                  <a:pt x="1315341" y="4382861"/>
                </a:cubicBezTo>
                <a:cubicBezTo>
                  <a:pt x="1310229" y="4382654"/>
                  <a:pt x="1306511" y="4375633"/>
                  <a:pt x="1310539" y="4371606"/>
                </a:cubicBezTo>
                <a:close/>
                <a:moveTo>
                  <a:pt x="1142166" y="4370574"/>
                </a:moveTo>
                <a:cubicBezTo>
                  <a:pt x="1149137" y="4375323"/>
                  <a:pt x="1147433" y="4382035"/>
                  <a:pt x="1144335" y="4387817"/>
                </a:cubicBezTo>
                <a:lnTo>
                  <a:pt x="1145265" y="4388334"/>
                </a:lnTo>
                <a:cubicBezTo>
                  <a:pt x="1145729" y="4388643"/>
                  <a:pt x="1146039" y="4388953"/>
                  <a:pt x="1146039" y="4388953"/>
                </a:cubicBezTo>
                <a:cubicBezTo>
                  <a:pt x="1145574" y="4390089"/>
                  <a:pt x="1145574" y="4390192"/>
                  <a:pt x="1145265" y="4389366"/>
                </a:cubicBezTo>
                <a:cubicBezTo>
                  <a:pt x="1144335" y="4389366"/>
                  <a:pt x="1144180" y="4389263"/>
                  <a:pt x="1144025" y="4389056"/>
                </a:cubicBezTo>
                <a:lnTo>
                  <a:pt x="1143716" y="4388953"/>
                </a:lnTo>
                <a:lnTo>
                  <a:pt x="1141237" y="4393083"/>
                </a:lnTo>
                <a:cubicBezTo>
                  <a:pt x="1139069" y="4396491"/>
                  <a:pt x="1136590" y="4399898"/>
                  <a:pt x="1133957" y="4400414"/>
                </a:cubicBezTo>
                <a:cubicBezTo>
                  <a:pt x="1133028" y="4400518"/>
                  <a:pt x="1132098" y="4400311"/>
                  <a:pt x="1131169" y="4399795"/>
                </a:cubicBezTo>
                <a:cubicBezTo>
                  <a:pt x="1128535" y="4398143"/>
                  <a:pt x="1126832" y="4395252"/>
                  <a:pt x="1126367" y="4391947"/>
                </a:cubicBezTo>
                <a:lnTo>
                  <a:pt x="1126522" y="4389056"/>
                </a:lnTo>
                <a:lnTo>
                  <a:pt x="1126367" y="4389056"/>
                </a:lnTo>
                <a:lnTo>
                  <a:pt x="1125902" y="4388850"/>
                </a:lnTo>
                <a:lnTo>
                  <a:pt x="1125593" y="4389263"/>
                </a:lnTo>
                <a:cubicBezTo>
                  <a:pt x="1124819" y="4390296"/>
                  <a:pt x="1124044" y="4391225"/>
                  <a:pt x="1123579" y="4390708"/>
                </a:cubicBezTo>
                <a:cubicBezTo>
                  <a:pt x="1123579" y="4390708"/>
                  <a:pt x="1124353" y="4389882"/>
                  <a:pt x="1125283" y="4389056"/>
                </a:cubicBezTo>
                <a:lnTo>
                  <a:pt x="1125128" y="4388540"/>
                </a:lnTo>
                <a:lnTo>
                  <a:pt x="1122649" y="4387404"/>
                </a:lnTo>
                <a:cubicBezTo>
                  <a:pt x="1121101" y="4383377"/>
                  <a:pt x="1125438" y="4374910"/>
                  <a:pt x="1130549" y="4373981"/>
                </a:cubicBezTo>
                <a:cubicBezTo>
                  <a:pt x="1131478" y="4373774"/>
                  <a:pt x="1132408" y="4373878"/>
                  <a:pt x="1133183" y="4374187"/>
                </a:cubicBezTo>
                <a:lnTo>
                  <a:pt x="1134576" y="4375013"/>
                </a:lnTo>
                <a:lnTo>
                  <a:pt x="1139533" y="4371503"/>
                </a:lnTo>
                <a:cubicBezTo>
                  <a:pt x="1141237" y="4370780"/>
                  <a:pt x="1142166" y="4370574"/>
                  <a:pt x="1142166" y="4370574"/>
                </a:cubicBezTo>
                <a:close/>
                <a:moveTo>
                  <a:pt x="5704937" y="4370488"/>
                </a:moveTo>
                <a:cubicBezTo>
                  <a:pt x="5706796" y="4370075"/>
                  <a:pt x="5709119" y="4370592"/>
                  <a:pt x="5711752" y="4372760"/>
                </a:cubicBezTo>
                <a:cubicBezTo>
                  <a:pt x="5709119" y="4378026"/>
                  <a:pt x="5711288" y="4382053"/>
                  <a:pt x="5707105" y="4384944"/>
                </a:cubicBezTo>
                <a:cubicBezTo>
                  <a:pt x="5698431" y="4382569"/>
                  <a:pt x="5699361" y="4371934"/>
                  <a:pt x="5704937" y="4370488"/>
                </a:cubicBezTo>
                <a:close/>
                <a:moveTo>
                  <a:pt x="1398365" y="4369851"/>
                </a:moveTo>
                <a:cubicBezTo>
                  <a:pt x="1400379" y="4370057"/>
                  <a:pt x="1402237" y="4371503"/>
                  <a:pt x="1403477" y="4374601"/>
                </a:cubicBezTo>
                <a:cubicBezTo>
                  <a:pt x="1401618" y="4378628"/>
                  <a:pt x="1399139" y="4379453"/>
                  <a:pt x="1396971" y="4381829"/>
                </a:cubicBezTo>
                <a:cubicBezTo>
                  <a:pt x="1393099" y="4380486"/>
                  <a:pt x="1391395" y="4378421"/>
                  <a:pt x="1391239" y="4376253"/>
                </a:cubicBezTo>
                <a:cubicBezTo>
                  <a:pt x="1391085" y="4374187"/>
                  <a:pt x="1392324" y="4372019"/>
                  <a:pt x="1394183" y="4370883"/>
                </a:cubicBezTo>
                <a:cubicBezTo>
                  <a:pt x="1395422" y="4370057"/>
                  <a:pt x="1396971" y="4369644"/>
                  <a:pt x="1398365" y="4369851"/>
                </a:cubicBezTo>
                <a:close/>
                <a:moveTo>
                  <a:pt x="1540715" y="4369541"/>
                </a:moveTo>
                <a:cubicBezTo>
                  <a:pt x="1541799" y="4370161"/>
                  <a:pt x="1542728" y="4370780"/>
                  <a:pt x="1543813" y="4371400"/>
                </a:cubicBezTo>
                <a:cubicBezTo>
                  <a:pt x="1544277" y="4374704"/>
                  <a:pt x="1543348" y="4377905"/>
                  <a:pt x="1540715" y="4378318"/>
                </a:cubicBezTo>
                <a:cubicBezTo>
                  <a:pt x="1539785" y="4378421"/>
                  <a:pt x="1538701" y="4378318"/>
                  <a:pt x="1537462" y="4377802"/>
                </a:cubicBezTo>
                <a:cubicBezTo>
                  <a:pt x="1536687" y="4375220"/>
                  <a:pt x="1538391" y="4370161"/>
                  <a:pt x="1540715" y="4369541"/>
                </a:cubicBezTo>
                <a:close/>
                <a:moveTo>
                  <a:pt x="1080982" y="4368818"/>
                </a:moveTo>
                <a:cubicBezTo>
                  <a:pt x="1082376" y="4368818"/>
                  <a:pt x="1081137" y="4375427"/>
                  <a:pt x="1080208" y="4380176"/>
                </a:cubicBezTo>
                <a:lnTo>
                  <a:pt x="1079433" y="4383274"/>
                </a:lnTo>
                <a:lnTo>
                  <a:pt x="1080518" y="4383377"/>
                </a:lnTo>
                <a:lnTo>
                  <a:pt x="1082066" y="4384307"/>
                </a:lnTo>
                <a:lnTo>
                  <a:pt x="1083926" y="4383894"/>
                </a:lnTo>
                <a:lnTo>
                  <a:pt x="1084081" y="4383584"/>
                </a:lnTo>
                <a:cubicBezTo>
                  <a:pt x="1084545" y="4382345"/>
                  <a:pt x="1084855" y="4381003"/>
                  <a:pt x="1084390" y="4380486"/>
                </a:cubicBezTo>
                <a:cubicBezTo>
                  <a:pt x="1085165" y="4380589"/>
                  <a:pt x="1086094" y="4379867"/>
                  <a:pt x="1086094" y="4379867"/>
                </a:cubicBezTo>
                <a:cubicBezTo>
                  <a:pt x="1087023" y="4380796"/>
                  <a:pt x="1086869" y="4381725"/>
                  <a:pt x="1086869" y="4382551"/>
                </a:cubicBezTo>
                <a:lnTo>
                  <a:pt x="1084545" y="4383894"/>
                </a:lnTo>
                <a:lnTo>
                  <a:pt x="1091360" y="4382654"/>
                </a:lnTo>
                <a:lnTo>
                  <a:pt x="1093839" y="4383068"/>
                </a:lnTo>
                <a:lnTo>
                  <a:pt x="1093684" y="4382035"/>
                </a:lnTo>
                <a:cubicBezTo>
                  <a:pt x="1095543" y="4382448"/>
                  <a:pt x="1096007" y="4381415"/>
                  <a:pt x="1098330" y="4383480"/>
                </a:cubicBezTo>
                <a:lnTo>
                  <a:pt x="1098330" y="4383790"/>
                </a:lnTo>
                <a:lnTo>
                  <a:pt x="1102668" y="4384513"/>
                </a:lnTo>
                <a:cubicBezTo>
                  <a:pt x="1104991" y="4385442"/>
                  <a:pt x="1107005" y="4386578"/>
                  <a:pt x="1109019" y="4388024"/>
                </a:cubicBezTo>
                <a:cubicBezTo>
                  <a:pt x="1105766" y="4394322"/>
                  <a:pt x="1098330" y="4392670"/>
                  <a:pt x="1092755" y="4392774"/>
                </a:cubicBezTo>
                <a:cubicBezTo>
                  <a:pt x="1094303" y="4398556"/>
                  <a:pt x="1098330" y="4406507"/>
                  <a:pt x="1092290" y="4409398"/>
                </a:cubicBezTo>
                <a:cubicBezTo>
                  <a:pt x="1087643" y="4407746"/>
                  <a:pt x="1087643" y="4402376"/>
                  <a:pt x="1086559" y="4397007"/>
                </a:cubicBezTo>
                <a:lnTo>
                  <a:pt x="1085939" y="4394839"/>
                </a:lnTo>
                <a:lnTo>
                  <a:pt x="1084545" y="4393703"/>
                </a:lnTo>
                <a:lnTo>
                  <a:pt x="1079588" y="4390812"/>
                </a:lnTo>
                <a:lnTo>
                  <a:pt x="1079124" y="4391121"/>
                </a:lnTo>
                <a:lnTo>
                  <a:pt x="1079124" y="4391431"/>
                </a:lnTo>
                <a:lnTo>
                  <a:pt x="1079278" y="4391535"/>
                </a:lnTo>
                <a:lnTo>
                  <a:pt x="1079124" y="4392154"/>
                </a:lnTo>
                <a:lnTo>
                  <a:pt x="1079124" y="4392980"/>
                </a:lnTo>
                <a:lnTo>
                  <a:pt x="1078969" y="4393083"/>
                </a:lnTo>
                <a:lnTo>
                  <a:pt x="1078814" y="4394013"/>
                </a:lnTo>
                <a:cubicBezTo>
                  <a:pt x="1078349" y="4394839"/>
                  <a:pt x="1077575" y="4395665"/>
                  <a:pt x="1077110" y="4396388"/>
                </a:cubicBezTo>
                <a:cubicBezTo>
                  <a:pt x="1077885" y="4398040"/>
                  <a:pt x="1073702" y="4398556"/>
                  <a:pt x="1074631" y="4400208"/>
                </a:cubicBezTo>
                <a:cubicBezTo>
                  <a:pt x="1069985" y="4401447"/>
                  <a:pt x="1070914" y="4407333"/>
                  <a:pt x="1064099" y="4410431"/>
                </a:cubicBezTo>
                <a:lnTo>
                  <a:pt x="1066577" y="4405061"/>
                </a:lnTo>
                <a:lnTo>
                  <a:pt x="1065338" y="4403306"/>
                </a:lnTo>
                <a:cubicBezTo>
                  <a:pt x="1065183" y="4402170"/>
                  <a:pt x="1065802" y="4400828"/>
                  <a:pt x="1066577" y="4399279"/>
                </a:cubicBezTo>
                <a:cubicBezTo>
                  <a:pt x="1067662" y="4400105"/>
                  <a:pt x="1068126" y="4401034"/>
                  <a:pt x="1068281" y="4402170"/>
                </a:cubicBezTo>
                <a:lnTo>
                  <a:pt x="1068281" y="4402686"/>
                </a:lnTo>
                <a:lnTo>
                  <a:pt x="1071224" y="4398349"/>
                </a:lnTo>
                <a:cubicBezTo>
                  <a:pt x="1072773" y="4396491"/>
                  <a:pt x="1074012" y="4394736"/>
                  <a:pt x="1074477" y="4392670"/>
                </a:cubicBezTo>
                <a:cubicBezTo>
                  <a:pt x="1074477" y="4392670"/>
                  <a:pt x="1074631" y="4392670"/>
                  <a:pt x="1076955" y="4392051"/>
                </a:cubicBezTo>
                <a:cubicBezTo>
                  <a:pt x="1077419" y="4391328"/>
                  <a:pt x="1077419" y="4391328"/>
                  <a:pt x="1077419" y="4391328"/>
                </a:cubicBezTo>
                <a:cubicBezTo>
                  <a:pt x="1077575" y="4391018"/>
                  <a:pt x="1078039" y="4391018"/>
                  <a:pt x="1078504" y="4391121"/>
                </a:cubicBezTo>
                <a:lnTo>
                  <a:pt x="1078659" y="4390915"/>
                </a:lnTo>
                <a:lnTo>
                  <a:pt x="1079124" y="4390502"/>
                </a:lnTo>
                <a:lnTo>
                  <a:pt x="1074786" y="4388024"/>
                </a:lnTo>
                <a:cubicBezTo>
                  <a:pt x="1075871" y="4385855"/>
                  <a:pt x="1072928" y="4384823"/>
                  <a:pt x="1074786" y="4382551"/>
                </a:cubicBezTo>
                <a:lnTo>
                  <a:pt x="1077110" y="4382861"/>
                </a:lnTo>
                <a:cubicBezTo>
                  <a:pt x="1076955" y="4381932"/>
                  <a:pt x="1077110" y="4380693"/>
                  <a:pt x="1077419" y="4379144"/>
                </a:cubicBezTo>
                <a:cubicBezTo>
                  <a:pt x="1078195" y="4375943"/>
                  <a:pt x="1080363" y="4371916"/>
                  <a:pt x="1080827" y="4370780"/>
                </a:cubicBezTo>
                <a:cubicBezTo>
                  <a:pt x="1081292" y="4369644"/>
                  <a:pt x="1080982" y="4368818"/>
                  <a:pt x="1080982" y="4368818"/>
                </a:cubicBezTo>
                <a:close/>
                <a:moveTo>
                  <a:pt x="5491025" y="4368733"/>
                </a:moveTo>
                <a:cubicBezTo>
                  <a:pt x="5492729" y="4367907"/>
                  <a:pt x="5494898" y="4370488"/>
                  <a:pt x="5496446" y="4371417"/>
                </a:cubicBezTo>
                <a:cubicBezTo>
                  <a:pt x="5495517" y="4372243"/>
                  <a:pt x="5494588" y="4373173"/>
                  <a:pt x="5495517" y="4373173"/>
                </a:cubicBezTo>
                <a:cubicBezTo>
                  <a:pt x="5494588" y="4373999"/>
                  <a:pt x="5493658" y="4374412"/>
                  <a:pt x="5492884" y="4374515"/>
                </a:cubicBezTo>
                <a:cubicBezTo>
                  <a:pt x="5492109" y="4374618"/>
                  <a:pt x="5491180" y="4374412"/>
                  <a:pt x="5490406" y="4373896"/>
                </a:cubicBezTo>
                <a:cubicBezTo>
                  <a:pt x="5489631" y="4373070"/>
                  <a:pt x="5489786" y="4371314"/>
                  <a:pt x="5491025" y="4368733"/>
                </a:cubicBezTo>
                <a:close/>
                <a:moveTo>
                  <a:pt x="611956" y="4368302"/>
                </a:moveTo>
                <a:cubicBezTo>
                  <a:pt x="612731" y="4369231"/>
                  <a:pt x="612731" y="4369231"/>
                  <a:pt x="612576" y="4371709"/>
                </a:cubicBezTo>
                <a:cubicBezTo>
                  <a:pt x="611802" y="4370780"/>
                  <a:pt x="611802" y="4370780"/>
                  <a:pt x="610872" y="4371503"/>
                </a:cubicBezTo>
                <a:cubicBezTo>
                  <a:pt x="610872" y="4371503"/>
                  <a:pt x="610872" y="4371400"/>
                  <a:pt x="610872" y="4372226"/>
                </a:cubicBezTo>
                <a:cubicBezTo>
                  <a:pt x="610098" y="4372122"/>
                  <a:pt x="610253" y="4371400"/>
                  <a:pt x="609323" y="4371193"/>
                </a:cubicBezTo>
                <a:cubicBezTo>
                  <a:pt x="609323" y="4371193"/>
                  <a:pt x="609478" y="4370367"/>
                  <a:pt x="609323" y="4370367"/>
                </a:cubicBezTo>
                <a:cubicBezTo>
                  <a:pt x="609013" y="4370367"/>
                  <a:pt x="609013" y="4370264"/>
                  <a:pt x="609323" y="4370161"/>
                </a:cubicBezTo>
                <a:cubicBezTo>
                  <a:pt x="609478" y="4369954"/>
                  <a:pt x="609788" y="4369644"/>
                  <a:pt x="610253" y="4368818"/>
                </a:cubicBezTo>
                <a:cubicBezTo>
                  <a:pt x="611182" y="4368096"/>
                  <a:pt x="611182" y="4367269"/>
                  <a:pt x="611956" y="4368302"/>
                </a:cubicBezTo>
                <a:close/>
                <a:moveTo>
                  <a:pt x="1513607" y="4366753"/>
                </a:moveTo>
                <a:cubicBezTo>
                  <a:pt x="1515466" y="4366753"/>
                  <a:pt x="1515621" y="4369438"/>
                  <a:pt x="1516241" y="4370986"/>
                </a:cubicBezTo>
                <a:cubicBezTo>
                  <a:pt x="1518100" y="4370986"/>
                  <a:pt x="1515931" y="4374910"/>
                  <a:pt x="1517790" y="4374910"/>
                </a:cubicBezTo>
                <a:cubicBezTo>
                  <a:pt x="1515776" y="4379557"/>
                  <a:pt x="1521198" y="4381415"/>
                  <a:pt x="1519494" y="4388850"/>
                </a:cubicBezTo>
                <a:cubicBezTo>
                  <a:pt x="1518100" y="4387198"/>
                  <a:pt x="1517170" y="4385546"/>
                  <a:pt x="1516396" y="4383894"/>
                </a:cubicBezTo>
                <a:cubicBezTo>
                  <a:pt x="1514227" y="4378937"/>
                  <a:pt x="1514227" y="4374291"/>
                  <a:pt x="1511749" y="4371400"/>
                </a:cubicBezTo>
                <a:cubicBezTo>
                  <a:pt x="1511749" y="4371400"/>
                  <a:pt x="1511749" y="4371400"/>
                  <a:pt x="1512679" y="4369025"/>
                </a:cubicBezTo>
                <a:cubicBezTo>
                  <a:pt x="1512369" y="4368302"/>
                  <a:pt x="1512369" y="4368302"/>
                  <a:pt x="1512369" y="4368302"/>
                </a:cubicBezTo>
                <a:cubicBezTo>
                  <a:pt x="1512059" y="4367476"/>
                  <a:pt x="1513607" y="4366753"/>
                  <a:pt x="1513607" y="4366753"/>
                </a:cubicBezTo>
                <a:close/>
                <a:moveTo>
                  <a:pt x="1567512" y="4366546"/>
                </a:moveTo>
                <a:cubicBezTo>
                  <a:pt x="1569216" y="4366237"/>
                  <a:pt x="1571539" y="4367063"/>
                  <a:pt x="1574173" y="4368612"/>
                </a:cubicBezTo>
                <a:cubicBezTo>
                  <a:pt x="1573397" y="4371503"/>
                  <a:pt x="1572004" y="4372226"/>
                  <a:pt x="1569990" y="4372019"/>
                </a:cubicBezTo>
                <a:cubicBezTo>
                  <a:pt x="1568131" y="4371812"/>
                  <a:pt x="1565808" y="4370883"/>
                  <a:pt x="1563640" y="4370574"/>
                </a:cubicBezTo>
                <a:cubicBezTo>
                  <a:pt x="1564414" y="4368096"/>
                  <a:pt x="1565808" y="4366753"/>
                  <a:pt x="1567512" y="4366546"/>
                </a:cubicBezTo>
                <a:close/>
                <a:moveTo>
                  <a:pt x="5774214" y="4366164"/>
                </a:moveTo>
                <a:cubicBezTo>
                  <a:pt x="5776422" y="4366952"/>
                  <a:pt x="5777816" y="4369300"/>
                  <a:pt x="5775260" y="4372450"/>
                </a:cubicBezTo>
                <a:cubicBezTo>
                  <a:pt x="5772007" y="4371314"/>
                  <a:pt x="5769683" y="4370488"/>
                  <a:pt x="5768290" y="4369249"/>
                </a:cubicBezTo>
                <a:cubicBezTo>
                  <a:pt x="5768986" y="4366152"/>
                  <a:pt x="5772007" y="4365377"/>
                  <a:pt x="5774214" y="4366164"/>
                </a:cubicBezTo>
                <a:close/>
                <a:moveTo>
                  <a:pt x="1531575" y="4365617"/>
                </a:moveTo>
                <a:cubicBezTo>
                  <a:pt x="1532970" y="4365927"/>
                  <a:pt x="1533589" y="4366650"/>
                  <a:pt x="1533744" y="4367476"/>
                </a:cubicBezTo>
                <a:cubicBezTo>
                  <a:pt x="1533899" y="4368302"/>
                  <a:pt x="1533589" y="4369438"/>
                  <a:pt x="1533125" y="4370574"/>
                </a:cubicBezTo>
                <a:lnTo>
                  <a:pt x="1531575" y="4372122"/>
                </a:lnTo>
                <a:lnTo>
                  <a:pt x="1531575" y="4375013"/>
                </a:lnTo>
                <a:cubicBezTo>
                  <a:pt x="1530956" y="4377698"/>
                  <a:pt x="1529098" y="4379557"/>
                  <a:pt x="1526929" y="4379970"/>
                </a:cubicBezTo>
                <a:cubicBezTo>
                  <a:pt x="1526155" y="4380073"/>
                  <a:pt x="1525380" y="4380073"/>
                  <a:pt x="1524605" y="4379867"/>
                </a:cubicBezTo>
                <a:cubicBezTo>
                  <a:pt x="1523211" y="4379453"/>
                  <a:pt x="1521817" y="4378421"/>
                  <a:pt x="1520578" y="4376769"/>
                </a:cubicBezTo>
                <a:cubicBezTo>
                  <a:pt x="1519959" y="4373258"/>
                  <a:pt x="1521043" y="4370161"/>
                  <a:pt x="1523211" y="4368818"/>
                </a:cubicBezTo>
                <a:lnTo>
                  <a:pt x="1526619" y="4368096"/>
                </a:lnTo>
                <a:lnTo>
                  <a:pt x="1526619" y="4366753"/>
                </a:lnTo>
                <a:cubicBezTo>
                  <a:pt x="1527858" y="4365307"/>
                  <a:pt x="1529717" y="4365411"/>
                  <a:pt x="1531575" y="4365617"/>
                </a:cubicBezTo>
                <a:close/>
                <a:moveTo>
                  <a:pt x="5828854" y="4365325"/>
                </a:moveTo>
                <a:cubicBezTo>
                  <a:pt x="5832572" y="4362641"/>
                  <a:pt x="5837993" y="4366565"/>
                  <a:pt x="5837373" y="4371004"/>
                </a:cubicBezTo>
                <a:cubicBezTo>
                  <a:pt x="5836444" y="4371624"/>
                  <a:pt x="5835515" y="4373173"/>
                  <a:pt x="5833656" y="4373689"/>
                </a:cubicBezTo>
                <a:cubicBezTo>
                  <a:pt x="5829629" y="4371831"/>
                  <a:pt x="5828389" y="4368836"/>
                  <a:pt x="5828854" y="4365325"/>
                </a:cubicBezTo>
                <a:close/>
                <a:moveTo>
                  <a:pt x="5786335" y="4364835"/>
                </a:moveTo>
                <a:cubicBezTo>
                  <a:pt x="5788271" y="4365170"/>
                  <a:pt x="5790053" y="4366513"/>
                  <a:pt x="5791524" y="4368423"/>
                </a:cubicBezTo>
                <a:cubicBezTo>
                  <a:pt x="5796326" y="4374825"/>
                  <a:pt x="5797565" y="4387629"/>
                  <a:pt x="5789975" y="4390416"/>
                </a:cubicBezTo>
                <a:cubicBezTo>
                  <a:pt x="5787342" y="4387938"/>
                  <a:pt x="5784863" y="4384944"/>
                  <a:pt x="5783004" y="4381124"/>
                </a:cubicBezTo>
                <a:cubicBezTo>
                  <a:pt x="5781301" y="4377406"/>
                  <a:pt x="5780216" y="4372863"/>
                  <a:pt x="5780216" y="4367287"/>
                </a:cubicBezTo>
                <a:cubicBezTo>
                  <a:pt x="5782308" y="4365170"/>
                  <a:pt x="5784399" y="4364499"/>
                  <a:pt x="5786335" y="4364835"/>
                </a:cubicBezTo>
                <a:close/>
                <a:moveTo>
                  <a:pt x="666886" y="4364081"/>
                </a:moveTo>
                <a:cubicBezTo>
                  <a:pt x="668339" y="4364430"/>
                  <a:pt x="669500" y="4365927"/>
                  <a:pt x="671127" y="4367476"/>
                </a:cubicBezTo>
                <a:cubicBezTo>
                  <a:pt x="670197" y="4369025"/>
                  <a:pt x="670817" y="4371812"/>
                  <a:pt x="668958" y="4373258"/>
                </a:cubicBezTo>
                <a:cubicBezTo>
                  <a:pt x="668958" y="4373258"/>
                  <a:pt x="668029" y="4373981"/>
                  <a:pt x="666480" y="4373671"/>
                </a:cubicBezTo>
                <a:cubicBezTo>
                  <a:pt x="665706" y="4373981"/>
                  <a:pt x="665086" y="4374084"/>
                  <a:pt x="664621" y="4373981"/>
                </a:cubicBezTo>
                <a:cubicBezTo>
                  <a:pt x="662762" y="4373671"/>
                  <a:pt x="661523" y="4372019"/>
                  <a:pt x="661523" y="4372019"/>
                </a:cubicBezTo>
                <a:cubicBezTo>
                  <a:pt x="661523" y="4372019"/>
                  <a:pt x="661523" y="4372019"/>
                  <a:pt x="661523" y="4372845"/>
                </a:cubicBezTo>
                <a:cubicBezTo>
                  <a:pt x="661523" y="4371090"/>
                  <a:pt x="660904" y="4369231"/>
                  <a:pt x="660904" y="4367579"/>
                </a:cubicBezTo>
                <a:cubicBezTo>
                  <a:pt x="663692" y="4364533"/>
                  <a:pt x="665434" y="4363733"/>
                  <a:pt x="666886" y="4364081"/>
                </a:cubicBezTo>
                <a:close/>
                <a:moveTo>
                  <a:pt x="5291673" y="4362950"/>
                </a:moveTo>
                <a:cubicBezTo>
                  <a:pt x="5295391" y="4362950"/>
                  <a:pt x="5294772" y="4366048"/>
                  <a:pt x="5294152" y="4369146"/>
                </a:cubicBezTo>
                <a:cubicBezTo>
                  <a:pt x="5293223" y="4369146"/>
                  <a:pt x="5292448" y="4369559"/>
                  <a:pt x="5291519" y="4369765"/>
                </a:cubicBezTo>
                <a:cubicBezTo>
                  <a:pt x="5290744" y="4369972"/>
                  <a:pt x="5289815" y="4369869"/>
                  <a:pt x="5288576" y="4369146"/>
                </a:cubicBezTo>
                <a:cubicBezTo>
                  <a:pt x="5289505" y="4366771"/>
                  <a:pt x="5290744" y="4365222"/>
                  <a:pt x="5291673" y="4362950"/>
                </a:cubicBezTo>
                <a:close/>
                <a:moveTo>
                  <a:pt x="1084390" y="4361590"/>
                </a:moveTo>
                <a:cubicBezTo>
                  <a:pt x="1083926" y="4362726"/>
                  <a:pt x="1082531" y="4366237"/>
                  <a:pt x="1082531" y="4366237"/>
                </a:cubicBezTo>
                <a:cubicBezTo>
                  <a:pt x="1082841" y="4366960"/>
                  <a:pt x="1082841" y="4366960"/>
                  <a:pt x="1082376" y="4368096"/>
                </a:cubicBezTo>
                <a:cubicBezTo>
                  <a:pt x="1081292" y="4367785"/>
                  <a:pt x="1081292" y="4367785"/>
                  <a:pt x="1080982" y="4366960"/>
                </a:cubicBezTo>
                <a:cubicBezTo>
                  <a:pt x="1081447" y="4365824"/>
                  <a:pt x="1082222" y="4365411"/>
                  <a:pt x="1082686" y="4364275"/>
                </a:cubicBezTo>
                <a:cubicBezTo>
                  <a:pt x="1080518" y="4363449"/>
                  <a:pt x="1080827" y="4364275"/>
                  <a:pt x="1081292" y="4363139"/>
                </a:cubicBezTo>
                <a:cubicBezTo>
                  <a:pt x="1081292" y="4363139"/>
                  <a:pt x="1081292" y="4363139"/>
                  <a:pt x="1081757" y="4361900"/>
                </a:cubicBezTo>
                <a:cubicBezTo>
                  <a:pt x="1081757" y="4361900"/>
                  <a:pt x="1081447" y="4361177"/>
                  <a:pt x="1084390" y="4361590"/>
                </a:cubicBezTo>
                <a:close/>
                <a:moveTo>
                  <a:pt x="1470856" y="4361177"/>
                </a:moveTo>
                <a:cubicBezTo>
                  <a:pt x="1472715" y="4361384"/>
                  <a:pt x="1474884" y="4362210"/>
                  <a:pt x="1477207" y="4363552"/>
                </a:cubicBezTo>
                <a:cubicBezTo>
                  <a:pt x="1477362" y="4367992"/>
                  <a:pt x="1478292" y="4374187"/>
                  <a:pt x="1477207" y="4379660"/>
                </a:cubicBezTo>
                <a:lnTo>
                  <a:pt x="1475193" y="4384307"/>
                </a:lnTo>
                <a:lnTo>
                  <a:pt x="1475193" y="4387404"/>
                </a:lnTo>
                <a:lnTo>
                  <a:pt x="1471786" y="4388231"/>
                </a:lnTo>
                <a:lnTo>
                  <a:pt x="1465590" y="4391535"/>
                </a:lnTo>
                <a:lnTo>
                  <a:pt x="1463421" y="4387920"/>
                </a:lnTo>
                <a:lnTo>
                  <a:pt x="1461872" y="4387301"/>
                </a:lnTo>
                <a:lnTo>
                  <a:pt x="1458310" y="4382345"/>
                </a:lnTo>
                <a:lnTo>
                  <a:pt x="1455367" y="4382035"/>
                </a:lnTo>
                <a:cubicBezTo>
                  <a:pt x="1454437" y="4381519"/>
                  <a:pt x="1453972" y="4380589"/>
                  <a:pt x="1454282" y="4379350"/>
                </a:cubicBezTo>
                <a:lnTo>
                  <a:pt x="1457690" y="4378214"/>
                </a:lnTo>
                <a:lnTo>
                  <a:pt x="1458000" y="4373981"/>
                </a:lnTo>
                <a:lnTo>
                  <a:pt x="1459239" y="4372845"/>
                </a:lnTo>
                <a:lnTo>
                  <a:pt x="1459239" y="4372226"/>
                </a:lnTo>
                <a:cubicBezTo>
                  <a:pt x="1460169" y="4365617"/>
                  <a:pt x="1464196" y="4360248"/>
                  <a:pt x="1470856" y="4361177"/>
                </a:cubicBezTo>
                <a:close/>
                <a:moveTo>
                  <a:pt x="695910" y="4361074"/>
                </a:moveTo>
                <a:cubicBezTo>
                  <a:pt x="697769" y="4360868"/>
                  <a:pt x="702725" y="4364585"/>
                  <a:pt x="702261" y="4365720"/>
                </a:cubicBezTo>
                <a:cubicBezTo>
                  <a:pt x="700092" y="4365720"/>
                  <a:pt x="696220" y="4365514"/>
                  <a:pt x="694516" y="4364172"/>
                </a:cubicBezTo>
                <a:cubicBezTo>
                  <a:pt x="694051" y="4363759"/>
                  <a:pt x="693742" y="4363139"/>
                  <a:pt x="693742" y="4362416"/>
                </a:cubicBezTo>
                <a:cubicBezTo>
                  <a:pt x="694206" y="4361177"/>
                  <a:pt x="695291" y="4361487"/>
                  <a:pt x="695910" y="4361074"/>
                </a:cubicBezTo>
                <a:close/>
                <a:moveTo>
                  <a:pt x="5758996" y="4360989"/>
                </a:moveTo>
                <a:cubicBezTo>
                  <a:pt x="5761629" y="4363673"/>
                  <a:pt x="5764572" y="4366048"/>
                  <a:pt x="5766895" y="4369146"/>
                </a:cubicBezTo>
                <a:cubicBezTo>
                  <a:pt x="5769219" y="4372140"/>
                  <a:pt x="5770923" y="4375754"/>
                  <a:pt x="5771542" y="4380814"/>
                </a:cubicBezTo>
                <a:cubicBezTo>
                  <a:pt x="5766586" y="4380917"/>
                  <a:pt x="5763333" y="4377716"/>
                  <a:pt x="5761474" y="4373586"/>
                </a:cubicBezTo>
                <a:cubicBezTo>
                  <a:pt x="5759615" y="4369456"/>
                  <a:pt x="5758841" y="4364396"/>
                  <a:pt x="5758996" y="4360989"/>
                </a:cubicBezTo>
                <a:close/>
                <a:moveTo>
                  <a:pt x="1422993" y="4360558"/>
                </a:moveTo>
                <a:cubicBezTo>
                  <a:pt x="1423768" y="4360145"/>
                  <a:pt x="1424233" y="4360868"/>
                  <a:pt x="1425317" y="4361074"/>
                </a:cubicBezTo>
                <a:cubicBezTo>
                  <a:pt x="1425627" y="4361797"/>
                  <a:pt x="1425317" y="4363036"/>
                  <a:pt x="1425317" y="4363036"/>
                </a:cubicBezTo>
                <a:cubicBezTo>
                  <a:pt x="1425007" y="4364275"/>
                  <a:pt x="1425007" y="4364275"/>
                  <a:pt x="1426092" y="4364481"/>
                </a:cubicBezTo>
                <a:cubicBezTo>
                  <a:pt x="1426092" y="4364481"/>
                  <a:pt x="1425317" y="4364998"/>
                  <a:pt x="1425317" y="4364998"/>
                </a:cubicBezTo>
                <a:cubicBezTo>
                  <a:pt x="1425007" y="4364275"/>
                  <a:pt x="1425317" y="4364998"/>
                  <a:pt x="1425007" y="4366237"/>
                </a:cubicBezTo>
                <a:cubicBezTo>
                  <a:pt x="1422993" y="4366443"/>
                  <a:pt x="1422374" y="4366856"/>
                  <a:pt x="1421135" y="4366546"/>
                </a:cubicBezTo>
                <a:cubicBezTo>
                  <a:pt x="1420670" y="4366443"/>
                  <a:pt x="1419896" y="4366134"/>
                  <a:pt x="1419431" y="4365720"/>
                </a:cubicBezTo>
                <a:cubicBezTo>
                  <a:pt x="1418967" y="4365204"/>
                  <a:pt x="1418811" y="4364688"/>
                  <a:pt x="1418967" y="4364172"/>
                </a:cubicBezTo>
                <a:cubicBezTo>
                  <a:pt x="1419741" y="4363655"/>
                  <a:pt x="1419276" y="4362933"/>
                  <a:pt x="1420050" y="4362416"/>
                </a:cubicBezTo>
                <a:cubicBezTo>
                  <a:pt x="1421135" y="4360764"/>
                  <a:pt x="1421909" y="4360351"/>
                  <a:pt x="1422993" y="4360558"/>
                </a:cubicBezTo>
                <a:close/>
                <a:moveTo>
                  <a:pt x="6018912" y="4359646"/>
                </a:moveTo>
                <a:cubicBezTo>
                  <a:pt x="6020151" y="4359336"/>
                  <a:pt x="6020306" y="4360472"/>
                  <a:pt x="6020925" y="4360885"/>
                </a:cubicBezTo>
                <a:cubicBezTo>
                  <a:pt x="6021855" y="4362537"/>
                  <a:pt x="6020461" y="4368939"/>
                  <a:pt x="6019377" y="4369249"/>
                </a:cubicBezTo>
                <a:cubicBezTo>
                  <a:pt x="6018602" y="4367184"/>
                  <a:pt x="6017208" y="4363570"/>
                  <a:pt x="6017673" y="4361298"/>
                </a:cubicBezTo>
                <a:cubicBezTo>
                  <a:pt x="6017828" y="4360575"/>
                  <a:pt x="6018292" y="4359956"/>
                  <a:pt x="6018912" y="4359646"/>
                </a:cubicBezTo>
                <a:close/>
                <a:moveTo>
                  <a:pt x="1645221" y="4359554"/>
                </a:moveTo>
                <a:lnTo>
                  <a:pt x="1640880" y="4362631"/>
                </a:lnTo>
                <a:lnTo>
                  <a:pt x="1644495" y="4363345"/>
                </a:lnTo>
                <a:lnTo>
                  <a:pt x="1644650" y="4362933"/>
                </a:lnTo>
                <a:cubicBezTo>
                  <a:pt x="1644650" y="4362107"/>
                  <a:pt x="1644650" y="4361487"/>
                  <a:pt x="1644650" y="4360454"/>
                </a:cubicBezTo>
                <a:close/>
                <a:moveTo>
                  <a:pt x="1078969" y="4359525"/>
                </a:moveTo>
                <a:cubicBezTo>
                  <a:pt x="1078969" y="4359525"/>
                  <a:pt x="1079898" y="4359112"/>
                  <a:pt x="1080982" y="4359525"/>
                </a:cubicBezTo>
                <a:cubicBezTo>
                  <a:pt x="1082686" y="4359525"/>
                  <a:pt x="1080673" y="4361590"/>
                  <a:pt x="1081757" y="4361900"/>
                </a:cubicBezTo>
                <a:cubicBezTo>
                  <a:pt x="1075096" y="4363449"/>
                  <a:pt x="1070295" y="4367579"/>
                  <a:pt x="1070295" y="4367579"/>
                </a:cubicBezTo>
                <a:cubicBezTo>
                  <a:pt x="1068436" y="4367579"/>
                  <a:pt x="1068126" y="4366856"/>
                  <a:pt x="1068436" y="4367579"/>
                </a:cubicBezTo>
                <a:cubicBezTo>
                  <a:pt x="1066267" y="4366856"/>
                  <a:pt x="1063324" y="4366443"/>
                  <a:pt x="1063479" y="4364481"/>
                </a:cubicBezTo>
                <a:cubicBezTo>
                  <a:pt x="1065493" y="4357873"/>
                  <a:pt x="1076491" y="4359938"/>
                  <a:pt x="1078969" y="4359525"/>
                </a:cubicBezTo>
                <a:close/>
                <a:moveTo>
                  <a:pt x="1402857" y="4357873"/>
                </a:moveTo>
                <a:cubicBezTo>
                  <a:pt x="1409827" y="4359009"/>
                  <a:pt x="1417572" y="4359525"/>
                  <a:pt x="1418967" y="4365307"/>
                </a:cubicBezTo>
                <a:cubicBezTo>
                  <a:pt x="1418192" y="4366237"/>
                  <a:pt x="1417108" y="4366753"/>
                  <a:pt x="1415868" y="4366960"/>
                </a:cubicBezTo>
                <a:cubicBezTo>
                  <a:pt x="1414629" y="4367166"/>
                  <a:pt x="1413235" y="4367063"/>
                  <a:pt x="1411841" y="4366753"/>
                </a:cubicBezTo>
                <a:cubicBezTo>
                  <a:pt x="1409053" y="4366237"/>
                  <a:pt x="1406264" y="4364791"/>
                  <a:pt x="1404251" y="4363552"/>
                </a:cubicBezTo>
                <a:cubicBezTo>
                  <a:pt x="1404406" y="4361177"/>
                  <a:pt x="1402702" y="4360351"/>
                  <a:pt x="1402857" y="4357873"/>
                </a:cubicBezTo>
                <a:close/>
                <a:moveTo>
                  <a:pt x="1142786" y="4357667"/>
                </a:moveTo>
                <a:cubicBezTo>
                  <a:pt x="1143096" y="4359525"/>
                  <a:pt x="1144180" y="4359629"/>
                  <a:pt x="1143251" y="4362623"/>
                </a:cubicBezTo>
                <a:cubicBezTo>
                  <a:pt x="1142166" y="4362519"/>
                  <a:pt x="1141082" y="4362416"/>
                  <a:pt x="1139843" y="4362416"/>
                </a:cubicBezTo>
                <a:cubicBezTo>
                  <a:pt x="1140154" y="4359938"/>
                  <a:pt x="1140463" y="4357563"/>
                  <a:pt x="1142786" y="4357667"/>
                </a:cubicBezTo>
                <a:close/>
                <a:moveTo>
                  <a:pt x="5873154" y="4357374"/>
                </a:moveTo>
                <a:cubicBezTo>
                  <a:pt x="5875478" y="4362950"/>
                  <a:pt x="5873464" y="4374618"/>
                  <a:pt x="5865255" y="4374309"/>
                </a:cubicBezTo>
                <a:cubicBezTo>
                  <a:pt x="5867733" y="4368836"/>
                  <a:pt x="5868972" y="4362125"/>
                  <a:pt x="5873154" y="4357374"/>
                </a:cubicBezTo>
                <a:close/>
                <a:moveTo>
                  <a:pt x="5415126" y="4356755"/>
                </a:moveTo>
                <a:cubicBezTo>
                  <a:pt x="5416055" y="4357374"/>
                  <a:pt x="5416520" y="4358407"/>
                  <a:pt x="5416520" y="4360059"/>
                </a:cubicBezTo>
                <a:cubicBezTo>
                  <a:pt x="5415900" y="4365015"/>
                  <a:pt x="5411718" y="4365532"/>
                  <a:pt x="5407071" y="4365325"/>
                </a:cubicBezTo>
                <a:cubicBezTo>
                  <a:pt x="5406607" y="4363467"/>
                  <a:pt x="5405677" y="4362228"/>
                  <a:pt x="5405213" y="4360369"/>
                </a:cubicBezTo>
                <a:cubicBezTo>
                  <a:pt x="5406452" y="4357684"/>
                  <a:pt x="5412338" y="4355103"/>
                  <a:pt x="5415126" y="4356755"/>
                </a:cubicBezTo>
                <a:close/>
                <a:moveTo>
                  <a:pt x="1450410" y="4356737"/>
                </a:moveTo>
                <a:cubicBezTo>
                  <a:pt x="1453508" y="4355911"/>
                  <a:pt x="1456915" y="4356324"/>
                  <a:pt x="1458620" y="4358493"/>
                </a:cubicBezTo>
                <a:cubicBezTo>
                  <a:pt x="1455522" y="4362623"/>
                  <a:pt x="1452734" y="4365307"/>
                  <a:pt x="1448861" y="4364895"/>
                </a:cubicBezTo>
                <a:cubicBezTo>
                  <a:pt x="1447622" y="4364791"/>
                  <a:pt x="1446382" y="4364275"/>
                  <a:pt x="1444834" y="4363449"/>
                </a:cubicBezTo>
                <a:cubicBezTo>
                  <a:pt x="1444679" y="4360041"/>
                  <a:pt x="1447312" y="4357667"/>
                  <a:pt x="1450410" y="4356737"/>
                </a:cubicBezTo>
                <a:close/>
                <a:moveTo>
                  <a:pt x="5745365" y="4356032"/>
                </a:moveTo>
                <a:cubicBezTo>
                  <a:pt x="5746449" y="4356755"/>
                  <a:pt x="5747533" y="4357788"/>
                  <a:pt x="5748463" y="4359336"/>
                </a:cubicBezTo>
                <a:cubicBezTo>
                  <a:pt x="5746759" y="4364190"/>
                  <a:pt x="5745210" y="4372863"/>
                  <a:pt x="5738240" y="4373379"/>
                </a:cubicBezTo>
                <a:cubicBezTo>
                  <a:pt x="5737310" y="4373379"/>
                  <a:pt x="5736226" y="4373379"/>
                  <a:pt x="5734987" y="4373070"/>
                </a:cubicBezTo>
                <a:cubicBezTo>
                  <a:pt x="5730960" y="4364396"/>
                  <a:pt x="5737930" y="4350973"/>
                  <a:pt x="5745365" y="4356032"/>
                </a:cubicBezTo>
                <a:close/>
                <a:moveTo>
                  <a:pt x="5891897" y="4355929"/>
                </a:moveTo>
                <a:lnTo>
                  <a:pt x="5886785" y="4369662"/>
                </a:lnTo>
                <a:cubicBezTo>
                  <a:pt x="5889109" y="4369042"/>
                  <a:pt x="5889883" y="4370695"/>
                  <a:pt x="5889883" y="4370695"/>
                </a:cubicBezTo>
                <a:lnTo>
                  <a:pt x="5889883" y="4371624"/>
                </a:lnTo>
                <a:lnTo>
                  <a:pt x="5891277" y="4369765"/>
                </a:lnTo>
                <a:cubicBezTo>
                  <a:pt x="5892362" y="4368939"/>
                  <a:pt x="5893756" y="4368630"/>
                  <a:pt x="5895460" y="4368630"/>
                </a:cubicBezTo>
                <a:lnTo>
                  <a:pt x="5895769" y="4369249"/>
                </a:lnTo>
                <a:lnTo>
                  <a:pt x="5895924" y="4368733"/>
                </a:lnTo>
                <a:lnTo>
                  <a:pt x="5896234" y="4368733"/>
                </a:lnTo>
                <a:lnTo>
                  <a:pt x="5896234" y="4366668"/>
                </a:lnTo>
                <a:cubicBezTo>
                  <a:pt x="5897163" y="4363260"/>
                  <a:pt x="5899332" y="4359853"/>
                  <a:pt x="5903204" y="4356548"/>
                </a:cubicBezTo>
                <a:lnTo>
                  <a:pt x="5906147" y="4357788"/>
                </a:lnTo>
                <a:lnTo>
                  <a:pt x="5905992" y="4357478"/>
                </a:lnTo>
                <a:cubicBezTo>
                  <a:pt x="5905992" y="4357478"/>
                  <a:pt x="5906767" y="4357891"/>
                  <a:pt x="5906767" y="4357891"/>
                </a:cubicBezTo>
                <a:lnTo>
                  <a:pt x="5906767" y="4358098"/>
                </a:lnTo>
                <a:lnTo>
                  <a:pt x="5907851" y="4357581"/>
                </a:lnTo>
                <a:lnTo>
                  <a:pt x="5909245" y="4359233"/>
                </a:lnTo>
                <a:lnTo>
                  <a:pt x="5910794" y="4359956"/>
                </a:lnTo>
                <a:cubicBezTo>
                  <a:pt x="5917610" y="4364396"/>
                  <a:pt x="5921172" y="4371934"/>
                  <a:pt x="5918384" y="4378955"/>
                </a:cubicBezTo>
                <a:cubicBezTo>
                  <a:pt x="5915286" y="4384531"/>
                  <a:pt x="5910794" y="4386080"/>
                  <a:pt x="5906457" y="4385150"/>
                </a:cubicBezTo>
                <a:cubicBezTo>
                  <a:pt x="5904288" y="4384737"/>
                  <a:pt x="5902275" y="4383602"/>
                  <a:pt x="5900571" y="4382053"/>
                </a:cubicBezTo>
                <a:lnTo>
                  <a:pt x="5899487" y="4380607"/>
                </a:lnTo>
                <a:lnTo>
                  <a:pt x="5895614" y="4381124"/>
                </a:lnTo>
                <a:lnTo>
                  <a:pt x="5895305" y="4380298"/>
                </a:lnTo>
                <a:lnTo>
                  <a:pt x="5893910" y="4381743"/>
                </a:lnTo>
                <a:lnTo>
                  <a:pt x="5887870" y="4382569"/>
                </a:lnTo>
                <a:lnTo>
                  <a:pt x="5888179" y="4382982"/>
                </a:lnTo>
                <a:cubicBezTo>
                  <a:pt x="5888644" y="4384118"/>
                  <a:pt x="5888954" y="4385150"/>
                  <a:pt x="5888489" y="4385564"/>
                </a:cubicBezTo>
                <a:cubicBezTo>
                  <a:pt x="5887715" y="4386390"/>
                  <a:pt x="5886940" y="4386390"/>
                  <a:pt x="5886011" y="4386286"/>
                </a:cubicBezTo>
                <a:cubicBezTo>
                  <a:pt x="5884307" y="4385357"/>
                  <a:pt x="5882603" y="4384428"/>
                  <a:pt x="5880899" y="4383499"/>
                </a:cubicBezTo>
                <a:lnTo>
                  <a:pt x="5880280" y="4382776"/>
                </a:lnTo>
                <a:lnTo>
                  <a:pt x="5877027" y="4387835"/>
                </a:lnTo>
                <a:lnTo>
                  <a:pt x="5873619" y="4391139"/>
                </a:lnTo>
                <a:cubicBezTo>
                  <a:pt x="5875168" y="4393204"/>
                  <a:pt x="5873309" y="4395579"/>
                  <a:pt x="5872380" y="4395476"/>
                </a:cubicBezTo>
                <a:lnTo>
                  <a:pt x="5871451" y="4392998"/>
                </a:lnTo>
                <a:lnTo>
                  <a:pt x="5867113" y="4397128"/>
                </a:lnTo>
                <a:cubicBezTo>
                  <a:pt x="5865255" y="4392585"/>
                  <a:pt x="5865255" y="4388042"/>
                  <a:pt x="5866339" y="4383808"/>
                </a:cubicBezTo>
                <a:cubicBezTo>
                  <a:pt x="5869437" y="4371004"/>
                  <a:pt x="5883223" y="4360369"/>
                  <a:pt x="5891897" y="4355929"/>
                </a:cubicBezTo>
                <a:close/>
                <a:moveTo>
                  <a:pt x="1064041" y="4354414"/>
                </a:moveTo>
                <a:cubicBezTo>
                  <a:pt x="1067158" y="4354259"/>
                  <a:pt x="1069675" y="4354362"/>
                  <a:pt x="1070604" y="4354466"/>
                </a:cubicBezTo>
                <a:cubicBezTo>
                  <a:pt x="1071534" y="4354569"/>
                  <a:pt x="1072153" y="4354775"/>
                  <a:pt x="1072308" y="4355188"/>
                </a:cubicBezTo>
                <a:cubicBezTo>
                  <a:pt x="1072618" y="4355705"/>
                  <a:pt x="1072618" y="4356428"/>
                  <a:pt x="1072463" y="4357357"/>
                </a:cubicBezTo>
                <a:cubicBezTo>
                  <a:pt x="1069985" y="4361074"/>
                  <a:pt x="1065957" y="4360041"/>
                  <a:pt x="1061620" y="4360868"/>
                </a:cubicBezTo>
                <a:cubicBezTo>
                  <a:pt x="1061466" y="4360041"/>
                  <a:pt x="1060381" y="4359525"/>
                  <a:pt x="1059607" y="4359835"/>
                </a:cubicBezTo>
                <a:lnTo>
                  <a:pt x="1058522" y="4359422"/>
                </a:lnTo>
                <a:lnTo>
                  <a:pt x="1060691" y="4361487"/>
                </a:lnTo>
                <a:cubicBezTo>
                  <a:pt x="1061775" y="4363449"/>
                  <a:pt x="1061620" y="4365927"/>
                  <a:pt x="1061466" y="4369231"/>
                </a:cubicBezTo>
                <a:cubicBezTo>
                  <a:pt x="1061155" y="4368405"/>
                  <a:pt x="1060691" y="4369644"/>
                  <a:pt x="1060691" y="4369644"/>
                </a:cubicBezTo>
                <a:cubicBezTo>
                  <a:pt x="1059762" y="4372019"/>
                  <a:pt x="1064718" y="4370367"/>
                  <a:pt x="1064099" y="4373568"/>
                </a:cubicBezTo>
                <a:cubicBezTo>
                  <a:pt x="1062550" y="4378524"/>
                  <a:pt x="1056509" y="4380073"/>
                  <a:pt x="1053256" y="4380589"/>
                </a:cubicBezTo>
                <a:lnTo>
                  <a:pt x="1051397" y="4380899"/>
                </a:lnTo>
                <a:lnTo>
                  <a:pt x="1051707" y="4381519"/>
                </a:lnTo>
                <a:lnTo>
                  <a:pt x="1053566" y="4381519"/>
                </a:lnTo>
                <a:cubicBezTo>
                  <a:pt x="1058367" y="4381932"/>
                  <a:pt x="1062705" y="4383171"/>
                  <a:pt x="1063169" y="4386888"/>
                </a:cubicBezTo>
                <a:cubicBezTo>
                  <a:pt x="1060071" y="4387095"/>
                  <a:pt x="1054805" y="4388231"/>
                  <a:pt x="1050158" y="4388127"/>
                </a:cubicBezTo>
                <a:cubicBezTo>
                  <a:pt x="1045356" y="4388024"/>
                  <a:pt x="1041174" y="4386681"/>
                  <a:pt x="1040400" y="4381725"/>
                </a:cubicBezTo>
                <a:cubicBezTo>
                  <a:pt x="1041639" y="4381725"/>
                  <a:pt x="1043807" y="4381622"/>
                  <a:pt x="1046130" y="4381519"/>
                </a:cubicBezTo>
                <a:lnTo>
                  <a:pt x="1048764" y="4381519"/>
                </a:lnTo>
                <a:lnTo>
                  <a:pt x="1046285" y="4381003"/>
                </a:lnTo>
                <a:cubicBezTo>
                  <a:pt x="1045511" y="4380693"/>
                  <a:pt x="1045356" y="4380073"/>
                  <a:pt x="1045821" y="4378937"/>
                </a:cubicBezTo>
                <a:cubicBezTo>
                  <a:pt x="1045976" y="4376975"/>
                  <a:pt x="1047835" y="4376975"/>
                  <a:pt x="1048764" y="4374704"/>
                </a:cubicBezTo>
                <a:cubicBezTo>
                  <a:pt x="1049229" y="4372535"/>
                  <a:pt x="1047525" y="4370986"/>
                  <a:pt x="1045976" y="4369025"/>
                </a:cubicBezTo>
                <a:lnTo>
                  <a:pt x="1045666" y="4368508"/>
                </a:lnTo>
                <a:cubicBezTo>
                  <a:pt x="1045046" y="4367992"/>
                  <a:pt x="1044582" y="4367063"/>
                  <a:pt x="1044427" y="4366237"/>
                </a:cubicBezTo>
                <a:lnTo>
                  <a:pt x="1044427" y="4366030"/>
                </a:lnTo>
                <a:lnTo>
                  <a:pt x="1043962" y="4365411"/>
                </a:lnTo>
                <a:cubicBezTo>
                  <a:pt x="1043497" y="4363965"/>
                  <a:pt x="1043497" y="4362210"/>
                  <a:pt x="1043962" y="4360041"/>
                </a:cubicBezTo>
                <a:cubicBezTo>
                  <a:pt x="1046130" y="4360764"/>
                  <a:pt x="1048764" y="4355705"/>
                  <a:pt x="1052017" y="4356944"/>
                </a:cubicBezTo>
                <a:lnTo>
                  <a:pt x="1054340" y="4357770"/>
                </a:lnTo>
                <a:lnTo>
                  <a:pt x="1053876" y="4355911"/>
                </a:lnTo>
                <a:cubicBezTo>
                  <a:pt x="1057206" y="4354982"/>
                  <a:pt x="1060924" y="4354569"/>
                  <a:pt x="1064041" y="4354414"/>
                </a:cubicBezTo>
                <a:close/>
                <a:moveTo>
                  <a:pt x="4911558" y="4354174"/>
                </a:moveTo>
                <a:cubicBezTo>
                  <a:pt x="4913107" y="4355000"/>
                  <a:pt x="4915586" y="4354277"/>
                  <a:pt x="4917134" y="4356032"/>
                </a:cubicBezTo>
                <a:cubicBezTo>
                  <a:pt x="4917134" y="4356032"/>
                  <a:pt x="4917909" y="4356858"/>
                  <a:pt x="4917754" y="4358613"/>
                </a:cubicBezTo>
                <a:cubicBezTo>
                  <a:pt x="4919148" y="4361195"/>
                  <a:pt x="4916360" y="4363776"/>
                  <a:pt x="4916360" y="4363776"/>
                </a:cubicBezTo>
                <a:cubicBezTo>
                  <a:pt x="4916360" y="4363776"/>
                  <a:pt x="4916360" y="4363776"/>
                  <a:pt x="4917134" y="4363776"/>
                </a:cubicBezTo>
                <a:cubicBezTo>
                  <a:pt x="4915586" y="4363776"/>
                  <a:pt x="4913727" y="4364603"/>
                  <a:pt x="4912023" y="4364603"/>
                </a:cubicBezTo>
                <a:cubicBezTo>
                  <a:pt x="4910474" y="4363260"/>
                  <a:pt x="4909544" y="4362228"/>
                  <a:pt x="4909080" y="4361195"/>
                </a:cubicBezTo>
                <a:cubicBezTo>
                  <a:pt x="4907376" y="4358304"/>
                  <a:pt x="4909389" y="4356755"/>
                  <a:pt x="4911558" y="4354174"/>
                </a:cubicBezTo>
                <a:close/>
                <a:moveTo>
                  <a:pt x="5725848" y="4352831"/>
                </a:moveTo>
                <a:cubicBezTo>
                  <a:pt x="5727552" y="4354587"/>
                  <a:pt x="5729411" y="4356445"/>
                  <a:pt x="5731115" y="4358201"/>
                </a:cubicBezTo>
                <a:cubicBezTo>
                  <a:pt x="5732199" y="4362641"/>
                  <a:pt x="5729875" y="4366255"/>
                  <a:pt x="5726313" y="4367080"/>
                </a:cubicBezTo>
                <a:cubicBezTo>
                  <a:pt x="5725228" y="4367391"/>
                  <a:pt x="5723834" y="4367391"/>
                  <a:pt x="5722440" y="4366874"/>
                </a:cubicBezTo>
                <a:cubicBezTo>
                  <a:pt x="5720737" y="4366255"/>
                  <a:pt x="5718878" y="4364912"/>
                  <a:pt x="5717019" y="4362744"/>
                </a:cubicBezTo>
                <a:cubicBezTo>
                  <a:pt x="5715160" y="4358304"/>
                  <a:pt x="5721511" y="4351696"/>
                  <a:pt x="5725848" y="4352831"/>
                </a:cubicBezTo>
                <a:close/>
                <a:moveTo>
                  <a:pt x="6025882" y="4352418"/>
                </a:moveTo>
                <a:cubicBezTo>
                  <a:pt x="6025263" y="4353347"/>
                  <a:pt x="6025572" y="4354174"/>
                  <a:pt x="6026037" y="4355000"/>
                </a:cubicBezTo>
                <a:lnTo>
                  <a:pt x="6027276" y="4356755"/>
                </a:lnTo>
                <a:lnTo>
                  <a:pt x="6026812" y="4355206"/>
                </a:lnTo>
                <a:lnTo>
                  <a:pt x="6027741" y="4353141"/>
                </a:lnTo>
                <a:close/>
                <a:moveTo>
                  <a:pt x="584695" y="4351678"/>
                </a:moveTo>
                <a:cubicBezTo>
                  <a:pt x="589341" y="4352504"/>
                  <a:pt x="591510" y="4355292"/>
                  <a:pt x="593214" y="4359835"/>
                </a:cubicBezTo>
                <a:cubicBezTo>
                  <a:pt x="592594" y="4360351"/>
                  <a:pt x="591355" y="4360454"/>
                  <a:pt x="590116" y="4360351"/>
                </a:cubicBezTo>
                <a:cubicBezTo>
                  <a:pt x="588722" y="4360248"/>
                  <a:pt x="587328" y="4360041"/>
                  <a:pt x="586088" y="4359835"/>
                </a:cubicBezTo>
                <a:cubicBezTo>
                  <a:pt x="584385" y="4357667"/>
                  <a:pt x="583920" y="4354569"/>
                  <a:pt x="584695" y="4351678"/>
                </a:cubicBezTo>
                <a:close/>
                <a:moveTo>
                  <a:pt x="5576218" y="4351386"/>
                </a:moveTo>
                <a:cubicBezTo>
                  <a:pt x="5580401" y="4350869"/>
                  <a:pt x="5581640" y="4355000"/>
                  <a:pt x="5584582" y="4357891"/>
                </a:cubicBezTo>
                <a:cubicBezTo>
                  <a:pt x="5584118" y="4358717"/>
                  <a:pt x="5584273" y="4359853"/>
                  <a:pt x="5585047" y="4360369"/>
                </a:cubicBezTo>
                <a:cubicBezTo>
                  <a:pt x="5585202" y="4361505"/>
                  <a:pt x="5585512" y="4362744"/>
                  <a:pt x="5585977" y="4361918"/>
                </a:cubicBezTo>
                <a:lnTo>
                  <a:pt x="5586441" y="4364809"/>
                </a:lnTo>
                <a:lnTo>
                  <a:pt x="5595890" y="4359336"/>
                </a:lnTo>
                <a:cubicBezTo>
                  <a:pt x="5607043" y="4355206"/>
                  <a:pt x="5618814" y="4355103"/>
                  <a:pt x="5623616" y="4362744"/>
                </a:cubicBezTo>
                <a:lnTo>
                  <a:pt x="5610915" y="4367184"/>
                </a:lnTo>
                <a:cubicBezTo>
                  <a:pt x="5611070" y="4368010"/>
                  <a:pt x="5610295" y="4368010"/>
                  <a:pt x="5610450" y="4368836"/>
                </a:cubicBezTo>
                <a:cubicBezTo>
                  <a:pt x="5610450" y="4368836"/>
                  <a:pt x="5609676" y="4368939"/>
                  <a:pt x="5609676" y="4368939"/>
                </a:cubicBezTo>
                <a:cubicBezTo>
                  <a:pt x="5609676" y="4369352"/>
                  <a:pt x="5609676" y="4369249"/>
                  <a:pt x="5609366" y="4369146"/>
                </a:cubicBezTo>
                <a:lnTo>
                  <a:pt x="5608282" y="4368423"/>
                </a:lnTo>
                <a:lnTo>
                  <a:pt x="5599608" y="4372553"/>
                </a:lnTo>
                <a:cubicBezTo>
                  <a:pt x="5592018" y="4376064"/>
                  <a:pt x="5583963" y="4379265"/>
                  <a:pt x="5572965" y="4379678"/>
                </a:cubicBezTo>
                <a:cubicBezTo>
                  <a:pt x="5573895" y="4375547"/>
                  <a:pt x="5576838" y="4371521"/>
                  <a:pt x="5581020" y="4367907"/>
                </a:cubicBezTo>
                <a:lnTo>
                  <a:pt x="5583808" y="4366358"/>
                </a:lnTo>
                <a:lnTo>
                  <a:pt x="5578387" y="4360369"/>
                </a:lnTo>
                <a:cubicBezTo>
                  <a:pt x="5576683" y="4357891"/>
                  <a:pt x="5575289" y="4355723"/>
                  <a:pt x="5574824" y="4354897"/>
                </a:cubicBezTo>
                <a:cubicBezTo>
                  <a:pt x="5574514" y="4354070"/>
                  <a:pt x="5574359" y="4353554"/>
                  <a:pt x="5574514" y="4352935"/>
                </a:cubicBezTo>
                <a:cubicBezTo>
                  <a:pt x="5574824" y="4352418"/>
                  <a:pt x="5575289" y="4352005"/>
                  <a:pt x="5576218" y="4351386"/>
                </a:cubicBezTo>
                <a:close/>
                <a:moveTo>
                  <a:pt x="5784554" y="4351282"/>
                </a:moveTo>
                <a:cubicBezTo>
                  <a:pt x="5788736" y="4350560"/>
                  <a:pt x="5793538" y="4354483"/>
                  <a:pt x="5793693" y="4358510"/>
                </a:cubicBezTo>
                <a:cubicBezTo>
                  <a:pt x="5792144" y="4360679"/>
                  <a:pt x="5789820" y="4361402"/>
                  <a:pt x="5787497" y="4361195"/>
                </a:cubicBezTo>
                <a:cubicBezTo>
                  <a:pt x="5785173" y="4360885"/>
                  <a:pt x="5783004" y="4359749"/>
                  <a:pt x="5781766" y="4357891"/>
                </a:cubicBezTo>
                <a:lnTo>
                  <a:pt x="5781146" y="4355000"/>
                </a:lnTo>
                <a:lnTo>
                  <a:pt x="5779442" y="4355929"/>
                </a:lnTo>
                <a:lnTo>
                  <a:pt x="5780216" y="4358201"/>
                </a:lnTo>
                <a:cubicBezTo>
                  <a:pt x="5779907" y="4359440"/>
                  <a:pt x="5779132" y="4360782"/>
                  <a:pt x="5778668" y="4362434"/>
                </a:cubicBezTo>
                <a:cubicBezTo>
                  <a:pt x="5777893" y="4361505"/>
                  <a:pt x="5776964" y="4362228"/>
                  <a:pt x="5776034" y="4362950"/>
                </a:cubicBezTo>
                <a:cubicBezTo>
                  <a:pt x="5774950" y="4361402"/>
                  <a:pt x="5772782" y="4359336"/>
                  <a:pt x="5773401" y="4357168"/>
                </a:cubicBezTo>
                <a:cubicBezTo>
                  <a:pt x="5773556" y="4356445"/>
                  <a:pt x="5774021" y="4355723"/>
                  <a:pt x="5774950" y="4355000"/>
                </a:cubicBezTo>
                <a:cubicBezTo>
                  <a:pt x="5774950" y="4354587"/>
                  <a:pt x="5775880" y="4354277"/>
                  <a:pt x="5776809" y="4354174"/>
                </a:cubicBezTo>
                <a:lnTo>
                  <a:pt x="5778513" y="4354690"/>
                </a:lnTo>
                <a:lnTo>
                  <a:pt x="5778203" y="4353451"/>
                </a:lnTo>
                <a:cubicBezTo>
                  <a:pt x="5779132" y="4352625"/>
                  <a:pt x="5780216" y="4352625"/>
                  <a:pt x="5780991" y="4352935"/>
                </a:cubicBezTo>
                <a:lnTo>
                  <a:pt x="5781301" y="4353451"/>
                </a:lnTo>
                <a:close/>
                <a:moveTo>
                  <a:pt x="634436" y="4350361"/>
                </a:moveTo>
                <a:cubicBezTo>
                  <a:pt x="637398" y="4349922"/>
                  <a:pt x="640225" y="4350542"/>
                  <a:pt x="642471" y="4352710"/>
                </a:cubicBezTo>
                <a:cubicBezTo>
                  <a:pt x="631008" y="4355292"/>
                  <a:pt x="629460" y="4369128"/>
                  <a:pt x="616293" y="4369541"/>
                </a:cubicBezTo>
                <a:cubicBezTo>
                  <a:pt x="615674" y="4364895"/>
                  <a:pt x="620011" y="4358493"/>
                  <a:pt x="625587" y="4354362"/>
                </a:cubicBezTo>
                <a:cubicBezTo>
                  <a:pt x="628375" y="4352297"/>
                  <a:pt x="631474" y="4350800"/>
                  <a:pt x="634436" y="4350361"/>
                </a:cubicBezTo>
                <a:close/>
                <a:moveTo>
                  <a:pt x="678098" y="4347547"/>
                </a:moveTo>
                <a:cubicBezTo>
                  <a:pt x="678871" y="4349096"/>
                  <a:pt x="682279" y="4347857"/>
                  <a:pt x="681505" y="4350335"/>
                </a:cubicBezTo>
                <a:cubicBezTo>
                  <a:pt x="680421" y="4350026"/>
                  <a:pt x="678871" y="4349096"/>
                  <a:pt x="677788" y="4348786"/>
                </a:cubicBezTo>
                <a:cubicBezTo>
                  <a:pt x="677788" y="4348786"/>
                  <a:pt x="677632" y="4348786"/>
                  <a:pt x="678098" y="4347547"/>
                </a:cubicBezTo>
                <a:close/>
                <a:moveTo>
                  <a:pt x="5503882" y="4347462"/>
                </a:moveTo>
                <a:cubicBezTo>
                  <a:pt x="5503262" y="4359956"/>
                  <a:pt x="5515344" y="4365119"/>
                  <a:pt x="5512401" y="4378749"/>
                </a:cubicBezTo>
                <a:cubicBezTo>
                  <a:pt x="5507909" y="4378129"/>
                  <a:pt x="5503262" y="4372140"/>
                  <a:pt x="5501093" y="4365325"/>
                </a:cubicBezTo>
                <a:cubicBezTo>
                  <a:pt x="5498770" y="4358510"/>
                  <a:pt x="5498770" y="4350973"/>
                  <a:pt x="5503882" y="4347462"/>
                </a:cubicBezTo>
                <a:close/>
                <a:moveTo>
                  <a:pt x="1319988" y="4346308"/>
                </a:moveTo>
                <a:cubicBezTo>
                  <a:pt x="1319213" y="4347238"/>
                  <a:pt x="1318128" y="4348683"/>
                  <a:pt x="1316890" y="4350232"/>
                </a:cubicBezTo>
                <a:lnTo>
                  <a:pt x="1316734" y="4350542"/>
                </a:lnTo>
                <a:lnTo>
                  <a:pt x="1317354" y="4350542"/>
                </a:lnTo>
                <a:cubicBezTo>
                  <a:pt x="1320452" y="4351678"/>
                  <a:pt x="1322466" y="4354775"/>
                  <a:pt x="1323240" y="4358286"/>
                </a:cubicBezTo>
                <a:cubicBezTo>
                  <a:pt x="1324324" y="4363036"/>
                  <a:pt x="1323240" y="4368508"/>
                  <a:pt x="1319833" y="4371193"/>
                </a:cubicBezTo>
                <a:cubicBezTo>
                  <a:pt x="1315650" y="4368096"/>
                  <a:pt x="1312707" y="4365101"/>
                  <a:pt x="1311468" y="4361797"/>
                </a:cubicBezTo>
                <a:lnTo>
                  <a:pt x="1311003" y="4356634"/>
                </a:lnTo>
                <a:lnTo>
                  <a:pt x="1308525" y="4358596"/>
                </a:lnTo>
                <a:cubicBezTo>
                  <a:pt x="1306976" y="4359422"/>
                  <a:pt x="1305272" y="4359835"/>
                  <a:pt x="1303723" y="4359318"/>
                </a:cubicBezTo>
                <a:cubicBezTo>
                  <a:pt x="1302794" y="4359009"/>
                  <a:pt x="1301864" y="4358389"/>
                  <a:pt x="1300935" y="4357563"/>
                </a:cubicBezTo>
                <a:cubicBezTo>
                  <a:pt x="1304653" y="4354052"/>
                  <a:pt x="1314876" y="4340733"/>
                  <a:pt x="1319988" y="4346308"/>
                </a:cubicBezTo>
                <a:close/>
                <a:moveTo>
                  <a:pt x="5678295" y="4346223"/>
                </a:moveTo>
                <a:cubicBezTo>
                  <a:pt x="5680308" y="4347565"/>
                  <a:pt x="5680928" y="4348804"/>
                  <a:pt x="5680928" y="4350043"/>
                </a:cubicBezTo>
                <a:lnTo>
                  <a:pt x="5679999" y="4353451"/>
                </a:lnTo>
                <a:lnTo>
                  <a:pt x="5680618" y="4353347"/>
                </a:lnTo>
                <a:cubicBezTo>
                  <a:pt x="5680618" y="4353347"/>
                  <a:pt x="5680618" y="4353554"/>
                  <a:pt x="5680308" y="4353967"/>
                </a:cubicBezTo>
                <a:cubicBezTo>
                  <a:pt x="5682167" y="4354070"/>
                  <a:pt x="5682942" y="4354483"/>
                  <a:pt x="5683561" y="4355000"/>
                </a:cubicBezTo>
                <a:cubicBezTo>
                  <a:pt x="5683871" y="4356239"/>
                  <a:pt x="5682787" y="4357788"/>
                  <a:pt x="5681083" y="4358820"/>
                </a:cubicBezTo>
                <a:cubicBezTo>
                  <a:pt x="5680928" y="4357581"/>
                  <a:pt x="5679069" y="4357478"/>
                  <a:pt x="5678759" y="4356239"/>
                </a:cubicBezTo>
                <a:cubicBezTo>
                  <a:pt x="5678759" y="4356239"/>
                  <a:pt x="5679069" y="4355619"/>
                  <a:pt x="5679224" y="4354897"/>
                </a:cubicBezTo>
                <a:lnTo>
                  <a:pt x="5679534" y="4353554"/>
                </a:lnTo>
                <a:lnTo>
                  <a:pt x="5678140" y="4352831"/>
                </a:lnTo>
                <a:cubicBezTo>
                  <a:pt x="5677365" y="4352625"/>
                  <a:pt x="5676591" y="4352831"/>
                  <a:pt x="5675971" y="4352625"/>
                </a:cubicBezTo>
                <a:lnTo>
                  <a:pt x="5675197" y="4351799"/>
                </a:lnTo>
                <a:lnTo>
                  <a:pt x="5672873" y="4353141"/>
                </a:lnTo>
                <a:cubicBezTo>
                  <a:pt x="5670240" y="4353658"/>
                  <a:pt x="5667607" y="4351799"/>
                  <a:pt x="5667297" y="4349114"/>
                </a:cubicBezTo>
                <a:cubicBezTo>
                  <a:pt x="5669930" y="4344674"/>
                  <a:pt x="5673493" y="4346326"/>
                  <a:pt x="5674887" y="4348907"/>
                </a:cubicBezTo>
                <a:lnTo>
                  <a:pt x="5674887" y="4349011"/>
                </a:lnTo>
                <a:lnTo>
                  <a:pt x="5675352" y="4348185"/>
                </a:lnTo>
                <a:cubicBezTo>
                  <a:pt x="5675971" y="4347462"/>
                  <a:pt x="5676901" y="4346739"/>
                  <a:pt x="5678295" y="4346223"/>
                </a:cubicBezTo>
                <a:close/>
                <a:moveTo>
                  <a:pt x="1129310" y="4346102"/>
                </a:moveTo>
                <a:lnTo>
                  <a:pt x="1127916" y="4346618"/>
                </a:lnTo>
                <a:lnTo>
                  <a:pt x="1127761" y="4347341"/>
                </a:lnTo>
                <a:lnTo>
                  <a:pt x="1128535" y="4347547"/>
                </a:lnTo>
                <a:lnTo>
                  <a:pt x="1129000" y="4347857"/>
                </a:lnTo>
                <a:close/>
                <a:moveTo>
                  <a:pt x="6012406" y="4343641"/>
                </a:moveTo>
                <a:lnTo>
                  <a:pt x="6012871" y="4356136"/>
                </a:lnTo>
                <a:cubicBezTo>
                  <a:pt x="6012251" y="4360989"/>
                  <a:pt x="6011012" y="4365842"/>
                  <a:pt x="6008999" y="4370592"/>
                </a:cubicBezTo>
                <a:cubicBezTo>
                  <a:pt x="6006675" y="4370488"/>
                  <a:pt x="6004352" y="4370488"/>
                  <a:pt x="6004352" y="4372863"/>
                </a:cubicBezTo>
                <a:cubicBezTo>
                  <a:pt x="6000479" y="4373070"/>
                  <a:pt x="5996762" y="4372657"/>
                  <a:pt x="5993354" y="4371624"/>
                </a:cubicBezTo>
                <a:lnTo>
                  <a:pt x="5987623" y="4368939"/>
                </a:lnTo>
                <a:lnTo>
                  <a:pt x="5980962" y="4373482"/>
                </a:lnTo>
                <a:lnTo>
                  <a:pt x="5981117" y="4373896"/>
                </a:lnTo>
                <a:cubicBezTo>
                  <a:pt x="5981272" y="4375651"/>
                  <a:pt x="5980962" y="4377716"/>
                  <a:pt x="5979878" y="4379265"/>
                </a:cubicBezTo>
                <a:lnTo>
                  <a:pt x="5978949" y="4379988"/>
                </a:lnTo>
                <a:lnTo>
                  <a:pt x="5983441" y="4386080"/>
                </a:lnTo>
                <a:cubicBezTo>
                  <a:pt x="5988397" y="4391759"/>
                  <a:pt x="5993974" y="4397128"/>
                  <a:pt x="5995987" y="4399710"/>
                </a:cubicBezTo>
                <a:cubicBezTo>
                  <a:pt x="5991340" y="4402188"/>
                  <a:pt x="5986229" y="4394031"/>
                  <a:pt x="5981117" y="4390830"/>
                </a:cubicBezTo>
                <a:lnTo>
                  <a:pt x="5980033" y="4390313"/>
                </a:lnTo>
                <a:lnTo>
                  <a:pt x="5979878" y="4390830"/>
                </a:lnTo>
                <a:lnTo>
                  <a:pt x="5980653" y="4391243"/>
                </a:lnTo>
                <a:cubicBezTo>
                  <a:pt x="5980342" y="4392069"/>
                  <a:pt x="5980342" y="4392998"/>
                  <a:pt x="5980188" y="4393824"/>
                </a:cubicBezTo>
                <a:lnTo>
                  <a:pt x="5980033" y="4393927"/>
                </a:lnTo>
                <a:lnTo>
                  <a:pt x="5984215" y="4398264"/>
                </a:lnTo>
                <a:cubicBezTo>
                  <a:pt x="5987003" y="4400639"/>
                  <a:pt x="5989481" y="4403737"/>
                  <a:pt x="5992270" y="4406111"/>
                </a:cubicBezTo>
                <a:cubicBezTo>
                  <a:pt x="5995213" y="4408486"/>
                  <a:pt x="5998001" y="4410655"/>
                  <a:pt x="6000944" y="4412410"/>
                </a:cubicBezTo>
                <a:lnTo>
                  <a:pt x="6003112" y="4413339"/>
                </a:lnTo>
                <a:lnTo>
                  <a:pt x="6003577" y="4410551"/>
                </a:lnTo>
                <a:cubicBezTo>
                  <a:pt x="6005126" y="4411687"/>
                  <a:pt x="6006675" y="4412927"/>
                  <a:pt x="6008224" y="4413959"/>
                </a:cubicBezTo>
                <a:cubicBezTo>
                  <a:pt x="6008069" y="4413959"/>
                  <a:pt x="6007914" y="4414475"/>
                  <a:pt x="6007914" y="4415198"/>
                </a:cubicBezTo>
                <a:lnTo>
                  <a:pt x="6008999" y="4415714"/>
                </a:lnTo>
                <a:lnTo>
                  <a:pt x="6009928" y="4413856"/>
                </a:lnTo>
                <a:cubicBezTo>
                  <a:pt x="6012871" y="4409003"/>
                  <a:pt x="6016743" y="4406938"/>
                  <a:pt x="6023249" y="4413236"/>
                </a:cubicBezTo>
                <a:cubicBezTo>
                  <a:pt x="6020925" y="4414372"/>
                  <a:pt x="6019067" y="4416024"/>
                  <a:pt x="6017208" y="4417883"/>
                </a:cubicBezTo>
                <a:lnTo>
                  <a:pt x="6013335" y="4422529"/>
                </a:lnTo>
                <a:lnTo>
                  <a:pt x="6015349" y="4425834"/>
                </a:lnTo>
                <a:cubicBezTo>
                  <a:pt x="6017518" y="4428931"/>
                  <a:pt x="6020151" y="4432029"/>
                  <a:pt x="6023094" y="4435127"/>
                </a:cubicBezTo>
                <a:cubicBezTo>
                  <a:pt x="6028515" y="4440599"/>
                  <a:pt x="6034711" y="4445555"/>
                  <a:pt x="6041681" y="4450718"/>
                </a:cubicBezTo>
                <a:lnTo>
                  <a:pt x="6051130" y="4457533"/>
                </a:lnTo>
                <a:lnTo>
                  <a:pt x="6051750" y="4451131"/>
                </a:lnTo>
                <a:cubicBezTo>
                  <a:pt x="6061199" y="4444833"/>
                  <a:pt x="6060579" y="4438637"/>
                  <a:pt x="6064916" y="4432752"/>
                </a:cubicBezTo>
                <a:cubicBezTo>
                  <a:pt x="6078547" y="4426040"/>
                  <a:pt x="6098374" y="4421600"/>
                  <a:pt x="6110765" y="4432442"/>
                </a:cubicBezTo>
                <a:cubicBezTo>
                  <a:pt x="6120989" y="4441322"/>
                  <a:pt x="6117426" y="4452474"/>
                  <a:pt x="6121143" y="4465174"/>
                </a:cubicBezTo>
                <a:cubicBezTo>
                  <a:pt x="6118820" y="4466723"/>
                  <a:pt x="6117116" y="4468272"/>
                  <a:pt x="6116032" y="4469924"/>
                </a:cubicBezTo>
                <a:lnTo>
                  <a:pt x="6114328" y="4473022"/>
                </a:lnTo>
                <a:lnTo>
                  <a:pt x="6114792" y="4474674"/>
                </a:lnTo>
                <a:lnTo>
                  <a:pt x="6113244" y="4475397"/>
                </a:lnTo>
                <a:lnTo>
                  <a:pt x="6112159" y="4480663"/>
                </a:lnTo>
                <a:lnTo>
                  <a:pt x="6112469" y="4480766"/>
                </a:lnTo>
                <a:lnTo>
                  <a:pt x="6123002" y="4487065"/>
                </a:lnTo>
                <a:lnTo>
                  <a:pt x="6125171" y="4482934"/>
                </a:lnTo>
                <a:cubicBezTo>
                  <a:pt x="6126565" y="4480869"/>
                  <a:pt x="6128579" y="4478804"/>
                  <a:pt x="6130902" y="4476842"/>
                </a:cubicBezTo>
                <a:cubicBezTo>
                  <a:pt x="6133225" y="4477978"/>
                  <a:pt x="6137562" y="4476636"/>
                  <a:pt x="6137717" y="4480972"/>
                </a:cubicBezTo>
                <a:cubicBezTo>
                  <a:pt x="6135084" y="4482108"/>
                  <a:pt x="6133225" y="4483864"/>
                  <a:pt x="6131676" y="4485929"/>
                </a:cubicBezTo>
                <a:lnTo>
                  <a:pt x="6129043" y="4490678"/>
                </a:lnTo>
                <a:lnTo>
                  <a:pt x="6130592" y="4491608"/>
                </a:lnTo>
                <a:lnTo>
                  <a:pt x="6134310" y="4493776"/>
                </a:lnTo>
                <a:lnTo>
                  <a:pt x="6134619" y="4493673"/>
                </a:lnTo>
                <a:cubicBezTo>
                  <a:pt x="6136013" y="4493673"/>
                  <a:pt x="6137562" y="4494086"/>
                  <a:pt x="6138492" y="4494499"/>
                </a:cubicBezTo>
                <a:lnTo>
                  <a:pt x="6139266" y="4496564"/>
                </a:lnTo>
                <a:lnTo>
                  <a:pt x="6146392" y="4500384"/>
                </a:lnTo>
                <a:lnTo>
                  <a:pt x="6147011" y="4500488"/>
                </a:lnTo>
                <a:lnTo>
                  <a:pt x="6147321" y="4500901"/>
                </a:lnTo>
                <a:lnTo>
                  <a:pt x="6149954" y="4502346"/>
                </a:lnTo>
                <a:cubicBezTo>
                  <a:pt x="6156305" y="4505857"/>
                  <a:pt x="6162656" y="4509058"/>
                  <a:pt x="6168697" y="4511743"/>
                </a:cubicBezTo>
                <a:cubicBezTo>
                  <a:pt x="6170091" y="4512362"/>
                  <a:pt x="6172104" y="4512672"/>
                  <a:pt x="6174118" y="4512878"/>
                </a:cubicBezTo>
                <a:lnTo>
                  <a:pt x="6178920" y="4513808"/>
                </a:lnTo>
                <a:lnTo>
                  <a:pt x="6178610" y="4513395"/>
                </a:lnTo>
                <a:cubicBezTo>
                  <a:pt x="6180159" y="4510607"/>
                  <a:pt x="6178300" y="4506476"/>
                  <a:pt x="6183567" y="4506167"/>
                </a:cubicBezTo>
                <a:cubicBezTo>
                  <a:pt x="6186974" y="4508335"/>
                  <a:pt x="6187749" y="4513188"/>
                  <a:pt x="6185580" y="4515976"/>
                </a:cubicBezTo>
                <a:lnTo>
                  <a:pt x="6184341" y="4516596"/>
                </a:lnTo>
                <a:lnTo>
                  <a:pt x="6184651" y="4516802"/>
                </a:lnTo>
                <a:cubicBezTo>
                  <a:pt x="6185580" y="4518144"/>
                  <a:pt x="6185890" y="4520106"/>
                  <a:pt x="6185115" y="4522894"/>
                </a:cubicBezTo>
                <a:cubicBezTo>
                  <a:pt x="6189762" y="4523720"/>
                  <a:pt x="6195184" y="4525992"/>
                  <a:pt x="6198747" y="4525992"/>
                </a:cubicBezTo>
                <a:lnTo>
                  <a:pt x="6200295" y="4525476"/>
                </a:lnTo>
                <a:lnTo>
                  <a:pt x="6200450" y="4525372"/>
                </a:lnTo>
                <a:lnTo>
                  <a:pt x="6200605" y="4525372"/>
                </a:lnTo>
                <a:lnTo>
                  <a:pt x="6201844" y="4524960"/>
                </a:lnTo>
                <a:lnTo>
                  <a:pt x="6202464" y="4525785"/>
                </a:lnTo>
                <a:lnTo>
                  <a:pt x="6205097" y="4526405"/>
                </a:lnTo>
                <a:cubicBezTo>
                  <a:pt x="6206027" y="4527231"/>
                  <a:pt x="6206027" y="4527231"/>
                  <a:pt x="6206182" y="4528161"/>
                </a:cubicBezTo>
                <a:lnTo>
                  <a:pt x="6207266" y="4531155"/>
                </a:lnTo>
                <a:lnTo>
                  <a:pt x="6209589" y="4531877"/>
                </a:lnTo>
                <a:lnTo>
                  <a:pt x="6209589" y="4530432"/>
                </a:lnTo>
                <a:cubicBezTo>
                  <a:pt x="6210209" y="4529503"/>
                  <a:pt x="6211293" y="4528883"/>
                  <a:pt x="6212842" y="4528986"/>
                </a:cubicBezTo>
                <a:lnTo>
                  <a:pt x="6214546" y="4530226"/>
                </a:lnTo>
                <a:lnTo>
                  <a:pt x="6214546" y="4528677"/>
                </a:lnTo>
                <a:cubicBezTo>
                  <a:pt x="6214546" y="4527025"/>
                  <a:pt x="6214856" y="4525166"/>
                  <a:pt x="6217024" y="4525063"/>
                </a:cubicBezTo>
                <a:cubicBezTo>
                  <a:pt x="6220587" y="4525476"/>
                  <a:pt x="6219038" y="4536317"/>
                  <a:pt x="6222601" y="4529916"/>
                </a:cubicBezTo>
                <a:lnTo>
                  <a:pt x="6225698" y="4531671"/>
                </a:lnTo>
                <a:lnTo>
                  <a:pt x="6229416" y="4524030"/>
                </a:lnTo>
                <a:lnTo>
                  <a:pt x="6227867" y="4520623"/>
                </a:lnTo>
                <a:cubicBezTo>
                  <a:pt x="6228022" y="4519487"/>
                  <a:pt x="6228796" y="4518454"/>
                  <a:pt x="6230036" y="4517215"/>
                </a:cubicBezTo>
                <a:lnTo>
                  <a:pt x="6232049" y="4520313"/>
                </a:lnTo>
                <a:lnTo>
                  <a:pt x="6238400" y="4514324"/>
                </a:lnTo>
                <a:cubicBezTo>
                  <a:pt x="6240259" y="4518144"/>
                  <a:pt x="6240878" y="4522275"/>
                  <a:pt x="6240723" y="4526405"/>
                </a:cubicBezTo>
                <a:lnTo>
                  <a:pt x="6237935" y="4538486"/>
                </a:lnTo>
                <a:lnTo>
                  <a:pt x="6251411" y="4543339"/>
                </a:lnTo>
                <a:lnTo>
                  <a:pt x="6268295" y="4547160"/>
                </a:lnTo>
                <a:lnTo>
                  <a:pt x="6268915" y="4545198"/>
                </a:lnTo>
                <a:cubicBezTo>
                  <a:pt x="6269844" y="4546127"/>
                  <a:pt x="6272012" y="4543236"/>
                  <a:pt x="6272787" y="4542306"/>
                </a:cubicBezTo>
                <a:cubicBezTo>
                  <a:pt x="6273716" y="4543133"/>
                  <a:pt x="6274955" y="4542823"/>
                  <a:pt x="6276195" y="4542616"/>
                </a:cubicBezTo>
                <a:lnTo>
                  <a:pt x="6277898" y="4542616"/>
                </a:lnTo>
                <a:lnTo>
                  <a:pt x="6278518" y="4528367"/>
                </a:lnTo>
                <a:cubicBezTo>
                  <a:pt x="6281461" y="4529400"/>
                  <a:pt x="6283475" y="4527954"/>
                  <a:pt x="6287812" y="4530432"/>
                </a:cubicBezTo>
                <a:lnTo>
                  <a:pt x="6286108" y="4549741"/>
                </a:lnTo>
                <a:lnTo>
                  <a:pt x="6291219" y="4550257"/>
                </a:lnTo>
                <a:cubicBezTo>
                  <a:pt x="6293388" y="4554697"/>
                  <a:pt x="6298345" y="4556969"/>
                  <a:pt x="6304386" y="4558105"/>
                </a:cubicBezTo>
                <a:lnTo>
                  <a:pt x="6311201" y="4558621"/>
                </a:lnTo>
                <a:lnTo>
                  <a:pt x="6311046" y="4558518"/>
                </a:lnTo>
                <a:lnTo>
                  <a:pt x="6311976" y="4558724"/>
                </a:lnTo>
                <a:lnTo>
                  <a:pt x="6312750" y="4558828"/>
                </a:lnTo>
                <a:cubicBezTo>
                  <a:pt x="6315383" y="4558828"/>
                  <a:pt x="6318017" y="4558931"/>
                  <a:pt x="6320030" y="4559137"/>
                </a:cubicBezTo>
                <a:cubicBezTo>
                  <a:pt x="6320805" y="4554904"/>
                  <a:pt x="6309033" y="4559550"/>
                  <a:pt x="6312440" y="4553871"/>
                </a:cubicBezTo>
                <a:cubicBezTo>
                  <a:pt x="6317862" y="4554801"/>
                  <a:pt x="6321734" y="4554388"/>
                  <a:pt x="6325451" y="4554078"/>
                </a:cubicBezTo>
                <a:cubicBezTo>
                  <a:pt x="6318636" y="4563268"/>
                  <a:pt x="6342645" y="4560893"/>
                  <a:pt x="6348221" y="4561822"/>
                </a:cubicBezTo>
                <a:cubicBezTo>
                  <a:pt x="6348221" y="4559550"/>
                  <a:pt x="6346208" y="4558931"/>
                  <a:pt x="6344349" y="4558311"/>
                </a:cubicBezTo>
                <a:cubicBezTo>
                  <a:pt x="6342026" y="4558414"/>
                  <a:pt x="6339237" y="4558311"/>
                  <a:pt x="6336604" y="4557485"/>
                </a:cubicBezTo>
                <a:cubicBezTo>
                  <a:pt x="6339083" y="4556763"/>
                  <a:pt x="6341406" y="4555936"/>
                  <a:pt x="6343574" y="4555936"/>
                </a:cubicBezTo>
                <a:cubicBezTo>
                  <a:pt x="6346053" y="4555110"/>
                  <a:pt x="6348221" y="4555110"/>
                  <a:pt x="6350545" y="4555007"/>
                </a:cubicBezTo>
                <a:cubicBezTo>
                  <a:pt x="6355501" y="4555007"/>
                  <a:pt x="6360458" y="4555833"/>
                  <a:pt x="6364950" y="4557278"/>
                </a:cubicBezTo>
                <a:lnTo>
                  <a:pt x="6372385" y="4558724"/>
                </a:lnTo>
                <a:lnTo>
                  <a:pt x="6375948" y="4556452"/>
                </a:lnTo>
                <a:lnTo>
                  <a:pt x="6377497" y="4559653"/>
                </a:lnTo>
                <a:lnTo>
                  <a:pt x="6380440" y="4560273"/>
                </a:lnTo>
                <a:lnTo>
                  <a:pt x="6386945" y="4560686"/>
                </a:lnTo>
                <a:lnTo>
                  <a:pt x="6388340" y="4558931"/>
                </a:lnTo>
                <a:lnTo>
                  <a:pt x="6390663" y="4560583"/>
                </a:lnTo>
                <a:lnTo>
                  <a:pt x="6395930" y="4560067"/>
                </a:lnTo>
                <a:cubicBezTo>
                  <a:pt x="6395465" y="4563577"/>
                  <a:pt x="6401041" y="4562338"/>
                  <a:pt x="6400886" y="4564507"/>
                </a:cubicBezTo>
                <a:cubicBezTo>
                  <a:pt x="6404759" y="4562751"/>
                  <a:pt x="6408786" y="4561925"/>
                  <a:pt x="6412658" y="4561512"/>
                </a:cubicBezTo>
                <a:lnTo>
                  <a:pt x="6423811" y="4561306"/>
                </a:lnTo>
                <a:lnTo>
                  <a:pt x="6424276" y="4559034"/>
                </a:lnTo>
                <a:lnTo>
                  <a:pt x="6427374" y="4555420"/>
                </a:lnTo>
                <a:lnTo>
                  <a:pt x="6426134" y="4552839"/>
                </a:lnTo>
                <a:cubicBezTo>
                  <a:pt x="6426289" y="4551703"/>
                  <a:pt x="6426289" y="4551703"/>
                  <a:pt x="6426444" y="4550464"/>
                </a:cubicBezTo>
                <a:cubicBezTo>
                  <a:pt x="6427838" y="4549534"/>
                  <a:pt x="6428612" y="4547985"/>
                  <a:pt x="6430471" y="4547779"/>
                </a:cubicBezTo>
                <a:lnTo>
                  <a:pt x="6432330" y="4549638"/>
                </a:lnTo>
                <a:lnTo>
                  <a:pt x="6433879" y="4547882"/>
                </a:lnTo>
                <a:lnTo>
                  <a:pt x="6439610" y="4544888"/>
                </a:lnTo>
                <a:lnTo>
                  <a:pt x="6437906" y="4543545"/>
                </a:lnTo>
                <a:lnTo>
                  <a:pt x="6432175" y="4543339"/>
                </a:lnTo>
                <a:cubicBezTo>
                  <a:pt x="6425205" y="4544165"/>
                  <a:pt x="6423036" y="4550980"/>
                  <a:pt x="6415911" y="4552632"/>
                </a:cubicBezTo>
                <a:cubicBezTo>
                  <a:pt x="6416531" y="4552839"/>
                  <a:pt x="6416221" y="4549741"/>
                  <a:pt x="6416221" y="4549741"/>
                </a:cubicBezTo>
                <a:cubicBezTo>
                  <a:pt x="6412968" y="4550980"/>
                  <a:pt x="6406617" y="4555523"/>
                  <a:pt x="6403364" y="4553458"/>
                </a:cubicBezTo>
                <a:lnTo>
                  <a:pt x="6403055" y="4552942"/>
                </a:lnTo>
                <a:lnTo>
                  <a:pt x="6401970" y="4553252"/>
                </a:lnTo>
                <a:cubicBezTo>
                  <a:pt x="6398253" y="4553768"/>
                  <a:pt x="6394226" y="4553871"/>
                  <a:pt x="6389579" y="4553148"/>
                </a:cubicBezTo>
                <a:lnTo>
                  <a:pt x="6387255" y="4544681"/>
                </a:lnTo>
                <a:lnTo>
                  <a:pt x="6376722" y="4544268"/>
                </a:lnTo>
                <a:cubicBezTo>
                  <a:pt x="6371920" y="4543545"/>
                  <a:pt x="6367429" y="4543649"/>
                  <a:pt x="6362627" y="4545198"/>
                </a:cubicBezTo>
                <a:cubicBezTo>
                  <a:pt x="6361233" y="4544785"/>
                  <a:pt x="6361233" y="4542513"/>
                  <a:pt x="6361387" y="4540241"/>
                </a:cubicBezTo>
                <a:lnTo>
                  <a:pt x="6358135" y="4540448"/>
                </a:lnTo>
                <a:lnTo>
                  <a:pt x="6362162" y="4544888"/>
                </a:lnTo>
                <a:cubicBezTo>
                  <a:pt x="6361233" y="4546334"/>
                  <a:pt x="6360303" y="4546953"/>
                  <a:pt x="6359219" y="4546850"/>
                </a:cubicBezTo>
                <a:cubicBezTo>
                  <a:pt x="6358290" y="4546746"/>
                  <a:pt x="6357360" y="4546127"/>
                  <a:pt x="6356740" y="4545198"/>
                </a:cubicBezTo>
                <a:cubicBezTo>
                  <a:pt x="6356121" y="4544372"/>
                  <a:pt x="6355656" y="4543236"/>
                  <a:pt x="6355811" y="4542306"/>
                </a:cubicBezTo>
                <a:lnTo>
                  <a:pt x="6357670" y="4540448"/>
                </a:lnTo>
                <a:lnTo>
                  <a:pt x="6353178" y="4540654"/>
                </a:lnTo>
                <a:lnTo>
                  <a:pt x="6352558" y="4547572"/>
                </a:lnTo>
                <a:cubicBezTo>
                  <a:pt x="6350545" y="4552116"/>
                  <a:pt x="6345898" y="4555523"/>
                  <a:pt x="6341251" y="4556143"/>
                </a:cubicBezTo>
                <a:cubicBezTo>
                  <a:pt x="6338153" y="4556556"/>
                  <a:pt x="6335055" y="4555730"/>
                  <a:pt x="6332422" y="4552942"/>
                </a:cubicBezTo>
                <a:lnTo>
                  <a:pt x="6336914" y="4539415"/>
                </a:lnTo>
                <a:lnTo>
                  <a:pt x="6330873" y="4538383"/>
                </a:lnTo>
                <a:cubicBezTo>
                  <a:pt x="6326226" y="4536937"/>
                  <a:pt x="6321424" y="4536214"/>
                  <a:pt x="6316622" y="4535492"/>
                </a:cubicBezTo>
                <a:lnTo>
                  <a:pt x="6307329" y="4534975"/>
                </a:lnTo>
                <a:lnTo>
                  <a:pt x="6308568" y="4538693"/>
                </a:lnTo>
                <a:cubicBezTo>
                  <a:pt x="6308568" y="4540654"/>
                  <a:pt x="6308103" y="4542719"/>
                  <a:pt x="6306864" y="4544681"/>
                </a:cubicBezTo>
                <a:cubicBezTo>
                  <a:pt x="6305780" y="4545198"/>
                  <a:pt x="6304695" y="4545404"/>
                  <a:pt x="6303456" y="4545301"/>
                </a:cubicBezTo>
                <a:cubicBezTo>
                  <a:pt x="6301752" y="4545198"/>
                  <a:pt x="6299894" y="4544475"/>
                  <a:pt x="6298345" y="4543545"/>
                </a:cubicBezTo>
                <a:lnTo>
                  <a:pt x="6296176" y="4541584"/>
                </a:lnTo>
                <a:lnTo>
                  <a:pt x="6295247" y="4542306"/>
                </a:lnTo>
                <a:lnTo>
                  <a:pt x="6295402" y="4540964"/>
                </a:lnTo>
                <a:lnTo>
                  <a:pt x="6294008" y="4539828"/>
                </a:lnTo>
                <a:lnTo>
                  <a:pt x="6293233" y="4538176"/>
                </a:lnTo>
                <a:lnTo>
                  <a:pt x="6289980" y="4539828"/>
                </a:lnTo>
                <a:cubicBezTo>
                  <a:pt x="6289826" y="4539209"/>
                  <a:pt x="6290135" y="4538796"/>
                  <a:pt x="6290445" y="4538486"/>
                </a:cubicBezTo>
                <a:cubicBezTo>
                  <a:pt x="6290910" y="4538279"/>
                  <a:pt x="6291529" y="4538073"/>
                  <a:pt x="6292149" y="4537970"/>
                </a:cubicBezTo>
                <a:lnTo>
                  <a:pt x="6293078" y="4537660"/>
                </a:lnTo>
                <a:lnTo>
                  <a:pt x="6292149" y="4536008"/>
                </a:lnTo>
                <a:lnTo>
                  <a:pt x="6294782" y="4531981"/>
                </a:lnTo>
                <a:lnTo>
                  <a:pt x="6288896" y="4529193"/>
                </a:lnTo>
                <a:cubicBezTo>
                  <a:pt x="6294318" y="4529193"/>
                  <a:pt x="6293698" y="4526921"/>
                  <a:pt x="6296951" y="4526611"/>
                </a:cubicBezTo>
                <a:lnTo>
                  <a:pt x="6298809" y="4526818"/>
                </a:lnTo>
                <a:lnTo>
                  <a:pt x="6299119" y="4526508"/>
                </a:lnTo>
                <a:lnTo>
                  <a:pt x="6289206" y="4523720"/>
                </a:lnTo>
                <a:cubicBezTo>
                  <a:pt x="6285024" y="4522584"/>
                  <a:pt x="6281306" y="4520829"/>
                  <a:pt x="6278673" y="4517009"/>
                </a:cubicBezTo>
                <a:cubicBezTo>
                  <a:pt x="6277898" y="4519074"/>
                  <a:pt x="6277124" y="4521036"/>
                  <a:pt x="6279138" y="4521655"/>
                </a:cubicBezTo>
                <a:cubicBezTo>
                  <a:pt x="6276505" y="4523101"/>
                  <a:pt x="6269069" y="4517112"/>
                  <a:pt x="6266281" y="4514737"/>
                </a:cubicBezTo>
                <a:cubicBezTo>
                  <a:pt x="6264577" y="4515666"/>
                  <a:pt x="6254664" y="4514943"/>
                  <a:pt x="6259001" y="4519280"/>
                </a:cubicBezTo>
                <a:cubicBezTo>
                  <a:pt x="6252960" y="4517422"/>
                  <a:pt x="6247849" y="4515770"/>
                  <a:pt x="6241653" y="4514634"/>
                </a:cubicBezTo>
                <a:lnTo>
                  <a:pt x="6234372" y="4512775"/>
                </a:lnTo>
                <a:lnTo>
                  <a:pt x="6233908" y="4514427"/>
                </a:lnTo>
                <a:cubicBezTo>
                  <a:pt x="6232049" y="4514118"/>
                  <a:pt x="6230345" y="4514634"/>
                  <a:pt x="6228486" y="4514324"/>
                </a:cubicBezTo>
                <a:lnTo>
                  <a:pt x="6226783" y="4510710"/>
                </a:lnTo>
                <a:lnTo>
                  <a:pt x="6223685" y="4509884"/>
                </a:lnTo>
                <a:cubicBezTo>
                  <a:pt x="6224149" y="4508542"/>
                  <a:pt x="6224924" y="4507715"/>
                  <a:pt x="6225698" y="4507096"/>
                </a:cubicBezTo>
                <a:lnTo>
                  <a:pt x="6226938" y="4506580"/>
                </a:lnTo>
                <a:lnTo>
                  <a:pt x="6227712" y="4505031"/>
                </a:lnTo>
                <a:lnTo>
                  <a:pt x="6229106" y="4505134"/>
                </a:lnTo>
                <a:lnTo>
                  <a:pt x="6229881" y="4504515"/>
                </a:lnTo>
                <a:cubicBezTo>
                  <a:pt x="6230190" y="4503792"/>
                  <a:pt x="6230036" y="4502759"/>
                  <a:pt x="6229571" y="4501107"/>
                </a:cubicBezTo>
                <a:cubicBezTo>
                  <a:pt x="6235457" y="4502966"/>
                  <a:pt x="6240259" y="4505960"/>
                  <a:pt x="6245525" y="4507612"/>
                </a:cubicBezTo>
                <a:cubicBezTo>
                  <a:pt x="6250172" y="4508955"/>
                  <a:pt x="6254974" y="4509677"/>
                  <a:pt x="6260550" y="4506167"/>
                </a:cubicBezTo>
                <a:cubicBezTo>
                  <a:pt x="6262564" y="4506786"/>
                  <a:pt x="6261170" y="4508645"/>
                  <a:pt x="6261170" y="4510813"/>
                </a:cubicBezTo>
                <a:cubicBezTo>
                  <a:pt x="6262718" y="4510607"/>
                  <a:pt x="6262873" y="4507715"/>
                  <a:pt x="6264887" y="4508232"/>
                </a:cubicBezTo>
                <a:cubicBezTo>
                  <a:pt x="6263338" y="4506270"/>
                  <a:pt x="6258537" y="4503379"/>
                  <a:pt x="6254199" y="4501210"/>
                </a:cubicBezTo>
                <a:cubicBezTo>
                  <a:pt x="6249707" y="4499868"/>
                  <a:pt x="6244750" y="4499042"/>
                  <a:pt x="6242117" y="4502759"/>
                </a:cubicBezTo>
                <a:cubicBezTo>
                  <a:pt x="6240414" y="4501107"/>
                  <a:pt x="6238090" y="4499971"/>
                  <a:pt x="6235922" y="4498939"/>
                </a:cubicBezTo>
                <a:lnTo>
                  <a:pt x="6233133" y="4497183"/>
                </a:lnTo>
                <a:lnTo>
                  <a:pt x="6232514" y="4497700"/>
                </a:lnTo>
                <a:lnTo>
                  <a:pt x="6232514" y="4496770"/>
                </a:lnTo>
                <a:lnTo>
                  <a:pt x="6230190" y="4495325"/>
                </a:lnTo>
                <a:cubicBezTo>
                  <a:pt x="6230965" y="4493673"/>
                  <a:pt x="6231584" y="4492124"/>
                  <a:pt x="6232204" y="4490885"/>
                </a:cubicBezTo>
                <a:lnTo>
                  <a:pt x="6229726" y="4485515"/>
                </a:lnTo>
                <a:lnTo>
                  <a:pt x="6228177" y="4482934"/>
                </a:lnTo>
                <a:lnTo>
                  <a:pt x="6226163" y="4482005"/>
                </a:lnTo>
                <a:cubicBezTo>
                  <a:pt x="6219967" y="4480869"/>
                  <a:pt x="6213926" y="4479733"/>
                  <a:pt x="6208815" y="4477462"/>
                </a:cubicBezTo>
                <a:cubicBezTo>
                  <a:pt x="6207421" y="4475500"/>
                  <a:pt x="6205097" y="4473951"/>
                  <a:pt x="6202929" y="4471782"/>
                </a:cubicBezTo>
                <a:cubicBezTo>
                  <a:pt x="6201844" y="4470750"/>
                  <a:pt x="6199986" y="4469408"/>
                  <a:pt x="6198747" y="4468995"/>
                </a:cubicBezTo>
                <a:cubicBezTo>
                  <a:pt x="6197662" y="4467962"/>
                  <a:pt x="6195958" y="4466620"/>
                  <a:pt x="6194874" y="4465587"/>
                </a:cubicBezTo>
                <a:lnTo>
                  <a:pt x="6186974" y="4460424"/>
                </a:lnTo>
                <a:lnTo>
                  <a:pt x="6186510" y="4460424"/>
                </a:lnTo>
                <a:cubicBezTo>
                  <a:pt x="6184031" y="4460114"/>
                  <a:pt x="6181243" y="4459082"/>
                  <a:pt x="6178455" y="4457120"/>
                </a:cubicBezTo>
                <a:lnTo>
                  <a:pt x="6174737" y="4452370"/>
                </a:lnTo>
                <a:lnTo>
                  <a:pt x="6161571" y="4443284"/>
                </a:lnTo>
                <a:lnTo>
                  <a:pt x="6160022" y="4447311"/>
                </a:lnTo>
                <a:cubicBezTo>
                  <a:pt x="6158938" y="4449996"/>
                  <a:pt x="6157234" y="4452577"/>
                  <a:pt x="6154911" y="4454126"/>
                </a:cubicBezTo>
                <a:lnTo>
                  <a:pt x="6153826" y="4454229"/>
                </a:lnTo>
                <a:lnTo>
                  <a:pt x="6153052" y="4455262"/>
                </a:lnTo>
                <a:lnTo>
                  <a:pt x="6153207" y="4455468"/>
                </a:lnTo>
                <a:cubicBezTo>
                  <a:pt x="6152278" y="4455468"/>
                  <a:pt x="6152433" y="4456294"/>
                  <a:pt x="6153362" y="4456294"/>
                </a:cubicBezTo>
                <a:cubicBezTo>
                  <a:pt x="6152587" y="4457636"/>
                  <a:pt x="6152123" y="4458772"/>
                  <a:pt x="6151658" y="4459288"/>
                </a:cubicBezTo>
                <a:cubicBezTo>
                  <a:pt x="6151038" y="4459908"/>
                  <a:pt x="6150419" y="4459908"/>
                  <a:pt x="6149490" y="4459082"/>
                </a:cubicBezTo>
                <a:cubicBezTo>
                  <a:pt x="6147631" y="4458359"/>
                  <a:pt x="6148250" y="4456604"/>
                  <a:pt x="6146392" y="4454952"/>
                </a:cubicBezTo>
                <a:cubicBezTo>
                  <a:pt x="6142674" y="4452474"/>
                  <a:pt x="6138492" y="4459805"/>
                  <a:pt x="6131057" y="4454952"/>
                </a:cubicBezTo>
                <a:cubicBezTo>
                  <a:pt x="6132606" y="4453197"/>
                  <a:pt x="6128579" y="4448963"/>
                  <a:pt x="6130747" y="4446175"/>
                </a:cubicBezTo>
                <a:cubicBezTo>
                  <a:pt x="6136168" y="4437088"/>
                  <a:pt x="6138957" y="4438740"/>
                  <a:pt x="6145307" y="4441012"/>
                </a:cubicBezTo>
                <a:cubicBezTo>
                  <a:pt x="6144378" y="4441012"/>
                  <a:pt x="6145307" y="4441838"/>
                  <a:pt x="6145307" y="4441838"/>
                </a:cubicBezTo>
                <a:cubicBezTo>
                  <a:pt x="6147321" y="4443490"/>
                  <a:pt x="6147321" y="4438224"/>
                  <a:pt x="6150109" y="4439773"/>
                </a:cubicBezTo>
                <a:lnTo>
                  <a:pt x="6150728" y="4440599"/>
                </a:lnTo>
                <a:lnTo>
                  <a:pt x="6151038" y="4440599"/>
                </a:lnTo>
                <a:lnTo>
                  <a:pt x="6153826" y="4437605"/>
                </a:lnTo>
                <a:lnTo>
                  <a:pt x="6153671" y="4437605"/>
                </a:lnTo>
                <a:lnTo>
                  <a:pt x="6153362" y="4437605"/>
                </a:lnTo>
                <a:cubicBezTo>
                  <a:pt x="6150109" y="4437088"/>
                  <a:pt x="6148560" y="4435023"/>
                  <a:pt x="6147786" y="4433268"/>
                </a:cubicBezTo>
                <a:lnTo>
                  <a:pt x="6147166" y="4431409"/>
                </a:lnTo>
                <a:lnTo>
                  <a:pt x="6145772" y="4430170"/>
                </a:lnTo>
                <a:lnTo>
                  <a:pt x="6146082" y="4430996"/>
                </a:lnTo>
                <a:cubicBezTo>
                  <a:pt x="6146236" y="4431719"/>
                  <a:pt x="6146547" y="4432029"/>
                  <a:pt x="6146547" y="4432029"/>
                </a:cubicBezTo>
                <a:cubicBezTo>
                  <a:pt x="6145927" y="4433887"/>
                  <a:pt x="6144997" y="4433887"/>
                  <a:pt x="6145927" y="4433887"/>
                </a:cubicBezTo>
                <a:cubicBezTo>
                  <a:pt x="6144533" y="4435746"/>
                  <a:pt x="6143139" y="4438328"/>
                  <a:pt x="6141435" y="4437605"/>
                </a:cubicBezTo>
                <a:cubicBezTo>
                  <a:pt x="6139266" y="4436056"/>
                  <a:pt x="6138647" y="4433784"/>
                  <a:pt x="6138802" y="4431306"/>
                </a:cubicBezTo>
                <a:lnTo>
                  <a:pt x="6140196" y="4425834"/>
                </a:lnTo>
                <a:lnTo>
                  <a:pt x="6137872" y="4426763"/>
                </a:lnTo>
                <a:cubicBezTo>
                  <a:pt x="6136943" y="4426453"/>
                  <a:pt x="6136013" y="4425524"/>
                  <a:pt x="6134929" y="4424491"/>
                </a:cubicBezTo>
                <a:cubicBezTo>
                  <a:pt x="6133845" y="4423355"/>
                  <a:pt x="6132451" y="4422942"/>
                  <a:pt x="6130747" y="4421703"/>
                </a:cubicBezTo>
                <a:cubicBezTo>
                  <a:pt x="6128733" y="4421084"/>
                  <a:pt x="6126720" y="4420464"/>
                  <a:pt x="6123932" y="4420361"/>
                </a:cubicBezTo>
                <a:cubicBezTo>
                  <a:pt x="6125636" y="4419329"/>
                  <a:pt x="6127649" y="4420051"/>
                  <a:pt x="6128733" y="4418812"/>
                </a:cubicBezTo>
                <a:cubicBezTo>
                  <a:pt x="6120989" y="4416437"/>
                  <a:pt x="6113554" y="4412617"/>
                  <a:pt x="6106118" y="4408796"/>
                </a:cubicBezTo>
                <a:cubicBezTo>
                  <a:pt x="6098838" y="4404356"/>
                  <a:pt x="6092178" y="4400742"/>
                  <a:pt x="6083658" y="4398058"/>
                </a:cubicBezTo>
                <a:cubicBezTo>
                  <a:pt x="6080251" y="4401568"/>
                  <a:pt x="6092488" y="4403840"/>
                  <a:pt x="6087066" y="4407454"/>
                </a:cubicBezTo>
                <a:cubicBezTo>
                  <a:pt x="6083503" y="4404872"/>
                  <a:pt x="6080715" y="4402394"/>
                  <a:pt x="6078547" y="4400226"/>
                </a:cubicBezTo>
                <a:lnTo>
                  <a:pt x="6073125" y="4394031"/>
                </a:lnTo>
                <a:lnTo>
                  <a:pt x="6071267" y="4395476"/>
                </a:lnTo>
                <a:cubicBezTo>
                  <a:pt x="6070182" y="4395993"/>
                  <a:pt x="6068943" y="4396302"/>
                  <a:pt x="6068014" y="4395889"/>
                </a:cubicBezTo>
                <a:cubicBezTo>
                  <a:pt x="6068014" y="4395889"/>
                  <a:pt x="6067859" y="4395786"/>
                  <a:pt x="6066930" y="4395373"/>
                </a:cubicBezTo>
                <a:cubicBezTo>
                  <a:pt x="6068014" y="4394857"/>
                  <a:pt x="6069408" y="4394340"/>
                  <a:pt x="6070802" y="4393927"/>
                </a:cubicBezTo>
                <a:lnTo>
                  <a:pt x="6072661" y="4393514"/>
                </a:lnTo>
                <a:lnTo>
                  <a:pt x="6072351" y="4393101"/>
                </a:lnTo>
                <a:cubicBezTo>
                  <a:pt x="6070028" y="4391243"/>
                  <a:pt x="6067704" y="4389591"/>
                  <a:pt x="6065071" y="4388248"/>
                </a:cubicBezTo>
                <a:lnTo>
                  <a:pt x="6061044" y="4386803"/>
                </a:lnTo>
                <a:lnTo>
                  <a:pt x="6062592" y="4388455"/>
                </a:lnTo>
                <a:cubicBezTo>
                  <a:pt x="6062438" y="4390416"/>
                  <a:pt x="6058875" y="4391346"/>
                  <a:pt x="6057171" y="4392482"/>
                </a:cubicBezTo>
                <a:cubicBezTo>
                  <a:pt x="6057016" y="4391243"/>
                  <a:pt x="6056861" y="4390004"/>
                  <a:pt x="6056397" y="4390830"/>
                </a:cubicBezTo>
                <a:cubicBezTo>
                  <a:pt x="6056242" y="4389591"/>
                  <a:pt x="6056397" y="4388661"/>
                  <a:pt x="6056707" y="4387835"/>
                </a:cubicBezTo>
                <a:lnTo>
                  <a:pt x="6058565" y="4385976"/>
                </a:lnTo>
                <a:lnTo>
                  <a:pt x="6056087" y="4385150"/>
                </a:lnTo>
                <a:cubicBezTo>
                  <a:pt x="6057016" y="4383499"/>
                  <a:pt x="6056861" y="4381949"/>
                  <a:pt x="6056397" y="4380401"/>
                </a:cubicBezTo>
                <a:lnTo>
                  <a:pt x="6055003" y="4375754"/>
                </a:lnTo>
                <a:lnTo>
                  <a:pt x="6054848" y="4375754"/>
                </a:lnTo>
                <a:lnTo>
                  <a:pt x="6053144" y="4375858"/>
                </a:lnTo>
                <a:cubicBezTo>
                  <a:pt x="6051130" y="4376787"/>
                  <a:pt x="6048962" y="4379575"/>
                  <a:pt x="6047103" y="4375547"/>
                </a:cubicBezTo>
                <a:cubicBezTo>
                  <a:pt x="6048342" y="4373173"/>
                  <a:pt x="6049736" y="4374515"/>
                  <a:pt x="6051285" y="4374412"/>
                </a:cubicBezTo>
                <a:lnTo>
                  <a:pt x="6052369" y="4373792"/>
                </a:lnTo>
                <a:lnTo>
                  <a:pt x="6052214" y="4373379"/>
                </a:lnTo>
                <a:lnTo>
                  <a:pt x="6052524" y="4373276"/>
                </a:lnTo>
                <a:lnTo>
                  <a:pt x="6046019" y="4368733"/>
                </a:lnTo>
                <a:cubicBezTo>
                  <a:pt x="6043850" y="4366874"/>
                  <a:pt x="6041836" y="4364499"/>
                  <a:pt x="6039048" y="4360989"/>
                </a:cubicBezTo>
                <a:cubicBezTo>
                  <a:pt x="6040288" y="4365842"/>
                  <a:pt x="6036260" y="4364706"/>
                  <a:pt x="6034711" y="4369456"/>
                </a:cubicBezTo>
                <a:cubicBezTo>
                  <a:pt x="6037500" y="4373999"/>
                  <a:pt x="6040907" y="4368320"/>
                  <a:pt x="6043850" y="4374515"/>
                </a:cubicBezTo>
                <a:lnTo>
                  <a:pt x="6042611" y="4374412"/>
                </a:lnTo>
                <a:lnTo>
                  <a:pt x="6044935" y="4376167"/>
                </a:lnTo>
                <a:cubicBezTo>
                  <a:pt x="6046638" y="4377923"/>
                  <a:pt x="6048187" y="4379988"/>
                  <a:pt x="6048652" y="4381330"/>
                </a:cubicBezTo>
                <a:cubicBezTo>
                  <a:pt x="6047568" y="4383808"/>
                  <a:pt x="6046019" y="4384944"/>
                  <a:pt x="6044160" y="4385150"/>
                </a:cubicBezTo>
                <a:cubicBezTo>
                  <a:pt x="6040288" y="4385460"/>
                  <a:pt x="6035950" y="4380917"/>
                  <a:pt x="6036725" y="4376787"/>
                </a:cubicBezTo>
                <a:lnTo>
                  <a:pt x="6038584" y="4373896"/>
                </a:lnTo>
                <a:lnTo>
                  <a:pt x="6035176" y="4372347"/>
                </a:lnTo>
                <a:cubicBezTo>
                  <a:pt x="6032233" y="4370798"/>
                  <a:pt x="6029290" y="4369249"/>
                  <a:pt x="6026347" y="4370592"/>
                </a:cubicBezTo>
                <a:cubicBezTo>
                  <a:pt x="6024333" y="4369972"/>
                  <a:pt x="6030994" y="4365325"/>
                  <a:pt x="6032698" y="4368836"/>
                </a:cubicBezTo>
                <a:cubicBezTo>
                  <a:pt x="6034246" y="4367494"/>
                  <a:pt x="6035176" y="4365842"/>
                  <a:pt x="6035486" y="4364086"/>
                </a:cubicBezTo>
                <a:lnTo>
                  <a:pt x="6034866" y="4360679"/>
                </a:lnTo>
                <a:lnTo>
                  <a:pt x="6031303" y="4360989"/>
                </a:lnTo>
                <a:cubicBezTo>
                  <a:pt x="6029910" y="4360782"/>
                  <a:pt x="6028825" y="4360059"/>
                  <a:pt x="6027896" y="4359027"/>
                </a:cubicBezTo>
                <a:lnTo>
                  <a:pt x="6027431" y="4357581"/>
                </a:lnTo>
                <a:lnTo>
                  <a:pt x="6022629" y="4357581"/>
                </a:lnTo>
                <a:cubicBezTo>
                  <a:pt x="6020771" y="4357788"/>
                  <a:pt x="6019067" y="4357788"/>
                  <a:pt x="6017363" y="4356548"/>
                </a:cubicBezTo>
                <a:cubicBezTo>
                  <a:pt x="6019377" y="4354897"/>
                  <a:pt x="6020461" y="4353244"/>
                  <a:pt x="6021080" y="4351179"/>
                </a:cubicBezTo>
                <a:lnTo>
                  <a:pt x="6022165" y="4344880"/>
                </a:lnTo>
                <a:lnTo>
                  <a:pt x="6014575" y="4344674"/>
                </a:lnTo>
                <a:close/>
                <a:moveTo>
                  <a:pt x="1333773" y="4343211"/>
                </a:moveTo>
                <a:cubicBezTo>
                  <a:pt x="1337955" y="4347341"/>
                  <a:pt x="1340434" y="4358493"/>
                  <a:pt x="1332379" y="4361384"/>
                </a:cubicBezTo>
                <a:cubicBezTo>
                  <a:pt x="1332689" y="4355601"/>
                  <a:pt x="1331605" y="4349096"/>
                  <a:pt x="1333773" y="4343211"/>
                </a:cubicBezTo>
                <a:close/>
                <a:moveTo>
                  <a:pt x="5528820" y="4343125"/>
                </a:moveTo>
                <a:cubicBezTo>
                  <a:pt x="5529904" y="4344777"/>
                  <a:pt x="5529285" y="4346533"/>
                  <a:pt x="5528665" y="4348288"/>
                </a:cubicBezTo>
                <a:cubicBezTo>
                  <a:pt x="5528046" y="4349631"/>
                  <a:pt x="5527271" y="4350146"/>
                  <a:pt x="5526342" y="4350043"/>
                </a:cubicBezTo>
                <a:cubicBezTo>
                  <a:pt x="5525567" y="4350043"/>
                  <a:pt x="5524638" y="4349424"/>
                  <a:pt x="5523554" y="4348598"/>
                </a:cubicBezTo>
                <a:cubicBezTo>
                  <a:pt x="5521695" y="4346946"/>
                  <a:pt x="5522314" y="4345191"/>
                  <a:pt x="5522314" y="4345191"/>
                </a:cubicBezTo>
                <a:cubicBezTo>
                  <a:pt x="5523554" y="4342506"/>
                  <a:pt x="5526032" y="4341576"/>
                  <a:pt x="5528820" y="4343125"/>
                </a:cubicBezTo>
                <a:close/>
                <a:moveTo>
                  <a:pt x="5060104" y="4342093"/>
                </a:moveTo>
                <a:cubicBezTo>
                  <a:pt x="5064751" y="4341679"/>
                  <a:pt x="5064751" y="4344571"/>
                  <a:pt x="5064905" y="4347256"/>
                </a:cubicBezTo>
                <a:cubicBezTo>
                  <a:pt x="5062737" y="4346946"/>
                  <a:pt x="5061962" y="4349114"/>
                  <a:pt x="5060568" y="4349217"/>
                </a:cubicBezTo>
                <a:cubicBezTo>
                  <a:pt x="5060104" y="4349217"/>
                  <a:pt x="5059639" y="4349011"/>
                  <a:pt x="5058865" y="4348391"/>
                </a:cubicBezTo>
                <a:cubicBezTo>
                  <a:pt x="5058245" y="4346842"/>
                  <a:pt x="5058400" y="4344880"/>
                  <a:pt x="5060104" y="4342093"/>
                </a:cubicBezTo>
                <a:close/>
                <a:moveTo>
                  <a:pt x="1399139" y="4341868"/>
                </a:moveTo>
                <a:cubicBezTo>
                  <a:pt x="1399294" y="4344553"/>
                  <a:pt x="1396196" y="4347444"/>
                  <a:pt x="1393253" y="4348270"/>
                </a:cubicBezTo>
                <a:cubicBezTo>
                  <a:pt x="1392170" y="4348477"/>
                  <a:pt x="1391239" y="4348580"/>
                  <a:pt x="1390465" y="4348270"/>
                </a:cubicBezTo>
                <a:cubicBezTo>
                  <a:pt x="1395267" y="4345069"/>
                  <a:pt x="1395112" y="4340629"/>
                  <a:pt x="1399139" y="4341868"/>
                </a:cubicBezTo>
                <a:close/>
                <a:moveTo>
                  <a:pt x="5796945" y="4341576"/>
                </a:moveTo>
                <a:cubicBezTo>
                  <a:pt x="5798494" y="4343332"/>
                  <a:pt x="5802057" y="4340750"/>
                  <a:pt x="5804380" y="4343435"/>
                </a:cubicBezTo>
                <a:cubicBezTo>
                  <a:pt x="5804226" y="4345191"/>
                  <a:pt x="5804071" y="4346016"/>
                  <a:pt x="5802986" y="4347772"/>
                </a:cubicBezTo>
                <a:cubicBezTo>
                  <a:pt x="5795706" y="4353864"/>
                  <a:pt x="5791834" y="4351179"/>
                  <a:pt x="5790905" y="4352108"/>
                </a:cubicBezTo>
                <a:cubicBezTo>
                  <a:pt x="5788581" y="4349321"/>
                  <a:pt x="5790440" y="4347669"/>
                  <a:pt x="5792453" y="4344158"/>
                </a:cubicBezTo>
                <a:cubicBezTo>
                  <a:pt x="5793228" y="4344984"/>
                  <a:pt x="5796016" y="4342402"/>
                  <a:pt x="5796945" y="4341576"/>
                </a:cubicBezTo>
                <a:close/>
                <a:moveTo>
                  <a:pt x="1083926" y="4340113"/>
                </a:moveTo>
                <a:cubicBezTo>
                  <a:pt x="1088572" y="4341559"/>
                  <a:pt x="1090586" y="4345689"/>
                  <a:pt x="1091360" y="4350335"/>
                </a:cubicBezTo>
                <a:lnTo>
                  <a:pt x="1091360" y="4353330"/>
                </a:lnTo>
                <a:lnTo>
                  <a:pt x="1093994" y="4355085"/>
                </a:lnTo>
                <a:cubicBezTo>
                  <a:pt x="1097866" y="4359835"/>
                  <a:pt x="1098641" y="4368715"/>
                  <a:pt x="1094149" y="4369644"/>
                </a:cubicBezTo>
                <a:cubicBezTo>
                  <a:pt x="1093219" y="4369747"/>
                  <a:pt x="1092135" y="4369644"/>
                  <a:pt x="1090896" y="4369128"/>
                </a:cubicBezTo>
                <a:lnTo>
                  <a:pt x="1090586" y="4368818"/>
                </a:lnTo>
                <a:lnTo>
                  <a:pt x="1089811" y="4369128"/>
                </a:lnTo>
                <a:cubicBezTo>
                  <a:pt x="1087953" y="4369954"/>
                  <a:pt x="1085939" y="4370677"/>
                  <a:pt x="1083461" y="4370470"/>
                </a:cubicBezTo>
                <a:cubicBezTo>
                  <a:pt x="1083926" y="4369231"/>
                  <a:pt x="1085629" y="4366546"/>
                  <a:pt x="1088572" y="4367063"/>
                </a:cubicBezTo>
                <a:lnTo>
                  <a:pt x="1089037" y="4366960"/>
                </a:lnTo>
                <a:lnTo>
                  <a:pt x="1087488" y="4365204"/>
                </a:lnTo>
                <a:cubicBezTo>
                  <a:pt x="1085629" y="4362519"/>
                  <a:pt x="1084545" y="4359835"/>
                  <a:pt x="1085010" y="4357047"/>
                </a:cubicBezTo>
                <a:lnTo>
                  <a:pt x="1085939" y="4354878"/>
                </a:lnTo>
                <a:lnTo>
                  <a:pt x="1085165" y="4353020"/>
                </a:lnTo>
                <a:cubicBezTo>
                  <a:pt x="1083771" y="4349303"/>
                  <a:pt x="1083151" y="4345276"/>
                  <a:pt x="1083926" y="4340113"/>
                </a:cubicBezTo>
                <a:close/>
                <a:moveTo>
                  <a:pt x="1166640" y="4339494"/>
                </a:moveTo>
                <a:cubicBezTo>
                  <a:pt x="1166175" y="4340629"/>
                  <a:pt x="1167260" y="4341042"/>
                  <a:pt x="1168344" y="4341455"/>
                </a:cubicBezTo>
                <a:cubicBezTo>
                  <a:pt x="1169893" y="4346928"/>
                  <a:pt x="1163077" y="4353536"/>
                  <a:pt x="1158275" y="4354362"/>
                </a:cubicBezTo>
                <a:cubicBezTo>
                  <a:pt x="1156572" y="4354569"/>
                  <a:pt x="1155177" y="4354259"/>
                  <a:pt x="1154248" y="4353020"/>
                </a:cubicBezTo>
                <a:cubicBezTo>
                  <a:pt x="1153784" y="4352297"/>
                  <a:pt x="1153474" y="4351265"/>
                  <a:pt x="1153319" y="4349922"/>
                </a:cubicBezTo>
                <a:cubicBezTo>
                  <a:pt x="1156107" y="4342901"/>
                  <a:pt x="1159824" y="4338254"/>
                  <a:pt x="1166640" y="4339494"/>
                </a:cubicBezTo>
                <a:close/>
                <a:moveTo>
                  <a:pt x="5509148" y="4339305"/>
                </a:moveTo>
                <a:cubicBezTo>
                  <a:pt x="5509148" y="4339305"/>
                  <a:pt x="5509148" y="4339305"/>
                  <a:pt x="5509922" y="4341060"/>
                </a:cubicBezTo>
                <a:cubicBezTo>
                  <a:pt x="5509768" y="4341989"/>
                  <a:pt x="5509613" y="4342919"/>
                  <a:pt x="5508683" y="4343848"/>
                </a:cubicBezTo>
                <a:cubicBezTo>
                  <a:pt x="5507754" y="4344674"/>
                  <a:pt x="5506050" y="4344674"/>
                  <a:pt x="5505121" y="4344674"/>
                </a:cubicBezTo>
                <a:cubicBezTo>
                  <a:pt x="5505276" y="4343745"/>
                  <a:pt x="5504346" y="4343745"/>
                  <a:pt x="5504501" y="4342815"/>
                </a:cubicBezTo>
                <a:cubicBezTo>
                  <a:pt x="5503882" y="4341060"/>
                  <a:pt x="5503882" y="4341060"/>
                  <a:pt x="5504811" y="4340131"/>
                </a:cubicBezTo>
                <a:cubicBezTo>
                  <a:pt x="5505740" y="4339202"/>
                  <a:pt x="5508219" y="4340131"/>
                  <a:pt x="5509148" y="4339305"/>
                </a:cubicBezTo>
                <a:close/>
                <a:moveTo>
                  <a:pt x="5908006" y="4339098"/>
                </a:moveTo>
                <a:cubicBezTo>
                  <a:pt x="5908471" y="4340028"/>
                  <a:pt x="5908935" y="4341267"/>
                  <a:pt x="5909090" y="4342609"/>
                </a:cubicBezTo>
                <a:lnTo>
                  <a:pt x="5908316" y="4344777"/>
                </a:lnTo>
                <a:lnTo>
                  <a:pt x="5909555" y="4344984"/>
                </a:lnTo>
                <a:cubicBezTo>
                  <a:pt x="5912188" y="4346842"/>
                  <a:pt x="5914047" y="4351076"/>
                  <a:pt x="5911878" y="4355000"/>
                </a:cubicBezTo>
                <a:cubicBezTo>
                  <a:pt x="5910174" y="4355413"/>
                  <a:pt x="5908626" y="4355309"/>
                  <a:pt x="5907231" y="4355206"/>
                </a:cubicBezTo>
                <a:cubicBezTo>
                  <a:pt x="5905992" y="4355103"/>
                  <a:pt x="5904908" y="4354897"/>
                  <a:pt x="5903979" y="4354793"/>
                </a:cubicBezTo>
                <a:cubicBezTo>
                  <a:pt x="5903204" y="4352315"/>
                  <a:pt x="5902120" y="4350663"/>
                  <a:pt x="5901500" y="4348288"/>
                </a:cubicBezTo>
                <a:lnTo>
                  <a:pt x="5901655" y="4347978"/>
                </a:lnTo>
                <a:lnTo>
                  <a:pt x="5901500" y="4347875"/>
                </a:lnTo>
                <a:cubicBezTo>
                  <a:pt x="5900416" y="4346739"/>
                  <a:pt x="5899951" y="4345810"/>
                  <a:pt x="5900106" y="4344880"/>
                </a:cubicBezTo>
                <a:cubicBezTo>
                  <a:pt x="5900261" y="4343848"/>
                  <a:pt x="5901036" y="4342919"/>
                  <a:pt x="5901965" y="4341679"/>
                </a:cubicBezTo>
                <a:cubicBezTo>
                  <a:pt x="5903824" y="4339305"/>
                  <a:pt x="5906302" y="4340647"/>
                  <a:pt x="5908006" y="4339098"/>
                </a:cubicBezTo>
                <a:close/>
                <a:moveTo>
                  <a:pt x="4799878" y="4338479"/>
                </a:moveTo>
                <a:cubicBezTo>
                  <a:pt x="4801272" y="4340337"/>
                  <a:pt x="4803596" y="4342919"/>
                  <a:pt x="4801582" y="4345603"/>
                </a:cubicBezTo>
                <a:cubicBezTo>
                  <a:pt x="4800807" y="4345500"/>
                  <a:pt x="4800652" y="4346430"/>
                  <a:pt x="4799878" y="4346430"/>
                </a:cubicBezTo>
                <a:cubicBezTo>
                  <a:pt x="4799878" y="4346430"/>
                  <a:pt x="4798949" y="4346842"/>
                  <a:pt x="4797709" y="4346946"/>
                </a:cubicBezTo>
                <a:cubicBezTo>
                  <a:pt x="4796470" y="4347049"/>
                  <a:pt x="4794921" y="4346739"/>
                  <a:pt x="4793372" y="4345397"/>
                </a:cubicBezTo>
                <a:cubicBezTo>
                  <a:pt x="4793063" y="4344984"/>
                  <a:pt x="4792443" y="4344055"/>
                  <a:pt x="4792133" y="4343332"/>
                </a:cubicBezTo>
                <a:cubicBezTo>
                  <a:pt x="4791823" y="4342506"/>
                  <a:pt x="4791668" y="4341886"/>
                  <a:pt x="4792133" y="4341886"/>
                </a:cubicBezTo>
                <a:cubicBezTo>
                  <a:pt x="4792907" y="4341060"/>
                  <a:pt x="4792133" y="4341060"/>
                  <a:pt x="4792133" y="4340131"/>
                </a:cubicBezTo>
                <a:cubicBezTo>
                  <a:pt x="4794921" y="4337549"/>
                  <a:pt x="4797554" y="4336723"/>
                  <a:pt x="4799878" y="4338479"/>
                </a:cubicBezTo>
                <a:close/>
                <a:moveTo>
                  <a:pt x="5746335" y="4338418"/>
                </a:moveTo>
                <a:cubicBezTo>
                  <a:pt x="5748831" y="4337685"/>
                  <a:pt x="5751173" y="4337808"/>
                  <a:pt x="5752955" y="4339202"/>
                </a:cubicBezTo>
                <a:lnTo>
                  <a:pt x="5749857" y="4342093"/>
                </a:lnTo>
                <a:lnTo>
                  <a:pt x="5750322" y="4341989"/>
                </a:lnTo>
                <a:cubicBezTo>
                  <a:pt x="5754039" y="4346326"/>
                  <a:pt x="5752645" y="4349527"/>
                  <a:pt x="5747998" y="4351902"/>
                </a:cubicBezTo>
                <a:cubicBezTo>
                  <a:pt x="5746449" y="4350663"/>
                  <a:pt x="5744900" y="4350353"/>
                  <a:pt x="5742422" y="4348907"/>
                </a:cubicBezTo>
                <a:lnTo>
                  <a:pt x="5742732" y="4348495"/>
                </a:lnTo>
                <a:lnTo>
                  <a:pt x="5737620" y="4353038"/>
                </a:lnTo>
                <a:cubicBezTo>
                  <a:pt x="5735606" y="4354483"/>
                  <a:pt x="5733438" y="4355723"/>
                  <a:pt x="5730804" y="4356858"/>
                </a:cubicBezTo>
                <a:cubicBezTo>
                  <a:pt x="5729991" y="4350508"/>
                  <a:pt x="5738849" y="4340615"/>
                  <a:pt x="5746335" y="4338418"/>
                </a:cubicBezTo>
                <a:close/>
                <a:moveTo>
                  <a:pt x="5954475" y="4338169"/>
                </a:moveTo>
                <a:cubicBezTo>
                  <a:pt x="5956024" y="4340234"/>
                  <a:pt x="5959122" y="4342402"/>
                  <a:pt x="5958038" y="4345707"/>
                </a:cubicBezTo>
                <a:cubicBezTo>
                  <a:pt x="5956953" y="4344261"/>
                  <a:pt x="5954475" y="4341576"/>
                  <a:pt x="5954010" y="4339718"/>
                </a:cubicBezTo>
                <a:cubicBezTo>
                  <a:pt x="5953855" y="4339098"/>
                  <a:pt x="5954010" y="4338582"/>
                  <a:pt x="5954475" y="4338169"/>
                </a:cubicBezTo>
                <a:close/>
                <a:moveTo>
                  <a:pt x="1296405" y="4337183"/>
                </a:moveTo>
                <a:cubicBezTo>
                  <a:pt x="1297799" y="4338487"/>
                  <a:pt x="1298767" y="4340681"/>
                  <a:pt x="1298612" y="4341972"/>
                </a:cubicBezTo>
                <a:cubicBezTo>
                  <a:pt x="1297837" y="4342901"/>
                  <a:pt x="1296908" y="4343314"/>
                  <a:pt x="1296133" y="4343314"/>
                </a:cubicBezTo>
                <a:cubicBezTo>
                  <a:pt x="1293655" y="4343211"/>
                  <a:pt x="1291332" y="4339700"/>
                  <a:pt x="1291642" y="4337738"/>
                </a:cubicBezTo>
                <a:cubicBezTo>
                  <a:pt x="1293191" y="4335467"/>
                  <a:pt x="1295010" y="4335879"/>
                  <a:pt x="1296405" y="4337183"/>
                </a:cubicBezTo>
                <a:close/>
                <a:moveTo>
                  <a:pt x="1465745" y="4337118"/>
                </a:moveTo>
                <a:cubicBezTo>
                  <a:pt x="1466055" y="4337841"/>
                  <a:pt x="1465745" y="4337118"/>
                  <a:pt x="1465280" y="4338977"/>
                </a:cubicBezTo>
                <a:cubicBezTo>
                  <a:pt x="1464816" y="4338771"/>
                  <a:pt x="1464660" y="4338564"/>
                  <a:pt x="1464816" y="4338358"/>
                </a:cubicBezTo>
                <a:cubicBezTo>
                  <a:pt x="1464971" y="4338048"/>
                  <a:pt x="1465435" y="4337635"/>
                  <a:pt x="1465745" y="4337118"/>
                </a:cubicBezTo>
                <a:close/>
                <a:moveTo>
                  <a:pt x="5821574" y="4336413"/>
                </a:moveTo>
                <a:lnTo>
                  <a:pt x="5822503" y="4337963"/>
                </a:lnTo>
                <a:lnTo>
                  <a:pt x="5823278" y="4336413"/>
                </a:lnTo>
                <a:cubicBezTo>
                  <a:pt x="5834895" y="4350663"/>
                  <a:pt x="5827925" y="4365015"/>
                  <a:pt x="5821109" y="4379471"/>
                </a:cubicBezTo>
                <a:cubicBezTo>
                  <a:pt x="5810576" y="4373586"/>
                  <a:pt x="5812435" y="4359440"/>
                  <a:pt x="5817547" y="4347359"/>
                </a:cubicBezTo>
                <a:lnTo>
                  <a:pt x="5819560" y="4343332"/>
                </a:lnTo>
                <a:lnTo>
                  <a:pt x="5817392" y="4341989"/>
                </a:lnTo>
                <a:lnTo>
                  <a:pt x="5817392" y="4341679"/>
                </a:lnTo>
                <a:lnTo>
                  <a:pt x="5816927" y="4341679"/>
                </a:lnTo>
                <a:cubicBezTo>
                  <a:pt x="5816617" y="4341576"/>
                  <a:pt x="5816307" y="4341473"/>
                  <a:pt x="5815998" y="4341679"/>
                </a:cubicBezTo>
                <a:cubicBezTo>
                  <a:pt x="5815998" y="4341679"/>
                  <a:pt x="5815688" y="4340957"/>
                  <a:pt x="5815688" y="4340957"/>
                </a:cubicBezTo>
                <a:cubicBezTo>
                  <a:pt x="5815378" y="4341060"/>
                  <a:pt x="5815378" y="4341164"/>
                  <a:pt x="5815533" y="4340854"/>
                </a:cubicBezTo>
                <a:cubicBezTo>
                  <a:pt x="5815533" y="4340544"/>
                  <a:pt x="5815843" y="4340028"/>
                  <a:pt x="5815843" y="4338995"/>
                </a:cubicBezTo>
                <a:cubicBezTo>
                  <a:pt x="5816307" y="4337963"/>
                  <a:pt x="5815998" y="4337136"/>
                  <a:pt x="5817082" y="4337549"/>
                </a:cubicBezTo>
                <a:cubicBezTo>
                  <a:pt x="5817547" y="4337756"/>
                  <a:pt x="5817856" y="4337859"/>
                  <a:pt x="5818011" y="4338169"/>
                </a:cubicBezTo>
                <a:lnTo>
                  <a:pt x="5818321" y="4338685"/>
                </a:lnTo>
                <a:close/>
                <a:moveTo>
                  <a:pt x="664621" y="4336396"/>
                </a:moveTo>
                <a:cubicBezTo>
                  <a:pt x="665086" y="4337118"/>
                  <a:pt x="665706" y="4336706"/>
                  <a:pt x="665396" y="4337841"/>
                </a:cubicBezTo>
                <a:cubicBezTo>
                  <a:pt x="668493" y="4337944"/>
                  <a:pt x="674225" y="4343314"/>
                  <a:pt x="674999" y="4346721"/>
                </a:cubicBezTo>
                <a:cubicBezTo>
                  <a:pt x="665396" y="4345792"/>
                  <a:pt x="666945" y="4338874"/>
                  <a:pt x="661523" y="4338254"/>
                </a:cubicBezTo>
                <a:cubicBezTo>
                  <a:pt x="662762" y="4336602"/>
                  <a:pt x="662762" y="4336602"/>
                  <a:pt x="664621" y="4336396"/>
                </a:cubicBezTo>
                <a:close/>
                <a:moveTo>
                  <a:pt x="4926583" y="4336310"/>
                </a:moveTo>
                <a:cubicBezTo>
                  <a:pt x="4929681" y="4338995"/>
                  <a:pt x="4931540" y="4336413"/>
                  <a:pt x="4936187" y="4340854"/>
                </a:cubicBezTo>
                <a:cubicBezTo>
                  <a:pt x="4942383" y="4346120"/>
                  <a:pt x="4940059" y="4352212"/>
                  <a:pt x="4937271" y="4355619"/>
                </a:cubicBezTo>
                <a:cubicBezTo>
                  <a:pt x="4936651" y="4355000"/>
                  <a:pt x="4932779" y="4359646"/>
                  <a:pt x="4927822" y="4359336"/>
                </a:cubicBezTo>
                <a:cubicBezTo>
                  <a:pt x="4926273" y="4359233"/>
                  <a:pt x="4924569" y="4358613"/>
                  <a:pt x="4922865" y="4357065"/>
                </a:cubicBezTo>
                <a:cubicBezTo>
                  <a:pt x="4921936" y="4356239"/>
                  <a:pt x="4921007" y="4355206"/>
                  <a:pt x="4920232" y="4354174"/>
                </a:cubicBezTo>
                <a:cubicBezTo>
                  <a:pt x="4918219" y="4350869"/>
                  <a:pt x="4917754" y="4346636"/>
                  <a:pt x="4922711" y="4341473"/>
                </a:cubicBezTo>
                <a:cubicBezTo>
                  <a:pt x="4923795" y="4339718"/>
                  <a:pt x="4923640" y="4340647"/>
                  <a:pt x="4924569" y="4339718"/>
                </a:cubicBezTo>
                <a:cubicBezTo>
                  <a:pt x="4925499" y="4338892"/>
                  <a:pt x="4926583" y="4337240"/>
                  <a:pt x="4926583" y="4336310"/>
                </a:cubicBezTo>
                <a:close/>
                <a:moveTo>
                  <a:pt x="5421631" y="4334762"/>
                </a:moveTo>
                <a:cubicBezTo>
                  <a:pt x="5421167" y="4340750"/>
                  <a:pt x="5424575" y="4343745"/>
                  <a:pt x="5421787" y="4348185"/>
                </a:cubicBezTo>
                <a:cubicBezTo>
                  <a:pt x="5413267" y="4349217"/>
                  <a:pt x="5410324" y="4338685"/>
                  <a:pt x="5414661" y="4335174"/>
                </a:cubicBezTo>
                <a:cubicBezTo>
                  <a:pt x="5416210" y="4334039"/>
                  <a:pt x="5418534" y="4333626"/>
                  <a:pt x="5421631" y="4334762"/>
                </a:cubicBezTo>
                <a:close/>
                <a:moveTo>
                  <a:pt x="1354219" y="4333711"/>
                </a:moveTo>
                <a:cubicBezTo>
                  <a:pt x="1363668" y="4329477"/>
                  <a:pt x="1368780" y="4341042"/>
                  <a:pt x="1372033" y="4348580"/>
                </a:cubicBezTo>
                <a:lnTo>
                  <a:pt x="1374201" y="4354259"/>
                </a:lnTo>
                <a:lnTo>
                  <a:pt x="1375440" y="4346825"/>
                </a:lnTo>
                <a:cubicBezTo>
                  <a:pt x="1381946" y="4348270"/>
                  <a:pt x="1382565" y="4356324"/>
                  <a:pt x="1384424" y="4362003"/>
                </a:cubicBezTo>
                <a:cubicBezTo>
                  <a:pt x="1386748" y="4360351"/>
                  <a:pt x="1389381" y="4357873"/>
                  <a:pt x="1392014" y="4356531"/>
                </a:cubicBezTo>
                <a:lnTo>
                  <a:pt x="1395732" y="4355601"/>
                </a:lnTo>
                <a:lnTo>
                  <a:pt x="1395732" y="4355085"/>
                </a:lnTo>
                <a:cubicBezTo>
                  <a:pt x="1395732" y="4355085"/>
                  <a:pt x="1395267" y="4354362"/>
                  <a:pt x="1395732" y="4353123"/>
                </a:cubicBezTo>
                <a:cubicBezTo>
                  <a:pt x="1396042" y="4351884"/>
                  <a:pt x="1396506" y="4350645"/>
                  <a:pt x="1398365" y="4350439"/>
                </a:cubicBezTo>
                <a:cubicBezTo>
                  <a:pt x="1399139" y="4357873"/>
                  <a:pt x="1400688" y="4360868"/>
                  <a:pt x="1400688" y="4366753"/>
                </a:cubicBezTo>
                <a:cubicBezTo>
                  <a:pt x="1399914" y="4367166"/>
                  <a:pt x="1399604" y="4366443"/>
                  <a:pt x="1398829" y="4366960"/>
                </a:cubicBezTo>
                <a:cubicBezTo>
                  <a:pt x="1398365" y="4366753"/>
                  <a:pt x="1397745" y="4366134"/>
                  <a:pt x="1397281" y="4365204"/>
                </a:cubicBezTo>
                <a:lnTo>
                  <a:pt x="1396661" y="4362933"/>
                </a:lnTo>
                <a:lnTo>
                  <a:pt x="1394492" y="4364688"/>
                </a:lnTo>
                <a:cubicBezTo>
                  <a:pt x="1391704" y="4366340"/>
                  <a:pt x="1388296" y="4367682"/>
                  <a:pt x="1385973" y="4370161"/>
                </a:cubicBezTo>
                <a:cubicBezTo>
                  <a:pt x="1384579" y="4373362"/>
                  <a:pt x="1387522" y="4376666"/>
                  <a:pt x="1382101" y="4379764"/>
                </a:cubicBezTo>
                <a:cubicBezTo>
                  <a:pt x="1379158" y="4375117"/>
                  <a:pt x="1377145" y="4370780"/>
                  <a:pt x="1375905" y="4366546"/>
                </a:cubicBezTo>
                <a:lnTo>
                  <a:pt x="1374356" y="4355395"/>
                </a:lnTo>
                <a:lnTo>
                  <a:pt x="1374511" y="4359422"/>
                </a:lnTo>
                <a:cubicBezTo>
                  <a:pt x="1374201" y="4360351"/>
                  <a:pt x="1373582" y="4360971"/>
                  <a:pt x="1372652" y="4361384"/>
                </a:cubicBezTo>
                <a:cubicBezTo>
                  <a:pt x="1367540" y="4364275"/>
                  <a:pt x="1359950" y="4360041"/>
                  <a:pt x="1356853" y="4352504"/>
                </a:cubicBezTo>
                <a:cubicBezTo>
                  <a:pt x="1351741" y="4340939"/>
                  <a:pt x="1354219" y="4333711"/>
                  <a:pt x="1354219" y="4333711"/>
                </a:cubicBezTo>
                <a:close/>
                <a:moveTo>
                  <a:pt x="1520578" y="4333401"/>
                </a:moveTo>
                <a:cubicBezTo>
                  <a:pt x="1522127" y="4334537"/>
                  <a:pt x="1521043" y="4336912"/>
                  <a:pt x="1521043" y="4338667"/>
                </a:cubicBezTo>
                <a:cubicBezTo>
                  <a:pt x="1522592" y="4339803"/>
                  <a:pt x="1519184" y="4341868"/>
                  <a:pt x="1520733" y="4343004"/>
                </a:cubicBezTo>
                <a:cubicBezTo>
                  <a:pt x="1517170" y="4345792"/>
                  <a:pt x="1521043" y="4350748"/>
                  <a:pt x="1516550" y="4356117"/>
                </a:cubicBezTo>
                <a:cubicBezTo>
                  <a:pt x="1515931" y="4353846"/>
                  <a:pt x="1515776" y="4351781"/>
                  <a:pt x="1515931" y="4349922"/>
                </a:cubicBezTo>
                <a:cubicBezTo>
                  <a:pt x="1516086" y="4344346"/>
                  <a:pt x="1517945" y="4340319"/>
                  <a:pt x="1517016" y="4336293"/>
                </a:cubicBezTo>
                <a:cubicBezTo>
                  <a:pt x="1517016" y="4336293"/>
                  <a:pt x="1517016" y="4336293"/>
                  <a:pt x="1518720" y="4334847"/>
                </a:cubicBezTo>
                <a:cubicBezTo>
                  <a:pt x="1518874" y="4334021"/>
                  <a:pt x="1518874" y="4334021"/>
                  <a:pt x="1518874" y="4334021"/>
                </a:cubicBezTo>
                <a:cubicBezTo>
                  <a:pt x="1518874" y="4333195"/>
                  <a:pt x="1520578" y="4333401"/>
                  <a:pt x="1520578" y="4333401"/>
                </a:cubicBezTo>
                <a:close/>
                <a:moveTo>
                  <a:pt x="670817" y="4333298"/>
                </a:moveTo>
                <a:cubicBezTo>
                  <a:pt x="674844" y="4335673"/>
                  <a:pt x="677322" y="4342075"/>
                  <a:pt x="677632" y="4342798"/>
                </a:cubicBezTo>
                <a:cubicBezTo>
                  <a:pt x="677013" y="4343314"/>
                  <a:pt x="677013" y="4343314"/>
                  <a:pt x="677013" y="4343314"/>
                </a:cubicBezTo>
                <a:cubicBezTo>
                  <a:pt x="676393" y="4340733"/>
                  <a:pt x="673141" y="4339287"/>
                  <a:pt x="671282" y="4336706"/>
                </a:cubicBezTo>
                <a:cubicBezTo>
                  <a:pt x="670662" y="4335879"/>
                  <a:pt x="670197" y="4334950"/>
                  <a:pt x="670043" y="4333711"/>
                </a:cubicBezTo>
                <a:cubicBezTo>
                  <a:pt x="670043" y="4333711"/>
                  <a:pt x="670043" y="4333814"/>
                  <a:pt x="670508" y="4334537"/>
                </a:cubicBezTo>
                <a:cubicBezTo>
                  <a:pt x="670508" y="4334537"/>
                  <a:pt x="670043" y="4333711"/>
                  <a:pt x="670817" y="4333298"/>
                </a:cubicBezTo>
                <a:close/>
                <a:moveTo>
                  <a:pt x="5888334" y="4333006"/>
                </a:moveTo>
                <a:cubicBezTo>
                  <a:pt x="5891277" y="4335484"/>
                  <a:pt x="5889264" y="4337653"/>
                  <a:pt x="5887405" y="4339821"/>
                </a:cubicBezTo>
                <a:cubicBezTo>
                  <a:pt x="5885856" y="4338582"/>
                  <a:pt x="5884152" y="4339098"/>
                  <a:pt x="5882913" y="4336104"/>
                </a:cubicBezTo>
                <a:cubicBezTo>
                  <a:pt x="5884772" y="4334865"/>
                  <a:pt x="5886475" y="4334348"/>
                  <a:pt x="5888334" y="4333006"/>
                </a:cubicBezTo>
                <a:close/>
                <a:moveTo>
                  <a:pt x="1471786" y="4331852"/>
                </a:moveTo>
                <a:cubicBezTo>
                  <a:pt x="1476742" y="4335982"/>
                  <a:pt x="1476278" y="4349716"/>
                  <a:pt x="1473645" y="4351987"/>
                </a:cubicBezTo>
                <a:cubicBezTo>
                  <a:pt x="1471321" y="4349096"/>
                  <a:pt x="1472250" y="4345689"/>
                  <a:pt x="1469772" y="4341972"/>
                </a:cubicBezTo>
                <a:cubicBezTo>
                  <a:pt x="1471476" y="4339597"/>
                  <a:pt x="1469153" y="4335053"/>
                  <a:pt x="1471786" y="4331852"/>
                </a:cubicBezTo>
                <a:close/>
                <a:moveTo>
                  <a:pt x="1420980" y="4328548"/>
                </a:moveTo>
                <a:cubicBezTo>
                  <a:pt x="1421909" y="4328651"/>
                  <a:pt x="1422683" y="4328755"/>
                  <a:pt x="1423458" y="4329684"/>
                </a:cubicBezTo>
                <a:cubicBezTo>
                  <a:pt x="1424388" y="4330613"/>
                  <a:pt x="1423458" y="4330510"/>
                  <a:pt x="1424388" y="4330613"/>
                </a:cubicBezTo>
                <a:cubicBezTo>
                  <a:pt x="1425162" y="4331646"/>
                  <a:pt x="1425162" y="4330716"/>
                  <a:pt x="1425162" y="4330716"/>
                </a:cubicBezTo>
                <a:lnTo>
                  <a:pt x="1425162" y="4331130"/>
                </a:lnTo>
                <a:lnTo>
                  <a:pt x="1426401" y="4331027"/>
                </a:lnTo>
                <a:cubicBezTo>
                  <a:pt x="1427176" y="4331336"/>
                  <a:pt x="1427795" y="4331956"/>
                  <a:pt x="1427950" y="4333092"/>
                </a:cubicBezTo>
                <a:lnTo>
                  <a:pt x="1427640" y="4334124"/>
                </a:lnTo>
                <a:lnTo>
                  <a:pt x="1429654" y="4335467"/>
                </a:lnTo>
                <a:cubicBezTo>
                  <a:pt x="1430428" y="4335879"/>
                  <a:pt x="1431048" y="4336189"/>
                  <a:pt x="1431822" y="4336706"/>
                </a:cubicBezTo>
                <a:cubicBezTo>
                  <a:pt x="1433526" y="4338667"/>
                  <a:pt x="1433371" y="4339494"/>
                  <a:pt x="1435075" y="4342281"/>
                </a:cubicBezTo>
                <a:cubicBezTo>
                  <a:pt x="1434146" y="4343830"/>
                  <a:pt x="1434146" y="4343830"/>
                  <a:pt x="1433371" y="4343727"/>
                </a:cubicBezTo>
                <a:cubicBezTo>
                  <a:pt x="1434146" y="4343830"/>
                  <a:pt x="1434146" y="4344760"/>
                  <a:pt x="1435075" y="4345689"/>
                </a:cubicBezTo>
                <a:cubicBezTo>
                  <a:pt x="1439103" y="4348786"/>
                  <a:pt x="1437399" y="4352917"/>
                  <a:pt x="1433837" y="4356737"/>
                </a:cubicBezTo>
                <a:cubicBezTo>
                  <a:pt x="1433062" y="4355808"/>
                  <a:pt x="1431203" y="4358183"/>
                  <a:pt x="1429499" y="4358802"/>
                </a:cubicBezTo>
                <a:cubicBezTo>
                  <a:pt x="1427021" y="4358493"/>
                  <a:pt x="1425317" y="4358286"/>
                  <a:pt x="1423613" y="4356428"/>
                </a:cubicBezTo>
                <a:cubicBezTo>
                  <a:pt x="1421135" y="4353536"/>
                  <a:pt x="1419741" y="4347341"/>
                  <a:pt x="1422219" y="4345069"/>
                </a:cubicBezTo>
                <a:cubicBezTo>
                  <a:pt x="1424852" y="4341868"/>
                  <a:pt x="1427485" y="4341352"/>
                  <a:pt x="1429964" y="4341662"/>
                </a:cubicBezTo>
                <a:cubicBezTo>
                  <a:pt x="1429964" y="4341662"/>
                  <a:pt x="1429964" y="4341662"/>
                  <a:pt x="1429189" y="4341559"/>
                </a:cubicBezTo>
                <a:lnTo>
                  <a:pt x="1426556" y="4338151"/>
                </a:lnTo>
                <a:lnTo>
                  <a:pt x="1420980" y="4335776"/>
                </a:lnTo>
                <a:cubicBezTo>
                  <a:pt x="1420205" y="4334847"/>
                  <a:pt x="1420360" y="4333814"/>
                  <a:pt x="1420980" y="4332988"/>
                </a:cubicBezTo>
                <a:lnTo>
                  <a:pt x="1422064" y="4332162"/>
                </a:lnTo>
                <a:lnTo>
                  <a:pt x="1421444" y="4331027"/>
                </a:lnTo>
                <a:cubicBezTo>
                  <a:pt x="1420980" y="4329994"/>
                  <a:pt x="1420825" y="4329168"/>
                  <a:pt x="1420980" y="4328548"/>
                </a:cubicBezTo>
                <a:close/>
                <a:moveTo>
                  <a:pt x="598790" y="4327309"/>
                </a:moveTo>
                <a:cubicBezTo>
                  <a:pt x="601888" y="4327722"/>
                  <a:pt x="604986" y="4329684"/>
                  <a:pt x="607464" y="4334124"/>
                </a:cubicBezTo>
                <a:cubicBezTo>
                  <a:pt x="600029" y="4339597"/>
                  <a:pt x="600649" y="4345999"/>
                  <a:pt x="592439" y="4347650"/>
                </a:cubicBezTo>
                <a:cubicBezTo>
                  <a:pt x="581132" y="4339700"/>
                  <a:pt x="589651" y="4326173"/>
                  <a:pt x="598790" y="4327309"/>
                </a:cubicBezTo>
                <a:close/>
                <a:moveTo>
                  <a:pt x="5550350" y="4326295"/>
                </a:moveTo>
                <a:cubicBezTo>
                  <a:pt x="5553603" y="4334452"/>
                  <a:pt x="5547098" y="4344674"/>
                  <a:pt x="5542451" y="4348804"/>
                </a:cubicBezTo>
                <a:cubicBezTo>
                  <a:pt x="5539353" y="4340750"/>
                  <a:pt x="5544774" y="4329186"/>
                  <a:pt x="5550350" y="4326295"/>
                </a:cubicBezTo>
                <a:close/>
                <a:moveTo>
                  <a:pt x="5483590" y="4325881"/>
                </a:moveTo>
                <a:cubicBezTo>
                  <a:pt x="5483590" y="4325881"/>
                  <a:pt x="5483590" y="4325881"/>
                  <a:pt x="5484365" y="4325881"/>
                </a:cubicBezTo>
                <a:cubicBezTo>
                  <a:pt x="5483280" y="4329392"/>
                  <a:pt x="5483590" y="4333832"/>
                  <a:pt x="5481731" y="4336413"/>
                </a:cubicBezTo>
                <a:cubicBezTo>
                  <a:pt x="5481267" y="4336930"/>
                  <a:pt x="5480802" y="4337343"/>
                  <a:pt x="5480182" y="4337446"/>
                </a:cubicBezTo>
                <a:cubicBezTo>
                  <a:pt x="5479718" y="4337549"/>
                  <a:pt x="5479098" y="4337240"/>
                  <a:pt x="5478324" y="4336413"/>
                </a:cubicBezTo>
                <a:cubicBezTo>
                  <a:pt x="5477549" y="4335897"/>
                  <a:pt x="5477239" y="4335484"/>
                  <a:pt x="5477239" y="4334865"/>
                </a:cubicBezTo>
                <a:cubicBezTo>
                  <a:pt x="5477394" y="4334142"/>
                  <a:pt x="5477859" y="4333316"/>
                  <a:pt x="5478788" y="4331973"/>
                </a:cubicBezTo>
                <a:cubicBezTo>
                  <a:pt x="5480647" y="4330321"/>
                  <a:pt x="5481731" y="4328463"/>
                  <a:pt x="5482506" y="4328566"/>
                </a:cubicBezTo>
                <a:cubicBezTo>
                  <a:pt x="5482661" y="4327637"/>
                  <a:pt x="5483435" y="4326707"/>
                  <a:pt x="5483590" y="4325881"/>
                </a:cubicBezTo>
                <a:close/>
                <a:moveTo>
                  <a:pt x="5715470" y="4325572"/>
                </a:moveTo>
                <a:cubicBezTo>
                  <a:pt x="5720117" y="4331664"/>
                  <a:pt x="5712527" y="4339614"/>
                  <a:pt x="5706021" y="4343848"/>
                </a:cubicBezTo>
                <a:lnTo>
                  <a:pt x="5704162" y="4344777"/>
                </a:lnTo>
                <a:lnTo>
                  <a:pt x="5704317" y="4345191"/>
                </a:lnTo>
                <a:cubicBezTo>
                  <a:pt x="5703233" y="4346946"/>
                  <a:pt x="5701374" y="4347049"/>
                  <a:pt x="5699515" y="4347256"/>
                </a:cubicBezTo>
                <a:cubicBezTo>
                  <a:pt x="5698122" y="4347152"/>
                  <a:pt x="5697192" y="4346636"/>
                  <a:pt x="5697037" y="4345810"/>
                </a:cubicBezTo>
                <a:cubicBezTo>
                  <a:pt x="5696727" y="4344984"/>
                  <a:pt x="5696883" y="4343951"/>
                  <a:pt x="5697192" y="4342712"/>
                </a:cubicBezTo>
                <a:cubicBezTo>
                  <a:pt x="5697967" y="4340337"/>
                  <a:pt x="5699825" y="4340131"/>
                  <a:pt x="5699825" y="4340131"/>
                </a:cubicBezTo>
                <a:lnTo>
                  <a:pt x="5703078" y="4341473"/>
                </a:lnTo>
                <a:lnTo>
                  <a:pt x="5706641" y="4334762"/>
                </a:lnTo>
                <a:cubicBezTo>
                  <a:pt x="5709119" y="4330735"/>
                  <a:pt x="5712062" y="4327224"/>
                  <a:pt x="5715470" y="4325572"/>
                </a:cubicBezTo>
                <a:close/>
                <a:moveTo>
                  <a:pt x="5082873" y="4324023"/>
                </a:moveTo>
                <a:cubicBezTo>
                  <a:pt x="5083493" y="4324849"/>
                  <a:pt x="5084268" y="4324849"/>
                  <a:pt x="5083338" y="4326604"/>
                </a:cubicBezTo>
                <a:cubicBezTo>
                  <a:pt x="5083183" y="4327430"/>
                  <a:pt x="5082254" y="4328256"/>
                  <a:pt x="5082254" y="4329186"/>
                </a:cubicBezTo>
                <a:cubicBezTo>
                  <a:pt x="5082254" y="4329186"/>
                  <a:pt x="5081634" y="4329392"/>
                  <a:pt x="5080860" y="4329496"/>
                </a:cubicBezTo>
                <a:cubicBezTo>
                  <a:pt x="5080085" y="4329599"/>
                  <a:pt x="5079311" y="4329599"/>
                  <a:pt x="5079001" y="4329186"/>
                </a:cubicBezTo>
                <a:cubicBezTo>
                  <a:pt x="5078536" y="4328979"/>
                  <a:pt x="5078381" y="4328566"/>
                  <a:pt x="5078381" y="4328153"/>
                </a:cubicBezTo>
                <a:cubicBezTo>
                  <a:pt x="5078536" y="4327017"/>
                  <a:pt x="5080085" y="4325468"/>
                  <a:pt x="5080240" y="4324745"/>
                </a:cubicBezTo>
                <a:cubicBezTo>
                  <a:pt x="5081169" y="4323920"/>
                  <a:pt x="5082099" y="4323094"/>
                  <a:pt x="5082873" y="4324023"/>
                </a:cubicBezTo>
                <a:close/>
                <a:moveTo>
                  <a:pt x="1435695" y="4323902"/>
                </a:moveTo>
                <a:cubicBezTo>
                  <a:pt x="1439258" y="4326277"/>
                  <a:pt x="1440961" y="4334227"/>
                  <a:pt x="1435385" y="4335363"/>
                </a:cubicBezTo>
                <a:cubicBezTo>
                  <a:pt x="1432752" y="4334640"/>
                  <a:pt x="1430119" y="4333917"/>
                  <a:pt x="1428414" y="4329787"/>
                </a:cubicBezTo>
                <a:cubicBezTo>
                  <a:pt x="1429189" y="4326483"/>
                  <a:pt x="1431203" y="4324831"/>
                  <a:pt x="1435695" y="4323902"/>
                </a:cubicBezTo>
                <a:close/>
                <a:moveTo>
                  <a:pt x="1395267" y="4323282"/>
                </a:moveTo>
                <a:cubicBezTo>
                  <a:pt x="1397436" y="4322663"/>
                  <a:pt x="1400069" y="4323179"/>
                  <a:pt x="1400379" y="4324315"/>
                </a:cubicBezTo>
                <a:cubicBezTo>
                  <a:pt x="1400998" y="4326070"/>
                  <a:pt x="1401618" y="4327929"/>
                  <a:pt x="1400533" y="4329065"/>
                </a:cubicBezTo>
                <a:cubicBezTo>
                  <a:pt x="1400224" y="4329477"/>
                  <a:pt x="1399604" y="4329787"/>
                  <a:pt x="1398675" y="4330097"/>
                </a:cubicBezTo>
                <a:cubicBezTo>
                  <a:pt x="1398675" y="4330097"/>
                  <a:pt x="1398675" y="4330097"/>
                  <a:pt x="1397900" y="4329581"/>
                </a:cubicBezTo>
                <a:cubicBezTo>
                  <a:pt x="1396506" y="4328755"/>
                  <a:pt x="1395732" y="4328342"/>
                  <a:pt x="1394957" y="4327826"/>
                </a:cubicBezTo>
                <a:cubicBezTo>
                  <a:pt x="1394647" y="4326690"/>
                  <a:pt x="1394028" y="4323592"/>
                  <a:pt x="1395267" y="4323282"/>
                </a:cubicBezTo>
                <a:close/>
                <a:moveTo>
                  <a:pt x="1366611" y="4322869"/>
                </a:moveTo>
                <a:cubicBezTo>
                  <a:pt x="1368780" y="4323902"/>
                  <a:pt x="1371723" y="4328548"/>
                  <a:pt x="1370483" y="4332885"/>
                </a:cubicBezTo>
                <a:cubicBezTo>
                  <a:pt x="1369244" y="4333505"/>
                  <a:pt x="1368005" y="4333814"/>
                  <a:pt x="1367076" y="4333917"/>
                </a:cubicBezTo>
                <a:cubicBezTo>
                  <a:pt x="1366147" y="4333917"/>
                  <a:pt x="1365372" y="4333711"/>
                  <a:pt x="1364753" y="4333195"/>
                </a:cubicBezTo>
                <a:cubicBezTo>
                  <a:pt x="1363358" y="4332266"/>
                  <a:pt x="1362584" y="4330407"/>
                  <a:pt x="1362119" y="4327722"/>
                </a:cubicBezTo>
                <a:cubicBezTo>
                  <a:pt x="1363668" y="4326483"/>
                  <a:pt x="1364598" y="4324831"/>
                  <a:pt x="1366611" y="4322869"/>
                </a:cubicBezTo>
                <a:close/>
                <a:moveTo>
                  <a:pt x="1192508" y="4322559"/>
                </a:moveTo>
                <a:cubicBezTo>
                  <a:pt x="1191888" y="4327412"/>
                  <a:pt x="1189255" y="4329787"/>
                  <a:pt x="1184918" y="4331543"/>
                </a:cubicBezTo>
                <a:cubicBezTo>
                  <a:pt x="1183988" y="4330304"/>
                  <a:pt x="1184453" y="4326690"/>
                  <a:pt x="1184763" y="4324315"/>
                </a:cubicBezTo>
                <a:cubicBezTo>
                  <a:pt x="1186777" y="4322456"/>
                  <a:pt x="1189720" y="4321837"/>
                  <a:pt x="1192508" y="4322559"/>
                </a:cubicBezTo>
                <a:close/>
                <a:moveTo>
                  <a:pt x="5774950" y="4321545"/>
                </a:moveTo>
                <a:cubicBezTo>
                  <a:pt x="5777738" y="4320512"/>
                  <a:pt x="5783004" y="4323094"/>
                  <a:pt x="5783470" y="4326501"/>
                </a:cubicBezTo>
                <a:cubicBezTo>
                  <a:pt x="5783624" y="4327637"/>
                  <a:pt x="5783315" y="4328876"/>
                  <a:pt x="5782075" y="4330115"/>
                </a:cubicBezTo>
                <a:cubicBezTo>
                  <a:pt x="5780991" y="4330838"/>
                  <a:pt x="5780062" y="4331251"/>
                  <a:pt x="5779287" y="4331354"/>
                </a:cubicBezTo>
                <a:cubicBezTo>
                  <a:pt x="5776654" y="4331664"/>
                  <a:pt x="5774485" y="4329392"/>
                  <a:pt x="5772472" y="4326604"/>
                </a:cubicBezTo>
                <a:cubicBezTo>
                  <a:pt x="5773556" y="4324952"/>
                  <a:pt x="5773866" y="4323197"/>
                  <a:pt x="5774950" y="4321545"/>
                </a:cubicBezTo>
                <a:close/>
                <a:moveTo>
                  <a:pt x="5726158" y="4320512"/>
                </a:moveTo>
                <a:cubicBezTo>
                  <a:pt x="5727861" y="4319686"/>
                  <a:pt x="5730650" y="4317931"/>
                  <a:pt x="5733903" y="4320615"/>
                </a:cubicBezTo>
                <a:cubicBezTo>
                  <a:pt x="5734677" y="4321545"/>
                  <a:pt x="5734677" y="4321545"/>
                  <a:pt x="5734522" y="4322474"/>
                </a:cubicBezTo>
                <a:cubicBezTo>
                  <a:pt x="5735142" y="4324229"/>
                  <a:pt x="5736071" y="4325055"/>
                  <a:pt x="5734987" y="4326811"/>
                </a:cubicBezTo>
                <a:cubicBezTo>
                  <a:pt x="5733903" y="4328153"/>
                  <a:pt x="5733128" y="4328566"/>
                  <a:pt x="5732199" y="4328463"/>
                </a:cubicBezTo>
                <a:cubicBezTo>
                  <a:pt x="5731115" y="4328360"/>
                  <a:pt x="5730185" y="4327637"/>
                  <a:pt x="5728946" y="4326707"/>
                </a:cubicBezTo>
                <a:cubicBezTo>
                  <a:pt x="5727707" y="4325778"/>
                  <a:pt x="5727397" y="4324745"/>
                  <a:pt x="5727242" y="4323610"/>
                </a:cubicBezTo>
                <a:cubicBezTo>
                  <a:pt x="5727087" y="4322474"/>
                  <a:pt x="5726932" y="4321441"/>
                  <a:pt x="5726158" y="4320512"/>
                </a:cubicBezTo>
                <a:close/>
                <a:moveTo>
                  <a:pt x="5507599" y="4319273"/>
                </a:moveTo>
                <a:cubicBezTo>
                  <a:pt x="5507599" y="4319273"/>
                  <a:pt x="5507754" y="4320512"/>
                  <a:pt x="5508529" y="4320925"/>
                </a:cubicBezTo>
                <a:cubicBezTo>
                  <a:pt x="5508529" y="4320925"/>
                  <a:pt x="5508683" y="4322061"/>
                  <a:pt x="5508838" y="4323197"/>
                </a:cubicBezTo>
                <a:cubicBezTo>
                  <a:pt x="5508838" y="4323197"/>
                  <a:pt x="5509613" y="4323610"/>
                  <a:pt x="5510233" y="4324023"/>
                </a:cubicBezTo>
                <a:cubicBezTo>
                  <a:pt x="5511317" y="4326811"/>
                  <a:pt x="5512246" y="4328463"/>
                  <a:pt x="5509613" y="4330941"/>
                </a:cubicBezTo>
                <a:cubicBezTo>
                  <a:pt x="5509303" y="4330735"/>
                  <a:pt x="5508993" y="4330115"/>
                  <a:pt x="5508838" y="4329289"/>
                </a:cubicBezTo>
                <a:cubicBezTo>
                  <a:pt x="5508683" y="4328463"/>
                  <a:pt x="5508529" y="4327637"/>
                  <a:pt x="5508374" y="4327017"/>
                </a:cubicBezTo>
                <a:cubicBezTo>
                  <a:pt x="5507754" y="4326604"/>
                  <a:pt x="5507444" y="4325468"/>
                  <a:pt x="5507909" y="4324745"/>
                </a:cubicBezTo>
                <a:cubicBezTo>
                  <a:pt x="5507909" y="4324745"/>
                  <a:pt x="5507754" y="4323506"/>
                  <a:pt x="5507134" y="4323094"/>
                </a:cubicBezTo>
                <a:cubicBezTo>
                  <a:pt x="5506670" y="4320719"/>
                  <a:pt x="5507134" y="4319996"/>
                  <a:pt x="5507599" y="4319273"/>
                </a:cubicBezTo>
                <a:close/>
                <a:moveTo>
                  <a:pt x="5792763" y="4315659"/>
                </a:moveTo>
                <a:cubicBezTo>
                  <a:pt x="5797410" y="4319376"/>
                  <a:pt x="5798494" y="4324023"/>
                  <a:pt x="5799424" y="4328669"/>
                </a:cubicBezTo>
                <a:cubicBezTo>
                  <a:pt x="5797875" y="4331044"/>
                  <a:pt x="5796481" y="4331973"/>
                  <a:pt x="5795241" y="4332077"/>
                </a:cubicBezTo>
                <a:cubicBezTo>
                  <a:pt x="5791524" y="4332283"/>
                  <a:pt x="5788891" y="4324229"/>
                  <a:pt x="5786258" y="4320306"/>
                </a:cubicBezTo>
                <a:cubicBezTo>
                  <a:pt x="5788271" y="4317208"/>
                  <a:pt x="5789355" y="4316588"/>
                  <a:pt x="5792763" y="4315659"/>
                </a:cubicBezTo>
                <a:close/>
                <a:moveTo>
                  <a:pt x="636585" y="4314609"/>
                </a:moveTo>
                <a:cubicBezTo>
                  <a:pt x="636275" y="4315848"/>
                  <a:pt x="643091" y="4317500"/>
                  <a:pt x="643091" y="4321424"/>
                </a:cubicBezTo>
                <a:cubicBezTo>
                  <a:pt x="643091" y="4323385"/>
                  <a:pt x="642781" y="4324625"/>
                  <a:pt x="642781" y="4326586"/>
                </a:cubicBezTo>
                <a:cubicBezTo>
                  <a:pt x="640612" y="4327929"/>
                  <a:pt x="639528" y="4331543"/>
                  <a:pt x="633487" y="4331336"/>
                </a:cubicBezTo>
                <a:cubicBezTo>
                  <a:pt x="627136" y="4330407"/>
                  <a:pt x="628530" y="4323592"/>
                  <a:pt x="627756" y="4324108"/>
                </a:cubicBezTo>
                <a:cubicBezTo>
                  <a:pt x="626671" y="4323799"/>
                  <a:pt x="626671" y="4323799"/>
                  <a:pt x="625897" y="4324315"/>
                </a:cubicBezTo>
                <a:cubicBezTo>
                  <a:pt x="625587" y="4323489"/>
                  <a:pt x="624038" y="4322456"/>
                  <a:pt x="622954" y="4322249"/>
                </a:cubicBezTo>
                <a:cubicBezTo>
                  <a:pt x="623729" y="4321733"/>
                  <a:pt x="624503" y="4321217"/>
                  <a:pt x="624038" y="4320494"/>
                </a:cubicBezTo>
                <a:cubicBezTo>
                  <a:pt x="626362" y="4321114"/>
                  <a:pt x="626671" y="4321837"/>
                  <a:pt x="627756" y="4322146"/>
                </a:cubicBezTo>
                <a:cubicBezTo>
                  <a:pt x="627446" y="4321424"/>
                  <a:pt x="628530" y="4321630"/>
                  <a:pt x="628530" y="4321630"/>
                </a:cubicBezTo>
                <a:cubicBezTo>
                  <a:pt x="628530" y="4321630"/>
                  <a:pt x="628530" y="4321630"/>
                  <a:pt x="629305" y="4319255"/>
                </a:cubicBezTo>
                <a:cubicBezTo>
                  <a:pt x="629305" y="4319255"/>
                  <a:pt x="631318" y="4313989"/>
                  <a:pt x="636585" y="4314609"/>
                </a:cubicBezTo>
                <a:close/>
                <a:moveTo>
                  <a:pt x="1225965" y="4314505"/>
                </a:moveTo>
                <a:cubicBezTo>
                  <a:pt x="1226430" y="4314609"/>
                  <a:pt x="1226895" y="4314815"/>
                  <a:pt x="1227359" y="4315125"/>
                </a:cubicBezTo>
                <a:cubicBezTo>
                  <a:pt x="1228443" y="4315641"/>
                  <a:pt x="1229528" y="4316158"/>
                  <a:pt x="1230612" y="4316674"/>
                </a:cubicBezTo>
                <a:cubicBezTo>
                  <a:pt x="1230612" y="4316674"/>
                  <a:pt x="1230457" y="4316777"/>
                  <a:pt x="1224726" y="4315228"/>
                </a:cubicBezTo>
                <a:cubicBezTo>
                  <a:pt x="1225036" y="4314712"/>
                  <a:pt x="1225345" y="4314505"/>
                  <a:pt x="1225965" y="4314505"/>
                </a:cubicBezTo>
                <a:close/>
                <a:moveTo>
                  <a:pt x="5470579" y="4314420"/>
                </a:moveTo>
                <a:lnTo>
                  <a:pt x="5471354" y="4315762"/>
                </a:lnTo>
                <a:lnTo>
                  <a:pt x="5474451" y="4316278"/>
                </a:lnTo>
                <a:cubicBezTo>
                  <a:pt x="5476310" y="4315453"/>
                  <a:pt x="5477239" y="4313801"/>
                  <a:pt x="5478943" y="4314627"/>
                </a:cubicBezTo>
                <a:cubicBezTo>
                  <a:pt x="5476155" y="4316278"/>
                  <a:pt x="5475226" y="4317105"/>
                  <a:pt x="5473522" y="4317931"/>
                </a:cubicBezTo>
                <a:lnTo>
                  <a:pt x="5473057" y="4319067"/>
                </a:lnTo>
                <a:lnTo>
                  <a:pt x="5473057" y="4319273"/>
                </a:lnTo>
                <a:lnTo>
                  <a:pt x="5472747" y="4319583"/>
                </a:lnTo>
                <a:lnTo>
                  <a:pt x="5472438" y="4320512"/>
                </a:lnTo>
                <a:lnTo>
                  <a:pt x="5471973" y="4320615"/>
                </a:lnTo>
                <a:lnTo>
                  <a:pt x="5470889" y="4322784"/>
                </a:lnTo>
                <a:cubicBezTo>
                  <a:pt x="5470114" y="4324642"/>
                  <a:pt x="5469340" y="4326501"/>
                  <a:pt x="5469340" y="4326501"/>
                </a:cubicBezTo>
                <a:cubicBezTo>
                  <a:pt x="5468255" y="4326811"/>
                  <a:pt x="5467636" y="4327017"/>
                  <a:pt x="5467171" y="4326811"/>
                </a:cubicBezTo>
                <a:cubicBezTo>
                  <a:pt x="5466861" y="4326501"/>
                  <a:pt x="5466552" y="4325881"/>
                  <a:pt x="5466087" y="4324436"/>
                </a:cubicBezTo>
                <a:lnTo>
                  <a:pt x="5466707" y="4321132"/>
                </a:lnTo>
                <a:lnTo>
                  <a:pt x="5466397" y="4320306"/>
                </a:lnTo>
                <a:cubicBezTo>
                  <a:pt x="5466397" y="4319583"/>
                  <a:pt x="5466707" y="4318757"/>
                  <a:pt x="5467636" y="4317828"/>
                </a:cubicBezTo>
                <a:lnTo>
                  <a:pt x="5468565" y="4317311"/>
                </a:lnTo>
                <a:close/>
                <a:moveTo>
                  <a:pt x="1247186" y="4313576"/>
                </a:moveTo>
                <a:cubicBezTo>
                  <a:pt x="1251833" y="4316364"/>
                  <a:pt x="1256480" y="4318326"/>
                  <a:pt x="1261127" y="4320288"/>
                </a:cubicBezTo>
                <a:lnTo>
                  <a:pt x="1266703" y="4322972"/>
                </a:lnTo>
                <a:lnTo>
                  <a:pt x="1269027" y="4319359"/>
                </a:lnTo>
                <a:cubicBezTo>
                  <a:pt x="1270576" y="4320288"/>
                  <a:pt x="1271195" y="4321114"/>
                  <a:pt x="1271195" y="4322249"/>
                </a:cubicBezTo>
                <a:lnTo>
                  <a:pt x="1270111" y="4324625"/>
                </a:lnTo>
                <a:lnTo>
                  <a:pt x="1275222" y="4327000"/>
                </a:lnTo>
                <a:lnTo>
                  <a:pt x="1275533" y="4328342"/>
                </a:lnTo>
                <a:lnTo>
                  <a:pt x="1277856" y="4325347"/>
                </a:lnTo>
                <a:lnTo>
                  <a:pt x="1278475" y="4325450"/>
                </a:lnTo>
                <a:lnTo>
                  <a:pt x="1278321" y="4325244"/>
                </a:lnTo>
                <a:cubicBezTo>
                  <a:pt x="1278011" y="4324211"/>
                  <a:pt x="1278166" y="4323076"/>
                  <a:pt x="1279249" y="4321630"/>
                </a:cubicBezTo>
                <a:cubicBezTo>
                  <a:pt x="1279714" y="4320804"/>
                  <a:pt x="1280644" y="4320494"/>
                  <a:pt x="1281573" y="4320494"/>
                </a:cubicBezTo>
                <a:cubicBezTo>
                  <a:pt x="1284516" y="4320701"/>
                  <a:pt x="1288389" y="4324211"/>
                  <a:pt x="1286530" y="4327515"/>
                </a:cubicBezTo>
                <a:lnTo>
                  <a:pt x="1286375" y="4327515"/>
                </a:lnTo>
                <a:lnTo>
                  <a:pt x="1287304" y="4327826"/>
                </a:lnTo>
                <a:cubicBezTo>
                  <a:pt x="1287304" y="4327826"/>
                  <a:pt x="1288543" y="4329168"/>
                  <a:pt x="1288543" y="4331646"/>
                </a:cubicBezTo>
                <a:cubicBezTo>
                  <a:pt x="1291177" y="4335467"/>
                  <a:pt x="1287304" y="4339287"/>
                  <a:pt x="1287304" y="4339287"/>
                </a:cubicBezTo>
                <a:cubicBezTo>
                  <a:pt x="1287304" y="4339287"/>
                  <a:pt x="1287149" y="4339287"/>
                  <a:pt x="1288543" y="4339287"/>
                </a:cubicBezTo>
                <a:cubicBezTo>
                  <a:pt x="1287149" y="4339287"/>
                  <a:pt x="1285910" y="4339597"/>
                  <a:pt x="1284516" y="4339906"/>
                </a:cubicBezTo>
                <a:lnTo>
                  <a:pt x="1281573" y="4340423"/>
                </a:lnTo>
                <a:lnTo>
                  <a:pt x="1280489" y="4341662"/>
                </a:lnTo>
                <a:lnTo>
                  <a:pt x="1282348" y="4345173"/>
                </a:lnTo>
                <a:cubicBezTo>
                  <a:pt x="1285135" y="4351368"/>
                  <a:pt x="1287304" y="4357563"/>
                  <a:pt x="1284826" y="4363552"/>
                </a:cubicBezTo>
                <a:lnTo>
                  <a:pt x="1284361" y="4363965"/>
                </a:lnTo>
                <a:lnTo>
                  <a:pt x="1281263" y="4368818"/>
                </a:lnTo>
                <a:lnTo>
                  <a:pt x="1277856" y="4370057"/>
                </a:lnTo>
                <a:lnTo>
                  <a:pt x="1276771" y="4371709"/>
                </a:lnTo>
                <a:cubicBezTo>
                  <a:pt x="1275377" y="4374497"/>
                  <a:pt x="1274448" y="4377388"/>
                  <a:pt x="1272434" y="4379970"/>
                </a:cubicBezTo>
                <a:cubicBezTo>
                  <a:pt x="1269181" y="4381209"/>
                  <a:pt x="1265309" y="4382241"/>
                  <a:pt x="1261436" y="4382861"/>
                </a:cubicBezTo>
                <a:lnTo>
                  <a:pt x="1258493" y="4382964"/>
                </a:lnTo>
                <a:lnTo>
                  <a:pt x="1262521" y="4384823"/>
                </a:lnTo>
                <a:cubicBezTo>
                  <a:pt x="1263760" y="4385855"/>
                  <a:pt x="1264689" y="4387095"/>
                  <a:pt x="1265154" y="4388334"/>
                </a:cubicBezTo>
                <a:lnTo>
                  <a:pt x="1265309" y="4390812"/>
                </a:lnTo>
                <a:lnTo>
                  <a:pt x="1266084" y="4391741"/>
                </a:lnTo>
                <a:cubicBezTo>
                  <a:pt x="1267787" y="4394529"/>
                  <a:pt x="1268872" y="4397627"/>
                  <a:pt x="1268407" y="4400414"/>
                </a:cubicBezTo>
                <a:lnTo>
                  <a:pt x="1266084" y="4404751"/>
                </a:lnTo>
                <a:lnTo>
                  <a:pt x="1266393" y="4405165"/>
                </a:lnTo>
                <a:cubicBezTo>
                  <a:pt x="1265464" y="4407539"/>
                  <a:pt x="1263295" y="4409398"/>
                  <a:pt x="1262211" y="4409088"/>
                </a:cubicBezTo>
                <a:cubicBezTo>
                  <a:pt x="1260662" y="4408469"/>
                  <a:pt x="1259113" y="4407849"/>
                  <a:pt x="1258958" y="4406094"/>
                </a:cubicBezTo>
                <a:cubicBezTo>
                  <a:pt x="1258958" y="4405577"/>
                  <a:pt x="1259113" y="4404855"/>
                  <a:pt x="1259423" y="4404029"/>
                </a:cubicBezTo>
                <a:cubicBezTo>
                  <a:pt x="1259423" y="4404029"/>
                  <a:pt x="1259423" y="4404029"/>
                  <a:pt x="1260197" y="4403615"/>
                </a:cubicBezTo>
                <a:lnTo>
                  <a:pt x="1261591" y="4402893"/>
                </a:lnTo>
                <a:lnTo>
                  <a:pt x="1257874" y="4400828"/>
                </a:lnTo>
                <a:lnTo>
                  <a:pt x="1255551" y="4401447"/>
                </a:lnTo>
                <a:cubicBezTo>
                  <a:pt x="1253382" y="4401447"/>
                  <a:pt x="1250904" y="4400621"/>
                  <a:pt x="1248735" y="4398659"/>
                </a:cubicBezTo>
                <a:cubicBezTo>
                  <a:pt x="1248425" y="4397420"/>
                  <a:pt x="1248580" y="4395871"/>
                  <a:pt x="1249045" y="4394322"/>
                </a:cubicBezTo>
                <a:lnTo>
                  <a:pt x="1250129" y="4392154"/>
                </a:lnTo>
                <a:lnTo>
                  <a:pt x="1248116" y="4388437"/>
                </a:lnTo>
                <a:cubicBezTo>
                  <a:pt x="1249355" y="4385752"/>
                  <a:pt x="1251213" y="4384307"/>
                  <a:pt x="1253072" y="4383894"/>
                </a:cubicBezTo>
                <a:lnTo>
                  <a:pt x="1255396" y="4384307"/>
                </a:lnTo>
                <a:lnTo>
                  <a:pt x="1256790" y="4383068"/>
                </a:lnTo>
                <a:lnTo>
                  <a:pt x="1249200" y="4383377"/>
                </a:lnTo>
                <a:cubicBezTo>
                  <a:pt x="1245172" y="4383068"/>
                  <a:pt x="1240990" y="4382241"/>
                  <a:pt x="1237118" y="4380693"/>
                </a:cubicBezTo>
                <a:lnTo>
                  <a:pt x="1228289" y="4374807"/>
                </a:lnTo>
                <a:lnTo>
                  <a:pt x="1229218" y="4376459"/>
                </a:lnTo>
                <a:cubicBezTo>
                  <a:pt x="1230767" y="4378628"/>
                  <a:pt x="1232006" y="4381312"/>
                  <a:pt x="1230612" y="4385546"/>
                </a:cubicBezTo>
                <a:cubicBezTo>
                  <a:pt x="1228443" y="4384616"/>
                  <a:pt x="1225501" y="4389470"/>
                  <a:pt x="1222402" y="4388024"/>
                </a:cubicBezTo>
                <a:cubicBezTo>
                  <a:pt x="1214813" y="4385546"/>
                  <a:pt x="1213419" y="4383171"/>
                  <a:pt x="1213574" y="4379350"/>
                </a:cubicBezTo>
                <a:lnTo>
                  <a:pt x="1213574" y="4378008"/>
                </a:lnTo>
                <a:lnTo>
                  <a:pt x="1213264" y="4378111"/>
                </a:lnTo>
                <a:lnTo>
                  <a:pt x="1211560" y="4378214"/>
                </a:lnTo>
                <a:lnTo>
                  <a:pt x="1212644" y="4379144"/>
                </a:lnTo>
                <a:lnTo>
                  <a:pt x="1210321" y="4380693"/>
                </a:lnTo>
                <a:lnTo>
                  <a:pt x="1208307" y="4382861"/>
                </a:lnTo>
                <a:lnTo>
                  <a:pt x="1206913" y="4383068"/>
                </a:lnTo>
                <a:lnTo>
                  <a:pt x="1201646" y="4386785"/>
                </a:lnTo>
                <a:lnTo>
                  <a:pt x="1198084" y="4387714"/>
                </a:lnTo>
                <a:lnTo>
                  <a:pt x="1198084" y="4387817"/>
                </a:lnTo>
                <a:cubicBezTo>
                  <a:pt x="1198703" y="4389160"/>
                  <a:pt x="1199169" y="4390708"/>
                  <a:pt x="1199323" y="4392567"/>
                </a:cubicBezTo>
                <a:cubicBezTo>
                  <a:pt x="1198239" y="4392361"/>
                  <a:pt x="1198084" y="4393600"/>
                  <a:pt x="1198084" y="4394736"/>
                </a:cubicBezTo>
                <a:cubicBezTo>
                  <a:pt x="1196535" y="4395768"/>
                  <a:pt x="1194676" y="4395768"/>
                  <a:pt x="1192818" y="4395252"/>
                </a:cubicBezTo>
                <a:cubicBezTo>
                  <a:pt x="1190959" y="4394839"/>
                  <a:pt x="1188945" y="4393703"/>
                  <a:pt x="1187396" y="4392361"/>
                </a:cubicBezTo>
                <a:lnTo>
                  <a:pt x="1184918" y="4389056"/>
                </a:lnTo>
                <a:lnTo>
                  <a:pt x="1183059" y="4388953"/>
                </a:lnTo>
                <a:lnTo>
                  <a:pt x="1183833" y="4385959"/>
                </a:lnTo>
                <a:lnTo>
                  <a:pt x="1183988" y="4383274"/>
                </a:lnTo>
                <a:cubicBezTo>
                  <a:pt x="1184453" y="4382551"/>
                  <a:pt x="1185383" y="4381932"/>
                  <a:pt x="1186466" y="4381519"/>
                </a:cubicBezTo>
                <a:lnTo>
                  <a:pt x="1187396" y="4381829"/>
                </a:lnTo>
                <a:lnTo>
                  <a:pt x="1190959" y="4380279"/>
                </a:lnTo>
                <a:lnTo>
                  <a:pt x="1191578" y="4378834"/>
                </a:lnTo>
                <a:lnTo>
                  <a:pt x="1190340" y="4376046"/>
                </a:lnTo>
                <a:lnTo>
                  <a:pt x="1188945" y="4374601"/>
                </a:lnTo>
                <a:lnTo>
                  <a:pt x="1186932" y="4375117"/>
                </a:lnTo>
                <a:cubicBezTo>
                  <a:pt x="1184143" y="4374394"/>
                  <a:pt x="1181975" y="4376149"/>
                  <a:pt x="1179187" y="4375530"/>
                </a:cubicBezTo>
                <a:cubicBezTo>
                  <a:pt x="1179187" y="4375530"/>
                  <a:pt x="1179187" y="4375530"/>
                  <a:pt x="1179651" y="4374291"/>
                </a:cubicBezTo>
                <a:cubicBezTo>
                  <a:pt x="1181975" y="4374394"/>
                  <a:pt x="1183833" y="4373568"/>
                  <a:pt x="1185847" y="4372845"/>
                </a:cubicBezTo>
                <a:lnTo>
                  <a:pt x="1187087" y="4372742"/>
                </a:lnTo>
                <a:lnTo>
                  <a:pt x="1185538" y="4371193"/>
                </a:lnTo>
                <a:cubicBezTo>
                  <a:pt x="1182285" y="4368096"/>
                  <a:pt x="1178722" y="4365204"/>
                  <a:pt x="1177173" y="4360454"/>
                </a:cubicBezTo>
                <a:lnTo>
                  <a:pt x="1176398" y="4356428"/>
                </a:lnTo>
                <a:lnTo>
                  <a:pt x="1173301" y="4359112"/>
                </a:lnTo>
                <a:cubicBezTo>
                  <a:pt x="1172216" y="4360145"/>
                  <a:pt x="1171132" y="4360971"/>
                  <a:pt x="1170203" y="4361900"/>
                </a:cubicBezTo>
                <a:lnTo>
                  <a:pt x="1164472" y="4366546"/>
                </a:lnTo>
                <a:lnTo>
                  <a:pt x="1163542" y="4369025"/>
                </a:lnTo>
                <a:lnTo>
                  <a:pt x="1162923" y="4369335"/>
                </a:lnTo>
                <a:lnTo>
                  <a:pt x="1163077" y="4370367"/>
                </a:lnTo>
                <a:cubicBezTo>
                  <a:pt x="1163077" y="4370367"/>
                  <a:pt x="1163077" y="4370264"/>
                  <a:pt x="1162303" y="4370574"/>
                </a:cubicBezTo>
                <a:lnTo>
                  <a:pt x="1162458" y="4369747"/>
                </a:lnTo>
                <a:lnTo>
                  <a:pt x="1161374" y="4370470"/>
                </a:lnTo>
                <a:cubicBezTo>
                  <a:pt x="1159205" y="4371090"/>
                  <a:pt x="1156727" y="4369541"/>
                  <a:pt x="1155798" y="4366960"/>
                </a:cubicBezTo>
                <a:cubicBezTo>
                  <a:pt x="1155177" y="4365411"/>
                  <a:pt x="1155177" y="4363552"/>
                  <a:pt x="1155952" y="4361487"/>
                </a:cubicBezTo>
                <a:cubicBezTo>
                  <a:pt x="1157656" y="4360661"/>
                  <a:pt x="1161684" y="4361280"/>
                  <a:pt x="1163852" y="4362726"/>
                </a:cubicBezTo>
                <a:lnTo>
                  <a:pt x="1164007" y="4362933"/>
                </a:lnTo>
                <a:lnTo>
                  <a:pt x="1164162" y="4362829"/>
                </a:lnTo>
                <a:cubicBezTo>
                  <a:pt x="1166020" y="4360041"/>
                  <a:pt x="1170048" y="4356634"/>
                  <a:pt x="1170513" y="4356944"/>
                </a:cubicBezTo>
                <a:cubicBezTo>
                  <a:pt x="1170977" y="4356221"/>
                  <a:pt x="1171752" y="4356634"/>
                  <a:pt x="1172216" y="4355911"/>
                </a:cubicBezTo>
                <a:cubicBezTo>
                  <a:pt x="1172216" y="4355911"/>
                  <a:pt x="1172681" y="4355085"/>
                  <a:pt x="1173920" y="4354775"/>
                </a:cubicBezTo>
                <a:cubicBezTo>
                  <a:pt x="1175004" y="4354466"/>
                  <a:pt x="1176243" y="4354156"/>
                  <a:pt x="1177173" y="4355808"/>
                </a:cubicBezTo>
                <a:lnTo>
                  <a:pt x="1177018" y="4355911"/>
                </a:lnTo>
                <a:lnTo>
                  <a:pt x="1179961" y="4356221"/>
                </a:lnTo>
                <a:cubicBezTo>
                  <a:pt x="1181975" y="4356737"/>
                  <a:pt x="1183988" y="4357976"/>
                  <a:pt x="1186002" y="4359525"/>
                </a:cubicBezTo>
                <a:lnTo>
                  <a:pt x="1190649" y="4364275"/>
                </a:lnTo>
                <a:lnTo>
                  <a:pt x="1191269" y="4364481"/>
                </a:lnTo>
                <a:lnTo>
                  <a:pt x="1194831" y="4367682"/>
                </a:lnTo>
                <a:lnTo>
                  <a:pt x="1194831" y="4367476"/>
                </a:lnTo>
                <a:cubicBezTo>
                  <a:pt x="1195606" y="4364172"/>
                  <a:pt x="1196691" y="4360454"/>
                  <a:pt x="1197154" y="4358906"/>
                </a:cubicBezTo>
                <a:cubicBezTo>
                  <a:pt x="1197929" y="4358596"/>
                  <a:pt x="1198084" y="4358596"/>
                  <a:pt x="1198084" y="4358596"/>
                </a:cubicBezTo>
                <a:cubicBezTo>
                  <a:pt x="1199013" y="4358699"/>
                  <a:pt x="1199323" y="4359215"/>
                  <a:pt x="1199323" y="4360041"/>
                </a:cubicBezTo>
                <a:cubicBezTo>
                  <a:pt x="1199478" y="4360971"/>
                  <a:pt x="1199169" y="4362210"/>
                  <a:pt x="1198703" y="4363862"/>
                </a:cubicBezTo>
                <a:cubicBezTo>
                  <a:pt x="1198239" y="4365411"/>
                  <a:pt x="1197464" y="4367063"/>
                  <a:pt x="1196535" y="4368612"/>
                </a:cubicBezTo>
                <a:lnTo>
                  <a:pt x="1196226" y="4369231"/>
                </a:lnTo>
                <a:lnTo>
                  <a:pt x="1202576" y="4376149"/>
                </a:lnTo>
                <a:lnTo>
                  <a:pt x="1204744" y="4376046"/>
                </a:lnTo>
                <a:lnTo>
                  <a:pt x="1204744" y="4375840"/>
                </a:lnTo>
                <a:cubicBezTo>
                  <a:pt x="1205829" y="4373878"/>
                  <a:pt x="1207377" y="4373052"/>
                  <a:pt x="1209237" y="4372639"/>
                </a:cubicBezTo>
                <a:lnTo>
                  <a:pt x="1212025" y="4372122"/>
                </a:lnTo>
                <a:lnTo>
                  <a:pt x="1211870" y="4372019"/>
                </a:lnTo>
                <a:cubicBezTo>
                  <a:pt x="1211560" y="4371606"/>
                  <a:pt x="1211405" y="4371193"/>
                  <a:pt x="1211560" y="4370367"/>
                </a:cubicBezTo>
                <a:lnTo>
                  <a:pt x="1215123" y="4367063"/>
                </a:lnTo>
                <a:lnTo>
                  <a:pt x="1211715" y="4365720"/>
                </a:lnTo>
                <a:lnTo>
                  <a:pt x="1218840" y="4359525"/>
                </a:lnTo>
                <a:lnTo>
                  <a:pt x="1218221" y="4357667"/>
                </a:lnTo>
                <a:cubicBezTo>
                  <a:pt x="1217136" y="4351987"/>
                  <a:pt x="1216827" y="4345999"/>
                  <a:pt x="1214658" y="4339390"/>
                </a:cubicBezTo>
                <a:cubicBezTo>
                  <a:pt x="1223952" y="4334434"/>
                  <a:pt x="1222248" y="4327929"/>
                  <a:pt x="1223797" y="4322249"/>
                </a:cubicBezTo>
                <a:cubicBezTo>
                  <a:pt x="1231542" y="4322249"/>
                  <a:pt x="1239132" y="4316054"/>
                  <a:pt x="1247186" y="4313576"/>
                </a:cubicBezTo>
                <a:close/>
                <a:moveTo>
                  <a:pt x="5808562" y="4312045"/>
                </a:moveTo>
                <a:cubicBezTo>
                  <a:pt x="5811505" y="4312252"/>
                  <a:pt x="5811661" y="4315349"/>
                  <a:pt x="5812900" y="4318757"/>
                </a:cubicBezTo>
                <a:cubicBezTo>
                  <a:pt x="5811816" y="4318447"/>
                  <a:pt x="5811505" y="4319583"/>
                  <a:pt x="5811351" y="4320822"/>
                </a:cubicBezTo>
                <a:cubicBezTo>
                  <a:pt x="5810421" y="4320512"/>
                  <a:pt x="5809337" y="4320306"/>
                  <a:pt x="5808253" y="4319893"/>
                </a:cubicBezTo>
                <a:lnTo>
                  <a:pt x="5806704" y="4318550"/>
                </a:lnTo>
                <a:lnTo>
                  <a:pt x="5808408" y="4322371"/>
                </a:lnTo>
                <a:cubicBezTo>
                  <a:pt x="5806859" y="4324849"/>
                  <a:pt x="5809492" y="4329289"/>
                  <a:pt x="5807169" y="4332697"/>
                </a:cubicBezTo>
                <a:cubicBezTo>
                  <a:pt x="5801902" y="4328979"/>
                  <a:pt x="5801283" y="4315039"/>
                  <a:pt x="5803761" y="4312562"/>
                </a:cubicBezTo>
                <a:lnTo>
                  <a:pt x="5805774" y="4316485"/>
                </a:lnTo>
                <a:lnTo>
                  <a:pt x="5805619" y="4315039"/>
                </a:lnTo>
                <a:cubicBezTo>
                  <a:pt x="5805155" y="4314317"/>
                  <a:pt x="5807323" y="4311735"/>
                  <a:pt x="5808562" y="4312045"/>
                </a:cubicBezTo>
                <a:close/>
                <a:moveTo>
                  <a:pt x="5393905" y="4310600"/>
                </a:moveTo>
                <a:cubicBezTo>
                  <a:pt x="5396539" y="4308947"/>
                  <a:pt x="5402734" y="4313284"/>
                  <a:pt x="5404903" y="4315866"/>
                </a:cubicBezTo>
                <a:cubicBezTo>
                  <a:pt x="5404283" y="4316278"/>
                  <a:pt x="5403354" y="4316382"/>
                  <a:pt x="5402424" y="4316175"/>
                </a:cubicBezTo>
                <a:cubicBezTo>
                  <a:pt x="5399482" y="4315453"/>
                  <a:pt x="5395609" y="4312562"/>
                  <a:pt x="5393905" y="4310600"/>
                </a:cubicBezTo>
                <a:close/>
                <a:moveTo>
                  <a:pt x="5538423" y="4308947"/>
                </a:moveTo>
                <a:cubicBezTo>
                  <a:pt x="5538423" y="4308947"/>
                  <a:pt x="5538579" y="4310186"/>
                  <a:pt x="5538888" y="4311322"/>
                </a:cubicBezTo>
                <a:cubicBezTo>
                  <a:pt x="5539043" y="4312562"/>
                  <a:pt x="5539043" y="4312562"/>
                  <a:pt x="5540127" y="4312252"/>
                </a:cubicBezTo>
                <a:cubicBezTo>
                  <a:pt x="5540437" y="4313491"/>
                  <a:pt x="5540437" y="4313491"/>
                  <a:pt x="5539353" y="4314936"/>
                </a:cubicBezTo>
                <a:cubicBezTo>
                  <a:pt x="5539198" y="4313801"/>
                  <a:pt x="5537184" y="4309257"/>
                  <a:pt x="5538423" y="4308947"/>
                </a:cubicBezTo>
                <a:close/>
                <a:moveTo>
                  <a:pt x="1074322" y="4308930"/>
                </a:moveTo>
                <a:cubicBezTo>
                  <a:pt x="1074477" y="4313989"/>
                  <a:pt x="1076955" y="4318223"/>
                  <a:pt x="1079124" y="4322249"/>
                </a:cubicBezTo>
                <a:lnTo>
                  <a:pt x="1080363" y="4325347"/>
                </a:lnTo>
                <a:lnTo>
                  <a:pt x="1081757" y="4322249"/>
                </a:lnTo>
                <a:cubicBezTo>
                  <a:pt x="1085939" y="4324831"/>
                  <a:pt x="1087023" y="4328239"/>
                  <a:pt x="1086869" y="4332885"/>
                </a:cubicBezTo>
                <a:cubicBezTo>
                  <a:pt x="1086094" y="4333092"/>
                  <a:pt x="1085010" y="4332678"/>
                  <a:pt x="1083771" y="4332059"/>
                </a:cubicBezTo>
                <a:lnTo>
                  <a:pt x="1081292" y="4330820"/>
                </a:lnTo>
                <a:lnTo>
                  <a:pt x="1081137" y="4334227"/>
                </a:lnTo>
                <a:cubicBezTo>
                  <a:pt x="1080208" y="4332988"/>
                  <a:pt x="1078969" y="4331749"/>
                  <a:pt x="1077729" y="4330407"/>
                </a:cubicBezTo>
                <a:lnTo>
                  <a:pt x="1077110" y="4329891"/>
                </a:lnTo>
                <a:lnTo>
                  <a:pt x="1074941" y="4330820"/>
                </a:lnTo>
                <a:lnTo>
                  <a:pt x="1071224" y="4329891"/>
                </a:lnTo>
                <a:lnTo>
                  <a:pt x="1073392" y="4336293"/>
                </a:lnTo>
                <a:cubicBezTo>
                  <a:pt x="1074012" y="4340526"/>
                  <a:pt x="1073702" y="4345379"/>
                  <a:pt x="1072153" y="4350748"/>
                </a:cubicBezTo>
                <a:cubicBezTo>
                  <a:pt x="1070914" y="4351471"/>
                  <a:pt x="1069675" y="4351884"/>
                  <a:pt x="1068591" y="4351987"/>
                </a:cubicBezTo>
                <a:cubicBezTo>
                  <a:pt x="1065338" y="4352194"/>
                  <a:pt x="1063169" y="4349716"/>
                  <a:pt x="1061930" y="4346308"/>
                </a:cubicBezTo>
                <a:cubicBezTo>
                  <a:pt x="1059917" y="4340423"/>
                  <a:pt x="1060846" y="4331646"/>
                  <a:pt x="1064718" y="4327515"/>
                </a:cubicBezTo>
                <a:lnTo>
                  <a:pt x="1064718" y="4327412"/>
                </a:lnTo>
                <a:lnTo>
                  <a:pt x="1060227" y="4323799"/>
                </a:lnTo>
                <a:cubicBezTo>
                  <a:pt x="1060071" y="4319668"/>
                  <a:pt x="1061311" y="4317087"/>
                  <a:pt x="1063169" y="4315848"/>
                </a:cubicBezTo>
                <a:lnTo>
                  <a:pt x="1068126" y="4314815"/>
                </a:lnTo>
                <a:lnTo>
                  <a:pt x="1068281" y="4314092"/>
                </a:lnTo>
                <a:cubicBezTo>
                  <a:pt x="1069210" y="4312440"/>
                  <a:pt x="1071224" y="4310685"/>
                  <a:pt x="1074322" y="4308930"/>
                </a:cubicBezTo>
                <a:close/>
                <a:moveTo>
                  <a:pt x="1121410" y="4308723"/>
                </a:moveTo>
                <a:cubicBezTo>
                  <a:pt x="1123424" y="4313679"/>
                  <a:pt x="1132408" y="4328032"/>
                  <a:pt x="1125902" y="4331646"/>
                </a:cubicBezTo>
                <a:cubicBezTo>
                  <a:pt x="1124508" y="4329065"/>
                  <a:pt x="1121255" y="4324728"/>
                  <a:pt x="1119552" y="4320288"/>
                </a:cubicBezTo>
                <a:cubicBezTo>
                  <a:pt x="1117693" y="4315951"/>
                  <a:pt x="1117228" y="4311511"/>
                  <a:pt x="1121410" y="4308723"/>
                </a:cubicBezTo>
                <a:close/>
                <a:moveTo>
                  <a:pt x="5730960" y="4307605"/>
                </a:moveTo>
                <a:cubicBezTo>
                  <a:pt x="5732199" y="4307295"/>
                  <a:pt x="5733283" y="4306986"/>
                  <a:pt x="5733593" y="4308225"/>
                </a:cubicBezTo>
                <a:cubicBezTo>
                  <a:pt x="5733593" y="4308225"/>
                  <a:pt x="5732973" y="4308947"/>
                  <a:pt x="5730650" y="4309567"/>
                </a:cubicBezTo>
                <a:cubicBezTo>
                  <a:pt x="5731115" y="4308844"/>
                  <a:pt x="5730495" y="4308431"/>
                  <a:pt x="5730495" y="4308431"/>
                </a:cubicBezTo>
                <a:cubicBezTo>
                  <a:pt x="5730495" y="4308431"/>
                  <a:pt x="5730495" y="4308328"/>
                  <a:pt x="5730030" y="4309051"/>
                </a:cubicBezTo>
                <a:cubicBezTo>
                  <a:pt x="5730030" y="4308534"/>
                  <a:pt x="5730185" y="4308121"/>
                  <a:pt x="5730495" y="4307915"/>
                </a:cubicBezTo>
                <a:cubicBezTo>
                  <a:pt x="5730650" y="4307708"/>
                  <a:pt x="5730960" y="4307605"/>
                  <a:pt x="5730960" y="4307605"/>
                </a:cubicBezTo>
                <a:close/>
                <a:moveTo>
                  <a:pt x="1177173" y="4307484"/>
                </a:moveTo>
                <a:cubicBezTo>
                  <a:pt x="1177173" y="4317913"/>
                  <a:pt x="1164317" y="4320288"/>
                  <a:pt x="1157811" y="4319978"/>
                </a:cubicBezTo>
                <a:cubicBezTo>
                  <a:pt x="1160444" y="4317293"/>
                  <a:pt x="1162767" y="4314402"/>
                  <a:pt x="1165865" y="4312027"/>
                </a:cubicBezTo>
                <a:cubicBezTo>
                  <a:pt x="1168809" y="4309756"/>
                  <a:pt x="1172371" y="4308000"/>
                  <a:pt x="1177173" y="4307484"/>
                </a:cubicBezTo>
                <a:close/>
                <a:moveTo>
                  <a:pt x="5737620" y="4306469"/>
                </a:moveTo>
                <a:cubicBezTo>
                  <a:pt x="5739324" y="4305437"/>
                  <a:pt x="5739944" y="4305850"/>
                  <a:pt x="5740408" y="4308225"/>
                </a:cubicBezTo>
                <a:cubicBezTo>
                  <a:pt x="5739634" y="4308741"/>
                  <a:pt x="5738240" y="4309154"/>
                  <a:pt x="5736846" y="4309154"/>
                </a:cubicBezTo>
                <a:cubicBezTo>
                  <a:pt x="5735451" y="4309154"/>
                  <a:pt x="5734058" y="4308844"/>
                  <a:pt x="5733593" y="4308018"/>
                </a:cubicBezTo>
                <a:cubicBezTo>
                  <a:pt x="5735297" y="4307089"/>
                  <a:pt x="5736536" y="4306779"/>
                  <a:pt x="5737620" y="4306469"/>
                </a:cubicBezTo>
                <a:close/>
                <a:moveTo>
                  <a:pt x="5588300" y="4306366"/>
                </a:moveTo>
                <a:cubicBezTo>
                  <a:pt x="5590159" y="4307192"/>
                  <a:pt x="5592482" y="4306056"/>
                  <a:pt x="5594341" y="4307708"/>
                </a:cubicBezTo>
                <a:cubicBezTo>
                  <a:pt x="5594341" y="4307708"/>
                  <a:pt x="5595270" y="4308638"/>
                  <a:pt x="5595580" y="4310290"/>
                </a:cubicBezTo>
                <a:cubicBezTo>
                  <a:pt x="5597594" y="4312871"/>
                  <a:pt x="5595426" y="4315556"/>
                  <a:pt x="5595426" y="4315556"/>
                </a:cubicBezTo>
                <a:cubicBezTo>
                  <a:pt x="5595426" y="4315556"/>
                  <a:pt x="5595426" y="4315556"/>
                  <a:pt x="5596355" y="4315556"/>
                </a:cubicBezTo>
                <a:cubicBezTo>
                  <a:pt x="5594651" y="4315659"/>
                  <a:pt x="5593102" y="4316588"/>
                  <a:pt x="5591398" y="4316692"/>
                </a:cubicBezTo>
                <a:cubicBezTo>
                  <a:pt x="5584118" y="4311942"/>
                  <a:pt x="5586286" y="4309980"/>
                  <a:pt x="5588300" y="4306366"/>
                </a:cubicBezTo>
                <a:close/>
                <a:moveTo>
                  <a:pt x="4638070" y="4306327"/>
                </a:moveTo>
                <a:cubicBezTo>
                  <a:pt x="4639948" y="4305591"/>
                  <a:pt x="4642271" y="4305953"/>
                  <a:pt x="4643278" y="4307192"/>
                </a:cubicBezTo>
                <a:cubicBezTo>
                  <a:pt x="4643278" y="4310496"/>
                  <a:pt x="4640490" y="4312665"/>
                  <a:pt x="4637856" y="4312665"/>
                </a:cubicBezTo>
                <a:cubicBezTo>
                  <a:pt x="4637082" y="4312768"/>
                  <a:pt x="4636152" y="4312458"/>
                  <a:pt x="4635533" y="4312045"/>
                </a:cubicBezTo>
                <a:cubicBezTo>
                  <a:pt x="4634759" y="4308896"/>
                  <a:pt x="4636191" y="4307063"/>
                  <a:pt x="4638070" y="4306327"/>
                </a:cubicBezTo>
                <a:close/>
                <a:moveTo>
                  <a:pt x="1135041" y="4305109"/>
                </a:moveTo>
                <a:cubicBezTo>
                  <a:pt x="1135661" y="4304593"/>
                  <a:pt x="1136280" y="4304696"/>
                  <a:pt x="1137055" y="4305729"/>
                </a:cubicBezTo>
                <a:lnTo>
                  <a:pt x="1137364" y="4306142"/>
                </a:lnTo>
                <a:lnTo>
                  <a:pt x="1141857" y="4305212"/>
                </a:lnTo>
                <a:cubicBezTo>
                  <a:pt x="1143406" y="4307484"/>
                  <a:pt x="1142631" y="4309136"/>
                  <a:pt x="1140927" y="4310169"/>
                </a:cubicBezTo>
                <a:lnTo>
                  <a:pt x="1140154" y="4310478"/>
                </a:lnTo>
                <a:lnTo>
                  <a:pt x="1142321" y="4311201"/>
                </a:lnTo>
                <a:cubicBezTo>
                  <a:pt x="1145574" y="4310995"/>
                  <a:pt x="1149756" y="4308516"/>
                  <a:pt x="1154713" y="4313060"/>
                </a:cubicBezTo>
                <a:cubicBezTo>
                  <a:pt x="1153474" y="4314196"/>
                  <a:pt x="1155023" y="4317087"/>
                  <a:pt x="1154713" y="4319462"/>
                </a:cubicBezTo>
                <a:lnTo>
                  <a:pt x="1153938" y="4321114"/>
                </a:lnTo>
                <a:lnTo>
                  <a:pt x="1155023" y="4320288"/>
                </a:lnTo>
                <a:cubicBezTo>
                  <a:pt x="1156262" y="4320494"/>
                  <a:pt x="1156882" y="4322043"/>
                  <a:pt x="1156882" y="4324005"/>
                </a:cubicBezTo>
                <a:cubicBezTo>
                  <a:pt x="1155798" y="4323695"/>
                  <a:pt x="1154713" y="4325450"/>
                  <a:pt x="1153474" y="4325141"/>
                </a:cubicBezTo>
                <a:cubicBezTo>
                  <a:pt x="1153474" y="4325141"/>
                  <a:pt x="1153009" y="4324728"/>
                  <a:pt x="1152544" y="4324315"/>
                </a:cubicBezTo>
                <a:lnTo>
                  <a:pt x="1151770" y="4323489"/>
                </a:lnTo>
                <a:lnTo>
                  <a:pt x="1150221" y="4324934"/>
                </a:lnTo>
                <a:cubicBezTo>
                  <a:pt x="1146968" y="4327412"/>
                  <a:pt x="1144799" y="4327309"/>
                  <a:pt x="1142166" y="4326173"/>
                </a:cubicBezTo>
                <a:lnTo>
                  <a:pt x="1140927" y="4325450"/>
                </a:lnTo>
                <a:lnTo>
                  <a:pt x="1140927" y="4325760"/>
                </a:lnTo>
                <a:lnTo>
                  <a:pt x="1140154" y="4328239"/>
                </a:lnTo>
                <a:lnTo>
                  <a:pt x="1141547" y="4328032"/>
                </a:lnTo>
                <a:cubicBezTo>
                  <a:pt x="1146504" y="4332885"/>
                  <a:pt x="1139533" y="4341455"/>
                  <a:pt x="1138604" y="4343934"/>
                </a:cubicBezTo>
                <a:cubicBezTo>
                  <a:pt x="1138604" y="4343934"/>
                  <a:pt x="1138604" y="4344760"/>
                  <a:pt x="1137830" y="4345585"/>
                </a:cubicBezTo>
                <a:cubicBezTo>
                  <a:pt x="1137519" y="4345999"/>
                  <a:pt x="1137364" y="4346102"/>
                  <a:pt x="1137055" y="4346102"/>
                </a:cubicBezTo>
                <a:lnTo>
                  <a:pt x="1136590" y="4345792"/>
                </a:lnTo>
                <a:lnTo>
                  <a:pt x="1136126" y="4345792"/>
                </a:lnTo>
                <a:lnTo>
                  <a:pt x="1136280" y="4346308"/>
                </a:lnTo>
                <a:lnTo>
                  <a:pt x="1135661" y="4349406"/>
                </a:lnTo>
                <a:lnTo>
                  <a:pt x="1137519" y="4349509"/>
                </a:lnTo>
                <a:cubicBezTo>
                  <a:pt x="1138759" y="4349406"/>
                  <a:pt x="1139998" y="4349200"/>
                  <a:pt x="1140308" y="4348580"/>
                </a:cubicBezTo>
                <a:cubicBezTo>
                  <a:pt x="1140618" y="4349406"/>
                  <a:pt x="1141702" y="4349922"/>
                  <a:pt x="1141702" y="4349922"/>
                </a:cubicBezTo>
                <a:cubicBezTo>
                  <a:pt x="1141082" y="4351058"/>
                  <a:pt x="1140308" y="4351265"/>
                  <a:pt x="1139533" y="4351574"/>
                </a:cubicBezTo>
                <a:cubicBezTo>
                  <a:pt x="1138449" y="4351162"/>
                  <a:pt x="1138139" y="4350335"/>
                  <a:pt x="1137209" y="4349922"/>
                </a:cubicBezTo>
                <a:lnTo>
                  <a:pt x="1135506" y="4350129"/>
                </a:lnTo>
                <a:lnTo>
                  <a:pt x="1135041" y="4353743"/>
                </a:lnTo>
                <a:cubicBezTo>
                  <a:pt x="1134112" y="4356428"/>
                  <a:pt x="1132718" y="4358906"/>
                  <a:pt x="1130859" y="4360661"/>
                </a:cubicBezTo>
                <a:cubicBezTo>
                  <a:pt x="1131324" y="4360454"/>
                  <a:pt x="1131634" y="4360351"/>
                  <a:pt x="1132253" y="4360454"/>
                </a:cubicBezTo>
                <a:cubicBezTo>
                  <a:pt x="1132873" y="4360041"/>
                  <a:pt x="1133337" y="4360764"/>
                  <a:pt x="1134576" y="4361074"/>
                </a:cubicBezTo>
                <a:lnTo>
                  <a:pt x="1134731" y="4362003"/>
                </a:lnTo>
                <a:lnTo>
                  <a:pt x="1135816" y="4361797"/>
                </a:lnTo>
                <a:cubicBezTo>
                  <a:pt x="1137674" y="4361487"/>
                  <a:pt x="1139378" y="4361487"/>
                  <a:pt x="1139843" y="4362003"/>
                </a:cubicBezTo>
                <a:cubicBezTo>
                  <a:pt x="1138914" y="4362313"/>
                  <a:pt x="1137055" y="4362933"/>
                  <a:pt x="1135041" y="4363242"/>
                </a:cubicBezTo>
                <a:lnTo>
                  <a:pt x="1134886" y="4363242"/>
                </a:lnTo>
                <a:lnTo>
                  <a:pt x="1134886" y="4364068"/>
                </a:lnTo>
                <a:cubicBezTo>
                  <a:pt x="1135041" y="4364275"/>
                  <a:pt x="1135197" y="4364378"/>
                  <a:pt x="1135816" y="4364481"/>
                </a:cubicBezTo>
                <a:cubicBezTo>
                  <a:pt x="1135816" y="4364481"/>
                  <a:pt x="1135197" y="4364998"/>
                  <a:pt x="1135197" y="4364998"/>
                </a:cubicBezTo>
                <a:cubicBezTo>
                  <a:pt x="1134731" y="4364275"/>
                  <a:pt x="1135197" y="4364895"/>
                  <a:pt x="1135041" y="4366134"/>
                </a:cubicBezTo>
                <a:cubicBezTo>
                  <a:pt x="1133183" y="4366340"/>
                  <a:pt x="1132408" y="4366753"/>
                  <a:pt x="1131169" y="4366443"/>
                </a:cubicBezTo>
                <a:lnTo>
                  <a:pt x="1127761" y="4372742"/>
                </a:lnTo>
                <a:lnTo>
                  <a:pt x="1125902" y="4373774"/>
                </a:lnTo>
                <a:lnTo>
                  <a:pt x="1125438" y="4375530"/>
                </a:lnTo>
                <a:cubicBezTo>
                  <a:pt x="1124508" y="4375323"/>
                  <a:pt x="1124508" y="4375427"/>
                  <a:pt x="1124663" y="4374497"/>
                </a:cubicBezTo>
                <a:cubicBezTo>
                  <a:pt x="1124508" y="4374601"/>
                  <a:pt x="1124508" y="4374601"/>
                  <a:pt x="1124353" y="4374704"/>
                </a:cubicBezTo>
                <a:lnTo>
                  <a:pt x="1124198" y="4374291"/>
                </a:lnTo>
                <a:lnTo>
                  <a:pt x="1123734" y="4374394"/>
                </a:lnTo>
                <a:cubicBezTo>
                  <a:pt x="1123114" y="4374394"/>
                  <a:pt x="1122495" y="4374291"/>
                  <a:pt x="1121875" y="4373774"/>
                </a:cubicBezTo>
                <a:cubicBezTo>
                  <a:pt x="1120945" y="4373671"/>
                  <a:pt x="1121101" y="4370264"/>
                  <a:pt x="1121875" y="4369541"/>
                </a:cubicBezTo>
                <a:cubicBezTo>
                  <a:pt x="1123734" y="4367992"/>
                  <a:pt x="1124508" y="4367269"/>
                  <a:pt x="1126212" y="4367476"/>
                </a:cubicBezTo>
                <a:cubicBezTo>
                  <a:pt x="1127141" y="4366650"/>
                  <a:pt x="1127916" y="4365927"/>
                  <a:pt x="1128690" y="4365617"/>
                </a:cubicBezTo>
                <a:lnTo>
                  <a:pt x="1130704" y="4366134"/>
                </a:lnTo>
                <a:lnTo>
                  <a:pt x="1129465" y="4365514"/>
                </a:lnTo>
                <a:cubicBezTo>
                  <a:pt x="1128845" y="4365101"/>
                  <a:pt x="1128535" y="4364585"/>
                  <a:pt x="1128535" y="4363965"/>
                </a:cubicBezTo>
                <a:cubicBezTo>
                  <a:pt x="1129310" y="4363449"/>
                  <a:pt x="1128845" y="4362726"/>
                  <a:pt x="1129465" y="4362313"/>
                </a:cubicBezTo>
                <a:cubicBezTo>
                  <a:pt x="1129775" y="4361590"/>
                  <a:pt x="1130085" y="4361280"/>
                  <a:pt x="1130395" y="4360971"/>
                </a:cubicBezTo>
                <a:cubicBezTo>
                  <a:pt x="1129000" y="4362210"/>
                  <a:pt x="1127452" y="4363139"/>
                  <a:pt x="1125593" y="4363242"/>
                </a:cubicBezTo>
                <a:cubicBezTo>
                  <a:pt x="1126522" y="4360145"/>
                  <a:pt x="1127606" y="4357253"/>
                  <a:pt x="1128381" y="4354052"/>
                </a:cubicBezTo>
                <a:lnTo>
                  <a:pt x="1129000" y="4348373"/>
                </a:lnTo>
                <a:lnTo>
                  <a:pt x="1128535" y="4348064"/>
                </a:lnTo>
                <a:lnTo>
                  <a:pt x="1127606" y="4348477"/>
                </a:lnTo>
                <a:lnTo>
                  <a:pt x="1127606" y="4348683"/>
                </a:lnTo>
                <a:cubicBezTo>
                  <a:pt x="1125748" y="4351058"/>
                  <a:pt x="1126522" y="4353640"/>
                  <a:pt x="1124663" y="4355911"/>
                </a:cubicBezTo>
                <a:cubicBezTo>
                  <a:pt x="1124663" y="4355911"/>
                  <a:pt x="1124663" y="4356014"/>
                  <a:pt x="1123888" y="4355085"/>
                </a:cubicBezTo>
                <a:cubicBezTo>
                  <a:pt x="1124819" y="4353020"/>
                  <a:pt x="1124819" y="4350851"/>
                  <a:pt x="1124973" y="4348786"/>
                </a:cubicBezTo>
                <a:lnTo>
                  <a:pt x="1125438" y="4347547"/>
                </a:lnTo>
                <a:lnTo>
                  <a:pt x="1123424" y="4348373"/>
                </a:lnTo>
                <a:cubicBezTo>
                  <a:pt x="1119242" y="4350129"/>
                  <a:pt x="1115215" y="4352091"/>
                  <a:pt x="1110258" y="4351574"/>
                </a:cubicBezTo>
                <a:lnTo>
                  <a:pt x="1106230" y="4350748"/>
                </a:lnTo>
                <a:lnTo>
                  <a:pt x="1106850" y="4353123"/>
                </a:lnTo>
                <a:lnTo>
                  <a:pt x="1109638" y="4353123"/>
                </a:lnTo>
                <a:cubicBezTo>
                  <a:pt x="1114285" y="4354672"/>
                  <a:pt x="1117074" y="4360145"/>
                  <a:pt x="1114595" y="4364378"/>
                </a:cubicBezTo>
                <a:cubicBezTo>
                  <a:pt x="1113665" y="4364688"/>
                  <a:pt x="1112581" y="4365307"/>
                  <a:pt x="1111342" y="4365720"/>
                </a:cubicBezTo>
                <a:lnTo>
                  <a:pt x="1110723" y="4365824"/>
                </a:lnTo>
                <a:lnTo>
                  <a:pt x="1112427" y="4367579"/>
                </a:lnTo>
                <a:lnTo>
                  <a:pt x="1112581" y="4368302"/>
                </a:lnTo>
                <a:lnTo>
                  <a:pt x="1113511" y="4368612"/>
                </a:lnTo>
                <a:cubicBezTo>
                  <a:pt x="1113511" y="4368612"/>
                  <a:pt x="1113511" y="4368612"/>
                  <a:pt x="1113511" y="4369335"/>
                </a:cubicBezTo>
                <a:lnTo>
                  <a:pt x="1112736" y="4368921"/>
                </a:lnTo>
                <a:lnTo>
                  <a:pt x="1112891" y="4369851"/>
                </a:lnTo>
                <a:lnTo>
                  <a:pt x="1113511" y="4369541"/>
                </a:lnTo>
                <a:cubicBezTo>
                  <a:pt x="1113511" y="4369541"/>
                  <a:pt x="1113820" y="4370264"/>
                  <a:pt x="1113356" y="4371400"/>
                </a:cubicBezTo>
                <a:cubicBezTo>
                  <a:pt x="1113356" y="4371400"/>
                  <a:pt x="1113201" y="4371297"/>
                  <a:pt x="1113046" y="4371090"/>
                </a:cubicBezTo>
                <a:lnTo>
                  <a:pt x="1112891" y="4370264"/>
                </a:lnTo>
                <a:lnTo>
                  <a:pt x="1111187" y="4372948"/>
                </a:lnTo>
                <a:cubicBezTo>
                  <a:pt x="1110258" y="4373671"/>
                  <a:pt x="1108864" y="4373981"/>
                  <a:pt x="1107470" y="4373878"/>
                </a:cubicBezTo>
                <a:cubicBezTo>
                  <a:pt x="1105920" y="4373774"/>
                  <a:pt x="1104062" y="4373052"/>
                  <a:pt x="1102513" y="4371503"/>
                </a:cubicBezTo>
                <a:cubicBezTo>
                  <a:pt x="1102513" y="4370470"/>
                  <a:pt x="1103132" y="4369231"/>
                  <a:pt x="1103907" y="4367992"/>
                </a:cubicBezTo>
                <a:lnTo>
                  <a:pt x="1106385" y="4365204"/>
                </a:lnTo>
                <a:lnTo>
                  <a:pt x="1102978" y="4360041"/>
                </a:lnTo>
                <a:lnTo>
                  <a:pt x="1103442" y="4358183"/>
                </a:lnTo>
                <a:lnTo>
                  <a:pt x="1102978" y="4357976"/>
                </a:lnTo>
                <a:cubicBezTo>
                  <a:pt x="1102358" y="4357460"/>
                  <a:pt x="1102048" y="4356634"/>
                  <a:pt x="1102513" y="4355395"/>
                </a:cubicBezTo>
                <a:lnTo>
                  <a:pt x="1103907" y="4355498"/>
                </a:lnTo>
                <a:lnTo>
                  <a:pt x="1104062" y="4354878"/>
                </a:lnTo>
                <a:lnTo>
                  <a:pt x="1104062" y="4354362"/>
                </a:lnTo>
                <a:cubicBezTo>
                  <a:pt x="1104062" y="4354362"/>
                  <a:pt x="1103442" y="4353640"/>
                  <a:pt x="1103752" y="4352401"/>
                </a:cubicBezTo>
                <a:cubicBezTo>
                  <a:pt x="1103907" y="4351162"/>
                  <a:pt x="1104062" y="4349922"/>
                  <a:pt x="1105920" y="4349819"/>
                </a:cubicBezTo>
                <a:lnTo>
                  <a:pt x="1106075" y="4350026"/>
                </a:lnTo>
                <a:lnTo>
                  <a:pt x="1107470" y="4347341"/>
                </a:lnTo>
                <a:cubicBezTo>
                  <a:pt x="1110103" y="4344243"/>
                  <a:pt x="1115060" y="4341765"/>
                  <a:pt x="1120171" y="4340629"/>
                </a:cubicBezTo>
                <a:lnTo>
                  <a:pt x="1126986" y="4340526"/>
                </a:lnTo>
                <a:lnTo>
                  <a:pt x="1123734" y="4338358"/>
                </a:lnTo>
                <a:cubicBezTo>
                  <a:pt x="1121101" y="4336293"/>
                  <a:pt x="1118157" y="4333711"/>
                  <a:pt x="1116918" y="4332678"/>
                </a:cubicBezTo>
                <a:cubicBezTo>
                  <a:pt x="1116918" y="4331852"/>
                  <a:pt x="1116918" y="4331852"/>
                  <a:pt x="1116918" y="4331852"/>
                </a:cubicBezTo>
                <a:cubicBezTo>
                  <a:pt x="1117383" y="4331027"/>
                  <a:pt x="1118003" y="4330923"/>
                  <a:pt x="1118777" y="4331233"/>
                </a:cubicBezTo>
                <a:cubicBezTo>
                  <a:pt x="1119706" y="4331543"/>
                  <a:pt x="1120791" y="4332369"/>
                  <a:pt x="1122030" y="4333401"/>
                </a:cubicBezTo>
                <a:cubicBezTo>
                  <a:pt x="1124508" y="4335363"/>
                  <a:pt x="1126986" y="4339183"/>
                  <a:pt x="1127761" y="4340216"/>
                </a:cubicBezTo>
                <a:lnTo>
                  <a:pt x="1128381" y="4340526"/>
                </a:lnTo>
                <a:lnTo>
                  <a:pt x="1130085" y="4340526"/>
                </a:lnTo>
                <a:lnTo>
                  <a:pt x="1132098" y="4341455"/>
                </a:lnTo>
                <a:lnTo>
                  <a:pt x="1134576" y="4340629"/>
                </a:lnTo>
                <a:lnTo>
                  <a:pt x="1135506" y="4343417"/>
                </a:lnTo>
                <a:lnTo>
                  <a:pt x="1136126" y="4336293"/>
                </a:lnTo>
                <a:cubicBezTo>
                  <a:pt x="1135971" y="4335157"/>
                  <a:pt x="1135816" y="4334124"/>
                  <a:pt x="1135816" y="4333505"/>
                </a:cubicBezTo>
                <a:lnTo>
                  <a:pt x="1135661" y="4332782"/>
                </a:lnTo>
                <a:lnTo>
                  <a:pt x="1135351" y="4332678"/>
                </a:lnTo>
                <a:cubicBezTo>
                  <a:pt x="1133957" y="4330820"/>
                  <a:pt x="1133957" y="4329168"/>
                  <a:pt x="1134267" y="4327309"/>
                </a:cubicBezTo>
                <a:lnTo>
                  <a:pt x="1134886" y="4324625"/>
                </a:lnTo>
                <a:lnTo>
                  <a:pt x="1134731" y="4324625"/>
                </a:lnTo>
                <a:cubicBezTo>
                  <a:pt x="1134267" y="4324831"/>
                  <a:pt x="1133802" y="4324728"/>
                  <a:pt x="1133183" y="4324315"/>
                </a:cubicBezTo>
                <a:cubicBezTo>
                  <a:pt x="1129465" y="4320598"/>
                  <a:pt x="1131014" y="4314505"/>
                  <a:pt x="1132098" y="4311408"/>
                </a:cubicBezTo>
                <a:lnTo>
                  <a:pt x="1132718" y="4309652"/>
                </a:lnTo>
                <a:lnTo>
                  <a:pt x="1131788" y="4309652"/>
                </a:lnTo>
                <a:lnTo>
                  <a:pt x="1132718" y="4308826"/>
                </a:lnTo>
                <a:lnTo>
                  <a:pt x="1132718" y="4308620"/>
                </a:lnTo>
                <a:cubicBezTo>
                  <a:pt x="1133647" y="4308723"/>
                  <a:pt x="1133647" y="4307897"/>
                  <a:pt x="1132718" y="4307794"/>
                </a:cubicBezTo>
                <a:cubicBezTo>
                  <a:pt x="1133647" y="4306555"/>
                  <a:pt x="1134267" y="4305522"/>
                  <a:pt x="1135041" y="4305109"/>
                </a:cubicBezTo>
                <a:close/>
                <a:moveTo>
                  <a:pt x="5266116" y="4304817"/>
                </a:moveTo>
                <a:cubicBezTo>
                  <a:pt x="5272621" y="4307605"/>
                  <a:pt x="5276029" y="4307605"/>
                  <a:pt x="5280831" y="4310393"/>
                </a:cubicBezTo>
                <a:cubicBezTo>
                  <a:pt x="5280676" y="4311322"/>
                  <a:pt x="5279902" y="4311219"/>
                  <a:pt x="5279747" y="4312148"/>
                </a:cubicBezTo>
                <a:cubicBezTo>
                  <a:pt x="5279282" y="4312562"/>
                  <a:pt x="5278508" y="4312768"/>
                  <a:pt x="5277423" y="4312665"/>
                </a:cubicBezTo>
                <a:cubicBezTo>
                  <a:pt x="5274325" y="4312665"/>
                  <a:pt x="5269833" y="4310909"/>
                  <a:pt x="5269833" y="4310186"/>
                </a:cubicBezTo>
                <a:cubicBezTo>
                  <a:pt x="5269059" y="4310186"/>
                  <a:pt x="5269059" y="4309257"/>
                  <a:pt x="5268285" y="4309257"/>
                </a:cubicBezTo>
                <a:cubicBezTo>
                  <a:pt x="5268285" y="4309257"/>
                  <a:pt x="5267510" y="4309257"/>
                  <a:pt x="5266735" y="4308431"/>
                </a:cubicBezTo>
                <a:cubicBezTo>
                  <a:pt x="5266271" y="4307915"/>
                  <a:pt x="5265961" y="4307502"/>
                  <a:pt x="5265806" y="4306882"/>
                </a:cubicBezTo>
                <a:cubicBezTo>
                  <a:pt x="5265651" y="4306366"/>
                  <a:pt x="5265651" y="4305746"/>
                  <a:pt x="5266116" y="4304817"/>
                </a:cubicBezTo>
                <a:close/>
                <a:moveTo>
                  <a:pt x="5883068" y="4304714"/>
                </a:moveTo>
                <a:cubicBezTo>
                  <a:pt x="5884927" y="4304714"/>
                  <a:pt x="5884152" y="4305127"/>
                  <a:pt x="5885236" y="4305437"/>
                </a:cubicBezTo>
                <a:cubicBezTo>
                  <a:pt x="5886321" y="4305850"/>
                  <a:pt x="5888179" y="4305953"/>
                  <a:pt x="5888954" y="4305540"/>
                </a:cubicBezTo>
                <a:cubicBezTo>
                  <a:pt x="5887870" y="4309877"/>
                  <a:pt x="5890658" y="4310290"/>
                  <a:pt x="5888644" y="4316898"/>
                </a:cubicBezTo>
                <a:cubicBezTo>
                  <a:pt x="5886940" y="4323403"/>
                  <a:pt x="5883223" y="4325572"/>
                  <a:pt x="5879660" y="4325985"/>
                </a:cubicBezTo>
                <a:cubicBezTo>
                  <a:pt x="5878576" y="4326088"/>
                  <a:pt x="5877337" y="4325985"/>
                  <a:pt x="5876407" y="4325778"/>
                </a:cubicBezTo>
                <a:cubicBezTo>
                  <a:pt x="5876717" y="4324952"/>
                  <a:pt x="5871296" y="4323713"/>
                  <a:pt x="5869592" y="4319067"/>
                </a:cubicBezTo>
                <a:cubicBezTo>
                  <a:pt x="5869127" y="4317518"/>
                  <a:pt x="5868972" y="4315659"/>
                  <a:pt x="5869747" y="4313181"/>
                </a:cubicBezTo>
                <a:cubicBezTo>
                  <a:pt x="5871296" y="4307708"/>
                  <a:pt x="5874703" y="4302339"/>
                  <a:pt x="5883068" y="4304714"/>
                </a:cubicBezTo>
                <a:close/>
                <a:moveTo>
                  <a:pt x="5037954" y="4304404"/>
                </a:moveTo>
                <a:cubicBezTo>
                  <a:pt x="5039813" y="4301823"/>
                  <a:pt x="5042136" y="4303578"/>
                  <a:pt x="5045234" y="4304507"/>
                </a:cubicBezTo>
                <a:cubicBezTo>
                  <a:pt x="5044459" y="4305334"/>
                  <a:pt x="5045079" y="4306263"/>
                  <a:pt x="5045853" y="4307089"/>
                </a:cubicBezTo>
                <a:cubicBezTo>
                  <a:pt x="5044459" y="4308431"/>
                  <a:pt x="5042601" y="4310600"/>
                  <a:pt x="5040432" y="4310186"/>
                </a:cubicBezTo>
                <a:cubicBezTo>
                  <a:pt x="5039813" y="4310083"/>
                  <a:pt x="5039038" y="4309567"/>
                  <a:pt x="5038263" y="4308741"/>
                </a:cubicBezTo>
                <a:cubicBezTo>
                  <a:pt x="5037799" y="4308741"/>
                  <a:pt x="5037489" y="4307811"/>
                  <a:pt x="5037489" y="4306882"/>
                </a:cubicBezTo>
                <a:cubicBezTo>
                  <a:pt x="5037334" y="4305850"/>
                  <a:pt x="5037489" y="4304817"/>
                  <a:pt x="5037954" y="4304404"/>
                </a:cubicBezTo>
                <a:close/>
                <a:moveTo>
                  <a:pt x="5375937" y="4304301"/>
                </a:moveTo>
                <a:cubicBezTo>
                  <a:pt x="5376712" y="4305127"/>
                  <a:pt x="5377486" y="4306056"/>
                  <a:pt x="5377331" y="4307811"/>
                </a:cubicBezTo>
                <a:cubicBezTo>
                  <a:pt x="5375473" y="4309567"/>
                  <a:pt x="5373149" y="4308534"/>
                  <a:pt x="5372220" y="4309464"/>
                </a:cubicBezTo>
                <a:cubicBezTo>
                  <a:pt x="5372220" y="4308534"/>
                  <a:pt x="5372374" y="4306882"/>
                  <a:pt x="5370826" y="4305953"/>
                </a:cubicBezTo>
                <a:cubicBezTo>
                  <a:pt x="5372685" y="4304198"/>
                  <a:pt x="5374543" y="4302545"/>
                  <a:pt x="5375937" y="4304301"/>
                </a:cubicBezTo>
                <a:close/>
                <a:moveTo>
                  <a:pt x="1541799" y="4304076"/>
                </a:moveTo>
                <a:cubicBezTo>
                  <a:pt x="1543658" y="4304283"/>
                  <a:pt x="1541954" y="4307587"/>
                  <a:pt x="1542108" y="4308413"/>
                </a:cubicBezTo>
                <a:lnTo>
                  <a:pt x="1541489" y="4309343"/>
                </a:lnTo>
                <a:lnTo>
                  <a:pt x="1541489" y="4310272"/>
                </a:lnTo>
                <a:cubicBezTo>
                  <a:pt x="1541489" y="4311098"/>
                  <a:pt x="1540715" y="4310995"/>
                  <a:pt x="1539785" y="4311821"/>
                </a:cubicBezTo>
                <a:cubicBezTo>
                  <a:pt x="1539011" y="4311717"/>
                  <a:pt x="1538237" y="4310685"/>
                  <a:pt x="1538237" y="4310685"/>
                </a:cubicBezTo>
                <a:cubicBezTo>
                  <a:pt x="1537307" y="4309756"/>
                  <a:pt x="1537307" y="4309756"/>
                  <a:pt x="1536532" y="4310478"/>
                </a:cubicBezTo>
                <a:cubicBezTo>
                  <a:pt x="1536532" y="4310478"/>
                  <a:pt x="1536532" y="4309652"/>
                  <a:pt x="1536532" y="4309652"/>
                </a:cubicBezTo>
                <a:cubicBezTo>
                  <a:pt x="1537307" y="4309756"/>
                  <a:pt x="1536532" y="4309652"/>
                  <a:pt x="1535758" y="4308723"/>
                </a:cubicBezTo>
                <a:cubicBezTo>
                  <a:pt x="1536532" y="4307071"/>
                  <a:pt x="1536532" y="4306245"/>
                  <a:pt x="1537462" y="4305419"/>
                </a:cubicBezTo>
                <a:cubicBezTo>
                  <a:pt x="1537927" y="4305006"/>
                  <a:pt x="1538546" y="4304696"/>
                  <a:pt x="1539165" y="4304490"/>
                </a:cubicBezTo>
                <a:lnTo>
                  <a:pt x="1539630" y="4304696"/>
                </a:lnTo>
                <a:lnTo>
                  <a:pt x="1539785" y="4304490"/>
                </a:lnTo>
                <a:cubicBezTo>
                  <a:pt x="1540560" y="4304076"/>
                  <a:pt x="1541335" y="4303767"/>
                  <a:pt x="1541799" y="4304076"/>
                </a:cubicBezTo>
                <a:close/>
                <a:moveTo>
                  <a:pt x="5940070" y="4303062"/>
                </a:moveTo>
                <a:cubicBezTo>
                  <a:pt x="5941463" y="4303372"/>
                  <a:pt x="5942548" y="4304301"/>
                  <a:pt x="5943167" y="4305953"/>
                </a:cubicBezTo>
                <a:cubicBezTo>
                  <a:pt x="5942858" y="4307295"/>
                  <a:pt x="5942393" y="4308121"/>
                  <a:pt x="5941774" y="4308638"/>
                </a:cubicBezTo>
                <a:lnTo>
                  <a:pt x="5940844" y="4309051"/>
                </a:lnTo>
                <a:lnTo>
                  <a:pt x="5940999" y="4311632"/>
                </a:lnTo>
                <a:cubicBezTo>
                  <a:pt x="5940379" y="4314110"/>
                  <a:pt x="5938366" y="4315969"/>
                  <a:pt x="5936042" y="4316382"/>
                </a:cubicBezTo>
                <a:cubicBezTo>
                  <a:pt x="5934493" y="4316692"/>
                  <a:pt x="5932789" y="4316278"/>
                  <a:pt x="5931241" y="4314936"/>
                </a:cubicBezTo>
                <a:cubicBezTo>
                  <a:pt x="5931705" y="4311012"/>
                  <a:pt x="5931705" y="4306676"/>
                  <a:pt x="5934184" y="4304817"/>
                </a:cubicBezTo>
                <a:lnTo>
                  <a:pt x="5934338" y="4304817"/>
                </a:lnTo>
                <a:cubicBezTo>
                  <a:pt x="5935888" y="4303268"/>
                  <a:pt x="5938211" y="4302545"/>
                  <a:pt x="5940070" y="4303062"/>
                </a:cubicBezTo>
                <a:close/>
                <a:moveTo>
                  <a:pt x="1190959" y="4302941"/>
                </a:moveTo>
                <a:cubicBezTo>
                  <a:pt x="1196845" y="4306555"/>
                  <a:pt x="1194986" y="4320288"/>
                  <a:pt x="1185847" y="4323179"/>
                </a:cubicBezTo>
                <a:cubicBezTo>
                  <a:pt x="1184143" y="4322559"/>
                  <a:pt x="1182904" y="4321320"/>
                  <a:pt x="1181975" y="4319772"/>
                </a:cubicBezTo>
                <a:cubicBezTo>
                  <a:pt x="1179342" y="4315228"/>
                  <a:pt x="1180271" y="4307587"/>
                  <a:pt x="1182439" y="4303457"/>
                </a:cubicBezTo>
                <a:cubicBezTo>
                  <a:pt x="1186157" y="4301599"/>
                  <a:pt x="1188945" y="4301702"/>
                  <a:pt x="1190959" y="4302941"/>
                </a:cubicBezTo>
                <a:close/>
                <a:moveTo>
                  <a:pt x="1216052" y="4302837"/>
                </a:moveTo>
                <a:cubicBezTo>
                  <a:pt x="1214193" y="4311098"/>
                  <a:pt x="1213883" y="4319772"/>
                  <a:pt x="1204590" y="4326277"/>
                </a:cubicBezTo>
                <a:cubicBezTo>
                  <a:pt x="1202111" y="4324831"/>
                  <a:pt x="1197774" y="4325554"/>
                  <a:pt x="1197619" y="4321217"/>
                </a:cubicBezTo>
                <a:cubicBezTo>
                  <a:pt x="1208152" y="4318429"/>
                  <a:pt x="1205984" y="4302218"/>
                  <a:pt x="1216052" y="4302837"/>
                </a:cubicBezTo>
                <a:close/>
                <a:moveTo>
                  <a:pt x="5774640" y="4302545"/>
                </a:moveTo>
                <a:cubicBezTo>
                  <a:pt x="5775415" y="4302959"/>
                  <a:pt x="5777273" y="4303165"/>
                  <a:pt x="5777428" y="4304301"/>
                </a:cubicBezTo>
                <a:cubicBezTo>
                  <a:pt x="5777584" y="4305540"/>
                  <a:pt x="5777584" y="4305437"/>
                  <a:pt x="5776654" y="4306986"/>
                </a:cubicBezTo>
                <a:cubicBezTo>
                  <a:pt x="5775880" y="4305953"/>
                  <a:pt x="5775415" y="4305437"/>
                  <a:pt x="5775260" y="4304817"/>
                </a:cubicBezTo>
                <a:cubicBezTo>
                  <a:pt x="5774950" y="4304301"/>
                  <a:pt x="5774795" y="4303681"/>
                  <a:pt x="5774640" y="4302545"/>
                </a:cubicBezTo>
                <a:close/>
                <a:moveTo>
                  <a:pt x="1511459" y="4302257"/>
                </a:moveTo>
                <a:cubicBezTo>
                  <a:pt x="1514344" y="4302502"/>
                  <a:pt x="1517248" y="4304231"/>
                  <a:pt x="1519494" y="4308207"/>
                </a:cubicBezTo>
                <a:lnTo>
                  <a:pt x="1514072" y="4312853"/>
                </a:lnTo>
                <a:lnTo>
                  <a:pt x="1515776" y="4313679"/>
                </a:lnTo>
                <a:lnTo>
                  <a:pt x="1516706" y="4317397"/>
                </a:lnTo>
                <a:lnTo>
                  <a:pt x="1517016" y="4317293"/>
                </a:lnTo>
                <a:cubicBezTo>
                  <a:pt x="1519184" y="4318119"/>
                  <a:pt x="1520888" y="4320184"/>
                  <a:pt x="1520733" y="4323179"/>
                </a:cubicBezTo>
                <a:cubicBezTo>
                  <a:pt x="1519339" y="4325450"/>
                  <a:pt x="1518100" y="4327619"/>
                  <a:pt x="1513918" y="4327619"/>
                </a:cubicBezTo>
                <a:cubicBezTo>
                  <a:pt x="1511129" y="4325347"/>
                  <a:pt x="1510045" y="4322766"/>
                  <a:pt x="1510355" y="4317913"/>
                </a:cubicBezTo>
                <a:lnTo>
                  <a:pt x="1511129" y="4317913"/>
                </a:lnTo>
                <a:lnTo>
                  <a:pt x="1509426" y="4317190"/>
                </a:lnTo>
                <a:lnTo>
                  <a:pt x="1509271" y="4316674"/>
                </a:lnTo>
                <a:lnTo>
                  <a:pt x="1504159" y="4319978"/>
                </a:lnTo>
                <a:cubicBezTo>
                  <a:pt x="1502455" y="4319048"/>
                  <a:pt x="1501216" y="4317810"/>
                  <a:pt x="1500596" y="4316571"/>
                </a:cubicBezTo>
                <a:lnTo>
                  <a:pt x="1500286" y="4315022"/>
                </a:lnTo>
                <a:lnTo>
                  <a:pt x="1499822" y="4316571"/>
                </a:lnTo>
                <a:cubicBezTo>
                  <a:pt x="1494711" y="4314196"/>
                  <a:pt x="1495949" y="4313060"/>
                  <a:pt x="1498428" y="4309652"/>
                </a:cubicBezTo>
                <a:lnTo>
                  <a:pt x="1500132" y="4311717"/>
                </a:lnTo>
                <a:lnTo>
                  <a:pt x="1503539" y="4305212"/>
                </a:lnTo>
                <a:cubicBezTo>
                  <a:pt x="1505708" y="4303251"/>
                  <a:pt x="1508573" y="4302011"/>
                  <a:pt x="1511459" y="4302257"/>
                </a:cubicBezTo>
                <a:close/>
                <a:moveTo>
                  <a:pt x="5972133" y="4302029"/>
                </a:moveTo>
                <a:cubicBezTo>
                  <a:pt x="5971513" y="4302649"/>
                  <a:pt x="5970894" y="4304301"/>
                  <a:pt x="5969965" y="4304611"/>
                </a:cubicBezTo>
                <a:cubicBezTo>
                  <a:pt x="5969655" y="4304817"/>
                  <a:pt x="5969345" y="4304714"/>
                  <a:pt x="5968880" y="4304507"/>
                </a:cubicBezTo>
                <a:cubicBezTo>
                  <a:pt x="5969655" y="4302855"/>
                  <a:pt x="5970429" y="4302029"/>
                  <a:pt x="5972133" y="4302029"/>
                </a:cubicBezTo>
                <a:close/>
                <a:moveTo>
                  <a:pt x="5772782" y="4301203"/>
                </a:moveTo>
                <a:cubicBezTo>
                  <a:pt x="5773091" y="4300480"/>
                  <a:pt x="5773866" y="4300997"/>
                  <a:pt x="5774176" y="4302133"/>
                </a:cubicBezTo>
                <a:cubicBezTo>
                  <a:pt x="5774176" y="4302133"/>
                  <a:pt x="5773711" y="4302855"/>
                  <a:pt x="5773711" y="4302855"/>
                </a:cubicBezTo>
                <a:cubicBezTo>
                  <a:pt x="5773401" y="4302649"/>
                  <a:pt x="5772937" y="4302339"/>
                  <a:pt x="5772782" y="4302029"/>
                </a:cubicBezTo>
                <a:cubicBezTo>
                  <a:pt x="5772626" y="4301823"/>
                  <a:pt x="5772472" y="4301513"/>
                  <a:pt x="5772782" y="4301203"/>
                </a:cubicBezTo>
                <a:close/>
                <a:moveTo>
                  <a:pt x="1375750" y="4300049"/>
                </a:moveTo>
                <a:cubicBezTo>
                  <a:pt x="1378383" y="4301495"/>
                  <a:pt x="1380552" y="4304283"/>
                  <a:pt x="1380552" y="4307174"/>
                </a:cubicBezTo>
                <a:cubicBezTo>
                  <a:pt x="1378848" y="4307587"/>
                  <a:pt x="1377454" y="4307897"/>
                  <a:pt x="1376060" y="4308000"/>
                </a:cubicBezTo>
                <a:cubicBezTo>
                  <a:pt x="1374666" y="4308104"/>
                  <a:pt x="1373427" y="4308000"/>
                  <a:pt x="1372342" y="4307587"/>
                </a:cubicBezTo>
                <a:cubicBezTo>
                  <a:pt x="1370328" y="4306865"/>
                  <a:pt x="1368625" y="4305109"/>
                  <a:pt x="1367695" y="4301702"/>
                </a:cubicBezTo>
                <a:cubicBezTo>
                  <a:pt x="1369709" y="4298707"/>
                  <a:pt x="1372962" y="4298707"/>
                  <a:pt x="1375750" y="4300049"/>
                </a:cubicBezTo>
                <a:close/>
                <a:moveTo>
                  <a:pt x="5515809" y="4299964"/>
                </a:moveTo>
                <a:cubicBezTo>
                  <a:pt x="5518132" y="4301513"/>
                  <a:pt x="5518907" y="4303475"/>
                  <a:pt x="5518907" y="4305334"/>
                </a:cubicBezTo>
                <a:cubicBezTo>
                  <a:pt x="5518752" y="4308431"/>
                  <a:pt x="5515964" y="4311322"/>
                  <a:pt x="5513021" y="4312148"/>
                </a:cubicBezTo>
                <a:cubicBezTo>
                  <a:pt x="5512091" y="4312355"/>
                  <a:pt x="5511007" y="4312355"/>
                  <a:pt x="5510077" y="4312045"/>
                </a:cubicBezTo>
                <a:cubicBezTo>
                  <a:pt x="5508838" y="4311632"/>
                  <a:pt x="5507599" y="4310703"/>
                  <a:pt x="5506825" y="4308947"/>
                </a:cubicBezTo>
                <a:cubicBezTo>
                  <a:pt x="5507444" y="4305437"/>
                  <a:pt x="5513175" y="4300687"/>
                  <a:pt x="5515809" y="4299964"/>
                </a:cubicBezTo>
                <a:close/>
                <a:moveTo>
                  <a:pt x="5425039" y="4299654"/>
                </a:moveTo>
                <a:lnTo>
                  <a:pt x="5425504" y="4300067"/>
                </a:lnTo>
                <a:lnTo>
                  <a:pt x="5433868" y="4304404"/>
                </a:lnTo>
                <a:cubicBezTo>
                  <a:pt x="5434643" y="4305230"/>
                  <a:pt x="5435882" y="4308741"/>
                  <a:pt x="5434952" y="4309567"/>
                </a:cubicBezTo>
                <a:cubicBezTo>
                  <a:pt x="5434023" y="4310496"/>
                  <a:pt x="5433249" y="4310496"/>
                  <a:pt x="5432475" y="4310496"/>
                </a:cubicBezTo>
                <a:lnTo>
                  <a:pt x="5428602" y="4308225"/>
                </a:lnTo>
                <a:lnTo>
                  <a:pt x="5428602" y="4310083"/>
                </a:lnTo>
                <a:cubicBezTo>
                  <a:pt x="5428137" y="4312148"/>
                  <a:pt x="5427363" y="4313697"/>
                  <a:pt x="5426589" y="4314213"/>
                </a:cubicBezTo>
                <a:cubicBezTo>
                  <a:pt x="5424265" y="4314936"/>
                  <a:pt x="5421012" y="4313904"/>
                  <a:pt x="5420392" y="4310290"/>
                </a:cubicBezTo>
                <a:cubicBezTo>
                  <a:pt x="5419308" y="4307502"/>
                  <a:pt x="5421322" y="4304507"/>
                  <a:pt x="5420702" y="4300894"/>
                </a:cubicBezTo>
                <a:cubicBezTo>
                  <a:pt x="5422716" y="4300067"/>
                  <a:pt x="5423955" y="4299551"/>
                  <a:pt x="5425039" y="4299654"/>
                </a:cubicBezTo>
                <a:close/>
                <a:moveTo>
                  <a:pt x="5473831" y="4299344"/>
                </a:moveTo>
                <a:cubicBezTo>
                  <a:pt x="5475690" y="4300894"/>
                  <a:pt x="5478478" y="4303372"/>
                  <a:pt x="5477239" y="4306160"/>
                </a:cubicBezTo>
                <a:cubicBezTo>
                  <a:pt x="5476465" y="4306160"/>
                  <a:pt x="5476620" y="4307089"/>
                  <a:pt x="5475690" y="4307089"/>
                </a:cubicBezTo>
                <a:cubicBezTo>
                  <a:pt x="5475690" y="4307089"/>
                  <a:pt x="5475071" y="4307605"/>
                  <a:pt x="5473831" y="4307708"/>
                </a:cubicBezTo>
                <a:cubicBezTo>
                  <a:pt x="5473212" y="4307811"/>
                  <a:pt x="5472438" y="4307811"/>
                  <a:pt x="5471663" y="4307708"/>
                </a:cubicBezTo>
                <a:cubicBezTo>
                  <a:pt x="5470889" y="4307502"/>
                  <a:pt x="5469959" y="4307192"/>
                  <a:pt x="5469030" y="4306572"/>
                </a:cubicBezTo>
                <a:cubicBezTo>
                  <a:pt x="5468100" y="4305746"/>
                  <a:pt x="5466087" y="4303268"/>
                  <a:pt x="5466861" y="4303268"/>
                </a:cubicBezTo>
                <a:cubicBezTo>
                  <a:pt x="5467636" y="4302339"/>
                  <a:pt x="5466861" y="4302339"/>
                  <a:pt x="5466707" y="4301410"/>
                </a:cubicBezTo>
                <a:cubicBezTo>
                  <a:pt x="5468720" y="4298622"/>
                  <a:pt x="5471043" y="4297693"/>
                  <a:pt x="5473831" y="4299344"/>
                </a:cubicBezTo>
                <a:close/>
                <a:moveTo>
                  <a:pt x="1361190" y="4299327"/>
                </a:moveTo>
                <a:cubicBezTo>
                  <a:pt x="1364753" y="4299946"/>
                  <a:pt x="1365992" y="4302218"/>
                  <a:pt x="1363978" y="4305522"/>
                </a:cubicBezTo>
                <a:cubicBezTo>
                  <a:pt x="1362119" y="4304283"/>
                  <a:pt x="1360570" y="4305625"/>
                  <a:pt x="1358557" y="4304386"/>
                </a:cubicBezTo>
                <a:cubicBezTo>
                  <a:pt x="1359950" y="4302218"/>
                  <a:pt x="1360415" y="4300359"/>
                  <a:pt x="1361190" y="4299327"/>
                </a:cubicBezTo>
                <a:close/>
                <a:moveTo>
                  <a:pt x="5533157" y="4299241"/>
                </a:moveTo>
                <a:cubicBezTo>
                  <a:pt x="5534241" y="4298932"/>
                  <a:pt x="5534861" y="4299344"/>
                  <a:pt x="5535635" y="4299861"/>
                </a:cubicBezTo>
                <a:cubicBezTo>
                  <a:pt x="5535790" y="4300997"/>
                  <a:pt x="5535325" y="4301719"/>
                  <a:pt x="5535480" y="4302855"/>
                </a:cubicBezTo>
                <a:cubicBezTo>
                  <a:pt x="5536255" y="4303372"/>
                  <a:pt x="5537494" y="4304198"/>
                  <a:pt x="5537804" y="4305437"/>
                </a:cubicBezTo>
                <a:cubicBezTo>
                  <a:pt x="5537959" y="4306572"/>
                  <a:pt x="5537649" y="4308534"/>
                  <a:pt x="5537649" y="4308534"/>
                </a:cubicBezTo>
                <a:cubicBezTo>
                  <a:pt x="5537029" y="4308638"/>
                  <a:pt x="5536720" y="4308741"/>
                  <a:pt x="5536720" y="4308741"/>
                </a:cubicBezTo>
                <a:cubicBezTo>
                  <a:pt x="5536565" y="4308638"/>
                  <a:pt x="5536720" y="4308431"/>
                  <a:pt x="5537029" y="4308018"/>
                </a:cubicBezTo>
                <a:cubicBezTo>
                  <a:pt x="5536100" y="4306469"/>
                  <a:pt x="5536720" y="4306882"/>
                  <a:pt x="5536565" y="4305746"/>
                </a:cubicBezTo>
                <a:cubicBezTo>
                  <a:pt x="5536410" y="4304611"/>
                  <a:pt x="5533932" y="4300894"/>
                  <a:pt x="5532847" y="4301203"/>
                </a:cubicBezTo>
                <a:cubicBezTo>
                  <a:pt x="5533312" y="4300377"/>
                  <a:pt x="5533157" y="4299241"/>
                  <a:pt x="5533157" y="4299241"/>
                </a:cubicBezTo>
                <a:close/>
                <a:moveTo>
                  <a:pt x="1299231" y="4299017"/>
                </a:moveTo>
                <a:cubicBezTo>
                  <a:pt x="1304498" y="4302734"/>
                  <a:pt x="1307286" y="4298914"/>
                  <a:pt x="1315341" y="4305315"/>
                </a:cubicBezTo>
                <a:cubicBezTo>
                  <a:pt x="1326028" y="4312853"/>
                  <a:pt x="1323395" y="4321733"/>
                  <a:pt x="1319367" y="4326793"/>
                </a:cubicBezTo>
                <a:cubicBezTo>
                  <a:pt x="1318439" y="4325864"/>
                  <a:pt x="1312862" y="4332782"/>
                  <a:pt x="1304962" y="4332575"/>
                </a:cubicBezTo>
                <a:cubicBezTo>
                  <a:pt x="1302329" y="4332472"/>
                  <a:pt x="1299541" y="4331646"/>
                  <a:pt x="1296598" y="4329374"/>
                </a:cubicBezTo>
                <a:cubicBezTo>
                  <a:pt x="1289782" y="4324315"/>
                  <a:pt x="1284361" y="4316777"/>
                  <a:pt x="1293810" y="4306555"/>
                </a:cubicBezTo>
                <a:cubicBezTo>
                  <a:pt x="1295204" y="4304076"/>
                  <a:pt x="1295204" y="4305315"/>
                  <a:pt x="1296598" y="4304076"/>
                </a:cubicBezTo>
                <a:cubicBezTo>
                  <a:pt x="1297837" y="4302837"/>
                  <a:pt x="1299231" y="4300256"/>
                  <a:pt x="1299231" y="4299017"/>
                </a:cubicBezTo>
                <a:close/>
                <a:moveTo>
                  <a:pt x="5770458" y="4298725"/>
                </a:moveTo>
                <a:cubicBezTo>
                  <a:pt x="5770768" y="4299861"/>
                  <a:pt x="5771078" y="4299241"/>
                  <a:pt x="5770303" y="4300584"/>
                </a:cubicBezTo>
                <a:cubicBezTo>
                  <a:pt x="5769994" y="4299448"/>
                  <a:pt x="5769994" y="4299448"/>
                  <a:pt x="5769219" y="4298932"/>
                </a:cubicBezTo>
                <a:cubicBezTo>
                  <a:pt x="5769219" y="4298932"/>
                  <a:pt x="5770458" y="4298725"/>
                  <a:pt x="5770458" y="4298725"/>
                </a:cubicBezTo>
                <a:close/>
                <a:moveTo>
                  <a:pt x="725960" y="4298501"/>
                </a:moveTo>
                <a:lnTo>
                  <a:pt x="721623" y="4300153"/>
                </a:lnTo>
                <a:lnTo>
                  <a:pt x="716511" y="4301599"/>
                </a:lnTo>
                <a:lnTo>
                  <a:pt x="718216" y="4302114"/>
                </a:lnTo>
                <a:cubicBezTo>
                  <a:pt x="719455" y="4302321"/>
                  <a:pt x="720539" y="4302321"/>
                  <a:pt x="721468" y="4302114"/>
                </a:cubicBezTo>
                <a:cubicBezTo>
                  <a:pt x="722553" y="4301908"/>
                  <a:pt x="723327" y="4301495"/>
                  <a:pt x="724101" y="4300669"/>
                </a:cubicBezTo>
                <a:close/>
                <a:moveTo>
                  <a:pt x="5952152" y="4297486"/>
                </a:moveTo>
                <a:cubicBezTo>
                  <a:pt x="5951222" y="4299861"/>
                  <a:pt x="5952616" y="4300997"/>
                  <a:pt x="5951687" y="4303372"/>
                </a:cubicBezTo>
                <a:cubicBezTo>
                  <a:pt x="5949518" y="4302545"/>
                  <a:pt x="5947660" y="4302545"/>
                  <a:pt x="5946575" y="4302133"/>
                </a:cubicBezTo>
                <a:cubicBezTo>
                  <a:pt x="5946885" y="4298209"/>
                  <a:pt x="5948899" y="4296247"/>
                  <a:pt x="5952152" y="4297486"/>
                </a:cubicBezTo>
                <a:close/>
                <a:moveTo>
                  <a:pt x="5629038" y="4297383"/>
                </a:moveTo>
                <a:cubicBezTo>
                  <a:pt x="5638951" y="4298209"/>
                  <a:pt x="5646386" y="4301306"/>
                  <a:pt x="5651653" y="4306572"/>
                </a:cubicBezTo>
                <a:cubicBezTo>
                  <a:pt x="5653357" y="4308328"/>
                  <a:pt x="5654750" y="4310290"/>
                  <a:pt x="5655990" y="4312562"/>
                </a:cubicBezTo>
                <a:cubicBezTo>
                  <a:pt x="5650723" y="4317208"/>
                  <a:pt x="5644837" y="4312768"/>
                  <a:pt x="5639725" y="4310703"/>
                </a:cubicBezTo>
                <a:cubicBezTo>
                  <a:pt x="5639106" y="4316795"/>
                  <a:pt x="5639880" y="4326088"/>
                  <a:pt x="5633375" y="4326501"/>
                </a:cubicBezTo>
                <a:cubicBezTo>
                  <a:pt x="5632136" y="4325365"/>
                  <a:pt x="5631516" y="4324023"/>
                  <a:pt x="5631361" y="4322474"/>
                </a:cubicBezTo>
                <a:cubicBezTo>
                  <a:pt x="5630742" y="4318137"/>
                  <a:pt x="5633530" y="4312355"/>
                  <a:pt x="5633220" y="4306779"/>
                </a:cubicBezTo>
                <a:cubicBezTo>
                  <a:pt x="5631826" y="4303681"/>
                  <a:pt x="5627644" y="4304095"/>
                  <a:pt x="5629038" y="4297383"/>
                </a:cubicBezTo>
                <a:close/>
                <a:moveTo>
                  <a:pt x="1398985" y="4297262"/>
                </a:moveTo>
                <a:cubicBezTo>
                  <a:pt x="1398675" y="4299740"/>
                  <a:pt x="1397900" y="4301599"/>
                  <a:pt x="1397745" y="4303973"/>
                </a:cubicBezTo>
                <a:cubicBezTo>
                  <a:pt x="1396816" y="4304283"/>
                  <a:pt x="1396042" y="4304283"/>
                  <a:pt x="1395577" y="4304076"/>
                </a:cubicBezTo>
                <a:cubicBezTo>
                  <a:pt x="1395112" y="4303870"/>
                  <a:pt x="1394647" y="4303457"/>
                  <a:pt x="1394492" y="4302941"/>
                </a:cubicBezTo>
                <a:cubicBezTo>
                  <a:pt x="1393873" y="4301908"/>
                  <a:pt x="1393718" y="4300463"/>
                  <a:pt x="1393563" y="4298914"/>
                </a:cubicBezTo>
                <a:cubicBezTo>
                  <a:pt x="1395422" y="4298398"/>
                  <a:pt x="1396196" y="4296539"/>
                  <a:pt x="1398985" y="4297262"/>
                </a:cubicBezTo>
                <a:close/>
                <a:moveTo>
                  <a:pt x="5662495" y="4296763"/>
                </a:moveTo>
                <a:cubicBezTo>
                  <a:pt x="5665438" y="4296557"/>
                  <a:pt x="5666213" y="4298105"/>
                  <a:pt x="5667917" y="4301306"/>
                </a:cubicBezTo>
                <a:cubicBezTo>
                  <a:pt x="5665903" y="4301513"/>
                  <a:pt x="5664664" y="4301306"/>
                  <a:pt x="5663890" y="4300480"/>
                </a:cubicBezTo>
                <a:cubicBezTo>
                  <a:pt x="5663115" y="4299758"/>
                  <a:pt x="5662805" y="4298518"/>
                  <a:pt x="5662495" y="4296763"/>
                </a:cubicBezTo>
                <a:close/>
                <a:moveTo>
                  <a:pt x="5562587" y="4296660"/>
                </a:moveTo>
                <a:cubicBezTo>
                  <a:pt x="5566460" y="4296247"/>
                  <a:pt x="5568938" y="4297176"/>
                  <a:pt x="5570332" y="4298828"/>
                </a:cubicBezTo>
                <a:cubicBezTo>
                  <a:pt x="5574669" y="4303888"/>
                  <a:pt x="5569248" y="4315453"/>
                  <a:pt x="5560574" y="4315039"/>
                </a:cubicBezTo>
                <a:cubicBezTo>
                  <a:pt x="5559489" y="4314110"/>
                  <a:pt x="5558870" y="4312665"/>
                  <a:pt x="5558560" y="4311012"/>
                </a:cubicBezTo>
                <a:cubicBezTo>
                  <a:pt x="5557631" y="4306160"/>
                  <a:pt x="5559644" y="4299241"/>
                  <a:pt x="5562587" y="4296660"/>
                </a:cubicBezTo>
                <a:close/>
                <a:moveTo>
                  <a:pt x="5859330" y="4296363"/>
                </a:moveTo>
                <a:cubicBezTo>
                  <a:pt x="5861111" y="4297099"/>
                  <a:pt x="5862776" y="4298364"/>
                  <a:pt x="5864016" y="4299138"/>
                </a:cubicBezTo>
                <a:lnTo>
                  <a:pt x="5863241" y="4300687"/>
                </a:lnTo>
                <a:lnTo>
                  <a:pt x="5865100" y="4300480"/>
                </a:lnTo>
                <a:cubicBezTo>
                  <a:pt x="5866029" y="4300687"/>
                  <a:pt x="5866804" y="4300790"/>
                  <a:pt x="5867888" y="4300997"/>
                </a:cubicBezTo>
                <a:cubicBezTo>
                  <a:pt x="5867733" y="4302959"/>
                  <a:pt x="5869437" y="4304921"/>
                  <a:pt x="5868508" y="4307295"/>
                </a:cubicBezTo>
                <a:cubicBezTo>
                  <a:pt x="5868508" y="4307295"/>
                  <a:pt x="5868043" y="4308431"/>
                  <a:pt x="5866494" y="4309257"/>
                </a:cubicBezTo>
                <a:cubicBezTo>
                  <a:pt x="5864790" y="4311942"/>
                  <a:pt x="5861537" y="4310806"/>
                  <a:pt x="5861537" y="4310806"/>
                </a:cubicBezTo>
                <a:cubicBezTo>
                  <a:pt x="5861537" y="4310806"/>
                  <a:pt x="5861382" y="4310806"/>
                  <a:pt x="5861692" y="4311529"/>
                </a:cubicBezTo>
                <a:cubicBezTo>
                  <a:pt x="5861073" y="4309980"/>
                  <a:pt x="5859833" y="4308844"/>
                  <a:pt x="5859214" y="4307295"/>
                </a:cubicBezTo>
                <a:lnTo>
                  <a:pt x="5859369" y="4306572"/>
                </a:lnTo>
                <a:lnTo>
                  <a:pt x="5858904" y="4307192"/>
                </a:lnTo>
                <a:cubicBezTo>
                  <a:pt x="5856735" y="4306469"/>
                  <a:pt x="5855186" y="4305127"/>
                  <a:pt x="5854257" y="4303372"/>
                </a:cubicBezTo>
                <a:cubicBezTo>
                  <a:pt x="5853328" y="4301719"/>
                  <a:pt x="5853018" y="4299448"/>
                  <a:pt x="5853947" y="4296763"/>
                </a:cubicBezTo>
                <a:cubicBezTo>
                  <a:pt x="5855651" y="4295421"/>
                  <a:pt x="5857548" y="4295627"/>
                  <a:pt x="5859330" y="4296363"/>
                </a:cubicBezTo>
                <a:close/>
                <a:moveTo>
                  <a:pt x="5933409" y="4296350"/>
                </a:moveTo>
                <a:cubicBezTo>
                  <a:pt x="5933409" y="4296350"/>
                  <a:pt x="5933409" y="4296350"/>
                  <a:pt x="5938985" y="4299654"/>
                </a:cubicBezTo>
                <a:cubicBezTo>
                  <a:pt x="5938676" y="4300067"/>
                  <a:pt x="5938211" y="4300067"/>
                  <a:pt x="5937746" y="4299861"/>
                </a:cubicBezTo>
                <a:cubicBezTo>
                  <a:pt x="5937281" y="4299654"/>
                  <a:pt x="5936817" y="4299241"/>
                  <a:pt x="5936197" y="4298828"/>
                </a:cubicBezTo>
                <a:cubicBezTo>
                  <a:pt x="5935268" y="4298002"/>
                  <a:pt x="5934338" y="4297176"/>
                  <a:pt x="5933409" y="4296350"/>
                </a:cubicBezTo>
                <a:close/>
                <a:moveTo>
                  <a:pt x="5542915" y="4296247"/>
                </a:moveTo>
                <a:cubicBezTo>
                  <a:pt x="5544774" y="4306263"/>
                  <a:pt x="5550350" y="4312045"/>
                  <a:pt x="5550196" y="4323610"/>
                </a:cubicBezTo>
                <a:cubicBezTo>
                  <a:pt x="5541986" y="4321132"/>
                  <a:pt x="5535016" y="4300480"/>
                  <a:pt x="5542915" y="4296247"/>
                </a:cubicBezTo>
                <a:close/>
                <a:moveTo>
                  <a:pt x="5474142" y="4296247"/>
                </a:moveTo>
                <a:cubicBezTo>
                  <a:pt x="5474916" y="4295318"/>
                  <a:pt x="5474916" y="4296247"/>
                  <a:pt x="5475535" y="4296247"/>
                </a:cubicBezTo>
                <a:cubicBezTo>
                  <a:pt x="5475226" y="4296763"/>
                  <a:pt x="5474916" y="4296970"/>
                  <a:pt x="5474761" y="4296970"/>
                </a:cubicBezTo>
                <a:cubicBezTo>
                  <a:pt x="5474606" y="4296970"/>
                  <a:pt x="5474451" y="4296763"/>
                  <a:pt x="5474142" y="4296247"/>
                </a:cubicBezTo>
                <a:close/>
                <a:moveTo>
                  <a:pt x="5476620" y="4295731"/>
                </a:moveTo>
                <a:cubicBezTo>
                  <a:pt x="5477704" y="4296557"/>
                  <a:pt x="5478633" y="4298105"/>
                  <a:pt x="5478014" y="4299035"/>
                </a:cubicBezTo>
                <a:cubicBezTo>
                  <a:pt x="5477704" y="4299861"/>
                  <a:pt x="5477239" y="4299964"/>
                  <a:pt x="5476620" y="4299654"/>
                </a:cubicBezTo>
                <a:cubicBezTo>
                  <a:pt x="5476155" y="4299344"/>
                  <a:pt x="5475381" y="4298828"/>
                  <a:pt x="5474451" y="4298415"/>
                </a:cubicBezTo>
                <a:close/>
                <a:moveTo>
                  <a:pt x="1187396" y="4295197"/>
                </a:moveTo>
                <a:cubicBezTo>
                  <a:pt x="1188945" y="4296436"/>
                  <a:pt x="1189720" y="4297571"/>
                  <a:pt x="1191113" y="4299637"/>
                </a:cubicBezTo>
                <a:cubicBezTo>
                  <a:pt x="1190494" y="4300359"/>
                  <a:pt x="1189875" y="4300669"/>
                  <a:pt x="1189255" y="4300669"/>
                </a:cubicBezTo>
                <a:cubicBezTo>
                  <a:pt x="1187396" y="4300979"/>
                  <a:pt x="1185538" y="4298914"/>
                  <a:pt x="1185692" y="4297158"/>
                </a:cubicBezTo>
                <a:cubicBezTo>
                  <a:pt x="1185847" y="4296436"/>
                  <a:pt x="1186312" y="4295609"/>
                  <a:pt x="1187396" y="4295197"/>
                </a:cubicBezTo>
                <a:close/>
                <a:moveTo>
                  <a:pt x="5485294" y="4291600"/>
                </a:moveTo>
                <a:cubicBezTo>
                  <a:pt x="5486223" y="4291600"/>
                  <a:pt x="5486223" y="4292427"/>
                  <a:pt x="5487153" y="4293252"/>
                </a:cubicBezTo>
                <a:cubicBezTo>
                  <a:pt x="5488237" y="4294905"/>
                  <a:pt x="5488702" y="4297486"/>
                  <a:pt x="5487927" y="4298415"/>
                </a:cubicBezTo>
                <a:cubicBezTo>
                  <a:pt x="5487153" y="4299241"/>
                  <a:pt x="5486378" y="4299344"/>
                  <a:pt x="5486378" y="4299344"/>
                </a:cubicBezTo>
                <a:cubicBezTo>
                  <a:pt x="5483590" y="4297693"/>
                  <a:pt x="5481731" y="4295318"/>
                  <a:pt x="5483745" y="4292633"/>
                </a:cubicBezTo>
                <a:cubicBezTo>
                  <a:pt x="5484520" y="4291704"/>
                  <a:pt x="5485294" y="4290774"/>
                  <a:pt x="5485294" y="4291600"/>
                </a:cubicBezTo>
                <a:close/>
                <a:moveTo>
                  <a:pt x="1470547" y="4291273"/>
                </a:moveTo>
                <a:cubicBezTo>
                  <a:pt x="1470082" y="4292099"/>
                  <a:pt x="1475504" y="4293751"/>
                  <a:pt x="1476742" y="4298501"/>
                </a:cubicBezTo>
                <a:cubicBezTo>
                  <a:pt x="1477207" y="4300153"/>
                  <a:pt x="1477207" y="4302011"/>
                  <a:pt x="1476433" y="4304490"/>
                </a:cubicBezTo>
                <a:lnTo>
                  <a:pt x="1474729" y="4306968"/>
                </a:lnTo>
                <a:lnTo>
                  <a:pt x="1480925" y="4304180"/>
                </a:lnTo>
                <a:cubicBezTo>
                  <a:pt x="1486346" y="4302941"/>
                  <a:pt x="1492697" y="4303250"/>
                  <a:pt x="1495639" y="4304180"/>
                </a:cubicBezTo>
                <a:lnTo>
                  <a:pt x="1485571" y="4309756"/>
                </a:lnTo>
                <a:lnTo>
                  <a:pt x="1486346" y="4311201"/>
                </a:lnTo>
                <a:cubicBezTo>
                  <a:pt x="1484952" y="4315435"/>
                  <a:pt x="1483558" y="4317087"/>
                  <a:pt x="1482164" y="4317603"/>
                </a:cubicBezTo>
                <a:cubicBezTo>
                  <a:pt x="1480770" y="4318016"/>
                  <a:pt x="1479221" y="4317293"/>
                  <a:pt x="1477207" y="4316777"/>
                </a:cubicBezTo>
                <a:cubicBezTo>
                  <a:pt x="1477362" y="4315848"/>
                  <a:pt x="1477052" y="4314815"/>
                  <a:pt x="1476897" y="4313782"/>
                </a:cubicBezTo>
                <a:lnTo>
                  <a:pt x="1476897" y="4312750"/>
                </a:lnTo>
                <a:lnTo>
                  <a:pt x="1471631" y="4313163"/>
                </a:lnTo>
                <a:lnTo>
                  <a:pt x="1471770" y="4311409"/>
                </a:lnTo>
                <a:lnTo>
                  <a:pt x="1471786" y="4311408"/>
                </a:lnTo>
                <a:lnTo>
                  <a:pt x="1471786" y="4311201"/>
                </a:lnTo>
                <a:lnTo>
                  <a:pt x="1471770" y="4311409"/>
                </a:lnTo>
                <a:lnTo>
                  <a:pt x="1462492" y="4311924"/>
                </a:lnTo>
                <a:cubicBezTo>
                  <a:pt x="1460633" y="4311821"/>
                  <a:pt x="1461408" y="4311408"/>
                  <a:pt x="1460478" y="4310995"/>
                </a:cubicBezTo>
                <a:cubicBezTo>
                  <a:pt x="1459394" y="4310478"/>
                  <a:pt x="1457535" y="4310272"/>
                  <a:pt x="1456761" y="4310685"/>
                </a:cubicBezTo>
                <a:cubicBezTo>
                  <a:pt x="1458155" y="4306451"/>
                  <a:pt x="1455212" y="4305832"/>
                  <a:pt x="1457690" y="4299327"/>
                </a:cubicBezTo>
                <a:cubicBezTo>
                  <a:pt x="1460478" y="4290860"/>
                  <a:pt x="1466674" y="4290137"/>
                  <a:pt x="1470547" y="4291273"/>
                </a:cubicBezTo>
                <a:close/>
                <a:moveTo>
                  <a:pt x="5118035" y="4291084"/>
                </a:moveTo>
                <a:cubicBezTo>
                  <a:pt x="5123147" y="4292220"/>
                  <a:pt x="5123456" y="4295731"/>
                  <a:pt x="5120823" y="4300790"/>
                </a:cubicBezTo>
                <a:cubicBezTo>
                  <a:pt x="5118964" y="4300790"/>
                  <a:pt x="5117415" y="4301513"/>
                  <a:pt x="5114782" y="4301926"/>
                </a:cubicBezTo>
                <a:cubicBezTo>
                  <a:pt x="5113853" y="4299551"/>
                  <a:pt x="5114317" y="4293769"/>
                  <a:pt x="5118035" y="4291084"/>
                </a:cubicBezTo>
                <a:close/>
                <a:moveTo>
                  <a:pt x="5351328" y="4291032"/>
                </a:moveTo>
                <a:cubicBezTo>
                  <a:pt x="5353555" y="4290851"/>
                  <a:pt x="5355414" y="4291548"/>
                  <a:pt x="5356421" y="4294285"/>
                </a:cubicBezTo>
                <a:cubicBezTo>
                  <a:pt x="5355646" y="4298312"/>
                  <a:pt x="5353322" y="4300171"/>
                  <a:pt x="5350844" y="4300584"/>
                </a:cubicBezTo>
                <a:cubicBezTo>
                  <a:pt x="5348366" y="4300997"/>
                  <a:pt x="5345732" y="4299964"/>
                  <a:pt x="5344493" y="4298002"/>
                </a:cubicBezTo>
                <a:cubicBezTo>
                  <a:pt x="5343564" y="4296660"/>
                  <a:pt x="5343409" y="4295008"/>
                  <a:pt x="5344028" y="4293046"/>
                </a:cubicBezTo>
                <a:cubicBezTo>
                  <a:pt x="5346507" y="4292271"/>
                  <a:pt x="5349101" y="4291213"/>
                  <a:pt x="5351328" y="4291032"/>
                </a:cubicBezTo>
                <a:close/>
                <a:moveTo>
                  <a:pt x="1331295" y="4289724"/>
                </a:moveTo>
                <a:cubicBezTo>
                  <a:pt x="1336096" y="4291892"/>
                  <a:pt x="1340124" y="4290653"/>
                  <a:pt x="1343996" y="4292202"/>
                </a:cubicBezTo>
                <a:cubicBezTo>
                  <a:pt x="1342138" y="4293647"/>
                  <a:pt x="1339349" y="4295506"/>
                  <a:pt x="1336716" y="4296229"/>
                </a:cubicBezTo>
                <a:cubicBezTo>
                  <a:pt x="1333928" y="4296848"/>
                  <a:pt x="1331295" y="4296332"/>
                  <a:pt x="1329281" y="4292925"/>
                </a:cubicBezTo>
                <a:cubicBezTo>
                  <a:pt x="1330056" y="4291892"/>
                  <a:pt x="1330676" y="4290860"/>
                  <a:pt x="1331295" y="4289724"/>
                </a:cubicBezTo>
                <a:close/>
                <a:moveTo>
                  <a:pt x="5960826" y="4289638"/>
                </a:moveTo>
                <a:cubicBezTo>
                  <a:pt x="5961910" y="4289845"/>
                  <a:pt x="5962685" y="4291084"/>
                  <a:pt x="5963304" y="4292427"/>
                </a:cubicBezTo>
                <a:lnTo>
                  <a:pt x="5964233" y="4296143"/>
                </a:lnTo>
                <a:lnTo>
                  <a:pt x="5964853" y="4296040"/>
                </a:lnTo>
                <a:cubicBezTo>
                  <a:pt x="5964853" y="4296040"/>
                  <a:pt x="5963924" y="4295834"/>
                  <a:pt x="5964853" y="4295111"/>
                </a:cubicBezTo>
                <a:cubicBezTo>
                  <a:pt x="5964853" y="4295937"/>
                  <a:pt x="5965628" y="4296143"/>
                  <a:pt x="5966402" y="4296247"/>
                </a:cubicBezTo>
                <a:cubicBezTo>
                  <a:pt x="5968106" y="4298312"/>
                  <a:pt x="5969500" y="4301203"/>
                  <a:pt x="5968571" y="4302752"/>
                </a:cubicBezTo>
                <a:cubicBezTo>
                  <a:pt x="5967641" y="4303475"/>
                  <a:pt x="5966867" y="4303578"/>
                  <a:pt x="5966092" y="4303372"/>
                </a:cubicBezTo>
                <a:cubicBezTo>
                  <a:pt x="5965473" y="4303165"/>
                  <a:pt x="5964853" y="4302545"/>
                  <a:pt x="5964388" y="4302029"/>
                </a:cubicBezTo>
                <a:cubicBezTo>
                  <a:pt x="5963149" y="4301410"/>
                  <a:pt x="5962530" y="4300274"/>
                  <a:pt x="5962530" y="4298932"/>
                </a:cubicBezTo>
                <a:lnTo>
                  <a:pt x="5962685" y="4297899"/>
                </a:lnTo>
                <a:lnTo>
                  <a:pt x="5962065" y="4298622"/>
                </a:lnTo>
                <a:cubicBezTo>
                  <a:pt x="5960981" y="4298932"/>
                  <a:pt x="5959742" y="4299035"/>
                  <a:pt x="5958657" y="4298725"/>
                </a:cubicBezTo>
                <a:cubicBezTo>
                  <a:pt x="5957728" y="4298828"/>
                  <a:pt x="5956953" y="4298312"/>
                  <a:pt x="5956489" y="4297589"/>
                </a:cubicBezTo>
                <a:lnTo>
                  <a:pt x="5955714" y="4295214"/>
                </a:lnTo>
                <a:lnTo>
                  <a:pt x="5954010" y="4295524"/>
                </a:lnTo>
                <a:cubicBezTo>
                  <a:pt x="5953081" y="4293149"/>
                  <a:pt x="5952307" y="4290774"/>
                  <a:pt x="5954475" y="4290155"/>
                </a:cubicBezTo>
                <a:cubicBezTo>
                  <a:pt x="5955714" y="4289845"/>
                  <a:pt x="5956798" y="4289432"/>
                  <a:pt x="5958347" y="4290361"/>
                </a:cubicBezTo>
                <a:lnTo>
                  <a:pt x="5958347" y="4290877"/>
                </a:lnTo>
                <a:lnTo>
                  <a:pt x="5958502" y="4290671"/>
                </a:lnTo>
                <a:cubicBezTo>
                  <a:pt x="5959122" y="4290155"/>
                  <a:pt x="5959896" y="4289742"/>
                  <a:pt x="5960826" y="4289638"/>
                </a:cubicBezTo>
                <a:close/>
                <a:moveTo>
                  <a:pt x="5556546" y="4289535"/>
                </a:moveTo>
                <a:cubicBezTo>
                  <a:pt x="5559799" y="4290258"/>
                  <a:pt x="5560729" y="4293459"/>
                  <a:pt x="5560109" y="4296763"/>
                </a:cubicBezTo>
                <a:cubicBezTo>
                  <a:pt x="5559644" y="4299964"/>
                  <a:pt x="5557631" y="4303372"/>
                  <a:pt x="5554997" y="4304404"/>
                </a:cubicBezTo>
                <a:cubicBezTo>
                  <a:pt x="5554223" y="4303062"/>
                  <a:pt x="5553448" y="4301719"/>
                  <a:pt x="5552984" y="4300480"/>
                </a:cubicBezTo>
                <a:cubicBezTo>
                  <a:pt x="5551744" y="4296557"/>
                  <a:pt x="5552209" y="4293149"/>
                  <a:pt x="5556546" y="4289535"/>
                </a:cubicBezTo>
                <a:close/>
                <a:moveTo>
                  <a:pt x="1099880" y="4289311"/>
                </a:moveTo>
                <a:cubicBezTo>
                  <a:pt x="1104217" y="4288175"/>
                  <a:pt x="1107470" y="4288898"/>
                  <a:pt x="1109948" y="4290860"/>
                </a:cubicBezTo>
                <a:lnTo>
                  <a:pt x="1113356" y="4297571"/>
                </a:lnTo>
                <a:lnTo>
                  <a:pt x="1114130" y="4296436"/>
                </a:lnTo>
                <a:cubicBezTo>
                  <a:pt x="1115524" y="4295093"/>
                  <a:pt x="1116918" y="4293854"/>
                  <a:pt x="1116918" y="4295093"/>
                </a:cubicBezTo>
                <a:cubicBezTo>
                  <a:pt x="1118312" y="4295093"/>
                  <a:pt x="1118157" y="4296332"/>
                  <a:pt x="1119552" y="4297571"/>
                </a:cubicBezTo>
                <a:cubicBezTo>
                  <a:pt x="1120945" y="4300153"/>
                  <a:pt x="1120945" y="4303870"/>
                  <a:pt x="1119552" y="4305109"/>
                </a:cubicBezTo>
                <a:cubicBezTo>
                  <a:pt x="1118157" y="4306348"/>
                  <a:pt x="1116918" y="4306348"/>
                  <a:pt x="1116918" y="4306348"/>
                </a:cubicBezTo>
                <a:lnTo>
                  <a:pt x="1114595" y="4303870"/>
                </a:lnTo>
                <a:lnTo>
                  <a:pt x="1114595" y="4309549"/>
                </a:lnTo>
                <a:cubicBezTo>
                  <a:pt x="1113046" y="4319668"/>
                  <a:pt x="1106850" y="4329271"/>
                  <a:pt x="1097556" y="4327515"/>
                </a:cubicBezTo>
                <a:lnTo>
                  <a:pt x="1095853" y="4317397"/>
                </a:lnTo>
                <a:lnTo>
                  <a:pt x="1095388" y="4317397"/>
                </a:lnTo>
                <a:lnTo>
                  <a:pt x="1094923" y="4317603"/>
                </a:lnTo>
                <a:cubicBezTo>
                  <a:pt x="1092909" y="4317706"/>
                  <a:pt x="1090276" y="4317397"/>
                  <a:pt x="1087488" y="4315538"/>
                </a:cubicBezTo>
                <a:cubicBezTo>
                  <a:pt x="1086249" y="4314196"/>
                  <a:pt x="1083616" y="4310375"/>
                  <a:pt x="1084855" y="4310375"/>
                </a:cubicBezTo>
                <a:cubicBezTo>
                  <a:pt x="1086249" y="4309033"/>
                  <a:pt x="1084855" y="4309136"/>
                  <a:pt x="1084855" y="4307794"/>
                </a:cubicBezTo>
                <a:cubicBezTo>
                  <a:pt x="1086869" y="4305935"/>
                  <a:pt x="1088882" y="4304593"/>
                  <a:pt x="1090896" y="4304180"/>
                </a:cubicBezTo>
                <a:lnTo>
                  <a:pt x="1095078" y="4304903"/>
                </a:lnTo>
                <a:lnTo>
                  <a:pt x="1095697" y="4299843"/>
                </a:lnTo>
                <a:cubicBezTo>
                  <a:pt x="1096627" y="4296436"/>
                  <a:pt x="1098021" y="4292925"/>
                  <a:pt x="1099880" y="4289311"/>
                </a:cubicBezTo>
                <a:close/>
                <a:moveTo>
                  <a:pt x="5429686" y="4288916"/>
                </a:moveTo>
                <a:cubicBezTo>
                  <a:pt x="5432629" y="4293149"/>
                  <a:pt x="5437586" y="4295111"/>
                  <a:pt x="5437586" y="4298312"/>
                </a:cubicBezTo>
                <a:cubicBezTo>
                  <a:pt x="5437586" y="4299344"/>
                  <a:pt x="5437122" y="4300480"/>
                  <a:pt x="5435882" y="4301926"/>
                </a:cubicBezTo>
                <a:cubicBezTo>
                  <a:pt x="5434023" y="4301306"/>
                  <a:pt x="5429996" y="4298415"/>
                  <a:pt x="5428137" y="4295421"/>
                </a:cubicBezTo>
                <a:cubicBezTo>
                  <a:pt x="5427518" y="4294388"/>
                  <a:pt x="5427053" y="4293356"/>
                  <a:pt x="5427053" y="4292427"/>
                </a:cubicBezTo>
                <a:cubicBezTo>
                  <a:pt x="5427053" y="4291084"/>
                  <a:pt x="5427828" y="4289845"/>
                  <a:pt x="5429686" y="4288916"/>
                </a:cubicBezTo>
                <a:close/>
                <a:moveTo>
                  <a:pt x="642626" y="4288485"/>
                </a:moveTo>
                <a:cubicBezTo>
                  <a:pt x="644949" y="4290653"/>
                  <a:pt x="645569" y="4293441"/>
                  <a:pt x="643865" y="4295713"/>
                </a:cubicBezTo>
                <a:cubicBezTo>
                  <a:pt x="642007" y="4296332"/>
                  <a:pt x="640457" y="4295197"/>
                  <a:pt x="638908" y="4294061"/>
                </a:cubicBezTo>
                <a:cubicBezTo>
                  <a:pt x="637669" y="4293028"/>
                  <a:pt x="637359" y="4291996"/>
                  <a:pt x="637514" y="4291170"/>
                </a:cubicBezTo>
                <a:cubicBezTo>
                  <a:pt x="637669" y="4290343"/>
                  <a:pt x="638289" y="4289517"/>
                  <a:pt x="639218" y="4288795"/>
                </a:cubicBezTo>
                <a:cubicBezTo>
                  <a:pt x="640922" y="4287349"/>
                  <a:pt x="642626" y="4288485"/>
                  <a:pt x="642626" y="4288485"/>
                </a:cubicBezTo>
                <a:close/>
                <a:moveTo>
                  <a:pt x="4977409" y="4288425"/>
                </a:moveTo>
                <a:cubicBezTo>
                  <a:pt x="4980216" y="4288245"/>
                  <a:pt x="4982423" y="4288916"/>
                  <a:pt x="4983275" y="4288503"/>
                </a:cubicBezTo>
                <a:cubicBezTo>
                  <a:pt x="4985444" y="4291187"/>
                  <a:pt x="4985444" y="4291187"/>
                  <a:pt x="4980797" y="4296350"/>
                </a:cubicBezTo>
                <a:cubicBezTo>
                  <a:pt x="4979867" y="4297176"/>
                  <a:pt x="4978783" y="4297796"/>
                  <a:pt x="4977699" y="4298105"/>
                </a:cubicBezTo>
                <a:cubicBezTo>
                  <a:pt x="4976460" y="4298415"/>
                  <a:pt x="4975221" y="4298415"/>
                  <a:pt x="4973981" y="4297899"/>
                </a:cubicBezTo>
                <a:cubicBezTo>
                  <a:pt x="4973207" y="4298312"/>
                  <a:pt x="4972122" y="4298518"/>
                  <a:pt x="4971038" y="4298518"/>
                </a:cubicBezTo>
                <a:cubicBezTo>
                  <a:pt x="4970109" y="4298518"/>
                  <a:pt x="4969025" y="4298209"/>
                  <a:pt x="4968250" y="4297796"/>
                </a:cubicBezTo>
                <a:cubicBezTo>
                  <a:pt x="4967476" y="4296970"/>
                  <a:pt x="4967166" y="4296040"/>
                  <a:pt x="4967166" y="4295318"/>
                </a:cubicBezTo>
                <a:cubicBezTo>
                  <a:pt x="4967166" y="4294492"/>
                  <a:pt x="4967476" y="4293872"/>
                  <a:pt x="4967940" y="4293459"/>
                </a:cubicBezTo>
                <a:cubicBezTo>
                  <a:pt x="4971193" y="4289638"/>
                  <a:pt x="4974601" y="4288606"/>
                  <a:pt x="4977409" y="4288425"/>
                </a:cubicBezTo>
                <a:close/>
                <a:moveTo>
                  <a:pt x="5576238" y="4287741"/>
                </a:moveTo>
                <a:cubicBezTo>
                  <a:pt x="5577845" y="4286076"/>
                  <a:pt x="5580555" y="4285767"/>
                  <a:pt x="5582414" y="4289329"/>
                </a:cubicBezTo>
                <a:cubicBezTo>
                  <a:pt x="5579936" y="4291910"/>
                  <a:pt x="5578387" y="4293562"/>
                  <a:pt x="5576683" y="4294285"/>
                </a:cubicBezTo>
                <a:cubicBezTo>
                  <a:pt x="5574127" y="4292426"/>
                  <a:pt x="5574631" y="4289406"/>
                  <a:pt x="5576238" y="4287741"/>
                </a:cubicBezTo>
                <a:close/>
                <a:moveTo>
                  <a:pt x="5598988" y="4287573"/>
                </a:moveTo>
                <a:cubicBezTo>
                  <a:pt x="5602705" y="4290051"/>
                  <a:pt x="5604100" y="4287367"/>
                  <a:pt x="5609676" y="4291394"/>
                </a:cubicBezTo>
                <a:cubicBezTo>
                  <a:pt x="5615252" y="4295008"/>
                  <a:pt x="5616181" y="4299344"/>
                  <a:pt x="5615407" y="4302752"/>
                </a:cubicBezTo>
                <a:lnTo>
                  <a:pt x="5614478" y="4305437"/>
                </a:lnTo>
                <a:lnTo>
                  <a:pt x="5616491" y="4307192"/>
                </a:lnTo>
                <a:cubicBezTo>
                  <a:pt x="5609986" y="4312045"/>
                  <a:pt x="5619279" y="4315866"/>
                  <a:pt x="5614478" y="4319996"/>
                </a:cubicBezTo>
                <a:cubicBezTo>
                  <a:pt x="5611999" y="4320512"/>
                  <a:pt x="5609676" y="4322061"/>
                  <a:pt x="5606733" y="4321648"/>
                </a:cubicBezTo>
                <a:cubicBezTo>
                  <a:pt x="5605803" y="4321441"/>
                  <a:pt x="5604874" y="4321132"/>
                  <a:pt x="5603789" y="4320409"/>
                </a:cubicBezTo>
                <a:cubicBezTo>
                  <a:pt x="5605648" y="4317414"/>
                  <a:pt x="5606888" y="4314730"/>
                  <a:pt x="5607662" y="4311942"/>
                </a:cubicBezTo>
                <a:lnTo>
                  <a:pt x="5608437" y="4309670"/>
                </a:lnTo>
                <a:lnTo>
                  <a:pt x="5605803" y="4310290"/>
                </a:lnTo>
                <a:cubicBezTo>
                  <a:pt x="5604254" y="4310393"/>
                  <a:pt x="5602396" y="4309877"/>
                  <a:pt x="5600382" y="4308431"/>
                </a:cubicBezTo>
                <a:cubicBezTo>
                  <a:pt x="5595580" y="4305230"/>
                  <a:pt x="5591553" y="4300274"/>
                  <a:pt x="5596510" y="4292943"/>
                </a:cubicBezTo>
                <a:cubicBezTo>
                  <a:pt x="5596974" y="4291187"/>
                  <a:pt x="5597129" y="4292117"/>
                  <a:pt x="5597904" y="4291187"/>
                </a:cubicBezTo>
                <a:cubicBezTo>
                  <a:pt x="5598523" y="4290258"/>
                  <a:pt x="5599143" y="4288503"/>
                  <a:pt x="5598988" y="4287573"/>
                </a:cubicBezTo>
                <a:close/>
                <a:moveTo>
                  <a:pt x="5719342" y="4287057"/>
                </a:moveTo>
                <a:cubicBezTo>
                  <a:pt x="5723370" y="4289535"/>
                  <a:pt x="5721511" y="4293562"/>
                  <a:pt x="5718878" y="4297899"/>
                </a:cubicBezTo>
                <a:cubicBezTo>
                  <a:pt x="5717174" y="4297486"/>
                  <a:pt x="5715470" y="4298002"/>
                  <a:pt x="5713611" y="4297589"/>
                </a:cubicBezTo>
                <a:cubicBezTo>
                  <a:pt x="5711907" y="4295421"/>
                  <a:pt x="5712836" y="4289122"/>
                  <a:pt x="5715780" y="4287161"/>
                </a:cubicBezTo>
                <a:cubicBezTo>
                  <a:pt x="5716709" y="4286541"/>
                  <a:pt x="5717948" y="4286438"/>
                  <a:pt x="5719342" y="4287057"/>
                </a:cubicBezTo>
                <a:close/>
                <a:moveTo>
                  <a:pt x="5291519" y="4286231"/>
                </a:moveTo>
                <a:cubicBezTo>
                  <a:pt x="5292293" y="4286231"/>
                  <a:pt x="5293068" y="4287161"/>
                  <a:pt x="5293068" y="4287161"/>
                </a:cubicBezTo>
                <a:cubicBezTo>
                  <a:pt x="5293842" y="4288090"/>
                  <a:pt x="5293842" y="4287987"/>
                  <a:pt x="5294772" y="4287161"/>
                </a:cubicBezTo>
                <a:cubicBezTo>
                  <a:pt x="5294772" y="4287161"/>
                  <a:pt x="5294616" y="4288090"/>
                  <a:pt x="5294616" y="4288090"/>
                </a:cubicBezTo>
                <a:cubicBezTo>
                  <a:pt x="5293842" y="4288090"/>
                  <a:pt x="5294616" y="4288090"/>
                  <a:pt x="5295391" y="4289019"/>
                </a:cubicBezTo>
                <a:cubicBezTo>
                  <a:pt x="5294307" y="4290671"/>
                  <a:pt x="5294307" y="4291600"/>
                  <a:pt x="5293377" y="4292427"/>
                </a:cubicBezTo>
                <a:cubicBezTo>
                  <a:pt x="5292913" y="4292839"/>
                  <a:pt x="5292293" y="4293252"/>
                  <a:pt x="5291519" y="4293459"/>
                </a:cubicBezTo>
                <a:cubicBezTo>
                  <a:pt x="5290899" y="4293666"/>
                  <a:pt x="5290280" y="4293666"/>
                  <a:pt x="5289970" y="4293252"/>
                </a:cubicBezTo>
                <a:cubicBezTo>
                  <a:pt x="5290125" y="4292323"/>
                  <a:pt x="5289195" y="4292323"/>
                  <a:pt x="5289350" y="4291497"/>
                </a:cubicBezTo>
                <a:cubicBezTo>
                  <a:pt x="5288731" y="4289742"/>
                  <a:pt x="5288731" y="4288812"/>
                  <a:pt x="5289660" y="4287987"/>
                </a:cubicBezTo>
                <a:cubicBezTo>
                  <a:pt x="5289660" y="4287057"/>
                  <a:pt x="5290589" y="4287161"/>
                  <a:pt x="5291519" y="4286231"/>
                </a:cubicBezTo>
                <a:close/>
                <a:moveTo>
                  <a:pt x="5733748" y="4285921"/>
                </a:moveTo>
                <a:cubicBezTo>
                  <a:pt x="5736226" y="4285199"/>
                  <a:pt x="5738705" y="4284476"/>
                  <a:pt x="5742112" y="4287161"/>
                </a:cubicBezTo>
                <a:cubicBezTo>
                  <a:pt x="5743041" y="4290671"/>
                  <a:pt x="5742422" y="4293149"/>
                  <a:pt x="5739169" y="4296454"/>
                </a:cubicBezTo>
                <a:cubicBezTo>
                  <a:pt x="5734987" y="4296247"/>
                  <a:pt x="5729720" y="4290051"/>
                  <a:pt x="5733748" y="4285921"/>
                </a:cubicBezTo>
                <a:close/>
                <a:moveTo>
                  <a:pt x="1091825" y="4285180"/>
                </a:moveTo>
                <a:cubicBezTo>
                  <a:pt x="1091825" y="4285180"/>
                  <a:pt x="1091825" y="4285077"/>
                  <a:pt x="1088108" y="4289827"/>
                </a:cubicBezTo>
                <a:cubicBezTo>
                  <a:pt x="1087643" y="4289414"/>
                  <a:pt x="1087643" y="4288898"/>
                  <a:pt x="1087953" y="4288485"/>
                </a:cubicBezTo>
                <a:cubicBezTo>
                  <a:pt x="1088263" y="4288072"/>
                  <a:pt x="1088727" y="4287762"/>
                  <a:pt x="1089037" y="4287349"/>
                </a:cubicBezTo>
                <a:cubicBezTo>
                  <a:pt x="1089966" y="4286626"/>
                  <a:pt x="1090896" y="4285903"/>
                  <a:pt x="1091825" y="4285180"/>
                </a:cubicBezTo>
                <a:close/>
                <a:moveTo>
                  <a:pt x="5668072" y="4283856"/>
                </a:moveTo>
                <a:cubicBezTo>
                  <a:pt x="5669930" y="4282101"/>
                  <a:pt x="5673958" y="4283030"/>
                  <a:pt x="5675507" y="4283960"/>
                </a:cubicBezTo>
                <a:cubicBezTo>
                  <a:pt x="5676901" y="4285715"/>
                  <a:pt x="5675971" y="4288193"/>
                  <a:pt x="5674113" y="4289948"/>
                </a:cubicBezTo>
                <a:cubicBezTo>
                  <a:pt x="5673493" y="4290774"/>
                  <a:pt x="5672719" y="4291187"/>
                  <a:pt x="5671789" y="4291291"/>
                </a:cubicBezTo>
                <a:cubicBezTo>
                  <a:pt x="5670860" y="4291394"/>
                  <a:pt x="5669776" y="4291187"/>
                  <a:pt x="5669001" y="4290671"/>
                </a:cubicBezTo>
                <a:cubicBezTo>
                  <a:pt x="5668226" y="4289845"/>
                  <a:pt x="5668226" y="4289845"/>
                  <a:pt x="5667607" y="4289019"/>
                </a:cubicBezTo>
                <a:cubicBezTo>
                  <a:pt x="5667762" y="4287264"/>
                  <a:pt x="5666987" y="4285508"/>
                  <a:pt x="5668072" y="4283856"/>
                </a:cubicBezTo>
                <a:close/>
                <a:moveTo>
                  <a:pt x="5732354" y="4283650"/>
                </a:moveTo>
                <a:cubicBezTo>
                  <a:pt x="5733438" y="4283856"/>
                  <a:pt x="5734522" y="4284166"/>
                  <a:pt x="5733748" y="4284682"/>
                </a:cubicBezTo>
                <a:cubicBezTo>
                  <a:pt x="5734212" y="4285405"/>
                  <a:pt x="5733438" y="4285818"/>
                  <a:pt x="5733128" y="4287057"/>
                </a:cubicBezTo>
                <a:cubicBezTo>
                  <a:pt x="5732044" y="4288709"/>
                  <a:pt x="5729875" y="4290051"/>
                  <a:pt x="5728636" y="4289742"/>
                </a:cubicBezTo>
                <a:cubicBezTo>
                  <a:pt x="5727552" y="4289432"/>
                  <a:pt x="5727242" y="4288709"/>
                  <a:pt x="5727242" y="4288709"/>
                </a:cubicBezTo>
                <a:cubicBezTo>
                  <a:pt x="5727552" y="4285611"/>
                  <a:pt x="5728946" y="4282720"/>
                  <a:pt x="5732354" y="4283650"/>
                </a:cubicBezTo>
                <a:close/>
                <a:moveTo>
                  <a:pt x="5046783" y="4283133"/>
                </a:moveTo>
                <a:cubicBezTo>
                  <a:pt x="5048641" y="4284992"/>
                  <a:pt x="5050345" y="4286851"/>
                  <a:pt x="5052049" y="4288606"/>
                </a:cubicBezTo>
                <a:cubicBezTo>
                  <a:pt x="5050500" y="4289432"/>
                  <a:pt x="5049726" y="4291187"/>
                  <a:pt x="5048951" y="4292117"/>
                </a:cubicBezTo>
                <a:cubicBezTo>
                  <a:pt x="5046473" y="4291910"/>
                  <a:pt x="5044769" y="4290981"/>
                  <a:pt x="5043065" y="4288296"/>
                </a:cubicBezTo>
                <a:cubicBezTo>
                  <a:pt x="5044459" y="4284785"/>
                  <a:pt x="5043685" y="4285715"/>
                  <a:pt x="5046783" y="4283133"/>
                </a:cubicBezTo>
                <a:close/>
                <a:moveTo>
                  <a:pt x="1250284" y="4283115"/>
                </a:moveTo>
                <a:cubicBezTo>
                  <a:pt x="1252143" y="4283115"/>
                  <a:pt x="1256325" y="4291066"/>
                  <a:pt x="1252143" y="4291996"/>
                </a:cubicBezTo>
                <a:cubicBezTo>
                  <a:pt x="1251213" y="4291996"/>
                  <a:pt x="1250594" y="4291582"/>
                  <a:pt x="1250129" y="4290860"/>
                </a:cubicBezTo>
                <a:cubicBezTo>
                  <a:pt x="1248735" y="4288691"/>
                  <a:pt x="1249200" y="4284045"/>
                  <a:pt x="1250284" y="4283115"/>
                </a:cubicBezTo>
                <a:close/>
                <a:moveTo>
                  <a:pt x="5793228" y="4282927"/>
                </a:moveTo>
                <a:cubicBezTo>
                  <a:pt x="5800353" y="4290155"/>
                  <a:pt x="5796481" y="4297279"/>
                  <a:pt x="5797255" y="4299138"/>
                </a:cubicBezTo>
                <a:cubicBezTo>
                  <a:pt x="5795861" y="4300274"/>
                  <a:pt x="5795241" y="4300790"/>
                  <a:pt x="5794312" y="4300377"/>
                </a:cubicBezTo>
                <a:cubicBezTo>
                  <a:pt x="5793383" y="4300067"/>
                  <a:pt x="5792298" y="4298725"/>
                  <a:pt x="5789975" y="4296247"/>
                </a:cubicBezTo>
                <a:cubicBezTo>
                  <a:pt x="5789201" y="4295214"/>
                  <a:pt x="5788581" y="4294078"/>
                  <a:pt x="5788271" y="4292839"/>
                </a:cubicBezTo>
                <a:cubicBezTo>
                  <a:pt x="5788116" y="4291600"/>
                  <a:pt x="5788271" y="4290258"/>
                  <a:pt x="5788736" y="4289122"/>
                </a:cubicBezTo>
                <a:cubicBezTo>
                  <a:pt x="5787961" y="4287264"/>
                  <a:pt x="5788116" y="4284682"/>
                  <a:pt x="5789046" y="4283133"/>
                </a:cubicBezTo>
                <a:cubicBezTo>
                  <a:pt x="5790905" y="4281688"/>
                  <a:pt x="5792453" y="4281998"/>
                  <a:pt x="5793228" y="4282927"/>
                </a:cubicBezTo>
                <a:close/>
                <a:moveTo>
                  <a:pt x="1228599" y="4282496"/>
                </a:moveTo>
                <a:cubicBezTo>
                  <a:pt x="1237118" y="4285490"/>
                  <a:pt x="1242694" y="4296952"/>
                  <a:pt x="1241300" y="4302941"/>
                </a:cubicBezTo>
                <a:cubicBezTo>
                  <a:pt x="1232781" y="4299946"/>
                  <a:pt x="1228908" y="4288588"/>
                  <a:pt x="1228599" y="4282496"/>
                </a:cubicBezTo>
                <a:close/>
                <a:moveTo>
                  <a:pt x="1354064" y="4282186"/>
                </a:moveTo>
                <a:cubicBezTo>
                  <a:pt x="1354839" y="4281360"/>
                  <a:pt x="1354839" y="4281360"/>
                  <a:pt x="1355459" y="4282393"/>
                </a:cubicBezTo>
                <a:cubicBezTo>
                  <a:pt x="1355149" y="4282806"/>
                  <a:pt x="1354994" y="4282806"/>
                  <a:pt x="1354685" y="4282599"/>
                </a:cubicBezTo>
                <a:cubicBezTo>
                  <a:pt x="1354530" y="4282496"/>
                  <a:pt x="1354374" y="4282289"/>
                  <a:pt x="1354064" y="4282186"/>
                </a:cubicBezTo>
                <a:close/>
                <a:moveTo>
                  <a:pt x="5750167" y="4281275"/>
                </a:moveTo>
                <a:cubicBezTo>
                  <a:pt x="5751870" y="4281378"/>
                  <a:pt x="5754969" y="4282307"/>
                  <a:pt x="5755433" y="4284682"/>
                </a:cubicBezTo>
                <a:cubicBezTo>
                  <a:pt x="5755433" y="4284682"/>
                  <a:pt x="5755433" y="4284579"/>
                  <a:pt x="5755588" y="4285715"/>
                </a:cubicBezTo>
                <a:cubicBezTo>
                  <a:pt x="5753574" y="4284476"/>
                  <a:pt x="5750941" y="4282824"/>
                  <a:pt x="5750167" y="4281275"/>
                </a:cubicBezTo>
                <a:close/>
                <a:moveTo>
                  <a:pt x="5941619" y="4280242"/>
                </a:moveTo>
                <a:cubicBezTo>
                  <a:pt x="5943167" y="4280449"/>
                  <a:pt x="5944871" y="4279829"/>
                  <a:pt x="5946575" y="4280965"/>
                </a:cubicBezTo>
                <a:cubicBezTo>
                  <a:pt x="5948124" y="4282927"/>
                  <a:pt x="5946885" y="4287161"/>
                  <a:pt x="5945956" y="4288709"/>
                </a:cubicBezTo>
                <a:cubicBezTo>
                  <a:pt x="5945181" y="4289432"/>
                  <a:pt x="5944097" y="4289432"/>
                  <a:pt x="5943013" y="4289122"/>
                </a:cubicBezTo>
                <a:cubicBezTo>
                  <a:pt x="5942083" y="4288709"/>
                  <a:pt x="5940999" y="4287883"/>
                  <a:pt x="5940224" y="4286954"/>
                </a:cubicBezTo>
                <a:cubicBezTo>
                  <a:pt x="5939450" y="4286334"/>
                  <a:pt x="5939140" y="4285405"/>
                  <a:pt x="5939140" y="4284476"/>
                </a:cubicBezTo>
                <a:cubicBezTo>
                  <a:pt x="5939140" y="4283443"/>
                  <a:pt x="5939295" y="4282410"/>
                  <a:pt x="5939760" y="4281584"/>
                </a:cubicBezTo>
                <a:cubicBezTo>
                  <a:pt x="5940689" y="4280862"/>
                  <a:pt x="5940689" y="4280965"/>
                  <a:pt x="5941619" y="4280242"/>
                </a:cubicBezTo>
                <a:close/>
                <a:moveTo>
                  <a:pt x="1282812" y="4280224"/>
                </a:moveTo>
                <a:lnTo>
                  <a:pt x="1284206" y="4282186"/>
                </a:lnTo>
                <a:lnTo>
                  <a:pt x="1289473" y="4283115"/>
                </a:lnTo>
                <a:cubicBezTo>
                  <a:pt x="1291487" y="4283942"/>
                  <a:pt x="1293345" y="4285387"/>
                  <a:pt x="1294585" y="4287556"/>
                </a:cubicBezTo>
                <a:cubicBezTo>
                  <a:pt x="1294585" y="4291479"/>
                  <a:pt x="1291797" y="4294164"/>
                  <a:pt x="1288389" y="4295713"/>
                </a:cubicBezTo>
                <a:lnTo>
                  <a:pt x="1288078" y="4295816"/>
                </a:lnTo>
                <a:lnTo>
                  <a:pt x="1287769" y="4297055"/>
                </a:lnTo>
                <a:cubicBezTo>
                  <a:pt x="1287459" y="4298707"/>
                  <a:pt x="1286530" y="4299533"/>
                  <a:pt x="1285600" y="4300256"/>
                </a:cubicBezTo>
                <a:lnTo>
                  <a:pt x="1283896" y="4302011"/>
                </a:lnTo>
                <a:lnTo>
                  <a:pt x="1281418" y="4308413"/>
                </a:lnTo>
                <a:cubicBezTo>
                  <a:pt x="1279560" y="4310995"/>
                  <a:pt x="1277081" y="4312750"/>
                  <a:pt x="1274138" y="4312957"/>
                </a:cubicBezTo>
                <a:cubicBezTo>
                  <a:pt x="1277546" y="4307484"/>
                  <a:pt x="1277391" y="4302011"/>
                  <a:pt x="1277546" y="4296539"/>
                </a:cubicBezTo>
                <a:lnTo>
                  <a:pt x="1277701" y="4296126"/>
                </a:lnTo>
                <a:lnTo>
                  <a:pt x="1275377" y="4292305"/>
                </a:lnTo>
                <a:cubicBezTo>
                  <a:pt x="1274758" y="4290860"/>
                  <a:pt x="1274758" y="4289517"/>
                  <a:pt x="1275067" y="4288278"/>
                </a:cubicBezTo>
                <a:lnTo>
                  <a:pt x="1275222" y="4287969"/>
                </a:lnTo>
                <a:lnTo>
                  <a:pt x="1274603" y="4288175"/>
                </a:lnTo>
                <a:cubicBezTo>
                  <a:pt x="1273983" y="4288381"/>
                  <a:pt x="1273364" y="4288691"/>
                  <a:pt x="1272744" y="4288485"/>
                </a:cubicBezTo>
                <a:cubicBezTo>
                  <a:pt x="1272744" y="4288485"/>
                  <a:pt x="1271040" y="4286523"/>
                  <a:pt x="1271040" y="4286523"/>
                </a:cubicBezTo>
                <a:cubicBezTo>
                  <a:pt x="1271505" y="4285284"/>
                  <a:pt x="1271505" y="4285387"/>
                  <a:pt x="1271815" y="4286110"/>
                </a:cubicBezTo>
                <a:cubicBezTo>
                  <a:pt x="1273054" y="4284561"/>
                  <a:pt x="1273983" y="4284148"/>
                  <a:pt x="1274758" y="4283735"/>
                </a:cubicBezTo>
                <a:lnTo>
                  <a:pt x="1275997" y="4286936"/>
                </a:lnTo>
                <a:lnTo>
                  <a:pt x="1278011" y="4284045"/>
                </a:lnTo>
                <a:lnTo>
                  <a:pt x="1281573" y="4282703"/>
                </a:lnTo>
                <a:close/>
                <a:moveTo>
                  <a:pt x="1457071" y="4280018"/>
                </a:moveTo>
                <a:cubicBezTo>
                  <a:pt x="1456915" y="4280844"/>
                  <a:pt x="1456915" y="4282599"/>
                  <a:pt x="1458620" y="4283632"/>
                </a:cubicBezTo>
                <a:cubicBezTo>
                  <a:pt x="1457690" y="4284355"/>
                  <a:pt x="1456915" y="4285180"/>
                  <a:pt x="1455986" y="4285490"/>
                </a:cubicBezTo>
                <a:cubicBezTo>
                  <a:pt x="1455677" y="4285697"/>
                  <a:pt x="1455212" y="4285697"/>
                  <a:pt x="1454747" y="4285594"/>
                </a:cubicBezTo>
                <a:cubicBezTo>
                  <a:pt x="1454282" y="4285490"/>
                  <a:pt x="1453972" y="4285284"/>
                  <a:pt x="1453508" y="4284768"/>
                </a:cubicBezTo>
                <a:cubicBezTo>
                  <a:pt x="1452734" y="4283838"/>
                  <a:pt x="1451959" y="4282806"/>
                  <a:pt x="1451959" y="4281050"/>
                </a:cubicBezTo>
                <a:cubicBezTo>
                  <a:pt x="1453663" y="4279605"/>
                  <a:pt x="1456141" y="4280741"/>
                  <a:pt x="1457071" y="4280018"/>
                </a:cubicBezTo>
                <a:close/>
                <a:moveTo>
                  <a:pt x="5126864" y="4279829"/>
                </a:moveTo>
                <a:cubicBezTo>
                  <a:pt x="5127638" y="4280449"/>
                  <a:pt x="5128103" y="4281481"/>
                  <a:pt x="5128103" y="4283340"/>
                </a:cubicBezTo>
                <a:cubicBezTo>
                  <a:pt x="5126709" y="4284063"/>
                  <a:pt x="5123456" y="4285199"/>
                  <a:pt x="5120359" y="4285405"/>
                </a:cubicBezTo>
                <a:cubicBezTo>
                  <a:pt x="5117260" y="4285715"/>
                  <a:pt x="5114472" y="4285095"/>
                  <a:pt x="5114008" y="4282824"/>
                </a:cubicBezTo>
                <a:cubicBezTo>
                  <a:pt x="5113853" y="4282101"/>
                  <a:pt x="5114008" y="4281275"/>
                  <a:pt x="5114317" y="4280345"/>
                </a:cubicBezTo>
                <a:cubicBezTo>
                  <a:pt x="5119584" y="4280552"/>
                  <a:pt x="5124541" y="4277971"/>
                  <a:pt x="5126864" y="4279829"/>
                </a:cubicBezTo>
                <a:close/>
                <a:moveTo>
                  <a:pt x="1529717" y="4279811"/>
                </a:moveTo>
                <a:cubicBezTo>
                  <a:pt x="1530491" y="4279502"/>
                  <a:pt x="1530647" y="4280328"/>
                  <a:pt x="1531421" y="4280018"/>
                </a:cubicBezTo>
                <a:cubicBezTo>
                  <a:pt x="1531421" y="4280018"/>
                  <a:pt x="1531730" y="4280741"/>
                  <a:pt x="1531730" y="4280741"/>
                </a:cubicBezTo>
                <a:cubicBezTo>
                  <a:pt x="1532040" y="4280637"/>
                  <a:pt x="1532040" y="4280637"/>
                  <a:pt x="1532040" y="4280947"/>
                </a:cubicBezTo>
                <a:cubicBezTo>
                  <a:pt x="1531885" y="4281154"/>
                  <a:pt x="1531575" y="4281670"/>
                  <a:pt x="1531421" y="4282599"/>
                </a:cubicBezTo>
                <a:cubicBezTo>
                  <a:pt x="1530956" y="4283735"/>
                  <a:pt x="1531111" y="4284561"/>
                  <a:pt x="1530182" y="4284045"/>
                </a:cubicBezTo>
                <a:cubicBezTo>
                  <a:pt x="1529717" y="4283838"/>
                  <a:pt x="1529407" y="4283735"/>
                  <a:pt x="1529252" y="4283322"/>
                </a:cubicBezTo>
                <a:cubicBezTo>
                  <a:pt x="1528943" y="4283012"/>
                  <a:pt x="1528788" y="4282393"/>
                  <a:pt x="1528478" y="4281257"/>
                </a:cubicBezTo>
                <a:cubicBezTo>
                  <a:pt x="1529407" y="4281670"/>
                  <a:pt x="1529407" y="4281670"/>
                  <a:pt x="1530027" y="4280534"/>
                </a:cubicBezTo>
                <a:cubicBezTo>
                  <a:pt x="1530027" y="4280534"/>
                  <a:pt x="1530027" y="4280637"/>
                  <a:pt x="1529717" y="4279811"/>
                </a:cubicBezTo>
                <a:close/>
                <a:moveTo>
                  <a:pt x="1105766" y="4279192"/>
                </a:moveTo>
                <a:cubicBezTo>
                  <a:pt x="1106385" y="4279089"/>
                  <a:pt x="1106850" y="4279192"/>
                  <a:pt x="1107315" y="4279708"/>
                </a:cubicBezTo>
                <a:cubicBezTo>
                  <a:pt x="1106075" y="4280844"/>
                  <a:pt x="1104681" y="4282909"/>
                  <a:pt x="1102668" y="4283322"/>
                </a:cubicBezTo>
                <a:cubicBezTo>
                  <a:pt x="1102048" y="4283529"/>
                  <a:pt x="1101429" y="4283529"/>
                  <a:pt x="1100499" y="4283115"/>
                </a:cubicBezTo>
                <a:cubicBezTo>
                  <a:pt x="1101893" y="4281980"/>
                  <a:pt x="1104062" y="4279605"/>
                  <a:pt x="1105766" y="4279192"/>
                </a:cubicBezTo>
                <a:close/>
                <a:moveTo>
                  <a:pt x="5602705" y="4277558"/>
                </a:moveTo>
                <a:cubicBezTo>
                  <a:pt x="5606733" y="4276318"/>
                  <a:pt x="5609986" y="4279829"/>
                  <a:pt x="5606578" y="4284476"/>
                </a:cubicBezTo>
                <a:cubicBezTo>
                  <a:pt x="5604254" y="4283133"/>
                  <a:pt x="5602086" y="4281688"/>
                  <a:pt x="5601931" y="4279726"/>
                </a:cubicBezTo>
                <a:cubicBezTo>
                  <a:pt x="5601931" y="4279106"/>
                  <a:pt x="5602086" y="4278384"/>
                  <a:pt x="5602705" y="4277558"/>
                </a:cubicBezTo>
                <a:close/>
                <a:moveTo>
                  <a:pt x="5830713" y="4277248"/>
                </a:moveTo>
                <a:cubicBezTo>
                  <a:pt x="5834895" y="4280759"/>
                  <a:pt x="5837528" y="4284166"/>
                  <a:pt x="5838767" y="4287470"/>
                </a:cubicBezTo>
                <a:lnTo>
                  <a:pt x="5839232" y="4295731"/>
                </a:lnTo>
                <a:lnTo>
                  <a:pt x="5843414" y="4299861"/>
                </a:lnTo>
                <a:lnTo>
                  <a:pt x="5845893" y="4299241"/>
                </a:lnTo>
                <a:cubicBezTo>
                  <a:pt x="5847287" y="4299448"/>
                  <a:pt x="5848681" y="4300274"/>
                  <a:pt x="5849610" y="4301616"/>
                </a:cubicBezTo>
                <a:lnTo>
                  <a:pt x="5849300" y="4302545"/>
                </a:lnTo>
                <a:lnTo>
                  <a:pt x="5850384" y="4302649"/>
                </a:lnTo>
                <a:cubicBezTo>
                  <a:pt x="5851314" y="4302959"/>
                  <a:pt x="5852088" y="4303475"/>
                  <a:pt x="5853018" y="4304301"/>
                </a:cubicBezTo>
                <a:cubicBezTo>
                  <a:pt x="5855651" y="4306986"/>
                  <a:pt x="5857665" y="4313181"/>
                  <a:pt x="5855186" y="4315659"/>
                </a:cubicBezTo>
                <a:cubicBezTo>
                  <a:pt x="5852863" y="4318963"/>
                  <a:pt x="5850384" y="4319686"/>
                  <a:pt x="5847752" y="4319583"/>
                </a:cubicBezTo>
                <a:cubicBezTo>
                  <a:pt x="5847752" y="4319583"/>
                  <a:pt x="5847752" y="4319583"/>
                  <a:pt x="5848681" y="4319583"/>
                </a:cubicBezTo>
                <a:cubicBezTo>
                  <a:pt x="5852243" y="4323197"/>
                  <a:pt x="5858284" y="4329496"/>
                  <a:pt x="5857665" y="4332077"/>
                </a:cubicBezTo>
                <a:cubicBezTo>
                  <a:pt x="5856735" y="4332077"/>
                  <a:pt x="5855961" y="4331973"/>
                  <a:pt x="5855031" y="4331147"/>
                </a:cubicBezTo>
                <a:cubicBezTo>
                  <a:pt x="5854102" y="4330218"/>
                  <a:pt x="5855031" y="4330218"/>
                  <a:pt x="5854257" y="4330218"/>
                </a:cubicBezTo>
                <a:lnTo>
                  <a:pt x="5853947" y="4330115"/>
                </a:lnTo>
                <a:lnTo>
                  <a:pt x="5855651" y="4332800"/>
                </a:lnTo>
                <a:cubicBezTo>
                  <a:pt x="5854102" y="4334452"/>
                  <a:pt x="5855031" y="4336207"/>
                  <a:pt x="5853328" y="4337859"/>
                </a:cubicBezTo>
                <a:cubicBezTo>
                  <a:pt x="5848061" y="4332490"/>
                  <a:pt x="5842020" y="4327017"/>
                  <a:pt x="5844344" y="4321958"/>
                </a:cubicBezTo>
                <a:lnTo>
                  <a:pt x="5842640" y="4319376"/>
                </a:lnTo>
                <a:cubicBezTo>
                  <a:pt x="5843414" y="4317621"/>
                  <a:pt x="5843414" y="4317621"/>
                  <a:pt x="5844344" y="4317724"/>
                </a:cubicBezTo>
                <a:lnTo>
                  <a:pt x="5842950" y="4316175"/>
                </a:lnTo>
                <a:lnTo>
                  <a:pt x="5841555" y="4320306"/>
                </a:lnTo>
                <a:lnTo>
                  <a:pt x="5839697" y="4322061"/>
                </a:lnTo>
                <a:lnTo>
                  <a:pt x="5839851" y="4322887"/>
                </a:lnTo>
                <a:cubicBezTo>
                  <a:pt x="5840006" y="4326295"/>
                  <a:pt x="5839542" y="4329599"/>
                  <a:pt x="5838458" y="4332800"/>
                </a:cubicBezTo>
                <a:cubicBezTo>
                  <a:pt x="5836444" y="4332697"/>
                  <a:pt x="5834431" y="4332180"/>
                  <a:pt x="5832572" y="4331457"/>
                </a:cubicBezTo>
                <a:lnTo>
                  <a:pt x="5829629" y="4330218"/>
                </a:lnTo>
                <a:lnTo>
                  <a:pt x="5828389" y="4333729"/>
                </a:lnTo>
                <a:cubicBezTo>
                  <a:pt x="5827460" y="4334865"/>
                  <a:pt x="5826221" y="4335484"/>
                  <a:pt x="5824827" y="4335691"/>
                </a:cubicBezTo>
                <a:cubicBezTo>
                  <a:pt x="5823897" y="4334555"/>
                  <a:pt x="5823433" y="4333419"/>
                  <a:pt x="5823433" y="4332283"/>
                </a:cubicBezTo>
                <a:cubicBezTo>
                  <a:pt x="5823433" y="4330528"/>
                  <a:pt x="5824207" y="4329082"/>
                  <a:pt x="5825446" y="4328256"/>
                </a:cubicBezTo>
                <a:lnTo>
                  <a:pt x="5825756" y="4328153"/>
                </a:lnTo>
                <a:lnTo>
                  <a:pt x="5819406" y="4324333"/>
                </a:lnTo>
                <a:lnTo>
                  <a:pt x="5816772" y="4327017"/>
                </a:lnTo>
                <a:cubicBezTo>
                  <a:pt x="5815533" y="4327946"/>
                  <a:pt x="5813984" y="4328360"/>
                  <a:pt x="5812125" y="4328360"/>
                </a:cubicBezTo>
                <a:cubicBezTo>
                  <a:pt x="5811970" y="4319789"/>
                  <a:pt x="5817547" y="4318137"/>
                  <a:pt x="5822348" y="4315866"/>
                </a:cubicBezTo>
                <a:cubicBezTo>
                  <a:pt x="5822503" y="4316795"/>
                  <a:pt x="5822503" y="4318034"/>
                  <a:pt x="5822039" y="4319376"/>
                </a:cubicBezTo>
                <a:lnTo>
                  <a:pt x="5821109" y="4321751"/>
                </a:lnTo>
                <a:lnTo>
                  <a:pt x="5821884" y="4321441"/>
                </a:lnTo>
                <a:cubicBezTo>
                  <a:pt x="5823587" y="4321235"/>
                  <a:pt x="5825137" y="4321132"/>
                  <a:pt x="5826840" y="4320822"/>
                </a:cubicBezTo>
                <a:lnTo>
                  <a:pt x="5830713" y="4319067"/>
                </a:lnTo>
                <a:lnTo>
                  <a:pt x="5828080" y="4309051"/>
                </a:lnTo>
                <a:lnTo>
                  <a:pt x="5828544" y="4302545"/>
                </a:lnTo>
                <a:lnTo>
                  <a:pt x="5826066" y="4302855"/>
                </a:lnTo>
                <a:cubicBezTo>
                  <a:pt x="5822039" y="4302029"/>
                  <a:pt x="5817547" y="4299241"/>
                  <a:pt x="5813674" y="4293975"/>
                </a:cubicBezTo>
                <a:cubicBezTo>
                  <a:pt x="5813519" y="4291910"/>
                  <a:pt x="5814139" y="4289742"/>
                  <a:pt x="5815223" y="4287573"/>
                </a:cubicBezTo>
                <a:cubicBezTo>
                  <a:pt x="5818476" y="4281275"/>
                  <a:pt x="5825911" y="4275699"/>
                  <a:pt x="5830713" y="4277248"/>
                </a:cubicBezTo>
                <a:close/>
                <a:moveTo>
                  <a:pt x="5862466" y="4274150"/>
                </a:moveTo>
                <a:cubicBezTo>
                  <a:pt x="5863551" y="4274253"/>
                  <a:pt x="5865409" y="4273634"/>
                  <a:pt x="5867113" y="4274357"/>
                </a:cubicBezTo>
                <a:cubicBezTo>
                  <a:pt x="5867733" y="4276628"/>
                  <a:pt x="5866804" y="4277764"/>
                  <a:pt x="5865720" y="4278177"/>
                </a:cubicBezTo>
                <a:cubicBezTo>
                  <a:pt x="5864480" y="4278487"/>
                  <a:pt x="5863086" y="4277971"/>
                  <a:pt x="5862312" y="4276938"/>
                </a:cubicBezTo>
                <a:cubicBezTo>
                  <a:pt x="5861847" y="4276215"/>
                  <a:pt x="5861847" y="4275286"/>
                  <a:pt x="5862466" y="4274150"/>
                </a:cubicBezTo>
                <a:close/>
                <a:moveTo>
                  <a:pt x="5510233" y="4273943"/>
                </a:moveTo>
                <a:cubicBezTo>
                  <a:pt x="5508219" y="4278384"/>
                  <a:pt x="5502332" y="4283443"/>
                  <a:pt x="5497531" y="4282927"/>
                </a:cubicBezTo>
                <a:cubicBezTo>
                  <a:pt x="5495982" y="4282824"/>
                  <a:pt x="5494588" y="4281998"/>
                  <a:pt x="5493349" y="4280345"/>
                </a:cubicBezTo>
                <a:cubicBezTo>
                  <a:pt x="5498615" y="4278177"/>
                  <a:pt x="5504346" y="4274253"/>
                  <a:pt x="5510233" y="4273943"/>
                </a:cubicBezTo>
                <a:close/>
                <a:moveTo>
                  <a:pt x="1185886" y="4273861"/>
                </a:moveTo>
                <a:cubicBezTo>
                  <a:pt x="1188597" y="4272661"/>
                  <a:pt x="1192120" y="4273564"/>
                  <a:pt x="1194366" y="4277643"/>
                </a:cubicBezTo>
                <a:cubicBezTo>
                  <a:pt x="1192353" y="4280637"/>
                  <a:pt x="1190494" y="4282289"/>
                  <a:pt x="1188480" y="4283012"/>
                </a:cubicBezTo>
                <a:cubicBezTo>
                  <a:pt x="1187396" y="4283425"/>
                  <a:pt x="1186466" y="4283529"/>
                  <a:pt x="1185383" y="4283529"/>
                </a:cubicBezTo>
                <a:cubicBezTo>
                  <a:pt x="1184298" y="4283425"/>
                  <a:pt x="1183369" y="4283115"/>
                  <a:pt x="1182285" y="4282703"/>
                </a:cubicBezTo>
                <a:cubicBezTo>
                  <a:pt x="1181278" y="4278366"/>
                  <a:pt x="1183175" y="4275062"/>
                  <a:pt x="1185886" y="4273861"/>
                </a:cubicBezTo>
                <a:close/>
                <a:moveTo>
                  <a:pt x="4977912" y="4273324"/>
                </a:moveTo>
                <a:cubicBezTo>
                  <a:pt x="4980952" y="4272369"/>
                  <a:pt x="4983508" y="4274357"/>
                  <a:pt x="4980797" y="4283443"/>
                </a:cubicBezTo>
                <a:cubicBezTo>
                  <a:pt x="4975066" y="4283960"/>
                  <a:pt x="4972587" y="4282720"/>
                  <a:pt x="4972122" y="4280862"/>
                </a:cubicBezTo>
                <a:cubicBezTo>
                  <a:pt x="4971348" y="4278177"/>
                  <a:pt x="4974872" y="4274279"/>
                  <a:pt x="4977912" y="4273324"/>
                </a:cubicBezTo>
                <a:close/>
                <a:moveTo>
                  <a:pt x="1327732" y="4272997"/>
                </a:moveTo>
                <a:cubicBezTo>
                  <a:pt x="1329126" y="4273203"/>
                  <a:pt x="1330366" y="4273822"/>
                  <a:pt x="1331295" y="4275062"/>
                </a:cubicBezTo>
                <a:cubicBezTo>
                  <a:pt x="1332534" y="4276610"/>
                  <a:pt x="1332999" y="4279089"/>
                  <a:pt x="1331759" y="4282496"/>
                </a:cubicBezTo>
                <a:cubicBezTo>
                  <a:pt x="1328042" y="4284458"/>
                  <a:pt x="1325719" y="4283322"/>
                  <a:pt x="1322776" y="4283838"/>
                </a:cubicBezTo>
                <a:cubicBezTo>
                  <a:pt x="1318903" y="4276301"/>
                  <a:pt x="1323705" y="4272480"/>
                  <a:pt x="1327732" y="4272997"/>
                </a:cubicBezTo>
                <a:close/>
                <a:moveTo>
                  <a:pt x="1221784" y="4271757"/>
                </a:moveTo>
                <a:cubicBezTo>
                  <a:pt x="1220699" y="4273719"/>
                  <a:pt x="1219769" y="4274648"/>
                  <a:pt x="1218530" y="4274958"/>
                </a:cubicBezTo>
                <a:cubicBezTo>
                  <a:pt x="1217446" y="4275268"/>
                  <a:pt x="1216207" y="4275062"/>
                  <a:pt x="1214658" y="4274442"/>
                </a:cubicBezTo>
                <a:cubicBezTo>
                  <a:pt x="1216362" y="4271861"/>
                  <a:pt x="1218221" y="4271757"/>
                  <a:pt x="1221784" y="4271757"/>
                </a:cubicBezTo>
                <a:close/>
                <a:moveTo>
                  <a:pt x="1210166" y="4270621"/>
                </a:moveTo>
                <a:cubicBezTo>
                  <a:pt x="1219150" y="4279605"/>
                  <a:pt x="1216827" y="4283942"/>
                  <a:pt x="1212025" y="4284974"/>
                </a:cubicBezTo>
                <a:cubicBezTo>
                  <a:pt x="1210785" y="4285180"/>
                  <a:pt x="1209392" y="4285284"/>
                  <a:pt x="1207998" y="4285180"/>
                </a:cubicBezTo>
                <a:cubicBezTo>
                  <a:pt x="1203970" y="4284768"/>
                  <a:pt x="1199788" y="4282909"/>
                  <a:pt x="1199478" y="4280018"/>
                </a:cubicBezTo>
                <a:cubicBezTo>
                  <a:pt x="1199169" y="4277436"/>
                  <a:pt x="1201802" y="4274236"/>
                  <a:pt x="1210166" y="4270621"/>
                </a:cubicBezTo>
                <a:close/>
                <a:moveTo>
                  <a:pt x="1423613" y="4270105"/>
                </a:moveTo>
                <a:cubicBezTo>
                  <a:pt x="1424233" y="4269692"/>
                  <a:pt x="1425162" y="4269796"/>
                  <a:pt x="1426092" y="4270105"/>
                </a:cubicBezTo>
                <a:cubicBezTo>
                  <a:pt x="1429034" y="4271035"/>
                  <a:pt x="1433217" y="4274339"/>
                  <a:pt x="1435075" y="4276507"/>
                </a:cubicBezTo>
                <a:cubicBezTo>
                  <a:pt x="1434301" y="4276817"/>
                  <a:pt x="1433526" y="4276817"/>
                  <a:pt x="1432442" y="4276507"/>
                </a:cubicBezTo>
                <a:cubicBezTo>
                  <a:pt x="1429499" y="4275578"/>
                  <a:pt x="1425317" y="4272170"/>
                  <a:pt x="1423613" y="4270105"/>
                </a:cubicBezTo>
                <a:close/>
                <a:moveTo>
                  <a:pt x="5655060" y="4270020"/>
                </a:moveTo>
                <a:cubicBezTo>
                  <a:pt x="5656145" y="4270330"/>
                  <a:pt x="5656145" y="4270330"/>
                  <a:pt x="5657539" y="4272498"/>
                </a:cubicBezTo>
                <a:cubicBezTo>
                  <a:pt x="5656455" y="4272188"/>
                  <a:pt x="5656455" y="4272188"/>
                  <a:pt x="5656300" y="4273324"/>
                </a:cubicBezTo>
                <a:cubicBezTo>
                  <a:pt x="5656300" y="4273324"/>
                  <a:pt x="5656300" y="4273427"/>
                  <a:pt x="5656764" y="4274150"/>
                </a:cubicBezTo>
                <a:cubicBezTo>
                  <a:pt x="5656145" y="4274563"/>
                  <a:pt x="5655680" y="4273737"/>
                  <a:pt x="5655060" y="4274150"/>
                </a:cubicBezTo>
                <a:cubicBezTo>
                  <a:pt x="5655060" y="4274150"/>
                  <a:pt x="5654441" y="4273531"/>
                  <a:pt x="5654441" y="4273531"/>
                </a:cubicBezTo>
                <a:cubicBezTo>
                  <a:pt x="5654131" y="4273737"/>
                  <a:pt x="5654286" y="4273737"/>
                  <a:pt x="5654286" y="4273427"/>
                </a:cubicBezTo>
                <a:cubicBezTo>
                  <a:pt x="5654286" y="4273117"/>
                  <a:pt x="5654286" y="4272498"/>
                  <a:pt x="5654131" y="4271569"/>
                </a:cubicBezTo>
                <a:cubicBezTo>
                  <a:pt x="5654286" y="4270433"/>
                  <a:pt x="5653976" y="4269813"/>
                  <a:pt x="5655060" y="4270020"/>
                </a:cubicBezTo>
                <a:close/>
                <a:moveTo>
                  <a:pt x="5835824" y="4269813"/>
                </a:moveTo>
                <a:cubicBezTo>
                  <a:pt x="5837993" y="4274047"/>
                  <a:pt x="5833191" y="4277867"/>
                  <a:pt x="5831487" y="4277454"/>
                </a:cubicBezTo>
                <a:cubicBezTo>
                  <a:pt x="5830558" y="4275286"/>
                  <a:pt x="5831642" y="4272085"/>
                  <a:pt x="5830558" y="4270020"/>
                </a:cubicBezTo>
                <a:cubicBezTo>
                  <a:pt x="5832107" y="4270536"/>
                  <a:pt x="5834275" y="4269297"/>
                  <a:pt x="5835824" y="4269813"/>
                </a:cubicBezTo>
                <a:close/>
                <a:moveTo>
                  <a:pt x="1035907" y="4269589"/>
                </a:moveTo>
                <a:cubicBezTo>
                  <a:pt x="1039316" y="4268866"/>
                  <a:pt x="1052637" y="4269796"/>
                  <a:pt x="1047990" y="4276817"/>
                </a:cubicBezTo>
                <a:lnTo>
                  <a:pt x="1048919" y="4279192"/>
                </a:lnTo>
                <a:cubicBezTo>
                  <a:pt x="1048764" y="4280328"/>
                  <a:pt x="1047990" y="4281360"/>
                  <a:pt x="1046750" y="4282496"/>
                </a:cubicBezTo>
                <a:cubicBezTo>
                  <a:pt x="1045976" y="4281257"/>
                  <a:pt x="1045666" y="4280224"/>
                  <a:pt x="1045821" y="4278985"/>
                </a:cubicBezTo>
                <a:lnTo>
                  <a:pt x="1046595" y="4276507"/>
                </a:lnTo>
                <a:lnTo>
                  <a:pt x="1040864" y="4275371"/>
                </a:lnTo>
                <a:cubicBezTo>
                  <a:pt x="1038696" y="4275165"/>
                  <a:pt x="1036992" y="4274752"/>
                  <a:pt x="1036062" y="4273513"/>
                </a:cubicBezTo>
                <a:cubicBezTo>
                  <a:pt x="1035598" y="4272687"/>
                  <a:pt x="1035443" y="4271447"/>
                  <a:pt x="1035907" y="4269589"/>
                </a:cubicBezTo>
                <a:close/>
                <a:moveTo>
                  <a:pt x="5375782" y="4269400"/>
                </a:moveTo>
                <a:cubicBezTo>
                  <a:pt x="5377486" y="4270123"/>
                  <a:pt x="5378416" y="4270949"/>
                  <a:pt x="5380274" y="4271775"/>
                </a:cubicBezTo>
                <a:cubicBezTo>
                  <a:pt x="5380584" y="4274357"/>
                  <a:pt x="5383527" y="4276732"/>
                  <a:pt x="5380894" y="4282101"/>
                </a:cubicBezTo>
                <a:cubicBezTo>
                  <a:pt x="5377486" y="4287573"/>
                  <a:pt x="5371755" y="4283546"/>
                  <a:pt x="5371910" y="4284372"/>
                </a:cubicBezTo>
                <a:cubicBezTo>
                  <a:pt x="5371135" y="4285302"/>
                  <a:pt x="5371135" y="4285302"/>
                  <a:pt x="5371290" y="4286231"/>
                </a:cubicBezTo>
                <a:cubicBezTo>
                  <a:pt x="5370516" y="4286231"/>
                  <a:pt x="5368967" y="4287264"/>
                  <a:pt x="5368192" y="4288090"/>
                </a:cubicBezTo>
                <a:cubicBezTo>
                  <a:pt x="5368038" y="4287264"/>
                  <a:pt x="5368038" y="4286438"/>
                  <a:pt x="5367108" y="4286438"/>
                </a:cubicBezTo>
                <a:cubicBezTo>
                  <a:pt x="5368502" y="4284579"/>
                  <a:pt x="5369432" y="4284579"/>
                  <a:pt x="5370051" y="4283650"/>
                </a:cubicBezTo>
                <a:cubicBezTo>
                  <a:pt x="5369277" y="4283753"/>
                  <a:pt x="5370051" y="4282824"/>
                  <a:pt x="5370051" y="4282824"/>
                </a:cubicBezTo>
                <a:cubicBezTo>
                  <a:pt x="5370051" y="4282824"/>
                  <a:pt x="5370051" y="4282824"/>
                  <a:pt x="5368038" y="4281171"/>
                </a:cubicBezTo>
                <a:cubicBezTo>
                  <a:pt x="5368038" y="4281171"/>
                  <a:pt x="5364165" y="4277041"/>
                  <a:pt x="5366954" y="4272498"/>
                </a:cubicBezTo>
                <a:cubicBezTo>
                  <a:pt x="5367883" y="4273324"/>
                  <a:pt x="5372065" y="4267851"/>
                  <a:pt x="5375782" y="4269400"/>
                </a:cubicBezTo>
                <a:close/>
                <a:moveTo>
                  <a:pt x="1302445" y="4268943"/>
                </a:moveTo>
                <a:cubicBezTo>
                  <a:pt x="1304769" y="4269485"/>
                  <a:pt x="1306821" y="4271086"/>
                  <a:pt x="1308060" y="4273203"/>
                </a:cubicBezTo>
                <a:cubicBezTo>
                  <a:pt x="1309145" y="4275062"/>
                  <a:pt x="1309610" y="4277230"/>
                  <a:pt x="1309145" y="4279502"/>
                </a:cubicBezTo>
                <a:lnTo>
                  <a:pt x="1308525" y="4280637"/>
                </a:lnTo>
                <a:lnTo>
                  <a:pt x="1310384" y="4279605"/>
                </a:lnTo>
                <a:cubicBezTo>
                  <a:pt x="1313791" y="4278159"/>
                  <a:pt x="1317509" y="4277953"/>
                  <a:pt x="1320607" y="4281464"/>
                </a:cubicBezTo>
                <a:cubicBezTo>
                  <a:pt x="1319058" y="4288381"/>
                  <a:pt x="1310694" y="4294267"/>
                  <a:pt x="1305427" y="4293338"/>
                </a:cubicBezTo>
                <a:cubicBezTo>
                  <a:pt x="1303723" y="4293028"/>
                  <a:pt x="1302174" y="4291996"/>
                  <a:pt x="1301555" y="4290034"/>
                </a:cubicBezTo>
                <a:lnTo>
                  <a:pt x="1301245" y="4287452"/>
                </a:lnTo>
                <a:cubicBezTo>
                  <a:pt x="1295204" y="4284665"/>
                  <a:pt x="1294430" y="4280844"/>
                  <a:pt x="1290867" y="4277643"/>
                </a:cubicBezTo>
                <a:lnTo>
                  <a:pt x="1293655" y="4273513"/>
                </a:lnTo>
                <a:lnTo>
                  <a:pt x="1293500" y="4273100"/>
                </a:lnTo>
                <a:lnTo>
                  <a:pt x="1294120" y="4272790"/>
                </a:lnTo>
                <a:lnTo>
                  <a:pt x="1295204" y="4271035"/>
                </a:lnTo>
                <a:cubicBezTo>
                  <a:pt x="1297527" y="4268918"/>
                  <a:pt x="1300122" y="4268401"/>
                  <a:pt x="1302445" y="4268943"/>
                </a:cubicBezTo>
                <a:close/>
                <a:moveTo>
                  <a:pt x="5724764" y="4268265"/>
                </a:moveTo>
                <a:lnTo>
                  <a:pt x="5725228" y="4270123"/>
                </a:lnTo>
                <a:lnTo>
                  <a:pt x="5725848" y="4269607"/>
                </a:lnTo>
                <a:cubicBezTo>
                  <a:pt x="5726932" y="4268677"/>
                  <a:pt x="5728326" y="4267955"/>
                  <a:pt x="5729875" y="4268471"/>
                </a:cubicBezTo>
                <a:cubicBezTo>
                  <a:pt x="5729256" y="4269091"/>
                  <a:pt x="5728172" y="4270123"/>
                  <a:pt x="5727242" y="4271052"/>
                </a:cubicBezTo>
                <a:lnTo>
                  <a:pt x="5725848" y="4271982"/>
                </a:lnTo>
                <a:lnTo>
                  <a:pt x="5726623" y="4274150"/>
                </a:lnTo>
                <a:lnTo>
                  <a:pt x="5724764" y="4277971"/>
                </a:lnTo>
                <a:lnTo>
                  <a:pt x="5726468" y="4278384"/>
                </a:lnTo>
                <a:cubicBezTo>
                  <a:pt x="5726158" y="4279623"/>
                  <a:pt x="5725228" y="4281275"/>
                  <a:pt x="5723989" y="4280965"/>
                </a:cubicBezTo>
                <a:lnTo>
                  <a:pt x="5723370" y="4280345"/>
                </a:lnTo>
                <a:lnTo>
                  <a:pt x="5721046" y="4279829"/>
                </a:lnTo>
                <a:lnTo>
                  <a:pt x="5720581" y="4281068"/>
                </a:lnTo>
                <a:cubicBezTo>
                  <a:pt x="5719807" y="4282307"/>
                  <a:pt x="5718723" y="4283237"/>
                  <a:pt x="5717329" y="4283133"/>
                </a:cubicBezTo>
                <a:cubicBezTo>
                  <a:pt x="5716864" y="4282410"/>
                  <a:pt x="5716244" y="4282824"/>
                  <a:pt x="5715780" y="4282101"/>
                </a:cubicBezTo>
                <a:cubicBezTo>
                  <a:pt x="5715780" y="4282101"/>
                  <a:pt x="5715005" y="4281584"/>
                  <a:pt x="5714386" y="4280552"/>
                </a:cubicBezTo>
                <a:cubicBezTo>
                  <a:pt x="5714076" y="4280036"/>
                  <a:pt x="5713766" y="4279416"/>
                  <a:pt x="5713611" y="4278694"/>
                </a:cubicBezTo>
                <a:cubicBezTo>
                  <a:pt x="5713301" y="4277867"/>
                  <a:pt x="5713301" y="4276938"/>
                  <a:pt x="5713611" y="4275802"/>
                </a:cubicBezTo>
                <a:cubicBezTo>
                  <a:pt x="5713921" y="4274563"/>
                  <a:pt x="5715315" y="4271775"/>
                  <a:pt x="5715780" y="4272498"/>
                </a:cubicBezTo>
                <a:cubicBezTo>
                  <a:pt x="5716864" y="4272808"/>
                  <a:pt x="5716554" y="4271982"/>
                  <a:pt x="5717329" y="4271569"/>
                </a:cubicBezTo>
                <a:lnTo>
                  <a:pt x="5717793" y="4271775"/>
                </a:lnTo>
                <a:lnTo>
                  <a:pt x="5720737" y="4269504"/>
                </a:lnTo>
                <a:cubicBezTo>
                  <a:pt x="5722130" y="4268677"/>
                  <a:pt x="5723525" y="4268161"/>
                  <a:pt x="5724764" y="4268265"/>
                </a:cubicBezTo>
                <a:close/>
                <a:moveTo>
                  <a:pt x="4869272" y="4268161"/>
                </a:moveTo>
                <a:cubicBezTo>
                  <a:pt x="4869272" y="4268161"/>
                  <a:pt x="4869272" y="4268161"/>
                  <a:pt x="4869891" y="4268574"/>
                </a:cubicBezTo>
                <a:cubicBezTo>
                  <a:pt x="4871285" y="4269400"/>
                  <a:pt x="4871905" y="4269917"/>
                  <a:pt x="4872679" y="4270330"/>
                </a:cubicBezTo>
                <a:cubicBezTo>
                  <a:pt x="4872834" y="4271466"/>
                  <a:pt x="4872834" y="4274563"/>
                  <a:pt x="4871595" y="4274873"/>
                </a:cubicBezTo>
                <a:cubicBezTo>
                  <a:pt x="4870511" y="4275183"/>
                  <a:pt x="4869272" y="4275286"/>
                  <a:pt x="4868342" y="4275079"/>
                </a:cubicBezTo>
                <a:cubicBezTo>
                  <a:pt x="4867413" y="4274873"/>
                  <a:pt x="4866638" y="4274357"/>
                  <a:pt x="4866638" y="4273840"/>
                </a:cubicBezTo>
                <a:cubicBezTo>
                  <a:pt x="4866329" y="4271982"/>
                  <a:pt x="4866019" y="4270330"/>
                  <a:pt x="4867413" y="4269091"/>
                </a:cubicBezTo>
                <a:cubicBezTo>
                  <a:pt x="4867877" y="4268677"/>
                  <a:pt x="4868497" y="4268368"/>
                  <a:pt x="4869272" y="4268161"/>
                </a:cubicBezTo>
                <a:close/>
                <a:moveTo>
                  <a:pt x="5820180" y="4267026"/>
                </a:moveTo>
                <a:cubicBezTo>
                  <a:pt x="5821884" y="4267748"/>
                  <a:pt x="5822658" y="4276938"/>
                  <a:pt x="5818631" y="4276215"/>
                </a:cubicBezTo>
                <a:cubicBezTo>
                  <a:pt x="5817702" y="4275905"/>
                  <a:pt x="5817392" y="4275183"/>
                  <a:pt x="5817237" y="4274357"/>
                </a:cubicBezTo>
                <a:cubicBezTo>
                  <a:pt x="5816772" y="4271672"/>
                  <a:pt x="5818786" y="4267438"/>
                  <a:pt x="5820180" y="4267026"/>
                </a:cubicBezTo>
                <a:close/>
                <a:moveTo>
                  <a:pt x="5577147" y="4266819"/>
                </a:moveTo>
                <a:cubicBezTo>
                  <a:pt x="5579781" y="4271362"/>
                  <a:pt x="5576063" y="4276628"/>
                  <a:pt x="5571726" y="4277454"/>
                </a:cubicBezTo>
                <a:cubicBezTo>
                  <a:pt x="5570332" y="4277764"/>
                  <a:pt x="5568783" y="4277558"/>
                  <a:pt x="5567544" y="4276628"/>
                </a:cubicBezTo>
                <a:cubicBezTo>
                  <a:pt x="5563981" y="4270433"/>
                  <a:pt x="5572036" y="4264857"/>
                  <a:pt x="5577147" y="4266819"/>
                </a:cubicBezTo>
                <a:close/>
                <a:moveTo>
                  <a:pt x="5666833" y="4266303"/>
                </a:moveTo>
                <a:cubicBezTo>
                  <a:pt x="5671944" y="4262172"/>
                  <a:pt x="5688518" y="4267129"/>
                  <a:pt x="5688518" y="4276318"/>
                </a:cubicBezTo>
                <a:cubicBezTo>
                  <a:pt x="5682632" y="4274150"/>
                  <a:pt x="5677365" y="4271569"/>
                  <a:pt x="5669001" y="4271569"/>
                </a:cubicBezTo>
                <a:cubicBezTo>
                  <a:pt x="5669156" y="4269091"/>
                  <a:pt x="5666058" y="4269297"/>
                  <a:pt x="5666833" y="4266303"/>
                </a:cubicBezTo>
                <a:close/>
                <a:moveTo>
                  <a:pt x="5632136" y="4266096"/>
                </a:moveTo>
                <a:cubicBezTo>
                  <a:pt x="5636318" y="4271362"/>
                  <a:pt x="5640500" y="4276628"/>
                  <a:pt x="5639880" y="4281584"/>
                </a:cubicBezTo>
                <a:cubicBezTo>
                  <a:pt x="5636318" y="4284579"/>
                  <a:pt x="5632446" y="4286334"/>
                  <a:pt x="5628573" y="4286438"/>
                </a:cubicBezTo>
                <a:cubicBezTo>
                  <a:pt x="5624546" y="4286438"/>
                  <a:pt x="5620828" y="4284992"/>
                  <a:pt x="5617111" y="4281378"/>
                </a:cubicBezTo>
                <a:cubicBezTo>
                  <a:pt x="5616956" y="4279313"/>
                  <a:pt x="5617421" y="4277454"/>
                  <a:pt x="5618505" y="4275905"/>
                </a:cubicBezTo>
                <a:cubicBezTo>
                  <a:pt x="5621293" y="4271052"/>
                  <a:pt x="5628108" y="4268265"/>
                  <a:pt x="5632136" y="4266096"/>
                </a:cubicBezTo>
                <a:close/>
                <a:moveTo>
                  <a:pt x="1232471" y="4265975"/>
                </a:moveTo>
                <a:cubicBezTo>
                  <a:pt x="1232471" y="4265975"/>
                  <a:pt x="1232626" y="4266698"/>
                  <a:pt x="1232626" y="4266698"/>
                </a:cubicBezTo>
                <a:cubicBezTo>
                  <a:pt x="1232161" y="4268246"/>
                  <a:pt x="1231696" y="4268866"/>
                  <a:pt x="1230922" y="4268969"/>
                </a:cubicBezTo>
                <a:cubicBezTo>
                  <a:pt x="1230302" y="4269073"/>
                  <a:pt x="1229528" y="4268763"/>
                  <a:pt x="1228599" y="4268246"/>
                </a:cubicBezTo>
                <a:cubicBezTo>
                  <a:pt x="1228753" y="4267317"/>
                  <a:pt x="1229063" y="4266595"/>
                  <a:pt x="1229528" y="4266181"/>
                </a:cubicBezTo>
                <a:cubicBezTo>
                  <a:pt x="1230148" y="4265665"/>
                  <a:pt x="1231077" y="4265562"/>
                  <a:pt x="1232471" y="4265975"/>
                </a:cubicBezTo>
                <a:close/>
                <a:moveTo>
                  <a:pt x="697150" y="4265046"/>
                </a:moveTo>
                <a:cubicBezTo>
                  <a:pt x="697769" y="4266078"/>
                  <a:pt x="698543" y="4267008"/>
                  <a:pt x="697769" y="4266904"/>
                </a:cubicBezTo>
                <a:cubicBezTo>
                  <a:pt x="697769" y="4267731"/>
                  <a:pt x="696995" y="4267627"/>
                  <a:pt x="696065" y="4268350"/>
                </a:cubicBezTo>
                <a:cubicBezTo>
                  <a:pt x="695135" y="4268660"/>
                  <a:pt x="694206" y="4268660"/>
                  <a:pt x="693277" y="4268556"/>
                </a:cubicBezTo>
                <a:cubicBezTo>
                  <a:pt x="692347" y="4268350"/>
                  <a:pt x="691418" y="4268040"/>
                  <a:pt x="691108" y="4267524"/>
                </a:cubicBezTo>
                <a:cubicBezTo>
                  <a:pt x="690334" y="4266595"/>
                  <a:pt x="690334" y="4265665"/>
                  <a:pt x="690334" y="4265665"/>
                </a:cubicBezTo>
                <a:cubicBezTo>
                  <a:pt x="692193" y="4263394"/>
                  <a:pt x="694826" y="4262051"/>
                  <a:pt x="697150" y="4265046"/>
                </a:cubicBezTo>
                <a:close/>
                <a:moveTo>
                  <a:pt x="1397126" y="4264426"/>
                </a:moveTo>
                <a:cubicBezTo>
                  <a:pt x="1404832" y="4266491"/>
                  <a:pt x="1411841" y="4271964"/>
                  <a:pt x="1413854" y="4279811"/>
                </a:cubicBezTo>
                <a:lnTo>
                  <a:pt x="1408279" y="4284561"/>
                </a:lnTo>
                <a:lnTo>
                  <a:pt x="1409672" y="4288795"/>
                </a:lnTo>
                <a:cubicBezTo>
                  <a:pt x="1408588" y="4291066"/>
                  <a:pt x="1406884" y="4291789"/>
                  <a:pt x="1405955" y="4291273"/>
                </a:cubicBezTo>
                <a:cubicBezTo>
                  <a:pt x="1403632" y="4290653"/>
                  <a:pt x="1402082" y="4289621"/>
                  <a:pt x="1400998" y="4288381"/>
                </a:cubicBezTo>
                <a:lnTo>
                  <a:pt x="1400379" y="4287452"/>
                </a:lnTo>
                <a:lnTo>
                  <a:pt x="1399139" y="4287762"/>
                </a:lnTo>
                <a:cubicBezTo>
                  <a:pt x="1390001" y="4288072"/>
                  <a:pt x="1380242" y="4281980"/>
                  <a:pt x="1375595" y="4272067"/>
                </a:cubicBezTo>
                <a:cubicBezTo>
                  <a:pt x="1376370" y="4271241"/>
                  <a:pt x="1377145" y="4270415"/>
                  <a:pt x="1376214" y="4269486"/>
                </a:cubicBezTo>
                <a:cubicBezTo>
                  <a:pt x="1381017" y="4263703"/>
                  <a:pt x="1389419" y="4262361"/>
                  <a:pt x="1397126" y="4264426"/>
                </a:cubicBezTo>
                <a:close/>
                <a:moveTo>
                  <a:pt x="1074941" y="4264220"/>
                </a:moveTo>
                <a:lnTo>
                  <a:pt x="1076645" y="4269692"/>
                </a:lnTo>
                <a:lnTo>
                  <a:pt x="1077110" y="4269589"/>
                </a:lnTo>
                <a:cubicBezTo>
                  <a:pt x="1079433" y="4273100"/>
                  <a:pt x="1080518" y="4276610"/>
                  <a:pt x="1080673" y="4280018"/>
                </a:cubicBezTo>
                <a:lnTo>
                  <a:pt x="1080518" y="4283322"/>
                </a:lnTo>
                <a:lnTo>
                  <a:pt x="1080982" y="4290240"/>
                </a:lnTo>
                <a:cubicBezTo>
                  <a:pt x="1080827" y="4293338"/>
                  <a:pt x="1080208" y="4296745"/>
                  <a:pt x="1078969" y="4300256"/>
                </a:cubicBezTo>
                <a:lnTo>
                  <a:pt x="1072308" y="4293132"/>
                </a:lnTo>
                <a:lnTo>
                  <a:pt x="1071689" y="4293132"/>
                </a:lnTo>
                <a:cubicBezTo>
                  <a:pt x="1065802" y="4291789"/>
                  <a:pt x="1066267" y="4279811"/>
                  <a:pt x="1064408" y="4273306"/>
                </a:cubicBezTo>
                <a:cubicBezTo>
                  <a:pt x="1066887" y="4271654"/>
                  <a:pt x="1068591" y="4270725"/>
                  <a:pt x="1070450" y="4270208"/>
                </a:cubicBezTo>
                <a:lnTo>
                  <a:pt x="1072618" y="4270002"/>
                </a:lnTo>
                <a:close/>
                <a:moveTo>
                  <a:pt x="1310539" y="4263394"/>
                </a:moveTo>
                <a:cubicBezTo>
                  <a:pt x="1313018" y="4263600"/>
                  <a:pt x="1315341" y="4265562"/>
                  <a:pt x="1316580" y="4268246"/>
                </a:cubicBezTo>
                <a:cubicBezTo>
                  <a:pt x="1314566" y="4269692"/>
                  <a:pt x="1312862" y="4270415"/>
                  <a:pt x="1311003" y="4270518"/>
                </a:cubicBezTo>
                <a:cubicBezTo>
                  <a:pt x="1309145" y="4270621"/>
                  <a:pt x="1307441" y="4270002"/>
                  <a:pt x="1305582" y="4268969"/>
                </a:cubicBezTo>
                <a:cubicBezTo>
                  <a:pt x="1305737" y="4267317"/>
                  <a:pt x="1308680" y="4264942"/>
                  <a:pt x="1310539" y="4263394"/>
                </a:cubicBezTo>
                <a:close/>
                <a:moveTo>
                  <a:pt x="1241455" y="4263394"/>
                </a:moveTo>
                <a:cubicBezTo>
                  <a:pt x="1242384" y="4263084"/>
                  <a:pt x="1242075" y="4265975"/>
                  <a:pt x="1242075" y="4265975"/>
                </a:cubicBezTo>
                <a:cubicBezTo>
                  <a:pt x="1241610" y="4267111"/>
                  <a:pt x="1238666" y="4266388"/>
                  <a:pt x="1237738" y="4266698"/>
                </a:cubicBezTo>
                <a:cubicBezTo>
                  <a:pt x="1237582" y="4265769"/>
                  <a:pt x="1238202" y="4264633"/>
                  <a:pt x="1237892" y="4263807"/>
                </a:cubicBezTo>
                <a:cubicBezTo>
                  <a:pt x="1238822" y="4263497"/>
                  <a:pt x="1240526" y="4262877"/>
                  <a:pt x="1241455" y="4263394"/>
                </a:cubicBezTo>
                <a:close/>
                <a:moveTo>
                  <a:pt x="5543690" y="4263205"/>
                </a:moveTo>
                <a:cubicBezTo>
                  <a:pt x="5544774" y="4263515"/>
                  <a:pt x="5545703" y="4264341"/>
                  <a:pt x="5546323" y="4265890"/>
                </a:cubicBezTo>
                <a:cubicBezTo>
                  <a:pt x="5547562" y="4270742"/>
                  <a:pt x="5543845" y="4272188"/>
                  <a:pt x="5539353" y="4273221"/>
                </a:cubicBezTo>
                <a:cubicBezTo>
                  <a:pt x="5538268" y="4271569"/>
                  <a:pt x="5536720" y="4270639"/>
                  <a:pt x="5535790" y="4268884"/>
                </a:cubicBezTo>
                <a:cubicBezTo>
                  <a:pt x="5535790" y="4265993"/>
                  <a:pt x="5540437" y="4262172"/>
                  <a:pt x="5543690" y="4263205"/>
                </a:cubicBezTo>
                <a:close/>
                <a:moveTo>
                  <a:pt x="1046130" y="4262877"/>
                </a:moveTo>
                <a:cubicBezTo>
                  <a:pt x="1046130" y="4262877"/>
                  <a:pt x="1046905" y="4262980"/>
                  <a:pt x="1046905" y="4262980"/>
                </a:cubicBezTo>
                <a:lnTo>
                  <a:pt x="1047835" y="4264530"/>
                </a:lnTo>
                <a:lnTo>
                  <a:pt x="1048144" y="4264426"/>
                </a:lnTo>
                <a:cubicBezTo>
                  <a:pt x="1049538" y="4264839"/>
                  <a:pt x="1050468" y="4265872"/>
                  <a:pt x="1051242" y="4267214"/>
                </a:cubicBezTo>
                <a:cubicBezTo>
                  <a:pt x="1050158" y="4269073"/>
                  <a:pt x="1048919" y="4270002"/>
                  <a:pt x="1047680" y="4270105"/>
                </a:cubicBezTo>
                <a:cubicBezTo>
                  <a:pt x="1046441" y="4270312"/>
                  <a:pt x="1045202" y="4269692"/>
                  <a:pt x="1044427" y="4268556"/>
                </a:cubicBezTo>
                <a:cubicBezTo>
                  <a:pt x="1043807" y="4267731"/>
                  <a:pt x="1043343" y="4266698"/>
                  <a:pt x="1043187" y="4265252"/>
                </a:cubicBezTo>
                <a:lnTo>
                  <a:pt x="1045356" y="4264942"/>
                </a:lnTo>
                <a:close/>
                <a:moveTo>
                  <a:pt x="5901345" y="4260933"/>
                </a:moveTo>
                <a:cubicBezTo>
                  <a:pt x="5908006" y="4258971"/>
                  <a:pt x="5920552" y="4269400"/>
                  <a:pt x="5916061" y="4277764"/>
                </a:cubicBezTo>
                <a:cubicBezTo>
                  <a:pt x="5911724" y="4273737"/>
                  <a:pt x="5908316" y="4269504"/>
                  <a:pt x="5900726" y="4266406"/>
                </a:cubicBezTo>
                <a:cubicBezTo>
                  <a:pt x="5901965" y="4264341"/>
                  <a:pt x="5899177" y="4263411"/>
                  <a:pt x="5901345" y="4260933"/>
                </a:cubicBezTo>
                <a:close/>
                <a:moveTo>
                  <a:pt x="5447345" y="4260624"/>
                </a:moveTo>
                <a:cubicBezTo>
                  <a:pt x="5447499" y="4261553"/>
                  <a:pt x="5447035" y="4264134"/>
                  <a:pt x="5447809" y="4264134"/>
                </a:cubicBezTo>
                <a:cubicBezTo>
                  <a:pt x="5446260" y="4266199"/>
                  <a:pt x="5444246" y="4268368"/>
                  <a:pt x="5442233" y="4268574"/>
                </a:cubicBezTo>
                <a:cubicBezTo>
                  <a:pt x="5441458" y="4268677"/>
                  <a:pt x="5440839" y="4268574"/>
                  <a:pt x="5440065" y="4268161"/>
                </a:cubicBezTo>
                <a:cubicBezTo>
                  <a:pt x="5438360" y="4267335"/>
                  <a:pt x="5438825" y="4265580"/>
                  <a:pt x="5440374" y="4263721"/>
                </a:cubicBezTo>
                <a:cubicBezTo>
                  <a:pt x="5442233" y="4259178"/>
                  <a:pt x="5444556" y="4258145"/>
                  <a:pt x="5447345" y="4260624"/>
                </a:cubicBezTo>
                <a:close/>
                <a:moveTo>
                  <a:pt x="5357505" y="4260107"/>
                </a:moveTo>
                <a:cubicBezTo>
                  <a:pt x="5361067" y="4259178"/>
                  <a:pt x="5361532" y="4261553"/>
                  <a:pt x="5363236" y="4264857"/>
                </a:cubicBezTo>
                <a:cubicBezTo>
                  <a:pt x="5362152" y="4265270"/>
                  <a:pt x="5362616" y="4268781"/>
                  <a:pt x="5362926" y="4270020"/>
                </a:cubicBezTo>
                <a:cubicBezTo>
                  <a:pt x="5360448" y="4270639"/>
                  <a:pt x="5360757" y="4274976"/>
                  <a:pt x="5357195" y="4275905"/>
                </a:cubicBezTo>
                <a:cubicBezTo>
                  <a:pt x="5355801" y="4275079"/>
                  <a:pt x="5355026" y="4274666"/>
                  <a:pt x="5354097" y="4273014"/>
                </a:cubicBezTo>
                <a:cubicBezTo>
                  <a:pt x="5353167" y="4263825"/>
                  <a:pt x="5357660" y="4261346"/>
                  <a:pt x="5357505" y="4260107"/>
                </a:cubicBezTo>
                <a:close/>
                <a:moveTo>
                  <a:pt x="5752026" y="4260004"/>
                </a:moveTo>
                <a:cubicBezTo>
                  <a:pt x="5756053" y="4259694"/>
                  <a:pt x="5758531" y="4260830"/>
                  <a:pt x="5759925" y="4262792"/>
                </a:cubicBezTo>
                <a:cubicBezTo>
                  <a:pt x="5763952" y="4268574"/>
                  <a:pt x="5757292" y="4281068"/>
                  <a:pt x="5748153" y="4280242"/>
                </a:cubicBezTo>
                <a:cubicBezTo>
                  <a:pt x="5746759" y="4278900"/>
                  <a:pt x="5745984" y="4277351"/>
                  <a:pt x="5745829" y="4275493"/>
                </a:cubicBezTo>
                <a:cubicBezTo>
                  <a:pt x="5745520" y="4272808"/>
                  <a:pt x="5746139" y="4269607"/>
                  <a:pt x="5747379" y="4266819"/>
                </a:cubicBezTo>
                <a:lnTo>
                  <a:pt x="5748463" y="4265373"/>
                </a:lnTo>
                <a:lnTo>
                  <a:pt x="5748618" y="4264650"/>
                </a:lnTo>
                <a:lnTo>
                  <a:pt x="5749547" y="4263721"/>
                </a:lnTo>
                <a:close/>
                <a:moveTo>
                  <a:pt x="5688363" y="4257939"/>
                </a:moveTo>
                <a:lnTo>
                  <a:pt x="5688208" y="4260830"/>
                </a:lnTo>
                <a:lnTo>
                  <a:pt x="5688518" y="4262379"/>
                </a:lnTo>
                <a:cubicBezTo>
                  <a:pt x="5688363" y="4263205"/>
                  <a:pt x="5687898" y="4263825"/>
                  <a:pt x="5687434" y="4264237"/>
                </a:cubicBezTo>
                <a:cubicBezTo>
                  <a:pt x="5686969" y="4265580"/>
                  <a:pt x="5685730" y="4266199"/>
                  <a:pt x="5684491" y="4266406"/>
                </a:cubicBezTo>
                <a:cubicBezTo>
                  <a:pt x="5683097" y="4266612"/>
                  <a:pt x="5681702" y="4266303"/>
                  <a:pt x="5680463" y="4265890"/>
                </a:cubicBezTo>
                <a:cubicBezTo>
                  <a:pt x="5681393" y="4265890"/>
                  <a:pt x="5681393" y="4265890"/>
                  <a:pt x="5681393" y="4265890"/>
                </a:cubicBezTo>
                <a:cubicBezTo>
                  <a:pt x="5682322" y="4264960"/>
                  <a:pt x="5681393" y="4264960"/>
                  <a:pt x="5681547" y="4264134"/>
                </a:cubicBezTo>
                <a:cubicBezTo>
                  <a:pt x="5681547" y="4264134"/>
                  <a:pt x="5681393" y="4265064"/>
                  <a:pt x="5680773" y="4264134"/>
                </a:cubicBezTo>
                <a:cubicBezTo>
                  <a:pt x="5681547" y="4264134"/>
                  <a:pt x="5681547" y="4263308"/>
                  <a:pt x="5681702" y="4262379"/>
                </a:cubicBezTo>
                <a:lnTo>
                  <a:pt x="5684646" y="4260210"/>
                </a:lnTo>
                <a:lnTo>
                  <a:pt x="5683716" y="4258455"/>
                </a:lnTo>
                <a:cubicBezTo>
                  <a:pt x="5685420" y="4258145"/>
                  <a:pt x="5685575" y="4256906"/>
                  <a:pt x="5688363" y="4257939"/>
                </a:cubicBezTo>
                <a:close/>
                <a:moveTo>
                  <a:pt x="1360570" y="4257198"/>
                </a:moveTo>
                <a:cubicBezTo>
                  <a:pt x="1361500" y="4258128"/>
                  <a:pt x="1362274" y="4259883"/>
                  <a:pt x="1360415" y="4261432"/>
                </a:cubicBezTo>
                <a:cubicBezTo>
                  <a:pt x="1358711" y="4263807"/>
                  <a:pt x="1356233" y="4263497"/>
                  <a:pt x="1353600" y="4262361"/>
                </a:cubicBezTo>
                <a:cubicBezTo>
                  <a:pt x="1352825" y="4262671"/>
                  <a:pt x="1352051" y="4263187"/>
                  <a:pt x="1351431" y="4263600"/>
                </a:cubicBezTo>
                <a:cubicBezTo>
                  <a:pt x="1350812" y="4263910"/>
                  <a:pt x="1350192" y="4264013"/>
                  <a:pt x="1349263" y="4263497"/>
                </a:cubicBezTo>
                <a:cubicBezTo>
                  <a:pt x="1351896" y="4262051"/>
                  <a:pt x="1352825" y="4261329"/>
                  <a:pt x="1354530" y="4260709"/>
                </a:cubicBezTo>
                <a:cubicBezTo>
                  <a:pt x="1354530" y="4259883"/>
                  <a:pt x="1354530" y="4258953"/>
                  <a:pt x="1355459" y="4258231"/>
                </a:cubicBezTo>
                <a:cubicBezTo>
                  <a:pt x="1357163" y="4256785"/>
                  <a:pt x="1358866" y="4257818"/>
                  <a:pt x="1360570" y="4257198"/>
                </a:cubicBezTo>
                <a:close/>
                <a:moveTo>
                  <a:pt x="5637092" y="4257113"/>
                </a:moveTo>
                <a:cubicBezTo>
                  <a:pt x="5638486" y="4259901"/>
                  <a:pt x="5639261" y="4260830"/>
                  <a:pt x="5638177" y="4263515"/>
                </a:cubicBezTo>
                <a:cubicBezTo>
                  <a:pt x="5637402" y="4262585"/>
                  <a:pt x="5636782" y="4261656"/>
                  <a:pt x="5636628" y="4260624"/>
                </a:cubicBezTo>
                <a:cubicBezTo>
                  <a:pt x="5636473" y="4259591"/>
                  <a:pt x="5636628" y="4258559"/>
                  <a:pt x="5637092" y="4257113"/>
                </a:cubicBezTo>
                <a:close/>
                <a:moveTo>
                  <a:pt x="5456019" y="4256597"/>
                </a:moveTo>
                <a:cubicBezTo>
                  <a:pt x="5456174" y="4257526"/>
                  <a:pt x="5457103" y="4259281"/>
                  <a:pt x="5456329" y="4259281"/>
                </a:cubicBezTo>
                <a:cubicBezTo>
                  <a:pt x="5456483" y="4260210"/>
                  <a:pt x="5454934" y="4260210"/>
                  <a:pt x="5454934" y="4260210"/>
                </a:cubicBezTo>
                <a:cubicBezTo>
                  <a:pt x="5454934" y="4261140"/>
                  <a:pt x="5455244" y="4262069"/>
                  <a:pt x="5454470" y="4262999"/>
                </a:cubicBezTo>
                <a:cubicBezTo>
                  <a:pt x="5453540" y="4262172"/>
                  <a:pt x="5453695" y="4263102"/>
                  <a:pt x="5452921" y="4263102"/>
                </a:cubicBezTo>
                <a:cubicBezTo>
                  <a:pt x="5453540" y="4262172"/>
                  <a:pt x="5453231" y="4259488"/>
                  <a:pt x="5453695" y="4257629"/>
                </a:cubicBezTo>
                <a:cubicBezTo>
                  <a:pt x="5454470" y="4257526"/>
                  <a:pt x="5455244" y="4256597"/>
                  <a:pt x="5456019" y="4256597"/>
                </a:cubicBezTo>
                <a:close/>
                <a:moveTo>
                  <a:pt x="1261281" y="4255340"/>
                </a:moveTo>
                <a:cubicBezTo>
                  <a:pt x="1260197" y="4256992"/>
                  <a:pt x="1260817" y="4257921"/>
                  <a:pt x="1258184" y="4259470"/>
                </a:cubicBezTo>
                <a:cubicBezTo>
                  <a:pt x="1257564" y="4258541"/>
                  <a:pt x="1256945" y="4257611"/>
                  <a:pt x="1256170" y="4256682"/>
                </a:cubicBezTo>
                <a:cubicBezTo>
                  <a:pt x="1258029" y="4255030"/>
                  <a:pt x="1259888" y="4253481"/>
                  <a:pt x="1261281" y="4255340"/>
                </a:cubicBezTo>
                <a:close/>
                <a:moveTo>
                  <a:pt x="1410544" y="4253946"/>
                </a:moveTo>
                <a:cubicBezTo>
                  <a:pt x="1413197" y="4253791"/>
                  <a:pt x="1415791" y="4254823"/>
                  <a:pt x="1418347" y="4257611"/>
                </a:cubicBezTo>
                <a:cubicBezTo>
                  <a:pt x="1417417" y="4258231"/>
                  <a:pt x="1418192" y="4259264"/>
                  <a:pt x="1418811" y="4260296"/>
                </a:cubicBezTo>
                <a:cubicBezTo>
                  <a:pt x="1418036" y="4264013"/>
                  <a:pt x="1413854" y="4265665"/>
                  <a:pt x="1409827" y="4265665"/>
                </a:cubicBezTo>
                <a:cubicBezTo>
                  <a:pt x="1405955" y="4265665"/>
                  <a:pt x="1402082" y="4263910"/>
                  <a:pt x="1401773" y="4260606"/>
                </a:cubicBezTo>
                <a:cubicBezTo>
                  <a:pt x="1401618" y="4259676"/>
                  <a:pt x="1401773" y="4258644"/>
                  <a:pt x="1402392" y="4257405"/>
                </a:cubicBezTo>
                <a:cubicBezTo>
                  <a:pt x="1405180" y="4255443"/>
                  <a:pt x="1407891" y="4254100"/>
                  <a:pt x="1410544" y="4253946"/>
                </a:cubicBezTo>
                <a:close/>
                <a:moveTo>
                  <a:pt x="692657" y="4253791"/>
                </a:moveTo>
                <a:lnTo>
                  <a:pt x="694981" y="4256888"/>
                </a:lnTo>
                <a:cubicBezTo>
                  <a:pt x="694516" y="4257198"/>
                  <a:pt x="693897" y="4257611"/>
                  <a:pt x="693277" y="4257714"/>
                </a:cubicBezTo>
                <a:cubicBezTo>
                  <a:pt x="692657" y="4257818"/>
                  <a:pt x="692038" y="4257714"/>
                  <a:pt x="691728" y="4257198"/>
                </a:cubicBezTo>
                <a:cubicBezTo>
                  <a:pt x="690954" y="4256579"/>
                  <a:pt x="690954" y="4256166"/>
                  <a:pt x="691264" y="4255649"/>
                </a:cubicBezTo>
                <a:cubicBezTo>
                  <a:pt x="691573" y="4255133"/>
                  <a:pt x="692193" y="4254617"/>
                  <a:pt x="692657" y="4253791"/>
                </a:cubicBezTo>
                <a:close/>
                <a:moveTo>
                  <a:pt x="5902120" y="4253189"/>
                </a:moveTo>
                <a:cubicBezTo>
                  <a:pt x="5902120" y="4255667"/>
                  <a:pt x="5903049" y="4256493"/>
                  <a:pt x="5902275" y="4256493"/>
                </a:cubicBezTo>
                <a:cubicBezTo>
                  <a:pt x="5902275" y="4256906"/>
                  <a:pt x="5901965" y="4257009"/>
                  <a:pt x="5901810" y="4257009"/>
                </a:cubicBezTo>
                <a:cubicBezTo>
                  <a:pt x="5901655" y="4257009"/>
                  <a:pt x="5901345" y="4256803"/>
                  <a:pt x="5901345" y="4256390"/>
                </a:cubicBezTo>
                <a:cubicBezTo>
                  <a:pt x="5899641" y="4255461"/>
                  <a:pt x="5901345" y="4253912"/>
                  <a:pt x="5902120" y="4253189"/>
                </a:cubicBezTo>
                <a:close/>
                <a:moveTo>
                  <a:pt x="1385199" y="4252552"/>
                </a:moveTo>
                <a:cubicBezTo>
                  <a:pt x="1386592" y="4253274"/>
                  <a:pt x="1387832" y="4254823"/>
                  <a:pt x="1387987" y="4258024"/>
                </a:cubicBezTo>
                <a:cubicBezTo>
                  <a:pt x="1386128" y="4259573"/>
                  <a:pt x="1384889" y="4259986"/>
                  <a:pt x="1383650" y="4259676"/>
                </a:cubicBezTo>
                <a:cubicBezTo>
                  <a:pt x="1382565" y="4259367"/>
                  <a:pt x="1381636" y="4258334"/>
                  <a:pt x="1380862" y="4257405"/>
                </a:cubicBezTo>
                <a:cubicBezTo>
                  <a:pt x="1383495" y="4255753"/>
                  <a:pt x="1381326" y="4252655"/>
                  <a:pt x="1385199" y="4252552"/>
                </a:cubicBezTo>
                <a:close/>
                <a:moveTo>
                  <a:pt x="1074128" y="4252242"/>
                </a:moveTo>
                <a:cubicBezTo>
                  <a:pt x="1076335" y="4252448"/>
                  <a:pt x="1078349" y="4253378"/>
                  <a:pt x="1077885" y="4255443"/>
                </a:cubicBezTo>
                <a:cubicBezTo>
                  <a:pt x="1077575" y="4256269"/>
                  <a:pt x="1076955" y="4256682"/>
                  <a:pt x="1076026" y="4256888"/>
                </a:cubicBezTo>
                <a:cubicBezTo>
                  <a:pt x="1073548" y="4257198"/>
                  <a:pt x="1069520" y="4254823"/>
                  <a:pt x="1069210" y="4253378"/>
                </a:cubicBezTo>
                <a:cubicBezTo>
                  <a:pt x="1069520" y="4252552"/>
                  <a:pt x="1071921" y="4252035"/>
                  <a:pt x="1074128" y="4252242"/>
                </a:cubicBezTo>
                <a:close/>
                <a:moveTo>
                  <a:pt x="1508032" y="4250590"/>
                </a:moveTo>
                <a:cubicBezTo>
                  <a:pt x="1510045" y="4258231"/>
                  <a:pt x="1512833" y="4271035"/>
                  <a:pt x="1510045" y="4277953"/>
                </a:cubicBezTo>
                <a:lnTo>
                  <a:pt x="1506173" y="4274339"/>
                </a:lnTo>
                <a:lnTo>
                  <a:pt x="1501061" y="4279295"/>
                </a:lnTo>
                <a:cubicBezTo>
                  <a:pt x="1498582" y="4280947"/>
                  <a:pt x="1495794" y="4282083"/>
                  <a:pt x="1493006" y="4282599"/>
                </a:cubicBezTo>
                <a:lnTo>
                  <a:pt x="1488204" y="4282806"/>
                </a:lnTo>
                <a:lnTo>
                  <a:pt x="1485261" y="4286110"/>
                </a:lnTo>
                <a:cubicBezTo>
                  <a:pt x="1483403" y="4286936"/>
                  <a:pt x="1481235" y="4287246"/>
                  <a:pt x="1479221" y="4286936"/>
                </a:cubicBezTo>
                <a:cubicBezTo>
                  <a:pt x="1477827" y="4286730"/>
                  <a:pt x="1476742" y="4286316"/>
                  <a:pt x="1475968" y="4285594"/>
                </a:cubicBezTo>
                <a:cubicBezTo>
                  <a:pt x="1475193" y="4283115"/>
                  <a:pt x="1474574" y="4280741"/>
                  <a:pt x="1473800" y="4278366"/>
                </a:cubicBezTo>
                <a:cubicBezTo>
                  <a:pt x="1474419" y="4276198"/>
                  <a:pt x="1475813" y="4274752"/>
                  <a:pt x="1477362" y="4273926"/>
                </a:cubicBezTo>
                <a:lnTo>
                  <a:pt x="1480615" y="4273719"/>
                </a:lnTo>
                <a:lnTo>
                  <a:pt x="1480305" y="4272480"/>
                </a:lnTo>
                <a:cubicBezTo>
                  <a:pt x="1482164" y="4264116"/>
                  <a:pt x="1493472" y="4257405"/>
                  <a:pt x="1503075" y="4257302"/>
                </a:cubicBezTo>
                <a:lnTo>
                  <a:pt x="1505553" y="4257611"/>
                </a:lnTo>
                <a:lnTo>
                  <a:pt x="1505708" y="4256682"/>
                </a:lnTo>
                <a:cubicBezTo>
                  <a:pt x="1506328" y="4254101"/>
                  <a:pt x="1507257" y="4251829"/>
                  <a:pt x="1508032" y="4250590"/>
                </a:cubicBezTo>
                <a:close/>
                <a:moveTo>
                  <a:pt x="5451991" y="4250092"/>
                </a:moveTo>
                <a:cubicBezTo>
                  <a:pt x="5451991" y="4250092"/>
                  <a:pt x="5451372" y="4251847"/>
                  <a:pt x="5451372" y="4251847"/>
                </a:cubicBezTo>
                <a:cubicBezTo>
                  <a:pt x="5449823" y="4253602"/>
                  <a:pt x="5449048" y="4254635"/>
                  <a:pt x="5448429" y="4256390"/>
                </a:cubicBezTo>
                <a:cubicBezTo>
                  <a:pt x="5446725" y="4255667"/>
                  <a:pt x="5446570" y="4254738"/>
                  <a:pt x="5447345" y="4253808"/>
                </a:cubicBezTo>
                <a:cubicBezTo>
                  <a:pt x="5447345" y="4253808"/>
                  <a:pt x="5447964" y="4252879"/>
                  <a:pt x="5448739" y="4251950"/>
                </a:cubicBezTo>
                <a:cubicBezTo>
                  <a:pt x="5449513" y="4251124"/>
                  <a:pt x="5449358" y="4250195"/>
                  <a:pt x="5449358" y="4250195"/>
                </a:cubicBezTo>
                <a:cubicBezTo>
                  <a:pt x="5450133" y="4249265"/>
                  <a:pt x="5451062" y="4249265"/>
                  <a:pt x="5451991" y="4250092"/>
                </a:cubicBezTo>
                <a:close/>
                <a:moveTo>
                  <a:pt x="5543845" y="4249472"/>
                </a:moveTo>
                <a:cubicBezTo>
                  <a:pt x="5545394" y="4251537"/>
                  <a:pt x="5546168" y="4253086"/>
                  <a:pt x="5547253" y="4255977"/>
                </a:cubicBezTo>
                <a:cubicBezTo>
                  <a:pt x="5547253" y="4255977"/>
                  <a:pt x="5548027" y="4260624"/>
                  <a:pt x="5545239" y="4262069"/>
                </a:cubicBezTo>
                <a:cubicBezTo>
                  <a:pt x="5544774" y="4262792"/>
                  <a:pt x="5541986" y="4261037"/>
                  <a:pt x="5541831" y="4259901"/>
                </a:cubicBezTo>
                <a:cubicBezTo>
                  <a:pt x="5541522" y="4257526"/>
                  <a:pt x="5541366" y="4256390"/>
                  <a:pt x="5542296" y="4254841"/>
                </a:cubicBezTo>
                <a:cubicBezTo>
                  <a:pt x="5542141" y="4253705"/>
                  <a:pt x="5541831" y="4252466"/>
                  <a:pt x="5541986" y="4251434"/>
                </a:cubicBezTo>
                <a:cubicBezTo>
                  <a:pt x="5542141" y="4250504"/>
                  <a:pt x="5542761" y="4249781"/>
                  <a:pt x="5543845" y="4249472"/>
                </a:cubicBezTo>
                <a:close/>
                <a:moveTo>
                  <a:pt x="1328816" y="4249041"/>
                </a:moveTo>
                <a:cubicBezTo>
                  <a:pt x="1330830" y="4250177"/>
                  <a:pt x="1332689" y="4250590"/>
                  <a:pt x="1333773" y="4251932"/>
                </a:cubicBezTo>
                <a:cubicBezTo>
                  <a:pt x="1333309" y="4254204"/>
                  <a:pt x="1332224" y="4255443"/>
                  <a:pt x="1330830" y="4255753"/>
                </a:cubicBezTo>
                <a:cubicBezTo>
                  <a:pt x="1329436" y="4256063"/>
                  <a:pt x="1327887" y="4255443"/>
                  <a:pt x="1326338" y="4254101"/>
                </a:cubicBezTo>
                <a:cubicBezTo>
                  <a:pt x="1326803" y="4252242"/>
                  <a:pt x="1327422" y="4250383"/>
                  <a:pt x="1328816" y="4249041"/>
                </a:cubicBezTo>
                <a:close/>
                <a:moveTo>
                  <a:pt x="1048919" y="4248938"/>
                </a:moveTo>
                <a:lnTo>
                  <a:pt x="1050932" y="4251209"/>
                </a:lnTo>
                <a:lnTo>
                  <a:pt x="1051242" y="4250693"/>
                </a:lnTo>
                <a:lnTo>
                  <a:pt x="1051862" y="4250177"/>
                </a:lnTo>
                <a:close/>
                <a:moveTo>
                  <a:pt x="1175159" y="4248628"/>
                </a:moveTo>
                <a:lnTo>
                  <a:pt x="1175469" y="4253274"/>
                </a:lnTo>
                <a:lnTo>
                  <a:pt x="1176709" y="4254101"/>
                </a:lnTo>
                <a:lnTo>
                  <a:pt x="1177018" y="4250486"/>
                </a:lnTo>
                <a:close/>
                <a:moveTo>
                  <a:pt x="632093" y="4247802"/>
                </a:moveTo>
                <a:cubicBezTo>
                  <a:pt x="637204" y="4251519"/>
                  <a:pt x="637204" y="4255340"/>
                  <a:pt x="634571" y="4260296"/>
                </a:cubicBezTo>
                <a:cubicBezTo>
                  <a:pt x="630699" y="4260296"/>
                  <a:pt x="625587" y="4256579"/>
                  <a:pt x="625587" y="4252862"/>
                </a:cubicBezTo>
                <a:cubicBezTo>
                  <a:pt x="628220" y="4249144"/>
                  <a:pt x="630699" y="4250280"/>
                  <a:pt x="632093" y="4247802"/>
                </a:cubicBezTo>
                <a:close/>
                <a:moveTo>
                  <a:pt x="1477052" y="4247699"/>
                </a:moveTo>
                <a:lnTo>
                  <a:pt x="1479530" y="4248421"/>
                </a:lnTo>
                <a:lnTo>
                  <a:pt x="1479840" y="4248112"/>
                </a:lnTo>
                <a:cubicBezTo>
                  <a:pt x="1481544" y="4247492"/>
                  <a:pt x="1483713" y="4247286"/>
                  <a:pt x="1486346" y="4248008"/>
                </a:cubicBezTo>
                <a:cubicBezTo>
                  <a:pt x="1490374" y="4250486"/>
                  <a:pt x="1489754" y="4260193"/>
                  <a:pt x="1486036" y="4262051"/>
                </a:cubicBezTo>
                <a:cubicBezTo>
                  <a:pt x="1483713" y="4261741"/>
                  <a:pt x="1481235" y="4261329"/>
                  <a:pt x="1478911" y="4261019"/>
                </a:cubicBezTo>
                <a:lnTo>
                  <a:pt x="1477207" y="4258024"/>
                </a:lnTo>
                <a:cubicBezTo>
                  <a:pt x="1475968" y="4257818"/>
                  <a:pt x="1474729" y="4257198"/>
                  <a:pt x="1473335" y="4255959"/>
                </a:cubicBezTo>
                <a:cubicBezTo>
                  <a:pt x="1472095" y="4255959"/>
                  <a:pt x="1470856" y="4250900"/>
                  <a:pt x="1472095" y="4249661"/>
                </a:cubicBezTo>
                <a:cubicBezTo>
                  <a:pt x="1473490" y="4247699"/>
                  <a:pt x="1475038" y="4247389"/>
                  <a:pt x="1477052" y="4247699"/>
                </a:cubicBezTo>
                <a:close/>
                <a:moveTo>
                  <a:pt x="1241145" y="4247079"/>
                </a:moveTo>
                <a:cubicBezTo>
                  <a:pt x="1242384" y="4247802"/>
                  <a:pt x="1243314" y="4249351"/>
                  <a:pt x="1243623" y="4252035"/>
                </a:cubicBezTo>
                <a:cubicBezTo>
                  <a:pt x="1241455" y="4255959"/>
                  <a:pt x="1237428" y="4254823"/>
                  <a:pt x="1234795" y="4256475"/>
                </a:cubicBezTo>
                <a:cubicBezTo>
                  <a:pt x="1231077" y="4250177"/>
                  <a:pt x="1237428" y="4244911"/>
                  <a:pt x="1241145" y="4247079"/>
                </a:cubicBezTo>
                <a:close/>
                <a:moveTo>
                  <a:pt x="5600382" y="4246684"/>
                </a:moveTo>
                <a:cubicBezTo>
                  <a:pt x="5603015" y="4243999"/>
                  <a:pt x="5606113" y="4250195"/>
                  <a:pt x="5607662" y="4250608"/>
                </a:cubicBezTo>
                <a:cubicBezTo>
                  <a:pt x="5608747" y="4252673"/>
                  <a:pt x="5609676" y="4254841"/>
                  <a:pt x="5607662" y="4255977"/>
                </a:cubicBezTo>
                <a:cubicBezTo>
                  <a:pt x="5606578" y="4256493"/>
                  <a:pt x="5605803" y="4257113"/>
                  <a:pt x="5605184" y="4257319"/>
                </a:cubicBezTo>
                <a:cubicBezTo>
                  <a:pt x="5604409" y="4257526"/>
                  <a:pt x="5603635" y="4257319"/>
                  <a:pt x="5602396" y="4256080"/>
                </a:cubicBezTo>
                <a:cubicBezTo>
                  <a:pt x="5600846" y="4255564"/>
                  <a:pt x="5599917" y="4253499"/>
                  <a:pt x="5598368" y="4252982"/>
                </a:cubicBezTo>
                <a:cubicBezTo>
                  <a:pt x="5598368" y="4252982"/>
                  <a:pt x="5598368" y="4251743"/>
                  <a:pt x="5598678" y="4250298"/>
                </a:cubicBezTo>
                <a:cubicBezTo>
                  <a:pt x="5598988" y="4248852"/>
                  <a:pt x="5599453" y="4247303"/>
                  <a:pt x="5600382" y="4246684"/>
                </a:cubicBezTo>
                <a:close/>
                <a:moveTo>
                  <a:pt x="5380739" y="4246271"/>
                </a:moveTo>
                <a:cubicBezTo>
                  <a:pt x="5383372" y="4249369"/>
                  <a:pt x="5381514" y="4254325"/>
                  <a:pt x="5376402" y="4253602"/>
                </a:cubicBezTo>
                <a:cubicBezTo>
                  <a:pt x="5376867" y="4249885"/>
                  <a:pt x="5377331" y="4246168"/>
                  <a:pt x="5380739" y="4246271"/>
                </a:cubicBezTo>
                <a:close/>
                <a:moveTo>
                  <a:pt x="5417759" y="4245961"/>
                </a:moveTo>
                <a:cubicBezTo>
                  <a:pt x="5416985" y="4246891"/>
                  <a:pt x="5415436" y="4247820"/>
                  <a:pt x="5414661" y="4248749"/>
                </a:cubicBezTo>
                <a:cubicBezTo>
                  <a:pt x="5414661" y="4248749"/>
                  <a:pt x="5414661" y="4248852"/>
                  <a:pt x="5413732" y="4248026"/>
                </a:cubicBezTo>
                <a:cubicBezTo>
                  <a:pt x="5415436" y="4247923"/>
                  <a:pt x="5415746" y="4244309"/>
                  <a:pt x="5417759" y="4245961"/>
                </a:cubicBezTo>
                <a:close/>
                <a:moveTo>
                  <a:pt x="1498428" y="4244601"/>
                </a:moveTo>
                <a:cubicBezTo>
                  <a:pt x="1501216" y="4246460"/>
                  <a:pt x="1499667" y="4253997"/>
                  <a:pt x="1496414" y="4255340"/>
                </a:cubicBezTo>
                <a:cubicBezTo>
                  <a:pt x="1495949" y="4255546"/>
                  <a:pt x="1495485" y="4255649"/>
                  <a:pt x="1494865" y="4255546"/>
                </a:cubicBezTo>
                <a:cubicBezTo>
                  <a:pt x="1493316" y="4255236"/>
                  <a:pt x="1491458" y="4253274"/>
                  <a:pt x="1489599" y="4248628"/>
                </a:cubicBezTo>
                <a:cubicBezTo>
                  <a:pt x="1494091" y="4244395"/>
                  <a:pt x="1496879" y="4243672"/>
                  <a:pt x="1498428" y="4244601"/>
                </a:cubicBezTo>
                <a:close/>
                <a:moveTo>
                  <a:pt x="5522624" y="4242347"/>
                </a:moveTo>
                <a:cubicBezTo>
                  <a:pt x="5523863" y="4241934"/>
                  <a:pt x="5526806" y="4241728"/>
                  <a:pt x="5527890" y="4244515"/>
                </a:cubicBezTo>
                <a:cubicBezTo>
                  <a:pt x="5528820" y="4247303"/>
                  <a:pt x="5531298" y="4247923"/>
                  <a:pt x="5532382" y="4250711"/>
                </a:cubicBezTo>
                <a:cubicBezTo>
                  <a:pt x="5532382" y="4250711"/>
                  <a:pt x="5532382" y="4250711"/>
                  <a:pt x="5531143" y="4251021"/>
                </a:cubicBezTo>
                <a:cubicBezTo>
                  <a:pt x="5528820" y="4247303"/>
                  <a:pt x="5524483" y="4246787"/>
                  <a:pt x="5522624" y="4242347"/>
                </a:cubicBezTo>
                <a:close/>
                <a:moveTo>
                  <a:pt x="5918229" y="4242141"/>
                </a:moveTo>
                <a:lnTo>
                  <a:pt x="5917145" y="4242967"/>
                </a:lnTo>
                <a:lnTo>
                  <a:pt x="5915906" y="4247200"/>
                </a:lnTo>
                <a:lnTo>
                  <a:pt x="5920398" y="4245961"/>
                </a:lnTo>
                <a:lnTo>
                  <a:pt x="5919004" y="4244412"/>
                </a:lnTo>
                <a:close/>
                <a:moveTo>
                  <a:pt x="4988697" y="4241418"/>
                </a:moveTo>
                <a:cubicBezTo>
                  <a:pt x="4989316" y="4241934"/>
                  <a:pt x="4989936" y="4242864"/>
                  <a:pt x="4990400" y="4244103"/>
                </a:cubicBezTo>
                <a:cubicBezTo>
                  <a:pt x="4989626" y="4251434"/>
                  <a:pt x="4987302" y="4256803"/>
                  <a:pt x="4980177" y="4257732"/>
                </a:cubicBezTo>
                <a:cubicBezTo>
                  <a:pt x="4980332" y="4256493"/>
                  <a:pt x="4979093" y="4256390"/>
                  <a:pt x="4978009" y="4256390"/>
                </a:cubicBezTo>
                <a:cubicBezTo>
                  <a:pt x="4973981" y="4250298"/>
                  <a:pt x="4983740" y="4237804"/>
                  <a:pt x="4988697" y="4241418"/>
                </a:cubicBezTo>
                <a:close/>
                <a:moveTo>
                  <a:pt x="1304343" y="4241090"/>
                </a:moveTo>
                <a:cubicBezTo>
                  <a:pt x="1310229" y="4239438"/>
                  <a:pt x="1316890" y="4241297"/>
                  <a:pt x="1321071" y="4249661"/>
                </a:cubicBezTo>
                <a:cubicBezTo>
                  <a:pt x="1316890" y="4258231"/>
                  <a:pt x="1309145" y="4264323"/>
                  <a:pt x="1302329" y="4264736"/>
                </a:cubicBezTo>
                <a:cubicBezTo>
                  <a:pt x="1300006" y="4264942"/>
                  <a:pt x="1297837" y="4264530"/>
                  <a:pt x="1295824" y="4263290"/>
                </a:cubicBezTo>
                <a:cubicBezTo>
                  <a:pt x="1294739" y="4262361"/>
                  <a:pt x="1293810" y="4261432"/>
                  <a:pt x="1293190" y="4260399"/>
                </a:cubicBezTo>
                <a:cubicBezTo>
                  <a:pt x="1288699" y="4253171"/>
                  <a:pt x="1295824" y="4243465"/>
                  <a:pt x="1304343" y="4241090"/>
                </a:cubicBezTo>
                <a:close/>
                <a:moveTo>
                  <a:pt x="5266774" y="4240514"/>
                </a:moveTo>
                <a:cubicBezTo>
                  <a:pt x="5267936" y="4240772"/>
                  <a:pt x="5269214" y="4241676"/>
                  <a:pt x="5270453" y="4242554"/>
                </a:cubicBezTo>
                <a:cubicBezTo>
                  <a:pt x="5269678" y="4244206"/>
                  <a:pt x="5270608" y="4246064"/>
                  <a:pt x="5268130" y="4247613"/>
                </a:cubicBezTo>
                <a:cubicBezTo>
                  <a:pt x="5266426" y="4245858"/>
                  <a:pt x="5265496" y="4244103"/>
                  <a:pt x="5263792" y="4242347"/>
                </a:cubicBezTo>
                <a:cubicBezTo>
                  <a:pt x="5264567" y="4240644"/>
                  <a:pt x="5265612" y="4240256"/>
                  <a:pt x="5266774" y="4240514"/>
                </a:cubicBezTo>
                <a:close/>
                <a:moveTo>
                  <a:pt x="1346320" y="4240471"/>
                </a:moveTo>
                <a:cubicBezTo>
                  <a:pt x="1346785" y="4240368"/>
                  <a:pt x="1347404" y="4240677"/>
                  <a:pt x="1348179" y="4241710"/>
                </a:cubicBezTo>
                <a:cubicBezTo>
                  <a:pt x="1349882" y="4242742"/>
                  <a:pt x="1349882" y="4243672"/>
                  <a:pt x="1348024" y="4246046"/>
                </a:cubicBezTo>
                <a:cubicBezTo>
                  <a:pt x="1346320" y="4247596"/>
                  <a:pt x="1345546" y="4249247"/>
                  <a:pt x="1344616" y="4249144"/>
                </a:cubicBezTo>
                <a:cubicBezTo>
                  <a:pt x="1344616" y="4250074"/>
                  <a:pt x="1343842" y="4250797"/>
                  <a:pt x="1343842" y="4251726"/>
                </a:cubicBezTo>
                <a:cubicBezTo>
                  <a:pt x="1343842" y="4251726"/>
                  <a:pt x="1343842" y="4251726"/>
                  <a:pt x="1342912" y="4251622"/>
                </a:cubicBezTo>
                <a:cubicBezTo>
                  <a:pt x="1343842" y="4248215"/>
                  <a:pt x="1343067" y="4243672"/>
                  <a:pt x="1344925" y="4241297"/>
                </a:cubicBezTo>
                <a:cubicBezTo>
                  <a:pt x="1345235" y="4240884"/>
                  <a:pt x="1345700" y="4240471"/>
                  <a:pt x="1346320" y="4240471"/>
                </a:cubicBezTo>
                <a:close/>
                <a:moveTo>
                  <a:pt x="1383650" y="4240058"/>
                </a:moveTo>
                <a:cubicBezTo>
                  <a:pt x="1387368" y="4241503"/>
                  <a:pt x="1391704" y="4248938"/>
                  <a:pt x="1381326" y="4247079"/>
                </a:cubicBezTo>
                <a:cubicBezTo>
                  <a:pt x="1379623" y="4240471"/>
                  <a:pt x="1381481" y="4239129"/>
                  <a:pt x="1383650" y="4240058"/>
                </a:cubicBezTo>
                <a:close/>
                <a:moveTo>
                  <a:pt x="5522779" y="4239146"/>
                </a:moveTo>
                <a:cubicBezTo>
                  <a:pt x="5523708" y="4240695"/>
                  <a:pt x="5512865" y="4245651"/>
                  <a:pt x="5509922" y="4246994"/>
                </a:cubicBezTo>
                <a:cubicBezTo>
                  <a:pt x="5509303" y="4246580"/>
                  <a:pt x="5509303" y="4246580"/>
                  <a:pt x="5509303" y="4246580"/>
                </a:cubicBezTo>
                <a:cubicBezTo>
                  <a:pt x="5508838" y="4245755"/>
                  <a:pt x="5508993" y="4245135"/>
                  <a:pt x="5509768" y="4244412"/>
                </a:cubicBezTo>
                <a:cubicBezTo>
                  <a:pt x="5510387" y="4243793"/>
                  <a:pt x="5511471" y="4243173"/>
                  <a:pt x="5513021" y="4242450"/>
                </a:cubicBezTo>
                <a:cubicBezTo>
                  <a:pt x="5515809" y="4241005"/>
                  <a:pt x="5519991" y="4240489"/>
                  <a:pt x="5521075" y="4240179"/>
                </a:cubicBezTo>
                <a:cubicBezTo>
                  <a:pt x="5522314" y="4239869"/>
                  <a:pt x="5522779" y="4239146"/>
                  <a:pt x="5522779" y="4239146"/>
                </a:cubicBezTo>
                <a:close/>
                <a:moveTo>
                  <a:pt x="674689" y="4239129"/>
                </a:moveTo>
                <a:cubicBezTo>
                  <a:pt x="682124" y="4234482"/>
                  <a:pt x="699628" y="4243981"/>
                  <a:pt x="696375" y="4253378"/>
                </a:cubicBezTo>
                <a:lnTo>
                  <a:pt x="692502" y="4250797"/>
                </a:lnTo>
                <a:lnTo>
                  <a:pt x="692038" y="4252862"/>
                </a:lnTo>
                <a:cubicBezTo>
                  <a:pt x="690644" y="4253894"/>
                  <a:pt x="688785" y="4255443"/>
                  <a:pt x="686927" y="4255236"/>
                </a:cubicBezTo>
                <a:cubicBezTo>
                  <a:pt x="686307" y="4255133"/>
                  <a:pt x="685687" y="4254823"/>
                  <a:pt x="685067" y="4254307"/>
                </a:cubicBezTo>
                <a:cubicBezTo>
                  <a:pt x="685067" y="4253481"/>
                  <a:pt x="684293" y="4253274"/>
                  <a:pt x="684448" y="4252448"/>
                </a:cubicBezTo>
                <a:cubicBezTo>
                  <a:pt x="684448" y="4252448"/>
                  <a:pt x="683983" y="4251519"/>
                  <a:pt x="683983" y="4250280"/>
                </a:cubicBezTo>
                <a:lnTo>
                  <a:pt x="685222" y="4247079"/>
                </a:lnTo>
                <a:lnTo>
                  <a:pt x="679956" y="4244085"/>
                </a:lnTo>
                <a:cubicBezTo>
                  <a:pt x="678098" y="4242742"/>
                  <a:pt x="676393" y="4241194"/>
                  <a:pt x="674689" y="4239129"/>
                </a:cubicBezTo>
                <a:close/>
                <a:moveTo>
                  <a:pt x="5360757" y="4238940"/>
                </a:moveTo>
                <a:cubicBezTo>
                  <a:pt x="5363081" y="4241521"/>
                  <a:pt x="5361842" y="4245032"/>
                  <a:pt x="5364010" y="4248542"/>
                </a:cubicBezTo>
                <a:cubicBezTo>
                  <a:pt x="5361996" y="4251124"/>
                  <a:pt x="5364165" y="4255461"/>
                  <a:pt x="5361222" y="4258868"/>
                </a:cubicBezTo>
                <a:cubicBezTo>
                  <a:pt x="5360138" y="4258042"/>
                  <a:pt x="5359363" y="4256493"/>
                  <a:pt x="5358744" y="4254635"/>
                </a:cubicBezTo>
                <a:cubicBezTo>
                  <a:pt x="5357350" y="4249162"/>
                  <a:pt x="5358744" y="4240798"/>
                  <a:pt x="5360757" y="4238940"/>
                </a:cubicBezTo>
                <a:close/>
                <a:moveTo>
                  <a:pt x="5229135" y="4238294"/>
                </a:moveTo>
                <a:cubicBezTo>
                  <a:pt x="5234866" y="4236255"/>
                  <a:pt x="5240868" y="4236306"/>
                  <a:pt x="5243036" y="4240385"/>
                </a:cubicBezTo>
                <a:cubicBezTo>
                  <a:pt x="5233433" y="4242554"/>
                  <a:pt x="5228011" y="4248542"/>
                  <a:pt x="5216859" y="4248749"/>
                </a:cubicBezTo>
                <a:cubicBezTo>
                  <a:pt x="5217944" y="4244464"/>
                  <a:pt x="5223403" y="4240334"/>
                  <a:pt x="5229135" y="4238294"/>
                </a:cubicBezTo>
                <a:close/>
                <a:moveTo>
                  <a:pt x="5665438" y="4237701"/>
                </a:moveTo>
                <a:cubicBezTo>
                  <a:pt x="5667142" y="4238527"/>
                  <a:pt x="5668382" y="4240489"/>
                  <a:pt x="5668691" y="4243896"/>
                </a:cubicBezTo>
                <a:cubicBezTo>
                  <a:pt x="5662960" y="4245961"/>
                  <a:pt x="5661566" y="4250195"/>
                  <a:pt x="5656455" y="4249575"/>
                </a:cubicBezTo>
                <a:cubicBezTo>
                  <a:pt x="5651962" y="4242141"/>
                  <a:pt x="5660482" y="4235016"/>
                  <a:pt x="5665438" y="4237701"/>
                </a:cubicBezTo>
                <a:close/>
                <a:moveTo>
                  <a:pt x="4900870" y="4236874"/>
                </a:moveTo>
                <a:cubicBezTo>
                  <a:pt x="4906601" y="4234087"/>
                  <a:pt x="4913262" y="4238424"/>
                  <a:pt x="4915121" y="4245961"/>
                </a:cubicBezTo>
                <a:cubicBezTo>
                  <a:pt x="4918064" y="4257526"/>
                  <a:pt x="4914501" y="4264754"/>
                  <a:pt x="4914501" y="4264754"/>
                </a:cubicBezTo>
                <a:cubicBezTo>
                  <a:pt x="4912487" y="4265580"/>
                  <a:pt x="4910784" y="4265786"/>
                  <a:pt x="4909389" y="4265580"/>
                </a:cubicBezTo>
                <a:cubicBezTo>
                  <a:pt x="4905053" y="4264960"/>
                  <a:pt x="4902574" y="4260520"/>
                  <a:pt x="4901025" y="4255874"/>
                </a:cubicBezTo>
                <a:cubicBezTo>
                  <a:pt x="4900251" y="4253808"/>
                  <a:pt x="4899786" y="4251640"/>
                  <a:pt x="4899321" y="4249781"/>
                </a:cubicBezTo>
                <a:cubicBezTo>
                  <a:pt x="4898237" y="4245858"/>
                  <a:pt x="4897463" y="4241521"/>
                  <a:pt x="4898857" y="4238940"/>
                </a:cubicBezTo>
                <a:cubicBezTo>
                  <a:pt x="4899166" y="4238010"/>
                  <a:pt x="4899941" y="4237288"/>
                  <a:pt x="4900870" y="4236874"/>
                </a:cubicBezTo>
                <a:close/>
                <a:moveTo>
                  <a:pt x="5819250" y="4235636"/>
                </a:moveTo>
                <a:lnTo>
                  <a:pt x="5820335" y="4236565"/>
                </a:lnTo>
                <a:lnTo>
                  <a:pt x="5820335" y="4235842"/>
                </a:lnTo>
                <a:close/>
                <a:moveTo>
                  <a:pt x="5528820" y="4235532"/>
                </a:moveTo>
                <a:cubicBezTo>
                  <a:pt x="5528820" y="4235532"/>
                  <a:pt x="5529285" y="4234706"/>
                  <a:pt x="5530369" y="4237597"/>
                </a:cubicBezTo>
                <a:cubicBezTo>
                  <a:pt x="5529130" y="4237907"/>
                  <a:pt x="5525722" y="4238733"/>
                  <a:pt x="5525722" y="4238733"/>
                </a:cubicBezTo>
                <a:cubicBezTo>
                  <a:pt x="5525258" y="4239559"/>
                  <a:pt x="5525258" y="4239559"/>
                  <a:pt x="5524018" y="4239869"/>
                </a:cubicBezTo>
                <a:cubicBezTo>
                  <a:pt x="5523863" y="4238733"/>
                  <a:pt x="5523863" y="4238733"/>
                  <a:pt x="5524328" y="4237907"/>
                </a:cubicBezTo>
                <a:cubicBezTo>
                  <a:pt x="5525567" y="4237597"/>
                  <a:pt x="5526187" y="4238010"/>
                  <a:pt x="5527271" y="4237701"/>
                </a:cubicBezTo>
                <a:cubicBezTo>
                  <a:pt x="5526961" y="4235326"/>
                  <a:pt x="5526497" y="4236152"/>
                  <a:pt x="5527735" y="4235842"/>
                </a:cubicBezTo>
                <a:cubicBezTo>
                  <a:pt x="5527735" y="4235842"/>
                  <a:pt x="5527735" y="4235842"/>
                  <a:pt x="5528820" y="4235532"/>
                </a:cubicBezTo>
                <a:close/>
                <a:moveTo>
                  <a:pt x="5641739" y="4234809"/>
                </a:moveTo>
                <a:lnTo>
                  <a:pt x="5643598" y="4236048"/>
                </a:lnTo>
                <a:lnTo>
                  <a:pt x="5643753" y="4236048"/>
                </a:lnTo>
                <a:cubicBezTo>
                  <a:pt x="5646696" y="4238527"/>
                  <a:pt x="5646541" y="4238527"/>
                  <a:pt x="5643288" y="4243896"/>
                </a:cubicBezTo>
                <a:cubicBezTo>
                  <a:pt x="5642514" y="4244826"/>
                  <a:pt x="5641584" y="4245548"/>
                  <a:pt x="5640500" y="4245961"/>
                </a:cubicBezTo>
                <a:cubicBezTo>
                  <a:pt x="5639416" y="4246374"/>
                  <a:pt x="5638177" y="4246374"/>
                  <a:pt x="5636937" y="4245961"/>
                </a:cubicBezTo>
                <a:cubicBezTo>
                  <a:pt x="5636163" y="4246477"/>
                  <a:pt x="5635079" y="4246787"/>
                  <a:pt x="5634149" y="4246891"/>
                </a:cubicBezTo>
                <a:cubicBezTo>
                  <a:pt x="5633065" y="4246891"/>
                  <a:pt x="5631981" y="4246787"/>
                  <a:pt x="5631206" y="4246374"/>
                </a:cubicBezTo>
                <a:cubicBezTo>
                  <a:pt x="5629347" y="4244722"/>
                  <a:pt x="5629038" y="4242967"/>
                  <a:pt x="5629812" y="4242037"/>
                </a:cubicBezTo>
                <a:lnTo>
                  <a:pt x="5633530" y="4237907"/>
                </a:lnTo>
                <a:lnTo>
                  <a:pt x="5633375" y="4237288"/>
                </a:lnTo>
                <a:cubicBezTo>
                  <a:pt x="5633994" y="4234500"/>
                  <a:pt x="5638796" y="4233674"/>
                  <a:pt x="5641739" y="4234809"/>
                </a:cubicBezTo>
                <a:close/>
                <a:moveTo>
                  <a:pt x="1264070" y="4234275"/>
                </a:moveTo>
                <a:cubicBezTo>
                  <a:pt x="1265309" y="4236134"/>
                  <a:pt x="1267478" y="4233656"/>
                  <a:pt x="1268717" y="4236444"/>
                </a:cubicBezTo>
                <a:cubicBezTo>
                  <a:pt x="1267787" y="4241710"/>
                  <a:pt x="1259268" y="4248318"/>
                  <a:pt x="1252607" y="4248421"/>
                </a:cubicBezTo>
                <a:cubicBezTo>
                  <a:pt x="1250439" y="4248525"/>
                  <a:pt x="1248425" y="4247802"/>
                  <a:pt x="1247032" y="4246150"/>
                </a:cubicBezTo>
                <a:cubicBezTo>
                  <a:pt x="1252453" y="4243052"/>
                  <a:pt x="1257874" y="4240884"/>
                  <a:pt x="1264070" y="4234275"/>
                </a:cubicBezTo>
                <a:close/>
                <a:moveTo>
                  <a:pt x="4944861" y="4233777"/>
                </a:moveTo>
                <a:cubicBezTo>
                  <a:pt x="4948268" y="4236462"/>
                  <a:pt x="4948268" y="4238940"/>
                  <a:pt x="4946875" y="4242347"/>
                </a:cubicBezTo>
                <a:cubicBezTo>
                  <a:pt x="4944396" y="4242244"/>
                  <a:pt x="4941144" y="4239559"/>
                  <a:pt x="4940988" y="4236978"/>
                </a:cubicBezTo>
                <a:cubicBezTo>
                  <a:pt x="4942537" y="4234500"/>
                  <a:pt x="4944087" y="4235429"/>
                  <a:pt x="4944861" y="4233777"/>
                </a:cubicBezTo>
                <a:close/>
                <a:moveTo>
                  <a:pt x="5568590" y="4233699"/>
                </a:moveTo>
                <a:cubicBezTo>
                  <a:pt x="5570565" y="4234112"/>
                  <a:pt x="5571881" y="4235945"/>
                  <a:pt x="5572191" y="4238113"/>
                </a:cubicBezTo>
                <a:cubicBezTo>
                  <a:pt x="5572346" y="4239456"/>
                  <a:pt x="5572036" y="4241108"/>
                  <a:pt x="5571261" y="4242450"/>
                </a:cubicBezTo>
                <a:cubicBezTo>
                  <a:pt x="5570177" y="4244309"/>
                  <a:pt x="5568009" y="4245755"/>
                  <a:pt x="5564756" y="4246168"/>
                </a:cubicBezTo>
                <a:cubicBezTo>
                  <a:pt x="5563362" y="4244619"/>
                  <a:pt x="5562742" y="4243276"/>
                  <a:pt x="5562278" y="4241831"/>
                </a:cubicBezTo>
                <a:cubicBezTo>
                  <a:pt x="5561968" y="4240489"/>
                  <a:pt x="5561658" y="4239249"/>
                  <a:pt x="5561038" y="4237804"/>
                </a:cubicBezTo>
                <a:cubicBezTo>
                  <a:pt x="5563982" y="4234293"/>
                  <a:pt x="5566615" y="4233286"/>
                  <a:pt x="5568590" y="4233699"/>
                </a:cubicBezTo>
                <a:close/>
                <a:moveTo>
                  <a:pt x="569206" y="4233243"/>
                </a:moveTo>
                <a:cubicBezTo>
                  <a:pt x="571218" y="4230455"/>
                  <a:pt x="577724" y="4232210"/>
                  <a:pt x="579428" y="4235514"/>
                </a:cubicBezTo>
                <a:cubicBezTo>
                  <a:pt x="576641" y="4234792"/>
                  <a:pt x="574627" y="4235308"/>
                  <a:pt x="573077" y="4235411"/>
                </a:cubicBezTo>
                <a:cubicBezTo>
                  <a:pt x="571528" y="4235514"/>
                  <a:pt x="570290" y="4235308"/>
                  <a:pt x="569206" y="4233243"/>
                </a:cubicBezTo>
                <a:close/>
                <a:moveTo>
                  <a:pt x="1295824" y="4232623"/>
                </a:moveTo>
                <a:cubicBezTo>
                  <a:pt x="1296908" y="4233036"/>
                  <a:pt x="1297373" y="4234688"/>
                  <a:pt x="1298457" y="4235205"/>
                </a:cubicBezTo>
                <a:cubicBezTo>
                  <a:pt x="1297682" y="4235514"/>
                  <a:pt x="1297063" y="4236650"/>
                  <a:pt x="1296288" y="4237063"/>
                </a:cubicBezTo>
                <a:cubicBezTo>
                  <a:pt x="1295204" y="4236547"/>
                  <a:pt x="1294894" y="4235514"/>
                  <a:pt x="1295049" y="4234585"/>
                </a:cubicBezTo>
                <a:cubicBezTo>
                  <a:pt x="1295049" y="4233656"/>
                  <a:pt x="1295359" y="4232726"/>
                  <a:pt x="1295824" y="4232623"/>
                </a:cubicBezTo>
                <a:close/>
                <a:moveTo>
                  <a:pt x="5462834" y="4230679"/>
                </a:moveTo>
                <a:cubicBezTo>
                  <a:pt x="5463144" y="4233054"/>
                  <a:pt x="5465003" y="4236358"/>
                  <a:pt x="5462369" y="4238940"/>
                </a:cubicBezTo>
                <a:cubicBezTo>
                  <a:pt x="5462060" y="4237081"/>
                  <a:pt x="5461130" y="4233674"/>
                  <a:pt x="5461750" y="4231918"/>
                </a:cubicBezTo>
                <a:cubicBezTo>
                  <a:pt x="5461905" y="4231299"/>
                  <a:pt x="5462214" y="4230782"/>
                  <a:pt x="5462834" y="4230679"/>
                </a:cubicBezTo>
                <a:close/>
                <a:moveTo>
                  <a:pt x="1320762" y="4230558"/>
                </a:moveTo>
                <a:cubicBezTo>
                  <a:pt x="1320762" y="4231487"/>
                  <a:pt x="1321536" y="4231591"/>
                  <a:pt x="1321536" y="4232520"/>
                </a:cubicBezTo>
                <a:cubicBezTo>
                  <a:pt x="1322311" y="4234378"/>
                  <a:pt x="1322311" y="4234378"/>
                  <a:pt x="1321381" y="4235205"/>
                </a:cubicBezTo>
                <a:cubicBezTo>
                  <a:pt x="1320607" y="4235927"/>
                  <a:pt x="1317974" y="4234792"/>
                  <a:pt x="1317045" y="4235514"/>
                </a:cubicBezTo>
                <a:cubicBezTo>
                  <a:pt x="1317045" y="4235514"/>
                  <a:pt x="1317045" y="4235514"/>
                  <a:pt x="1316270" y="4233656"/>
                </a:cubicBezTo>
                <a:cubicBezTo>
                  <a:pt x="1316270" y="4232726"/>
                  <a:pt x="1316270" y="4231901"/>
                  <a:pt x="1317199" y="4231074"/>
                </a:cubicBezTo>
                <a:cubicBezTo>
                  <a:pt x="1318128" y="4230351"/>
                  <a:pt x="1319833" y="4230455"/>
                  <a:pt x="1320762" y="4230558"/>
                </a:cubicBezTo>
                <a:close/>
                <a:moveTo>
                  <a:pt x="1353445" y="4228596"/>
                </a:moveTo>
                <a:cubicBezTo>
                  <a:pt x="1355459" y="4235824"/>
                  <a:pt x="1358092" y="4243568"/>
                  <a:pt x="1353600" y="4246460"/>
                </a:cubicBezTo>
                <a:cubicBezTo>
                  <a:pt x="1348798" y="4244291"/>
                  <a:pt x="1348334" y="4236134"/>
                  <a:pt x="1348798" y="4231591"/>
                </a:cubicBezTo>
                <a:cubicBezTo>
                  <a:pt x="1351122" y="4231074"/>
                  <a:pt x="1351122" y="4229112"/>
                  <a:pt x="1353445" y="4228596"/>
                </a:cubicBezTo>
                <a:close/>
                <a:moveTo>
                  <a:pt x="1399101" y="4228235"/>
                </a:moveTo>
                <a:cubicBezTo>
                  <a:pt x="1404135" y="4229035"/>
                  <a:pt x="1408975" y="4232623"/>
                  <a:pt x="1409827" y="4236444"/>
                </a:cubicBezTo>
                <a:cubicBezTo>
                  <a:pt x="1407504" y="4240884"/>
                  <a:pt x="1402857" y="4242845"/>
                  <a:pt x="1398365" y="4242742"/>
                </a:cubicBezTo>
                <a:cubicBezTo>
                  <a:pt x="1393718" y="4242536"/>
                  <a:pt x="1389226" y="4240368"/>
                  <a:pt x="1387213" y="4236753"/>
                </a:cubicBezTo>
                <a:cubicBezTo>
                  <a:pt x="1388839" y="4229422"/>
                  <a:pt x="1394067" y="4227434"/>
                  <a:pt x="1399101" y="4228235"/>
                </a:cubicBezTo>
                <a:close/>
                <a:moveTo>
                  <a:pt x="1382101" y="4227770"/>
                </a:moveTo>
                <a:cubicBezTo>
                  <a:pt x="1386128" y="4231591"/>
                  <a:pt x="1385973" y="4231591"/>
                  <a:pt x="1379468" y="4239232"/>
                </a:cubicBezTo>
                <a:cubicBezTo>
                  <a:pt x="1378074" y="4240471"/>
                  <a:pt x="1376524" y="4241400"/>
                  <a:pt x="1374666" y="4241916"/>
                </a:cubicBezTo>
                <a:cubicBezTo>
                  <a:pt x="1372807" y="4242330"/>
                  <a:pt x="1370949" y="4242330"/>
                  <a:pt x="1368935" y="4241710"/>
                </a:cubicBezTo>
                <a:cubicBezTo>
                  <a:pt x="1367540" y="4242330"/>
                  <a:pt x="1365992" y="4242639"/>
                  <a:pt x="1364288" y="4242639"/>
                </a:cubicBezTo>
                <a:cubicBezTo>
                  <a:pt x="1362584" y="4242639"/>
                  <a:pt x="1361035" y="4242330"/>
                  <a:pt x="1359641" y="4241710"/>
                </a:cubicBezTo>
                <a:cubicBezTo>
                  <a:pt x="1357007" y="4239232"/>
                  <a:pt x="1357007" y="4236650"/>
                  <a:pt x="1358402" y="4235411"/>
                </a:cubicBezTo>
                <a:cubicBezTo>
                  <a:pt x="1367540" y="4224053"/>
                  <a:pt x="1379468" y="4229112"/>
                  <a:pt x="1382101" y="4227770"/>
                </a:cubicBezTo>
                <a:close/>
                <a:moveTo>
                  <a:pt x="725650" y="4227770"/>
                </a:moveTo>
                <a:cubicBezTo>
                  <a:pt x="726580" y="4226221"/>
                  <a:pt x="728129" y="4227357"/>
                  <a:pt x="729678" y="4229319"/>
                </a:cubicBezTo>
                <a:cubicBezTo>
                  <a:pt x="733705" y="4232623"/>
                  <a:pt x="734479" y="4235308"/>
                  <a:pt x="731691" y="4237476"/>
                </a:cubicBezTo>
                <a:cubicBezTo>
                  <a:pt x="730917" y="4237373"/>
                  <a:pt x="728439" y="4236134"/>
                  <a:pt x="728439" y="4236960"/>
                </a:cubicBezTo>
                <a:cubicBezTo>
                  <a:pt x="726580" y="4234688"/>
                  <a:pt x="724876" y="4232004"/>
                  <a:pt x="724876" y="4229835"/>
                </a:cubicBezTo>
                <a:cubicBezTo>
                  <a:pt x="724876" y="4229112"/>
                  <a:pt x="725186" y="4228390"/>
                  <a:pt x="725650" y="4227770"/>
                </a:cubicBezTo>
                <a:close/>
                <a:moveTo>
                  <a:pt x="5405522" y="4227272"/>
                </a:moveTo>
                <a:cubicBezTo>
                  <a:pt x="5408156" y="4227375"/>
                  <a:pt x="5409705" y="4227375"/>
                  <a:pt x="5411254" y="4229130"/>
                </a:cubicBezTo>
                <a:cubicBezTo>
                  <a:pt x="5413577" y="4231815"/>
                  <a:pt x="5414661" y="4237804"/>
                  <a:pt x="5411873" y="4240385"/>
                </a:cubicBezTo>
                <a:cubicBezTo>
                  <a:pt x="5408930" y="4243793"/>
                  <a:pt x="5406297" y="4244619"/>
                  <a:pt x="5403819" y="4244619"/>
                </a:cubicBezTo>
                <a:cubicBezTo>
                  <a:pt x="5403819" y="4244619"/>
                  <a:pt x="5403819" y="4244619"/>
                  <a:pt x="5404748" y="4244619"/>
                </a:cubicBezTo>
                <a:lnTo>
                  <a:pt x="5406142" y="4246580"/>
                </a:lnTo>
                <a:lnTo>
                  <a:pt x="5407691" y="4246477"/>
                </a:lnTo>
                <a:cubicBezTo>
                  <a:pt x="5408465" y="4246477"/>
                  <a:pt x="5409085" y="4246477"/>
                  <a:pt x="5409240" y="4246477"/>
                </a:cubicBezTo>
                <a:cubicBezTo>
                  <a:pt x="5409395" y="4247303"/>
                  <a:pt x="5409395" y="4247303"/>
                  <a:pt x="5409395" y="4247303"/>
                </a:cubicBezTo>
                <a:lnTo>
                  <a:pt x="5407226" y="4247820"/>
                </a:lnTo>
                <a:lnTo>
                  <a:pt x="5409705" y="4250917"/>
                </a:lnTo>
                <a:lnTo>
                  <a:pt x="5411718" y="4250504"/>
                </a:lnTo>
                <a:lnTo>
                  <a:pt x="5410324" y="4252053"/>
                </a:lnTo>
                <a:lnTo>
                  <a:pt x="5411564" y="4254428"/>
                </a:lnTo>
                <a:cubicBezTo>
                  <a:pt x="5412028" y="4255358"/>
                  <a:pt x="5412183" y="4256287"/>
                  <a:pt x="5411873" y="4256906"/>
                </a:cubicBezTo>
                <a:cubicBezTo>
                  <a:pt x="5410944" y="4256906"/>
                  <a:pt x="5410169" y="4256906"/>
                  <a:pt x="5409395" y="4255977"/>
                </a:cubicBezTo>
                <a:cubicBezTo>
                  <a:pt x="5408620" y="4255151"/>
                  <a:pt x="5409550" y="4255151"/>
                  <a:pt x="5408620" y="4255047"/>
                </a:cubicBezTo>
                <a:cubicBezTo>
                  <a:pt x="5408001" y="4254222"/>
                  <a:pt x="5407846" y="4255047"/>
                  <a:pt x="5407846" y="4255047"/>
                </a:cubicBezTo>
                <a:lnTo>
                  <a:pt x="5407846" y="4254738"/>
                </a:lnTo>
                <a:lnTo>
                  <a:pt x="5404438" y="4256287"/>
                </a:lnTo>
                <a:cubicBezTo>
                  <a:pt x="5401960" y="4256803"/>
                  <a:pt x="5399946" y="4257009"/>
                  <a:pt x="5398552" y="4259281"/>
                </a:cubicBezTo>
                <a:cubicBezTo>
                  <a:pt x="5397468" y="4257526"/>
                  <a:pt x="5397468" y="4257526"/>
                  <a:pt x="5398087" y="4255770"/>
                </a:cubicBezTo>
                <a:cubicBezTo>
                  <a:pt x="5399017" y="4255667"/>
                  <a:pt x="5398862" y="4254841"/>
                  <a:pt x="5399791" y="4255667"/>
                </a:cubicBezTo>
                <a:cubicBezTo>
                  <a:pt x="5400411" y="4254325"/>
                  <a:pt x="5402424" y="4252879"/>
                  <a:pt x="5404903" y="4251847"/>
                </a:cubicBezTo>
                <a:lnTo>
                  <a:pt x="5405213" y="4251743"/>
                </a:lnTo>
                <a:lnTo>
                  <a:pt x="5403663" y="4250814"/>
                </a:lnTo>
                <a:cubicBezTo>
                  <a:pt x="5403044" y="4250401"/>
                  <a:pt x="5402424" y="4250195"/>
                  <a:pt x="5401650" y="4249781"/>
                </a:cubicBezTo>
                <a:lnTo>
                  <a:pt x="5401495" y="4249678"/>
                </a:lnTo>
                <a:lnTo>
                  <a:pt x="5401031" y="4249781"/>
                </a:lnTo>
                <a:cubicBezTo>
                  <a:pt x="5400101" y="4249988"/>
                  <a:pt x="5399017" y="4249988"/>
                  <a:pt x="5397932" y="4249678"/>
                </a:cubicBezTo>
                <a:cubicBezTo>
                  <a:pt x="5397932" y="4249678"/>
                  <a:pt x="5397932" y="4249678"/>
                  <a:pt x="5398707" y="4249575"/>
                </a:cubicBezTo>
                <a:cubicBezTo>
                  <a:pt x="5398707" y="4249575"/>
                  <a:pt x="5397932" y="4249678"/>
                  <a:pt x="5397778" y="4248852"/>
                </a:cubicBezTo>
                <a:lnTo>
                  <a:pt x="5400566" y="4248026"/>
                </a:lnTo>
                <a:lnTo>
                  <a:pt x="5400101" y="4247510"/>
                </a:lnTo>
                <a:cubicBezTo>
                  <a:pt x="5399791" y="4246684"/>
                  <a:pt x="5399482" y="4245858"/>
                  <a:pt x="5398707" y="4244515"/>
                </a:cubicBezTo>
                <a:cubicBezTo>
                  <a:pt x="5399791" y="4242760"/>
                  <a:pt x="5399791" y="4242864"/>
                  <a:pt x="5400566" y="4242864"/>
                </a:cubicBezTo>
                <a:cubicBezTo>
                  <a:pt x="5399791" y="4242864"/>
                  <a:pt x="5399946" y="4241934"/>
                  <a:pt x="5399172" y="4241005"/>
                </a:cubicBezTo>
                <a:cubicBezTo>
                  <a:pt x="5395144" y="4238320"/>
                  <a:pt x="5397313" y="4234087"/>
                  <a:pt x="5401031" y="4229853"/>
                </a:cubicBezTo>
                <a:cubicBezTo>
                  <a:pt x="5401805" y="4230679"/>
                  <a:pt x="5403819" y="4228098"/>
                  <a:pt x="5405522" y="4227272"/>
                </a:cubicBezTo>
                <a:close/>
                <a:moveTo>
                  <a:pt x="4977467" y="4226949"/>
                </a:moveTo>
                <a:cubicBezTo>
                  <a:pt x="4979403" y="4226162"/>
                  <a:pt x="4981804" y="4226910"/>
                  <a:pt x="4983275" y="4228821"/>
                </a:cubicBezTo>
                <a:cubicBezTo>
                  <a:pt x="4984204" y="4230060"/>
                  <a:pt x="4984824" y="4231918"/>
                  <a:pt x="4984669" y="4234087"/>
                </a:cubicBezTo>
                <a:cubicBezTo>
                  <a:pt x="4983585" y="4234913"/>
                  <a:pt x="4981416" y="4235429"/>
                  <a:pt x="4979403" y="4235532"/>
                </a:cubicBezTo>
                <a:cubicBezTo>
                  <a:pt x="4977234" y="4235636"/>
                  <a:pt x="4975221" y="4235223"/>
                  <a:pt x="4974446" y="4234293"/>
                </a:cubicBezTo>
                <a:cubicBezTo>
                  <a:pt x="4974059" y="4230059"/>
                  <a:pt x="4975530" y="4227736"/>
                  <a:pt x="4977467" y="4226949"/>
                </a:cubicBezTo>
                <a:close/>
                <a:moveTo>
                  <a:pt x="1501991" y="4224053"/>
                </a:moveTo>
                <a:cubicBezTo>
                  <a:pt x="1504159" y="4223743"/>
                  <a:pt x="1506792" y="4224363"/>
                  <a:pt x="1509735" y="4226221"/>
                </a:cubicBezTo>
                <a:cubicBezTo>
                  <a:pt x="1511904" y="4230145"/>
                  <a:pt x="1509116" y="4237270"/>
                  <a:pt x="1505708" y="4237270"/>
                </a:cubicBezTo>
                <a:cubicBezTo>
                  <a:pt x="1494711" y="4233449"/>
                  <a:pt x="1495794" y="4224879"/>
                  <a:pt x="1501991" y="4224053"/>
                </a:cubicBezTo>
                <a:close/>
                <a:moveTo>
                  <a:pt x="717750" y="4223537"/>
                </a:moveTo>
                <a:cubicBezTo>
                  <a:pt x="720384" y="4224982"/>
                  <a:pt x="722088" y="4228906"/>
                  <a:pt x="719764" y="4233243"/>
                </a:cubicBezTo>
                <a:cubicBezTo>
                  <a:pt x="716356" y="4234482"/>
                  <a:pt x="713723" y="4234172"/>
                  <a:pt x="711865" y="4234275"/>
                </a:cubicBezTo>
                <a:cubicBezTo>
                  <a:pt x="711245" y="4231901"/>
                  <a:pt x="710161" y="4230455"/>
                  <a:pt x="709542" y="4228080"/>
                </a:cubicBezTo>
                <a:cubicBezTo>
                  <a:pt x="711399" y="4223020"/>
                  <a:pt x="715117" y="4222091"/>
                  <a:pt x="717750" y="4223537"/>
                </a:cubicBezTo>
                <a:close/>
                <a:moveTo>
                  <a:pt x="5373769" y="4223451"/>
                </a:moveTo>
                <a:cubicBezTo>
                  <a:pt x="5377796" y="4225103"/>
                  <a:pt x="5377951" y="4230679"/>
                  <a:pt x="5375008" y="4232435"/>
                </a:cubicBezTo>
                <a:cubicBezTo>
                  <a:pt x="5368657" y="4231402"/>
                  <a:pt x="5370671" y="4224277"/>
                  <a:pt x="5373769" y="4223451"/>
                </a:cubicBezTo>
                <a:close/>
                <a:moveTo>
                  <a:pt x="5915286" y="4223245"/>
                </a:moveTo>
                <a:lnTo>
                  <a:pt x="5913892" y="4223658"/>
                </a:lnTo>
                <a:lnTo>
                  <a:pt x="5914357" y="4224690"/>
                </a:lnTo>
                <a:close/>
                <a:moveTo>
                  <a:pt x="5678605" y="4222212"/>
                </a:moveTo>
                <a:cubicBezTo>
                  <a:pt x="5679379" y="4223245"/>
                  <a:pt x="5679379" y="4223141"/>
                  <a:pt x="5679224" y="4225723"/>
                </a:cubicBezTo>
                <a:cubicBezTo>
                  <a:pt x="5678450" y="4224690"/>
                  <a:pt x="5678450" y="4224690"/>
                  <a:pt x="5677675" y="4225413"/>
                </a:cubicBezTo>
                <a:cubicBezTo>
                  <a:pt x="5677675" y="4225413"/>
                  <a:pt x="5677675" y="4225413"/>
                  <a:pt x="5677520" y="4226239"/>
                </a:cubicBezTo>
                <a:cubicBezTo>
                  <a:pt x="5676746" y="4226136"/>
                  <a:pt x="5676901" y="4225310"/>
                  <a:pt x="5676127" y="4225207"/>
                </a:cubicBezTo>
                <a:cubicBezTo>
                  <a:pt x="5676127" y="4225207"/>
                  <a:pt x="5676127" y="4224277"/>
                  <a:pt x="5676127" y="4224277"/>
                </a:cubicBezTo>
                <a:cubicBezTo>
                  <a:pt x="5675661" y="4224277"/>
                  <a:pt x="5675661" y="4224277"/>
                  <a:pt x="5675971" y="4224174"/>
                </a:cubicBezTo>
                <a:cubicBezTo>
                  <a:pt x="5676127" y="4223968"/>
                  <a:pt x="5676591" y="4223555"/>
                  <a:pt x="5676901" y="4222832"/>
                </a:cubicBezTo>
                <a:cubicBezTo>
                  <a:pt x="5677830" y="4222109"/>
                  <a:pt x="5677985" y="4221283"/>
                  <a:pt x="5678605" y="4222212"/>
                </a:cubicBezTo>
                <a:close/>
                <a:moveTo>
                  <a:pt x="4994737" y="4221902"/>
                </a:moveTo>
                <a:cubicBezTo>
                  <a:pt x="4996441" y="4221386"/>
                  <a:pt x="4998765" y="4221902"/>
                  <a:pt x="5001553" y="4224174"/>
                </a:cubicBezTo>
                <a:cubicBezTo>
                  <a:pt x="4998920" y="4229337"/>
                  <a:pt x="5001088" y="4233364"/>
                  <a:pt x="4996906" y="4236358"/>
                </a:cubicBezTo>
                <a:cubicBezTo>
                  <a:pt x="4988232" y="4233880"/>
                  <a:pt x="4989161" y="4223245"/>
                  <a:pt x="4994737" y="4221902"/>
                </a:cubicBezTo>
                <a:close/>
                <a:moveTo>
                  <a:pt x="5852243" y="4221386"/>
                </a:moveTo>
                <a:lnTo>
                  <a:pt x="5848526" y="4223761"/>
                </a:lnTo>
                <a:lnTo>
                  <a:pt x="5849145" y="4224380"/>
                </a:lnTo>
                <a:cubicBezTo>
                  <a:pt x="5850695" y="4224794"/>
                  <a:pt x="5852398" y="4223864"/>
                  <a:pt x="5853947" y="4223451"/>
                </a:cubicBezTo>
                <a:lnTo>
                  <a:pt x="5854567" y="4223451"/>
                </a:lnTo>
                <a:lnTo>
                  <a:pt x="5853018" y="4222625"/>
                </a:lnTo>
                <a:close/>
                <a:moveTo>
                  <a:pt x="5517977" y="4221076"/>
                </a:moveTo>
                <a:cubicBezTo>
                  <a:pt x="5524328" y="4218702"/>
                  <a:pt x="5527890" y="4229543"/>
                  <a:pt x="5529439" y="4231608"/>
                </a:cubicBezTo>
                <a:cubicBezTo>
                  <a:pt x="5529439" y="4231608"/>
                  <a:pt x="5530059" y="4232022"/>
                  <a:pt x="5530214" y="4233261"/>
                </a:cubicBezTo>
                <a:cubicBezTo>
                  <a:pt x="5531143" y="4234809"/>
                  <a:pt x="5528665" y="4234293"/>
                  <a:pt x="5528820" y="4235532"/>
                </a:cubicBezTo>
                <a:cubicBezTo>
                  <a:pt x="5524328" y="4230473"/>
                  <a:pt x="5518752" y="4228924"/>
                  <a:pt x="5518752" y="4228924"/>
                </a:cubicBezTo>
                <a:cubicBezTo>
                  <a:pt x="5517822" y="4227375"/>
                  <a:pt x="5518287" y="4226652"/>
                  <a:pt x="5517822" y="4227375"/>
                </a:cubicBezTo>
                <a:cubicBezTo>
                  <a:pt x="5517357" y="4225000"/>
                  <a:pt x="5516273" y="4222212"/>
                  <a:pt x="5517977" y="4221076"/>
                </a:cubicBezTo>
                <a:close/>
                <a:moveTo>
                  <a:pt x="5564911" y="4220044"/>
                </a:moveTo>
                <a:cubicBezTo>
                  <a:pt x="5568009" y="4223968"/>
                  <a:pt x="5565066" y="4231196"/>
                  <a:pt x="5559179" y="4230886"/>
                </a:cubicBezTo>
                <a:cubicBezTo>
                  <a:pt x="5558715" y="4228924"/>
                  <a:pt x="5557786" y="4227685"/>
                  <a:pt x="5557321" y="4225826"/>
                </a:cubicBezTo>
                <a:cubicBezTo>
                  <a:pt x="5559954" y="4223451"/>
                  <a:pt x="5559644" y="4219114"/>
                  <a:pt x="5564911" y="4220044"/>
                </a:cubicBezTo>
                <a:close/>
                <a:moveTo>
                  <a:pt x="5256357" y="4219837"/>
                </a:moveTo>
                <a:cubicBezTo>
                  <a:pt x="5260230" y="4222109"/>
                  <a:pt x="5258836" y="4228717"/>
                  <a:pt x="5254653" y="4229957"/>
                </a:cubicBezTo>
                <a:cubicBezTo>
                  <a:pt x="5253724" y="4229337"/>
                  <a:pt x="5251865" y="4229027"/>
                  <a:pt x="5250626" y="4227581"/>
                </a:cubicBezTo>
                <a:cubicBezTo>
                  <a:pt x="5250781" y="4223245"/>
                  <a:pt x="5252950" y="4220767"/>
                  <a:pt x="5256357" y="4219837"/>
                </a:cubicBezTo>
                <a:close/>
                <a:moveTo>
                  <a:pt x="1414009" y="4217032"/>
                </a:moveTo>
                <a:cubicBezTo>
                  <a:pt x="1417262" y="4218993"/>
                  <a:pt x="1420050" y="4219716"/>
                  <a:pt x="1421754" y="4220749"/>
                </a:cubicBezTo>
                <a:cubicBezTo>
                  <a:pt x="1420980" y="4223537"/>
                  <a:pt x="1419586" y="4225395"/>
                  <a:pt x="1418036" y="4226221"/>
                </a:cubicBezTo>
                <a:cubicBezTo>
                  <a:pt x="1417108" y="4226634"/>
                  <a:pt x="1416178" y="4226738"/>
                  <a:pt x="1415248" y="4226634"/>
                </a:cubicBezTo>
                <a:lnTo>
                  <a:pt x="1414474" y="4226428"/>
                </a:lnTo>
                <a:lnTo>
                  <a:pt x="1415403" y="4227564"/>
                </a:lnTo>
                <a:cubicBezTo>
                  <a:pt x="1416023" y="4228906"/>
                  <a:pt x="1416178" y="4230248"/>
                  <a:pt x="1414939" y="4231487"/>
                </a:cubicBezTo>
                <a:cubicBezTo>
                  <a:pt x="1410757" y="4231281"/>
                  <a:pt x="1408124" y="4226841"/>
                  <a:pt x="1412150" y="4223434"/>
                </a:cubicBezTo>
                <a:lnTo>
                  <a:pt x="1412306" y="4223640"/>
                </a:lnTo>
                <a:lnTo>
                  <a:pt x="1412925" y="4221162"/>
                </a:lnTo>
                <a:cubicBezTo>
                  <a:pt x="1412925" y="4219819"/>
                  <a:pt x="1413080" y="4218580"/>
                  <a:pt x="1414009" y="4217032"/>
                </a:cubicBezTo>
                <a:close/>
                <a:moveTo>
                  <a:pt x="4899631" y="4216946"/>
                </a:moveTo>
                <a:cubicBezTo>
                  <a:pt x="4899011" y="4217772"/>
                  <a:pt x="4899011" y="4217772"/>
                  <a:pt x="4899941" y="4218495"/>
                </a:cubicBezTo>
                <a:cubicBezTo>
                  <a:pt x="4899941" y="4218495"/>
                  <a:pt x="4899941" y="4218598"/>
                  <a:pt x="4900715" y="4218495"/>
                </a:cubicBezTo>
                <a:cubicBezTo>
                  <a:pt x="4900870" y="4219321"/>
                  <a:pt x="4900096" y="4219321"/>
                  <a:pt x="4900096" y="4220147"/>
                </a:cubicBezTo>
                <a:cubicBezTo>
                  <a:pt x="4900096" y="4220147"/>
                  <a:pt x="4899321" y="4220250"/>
                  <a:pt x="4899321" y="4220250"/>
                </a:cubicBezTo>
                <a:cubicBezTo>
                  <a:pt x="4899476" y="4220663"/>
                  <a:pt x="4899476" y="4220663"/>
                  <a:pt x="4899166" y="4220457"/>
                </a:cubicBezTo>
                <a:cubicBezTo>
                  <a:pt x="4899011" y="4220250"/>
                  <a:pt x="4898547" y="4219837"/>
                  <a:pt x="4897618" y="4219528"/>
                </a:cubicBezTo>
                <a:cubicBezTo>
                  <a:pt x="4896688" y="4218702"/>
                  <a:pt x="4895914" y="4218805"/>
                  <a:pt x="4896533" y="4217978"/>
                </a:cubicBezTo>
                <a:cubicBezTo>
                  <a:pt x="4897308" y="4217049"/>
                  <a:pt x="4897308" y="4217049"/>
                  <a:pt x="4899631" y="4216946"/>
                </a:cubicBezTo>
                <a:close/>
                <a:moveTo>
                  <a:pt x="5623810" y="4216727"/>
                </a:moveTo>
                <a:cubicBezTo>
                  <a:pt x="5628263" y="4218004"/>
                  <a:pt x="5632368" y="4220715"/>
                  <a:pt x="5635389" y="4224794"/>
                </a:cubicBezTo>
                <a:cubicBezTo>
                  <a:pt x="5634614" y="4225826"/>
                  <a:pt x="5633994" y="4226859"/>
                  <a:pt x="5634924" y="4227478"/>
                </a:cubicBezTo>
                <a:cubicBezTo>
                  <a:pt x="5631051" y="4234809"/>
                  <a:pt x="5623152" y="4238836"/>
                  <a:pt x="5615407" y="4239456"/>
                </a:cubicBezTo>
                <a:cubicBezTo>
                  <a:pt x="5607507" y="4239972"/>
                  <a:pt x="5600072" y="4236874"/>
                  <a:pt x="5596974" y="4229957"/>
                </a:cubicBezTo>
                <a:cubicBezTo>
                  <a:pt x="5599917" y="4223451"/>
                  <a:pt x="5604719" y="4219321"/>
                  <a:pt x="5610140" y="4217256"/>
                </a:cubicBezTo>
                <a:cubicBezTo>
                  <a:pt x="5614555" y="4215604"/>
                  <a:pt x="5619357" y="4215449"/>
                  <a:pt x="5623810" y="4216727"/>
                </a:cubicBezTo>
                <a:close/>
                <a:moveTo>
                  <a:pt x="5302206" y="4216430"/>
                </a:moveTo>
                <a:cubicBezTo>
                  <a:pt x="5304840" y="4220663"/>
                  <a:pt x="5300193" y="4227685"/>
                  <a:pt x="5296940" y="4231196"/>
                </a:cubicBezTo>
                <a:cubicBezTo>
                  <a:pt x="5294772" y="4230369"/>
                  <a:pt x="5293532" y="4231918"/>
                  <a:pt x="5291364" y="4231092"/>
                </a:cubicBezTo>
                <a:cubicBezTo>
                  <a:pt x="5294152" y="4224071"/>
                  <a:pt x="5296630" y="4216327"/>
                  <a:pt x="5302206" y="4216430"/>
                </a:cubicBezTo>
                <a:close/>
                <a:moveTo>
                  <a:pt x="1471476" y="4213521"/>
                </a:moveTo>
                <a:cubicBezTo>
                  <a:pt x="1476897" y="4213934"/>
                  <a:pt x="1481080" y="4216102"/>
                  <a:pt x="1484797" y="4215276"/>
                </a:cubicBezTo>
                <a:cubicBezTo>
                  <a:pt x="1484797" y="4215276"/>
                  <a:pt x="1484797" y="4215173"/>
                  <a:pt x="1486501" y="4217135"/>
                </a:cubicBezTo>
                <a:cubicBezTo>
                  <a:pt x="1487276" y="4217238"/>
                  <a:pt x="1487276" y="4217238"/>
                  <a:pt x="1487276" y="4217238"/>
                </a:cubicBezTo>
                <a:cubicBezTo>
                  <a:pt x="1488050" y="4217341"/>
                  <a:pt x="1488050" y="4219097"/>
                  <a:pt x="1488050" y="4219097"/>
                </a:cubicBezTo>
                <a:cubicBezTo>
                  <a:pt x="1487585" y="4219923"/>
                  <a:pt x="1486811" y="4220026"/>
                  <a:pt x="1485881" y="4219923"/>
                </a:cubicBezTo>
                <a:cubicBezTo>
                  <a:pt x="1484952" y="4219819"/>
                  <a:pt x="1483868" y="4219406"/>
                  <a:pt x="1483093" y="4219303"/>
                </a:cubicBezTo>
                <a:cubicBezTo>
                  <a:pt x="1482164" y="4220955"/>
                  <a:pt x="1479685" y="4217238"/>
                  <a:pt x="1478911" y="4218890"/>
                </a:cubicBezTo>
                <a:cubicBezTo>
                  <a:pt x="1475658" y="4214967"/>
                  <a:pt x="1471321" y="4218787"/>
                  <a:pt x="1465590" y="4213727"/>
                </a:cubicBezTo>
                <a:cubicBezTo>
                  <a:pt x="1467758" y="4213314"/>
                  <a:pt x="1469617" y="4213314"/>
                  <a:pt x="1471476" y="4213521"/>
                </a:cubicBezTo>
                <a:close/>
                <a:moveTo>
                  <a:pt x="1489444" y="4211559"/>
                </a:moveTo>
                <a:cubicBezTo>
                  <a:pt x="1493316" y="4210526"/>
                  <a:pt x="1498118" y="4211972"/>
                  <a:pt x="1501836" y="4212798"/>
                </a:cubicBezTo>
                <a:cubicBezTo>
                  <a:pt x="1499202" y="4215276"/>
                  <a:pt x="1495485" y="4214450"/>
                  <a:pt x="1494401" y="4221265"/>
                </a:cubicBezTo>
                <a:cubicBezTo>
                  <a:pt x="1491612" y="4218271"/>
                  <a:pt x="1489754" y="4215173"/>
                  <a:pt x="1489444" y="4211559"/>
                </a:cubicBezTo>
                <a:close/>
                <a:moveTo>
                  <a:pt x="1393873" y="4209804"/>
                </a:moveTo>
                <a:cubicBezTo>
                  <a:pt x="1395422" y="4210526"/>
                  <a:pt x="1397900" y="4211249"/>
                  <a:pt x="1398210" y="4213521"/>
                </a:cubicBezTo>
                <a:cubicBezTo>
                  <a:pt x="1398365" y="4214347"/>
                  <a:pt x="1398210" y="4215173"/>
                  <a:pt x="1397590" y="4216309"/>
                </a:cubicBezTo>
                <a:cubicBezTo>
                  <a:pt x="1397900" y="4217135"/>
                  <a:pt x="1394803" y="4219200"/>
                  <a:pt x="1393873" y="4218787"/>
                </a:cubicBezTo>
                <a:cubicBezTo>
                  <a:pt x="1393099" y="4218580"/>
                  <a:pt x="1392634" y="4218271"/>
                  <a:pt x="1392324" y="4217858"/>
                </a:cubicBezTo>
                <a:cubicBezTo>
                  <a:pt x="1391395" y="4216618"/>
                  <a:pt x="1391704" y="4214140"/>
                  <a:pt x="1391704" y="4211559"/>
                </a:cubicBezTo>
                <a:cubicBezTo>
                  <a:pt x="1392634" y="4211972"/>
                  <a:pt x="1393253" y="4210939"/>
                  <a:pt x="1393873" y="4209804"/>
                </a:cubicBezTo>
                <a:close/>
                <a:moveTo>
                  <a:pt x="1415248" y="4209597"/>
                </a:moveTo>
                <a:cubicBezTo>
                  <a:pt x="1416333" y="4213521"/>
                  <a:pt x="1416333" y="4212282"/>
                  <a:pt x="1415558" y="4216412"/>
                </a:cubicBezTo>
                <a:cubicBezTo>
                  <a:pt x="1413235" y="4215999"/>
                  <a:pt x="1410912" y="4215586"/>
                  <a:pt x="1408434" y="4215276"/>
                </a:cubicBezTo>
                <a:cubicBezTo>
                  <a:pt x="1409208" y="4213521"/>
                  <a:pt x="1408588" y="4211559"/>
                  <a:pt x="1408743" y="4210320"/>
                </a:cubicBezTo>
                <a:cubicBezTo>
                  <a:pt x="1410602" y="4208771"/>
                  <a:pt x="1412460" y="4208461"/>
                  <a:pt x="1415248" y="4209597"/>
                </a:cubicBezTo>
                <a:close/>
                <a:moveTo>
                  <a:pt x="5447035" y="4209099"/>
                </a:moveTo>
                <a:cubicBezTo>
                  <a:pt x="5452611" y="4209305"/>
                  <a:pt x="5454005" y="4213642"/>
                  <a:pt x="5453076" y="4218702"/>
                </a:cubicBezTo>
                <a:cubicBezTo>
                  <a:pt x="5451682" y="4225000"/>
                  <a:pt x="5446725" y="4232538"/>
                  <a:pt x="5441458" y="4234190"/>
                </a:cubicBezTo>
                <a:lnTo>
                  <a:pt x="5440994" y="4234087"/>
                </a:lnTo>
                <a:lnTo>
                  <a:pt x="5440839" y="4241005"/>
                </a:lnTo>
                <a:cubicBezTo>
                  <a:pt x="5440374" y="4243483"/>
                  <a:pt x="5439600" y="4246064"/>
                  <a:pt x="5438360" y="4248542"/>
                </a:cubicBezTo>
                <a:cubicBezTo>
                  <a:pt x="5437276" y="4248439"/>
                  <a:pt x="5436037" y="4248439"/>
                  <a:pt x="5436037" y="4249678"/>
                </a:cubicBezTo>
                <a:cubicBezTo>
                  <a:pt x="5428292" y="4249988"/>
                  <a:pt x="5421787" y="4244722"/>
                  <a:pt x="5418379" y="4237701"/>
                </a:cubicBezTo>
                <a:cubicBezTo>
                  <a:pt x="5415900" y="4232538"/>
                  <a:pt x="5415126" y="4226342"/>
                  <a:pt x="5416830" y="4220870"/>
                </a:cubicBezTo>
                <a:lnTo>
                  <a:pt x="5417295" y="4220044"/>
                </a:lnTo>
                <a:lnTo>
                  <a:pt x="5416210" y="4221076"/>
                </a:lnTo>
                <a:cubicBezTo>
                  <a:pt x="5414971" y="4221386"/>
                  <a:pt x="5414971" y="4221386"/>
                  <a:pt x="5414352" y="4220870"/>
                </a:cubicBezTo>
                <a:cubicBezTo>
                  <a:pt x="5412493" y="4220767"/>
                  <a:pt x="5411254" y="4221180"/>
                  <a:pt x="5410324" y="4219528"/>
                </a:cubicBezTo>
                <a:cubicBezTo>
                  <a:pt x="5409860" y="4218082"/>
                  <a:pt x="5410014" y="4217049"/>
                  <a:pt x="5410634" y="4216223"/>
                </a:cubicBezTo>
                <a:cubicBezTo>
                  <a:pt x="5411408" y="4215397"/>
                  <a:pt x="5412493" y="4214778"/>
                  <a:pt x="5413887" y="4214055"/>
                </a:cubicBezTo>
                <a:cubicBezTo>
                  <a:pt x="5416675" y="4212609"/>
                  <a:pt x="5418379" y="4214778"/>
                  <a:pt x="5420702" y="4214055"/>
                </a:cubicBezTo>
                <a:lnTo>
                  <a:pt x="5420238" y="4215604"/>
                </a:lnTo>
                <a:lnTo>
                  <a:pt x="5428602" y="4216533"/>
                </a:lnTo>
                <a:cubicBezTo>
                  <a:pt x="5431235" y="4217566"/>
                  <a:pt x="5433559" y="4219114"/>
                  <a:pt x="5435418" y="4221076"/>
                </a:cubicBezTo>
                <a:lnTo>
                  <a:pt x="5438051" y="4225103"/>
                </a:lnTo>
                <a:lnTo>
                  <a:pt x="5438825" y="4221489"/>
                </a:lnTo>
                <a:cubicBezTo>
                  <a:pt x="5440529" y="4217359"/>
                  <a:pt x="5443007" y="4213126"/>
                  <a:pt x="5447035" y="4209099"/>
                </a:cubicBezTo>
                <a:close/>
                <a:moveTo>
                  <a:pt x="5195793" y="4208789"/>
                </a:moveTo>
                <a:cubicBezTo>
                  <a:pt x="5195793" y="4208789"/>
                  <a:pt x="5196413" y="4209305"/>
                  <a:pt x="5196413" y="4209305"/>
                </a:cubicBezTo>
                <a:cubicBezTo>
                  <a:pt x="5196103" y="4210028"/>
                  <a:pt x="5196567" y="4209305"/>
                  <a:pt x="5197652" y="4208996"/>
                </a:cubicBezTo>
                <a:cubicBezTo>
                  <a:pt x="5198891" y="4210544"/>
                  <a:pt x="5199665" y="4211061"/>
                  <a:pt x="5199975" y="4212300"/>
                </a:cubicBezTo>
                <a:cubicBezTo>
                  <a:pt x="5200285" y="4212816"/>
                  <a:pt x="5200285" y="4213539"/>
                  <a:pt x="5200285" y="4214262"/>
                </a:cubicBezTo>
                <a:cubicBezTo>
                  <a:pt x="5200285" y="4214881"/>
                  <a:pt x="5199975" y="4215501"/>
                  <a:pt x="5199356" y="4215707"/>
                </a:cubicBezTo>
                <a:cubicBezTo>
                  <a:pt x="5198581" y="4215191"/>
                  <a:pt x="5198271" y="4216017"/>
                  <a:pt x="5197497" y="4215501"/>
                </a:cubicBezTo>
                <a:cubicBezTo>
                  <a:pt x="5195638" y="4215397"/>
                  <a:pt x="5194863" y="4214984"/>
                  <a:pt x="5194399" y="4213848"/>
                </a:cubicBezTo>
                <a:cubicBezTo>
                  <a:pt x="5193624" y="4213332"/>
                  <a:pt x="5193934" y="4212609"/>
                  <a:pt x="5193624" y="4211370"/>
                </a:cubicBezTo>
                <a:cubicBezTo>
                  <a:pt x="5193934" y="4210647"/>
                  <a:pt x="5195018" y="4210338"/>
                  <a:pt x="5195018" y="4210338"/>
                </a:cubicBezTo>
                <a:cubicBezTo>
                  <a:pt x="5196103" y="4210028"/>
                  <a:pt x="5196258" y="4210028"/>
                  <a:pt x="5195793" y="4208789"/>
                </a:cubicBezTo>
                <a:close/>
                <a:moveTo>
                  <a:pt x="5252795" y="4206827"/>
                </a:moveTo>
                <a:cubicBezTo>
                  <a:pt x="5254344" y="4205795"/>
                  <a:pt x="5254963" y="4209408"/>
                  <a:pt x="5255583" y="4209822"/>
                </a:cubicBezTo>
                <a:cubicBezTo>
                  <a:pt x="5255893" y="4210957"/>
                  <a:pt x="5256048" y="4212196"/>
                  <a:pt x="5254808" y="4212506"/>
                </a:cubicBezTo>
                <a:cubicBezTo>
                  <a:pt x="5254344" y="4212713"/>
                  <a:pt x="5253879" y="4212919"/>
                  <a:pt x="5253569" y="4212919"/>
                </a:cubicBezTo>
                <a:cubicBezTo>
                  <a:pt x="5253105" y="4213022"/>
                  <a:pt x="5252795" y="4212713"/>
                  <a:pt x="5252330" y="4211887"/>
                </a:cubicBezTo>
                <a:cubicBezTo>
                  <a:pt x="5251710" y="4211473"/>
                  <a:pt x="5251556" y="4210338"/>
                  <a:pt x="5250781" y="4209822"/>
                </a:cubicBezTo>
                <a:cubicBezTo>
                  <a:pt x="5250781" y="4209822"/>
                  <a:pt x="5250936" y="4209202"/>
                  <a:pt x="5251401" y="4208479"/>
                </a:cubicBezTo>
                <a:cubicBezTo>
                  <a:pt x="5251710" y="4207756"/>
                  <a:pt x="5252175" y="4207034"/>
                  <a:pt x="5252795" y="4206827"/>
                </a:cubicBezTo>
                <a:close/>
                <a:moveTo>
                  <a:pt x="1228599" y="4206809"/>
                </a:moveTo>
                <a:lnTo>
                  <a:pt x="1228599" y="4207429"/>
                </a:lnTo>
                <a:lnTo>
                  <a:pt x="1229373" y="4207222"/>
                </a:lnTo>
                <a:close/>
                <a:moveTo>
                  <a:pt x="5491335" y="4205691"/>
                </a:moveTo>
                <a:cubicBezTo>
                  <a:pt x="5492265" y="4207446"/>
                  <a:pt x="5491490" y="4209202"/>
                  <a:pt x="5490715" y="4210854"/>
                </a:cubicBezTo>
                <a:cubicBezTo>
                  <a:pt x="5489941" y="4212093"/>
                  <a:pt x="5489012" y="4212506"/>
                  <a:pt x="5488237" y="4212300"/>
                </a:cubicBezTo>
                <a:cubicBezTo>
                  <a:pt x="5487308" y="4212196"/>
                  <a:pt x="5486533" y="4211473"/>
                  <a:pt x="5485604" y="4210544"/>
                </a:cubicBezTo>
                <a:cubicBezTo>
                  <a:pt x="5483745" y="4208789"/>
                  <a:pt x="5484520" y="4207137"/>
                  <a:pt x="5484520" y="4207137"/>
                </a:cubicBezTo>
                <a:cubicBezTo>
                  <a:pt x="5486223" y="4204556"/>
                  <a:pt x="5488702" y="4203833"/>
                  <a:pt x="5491335" y="4205691"/>
                </a:cubicBezTo>
                <a:close/>
                <a:moveTo>
                  <a:pt x="5563207" y="4204349"/>
                </a:moveTo>
                <a:cubicBezTo>
                  <a:pt x="5563981" y="4205278"/>
                  <a:pt x="5565376" y="4206311"/>
                  <a:pt x="5565995" y="4208169"/>
                </a:cubicBezTo>
                <a:cubicBezTo>
                  <a:pt x="5565066" y="4209615"/>
                  <a:pt x="5564291" y="4210131"/>
                  <a:pt x="5563517" y="4210235"/>
                </a:cubicBezTo>
                <a:cubicBezTo>
                  <a:pt x="5562742" y="4210235"/>
                  <a:pt x="5562123" y="4209718"/>
                  <a:pt x="5561658" y="4208996"/>
                </a:cubicBezTo>
                <a:cubicBezTo>
                  <a:pt x="5560883" y="4207446"/>
                  <a:pt x="5561038" y="4205072"/>
                  <a:pt x="5563207" y="4204349"/>
                </a:cubicBezTo>
                <a:close/>
                <a:moveTo>
                  <a:pt x="1349108" y="4203505"/>
                </a:moveTo>
                <a:cubicBezTo>
                  <a:pt x="1355613" y="4212075"/>
                  <a:pt x="1348334" y="4222814"/>
                  <a:pt x="1343532" y="4226944"/>
                </a:cubicBezTo>
                <a:cubicBezTo>
                  <a:pt x="1343532" y="4223020"/>
                  <a:pt x="1343532" y="4218993"/>
                  <a:pt x="1344151" y="4215070"/>
                </a:cubicBezTo>
                <a:cubicBezTo>
                  <a:pt x="1344771" y="4211043"/>
                  <a:pt x="1346165" y="4207222"/>
                  <a:pt x="1349108" y="4203505"/>
                </a:cubicBezTo>
                <a:close/>
                <a:moveTo>
                  <a:pt x="4866019" y="4202800"/>
                </a:moveTo>
                <a:cubicBezTo>
                  <a:pt x="4870201" y="4202284"/>
                  <a:pt x="4871440" y="4206311"/>
                  <a:pt x="4874383" y="4209305"/>
                </a:cubicBezTo>
                <a:cubicBezTo>
                  <a:pt x="4873919" y="4210028"/>
                  <a:pt x="4874073" y="4211267"/>
                  <a:pt x="4874848" y="4211680"/>
                </a:cubicBezTo>
                <a:cubicBezTo>
                  <a:pt x="4875003" y="4212919"/>
                  <a:pt x="4875157" y="4214055"/>
                  <a:pt x="4875622" y="4213332"/>
                </a:cubicBezTo>
                <a:cubicBezTo>
                  <a:pt x="4876242" y="4216843"/>
                  <a:pt x="4877016" y="4217359"/>
                  <a:pt x="4874848" y="4219114"/>
                </a:cubicBezTo>
                <a:cubicBezTo>
                  <a:pt x="4869891" y="4214881"/>
                  <a:pt x="4865554" y="4207860"/>
                  <a:pt x="4864625" y="4206207"/>
                </a:cubicBezTo>
                <a:cubicBezTo>
                  <a:pt x="4864160" y="4205485"/>
                  <a:pt x="4864160" y="4204865"/>
                  <a:pt x="4864315" y="4204349"/>
                </a:cubicBezTo>
                <a:cubicBezTo>
                  <a:pt x="4864625" y="4203833"/>
                  <a:pt x="4865089" y="4203316"/>
                  <a:pt x="4866019" y="4202800"/>
                </a:cubicBezTo>
                <a:close/>
                <a:moveTo>
                  <a:pt x="1378074" y="4202369"/>
                </a:moveTo>
                <a:cubicBezTo>
                  <a:pt x="1380862" y="4202472"/>
                  <a:pt x="1385664" y="4204021"/>
                  <a:pt x="1386283" y="4204124"/>
                </a:cubicBezTo>
                <a:lnTo>
                  <a:pt x="1387213" y="4204228"/>
                </a:lnTo>
                <a:lnTo>
                  <a:pt x="1390930" y="4204434"/>
                </a:lnTo>
                <a:cubicBezTo>
                  <a:pt x="1392479" y="4208255"/>
                  <a:pt x="1388142" y="4212178"/>
                  <a:pt x="1385973" y="4214553"/>
                </a:cubicBezTo>
                <a:cubicBezTo>
                  <a:pt x="1383030" y="4212798"/>
                  <a:pt x="1380087" y="4211043"/>
                  <a:pt x="1379623" y="4208565"/>
                </a:cubicBezTo>
                <a:lnTo>
                  <a:pt x="1382256" y="4206190"/>
                </a:lnTo>
                <a:lnTo>
                  <a:pt x="1382101" y="4206086"/>
                </a:lnTo>
                <a:cubicBezTo>
                  <a:pt x="1380397" y="4205054"/>
                  <a:pt x="1379468" y="4205054"/>
                  <a:pt x="1377764" y="4205673"/>
                </a:cubicBezTo>
                <a:cubicBezTo>
                  <a:pt x="1377764" y="4205673"/>
                  <a:pt x="1377919" y="4205673"/>
                  <a:pt x="1376214" y="4203711"/>
                </a:cubicBezTo>
                <a:lnTo>
                  <a:pt x="1376214" y="4202885"/>
                </a:lnTo>
                <a:cubicBezTo>
                  <a:pt x="1376524" y="4202472"/>
                  <a:pt x="1377145" y="4202369"/>
                  <a:pt x="1378074" y="4202369"/>
                </a:cubicBezTo>
                <a:close/>
                <a:moveTo>
                  <a:pt x="1225191" y="4202266"/>
                </a:moveTo>
                <a:lnTo>
                  <a:pt x="1221784" y="4203092"/>
                </a:lnTo>
                <a:cubicBezTo>
                  <a:pt x="1216052" y="4204744"/>
                  <a:pt x="1210940" y="4205777"/>
                  <a:pt x="1206293" y="4207945"/>
                </a:cubicBezTo>
                <a:cubicBezTo>
                  <a:pt x="1207533" y="4205777"/>
                  <a:pt x="1206913" y="4204744"/>
                  <a:pt x="1204125" y="4204744"/>
                </a:cubicBezTo>
                <a:cubicBezTo>
                  <a:pt x="1204590" y="4207429"/>
                  <a:pt x="1197154" y="4210630"/>
                  <a:pt x="1201802" y="4212282"/>
                </a:cubicBezTo>
                <a:cubicBezTo>
                  <a:pt x="1200098" y="4213831"/>
                  <a:pt x="1195606" y="4215482"/>
                  <a:pt x="1193902" y="4214967"/>
                </a:cubicBezTo>
                <a:cubicBezTo>
                  <a:pt x="1192663" y="4215999"/>
                  <a:pt x="1193282" y="4217651"/>
                  <a:pt x="1193902" y="4221368"/>
                </a:cubicBezTo>
                <a:cubicBezTo>
                  <a:pt x="1199013" y="4219819"/>
                  <a:pt x="1205674" y="4217961"/>
                  <a:pt x="1207223" y="4215276"/>
                </a:cubicBezTo>
                <a:lnTo>
                  <a:pt x="1207068" y="4213211"/>
                </a:lnTo>
                <a:lnTo>
                  <a:pt x="1205674" y="4213831"/>
                </a:lnTo>
                <a:cubicBezTo>
                  <a:pt x="1203816" y="4210630"/>
                  <a:pt x="1207533" y="4208048"/>
                  <a:pt x="1209546" y="4209081"/>
                </a:cubicBezTo>
                <a:cubicBezTo>
                  <a:pt x="1210166" y="4209391"/>
                  <a:pt x="1210631" y="4210216"/>
                  <a:pt x="1210631" y="4211456"/>
                </a:cubicBezTo>
                <a:lnTo>
                  <a:pt x="1207843" y="4212695"/>
                </a:lnTo>
                <a:lnTo>
                  <a:pt x="1209546" y="4213521"/>
                </a:lnTo>
                <a:cubicBezTo>
                  <a:pt x="1210011" y="4214244"/>
                  <a:pt x="1210631" y="4214967"/>
                  <a:pt x="1212025" y="4214347"/>
                </a:cubicBezTo>
                <a:cubicBezTo>
                  <a:pt x="1216362" y="4211972"/>
                  <a:pt x="1219305" y="4208668"/>
                  <a:pt x="1226120" y="4205570"/>
                </a:cubicBezTo>
                <a:lnTo>
                  <a:pt x="1226740" y="4205260"/>
                </a:lnTo>
                <a:lnTo>
                  <a:pt x="1225191" y="4203092"/>
                </a:lnTo>
                <a:close/>
                <a:moveTo>
                  <a:pt x="5512246" y="4201251"/>
                </a:moveTo>
                <a:cubicBezTo>
                  <a:pt x="5512711" y="4203729"/>
                  <a:pt x="5517977" y="4202800"/>
                  <a:pt x="5518597" y="4206414"/>
                </a:cubicBezTo>
                <a:cubicBezTo>
                  <a:pt x="5521540" y="4216843"/>
                  <a:pt x="5518752" y="4218289"/>
                  <a:pt x="5513175" y="4222315"/>
                </a:cubicBezTo>
                <a:cubicBezTo>
                  <a:pt x="5513640" y="4221593"/>
                  <a:pt x="5512556" y="4221902"/>
                  <a:pt x="5512556" y="4221902"/>
                </a:cubicBezTo>
                <a:cubicBezTo>
                  <a:pt x="5510233" y="4222522"/>
                  <a:pt x="5513795" y="4225930"/>
                  <a:pt x="5511007" y="4227375"/>
                </a:cubicBezTo>
                <a:cubicBezTo>
                  <a:pt x="5509768" y="4227788"/>
                  <a:pt x="5508683" y="4227788"/>
                  <a:pt x="5507599" y="4227581"/>
                </a:cubicBezTo>
                <a:cubicBezTo>
                  <a:pt x="5504346" y="4226962"/>
                  <a:pt x="5501713" y="4224071"/>
                  <a:pt x="5500164" y="4222212"/>
                </a:cubicBezTo>
                <a:lnTo>
                  <a:pt x="5499854" y="4221696"/>
                </a:lnTo>
                <a:lnTo>
                  <a:pt x="5498770" y="4221283"/>
                </a:lnTo>
                <a:lnTo>
                  <a:pt x="5498615" y="4221593"/>
                </a:lnTo>
                <a:lnTo>
                  <a:pt x="5498460" y="4221180"/>
                </a:lnTo>
                <a:lnTo>
                  <a:pt x="5496601" y="4220457"/>
                </a:lnTo>
                <a:lnTo>
                  <a:pt x="5497221" y="4219011"/>
                </a:lnTo>
                <a:lnTo>
                  <a:pt x="5496446" y="4216430"/>
                </a:lnTo>
                <a:cubicBezTo>
                  <a:pt x="5496446" y="4215501"/>
                  <a:pt x="5496757" y="4214984"/>
                  <a:pt x="5497996" y="4214674"/>
                </a:cubicBezTo>
                <a:cubicBezTo>
                  <a:pt x="5499544" y="4213539"/>
                  <a:pt x="5500474" y="4215191"/>
                  <a:pt x="5502797" y="4214571"/>
                </a:cubicBezTo>
                <a:cubicBezTo>
                  <a:pt x="5504811" y="4213745"/>
                  <a:pt x="5505121" y="4211267"/>
                  <a:pt x="5506050" y="4208582"/>
                </a:cubicBezTo>
                <a:lnTo>
                  <a:pt x="5507599" y="4205588"/>
                </a:lnTo>
                <a:lnTo>
                  <a:pt x="5506670" y="4206414"/>
                </a:lnTo>
                <a:cubicBezTo>
                  <a:pt x="5502952" y="4208479"/>
                  <a:pt x="5497221" y="4209511"/>
                  <a:pt x="5494278" y="4205278"/>
                </a:cubicBezTo>
                <a:cubicBezTo>
                  <a:pt x="5497221" y="4202077"/>
                  <a:pt x="5499854" y="4201251"/>
                  <a:pt x="5502332" y="4201458"/>
                </a:cubicBezTo>
                <a:lnTo>
                  <a:pt x="5508993" y="4203833"/>
                </a:lnTo>
                <a:close/>
                <a:moveTo>
                  <a:pt x="665396" y="4200820"/>
                </a:moveTo>
                <a:cubicBezTo>
                  <a:pt x="667254" y="4200614"/>
                  <a:pt x="667564" y="4203402"/>
                  <a:pt x="668339" y="4204847"/>
                </a:cubicBezTo>
                <a:cubicBezTo>
                  <a:pt x="670197" y="4204641"/>
                  <a:pt x="668339" y="4208668"/>
                  <a:pt x="670197" y="4208461"/>
                </a:cubicBezTo>
                <a:cubicBezTo>
                  <a:pt x="668803" y="4213211"/>
                  <a:pt x="674380" y="4214657"/>
                  <a:pt x="673296" y="4222091"/>
                </a:cubicBezTo>
                <a:cubicBezTo>
                  <a:pt x="671901" y="4220645"/>
                  <a:pt x="670662" y="4218993"/>
                  <a:pt x="669887" y="4217444"/>
                </a:cubicBezTo>
                <a:cubicBezTo>
                  <a:pt x="667254" y="4212798"/>
                  <a:pt x="666635" y="4208255"/>
                  <a:pt x="663847" y="4205673"/>
                </a:cubicBezTo>
                <a:cubicBezTo>
                  <a:pt x="663847" y="4205673"/>
                  <a:pt x="663847" y="4205673"/>
                  <a:pt x="664621" y="4203299"/>
                </a:cubicBezTo>
                <a:cubicBezTo>
                  <a:pt x="664312" y="4202576"/>
                  <a:pt x="664312" y="4202472"/>
                  <a:pt x="664312" y="4202472"/>
                </a:cubicBezTo>
                <a:cubicBezTo>
                  <a:pt x="663847" y="4201749"/>
                  <a:pt x="665396" y="4200820"/>
                  <a:pt x="665396" y="4200820"/>
                </a:cubicBezTo>
                <a:close/>
                <a:moveTo>
                  <a:pt x="5384147" y="4199909"/>
                </a:moveTo>
                <a:cubicBezTo>
                  <a:pt x="5387245" y="4199083"/>
                  <a:pt x="5390962" y="4200632"/>
                  <a:pt x="5391892" y="4205278"/>
                </a:cubicBezTo>
                <a:cubicBezTo>
                  <a:pt x="5389878" y="4208582"/>
                  <a:pt x="5387554" y="4210131"/>
                  <a:pt x="5386160" y="4211370"/>
                </a:cubicBezTo>
                <a:cubicBezTo>
                  <a:pt x="5384147" y="4210235"/>
                  <a:pt x="5382443" y="4209822"/>
                  <a:pt x="5380429" y="4208686"/>
                </a:cubicBezTo>
                <a:cubicBezTo>
                  <a:pt x="5378571" y="4203833"/>
                  <a:pt x="5381049" y="4200632"/>
                  <a:pt x="5384147" y="4199909"/>
                </a:cubicBezTo>
                <a:close/>
                <a:moveTo>
                  <a:pt x="5904288" y="4199186"/>
                </a:moveTo>
                <a:lnTo>
                  <a:pt x="5904908" y="4201664"/>
                </a:lnTo>
                <a:lnTo>
                  <a:pt x="5907231" y="4201251"/>
                </a:lnTo>
                <a:close/>
                <a:moveTo>
                  <a:pt x="5659552" y="4198876"/>
                </a:moveTo>
                <a:lnTo>
                  <a:pt x="5660946" y="4202490"/>
                </a:lnTo>
                <a:lnTo>
                  <a:pt x="5661256" y="4202077"/>
                </a:lnTo>
                <a:cubicBezTo>
                  <a:pt x="5667297" y="4208996"/>
                  <a:pt x="5665129" y="4220354"/>
                  <a:pt x="5662340" y="4225310"/>
                </a:cubicBezTo>
                <a:cubicBezTo>
                  <a:pt x="5660792" y="4223658"/>
                  <a:pt x="5659707" y="4221593"/>
                  <a:pt x="5658933" y="4219321"/>
                </a:cubicBezTo>
                <a:lnTo>
                  <a:pt x="5658158" y="4214055"/>
                </a:lnTo>
                <a:lnTo>
                  <a:pt x="5656764" y="4214365"/>
                </a:lnTo>
                <a:lnTo>
                  <a:pt x="5656145" y="4214262"/>
                </a:lnTo>
                <a:lnTo>
                  <a:pt x="5658003" y="4217049"/>
                </a:lnTo>
                <a:cubicBezTo>
                  <a:pt x="5660327" y="4222625"/>
                  <a:pt x="5658623" y="4228304"/>
                  <a:pt x="5657074" y="4234087"/>
                </a:cubicBezTo>
                <a:cubicBezTo>
                  <a:pt x="5655060" y="4233157"/>
                  <a:pt x="5653666" y="4231608"/>
                  <a:pt x="5652892" y="4229853"/>
                </a:cubicBezTo>
                <a:lnTo>
                  <a:pt x="5652582" y="4229027"/>
                </a:lnTo>
                <a:lnTo>
                  <a:pt x="5652582" y="4230369"/>
                </a:lnTo>
                <a:cubicBezTo>
                  <a:pt x="5652582" y="4237701"/>
                  <a:pt x="5655060" y="4244929"/>
                  <a:pt x="5650569" y="4249885"/>
                </a:cubicBezTo>
                <a:cubicBezTo>
                  <a:pt x="5649794" y="4246787"/>
                  <a:pt x="5647935" y="4243173"/>
                  <a:pt x="5646386" y="4239663"/>
                </a:cubicBezTo>
                <a:cubicBezTo>
                  <a:pt x="5644837" y="4236152"/>
                  <a:pt x="5643598" y="4232744"/>
                  <a:pt x="5643908" y="4229853"/>
                </a:cubicBezTo>
                <a:lnTo>
                  <a:pt x="5644992" y="4226859"/>
                </a:lnTo>
                <a:lnTo>
                  <a:pt x="5644372" y="4226549"/>
                </a:lnTo>
                <a:cubicBezTo>
                  <a:pt x="5646386" y="4224897"/>
                  <a:pt x="5645767" y="4223038"/>
                  <a:pt x="5647625" y="4221489"/>
                </a:cubicBezTo>
                <a:lnTo>
                  <a:pt x="5649949" y="4223864"/>
                </a:lnTo>
                <a:lnTo>
                  <a:pt x="5651653" y="4223451"/>
                </a:lnTo>
                <a:lnTo>
                  <a:pt x="5652272" y="4217359"/>
                </a:lnTo>
                <a:lnTo>
                  <a:pt x="5653512" y="4213848"/>
                </a:lnTo>
                <a:lnTo>
                  <a:pt x="5652737" y="4213745"/>
                </a:lnTo>
                <a:cubicBezTo>
                  <a:pt x="5651033" y="4211577"/>
                  <a:pt x="5650569" y="4208479"/>
                  <a:pt x="5651343" y="4205588"/>
                </a:cubicBezTo>
                <a:cubicBezTo>
                  <a:pt x="5653666" y="4206001"/>
                  <a:pt x="5655370" y="4206930"/>
                  <a:pt x="5656764" y="4208273"/>
                </a:cubicBezTo>
                <a:lnTo>
                  <a:pt x="5658158" y="4210854"/>
                </a:lnTo>
                <a:lnTo>
                  <a:pt x="5658468" y="4208479"/>
                </a:lnTo>
                <a:lnTo>
                  <a:pt x="5655525" y="4207550"/>
                </a:lnTo>
                <a:cubicBezTo>
                  <a:pt x="5653512" y="4206621"/>
                  <a:pt x="5651498" y="4205485"/>
                  <a:pt x="5649794" y="4204556"/>
                </a:cubicBezTo>
                <a:cubicBezTo>
                  <a:pt x="5653047" y="4202903"/>
                  <a:pt x="5656455" y="4204865"/>
                  <a:pt x="5659552" y="4198876"/>
                </a:cubicBezTo>
                <a:close/>
                <a:moveTo>
                  <a:pt x="5670860" y="4195985"/>
                </a:moveTo>
                <a:cubicBezTo>
                  <a:pt x="5671634" y="4196914"/>
                  <a:pt x="5672254" y="4197844"/>
                  <a:pt x="5672873" y="4198876"/>
                </a:cubicBezTo>
                <a:cubicBezTo>
                  <a:pt x="5668846" y="4202903"/>
                  <a:pt x="5668226" y="4207240"/>
                  <a:pt x="5665129" y="4210544"/>
                </a:cubicBezTo>
                <a:cubicBezTo>
                  <a:pt x="5664199" y="4206001"/>
                  <a:pt x="5663115" y="4197947"/>
                  <a:pt x="5670860" y="4195985"/>
                </a:cubicBezTo>
                <a:close/>
                <a:moveTo>
                  <a:pt x="5492574" y="4194849"/>
                </a:moveTo>
                <a:cubicBezTo>
                  <a:pt x="5491955" y="4195675"/>
                  <a:pt x="5491955" y="4195675"/>
                  <a:pt x="5491955" y="4195675"/>
                </a:cubicBezTo>
                <a:cubicBezTo>
                  <a:pt x="5492109" y="4196914"/>
                  <a:pt x="5492729" y="4196089"/>
                  <a:pt x="5493349" y="4196605"/>
                </a:cubicBezTo>
                <a:cubicBezTo>
                  <a:pt x="5493349" y="4196605"/>
                  <a:pt x="5492729" y="4196089"/>
                  <a:pt x="5493813" y="4195778"/>
                </a:cubicBezTo>
                <a:cubicBezTo>
                  <a:pt x="5493349" y="4196605"/>
                  <a:pt x="5494123" y="4197018"/>
                  <a:pt x="5494743" y="4197431"/>
                </a:cubicBezTo>
                <a:cubicBezTo>
                  <a:pt x="5495207" y="4199806"/>
                  <a:pt x="5495053" y="4203006"/>
                  <a:pt x="5493349" y="4204142"/>
                </a:cubicBezTo>
                <a:cubicBezTo>
                  <a:pt x="5491025" y="4204762"/>
                  <a:pt x="5490096" y="4203110"/>
                  <a:pt x="5489941" y="4201974"/>
                </a:cubicBezTo>
                <a:cubicBezTo>
                  <a:pt x="5489167" y="4200838"/>
                  <a:pt x="5489321" y="4199599"/>
                  <a:pt x="5489786" y="4198360"/>
                </a:cubicBezTo>
                <a:cubicBezTo>
                  <a:pt x="5490406" y="4197018"/>
                  <a:pt x="5491490" y="4195778"/>
                  <a:pt x="5492574" y="4194849"/>
                </a:cubicBezTo>
                <a:close/>
                <a:moveTo>
                  <a:pt x="5383527" y="4193817"/>
                </a:moveTo>
                <a:cubicBezTo>
                  <a:pt x="5383527" y="4193817"/>
                  <a:pt x="5383527" y="4193817"/>
                  <a:pt x="5385386" y="4195366"/>
                </a:cubicBezTo>
                <a:lnTo>
                  <a:pt x="5385541" y="4196295"/>
                </a:lnTo>
                <a:cubicBezTo>
                  <a:pt x="5385386" y="4196811"/>
                  <a:pt x="5384766" y="4196914"/>
                  <a:pt x="5383837" y="4197121"/>
                </a:cubicBezTo>
                <a:cubicBezTo>
                  <a:pt x="5382598" y="4197328"/>
                  <a:pt x="5380584" y="4197224"/>
                  <a:pt x="5379035" y="4197121"/>
                </a:cubicBezTo>
                <a:cubicBezTo>
                  <a:pt x="5377331" y="4197018"/>
                  <a:pt x="5375937" y="4196914"/>
                  <a:pt x="5375628" y="4196914"/>
                </a:cubicBezTo>
                <a:cubicBezTo>
                  <a:pt x="5375628" y="4196914"/>
                  <a:pt x="5374853" y="4196914"/>
                  <a:pt x="5373924" y="4196914"/>
                </a:cubicBezTo>
                <a:cubicBezTo>
                  <a:pt x="5372994" y="4196192"/>
                  <a:pt x="5372994" y="4195262"/>
                  <a:pt x="5372065" y="4195366"/>
                </a:cubicBezTo>
                <a:cubicBezTo>
                  <a:pt x="5374233" y="4192681"/>
                  <a:pt x="5376867" y="4193300"/>
                  <a:pt x="5379345" y="4194023"/>
                </a:cubicBezTo>
                <a:cubicBezTo>
                  <a:pt x="5381204" y="4194849"/>
                  <a:pt x="5381978" y="4194746"/>
                  <a:pt x="5383527" y="4193817"/>
                </a:cubicBezTo>
                <a:close/>
                <a:moveTo>
                  <a:pt x="5335045" y="4192991"/>
                </a:moveTo>
                <a:cubicBezTo>
                  <a:pt x="5326680" y="4197328"/>
                  <a:pt x="5323737" y="4204349"/>
                  <a:pt x="5313204" y="4207240"/>
                </a:cubicBezTo>
                <a:cubicBezTo>
                  <a:pt x="5311965" y="4198567"/>
                  <a:pt x="5327764" y="4186279"/>
                  <a:pt x="5335045" y="4192991"/>
                </a:cubicBezTo>
                <a:close/>
                <a:moveTo>
                  <a:pt x="5547717" y="4192577"/>
                </a:moveTo>
                <a:cubicBezTo>
                  <a:pt x="5552209" y="4195056"/>
                  <a:pt x="5551590" y="4201561"/>
                  <a:pt x="5547562" y="4202594"/>
                </a:cubicBezTo>
                <a:cubicBezTo>
                  <a:pt x="5546478" y="4202077"/>
                  <a:pt x="5544619" y="4201664"/>
                  <a:pt x="5543225" y="4200219"/>
                </a:cubicBezTo>
                <a:cubicBezTo>
                  <a:pt x="5542606" y="4195778"/>
                  <a:pt x="5544619" y="4193507"/>
                  <a:pt x="5547717" y="4192577"/>
                </a:cubicBezTo>
                <a:close/>
                <a:moveTo>
                  <a:pt x="748265" y="4190391"/>
                </a:moveTo>
                <a:lnTo>
                  <a:pt x="748150" y="4191187"/>
                </a:lnTo>
                <a:lnTo>
                  <a:pt x="748111" y="4191217"/>
                </a:lnTo>
                <a:cubicBezTo>
                  <a:pt x="748265" y="4190391"/>
                  <a:pt x="748265" y="4190391"/>
                  <a:pt x="748265" y="4190391"/>
                </a:cubicBezTo>
                <a:close/>
                <a:moveTo>
                  <a:pt x="736493" y="4188843"/>
                </a:moveTo>
                <a:cubicBezTo>
                  <a:pt x="738661" y="4189359"/>
                  <a:pt x="740985" y="4189978"/>
                  <a:pt x="740211" y="4192353"/>
                </a:cubicBezTo>
                <a:cubicBezTo>
                  <a:pt x="739901" y="4193592"/>
                  <a:pt x="739436" y="4194728"/>
                  <a:pt x="738042" y="4195657"/>
                </a:cubicBezTo>
                <a:cubicBezTo>
                  <a:pt x="735719" y="4195141"/>
                  <a:pt x="735409" y="4192456"/>
                  <a:pt x="734324" y="4192147"/>
                </a:cubicBezTo>
                <a:cubicBezTo>
                  <a:pt x="734944" y="4191734"/>
                  <a:pt x="736493" y="4190804"/>
                  <a:pt x="736493" y="4188843"/>
                </a:cubicBezTo>
                <a:close/>
                <a:moveTo>
                  <a:pt x="5438825" y="4188034"/>
                </a:moveTo>
                <a:cubicBezTo>
                  <a:pt x="5438515" y="4191958"/>
                  <a:pt x="5438360" y="4195985"/>
                  <a:pt x="5437586" y="4200012"/>
                </a:cubicBezTo>
                <a:cubicBezTo>
                  <a:pt x="5436811" y="4204142"/>
                  <a:pt x="5435418" y="4208169"/>
                  <a:pt x="5432164" y="4212403"/>
                </a:cubicBezTo>
                <a:cubicBezTo>
                  <a:pt x="5425969" y="4204659"/>
                  <a:pt x="5433868" y="4192887"/>
                  <a:pt x="5438825" y="4188034"/>
                </a:cubicBezTo>
                <a:close/>
                <a:moveTo>
                  <a:pt x="5808873" y="4187002"/>
                </a:moveTo>
                <a:cubicBezTo>
                  <a:pt x="5810421" y="4188034"/>
                  <a:pt x="5809337" y="4191648"/>
                  <a:pt x="5809337" y="4193507"/>
                </a:cubicBezTo>
                <a:cubicBezTo>
                  <a:pt x="5808098" y="4193300"/>
                  <a:pt x="5807014" y="4192991"/>
                  <a:pt x="5807478" y="4193713"/>
                </a:cubicBezTo>
                <a:cubicBezTo>
                  <a:pt x="5806239" y="4193507"/>
                  <a:pt x="5805619" y="4192991"/>
                  <a:pt x="5805155" y="4192268"/>
                </a:cubicBezTo>
                <a:cubicBezTo>
                  <a:pt x="5804690" y="4191648"/>
                  <a:pt x="5804380" y="4190822"/>
                  <a:pt x="5804380" y="4189790"/>
                </a:cubicBezTo>
                <a:cubicBezTo>
                  <a:pt x="5804690" y="4188654"/>
                  <a:pt x="5806239" y="4187725"/>
                  <a:pt x="5808873" y="4187002"/>
                </a:cubicBezTo>
                <a:close/>
                <a:moveTo>
                  <a:pt x="5303601" y="4186795"/>
                </a:moveTo>
                <a:cubicBezTo>
                  <a:pt x="5303291" y="4189067"/>
                  <a:pt x="5302826" y="4190926"/>
                  <a:pt x="5302052" y="4192577"/>
                </a:cubicBezTo>
                <a:cubicBezTo>
                  <a:pt x="5300038" y="4197534"/>
                  <a:pt x="5296785" y="4200529"/>
                  <a:pt x="5296475" y="4204556"/>
                </a:cubicBezTo>
                <a:cubicBezTo>
                  <a:pt x="5296475" y="4204556"/>
                  <a:pt x="5296320" y="4204556"/>
                  <a:pt x="5294152" y="4205175"/>
                </a:cubicBezTo>
                <a:cubicBezTo>
                  <a:pt x="5293842" y="4206001"/>
                  <a:pt x="5293842" y="4205898"/>
                  <a:pt x="5293842" y="4205898"/>
                </a:cubicBezTo>
                <a:cubicBezTo>
                  <a:pt x="5293687" y="4206311"/>
                  <a:pt x="5293223" y="4206311"/>
                  <a:pt x="5292758" y="4206207"/>
                </a:cubicBezTo>
                <a:cubicBezTo>
                  <a:pt x="5292293" y="4206104"/>
                  <a:pt x="5291984" y="4205795"/>
                  <a:pt x="5291984" y="4205795"/>
                </a:cubicBezTo>
                <a:cubicBezTo>
                  <a:pt x="5291364" y="4204968"/>
                  <a:pt x="5291519" y="4204142"/>
                  <a:pt x="5291984" y="4203316"/>
                </a:cubicBezTo>
                <a:lnTo>
                  <a:pt x="5292293" y="4202697"/>
                </a:lnTo>
                <a:lnTo>
                  <a:pt x="5291519" y="4202800"/>
                </a:lnTo>
                <a:cubicBezTo>
                  <a:pt x="5288885" y="4203110"/>
                  <a:pt x="5286407" y="4202903"/>
                  <a:pt x="5284239" y="4202800"/>
                </a:cubicBezTo>
                <a:lnTo>
                  <a:pt x="5278663" y="4203523"/>
                </a:lnTo>
                <a:lnTo>
                  <a:pt x="5277888" y="4205072"/>
                </a:lnTo>
                <a:cubicBezTo>
                  <a:pt x="5277268" y="4206001"/>
                  <a:pt x="5276649" y="4206517"/>
                  <a:pt x="5276029" y="4206724"/>
                </a:cubicBezTo>
                <a:cubicBezTo>
                  <a:pt x="5275564" y="4207034"/>
                  <a:pt x="5275100" y="4207034"/>
                  <a:pt x="5274635" y="4206930"/>
                </a:cubicBezTo>
                <a:cubicBezTo>
                  <a:pt x="5274171" y="4206724"/>
                  <a:pt x="5273861" y="4206414"/>
                  <a:pt x="5273551" y="4205898"/>
                </a:cubicBezTo>
                <a:cubicBezTo>
                  <a:pt x="5272002" y="4203626"/>
                  <a:pt x="5272157" y="4198360"/>
                  <a:pt x="5275409" y="4198773"/>
                </a:cubicBezTo>
                <a:lnTo>
                  <a:pt x="5276029" y="4199186"/>
                </a:lnTo>
                <a:lnTo>
                  <a:pt x="5276494" y="4198979"/>
                </a:lnTo>
                <a:cubicBezTo>
                  <a:pt x="5277423" y="4198876"/>
                  <a:pt x="5278508" y="4199083"/>
                  <a:pt x="5279282" y="4198979"/>
                </a:cubicBezTo>
                <a:cubicBezTo>
                  <a:pt x="5279902" y="4197224"/>
                  <a:pt x="5282845" y="4200529"/>
                  <a:pt x="5283464" y="4198773"/>
                </a:cubicBezTo>
                <a:cubicBezTo>
                  <a:pt x="5286252" y="4201251"/>
                  <a:pt x="5288885" y="4199289"/>
                  <a:pt x="5292758" y="4199909"/>
                </a:cubicBezTo>
                <a:lnTo>
                  <a:pt x="5293532" y="4200219"/>
                </a:lnTo>
                <a:lnTo>
                  <a:pt x="5294152" y="4198979"/>
                </a:lnTo>
                <a:cubicBezTo>
                  <a:pt x="5294927" y="4198463"/>
                  <a:pt x="5295546" y="4197947"/>
                  <a:pt x="5295081" y="4197121"/>
                </a:cubicBezTo>
                <a:cubicBezTo>
                  <a:pt x="5299418" y="4195882"/>
                  <a:pt x="5297405" y="4189893"/>
                  <a:pt x="5303601" y="4186795"/>
                </a:cubicBezTo>
                <a:close/>
                <a:moveTo>
                  <a:pt x="5840626" y="4185763"/>
                </a:moveTo>
                <a:lnTo>
                  <a:pt x="5840006" y="4186486"/>
                </a:lnTo>
                <a:lnTo>
                  <a:pt x="5838613" y="4186795"/>
                </a:lnTo>
                <a:lnTo>
                  <a:pt x="5838922" y="4188241"/>
                </a:lnTo>
                <a:lnTo>
                  <a:pt x="5839851" y="4189790"/>
                </a:lnTo>
                <a:lnTo>
                  <a:pt x="5840006" y="4189273"/>
                </a:lnTo>
                <a:lnTo>
                  <a:pt x="5841091" y="4189790"/>
                </a:lnTo>
                <a:lnTo>
                  <a:pt x="5842020" y="4189377"/>
                </a:lnTo>
                <a:lnTo>
                  <a:pt x="5841865" y="4189377"/>
                </a:lnTo>
                <a:close/>
                <a:moveTo>
                  <a:pt x="5627179" y="4183698"/>
                </a:moveTo>
                <a:cubicBezTo>
                  <a:pt x="5630277" y="4183904"/>
                  <a:pt x="5632446" y="4185763"/>
                  <a:pt x="5632601" y="4188861"/>
                </a:cubicBezTo>
                <a:cubicBezTo>
                  <a:pt x="5631671" y="4190512"/>
                  <a:pt x="5629967" y="4190719"/>
                  <a:pt x="5628108" y="4190822"/>
                </a:cubicBezTo>
                <a:cubicBezTo>
                  <a:pt x="5626560" y="4190719"/>
                  <a:pt x="5625630" y="4190203"/>
                  <a:pt x="5625320" y="4189377"/>
                </a:cubicBezTo>
                <a:cubicBezTo>
                  <a:pt x="5624856" y="4188551"/>
                  <a:pt x="5624856" y="4187415"/>
                  <a:pt x="5625011" y="4186279"/>
                </a:cubicBezTo>
                <a:cubicBezTo>
                  <a:pt x="5625320" y="4183801"/>
                  <a:pt x="5627179" y="4183698"/>
                  <a:pt x="5627179" y="4183698"/>
                </a:cubicBezTo>
                <a:close/>
                <a:moveTo>
                  <a:pt x="5426433" y="4183491"/>
                </a:moveTo>
                <a:cubicBezTo>
                  <a:pt x="5427982" y="4182562"/>
                  <a:pt x="5430925" y="4184937"/>
                  <a:pt x="5432629" y="4185763"/>
                </a:cubicBezTo>
                <a:cubicBezTo>
                  <a:pt x="5431855" y="4186692"/>
                  <a:pt x="5431235" y="4187518"/>
                  <a:pt x="5432010" y="4187518"/>
                </a:cubicBezTo>
                <a:cubicBezTo>
                  <a:pt x="5431390" y="4188447"/>
                  <a:pt x="5430616" y="4188861"/>
                  <a:pt x="5429841" y="4189067"/>
                </a:cubicBezTo>
                <a:cubicBezTo>
                  <a:pt x="5428912" y="4189170"/>
                  <a:pt x="5428137" y="4189067"/>
                  <a:pt x="5427208" y="4188654"/>
                </a:cubicBezTo>
                <a:cubicBezTo>
                  <a:pt x="5426278" y="4187828"/>
                  <a:pt x="5425969" y="4186176"/>
                  <a:pt x="5426433" y="4183491"/>
                </a:cubicBezTo>
                <a:close/>
                <a:moveTo>
                  <a:pt x="1283123" y="4182234"/>
                </a:moveTo>
                <a:cubicBezTo>
                  <a:pt x="1278940" y="4183370"/>
                  <a:pt x="1273828" y="4186777"/>
                  <a:pt x="1269801" y="4186055"/>
                </a:cubicBezTo>
                <a:cubicBezTo>
                  <a:pt x="1271350" y="4185332"/>
                  <a:pt x="1280179" y="4181821"/>
                  <a:pt x="1283123" y="4182234"/>
                </a:cubicBezTo>
                <a:close/>
                <a:moveTo>
                  <a:pt x="5208184" y="4182149"/>
                </a:moveTo>
                <a:cubicBezTo>
                  <a:pt x="5210973" y="4180084"/>
                  <a:pt x="5213916" y="4181323"/>
                  <a:pt x="5215929" y="4183698"/>
                </a:cubicBezTo>
                <a:cubicBezTo>
                  <a:pt x="5217788" y="4186072"/>
                  <a:pt x="5218873" y="4189686"/>
                  <a:pt x="5217633" y="4192371"/>
                </a:cubicBezTo>
                <a:cubicBezTo>
                  <a:pt x="5212831" y="4191752"/>
                  <a:pt x="5209424" y="4190409"/>
                  <a:pt x="5208495" y="4186692"/>
                </a:cubicBezTo>
                <a:cubicBezTo>
                  <a:pt x="5208030" y="4185453"/>
                  <a:pt x="5208030" y="4184007"/>
                  <a:pt x="5208184" y="4182149"/>
                </a:cubicBezTo>
                <a:close/>
                <a:moveTo>
                  <a:pt x="1283742" y="4181202"/>
                </a:moveTo>
                <a:cubicBezTo>
                  <a:pt x="1284826" y="4181408"/>
                  <a:pt x="1284671" y="4180788"/>
                  <a:pt x="1285135" y="4182234"/>
                </a:cubicBezTo>
                <a:cubicBezTo>
                  <a:pt x="1284052" y="4181924"/>
                  <a:pt x="1284052" y="4181924"/>
                  <a:pt x="1283123" y="4182337"/>
                </a:cubicBezTo>
                <a:cubicBezTo>
                  <a:pt x="1283123" y="4182337"/>
                  <a:pt x="1283742" y="4181202"/>
                  <a:pt x="1283742" y="4181202"/>
                </a:cubicBezTo>
                <a:close/>
                <a:moveTo>
                  <a:pt x="5652892" y="4180497"/>
                </a:moveTo>
                <a:cubicBezTo>
                  <a:pt x="5662650" y="4187311"/>
                  <a:pt x="5659243" y="4195056"/>
                  <a:pt x="5652892" y="4193920"/>
                </a:cubicBezTo>
                <a:cubicBezTo>
                  <a:pt x="5650723" y="4193610"/>
                  <a:pt x="5648245" y="4192268"/>
                  <a:pt x="5645767" y="4189583"/>
                </a:cubicBezTo>
                <a:cubicBezTo>
                  <a:pt x="5644837" y="4185246"/>
                  <a:pt x="5649639" y="4179464"/>
                  <a:pt x="5652892" y="4180497"/>
                </a:cubicBezTo>
                <a:close/>
                <a:moveTo>
                  <a:pt x="5810421" y="4179877"/>
                </a:moveTo>
                <a:cubicBezTo>
                  <a:pt x="5810886" y="4180497"/>
                  <a:pt x="5811041" y="4181323"/>
                  <a:pt x="5810576" y="4182562"/>
                </a:cubicBezTo>
                <a:cubicBezTo>
                  <a:pt x="5809647" y="4182872"/>
                  <a:pt x="5808873" y="4182975"/>
                  <a:pt x="5808098" y="4182975"/>
                </a:cubicBezTo>
                <a:cubicBezTo>
                  <a:pt x="5807323" y="4182975"/>
                  <a:pt x="5806394" y="4182975"/>
                  <a:pt x="5805310" y="4182872"/>
                </a:cubicBezTo>
                <a:cubicBezTo>
                  <a:pt x="5804845" y="4179155"/>
                  <a:pt x="5809027" y="4178122"/>
                  <a:pt x="5810421" y="4179877"/>
                </a:cubicBezTo>
                <a:close/>
                <a:moveTo>
                  <a:pt x="5160322" y="4179671"/>
                </a:moveTo>
                <a:cubicBezTo>
                  <a:pt x="5164039" y="4179671"/>
                  <a:pt x="5162955" y="4179258"/>
                  <a:pt x="5166517" y="4181116"/>
                </a:cubicBezTo>
                <a:cubicBezTo>
                  <a:pt x="5165588" y="4183491"/>
                  <a:pt x="5164504" y="4185763"/>
                  <a:pt x="5163574" y="4188138"/>
                </a:cubicBezTo>
                <a:cubicBezTo>
                  <a:pt x="5162181" y="4187002"/>
                  <a:pt x="5160322" y="4187002"/>
                  <a:pt x="5159238" y="4186692"/>
                </a:cubicBezTo>
                <a:cubicBezTo>
                  <a:pt x="5158308" y="4184317"/>
                  <a:pt x="5158463" y="4182355"/>
                  <a:pt x="5160322" y="4179671"/>
                </a:cubicBezTo>
                <a:close/>
                <a:moveTo>
                  <a:pt x="5115169" y="4179580"/>
                </a:moveTo>
                <a:cubicBezTo>
                  <a:pt x="5116409" y="4178793"/>
                  <a:pt x="5118113" y="4178741"/>
                  <a:pt x="5119894" y="4179980"/>
                </a:cubicBezTo>
                <a:cubicBezTo>
                  <a:pt x="5119429" y="4184833"/>
                  <a:pt x="5117570" y="4186486"/>
                  <a:pt x="5114472" y="4187002"/>
                </a:cubicBezTo>
                <a:cubicBezTo>
                  <a:pt x="5113698" y="4185969"/>
                  <a:pt x="5113233" y="4184730"/>
                  <a:pt x="5113233" y="4183595"/>
                </a:cubicBezTo>
                <a:cubicBezTo>
                  <a:pt x="5113156" y="4181891"/>
                  <a:pt x="5113930" y="4180368"/>
                  <a:pt x="5115169" y="4179580"/>
                </a:cubicBezTo>
                <a:close/>
                <a:moveTo>
                  <a:pt x="5421012" y="4179567"/>
                </a:moveTo>
                <a:cubicBezTo>
                  <a:pt x="5423490" y="4178225"/>
                  <a:pt x="5427518" y="4186279"/>
                  <a:pt x="5419463" y="4184730"/>
                </a:cubicBezTo>
                <a:cubicBezTo>
                  <a:pt x="5419463" y="4181529"/>
                  <a:pt x="5420238" y="4179980"/>
                  <a:pt x="5421012" y="4179567"/>
                </a:cubicBezTo>
                <a:close/>
                <a:moveTo>
                  <a:pt x="1288853" y="4179446"/>
                </a:moveTo>
                <a:cubicBezTo>
                  <a:pt x="1288853" y="4179446"/>
                  <a:pt x="1289163" y="4180169"/>
                  <a:pt x="1289163" y="4180169"/>
                </a:cubicBezTo>
                <a:cubicBezTo>
                  <a:pt x="1288699" y="4180376"/>
                  <a:pt x="1288389" y="4180685"/>
                  <a:pt x="1287924" y="4180685"/>
                </a:cubicBezTo>
                <a:cubicBezTo>
                  <a:pt x="1287614" y="4180788"/>
                  <a:pt x="1287304" y="4180685"/>
                  <a:pt x="1287149" y="4180272"/>
                </a:cubicBezTo>
                <a:cubicBezTo>
                  <a:pt x="1286839" y="4179653"/>
                  <a:pt x="1287769" y="4179240"/>
                  <a:pt x="1288853" y="4179446"/>
                </a:cubicBezTo>
                <a:close/>
                <a:moveTo>
                  <a:pt x="5292913" y="4178225"/>
                </a:moveTo>
                <a:cubicBezTo>
                  <a:pt x="5293377" y="4177399"/>
                  <a:pt x="5296630" y="4178432"/>
                  <a:pt x="5296785" y="4179567"/>
                </a:cubicBezTo>
                <a:cubicBezTo>
                  <a:pt x="5297870" y="4182459"/>
                  <a:pt x="5295081" y="4183801"/>
                  <a:pt x="5292448" y="4186279"/>
                </a:cubicBezTo>
                <a:cubicBezTo>
                  <a:pt x="5292293" y="4185143"/>
                  <a:pt x="5291054" y="4185453"/>
                  <a:pt x="5289970" y="4185763"/>
                </a:cubicBezTo>
                <a:cubicBezTo>
                  <a:pt x="5289660" y="4184007"/>
                  <a:pt x="5288885" y="4181323"/>
                  <a:pt x="5290435" y="4179567"/>
                </a:cubicBezTo>
                <a:cubicBezTo>
                  <a:pt x="5290899" y="4178948"/>
                  <a:pt x="5291829" y="4178535"/>
                  <a:pt x="5292913" y="4178225"/>
                </a:cubicBezTo>
                <a:close/>
                <a:moveTo>
                  <a:pt x="1292571" y="4177691"/>
                </a:moveTo>
                <a:cubicBezTo>
                  <a:pt x="1293655" y="4178104"/>
                  <a:pt x="1293810" y="4178104"/>
                  <a:pt x="1294275" y="4179653"/>
                </a:cubicBezTo>
                <a:cubicBezTo>
                  <a:pt x="1293035" y="4179859"/>
                  <a:pt x="1292261" y="4179963"/>
                  <a:pt x="1291642" y="4179963"/>
                </a:cubicBezTo>
                <a:cubicBezTo>
                  <a:pt x="1291022" y="4179859"/>
                  <a:pt x="1290557" y="4179653"/>
                  <a:pt x="1289473" y="4179240"/>
                </a:cubicBezTo>
                <a:cubicBezTo>
                  <a:pt x="1290247" y="4178930"/>
                  <a:pt x="1291487" y="4177381"/>
                  <a:pt x="1292571" y="4177691"/>
                </a:cubicBezTo>
                <a:close/>
                <a:moveTo>
                  <a:pt x="749349" y="4176555"/>
                </a:moveTo>
                <a:cubicBezTo>
                  <a:pt x="750589" y="4176658"/>
                  <a:pt x="751673" y="4177381"/>
                  <a:pt x="752138" y="4178930"/>
                </a:cubicBezTo>
                <a:cubicBezTo>
                  <a:pt x="751208" y="4184506"/>
                  <a:pt x="746251" y="4182957"/>
                  <a:pt x="741140" y="4185435"/>
                </a:cubicBezTo>
                <a:cubicBezTo>
                  <a:pt x="740056" y="4181099"/>
                  <a:pt x="745477" y="4176142"/>
                  <a:pt x="749349" y="4176555"/>
                </a:cubicBezTo>
                <a:close/>
                <a:moveTo>
                  <a:pt x="5467791" y="4176366"/>
                </a:moveTo>
                <a:cubicBezTo>
                  <a:pt x="5467481" y="4178844"/>
                  <a:pt x="5468255" y="4179671"/>
                  <a:pt x="5467481" y="4179671"/>
                </a:cubicBezTo>
                <a:cubicBezTo>
                  <a:pt x="5467481" y="4180084"/>
                  <a:pt x="5467171" y="4180290"/>
                  <a:pt x="5467016" y="4180290"/>
                </a:cubicBezTo>
                <a:cubicBezTo>
                  <a:pt x="5466707" y="4180290"/>
                  <a:pt x="5466552" y="4180084"/>
                  <a:pt x="5466552" y="4179671"/>
                </a:cubicBezTo>
                <a:cubicBezTo>
                  <a:pt x="5465003" y="4178844"/>
                  <a:pt x="5466861" y="4177193"/>
                  <a:pt x="5467791" y="4176366"/>
                </a:cubicBezTo>
                <a:close/>
                <a:moveTo>
                  <a:pt x="5554688" y="4175643"/>
                </a:moveTo>
                <a:cubicBezTo>
                  <a:pt x="5556391" y="4176573"/>
                  <a:pt x="5558870" y="4175850"/>
                  <a:pt x="5560574" y="4177709"/>
                </a:cubicBezTo>
                <a:cubicBezTo>
                  <a:pt x="5560574" y="4177709"/>
                  <a:pt x="5561503" y="4178535"/>
                  <a:pt x="5561503" y="4180290"/>
                </a:cubicBezTo>
                <a:cubicBezTo>
                  <a:pt x="5563362" y="4182975"/>
                  <a:pt x="5560883" y="4185453"/>
                  <a:pt x="5560883" y="4185453"/>
                </a:cubicBezTo>
                <a:cubicBezTo>
                  <a:pt x="5560883" y="4185453"/>
                  <a:pt x="5560883" y="4185556"/>
                  <a:pt x="5561658" y="4185556"/>
                </a:cubicBezTo>
                <a:cubicBezTo>
                  <a:pt x="5560109" y="4185453"/>
                  <a:pt x="5558405" y="4186279"/>
                  <a:pt x="5556701" y="4186176"/>
                </a:cubicBezTo>
                <a:lnTo>
                  <a:pt x="5556236" y="4185660"/>
                </a:lnTo>
                <a:lnTo>
                  <a:pt x="5556546" y="4186382"/>
                </a:lnTo>
                <a:cubicBezTo>
                  <a:pt x="5554997" y="4188034"/>
                  <a:pt x="5553139" y="4189067"/>
                  <a:pt x="5551280" y="4189170"/>
                </a:cubicBezTo>
                <a:cubicBezTo>
                  <a:pt x="5549266" y="4189273"/>
                  <a:pt x="5547098" y="4188551"/>
                  <a:pt x="5545084" y="4186692"/>
                </a:cubicBezTo>
                <a:cubicBezTo>
                  <a:pt x="5543999" y="4182355"/>
                  <a:pt x="5548802" y="4180084"/>
                  <a:pt x="5551280" y="4178432"/>
                </a:cubicBezTo>
                <a:lnTo>
                  <a:pt x="5552364" y="4179671"/>
                </a:lnTo>
                <a:lnTo>
                  <a:pt x="5552984" y="4177915"/>
                </a:lnTo>
                <a:cubicBezTo>
                  <a:pt x="5553448" y="4177193"/>
                  <a:pt x="5554068" y="4176470"/>
                  <a:pt x="5554688" y="4175643"/>
                </a:cubicBezTo>
                <a:close/>
                <a:moveTo>
                  <a:pt x="650216" y="4173974"/>
                </a:moveTo>
                <a:cubicBezTo>
                  <a:pt x="652849" y="4178723"/>
                  <a:pt x="656721" y="4183576"/>
                  <a:pt x="652229" y="4187190"/>
                </a:cubicBezTo>
                <a:cubicBezTo>
                  <a:pt x="644639" y="4187500"/>
                  <a:pt x="642935" y="4179549"/>
                  <a:pt x="645724" y="4175832"/>
                </a:cubicBezTo>
                <a:cubicBezTo>
                  <a:pt x="646809" y="4174593"/>
                  <a:pt x="648202" y="4173870"/>
                  <a:pt x="650216" y="4173974"/>
                </a:cubicBezTo>
                <a:close/>
                <a:moveTo>
                  <a:pt x="5480492" y="4173578"/>
                </a:moveTo>
                <a:cubicBezTo>
                  <a:pt x="5481731" y="4174405"/>
                  <a:pt x="5483590" y="4174611"/>
                  <a:pt x="5484520" y="4176160"/>
                </a:cubicBezTo>
                <a:cubicBezTo>
                  <a:pt x="5484829" y="4178535"/>
                  <a:pt x="5481886" y="4181839"/>
                  <a:pt x="5480182" y="4182872"/>
                </a:cubicBezTo>
                <a:cubicBezTo>
                  <a:pt x="5477859" y="4183491"/>
                  <a:pt x="5476310" y="4181529"/>
                  <a:pt x="5475845" y="4179155"/>
                </a:cubicBezTo>
                <a:cubicBezTo>
                  <a:pt x="5475535" y="4178328"/>
                  <a:pt x="5475535" y="4177399"/>
                  <a:pt x="5476000" y="4176470"/>
                </a:cubicBezTo>
                <a:cubicBezTo>
                  <a:pt x="5476465" y="4175540"/>
                  <a:pt x="5477239" y="4174714"/>
                  <a:pt x="5478169" y="4174198"/>
                </a:cubicBezTo>
                <a:cubicBezTo>
                  <a:pt x="5479253" y="4173888"/>
                  <a:pt x="5479253" y="4173888"/>
                  <a:pt x="5480492" y="4173578"/>
                </a:cubicBezTo>
                <a:close/>
                <a:moveTo>
                  <a:pt x="5134144" y="4173269"/>
                </a:moveTo>
                <a:cubicBezTo>
                  <a:pt x="5139101" y="4172649"/>
                  <a:pt x="5143593" y="4179774"/>
                  <a:pt x="5145452" y="4184214"/>
                </a:cubicBezTo>
                <a:cubicBezTo>
                  <a:pt x="5143748" y="4185866"/>
                  <a:pt x="5144677" y="4187622"/>
                  <a:pt x="5143128" y="4189273"/>
                </a:cubicBezTo>
                <a:cubicBezTo>
                  <a:pt x="5137862" y="4183801"/>
                  <a:pt x="5131821" y="4178328"/>
                  <a:pt x="5134144" y="4173269"/>
                </a:cubicBezTo>
                <a:close/>
                <a:moveTo>
                  <a:pt x="5787807" y="4173062"/>
                </a:moveTo>
                <a:cubicBezTo>
                  <a:pt x="5787807" y="4173475"/>
                  <a:pt x="5787342" y="4174095"/>
                  <a:pt x="5786722" y="4174818"/>
                </a:cubicBezTo>
                <a:lnTo>
                  <a:pt x="5786103" y="4175437"/>
                </a:lnTo>
                <a:lnTo>
                  <a:pt x="5785173" y="4178844"/>
                </a:lnTo>
                <a:cubicBezTo>
                  <a:pt x="5784399" y="4187828"/>
                  <a:pt x="5793228" y="4195262"/>
                  <a:pt x="5787187" y="4202594"/>
                </a:cubicBezTo>
                <a:cubicBezTo>
                  <a:pt x="5785018" y="4199083"/>
                  <a:pt x="5782385" y="4195985"/>
                  <a:pt x="5780527" y="4192165"/>
                </a:cubicBezTo>
                <a:cubicBezTo>
                  <a:pt x="5778823" y="4188344"/>
                  <a:pt x="5777584" y="4183801"/>
                  <a:pt x="5778358" y="4177709"/>
                </a:cubicBezTo>
                <a:cubicBezTo>
                  <a:pt x="5779597" y="4177089"/>
                  <a:pt x="5780836" y="4175747"/>
                  <a:pt x="5782075" y="4174818"/>
                </a:cubicBezTo>
                <a:lnTo>
                  <a:pt x="5783779" y="4174095"/>
                </a:lnTo>
                <a:lnTo>
                  <a:pt x="5784399" y="4173475"/>
                </a:lnTo>
                <a:cubicBezTo>
                  <a:pt x="5785328" y="4172856"/>
                  <a:pt x="5786258" y="4172649"/>
                  <a:pt x="5787807" y="4173062"/>
                </a:cubicBezTo>
                <a:close/>
                <a:moveTo>
                  <a:pt x="1434921" y="4172012"/>
                </a:moveTo>
                <a:cubicBezTo>
                  <a:pt x="1436469" y="4173044"/>
                  <a:pt x="1438018" y="4173974"/>
                  <a:pt x="1439723" y="4175006"/>
                </a:cubicBezTo>
                <a:cubicBezTo>
                  <a:pt x="1435850" y="4182234"/>
                  <a:pt x="1437244" y="4188533"/>
                  <a:pt x="1434456" y="4194418"/>
                </a:cubicBezTo>
                <a:cubicBezTo>
                  <a:pt x="1430428" y="4188636"/>
                  <a:pt x="1424078" y="4178207"/>
                  <a:pt x="1434921" y="4172012"/>
                </a:cubicBezTo>
                <a:close/>
                <a:moveTo>
                  <a:pt x="5661411" y="4170894"/>
                </a:moveTo>
                <a:cubicBezTo>
                  <a:pt x="5664974" y="4169552"/>
                  <a:pt x="5667762" y="4169861"/>
                  <a:pt x="5669776" y="4171204"/>
                </a:cubicBezTo>
                <a:cubicBezTo>
                  <a:pt x="5671325" y="4172133"/>
                  <a:pt x="5672409" y="4173578"/>
                  <a:pt x="5673028" y="4175334"/>
                </a:cubicBezTo>
                <a:lnTo>
                  <a:pt x="5673183" y="4176986"/>
                </a:lnTo>
                <a:lnTo>
                  <a:pt x="5673338" y="4176986"/>
                </a:lnTo>
                <a:cubicBezTo>
                  <a:pt x="5676281" y="4176263"/>
                  <a:pt x="5680308" y="4178019"/>
                  <a:pt x="5681858" y="4182665"/>
                </a:cubicBezTo>
                <a:cubicBezTo>
                  <a:pt x="5680308" y="4185866"/>
                  <a:pt x="5678140" y="4187311"/>
                  <a:pt x="5676901" y="4188551"/>
                </a:cubicBezTo>
                <a:lnTo>
                  <a:pt x="5671480" y="4185969"/>
                </a:lnTo>
                <a:lnTo>
                  <a:pt x="5669156" y="4187311"/>
                </a:lnTo>
                <a:lnTo>
                  <a:pt x="5666678" y="4190926"/>
                </a:lnTo>
                <a:cubicBezTo>
                  <a:pt x="5665748" y="4188861"/>
                  <a:pt x="5663580" y="4189996"/>
                  <a:pt x="5661566" y="4191132"/>
                </a:cubicBezTo>
                <a:cubicBezTo>
                  <a:pt x="5660017" y="4188034"/>
                  <a:pt x="5657074" y="4183491"/>
                  <a:pt x="5659243" y="4179567"/>
                </a:cubicBezTo>
                <a:lnTo>
                  <a:pt x="5660792" y="4178225"/>
                </a:lnTo>
                <a:lnTo>
                  <a:pt x="5660482" y="4175128"/>
                </a:lnTo>
                <a:cubicBezTo>
                  <a:pt x="5660636" y="4173475"/>
                  <a:pt x="5660946" y="4171927"/>
                  <a:pt x="5661411" y="4170894"/>
                </a:cubicBezTo>
                <a:close/>
                <a:moveTo>
                  <a:pt x="1446228" y="4169534"/>
                </a:moveTo>
                <a:cubicBezTo>
                  <a:pt x="1451030" y="4170360"/>
                  <a:pt x="1449171" y="4176039"/>
                  <a:pt x="1446538" y="4176865"/>
                </a:cubicBezTo>
                <a:cubicBezTo>
                  <a:pt x="1445763" y="4177071"/>
                  <a:pt x="1444679" y="4176865"/>
                  <a:pt x="1443904" y="4175626"/>
                </a:cubicBezTo>
                <a:cubicBezTo>
                  <a:pt x="1444214" y="4173767"/>
                  <a:pt x="1445143" y="4171702"/>
                  <a:pt x="1446228" y="4169534"/>
                </a:cubicBezTo>
                <a:close/>
                <a:moveTo>
                  <a:pt x="5595580" y="4169242"/>
                </a:moveTo>
                <a:cubicBezTo>
                  <a:pt x="5597439" y="4171100"/>
                  <a:pt x="5597904" y="4172959"/>
                  <a:pt x="5597439" y="4174818"/>
                </a:cubicBezTo>
                <a:cubicBezTo>
                  <a:pt x="5596974" y="4176573"/>
                  <a:pt x="5595270" y="4178535"/>
                  <a:pt x="5592947" y="4180497"/>
                </a:cubicBezTo>
                <a:cubicBezTo>
                  <a:pt x="5591863" y="4179567"/>
                  <a:pt x="5591243" y="4178535"/>
                  <a:pt x="5591088" y="4177709"/>
                </a:cubicBezTo>
                <a:cubicBezTo>
                  <a:pt x="5590778" y="4174921"/>
                  <a:pt x="5593876" y="4172339"/>
                  <a:pt x="5595580" y="4169242"/>
                </a:cubicBezTo>
                <a:close/>
                <a:moveTo>
                  <a:pt x="5112149" y="4167176"/>
                </a:moveTo>
                <a:cubicBezTo>
                  <a:pt x="5112923" y="4170894"/>
                  <a:pt x="5108896" y="4179877"/>
                  <a:pt x="5101926" y="4179671"/>
                </a:cubicBezTo>
                <a:cubicBezTo>
                  <a:pt x="5101771" y="4171100"/>
                  <a:pt x="5107192" y="4169552"/>
                  <a:pt x="5112149" y="4167176"/>
                </a:cubicBezTo>
                <a:close/>
                <a:moveTo>
                  <a:pt x="5542915" y="4166351"/>
                </a:moveTo>
                <a:cubicBezTo>
                  <a:pt x="5543380" y="4167693"/>
                  <a:pt x="5539972" y="4172236"/>
                  <a:pt x="5537494" y="4172856"/>
                </a:cubicBezTo>
                <a:cubicBezTo>
                  <a:pt x="5536565" y="4173062"/>
                  <a:pt x="5535945" y="4172752"/>
                  <a:pt x="5535480" y="4171823"/>
                </a:cubicBezTo>
                <a:cubicBezTo>
                  <a:pt x="5534396" y="4168209"/>
                  <a:pt x="5541522" y="4165421"/>
                  <a:pt x="5542915" y="4166351"/>
                </a:cubicBezTo>
                <a:close/>
                <a:moveTo>
                  <a:pt x="5772007" y="4165925"/>
                </a:moveTo>
                <a:cubicBezTo>
                  <a:pt x="5775570" y="4166351"/>
                  <a:pt x="5779055" y="4168003"/>
                  <a:pt x="5782540" y="4169655"/>
                </a:cubicBezTo>
                <a:cubicBezTo>
                  <a:pt x="5780216" y="4173475"/>
                  <a:pt x="5776344" y="4174508"/>
                  <a:pt x="5772317" y="4173992"/>
                </a:cubicBezTo>
                <a:cubicBezTo>
                  <a:pt x="5768135" y="4173475"/>
                  <a:pt x="5763952" y="4171617"/>
                  <a:pt x="5761009" y="4169552"/>
                </a:cubicBezTo>
                <a:cubicBezTo>
                  <a:pt x="5764804" y="4166299"/>
                  <a:pt x="5768444" y="4165499"/>
                  <a:pt x="5772007" y="4165925"/>
                </a:cubicBezTo>
                <a:close/>
                <a:moveTo>
                  <a:pt x="5203848" y="4165111"/>
                </a:moveTo>
                <a:cubicBezTo>
                  <a:pt x="5207410" y="4164389"/>
                  <a:pt x="5208649" y="4164492"/>
                  <a:pt x="5212057" y="4166247"/>
                </a:cubicBezTo>
                <a:cubicBezTo>
                  <a:pt x="5213451" y="4171927"/>
                  <a:pt x="5211438" y="4175953"/>
                  <a:pt x="5209269" y="4179980"/>
                </a:cubicBezTo>
                <a:cubicBezTo>
                  <a:pt x="5207875" y="4180187"/>
                  <a:pt x="5206791" y="4180290"/>
                  <a:pt x="5205861" y="4180187"/>
                </a:cubicBezTo>
                <a:cubicBezTo>
                  <a:pt x="5199510" y="4179464"/>
                  <a:pt x="5203383" y="4170377"/>
                  <a:pt x="5203848" y="4165111"/>
                </a:cubicBezTo>
                <a:close/>
                <a:moveTo>
                  <a:pt x="1402082" y="4164268"/>
                </a:moveTo>
                <a:cubicBezTo>
                  <a:pt x="1402082" y="4164268"/>
                  <a:pt x="1402547" y="4164887"/>
                  <a:pt x="1402857" y="4165507"/>
                </a:cubicBezTo>
                <a:cubicBezTo>
                  <a:pt x="1403167" y="4166230"/>
                  <a:pt x="1403477" y="4166952"/>
                  <a:pt x="1403167" y="4167572"/>
                </a:cubicBezTo>
                <a:cubicBezTo>
                  <a:pt x="1403012" y="4168501"/>
                  <a:pt x="1402082" y="4168604"/>
                  <a:pt x="1401153" y="4168604"/>
                </a:cubicBezTo>
                <a:cubicBezTo>
                  <a:pt x="1400224" y="4168501"/>
                  <a:pt x="1399294" y="4168191"/>
                  <a:pt x="1398829" y="4168398"/>
                </a:cubicBezTo>
                <a:cubicBezTo>
                  <a:pt x="1398365" y="4168191"/>
                  <a:pt x="1397900" y="4167881"/>
                  <a:pt x="1397590" y="4167572"/>
                </a:cubicBezTo>
                <a:cubicBezTo>
                  <a:pt x="1397125" y="4167262"/>
                  <a:pt x="1396971" y="4166849"/>
                  <a:pt x="1397281" y="4166333"/>
                </a:cubicBezTo>
                <a:cubicBezTo>
                  <a:pt x="1397900" y="4165197"/>
                  <a:pt x="1397745" y="4164371"/>
                  <a:pt x="1399449" y="4164474"/>
                </a:cubicBezTo>
                <a:cubicBezTo>
                  <a:pt x="1400379" y="4164165"/>
                  <a:pt x="1401308" y="4164680"/>
                  <a:pt x="1402082" y="4164268"/>
                </a:cubicBezTo>
                <a:close/>
                <a:moveTo>
                  <a:pt x="5098208" y="4163460"/>
                </a:moveTo>
                <a:cubicBezTo>
                  <a:pt x="5101306" y="4163563"/>
                  <a:pt x="5101461" y="4166661"/>
                  <a:pt x="5102700" y="4170068"/>
                </a:cubicBezTo>
                <a:cubicBezTo>
                  <a:pt x="5101461" y="4169758"/>
                  <a:pt x="5101306" y="4170894"/>
                  <a:pt x="5101151" y="4172133"/>
                </a:cubicBezTo>
                <a:cubicBezTo>
                  <a:pt x="5099447" y="4171720"/>
                  <a:pt x="5096659" y="4171410"/>
                  <a:pt x="5095575" y="4169242"/>
                </a:cubicBezTo>
                <a:cubicBezTo>
                  <a:pt x="5095265" y="4168519"/>
                  <a:pt x="5095265" y="4167590"/>
                  <a:pt x="5095420" y="4166351"/>
                </a:cubicBezTo>
                <a:cubicBezTo>
                  <a:pt x="5094955" y="4165628"/>
                  <a:pt x="5097124" y="4163150"/>
                  <a:pt x="5098208" y="4163460"/>
                </a:cubicBezTo>
                <a:close/>
                <a:moveTo>
                  <a:pt x="5280211" y="4162633"/>
                </a:moveTo>
                <a:cubicBezTo>
                  <a:pt x="5283929" y="4163253"/>
                  <a:pt x="5284858" y="4163872"/>
                  <a:pt x="5287182" y="4166661"/>
                </a:cubicBezTo>
                <a:cubicBezTo>
                  <a:pt x="5285633" y="4172339"/>
                  <a:pt x="5281760" y="4175231"/>
                  <a:pt x="5277888" y="4178122"/>
                </a:cubicBezTo>
                <a:cubicBezTo>
                  <a:pt x="5275100" y="4177605"/>
                  <a:pt x="5273706" y="4176779"/>
                  <a:pt x="5273241" y="4175643"/>
                </a:cubicBezTo>
                <a:cubicBezTo>
                  <a:pt x="5271537" y="4172236"/>
                  <a:pt x="5277733" y="4166661"/>
                  <a:pt x="5280211" y="4162633"/>
                </a:cubicBezTo>
                <a:close/>
                <a:moveTo>
                  <a:pt x="5316457" y="4161498"/>
                </a:moveTo>
                <a:cubicBezTo>
                  <a:pt x="5318781" y="4159742"/>
                  <a:pt x="5323118" y="4159742"/>
                  <a:pt x="5326061" y="4163563"/>
                </a:cubicBezTo>
                <a:cubicBezTo>
                  <a:pt x="5325906" y="4167280"/>
                  <a:pt x="5324512" y="4169552"/>
                  <a:pt x="5323892" y="4171307"/>
                </a:cubicBezTo>
                <a:lnTo>
                  <a:pt x="5320949" y="4171100"/>
                </a:lnTo>
                <a:lnTo>
                  <a:pt x="5322653" y="4172133"/>
                </a:lnTo>
                <a:cubicBezTo>
                  <a:pt x="5324047" y="4173062"/>
                  <a:pt x="5324976" y="4173992"/>
                  <a:pt x="5324667" y="4176160"/>
                </a:cubicBezTo>
                <a:cubicBezTo>
                  <a:pt x="5322963" y="4176573"/>
                  <a:pt x="5320949" y="4175437"/>
                  <a:pt x="5319555" y="4173682"/>
                </a:cubicBezTo>
                <a:lnTo>
                  <a:pt x="5318471" y="4170894"/>
                </a:lnTo>
                <a:lnTo>
                  <a:pt x="5317231" y="4170791"/>
                </a:lnTo>
                <a:cubicBezTo>
                  <a:pt x="5313359" y="4167073"/>
                  <a:pt x="5313979" y="4163356"/>
                  <a:pt x="5316457" y="4161498"/>
                </a:cubicBezTo>
                <a:close/>
                <a:moveTo>
                  <a:pt x="5335045" y="4160775"/>
                </a:moveTo>
                <a:cubicBezTo>
                  <a:pt x="5338607" y="4166041"/>
                  <a:pt x="5342789" y="4166144"/>
                  <a:pt x="5343719" y="4171617"/>
                </a:cubicBezTo>
                <a:cubicBezTo>
                  <a:pt x="5342480" y="4173269"/>
                  <a:pt x="5340931" y="4174095"/>
                  <a:pt x="5339382" y="4174301"/>
                </a:cubicBezTo>
                <a:cubicBezTo>
                  <a:pt x="5334580" y="4175024"/>
                  <a:pt x="5329778" y="4170377"/>
                  <a:pt x="5330552" y="4165938"/>
                </a:cubicBezTo>
                <a:cubicBezTo>
                  <a:pt x="5330707" y="4163976"/>
                  <a:pt x="5332102" y="4162117"/>
                  <a:pt x="5335045" y="4160775"/>
                </a:cubicBezTo>
                <a:close/>
                <a:moveTo>
                  <a:pt x="5373711" y="4158761"/>
                </a:moveTo>
                <a:cubicBezTo>
                  <a:pt x="5377718" y="4158193"/>
                  <a:pt x="5381513" y="4159381"/>
                  <a:pt x="5381668" y="4162633"/>
                </a:cubicBezTo>
                <a:cubicBezTo>
                  <a:pt x="5381668" y="4163563"/>
                  <a:pt x="5381514" y="4164699"/>
                  <a:pt x="5380894" y="4166041"/>
                </a:cubicBezTo>
                <a:cubicBezTo>
                  <a:pt x="5379500" y="4167176"/>
                  <a:pt x="5377951" y="4168209"/>
                  <a:pt x="5376557" y="4169035"/>
                </a:cubicBezTo>
                <a:lnTo>
                  <a:pt x="5372685" y="4170687"/>
                </a:lnTo>
                <a:lnTo>
                  <a:pt x="5372994" y="4176883"/>
                </a:lnTo>
                <a:cubicBezTo>
                  <a:pt x="5372994" y="4179155"/>
                  <a:pt x="5372374" y="4180703"/>
                  <a:pt x="5369586" y="4181839"/>
                </a:cubicBezTo>
                <a:cubicBezTo>
                  <a:pt x="5368192" y="4180703"/>
                  <a:pt x="5367573" y="4178638"/>
                  <a:pt x="5367418" y="4176160"/>
                </a:cubicBezTo>
                <a:lnTo>
                  <a:pt x="5367263" y="4169552"/>
                </a:lnTo>
                <a:lnTo>
                  <a:pt x="5364940" y="4168106"/>
                </a:lnTo>
                <a:cubicBezTo>
                  <a:pt x="5365869" y="4167280"/>
                  <a:pt x="5365095" y="4166351"/>
                  <a:pt x="5364475" y="4165421"/>
                </a:cubicBezTo>
                <a:cubicBezTo>
                  <a:pt x="5365482" y="4161652"/>
                  <a:pt x="5369703" y="4159329"/>
                  <a:pt x="5373711" y="4158761"/>
                </a:cubicBezTo>
                <a:close/>
                <a:moveTo>
                  <a:pt x="5567234" y="4158297"/>
                </a:moveTo>
                <a:cubicBezTo>
                  <a:pt x="5570642" y="4161084"/>
                  <a:pt x="5572346" y="4158503"/>
                  <a:pt x="5577612" y="4163046"/>
                </a:cubicBezTo>
                <a:cubicBezTo>
                  <a:pt x="5584582" y="4168622"/>
                  <a:pt x="5583033" y="4174611"/>
                  <a:pt x="5580710" y="4177915"/>
                </a:cubicBezTo>
                <a:cubicBezTo>
                  <a:pt x="5580090" y="4177296"/>
                  <a:pt x="5576838" y="4181839"/>
                  <a:pt x="5571881" y="4181426"/>
                </a:cubicBezTo>
                <a:cubicBezTo>
                  <a:pt x="5570177" y="4181323"/>
                  <a:pt x="5568473" y="4180600"/>
                  <a:pt x="5566460" y="4178948"/>
                </a:cubicBezTo>
                <a:cubicBezTo>
                  <a:pt x="5562123" y="4175334"/>
                  <a:pt x="5558405" y="4169965"/>
                  <a:pt x="5563981" y="4163356"/>
                </a:cubicBezTo>
                <a:cubicBezTo>
                  <a:pt x="5564756" y="4161704"/>
                  <a:pt x="5564911" y="4162530"/>
                  <a:pt x="5565685" y="4161704"/>
                </a:cubicBezTo>
                <a:cubicBezTo>
                  <a:pt x="5566460" y="4160878"/>
                  <a:pt x="5567234" y="4159226"/>
                  <a:pt x="5567234" y="4158297"/>
                </a:cubicBezTo>
                <a:close/>
                <a:moveTo>
                  <a:pt x="5707416" y="4157884"/>
                </a:moveTo>
                <a:cubicBezTo>
                  <a:pt x="5709739" y="4156541"/>
                  <a:pt x="5714850" y="4164802"/>
                  <a:pt x="5706641" y="4163046"/>
                </a:cubicBezTo>
                <a:cubicBezTo>
                  <a:pt x="5706176" y="4159742"/>
                  <a:pt x="5706641" y="4158297"/>
                  <a:pt x="5707416" y="4157884"/>
                </a:cubicBezTo>
                <a:close/>
                <a:moveTo>
                  <a:pt x="5399636" y="4157677"/>
                </a:moveTo>
                <a:cubicBezTo>
                  <a:pt x="5401805" y="4158916"/>
                  <a:pt x="5405213" y="4157987"/>
                  <a:pt x="5408310" y="4163563"/>
                </a:cubicBezTo>
                <a:cubicBezTo>
                  <a:pt x="5411099" y="4169965"/>
                  <a:pt x="5405213" y="4172443"/>
                  <a:pt x="5405987" y="4172856"/>
                </a:cubicBezTo>
                <a:cubicBezTo>
                  <a:pt x="5406297" y="4174095"/>
                  <a:pt x="5406297" y="4174095"/>
                  <a:pt x="5407071" y="4174508"/>
                </a:cubicBezTo>
                <a:cubicBezTo>
                  <a:pt x="5406762" y="4175231"/>
                  <a:pt x="5406762" y="4177296"/>
                  <a:pt x="5407226" y="4178432"/>
                </a:cubicBezTo>
                <a:cubicBezTo>
                  <a:pt x="5406452" y="4178019"/>
                  <a:pt x="5405677" y="4177605"/>
                  <a:pt x="5405367" y="4178328"/>
                </a:cubicBezTo>
                <a:cubicBezTo>
                  <a:pt x="5404593" y="4175953"/>
                  <a:pt x="5404903" y="4175231"/>
                  <a:pt x="5404438" y="4173992"/>
                </a:cubicBezTo>
                <a:cubicBezTo>
                  <a:pt x="5404128" y="4174714"/>
                  <a:pt x="5403663" y="4173578"/>
                  <a:pt x="5403663" y="4173578"/>
                </a:cubicBezTo>
                <a:cubicBezTo>
                  <a:pt x="5403663" y="4173578"/>
                  <a:pt x="5403663" y="4173475"/>
                  <a:pt x="5401495" y="4174198"/>
                </a:cubicBezTo>
                <a:cubicBezTo>
                  <a:pt x="5401495" y="4174198"/>
                  <a:pt x="5396229" y="4175128"/>
                  <a:pt x="5393905" y="4169965"/>
                </a:cubicBezTo>
                <a:cubicBezTo>
                  <a:pt x="5394989" y="4169552"/>
                  <a:pt x="5392666" y="4162427"/>
                  <a:pt x="5395454" y="4160259"/>
                </a:cubicBezTo>
                <a:cubicBezTo>
                  <a:pt x="5397003" y="4159123"/>
                  <a:pt x="5398087" y="4158813"/>
                  <a:pt x="5399636" y="4157677"/>
                </a:cubicBezTo>
                <a:close/>
                <a:moveTo>
                  <a:pt x="5633046" y="4157354"/>
                </a:moveTo>
                <a:cubicBezTo>
                  <a:pt x="5637905" y="4156386"/>
                  <a:pt x="5642746" y="4157471"/>
                  <a:pt x="5646231" y="4161084"/>
                </a:cubicBezTo>
                <a:cubicBezTo>
                  <a:pt x="5648245" y="4163666"/>
                  <a:pt x="5649019" y="4166144"/>
                  <a:pt x="5649174" y="4168416"/>
                </a:cubicBezTo>
                <a:lnTo>
                  <a:pt x="5647625" y="4173166"/>
                </a:lnTo>
                <a:lnTo>
                  <a:pt x="5647935" y="4173785"/>
                </a:lnTo>
                <a:lnTo>
                  <a:pt x="5647315" y="4173992"/>
                </a:lnTo>
                <a:lnTo>
                  <a:pt x="5647161" y="4174508"/>
                </a:lnTo>
                <a:cubicBezTo>
                  <a:pt x="5644527" y="4178019"/>
                  <a:pt x="5639725" y="4180187"/>
                  <a:pt x="5634769" y="4179877"/>
                </a:cubicBezTo>
                <a:cubicBezTo>
                  <a:pt x="5628728" y="4179464"/>
                  <a:pt x="5622532" y="4175540"/>
                  <a:pt x="5619744" y="4165938"/>
                </a:cubicBezTo>
                <a:cubicBezTo>
                  <a:pt x="5623307" y="4161343"/>
                  <a:pt x="5628186" y="4158323"/>
                  <a:pt x="5633046" y="4157354"/>
                </a:cubicBezTo>
                <a:close/>
                <a:moveTo>
                  <a:pt x="5518442" y="4157264"/>
                </a:moveTo>
                <a:cubicBezTo>
                  <a:pt x="5520920" y="4156644"/>
                  <a:pt x="5522779" y="4156748"/>
                  <a:pt x="5524483" y="4158916"/>
                </a:cubicBezTo>
                <a:cubicBezTo>
                  <a:pt x="5522934" y="4159019"/>
                  <a:pt x="5521850" y="4159123"/>
                  <a:pt x="5520920" y="4158916"/>
                </a:cubicBezTo>
                <a:cubicBezTo>
                  <a:pt x="5519991" y="4158813"/>
                  <a:pt x="5519371" y="4158297"/>
                  <a:pt x="5518442" y="4157264"/>
                </a:cubicBezTo>
                <a:close/>
                <a:moveTo>
                  <a:pt x="5227237" y="4155302"/>
                </a:moveTo>
                <a:cubicBezTo>
                  <a:pt x="5233742" y="4160155"/>
                  <a:pt x="5230490" y="4166970"/>
                  <a:pt x="5225843" y="4167693"/>
                </a:cubicBezTo>
                <a:cubicBezTo>
                  <a:pt x="5224294" y="4168003"/>
                  <a:pt x="5222590" y="4167590"/>
                  <a:pt x="5221041" y="4166247"/>
                </a:cubicBezTo>
                <a:cubicBezTo>
                  <a:pt x="5221661" y="4161084"/>
                  <a:pt x="5221351" y="4154993"/>
                  <a:pt x="5227237" y="4155302"/>
                </a:cubicBezTo>
                <a:close/>
                <a:moveTo>
                  <a:pt x="5150098" y="4154993"/>
                </a:moveTo>
                <a:cubicBezTo>
                  <a:pt x="5151957" y="4153443"/>
                  <a:pt x="5157379" y="4152514"/>
                  <a:pt x="5160786" y="4155509"/>
                </a:cubicBezTo>
                <a:cubicBezTo>
                  <a:pt x="5160941" y="4159639"/>
                  <a:pt x="5159238" y="4161498"/>
                  <a:pt x="5156294" y="4161498"/>
                </a:cubicBezTo>
                <a:cubicBezTo>
                  <a:pt x="5155210" y="4161498"/>
                  <a:pt x="5154126" y="4161291"/>
                  <a:pt x="5152732" y="4160981"/>
                </a:cubicBezTo>
                <a:cubicBezTo>
                  <a:pt x="5152267" y="4159019"/>
                  <a:pt x="5151183" y="4157574"/>
                  <a:pt x="5150098" y="4154993"/>
                </a:cubicBezTo>
                <a:close/>
                <a:moveTo>
                  <a:pt x="5064441" y="4153857"/>
                </a:moveTo>
                <a:cubicBezTo>
                  <a:pt x="5065060" y="4154270"/>
                  <a:pt x="5066919" y="4154476"/>
                  <a:pt x="5067229" y="4155715"/>
                </a:cubicBezTo>
                <a:cubicBezTo>
                  <a:pt x="5067384" y="4156851"/>
                  <a:pt x="5067384" y="4156851"/>
                  <a:pt x="5066455" y="4158297"/>
                </a:cubicBezTo>
                <a:cubicBezTo>
                  <a:pt x="5065680" y="4157264"/>
                  <a:pt x="5065215" y="4156748"/>
                  <a:pt x="5065060" y="4156232"/>
                </a:cubicBezTo>
                <a:cubicBezTo>
                  <a:pt x="5064751" y="4155612"/>
                  <a:pt x="5064596" y="4155096"/>
                  <a:pt x="5064441" y="4153857"/>
                </a:cubicBezTo>
                <a:close/>
                <a:moveTo>
                  <a:pt x="5443627" y="4153547"/>
                </a:moveTo>
                <a:cubicBezTo>
                  <a:pt x="5444556" y="4154373"/>
                  <a:pt x="5445331" y="4156128"/>
                  <a:pt x="5444556" y="4156954"/>
                </a:cubicBezTo>
                <a:cubicBezTo>
                  <a:pt x="5444246" y="4157780"/>
                  <a:pt x="5443782" y="4157780"/>
                  <a:pt x="5443162" y="4157367"/>
                </a:cubicBezTo>
                <a:cubicBezTo>
                  <a:pt x="5442697" y="4157058"/>
                  <a:pt x="5442078" y="4156438"/>
                  <a:pt x="5441149" y="4156025"/>
                </a:cubicBezTo>
                <a:close/>
                <a:moveTo>
                  <a:pt x="5557902" y="4152992"/>
                </a:moveTo>
                <a:cubicBezTo>
                  <a:pt x="5559335" y="4153857"/>
                  <a:pt x="5560264" y="4155715"/>
                  <a:pt x="5559799" y="4158400"/>
                </a:cubicBezTo>
                <a:cubicBezTo>
                  <a:pt x="5556391" y="4157780"/>
                  <a:pt x="5552829" y="4157161"/>
                  <a:pt x="5552984" y="4153547"/>
                </a:cubicBezTo>
                <a:cubicBezTo>
                  <a:pt x="5554533" y="4152256"/>
                  <a:pt x="5556469" y="4152127"/>
                  <a:pt x="5557902" y="4152992"/>
                </a:cubicBezTo>
                <a:close/>
                <a:moveTo>
                  <a:pt x="5437431" y="4152927"/>
                </a:moveTo>
                <a:cubicBezTo>
                  <a:pt x="5437431" y="4152927"/>
                  <a:pt x="5437586" y="4152927"/>
                  <a:pt x="5438670" y="4154683"/>
                </a:cubicBezTo>
                <a:lnTo>
                  <a:pt x="5438360" y="4156232"/>
                </a:lnTo>
                <a:lnTo>
                  <a:pt x="5440374" y="4156748"/>
                </a:lnTo>
                <a:cubicBezTo>
                  <a:pt x="5442078" y="4158503"/>
                  <a:pt x="5444711" y="4161291"/>
                  <a:pt x="5443162" y="4163872"/>
                </a:cubicBezTo>
                <a:cubicBezTo>
                  <a:pt x="5442388" y="4163872"/>
                  <a:pt x="5442388" y="4164699"/>
                  <a:pt x="5441458" y="4164595"/>
                </a:cubicBezTo>
                <a:cubicBezTo>
                  <a:pt x="5441458" y="4164595"/>
                  <a:pt x="5440684" y="4165008"/>
                  <a:pt x="5439445" y="4165111"/>
                </a:cubicBezTo>
                <a:cubicBezTo>
                  <a:pt x="5438206" y="4165111"/>
                  <a:pt x="5436656" y="4164905"/>
                  <a:pt x="5434952" y="4163460"/>
                </a:cubicBezTo>
                <a:cubicBezTo>
                  <a:pt x="5434023" y="4162530"/>
                  <a:pt x="5432164" y="4159845"/>
                  <a:pt x="5432939" y="4159845"/>
                </a:cubicBezTo>
                <a:cubicBezTo>
                  <a:pt x="5433868" y="4159019"/>
                  <a:pt x="5432939" y="4159019"/>
                  <a:pt x="5432939" y="4158090"/>
                </a:cubicBezTo>
                <a:lnTo>
                  <a:pt x="5434178" y="4157367"/>
                </a:lnTo>
                <a:lnTo>
                  <a:pt x="5433714" y="4156851"/>
                </a:lnTo>
                <a:cubicBezTo>
                  <a:pt x="5432475" y="4155096"/>
                  <a:pt x="5432629" y="4155096"/>
                  <a:pt x="5433404" y="4154166"/>
                </a:cubicBezTo>
                <a:cubicBezTo>
                  <a:pt x="5434023" y="4153134"/>
                  <a:pt x="5436656" y="4153857"/>
                  <a:pt x="5437431" y="4152927"/>
                </a:cubicBezTo>
                <a:close/>
                <a:moveTo>
                  <a:pt x="5062427" y="4152514"/>
                </a:moveTo>
                <a:cubicBezTo>
                  <a:pt x="5062892" y="4151792"/>
                  <a:pt x="5063666" y="4152308"/>
                  <a:pt x="5063976" y="4153443"/>
                </a:cubicBezTo>
                <a:cubicBezTo>
                  <a:pt x="5063976" y="4153443"/>
                  <a:pt x="5063512" y="4154166"/>
                  <a:pt x="5063512" y="4154166"/>
                </a:cubicBezTo>
                <a:cubicBezTo>
                  <a:pt x="5063202" y="4153960"/>
                  <a:pt x="5062737" y="4153650"/>
                  <a:pt x="5062582" y="4153443"/>
                </a:cubicBezTo>
                <a:cubicBezTo>
                  <a:pt x="5062272" y="4153134"/>
                  <a:pt x="5062272" y="4152824"/>
                  <a:pt x="5062427" y="4152514"/>
                </a:cubicBezTo>
                <a:close/>
                <a:moveTo>
                  <a:pt x="615984" y="4152083"/>
                </a:moveTo>
                <a:cubicBezTo>
                  <a:pt x="617068" y="4155594"/>
                  <a:pt x="614435" y="4158898"/>
                  <a:pt x="611492" y="4159518"/>
                </a:cubicBezTo>
                <a:cubicBezTo>
                  <a:pt x="610408" y="4159724"/>
                  <a:pt x="609478" y="4159724"/>
                  <a:pt x="608549" y="4159208"/>
                </a:cubicBezTo>
                <a:cubicBezTo>
                  <a:pt x="608394" y="4158692"/>
                  <a:pt x="608084" y="4157969"/>
                  <a:pt x="607774" y="4157246"/>
                </a:cubicBezTo>
                <a:cubicBezTo>
                  <a:pt x="607464" y="4156420"/>
                  <a:pt x="607155" y="4155594"/>
                  <a:pt x="607155" y="4154562"/>
                </a:cubicBezTo>
                <a:cubicBezTo>
                  <a:pt x="609943" y="4151051"/>
                  <a:pt x="613041" y="4150638"/>
                  <a:pt x="615984" y="4152083"/>
                </a:cubicBezTo>
                <a:close/>
                <a:moveTo>
                  <a:pt x="5722130" y="4150552"/>
                </a:moveTo>
                <a:cubicBezTo>
                  <a:pt x="5723060" y="4151378"/>
                  <a:pt x="5723834" y="4151482"/>
                  <a:pt x="5723060" y="4153134"/>
                </a:cubicBezTo>
                <a:cubicBezTo>
                  <a:pt x="5723060" y="4154063"/>
                  <a:pt x="5722285" y="4154889"/>
                  <a:pt x="5722285" y="4155715"/>
                </a:cubicBezTo>
                <a:cubicBezTo>
                  <a:pt x="5722285" y="4155715"/>
                  <a:pt x="5721666" y="4155922"/>
                  <a:pt x="5720891" y="4156025"/>
                </a:cubicBezTo>
                <a:cubicBezTo>
                  <a:pt x="5720272" y="4156025"/>
                  <a:pt x="5719342" y="4156025"/>
                  <a:pt x="5719033" y="4155509"/>
                </a:cubicBezTo>
                <a:cubicBezTo>
                  <a:pt x="5717329" y="4154579"/>
                  <a:pt x="5719652" y="4152204"/>
                  <a:pt x="5719652" y="4151275"/>
                </a:cubicBezTo>
                <a:cubicBezTo>
                  <a:pt x="5720427" y="4150449"/>
                  <a:pt x="5721201" y="4149623"/>
                  <a:pt x="5722130" y="4150552"/>
                </a:cubicBezTo>
                <a:close/>
                <a:moveTo>
                  <a:pt x="5060104" y="4150036"/>
                </a:moveTo>
                <a:cubicBezTo>
                  <a:pt x="5060413" y="4151172"/>
                  <a:pt x="5060878" y="4150552"/>
                  <a:pt x="5059949" y="4151895"/>
                </a:cubicBezTo>
                <a:cubicBezTo>
                  <a:pt x="5059794" y="4150759"/>
                  <a:pt x="5059794" y="4150759"/>
                  <a:pt x="5059019" y="4150346"/>
                </a:cubicBezTo>
                <a:cubicBezTo>
                  <a:pt x="5059019" y="4150346"/>
                  <a:pt x="5060104" y="4150036"/>
                  <a:pt x="5060104" y="4150036"/>
                </a:cubicBezTo>
                <a:close/>
                <a:moveTo>
                  <a:pt x="5761939" y="4149727"/>
                </a:moveTo>
                <a:lnTo>
                  <a:pt x="5764727" y="4150552"/>
                </a:lnTo>
                <a:lnTo>
                  <a:pt x="5769529" y="4150242"/>
                </a:lnTo>
                <a:cubicBezTo>
                  <a:pt x="5774795" y="4150862"/>
                  <a:pt x="5779442" y="4153753"/>
                  <a:pt x="5780991" y="4161394"/>
                </a:cubicBezTo>
                <a:lnTo>
                  <a:pt x="5776809" y="4164905"/>
                </a:lnTo>
                <a:lnTo>
                  <a:pt x="5776964" y="4165525"/>
                </a:lnTo>
                <a:lnTo>
                  <a:pt x="5776189" y="4165318"/>
                </a:lnTo>
                <a:lnTo>
                  <a:pt x="5775415" y="4166041"/>
                </a:lnTo>
                <a:lnTo>
                  <a:pt x="5774021" y="4164802"/>
                </a:lnTo>
                <a:lnTo>
                  <a:pt x="5772317" y="4164492"/>
                </a:lnTo>
                <a:cubicBezTo>
                  <a:pt x="5770923" y="4163976"/>
                  <a:pt x="5769529" y="4163150"/>
                  <a:pt x="5768290" y="4162117"/>
                </a:cubicBezTo>
                <a:lnTo>
                  <a:pt x="5766586" y="4159845"/>
                </a:lnTo>
                <a:lnTo>
                  <a:pt x="5764263" y="4158606"/>
                </a:lnTo>
                <a:lnTo>
                  <a:pt x="5760700" y="4156851"/>
                </a:lnTo>
                <a:lnTo>
                  <a:pt x="5759770" y="4157884"/>
                </a:lnTo>
                <a:cubicBezTo>
                  <a:pt x="5758841" y="4159019"/>
                  <a:pt x="5757912" y="4159845"/>
                  <a:pt x="5757447" y="4159432"/>
                </a:cubicBezTo>
                <a:cubicBezTo>
                  <a:pt x="5757447" y="4159432"/>
                  <a:pt x="5758376" y="4158503"/>
                  <a:pt x="5759306" y="4157677"/>
                </a:cubicBezTo>
                <a:lnTo>
                  <a:pt x="5759460" y="4156232"/>
                </a:lnTo>
                <a:lnTo>
                  <a:pt x="5758841" y="4155922"/>
                </a:lnTo>
                <a:cubicBezTo>
                  <a:pt x="5757137" y="4154993"/>
                  <a:pt x="5755433" y="4153857"/>
                  <a:pt x="5754039" y="4152514"/>
                </a:cubicBezTo>
                <a:cubicBezTo>
                  <a:pt x="5756208" y="4151895"/>
                  <a:pt x="5758686" y="4151172"/>
                  <a:pt x="5761474" y="4150656"/>
                </a:cubicBezTo>
                <a:lnTo>
                  <a:pt x="5762093" y="4150656"/>
                </a:lnTo>
                <a:close/>
                <a:moveTo>
                  <a:pt x="775372" y="4149296"/>
                </a:moveTo>
                <a:lnTo>
                  <a:pt x="775217" y="4149399"/>
                </a:lnTo>
                <a:cubicBezTo>
                  <a:pt x="774443" y="4149915"/>
                  <a:pt x="773668" y="4150431"/>
                  <a:pt x="772893" y="4150741"/>
                </a:cubicBezTo>
                <a:lnTo>
                  <a:pt x="771654" y="4151051"/>
                </a:lnTo>
                <a:cubicBezTo>
                  <a:pt x="772739" y="4151464"/>
                  <a:pt x="773823" y="4152083"/>
                  <a:pt x="774907" y="4152290"/>
                </a:cubicBezTo>
                <a:cubicBezTo>
                  <a:pt x="775837" y="4152497"/>
                  <a:pt x="776611" y="4152393"/>
                  <a:pt x="776921" y="4151774"/>
                </a:cubicBezTo>
                <a:close/>
                <a:moveTo>
                  <a:pt x="717286" y="4147953"/>
                </a:moveTo>
                <a:cubicBezTo>
                  <a:pt x="718835" y="4149915"/>
                  <a:pt x="718835" y="4150844"/>
                  <a:pt x="719610" y="4151774"/>
                </a:cubicBezTo>
                <a:cubicBezTo>
                  <a:pt x="719610" y="4150947"/>
                  <a:pt x="720384" y="4151980"/>
                  <a:pt x="720384" y="4151980"/>
                </a:cubicBezTo>
                <a:cubicBezTo>
                  <a:pt x="720384" y="4151980"/>
                  <a:pt x="720539" y="4151980"/>
                  <a:pt x="722243" y="4150535"/>
                </a:cubicBezTo>
                <a:cubicBezTo>
                  <a:pt x="722243" y="4150535"/>
                  <a:pt x="726580" y="4147746"/>
                  <a:pt x="730607" y="4151877"/>
                </a:cubicBezTo>
                <a:cubicBezTo>
                  <a:pt x="729833" y="4152393"/>
                  <a:pt x="732311" y="4155904"/>
                  <a:pt x="732776" y="4159002"/>
                </a:cubicBezTo>
                <a:lnTo>
                  <a:pt x="732621" y="4160757"/>
                </a:lnTo>
                <a:lnTo>
                  <a:pt x="734324" y="4164990"/>
                </a:lnTo>
                <a:cubicBezTo>
                  <a:pt x="735719" y="4176142"/>
                  <a:pt x="715117" y="4190081"/>
                  <a:pt x="706908" y="4192353"/>
                </a:cubicBezTo>
                <a:cubicBezTo>
                  <a:pt x="710935" y="4184609"/>
                  <a:pt x="717286" y="4173457"/>
                  <a:pt x="724566" y="4166126"/>
                </a:cubicBezTo>
                <a:lnTo>
                  <a:pt x="725031" y="4165816"/>
                </a:lnTo>
                <a:lnTo>
                  <a:pt x="722862" y="4165403"/>
                </a:lnTo>
                <a:cubicBezTo>
                  <a:pt x="721933" y="4164990"/>
                  <a:pt x="720849" y="4164268"/>
                  <a:pt x="719764" y="4163235"/>
                </a:cubicBezTo>
                <a:cubicBezTo>
                  <a:pt x="714962" y="4158072"/>
                  <a:pt x="719455" y="4153529"/>
                  <a:pt x="718680" y="4153426"/>
                </a:cubicBezTo>
                <a:cubicBezTo>
                  <a:pt x="717906" y="4152393"/>
                  <a:pt x="717906" y="4152393"/>
                  <a:pt x="717131" y="4152290"/>
                </a:cubicBezTo>
                <a:cubicBezTo>
                  <a:pt x="717131" y="4151361"/>
                  <a:pt x="716511" y="4149502"/>
                  <a:pt x="715737" y="4148469"/>
                </a:cubicBezTo>
                <a:cubicBezTo>
                  <a:pt x="716511" y="4148676"/>
                  <a:pt x="717286" y="4148779"/>
                  <a:pt x="717286" y="4147953"/>
                </a:cubicBezTo>
                <a:close/>
                <a:moveTo>
                  <a:pt x="1355769" y="4146714"/>
                </a:moveTo>
                <a:cubicBezTo>
                  <a:pt x="1355769" y="4146714"/>
                  <a:pt x="1355924" y="4146714"/>
                  <a:pt x="1356698" y="4147746"/>
                </a:cubicBezTo>
                <a:cubicBezTo>
                  <a:pt x="1355459" y="4147540"/>
                  <a:pt x="1354530" y="4149399"/>
                  <a:pt x="1353445" y="4149502"/>
                </a:cubicBezTo>
                <a:cubicBezTo>
                  <a:pt x="1353135" y="4149605"/>
                  <a:pt x="1352825" y="4149502"/>
                  <a:pt x="1352361" y="4148985"/>
                </a:cubicBezTo>
                <a:cubicBezTo>
                  <a:pt x="1353291" y="4148160"/>
                  <a:pt x="1354994" y="4147437"/>
                  <a:pt x="1355769" y="4146714"/>
                </a:cubicBezTo>
                <a:close/>
                <a:moveTo>
                  <a:pt x="5117338" y="4146035"/>
                </a:moveTo>
                <a:cubicBezTo>
                  <a:pt x="5119158" y="4146783"/>
                  <a:pt x="5121133" y="4148177"/>
                  <a:pt x="5123766" y="4148797"/>
                </a:cubicBezTo>
                <a:cubicBezTo>
                  <a:pt x="5122837" y="4151069"/>
                  <a:pt x="5120668" y="4152308"/>
                  <a:pt x="5118345" y="4152721"/>
                </a:cubicBezTo>
                <a:cubicBezTo>
                  <a:pt x="5116021" y="4153031"/>
                  <a:pt x="5113698" y="4152514"/>
                  <a:pt x="5112458" y="4151069"/>
                </a:cubicBezTo>
                <a:cubicBezTo>
                  <a:pt x="5111684" y="4150139"/>
                  <a:pt x="5111374" y="4148797"/>
                  <a:pt x="5111839" y="4147145"/>
                </a:cubicBezTo>
                <a:cubicBezTo>
                  <a:pt x="5113853" y="4145183"/>
                  <a:pt x="5115518" y="4145286"/>
                  <a:pt x="5117338" y="4146035"/>
                </a:cubicBezTo>
                <a:close/>
                <a:moveTo>
                  <a:pt x="5861382" y="4145183"/>
                </a:moveTo>
                <a:lnTo>
                  <a:pt x="5859678" y="4145390"/>
                </a:lnTo>
                <a:lnTo>
                  <a:pt x="5862002" y="4145699"/>
                </a:lnTo>
                <a:lnTo>
                  <a:pt x="5862157" y="4145699"/>
                </a:lnTo>
                <a:close/>
                <a:moveTo>
                  <a:pt x="5385270" y="4143324"/>
                </a:moveTo>
                <a:cubicBezTo>
                  <a:pt x="5386974" y="4144254"/>
                  <a:pt x="5387864" y="4146680"/>
                  <a:pt x="5387399" y="4149210"/>
                </a:cubicBezTo>
                <a:cubicBezTo>
                  <a:pt x="5387090" y="4150965"/>
                  <a:pt x="5386160" y="4152617"/>
                  <a:pt x="5384456" y="4154063"/>
                </a:cubicBezTo>
                <a:cubicBezTo>
                  <a:pt x="5383837" y="4153960"/>
                  <a:pt x="5383218" y="4153650"/>
                  <a:pt x="5382443" y="4153134"/>
                </a:cubicBezTo>
                <a:lnTo>
                  <a:pt x="5382133" y="4152927"/>
                </a:lnTo>
                <a:lnTo>
                  <a:pt x="5379190" y="4157264"/>
                </a:lnTo>
                <a:cubicBezTo>
                  <a:pt x="5378261" y="4156644"/>
                  <a:pt x="5377641" y="4155818"/>
                  <a:pt x="5377331" y="4154786"/>
                </a:cubicBezTo>
                <a:cubicBezTo>
                  <a:pt x="5376867" y="4153237"/>
                  <a:pt x="5376867" y="4151378"/>
                  <a:pt x="5377331" y="4149623"/>
                </a:cubicBezTo>
                <a:lnTo>
                  <a:pt x="5378725" y="4147558"/>
                </a:lnTo>
                <a:lnTo>
                  <a:pt x="5378261" y="4146422"/>
                </a:lnTo>
                <a:cubicBezTo>
                  <a:pt x="5381049" y="4142963"/>
                  <a:pt x="5383566" y="4142395"/>
                  <a:pt x="5385270" y="4143324"/>
                </a:cubicBezTo>
                <a:close/>
                <a:moveTo>
                  <a:pt x="5709274" y="4142395"/>
                </a:moveTo>
                <a:cubicBezTo>
                  <a:pt x="5710513" y="4143531"/>
                  <a:pt x="5711133" y="4144770"/>
                  <a:pt x="5711443" y="4146009"/>
                </a:cubicBezTo>
                <a:lnTo>
                  <a:pt x="5711288" y="4146732"/>
                </a:lnTo>
                <a:lnTo>
                  <a:pt x="5712062" y="4147455"/>
                </a:lnTo>
                <a:lnTo>
                  <a:pt x="5710823" y="4148281"/>
                </a:lnTo>
                <a:lnTo>
                  <a:pt x="5710513" y="4149623"/>
                </a:lnTo>
                <a:cubicBezTo>
                  <a:pt x="5708809" y="4150242"/>
                  <a:pt x="5707105" y="4149107"/>
                  <a:pt x="5705557" y="4147971"/>
                </a:cubicBezTo>
                <a:cubicBezTo>
                  <a:pt x="5704317" y="4146938"/>
                  <a:pt x="5704008" y="4146009"/>
                  <a:pt x="5704162" y="4145183"/>
                </a:cubicBezTo>
                <a:cubicBezTo>
                  <a:pt x="5704317" y="4144254"/>
                  <a:pt x="5704937" y="4143531"/>
                  <a:pt x="5705866" y="4142808"/>
                </a:cubicBezTo>
                <a:cubicBezTo>
                  <a:pt x="5707570" y="4141260"/>
                  <a:pt x="5709274" y="4142395"/>
                  <a:pt x="5709274" y="4142395"/>
                </a:cubicBezTo>
                <a:close/>
                <a:moveTo>
                  <a:pt x="5776034" y="4142085"/>
                </a:moveTo>
                <a:cubicBezTo>
                  <a:pt x="5779287" y="4143015"/>
                  <a:pt x="5779752" y="4145699"/>
                  <a:pt x="5780062" y="4148281"/>
                </a:cubicBezTo>
                <a:cubicBezTo>
                  <a:pt x="5780216" y="4150242"/>
                  <a:pt x="5780527" y="4150965"/>
                  <a:pt x="5782075" y="4151998"/>
                </a:cubicBezTo>
                <a:cubicBezTo>
                  <a:pt x="5782075" y="4151998"/>
                  <a:pt x="5782075" y="4151998"/>
                  <a:pt x="5781301" y="4154373"/>
                </a:cubicBezTo>
                <a:lnTo>
                  <a:pt x="5780527" y="4154786"/>
                </a:lnTo>
                <a:cubicBezTo>
                  <a:pt x="5780062" y="4154889"/>
                  <a:pt x="5779597" y="4154373"/>
                  <a:pt x="5779132" y="4153650"/>
                </a:cubicBezTo>
                <a:cubicBezTo>
                  <a:pt x="5777738" y="4151275"/>
                  <a:pt x="5776344" y="4146526"/>
                  <a:pt x="5776034" y="4146009"/>
                </a:cubicBezTo>
                <a:cubicBezTo>
                  <a:pt x="5776034" y="4146009"/>
                  <a:pt x="5775725" y="4145286"/>
                  <a:pt x="5775260" y="4144460"/>
                </a:cubicBezTo>
                <a:cubicBezTo>
                  <a:pt x="5775725" y="4143325"/>
                  <a:pt x="5776344" y="4142808"/>
                  <a:pt x="5776034" y="4142085"/>
                </a:cubicBezTo>
                <a:close/>
                <a:moveTo>
                  <a:pt x="5408930" y="4141569"/>
                </a:moveTo>
                <a:cubicBezTo>
                  <a:pt x="5408930" y="4141569"/>
                  <a:pt x="5408930" y="4141569"/>
                  <a:pt x="5409860" y="4141569"/>
                </a:cubicBezTo>
                <a:cubicBezTo>
                  <a:pt x="5409395" y="4145080"/>
                  <a:pt x="5410944" y="4149416"/>
                  <a:pt x="5409550" y="4152204"/>
                </a:cubicBezTo>
                <a:cubicBezTo>
                  <a:pt x="5409240" y="4152617"/>
                  <a:pt x="5408930" y="4153134"/>
                  <a:pt x="5408310" y="4153237"/>
                </a:cubicBezTo>
                <a:cubicBezTo>
                  <a:pt x="5407846" y="4153443"/>
                  <a:pt x="5407226" y="4153237"/>
                  <a:pt x="5406297" y="4152411"/>
                </a:cubicBezTo>
                <a:cubicBezTo>
                  <a:pt x="5404438" y="4151585"/>
                  <a:pt x="5404438" y="4150759"/>
                  <a:pt x="5405677" y="4147971"/>
                </a:cubicBezTo>
                <a:cubicBezTo>
                  <a:pt x="5407071" y="4146112"/>
                  <a:pt x="5407691" y="4144357"/>
                  <a:pt x="5408465" y="4144357"/>
                </a:cubicBezTo>
                <a:cubicBezTo>
                  <a:pt x="5408310" y="4143428"/>
                  <a:pt x="5409085" y="4142498"/>
                  <a:pt x="5408930" y="4141569"/>
                </a:cubicBezTo>
                <a:close/>
                <a:moveTo>
                  <a:pt x="5244275" y="4141466"/>
                </a:moveTo>
                <a:cubicBezTo>
                  <a:pt x="5245360" y="4141156"/>
                  <a:pt x="5246444" y="4140846"/>
                  <a:pt x="5247993" y="4141672"/>
                </a:cubicBezTo>
                <a:cubicBezTo>
                  <a:pt x="5248922" y="4144047"/>
                  <a:pt x="5247063" y="4145906"/>
                  <a:pt x="5247528" y="4147042"/>
                </a:cubicBezTo>
                <a:cubicBezTo>
                  <a:pt x="5246754" y="4146629"/>
                  <a:pt x="5245205" y="4145803"/>
                  <a:pt x="5243656" y="4146938"/>
                </a:cubicBezTo>
                <a:cubicBezTo>
                  <a:pt x="5242881" y="4144564"/>
                  <a:pt x="5242107" y="4142085"/>
                  <a:pt x="5244275" y="4141466"/>
                </a:cubicBezTo>
                <a:close/>
                <a:moveTo>
                  <a:pt x="5448274" y="4140330"/>
                </a:moveTo>
                <a:cubicBezTo>
                  <a:pt x="5451062" y="4141363"/>
                  <a:pt x="5453386" y="4139813"/>
                  <a:pt x="5457258" y="4142085"/>
                </a:cubicBezTo>
                <a:lnTo>
                  <a:pt x="5454779" y="4153547"/>
                </a:lnTo>
                <a:lnTo>
                  <a:pt x="5455089" y="4155096"/>
                </a:lnTo>
                <a:cubicBezTo>
                  <a:pt x="5455244" y="4156025"/>
                  <a:pt x="5455089" y="4156851"/>
                  <a:pt x="5454625" y="4157264"/>
                </a:cubicBezTo>
                <a:lnTo>
                  <a:pt x="5453850" y="4157677"/>
                </a:lnTo>
                <a:lnTo>
                  <a:pt x="5452301" y="4164699"/>
                </a:lnTo>
                <a:cubicBezTo>
                  <a:pt x="5450907" y="4172030"/>
                  <a:pt x="5449668" y="4178948"/>
                  <a:pt x="5447345" y="4185246"/>
                </a:cubicBezTo>
                <a:cubicBezTo>
                  <a:pt x="5439909" y="4173475"/>
                  <a:pt x="5446105" y="4155922"/>
                  <a:pt x="5448274" y="4140330"/>
                </a:cubicBezTo>
                <a:close/>
                <a:moveTo>
                  <a:pt x="1373736" y="4139486"/>
                </a:moveTo>
                <a:cubicBezTo>
                  <a:pt x="1374511" y="4141345"/>
                  <a:pt x="1374511" y="4141345"/>
                  <a:pt x="1373582" y="4142997"/>
                </a:cubicBezTo>
                <a:cubicBezTo>
                  <a:pt x="1372807" y="4142894"/>
                  <a:pt x="1372807" y="4143719"/>
                  <a:pt x="1372033" y="4142790"/>
                </a:cubicBezTo>
                <a:cubicBezTo>
                  <a:pt x="1371103" y="4144030"/>
                  <a:pt x="1368780" y="4145062"/>
                  <a:pt x="1366147" y="4145578"/>
                </a:cubicBezTo>
                <a:cubicBezTo>
                  <a:pt x="1363668" y="4146198"/>
                  <a:pt x="1360880" y="4146301"/>
                  <a:pt x="1359176" y="4145578"/>
                </a:cubicBezTo>
                <a:cubicBezTo>
                  <a:pt x="1365372" y="4138453"/>
                  <a:pt x="1370328" y="4143410"/>
                  <a:pt x="1373736" y="4139486"/>
                </a:cubicBezTo>
                <a:close/>
                <a:moveTo>
                  <a:pt x="5182782" y="4138988"/>
                </a:moveTo>
                <a:cubicBezTo>
                  <a:pt x="5184021" y="4139710"/>
                  <a:pt x="5184950" y="4140743"/>
                  <a:pt x="5185260" y="4142292"/>
                </a:cubicBezTo>
                <a:cubicBezTo>
                  <a:pt x="5185725" y="4144254"/>
                  <a:pt x="5185260" y="4146732"/>
                  <a:pt x="5183092" y="4149623"/>
                </a:cubicBezTo>
                <a:cubicBezTo>
                  <a:pt x="5178909" y="4150036"/>
                  <a:pt x="5177360" y="4148074"/>
                  <a:pt x="5174417" y="4147351"/>
                </a:cubicBezTo>
                <a:cubicBezTo>
                  <a:pt x="5173643" y="4138575"/>
                  <a:pt x="5179374" y="4136819"/>
                  <a:pt x="5182782" y="4138988"/>
                </a:cubicBezTo>
                <a:close/>
                <a:moveTo>
                  <a:pt x="5661198" y="4138833"/>
                </a:moveTo>
                <a:cubicBezTo>
                  <a:pt x="5663076" y="4137103"/>
                  <a:pt x="5665516" y="4136406"/>
                  <a:pt x="5667142" y="4139194"/>
                </a:cubicBezTo>
                <a:cubicBezTo>
                  <a:pt x="5667607" y="4139917"/>
                  <a:pt x="5667607" y="4140846"/>
                  <a:pt x="5667142" y="4141775"/>
                </a:cubicBezTo>
                <a:cubicBezTo>
                  <a:pt x="5666058" y="4143944"/>
                  <a:pt x="5662960" y="4146009"/>
                  <a:pt x="5660636" y="4145803"/>
                </a:cubicBezTo>
                <a:cubicBezTo>
                  <a:pt x="5659862" y="4145699"/>
                  <a:pt x="5659088" y="4145390"/>
                  <a:pt x="5658623" y="4144667"/>
                </a:cubicBezTo>
                <a:cubicBezTo>
                  <a:pt x="5658004" y="4143324"/>
                  <a:pt x="5659320" y="4140562"/>
                  <a:pt x="5661198" y="4138833"/>
                </a:cubicBezTo>
                <a:close/>
                <a:moveTo>
                  <a:pt x="5188203" y="4137129"/>
                </a:moveTo>
                <a:cubicBezTo>
                  <a:pt x="5191766" y="4138265"/>
                  <a:pt x="5194399" y="4138678"/>
                  <a:pt x="5196722" y="4139194"/>
                </a:cubicBezTo>
                <a:lnTo>
                  <a:pt x="5197187" y="4139401"/>
                </a:lnTo>
                <a:lnTo>
                  <a:pt x="5198581" y="4137645"/>
                </a:lnTo>
                <a:cubicBezTo>
                  <a:pt x="5199665" y="4137232"/>
                  <a:pt x="5201214" y="4137336"/>
                  <a:pt x="5203073" y="4137232"/>
                </a:cubicBezTo>
                <a:cubicBezTo>
                  <a:pt x="5202918" y="4138471"/>
                  <a:pt x="5206481" y="4139298"/>
                  <a:pt x="5207720" y="4139607"/>
                </a:cubicBezTo>
                <a:cubicBezTo>
                  <a:pt x="5207255" y="4141982"/>
                  <a:pt x="5211283" y="4143634"/>
                  <a:pt x="5210818" y="4147248"/>
                </a:cubicBezTo>
                <a:cubicBezTo>
                  <a:pt x="5209424" y="4148177"/>
                  <a:pt x="5208649" y="4148694"/>
                  <a:pt x="5206791" y="4148797"/>
                </a:cubicBezTo>
                <a:cubicBezTo>
                  <a:pt x="5204622" y="4148074"/>
                  <a:pt x="5202918" y="4147248"/>
                  <a:pt x="5201679" y="4146422"/>
                </a:cubicBezTo>
                <a:lnTo>
                  <a:pt x="5198736" y="4143737"/>
                </a:lnTo>
                <a:lnTo>
                  <a:pt x="5196103" y="4143428"/>
                </a:lnTo>
                <a:cubicBezTo>
                  <a:pt x="5194399" y="4143015"/>
                  <a:pt x="5193160" y="4142498"/>
                  <a:pt x="5193160" y="4142085"/>
                </a:cubicBezTo>
                <a:cubicBezTo>
                  <a:pt x="5192230" y="4142189"/>
                  <a:pt x="5192230" y="4141260"/>
                  <a:pt x="5191301" y="4141363"/>
                </a:cubicBezTo>
                <a:cubicBezTo>
                  <a:pt x="5191301" y="4141363"/>
                  <a:pt x="5190527" y="4141363"/>
                  <a:pt x="5189442" y="4140537"/>
                </a:cubicBezTo>
                <a:cubicBezTo>
                  <a:pt x="5188513" y="4139710"/>
                  <a:pt x="5187584" y="4138884"/>
                  <a:pt x="5188203" y="4137129"/>
                </a:cubicBezTo>
                <a:close/>
                <a:moveTo>
                  <a:pt x="5563826" y="4136200"/>
                </a:moveTo>
                <a:lnTo>
                  <a:pt x="5566460" y="4137026"/>
                </a:lnTo>
                <a:lnTo>
                  <a:pt x="5566769" y="4136819"/>
                </a:lnTo>
                <a:cubicBezTo>
                  <a:pt x="5570642" y="4135477"/>
                  <a:pt x="5573895" y="4138471"/>
                  <a:pt x="5573275" y="4141879"/>
                </a:cubicBezTo>
                <a:cubicBezTo>
                  <a:pt x="5572811" y="4143428"/>
                  <a:pt x="5571726" y="4145080"/>
                  <a:pt x="5569403" y="4146422"/>
                </a:cubicBezTo>
                <a:lnTo>
                  <a:pt x="5568938" y="4146009"/>
                </a:lnTo>
                <a:lnTo>
                  <a:pt x="5568473" y="4147042"/>
                </a:lnTo>
                <a:cubicBezTo>
                  <a:pt x="5567080" y="4148797"/>
                  <a:pt x="5565376" y="4150242"/>
                  <a:pt x="5563672" y="4151585"/>
                </a:cubicBezTo>
                <a:cubicBezTo>
                  <a:pt x="5552364" y="4149210"/>
                  <a:pt x="5561193" y="4141466"/>
                  <a:pt x="5563826" y="4136200"/>
                </a:cubicBezTo>
                <a:close/>
                <a:moveTo>
                  <a:pt x="566417" y="4134943"/>
                </a:moveTo>
                <a:cubicBezTo>
                  <a:pt x="569051" y="4134943"/>
                  <a:pt x="571684" y="4136182"/>
                  <a:pt x="575711" y="4140002"/>
                </a:cubicBezTo>
                <a:cubicBezTo>
                  <a:pt x="565023" y="4147643"/>
                  <a:pt x="579738" y="4152703"/>
                  <a:pt x="571684" y="4159002"/>
                </a:cubicBezTo>
                <a:cubicBezTo>
                  <a:pt x="567811" y="4159931"/>
                  <a:pt x="563784" y="4162306"/>
                  <a:pt x="559137" y="4161893"/>
                </a:cubicBezTo>
                <a:cubicBezTo>
                  <a:pt x="557742" y="4161686"/>
                  <a:pt x="556194" y="4161273"/>
                  <a:pt x="554490" y="4160344"/>
                </a:cubicBezTo>
                <a:cubicBezTo>
                  <a:pt x="561150" y="4151464"/>
                  <a:pt x="562389" y="4143823"/>
                  <a:pt x="566417" y="4134943"/>
                </a:cubicBezTo>
                <a:close/>
                <a:moveTo>
                  <a:pt x="5236376" y="4134238"/>
                </a:moveTo>
                <a:cubicBezTo>
                  <a:pt x="5238854" y="4133412"/>
                  <a:pt x="5244275" y="4134548"/>
                  <a:pt x="5245979" y="4138471"/>
                </a:cubicBezTo>
                <a:cubicBezTo>
                  <a:pt x="5244740" y="4141053"/>
                  <a:pt x="5243191" y="4142395"/>
                  <a:pt x="5241487" y="4142705"/>
                </a:cubicBezTo>
                <a:cubicBezTo>
                  <a:pt x="5239784" y="4143015"/>
                  <a:pt x="5237925" y="4142189"/>
                  <a:pt x="5235911" y="4140537"/>
                </a:cubicBezTo>
                <a:cubicBezTo>
                  <a:pt x="5236376" y="4138678"/>
                  <a:pt x="5236066" y="4136923"/>
                  <a:pt x="5236376" y="4134238"/>
                </a:cubicBezTo>
                <a:close/>
                <a:moveTo>
                  <a:pt x="5316302" y="4133205"/>
                </a:moveTo>
                <a:cubicBezTo>
                  <a:pt x="5318626" y="4131346"/>
                  <a:pt x="5325751" y="4135167"/>
                  <a:pt x="5328539" y="4137645"/>
                </a:cubicBezTo>
                <a:cubicBezTo>
                  <a:pt x="5327920" y="4138059"/>
                  <a:pt x="5326990" y="4138162"/>
                  <a:pt x="5326061" y="4138059"/>
                </a:cubicBezTo>
                <a:cubicBezTo>
                  <a:pt x="5322963" y="4137645"/>
                  <a:pt x="5318471" y="4134961"/>
                  <a:pt x="5316302" y="4133205"/>
                </a:cubicBezTo>
                <a:close/>
                <a:moveTo>
                  <a:pt x="5039967" y="4132586"/>
                </a:moveTo>
                <a:cubicBezTo>
                  <a:pt x="5041671" y="4132689"/>
                  <a:pt x="5044769" y="4133722"/>
                  <a:pt x="5045234" y="4135993"/>
                </a:cubicBezTo>
                <a:cubicBezTo>
                  <a:pt x="5045234" y="4135993"/>
                  <a:pt x="5045234" y="4135890"/>
                  <a:pt x="5045389" y="4137129"/>
                </a:cubicBezTo>
                <a:cubicBezTo>
                  <a:pt x="5043375" y="4135787"/>
                  <a:pt x="5040742" y="4134135"/>
                  <a:pt x="5039967" y="4132586"/>
                </a:cubicBezTo>
                <a:close/>
                <a:moveTo>
                  <a:pt x="5224158" y="4132418"/>
                </a:moveTo>
                <a:cubicBezTo>
                  <a:pt x="5228515" y="4132870"/>
                  <a:pt x="5231884" y="4135322"/>
                  <a:pt x="5231109" y="4139710"/>
                </a:cubicBezTo>
                <a:cubicBezTo>
                  <a:pt x="5230799" y="4140950"/>
                  <a:pt x="5230180" y="4142395"/>
                  <a:pt x="5229251" y="4143944"/>
                </a:cubicBezTo>
                <a:cubicBezTo>
                  <a:pt x="5227856" y="4144047"/>
                  <a:pt x="5225998" y="4144254"/>
                  <a:pt x="5224294" y="4144460"/>
                </a:cubicBezTo>
                <a:cubicBezTo>
                  <a:pt x="5222900" y="4144564"/>
                  <a:pt x="5221351" y="4144564"/>
                  <a:pt x="5219957" y="4144460"/>
                </a:cubicBezTo>
                <a:cubicBezTo>
                  <a:pt x="5215929" y="4144254"/>
                  <a:pt x="5212212" y="4142602"/>
                  <a:pt x="5211283" y="4137129"/>
                </a:cubicBezTo>
                <a:cubicBezTo>
                  <a:pt x="5214458" y="4133515"/>
                  <a:pt x="5219802" y="4131966"/>
                  <a:pt x="5224158" y="4132418"/>
                </a:cubicBezTo>
                <a:close/>
                <a:moveTo>
                  <a:pt x="5856890" y="4131450"/>
                </a:moveTo>
                <a:lnTo>
                  <a:pt x="5856116" y="4132586"/>
                </a:lnTo>
                <a:cubicBezTo>
                  <a:pt x="5854722" y="4133928"/>
                  <a:pt x="5852863" y="4135064"/>
                  <a:pt x="5850849" y="4136097"/>
                </a:cubicBezTo>
                <a:lnTo>
                  <a:pt x="5847752" y="4137232"/>
                </a:lnTo>
                <a:lnTo>
                  <a:pt x="5848371" y="4139504"/>
                </a:lnTo>
                <a:cubicBezTo>
                  <a:pt x="5849300" y="4141260"/>
                  <a:pt x="5850075" y="4143015"/>
                  <a:pt x="5850695" y="4145493"/>
                </a:cubicBezTo>
                <a:cubicBezTo>
                  <a:pt x="5851624" y="4147248"/>
                  <a:pt x="5852398" y="4149004"/>
                  <a:pt x="5853018" y="4151482"/>
                </a:cubicBezTo>
                <a:cubicBezTo>
                  <a:pt x="5854567" y="4155405"/>
                  <a:pt x="5856116" y="4159019"/>
                  <a:pt x="5857200" y="4162427"/>
                </a:cubicBezTo>
                <a:lnTo>
                  <a:pt x="5857510" y="4163769"/>
                </a:lnTo>
                <a:lnTo>
                  <a:pt x="5857820" y="4163976"/>
                </a:lnTo>
                <a:cubicBezTo>
                  <a:pt x="5864016" y="4168106"/>
                  <a:pt x="5869747" y="4172030"/>
                  <a:pt x="5874703" y="4176676"/>
                </a:cubicBezTo>
                <a:cubicBezTo>
                  <a:pt x="5871141" y="4177193"/>
                  <a:pt x="5867733" y="4176676"/>
                  <a:pt x="5864325" y="4175643"/>
                </a:cubicBezTo>
                <a:lnTo>
                  <a:pt x="5860298" y="4173785"/>
                </a:lnTo>
                <a:lnTo>
                  <a:pt x="5862931" y="4179877"/>
                </a:lnTo>
                <a:cubicBezTo>
                  <a:pt x="5864480" y="4182665"/>
                  <a:pt x="5866339" y="4185660"/>
                  <a:pt x="5867888" y="4188447"/>
                </a:cubicBezTo>
                <a:cubicBezTo>
                  <a:pt x="5870986" y="4194643"/>
                  <a:pt x="5873464" y="4200012"/>
                  <a:pt x="5870986" y="4203006"/>
                </a:cubicBezTo>
                <a:cubicBezTo>
                  <a:pt x="5873464" y="4210544"/>
                  <a:pt x="5876253" y="4217359"/>
                  <a:pt x="5878266" y="4223968"/>
                </a:cubicBezTo>
                <a:lnTo>
                  <a:pt x="5880589" y="4229234"/>
                </a:lnTo>
                <a:lnTo>
                  <a:pt x="5887405" y="4226033"/>
                </a:lnTo>
                <a:cubicBezTo>
                  <a:pt x="5891897" y="4230782"/>
                  <a:pt x="5893446" y="4236668"/>
                  <a:pt x="5892981" y="4242450"/>
                </a:cubicBezTo>
                <a:lnTo>
                  <a:pt x="5890193" y="4249162"/>
                </a:lnTo>
                <a:lnTo>
                  <a:pt x="5895924" y="4259591"/>
                </a:lnTo>
                <a:cubicBezTo>
                  <a:pt x="5898402" y="4264960"/>
                  <a:pt x="5901655" y="4270330"/>
                  <a:pt x="5904134" y="4275699"/>
                </a:cubicBezTo>
                <a:cubicBezTo>
                  <a:pt x="5902430" y="4276628"/>
                  <a:pt x="5900881" y="4274666"/>
                  <a:pt x="5899177" y="4275596"/>
                </a:cubicBezTo>
                <a:cubicBezTo>
                  <a:pt x="5898248" y="4275905"/>
                  <a:pt x="5897938" y="4276422"/>
                  <a:pt x="5897938" y="4276938"/>
                </a:cubicBezTo>
                <a:lnTo>
                  <a:pt x="5898712" y="4278487"/>
                </a:lnTo>
                <a:cubicBezTo>
                  <a:pt x="5899487" y="4279933"/>
                  <a:pt x="5901036" y="4280552"/>
                  <a:pt x="5902740" y="4281378"/>
                </a:cubicBezTo>
                <a:lnTo>
                  <a:pt x="5903514" y="4282101"/>
                </a:lnTo>
                <a:lnTo>
                  <a:pt x="5903669" y="4282101"/>
                </a:lnTo>
                <a:cubicBezTo>
                  <a:pt x="5904134" y="4280552"/>
                  <a:pt x="5901036" y="4277971"/>
                  <a:pt x="5904908" y="4277454"/>
                </a:cubicBezTo>
                <a:lnTo>
                  <a:pt x="5911259" y="4286025"/>
                </a:lnTo>
                <a:lnTo>
                  <a:pt x="5913428" y="4285921"/>
                </a:lnTo>
                <a:cubicBezTo>
                  <a:pt x="5913118" y="4287057"/>
                  <a:pt x="5916680" y="4287987"/>
                  <a:pt x="5917919" y="4288296"/>
                </a:cubicBezTo>
                <a:cubicBezTo>
                  <a:pt x="5917455" y="4290671"/>
                  <a:pt x="5921482" y="4292323"/>
                  <a:pt x="5921017" y="4295937"/>
                </a:cubicBezTo>
                <a:lnTo>
                  <a:pt x="5917764" y="4297279"/>
                </a:lnTo>
                <a:lnTo>
                  <a:pt x="5918229" y="4298105"/>
                </a:lnTo>
                <a:cubicBezTo>
                  <a:pt x="5922721" y="4306263"/>
                  <a:pt x="5927213" y="4314420"/>
                  <a:pt x="5932015" y="4319686"/>
                </a:cubicBezTo>
                <a:cubicBezTo>
                  <a:pt x="5929227" y="4321132"/>
                  <a:pt x="5927988" y="4316175"/>
                  <a:pt x="5925819" y="4318550"/>
                </a:cubicBezTo>
                <a:cubicBezTo>
                  <a:pt x="5928607" y="4325365"/>
                  <a:pt x="5936817" y="4318137"/>
                  <a:pt x="5935888" y="4326914"/>
                </a:cubicBezTo>
                <a:cubicBezTo>
                  <a:pt x="5933564" y="4327637"/>
                  <a:pt x="5931860" y="4326398"/>
                  <a:pt x="5930156" y="4322887"/>
                </a:cubicBezTo>
                <a:cubicBezTo>
                  <a:pt x="5928917" y="4330735"/>
                  <a:pt x="5941928" y="4334762"/>
                  <a:pt x="5941309" y="4339098"/>
                </a:cubicBezTo>
                <a:lnTo>
                  <a:pt x="5942238" y="4336104"/>
                </a:lnTo>
                <a:lnTo>
                  <a:pt x="5940224" y="4335381"/>
                </a:lnTo>
                <a:lnTo>
                  <a:pt x="5940689" y="4331354"/>
                </a:lnTo>
                <a:lnTo>
                  <a:pt x="5939760" y="4328979"/>
                </a:lnTo>
                <a:cubicBezTo>
                  <a:pt x="5938520" y="4327843"/>
                  <a:pt x="5937591" y="4325468"/>
                  <a:pt x="5937746" y="4323506"/>
                </a:cubicBezTo>
                <a:cubicBezTo>
                  <a:pt x="5938676" y="4321235"/>
                  <a:pt x="5940224" y="4320409"/>
                  <a:pt x="5941309" y="4320822"/>
                </a:cubicBezTo>
                <a:cubicBezTo>
                  <a:pt x="5950293" y="4322784"/>
                  <a:pt x="5949983" y="4331251"/>
                  <a:pt x="5951377" y="4332490"/>
                </a:cubicBezTo>
                <a:cubicBezTo>
                  <a:pt x="5950293" y="4335071"/>
                  <a:pt x="5949983" y="4335691"/>
                  <a:pt x="5947350" y="4335278"/>
                </a:cubicBezTo>
                <a:lnTo>
                  <a:pt x="5944717" y="4334555"/>
                </a:lnTo>
                <a:lnTo>
                  <a:pt x="5943478" y="4336517"/>
                </a:lnTo>
                <a:lnTo>
                  <a:pt x="5942703" y="4336310"/>
                </a:lnTo>
                <a:lnTo>
                  <a:pt x="5944407" y="4339821"/>
                </a:lnTo>
                <a:cubicBezTo>
                  <a:pt x="5945181" y="4341267"/>
                  <a:pt x="5946110" y="4342815"/>
                  <a:pt x="5947350" y="4344674"/>
                </a:cubicBezTo>
                <a:lnTo>
                  <a:pt x="5949673" y="4348907"/>
                </a:lnTo>
                <a:lnTo>
                  <a:pt x="5950138" y="4348495"/>
                </a:lnTo>
                <a:cubicBezTo>
                  <a:pt x="5951377" y="4348185"/>
                  <a:pt x="5954320" y="4347978"/>
                  <a:pt x="5953855" y="4348701"/>
                </a:cubicBezTo>
                <a:cubicBezTo>
                  <a:pt x="5954010" y="4349940"/>
                  <a:pt x="5954475" y="4349217"/>
                  <a:pt x="5955249" y="4349631"/>
                </a:cubicBezTo>
                <a:cubicBezTo>
                  <a:pt x="5955559" y="4351386"/>
                  <a:pt x="5955559" y="4352935"/>
                  <a:pt x="5955095" y="4354277"/>
                </a:cubicBezTo>
                <a:lnTo>
                  <a:pt x="5953855" y="4355516"/>
                </a:lnTo>
                <a:lnTo>
                  <a:pt x="5960826" y="4363260"/>
                </a:lnTo>
                <a:cubicBezTo>
                  <a:pt x="5963304" y="4365325"/>
                  <a:pt x="5965782" y="4366255"/>
                  <a:pt x="5967796" y="4365325"/>
                </a:cubicBezTo>
                <a:cubicBezTo>
                  <a:pt x="5969809" y="4368216"/>
                  <a:pt x="5965782" y="4369249"/>
                  <a:pt x="5969035" y="4372553"/>
                </a:cubicBezTo>
                <a:lnTo>
                  <a:pt x="5969809" y="4372760"/>
                </a:lnTo>
                <a:lnTo>
                  <a:pt x="5974456" y="4367597"/>
                </a:lnTo>
                <a:lnTo>
                  <a:pt x="5979413" y="4363776"/>
                </a:lnTo>
                <a:lnTo>
                  <a:pt x="5974921" y="4359956"/>
                </a:lnTo>
                <a:cubicBezTo>
                  <a:pt x="5972443" y="4357168"/>
                  <a:pt x="5970120" y="4354174"/>
                  <a:pt x="5968261" y="4350869"/>
                </a:cubicBezTo>
                <a:lnTo>
                  <a:pt x="5966712" y="4347359"/>
                </a:lnTo>
                <a:lnTo>
                  <a:pt x="5963614" y="4347978"/>
                </a:lnTo>
                <a:cubicBezTo>
                  <a:pt x="5962530" y="4347669"/>
                  <a:pt x="5961445" y="4347049"/>
                  <a:pt x="5960671" y="4345810"/>
                </a:cubicBezTo>
                <a:cubicBezTo>
                  <a:pt x="5961755" y="4344158"/>
                  <a:pt x="5961910" y="4342299"/>
                  <a:pt x="5962994" y="4340647"/>
                </a:cubicBezTo>
                <a:lnTo>
                  <a:pt x="5963769" y="4340544"/>
                </a:lnTo>
                <a:lnTo>
                  <a:pt x="5962065" y="4329599"/>
                </a:lnTo>
                <a:cubicBezTo>
                  <a:pt x="5961910" y="4325881"/>
                  <a:pt x="5962375" y="4322164"/>
                  <a:pt x="5963304" y="4318653"/>
                </a:cubicBezTo>
                <a:lnTo>
                  <a:pt x="5964078" y="4317105"/>
                </a:lnTo>
                <a:lnTo>
                  <a:pt x="5962530" y="4313904"/>
                </a:lnTo>
                <a:cubicBezTo>
                  <a:pt x="5962530" y="4312252"/>
                  <a:pt x="5962994" y="4310600"/>
                  <a:pt x="5964388" y="4309464"/>
                </a:cubicBezTo>
                <a:lnTo>
                  <a:pt x="5967177" y="4310600"/>
                </a:lnTo>
                <a:lnTo>
                  <a:pt x="5968106" y="4308534"/>
                </a:lnTo>
                <a:lnTo>
                  <a:pt x="5979723" y="4309567"/>
                </a:lnTo>
                <a:lnTo>
                  <a:pt x="5979878" y="4309567"/>
                </a:lnTo>
                <a:lnTo>
                  <a:pt x="5979878" y="4307708"/>
                </a:lnTo>
                <a:cubicBezTo>
                  <a:pt x="5979878" y="4305437"/>
                  <a:pt x="5979723" y="4303888"/>
                  <a:pt x="5976160" y="4304714"/>
                </a:cubicBezTo>
                <a:cubicBezTo>
                  <a:pt x="5977554" y="4302855"/>
                  <a:pt x="5977245" y="4299758"/>
                  <a:pt x="5976625" y="4297279"/>
                </a:cubicBezTo>
                <a:cubicBezTo>
                  <a:pt x="5975541" y="4293975"/>
                  <a:pt x="5973682" y="4291084"/>
                  <a:pt x="5971978" y="4287573"/>
                </a:cubicBezTo>
                <a:cubicBezTo>
                  <a:pt x="5970120" y="4288503"/>
                  <a:pt x="5970275" y="4290155"/>
                  <a:pt x="5971204" y="4291910"/>
                </a:cubicBezTo>
                <a:cubicBezTo>
                  <a:pt x="5968106" y="4292427"/>
                  <a:pt x="5968416" y="4287264"/>
                  <a:pt x="5967796" y="4282514"/>
                </a:cubicBezTo>
                <a:cubicBezTo>
                  <a:pt x="5967177" y="4277867"/>
                  <a:pt x="5965782" y="4273634"/>
                  <a:pt x="5960516" y="4274253"/>
                </a:cubicBezTo>
                <a:cubicBezTo>
                  <a:pt x="5961600" y="4273117"/>
                  <a:pt x="5962530" y="4272601"/>
                  <a:pt x="5962375" y="4271052"/>
                </a:cubicBezTo>
                <a:cubicBezTo>
                  <a:pt x="5959742" y="4270227"/>
                  <a:pt x="5960051" y="4273324"/>
                  <a:pt x="5956643" y="4270742"/>
                </a:cubicBezTo>
                <a:cubicBezTo>
                  <a:pt x="5955714" y="4266715"/>
                  <a:pt x="5957573" y="4268058"/>
                  <a:pt x="5960826" y="4266819"/>
                </a:cubicBezTo>
                <a:cubicBezTo>
                  <a:pt x="5955404" y="4265890"/>
                  <a:pt x="5950603" y="4262895"/>
                  <a:pt x="5945801" y="4259901"/>
                </a:cubicBezTo>
                <a:cubicBezTo>
                  <a:pt x="5947660" y="4258971"/>
                  <a:pt x="5949983" y="4255977"/>
                  <a:pt x="5946885" y="4250401"/>
                </a:cubicBezTo>
                <a:cubicBezTo>
                  <a:pt x="5945491" y="4260624"/>
                  <a:pt x="5936042" y="4247923"/>
                  <a:pt x="5942393" y="4244619"/>
                </a:cubicBezTo>
                <a:cubicBezTo>
                  <a:pt x="5940534" y="4243276"/>
                  <a:pt x="5934958" y="4240798"/>
                  <a:pt x="5935732" y="4244826"/>
                </a:cubicBezTo>
                <a:cubicBezTo>
                  <a:pt x="5934958" y="4242967"/>
                  <a:pt x="5938211" y="4231196"/>
                  <a:pt x="5928762" y="4231299"/>
                </a:cubicBezTo>
                <a:cubicBezTo>
                  <a:pt x="5929382" y="4228098"/>
                  <a:pt x="5929072" y="4225000"/>
                  <a:pt x="5928143" y="4222109"/>
                </a:cubicBezTo>
                <a:lnTo>
                  <a:pt x="5925355" y="4217049"/>
                </a:lnTo>
                <a:lnTo>
                  <a:pt x="5923960" y="4218805"/>
                </a:lnTo>
                <a:lnTo>
                  <a:pt x="5925199" y="4219424"/>
                </a:lnTo>
                <a:cubicBezTo>
                  <a:pt x="5925974" y="4220147"/>
                  <a:pt x="5926749" y="4221283"/>
                  <a:pt x="5927058" y="4223245"/>
                </a:cubicBezTo>
                <a:cubicBezTo>
                  <a:pt x="5925355" y="4224277"/>
                  <a:pt x="5924735" y="4221799"/>
                  <a:pt x="5923806" y="4220044"/>
                </a:cubicBezTo>
                <a:cubicBezTo>
                  <a:pt x="5920863" y="4223658"/>
                  <a:pt x="5919778" y="4227995"/>
                  <a:pt x="5919778" y="4232744"/>
                </a:cubicBezTo>
                <a:lnTo>
                  <a:pt x="5920863" y="4237597"/>
                </a:lnTo>
                <a:lnTo>
                  <a:pt x="5923341" y="4237391"/>
                </a:lnTo>
                <a:cubicBezTo>
                  <a:pt x="5924425" y="4237391"/>
                  <a:pt x="5925199" y="4237597"/>
                  <a:pt x="5925664" y="4238113"/>
                </a:cubicBezTo>
                <a:cubicBezTo>
                  <a:pt x="5925355" y="4238940"/>
                  <a:pt x="5925045" y="4239663"/>
                  <a:pt x="5923806" y="4239972"/>
                </a:cubicBezTo>
                <a:cubicBezTo>
                  <a:pt x="5922721" y="4240282"/>
                  <a:pt x="5923186" y="4239559"/>
                  <a:pt x="5922721" y="4240282"/>
                </a:cubicBezTo>
                <a:cubicBezTo>
                  <a:pt x="5921637" y="4240695"/>
                  <a:pt x="5922411" y="4241108"/>
                  <a:pt x="5922411" y="4241108"/>
                </a:cubicBezTo>
                <a:cubicBezTo>
                  <a:pt x="5922411" y="4241108"/>
                  <a:pt x="5921637" y="4240695"/>
                  <a:pt x="5921637" y="4240695"/>
                </a:cubicBezTo>
                <a:cubicBezTo>
                  <a:pt x="5921637" y="4240695"/>
                  <a:pt x="5921637" y="4240695"/>
                  <a:pt x="5921482" y="4240798"/>
                </a:cubicBezTo>
                <a:lnTo>
                  <a:pt x="5922411" y="4245341"/>
                </a:lnTo>
                <a:lnTo>
                  <a:pt x="5922566" y="4245341"/>
                </a:lnTo>
                <a:cubicBezTo>
                  <a:pt x="5925509" y="4245135"/>
                  <a:pt x="5928297" y="4245651"/>
                  <a:pt x="5930776" y="4246684"/>
                </a:cubicBezTo>
                <a:cubicBezTo>
                  <a:pt x="5938985" y="4249988"/>
                  <a:pt x="5944562" y="4259281"/>
                  <a:pt x="5943632" y="4270020"/>
                </a:cubicBezTo>
                <a:cubicBezTo>
                  <a:pt x="5942393" y="4270433"/>
                  <a:pt x="5941309" y="4270846"/>
                  <a:pt x="5941619" y="4271982"/>
                </a:cubicBezTo>
                <a:cubicBezTo>
                  <a:pt x="5938830" y="4273221"/>
                  <a:pt x="5936042" y="4273737"/>
                  <a:pt x="5933254" y="4273531"/>
                </a:cubicBezTo>
                <a:cubicBezTo>
                  <a:pt x="5924890" y="4273117"/>
                  <a:pt x="5916835" y="4267026"/>
                  <a:pt x="5914047" y="4259178"/>
                </a:cubicBezTo>
                <a:cubicBezTo>
                  <a:pt x="5913428" y="4257423"/>
                  <a:pt x="5912963" y="4255564"/>
                  <a:pt x="5912808" y="4253705"/>
                </a:cubicBezTo>
                <a:lnTo>
                  <a:pt x="5913428" y="4248336"/>
                </a:lnTo>
                <a:lnTo>
                  <a:pt x="5912343" y="4248233"/>
                </a:lnTo>
                <a:cubicBezTo>
                  <a:pt x="5910949" y="4247716"/>
                  <a:pt x="5910174" y="4246787"/>
                  <a:pt x="5909865" y="4245445"/>
                </a:cubicBezTo>
                <a:lnTo>
                  <a:pt x="5909865" y="4245135"/>
                </a:lnTo>
                <a:lnTo>
                  <a:pt x="5909090" y="4245135"/>
                </a:lnTo>
                <a:cubicBezTo>
                  <a:pt x="5908006" y="4243483"/>
                  <a:pt x="5908006" y="4243483"/>
                  <a:pt x="5908316" y="4242760"/>
                </a:cubicBezTo>
                <a:cubicBezTo>
                  <a:pt x="5908006" y="4243483"/>
                  <a:pt x="5907231" y="4243070"/>
                  <a:pt x="5906147" y="4243380"/>
                </a:cubicBezTo>
                <a:cubicBezTo>
                  <a:pt x="5901965" y="4245858"/>
                  <a:pt x="5899022" y="4242244"/>
                  <a:pt x="5896698" y="4237081"/>
                </a:cubicBezTo>
                <a:cubicBezTo>
                  <a:pt x="5897783" y="4236668"/>
                  <a:pt x="5896234" y="4233880"/>
                  <a:pt x="5896079" y="4231918"/>
                </a:cubicBezTo>
                <a:lnTo>
                  <a:pt x="5896389" y="4231402"/>
                </a:lnTo>
                <a:lnTo>
                  <a:pt x="5892981" y="4230576"/>
                </a:lnTo>
                <a:cubicBezTo>
                  <a:pt x="5893910" y="4228201"/>
                  <a:pt x="5894375" y="4227169"/>
                  <a:pt x="5894530" y="4225207"/>
                </a:cubicBezTo>
                <a:cubicBezTo>
                  <a:pt x="5897783" y="4226445"/>
                  <a:pt x="5900416" y="4226445"/>
                  <a:pt x="5902430" y="4226962"/>
                </a:cubicBezTo>
                <a:lnTo>
                  <a:pt x="5903824" y="4227581"/>
                </a:lnTo>
                <a:lnTo>
                  <a:pt x="5906147" y="4227788"/>
                </a:lnTo>
                <a:cubicBezTo>
                  <a:pt x="5908316" y="4228407"/>
                  <a:pt x="5910020" y="4229647"/>
                  <a:pt x="5910639" y="4231505"/>
                </a:cubicBezTo>
                <a:cubicBezTo>
                  <a:pt x="5911569" y="4233467"/>
                  <a:pt x="5912033" y="4235223"/>
                  <a:pt x="5912033" y="4236668"/>
                </a:cubicBezTo>
                <a:lnTo>
                  <a:pt x="5911414" y="4239559"/>
                </a:lnTo>
                <a:lnTo>
                  <a:pt x="5915751" y="4237391"/>
                </a:lnTo>
                <a:lnTo>
                  <a:pt x="5916061" y="4238630"/>
                </a:lnTo>
                <a:lnTo>
                  <a:pt x="5917145" y="4238320"/>
                </a:lnTo>
                <a:lnTo>
                  <a:pt x="5916370" y="4236048"/>
                </a:lnTo>
                <a:cubicBezTo>
                  <a:pt x="5916061" y="4233261"/>
                  <a:pt x="5916216" y="4230679"/>
                  <a:pt x="5916525" y="4229027"/>
                </a:cubicBezTo>
                <a:cubicBezTo>
                  <a:pt x="5915286" y="4228614"/>
                  <a:pt x="5914357" y="4227891"/>
                  <a:pt x="5913428" y="4226962"/>
                </a:cubicBezTo>
                <a:lnTo>
                  <a:pt x="5911259" y="4224277"/>
                </a:lnTo>
                <a:lnTo>
                  <a:pt x="5910794" y="4224484"/>
                </a:lnTo>
                <a:cubicBezTo>
                  <a:pt x="5905063" y="4224690"/>
                  <a:pt x="5899177" y="4222832"/>
                  <a:pt x="5894840" y="4219011"/>
                </a:cubicBezTo>
                <a:lnTo>
                  <a:pt x="5894220" y="4218289"/>
                </a:lnTo>
                <a:lnTo>
                  <a:pt x="5894685" y="4219631"/>
                </a:lnTo>
                <a:cubicBezTo>
                  <a:pt x="5894530" y="4220870"/>
                  <a:pt x="5894530" y="4220870"/>
                  <a:pt x="5893756" y="4221386"/>
                </a:cubicBezTo>
                <a:cubicBezTo>
                  <a:pt x="5892981" y="4223038"/>
                  <a:pt x="5892826" y="4224174"/>
                  <a:pt x="5890967" y="4224277"/>
                </a:cubicBezTo>
                <a:cubicBezTo>
                  <a:pt x="5889418" y="4224277"/>
                  <a:pt x="5888489" y="4223658"/>
                  <a:pt x="5888024" y="4222729"/>
                </a:cubicBezTo>
                <a:cubicBezTo>
                  <a:pt x="5887560" y="4221902"/>
                  <a:pt x="5887405" y="4220560"/>
                  <a:pt x="5887405" y="4219011"/>
                </a:cubicBezTo>
                <a:cubicBezTo>
                  <a:pt x="5887250" y="4215810"/>
                  <a:pt x="5889728" y="4215191"/>
                  <a:pt x="5890193" y="4212816"/>
                </a:cubicBezTo>
                <a:lnTo>
                  <a:pt x="5891432" y="4213745"/>
                </a:lnTo>
                <a:lnTo>
                  <a:pt x="5892981" y="4211164"/>
                </a:lnTo>
                <a:lnTo>
                  <a:pt x="5892826" y="4211267"/>
                </a:lnTo>
                <a:cubicBezTo>
                  <a:pt x="5893291" y="4208376"/>
                  <a:pt x="5892981" y="4206104"/>
                  <a:pt x="5892052" y="4204349"/>
                </a:cubicBezTo>
                <a:lnTo>
                  <a:pt x="5889418" y="4201251"/>
                </a:lnTo>
                <a:lnTo>
                  <a:pt x="5886475" y="4201044"/>
                </a:lnTo>
                <a:cubicBezTo>
                  <a:pt x="5880280" y="4198463"/>
                  <a:pt x="5875478" y="4190616"/>
                  <a:pt x="5873619" y="4185660"/>
                </a:cubicBezTo>
                <a:cubicBezTo>
                  <a:pt x="5877182" y="4187518"/>
                  <a:pt x="5880744" y="4189170"/>
                  <a:pt x="5884152" y="4191545"/>
                </a:cubicBezTo>
                <a:cubicBezTo>
                  <a:pt x="5885856" y="4192681"/>
                  <a:pt x="5887560" y="4194023"/>
                  <a:pt x="5889109" y="4195675"/>
                </a:cubicBezTo>
                <a:lnTo>
                  <a:pt x="5889883" y="4196811"/>
                </a:lnTo>
                <a:lnTo>
                  <a:pt x="5890503" y="4195262"/>
                </a:lnTo>
                <a:cubicBezTo>
                  <a:pt x="5889264" y="4192577"/>
                  <a:pt x="5881984" y="4190203"/>
                  <a:pt x="5884307" y="4185246"/>
                </a:cubicBezTo>
                <a:cubicBezTo>
                  <a:pt x="5880589" y="4181116"/>
                  <a:pt x="5882138" y="4191339"/>
                  <a:pt x="5877646" y="4187725"/>
                </a:cubicBezTo>
                <a:cubicBezTo>
                  <a:pt x="5875478" y="4181013"/>
                  <a:pt x="5874084" y="4172339"/>
                  <a:pt x="5872845" y="4163563"/>
                </a:cubicBezTo>
                <a:lnTo>
                  <a:pt x="5871915" y="4159639"/>
                </a:lnTo>
                <a:lnTo>
                  <a:pt x="5871141" y="4159742"/>
                </a:lnTo>
                <a:cubicBezTo>
                  <a:pt x="5870366" y="4160155"/>
                  <a:pt x="5869747" y="4158606"/>
                  <a:pt x="5869747" y="4158606"/>
                </a:cubicBezTo>
                <a:cubicBezTo>
                  <a:pt x="5868972" y="4159019"/>
                  <a:pt x="5868198" y="4159432"/>
                  <a:pt x="5867113" y="4159019"/>
                </a:cubicBezTo>
                <a:cubicBezTo>
                  <a:pt x="5867578" y="4157884"/>
                  <a:pt x="5866804" y="4158297"/>
                  <a:pt x="5866494" y="4157574"/>
                </a:cubicBezTo>
                <a:cubicBezTo>
                  <a:pt x="5866959" y="4157677"/>
                  <a:pt x="5867888" y="4157471"/>
                  <a:pt x="5868817" y="4157264"/>
                </a:cubicBezTo>
                <a:lnTo>
                  <a:pt x="5871141" y="4156748"/>
                </a:lnTo>
                <a:lnTo>
                  <a:pt x="5869902" y="4151172"/>
                </a:lnTo>
                <a:cubicBezTo>
                  <a:pt x="5868508" y="4147455"/>
                  <a:pt x="5866804" y="4144047"/>
                  <a:pt x="5864325" y="4141363"/>
                </a:cubicBezTo>
                <a:cubicBezTo>
                  <a:pt x="5863551" y="4141879"/>
                  <a:pt x="5863551" y="4143015"/>
                  <a:pt x="5863706" y="4144357"/>
                </a:cubicBezTo>
                <a:lnTo>
                  <a:pt x="5864016" y="4146422"/>
                </a:lnTo>
                <a:lnTo>
                  <a:pt x="5866804" y="4147455"/>
                </a:lnTo>
                <a:cubicBezTo>
                  <a:pt x="5867733" y="4148384"/>
                  <a:pt x="5867733" y="4149727"/>
                  <a:pt x="5867113" y="4151482"/>
                </a:cubicBezTo>
                <a:cubicBezTo>
                  <a:pt x="5866184" y="4151895"/>
                  <a:pt x="5863551" y="4152308"/>
                  <a:pt x="5863861" y="4153134"/>
                </a:cubicBezTo>
                <a:cubicBezTo>
                  <a:pt x="5861382" y="4152204"/>
                  <a:pt x="5858749" y="4150862"/>
                  <a:pt x="5857975" y="4149004"/>
                </a:cubicBezTo>
                <a:cubicBezTo>
                  <a:pt x="5857665" y="4148281"/>
                  <a:pt x="5857510" y="4147661"/>
                  <a:pt x="5857665" y="4146835"/>
                </a:cubicBezTo>
                <a:lnTo>
                  <a:pt x="5858904" y="4145390"/>
                </a:lnTo>
                <a:lnTo>
                  <a:pt x="5857975" y="4145493"/>
                </a:lnTo>
                <a:cubicBezTo>
                  <a:pt x="5859059" y="4144357"/>
                  <a:pt x="5857200" y="4136923"/>
                  <a:pt x="5856890" y="4142085"/>
                </a:cubicBezTo>
                <a:cubicBezTo>
                  <a:pt x="5855341" y="4140537"/>
                  <a:pt x="5856116" y="4137026"/>
                  <a:pt x="5856735" y="4133308"/>
                </a:cubicBezTo>
                <a:close/>
                <a:moveTo>
                  <a:pt x="5808717" y="4131450"/>
                </a:moveTo>
                <a:cubicBezTo>
                  <a:pt x="5810266" y="4132379"/>
                  <a:pt x="5811505" y="4134341"/>
                  <a:pt x="5812900" y="4136200"/>
                </a:cubicBezTo>
                <a:cubicBezTo>
                  <a:pt x="5811970" y="4137645"/>
                  <a:pt x="5811041" y="4138162"/>
                  <a:pt x="5810112" y="4138059"/>
                </a:cubicBezTo>
                <a:cubicBezTo>
                  <a:pt x="5809027" y="4137955"/>
                  <a:pt x="5808253" y="4137336"/>
                  <a:pt x="5807478" y="4136406"/>
                </a:cubicBezTo>
                <a:cubicBezTo>
                  <a:pt x="5806239" y="4134651"/>
                  <a:pt x="5806084" y="4132070"/>
                  <a:pt x="5808717" y="4131450"/>
                </a:cubicBezTo>
                <a:close/>
                <a:moveTo>
                  <a:pt x="5674268" y="4129592"/>
                </a:moveTo>
                <a:cubicBezTo>
                  <a:pt x="5675816" y="4127010"/>
                  <a:pt x="5678450" y="4128869"/>
                  <a:pt x="5681702" y="4129901"/>
                </a:cubicBezTo>
                <a:cubicBezTo>
                  <a:pt x="5680928" y="4130727"/>
                  <a:pt x="5681702" y="4131657"/>
                  <a:pt x="5682632" y="4132586"/>
                </a:cubicBezTo>
                <a:cubicBezTo>
                  <a:pt x="5681393" y="4133825"/>
                  <a:pt x="5679844" y="4135993"/>
                  <a:pt x="5677675" y="4135477"/>
                </a:cubicBezTo>
                <a:cubicBezTo>
                  <a:pt x="5676901" y="4135270"/>
                  <a:pt x="5676127" y="4134858"/>
                  <a:pt x="5675352" y="4133928"/>
                </a:cubicBezTo>
                <a:cubicBezTo>
                  <a:pt x="5674423" y="4133928"/>
                  <a:pt x="5673493" y="4130417"/>
                  <a:pt x="5674268" y="4129592"/>
                </a:cubicBezTo>
                <a:close/>
                <a:moveTo>
                  <a:pt x="5178290" y="4128972"/>
                </a:moveTo>
                <a:cubicBezTo>
                  <a:pt x="5181697" y="4127939"/>
                  <a:pt x="5184330" y="4130417"/>
                  <a:pt x="5188358" y="4129901"/>
                </a:cubicBezTo>
                <a:cubicBezTo>
                  <a:pt x="5189907" y="4132689"/>
                  <a:pt x="5194863" y="4132586"/>
                  <a:pt x="5196877" y="4136613"/>
                </a:cubicBezTo>
                <a:cubicBezTo>
                  <a:pt x="5195483" y="4137336"/>
                  <a:pt x="5193779" y="4137439"/>
                  <a:pt x="5191920" y="4137129"/>
                </a:cubicBezTo>
                <a:cubicBezTo>
                  <a:pt x="5186344" y="4136200"/>
                  <a:pt x="5179219" y="4131657"/>
                  <a:pt x="5178290" y="4128972"/>
                </a:cubicBezTo>
                <a:close/>
                <a:moveTo>
                  <a:pt x="5296940" y="4128352"/>
                </a:moveTo>
                <a:cubicBezTo>
                  <a:pt x="5298024" y="4129178"/>
                  <a:pt x="5298954" y="4129901"/>
                  <a:pt x="5299109" y="4131657"/>
                </a:cubicBezTo>
                <a:cubicBezTo>
                  <a:pt x="5297715" y="4133515"/>
                  <a:pt x="5295081" y="4132792"/>
                  <a:pt x="5294462" y="4133722"/>
                </a:cubicBezTo>
                <a:cubicBezTo>
                  <a:pt x="5294307" y="4132792"/>
                  <a:pt x="5293997" y="4131037"/>
                  <a:pt x="5292293" y="4130314"/>
                </a:cubicBezTo>
                <a:cubicBezTo>
                  <a:pt x="5293687" y="4128456"/>
                  <a:pt x="5295081" y="4126700"/>
                  <a:pt x="5296940" y="4128352"/>
                </a:cubicBezTo>
                <a:close/>
                <a:moveTo>
                  <a:pt x="5651343" y="4127939"/>
                </a:moveTo>
                <a:cubicBezTo>
                  <a:pt x="5652427" y="4128249"/>
                  <a:pt x="5653666" y="4128559"/>
                  <a:pt x="5652892" y="4128972"/>
                </a:cubicBezTo>
                <a:cubicBezTo>
                  <a:pt x="5653512" y="4129695"/>
                  <a:pt x="5652737" y="4130211"/>
                  <a:pt x="5652582" y="4131346"/>
                </a:cubicBezTo>
                <a:cubicBezTo>
                  <a:pt x="5651808" y="4132999"/>
                  <a:pt x="5649794" y="4134341"/>
                  <a:pt x="5648710" y="4134031"/>
                </a:cubicBezTo>
                <a:cubicBezTo>
                  <a:pt x="5647470" y="4133722"/>
                  <a:pt x="5647006" y="4132896"/>
                  <a:pt x="5647006" y="4132896"/>
                </a:cubicBezTo>
                <a:cubicBezTo>
                  <a:pt x="5646851" y="4129798"/>
                  <a:pt x="5647780" y="4127010"/>
                  <a:pt x="5651343" y="4127939"/>
                </a:cubicBezTo>
                <a:close/>
                <a:moveTo>
                  <a:pt x="5308093" y="4127010"/>
                </a:moveTo>
                <a:cubicBezTo>
                  <a:pt x="5309022" y="4126391"/>
                  <a:pt x="5310261" y="4126391"/>
                  <a:pt x="5311655" y="4127113"/>
                </a:cubicBezTo>
                <a:cubicBezTo>
                  <a:pt x="5315992" y="4129592"/>
                  <a:pt x="5314753" y="4133618"/>
                  <a:pt x="5312739" y="4137852"/>
                </a:cubicBezTo>
                <a:cubicBezTo>
                  <a:pt x="5310881" y="4137439"/>
                  <a:pt x="5309332" y="4137852"/>
                  <a:pt x="5307473" y="4137439"/>
                </a:cubicBezTo>
                <a:cubicBezTo>
                  <a:pt x="5305460" y="4135270"/>
                  <a:pt x="5305460" y="4128869"/>
                  <a:pt x="5308093" y="4127010"/>
                </a:cubicBezTo>
                <a:close/>
                <a:moveTo>
                  <a:pt x="5798959" y="4126597"/>
                </a:moveTo>
                <a:cubicBezTo>
                  <a:pt x="5799579" y="4128869"/>
                  <a:pt x="5799888" y="4130004"/>
                  <a:pt x="5800972" y="4131553"/>
                </a:cubicBezTo>
                <a:cubicBezTo>
                  <a:pt x="5795861" y="4133308"/>
                  <a:pt x="5793228" y="4136406"/>
                  <a:pt x="5790285" y="4136097"/>
                </a:cubicBezTo>
                <a:cubicBezTo>
                  <a:pt x="5789355" y="4135993"/>
                  <a:pt x="5788426" y="4135477"/>
                  <a:pt x="5787342" y="4134444"/>
                </a:cubicBezTo>
                <a:cubicBezTo>
                  <a:pt x="5788271" y="4131037"/>
                  <a:pt x="5794002" y="4128972"/>
                  <a:pt x="5798959" y="4126597"/>
                </a:cubicBezTo>
                <a:close/>
                <a:moveTo>
                  <a:pt x="5152112" y="4125564"/>
                </a:moveTo>
                <a:cubicBezTo>
                  <a:pt x="5153351" y="4125564"/>
                  <a:pt x="5155210" y="4125048"/>
                  <a:pt x="5156914" y="4125668"/>
                </a:cubicBezTo>
                <a:cubicBezTo>
                  <a:pt x="5157534" y="4128042"/>
                  <a:pt x="5156604" y="4129178"/>
                  <a:pt x="5155520" y="4129488"/>
                </a:cubicBezTo>
                <a:cubicBezTo>
                  <a:pt x="5154281" y="4129798"/>
                  <a:pt x="5152887" y="4129282"/>
                  <a:pt x="5152112" y="4128249"/>
                </a:cubicBezTo>
                <a:cubicBezTo>
                  <a:pt x="5151648" y="4127526"/>
                  <a:pt x="5151648" y="4126597"/>
                  <a:pt x="5152112" y="4125564"/>
                </a:cubicBezTo>
                <a:close/>
                <a:moveTo>
                  <a:pt x="5168066" y="4123086"/>
                </a:moveTo>
                <a:cubicBezTo>
                  <a:pt x="5171319" y="4124222"/>
                  <a:pt x="5173023" y="4126184"/>
                  <a:pt x="5174417" y="4127320"/>
                </a:cubicBezTo>
                <a:cubicBezTo>
                  <a:pt x="5173488" y="4129695"/>
                  <a:pt x="5173333" y="4131657"/>
                  <a:pt x="5172404" y="4134031"/>
                </a:cubicBezTo>
                <a:cubicBezTo>
                  <a:pt x="5171319" y="4134754"/>
                  <a:pt x="5170235" y="4135270"/>
                  <a:pt x="5169305" y="4135477"/>
                </a:cubicBezTo>
                <a:cubicBezTo>
                  <a:pt x="5168376" y="4135683"/>
                  <a:pt x="5167602" y="4135683"/>
                  <a:pt x="5166828" y="4135477"/>
                </a:cubicBezTo>
                <a:cubicBezTo>
                  <a:pt x="5165278" y="4135064"/>
                  <a:pt x="5164194" y="4133928"/>
                  <a:pt x="5163729" y="4132483"/>
                </a:cubicBezTo>
                <a:cubicBezTo>
                  <a:pt x="5162645" y="4129488"/>
                  <a:pt x="5163729" y="4125255"/>
                  <a:pt x="5168066" y="4123086"/>
                </a:cubicBezTo>
                <a:close/>
                <a:moveTo>
                  <a:pt x="1388296" y="4123068"/>
                </a:moveTo>
                <a:cubicBezTo>
                  <a:pt x="1386592" y="4123584"/>
                  <a:pt x="1385354" y="4124720"/>
                  <a:pt x="1383650" y="4125753"/>
                </a:cubicBezTo>
                <a:cubicBezTo>
                  <a:pt x="1384889" y="4126373"/>
                  <a:pt x="1385973" y="4126889"/>
                  <a:pt x="1387058" y="4125753"/>
                </a:cubicBezTo>
                <a:cubicBezTo>
                  <a:pt x="1378074" y="4130709"/>
                  <a:pt x="1368315" y="4136079"/>
                  <a:pt x="1358557" y="4141448"/>
                </a:cubicBezTo>
                <a:cubicBezTo>
                  <a:pt x="1356853" y="4142068"/>
                  <a:pt x="1355769" y="4143100"/>
                  <a:pt x="1354685" y="4143616"/>
                </a:cubicBezTo>
                <a:cubicBezTo>
                  <a:pt x="1354685" y="4143616"/>
                  <a:pt x="1354685" y="4143616"/>
                  <a:pt x="1348953" y="4146301"/>
                </a:cubicBezTo>
                <a:cubicBezTo>
                  <a:pt x="1348953" y="4146301"/>
                  <a:pt x="1348953" y="4146301"/>
                  <a:pt x="1348334" y="4146301"/>
                </a:cubicBezTo>
                <a:cubicBezTo>
                  <a:pt x="1348334" y="4146301"/>
                  <a:pt x="1348334" y="4146404"/>
                  <a:pt x="1348334" y="4146920"/>
                </a:cubicBezTo>
                <a:cubicBezTo>
                  <a:pt x="1348334" y="4146920"/>
                  <a:pt x="1348334" y="4146920"/>
                  <a:pt x="1347249" y="4147437"/>
                </a:cubicBezTo>
                <a:cubicBezTo>
                  <a:pt x="1345546" y="4147953"/>
                  <a:pt x="1344461" y="4148469"/>
                  <a:pt x="1342602" y="4148985"/>
                </a:cubicBezTo>
                <a:cubicBezTo>
                  <a:pt x="1341518" y="4149605"/>
                  <a:pt x="1339814" y="4149605"/>
                  <a:pt x="1338730" y="4150121"/>
                </a:cubicBezTo>
                <a:cubicBezTo>
                  <a:pt x="1337490" y="4150121"/>
                  <a:pt x="1336871" y="4150121"/>
                  <a:pt x="1336406" y="4150638"/>
                </a:cubicBezTo>
                <a:cubicBezTo>
                  <a:pt x="1335787" y="4150638"/>
                  <a:pt x="1335322" y="4150638"/>
                  <a:pt x="1335322" y="4150638"/>
                </a:cubicBezTo>
                <a:cubicBezTo>
                  <a:pt x="1334703" y="4150638"/>
                  <a:pt x="1334703" y="4150638"/>
                  <a:pt x="1333463" y="4150638"/>
                </a:cubicBezTo>
                <a:cubicBezTo>
                  <a:pt x="1332689" y="4151154"/>
                  <a:pt x="1332379" y="4151567"/>
                  <a:pt x="1332534" y="4151877"/>
                </a:cubicBezTo>
                <a:lnTo>
                  <a:pt x="1332999" y="4152083"/>
                </a:lnTo>
                <a:lnTo>
                  <a:pt x="1333309" y="4151877"/>
                </a:lnTo>
                <a:cubicBezTo>
                  <a:pt x="1334083" y="4151670"/>
                  <a:pt x="1334703" y="4151774"/>
                  <a:pt x="1335322" y="4152290"/>
                </a:cubicBezTo>
                <a:lnTo>
                  <a:pt x="1335787" y="4152290"/>
                </a:lnTo>
                <a:cubicBezTo>
                  <a:pt x="1335787" y="4152290"/>
                  <a:pt x="1336406" y="4152290"/>
                  <a:pt x="1336406" y="4151774"/>
                </a:cubicBezTo>
                <a:cubicBezTo>
                  <a:pt x="1336406" y="4152806"/>
                  <a:pt x="1336406" y="4152806"/>
                  <a:pt x="1335787" y="4153322"/>
                </a:cubicBezTo>
                <a:lnTo>
                  <a:pt x="1335633" y="4153529"/>
                </a:lnTo>
                <a:cubicBezTo>
                  <a:pt x="1335477" y="4153942"/>
                  <a:pt x="1335322" y="4154355"/>
                  <a:pt x="1335322" y="4154768"/>
                </a:cubicBezTo>
                <a:cubicBezTo>
                  <a:pt x="1334548" y="4156007"/>
                  <a:pt x="1331140" y="4157246"/>
                  <a:pt x="1329126" y="4157453"/>
                </a:cubicBezTo>
                <a:cubicBezTo>
                  <a:pt x="1328507" y="4157556"/>
                  <a:pt x="1328042" y="4157556"/>
                  <a:pt x="1327732" y="4157246"/>
                </a:cubicBezTo>
                <a:lnTo>
                  <a:pt x="1329126" y="4155594"/>
                </a:lnTo>
                <a:lnTo>
                  <a:pt x="1327268" y="4154974"/>
                </a:lnTo>
                <a:cubicBezTo>
                  <a:pt x="1322621" y="4159828"/>
                  <a:pt x="1318128" y="4161996"/>
                  <a:pt x="1313636" y="4163648"/>
                </a:cubicBezTo>
                <a:cubicBezTo>
                  <a:pt x="1311313" y="4164680"/>
                  <a:pt x="1308370" y="4165197"/>
                  <a:pt x="1306201" y="4166333"/>
                </a:cubicBezTo>
                <a:cubicBezTo>
                  <a:pt x="1305582" y="4166849"/>
                  <a:pt x="1304962" y="4166849"/>
                  <a:pt x="1304343" y="4167365"/>
                </a:cubicBezTo>
                <a:cubicBezTo>
                  <a:pt x="1303878" y="4167365"/>
                  <a:pt x="1303259" y="4167985"/>
                  <a:pt x="1302794" y="4168501"/>
                </a:cubicBezTo>
                <a:cubicBezTo>
                  <a:pt x="1301555" y="4169017"/>
                  <a:pt x="1300470" y="4169534"/>
                  <a:pt x="1299386" y="4170670"/>
                </a:cubicBezTo>
                <a:cubicBezTo>
                  <a:pt x="1297063" y="4167365"/>
                  <a:pt x="1293035" y="4169017"/>
                  <a:pt x="1289628" y="4170670"/>
                </a:cubicBezTo>
                <a:cubicBezTo>
                  <a:pt x="1286220" y="4172218"/>
                  <a:pt x="1282812" y="4173870"/>
                  <a:pt x="1282193" y="4171186"/>
                </a:cubicBezTo>
                <a:cubicBezTo>
                  <a:pt x="1275997" y="4172218"/>
                  <a:pt x="1284981" y="4175522"/>
                  <a:pt x="1281573" y="4176039"/>
                </a:cubicBezTo>
                <a:cubicBezTo>
                  <a:pt x="1279869" y="4176865"/>
                  <a:pt x="1275842" y="4178517"/>
                  <a:pt x="1271505" y="4180169"/>
                </a:cubicBezTo>
                <a:lnTo>
                  <a:pt x="1267322" y="4181821"/>
                </a:lnTo>
                <a:lnTo>
                  <a:pt x="1263295" y="4187500"/>
                </a:lnTo>
                <a:lnTo>
                  <a:pt x="1261591" y="4186984"/>
                </a:lnTo>
                <a:lnTo>
                  <a:pt x="1261902" y="4187707"/>
                </a:lnTo>
                <a:lnTo>
                  <a:pt x="1262985" y="4187500"/>
                </a:lnTo>
                <a:cubicBezTo>
                  <a:pt x="1262985" y="4187500"/>
                  <a:pt x="1262985" y="4187604"/>
                  <a:pt x="1264070" y="4187913"/>
                </a:cubicBezTo>
                <a:cubicBezTo>
                  <a:pt x="1261746" y="4189049"/>
                  <a:pt x="1258803" y="4190495"/>
                  <a:pt x="1256945" y="4190495"/>
                </a:cubicBezTo>
                <a:cubicBezTo>
                  <a:pt x="1257564" y="4189772"/>
                  <a:pt x="1258648" y="4188843"/>
                  <a:pt x="1259733" y="4188223"/>
                </a:cubicBezTo>
                <a:lnTo>
                  <a:pt x="1259888" y="4188120"/>
                </a:lnTo>
                <a:lnTo>
                  <a:pt x="1259888" y="4187190"/>
                </a:lnTo>
                <a:cubicBezTo>
                  <a:pt x="1259733" y="4186777"/>
                  <a:pt x="1259268" y="4186468"/>
                  <a:pt x="1258184" y="4186365"/>
                </a:cubicBezTo>
                <a:cubicBezTo>
                  <a:pt x="1258184" y="4187397"/>
                  <a:pt x="1257100" y="4187913"/>
                  <a:pt x="1256015" y="4188430"/>
                </a:cubicBezTo>
                <a:cubicBezTo>
                  <a:pt x="1254776" y="4188946"/>
                  <a:pt x="1253692" y="4189049"/>
                  <a:pt x="1252607" y="4189049"/>
                </a:cubicBezTo>
                <a:cubicBezTo>
                  <a:pt x="1249664" y="4189049"/>
                  <a:pt x="1247496" y="4189566"/>
                  <a:pt x="1246877" y="4193386"/>
                </a:cubicBezTo>
                <a:cubicBezTo>
                  <a:pt x="1243933" y="4193386"/>
                  <a:pt x="1243469" y="4192250"/>
                  <a:pt x="1244553" y="4190598"/>
                </a:cubicBezTo>
                <a:lnTo>
                  <a:pt x="1241145" y="4193386"/>
                </a:lnTo>
                <a:lnTo>
                  <a:pt x="1242075" y="4199994"/>
                </a:lnTo>
                <a:lnTo>
                  <a:pt x="1241920" y="4201337"/>
                </a:lnTo>
                <a:lnTo>
                  <a:pt x="1243933" y="4198755"/>
                </a:lnTo>
                <a:lnTo>
                  <a:pt x="1245172" y="4199788"/>
                </a:lnTo>
                <a:lnTo>
                  <a:pt x="1245327" y="4199788"/>
                </a:lnTo>
                <a:lnTo>
                  <a:pt x="1245637" y="4200304"/>
                </a:lnTo>
                <a:lnTo>
                  <a:pt x="1245947" y="4200614"/>
                </a:lnTo>
                <a:cubicBezTo>
                  <a:pt x="1246722" y="4201233"/>
                  <a:pt x="1247651" y="4201749"/>
                  <a:pt x="1249664" y="4201956"/>
                </a:cubicBezTo>
                <a:cubicBezTo>
                  <a:pt x="1251988" y="4199271"/>
                  <a:pt x="1256480" y="4198755"/>
                  <a:pt x="1259888" y="4197723"/>
                </a:cubicBezTo>
                <a:cubicBezTo>
                  <a:pt x="1263915" y="4197103"/>
                  <a:pt x="1267322" y="4195451"/>
                  <a:pt x="1268562" y="4191114"/>
                </a:cubicBezTo>
                <a:cubicBezTo>
                  <a:pt x="1271350" y="4190598"/>
                  <a:pt x="1273054" y="4192250"/>
                  <a:pt x="1275842" y="4191114"/>
                </a:cubicBezTo>
                <a:cubicBezTo>
                  <a:pt x="1278785" y="4189566"/>
                  <a:pt x="1273674" y="4188533"/>
                  <a:pt x="1271350" y="4190081"/>
                </a:cubicBezTo>
                <a:lnTo>
                  <a:pt x="1276616" y="4187397"/>
                </a:lnTo>
                <a:lnTo>
                  <a:pt x="1275842" y="4185848"/>
                </a:lnTo>
                <a:cubicBezTo>
                  <a:pt x="1279560" y="4183164"/>
                  <a:pt x="1282038" y="4183783"/>
                  <a:pt x="1284206" y="4186055"/>
                </a:cubicBezTo>
                <a:lnTo>
                  <a:pt x="1283896" y="4186881"/>
                </a:lnTo>
                <a:lnTo>
                  <a:pt x="1284516" y="4186881"/>
                </a:lnTo>
                <a:cubicBezTo>
                  <a:pt x="1289628" y="4186881"/>
                  <a:pt x="1294120" y="4186881"/>
                  <a:pt x="1296443" y="4183576"/>
                </a:cubicBezTo>
                <a:cubicBezTo>
                  <a:pt x="1300470" y="4183060"/>
                  <a:pt x="1295824" y="4186261"/>
                  <a:pt x="1298147" y="4187913"/>
                </a:cubicBezTo>
                <a:lnTo>
                  <a:pt x="1304033" y="4183783"/>
                </a:lnTo>
                <a:lnTo>
                  <a:pt x="1302174" y="4183267"/>
                </a:lnTo>
                <a:lnTo>
                  <a:pt x="1301710" y="4181511"/>
                </a:lnTo>
                <a:lnTo>
                  <a:pt x="1295824" y="4182544"/>
                </a:lnTo>
                <a:cubicBezTo>
                  <a:pt x="1296753" y="4181202"/>
                  <a:pt x="1298147" y="4180376"/>
                  <a:pt x="1299851" y="4179756"/>
                </a:cubicBezTo>
                <a:lnTo>
                  <a:pt x="1301090" y="4179446"/>
                </a:lnTo>
                <a:lnTo>
                  <a:pt x="1300780" y="4177898"/>
                </a:lnTo>
                <a:lnTo>
                  <a:pt x="1302639" y="4175213"/>
                </a:lnTo>
                <a:lnTo>
                  <a:pt x="1303104" y="4173251"/>
                </a:lnTo>
                <a:lnTo>
                  <a:pt x="1302949" y="4173044"/>
                </a:lnTo>
                <a:lnTo>
                  <a:pt x="1303259" y="4172941"/>
                </a:lnTo>
                <a:lnTo>
                  <a:pt x="1304343" y="4168914"/>
                </a:lnTo>
                <a:lnTo>
                  <a:pt x="1307750" y="4171392"/>
                </a:lnTo>
                <a:lnTo>
                  <a:pt x="1310849" y="4169843"/>
                </a:lnTo>
                <a:lnTo>
                  <a:pt x="1313018" y="4175522"/>
                </a:lnTo>
                <a:lnTo>
                  <a:pt x="1316424" y="4173354"/>
                </a:lnTo>
                <a:lnTo>
                  <a:pt x="1313482" y="4176555"/>
                </a:lnTo>
                <a:lnTo>
                  <a:pt x="1313636" y="4176865"/>
                </a:lnTo>
                <a:lnTo>
                  <a:pt x="1318284" y="4175522"/>
                </a:lnTo>
                <a:cubicBezTo>
                  <a:pt x="1321381" y="4174077"/>
                  <a:pt x="1319988" y="4173251"/>
                  <a:pt x="1327268" y="4176039"/>
                </a:cubicBezTo>
                <a:cubicBezTo>
                  <a:pt x="1329746" y="4175213"/>
                  <a:pt x="1330676" y="4174283"/>
                  <a:pt x="1331295" y="4173354"/>
                </a:cubicBezTo>
                <a:lnTo>
                  <a:pt x="1333309" y="4170979"/>
                </a:lnTo>
                <a:lnTo>
                  <a:pt x="1332689" y="4170463"/>
                </a:lnTo>
                <a:lnTo>
                  <a:pt x="1331295" y="4170256"/>
                </a:lnTo>
                <a:cubicBezTo>
                  <a:pt x="1328971" y="4170876"/>
                  <a:pt x="1326493" y="4174077"/>
                  <a:pt x="1324479" y="4174490"/>
                </a:cubicBezTo>
                <a:cubicBezTo>
                  <a:pt x="1326184" y="4172321"/>
                  <a:pt x="1327268" y="4169534"/>
                  <a:pt x="1327887" y="4166849"/>
                </a:cubicBezTo>
                <a:lnTo>
                  <a:pt x="1331915" y="4167365"/>
                </a:lnTo>
                <a:lnTo>
                  <a:pt x="1331759" y="4165197"/>
                </a:lnTo>
                <a:cubicBezTo>
                  <a:pt x="1332844" y="4164784"/>
                  <a:pt x="1334083" y="4164371"/>
                  <a:pt x="1335167" y="4163958"/>
                </a:cubicBezTo>
                <a:lnTo>
                  <a:pt x="1337646" y="4167778"/>
                </a:lnTo>
                <a:lnTo>
                  <a:pt x="1340899" y="4167365"/>
                </a:lnTo>
                <a:cubicBezTo>
                  <a:pt x="1341518" y="4167365"/>
                  <a:pt x="1341518" y="4167365"/>
                  <a:pt x="1342138" y="4166849"/>
                </a:cubicBezTo>
                <a:cubicBezTo>
                  <a:pt x="1342138" y="4166849"/>
                  <a:pt x="1342138" y="4166849"/>
                  <a:pt x="1342602" y="4166849"/>
                </a:cubicBezTo>
                <a:cubicBezTo>
                  <a:pt x="1342602" y="4166849"/>
                  <a:pt x="1343222" y="4166849"/>
                  <a:pt x="1343222" y="4166849"/>
                </a:cubicBezTo>
                <a:cubicBezTo>
                  <a:pt x="1343842" y="4166849"/>
                  <a:pt x="1344306" y="4166849"/>
                  <a:pt x="1344306" y="4166333"/>
                </a:cubicBezTo>
                <a:cubicBezTo>
                  <a:pt x="1345546" y="4165816"/>
                  <a:pt x="1343842" y="4163545"/>
                  <a:pt x="1343222" y="4162512"/>
                </a:cubicBezTo>
                <a:cubicBezTo>
                  <a:pt x="1344461" y="4160860"/>
                  <a:pt x="1344925" y="4163132"/>
                  <a:pt x="1346165" y="4164680"/>
                </a:cubicBezTo>
                <a:cubicBezTo>
                  <a:pt x="1347249" y="4161996"/>
                  <a:pt x="1349418" y="4160344"/>
                  <a:pt x="1351122" y="4158795"/>
                </a:cubicBezTo>
                <a:cubicBezTo>
                  <a:pt x="1351741" y="4158279"/>
                  <a:pt x="1352361" y="4158175"/>
                  <a:pt x="1352980" y="4157659"/>
                </a:cubicBezTo>
                <a:cubicBezTo>
                  <a:pt x="1352980" y="4157659"/>
                  <a:pt x="1352825" y="4157659"/>
                  <a:pt x="1354064" y="4157143"/>
                </a:cubicBezTo>
                <a:cubicBezTo>
                  <a:pt x="1354064" y="4157143"/>
                  <a:pt x="1354064" y="4157143"/>
                  <a:pt x="1354064" y="4156627"/>
                </a:cubicBezTo>
                <a:cubicBezTo>
                  <a:pt x="1354064" y="4156627"/>
                  <a:pt x="1354064" y="4156627"/>
                  <a:pt x="1354685" y="4156627"/>
                </a:cubicBezTo>
                <a:cubicBezTo>
                  <a:pt x="1354685" y="4156627"/>
                  <a:pt x="1354685" y="4156523"/>
                  <a:pt x="1360415" y="4153839"/>
                </a:cubicBezTo>
                <a:lnTo>
                  <a:pt x="1366456" y="4150535"/>
                </a:lnTo>
                <a:lnTo>
                  <a:pt x="1365527" y="4150638"/>
                </a:lnTo>
                <a:cubicBezTo>
                  <a:pt x="1363203" y="4150431"/>
                  <a:pt x="1361345" y="4150018"/>
                  <a:pt x="1360880" y="4150018"/>
                </a:cubicBezTo>
                <a:cubicBezTo>
                  <a:pt x="1360880" y="4149192"/>
                  <a:pt x="1360880" y="4149192"/>
                  <a:pt x="1360880" y="4149192"/>
                </a:cubicBezTo>
                <a:cubicBezTo>
                  <a:pt x="1363513" y="4150121"/>
                  <a:pt x="1366456" y="4148263"/>
                  <a:pt x="1369709" y="4148160"/>
                </a:cubicBezTo>
                <a:lnTo>
                  <a:pt x="1370328" y="4148366"/>
                </a:lnTo>
                <a:lnTo>
                  <a:pt x="1380862" y="4142584"/>
                </a:lnTo>
                <a:cubicBezTo>
                  <a:pt x="1385508" y="4139899"/>
                  <a:pt x="1390001" y="4136595"/>
                  <a:pt x="1394028" y="4133394"/>
                </a:cubicBezTo>
                <a:lnTo>
                  <a:pt x="1395887" y="4131948"/>
                </a:lnTo>
                <a:lnTo>
                  <a:pt x="1394183" y="4130709"/>
                </a:lnTo>
                <a:cubicBezTo>
                  <a:pt x="1394183" y="4129367"/>
                  <a:pt x="1393563" y="4128128"/>
                  <a:pt x="1393408" y="4126476"/>
                </a:cubicBezTo>
                <a:lnTo>
                  <a:pt x="1394492" y="4123068"/>
                </a:lnTo>
                <a:lnTo>
                  <a:pt x="1391704" y="4123791"/>
                </a:lnTo>
                <a:cubicBezTo>
                  <a:pt x="1390465" y="4124307"/>
                  <a:pt x="1389381" y="4125134"/>
                  <a:pt x="1388916" y="4126269"/>
                </a:cubicBezTo>
                <a:cubicBezTo>
                  <a:pt x="1389381" y="4125237"/>
                  <a:pt x="1389381" y="4124204"/>
                  <a:pt x="1388296" y="4123068"/>
                </a:cubicBezTo>
                <a:close/>
                <a:moveTo>
                  <a:pt x="5606578" y="4122776"/>
                </a:moveTo>
                <a:lnTo>
                  <a:pt x="5607197" y="4124841"/>
                </a:lnTo>
                <a:lnTo>
                  <a:pt x="5608127" y="4124222"/>
                </a:lnTo>
                <a:cubicBezTo>
                  <a:pt x="5611379" y="4124945"/>
                  <a:pt x="5613393" y="4127320"/>
                  <a:pt x="5613703" y="4130004"/>
                </a:cubicBezTo>
                <a:lnTo>
                  <a:pt x="5612774" y="4133515"/>
                </a:lnTo>
                <a:lnTo>
                  <a:pt x="5617266" y="4136923"/>
                </a:lnTo>
                <a:cubicBezTo>
                  <a:pt x="5618814" y="4138059"/>
                  <a:pt x="5620209" y="4139401"/>
                  <a:pt x="5621293" y="4140846"/>
                </a:cubicBezTo>
                <a:cubicBezTo>
                  <a:pt x="5622842" y="4142808"/>
                  <a:pt x="5623771" y="4145080"/>
                  <a:pt x="5623616" y="4148177"/>
                </a:cubicBezTo>
                <a:cubicBezTo>
                  <a:pt x="5624081" y="4161704"/>
                  <a:pt x="5611844" y="4169242"/>
                  <a:pt x="5601466" y="4168622"/>
                </a:cubicBezTo>
                <a:cubicBezTo>
                  <a:pt x="5595115" y="4168209"/>
                  <a:pt x="5589539" y="4164699"/>
                  <a:pt x="5587835" y="4157884"/>
                </a:cubicBezTo>
                <a:cubicBezTo>
                  <a:pt x="5587061" y="4155302"/>
                  <a:pt x="5587061" y="4152204"/>
                  <a:pt x="5587681" y="4148591"/>
                </a:cubicBezTo>
                <a:cubicBezTo>
                  <a:pt x="5590004" y="4138781"/>
                  <a:pt x="5599453" y="4133618"/>
                  <a:pt x="5606578" y="4122776"/>
                </a:cubicBezTo>
                <a:close/>
                <a:moveTo>
                  <a:pt x="668803" y="4122036"/>
                </a:moveTo>
                <a:cubicBezTo>
                  <a:pt x="670972" y="4125134"/>
                  <a:pt x="671282" y="4126166"/>
                  <a:pt x="671127" y="4130090"/>
                </a:cubicBezTo>
                <a:cubicBezTo>
                  <a:pt x="666480" y="4133601"/>
                  <a:pt x="661988" y="4133291"/>
                  <a:pt x="657496" y="4132981"/>
                </a:cubicBezTo>
                <a:cubicBezTo>
                  <a:pt x="651145" y="4123894"/>
                  <a:pt x="663072" y="4124101"/>
                  <a:pt x="668803" y="4122036"/>
                </a:cubicBezTo>
                <a:close/>
                <a:moveTo>
                  <a:pt x="5641275" y="4121641"/>
                </a:moveTo>
                <a:lnTo>
                  <a:pt x="5644682" y="4122570"/>
                </a:lnTo>
                <a:cubicBezTo>
                  <a:pt x="5644527" y="4123809"/>
                  <a:pt x="5643753" y="4125461"/>
                  <a:pt x="5642514" y="4125048"/>
                </a:cubicBezTo>
                <a:cubicBezTo>
                  <a:pt x="5641739" y="4125151"/>
                  <a:pt x="5641429" y="4124738"/>
                  <a:pt x="5641275" y="4124119"/>
                </a:cubicBezTo>
                <a:cubicBezTo>
                  <a:pt x="5641275" y="4123499"/>
                  <a:pt x="5641429" y="4122570"/>
                  <a:pt x="5641275" y="4121641"/>
                </a:cubicBezTo>
                <a:close/>
                <a:moveTo>
                  <a:pt x="5749082" y="4120815"/>
                </a:moveTo>
                <a:cubicBezTo>
                  <a:pt x="5755743" y="4118646"/>
                  <a:pt x="5762713" y="4127939"/>
                  <a:pt x="5757602" y="4135890"/>
                </a:cubicBezTo>
                <a:cubicBezTo>
                  <a:pt x="5756672" y="4136406"/>
                  <a:pt x="5755433" y="4136613"/>
                  <a:pt x="5754349" y="4136509"/>
                </a:cubicBezTo>
                <a:cubicBezTo>
                  <a:pt x="5750786" y="4136303"/>
                  <a:pt x="5747069" y="4133825"/>
                  <a:pt x="5744900" y="4131037"/>
                </a:cubicBezTo>
                <a:lnTo>
                  <a:pt x="5744126" y="4129385"/>
                </a:lnTo>
                <a:lnTo>
                  <a:pt x="5740718" y="4131037"/>
                </a:lnTo>
                <a:cubicBezTo>
                  <a:pt x="5740563" y="4130417"/>
                  <a:pt x="5740873" y="4130108"/>
                  <a:pt x="5741337" y="4129798"/>
                </a:cubicBezTo>
                <a:cubicBezTo>
                  <a:pt x="5741648" y="4129488"/>
                  <a:pt x="5742267" y="4129282"/>
                  <a:pt x="5742887" y="4129178"/>
                </a:cubicBezTo>
                <a:lnTo>
                  <a:pt x="5743816" y="4128869"/>
                </a:lnTo>
                <a:lnTo>
                  <a:pt x="5743041" y="4127216"/>
                </a:lnTo>
                <a:cubicBezTo>
                  <a:pt x="5744591" y="4123499"/>
                  <a:pt x="5746759" y="4121537"/>
                  <a:pt x="5749082" y="4120815"/>
                </a:cubicBezTo>
                <a:close/>
                <a:moveTo>
                  <a:pt x="5663735" y="4120298"/>
                </a:moveTo>
                <a:cubicBezTo>
                  <a:pt x="5666058" y="4120608"/>
                  <a:pt x="5667297" y="4121950"/>
                  <a:pt x="5667917" y="4123706"/>
                </a:cubicBezTo>
                <a:lnTo>
                  <a:pt x="5668226" y="4127630"/>
                </a:lnTo>
                <a:lnTo>
                  <a:pt x="5669621" y="4126494"/>
                </a:lnTo>
                <a:cubicBezTo>
                  <a:pt x="5671634" y="4125358"/>
                  <a:pt x="5672254" y="4127113"/>
                  <a:pt x="5673648" y="4129901"/>
                </a:cubicBezTo>
                <a:cubicBezTo>
                  <a:pt x="5672254" y="4131140"/>
                  <a:pt x="5671169" y="4131450"/>
                  <a:pt x="5670085" y="4131140"/>
                </a:cubicBezTo>
                <a:lnTo>
                  <a:pt x="5668382" y="4129592"/>
                </a:lnTo>
                <a:lnTo>
                  <a:pt x="5668537" y="4130211"/>
                </a:lnTo>
                <a:cubicBezTo>
                  <a:pt x="5666678" y="4130521"/>
                  <a:pt x="5665438" y="4131553"/>
                  <a:pt x="5663580" y="4131863"/>
                </a:cubicBezTo>
                <a:lnTo>
                  <a:pt x="5662340" y="4134135"/>
                </a:lnTo>
                <a:cubicBezTo>
                  <a:pt x="5659243" y="4132379"/>
                  <a:pt x="5658778" y="4127836"/>
                  <a:pt x="5659862" y="4124841"/>
                </a:cubicBezTo>
                <a:lnTo>
                  <a:pt x="5660482" y="4124015"/>
                </a:lnTo>
                <a:lnTo>
                  <a:pt x="5660482" y="4121641"/>
                </a:lnTo>
                <a:cubicBezTo>
                  <a:pt x="5661101" y="4120711"/>
                  <a:pt x="5662031" y="4120092"/>
                  <a:pt x="5663735" y="4120298"/>
                </a:cubicBezTo>
                <a:close/>
                <a:moveTo>
                  <a:pt x="5266581" y="4119782"/>
                </a:moveTo>
                <a:cubicBezTo>
                  <a:pt x="5266735" y="4120505"/>
                  <a:pt x="5266426" y="4121331"/>
                  <a:pt x="5265806" y="4122157"/>
                </a:cubicBezTo>
                <a:cubicBezTo>
                  <a:pt x="5264102" y="4124532"/>
                  <a:pt x="5259765" y="4126907"/>
                  <a:pt x="5257287" y="4127630"/>
                </a:cubicBezTo>
                <a:cubicBezTo>
                  <a:pt x="5256822" y="4124532"/>
                  <a:pt x="5263328" y="4120711"/>
                  <a:pt x="5266581" y="4119782"/>
                </a:cubicBezTo>
                <a:close/>
                <a:moveTo>
                  <a:pt x="5763798" y="4119059"/>
                </a:moveTo>
                <a:cubicBezTo>
                  <a:pt x="5764572" y="4119989"/>
                  <a:pt x="5765347" y="4120918"/>
                  <a:pt x="5764417" y="4120815"/>
                </a:cubicBezTo>
                <a:cubicBezTo>
                  <a:pt x="5764417" y="4121641"/>
                  <a:pt x="5763643" y="4121641"/>
                  <a:pt x="5762713" y="4122364"/>
                </a:cubicBezTo>
                <a:cubicBezTo>
                  <a:pt x="5761939" y="4122570"/>
                  <a:pt x="5760855" y="4122673"/>
                  <a:pt x="5759925" y="4122467"/>
                </a:cubicBezTo>
                <a:cubicBezTo>
                  <a:pt x="5758996" y="4122364"/>
                  <a:pt x="5758066" y="4121950"/>
                  <a:pt x="5757757" y="4121434"/>
                </a:cubicBezTo>
                <a:cubicBezTo>
                  <a:pt x="5756982" y="4120505"/>
                  <a:pt x="5756982" y="4119679"/>
                  <a:pt x="5756982" y="4119679"/>
                </a:cubicBezTo>
                <a:cubicBezTo>
                  <a:pt x="5758841" y="4117407"/>
                  <a:pt x="5761474" y="4116065"/>
                  <a:pt x="5763798" y="4119059"/>
                </a:cubicBezTo>
                <a:close/>
                <a:moveTo>
                  <a:pt x="5109981" y="4118336"/>
                </a:moveTo>
                <a:cubicBezTo>
                  <a:pt x="5111684" y="4119059"/>
                  <a:pt x="5112304" y="4128352"/>
                  <a:pt x="5108277" y="4127526"/>
                </a:cubicBezTo>
                <a:cubicBezTo>
                  <a:pt x="5107502" y="4127216"/>
                  <a:pt x="5107037" y="4126597"/>
                  <a:pt x="5106882" y="4125668"/>
                </a:cubicBezTo>
                <a:cubicBezTo>
                  <a:pt x="5106418" y="4122983"/>
                  <a:pt x="5108586" y="4118749"/>
                  <a:pt x="5109981" y="4118336"/>
                </a:cubicBezTo>
                <a:close/>
                <a:moveTo>
                  <a:pt x="5655990" y="4117717"/>
                </a:moveTo>
                <a:cubicBezTo>
                  <a:pt x="5656919" y="4118543"/>
                  <a:pt x="5656919" y="4118440"/>
                  <a:pt x="5657074" y="4119369"/>
                </a:cubicBezTo>
                <a:cubicBezTo>
                  <a:pt x="5658158" y="4121021"/>
                  <a:pt x="5659088" y="4121847"/>
                  <a:pt x="5658468" y="4123706"/>
                </a:cubicBezTo>
                <a:cubicBezTo>
                  <a:pt x="5657849" y="4125048"/>
                  <a:pt x="5657074" y="4125564"/>
                  <a:pt x="5655990" y="4125461"/>
                </a:cubicBezTo>
                <a:cubicBezTo>
                  <a:pt x="5655060" y="4125461"/>
                  <a:pt x="5653976" y="4124841"/>
                  <a:pt x="5652582" y="4124015"/>
                </a:cubicBezTo>
                <a:cubicBezTo>
                  <a:pt x="5649639" y="4122467"/>
                  <a:pt x="5650259" y="4119782"/>
                  <a:pt x="5648245" y="4118130"/>
                </a:cubicBezTo>
                <a:cubicBezTo>
                  <a:pt x="5649794" y="4117097"/>
                  <a:pt x="5652117" y="4115239"/>
                  <a:pt x="5655990" y="4117717"/>
                </a:cubicBezTo>
                <a:close/>
                <a:moveTo>
                  <a:pt x="5397158" y="4116994"/>
                </a:moveTo>
                <a:cubicBezTo>
                  <a:pt x="5400566" y="4124015"/>
                  <a:pt x="5397932" y="4127113"/>
                  <a:pt x="5397468" y="4130417"/>
                </a:cubicBezTo>
                <a:lnTo>
                  <a:pt x="5397778" y="4132483"/>
                </a:lnTo>
                <a:lnTo>
                  <a:pt x="5399482" y="4131140"/>
                </a:lnTo>
                <a:cubicBezTo>
                  <a:pt x="5400101" y="4130727"/>
                  <a:pt x="5400720" y="4130417"/>
                  <a:pt x="5401650" y="4130831"/>
                </a:cubicBezTo>
                <a:lnTo>
                  <a:pt x="5398087" y="4133722"/>
                </a:lnTo>
                <a:lnTo>
                  <a:pt x="5398087" y="4133928"/>
                </a:lnTo>
                <a:lnTo>
                  <a:pt x="5397778" y="4133928"/>
                </a:lnTo>
                <a:lnTo>
                  <a:pt x="5397003" y="4134548"/>
                </a:lnTo>
                <a:cubicBezTo>
                  <a:pt x="5397158" y="4135374"/>
                  <a:pt x="5397158" y="4136303"/>
                  <a:pt x="5396539" y="4137129"/>
                </a:cubicBezTo>
                <a:cubicBezTo>
                  <a:pt x="5394989" y="4138988"/>
                  <a:pt x="5393286" y="4138162"/>
                  <a:pt x="5391737" y="4139194"/>
                </a:cubicBezTo>
                <a:cubicBezTo>
                  <a:pt x="5390807" y="4138368"/>
                  <a:pt x="5389568" y="4136716"/>
                  <a:pt x="5391117" y="4134858"/>
                </a:cubicBezTo>
                <a:cubicBezTo>
                  <a:pt x="5391737" y="4133618"/>
                  <a:pt x="5392666" y="4132896"/>
                  <a:pt x="5393905" y="4132586"/>
                </a:cubicBezTo>
                <a:lnTo>
                  <a:pt x="5395454" y="4132689"/>
                </a:lnTo>
                <a:lnTo>
                  <a:pt x="5394989" y="4132173"/>
                </a:lnTo>
                <a:cubicBezTo>
                  <a:pt x="5395299" y="4131450"/>
                  <a:pt x="5394525" y="4131037"/>
                  <a:pt x="5395764" y="4130727"/>
                </a:cubicBezTo>
                <a:cubicBezTo>
                  <a:pt x="5394060" y="4127836"/>
                  <a:pt x="5394989" y="4119679"/>
                  <a:pt x="5397158" y="4116994"/>
                </a:cubicBezTo>
                <a:close/>
                <a:moveTo>
                  <a:pt x="5344803" y="4116994"/>
                </a:moveTo>
                <a:cubicBezTo>
                  <a:pt x="5346507" y="4117924"/>
                  <a:pt x="5347282" y="4118853"/>
                  <a:pt x="5349140" y="4119782"/>
                </a:cubicBezTo>
                <a:lnTo>
                  <a:pt x="5349605" y="4122157"/>
                </a:lnTo>
                <a:lnTo>
                  <a:pt x="5354407" y="4124015"/>
                </a:lnTo>
                <a:cubicBezTo>
                  <a:pt x="5355336" y="4124841"/>
                  <a:pt x="5357505" y="4128249"/>
                  <a:pt x="5356885" y="4129178"/>
                </a:cubicBezTo>
                <a:cubicBezTo>
                  <a:pt x="5356110" y="4130108"/>
                  <a:pt x="5355336" y="4130108"/>
                  <a:pt x="5354562" y="4130211"/>
                </a:cubicBezTo>
                <a:lnTo>
                  <a:pt x="5349605" y="4128042"/>
                </a:lnTo>
                <a:lnTo>
                  <a:pt x="5348676" y="4130211"/>
                </a:lnTo>
                <a:cubicBezTo>
                  <a:pt x="5347746" y="4131450"/>
                  <a:pt x="5346662" y="4132070"/>
                  <a:pt x="5345578" y="4132379"/>
                </a:cubicBezTo>
                <a:lnTo>
                  <a:pt x="5344493" y="4132379"/>
                </a:lnTo>
                <a:lnTo>
                  <a:pt x="5344648" y="4133308"/>
                </a:lnTo>
                <a:lnTo>
                  <a:pt x="5342015" y="4134754"/>
                </a:lnTo>
                <a:lnTo>
                  <a:pt x="5341085" y="4136303"/>
                </a:lnTo>
                <a:cubicBezTo>
                  <a:pt x="5339846" y="4136613"/>
                  <a:pt x="5338917" y="4136819"/>
                  <a:pt x="5338297" y="4136613"/>
                </a:cubicBezTo>
                <a:cubicBezTo>
                  <a:pt x="5337833" y="4136406"/>
                  <a:pt x="5337368" y="4135787"/>
                  <a:pt x="5337058" y="4134548"/>
                </a:cubicBezTo>
                <a:lnTo>
                  <a:pt x="5336903" y="4134031"/>
                </a:lnTo>
                <a:lnTo>
                  <a:pt x="5335354" y="4134754"/>
                </a:lnTo>
                <a:cubicBezTo>
                  <a:pt x="5335354" y="4133928"/>
                  <a:pt x="5335354" y="4132999"/>
                  <a:pt x="5334425" y="4132999"/>
                </a:cubicBezTo>
                <a:lnTo>
                  <a:pt x="5336129" y="4131657"/>
                </a:lnTo>
                <a:lnTo>
                  <a:pt x="5335974" y="4130934"/>
                </a:lnTo>
                <a:lnTo>
                  <a:pt x="5336129" y="4128146"/>
                </a:lnTo>
                <a:lnTo>
                  <a:pt x="5335974" y="4127836"/>
                </a:lnTo>
                <a:cubicBezTo>
                  <a:pt x="5335974" y="4127836"/>
                  <a:pt x="5332411" y="4123396"/>
                  <a:pt x="5335664" y="4119266"/>
                </a:cubicBezTo>
                <a:cubicBezTo>
                  <a:pt x="5336439" y="4120092"/>
                  <a:pt x="5341240" y="4115135"/>
                  <a:pt x="5344803" y="4116994"/>
                </a:cubicBezTo>
                <a:close/>
                <a:moveTo>
                  <a:pt x="5392821" y="4116684"/>
                </a:moveTo>
                <a:cubicBezTo>
                  <a:pt x="5393441" y="4117097"/>
                  <a:pt x="5393441" y="4116994"/>
                  <a:pt x="5393441" y="4116994"/>
                </a:cubicBezTo>
                <a:cubicBezTo>
                  <a:pt x="5391892" y="4118956"/>
                  <a:pt x="5392511" y="4122776"/>
                  <a:pt x="5391582" y="4125874"/>
                </a:cubicBezTo>
                <a:cubicBezTo>
                  <a:pt x="5391272" y="4126907"/>
                  <a:pt x="5390807" y="4127836"/>
                  <a:pt x="5390033" y="4128559"/>
                </a:cubicBezTo>
                <a:cubicBezTo>
                  <a:pt x="5390033" y="4128559"/>
                  <a:pt x="5390033" y="4128559"/>
                  <a:pt x="5390342" y="4127836"/>
                </a:cubicBezTo>
                <a:cubicBezTo>
                  <a:pt x="5390342" y="4127836"/>
                  <a:pt x="5390033" y="4128559"/>
                  <a:pt x="5389258" y="4128146"/>
                </a:cubicBezTo>
                <a:cubicBezTo>
                  <a:pt x="5388794" y="4123086"/>
                  <a:pt x="5392356" y="4117407"/>
                  <a:pt x="5392821" y="4116684"/>
                </a:cubicBezTo>
                <a:close/>
                <a:moveTo>
                  <a:pt x="5417604" y="4115962"/>
                </a:moveTo>
                <a:cubicBezTo>
                  <a:pt x="5417604" y="4116788"/>
                  <a:pt x="5416830" y="4119369"/>
                  <a:pt x="5417759" y="4119369"/>
                </a:cubicBezTo>
                <a:cubicBezTo>
                  <a:pt x="5415900" y="4121331"/>
                  <a:pt x="5413577" y="4123086"/>
                  <a:pt x="5411564" y="4123190"/>
                </a:cubicBezTo>
                <a:cubicBezTo>
                  <a:pt x="5410789" y="4123190"/>
                  <a:pt x="5410169" y="4122983"/>
                  <a:pt x="5409395" y="4122467"/>
                </a:cubicBezTo>
                <a:cubicBezTo>
                  <a:pt x="5407691" y="4121537"/>
                  <a:pt x="5408465" y="4119885"/>
                  <a:pt x="5410169" y="4118233"/>
                </a:cubicBezTo>
                <a:cubicBezTo>
                  <a:pt x="5412493" y="4113897"/>
                  <a:pt x="5414971" y="4113174"/>
                  <a:pt x="5417604" y="4115962"/>
                </a:cubicBezTo>
                <a:close/>
                <a:moveTo>
                  <a:pt x="5220731" y="4115549"/>
                </a:moveTo>
                <a:cubicBezTo>
                  <a:pt x="5223403" y="4116452"/>
                  <a:pt x="5225765" y="4118337"/>
                  <a:pt x="5226152" y="4120505"/>
                </a:cubicBezTo>
                <a:cubicBezTo>
                  <a:pt x="5225223" y="4122880"/>
                  <a:pt x="5224139" y="4125255"/>
                  <a:pt x="5223209" y="4127526"/>
                </a:cubicBezTo>
                <a:cubicBezTo>
                  <a:pt x="5221506" y="4128972"/>
                  <a:pt x="5219492" y="4129488"/>
                  <a:pt x="5217633" y="4129385"/>
                </a:cubicBezTo>
                <a:cubicBezTo>
                  <a:pt x="5215929" y="4129178"/>
                  <a:pt x="5214226" y="4128249"/>
                  <a:pt x="5213141" y="4126803"/>
                </a:cubicBezTo>
                <a:cubicBezTo>
                  <a:pt x="5212522" y="4125874"/>
                  <a:pt x="5211902" y="4124635"/>
                  <a:pt x="5211902" y="4123190"/>
                </a:cubicBezTo>
                <a:lnTo>
                  <a:pt x="5211902" y="4122983"/>
                </a:lnTo>
                <a:lnTo>
                  <a:pt x="5210663" y="4123912"/>
                </a:lnTo>
                <a:cubicBezTo>
                  <a:pt x="5210043" y="4124222"/>
                  <a:pt x="5209424" y="4124325"/>
                  <a:pt x="5208959" y="4123912"/>
                </a:cubicBezTo>
                <a:cubicBezTo>
                  <a:pt x="5208804" y="4122983"/>
                  <a:pt x="5208030" y="4122983"/>
                  <a:pt x="5208030" y="4122157"/>
                </a:cubicBezTo>
                <a:cubicBezTo>
                  <a:pt x="5206945" y="4120402"/>
                  <a:pt x="5206791" y="4119575"/>
                  <a:pt x="5207410" y="4118646"/>
                </a:cubicBezTo>
                <a:cubicBezTo>
                  <a:pt x="5207255" y="4117717"/>
                  <a:pt x="5208184" y="4117717"/>
                  <a:pt x="5208804" y="4116788"/>
                </a:cubicBezTo>
                <a:cubicBezTo>
                  <a:pt x="5209734" y="4116684"/>
                  <a:pt x="5210663" y="4117510"/>
                  <a:pt x="5210663" y="4117510"/>
                </a:cubicBezTo>
                <a:cubicBezTo>
                  <a:pt x="5211592" y="4118336"/>
                  <a:pt x="5211592" y="4118440"/>
                  <a:pt x="5212212" y="4117510"/>
                </a:cubicBezTo>
                <a:cubicBezTo>
                  <a:pt x="5212212" y="4117510"/>
                  <a:pt x="5212367" y="4118336"/>
                  <a:pt x="5212367" y="4118336"/>
                </a:cubicBezTo>
                <a:cubicBezTo>
                  <a:pt x="5212057" y="4118336"/>
                  <a:pt x="5212057" y="4118336"/>
                  <a:pt x="5212212" y="4118440"/>
                </a:cubicBezTo>
                <a:lnTo>
                  <a:pt x="5212831" y="4118853"/>
                </a:lnTo>
                <a:lnTo>
                  <a:pt x="5213451" y="4116478"/>
                </a:lnTo>
                <a:cubicBezTo>
                  <a:pt x="5215078" y="4114723"/>
                  <a:pt x="5218059" y="4114645"/>
                  <a:pt x="5220731" y="4115549"/>
                </a:cubicBezTo>
                <a:close/>
                <a:moveTo>
                  <a:pt x="5634304" y="4115548"/>
                </a:moveTo>
                <a:cubicBezTo>
                  <a:pt x="5637867" y="4116374"/>
                  <a:pt x="5640036" y="4118130"/>
                  <a:pt x="5640190" y="4121331"/>
                </a:cubicBezTo>
                <a:cubicBezTo>
                  <a:pt x="5639725" y="4123706"/>
                  <a:pt x="5639261" y="4127216"/>
                  <a:pt x="5636163" y="4127113"/>
                </a:cubicBezTo>
                <a:cubicBezTo>
                  <a:pt x="5635698" y="4126391"/>
                  <a:pt x="5634924" y="4126803"/>
                  <a:pt x="5634459" y="4126081"/>
                </a:cubicBezTo>
                <a:cubicBezTo>
                  <a:pt x="5634459" y="4126081"/>
                  <a:pt x="5633685" y="4125564"/>
                  <a:pt x="5632910" y="4124532"/>
                </a:cubicBezTo>
                <a:cubicBezTo>
                  <a:pt x="5632136" y="4123499"/>
                  <a:pt x="5631206" y="4121847"/>
                  <a:pt x="5631206" y="4119679"/>
                </a:cubicBezTo>
                <a:cubicBezTo>
                  <a:pt x="5631516" y="4118440"/>
                  <a:pt x="5632601" y="4115652"/>
                  <a:pt x="5633065" y="4116478"/>
                </a:cubicBezTo>
                <a:cubicBezTo>
                  <a:pt x="5634149" y="4116788"/>
                  <a:pt x="5633685" y="4115962"/>
                  <a:pt x="5634304" y="4115548"/>
                </a:cubicBezTo>
                <a:close/>
                <a:moveTo>
                  <a:pt x="5725538" y="4113897"/>
                </a:moveTo>
                <a:cubicBezTo>
                  <a:pt x="5728481" y="4117407"/>
                  <a:pt x="5732044" y="4116065"/>
                  <a:pt x="5734832" y="4119679"/>
                </a:cubicBezTo>
                <a:lnTo>
                  <a:pt x="5734212" y="4120298"/>
                </a:lnTo>
                <a:lnTo>
                  <a:pt x="5738549" y="4121641"/>
                </a:lnTo>
                <a:cubicBezTo>
                  <a:pt x="5737310" y="4129282"/>
                  <a:pt x="5737001" y="4136923"/>
                  <a:pt x="5736691" y="4144150"/>
                </a:cubicBezTo>
                <a:lnTo>
                  <a:pt x="5735606" y="4155612"/>
                </a:lnTo>
                <a:lnTo>
                  <a:pt x="5738859" y="4155509"/>
                </a:lnTo>
                <a:cubicBezTo>
                  <a:pt x="5743041" y="4156128"/>
                  <a:pt x="5746914" y="4157367"/>
                  <a:pt x="5750322" y="4159329"/>
                </a:cubicBezTo>
                <a:lnTo>
                  <a:pt x="5753265" y="4161394"/>
                </a:lnTo>
                <a:lnTo>
                  <a:pt x="5754969" y="4160981"/>
                </a:lnTo>
                <a:lnTo>
                  <a:pt x="5756053" y="4161188"/>
                </a:lnTo>
                <a:lnTo>
                  <a:pt x="5756518" y="4160878"/>
                </a:lnTo>
                <a:cubicBezTo>
                  <a:pt x="5756982" y="4160568"/>
                  <a:pt x="5757447" y="4160362"/>
                  <a:pt x="5757447" y="4160362"/>
                </a:cubicBezTo>
                <a:cubicBezTo>
                  <a:pt x="5758221" y="4161188"/>
                  <a:pt x="5758221" y="4161188"/>
                  <a:pt x="5757292" y="4161188"/>
                </a:cubicBezTo>
                <a:lnTo>
                  <a:pt x="5757292" y="4161291"/>
                </a:lnTo>
                <a:lnTo>
                  <a:pt x="5759925" y="4161498"/>
                </a:lnTo>
                <a:cubicBezTo>
                  <a:pt x="5759460" y="4163666"/>
                  <a:pt x="5758531" y="4165834"/>
                  <a:pt x="5757292" y="4167796"/>
                </a:cubicBezTo>
                <a:lnTo>
                  <a:pt x="5753729" y="4173269"/>
                </a:lnTo>
                <a:lnTo>
                  <a:pt x="5753265" y="4168932"/>
                </a:lnTo>
                <a:cubicBezTo>
                  <a:pt x="5752490" y="4168932"/>
                  <a:pt x="5751561" y="4169758"/>
                  <a:pt x="5751561" y="4169758"/>
                </a:cubicBezTo>
                <a:lnTo>
                  <a:pt x="5750941" y="4167176"/>
                </a:lnTo>
                <a:lnTo>
                  <a:pt x="5749547" y="4167383"/>
                </a:lnTo>
                <a:lnTo>
                  <a:pt x="5744126" y="4166557"/>
                </a:lnTo>
                <a:lnTo>
                  <a:pt x="5744126" y="4168003"/>
                </a:lnTo>
                <a:lnTo>
                  <a:pt x="5747998" y="4169552"/>
                </a:lnTo>
                <a:lnTo>
                  <a:pt x="5753729" y="4173269"/>
                </a:lnTo>
                <a:lnTo>
                  <a:pt x="5754969" y="4173888"/>
                </a:lnTo>
                <a:cubicBezTo>
                  <a:pt x="5757292" y="4175437"/>
                  <a:pt x="5759925" y="4176986"/>
                  <a:pt x="5762868" y="4178225"/>
                </a:cubicBezTo>
                <a:cubicBezTo>
                  <a:pt x="5760390" y="4189273"/>
                  <a:pt x="5765966" y="4191855"/>
                  <a:pt x="5768909" y="4196914"/>
                </a:cubicBezTo>
                <a:cubicBezTo>
                  <a:pt x="5766586" y="4200322"/>
                  <a:pt x="5765192" y="4204556"/>
                  <a:pt x="5763952" y="4208996"/>
                </a:cubicBezTo>
                <a:lnTo>
                  <a:pt x="5762249" y="4215191"/>
                </a:lnTo>
                <a:lnTo>
                  <a:pt x="5762713" y="4214984"/>
                </a:lnTo>
                <a:cubicBezTo>
                  <a:pt x="5764417" y="4214881"/>
                  <a:pt x="5769374" y="4218598"/>
                  <a:pt x="5768909" y="4219734"/>
                </a:cubicBezTo>
                <a:cubicBezTo>
                  <a:pt x="5767825" y="4219734"/>
                  <a:pt x="5766276" y="4219631"/>
                  <a:pt x="5764882" y="4219424"/>
                </a:cubicBezTo>
                <a:lnTo>
                  <a:pt x="5761474" y="4218289"/>
                </a:lnTo>
                <a:lnTo>
                  <a:pt x="5760235" y="4222625"/>
                </a:lnTo>
                <a:cubicBezTo>
                  <a:pt x="5755278" y="4224897"/>
                  <a:pt x="5750941" y="4227685"/>
                  <a:pt x="5746604" y="4230473"/>
                </a:cubicBezTo>
                <a:lnTo>
                  <a:pt x="5745829" y="4230886"/>
                </a:lnTo>
                <a:lnTo>
                  <a:pt x="5749082" y="4233467"/>
                </a:lnTo>
                <a:lnTo>
                  <a:pt x="5752180" y="4229853"/>
                </a:lnTo>
                <a:cubicBezTo>
                  <a:pt x="5755898" y="4227478"/>
                  <a:pt x="5760235" y="4230060"/>
                  <a:pt x="5763333" y="4235223"/>
                </a:cubicBezTo>
                <a:cubicBezTo>
                  <a:pt x="5761319" y="4238320"/>
                  <a:pt x="5759306" y="4241418"/>
                  <a:pt x="5755743" y="4242760"/>
                </a:cubicBezTo>
                <a:lnTo>
                  <a:pt x="5753110" y="4239869"/>
                </a:lnTo>
                <a:lnTo>
                  <a:pt x="5752800" y="4240179"/>
                </a:lnTo>
                <a:lnTo>
                  <a:pt x="5752335" y="4242244"/>
                </a:lnTo>
                <a:lnTo>
                  <a:pt x="5754039" y="4243586"/>
                </a:lnTo>
                <a:cubicBezTo>
                  <a:pt x="5753265" y="4244103"/>
                  <a:pt x="5752026" y="4245858"/>
                  <a:pt x="5751716" y="4245135"/>
                </a:cubicBezTo>
                <a:lnTo>
                  <a:pt x="5751406" y="4244929"/>
                </a:lnTo>
                <a:lnTo>
                  <a:pt x="5749237" y="4247716"/>
                </a:lnTo>
                <a:cubicBezTo>
                  <a:pt x="5746604" y="4250814"/>
                  <a:pt x="5743816" y="4251640"/>
                  <a:pt x="5741337" y="4251331"/>
                </a:cubicBezTo>
                <a:cubicBezTo>
                  <a:pt x="5738859" y="4251021"/>
                  <a:pt x="5736536" y="4249575"/>
                  <a:pt x="5734987" y="4248026"/>
                </a:cubicBezTo>
                <a:cubicBezTo>
                  <a:pt x="5735606" y="4247407"/>
                  <a:pt x="5731269" y="4243173"/>
                  <a:pt x="5731734" y="4238113"/>
                </a:cubicBezTo>
                <a:lnTo>
                  <a:pt x="5732044" y="4237804"/>
                </a:lnTo>
                <a:lnTo>
                  <a:pt x="5725228" y="4234913"/>
                </a:lnTo>
                <a:lnTo>
                  <a:pt x="5718568" y="4233467"/>
                </a:lnTo>
                <a:lnTo>
                  <a:pt x="5719807" y="4237184"/>
                </a:lnTo>
                <a:cubicBezTo>
                  <a:pt x="5720427" y="4238630"/>
                  <a:pt x="5721046" y="4240385"/>
                  <a:pt x="5720891" y="4243793"/>
                </a:cubicBezTo>
                <a:cubicBezTo>
                  <a:pt x="5720891" y="4252466"/>
                  <a:pt x="5715160" y="4254015"/>
                  <a:pt x="5710978" y="4253499"/>
                </a:cubicBezTo>
                <a:cubicBezTo>
                  <a:pt x="5710978" y="4253293"/>
                  <a:pt x="5710668" y="4253189"/>
                  <a:pt x="5710048" y="4252879"/>
                </a:cubicBezTo>
                <a:lnTo>
                  <a:pt x="5708345" y="4252157"/>
                </a:lnTo>
                <a:lnTo>
                  <a:pt x="5705712" y="4253189"/>
                </a:lnTo>
                <a:cubicBezTo>
                  <a:pt x="5704937" y="4253086"/>
                  <a:pt x="5704162" y="4252673"/>
                  <a:pt x="5703233" y="4251847"/>
                </a:cubicBezTo>
                <a:cubicBezTo>
                  <a:pt x="5702458" y="4251950"/>
                  <a:pt x="5701065" y="4248542"/>
                  <a:pt x="5701839" y="4247613"/>
                </a:cubicBezTo>
                <a:lnTo>
                  <a:pt x="5702458" y="4246891"/>
                </a:lnTo>
                <a:lnTo>
                  <a:pt x="5701219" y="4241728"/>
                </a:lnTo>
                <a:cubicBezTo>
                  <a:pt x="5701219" y="4240592"/>
                  <a:pt x="5701374" y="4239559"/>
                  <a:pt x="5701684" y="4238527"/>
                </a:cubicBezTo>
                <a:cubicBezTo>
                  <a:pt x="5701219" y="4240282"/>
                  <a:pt x="5700755" y="4242141"/>
                  <a:pt x="5700290" y="4243380"/>
                </a:cubicBezTo>
                <a:lnTo>
                  <a:pt x="5699671" y="4245238"/>
                </a:lnTo>
                <a:lnTo>
                  <a:pt x="5700445" y="4245238"/>
                </a:lnTo>
                <a:lnTo>
                  <a:pt x="5699515" y="4246168"/>
                </a:lnTo>
                <a:lnTo>
                  <a:pt x="5699361" y="4246374"/>
                </a:lnTo>
                <a:cubicBezTo>
                  <a:pt x="5698586" y="4246271"/>
                  <a:pt x="5698586" y="4247097"/>
                  <a:pt x="5699361" y="4247200"/>
                </a:cubicBezTo>
                <a:cubicBezTo>
                  <a:pt x="5698431" y="4248439"/>
                  <a:pt x="5697657" y="4249575"/>
                  <a:pt x="5697037" y="4250092"/>
                </a:cubicBezTo>
                <a:lnTo>
                  <a:pt x="5696108" y="4249885"/>
                </a:lnTo>
                <a:lnTo>
                  <a:pt x="5696263" y="4254738"/>
                </a:lnTo>
                <a:lnTo>
                  <a:pt x="5695953" y="4256080"/>
                </a:lnTo>
                <a:lnTo>
                  <a:pt x="5696418" y="4256493"/>
                </a:lnTo>
                <a:lnTo>
                  <a:pt x="5695798" y="4257319"/>
                </a:lnTo>
                <a:lnTo>
                  <a:pt x="5695024" y="4261656"/>
                </a:lnTo>
                <a:cubicBezTo>
                  <a:pt x="5694404" y="4263411"/>
                  <a:pt x="5693165" y="4264754"/>
                  <a:pt x="5691461" y="4264960"/>
                </a:cubicBezTo>
                <a:lnTo>
                  <a:pt x="5690532" y="4259075"/>
                </a:lnTo>
                <a:lnTo>
                  <a:pt x="5690377" y="4258765"/>
                </a:lnTo>
                <a:lnTo>
                  <a:pt x="5690377" y="4258352"/>
                </a:lnTo>
                <a:lnTo>
                  <a:pt x="5689757" y="4251434"/>
                </a:lnTo>
                <a:lnTo>
                  <a:pt x="5690841" y="4244929"/>
                </a:lnTo>
                <a:lnTo>
                  <a:pt x="5690067" y="4244826"/>
                </a:lnTo>
                <a:cubicBezTo>
                  <a:pt x="5686814" y="4245341"/>
                  <a:pt x="5682322" y="4248233"/>
                  <a:pt x="5677675" y="4244206"/>
                </a:cubicBezTo>
                <a:cubicBezTo>
                  <a:pt x="5679534" y="4242450"/>
                  <a:pt x="5676591" y="4238113"/>
                  <a:pt x="5679379" y="4235532"/>
                </a:cubicBezTo>
                <a:cubicBezTo>
                  <a:pt x="5685110" y="4229130"/>
                  <a:pt x="5687898" y="4228511"/>
                  <a:pt x="5691306" y="4229750"/>
                </a:cubicBezTo>
                <a:lnTo>
                  <a:pt x="5691616" y="4229853"/>
                </a:lnTo>
                <a:lnTo>
                  <a:pt x="5696418" y="4229853"/>
                </a:lnTo>
                <a:lnTo>
                  <a:pt x="5697192" y="4231505"/>
                </a:lnTo>
                <a:cubicBezTo>
                  <a:pt x="5698122" y="4230576"/>
                  <a:pt x="5699051" y="4229750"/>
                  <a:pt x="5700135" y="4230679"/>
                </a:cubicBezTo>
                <a:cubicBezTo>
                  <a:pt x="5701994" y="4232331"/>
                  <a:pt x="5702304" y="4234706"/>
                  <a:pt x="5701994" y="4237081"/>
                </a:cubicBezTo>
                <a:cubicBezTo>
                  <a:pt x="5703233" y="4233467"/>
                  <a:pt x="5706021" y="4230989"/>
                  <a:pt x="5712372" y="4232228"/>
                </a:cubicBezTo>
                <a:cubicBezTo>
                  <a:pt x="5714231" y="4232022"/>
                  <a:pt x="5713456" y="4232435"/>
                  <a:pt x="5714695" y="4232744"/>
                </a:cubicBezTo>
                <a:lnTo>
                  <a:pt x="5715935" y="4232847"/>
                </a:lnTo>
                <a:lnTo>
                  <a:pt x="5707570" y="4229957"/>
                </a:lnTo>
                <a:cubicBezTo>
                  <a:pt x="5705092" y="4228511"/>
                  <a:pt x="5703078" y="4226549"/>
                  <a:pt x="5701684" y="4223555"/>
                </a:cubicBezTo>
                <a:cubicBezTo>
                  <a:pt x="5702923" y="4217978"/>
                  <a:pt x="5702304" y="4214365"/>
                  <a:pt x="5701219" y="4211370"/>
                </a:cubicBezTo>
                <a:lnTo>
                  <a:pt x="5701219" y="4211164"/>
                </a:lnTo>
                <a:lnTo>
                  <a:pt x="5699051" y="4213332"/>
                </a:lnTo>
                <a:lnTo>
                  <a:pt x="5698122" y="4218805"/>
                </a:lnTo>
                <a:cubicBezTo>
                  <a:pt x="5698122" y="4221180"/>
                  <a:pt x="5698431" y="4222729"/>
                  <a:pt x="5698431" y="4222729"/>
                </a:cubicBezTo>
                <a:cubicBezTo>
                  <a:pt x="5697347" y="4224380"/>
                  <a:pt x="5696572" y="4224380"/>
                  <a:pt x="5697347" y="4224380"/>
                </a:cubicBezTo>
                <a:cubicBezTo>
                  <a:pt x="5695643" y="4226033"/>
                  <a:pt x="5693629" y="4228614"/>
                  <a:pt x="5692081" y="4227788"/>
                </a:cubicBezTo>
                <a:cubicBezTo>
                  <a:pt x="5690996" y="4226652"/>
                  <a:pt x="5690532" y="4225310"/>
                  <a:pt x="5690687" y="4223761"/>
                </a:cubicBezTo>
                <a:lnTo>
                  <a:pt x="5691616" y="4220560"/>
                </a:lnTo>
                <a:lnTo>
                  <a:pt x="5690996" y="4221076"/>
                </a:lnTo>
                <a:cubicBezTo>
                  <a:pt x="5688828" y="4222419"/>
                  <a:pt x="5686194" y="4223348"/>
                  <a:pt x="5682942" y="4223451"/>
                </a:cubicBezTo>
                <a:cubicBezTo>
                  <a:pt x="5682322" y="4218805"/>
                  <a:pt x="5686659" y="4212403"/>
                  <a:pt x="5692236" y="4208273"/>
                </a:cubicBezTo>
                <a:lnTo>
                  <a:pt x="5699051" y="4205175"/>
                </a:lnTo>
                <a:lnTo>
                  <a:pt x="5698122" y="4202387"/>
                </a:lnTo>
                <a:cubicBezTo>
                  <a:pt x="5699515" y="4198670"/>
                  <a:pt x="5701219" y="4194849"/>
                  <a:pt x="5703233" y="4191029"/>
                </a:cubicBezTo>
                <a:lnTo>
                  <a:pt x="5705557" y="4187725"/>
                </a:lnTo>
                <a:lnTo>
                  <a:pt x="5706951" y="4184730"/>
                </a:lnTo>
                <a:lnTo>
                  <a:pt x="5707105" y="4184420"/>
                </a:lnTo>
                <a:lnTo>
                  <a:pt x="5707416" y="4182355"/>
                </a:lnTo>
                <a:lnTo>
                  <a:pt x="5706331" y="4183595"/>
                </a:lnTo>
                <a:cubicBezTo>
                  <a:pt x="5704937" y="4184627"/>
                  <a:pt x="5703233" y="4185350"/>
                  <a:pt x="5700135" y="4185246"/>
                </a:cubicBezTo>
                <a:cubicBezTo>
                  <a:pt x="5693784" y="4184317"/>
                  <a:pt x="5695179" y="4177502"/>
                  <a:pt x="5694404" y="4178019"/>
                </a:cubicBezTo>
                <a:cubicBezTo>
                  <a:pt x="5693320" y="4177709"/>
                  <a:pt x="5693320" y="4177709"/>
                  <a:pt x="5692545" y="4178225"/>
                </a:cubicBezTo>
                <a:cubicBezTo>
                  <a:pt x="5692236" y="4177399"/>
                  <a:pt x="5690687" y="4176366"/>
                  <a:pt x="5689602" y="4176160"/>
                </a:cubicBezTo>
                <a:cubicBezTo>
                  <a:pt x="5690377" y="4175643"/>
                  <a:pt x="5691151" y="4175231"/>
                  <a:pt x="5690687" y="4174405"/>
                </a:cubicBezTo>
                <a:cubicBezTo>
                  <a:pt x="5693010" y="4175024"/>
                  <a:pt x="5693320" y="4175747"/>
                  <a:pt x="5694404" y="4176057"/>
                </a:cubicBezTo>
                <a:cubicBezTo>
                  <a:pt x="5694094" y="4175334"/>
                  <a:pt x="5695179" y="4175643"/>
                  <a:pt x="5695179" y="4175643"/>
                </a:cubicBezTo>
                <a:cubicBezTo>
                  <a:pt x="5695179" y="4175643"/>
                  <a:pt x="5695179" y="4175643"/>
                  <a:pt x="5695953" y="4173269"/>
                </a:cubicBezTo>
                <a:cubicBezTo>
                  <a:pt x="5695953" y="4173269"/>
                  <a:pt x="5698122" y="4167899"/>
                  <a:pt x="5703233" y="4168622"/>
                </a:cubicBezTo>
                <a:cubicBezTo>
                  <a:pt x="5703078" y="4169448"/>
                  <a:pt x="5706796" y="4170687"/>
                  <a:pt x="5708655" y="4172856"/>
                </a:cubicBezTo>
                <a:lnTo>
                  <a:pt x="5709739" y="4175231"/>
                </a:lnTo>
                <a:lnTo>
                  <a:pt x="5712372" y="4171410"/>
                </a:lnTo>
                <a:cubicBezTo>
                  <a:pt x="5715005" y="4169758"/>
                  <a:pt x="5717484" y="4169138"/>
                  <a:pt x="5719652" y="4169345"/>
                </a:cubicBezTo>
                <a:lnTo>
                  <a:pt x="5721976" y="4170584"/>
                </a:lnTo>
                <a:lnTo>
                  <a:pt x="5731734" y="4166557"/>
                </a:lnTo>
                <a:lnTo>
                  <a:pt x="5732044" y="4166557"/>
                </a:lnTo>
                <a:lnTo>
                  <a:pt x="5733283" y="4165525"/>
                </a:lnTo>
                <a:lnTo>
                  <a:pt x="5732818" y="4163769"/>
                </a:lnTo>
                <a:cubicBezTo>
                  <a:pt x="5730185" y="4161188"/>
                  <a:pt x="5726468" y="4162530"/>
                  <a:pt x="5725228" y="4155818"/>
                </a:cubicBezTo>
                <a:lnTo>
                  <a:pt x="5730650" y="4155715"/>
                </a:lnTo>
                <a:lnTo>
                  <a:pt x="5730030" y="4154579"/>
                </a:lnTo>
                <a:cubicBezTo>
                  <a:pt x="5729256" y="4151895"/>
                  <a:pt x="5728946" y="4149107"/>
                  <a:pt x="5728636" y="4146216"/>
                </a:cubicBezTo>
                <a:lnTo>
                  <a:pt x="5728636" y="4141363"/>
                </a:lnTo>
                <a:lnTo>
                  <a:pt x="5726932" y="4142808"/>
                </a:lnTo>
                <a:cubicBezTo>
                  <a:pt x="5723215" y="4144976"/>
                  <a:pt x="5720581" y="4143737"/>
                  <a:pt x="5719962" y="4144460"/>
                </a:cubicBezTo>
                <a:cubicBezTo>
                  <a:pt x="5717174" y="4141982"/>
                  <a:pt x="5718568" y="4140124"/>
                  <a:pt x="5719807" y="4136406"/>
                </a:cubicBezTo>
                <a:cubicBezTo>
                  <a:pt x="5720737" y="4137232"/>
                  <a:pt x="5722905" y="4134444"/>
                  <a:pt x="5723525" y="4133515"/>
                </a:cubicBezTo>
                <a:cubicBezTo>
                  <a:pt x="5724454" y="4134341"/>
                  <a:pt x="5725693" y="4134135"/>
                  <a:pt x="5727087" y="4133928"/>
                </a:cubicBezTo>
                <a:lnTo>
                  <a:pt x="5728791" y="4133825"/>
                </a:lnTo>
                <a:lnTo>
                  <a:pt x="5729101" y="4125461"/>
                </a:lnTo>
                <a:lnTo>
                  <a:pt x="5727242" y="4127423"/>
                </a:lnTo>
                <a:cubicBezTo>
                  <a:pt x="5724144" y="4125461"/>
                  <a:pt x="5722440" y="4123190"/>
                  <a:pt x="5722130" y="4120918"/>
                </a:cubicBezTo>
                <a:cubicBezTo>
                  <a:pt x="5721666" y="4118543"/>
                  <a:pt x="5722905" y="4116168"/>
                  <a:pt x="5725538" y="4113897"/>
                </a:cubicBezTo>
                <a:close/>
                <a:moveTo>
                  <a:pt x="5393905" y="4112864"/>
                </a:moveTo>
                <a:cubicBezTo>
                  <a:pt x="5393596" y="4113380"/>
                  <a:pt x="5393441" y="4113690"/>
                  <a:pt x="5393286" y="4113690"/>
                </a:cubicBezTo>
                <a:cubicBezTo>
                  <a:pt x="5393131" y="4113690"/>
                  <a:pt x="5392821" y="4113483"/>
                  <a:pt x="5392356" y="4113070"/>
                </a:cubicBezTo>
                <a:cubicBezTo>
                  <a:pt x="5392976" y="4112038"/>
                  <a:pt x="5393131" y="4112967"/>
                  <a:pt x="5393905" y="4112864"/>
                </a:cubicBezTo>
                <a:close/>
                <a:moveTo>
                  <a:pt x="5426589" y="4112761"/>
                </a:moveTo>
                <a:cubicBezTo>
                  <a:pt x="5426589" y="4113690"/>
                  <a:pt x="5427518" y="4115548"/>
                  <a:pt x="5426743" y="4115445"/>
                </a:cubicBezTo>
                <a:cubicBezTo>
                  <a:pt x="5426743" y="4116374"/>
                  <a:pt x="5425194" y="4116271"/>
                  <a:pt x="5425194" y="4116271"/>
                </a:cubicBezTo>
                <a:cubicBezTo>
                  <a:pt x="5425194" y="4117201"/>
                  <a:pt x="5425194" y="4118130"/>
                  <a:pt x="5424420" y="4118956"/>
                </a:cubicBezTo>
                <a:cubicBezTo>
                  <a:pt x="5423645" y="4118027"/>
                  <a:pt x="5423645" y="4118956"/>
                  <a:pt x="5422871" y="4118853"/>
                </a:cubicBezTo>
                <a:cubicBezTo>
                  <a:pt x="5423645" y="4118027"/>
                  <a:pt x="5423490" y="4115342"/>
                  <a:pt x="5424265" y="4113587"/>
                </a:cubicBezTo>
                <a:cubicBezTo>
                  <a:pt x="5425039" y="4113587"/>
                  <a:pt x="5425814" y="4112761"/>
                  <a:pt x="5426589" y="4112761"/>
                </a:cubicBezTo>
                <a:close/>
                <a:moveTo>
                  <a:pt x="517685" y="4112278"/>
                </a:moveTo>
                <a:cubicBezTo>
                  <a:pt x="519455" y="4112440"/>
                  <a:pt x="521226" y="4113569"/>
                  <a:pt x="522581" y="4116150"/>
                </a:cubicBezTo>
                <a:cubicBezTo>
                  <a:pt x="518554" y="4119971"/>
                  <a:pt x="515766" y="4122552"/>
                  <a:pt x="513133" y="4123894"/>
                </a:cubicBezTo>
                <a:cubicBezTo>
                  <a:pt x="507092" y="4120022"/>
                  <a:pt x="512377" y="4111794"/>
                  <a:pt x="517685" y="4112278"/>
                </a:cubicBezTo>
                <a:close/>
                <a:moveTo>
                  <a:pt x="5289660" y="4111935"/>
                </a:moveTo>
                <a:cubicBezTo>
                  <a:pt x="5294152" y="4115135"/>
                  <a:pt x="5290899" y="4118956"/>
                  <a:pt x="5291209" y="4124532"/>
                </a:cubicBezTo>
                <a:cubicBezTo>
                  <a:pt x="5286717" y="4123912"/>
                  <a:pt x="5284394" y="4116994"/>
                  <a:pt x="5286252" y="4113690"/>
                </a:cubicBezTo>
                <a:cubicBezTo>
                  <a:pt x="5286872" y="4112554"/>
                  <a:pt x="5287956" y="4111831"/>
                  <a:pt x="5289660" y="4111935"/>
                </a:cubicBezTo>
                <a:close/>
                <a:moveTo>
                  <a:pt x="5611206" y="4111857"/>
                </a:moveTo>
                <a:cubicBezTo>
                  <a:pt x="5613974" y="4111754"/>
                  <a:pt x="5616259" y="4112503"/>
                  <a:pt x="5617111" y="4112141"/>
                </a:cubicBezTo>
                <a:cubicBezTo>
                  <a:pt x="5618970" y="4114103"/>
                  <a:pt x="5619589" y="4114619"/>
                  <a:pt x="5618040" y="4116891"/>
                </a:cubicBezTo>
                <a:lnTo>
                  <a:pt x="5616336" y="4119059"/>
                </a:lnTo>
                <a:lnTo>
                  <a:pt x="5617730" y="4120918"/>
                </a:lnTo>
                <a:cubicBezTo>
                  <a:pt x="5616801" y="4121744"/>
                  <a:pt x="5616026" y="4122570"/>
                  <a:pt x="5615252" y="4123396"/>
                </a:cubicBezTo>
                <a:lnTo>
                  <a:pt x="5611844" y="4121434"/>
                </a:lnTo>
                <a:lnTo>
                  <a:pt x="5609211" y="4121228"/>
                </a:lnTo>
                <a:cubicBezTo>
                  <a:pt x="5607662" y="4122054"/>
                  <a:pt x="5605184" y="4121950"/>
                  <a:pt x="5603480" y="4120918"/>
                </a:cubicBezTo>
                <a:cubicBezTo>
                  <a:pt x="5601776" y="4119163"/>
                  <a:pt x="5601621" y="4117510"/>
                  <a:pt x="5602396" y="4116684"/>
                </a:cubicBezTo>
                <a:cubicBezTo>
                  <a:pt x="5605184" y="4112915"/>
                  <a:pt x="5608437" y="4111960"/>
                  <a:pt x="5611206" y="4111857"/>
                </a:cubicBezTo>
                <a:close/>
                <a:moveTo>
                  <a:pt x="5574611" y="4110140"/>
                </a:moveTo>
                <a:cubicBezTo>
                  <a:pt x="5579239" y="4109224"/>
                  <a:pt x="5584737" y="4110489"/>
                  <a:pt x="5585047" y="4113793"/>
                </a:cubicBezTo>
                <a:cubicBezTo>
                  <a:pt x="5585202" y="4116271"/>
                  <a:pt x="5582414" y="4119989"/>
                  <a:pt x="5573895" y="4124738"/>
                </a:cubicBezTo>
                <a:cubicBezTo>
                  <a:pt x="5571726" y="4122880"/>
                  <a:pt x="5570332" y="4121125"/>
                  <a:pt x="5569403" y="4119575"/>
                </a:cubicBezTo>
                <a:cubicBezTo>
                  <a:pt x="5566228" y="4114155"/>
                  <a:pt x="5569984" y="4111057"/>
                  <a:pt x="5574611" y="4110140"/>
                </a:cubicBezTo>
                <a:close/>
                <a:moveTo>
                  <a:pt x="5396229" y="4108940"/>
                </a:moveTo>
                <a:cubicBezTo>
                  <a:pt x="5396693" y="4110179"/>
                  <a:pt x="5396848" y="4112141"/>
                  <a:pt x="5397158" y="4113380"/>
                </a:cubicBezTo>
                <a:cubicBezTo>
                  <a:pt x="5397158" y="4113380"/>
                  <a:pt x="5397158" y="4113380"/>
                  <a:pt x="5396074" y="4113690"/>
                </a:cubicBezTo>
                <a:cubicBezTo>
                  <a:pt x="5396693" y="4112141"/>
                  <a:pt x="5394060" y="4109663"/>
                  <a:pt x="5396229" y="4108940"/>
                </a:cubicBezTo>
                <a:close/>
                <a:moveTo>
                  <a:pt x="5096194" y="4108114"/>
                </a:moveTo>
                <a:lnTo>
                  <a:pt x="5097898" y="4108940"/>
                </a:lnTo>
                <a:lnTo>
                  <a:pt x="5099447" y="4109250"/>
                </a:lnTo>
                <a:lnTo>
                  <a:pt x="5099447" y="4109973"/>
                </a:lnTo>
                <a:lnTo>
                  <a:pt x="5102236" y="4115652"/>
                </a:lnTo>
                <a:cubicBezTo>
                  <a:pt x="5102236" y="4117097"/>
                  <a:pt x="5101926" y="4118646"/>
                  <a:pt x="5100841" y="4119885"/>
                </a:cubicBezTo>
                <a:cubicBezTo>
                  <a:pt x="5099292" y="4120608"/>
                  <a:pt x="5097898" y="4120608"/>
                  <a:pt x="5096659" y="4120092"/>
                </a:cubicBezTo>
                <a:lnTo>
                  <a:pt x="5095110" y="4118749"/>
                </a:lnTo>
                <a:lnTo>
                  <a:pt x="5093251" y="4120092"/>
                </a:lnTo>
                <a:cubicBezTo>
                  <a:pt x="5091858" y="4120711"/>
                  <a:pt x="5090309" y="4121331"/>
                  <a:pt x="5088914" y="4122673"/>
                </a:cubicBezTo>
                <a:cubicBezTo>
                  <a:pt x="5087366" y="4121331"/>
                  <a:pt x="5086436" y="4120402"/>
                  <a:pt x="5086126" y="4119266"/>
                </a:cubicBezTo>
                <a:cubicBezTo>
                  <a:pt x="5085816" y="4118233"/>
                  <a:pt x="5086126" y="4116891"/>
                  <a:pt x="5087211" y="4114722"/>
                </a:cubicBezTo>
                <a:cubicBezTo>
                  <a:pt x="5087211" y="4114722"/>
                  <a:pt x="5088140" y="4113897"/>
                  <a:pt x="5088140" y="4113897"/>
                </a:cubicBezTo>
                <a:lnTo>
                  <a:pt x="5092477" y="4110799"/>
                </a:lnTo>
                <a:lnTo>
                  <a:pt x="5092787" y="4108527"/>
                </a:lnTo>
                <a:cubicBezTo>
                  <a:pt x="5094026" y="4108011"/>
                  <a:pt x="5095110" y="4107907"/>
                  <a:pt x="5096194" y="4108114"/>
                </a:cubicBezTo>
                <a:close/>
                <a:moveTo>
                  <a:pt x="5759306" y="4107804"/>
                </a:moveTo>
                <a:lnTo>
                  <a:pt x="5761629" y="4110799"/>
                </a:lnTo>
                <a:cubicBezTo>
                  <a:pt x="5761164" y="4111212"/>
                  <a:pt x="5760545" y="4111522"/>
                  <a:pt x="5759925" y="4111625"/>
                </a:cubicBezTo>
                <a:cubicBezTo>
                  <a:pt x="5759306" y="4111831"/>
                  <a:pt x="5758686" y="4111625"/>
                  <a:pt x="5758376" y="4111108"/>
                </a:cubicBezTo>
                <a:cubicBezTo>
                  <a:pt x="5757602" y="4110592"/>
                  <a:pt x="5757602" y="4110179"/>
                  <a:pt x="5757912" y="4109663"/>
                </a:cubicBezTo>
                <a:cubicBezTo>
                  <a:pt x="5758221" y="4109147"/>
                  <a:pt x="5758841" y="4108630"/>
                  <a:pt x="5759306" y="4107804"/>
                </a:cubicBezTo>
                <a:close/>
                <a:moveTo>
                  <a:pt x="5193528" y="4107507"/>
                </a:moveTo>
                <a:cubicBezTo>
                  <a:pt x="5196335" y="4106074"/>
                  <a:pt x="5199743" y="4106307"/>
                  <a:pt x="5201524" y="4108527"/>
                </a:cubicBezTo>
                <a:cubicBezTo>
                  <a:pt x="5202608" y="4110076"/>
                  <a:pt x="5203073" y="4112451"/>
                  <a:pt x="5202144" y="4115755"/>
                </a:cubicBezTo>
                <a:lnTo>
                  <a:pt x="5198736" y="4116271"/>
                </a:lnTo>
                <a:lnTo>
                  <a:pt x="5199046" y="4117510"/>
                </a:lnTo>
                <a:cubicBezTo>
                  <a:pt x="5199046" y="4118440"/>
                  <a:pt x="5198736" y="4119472"/>
                  <a:pt x="5198117" y="4120608"/>
                </a:cubicBezTo>
                <a:cubicBezTo>
                  <a:pt x="5196567" y="4119575"/>
                  <a:pt x="5194863" y="4118646"/>
                  <a:pt x="5193934" y="4117510"/>
                </a:cubicBezTo>
                <a:lnTo>
                  <a:pt x="5193779" y="4117097"/>
                </a:lnTo>
                <a:lnTo>
                  <a:pt x="5192230" y="4117407"/>
                </a:lnTo>
                <a:cubicBezTo>
                  <a:pt x="5191146" y="4117407"/>
                  <a:pt x="5190217" y="4117097"/>
                  <a:pt x="5189132" y="4116478"/>
                </a:cubicBezTo>
                <a:cubicBezTo>
                  <a:pt x="5188513" y="4112038"/>
                  <a:pt x="5190720" y="4108940"/>
                  <a:pt x="5193528" y="4107507"/>
                </a:cubicBezTo>
                <a:close/>
                <a:moveTo>
                  <a:pt x="712794" y="4106547"/>
                </a:moveTo>
                <a:cubicBezTo>
                  <a:pt x="713568" y="4106134"/>
                  <a:pt x="713878" y="4106857"/>
                  <a:pt x="715117" y="4107064"/>
                </a:cubicBezTo>
                <a:cubicBezTo>
                  <a:pt x="715427" y="4107786"/>
                  <a:pt x="715117" y="4109026"/>
                  <a:pt x="715117" y="4109026"/>
                </a:cubicBezTo>
                <a:cubicBezTo>
                  <a:pt x="714653" y="4110265"/>
                  <a:pt x="714653" y="4110265"/>
                  <a:pt x="715892" y="4110471"/>
                </a:cubicBezTo>
                <a:cubicBezTo>
                  <a:pt x="715892" y="4110471"/>
                  <a:pt x="715117" y="4110987"/>
                  <a:pt x="715117" y="4110987"/>
                </a:cubicBezTo>
                <a:cubicBezTo>
                  <a:pt x="714653" y="4110265"/>
                  <a:pt x="715117" y="4110987"/>
                  <a:pt x="714653" y="4112227"/>
                </a:cubicBezTo>
                <a:cubicBezTo>
                  <a:pt x="712794" y="4112433"/>
                  <a:pt x="712020" y="4112846"/>
                  <a:pt x="710935" y="4112536"/>
                </a:cubicBezTo>
                <a:cubicBezTo>
                  <a:pt x="710315" y="4112433"/>
                  <a:pt x="709696" y="4112123"/>
                  <a:pt x="709232" y="4111710"/>
                </a:cubicBezTo>
                <a:cubicBezTo>
                  <a:pt x="708766" y="4111194"/>
                  <a:pt x="708457" y="4110678"/>
                  <a:pt x="708766" y="4110161"/>
                </a:cubicBezTo>
                <a:cubicBezTo>
                  <a:pt x="709387" y="4109645"/>
                  <a:pt x="709077" y="4108922"/>
                  <a:pt x="709851" y="4108406"/>
                </a:cubicBezTo>
                <a:cubicBezTo>
                  <a:pt x="710935" y="4106754"/>
                  <a:pt x="711710" y="4106341"/>
                  <a:pt x="712794" y="4106547"/>
                </a:cubicBezTo>
                <a:close/>
                <a:moveTo>
                  <a:pt x="5114782" y="4106049"/>
                </a:moveTo>
                <a:cubicBezTo>
                  <a:pt x="5116796" y="4108940"/>
                  <a:pt x="5118190" y="4110799"/>
                  <a:pt x="5118809" y="4112658"/>
                </a:cubicBezTo>
                <a:cubicBezTo>
                  <a:pt x="5117725" y="4113897"/>
                  <a:pt x="5116486" y="4114206"/>
                  <a:pt x="5115247" y="4114103"/>
                </a:cubicBezTo>
                <a:cubicBezTo>
                  <a:pt x="5114162" y="4113897"/>
                  <a:pt x="5113233" y="4113174"/>
                  <a:pt x="5112458" y="4112244"/>
                </a:cubicBezTo>
                <a:cubicBezTo>
                  <a:pt x="5111065" y="4110386"/>
                  <a:pt x="5111065" y="4107495"/>
                  <a:pt x="5114782" y="4106049"/>
                </a:cubicBezTo>
                <a:close/>
                <a:moveTo>
                  <a:pt x="5420547" y="4105842"/>
                </a:moveTo>
                <a:cubicBezTo>
                  <a:pt x="5421322" y="4105016"/>
                  <a:pt x="5422251" y="4105016"/>
                  <a:pt x="5423181" y="4105946"/>
                </a:cubicBezTo>
                <a:cubicBezTo>
                  <a:pt x="5423181" y="4105946"/>
                  <a:pt x="5422406" y="4107598"/>
                  <a:pt x="5422406" y="4107598"/>
                </a:cubicBezTo>
                <a:cubicBezTo>
                  <a:pt x="5420702" y="4109250"/>
                  <a:pt x="5419928" y="4110076"/>
                  <a:pt x="5419153" y="4111831"/>
                </a:cubicBezTo>
                <a:cubicBezTo>
                  <a:pt x="5417295" y="4110902"/>
                  <a:pt x="5417295" y="4109973"/>
                  <a:pt x="5418069" y="4109147"/>
                </a:cubicBezTo>
                <a:cubicBezTo>
                  <a:pt x="5418069" y="4109147"/>
                  <a:pt x="5418998" y="4108321"/>
                  <a:pt x="5419773" y="4107495"/>
                </a:cubicBezTo>
                <a:cubicBezTo>
                  <a:pt x="5420547" y="4106668"/>
                  <a:pt x="5420547" y="4105842"/>
                  <a:pt x="5420547" y="4105842"/>
                </a:cubicBezTo>
                <a:close/>
                <a:moveTo>
                  <a:pt x="5340156" y="4105842"/>
                </a:moveTo>
                <a:lnTo>
                  <a:pt x="5340931" y="4106255"/>
                </a:lnTo>
                <a:cubicBezTo>
                  <a:pt x="5341240" y="4106668"/>
                  <a:pt x="5341085" y="4107288"/>
                  <a:pt x="5340776" y="4108217"/>
                </a:cubicBezTo>
                <a:cubicBezTo>
                  <a:pt x="5339846" y="4110799"/>
                  <a:pt x="5337058" y="4114722"/>
                  <a:pt x="5336749" y="4115239"/>
                </a:cubicBezTo>
                <a:cubicBezTo>
                  <a:pt x="5336749" y="4115239"/>
                  <a:pt x="5336439" y="4115962"/>
                  <a:pt x="5335974" y="4116788"/>
                </a:cubicBezTo>
                <a:cubicBezTo>
                  <a:pt x="5334890" y="4117097"/>
                  <a:pt x="5334270" y="4116684"/>
                  <a:pt x="5333806" y="4117407"/>
                </a:cubicBezTo>
                <a:cubicBezTo>
                  <a:pt x="5332566" y="4113897"/>
                  <a:pt x="5334425" y="4112038"/>
                  <a:pt x="5336284" y="4110282"/>
                </a:cubicBezTo>
                <a:cubicBezTo>
                  <a:pt x="5337678" y="4109147"/>
                  <a:pt x="5338142" y="4108424"/>
                  <a:pt x="5337988" y="4106462"/>
                </a:cubicBezTo>
                <a:cubicBezTo>
                  <a:pt x="5337988" y="4106462"/>
                  <a:pt x="5337988" y="4106462"/>
                  <a:pt x="5340156" y="4105842"/>
                </a:cubicBezTo>
                <a:close/>
                <a:moveTo>
                  <a:pt x="5315838" y="4105739"/>
                </a:moveTo>
                <a:cubicBezTo>
                  <a:pt x="5317077" y="4106049"/>
                  <a:pt x="5318161" y="4106255"/>
                  <a:pt x="5317851" y="4107495"/>
                </a:cubicBezTo>
                <a:cubicBezTo>
                  <a:pt x="5317386" y="4108630"/>
                  <a:pt x="5317851" y="4109457"/>
                  <a:pt x="5315838" y="4109560"/>
                </a:cubicBezTo>
                <a:cubicBezTo>
                  <a:pt x="5315218" y="4110076"/>
                  <a:pt x="5314134" y="4109766"/>
                  <a:pt x="5313359" y="4110282"/>
                </a:cubicBezTo>
                <a:cubicBezTo>
                  <a:pt x="5313359" y="4110282"/>
                  <a:pt x="5312895" y="4109766"/>
                  <a:pt x="5312430" y="4109250"/>
                </a:cubicBezTo>
                <a:cubicBezTo>
                  <a:pt x="5311965" y="4108630"/>
                  <a:pt x="5311655" y="4107907"/>
                  <a:pt x="5311810" y="4107288"/>
                </a:cubicBezTo>
                <a:cubicBezTo>
                  <a:pt x="5311810" y="4105326"/>
                  <a:pt x="5315218" y="4106152"/>
                  <a:pt x="5315838" y="4105739"/>
                </a:cubicBezTo>
                <a:close/>
                <a:moveTo>
                  <a:pt x="692502" y="4103863"/>
                </a:moveTo>
                <a:cubicBezTo>
                  <a:pt x="699628" y="4104999"/>
                  <a:pt x="707218" y="4105515"/>
                  <a:pt x="708766" y="4111297"/>
                </a:cubicBezTo>
                <a:cubicBezTo>
                  <a:pt x="707837" y="4112227"/>
                  <a:pt x="706753" y="4112743"/>
                  <a:pt x="705669" y="4112949"/>
                </a:cubicBezTo>
                <a:cubicBezTo>
                  <a:pt x="704430" y="4113156"/>
                  <a:pt x="703035" y="4113052"/>
                  <a:pt x="701641" y="4112743"/>
                </a:cubicBezTo>
                <a:cubicBezTo>
                  <a:pt x="698853" y="4112227"/>
                  <a:pt x="696065" y="4110781"/>
                  <a:pt x="694051" y="4109542"/>
                </a:cubicBezTo>
                <a:cubicBezTo>
                  <a:pt x="694206" y="4107167"/>
                  <a:pt x="692347" y="4106238"/>
                  <a:pt x="692502" y="4103863"/>
                </a:cubicBezTo>
                <a:close/>
                <a:moveTo>
                  <a:pt x="5382753" y="4102229"/>
                </a:moveTo>
                <a:cubicBezTo>
                  <a:pt x="5377176" y="4109869"/>
                  <a:pt x="5371910" y="4105223"/>
                  <a:pt x="5368657" y="4109457"/>
                </a:cubicBezTo>
                <a:cubicBezTo>
                  <a:pt x="5367728" y="4107701"/>
                  <a:pt x="5367728" y="4107701"/>
                  <a:pt x="5368502" y="4105946"/>
                </a:cubicBezTo>
                <a:cubicBezTo>
                  <a:pt x="5369277" y="4105946"/>
                  <a:pt x="5369277" y="4105120"/>
                  <a:pt x="5370206" y="4105946"/>
                </a:cubicBezTo>
                <a:cubicBezTo>
                  <a:pt x="5371755" y="4103468"/>
                  <a:pt x="5379345" y="4101196"/>
                  <a:pt x="5382753" y="4102229"/>
                </a:cubicBezTo>
                <a:close/>
                <a:moveTo>
                  <a:pt x="1416892" y="4102104"/>
                </a:moveTo>
                <a:lnTo>
                  <a:pt x="1415093" y="4103140"/>
                </a:lnTo>
                <a:lnTo>
                  <a:pt x="1411376" y="4105411"/>
                </a:lnTo>
                <a:lnTo>
                  <a:pt x="1410292" y="4108406"/>
                </a:lnTo>
                <a:cubicBezTo>
                  <a:pt x="1409363" y="4110471"/>
                  <a:pt x="1408279" y="4112227"/>
                  <a:pt x="1406884" y="4113466"/>
                </a:cubicBezTo>
                <a:lnTo>
                  <a:pt x="1405180" y="4109748"/>
                </a:lnTo>
                <a:lnTo>
                  <a:pt x="1400224" y="4114911"/>
                </a:lnTo>
                <a:cubicBezTo>
                  <a:pt x="1401308" y="4116047"/>
                  <a:pt x="1403632" y="4113878"/>
                  <a:pt x="1405335" y="4113362"/>
                </a:cubicBezTo>
                <a:cubicBezTo>
                  <a:pt x="1403167" y="4116563"/>
                  <a:pt x="1403632" y="4116047"/>
                  <a:pt x="1404871" y="4118732"/>
                </a:cubicBezTo>
                <a:lnTo>
                  <a:pt x="1403012" y="4119454"/>
                </a:lnTo>
                <a:lnTo>
                  <a:pt x="1403786" y="4119764"/>
                </a:lnTo>
                <a:cubicBezTo>
                  <a:pt x="1404251" y="4119971"/>
                  <a:pt x="1404560" y="4120177"/>
                  <a:pt x="1404560" y="4119971"/>
                </a:cubicBezTo>
                <a:cubicBezTo>
                  <a:pt x="1405490" y="4119145"/>
                  <a:pt x="1405490" y="4119145"/>
                  <a:pt x="1405490" y="4118318"/>
                </a:cubicBezTo>
                <a:cubicBezTo>
                  <a:pt x="1406419" y="4118422"/>
                  <a:pt x="1408124" y="4117802"/>
                  <a:pt x="1408898" y="4116976"/>
                </a:cubicBezTo>
                <a:cubicBezTo>
                  <a:pt x="1408898" y="4117906"/>
                  <a:pt x="1408898" y="4118732"/>
                  <a:pt x="1409827" y="4118835"/>
                </a:cubicBezTo>
                <a:cubicBezTo>
                  <a:pt x="1407969" y="4120383"/>
                  <a:pt x="1407194" y="4120177"/>
                  <a:pt x="1406264" y="4121003"/>
                </a:cubicBezTo>
                <a:cubicBezTo>
                  <a:pt x="1407194" y="4121106"/>
                  <a:pt x="1406264" y="4121829"/>
                  <a:pt x="1406264" y="4121829"/>
                </a:cubicBezTo>
                <a:cubicBezTo>
                  <a:pt x="1406264" y="4121829"/>
                  <a:pt x="1406264" y="4121829"/>
                  <a:pt x="1406419" y="4122036"/>
                </a:cubicBezTo>
                <a:lnTo>
                  <a:pt x="1407504" y="4123378"/>
                </a:lnTo>
                <a:lnTo>
                  <a:pt x="1410602" y="4121003"/>
                </a:lnTo>
                <a:lnTo>
                  <a:pt x="1423543" y="4111626"/>
                </a:lnTo>
                <a:lnTo>
                  <a:pt x="1418401" y="4104184"/>
                </a:lnTo>
                <a:close/>
                <a:moveTo>
                  <a:pt x="5664509" y="4101609"/>
                </a:moveTo>
                <a:cubicBezTo>
                  <a:pt x="5666833" y="4099957"/>
                  <a:pt x="5675507" y="4105636"/>
                  <a:pt x="5670705" y="4109766"/>
                </a:cubicBezTo>
                <a:cubicBezTo>
                  <a:pt x="5670085" y="4110386"/>
                  <a:pt x="5669156" y="4110489"/>
                  <a:pt x="5668226" y="4110076"/>
                </a:cubicBezTo>
                <a:cubicBezTo>
                  <a:pt x="5665438" y="4108940"/>
                  <a:pt x="5662031" y="4104087"/>
                  <a:pt x="5664509" y="4101609"/>
                </a:cubicBezTo>
                <a:close/>
                <a:moveTo>
                  <a:pt x="5290435" y="4100680"/>
                </a:moveTo>
                <a:cubicBezTo>
                  <a:pt x="5292139" y="4102641"/>
                  <a:pt x="5293842" y="4104603"/>
                  <a:pt x="5292758" y="4108940"/>
                </a:cubicBezTo>
                <a:cubicBezTo>
                  <a:pt x="5291364" y="4110076"/>
                  <a:pt x="5289970" y="4110696"/>
                  <a:pt x="5288421" y="4110902"/>
                </a:cubicBezTo>
                <a:cubicBezTo>
                  <a:pt x="5286872" y="4111108"/>
                  <a:pt x="5285168" y="4110696"/>
                  <a:pt x="5282999" y="4109973"/>
                </a:cubicBezTo>
                <a:cubicBezTo>
                  <a:pt x="5281605" y="4106049"/>
                  <a:pt x="5285013" y="4098718"/>
                  <a:pt x="5290435" y="4100680"/>
                </a:cubicBezTo>
                <a:close/>
                <a:moveTo>
                  <a:pt x="5389258" y="4098305"/>
                </a:moveTo>
                <a:cubicBezTo>
                  <a:pt x="5388329" y="4099131"/>
                  <a:pt x="5386780" y="4099957"/>
                  <a:pt x="5385851" y="4100783"/>
                </a:cubicBezTo>
                <a:cubicBezTo>
                  <a:pt x="5385851" y="4100783"/>
                  <a:pt x="5385851" y="4100783"/>
                  <a:pt x="5385076" y="4099854"/>
                </a:cubicBezTo>
                <a:cubicBezTo>
                  <a:pt x="5386780" y="4099957"/>
                  <a:pt x="5387399" y="4096446"/>
                  <a:pt x="5389258" y="4098305"/>
                </a:cubicBezTo>
                <a:close/>
                <a:moveTo>
                  <a:pt x="5375995" y="4097621"/>
                </a:moveTo>
                <a:cubicBezTo>
                  <a:pt x="5378338" y="4097608"/>
                  <a:pt x="5380275" y="4097892"/>
                  <a:pt x="5380739" y="4097892"/>
                </a:cubicBezTo>
                <a:cubicBezTo>
                  <a:pt x="5380739" y="4098718"/>
                  <a:pt x="5380739" y="4098718"/>
                  <a:pt x="5380739" y="4098718"/>
                </a:cubicBezTo>
                <a:cubicBezTo>
                  <a:pt x="5378106" y="4097995"/>
                  <a:pt x="5375163" y="4100060"/>
                  <a:pt x="5372065" y="4100370"/>
                </a:cubicBezTo>
                <a:cubicBezTo>
                  <a:pt x="5371135" y="4100473"/>
                  <a:pt x="5370051" y="4100370"/>
                  <a:pt x="5368967" y="4099957"/>
                </a:cubicBezTo>
                <a:cubicBezTo>
                  <a:pt x="5368967" y="4099957"/>
                  <a:pt x="5368967" y="4099957"/>
                  <a:pt x="5369742" y="4099957"/>
                </a:cubicBezTo>
                <a:cubicBezTo>
                  <a:pt x="5369742" y="4099957"/>
                  <a:pt x="5368967" y="4099957"/>
                  <a:pt x="5368812" y="4099131"/>
                </a:cubicBezTo>
                <a:cubicBezTo>
                  <a:pt x="5370903" y="4097943"/>
                  <a:pt x="5373653" y="4097634"/>
                  <a:pt x="5375995" y="4097621"/>
                </a:cubicBezTo>
                <a:close/>
                <a:moveTo>
                  <a:pt x="5634459" y="4097375"/>
                </a:moveTo>
                <a:cubicBezTo>
                  <a:pt x="5638951" y="4100370"/>
                  <a:pt x="5638796" y="4107907"/>
                  <a:pt x="5633065" y="4109043"/>
                </a:cubicBezTo>
                <a:cubicBezTo>
                  <a:pt x="5631981" y="4107288"/>
                  <a:pt x="5630432" y="4106359"/>
                  <a:pt x="5629347" y="4104707"/>
                </a:cubicBezTo>
                <a:cubicBezTo>
                  <a:pt x="5630897" y="4101919"/>
                  <a:pt x="5629193" y="4097789"/>
                  <a:pt x="5634459" y="4097375"/>
                </a:cubicBezTo>
                <a:close/>
                <a:moveTo>
                  <a:pt x="5852088" y="4097272"/>
                </a:moveTo>
                <a:lnTo>
                  <a:pt x="5845893" y="4102848"/>
                </a:lnTo>
                <a:lnTo>
                  <a:pt x="5838922" y="4108114"/>
                </a:lnTo>
                <a:lnTo>
                  <a:pt x="5844653" y="4127010"/>
                </a:lnTo>
                <a:lnTo>
                  <a:pt x="5846512" y="4133102"/>
                </a:lnTo>
                <a:lnTo>
                  <a:pt x="5849145" y="4130521"/>
                </a:lnTo>
                <a:cubicBezTo>
                  <a:pt x="5851314" y="4131037"/>
                  <a:pt x="5853638" y="4128765"/>
                  <a:pt x="5856271" y="4128146"/>
                </a:cubicBezTo>
                <a:lnTo>
                  <a:pt x="5857200" y="4128146"/>
                </a:lnTo>
                <a:lnTo>
                  <a:pt x="5857200" y="4127939"/>
                </a:lnTo>
                <a:cubicBezTo>
                  <a:pt x="5857045" y="4126184"/>
                  <a:pt x="5856581" y="4124635"/>
                  <a:pt x="5855341" y="4123499"/>
                </a:cubicBezTo>
                <a:cubicBezTo>
                  <a:pt x="5856426" y="4124635"/>
                  <a:pt x="5857665" y="4125048"/>
                  <a:pt x="5859369" y="4124015"/>
                </a:cubicBezTo>
                <a:lnTo>
                  <a:pt x="5858129" y="4118233"/>
                </a:lnTo>
                <a:lnTo>
                  <a:pt x="5857820" y="4117820"/>
                </a:lnTo>
                <a:lnTo>
                  <a:pt x="5856581" y="4119369"/>
                </a:lnTo>
                <a:cubicBezTo>
                  <a:pt x="5856271" y="4120092"/>
                  <a:pt x="5856271" y="4120815"/>
                  <a:pt x="5856581" y="4121744"/>
                </a:cubicBezTo>
                <a:lnTo>
                  <a:pt x="5853483" y="4104397"/>
                </a:lnTo>
                <a:lnTo>
                  <a:pt x="5853173" y="4104294"/>
                </a:lnTo>
                <a:lnTo>
                  <a:pt x="5853328" y="4103984"/>
                </a:lnTo>
                <a:close/>
                <a:moveTo>
                  <a:pt x="5585512" y="4097169"/>
                </a:moveTo>
                <a:cubicBezTo>
                  <a:pt x="5587216" y="4098924"/>
                  <a:pt x="5588920" y="4098201"/>
                  <a:pt x="5590624" y="4099957"/>
                </a:cubicBezTo>
                <a:cubicBezTo>
                  <a:pt x="5589075" y="4101609"/>
                  <a:pt x="5588300" y="4103364"/>
                  <a:pt x="5587525" y="4104191"/>
                </a:cubicBezTo>
                <a:cubicBezTo>
                  <a:pt x="5583963" y="4102332"/>
                  <a:pt x="5583033" y="4099647"/>
                  <a:pt x="5585512" y="4097169"/>
                </a:cubicBezTo>
                <a:close/>
                <a:moveTo>
                  <a:pt x="688166" y="4096428"/>
                </a:moveTo>
                <a:cubicBezTo>
                  <a:pt x="688940" y="4103863"/>
                  <a:pt x="690489" y="4106754"/>
                  <a:pt x="690489" y="4112743"/>
                </a:cubicBezTo>
                <a:cubicBezTo>
                  <a:pt x="689714" y="4113156"/>
                  <a:pt x="689405" y="4112433"/>
                  <a:pt x="688630" y="4112846"/>
                </a:cubicBezTo>
                <a:cubicBezTo>
                  <a:pt x="688010" y="4112743"/>
                  <a:pt x="687546" y="4112123"/>
                  <a:pt x="687081" y="4111194"/>
                </a:cubicBezTo>
                <a:cubicBezTo>
                  <a:pt x="685687" y="4108406"/>
                  <a:pt x="684912" y="4103346"/>
                  <a:pt x="685532" y="4102934"/>
                </a:cubicBezTo>
                <a:cubicBezTo>
                  <a:pt x="685222" y="4102210"/>
                  <a:pt x="685842" y="4101798"/>
                  <a:pt x="685532" y="4101075"/>
                </a:cubicBezTo>
                <a:cubicBezTo>
                  <a:pt x="685532" y="4101075"/>
                  <a:pt x="685067" y="4100352"/>
                  <a:pt x="685532" y="4099113"/>
                </a:cubicBezTo>
                <a:cubicBezTo>
                  <a:pt x="685842" y="4097874"/>
                  <a:pt x="686152" y="4096635"/>
                  <a:pt x="688166" y="4096428"/>
                </a:cubicBezTo>
                <a:close/>
                <a:moveTo>
                  <a:pt x="5795396" y="4096343"/>
                </a:moveTo>
                <a:cubicBezTo>
                  <a:pt x="5796171" y="4097375"/>
                  <a:pt x="5798804" y="4097789"/>
                  <a:pt x="5800508" y="4098924"/>
                </a:cubicBezTo>
                <a:cubicBezTo>
                  <a:pt x="5800508" y="4099750"/>
                  <a:pt x="5801283" y="4100680"/>
                  <a:pt x="5801283" y="4101506"/>
                </a:cubicBezTo>
                <a:cubicBezTo>
                  <a:pt x="5800818" y="4101402"/>
                  <a:pt x="5800043" y="4101506"/>
                  <a:pt x="5799579" y="4101506"/>
                </a:cubicBezTo>
                <a:cubicBezTo>
                  <a:pt x="5798959" y="4101506"/>
                  <a:pt x="5798494" y="4101506"/>
                  <a:pt x="5798649" y="4101093"/>
                </a:cubicBezTo>
                <a:cubicBezTo>
                  <a:pt x="5797720" y="4100990"/>
                  <a:pt x="5797875" y="4099234"/>
                  <a:pt x="5797875" y="4099234"/>
                </a:cubicBezTo>
                <a:cubicBezTo>
                  <a:pt x="5796945" y="4099131"/>
                  <a:pt x="5796171" y="4098924"/>
                  <a:pt x="5795241" y="4097995"/>
                </a:cubicBezTo>
                <a:cubicBezTo>
                  <a:pt x="5796171" y="4097272"/>
                  <a:pt x="5795396" y="4097169"/>
                  <a:pt x="5795396" y="4096343"/>
                </a:cubicBezTo>
                <a:close/>
                <a:moveTo>
                  <a:pt x="5678450" y="4096343"/>
                </a:moveTo>
                <a:cubicBezTo>
                  <a:pt x="5683406" y="4094794"/>
                  <a:pt x="5688053" y="4100370"/>
                  <a:pt x="5684646" y="4105636"/>
                </a:cubicBezTo>
                <a:cubicBezTo>
                  <a:pt x="5682787" y="4105326"/>
                  <a:pt x="5681238" y="4105842"/>
                  <a:pt x="5679379" y="4105533"/>
                </a:cubicBezTo>
                <a:cubicBezTo>
                  <a:pt x="5679069" y="4103880"/>
                  <a:pt x="5677985" y="4102745"/>
                  <a:pt x="5677365" y="4101402"/>
                </a:cubicBezTo>
                <a:cubicBezTo>
                  <a:pt x="5676746" y="4100060"/>
                  <a:pt x="5676746" y="4098614"/>
                  <a:pt x="5678450" y="4096343"/>
                </a:cubicBezTo>
                <a:close/>
                <a:moveTo>
                  <a:pt x="5143380" y="4095917"/>
                </a:moveTo>
                <a:cubicBezTo>
                  <a:pt x="5144948" y="4095156"/>
                  <a:pt x="5146613" y="4095775"/>
                  <a:pt x="5146226" y="4100163"/>
                </a:cubicBezTo>
                <a:cubicBezTo>
                  <a:pt x="5144677" y="4100576"/>
                  <a:pt x="5143438" y="4100680"/>
                  <a:pt x="5142663" y="4100680"/>
                </a:cubicBezTo>
                <a:cubicBezTo>
                  <a:pt x="5141889" y="4100576"/>
                  <a:pt x="5141270" y="4100267"/>
                  <a:pt x="5141114" y="4099957"/>
                </a:cubicBezTo>
                <a:cubicBezTo>
                  <a:pt x="5140340" y="4098821"/>
                  <a:pt x="5141812" y="4096679"/>
                  <a:pt x="5143380" y="4095917"/>
                </a:cubicBezTo>
                <a:close/>
                <a:moveTo>
                  <a:pt x="5221506" y="4094794"/>
                </a:moveTo>
                <a:cubicBezTo>
                  <a:pt x="5228941" y="4094897"/>
                  <a:pt x="5241177" y="4095310"/>
                  <a:pt x="5246754" y="4100060"/>
                </a:cubicBezTo>
                <a:cubicBezTo>
                  <a:pt x="5245515" y="4102332"/>
                  <a:pt x="5243501" y="4103364"/>
                  <a:pt x="5241332" y="4103674"/>
                </a:cubicBezTo>
                <a:cubicBezTo>
                  <a:pt x="5234362" y="4104603"/>
                  <a:pt x="5224294" y="4098408"/>
                  <a:pt x="5221506" y="4094794"/>
                </a:cubicBezTo>
                <a:close/>
                <a:moveTo>
                  <a:pt x="5804845" y="4093452"/>
                </a:moveTo>
                <a:cubicBezTo>
                  <a:pt x="5804845" y="4093452"/>
                  <a:pt x="5805619" y="4094484"/>
                  <a:pt x="5806394" y="4095517"/>
                </a:cubicBezTo>
                <a:cubicBezTo>
                  <a:pt x="5807169" y="4096549"/>
                  <a:pt x="5808098" y="4096652"/>
                  <a:pt x="5808098" y="4096652"/>
                </a:cubicBezTo>
                <a:cubicBezTo>
                  <a:pt x="5808873" y="4097685"/>
                  <a:pt x="5808717" y="4098614"/>
                  <a:pt x="5807943" y="4099337"/>
                </a:cubicBezTo>
                <a:cubicBezTo>
                  <a:pt x="5807943" y="4099337"/>
                  <a:pt x="5806239" y="4098201"/>
                  <a:pt x="5806239" y="4098201"/>
                </a:cubicBezTo>
                <a:cubicBezTo>
                  <a:pt x="5804690" y="4096136"/>
                  <a:pt x="5803916" y="4095104"/>
                  <a:pt x="5802367" y="4093968"/>
                </a:cubicBezTo>
                <a:cubicBezTo>
                  <a:pt x="5803296" y="4092316"/>
                  <a:pt x="5804071" y="4092419"/>
                  <a:pt x="5804845" y="4093452"/>
                </a:cubicBezTo>
                <a:close/>
                <a:moveTo>
                  <a:pt x="5741337" y="4093039"/>
                </a:moveTo>
                <a:cubicBezTo>
                  <a:pt x="5748773" y="4088496"/>
                  <a:pt x="5766276" y="4097892"/>
                  <a:pt x="5763023" y="4107288"/>
                </a:cubicBezTo>
                <a:lnTo>
                  <a:pt x="5759151" y="4104810"/>
                </a:lnTo>
                <a:lnTo>
                  <a:pt x="5758686" y="4106875"/>
                </a:lnTo>
                <a:cubicBezTo>
                  <a:pt x="5757292" y="4107907"/>
                  <a:pt x="5755433" y="4109353"/>
                  <a:pt x="5753574" y="4109147"/>
                </a:cubicBezTo>
                <a:cubicBezTo>
                  <a:pt x="5752955" y="4109043"/>
                  <a:pt x="5752335" y="4108837"/>
                  <a:pt x="5751716" y="4108321"/>
                </a:cubicBezTo>
                <a:cubicBezTo>
                  <a:pt x="5751870" y="4107495"/>
                  <a:pt x="5750941" y="4107288"/>
                  <a:pt x="5751096" y="4106462"/>
                </a:cubicBezTo>
                <a:cubicBezTo>
                  <a:pt x="5751096" y="4106462"/>
                  <a:pt x="5750631" y="4105533"/>
                  <a:pt x="5750631" y="4104294"/>
                </a:cubicBezTo>
                <a:lnTo>
                  <a:pt x="5751870" y="4101093"/>
                </a:lnTo>
                <a:lnTo>
                  <a:pt x="5746604" y="4098098"/>
                </a:lnTo>
                <a:cubicBezTo>
                  <a:pt x="5744745" y="4096756"/>
                  <a:pt x="5743041" y="4095207"/>
                  <a:pt x="5741337" y="4093039"/>
                </a:cubicBezTo>
                <a:close/>
                <a:moveTo>
                  <a:pt x="5465777" y="4092935"/>
                </a:moveTo>
                <a:cubicBezTo>
                  <a:pt x="5467946" y="4092316"/>
                  <a:pt x="5471354" y="4091387"/>
                  <a:pt x="5472902" y="4094174"/>
                </a:cubicBezTo>
                <a:cubicBezTo>
                  <a:pt x="5472593" y="4094897"/>
                  <a:pt x="5473367" y="4095413"/>
                  <a:pt x="5473057" y="4096136"/>
                </a:cubicBezTo>
                <a:cubicBezTo>
                  <a:pt x="5473057" y="4096136"/>
                  <a:pt x="5473057" y="4097066"/>
                  <a:pt x="5472593" y="4098201"/>
                </a:cubicBezTo>
                <a:cubicBezTo>
                  <a:pt x="5472128" y="4099440"/>
                  <a:pt x="5471354" y="4100783"/>
                  <a:pt x="5469495" y="4101712"/>
                </a:cubicBezTo>
                <a:cubicBezTo>
                  <a:pt x="5468875" y="4101815"/>
                  <a:pt x="5467946" y="4102022"/>
                  <a:pt x="5467016" y="4102022"/>
                </a:cubicBezTo>
                <a:cubicBezTo>
                  <a:pt x="5466242" y="4102022"/>
                  <a:pt x="5465622" y="4101815"/>
                  <a:pt x="5465777" y="4101506"/>
                </a:cubicBezTo>
                <a:cubicBezTo>
                  <a:pt x="5465312" y="4100267"/>
                  <a:pt x="5465003" y="4100990"/>
                  <a:pt x="5464228" y="4100576"/>
                </a:cubicBezTo>
                <a:cubicBezTo>
                  <a:pt x="5462989" y="4097066"/>
                  <a:pt x="5463144" y="4094381"/>
                  <a:pt x="5465777" y="4092935"/>
                </a:cubicBezTo>
                <a:close/>
                <a:moveTo>
                  <a:pt x="5422096" y="4092109"/>
                </a:moveTo>
                <a:cubicBezTo>
                  <a:pt x="5422871" y="4092523"/>
                  <a:pt x="5424885" y="4094588"/>
                  <a:pt x="5425194" y="4093865"/>
                </a:cubicBezTo>
                <a:cubicBezTo>
                  <a:pt x="5426124" y="4096549"/>
                  <a:pt x="5426898" y="4099647"/>
                  <a:pt x="5426124" y="4101609"/>
                </a:cubicBezTo>
                <a:cubicBezTo>
                  <a:pt x="5425814" y="4102229"/>
                  <a:pt x="5425349" y="4102848"/>
                  <a:pt x="5424730" y="4103158"/>
                </a:cubicBezTo>
                <a:cubicBezTo>
                  <a:pt x="5423335" y="4104191"/>
                  <a:pt x="5422096" y="4102538"/>
                  <a:pt x="5421322" y="4100163"/>
                </a:cubicBezTo>
                <a:cubicBezTo>
                  <a:pt x="5418534" y="4095724"/>
                  <a:pt x="5418688" y="4093039"/>
                  <a:pt x="5422096" y="4092109"/>
                </a:cubicBezTo>
                <a:close/>
                <a:moveTo>
                  <a:pt x="5597807" y="4091670"/>
                </a:moveTo>
                <a:cubicBezTo>
                  <a:pt x="5598872" y="4092187"/>
                  <a:pt x="5599608" y="4093400"/>
                  <a:pt x="5599453" y="4094588"/>
                </a:cubicBezTo>
                <a:cubicBezTo>
                  <a:pt x="5599298" y="4095413"/>
                  <a:pt x="5598833" y="4096240"/>
                  <a:pt x="5597594" y="4096756"/>
                </a:cubicBezTo>
                <a:cubicBezTo>
                  <a:pt x="5596200" y="4095724"/>
                  <a:pt x="5595580" y="4094794"/>
                  <a:pt x="5594186" y="4092935"/>
                </a:cubicBezTo>
                <a:cubicBezTo>
                  <a:pt x="5595348" y="4091335"/>
                  <a:pt x="5596742" y="4091154"/>
                  <a:pt x="5597807" y="4091670"/>
                </a:cubicBezTo>
                <a:close/>
                <a:moveTo>
                  <a:pt x="5542509" y="4090754"/>
                </a:moveTo>
                <a:cubicBezTo>
                  <a:pt x="5547175" y="4090328"/>
                  <a:pt x="5552209" y="4091335"/>
                  <a:pt x="5556856" y="4093968"/>
                </a:cubicBezTo>
                <a:cubicBezTo>
                  <a:pt x="5556856" y="4095104"/>
                  <a:pt x="5556701" y="4096343"/>
                  <a:pt x="5557940" y="4096549"/>
                </a:cubicBezTo>
                <a:cubicBezTo>
                  <a:pt x="5557940" y="4108527"/>
                  <a:pt x="5546168" y="4117304"/>
                  <a:pt x="5535016" y="4116581"/>
                </a:cubicBezTo>
                <a:cubicBezTo>
                  <a:pt x="5533157" y="4116478"/>
                  <a:pt x="5531298" y="4116065"/>
                  <a:pt x="5529594" y="4115342"/>
                </a:cubicBezTo>
                <a:lnTo>
                  <a:pt x="5526187" y="4113380"/>
                </a:lnTo>
                <a:lnTo>
                  <a:pt x="5527116" y="4115239"/>
                </a:lnTo>
                <a:lnTo>
                  <a:pt x="5527735" y="4115445"/>
                </a:lnTo>
                <a:lnTo>
                  <a:pt x="5536255" y="4122673"/>
                </a:lnTo>
                <a:lnTo>
                  <a:pt x="5540282" y="4120195"/>
                </a:lnTo>
                <a:cubicBezTo>
                  <a:pt x="5544774" y="4118440"/>
                  <a:pt x="5550041" y="4118543"/>
                  <a:pt x="5552829" y="4122364"/>
                </a:cubicBezTo>
                <a:cubicBezTo>
                  <a:pt x="5550196" y="4123499"/>
                  <a:pt x="5547562" y="4124429"/>
                  <a:pt x="5544774" y="4125771"/>
                </a:cubicBezTo>
                <a:lnTo>
                  <a:pt x="5537184" y="4131140"/>
                </a:lnTo>
                <a:lnTo>
                  <a:pt x="5536565" y="4133515"/>
                </a:lnTo>
                <a:cubicBezTo>
                  <a:pt x="5535480" y="4135683"/>
                  <a:pt x="5533777" y="4137852"/>
                  <a:pt x="5531143" y="4140227"/>
                </a:cubicBezTo>
                <a:cubicBezTo>
                  <a:pt x="5528355" y="4139401"/>
                  <a:pt x="5524947" y="4138781"/>
                  <a:pt x="5521540" y="4137852"/>
                </a:cubicBezTo>
                <a:lnTo>
                  <a:pt x="5519526" y="4137129"/>
                </a:lnTo>
                <a:lnTo>
                  <a:pt x="5521385" y="4139607"/>
                </a:lnTo>
                <a:cubicBezTo>
                  <a:pt x="5523708" y="4144047"/>
                  <a:pt x="5524947" y="4149210"/>
                  <a:pt x="5524638" y="4154476"/>
                </a:cubicBezTo>
                <a:cubicBezTo>
                  <a:pt x="5523399" y="4154683"/>
                  <a:pt x="5522314" y="4154889"/>
                  <a:pt x="5522624" y="4156128"/>
                </a:cubicBezTo>
                <a:cubicBezTo>
                  <a:pt x="5520765" y="4156644"/>
                  <a:pt x="5518907" y="4156851"/>
                  <a:pt x="5517048" y="4156748"/>
                </a:cubicBezTo>
                <a:cubicBezTo>
                  <a:pt x="5503882" y="4155922"/>
                  <a:pt x="5490406" y="4140537"/>
                  <a:pt x="5493968" y="4127526"/>
                </a:cubicBezTo>
                <a:cubicBezTo>
                  <a:pt x="5497066" y="4126391"/>
                  <a:pt x="5500009" y="4126081"/>
                  <a:pt x="5502952" y="4126391"/>
                </a:cubicBezTo>
                <a:lnTo>
                  <a:pt x="5503107" y="4126494"/>
                </a:lnTo>
                <a:lnTo>
                  <a:pt x="5503417" y="4124429"/>
                </a:lnTo>
                <a:lnTo>
                  <a:pt x="5503107" y="4122880"/>
                </a:lnTo>
                <a:lnTo>
                  <a:pt x="5501093" y="4123912"/>
                </a:lnTo>
                <a:cubicBezTo>
                  <a:pt x="5497066" y="4124841"/>
                  <a:pt x="5492574" y="4123912"/>
                  <a:pt x="5490096" y="4120092"/>
                </a:cubicBezTo>
                <a:cubicBezTo>
                  <a:pt x="5490561" y="4112141"/>
                  <a:pt x="5501248" y="4107701"/>
                  <a:pt x="5506979" y="4108217"/>
                </a:cubicBezTo>
                <a:lnTo>
                  <a:pt x="5509458" y="4112451"/>
                </a:lnTo>
                <a:lnTo>
                  <a:pt x="5513021" y="4110592"/>
                </a:lnTo>
                <a:lnTo>
                  <a:pt x="5515964" y="4110179"/>
                </a:lnTo>
                <a:lnTo>
                  <a:pt x="5515809" y="4106152"/>
                </a:lnTo>
                <a:cubicBezTo>
                  <a:pt x="5517048" y="4105842"/>
                  <a:pt x="5518907" y="4105946"/>
                  <a:pt x="5520920" y="4106668"/>
                </a:cubicBezTo>
                <a:lnTo>
                  <a:pt x="5524793" y="4109973"/>
                </a:lnTo>
                <a:lnTo>
                  <a:pt x="5525722" y="4103055"/>
                </a:lnTo>
                <a:cubicBezTo>
                  <a:pt x="5526806" y="4100370"/>
                  <a:pt x="5528355" y="4098098"/>
                  <a:pt x="5530369" y="4096136"/>
                </a:cubicBezTo>
                <a:cubicBezTo>
                  <a:pt x="5533544" y="4093039"/>
                  <a:pt x="5537843" y="4091180"/>
                  <a:pt x="5542509" y="4090754"/>
                </a:cubicBezTo>
                <a:close/>
                <a:moveTo>
                  <a:pt x="5482196" y="4090147"/>
                </a:moveTo>
                <a:cubicBezTo>
                  <a:pt x="5486068" y="4087566"/>
                  <a:pt x="5489321" y="4088392"/>
                  <a:pt x="5493349" y="4090973"/>
                </a:cubicBezTo>
                <a:cubicBezTo>
                  <a:pt x="5493039" y="4092626"/>
                  <a:pt x="5490251" y="4094484"/>
                  <a:pt x="5488392" y="4095724"/>
                </a:cubicBezTo>
                <a:cubicBezTo>
                  <a:pt x="5485914" y="4095104"/>
                  <a:pt x="5483590" y="4092935"/>
                  <a:pt x="5482196" y="4090147"/>
                </a:cubicBezTo>
                <a:close/>
                <a:moveTo>
                  <a:pt x="5267820" y="4088599"/>
                </a:moveTo>
                <a:cubicBezTo>
                  <a:pt x="5268904" y="4088289"/>
                  <a:pt x="5272621" y="4088496"/>
                  <a:pt x="5273086" y="4089631"/>
                </a:cubicBezTo>
                <a:cubicBezTo>
                  <a:pt x="5273551" y="4090870"/>
                  <a:pt x="5273086" y="4091593"/>
                  <a:pt x="5272776" y="4092419"/>
                </a:cubicBezTo>
                <a:lnTo>
                  <a:pt x="5269214" y="4095001"/>
                </a:lnTo>
                <a:lnTo>
                  <a:pt x="5270918" y="4095724"/>
                </a:lnTo>
                <a:cubicBezTo>
                  <a:pt x="5272621" y="4096963"/>
                  <a:pt x="5273706" y="4098305"/>
                  <a:pt x="5273861" y="4099234"/>
                </a:cubicBezTo>
                <a:cubicBezTo>
                  <a:pt x="5273706" y="4101093"/>
                  <a:pt x="5272312" y="4102951"/>
                  <a:pt x="5270143" y="4103364"/>
                </a:cubicBezTo>
                <a:cubicBezTo>
                  <a:pt x="5269524" y="4103571"/>
                  <a:pt x="5268749" y="4103468"/>
                  <a:pt x="5267820" y="4103261"/>
                </a:cubicBezTo>
                <a:cubicBezTo>
                  <a:pt x="5264877" y="4103158"/>
                  <a:pt x="5262863" y="4100163"/>
                  <a:pt x="5259300" y="4099234"/>
                </a:cubicBezTo>
                <a:cubicBezTo>
                  <a:pt x="5259300" y="4097066"/>
                  <a:pt x="5259300" y="4095724"/>
                  <a:pt x="5259920" y="4094794"/>
                </a:cubicBezTo>
                <a:lnTo>
                  <a:pt x="5260540" y="4094484"/>
                </a:lnTo>
                <a:close/>
                <a:moveTo>
                  <a:pt x="5464228" y="4088289"/>
                </a:moveTo>
                <a:cubicBezTo>
                  <a:pt x="5465467" y="4087876"/>
                  <a:pt x="5467171" y="4087979"/>
                  <a:pt x="5467636" y="4089115"/>
                </a:cubicBezTo>
                <a:cubicBezTo>
                  <a:pt x="5468100" y="4089941"/>
                  <a:pt x="5467946" y="4090354"/>
                  <a:pt x="5467481" y="4090664"/>
                </a:cubicBezTo>
                <a:cubicBezTo>
                  <a:pt x="5467016" y="4090973"/>
                  <a:pt x="5466242" y="4091283"/>
                  <a:pt x="5465467" y="4091800"/>
                </a:cubicBezTo>
                <a:close/>
                <a:moveTo>
                  <a:pt x="5412957" y="4088082"/>
                </a:moveTo>
                <a:cubicBezTo>
                  <a:pt x="5411873" y="4089941"/>
                  <a:pt x="5409860" y="4093245"/>
                  <a:pt x="5407846" y="4093968"/>
                </a:cubicBezTo>
                <a:cubicBezTo>
                  <a:pt x="5407226" y="4094278"/>
                  <a:pt x="5406452" y="4094174"/>
                  <a:pt x="5405832" y="4093762"/>
                </a:cubicBezTo>
                <a:cubicBezTo>
                  <a:pt x="5405058" y="4092832"/>
                  <a:pt x="5405832" y="4092006"/>
                  <a:pt x="5405677" y="4091180"/>
                </a:cubicBezTo>
                <a:cubicBezTo>
                  <a:pt x="5406452" y="4089528"/>
                  <a:pt x="5412028" y="4087257"/>
                  <a:pt x="5412957" y="4088082"/>
                </a:cubicBezTo>
                <a:close/>
                <a:moveTo>
                  <a:pt x="5635853" y="4087257"/>
                </a:moveTo>
                <a:cubicBezTo>
                  <a:pt x="5637867" y="4084468"/>
                  <a:pt x="5644372" y="4086121"/>
                  <a:pt x="5646076" y="4089528"/>
                </a:cubicBezTo>
                <a:cubicBezTo>
                  <a:pt x="5643443" y="4088805"/>
                  <a:pt x="5641275" y="4089322"/>
                  <a:pt x="5639725" y="4089425"/>
                </a:cubicBezTo>
                <a:cubicBezTo>
                  <a:pt x="5638177" y="4089528"/>
                  <a:pt x="5636937" y="4089322"/>
                  <a:pt x="5635853" y="4087257"/>
                </a:cubicBezTo>
                <a:close/>
                <a:moveTo>
                  <a:pt x="5664819" y="4086740"/>
                </a:moveTo>
                <a:cubicBezTo>
                  <a:pt x="5665283" y="4087463"/>
                  <a:pt x="5666523" y="4087669"/>
                  <a:pt x="5666987" y="4088392"/>
                </a:cubicBezTo>
                <a:cubicBezTo>
                  <a:pt x="5666213" y="4088805"/>
                  <a:pt x="5665438" y="4090561"/>
                  <a:pt x="5664974" y="4089838"/>
                </a:cubicBezTo>
                <a:cubicBezTo>
                  <a:pt x="5664199" y="4090251"/>
                  <a:pt x="5663270" y="4088805"/>
                  <a:pt x="5663270" y="4088805"/>
                </a:cubicBezTo>
                <a:cubicBezTo>
                  <a:pt x="5662495" y="4089322"/>
                  <a:pt x="5661876" y="4089734"/>
                  <a:pt x="5660636" y="4089425"/>
                </a:cubicBezTo>
                <a:cubicBezTo>
                  <a:pt x="5660792" y="4088289"/>
                  <a:pt x="5660172" y="4088702"/>
                  <a:pt x="5659707" y="4087979"/>
                </a:cubicBezTo>
                <a:cubicBezTo>
                  <a:pt x="5660792" y="4088289"/>
                  <a:pt x="5662960" y="4086946"/>
                  <a:pt x="5664819" y="4086740"/>
                </a:cubicBezTo>
                <a:close/>
                <a:moveTo>
                  <a:pt x="5767360" y="4086430"/>
                </a:moveTo>
                <a:cubicBezTo>
                  <a:pt x="5769529" y="4091696"/>
                  <a:pt x="5778823" y="4107598"/>
                  <a:pt x="5772317" y="4110179"/>
                </a:cubicBezTo>
                <a:cubicBezTo>
                  <a:pt x="5769529" y="4104397"/>
                  <a:pt x="5758996" y="4090664"/>
                  <a:pt x="5767360" y="4086430"/>
                </a:cubicBezTo>
                <a:close/>
                <a:moveTo>
                  <a:pt x="5589229" y="4085707"/>
                </a:moveTo>
                <a:cubicBezTo>
                  <a:pt x="5591243" y="4087257"/>
                  <a:pt x="5590624" y="4089941"/>
                  <a:pt x="5589229" y="4091696"/>
                </a:cubicBezTo>
                <a:cubicBezTo>
                  <a:pt x="5588920" y="4092626"/>
                  <a:pt x="5588145" y="4093142"/>
                  <a:pt x="5587216" y="4093245"/>
                </a:cubicBezTo>
                <a:cubicBezTo>
                  <a:pt x="5586441" y="4093452"/>
                  <a:pt x="5585357" y="4093245"/>
                  <a:pt x="5584428" y="4092935"/>
                </a:cubicBezTo>
                <a:cubicBezTo>
                  <a:pt x="5583498" y="4092109"/>
                  <a:pt x="5583498" y="4092109"/>
                  <a:pt x="5582569" y="4091283"/>
                </a:cubicBezTo>
                <a:cubicBezTo>
                  <a:pt x="5582259" y="4089528"/>
                  <a:pt x="5581175" y="4087876"/>
                  <a:pt x="5581794" y="4086121"/>
                </a:cubicBezTo>
                <a:cubicBezTo>
                  <a:pt x="5583189" y="4084262"/>
                  <a:pt x="5587525" y="4084881"/>
                  <a:pt x="5589229" y="4085707"/>
                </a:cubicBezTo>
                <a:close/>
                <a:moveTo>
                  <a:pt x="515766" y="4083315"/>
                </a:moveTo>
                <a:cubicBezTo>
                  <a:pt x="519793" y="4089923"/>
                  <a:pt x="513287" y="4097977"/>
                  <a:pt x="506473" y="4099526"/>
                </a:cubicBezTo>
                <a:cubicBezTo>
                  <a:pt x="505233" y="4099733"/>
                  <a:pt x="504149" y="4099733"/>
                  <a:pt x="503064" y="4099629"/>
                </a:cubicBezTo>
                <a:cubicBezTo>
                  <a:pt x="501825" y="4099423"/>
                  <a:pt x="500741" y="4099113"/>
                  <a:pt x="499812" y="4098493"/>
                </a:cubicBezTo>
                <a:cubicBezTo>
                  <a:pt x="494390" y="4089613"/>
                  <a:pt x="507866" y="4080837"/>
                  <a:pt x="515766" y="4083315"/>
                </a:cubicBezTo>
                <a:close/>
                <a:moveTo>
                  <a:pt x="5354717" y="4082816"/>
                </a:moveTo>
                <a:cubicBezTo>
                  <a:pt x="5357969" y="4098511"/>
                  <a:pt x="5364630" y="4112451"/>
                  <a:pt x="5366798" y="4125564"/>
                </a:cubicBezTo>
                <a:cubicBezTo>
                  <a:pt x="5354252" y="4117510"/>
                  <a:pt x="5351309" y="4099440"/>
                  <a:pt x="5345732" y="4084468"/>
                </a:cubicBezTo>
                <a:cubicBezTo>
                  <a:pt x="5348676" y="4084365"/>
                  <a:pt x="5350070" y="4082094"/>
                  <a:pt x="5354717" y="4082816"/>
                </a:cubicBezTo>
                <a:close/>
                <a:moveTo>
                  <a:pt x="5263638" y="4082713"/>
                </a:moveTo>
                <a:cubicBezTo>
                  <a:pt x="5264722" y="4083126"/>
                  <a:pt x="5265496" y="4084056"/>
                  <a:pt x="5266426" y="4085811"/>
                </a:cubicBezTo>
                <a:cubicBezTo>
                  <a:pt x="5265031" y="4087257"/>
                  <a:pt x="5260849" y="4089734"/>
                  <a:pt x="5257287" y="4090251"/>
                </a:cubicBezTo>
                <a:cubicBezTo>
                  <a:pt x="5256203" y="4090457"/>
                  <a:pt x="5254963" y="4090354"/>
                  <a:pt x="5254034" y="4089941"/>
                </a:cubicBezTo>
                <a:cubicBezTo>
                  <a:pt x="5252950" y="4089425"/>
                  <a:pt x="5252175" y="4088185"/>
                  <a:pt x="5252020" y="4086224"/>
                </a:cubicBezTo>
                <a:cubicBezTo>
                  <a:pt x="5257132" y="4085191"/>
                  <a:pt x="5260849" y="4081474"/>
                  <a:pt x="5263638" y="4082713"/>
                </a:cubicBezTo>
                <a:close/>
                <a:moveTo>
                  <a:pt x="5422871" y="4082094"/>
                </a:moveTo>
                <a:cubicBezTo>
                  <a:pt x="5423645" y="4082506"/>
                  <a:pt x="5425504" y="4082610"/>
                  <a:pt x="5425194" y="4083333"/>
                </a:cubicBezTo>
                <a:cubicBezTo>
                  <a:pt x="5425969" y="4083745"/>
                  <a:pt x="5425349" y="4085295"/>
                  <a:pt x="5425349" y="4085295"/>
                </a:cubicBezTo>
                <a:cubicBezTo>
                  <a:pt x="5426124" y="4085707"/>
                  <a:pt x="5426898" y="4086121"/>
                  <a:pt x="5427363" y="4087360"/>
                </a:cubicBezTo>
                <a:cubicBezTo>
                  <a:pt x="5426278" y="4087669"/>
                  <a:pt x="5427053" y="4088082"/>
                  <a:pt x="5426743" y="4088805"/>
                </a:cubicBezTo>
                <a:cubicBezTo>
                  <a:pt x="5426278" y="4087669"/>
                  <a:pt x="5423800" y="4086327"/>
                  <a:pt x="5422561" y="4084675"/>
                </a:cubicBezTo>
                <a:cubicBezTo>
                  <a:pt x="5423026" y="4083952"/>
                  <a:pt x="5422406" y="4082816"/>
                  <a:pt x="5422871" y="4082094"/>
                </a:cubicBezTo>
                <a:close/>
                <a:moveTo>
                  <a:pt x="5415591" y="4081577"/>
                </a:moveTo>
                <a:cubicBezTo>
                  <a:pt x="5415591" y="4081577"/>
                  <a:pt x="5416830" y="4083126"/>
                  <a:pt x="5416830" y="4083126"/>
                </a:cubicBezTo>
                <a:cubicBezTo>
                  <a:pt x="5417604" y="4085604"/>
                  <a:pt x="5417914" y="4086843"/>
                  <a:pt x="5419153" y="4088392"/>
                </a:cubicBezTo>
                <a:cubicBezTo>
                  <a:pt x="5418379" y="4089012"/>
                  <a:pt x="5417914" y="4089218"/>
                  <a:pt x="5417450" y="4089115"/>
                </a:cubicBezTo>
                <a:cubicBezTo>
                  <a:pt x="5416985" y="4089012"/>
                  <a:pt x="5416675" y="4088496"/>
                  <a:pt x="5416520" y="4087876"/>
                </a:cubicBezTo>
                <a:cubicBezTo>
                  <a:pt x="5416520" y="4087876"/>
                  <a:pt x="5416055" y="4086740"/>
                  <a:pt x="5415746" y="4085501"/>
                </a:cubicBezTo>
                <a:cubicBezTo>
                  <a:pt x="5415281" y="4084365"/>
                  <a:pt x="5414507" y="4083849"/>
                  <a:pt x="5414507" y="4083849"/>
                </a:cubicBezTo>
                <a:cubicBezTo>
                  <a:pt x="5414197" y="4082610"/>
                  <a:pt x="5414507" y="4081887"/>
                  <a:pt x="5415591" y="4081577"/>
                </a:cubicBezTo>
                <a:close/>
                <a:moveTo>
                  <a:pt x="5396539" y="4081371"/>
                </a:moveTo>
                <a:cubicBezTo>
                  <a:pt x="5397623" y="4083436"/>
                  <a:pt x="5399636" y="4087050"/>
                  <a:pt x="5399636" y="4089322"/>
                </a:cubicBezTo>
                <a:cubicBezTo>
                  <a:pt x="5399482" y="4090044"/>
                  <a:pt x="5399327" y="4090664"/>
                  <a:pt x="5398552" y="4090973"/>
                </a:cubicBezTo>
                <a:cubicBezTo>
                  <a:pt x="5397468" y="4091387"/>
                  <a:pt x="5397158" y="4090147"/>
                  <a:pt x="5396384" y="4089734"/>
                </a:cubicBezTo>
                <a:cubicBezTo>
                  <a:pt x="5395299" y="4088185"/>
                  <a:pt x="5395454" y="4081680"/>
                  <a:pt x="5396539" y="4081371"/>
                </a:cubicBezTo>
                <a:close/>
                <a:moveTo>
                  <a:pt x="5664509" y="4079306"/>
                </a:moveTo>
                <a:cubicBezTo>
                  <a:pt x="5664509" y="4079306"/>
                  <a:pt x="5665748" y="4079615"/>
                  <a:pt x="5666987" y="4079925"/>
                </a:cubicBezTo>
                <a:cubicBezTo>
                  <a:pt x="5668226" y="4080235"/>
                  <a:pt x="5668846" y="4079822"/>
                  <a:pt x="5668846" y="4079822"/>
                </a:cubicBezTo>
                <a:cubicBezTo>
                  <a:pt x="5670085" y="4080132"/>
                  <a:pt x="5670550" y="4080855"/>
                  <a:pt x="5670395" y="4082094"/>
                </a:cubicBezTo>
                <a:cubicBezTo>
                  <a:pt x="5670395" y="4082094"/>
                  <a:pt x="5668537" y="4082197"/>
                  <a:pt x="5668537" y="4082197"/>
                </a:cubicBezTo>
                <a:cubicBezTo>
                  <a:pt x="5666213" y="4081577"/>
                  <a:pt x="5664974" y="4081267"/>
                  <a:pt x="5663115" y="4081371"/>
                </a:cubicBezTo>
                <a:cubicBezTo>
                  <a:pt x="5662805" y="4079409"/>
                  <a:pt x="5663425" y="4078996"/>
                  <a:pt x="5664509" y="4079306"/>
                </a:cubicBezTo>
                <a:close/>
                <a:moveTo>
                  <a:pt x="5150718" y="4079202"/>
                </a:moveTo>
                <a:cubicBezTo>
                  <a:pt x="5153351" y="4078996"/>
                  <a:pt x="5155055" y="4079615"/>
                  <a:pt x="5155984" y="4081164"/>
                </a:cubicBezTo>
                <a:lnTo>
                  <a:pt x="5156759" y="4087360"/>
                </a:lnTo>
                <a:lnTo>
                  <a:pt x="5160167" y="4086843"/>
                </a:lnTo>
                <a:cubicBezTo>
                  <a:pt x="5162335" y="4089941"/>
                  <a:pt x="5162800" y="4092729"/>
                  <a:pt x="5163420" y="4094588"/>
                </a:cubicBezTo>
                <a:cubicBezTo>
                  <a:pt x="5161561" y="4095930"/>
                  <a:pt x="5160477" y="4097375"/>
                  <a:pt x="5158618" y="4098718"/>
                </a:cubicBezTo>
                <a:cubicBezTo>
                  <a:pt x="5153506" y="4098408"/>
                  <a:pt x="5151648" y="4094897"/>
                  <a:pt x="5152112" y="4091696"/>
                </a:cubicBezTo>
                <a:lnTo>
                  <a:pt x="5154591" y="4087876"/>
                </a:lnTo>
                <a:lnTo>
                  <a:pt x="5153506" y="4087773"/>
                </a:lnTo>
                <a:cubicBezTo>
                  <a:pt x="5152732" y="4087257"/>
                  <a:pt x="5152267" y="4086534"/>
                  <a:pt x="5151957" y="4085707"/>
                </a:cubicBezTo>
                <a:cubicBezTo>
                  <a:pt x="5151493" y="4083849"/>
                  <a:pt x="5151338" y="4081371"/>
                  <a:pt x="5150718" y="4079202"/>
                </a:cubicBezTo>
                <a:close/>
                <a:moveTo>
                  <a:pt x="5720117" y="4079099"/>
                </a:moveTo>
                <a:lnTo>
                  <a:pt x="5721356" y="4083952"/>
                </a:lnTo>
                <a:lnTo>
                  <a:pt x="5722440" y="4083023"/>
                </a:lnTo>
                <a:cubicBezTo>
                  <a:pt x="5723060" y="4082197"/>
                  <a:pt x="5724609" y="4084365"/>
                  <a:pt x="5724609" y="4084365"/>
                </a:cubicBezTo>
                <a:cubicBezTo>
                  <a:pt x="5724764" y="4084985"/>
                  <a:pt x="5723989" y="4085604"/>
                  <a:pt x="5723215" y="4086224"/>
                </a:cubicBezTo>
                <a:lnTo>
                  <a:pt x="5722285" y="4087050"/>
                </a:lnTo>
                <a:lnTo>
                  <a:pt x="5725228" y="4093245"/>
                </a:lnTo>
                <a:cubicBezTo>
                  <a:pt x="5727397" y="4097582"/>
                  <a:pt x="5729101" y="4101609"/>
                  <a:pt x="5727552" y="4105430"/>
                </a:cubicBezTo>
                <a:cubicBezTo>
                  <a:pt x="5726003" y="4103261"/>
                  <a:pt x="5723834" y="4100990"/>
                  <a:pt x="5721511" y="4098614"/>
                </a:cubicBezTo>
                <a:lnTo>
                  <a:pt x="5717329" y="4093762"/>
                </a:lnTo>
                <a:lnTo>
                  <a:pt x="5717329" y="4093968"/>
                </a:lnTo>
                <a:cubicBezTo>
                  <a:pt x="5716864" y="4094484"/>
                  <a:pt x="5715935" y="4094794"/>
                  <a:pt x="5714850" y="4095104"/>
                </a:cubicBezTo>
                <a:cubicBezTo>
                  <a:pt x="5714386" y="4094381"/>
                  <a:pt x="5714231" y="4093658"/>
                  <a:pt x="5714386" y="4092935"/>
                </a:cubicBezTo>
                <a:lnTo>
                  <a:pt x="5715625" y="4091800"/>
                </a:lnTo>
                <a:lnTo>
                  <a:pt x="5715315" y="4091490"/>
                </a:lnTo>
                <a:cubicBezTo>
                  <a:pt x="5712062" y="4086843"/>
                  <a:pt x="5711752" y="4082403"/>
                  <a:pt x="5720117" y="4079099"/>
                </a:cubicBezTo>
                <a:close/>
                <a:moveTo>
                  <a:pt x="5784399" y="4077550"/>
                </a:moveTo>
                <a:cubicBezTo>
                  <a:pt x="5785793" y="4078273"/>
                  <a:pt x="5786722" y="4079615"/>
                  <a:pt x="5787187" y="4081267"/>
                </a:cubicBezTo>
                <a:lnTo>
                  <a:pt x="5786877" y="4083436"/>
                </a:lnTo>
                <a:lnTo>
                  <a:pt x="5787807" y="4083436"/>
                </a:lnTo>
                <a:lnTo>
                  <a:pt x="5786877" y="4086327"/>
                </a:lnTo>
                <a:lnTo>
                  <a:pt x="5787807" y="4086224"/>
                </a:lnTo>
                <a:cubicBezTo>
                  <a:pt x="5789046" y="4088185"/>
                  <a:pt x="5788891" y="4089528"/>
                  <a:pt x="5787961" y="4090354"/>
                </a:cubicBezTo>
                <a:lnTo>
                  <a:pt x="5785018" y="4091387"/>
                </a:lnTo>
                <a:lnTo>
                  <a:pt x="5784244" y="4093658"/>
                </a:lnTo>
                <a:cubicBezTo>
                  <a:pt x="5782850" y="4096756"/>
                  <a:pt x="5781611" y="4099131"/>
                  <a:pt x="5781146" y="4099957"/>
                </a:cubicBezTo>
                <a:cubicBezTo>
                  <a:pt x="5780527" y="4100886"/>
                  <a:pt x="5780216" y="4101299"/>
                  <a:pt x="5779597" y="4101402"/>
                </a:cubicBezTo>
                <a:cubicBezTo>
                  <a:pt x="5779132" y="4101506"/>
                  <a:pt x="5778513" y="4101299"/>
                  <a:pt x="5777738" y="4100783"/>
                </a:cubicBezTo>
                <a:cubicBezTo>
                  <a:pt x="5775570" y="4097272"/>
                  <a:pt x="5778358" y="4093762"/>
                  <a:pt x="5779752" y="4089425"/>
                </a:cubicBezTo>
                <a:lnTo>
                  <a:pt x="5780991" y="4088185"/>
                </a:lnTo>
                <a:lnTo>
                  <a:pt x="5778513" y="4088289"/>
                </a:lnTo>
                <a:cubicBezTo>
                  <a:pt x="5777893" y="4085914"/>
                  <a:pt x="5776809" y="4084365"/>
                  <a:pt x="5776189" y="4082094"/>
                </a:cubicBezTo>
                <a:cubicBezTo>
                  <a:pt x="5778048" y="4076931"/>
                  <a:pt x="5781766" y="4076105"/>
                  <a:pt x="5784399" y="4077550"/>
                </a:cubicBezTo>
                <a:close/>
                <a:moveTo>
                  <a:pt x="5467171" y="4077550"/>
                </a:moveTo>
                <a:cubicBezTo>
                  <a:pt x="5469030" y="4077654"/>
                  <a:pt x="5471354" y="4078893"/>
                  <a:pt x="5471663" y="4080029"/>
                </a:cubicBezTo>
                <a:cubicBezTo>
                  <a:pt x="5472128" y="4081267"/>
                  <a:pt x="5471663" y="4081990"/>
                  <a:pt x="5471663" y="4081990"/>
                </a:cubicBezTo>
                <a:cubicBezTo>
                  <a:pt x="5470424" y="4082713"/>
                  <a:pt x="5469185" y="4083126"/>
                  <a:pt x="5467946" y="4082920"/>
                </a:cubicBezTo>
                <a:cubicBezTo>
                  <a:pt x="5466707" y="4082713"/>
                  <a:pt x="5465622" y="4081887"/>
                  <a:pt x="5465003" y="4080132"/>
                </a:cubicBezTo>
                <a:cubicBezTo>
                  <a:pt x="5464693" y="4078893"/>
                  <a:pt x="5464228" y="4077757"/>
                  <a:pt x="5465003" y="4078170"/>
                </a:cubicBezTo>
                <a:cubicBezTo>
                  <a:pt x="5465312" y="4077447"/>
                  <a:pt x="5466087" y="4077860"/>
                  <a:pt x="5467171" y="4077550"/>
                </a:cubicBezTo>
                <a:close/>
                <a:moveTo>
                  <a:pt x="5244740" y="4077344"/>
                </a:moveTo>
                <a:cubicBezTo>
                  <a:pt x="5246444" y="4078479"/>
                  <a:pt x="5247838" y="4080648"/>
                  <a:pt x="5248303" y="4084056"/>
                </a:cubicBezTo>
                <a:cubicBezTo>
                  <a:pt x="5243966" y="4084881"/>
                  <a:pt x="5242107" y="4087463"/>
                  <a:pt x="5239319" y="4087979"/>
                </a:cubicBezTo>
                <a:cubicBezTo>
                  <a:pt x="5238389" y="4088185"/>
                  <a:pt x="5237305" y="4088185"/>
                  <a:pt x="5236066" y="4087773"/>
                </a:cubicBezTo>
                <a:cubicBezTo>
                  <a:pt x="5231419" y="4079615"/>
                  <a:pt x="5239784" y="4073936"/>
                  <a:pt x="5244740" y="4077344"/>
                </a:cubicBezTo>
                <a:close/>
                <a:moveTo>
                  <a:pt x="5652272" y="4076621"/>
                </a:moveTo>
                <a:cubicBezTo>
                  <a:pt x="5657229" y="4076621"/>
                  <a:pt x="5659397" y="4078376"/>
                  <a:pt x="5658778" y="4081990"/>
                </a:cubicBezTo>
                <a:cubicBezTo>
                  <a:pt x="5658158" y="4082403"/>
                  <a:pt x="5655525" y="4083023"/>
                  <a:pt x="5655990" y="4083745"/>
                </a:cubicBezTo>
                <a:cubicBezTo>
                  <a:pt x="5653357" y="4083126"/>
                  <a:pt x="5650569" y="4082094"/>
                  <a:pt x="5649174" y="4080235"/>
                </a:cubicBezTo>
                <a:cubicBezTo>
                  <a:pt x="5648710" y="4079615"/>
                  <a:pt x="5648400" y="4078893"/>
                  <a:pt x="5648400" y="4078170"/>
                </a:cubicBezTo>
                <a:cubicBezTo>
                  <a:pt x="5648090" y="4076208"/>
                  <a:pt x="5649949" y="4076001"/>
                  <a:pt x="5652272" y="4076621"/>
                </a:cubicBezTo>
                <a:close/>
                <a:moveTo>
                  <a:pt x="5184330" y="4076518"/>
                </a:moveTo>
                <a:cubicBezTo>
                  <a:pt x="5187428" y="4077757"/>
                  <a:pt x="5190217" y="4077757"/>
                  <a:pt x="5192230" y="4078273"/>
                </a:cubicBezTo>
                <a:lnTo>
                  <a:pt x="5193470" y="4078996"/>
                </a:lnTo>
                <a:lnTo>
                  <a:pt x="5195948" y="4079099"/>
                </a:lnTo>
                <a:cubicBezTo>
                  <a:pt x="5197962" y="4079822"/>
                  <a:pt x="5199820" y="4081061"/>
                  <a:pt x="5200440" y="4082816"/>
                </a:cubicBezTo>
                <a:cubicBezTo>
                  <a:pt x="5202453" y="4086843"/>
                  <a:pt x="5201989" y="4089528"/>
                  <a:pt x="5201060" y="4091903"/>
                </a:cubicBezTo>
                <a:cubicBezTo>
                  <a:pt x="5201060" y="4091903"/>
                  <a:pt x="5201060" y="4091800"/>
                  <a:pt x="5201369" y="4091077"/>
                </a:cubicBezTo>
                <a:cubicBezTo>
                  <a:pt x="5205861" y="4089734"/>
                  <a:pt x="5213606" y="4087463"/>
                  <a:pt x="5215465" y="4089425"/>
                </a:cubicBezTo>
                <a:cubicBezTo>
                  <a:pt x="5215155" y="4090251"/>
                  <a:pt x="5214690" y="4090973"/>
                  <a:pt x="5213606" y="4091387"/>
                </a:cubicBezTo>
                <a:cubicBezTo>
                  <a:pt x="5212522" y="4091696"/>
                  <a:pt x="5212831" y="4090870"/>
                  <a:pt x="5212522" y="4091696"/>
                </a:cubicBezTo>
                <a:cubicBezTo>
                  <a:pt x="5211438" y="4092006"/>
                  <a:pt x="5212212" y="4092419"/>
                  <a:pt x="5212212" y="4092419"/>
                </a:cubicBezTo>
                <a:cubicBezTo>
                  <a:pt x="5212212" y="4092419"/>
                  <a:pt x="5211438" y="4092006"/>
                  <a:pt x="5211438" y="4092006"/>
                </a:cubicBezTo>
                <a:cubicBezTo>
                  <a:pt x="5211438" y="4092006"/>
                  <a:pt x="5211438" y="4092006"/>
                  <a:pt x="5209269" y="4092729"/>
                </a:cubicBezTo>
                <a:cubicBezTo>
                  <a:pt x="5206636" y="4094174"/>
                  <a:pt x="5206326" y="4094897"/>
                  <a:pt x="5204777" y="4096033"/>
                </a:cubicBezTo>
                <a:cubicBezTo>
                  <a:pt x="5202608" y="4096652"/>
                  <a:pt x="5201834" y="4096240"/>
                  <a:pt x="5198891" y="4096446"/>
                </a:cubicBezTo>
                <a:cubicBezTo>
                  <a:pt x="5197652" y="4094794"/>
                  <a:pt x="5197806" y="4094794"/>
                  <a:pt x="5198117" y="4094071"/>
                </a:cubicBezTo>
                <a:cubicBezTo>
                  <a:pt x="5197806" y="4094794"/>
                  <a:pt x="5196877" y="4094381"/>
                  <a:pt x="5195793" y="4094691"/>
                </a:cubicBezTo>
                <a:cubicBezTo>
                  <a:pt x="5191766" y="4097272"/>
                  <a:pt x="5188823" y="4093555"/>
                  <a:pt x="5186344" y="4088392"/>
                </a:cubicBezTo>
                <a:cubicBezTo>
                  <a:pt x="5187584" y="4088082"/>
                  <a:pt x="5185880" y="4085191"/>
                  <a:pt x="5185880" y="4083229"/>
                </a:cubicBezTo>
                <a:lnTo>
                  <a:pt x="5186189" y="4082713"/>
                </a:lnTo>
                <a:lnTo>
                  <a:pt x="5182782" y="4081887"/>
                </a:lnTo>
                <a:cubicBezTo>
                  <a:pt x="5183711" y="4079615"/>
                  <a:pt x="5184176" y="4078479"/>
                  <a:pt x="5184330" y="4076518"/>
                </a:cubicBezTo>
                <a:close/>
                <a:moveTo>
                  <a:pt x="5792918" y="4073523"/>
                </a:moveTo>
                <a:lnTo>
                  <a:pt x="5791369" y="4073627"/>
                </a:lnTo>
                <a:lnTo>
                  <a:pt x="5792453" y="4074039"/>
                </a:lnTo>
                <a:close/>
                <a:moveTo>
                  <a:pt x="5231884" y="4069909"/>
                </a:moveTo>
                <a:cubicBezTo>
                  <a:pt x="5232658" y="4073627"/>
                  <a:pt x="5231109" y="4076105"/>
                  <a:pt x="5227702" y="4075898"/>
                </a:cubicBezTo>
                <a:cubicBezTo>
                  <a:pt x="5227856" y="4073420"/>
                  <a:pt x="5226152" y="4072697"/>
                  <a:pt x="5226462" y="4070219"/>
                </a:cubicBezTo>
                <a:cubicBezTo>
                  <a:pt x="5228786" y="4070322"/>
                  <a:pt x="5230645" y="4069806"/>
                  <a:pt x="5231884" y="4069909"/>
                </a:cubicBezTo>
                <a:close/>
                <a:moveTo>
                  <a:pt x="5347901" y="4069290"/>
                </a:moveTo>
                <a:cubicBezTo>
                  <a:pt x="5353167" y="4071252"/>
                  <a:pt x="5356730" y="4068670"/>
                  <a:pt x="5360138" y="4072594"/>
                </a:cubicBezTo>
                <a:cubicBezTo>
                  <a:pt x="5359518" y="4077137"/>
                  <a:pt x="5356575" y="4079409"/>
                  <a:pt x="5353632" y="4080029"/>
                </a:cubicBezTo>
                <a:cubicBezTo>
                  <a:pt x="5350534" y="4080545"/>
                  <a:pt x="5347436" y="4079306"/>
                  <a:pt x="5346507" y="4076621"/>
                </a:cubicBezTo>
                <a:cubicBezTo>
                  <a:pt x="5345887" y="4074762"/>
                  <a:pt x="5346042" y="4072284"/>
                  <a:pt x="5347901" y="4069290"/>
                </a:cubicBezTo>
                <a:close/>
                <a:moveTo>
                  <a:pt x="5381204" y="4069083"/>
                </a:moveTo>
                <a:cubicBezTo>
                  <a:pt x="5382753" y="4069187"/>
                  <a:pt x="5385386" y="4071871"/>
                  <a:pt x="5386935" y="4073730"/>
                </a:cubicBezTo>
                <a:lnTo>
                  <a:pt x="5383372" y="4080545"/>
                </a:lnTo>
                <a:lnTo>
                  <a:pt x="5384921" y="4079615"/>
                </a:lnTo>
                <a:cubicBezTo>
                  <a:pt x="5385851" y="4079409"/>
                  <a:pt x="5386935" y="4079409"/>
                  <a:pt x="5387710" y="4079822"/>
                </a:cubicBezTo>
                <a:cubicBezTo>
                  <a:pt x="5389258" y="4083642"/>
                  <a:pt x="5385231" y="4087773"/>
                  <a:pt x="5381978" y="4087050"/>
                </a:cubicBezTo>
                <a:cubicBezTo>
                  <a:pt x="5379965" y="4084572"/>
                  <a:pt x="5380739" y="4082403"/>
                  <a:pt x="5382288" y="4081061"/>
                </a:cubicBezTo>
                <a:lnTo>
                  <a:pt x="5383218" y="4080545"/>
                </a:lnTo>
                <a:lnTo>
                  <a:pt x="5380429" y="4075072"/>
                </a:lnTo>
                <a:cubicBezTo>
                  <a:pt x="5380119" y="4073213"/>
                  <a:pt x="5380429" y="4071252"/>
                  <a:pt x="5381204" y="4069083"/>
                </a:cubicBezTo>
                <a:close/>
                <a:moveTo>
                  <a:pt x="656257" y="4068859"/>
                </a:moveTo>
                <a:cubicBezTo>
                  <a:pt x="658425" y="4069891"/>
                  <a:pt x="661523" y="4074538"/>
                  <a:pt x="660129" y="4078875"/>
                </a:cubicBezTo>
                <a:cubicBezTo>
                  <a:pt x="658890" y="4079494"/>
                  <a:pt x="657806" y="4079804"/>
                  <a:pt x="656876" y="4079907"/>
                </a:cubicBezTo>
                <a:cubicBezTo>
                  <a:pt x="655947" y="4079907"/>
                  <a:pt x="655173" y="4079701"/>
                  <a:pt x="654553" y="4079184"/>
                </a:cubicBezTo>
                <a:cubicBezTo>
                  <a:pt x="653159" y="4078255"/>
                  <a:pt x="652385" y="4076397"/>
                  <a:pt x="651920" y="4073712"/>
                </a:cubicBezTo>
                <a:cubicBezTo>
                  <a:pt x="653468" y="4072473"/>
                  <a:pt x="654398" y="4070821"/>
                  <a:pt x="656257" y="4068859"/>
                </a:cubicBezTo>
                <a:close/>
                <a:moveTo>
                  <a:pt x="5581794" y="4068154"/>
                </a:moveTo>
                <a:cubicBezTo>
                  <a:pt x="5584118" y="4069187"/>
                  <a:pt x="5588455" y="4067741"/>
                  <a:pt x="5588455" y="4072181"/>
                </a:cubicBezTo>
                <a:cubicBezTo>
                  <a:pt x="5577767" y="4076518"/>
                  <a:pt x="5579316" y="4092419"/>
                  <a:pt x="5569248" y="4093245"/>
                </a:cubicBezTo>
                <a:cubicBezTo>
                  <a:pt x="5571416" y="4084675"/>
                  <a:pt x="5572036" y="4076001"/>
                  <a:pt x="5581794" y="4068154"/>
                </a:cubicBezTo>
                <a:close/>
                <a:moveTo>
                  <a:pt x="5310881" y="4066915"/>
                </a:moveTo>
                <a:lnTo>
                  <a:pt x="5310261" y="4067121"/>
                </a:lnTo>
                <a:lnTo>
                  <a:pt x="5311036" y="4067121"/>
                </a:lnTo>
                <a:close/>
                <a:moveTo>
                  <a:pt x="5639416" y="4066295"/>
                </a:moveTo>
                <a:cubicBezTo>
                  <a:pt x="5638486" y="4067638"/>
                  <a:pt x="5636628" y="4070529"/>
                  <a:pt x="5635079" y="4071252"/>
                </a:cubicBezTo>
                <a:cubicBezTo>
                  <a:pt x="5634459" y="4071458"/>
                  <a:pt x="5633994" y="4071458"/>
                  <a:pt x="5633530" y="4071045"/>
                </a:cubicBezTo>
                <a:cubicBezTo>
                  <a:pt x="5634924" y="4069187"/>
                  <a:pt x="5636008" y="4065572"/>
                  <a:pt x="5639416" y="4066295"/>
                </a:cubicBezTo>
                <a:close/>
                <a:moveTo>
                  <a:pt x="5492826" y="4065069"/>
                </a:moveTo>
                <a:cubicBezTo>
                  <a:pt x="5494201" y="4066063"/>
                  <a:pt x="5495130" y="4067896"/>
                  <a:pt x="5494898" y="4069187"/>
                </a:cubicBezTo>
                <a:cubicBezTo>
                  <a:pt x="5493658" y="4071148"/>
                  <a:pt x="5492419" y="4071561"/>
                  <a:pt x="5491180" y="4071148"/>
                </a:cubicBezTo>
                <a:cubicBezTo>
                  <a:pt x="5490096" y="4070735"/>
                  <a:pt x="5489167" y="4069600"/>
                  <a:pt x="5488547" y="4068361"/>
                </a:cubicBezTo>
                <a:cubicBezTo>
                  <a:pt x="5488237" y="4067534"/>
                  <a:pt x="5487927" y="4066605"/>
                  <a:pt x="5488082" y="4065986"/>
                </a:cubicBezTo>
                <a:cubicBezTo>
                  <a:pt x="5489631" y="4063921"/>
                  <a:pt x="5491451" y="4064075"/>
                  <a:pt x="5492826" y="4065069"/>
                </a:cubicBezTo>
                <a:close/>
                <a:moveTo>
                  <a:pt x="5266271" y="4064746"/>
                </a:moveTo>
                <a:cubicBezTo>
                  <a:pt x="5269059" y="4067225"/>
                  <a:pt x="5268749" y="4070632"/>
                  <a:pt x="5271692" y="4074039"/>
                </a:cubicBezTo>
                <a:cubicBezTo>
                  <a:pt x="5270453" y="4076724"/>
                  <a:pt x="5273551" y="4080855"/>
                  <a:pt x="5271537" y="4084468"/>
                </a:cubicBezTo>
                <a:cubicBezTo>
                  <a:pt x="5265961" y="4081267"/>
                  <a:pt x="5264102" y="4067534"/>
                  <a:pt x="5266271" y="4064746"/>
                </a:cubicBezTo>
                <a:close/>
                <a:moveTo>
                  <a:pt x="449277" y="4063967"/>
                </a:moveTo>
                <a:cubicBezTo>
                  <a:pt x="452336" y="4064470"/>
                  <a:pt x="455279" y="4066794"/>
                  <a:pt x="455821" y="4069272"/>
                </a:cubicBezTo>
                <a:cubicBezTo>
                  <a:pt x="454427" y="4072163"/>
                  <a:pt x="451639" y="4073402"/>
                  <a:pt x="448851" y="4073299"/>
                </a:cubicBezTo>
                <a:cubicBezTo>
                  <a:pt x="446062" y="4073299"/>
                  <a:pt x="443274" y="4071956"/>
                  <a:pt x="442035" y="4069581"/>
                </a:cubicBezTo>
                <a:cubicBezTo>
                  <a:pt x="443042" y="4064780"/>
                  <a:pt x="446217" y="4063463"/>
                  <a:pt x="449277" y="4063967"/>
                </a:cubicBezTo>
                <a:close/>
                <a:moveTo>
                  <a:pt x="5756053" y="4063610"/>
                </a:moveTo>
                <a:cubicBezTo>
                  <a:pt x="5756827" y="4063301"/>
                  <a:pt x="5756982" y="4064127"/>
                  <a:pt x="5756208" y="4064437"/>
                </a:cubicBezTo>
                <a:cubicBezTo>
                  <a:pt x="5756053" y="4065366"/>
                  <a:pt x="5755588" y="4065572"/>
                  <a:pt x="5754969" y="4065572"/>
                </a:cubicBezTo>
                <a:cubicBezTo>
                  <a:pt x="5754194" y="4065469"/>
                  <a:pt x="5753419" y="4065056"/>
                  <a:pt x="5752955" y="4064850"/>
                </a:cubicBezTo>
                <a:cubicBezTo>
                  <a:pt x="5755278" y="4063921"/>
                  <a:pt x="5755743" y="4062785"/>
                  <a:pt x="5756053" y="4063610"/>
                </a:cubicBezTo>
                <a:close/>
                <a:moveTo>
                  <a:pt x="5595735" y="4060926"/>
                </a:moveTo>
                <a:cubicBezTo>
                  <a:pt x="5597594" y="4062578"/>
                  <a:pt x="5597129" y="4064333"/>
                  <a:pt x="5596355" y="4065263"/>
                </a:cubicBezTo>
                <a:cubicBezTo>
                  <a:pt x="5596200" y="4066605"/>
                  <a:pt x="5595115" y="4067328"/>
                  <a:pt x="5593876" y="4067638"/>
                </a:cubicBezTo>
                <a:cubicBezTo>
                  <a:pt x="5592637" y="4067947"/>
                  <a:pt x="5591243" y="4067741"/>
                  <a:pt x="5589849" y="4067431"/>
                </a:cubicBezTo>
                <a:cubicBezTo>
                  <a:pt x="5590778" y="4067328"/>
                  <a:pt x="5590624" y="4067431"/>
                  <a:pt x="5590624" y="4067431"/>
                </a:cubicBezTo>
                <a:cubicBezTo>
                  <a:pt x="5591398" y="4066502"/>
                  <a:pt x="5590624" y="4066502"/>
                  <a:pt x="5590469" y="4065572"/>
                </a:cubicBezTo>
                <a:cubicBezTo>
                  <a:pt x="5590469" y="4065572"/>
                  <a:pt x="5590624" y="4066502"/>
                  <a:pt x="5589539" y="4065676"/>
                </a:cubicBezTo>
                <a:cubicBezTo>
                  <a:pt x="5590469" y="4065572"/>
                  <a:pt x="5590314" y="4064746"/>
                  <a:pt x="5590314" y="4063817"/>
                </a:cubicBezTo>
                <a:cubicBezTo>
                  <a:pt x="5591708" y="4061959"/>
                  <a:pt x="5593876" y="4060100"/>
                  <a:pt x="5595735" y="4060926"/>
                </a:cubicBezTo>
                <a:close/>
                <a:moveTo>
                  <a:pt x="5717174" y="4058138"/>
                </a:moveTo>
                <a:cubicBezTo>
                  <a:pt x="5717174" y="4058964"/>
                  <a:pt x="5717948" y="4060926"/>
                  <a:pt x="5717019" y="4061649"/>
                </a:cubicBezTo>
                <a:cubicBezTo>
                  <a:pt x="5716709" y="4062062"/>
                  <a:pt x="5716399" y="4062268"/>
                  <a:pt x="5716090" y="4062268"/>
                </a:cubicBezTo>
                <a:cubicBezTo>
                  <a:pt x="5715780" y="4062371"/>
                  <a:pt x="5715470" y="4062268"/>
                  <a:pt x="5714540" y="4062165"/>
                </a:cubicBezTo>
                <a:cubicBezTo>
                  <a:pt x="5715470" y="4059687"/>
                  <a:pt x="5715470" y="4059687"/>
                  <a:pt x="5717174" y="4058138"/>
                </a:cubicBezTo>
                <a:close/>
                <a:moveTo>
                  <a:pt x="5645922" y="4057828"/>
                </a:moveTo>
                <a:cubicBezTo>
                  <a:pt x="5646541" y="4058035"/>
                  <a:pt x="5646696" y="4058448"/>
                  <a:pt x="5646541" y="4058964"/>
                </a:cubicBezTo>
                <a:cubicBezTo>
                  <a:pt x="5646541" y="4059480"/>
                  <a:pt x="5646231" y="4060100"/>
                  <a:pt x="5645922" y="4060616"/>
                </a:cubicBezTo>
                <a:cubicBezTo>
                  <a:pt x="5645457" y="4061752"/>
                  <a:pt x="5644837" y="4062991"/>
                  <a:pt x="5644218" y="4064127"/>
                </a:cubicBezTo>
                <a:cubicBezTo>
                  <a:pt x="5644218" y="4064127"/>
                  <a:pt x="5644218" y="4064127"/>
                  <a:pt x="5645922" y="4057828"/>
                </a:cubicBezTo>
                <a:close/>
                <a:moveTo>
                  <a:pt x="5717329" y="4055557"/>
                </a:moveTo>
                <a:cubicBezTo>
                  <a:pt x="5718103" y="4055660"/>
                  <a:pt x="5718103" y="4056589"/>
                  <a:pt x="5717329" y="4057519"/>
                </a:cubicBezTo>
                <a:cubicBezTo>
                  <a:pt x="5717329" y="4057519"/>
                  <a:pt x="5716554" y="4057415"/>
                  <a:pt x="5716554" y="4057415"/>
                </a:cubicBezTo>
                <a:cubicBezTo>
                  <a:pt x="5716554" y="4056486"/>
                  <a:pt x="5716554" y="4055557"/>
                  <a:pt x="5717329" y="4055557"/>
                </a:cubicBezTo>
                <a:close/>
                <a:moveTo>
                  <a:pt x="5835979" y="4054731"/>
                </a:moveTo>
                <a:cubicBezTo>
                  <a:pt x="5837528" y="4056486"/>
                  <a:pt x="5838148" y="4059067"/>
                  <a:pt x="5837219" y="4059894"/>
                </a:cubicBezTo>
                <a:cubicBezTo>
                  <a:pt x="5835824" y="4061236"/>
                  <a:pt x="5834431" y="4062475"/>
                  <a:pt x="5832881" y="4061959"/>
                </a:cubicBezTo>
                <a:cubicBezTo>
                  <a:pt x="5832262" y="4061752"/>
                  <a:pt x="5831797" y="4061339"/>
                  <a:pt x="5831177" y="4060720"/>
                </a:cubicBezTo>
                <a:cubicBezTo>
                  <a:pt x="5831177" y="4060720"/>
                  <a:pt x="5831332" y="4060720"/>
                  <a:pt x="5831332" y="4059894"/>
                </a:cubicBezTo>
                <a:cubicBezTo>
                  <a:pt x="5831487" y="4058138"/>
                  <a:pt x="5831642" y="4057209"/>
                  <a:pt x="5831642" y="4056383"/>
                </a:cubicBezTo>
                <a:cubicBezTo>
                  <a:pt x="5832572" y="4055557"/>
                  <a:pt x="5835205" y="4053904"/>
                  <a:pt x="5835979" y="4054731"/>
                </a:cubicBezTo>
                <a:close/>
                <a:moveTo>
                  <a:pt x="5360912" y="4054111"/>
                </a:moveTo>
                <a:cubicBezTo>
                  <a:pt x="5360603" y="4056589"/>
                  <a:pt x="5360603" y="4057828"/>
                  <a:pt x="5360912" y="4059687"/>
                </a:cubicBezTo>
                <a:lnTo>
                  <a:pt x="5355646" y="4060100"/>
                </a:lnTo>
                <a:lnTo>
                  <a:pt x="5355801" y="4063094"/>
                </a:lnTo>
                <a:cubicBezTo>
                  <a:pt x="5355646" y="4063921"/>
                  <a:pt x="5355026" y="4064540"/>
                  <a:pt x="5354252" y="4065056"/>
                </a:cubicBezTo>
                <a:cubicBezTo>
                  <a:pt x="5353167" y="4065366"/>
                  <a:pt x="5351773" y="4064540"/>
                  <a:pt x="5349760" y="4062475"/>
                </a:cubicBezTo>
                <a:lnTo>
                  <a:pt x="5351464" y="4060203"/>
                </a:lnTo>
                <a:lnTo>
                  <a:pt x="5349760" y="4059894"/>
                </a:lnTo>
                <a:cubicBezTo>
                  <a:pt x="5348985" y="4059377"/>
                  <a:pt x="5348366" y="4058551"/>
                  <a:pt x="5347746" y="4057105"/>
                </a:cubicBezTo>
                <a:cubicBezTo>
                  <a:pt x="5349760" y="4054214"/>
                  <a:pt x="5355646" y="4054421"/>
                  <a:pt x="5360912" y="4054111"/>
                </a:cubicBezTo>
                <a:close/>
                <a:moveTo>
                  <a:pt x="5603945" y="4052872"/>
                </a:moveTo>
                <a:cubicBezTo>
                  <a:pt x="5603945" y="4052872"/>
                  <a:pt x="5603945" y="4052872"/>
                  <a:pt x="5604719" y="4052975"/>
                </a:cubicBezTo>
                <a:cubicBezTo>
                  <a:pt x="5606423" y="4053182"/>
                  <a:pt x="5607197" y="4053388"/>
                  <a:pt x="5608127" y="4053492"/>
                </a:cubicBezTo>
                <a:cubicBezTo>
                  <a:pt x="5608901" y="4054524"/>
                  <a:pt x="5610295" y="4057415"/>
                  <a:pt x="5609521" y="4058138"/>
                </a:cubicBezTo>
                <a:cubicBezTo>
                  <a:pt x="5608591" y="4058861"/>
                  <a:pt x="5607507" y="4059274"/>
                  <a:pt x="5606578" y="4059480"/>
                </a:cubicBezTo>
                <a:cubicBezTo>
                  <a:pt x="5605648" y="4059687"/>
                  <a:pt x="5604719" y="4059480"/>
                  <a:pt x="5604409" y="4059067"/>
                </a:cubicBezTo>
                <a:cubicBezTo>
                  <a:pt x="5603170" y="4057519"/>
                  <a:pt x="5602086" y="4055970"/>
                  <a:pt x="5602705" y="4054421"/>
                </a:cubicBezTo>
                <a:cubicBezTo>
                  <a:pt x="5602860" y="4053904"/>
                  <a:pt x="5603325" y="4053388"/>
                  <a:pt x="5603945" y="4052872"/>
                </a:cubicBezTo>
                <a:close/>
                <a:moveTo>
                  <a:pt x="5295391" y="4051633"/>
                </a:moveTo>
                <a:cubicBezTo>
                  <a:pt x="5295856" y="4054731"/>
                  <a:pt x="5296320" y="4055866"/>
                  <a:pt x="5296320" y="4057828"/>
                </a:cubicBezTo>
                <a:lnTo>
                  <a:pt x="5297095" y="4058758"/>
                </a:lnTo>
                <a:lnTo>
                  <a:pt x="5297250" y="4058758"/>
                </a:lnTo>
                <a:lnTo>
                  <a:pt x="5297560" y="4059171"/>
                </a:lnTo>
                <a:lnTo>
                  <a:pt x="5298179" y="4059894"/>
                </a:lnTo>
                <a:lnTo>
                  <a:pt x="5298179" y="4060306"/>
                </a:lnTo>
                <a:lnTo>
                  <a:pt x="5299574" y="4062165"/>
                </a:lnTo>
                <a:cubicBezTo>
                  <a:pt x="5300967" y="4063610"/>
                  <a:pt x="5302517" y="4065160"/>
                  <a:pt x="5302517" y="4065160"/>
                </a:cubicBezTo>
                <a:cubicBezTo>
                  <a:pt x="5302206" y="4067534"/>
                  <a:pt x="5302206" y="4067534"/>
                  <a:pt x="5299263" y="4067328"/>
                </a:cubicBezTo>
                <a:lnTo>
                  <a:pt x="5296475" y="4065366"/>
                </a:lnTo>
                <a:lnTo>
                  <a:pt x="5295546" y="4065366"/>
                </a:lnTo>
                <a:cubicBezTo>
                  <a:pt x="5294772" y="4065056"/>
                  <a:pt x="5294152" y="4064437"/>
                  <a:pt x="5293842" y="4063301"/>
                </a:cubicBezTo>
                <a:lnTo>
                  <a:pt x="5293687" y="4062165"/>
                </a:lnTo>
                <a:lnTo>
                  <a:pt x="5291984" y="4059067"/>
                </a:lnTo>
                <a:lnTo>
                  <a:pt x="5293532" y="4059067"/>
                </a:lnTo>
                <a:lnTo>
                  <a:pt x="5295081" y="4056279"/>
                </a:lnTo>
                <a:cubicBezTo>
                  <a:pt x="5295081" y="4054318"/>
                  <a:pt x="5293997" y="4052666"/>
                  <a:pt x="5295391" y="4051633"/>
                </a:cubicBezTo>
                <a:close/>
                <a:moveTo>
                  <a:pt x="5717484" y="4051220"/>
                </a:moveTo>
                <a:cubicBezTo>
                  <a:pt x="5717484" y="4051220"/>
                  <a:pt x="5718258" y="4052253"/>
                  <a:pt x="5718258" y="4052253"/>
                </a:cubicBezTo>
                <a:cubicBezTo>
                  <a:pt x="5717793" y="4052666"/>
                  <a:pt x="5717793" y="4052872"/>
                  <a:pt x="5717638" y="4052975"/>
                </a:cubicBezTo>
                <a:cubicBezTo>
                  <a:pt x="5717638" y="4053078"/>
                  <a:pt x="5717329" y="4053078"/>
                  <a:pt x="5716709" y="4052975"/>
                </a:cubicBezTo>
                <a:cubicBezTo>
                  <a:pt x="5717484" y="4052149"/>
                  <a:pt x="5717484" y="4052149"/>
                  <a:pt x="5717484" y="4051220"/>
                </a:cubicBezTo>
                <a:close/>
                <a:moveTo>
                  <a:pt x="5300735" y="4049955"/>
                </a:moveTo>
                <a:cubicBezTo>
                  <a:pt x="5302749" y="4050704"/>
                  <a:pt x="5304220" y="4052769"/>
                  <a:pt x="5302206" y="4054731"/>
                </a:cubicBezTo>
                <a:cubicBezTo>
                  <a:pt x="5300348" y="4054731"/>
                  <a:pt x="5298179" y="4053904"/>
                  <a:pt x="5296011" y="4053078"/>
                </a:cubicBezTo>
                <a:cubicBezTo>
                  <a:pt x="5296165" y="4049774"/>
                  <a:pt x="5298721" y="4049206"/>
                  <a:pt x="5300735" y="4049955"/>
                </a:cubicBezTo>
                <a:close/>
                <a:moveTo>
                  <a:pt x="5307938" y="4049877"/>
                </a:moveTo>
                <a:cubicBezTo>
                  <a:pt x="5310416" y="4049671"/>
                  <a:pt x="5312120" y="4049671"/>
                  <a:pt x="5313979" y="4051323"/>
                </a:cubicBezTo>
                <a:lnTo>
                  <a:pt x="5315992" y="4054318"/>
                </a:lnTo>
                <a:lnTo>
                  <a:pt x="5317696" y="4052975"/>
                </a:lnTo>
                <a:cubicBezTo>
                  <a:pt x="5322808" y="4050910"/>
                  <a:pt x="5328849" y="4050497"/>
                  <a:pt x="5330863" y="4059377"/>
                </a:cubicBezTo>
                <a:cubicBezTo>
                  <a:pt x="5331792" y="4060926"/>
                  <a:pt x="5331017" y="4060513"/>
                  <a:pt x="5331327" y="4061752"/>
                </a:cubicBezTo>
                <a:cubicBezTo>
                  <a:pt x="5331482" y="4062888"/>
                  <a:pt x="5332256" y="4064540"/>
                  <a:pt x="5333031" y="4064953"/>
                </a:cubicBezTo>
                <a:cubicBezTo>
                  <a:pt x="5329004" y="4066708"/>
                  <a:pt x="5330088" y="4069496"/>
                  <a:pt x="5323737" y="4071871"/>
                </a:cubicBezTo>
                <a:cubicBezTo>
                  <a:pt x="5321724" y="4072697"/>
                  <a:pt x="5320020" y="4073110"/>
                  <a:pt x="5318626" y="4073110"/>
                </a:cubicBezTo>
                <a:lnTo>
                  <a:pt x="5317386" y="4072800"/>
                </a:lnTo>
                <a:lnTo>
                  <a:pt x="5317851" y="4073110"/>
                </a:lnTo>
                <a:cubicBezTo>
                  <a:pt x="5319865" y="4075278"/>
                  <a:pt x="5321414" y="4077344"/>
                  <a:pt x="5321259" y="4078686"/>
                </a:cubicBezTo>
                <a:cubicBezTo>
                  <a:pt x="5320330" y="4078789"/>
                  <a:pt x="5319555" y="4078789"/>
                  <a:pt x="5318626" y="4077963"/>
                </a:cubicBezTo>
                <a:cubicBezTo>
                  <a:pt x="5317696" y="4077137"/>
                  <a:pt x="5318471" y="4077137"/>
                  <a:pt x="5317696" y="4077137"/>
                </a:cubicBezTo>
                <a:cubicBezTo>
                  <a:pt x="5316767" y="4076311"/>
                  <a:pt x="5316767" y="4077240"/>
                  <a:pt x="5316767" y="4077240"/>
                </a:cubicBezTo>
                <a:cubicBezTo>
                  <a:pt x="5316767" y="4077240"/>
                  <a:pt x="5316612" y="4076311"/>
                  <a:pt x="5316612" y="4076311"/>
                </a:cubicBezTo>
                <a:cubicBezTo>
                  <a:pt x="5316612" y="4076311"/>
                  <a:pt x="5316612" y="4076311"/>
                  <a:pt x="5314753" y="4074659"/>
                </a:cubicBezTo>
                <a:cubicBezTo>
                  <a:pt x="5311965" y="4073110"/>
                  <a:pt x="5311191" y="4073213"/>
                  <a:pt x="5309332" y="4072491"/>
                </a:cubicBezTo>
                <a:cubicBezTo>
                  <a:pt x="5307473" y="4070839"/>
                  <a:pt x="5307318" y="4069909"/>
                  <a:pt x="5305305" y="4067431"/>
                </a:cubicBezTo>
                <a:cubicBezTo>
                  <a:pt x="5305924" y="4065676"/>
                  <a:pt x="5305924" y="4065676"/>
                  <a:pt x="5306699" y="4065572"/>
                </a:cubicBezTo>
                <a:cubicBezTo>
                  <a:pt x="5305924" y="4065676"/>
                  <a:pt x="5305769" y="4064850"/>
                  <a:pt x="5304840" y="4064024"/>
                </a:cubicBezTo>
                <a:cubicBezTo>
                  <a:pt x="5300193" y="4061649"/>
                  <a:pt x="5301432" y="4057209"/>
                  <a:pt x="5304065" y="4052666"/>
                </a:cubicBezTo>
                <a:cubicBezTo>
                  <a:pt x="5304995" y="4053492"/>
                  <a:pt x="5306389" y="4050807"/>
                  <a:pt x="5307938" y="4049877"/>
                </a:cubicBezTo>
                <a:close/>
                <a:moveTo>
                  <a:pt x="5480887" y="4049647"/>
                </a:moveTo>
                <a:cubicBezTo>
                  <a:pt x="5482738" y="4048974"/>
                  <a:pt x="5484597" y="4049129"/>
                  <a:pt x="5486378" y="4050600"/>
                </a:cubicBezTo>
                <a:cubicBezTo>
                  <a:pt x="5482971" y="4054214"/>
                  <a:pt x="5474297" y="4066089"/>
                  <a:pt x="5468875" y="4065779"/>
                </a:cubicBezTo>
                <a:cubicBezTo>
                  <a:pt x="5468100" y="4065676"/>
                  <a:pt x="5467326" y="4065469"/>
                  <a:pt x="5466707" y="4064850"/>
                </a:cubicBezTo>
                <a:cubicBezTo>
                  <a:pt x="5469844" y="4061133"/>
                  <a:pt x="5475333" y="4051665"/>
                  <a:pt x="5480887" y="4049647"/>
                </a:cubicBezTo>
                <a:close/>
                <a:moveTo>
                  <a:pt x="5651343" y="4046057"/>
                </a:moveTo>
                <a:cubicBezTo>
                  <a:pt x="5652427" y="4047606"/>
                  <a:pt x="5655525" y="4046573"/>
                  <a:pt x="5655215" y="4048948"/>
                </a:cubicBezTo>
                <a:cubicBezTo>
                  <a:pt x="5653976" y="4048638"/>
                  <a:pt x="5652272" y="4047606"/>
                  <a:pt x="5651188" y="4047296"/>
                </a:cubicBezTo>
                <a:cubicBezTo>
                  <a:pt x="5651188" y="4047296"/>
                  <a:pt x="5651188" y="4047296"/>
                  <a:pt x="5651343" y="4046057"/>
                </a:cubicBezTo>
                <a:close/>
                <a:moveTo>
                  <a:pt x="5727087" y="4045437"/>
                </a:moveTo>
                <a:cubicBezTo>
                  <a:pt x="5731115" y="4043269"/>
                  <a:pt x="5734212" y="4044199"/>
                  <a:pt x="5735297" y="4046264"/>
                </a:cubicBezTo>
                <a:cubicBezTo>
                  <a:pt x="5740253" y="4053904"/>
                  <a:pt x="5739944" y="4060823"/>
                  <a:pt x="5738549" y="4066295"/>
                </a:cubicBezTo>
                <a:lnTo>
                  <a:pt x="5738085" y="4067741"/>
                </a:lnTo>
                <a:lnTo>
                  <a:pt x="5738394" y="4068257"/>
                </a:lnTo>
                <a:cubicBezTo>
                  <a:pt x="5739479" y="4070116"/>
                  <a:pt x="5740563" y="4072284"/>
                  <a:pt x="5739944" y="4076105"/>
                </a:cubicBezTo>
                <a:lnTo>
                  <a:pt x="5736691" y="4071665"/>
                </a:lnTo>
                <a:lnTo>
                  <a:pt x="5736071" y="4073213"/>
                </a:lnTo>
                <a:cubicBezTo>
                  <a:pt x="5735297" y="4075072"/>
                  <a:pt x="5734677" y="4076518"/>
                  <a:pt x="5734832" y="4077447"/>
                </a:cubicBezTo>
                <a:cubicBezTo>
                  <a:pt x="5733283" y="4078273"/>
                  <a:pt x="5732044" y="4078893"/>
                  <a:pt x="5730960" y="4079202"/>
                </a:cubicBezTo>
                <a:cubicBezTo>
                  <a:pt x="5730340" y="4079409"/>
                  <a:pt x="5729720" y="4079512"/>
                  <a:pt x="5729101" y="4079306"/>
                </a:cubicBezTo>
                <a:cubicBezTo>
                  <a:pt x="5727242" y="4078686"/>
                  <a:pt x="5725693" y="4076105"/>
                  <a:pt x="5721976" y="4070012"/>
                </a:cubicBezTo>
                <a:cubicBezTo>
                  <a:pt x="5721046" y="4068051"/>
                  <a:pt x="5720581" y="4065676"/>
                  <a:pt x="5720737" y="4063301"/>
                </a:cubicBezTo>
                <a:cubicBezTo>
                  <a:pt x="5720891" y="4061029"/>
                  <a:pt x="5721666" y="4058654"/>
                  <a:pt x="5723215" y="4056486"/>
                </a:cubicBezTo>
                <a:cubicBezTo>
                  <a:pt x="5722750" y="4052872"/>
                  <a:pt x="5724454" y="4048122"/>
                  <a:pt x="5727087" y="4045437"/>
                </a:cubicBezTo>
                <a:close/>
                <a:moveTo>
                  <a:pt x="5687550" y="4044831"/>
                </a:moveTo>
                <a:cubicBezTo>
                  <a:pt x="5693475" y="4043114"/>
                  <a:pt x="5700058" y="4044147"/>
                  <a:pt x="5704627" y="4047503"/>
                </a:cubicBezTo>
                <a:lnTo>
                  <a:pt x="5708964" y="4052562"/>
                </a:lnTo>
                <a:lnTo>
                  <a:pt x="5710359" y="4051220"/>
                </a:lnTo>
                <a:cubicBezTo>
                  <a:pt x="5711907" y="4050394"/>
                  <a:pt x="5713611" y="4050084"/>
                  <a:pt x="5714540" y="4050394"/>
                </a:cubicBezTo>
                <a:cubicBezTo>
                  <a:pt x="5716399" y="4052046"/>
                  <a:pt x="5717793" y="4055454"/>
                  <a:pt x="5715625" y="4058241"/>
                </a:cubicBezTo>
                <a:cubicBezTo>
                  <a:pt x="5715005" y="4059584"/>
                  <a:pt x="5713766" y="4060306"/>
                  <a:pt x="5712527" y="4061029"/>
                </a:cubicBezTo>
                <a:lnTo>
                  <a:pt x="5709584" y="4063301"/>
                </a:lnTo>
                <a:lnTo>
                  <a:pt x="5708035" y="4069187"/>
                </a:lnTo>
                <a:cubicBezTo>
                  <a:pt x="5703233" y="4078067"/>
                  <a:pt x="5693010" y="4080338"/>
                  <a:pt x="5683406" y="4088908"/>
                </a:cubicBezTo>
                <a:cubicBezTo>
                  <a:pt x="5685110" y="4078893"/>
                  <a:pt x="5677056" y="4073730"/>
                  <a:pt x="5674577" y="4066708"/>
                </a:cubicBezTo>
                <a:lnTo>
                  <a:pt x="5674113" y="4064333"/>
                </a:lnTo>
                <a:lnTo>
                  <a:pt x="5670395" y="4063094"/>
                </a:lnTo>
                <a:cubicBezTo>
                  <a:pt x="5669776" y="4062578"/>
                  <a:pt x="5669311" y="4062062"/>
                  <a:pt x="5669311" y="4061236"/>
                </a:cubicBezTo>
                <a:cubicBezTo>
                  <a:pt x="5669466" y="4060100"/>
                  <a:pt x="5670705" y="4060410"/>
                  <a:pt x="5671325" y="4059997"/>
                </a:cubicBezTo>
                <a:lnTo>
                  <a:pt x="5674113" y="4061236"/>
                </a:lnTo>
                <a:lnTo>
                  <a:pt x="5674423" y="4058654"/>
                </a:lnTo>
                <a:cubicBezTo>
                  <a:pt x="5676359" y="4051013"/>
                  <a:pt x="5681625" y="4046547"/>
                  <a:pt x="5687550" y="4044831"/>
                </a:cubicBezTo>
                <a:close/>
                <a:moveTo>
                  <a:pt x="5477704" y="4043372"/>
                </a:moveTo>
                <a:cubicBezTo>
                  <a:pt x="5479408" y="4042960"/>
                  <a:pt x="5481267" y="4043372"/>
                  <a:pt x="5483745" y="4045437"/>
                </a:cubicBezTo>
                <a:cubicBezTo>
                  <a:pt x="5483590" y="4050187"/>
                  <a:pt x="5480802" y="4049981"/>
                  <a:pt x="5478169" y="4049774"/>
                </a:cubicBezTo>
                <a:cubicBezTo>
                  <a:pt x="5478943" y="4046780"/>
                  <a:pt x="5475071" y="4045954"/>
                  <a:pt x="5477704" y="4043372"/>
                </a:cubicBezTo>
                <a:close/>
                <a:moveTo>
                  <a:pt x="5335664" y="4042030"/>
                </a:moveTo>
                <a:cubicBezTo>
                  <a:pt x="5338297" y="4043372"/>
                  <a:pt x="5341085" y="4043889"/>
                  <a:pt x="5343719" y="4043992"/>
                </a:cubicBezTo>
                <a:lnTo>
                  <a:pt x="5348366" y="4043682"/>
                </a:lnTo>
                <a:lnTo>
                  <a:pt x="5348211" y="4043682"/>
                </a:lnTo>
                <a:cubicBezTo>
                  <a:pt x="5350689" y="4041204"/>
                  <a:pt x="5353167" y="4042133"/>
                  <a:pt x="5355646" y="4043166"/>
                </a:cubicBezTo>
                <a:cubicBezTo>
                  <a:pt x="5357350" y="4044095"/>
                  <a:pt x="5358279" y="4044095"/>
                  <a:pt x="5359983" y="4043372"/>
                </a:cubicBezTo>
                <a:cubicBezTo>
                  <a:pt x="5359983" y="4043372"/>
                  <a:pt x="5359828" y="4043372"/>
                  <a:pt x="5360138" y="4043579"/>
                </a:cubicBezTo>
                <a:lnTo>
                  <a:pt x="5360448" y="4043889"/>
                </a:lnTo>
                <a:lnTo>
                  <a:pt x="5367728" y="4046986"/>
                </a:lnTo>
                <a:cubicBezTo>
                  <a:pt x="5365250" y="4050704"/>
                  <a:pt x="5357814" y="4052562"/>
                  <a:pt x="5350689" y="4051839"/>
                </a:cubicBezTo>
                <a:cubicBezTo>
                  <a:pt x="5343564" y="4051220"/>
                  <a:pt x="5336749" y="4048122"/>
                  <a:pt x="5335664" y="4042030"/>
                </a:cubicBezTo>
                <a:close/>
                <a:moveTo>
                  <a:pt x="5670085" y="4041307"/>
                </a:moveTo>
                <a:cubicBezTo>
                  <a:pt x="5672757" y="4040765"/>
                  <a:pt x="5675739" y="4042185"/>
                  <a:pt x="5677211" y="4046161"/>
                </a:cubicBezTo>
                <a:cubicBezTo>
                  <a:pt x="5676901" y="4049671"/>
                  <a:pt x="5674887" y="4052149"/>
                  <a:pt x="5672409" y="4052872"/>
                </a:cubicBezTo>
                <a:cubicBezTo>
                  <a:pt x="5669930" y="4053492"/>
                  <a:pt x="5666987" y="4052253"/>
                  <a:pt x="5664819" y="4048226"/>
                </a:cubicBezTo>
                <a:cubicBezTo>
                  <a:pt x="5665051" y="4044353"/>
                  <a:pt x="5667413" y="4041849"/>
                  <a:pt x="5670085" y="4041307"/>
                </a:cubicBezTo>
                <a:close/>
                <a:moveTo>
                  <a:pt x="5316612" y="4038726"/>
                </a:moveTo>
                <a:lnTo>
                  <a:pt x="5319090" y="4039552"/>
                </a:lnTo>
                <a:lnTo>
                  <a:pt x="5322033" y="4038726"/>
                </a:lnTo>
                <a:cubicBezTo>
                  <a:pt x="5325441" y="4038313"/>
                  <a:pt x="5325596" y="4040894"/>
                  <a:pt x="5326680" y="4043889"/>
                </a:cubicBezTo>
                <a:cubicBezTo>
                  <a:pt x="5325751" y="4044405"/>
                  <a:pt x="5325131" y="4045334"/>
                  <a:pt x="5324512" y="4046264"/>
                </a:cubicBezTo>
                <a:lnTo>
                  <a:pt x="5324357" y="4046367"/>
                </a:lnTo>
                <a:lnTo>
                  <a:pt x="5324512" y="4046883"/>
                </a:lnTo>
                <a:cubicBezTo>
                  <a:pt x="5323118" y="4048638"/>
                  <a:pt x="5321104" y="4049155"/>
                  <a:pt x="5319245" y="4048948"/>
                </a:cubicBezTo>
                <a:cubicBezTo>
                  <a:pt x="5317231" y="4048845"/>
                  <a:pt x="5315218" y="4048122"/>
                  <a:pt x="5313824" y="4047709"/>
                </a:cubicBezTo>
                <a:cubicBezTo>
                  <a:pt x="5314288" y="4044095"/>
                  <a:pt x="5314598" y="4040481"/>
                  <a:pt x="5316612" y="4038726"/>
                </a:cubicBezTo>
                <a:close/>
                <a:moveTo>
                  <a:pt x="5254808" y="4037590"/>
                </a:moveTo>
                <a:cubicBezTo>
                  <a:pt x="5255428" y="4035835"/>
                  <a:pt x="5258061" y="4039552"/>
                  <a:pt x="5258836" y="4037797"/>
                </a:cubicBezTo>
                <a:cubicBezTo>
                  <a:pt x="5262398" y="4041410"/>
                  <a:pt x="5266271" y="4037280"/>
                  <a:pt x="5272312" y="4041927"/>
                </a:cubicBezTo>
                <a:cubicBezTo>
                  <a:pt x="5270298" y="4042443"/>
                  <a:pt x="5268439" y="4042753"/>
                  <a:pt x="5266581" y="4042650"/>
                </a:cubicBezTo>
                <a:cubicBezTo>
                  <a:pt x="5261314" y="4042650"/>
                  <a:pt x="5256977" y="4040791"/>
                  <a:pt x="5253260" y="4041927"/>
                </a:cubicBezTo>
                <a:cubicBezTo>
                  <a:pt x="5253260" y="4041927"/>
                  <a:pt x="5253260" y="4041927"/>
                  <a:pt x="5251556" y="4040068"/>
                </a:cubicBezTo>
                <a:cubicBezTo>
                  <a:pt x="5250626" y="4040068"/>
                  <a:pt x="5250626" y="4040068"/>
                  <a:pt x="5250626" y="4040068"/>
                </a:cubicBezTo>
                <a:cubicBezTo>
                  <a:pt x="5249852" y="4039965"/>
                  <a:pt x="5249852" y="4038209"/>
                  <a:pt x="5249852" y="4038209"/>
                </a:cubicBezTo>
                <a:cubicBezTo>
                  <a:pt x="5250471" y="4036558"/>
                  <a:pt x="5253105" y="4037487"/>
                  <a:pt x="5254808" y="4037590"/>
                </a:cubicBezTo>
                <a:close/>
                <a:moveTo>
                  <a:pt x="5686194" y="4035319"/>
                </a:moveTo>
                <a:cubicBezTo>
                  <a:pt x="5687898" y="4034183"/>
                  <a:pt x="5688208" y="4036454"/>
                  <a:pt x="5688363" y="4037694"/>
                </a:cubicBezTo>
                <a:cubicBezTo>
                  <a:pt x="5686350" y="4036454"/>
                  <a:pt x="5685265" y="4036764"/>
                  <a:pt x="5685730" y="4036041"/>
                </a:cubicBezTo>
                <a:cubicBezTo>
                  <a:pt x="5685110" y="4035628"/>
                  <a:pt x="5685575" y="4034905"/>
                  <a:pt x="5686194" y="4035319"/>
                </a:cubicBezTo>
                <a:close/>
                <a:moveTo>
                  <a:pt x="5330243" y="4033873"/>
                </a:moveTo>
                <a:cubicBezTo>
                  <a:pt x="5330243" y="4033873"/>
                  <a:pt x="5330243" y="4033976"/>
                  <a:pt x="5332102" y="4034079"/>
                </a:cubicBezTo>
                <a:cubicBezTo>
                  <a:pt x="5332876" y="4034493"/>
                  <a:pt x="5333806" y="4034905"/>
                  <a:pt x="5334115" y="4036144"/>
                </a:cubicBezTo>
                <a:cubicBezTo>
                  <a:pt x="5334580" y="4037384"/>
                  <a:pt x="5333960" y="4038932"/>
                  <a:pt x="5333495" y="4039759"/>
                </a:cubicBezTo>
                <a:cubicBezTo>
                  <a:pt x="5332721" y="4039242"/>
                  <a:pt x="5332411" y="4040068"/>
                  <a:pt x="5331637" y="4039552"/>
                </a:cubicBezTo>
                <a:cubicBezTo>
                  <a:pt x="5329623" y="4039448"/>
                  <a:pt x="5329623" y="4039552"/>
                  <a:pt x="5329159" y="4038313"/>
                </a:cubicBezTo>
                <a:cubicBezTo>
                  <a:pt x="5328849" y="4037074"/>
                  <a:pt x="5330707" y="4035112"/>
                  <a:pt x="5330243" y="4033873"/>
                </a:cubicBezTo>
                <a:close/>
                <a:moveTo>
                  <a:pt x="5407846" y="4033253"/>
                </a:moveTo>
                <a:cubicBezTo>
                  <a:pt x="5408930" y="4033666"/>
                  <a:pt x="5410014" y="4034079"/>
                  <a:pt x="5409550" y="4035215"/>
                </a:cubicBezTo>
                <a:cubicBezTo>
                  <a:pt x="5409085" y="4036351"/>
                  <a:pt x="5409395" y="4037177"/>
                  <a:pt x="5407536" y="4037177"/>
                </a:cubicBezTo>
                <a:cubicBezTo>
                  <a:pt x="5406762" y="4037487"/>
                  <a:pt x="5405677" y="4037177"/>
                  <a:pt x="5404903" y="4037487"/>
                </a:cubicBezTo>
                <a:cubicBezTo>
                  <a:pt x="5404903" y="4037487"/>
                  <a:pt x="5404438" y="4037074"/>
                  <a:pt x="5404128" y="4036454"/>
                </a:cubicBezTo>
                <a:cubicBezTo>
                  <a:pt x="5403819" y="4035835"/>
                  <a:pt x="5403354" y="4035009"/>
                  <a:pt x="5403663" y="4034389"/>
                </a:cubicBezTo>
                <a:cubicBezTo>
                  <a:pt x="5403819" y="4032531"/>
                  <a:pt x="5407071" y="4033666"/>
                  <a:pt x="5407846" y="4033253"/>
                </a:cubicBezTo>
                <a:close/>
                <a:moveTo>
                  <a:pt x="5687898" y="4030362"/>
                </a:moveTo>
                <a:cubicBezTo>
                  <a:pt x="5689757" y="4029639"/>
                  <a:pt x="5691461" y="4029742"/>
                  <a:pt x="5692700" y="4030362"/>
                </a:cubicBezTo>
                <a:lnTo>
                  <a:pt x="5693629" y="4031188"/>
                </a:lnTo>
                <a:lnTo>
                  <a:pt x="5694249" y="4031911"/>
                </a:lnTo>
                <a:lnTo>
                  <a:pt x="5695798" y="4033666"/>
                </a:lnTo>
                <a:cubicBezTo>
                  <a:pt x="5695333" y="4034802"/>
                  <a:pt x="5694559" y="4035422"/>
                  <a:pt x="5693784" y="4035835"/>
                </a:cubicBezTo>
                <a:cubicBezTo>
                  <a:pt x="5693010" y="4036144"/>
                  <a:pt x="5692081" y="4036041"/>
                  <a:pt x="5691306" y="4035732"/>
                </a:cubicBezTo>
                <a:cubicBezTo>
                  <a:pt x="5689757" y="4035009"/>
                  <a:pt x="5688363" y="4033150"/>
                  <a:pt x="5687898" y="4030362"/>
                </a:cubicBezTo>
                <a:close/>
                <a:moveTo>
                  <a:pt x="5742267" y="4027987"/>
                </a:moveTo>
                <a:cubicBezTo>
                  <a:pt x="5743506" y="4028297"/>
                  <a:pt x="5744281" y="4031085"/>
                  <a:pt x="5745520" y="4031395"/>
                </a:cubicBezTo>
                <a:cubicBezTo>
                  <a:pt x="5745520" y="4031395"/>
                  <a:pt x="5745520" y="4031498"/>
                  <a:pt x="5744591" y="4033150"/>
                </a:cubicBezTo>
                <a:cubicBezTo>
                  <a:pt x="5743971" y="4033563"/>
                  <a:pt x="5743196" y="4034079"/>
                  <a:pt x="5742112" y="4033770"/>
                </a:cubicBezTo>
                <a:cubicBezTo>
                  <a:pt x="5740873" y="4033460"/>
                  <a:pt x="5739789" y="4031808"/>
                  <a:pt x="5739324" y="4031085"/>
                </a:cubicBezTo>
                <a:cubicBezTo>
                  <a:pt x="5739944" y="4030672"/>
                  <a:pt x="5739479" y="4029846"/>
                  <a:pt x="5740253" y="4029433"/>
                </a:cubicBezTo>
                <a:cubicBezTo>
                  <a:pt x="5741028" y="4027677"/>
                  <a:pt x="5741028" y="4027677"/>
                  <a:pt x="5742267" y="4027987"/>
                </a:cubicBezTo>
                <a:close/>
                <a:moveTo>
                  <a:pt x="5716864" y="4027884"/>
                </a:moveTo>
                <a:cubicBezTo>
                  <a:pt x="5718878" y="4031498"/>
                  <a:pt x="5721511" y="4035112"/>
                  <a:pt x="5720891" y="4038209"/>
                </a:cubicBezTo>
                <a:lnTo>
                  <a:pt x="5720272" y="4039036"/>
                </a:lnTo>
                <a:lnTo>
                  <a:pt x="5720117" y="4040275"/>
                </a:lnTo>
                <a:cubicBezTo>
                  <a:pt x="5719807" y="4043682"/>
                  <a:pt x="5718878" y="4049465"/>
                  <a:pt x="5717638" y="4051220"/>
                </a:cubicBezTo>
                <a:cubicBezTo>
                  <a:pt x="5718103" y="4049155"/>
                  <a:pt x="5718258" y="4046573"/>
                  <a:pt x="5718413" y="4044095"/>
                </a:cubicBezTo>
                <a:lnTo>
                  <a:pt x="5719807" y="4039862"/>
                </a:lnTo>
                <a:lnTo>
                  <a:pt x="5718878" y="4041101"/>
                </a:lnTo>
                <a:cubicBezTo>
                  <a:pt x="5717019" y="4041204"/>
                  <a:pt x="5715470" y="4040791"/>
                  <a:pt x="5714231" y="4039965"/>
                </a:cubicBezTo>
                <a:lnTo>
                  <a:pt x="5713611" y="4039242"/>
                </a:lnTo>
                <a:lnTo>
                  <a:pt x="5713301" y="4039242"/>
                </a:lnTo>
                <a:cubicBezTo>
                  <a:pt x="5712992" y="4039242"/>
                  <a:pt x="5712836" y="4039242"/>
                  <a:pt x="5712992" y="4039655"/>
                </a:cubicBezTo>
                <a:cubicBezTo>
                  <a:pt x="5711907" y="4039345"/>
                  <a:pt x="5710978" y="4038829"/>
                  <a:pt x="5710513" y="4038209"/>
                </a:cubicBezTo>
                <a:cubicBezTo>
                  <a:pt x="5709894" y="4037487"/>
                  <a:pt x="5709584" y="4036661"/>
                  <a:pt x="5709429" y="4035628"/>
                </a:cubicBezTo>
                <a:lnTo>
                  <a:pt x="5712062" y="4033873"/>
                </a:lnTo>
                <a:lnTo>
                  <a:pt x="5712527" y="4029742"/>
                </a:lnTo>
                <a:cubicBezTo>
                  <a:pt x="5713456" y="4028607"/>
                  <a:pt x="5714850" y="4027781"/>
                  <a:pt x="5716864" y="4027884"/>
                </a:cubicBezTo>
                <a:close/>
                <a:moveTo>
                  <a:pt x="5421322" y="4027368"/>
                </a:moveTo>
                <a:cubicBezTo>
                  <a:pt x="5421012" y="4028607"/>
                  <a:pt x="5424420" y="4029433"/>
                  <a:pt x="5425659" y="4029639"/>
                </a:cubicBezTo>
                <a:cubicBezTo>
                  <a:pt x="5425194" y="4030878"/>
                  <a:pt x="5425969" y="4031911"/>
                  <a:pt x="5426743" y="4033047"/>
                </a:cubicBezTo>
                <a:lnTo>
                  <a:pt x="5427363" y="4034596"/>
                </a:lnTo>
                <a:lnTo>
                  <a:pt x="5440684" y="4029227"/>
                </a:lnTo>
                <a:cubicBezTo>
                  <a:pt x="5440994" y="4032324"/>
                  <a:pt x="5443162" y="4033666"/>
                  <a:pt x="5442542" y="4038519"/>
                </a:cubicBezTo>
                <a:cubicBezTo>
                  <a:pt x="5435108" y="4040481"/>
                  <a:pt x="5427982" y="4043269"/>
                  <a:pt x="5421322" y="4045954"/>
                </a:cubicBezTo>
                <a:lnTo>
                  <a:pt x="5410324" y="4049568"/>
                </a:lnTo>
                <a:lnTo>
                  <a:pt x="5411718" y="4052562"/>
                </a:lnTo>
                <a:lnTo>
                  <a:pt x="5412338" y="4058344"/>
                </a:lnTo>
                <a:lnTo>
                  <a:pt x="5417604" y="4063817"/>
                </a:lnTo>
                <a:lnTo>
                  <a:pt x="5412803" y="4063817"/>
                </a:lnTo>
                <a:lnTo>
                  <a:pt x="5412957" y="4064540"/>
                </a:lnTo>
                <a:cubicBezTo>
                  <a:pt x="5412803" y="4067225"/>
                  <a:pt x="5412183" y="4069703"/>
                  <a:pt x="5411408" y="4072284"/>
                </a:cubicBezTo>
                <a:cubicBezTo>
                  <a:pt x="5408001" y="4071974"/>
                  <a:pt x="5406297" y="4069909"/>
                  <a:pt x="5405213" y="4067121"/>
                </a:cubicBezTo>
                <a:lnTo>
                  <a:pt x="5403354" y="4060203"/>
                </a:lnTo>
                <a:lnTo>
                  <a:pt x="5402115" y="4059171"/>
                </a:lnTo>
                <a:lnTo>
                  <a:pt x="5399017" y="4061752"/>
                </a:lnTo>
                <a:cubicBezTo>
                  <a:pt x="5395144" y="4065263"/>
                  <a:pt x="5390807" y="4068567"/>
                  <a:pt x="5387710" y="4064953"/>
                </a:cubicBezTo>
                <a:cubicBezTo>
                  <a:pt x="5387864" y="4061442"/>
                  <a:pt x="5390188" y="4059171"/>
                  <a:pt x="5392976" y="4057105"/>
                </a:cubicBezTo>
                <a:lnTo>
                  <a:pt x="5397003" y="4053904"/>
                </a:lnTo>
                <a:lnTo>
                  <a:pt x="5395454" y="4051633"/>
                </a:lnTo>
                <a:cubicBezTo>
                  <a:pt x="5394680" y="4049877"/>
                  <a:pt x="5394525" y="4048019"/>
                  <a:pt x="5395144" y="4046367"/>
                </a:cubicBezTo>
                <a:cubicBezTo>
                  <a:pt x="5397003" y="4048122"/>
                  <a:pt x="5398862" y="4049465"/>
                  <a:pt x="5400875" y="4050704"/>
                </a:cubicBezTo>
                <a:lnTo>
                  <a:pt x="5401031" y="4050910"/>
                </a:lnTo>
                <a:lnTo>
                  <a:pt x="5401650" y="4050394"/>
                </a:lnTo>
                <a:cubicBezTo>
                  <a:pt x="5402734" y="4047812"/>
                  <a:pt x="5401495" y="4045541"/>
                  <a:pt x="5403044" y="4042960"/>
                </a:cubicBezTo>
                <a:lnTo>
                  <a:pt x="5404128" y="4041824"/>
                </a:lnTo>
                <a:lnTo>
                  <a:pt x="5403974" y="4037590"/>
                </a:lnTo>
                <a:cubicBezTo>
                  <a:pt x="5405677" y="4036764"/>
                  <a:pt x="5408310" y="4039552"/>
                  <a:pt x="5410014" y="4040481"/>
                </a:cubicBezTo>
                <a:cubicBezTo>
                  <a:pt x="5409240" y="4041307"/>
                  <a:pt x="5408310" y="4042133"/>
                  <a:pt x="5409240" y="4042133"/>
                </a:cubicBezTo>
                <a:lnTo>
                  <a:pt x="5407226" y="4043166"/>
                </a:lnTo>
                <a:lnTo>
                  <a:pt x="5408156" y="4045128"/>
                </a:lnTo>
                <a:lnTo>
                  <a:pt x="5409085" y="4044095"/>
                </a:lnTo>
                <a:cubicBezTo>
                  <a:pt x="5411099" y="4042340"/>
                  <a:pt x="5413577" y="4040894"/>
                  <a:pt x="5416055" y="4039552"/>
                </a:cubicBezTo>
                <a:lnTo>
                  <a:pt x="5420547" y="4037487"/>
                </a:lnTo>
                <a:lnTo>
                  <a:pt x="5418534" y="4036558"/>
                </a:lnTo>
                <a:cubicBezTo>
                  <a:pt x="5415126" y="4033976"/>
                  <a:pt x="5415126" y="4030981"/>
                  <a:pt x="5414197" y="4030775"/>
                </a:cubicBezTo>
                <a:cubicBezTo>
                  <a:pt x="5415436" y="4027161"/>
                  <a:pt x="5417604" y="4027781"/>
                  <a:pt x="5421322" y="4027368"/>
                </a:cubicBezTo>
                <a:close/>
                <a:moveTo>
                  <a:pt x="5316767" y="4026748"/>
                </a:moveTo>
                <a:cubicBezTo>
                  <a:pt x="5319865" y="4026851"/>
                  <a:pt x="5321569" y="4026748"/>
                  <a:pt x="5322808" y="4030156"/>
                </a:cubicBezTo>
                <a:cubicBezTo>
                  <a:pt x="5322498" y="4030362"/>
                  <a:pt x="5321724" y="4030259"/>
                  <a:pt x="5320949" y="4030156"/>
                </a:cubicBezTo>
                <a:cubicBezTo>
                  <a:pt x="5320174" y="4030052"/>
                  <a:pt x="5319400" y="4029846"/>
                  <a:pt x="5318781" y="4029639"/>
                </a:cubicBezTo>
                <a:cubicBezTo>
                  <a:pt x="5318006" y="4030156"/>
                  <a:pt x="5316922" y="4029846"/>
                  <a:pt x="5316457" y="4029123"/>
                </a:cubicBezTo>
                <a:cubicBezTo>
                  <a:pt x="5316457" y="4029123"/>
                  <a:pt x="5315218" y="4028813"/>
                  <a:pt x="5314598" y="4029227"/>
                </a:cubicBezTo>
                <a:cubicBezTo>
                  <a:pt x="5312275" y="4028710"/>
                  <a:pt x="5311810" y="4027987"/>
                  <a:pt x="5311345" y="4027265"/>
                </a:cubicBezTo>
                <a:cubicBezTo>
                  <a:pt x="5311345" y="4027265"/>
                  <a:pt x="5312430" y="4027574"/>
                  <a:pt x="5313204" y="4027058"/>
                </a:cubicBezTo>
                <a:cubicBezTo>
                  <a:pt x="5313204" y="4027058"/>
                  <a:pt x="5314288" y="4027368"/>
                  <a:pt x="5315528" y="4027677"/>
                </a:cubicBezTo>
                <a:cubicBezTo>
                  <a:pt x="5315528" y="4027677"/>
                  <a:pt x="5316147" y="4027161"/>
                  <a:pt x="5316767" y="4026748"/>
                </a:cubicBezTo>
                <a:close/>
                <a:moveTo>
                  <a:pt x="5396848" y="4024786"/>
                </a:moveTo>
                <a:cubicBezTo>
                  <a:pt x="5398397" y="4026026"/>
                  <a:pt x="5395764" y="4030878"/>
                  <a:pt x="5393596" y="4029639"/>
                </a:cubicBezTo>
                <a:cubicBezTo>
                  <a:pt x="5392821" y="4029227"/>
                  <a:pt x="5392201" y="4028194"/>
                  <a:pt x="5391737" y="4026129"/>
                </a:cubicBezTo>
                <a:cubicBezTo>
                  <a:pt x="5394680" y="4024373"/>
                  <a:pt x="5396229" y="4024167"/>
                  <a:pt x="5396848" y="4024786"/>
                </a:cubicBezTo>
                <a:close/>
                <a:moveTo>
                  <a:pt x="5722440" y="4024476"/>
                </a:moveTo>
                <a:cubicBezTo>
                  <a:pt x="5723215" y="4026232"/>
                  <a:pt x="5723989" y="4029639"/>
                  <a:pt x="5722285" y="4031188"/>
                </a:cubicBezTo>
                <a:cubicBezTo>
                  <a:pt x="5722285" y="4031188"/>
                  <a:pt x="5722285" y="4031085"/>
                  <a:pt x="5721511" y="4031808"/>
                </a:cubicBezTo>
                <a:cubicBezTo>
                  <a:pt x="5721511" y="4029330"/>
                  <a:pt x="5721666" y="4026026"/>
                  <a:pt x="5722440" y="4024476"/>
                </a:cubicBezTo>
                <a:close/>
                <a:moveTo>
                  <a:pt x="5693010" y="4021482"/>
                </a:moveTo>
                <a:cubicBezTo>
                  <a:pt x="5694714" y="4022618"/>
                  <a:pt x="5695488" y="4023547"/>
                  <a:pt x="5696263" y="4024580"/>
                </a:cubicBezTo>
                <a:cubicBezTo>
                  <a:pt x="5697812" y="4025716"/>
                  <a:pt x="5697812" y="4026542"/>
                  <a:pt x="5696108" y="4028194"/>
                </a:cubicBezTo>
                <a:cubicBezTo>
                  <a:pt x="5694559" y="4027058"/>
                  <a:pt x="5692081" y="4023134"/>
                  <a:pt x="5693010" y="4021482"/>
                </a:cubicBezTo>
                <a:close/>
                <a:moveTo>
                  <a:pt x="5707105" y="4019417"/>
                </a:moveTo>
                <a:cubicBezTo>
                  <a:pt x="5708809" y="4021275"/>
                  <a:pt x="5712062" y="4018798"/>
                  <a:pt x="5714695" y="4021585"/>
                </a:cubicBezTo>
                <a:cubicBezTo>
                  <a:pt x="5714850" y="4023341"/>
                  <a:pt x="5714850" y="4024167"/>
                  <a:pt x="5714076" y="4025819"/>
                </a:cubicBezTo>
                <a:cubicBezTo>
                  <a:pt x="5712372" y="4027368"/>
                  <a:pt x="5710978" y="4028297"/>
                  <a:pt x="5709739" y="4028813"/>
                </a:cubicBezTo>
                <a:lnTo>
                  <a:pt x="5706331" y="4029639"/>
                </a:lnTo>
                <a:lnTo>
                  <a:pt x="5706486" y="4031292"/>
                </a:lnTo>
                <a:cubicBezTo>
                  <a:pt x="5706021" y="4032531"/>
                  <a:pt x="5705092" y="4033357"/>
                  <a:pt x="5704008" y="4033357"/>
                </a:cubicBezTo>
                <a:cubicBezTo>
                  <a:pt x="5703233" y="4033357"/>
                  <a:pt x="5702304" y="4032840"/>
                  <a:pt x="5701684" y="4031808"/>
                </a:cubicBezTo>
                <a:lnTo>
                  <a:pt x="5703233" y="4029742"/>
                </a:lnTo>
                <a:lnTo>
                  <a:pt x="5702458" y="4029742"/>
                </a:lnTo>
                <a:cubicBezTo>
                  <a:pt x="5699825" y="4027058"/>
                  <a:pt x="5701374" y="4025303"/>
                  <a:pt x="5702923" y="4021895"/>
                </a:cubicBezTo>
                <a:cubicBezTo>
                  <a:pt x="5703853" y="4022825"/>
                  <a:pt x="5706331" y="4020243"/>
                  <a:pt x="5707105" y="4019417"/>
                </a:cubicBezTo>
                <a:close/>
                <a:moveTo>
                  <a:pt x="5691616" y="4018384"/>
                </a:moveTo>
                <a:cubicBezTo>
                  <a:pt x="5691926" y="4018488"/>
                  <a:pt x="5692081" y="4018798"/>
                  <a:pt x="5692081" y="4018798"/>
                </a:cubicBezTo>
                <a:cubicBezTo>
                  <a:pt x="5693010" y="4019727"/>
                  <a:pt x="5693784" y="4020759"/>
                  <a:pt x="5692855" y="4021482"/>
                </a:cubicBezTo>
                <a:cubicBezTo>
                  <a:pt x="5692855" y="4021482"/>
                  <a:pt x="5692081" y="4021379"/>
                  <a:pt x="5690377" y="4019417"/>
                </a:cubicBezTo>
                <a:cubicBezTo>
                  <a:pt x="5691151" y="4019520"/>
                  <a:pt x="5691306" y="4018694"/>
                  <a:pt x="5691306" y="4018694"/>
                </a:cubicBezTo>
                <a:cubicBezTo>
                  <a:pt x="5691306" y="4018694"/>
                  <a:pt x="5691306" y="4018694"/>
                  <a:pt x="5690377" y="4018591"/>
                </a:cubicBezTo>
                <a:cubicBezTo>
                  <a:pt x="5690841" y="4018178"/>
                  <a:pt x="5691306" y="4018178"/>
                  <a:pt x="5691616" y="4018384"/>
                </a:cubicBezTo>
                <a:close/>
                <a:moveTo>
                  <a:pt x="5386315" y="4016009"/>
                </a:moveTo>
                <a:cubicBezTo>
                  <a:pt x="5388019" y="4017765"/>
                  <a:pt x="5389878" y="4019624"/>
                  <a:pt x="5388174" y="4021172"/>
                </a:cubicBezTo>
                <a:cubicBezTo>
                  <a:pt x="5386625" y="4020346"/>
                  <a:pt x="5385696" y="4021069"/>
                  <a:pt x="5383992" y="4018488"/>
                </a:cubicBezTo>
                <a:cubicBezTo>
                  <a:pt x="5384766" y="4017662"/>
                  <a:pt x="5385541" y="4016836"/>
                  <a:pt x="5386315" y="4016009"/>
                </a:cubicBezTo>
                <a:close/>
                <a:moveTo>
                  <a:pt x="5728326" y="4014874"/>
                </a:moveTo>
                <a:cubicBezTo>
                  <a:pt x="5734677" y="4021689"/>
                  <a:pt x="5747379" y="4019727"/>
                  <a:pt x="5749702" y="4027677"/>
                </a:cubicBezTo>
                <a:cubicBezTo>
                  <a:pt x="5746139" y="4027161"/>
                  <a:pt x="5741028" y="4027781"/>
                  <a:pt x="5736536" y="4027781"/>
                </a:cubicBezTo>
                <a:cubicBezTo>
                  <a:pt x="5732199" y="4027781"/>
                  <a:pt x="5728326" y="4027161"/>
                  <a:pt x="5726932" y="4024270"/>
                </a:cubicBezTo>
                <a:cubicBezTo>
                  <a:pt x="5726158" y="4022308"/>
                  <a:pt x="5726313" y="4019314"/>
                  <a:pt x="5728326" y="4014874"/>
                </a:cubicBezTo>
                <a:close/>
                <a:moveTo>
                  <a:pt x="5417914" y="4008678"/>
                </a:moveTo>
                <a:cubicBezTo>
                  <a:pt x="5417914" y="4008678"/>
                  <a:pt x="5418069" y="4008782"/>
                  <a:pt x="5418998" y="4010537"/>
                </a:cubicBezTo>
                <a:cubicBezTo>
                  <a:pt x="5418998" y="4011466"/>
                  <a:pt x="5418998" y="4012396"/>
                  <a:pt x="5418224" y="4013222"/>
                </a:cubicBezTo>
                <a:cubicBezTo>
                  <a:pt x="5417295" y="4014048"/>
                  <a:pt x="5415591" y="4013944"/>
                  <a:pt x="5414816" y="4013944"/>
                </a:cubicBezTo>
                <a:cubicBezTo>
                  <a:pt x="5414661" y="4013015"/>
                  <a:pt x="5413887" y="4013015"/>
                  <a:pt x="5413887" y="4012086"/>
                </a:cubicBezTo>
                <a:cubicBezTo>
                  <a:pt x="5412957" y="4010331"/>
                  <a:pt x="5412957" y="4010227"/>
                  <a:pt x="5413732" y="4009401"/>
                </a:cubicBezTo>
                <a:cubicBezTo>
                  <a:pt x="5414507" y="4008575"/>
                  <a:pt x="5417140" y="4009504"/>
                  <a:pt x="5417914" y="4008678"/>
                </a:cubicBezTo>
                <a:close/>
                <a:moveTo>
                  <a:pt x="5410169" y="4007130"/>
                </a:moveTo>
                <a:cubicBezTo>
                  <a:pt x="5410169" y="4007130"/>
                  <a:pt x="5410944" y="4008059"/>
                  <a:pt x="5410944" y="4008059"/>
                </a:cubicBezTo>
                <a:cubicBezTo>
                  <a:pt x="5414197" y="4011157"/>
                  <a:pt x="5415436" y="4016629"/>
                  <a:pt x="5414507" y="4018281"/>
                </a:cubicBezTo>
                <a:cubicBezTo>
                  <a:pt x="5413732" y="4019004"/>
                  <a:pt x="5412338" y="4019417"/>
                  <a:pt x="5410944" y="4019314"/>
                </a:cubicBezTo>
                <a:cubicBezTo>
                  <a:pt x="5409705" y="4019210"/>
                  <a:pt x="5408310" y="4018488"/>
                  <a:pt x="5407071" y="4017042"/>
                </a:cubicBezTo>
                <a:cubicBezTo>
                  <a:pt x="5404748" y="4014874"/>
                  <a:pt x="5404903" y="4011466"/>
                  <a:pt x="5402579" y="4008472"/>
                </a:cubicBezTo>
                <a:cubicBezTo>
                  <a:pt x="5405367" y="4005374"/>
                  <a:pt x="5406142" y="4004651"/>
                  <a:pt x="5410169" y="4007130"/>
                </a:cubicBezTo>
                <a:close/>
                <a:moveTo>
                  <a:pt x="485251" y="4006595"/>
                </a:moveTo>
                <a:cubicBezTo>
                  <a:pt x="490053" y="4012274"/>
                  <a:pt x="484786" y="4020535"/>
                  <a:pt x="477971" y="4019812"/>
                </a:cubicBezTo>
                <a:cubicBezTo>
                  <a:pt x="476887" y="4018367"/>
                  <a:pt x="474254" y="4016818"/>
                  <a:pt x="473169" y="4014133"/>
                </a:cubicBezTo>
                <a:cubicBezTo>
                  <a:pt x="475338" y="4008041"/>
                  <a:pt x="479830" y="4005976"/>
                  <a:pt x="485251" y="4006595"/>
                </a:cubicBezTo>
                <a:close/>
                <a:moveTo>
                  <a:pt x="5395144" y="4005168"/>
                </a:moveTo>
                <a:cubicBezTo>
                  <a:pt x="5398707" y="4010537"/>
                  <a:pt x="5401495" y="4015803"/>
                  <a:pt x="5408465" y="4021379"/>
                </a:cubicBezTo>
                <a:lnTo>
                  <a:pt x="5408310" y="4022102"/>
                </a:lnTo>
                <a:lnTo>
                  <a:pt x="5408775" y="4022825"/>
                </a:lnTo>
                <a:cubicBezTo>
                  <a:pt x="5408930" y="4023754"/>
                  <a:pt x="5408620" y="4024683"/>
                  <a:pt x="5408310" y="4024890"/>
                </a:cubicBezTo>
                <a:lnTo>
                  <a:pt x="5407846" y="4024476"/>
                </a:lnTo>
                <a:lnTo>
                  <a:pt x="5406917" y="4026542"/>
                </a:lnTo>
                <a:cubicBezTo>
                  <a:pt x="5400256" y="4026232"/>
                  <a:pt x="5389413" y="4011776"/>
                  <a:pt x="5395144" y="4005168"/>
                </a:cubicBezTo>
                <a:close/>
                <a:moveTo>
                  <a:pt x="5466126" y="4000663"/>
                </a:moveTo>
                <a:cubicBezTo>
                  <a:pt x="5468255" y="4000340"/>
                  <a:pt x="5470811" y="4001399"/>
                  <a:pt x="5473987" y="4004548"/>
                </a:cubicBezTo>
                <a:cubicBezTo>
                  <a:pt x="5465003" y="4008988"/>
                  <a:pt x="5461130" y="4021792"/>
                  <a:pt x="5452921" y="4021895"/>
                </a:cubicBezTo>
                <a:lnTo>
                  <a:pt x="5456793" y="4013635"/>
                </a:lnTo>
                <a:lnTo>
                  <a:pt x="5455244" y="4012499"/>
                </a:lnTo>
                <a:cubicBezTo>
                  <a:pt x="5454470" y="4011466"/>
                  <a:pt x="5453850" y="4009504"/>
                  <a:pt x="5453540" y="4007336"/>
                </a:cubicBezTo>
                <a:cubicBezTo>
                  <a:pt x="5453231" y="4005168"/>
                  <a:pt x="5453386" y="4002999"/>
                  <a:pt x="5454315" y="4001864"/>
                </a:cubicBezTo>
                <a:cubicBezTo>
                  <a:pt x="5455864" y="4002999"/>
                  <a:pt x="5457413" y="4004032"/>
                  <a:pt x="5458962" y="4005168"/>
                </a:cubicBezTo>
                <a:cubicBezTo>
                  <a:pt x="5458652" y="4005168"/>
                  <a:pt x="5458652" y="4007130"/>
                  <a:pt x="5458807" y="4009195"/>
                </a:cubicBezTo>
                <a:lnTo>
                  <a:pt x="5460820" y="4005064"/>
                </a:lnTo>
                <a:cubicBezTo>
                  <a:pt x="5462292" y="4002689"/>
                  <a:pt x="5463996" y="4000986"/>
                  <a:pt x="5466126" y="4000663"/>
                </a:cubicBezTo>
                <a:close/>
                <a:moveTo>
                  <a:pt x="5732508" y="4000108"/>
                </a:moveTo>
                <a:cubicBezTo>
                  <a:pt x="5733593" y="4000418"/>
                  <a:pt x="5734677" y="4000521"/>
                  <a:pt x="5735451" y="4000625"/>
                </a:cubicBezTo>
                <a:lnTo>
                  <a:pt x="5736536" y="4001037"/>
                </a:lnTo>
                <a:lnTo>
                  <a:pt x="5736536" y="4000831"/>
                </a:lnTo>
                <a:lnTo>
                  <a:pt x="5738859" y="4000934"/>
                </a:lnTo>
                <a:lnTo>
                  <a:pt x="5739634" y="4000728"/>
                </a:lnTo>
                <a:lnTo>
                  <a:pt x="5739944" y="4000934"/>
                </a:lnTo>
                <a:lnTo>
                  <a:pt x="5740718" y="4000934"/>
                </a:lnTo>
                <a:cubicBezTo>
                  <a:pt x="5739789" y="4001760"/>
                  <a:pt x="5740408" y="4003619"/>
                  <a:pt x="5739479" y="4004548"/>
                </a:cubicBezTo>
                <a:cubicBezTo>
                  <a:pt x="5739479" y="4004548"/>
                  <a:pt x="5736846" y="4005374"/>
                  <a:pt x="5736846" y="4005374"/>
                </a:cubicBezTo>
                <a:cubicBezTo>
                  <a:pt x="5736536" y="4004858"/>
                  <a:pt x="5736381" y="4004651"/>
                  <a:pt x="5736381" y="4004548"/>
                </a:cubicBezTo>
                <a:cubicBezTo>
                  <a:pt x="5736381" y="4004341"/>
                  <a:pt x="5736536" y="4004445"/>
                  <a:pt x="5737001" y="4004445"/>
                </a:cubicBezTo>
                <a:lnTo>
                  <a:pt x="5736846" y="4003102"/>
                </a:lnTo>
                <a:lnTo>
                  <a:pt x="5735606" y="4003825"/>
                </a:lnTo>
                <a:cubicBezTo>
                  <a:pt x="5734058" y="4004755"/>
                  <a:pt x="5732508" y="4005374"/>
                  <a:pt x="5730960" y="4005374"/>
                </a:cubicBezTo>
                <a:cubicBezTo>
                  <a:pt x="5730340" y="4005168"/>
                  <a:pt x="5729875" y="4005064"/>
                  <a:pt x="5729411" y="4004651"/>
                </a:cubicBezTo>
                <a:cubicBezTo>
                  <a:pt x="5729101" y="4004238"/>
                  <a:pt x="5728791" y="4003619"/>
                  <a:pt x="5729101" y="4002380"/>
                </a:cubicBezTo>
                <a:cubicBezTo>
                  <a:pt x="5728791" y="4000418"/>
                  <a:pt x="5729411" y="4000005"/>
                  <a:pt x="5732508" y="4000108"/>
                </a:cubicBezTo>
                <a:close/>
                <a:moveTo>
                  <a:pt x="5405058" y="3999179"/>
                </a:moveTo>
                <a:cubicBezTo>
                  <a:pt x="5401495" y="4001037"/>
                  <a:pt x="5400720" y="4004032"/>
                  <a:pt x="5398862" y="4004651"/>
                </a:cubicBezTo>
                <a:cubicBezTo>
                  <a:pt x="5398243" y="4004858"/>
                  <a:pt x="5397468" y="4004755"/>
                  <a:pt x="5396539" y="4004341"/>
                </a:cubicBezTo>
                <a:cubicBezTo>
                  <a:pt x="5396074" y="4000625"/>
                  <a:pt x="5401805" y="3997527"/>
                  <a:pt x="5405058" y="3999179"/>
                </a:cubicBezTo>
                <a:close/>
                <a:moveTo>
                  <a:pt x="5432939" y="3998766"/>
                </a:moveTo>
                <a:cubicBezTo>
                  <a:pt x="5434178" y="3999075"/>
                  <a:pt x="5436966" y="4000418"/>
                  <a:pt x="5436811" y="4001554"/>
                </a:cubicBezTo>
                <a:cubicBezTo>
                  <a:pt x="5436347" y="4003929"/>
                  <a:pt x="5434952" y="4005994"/>
                  <a:pt x="5433714" y="4005684"/>
                </a:cubicBezTo>
                <a:cubicBezTo>
                  <a:pt x="5432010" y="4005271"/>
                  <a:pt x="5430151" y="4004755"/>
                  <a:pt x="5429686" y="4003102"/>
                </a:cubicBezTo>
                <a:cubicBezTo>
                  <a:pt x="5429532" y="4002483"/>
                  <a:pt x="5429532" y="4001864"/>
                  <a:pt x="5429532" y="4000934"/>
                </a:cubicBezTo>
                <a:cubicBezTo>
                  <a:pt x="5429532" y="4000934"/>
                  <a:pt x="5429532" y="4000934"/>
                  <a:pt x="5430306" y="4000521"/>
                </a:cubicBezTo>
                <a:cubicBezTo>
                  <a:pt x="5431545" y="3999592"/>
                  <a:pt x="5432320" y="3999179"/>
                  <a:pt x="5432939" y="3998766"/>
                </a:cubicBezTo>
                <a:close/>
                <a:moveTo>
                  <a:pt x="5757447" y="3996907"/>
                </a:moveTo>
                <a:cubicBezTo>
                  <a:pt x="5757292" y="3998869"/>
                  <a:pt x="5757912" y="4000521"/>
                  <a:pt x="5757757" y="4002483"/>
                </a:cubicBezTo>
                <a:cubicBezTo>
                  <a:pt x="5755588" y="4003619"/>
                  <a:pt x="5754349" y="4006303"/>
                  <a:pt x="5752026" y="4006510"/>
                </a:cubicBezTo>
                <a:cubicBezTo>
                  <a:pt x="5751251" y="4006613"/>
                  <a:pt x="5750322" y="4006407"/>
                  <a:pt x="5749237" y="4005787"/>
                </a:cubicBezTo>
                <a:cubicBezTo>
                  <a:pt x="5747379" y="4001037"/>
                  <a:pt x="5752180" y="3994842"/>
                  <a:pt x="5757447" y="3996907"/>
                </a:cubicBezTo>
                <a:close/>
                <a:moveTo>
                  <a:pt x="5390498" y="3994532"/>
                </a:moveTo>
                <a:cubicBezTo>
                  <a:pt x="5390498" y="3994532"/>
                  <a:pt x="5390498" y="3994532"/>
                  <a:pt x="5391272" y="3994532"/>
                </a:cubicBezTo>
                <a:cubicBezTo>
                  <a:pt x="5390652" y="3998043"/>
                  <a:pt x="5391582" y="4002483"/>
                  <a:pt x="5390033" y="4005064"/>
                </a:cubicBezTo>
                <a:cubicBezTo>
                  <a:pt x="5389568" y="4005477"/>
                  <a:pt x="5389258" y="4005890"/>
                  <a:pt x="5388794" y="4005994"/>
                </a:cubicBezTo>
                <a:cubicBezTo>
                  <a:pt x="5388174" y="4006097"/>
                  <a:pt x="5387554" y="4005787"/>
                  <a:pt x="5386625" y="4004858"/>
                </a:cubicBezTo>
                <a:cubicBezTo>
                  <a:pt x="5384921" y="4003929"/>
                  <a:pt x="5384921" y="4003102"/>
                  <a:pt x="5386470" y="4000521"/>
                </a:cubicBezTo>
                <a:cubicBezTo>
                  <a:pt x="5388019" y="3998869"/>
                  <a:pt x="5388949" y="3997114"/>
                  <a:pt x="5389723" y="3997114"/>
                </a:cubicBezTo>
                <a:cubicBezTo>
                  <a:pt x="5389723" y="3996287"/>
                  <a:pt x="5390498" y="3995358"/>
                  <a:pt x="5390498" y="3994532"/>
                </a:cubicBezTo>
                <a:close/>
                <a:moveTo>
                  <a:pt x="5409395" y="3982968"/>
                </a:moveTo>
                <a:cubicBezTo>
                  <a:pt x="5412338" y="3983380"/>
                  <a:pt x="5411564" y="3986478"/>
                  <a:pt x="5412028" y="3989886"/>
                </a:cubicBezTo>
                <a:cubicBezTo>
                  <a:pt x="5410944" y="3989576"/>
                  <a:pt x="5410479" y="3990712"/>
                  <a:pt x="5410014" y="3991847"/>
                </a:cubicBezTo>
                <a:cubicBezTo>
                  <a:pt x="5408310" y="3991228"/>
                  <a:pt x="5405677" y="3990712"/>
                  <a:pt x="5405213" y="3988543"/>
                </a:cubicBezTo>
                <a:cubicBezTo>
                  <a:pt x="5405058" y="3987717"/>
                  <a:pt x="5405213" y="3986891"/>
                  <a:pt x="5405677" y="3985756"/>
                </a:cubicBezTo>
                <a:cubicBezTo>
                  <a:pt x="5405367" y="3984930"/>
                  <a:pt x="5408310" y="3982658"/>
                  <a:pt x="5409395" y="3982968"/>
                </a:cubicBezTo>
                <a:close/>
                <a:moveTo>
                  <a:pt x="5431235" y="3980386"/>
                </a:moveTo>
                <a:cubicBezTo>
                  <a:pt x="5430461" y="3983174"/>
                  <a:pt x="5429686" y="3984310"/>
                  <a:pt x="5428757" y="3984413"/>
                </a:cubicBezTo>
                <a:cubicBezTo>
                  <a:pt x="5427828" y="3984620"/>
                  <a:pt x="5426433" y="3983794"/>
                  <a:pt x="5424730" y="3982761"/>
                </a:cubicBezTo>
                <a:cubicBezTo>
                  <a:pt x="5426124" y="3979250"/>
                  <a:pt x="5427982" y="3979250"/>
                  <a:pt x="5431235" y="3980386"/>
                </a:cubicBezTo>
                <a:close/>
                <a:moveTo>
                  <a:pt x="480759" y="3955483"/>
                </a:moveTo>
                <a:cubicBezTo>
                  <a:pt x="484786" y="3959201"/>
                  <a:pt x="488659" y="3963021"/>
                  <a:pt x="488659" y="3966738"/>
                </a:cubicBezTo>
                <a:cubicBezTo>
                  <a:pt x="486026" y="3969320"/>
                  <a:pt x="483083" y="3970869"/>
                  <a:pt x="479985" y="3971178"/>
                </a:cubicBezTo>
                <a:cubicBezTo>
                  <a:pt x="476732" y="3971488"/>
                  <a:pt x="473479" y="3970559"/>
                  <a:pt x="470227" y="3968081"/>
                </a:cubicBezTo>
                <a:cubicBezTo>
                  <a:pt x="468832" y="3961782"/>
                  <a:pt x="476732" y="3957962"/>
                  <a:pt x="480759" y="3955483"/>
                </a:cubicBezTo>
                <a:close/>
                <a:moveTo>
                  <a:pt x="5776809" y="3952610"/>
                </a:moveTo>
                <a:lnTo>
                  <a:pt x="5770303" y="3960251"/>
                </a:lnTo>
                <a:lnTo>
                  <a:pt x="5773246" y="3961800"/>
                </a:lnTo>
                <a:cubicBezTo>
                  <a:pt x="5774330" y="3962626"/>
                  <a:pt x="5774950" y="3963762"/>
                  <a:pt x="5775415" y="3965207"/>
                </a:cubicBezTo>
                <a:cubicBezTo>
                  <a:pt x="5774485" y="3966137"/>
                  <a:pt x="5773556" y="3966653"/>
                  <a:pt x="5772317" y="3966860"/>
                </a:cubicBezTo>
                <a:lnTo>
                  <a:pt x="5769219" y="3966756"/>
                </a:lnTo>
                <a:lnTo>
                  <a:pt x="5769683" y="3973055"/>
                </a:lnTo>
                <a:lnTo>
                  <a:pt x="5766586" y="3982451"/>
                </a:lnTo>
                <a:lnTo>
                  <a:pt x="5771697" y="3984310"/>
                </a:lnTo>
                <a:lnTo>
                  <a:pt x="5773401" y="3985033"/>
                </a:lnTo>
                <a:lnTo>
                  <a:pt x="5773401" y="3984000"/>
                </a:lnTo>
                <a:lnTo>
                  <a:pt x="5773711" y="3985136"/>
                </a:lnTo>
                <a:lnTo>
                  <a:pt x="5777584" y="3986581"/>
                </a:lnTo>
                <a:lnTo>
                  <a:pt x="5777428" y="3983897"/>
                </a:lnTo>
                <a:lnTo>
                  <a:pt x="5776344" y="3983691"/>
                </a:lnTo>
                <a:cubicBezTo>
                  <a:pt x="5775725" y="3983277"/>
                  <a:pt x="5775415" y="3982761"/>
                  <a:pt x="5775105" y="3981935"/>
                </a:cubicBezTo>
                <a:cubicBezTo>
                  <a:pt x="5775570" y="3982245"/>
                  <a:pt x="5776499" y="3982348"/>
                  <a:pt x="5777273" y="3982555"/>
                </a:cubicBezTo>
                <a:lnTo>
                  <a:pt x="5777428" y="3982555"/>
                </a:lnTo>
                <a:lnTo>
                  <a:pt x="5776964" y="3976669"/>
                </a:lnTo>
                <a:cubicBezTo>
                  <a:pt x="5776654" y="3973158"/>
                  <a:pt x="5777428" y="3969544"/>
                  <a:pt x="5777893" y="3968718"/>
                </a:cubicBezTo>
                <a:lnTo>
                  <a:pt x="5778203" y="3968718"/>
                </a:lnTo>
                <a:lnTo>
                  <a:pt x="5778203" y="3968512"/>
                </a:lnTo>
                <a:lnTo>
                  <a:pt x="5778203" y="3968408"/>
                </a:lnTo>
                <a:lnTo>
                  <a:pt x="5778048" y="3966550"/>
                </a:lnTo>
                <a:lnTo>
                  <a:pt x="5777584" y="3966550"/>
                </a:lnTo>
                <a:cubicBezTo>
                  <a:pt x="5777119" y="3966446"/>
                  <a:pt x="5776344" y="3966137"/>
                  <a:pt x="5775880" y="3965621"/>
                </a:cubicBezTo>
                <a:cubicBezTo>
                  <a:pt x="5775415" y="3965207"/>
                  <a:pt x="5775105" y="3964691"/>
                  <a:pt x="5775415" y="3964072"/>
                </a:cubicBezTo>
                <a:cubicBezTo>
                  <a:pt x="5776034" y="3963556"/>
                  <a:pt x="5775725" y="3962833"/>
                  <a:pt x="5776499" y="3962420"/>
                </a:cubicBezTo>
                <a:lnTo>
                  <a:pt x="5777273" y="3961387"/>
                </a:lnTo>
                <a:lnTo>
                  <a:pt x="5776964" y="3959012"/>
                </a:lnTo>
                <a:close/>
                <a:moveTo>
                  <a:pt x="547210" y="3940924"/>
                </a:moveTo>
                <a:cubicBezTo>
                  <a:pt x="552321" y="3944022"/>
                  <a:pt x="553561" y="3945468"/>
                  <a:pt x="555574" y="3950734"/>
                </a:cubicBezTo>
                <a:cubicBezTo>
                  <a:pt x="550618" y="3957755"/>
                  <a:pt x="543647" y="3959510"/>
                  <a:pt x="536522" y="3961163"/>
                </a:cubicBezTo>
                <a:cubicBezTo>
                  <a:pt x="521342" y="3951973"/>
                  <a:pt x="539775" y="3946397"/>
                  <a:pt x="547210" y="3940924"/>
                </a:cubicBezTo>
                <a:close/>
                <a:moveTo>
                  <a:pt x="5824052" y="3919981"/>
                </a:moveTo>
                <a:lnTo>
                  <a:pt x="5826530" y="3923286"/>
                </a:lnTo>
                <a:cubicBezTo>
                  <a:pt x="5825446" y="3924111"/>
                  <a:pt x="5824517" y="3924421"/>
                  <a:pt x="5823433" y="3925041"/>
                </a:cubicBezTo>
                <a:lnTo>
                  <a:pt x="5823278" y="3925247"/>
                </a:lnTo>
                <a:lnTo>
                  <a:pt x="5826376" y="3928035"/>
                </a:lnTo>
                <a:cubicBezTo>
                  <a:pt x="5831332" y="3934024"/>
                  <a:pt x="5833501" y="3942285"/>
                  <a:pt x="5829474" y="3948893"/>
                </a:cubicBezTo>
                <a:lnTo>
                  <a:pt x="5824207" y="3953746"/>
                </a:lnTo>
                <a:lnTo>
                  <a:pt x="5825601" y="3955501"/>
                </a:lnTo>
                <a:cubicBezTo>
                  <a:pt x="5825137" y="3959115"/>
                  <a:pt x="5822503" y="3960561"/>
                  <a:pt x="5822658" y="3964381"/>
                </a:cubicBezTo>
                <a:cubicBezTo>
                  <a:pt x="5823433" y="3968408"/>
                  <a:pt x="5826840" y="3962626"/>
                  <a:pt x="5825756" y="3959322"/>
                </a:cubicBezTo>
                <a:cubicBezTo>
                  <a:pt x="5827460" y="3962110"/>
                  <a:pt x="5827615" y="3965001"/>
                  <a:pt x="5827305" y="3967892"/>
                </a:cubicBezTo>
                <a:lnTo>
                  <a:pt x="5826221" y="3970887"/>
                </a:lnTo>
                <a:lnTo>
                  <a:pt x="5828234" y="3970990"/>
                </a:lnTo>
                <a:cubicBezTo>
                  <a:pt x="5831023" y="3972126"/>
                  <a:pt x="5832881" y="3974913"/>
                  <a:pt x="5832262" y="3977908"/>
                </a:cubicBezTo>
                <a:cubicBezTo>
                  <a:pt x="5831952" y="3979973"/>
                  <a:pt x="5830558" y="3982038"/>
                  <a:pt x="5827615" y="3983794"/>
                </a:cubicBezTo>
                <a:cubicBezTo>
                  <a:pt x="5826376" y="3982038"/>
                  <a:pt x="5824982" y="3980902"/>
                  <a:pt x="5823742" y="3980076"/>
                </a:cubicBezTo>
                <a:lnTo>
                  <a:pt x="5823433" y="3979767"/>
                </a:lnTo>
                <a:lnTo>
                  <a:pt x="5822039" y="3984723"/>
                </a:lnTo>
                <a:cubicBezTo>
                  <a:pt x="5821729" y="3987407"/>
                  <a:pt x="5821884" y="3989782"/>
                  <a:pt x="5823433" y="3991744"/>
                </a:cubicBezTo>
                <a:cubicBezTo>
                  <a:pt x="5822503" y="3996701"/>
                  <a:pt x="5820335" y="3989989"/>
                  <a:pt x="5817547" y="3992158"/>
                </a:cubicBezTo>
                <a:cubicBezTo>
                  <a:pt x="5819250" y="3995668"/>
                  <a:pt x="5819870" y="3998146"/>
                  <a:pt x="5820180" y="4000728"/>
                </a:cubicBezTo>
                <a:lnTo>
                  <a:pt x="5822348" y="3999179"/>
                </a:lnTo>
                <a:lnTo>
                  <a:pt x="5823587" y="3999385"/>
                </a:lnTo>
                <a:lnTo>
                  <a:pt x="5824982" y="3991435"/>
                </a:lnTo>
                <a:cubicBezTo>
                  <a:pt x="5826221" y="3992983"/>
                  <a:pt x="5826686" y="3995048"/>
                  <a:pt x="5826686" y="3997320"/>
                </a:cubicBezTo>
                <a:lnTo>
                  <a:pt x="5826530" y="3999695"/>
                </a:lnTo>
                <a:lnTo>
                  <a:pt x="5827460" y="3999902"/>
                </a:lnTo>
                <a:lnTo>
                  <a:pt x="5833191" y="4003516"/>
                </a:lnTo>
                <a:lnTo>
                  <a:pt x="5833656" y="4003516"/>
                </a:lnTo>
                <a:lnTo>
                  <a:pt x="5833656" y="4003825"/>
                </a:lnTo>
                <a:lnTo>
                  <a:pt x="5837993" y="4006613"/>
                </a:lnTo>
                <a:lnTo>
                  <a:pt x="5833656" y="4009711"/>
                </a:lnTo>
                <a:lnTo>
                  <a:pt x="5834431" y="4014048"/>
                </a:lnTo>
                <a:lnTo>
                  <a:pt x="5833966" y="4014048"/>
                </a:lnTo>
                <a:lnTo>
                  <a:pt x="5835205" y="4015700"/>
                </a:lnTo>
                <a:cubicBezTo>
                  <a:pt x="5838613" y="4019520"/>
                  <a:pt x="5841555" y="4023237"/>
                  <a:pt x="5839851" y="4027987"/>
                </a:cubicBezTo>
                <a:cubicBezTo>
                  <a:pt x="5836444" y="4025199"/>
                  <a:pt x="5832727" y="4022928"/>
                  <a:pt x="5829629" y="4019624"/>
                </a:cubicBezTo>
                <a:lnTo>
                  <a:pt x="5826995" y="4016423"/>
                </a:lnTo>
                <a:lnTo>
                  <a:pt x="5827770" y="4019417"/>
                </a:lnTo>
                <a:lnTo>
                  <a:pt x="5824982" y="4014667"/>
                </a:lnTo>
                <a:lnTo>
                  <a:pt x="5824517" y="4014874"/>
                </a:lnTo>
                <a:lnTo>
                  <a:pt x="5824362" y="4020656"/>
                </a:lnTo>
                <a:cubicBezTo>
                  <a:pt x="5824827" y="4023960"/>
                  <a:pt x="5825756" y="4024064"/>
                  <a:pt x="5823433" y="4027058"/>
                </a:cubicBezTo>
                <a:lnTo>
                  <a:pt x="5820335" y="4030981"/>
                </a:lnTo>
                <a:lnTo>
                  <a:pt x="5820335" y="4033357"/>
                </a:lnTo>
                <a:lnTo>
                  <a:pt x="5820490" y="4035112"/>
                </a:lnTo>
                <a:cubicBezTo>
                  <a:pt x="5821419" y="4037797"/>
                  <a:pt x="5823433" y="4037797"/>
                  <a:pt x="5824052" y="4040791"/>
                </a:cubicBezTo>
                <a:cubicBezTo>
                  <a:pt x="5827925" y="4038209"/>
                  <a:pt x="5822658" y="4032221"/>
                  <a:pt x="5823123" y="4028607"/>
                </a:cubicBezTo>
                <a:cubicBezTo>
                  <a:pt x="5825137" y="4031395"/>
                  <a:pt x="5827925" y="4033770"/>
                  <a:pt x="5831023" y="4035422"/>
                </a:cubicBezTo>
                <a:cubicBezTo>
                  <a:pt x="5828699" y="4037797"/>
                  <a:pt x="5826840" y="4040998"/>
                  <a:pt x="5826376" y="4044611"/>
                </a:cubicBezTo>
                <a:cubicBezTo>
                  <a:pt x="5825756" y="4046573"/>
                  <a:pt x="5824982" y="4048742"/>
                  <a:pt x="5824982" y="4050910"/>
                </a:cubicBezTo>
                <a:cubicBezTo>
                  <a:pt x="5824672" y="4051633"/>
                  <a:pt x="5824672" y="4051633"/>
                  <a:pt x="5825137" y="4052459"/>
                </a:cubicBezTo>
                <a:cubicBezTo>
                  <a:pt x="5825137" y="4052459"/>
                  <a:pt x="5825137" y="4052459"/>
                  <a:pt x="5824982" y="4053182"/>
                </a:cubicBezTo>
                <a:cubicBezTo>
                  <a:pt x="5824982" y="4053182"/>
                  <a:pt x="5824672" y="4053904"/>
                  <a:pt x="5824672" y="4053904"/>
                </a:cubicBezTo>
                <a:cubicBezTo>
                  <a:pt x="5824362" y="4054524"/>
                  <a:pt x="5824207" y="4055247"/>
                  <a:pt x="5824827" y="4055454"/>
                </a:cubicBezTo>
                <a:cubicBezTo>
                  <a:pt x="5824982" y="4057002"/>
                  <a:pt x="5828389" y="4055763"/>
                  <a:pt x="5829938" y="4055454"/>
                </a:cubicBezTo>
                <a:cubicBezTo>
                  <a:pt x="5831487" y="4057415"/>
                  <a:pt x="5828544" y="4057312"/>
                  <a:pt x="5826066" y="4058035"/>
                </a:cubicBezTo>
                <a:cubicBezTo>
                  <a:pt x="5829009" y="4060410"/>
                  <a:pt x="5830093" y="4063817"/>
                  <a:pt x="5831332" y="4066399"/>
                </a:cubicBezTo>
                <a:cubicBezTo>
                  <a:pt x="5831642" y="4067328"/>
                  <a:pt x="5831487" y="4068051"/>
                  <a:pt x="5831952" y="4068877"/>
                </a:cubicBezTo>
                <a:cubicBezTo>
                  <a:pt x="5831952" y="4068877"/>
                  <a:pt x="5831952" y="4068877"/>
                  <a:pt x="5832107" y="4070426"/>
                </a:cubicBezTo>
                <a:cubicBezTo>
                  <a:pt x="5832107" y="4070426"/>
                  <a:pt x="5832107" y="4070426"/>
                  <a:pt x="5832727" y="4070632"/>
                </a:cubicBezTo>
                <a:cubicBezTo>
                  <a:pt x="5832727" y="4070632"/>
                  <a:pt x="5832727" y="4070632"/>
                  <a:pt x="5832572" y="4071355"/>
                </a:cubicBezTo>
                <a:cubicBezTo>
                  <a:pt x="5832572" y="4071355"/>
                  <a:pt x="5832417" y="4071355"/>
                  <a:pt x="5833501" y="4079202"/>
                </a:cubicBezTo>
                <a:lnTo>
                  <a:pt x="5833811" y="4080751"/>
                </a:lnTo>
                <a:lnTo>
                  <a:pt x="5835670" y="4082713"/>
                </a:lnTo>
                <a:cubicBezTo>
                  <a:pt x="5836289" y="4083539"/>
                  <a:pt x="5836599" y="4084468"/>
                  <a:pt x="5836599" y="4085398"/>
                </a:cubicBezTo>
                <a:lnTo>
                  <a:pt x="5836289" y="4087050"/>
                </a:lnTo>
                <a:lnTo>
                  <a:pt x="5837219" y="4085191"/>
                </a:lnTo>
                <a:cubicBezTo>
                  <a:pt x="5838767" y="4082610"/>
                  <a:pt x="5840317" y="4080545"/>
                  <a:pt x="5841710" y="4080441"/>
                </a:cubicBezTo>
                <a:cubicBezTo>
                  <a:pt x="5841865" y="4081267"/>
                  <a:pt x="5842175" y="4082094"/>
                  <a:pt x="5841555" y="4083229"/>
                </a:cubicBezTo>
                <a:cubicBezTo>
                  <a:pt x="5841091" y="4084365"/>
                  <a:pt x="5840781" y="4083539"/>
                  <a:pt x="5841091" y="4084365"/>
                </a:cubicBezTo>
                <a:cubicBezTo>
                  <a:pt x="5840626" y="4085501"/>
                  <a:pt x="5841401" y="4085191"/>
                  <a:pt x="5841401" y="4085191"/>
                </a:cubicBezTo>
                <a:cubicBezTo>
                  <a:pt x="5841401" y="4085191"/>
                  <a:pt x="5840626" y="4085501"/>
                  <a:pt x="5840626" y="4085501"/>
                </a:cubicBezTo>
                <a:cubicBezTo>
                  <a:pt x="5840626" y="4085501"/>
                  <a:pt x="5840626" y="4085501"/>
                  <a:pt x="5839542" y="4087773"/>
                </a:cubicBezTo>
                <a:cubicBezTo>
                  <a:pt x="5838613" y="4090870"/>
                  <a:pt x="5838922" y="4091696"/>
                  <a:pt x="5838613" y="4093658"/>
                </a:cubicBezTo>
                <a:lnTo>
                  <a:pt x="5838303" y="4094071"/>
                </a:lnTo>
                <a:lnTo>
                  <a:pt x="5840006" y="4096652"/>
                </a:lnTo>
                <a:lnTo>
                  <a:pt x="5839387" y="4104397"/>
                </a:lnTo>
                <a:lnTo>
                  <a:pt x="5841555" y="4098718"/>
                </a:lnTo>
                <a:lnTo>
                  <a:pt x="5842794" y="4097272"/>
                </a:lnTo>
                <a:lnTo>
                  <a:pt x="5841246" y="4096343"/>
                </a:lnTo>
                <a:cubicBezTo>
                  <a:pt x="5840781" y="4093658"/>
                  <a:pt x="5840471" y="4090870"/>
                  <a:pt x="5843414" y="4087669"/>
                </a:cubicBezTo>
                <a:cubicBezTo>
                  <a:pt x="5845118" y="4087360"/>
                  <a:pt x="5846667" y="4087566"/>
                  <a:pt x="5847906" y="4088185"/>
                </a:cubicBezTo>
                <a:lnTo>
                  <a:pt x="5849145" y="4089322"/>
                </a:lnTo>
                <a:lnTo>
                  <a:pt x="5850384" y="4088185"/>
                </a:lnTo>
                <a:lnTo>
                  <a:pt x="5849300" y="4081784"/>
                </a:lnTo>
                <a:cubicBezTo>
                  <a:pt x="5849300" y="4079512"/>
                  <a:pt x="5848526" y="4077757"/>
                  <a:pt x="5848216" y="4076208"/>
                </a:cubicBezTo>
                <a:cubicBezTo>
                  <a:pt x="5848216" y="4076208"/>
                  <a:pt x="5848216" y="4076208"/>
                  <a:pt x="5847287" y="4068361"/>
                </a:cubicBezTo>
                <a:cubicBezTo>
                  <a:pt x="5847287" y="4068361"/>
                  <a:pt x="5847287" y="4068361"/>
                  <a:pt x="5847596" y="4067638"/>
                </a:cubicBezTo>
                <a:cubicBezTo>
                  <a:pt x="5847596" y="4067638"/>
                  <a:pt x="5847442" y="4067638"/>
                  <a:pt x="5846822" y="4067431"/>
                </a:cubicBezTo>
                <a:cubicBezTo>
                  <a:pt x="5846822" y="4067431"/>
                  <a:pt x="5846822" y="4067534"/>
                  <a:pt x="5846667" y="4065882"/>
                </a:cubicBezTo>
                <a:cubicBezTo>
                  <a:pt x="5846667" y="4063714"/>
                  <a:pt x="5846512" y="4062062"/>
                  <a:pt x="5846512" y="4059894"/>
                </a:cubicBezTo>
                <a:cubicBezTo>
                  <a:pt x="5846357" y="4058344"/>
                  <a:pt x="5847132" y="4056279"/>
                  <a:pt x="5846977" y="4054731"/>
                </a:cubicBezTo>
                <a:cubicBezTo>
                  <a:pt x="5847442" y="4053285"/>
                  <a:pt x="5847596" y="4052666"/>
                  <a:pt x="5847132" y="4051736"/>
                </a:cubicBezTo>
                <a:cubicBezTo>
                  <a:pt x="5847442" y="4051013"/>
                  <a:pt x="5847596" y="4050394"/>
                  <a:pt x="5847596" y="4050394"/>
                </a:cubicBezTo>
                <a:cubicBezTo>
                  <a:pt x="5847906" y="4049671"/>
                  <a:pt x="5847906" y="4049774"/>
                  <a:pt x="5848371" y="4048329"/>
                </a:cubicBezTo>
                <a:cubicBezTo>
                  <a:pt x="5847752" y="4045954"/>
                  <a:pt x="5846822" y="4046367"/>
                  <a:pt x="5846357" y="4047709"/>
                </a:cubicBezTo>
                <a:cubicBezTo>
                  <a:pt x="5846048" y="4048432"/>
                  <a:pt x="5846048" y="4048432"/>
                  <a:pt x="5845893" y="4049051"/>
                </a:cubicBezTo>
                <a:cubicBezTo>
                  <a:pt x="5845583" y="4049774"/>
                  <a:pt x="5845583" y="4049774"/>
                  <a:pt x="5845428" y="4050394"/>
                </a:cubicBezTo>
                <a:cubicBezTo>
                  <a:pt x="5845428" y="4050394"/>
                  <a:pt x="5845273" y="4051117"/>
                  <a:pt x="5845893" y="4051323"/>
                </a:cubicBezTo>
                <a:cubicBezTo>
                  <a:pt x="5844498" y="4050910"/>
                  <a:pt x="5844498" y="4050910"/>
                  <a:pt x="5844189" y="4050084"/>
                </a:cubicBezTo>
                <a:cubicBezTo>
                  <a:pt x="5843724" y="4049155"/>
                  <a:pt x="5843414" y="4047606"/>
                  <a:pt x="5843260" y="4046057"/>
                </a:cubicBezTo>
                <a:cubicBezTo>
                  <a:pt x="5843879" y="4042443"/>
                  <a:pt x="5844034" y="4039448"/>
                  <a:pt x="5845583" y="4039242"/>
                </a:cubicBezTo>
                <a:cubicBezTo>
                  <a:pt x="5841555" y="4031911"/>
                  <a:pt x="5840781" y="4025716"/>
                  <a:pt x="5840781" y="4019624"/>
                </a:cubicBezTo>
                <a:cubicBezTo>
                  <a:pt x="5840317" y="4016526"/>
                  <a:pt x="5840781" y="4012912"/>
                  <a:pt x="5840471" y="4009814"/>
                </a:cubicBezTo>
                <a:cubicBezTo>
                  <a:pt x="5840006" y="4008885"/>
                  <a:pt x="5840317" y="4008265"/>
                  <a:pt x="5839851" y="4007336"/>
                </a:cubicBezTo>
                <a:cubicBezTo>
                  <a:pt x="5840162" y="4006613"/>
                  <a:pt x="5839697" y="4005787"/>
                  <a:pt x="5839232" y="4004858"/>
                </a:cubicBezTo>
                <a:lnTo>
                  <a:pt x="5836599" y="4005271"/>
                </a:lnTo>
                <a:lnTo>
                  <a:pt x="5838458" y="4001554"/>
                </a:lnTo>
                <a:lnTo>
                  <a:pt x="5837993" y="4000005"/>
                </a:lnTo>
                <a:cubicBezTo>
                  <a:pt x="5842950" y="3998456"/>
                  <a:pt x="5842485" y="3993087"/>
                  <a:pt x="5841865" y="3988337"/>
                </a:cubicBezTo>
                <a:cubicBezTo>
                  <a:pt x="5841401" y="3983691"/>
                  <a:pt x="5840781" y="3979044"/>
                  <a:pt x="5844344" y="3979354"/>
                </a:cubicBezTo>
                <a:cubicBezTo>
                  <a:pt x="5845583" y="3971403"/>
                  <a:pt x="5837838" y="3981109"/>
                  <a:pt x="5838613" y="3976772"/>
                </a:cubicBezTo>
                <a:cubicBezTo>
                  <a:pt x="5838303" y="3974501"/>
                  <a:pt x="5838148" y="3968925"/>
                  <a:pt x="5837838" y="3963246"/>
                </a:cubicBezTo>
                <a:lnTo>
                  <a:pt x="5837528" y="3957567"/>
                </a:lnTo>
                <a:lnTo>
                  <a:pt x="5832262" y="3950648"/>
                </a:lnTo>
                <a:lnTo>
                  <a:pt x="5833501" y="3948790"/>
                </a:lnTo>
                <a:lnTo>
                  <a:pt x="5831487" y="3948996"/>
                </a:lnTo>
                <a:cubicBezTo>
                  <a:pt x="5831023" y="3942078"/>
                  <a:pt x="5833501" y="3949616"/>
                  <a:pt x="5835824" y="3945072"/>
                </a:cubicBezTo>
                <a:cubicBezTo>
                  <a:pt x="5834431" y="3944660"/>
                  <a:pt x="5834275" y="3943110"/>
                  <a:pt x="5834120" y="3941562"/>
                </a:cubicBezTo>
                <a:cubicBezTo>
                  <a:pt x="5833811" y="3940013"/>
                  <a:pt x="5834275" y="3938567"/>
                  <a:pt x="5834740" y="3937225"/>
                </a:cubicBezTo>
                <a:cubicBezTo>
                  <a:pt x="5835979" y="3933818"/>
                  <a:pt x="5836289" y="3930927"/>
                  <a:pt x="5831952" y="3928861"/>
                </a:cubicBezTo>
                <a:cubicBezTo>
                  <a:pt x="5833036" y="3925454"/>
                  <a:pt x="5834585" y="3925144"/>
                  <a:pt x="5836134" y="3927106"/>
                </a:cubicBezTo>
                <a:lnTo>
                  <a:pt x="5834120" y="3921943"/>
                </a:lnTo>
                <a:lnTo>
                  <a:pt x="5825756" y="3920601"/>
                </a:lnTo>
                <a:close/>
                <a:moveTo>
                  <a:pt x="641075" y="3900621"/>
                </a:moveTo>
                <a:lnTo>
                  <a:pt x="641697" y="3901481"/>
                </a:lnTo>
                <a:cubicBezTo>
                  <a:pt x="642935" y="3903133"/>
                  <a:pt x="644020" y="3904269"/>
                  <a:pt x="644639" y="3905817"/>
                </a:cubicBezTo>
                <a:cubicBezTo>
                  <a:pt x="644639" y="3905817"/>
                  <a:pt x="644639" y="3905817"/>
                  <a:pt x="645724" y="3906953"/>
                </a:cubicBezTo>
                <a:cubicBezTo>
                  <a:pt x="645724" y="3906953"/>
                  <a:pt x="645724" y="3906953"/>
                  <a:pt x="645724" y="3907573"/>
                </a:cubicBezTo>
                <a:cubicBezTo>
                  <a:pt x="646343" y="3907573"/>
                  <a:pt x="646343" y="3908089"/>
                  <a:pt x="646343" y="3908089"/>
                </a:cubicBezTo>
                <a:cubicBezTo>
                  <a:pt x="646343" y="3908089"/>
                  <a:pt x="646343" y="3908089"/>
                  <a:pt x="646963" y="3909121"/>
                </a:cubicBezTo>
                <a:cubicBezTo>
                  <a:pt x="649131" y="3911290"/>
                  <a:pt x="652075" y="3914491"/>
                  <a:pt x="654863" y="3917176"/>
                </a:cubicBezTo>
                <a:cubicBezTo>
                  <a:pt x="657806" y="3916143"/>
                  <a:pt x="666789" y="3916143"/>
                  <a:pt x="664621" y="3912839"/>
                </a:cubicBezTo>
                <a:cubicBezTo>
                  <a:pt x="665086" y="3913458"/>
                  <a:pt x="665086" y="3913975"/>
                  <a:pt x="665706" y="3914491"/>
                </a:cubicBezTo>
                <a:cubicBezTo>
                  <a:pt x="665706" y="3914491"/>
                  <a:pt x="665706" y="3914491"/>
                  <a:pt x="668029" y="3918828"/>
                </a:cubicBezTo>
                <a:cubicBezTo>
                  <a:pt x="668029" y="3918828"/>
                  <a:pt x="668029" y="3918828"/>
                  <a:pt x="668029" y="3919447"/>
                </a:cubicBezTo>
                <a:cubicBezTo>
                  <a:pt x="668029" y="3919447"/>
                  <a:pt x="668029" y="3919344"/>
                  <a:pt x="668493" y="3919964"/>
                </a:cubicBezTo>
                <a:cubicBezTo>
                  <a:pt x="669113" y="3919964"/>
                  <a:pt x="669113" y="3920480"/>
                  <a:pt x="669733" y="3920996"/>
                </a:cubicBezTo>
                <a:cubicBezTo>
                  <a:pt x="671436" y="3922648"/>
                  <a:pt x="672521" y="3924300"/>
                  <a:pt x="674225" y="3925333"/>
                </a:cubicBezTo>
                <a:cubicBezTo>
                  <a:pt x="675619" y="3926469"/>
                  <a:pt x="677013" y="3926985"/>
                  <a:pt x="677943" y="3926675"/>
                </a:cubicBezTo>
                <a:cubicBezTo>
                  <a:pt x="679027" y="3926262"/>
                  <a:pt x="679646" y="3925023"/>
                  <a:pt x="679956" y="3922648"/>
                </a:cubicBezTo>
                <a:cubicBezTo>
                  <a:pt x="679956" y="3920480"/>
                  <a:pt x="675929" y="3918311"/>
                  <a:pt x="676548" y="3919447"/>
                </a:cubicBezTo>
                <a:cubicBezTo>
                  <a:pt x="676548" y="3918828"/>
                  <a:pt x="675929" y="3917795"/>
                  <a:pt x="675464" y="3916659"/>
                </a:cubicBezTo>
                <a:cubicBezTo>
                  <a:pt x="675464" y="3916143"/>
                  <a:pt x="674844" y="3915627"/>
                  <a:pt x="674844" y="3915110"/>
                </a:cubicBezTo>
                <a:cubicBezTo>
                  <a:pt x="674844" y="3915110"/>
                  <a:pt x="674844" y="3915110"/>
                  <a:pt x="674225" y="3915110"/>
                </a:cubicBezTo>
                <a:cubicBezTo>
                  <a:pt x="674225" y="3915110"/>
                  <a:pt x="674225" y="3915007"/>
                  <a:pt x="672056" y="3911290"/>
                </a:cubicBezTo>
                <a:cubicBezTo>
                  <a:pt x="672056" y="3911290"/>
                  <a:pt x="672056" y="3911290"/>
                  <a:pt x="672056" y="3910774"/>
                </a:cubicBezTo>
                <a:cubicBezTo>
                  <a:pt x="672056" y="3910774"/>
                  <a:pt x="672056" y="3910774"/>
                  <a:pt x="672521" y="3910774"/>
                </a:cubicBezTo>
                <a:cubicBezTo>
                  <a:pt x="672521" y="3910774"/>
                  <a:pt x="672521" y="3910671"/>
                  <a:pt x="672521" y="3910154"/>
                </a:cubicBezTo>
                <a:cubicBezTo>
                  <a:pt x="672056" y="3908502"/>
                  <a:pt x="671436" y="3907470"/>
                  <a:pt x="670817" y="3906437"/>
                </a:cubicBezTo>
                <a:lnTo>
                  <a:pt x="662995" y="3900621"/>
                </a:lnTo>
                <a:close/>
                <a:moveTo>
                  <a:pt x="5830254" y="3894951"/>
                </a:moveTo>
                <a:lnTo>
                  <a:pt x="5825601" y="3900171"/>
                </a:lnTo>
                <a:lnTo>
                  <a:pt x="5825601" y="3900363"/>
                </a:lnTo>
                <a:lnTo>
                  <a:pt x="5828854" y="3899227"/>
                </a:lnTo>
                <a:lnTo>
                  <a:pt x="5829783" y="3899640"/>
                </a:lnTo>
                <a:lnTo>
                  <a:pt x="5830248" y="3895200"/>
                </a:lnTo>
                <a:close/>
                <a:moveTo>
                  <a:pt x="422008" y="3879710"/>
                </a:moveTo>
                <a:cubicBezTo>
                  <a:pt x="427275" y="3881724"/>
                  <a:pt x="433160" y="3883117"/>
                  <a:pt x="438839" y="3885131"/>
                </a:cubicBezTo>
                <a:cubicBezTo>
                  <a:pt x="444518" y="3886990"/>
                  <a:pt x="449991" y="3889313"/>
                  <a:pt x="454637" y="3893031"/>
                </a:cubicBezTo>
                <a:cubicBezTo>
                  <a:pt x="444002" y="3898143"/>
                  <a:pt x="421802" y="3895819"/>
                  <a:pt x="422008" y="3879710"/>
                </a:cubicBezTo>
                <a:close/>
                <a:moveTo>
                  <a:pt x="496094" y="3875047"/>
                </a:moveTo>
                <a:cubicBezTo>
                  <a:pt x="499966" y="3875563"/>
                  <a:pt x="507401" y="3880210"/>
                  <a:pt x="508021" y="3886715"/>
                </a:cubicBezTo>
                <a:cubicBezTo>
                  <a:pt x="504923" y="3889606"/>
                  <a:pt x="502135" y="3890639"/>
                  <a:pt x="499502" y="3890019"/>
                </a:cubicBezTo>
                <a:cubicBezTo>
                  <a:pt x="496869" y="3889400"/>
                  <a:pt x="494545" y="3887128"/>
                  <a:pt x="492222" y="3883617"/>
                </a:cubicBezTo>
                <a:cubicBezTo>
                  <a:pt x="493926" y="3881242"/>
                  <a:pt x="494235" y="3878764"/>
                  <a:pt x="496094" y="3875047"/>
                </a:cubicBezTo>
                <a:close/>
                <a:moveTo>
                  <a:pt x="573387" y="3863895"/>
                </a:moveTo>
                <a:lnTo>
                  <a:pt x="574936" y="3869678"/>
                </a:lnTo>
                <a:cubicBezTo>
                  <a:pt x="576175" y="3872362"/>
                  <a:pt x="577260" y="3875667"/>
                  <a:pt x="578963" y="3877835"/>
                </a:cubicBezTo>
                <a:cubicBezTo>
                  <a:pt x="580667" y="3887541"/>
                  <a:pt x="582991" y="3894046"/>
                  <a:pt x="585779" y="3900448"/>
                </a:cubicBezTo>
                <a:cubicBezTo>
                  <a:pt x="587792" y="3904269"/>
                  <a:pt x="590116" y="3908089"/>
                  <a:pt x="592749" y="3912219"/>
                </a:cubicBezTo>
                <a:lnTo>
                  <a:pt x="600495" y="3924197"/>
                </a:lnTo>
                <a:lnTo>
                  <a:pt x="600959" y="3923681"/>
                </a:lnTo>
                <a:lnTo>
                  <a:pt x="604521" y="3922338"/>
                </a:lnTo>
                <a:lnTo>
                  <a:pt x="602508" y="3921512"/>
                </a:lnTo>
                <a:cubicBezTo>
                  <a:pt x="601268" y="3919757"/>
                  <a:pt x="603437" y="3916349"/>
                  <a:pt x="602973" y="3913458"/>
                </a:cubicBezTo>
                <a:cubicBezTo>
                  <a:pt x="601734" y="3912426"/>
                  <a:pt x="600649" y="3911290"/>
                  <a:pt x="600185" y="3909638"/>
                </a:cubicBezTo>
                <a:cubicBezTo>
                  <a:pt x="598945" y="3912942"/>
                  <a:pt x="601734" y="3918311"/>
                  <a:pt x="598945" y="3920480"/>
                </a:cubicBezTo>
                <a:cubicBezTo>
                  <a:pt x="597241" y="3916143"/>
                  <a:pt x="599565" y="3913975"/>
                  <a:pt x="595538" y="3908089"/>
                </a:cubicBezTo>
                <a:cubicBezTo>
                  <a:pt x="598945" y="3904785"/>
                  <a:pt x="602352" y="3907470"/>
                  <a:pt x="597861" y="3899932"/>
                </a:cubicBezTo>
                <a:cubicBezTo>
                  <a:pt x="600185" y="3903133"/>
                  <a:pt x="603592" y="3902100"/>
                  <a:pt x="605296" y="3906953"/>
                </a:cubicBezTo>
                <a:cubicBezTo>
                  <a:pt x="607000" y="3906437"/>
                  <a:pt x="607000" y="3903752"/>
                  <a:pt x="606380" y="3900964"/>
                </a:cubicBezTo>
                <a:lnTo>
                  <a:pt x="606257" y="3900621"/>
                </a:lnTo>
                <a:lnTo>
                  <a:pt x="602397" y="3900621"/>
                </a:lnTo>
                <a:lnTo>
                  <a:pt x="602397" y="3900466"/>
                </a:lnTo>
                <a:cubicBezTo>
                  <a:pt x="601674" y="3899381"/>
                  <a:pt x="600642" y="3898143"/>
                  <a:pt x="599506" y="3897058"/>
                </a:cubicBezTo>
                <a:cubicBezTo>
                  <a:pt x="597337" y="3894115"/>
                  <a:pt x="594136" y="3892411"/>
                  <a:pt x="591142" y="3889933"/>
                </a:cubicBezTo>
                <a:cubicBezTo>
                  <a:pt x="588767" y="3887610"/>
                  <a:pt x="585669" y="3885906"/>
                  <a:pt x="583295" y="3883582"/>
                </a:cubicBezTo>
                <a:cubicBezTo>
                  <a:pt x="586495" y="3883272"/>
                  <a:pt x="588974" y="3884821"/>
                  <a:pt x="591555" y="3886370"/>
                </a:cubicBezTo>
                <a:cubicBezTo>
                  <a:pt x="594033" y="3887919"/>
                  <a:pt x="597028" y="3890398"/>
                  <a:pt x="599713" y="3891327"/>
                </a:cubicBezTo>
                <a:cubicBezTo>
                  <a:pt x="599609" y="3889158"/>
                  <a:pt x="598473" y="3885751"/>
                  <a:pt x="595892" y="3884202"/>
                </a:cubicBezTo>
                <a:cubicBezTo>
                  <a:pt x="594240" y="3882188"/>
                  <a:pt x="591555" y="3881259"/>
                  <a:pt x="589180" y="3884047"/>
                </a:cubicBezTo>
                <a:cubicBezTo>
                  <a:pt x="587218" y="3878316"/>
                  <a:pt x="584430" y="3877386"/>
                  <a:pt x="579888" y="3872894"/>
                </a:cubicBezTo>
                <a:cubicBezTo>
                  <a:pt x="578545" y="3867473"/>
                  <a:pt x="586805" y="3879710"/>
                  <a:pt x="589180" y="3876922"/>
                </a:cubicBezTo>
                <a:lnTo>
                  <a:pt x="585818" y="3869948"/>
                </a:lnTo>
                <a:lnTo>
                  <a:pt x="576950" y="3865444"/>
                </a:lnTo>
                <a:close/>
                <a:moveTo>
                  <a:pt x="439665" y="3858024"/>
                </a:moveTo>
                <a:cubicBezTo>
                  <a:pt x="440801" y="3857714"/>
                  <a:pt x="440904" y="3857714"/>
                  <a:pt x="443073" y="3858644"/>
                </a:cubicBezTo>
                <a:cubicBezTo>
                  <a:pt x="441937" y="3859109"/>
                  <a:pt x="441937" y="3859109"/>
                  <a:pt x="442247" y="3860038"/>
                </a:cubicBezTo>
                <a:cubicBezTo>
                  <a:pt x="442247" y="3860038"/>
                  <a:pt x="442247" y="3860038"/>
                  <a:pt x="442969" y="3860348"/>
                </a:cubicBezTo>
                <a:cubicBezTo>
                  <a:pt x="442557" y="3861122"/>
                  <a:pt x="441833" y="3860813"/>
                  <a:pt x="441421" y="3861587"/>
                </a:cubicBezTo>
                <a:cubicBezTo>
                  <a:pt x="441421" y="3861587"/>
                  <a:pt x="440698" y="3861122"/>
                  <a:pt x="440698" y="3861122"/>
                </a:cubicBezTo>
                <a:cubicBezTo>
                  <a:pt x="440491" y="3861587"/>
                  <a:pt x="440491" y="3861587"/>
                  <a:pt x="440388" y="3861277"/>
                </a:cubicBezTo>
                <a:cubicBezTo>
                  <a:pt x="440285" y="3861122"/>
                  <a:pt x="440182" y="3860503"/>
                  <a:pt x="439665" y="3859728"/>
                </a:cubicBezTo>
                <a:cubicBezTo>
                  <a:pt x="439459" y="3859264"/>
                  <a:pt x="439252" y="3858954"/>
                  <a:pt x="439149" y="3858644"/>
                </a:cubicBezTo>
                <a:cubicBezTo>
                  <a:pt x="439046" y="3858489"/>
                  <a:pt x="439149" y="3858179"/>
                  <a:pt x="439665" y="3858024"/>
                </a:cubicBezTo>
                <a:close/>
                <a:moveTo>
                  <a:pt x="565858" y="3841886"/>
                </a:moveTo>
                <a:lnTo>
                  <a:pt x="564713" y="3844277"/>
                </a:lnTo>
                <a:cubicBezTo>
                  <a:pt x="567036" y="3846755"/>
                  <a:pt x="568585" y="3849439"/>
                  <a:pt x="569824" y="3852227"/>
                </a:cubicBezTo>
                <a:lnTo>
                  <a:pt x="572303" y="3860075"/>
                </a:lnTo>
                <a:lnTo>
                  <a:pt x="573852" y="3859559"/>
                </a:lnTo>
                <a:lnTo>
                  <a:pt x="577993" y="3859033"/>
                </a:lnTo>
                <a:lnTo>
                  <a:pt x="575241" y="3856166"/>
                </a:lnTo>
                <a:cubicBezTo>
                  <a:pt x="572556" y="3852448"/>
                  <a:pt x="569871" y="3849195"/>
                  <a:pt x="571007" y="3850435"/>
                </a:cubicBezTo>
                <a:close/>
                <a:moveTo>
                  <a:pt x="316481" y="3805824"/>
                </a:moveTo>
                <a:cubicBezTo>
                  <a:pt x="316274" y="3816357"/>
                  <a:pt x="321333" y="3825806"/>
                  <a:pt x="317926" y="3830453"/>
                </a:cubicBezTo>
                <a:cubicBezTo>
                  <a:pt x="316790" y="3832002"/>
                  <a:pt x="314725" y="3833086"/>
                  <a:pt x="311215" y="3833551"/>
                </a:cubicBezTo>
                <a:cubicBezTo>
                  <a:pt x="309459" y="3830453"/>
                  <a:pt x="306981" y="3822553"/>
                  <a:pt x="306878" y="3815892"/>
                </a:cubicBezTo>
                <a:cubicBezTo>
                  <a:pt x="306671" y="3809077"/>
                  <a:pt x="308840" y="3803656"/>
                  <a:pt x="316481" y="3805824"/>
                </a:cubicBezTo>
                <a:close/>
                <a:moveTo>
                  <a:pt x="378951" y="3801023"/>
                </a:moveTo>
                <a:cubicBezTo>
                  <a:pt x="381842" y="3799474"/>
                  <a:pt x="384527" y="3799783"/>
                  <a:pt x="385972" y="3802417"/>
                </a:cubicBezTo>
                <a:lnTo>
                  <a:pt x="385146" y="3804275"/>
                </a:lnTo>
                <a:lnTo>
                  <a:pt x="391032" y="3802571"/>
                </a:lnTo>
                <a:cubicBezTo>
                  <a:pt x="397124" y="3802107"/>
                  <a:pt x="403525" y="3802726"/>
                  <a:pt x="409824" y="3804895"/>
                </a:cubicBezTo>
                <a:cubicBezTo>
                  <a:pt x="432850" y="3828129"/>
                  <a:pt x="425106" y="3847491"/>
                  <a:pt x="435948" y="3869951"/>
                </a:cubicBezTo>
                <a:cubicBezTo>
                  <a:pt x="414677" y="3874134"/>
                  <a:pt x="391961" y="3879710"/>
                  <a:pt x="374407" y="3870416"/>
                </a:cubicBezTo>
                <a:cubicBezTo>
                  <a:pt x="368522" y="3867318"/>
                  <a:pt x="363256" y="3862516"/>
                  <a:pt x="358816" y="3855391"/>
                </a:cubicBezTo>
                <a:cubicBezTo>
                  <a:pt x="355924" y="3850435"/>
                  <a:pt x="354376" y="3845478"/>
                  <a:pt x="353860" y="3840831"/>
                </a:cubicBezTo>
                <a:cubicBezTo>
                  <a:pt x="352517" y="3826580"/>
                  <a:pt x="361190" y="3814034"/>
                  <a:pt x="373994" y="3807528"/>
                </a:cubicBezTo>
                <a:lnTo>
                  <a:pt x="379054" y="3805979"/>
                </a:lnTo>
                <a:lnTo>
                  <a:pt x="378125" y="3804430"/>
                </a:lnTo>
                <a:cubicBezTo>
                  <a:pt x="377402" y="3802262"/>
                  <a:pt x="378951" y="3801023"/>
                  <a:pt x="378951" y="3801023"/>
                </a:cubicBezTo>
                <a:close/>
                <a:moveTo>
                  <a:pt x="460936" y="3800558"/>
                </a:moveTo>
                <a:cubicBezTo>
                  <a:pt x="461968" y="3802107"/>
                  <a:pt x="464653" y="3802262"/>
                  <a:pt x="465273" y="3804585"/>
                </a:cubicBezTo>
                <a:cubicBezTo>
                  <a:pt x="465273" y="3804585"/>
                  <a:pt x="465686" y="3805669"/>
                  <a:pt x="464756" y="3807218"/>
                </a:cubicBezTo>
                <a:cubicBezTo>
                  <a:pt x="464963" y="3810161"/>
                  <a:pt x="461453" y="3811400"/>
                  <a:pt x="461453" y="3811400"/>
                </a:cubicBezTo>
                <a:cubicBezTo>
                  <a:pt x="461453" y="3811400"/>
                  <a:pt x="461453" y="3811400"/>
                  <a:pt x="462175" y="3811710"/>
                </a:cubicBezTo>
                <a:cubicBezTo>
                  <a:pt x="460626" y="3811091"/>
                  <a:pt x="458767" y="3811091"/>
                  <a:pt x="457219" y="3810471"/>
                </a:cubicBezTo>
                <a:cubicBezTo>
                  <a:pt x="456393" y="3808612"/>
                  <a:pt x="455877" y="3807218"/>
                  <a:pt x="455773" y="3805979"/>
                </a:cubicBezTo>
                <a:cubicBezTo>
                  <a:pt x="455360" y="3802726"/>
                  <a:pt x="457942" y="3802107"/>
                  <a:pt x="460936" y="3800558"/>
                </a:cubicBezTo>
                <a:close/>
                <a:moveTo>
                  <a:pt x="345805" y="3792503"/>
                </a:moveTo>
                <a:cubicBezTo>
                  <a:pt x="349832" y="3799628"/>
                  <a:pt x="347870" y="3803966"/>
                  <a:pt x="342295" y="3808302"/>
                </a:cubicBezTo>
                <a:cubicBezTo>
                  <a:pt x="338990" y="3806754"/>
                  <a:pt x="335893" y="3802417"/>
                  <a:pt x="335480" y="3798389"/>
                </a:cubicBezTo>
                <a:cubicBezTo>
                  <a:pt x="335273" y="3797150"/>
                  <a:pt x="335376" y="3795756"/>
                  <a:pt x="335790" y="3794672"/>
                </a:cubicBezTo>
                <a:cubicBezTo>
                  <a:pt x="340746" y="3791884"/>
                  <a:pt x="343017" y="3794672"/>
                  <a:pt x="345805" y="3792503"/>
                </a:cubicBezTo>
                <a:close/>
                <a:moveTo>
                  <a:pt x="481897" y="3790489"/>
                </a:moveTo>
                <a:cubicBezTo>
                  <a:pt x="483239" y="3793123"/>
                  <a:pt x="485201" y="3792968"/>
                  <a:pt x="487060" y="3795136"/>
                </a:cubicBezTo>
                <a:lnTo>
                  <a:pt x="488918" y="3798389"/>
                </a:lnTo>
                <a:lnTo>
                  <a:pt x="495011" y="3797305"/>
                </a:lnTo>
                <a:lnTo>
                  <a:pt x="494081" y="3795446"/>
                </a:lnTo>
                <a:cubicBezTo>
                  <a:pt x="498212" y="3791574"/>
                  <a:pt x="503168" y="3791574"/>
                  <a:pt x="506265" y="3793742"/>
                </a:cubicBezTo>
                <a:cubicBezTo>
                  <a:pt x="509466" y="3795911"/>
                  <a:pt x="510809" y="3800248"/>
                  <a:pt x="507815" y="3805205"/>
                </a:cubicBezTo>
                <a:lnTo>
                  <a:pt x="504510" y="3804275"/>
                </a:lnTo>
                <a:lnTo>
                  <a:pt x="507608" y="3812175"/>
                </a:lnTo>
                <a:cubicBezTo>
                  <a:pt x="506059" y="3820385"/>
                  <a:pt x="498521" y="3824722"/>
                  <a:pt x="491294" y="3823328"/>
                </a:cubicBezTo>
                <a:cubicBezTo>
                  <a:pt x="488918" y="3822708"/>
                  <a:pt x="486440" y="3821779"/>
                  <a:pt x="484375" y="3819920"/>
                </a:cubicBezTo>
                <a:lnTo>
                  <a:pt x="480142" y="3812640"/>
                </a:lnTo>
                <a:lnTo>
                  <a:pt x="473740" y="3812020"/>
                </a:lnTo>
                <a:cubicBezTo>
                  <a:pt x="472294" y="3811245"/>
                  <a:pt x="471055" y="3810006"/>
                  <a:pt x="470126" y="3807838"/>
                </a:cubicBezTo>
                <a:cubicBezTo>
                  <a:pt x="469610" y="3806754"/>
                  <a:pt x="469093" y="3805514"/>
                  <a:pt x="468887" y="3804121"/>
                </a:cubicBezTo>
                <a:cubicBezTo>
                  <a:pt x="468370" y="3800248"/>
                  <a:pt x="469713" y="3796221"/>
                  <a:pt x="476321" y="3793588"/>
                </a:cubicBezTo>
                <a:cubicBezTo>
                  <a:pt x="477870" y="3792348"/>
                  <a:pt x="477457" y="3793123"/>
                  <a:pt x="478696" y="3792813"/>
                </a:cubicBezTo>
                <a:cubicBezTo>
                  <a:pt x="479832" y="3792348"/>
                  <a:pt x="481484" y="3791109"/>
                  <a:pt x="481897" y="3790489"/>
                </a:cubicBezTo>
                <a:close/>
                <a:moveTo>
                  <a:pt x="481843" y="3771481"/>
                </a:moveTo>
                <a:cubicBezTo>
                  <a:pt x="484631" y="3771791"/>
                  <a:pt x="487110" y="3773340"/>
                  <a:pt x="489278" y="3777470"/>
                </a:cubicBezTo>
                <a:cubicBezTo>
                  <a:pt x="487575" y="3780464"/>
                  <a:pt x="485871" y="3781600"/>
                  <a:pt x="483857" y="3781703"/>
                </a:cubicBezTo>
                <a:cubicBezTo>
                  <a:pt x="481998" y="3781807"/>
                  <a:pt x="479985" y="3780980"/>
                  <a:pt x="478126" y="3780051"/>
                </a:cubicBezTo>
                <a:cubicBezTo>
                  <a:pt x="481224" y="3776541"/>
                  <a:pt x="476267" y="3773443"/>
                  <a:pt x="481843" y="3771481"/>
                </a:cubicBezTo>
                <a:close/>
                <a:moveTo>
                  <a:pt x="409140" y="3768262"/>
                </a:moveTo>
                <a:cubicBezTo>
                  <a:pt x="413619" y="3766868"/>
                  <a:pt x="417930" y="3767565"/>
                  <a:pt x="418911" y="3771592"/>
                </a:cubicBezTo>
                <a:cubicBezTo>
                  <a:pt x="419221" y="3772677"/>
                  <a:pt x="419221" y="3774070"/>
                  <a:pt x="418911" y="3775774"/>
                </a:cubicBezTo>
                <a:cubicBezTo>
                  <a:pt x="413231" y="3778563"/>
                  <a:pt x="404145" y="3785068"/>
                  <a:pt x="398363" y="3777478"/>
                </a:cubicBezTo>
                <a:cubicBezTo>
                  <a:pt x="400015" y="3773141"/>
                  <a:pt x="404661" y="3769656"/>
                  <a:pt x="409140" y="3768262"/>
                </a:cubicBezTo>
                <a:close/>
                <a:moveTo>
                  <a:pt x="505956" y="3745724"/>
                </a:moveTo>
                <a:cubicBezTo>
                  <a:pt x="510705" y="3764157"/>
                  <a:pt x="472294" y="3770973"/>
                  <a:pt x="460317" y="3768804"/>
                </a:cubicBezTo>
                <a:cubicBezTo>
                  <a:pt x="471675" y="3759975"/>
                  <a:pt x="491087" y="3745879"/>
                  <a:pt x="505956" y="3745724"/>
                </a:cubicBezTo>
                <a:close/>
                <a:moveTo>
                  <a:pt x="378022" y="3740303"/>
                </a:moveTo>
                <a:cubicBezTo>
                  <a:pt x="379157" y="3739993"/>
                  <a:pt x="380396" y="3739529"/>
                  <a:pt x="379983" y="3740303"/>
                </a:cubicBezTo>
                <a:cubicBezTo>
                  <a:pt x="380706" y="3740613"/>
                  <a:pt x="380293" y="3741388"/>
                  <a:pt x="380602" y="3742472"/>
                </a:cubicBezTo>
                <a:cubicBezTo>
                  <a:pt x="380499" y="3744331"/>
                  <a:pt x="379157" y="3746654"/>
                  <a:pt x="378022" y="3746964"/>
                </a:cubicBezTo>
                <a:cubicBezTo>
                  <a:pt x="376886" y="3747428"/>
                  <a:pt x="376059" y="3746964"/>
                  <a:pt x="376059" y="3746964"/>
                </a:cubicBezTo>
                <a:cubicBezTo>
                  <a:pt x="375337" y="3745724"/>
                  <a:pt x="375027" y="3744331"/>
                  <a:pt x="375233" y="3743246"/>
                </a:cubicBezTo>
                <a:cubicBezTo>
                  <a:pt x="375440" y="3742007"/>
                  <a:pt x="376266" y="3740923"/>
                  <a:pt x="378022" y="3740303"/>
                </a:cubicBezTo>
                <a:close/>
                <a:moveTo>
                  <a:pt x="369864" y="3739529"/>
                </a:moveTo>
                <a:cubicBezTo>
                  <a:pt x="370174" y="3740613"/>
                  <a:pt x="370070" y="3742472"/>
                  <a:pt x="368935" y="3742936"/>
                </a:cubicBezTo>
                <a:cubicBezTo>
                  <a:pt x="368109" y="3743401"/>
                  <a:pt x="367799" y="3743246"/>
                  <a:pt x="367489" y="3742781"/>
                </a:cubicBezTo>
                <a:cubicBezTo>
                  <a:pt x="367076" y="3742317"/>
                  <a:pt x="366870" y="3741388"/>
                  <a:pt x="366250" y="3740768"/>
                </a:cubicBezTo>
                <a:close/>
                <a:moveTo>
                  <a:pt x="357473" y="3739529"/>
                </a:moveTo>
                <a:cubicBezTo>
                  <a:pt x="361087" y="3738289"/>
                  <a:pt x="363772" y="3738444"/>
                  <a:pt x="365114" y="3741077"/>
                </a:cubicBezTo>
                <a:cubicBezTo>
                  <a:pt x="365734" y="3743246"/>
                  <a:pt x="366663" y="3746654"/>
                  <a:pt x="363875" y="3748203"/>
                </a:cubicBezTo>
                <a:cubicBezTo>
                  <a:pt x="363152" y="3747893"/>
                  <a:pt x="362739" y="3748667"/>
                  <a:pt x="361913" y="3748358"/>
                </a:cubicBezTo>
                <a:cubicBezTo>
                  <a:pt x="361913" y="3748358"/>
                  <a:pt x="360984" y="3748358"/>
                  <a:pt x="359848" y="3747893"/>
                </a:cubicBezTo>
                <a:cubicBezTo>
                  <a:pt x="358609" y="3747428"/>
                  <a:pt x="357267" y="3746654"/>
                  <a:pt x="356441" y="3744795"/>
                </a:cubicBezTo>
                <a:cubicBezTo>
                  <a:pt x="356234" y="3744176"/>
                  <a:pt x="356131" y="3743246"/>
                  <a:pt x="356131" y="3742317"/>
                </a:cubicBezTo>
                <a:cubicBezTo>
                  <a:pt x="356131" y="3741542"/>
                  <a:pt x="356337" y="3740768"/>
                  <a:pt x="356647" y="3740923"/>
                </a:cubicBezTo>
                <a:cubicBezTo>
                  <a:pt x="357886" y="3740613"/>
                  <a:pt x="357060" y="3740303"/>
                  <a:pt x="357473" y="3739529"/>
                </a:cubicBezTo>
                <a:close/>
                <a:moveTo>
                  <a:pt x="10223" y="3736741"/>
                </a:moveTo>
                <a:cubicBezTo>
                  <a:pt x="15179" y="3735656"/>
                  <a:pt x="20032" y="3736431"/>
                  <a:pt x="24782" y="3738444"/>
                </a:cubicBezTo>
                <a:cubicBezTo>
                  <a:pt x="29531" y="3740613"/>
                  <a:pt x="34178" y="3744021"/>
                  <a:pt x="38928" y="3748203"/>
                </a:cubicBezTo>
                <a:cubicBezTo>
                  <a:pt x="32216" y="3755328"/>
                  <a:pt x="25814" y="3757342"/>
                  <a:pt x="19413" y="3755793"/>
                </a:cubicBezTo>
                <a:cubicBezTo>
                  <a:pt x="16212" y="3755018"/>
                  <a:pt x="13011" y="3753469"/>
                  <a:pt x="9810" y="3750991"/>
                </a:cubicBezTo>
                <a:lnTo>
                  <a:pt x="0" y="3741697"/>
                </a:lnTo>
                <a:close/>
                <a:moveTo>
                  <a:pt x="86426" y="3731474"/>
                </a:moveTo>
                <a:cubicBezTo>
                  <a:pt x="87975" y="3731319"/>
                  <a:pt x="89523" y="3731474"/>
                  <a:pt x="91176" y="3732094"/>
                </a:cubicBezTo>
                <a:cubicBezTo>
                  <a:pt x="96132" y="3734262"/>
                  <a:pt x="101811" y="3740923"/>
                  <a:pt x="107284" y="3754554"/>
                </a:cubicBezTo>
                <a:cubicBezTo>
                  <a:pt x="93344" y="3762299"/>
                  <a:pt x="84774" y="3761988"/>
                  <a:pt x="80230" y="3758271"/>
                </a:cubicBezTo>
                <a:cubicBezTo>
                  <a:pt x="78062" y="3756567"/>
                  <a:pt x="76720" y="3754089"/>
                  <a:pt x="76100" y="3751455"/>
                </a:cubicBezTo>
                <a:cubicBezTo>
                  <a:pt x="75687" y="3749287"/>
                  <a:pt x="75687" y="3747119"/>
                  <a:pt x="75997" y="3744950"/>
                </a:cubicBezTo>
                <a:cubicBezTo>
                  <a:pt x="76926" y="3738444"/>
                  <a:pt x="80953" y="3732094"/>
                  <a:pt x="86426" y="3731474"/>
                </a:cubicBezTo>
                <a:close/>
                <a:moveTo>
                  <a:pt x="432128" y="3711338"/>
                </a:moveTo>
                <a:cubicBezTo>
                  <a:pt x="440285" y="3719237"/>
                  <a:pt x="437600" y="3727602"/>
                  <a:pt x="430372" y="3733643"/>
                </a:cubicBezTo>
                <a:cubicBezTo>
                  <a:pt x="418291" y="3743866"/>
                  <a:pt x="394026" y="3747893"/>
                  <a:pt x="388450" y="3733178"/>
                </a:cubicBezTo>
                <a:cubicBezTo>
                  <a:pt x="397950" y="3722180"/>
                  <a:pt x="410960" y="3712577"/>
                  <a:pt x="432128" y="3711338"/>
                </a:cubicBezTo>
                <a:close/>
                <a:moveTo>
                  <a:pt x="457219" y="3704832"/>
                </a:moveTo>
                <a:cubicBezTo>
                  <a:pt x="457219" y="3704832"/>
                  <a:pt x="457219" y="3704832"/>
                  <a:pt x="457632" y="3705452"/>
                </a:cubicBezTo>
                <a:cubicBezTo>
                  <a:pt x="458561" y="3706845"/>
                  <a:pt x="458974" y="3707620"/>
                  <a:pt x="459387" y="3708240"/>
                </a:cubicBezTo>
                <a:cubicBezTo>
                  <a:pt x="459078" y="3709324"/>
                  <a:pt x="457735" y="3712267"/>
                  <a:pt x="456496" y="3711957"/>
                </a:cubicBezTo>
                <a:cubicBezTo>
                  <a:pt x="454121" y="3711647"/>
                  <a:pt x="452159" y="3710099"/>
                  <a:pt x="452366" y="3709014"/>
                </a:cubicBezTo>
                <a:cubicBezTo>
                  <a:pt x="452882" y="3707310"/>
                  <a:pt x="453295" y="3705452"/>
                  <a:pt x="454947" y="3704987"/>
                </a:cubicBezTo>
                <a:cubicBezTo>
                  <a:pt x="455566" y="3704677"/>
                  <a:pt x="456289" y="3704677"/>
                  <a:pt x="457219" y="3704832"/>
                </a:cubicBezTo>
                <a:close/>
                <a:moveTo>
                  <a:pt x="373478" y="3697862"/>
                </a:moveTo>
                <a:cubicBezTo>
                  <a:pt x="374201" y="3698171"/>
                  <a:pt x="375337" y="3697707"/>
                  <a:pt x="376059" y="3698017"/>
                </a:cubicBezTo>
                <a:cubicBezTo>
                  <a:pt x="375647" y="3698946"/>
                  <a:pt x="375440" y="3700805"/>
                  <a:pt x="374717" y="3700495"/>
                </a:cubicBezTo>
                <a:cubicBezTo>
                  <a:pt x="374304" y="3701269"/>
                  <a:pt x="372755" y="3700650"/>
                  <a:pt x="372755" y="3700650"/>
                </a:cubicBezTo>
                <a:cubicBezTo>
                  <a:pt x="372342" y="3701424"/>
                  <a:pt x="371929" y="3702198"/>
                  <a:pt x="370690" y="3702663"/>
                </a:cubicBezTo>
                <a:cubicBezTo>
                  <a:pt x="370484" y="3701424"/>
                  <a:pt x="369967" y="3702354"/>
                  <a:pt x="369245" y="3701889"/>
                </a:cubicBezTo>
                <a:cubicBezTo>
                  <a:pt x="370380" y="3701579"/>
                  <a:pt x="371826" y="3699101"/>
                  <a:pt x="373478" y="3697862"/>
                </a:cubicBezTo>
                <a:close/>
                <a:moveTo>
                  <a:pt x="357886" y="3696467"/>
                </a:moveTo>
                <a:cubicBezTo>
                  <a:pt x="362326" y="3693834"/>
                  <a:pt x="365011" y="3693989"/>
                  <a:pt x="365940" y="3697397"/>
                </a:cubicBezTo>
                <a:cubicBezTo>
                  <a:pt x="365527" y="3698171"/>
                  <a:pt x="363462" y="3700185"/>
                  <a:pt x="364185" y="3700495"/>
                </a:cubicBezTo>
                <a:cubicBezTo>
                  <a:pt x="361500" y="3701424"/>
                  <a:pt x="358402" y="3702198"/>
                  <a:pt x="356441" y="3701424"/>
                </a:cubicBezTo>
                <a:cubicBezTo>
                  <a:pt x="355821" y="3701114"/>
                  <a:pt x="355305" y="3700650"/>
                  <a:pt x="354995" y="3700030"/>
                </a:cubicBezTo>
                <a:cubicBezTo>
                  <a:pt x="353963" y="3698636"/>
                  <a:pt x="355511" y="3697397"/>
                  <a:pt x="357886" y="3696467"/>
                </a:cubicBezTo>
                <a:close/>
                <a:moveTo>
                  <a:pt x="374201" y="3689807"/>
                </a:moveTo>
                <a:cubicBezTo>
                  <a:pt x="375440" y="3689497"/>
                  <a:pt x="376266" y="3689807"/>
                  <a:pt x="376576" y="3690891"/>
                </a:cubicBezTo>
                <a:cubicBezTo>
                  <a:pt x="376576" y="3690891"/>
                  <a:pt x="374923" y="3692131"/>
                  <a:pt x="374923" y="3692131"/>
                </a:cubicBezTo>
                <a:cubicBezTo>
                  <a:pt x="372446" y="3692905"/>
                  <a:pt x="371310" y="3693215"/>
                  <a:pt x="369657" y="3694454"/>
                </a:cubicBezTo>
                <a:cubicBezTo>
                  <a:pt x="369038" y="3693679"/>
                  <a:pt x="368831" y="3693215"/>
                  <a:pt x="369038" y="3692750"/>
                </a:cubicBezTo>
                <a:cubicBezTo>
                  <a:pt x="369141" y="3692285"/>
                  <a:pt x="369554" y="3691976"/>
                  <a:pt x="370174" y="3691821"/>
                </a:cubicBezTo>
                <a:cubicBezTo>
                  <a:pt x="370174" y="3691821"/>
                  <a:pt x="371413" y="3691356"/>
                  <a:pt x="372652" y="3691046"/>
                </a:cubicBezTo>
                <a:cubicBezTo>
                  <a:pt x="373788" y="3690581"/>
                  <a:pt x="374201" y="3689807"/>
                  <a:pt x="374201" y="3689807"/>
                </a:cubicBezTo>
                <a:close/>
                <a:moveTo>
                  <a:pt x="344463" y="3671374"/>
                </a:moveTo>
                <a:cubicBezTo>
                  <a:pt x="346012" y="3671994"/>
                  <a:pt x="348490" y="3669361"/>
                  <a:pt x="349213" y="3671529"/>
                </a:cubicBezTo>
                <a:cubicBezTo>
                  <a:pt x="347974" y="3671994"/>
                  <a:pt x="346012" y="3671994"/>
                  <a:pt x="344773" y="3672459"/>
                </a:cubicBezTo>
                <a:cubicBezTo>
                  <a:pt x="344773" y="3672459"/>
                  <a:pt x="344773" y="3672459"/>
                  <a:pt x="344463" y="3671374"/>
                </a:cubicBezTo>
                <a:close/>
                <a:moveTo>
                  <a:pt x="373026" y="3670948"/>
                </a:moveTo>
                <a:cubicBezTo>
                  <a:pt x="374872" y="3670987"/>
                  <a:pt x="376576" y="3671297"/>
                  <a:pt x="376782" y="3671839"/>
                </a:cubicBezTo>
                <a:cubicBezTo>
                  <a:pt x="374717" y="3672923"/>
                  <a:pt x="371103" y="3674937"/>
                  <a:pt x="368831" y="3674937"/>
                </a:cubicBezTo>
                <a:cubicBezTo>
                  <a:pt x="368005" y="3674782"/>
                  <a:pt x="367489" y="3674472"/>
                  <a:pt x="367076" y="3673853"/>
                </a:cubicBezTo>
                <a:cubicBezTo>
                  <a:pt x="366766" y="3672768"/>
                  <a:pt x="368005" y="3672459"/>
                  <a:pt x="368418" y="3671684"/>
                </a:cubicBezTo>
                <a:cubicBezTo>
                  <a:pt x="369193" y="3671142"/>
                  <a:pt x="371181" y="3670910"/>
                  <a:pt x="373026" y="3670948"/>
                </a:cubicBezTo>
                <a:close/>
                <a:moveTo>
                  <a:pt x="411683" y="3670445"/>
                </a:moveTo>
                <a:cubicBezTo>
                  <a:pt x="404661" y="3678035"/>
                  <a:pt x="403835" y="3685470"/>
                  <a:pt x="394232" y="3692750"/>
                </a:cubicBezTo>
                <a:cubicBezTo>
                  <a:pt x="393819" y="3691821"/>
                  <a:pt x="393613" y="3690891"/>
                  <a:pt x="393613" y="3689652"/>
                </a:cubicBezTo>
                <a:cubicBezTo>
                  <a:pt x="393613" y="3688413"/>
                  <a:pt x="393923" y="3687174"/>
                  <a:pt x="394232" y="3685780"/>
                </a:cubicBezTo>
                <a:cubicBezTo>
                  <a:pt x="396607" y="3677880"/>
                  <a:pt x="404971" y="3668276"/>
                  <a:pt x="411683" y="3670445"/>
                </a:cubicBezTo>
                <a:close/>
                <a:moveTo>
                  <a:pt x="325877" y="3670290"/>
                </a:moveTo>
                <a:cubicBezTo>
                  <a:pt x="326703" y="3670600"/>
                  <a:pt x="327116" y="3669825"/>
                  <a:pt x="327426" y="3671064"/>
                </a:cubicBezTo>
                <a:cubicBezTo>
                  <a:pt x="330317" y="3669361"/>
                  <a:pt x="338474" y="3670290"/>
                  <a:pt x="341056" y="3672459"/>
                </a:cubicBezTo>
                <a:cubicBezTo>
                  <a:pt x="331762" y="3676951"/>
                  <a:pt x="329388" y="3670909"/>
                  <a:pt x="324121" y="3673388"/>
                </a:cubicBezTo>
                <a:cubicBezTo>
                  <a:pt x="324225" y="3671529"/>
                  <a:pt x="324225" y="3671529"/>
                  <a:pt x="325877" y="3670290"/>
                </a:cubicBezTo>
                <a:close/>
                <a:moveTo>
                  <a:pt x="288189" y="3669206"/>
                </a:moveTo>
                <a:cubicBezTo>
                  <a:pt x="288498" y="3670290"/>
                  <a:pt x="295726" y="3667812"/>
                  <a:pt x="297894" y="3670755"/>
                </a:cubicBezTo>
                <a:cubicBezTo>
                  <a:pt x="299030" y="3672304"/>
                  <a:pt x="299340" y="3673388"/>
                  <a:pt x="300373" y="3674937"/>
                </a:cubicBezTo>
                <a:cubicBezTo>
                  <a:pt x="299133" y="3677106"/>
                  <a:pt x="300063" y="3680513"/>
                  <a:pt x="294487" y="3683611"/>
                </a:cubicBezTo>
                <a:cubicBezTo>
                  <a:pt x="288085" y="3686399"/>
                  <a:pt x="285710" y="3680358"/>
                  <a:pt x="285194" y="3681133"/>
                </a:cubicBezTo>
                <a:cubicBezTo>
                  <a:pt x="284058" y="3681597"/>
                  <a:pt x="284058" y="3681597"/>
                  <a:pt x="283645" y="3682372"/>
                </a:cubicBezTo>
                <a:cubicBezTo>
                  <a:pt x="282819" y="3682062"/>
                  <a:pt x="280857" y="3682062"/>
                  <a:pt x="279721" y="3682527"/>
                </a:cubicBezTo>
                <a:cubicBezTo>
                  <a:pt x="280134" y="3681753"/>
                  <a:pt x="280548" y="3680978"/>
                  <a:pt x="279721" y="3680668"/>
                </a:cubicBezTo>
                <a:cubicBezTo>
                  <a:pt x="282096" y="3679739"/>
                  <a:pt x="282922" y="3680049"/>
                  <a:pt x="284161" y="3679739"/>
                </a:cubicBezTo>
                <a:cubicBezTo>
                  <a:pt x="283335" y="3679274"/>
                  <a:pt x="284574" y="3678964"/>
                  <a:pt x="284574" y="3678964"/>
                </a:cubicBezTo>
                <a:cubicBezTo>
                  <a:pt x="284574" y="3678964"/>
                  <a:pt x="284574" y="3678964"/>
                  <a:pt x="283852" y="3676796"/>
                </a:cubicBezTo>
                <a:cubicBezTo>
                  <a:pt x="283852" y="3676796"/>
                  <a:pt x="283025" y="3671529"/>
                  <a:pt x="288189" y="3669206"/>
                </a:cubicBezTo>
                <a:close/>
                <a:moveTo>
                  <a:pt x="443279" y="3668896"/>
                </a:moveTo>
                <a:lnTo>
                  <a:pt x="441421" y="3671064"/>
                </a:lnTo>
                <a:lnTo>
                  <a:pt x="446893" y="3668896"/>
                </a:lnTo>
                <a:cubicBezTo>
                  <a:pt x="449165" y="3668586"/>
                  <a:pt x="451333" y="3668896"/>
                  <a:pt x="452985" y="3670290"/>
                </a:cubicBezTo>
                <a:cubicBezTo>
                  <a:pt x="447616" y="3674008"/>
                  <a:pt x="442247" y="3676641"/>
                  <a:pt x="436774" y="3683766"/>
                </a:cubicBezTo>
                <a:cubicBezTo>
                  <a:pt x="435122" y="3682062"/>
                  <a:pt x="433263" y="3684695"/>
                  <a:pt x="431611" y="3682217"/>
                </a:cubicBezTo>
                <a:lnTo>
                  <a:pt x="432025" y="3681287"/>
                </a:lnTo>
                <a:lnTo>
                  <a:pt x="428204" y="3685315"/>
                </a:lnTo>
                <a:cubicBezTo>
                  <a:pt x="422421" y="3690272"/>
                  <a:pt x="415607" y="3694299"/>
                  <a:pt x="406107" y="3696158"/>
                </a:cubicBezTo>
                <a:cubicBezTo>
                  <a:pt x="405384" y="3676331"/>
                  <a:pt x="430269" y="3669361"/>
                  <a:pt x="443279" y="3668896"/>
                </a:cubicBezTo>
                <a:close/>
                <a:moveTo>
                  <a:pt x="329904" y="3664559"/>
                </a:moveTo>
                <a:cubicBezTo>
                  <a:pt x="335066" y="3664094"/>
                  <a:pt x="340746" y="3667657"/>
                  <a:pt x="341468" y="3667966"/>
                </a:cubicBezTo>
                <a:cubicBezTo>
                  <a:pt x="341056" y="3668741"/>
                  <a:pt x="341056" y="3668741"/>
                  <a:pt x="341056" y="3668741"/>
                </a:cubicBezTo>
                <a:cubicBezTo>
                  <a:pt x="339093" y="3667192"/>
                  <a:pt x="335273" y="3667812"/>
                  <a:pt x="332176" y="3666882"/>
                </a:cubicBezTo>
                <a:cubicBezTo>
                  <a:pt x="331246" y="3666573"/>
                  <a:pt x="330214" y="3666108"/>
                  <a:pt x="329491" y="3665178"/>
                </a:cubicBezTo>
                <a:cubicBezTo>
                  <a:pt x="329491" y="3665178"/>
                  <a:pt x="329491" y="3665333"/>
                  <a:pt x="330317" y="3665643"/>
                </a:cubicBezTo>
                <a:cubicBezTo>
                  <a:pt x="330317" y="3665643"/>
                  <a:pt x="329491" y="3665333"/>
                  <a:pt x="329904" y="3664559"/>
                </a:cubicBezTo>
                <a:close/>
                <a:moveTo>
                  <a:pt x="439665" y="3659292"/>
                </a:moveTo>
                <a:cubicBezTo>
                  <a:pt x="440491" y="3660067"/>
                  <a:pt x="441214" y="3660842"/>
                  <a:pt x="442040" y="3661616"/>
                </a:cubicBezTo>
                <a:cubicBezTo>
                  <a:pt x="440285" y="3663319"/>
                  <a:pt x="438530" y="3665023"/>
                  <a:pt x="436981" y="3663475"/>
                </a:cubicBezTo>
                <a:cubicBezTo>
                  <a:pt x="437807" y="3661771"/>
                  <a:pt x="437084" y="3660996"/>
                  <a:pt x="439665" y="3659292"/>
                </a:cubicBezTo>
                <a:close/>
                <a:moveTo>
                  <a:pt x="388966" y="3656349"/>
                </a:moveTo>
                <a:cubicBezTo>
                  <a:pt x="388966" y="3658053"/>
                  <a:pt x="386282" y="3660531"/>
                  <a:pt x="384423" y="3662235"/>
                </a:cubicBezTo>
                <a:cubicBezTo>
                  <a:pt x="381738" y="3662390"/>
                  <a:pt x="379157" y="3660842"/>
                  <a:pt x="377608" y="3658518"/>
                </a:cubicBezTo>
                <a:cubicBezTo>
                  <a:pt x="381222" y="3655110"/>
                  <a:pt x="384733" y="3654955"/>
                  <a:pt x="388966" y="3656349"/>
                </a:cubicBezTo>
                <a:close/>
                <a:moveTo>
                  <a:pt x="261961" y="3648140"/>
                </a:moveTo>
                <a:cubicBezTo>
                  <a:pt x="264543" y="3647210"/>
                  <a:pt x="266918" y="3647830"/>
                  <a:pt x="268983" y="3649379"/>
                </a:cubicBezTo>
                <a:cubicBezTo>
                  <a:pt x="275281" y="3653716"/>
                  <a:pt x="279102" y="3666108"/>
                  <a:pt x="280031" y="3670909"/>
                </a:cubicBezTo>
                <a:cubicBezTo>
                  <a:pt x="278069" y="3671529"/>
                  <a:pt x="275591" y="3671064"/>
                  <a:pt x="273010" y="3669980"/>
                </a:cubicBezTo>
                <a:cubicBezTo>
                  <a:pt x="265369" y="3666727"/>
                  <a:pt x="256798" y="3657434"/>
                  <a:pt x="257418" y="3651238"/>
                </a:cubicBezTo>
                <a:cubicBezTo>
                  <a:pt x="258967" y="3649689"/>
                  <a:pt x="260516" y="3648605"/>
                  <a:pt x="261961" y="3648140"/>
                </a:cubicBezTo>
                <a:close/>
                <a:moveTo>
                  <a:pt x="230287" y="3646087"/>
                </a:moveTo>
                <a:cubicBezTo>
                  <a:pt x="232301" y="3646165"/>
                  <a:pt x="234289" y="3647443"/>
                  <a:pt x="234702" y="3649069"/>
                </a:cubicBezTo>
                <a:cubicBezTo>
                  <a:pt x="233050" y="3653097"/>
                  <a:pt x="227370" y="3653252"/>
                  <a:pt x="225718" y="3650308"/>
                </a:cubicBezTo>
                <a:cubicBezTo>
                  <a:pt x="226235" y="3647133"/>
                  <a:pt x="228274" y="3646010"/>
                  <a:pt x="230287" y="3646087"/>
                </a:cubicBezTo>
                <a:close/>
                <a:moveTo>
                  <a:pt x="395678" y="3625060"/>
                </a:moveTo>
                <a:cubicBezTo>
                  <a:pt x="397537" y="3625060"/>
                  <a:pt x="398569" y="3628313"/>
                  <a:pt x="399602" y="3629707"/>
                </a:cubicBezTo>
                <a:cubicBezTo>
                  <a:pt x="398466" y="3630172"/>
                  <a:pt x="397227" y="3630637"/>
                  <a:pt x="398053" y="3630946"/>
                </a:cubicBezTo>
                <a:cubicBezTo>
                  <a:pt x="396814" y="3631411"/>
                  <a:pt x="395885" y="3631411"/>
                  <a:pt x="395059" y="3631101"/>
                </a:cubicBezTo>
                <a:cubicBezTo>
                  <a:pt x="394232" y="3630791"/>
                  <a:pt x="393613" y="3630327"/>
                  <a:pt x="393096" y="3629552"/>
                </a:cubicBezTo>
                <a:cubicBezTo>
                  <a:pt x="392684" y="3628468"/>
                  <a:pt x="393613" y="3626919"/>
                  <a:pt x="395678" y="3625060"/>
                </a:cubicBezTo>
                <a:close/>
                <a:moveTo>
                  <a:pt x="319836" y="3622272"/>
                </a:moveTo>
                <a:cubicBezTo>
                  <a:pt x="322624" y="3621304"/>
                  <a:pt x="325722" y="3621498"/>
                  <a:pt x="328975" y="3622582"/>
                </a:cubicBezTo>
                <a:lnTo>
                  <a:pt x="329800" y="3626919"/>
                </a:lnTo>
                <a:lnTo>
                  <a:pt x="333415" y="3629862"/>
                </a:lnTo>
                <a:cubicBezTo>
                  <a:pt x="334757" y="3631566"/>
                  <a:pt x="335996" y="3634044"/>
                  <a:pt x="337235" y="3637297"/>
                </a:cubicBezTo>
                <a:cubicBezTo>
                  <a:pt x="321127" y="3640240"/>
                  <a:pt x="335273" y="3654181"/>
                  <a:pt x="322883" y="3657124"/>
                </a:cubicBezTo>
                <a:cubicBezTo>
                  <a:pt x="317823" y="3656040"/>
                  <a:pt x="312041" y="3656659"/>
                  <a:pt x="307084" y="3653561"/>
                </a:cubicBezTo>
                <a:cubicBezTo>
                  <a:pt x="305432" y="3652632"/>
                  <a:pt x="303884" y="3651238"/>
                  <a:pt x="302541" y="3649224"/>
                </a:cubicBezTo>
                <a:cubicBezTo>
                  <a:pt x="308633" y="3645971"/>
                  <a:pt x="312970" y="3642254"/>
                  <a:pt x="317100" y="3638381"/>
                </a:cubicBezTo>
                <a:lnTo>
                  <a:pt x="318236" y="3637142"/>
                </a:lnTo>
                <a:lnTo>
                  <a:pt x="317203" y="3637142"/>
                </a:lnTo>
                <a:cubicBezTo>
                  <a:pt x="316067" y="3635129"/>
                  <a:pt x="313176" y="3632495"/>
                  <a:pt x="312557" y="3628933"/>
                </a:cubicBezTo>
                <a:cubicBezTo>
                  <a:pt x="314570" y="3625370"/>
                  <a:pt x="317048" y="3623240"/>
                  <a:pt x="319836" y="3622272"/>
                </a:cubicBezTo>
                <a:close/>
                <a:moveTo>
                  <a:pt x="381532" y="3621808"/>
                </a:moveTo>
                <a:cubicBezTo>
                  <a:pt x="383288" y="3621033"/>
                  <a:pt x="385766" y="3621343"/>
                  <a:pt x="388760" y="3623047"/>
                </a:cubicBezTo>
                <a:cubicBezTo>
                  <a:pt x="386798" y="3628468"/>
                  <a:pt x="389483" y="3632030"/>
                  <a:pt x="385559" y="3635438"/>
                </a:cubicBezTo>
                <a:cubicBezTo>
                  <a:pt x="381016" y="3634819"/>
                  <a:pt x="378641" y="3631876"/>
                  <a:pt x="378125" y="3628933"/>
                </a:cubicBezTo>
                <a:cubicBezTo>
                  <a:pt x="377505" y="3625835"/>
                  <a:pt x="378744" y="3622737"/>
                  <a:pt x="381532" y="3621808"/>
                </a:cubicBezTo>
                <a:close/>
                <a:moveTo>
                  <a:pt x="340643" y="3609106"/>
                </a:moveTo>
                <a:cubicBezTo>
                  <a:pt x="344256" y="3607867"/>
                  <a:pt x="346012" y="3609726"/>
                  <a:pt x="347870" y="3611429"/>
                </a:cubicBezTo>
                <a:cubicBezTo>
                  <a:pt x="349006" y="3612978"/>
                  <a:pt x="349729" y="3613288"/>
                  <a:pt x="351588" y="3613288"/>
                </a:cubicBezTo>
                <a:cubicBezTo>
                  <a:pt x="351588" y="3613288"/>
                  <a:pt x="351588" y="3613288"/>
                  <a:pt x="352311" y="3615457"/>
                </a:cubicBezTo>
                <a:lnTo>
                  <a:pt x="351897" y="3616231"/>
                </a:lnTo>
                <a:cubicBezTo>
                  <a:pt x="351484" y="3616541"/>
                  <a:pt x="350761" y="3616386"/>
                  <a:pt x="349936" y="3616076"/>
                </a:cubicBezTo>
                <a:cubicBezTo>
                  <a:pt x="347251" y="3615147"/>
                  <a:pt x="343431" y="3612359"/>
                  <a:pt x="342811" y="3612049"/>
                </a:cubicBezTo>
                <a:cubicBezTo>
                  <a:pt x="342811" y="3612049"/>
                  <a:pt x="342088" y="3611584"/>
                  <a:pt x="341262" y="3611274"/>
                </a:cubicBezTo>
                <a:cubicBezTo>
                  <a:pt x="340953" y="3610190"/>
                  <a:pt x="341468" y="3609416"/>
                  <a:pt x="340643" y="3609106"/>
                </a:cubicBezTo>
                <a:close/>
                <a:moveTo>
                  <a:pt x="292216" y="3605698"/>
                </a:moveTo>
                <a:cubicBezTo>
                  <a:pt x="294177" y="3606008"/>
                  <a:pt x="296036" y="3607402"/>
                  <a:pt x="297378" y="3610345"/>
                </a:cubicBezTo>
                <a:cubicBezTo>
                  <a:pt x="292112" y="3613908"/>
                  <a:pt x="292009" y="3618090"/>
                  <a:pt x="286536" y="3619019"/>
                </a:cubicBezTo>
                <a:cubicBezTo>
                  <a:pt x="284884" y="3617780"/>
                  <a:pt x="283955" y="3616231"/>
                  <a:pt x="283748" y="3614527"/>
                </a:cubicBezTo>
                <a:cubicBezTo>
                  <a:pt x="283025" y="3609880"/>
                  <a:pt x="287775" y="3605079"/>
                  <a:pt x="292216" y="3605698"/>
                </a:cubicBezTo>
                <a:close/>
                <a:moveTo>
                  <a:pt x="290150" y="3592687"/>
                </a:moveTo>
                <a:cubicBezTo>
                  <a:pt x="285607" y="3596405"/>
                  <a:pt x="286226" y="3600587"/>
                  <a:pt x="281890" y="3599967"/>
                </a:cubicBezTo>
                <a:cubicBezTo>
                  <a:pt x="281167" y="3596559"/>
                  <a:pt x="286639" y="3592067"/>
                  <a:pt x="290150" y="3592687"/>
                </a:cubicBezTo>
                <a:close/>
                <a:moveTo>
                  <a:pt x="108316" y="3591603"/>
                </a:moveTo>
                <a:cubicBezTo>
                  <a:pt x="114924" y="3592997"/>
                  <a:pt x="124321" y="3593771"/>
                  <a:pt x="132581" y="3595940"/>
                </a:cubicBezTo>
                <a:cubicBezTo>
                  <a:pt x="140842" y="3598108"/>
                  <a:pt x="148070" y="3601826"/>
                  <a:pt x="150135" y="3609261"/>
                </a:cubicBezTo>
                <a:cubicBezTo>
                  <a:pt x="143526" y="3613908"/>
                  <a:pt x="134233" y="3614218"/>
                  <a:pt x="125973" y="3610965"/>
                </a:cubicBezTo>
                <a:cubicBezTo>
                  <a:pt x="117816" y="3607712"/>
                  <a:pt x="110691" y="3601052"/>
                  <a:pt x="108316" y="3591603"/>
                </a:cubicBezTo>
                <a:close/>
                <a:moveTo>
                  <a:pt x="320714" y="3582773"/>
                </a:moveTo>
                <a:cubicBezTo>
                  <a:pt x="322883" y="3580760"/>
                  <a:pt x="329285" y="3580760"/>
                  <a:pt x="331040" y="3583393"/>
                </a:cubicBezTo>
                <a:cubicBezTo>
                  <a:pt x="331659" y="3584323"/>
                  <a:pt x="331762" y="3585407"/>
                  <a:pt x="331040" y="3586956"/>
                </a:cubicBezTo>
                <a:cubicBezTo>
                  <a:pt x="328561" y="3591293"/>
                  <a:pt x="324431" y="3590054"/>
                  <a:pt x="320198" y="3588040"/>
                </a:cubicBezTo>
                <a:cubicBezTo>
                  <a:pt x="320611" y="3586181"/>
                  <a:pt x="320198" y="3584632"/>
                  <a:pt x="320714" y="3582773"/>
                </a:cubicBezTo>
                <a:close/>
                <a:moveTo>
                  <a:pt x="278005" y="3573654"/>
                </a:moveTo>
                <a:cubicBezTo>
                  <a:pt x="280418" y="3572589"/>
                  <a:pt x="283232" y="3572473"/>
                  <a:pt x="285400" y="3573790"/>
                </a:cubicBezTo>
                <a:cubicBezTo>
                  <a:pt x="287259" y="3574874"/>
                  <a:pt x="288705" y="3577197"/>
                  <a:pt x="288911" y="3580915"/>
                </a:cubicBezTo>
                <a:cubicBezTo>
                  <a:pt x="282303" y="3583084"/>
                  <a:pt x="277863" y="3584632"/>
                  <a:pt x="274146" y="3584787"/>
                </a:cubicBezTo>
                <a:cubicBezTo>
                  <a:pt x="273526" y="3583703"/>
                  <a:pt x="273113" y="3582773"/>
                  <a:pt x="273010" y="3581844"/>
                </a:cubicBezTo>
                <a:cubicBezTo>
                  <a:pt x="272803" y="3580915"/>
                  <a:pt x="272906" y="3580140"/>
                  <a:pt x="273010" y="3579211"/>
                </a:cubicBezTo>
                <a:cubicBezTo>
                  <a:pt x="273578" y="3576732"/>
                  <a:pt x="275591" y="3574719"/>
                  <a:pt x="278005" y="3573654"/>
                </a:cubicBezTo>
                <a:close/>
                <a:moveTo>
                  <a:pt x="252256" y="3567284"/>
                </a:moveTo>
                <a:cubicBezTo>
                  <a:pt x="253907" y="3566045"/>
                  <a:pt x="255766" y="3567904"/>
                  <a:pt x="257212" y="3568523"/>
                </a:cubicBezTo>
                <a:cubicBezTo>
                  <a:pt x="258864" y="3567284"/>
                  <a:pt x="259380" y="3571466"/>
                  <a:pt x="261032" y="3570227"/>
                </a:cubicBezTo>
                <a:cubicBezTo>
                  <a:pt x="262271" y="3574719"/>
                  <a:pt x="268157" y="3572705"/>
                  <a:pt x="271254" y="3578901"/>
                </a:cubicBezTo>
                <a:cubicBezTo>
                  <a:pt x="269086" y="3578591"/>
                  <a:pt x="267124" y="3578127"/>
                  <a:pt x="265472" y="3577352"/>
                </a:cubicBezTo>
                <a:cubicBezTo>
                  <a:pt x="260516" y="3575339"/>
                  <a:pt x="257625" y="3572086"/>
                  <a:pt x="253598" y="3571621"/>
                </a:cubicBezTo>
                <a:cubicBezTo>
                  <a:pt x="253598" y="3571621"/>
                  <a:pt x="253598" y="3571621"/>
                  <a:pt x="252875" y="3569452"/>
                </a:cubicBezTo>
                <a:cubicBezTo>
                  <a:pt x="252152" y="3569143"/>
                  <a:pt x="252152" y="3569143"/>
                  <a:pt x="252152" y="3569143"/>
                </a:cubicBezTo>
                <a:cubicBezTo>
                  <a:pt x="251739" y="3568988"/>
                  <a:pt x="251842" y="3568523"/>
                  <a:pt x="251946" y="3568059"/>
                </a:cubicBezTo>
                <a:cubicBezTo>
                  <a:pt x="252049" y="3567594"/>
                  <a:pt x="252256" y="3567284"/>
                  <a:pt x="252256" y="3567284"/>
                </a:cubicBezTo>
                <a:close/>
                <a:moveTo>
                  <a:pt x="260928" y="3548541"/>
                </a:moveTo>
                <a:cubicBezTo>
                  <a:pt x="263820" y="3547767"/>
                  <a:pt x="267227" y="3548077"/>
                  <a:pt x="270841" y="3549161"/>
                </a:cubicBezTo>
                <a:lnTo>
                  <a:pt x="277450" y="3551794"/>
                </a:lnTo>
                <a:lnTo>
                  <a:pt x="279102" y="3552879"/>
                </a:lnTo>
                <a:lnTo>
                  <a:pt x="279824" y="3552879"/>
                </a:lnTo>
                <a:lnTo>
                  <a:pt x="286639" y="3557216"/>
                </a:lnTo>
                <a:cubicBezTo>
                  <a:pt x="291286" y="3560623"/>
                  <a:pt x="294900" y="3564341"/>
                  <a:pt x="296036" y="3567439"/>
                </a:cubicBezTo>
                <a:cubicBezTo>
                  <a:pt x="290666" y="3567284"/>
                  <a:pt x="282716" y="3567129"/>
                  <a:pt x="275694" y="3564806"/>
                </a:cubicBezTo>
                <a:cubicBezTo>
                  <a:pt x="268673" y="3562327"/>
                  <a:pt x="262478" y="3557680"/>
                  <a:pt x="260928" y="3548541"/>
                </a:cubicBezTo>
                <a:close/>
                <a:moveTo>
                  <a:pt x="215806" y="3539093"/>
                </a:moveTo>
                <a:cubicBezTo>
                  <a:pt x="219110" y="3540642"/>
                  <a:pt x="217355" y="3543120"/>
                  <a:pt x="215496" y="3545753"/>
                </a:cubicBezTo>
                <a:cubicBezTo>
                  <a:pt x="213844" y="3544979"/>
                  <a:pt x="212088" y="3545908"/>
                  <a:pt x="210436" y="3543430"/>
                </a:cubicBezTo>
                <a:cubicBezTo>
                  <a:pt x="212295" y="3541726"/>
                  <a:pt x="214050" y="3540797"/>
                  <a:pt x="215806" y="3539093"/>
                </a:cubicBezTo>
                <a:close/>
                <a:moveTo>
                  <a:pt x="290563" y="3535685"/>
                </a:moveTo>
                <a:cubicBezTo>
                  <a:pt x="293558" y="3536305"/>
                  <a:pt x="296139" y="3537544"/>
                  <a:pt x="298101" y="3539248"/>
                </a:cubicBezTo>
                <a:cubicBezTo>
                  <a:pt x="299030" y="3546683"/>
                  <a:pt x="292731" y="3551794"/>
                  <a:pt x="285917" y="3553033"/>
                </a:cubicBezTo>
                <a:lnTo>
                  <a:pt x="279824" y="3552879"/>
                </a:lnTo>
                <a:lnTo>
                  <a:pt x="278998" y="3552414"/>
                </a:lnTo>
                <a:lnTo>
                  <a:pt x="277450" y="3551794"/>
                </a:lnTo>
                <a:lnTo>
                  <a:pt x="271977" y="3548077"/>
                </a:lnTo>
                <a:cubicBezTo>
                  <a:pt x="270841" y="3538318"/>
                  <a:pt x="281787" y="3534136"/>
                  <a:pt x="290563" y="3535685"/>
                </a:cubicBezTo>
                <a:close/>
                <a:moveTo>
                  <a:pt x="311215" y="3518956"/>
                </a:moveTo>
                <a:cubicBezTo>
                  <a:pt x="313589" y="3518182"/>
                  <a:pt x="315964" y="3517407"/>
                  <a:pt x="316584" y="3519576"/>
                </a:cubicBezTo>
                <a:cubicBezTo>
                  <a:pt x="316893" y="3520660"/>
                  <a:pt x="317307" y="3521744"/>
                  <a:pt x="316377" y="3523294"/>
                </a:cubicBezTo>
                <a:cubicBezTo>
                  <a:pt x="314002" y="3524068"/>
                  <a:pt x="312247" y="3522364"/>
                  <a:pt x="311008" y="3522674"/>
                </a:cubicBezTo>
                <a:cubicBezTo>
                  <a:pt x="311525" y="3521899"/>
                  <a:pt x="312350" y="3520505"/>
                  <a:pt x="311215" y="3518956"/>
                </a:cubicBezTo>
                <a:close/>
                <a:moveTo>
                  <a:pt x="468680" y="3510592"/>
                </a:moveTo>
                <a:lnTo>
                  <a:pt x="467958" y="3513225"/>
                </a:lnTo>
                <a:lnTo>
                  <a:pt x="468164" y="3513535"/>
                </a:lnTo>
                <a:lnTo>
                  <a:pt x="468267" y="3513535"/>
                </a:lnTo>
                <a:lnTo>
                  <a:pt x="470022" y="3514464"/>
                </a:lnTo>
                <a:close/>
                <a:moveTo>
                  <a:pt x="528259" y="3504086"/>
                </a:moveTo>
                <a:cubicBezTo>
                  <a:pt x="528569" y="3505171"/>
                  <a:pt x="529498" y="3506719"/>
                  <a:pt x="529292" y="3508578"/>
                </a:cubicBezTo>
                <a:cubicBezTo>
                  <a:pt x="526503" y="3510592"/>
                  <a:pt x="525161" y="3509353"/>
                  <a:pt x="524955" y="3507649"/>
                </a:cubicBezTo>
                <a:cubicBezTo>
                  <a:pt x="524852" y="3505945"/>
                  <a:pt x="525988" y="3503776"/>
                  <a:pt x="528259" y="3504086"/>
                </a:cubicBezTo>
                <a:close/>
                <a:moveTo>
                  <a:pt x="479316" y="3498820"/>
                </a:moveTo>
                <a:lnTo>
                  <a:pt x="475289" y="3500214"/>
                </a:lnTo>
                <a:cubicBezTo>
                  <a:pt x="476115" y="3499749"/>
                  <a:pt x="474876" y="3499439"/>
                  <a:pt x="474876" y="3499439"/>
                </a:cubicBezTo>
                <a:cubicBezTo>
                  <a:pt x="473636" y="3499284"/>
                  <a:pt x="473533" y="3500369"/>
                  <a:pt x="473327" y="3501453"/>
                </a:cubicBezTo>
                <a:lnTo>
                  <a:pt x="472914" y="3502537"/>
                </a:lnTo>
                <a:lnTo>
                  <a:pt x="473224" y="3503002"/>
                </a:lnTo>
                <a:cubicBezTo>
                  <a:pt x="474566" y="3504396"/>
                  <a:pt x="475702" y="3506100"/>
                  <a:pt x="475805" y="3509508"/>
                </a:cubicBezTo>
                <a:lnTo>
                  <a:pt x="477663" y="3507959"/>
                </a:lnTo>
                <a:lnTo>
                  <a:pt x="477663" y="3506719"/>
                </a:lnTo>
                <a:cubicBezTo>
                  <a:pt x="477766" y="3506410"/>
                  <a:pt x="477870" y="3506410"/>
                  <a:pt x="477457" y="3506719"/>
                </a:cubicBezTo>
                <a:cubicBezTo>
                  <a:pt x="477766" y="3505480"/>
                  <a:pt x="477973" y="3504241"/>
                  <a:pt x="478283" y="3503157"/>
                </a:cubicBezTo>
                <a:lnTo>
                  <a:pt x="479419" y="3501918"/>
                </a:lnTo>
                <a:close/>
                <a:moveTo>
                  <a:pt x="291906" y="3496341"/>
                </a:moveTo>
                <a:cubicBezTo>
                  <a:pt x="297068" y="3496961"/>
                  <a:pt x="303057" y="3496651"/>
                  <a:pt x="302748" y="3502537"/>
                </a:cubicBezTo>
                <a:cubicBezTo>
                  <a:pt x="297997" y="3509043"/>
                  <a:pt x="291183" y="3505790"/>
                  <a:pt x="290357" y="3501143"/>
                </a:cubicBezTo>
                <a:cubicBezTo>
                  <a:pt x="290150" y="3499594"/>
                  <a:pt x="290563" y="3497736"/>
                  <a:pt x="291906" y="3496341"/>
                </a:cubicBezTo>
                <a:close/>
                <a:moveTo>
                  <a:pt x="276004" y="3483485"/>
                </a:moveTo>
                <a:cubicBezTo>
                  <a:pt x="278069" y="3486273"/>
                  <a:pt x="276830" y="3489216"/>
                  <a:pt x="274455" y="3491230"/>
                </a:cubicBezTo>
                <a:cubicBezTo>
                  <a:pt x="271977" y="3493089"/>
                  <a:pt x="268466" y="3494018"/>
                  <a:pt x="265782" y="3492934"/>
                </a:cubicBezTo>
                <a:cubicBezTo>
                  <a:pt x="266401" y="3488132"/>
                  <a:pt x="267744" y="3484724"/>
                  <a:pt x="271461" y="3483640"/>
                </a:cubicBezTo>
                <a:cubicBezTo>
                  <a:pt x="272700" y="3483330"/>
                  <a:pt x="274146" y="3483175"/>
                  <a:pt x="276004" y="3483485"/>
                </a:cubicBezTo>
                <a:close/>
                <a:moveTo>
                  <a:pt x="476321" y="3482711"/>
                </a:moveTo>
                <a:lnTo>
                  <a:pt x="475702" y="3482865"/>
                </a:lnTo>
                <a:lnTo>
                  <a:pt x="475495" y="3482865"/>
                </a:lnTo>
                <a:lnTo>
                  <a:pt x="475495" y="3483795"/>
                </a:lnTo>
                <a:lnTo>
                  <a:pt x="476424" y="3482865"/>
                </a:lnTo>
                <a:close/>
                <a:moveTo>
                  <a:pt x="366250" y="3476205"/>
                </a:moveTo>
                <a:cubicBezTo>
                  <a:pt x="366250" y="3476205"/>
                  <a:pt x="366250" y="3476360"/>
                  <a:pt x="366973" y="3476670"/>
                </a:cubicBezTo>
                <a:cubicBezTo>
                  <a:pt x="367695" y="3478838"/>
                  <a:pt x="368522" y="3481936"/>
                  <a:pt x="369038" y="3484724"/>
                </a:cubicBezTo>
                <a:lnTo>
                  <a:pt x="369141" y="3485963"/>
                </a:lnTo>
                <a:lnTo>
                  <a:pt x="377815" y="3480542"/>
                </a:lnTo>
                <a:lnTo>
                  <a:pt x="372858" y="3479922"/>
                </a:lnTo>
                <a:lnTo>
                  <a:pt x="369554" y="3476980"/>
                </a:lnTo>
                <a:close/>
                <a:moveTo>
                  <a:pt x="216012" y="3475585"/>
                </a:moveTo>
                <a:cubicBezTo>
                  <a:pt x="220762" y="3480852"/>
                  <a:pt x="223860" y="3482091"/>
                  <a:pt x="227060" y="3486583"/>
                </a:cubicBezTo>
                <a:cubicBezTo>
                  <a:pt x="226648" y="3487358"/>
                  <a:pt x="225925" y="3487048"/>
                  <a:pt x="225512" y="3487822"/>
                </a:cubicBezTo>
                <a:cubicBezTo>
                  <a:pt x="224892" y="3487977"/>
                  <a:pt x="224066" y="3487822"/>
                  <a:pt x="223137" y="3487358"/>
                </a:cubicBezTo>
                <a:cubicBezTo>
                  <a:pt x="220349" y="3485963"/>
                  <a:pt x="216838" y="3482556"/>
                  <a:pt x="217148" y="3482091"/>
                </a:cubicBezTo>
                <a:cubicBezTo>
                  <a:pt x="216426" y="3481626"/>
                  <a:pt x="216838" y="3480852"/>
                  <a:pt x="216116" y="3480542"/>
                </a:cubicBezTo>
                <a:cubicBezTo>
                  <a:pt x="216116" y="3480542"/>
                  <a:pt x="215290" y="3480232"/>
                  <a:pt x="214980" y="3478993"/>
                </a:cubicBezTo>
                <a:cubicBezTo>
                  <a:pt x="214773" y="3478528"/>
                  <a:pt x="214670" y="3477909"/>
                  <a:pt x="214773" y="3477444"/>
                </a:cubicBezTo>
                <a:cubicBezTo>
                  <a:pt x="214876" y="3476825"/>
                  <a:pt x="215187" y="3476205"/>
                  <a:pt x="216012" y="3475585"/>
                </a:cubicBezTo>
                <a:close/>
                <a:moveTo>
                  <a:pt x="317616" y="3471713"/>
                </a:moveTo>
                <a:cubicBezTo>
                  <a:pt x="321230" y="3472333"/>
                  <a:pt x="320611" y="3474656"/>
                  <a:pt x="320921" y="3478373"/>
                </a:cubicBezTo>
                <a:cubicBezTo>
                  <a:pt x="319682" y="3478218"/>
                  <a:pt x="318855" y="3481781"/>
                  <a:pt x="318546" y="3482865"/>
                </a:cubicBezTo>
                <a:cubicBezTo>
                  <a:pt x="316171" y="3482556"/>
                  <a:pt x="314416" y="3486583"/>
                  <a:pt x="310801" y="3485963"/>
                </a:cubicBezTo>
                <a:cubicBezTo>
                  <a:pt x="309872" y="3484569"/>
                  <a:pt x="309459" y="3483950"/>
                  <a:pt x="309356" y="3482091"/>
                </a:cubicBezTo>
                <a:cubicBezTo>
                  <a:pt x="312144" y="3473262"/>
                  <a:pt x="317307" y="3472952"/>
                  <a:pt x="317616" y="3471713"/>
                </a:cubicBezTo>
                <a:close/>
                <a:moveTo>
                  <a:pt x="422731" y="3469699"/>
                </a:moveTo>
                <a:lnTo>
                  <a:pt x="421698" y="3472487"/>
                </a:lnTo>
                <a:lnTo>
                  <a:pt x="417259" y="3476515"/>
                </a:lnTo>
                <a:lnTo>
                  <a:pt x="417568" y="3476515"/>
                </a:lnTo>
                <a:lnTo>
                  <a:pt x="423867" y="3479303"/>
                </a:lnTo>
                <a:close/>
                <a:moveTo>
                  <a:pt x="199388" y="3469390"/>
                </a:moveTo>
                <a:cubicBezTo>
                  <a:pt x="204138" y="3471248"/>
                  <a:pt x="204448" y="3477599"/>
                  <a:pt x="200421" y="3479148"/>
                </a:cubicBezTo>
                <a:cubicBezTo>
                  <a:pt x="199182" y="3478683"/>
                  <a:pt x="197220" y="3478528"/>
                  <a:pt x="195671" y="3477289"/>
                </a:cubicBezTo>
                <a:cubicBezTo>
                  <a:pt x="194535" y="3473107"/>
                  <a:pt x="196187" y="3470629"/>
                  <a:pt x="199388" y="3469390"/>
                </a:cubicBezTo>
                <a:close/>
                <a:moveTo>
                  <a:pt x="246679" y="3468925"/>
                </a:moveTo>
                <a:cubicBezTo>
                  <a:pt x="247402" y="3469235"/>
                  <a:pt x="247712" y="3470319"/>
                  <a:pt x="247712" y="3470319"/>
                </a:cubicBezTo>
                <a:cubicBezTo>
                  <a:pt x="248125" y="3471403"/>
                  <a:pt x="248022" y="3471403"/>
                  <a:pt x="249261" y="3471093"/>
                </a:cubicBezTo>
                <a:cubicBezTo>
                  <a:pt x="249261" y="3471093"/>
                  <a:pt x="248745" y="3471713"/>
                  <a:pt x="248745" y="3471713"/>
                </a:cubicBezTo>
                <a:cubicBezTo>
                  <a:pt x="248022" y="3471403"/>
                  <a:pt x="248745" y="3471868"/>
                  <a:pt x="249157" y="3472952"/>
                </a:cubicBezTo>
                <a:cubicBezTo>
                  <a:pt x="247505" y="3474037"/>
                  <a:pt x="247093" y="3474811"/>
                  <a:pt x="245854" y="3475276"/>
                </a:cubicBezTo>
                <a:cubicBezTo>
                  <a:pt x="245337" y="3475585"/>
                  <a:pt x="244511" y="3475585"/>
                  <a:pt x="243788" y="3475585"/>
                </a:cubicBezTo>
                <a:cubicBezTo>
                  <a:pt x="243169" y="3475430"/>
                  <a:pt x="242549" y="3475276"/>
                  <a:pt x="242446" y="3474656"/>
                </a:cubicBezTo>
                <a:cubicBezTo>
                  <a:pt x="242859" y="3473882"/>
                  <a:pt x="242136" y="3473572"/>
                  <a:pt x="242549" y="3472797"/>
                </a:cubicBezTo>
                <a:cubicBezTo>
                  <a:pt x="242652" y="3470938"/>
                  <a:pt x="243065" y="3470164"/>
                  <a:pt x="244304" y="3469699"/>
                </a:cubicBezTo>
                <a:cubicBezTo>
                  <a:pt x="244718" y="3468925"/>
                  <a:pt x="245440" y="3469235"/>
                  <a:pt x="246679" y="3468925"/>
                </a:cubicBezTo>
                <a:close/>
                <a:moveTo>
                  <a:pt x="344566" y="3468460"/>
                </a:moveTo>
                <a:cubicBezTo>
                  <a:pt x="345599" y="3472487"/>
                  <a:pt x="341985" y="3476205"/>
                  <a:pt x="337545" y="3473417"/>
                </a:cubicBezTo>
                <a:cubicBezTo>
                  <a:pt x="339403" y="3470164"/>
                  <a:pt x="341365" y="3467066"/>
                  <a:pt x="344566" y="3468460"/>
                </a:cubicBezTo>
                <a:close/>
                <a:moveTo>
                  <a:pt x="228300" y="3459631"/>
                </a:moveTo>
                <a:cubicBezTo>
                  <a:pt x="231604" y="3459166"/>
                  <a:pt x="236147" y="3459941"/>
                  <a:pt x="238006" y="3461025"/>
                </a:cubicBezTo>
                <a:cubicBezTo>
                  <a:pt x="238832" y="3463813"/>
                  <a:pt x="238316" y="3465672"/>
                  <a:pt x="237180" y="3466911"/>
                </a:cubicBezTo>
                <a:cubicBezTo>
                  <a:pt x="233669" y="3470783"/>
                  <a:pt x="223963" y="3467995"/>
                  <a:pt x="225615" y="3460715"/>
                </a:cubicBezTo>
                <a:cubicBezTo>
                  <a:pt x="226235" y="3460250"/>
                  <a:pt x="227267" y="3459941"/>
                  <a:pt x="228300" y="3459631"/>
                </a:cubicBezTo>
                <a:close/>
                <a:moveTo>
                  <a:pt x="329181" y="3453590"/>
                </a:moveTo>
                <a:cubicBezTo>
                  <a:pt x="330214" y="3456998"/>
                  <a:pt x="327632" y="3459631"/>
                  <a:pt x="328252" y="3463658"/>
                </a:cubicBezTo>
                <a:cubicBezTo>
                  <a:pt x="325360" y="3465207"/>
                  <a:pt x="325464" y="3470164"/>
                  <a:pt x="321540" y="3472023"/>
                </a:cubicBezTo>
                <a:cubicBezTo>
                  <a:pt x="320817" y="3470783"/>
                  <a:pt x="320714" y="3469080"/>
                  <a:pt x="321024" y="3467221"/>
                </a:cubicBezTo>
                <a:cubicBezTo>
                  <a:pt x="321850" y="3461490"/>
                  <a:pt x="326496" y="3454519"/>
                  <a:pt x="329181" y="3453590"/>
                </a:cubicBezTo>
                <a:close/>
                <a:moveTo>
                  <a:pt x="453811" y="3450802"/>
                </a:moveTo>
                <a:lnTo>
                  <a:pt x="453708" y="3451886"/>
                </a:lnTo>
                <a:cubicBezTo>
                  <a:pt x="454018" y="3455604"/>
                  <a:pt x="454224" y="3459941"/>
                  <a:pt x="455463" y="3463348"/>
                </a:cubicBezTo>
                <a:cubicBezTo>
                  <a:pt x="453811" y="3475740"/>
                  <a:pt x="454121" y="3484569"/>
                  <a:pt x="455154" y="3493553"/>
                </a:cubicBezTo>
                <a:lnTo>
                  <a:pt x="456703" y="3500369"/>
                </a:lnTo>
                <a:lnTo>
                  <a:pt x="456909" y="3500679"/>
                </a:lnTo>
                <a:lnTo>
                  <a:pt x="463930" y="3508733"/>
                </a:lnTo>
                <a:lnTo>
                  <a:pt x="463827" y="3506719"/>
                </a:lnTo>
                <a:cubicBezTo>
                  <a:pt x="467854" y="3504861"/>
                  <a:pt x="470539" y="3507029"/>
                  <a:pt x="470539" y="3503622"/>
                </a:cubicBezTo>
                <a:lnTo>
                  <a:pt x="470539" y="3503467"/>
                </a:lnTo>
                <a:lnTo>
                  <a:pt x="465686" y="3500369"/>
                </a:lnTo>
                <a:cubicBezTo>
                  <a:pt x="464447" y="3498510"/>
                  <a:pt x="463827" y="3496341"/>
                  <a:pt x="463414" y="3494793"/>
                </a:cubicBezTo>
                <a:lnTo>
                  <a:pt x="463208" y="3494173"/>
                </a:lnTo>
                <a:lnTo>
                  <a:pt x="462485" y="3493398"/>
                </a:lnTo>
                <a:lnTo>
                  <a:pt x="462175" y="3493553"/>
                </a:lnTo>
                <a:lnTo>
                  <a:pt x="462278" y="3493244"/>
                </a:lnTo>
                <a:lnTo>
                  <a:pt x="460832" y="3491694"/>
                </a:lnTo>
                <a:lnTo>
                  <a:pt x="462072" y="3490610"/>
                </a:lnTo>
                <a:lnTo>
                  <a:pt x="462382" y="3487977"/>
                </a:lnTo>
                <a:cubicBezTo>
                  <a:pt x="462588" y="3487203"/>
                  <a:pt x="463208" y="3486738"/>
                  <a:pt x="464447" y="3487048"/>
                </a:cubicBezTo>
                <a:cubicBezTo>
                  <a:pt x="466409" y="3486583"/>
                  <a:pt x="466512" y="3488597"/>
                  <a:pt x="468887" y="3488906"/>
                </a:cubicBezTo>
                <a:cubicBezTo>
                  <a:pt x="471158" y="3488906"/>
                  <a:pt x="472397" y="3486738"/>
                  <a:pt x="474256" y="3484724"/>
                </a:cubicBezTo>
                <a:lnTo>
                  <a:pt x="474463" y="3484569"/>
                </a:lnTo>
                <a:lnTo>
                  <a:pt x="473740" y="3482711"/>
                </a:lnTo>
                <a:lnTo>
                  <a:pt x="469093" y="3482091"/>
                </a:lnTo>
                <a:cubicBezTo>
                  <a:pt x="467028" y="3481007"/>
                  <a:pt x="465376" y="3479458"/>
                  <a:pt x="464756" y="3476980"/>
                </a:cubicBezTo>
                <a:cubicBezTo>
                  <a:pt x="466822" y="3476050"/>
                  <a:pt x="468577" y="3475740"/>
                  <a:pt x="470022" y="3475740"/>
                </a:cubicBezTo>
                <a:lnTo>
                  <a:pt x="473327" y="3476515"/>
                </a:lnTo>
                <a:lnTo>
                  <a:pt x="473327" y="3476205"/>
                </a:lnTo>
                <a:lnTo>
                  <a:pt x="473017" y="3473882"/>
                </a:lnTo>
                <a:lnTo>
                  <a:pt x="472707" y="3474811"/>
                </a:lnTo>
                <a:lnTo>
                  <a:pt x="468474" y="3470009"/>
                </a:lnTo>
                <a:lnTo>
                  <a:pt x="467028" y="3473572"/>
                </a:lnTo>
                <a:cubicBezTo>
                  <a:pt x="466305" y="3474501"/>
                  <a:pt x="465479" y="3475430"/>
                  <a:pt x="464550" y="3475585"/>
                </a:cubicBezTo>
                <a:cubicBezTo>
                  <a:pt x="462175" y="3475121"/>
                  <a:pt x="461968" y="3473262"/>
                  <a:pt x="462278" y="3472178"/>
                </a:cubicBezTo>
                <a:cubicBezTo>
                  <a:pt x="461968" y="3470938"/>
                  <a:pt x="462588" y="3469699"/>
                  <a:pt x="463621" y="3468770"/>
                </a:cubicBezTo>
                <a:lnTo>
                  <a:pt x="466202" y="3467376"/>
                </a:lnTo>
                <a:lnTo>
                  <a:pt x="464447" y="3465517"/>
                </a:lnTo>
                <a:cubicBezTo>
                  <a:pt x="461968" y="3462574"/>
                  <a:pt x="459697" y="3459476"/>
                  <a:pt x="457528" y="3456533"/>
                </a:cubicBezTo>
                <a:close/>
                <a:moveTo>
                  <a:pt x="310698" y="3449718"/>
                </a:moveTo>
                <a:cubicBezTo>
                  <a:pt x="319475" y="3448943"/>
                  <a:pt x="321333" y="3454519"/>
                  <a:pt x="319165" y="3458082"/>
                </a:cubicBezTo>
                <a:cubicBezTo>
                  <a:pt x="318443" y="3459166"/>
                  <a:pt x="317307" y="3460096"/>
                  <a:pt x="315861" y="3460560"/>
                </a:cubicBezTo>
                <a:cubicBezTo>
                  <a:pt x="313899" y="3461025"/>
                  <a:pt x="311318" y="3460560"/>
                  <a:pt x="308426" y="3458392"/>
                </a:cubicBezTo>
                <a:cubicBezTo>
                  <a:pt x="308014" y="3454210"/>
                  <a:pt x="309975" y="3452506"/>
                  <a:pt x="310698" y="3449718"/>
                </a:cubicBezTo>
                <a:close/>
                <a:moveTo>
                  <a:pt x="325670" y="3439030"/>
                </a:moveTo>
                <a:cubicBezTo>
                  <a:pt x="328561" y="3437946"/>
                  <a:pt x="332898" y="3439030"/>
                  <a:pt x="335066" y="3443367"/>
                </a:cubicBezTo>
                <a:cubicBezTo>
                  <a:pt x="333931" y="3446620"/>
                  <a:pt x="331866" y="3448324"/>
                  <a:pt x="330730" y="3449718"/>
                </a:cubicBezTo>
                <a:cubicBezTo>
                  <a:pt x="328355" y="3448788"/>
                  <a:pt x="326496" y="3448633"/>
                  <a:pt x="324121" y="3447549"/>
                </a:cubicBezTo>
                <a:cubicBezTo>
                  <a:pt x="322573" y="3445381"/>
                  <a:pt x="322159" y="3443522"/>
                  <a:pt x="322573" y="3442128"/>
                </a:cubicBezTo>
                <a:cubicBezTo>
                  <a:pt x="322986" y="3440579"/>
                  <a:pt x="324121" y="3439494"/>
                  <a:pt x="325670" y="3439030"/>
                </a:cubicBezTo>
                <a:close/>
                <a:moveTo>
                  <a:pt x="232430" y="3430356"/>
                </a:moveTo>
                <a:cubicBezTo>
                  <a:pt x="237902" y="3432679"/>
                  <a:pt x="244614" y="3434073"/>
                  <a:pt x="249364" y="3438101"/>
                </a:cubicBezTo>
                <a:cubicBezTo>
                  <a:pt x="243788" y="3440424"/>
                  <a:pt x="232120" y="3438565"/>
                  <a:pt x="232430" y="3430356"/>
                </a:cubicBezTo>
                <a:close/>
                <a:moveTo>
                  <a:pt x="516385" y="3427568"/>
                </a:moveTo>
                <a:lnTo>
                  <a:pt x="515146" y="3432679"/>
                </a:lnTo>
                <a:lnTo>
                  <a:pt x="513287" y="3434538"/>
                </a:lnTo>
                <a:lnTo>
                  <a:pt x="515042" y="3438720"/>
                </a:lnTo>
                <a:cubicBezTo>
                  <a:pt x="515042" y="3438720"/>
                  <a:pt x="512254" y="3437636"/>
                  <a:pt x="512461" y="3437016"/>
                </a:cubicBezTo>
                <a:cubicBezTo>
                  <a:pt x="512564" y="3439185"/>
                  <a:pt x="515662" y="3443986"/>
                  <a:pt x="515662" y="3446155"/>
                </a:cubicBezTo>
                <a:cubicBezTo>
                  <a:pt x="515765" y="3448324"/>
                  <a:pt x="514320" y="3450647"/>
                  <a:pt x="512977" y="3452970"/>
                </a:cubicBezTo>
                <a:lnTo>
                  <a:pt x="511945" y="3455914"/>
                </a:lnTo>
                <a:lnTo>
                  <a:pt x="513596" y="3459941"/>
                </a:lnTo>
                <a:lnTo>
                  <a:pt x="514320" y="3459941"/>
                </a:lnTo>
                <a:lnTo>
                  <a:pt x="516695" y="3462109"/>
                </a:lnTo>
                <a:lnTo>
                  <a:pt x="517520" y="3461025"/>
                </a:lnTo>
                <a:cubicBezTo>
                  <a:pt x="519895" y="3459476"/>
                  <a:pt x="524439" y="3459941"/>
                  <a:pt x="525161" y="3461180"/>
                </a:cubicBezTo>
                <a:cubicBezTo>
                  <a:pt x="524955" y="3462574"/>
                  <a:pt x="520102" y="3465207"/>
                  <a:pt x="517520" y="3464743"/>
                </a:cubicBezTo>
                <a:lnTo>
                  <a:pt x="516281" y="3463348"/>
                </a:lnTo>
                <a:lnTo>
                  <a:pt x="515249" y="3464278"/>
                </a:lnTo>
                <a:lnTo>
                  <a:pt x="516901" y="3468305"/>
                </a:lnTo>
                <a:lnTo>
                  <a:pt x="516695" y="3468925"/>
                </a:lnTo>
                <a:lnTo>
                  <a:pt x="519069" y="3472023"/>
                </a:lnTo>
                <a:cubicBezTo>
                  <a:pt x="520102" y="3475895"/>
                  <a:pt x="518863" y="3479922"/>
                  <a:pt x="517830" y="3483175"/>
                </a:cubicBezTo>
                <a:cubicBezTo>
                  <a:pt x="517211" y="3485189"/>
                  <a:pt x="517520" y="3486738"/>
                  <a:pt x="517727" y="3488132"/>
                </a:cubicBezTo>
                <a:cubicBezTo>
                  <a:pt x="517520" y="3488906"/>
                  <a:pt x="517417" y="3489526"/>
                  <a:pt x="517417" y="3489526"/>
                </a:cubicBezTo>
                <a:cubicBezTo>
                  <a:pt x="517830" y="3490455"/>
                  <a:pt x="517830" y="3490455"/>
                  <a:pt x="518347" y="3491230"/>
                </a:cubicBezTo>
                <a:cubicBezTo>
                  <a:pt x="518863" y="3492159"/>
                  <a:pt x="519276" y="3493089"/>
                  <a:pt x="519792" y="3494018"/>
                </a:cubicBezTo>
                <a:cubicBezTo>
                  <a:pt x="521031" y="3499594"/>
                  <a:pt x="517004" y="3500369"/>
                  <a:pt x="517211" y="3504706"/>
                </a:cubicBezTo>
                <a:cubicBezTo>
                  <a:pt x="518656" y="3509662"/>
                  <a:pt x="520412" y="3513845"/>
                  <a:pt x="521444" y="3517717"/>
                </a:cubicBezTo>
                <a:lnTo>
                  <a:pt x="521651" y="3518337"/>
                </a:lnTo>
                <a:lnTo>
                  <a:pt x="523406" y="3519111"/>
                </a:lnTo>
                <a:cubicBezTo>
                  <a:pt x="523819" y="3520195"/>
                  <a:pt x="523716" y="3521590"/>
                  <a:pt x="523303" y="3522674"/>
                </a:cubicBezTo>
                <a:lnTo>
                  <a:pt x="522890" y="3522983"/>
                </a:lnTo>
                <a:lnTo>
                  <a:pt x="523303" y="3524223"/>
                </a:lnTo>
                <a:cubicBezTo>
                  <a:pt x="523303" y="3524223"/>
                  <a:pt x="523303" y="3524223"/>
                  <a:pt x="524232" y="3525927"/>
                </a:cubicBezTo>
                <a:cubicBezTo>
                  <a:pt x="524232" y="3525927"/>
                  <a:pt x="524232" y="3526082"/>
                  <a:pt x="524025" y="3526701"/>
                </a:cubicBezTo>
                <a:cubicBezTo>
                  <a:pt x="524748" y="3526856"/>
                  <a:pt x="524439" y="3527476"/>
                  <a:pt x="524439" y="3527476"/>
                </a:cubicBezTo>
                <a:cubicBezTo>
                  <a:pt x="524439" y="3527476"/>
                  <a:pt x="524439" y="3527476"/>
                  <a:pt x="524748" y="3529025"/>
                </a:cubicBezTo>
                <a:lnTo>
                  <a:pt x="525058" y="3529644"/>
                </a:lnTo>
                <a:lnTo>
                  <a:pt x="527330" y="3529180"/>
                </a:lnTo>
                <a:cubicBezTo>
                  <a:pt x="528672" y="3529025"/>
                  <a:pt x="530118" y="3529180"/>
                  <a:pt x="531976" y="3529644"/>
                </a:cubicBezTo>
                <a:cubicBezTo>
                  <a:pt x="530221" y="3530884"/>
                  <a:pt x="528466" y="3531813"/>
                  <a:pt x="526710" y="3532277"/>
                </a:cubicBezTo>
                <a:lnTo>
                  <a:pt x="526400" y="3532432"/>
                </a:lnTo>
                <a:lnTo>
                  <a:pt x="531254" y="3542191"/>
                </a:lnTo>
                <a:cubicBezTo>
                  <a:pt x="535074" y="3542036"/>
                  <a:pt x="546019" y="3545753"/>
                  <a:pt x="544470" y="3540797"/>
                </a:cubicBezTo>
                <a:cubicBezTo>
                  <a:pt x="544987" y="3541726"/>
                  <a:pt x="544780" y="3542346"/>
                  <a:pt x="545296" y="3543275"/>
                </a:cubicBezTo>
                <a:cubicBezTo>
                  <a:pt x="545296" y="3543275"/>
                  <a:pt x="545296" y="3543275"/>
                  <a:pt x="546329" y="3549471"/>
                </a:cubicBezTo>
                <a:cubicBezTo>
                  <a:pt x="546329" y="3549471"/>
                  <a:pt x="546329" y="3549471"/>
                  <a:pt x="546122" y="3550091"/>
                </a:cubicBezTo>
                <a:cubicBezTo>
                  <a:pt x="546122" y="3550091"/>
                  <a:pt x="546122" y="3550091"/>
                  <a:pt x="546639" y="3551020"/>
                </a:cubicBezTo>
                <a:cubicBezTo>
                  <a:pt x="547258" y="3551329"/>
                  <a:pt x="547052" y="3551949"/>
                  <a:pt x="547568" y="3552724"/>
                </a:cubicBezTo>
                <a:cubicBezTo>
                  <a:pt x="549014" y="3555512"/>
                  <a:pt x="549736" y="3557990"/>
                  <a:pt x="551389" y="3560004"/>
                </a:cubicBezTo>
                <a:cubicBezTo>
                  <a:pt x="553970" y="3563721"/>
                  <a:pt x="556655" y="3564651"/>
                  <a:pt x="559236" y="3558919"/>
                </a:cubicBezTo>
                <a:cubicBezTo>
                  <a:pt x="559959" y="3556286"/>
                  <a:pt x="556035" y="3552104"/>
                  <a:pt x="556345" y="3553653"/>
                </a:cubicBezTo>
                <a:lnTo>
                  <a:pt x="556345" y="3553498"/>
                </a:lnTo>
                <a:lnTo>
                  <a:pt x="552524" y="3551020"/>
                </a:lnTo>
                <a:cubicBezTo>
                  <a:pt x="550150" y="3548232"/>
                  <a:pt x="548704" y="3544979"/>
                  <a:pt x="548704" y="3541106"/>
                </a:cubicBezTo>
                <a:lnTo>
                  <a:pt x="554589" y="3537699"/>
                </a:lnTo>
                <a:lnTo>
                  <a:pt x="554383" y="3535530"/>
                </a:lnTo>
                <a:cubicBezTo>
                  <a:pt x="553350" y="3531658"/>
                  <a:pt x="551389" y="3528095"/>
                  <a:pt x="547052" y="3525152"/>
                </a:cubicBezTo>
                <a:cubicBezTo>
                  <a:pt x="547052" y="3525152"/>
                  <a:pt x="547052" y="3524997"/>
                  <a:pt x="547258" y="3524378"/>
                </a:cubicBezTo>
                <a:cubicBezTo>
                  <a:pt x="547258" y="3524378"/>
                  <a:pt x="547258" y="3524378"/>
                  <a:pt x="546845" y="3523603"/>
                </a:cubicBezTo>
                <a:cubicBezTo>
                  <a:pt x="546845" y="3523603"/>
                  <a:pt x="546845" y="3523448"/>
                  <a:pt x="547052" y="3522829"/>
                </a:cubicBezTo>
                <a:cubicBezTo>
                  <a:pt x="547052" y="3522829"/>
                  <a:pt x="547052" y="3522829"/>
                  <a:pt x="546639" y="3519111"/>
                </a:cubicBezTo>
                <a:cubicBezTo>
                  <a:pt x="546639" y="3516943"/>
                  <a:pt x="546019" y="3513845"/>
                  <a:pt x="546019" y="3511676"/>
                </a:cubicBezTo>
                <a:cubicBezTo>
                  <a:pt x="545090" y="3507029"/>
                  <a:pt x="544470" y="3501763"/>
                  <a:pt x="544367" y="3497271"/>
                </a:cubicBezTo>
                <a:cubicBezTo>
                  <a:pt x="543644" y="3494793"/>
                  <a:pt x="543541" y="3492624"/>
                  <a:pt x="542818" y="3490146"/>
                </a:cubicBezTo>
                <a:cubicBezTo>
                  <a:pt x="542818" y="3490146"/>
                  <a:pt x="542715" y="3490146"/>
                  <a:pt x="542508" y="3488597"/>
                </a:cubicBezTo>
                <a:cubicBezTo>
                  <a:pt x="542508" y="3488597"/>
                  <a:pt x="542508" y="3488751"/>
                  <a:pt x="542921" y="3487358"/>
                </a:cubicBezTo>
                <a:cubicBezTo>
                  <a:pt x="542921" y="3487358"/>
                  <a:pt x="542921" y="3487358"/>
                  <a:pt x="542405" y="3484260"/>
                </a:cubicBezTo>
                <a:cubicBezTo>
                  <a:pt x="542198" y="3479922"/>
                  <a:pt x="541166" y="3475895"/>
                  <a:pt x="540856" y="3472178"/>
                </a:cubicBezTo>
                <a:lnTo>
                  <a:pt x="540134" y="3461645"/>
                </a:lnTo>
                <a:lnTo>
                  <a:pt x="539721" y="3461645"/>
                </a:lnTo>
                <a:cubicBezTo>
                  <a:pt x="537759" y="3461180"/>
                  <a:pt x="535797" y="3460560"/>
                  <a:pt x="534558" y="3459941"/>
                </a:cubicBezTo>
                <a:cubicBezTo>
                  <a:pt x="534971" y="3459321"/>
                  <a:pt x="535797" y="3459012"/>
                  <a:pt x="536829" y="3458857"/>
                </a:cubicBezTo>
                <a:lnTo>
                  <a:pt x="539927" y="3459166"/>
                </a:lnTo>
                <a:lnTo>
                  <a:pt x="539927" y="3453590"/>
                </a:lnTo>
                <a:lnTo>
                  <a:pt x="531563" y="3460560"/>
                </a:lnTo>
                <a:cubicBezTo>
                  <a:pt x="522373" y="3450802"/>
                  <a:pt x="530737" y="3438565"/>
                  <a:pt x="534454" y="3428497"/>
                </a:cubicBezTo>
                <a:close/>
                <a:moveTo>
                  <a:pt x="329800" y="3427413"/>
                </a:moveTo>
                <a:cubicBezTo>
                  <a:pt x="330523" y="3426948"/>
                  <a:pt x="331453" y="3426793"/>
                  <a:pt x="332485" y="3427413"/>
                </a:cubicBezTo>
                <a:cubicBezTo>
                  <a:pt x="332485" y="3428652"/>
                  <a:pt x="333105" y="3430511"/>
                  <a:pt x="332382" y="3432214"/>
                </a:cubicBezTo>
                <a:cubicBezTo>
                  <a:pt x="330110" y="3432679"/>
                  <a:pt x="328975" y="3431904"/>
                  <a:pt x="328561" y="3430665"/>
                </a:cubicBezTo>
                <a:cubicBezTo>
                  <a:pt x="328252" y="3429581"/>
                  <a:pt x="328768" y="3428032"/>
                  <a:pt x="329800" y="3427413"/>
                </a:cubicBezTo>
                <a:close/>
                <a:moveTo>
                  <a:pt x="378951" y="3426018"/>
                </a:moveTo>
                <a:cubicBezTo>
                  <a:pt x="379157" y="3428652"/>
                  <a:pt x="378434" y="3430356"/>
                  <a:pt x="376886" y="3431285"/>
                </a:cubicBezTo>
                <a:lnTo>
                  <a:pt x="370690" y="3432059"/>
                </a:lnTo>
                <a:lnTo>
                  <a:pt x="371206" y="3435467"/>
                </a:lnTo>
                <a:cubicBezTo>
                  <a:pt x="368109" y="3437636"/>
                  <a:pt x="365424" y="3438101"/>
                  <a:pt x="363462" y="3438720"/>
                </a:cubicBezTo>
                <a:cubicBezTo>
                  <a:pt x="362223" y="3436861"/>
                  <a:pt x="360674" y="3435777"/>
                  <a:pt x="359332" y="3433918"/>
                </a:cubicBezTo>
                <a:cubicBezTo>
                  <a:pt x="359642" y="3428807"/>
                  <a:pt x="363152" y="3426948"/>
                  <a:pt x="366353" y="3427413"/>
                </a:cubicBezTo>
                <a:lnTo>
                  <a:pt x="370174" y="3429891"/>
                </a:lnTo>
                <a:lnTo>
                  <a:pt x="370380" y="3428807"/>
                </a:lnTo>
                <a:cubicBezTo>
                  <a:pt x="370793" y="3428032"/>
                  <a:pt x="371516" y="3427568"/>
                  <a:pt x="372446" y="3427258"/>
                </a:cubicBezTo>
                <a:cubicBezTo>
                  <a:pt x="374201" y="3426638"/>
                  <a:pt x="376782" y="3426638"/>
                  <a:pt x="378951" y="3426018"/>
                </a:cubicBezTo>
                <a:close/>
                <a:moveTo>
                  <a:pt x="66291" y="3424160"/>
                </a:moveTo>
                <a:cubicBezTo>
                  <a:pt x="71350" y="3430975"/>
                  <a:pt x="72589" y="3438255"/>
                  <a:pt x="65361" y="3444296"/>
                </a:cubicBezTo>
                <a:cubicBezTo>
                  <a:pt x="60508" y="3442748"/>
                  <a:pt x="56275" y="3439494"/>
                  <a:pt x="51319" y="3432679"/>
                </a:cubicBezTo>
                <a:cubicBezTo>
                  <a:pt x="54107" y="3429271"/>
                  <a:pt x="56481" y="3427258"/>
                  <a:pt x="58856" y="3425864"/>
                </a:cubicBezTo>
                <a:cubicBezTo>
                  <a:pt x="61334" y="3424625"/>
                  <a:pt x="63709" y="3424160"/>
                  <a:pt x="66291" y="3424160"/>
                </a:cubicBezTo>
                <a:close/>
                <a:moveTo>
                  <a:pt x="408275" y="3423695"/>
                </a:moveTo>
                <a:cubicBezTo>
                  <a:pt x="411166" y="3423540"/>
                  <a:pt x="411580" y="3432524"/>
                  <a:pt x="404764" y="3427877"/>
                </a:cubicBezTo>
                <a:cubicBezTo>
                  <a:pt x="406107" y="3424934"/>
                  <a:pt x="407346" y="3423850"/>
                  <a:pt x="408275" y="3423695"/>
                </a:cubicBezTo>
                <a:close/>
                <a:moveTo>
                  <a:pt x="358196" y="3416260"/>
                </a:moveTo>
                <a:cubicBezTo>
                  <a:pt x="360468" y="3414866"/>
                  <a:pt x="366663" y="3422146"/>
                  <a:pt x="357989" y="3421526"/>
                </a:cubicBezTo>
                <a:cubicBezTo>
                  <a:pt x="357577" y="3419978"/>
                  <a:pt x="357473" y="3418738"/>
                  <a:pt x="357473" y="3417964"/>
                </a:cubicBezTo>
                <a:cubicBezTo>
                  <a:pt x="357577" y="3417190"/>
                  <a:pt x="357886" y="3416570"/>
                  <a:pt x="358196" y="3416260"/>
                </a:cubicBezTo>
                <a:close/>
                <a:moveTo>
                  <a:pt x="208888" y="3413007"/>
                </a:moveTo>
                <a:cubicBezTo>
                  <a:pt x="212811" y="3413317"/>
                  <a:pt x="213947" y="3413782"/>
                  <a:pt x="217045" y="3416260"/>
                </a:cubicBezTo>
                <a:cubicBezTo>
                  <a:pt x="216942" y="3421836"/>
                  <a:pt x="213741" y="3424934"/>
                  <a:pt x="210540" y="3427877"/>
                </a:cubicBezTo>
                <a:cubicBezTo>
                  <a:pt x="206100" y="3427568"/>
                  <a:pt x="204448" y="3426173"/>
                  <a:pt x="204241" y="3424314"/>
                </a:cubicBezTo>
                <a:cubicBezTo>
                  <a:pt x="204241" y="3423695"/>
                  <a:pt x="204241" y="3422921"/>
                  <a:pt x="204448" y="3422146"/>
                </a:cubicBezTo>
                <a:cubicBezTo>
                  <a:pt x="205274" y="3419203"/>
                  <a:pt x="207855" y="3415795"/>
                  <a:pt x="208888" y="3413007"/>
                </a:cubicBezTo>
                <a:close/>
                <a:moveTo>
                  <a:pt x="284781" y="3409290"/>
                </a:moveTo>
                <a:cubicBezTo>
                  <a:pt x="285400" y="3414401"/>
                  <a:pt x="278379" y="3418738"/>
                  <a:pt x="273939" y="3420597"/>
                </a:cubicBezTo>
                <a:cubicBezTo>
                  <a:pt x="272287" y="3419048"/>
                  <a:pt x="270532" y="3419978"/>
                  <a:pt x="268880" y="3418429"/>
                </a:cubicBezTo>
                <a:cubicBezTo>
                  <a:pt x="274249" y="3413162"/>
                  <a:pt x="279721" y="3407121"/>
                  <a:pt x="284781" y="3409290"/>
                </a:cubicBezTo>
                <a:close/>
                <a:moveTo>
                  <a:pt x="399808" y="3408980"/>
                </a:moveTo>
                <a:cubicBezTo>
                  <a:pt x="401667" y="3410839"/>
                  <a:pt x="402183" y="3416105"/>
                  <a:pt x="400324" y="3417654"/>
                </a:cubicBezTo>
                <a:cubicBezTo>
                  <a:pt x="399086" y="3417499"/>
                  <a:pt x="397847" y="3417344"/>
                  <a:pt x="396607" y="3417190"/>
                </a:cubicBezTo>
                <a:cubicBezTo>
                  <a:pt x="395678" y="3415795"/>
                  <a:pt x="395162" y="3414247"/>
                  <a:pt x="395162" y="3412852"/>
                </a:cubicBezTo>
                <a:cubicBezTo>
                  <a:pt x="395059" y="3411613"/>
                  <a:pt x="395575" y="3410374"/>
                  <a:pt x="396711" y="3409600"/>
                </a:cubicBezTo>
                <a:cubicBezTo>
                  <a:pt x="397434" y="3409135"/>
                  <a:pt x="398466" y="3408825"/>
                  <a:pt x="399808" y="3408980"/>
                </a:cubicBezTo>
                <a:close/>
                <a:moveTo>
                  <a:pt x="314828" y="3407276"/>
                </a:moveTo>
                <a:cubicBezTo>
                  <a:pt x="321024" y="3411303"/>
                  <a:pt x="317307" y="3415795"/>
                  <a:pt x="313692" y="3420287"/>
                </a:cubicBezTo>
                <a:cubicBezTo>
                  <a:pt x="310595" y="3418274"/>
                  <a:pt x="307187" y="3419513"/>
                  <a:pt x="304296" y="3414247"/>
                </a:cubicBezTo>
                <a:cubicBezTo>
                  <a:pt x="307807" y="3411303"/>
                  <a:pt x="311318" y="3410064"/>
                  <a:pt x="314828" y="3407276"/>
                </a:cubicBezTo>
                <a:close/>
                <a:moveTo>
                  <a:pt x="209107" y="3399783"/>
                </a:moveTo>
                <a:cubicBezTo>
                  <a:pt x="215186" y="3400267"/>
                  <a:pt x="220659" y="3402784"/>
                  <a:pt x="220968" y="3407431"/>
                </a:cubicBezTo>
                <a:cubicBezTo>
                  <a:pt x="211263" y="3405417"/>
                  <a:pt x="203931" y="3408670"/>
                  <a:pt x="193606" y="3404333"/>
                </a:cubicBezTo>
                <a:cubicBezTo>
                  <a:pt x="196342" y="3400848"/>
                  <a:pt x="203028" y="3399299"/>
                  <a:pt x="209107" y="3399783"/>
                </a:cubicBezTo>
                <a:close/>
                <a:moveTo>
                  <a:pt x="241413" y="3393955"/>
                </a:moveTo>
                <a:cubicBezTo>
                  <a:pt x="244098" y="3397672"/>
                  <a:pt x="240174" y="3403094"/>
                  <a:pt x="235837" y="3402474"/>
                </a:cubicBezTo>
                <a:cubicBezTo>
                  <a:pt x="235115" y="3401545"/>
                  <a:pt x="233566" y="3400461"/>
                  <a:pt x="233050" y="3398757"/>
                </a:cubicBezTo>
                <a:cubicBezTo>
                  <a:pt x="234908" y="3394729"/>
                  <a:pt x="237902" y="3393490"/>
                  <a:pt x="241413" y="3393955"/>
                </a:cubicBezTo>
                <a:close/>
                <a:moveTo>
                  <a:pt x="156124" y="3390082"/>
                </a:moveTo>
                <a:cubicBezTo>
                  <a:pt x="158498" y="3389153"/>
                  <a:pt x="164281" y="3389618"/>
                  <a:pt x="167069" y="3393180"/>
                </a:cubicBezTo>
                <a:cubicBezTo>
                  <a:pt x="165830" y="3398292"/>
                  <a:pt x="162319" y="3398757"/>
                  <a:pt x="157259" y="3396123"/>
                </a:cubicBezTo>
                <a:cubicBezTo>
                  <a:pt x="157259" y="3394265"/>
                  <a:pt x="156537" y="3392716"/>
                  <a:pt x="156124" y="3390082"/>
                </a:cubicBezTo>
                <a:close/>
                <a:moveTo>
                  <a:pt x="175329" y="3389308"/>
                </a:moveTo>
                <a:cubicBezTo>
                  <a:pt x="175949" y="3389153"/>
                  <a:pt x="176775" y="3389308"/>
                  <a:pt x="177807" y="3389618"/>
                </a:cubicBezTo>
                <a:cubicBezTo>
                  <a:pt x="177601" y="3394884"/>
                  <a:pt x="180182" y="3399841"/>
                  <a:pt x="178324" y="3402165"/>
                </a:cubicBezTo>
                <a:cubicBezTo>
                  <a:pt x="177704" y="3402939"/>
                  <a:pt x="176568" y="3403404"/>
                  <a:pt x="174710" y="3403404"/>
                </a:cubicBezTo>
                <a:cubicBezTo>
                  <a:pt x="173987" y="3402010"/>
                  <a:pt x="172954" y="3398757"/>
                  <a:pt x="172748" y="3395659"/>
                </a:cubicBezTo>
                <a:cubicBezTo>
                  <a:pt x="172438" y="3392561"/>
                  <a:pt x="172954" y="3389773"/>
                  <a:pt x="175329" y="3389308"/>
                </a:cubicBezTo>
                <a:close/>
                <a:moveTo>
                  <a:pt x="6884782" y="3389141"/>
                </a:moveTo>
                <a:lnTo>
                  <a:pt x="6884782" y="3401532"/>
                </a:lnTo>
                <a:lnTo>
                  <a:pt x="6884627" y="3401532"/>
                </a:lnTo>
                <a:cubicBezTo>
                  <a:pt x="6881374" y="3400602"/>
                  <a:pt x="6880755" y="3396163"/>
                  <a:pt x="6880135" y="3391723"/>
                </a:cubicBezTo>
                <a:cubicBezTo>
                  <a:pt x="6881839" y="3391206"/>
                  <a:pt x="6883078" y="3390070"/>
                  <a:pt x="6884627" y="3389244"/>
                </a:cubicBezTo>
                <a:close/>
                <a:moveTo>
                  <a:pt x="274455" y="3388534"/>
                </a:moveTo>
                <a:cubicBezTo>
                  <a:pt x="277863" y="3388379"/>
                  <a:pt x="280548" y="3391632"/>
                  <a:pt x="278172" y="3395194"/>
                </a:cubicBezTo>
                <a:cubicBezTo>
                  <a:pt x="273319" y="3394729"/>
                  <a:pt x="271564" y="3392716"/>
                  <a:pt x="271048" y="3389773"/>
                </a:cubicBezTo>
                <a:cubicBezTo>
                  <a:pt x="272184" y="3388844"/>
                  <a:pt x="273319" y="3388534"/>
                  <a:pt x="274455" y="3388534"/>
                </a:cubicBezTo>
                <a:close/>
                <a:moveTo>
                  <a:pt x="345805" y="3387759"/>
                </a:moveTo>
                <a:cubicBezTo>
                  <a:pt x="347767" y="3386365"/>
                  <a:pt x="350555" y="3386365"/>
                  <a:pt x="352001" y="3390082"/>
                </a:cubicBezTo>
                <a:cubicBezTo>
                  <a:pt x="349213" y="3392096"/>
                  <a:pt x="347355" y="3393490"/>
                  <a:pt x="345495" y="3393955"/>
                </a:cubicBezTo>
                <a:cubicBezTo>
                  <a:pt x="344256" y="3393025"/>
                  <a:pt x="343844" y="3391786"/>
                  <a:pt x="344050" y="3390547"/>
                </a:cubicBezTo>
                <a:cubicBezTo>
                  <a:pt x="344153" y="3389463"/>
                  <a:pt x="344876" y="3388379"/>
                  <a:pt x="345805" y="3387759"/>
                </a:cubicBezTo>
                <a:close/>
                <a:moveTo>
                  <a:pt x="6819726" y="3385630"/>
                </a:moveTo>
                <a:cubicBezTo>
                  <a:pt x="6821739" y="3386560"/>
                  <a:pt x="6822823" y="3389761"/>
                  <a:pt x="6824992" y="3390793"/>
                </a:cubicBezTo>
                <a:cubicBezTo>
                  <a:pt x="6823443" y="3391413"/>
                  <a:pt x="6822359" y="3393581"/>
                  <a:pt x="6820655" y="3394097"/>
                </a:cubicBezTo>
                <a:cubicBezTo>
                  <a:pt x="6818641" y="3393168"/>
                  <a:pt x="6817867" y="3391206"/>
                  <a:pt x="6818022" y="3389348"/>
                </a:cubicBezTo>
                <a:cubicBezTo>
                  <a:pt x="6818022" y="3387592"/>
                  <a:pt x="6818951" y="3385940"/>
                  <a:pt x="6819726" y="3385630"/>
                </a:cubicBezTo>
                <a:close/>
                <a:moveTo>
                  <a:pt x="567084" y="3385281"/>
                </a:moveTo>
                <a:lnTo>
                  <a:pt x="555106" y="3386520"/>
                </a:lnTo>
                <a:lnTo>
                  <a:pt x="554073" y="3392561"/>
                </a:lnTo>
                <a:cubicBezTo>
                  <a:pt x="553763" y="3395969"/>
                  <a:pt x="553454" y="3399531"/>
                  <a:pt x="553763" y="3403249"/>
                </a:cubicBezTo>
                <a:lnTo>
                  <a:pt x="554176" y="3405727"/>
                </a:lnTo>
                <a:lnTo>
                  <a:pt x="559339" y="3405572"/>
                </a:lnTo>
                <a:lnTo>
                  <a:pt x="557791" y="3413782"/>
                </a:lnTo>
                <a:lnTo>
                  <a:pt x="570181" y="3411923"/>
                </a:lnTo>
                <a:lnTo>
                  <a:pt x="574931" y="3412697"/>
                </a:lnTo>
                <a:lnTo>
                  <a:pt x="574931" y="3400615"/>
                </a:lnTo>
                <a:lnTo>
                  <a:pt x="575137" y="3385435"/>
                </a:lnTo>
                <a:close/>
                <a:moveTo>
                  <a:pt x="6661576" y="3383256"/>
                </a:moveTo>
                <a:lnTo>
                  <a:pt x="6666688" y="3390793"/>
                </a:lnTo>
                <a:lnTo>
                  <a:pt x="6666688" y="3391516"/>
                </a:lnTo>
                <a:lnTo>
                  <a:pt x="6668702" y="3392445"/>
                </a:lnTo>
                <a:cubicBezTo>
                  <a:pt x="6671335" y="3393271"/>
                  <a:pt x="6668082" y="3390070"/>
                  <a:pt x="6671490" y="3388831"/>
                </a:cubicBezTo>
                <a:cubicBezTo>
                  <a:pt x="6673968" y="3394097"/>
                  <a:pt x="6680164" y="3390793"/>
                  <a:pt x="6682178" y="3395130"/>
                </a:cubicBezTo>
                <a:lnTo>
                  <a:pt x="6681093" y="3391206"/>
                </a:lnTo>
                <a:lnTo>
                  <a:pt x="6680783" y="3391723"/>
                </a:lnTo>
                <a:lnTo>
                  <a:pt x="6675362" y="3387386"/>
                </a:lnTo>
                <a:lnTo>
                  <a:pt x="6671335" y="3386250"/>
                </a:lnTo>
                <a:cubicBezTo>
                  <a:pt x="6669476" y="3385837"/>
                  <a:pt x="6667617" y="3385321"/>
                  <a:pt x="6666223" y="3384907"/>
                </a:cubicBezTo>
                <a:cubicBezTo>
                  <a:pt x="6664829" y="3384804"/>
                  <a:pt x="6663126" y="3384185"/>
                  <a:pt x="6661576" y="3383256"/>
                </a:cubicBezTo>
                <a:close/>
                <a:moveTo>
                  <a:pt x="264840" y="3382473"/>
                </a:moveTo>
                <a:cubicBezTo>
                  <a:pt x="266350" y="3381370"/>
                  <a:pt x="268415" y="3381873"/>
                  <a:pt x="270325" y="3386520"/>
                </a:cubicBezTo>
                <a:cubicBezTo>
                  <a:pt x="265266" y="3391167"/>
                  <a:pt x="263097" y="3390392"/>
                  <a:pt x="262684" y="3388069"/>
                </a:cubicBezTo>
                <a:cubicBezTo>
                  <a:pt x="262374" y="3386288"/>
                  <a:pt x="263329" y="3383577"/>
                  <a:pt x="264840" y="3382473"/>
                </a:cubicBezTo>
                <a:close/>
                <a:moveTo>
                  <a:pt x="332485" y="3382183"/>
                </a:moveTo>
                <a:cubicBezTo>
                  <a:pt x="335066" y="3381718"/>
                  <a:pt x="339300" y="3383887"/>
                  <a:pt x="339713" y="3385281"/>
                </a:cubicBezTo>
                <a:cubicBezTo>
                  <a:pt x="338990" y="3386985"/>
                  <a:pt x="329800" y="3387604"/>
                  <a:pt x="330523" y="3383577"/>
                </a:cubicBezTo>
                <a:cubicBezTo>
                  <a:pt x="330833" y="3382802"/>
                  <a:pt x="331556" y="3382338"/>
                  <a:pt x="332485" y="3382183"/>
                </a:cubicBezTo>
                <a:close/>
                <a:moveTo>
                  <a:pt x="243375" y="3380634"/>
                </a:moveTo>
                <a:cubicBezTo>
                  <a:pt x="245337" y="3380324"/>
                  <a:pt x="244408" y="3383732"/>
                  <a:pt x="244821" y="3384506"/>
                </a:cubicBezTo>
                <a:cubicBezTo>
                  <a:pt x="244511" y="3385590"/>
                  <a:pt x="244201" y="3386830"/>
                  <a:pt x="243065" y="3386520"/>
                </a:cubicBezTo>
                <a:cubicBezTo>
                  <a:pt x="241826" y="3386365"/>
                  <a:pt x="241103" y="3386830"/>
                  <a:pt x="241000" y="3384971"/>
                </a:cubicBezTo>
                <a:cubicBezTo>
                  <a:pt x="240587" y="3384351"/>
                  <a:pt x="240897" y="3383267"/>
                  <a:pt x="240381" y="3382493"/>
                </a:cubicBezTo>
                <a:cubicBezTo>
                  <a:pt x="240381" y="3382493"/>
                  <a:pt x="240794" y="3382028"/>
                  <a:pt x="241413" y="3381563"/>
                </a:cubicBezTo>
                <a:cubicBezTo>
                  <a:pt x="242033" y="3380944"/>
                  <a:pt x="242756" y="3380479"/>
                  <a:pt x="243375" y="3380634"/>
                </a:cubicBezTo>
                <a:close/>
                <a:moveTo>
                  <a:pt x="278379" y="3377226"/>
                </a:moveTo>
                <a:cubicBezTo>
                  <a:pt x="286950" y="3377071"/>
                  <a:pt x="288601" y="3382493"/>
                  <a:pt x="290873" y="3387449"/>
                </a:cubicBezTo>
                <a:cubicBezTo>
                  <a:pt x="287259" y="3388224"/>
                  <a:pt x="278172" y="3384197"/>
                  <a:pt x="278379" y="3377226"/>
                </a:cubicBezTo>
                <a:close/>
                <a:moveTo>
                  <a:pt x="324431" y="3372424"/>
                </a:moveTo>
                <a:cubicBezTo>
                  <a:pt x="327013" y="3378930"/>
                  <a:pt x="329697" y="3385435"/>
                  <a:pt x="327735" y="3389773"/>
                </a:cubicBezTo>
                <a:cubicBezTo>
                  <a:pt x="323398" y="3391322"/>
                  <a:pt x="319165" y="3391477"/>
                  <a:pt x="315345" y="3390082"/>
                </a:cubicBezTo>
                <a:lnTo>
                  <a:pt x="311215" y="3387604"/>
                </a:lnTo>
                <a:lnTo>
                  <a:pt x="312557" y="3389928"/>
                </a:lnTo>
                <a:cubicBezTo>
                  <a:pt x="312867" y="3392716"/>
                  <a:pt x="310182" y="3395039"/>
                  <a:pt x="309253" y="3398912"/>
                </a:cubicBezTo>
                <a:cubicBezTo>
                  <a:pt x="306981" y="3398137"/>
                  <a:pt x="305845" y="3395814"/>
                  <a:pt x="305432" y="3393645"/>
                </a:cubicBezTo>
                <a:cubicBezTo>
                  <a:pt x="305123" y="3391322"/>
                  <a:pt x="305639" y="3388998"/>
                  <a:pt x="307084" y="3387759"/>
                </a:cubicBezTo>
                <a:lnTo>
                  <a:pt x="310492" y="3387140"/>
                </a:lnTo>
                <a:lnTo>
                  <a:pt x="310182" y="3386985"/>
                </a:lnTo>
                <a:cubicBezTo>
                  <a:pt x="308530" y="3385435"/>
                  <a:pt x="307084" y="3383577"/>
                  <a:pt x="305845" y="3381254"/>
                </a:cubicBezTo>
                <a:cubicBezTo>
                  <a:pt x="307601" y="3373199"/>
                  <a:pt x="318649" y="3373199"/>
                  <a:pt x="324431" y="3372424"/>
                </a:cubicBezTo>
                <a:close/>
                <a:moveTo>
                  <a:pt x="291802" y="3370721"/>
                </a:moveTo>
                <a:cubicBezTo>
                  <a:pt x="292525" y="3370101"/>
                  <a:pt x="295003" y="3372424"/>
                  <a:pt x="294694" y="3373509"/>
                </a:cubicBezTo>
                <a:cubicBezTo>
                  <a:pt x="294591" y="3376607"/>
                  <a:pt x="291389" y="3376607"/>
                  <a:pt x="287982" y="3378001"/>
                </a:cubicBezTo>
                <a:cubicBezTo>
                  <a:pt x="288292" y="3376761"/>
                  <a:pt x="287156" y="3376607"/>
                  <a:pt x="285917" y="3376452"/>
                </a:cubicBezTo>
                <a:cubicBezTo>
                  <a:pt x="286433" y="3374593"/>
                  <a:pt x="286743" y="3371805"/>
                  <a:pt x="288911" y="3370875"/>
                </a:cubicBezTo>
                <a:cubicBezTo>
                  <a:pt x="289634" y="3370566"/>
                  <a:pt x="290563" y="3370411"/>
                  <a:pt x="291802" y="3370721"/>
                </a:cubicBezTo>
                <a:close/>
                <a:moveTo>
                  <a:pt x="338784" y="3361427"/>
                </a:moveTo>
                <a:cubicBezTo>
                  <a:pt x="339920" y="3361117"/>
                  <a:pt x="341262" y="3361427"/>
                  <a:pt x="343327" y="3362511"/>
                </a:cubicBezTo>
                <a:cubicBezTo>
                  <a:pt x="343327" y="3362511"/>
                  <a:pt x="344256" y="3363286"/>
                  <a:pt x="344256" y="3363286"/>
                </a:cubicBezTo>
                <a:lnTo>
                  <a:pt x="347355" y="3367778"/>
                </a:lnTo>
                <a:lnTo>
                  <a:pt x="349522" y="3368087"/>
                </a:lnTo>
                <a:cubicBezTo>
                  <a:pt x="351691" y="3372734"/>
                  <a:pt x="347044" y="3377226"/>
                  <a:pt x="342501" y="3377536"/>
                </a:cubicBezTo>
                <a:cubicBezTo>
                  <a:pt x="340953" y="3377536"/>
                  <a:pt x="339403" y="3377226"/>
                  <a:pt x="338164" y="3376142"/>
                </a:cubicBezTo>
                <a:cubicBezTo>
                  <a:pt x="337442" y="3374593"/>
                  <a:pt x="337545" y="3373199"/>
                  <a:pt x="338061" y="3371805"/>
                </a:cubicBezTo>
                <a:lnTo>
                  <a:pt x="339403" y="3370411"/>
                </a:lnTo>
                <a:lnTo>
                  <a:pt x="338061" y="3368552"/>
                </a:lnTo>
                <a:cubicBezTo>
                  <a:pt x="337442" y="3367158"/>
                  <a:pt x="336822" y="3365609"/>
                  <a:pt x="335480" y="3364215"/>
                </a:cubicBezTo>
                <a:cubicBezTo>
                  <a:pt x="336822" y="3362666"/>
                  <a:pt x="337751" y="3361736"/>
                  <a:pt x="338784" y="3361427"/>
                </a:cubicBezTo>
                <a:close/>
                <a:moveTo>
                  <a:pt x="254630" y="3355850"/>
                </a:moveTo>
                <a:cubicBezTo>
                  <a:pt x="257315" y="3353682"/>
                  <a:pt x="259173" y="3355541"/>
                  <a:pt x="262684" y="3357554"/>
                </a:cubicBezTo>
                <a:cubicBezTo>
                  <a:pt x="261755" y="3358329"/>
                  <a:pt x="264336" y="3361117"/>
                  <a:pt x="265266" y="3362046"/>
                </a:cubicBezTo>
                <a:cubicBezTo>
                  <a:pt x="263407" y="3363440"/>
                  <a:pt x="265988" y="3367158"/>
                  <a:pt x="263303" y="3369326"/>
                </a:cubicBezTo>
                <a:cubicBezTo>
                  <a:pt x="261548" y="3369171"/>
                  <a:pt x="260722" y="3369017"/>
                  <a:pt x="258967" y="3368087"/>
                </a:cubicBezTo>
                <a:cubicBezTo>
                  <a:pt x="252875" y="3360807"/>
                  <a:pt x="255559" y="3356780"/>
                  <a:pt x="254630" y="3355850"/>
                </a:cubicBezTo>
                <a:close/>
                <a:moveTo>
                  <a:pt x="388657" y="3355076"/>
                </a:moveTo>
                <a:cubicBezTo>
                  <a:pt x="390309" y="3356005"/>
                  <a:pt x="392064" y="3357090"/>
                  <a:pt x="393716" y="3358019"/>
                </a:cubicBezTo>
                <a:cubicBezTo>
                  <a:pt x="392890" y="3358019"/>
                  <a:pt x="394439" y="3365764"/>
                  <a:pt x="394439" y="3365764"/>
                </a:cubicBezTo>
                <a:lnTo>
                  <a:pt x="393096" y="3366538"/>
                </a:lnTo>
                <a:lnTo>
                  <a:pt x="396711" y="3367313"/>
                </a:lnTo>
                <a:cubicBezTo>
                  <a:pt x="401461" y="3369791"/>
                  <a:pt x="406107" y="3375677"/>
                  <a:pt x="404042" y="3378465"/>
                </a:cubicBezTo>
                <a:cubicBezTo>
                  <a:pt x="403113" y="3380014"/>
                  <a:pt x="400324" y="3380634"/>
                  <a:pt x="395059" y="3379704"/>
                </a:cubicBezTo>
                <a:lnTo>
                  <a:pt x="391032" y="3378775"/>
                </a:lnTo>
                <a:lnTo>
                  <a:pt x="391032" y="3379085"/>
                </a:lnTo>
                <a:cubicBezTo>
                  <a:pt x="391032" y="3380169"/>
                  <a:pt x="390619" y="3381254"/>
                  <a:pt x="389896" y="3382338"/>
                </a:cubicBezTo>
                <a:lnTo>
                  <a:pt x="385869" y="3385281"/>
                </a:lnTo>
                <a:lnTo>
                  <a:pt x="386385" y="3399531"/>
                </a:lnTo>
                <a:cubicBezTo>
                  <a:pt x="386901" y="3406502"/>
                  <a:pt x="387521" y="3413162"/>
                  <a:pt x="386901" y="3419358"/>
                </a:cubicBezTo>
                <a:lnTo>
                  <a:pt x="382978" y="3413627"/>
                </a:lnTo>
                <a:lnTo>
                  <a:pt x="382461" y="3414247"/>
                </a:lnTo>
                <a:cubicBezTo>
                  <a:pt x="381635" y="3417344"/>
                  <a:pt x="385766" y="3420597"/>
                  <a:pt x="381635" y="3423076"/>
                </a:cubicBezTo>
                <a:cubicBezTo>
                  <a:pt x="378951" y="3423230"/>
                  <a:pt x="376266" y="3424314"/>
                  <a:pt x="373271" y="3423540"/>
                </a:cubicBezTo>
                <a:cubicBezTo>
                  <a:pt x="372342" y="3423230"/>
                  <a:pt x="371413" y="3422766"/>
                  <a:pt x="370380" y="3421991"/>
                </a:cubicBezTo>
                <a:cubicBezTo>
                  <a:pt x="375130" y="3417035"/>
                  <a:pt x="376472" y="3412233"/>
                  <a:pt x="379570" y="3406966"/>
                </a:cubicBezTo>
                <a:lnTo>
                  <a:pt x="379983" y="3407121"/>
                </a:lnTo>
                <a:lnTo>
                  <a:pt x="378022" y="3399686"/>
                </a:lnTo>
                <a:lnTo>
                  <a:pt x="377505" y="3394575"/>
                </a:lnTo>
                <a:lnTo>
                  <a:pt x="377092" y="3395039"/>
                </a:lnTo>
                <a:cubicBezTo>
                  <a:pt x="369864" y="3397053"/>
                  <a:pt x="364185" y="3396898"/>
                  <a:pt x="361604" y="3390547"/>
                </a:cubicBezTo>
                <a:cubicBezTo>
                  <a:pt x="362843" y="3390237"/>
                  <a:pt x="362533" y="3388998"/>
                  <a:pt x="362326" y="3387914"/>
                </a:cubicBezTo>
                <a:cubicBezTo>
                  <a:pt x="363565" y="3386365"/>
                  <a:pt x="365424" y="3385590"/>
                  <a:pt x="367386" y="3385126"/>
                </a:cubicBezTo>
                <a:lnTo>
                  <a:pt x="371000" y="3385435"/>
                </a:lnTo>
                <a:lnTo>
                  <a:pt x="371413" y="3380944"/>
                </a:lnTo>
                <a:cubicBezTo>
                  <a:pt x="373271" y="3380634"/>
                  <a:pt x="374820" y="3380944"/>
                  <a:pt x="376059" y="3381563"/>
                </a:cubicBezTo>
                <a:lnTo>
                  <a:pt x="376266" y="3381718"/>
                </a:lnTo>
                <a:lnTo>
                  <a:pt x="375853" y="3376761"/>
                </a:lnTo>
                <a:cubicBezTo>
                  <a:pt x="377402" y="3377071"/>
                  <a:pt x="378744" y="3376761"/>
                  <a:pt x="380190" y="3376761"/>
                </a:cubicBezTo>
                <a:lnTo>
                  <a:pt x="382564" y="3377071"/>
                </a:lnTo>
                <a:lnTo>
                  <a:pt x="382668" y="3376142"/>
                </a:lnTo>
                <a:cubicBezTo>
                  <a:pt x="384630" y="3375057"/>
                  <a:pt x="386282" y="3374748"/>
                  <a:pt x="387521" y="3374748"/>
                </a:cubicBezTo>
                <a:lnTo>
                  <a:pt x="388760" y="3375368"/>
                </a:lnTo>
                <a:lnTo>
                  <a:pt x="388554" y="3371185"/>
                </a:lnTo>
                <a:cubicBezTo>
                  <a:pt x="388760" y="3369326"/>
                  <a:pt x="389276" y="3368087"/>
                  <a:pt x="390102" y="3367313"/>
                </a:cubicBezTo>
                <a:lnTo>
                  <a:pt x="391961" y="3366383"/>
                </a:lnTo>
                <a:lnTo>
                  <a:pt x="390102" y="3365299"/>
                </a:lnTo>
                <a:cubicBezTo>
                  <a:pt x="389276" y="3364370"/>
                  <a:pt x="388554" y="3362511"/>
                  <a:pt x="388140" y="3360343"/>
                </a:cubicBezTo>
                <a:cubicBezTo>
                  <a:pt x="387727" y="3358329"/>
                  <a:pt x="387830" y="3356160"/>
                  <a:pt x="388657" y="3355076"/>
                </a:cubicBezTo>
                <a:close/>
                <a:moveTo>
                  <a:pt x="129896" y="3353682"/>
                </a:moveTo>
                <a:cubicBezTo>
                  <a:pt x="131032" y="3353837"/>
                  <a:pt x="132685" y="3355386"/>
                  <a:pt x="133304" y="3355541"/>
                </a:cubicBezTo>
                <a:cubicBezTo>
                  <a:pt x="134130" y="3356470"/>
                  <a:pt x="135059" y="3357400"/>
                  <a:pt x="134130" y="3358019"/>
                </a:cubicBezTo>
                <a:cubicBezTo>
                  <a:pt x="133304" y="3358793"/>
                  <a:pt x="133201" y="3359568"/>
                  <a:pt x="131446" y="3358639"/>
                </a:cubicBezTo>
                <a:cubicBezTo>
                  <a:pt x="130619" y="3358484"/>
                  <a:pt x="129793" y="3357554"/>
                  <a:pt x="128864" y="3357554"/>
                </a:cubicBezTo>
                <a:cubicBezTo>
                  <a:pt x="128864" y="3357554"/>
                  <a:pt x="128657" y="3356935"/>
                  <a:pt x="128554" y="3356160"/>
                </a:cubicBezTo>
                <a:cubicBezTo>
                  <a:pt x="128451" y="3355386"/>
                  <a:pt x="128554" y="3354611"/>
                  <a:pt x="128967" y="3354146"/>
                </a:cubicBezTo>
                <a:cubicBezTo>
                  <a:pt x="129174" y="3353837"/>
                  <a:pt x="129484" y="3353682"/>
                  <a:pt x="129896" y="3353682"/>
                </a:cubicBezTo>
                <a:close/>
                <a:moveTo>
                  <a:pt x="6794942" y="3353001"/>
                </a:moveTo>
                <a:cubicBezTo>
                  <a:pt x="6810122" y="3361262"/>
                  <a:pt x="6807953" y="3370968"/>
                  <a:pt x="6810122" y="3371897"/>
                </a:cubicBezTo>
                <a:cubicBezTo>
                  <a:pt x="6808418" y="3375201"/>
                  <a:pt x="6806559" y="3376337"/>
                  <a:pt x="6804236" y="3376544"/>
                </a:cubicBezTo>
                <a:cubicBezTo>
                  <a:pt x="6801912" y="3376854"/>
                  <a:pt x="6798969" y="3376131"/>
                  <a:pt x="6795252" y="3375718"/>
                </a:cubicBezTo>
                <a:cubicBezTo>
                  <a:pt x="6796336" y="3373550"/>
                  <a:pt x="6790140" y="3370762"/>
                  <a:pt x="6787972" y="3369729"/>
                </a:cubicBezTo>
                <a:cubicBezTo>
                  <a:pt x="6790140" y="3365392"/>
                  <a:pt x="6783325" y="3360952"/>
                  <a:pt x="6786578" y="3354447"/>
                </a:cubicBezTo>
                <a:cubicBezTo>
                  <a:pt x="6789676" y="3353311"/>
                  <a:pt x="6791225" y="3352589"/>
                  <a:pt x="6794942" y="3353001"/>
                </a:cubicBezTo>
                <a:close/>
                <a:moveTo>
                  <a:pt x="286433" y="3351358"/>
                </a:moveTo>
                <a:cubicBezTo>
                  <a:pt x="289427" y="3353372"/>
                  <a:pt x="290150" y="3354301"/>
                  <a:pt x="291080" y="3357864"/>
                </a:cubicBezTo>
                <a:cubicBezTo>
                  <a:pt x="287362" y="3362356"/>
                  <a:pt x="282716" y="3363440"/>
                  <a:pt x="277966" y="3364525"/>
                </a:cubicBezTo>
                <a:cubicBezTo>
                  <a:pt x="275694" y="3362976"/>
                  <a:pt x="274765" y="3361582"/>
                  <a:pt x="274765" y="3360343"/>
                </a:cubicBezTo>
                <a:cubicBezTo>
                  <a:pt x="274558" y="3356625"/>
                  <a:pt x="282509" y="3353992"/>
                  <a:pt x="286433" y="3351358"/>
                </a:cubicBezTo>
                <a:close/>
                <a:moveTo>
                  <a:pt x="6547728" y="3347735"/>
                </a:moveTo>
                <a:cubicBezTo>
                  <a:pt x="6544630" y="3348252"/>
                  <a:pt x="6541067" y="3348561"/>
                  <a:pt x="6537040" y="3349594"/>
                </a:cubicBezTo>
                <a:cubicBezTo>
                  <a:pt x="6537969" y="3355583"/>
                  <a:pt x="6539053" y="3360023"/>
                  <a:pt x="6539208" y="3364050"/>
                </a:cubicBezTo>
                <a:lnTo>
                  <a:pt x="6538434" y="3368800"/>
                </a:lnTo>
                <a:lnTo>
                  <a:pt x="6550516" y="3368800"/>
                </a:lnTo>
                <a:cubicBezTo>
                  <a:pt x="6559345" y="3368593"/>
                  <a:pt x="6567864" y="3368903"/>
                  <a:pt x="6575764" y="3369109"/>
                </a:cubicBezTo>
                <a:lnTo>
                  <a:pt x="6598998" y="3370658"/>
                </a:lnTo>
                <a:lnTo>
                  <a:pt x="6604575" y="3367767"/>
                </a:lnTo>
                <a:cubicBezTo>
                  <a:pt x="6607053" y="3367148"/>
                  <a:pt x="6609841" y="3367457"/>
                  <a:pt x="6613094" y="3369832"/>
                </a:cubicBezTo>
                <a:lnTo>
                  <a:pt x="6615727" y="3373550"/>
                </a:lnTo>
                <a:lnTo>
                  <a:pt x="6625176" y="3375305"/>
                </a:lnTo>
                <a:cubicBezTo>
                  <a:pt x="6632611" y="3376854"/>
                  <a:pt x="6640511" y="3379332"/>
                  <a:pt x="6647481" y="3382223"/>
                </a:cubicBezTo>
                <a:lnTo>
                  <a:pt x="6653057" y="3384804"/>
                </a:lnTo>
                <a:lnTo>
                  <a:pt x="6658324" y="3381397"/>
                </a:lnTo>
                <a:lnTo>
                  <a:pt x="6656775" y="3380571"/>
                </a:lnTo>
                <a:lnTo>
                  <a:pt x="6653057" y="3378299"/>
                </a:lnTo>
                <a:lnTo>
                  <a:pt x="6651973" y="3378299"/>
                </a:lnTo>
                <a:lnTo>
                  <a:pt x="6652128" y="3377783"/>
                </a:lnTo>
                <a:lnTo>
                  <a:pt x="6651508" y="3377267"/>
                </a:lnTo>
                <a:cubicBezTo>
                  <a:pt x="6649649" y="3376440"/>
                  <a:pt x="6647946" y="3375924"/>
                  <a:pt x="6646087" y="3375718"/>
                </a:cubicBezTo>
                <a:cubicBezTo>
                  <a:pt x="6643299" y="3375615"/>
                  <a:pt x="6640046" y="3374582"/>
                  <a:pt x="6636638" y="3373550"/>
                </a:cubicBezTo>
                <a:cubicBezTo>
                  <a:pt x="6632921" y="3371691"/>
                  <a:pt x="6629048" y="3370452"/>
                  <a:pt x="6625021" y="3369213"/>
                </a:cubicBezTo>
                <a:cubicBezTo>
                  <a:pt x="6621148" y="3367973"/>
                  <a:pt x="6617431" y="3366115"/>
                  <a:pt x="6612939" y="3364772"/>
                </a:cubicBezTo>
                <a:cubicBezTo>
                  <a:pt x="6608912" y="3363533"/>
                  <a:pt x="6604420" y="3362088"/>
                  <a:pt x="6600237" y="3361571"/>
                </a:cubicBezTo>
                <a:cubicBezTo>
                  <a:pt x="6599928" y="3360229"/>
                  <a:pt x="6599618" y="3359197"/>
                  <a:pt x="6599153" y="3358371"/>
                </a:cubicBezTo>
                <a:lnTo>
                  <a:pt x="6597449" y="3356305"/>
                </a:lnTo>
                <a:lnTo>
                  <a:pt x="6587691" y="3354550"/>
                </a:lnTo>
                <a:cubicBezTo>
                  <a:pt x="6584438" y="3353724"/>
                  <a:pt x="6581340" y="3352692"/>
                  <a:pt x="6578242" y="3351866"/>
                </a:cubicBezTo>
                <a:cubicBezTo>
                  <a:pt x="6571581" y="3350523"/>
                  <a:pt x="6564921" y="3348458"/>
                  <a:pt x="6558570" y="3347942"/>
                </a:cubicBezTo>
                <a:cubicBezTo>
                  <a:pt x="6555008" y="3347632"/>
                  <a:pt x="6551600" y="3347322"/>
                  <a:pt x="6547728" y="3347735"/>
                </a:cubicBezTo>
                <a:close/>
                <a:moveTo>
                  <a:pt x="239452" y="3345163"/>
                </a:moveTo>
                <a:cubicBezTo>
                  <a:pt x="243685" y="3349500"/>
                  <a:pt x="242136" y="3353682"/>
                  <a:pt x="238316" y="3356470"/>
                </a:cubicBezTo>
                <a:cubicBezTo>
                  <a:pt x="231811" y="3361272"/>
                  <a:pt x="219110" y="3362666"/>
                  <a:pt x="216322" y="3354921"/>
                </a:cubicBezTo>
                <a:cubicBezTo>
                  <a:pt x="218800" y="3352288"/>
                  <a:pt x="221898" y="3349810"/>
                  <a:pt x="225615" y="3348106"/>
                </a:cubicBezTo>
                <a:cubicBezTo>
                  <a:pt x="229436" y="3346247"/>
                  <a:pt x="233876" y="3345163"/>
                  <a:pt x="239452" y="3345163"/>
                </a:cubicBezTo>
                <a:close/>
                <a:moveTo>
                  <a:pt x="253288" y="3343304"/>
                </a:moveTo>
                <a:cubicBezTo>
                  <a:pt x="254940" y="3345163"/>
                  <a:pt x="253184" y="3347486"/>
                  <a:pt x="252256" y="3347331"/>
                </a:cubicBezTo>
                <a:cubicBezTo>
                  <a:pt x="251429" y="3346402"/>
                  <a:pt x="251429" y="3344698"/>
                  <a:pt x="250603" y="3343768"/>
                </a:cubicBezTo>
                <a:cubicBezTo>
                  <a:pt x="251532" y="3343924"/>
                  <a:pt x="252359" y="3343149"/>
                  <a:pt x="253288" y="3343304"/>
                </a:cubicBezTo>
                <a:close/>
                <a:moveTo>
                  <a:pt x="304296" y="3339741"/>
                </a:moveTo>
                <a:cubicBezTo>
                  <a:pt x="303780" y="3340361"/>
                  <a:pt x="303677" y="3342220"/>
                  <a:pt x="302438" y="3342529"/>
                </a:cubicBezTo>
                <a:cubicBezTo>
                  <a:pt x="301302" y="3342684"/>
                  <a:pt x="301302" y="3342684"/>
                  <a:pt x="299753" y="3341755"/>
                </a:cubicBezTo>
                <a:cubicBezTo>
                  <a:pt x="300786" y="3340825"/>
                  <a:pt x="301302" y="3340516"/>
                  <a:pt x="301921" y="3340206"/>
                </a:cubicBezTo>
                <a:cubicBezTo>
                  <a:pt x="302438" y="3340051"/>
                  <a:pt x="303057" y="3339896"/>
                  <a:pt x="304296" y="3339741"/>
                </a:cubicBezTo>
                <a:close/>
                <a:moveTo>
                  <a:pt x="305535" y="3337728"/>
                </a:moveTo>
                <a:cubicBezTo>
                  <a:pt x="306258" y="3338192"/>
                  <a:pt x="305845" y="3338967"/>
                  <a:pt x="304709" y="3339277"/>
                </a:cubicBezTo>
                <a:cubicBezTo>
                  <a:pt x="304709" y="3339277"/>
                  <a:pt x="303987" y="3338812"/>
                  <a:pt x="303987" y="3338812"/>
                </a:cubicBezTo>
                <a:cubicBezTo>
                  <a:pt x="304193" y="3338347"/>
                  <a:pt x="304399" y="3338037"/>
                  <a:pt x="304709" y="3337882"/>
                </a:cubicBezTo>
                <a:cubicBezTo>
                  <a:pt x="304916" y="3337573"/>
                  <a:pt x="305226" y="3337573"/>
                  <a:pt x="305535" y="3337728"/>
                </a:cubicBezTo>
                <a:close/>
                <a:moveTo>
                  <a:pt x="360468" y="3336179"/>
                </a:moveTo>
                <a:cubicBezTo>
                  <a:pt x="362843" y="3336489"/>
                  <a:pt x="363668" y="3337882"/>
                  <a:pt x="363359" y="3338967"/>
                </a:cubicBezTo>
                <a:cubicBezTo>
                  <a:pt x="362223" y="3348570"/>
                  <a:pt x="353756" y="3350119"/>
                  <a:pt x="352724" y="3351823"/>
                </a:cubicBezTo>
                <a:cubicBezTo>
                  <a:pt x="350039" y="3351358"/>
                  <a:pt x="349419" y="3351358"/>
                  <a:pt x="349729" y="3348570"/>
                </a:cubicBezTo>
                <a:cubicBezTo>
                  <a:pt x="349832" y="3347641"/>
                  <a:pt x="349936" y="3346402"/>
                  <a:pt x="350245" y="3344853"/>
                </a:cubicBezTo>
                <a:cubicBezTo>
                  <a:pt x="350555" y="3343614"/>
                  <a:pt x="351071" y="3342529"/>
                  <a:pt x="352001" y="3341600"/>
                </a:cubicBezTo>
                <a:cubicBezTo>
                  <a:pt x="352827" y="3340671"/>
                  <a:pt x="353963" y="3339896"/>
                  <a:pt x="355202" y="3339586"/>
                </a:cubicBezTo>
                <a:cubicBezTo>
                  <a:pt x="356234" y="3337882"/>
                  <a:pt x="358506" y="3336489"/>
                  <a:pt x="360468" y="3336179"/>
                </a:cubicBezTo>
                <a:close/>
                <a:moveTo>
                  <a:pt x="307807" y="3334320"/>
                </a:moveTo>
                <a:cubicBezTo>
                  <a:pt x="307807" y="3334320"/>
                  <a:pt x="308014" y="3335404"/>
                  <a:pt x="308014" y="3335404"/>
                </a:cubicBezTo>
                <a:cubicBezTo>
                  <a:pt x="306878" y="3335714"/>
                  <a:pt x="307497" y="3336179"/>
                  <a:pt x="306155" y="3335249"/>
                </a:cubicBezTo>
                <a:cubicBezTo>
                  <a:pt x="307291" y="3334939"/>
                  <a:pt x="307394" y="3334939"/>
                  <a:pt x="307807" y="3334320"/>
                </a:cubicBezTo>
                <a:close/>
                <a:moveTo>
                  <a:pt x="109658" y="3334165"/>
                </a:moveTo>
                <a:cubicBezTo>
                  <a:pt x="111311" y="3333546"/>
                  <a:pt x="113272" y="3333701"/>
                  <a:pt x="115957" y="3335404"/>
                </a:cubicBezTo>
                <a:cubicBezTo>
                  <a:pt x="116370" y="3339896"/>
                  <a:pt x="113582" y="3340051"/>
                  <a:pt x="110794" y="3340206"/>
                </a:cubicBezTo>
                <a:cubicBezTo>
                  <a:pt x="111207" y="3338037"/>
                  <a:pt x="109039" y="3337263"/>
                  <a:pt x="108935" y="3335869"/>
                </a:cubicBezTo>
                <a:cubicBezTo>
                  <a:pt x="108832" y="3335404"/>
                  <a:pt x="109039" y="3334785"/>
                  <a:pt x="109658" y="3334165"/>
                </a:cubicBezTo>
                <a:close/>
                <a:moveTo>
                  <a:pt x="6640820" y="3330182"/>
                </a:moveTo>
                <a:lnTo>
                  <a:pt x="6642834" y="3335345"/>
                </a:lnTo>
                <a:cubicBezTo>
                  <a:pt x="6642834" y="3337100"/>
                  <a:pt x="6642059" y="3338649"/>
                  <a:pt x="6640820" y="3340198"/>
                </a:cubicBezTo>
                <a:lnTo>
                  <a:pt x="6632301" y="3349078"/>
                </a:lnTo>
                <a:lnTo>
                  <a:pt x="6632921" y="3349078"/>
                </a:lnTo>
                <a:cubicBezTo>
                  <a:pt x="6634469" y="3351039"/>
                  <a:pt x="6632921" y="3351349"/>
                  <a:pt x="6632146" y="3353414"/>
                </a:cubicBezTo>
                <a:cubicBezTo>
                  <a:pt x="6634779" y="3354137"/>
                  <a:pt x="6636948" y="3352589"/>
                  <a:pt x="6637103" y="3349594"/>
                </a:cubicBezTo>
                <a:cubicBezTo>
                  <a:pt x="6638187" y="3351039"/>
                  <a:pt x="6640046" y="3351969"/>
                  <a:pt x="6642369" y="3352795"/>
                </a:cubicBezTo>
                <a:lnTo>
                  <a:pt x="6643918" y="3353208"/>
                </a:lnTo>
                <a:lnTo>
                  <a:pt x="6646706" y="3352589"/>
                </a:lnTo>
                <a:cubicBezTo>
                  <a:pt x="6647636" y="3353208"/>
                  <a:pt x="6647946" y="3353724"/>
                  <a:pt x="6647791" y="3354240"/>
                </a:cubicBezTo>
                <a:lnTo>
                  <a:pt x="6647636" y="3354344"/>
                </a:lnTo>
                <a:lnTo>
                  <a:pt x="6649649" y="3354963"/>
                </a:lnTo>
                <a:lnTo>
                  <a:pt x="6652902" y="3356305"/>
                </a:lnTo>
                <a:lnTo>
                  <a:pt x="6652128" y="3355789"/>
                </a:lnTo>
                <a:cubicBezTo>
                  <a:pt x="6655381" y="3356202"/>
                  <a:pt x="6657239" y="3358784"/>
                  <a:pt x="6661112" y="3359403"/>
                </a:cubicBezTo>
                <a:lnTo>
                  <a:pt x="6662196" y="3359300"/>
                </a:lnTo>
                <a:lnTo>
                  <a:pt x="6662970" y="3359094"/>
                </a:lnTo>
                <a:lnTo>
                  <a:pt x="6663590" y="3359197"/>
                </a:lnTo>
                <a:lnTo>
                  <a:pt x="6665603" y="3359197"/>
                </a:lnTo>
                <a:cubicBezTo>
                  <a:pt x="6668547" y="3354860"/>
                  <a:pt x="6659563" y="3355789"/>
                  <a:pt x="6664829" y="3352898"/>
                </a:cubicBezTo>
                <a:cubicBezTo>
                  <a:pt x="6660492" y="3350833"/>
                  <a:pt x="6656929" y="3348252"/>
                  <a:pt x="6653522" y="3345670"/>
                </a:cubicBezTo>
                <a:cubicBezTo>
                  <a:pt x="6650889" y="3342572"/>
                  <a:pt x="6647481" y="3339991"/>
                  <a:pt x="6643918" y="3337410"/>
                </a:cubicBezTo>
                <a:cubicBezTo>
                  <a:pt x="6646706" y="3333796"/>
                  <a:pt x="6660337" y="3347013"/>
                  <a:pt x="6664984" y="3341643"/>
                </a:cubicBezTo>
                <a:cubicBezTo>
                  <a:pt x="6662041" y="3337720"/>
                  <a:pt x="6657859" y="3334932"/>
                  <a:pt x="6652592" y="3333279"/>
                </a:cubicBezTo>
                <a:close/>
                <a:moveTo>
                  <a:pt x="217768" y="3329828"/>
                </a:moveTo>
                <a:cubicBezTo>
                  <a:pt x="220143" y="3328279"/>
                  <a:pt x="224376" y="3330602"/>
                  <a:pt x="225099" y="3333081"/>
                </a:cubicBezTo>
                <a:cubicBezTo>
                  <a:pt x="223550" y="3336798"/>
                  <a:pt x="217974" y="3336179"/>
                  <a:pt x="216116" y="3332926"/>
                </a:cubicBezTo>
                <a:cubicBezTo>
                  <a:pt x="216322" y="3331377"/>
                  <a:pt x="216942" y="3330447"/>
                  <a:pt x="217768" y="3329828"/>
                </a:cubicBezTo>
                <a:close/>
                <a:moveTo>
                  <a:pt x="377918" y="3326265"/>
                </a:moveTo>
                <a:cubicBezTo>
                  <a:pt x="381222" y="3327350"/>
                  <a:pt x="383907" y="3329983"/>
                  <a:pt x="385662" y="3335869"/>
                </a:cubicBezTo>
                <a:cubicBezTo>
                  <a:pt x="380086" y="3342529"/>
                  <a:pt x="375647" y="3339277"/>
                  <a:pt x="371310" y="3336024"/>
                </a:cubicBezTo>
                <a:cubicBezTo>
                  <a:pt x="375956" y="3332461"/>
                  <a:pt x="370484" y="3327040"/>
                  <a:pt x="377918" y="3326265"/>
                </a:cubicBezTo>
                <a:close/>
                <a:moveTo>
                  <a:pt x="317100" y="3324871"/>
                </a:moveTo>
                <a:cubicBezTo>
                  <a:pt x="316274" y="3326265"/>
                  <a:pt x="310698" y="3333235"/>
                  <a:pt x="307910" y="3334320"/>
                </a:cubicBezTo>
                <a:cubicBezTo>
                  <a:pt x="310905" y="3331377"/>
                  <a:pt x="313176" y="3326111"/>
                  <a:pt x="317100" y="3324871"/>
                </a:cubicBezTo>
                <a:close/>
                <a:moveTo>
                  <a:pt x="245750" y="3323942"/>
                </a:moveTo>
                <a:cubicBezTo>
                  <a:pt x="243169" y="3326730"/>
                  <a:pt x="240691" y="3329518"/>
                  <a:pt x="237593" y="3331842"/>
                </a:cubicBezTo>
                <a:cubicBezTo>
                  <a:pt x="234598" y="3334165"/>
                  <a:pt x="230984" y="3336024"/>
                  <a:pt x="225925" y="3336643"/>
                </a:cubicBezTo>
                <a:cubicBezTo>
                  <a:pt x="225822" y="3331687"/>
                  <a:pt x="229126" y="3328434"/>
                  <a:pt x="233256" y="3326575"/>
                </a:cubicBezTo>
                <a:cubicBezTo>
                  <a:pt x="237386" y="3324561"/>
                  <a:pt x="242343" y="3323942"/>
                  <a:pt x="245750" y="3323942"/>
                </a:cubicBezTo>
                <a:close/>
                <a:moveTo>
                  <a:pt x="6539363" y="3323677"/>
                </a:moveTo>
                <a:cubicBezTo>
                  <a:pt x="6543545" y="3329046"/>
                  <a:pt x="6547882" y="3334519"/>
                  <a:pt x="6542306" y="3339062"/>
                </a:cubicBezTo>
                <a:cubicBezTo>
                  <a:pt x="6536265" y="3338649"/>
                  <a:pt x="6532703" y="3333589"/>
                  <a:pt x="6535026" y="3328530"/>
                </a:cubicBezTo>
                <a:cubicBezTo>
                  <a:pt x="6535800" y="3326878"/>
                  <a:pt x="6537195" y="3325226"/>
                  <a:pt x="6539363" y="3323677"/>
                </a:cubicBezTo>
                <a:close/>
                <a:moveTo>
                  <a:pt x="169857" y="3318210"/>
                </a:moveTo>
                <a:cubicBezTo>
                  <a:pt x="173264" y="3319760"/>
                  <a:pt x="172438" y="3318985"/>
                  <a:pt x="175020" y="3322083"/>
                </a:cubicBezTo>
                <a:cubicBezTo>
                  <a:pt x="173161" y="3323942"/>
                  <a:pt x="171302" y="3325646"/>
                  <a:pt x="169444" y="3327350"/>
                </a:cubicBezTo>
                <a:cubicBezTo>
                  <a:pt x="168618" y="3325801"/>
                  <a:pt x="166965" y="3325026"/>
                  <a:pt x="166036" y="3324252"/>
                </a:cubicBezTo>
                <a:cubicBezTo>
                  <a:pt x="166140" y="3321773"/>
                  <a:pt x="167069" y="3320069"/>
                  <a:pt x="169857" y="3318210"/>
                </a:cubicBezTo>
                <a:close/>
                <a:moveTo>
                  <a:pt x="541889" y="3318056"/>
                </a:moveTo>
                <a:cubicBezTo>
                  <a:pt x="542818" y="3320224"/>
                  <a:pt x="543954" y="3320844"/>
                  <a:pt x="543128" y="3320999"/>
                </a:cubicBezTo>
                <a:cubicBezTo>
                  <a:pt x="543438" y="3321773"/>
                  <a:pt x="542715" y="3322083"/>
                  <a:pt x="542405" y="3321309"/>
                </a:cubicBezTo>
                <a:cubicBezTo>
                  <a:pt x="541373" y="3321154"/>
                  <a:pt x="541166" y="3320534"/>
                  <a:pt x="541166" y="3319914"/>
                </a:cubicBezTo>
                <a:cubicBezTo>
                  <a:pt x="541269" y="3319295"/>
                  <a:pt x="541682" y="3318521"/>
                  <a:pt x="541889" y="3318056"/>
                </a:cubicBezTo>
                <a:close/>
                <a:moveTo>
                  <a:pt x="6697358" y="3317171"/>
                </a:moveTo>
                <a:lnTo>
                  <a:pt x="6697667" y="3318101"/>
                </a:lnTo>
                <a:lnTo>
                  <a:pt x="6697822" y="3317791"/>
                </a:lnTo>
                <a:close/>
                <a:moveTo>
                  <a:pt x="325464" y="3315113"/>
                </a:moveTo>
                <a:cubicBezTo>
                  <a:pt x="325360" y="3316971"/>
                  <a:pt x="324431" y="3320069"/>
                  <a:pt x="322159" y="3320379"/>
                </a:cubicBezTo>
                <a:cubicBezTo>
                  <a:pt x="322159" y="3320379"/>
                  <a:pt x="322159" y="3320379"/>
                  <a:pt x="321024" y="3320689"/>
                </a:cubicBezTo>
                <a:cubicBezTo>
                  <a:pt x="322263" y="3318675"/>
                  <a:pt x="323915" y="3316042"/>
                  <a:pt x="325464" y="3315113"/>
                </a:cubicBezTo>
                <a:close/>
                <a:moveTo>
                  <a:pt x="6695808" y="3313558"/>
                </a:moveTo>
                <a:cubicBezTo>
                  <a:pt x="6693175" y="3313351"/>
                  <a:pt x="6686515" y="3312112"/>
                  <a:pt x="6684811" y="3313970"/>
                </a:cubicBezTo>
                <a:lnTo>
                  <a:pt x="6684656" y="3314590"/>
                </a:lnTo>
                <a:lnTo>
                  <a:pt x="6691161" y="3316655"/>
                </a:lnTo>
                <a:lnTo>
                  <a:pt x="6697358" y="3316965"/>
                </a:lnTo>
                <a:lnTo>
                  <a:pt x="6696428" y="3315726"/>
                </a:lnTo>
                <a:cubicBezTo>
                  <a:pt x="6695963" y="3315210"/>
                  <a:pt x="6695499" y="3314590"/>
                  <a:pt x="6695808" y="3313558"/>
                </a:cubicBezTo>
                <a:close/>
                <a:moveTo>
                  <a:pt x="331350" y="3310776"/>
                </a:moveTo>
                <a:cubicBezTo>
                  <a:pt x="334034" y="3310466"/>
                  <a:pt x="337132" y="3311240"/>
                  <a:pt x="339920" y="3312479"/>
                </a:cubicBezTo>
                <a:lnTo>
                  <a:pt x="341468" y="3313564"/>
                </a:lnTo>
                <a:lnTo>
                  <a:pt x="342088" y="3313719"/>
                </a:lnTo>
                <a:lnTo>
                  <a:pt x="343017" y="3314648"/>
                </a:lnTo>
                <a:lnTo>
                  <a:pt x="346838" y="3317126"/>
                </a:lnTo>
                <a:cubicBezTo>
                  <a:pt x="347148" y="3321154"/>
                  <a:pt x="345909" y="3323632"/>
                  <a:pt x="343947" y="3325026"/>
                </a:cubicBezTo>
                <a:cubicBezTo>
                  <a:pt x="338164" y="3328899"/>
                  <a:pt x="325670" y="3322393"/>
                  <a:pt x="326496" y="3313099"/>
                </a:cubicBezTo>
                <a:cubicBezTo>
                  <a:pt x="327839" y="3311860"/>
                  <a:pt x="329491" y="3311086"/>
                  <a:pt x="331350" y="3310776"/>
                </a:cubicBezTo>
                <a:close/>
                <a:moveTo>
                  <a:pt x="6681248" y="3309737"/>
                </a:moveTo>
                <a:lnTo>
                  <a:pt x="6677376" y="3311905"/>
                </a:lnTo>
                <a:lnTo>
                  <a:pt x="6678305" y="3311905"/>
                </a:lnTo>
                <a:lnTo>
                  <a:pt x="6682023" y="3313454"/>
                </a:lnTo>
                <a:lnTo>
                  <a:pt x="6682023" y="3312319"/>
                </a:lnTo>
                <a:cubicBezTo>
                  <a:pt x="6681868" y="3311389"/>
                  <a:pt x="6681713" y="3310460"/>
                  <a:pt x="6681248" y="3309737"/>
                </a:cubicBezTo>
                <a:close/>
                <a:moveTo>
                  <a:pt x="6673348" y="3309531"/>
                </a:moveTo>
                <a:cubicBezTo>
                  <a:pt x="6672109" y="3309944"/>
                  <a:pt x="6671180" y="3310563"/>
                  <a:pt x="6670250" y="3311389"/>
                </a:cubicBezTo>
                <a:lnTo>
                  <a:pt x="6668702" y="3312835"/>
                </a:lnTo>
                <a:lnTo>
                  <a:pt x="6670870" y="3314074"/>
                </a:lnTo>
                <a:cubicBezTo>
                  <a:pt x="6672419" y="3313764"/>
                  <a:pt x="6674897" y="3313041"/>
                  <a:pt x="6673039" y="3311802"/>
                </a:cubicBezTo>
                <a:lnTo>
                  <a:pt x="6675982" y="3311802"/>
                </a:lnTo>
                <a:lnTo>
                  <a:pt x="6675362" y="3311596"/>
                </a:lnTo>
                <a:cubicBezTo>
                  <a:pt x="6674743" y="3311183"/>
                  <a:pt x="6673968" y="3310563"/>
                  <a:pt x="6673348" y="3309531"/>
                </a:cubicBezTo>
                <a:close/>
                <a:moveTo>
                  <a:pt x="257934" y="3307523"/>
                </a:moveTo>
                <a:cubicBezTo>
                  <a:pt x="260413" y="3307833"/>
                  <a:pt x="264956" y="3311086"/>
                  <a:pt x="264749" y="3315267"/>
                </a:cubicBezTo>
                <a:cubicBezTo>
                  <a:pt x="260413" y="3318985"/>
                  <a:pt x="257212" y="3317746"/>
                  <a:pt x="254837" y="3313099"/>
                </a:cubicBezTo>
                <a:cubicBezTo>
                  <a:pt x="256076" y="3311550"/>
                  <a:pt x="256489" y="3309846"/>
                  <a:pt x="257934" y="3307523"/>
                </a:cubicBezTo>
                <a:close/>
                <a:moveTo>
                  <a:pt x="586392" y="3304115"/>
                </a:moveTo>
                <a:lnTo>
                  <a:pt x="585876" y="3305509"/>
                </a:lnTo>
                <a:cubicBezTo>
                  <a:pt x="585256" y="3307678"/>
                  <a:pt x="584533" y="3309691"/>
                  <a:pt x="583501" y="3311395"/>
                </a:cubicBezTo>
                <a:lnTo>
                  <a:pt x="579784" y="3314183"/>
                </a:lnTo>
                <a:lnTo>
                  <a:pt x="579681" y="3314338"/>
                </a:lnTo>
                <a:lnTo>
                  <a:pt x="576893" y="3321928"/>
                </a:lnTo>
                <a:lnTo>
                  <a:pt x="581952" y="3323168"/>
                </a:lnTo>
                <a:lnTo>
                  <a:pt x="582262" y="3323322"/>
                </a:lnTo>
                <a:lnTo>
                  <a:pt x="587735" y="3305664"/>
                </a:lnTo>
                <a:close/>
                <a:moveTo>
                  <a:pt x="6627344" y="3303645"/>
                </a:moveTo>
                <a:lnTo>
                  <a:pt x="6627035" y="3303748"/>
                </a:lnTo>
                <a:lnTo>
                  <a:pt x="6627344" y="3303852"/>
                </a:lnTo>
                <a:close/>
                <a:moveTo>
                  <a:pt x="6553768" y="3302819"/>
                </a:moveTo>
                <a:cubicBezTo>
                  <a:pt x="6551290" y="3305813"/>
                  <a:pt x="6544939" y="3305400"/>
                  <a:pt x="6543855" y="3310357"/>
                </a:cubicBezTo>
                <a:cubicBezTo>
                  <a:pt x="6537504" y="3309840"/>
                  <a:pt x="6547263" y="3306846"/>
                  <a:pt x="6542771" y="3303129"/>
                </a:cubicBezTo>
                <a:cubicBezTo>
                  <a:pt x="6536730" y="3303542"/>
                  <a:pt x="6529760" y="3311183"/>
                  <a:pt x="6524183" y="3308704"/>
                </a:cubicBezTo>
                <a:cubicBezTo>
                  <a:pt x="6524183" y="3308704"/>
                  <a:pt x="6523564" y="3304058"/>
                  <a:pt x="6522634" y="3304574"/>
                </a:cubicBezTo>
                <a:cubicBezTo>
                  <a:pt x="6518917" y="3304884"/>
                  <a:pt x="6516903" y="3308808"/>
                  <a:pt x="6512411" y="3308911"/>
                </a:cubicBezTo>
                <a:cubicBezTo>
                  <a:pt x="6512411" y="3308911"/>
                  <a:pt x="6513341" y="3306226"/>
                  <a:pt x="6514115" y="3306433"/>
                </a:cubicBezTo>
                <a:cubicBezTo>
                  <a:pt x="6511792" y="3306433"/>
                  <a:pt x="6507145" y="3309531"/>
                  <a:pt x="6504976" y="3309531"/>
                </a:cubicBezTo>
                <a:cubicBezTo>
                  <a:pt x="6500484" y="3309737"/>
                  <a:pt x="6495992" y="3303852"/>
                  <a:pt x="6490726" y="3304471"/>
                </a:cubicBezTo>
                <a:cubicBezTo>
                  <a:pt x="6486079" y="3305297"/>
                  <a:pt x="6483136" y="3311905"/>
                  <a:pt x="6479109" y="3312938"/>
                </a:cubicBezTo>
                <a:cubicBezTo>
                  <a:pt x="6475236" y="3313970"/>
                  <a:pt x="6471209" y="3312731"/>
                  <a:pt x="6467956" y="3311802"/>
                </a:cubicBezTo>
                <a:cubicBezTo>
                  <a:pt x="6465943" y="3311183"/>
                  <a:pt x="6464394" y="3311389"/>
                  <a:pt x="6462844" y="3311699"/>
                </a:cubicBezTo>
                <a:cubicBezTo>
                  <a:pt x="6462225" y="3311492"/>
                  <a:pt x="6461606" y="3311286"/>
                  <a:pt x="6461606" y="3311286"/>
                </a:cubicBezTo>
                <a:cubicBezTo>
                  <a:pt x="6460676" y="3311699"/>
                  <a:pt x="6460676" y="3311699"/>
                  <a:pt x="6459747" y="3312215"/>
                </a:cubicBezTo>
                <a:cubicBezTo>
                  <a:pt x="6458972" y="3312731"/>
                  <a:pt x="6458043" y="3313248"/>
                  <a:pt x="6457113" y="3313661"/>
                </a:cubicBezTo>
                <a:cubicBezTo>
                  <a:pt x="6451692" y="3315003"/>
                  <a:pt x="6450763" y="3310976"/>
                  <a:pt x="6446426" y="3311079"/>
                </a:cubicBezTo>
                <a:cubicBezTo>
                  <a:pt x="6441469" y="3312628"/>
                  <a:pt x="6437287" y="3314384"/>
                  <a:pt x="6433259" y="3315313"/>
                </a:cubicBezTo>
                <a:cubicBezTo>
                  <a:pt x="6430936" y="3316139"/>
                  <a:pt x="6429077" y="3317068"/>
                  <a:pt x="6426909" y="3317068"/>
                </a:cubicBezTo>
                <a:cubicBezTo>
                  <a:pt x="6426909" y="3317068"/>
                  <a:pt x="6426909" y="3317068"/>
                  <a:pt x="6425205" y="3318101"/>
                </a:cubicBezTo>
                <a:cubicBezTo>
                  <a:pt x="6425205" y="3318101"/>
                  <a:pt x="6425205" y="3318101"/>
                  <a:pt x="6424431" y="3317894"/>
                </a:cubicBezTo>
                <a:cubicBezTo>
                  <a:pt x="6424276" y="3318514"/>
                  <a:pt x="6423656" y="3318411"/>
                  <a:pt x="6423656" y="3318411"/>
                </a:cubicBezTo>
                <a:cubicBezTo>
                  <a:pt x="6423656" y="3318411"/>
                  <a:pt x="6423656" y="3318411"/>
                  <a:pt x="6422107" y="3318617"/>
                </a:cubicBezTo>
                <a:cubicBezTo>
                  <a:pt x="6418544" y="3320579"/>
                  <a:pt x="6413433" y="3322747"/>
                  <a:pt x="6408941" y="3325122"/>
                </a:cubicBezTo>
                <a:cubicBezTo>
                  <a:pt x="6409096" y="3328943"/>
                  <a:pt x="6405378" y="3339888"/>
                  <a:pt x="6410180" y="3338339"/>
                </a:cubicBezTo>
                <a:cubicBezTo>
                  <a:pt x="6409406" y="3338855"/>
                  <a:pt x="6408631" y="3338649"/>
                  <a:pt x="6407856" y="3339062"/>
                </a:cubicBezTo>
                <a:cubicBezTo>
                  <a:pt x="6407856" y="3339062"/>
                  <a:pt x="6407702" y="3339062"/>
                  <a:pt x="6401661" y="3340198"/>
                </a:cubicBezTo>
                <a:cubicBezTo>
                  <a:pt x="6401661" y="3340198"/>
                  <a:pt x="6401661" y="3340198"/>
                  <a:pt x="6400886" y="3339991"/>
                </a:cubicBezTo>
                <a:cubicBezTo>
                  <a:pt x="6400886" y="3339991"/>
                  <a:pt x="6400886" y="3339991"/>
                  <a:pt x="6400112" y="3340507"/>
                </a:cubicBezTo>
                <a:cubicBezTo>
                  <a:pt x="6399802" y="3341127"/>
                  <a:pt x="6399182" y="3340921"/>
                  <a:pt x="6398253" y="3341437"/>
                </a:cubicBezTo>
                <a:cubicBezTo>
                  <a:pt x="6395620" y="3342882"/>
                  <a:pt x="6393141" y="3343605"/>
                  <a:pt x="6391128" y="3345257"/>
                </a:cubicBezTo>
                <a:cubicBezTo>
                  <a:pt x="6389269" y="3346496"/>
                  <a:pt x="6388030" y="3347942"/>
                  <a:pt x="6388030" y="3349284"/>
                </a:cubicBezTo>
                <a:cubicBezTo>
                  <a:pt x="6388185" y="3350523"/>
                  <a:pt x="6389269" y="3351866"/>
                  <a:pt x="6392057" y="3353104"/>
                </a:cubicBezTo>
                <a:cubicBezTo>
                  <a:pt x="6394690" y="3353931"/>
                  <a:pt x="6399027" y="3349904"/>
                  <a:pt x="6397478" y="3350214"/>
                </a:cubicBezTo>
                <a:cubicBezTo>
                  <a:pt x="6398098" y="3350420"/>
                  <a:pt x="6399647" y="3350110"/>
                  <a:pt x="6401196" y="3349904"/>
                </a:cubicBezTo>
                <a:cubicBezTo>
                  <a:pt x="6401816" y="3350110"/>
                  <a:pt x="6402745" y="3349594"/>
                  <a:pt x="6403364" y="3349800"/>
                </a:cubicBezTo>
                <a:cubicBezTo>
                  <a:pt x="6403364" y="3349800"/>
                  <a:pt x="6403364" y="3349800"/>
                  <a:pt x="6403674" y="3349078"/>
                </a:cubicBezTo>
                <a:cubicBezTo>
                  <a:pt x="6403674" y="3349078"/>
                  <a:pt x="6403674" y="3349078"/>
                  <a:pt x="6409251" y="3347838"/>
                </a:cubicBezTo>
                <a:cubicBezTo>
                  <a:pt x="6409251" y="3347838"/>
                  <a:pt x="6409251" y="3347838"/>
                  <a:pt x="6409870" y="3348045"/>
                </a:cubicBezTo>
                <a:cubicBezTo>
                  <a:pt x="6409870" y="3348045"/>
                  <a:pt x="6409870" y="3348045"/>
                  <a:pt x="6409560" y="3348768"/>
                </a:cubicBezTo>
                <a:cubicBezTo>
                  <a:pt x="6409560" y="3348768"/>
                  <a:pt x="6409560" y="3348665"/>
                  <a:pt x="6410180" y="3348871"/>
                </a:cubicBezTo>
                <a:cubicBezTo>
                  <a:pt x="6412503" y="3348871"/>
                  <a:pt x="6414052" y="3348561"/>
                  <a:pt x="6415601" y="3348252"/>
                </a:cubicBezTo>
                <a:cubicBezTo>
                  <a:pt x="6419474" y="3347219"/>
                  <a:pt x="6423036" y="3345360"/>
                  <a:pt x="6425979" y="3341024"/>
                </a:cubicBezTo>
                <a:cubicBezTo>
                  <a:pt x="6425979" y="3341024"/>
                  <a:pt x="6425979" y="3340921"/>
                  <a:pt x="6426754" y="3341127"/>
                </a:cubicBezTo>
                <a:cubicBezTo>
                  <a:pt x="6426754" y="3341127"/>
                  <a:pt x="6426754" y="3341127"/>
                  <a:pt x="6427528" y="3340611"/>
                </a:cubicBezTo>
                <a:cubicBezTo>
                  <a:pt x="6427528" y="3340611"/>
                  <a:pt x="6427528" y="3340714"/>
                  <a:pt x="6428303" y="3340921"/>
                </a:cubicBezTo>
                <a:cubicBezTo>
                  <a:pt x="6428303" y="3340921"/>
                  <a:pt x="6428303" y="3340921"/>
                  <a:pt x="6432020" y="3340507"/>
                </a:cubicBezTo>
                <a:cubicBezTo>
                  <a:pt x="6434189" y="3340404"/>
                  <a:pt x="6437287" y="3339888"/>
                  <a:pt x="6439455" y="3339785"/>
                </a:cubicBezTo>
                <a:cubicBezTo>
                  <a:pt x="6444102" y="3338959"/>
                  <a:pt x="6449369" y="3338442"/>
                  <a:pt x="6453861" y="3338236"/>
                </a:cubicBezTo>
                <a:cubicBezTo>
                  <a:pt x="6456184" y="3337513"/>
                  <a:pt x="6458508" y="3337410"/>
                  <a:pt x="6460831" y="3336687"/>
                </a:cubicBezTo>
                <a:cubicBezTo>
                  <a:pt x="6460831" y="3336687"/>
                  <a:pt x="6460831" y="3336687"/>
                  <a:pt x="6462380" y="3336377"/>
                </a:cubicBezTo>
                <a:cubicBezTo>
                  <a:pt x="6462380" y="3336377"/>
                  <a:pt x="6462380" y="3336377"/>
                  <a:pt x="6463774" y="3336790"/>
                </a:cubicBezTo>
                <a:cubicBezTo>
                  <a:pt x="6463774" y="3336790"/>
                  <a:pt x="6463774" y="3336790"/>
                  <a:pt x="6466872" y="3336170"/>
                </a:cubicBezTo>
                <a:cubicBezTo>
                  <a:pt x="6471209" y="3336067"/>
                  <a:pt x="6475236" y="3335035"/>
                  <a:pt x="6478954" y="3334725"/>
                </a:cubicBezTo>
                <a:cubicBezTo>
                  <a:pt x="6482671" y="3334415"/>
                  <a:pt x="6486544" y="3334002"/>
                  <a:pt x="6490881" y="3333899"/>
                </a:cubicBezTo>
                <a:cubicBezTo>
                  <a:pt x="6494598" y="3333486"/>
                  <a:pt x="6498161" y="3333796"/>
                  <a:pt x="6502498" y="3333693"/>
                </a:cubicBezTo>
                <a:cubicBezTo>
                  <a:pt x="6509778" y="3333693"/>
                  <a:pt x="6517523" y="3334519"/>
                  <a:pt x="6524958" y="3336067"/>
                </a:cubicBezTo>
                <a:cubicBezTo>
                  <a:pt x="6523409" y="3351349"/>
                  <a:pt x="6547418" y="3346806"/>
                  <a:pt x="6556092" y="3342676"/>
                </a:cubicBezTo>
                <a:cubicBezTo>
                  <a:pt x="6562133" y="3343812"/>
                  <a:pt x="6568639" y="3344225"/>
                  <a:pt x="6574989" y="3344741"/>
                </a:cubicBezTo>
                <a:cubicBezTo>
                  <a:pt x="6576538" y="3344431"/>
                  <a:pt x="6577778" y="3344844"/>
                  <a:pt x="6579326" y="3344637"/>
                </a:cubicBezTo>
                <a:cubicBezTo>
                  <a:pt x="6581340" y="3345154"/>
                  <a:pt x="6582889" y="3344947"/>
                  <a:pt x="6584128" y="3345257"/>
                </a:cubicBezTo>
                <a:cubicBezTo>
                  <a:pt x="6587071" y="3345464"/>
                  <a:pt x="6590479" y="3345773"/>
                  <a:pt x="6593422" y="3345980"/>
                </a:cubicBezTo>
                <a:lnTo>
                  <a:pt x="6631526" y="3348974"/>
                </a:lnTo>
                <a:lnTo>
                  <a:pt x="6629358" y="3343399"/>
                </a:lnTo>
                <a:cubicBezTo>
                  <a:pt x="6629048" y="3341540"/>
                  <a:pt x="6629358" y="3339888"/>
                  <a:pt x="6630133" y="3338236"/>
                </a:cubicBezTo>
                <a:cubicBezTo>
                  <a:pt x="6630907" y="3336584"/>
                  <a:pt x="6632146" y="3334932"/>
                  <a:pt x="6633850" y="3333486"/>
                </a:cubicBezTo>
                <a:lnTo>
                  <a:pt x="6639426" y="3329872"/>
                </a:lnTo>
                <a:lnTo>
                  <a:pt x="6636638" y="3329149"/>
                </a:lnTo>
                <a:cubicBezTo>
                  <a:pt x="6640046" y="3325638"/>
                  <a:pt x="6644383" y="3325535"/>
                  <a:pt x="6649804" y="3328736"/>
                </a:cubicBezTo>
                <a:cubicBezTo>
                  <a:pt x="6650269" y="3327394"/>
                  <a:pt x="6649030" y="3326981"/>
                  <a:pt x="6647636" y="3326568"/>
                </a:cubicBezTo>
                <a:cubicBezTo>
                  <a:pt x="6649030" y="3324709"/>
                  <a:pt x="6650734" y="3325948"/>
                  <a:pt x="6652128" y="3326361"/>
                </a:cubicBezTo>
                <a:cubicBezTo>
                  <a:pt x="6646242" y="3324606"/>
                  <a:pt x="6642679" y="3322025"/>
                  <a:pt x="6639271" y="3319443"/>
                </a:cubicBezTo>
                <a:cubicBezTo>
                  <a:pt x="6637413" y="3318101"/>
                  <a:pt x="6635864" y="3316759"/>
                  <a:pt x="6633385" y="3315313"/>
                </a:cubicBezTo>
                <a:cubicBezTo>
                  <a:pt x="6631062" y="3313764"/>
                  <a:pt x="6628429" y="3313041"/>
                  <a:pt x="6625331" y="3311389"/>
                </a:cubicBezTo>
                <a:cubicBezTo>
                  <a:pt x="6626725" y="3308911"/>
                  <a:pt x="6626570" y="3307465"/>
                  <a:pt x="6625486" y="3306433"/>
                </a:cubicBezTo>
                <a:lnTo>
                  <a:pt x="6620839" y="3304471"/>
                </a:lnTo>
                <a:lnTo>
                  <a:pt x="6618050" y="3304781"/>
                </a:lnTo>
                <a:cubicBezTo>
                  <a:pt x="6614953" y="3304781"/>
                  <a:pt x="6611235" y="3304368"/>
                  <a:pt x="6605659" y="3303748"/>
                </a:cubicBezTo>
                <a:cubicBezTo>
                  <a:pt x="6604884" y="3305813"/>
                  <a:pt x="6604884" y="3308085"/>
                  <a:pt x="6606124" y="3308498"/>
                </a:cubicBezTo>
                <a:cubicBezTo>
                  <a:pt x="6601322" y="3307672"/>
                  <a:pt x="6594816" y="3307878"/>
                  <a:pt x="6587536" y="3307982"/>
                </a:cubicBezTo>
                <a:cubicBezTo>
                  <a:pt x="6580721" y="3308808"/>
                  <a:pt x="6573131" y="3309531"/>
                  <a:pt x="6567709" y="3310873"/>
                </a:cubicBezTo>
                <a:cubicBezTo>
                  <a:pt x="6570497" y="3302716"/>
                  <a:pt x="6557331" y="3311389"/>
                  <a:pt x="6553768" y="3302819"/>
                </a:cubicBezTo>
                <a:close/>
                <a:moveTo>
                  <a:pt x="233772" y="3299933"/>
                </a:moveTo>
                <a:cubicBezTo>
                  <a:pt x="242446" y="3295906"/>
                  <a:pt x="255766" y="3303031"/>
                  <a:pt x="250706" y="3310466"/>
                </a:cubicBezTo>
                <a:cubicBezTo>
                  <a:pt x="249984" y="3311395"/>
                  <a:pt x="248951" y="3312479"/>
                  <a:pt x="247402" y="3313564"/>
                </a:cubicBezTo>
                <a:cubicBezTo>
                  <a:pt x="242549" y="3311705"/>
                  <a:pt x="233876" y="3310156"/>
                  <a:pt x="233462" y="3303341"/>
                </a:cubicBezTo>
                <a:cubicBezTo>
                  <a:pt x="233359" y="3302256"/>
                  <a:pt x="233462" y="3301172"/>
                  <a:pt x="233772" y="3299933"/>
                </a:cubicBezTo>
                <a:close/>
                <a:moveTo>
                  <a:pt x="298721" y="3298694"/>
                </a:moveTo>
                <a:cubicBezTo>
                  <a:pt x="299753" y="3300243"/>
                  <a:pt x="300063" y="3301482"/>
                  <a:pt x="300373" y="3302721"/>
                </a:cubicBezTo>
                <a:cubicBezTo>
                  <a:pt x="301405" y="3304425"/>
                  <a:pt x="300889" y="3305045"/>
                  <a:pt x="298514" y="3305509"/>
                </a:cubicBezTo>
                <a:cubicBezTo>
                  <a:pt x="297997" y="3304580"/>
                  <a:pt x="297585" y="3303186"/>
                  <a:pt x="297585" y="3301792"/>
                </a:cubicBezTo>
                <a:cubicBezTo>
                  <a:pt x="297585" y="3300398"/>
                  <a:pt x="297894" y="3299158"/>
                  <a:pt x="298721" y="3298694"/>
                </a:cubicBezTo>
                <a:close/>
                <a:moveTo>
                  <a:pt x="314132" y="3298481"/>
                </a:moveTo>
                <a:cubicBezTo>
                  <a:pt x="316223" y="3297145"/>
                  <a:pt x="318804" y="3296835"/>
                  <a:pt x="320817" y="3298849"/>
                </a:cubicBezTo>
                <a:cubicBezTo>
                  <a:pt x="321643" y="3301172"/>
                  <a:pt x="322366" y="3303650"/>
                  <a:pt x="319682" y="3307213"/>
                </a:cubicBezTo>
                <a:cubicBezTo>
                  <a:pt x="316171" y="3308143"/>
                  <a:pt x="313589" y="3307523"/>
                  <a:pt x="310388" y="3304270"/>
                </a:cubicBezTo>
                <a:cubicBezTo>
                  <a:pt x="310440" y="3302179"/>
                  <a:pt x="312041" y="3299817"/>
                  <a:pt x="314132" y="3298481"/>
                </a:cubicBezTo>
                <a:close/>
                <a:moveTo>
                  <a:pt x="297585" y="3295131"/>
                </a:moveTo>
                <a:cubicBezTo>
                  <a:pt x="298204" y="3294976"/>
                  <a:pt x="298618" y="3295286"/>
                  <a:pt x="298824" y="3295441"/>
                </a:cubicBezTo>
                <a:cubicBezTo>
                  <a:pt x="299133" y="3295751"/>
                  <a:pt x="299133" y="3296060"/>
                  <a:pt x="299133" y="3296060"/>
                </a:cubicBezTo>
                <a:cubicBezTo>
                  <a:pt x="299443" y="3297300"/>
                  <a:pt x="299753" y="3298384"/>
                  <a:pt x="298618" y="3298539"/>
                </a:cubicBezTo>
                <a:cubicBezTo>
                  <a:pt x="298618" y="3298539"/>
                  <a:pt x="297791" y="3298074"/>
                  <a:pt x="297172" y="3295751"/>
                </a:cubicBezTo>
                <a:cubicBezTo>
                  <a:pt x="297894" y="3296215"/>
                  <a:pt x="298411" y="3295596"/>
                  <a:pt x="298411" y="3295596"/>
                </a:cubicBezTo>
                <a:cubicBezTo>
                  <a:pt x="298411" y="3295596"/>
                  <a:pt x="298411" y="3295596"/>
                  <a:pt x="297585" y="3295131"/>
                </a:cubicBezTo>
                <a:close/>
                <a:moveTo>
                  <a:pt x="286226" y="3291104"/>
                </a:moveTo>
                <a:cubicBezTo>
                  <a:pt x="287053" y="3292963"/>
                  <a:pt x="288808" y="3295751"/>
                  <a:pt x="286123" y="3298849"/>
                </a:cubicBezTo>
                <a:cubicBezTo>
                  <a:pt x="285194" y="3299623"/>
                  <a:pt x="285194" y="3299623"/>
                  <a:pt x="284368" y="3299623"/>
                </a:cubicBezTo>
                <a:cubicBezTo>
                  <a:pt x="282613" y="3300243"/>
                  <a:pt x="281684" y="3301017"/>
                  <a:pt x="279928" y="3299933"/>
                </a:cubicBezTo>
                <a:cubicBezTo>
                  <a:pt x="278689" y="3299003"/>
                  <a:pt x="278172" y="3298074"/>
                  <a:pt x="278379" y="3297145"/>
                </a:cubicBezTo>
                <a:cubicBezTo>
                  <a:pt x="278482" y="3296215"/>
                  <a:pt x="279102" y="3295131"/>
                  <a:pt x="280031" y="3294047"/>
                </a:cubicBezTo>
                <a:cubicBezTo>
                  <a:pt x="280960" y="3292808"/>
                  <a:pt x="281993" y="3292498"/>
                  <a:pt x="283129" y="3292188"/>
                </a:cubicBezTo>
                <a:cubicBezTo>
                  <a:pt x="284264" y="3292033"/>
                  <a:pt x="285297" y="3291878"/>
                  <a:pt x="286226" y="3291104"/>
                </a:cubicBezTo>
                <a:close/>
                <a:moveTo>
                  <a:pt x="589180" y="3290020"/>
                </a:moveTo>
                <a:lnTo>
                  <a:pt x="587941" y="3292188"/>
                </a:lnTo>
                <a:lnTo>
                  <a:pt x="589696" y="3292653"/>
                </a:lnTo>
                <a:lnTo>
                  <a:pt x="590935" y="3291414"/>
                </a:lnTo>
                <a:lnTo>
                  <a:pt x="590832" y="3291414"/>
                </a:lnTo>
                <a:close/>
                <a:moveTo>
                  <a:pt x="6751710" y="3289571"/>
                </a:moveTo>
                <a:lnTo>
                  <a:pt x="6780847" y="3302819"/>
                </a:lnTo>
                <a:cubicBezTo>
                  <a:pt x="6790605" y="3308085"/>
                  <a:pt x="6800363" y="3313351"/>
                  <a:pt x="6810122" y="3314797"/>
                </a:cubicBezTo>
                <a:lnTo>
                  <a:pt x="6811516" y="3316345"/>
                </a:lnTo>
                <a:lnTo>
                  <a:pt x="6812910" y="3315520"/>
                </a:lnTo>
                <a:cubicBezTo>
                  <a:pt x="6820500" y="3312938"/>
                  <a:pt x="6831652" y="3313558"/>
                  <a:pt x="6836144" y="3322747"/>
                </a:cubicBezTo>
                <a:cubicBezTo>
                  <a:pt x="6832737" y="3325122"/>
                  <a:pt x="6829794" y="3326465"/>
                  <a:pt x="6827006" y="3327084"/>
                </a:cubicBezTo>
                <a:lnTo>
                  <a:pt x="6823753" y="3326878"/>
                </a:lnTo>
                <a:lnTo>
                  <a:pt x="6830413" y="3330492"/>
                </a:lnTo>
                <a:cubicBezTo>
                  <a:pt x="6833047" y="3332247"/>
                  <a:pt x="6835680" y="3334415"/>
                  <a:pt x="6838778" y="3337203"/>
                </a:cubicBezTo>
                <a:cubicBezTo>
                  <a:pt x="6836299" y="3335758"/>
                  <a:pt x="6833976" y="3334312"/>
                  <a:pt x="6831343" y="3333486"/>
                </a:cubicBezTo>
                <a:cubicBezTo>
                  <a:pt x="6828245" y="3331834"/>
                  <a:pt x="6825766" y="3330285"/>
                  <a:pt x="6822823" y="3328633"/>
                </a:cubicBezTo>
                <a:lnTo>
                  <a:pt x="6819571" y="3326671"/>
                </a:lnTo>
                <a:cubicBezTo>
                  <a:pt x="6817247" y="3325948"/>
                  <a:pt x="6815233" y="3324709"/>
                  <a:pt x="6813065" y="3323367"/>
                </a:cubicBezTo>
                <a:lnTo>
                  <a:pt x="6808573" y="3319959"/>
                </a:lnTo>
                <a:lnTo>
                  <a:pt x="6804701" y="3317791"/>
                </a:lnTo>
                <a:cubicBezTo>
                  <a:pt x="6791844" y="3310769"/>
                  <a:pt x="6778523" y="3302922"/>
                  <a:pt x="6766596" y="3297656"/>
                </a:cubicBezTo>
                <a:cubicBezTo>
                  <a:pt x="6763730" y="3296417"/>
                  <a:pt x="6758812" y="3296417"/>
                  <a:pt x="6754998" y="3295346"/>
                </a:cubicBezTo>
                <a:close/>
                <a:moveTo>
                  <a:pt x="6750642" y="3287697"/>
                </a:moveTo>
                <a:lnTo>
                  <a:pt x="6751710" y="3289571"/>
                </a:lnTo>
                <a:lnTo>
                  <a:pt x="6750642" y="3289086"/>
                </a:lnTo>
                <a:close/>
                <a:moveTo>
                  <a:pt x="131652" y="3286147"/>
                </a:moveTo>
                <a:cubicBezTo>
                  <a:pt x="138983" y="3289245"/>
                  <a:pt x="144869" y="3298384"/>
                  <a:pt x="147966" y="3306129"/>
                </a:cubicBezTo>
                <a:lnTo>
                  <a:pt x="150135" y="3313254"/>
                </a:lnTo>
                <a:lnTo>
                  <a:pt x="151271" y="3312790"/>
                </a:lnTo>
                <a:cubicBezTo>
                  <a:pt x="152200" y="3312634"/>
                  <a:pt x="153336" y="3312634"/>
                  <a:pt x="153749" y="3313099"/>
                </a:cubicBezTo>
                <a:cubicBezTo>
                  <a:pt x="156330" y="3315113"/>
                  <a:pt x="154575" y="3317436"/>
                  <a:pt x="153646" y="3320534"/>
                </a:cubicBezTo>
                <a:cubicBezTo>
                  <a:pt x="152716" y="3319605"/>
                  <a:pt x="151890" y="3320379"/>
                  <a:pt x="150961" y="3321154"/>
                </a:cubicBezTo>
                <a:cubicBezTo>
                  <a:pt x="149722" y="3319760"/>
                  <a:pt x="147450" y="3317901"/>
                  <a:pt x="147863" y="3315732"/>
                </a:cubicBezTo>
                <a:lnTo>
                  <a:pt x="149309" y="3313719"/>
                </a:lnTo>
                <a:lnTo>
                  <a:pt x="145385" y="3315732"/>
                </a:lnTo>
                <a:cubicBezTo>
                  <a:pt x="143733" y="3316042"/>
                  <a:pt x="142184" y="3315732"/>
                  <a:pt x="140532" y="3315113"/>
                </a:cubicBezTo>
                <a:cubicBezTo>
                  <a:pt x="130826" y="3311550"/>
                  <a:pt x="121533" y="3294202"/>
                  <a:pt x="121326" y="3286457"/>
                </a:cubicBezTo>
                <a:cubicBezTo>
                  <a:pt x="124940" y="3284753"/>
                  <a:pt x="128451" y="3284908"/>
                  <a:pt x="131652" y="3286147"/>
                </a:cubicBezTo>
                <a:close/>
                <a:moveTo>
                  <a:pt x="565225" y="3285528"/>
                </a:moveTo>
                <a:cubicBezTo>
                  <a:pt x="560888" y="3282585"/>
                  <a:pt x="561921" y="3291723"/>
                  <a:pt x="559029" y="3286302"/>
                </a:cubicBezTo>
                <a:cubicBezTo>
                  <a:pt x="556861" y="3290639"/>
                  <a:pt x="554383" y="3294202"/>
                  <a:pt x="551801" y="3297610"/>
                </a:cubicBezTo>
                <a:cubicBezTo>
                  <a:pt x="548704" y="3300243"/>
                  <a:pt x="546122" y="3303650"/>
                  <a:pt x="543541" y="3307213"/>
                </a:cubicBezTo>
                <a:cubicBezTo>
                  <a:pt x="541786" y="3305819"/>
                  <a:pt x="544057" y="3301637"/>
                  <a:pt x="546329" y="3297300"/>
                </a:cubicBezTo>
                <a:lnTo>
                  <a:pt x="548084" y="3292963"/>
                </a:lnTo>
                <a:lnTo>
                  <a:pt x="545399" y="3294047"/>
                </a:lnTo>
                <a:lnTo>
                  <a:pt x="542921" y="3293427"/>
                </a:lnTo>
                <a:lnTo>
                  <a:pt x="539411" y="3298384"/>
                </a:lnTo>
                <a:cubicBezTo>
                  <a:pt x="537139" y="3303496"/>
                  <a:pt x="536003" y="3309691"/>
                  <a:pt x="535281" y="3314493"/>
                </a:cubicBezTo>
                <a:cubicBezTo>
                  <a:pt x="531770" y="3311086"/>
                  <a:pt x="531666" y="3306593"/>
                  <a:pt x="534764" y="3301172"/>
                </a:cubicBezTo>
                <a:cubicBezTo>
                  <a:pt x="533422" y="3300707"/>
                  <a:pt x="533112" y="3302101"/>
                  <a:pt x="532699" y="3303496"/>
                </a:cubicBezTo>
                <a:cubicBezTo>
                  <a:pt x="530840" y="3302101"/>
                  <a:pt x="532080" y="3300398"/>
                  <a:pt x="532493" y="3299003"/>
                </a:cubicBezTo>
                <a:cubicBezTo>
                  <a:pt x="530634" y="3304889"/>
                  <a:pt x="528053" y="3308452"/>
                  <a:pt x="525471" y="3311860"/>
                </a:cubicBezTo>
                <a:cubicBezTo>
                  <a:pt x="524232" y="3313564"/>
                  <a:pt x="522993" y="3315423"/>
                  <a:pt x="521444" y="3317746"/>
                </a:cubicBezTo>
                <a:cubicBezTo>
                  <a:pt x="519998" y="3320069"/>
                  <a:pt x="519172" y="3322703"/>
                  <a:pt x="517417" y="3325801"/>
                </a:cubicBezTo>
                <a:cubicBezTo>
                  <a:pt x="515042" y="3324407"/>
                  <a:pt x="513596" y="3324561"/>
                  <a:pt x="512564" y="3325646"/>
                </a:cubicBezTo>
                <a:lnTo>
                  <a:pt x="510499" y="3330138"/>
                </a:lnTo>
                <a:lnTo>
                  <a:pt x="510602" y="3330292"/>
                </a:lnTo>
                <a:lnTo>
                  <a:pt x="515559" y="3329208"/>
                </a:lnTo>
                <a:cubicBezTo>
                  <a:pt x="517520" y="3329363"/>
                  <a:pt x="519276" y="3330292"/>
                  <a:pt x="520308" y="3332461"/>
                </a:cubicBezTo>
                <a:cubicBezTo>
                  <a:pt x="518966" y="3332926"/>
                  <a:pt x="517004" y="3333855"/>
                  <a:pt x="514732" y="3334939"/>
                </a:cubicBezTo>
                <a:lnTo>
                  <a:pt x="510705" y="3336643"/>
                </a:lnTo>
                <a:lnTo>
                  <a:pt x="510602" y="3338347"/>
                </a:lnTo>
                <a:lnTo>
                  <a:pt x="510189" y="3342529"/>
                </a:lnTo>
                <a:lnTo>
                  <a:pt x="511325" y="3342529"/>
                </a:lnTo>
                <a:cubicBezTo>
                  <a:pt x="513184" y="3342994"/>
                  <a:pt x="515146" y="3344079"/>
                  <a:pt x="517314" y="3344698"/>
                </a:cubicBezTo>
                <a:cubicBezTo>
                  <a:pt x="517314" y="3345627"/>
                  <a:pt x="518140" y="3346557"/>
                  <a:pt x="519069" y="3346557"/>
                </a:cubicBezTo>
                <a:cubicBezTo>
                  <a:pt x="519895" y="3347486"/>
                  <a:pt x="520825" y="3348415"/>
                  <a:pt x="520825" y="3347486"/>
                </a:cubicBezTo>
                <a:cubicBezTo>
                  <a:pt x="523406" y="3350274"/>
                  <a:pt x="524232" y="3350429"/>
                  <a:pt x="523303" y="3352907"/>
                </a:cubicBezTo>
                <a:lnTo>
                  <a:pt x="520515" y="3351823"/>
                </a:lnTo>
                <a:lnTo>
                  <a:pt x="520515" y="3352753"/>
                </a:lnTo>
                <a:cubicBezTo>
                  <a:pt x="518553" y="3353992"/>
                  <a:pt x="517211" y="3353837"/>
                  <a:pt x="516385" y="3353062"/>
                </a:cubicBezTo>
                <a:lnTo>
                  <a:pt x="515352" y="3350119"/>
                </a:lnTo>
                <a:lnTo>
                  <a:pt x="514320" y="3349810"/>
                </a:lnTo>
                <a:lnTo>
                  <a:pt x="514010" y="3353372"/>
                </a:lnTo>
                <a:cubicBezTo>
                  <a:pt x="514010" y="3356470"/>
                  <a:pt x="514113" y="3360033"/>
                  <a:pt x="514113" y="3363595"/>
                </a:cubicBezTo>
                <a:cubicBezTo>
                  <a:pt x="515042" y="3370411"/>
                  <a:pt x="515662" y="3377846"/>
                  <a:pt x="517004" y="3383422"/>
                </a:cubicBezTo>
                <a:lnTo>
                  <a:pt x="514320" y="3383887"/>
                </a:lnTo>
                <a:lnTo>
                  <a:pt x="517417" y="3386675"/>
                </a:lnTo>
                <a:cubicBezTo>
                  <a:pt x="518656" y="3388534"/>
                  <a:pt x="519172" y="3390547"/>
                  <a:pt x="518450" y="3392096"/>
                </a:cubicBezTo>
                <a:lnTo>
                  <a:pt x="516075" y="3396433"/>
                </a:lnTo>
                <a:lnTo>
                  <a:pt x="516385" y="3398292"/>
                </a:lnTo>
                <a:lnTo>
                  <a:pt x="515972" y="3399222"/>
                </a:lnTo>
                <a:lnTo>
                  <a:pt x="521548" y="3402319"/>
                </a:lnTo>
                <a:cubicBezTo>
                  <a:pt x="524129" y="3403869"/>
                  <a:pt x="526194" y="3405417"/>
                  <a:pt x="526297" y="3406657"/>
                </a:cubicBezTo>
                <a:cubicBezTo>
                  <a:pt x="525471" y="3406966"/>
                  <a:pt x="524645" y="3407276"/>
                  <a:pt x="523509" y="3406657"/>
                </a:cubicBezTo>
                <a:cubicBezTo>
                  <a:pt x="522373" y="3406037"/>
                  <a:pt x="523200" y="3405882"/>
                  <a:pt x="522373" y="3406192"/>
                </a:cubicBezTo>
                <a:cubicBezTo>
                  <a:pt x="521238" y="3405572"/>
                  <a:pt x="521548" y="3406347"/>
                  <a:pt x="521548" y="3406347"/>
                </a:cubicBezTo>
                <a:cubicBezTo>
                  <a:pt x="521548" y="3406347"/>
                  <a:pt x="521238" y="3405572"/>
                  <a:pt x="521238" y="3405572"/>
                </a:cubicBezTo>
                <a:cubicBezTo>
                  <a:pt x="521238" y="3405572"/>
                  <a:pt x="521238" y="3405572"/>
                  <a:pt x="518966" y="3404488"/>
                </a:cubicBezTo>
                <a:cubicBezTo>
                  <a:pt x="515868" y="3403714"/>
                  <a:pt x="515042" y="3403869"/>
                  <a:pt x="513081" y="3403558"/>
                </a:cubicBezTo>
                <a:lnTo>
                  <a:pt x="512771" y="3403404"/>
                </a:lnTo>
                <a:lnTo>
                  <a:pt x="512358" y="3403558"/>
                </a:lnTo>
                <a:lnTo>
                  <a:pt x="513596" y="3405572"/>
                </a:lnTo>
                <a:lnTo>
                  <a:pt x="514526" y="3406192"/>
                </a:lnTo>
                <a:lnTo>
                  <a:pt x="514526" y="3406037"/>
                </a:lnTo>
                <a:cubicBezTo>
                  <a:pt x="515972" y="3406347"/>
                  <a:pt x="517417" y="3406966"/>
                  <a:pt x="519069" y="3408515"/>
                </a:cubicBezTo>
                <a:cubicBezTo>
                  <a:pt x="519379" y="3410219"/>
                  <a:pt x="519172" y="3411613"/>
                  <a:pt x="518553" y="3413007"/>
                </a:cubicBezTo>
                <a:lnTo>
                  <a:pt x="518037" y="3413472"/>
                </a:lnTo>
                <a:lnTo>
                  <a:pt x="525884" y="3413936"/>
                </a:lnTo>
                <a:cubicBezTo>
                  <a:pt x="530944" y="3414711"/>
                  <a:pt x="536416" y="3415486"/>
                  <a:pt x="541682" y="3415021"/>
                </a:cubicBezTo>
                <a:cubicBezTo>
                  <a:pt x="544677" y="3413472"/>
                  <a:pt x="545813" y="3410529"/>
                  <a:pt x="547878" y="3408360"/>
                </a:cubicBezTo>
                <a:lnTo>
                  <a:pt x="551905" y="3405882"/>
                </a:lnTo>
                <a:lnTo>
                  <a:pt x="551595" y="3403869"/>
                </a:lnTo>
                <a:lnTo>
                  <a:pt x="550975" y="3401545"/>
                </a:lnTo>
                <a:lnTo>
                  <a:pt x="549117" y="3402474"/>
                </a:lnTo>
                <a:cubicBezTo>
                  <a:pt x="548084" y="3402784"/>
                  <a:pt x="547258" y="3402629"/>
                  <a:pt x="546845" y="3402165"/>
                </a:cubicBezTo>
                <a:cubicBezTo>
                  <a:pt x="545503" y="3400770"/>
                  <a:pt x="544264" y="3399376"/>
                  <a:pt x="544780" y="3397827"/>
                </a:cubicBezTo>
                <a:cubicBezTo>
                  <a:pt x="544987" y="3397363"/>
                  <a:pt x="545399" y="3396898"/>
                  <a:pt x="546019" y="3396279"/>
                </a:cubicBezTo>
                <a:cubicBezTo>
                  <a:pt x="546019" y="3396279"/>
                  <a:pt x="546122" y="3396279"/>
                  <a:pt x="546949" y="3396433"/>
                </a:cubicBezTo>
                <a:lnTo>
                  <a:pt x="549323" y="3396588"/>
                </a:lnTo>
                <a:lnTo>
                  <a:pt x="548807" y="3395039"/>
                </a:lnTo>
                <a:lnTo>
                  <a:pt x="550046" y="3383887"/>
                </a:lnTo>
                <a:lnTo>
                  <a:pt x="542508" y="3376916"/>
                </a:lnTo>
                <a:lnTo>
                  <a:pt x="536932" y="3371650"/>
                </a:lnTo>
                <a:lnTo>
                  <a:pt x="534248" y="3371340"/>
                </a:lnTo>
                <a:lnTo>
                  <a:pt x="534145" y="3369017"/>
                </a:lnTo>
                <a:lnTo>
                  <a:pt x="531873" y="3367003"/>
                </a:lnTo>
                <a:lnTo>
                  <a:pt x="532080" y="3366074"/>
                </a:lnTo>
                <a:lnTo>
                  <a:pt x="530221" y="3366074"/>
                </a:lnTo>
                <a:cubicBezTo>
                  <a:pt x="529498" y="3365919"/>
                  <a:pt x="528982" y="3365609"/>
                  <a:pt x="528672" y="3365144"/>
                </a:cubicBezTo>
                <a:cubicBezTo>
                  <a:pt x="527536" y="3362976"/>
                  <a:pt x="526917" y="3360652"/>
                  <a:pt x="526917" y="3358793"/>
                </a:cubicBezTo>
                <a:cubicBezTo>
                  <a:pt x="526814" y="3356780"/>
                  <a:pt x="527227" y="3355386"/>
                  <a:pt x="528259" y="3354921"/>
                </a:cubicBezTo>
                <a:cubicBezTo>
                  <a:pt x="529808" y="3354146"/>
                  <a:pt x="531460" y="3353372"/>
                  <a:pt x="532906" y="3353062"/>
                </a:cubicBezTo>
                <a:lnTo>
                  <a:pt x="533112" y="3353062"/>
                </a:lnTo>
                <a:lnTo>
                  <a:pt x="532906" y="3348725"/>
                </a:lnTo>
                <a:cubicBezTo>
                  <a:pt x="532802" y="3342220"/>
                  <a:pt x="533422" y="3336024"/>
                  <a:pt x="538482" y="3331377"/>
                </a:cubicBezTo>
                <a:cubicBezTo>
                  <a:pt x="544057" y="3330447"/>
                  <a:pt x="547258" y="3328434"/>
                  <a:pt x="549943" y="3326265"/>
                </a:cubicBezTo>
                <a:lnTo>
                  <a:pt x="554899" y="3322393"/>
                </a:lnTo>
                <a:lnTo>
                  <a:pt x="555209" y="3318056"/>
                </a:lnTo>
                <a:cubicBezTo>
                  <a:pt x="557171" y="3316662"/>
                  <a:pt x="557481" y="3318210"/>
                  <a:pt x="559546" y="3318830"/>
                </a:cubicBezTo>
                <a:cubicBezTo>
                  <a:pt x="560372" y="3316352"/>
                  <a:pt x="558720" y="3314338"/>
                  <a:pt x="555725" y="3314028"/>
                </a:cubicBezTo>
                <a:cubicBezTo>
                  <a:pt x="557171" y="3313099"/>
                  <a:pt x="558100" y="3311086"/>
                  <a:pt x="558926" y="3308762"/>
                </a:cubicBezTo>
                <a:lnTo>
                  <a:pt x="559339" y="3307213"/>
                </a:lnTo>
                <a:lnTo>
                  <a:pt x="558720" y="3304270"/>
                </a:lnTo>
                <a:cubicBezTo>
                  <a:pt x="559339" y="3303496"/>
                  <a:pt x="559855" y="3303186"/>
                  <a:pt x="560268" y="3303341"/>
                </a:cubicBezTo>
                <a:lnTo>
                  <a:pt x="560475" y="3303496"/>
                </a:lnTo>
                <a:lnTo>
                  <a:pt x="560991" y="3301482"/>
                </a:lnTo>
                <a:lnTo>
                  <a:pt x="562437" y="3298229"/>
                </a:lnTo>
                <a:lnTo>
                  <a:pt x="561921" y="3298849"/>
                </a:lnTo>
                <a:cubicBezTo>
                  <a:pt x="562333" y="3295751"/>
                  <a:pt x="564915" y="3293737"/>
                  <a:pt x="565535" y="3290020"/>
                </a:cubicBezTo>
                <a:lnTo>
                  <a:pt x="565431" y="3288935"/>
                </a:lnTo>
                <a:lnTo>
                  <a:pt x="565225" y="3288006"/>
                </a:lnTo>
                <a:lnTo>
                  <a:pt x="565431" y="3287541"/>
                </a:lnTo>
                <a:close/>
                <a:moveTo>
                  <a:pt x="157466" y="3284908"/>
                </a:moveTo>
                <a:cubicBezTo>
                  <a:pt x="161906" y="3284289"/>
                  <a:pt x="166449" y="3285218"/>
                  <a:pt x="170786" y="3287232"/>
                </a:cubicBezTo>
                <a:cubicBezTo>
                  <a:pt x="183693" y="3292963"/>
                  <a:pt x="193502" y="3307368"/>
                  <a:pt x="184313" y="3315578"/>
                </a:cubicBezTo>
                <a:cubicBezTo>
                  <a:pt x="182557" y="3317126"/>
                  <a:pt x="180079" y="3318366"/>
                  <a:pt x="176775" y="3319450"/>
                </a:cubicBezTo>
                <a:cubicBezTo>
                  <a:pt x="169650" y="3313719"/>
                  <a:pt x="157156" y="3306439"/>
                  <a:pt x="155504" y="3295751"/>
                </a:cubicBezTo>
                <a:cubicBezTo>
                  <a:pt x="155297" y="3294202"/>
                  <a:pt x="155194" y="3292653"/>
                  <a:pt x="155504" y="3290949"/>
                </a:cubicBezTo>
                <a:cubicBezTo>
                  <a:pt x="155814" y="3288935"/>
                  <a:pt x="156433" y="3286922"/>
                  <a:pt x="157466" y="3284908"/>
                </a:cubicBezTo>
                <a:close/>
                <a:moveTo>
                  <a:pt x="6705722" y="3284822"/>
                </a:moveTo>
                <a:cubicBezTo>
                  <a:pt x="6710137" y="3285639"/>
                  <a:pt x="6711066" y="3295359"/>
                  <a:pt x="6704328" y="3295901"/>
                </a:cubicBezTo>
                <a:cubicBezTo>
                  <a:pt x="6703398" y="3293835"/>
                  <a:pt x="6700765" y="3291358"/>
                  <a:pt x="6700301" y="3287640"/>
                </a:cubicBezTo>
                <a:cubicBezTo>
                  <a:pt x="6702392" y="3285265"/>
                  <a:pt x="6704251" y="3284549"/>
                  <a:pt x="6705722" y="3284822"/>
                </a:cubicBezTo>
                <a:close/>
                <a:moveTo>
                  <a:pt x="243994" y="3282120"/>
                </a:moveTo>
                <a:cubicBezTo>
                  <a:pt x="248435" y="3280261"/>
                  <a:pt x="255043" y="3286612"/>
                  <a:pt x="254011" y="3290794"/>
                </a:cubicBezTo>
                <a:cubicBezTo>
                  <a:pt x="252256" y="3292653"/>
                  <a:pt x="250396" y="3294356"/>
                  <a:pt x="248641" y="3296060"/>
                </a:cubicBezTo>
                <a:cubicBezTo>
                  <a:pt x="244201" y="3297300"/>
                  <a:pt x="240484" y="3294976"/>
                  <a:pt x="239658" y="3291414"/>
                </a:cubicBezTo>
                <a:cubicBezTo>
                  <a:pt x="239348" y="3290175"/>
                  <a:pt x="239452" y="3288935"/>
                  <a:pt x="239864" y="3287541"/>
                </a:cubicBezTo>
                <a:cubicBezTo>
                  <a:pt x="240484" y="3285682"/>
                  <a:pt x="241826" y="3283824"/>
                  <a:pt x="243994" y="3282120"/>
                </a:cubicBezTo>
                <a:close/>
                <a:moveTo>
                  <a:pt x="333931" y="3281655"/>
                </a:moveTo>
                <a:cubicBezTo>
                  <a:pt x="336306" y="3284443"/>
                  <a:pt x="338784" y="3287232"/>
                  <a:pt x="338577" y="3289710"/>
                </a:cubicBezTo>
                <a:lnTo>
                  <a:pt x="336616" y="3290329"/>
                </a:lnTo>
                <a:lnTo>
                  <a:pt x="337132" y="3290794"/>
                </a:lnTo>
                <a:cubicBezTo>
                  <a:pt x="338164" y="3292033"/>
                  <a:pt x="338784" y="3293272"/>
                  <a:pt x="338267" y="3294976"/>
                </a:cubicBezTo>
                <a:cubicBezTo>
                  <a:pt x="337648" y="3294202"/>
                  <a:pt x="336719" y="3293272"/>
                  <a:pt x="335790" y="3292188"/>
                </a:cubicBezTo>
                <a:lnTo>
                  <a:pt x="334860" y="3290949"/>
                </a:lnTo>
                <a:lnTo>
                  <a:pt x="332485" y="3291723"/>
                </a:lnTo>
                <a:cubicBezTo>
                  <a:pt x="330420" y="3291568"/>
                  <a:pt x="328355" y="3290639"/>
                  <a:pt x="326393" y="3288625"/>
                </a:cubicBezTo>
                <a:cubicBezTo>
                  <a:pt x="325877" y="3284443"/>
                  <a:pt x="331246" y="3282739"/>
                  <a:pt x="333931" y="3281655"/>
                </a:cubicBezTo>
                <a:close/>
                <a:moveTo>
                  <a:pt x="309149" y="3278712"/>
                </a:moveTo>
                <a:cubicBezTo>
                  <a:pt x="311318" y="3277008"/>
                  <a:pt x="317616" y="3277938"/>
                  <a:pt x="319578" y="3280881"/>
                </a:cubicBezTo>
                <a:cubicBezTo>
                  <a:pt x="320198" y="3281810"/>
                  <a:pt x="320404" y="3283049"/>
                  <a:pt x="319682" y="3284443"/>
                </a:cubicBezTo>
                <a:cubicBezTo>
                  <a:pt x="317307" y="3288316"/>
                  <a:pt x="313176" y="3286612"/>
                  <a:pt x="308840" y="3283978"/>
                </a:cubicBezTo>
                <a:cubicBezTo>
                  <a:pt x="309253" y="3282120"/>
                  <a:pt x="308736" y="3280571"/>
                  <a:pt x="309149" y="3278712"/>
                </a:cubicBezTo>
                <a:close/>
                <a:moveTo>
                  <a:pt x="6815233" y="3275766"/>
                </a:moveTo>
                <a:cubicBezTo>
                  <a:pt x="6818796" y="3282168"/>
                  <a:pt x="6822823" y="3285678"/>
                  <a:pt x="6826851" y="3288466"/>
                </a:cubicBezTo>
                <a:lnTo>
                  <a:pt x="6828245" y="3289189"/>
                </a:lnTo>
                <a:lnTo>
                  <a:pt x="6830104" y="3288673"/>
                </a:lnTo>
                <a:cubicBezTo>
                  <a:pt x="6832737" y="3289086"/>
                  <a:pt x="6834596" y="3290531"/>
                  <a:pt x="6836454" y="3292803"/>
                </a:cubicBezTo>
                <a:lnTo>
                  <a:pt x="6835835" y="3293732"/>
                </a:lnTo>
                <a:lnTo>
                  <a:pt x="6843889" y="3298172"/>
                </a:lnTo>
                <a:cubicBezTo>
                  <a:pt x="6842495" y="3300031"/>
                  <a:pt x="6838933" y="3295901"/>
                  <a:pt x="6838003" y="3298586"/>
                </a:cubicBezTo>
                <a:cubicBezTo>
                  <a:pt x="6850240" y="3303129"/>
                  <a:pt x="6853183" y="3307053"/>
                  <a:pt x="6863716" y="3310357"/>
                </a:cubicBezTo>
                <a:cubicBezTo>
                  <a:pt x="6865575" y="3315416"/>
                  <a:pt x="6869912" y="3319753"/>
                  <a:pt x="6875798" y="3323780"/>
                </a:cubicBezTo>
                <a:lnTo>
                  <a:pt x="6884782" y="3330285"/>
                </a:lnTo>
                <a:lnTo>
                  <a:pt x="6884782" y="3352382"/>
                </a:lnTo>
                <a:lnTo>
                  <a:pt x="6873784" y="3344328"/>
                </a:lnTo>
                <a:cubicBezTo>
                  <a:pt x="6867588" y="3339371"/>
                  <a:pt x="6861393" y="3333796"/>
                  <a:pt x="6857210" y="3327188"/>
                </a:cubicBezTo>
                <a:cubicBezTo>
                  <a:pt x="6851324" y="3325329"/>
                  <a:pt x="6842960" y="3324296"/>
                  <a:pt x="6839707" y="3318824"/>
                </a:cubicBezTo>
                <a:cubicBezTo>
                  <a:pt x="6840791" y="3317585"/>
                  <a:pt x="6842341" y="3317378"/>
                  <a:pt x="6843734" y="3315520"/>
                </a:cubicBezTo>
                <a:cubicBezTo>
                  <a:pt x="6836144" y="3310150"/>
                  <a:pt x="6829484" y="3308085"/>
                  <a:pt x="6823288" y="3305400"/>
                </a:cubicBezTo>
                <a:cubicBezTo>
                  <a:pt x="6816628" y="3303335"/>
                  <a:pt x="6811826" y="3300341"/>
                  <a:pt x="6807489" y="3292184"/>
                </a:cubicBezTo>
                <a:cubicBezTo>
                  <a:pt x="6811826" y="3289809"/>
                  <a:pt x="6810432" y="3298379"/>
                  <a:pt x="6817867" y="3299928"/>
                </a:cubicBezTo>
                <a:cubicBezTo>
                  <a:pt x="6818022" y="3290944"/>
                  <a:pt x="6809348" y="3284542"/>
                  <a:pt x="6801448" y="3279896"/>
                </a:cubicBezTo>
                <a:cubicBezTo>
                  <a:pt x="6803771" y="3277521"/>
                  <a:pt x="6806405" y="3278347"/>
                  <a:pt x="6809193" y="3278450"/>
                </a:cubicBezTo>
                <a:cubicBezTo>
                  <a:pt x="6811206" y="3279070"/>
                  <a:pt x="6813995" y="3279173"/>
                  <a:pt x="6815233" y="3275766"/>
                </a:cubicBezTo>
                <a:close/>
                <a:moveTo>
                  <a:pt x="517933" y="3275150"/>
                </a:moveTo>
                <a:lnTo>
                  <a:pt x="517727" y="3275769"/>
                </a:lnTo>
                <a:cubicBezTo>
                  <a:pt x="517417" y="3276389"/>
                  <a:pt x="516695" y="3277008"/>
                  <a:pt x="515662" y="3277783"/>
                </a:cubicBezTo>
                <a:lnTo>
                  <a:pt x="516901" y="3279796"/>
                </a:lnTo>
                <a:lnTo>
                  <a:pt x="519792" y="3279022"/>
                </a:lnTo>
                <a:lnTo>
                  <a:pt x="519482" y="3277938"/>
                </a:lnTo>
                <a:cubicBezTo>
                  <a:pt x="519069" y="3277318"/>
                  <a:pt x="518553" y="3277163"/>
                  <a:pt x="517933" y="3278092"/>
                </a:cubicBezTo>
                <a:close/>
                <a:moveTo>
                  <a:pt x="518450" y="3269109"/>
                </a:moveTo>
                <a:cubicBezTo>
                  <a:pt x="517520" y="3269109"/>
                  <a:pt x="516591" y="3269418"/>
                  <a:pt x="515868" y="3269883"/>
                </a:cubicBezTo>
                <a:lnTo>
                  <a:pt x="517933" y="3273600"/>
                </a:lnTo>
                <a:lnTo>
                  <a:pt x="518037" y="3272671"/>
                </a:lnTo>
                <a:lnTo>
                  <a:pt x="519586" y="3269109"/>
                </a:lnTo>
                <a:close/>
                <a:moveTo>
                  <a:pt x="601055" y="3268954"/>
                </a:moveTo>
                <a:lnTo>
                  <a:pt x="597337" y="3270038"/>
                </a:lnTo>
                <a:lnTo>
                  <a:pt x="597854" y="3270348"/>
                </a:lnTo>
                <a:lnTo>
                  <a:pt x="593414" y="3275614"/>
                </a:lnTo>
                <a:lnTo>
                  <a:pt x="592278" y="3279796"/>
                </a:lnTo>
                <a:cubicBezTo>
                  <a:pt x="591865" y="3281655"/>
                  <a:pt x="591555" y="3283359"/>
                  <a:pt x="591039" y="3284908"/>
                </a:cubicBezTo>
                <a:lnTo>
                  <a:pt x="590832" y="3285682"/>
                </a:lnTo>
                <a:lnTo>
                  <a:pt x="593414" y="3283204"/>
                </a:lnTo>
                <a:cubicBezTo>
                  <a:pt x="595995" y="3278712"/>
                  <a:pt x="596821" y="3273446"/>
                  <a:pt x="599506" y="3269883"/>
                </a:cubicBezTo>
                <a:close/>
                <a:moveTo>
                  <a:pt x="229448" y="3265759"/>
                </a:moveTo>
                <a:cubicBezTo>
                  <a:pt x="232585" y="3265585"/>
                  <a:pt x="235579" y="3267173"/>
                  <a:pt x="236250" y="3269883"/>
                </a:cubicBezTo>
                <a:cubicBezTo>
                  <a:pt x="236767" y="3271742"/>
                  <a:pt x="236147" y="3274065"/>
                  <a:pt x="233979" y="3276699"/>
                </a:cubicBezTo>
                <a:cubicBezTo>
                  <a:pt x="228713" y="3274220"/>
                  <a:pt x="224789" y="3276389"/>
                  <a:pt x="221795" y="3272207"/>
                </a:cubicBezTo>
                <a:cubicBezTo>
                  <a:pt x="223034" y="3267870"/>
                  <a:pt x="226312" y="3265933"/>
                  <a:pt x="229448" y="3265759"/>
                </a:cubicBezTo>
                <a:close/>
                <a:moveTo>
                  <a:pt x="260103" y="3265391"/>
                </a:moveTo>
                <a:cubicBezTo>
                  <a:pt x="266918" y="3268489"/>
                  <a:pt x="277966" y="3273911"/>
                  <a:pt x="281167" y="3280416"/>
                </a:cubicBezTo>
                <a:cubicBezTo>
                  <a:pt x="273113" y="3286612"/>
                  <a:pt x="261651" y="3271277"/>
                  <a:pt x="260103" y="3265391"/>
                </a:cubicBezTo>
                <a:close/>
                <a:moveTo>
                  <a:pt x="6505596" y="3264717"/>
                </a:moveTo>
                <a:lnTo>
                  <a:pt x="6501568" y="3265957"/>
                </a:lnTo>
                <a:lnTo>
                  <a:pt x="6503117" y="3266060"/>
                </a:lnTo>
                <a:close/>
                <a:moveTo>
                  <a:pt x="387844" y="3257027"/>
                </a:moveTo>
                <a:cubicBezTo>
                  <a:pt x="391058" y="3258498"/>
                  <a:pt x="394026" y="3260667"/>
                  <a:pt x="395265" y="3261209"/>
                </a:cubicBezTo>
                <a:cubicBezTo>
                  <a:pt x="395265" y="3261209"/>
                  <a:pt x="396195" y="3261364"/>
                  <a:pt x="397020" y="3262293"/>
                </a:cubicBezTo>
                <a:cubicBezTo>
                  <a:pt x="398776" y="3263222"/>
                  <a:pt x="396195" y="3263842"/>
                  <a:pt x="397020" y="3264771"/>
                </a:cubicBezTo>
                <a:cubicBezTo>
                  <a:pt x="390102" y="3262293"/>
                  <a:pt x="384114" y="3263377"/>
                  <a:pt x="384114" y="3263377"/>
                </a:cubicBezTo>
                <a:cubicBezTo>
                  <a:pt x="382358" y="3262448"/>
                  <a:pt x="382358" y="3261674"/>
                  <a:pt x="382358" y="3262448"/>
                </a:cubicBezTo>
                <a:cubicBezTo>
                  <a:pt x="380602" y="3260589"/>
                  <a:pt x="378125" y="3258731"/>
                  <a:pt x="378951" y="3257027"/>
                </a:cubicBezTo>
                <a:cubicBezTo>
                  <a:pt x="381171" y="3254781"/>
                  <a:pt x="384630" y="3255555"/>
                  <a:pt x="387844" y="3257027"/>
                </a:cubicBezTo>
                <a:close/>
                <a:moveTo>
                  <a:pt x="522373" y="3254393"/>
                </a:moveTo>
                <a:lnTo>
                  <a:pt x="521857" y="3254703"/>
                </a:lnTo>
                <a:cubicBezTo>
                  <a:pt x="521341" y="3255168"/>
                  <a:pt x="520618" y="3255633"/>
                  <a:pt x="519689" y="3255168"/>
                </a:cubicBezTo>
                <a:cubicBezTo>
                  <a:pt x="519482" y="3256562"/>
                  <a:pt x="519172" y="3258886"/>
                  <a:pt x="519172" y="3261209"/>
                </a:cubicBezTo>
                <a:cubicBezTo>
                  <a:pt x="519069" y="3263377"/>
                  <a:pt x="519276" y="3265546"/>
                  <a:pt x="520205" y="3266321"/>
                </a:cubicBezTo>
                <a:lnTo>
                  <a:pt x="520722" y="3266475"/>
                </a:lnTo>
                <a:lnTo>
                  <a:pt x="522786" y="3259970"/>
                </a:lnTo>
                <a:lnTo>
                  <a:pt x="523096" y="3255323"/>
                </a:lnTo>
                <a:close/>
                <a:moveTo>
                  <a:pt x="201659" y="3253154"/>
                </a:moveTo>
                <a:cubicBezTo>
                  <a:pt x="207752" y="3249282"/>
                  <a:pt x="220349" y="3259040"/>
                  <a:pt x="216632" y="3263997"/>
                </a:cubicBezTo>
                <a:cubicBezTo>
                  <a:pt x="216116" y="3264617"/>
                  <a:pt x="215290" y="3265236"/>
                  <a:pt x="214050" y="3265701"/>
                </a:cubicBezTo>
                <a:cubicBezTo>
                  <a:pt x="206719" y="3264926"/>
                  <a:pt x="201350" y="3262603"/>
                  <a:pt x="200421" y="3255478"/>
                </a:cubicBezTo>
                <a:cubicBezTo>
                  <a:pt x="201659" y="3255478"/>
                  <a:pt x="201659" y="3254393"/>
                  <a:pt x="201659" y="3253154"/>
                </a:cubicBezTo>
                <a:close/>
                <a:moveTo>
                  <a:pt x="223860" y="3249746"/>
                </a:moveTo>
                <a:cubicBezTo>
                  <a:pt x="232327" y="3248817"/>
                  <a:pt x="233050" y="3255478"/>
                  <a:pt x="229332" y="3258576"/>
                </a:cubicBezTo>
                <a:cubicBezTo>
                  <a:pt x="227990" y="3259505"/>
                  <a:pt x="226235" y="3260124"/>
                  <a:pt x="224066" y="3259815"/>
                </a:cubicBezTo>
                <a:cubicBezTo>
                  <a:pt x="223137" y="3258886"/>
                  <a:pt x="222621" y="3256717"/>
                  <a:pt x="222621" y="3254703"/>
                </a:cubicBezTo>
                <a:cubicBezTo>
                  <a:pt x="222517" y="3252535"/>
                  <a:pt x="222931" y="3250521"/>
                  <a:pt x="223860" y="3249746"/>
                </a:cubicBezTo>
                <a:close/>
                <a:moveTo>
                  <a:pt x="6499245" y="3247577"/>
                </a:moveTo>
                <a:cubicBezTo>
                  <a:pt x="6495528" y="3247990"/>
                  <a:pt x="6491191" y="3248093"/>
                  <a:pt x="6487783" y="3249332"/>
                </a:cubicBezTo>
                <a:cubicBezTo>
                  <a:pt x="6475236" y="3247680"/>
                  <a:pt x="6466562" y="3247990"/>
                  <a:pt x="6457423" y="3249023"/>
                </a:cubicBezTo>
                <a:cubicBezTo>
                  <a:pt x="6452002" y="3249952"/>
                  <a:pt x="6446580" y="3251294"/>
                  <a:pt x="6440385" y="3252843"/>
                </a:cubicBezTo>
                <a:lnTo>
                  <a:pt x="6422572" y="3257490"/>
                </a:lnTo>
                <a:lnTo>
                  <a:pt x="6423036" y="3258419"/>
                </a:lnTo>
                <a:lnTo>
                  <a:pt x="6423346" y="3263065"/>
                </a:lnTo>
                <a:lnTo>
                  <a:pt x="6425050" y="3261000"/>
                </a:lnTo>
                <a:cubicBezTo>
                  <a:pt x="6427838" y="3260174"/>
                  <a:pt x="6431091" y="3263995"/>
                  <a:pt x="6434653" y="3264614"/>
                </a:cubicBezTo>
                <a:cubicBezTo>
                  <a:pt x="6436512" y="3263581"/>
                  <a:pt x="6438371" y="3262652"/>
                  <a:pt x="6440540" y="3262549"/>
                </a:cubicBezTo>
                <a:cubicBezTo>
                  <a:pt x="6436977" y="3259967"/>
                  <a:pt x="6429232" y="3261413"/>
                  <a:pt x="6427838" y="3257180"/>
                </a:cubicBezTo>
                <a:cubicBezTo>
                  <a:pt x="6433724" y="3256767"/>
                  <a:pt x="6435428" y="3260277"/>
                  <a:pt x="6444257" y="3257799"/>
                </a:cubicBezTo>
                <a:cubicBezTo>
                  <a:pt x="6446890" y="3263065"/>
                  <a:pt x="6442088" y="3266060"/>
                  <a:pt x="6453241" y="3263478"/>
                </a:cubicBezTo>
                <a:cubicBezTo>
                  <a:pt x="6448284" y="3265027"/>
                  <a:pt x="6448284" y="3269570"/>
                  <a:pt x="6441624" y="3269777"/>
                </a:cubicBezTo>
                <a:cubicBezTo>
                  <a:pt x="6441624" y="3271945"/>
                  <a:pt x="6444876" y="3272978"/>
                  <a:pt x="6448439" y="3273288"/>
                </a:cubicBezTo>
                <a:cubicBezTo>
                  <a:pt x="6450608" y="3273184"/>
                  <a:pt x="6452776" y="3273184"/>
                  <a:pt x="6454945" y="3273081"/>
                </a:cubicBezTo>
                <a:cubicBezTo>
                  <a:pt x="6455874" y="3272668"/>
                  <a:pt x="6457268" y="3272978"/>
                  <a:pt x="6458043" y="3272565"/>
                </a:cubicBezTo>
                <a:cubicBezTo>
                  <a:pt x="6458817" y="3272771"/>
                  <a:pt x="6459437" y="3272978"/>
                  <a:pt x="6459592" y="3272255"/>
                </a:cubicBezTo>
                <a:cubicBezTo>
                  <a:pt x="6460366" y="3272462"/>
                  <a:pt x="6460366" y="3272462"/>
                  <a:pt x="6461141" y="3272049"/>
                </a:cubicBezTo>
                <a:cubicBezTo>
                  <a:pt x="6468111" y="3271119"/>
                  <a:pt x="6473223" y="3268848"/>
                  <a:pt x="6464394" y="3269157"/>
                </a:cubicBezTo>
                <a:cubicBezTo>
                  <a:pt x="6467956" y="3265027"/>
                  <a:pt x="6483601" y="3269880"/>
                  <a:pt x="6480038" y="3263478"/>
                </a:cubicBezTo>
                <a:cubicBezTo>
                  <a:pt x="6485769" y="3261516"/>
                  <a:pt x="6489177" y="3262549"/>
                  <a:pt x="6492120" y="3264201"/>
                </a:cubicBezTo>
                <a:lnTo>
                  <a:pt x="6495528" y="3265337"/>
                </a:lnTo>
                <a:lnTo>
                  <a:pt x="6493669" y="3261310"/>
                </a:lnTo>
                <a:cubicBezTo>
                  <a:pt x="6498161" y="3258315"/>
                  <a:pt x="6501104" y="3254805"/>
                  <a:pt x="6503737" y="3251397"/>
                </a:cubicBezTo>
                <a:lnTo>
                  <a:pt x="6506990" y="3247990"/>
                </a:lnTo>
                <a:close/>
                <a:moveTo>
                  <a:pt x="177188" y="3247423"/>
                </a:moveTo>
                <a:cubicBezTo>
                  <a:pt x="182557" y="3245719"/>
                  <a:pt x="192883" y="3261364"/>
                  <a:pt x="174710" y="3256097"/>
                </a:cubicBezTo>
                <a:cubicBezTo>
                  <a:pt x="174193" y="3250211"/>
                  <a:pt x="175432" y="3247888"/>
                  <a:pt x="177188" y="3247423"/>
                </a:cubicBezTo>
                <a:close/>
                <a:moveTo>
                  <a:pt x="6749848" y="3247048"/>
                </a:moveTo>
                <a:cubicBezTo>
                  <a:pt x="6753120" y="3245925"/>
                  <a:pt x="6756993" y="3246131"/>
                  <a:pt x="6761639" y="3247164"/>
                </a:cubicBezTo>
                <a:cubicBezTo>
                  <a:pt x="6763033" y="3252739"/>
                  <a:pt x="6758541" y="3261310"/>
                  <a:pt x="6752191" y="3262549"/>
                </a:cubicBezTo>
                <a:cubicBezTo>
                  <a:pt x="6745065" y="3260071"/>
                  <a:pt x="6746305" y="3255940"/>
                  <a:pt x="6741658" y="3254908"/>
                </a:cubicBezTo>
                <a:cubicBezTo>
                  <a:pt x="6743904" y="3250623"/>
                  <a:pt x="6746576" y="3248171"/>
                  <a:pt x="6749848" y="3247048"/>
                </a:cubicBezTo>
                <a:close/>
                <a:moveTo>
                  <a:pt x="340849" y="3245564"/>
                </a:moveTo>
                <a:cubicBezTo>
                  <a:pt x="340849" y="3246339"/>
                  <a:pt x="340849" y="3246339"/>
                  <a:pt x="340849" y="3246339"/>
                </a:cubicBezTo>
                <a:cubicBezTo>
                  <a:pt x="341675" y="3247268"/>
                  <a:pt x="341675" y="3246494"/>
                  <a:pt x="342604" y="3246649"/>
                </a:cubicBezTo>
                <a:cubicBezTo>
                  <a:pt x="342604" y="3246649"/>
                  <a:pt x="341778" y="3246494"/>
                  <a:pt x="342708" y="3245719"/>
                </a:cubicBezTo>
                <a:cubicBezTo>
                  <a:pt x="342604" y="3246649"/>
                  <a:pt x="343534" y="3246649"/>
                  <a:pt x="344360" y="3246649"/>
                </a:cubicBezTo>
                <a:cubicBezTo>
                  <a:pt x="346115" y="3248507"/>
                  <a:pt x="347870" y="3251296"/>
                  <a:pt x="346941" y="3252844"/>
                </a:cubicBezTo>
                <a:cubicBezTo>
                  <a:pt x="345186" y="3254393"/>
                  <a:pt x="343431" y="3253464"/>
                  <a:pt x="342501" y="3252535"/>
                </a:cubicBezTo>
                <a:cubicBezTo>
                  <a:pt x="341262" y="3251915"/>
                  <a:pt x="340643" y="3250831"/>
                  <a:pt x="340436" y="3249437"/>
                </a:cubicBezTo>
                <a:cubicBezTo>
                  <a:pt x="340229" y="3248198"/>
                  <a:pt x="340436" y="3246803"/>
                  <a:pt x="340849" y="3245564"/>
                </a:cubicBezTo>
                <a:close/>
                <a:moveTo>
                  <a:pt x="162835" y="3242466"/>
                </a:moveTo>
                <a:cubicBezTo>
                  <a:pt x="163558" y="3242466"/>
                  <a:pt x="164178" y="3242776"/>
                  <a:pt x="164591" y="3243086"/>
                </a:cubicBezTo>
                <a:cubicBezTo>
                  <a:pt x="172231" y="3249746"/>
                  <a:pt x="168721" y="3256717"/>
                  <a:pt x="169547" y="3258576"/>
                </a:cubicBezTo>
                <a:cubicBezTo>
                  <a:pt x="166965" y="3260744"/>
                  <a:pt x="166965" y="3260744"/>
                  <a:pt x="161803" y="3256097"/>
                </a:cubicBezTo>
                <a:cubicBezTo>
                  <a:pt x="160977" y="3255168"/>
                  <a:pt x="160357" y="3254084"/>
                  <a:pt x="160048" y="3252844"/>
                </a:cubicBezTo>
                <a:cubicBezTo>
                  <a:pt x="159738" y="3251760"/>
                  <a:pt x="159738" y="3250521"/>
                  <a:pt x="160254" y="3249282"/>
                </a:cubicBezTo>
                <a:cubicBezTo>
                  <a:pt x="159738" y="3248353"/>
                  <a:pt x="159531" y="3247423"/>
                  <a:pt x="159531" y="3246339"/>
                </a:cubicBezTo>
                <a:cubicBezTo>
                  <a:pt x="159531" y="3245410"/>
                  <a:pt x="159841" y="3244325"/>
                  <a:pt x="160254" y="3243551"/>
                </a:cubicBezTo>
                <a:cubicBezTo>
                  <a:pt x="161183" y="3242776"/>
                  <a:pt x="162009" y="3242466"/>
                  <a:pt x="162835" y="3242466"/>
                </a:cubicBezTo>
                <a:close/>
                <a:moveTo>
                  <a:pt x="256179" y="3239214"/>
                </a:moveTo>
                <a:cubicBezTo>
                  <a:pt x="257831" y="3239523"/>
                  <a:pt x="259380" y="3240608"/>
                  <a:pt x="260516" y="3243241"/>
                </a:cubicBezTo>
                <a:cubicBezTo>
                  <a:pt x="259173" y="3245255"/>
                  <a:pt x="257934" y="3245874"/>
                  <a:pt x="256695" y="3246029"/>
                </a:cubicBezTo>
                <a:lnTo>
                  <a:pt x="253288" y="3244945"/>
                </a:lnTo>
                <a:lnTo>
                  <a:pt x="253391" y="3245564"/>
                </a:lnTo>
                <a:cubicBezTo>
                  <a:pt x="253391" y="3245719"/>
                  <a:pt x="253184" y="3245564"/>
                  <a:pt x="252771" y="3245410"/>
                </a:cubicBezTo>
                <a:cubicBezTo>
                  <a:pt x="252668" y="3247268"/>
                  <a:pt x="252256" y="3247888"/>
                  <a:pt x="251739" y="3248662"/>
                </a:cubicBezTo>
                <a:cubicBezTo>
                  <a:pt x="250500" y="3248817"/>
                  <a:pt x="249054" y="3247888"/>
                  <a:pt x="247918" y="3246184"/>
                </a:cubicBezTo>
                <a:cubicBezTo>
                  <a:pt x="249157" y="3246029"/>
                  <a:pt x="249364" y="3244015"/>
                  <a:pt x="250500" y="3243860"/>
                </a:cubicBezTo>
                <a:cubicBezTo>
                  <a:pt x="250500" y="3243860"/>
                  <a:pt x="251223" y="3244015"/>
                  <a:pt x="251842" y="3244325"/>
                </a:cubicBezTo>
                <a:lnTo>
                  <a:pt x="253184" y="3244635"/>
                </a:lnTo>
                <a:lnTo>
                  <a:pt x="253907" y="3243241"/>
                </a:lnTo>
                <a:cubicBezTo>
                  <a:pt x="254217" y="3241537"/>
                  <a:pt x="253288" y="3240143"/>
                  <a:pt x="256179" y="3239214"/>
                </a:cubicBezTo>
                <a:close/>
                <a:moveTo>
                  <a:pt x="317720" y="3232553"/>
                </a:moveTo>
                <a:cubicBezTo>
                  <a:pt x="319475" y="3232708"/>
                  <a:pt x="321230" y="3232088"/>
                  <a:pt x="322986" y="3233018"/>
                </a:cubicBezTo>
                <a:cubicBezTo>
                  <a:pt x="324638" y="3234877"/>
                  <a:pt x="323709" y="3238904"/>
                  <a:pt x="322883" y="3240453"/>
                </a:cubicBezTo>
                <a:cubicBezTo>
                  <a:pt x="321127" y="3242002"/>
                  <a:pt x="318443" y="3240918"/>
                  <a:pt x="316790" y="3239059"/>
                </a:cubicBezTo>
                <a:cubicBezTo>
                  <a:pt x="315964" y="3238594"/>
                  <a:pt x="315551" y="3237665"/>
                  <a:pt x="315448" y="3236735"/>
                </a:cubicBezTo>
                <a:cubicBezTo>
                  <a:pt x="315345" y="3235806"/>
                  <a:pt x="315551" y="3234877"/>
                  <a:pt x="316067" y="3234102"/>
                </a:cubicBezTo>
                <a:cubicBezTo>
                  <a:pt x="316893" y="3233328"/>
                  <a:pt x="316893" y="3233328"/>
                  <a:pt x="317720" y="3232553"/>
                </a:cubicBezTo>
                <a:close/>
                <a:moveTo>
                  <a:pt x="404442" y="3229784"/>
                </a:moveTo>
                <a:cubicBezTo>
                  <a:pt x="407269" y="3230346"/>
                  <a:pt x="409773" y="3232011"/>
                  <a:pt x="410753" y="3235961"/>
                </a:cubicBezTo>
                <a:cubicBezTo>
                  <a:pt x="409824" y="3236580"/>
                  <a:pt x="408792" y="3237200"/>
                  <a:pt x="407862" y="3237975"/>
                </a:cubicBezTo>
                <a:cubicBezTo>
                  <a:pt x="403835" y="3233947"/>
                  <a:pt x="399498" y="3233173"/>
                  <a:pt x="396195" y="3230230"/>
                </a:cubicBezTo>
                <a:cubicBezTo>
                  <a:pt x="398466" y="3229765"/>
                  <a:pt x="401615" y="3229223"/>
                  <a:pt x="404442" y="3229784"/>
                </a:cubicBezTo>
                <a:close/>
                <a:moveTo>
                  <a:pt x="500445" y="3229417"/>
                </a:moveTo>
                <a:cubicBezTo>
                  <a:pt x="502084" y="3228526"/>
                  <a:pt x="503891" y="3228293"/>
                  <a:pt x="505129" y="3229455"/>
                </a:cubicBezTo>
                <a:cubicBezTo>
                  <a:pt x="506782" y="3231933"/>
                  <a:pt x="501206" y="3240608"/>
                  <a:pt x="496972" y="3235806"/>
                </a:cubicBezTo>
                <a:cubicBezTo>
                  <a:pt x="496353" y="3235186"/>
                  <a:pt x="496353" y="3234257"/>
                  <a:pt x="496766" y="3233328"/>
                </a:cubicBezTo>
                <a:cubicBezTo>
                  <a:pt x="497334" y="3231856"/>
                  <a:pt x="498805" y="3230307"/>
                  <a:pt x="500445" y="3229417"/>
                </a:cubicBezTo>
                <a:close/>
                <a:moveTo>
                  <a:pt x="525368" y="3228061"/>
                </a:moveTo>
                <a:cubicBezTo>
                  <a:pt x="527433" y="3227751"/>
                  <a:pt x="527846" y="3228371"/>
                  <a:pt x="527536" y="3229610"/>
                </a:cubicBezTo>
                <a:cubicBezTo>
                  <a:pt x="527536" y="3229610"/>
                  <a:pt x="527124" y="3230849"/>
                  <a:pt x="526814" y="3231933"/>
                </a:cubicBezTo>
                <a:cubicBezTo>
                  <a:pt x="526503" y="3233173"/>
                  <a:pt x="526917" y="3233792"/>
                  <a:pt x="526917" y="3233792"/>
                </a:cubicBezTo>
                <a:cubicBezTo>
                  <a:pt x="526607" y="3235031"/>
                  <a:pt x="525884" y="3235651"/>
                  <a:pt x="524645" y="3235341"/>
                </a:cubicBezTo>
                <a:cubicBezTo>
                  <a:pt x="524645" y="3235341"/>
                  <a:pt x="524439" y="3233482"/>
                  <a:pt x="524439" y="3233482"/>
                </a:cubicBezTo>
                <a:cubicBezTo>
                  <a:pt x="525161" y="3231159"/>
                  <a:pt x="525471" y="3229920"/>
                  <a:pt x="525368" y="3228061"/>
                </a:cubicBezTo>
                <a:close/>
                <a:moveTo>
                  <a:pt x="309975" y="3227442"/>
                </a:moveTo>
                <a:cubicBezTo>
                  <a:pt x="310182" y="3230385"/>
                  <a:pt x="308633" y="3231314"/>
                  <a:pt x="305432" y="3233018"/>
                </a:cubicBezTo>
                <a:cubicBezTo>
                  <a:pt x="305226" y="3231004"/>
                  <a:pt x="305432" y="3229765"/>
                  <a:pt x="306258" y="3228835"/>
                </a:cubicBezTo>
                <a:cubicBezTo>
                  <a:pt x="306981" y="3228061"/>
                  <a:pt x="308323" y="3227751"/>
                  <a:pt x="309975" y="3227442"/>
                </a:cubicBezTo>
                <a:close/>
                <a:moveTo>
                  <a:pt x="426242" y="3226105"/>
                </a:moveTo>
                <a:cubicBezTo>
                  <a:pt x="429856" y="3225234"/>
                  <a:pt x="433676" y="3225350"/>
                  <a:pt x="435845" y="3226512"/>
                </a:cubicBezTo>
                <a:cubicBezTo>
                  <a:pt x="437187" y="3230075"/>
                  <a:pt x="436877" y="3232863"/>
                  <a:pt x="435638" y="3234877"/>
                </a:cubicBezTo>
                <a:cubicBezTo>
                  <a:pt x="434709" y="3236425"/>
                  <a:pt x="433263" y="3237355"/>
                  <a:pt x="431508" y="3238129"/>
                </a:cubicBezTo>
                <a:lnTo>
                  <a:pt x="429753" y="3238284"/>
                </a:lnTo>
                <a:cubicBezTo>
                  <a:pt x="430475" y="3241382"/>
                  <a:pt x="428823" y="3245255"/>
                  <a:pt x="424177" y="3246803"/>
                </a:cubicBezTo>
                <a:cubicBezTo>
                  <a:pt x="420976" y="3245255"/>
                  <a:pt x="419530" y="3243241"/>
                  <a:pt x="418188" y="3242002"/>
                </a:cubicBezTo>
                <a:lnTo>
                  <a:pt x="420769" y="3236580"/>
                </a:lnTo>
                <a:lnTo>
                  <a:pt x="417878" y="3231624"/>
                </a:lnTo>
                <a:cubicBezTo>
                  <a:pt x="419220" y="3228835"/>
                  <a:pt x="422628" y="3226977"/>
                  <a:pt x="426242" y="3226105"/>
                </a:cubicBezTo>
                <a:close/>
                <a:moveTo>
                  <a:pt x="518759" y="3224653"/>
                </a:moveTo>
                <a:cubicBezTo>
                  <a:pt x="518450" y="3225892"/>
                  <a:pt x="519895" y="3228061"/>
                  <a:pt x="520102" y="3229920"/>
                </a:cubicBezTo>
                <a:cubicBezTo>
                  <a:pt x="519379" y="3230385"/>
                  <a:pt x="519069" y="3231469"/>
                  <a:pt x="518347" y="3231933"/>
                </a:cubicBezTo>
                <a:cubicBezTo>
                  <a:pt x="517933" y="3231314"/>
                  <a:pt x="516281" y="3230385"/>
                  <a:pt x="517004" y="3229920"/>
                </a:cubicBezTo>
                <a:cubicBezTo>
                  <a:pt x="516488" y="3229300"/>
                  <a:pt x="517933" y="3228216"/>
                  <a:pt x="517933" y="3228216"/>
                </a:cubicBezTo>
                <a:cubicBezTo>
                  <a:pt x="517520" y="3227596"/>
                  <a:pt x="517107" y="3226822"/>
                  <a:pt x="517314" y="3225738"/>
                </a:cubicBezTo>
                <a:cubicBezTo>
                  <a:pt x="518553" y="3225892"/>
                  <a:pt x="518037" y="3225118"/>
                  <a:pt x="518759" y="3224653"/>
                </a:cubicBezTo>
                <a:close/>
                <a:moveTo>
                  <a:pt x="462072" y="3223724"/>
                </a:moveTo>
                <a:cubicBezTo>
                  <a:pt x="464860" y="3222485"/>
                  <a:pt x="473121" y="3228835"/>
                  <a:pt x="467545" y="3232243"/>
                </a:cubicBezTo>
                <a:cubicBezTo>
                  <a:pt x="466822" y="3232708"/>
                  <a:pt x="465892" y="3232553"/>
                  <a:pt x="464963" y="3232088"/>
                </a:cubicBezTo>
                <a:cubicBezTo>
                  <a:pt x="462794" y="3231004"/>
                  <a:pt x="460626" y="3228061"/>
                  <a:pt x="460936" y="3225738"/>
                </a:cubicBezTo>
                <a:cubicBezTo>
                  <a:pt x="461039" y="3224963"/>
                  <a:pt x="461349" y="3224188"/>
                  <a:pt x="462072" y="3223724"/>
                </a:cubicBezTo>
                <a:close/>
                <a:moveTo>
                  <a:pt x="333311" y="3219232"/>
                </a:moveTo>
                <a:cubicBezTo>
                  <a:pt x="333621" y="3219387"/>
                  <a:pt x="334137" y="3219387"/>
                  <a:pt x="335066" y="3219232"/>
                </a:cubicBezTo>
                <a:cubicBezTo>
                  <a:pt x="336306" y="3219387"/>
                  <a:pt x="337029" y="3218922"/>
                  <a:pt x="336719" y="3220007"/>
                </a:cubicBezTo>
                <a:cubicBezTo>
                  <a:pt x="336409" y="3221245"/>
                  <a:pt x="336409" y="3221091"/>
                  <a:pt x="334241" y="3222640"/>
                </a:cubicBezTo>
                <a:cubicBezTo>
                  <a:pt x="334551" y="3221400"/>
                  <a:pt x="334551" y="3221400"/>
                  <a:pt x="333415" y="3221245"/>
                </a:cubicBezTo>
                <a:cubicBezTo>
                  <a:pt x="333415" y="3221245"/>
                  <a:pt x="333415" y="3221400"/>
                  <a:pt x="332692" y="3221865"/>
                </a:cubicBezTo>
                <a:cubicBezTo>
                  <a:pt x="332279" y="3221091"/>
                  <a:pt x="333001" y="3220626"/>
                  <a:pt x="332485" y="3220007"/>
                </a:cubicBezTo>
                <a:cubicBezTo>
                  <a:pt x="332485" y="3220007"/>
                  <a:pt x="333208" y="3219542"/>
                  <a:pt x="333208" y="3219542"/>
                </a:cubicBezTo>
                <a:cubicBezTo>
                  <a:pt x="333001" y="3219232"/>
                  <a:pt x="333001" y="3219232"/>
                  <a:pt x="333311" y="3219232"/>
                </a:cubicBezTo>
                <a:close/>
                <a:moveTo>
                  <a:pt x="221175" y="3216289"/>
                </a:moveTo>
                <a:cubicBezTo>
                  <a:pt x="223653" y="3217838"/>
                  <a:pt x="222724" y="3219387"/>
                  <a:pt x="224376" y="3220161"/>
                </a:cubicBezTo>
                <a:cubicBezTo>
                  <a:pt x="221692" y="3223414"/>
                  <a:pt x="219110" y="3223569"/>
                  <a:pt x="215806" y="3222175"/>
                </a:cubicBezTo>
                <a:cubicBezTo>
                  <a:pt x="215909" y="3219697"/>
                  <a:pt x="218593" y="3216444"/>
                  <a:pt x="221175" y="3216289"/>
                </a:cubicBezTo>
                <a:close/>
                <a:moveTo>
                  <a:pt x="6714551" y="3215980"/>
                </a:moveTo>
                <a:cubicBezTo>
                  <a:pt x="6719043" y="3222692"/>
                  <a:pt x="6717494" y="3227545"/>
                  <a:pt x="6718888" y="3233327"/>
                </a:cubicBezTo>
                <a:cubicBezTo>
                  <a:pt x="6715480" y="3236115"/>
                  <a:pt x="6712537" y="3237664"/>
                  <a:pt x="6709904" y="3238284"/>
                </a:cubicBezTo>
                <a:cubicBezTo>
                  <a:pt x="6708045" y="3238800"/>
                  <a:pt x="6706186" y="3238903"/>
                  <a:pt x="6704637" y="3238490"/>
                </a:cubicBezTo>
                <a:cubicBezTo>
                  <a:pt x="6700146" y="3237458"/>
                  <a:pt x="6697667" y="3232914"/>
                  <a:pt x="6697822" y="3228165"/>
                </a:cubicBezTo>
                <a:cubicBezTo>
                  <a:pt x="6697822" y="3225377"/>
                  <a:pt x="6698906" y="3222486"/>
                  <a:pt x="6700920" y="3220214"/>
                </a:cubicBezTo>
                <a:cubicBezTo>
                  <a:pt x="6703553" y="3217220"/>
                  <a:pt x="6708045" y="3215361"/>
                  <a:pt x="6714551" y="3215980"/>
                </a:cubicBezTo>
                <a:close/>
                <a:moveTo>
                  <a:pt x="402286" y="3214895"/>
                </a:moveTo>
                <a:cubicBezTo>
                  <a:pt x="403835" y="3218148"/>
                  <a:pt x="401977" y="3221555"/>
                  <a:pt x="407862" y="3224653"/>
                </a:cubicBezTo>
                <a:lnTo>
                  <a:pt x="404248" y="3226047"/>
                </a:lnTo>
                <a:lnTo>
                  <a:pt x="404764" y="3226202"/>
                </a:lnTo>
                <a:cubicBezTo>
                  <a:pt x="397743" y="3232398"/>
                  <a:pt x="386385" y="3230075"/>
                  <a:pt x="381429" y="3227287"/>
                </a:cubicBezTo>
                <a:cubicBezTo>
                  <a:pt x="384836" y="3224343"/>
                  <a:pt x="389690" y="3222949"/>
                  <a:pt x="394129" y="3222949"/>
                </a:cubicBezTo>
                <a:lnTo>
                  <a:pt x="398363" y="3223414"/>
                </a:lnTo>
                <a:lnTo>
                  <a:pt x="399189" y="3220471"/>
                </a:lnTo>
                <a:cubicBezTo>
                  <a:pt x="400118" y="3218457"/>
                  <a:pt x="401357" y="3216599"/>
                  <a:pt x="402286" y="3214895"/>
                </a:cubicBezTo>
                <a:close/>
                <a:moveTo>
                  <a:pt x="528569" y="3213501"/>
                </a:moveTo>
                <a:cubicBezTo>
                  <a:pt x="530531" y="3213191"/>
                  <a:pt x="530737" y="3215050"/>
                  <a:pt x="530118" y="3217373"/>
                </a:cubicBezTo>
                <a:cubicBezTo>
                  <a:pt x="530118" y="3222175"/>
                  <a:pt x="528362" y="3224343"/>
                  <a:pt x="524748" y="3223879"/>
                </a:cubicBezTo>
                <a:cubicBezTo>
                  <a:pt x="524335" y="3223104"/>
                  <a:pt x="523716" y="3220626"/>
                  <a:pt x="522890" y="3221091"/>
                </a:cubicBezTo>
                <a:cubicBezTo>
                  <a:pt x="523613" y="3218457"/>
                  <a:pt x="524748" y="3215514"/>
                  <a:pt x="526503" y="3214121"/>
                </a:cubicBezTo>
                <a:cubicBezTo>
                  <a:pt x="527124" y="3213810"/>
                  <a:pt x="527846" y="3213501"/>
                  <a:pt x="528569" y="3213501"/>
                </a:cubicBezTo>
                <a:close/>
                <a:moveTo>
                  <a:pt x="417155" y="3210867"/>
                </a:moveTo>
                <a:cubicBezTo>
                  <a:pt x="421492" y="3209783"/>
                  <a:pt x="427275" y="3214585"/>
                  <a:pt x="426242" y="3217993"/>
                </a:cubicBezTo>
                <a:cubicBezTo>
                  <a:pt x="419324" y="3227751"/>
                  <a:pt x="411683" y="3224343"/>
                  <a:pt x="412819" y="3217838"/>
                </a:cubicBezTo>
                <a:cubicBezTo>
                  <a:pt x="413128" y="3215669"/>
                  <a:pt x="414471" y="3213191"/>
                  <a:pt x="417155" y="3210867"/>
                </a:cubicBezTo>
                <a:close/>
                <a:moveTo>
                  <a:pt x="542612" y="3209319"/>
                </a:moveTo>
                <a:cubicBezTo>
                  <a:pt x="542612" y="3209319"/>
                  <a:pt x="542612" y="3209319"/>
                  <a:pt x="548910" y="3211022"/>
                </a:cubicBezTo>
                <a:cubicBezTo>
                  <a:pt x="548704" y="3211487"/>
                  <a:pt x="548291" y="3211642"/>
                  <a:pt x="547775" y="3211642"/>
                </a:cubicBezTo>
                <a:cubicBezTo>
                  <a:pt x="547258" y="3211487"/>
                  <a:pt x="546639" y="3211332"/>
                  <a:pt x="546122" y="3211022"/>
                </a:cubicBezTo>
                <a:cubicBezTo>
                  <a:pt x="544883" y="3210403"/>
                  <a:pt x="543748" y="3209783"/>
                  <a:pt x="542612" y="3209319"/>
                </a:cubicBezTo>
                <a:close/>
                <a:moveTo>
                  <a:pt x="376886" y="3208854"/>
                </a:moveTo>
                <a:lnTo>
                  <a:pt x="379983" y="3209938"/>
                </a:lnTo>
                <a:lnTo>
                  <a:pt x="380293" y="3209474"/>
                </a:lnTo>
                <a:cubicBezTo>
                  <a:pt x="381842" y="3211332"/>
                  <a:pt x="383700" y="3210713"/>
                  <a:pt x="385352" y="3212726"/>
                </a:cubicBezTo>
                <a:lnTo>
                  <a:pt x="382874" y="3214895"/>
                </a:lnTo>
                <a:lnTo>
                  <a:pt x="383288" y="3216599"/>
                </a:lnTo>
                <a:lnTo>
                  <a:pt x="389380" y="3217373"/>
                </a:lnTo>
                <a:cubicBezTo>
                  <a:pt x="391548" y="3217838"/>
                  <a:pt x="393510" y="3218612"/>
                  <a:pt x="395162" y="3219387"/>
                </a:cubicBezTo>
                <a:cubicBezTo>
                  <a:pt x="387934" y="3226512"/>
                  <a:pt x="380396" y="3224343"/>
                  <a:pt x="372755" y="3222020"/>
                </a:cubicBezTo>
                <a:cubicBezTo>
                  <a:pt x="373685" y="3220161"/>
                  <a:pt x="375130" y="3218767"/>
                  <a:pt x="376886" y="3217838"/>
                </a:cubicBezTo>
                <a:lnTo>
                  <a:pt x="377712" y="3217683"/>
                </a:lnTo>
                <a:lnTo>
                  <a:pt x="376472" y="3217528"/>
                </a:lnTo>
                <a:cubicBezTo>
                  <a:pt x="369038" y="3217683"/>
                  <a:pt x="361810" y="3220007"/>
                  <a:pt x="356957" y="3215514"/>
                </a:cubicBezTo>
                <a:cubicBezTo>
                  <a:pt x="360055" y="3214740"/>
                  <a:pt x="363565" y="3213036"/>
                  <a:pt x="367076" y="3211487"/>
                </a:cubicBezTo>
                <a:cubicBezTo>
                  <a:pt x="370587" y="3209938"/>
                  <a:pt x="373994" y="3208699"/>
                  <a:pt x="376886" y="3208854"/>
                </a:cubicBezTo>
                <a:close/>
                <a:moveTo>
                  <a:pt x="346115" y="3201729"/>
                </a:moveTo>
                <a:cubicBezTo>
                  <a:pt x="347148" y="3201419"/>
                  <a:pt x="348180" y="3201574"/>
                  <a:pt x="349522" y="3202193"/>
                </a:cubicBezTo>
                <a:cubicBezTo>
                  <a:pt x="346838" y="3203587"/>
                  <a:pt x="345909" y="3204207"/>
                  <a:pt x="343224" y="3203123"/>
                </a:cubicBezTo>
                <a:cubicBezTo>
                  <a:pt x="344153" y="3202348"/>
                  <a:pt x="345083" y="3201884"/>
                  <a:pt x="346115" y="3201729"/>
                </a:cubicBezTo>
                <a:close/>
                <a:moveTo>
                  <a:pt x="535797" y="3198476"/>
                </a:moveTo>
                <a:cubicBezTo>
                  <a:pt x="537655" y="3199870"/>
                  <a:pt x="541166" y="3201109"/>
                  <a:pt x="540443" y="3204517"/>
                </a:cubicBezTo>
                <a:cubicBezTo>
                  <a:pt x="539101" y="3203432"/>
                  <a:pt x="536210" y="3201729"/>
                  <a:pt x="535590" y="3200025"/>
                </a:cubicBezTo>
                <a:cubicBezTo>
                  <a:pt x="535384" y="3199560"/>
                  <a:pt x="535384" y="3198941"/>
                  <a:pt x="535797" y="3198476"/>
                </a:cubicBezTo>
                <a:close/>
                <a:moveTo>
                  <a:pt x="364701" y="3194758"/>
                </a:moveTo>
                <a:lnTo>
                  <a:pt x="368831" y="3198631"/>
                </a:lnTo>
                <a:lnTo>
                  <a:pt x="369451" y="3198476"/>
                </a:lnTo>
                <a:cubicBezTo>
                  <a:pt x="372239" y="3199096"/>
                  <a:pt x="373065" y="3203897"/>
                  <a:pt x="371929" y="3206840"/>
                </a:cubicBezTo>
                <a:lnTo>
                  <a:pt x="370690" y="3208544"/>
                </a:lnTo>
                <a:lnTo>
                  <a:pt x="370690" y="3208854"/>
                </a:lnTo>
                <a:cubicBezTo>
                  <a:pt x="368315" y="3211642"/>
                  <a:pt x="368315" y="3211642"/>
                  <a:pt x="362843" y="3208234"/>
                </a:cubicBezTo>
                <a:cubicBezTo>
                  <a:pt x="361913" y="3207615"/>
                  <a:pt x="361294" y="3206685"/>
                  <a:pt x="360881" y="3205601"/>
                </a:cubicBezTo>
                <a:cubicBezTo>
                  <a:pt x="360468" y="3204517"/>
                  <a:pt x="360365" y="3203277"/>
                  <a:pt x="360778" y="3201884"/>
                </a:cubicBezTo>
                <a:cubicBezTo>
                  <a:pt x="360261" y="3201109"/>
                  <a:pt x="360055" y="3200180"/>
                  <a:pt x="359951" y="3199096"/>
                </a:cubicBezTo>
                <a:cubicBezTo>
                  <a:pt x="359848" y="3198166"/>
                  <a:pt x="360055" y="3197082"/>
                  <a:pt x="360365" y="3196153"/>
                </a:cubicBezTo>
                <a:cubicBezTo>
                  <a:pt x="362017" y="3194294"/>
                  <a:pt x="363772" y="3194139"/>
                  <a:pt x="364701" y="3194758"/>
                </a:cubicBezTo>
                <a:close/>
                <a:moveTo>
                  <a:pt x="109632" y="3194100"/>
                </a:moveTo>
                <a:cubicBezTo>
                  <a:pt x="111749" y="3194371"/>
                  <a:pt x="114098" y="3195533"/>
                  <a:pt x="116680" y="3198011"/>
                </a:cubicBezTo>
                <a:cubicBezTo>
                  <a:pt x="118332" y="3198941"/>
                  <a:pt x="117506" y="3198941"/>
                  <a:pt x="118332" y="3199870"/>
                </a:cubicBezTo>
                <a:cubicBezTo>
                  <a:pt x="119158" y="3200799"/>
                  <a:pt x="120913" y="3201729"/>
                  <a:pt x="121739" y="3201884"/>
                </a:cubicBezTo>
                <a:cubicBezTo>
                  <a:pt x="119055" y="3204981"/>
                  <a:pt x="121739" y="3206840"/>
                  <a:pt x="117299" y="3211487"/>
                </a:cubicBezTo>
                <a:cubicBezTo>
                  <a:pt x="111930" y="3217683"/>
                  <a:pt x="105838" y="3215360"/>
                  <a:pt x="102430" y="3212571"/>
                </a:cubicBezTo>
                <a:cubicBezTo>
                  <a:pt x="103153" y="3211952"/>
                  <a:pt x="98507" y="3208079"/>
                  <a:pt x="98713" y="3203123"/>
                </a:cubicBezTo>
                <a:cubicBezTo>
                  <a:pt x="98816" y="3201574"/>
                  <a:pt x="99436" y="3199870"/>
                  <a:pt x="100985" y="3198166"/>
                </a:cubicBezTo>
                <a:cubicBezTo>
                  <a:pt x="101811" y="3197237"/>
                  <a:pt x="102844" y="3196307"/>
                  <a:pt x="103979" y="3195533"/>
                </a:cubicBezTo>
                <a:cubicBezTo>
                  <a:pt x="105631" y="3194448"/>
                  <a:pt x="107516" y="3193829"/>
                  <a:pt x="109632" y="3194100"/>
                </a:cubicBezTo>
                <a:close/>
                <a:moveTo>
                  <a:pt x="309356" y="3193984"/>
                </a:moveTo>
                <a:cubicBezTo>
                  <a:pt x="308530" y="3204052"/>
                  <a:pt x="305432" y="3211487"/>
                  <a:pt x="300166" y="3216599"/>
                </a:cubicBezTo>
                <a:cubicBezTo>
                  <a:pt x="298411" y="3218303"/>
                  <a:pt x="296449" y="3219852"/>
                  <a:pt x="294177" y="3221091"/>
                </a:cubicBezTo>
                <a:cubicBezTo>
                  <a:pt x="289531" y="3215824"/>
                  <a:pt x="294074" y="3209938"/>
                  <a:pt x="296036" y="3204827"/>
                </a:cubicBezTo>
                <a:cubicBezTo>
                  <a:pt x="289944" y="3204207"/>
                  <a:pt x="280754" y="3204827"/>
                  <a:pt x="280341" y="3198321"/>
                </a:cubicBezTo>
                <a:cubicBezTo>
                  <a:pt x="281477" y="3197237"/>
                  <a:pt x="282819" y="3196617"/>
                  <a:pt x="284264" y="3196307"/>
                </a:cubicBezTo>
                <a:cubicBezTo>
                  <a:pt x="288705" y="3195688"/>
                  <a:pt x="294487" y="3198476"/>
                  <a:pt x="300063" y="3198321"/>
                </a:cubicBezTo>
                <a:cubicBezTo>
                  <a:pt x="303160" y="3196772"/>
                  <a:pt x="302644" y="3192590"/>
                  <a:pt x="309356" y="3193984"/>
                </a:cubicBezTo>
                <a:close/>
                <a:moveTo>
                  <a:pt x="42025" y="3190421"/>
                </a:moveTo>
                <a:cubicBezTo>
                  <a:pt x="42232" y="3190266"/>
                  <a:pt x="42439" y="3190266"/>
                  <a:pt x="42852" y="3190576"/>
                </a:cubicBezTo>
                <a:cubicBezTo>
                  <a:pt x="43678" y="3191506"/>
                  <a:pt x="43678" y="3191506"/>
                  <a:pt x="43574" y="3193984"/>
                </a:cubicBezTo>
                <a:cubicBezTo>
                  <a:pt x="42852" y="3193054"/>
                  <a:pt x="42852" y="3193054"/>
                  <a:pt x="42025" y="3193829"/>
                </a:cubicBezTo>
                <a:cubicBezTo>
                  <a:pt x="42025" y="3193829"/>
                  <a:pt x="42025" y="3193829"/>
                  <a:pt x="42025" y="3194603"/>
                </a:cubicBezTo>
                <a:cubicBezTo>
                  <a:pt x="41199" y="3194449"/>
                  <a:pt x="41096" y="3193674"/>
                  <a:pt x="40373" y="3193674"/>
                </a:cubicBezTo>
                <a:cubicBezTo>
                  <a:pt x="40373" y="3193674"/>
                  <a:pt x="40373" y="3192899"/>
                  <a:pt x="40373" y="3192899"/>
                </a:cubicBezTo>
                <a:cubicBezTo>
                  <a:pt x="39960" y="3192745"/>
                  <a:pt x="39960" y="3192745"/>
                  <a:pt x="40167" y="3192590"/>
                </a:cubicBezTo>
                <a:cubicBezTo>
                  <a:pt x="40373" y="3192435"/>
                  <a:pt x="40786" y="3192125"/>
                  <a:pt x="41199" y="3191351"/>
                </a:cubicBezTo>
                <a:cubicBezTo>
                  <a:pt x="41613" y="3190886"/>
                  <a:pt x="41819" y="3190576"/>
                  <a:pt x="42025" y="3190421"/>
                </a:cubicBezTo>
                <a:close/>
                <a:moveTo>
                  <a:pt x="420460" y="3190111"/>
                </a:moveTo>
                <a:cubicBezTo>
                  <a:pt x="422834" y="3190421"/>
                  <a:pt x="423041" y="3192280"/>
                  <a:pt x="423041" y="3192280"/>
                </a:cubicBezTo>
                <a:cubicBezTo>
                  <a:pt x="422834" y="3195223"/>
                  <a:pt x="420976" y="3197392"/>
                  <a:pt x="417878" y="3197546"/>
                </a:cubicBezTo>
                <a:cubicBezTo>
                  <a:pt x="416226" y="3196772"/>
                  <a:pt x="416123" y="3194913"/>
                  <a:pt x="415916" y="3193054"/>
                </a:cubicBezTo>
                <a:cubicBezTo>
                  <a:pt x="416020" y="3191660"/>
                  <a:pt x="416536" y="3190731"/>
                  <a:pt x="417362" y="3190266"/>
                </a:cubicBezTo>
                <a:cubicBezTo>
                  <a:pt x="418188" y="3189956"/>
                  <a:pt x="419324" y="3189956"/>
                  <a:pt x="420460" y="3190111"/>
                </a:cubicBezTo>
                <a:close/>
                <a:moveTo>
                  <a:pt x="96958" y="3184380"/>
                </a:moveTo>
                <a:cubicBezTo>
                  <a:pt x="99746" y="3182676"/>
                  <a:pt x="101398" y="3184690"/>
                  <a:pt x="103979" y="3186704"/>
                </a:cubicBezTo>
                <a:cubicBezTo>
                  <a:pt x="103050" y="3188408"/>
                  <a:pt x="103876" y="3190886"/>
                  <a:pt x="102121" y="3192435"/>
                </a:cubicBezTo>
                <a:cubicBezTo>
                  <a:pt x="102121" y="3192435"/>
                  <a:pt x="101191" y="3193209"/>
                  <a:pt x="99539" y="3192899"/>
                </a:cubicBezTo>
                <a:cubicBezTo>
                  <a:pt x="96855" y="3194294"/>
                  <a:pt x="94273" y="3191660"/>
                  <a:pt x="94273" y="3191660"/>
                </a:cubicBezTo>
                <a:cubicBezTo>
                  <a:pt x="94273" y="3191660"/>
                  <a:pt x="94273" y="3191660"/>
                  <a:pt x="94273" y="3192435"/>
                </a:cubicBezTo>
                <a:cubicBezTo>
                  <a:pt x="94273" y="3190731"/>
                  <a:pt x="93447" y="3189027"/>
                  <a:pt x="93447" y="3187323"/>
                </a:cubicBezTo>
                <a:cubicBezTo>
                  <a:pt x="94789" y="3185775"/>
                  <a:pt x="95925" y="3184845"/>
                  <a:pt x="96958" y="3184380"/>
                </a:cubicBezTo>
                <a:close/>
                <a:moveTo>
                  <a:pt x="219213" y="3174002"/>
                </a:moveTo>
                <a:cubicBezTo>
                  <a:pt x="220039" y="3174467"/>
                  <a:pt x="220762" y="3175242"/>
                  <a:pt x="221278" y="3176171"/>
                </a:cubicBezTo>
                <a:cubicBezTo>
                  <a:pt x="224066" y="3181747"/>
                  <a:pt x="219729" y="3188563"/>
                  <a:pt x="212192" y="3190266"/>
                </a:cubicBezTo>
                <a:cubicBezTo>
                  <a:pt x="200524" y="3193364"/>
                  <a:pt x="193296" y="3189802"/>
                  <a:pt x="193296" y="3189802"/>
                </a:cubicBezTo>
                <a:cubicBezTo>
                  <a:pt x="192573" y="3187788"/>
                  <a:pt x="192366" y="3186084"/>
                  <a:pt x="192573" y="3184690"/>
                </a:cubicBezTo>
                <a:cubicBezTo>
                  <a:pt x="193089" y="3180198"/>
                  <a:pt x="197529" y="3177875"/>
                  <a:pt x="202176" y="3176326"/>
                </a:cubicBezTo>
                <a:cubicBezTo>
                  <a:pt x="204241" y="3175551"/>
                  <a:pt x="206409" y="3175087"/>
                  <a:pt x="208371" y="3174622"/>
                </a:cubicBezTo>
                <a:cubicBezTo>
                  <a:pt x="212192" y="3173538"/>
                  <a:pt x="216529" y="3172763"/>
                  <a:pt x="219213" y="3174002"/>
                </a:cubicBezTo>
                <a:close/>
                <a:moveTo>
                  <a:pt x="6853931" y="3173555"/>
                </a:moveTo>
                <a:cubicBezTo>
                  <a:pt x="6856920" y="3174530"/>
                  <a:pt x="6859495" y="3176640"/>
                  <a:pt x="6861238" y="3180254"/>
                </a:cubicBezTo>
                <a:cubicBezTo>
                  <a:pt x="6853028" y="3181699"/>
                  <a:pt x="6844354" y="3184900"/>
                  <a:pt x="6835680" y="3185726"/>
                </a:cubicBezTo>
                <a:cubicBezTo>
                  <a:pt x="6832737" y="3185933"/>
                  <a:pt x="6829949" y="3185933"/>
                  <a:pt x="6827161" y="3185520"/>
                </a:cubicBezTo>
                <a:cubicBezTo>
                  <a:pt x="6832272" y="3177930"/>
                  <a:pt x="6844964" y="3170632"/>
                  <a:pt x="6853931" y="3173555"/>
                </a:cubicBezTo>
                <a:close/>
                <a:moveTo>
                  <a:pt x="240174" y="3171834"/>
                </a:moveTo>
                <a:cubicBezTo>
                  <a:pt x="241103" y="3172608"/>
                  <a:pt x="241103" y="3172608"/>
                  <a:pt x="241207" y="3174931"/>
                </a:cubicBezTo>
                <a:cubicBezTo>
                  <a:pt x="240381" y="3174312"/>
                  <a:pt x="240381" y="3174312"/>
                  <a:pt x="239555" y="3175087"/>
                </a:cubicBezTo>
                <a:cubicBezTo>
                  <a:pt x="239555" y="3175087"/>
                  <a:pt x="239555" y="3175242"/>
                  <a:pt x="239658" y="3176016"/>
                </a:cubicBezTo>
                <a:cubicBezTo>
                  <a:pt x="238832" y="3176171"/>
                  <a:pt x="238728" y="3175242"/>
                  <a:pt x="237902" y="3175396"/>
                </a:cubicBezTo>
                <a:cubicBezTo>
                  <a:pt x="237902" y="3175396"/>
                  <a:pt x="237902" y="3174622"/>
                  <a:pt x="237902" y="3174622"/>
                </a:cubicBezTo>
                <a:cubicBezTo>
                  <a:pt x="237489" y="3174622"/>
                  <a:pt x="237489" y="3174622"/>
                  <a:pt x="237696" y="3174467"/>
                </a:cubicBezTo>
                <a:cubicBezTo>
                  <a:pt x="237902" y="3174157"/>
                  <a:pt x="238212" y="3173692"/>
                  <a:pt x="238625" y="3172918"/>
                </a:cubicBezTo>
                <a:cubicBezTo>
                  <a:pt x="239348" y="3171988"/>
                  <a:pt x="239348" y="3171214"/>
                  <a:pt x="240174" y="3171834"/>
                </a:cubicBezTo>
                <a:close/>
                <a:moveTo>
                  <a:pt x="552318" y="3167807"/>
                </a:moveTo>
                <a:cubicBezTo>
                  <a:pt x="552834" y="3167961"/>
                  <a:pt x="553350" y="3168271"/>
                  <a:pt x="553866" y="3168891"/>
                </a:cubicBezTo>
                <a:cubicBezTo>
                  <a:pt x="553866" y="3168891"/>
                  <a:pt x="553866" y="3169045"/>
                  <a:pt x="553763" y="3169820"/>
                </a:cubicBezTo>
                <a:cubicBezTo>
                  <a:pt x="553454" y="3171524"/>
                  <a:pt x="553350" y="3172298"/>
                  <a:pt x="553247" y="3173073"/>
                </a:cubicBezTo>
                <a:cubicBezTo>
                  <a:pt x="552215" y="3173847"/>
                  <a:pt x="549426" y="3175396"/>
                  <a:pt x="548704" y="3174467"/>
                </a:cubicBezTo>
                <a:cubicBezTo>
                  <a:pt x="547981" y="3173692"/>
                  <a:pt x="547465" y="3172608"/>
                  <a:pt x="547361" y="3171679"/>
                </a:cubicBezTo>
                <a:cubicBezTo>
                  <a:pt x="547155" y="3170595"/>
                  <a:pt x="547258" y="3169820"/>
                  <a:pt x="547775" y="3169355"/>
                </a:cubicBezTo>
                <a:cubicBezTo>
                  <a:pt x="549220" y="3168271"/>
                  <a:pt x="550769" y="3167187"/>
                  <a:pt x="552318" y="3167807"/>
                </a:cubicBezTo>
                <a:close/>
                <a:moveTo>
                  <a:pt x="490157" y="3167497"/>
                </a:moveTo>
                <a:cubicBezTo>
                  <a:pt x="497695" y="3172918"/>
                  <a:pt x="493875" y="3180508"/>
                  <a:pt x="494597" y="3182057"/>
                </a:cubicBezTo>
                <a:cubicBezTo>
                  <a:pt x="492533" y="3184071"/>
                  <a:pt x="492119" y="3184690"/>
                  <a:pt x="489951" y="3183141"/>
                </a:cubicBezTo>
                <a:lnTo>
                  <a:pt x="487680" y="3181437"/>
                </a:lnTo>
                <a:lnTo>
                  <a:pt x="485821" y="3182676"/>
                </a:lnTo>
                <a:cubicBezTo>
                  <a:pt x="484995" y="3181902"/>
                  <a:pt x="484169" y="3181128"/>
                  <a:pt x="483343" y="3180353"/>
                </a:cubicBezTo>
                <a:lnTo>
                  <a:pt x="485304" y="3176790"/>
                </a:lnTo>
                <a:lnTo>
                  <a:pt x="485511" y="3174312"/>
                </a:lnTo>
                <a:cubicBezTo>
                  <a:pt x="484685" y="3172763"/>
                  <a:pt x="484789" y="3170130"/>
                  <a:pt x="485821" y="3168581"/>
                </a:cubicBezTo>
                <a:cubicBezTo>
                  <a:pt x="487576" y="3166722"/>
                  <a:pt x="489331" y="3166722"/>
                  <a:pt x="490157" y="3167497"/>
                </a:cubicBezTo>
                <a:close/>
                <a:moveTo>
                  <a:pt x="327013" y="3167032"/>
                </a:moveTo>
                <a:cubicBezTo>
                  <a:pt x="327632" y="3167032"/>
                  <a:pt x="328355" y="3167187"/>
                  <a:pt x="329181" y="3167652"/>
                </a:cubicBezTo>
                <a:cubicBezTo>
                  <a:pt x="330420" y="3171679"/>
                  <a:pt x="326806" y="3174931"/>
                  <a:pt x="322263" y="3171524"/>
                </a:cubicBezTo>
                <a:cubicBezTo>
                  <a:pt x="323605" y="3169355"/>
                  <a:pt x="325051" y="3167187"/>
                  <a:pt x="327013" y="3167032"/>
                </a:cubicBezTo>
                <a:close/>
                <a:moveTo>
                  <a:pt x="6647636" y="3165385"/>
                </a:moveTo>
                <a:cubicBezTo>
                  <a:pt x="6650734" y="3170548"/>
                  <a:pt x="6656620" y="3165695"/>
                  <a:pt x="6656620" y="3173232"/>
                </a:cubicBezTo>
                <a:cubicBezTo>
                  <a:pt x="6655225" y="3176330"/>
                  <a:pt x="6652128" y="3178705"/>
                  <a:pt x="6646242" y="3179841"/>
                </a:cubicBezTo>
                <a:cubicBezTo>
                  <a:pt x="6643299" y="3176640"/>
                  <a:pt x="6642679" y="3174058"/>
                  <a:pt x="6643299" y="3171787"/>
                </a:cubicBezTo>
                <a:cubicBezTo>
                  <a:pt x="6643918" y="3169412"/>
                  <a:pt x="6645777" y="3167450"/>
                  <a:pt x="6647636" y="3165385"/>
                </a:cubicBezTo>
                <a:close/>
                <a:moveTo>
                  <a:pt x="6413861" y="3162802"/>
                </a:moveTo>
                <a:cubicBezTo>
                  <a:pt x="6421158" y="3163900"/>
                  <a:pt x="6421332" y="3179505"/>
                  <a:pt x="6424120" y="3187792"/>
                </a:cubicBezTo>
                <a:cubicBezTo>
                  <a:pt x="6418234" y="3192644"/>
                  <a:pt x="6416066" y="3193470"/>
                  <a:pt x="6408786" y="3193987"/>
                </a:cubicBezTo>
                <a:cubicBezTo>
                  <a:pt x="6402280" y="3185417"/>
                  <a:pt x="6403055" y="3176433"/>
                  <a:pt x="6403829" y="3167347"/>
                </a:cubicBezTo>
                <a:cubicBezTo>
                  <a:pt x="6408205" y="3163681"/>
                  <a:pt x="6411429" y="3162436"/>
                  <a:pt x="6413861" y="3162802"/>
                </a:cubicBezTo>
                <a:close/>
                <a:moveTo>
                  <a:pt x="376782" y="3161920"/>
                </a:moveTo>
                <a:cubicBezTo>
                  <a:pt x="383288" y="3165018"/>
                  <a:pt x="387418" y="3169820"/>
                  <a:pt x="389483" y="3175087"/>
                </a:cubicBezTo>
                <a:cubicBezTo>
                  <a:pt x="392787" y="3184071"/>
                  <a:pt x="390102" y="3194449"/>
                  <a:pt x="381945" y="3200335"/>
                </a:cubicBezTo>
                <a:cubicBezTo>
                  <a:pt x="380913" y="3199715"/>
                  <a:pt x="379880" y="3198941"/>
                  <a:pt x="379260" y="3200025"/>
                </a:cubicBezTo>
                <a:cubicBezTo>
                  <a:pt x="371929" y="3196153"/>
                  <a:pt x="367799" y="3188098"/>
                  <a:pt x="367283" y="3180353"/>
                </a:cubicBezTo>
                <a:cubicBezTo>
                  <a:pt x="366766" y="3172608"/>
                  <a:pt x="369864" y="3165018"/>
                  <a:pt x="376782" y="3161920"/>
                </a:cubicBezTo>
                <a:close/>
                <a:moveTo>
                  <a:pt x="304503" y="3159848"/>
                </a:moveTo>
                <a:cubicBezTo>
                  <a:pt x="307058" y="3158861"/>
                  <a:pt x="310130" y="3159055"/>
                  <a:pt x="313796" y="3161456"/>
                </a:cubicBezTo>
                <a:cubicBezTo>
                  <a:pt x="315551" y="3162075"/>
                  <a:pt x="314622" y="3162230"/>
                  <a:pt x="315551" y="3162850"/>
                </a:cubicBezTo>
                <a:cubicBezTo>
                  <a:pt x="316481" y="3163624"/>
                  <a:pt x="318339" y="3164244"/>
                  <a:pt x="319165" y="3164089"/>
                </a:cubicBezTo>
                <a:cubicBezTo>
                  <a:pt x="316790" y="3167807"/>
                  <a:pt x="319475" y="3169045"/>
                  <a:pt x="315448" y="3174777"/>
                </a:cubicBezTo>
                <a:cubicBezTo>
                  <a:pt x="311834" y="3180198"/>
                  <a:pt x="307394" y="3181128"/>
                  <a:pt x="303987" y="3180508"/>
                </a:cubicBezTo>
                <a:lnTo>
                  <a:pt x="301302" y="3179424"/>
                </a:lnTo>
                <a:lnTo>
                  <a:pt x="299547" y="3181437"/>
                </a:lnTo>
                <a:cubicBezTo>
                  <a:pt x="294694" y="3175087"/>
                  <a:pt x="290873" y="3184380"/>
                  <a:pt x="286743" y="3179578"/>
                </a:cubicBezTo>
                <a:cubicBezTo>
                  <a:pt x="286226" y="3177100"/>
                  <a:pt x="284678" y="3174622"/>
                  <a:pt x="285194" y="3171834"/>
                </a:cubicBezTo>
                <a:cubicBezTo>
                  <a:pt x="285297" y="3170904"/>
                  <a:pt x="285607" y="3169820"/>
                  <a:pt x="286330" y="3168736"/>
                </a:cubicBezTo>
                <a:cubicBezTo>
                  <a:pt x="289221" y="3170749"/>
                  <a:pt x="292009" y="3171834"/>
                  <a:pt x="294797" y="3172763"/>
                </a:cubicBezTo>
                <a:lnTo>
                  <a:pt x="297068" y="3173538"/>
                </a:lnTo>
                <a:lnTo>
                  <a:pt x="296449" y="3170904"/>
                </a:lnTo>
                <a:cubicBezTo>
                  <a:pt x="296346" y="3169200"/>
                  <a:pt x="296862" y="3167497"/>
                  <a:pt x="298307" y="3165328"/>
                </a:cubicBezTo>
                <a:cubicBezTo>
                  <a:pt x="299908" y="3163005"/>
                  <a:pt x="301947" y="3160836"/>
                  <a:pt x="304503" y="3159848"/>
                </a:cubicBezTo>
                <a:close/>
                <a:moveTo>
                  <a:pt x="429133" y="3156189"/>
                </a:moveTo>
                <a:cubicBezTo>
                  <a:pt x="431818" y="3155724"/>
                  <a:pt x="434399" y="3158822"/>
                  <a:pt x="437600" y="3160681"/>
                </a:cubicBezTo>
                <a:cubicBezTo>
                  <a:pt x="435638" y="3162385"/>
                  <a:pt x="433780" y="3163005"/>
                  <a:pt x="431921" y="3162385"/>
                </a:cubicBezTo>
                <a:cubicBezTo>
                  <a:pt x="430165" y="3161920"/>
                  <a:pt x="428307" y="3160371"/>
                  <a:pt x="426242" y="3157893"/>
                </a:cubicBezTo>
                <a:cubicBezTo>
                  <a:pt x="427275" y="3156809"/>
                  <a:pt x="428204" y="3156344"/>
                  <a:pt x="429133" y="3156189"/>
                </a:cubicBezTo>
                <a:close/>
                <a:moveTo>
                  <a:pt x="541063" y="3154640"/>
                </a:moveTo>
                <a:cubicBezTo>
                  <a:pt x="541063" y="3155570"/>
                  <a:pt x="541992" y="3155415"/>
                  <a:pt x="542921" y="3155260"/>
                </a:cubicBezTo>
                <a:cubicBezTo>
                  <a:pt x="544677" y="3156654"/>
                  <a:pt x="546639" y="3158977"/>
                  <a:pt x="545813" y="3160836"/>
                </a:cubicBezTo>
                <a:cubicBezTo>
                  <a:pt x="544160" y="3162695"/>
                  <a:pt x="542405" y="3162075"/>
                  <a:pt x="541476" y="3161456"/>
                </a:cubicBezTo>
                <a:cubicBezTo>
                  <a:pt x="540134" y="3161146"/>
                  <a:pt x="539411" y="3160217"/>
                  <a:pt x="539101" y="3158977"/>
                </a:cubicBezTo>
                <a:cubicBezTo>
                  <a:pt x="538791" y="3157738"/>
                  <a:pt x="538998" y="3156189"/>
                  <a:pt x="539307" y="3154950"/>
                </a:cubicBezTo>
                <a:cubicBezTo>
                  <a:pt x="539411" y="3155724"/>
                  <a:pt x="539411" y="3155724"/>
                  <a:pt x="539411" y="3155724"/>
                </a:cubicBezTo>
                <a:cubicBezTo>
                  <a:pt x="540340" y="3156499"/>
                  <a:pt x="540237" y="3155724"/>
                  <a:pt x="541166" y="3155570"/>
                </a:cubicBezTo>
                <a:cubicBezTo>
                  <a:pt x="541166" y="3155570"/>
                  <a:pt x="540237" y="3155724"/>
                  <a:pt x="541063" y="3154640"/>
                </a:cubicBezTo>
                <a:close/>
                <a:moveTo>
                  <a:pt x="458045" y="3152627"/>
                </a:moveTo>
                <a:cubicBezTo>
                  <a:pt x="467854" y="3154950"/>
                  <a:pt x="473121" y="3164399"/>
                  <a:pt x="483962" y="3171524"/>
                </a:cubicBezTo>
                <a:lnTo>
                  <a:pt x="482000" y="3172298"/>
                </a:lnTo>
                <a:lnTo>
                  <a:pt x="482517" y="3173228"/>
                </a:lnTo>
                <a:cubicBezTo>
                  <a:pt x="481794" y="3176326"/>
                  <a:pt x="479419" y="3178494"/>
                  <a:pt x="476837" y="3178804"/>
                </a:cubicBezTo>
                <a:lnTo>
                  <a:pt x="473327" y="3177875"/>
                </a:lnTo>
                <a:lnTo>
                  <a:pt x="469816" y="3182367"/>
                </a:lnTo>
                <a:cubicBezTo>
                  <a:pt x="468680" y="3183761"/>
                  <a:pt x="467441" y="3185155"/>
                  <a:pt x="465995" y="3186394"/>
                </a:cubicBezTo>
                <a:cubicBezTo>
                  <a:pt x="464034" y="3187788"/>
                  <a:pt x="461659" y="3188717"/>
                  <a:pt x="458561" y="3188717"/>
                </a:cubicBezTo>
                <a:cubicBezTo>
                  <a:pt x="455257" y="3188872"/>
                  <a:pt x="452159" y="3188098"/>
                  <a:pt x="449578" y="3186859"/>
                </a:cubicBezTo>
                <a:lnTo>
                  <a:pt x="449268" y="3186704"/>
                </a:lnTo>
                <a:lnTo>
                  <a:pt x="448132" y="3187788"/>
                </a:lnTo>
                <a:lnTo>
                  <a:pt x="445138" y="3189492"/>
                </a:lnTo>
                <a:lnTo>
                  <a:pt x="446480" y="3190886"/>
                </a:lnTo>
                <a:cubicBezTo>
                  <a:pt x="450817" y="3197701"/>
                  <a:pt x="451127" y="3206066"/>
                  <a:pt x="445654" y="3211332"/>
                </a:cubicBezTo>
                <a:cubicBezTo>
                  <a:pt x="443176" y="3213191"/>
                  <a:pt x="440698" y="3214121"/>
                  <a:pt x="438426" y="3214121"/>
                </a:cubicBezTo>
                <a:lnTo>
                  <a:pt x="433573" y="3212571"/>
                </a:lnTo>
                <a:lnTo>
                  <a:pt x="432954" y="3212881"/>
                </a:lnTo>
                <a:lnTo>
                  <a:pt x="432850" y="3212417"/>
                </a:lnTo>
                <a:lnTo>
                  <a:pt x="432334" y="3212262"/>
                </a:lnTo>
                <a:cubicBezTo>
                  <a:pt x="428720" y="3209628"/>
                  <a:pt x="426552" y="3204827"/>
                  <a:pt x="426965" y="3199870"/>
                </a:cubicBezTo>
                <a:cubicBezTo>
                  <a:pt x="427068" y="3198321"/>
                  <a:pt x="427275" y="3196772"/>
                  <a:pt x="427894" y="3195378"/>
                </a:cubicBezTo>
                <a:lnTo>
                  <a:pt x="430062" y="3191660"/>
                </a:lnTo>
                <a:lnTo>
                  <a:pt x="429133" y="3191196"/>
                </a:lnTo>
                <a:cubicBezTo>
                  <a:pt x="427481" y="3190576"/>
                  <a:pt x="425932" y="3189956"/>
                  <a:pt x="424384" y="3188098"/>
                </a:cubicBezTo>
                <a:cubicBezTo>
                  <a:pt x="427068" y="3185929"/>
                  <a:pt x="429753" y="3183761"/>
                  <a:pt x="432437" y="3181747"/>
                </a:cubicBezTo>
                <a:lnTo>
                  <a:pt x="440285" y="3176326"/>
                </a:lnTo>
                <a:lnTo>
                  <a:pt x="439149" y="3174312"/>
                </a:lnTo>
                <a:cubicBezTo>
                  <a:pt x="438323" y="3171834"/>
                  <a:pt x="438013" y="3169045"/>
                  <a:pt x="438220" y="3166412"/>
                </a:cubicBezTo>
                <a:cubicBezTo>
                  <a:pt x="438633" y="3160217"/>
                  <a:pt x="442040" y="3154640"/>
                  <a:pt x="448752" y="3152781"/>
                </a:cubicBezTo>
                <a:cubicBezTo>
                  <a:pt x="451436" y="3152162"/>
                  <a:pt x="454431" y="3152007"/>
                  <a:pt x="458045" y="3152627"/>
                </a:cubicBezTo>
                <a:close/>
                <a:moveTo>
                  <a:pt x="295674" y="3151407"/>
                </a:moveTo>
                <a:cubicBezTo>
                  <a:pt x="297197" y="3151310"/>
                  <a:pt x="298566" y="3152394"/>
                  <a:pt x="300373" y="3153401"/>
                </a:cubicBezTo>
                <a:cubicBezTo>
                  <a:pt x="299650" y="3155105"/>
                  <a:pt x="300579" y="3157583"/>
                  <a:pt x="299030" y="3159442"/>
                </a:cubicBezTo>
                <a:cubicBezTo>
                  <a:pt x="299030" y="3159442"/>
                  <a:pt x="298204" y="3160371"/>
                  <a:pt x="296449" y="3160526"/>
                </a:cubicBezTo>
                <a:cubicBezTo>
                  <a:pt x="293971" y="3162540"/>
                  <a:pt x="291183" y="3160526"/>
                  <a:pt x="291183" y="3160526"/>
                </a:cubicBezTo>
                <a:cubicBezTo>
                  <a:pt x="291183" y="3160526"/>
                  <a:pt x="291183" y="3160526"/>
                  <a:pt x="291286" y="3161301"/>
                </a:cubicBezTo>
                <a:cubicBezTo>
                  <a:pt x="291183" y="3159752"/>
                  <a:pt x="290150" y="3158048"/>
                  <a:pt x="290047" y="3156499"/>
                </a:cubicBezTo>
                <a:cubicBezTo>
                  <a:pt x="292474" y="3152781"/>
                  <a:pt x="294151" y="3151504"/>
                  <a:pt x="295674" y="3151407"/>
                </a:cubicBezTo>
                <a:close/>
                <a:moveTo>
                  <a:pt x="509570" y="3150458"/>
                </a:moveTo>
                <a:cubicBezTo>
                  <a:pt x="507815" y="3152317"/>
                  <a:pt x="508537" y="3154020"/>
                  <a:pt x="506782" y="3155724"/>
                </a:cubicBezTo>
                <a:cubicBezTo>
                  <a:pt x="505129" y="3154175"/>
                  <a:pt x="503374" y="3153246"/>
                  <a:pt x="502549" y="3152472"/>
                </a:cubicBezTo>
                <a:cubicBezTo>
                  <a:pt x="504407" y="3149064"/>
                  <a:pt x="507091" y="3148135"/>
                  <a:pt x="509570" y="3150458"/>
                </a:cubicBezTo>
                <a:close/>
                <a:moveTo>
                  <a:pt x="6515974" y="3143598"/>
                </a:moveTo>
                <a:cubicBezTo>
                  <a:pt x="6518297" y="3146386"/>
                  <a:pt x="6521240" y="3147728"/>
                  <a:pt x="6524958" y="3151239"/>
                </a:cubicBezTo>
                <a:cubicBezTo>
                  <a:pt x="6522789" y="3155782"/>
                  <a:pt x="6514115" y="3162906"/>
                  <a:pt x="6505906" y="3161048"/>
                </a:cubicBezTo>
                <a:cubicBezTo>
                  <a:pt x="6503582" y="3156401"/>
                  <a:pt x="6503582" y="3152684"/>
                  <a:pt x="6505441" y="3149793"/>
                </a:cubicBezTo>
                <a:cubicBezTo>
                  <a:pt x="6507300" y="3146902"/>
                  <a:pt x="6510862" y="3144940"/>
                  <a:pt x="6515974" y="3143598"/>
                </a:cubicBezTo>
                <a:close/>
                <a:moveTo>
                  <a:pt x="184313" y="3141939"/>
                </a:moveTo>
                <a:cubicBezTo>
                  <a:pt x="186068" y="3141629"/>
                  <a:pt x="187823" y="3141319"/>
                  <a:pt x="189062" y="3142713"/>
                </a:cubicBezTo>
                <a:cubicBezTo>
                  <a:pt x="189475" y="3143023"/>
                  <a:pt x="189682" y="3143642"/>
                  <a:pt x="189992" y="3144572"/>
                </a:cubicBezTo>
                <a:cubicBezTo>
                  <a:pt x="189992" y="3144572"/>
                  <a:pt x="189992" y="3144572"/>
                  <a:pt x="189579" y="3145192"/>
                </a:cubicBezTo>
                <a:cubicBezTo>
                  <a:pt x="188649" y="3146585"/>
                  <a:pt x="188236" y="3147205"/>
                  <a:pt x="187823" y="3147980"/>
                </a:cubicBezTo>
                <a:cubicBezTo>
                  <a:pt x="186584" y="3148135"/>
                  <a:pt x="183487" y="3147980"/>
                  <a:pt x="183177" y="3146896"/>
                </a:cubicBezTo>
                <a:cubicBezTo>
                  <a:pt x="182867" y="3145811"/>
                  <a:pt x="182867" y="3144572"/>
                  <a:pt x="183074" y="3143642"/>
                </a:cubicBezTo>
                <a:cubicBezTo>
                  <a:pt x="183280" y="3142713"/>
                  <a:pt x="183693" y="3141939"/>
                  <a:pt x="184313" y="3141939"/>
                </a:cubicBezTo>
                <a:close/>
                <a:moveTo>
                  <a:pt x="319036" y="3141261"/>
                </a:moveTo>
                <a:cubicBezTo>
                  <a:pt x="320714" y="3142868"/>
                  <a:pt x="321024" y="3145579"/>
                  <a:pt x="317410" y="3147360"/>
                </a:cubicBezTo>
                <a:cubicBezTo>
                  <a:pt x="314931" y="3145037"/>
                  <a:pt x="313176" y="3143333"/>
                  <a:pt x="312454" y="3141784"/>
                </a:cubicBezTo>
                <a:cubicBezTo>
                  <a:pt x="314312" y="3139151"/>
                  <a:pt x="317358" y="3139654"/>
                  <a:pt x="319036" y="3141261"/>
                </a:cubicBezTo>
                <a:close/>
                <a:moveTo>
                  <a:pt x="253804" y="3139615"/>
                </a:moveTo>
                <a:cubicBezTo>
                  <a:pt x="254320" y="3139770"/>
                  <a:pt x="254733" y="3140390"/>
                  <a:pt x="255353" y="3141164"/>
                </a:cubicBezTo>
                <a:cubicBezTo>
                  <a:pt x="255766" y="3145501"/>
                  <a:pt x="251842" y="3146741"/>
                  <a:pt x="248848" y="3149684"/>
                </a:cubicBezTo>
                <a:cubicBezTo>
                  <a:pt x="248125" y="3149219"/>
                  <a:pt x="246886" y="3149374"/>
                  <a:pt x="246473" y="3149993"/>
                </a:cubicBezTo>
                <a:cubicBezTo>
                  <a:pt x="245234" y="3150303"/>
                  <a:pt x="243994" y="3150458"/>
                  <a:pt x="244821" y="3150923"/>
                </a:cubicBezTo>
                <a:cubicBezTo>
                  <a:pt x="241207" y="3151542"/>
                  <a:pt x="240794" y="3152317"/>
                  <a:pt x="238935" y="3150148"/>
                </a:cubicBezTo>
                <a:cubicBezTo>
                  <a:pt x="243169" y="3145037"/>
                  <a:pt x="250293" y="3140854"/>
                  <a:pt x="251842" y="3139925"/>
                </a:cubicBezTo>
                <a:cubicBezTo>
                  <a:pt x="252668" y="3139460"/>
                  <a:pt x="253288" y="3139460"/>
                  <a:pt x="253804" y="3139615"/>
                </a:cubicBezTo>
                <a:close/>
                <a:moveTo>
                  <a:pt x="6575623" y="3134445"/>
                </a:moveTo>
                <a:cubicBezTo>
                  <a:pt x="6593703" y="3136434"/>
                  <a:pt x="6616966" y="3156066"/>
                  <a:pt x="6622543" y="3165591"/>
                </a:cubicBezTo>
                <a:cubicBezTo>
                  <a:pt x="6603490" y="3161151"/>
                  <a:pt x="6572511" y="3153097"/>
                  <a:pt x="6560119" y="3139364"/>
                </a:cubicBezTo>
                <a:cubicBezTo>
                  <a:pt x="6564146" y="3135079"/>
                  <a:pt x="6569597" y="3133782"/>
                  <a:pt x="6575623" y="3134445"/>
                </a:cubicBezTo>
                <a:close/>
                <a:moveTo>
                  <a:pt x="330110" y="3132645"/>
                </a:moveTo>
                <a:cubicBezTo>
                  <a:pt x="336306" y="3128928"/>
                  <a:pt x="341985" y="3137137"/>
                  <a:pt x="340023" y="3142249"/>
                </a:cubicBezTo>
                <a:cubicBezTo>
                  <a:pt x="335376" y="3144882"/>
                  <a:pt x="330007" y="3141009"/>
                  <a:pt x="329285" y="3136827"/>
                </a:cubicBezTo>
                <a:cubicBezTo>
                  <a:pt x="328975" y="3135278"/>
                  <a:pt x="329181" y="3133884"/>
                  <a:pt x="330110" y="3132645"/>
                </a:cubicBezTo>
                <a:close/>
                <a:moveTo>
                  <a:pt x="397743" y="3126759"/>
                </a:moveTo>
                <a:cubicBezTo>
                  <a:pt x="399292" y="3125830"/>
                  <a:pt x="401667" y="3126139"/>
                  <a:pt x="402390" y="3128308"/>
                </a:cubicBezTo>
                <a:cubicBezTo>
                  <a:pt x="401461" y="3128928"/>
                  <a:pt x="400428" y="3130476"/>
                  <a:pt x="398569" y="3131096"/>
                </a:cubicBezTo>
                <a:cubicBezTo>
                  <a:pt x="397124" y="3130166"/>
                  <a:pt x="396607" y="3129237"/>
                  <a:pt x="396504" y="3128463"/>
                </a:cubicBezTo>
                <a:cubicBezTo>
                  <a:pt x="396504" y="3127688"/>
                  <a:pt x="397020" y="3127069"/>
                  <a:pt x="397743" y="3126759"/>
                </a:cubicBezTo>
                <a:close/>
                <a:moveTo>
                  <a:pt x="434477" y="3126527"/>
                </a:moveTo>
                <a:cubicBezTo>
                  <a:pt x="437110" y="3125791"/>
                  <a:pt x="440130" y="3126294"/>
                  <a:pt x="443486" y="3129082"/>
                </a:cubicBezTo>
                <a:cubicBezTo>
                  <a:pt x="445138" y="3129857"/>
                  <a:pt x="444208" y="3129857"/>
                  <a:pt x="445035" y="3130631"/>
                </a:cubicBezTo>
                <a:cubicBezTo>
                  <a:pt x="445860" y="3131561"/>
                  <a:pt x="447616" y="3132335"/>
                  <a:pt x="448442" y="3132180"/>
                </a:cubicBezTo>
                <a:cubicBezTo>
                  <a:pt x="445757" y="3135743"/>
                  <a:pt x="448235" y="3137292"/>
                  <a:pt x="443692" y="3142558"/>
                </a:cubicBezTo>
                <a:cubicBezTo>
                  <a:pt x="438220" y="3149529"/>
                  <a:pt x="432231" y="3148135"/>
                  <a:pt x="428823" y="3145811"/>
                </a:cubicBezTo>
                <a:cubicBezTo>
                  <a:pt x="429546" y="3145037"/>
                  <a:pt x="425003" y="3141784"/>
                  <a:pt x="425416" y="3136827"/>
                </a:cubicBezTo>
                <a:cubicBezTo>
                  <a:pt x="425519" y="3135278"/>
                  <a:pt x="426139" y="3133419"/>
                  <a:pt x="427791" y="3131406"/>
                </a:cubicBezTo>
                <a:cubicBezTo>
                  <a:pt x="429598" y="3129237"/>
                  <a:pt x="431844" y="3127262"/>
                  <a:pt x="434477" y="3126527"/>
                </a:cubicBezTo>
                <a:close/>
                <a:moveTo>
                  <a:pt x="369038" y="3126139"/>
                </a:moveTo>
                <a:cubicBezTo>
                  <a:pt x="376059" y="3131871"/>
                  <a:pt x="372962" y="3136672"/>
                  <a:pt x="368625" y="3137292"/>
                </a:cubicBezTo>
                <a:cubicBezTo>
                  <a:pt x="367283" y="3137447"/>
                  <a:pt x="365734" y="3137137"/>
                  <a:pt x="364391" y="3136363"/>
                </a:cubicBezTo>
                <a:cubicBezTo>
                  <a:pt x="362533" y="3135278"/>
                  <a:pt x="360984" y="3133109"/>
                  <a:pt x="360571" y="3129702"/>
                </a:cubicBezTo>
                <a:cubicBezTo>
                  <a:pt x="362017" y="3128308"/>
                  <a:pt x="363462" y="3127688"/>
                  <a:pt x="364908" y="3127378"/>
                </a:cubicBezTo>
                <a:cubicBezTo>
                  <a:pt x="366250" y="3126914"/>
                  <a:pt x="367592" y="3126759"/>
                  <a:pt x="369038" y="3126139"/>
                </a:cubicBezTo>
                <a:close/>
                <a:moveTo>
                  <a:pt x="295726" y="3123661"/>
                </a:moveTo>
                <a:cubicBezTo>
                  <a:pt x="300682" y="3122577"/>
                  <a:pt x="307394" y="3124745"/>
                  <a:pt x="310079" y="3127533"/>
                </a:cubicBezTo>
                <a:cubicBezTo>
                  <a:pt x="310492" y="3131406"/>
                  <a:pt x="309562" y="3134039"/>
                  <a:pt x="307910" y="3135433"/>
                </a:cubicBezTo>
                <a:cubicBezTo>
                  <a:pt x="302851" y="3139770"/>
                  <a:pt x="291389" y="3134349"/>
                  <a:pt x="291802" y="3125674"/>
                </a:cubicBezTo>
                <a:cubicBezTo>
                  <a:pt x="292731" y="3124590"/>
                  <a:pt x="294177" y="3123971"/>
                  <a:pt x="295726" y="3123661"/>
                </a:cubicBezTo>
                <a:close/>
                <a:moveTo>
                  <a:pt x="461814" y="3123467"/>
                </a:moveTo>
                <a:cubicBezTo>
                  <a:pt x="464731" y="3124590"/>
                  <a:pt x="468009" y="3127456"/>
                  <a:pt x="470642" y="3128773"/>
                </a:cubicBezTo>
                <a:lnTo>
                  <a:pt x="469713" y="3131406"/>
                </a:lnTo>
                <a:lnTo>
                  <a:pt x="470022" y="3131871"/>
                </a:lnTo>
                <a:cubicBezTo>
                  <a:pt x="471365" y="3135588"/>
                  <a:pt x="468267" y="3138996"/>
                  <a:pt x="464756" y="3138221"/>
                </a:cubicBezTo>
                <a:cubicBezTo>
                  <a:pt x="463311" y="3137911"/>
                  <a:pt x="461659" y="3136672"/>
                  <a:pt x="460317" y="3134504"/>
                </a:cubicBezTo>
                <a:lnTo>
                  <a:pt x="460729" y="3133884"/>
                </a:lnTo>
                <a:lnTo>
                  <a:pt x="459594" y="3133419"/>
                </a:lnTo>
                <a:cubicBezTo>
                  <a:pt x="457942" y="3132025"/>
                  <a:pt x="456599" y="3130321"/>
                  <a:pt x="455154" y="3128618"/>
                </a:cubicBezTo>
                <a:cubicBezTo>
                  <a:pt x="456341" y="3122964"/>
                  <a:pt x="458897" y="3122344"/>
                  <a:pt x="461814" y="3123467"/>
                </a:cubicBezTo>
                <a:close/>
                <a:moveTo>
                  <a:pt x="380913" y="3122422"/>
                </a:moveTo>
                <a:cubicBezTo>
                  <a:pt x="383288" y="3124900"/>
                  <a:pt x="387624" y="3124745"/>
                  <a:pt x="386695" y="3129857"/>
                </a:cubicBezTo>
                <a:cubicBezTo>
                  <a:pt x="382874" y="3133109"/>
                  <a:pt x="375543" y="3130012"/>
                  <a:pt x="375853" y="3124126"/>
                </a:cubicBezTo>
                <a:cubicBezTo>
                  <a:pt x="377815" y="3123816"/>
                  <a:pt x="379054" y="3122731"/>
                  <a:pt x="380913" y="3122422"/>
                </a:cubicBezTo>
                <a:close/>
                <a:moveTo>
                  <a:pt x="590213" y="3121802"/>
                </a:moveTo>
                <a:cubicBezTo>
                  <a:pt x="593517" y="3124126"/>
                  <a:pt x="593414" y="3126604"/>
                  <a:pt x="594962" y="3129082"/>
                </a:cubicBezTo>
                <a:cubicBezTo>
                  <a:pt x="589800" y="3136517"/>
                  <a:pt x="584533" y="3134194"/>
                  <a:pt x="583398" y="3130321"/>
                </a:cubicBezTo>
                <a:cubicBezTo>
                  <a:pt x="582985" y="3128928"/>
                  <a:pt x="583088" y="3127378"/>
                  <a:pt x="583811" y="3125985"/>
                </a:cubicBezTo>
                <a:cubicBezTo>
                  <a:pt x="584740" y="3124126"/>
                  <a:pt x="586805" y="3122577"/>
                  <a:pt x="590213" y="3121802"/>
                </a:cubicBezTo>
                <a:close/>
                <a:moveTo>
                  <a:pt x="99849" y="3120253"/>
                </a:moveTo>
                <a:cubicBezTo>
                  <a:pt x="109039" y="3119788"/>
                  <a:pt x="120087" y="3131561"/>
                  <a:pt x="113582" y="3136672"/>
                </a:cubicBezTo>
                <a:cubicBezTo>
                  <a:pt x="112653" y="3137292"/>
                  <a:pt x="111311" y="3137911"/>
                  <a:pt x="109555" y="3138376"/>
                </a:cubicBezTo>
                <a:cubicBezTo>
                  <a:pt x="105941" y="3135278"/>
                  <a:pt x="99746" y="3131251"/>
                  <a:pt x="98713" y="3125985"/>
                </a:cubicBezTo>
                <a:cubicBezTo>
                  <a:pt x="98403" y="3124281"/>
                  <a:pt x="98610" y="3122267"/>
                  <a:pt x="99849" y="3120253"/>
                </a:cubicBezTo>
                <a:close/>
                <a:moveTo>
                  <a:pt x="306362" y="3118085"/>
                </a:moveTo>
                <a:cubicBezTo>
                  <a:pt x="310182" y="3116691"/>
                  <a:pt x="313589" y="3117310"/>
                  <a:pt x="317203" y="3121647"/>
                </a:cubicBezTo>
                <a:cubicBezTo>
                  <a:pt x="316481" y="3124745"/>
                  <a:pt x="313280" y="3125674"/>
                  <a:pt x="309975" y="3125210"/>
                </a:cubicBezTo>
                <a:cubicBezTo>
                  <a:pt x="306775" y="3124590"/>
                  <a:pt x="303470" y="3122577"/>
                  <a:pt x="302334" y="3119943"/>
                </a:cubicBezTo>
                <a:cubicBezTo>
                  <a:pt x="303780" y="3119169"/>
                  <a:pt x="305019" y="3118549"/>
                  <a:pt x="306362" y="3118085"/>
                </a:cubicBezTo>
                <a:close/>
                <a:moveTo>
                  <a:pt x="453192" y="3117930"/>
                </a:moveTo>
                <a:cubicBezTo>
                  <a:pt x="455773" y="3121028"/>
                  <a:pt x="453708" y="3125830"/>
                  <a:pt x="448339" y="3124900"/>
                </a:cubicBezTo>
                <a:cubicBezTo>
                  <a:pt x="448959" y="3121338"/>
                  <a:pt x="449578" y="3117775"/>
                  <a:pt x="453192" y="3117930"/>
                </a:cubicBezTo>
                <a:close/>
                <a:moveTo>
                  <a:pt x="6787972" y="3116132"/>
                </a:moveTo>
                <a:cubicBezTo>
                  <a:pt x="6796026" y="3130071"/>
                  <a:pt x="6776819" y="3166934"/>
                  <a:pt x="6759316" y="3162081"/>
                </a:cubicBezTo>
                <a:cubicBezTo>
                  <a:pt x="6771088" y="3146386"/>
                  <a:pt x="6771243" y="3131414"/>
                  <a:pt x="6787972" y="3116132"/>
                </a:cubicBezTo>
                <a:close/>
                <a:moveTo>
                  <a:pt x="200317" y="3112044"/>
                </a:moveTo>
                <a:cubicBezTo>
                  <a:pt x="206616" y="3109565"/>
                  <a:pt x="222311" y="3118395"/>
                  <a:pt x="219833" y="3126759"/>
                </a:cubicBezTo>
                <a:cubicBezTo>
                  <a:pt x="214360" y="3123351"/>
                  <a:pt x="209714" y="3119634"/>
                  <a:pt x="201040" y="3117310"/>
                </a:cubicBezTo>
                <a:cubicBezTo>
                  <a:pt x="201659" y="3115761"/>
                  <a:pt x="200008" y="3114987"/>
                  <a:pt x="199904" y="3113593"/>
                </a:cubicBezTo>
                <a:cubicBezTo>
                  <a:pt x="199801" y="3113128"/>
                  <a:pt x="199904" y="3112663"/>
                  <a:pt x="200317" y="3112044"/>
                </a:cubicBezTo>
                <a:close/>
                <a:moveTo>
                  <a:pt x="70421" y="3112044"/>
                </a:moveTo>
                <a:cubicBezTo>
                  <a:pt x="73002" y="3114057"/>
                  <a:pt x="73725" y="3116691"/>
                  <a:pt x="71970" y="3119014"/>
                </a:cubicBezTo>
                <a:cubicBezTo>
                  <a:pt x="70215" y="3119634"/>
                  <a:pt x="68562" y="3118549"/>
                  <a:pt x="66807" y="3117620"/>
                </a:cubicBezTo>
                <a:cubicBezTo>
                  <a:pt x="65568" y="3116691"/>
                  <a:pt x="65155" y="3115761"/>
                  <a:pt x="65258" y="3114987"/>
                </a:cubicBezTo>
                <a:cubicBezTo>
                  <a:pt x="65361" y="3114057"/>
                  <a:pt x="65981" y="3113283"/>
                  <a:pt x="66910" y="3112508"/>
                </a:cubicBezTo>
                <a:cubicBezTo>
                  <a:pt x="68665" y="3111114"/>
                  <a:pt x="70421" y="3112044"/>
                  <a:pt x="70421" y="3112044"/>
                </a:cubicBezTo>
                <a:close/>
                <a:moveTo>
                  <a:pt x="420047" y="3110030"/>
                </a:moveTo>
                <a:cubicBezTo>
                  <a:pt x="424384" y="3109101"/>
                  <a:pt x="426655" y="3113902"/>
                  <a:pt x="428307" y="3116381"/>
                </a:cubicBezTo>
                <a:lnTo>
                  <a:pt x="427068" y="3117465"/>
                </a:lnTo>
                <a:lnTo>
                  <a:pt x="428823" y="3118085"/>
                </a:lnTo>
                <a:cubicBezTo>
                  <a:pt x="429546" y="3118549"/>
                  <a:pt x="430269" y="3119014"/>
                  <a:pt x="431095" y="3119634"/>
                </a:cubicBezTo>
                <a:cubicBezTo>
                  <a:pt x="430579" y="3120563"/>
                  <a:pt x="430579" y="3121647"/>
                  <a:pt x="430372" y="3122577"/>
                </a:cubicBezTo>
                <a:lnTo>
                  <a:pt x="429133" y="3125520"/>
                </a:lnTo>
                <a:lnTo>
                  <a:pt x="429443" y="3126294"/>
                </a:lnTo>
                <a:cubicBezTo>
                  <a:pt x="419530" y="3133729"/>
                  <a:pt x="415503" y="3131251"/>
                  <a:pt x="414987" y="3126759"/>
                </a:cubicBezTo>
                <a:cubicBezTo>
                  <a:pt x="414677" y="3123971"/>
                  <a:pt x="415607" y="3120408"/>
                  <a:pt x="417362" y="3118240"/>
                </a:cubicBezTo>
                <a:lnTo>
                  <a:pt x="418291" y="3117465"/>
                </a:lnTo>
                <a:lnTo>
                  <a:pt x="417568" y="3116226"/>
                </a:lnTo>
                <a:cubicBezTo>
                  <a:pt x="417465" y="3114212"/>
                  <a:pt x="418188" y="3112198"/>
                  <a:pt x="420047" y="3110030"/>
                </a:cubicBezTo>
                <a:close/>
                <a:moveTo>
                  <a:pt x="219626" y="3109256"/>
                </a:moveTo>
                <a:cubicBezTo>
                  <a:pt x="221588" y="3109410"/>
                  <a:pt x="221898" y="3108326"/>
                  <a:pt x="224583" y="3110030"/>
                </a:cubicBezTo>
                <a:cubicBezTo>
                  <a:pt x="224170" y="3111114"/>
                  <a:pt x="223756" y="3112198"/>
                  <a:pt x="223344" y="3113283"/>
                </a:cubicBezTo>
                <a:cubicBezTo>
                  <a:pt x="221072" y="3112353"/>
                  <a:pt x="218800" y="3111424"/>
                  <a:pt x="219626" y="3109256"/>
                </a:cubicBezTo>
                <a:close/>
                <a:moveTo>
                  <a:pt x="6751416" y="3109110"/>
                </a:moveTo>
                <a:cubicBezTo>
                  <a:pt x="6755753" y="3121088"/>
                  <a:pt x="6756063" y="3129968"/>
                  <a:pt x="6743671" y="3136783"/>
                </a:cubicBezTo>
                <a:cubicBezTo>
                  <a:pt x="6737785" y="3134098"/>
                  <a:pt x="6737011" y="3127696"/>
                  <a:pt x="6739025" y="3121707"/>
                </a:cubicBezTo>
                <a:cubicBezTo>
                  <a:pt x="6741038" y="3115719"/>
                  <a:pt x="6745995" y="3110039"/>
                  <a:pt x="6751416" y="3109110"/>
                </a:cubicBezTo>
                <a:close/>
                <a:moveTo>
                  <a:pt x="406520" y="3108171"/>
                </a:moveTo>
                <a:cubicBezTo>
                  <a:pt x="410960" y="3107707"/>
                  <a:pt x="413231" y="3109565"/>
                  <a:pt x="414161" y="3112818"/>
                </a:cubicBezTo>
                <a:cubicBezTo>
                  <a:pt x="411683" y="3117155"/>
                  <a:pt x="405178" y="3116691"/>
                  <a:pt x="404042" y="3112508"/>
                </a:cubicBezTo>
                <a:cubicBezTo>
                  <a:pt x="404661" y="3111424"/>
                  <a:pt x="405074" y="3109565"/>
                  <a:pt x="406520" y="3108171"/>
                </a:cubicBezTo>
                <a:close/>
                <a:moveTo>
                  <a:pt x="257934" y="3107552"/>
                </a:moveTo>
                <a:cubicBezTo>
                  <a:pt x="266091" y="3104299"/>
                  <a:pt x="277553" y="3109720"/>
                  <a:pt x="280444" y="3115452"/>
                </a:cubicBezTo>
                <a:cubicBezTo>
                  <a:pt x="272390" y="3118549"/>
                  <a:pt x="262064" y="3112198"/>
                  <a:pt x="257934" y="3107552"/>
                </a:cubicBezTo>
                <a:close/>
                <a:moveTo>
                  <a:pt x="346838" y="3106932"/>
                </a:moveTo>
                <a:cubicBezTo>
                  <a:pt x="349213" y="3106467"/>
                  <a:pt x="350349" y="3106313"/>
                  <a:pt x="351897" y="3107397"/>
                </a:cubicBezTo>
                <a:cubicBezTo>
                  <a:pt x="353033" y="3107087"/>
                  <a:pt x="354272" y="3106932"/>
                  <a:pt x="355202" y="3107087"/>
                </a:cubicBezTo>
                <a:cubicBezTo>
                  <a:pt x="356234" y="3107242"/>
                  <a:pt x="356957" y="3107707"/>
                  <a:pt x="357267" y="3108946"/>
                </a:cubicBezTo>
                <a:cubicBezTo>
                  <a:pt x="355305" y="3110495"/>
                  <a:pt x="353653" y="3111269"/>
                  <a:pt x="350865" y="3112353"/>
                </a:cubicBezTo>
                <a:cubicBezTo>
                  <a:pt x="350865" y="3112353"/>
                  <a:pt x="346115" y="3113128"/>
                  <a:pt x="344773" y="3110340"/>
                </a:cubicBezTo>
                <a:cubicBezTo>
                  <a:pt x="343947" y="3109875"/>
                  <a:pt x="345702" y="3107087"/>
                  <a:pt x="346838" y="3106932"/>
                </a:cubicBezTo>
                <a:close/>
                <a:moveTo>
                  <a:pt x="296204" y="3105538"/>
                </a:moveTo>
                <a:cubicBezTo>
                  <a:pt x="302231" y="3103757"/>
                  <a:pt x="308478" y="3103989"/>
                  <a:pt x="310595" y="3108017"/>
                </a:cubicBezTo>
                <a:cubicBezTo>
                  <a:pt x="300476" y="3109720"/>
                  <a:pt x="294694" y="3115296"/>
                  <a:pt x="283129" y="3115141"/>
                </a:cubicBezTo>
                <a:cubicBezTo>
                  <a:pt x="284368" y="3111114"/>
                  <a:pt x="290176" y="3107319"/>
                  <a:pt x="296204" y="3105538"/>
                </a:cubicBezTo>
                <a:close/>
                <a:moveTo>
                  <a:pt x="297894" y="3103370"/>
                </a:moveTo>
                <a:cubicBezTo>
                  <a:pt x="297894" y="3103370"/>
                  <a:pt x="296655" y="3103679"/>
                  <a:pt x="295416" y="3103834"/>
                </a:cubicBezTo>
                <a:cubicBezTo>
                  <a:pt x="294177" y="3104144"/>
                  <a:pt x="294177" y="3103989"/>
                  <a:pt x="294487" y="3105228"/>
                </a:cubicBezTo>
                <a:cubicBezTo>
                  <a:pt x="293352" y="3105383"/>
                  <a:pt x="293248" y="3105383"/>
                  <a:pt x="291802" y="3104454"/>
                </a:cubicBezTo>
                <a:cubicBezTo>
                  <a:pt x="292938" y="3104299"/>
                  <a:pt x="297585" y="3102285"/>
                  <a:pt x="297894" y="3103370"/>
                </a:cubicBezTo>
                <a:close/>
                <a:moveTo>
                  <a:pt x="6837694" y="3102502"/>
                </a:moveTo>
                <a:cubicBezTo>
                  <a:pt x="6847917" y="3098578"/>
                  <a:pt x="6857365" y="3107768"/>
                  <a:pt x="6855042" y="3115512"/>
                </a:cubicBezTo>
                <a:cubicBezTo>
                  <a:pt x="6851789" y="3117784"/>
                  <a:pt x="6848846" y="3118610"/>
                  <a:pt x="6846213" y="3118300"/>
                </a:cubicBezTo>
                <a:lnTo>
                  <a:pt x="6841721" y="3116441"/>
                </a:lnTo>
                <a:lnTo>
                  <a:pt x="6844354" y="3120365"/>
                </a:lnTo>
                <a:cubicBezTo>
                  <a:pt x="6842185" y="3126664"/>
                  <a:pt x="6829639" y="3133479"/>
                  <a:pt x="6824527" y="3133582"/>
                </a:cubicBezTo>
                <a:cubicBezTo>
                  <a:pt x="6820655" y="3129761"/>
                  <a:pt x="6819571" y="3125838"/>
                  <a:pt x="6820345" y="3122327"/>
                </a:cubicBezTo>
                <a:cubicBezTo>
                  <a:pt x="6821429" y="3117164"/>
                  <a:pt x="6826386" y="3113034"/>
                  <a:pt x="6831652" y="3112001"/>
                </a:cubicBezTo>
                <a:lnTo>
                  <a:pt x="6838623" y="3112931"/>
                </a:lnTo>
                <a:lnTo>
                  <a:pt x="6837848" y="3112104"/>
                </a:lnTo>
                <a:cubicBezTo>
                  <a:pt x="6836299" y="3108800"/>
                  <a:pt x="6836144" y="3105083"/>
                  <a:pt x="6837694" y="3102502"/>
                </a:cubicBezTo>
                <a:close/>
                <a:moveTo>
                  <a:pt x="337855" y="3100736"/>
                </a:moveTo>
                <a:cubicBezTo>
                  <a:pt x="340746" y="3100891"/>
                  <a:pt x="344669" y="3105538"/>
                  <a:pt x="343637" y="3108791"/>
                </a:cubicBezTo>
                <a:cubicBezTo>
                  <a:pt x="343327" y="3109875"/>
                  <a:pt x="342398" y="3110805"/>
                  <a:pt x="340746" y="3111269"/>
                </a:cubicBezTo>
                <a:cubicBezTo>
                  <a:pt x="335996" y="3112663"/>
                  <a:pt x="334447" y="3108946"/>
                  <a:pt x="333518" y="3104454"/>
                </a:cubicBezTo>
                <a:cubicBezTo>
                  <a:pt x="335170" y="3103370"/>
                  <a:pt x="336099" y="3101820"/>
                  <a:pt x="337855" y="3100736"/>
                </a:cubicBezTo>
                <a:close/>
                <a:moveTo>
                  <a:pt x="434916" y="3100427"/>
                </a:moveTo>
                <a:cubicBezTo>
                  <a:pt x="438426" y="3099342"/>
                  <a:pt x="441317" y="3106467"/>
                  <a:pt x="440388" y="3108017"/>
                </a:cubicBezTo>
                <a:cubicBezTo>
                  <a:pt x="439046" y="3108326"/>
                  <a:pt x="434502" y="3105074"/>
                  <a:pt x="433883" y="3102440"/>
                </a:cubicBezTo>
                <a:cubicBezTo>
                  <a:pt x="433676" y="3101666"/>
                  <a:pt x="433986" y="3100891"/>
                  <a:pt x="434916" y="3100427"/>
                </a:cubicBezTo>
                <a:close/>
                <a:moveTo>
                  <a:pt x="305535" y="3097793"/>
                </a:moveTo>
                <a:cubicBezTo>
                  <a:pt x="306362" y="3098413"/>
                  <a:pt x="307497" y="3098103"/>
                  <a:pt x="307497" y="3098103"/>
                </a:cubicBezTo>
                <a:cubicBezTo>
                  <a:pt x="307807" y="3099342"/>
                  <a:pt x="307394" y="3099962"/>
                  <a:pt x="306981" y="3100581"/>
                </a:cubicBezTo>
                <a:cubicBezTo>
                  <a:pt x="305845" y="3100891"/>
                  <a:pt x="305019" y="3100427"/>
                  <a:pt x="303780" y="3100581"/>
                </a:cubicBezTo>
                <a:cubicBezTo>
                  <a:pt x="303367" y="3101201"/>
                  <a:pt x="302541" y="3102595"/>
                  <a:pt x="301405" y="3102750"/>
                </a:cubicBezTo>
                <a:cubicBezTo>
                  <a:pt x="300166" y="3102905"/>
                  <a:pt x="298204" y="3102750"/>
                  <a:pt x="298204" y="3102750"/>
                </a:cubicBezTo>
                <a:cubicBezTo>
                  <a:pt x="298101" y="3102130"/>
                  <a:pt x="297997" y="3101820"/>
                  <a:pt x="298101" y="3101666"/>
                </a:cubicBezTo>
                <a:cubicBezTo>
                  <a:pt x="298101" y="3101666"/>
                  <a:pt x="298307" y="3101820"/>
                  <a:pt x="298618" y="3101975"/>
                </a:cubicBezTo>
                <a:cubicBezTo>
                  <a:pt x="300269" y="3101046"/>
                  <a:pt x="299857" y="3101820"/>
                  <a:pt x="301096" y="3101666"/>
                </a:cubicBezTo>
                <a:cubicBezTo>
                  <a:pt x="302231" y="3101356"/>
                  <a:pt x="305845" y="3099032"/>
                  <a:pt x="305535" y="3097793"/>
                </a:cubicBezTo>
                <a:close/>
                <a:moveTo>
                  <a:pt x="477870" y="3096554"/>
                </a:moveTo>
                <a:cubicBezTo>
                  <a:pt x="481381" y="3097019"/>
                  <a:pt x="484892" y="3100891"/>
                  <a:pt x="486647" y="3105383"/>
                </a:cubicBezTo>
                <a:lnTo>
                  <a:pt x="486647" y="3106003"/>
                </a:lnTo>
                <a:lnTo>
                  <a:pt x="488918" y="3106003"/>
                </a:lnTo>
                <a:cubicBezTo>
                  <a:pt x="498212" y="3120253"/>
                  <a:pt x="489538" y="3127224"/>
                  <a:pt x="481174" y="3125985"/>
                </a:cubicBezTo>
                <a:cubicBezTo>
                  <a:pt x="478387" y="3125674"/>
                  <a:pt x="475702" y="3124435"/>
                  <a:pt x="473740" y="3122112"/>
                </a:cubicBezTo>
                <a:cubicBezTo>
                  <a:pt x="472397" y="3120563"/>
                  <a:pt x="471365" y="3118704"/>
                  <a:pt x="470849" y="3116381"/>
                </a:cubicBezTo>
                <a:cubicBezTo>
                  <a:pt x="470332" y="3114057"/>
                  <a:pt x="470229" y="3111269"/>
                  <a:pt x="470952" y="3108017"/>
                </a:cubicBezTo>
                <a:lnTo>
                  <a:pt x="478593" y="3106313"/>
                </a:lnTo>
                <a:lnTo>
                  <a:pt x="475082" y="3101356"/>
                </a:lnTo>
                <a:cubicBezTo>
                  <a:pt x="477147" y="3099807"/>
                  <a:pt x="474979" y="3097948"/>
                  <a:pt x="477870" y="3096554"/>
                </a:cubicBezTo>
                <a:close/>
                <a:moveTo>
                  <a:pt x="6458411" y="3091208"/>
                </a:moveTo>
                <a:cubicBezTo>
                  <a:pt x="6462380" y="3091712"/>
                  <a:pt x="6466640" y="3093415"/>
                  <a:pt x="6471829" y="3096410"/>
                </a:cubicBezTo>
                <a:cubicBezTo>
                  <a:pt x="6473533" y="3103534"/>
                  <a:pt x="6467182" y="3113240"/>
                  <a:pt x="6458508" y="3114583"/>
                </a:cubicBezTo>
                <a:cubicBezTo>
                  <a:pt x="6455565" y="3114996"/>
                  <a:pt x="6452466" y="3114479"/>
                  <a:pt x="6449214" y="3112621"/>
                </a:cubicBezTo>
                <a:cubicBezTo>
                  <a:pt x="6445651" y="3107355"/>
                  <a:pt x="6442243" y="3101986"/>
                  <a:pt x="6446735" y="3093209"/>
                </a:cubicBezTo>
                <a:cubicBezTo>
                  <a:pt x="6450763" y="3091402"/>
                  <a:pt x="6454441" y="3090705"/>
                  <a:pt x="6458411" y="3091208"/>
                </a:cubicBezTo>
                <a:close/>
                <a:moveTo>
                  <a:pt x="6645971" y="3091079"/>
                </a:moveTo>
                <a:cubicBezTo>
                  <a:pt x="6650501" y="3092486"/>
                  <a:pt x="6654296" y="3095377"/>
                  <a:pt x="6656465" y="3099198"/>
                </a:cubicBezTo>
                <a:cubicBezTo>
                  <a:pt x="6657859" y="3101779"/>
                  <a:pt x="6658633" y="3104773"/>
                  <a:pt x="6658324" y="3107974"/>
                </a:cubicBezTo>
                <a:cubicBezTo>
                  <a:pt x="6658014" y="3112311"/>
                  <a:pt x="6656000" y="3117061"/>
                  <a:pt x="6651663" y="3121914"/>
                </a:cubicBezTo>
                <a:cubicBezTo>
                  <a:pt x="6650424" y="3122637"/>
                  <a:pt x="6649030" y="3123153"/>
                  <a:pt x="6647481" y="3123360"/>
                </a:cubicBezTo>
                <a:cubicBezTo>
                  <a:pt x="6645932" y="3123566"/>
                  <a:pt x="6644383" y="3123566"/>
                  <a:pt x="6642834" y="3123256"/>
                </a:cubicBezTo>
                <a:cubicBezTo>
                  <a:pt x="6632766" y="3121914"/>
                  <a:pt x="6621148" y="3113240"/>
                  <a:pt x="6620993" y="3105806"/>
                </a:cubicBezTo>
                <a:cubicBezTo>
                  <a:pt x="6624247" y="3101160"/>
                  <a:pt x="6627654" y="3096513"/>
                  <a:pt x="6631062" y="3091866"/>
                </a:cubicBezTo>
                <a:cubicBezTo>
                  <a:pt x="6636174" y="3089750"/>
                  <a:pt x="6641440" y="3089672"/>
                  <a:pt x="6645971" y="3091079"/>
                </a:cubicBezTo>
                <a:close/>
                <a:moveTo>
                  <a:pt x="600642" y="3089429"/>
                </a:moveTo>
                <a:cubicBezTo>
                  <a:pt x="601881" y="3089274"/>
                  <a:pt x="603429" y="3090203"/>
                  <a:pt x="604153" y="3090668"/>
                </a:cubicBezTo>
                <a:cubicBezTo>
                  <a:pt x="603739" y="3091442"/>
                  <a:pt x="604462" y="3091907"/>
                  <a:pt x="604049" y="3092682"/>
                </a:cubicBezTo>
                <a:cubicBezTo>
                  <a:pt x="603946" y="3094540"/>
                  <a:pt x="603946" y="3094540"/>
                  <a:pt x="602707" y="3094696"/>
                </a:cubicBezTo>
                <a:cubicBezTo>
                  <a:pt x="601468" y="3095005"/>
                  <a:pt x="599609" y="3092682"/>
                  <a:pt x="598370" y="3092992"/>
                </a:cubicBezTo>
                <a:cubicBezTo>
                  <a:pt x="598370" y="3092992"/>
                  <a:pt x="598370" y="3092992"/>
                  <a:pt x="598473" y="3090978"/>
                </a:cubicBezTo>
                <a:cubicBezTo>
                  <a:pt x="598990" y="3090358"/>
                  <a:pt x="599402" y="3089584"/>
                  <a:pt x="600642" y="3089429"/>
                </a:cubicBezTo>
                <a:close/>
                <a:moveTo>
                  <a:pt x="366870" y="3089119"/>
                </a:moveTo>
                <a:cubicBezTo>
                  <a:pt x="368005" y="3088964"/>
                  <a:pt x="368005" y="3088964"/>
                  <a:pt x="368831" y="3089429"/>
                </a:cubicBezTo>
                <a:cubicBezTo>
                  <a:pt x="369141" y="3090513"/>
                  <a:pt x="368728" y="3091288"/>
                  <a:pt x="369038" y="3092372"/>
                </a:cubicBezTo>
                <a:cubicBezTo>
                  <a:pt x="371413" y="3092062"/>
                  <a:pt x="370690" y="3091597"/>
                  <a:pt x="371000" y="3092682"/>
                </a:cubicBezTo>
                <a:cubicBezTo>
                  <a:pt x="371000" y="3092682"/>
                  <a:pt x="371000" y="3092682"/>
                  <a:pt x="371310" y="3093921"/>
                </a:cubicBezTo>
                <a:cubicBezTo>
                  <a:pt x="371310" y="3093921"/>
                  <a:pt x="372032" y="3094230"/>
                  <a:pt x="369245" y="3095315"/>
                </a:cubicBezTo>
                <a:cubicBezTo>
                  <a:pt x="368935" y="3094230"/>
                  <a:pt x="368005" y="3090823"/>
                  <a:pt x="368005" y="3090823"/>
                </a:cubicBezTo>
                <a:cubicBezTo>
                  <a:pt x="367179" y="3090203"/>
                  <a:pt x="367179" y="3090203"/>
                  <a:pt x="366870" y="3089119"/>
                </a:cubicBezTo>
                <a:close/>
                <a:moveTo>
                  <a:pt x="364495" y="3087725"/>
                </a:moveTo>
                <a:cubicBezTo>
                  <a:pt x="364804" y="3088964"/>
                  <a:pt x="365011" y="3091907"/>
                  <a:pt x="362223" y="3092837"/>
                </a:cubicBezTo>
                <a:cubicBezTo>
                  <a:pt x="359332" y="3093921"/>
                  <a:pt x="358919" y="3096399"/>
                  <a:pt x="356131" y="3097484"/>
                </a:cubicBezTo>
                <a:cubicBezTo>
                  <a:pt x="356131" y="3097484"/>
                  <a:pt x="356028" y="3097484"/>
                  <a:pt x="355718" y="3096244"/>
                </a:cubicBezTo>
                <a:cubicBezTo>
                  <a:pt x="359435" y="3093921"/>
                  <a:pt x="360055" y="3089584"/>
                  <a:pt x="364495" y="3087725"/>
                </a:cubicBezTo>
                <a:close/>
                <a:moveTo>
                  <a:pt x="261548" y="3087260"/>
                </a:moveTo>
                <a:cubicBezTo>
                  <a:pt x="264233" y="3088654"/>
                  <a:pt x="265162" y="3090978"/>
                  <a:pt x="263613" y="3093766"/>
                </a:cubicBezTo>
                <a:cubicBezTo>
                  <a:pt x="261961" y="3094850"/>
                  <a:pt x="260206" y="3094230"/>
                  <a:pt x="258451" y="3093611"/>
                </a:cubicBezTo>
                <a:cubicBezTo>
                  <a:pt x="257108" y="3092992"/>
                  <a:pt x="256592" y="3092217"/>
                  <a:pt x="256695" y="3091442"/>
                </a:cubicBezTo>
                <a:cubicBezTo>
                  <a:pt x="256695" y="3090513"/>
                  <a:pt x="257315" y="3089584"/>
                  <a:pt x="258141" y="3088654"/>
                </a:cubicBezTo>
                <a:cubicBezTo>
                  <a:pt x="259793" y="3086641"/>
                  <a:pt x="261548" y="3087260"/>
                  <a:pt x="261548" y="3087260"/>
                </a:cubicBezTo>
                <a:close/>
                <a:moveTo>
                  <a:pt x="6422572" y="3085464"/>
                </a:moveTo>
                <a:cubicBezTo>
                  <a:pt x="6430781" y="3086291"/>
                  <a:pt x="6432175" y="3097132"/>
                  <a:pt x="6433569" y="3102812"/>
                </a:cubicBezTo>
                <a:cubicBezTo>
                  <a:pt x="6428922" y="3105290"/>
                  <a:pt x="6424276" y="3107871"/>
                  <a:pt x="6420248" y="3108284"/>
                </a:cubicBezTo>
                <a:cubicBezTo>
                  <a:pt x="6419009" y="3108491"/>
                  <a:pt x="6417770" y="3108388"/>
                  <a:pt x="6416686" y="3108078"/>
                </a:cubicBezTo>
                <a:cubicBezTo>
                  <a:pt x="6414672" y="3103947"/>
                  <a:pt x="6413898" y="3099817"/>
                  <a:pt x="6414827" y="3095893"/>
                </a:cubicBezTo>
                <a:cubicBezTo>
                  <a:pt x="6415756" y="3092073"/>
                  <a:pt x="6418234" y="3088459"/>
                  <a:pt x="6422572" y="3085464"/>
                </a:cubicBezTo>
                <a:close/>
                <a:moveTo>
                  <a:pt x="121739" y="3085092"/>
                </a:moveTo>
                <a:cubicBezTo>
                  <a:pt x="122979" y="3084782"/>
                  <a:pt x="124218" y="3085247"/>
                  <a:pt x="125457" y="3086641"/>
                </a:cubicBezTo>
                <a:cubicBezTo>
                  <a:pt x="126283" y="3087415"/>
                  <a:pt x="127212" y="3088345"/>
                  <a:pt x="126283" y="3088345"/>
                </a:cubicBezTo>
                <a:cubicBezTo>
                  <a:pt x="126283" y="3089119"/>
                  <a:pt x="125457" y="3089119"/>
                  <a:pt x="124630" y="3089739"/>
                </a:cubicBezTo>
                <a:cubicBezTo>
                  <a:pt x="122875" y="3090513"/>
                  <a:pt x="120294" y="3090203"/>
                  <a:pt x="119468" y="3089274"/>
                </a:cubicBezTo>
                <a:cubicBezTo>
                  <a:pt x="118538" y="3088345"/>
                  <a:pt x="118538" y="3087570"/>
                  <a:pt x="118538" y="3087570"/>
                </a:cubicBezTo>
                <a:cubicBezTo>
                  <a:pt x="119468" y="3086331"/>
                  <a:pt x="120603" y="3085402"/>
                  <a:pt x="121739" y="3085092"/>
                </a:cubicBezTo>
                <a:close/>
                <a:moveTo>
                  <a:pt x="449475" y="3083543"/>
                </a:moveTo>
                <a:cubicBezTo>
                  <a:pt x="450094" y="3085866"/>
                  <a:pt x="449991" y="3087880"/>
                  <a:pt x="447822" y="3089429"/>
                </a:cubicBezTo>
                <a:cubicBezTo>
                  <a:pt x="447719" y="3087880"/>
                  <a:pt x="447616" y="3086796"/>
                  <a:pt x="447822" y="3085866"/>
                </a:cubicBezTo>
                <a:cubicBezTo>
                  <a:pt x="448029" y="3085092"/>
                  <a:pt x="448442" y="3084317"/>
                  <a:pt x="449475" y="3083543"/>
                </a:cubicBezTo>
                <a:close/>
                <a:moveTo>
                  <a:pt x="379363" y="3082768"/>
                </a:moveTo>
                <a:cubicBezTo>
                  <a:pt x="381738" y="3082459"/>
                  <a:pt x="384527" y="3081374"/>
                  <a:pt x="385662" y="3083078"/>
                </a:cubicBezTo>
                <a:cubicBezTo>
                  <a:pt x="387934" y="3089274"/>
                  <a:pt x="377195" y="3092837"/>
                  <a:pt x="375233" y="3094385"/>
                </a:cubicBezTo>
                <a:cubicBezTo>
                  <a:pt x="375233" y="3094385"/>
                  <a:pt x="374717" y="3095160"/>
                  <a:pt x="373581" y="3095315"/>
                </a:cubicBezTo>
                <a:cubicBezTo>
                  <a:pt x="371929" y="3096089"/>
                  <a:pt x="372549" y="3093611"/>
                  <a:pt x="371310" y="3093921"/>
                </a:cubicBezTo>
                <a:cubicBezTo>
                  <a:pt x="376266" y="3089429"/>
                  <a:pt x="377815" y="3083698"/>
                  <a:pt x="377815" y="3083698"/>
                </a:cubicBezTo>
                <a:cubicBezTo>
                  <a:pt x="379363" y="3082923"/>
                  <a:pt x="380086" y="3083233"/>
                  <a:pt x="379363" y="3082768"/>
                </a:cubicBezTo>
                <a:close/>
                <a:moveTo>
                  <a:pt x="228300" y="3082304"/>
                </a:moveTo>
                <a:cubicBezTo>
                  <a:pt x="233876" y="3078431"/>
                  <a:pt x="236560" y="3084937"/>
                  <a:pt x="234702" y="3087880"/>
                </a:cubicBezTo>
                <a:cubicBezTo>
                  <a:pt x="231501" y="3089274"/>
                  <a:pt x="228816" y="3087415"/>
                  <a:pt x="228093" y="3084937"/>
                </a:cubicBezTo>
                <a:cubicBezTo>
                  <a:pt x="227887" y="3084163"/>
                  <a:pt x="227990" y="3083233"/>
                  <a:pt x="228300" y="3082304"/>
                </a:cubicBezTo>
                <a:close/>
                <a:moveTo>
                  <a:pt x="181938" y="3079361"/>
                </a:moveTo>
                <a:cubicBezTo>
                  <a:pt x="190198" y="3078276"/>
                  <a:pt x="202383" y="3082149"/>
                  <a:pt x="203105" y="3089119"/>
                </a:cubicBezTo>
                <a:cubicBezTo>
                  <a:pt x="193296" y="3085711"/>
                  <a:pt x="186068" y="3088035"/>
                  <a:pt x="175536" y="3082149"/>
                </a:cubicBezTo>
                <a:cubicBezTo>
                  <a:pt x="176878" y="3080600"/>
                  <a:pt x="179150" y="3079670"/>
                  <a:pt x="181938" y="3079361"/>
                </a:cubicBezTo>
                <a:close/>
                <a:moveTo>
                  <a:pt x="120397" y="3075953"/>
                </a:moveTo>
                <a:lnTo>
                  <a:pt x="122875" y="3078741"/>
                </a:lnTo>
                <a:cubicBezTo>
                  <a:pt x="122049" y="3079516"/>
                  <a:pt x="120294" y="3080135"/>
                  <a:pt x="119468" y="3079206"/>
                </a:cubicBezTo>
                <a:cubicBezTo>
                  <a:pt x="118642" y="3078741"/>
                  <a:pt x="118642" y="3078431"/>
                  <a:pt x="118951" y="3077812"/>
                </a:cubicBezTo>
                <a:cubicBezTo>
                  <a:pt x="119261" y="3077347"/>
                  <a:pt x="119984" y="3076728"/>
                  <a:pt x="120397" y="3075953"/>
                </a:cubicBezTo>
                <a:close/>
                <a:moveTo>
                  <a:pt x="6399647" y="3075139"/>
                </a:moveTo>
                <a:cubicBezTo>
                  <a:pt x="6407237" y="3083709"/>
                  <a:pt x="6406463" y="3089388"/>
                  <a:pt x="6401351" y="3094654"/>
                </a:cubicBezTo>
                <a:cubicBezTo>
                  <a:pt x="6386326" y="3093002"/>
                  <a:pt x="6384002" y="3077410"/>
                  <a:pt x="6399647" y="3075139"/>
                </a:cubicBezTo>
                <a:close/>
                <a:moveTo>
                  <a:pt x="360158" y="3074249"/>
                </a:moveTo>
                <a:cubicBezTo>
                  <a:pt x="360984" y="3073939"/>
                  <a:pt x="361707" y="3074094"/>
                  <a:pt x="362326" y="3074714"/>
                </a:cubicBezTo>
                <a:cubicBezTo>
                  <a:pt x="363049" y="3075488"/>
                  <a:pt x="363565" y="3076573"/>
                  <a:pt x="364288" y="3077966"/>
                </a:cubicBezTo>
                <a:cubicBezTo>
                  <a:pt x="365734" y="3080909"/>
                  <a:pt x="366250" y="3084937"/>
                  <a:pt x="366560" y="3086176"/>
                </a:cubicBezTo>
                <a:cubicBezTo>
                  <a:pt x="366973" y="3087415"/>
                  <a:pt x="367695" y="3087880"/>
                  <a:pt x="367695" y="3087880"/>
                </a:cubicBezTo>
                <a:cubicBezTo>
                  <a:pt x="366044" y="3088809"/>
                  <a:pt x="361087" y="3077812"/>
                  <a:pt x="359745" y="3075024"/>
                </a:cubicBezTo>
                <a:cubicBezTo>
                  <a:pt x="360158" y="3074404"/>
                  <a:pt x="360158" y="3074249"/>
                  <a:pt x="360158" y="3074249"/>
                </a:cubicBezTo>
                <a:close/>
                <a:moveTo>
                  <a:pt x="283645" y="3072081"/>
                </a:moveTo>
                <a:cubicBezTo>
                  <a:pt x="286020" y="3071771"/>
                  <a:pt x="286743" y="3072235"/>
                  <a:pt x="287465" y="3072700"/>
                </a:cubicBezTo>
                <a:cubicBezTo>
                  <a:pt x="287465" y="3072700"/>
                  <a:pt x="286330" y="3072855"/>
                  <a:pt x="285917" y="3073474"/>
                </a:cubicBezTo>
                <a:cubicBezTo>
                  <a:pt x="285917" y="3073474"/>
                  <a:pt x="284678" y="3073785"/>
                  <a:pt x="283542" y="3073939"/>
                </a:cubicBezTo>
                <a:cubicBezTo>
                  <a:pt x="283542" y="3073939"/>
                  <a:pt x="283129" y="3074559"/>
                  <a:pt x="282613" y="3075333"/>
                </a:cubicBezTo>
                <a:cubicBezTo>
                  <a:pt x="279928" y="3076418"/>
                  <a:pt x="278276" y="3077347"/>
                  <a:pt x="275797" y="3074714"/>
                </a:cubicBezTo>
                <a:cubicBezTo>
                  <a:pt x="276004" y="3074404"/>
                  <a:pt x="276624" y="3074094"/>
                  <a:pt x="277450" y="3073785"/>
                </a:cubicBezTo>
                <a:cubicBezTo>
                  <a:pt x="278172" y="3073629"/>
                  <a:pt x="279102" y="3073474"/>
                  <a:pt x="279721" y="3073474"/>
                </a:cubicBezTo>
                <a:cubicBezTo>
                  <a:pt x="280134" y="3072700"/>
                  <a:pt x="281373" y="3072545"/>
                  <a:pt x="282096" y="3073010"/>
                </a:cubicBezTo>
                <a:cubicBezTo>
                  <a:pt x="282096" y="3073010"/>
                  <a:pt x="283232" y="3072855"/>
                  <a:pt x="283645" y="3072081"/>
                </a:cubicBezTo>
                <a:close/>
                <a:moveTo>
                  <a:pt x="297791" y="3071926"/>
                </a:moveTo>
                <a:cubicBezTo>
                  <a:pt x="301302" y="3072390"/>
                  <a:pt x="306052" y="3078276"/>
                  <a:pt x="306775" y="3080909"/>
                </a:cubicBezTo>
                <a:cubicBezTo>
                  <a:pt x="305226" y="3083078"/>
                  <a:pt x="303264" y="3084007"/>
                  <a:pt x="301405" y="3083852"/>
                </a:cubicBezTo>
                <a:cubicBezTo>
                  <a:pt x="298307" y="3083852"/>
                  <a:pt x="295416" y="3081064"/>
                  <a:pt x="294694" y="3078121"/>
                </a:cubicBezTo>
                <a:cubicBezTo>
                  <a:pt x="294384" y="3077037"/>
                  <a:pt x="294384" y="3076108"/>
                  <a:pt x="294694" y="3075024"/>
                </a:cubicBezTo>
                <a:cubicBezTo>
                  <a:pt x="295106" y="3073785"/>
                  <a:pt x="296139" y="3072700"/>
                  <a:pt x="297791" y="3071926"/>
                </a:cubicBezTo>
                <a:close/>
                <a:moveTo>
                  <a:pt x="263923" y="3069602"/>
                </a:moveTo>
                <a:cubicBezTo>
                  <a:pt x="265782" y="3068828"/>
                  <a:pt x="265679" y="3068828"/>
                  <a:pt x="266608" y="3069757"/>
                </a:cubicBezTo>
                <a:cubicBezTo>
                  <a:pt x="267434" y="3070686"/>
                  <a:pt x="266505" y="3073165"/>
                  <a:pt x="267434" y="3074249"/>
                </a:cubicBezTo>
                <a:cubicBezTo>
                  <a:pt x="267434" y="3074249"/>
                  <a:pt x="267434" y="3074249"/>
                  <a:pt x="265679" y="3074869"/>
                </a:cubicBezTo>
                <a:cubicBezTo>
                  <a:pt x="264749" y="3074869"/>
                  <a:pt x="263820" y="3074714"/>
                  <a:pt x="262994" y="3073785"/>
                </a:cubicBezTo>
                <a:cubicBezTo>
                  <a:pt x="262064" y="3072700"/>
                  <a:pt x="262168" y="3070996"/>
                  <a:pt x="262168" y="3070222"/>
                </a:cubicBezTo>
                <a:cubicBezTo>
                  <a:pt x="262994" y="3070222"/>
                  <a:pt x="263097" y="3069447"/>
                  <a:pt x="263923" y="3069602"/>
                </a:cubicBezTo>
                <a:close/>
                <a:moveTo>
                  <a:pt x="116163" y="3067279"/>
                </a:moveTo>
                <a:cubicBezTo>
                  <a:pt x="117093" y="3068208"/>
                  <a:pt x="117093" y="3067434"/>
                  <a:pt x="117919" y="3067434"/>
                </a:cubicBezTo>
                <a:cubicBezTo>
                  <a:pt x="120500" y="3070222"/>
                  <a:pt x="121429" y="3072855"/>
                  <a:pt x="119571" y="3075024"/>
                </a:cubicBezTo>
                <a:cubicBezTo>
                  <a:pt x="117816" y="3076573"/>
                  <a:pt x="115131" y="3078741"/>
                  <a:pt x="112550" y="3076882"/>
                </a:cubicBezTo>
                <a:cubicBezTo>
                  <a:pt x="112550" y="3076108"/>
                  <a:pt x="111620" y="3075953"/>
                  <a:pt x="111723" y="3075178"/>
                </a:cubicBezTo>
                <a:cubicBezTo>
                  <a:pt x="111723" y="3075178"/>
                  <a:pt x="111207" y="3074249"/>
                  <a:pt x="111207" y="3073010"/>
                </a:cubicBezTo>
                <a:cubicBezTo>
                  <a:pt x="111104" y="3071771"/>
                  <a:pt x="111414" y="3070222"/>
                  <a:pt x="112756" y="3068673"/>
                </a:cubicBezTo>
                <a:cubicBezTo>
                  <a:pt x="113169" y="3068208"/>
                  <a:pt x="113995" y="3067743"/>
                  <a:pt x="114821" y="3067434"/>
                </a:cubicBezTo>
                <a:cubicBezTo>
                  <a:pt x="115544" y="3067124"/>
                  <a:pt x="116163" y="3066969"/>
                  <a:pt x="116163" y="3067279"/>
                </a:cubicBezTo>
                <a:close/>
                <a:moveTo>
                  <a:pt x="241517" y="3066040"/>
                </a:moveTo>
                <a:cubicBezTo>
                  <a:pt x="248331" y="3063716"/>
                  <a:pt x="255869" y="3063871"/>
                  <a:pt x="259277" y="3068983"/>
                </a:cubicBezTo>
                <a:cubicBezTo>
                  <a:pt x="246783" y="3068208"/>
                  <a:pt x="241620" y="3080445"/>
                  <a:pt x="227990" y="3077347"/>
                </a:cubicBezTo>
                <a:cubicBezTo>
                  <a:pt x="228610" y="3073010"/>
                  <a:pt x="234702" y="3068363"/>
                  <a:pt x="241517" y="3066040"/>
                </a:cubicBezTo>
                <a:close/>
                <a:moveTo>
                  <a:pt x="592897" y="3065575"/>
                </a:moveTo>
                <a:cubicBezTo>
                  <a:pt x="596924" y="3070377"/>
                  <a:pt x="598473" y="3074404"/>
                  <a:pt x="593104" y="3079670"/>
                </a:cubicBezTo>
                <a:cubicBezTo>
                  <a:pt x="589696" y="3079516"/>
                  <a:pt x="588354" y="3076573"/>
                  <a:pt x="588457" y="3073474"/>
                </a:cubicBezTo>
                <a:cubicBezTo>
                  <a:pt x="588664" y="3070377"/>
                  <a:pt x="590213" y="3066969"/>
                  <a:pt x="592897" y="3065575"/>
                </a:cubicBezTo>
                <a:close/>
                <a:moveTo>
                  <a:pt x="6298906" y="3064254"/>
                </a:moveTo>
                <a:lnTo>
                  <a:pt x="6291454" y="3098318"/>
                </a:lnTo>
                <a:lnTo>
                  <a:pt x="6292459" y="3099301"/>
                </a:lnTo>
                <a:lnTo>
                  <a:pt x="6292687" y="3106574"/>
                </a:lnTo>
                <a:lnTo>
                  <a:pt x="6302282" y="3102816"/>
                </a:lnTo>
                <a:lnTo>
                  <a:pt x="6319508" y="3092692"/>
                </a:lnTo>
                <a:lnTo>
                  <a:pt x="6339964" y="3085100"/>
                </a:lnTo>
                <a:lnTo>
                  <a:pt x="6342135" y="3084371"/>
                </a:lnTo>
                <a:lnTo>
                  <a:pt x="6344039" y="3076688"/>
                </a:lnTo>
                <a:lnTo>
                  <a:pt x="6347569" y="3072296"/>
                </a:lnTo>
                <a:lnTo>
                  <a:pt x="6344329" y="3072296"/>
                </a:lnTo>
                <a:lnTo>
                  <a:pt x="6344329" y="3072154"/>
                </a:lnTo>
                <a:lnTo>
                  <a:pt x="6344116" y="3072296"/>
                </a:lnTo>
                <a:lnTo>
                  <a:pt x="6326615" y="3072296"/>
                </a:lnTo>
                <a:lnTo>
                  <a:pt x="6321920" y="3070020"/>
                </a:lnTo>
                <a:lnTo>
                  <a:pt x="6322133" y="3070731"/>
                </a:lnTo>
                <a:cubicBezTo>
                  <a:pt x="6320639" y="3073007"/>
                  <a:pt x="6319786" y="3071442"/>
                  <a:pt x="6317438" y="3071442"/>
                </a:cubicBezTo>
                <a:lnTo>
                  <a:pt x="6317865" y="3072296"/>
                </a:lnTo>
                <a:lnTo>
                  <a:pt x="6298444" y="3072296"/>
                </a:lnTo>
                <a:lnTo>
                  <a:pt x="6298657" y="3069735"/>
                </a:lnTo>
                <a:close/>
                <a:moveTo>
                  <a:pt x="615821" y="3063561"/>
                </a:moveTo>
                <a:cubicBezTo>
                  <a:pt x="616750" y="3067743"/>
                  <a:pt x="619744" y="3073165"/>
                  <a:pt x="618712" y="3077037"/>
                </a:cubicBezTo>
                <a:cubicBezTo>
                  <a:pt x="618092" y="3075488"/>
                  <a:pt x="615304" y="3066349"/>
                  <a:pt x="615821" y="3063561"/>
                </a:cubicBezTo>
                <a:close/>
                <a:moveTo>
                  <a:pt x="157053" y="3063096"/>
                </a:moveTo>
                <a:cubicBezTo>
                  <a:pt x="157982" y="3063871"/>
                  <a:pt x="160667" y="3064181"/>
                  <a:pt x="162422" y="3065265"/>
                </a:cubicBezTo>
                <a:cubicBezTo>
                  <a:pt x="162422" y="3066040"/>
                  <a:pt x="163352" y="3066969"/>
                  <a:pt x="163352" y="3067743"/>
                </a:cubicBezTo>
                <a:cubicBezTo>
                  <a:pt x="162422" y="3067588"/>
                  <a:pt x="160563" y="3068208"/>
                  <a:pt x="160563" y="3067434"/>
                </a:cubicBezTo>
                <a:cubicBezTo>
                  <a:pt x="159738" y="3067279"/>
                  <a:pt x="159738" y="3065730"/>
                  <a:pt x="159738" y="3065730"/>
                </a:cubicBezTo>
                <a:cubicBezTo>
                  <a:pt x="158808" y="3065575"/>
                  <a:pt x="157982" y="3065575"/>
                  <a:pt x="157053" y="3064645"/>
                </a:cubicBezTo>
                <a:cubicBezTo>
                  <a:pt x="157982" y="3063871"/>
                  <a:pt x="157053" y="3063871"/>
                  <a:pt x="157053" y="3063096"/>
                </a:cubicBezTo>
                <a:close/>
                <a:moveTo>
                  <a:pt x="616027" y="3061548"/>
                </a:moveTo>
                <a:cubicBezTo>
                  <a:pt x="615614" y="3062632"/>
                  <a:pt x="615614" y="3062632"/>
                  <a:pt x="615924" y="3063406"/>
                </a:cubicBezTo>
                <a:cubicBezTo>
                  <a:pt x="615924" y="3063406"/>
                  <a:pt x="614891" y="3062787"/>
                  <a:pt x="614891" y="3062787"/>
                </a:cubicBezTo>
                <a:cubicBezTo>
                  <a:pt x="615201" y="3061702"/>
                  <a:pt x="614581" y="3062012"/>
                  <a:pt x="616027" y="3061548"/>
                </a:cubicBezTo>
                <a:close/>
                <a:moveTo>
                  <a:pt x="479213" y="3059069"/>
                </a:moveTo>
                <a:cubicBezTo>
                  <a:pt x="481484" y="3065110"/>
                  <a:pt x="480555" y="3071151"/>
                  <a:pt x="477663" y="3076108"/>
                </a:cubicBezTo>
                <a:cubicBezTo>
                  <a:pt x="473017" y="3084627"/>
                  <a:pt x="462794" y="3090358"/>
                  <a:pt x="452262" y="3089584"/>
                </a:cubicBezTo>
                <a:cubicBezTo>
                  <a:pt x="452056" y="3088499"/>
                  <a:pt x="451850" y="3087260"/>
                  <a:pt x="450611" y="3087725"/>
                </a:cubicBezTo>
                <a:cubicBezTo>
                  <a:pt x="450094" y="3085866"/>
                  <a:pt x="449888" y="3084007"/>
                  <a:pt x="449991" y="3082149"/>
                </a:cubicBezTo>
                <a:cubicBezTo>
                  <a:pt x="450817" y="3068983"/>
                  <a:pt x="466202" y="3055352"/>
                  <a:pt x="479213" y="3059069"/>
                </a:cubicBezTo>
                <a:close/>
                <a:moveTo>
                  <a:pt x="165314" y="3059069"/>
                </a:moveTo>
                <a:cubicBezTo>
                  <a:pt x="165830" y="3059069"/>
                  <a:pt x="166243" y="3059224"/>
                  <a:pt x="166759" y="3059689"/>
                </a:cubicBezTo>
                <a:cubicBezTo>
                  <a:pt x="166759" y="3059689"/>
                  <a:pt x="167585" y="3060618"/>
                  <a:pt x="168411" y="3061548"/>
                </a:cubicBezTo>
                <a:cubicBezTo>
                  <a:pt x="169237" y="3062477"/>
                  <a:pt x="170166" y="3062632"/>
                  <a:pt x="170166" y="3062632"/>
                </a:cubicBezTo>
                <a:cubicBezTo>
                  <a:pt x="170992" y="3063716"/>
                  <a:pt x="170992" y="3064491"/>
                  <a:pt x="170063" y="3065265"/>
                </a:cubicBezTo>
                <a:cubicBezTo>
                  <a:pt x="170063" y="3065265"/>
                  <a:pt x="168308" y="3064181"/>
                  <a:pt x="168308" y="3064181"/>
                </a:cubicBezTo>
                <a:cubicBezTo>
                  <a:pt x="166656" y="3062322"/>
                  <a:pt x="165830" y="3061393"/>
                  <a:pt x="164074" y="3060308"/>
                </a:cubicBezTo>
                <a:cubicBezTo>
                  <a:pt x="164487" y="3059534"/>
                  <a:pt x="164900" y="3059224"/>
                  <a:pt x="165314" y="3059069"/>
                </a:cubicBezTo>
                <a:close/>
                <a:moveTo>
                  <a:pt x="384630" y="3058760"/>
                </a:moveTo>
                <a:lnTo>
                  <a:pt x="389380" y="3061857"/>
                </a:lnTo>
                <a:lnTo>
                  <a:pt x="390309" y="3061548"/>
                </a:lnTo>
                <a:cubicBezTo>
                  <a:pt x="391238" y="3061393"/>
                  <a:pt x="391754" y="3061857"/>
                  <a:pt x="392064" y="3062941"/>
                </a:cubicBezTo>
                <a:cubicBezTo>
                  <a:pt x="392581" y="3063716"/>
                  <a:pt x="392581" y="3064491"/>
                  <a:pt x="392374" y="3065110"/>
                </a:cubicBezTo>
                <a:lnTo>
                  <a:pt x="392374" y="3065265"/>
                </a:lnTo>
                <a:lnTo>
                  <a:pt x="395265" y="3070067"/>
                </a:lnTo>
                <a:lnTo>
                  <a:pt x="398259" y="3071151"/>
                </a:lnTo>
                <a:lnTo>
                  <a:pt x="401151" y="3072545"/>
                </a:lnTo>
                <a:lnTo>
                  <a:pt x="400428" y="3071616"/>
                </a:lnTo>
                <a:cubicBezTo>
                  <a:pt x="398259" y="3068053"/>
                  <a:pt x="397330" y="3062322"/>
                  <a:pt x="401461" y="3059224"/>
                </a:cubicBezTo>
                <a:cubicBezTo>
                  <a:pt x="404764" y="3062322"/>
                  <a:pt x="405487" y="3064955"/>
                  <a:pt x="405281" y="3067279"/>
                </a:cubicBezTo>
                <a:lnTo>
                  <a:pt x="402906" y="3073939"/>
                </a:lnTo>
                <a:lnTo>
                  <a:pt x="405487" y="3077347"/>
                </a:lnTo>
                <a:cubicBezTo>
                  <a:pt x="403113" y="3077657"/>
                  <a:pt x="403939" y="3083078"/>
                  <a:pt x="400324" y="3083698"/>
                </a:cubicBezTo>
                <a:cubicBezTo>
                  <a:pt x="389896" y="3086641"/>
                  <a:pt x="388450" y="3083698"/>
                  <a:pt x="384423" y="3078276"/>
                </a:cubicBezTo>
                <a:cubicBezTo>
                  <a:pt x="385146" y="3078741"/>
                  <a:pt x="384836" y="3077657"/>
                  <a:pt x="384836" y="3077657"/>
                </a:cubicBezTo>
                <a:cubicBezTo>
                  <a:pt x="384217" y="3075333"/>
                  <a:pt x="380809" y="3078896"/>
                  <a:pt x="379467" y="3075953"/>
                </a:cubicBezTo>
                <a:cubicBezTo>
                  <a:pt x="378951" y="3074869"/>
                  <a:pt x="378951" y="3073629"/>
                  <a:pt x="379157" y="3072545"/>
                </a:cubicBezTo>
                <a:lnTo>
                  <a:pt x="372135" y="3067279"/>
                </a:lnTo>
                <a:cubicBezTo>
                  <a:pt x="370174" y="3064800"/>
                  <a:pt x="368831" y="3062012"/>
                  <a:pt x="368625" y="3059379"/>
                </a:cubicBezTo>
                <a:cubicBezTo>
                  <a:pt x="374923" y="3057830"/>
                  <a:pt x="380190" y="3057365"/>
                  <a:pt x="384630" y="3058760"/>
                </a:cubicBezTo>
                <a:close/>
                <a:moveTo>
                  <a:pt x="326393" y="3058450"/>
                </a:moveTo>
                <a:cubicBezTo>
                  <a:pt x="328561" y="3063716"/>
                  <a:pt x="332382" y="3069292"/>
                  <a:pt x="332795" y="3075178"/>
                </a:cubicBezTo>
                <a:cubicBezTo>
                  <a:pt x="328355" y="3073165"/>
                  <a:pt x="323295" y="3067434"/>
                  <a:pt x="323812" y="3062632"/>
                </a:cubicBezTo>
                <a:cubicBezTo>
                  <a:pt x="323915" y="3061083"/>
                  <a:pt x="324741" y="3059534"/>
                  <a:pt x="326393" y="3058450"/>
                </a:cubicBezTo>
                <a:close/>
                <a:moveTo>
                  <a:pt x="614375" y="3057520"/>
                </a:moveTo>
                <a:cubicBezTo>
                  <a:pt x="614685" y="3058295"/>
                  <a:pt x="614994" y="3059224"/>
                  <a:pt x="614271" y="3059379"/>
                </a:cubicBezTo>
                <a:cubicBezTo>
                  <a:pt x="613962" y="3059534"/>
                  <a:pt x="613652" y="3059379"/>
                  <a:pt x="613549" y="3059069"/>
                </a:cubicBezTo>
                <a:cubicBezTo>
                  <a:pt x="613342" y="3058760"/>
                  <a:pt x="613446" y="3058140"/>
                  <a:pt x="613549" y="3057675"/>
                </a:cubicBezTo>
                <a:cubicBezTo>
                  <a:pt x="613549" y="3057675"/>
                  <a:pt x="614375" y="3057520"/>
                  <a:pt x="614375" y="3057520"/>
                </a:cubicBezTo>
                <a:close/>
                <a:moveTo>
                  <a:pt x="6537349" y="3056140"/>
                </a:moveTo>
                <a:cubicBezTo>
                  <a:pt x="6552065" y="3061612"/>
                  <a:pt x="6568948" y="3082987"/>
                  <a:pt x="6551910" y="3094861"/>
                </a:cubicBezTo>
                <a:cubicBezTo>
                  <a:pt x="6546953" y="3082573"/>
                  <a:pt x="6537659" y="3069873"/>
                  <a:pt x="6537349" y="3056140"/>
                </a:cubicBezTo>
                <a:close/>
                <a:moveTo>
                  <a:pt x="232843" y="3055506"/>
                </a:moveTo>
                <a:cubicBezTo>
                  <a:pt x="233772" y="3054732"/>
                  <a:pt x="235527" y="3054887"/>
                  <a:pt x="238109" y="3055971"/>
                </a:cubicBezTo>
                <a:cubicBezTo>
                  <a:pt x="238935" y="3057675"/>
                  <a:pt x="236250" y="3059998"/>
                  <a:pt x="235321" y="3061548"/>
                </a:cubicBezTo>
                <a:cubicBezTo>
                  <a:pt x="234495" y="3060618"/>
                  <a:pt x="233669" y="3059689"/>
                  <a:pt x="233669" y="3060463"/>
                </a:cubicBezTo>
                <a:cubicBezTo>
                  <a:pt x="232740" y="3059534"/>
                  <a:pt x="232327" y="3058760"/>
                  <a:pt x="232223" y="3057985"/>
                </a:cubicBezTo>
                <a:cubicBezTo>
                  <a:pt x="232223" y="3057056"/>
                  <a:pt x="232430" y="3056281"/>
                  <a:pt x="232843" y="3055506"/>
                </a:cubicBezTo>
                <a:close/>
                <a:moveTo>
                  <a:pt x="486647" y="3055042"/>
                </a:moveTo>
                <a:cubicBezTo>
                  <a:pt x="494597" y="3055506"/>
                  <a:pt x="499038" y="3066195"/>
                  <a:pt x="498521" y="3071926"/>
                </a:cubicBezTo>
                <a:cubicBezTo>
                  <a:pt x="495630" y="3074559"/>
                  <a:pt x="492739" y="3075333"/>
                  <a:pt x="490261" y="3074714"/>
                </a:cubicBezTo>
                <a:cubicBezTo>
                  <a:pt x="486647" y="3073785"/>
                  <a:pt x="483859" y="3070222"/>
                  <a:pt x="482826" y="3066040"/>
                </a:cubicBezTo>
                <a:cubicBezTo>
                  <a:pt x="481897" y="3062012"/>
                  <a:pt x="482826" y="3057520"/>
                  <a:pt x="486647" y="3055042"/>
                </a:cubicBezTo>
                <a:close/>
                <a:moveTo>
                  <a:pt x="404868" y="3054887"/>
                </a:moveTo>
                <a:cubicBezTo>
                  <a:pt x="405900" y="3054113"/>
                  <a:pt x="407139" y="3054267"/>
                  <a:pt x="408379" y="3054887"/>
                </a:cubicBezTo>
                <a:cubicBezTo>
                  <a:pt x="409721" y="3055506"/>
                  <a:pt x="410857" y="3056436"/>
                  <a:pt x="411786" y="3057520"/>
                </a:cubicBezTo>
                <a:cubicBezTo>
                  <a:pt x="411063" y="3057056"/>
                  <a:pt x="411063" y="3057056"/>
                  <a:pt x="411063" y="3057056"/>
                </a:cubicBezTo>
                <a:cubicBezTo>
                  <a:pt x="409824" y="3057210"/>
                  <a:pt x="410650" y="3057675"/>
                  <a:pt x="410237" y="3058450"/>
                </a:cubicBezTo>
                <a:cubicBezTo>
                  <a:pt x="410237" y="3058450"/>
                  <a:pt x="410650" y="3057675"/>
                  <a:pt x="410960" y="3058914"/>
                </a:cubicBezTo>
                <a:cubicBezTo>
                  <a:pt x="410237" y="3058450"/>
                  <a:pt x="409721" y="3059069"/>
                  <a:pt x="409308" y="3059844"/>
                </a:cubicBezTo>
                <a:cubicBezTo>
                  <a:pt x="406933" y="3060153"/>
                  <a:pt x="403732" y="3060153"/>
                  <a:pt x="402596" y="3058450"/>
                </a:cubicBezTo>
                <a:cubicBezTo>
                  <a:pt x="401977" y="3056126"/>
                  <a:pt x="403629" y="3055197"/>
                  <a:pt x="404868" y="3054887"/>
                </a:cubicBezTo>
                <a:close/>
                <a:moveTo>
                  <a:pt x="540856" y="3053183"/>
                </a:moveTo>
                <a:cubicBezTo>
                  <a:pt x="544987" y="3056281"/>
                  <a:pt x="540134" y="3060308"/>
                  <a:pt x="537552" y="3059998"/>
                </a:cubicBezTo>
                <a:cubicBezTo>
                  <a:pt x="535590" y="3058760"/>
                  <a:pt x="535281" y="3057365"/>
                  <a:pt x="535693" y="3056281"/>
                </a:cubicBezTo>
                <a:cubicBezTo>
                  <a:pt x="536003" y="3055042"/>
                  <a:pt x="537242" y="3054113"/>
                  <a:pt x="538482" y="3053648"/>
                </a:cubicBezTo>
                <a:cubicBezTo>
                  <a:pt x="539307" y="3053183"/>
                  <a:pt x="540134" y="3053028"/>
                  <a:pt x="540856" y="3053183"/>
                </a:cubicBezTo>
                <a:close/>
                <a:moveTo>
                  <a:pt x="200111" y="3053028"/>
                </a:moveTo>
                <a:cubicBezTo>
                  <a:pt x="204654" y="3055042"/>
                  <a:pt x="206203" y="3058140"/>
                  <a:pt x="206616" y="3062632"/>
                </a:cubicBezTo>
                <a:cubicBezTo>
                  <a:pt x="205170" y="3063251"/>
                  <a:pt x="201763" y="3061702"/>
                  <a:pt x="199388" y="3060773"/>
                </a:cubicBezTo>
                <a:cubicBezTo>
                  <a:pt x="198872" y="3059534"/>
                  <a:pt x="198665" y="3058295"/>
                  <a:pt x="198768" y="3056901"/>
                </a:cubicBezTo>
                <a:cubicBezTo>
                  <a:pt x="198872" y="3055661"/>
                  <a:pt x="199285" y="3054267"/>
                  <a:pt x="200111" y="3053028"/>
                </a:cubicBezTo>
                <a:close/>
                <a:moveTo>
                  <a:pt x="614168" y="3052254"/>
                </a:moveTo>
                <a:cubicBezTo>
                  <a:pt x="614271" y="3053648"/>
                  <a:pt x="614375" y="3054267"/>
                  <a:pt x="614271" y="3054887"/>
                </a:cubicBezTo>
                <a:lnTo>
                  <a:pt x="614065" y="3055197"/>
                </a:lnTo>
                <a:lnTo>
                  <a:pt x="614581" y="3055197"/>
                </a:lnTo>
                <a:lnTo>
                  <a:pt x="613755" y="3056436"/>
                </a:lnTo>
                <a:lnTo>
                  <a:pt x="613446" y="3057056"/>
                </a:lnTo>
                <a:lnTo>
                  <a:pt x="613342" y="3056901"/>
                </a:lnTo>
                <a:lnTo>
                  <a:pt x="611484" y="3058295"/>
                </a:lnTo>
                <a:cubicBezTo>
                  <a:pt x="611484" y="3058295"/>
                  <a:pt x="611380" y="3059224"/>
                  <a:pt x="611174" y="3059998"/>
                </a:cubicBezTo>
                <a:cubicBezTo>
                  <a:pt x="609109" y="3062322"/>
                  <a:pt x="607973" y="3063871"/>
                  <a:pt x="604772" y="3062941"/>
                </a:cubicBezTo>
                <a:cubicBezTo>
                  <a:pt x="604875" y="3062012"/>
                  <a:pt x="606837" y="3060463"/>
                  <a:pt x="607766" y="3059689"/>
                </a:cubicBezTo>
                <a:cubicBezTo>
                  <a:pt x="607869" y="3058914"/>
                  <a:pt x="608902" y="3058140"/>
                  <a:pt x="609728" y="3058140"/>
                </a:cubicBezTo>
                <a:cubicBezTo>
                  <a:pt x="609728" y="3058140"/>
                  <a:pt x="610761" y="3057365"/>
                  <a:pt x="610864" y="3056591"/>
                </a:cubicBezTo>
                <a:lnTo>
                  <a:pt x="612516" y="3055661"/>
                </a:lnTo>
                <a:lnTo>
                  <a:pt x="612516" y="3055506"/>
                </a:lnTo>
                <a:cubicBezTo>
                  <a:pt x="612103" y="3054887"/>
                  <a:pt x="611897" y="3054267"/>
                  <a:pt x="612103" y="3053803"/>
                </a:cubicBezTo>
                <a:cubicBezTo>
                  <a:pt x="612310" y="3053338"/>
                  <a:pt x="612413" y="3053028"/>
                  <a:pt x="612723" y="3052873"/>
                </a:cubicBezTo>
                <a:cubicBezTo>
                  <a:pt x="612929" y="3052563"/>
                  <a:pt x="613342" y="3052563"/>
                  <a:pt x="614168" y="3052254"/>
                </a:cubicBezTo>
                <a:close/>
                <a:moveTo>
                  <a:pt x="181834" y="3049775"/>
                </a:moveTo>
                <a:cubicBezTo>
                  <a:pt x="182660" y="3049001"/>
                  <a:pt x="183487" y="3049930"/>
                  <a:pt x="184313" y="3049930"/>
                </a:cubicBezTo>
                <a:cubicBezTo>
                  <a:pt x="186068" y="3051015"/>
                  <a:pt x="188443" y="3056901"/>
                  <a:pt x="187617" y="3057675"/>
                </a:cubicBezTo>
                <a:cubicBezTo>
                  <a:pt x="185758" y="3056281"/>
                  <a:pt x="182454" y="3053803"/>
                  <a:pt x="181628" y="3051634"/>
                </a:cubicBezTo>
                <a:cubicBezTo>
                  <a:pt x="181318" y="3051015"/>
                  <a:pt x="181421" y="3050240"/>
                  <a:pt x="181834" y="3049775"/>
                </a:cubicBezTo>
                <a:close/>
                <a:moveTo>
                  <a:pt x="399705" y="3049620"/>
                </a:moveTo>
                <a:cubicBezTo>
                  <a:pt x="402183" y="3051170"/>
                  <a:pt x="402906" y="3053648"/>
                  <a:pt x="401048" y="3056281"/>
                </a:cubicBezTo>
                <a:cubicBezTo>
                  <a:pt x="399292" y="3057210"/>
                  <a:pt x="397640" y="3056436"/>
                  <a:pt x="395988" y="3055661"/>
                </a:cubicBezTo>
                <a:cubicBezTo>
                  <a:pt x="394749" y="3054887"/>
                  <a:pt x="394336" y="3054113"/>
                  <a:pt x="394439" y="3053183"/>
                </a:cubicBezTo>
                <a:cubicBezTo>
                  <a:pt x="394646" y="3052409"/>
                  <a:pt x="395368" y="3051479"/>
                  <a:pt x="396195" y="3050705"/>
                </a:cubicBezTo>
                <a:cubicBezTo>
                  <a:pt x="398053" y="3048846"/>
                  <a:pt x="399705" y="3049620"/>
                  <a:pt x="399705" y="3049620"/>
                </a:cubicBezTo>
                <a:close/>
                <a:moveTo>
                  <a:pt x="153026" y="3049156"/>
                </a:moveTo>
                <a:cubicBezTo>
                  <a:pt x="153955" y="3047607"/>
                  <a:pt x="155607" y="3048536"/>
                  <a:pt x="157363" y="3050395"/>
                </a:cubicBezTo>
                <a:cubicBezTo>
                  <a:pt x="161699" y="3053338"/>
                  <a:pt x="162525" y="3055971"/>
                  <a:pt x="159841" y="3058140"/>
                </a:cubicBezTo>
                <a:cubicBezTo>
                  <a:pt x="159015" y="3058140"/>
                  <a:pt x="156433" y="3056901"/>
                  <a:pt x="156433" y="3057830"/>
                </a:cubicBezTo>
                <a:cubicBezTo>
                  <a:pt x="154471" y="3055661"/>
                  <a:pt x="152510" y="3053183"/>
                  <a:pt x="152406" y="3051015"/>
                </a:cubicBezTo>
                <a:cubicBezTo>
                  <a:pt x="152406" y="3050395"/>
                  <a:pt x="152613" y="3049775"/>
                  <a:pt x="153026" y="3049156"/>
                </a:cubicBezTo>
                <a:close/>
                <a:moveTo>
                  <a:pt x="314106" y="3048846"/>
                </a:moveTo>
                <a:cubicBezTo>
                  <a:pt x="315035" y="3049466"/>
                  <a:pt x="315964" y="3050240"/>
                  <a:pt x="315138" y="3050395"/>
                </a:cubicBezTo>
                <a:cubicBezTo>
                  <a:pt x="315138" y="3051170"/>
                  <a:pt x="314312" y="3051324"/>
                  <a:pt x="313486" y="3052254"/>
                </a:cubicBezTo>
                <a:cubicBezTo>
                  <a:pt x="311834" y="3053338"/>
                  <a:pt x="309356" y="3053648"/>
                  <a:pt x="308426" y="3053028"/>
                </a:cubicBezTo>
                <a:cubicBezTo>
                  <a:pt x="307497" y="3052254"/>
                  <a:pt x="307394" y="3051479"/>
                  <a:pt x="307394" y="3051479"/>
                </a:cubicBezTo>
                <a:cubicBezTo>
                  <a:pt x="309046" y="3048691"/>
                  <a:pt x="311421" y="3046677"/>
                  <a:pt x="314106" y="3048846"/>
                </a:cubicBezTo>
                <a:close/>
                <a:moveTo>
                  <a:pt x="618712" y="3048381"/>
                </a:moveTo>
                <a:cubicBezTo>
                  <a:pt x="623048" y="3049156"/>
                  <a:pt x="624287" y="3049466"/>
                  <a:pt x="625114" y="3053958"/>
                </a:cubicBezTo>
                <a:cubicBezTo>
                  <a:pt x="625114" y="3053958"/>
                  <a:pt x="624907" y="3055042"/>
                  <a:pt x="624907" y="3055042"/>
                </a:cubicBezTo>
                <a:cubicBezTo>
                  <a:pt x="624494" y="3059224"/>
                  <a:pt x="620983" y="3062941"/>
                  <a:pt x="619021" y="3063096"/>
                </a:cubicBezTo>
                <a:cubicBezTo>
                  <a:pt x="617163" y="3062477"/>
                  <a:pt x="615304" y="3060928"/>
                  <a:pt x="614788" y="3058760"/>
                </a:cubicBezTo>
                <a:cubicBezTo>
                  <a:pt x="614685" y="3057985"/>
                  <a:pt x="614685" y="3057210"/>
                  <a:pt x="614891" y="3056281"/>
                </a:cubicBezTo>
                <a:cubicBezTo>
                  <a:pt x="614994" y="3053338"/>
                  <a:pt x="617886" y="3051789"/>
                  <a:pt x="618712" y="3048381"/>
                </a:cubicBezTo>
                <a:close/>
                <a:moveTo>
                  <a:pt x="516695" y="3047297"/>
                </a:moveTo>
                <a:cubicBezTo>
                  <a:pt x="519172" y="3051015"/>
                  <a:pt x="518347" y="3054422"/>
                  <a:pt x="515765" y="3058295"/>
                </a:cubicBezTo>
                <a:cubicBezTo>
                  <a:pt x="514113" y="3058140"/>
                  <a:pt x="512254" y="3055352"/>
                  <a:pt x="511015" y="3053338"/>
                </a:cubicBezTo>
                <a:cubicBezTo>
                  <a:pt x="511531" y="3050860"/>
                  <a:pt x="513803" y="3048691"/>
                  <a:pt x="516695" y="3047297"/>
                </a:cubicBezTo>
                <a:close/>
                <a:moveTo>
                  <a:pt x="6564611" y="3046021"/>
                </a:moveTo>
                <a:cubicBezTo>
                  <a:pt x="6576538" y="3043026"/>
                  <a:pt x="6581030" y="3051906"/>
                  <a:pt x="6584593" y="3062438"/>
                </a:cubicBezTo>
                <a:cubicBezTo>
                  <a:pt x="6580566" y="3064917"/>
                  <a:pt x="6578397" y="3068324"/>
                  <a:pt x="6574370" y="3070802"/>
                </a:cubicBezTo>
                <a:cubicBezTo>
                  <a:pt x="6567090" y="3070492"/>
                  <a:pt x="6556247" y="3059754"/>
                  <a:pt x="6558106" y="3052113"/>
                </a:cubicBezTo>
                <a:cubicBezTo>
                  <a:pt x="6558725" y="3049531"/>
                  <a:pt x="6560584" y="3047363"/>
                  <a:pt x="6564611" y="3046021"/>
                </a:cubicBezTo>
                <a:close/>
                <a:moveTo>
                  <a:pt x="271977" y="3042340"/>
                </a:moveTo>
                <a:cubicBezTo>
                  <a:pt x="272596" y="3042340"/>
                  <a:pt x="273526" y="3042960"/>
                  <a:pt x="274765" y="3043889"/>
                </a:cubicBezTo>
                <a:cubicBezTo>
                  <a:pt x="276520" y="3045748"/>
                  <a:pt x="278172" y="3046677"/>
                  <a:pt x="278172" y="3047607"/>
                </a:cubicBezTo>
                <a:cubicBezTo>
                  <a:pt x="279102" y="3047607"/>
                  <a:pt x="279928" y="3048536"/>
                  <a:pt x="280857" y="3048691"/>
                </a:cubicBezTo>
                <a:cubicBezTo>
                  <a:pt x="280857" y="3048691"/>
                  <a:pt x="280857" y="3048691"/>
                  <a:pt x="280857" y="3049466"/>
                </a:cubicBezTo>
                <a:cubicBezTo>
                  <a:pt x="277347" y="3048227"/>
                  <a:pt x="272906" y="3048691"/>
                  <a:pt x="270325" y="3046832"/>
                </a:cubicBezTo>
                <a:cubicBezTo>
                  <a:pt x="269912" y="3046368"/>
                  <a:pt x="269499" y="3045748"/>
                  <a:pt x="269395" y="3045284"/>
                </a:cubicBezTo>
                <a:cubicBezTo>
                  <a:pt x="269292" y="3044819"/>
                  <a:pt x="269395" y="3044199"/>
                  <a:pt x="270325" y="3043425"/>
                </a:cubicBezTo>
                <a:cubicBezTo>
                  <a:pt x="270841" y="3042650"/>
                  <a:pt x="271254" y="3042185"/>
                  <a:pt x="271977" y="3042340"/>
                </a:cubicBezTo>
                <a:close/>
                <a:moveTo>
                  <a:pt x="663112" y="3041721"/>
                </a:moveTo>
                <a:cubicBezTo>
                  <a:pt x="662183" y="3041101"/>
                  <a:pt x="661356" y="3041411"/>
                  <a:pt x="660530" y="3041876"/>
                </a:cubicBezTo>
                <a:lnTo>
                  <a:pt x="658775" y="3043115"/>
                </a:lnTo>
                <a:lnTo>
                  <a:pt x="660324" y="3042650"/>
                </a:lnTo>
                <a:lnTo>
                  <a:pt x="662389" y="3043580"/>
                </a:lnTo>
                <a:close/>
                <a:moveTo>
                  <a:pt x="427687" y="3040946"/>
                </a:moveTo>
                <a:cubicBezTo>
                  <a:pt x="428410" y="3040482"/>
                  <a:pt x="429340" y="3040637"/>
                  <a:pt x="430269" y="3041101"/>
                </a:cubicBezTo>
                <a:cubicBezTo>
                  <a:pt x="431198" y="3041566"/>
                  <a:pt x="432025" y="3042340"/>
                  <a:pt x="432541" y="3043115"/>
                </a:cubicBezTo>
                <a:cubicBezTo>
                  <a:pt x="432850" y="3044354"/>
                  <a:pt x="432850" y="3044354"/>
                  <a:pt x="433160" y="3045438"/>
                </a:cubicBezTo>
                <a:cubicBezTo>
                  <a:pt x="432334" y="3046832"/>
                  <a:pt x="432231" y="3048691"/>
                  <a:pt x="430579" y="3049466"/>
                </a:cubicBezTo>
                <a:cubicBezTo>
                  <a:pt x="428204" y="3049930"/>
                  <a:pt x="424899" y="3046832"/>
                  <a:pt x="423867" y="3045284"/>
                </a:cubicBezTo>
                <a:cubicBezTo>
                  <a:pt x="423144" y="3042960"/>
                  <a:pt x="425313" y="3041411"/>
                  <a:pt x="427687" y="3040946"/>
                </a:cubicBezTo>
                <a:close/>
                <a:moveTo>
                  <a:pt x="308323" y="3039552"/>
                </a:moveTo>
                <a:lnTo>
                  <a:pt x="311008" y="3041721"/>
                </a:lnTo>
                <a:cubicBezTo>
                  <a:pt x="310182" y="3042650"/>
                  <a:pt x="308633" y="3043734"/>
                  <a:pt x="307704" y="3042960"/>
                </a:cubicBezTo>
                <a:cubicBezTo>
                  <a:pt x="306878" y="3042650"/>
                  <a:pt x="306878" y="3042340"/>
                  <a:pt x="307084" y="3041721"/>
                </a:cubicBezTo>
                <a:cubicBezTo>
                  <a:pt x="307394" y="3041101"/>
                  <a:pt x="308014" y="3040482"/>
                  <a:pt x="308323" y="3039552"/>
                </a:cubicBezTo>
                <a:close/>
                <a:moveTo>
                  <a:pt x="310492" y="3039088"/>
                </a:moveTo>
                <a:cubicBezTo>
                  <a:pt x="311421" y="3040017"/>
                  <a:pt x="310492" y="3039862"/>
                  <a:pt x="310492" y="3040637"/>
                </a:cubicBezTo>
                <a:cubicBezTo>
                  <a:pt x="309975" y="3040172"/>
                  <a:pt x="309769" y="3040017"/>
                  <a:pt x="309769" y="3039862"/>
                </a:cubicBezTo>
                <a:cubicBezTo>
                  <a:pt x="309769" y="3039552"/>
                  <a:pt x="309975" y="3039552"/>
                  <a:pt x="310492" y="3039088"/>
                </a:cubicBezTo>
                <a:close/>
                <a:moveTo>
                  <a:pt x="654232" y="3033511"/>
                </a:moveTo>
                <a:cubicBezTo>
                  <a:pt x="654954" y="3033666"/>
                  <a:pt x="655574" y="3034131"/>
                  <a:pt x="655884" y="3034750"/>
                </a:cubicBezTo>
                <a:cubicBezTo>
                  <a:pt x="656193" y="3035990"/>
                  <a:pt x="655058" y="3036145"/>
                  <a:pt x="654645" y="3036764"/>
                </a:cubicBezTo>
                <a:cubicBezTo>
                  <a:pt x="652993" y="3037694"/>
                  <a:pt x="646591" y="3036299"/>
                  <a:pt x="646281" y="3035215"/>
                </a:cubicBezTo>
                <a:cubicBezTo>
                  <a:pt x="648346" y="3034441"/>
                  <a:pt x="651960" y="3033047"/>
                  <a:pt x="654232" y="3033511"/>
                </a:cubicBezTo>
                <a:close/>
                <a:moveTo>
                  <a:pt x="432747" y="3032272"/>
                </a:moveTo>
                <a:cubicBezTo>
                  <a:pt x="436361" y="3031343"/>
                  <a:pt x="439975" y="3030413"/>
                  <a:pt x="440698" y="3033821"/>
                </a:cubicBezTo>
                <a:cubicBezTo>
                  <a:pt x="438323" y="3037384"/>
                  <a:pt x="433263" y="3037539"/>
                  <a:pt x="432747" y="3032272"/>
                </a:cubicBezTo>
                <a:close/>
                <a:moveTo>
                  <a:pt x="6617121" y="3031978"/>
                </a:moveTo>
                <a:cubicBezTo>
                  <a:pt x="6631062" y="3031874"/>
                  <a:pt x="6642989" y="3051287"/>
                  <a:pt x="6625176" y="3059754"/>
                </a:cubicBezTo>
                <a:cubicBezTo>
                  <a:pt x="6616502" y="3058825"/>
                  <a:pt x="6604884" y="3045814"/>
                  <a:pt x="6603490" y="3039722"/>
                </a:cubicBezTo>
                <a:cubicBezTo>
                  <a:pt x="6607518" y="3034250"/>
                  <a:pt x="6612474" y="3031978"/>
                  <a:pt x="6617121" y="3031978"/>
                </a:cubicBezTo>
                <a:close/>
                <a:moveTo>
                  <a:pt x="427171" y="3031652"/>
                </a:moveTo>
                <a:cubicBezTo>
                  <a:pt x="427997" y="3030104"/>
                  <a:pt x="429650" y="3031962"/>
                  <a:pt x="430372" y="3032892"/>
                </a:cubicBezTo>
                <a:cubicBezTo>
                  <a:pt x="427894" y="3032582"/>
                  <a:pt x="427068" y="3033356"/>
                  <a:pt x="427171" y="3032427"/>
                </a:cubicBezTo>
                <a:cubicBezTo>
                  <a:pt x="426758" y="3032427"/>
                  <a:pt x="426449" y="3032117"/>
                  <a:pt x="426449" y="3031962"/>
                </a:cubicBezTo>
                <a:cubicBezTo>
                  <a:pt x="426449" y="3031807"/>
                  <a:pt x="426758" y="3031652"/>
                  <a:pt x="427171" y="3031652"/>
                </a:cubicBezTo>
                <a:close/>
                <a:moveTo>
                  <a:pt x="305329" y="3031652"/>
                </a:moveTo>
                <a:cubicBezTo>
                  <a:pt x="308117" y="3033821"/>
                  <a:pt x="309149" y="3036145"/>
                  <a:pt x="307497" y="3038778"/>
                </a:cubicBezTo>
                <a:cubicBezTo>
                  <a:pt x="305845" y="3040792"/>
                  <a:pt x="303367" y="3043580"/>
                  <a:pt x="300682" y="3042340"/>
                </a:cubicBezTo>
                <a:cubicBezTo>
                  <a:pt x="300579" y="3041411"/>
                  <a:pt x="299753" y="3041566"/>
                  <a:pt x="299650" y="3040792"/>
                </a:cubicBezTo>
                <a:cubicBezTo>
                  <a:pt x="299650" y="3040792"/>
                  <a:pt x="299133" y="3040017"/>
                  <a:pt x="299030" y="3038778"/>
                </a:cubicBezTo>
                <a:cubicBezTo>
                  <a:pt x="298927" y="3038158"/>
                  <a:pt x="298927" y="3037539"/>
                  <a:pt x="299030" y="3036764"/>
                </a:cubicBezTo>
                <a:cubicBezTo>
                  <a:pt x="299237" y="3035835"/>
                  <a:pt x="299547" y="3034906"/>
                  <a:pt x="300166" y="3033976"/>
                </a:cubicBezTo>
                <a:cubicBezTo>
                  <a:pt x="300992" y="3033047"/>
                  <a:pt x="303470" y="3031033"/>
                  <a:pt x="303573" y="3031962"/>
                </a:cubicBezTo>
                <a:cubicBezTo>
                  <a:pt x="304503" y="3032582"/>
                  <a:pt x="304399" y="3031807"/>
                  <a:pt x="305329" y="3031652"/>
                </a:cubicBezTo>
                <a:close/>
                <a:moveTo>
                  <a:pt x="282303" y="3031033"/>
                </a:moveTo>
                <a:lnTo>
                  <a:pt x="285607" y="3031807"/>
                </a:lnTo>
                <a:lnTo>
                  <a:pt x="286433" y="3031343"/>
                </a:lnTo>
                <a:cubicBezTo>
                  <a:pt x="287259" y="3031343"/>
                  <a:pt x="288085" y="3031652"/>
                  <a:pt x="288911" y="3032582"/>
                </a:cubicBezTo>
                <a:lnTo>
                  <a:pt x="289531" y="3033511"/>
                </a:lnTo>
                <a:lnTo>
                  <a:pt x="292319" y="3035680"/>
                </a:lnTo>
                <a:lnTo>
                  <a:pt x="290873" y="3036299"/>
                </a:lnTo>
                <a:lnTo>
                  <a:pt x="290460" y="3039552"/>
                </a:lnTo>
                <a:cubicBezTo>
                  <a:pt x="291286" y="3041256"/>
                  <a:pt x="293041" y="3042340"/>
                  <a:pt x="292112" y="3043889"/>
                </a:cubicBezTo>
                <a:cubicBezTo>
                  <a:pt x="290460" y="3041256"/>
                  <a:pt x="289634" y="3040327"/>
                  <a:pt x="288808" y="3038468"/>
                </a:cubicBezTo>
                <a:lnTo>
                  <a:pt x="287672" y="3038003"/>
                </a:lnTo>
                <a:lnTo>
                  <a:pt x="287465" y="3038158"/>
                </a:lnTo>
                <a:lnTo>
                  <a:pt x="287156" y="3037849"/>
                </a:lnTo>
                <a:lnTo>
                  <a:pt x="286226" y="3037384"/>
                </a:lnTo>
                <a:lnTo>
                  <a:pt x="286123" y="3037074"/>
                </a:lnTo>
                <a:lnTo>
                  <a:pt x="284058" y="3035990"/>
                </a:lnTo>
                <a:cubicBezTo>
                  <a:pt x="282096" y="3035060"/>
                  <a:pt x="280238" y="3034441"/>
                  <a:pt x="280238" y="3034441"/>
                </a:cubicBezTo>
                <a:cubicBezTo>
                  <a:pt x="279824" y="3033202"/>
                  <a:pt x="279721" y="3032582"/>
                  <a:pt x="279928" y="3032272"/>
                </a:cubicBezTo>
                <a:cubicBezTo>
                  <a:pt x="280238" y="3031807"/>
                  <a:pt x="280960" y="3031652"/>
                  <a:pt x="282303" y="3031033"/>
                </a:cubicBezTo>
                <a:close/>
                <a:moveTo>
                  <a:pt x="175020" y="3027935"/>
                </a:moveTo>
                <a:cubicBezTo>
                  <a:pt x="174916" y="3029639"/>
                  <a:pt x="178530" y="3030723"/>
                  <a:pt x="176672" y="3032272"/>
                </a:cubicBezTo>
                <a:cubicBezTo>
                  <a:pt x="175846" y="3031343"/>
                  <a:pt x="174916" y="3029639"/>
                  <a:pt x="174090" y="3028709"/>
                </a:cubicBezTo>
                <a:cubicBezTo>
                  <a:pt x="174090" y="3028709"/>
                  <a:pt x="174090" y="3028709"/>
                  <a:pt x="175020" y="3027935"/>
                </a:cubicBezTo>
                <a:close/>
                <a:moveTo>
                  <a:pt x="374820" y="3026696"/>
                </a:moveTo>
                <a:cubicBezTo>
                  <a:pt x="375440" y="3027005"/>
                  <a:pt x="375956" y="3027315"/>
                  <a:pt x="376059" y="3027780"/>
                </a:cubicBezTo>
                <a:cubicBezTo>
                  <a:pt x="373685" y="3028245"/>
                  <a:pt x="370484" y="3029949"/>
                  <a:pt x="367902" y="3027470"/>
                </a:cubicBezTo>
                <a:cubicBezTo>
                  <a:pt x="369657" y="3027161"/>
                  <a:pt x="373065" y="3026231"/>
                  <a:pt x="374820" y="3026696"/>
                </a:cubicBezTo>
                <a:close/>
                <a:moveTo>
                  <a:pt x="6510583" y="3019230"/>
                </a:moveTo>
                <a:cubicBezTo>
                  <a:pt x="6513144" y="3019088"/>
                  <a:pt x="6515919" y="3020226"/>
                  <a:pt x="6518479" y="3021506"/>
                </a:cubicBezTo>
                <a:cubicBezTo>
                  <a:pt x="6514211" y="3026343"/>
                  <a:pt x="6521041" y="3030611"/>
                  <a:pt x="6513357" y="3033314"/>
                </a:cubicBezTo>
                <a:cubicBezTo>
                  <a:pt x="6509516" y="3032887"/>
                  <a:pt x="6506101" y="3030754"/>
                  <a:pt x="6503113" y="3025063"/>
                </a:cubicBezTo>
                <a:cubicBezTo>
                  <a:pt x="6505461" y="3020937"/>
                  <a:pt x="6507808" y="3019372"/>
                  <a:pt x="6510583" y="3019230"/>
                </a:cubicBezTo>
                <a:close/>
                <a:moveTo>
                  <a:pt x="343637" y="3017867"/>
                </a:moveTo>
                <a:cubicBezTo>
                  <a:pt x="344566" y="3018641"/>
                  <a:pt x="347355" y="3018177"/>
                  <a:pt x="349213" y="3018796"/>
                </a:cubicBezTo>
                <a:cubicBezTo>
                  <a:pt x="349213" y="3019570"/>
                  <a:pt x="350142" y="3020190"/>
                  <a:pt x="350245" y="3020965"/>
                </a:cubicBezTo>
                <a:cubicBezTo>
                  <a:pt x="349316" y="3021119"/>
                  <a:pt x="347561" y="3022204"/>
                  <a:pt x="347458" y="3021429"/>
                </a:cubicBezTo>
                <a:cubicBezTo>
                  <a:pt x="346631" y="3021584"/>
                  <a:pt x="346425" y="3019881"/>
                  <a:pt x="346425" y="3019881"/>
                </a:cubicBezTo>
                <a:cubicBezTo>
                  <a:pt x="345599" y="3020035"/>
                  <a:pt x="344669" y="3020190"/>
                  <a:pt x="343740" y="3019570"/>
                </a:cubicBezTo>
                <a:cubicBezTo>
                  <a:pt x="344566" y="3018641"/>
                  <a:pt x="343637" y="3018796"/>
                  <a:pt x="343637" y="3017867"/>
                </a:cubicBezTo>
                <a:close/>
                <a:moveTo>
                  <a:pt x="352930" y="3012291"/>
                </a:moveTo>
                <a:cubicBezTo>
                  <a:pt x="352930" y="3012291"/>
                  <a:pt x="353860" y="3013065"/>
                  <a:pt x="354789" y="3013839"/>
                </a:cubicBezTo>
                <a:cubicBezTo>
                  <a:pt x="355718" y="3014459"/>
                  <a:pt x="356647" y="3014459"/>
                  <a:pt x="356647" y="3014459"/>
                </a:cubicBezTo>
                <a:cubicBezTo>
                  <a:pt x="357473" y="3015234"/>
                  <a:pt x="357577" y="3016008"/>
                  <a:pt x="356751" y="3017092"/>
                </a:cubicBezTo>
                <a:cubicBezTo>
                  <a:pt x="356751" y="3017092"/>
                  <a:pt x="354892" y="3016318"/>
                  <a:pt x="354892" y="3016318"/>
                </a:cubicBezTo>
                <a:cubicBezTo>
                  <a:pt x="353136" y="3014924"/>
                  <a:pt x="352207" y="3014149"/>
                  <a:pt x="350452" y="3013530"/>
                </a:cubicBezTo>
                <a:cubicBezTo>
                  <a:pt x="351175" y="3011671"/>
                  <a:pt x="352001" y="3011516"/>
                  <a:pt x="352930" y="3012291"/>
                </a:cubicBezTo>
                <a:close/>
                <a:moveTo>
                  <a:pt x="174503" y="3011826"/>
                </a:moveTo>
                <a:cubicBezTo>
                  <a:pt x="174503" y="3011826"/>
                  <a:pt x="174503" y="3011826"/>
                  <a:pt x="174503" y="3012755"/>
                </a:cubicBezTo>
                <a:cubicBezTo>
                  <a:pt x="174503" y="3012755"/>
                  <a:pt x="174503" y="3011826"/>
                  <a:pt x="175329" y="3011981"/>
                </a:cubicBezTo>
                <a:cubicBezTo>
                  <a:pt x="177807" y="3016318"/>
                  <a:pt x="176878" y="3022978"/>
                  <a:pt x="176878" y="3023908"/>
                </a:cubicBezTo>
                <a:cubicBezTo>
                  <a:pt x="176052" y="3023753"/>
                  <a:pt x="175949" y="3023753"/>
                  <a:pt x="175949" y="3023753"/>
                </a:cubicBezTo>
                <a:cubicBezTo>
                  <a:pt x="176672" y="3021274"/>
                  <a:pt x="174503" y="3018177"/>
                  <a:pt x="174090" y="3014924"/>
                </a:cubicBezTo>
                <a:cubicBezTo>
                  <a:pt x="173987" y="3013839"/>
                  <a:pt x="173987" y="3012910"/>
                  <a:pt x="174503" y="3011826"/>
                </a:cubicBezTo>
                <a:close/>
                <a:moveTo>
                  <a:pt x="164900" y="3010122"/>
                </a:moveTo>
                <a:cubicBezTo>
                  <a:pt x="166656" y="3009502"/>
                  <a:pt x="166656" y="3009502"/>
                  <a:pt x="168411" y="3010587"/>
                </a:cubicBezTo>
                <a:cubicBezTo>
                  <a:pt x="168411" y="3011361"/>
                  <a:pt x="169340" y="3011516"/>
                  <a:pt x="168411" y="3012291"/>
                </a:cubicBezTo>
                <a:cubicBezTo>
                  <a:pt x="170992" y="3014149"/>
                  <a:pt x="173574" y="3022049"/>
                  <a:pt x="172645" y="3025302"/>
                </a:cubicBezTo>
                <a:cubicBezTo>
                  <a:pt x="164797" y="3018641"/>
                  <a:pt x="169237" y="3013994"/>
                  <a:pt x="164900" y="3010122"/>
                </a:cubicBezTo>
                <a:close/>
                <a:moveTo>
                  <a:pt x="442505" y="3009309"/>
                </a:moveTo>
                <a:cubicBezTo>
                  <a:pt x="450300" y="3010199"/>
                  <a:pt x="458561" y="3012290"/>
                  <a:pt x="466305" y="3013375"/>
                </a:cubicBezTo>
                <a:cubicBezTo>
                  <a:pt x="465376" y="3016163"/>
                  <a:pt x="466925" y="3018331"/>
                  <a:pt x="464653" y="3022359"/>
                </a:cubicBezTo>
                <a:lnTo>
                  <a:pt x="453192" y="3019726"/>
                </a:lnTo>
                <a:lnTo>
                  <a:pt x="451643" y="3020190"/>
                </a:lnTo>
                <a:cubicBezTo>
                  <a:pt x="450714" y="3020190"/>
                  <a:pt x="449888" y="3020035"/>
                  <a:pt x="449475" y="3019726"/>
                </a:cubicBezTo>
                <a:lnTo>
                  <a:pt x="449061" y="3018796"/>
                </a:lnTo>
                <a:lnTo>
                  <a:pt x="442040" y="3017247"/>
                </a:lnTo>
                <a:cubicBezTo>
                  <a:pt x="434709" y="3016008"/>
                  <a:pt x="427791" y="3014614"/>
                  <a:pt x="421492" y="3012445"/>
                </a:cubicBezTo>
                <a:cubicBezTo>
                  <a:pt x="427378" y="3008728"/>
                  <a:pt x="434709" y="3008418"/>
                  <a:pt x="442505" y="3009309"/>
                </a:cubicBezTo>
                <a:close/>
                <a:moveTo>
                  <a:pt x="450817" y="3006249"/>
                </a:moveTo>
                <a:lnTo>
                  <a:pt x="453192" y="3008573"/>
                </a:lnTo>
                <a:cubicBezTo>
                  <a:pt x="452262" y="3009502"/>
                  <a:pt x="450611" y="3010432"/>
                  <a:pt x="449784" y="3009657"/>
                </a:cubicBezTo>
                <a:cubicBezTo>
                  <a:pt x="448959" y="3009192"/>
                  <a:pt x="448959" y="3008728"/>
                  <a:pt x="449268" y="3008263"/>
                </a:cubicBezTo>
                <a:cubicBezTo>
                  <a:pt x="449681" y="3007644"/>
                  <a:pt x="450301" y="3007024"/>
                  <a:pt x="450817" y="3006249"/>
                </a:cubicBezTo>
                <a:close/>
                <a:moveTo>
                  <a:pt x="338577" y="3005165"/>
                </a:moveTo>
                <a:cubicBezTo>
                  <a:pt x="339403" y="3003306"/>
                  <a:pt x="341159" y="3003926"/>
                  <a:pt x="343017" y="3005320"/>
                </a:cubicBezTo>
                <a:cubicBezTo>
                  <a:pt x="347561" y="3007179"/>
                  <a:pt x="348593" y="3009657"/>
                  <a:pt x="346115" y="3012445"/>
                </a:cubicBezTo>
                <a:cubicBezTo>
                  <a:pt x="345186" y="3012600"/>
                  <a:pt x="342501" y="3012136"/>
                  <a:pt x="342604" y="3012910"/>
                </a:cubicBezTo>
                <a:cubicBezTo>
                  <a:pt x="340539" y="3011361"/>
                  <a:pt x="338371" y="3009348"/>
                  <a:pt x="338164" y="3007179"/>
                </a:cubicBezTo>
                <a:cubicBezTo>
                  <a:pt x="338061" y="3006559"/>
                  <a:pt x="338164" y="3005785"/>
                  <a:pt x="338577" y="3005165"/>
                </a:cubicBezTo>
                <a:close/>
                <a:moveTo>
                  <a:pt x="230365" y="2999279"/>
                </a:moveTo>
                <a:cubicBezTo>
                  <a:pt x="232843" y="3002067"/>
                  <a:pt x="231914" y="3004546"/>
                  <a:pt x="231088" y="3006869"/>
                </a:cubicBezTo>
                <a:cubicBezTo>
                  <a:pt x="230158" y="3008418"/>
                  <a:pt x="230158" y="3009192"/>
                  <a:pt x="230984" y="3011051"/>
                </a:cubicBezTo>
                <a:cubicBezTo>
                  <a:pt x="230984" y="3011051"/>
                  <a:pt x="230984" y="3011051"/>
                  <a:pt x="229229" y="3012445"/>
                </a:cubicBezTo>
                <a:lnTo>
                  <a:pt x="228403" y="3012445"/>
                </a:lnTo>
                <a:cubicBezTo>
                  <a:pt x="227990" y="3012136"/>
                  <a:pt x="227783" y="3011516"/>
                  <a:pt x="227680" y="3010587"/>
                </a:cubicBezTo>
                <a:cubicBezTo>
                  <a:pt x="227474" y="3007798"/>
                  <a:pt x="228506" y="3002997"/>
                  <a:pt x="228506" y="3002377"/>
                </a:cubicBezTo>
                <a:cubicBezTo>
                  <a:pt x="228506" y="3002377"/>
                  <a:pt x="228610" y="3001603"/>
                  <a:pt x="228610" y="3000828"/>
                </a:cubicBezTo>
                <a:cubicBezTo>
                  <a:pt x="229436" y="3000054"/>
                  <a:pt x="230365" y="3000054"/>
                  <a:pt x="230365" y="2999279"/>
                </a:cubicBezTo>
                <a:close/>
                <a:moveTo>
                  <a:pt x="446893" y="2998040"/>
                </a:moveTo>
                <a:cubicBezTo>
                  <a:pt x="447719" y="2998815"/>
                  <a:pt x="447719" y="2998040"/>
                  <a:pt x="448649" y="2998040"/>
                </a:cubicBezTo>
                <a:lnTo>
                  <a:pt x="449268" y="2999124"/>
                </a:lnTo>
                <a:lnTo>
                  <a:pt x="449991" y="2998659"/>
                </a:lnTo>
                <a:cubicBezTo>
                  <a:pt x="451746" y="2997575"/>
                  <a:pt x="451643" y="2997575"/>
                  <a:pt x="452572" y="2998350"/>
                </a:cubicBezTo>
                <a:cubicBezTo>
                  <a:pt x="453501" y="2999124"/>
                  <a:pt x="452779" y="3001758"/>
                  <a:pt x="453811" y="3002532"/>
                </a:cubicBezTo>
                <a:cubicBezTo>
                  <a:pt x="453811" y="3002532"/>
                  <a:pt x="453811" y="3002532"/>
                  <a:pt x="452056" y="3003617"/>
                </a:cubicBezTo>
                <a:lnTo>
                  <a:pt x="450507" y="3003306"/>
                </a:lnTo>
                <a:lnTo>
                  <a:pt x="449991" y="3005475"/>
                </a:lnTo>
                <a:cubicBezTo>
                  <a:pt x="448235" y="3007179"/>
                  <a:pt x="445448" y="3009657"/>
                  <a:pt x="442969" y="3008108"/>
                </a:cubicBezTo>
                <a:cubicBezTo>
                  <a:pt x="442969" y="3007334"/>
                  <a:pt x="442040" y="3007334"/>
                  <a:pt x="442040" y="3006559"/>
                </a:cubicBezTo>
                <a:cubicBezTo>
                  <a:pt x="442040" y="3006559"/>
                  <a:pt x="441730" y="3005785"/>
                  <a:pt x="441627" y="3004546"/>
                </a:cubicBezTo>
                <a:cubicBezTo>
                  <a:pt x="441627" y="3003306"/>
                  <a:pt x="441937" y="3001603"/>
                  <a:pt x="443279" y="2999899"/>
                </a:cubicBezTo>
                <a:cubicBezTo>
                  <a:pt x="444208" y="2999124"/>
                  <a:pt x="446893" y="2997266"/>
                  <a:pt x="446893" y="2998040"/>
                </a:cubicBezTo>
                <a:close/>
                <a:moveTo>
                  <a:pt x="407630" y="2996336"/>
                </a:moveTo>
                <a:cubicBezTo>
                  <a:pt x="412147" y="2998117"/>
                  <a:pt x="416329" y="3001293"/>
                  <a:pt x="418807" y="3003771"/>
                </a:cubicBezTo>
                <a:cubicBezTo>
                  <a:pt x="414781" y="3003617"/>
                  <a:pt x="410753" y="3003461"/>
                  <a:pt x="406726" y="3002687"/>
                </a:cubicBezTo>
                <a:cubicBezTo>
                  <a:pt x="402700" y="3001913"/>
                  <a:pt x="398569" y="3000518"/>
                  <a:pt x="394439" y="2997266"/>
                </a:cubicBezTo>
                <a:cubicBezTo>
                  <a:pt x="398259" y="2994168"/>
                  <a:pt x="403112" y="2994555"/>
                  <a:pt x="407630" y="2996336"/>
                </a:cubicBezTo>
                <a:close/>
                <a:moveTo>
                  <a:pt x="635542" y="2994787"/>
                </a:moveTo>
                <a:lnTo>
                  <a:pt x="629450" y="2999279"/>
                </a:lnTo>
                <a:cubicBezTo>
                  <a:pt x="623771" y="3004236"/>
                  <a:pt x="618402" y="3009812"/>
                  <a:pt x="615821" y="3011826"/>
                </a:cubicBezTo>
                <a:cubicBezTo>
                  <a:pt x="613342" y="3007179"/>
                  <a:pt x="621499" y="3002067"/>
                  <a:pt x="624700" y="2996956"/>
                </a:cubicBezTo>
                <a:lnTo>
                  <a:pt x="625217" y="2995872"/>
                </a:lnTo>
                <a:lnTo>
                  <a:pt x="624700" y="2995716"/>
                </a:lnTo>
                <a:lnTo>
                  <a:pt x="624287" y="2996491"/>
                </a:lnTo>
                <a:cubicBezTo>
                  <a:pt x="623461" y="2996181"/>
                  <a:pt x="622532" y="2996181"/>
                  <a:pt x="621706" y="2996026"/>
                </a:cubicBezTo>
                <a:lnTo>
                  <a:pt x="621603" y="2995872"/>
                </a:lnTo>
                <a:lnTo>
                  <a:pt x="617266" y="3000054"/>
                </a:lnTo>
                <a:cubicBezTo>
                  <a:pt x="614891" y="3002842"/>
                  <a:pt x="611794" y="3005320"/>
                  <a:pt x="609419" y="3008108"/>
                </a:cubicBezTo>
                <a:cubicBezTo>
                  <a:pt x="607044" y="3011051"/>
                  <a:pt x="604875" y="3013839"/>
                  <a:pt x="603120" y="3016782"/>
                </a:cubicBezTo>
                <a:lnTo>
                  <a:pt x="602190" y="3018951"/>
                </a:lnTo>
                <a:lnTo>
                  <a:pt x="604979" y="3019416"/>
                </a:lnTo>
                <a:cubicBezTo>
                  <a:pt x="603843" y="3020965"/>
                  <a:pt x="602603" y="3022514"/>
                  <a:pt x="601571" y="3024062"/>
                </a:cubicBezTo>
                <a:cubicBezTo>
                  <a:pt x="601571" y="3023908"/>
                  <a:pt x="601055" y="3023753"/>
                  <a:pt x="600332" y="3023753"/>
                </a:cubicBezTo>
                <a:lnTo>
                  <a:pt x="599816" y="3024837"/>
                </a:lnTo>
                <a:lnTo>
                  <a:pt x="601674" y="3025766"/>
                </a:lnTo>
                <a:cubicBezTo>
                  <a:pt x="606527" y="3028709"/>
                  <a:pt x="608592" y="3032582"/>
                  <a:pt x="602294" y="3039088"/>
                </a:cubicBezTo>
                <a:cubicBezTo>
                  <a:pt x="601158" y="3036764"/>
                  <a:pt x="599506" y="3034906"/>
                  <a:pt x="597647" y="3033047"/>
                </a:cubicBezTo>
                <a:lnTo>
                  <a:pt x="593001" y="3029174"/>
                </a:lnTo>
                <a:lnTo>
                  <a:pt x="589696" y="3031188"/>
                </a:lnTo>
                <a:cubicBezTo>
                  <a:pt x="586599" y="3033356"/>
                  <a:pt x="583501" y="3035990"/>
                  <a:pt x="580403" y="3038933"/>
                </a:cubicBezTo>
                <a:cubicBezTo>
                  <a:pt x="574931" y="3044354"/>
                  <a:pt x="569975" y="3050550"/>
                  <a:pt x="564812" y="3057520"/>
                </a:cubicBezTo>
                <a:lnTo>
                  <a:pt x="557997" y="3066969"/>
                </a:lnTo>
                <a:lnTo>
                  <a:pt x="564399" y="3067588"/>
                </a:lnTo>
                <a:cubicBezTo>
                  <a:pt x="570698" y="3077037"/>
                  <a:pt x="576893" y="3076418"/>
                  <a:pt x="582778" y="3080755"/>
                </a:cubicBezTo>
                <a:cubicBezTo>
                  <a:pt x="589490" y="3094385"/>
                  <a:pt x="593930" y="3114212"/>
                  <a:pt x="583088" y="3126604"/>
                </a:cubicBezTo>
                <a:cubicBezTo>
                  <a:pt x="574208" y="3136827"/>
                  <a:pt x="563057" y="3133264"/>
                  <a:pt x="550356" y="3136982"/>
                </a:cubicBezTo>
                <a:cubicBezTo>
                  <a:pt x="548807" y="3134659"/>
                  <a:pt x="547258" y="3132955"/>
                  <a:pt x="545606" y="3131871"/>
                </a:cubicBezTo>
                <a:lnTo>
                  <a:pt x="542508" y="3130166"/>
                </a:lnTo>
                <a:lnTo>
                  <a:pt x="540856" y="3130631"/>
                </a:lnTo>
                <a:lnTo>
                  <a:pt x="540134" y="3129082"/>
                </a:lnTo>
                <a:lnTo>
                  <a:pt x="534868" y="3127998"/>
                </a:lnTo>
                <a:lnTo>
                  <a:pt x="534764" y="3128308"/>
                </a:lnTo>
                <a:lnTo>
                  <a:pt x="528466" y="3138841"/>
                </a:lnTo>
                <a:lnTo>
                  <a:pt x="532596" y="3141009"/>
                </a:lnTo>
                <a:cubicBezTo>
                  <a:pt x="534661" y="3142403"/>
                  <a:pt x="536726" y="3144417"/>
                  <a:pt x="538688" y="3146741"/>
                </a:cubicBezTo>
                <a:cubicBezTo>
                  <a:pt x="537552" y="3149064"/>
                  <a:pt x="538895" y="3153401"/>
                  <a:pt x="534558" y="3153556"/>
                </a:cubicBezTo>
                <a:cubicBezTo>
                  <a:pt x="533422" y="3150923"/>
                  <a:pt x="531666" y="3149064"/>
                  <a:pt x="529601" y="3147515"/>
                </a:cubicBezTo>
                <a:lnTo>
                  <a:pt x="524852" y="3144882"/>
                </a:lnTo>
                <a:lnTo>
                  <a:pt x="523922" y="3146431"/>
                </a:lnTo>
                <a:lnTo>
                  <a:pt x="521754" y="3150148"/>
                </a:lnTo>
                <a:lnTo>
                  <a:pt x="521857" y="3150458"/>
                </a:lnTo>
                <a:cubicBezTo>
                  <a:pt x="521857" y="3151852"/>
                  <a:pt x="521444" y="3153401"/>
                  <a:pt x="521031" y="3154331"/>
                </a:cubicBezTo>
                <a:lnTo>
                  <a:pt x="518966" y="3155105"/>
                </a:lnTo>
                <a:lnTo>
                  <a:pt x="515146" y="3162230"/>
                </a:lnTo>
                <a:lnTo>
                  <a:pt x="515042" y="3162850"/>
                </a:lnTo>
                <a:lnTo>
                  <a:pt x="514629" y="3163160"/>
                </a:lnTo>
                <a:lnTo>
                  <a:pt x="513184" y="3165793"/>
                </a:lnTo>
                <a:cubicBezTo>
                  <a:pt x="509673" y="3172143"/>
                  <a:pt x="506472" y="3178494"/>
                  <a:pt x="503787" y="3184535"/>
                </a:cubicBezTo>
                <a:cubicBezTo>
                  <a:pt x="503168" y="3185929"/>
                  <a:pt x="502858" y="3187943"/>
                  <a:pt x="502652" y="3189956"/>
                </a:cubicBezTo>
                <a:lnTo>
                  <a:pt x="501722" y="3194758"/>
                </a:lnTo>
                <a:lnTo>
                  <a:pt x="502135" y="3194449"/>
                </a:lnTo>
                <a:cubicBezTo>
                  <a:pt x="504923" y="3195998"/>
                  <a:pt x="509054" y="3194139"/>
                  <a:pt x="509363" y="3199405"/>
                </a:cubicBezTo>
                <a:cubicBezTo>
                  <a:pt x="507195" y="3202813"/>
                  <a:pt x="502342" y="3203587"/>
                  <a:pt x="499554" y="3201419"/>
                </a:cubicBezTo>
                <a:lnTo>
                  <a:pt x="498934" y="3200180"/>
                </a:lnTo>
                <a:lnTo>
                  <a:pt x="498728" y="3200489"/>
                </a:lnTo>
                <a:cubicBezTo>
                  <a:pt x="497385" y="3201419"/>
                  <a:pt x="495424" y="3201729"/>
                  <a:pt x="492636" y="3200954"/>
                </a:cubicBezTo>
                <a:cubicBezTo>
                  <a:pt x="491810" y="3205601"/>
                  <a:pt x="489538" y="3211022"/>
                  <a:pt x="489538" y="3214585"/>
                </a:cubicBezTo>
                <a:lnTo>
                  <a:pt x="490054" y="3216134"/>
                </a:lnTo>
                <a:lnTo>
                  <a:pt x="490157" y="3216289"/>
                </a:lnTo>
                <a:lnTo>
                  <a:pt x="490157" y="3216444"/>
                </a:lnTo>
                <a:lnTo>
                  <a:pt x="490570" y="3217683"/>
                </a:lnTo>
                <a:lnTo>
                  <a:pt x="489745" y="3218303"/>
                </a:lnTo>
                <a:lnTo>
                  <a:pt x="489125" y="3220936"/>
                </a:lnTo>
                <a:cubicBezTo>
                  <a:pt x="488299" y="3221865"/>
                  <a:pt x="488299" y="3221865"/>
                  <a:pt x="487370" y="3222020"/>
                </a:cubicBezTo>
                <a:lnTo>
                  <a:pt x="484375" y="3223104"/>
                </a:lnTo>
                <a:lnTo>
                  <a:pt x="483653" y="3225428"/>
                </a:lnTo>
                <a:lnTo>
                  <a:pt x="485098" y="3225428"/>
                </a:lnTo>
                <a:cubicBezTo>
                  <a:pt x="486027" y="3226047"/>
                  <a:pt x="486647" y="3227132"/>
                  <a:pt x="486544" y="3228681"/>
                </a:cubicBezTo>
                <a:lnTo>
                  <a:pt x="485304" y="3230385"/>
                </a:lnTo>
                <a:lnTo>
                  <a:pt x="486853" y="3230385"/>
                </a:lnTo>
                <a:cubicBezTo>
                  <a:pt x="488505" y="3230385"/>
                  <a:pt x="490364" y="3230694"/>
                  <a:pt x="490467" y="3232863"/>
                </a:cubicBezTo>
                <a:cubicBezTo>
                  <a:pt x="490054" y="3236425"/>
                  <a:pt x="479213" y="3234877"/>
                  <a:pt x="485614" y="3238439"/>
                </a:cubicBezTo>
                <a:lnTo>
                  <a:pt x="483859" y="3241537"/>
                </a:lnTo>
                <a:lnTo>
                  <a:pt x="491500" y="3245255"/>
                </a:lnTo>
                <a:lnTo>
                  <a:pt x="494907" y="3243706"/>
                </a:lnTo>
                <a:cubicBezTo>
                  <a:pt x="496043" y="3243860"/>
                  <a:pt x="497076" y="3244635"/>
                  <a:pt x="498315" y="3245874"/>
                </a:cubicBezTo>
                <a:lnTo>
                  <a:pt x="495217" y="3247888"/>
                </a:lnTo>
                <a:lnTo>
                  <a:pt x="501206" y="3254239"/>
                </a:lnTo>
                <a:cubicBezTo>
                  <a:pt x="497385" y="3256097"/>
                  <a:pt x="493255" y="3256717"/>
                  <a:pt x="489125" y="3256562"/>
                </a:cubicBezTo>
                <a:lnTo>
                  <a:pt x="477044" y="3253774"/>
                </a:lnTo>
                <a:lnTo>
                  <a:pt x="472191" y="3267250"/>
                </a:lnTo>
                <a:lnTo>
                  <a:pt x="468370" y="3284133"/>
                </a:lnTo>
                <a:lnTo>
                  <a:pt x="470332" y="3284753"/>
                </a:lnTo>
                <a:cubicBezTo>
                  <a:pt x="469403" y="3285682"/>
                  <a:pt x="472294" y="3287851"/>
                  <a:pt x="473224" y="3288625"/>
                </a:cubicBezTo>
                <a:cubicBezTo>
                  <a:pt x="472397" y="3289555"/>
                  <a:pt x="472707" y="3290794"/>
                  <a:pt x="472914" y="3292033"/>
                </a:cubicBezTo>
                <a:lnTo>
                  <a:pt x="472914" y="3293737"/>
                </a:lnTo>
                <a:lnTo>
                  <a:pt x="487163" y="3294356"/>
                </a:lnTo>
                <a:cubicBezTo>
                  <a:pt x="486131" y="3297300"/>
                  <a:pt x="487576" y="3299313"/>
                  <a:pt x="485098" y="3303650"/>
                </a:cubicBezTo>
                <a:lnTo>
                  <a:pt x="465789" y="3301946"/>
                </a:lnTo>
                <a:lnTo>
                  <a:pt x="465273" y="3307058"/>
                </a:lnTo>
                <a:cubicBezTo>
                  <a:pt x="460832" y="3309227"/>
                  <a:pt x="458561" y="3314183"/>
                  <a:pt x="457425" y="3320224"/>
                </a:cubicBezTo>
                <a:lnTo>
                  <a:pt x="456909" y="3327040"/>
                </a:lnTo>
                <a:lnTo>
                  <a:pt x="457012" y="3326885"/>
                </a:lnTo>
                <a:lnTo>
                  <a:pt x="456806" y="3327814"/>
                </a:lnTo>
                <a:lnTo>
                  <a:pt x="456703" y="3328589"/>
                </a:lnTo>
                <a:cubicBezTo>
                  <a:pt x="456703" y="3331222"/>
                  <a:pt x="456599" y="3333855"/>
                  <a:pt x="456393" y="3335869"/>
                </a:cubicBezTo>
                <a:cubicBezTo>
                  <a:pt x="460626" y="3336643"/>
                  <a:pt x="455980" y="3324871"/>
                  <a:pt x="461659" y="3328279"/>
                </a:cubicBezTo>
                <a:cubicBezTo>
                  <a:pt x="460729" y="3333701"/>
                  <a:pt x="461142" y="3337573"/>
                  <a:pt x="461453" y="3341290"/>
                </a:cubicBezTo>
                <a:cubicBezTo>
                  <a:pt x="452262" y="3334475"/>
                  <a:pt x="454637" y="3358484"/>
                  <a:pt x="453708" y="3364060"/>
                </a:cubicBezTo>
                <a:cubicBezTo>
                  <a:pt x="455980" y="3364060"/>
                  <a:pt x="456599" y="3362046"/>
                  <a:pt x="457219" y="3360188"/>
                </a:cubicBezTo>
                <a:cubicBezTo>
                  <a:pt x="457116" y="3357864"/>
                  <a:pt x="457219" y="3355076"/>
                  <a:pt x="458045" y="3352443"/>
                </a:cubicBezTo>
                <a:cubicBezTo>
                  <a:pt x="458767" y="3354921"/>
                  <a:pt x="459594" y="3357245"/>
                  <a:pt x="459594" y="3359413"/>
                </a:cubicBezTo>
                <a:cubicBezTo>
                  <a:pt x="460420" y="3361891"/>
                  <a:pt x="460420" y="3364060"/>
                  <a:pt x="460523" y="3366383"/>
                </a:cubicBezTo>
                <a:cubicBezTo>
                  <a:pt x="460523" y="3371340"/>
                  <a:pt x="459697" y="3376297"/>
                  <a:pt x="458251" y="3380789"/>
                </a:cubicBezTo>
                <a:lnTo>
                  <a:pt x="456806" y="3388224"/>
                </a:lnTo>
                <a:lnTo>
                  <a:pt x="459078" y="3391786"/>
                </a:lnTo>
                <a:lnTo>
                  <a:pt x="455877" y="3393336"/>
                </a:lnTo>
                <a:lnTo>
                  <a:pt x="455257" y="3396279"/>
                </a:lnTo>
                <a:lnTo>
                  <a:pt x="454844" y="3402784"/>
                </a:lnTo>
                <a:lnTo>
                  <a:pt x="456599" y="3404178"/>
                </a:lnTo>
                <a:lnTo>
                  <a:pt x="454947" y="3406502"/>
                </a:lnTo>
                <a:lnTo>
                  <a:pt x="455463" y="3411768"/>
                </a:lnTo>
                <a:cubicBezTo>
                  <a:pt x="451953" y="3411303"/>
                  <a:pt x="453192" y="3416880"/>
                  <a:pt x="451023" y="3416725"/>
                </a:cubicBezTo>
                <a:cubicBezTo>
                  <a:pt x="452779" y="3420597"/>
                  <a:pt x="453605" y="3424625"/>
                  <a:pt x="454018" y="3428497"/>
                </a:cubicBezTo>
                <a:lnTo>
                  <a:pt x="454224" y="3439649"/>
                </a:lnTo>
                <a:lnTo>
                  <a:pt x="456496" y="3440114"/>
                </a:lnTo>
                <a:lnTo>
                  <a:pt x="460110" y="3443212"/>
                </a:lnTo>
                <a:lnTo>
                  <a:pt x="462691" y="3441973"/>
                </a:lnTo>
                <a:cubicBezTo>
                  <a:pt x="463827" y="3442128"/>
                  <a:pt x="463827" y="3442128"/>
                  <a:pt x="465066" y="3442282"/>
                </a:cubicBezTo>
                <a:cubicBezTo>
                  <a:pt x="465995" y="3443677"/>
                  <a:pt x="467545" y="3444451"/>
                  <a:pt x="467751" y="3446310"/>
                </a:cubicBezTo>
                <a:lnTo>
                  <a:pt x="465892" y="3448169"/>
                </a:lnTo>
                <a:lnTo>
                  <a:pt x="467648" y="3449718"/>
                </a:lnTo>
                <a:lnTo>
                  <a:pt x="470642" y="3455449"/>
                </a:lnTo>
                <a:lnTo>
                  <a:pt x="471985" y="3453745"/>
                </a:lnTo>
                <a:lnTo>
                  <a:pt x="472191" y="3448014"/>
                </a:lnTo>
                <a:cubicBezTo>
                  <a:pt x="471365" y="3441044"/>
                  <a:pt x="464550" y="3438875"/>
                  <a:pt x="462898" y="3431750"/>
                </a:cubicBezTo>
                <a:cubicBezTo>
                  <a:pt x="462691" y="3432369"/>
                  <a:pt x="465789" y="3432059"/>
                  <a:pt x="465789" y="3432059"/>
                </a:cubicBezTo>
                <a:cubicBezTo>
                  <a:pt x="464550" y="3428807"/>
                  <a:pt x="460007" y="3422456"/>
                  <a:pt x="462072" y="3419203"/>
                </a:cubicBezTo>
                <a:lnTo>
                  <a:pt x="462588" y="3418893"/>
                </a:lnTo>
                <a:lnTo>
                  <a:pt x="462278" y="3417809"/>
                </a:lnTo>
                <a:cubicBezTo>
                  <a:pt x="461762" y="3414092"/>
                  <a:pt x="461659" y="3410064"/>
                  <a:pt x="462382" y="3405417"/>
                </a:cubicBezTo>
                <a:lnTo>
                  <a:pt x="470849" y="3403094"/>
                </a:lnTo>
                <a:lnTo>
                  <a:pt x="471261" y="3392561"/>
                </a:lnTo>
                <a:cubicBezTo>
                  <a:pt x="471985" y="3387759"/>
                  <a:pt x="471881" y="3383267"/>
                  <a:pt x="470332" y="3378465"/>
                </a:cubicBezTo>
                <a:cubicBezTo>
                  <a:pt x="470745" y="3377071"/>
                  <a:pt x="473017" y="3377071"/>
                  <a:pt x="475289" y="3377226"/>
                </a:cubicBezTo>
                <a:lnTo>
                  <a:pt x="475082" y="3373973"/>
                </a:lnTo>
                <a:lnTo>
                  <a:pt x="470642" y="3378001"/>
                </a:lnTo>
                <a:cubicBezTo>
                  <a:pt x="469196" y="3377071"/>
                  <a:pt x="468577" y="3376142"/>
                  <a:pt x="468680" y="3375057"/>
                </a:cubicBezTo>
                <a:cubicBezTo>
                  <a:pt x="468784" y="3374128"/>
                  <a:pt x="469403" y="3373199"/>
                  <a:pt x="470332" y="3372579"/>
                </a:cubicBezTo>
                <a:cubicBezTo>
                  <a:pt x="471158" y="3371960"/>
                  <a:pt x="472294" y="3371495"/>
                  <a:pt x="473224" y="3371650"/>
                </a:cubicBezTo>
                <a:lnTo>
                  <a:pt x="475082" y="3373509"/>
                </a:lnTo>
                <a:lnTo>
                  <a:pt x="474876" y="3369017"/>
                </a:lnTo>
                <a:lnTo>
                  <a:pt x="467958" y="3368397"/>
                </a:lnTo>
                <a:cubicBezTo>
                  <a:pt x="463414" y="3366383"/>
                  <a:pt x="460007" y="3361736"/>
                  <a:pt x="459387" y="3357090"/>
                </a:cubicBezTo>
                <a:cubicBezTo>
                  <a:pt x="458974" y="3353992"/>
                  <a:pt x="459800" y="3350894"/>
                  <a:pt x="462588" y="3348261"/>
                </a:cubicBezTo>
                <a:lnTo>
                  <a:pt x="476115" y="3352753"/>
                </a:lnTo>
                <a:lnTo>
                  <a:pt x="477147" y="3346712"/>
                </a:lnTo>
                <a:cubicBezTo>
                  <a:pt x="478593" y="3342065"/>
                  <a:pt x="479316" y="3337263"/>
                  <a:pt x="480038" y="3332461"/>
                </a:cubicBezTo>
                <a:lnTo>
                  <a:pt x="480555" y="3323168"/>
                </a:lnTo>
                <a:lnTo>
                  <a:pt x="476837" y="3324407"/>
                </a:lnTo>
                <a:cubicBezTo>
                  <a:pt x="474876" y="3324407"/>
                  <a:pt x="472811" y="3323942"/>
                  <a:pt x="470849" y="3322703"/>
                </a:cubicBezTo>
                <a:cubicBezTo>
                  <a:pt x="470332" y="3321618"/>
                  <a:pt x="470126" y="3320534"/>
                  <a:pt x="470229" y="3319295"/>
                </a:cubicBezTo>
                <a:cubicBezTo>
                  <a:pt x="470332" y="3317591"/>
                  <a:pt x="471055" y="3315732"/>
                  <a:pt x="471985" y="3314183"/>
                </a:cubicBezTo>
                <a:lnTo>
                  <a:pt x="473946" y="3312015"/>
                </a:lnTo>
                <a:lnTo>
                  <a:pt x="473224" y="3311086"/>
                </a:lnTo>
                <a:lnTo>
                  <a:pt x="474566" y="3311240"/>
                </a:lnTo>
                <a:lnTo>
                  <a:pt x="475702" y="3309846"/>
                </a:lnTo>
                <a:lnTo>
                  <a:pt x="477354" y="3309072"/>
                </a:lnTo>
                <a:lnTo>
                  <a:pt x="475702" y="3305819"/>
                </a:lnTo>
                <a:cubicBezTo>
                  <a:pt x="476321" y="3305664"/>
                  <a:pt x="476734" y="3305974"/>
                  <a:pt x="477044" y="3306284"/>
                </a:cubicBezTo>
                <a:cubicBezTo>
                  <a:pt x="477251" y="3306748"/>
                  <a:pt x="477457" y="3307368"/>
                  <a:pt x="477560" y="3307988"/>
                </a:cubicBezTo>
                <a:lnTo>
                  <a:pt x="477870" y="3308917"/>
                </a:lnTo>
                <a:lnTo>
                  <a:pt x="479522" y="3307988"/>
                </a:lnTo>
                <a:lnTo>
                  <a:pt x="483549" y="3310621"/>
                </a:lnTo>
                <a:lnTo>
                  <a:pt x="486337" y="3304735"/>
                </a:lnTo>
                <a:cubicBezTo>
                  <a:pt x="486337" y="3310156"/>
                  <a:pt x="488609" y="3309536"/>
                  <a:pt x="488918" y="3312790"/>
                </a:cubicBezTo>
                <a:lnTo>
                  <a:pt x="488712" y="3314648"/>
                </a:lnTo>
                <a:lnTo>
                  <a:pt x="489022" y="3314958"/>
                </a:lnTo>
                <a:lnTo>
                  <a:pt x="491810" y="3305045"/>
                </a:lnTo>
                <a:cubicBezTo>
                  <a:pt x="492946" y="3300862"/>
                  <a:pt x="494701" y="3297145"/>
                  <a:pt x="498521" y="3294511"/>
                </a:cubicBezTo>
                <a:cubicBezTo>
                  <a:pt x="496456" y="3293737"/>
                  <a:pt x="494494" y="3292963"/>
                  <a:pt x="493875" y="3294976"/>
                </a:cubicBezTo>
                <a:cubicBezTo>
                  <a:pt x="492429" y="3292343"/>
                  <a:pt x="498418" y="3284908"/>
                  <a:pt x="500793" y="3282120"/>
                </a:cubicBezTo>
                <a:cubicBezTo>
                  <a:pt x="499863" y="3280416"/>
                  <a:pt x="500586" y="3270503"/>
                  <a:pt x="496250" y="3274840"/>
                </a:cubicBezTo>
                <a:cubicBezTo>
                  <a:pt x="498108" y="3268799"/>
                  <a:pt x="499760" y="3263687"/>
                  <a:pt x="500896" y="3257491"/>
                </a:cubicBezTo>
                <a:lnTo>
                  <a:pt x="502755" y="3250211"/>
                </a:lnTo>
                <a:lnTo>
                  <a:pt x="501103" y="3249746"/>
                </a:lnTo>
                <a:cubicBezTo>
                  <a:pt x="501412" y="3247888"/>
                  <a:pt x="500896" y="3246184"/>
                  <a:pt x="501206" y="3244325"/>
                </a:cubicBezTo>
                <a:lnTo>
                  <a:pt x="504820" y="3242622"/>
                </a:lnTo>
                <a:lnTo>
                  <a:pt x="505646" y="3239523"/>
                </a:lnTo>
                <a:cubicBezTo>
                  <a:pt x="506988" y="3239988"/>
                  <a:pt x="507815" y="3240763"/>
                  <a:pt x="508434" y="3241537"/>
                </a:cubicBezTo>
                <a:lnTo>
                  <a:pt x="508950" y="3242776"/>
                </a:lnTo>
                <a:lnTo>
                  <a:pt x="510499" y="3243551"/>
                </a:lnTo>
                <a:lnTo>
                  <a:pt x="510396" y="3244945"/>
                </a:lnTo>
                <a:lnTo>
                  <a:pt x="511015" y="3245719"/>
                </a:lnTo>
                <a:cubicBezTo>
                  <a:pt x="511738" y="3246029"/>
                  <a:pt x="512771" y="3245874"/>
                  <a:pt x="514423" y="3245410"/>
                </a:cubicBezTo>
                <a:cubicBezTo>
                  <a:pt x="512564" y="3251296"/>
                  <a:pt x="509570" y="3256097"/>
                  <a:pt x="507918" y="3261364"/>
                </a:cubicBezTo>
                <a:cubicBezTo>
                  <a:pt x="506575" y="3266011"/>
                  <a:pt x="505852" y="3270812"/>
                  <a:pt x="509363" y="3276389"/>
                </a:cubicBezTo>
                <a:cubicBezTo>
                  <a:pt x="508744" y="3278402"/>
                  <a:pt x="506885" y="3277008"/>
                  <a:pt x="504717" y="3277008"/>
                </a:cubicBezTo>
                <a:cubicBezTo>
                  <a:pt x="504923" y="3278557"/>
                  <a:pt x="507815" y="3278712"/>
                  <a:pt x="507298" y="3280726"/>
                </a:cubicBezTo>
                <a:cubicBezTo>
                  <a:pt x="509260" y="3279177"/>
                  <a:pt x="512151" y="3274375"/>
                  <a:pt x="514320" y="3270038"/>
                </a:cubicBezTo>
                <a:cubicBezTo>
                  <a:pt x="515662" y="3265546"/>
                  <a:pt x="516488" y="3260589"/>
                  <a:pt x="512771" y="3257956"/>
                </a:cubicBezTo>
                <a:cubicBezTo>
                  <a:pt x="514423" y="3256252"/>
                  <a:pt x="515559" y="3253929"/>
                  <a:pt x="516591" y="3251760"/>
                </a:cubicBezTo>
                <a:lnTo>
                  <a:pt x="518347" y="3248972"/>
                </a:lnTo>
                <a:lnTo>
                  <a:pt x="517830" y="3248353"/>
                </a:lnTo>
                <a:lnTo>
                  <a:pt x="518759" y="3248353"/>
                </a:lnTo>
                <a:lnTo>
                  <a:pt x="520205" y="3246029"/>
                </a:lnTo>
                <a:cubicBezTo>
                  <a:pt x="521857" y="3246803"/>
                  <a:pt x="523406" y="3247423"/>
                  <a:pt x="524645" y="3248042"/>
                </a:cubicBezTo>
                <a:lnTo>
                  <a:pt x="530015" y="3245564"/>
                </a:lnTo>
                <a:lnTo>
                  <a:pt x="532596" y="3244015"/>
                </a:lnTo>
                <a:lnTo>
                  <a:pt x="533525" y="3242002"/>
                </a:lnTo>
                <a:cubicBezTo>
                  <a:pt x="534661" y="3235806"/>
                  <a:pt x="535797" y="3229765"/>
                  <a:pt x="538068" y="3224653"/>
                </a:cubicBezTo>
                <a:cubicBezTo>
                  <a:pt x="540030" y="3223259"/>
                  <a:pt x="541579" y="3220936"/>
                  <a:pt x="543748" y="3218767"/>
                </a:cubicBezTo>
                <a:cubicBezTo>
                  <a:pt x="544780" y="3217683"/>
                  <a:pt x="546122" y="3215824"/>
                  <a:pt x="546535" y="3214585"/>
                </a:cubicBezTo>
                <a:cubicBezTo>
                  <a:pt x="547568" y="3213501"/>
                  <a:pt x="548910" y="3211797"/>
                  <a:pt x="549943" y="3210713"/>
                </a:cubicBezTo>
                <a:lnTo>
                  <a:pt x="555106" y="3202813"/>
                </a:lnTo>
                <a:lnTo>
                  <a:pt x="555106" y="3202348"/>
                </a:lnTo>
                <a:cubicBezTo>
                  <a:pt x="555416" y="3199870"/>
                  <a:pt x="556448" y="3197082"/>
                  <a:pt x="558410" y="3194294"/>
                </a:cubicBezTo>
                <a:lnTo>
                  <a:pt x="563160" y="3190576"/>
                </a:lnTo>
                <a:lnTo>
                  <a:pt x="572246" y="3177410"/>
                </a:lnTo>
                <a:lnTo>
                  <a:pt x="568220" y="3175861"/>
                </a:lnTo>
                <a:cubicBezTo>
                  <a:pt x="565535" y="3174777"/>
                  <a:pt x="562954" y="3173073"/>
                  <a:pt x="561404" y="3170749"/>
                </a:cubicBezTo>
                <a:lnTo>
                  <a:pt x="561301" y="3169665"/>
                </a:lnTo>
                <a:lnTo>
                  <a:pt x="560268" y="3168891"/>
                </a:lnTo>
                <a:lnTo>
                  <a:pt x="560062" y="3169045"/>
                </a:lnTo>
                <a:cubicBezTo>
                  <a:pt x="560062" y="3168116"/>
                  <a:pt x="559236" y="3168271"/>
                  <a:pt x="559236" y="3169200"/>
                </a:cubicBezTo>
                <a:cubicBezTo>
                  <a:pt x="557894" y="3168426"/>
                  <a:pt x="556758" y="3167961"/>
                  <a:pt x="556242" y="3167497"/>
                </a:cubicBezTo>
                <a:cubicBezTo>
                  <a:pt x="555622" y="3166877"/>
                  <a:pt x="555622" y="3166257"/>
                  <a:pt x="556448" y="3165328"/>
                </a:cubicBezTo>
                <a:cubicBezTo>
                  <a:pt x="557171" y="3163469"/>
                  <a:pt x="558926" y="3164089"/>
                  <a:pt x="560578" y="3162230"/>
                </a:cubicBezTo>
                <a:cubicBezTo>
                  <a:pt x="563057" y="3158513"/>
                  <a:pt x="555725" y="3154331"/>
                  <a:pt x="560578" y="3146896"/>
                </a:cubicBezTo>
                <a:cubicBezTo>
                  <a:pt x="562333" y="3148444"/>
                  <a:pt x="566567" y="3144417"/>
                  <a:pt x="569355" y="3146585"/>
                </a:cubicBezTo>
                <a:cubicBezTo>
                  <a:pt x="578442" y="3152007"/>
                  <a:pt x="576789" y="3154795"/>
                  <a:pt x="574518" y="3161146"/>
                </a:cubicBezTo>
                <a:cubicBezTo>
                  <a:pt x="574518" y="3160217"/>
                  <a:pt x="573692" y="3161146"/>
                  <a:pt x="573692" y="3161146"/>
                </a:cubicBezTo>
                <a:cubicBezTo>
                  <a:pt x="572040" y="3163160"/>
                  <a:pt x="577306" y="3163160"/>
                  <a:pt x="575757" y="3165948"/>
                </a:cubicBezTo>
                <a:lnTo>
                  <a:pt x="574931" y="3166567"/>
                </a:lnTo>
                <a:lnTo>
                  <a:pt x="574931" y="3166877"/>
                </a:lnTo>
                <a:lnTo>
                  <a:pt x="577925" y="3169665"/>
                </a:lnTo>
                <a:lnTo>
                  <a:pt x="577925" y="3169510"/>
                </a:lnTo>
                <a:lnTo>
                  <a:pt x="577925" y="3169200"/>
                </a:lnTo>
                <a:cubicBezTo>
                  <a:pt x="578442" y="3165948"/>
                  <a:pt x="580507" y="3164399"/>
                  <a:pt x="582262" y="3163624"/>
                </a:cubicBezTo>
                <a:lnTo>
                  <a:pt x="584121" y="3163005"/>
                </a:lnTo>
                <a:lnTo>
                  <a:pt x="585360" y="3161610"/>
                </a:lnTo>
                <a:lnTo>
                  <a:pt x="584533" y="3161920"/>
                </a:lnTo>
                <a:cubicBezTo>
                  <a:pt x="583811" y="3162075"/>
                  <a:pt x="583501" y="3162385"/>
                  <a:pt x="583501" y="3162385"/>
                </a:cubicBezTo>
                <a:cubicBezTo>
                  <a:pt x="581643" y="3161765"/>
                  <a:pt x="581643" y="3160836"/>
                  <a:pt x="581643" y="3161765"/>
                </a:cubicBezTo>
                <a:cubicBezTo>
                  <a:pt x="579784" y="3160371"/>
                  <a:pt x="577203" y="3158977"/>
                  <a:pt x="577925" y="3157274"/>
                </a:cubicBezTo>
                <a:cubicBezTo>
                  <a:pt x="579474" y="3155105"/>
                  <a:pt x="581746" y="3154485"/>
                  <a:pt x="584224" y="3154640"/>
                </a:cubicBezTo>
                <a:lnTo>
                  <a:pt x="589696" y="3156034"/>
                </a:lnTo>
                <a:lnTo>
                  <a:pt x="588767" y="3153711"/>
                </a:lnTo>
                <a:cubicBezTo>
                  <a:pt x="589077" y="3152781"/>
                  <a:pt x="590006" y="3151852"/>
                  <a:pt x="591039" y="3150768"/>
                </a:cubicBezTo>
                <a:cubicBezTo>
                  <a:pt x="592175" y="3149684"/>
                  <a:pt x="592588" y="3148289"/>
                  <a:pt x="593827" y="3146585"/>
                </a:cubicBezTo>
                <a:cubicBezTo>
                  <a:pt x="594446" y="3144572"/>
                  <a:pt x="595066" y="3142558"/>
                  <a:pt x="595169" y="3139770"/>
                </a:cubicBezTo>
                <a:cubicBezTo>
                  <a:pt x="596201" y="3141474"/>
                  <a:pt x="595479" y="3143488"/>
                  <a:pt x="596718" y="3144572"/>
                </a:cubicBezTo>
                <a:cubicBezTo>
                  <a:pt x="599093" y="3136827"/>
                  <a:pt x="602913" y="3129392"/>
                  <a:pt x="606734" y="3121957"/>
                </a:cubicBezTo>
                <a:cubicBezTo>
                  <a:pt x="611174" y="3114677"/>
                  <a:pt x="614788" y="3108017"/>
                  <a:pt x="617472" y="3099497"/>
                </a:cubicBezTo>
                <a:cubicBezTo>
                  <a:pt x="613962" y="3096089"/>
                  <a:pt x="611690" y="3108326"/>
                  <a:pt x="608076" y="3102905"/>
                </a:cubicBezTo>
                <a:cubicBezTo>
                  <a:pt x="610658" y="3099342"/>
                  <a:pt x="613136" y="3096554"/>
                  <a:pt x="615304" y="3094385"/>
                </a:cubicBezTo>
                <a:lnTo>
                  <a:pt x="621499" y="3088964"/>
                </a:lnTo>
                <a:lnTo>
                  <a:pt x="620054" y="3087106"/>
                </a:lnTo>
                <a:cubicBezTo>
                  <a:pt x="619538" y="3086021"/>
                  <a:pt x="619228" y="3084782"/>
                  <a:pt x="619641" y="3083852"/>
                </a:cubicBezTo>
                <a:cubicBezTo>
                  <a:pt x="619641" y="3083852"/>
                  <a:pt x="619744" y="3083698"/>
                  <a:pt x="620157" y="3082768"/>
                </a:cubicBezTo>
                <a:cubicBezTo>
                  <a:pt x="620673" y="3083852"/>
                  <a:pt x="621190" y="3085247"/>
                  <a:pt x="621603" y="3086641"/>
                </a:cubicBezTo>
                <a:lnTo>
                  <a:pt x="622016" y="3088499"/>
                </a:lnTo>
                <a:lnTo>
                  <a:pt x="622429" y="3088190"/>
                </a:lnTo>
                <a:cubicBezTo>
                  <a:pt x="624287" y="3085866"/>
                  <a:pt x="625939" y="3083543"/>
                  <a:pt x="627282" y="3080909"/>
                </a:cubicBezTo>
                <a:lnTo>
                  <a:pt x="628728" y="3076882"/>
                </a:lnTo>
                <a:lnTo>
                  <a:pt x="627075" y="3078431"/>
                </a:lnTo>
                <a:cubicBezTo>
                  <a:pt x="625114" y="3078276"/>
                  <a:pt x="624184" y="3074714"/>
                  <a:pt x="623048" y="3073010"/>
                </a:cubicBezTo>
                <a:cubicBezTo>
                  <a:pt x="624287" y="3072855"/>
                  <a:pt x="625526" y="3072700"/>
                  <a:pt x="624700" y="3072235"/>
                </a:cubicBezTo>
                <a:cubicBezTo>
                  <a:pt x="625939" y="3072081"/>
                  <a:pt x="626868" y="3072235"/>
                  <a:pt x="627695" y="3072545"/>
                </a:cubicBezTo>
                <a:lnTo>
                  <a:pt x="629553" y="3074404"/>
                </a:lnTo>
                <a:lnTo>
                  <a:pt x="630380" y="3071926"/>
                </a:lnTo>
                <a:cubicBezTo>
                  <a:pt x="632031" y="3072855"/>
                  <a:pt x="633581" y="3072700"/>
                  <a:pt x="635129" y="3072235"/>
                </a:cubicBezTo>
                <a:lnTo>
                  <a:pt x="639776" y="3070841"/>
                </a:lnTo>
                <a:lnTo>
                  <a:pt x="639776" y="3070686"/>
                </a:lnTo>
                <a:lnTo>
                  <a:pt x="639672" y="3068983"/>
                </a:lnTo>
                <a:cubicBezTo>
                  <a:pt x="638743" y="3066969"/>
                  <a:pt x="635955" y="3064800"/>
                  <a:pt x="639983" y="3062941"/>
                </a:cubicBezTo>
                <a:cubicBezTo>
                  <a:pt x="642357" y="3064181"/>
                  <a:pt x="641015" y="3065575"/>
                  <a:pt x="641118" y="3067124"/>
                </a:cubicBezTo>
                <a:lnTo>
                  <a:pt x="641738" y="3068208"/>
                </a:lnTo>
                <a:lnTo>
                  <a:pt x="642151" y="3068053"/>
                </a:lnTo>
                <a:lnTo>
                  <a:pt x="642254" y="3068363"/>
                </a:lnTo>
                <a:lnTo>
                  <a:pt x="646797" y="3061857"/>
                </a:lnTo>
                <a:cubicBezTo>
                  <a:pt x="648656" y="3059689"/>
                  <a:pt x="651031" y="3057675"/>
                  <a:pt x="654541" y="3054887"/>
                </a:cubicBezTo>
                <a:cubicBezTo>
                  <a:pt x="649688" y="3056126"/>
                  <a:pt x="650824" y="3052099"/>
                  <a:pt x="646074" y="3050550"/>
                </a:cubicBezTo>
                <a:cubicBezTo>
                  <a:pt x="641531" y="3053338"/>
                  <a:pt x="647210" y="3056746"/>
                  <a:pt x="641015" y="3059689"/>
                </a:cubicBezTo>
                <a:lnTo>
                  <a:pt x="641118" y="3058450"/>
                </a:lnTo>
                <a:lnTo>
                  <a:pt x="639363" y="3060773"/>
                </a:lnTo>
                <a:cubicBezTo>
                  <a:pt x="637607" y="3062477"/>
                  <a:pt x="635542" y="3064026"/>
                  <a:pt x="634200" y="3064491"/>
                </a:cubicBezTo>
                <a:cubicBezTo>
                  <a:pt x="631722" y="3063406"/>
                  <a:pt x="630586" y="3061857"/>
                  <a:pt x="630380" y="3059998"/>
                </a:cubicBezTo>
                <a:cubicBezTo>
                  <a:pt x="630070" y="3056126"/>
                  <a:pt x="634613" y="3051789"/>
                  <a:pt x="638743" y="3052563"/>
                </a:cubicBezTo>
                <a:lnTo>
                  <a:pt x="641634" y="3054422"/>
                </a:lnTo>
                <a:lnTo>
                  <a:pt x="643183" y="3051015"/>
                </a:lnTo>
                <a:cubicBezTo>
                  <a:pt x="644732" y="3048072"/>
                  <a:pt x="646281" y="3045128"/>
                  <a:pt x="644938" y="3042185"/>
                </a:cubicBezTo>
                <a:cubicBezTo>
                  <a:pt x="645558" y="3040172"/>
                  <a:pt x="650205" y="3046832"/>
                  <a:pt x="646694" y="3048536"/>
                </a:cubicBezTo>
                <a:cubicBezTo>
                  <a:pt x="648036" y="3050085"/>
                  <a:pt x="649688" y="3051015"/>
                  <a:pt x="651444" y="3051324"/>
                </a:cubicBezTo>
                <a:lnTo>
                  <a:pt x="654851" y="3050705"/>
                </a:lnTo>
                <a:lnTo>
                  <a:pt x="654541" y="3047142"/>
                </a:lnTo>
                <a:cubicBezTo>
                  <a:pt x="654748" y="3045748"/>
                  <a:pt x="655471" y="3044664"/>
                  <a:pt x="656503" y="3043734"/>
                </a:cubicBezTo>
                <a:lnTo>
                  <a:pt x="657949" y="3043270"/>
                </a:lnTo>
                <a:lnTo>
                  <a:pt x="657949" y="3038468"/>
                </a:lnTo>
                <a:cubicBezTo>
                  <a:pt x="657742" y="3036609"/>
                  <a:pt x="657742" y="3034906"/>
                  <a:pt x="658982" y="3033202"/>
                </a:cubicBezTo>
                <a:cubicBezTo>
                  <a:pt x="660634" y="3035215"/>
                  <a:pt x="662286" y="3036299"/>
                  <a:pt x="664351" y="3036919"/>
                </a:cubicBezTo>
                <a:lnTo>
                  <a:pt x="670650" y="3038003"/>
                </a:lnTo>
                <a:lnTo>
                  <a:pt x="670856" y="3030413"/>
                </a:lnTo>
                <a:lnTo>
                  <a:pt x="671888" y="3028245"/>
                </a:lnTo>
                <a:lnTo>
                  <a:pt x="659395" y="3028709"/>
                </a:lnTo>
                <a:cubicBezTo>
                  <a:pt x="654541" y="3028090"/>
                  <a:pt x="649688" y="3026851"/>
                  <a:pt x="644938" y="3024837"/>
                </a:cubicBezTo>
                <a:cubicBezTo>
                  <a:pt x="645042" y="3022514"/>
                  <a:pt x="645042" y="3020190"/>
                  <a:pt x="642667" y="3020190"/>
                </a:cubicBezTo>
                <a:cubicBezTo>
                  <a:pt x="642460" y="3016318"/>
                  <a:pt x="642873" y="3012600"/>
                  <a:pt x="643906" y="3009192"/>
                </a:cubicBezTo>
                <a:lnTo>
                  <a:pt x="646591" y="3003461"/>
                </a:lnTo>
                <a:lnTo>
                  <a:pt x="642048" y="2996801"/>
                </a:lnTo>
                <a:lnTo>
                  <a:pt x="641634" y="2996956"/>
                </a:lnTo>
                <a:cubicBezTo>
                  <a:pt x="639879" y="2997111"/>
                  <a:pt x="637814" y="2996801"/>
                  <a:pt x="636265" y="2995716"/>
                </a:cubicBezTo>
                <a:close/>
                <a:moveTo>
                  <a:pt x="314416" y="2992154"/>
                </a:moveTo>
                <a:cubicBezTo>
                  <a:pt x="315758" y="2992154"/>
                  <a:pt x="316893" y="2992928"/>
                  <a:pt x="317823" y="2994632"/>
                </a:cubicBezTo>
                <a:cubicBezTo>
                  <a:pt x="313589" y="2997730"/>
                  <a:pt x="311628" y="3002532"/>
                  <a:pt x="308530" y="3002687"/>
                </a:cubicBezTo>
                <a:cubicBezTo>
                  <a:pt x="307497" y="3002687"/>
                  <a:pt x="306258" y="3002222"/>
                  <a:pt x="304813" y="3000828"/>
                </a:cubicBezTo>
                <a:cubicBezTo>
                  <a:pt x="305535" y="2999124"/>
                  <a:pt x="308323" y="2995097"/>
                  <a:pt x="311421" y="2993084"/>
                </a:cubicBezTo>
                <a:cubicBezTo>
                  <a:pt x="312350" y="2992464"/>
                  <a:pt x="313383" y="2992154"/>
                  <a:pt x="314416" y="2992154"/>
                </a:cubicBezTo>
                <a:close/>
                <a:moveTo>
                  <a:pt x="6807489" y="2991811"/>
                </a:moveTo>
                <a:cubicBezTo>
                  <a:pt x="6810432" y="2995219"/>
                  <a:pt x="6815388" y="2996251"/>
                  <a:pt x="6818022" y="2997697"/>
                </a:cubicBezTo>
                <a:cubicBezTo>
                  <a:pt x="6819416" y="3003376"/>
                  <a:pt x="6818022" y="3007609"/>
                  <a:pt x="6812445" y="3012669"/>
                </a:cubicBezTo>
                <a:cubicBezTo>
                  <a:pt x="6802842" y="3010500"/>
                  <a:pt x="6805475" y="3011946"/>
                  <a:pt x="6797111" y="3005648"/>
                </a:cubicBezTo>
                <a:cubicBezTo>
                  <a:pt x="6800518" y="3001104"/>
                  <a:pt x="6803926" y="2996458"/>
                  <a:pt x="6807489" y="2991811"/>
                </a:cubicBezTo>
                <a:close/>
                <a:moveTo>
                  <a:pt x="423351" y="2991534"/>
                </a:moveTo>
                <a:cubicBezTo>
                  <a:pt x="424280" y="2993084"/>
                  <a:pt x="421802" y="2995872"/>
                  <a:pt x="421079" y="2997730"/>
                </a:cubicBezTo>
                <a:cubicBezTo>
                  <a:pt x="420150" y="2996956"/>
                  <a:pt x="419221" y="2996181"/>
                  <a:pt x="419221" y="2997111"/>
                </a:cubicBezTo>
                <a:cubicBezTo>
                  <a:pt x="418291" y="2996336"/>
                  <a:pt x="417878" y="2995562"/>
                  <a:pt x="417672" y="2994787"/>
                </a:cubicBezTo>
                <a:cubicBezTo>
                  <a:pt x="417568" y="2994013"/>
                  <a:pt x="417672" y="2993084"/>
                  <a:pt x="418085" y="2992309"/>
                </a:cubicBezTo>
                <a:cubicBezTo>
                  <a:pt x="418911" y="2991225"/>
                  <a:pt x="420666" y="2991070"/>
                  <a:pt x="423351" y="2991534"/>
                </a:cubicBezTo>
                <a:close/>
                <a:moveTo>
                  <a:pt x="487886" y="2987817"/>
                </a:moveTo>
                <a:cubicBezTo>
                  <a:pt x="488712" y="2988591"/>
                  <a:pt x="491397" y="2988591"/>
                  <a:pt x="493152" y="2989211"/>
                </a:cubicBezTo>
                <a:cubicBezTo>
                  <a:pt x="493152" y="2990140"/>
                  <a:pt x="493978" y="2990915"/>
                  <a:pt x="493978" y="2991689"/>
                </a:cubicBezTo>
                <a:cubicBezTo>
                  <a:pt x="493049" y="2991689"/>
                  <a:pt x="491294" y="2992464"/>
                  <a:pt x="491294" y="2991689"/>
                </a:cubicBezTo>
                <a:cubicBezTo>
                  <a:pt x="490467" y="2991689"/>
                  <a:pt x="490467" y="2990140"/>
                  <a:pt x="490467" y="2990140"/>
                </a:cubicBezTo>
                <a:cubicBezTo>
                  <a:pt x="489538" y="2990140"/>
                  <a:pt x="488609" y="2990295"/>
                  <a:pt x="487783" y="2989521"/>
                </a:cubicBezTo>
                <a:cubicBezTo>
                  <a:pt x="488712" y="2988591"/>
                  <a:pt x="487783" y="2988591"/>
                  <a:pt x="487886" y="2987817"/>
                </a:cubicBezTo>
                <a:close/>
                <a:moveTo>
                  <a:pt x="296449" y="2985493"/>
                </a:moveTo>
                <a:cubicBezTo>
                  <a:pt x="299340" y="2984409"/>
                  <a:pt x="302334" y="2986268"/>
                  <a:pt x="305845" y="2985648"/>
                </a:cubicBezTo>
                <a:cubicBezTo>
                  <a:pt x="306775" y="2987662"/>
                  <a:pt x="307187" y="2989056"/>
                  <a:pt x="307084" y="2990140"/>
                </a:cubicBezTo>
                <a:lnTo>
                  <a:pt x="306775" y="2990450"/>
                </a:lnTo>
                <a:lnTo>
                  <a:pt x="302438" y="2998815"/>
                </a:lnTo>
                <a:cubicBezTo>
                  <a:pt x="301508" y="2999589"/>
                  <a:pt x="297997" y="3000983"/>
                  <a:pt x="297068" y="3000054"/>
                </a:cubicBezTo>
                <a:cubicBezTo>
                  <a:pt x="296242" y="2999124"/>
                  <a:pt x="296242" y="2998350"/>
                  <a:pt x="296242" y="2997420"/>
                </a:cubicBezTo>
                <a:lnTo>
                  <a:pt x="298514" y="2993703"/>
                </a:lnTo>
                <a:lnTo>
                  <a:pt x="296655" y="2993703"/>
                </a:lnTo>
                <a:cubicBezTo>
                  <a:pt x="294694" y="2993238"/>
                  <a:pt x="293041" y="2992464"/>
                  <a:pt x="292525" y="2991534"/>
                </a:cubicBezTo>
                <a:cubicBezTo>
                  <a:pt x="291906" y="2989211"/>
                  <a:pt x="292938" y="2986113"/>
                  <a:pt x="296449" y="2985493"/>
                </a:cubicBezTo>
                <a:close/>
                <a:moveTo>
                  <a:pt x="711023" y="2984719"/>
                </a:moveTo>
                <a:cubicBezTo>
                  <a:pt x="712675" y="2985493"/>
                  <a:pt x="713501" y="2986268"/>
                  <a:pt x="713501" y="2987972"/>
                </a:cubicBezTo>
                <a:cubicBezTo>
                  <a:pt x="712881" y="2987352"/>
                  <a:pt x="711229" y="2986733"/>
                  <a:pt x="710919" y="2985803"/>
                </a:cubicBezTo>
                <a:cubicBezTo>
                  <a:pt x="710713" y="2985493"/>
                  <a:pt x="710816" y="2985183"/>
                  <a:pt x="711023" y="2984719"/>
                </a:cubicBezTo>
                <a:close/>
                <a:moveTo>
                  <a:pt x="497592" y="2983170"/>
                </a:moveTo>
                <a:cubicBezTo>
                  <a:pt x="497592" y="2983170"/>
                  <a:pt x="498418" y="2983945"/>
                  <a:pt x="499244" y="2984874"/>
                </a:cubicBezTo>
                <a:cubicBezTo>
                  <a:pt x="500070" y="2985648"/>
                  <a:pt x="500999" y="2985648"/>
                  <a:pt x="500999" y="2985648"/>
                </a:cubicBezTo>
                <a:cubicBezTo>
                  <a:pt x="501825" y="2986423"/>
                  <a:pt x="501825" y="2987197"/>
                  <a:pt x="500896" y="2988127"/>
                </a:cubicBezTo>
                <a:cubicBezTo>
                  <a:pt x="500896" y="2988127"/>
                  <a:pt x="499141" y="2987352"/>
                  <a:pt x="499141" y="2987352"/>
                </a:cubicBezTo>
                <a:cubicBezTo>
                  <a:pt x="497489" y="2985803"/>
                  <a:pt x="496662" y="2984874"/>
                  <a:pt x="495011" y="2984099"/>
                </a:cubicBezTo>
                <a:cubicBezTo>
                  <a:pt x="495940" y="2982395"/>
                  <a:pt x="496766" y="2982241"/>
                  <a:pt x="497592" y="2983170"/>
                </a:cubicBezTo>
                <a:close/>
                <a:moveTo>
                  <a:pt x="594653" y="2978833"/>
                </a:moveTo>
                <a:cubicBezTo>
                  <a:pt x="596512" y="2977903"/>
                  <a:pt x="596512" y="2977903"/>
                  <a:pt x="597441" y="2978833"/>
                </a:cubicBezTo>
                <a:cubicBezTo>
                  <a:pt x="598267" y="2979607"/>
                  <a:pt x="597131" y="2982241"/>
                  <a:pt x="598060" y="2983015"/>
                </a:cubicBezTo>
                <a:cubicBezTo>
                  <a:pt x="598060" y="2983015"/>
                  <a:pt x="598060" y="2983015"/>
                  <a:pt x="596201" y="2983945"/>
                </a:cubicBezTo>
                <a:cubicBezTo>
                  <a:pt x="595376" y="2983945"/>
                  <a:pt x="594446" y="2984099"/>
                  <a:pt x="593620" y="2983170"/>
                </a:cubicBezTo>
                <a:cubicBezTo>
                  <a:pt x="592691" y="2982395"/>
                  <a:pt x="592794" y="2980691"/>
                  <a:pt x="592897" y="2979762"/>
                </a:cubicBezTo>
                <a:cubicBezTo>
                  <a:pt x="593723" y="2979762"/>
                  <a:pt x="593827" y="2978988"/>
                  <a:pt x="594653" y="2978833"/>
                </a:cubicBezTo>
                <a:close/>
                <a:moveTo>
                  <a:pt x="358816" y="2978833"/>
                </a:moveTo>
                <a:cubicBezTo>
                  <a:pt x="358919" y="2980382"/>
                  <a:pt x="362429" y="2980847"/>
                  <a:pt x="360778" y="2982705"/>
                </a:cubicBezTo>
                <a:cubicBezTo>
                  <a:pt x="359848" y="2982086"/>
                  <a:pt x="358919" y="2980382"/>
                  <a:pt x="357989" y="2979762"/>
                </a:cubicBezTo>
                <a:cubicBezTo>
                  <a:pt x="357989" y="2979762"/>
                  <a:pt x="357989" y="2979762"/>
                  <a:pt x="358816" y="2978833"/>
                </a:cubicBezTo>
                <a:close/>
                <a:moveTo>
                  <a:pt x="263446" y="2978446"/>
                </a:moveTo>
                <a:cubicBezTo>
                  <a:pt x="266401" y="2977168"/>
                  <a:pt x="269912" y="2977516"/>
                  <a:pt x="271667" y="2979762"/>
                </a:cubicBezTo>
                <a:cubicBezTo>
                  <a:pt x="272803" y="2981156"/>
                  <a:pt x="273216" y="2983480"/>
                  <a:pt x="272080" y="2986733"/>
                </a:cubicBezTo>
                <a:cubicBezTo>
                  <a:pt x="265988" y="2986268"/>
                  <a:pt x="263097" y="2989521"/>
                  <a:pt x="258554" y="2986887"/>
                </a:cubicBezTo>
                <a:cubicBezTo>
                  <a:pt x="258089" y="2982628"/>
                  <a:pt x="260490" y="2979724"/>
                  <a:pt x="263446" y="2978446"/>
                </a:cubicBezTo>
                <a:close/>
                <a:moveTo>
                  <a:pt x="484272" y="2974496"/>
                </a:moveTo>
                <a:cubicBezTo>
                  <a:pt x="485201" y="2972792"/>
                  <a:pt x="486853" y="2973566"/>
                  <a:pt x="488505" y="2975115"/>
                </a:cubicBezTo>
                <a:cubicBezTo>
                  <a:pt x="492842" y="2977439"/>
                  <a:pt x="493565" y="2979917"/>
                  <a:pt x="490880" y="2982551"/>
                </a:cubicBezTo>
                <a:cubicBezTo>
                  <a:pt x="489951" y="2982551"/>
                  <a:pt x="487370" y="2981931"/>
                  <a:pt x="487370" y="2982705"/>
                </a:cubicBezTo>
                <a:cubicBezTo>
                  <a:pt x="485408" y="2981002"/>
                  <a:pt x="483653" y="2978678"/>
                  <a:pt x="483549" y="2976509"/>
                </a:cubicBezTo>
                <a:cubicBezTo>
                  <a:pt x="483549" y="2975890"/>
                  <a:pt x="483756" y="2975115"/>
                  <a:pt x="484272" y="2974496"/>
                </a:cubicBezTo>
                <a:close/>
                <a:moveTo>
                  <a:pt x="430682" y="2972637"/>
                </a:moveTo>
                <a:cubicBezTo>
                  <a:pt x="435948" y="2974805"/>
                  <a:pt x="441111" y="2985958"/>
                  <a:pt x="438013" y="2991534"/>
                </a:cubicBezTo>
                <a:cubicBezTo>
                  <a:pt x="436877" y="2993393"/>
                  <a:pt x="434916" y="2994632"/>
                  <a:pt x="431715" y="2994632"/>
                </a:cubicBezTo>
                <a:cubicBezTo>
                  <a:pt x="426965" y="2994323"/>
                  <a:pt x="424384" y="2992154"/>
                  <a:pt x="422938" y="2988901"/>
                </a:cubicBezTo>
                <a:lnTo>
                  <a:pt x="422834" y="2988746"/>
                </a:lnTo>
                <a:lnTo>
                  <a:pt x="422318" y="2988436"/>
                </a:lnTo>
                <a:lnTo>
                  <a:pt x="422112" y="2985648"/>
                </a:lnTo>
                <a:lnTo>
                  <a:pt x="421492" y="2983325"/>
                </a:lnTo>
                <a:cubicBezTo>
                  <a:pt x="421286" y="2981311"/>
                  <a:pt x="421286" y="2978988"/>
                  <a:pt x="421286" y="2976664"/>
                </a:cubicBezTo>
                <a:cubicBezTo>
                  <a:pt x="424796" y="2975735"/>
                  <a:pt x="427171" y="2973566"/>
                  <a:pt x="430682" y="2972637"/>
                </a:cubicBezTo>
                <a:close/>
                <a:moveTo>
                  <a:pt x="140325" y="2972637"/>
                </a:moveTo>
                <a:cubicBezTo>
                  <a:pt x="142081" y="2974341"/>
                  <a:pt x="141978" y="2975270"/>
                  <a:pt x="142804" y="2976200"/>
                </a:cubicBezTo>
                <a:cubicBezTo>
                  <a:pt x="142907" y="2975270"/>
                  <a:pt x="143733" y="2976200"/>
                  <a:pt x="143733" y="2976200"/>
                </a:cubicBezTo>
                <a:cubicBezTo>
                  <a:pt x="143733" y="2976200"/>
                  <a:pt x="143733" y="2976200"/>
                  <a:pt x="145488" y="2974805"/>
                </a:cubicBezTo>
                <a:cubicBezTo>
                  <a:pt x="145488" y="2974805"/>
                  <a:pt x="149825" y="2971862"/>
                  <a:pt x="154161" y="2975735"/>
                </a:cubicBezTo>
                <a:cubicBezTo>
                  <a:pt x="153232" y="2976355"/>
                  <a:pt x="158395" y="2981931"/>
                  <a:pt x="156640" y="2985183"/>
                </a:cubicBezTo>
                <a:cubicBezTo>
                  <a:pt x="155711" y="2986733"/>
                  <a:pt x="154885" y="2987507"/>
                  <a:pt x="153955" y="2989056"/>
                </a:cubicBezTo>
                <a:cubicBezTo>
                  <a:pt x="151374" y="2988746"/>
                  <a:pt x="148689" y="2991070"/>
                  <a:pt x="143526" y="2987197"/>
                </a:cubicBezTo>
                <a:cubicBezTo>
                  <a:pt x="138467" y="2982551"/>
                  <a:pt x="142907" y="2977903"/>
                  <a:pt x="141978" y="2977749"/>
                </a:cubicBezTo>
                <a:cubicBezTo>
                  <a:pt x="141152" y="2976819"/>
                  <a:pt x="141152" y="2976819"/>
                  <a:pt x="140222" y="2976819"/>
                </a:cubicBezTo>
                <a:cubicBezTo>
                  <a:pt x="140325" y="2975890"/>
                  <a:pt x="139396" y="2974186"/>
                  <a:pt x="138570" y="2973257"/>
                </a:cubicBezTo>
                <a:cubicBezTo>
                  <a:pt x="139499" y="2973257"/>
                  <a:pt x="140325" y="2973412"/>
                  <a:pt x="140325" y="2972637"/>
                </a:cubicBezTo>
                <a:close/>
                <a:moveTo>
                  <a:pt x="618195" y="2970314"/>
                </a:moveTo>
                <a:cubicBezTo>
                  <a:pt x="618918" y="2970158"/>
                  <a:pt x="619951" y="2970314"/>
                  <a:pt x="621086" y="2970778"/>
                </a:cubicBezTo>
                <a:cubicBezTo>
                  <a:pt x="621809" y="2970469"/>
                  <a:pt x="624184" y="2973257"/>
                  <a:pt x="623771" y="2974341"/>
                </a:cubicBezTo>
                <a:cubicBezTo>
                  <a:pt x="623358" y="2977284"/>
                  <a:pt x="620260" y="2976664"/>
                  <a:pt x="616853" y="2977129"/>
                </a:cubicBezTo>
                <a:cubicBezTo>
                  <a:pt x="617163" y="2976045"/>
                  <a:pt x="616027" y="2975425"/>
                  <a:pt x="614891" y="2974960"/>
                </a:cubicBezTo>
                <a:cubicBezTo>
                  <a:pt x="615407" y="2973412"/>
                  <a:pt x="616027" y="2970778"/>
                  <a:pt x="618195" y="2970314"/>
                </a:cubicBezTo>
                <a:close/>
                <a:moveTo>
                  <a:pt x="584018" y="2970314"/>
                </a:moveTo>
                <a:cubicBezTo>
                  <a:pt x="584430" y="2970933"/>
                  <a:pt x="585669" y="2971398"/>
                  <a:pt x="586083" y="2972172"/>
                </a:cubicBezTo>
                <a:cubicBezTo>
                  <a:pt x="585566" y="2974341"/>
                  <a:pt x="582365" y="2974031"/>
                  <a:pt x="581952" y="2973412"/>
                </a:cubicBezTo>
                <a:cubicBezTo>
                  <a:pt x="582159" y="2972172"/>
                  <a:pt x="583708" y="2971398"/>
                  <a:pt x="584018" y="2970314"/>
                </a:cubicBezTo>
                <a:close/>
                <a:moveTo>
                  <a:pt x="720006" y="2969849"/>
                </a:moveTo>
                <a:cubicBezTo>
                  <a:pt x="722381" y="2968919"/>
                  <a:pt x="724756" y="2968145"/>
                  <a:pt x="725375" y="2970314"/>
                </a:cubicBezTo>
                <a:cubicBezTo>
                  <a:pt x="725685" y="2971553"/>
                  <a:pt x="726098" y="2972637"/>
                  <a:pt x="725168" y="2974186"/>
                </a:cubicBezTo>
                <a:lnTo>
                  <a:pt x="724652" y="2974186"/>
                </a:lnTo>
                <a:lnTo>
                  <a:pt x="724859" y="2974341"/>
                </a:lnTo>
                <a:cubicBezTo>
                  <a:pt x="725375" y="2974960"/>
                  <a:pt x="725788" y="2975735"/>
                  <a:pt x="725891" y="2976664"/>
                </a:cubicBezTo>
                <a:cubicBezTo>
                  <a:pt x="725685" y="2977749"/>
                  <a:pt x="724446" y="2978523"/>
                  <a:pt x="723103" y="2979143"/>
                </a:cubicBezTo>
                <a:lnTo>
                  <a:pt x="719386" y="2980072"/>
                </a:lnTo>
                <a:lnTo>
                  <a:pt x="719490" y="2980691"/>
                </a:lnTo>
                <a:cubicBezTo>
                  <a:pt x="719490" y="2980691"/>
                  <a:pt x="719696" y="2979762"/>
                  <a:pt x="720419" y="2980691"/>
                </a:cubicBezTo>
                <a:cubicBezTo>
                  <a:pt x="719593" y="2980691"/>
                  <a:pt x="719386" y="2981466"/>
                  <a:pt x="719283" y="2982241"/>
                </a:cubicBezTo>
                <a:cubicBezTo>
                  <a:pt x="717218" y="2983945"/>
                  <a:pt x="714327" y="2985339"/>
                  <a:pt x="712778" y="2984409"/>
                </a:cubicBezTo>
                <a:cubicBezTo>
                  <a:pt x="712055" y="2983480"/>
                  <a:pt x="711952" y="2982705"/>
                  <a:pt x="712159" y="2981931"/>
                </a:cubicBezTo>
                <a:cubicBezTo>
                  <a:pt x="712365" y="2981311"/>
                  <a:pt x="712985" y="2980691"/>
                  <a:pt x="713501" y="2980227"/>
                </a:cubicBezTo>
                <a:cubicBezTo>
                  <a:pt x="714120" y="2978988"/>
                  <a:pt x="715256" y="2978368"/>
                  <a:pt x="716598" y="2978368"/>
                </a:cubicBezTo>
                <a:lnTo>
                  <a:pt x="717631" y="2978523"/>
                </a:lnTo>
                <a:lnTo>
                  <a:pt x="716908" y="2977903"/>
                </a:lnTo>
                <a:cubicBezTo>
                  <a:pt x="716598" y="2976819"/>
                  <a:pt x="716495" y="2975580"/>
                  <a:pt x="716805" y="2974496"/>
                </a:cubicBezTo>
                <a:cubicBezTo>
                  <a:pt x="716701" y="2973566"/>
                  <a:pt x="717218" y="2972792"/>
                  <a:pt x="717941" y="2972327"/>
                </a:cubicBezTo>
                <a:lnTo>
                  <a:pt x="720316" y="2971553"/>
                </a:lnTo>
                <a:close/>
                <a:moveTo>
                  <a:pt x="675812" y="2969849"/>
                </a:moveTo>
                <a:cubicBezTo>
                  <a:pt x="676432" y="2969694"/>
                  <a:pt x="676948" y="2969849"/>
                  <a:pt x="677361" y="2970314"/>
                </a:cubicBezTo>
                <a:cubicBezTo>
                  <a:pt x="675296" y="2971862"/>
                  <a:pt x="673127" y="2974960"/>
                  <a:pt x="669823" y="2973876"/>
                </a:cubicBezTo>
                <a:cubicBezTo>
                  <a:pt x="671269" y="2972792"/>
                  <a:pt x="673954" y="2970314"/>
                  <a:pt x="675812" y="2969849"/>
                </a:cubicBezTo>
                <a:close/>
                <a:moveTo>
                  <a:pt x="572350" y="2968765"/>
                </a:moveTo>
                <a:cubicBezTo>
                  <a:pt x="574311" y="2968919"/>
                  <a:pt x="573176" y="2972172"/>
                  <a:pt x="573486" y="2972947"/>
                </a:cubicBezTo>
                <a:cubicBezTo>
                  <a:pt x="573176" y="2974031"/>
                  <a:pt x="572659" y="2975115"/>
                  <a:pt x="571523" y="2974496"/>
                </a:cubicBezTo>
                <a:cubicBezTo>
                  <a:pt x="570388" y="2974031"/>
                  <a:pt x="569562" y="2974496"/>
                  <a:pt x="569562" y="2972637"/>
                </a:cubicBezTo>
                <a:cubicBezTo>
                  <a:pt x="569149" y="2971708"/>
                  <a:pt x="569562" y="2970623"/>
                  <a:pt x="569149" y="2969849"/>
                </a:cubicBezTo>
                <a:cubicBezTo>
                  <a:pt x="569149" y="2969849"/>
                  <a:pt x="569768" y="2969539"/>
                  <a:pt x="570388" y="2969074"/>
                </a:cubicBezTo>
                <a:cubicBezTo>
                  <a:pt x="571007" y="2968765"/>
                  <a:pt x="571730" y="2968455"/>
                  <a:pt x="572350" y="2968765"/>
                </a:cubicBezTo>
                <a:close/>
                <a:moveTo>
                  <a:pt x="391032" y="2968765"/>
                </a:moveTo>
                <a:cubicBezTo>
                  <a:pt x="397124" y="2971708"/>
                  <a:pt x="402286" y="2984874"/>
                  <a:pt x="401873" y="2989985"/>
                </a:cubicBezTo>
                <a:cubicBezTo>
                  <a:pt x="399705" y="2991689"/>
                  <a:pt x="397640" y="2992619"/>
                  <a:pt x="395678" y="2993084"/>
                </a:cubicBezTo>
                <a:lnTo>
                  <a:pt x="390309" y="2992773"/>
                </a:lnTo>
                <a:lnTo>
                  <a:pt x="390102" y="2993703"/>
                </a:lnTo>
                <a:cubicBezTo>
                  <a:pt x="389173" y="2996336"/>
                  <a:pt x="387624" y="2998505"/>
                  <a:pt x="385662" y="3000363"/>
                </a:cubicBezTo>
                <a:lnTo>
                  <a:pt x="381635" y="3003151"/>
                </a:lnTo>
                <a:lnTo>
                  <a:pt x="385352" y="3003926"/>
                </a:lnTo>
                <a:cubicBezTo>
                  <a:pt x="389483" y="3005475"/>
                  <a:pt x="393613" y="3008108"/>
                  <a:pt x="397640" y="3011981"/>
                </a:cubicBezTo>
                <a:cubicBezTo>
                  <a:pt x="397434" y="3017712"/>
                  <a:pt x="393096" y="3019106"/>
                  <a:pt x="388037" y="3018022"/>
                </a:cubicBezTo>
                <a:cubicBezTo>
                  <a:pt x="381635" y="3016782"/>
                  <a:pt x="374304" y="3011671"/>
                  <a:pt x="372652" y="3006559"/>
                </a:cubicBezTo>
                <a:lnTo>
                  <a:pt x="372652" y="3006095"/>
                </a:lnTo>
                <a:lnTo>
                  <a:pt x="365734" y="3005785"/>
                </a:lnTo>
                <a:cubicBezTo>
                  <a:pt x="363256" y="3005475"/>
                  <a:pt x="360674" y="3004701"/>
                  <a:pt x="358196" y="3003461"/>
                </a:cubicBezTo>
                <a:cubicBezTo>
                  <a:pt x="358299" y="3002222"/>
                  <a:pt x="358299" y="3001138"/>
                  <a:pt x="357163" y="3000983"/>
                </a:cubicBezTo>
                <a:cubicBezTo>
                  <a:pt x="356854" y="2993393"/>
                  <a:pt x="362017" y="2986733"/>
                  <a:pt x="369038" y="2983325"/>
                </a:cubicBezTo>
                <a:cubicBezTo>
                  <a:pt x="371620" y="2982086"/>
                  <a:pt x="374407" y="2981311"/>
                  <a:pt x="377298" y="2981002"/>
                </a:cubicBezTo>
                <a:lnTo>
                  <a:pt x="381532" y="2981466"/>
                </a:lnTo>
                <a:lnTo>
                  <a:pt x="381119" y="2980382"/>
                </a:lnTo>
                <a:cubicBezTo>
                  <a:pt x="380706" y="2975115"/>
                  <a:pt x="383494" y="2969849"/>
                  <a:pt x="391032" y="2968765"/>
                </a:cubicBezTo>
                <a:close/>
                <a:moveTo>
                  <a:pt x="598267" y="2967526"/>
                </a:moveTo>
                <a:cubicBezTo>
                  <a:pt x="601364" y="2970314"/>
                  <a:pt x="602087" y="2971243"/>
                  <a:pt x="599609" y="2975270"/>
                </a:cubicBezTo>
                <a:cubicBezTo>
                  <a:pt x="599609" y="2975270"/>
                  <a:pt x="598680" y="2976045"/>
                  <a:pt x="598680" y="2976045"/>
                </a:cubicBezTo>
                <a:cubicBezTo>
                  <a:pt x="595582" y="2979143"/>
                  <a:pt x="590110" y="2980537"/>
                  <a:pt x="588457" y="2979607"/>
                </a:cubicBezTo>
                <a:cubicBezTo>
                  <a:pt x="587735" y="2978678"/>
                  <a:pt x="587322" y="2977439"/>
                  <a:pt x="587425" y="2976045"/>
                </a:cubicBezTo>
                <a:cubicBezTo>
                  <a:pt x="587528" y="2974651"/>
                  <a:pt x="588251" y="2973257"/>
                  <a:pt x="589696" y="2972172"/>
                </a:cubicBezTo>
                <a:cubicBezTo>
                  <a:pt x="591865" y="2969694"/>
                  <a:pt x="595272" y="2969849"/>
                  <a:pt x="598267" y="2967526"/>
                </a:cubicBezTo>
                <a:close/>
                <a:moveTo>
                  <a:pt x="525678" y="2966751"/>
                </a:moveTo>
                <a:cubicBezTo>
                  <a:pt x="527846" y="2967061"/>
                  <a:pt x="530015" y="2968300"/>
                  <a:pt x="531873" y="2970623"/>
                </a:cubicBezTo>
                <a:cubicBezTo>
                  <a:pt x="533112" y="2975580"/>
                  <a:pt x="534351" y="2980691"/>
                  <a:pt x="528982" y="2986578"/>
                </a:cubicBezTo>
                <a:cubicBezTo>
                  <a:pt x="522270" y="2987507"/>
                  <a:pt x="517520" y="2985183"/>
                  <a:pt x="511531" y="2977903"/>
                </a:cubicBezTo>
                <a:cubicBezTo>
                  <a:pt x="511635" y="2976355"/>
                  <a:pt x="512151" y="2974805"/>
                  <a:pt x="512977" y="2973412"/>
                </a:cubicBezTo>
                <a:lnTo>
                  <a:pt x="513081" y="2973257"/>
                </a:lnTo>
                <a:lnTo>
                  <a:pt x="512771" y="2972947"/>
                </a:lnTo>
                <a:cubicBezTo>
                  <a:pt x="512564" y="2972172"/>
                  <a:pt x="512564" y="2971553"/>
                  <a:pt x="513081" y="2970933"/>
                </a:cubicBezTo>
                <a:cubicBezTo>
                  <a:pt x="513493" y="2970469"/>
                  <a:pt x="513906" y="2970469"/>
                  <a:pt x="514320" y="2970469"/>
                </a:cubicBezTo>
                <a:lnTo>
                  <a:pt x="515352" y="2970623"/>
                </a:lnTo>
                <a:lnTo>
                  <a:pt x="516281" y="2969539"/>
                </a:lnTo>
                <a:cubicBezTo>
                  <a:pt x="518966" y="2967370"/>
                  <a:pt x="522373" y="2966131"/>
                  <a:pt x="525678" y="2966751"/>
                </a:cubicBezTo>
                <a:close/>
                <a:moveTo>
                  <a:pt x="713398" y="2962414"/>
                </a:moveTo>
                <a:cubicBezTo>
                  <a:pt x="717321" y="2962724"/>
                  <a:pt x="719283" y="2964738"/>
                  <a:pt x="718044" y="2967990"/>
                </a:cubicBezTo>
                <a:cubicBezTo>
                  <a:pt x="715669" y="2967061"/>
                  <a:pt x="714533" y="2968455"/>
                  <a:pt x="712159" y="2967526"/>
                </a:cubicBezTo>
                <a:cubicBezTo>
                  <a:pt x="712985" y="2965357"/>
                  <a:pt x="712985" y="2963498"/>
                  <a:pt x="713398" y="2962414"/>
                </a:cubicBezTo>
                <a:close/>
                <a:moveTo>
                  <a:pt x="370690" y="2962220"/>
                </a:moveTo>
                <a:cubicBezTo>
                  <a:pt x="372626" y="2962724"/>
                  <a:pt x="374769" y="2964195"/>
                  <a:pt x="376886" y="2966131"/>
                </a:cubicBezTo>
                <a:cubicBezTo>
                  <a:pt x="376059" y="2966906"/>
                  <a:pt x="378641" y="2968919"/>
                  <a:pt x="379467" y="2970623"/>
                </a:cubicBezTo>
                <a:cubicBezTo>
                  <a:pt x="379363" y="2973102"/>
                  <a:pt x="379363" y="2974805"/>
                  <a:pt x="377608" y="2976355"/>
                </a:cubicBezTo>
                <a:cubicBezTo>
                  <a:pt x="375027" y="2978523"/>
                  <a:pt x="368935" y="2979607"/>
                  <a:pt x="366353" y="2976819"/>
                </a:cubicBezTo>
                <a:cubicBezTo>
                  <a:pt x="362946" y="2974031"/>
                  <a:pt x="362120" y="2971398"/>
                  <a:pt x="362120" y="2968919"/>
                </a:cubicBezTo>
                <a:cubicBezTo>
                  <a:pt x="362120" y="2968919"/>
                  <a:pt x="362120" y="2968919"/>
                  <a:pt x="362120" y="2969694"/>
                </a:cubicBezTo>
                <a:lnTo>
                  <a:pt x="360261" y="2971243"/>
                </a:lnTo>
                <a:lnTo>
                  <a:pt x="360261" y="2972637"/>
                </a:lnTo>
                <a:cubicBezTo>
                  <a:pt x="360261" y="2973566"/>
                  <a:pt x="360261" y="2974031"/>
                  <a:pt x="360261" y="2974341"/>
                </a:cubicBezTo>
                <a:cubicBezTo>
                  <a:pt x="359435" y="2974496"/>
                  <a:pt x="359435" y="2974496"/>
                  <a:pt x="359435" y="2974496"/>
                </a:cubicBezTo>
                <a:lnTo>
                  <a:pt x="359022" y="2972172"/>
                </a:lnTo>
                <a:lnTo>
                  <a:pt x="355924" y="2974651"/>
                </a:lnTo>
                <a:lnTo>
                  <a:pt x="356234" y="2976664"/>
                </a:lnTo>
                <a:lnTo>
                  <a:pt x="354685" y="2975425"/>
                </a:lnTo>
                <a:lnTo>
                  <a:pt x="352414" y="2976664"/>
                </a:lnTo>
                <a:cubicBezTo>
                  <a:pt x="351381" y="2976974"/>
                  <a:pt x="350555" y="2977129"/>
                  <a:pt x="349936" y="2976819"/>
                </a:cubicBezTo>
                <a:cubicBezTo>
                  <a:pt x="349936" y="2976045"/>
                  <a:pt x="349936" y="2975115"/>
                  <a:pt x="350761" y="2974496"/>
                </a:cubicBezTo>
                <a:cubicBezTo>
                  <a:pt x="351691" y="2973722"/>
                  <a:pt x="351691" y="2974496"/>
                  <a:pt x="351691" y="2973722"/>
                </a:cubicBezTo>
                <a:cubicBezTo>
                  <a:pt x="352621" y="2972947"/>
                  <a:pt x="351691" y="2972947"/>
                  <a:pt x="351691" y="2972947"/>
                </a:cubicBezTo>
                <a:lnTo>
                  <a:pt x="352001" y="2972947"/>
                </a:lnTo>
                <a:lnTo>
                  <a:pt x="350452" y="2969384"/>
                </a:lnTo>
                <a:cubicBezTo>
                  <a:pt x="349936" y="2967061"/>
                  <a:pt x="349729" y="2964892"/>
                  <a:pt x="347458" y="2963653"/>
                </a:cubicBezTo>
                <a:cubicBezTo>
                  <a:pt x="349110" y="2962569"/>
                  <a:pt x="349213" y="2962569"/>
                  <a:pt x="350968" y="2963189"/>
                </a:cubicBezTo>
                <a:cubicBezTo>
                  <a:pt x="351071" y="2963963"/>
                  <a:pt x="352001" y="2963808"/>
                  <a:pt x="351071" y="2964892"/>
                </a:cubicBezTo>
                <a:cubicBezTo>
                  <a:pt x="352517" y="2965512"/>
                  <a:pt x="353963" y="2967526"/>
                  <a:pt x="354995" y="2969849"/>
                </a:cubicBezTo>
                <a:lnTo>
                  <a:pt x="355098" y="2970314"/>
                </a:lnTo>
                <a:lnTo>
                  <a:pt x="355924" y="2968765"/>
                </a:lnTo>
                <a:cubicBezTo>
                  <a:pt x="356337" y="2967990"/>
                  <a:pt x="356544" y="2967526"/>
                  <a:pt x="356957" y="2966751"/>
                </a:cubicBezTo>
                <a:lnTo>
                  <a:pt x="357163" y="2966596"/>
                </a:lnTo>
                <a:lnTo>
                  <a:pt x="356957" y="2966131"/>
                </a:lnTo>
                <a:cubicBezTo>
                  <a:pt x="356751" y="2965047"/>
                  <a:pt x="356647" y="2964118"/>
                  <a:pt x="357060" y="2962879"/>
                </a:cubicBezTo>
                <a:cubicBezTo>
                  <a:pt x="357060" y="2962879"/>
                  <a:pt x="357060" y="2962879"/>
                  <a:pt x="357163" y="2963808"/>
                </a:cubicBezTo>
                <a:cubicBezTo>
                  <a:pt x="357163" y="2963808"/>
                  <a:pt x="357060" y="2962879"/>
                  <a:pt x="357886" y="2962879"/>
                </a:cubicBezTo>
                <a:lnTo>
                  <a:pt x="358816" y="2965512"/>
                </a:lnTo>
                <a:lnTo>
                  <a:pt x="359332" y="2965202"/>
                </a:lnTo>
                <a:cubicBezTo>
                  <a:pt x="360055" y="2964892"/>
                  <a:pt x="360881" y="2964427"/>
                  <a:pt x="362223" y="2963808"/>
                </a:cubicBezTo>
                <a:cubicBezTo>
                  <a:pt x="363979" y="2964738"/>
                  <a:pt x="363979" y="2964892"/>
                  <a:pt x="363979" y="2965667"/>
                </a:cubicBezTo>
                <a:cubicBezTo>
                  <a:pt x="363979" y="2964892"/>
                  <a:pt x="364804" y="2964892"/>
                  <a:pt x="365734" y="2964118"/>
                </a:cubicBezTo>
                <a:cubicBezTo>
                  <a:pt x="367024" y="2962182"/>
                  <a:pt x="368754" y="2961717"/>
                  <a:pt x="370690" y="2962220"/>
                </a:cubicBezTo>
                <a:close/>
                <a:moveTo>
                  <a:pt x="602397" y="2961485"/>
                </a:moveTo>
                <a:cubicBezTo>
                  <a:pt x="606114" y="2961175"/>
                  <a:pt x="609212" y="2966751"/>
                  <a:pt x="607560" y="2970004"/>
                </a:cubicBezTo>
                <a:cubicBezTo>
                  <a:pt x="605701" y="2966596"/>
                  <a:pt x="602707" y="2965822"/>
                  <a:pt x="602087" y="2963963"/>
                </a:cubicBezTo>
                <a:cubicBezTo>
                  <a:pt x="601881" y="2963343"/>
                  <a:pt x="601984" y="2962569"/>
                  <a:pt x="602397" y="2961485"/>
                </a:cubicBezTo>
                <a:close/>
                <a:moveTo>
                  <a:pt x="243272" y="2959626"/>
                </a:moveTo>
                <a:cubicBezTo>
                  <a:pt x="249777" y="2963653"/>
                  <a:pt x="248228" y="2961794"/>
                  <a:pt x="252771" y="2968919"/>
                </a:cubicBezTo>
                <a:lnTo>
                  <a:pt x="248125" y="2972482"/>
                </a:lnTo>
                <a:lnTo>
                  <a:pt x="249777" y="2974651"/>
                </a:lnTo>
                <a:cubicBezTo>
                  <a:pt x="250603" y="2976509"/>
                  <a:pt x="250913" y="2978678"/>
                  <a:pt x="249984" y="2980072"/>
                </a:cubicBezTo>
                <a:cubicBezTo>
                  <a:pt x="249467" y="2981002"/>
                  <a:pt x="248331" y="2981621"/>
                  <a:pt x="246679" y="2981466"/>
                </a:cubicBezTo>
                <a:cubicBezTo>
                  <a:pt x="244201" y="2981156"/>
                  <a:pt x="242859" y="2980072"/>
                  <a:pt x="242136" y="2978368"/>
                </a:cubicBezTo>
                <a:lnTo>
                  <a:pt x="242033" y="2977284"/>
                </a:lnTo>
                <a:lnTo>
                  <a:pt x="241826" y="2977284"/>
                </a:lnTo>
                <a:cubicBezTo>
                  <a:pt x="240381" y="2973876"/>
                  <a:pt x="237180" y="2971862"/>
                  <a:pt x="235631" y="2970004"/>
                </a:cubicBezTo>
                <a:cubicBezTo>
                  <a:pt x="236044" y="2965202"/>
                  <a:pt x="238006" y="2962259"/>
                  <a:pt x="243272" y="2959626"/>
                </a:cubicBezTo>
                <a:close/>
                <a:moveTo>
                  <a:pt x="452779" y="2959161"/>
                </a:moveTo>
                <a:lnTo>
                  <a:pt x="454327" y="2971553"/>
                </a:lnTo>
                <a:lnTo>
                  <a:pt x="454327" y="2971243"/>
                </a:lnTo>
                <a:cubicBezTo>
                  <a:pt x="455154" y="2969539"/>
                  <a:pt x="455980" y="2969384"/>
                  <a:pt x="458767" y="2970623"/>
                </a:cubicBezTo>
                <a:cubicBezTo>
                  <a:pt x="460626" y="2972172"/>
                  <a:pt x="462382" y="2972637"/>
                  <a:pt x="462485" y="2973566"/>
                </a:cubicBezTo>
                <a:cubicBezTo>
                  <a:pt x="463311" y="2973412"/>
                  <a:pt x="464240" y="2974031"/>
                  <a:pt x="465169" y="2974031"/>
                </a:cubicBezTo>
                <a:cubicBezTo>
                  <a:pt x="465169" y="2974031"/>
                  <a:pt x="465169" y="2974031"/>
                  <a:pt x="465169" y="2974805"/>
                </a:cubicBezTo>
                <a:cubicBezTo>
                  <a:pt x="463414" y="2974651"/>
                  <a:pt x="461453" y="2974960"/>
                  <a:pt x="459594" y="2975115"/>
                </a:cubicBezTo>
                <a:lnTo>
                  <a:pt x="454637" y="2974651"/>
                </a:lnTo>
                <a:lnTo>
                  <a:pt x="454844" y="2976200"/>
                </a:lnTo>
                <a:cubicBezTo>
                  <a:pt x="455463" y="2982086"/>
                  <a:pt x="455566" y="2987972"/>
                  <a:pt x="454018" y="2993393"/>
                </a:cubicBezTo>
                <a:cubicBezTo>
                  <a:pt x="449371" y="2989366"/>
                  <a:pt x="445241" y="2982086"/>
                  <a:pt x="444105" y="2975270"/>
                </a:cubicBezTo>
                <a:cubicBezTo>
                  <a:pt x="443899" y="2973412"/>
                  <a:pt x="443899" y="2971862"/>
                  <a:pt x="444002" y="2970158"/>
                </a:cubicBezTo>
                <a:cubicBezTo>
                  <a:pt x="444518" y="2965202"/>
                  <a:pt x="447099" y="2961020"/>
                  <a:pt x="452779" y="2959161"/>
                </a:cubicBezTo>
                <a:close/>
                <a:moveTo>
                  <a:pt x="296242" y="2959006"/>
                </a:moveTo>
                <a:cubicBezTo>
                  <a:pt x="297894" y="2961639"/>
                  <a:pt x="293455" y="2967835"/>
                  <a:pt x="290873" y="2970004"/>
                </a:cubicBezTo>
                <a:cubicBezTo>
                  <a:pt x="290460" y="2969384"/>
                  <a:pt x="290460" y="2968455"/>
                  <a:pt x="290666" y="2967526"/>
                </a:cubicBezTo>
                <a:cubicBezTo>
                  <a:pt x="291286" y="2964583"/>
                  <a:pt x="294281" y="2960710"/>
                  <a:pt x="296242" y="2959006"/>
                </a:cubicBezTo>
                <a:close/>
                <a:moveTo>
                  <a:pt x="493771" y="2957457"/>
                </a:moveTo>
                <a:cubicBezTo>
                  <a:pt x="494804" y="2958077"/>
                  <a:pt x="493771" y="2958232"/>
                  <a:pt x="493875" y="2959006"/>
                </a:cubicBezTo>
                <a:cubicBezTo>
                  <a:pt x="493358" y="2958696"/>
                  <a:pt x="493152" y="2958541"/>
                  <a:pt x="493152" y="2958232"/>
                </a:cubicBezTo>
                <a:cubicBezTo>
                  <a:pt x="493152" y="2958077"/>
                  <a:pt x="493358" y="2957922"/>
                  <a:pt x="493771" y="2957457"/>
                </a:cubicBezTo>
                <a:close/>
                <a:moveTo>
                  <a:pt x="580610" y="2956837"/>
                </a:moveTo>
                <a:cubicBezTo>
                  <a:pt x="582365" y="2959626"/>
                  <a:pt x="582469" y="2961175"/>
                  <a:pt x="581952" y="2961949"/>
                </a:cubicBezTo>
                <a:cubicBezTo>
                  <a:pt x="580713" y="2963498"/>
                  <a:pt x="575860" y="2960865"/>
                  <a:pt x="577099" y="2958696"/>
                </a:cubicBezTo>
                <a:cubicBezTo>
                  <a:pt x="577409" y="2957922"/>
                  <a:pt x="578545" y="2957302"/>
                  <a:pt x="580610" y="2956837"/>
                </a:cubicBezTo>
                <a:close/>
                <a:moveTo>
                  <a:pt x="471881" y="2956063"/>
                </a:moveTo>
                <a:cubicBezTo>
                  <a:pt x="474566" y="2957457"/>
                  <a:pt x="474772" y="2959935"/>
                  <a:pt x="474050" y="2962569"/>
                </a:cubicBezTo>
                <a:cubicBezTo>
                  <a:pt x="474979" y="2964118"/>
                  <a:pt x="476734" y="2964892"/>
                  <a:pt x="476012" y="2966596"/>
                </a:cubicBezTo>
                <a:cubicBezTo>
                  <a:pt x="474153" y="2964273"/>
                  <a:pt x="473224" y="2963653"/>
                  <a:pt x="472191" y="2962104"/>
                </a:cubicBezTo>
                <a:cubicBezTo>
                  <a:pt x="471365" y="2962104"/>
                  <a:pt x="470539" y="2962259"/>
                  <a:pt x="469610" y="2961485"/>
                </a:cubicBezTo>
                <a:cubicBezTo>
                  <a:pt x="467854" y="2960091"/>
                  <a:pt x="468577" y="2958387"/>
                  <a:pt x="467648" y="2956683"/>
                </a:cubicBezTo>
                <a:cubicBezTo>
                  <a:pt x="468474" y="2955753"/>
                  <a:pt x="470126" y="2954669"/>
                  <a:pt x="471881" y="2956063"/>
                </a:cubicBezTo>
                <a:close/>
                <a:moveTo>
                  <a:pt x="731054" y="2954979"/>
                </a:moveTo>
                <a:cubicBezTo>
                  <a:pt x="732087" y="2954979"/>
                  <a:pt x="733119" y="2955134"/>
                  <a:pt x="733946" y="2955598"/>
                </a:cubicBezTo>
                <a:cubicBezTo>
                  <a:pt x="734668" y="2956528"/>
                  <a:pt x="734565" y="2956528"/>
                  <a:pt x="735288" y="2957457"/>
                </a:cubicBezTo>
                <a:cubicBezTo>
                  <a:pt x="735081" y="2959006"/>
                  <a:pt x="735701" y="2960710"/>
                  <a:pt x="734565" y="2962414"/>
                </a:cubicBezTo>
                <a:cubicBezTo>
                  <a:pt x="732603" y="2963963"/>
                  <a:pt x="728369" y="2962724"/>
                  <a:pt x="726821" y="2961794"/>
                </a:cubicBezTo>
                <a:cubicBezTo>
                  <a:pt x="726098" y="2961020"/>
                  <a:pt x="726098" y="2959935"/>
                  <a:pt x="726408" y="2958851"/>
                </a:cubicBezTo>
                <a:cubicBezTo>
                  <a:pt x="726821" y="2957922"/>
                  <a:pt x="727647" y="2956837"/>
                  <a:pt x="728576" y="2956063"/>
                </a:cubicBezTo>
                <a:cubicBezTo>
                  <a:pt x="729196" y="2955289"/>
                  <a:pt x="730125" y="2954979"/>
                  <a:pt x="731054" y="2954979"/>
                </a:cubicBezTo>
                <a:close/>
                <a:moveTo>
                  <a:pt x="541786" y="2952810"/>
                </a:moveTo>
                <a:cubicBezTo>
                  <a:pt x="548807" y="2953120"/>
                  <a:pt x="550665" y="2961639"/>
                  <a:pt x="556448" y="2966751"/>
                </a:cubicBezTo>
                <a:cubicBezTo>
                  <a:pt x="558926" y="2967835"/>
                  <a:pt x="561198" y="2966441"/>
                  <a:pt x="563883" y="2968145"/>
                </a:cubicBezTo>
                <a:lnTo>
                  <a:pt x="564915" y="2969229"/>
                </a:lnTo>
                <a:lnTo>
                  <a:pt x="569149" y="2969074"/>
                </a:lnTo>
                <a:cubicBezTo>
                  <a:pt x="569871" y="2970623"/>
                  <a:pt x="567187" y="2973257"/>
                  <a:pt x="566257" y="2974960"/>
                </a:cubicBezTo>
                <a:cubicBezTo>
                  <a:pt x="565431" y="2974186"/>
                  <a:pt x="564605" y="2973412"/>
                  <a:pt x="564605" y="2974186"/>
                </a:cubicBezTo>
                <a:lnTo>
                  <a:pt x="563573" y="2972327"/>
                </a:lnTo>
                <a:lnTo>
                  <a:pt x="561714" y="2973257"/>
                </a:lnTo>
                <a:lnTo>
                  <a:pt x="562643" y="2974031"/>
                </a:lnTo>
                <a:cubicBezTo>
                  <a:pt x="564399" y="2976200"/>
                  <a:pt x="565844" y="2978523"/>
                  <a:pt x="567187" y="2981156"/>
                </a:cubicBezTo>
                <a:lnTo>
                  <a:pt x="569252" y="2985493"/>
                </a:lnTo>
                <a:lnTo>
                  <a:pt x="570181" y="2983635"/>
                </a:lnTo>
                <a:cubicBezTo>
                  <a:pt x="572762" y="2980072"/>
                  <a:pt x="575654" y="2980072"/>
                  <a:pt x="575860" y="2979298"/>
                </a:cubicBezTo>
                <a:cubicBezTo>
                  <a:pt x="579577" y="2980382"/>
                  <a:pt x="578958" y="2982705"/>
                  <a:pt x="579371" y="2986423"/>
                </a:cubicBezTo>
                <a:cubicBezTo>
                  <a:pt x="578132" y="2986113"/>
                  <a:pt x="577306" y="2989521"/>
                  <a:pt x="577099" y="2990605"/>
                </a:cubicBezTo>
                <a:cubicBezTo>
                  <a:pt x="575860" y="2990295"/>
                  <a:pt x="574828" y="2991070"/>
                  <a:pt x="573692" y="2991689"/>
                </a:cubicBezTo>
                <a:lnTo>
                  <a:pt x="572246" y="2992464"/>
                </a:lnTo>
                <a:lnTo>
                  <a:pt x="577409" y="3005785"/>
                </a:lnTo>
                <a:cubicBezTo>
                  <a:pt x="575964" y="3005785"/>
                  <a:pt x="574828" y="3006405"/>
                  <a:pt x="573486" y="3007024"/>
                </a:cubicBezTo>
                <a:lnTo>
                  <a:pt x="568839" y="3007489"/>
                </a:lnTo>
                <a:lnTo>
                  <a:pt x="565844" y="3011671"/>
                </a:lnTo>
                <a:cubicBezTo>
                  <a:pt x="564089" y="3012755"/>
                  <a:pt x="561818" y="3013065"/>
                  <a:pt x="558823" y="3012600"/>
                </a:cubicBezTo>
                <a:cubicBezTo>
                  <a:pt x="557997" y="3010432"/>
                  <a:pt x="557377" y="3008573"/>
                  <a:pt x="557171" y="3006869"/>
                </a:cubicBezTo>
                <a:cubicBezTo>
                  <a:pt x="556964" y="3005165"/>
                  <a:pt x="557067" y="3003771"/>
                  <a:pt x="557377" y="3002532"/>
                </a:cubicBezTo>
                <a:cubicBezTo>
                  <a:pt x="558100" y="2999899"/>
                  <a:pt x="559855" y="2998195"/>
                  <a:pt x="562333" y="2996646"/>
                </a:cubicBezTo>
                <a:lnTo>
                  <a:pt x="565328" y="2999434"/>
                </a:lnTo>
                <a:lnTo>
                  <a:pt x="560785" y="2986268"/>
                </a:lnTo>
                <a:lnTo>
                  <a:pt x="557171" y="2975270"/>
                </a:lnTo>
                <a:lnTo>
                  <a:pt x="554176" y="2976664"/>
                </a:lnTo>
                <a:cubicBezTo>
                  <a:pt x="550150" y="2977903"/>
                  <a:pt x="546122" y="2978368"/>
                  <a:pt x="542198" y="2978059"/>
                </a:cubicBezTo>
                <a:cubicBezTo>
                  <a:pt x="539617" y="2977749"/>
                  <a:pt x="536932" y="2977284"/>
                  <a:pt x="534454" y="2976355"/>
                </a:cubicBezTo>
                <a:cubicBezTo>
                  <a:pt x="534971" y="2969849"/>
                  <a:pt x="542921" y="2969539"/>
                  <a:pt x="548394" y="2967990"/>
                </a:cubicBezTo>
                <a:cubicBezTo>
                  <a:pt x="544367" y="2963189"/>
                  <a:pt x="537036" y="2956993"/>
                  <a:pt x="541786" y="2952810"/>
                </a:cubicBezTo>
                <a:close/>
                <a:moveTo>
                  <a:pt x="606321" y="2951571"/>
                </a:moveTo>
                <a:cubicBezTo>
                  <a:pt x="607973" y="2953120"/>
                  <a:pt x="609728" y="2953894"/>
                  <a:pt x="609625" y="2954824"/>
                </a:cubicBezTo>
                <a:cubicBezTo>
                  <a:pt x="610555" y="2954669"/>
                  <a:pt x="611380" y="2955444"/>
                  <a:pt x="612206" y="2955444"/>
                </a:cubicBezTo>
                <a:cubicBezTo>
                  <a:pt x="612206" y="2955444"/>
                  <a:pt x="612310" y="2955444"/>
                  <a:pt x="612206" y="2956373"/>
                </a:cubicBezTo>
                <a:cubicBezTo>
                  <a:pt x="608799" y="2955598"/>
                  <a:pt x="604256" y="2956683"/>
                  <a:pt x="601674" y="2955134"/>
                </a:cubicBezTo>
                <a:cubicBezTo>
                  <a:pt x="601261" y="2954669"/>
                  <a:pt x="600848" y="2954359"/>
                  <a:pt x="600848" y="2953740"/>
                </a:cubicBezTo>
                <a:cubicBezTo>
                  <a:pt x="600745" y="2953275"/>
                  <a:pt x="600952" y="2952656"/>
                  <a:pt x="601881" y="2951726"/>
                </a:cubicBezTo>
                <a:cubicBezTo>
                  <a:pt x="602913" y="2950022"/>
                  <a:pt x="603739" y="2950022"/>
                  <a:pt x="606321" y="2951571"/>
                </a:cubicBezTo>
                <a:close/>
                <a:moveTo>
                  <a:pt x="506885" y="2950022"/>
                </a:moveTo>
                <a:cubicBezTo>
                  <a:pt x="506782" y="2951726"/>
                  <a:pt x="510292" y="2952501"/>
                  <a:pt x="508434" y="2954204"/>
                </a:cubicBezTo>
                <a:cubicBezTo>
                  <a:pt x="507608" y="2953430"/>
                  <a:pt x="506782" y="2951726"/>
                  <a:pt x="505956" y="2950952"/>
                </a:cubicBezTo>
                <a:cubicBezTo>
                  <a:pt x="505956" y="2950952"/>
                  <a:pt x="505956" y="2950952"/>
                  <a:pt x="506885" y="2950022"/>
                </a:cubicBezTo>
                <a:close/>
                <a:moveTo>
                  <a:pt x="202279" y="2949402"/>
                </a:moveTo>
                <a:cubicBezTo>
                  <a:pt x="206306" y="2946924"/>
                  <a:pt x="212605" y="2949248"/>
                  <a:pt x="213741" y="2953585"/>
                </a:cubicBezTo>
                <a:cubicBezTo>
                  <a:pt x="214257" y="2955444"/>
                  <a:pt x="213844" y="2957767"/>
                  <a:pt x="211676" y="2960245"/>
                </a:cubicBezTo>
                <a:cubicBezTo>
                  <a:pt x="206306" y="2956837"/>
                  <a:pt x="202383" y="2958387"/>
                  <a:pt x="199285" y="2953740"/>
                </a:cubicBezTo>
                <a:cubicBezTo>
                  <a:pt x="199801" y="2951726"/>
                  <a:pt x="200937" y="2950332"/>
                  <a:pt x="202279" y="2949402"/>
                </a:cubicBezTo>
                <a:close/>
                <a:moveTo>
                  <a:pt x="719180" y="2949248"/>
                </a:moveTo>
                <a:cubicBezTo>
                  <a:pt x="719180" y="2949248"/>
                  <a:pt x="719180" y="2949248"/>
                  <a:pt x="715876" y="2954824"/>
                </a:cubicBezTo>
                <a:cubicBezTo>
                  <a:pt x="715462" y="2954514"/>
                  <a:pt x="715462" y="2954049"/>
                  <a:pt x="715669" y="2953585"/>
                </a:cubicBezTo>
                <a:cubicBezTo>
                  <a:pt x="715876" y="2953120"/>
                  <a:pt x="716289" y="2952656"/>
                  <a:pt x="716701" y="2952036"/>
                </a:cubicBezTo>
                <a:cubicBezTo>
                  <a:pt x="717528" y="2951106"/>
                  <a:pt x="718354" y="2950177"/>
                  <a:pt x="719180" y="2949248"/>
                </a:cubicBezTo>
                <a:close/>
                <a:moveTo>
                  <a:pt x="700594" y="2947079"/>
                </a:moveTo>
                <a:cubicBezTo>
                  <a:pt x="704518" y="2947544"/>
                  <a:pt x="708854" y="2947544"/>
                  <a:pt x="710713" y="2950022"/>
                </a:cubicBezTo>
                <a:lnTo>
                  <a:pt x="710713" y="2950177"/>
                </a:lnTo>
                <a:cubicBezTo>
                  <a:pt x="712262" y="2951726"/>
                  <a:pt x="712985" y="2954049"/>
                  <a:pt x="712468" y="2955908"/>
                </a:cubicBezTo>
                <a:cubicBezTo>
                  <a:pt x="712159" y="2957302"/>
                  <a:pt x="711229" y="2958387"/>
                  <a:pt x="709577" y="2959006"/>
                </a:cubicBezTo>
                <a:cubicBezTo>
                  <a:pt x="708235" y="2958696"/>
                  <a:pt x="707409" y="2958232"/>
                  <a:pt x="706893" y="2957612"/>
                </a:cubicBezTo>
                <a:lnTo>
                  <a:pt x="706479" y="2956683"/>
                </a:lnTo>
                <a:lnTo>
                  <a:pt x="703898" y="2956837"/>
                </a:lnTo>
                <a:cubicBezTo>
                  <a:pt x="701420" y="2956218"/>
                  <a:pt x="699561" y="2954204"/>
                  <a:pt x="699148" y="2951881"/>
                </a:cubicBezTo>
                <a:cubicBezTo>
                  <a:pt x="698838" y="2950332"/>
                  <a:pt x="699252" y="2948628"/>
                  <a:pt x="700594" y="2947079"/>
                </a:cubicBezTo>
                <a:close/>
                <a:moveTo>
                  <a:pt x="519689" y="2946924"/>
                </a:moveTo>
                <a:cubicBezTo>
                  <a:pt x="524645" y="2943052"/>
                  <a:pt x="528362" y="2949713"/>
                  <a:pt x="526917" y="2952656"/>
                </a:cubicBezTo>
                <a:cubicBezTo>
                  <a:pt x="523096" y="2954359"/>
                  <a:pt x="518966" y="2950332"/>
                  <a:pt x="519689" y="2946924"/>
                </a:cubicBezTo>
                <a:close/>
                <a:moveTo>
                  <a:pt x="398053" y="2945530"/>
                </a:moveTo>
                <a:cubicBezTo>
                  <a:pt x="402906" y="2943671"/>
                  <a:pt x="406107" y="2946150"/>
                  <a:pt x="406830" y="2949248"/>
                </a:cubicBezTo>
                <a:cubicBezTo>
                  <a:pt x="407656" y="2952346"/>
                  <a:pt x="406107" y="2956063"/>
                  <a:pt x="401461" y="2956993"/>
                </a:cubicBezTo>
                <a:cubicBezTo>
                  <a:pt x="398259" y="2954979"/>
                  <a:pt x="396711" y="2952656"/>
                  <a:pt x="395368" y="2951106"/>
                </a:cubicBezTo>
                <a:cubicBezTo>
                  <a:pt x="396607" y="2949248"/>
                  <a:pt x="396917" y="2947389"/>
                  <a:pt x="398053" y="2945530"/>
                </a:cubicBezTo>
                <a:close/>
                <a:moveTo>
                  <a:pt x="451953" y="2942432"/>
                </a:moveTo>
                <a:cubicBezTo>
                  <a:pt x="453501" y="2941813"/>
                  <a:pt x="455360" y="2941968"/>
                  <a:pt x="457116" y="2942432"/>
                </a:cubicBezTo>
                <a:lnTo>
                  <a:pt x="459284" y="2943826"/>
                </a:lnTo>
                <a:lnTo>
                  <a:pt x="460317" y="2943362"/>
                </a:lnTo>
                <a:cubicBezTo>
                  <a:pt x="467234" y="2948783"/>
                  <a:pt x="462691" y="2953430"/>
                  <a:pt x="457528" y="2952501"/>
                </a:cubicBezTo>
                <a:cubicBezTo>
                  <a:pt x="455877" y="2952191"/>
                  <a:pt x="454121" y="2951261"/>
                  <a:pt x="452675" y="2949557"/>
                </a:cubicBezTo>
                <a:cubicBezTo>
                  <a:pt x="452675" y="2948938"/>
                  <a:pt x="453088" y="2948163"/>
                  <a:pt x="453605" y="2947389"/>
                </a:cubicBezTo>
                <a:lnTo>
                  <a:pt x="453811" y="2947234"/>
                </a:lnTo>
                <a:lnTo>
                  <a:pt x="449475" y="2944291"/>
                </a:lnTo>
                <a:cubicBezTo>
                  <a:pt x="450094" y="2943362"/>
                  <a:pt x="450920" y="2942742"/>
                  <a:pt x="451953" y="2942432"/>
                </a:cubicBezTo>
                <a:close/>
                <a:moveTo>
                  <a:pt x="214980" y="2941813"/>
                </a:moveTo>
                <a:cubicBezTo>
                  <a:pt x="217768" y="2939799"/>
                  <a:pt x="224066" y="2942897"/>
                  <a:pt x="224892" y="2946460"/>
                </a:cubicBezTo>
                <a:cubicBezTo>
                  <a:pt x="219729" y="2943671"/>
                  <a:pt x="216116" y="2945995"/>
                  <a:pt x="214980" y="2941813"/>
                </a:cubicBezTo>
                <a:close/>
                <a:moveTo>
                  <a:pt x="642151" y="2941658"/>
                </a:moveTo>
                <a:cubicBezTo>
                  <a:pt x="643080" y="2942432"/>
                  <a:pt x="642151" y="2942432"/>
                  <a:pt x="642151" y="2943207"/>
                </a:cubicBezTo>
                <a:cubicBezTo>
                  <a:pt x="641634" y="2942742"/>
                  <a:pt x="641428" y="2942587"/>
                  <a:pt x="641428" y="2942432"/>
                </a:cubicBezTo>
                <a:cubicBezTo>
                  <a:pt x="641428" y="2942277"/>
                  <a:pt x="641634" y="2942123"/>
                  <a:pt x="642151" y="2941658"/>
                </a:cubicBezTo>
                <a:close/>
                <a:moveTo>
                  <a:pt x="411373" y="2937166"/>
                </a:moveTo>
                <a:cubicBezTo>
                  <a:pt x="414058" y="2939334"/>
                  <a:pt x="413335" y="2941813"/>
                  <a:pt x="412716" y="2944446"/>
                </a:cubicBezTo>
                <a:cubicBezTo>
                  <a:pt x="411889" y="2946150"/>
                  <a:pt x="411992" y="2947079"/>
                  <a:pt x="412922" y="2948628"/>
                </a:cubicBezTo>
                <a:cubicBezTo>
                  <a:pt x="412922" y="2948628"/>
                  <a:pt x="412922" y="2948628"/>
                  <a:pt x="411270" y="2950487"/>
                </a:cubicBezTo>
                <a:lnTo>
                  <a:pt x="410444" y="2950642"/>
                </a:lnTo>
                <a:cubicBezTo>
                  <a:pt x="410030" y="2950487"/>
                  <a:pt x="409721" y="2949867"/>
                  <a:pt x="409618" y="2948938"/>
                </a:cubicBezTo>
                <a:cubicBezTo>
                  <a:pt x="409411" y="2947544"/>
                  <a:pt x="409515" y="2945685"/>
                  <a:pt x="409618" y="2943981"/>
                </a:cubicBezTo>
                <a:cubicBezTo>
                  <a:pt x="409721" y="2942432"/>
                  <a:pt x="409927" y="2941038"/>
                  <a:pt x="409927" y="2940728"/>
                </a:cubicBezTo>
                <a:cubicBezTo>
                  <a:pt x="409927" y="2940728"/>
                  <a:pt x="409824" y="2939799"/>
                  <a:pt x="409721" y="2939024"/>
                </a:cubicBezTo>
                <a:cubicBezTo>
                  <a:pt x="410547" y="2938095"/>
                  <a:pt x="411476" y="2937940"/>
                  <a:pt x="411373" y="2937166"/>
                </a:cubicBezTo>
                <a:close/>
                <a:moveTo>
                  <a:pt x="6599153" y="2936466"/>
                </a:moveTo>
                <a:cubicBezTo>
                  <a:pt x="6607363" y="2937396"/>
                  <a:pt x="6615727" y="2941629"/>
                  <a:pt x="6618205" y="2947721"/>
                </a:cubicBezTo>
                <a:cubicBezTo>
                  <a:pt x="6610925" y="2951851"/>
                  <a:pt x="6604575" y="2954536"/>
                  <a:pt x="6598379" y="2954536"/>
                </a:cubicBezTo>
                <a:cubicBezTo>
                  <a:pt x="6592338" y="2954639"/>
                  <a:pt x="6586607" y="2952161"/>
                  <a:pt x="6580875" y="2945759"/>
                </a:cubicBezTo>
                <a:cubicBezTo>
                  <a:pt x="6582889" y="2938221"/>
                  <a:pt x="6591099" y="2935640"/>
                  <a:pt x="6599153" y="2936466"/>
                </a:cubicBezTo>
                <a:close/>
                <a:moveTo>
                  <a:pt x="300786" y="2935927"/>
                </a:moveTo>
                <a:cubicBezTo>
                  <a:pt x="302541" y="2937630"/>
                  <a:pt x="304193" y="2939489"/>
                  <a:pt x="302438" y="2941038"/>
                </a:cubicBezTo>
                <a:cubicBezTo>
                  <a:pt x="301612" y="2941813"/>
                  <a:pt x="300682" y="2942587"/>
                  <a:pt x="299030" y="2942432"/>
                </a:cubicBezTo>
                <a:cubicBezTo>
                  <a:pt x="297275" y="2940573"/>
                  <a:pt x="298204" y="2938095"/>
                  <a:pt x="297275" y="2937166"/>
                </a:cubicBezTo>
                <a:cubicBezTo>
                  <a:pt x="298204" y="2937321"/>
                  <a:pt x="299857" y="2937476"/>
                  <a:pt x="300786" y="2935927"/>
                </a:cubicBezTo>
                <a:close/>
                <a:moveTo>
                  <a:pt x="6326358" y="2934177"/>
                </a:moveTo>
                <a:lnTo>
                  <a:pt x="6309680" y="3014763"/>
                </a:lnTo>
                <a:lnTo>
                  <a:pt x="6310737" y="3013804"/>
                </a:lnTo>
                <a:cubicBezTo>
                  <a:pt x="6316158" y="3016799"/>
                  <a:pt x="6316468" y="3021084"/>
                  <a:pt x="6314609" y="3024556"/>
                </a:cubicBezTo>
                <a:lnTo>
                  <a:pt x="6312052" y="3026199"/>
                </a:lnTo>
                <a:lnTo>
                  <a:pt x="6312743" y="3029046"/>
                </a:lnTo>
                <a:lnTo>
                  <a:pt x="6321706" y="3069308"/>
                </a:lnTo>
                <a:lnTo>
                  <a:pt x="6326829" y="3065040"/>
                </a:lnTo>
                <a:cubicBezTo>
                  <a:pt x="6328749" y="3064045"/>
                  <a:pt x="6330670" y="3063760"/>
                  <a:pt x="6332591" y="3063902"/>
                </a:cubicBezTo>
                <a:cubicBezTo>
                  <a:pt x="6334512" y="3064187"/>
                  <a:pt x="6336646" y="3065040"/>
                  <a:pt x="6338567" y="3066178"/>
                </a:cubicBezTo>
                <a:lnTo>
                  <a:pt x="6344329" y="3070589"/>
                </a:lnTo>
                <a:lnTo>
                  <a:pt x="6344116" y="3067601"/>
                </a:lnTo>
                <a:lnTo>
                  <a:pt x="6348039" y="3071711"/>
                </a:lnTo>
                <a:lnTo>
                  <a:pt x="6357292" y="3060197"/>
                </a:lnTo>
                <a:lnTo>
                  <a:pt x="6357561" y="3059350"/>
                </a:lnTo>
                <a:cubicBezTo>
                  <a:pt x="6358202" y="3056362"/>
                  <a:pt x="6358202" y="3053374"/>
                  <a:pt x="6359055" y="3049675"/>
                </a:cubicBezTo>
                <a:cubicBezTo>
                  <a:pt x="6362043" y="3050244"/>
                  <a:pt x="6363537" y="3049533"/>
                  <a:pt x="6364177" y="3048110"/>
                </a:cubicBezTo>
                <a:lnTo>
                  <a:pt x="6364817" y="3042704"/>
                </a:lnTo>
                <a:lnTo>
                  <a:pt x="6363537" y="3039859"/>
                </a:lnTo>
                <a:cubicBezTo>
                  <a:pt x="6362683" y="3036729"/>
                  <a:pt x="6361830" y="3032745"/>
                  <a:pt x="6360549" y="3026770"/>
                </a:cubicBezTo>
                <a:cubicBezTo>
                  <a:pt x="6358202" y="3026770"/>
                  <a:pt x="6355854" y="3027624"/>
                  <a:pt x="6355854" y="3029046"/>
                </a:cubicBezTo>
                <a:cubicBezTo>
                  <a:pt x="6355214" y="3023925"/>
                  <a:pt x="6352866" y="3017096"/>
                  <a:pt x="6350305" y="3009698"/>
                </a:cubicBezTo>
                <a:cubicBezTo>
                  <a:pt x="6347317" y="3003011"/>
                  <a:pt x="6344116" y="2995471"/>
                  <a:pt x="6340914" y="2990349"/>
                </a:cubicBezTo>
                <a:cubicBezTo>
                  <a:pt x="6350518" y="2990349"/>
                  <a:pt x="6337073" y="2979821"/>
                  <a:pt x="6344969" y="2973135"/>
                </a:cubicBezTo>
                <a:cubicBezTo>
                  <a:pt x="6340914" y="2971712"/>
                  <a:pt x="6339420" y="2965025"/>
                  <a:pt x="6333872" y="2965737"/>
                </a:cubicBezTo>
                <a:cubicBezTo>
                  <a:pt x="6332377" y="2959050"/>
                  <a:pt x="6338567" y="2968013"/>
                  <a:pt x="6340914" y="2962038"/>
                </a:cubicBezTo>
                <a:cubicBezTo>
                  <a:pt x="6338567" y="2956062"/>
                  <a:pt x="6328322" y="2951652"/>
                  <a:pt x="6329176" y="2944966"/>
                </a:cubicBezTo>
                <a:cubicBezTo>
                  <a:pt x="6329176" y="2944966"/>
                  <a:pt x="6333872" y="2942689"/>
                  <a:pt x="6333231" y="2941978"/>
                </a:cubicBezTo>
                <a:close/>
                <a:moveTo>
                  <a:pt x="506782" y="2933913"/>
                </a:moveTo>
                <a:cubicBezTo>
                  <a:pt x="506782" y="2933913"/>
                  <a:pt x="506885" y="2933913"/>
                  <a:pt x="506782" y="2934842"/>
                </a:cubicBezTo>
                <a:cubicBezTo>
                  <a:pt x="506782" y="2934842"/>
                  <a:pt x="506782" y="2933913"/>
                  <a:pt x="507608" y="2933913"/>
                </a:cubicBezTo>
                <a:cubicBezTo>
                  <a:pt x="509983" y="2938095"/>
                  <a:pt x="508847" y="2944911"/>
                  <a:pt x="508847" y="2945685"/>
                </a:cubicBezTo>
                <a:cubicBezTo>
                  <a:pt x="507918" y="2945685"/>
                  <a:pt x="507918" y="2945685"/>
                  <a:pt x="507918" y="2945685"/>
                </a:cubicBezTo>
                <a:cubicBezTo>
                  <a:pt x="508744" y="2943207"/>
                  <a:pt x="506679" y="2940264"/>
                  <a:pt x="506369" y="2937166"/>
                </a:cubicBezTo>
                <a:cubicBezTo>
                  <a:pt x="506265" y="2936081"/>
                  <a:pt x="506369" y="2934997"/>
                  <a:pt x="506782" y="2933913"/>
                </a:cubicBezTo>
                <a:close/>
                <a:moveTo>
                  <a:pt x="500793" y="2933603"/>
                </a:moveTo>
                <a:cubicBezTo>
                  <a:pt x="500793" y="2934378"/>
                  <a:pt x="501619" y="2934378"/>
                  <a:pt x="500690" y="2935307"/>
                </a:cubicBezTo>
                <a:cubicBezTo>
                  <a:pt x="503271" y="2936856"/>
                  <a:pt x="505646" y="2944291"/>
                  <a:pt x="504614" y="2947699"/>
                </a:cubicBezTo>
                <a:cubicBezTo>
                  <a:pt x="496972" y="2942123"/>
                  <a:pt x="501516" y="2936856"/>
                  <a:pt x="497282" y="2933758"/>
                </a:cubicBezTo>
                <a:cubicBezTo>
                  <a:pt x="499038" y="2932829"/>
                  <a:pt x="499038" y="2932829"/>
                  <a:pt x="500793" y="2933603"/>
                </a:cubicBezTo>
                <a:close/>
                <a:moveTo>
                  <a:pt x="6326856" y="2931772"/>
                </a:moveTo>
                <a:lnTo>
                  <a:pt x="6326540" y="2933302"/>
                </a:lnTo>
                <a:lnTo>
                  <a:pt x="6328322" y="2933726"/>
                </a:lnTo>
                <a:close/>
                <a:moveTo>
                  <a:pt x="768330" y="2931745"/>
                </a:moveTo>
                <a:lnTo>
                  <a:pt x="769569" y="2936237"/>
                </a:lnTo>
                <a:lnTo>
                  <a:pt x="771118" y="2934842"/>
                </a:lnTo>
                <a:lnTo>
                  <a:pt x="773389" y="2934068"/>
                </a:lnTo>
                <a:lnTo>
                  <a:pt x="772563" y="2932983"/>
                </a:lnTo>
                <a:close/>
                <a:moveTo>
                  <a:pt x="328290" y="2931473"/>
                </a:moveTo>
                <a:cubicBezTo>
                  <a:pt x="329878" y="2930815"/>
                  <a:pt x="332021" y="2930505"/>
                  <a:pt x="334241" y="2931899"/>
                </a:cubicBezTo>
                <a:cubicBezTo>
                  <a:pt x="333415" y="2932829"/>
                  <a:pt x="338887" y="2937166"/>
                  <a:pt x="337338" y="2940728"/>
                </a:cubicBezTo>
                <a:cubicBezTo>
                  <a:pt x="336616" y="2942587"/>
                  <a:pt x="335790" y="2943516"/>
                  <a:pt x="335066" y="2945220"/>
                </a:cubicBezTo>
                <a:cubicBezTo>
                  <a:pt x="332485" y="2945685"/>
                  <a:pt x="330007" y="2948473"/>
                  <a:pt x="324638" y="2945840"/>
                </a:cubicBezTo>
                <a:cubicBezTo>
                  <a:pt x="319165" y="2942432"/>
                  <a:pt x="323192" y="2936856"/>
                  <a:pt x="322366" y="2937011"/>
                </a:cubicBezTo>
                <a:cubicBezTo>
                  <a:pt x="321437" y="2936237"/>
                  <a:pt x="321437" y="2936237"/>
                  <a:pt x="320508" y="2936391"/>
                </a:cubicBezTo>
                <a:cubicBezTo>
                  <a:pt x="320508" y="2935462"/>
                  <a:pt x="319578" y="2933913"/>
                  <a:pt x="318649" y="2933294"/>
                </a:cubicBezTo>
                <a:cubicBezTo>
                  <a:pt x="319578" y="2933138"/>
                  <a:pt x="320404" y="2932983"/>
                  <a:pt x="320301" y="2932209"/>
                </a:cubicBezTo>
                <a:cubicBezTo>
                  <a:pt x="322159" y="2933603"/>
                  <a:pt x="322159" y="2934378"/>
                  <a:pt x="323089" y="2935152"/>
                </a:cubicBezTo>
                <a:cubicBezTo>
                  <a:pt x="323089" y="2934378"/>
                  <a:pt x="323915" y="2934997"/>
                  <a:pt x="323915" y="2934997"/>
                </a:cubicBezTo>
                <a:cubicBezTo>
                  <a:pt x="323915" y="2934997"/>
                  <a:pt x="324018" y="2934997"/>
                  <a:pt x="325670" y="2933138"/>
                </a:cubicBezTo>
                <a:cubicBezTo>
                  <a:pt x="325670" y="2933138"/>
                  <a:pt x="326703" y="2932132"/>
                  <a:pt x="328290" y="2931473"/>
                </a:cubicBezTo>
                <a:close/>
                <a:moveTo>
                  <a:pt x="791872" y="2929731"/>
                </a:moveTo>
                <a:lnTo>
                  <a:pt x="790840" y="2930195"/>
                </a:lnTo>
                <a:lnTo>
                  <a:pt x="792285" y="2931125"/>
                </a:lnTo>
                <a:close/>
                <a:moveTo>
                  <a:pt x="441421" y="2929576"/>
                </a:moveTo>
                <a:cubicBezTo>
                  <a:pt x="448959" y="2931435"/>
                  <a:pt x="450611" y="2946305"/>
                  <a:pt x="444105" y="2946614"/>
                </a:cubicBezTo>
                <a:cubicBezTo>
                  <a:pt x="443176" y="2946770"/>
                  <a:pt x="442040" y="2946460"/>
                  <a:pt x="440801" y="2945840"/>
                </a:cubicBezTo>
                <a:cubicBezTo>
                  <a:pt x="439562" y="2944446"/>
                  <a:pt x="438530" y="2943052"/>
                  <a:pt x="437807" y="2941658"/>
                </a:cubicBezTo>
                <a:lnTo>
                  <a:pt x="436155" y="2937630"/>
                </a:lnTo>
                <a:lnTo>
                  <a:pt x="429856" y="2937940"/>
                </a:lnTo>
                <a:cubicBezTo>
                  <a:pt x="427687" y="2938095"/>
                  <a:pt x="426035" y="2937476"/>
                  <a:pt x="424899" y="2934687"/>
                </a:cubicBezTo>
                <a:cubicBezTo>
                  <a:pt x="426035" y="2933294"/>
                  <a:pt x="428100" y="2932674"/>
                  <a:pt x="430579" y="2932364"/>
                </a:cubicBezTo>
                <a:lnTo>
                  <a:pt x="437187" y="2932209"/>
                </a:lnTo>
                <a:lnTo>
                  <a:pt x="438633" y="2929886"/>
                </a:lnTo>
                <a:cubicBezTo>
                  <a:pt x="439459" y="2930815"/>
                  <a:pt x="440388" y="2930195"/>
                  <a:pt x="441421" y="2929576"/>
                </a:cubicBezTo>
                <a:close/>
                <a:moveTo>
                  <a:pt x="624700" y="2926478"/>
                </a:moveTo>
                <a:cubicBezTo>
                  <a:pt x="629553" y="2931590"/>
                  <a:pt x="632651" y="2932983"/>
                  <a:pt x="635955" y="2937476"/>
                </a:cubicBezTo>
                <a:cubicBezTo>
                  <a:pt x="635439" y="2938095"/>
                  <a:pt x="634716" y="2937785"/>
                  <a:pt x="634200" y="2938560"/>
                </a:cubicBezTo>
                <a:cubicBezTo>
                  <a:pt x="633581" y="2938869"/>
                  <a:pt x="632858" y="2938560"/>
                  <a:pt x="631928" y="2938250"/>
                </a:cubicBezTo>
                <a:cubicBezTo>
                  <a:pt x="629140" y="2936856"/>
                  <a:pt x="625630" y="2933449"/>
                  <a:pt x="625939" y="2932829"/>
                </a:cubicBezTo>
                <a:cubicBezTo>
                  <a:pt x="625217" y="2932519"/>
                  <a:pt x="625630" y="2931745"/>
                  <a:pt x="624907" y="2931280"/>
                </a:cubicBezTo>
                <a:cubicBezTo>
                  <a:pt x="624907" y="2931280"/>
                  <a:pt x="624081" y="2930970"/>
                  <a:pt x="623771" y="2929886"/>
                </a:cubicBezTo>
                <a:cubicBezTo>
                  <a:pt x="623668" y="2929266"/>
                  <a:pt x="623461" y="2928802"/>
                  <a:pt x="623565" y="2928182"/>
                </a:cubicBezTo>
                <a:cubicBezTo>
                  <a:pt x="623565" y="2927562"/>
                  <a:pt x="623874" y="2927098"/>
                  <a:pt x="624700" y="2926478"/>
                </a:cubicBezTo>
                <a:close/>
                <a:moveTo>
                  <a:pt x="361345" y="2923516"/>
                </a:moveTo>
                <a:cubicBezTo>
                  <a:pt x="364340" y="2923922"/>
                  <a:pt x="366870" y="2924774"/>
                  <a:pt x="367799" y="2925858"/>
                </a:cubicBezTo>
                <a:cubicBezTo>
                  <a:pt x="365218" y="2928027"/>
                  <a:pt x="361810" y="2926788"/>
                  <a:pt x="358299" y="2928956"/>
                </a:cubicBezTo>
                <a:cubicBezTo>
                  <a:pt x="355718" y="2927098"/>
                  <a:pt x="351278" y="2929111"/>
                  <a:pt x="347870" y="2926323"/>
                </a:cubicBezTo>
                <a:cubicBezTo>
                  <a:pt x="348800" y="2925084"/>
                  <a:pt x="350349" y="2924309"/>
                  <a:pt x="352104" y="2923845"/>
                </a:cubicBezTo>
                <a:cubicBezTo>
                  <a:pt x="354892" y="2923148"/>
                  <a:pt x="358351" y="2923109"/>
                  <a:pt x="361345" y="2923516"/>
                </a:cubicBezTo>
                <a:close/>
                <a:moveTo>
                  <a:pt x="6392830" y="2923142"/>
                </a:moveTo>
                <a:lnTo>
                  <a:pt x="6388030" y="2932955"/>
                </a:lnTo>
                <a:lnTo>
                  <a:pt x="6382036" y="2950650"/>
                </a:lnTo>
                <a:lnTo>
                  <a:pt x="6385732" y="2965025"/>
                </a:lnTo>
                <a:cubicBezTo>
                  <a:pt x="6386586" y="2970147"/>
                  <a:pt x="6388080" y="2974700"/>
                  <a:pt x="6391282" y="2979110"/>
                </a:cubicBezTo>
                <a:cubicBezTo>
                  <a:pt x="6391282" y="2980675"/>
                  <a:pt x="6388934" y="2981387"/>
                  <a:pt x="6386586" y="2982098"/>
                </a:cubicBezTo>
                <a:lnTo>
                  <a:pt x="6389609" y="2990560"/>
                </a:lnTo>
                <a:lnTo>
                  <a:pt x="6400112" y="2972399"/>
                </a:lnTo>
                <a:cubicBezTo>
                  <a:pt x="6400112" y="2968682"/>
                  <a:pt x="6399647" y="2964345"/>
                  <a:pt x="6399899" y="2960215"/>
                </a:cubicBezTo>
                <a:lnTo>
                  <a:pt x="6400211" y="2959377"/>
                </a:lnTo>
                <a:lnTo>
                  <a:pt x="6395977" y="2939701"/>
                </a:lnTo>
                <a:cubicBezTo>
                  <a:pt x="6400031" y="2938990"/>
                  <a:pt x="6396830" y="2933726"/>
                  <a:pt x="6399178" y="2933015"/>
                </a:cubicBezTo>
                <a:close/>
                <a:moveTo>
                  <a:pt x="816344" y="2920127"/>
                </a:moveTo>
                <a:lnTo>
                  <a:pt x="813866" y="2920747"/>
                </a:lnTo>
                <a:lnTo>
                  <a:pt x="814279" y="2923070"/>
                </a:lnTo>
                <a:close/>
                <a:moveTo>
                  <a:pt x="333724" y="2919198"/>
                </a:moveTo>
                <a:cubicBezTo>
                  <a:pt x="342914" y="2918113"/>
                  <a:pt x="345495" y="2922761"/>
                  <a:pt x="346631" y="2922451"/>
                </a:cubicBezTo>
                <a:cubicBezTo>
                  <a:pt x="347561" y="2926013"/>
                  <a:pt x="345186" y="2926478"/>
                  <a:pt x="341882" y="2928337"/>
                </a:cubicBezTo>
                <a:cubicBezTo>
                  <a:pt x="341572" y="2927098"/>
                  <a:pt x="337958" y="2927717"/>
                  <a:pt x="336719" y="2927872"/>
                </a:cubicBezTo>
                <a:cubicBezTo>
                  <a:pt x="336099" y="2925548"/>
                  <a:pt x="331762" y="2925704"/>
                  <a:pt x="330833" y="2922141"/>
                </a:cubicBezTo>
                <a:cubicBezTo>
                  <a:pt x="331659" y="2920747"/>
                  <a:pt x="332072" y="2919972"/>
                  <a:pt x="333724" y="2919198"/>
                </a:cubicBezTo>
                <a:close/>
                <a:moveTo>
                  <a:pt x="759140" y="2917184"/>
                </a:moveTo>
                <a:cubicBezTo>
                  <a:pt x="760069" y="2915480"/>
                  <a:pt x="761618" y="2917184"/>
                  <a:pt x="762341" y="2917959"/>
                </a:cubicBezTo>
                <a:cubicBezTo>
                  <a:pt x="759863" y="2917959"/>
                  <a:pt x="759037" y="2918888"/>
                  <a:pt x="759037" y="2918113"/>
                </a:cubicBezTo>
                <a:cubicBezTo>
                  <a:pt x="758624" y="2918113"/>
                  <a:pt x="758520" y="2917804"/>
                  <a:pt x="758520" y="2917649"/>
                </a:cubicBezTo>
                <a:cubicBezTo>
                  <a:pt x="758520" y="2917494"/>
                  <a:pt x="758727" y="2917184"/>
                  <a:pt x="759140" y="2917184"/>
                </a:cubicBezTo>
                <a:close/>
                <a:moveTo>
                  <a:pt x="749124" y="2916565"/>
                </a:moveTo>
                <a:cubicBezTo>
                  <a:pt x="751189" y="2917804"/>
                  <a:pt x="752119" y="2915015"/>
                  <a:pt x="754597" y="2917184"/>
                </a:cubicBezTo>
                <a:cubicBezTo>
                  <a:pt x="756559" y="2923845"/>
                  <a:pt x="746130" y="2936391"/>
                  <a:pt x="737766" y="2931899"/>
                </a:cubicBezTo>
                <a:cubicBezTo>
                  <a:pt x="741793" y="2927562"/>
                  <a:pt x="746026" y="2924155"/>
                  <a:pt x="749124" y="2916565"/>
                </a:cubicBezTo>
                <a:close/>
                <a:moveTo>
                  <a:pt x="670650" y="2915945"/>
                </a:moveTo>
                <a:cubicBezTo>
                  <a:pt x="671682" y="2916100"/>
                  <a:pt x="672611" y="2916874"/>
                  <a:pt x="673850" y="2917804"/>
                </a:cubicBezTo>
                <a:cubicBezTo>
                  <a:pt x="676225" y="2919662"/>
                  <a:pt x="674883" y="2922141"/>
                  <a:pt x="676432" y="2923845"/>
                </a:cubicBezTo>
                <a:cubicBezTo>
                  <a:pt x="675502" y="2924309"/>
                  <a:pt x="674263" y="2924774"/>
                  <a:pt x="672921" y="2924929"/>
                </a:cubicBezTo>
                <a:lnTo>
                  <a:pt x="670753" y="2924155"/>
                </a:lnTo>
                <a:lnTo>
                  <a:pt x="670546" y="2925394"/>
                </a:lnTo>
                <a:cubicBezTo>
                  <a:pt x="668688" y="2928027"/>
                  <a:pt x="664454" y="2929886"/>
                  <a:pt x="660530" y="2927717"/>
                </a:cubicBezTo>
                <a:cubicBezTo>
                  <a:pt x="660117" y="2926013"/>
                  <a:pt x="660221" y="2924464"/>
                  <a:pt x="660324" y="2923070"/>
                </a:cubicBezTo>
                <a:cubicBezTo>
                  <a:pt x="660427" y="2921831"/>
                  <a:pt x="660634" y="2920747"/>
                  <a:pt x="660737" y="2919817"/>
                </a:cubicBezTo>
                <a:cubicBezTo>
                  <a:pt x="663215" y="2919043"/>
                  <a:pt x="664867" y="2917959"/>
                  <a:pt x="667242" y="2917339"/>
                </a:cubicBezTo>
                <a:lnTo>
                  <a:pt x="667552" y="2917494"/>
                </a:lnTo>
                <a:lnTo>
                  <a:pt x="667655" y="2917339"/>
                </a:lnTo>
                <a:cubicBezTo>
                  <a:pt x="668791" y="2916255"/>
                  <a:pt x="669720" y="2915790"/>
                  <a:pt x="670650" y="2915945"/>
                </a:cubicBezTo>
                <a:close/>
                <a:moveTo>
                  <a:pt x="6452621" y="2915505"/>
                </a:moveTo>
                <a:cubicBezTo>
                  <a:pt x="6456184" y="2914885"/>
                  <a:pt x="6460056" y="2915298"/>
                  <a:pt x="6463464" y="2917054"/>
                </a:cubicBezTo>
                <a:cubicBezTo>
                  <a:pt x="6467956" y="2919429"/>
                  <a:pt x="6471519" y="2924178"/>
                  <a:pt x="6472138" y="2932026"/>
                </a:cubicBezTo>
                <a:cubicBezTo>
                  <a:pt x="6464548" y="2939047"/>
                  <a:pt x="6457888" y="2938324"/>
                  <a:pt x="6450763" y="2941422"/>
                </a:cubicBezTo>
                <a:cubicBezTo>
                  <a:pt x="6433724" y="2928722"/>
                  <a:pt x="6441779" y="2917363"/>
                  <a:pt x="6452621" y="2915505"/>
                </a:cubicBezTo>
                <a:close/>
                <a:moveTo>
                  <a:pt x="563057" y="2913312"/>
                </a:moveTo>
                <a:cubicBezTo>
                  <a:pt x="565535" y="2915635"/>
                  <a:pt x="564605" y="2918268"/>
                  <a:pt x="563573" y="2920747"/>
                </a:cubicBezTo>
                <a:cubicBezTo>
                  <a:pt x="562643" y="2922451"/>
                  <a:pt x="562643" y="2923380"/>
                  <a:pt x="563366" y="2924929"/>
                </a:cubicBezTo>
                <a:cubicBezTo>
                  <a:pt x="563366" y="2924929"/>
                  <a:pt x="563366" y="2924929"/>
                  <a:pt x="561611" y="2926633"/>
                </a:cubicBezTo>
                <a:lnTo>
                  <a:pt x="560785" y="2926788"/>
                </a:lnTo>
                <a:cubicBezTo>
                  <a:pt x="560372" y="2926633"/>
                  <a:pt x="560165" y="2925858"/>
                  <a:pt x="560062" y="2924929"/>
                </a:cubicBezTo>
                <a:cubicBezTo>
                  <a:pt x="559959" y="2922141"/>
                  <a:pt x="561198" y="2917339"/>
                  <a:pt x="561198" y="2916719"/>
                </a:cubicBezTo>
                <a:cubicBezTo>
                  <a:pt x="561198" y="2916719"/>
                  <a:pt x="561301" y="2915790"/>
                  <a:pt x="561301" y="2915015"/>
                </a:cubicBezTo>
                <a:cubicBezTo>
                  <a:pt x="562230" y="2914086"/>
                  <a:pt x="563057" y="2914086"/>
                  <a:pt x="563057" y="2913312"/>
                </a:cubicBezTo>
                <a:close/>
                <a:moveTo>
                  <a:pt x="387004" y="2912847"/>
                </a:moveTo>
                <a:cubicBezTo>
                  <a:pt x="389173" y="2912382"/>
                  <a:pt x="391548" y="2912847"/>
                  <a:pt x="393819" y="2913932"/>
                </a:cubicBezTo>
                <a:cubicBezTo>
                  <a:pt x="400738" y="2917494"/>
                  <a:pt x="407036" y="2927252"/>
                  <a:pt x="405281" y="2933294"/>
                </a:cubicBezTo>
                <a:cubicBezTo>
                  <a:pt x="401770" y="2936081"/>
                  <a:pt x="398259" y="2939024"/>
                  <a:pt x="394646" y="2941813"/>
                </a:cubicBezTo>
                <a:cubicBezTo>
                  <a:pt x="386179" y="2942587"/>
                  <a:pt x="379260" y="2936856"/>
                  <a:pt x="377918" y="2929731"/>
                </a:cubicBezTo>
                <a:cubicBezTo>
                  <a:pt x="377712" y="2928492"/>
                  <a:pt x="377712" y="2927252"/>
                  <a:pt x="377815" y="2926013"/>
                </a:cubicBezTo>
                <a:cubicBezTo>
                  <a:pt x="377918" y="2924774"/>
                  <a:pt x="378228" y="2923535"/>
                  <a:pt x="378641" y="2922296"/>
                </a:cubicBezTo>
                <a:cubicBezTo>
                  <a:pt x="379983" y="2918888"/>
                  <a:pt x="382668" y="2915635"/>
                  <a:pt x="387004" y="2912847"/>
                </a:cubicBezTo>
                <a:close/>
                <a:moveTo>
                  <a:pt x="549633" y="2912692"/>
                </a:moveTo>
                <a:cubicBezTo>
                  <a:pt x="552627" y="2914861"/>
                  <a:pt x="552318" y="2920592"/>
                  <a:pt x="552627" y="2925858"/>
                </a:cubicBezTo>
                <a:cubicBezTo>
                  <a:pt x="550150" y="2925704"/>
                  <a:pt x="548910" y="2925548"/>
                  <a:pt x="547052" y="2926013"/>
                </a:cubicBezTo>
                <a:cubicBezTo>
                  <a:pt x="547258" y="2922451"/>
                  <a:pt x="546432" y="2919662"/>
                  <a:pt x="546329" y="2917649"/>
                </a:cubicBezTo>
                <a:cubicBezTo>
                  <a:pt x="546226" y="2915480"/>
                  <a:pt x="546845" y="2913932"/>
                  <a:pt x="549633" y="2912692"/>
                </a:cubicBezTo>
                <a:close/>
                <a:moveTo>
                  <a:pt x="146108" y="2910834"/>
                </a:moveTo>
                <a:cubicBezTo>
                  <a:pt x="152406" y="2909130"/>
                  <a:pt x="153439" y="2916410"/>
                  <a:pt x="150961" y="2918578"/>
                </a:cubicBezTo>
                <a:cubicBezTo>
                  <a:pt x="147656" y="2918578"/>
                  <a:pt x="145488" y="2915790"/>
                  <a:pt x="145385" y="2913157"/>
                </a:cubicBezTo>
                <a:cubicBezTo>
                  <a:pt x="145385" y="2912382"/>
                  <a:pt x="145695" y="2911453"/>
                  <a:pt x="146108" y="2910834"/>
                </a:cubicBezTo>
                <a:close/>
                <a:moveTo>
                  <a:pt x="522270" y="2910679"/>
                </a:moveTo>
                <a:cubicBezTo>
                  <a:pt x="522477" y="2913776"/>
                  <a:pt x="524645" y="2915015"/>
                  <a:pt x="523922" y="2919817"/>
                </a:cubicBezTo>
                <a:cubicBezTo>
                  <a:pt x="508227" y="2922915"/>
                  <a:pt x="494288" y="2929731"/>
                  <a:pt x="481174" y="2931899"/>
                </a:cubicBezTo>
                <a:cubicBezTo>
                  <a:pt x="489228" y="2919353"/>
                  <a:pt x="507401" y="2916255"/>
                  <a:pt x="522270" y="2910679"/>
                </a:cubicBezTo>
                <a:close/>
                <a:moveTo>
                  <a:pt x="6369299" y="2910537"/>
                </a:moveTo>
                <a:lnTo>
                  <a:pt x="6373994" y="2915089"/>
                </a:lnTo>
                <a:cubicBezTo>
                  <a:pt x="6376982" y="2916796"/>
                  <a:pt x="6379970" y="2918504"/>
                  <a:pt x="6381891" y="2921918"/>
                </a:cubicBezTo>
                <a:cubicBezTo>
                  <a:pt x="6381891" y="2921064"/>
                  <a:pt x="6378689" y="2922629"/>
                  <a:pt x="6378689" y="2922629"/>
                </a:cubicBezTo>
                <a:cubicBezTo>
                  <a:pt x="6381891" y="2926328"/>
                  <a:pt x="6392775" y="2933726"/>
                  <a:pt x="6382531" y="2938279"/>
                </a:cubicBezTo>
                <a:cubicBezTo>
                  <a:pt x="6383385" y="2935291"/>
                  <a:pt x="6382744" y="2932304"/>
                  <a:pt x="6381037" y="2930027"/>
                </a:cubicBezTo>
                <a:cubicBezTo>
                  <a:pt x="6379544" y="2927751"/>
                  <a:pt x="6376342" y="2926328"/>
                  <a:pt x="6373994" y="2927893"/>
                </a:cubicBezTo>
                <a:cubicBezTo>
                  <a:pt x="6376342" y="2929316"/>
                  <a:pt x="6377942" y="2932268"/>
                  <a:pt x="6379143" y="2936162"/>
                </a:cubicBezTo>
                <a:lnTo>
                  <a:pt x="6379972" y="2940361"/>
                </a:lnTo>
                <a:lnTo>
                  <a:pt x="6380672" y="2941758"/>
                </a:lnTo>
                <a:lnTo>
                  <a:pt x="6380274" y="2941895"/>
                </a:lnTo>
                <a:lnTo>
                  <a:pt x="6381654" y="2948886"/>
                </a:lnTo>
                <a:lnTo>
                  <a:pt x="6382298" y="2945449"/>
                </a:lnTo>
                <a:cubicBezTo>
                  <a:pt x="6383228" y="2941319"/>
                  <a:pt x="6384312" y="2937911"/>
                  <a:pt x="6385242" y="2933781"/>
                </a:cubicBezTo>
                <a:lnTo>
                  <a:pt x="6390051" y="2915461"/>
                </a:lnTo>
                <a:lnTo>
                  <a:pt x="6388720" y="2911248"/>
                </a:lnTo>
                <a:lnTo>
                  <a:pt x="6386586" y="2911959"/>
                </a:lnTo>
                <a:cubicBezTo>
                  <a:pt x="6383598" y="2912813"/>
                  <a:pt x="6380611" y="2913240"/>
                  <a:pt x="6377623" y="2913097"/>
                </a:cubicBezTo>
                <a:close/>
                <a:moveTo>
                  <a:pt x="313796" y="2908975"/>
                </a:moveTo>
                <a:cubicBezTo>
                  <a:pt x="315242" y="2913932"/>
                  <a:pt x="318030" y="2919353"/>
                  <a:pt x="312454" y="2921521"/>
                </a:cubicBezTo>
                <a:cubicBezTo>
                  <a:pt x="308530" y="2920592"/>
                  <a:pt x="306568" y="2918268"/>
                  <a:pt x="306155" y="2915790"/>
                </a:cubicBezTo>
                <a:cubicBezTo>
                  <a:pt x="305742" y="2913467"/>
                  <a:pt x="306775" y="2910834"/>
                  <a:pt x="308736" y="2909594"/>
                </a:cubicBezTo>
                <a:cubicBezTo>
                  <a:pt x="310079" y="2908665"/>
                  <a:pt x="311834" y="2908355"/>
                  <a:pt x="313796" y="2908975"/>
                </a:cubicBezTo>
                <a:close/>
                <a:moveTo>
                  <a:pt x="6366525" y="2906838"/>
                </a:moveTo>
                <a:lnTo>
                  <a:pt x="6366952" y="2908403"/>
                </a:lnTo>
                <a:lnTo>
                  <a:pt x="6369086" y="2910537"/>
                </a:lnTo>
                <a:close/>
                <a:moveTo>
                  <a:pt x="231914" y="2901540"/>
                </a:moveTo>
                <a:cubicBezTo>
                  <a:pt x="232430" y="2901540"/>
                  <a:pt x="232843" y="2901540"/>
                  <a:pt x="232843" y="2901540"/>
                </a:cubicBezTo>
                <a:cubicBezTo>
                  <a:pt x="234598" y="2902469"/>
                  <a:pt x="233669" y="2904948"/>
                  <a:pt x="233669" y="2906496"/>
                </a:cubicBezTo>
                <a:cubicBezTo>
                  <a:pt x="235321" y="2907580"/>
                  <a:pt x="231811" y="2909749"/>
                  <a:pt x="233566" y="2910679"/>
                </a:cubicBezTo>
                <a:cubicBezTo>
                  <a:pt x="229952" y="2913622"/>
                  <a:pt x="234289" y="2918268"/>
                  <a:pt x="229849" y="2923535"/>
                </a:cubicBezTo>
                <a:cubicBezTo>
                  <a:pt x="229229" y="2921521"/>
                  <a:pt x="228919" y="2919508"/>
                  <a:pt x="228919" y="2917649"/>
                </a:cubicBezTo>
                <a:cubicBezTo>
                  <a:pt x="228816" y="2912382"/>
                  <a:pt x="230571" y="2908355"/>
                  <a:pt x="229332" y="2904483"/>
                </a:cubicBezTo>
                <a:cubicBezTo>
                  <a:pt x="229332" y="2904483"/>
                  <a:pt x="229229" y="2904483"/>
                  <a:pt x="231088" y="2902934"/>
                </a:cubicBezTo>
                <a:cubicBezTo>
                  <a:pt x="231088" y="2902159"/>
                  <a:pt x="231088" y="2902159"/>
                  <a:pt x="231088" y="2902159"/>
                </a:cubicBezTo>
                <a:cubicBezTo>
                  <a:pt x="231088" y="2901695"/>
                  <a:pt x="231501" y="2901540"/>
                  <a:pt x="231914" y="2901540"/>
                </a:cubicBezTo>
                <a:close/>
                <a:moveTo>
                  <a:pt x="473740" y="2899526"/>
                </a:moveTo>
                <a:lnTo>
                  <a:pt x="475082" y="2901230"/>
                </a:lnTo>
                <a:lnTo>
                  <a:pt x="475908" y="2901075"/>
                </a:lnTo>
                <a:lnTo>
                  <a:pt x="478696" y="2901230"/>
                </a:lnTo>
                <a:lnTo>
                  <a:pt x="478902" y="2900920"/>
                </a:lnTo>
                <a:cubicBezTo>
                  <a:pt x="478902" y="2900920"/>
                  <a:pt x="483446" y="2897358"/>
                  <a:pt x="487576" y="2900610"/>
                </a:cubicBezTo>
                <a:cubicBezTo>
                  <a:pt x="486647" y="2901540"/>
                  <a:pt x="491603" y="2906341"/>
                  <a:pt x="489745" y="2909749"/>
                </a:cubicBezTo>
                <a:cubicBezTo>
                  <a:pt x="488815" y="2911453"/>
                  <a:pt x="487886" y="2912382"/>
                  <a:pt x="486957" y="2914086"/>
                </a:cubicBezTo>
                <a:lnTo>
                  <a:pt x="484582" y="2914706"/>
                </a:lnTo>
                <a:lnTo>
                  <a:pt x="482723" y="2919508"/>
                </a:lnTo>
                <a:cubicBezTo>
                  <a:pt x="481897" y="2920437"/>
                  <a:pt x="478490" y="2922605"/>
                  <a:pt x="477560" y="2921831"/>
                </a:cubicBezTo>
                <a:cubicBezTo>
                  <a:pt x="476631" y="2921212"/>
                  <a:pt x="476631" y="2920282"/>
                  <a:pt x="476631" y="2919508"/>
                </a:cubicBezTo>
                <a:lnTo>
                  <a:pt x="478696" y="2914551"/>
                </a:lnTo>
                <a:lnTo>
                  <a:pt x="476631" y="2913776"/>
                </a:lnTo>
                <a:cubicBezTo>
                  <a:pt x="475392" y="2912692"/>
                  <a:pt x="474669" y="2911608"/>
                  <a:pt x="474463" y="2910679"/>
                </a:cubicBezTo>
                <a:lnTo>
                  <a:pt x="474463" y="2909439"/>
                </a:lnTo>
                <a:lnTo>
                  <a:pt x="473430" y="2909594"/>
                </a:lnTo>
                <a:lnTo>
                  <a:pt x="472088" y="2907116"/>
                </a:lnTo>
                <a:lnTo>
                  <a:pt x="470435" y="2906032"/>
                </a:lnTo>
                <a:cubicBezTo>
                  <a:pt x="470126" y="2904792"/>
                  <a:pt x="469919" y="2904018"/>
                  <a:pt x="470126" y="2903399"/>
                </a:cubicBezTo>
                <a:cubicBezTo>
                  <a:pt x="470332" y="2902779"/>
                  <a:pt x="470952" y="2902469"/>
                  <a:pt x="472191" y="2902004"/>
                </a:cubicBezTo>
                <a:lnTo>
                  <a:pt x="472707" y="2901849"/>
                </a:lnTo>
                <a:lnTo>
                  <a:pt x="471985" y="2900455"/>
                </a:lnTo>
                <a:cubicBezTo>
                  <a:pt x="472914" y="2900455"/>
                  <a:pt x="473740" y="2900301"/>
                  <a:pt x="473740" y="2899526"/>
                </a:cubicBezTo>
                <a:close/>
                <a:moveTo>
                  <a:pt x="636988" y="2898906"/>
                </a:moveTo>
                <a:lnTo>
                  <a:pt x="635232" y="2902469"/>
                </a:lnTo>
                <a:lnTo>
                  <a:pt x="633477" y="2903399"/>
                </a:lnTo>
                <a:lnTo>
                  <a:pt x="639053" y="2904328"/>
                </a:lnTo>
                <a:lnTo>
                  <a:pt x="637814" y="2903244"/>
                </a:lnTo>
                <a:cubicBezTo>
                  <a:pt x="637917" y="2902314"/>
                  <a:pt x="638330" y="2901695"/>
                  <a:pt x="638950" y="2901075"/>
                </a:cubicBezTo>
                <a:lnTo>
                  <a:pt x="640086" y="2900301"/>
                </a:lnTo>
                <a:lnTo>
                  <a:pt x="637917" y="2899526"/>
                </a:lnTo>
                <a:close/>
                <a:moveTo>
                  <a:pt x="679426" y="2898751"/>
                </a:moveTo>
                <a:cubicBezTo>
                  <a:pt x="680665" y="2900610"/>
                  <a:pt x="681182" y="2902314"/>
                  <a:pt x="682524" y="2904173"/>
                </a:cubicBezTo>
                <a:cubicBezTo>
                  <a:pt x="680046" y="2907116"/>
                  <a:pt x="677877" y="2905102"/>
                  <a:pt x="675709" y="2903244"/>
                </a:cubicBezTo>
                <a:cubicBezTo>
                  <a:pt x="676948" y="2901695"/>
                  <a:pt x="676432" y="2899990"/>
                  <a:pt x="679426" y="2898751"/>
                </a:cubicBezTo>
                <a:close/>
                <a:moveTo>
                  <a:pt x="6528482" y="2885548"/>
                </a:moveTo>
                <a:cubicBezTo>
                  <a:pt x="6531463" y="2884915"/>
                  <a:pt x="6533554" y="2886438"/>
                  <a:pt x="6534716" y="2888865"/>
                </a:cubicBezTo>
                <a:cubicBezTo>
                  <a:pt x="6537349" y="2894131"/>
                  <a:pt x="6535646" y="2903734"/>
                  <a:pt x="6529760" y="2904043"/>
                </a:cubicBezTo>
                <a:cubicBezTo>
                  <a:pt x="6528830" y="2904147"/>
                  <a:pt x="6527901" y="2903940"/>
                  <a:pt x="6526971" y="2903630"/>
                </a:cubicBezTo>
                <a:cubicBezTo>
                  <a:pt x="6524183" y="2902598"/>
                  <a:pt x="6520776" y="2900016"/>
                  <a:pt x="6516903" y="2895163"/>
                </a:cubicBezTo>
                <a:cubicBezTo>
                  <a:pt x="6521627" y="2888968"/>
                  <a:pt x="6525500" y="2886180"/>
                  <a:pt x="6528482" y="2885548"/>
                </a:cubicBezTo>
                <a:close/>
                <a:moveTo>
                  <a:pt x="696464" y="2885430"/>
                </a:moveTo>
                <a:cubicBezTo>
                  <a:pt x="698012" y="2884966"/>
                  <a:pt x="699871" y="2884811"/>
                  <a:pt x="702349" y="2885585"/>
                </a:cubicBezTo>
                <a:cubicBezTo>
                  <a:pt x="707822" y="2887134"/>
                  <a:pt x="713191" y="2890542"/>
                  <a:pt x="710816" y="2898906"/>
                </a:cubicBezTo>
                <a:cubicBezTo>
                  <a:pt x="710816" y="2900765"/>
                  <a:pt x="710403" y="2899990"/>
                  <a:pt x="710093" y="2901075"/>
                </a:cubicBezTo>
                <a:cubicBezTo>
                  <a:pt x="709680" y="2902159"/>
                  <a:pt x="709577" y="2904018"/>
                  <a:pt x="709990" y="2904792"/>
                </a:cubicBezTo>
                <a:cubicBezTo>
                  <a:pt x="705654" y="2903709"/>
                  <a:pt x="705240" y="2906496"/>
                  <a:pt x="698632" y="2904483"/>
                </a:cubicBezTo>
                <a:cubicBezTo>
                  <a:pt x="692127" y="2902779"/>
                  <a:pt x="689958" y="2899061"/>
                  <a:pt x="689545" y="2895499"/>
                </a:cubicBezTo>
                <a:cubicBezTo>
                  <a:pt x="689442" y="2894415"/>
                  <a:pt x="689545" y="2893176"/>
                  <a:pt x="689752" y="2892246"/>
                </a:cubicBezTo>
                <a:cubicBezTo>
                  <a:pt x="690578" y="2892556"/>
                  <a:pt x="691817" y="2887134"/>
                  <a:pt x="696464" y="2885430"/>
                </a:cubicBezTo>
                <a:close/>
                <a:moveTo>
                  <a:pt x="418807" y="2885430"/>
                </a:moveTo>
                <a:cubicBezTo>
                  <a:pt x="431508" y="2893640"/>
                  <a:pt x="452159" y="2907891"/>
                  <a:pt x="457735" y="2921831"/>
                </a:cubicBezTo>
                <a:cubicBezTo>
                  <a:pt x="441937" y="2931435"/>
                  <a:pt x="421182" y="2897358"/>
                  <a:pt x="418807" y="2885430"/>
                </a:cubicBezTo>
                <a:close/>
                <a:moveTo>
                  <a:pt x="631722" y="2882178"/>
                </a:moveTo>
                <a:cubicBezTo>
                  <a:pt x="644525" y="2885276"/>
                  <a:pt x="655161" y="2899061"/>
                  <a:pt x="659601" y="2907735"/>
                </a:cubicBezTo>
                <a:lnTo>
                  <a:pt x="645868" y="2902624"/>
                </a:lnTo>
                <a:cubicBezTo>
                  <a:pt x="646488" y="2904948"/>
                  <a:pt x="644835" y="2905722"/>
                  <a:pt x="644835" y="2905722"/>
                </a:cubicBezTo>
                <a:lnTo>
                  <a:pt x="643906" y="2905722"/>
                </a:lnTo>
                <a:lnTo>
                  <a:pt x="645764" y="2907116"/>
                </a:lnTo>
                <a:cubicBezTo>
                  <a:pt x="646591" y="2908200"/>
                  <a:pt x="646900" y="2909594"/>
                  <a:pt x="646900" y="2911298"/>
                </a:cubicBezTo>
                <a:lnTo>
                  <a:pt x="646281" y="2911608"/>
                </a:lnTo>
                <a:lnTo>
                  <a:pt x="646797" y="2911763"/>
                </a:lnTo>
                <a:lnTo>
                  <a:pt x="646797" y="2912072"/>
                </a:lnTo>
                <a:lnTo>
                  <a:pt x="648862" y="2912072"/>
                </a:lnTo>
                <a:cubicBezTo>
                  <a:pt x="652270" y="2913002"/>
                  <a:pt x="655677" y="2915171"/>
                  <a:pt x="658982" y="2919043"/>
                </a:cubicBezTo>
                <a:lnTo>
                  <a:pt x="657742" y="2921986"/>
                </a:lnTo>
                <a:lnTo>
                  <a:pt x="658052" y="2921831"/>
                </a:lnTo>
                <a:cubicBezTo>
                  <a:pt x="658052" y="2921831"/>
                  <a:pt x="657639" y="2922605"/>
                  <a:pt x="657639" y="2922605"/>
                </a:cubicBezTo>
                <a:lnTo>
                  <a:pt x="657432" y="2922605"/>
                </a:lnTo>
                <a:lnTo>
                  <a:pt x="657949" y="2923690"/>
                </a:lnTo>
                <a:lnTo>
                  <a:pt x="656297" y="2925084"/>
                </a:lnTo>
                <a:lnTo>
                  <a:pt x="655574" y="2926633"/>
                </a:lnTo>
                <a:cubicBezTo>
                  <a:pt x="651134" y="2933449"/>
                  <a:pt x="643596" y="2937011"/>
                  <a:pt x="636575" y="2934223"/>
                </a:cubicBezTo>
                <a:cubicBezTo>
                  <a:pt x="630999" y="2931125"/>
                  <a:pt x="629450" y="2926633"/>
                  <a:pt x="630380" y="2922296"/>
                </a:cubicBezTo>
                <a:cubicBezTo>
                  <a:pt x="630792" y="2920127"/>
                  <a:pt x="631928" y="2918113"/>
                  <a:pt x="633477" y="2916410"/>
                </a:cubicBezTo>
                <a:lnTo>
                  <a:pt x="634923" y="2915325"/>
                </a:lnTo>
                <a:lnTo>
                  <a:pt x="634406" y="2911453"/>
                </a:lnTo>
                <a:lnTo>
                  <a:pt x="635232" y="2911143"/>
                </a:lnTo>
                <a:lnTo>
                  <a:pt x="633787" y="2909749"/>
                </a:lnTo>
                <a:lnTo>
                  <a:pt x="632961" y="2903709"/>
                </a:lnTo>
                <a:lnTo>
                  <a:pt x="632548" y="2904018"/>
                </a:lnTo>
                <a:cubicBezTo>
                  <a:pt x="631412" y="2904483"/>
                  <a:pt x="630380" y="2904792"/>
                  <a:pt x="629967" y="2904328"/>
                </a:cubicBezTo>
                <a:cubicBezTo>
                  <a:pt x="629140" y="2903553"/>
                  <a:pt x="629140" y="2902779"/>
                  <a:pt x="629244" y="2901849"/>
                </a:cubicBezTo>
                <a:cubicBezTo>
                  <a:pt x="630173" y="2900146"/>
                  <a:pt x="631102" y="2898442"/>
                  <a:pt x="632031" y="2896738"/>
                </a:cubicBezTo>
                <a:lnTo>
                  <a:pt x="632754" y="2896118"/>
                </a:lnTo>
                <a:lnTo>
                  <a:pt x="627695" y="2892866"/>
                </a:lnTo>
                <a:lnTo>
                  <a:pt x="624391" y="2889458"/>
                </a:lnTo>
                <a:cubicBezTo>
                  <a:pt x="622326" y="2891007"/>
                  <a:pt x="619951" y="2889148"/>
                  <a:pt x="620054" y="2888219"/>
                </a:cubicBezTo>
                <a:lnTo>
                  <a:pt x="622532" y="2887289"/>
                </a:lnTo>
                <a:lnTo>
                  <a:pt x="618402" y="2882952"/>
                </a:lnTo>
                <a:cubicBezTo>
                  <a:pt x="622945" y="2881093"/>
                  <a:pt x="627488" y="2881093"/>
                  <a:pt x="631722" y="2882178"/>
                </a:cubicBezTo>
                <a:close/>
                <a:moveTo>
                  <a:pt x="473533" y="2881403"/>
                </a:moveTo>
                <a:cubicBezTo>
                  <a:pt x="475392" y="2883572"/>
                  <a:pt x="471571" y="2890697"/>
                  <a:pt x="469093" y="2893485"/>
                </a:cubicBezTo>
                <a:cubicBezTo>
                  <a:pt x="468680" y="2893020"/>
                  <a:pt x="468577" y="2892091"/>
                  <a:pt x="468784" y="2891007"/>
                </a:cubicBezTo>
                <a:cubicBezTo>
                  <a:pt x="469196" y="2888064"/>
                  <a:pt x="471778" y="2883572"/>
                  <a:pt x="473533" y="2881403"/>
                </a:cubicBezTo>
                <a:close/>
                <a:moveTo>
                  <a:pt x="445241" y="2881403"/>
                </a:moveTo>
                <a:cubicBezTo>
                  <a:pt x="447099" y="2883881"/>
                  <a:pt x="446996" y="2888064"/>
                  <a:pt x="443073" y="2891162"/>
                </a:cubicBezTo>
                <a:cubicBezTo>
                  <a:pt x="439459" y="2890852"/>
                  <a:pt x="437291" y="2889613"/>
                  <a:pt x="435535" y="2888838"/>
                </a:cubicBezTo>
                <a:cubicBezTo>
                  <a:pt x="435845" y="2886515"/>
                  <a:pt x="435535" y="2884656"/>
                  <a:pt x="435948" y="2882333"/>
                </a:cubicBezTo>
                <a:cubicBezTo>
                  <a:pt x="439665" y="2878305"/>
                  <a:pt x="443383" y="2879080"/>
                  <a:pt x="445241" y="2881403"/>
                </a:cubicBezTo>
                <a:close/>
                <a:moveTo>
                  <a:pt x="641221" y="2881093"/>
                </a:moveTo>
                <a:cubicBezTo>
                  <a:pt x="646694" y="2883572"/>
                  <a:pt x="653405" y="2884811"/>
                  <a:pt x="658156" y="2888993"/>
                </a:cubicBezTo>
                <a:cubicBezTo>
                  <a:pt x="652580" y="2891316"/>
                  <a:pt x="640912" y="2889303"/>
                  <a:pt x="641221" y="2881093"/>
                </a:cubicBezTo>
                <a:close/>
                <a:moveTo>
                  <a:pt x="561714" y="2880319"/>
                </a:moveTo>
                <a:cubicBezTo>
                  <a:pt x="563263" y="2881248"/>
                  <a:pt x="565225" y="2881558"/>
                  <a:pt x="566670" y="2882487"/>
                </a:cubicBezTo>
                <a:cubicBezTo>
                  <a:pt x="570078" y="2890387"/>
                  <a:pt x="566877" y="2890387"/>
                  <a:pt x="562850" y="2891626"/>
                </a:cubicBezTo>
                <a:cubicBezTo>
                  <a:pt x="561818" y="2890077"/>
                  <a:pt x="559132" y="2889303"/>
                  <a:pt x="558513" y="2886979"/>
                </a:cubicBezTo>
                <a:cubicBezTo>
                  <a:pt x="558513" y="2886979"/>
                  <a:pt x="558410" y="2886670"/>
                  <a:pt x="558513" y="2886205"/>
                </a:cubicBezTo>
                <a:cubicBezTo>
                  <a:pt x="558513" y="2885740"/>
                  <a:pt x="558617" y="2885121"/>
                  <a:pt x="559029" y="2884347"/>
                </a:cubicBezTo>
                <a:cubicBezTo>
                  <a:pt x="558926" y="2881403"/>
                  <a:pt x="562437" y="2880783"/>
                  <a:pt x="562437" y="2880783"/>
                </a:cubicBezTo>
                <a:cubicBezTo>
                  <a:pt x="562437" y="2880783"/>
                  <a:pt x="562437" y="2880783"/>
                  <a:pt x="561714" y="2880319"/>
                </a:cubicBezTo>
                <a:close/>
                <a:moveTo>
                  <a:pt x="399602" y="2878305"/>
                </a:moveTo>
                <a:cubicBezTo>
                  <a:pt x="408275" y="2877066"/>
                  <a:pt x="420460" y="2892711"/>
                  <a:pt x="413748" y="2899990"/>
                </a:cubicBezTo>
                <a:cubicBezTo>
                  <a:pt x="409411" y="2891626"/>
                  <a:pt x="402390" y="2888838"/>
                  <a:pt x="399602" y="2878305"/>
                </a:cubicBezTo>
                <a:close/>
                <a:moveTo>
                  <a:pt x="738592" y="2878150"/>
                </a:moveTo>
                <a:cubicBezTo>
                  <a:pt x="739315" y="2877686"/>
                  <a:pt x="740244" y="2877686"/>
                  <a:pt x="741380" y="2878305"/>
                </a:cubicBezTo>
                <a:cubicBezTo>
                  <a:pt x="741277" y="2879389"/>
                  <a:pt x="741896" y="2881248"/>
                  <a:pt x="741173" y="2882952"/>
                </a:cubicBezTo>
                <a:cubicBezTo>
                  <a:pt x="738902" y="2883572"/>
                  <a:pt x="737766" y="2882642"/>
                  <a:pt x="737353" y="2881558"/>
                </a:cubicBezTo>
                <a:cubicBezTo>
                  <a:pt x="737043" y="2880319"/>
                  <a:pt x="737560" y="2878925"/>
                  <a:pt x="738592" y="2878150"/>
                </a:cubicBezTo>
                <a:close/>
                <a:moveTo>
                  <a:pt x="499451" y="2876756"/>
                </a:moveTo>
                <a:cubicBezTo>
                  <a:pt x="501412" y="2876756"/>
                  <a:pt x="500586" y="2880164"/>
                  <a:pt x="501103" y="2880938"/>
                </a:cubicBezTo>
                <a:cubicBezTo>
                  <a:pt x="500793" y="2882023"/>
                  <a:pt x="500483" y="2883107"/>
                  <a:pt x="499347" y="2882797"/>
                </a:cubicBezTo>
                <a:cubicBezTo>
                  <a:pt x="498108" y="2882487"/>
                  <a:pt x="497385" y="2882797"/>
                  <a:pt x="497179" y="2880938"/>
                </a:cubicBezTo>
                <a:cubicBezTo>
                  <a:pt x="496766" y="2880164"/>
                  <a:pt x="496972" y="2879080"/>
                  <a:pt x="496456" y="2878305"/>
                </a:cubicBezTo>
                <a:cubicBezTo>
                  <a:pt x="496456" y="2878305"/>
                  <a:pt x="496972" y="2877840"/>
                  <a:pt x="497489" y="2877531"/>
                </a:cubicBezTo>
                <a:cubicBezTo>
                  <a:pt x="498108" y="2877066"/>
                  <a:pt x="498831" y="2876602"/>
                  <a:pt x="499451" y="2876756"/>
                </a:cubicBezTo>
                <a:close/>
                <a:moveTo>
                  <a:pt x="870140" y="2875517"/>
                </a:moveTo>
                <a:lnTo>
                  <a:pt x="869830" y="2877840"/>
                </a:lnTo>
                <a:lnTo>
                  <a:pt x="869830" y="2877995"/>
                </a:lnTo>
                <a:lnTo>
                  <a:pt x="870347" y="2877221"/>
                </a:lnTo>
                <a:close/>
                <a:moveTo>
                  <a:pt x="539617" y="2875362"/>
                </a:moveTo>
                <a:lnTo>
                  <a:pt x="539617" y="2875982"/>
                </a:lnTo>
                <a:lnTo>
                  <a:pt x="539824" y="2875982"/>
                </a:lnTo>
                <a:close/>
                <a:moveTo>
                  <a:pt x="597234" y="2871800"/>
                </a:moveTo>
                <a:cubicBezTo>
                  <a:pt x="601571" y="2871955"/>
                  <a:pt x="604462" y="2875052"/>
                  <a:pt x="606321" y="2878925"/>
                </a:cubicBezTo>
                <a:lnTo>
                  <a:pt x="608592" y="2890077"/>
                </a:lnTo>
                <a:lnTo>
                  <a:pt x="611174" y="2890077"/>
                </a:lnTo>
                <a:cubicBezTo>
                  <a:pt x="612310" y="2891471"/>
                  <a:pt x="612310" y="2892556"/>
                  <a:pt x="611794" y="2893795"/>
                </a:cubicBezTo>
                <a:lnTo>
                  <a:pt x="610555" y="2895499"/>
                </a:lnTo>
                <a:lnTo>
                  <a:pt x="615717" y="2895963"/>
                </a:lnTo>
                <a:cubicBezTo>
                  <a:pt x="613962" y="2897977"/>
                  <a:pt x="611380" y="2898442"/>
                  <a:pt x="609935" y="2901230"/>
                </a:cubicBezTo>
                <a:lnTo>
                  <a:pt x="609419" y="2903553"/>
                </a:lnTo>
                <a:lnTo>
                  <a:pt x="613755" y="2909904"/>
                </a:lnTo>
                <a:lnTo>
                  <a:pt x="613858" y="2909130"/>
                </a:lnTo>
                <a:cubicBezTo>
                  <a:pt x="614581" y="2908045"/>
                  <a:pt x="615717" y="2907271"/>
                  <a:pt x="617266" y="2906806"/>
                </a:cubicBezTo>
                <a:cubicBezTo>
                  <a:pt x="619331" y="2906341"/>
                  <a:pt x="622119" y="2906496"/>
                  <a:pt x="625423" y="2907891"/>
                </a:cubicBezTo>
                <a:cubicBezTo>
                  <a:pt x="628108" y="2911453"/>
                  <a:pt x="626146" y="2918733"/>
                  <a:pt x="622635" y="2919198"/>
                </a:cubicBezTo>
                <a:cubicBezTo>
                  <a:pt x="619744" y="2918578"/>
                  <a:pt x="617472" y="2917494"/>
                  <a:pt x="615924" y="2916410"/>
                </a:cubicBezTo>
                <a:lnTo>
                  <a:pt x="613858" y="2913622"/>
                </a:lnTo>
                <a:lnTo>
                  <a:pt x="611277" y="2917649"/>
                </a:lnTo>
                <a:lnTo>
                  <a:pt x="610141" y="2918268"/>
                </a:lnTo>
                <a:lnTo>
                  <a:pt x="611277" y="2918733"/>
                </a:lnTo>
                <a:cubicBezTo>
                  <a:pt x="615614" y="2921676"/>
                  <a:pt x="619021" y="2927717"/>
                  <a:pt x="618712" y="2931280"/>
                </a:cubicBezTo>
                <a:lnTo>
                  <a:pt x="616233" y="2932983"/>
                </a:lnTo>
                <a:lnTo>
                  <a:pt x="616750" y="2933913"/>
                </a:lnTo>
                <a:lnTo>
                  <a:pt x="617886" y="2937630"/>
                </a:lnTo>
                <a:lnTo>
                  <a:pt x="618402" y="2937321"/>
                </a:lnTo>
                <a:cubicBezTo>
                  <a:pt x="619124" y="2937166"/>
                  <a:pt x="619951" y="2937476"/>
                  <a:pt x="620777" y="2938250"/>
                </a:cubicBezTo>
                <a:cubicBezTo>
                  <a:pt x="623255" y="2939799"/>
                  <a:pt x="623152" y="2942432"/>
                  <a:pt x="622119" y="2944911"/>
                </a:cubicBezTo>
                <a:cubicBezTo>
                  <a:pt x="622945" y="2946614"/>
                  <a:pt x="624597" y="2947389"/>
                  <a:pt x="623668" y="2949093"/>
                </a:cubicBezTo>
                <a:cubicBezTo>
                  <a:pt x="622016" y="2946614"/>
                  <a:pt x="621293" y="2945840"/>
                  <a:pt x="620467" y="2944136"/>
                </a:cubicBezTo>
                <a:cubicBezTo>
                  <a:pt x="619641" y="2944136"/>
                  <a:pt x="618815" y="2944136"/>
                  <a:pt x="617989" y="2943362"/>
                </a:cubicBezTo>
                <a:lnTo>
                  <a:pt x="617266" y="2941813"/>
                </a:lnTo>
                <a:lnTo>
                  <a:pt x="616130" y="2942123"/>
                </a:lnTo>
                <a:cubicBezTo>
                  <a:pt x="615407" y="2942432"/>
                  <a:pt x="614685" y="2942742"/>
                  <a:pt x="613858" y="2943362"/>
                </a:cubicBezTo>
                <a:cubicBezTo>
                  <a:pt x="613342" y="2940728"/>
                  <a:pt x="612413" y="2938869"/>
                  <a:pt x="611690" y="2937166"/>
                </a:cubicBezTo>
                <a:lnTo>
                  <a:pt x="611277" y="2934533"/>
                </a:lnTo>
                <a:lnTo>
                  <a:pt x="610967" y="2934533"/>
                </a:lnTo>
                <a:cubicBezTo>
                  <a:pt x="609212" y="2934223"/>
                  <a:pt x="607663" y="2933294"/>
                  <a:pt x="606321" y="2932054"/>
                </a:cubicBezTo>
                <a:lnTo>
                  <a:pt x="605495" y="2930660"/>
                </a:lnTo>
                <a:cubicBezTo>
                  <a:pt x="603017" y="2932519"/>
                  <a:pt x="598680" y="2932519"/>
                  <a:pt x="595376" y="2928956"/>
                </a:cubicBezTo>
                <a:cubicBezTo>
                  <a:pt x="595479" y="2925394"/>
                  <a:pt x="596821" y="2923225"/>
                  <a:pt x="597441" y="2921521"/>
                </a:cubicBezTo>
                <a:lnTo>
                  <a:pt x="603429" y="2921676"/>
                </a:lnTo>
                <a:lnTo>
                  <a:pt x="604462" y="2920282"/>
                </a:lnTo>
                <a:lnTo>
                  <a:pt x="599919" y="2920127"/>
                </a:lnTo>
                <a:cubicBezTo>
                  <a:pt x="597751" y="2919662"/>
                  <a:pt x="595479" y="2918888"/>
                  <a:pt x="593311" y="2917649"/>
                </a:cubicBezTo>
                <a:cubicBezTo>
                  <a:pt x="582365" y="2912072"/>
                  <a:pt x="571730" y="2898906"/>
                  <a:pt x="571936" y="2888373"/>
                </a:cubicBezTo>
                <a:cubicBezTo>
                  <a:pt x="571936" y="2884966"/>
                  <a:pt x="573279" y="2881713"/>
                  <a:pt x="576170" y="2879234"/>
                </a:cubicBezTo>
                <a:cubicBezTo>
                  <a:pt x="579784" y="2880474"/>
                  <a:pt x="583295" y="2882023"/>
                  <a:pt x="586909" y="2883726"/>
                </a:cubicBezTo>
                <a:lnTo>
                  <a:pt x="596924" y="2890232"/>
                </a:lnTo>
                <a:lnTo>
                  <a:pt x="596098" y="2887134"/>
                </a:lnTo>
                <a:cubicBezTo>
                  <a:pt x="595789" y="2885121"/>
                  <a:pt x="595789" y="2883417"/>
                  <a:pt x="595892" y="2881868"/>
                </a:cubicBezTo>
                <a:cubicBezTo>
                  <a:pt x="598060" y="2882952"/>
                  <a:pt x="599816" y="2884347"/>
                  <a:pt x="601364" y="2886050"/>
                </a:cubicBezTo>
                <a:lnTo>
                  <a:pt x="604359" y="2890697"/>
                </a:lnTo>
                <a:lnTo>
                  <a:pt x="606940" y="2890232"/>
                </a:lnTo>
                <a:lnTo>
                  <a:pt x="603223" y="2887754"/>
                </a:lnTo>
                <a:cubicBezTo>
                  <a:pt x="598887" y="2883572"/>
                  <a:pt x="598060" y="2877686"/>
                  <a:pt x="597234" y="2871800"/>
                </a:cubicBezTo>
                <a:close/>
                <a:moveTo>
                  <a:pt x="6489028" y="2869990"/>
                </a:moveTo>
                <a:cubicBezTo>
                  <a:pt x="6492656" y="2870844"/>
                  <a:pt x="6495857" y="2873973"/>
                  <a:pt x="6499058" y="2878810"/>
                </a:cubicBezTo>
                <a:cubicBezTo>
                  <a:pt x="6496711" y="2882082"/>
                  <a:pt x="6496283" y="2885497"/>
                  <a:pt x="6493723" y="2890618"/>
                </a:cubicBezTo>
                <a:cubicBezTo>
                  <a:pt x="6488387" y="2889908"/>
                  <a:pt x="6478143" y="2883505"/>
                  <a:pt x="6477290" y="2874542"/>
                </a:cubicBezTo>
                <a:cubicBezTo>
                  <a:pt x="6481558" y="2870559"/>
                  <a:pt x="6485399" y="2869136"/>
                  <a:pt x="6489028" y="2869990"/>
                </a:cubicBezTo>
                <a:close/>
                <a:moveTo>
                  <a:pt x="718767" y="2869786"/>
                </a:moveTo>
                <a:cubicBezTo>
                  <a:pt x="721452" y="2873194"/>
                  <a:pt x="717941" y="2877376"/>
                  <a:pt x="716392" y="2879854"/>
                </a:cubicBezTo>
                <a:lnTo>
                  <a:pt x="714843" y="2879080"/>
                </a:lnTo>
                <a:lnTo>
                  <a:pt x="715050" y="2880938"/>
                </a:lnTo>
                <a:cubicBezTo>
                  <a:pt x="714843" y="2881868"/>
                  <a:pt x="714740" y="2882642"/>
                  <a:pt x="714533" y="2883726"/>
                </a:cubicBezTo>
                <a:cubicBezTo>
                  <a:pt x="712571" y="2883572"/>
                  <a:pt x="710609" y="2885276"/>
                  <a:pt x="708235" y="2884347"/>
                </a:cubicBezTo>
                <a:cubicBezTo>
                  <a:pt x="708235" y="2884347"/>
                  <a:pt x="707099" y="2883881"/>
                  <a:pt x="706273" y="2882333"/>
                </a:cubicBezTo>
                <a:cubicBezTo>
                  <a:pt x="703588" y="2880629"/>
                  <a:pt x="704724" y="2877376"/>
                  <a:pt x="704724" y="2877376"/>
                </a:cubicBezTo>
                <a:cubicBezTo>
                  <a:pt x="704724" y="2877376"/>
                  <a:pt x="704724" y="2877221"/>
                  <a:pt x="704001" y="2877531"/>
                </a:cubicBezTo>
                <a:cubicBezTo>
                  <a:pt x="705550" y="2876911"/>
                  <a:pt x="706686" y="2875672"/>
                  <a:pt x="708235" y="2875052"/>
                </a:cubicBezTo>
                <a:lnTo>
                  <a:pt x="708957" y="2875207"/>
                </a:lnTo>
                <a:lnTo>
                  <a:pt x="708338" y="2874743"/>
                </a:lnTo>
                <a:cubicBezTo>
                  <a:pt x="709061" y="2872574"/>
                  <a:pt x="710403" y="2871025"/>
                  <a:pt x="712159" y="2870096"/>
                </a:cubicBezTo>
                <a:cubicBezTo>
                  <a:pt x="713811" y="2869166"/>
                  <a:pt x="716082" y="2868857"/>
                  <a:pt x="718767" y="2869786"/>
                </a:cubicBezTo>
                <a:close/>
                <a:moveTo>
                  <a:pt x="237489" y="2867462"/>
                </a:moveTo>
                <a:cubicBezTo>
                  <a:pt x="240484" y="2866378"/>
                  <a:pt x="242859" y="2866533"/>
                  <a:pt x="244614" y="2867462"/>
                </a:cubicBezTo>
                <a:cubicBezTo>
                  <a:pt x="250087" y="2869941"/>
                  <a:pt x="250396" y="2878770"/>
                  <a:pt x="246886" y="2882023"/>
                </a:cubicBezTo>
                <a:cubicBezTo>
                  <a:pt x="240587" y="2882487"/>
                  <a:pt x="236457" y="2877221"/>
                  <a:pt x="236250" y="2872109"/>
                </a:cubicBezTo>
                <a:cubicBezTo>
                  <a:pt x="236250" y="2870405"/>
                  <a:pt x="236560" y="2868857"/>
                  <a:pt x="237489" y="2867462"/>
                </a:cubicBezTo>
                <a:close/>
                <a:moveTo>
                  <a:pt x="547633" y="2866746"/>
                </a:moveTo>
                <a:cubicBezTo>
                  <a:pt x="549582" y="2866804"/>
                  <a:pt x="551802" y="2867772"/>
                  <a:pt x="554073" y="2869166"/>
                </a:cubicBezTo>
                <a:cubicBezTo>
                  <a:pt x="553247" y="2870096"/>
                  <a:pt x="555932" y="2871335"/>
                  <a:pt x="556861" y="2872884"/>
                </a:cubicBezTo>
                <a:cubicBezTo>
                  <a:pt x="557067" y="2875517"/>
                  <a:pt x="557171" y="2877066"/>
                  <a:pt x="555519" y="2879080"/>
                </a:cubicBezTo>
                <a:lnTo>
                  <a:pt x="552421" y="2880938"/>
                </a:lnTo>
                <a:lnTo>
                  <a:pt x="553763" y="2882797"/>
                </a:lnTo>
                <a:cubicBezTo>
                  <a:pt x="555828" y="2887909"/>
                  <a:pt x="556242" y="2893950"/>
                  <a:pt x="547465" y="2895963"/>
                </a:cubicBezTo>
                <a:cubicBezTo>
                  <a:pt x="545813" y="2896738"/>
                  <a:pt x="546226" y="2896118"/>
                  <a:pt x="545090" y="2896273"/>
                </a:cubicBezTo>
                <a:cubicBezTo>
                  <a:pt x="543851" y="2896428"/>
                  <a:pt x="542198" y="2897358"/>
                  <a:pt x="541786" y="2897977"/>
                </a:cubicBezTo>
                <a:cubicBezTo>
                  <a:pt x="540030" y="2894104"/>
                  <a:pt x="537242" y="2895189"/>
                  <a:pt x="534868" y="2888838"/>
                </a:cubicBezTo>
                <a:cubicBezTo>
                  <a:pt x="534041" y="2886825"/>
                  <a:pt x="533629" y="2885121"/>
                  <a:pt x="533629" y="2883572"/>
                </a:cubicBezTo>
                <a:lnTo>
                  <a:pt x="533938" y="2882487"/>
                </a:lnTo>
                <a:lnTo>
                  <a:pt x="533629" y="2882797"/>
                </a:lnTo>
                <a:cubicBezTo>
                  <a:pt x="531460" y="2884966"/>
                  <a:pt x="529395" y="2886515"/>
                  <a:pt x="528053" y="2886205"/>
                </a:cubicBezTo>
                <a:cubicBezTo>
                  <a:pt x="528053" y="2885430"/>
                  <a:pt x="527949" y="2884656"/>
                  <a:pt x="528775" y="2883726"/>
                </a:cubicBezTo>
                <a:cubicBezTo>
                  <a:pt x="529601" y="2882642"/>
                  <a:pt x="529601" y="2883572"/>
                  <a:pt x="529601" y="2882642"/>
                </a:cubicBezTo>
                <a:cubicBezTo>
                  <a:pt x="530427" y="2881713"/>
                  <a:pt x="529601" y="2881868"/>
                  <a:pt x="529601" y="2881868"/>
                </a:cubicBezTo>
                <a:cubicBezTo>
                  <a:pt x="529601" y="2881868"/>
                  <a:pt x="530427" y="2881713"/>
                  <a:pt x="530427" y="2881713"/>
                </a:cubicBezTo>
                <a:cubicBezTo>
                  <a:pt x="530427" y="2881713"/>
                  <a:pt x="530427" y="2881713"/>
                  <a:pt x="532080" y="2879854"/>
                </a:cubicBezTo>
                <a:cubicBezTo>
                  <a:pt x="533629" y="2877066"/>
                  <a:pt x="533629" y="2876292"/>
                  <a:pt x="534351" y="2874433"/>
                </a:cubicBezTo>
                <a:cubicBezTo>
                  <a:pt x="536003" y="2872574"/>
                  <a:pt x="536829" y="2872264"/>
                  <a:pt x="539307" y="2870251"/>
                </a:cubicBezTo>
                <a:cubicBezTo>
                  <a:pt x="541063" y="2870870"/>
                  <a:pt x="541063" y="2870870"/>
                  <a:pt x="541166" y="2871800"/>
                </a:cubicBezTo>
                <a:cubicBezTo>
                  <a:pt x="541063" y="2870870"/>
                  <a:pt x="541992" y="2870870"/>
                  <a:pt x="542818" y="2869786"/>
                </a:cubicBezTo>
                <a:cubicBezTo>
                  <a:pt x="544006" y="2867540"/>
                  <a:pt x="545684" y="2866688"/>
                  <a:pt x="547633" y="2866746"/>
                </a:cubicBezTo>
                <a:close/>
                <a:moveTo>
                  <a:pt x="791769" y="2864365"/>
                </a:moveTo>
                <a:lnTo>
                  <a:pt x="791150" y="2864984"/>
                </a:lnTo>
                <a:cubicBezTo>
                  <a:pt x="790736" y="2866533"/>
                  <a:pt x="791666" y="2868237"/>
                  <a:pt x="792079" y="2869786"/>
                </a:cubicBezTo>
                <a:lnTo>
                  <a:pt x="792079" y="2870405"/>
                </a:lnTo>
                <a:lnTo>
                  <a:pt x="792905" y="2868857"/>
                </a:lnTo>
                <a:lnTo>
                  <a:pt x="794144" y="2868082"/>
                </a:lnTo>
                <a:close/>
                <a:moveTo>
                  <a:pt x="617576" y="2863900"/>
                </a:moveTo>
                <a:cubicBezTo>
                  <a:pt x="621499" y="2864210"/>
                  <a:pt x="622738" y="2864674"/>
                  <a:pt x="625836" y="2866998"/>
                </a:cubicBezTo>
                <a:cubicBezTo>
                  <a:pt x="625733" y="2872574"/>
                  <a:pt x="622532" y="2875672"/>
                  <a:pt x="619331" y="2878770"/>
                </a:cubicBezTo>
                <a:cubicBezTo>
                  <a:pt x="614891" y="2878460"/>
                  <a:pt x="613239" y="2877066"/>
                  <a:pt x="613033" y="2875052"/>
                </a:cubicBezTo>
                <a:cubicBezTo>
                  <a:pt x="613033" y="2874433"/>
                  <a:pt x="613033" y="2873814"/>
                  <a:pt x="613239" y="2873039"/>
                </a:cubicBezTo>
                <a:cubicBezTo>
                  <a:pt x="614065" y="2870096"/>
                  <a:pt x="616543" y="2866533"/>
                  <a:pt x="617576" y="2863900"/>
                </a:cubicBezTo>
                <a:close/>
                <a:moveTo>
                  <a:pt x="878297" y="2863590"/>
                </a:moveTo>
                <a:lnTo>
                  <a:pt x="876026" y="2864210"/>
                </a:lnTo>
                <a:cubicBezTo>
                  <a:pt x="874270" y="2865139"/>
                  <a:pt x="872515" y="2865913"/>
                  <a:pt x="870037" y="2866533"/>
                </a:cubicBezTo>
                <a:cubicBezTo>
                  <a:pt x="868282" y="2867462"/>
                  <a:pt x="866526" y="2868237"/>
                  <a:pt x="864048" y="2868857"/>
                </a:cubicBezTo>
                <a:cubicBezTo>
                  <a:pt x="860125" y="2870405"/>
                  <a:pt x="856511" y="2871955"/>
                  <a:pt x="853103" y="2873039"/>
                </a:cubicBezTo>
                <a:lnTo>
                  <a:pt x="851761" y="2873348"/>
                </a:lnTo>
                <a:lnTo>
                  <a:pt x="851554" y="2873658"/>
                </a:lnTo>
                <a:cubicBezTo>
                  <a:pt x="847424" y="2879854"/>
                  <a:pt x="843500" y="2885585"/>
                  <a:pt x="838854" y="2890542"/>
                </a:cubicBezTo>
                <a:cubicBezTo>
                  <a:pt x="838337" y="2886979"/>
                  <a:pt x="838854" y="2883572"/>
                  <a:pt x="839886" y="2880164"/>
                </a:cubicBezTo>
                <a:lnTo>
                  <a:pt x="841745" y="2876136"/>
                </a:lnTo>
                <a:lnTo>
                  <a:pt x="835653" y="2878770"/>
                </a:lnTo>
                <a:cubicBezTo>
                  <a:pt x="832865" y="2880319"/>
                  <a:pt x="829870" y="2882178"/>
                  <a:pt x="827083" y="2883726"/>
                </a:cubicBezTo>
                <a:cubicBezTo>
                  <a:pt x="820887" y="2886825"/>
                  <a:pt x="815518" y="2889303"/>
                  <a:pt x="812523" y="2886825"/>
                </a:cubicBezTo>
                <a:cubicBezTo>
                  <a:pt x="804986" y="2889303"/>
                  <a:pt x="798171" y="2892091"/>
                  <a:pt x="791563" y="2894104"/>
                </a:cubicBezTo>
                <a:lnTo>
                  <a:pt x="786296" y="2896428"/>
                </a:lnTo>
                <a:lnTo>
                  <a:pt x="789497" y="2903244"/>
                </a:lnTo>
                <a:cubicBezTo>
                  <a:pt x="784748" y="2907735"/>
                  <a:pt x="778862" y="2909284"/>
                  <a:pt x="773080" y="2908820"/>
                </a:cubicBezTo>
                <a:lnTo>
                  <a:pt x="766368" y="2906032"/>
                </a:lnTo>
                <a:lnTo>
                  <a:pt x="755939" y="2911763"/>
                </a:lnTo>
                <a:cubicBezTo>
                  <a:pt x="750570" y="2914241"/>
                  <a:pt x="745200" y="2917494"/>
                  <a:pt x="739831" y="2919972"/>
                </a:cubicBezTo>
                <a:cubicBezTo>
                  <a:pt x="738902" y="2918268"/>
                  <a:pt x="740863" y="2916719"/>
                  <a:pt x="739934" y="2915015"/>
                </a:cubicBezTo>
                <a:cubicBezTo>
                  <a:pt x="739625" y="2914086"/>
                  <a:pt x="739108" y="2913776"/>
                  <a:pt x="738592" y="2913776"/>
                </a:cubicBezTo>
                <a:lnTo>
                  <a:pt x="737043" y="2914551"/>
                </a:lnTo>
                <a:cubicBezTo>
                  <a:pt x="735597" y="2915325"/>
                  <a:pt x="734978" y="2916874"/>
                  <a:pt x="734152" y="2918578"/>
                </a:cubicBezTo>
                <a:lnTo>
                  <a:pt x="733429" y="2919353"/>
                </a:lnTo>
                <a:lnTo>
                  <a:pt x="733429" y="2919508"/>
                </a:lnTo>
                <a:cubicBezTo>
                  <a:pt x="734978" y="2919972"/>
                  <a:pt x="737560" y="2916874"/>
                  <a:pt x="738076" y="2920747"/>
                </a:cubicBezTo>
                <a:lnTo>
                  <a:pt x="729505" y="2927098"/>
                </a:lnTo>
                <a:lnTo>
                  <a:pt x="729609" y="2929266"/>
                </a:lnTo>
                <a:cubicBezTo>
                  <a:pt x="728473" y="2928956"/>
                  <a:pt x="727543" y="2932519"/>
                  <a:pt x="727234" y="2933758"/>
                </a:cubicBezTo>
                <a:cubicBezTo>
                  <a:pt x="724859" y="2933294"/>
                  <a:pt x="723207" y="2937321"/>
                  <a:pt x="719593" y="2936856"/>
                </a:cubicBezTo>
                <a:lnTo>
                  <a:pt x="718251" y="2933603"/>
                </a:lnTo>
                <a:lnTo>
                  <a:pt x="717424" y="2934068"/>
                </a:lnTo>
                <a:cubicBezTo>
                  <a:pt x="709267" y="2938560"/>
                  <a:pt x="701110" y="2943052"/>
                  <a:pt x="695844" y="2947854"/>
                </a:cubicBezTo>
                <a:cubicBezTo>
                  <a:pt x="694398" y="2945066"/>
                  <a:pt x="699355" y="2943826"/>
                  <a:pt x="696980" y="2941658"/>
                </a:cubicBezTo>
                <a:cubicBezTo>
                  <a:pt x="690165" y="2944446"/>
                  <a:pt x="697393" y="2952656"/>
                  <a:pt x="688616" y="2951726"/>
                </a:cubicBezTo>
                <a:cubicBezTo>
                  <a:pt x="687893" y="2949402"/>
                  <a:pt x="689132" y="2947699"/>
                  <a:pt x="692643" y="2945995"/>
                </a:cubicBezTo>
                <a:cubicBezTo>
                  <a:pt x="684795" y="2944756"/>
                  <a:pt x="680768" y="2957767"/>
                  <a:pt x="676432" y="2957147"/>
                </a:cubicBezTo>
                <a:lnTo>
                  <a:pt x="679426" y="2958077"/>
                </a:lnTo>
                <a:lnTo>
                  <a:pt x="680149" y="2956063"/>
                </a:lnTo>
                <a:lnTo>
                  <a:pt x="684176" y="2956528"/>
                </a:lnTo>
                <a:lnTo>
                  <a:pt x="686551" y="2955598"/>
                </a:lnTo>
                <a:cubicBezTo>
                  <a:pt x="687687" y="2954359"/>
                  <a:pt x="690061" y="2953430"/>
                  <a:pt x="692023" y="2953585"/>
                </a:cubicBezTo>
                <a:cubicBezTo>
                  <a:pt x="694295" y="2954514"/>
                  <a:pt x="695121" y="2956063"/>
                  <a:pt x="694708" y="2957147"/>
                </a:cubicBezTo>
                <a:cubicBezTo>
                  <a:pt x="692746" y="2966131"/>
                  <a:pt x="684279" y="2965822"/>
                  <a:pt x="683040" y="2967215"/>
                </a:cubicBezTo>
                <a:cubicBezTo>
                  <a:pt x="680459" y="2966131"/>
                  <a:pt x="679839" y="2965822"/>
                  <a:pt x="680252" y="2963189"/>
                </a:cubicBezTo>
                <a:lnTo>
                  <a:pt x="680975" y="2960555"/>
                </a:lnTo>
                <a:lnTo>
                  <a:pt x="679013" y="2959316"/>
                </a:lnTo>
                <a:lnTo>
                  <a:pt x="679220" y="2958541"/>
                </a:lnTo>
                <a:lnTo>
                  <a:pt x="675709" y="2960245"/>
                </a:lnTo>
                <a:cubicBezTo>
                  <a:pt x="674263" y="2961020"/>
                  <a:pt x="672715" y="2961949"/>
                  <a:pt x="670856" y="2963189"/>
                </a:cubicBezTo>
                <a:lnTo>
                  <a:pt x="666622" y="2965512"/>
                </a:lnTo>
                <a:lnTo>
                  <a:pt x="667035" y="2965977"/>
                </a:lnTo>
                <a:cubicBezTo>
                  <a:pt x="667345" y="2967215"/>
                  <a:pt x="667552" y="2970158"/>
                  <a:pt x="666829" y="2969694"/>
                </a:cubicBezTo>
                <a:cubicBezTo>
                  <a:pt x="665590" y="2969849"/>
                  <a:pt x="666313" y="2970314"/>
                  <a:pt x="665900" y="2971088"/>
                </a:cubicBezTo>
                <a:cubicBezTo>
                  <a:pt x="664144" y="2971398"/>
                  <a:pt x="662595" y="2971398"/>
                  <a:pt x="661253" y="2970933"/>
                </a:cubicBezTo>
                <a:lnTo>
                  <a:pt x="660014" y="2969694"/>
                </a:lnTo>
                <a:lnTo>
                  <a:pt x="652270" y="2976664"/>
                </a:lnTo>
                <a:cubicBezTo>
                  <a:pt x="650205" y="2979143"/>
                  <a:pt x="649275" y="2981621"/>
                  <a:pt x="650205" y="2983635"/>
                </a:cubicBezTo>
                <a:cubicBezTo>
                  <a:pt x="647314" y="2985648"/>
                  <a:pt x="646281" y="2981621"/>
                  <a:pt x="642977" y="2984874"/>
                </a:cubicBezTo>
                <a:lnTo>
                  <a:pt x="642770" y="2985648"/>
                </a:lnTo>
                <a:lnTo>
                  <a:pt x="647933" y="2990295"/>
                </a:lnTo>
                <a:lnTo>
                  <a:pt x="651754" y="2995252"/>
                </a:lnTo>
                <a:lnTo>
                  <a:pt x="655574" y="2990760"/>
                </a:lnTo>
                <a:cubicBezTo>
                  <a:pt x="658362" y="2988282"/>
                  <a:pt x="661356" y="2985958"/>
                  <a:pt x="664661" y="2984099"/>
                </a:cubicBezTo>
                <a:lnTo>
                  <a:pt x="668171" y="2982551"/>
                </a:lnTo>
                <a:lnTo>
                  <a:pt x="667552" y="2979452"/>
                </a:lnTo>
                <a:cubicBezTo>
                  <a:pt x="667861" y="2978368"/>
                  <a:pt x="668481" y="2977284"/>
                  <a:pt x="669720" y="2976509"/>
                </a:cubicBezTo>
                <a:cubicBezTo>
                  <a:pt x="671372" y="2977594"/>
                  <a:pt x="673231" y="2977749"/>
                  <a:pt x="674883" y="2978833"/>
                </a:cubicBezTo>
                <a:lnTo>
                  <a:pt x="674986" y="2979607"/>
                </a:lnTo>
                <a:lnTo>
                  <a:pt x="685931" y="2977903"/>
                </a:lnTo>
                <a:cubicBezTo>
                  <a:pt x="689649" y="2977749"/>
                  <a:pt x="693366" y="2978213"/>
                  <a:pt x="696877" y="2979143"/>
                </a:cubicBezTo>
                <a:lnTo>
                  <a:pt x="698425" y="2979917"/>
                </a:lnTo>
                <a:lnTo>
                  <a:pt x="701627" y="2978368"/>
                </a:lnTo>
                <a:cubicBezTo>
                  <a:pt x="703278" y="2978368"/>
                  <a:pt x="704930" y="2978833"/>
                  <a:pt x="706066" y="2980227"/>
                </a:cubicBezTo>
                <a:lnTo>
                  <a:pt x="704930" y="2983015"/>
                </a:lnTo>
                <a:lnTo>
                  <a:pt x="706996" y="2983945"/>
                </a:lnTo>
                <a:lnTo>
                  <a:pt x="705963" y="2995562"/>
                </a:lnTo>
                <a:lnTo>
                  <a:pt x="705963" y="2995716"/>
                </a:lnTo>
                <a:lnTo>
                  <a:pt x="707822" y="2995716"/>
                </a:lnTo>
                <a:cubicBezTo>
                  <a:pt x="710093" y="2995716"/>
                  <a:pt x="711642" y="2995562"/>
                  <a:pt x="710816" y="2991999"/>
                </a:cubicBezTo>
                <a:cubicBezTo>
                  <a:pt x="712675" y="2993393"/>
                  <a:pt x="715772" y="2993084"/>
                  <a:pt x="718251" y="2992464"/>
                </a:cubicBezTo>
                <a:cubicBezTo>
                  <a:pt x="721555" y="2991380"/>
                  <a:pt x="724446" y="2989521"/>
                  <a:pt x="727957" y="2987817"/>
                </a:cubicBezTo>
                <a:cubicBezTo>
                  <a:pt x="727027" y="2985958"/>
                  <a:pt x="725375" y="2986113"/>
                  <a:pt x="723620" y="2987042"/>
                </a:cubicBezTo>
                <a:cubicBezTo>
                  <a:pt x="723103" y="2983945"/>
                  <a:pt x="728266" y="2984254"/>
                  <a:pt x="733016" y="2983635"/>
                </a:cubicBezTo>
                <a:cubicBezTo>
                  <a:pt x="737663" y="2983015"/>
                  <a:pt x="741896" y="2981621"/>
                  <a:pt x="741277" y="2976355"/>
                </a:cubicBezTo>
                <a:cubicBezTo>
                  <a:pt x="742413" y="2977439"/>
                  <a:pt x="742929" y="2978368"/>
                  <a:pt x="744478" y="2978213"/>
                </a:cubicBezTo>
                <a:cubicBezTo>
                  <a:pt x="745303" y="2975580"/>
                  <a:pt x="742206" y="2975890"/>
                  <a:pt x="744787" y="2972482"/>
                </a:cubicBezTo>
                <a:cubicBezTo>
                  <a:pt x="748815" y="2971553"/>
                  <a:pt x="747472" y="2973412"/>
                  <a:pt x="748711" y="2976664"/>
                </a:cubicBezTo>
                <a:cubicBezTo>
                  <a:pt x="749640" y="2971243"/>
                  <a:pt x="752635" y="2966441"/>
                  <a:pt x="755629" y="2961639"/>
                </a:cubicBezTo>
                <a:cubicBezTo>
                  <a:pt x="756559" y="2963498"/>
                  <a:pt x="759553" y="2965822"/>
                  <a:pt x="765129" y="2962724"/>
                </a:cubicBezTo>
                <a:cubicBezTo>
                  <a:pt x="754906" y="2961330"/>
                  <a:pt x="767607" y="2951881"/>
                  <a:pt x="770911" y="2958232"/>
                </a:cubicBezTo>
                <a:cubicBezTo>
                  <a:pt x="772254" y="2956373"/>
                  <a:pt x="774731" y="2950797"/>
                  <a:pt x="770704" y="2951571"/>
                </a:cubicBezTo>
                <a:cubicBezTo>
                  <a:pt x="772563" y="2950797"/>
                  <a:pt x="784334" y="2954049"/>
                  <a:pt x="784231" y="2944601"/>
                </a:cubicBezTo>
                <a:cubicBezTo>
                  <a:pt x="787432" y="2945220"/>
                  <a:pt x="790530" y="2944911"/>
                  <a:pt x="793421" y="2943981"/>
                </a:cubicBezTo>
                <a:lnTo>
                  <a:pt x="798481" y="2941193"/>
                </a:lnTo>
                <a:lnTo>
                  <a:pt x="796726" y="2939799"/>
                </a:lnTo>
                <a:lnTo>
                  <a:pt x="796106" y="2941038"/>
                </a:lnTo>
                <a:cubicBezTo>
                  <a:pt x="795383" y="2941813"/>
                  <a:pt x="794247" y="2942587"/>
                  <a:pt x="792285" y="2942897"/>
                </a:cubicBezTo>
                <a:cubicBezTo>
                  <a:pt x="791253" y="2941193"/>
                  <a:pt x="793731" y="2940573"/>
                  <a:pt x="795486" y="2939644"/>
                </a:cubicBezTo>
                <a:cubicBezTo>
                  <a:pt x="791872" y="2936701"/>
                  <a:pt x="787535" y="2935617"/>
                  <a:pt x="782786" y="2935617"/>
                </a:cubicBezTo>
                <a:lnTo>
                  <a:pt x="777932" y="2936701"/>
                </a:lnTo>
                <a:lnTo>
                  <a:pt x="778139" y="2939180"/>
                </a:lnTo>
                <a:cubicBezTo>
                  <a:pt x="778139" y="2940264"/>
                  <a:pt x="777932" y="2941038"/>
                  <a:pt x="777417" y="2941503"/>
                </a:cubicBezTo>
                <a:cubicBezTo>
                  <a:pt x="776590" y="2941193"/>
                  <a:pt x="775867" y="2940883"/>
                  <a:pt x="775558" y="2939644"/>
                </a:cubicBezTo>
                <a:cubicBezTo>
                  <a:pt x="775248" y="2938560"/>
                  <a:pt x="775971" y="2939024"/>
                  <a:pt x="775248" y="2938560"/>
                </a:cubicBezTo>
                <a:cubicBezTo>
                  <a:pt x="774835" y="2937476"/>
                  <a:pt x="774422" y="2938250"/>
                  <a:pt x="774422" y="2938250"/>
                </a:cubicBezTo>
                <a:cubicBezTo>
                  <a:pt x="774422" y="2938250"/>
                  <a:pt x="774835" y="2937476"/>
                  <a:pt x="774835" y="2937476"/>
                </a:cubicBezTo>
                <a:cubicBezTo>
                  <a:pt x="774835" y="2937476"/>
                  <a:pt x="774835" y="2937476"/>
                  <a:pt x="774731" y="2937321"/>
                </a:cubicBezTo>
                <a:lnTo>
                  <a:pt x="770188" y="2938250"/>
                </a:lnTo>
                <a:lnTo>
                  <a:pt x="770188" y="2938405"/>
                </a:lnTo>
                <a:cubicBezTo>
                  <a:pt x="770395" y="2941348"/>
                  <a:pt x="769879" y="2944136"/>
                  <a:pt x="768846" y="2946614"/>
                </a:cubicBezTo>
                <a:cubicBezTo>
                  <a:pt x="765542" y="2954824"/>
                  <a:pt x="756249" y="2960400"/>
                  <a:pt x="745510" y="2959471"/>
                </a:cubicBezTo>
                <a:cubicBezTo>
                  <a:pt x="745097" y="2958232"/>
                  <a:pt x="744684" y="2957147"/>
                  <a:pt x="743548" y="2957457"/>
                </a:cubicBezTo>
                <a:cubicBezTo>
                  <a:pt x="742309" y="2954669"/>
                  <a:pt x="741793" y="2951881"/>
                  <a:pt x="741999" y="2949093"/>
                </a:cubicBezTo>
                <a:cubicBezTo>
                  <a:pt x="742413" y="2940728"/>
                  <a:pt x="748504" y="2932674"/>
                  <a:pt x="756352" y="2929886"/>
                </a:cubicBezTo>
                <a:cubicBezTo>
                  <a:pt x="758107" y="2929266"/>
                  <a:pt x="759966" y="2928802"/>
                  <a:pt x="761825" y="2928647"/>
                </a:cubicBezTo>
                <a:lnTo>
                  <a:pt x="767194" y="2929266"/>
                </a:lnTo>
                <a:lnTo>
                  <a:pt x="767297" y="2928182"/>
                </a:lnTo>
                <a:cubicBezTo>
                  <a:pt x="767814" y="2926788"/>
                  <a:pt x="768743" y="2926013"/>
                  <a:pt x="770085" y="2925704"/>
                </a:cubicBezTo>
                <a:lnTo>
                  <a:pt x="770395" y="2925704"/>
                </a:lnTo>
                <a:lnTo>
                  <a:pt x="770395" y="2924929"/>
                </a:lnTo>
                <a:cubicBezTo>
                  <a:pt x="772047" y="2923845"/>
                  <a:pt x="772047" y="2923845"/>
                  <a:pt x="772770" y="2924155"/>
                </a:cubicBezTo>
                <a:cubicBezTo>
                  <a:pt x="772047" y="2923845"/>
                  <a:pt x="772460" y="2923070"/>
                  <a:pt x="772150" y="2921986"/>
                </a:cubicBezTo>
                <a:cubicBezTo>
                  <a:pt x="769672" y="2917804"/>
                  <a:pt x="773286" y="2914861"/>
                  <a:pt x="778449" y="2912537"/>
                </a:cubicBezTo>
                <a:cubicBezTo>
                  <a:pt x="778862" y="2913622"/>
                  <a:pt x="781650" y="2912072"/>
                  <a:pt x="783612" y="2911918"/>
                </a:cubicBezTo>
                <a:lnTo>
                  <a:pt x="784128" y="2912228"/>
                </a:lnTo>
                <a:lnTo>
                  <a:pt x="784954" y="2908820"/>
                </a:lnTo>
                <a:cubicBezTo>
                  <a:pt x="787329" y="2909749"/>
                  <a:pt x="788361" y="2910214"/>
                  <a:pt x="790324" y="2910369"/>
                </a:cubicBezTo>
                <a:cubicBezTo>
                  <a:pt x="789085" y="2913622"/>
                  <a:pt x="789085" y="2916255"/>
                  <a:pt x="788568" y="2918268"/>
                </a:cubicBezTo>
                <a:lnTo>
                  <a:pt x="787949" y="2919662"/>
                </a:lnTo>
                <a:lnTo>
                  <a:pt x="787742" y="2921986"/>
                </a:lnTo>
                <a:cubicBezTo>
                  <a:pt x="787122" y="2924155"/>
                  <a:pt x="785883" y="2925858"/>
                  <a:pt x="784025" y="2926478"/>
                </a:cubicBezTo>
                <a:cubicBezTo>
                  <a:pt x="782063" y="2927407"/>
                  <a:pt x="780307" y="2927872"/>
                  <a:pt x="778862" y="2927872"/>
                </a:cubicBezTo>
                <a:lnTo>
                  <a:pt x="775971" y="2927252"/>
                </a:lnTo>
                <a:lnTo>
                  <a:pt x="778139" y="2931590"/>
                </a:lnTo>
                <a:lnTo>
                  <a:pt x="776900" y="2931899"/>
                </a:lnTo>
                <a:lnTo>
                  <a:pt x="777210" y="2932983"/>
                </a:lnTo>
                <a:lnTo>
                  <a:pt x="779482" y="2932209"/>
                </a:lnTo>
                <a:cubicBezTo>
                  <a:pt x="782269" y="2931899"/>
                  <a:pt x="784851" y="2932054"/>
                  <a:pt x="786503" y="2932364"/>
                </a:cubicBezTo>
                <a:cubicBezTo>
                  <a:pt x="786916" y="2931125"/>
                  <a:pt x="787639" y="2930195"/>
                  <a:pt x="788568" y="2929266"/>
                </a:cubicBezTo>
                <a:lnTo>
                  <a:pt x="791253" y="2927098"/>
                </a:lnTo>
                <a:lnTo>
                  <a:pt x="791046" y="2926633"/>
                </a:lnTo>
                <a:cubicBezTo>
                  <a:pt x="790840" y="2920902"/>
                  <a:pt x="792698" y="2915015"/>
                  <a:pt x="796519" y="2910679"/>
                </a:cubicBezTo>
                <a:lnTo>
                  <a:pt x="797241" y="2910059"/>
                </a:lnTo>
                <a:lnTo>
                  <a:pt x="795899" y="2910523"/>
                </a:lnTo>
                <a:cubicBezTo>
                  <a:pt x="794660" y="2910369"/>
                  <a:pt x="794660" y="2910369"/>
                  <a:pt x="794144" y="2909594"/>
                </a:cubicBezTo>
                <a:cubicBezTo>
                  <a:pt x="792492" y="2908820"/>
                  <a:pt x="791356" y="2908665"/>
                  <a:pt x="791253" y="2906806"/>
                </a:cubicBezTo>
                <a:cubicBezTo>
                  <a:pt x="791253" y="2905257"/>
                  <a:pt x="791872" y="2904328"/>
                  <a:pt x="792802" y="2903863"/>
                </a:cubicBezTo>
                <a:cubicBezTo>
                  <a:pt x="793627" y="2903399"/>
                  <a:pt x="794970" y="2903244"/>
                  <a:pt x="796519" y="2903244"/>
                </a:cubicBezTo>
                <a:cubicBezTo>
                  <a:pt x="799720" y="2903089"/>
                  <a:pt x="800339" y="2905567"/>
                  <a:pt x="802714" y="2906032"/>
                </a:cubicBezTo>
                <a:lnTo>
                  <a:pt x="801785" y="2907271"/>
                </a:lnTo>
                <a:lnTo>
                  <a:pt x="804366" y="2908820"/>
                </a:lnTo>
                <a:lnTo>
                  <a:pt x="804263" y="2908665"/>
                </a:lnTo>
                <a:cubicBezTo>
                  <a:pt x="807154" y="2909130"/>
                  <a:pt x="809426" y="2908820"/>
                  <a:pt x="811181" y="2907891"/>
                </a:cubicBezTo>
                <a:lnTo>
                  <a:pt x="814279" y="2905257"/>
                </a:lnTo>
                <a:lnTo>
                  <a:pt x="814485" y="2902314"/>
                </a:lnTo>
                <a:cubicBezTo>
                  <a:pt x="817067" y="2896118"/>
                  <a:pt x="824914" y="2891316"/>
                  <a:pt x="829870" y="2889458"/>
                </a:cubicBezTo>
                <a:cubicBezTo>
                  <a:pt x="828012" y="2893020"/>
                  <a:pt x="826360" y="2896583"/>
                  <a:pt x="823985" y="2899990"/>
                </a:cubicBezTo>
                <a:cubicBezTo>
                  <a:pt x="822849" y="2901695"/>
                  <a:pt x="821507" y="2903399"/>
                  <a:pt x="819855" y="2904948"/>
                </a:cubicBezTo>
                <a:lnTo>
                  <a:pt x="818719" y="2905722"/>
                </a:lnTo>
                <a:lnTo>
                  <a:pt x="820267" y="2906341"/>
                </a:lnTo>
                <a:cubicBezTo>
                  <a:pt x="822952" y="2905102"/>
                  <a:pt x="825327" y="2897822"/>
                  <a:pt x="830284" y="2900146"/>
                </a:cubicBezTo>
                <a:cubicBezTo>
                  <a:pt x="834414" y="2896428"/>
                  <a:pt x="824191" y="2897977"/>
                  <a:pt x="827805" y="2893485"/>
                </a:cubicBezTo>
                <a:cubicBezTo>
                  <a:pt x="834517" y="2891316"/>
                  <a:pt x="843191" y="2889923"/>
                  <a:pt x="851967" y="2888683"/>
                </a:cubicBezTo>
                <a:lnTo>
                  <a:pt x="855891" y="2887754"/>
                </a:lnTo>
                <a:lnTo>
                  <a:pt x="855788" y="2886979"/>
                </a:lnTo>
                <a:cubicBezTo>
                  <a:pt x="855375" y="2886205"/>
                  <a:pt x="856924" y="2885585"/>
                  <a:pt x="856924" y="2885585"/>
                </a:cubicBezTo>
                <a:cubicBezTo>
                  <a:pt x="856511" y="2884811"/>
                  <a:pt x="856097" y="2884036"/>
                  <a:pt x="856511" y="2882952"/>
                </a:cubicBezTo>
                <a:cubicBezTo>
                  <a:pt x="857646" y="2883417"/>
                  <a:pt x="857233" y="2882642"/>
                  <a:pt x="857956" y="2882333"/>
                </a:cubicBezTo>
                <a:cubicBezTo>
                  <a:pt x="857853" y="2882797"/>
                  <a:pt x="858059" y="2883726"/>
                  <a:pt x="858266" y="2884656"/>
                </a:cubicBezTo>
                <a:lnTo>
                  <a:pt x="858782" y="2886979"/>
                </a:lnTo>
                <a:lnTo>
                  <a:pt x="864358" y="2885740"/>
                </a:lnTo>
                <a:cubicBezTo>
                  <a:pt x="868075" y="2884347"/>
                  <a:pt x="871483" y="2882642"/>
                  <a:pt x="874167" y="2880164"/>
                </a:cubicBezTo>
                <a:cubicBezTo>
                  <a:pt x="873651" y="2879389"/>
                  <a:pt x="872515" y="2879389"/>
                  <a:pt x="871173" y="2879544"/>
                </a:cubicBezTo>
                <a:lnTo>
                  <a:pt x="869108" y="2879854"/>
                </a:lnTo>
                <a:lnTo>
                  <a:pt x="868075" y="2882642"/>
                </a:lnTo>
                <a:cubicBezTo>
                  <a:pt x="867146" y="2883572"/>
                  <a:pt x="865803" y="2883572"/>
                  <a:pt x="864048" y="2882952"/>
                </a:cubicBezTo>
                <a:cubicBezTo>
                  <a:pt x="863635" y="2882023"/>
                  <a:pt x="863222" y="2879389"/>
                  <a:pt x="862396" y="2879699"/>
                </a:cubicBezTo>
                <a:cubicBezTo>
                  <a:pt x="863325" y="2877221"/>
                  <a:pt x="864668" y="2874588"/>
                  <a:pt x="866526" y="2873814"/>
                </a:cubicBezTo>
                <a:cubicBezTo>
                  <a:pt x="867249" y="2873504"/>
                  <a:pt x="867869" y="2873348"/>
                  <a:pt x="868695" y="2873504"/>
                </a:cubicBezTo>
                <a:lnTo>
                  <a:pt x="870140" y="2874743"/>
                </a:lnTo>
                <a:lnTo>
                  <a:pt x="870037" y="2873814"/>
                </a:lnTo>
                <a:cubicBezTo>
                  <a:pt x="871173" y="2874898"/>
                  <a:pt x="878607" y="2873039"/>
                  <a:pt x="873445" y="2872729"/>
                </a:cubicBezTo>
                <a:cubicBezTo>
                  <a:pt x="874994" y="2871180"/>
                  <a:pt x="878504" y="2871955"/>
                  <a:pt x="882221" y="2872574"/>
                </a:cubicBezTo>
                <a:lnTo>
                  <a:pt x="884080" y="2872729"/>
                </a:lnTo>
                <a:lnTo>
                  <a:pt x="882944" y="2871955"/>
                </a:lnTo>
                <a:cubicBezTo>
                  <a:pt x="881602" y="2870560"/>
                  <a:pt x="880466" y="2868701"/>
                  <a:pt x="879433" y="2866688"/>
                </a:cubicBezTo>
                <a:close/>
                <a:moveTo>
                  <a:pt x="630276" y="2863281"/>
                </a:moveTo>
                <a:cubicBezTo>
                  <a:pt x="631825" y="2865758"/>
                  <a:pt x="627179" y="2872419"/>
                  <a:pt x="624597" y="2875052"/>
                </a:cubicBezTo>
                <a:cubicBezTo>
                  <a:pt x="624184" y="2874433"/>
                  <a:pt x="624184" y="2873658"/>
                  <a:pt x="624391" y="2872574"/>
                </a:cubicBezTo>
                <a:cubicBezTo>
                  <a:pt x="625114" y="2869631"/>
                  <a:pt x="628211" y="2865294"/>
                  <a:pt x="630276" y="2863281"/>
                </a:cubicBezTo>
                <a:close/>
                <a:moveTo>
                  <a:pt x="553660" y="2861111"/>
                </a:moveTo>
                <a:cubicBezTo>
                  <a:pt x="560268" y="2861267"/>
                  <a:pt x="555932" y="2871335"/>
                  <a:pt x="552111" y="2867308"/>
                </a:cubicBezTo>
                <a:cubicBezTo>
                  <a:pt x="552111" y="2865449"/>
                  <a:pt x="552834" y="2863281"/>
                  <a:pt x="553660" y="2861111"/>
                </a:cubicBezTo>
                <a:close/>
                <a:moveTo>
                  <a:pt x="1342434" y="2857394"/>
                </a:moveTo>
                <a:lnTo>
                  <a:pt x="1341815" y="2857859"/>
                </a:lnTo>
                <a:lnTo>
                  <a:pt x="1340886" y="2858324"/>
                </a:lnTo>
                <a:lnTo>
                  <a:pt x="1343983" y="2860802"/>
                </a:lnTo>
                <a:close/>
                <a:moveTo>
                  <a:pt x="476424" y="2857394"/>
                </a:moveTo>
                <a:cubicBezTo>
                  <a:pt x="478283" y="2858788"/>
                  <a:pt x="480142" y="2860182"/>
                  <a:pt x="478490" y="2862041"/>
                </a:cubicBezTo>
                <a:cubicBezTo>
                  <a:pt x="477663" y="2862971"/>
                  <a:pt x="476837" y="2863900"/>
                  <a:pt x="475082" y="2864210"/>
                </a:cubicBezTo>
                <a:cubicBezTo>
                  <a:pt x="473224" y="2862815"/>
                  <a:pt x="473946" y="2860182"/>
                  <a:pt x="473017" y="2859408"/>
                </a:cubicBezTo>
                <a:cubicBezTo>
                  <a:pt x="473946" y="2859408"/>
                  <a:pt x="475598" y="2859098"/>
                  <a:pt x="476424" y="2857394"/>
                </a:cubicBezTo>
                <a:close/>
                <a:moveTo>
                  <a:pt x="375647" y="2856310"/>
                </a:moveTo>
                <a:cubicBezTo>
                  <a:pt x="382668" y="2859253"/>
                  <a:pt x="390412" y="2861731"/>
                  <a:pt x="390309" y="2867308"/>
                </a:cubicBezTo>
                <a:cubicBezTo>
                  <a:pt x="386075" y="2869786"/>
                  <a:pt x="379157" y="2865139"/>
                  <a:pt x="375647" y="2861886"/>
                </a:cubicBezTo>
                <a:cubicBezTo>
                  <a:pt x="376472" y="2859718"/>
                  <a:pt x="374820" y="2858478"/>
                  <a:pt x="375647" y="2856310"/>
                </a:cubicBezTo>
                <a:close/>
                <a:moveTo>
                  <a:pt x="420976" y="2855071"/>
                </a:moveTo>
                <a:cubicBezTo>
                  <a:pt x="422731" y="2854761"/>
                  <a:pt x="425416" y="2853832"/>
                  <a:pt x="427171" y="2855380"/>
                </a:cubicBezTo>
                <a:cubicBezTo>
                  <a:pt x="427791" y="2856000"/>
                  <a:pt x="428204" y="2856775"/>
                  <a:pt x="428514" y="2858014"/>
                </a:cubicBezTo>
                <a:cubicBezTo>
                  <a:pt x="429236" y="2858478"/>
                  <a:pt x="428307" y="2861576"/>
                  <a:pt x="427171" y="2861886"/>
                </a:cubicBezTo>
                <a:cubicBezTo>
                  <a:pt x="424280" y="2862971"/>
                  <a:pt x="422938" y="2860182"/>
                  <a:pt x="420460" y="2857549"/>
                </a:cubicBezTo>
                <a:cubicBezTo>
                  <a:pt x="421595" y="2857394"/>
                  <a:pt x="421286" y="2856155"/>
                  <a:pt x="420976" y="2855071"/>
                </a:cubicBezTo>
                <a:close/>
                <a:moveTo>
                  <a:pt x="907416" y="2854761"/>
                </a:moveTo>
                <a:lnTo>
                  <a:pt x="888520" y="2860492"/>
                </a:lnTo>
                <a:lnTo>
                  <a:pt x="882428" y="2862351"/>
                </a:lnTo>
                <a:lnTo>
                  <a:pt x="885009" y="2864984"/>
                </a:lnTo>
                <a:cubicBezTo>
                  <a:pt x="884493" y="2867153"/>
                  <a:pt x="886765" y="2869476"/>
                  <a:pt x="887384" y="2872109"/>
                </a:cubicBezTo>
                <a:lnTo>
                  <a:pt x="887384" y="2873039"/>
                </a:lnTo>
                <a:lnTo>
                  <a:pt x="887591" y="2873039"/>
                </a:lnTo>
                <a:cubicBezTo>
                  <a:pt x="889346" y="2872884"/>
                  <a:pt x="890895" y="2872419"/>
                  <a:pt x="892031" y="2871180"/>
                </a:cubicBezTo>
                <a:cubicBezTo>
                  <a:pt x="890895" y="2872264"/>
                  <a:pt x="890482" y="2873504"/>
                  <a:pt x="891515" y="2875207"/>
                </a:cubicBezTo>
                <a:lnTo>
                  <a:pt x="897297" y="2873968"/>
                </a:lnTo>
                <a:lnTo>
                  <a:pt x="897710" y="2873658"/>
                </a:lnTo>
                <a:lnTo>
                  <a:pt x="896161" y="2872419"/>
                </a:lnTo>
                <a:cubicBezTo>
                  <a:pt x="895438" y="2872109"/>
                  <a:pt x="894715" y="2872109"/>
                  <a:pt x="893786" y="2872419"/>
                </a:cubicBezTo>
                <a:lnTo>
                  <a:pt x="911133" y="2869321"/>
                </a:lnTo>
                <a:lnTo>
                  <a:pt x="911236" y="2869012"/>
                </a:lnTo>
                <a:lnTo>
                  <a:pt x="911546" y="2869166"/>
                </a:lnTo>
                <a:lnTo>
                  <a:pt x="918258" y="2867927"/>
                </a:lnTo>
                <a:lnTo>
                  <a:pt x="912682" y="2861731"/>
                </a:lnTo>
                <a:close/>
                <a:moveTo>
                  <a:pt x="828734" y="2854451"/>
                </a:moveTo>
                <a:lnTo>
                  <a:pt x="827289" y="2854761"/>
                </a:lnTo>
                <a:lnTo>
                  <a:pt x="825740" y="2855690"/>
                </a:lnTo>
                <a:lnTo>
                  <a:pt x="826257" y="2855845"/>
                </a:lnTo>
                <a:lnTo>
                  <a:pt x="825740" y="2856930"/>
                </a:lnTo>
                <a:lnTo>
                  <a:pt x="826154" y="2857859"/>
                </a:lnTo>
                <a:lnTo>
                  <a:pt x="826154" y="2857704"/>
                </a:lnTo>
                <a:lnTo>
                  <a:pt x="829767" y="2856465"/>
                </a:lnTo>
                <a:lnTo>
                  <a:pt x="829044" y="2855845"/>
                </a:lnTo>
                <a:close/>
                <a:moveTo>
                  <a:pt x="315345" y="2854296"/>
                </a:moveTo>
                <a:cubicBezTo>
                  <a:pt x="317100" y="2853677"/>
                  <a:pt x="317926" y="2853832"/>
                  <a:pt x="318752" y="2854761"/>
                </a:cubicBezTo>
                <a:cubicBezTo>
                  <a:pt x="319682" y="2854761"/>
                  <a:pt x="319682" y="2855690"/>
                  <a:pt x="320508" y="2856620"/>
                </a:cubicBezTo>
                <a:cubicBezTo>
                  <a:pt x="320508" y="2857394"/>
                  <a:pt x="319682" y="2858168"/>
                  <a:pt x="319682" y="2858168"/>
                </a:cubicBezTo>
                <a:cubicBezTo>
                  <a:pt x="318752" y="2858788"/>
                  <a:pt x="318752" y="2858788"/>
                  <a:pt x="319578" y="2859718"/>
                </a:cubicBezTo>
                <a:cubicBezTo>
                  <a:pt x="319578" y="2859718"/>
                  <a:pt x="318752" y="2859718"/>
                  <a:pt x="318752" y="2859718"/>
                </a:cubicBezTo>
                <a:cubicBezTo>
                  <a:pt x="318752" y="2858788"/>
                  <a:pt x="318752" y="2859718"/>
                  <a:pt x="317823" y="2860492"/>
                </a:cubicBezTo>
                <a:cubicBezTo>
                  <a:pt x="316067" y="2859408"/>
                  <a:pt x="315242" y="2859408"/>
                  <a:pt x="314312" y="2858478"/>
                </a:cubicBezTo>
                <a:cubicBezTo>
                  <a:pt x="313899" y="2858014"/>
                  <a:pt x="313486" y="2857239"/>
                  <a:pt x="313280" y="2856620"/>
                </a:cubicBezTo>
                <a:cubicBezTo>
                  <a:pt x="313073" y="2856000"/>
                  <a:pt x="313073" y="2855380"/>
                  <a:pt x="313486" y="2855071"/>
                </a:cubicBezTo>
                <a:cubicBezTo>
                  <a:pt x="314416" y="2855071"/>
                  <a:pt x="314416" y="2854296"/>
                  <a:pt x="315345" y="2854296"/>
                </a:cubicBezTo>
                <a:close/>
                <a:moveTo>
                  <a:pt x="237593" y="2853677"/>
                </a:moveTo>
                <a:cubicBezTo>
                  <a:pt x="239968" y="2854606"/>
                  <a:pt x="241517" y="2855845"/>
                  <a:pt x="243788" y="2856775"/>
                </a:cubicBezTo>
                <a:cubicBezTo>
                  <a:pt x="243788" y="2860337"/>
                  <a:pt x="240691" y="2859718"/>
                  <a:pt x="237593" y="2859098"/>
                </a:cubicBezTo>
                <a:cubicBezTo>
                  <a:pt x="237593" y="2858168"/>
                  <a:pt x="237180" y="2857394"/>
                  <a:pt x="237077" y="2856620"/>
                </a:cubicBezTo>
                <a:cubicBezTo>
                  <a:pt x="236870" y="2855845"/>
                  <a:pt x="236870" y="2854916"/>
                  <a:pt x="237593" y="2853677"/>
                </a:cubicBezTo>
                <a:close/>
                <a:moveTo>
                  <a:pt x="493152" y="2851198"/>
                </a:moveTo>
                <a:cubicBezTo>
                  <a:pt x="494185" y="2851818"/>
                  <a:pt x="494907" y="2852902"/>
                  <a:pt x="494804" y="2854606"/>
                </a:cubicBezTo>
                <a:cubicBezTo>
                  <a:pt x="491603" y="2859253"/>
                  <a:pt x="487783" y="2856000"/>
                  <a:pt x="482207" y="2856155"/>
                </a:cubicBezTo>
                <a:cubicBezTo>
                  <a:pt x="482826" y="2851663"/>
                  <a:pt x="489848" y="2849340"/>
                  <a:pt x="493152" y="2851198"/>
                </a:cubicBezTo>
                <a:close/>
                <a:moveTo>
                  <a:pt x="615821" y="2850114"/>
                </a:moveTo>
                <a:lnTo>
                  <a:pt x="616853" y="2850734"/>
                </a:lnTo>
                <a:lnTo>
                  <a:pt x="617886" y="2850579"/>
                </a:lnTo>
                <a:cubicBezTo>
                  <a:pt x="623874" y="2851044"/>
                  <a:pt x="629347" y="2853522"/>
                  <a:pt x="629760" y="2858168"/>
                </a:cubicBezTo>
                <a:lnTo>
                  <a:pt x="617472" y="2857549"/>
                </a:lnTo>
                <a:lnTo>
                  <a:pt x="616956" y="2858788"/>
                </a:lnTo>
                <a:lnTo>
                  <a:pt x="617472" y="2859253"/>
                </a:lnTo>
                <a:cubicBezTo>
                  <a:pt x="617989" y="2862041"/>
                  <a:pt x="614065" y="2864829"/>
                  <a:pt x="610761" y="2864984"/>
                </a:cubicBezTo>
                <a:lnTo>
                  <a:pt x="608696" y="2864519"/>
                </a:lnTo>
                <a:lnTo>
                  <a:pt x="608489" y="2864674"/>
                </a:lnTo>
                <a:cubicBezTo>
                  <a:pt x="605804" y="2863745"/>
                  <a:pt x="605185" y="2863590"/>
                  <a:pt x="605392" y="2860802"/>
                </a:cubicBezTo>
                <a:cubicBezTo>
                  <a:pt x="605495" y="2860027"/>
                  <a:pt x="605598" y="2858788"/>
                  <a:pt x="605804" y="2857239"/>
                </a:cubicBezTo>
                <a:lnTo>
                  <a:pt x="606321" y="2856155"/>
                </a:lnTo>
                <a:lnTo>
                  <a:pt x="602397" y="2855071"/>
                </a:lnTo>
                <a:cubicBezTo>
                  <a:pt x="603739" y="2853367"/>
                  <a:pt x="606114" y="2852128"/>
                  <a:pt x="608902" y="2851353"/>
                </a:cubicBezTo>
                <a:lnTo>
                  <a:pt x="612723" y="2851044"/>
                </a:lnTo>
                <a:lnTo>
                  <a:pt x="612929" y="2850889"/>
                </a:lnTo>
                <a:cubicBezTo>
                  <a:pt x="613858" y="2850424"/>
                  <a:pt x="614891" y="2850114"/>
                  <a:pt x="615821" y="2850114"/>
                </a:cubicBezTo>
                <a:close/>
                <a:moveTo>
                  <a:pt x="496766" y="2848100"/>
                </a:moveTo>
                <a:cubicBezTo>
                  <a:pt x="500690" y="2846551"/>
                  <a:pt x="508124" y="2850114"/>
                  <a:pt x="506059" y="2855380"/>
                </a:cubicBezTo>
                <a:cubicBezTo>
                  <a:pt x="504097" y="2857084"/>
                  <a:pt x="502135" y="2858788"/>
                  <a:pt x="497902" y="2857704"/>
                </a:cubicBezTo>
                <a:cubicBezTo>
                  <a:pt x="496766" y="2856310"/>
                  <a:pt x="496043" y="2854916"/>
                  <a:pt x="495940" y="2853522"/>
                </a:cubicBezTo>
                <a:cubicBezTo>
                  <a:pt x="495733" y="2851973"/>
                  <a:pt x="496043" y="2850269"/>
                  <a:pt x="496766" y="2848100"/>
                </a:cubicBezTo>
                <a:close/>
                <a:moveTo>
                  <a:pt x="954810" y="2847016"/>
                </a:moveTo>
                <a:cubicBezTo>
                  <a:pt x="954810" y="2847016"/>
                  <a:pt x="954810" y="2847171"/>
                  <a:pt x="955636" y="2847171"/>
                </a:cubicBezTo>
                <a:cubicBezTo>
                  <a:pt x="957392" y="2847326"/>
                  <a:pt x="958321" y="2847481"/>
                  <a:pt x="959147" y="2847481"/>
                </a:cubicBezTo>
                <a:cubicBezTo>
                  <a:pt x="959973" y="2848410"/>
                  <a:pt x="961625" y="2851044"/>
                  <a:pt x="960799" y="2851818"/>
                </a:cubicBezTo>
                <a:cubicBezTo>
                  <a:pt x="959044" y="2853367"/>
                  <a:pt x="956463" y="2853987"/>
                  <a:pt x="955636" y="2853057"/>
                </a:cubicBezTo>
                <a:cubicBezTo>
                  <a:pt x="954294" y="2851663"/>
                  <a:pt x="953055" y="2850269"/>
                  <a:pt x="953571" y="2848720"/>
                </a:cubicBezTo>
                <a:cubicBezTo>
                  <a:pt x="953778" y="2848100"/>
                  <a:pt x="954191" y="2847636"/>
                  <a:pt x="954810" y="2847016"/>
                </a:cubicBezTo>
                <a:close/>
                <a:moveTo>
                  <a:pt x="745510" y="2846397"/>
                </a:moveTo>
                <a:cubicBezTo>
                  <a:pt x="744994" y="2847945"/>
                  <a:pt x="746233" y="2850114"/>
                  <a:pt x="745717" y="2851663"/>
                </a:cubicBezTo>
                <a:cubicBezTo>
                  <a:pt x="741483" y="2853832"/>
                  <a:pt x="737663" y="2849030"/>
                  <a:pt x="738076" y="2847326"/>
                </a:cubicBezTo>
                <a:cubicBezTo>
                  <a:pt x="740244" y="2846397"/>
                  <a:pt x="743445" y="2847481"/>
                  <a:pt x="745510" y="2846397"/>
                </a:cubicBezTo>
                <a:close/>
                <a:moveTo>
                  <a:pt x="650205" y="2844693"/>
                </a:moveTo>
                <a:cubicBezTo>
                  <a:pt x="652890" y="2848410"/>
                  <a:pt x="648965" y="2853832"/>
                  <a:pt x="644525" y="2853212"/>
                </a:cubicBezTo>
                <a:cubicBezTo>
                  <a:pt x="643906" y="2852283"/>
                  <a:pt x="642357" y="2851353"/>
                  <a:pt x="641841" y="2849494"/>
                </a:cubicBezTo>
                <a:cubicBezTo>
                  <a:pt x="643699" y="2845467"/>
                  <a:pt x="646694" y="2844228"/>
                  <a:pt x="650205" y="2844693"/>
                </a:cubicBezTo>
                <a:close/>
                <a:moveTo>
                  <a:pt x="1294420" y="2843144"/>
                </a:moveTo>
                <a:cubicBezTo>
                  <a:pt x="1294937" y="2844228"/>
                  <a:pt x="1295866" y="2845157"/>
                  <a:pt x="1297105" y="2845777"/>
                </a:cubicBezTo>
                <a:lnTo>
                  <a:pt x="1301029" y="2847016"/>
                </a:lnTo>
                <a:lnTo>
                  <a:pt x="1299790" y="2844228"/>
                </a:lnTo>
                <a:lnTo>
                  <a:pt x="1300099" y="2843299"/>
                </a:lnTo>
                <a:lnTo>
                  <a:pt x="1298757" y="2843454"/>
                </a:lnTo>
                <a:cubicBezTo>
                  <a:pt x="1297208" y="2843144"/>
                  <a:pt x="1295453" y="2842524"/>
                  <a:pt x="1294420" y="2843144"/>
                </a:cubicBezTo>
                <a:close/>
                <a:moveTo>
                  <a:pt x="564915" y="2840820"/>
                </a:moveTo>
                <a:cubicBezTo>
                  <a:pt x="567290" y="2839891"/>
                  <a:pt x="573072" y="2840355"/>
                  <a:pt x="575860" y="2844073"/>
                </a:cubicBezTo>
                <a:cubicBezTo>
                  <a:pt x="574621" y="2849185"/>
                  <a:pt x="571214" y="2849649"/>
                  <a:pt x="566051" y="2846861"/>
                </a:cubicBezTo>
                <a:cubicBezTo>
                  <a:pt x="566051" y="2845002"/>
                  <a:pt x="565328" y="2843454"/>
                  <a:pt x="564915" y="2840820"/>
                </a:cubicBezTo>
                <a:close/>
                <a:moveTo>
                  <a:pt x="584121" y="2840046"/>
                </a:moveTo>
                <a:cubicBezTo>
                  <a:pt x="584740" y="2840046"/>
                  <a:pt x="585566" y="2840046"/>
                  <a:pt x="586599" y="2840355"/>
                </a:cubicBezTo>
                <a:cubicBezTo>
                  <a:pt x="586289" y="2845777"/>
                  <a:pt x="588870" y="2850579"/>
                  <a:pt x="587115" y="2852902"/>
                </a:cubicBezTo>
                <a:cubicBezTo>
                  <a:pt x="586495" y="2853677"/>
                  <a:pt x="585360" y="2854142"/>
                  <a:pt x="583501" y="2854296"/>
                </a:cubicBezTo>
                <a:cubicBezTo>
                  <a:pt x="582778" y="2852902"/>
                  <a:pt x="581746" y="2849649"/>
                  <a:pt x="581436" y="2846551"/>
                </a:cubicBezTo>
                <a:cubicBezTo>
                  <a:pt x="581230" y="2843454"/>
                  <a:pt x="581746" y="2840511"/>
                  <a:pt x="584121" y="2840046"/>
                </a:cubicBezTo>
                <a:close/>
                <a:moveTo>
                  <a:pt x="635542" y="2839426"/>
                </a:moveTo>
                <a:cubicBezTo>
                  <a:pt x="637194" y="2840975"/>
                  <a:pt x="638847" y="2842679"/>
                  <a:pt x="636988" y="2844383"/>
                </a:cubicBezTo>
                <a:cubicBezTo>
                  <a:pt x="636058" y="2845157"/>
                  <a:pt x="635232" y="2846087"/>
                  <a:pt x="633477" y="2846242"/>
                </a:cubicBezTo>
                <a:cubicBezTo>
                  <a:pt x="631825" y="2844693"/>
                  <a:pt x="632754" y="2842059"/>
                  <a:pt x="631928" y="2841285"/>
                </a:cubicBezTo>
                <a:cubicBezTo>
                  <a:pt x="632858" y="2841285"/>
                  <a:pt x="634613" y="2841130"/>
                  <a:pt x="635542" y="2839426"/>
                </a:cubicBezTo>
                <a:close/>
                <a:moveTo>
                  <a:pt x="400841" y="2838497"/>
                </a:moveTo>
                <a:cubicBezTo>
                  <a:pt x="403216" y="2836948"/>
                  <a:pt x="408379" y="2837258"/>
                  <a:pt x="407966" y="2840511"/>
                </a:cubicBezTo>
                <a:lnTo>
                  <a:pt x="407553" y="2841130"/>
                </a:lnTo>
                <a:lnTo>
                  <a:pt x="407759" y="2841595"/>
                </a:lnTo>
                <a:cubicBezTo>
                  <a:pt x="407862" y="2842524"/>
                  <a:pt x="407656" y="2843609"/>
                  <a:pt x="407656" y="2844383"/>
                </a:cubicBezTo>
                <a:cubicBezTo>
                  <a:pt x="409515" y="2845002"/>
                  <a:pt x="406210" y="2847945"/>
                  <a:pt x="407966" y="2848565"/>
                </a:cubicBezTo>
                <a:cubicBezTo>
                  <a:pt x="404661" y="2852283"/>
                  <a:pt x="409308" y="2855845"/>
                  <a:pt x="405281" y="2862196"/>
                </a:cubicBezTo>
                <a:cubicBezTo>
                  <a:pt x="404455" y="2860182"/>
                  <a:pt x="404042" y="2858324"/>
                  <a:pt x="403939" y="2856620"/>
                </a:cubicBezTo>
                <a:cubicBezTo>
                  <a:pt x="403629" y="2853832"/>
                  <a:pt x="403835" y="2851508"/>
                  <a:pt x="403939" y="2849340"/>
                </a:cubicBezTo>
                <a:lnTo>
                  <a:pt x="403319" y="2843763"/>
                </a:lnTo>
                <a:lnTo>
                  <a:pt x="401667" y="2842834"/>
                </a:lnTo>
                <a:cubicBezTo>
                  <a:pt x="400841" y="2842214"/>
                  <a:pt x="400324" y="2841750"/>
                  <a:pt x="400015" y="2841130"/>
                </a:cubicBezTo>
                <a:cubicBezTo>
                  <a:pt x="399705" y="2840665"/>
                  <a:pt x="399705" y="2840046"/>
                  <a:pt x="399912" y="2839581"/>
                </a:cubicBezTo>
                <a:cubicBezTo>
                  <a:pt x="400015" y="2839271"/>
                  <a:pt x="400428" y="2838807"/>
                  <a:pt x="400841" y="2838497"/>
                </a:cubicBezTo>
                <a:close/>
                <a:moveTo>
                  <a:pt x="431095" y="2838187"/>
                </a:moveTo>
                <a:cubicBezTo>
                  <a:pt x="434502" y="2836483"/>
                  <a:pt x="440078" y="2842679"/>
                  <a:pt x="444105" y="2845312"/>
                </a:cubicBezTo>
                <a:cubicBezTo>
                  <a:pt x="443383" y="2848875"/>
                  <a:pt x="442866" y="2849959"/>
                  <a:pt x="439975" y="2852283"/>
                </a:cubicBezTo>
                <a:cubicBezTo>
                  <a:pt x="434399" y="2850734"/>
                  <a:pt x="431508" y="2846861"/>
                  <a:pt x="428617" y="2842989"/>
                </a:cubicBezTo>
                <a:cubicBezTo>
                  <a:pt x="429133" y="2840201"/>
                  <a:pt x="429959" y="2838807"/>
                  <a:pt x="431095" y="2838187"/>
                </a:cubicBezTo>
                <a:close/>
                <a:moveTo>
                  <a:pt x="1112896" y="2838032"/>
                </a:moveTo>
                <a:lnTo>
                  <a:pt x="1113515" y="2838652"/>
                </a:lnTo>
                <a:lnTo>
                  <a:pt x="1113825" y="2838032"/>
                </a:lnTo>
                <a:close/>
                <a:moveTo>
                  <a:pt x="1303817" y="2836328"/>
                </a:moveTo>
                <a:lnTo>
                  <a:pt x="1301958" y="2839271"/>
                </a:lnTo>
                <a:lnTo>
                  <a:pt x="1304230" y="2840820"/>
                </a:lnTo>
                <a:cubicBezTo>
                  <a:pt x="1305159" y="2841750"/>
                  <a:pt x="1306192" y="2842989"/>
                  <a:pt x="1306914" y="2843919"/>
                </a:cubicBezTo>
                <a:cubicBezTo>
                  <a:pt x="1306811" y="2845157"/>
                  <a:pt x="1306295" y="2846242"/>
                  <a:pt x="1305469" y="2847326"/>
                </a:cubicBezTo>
                <a:lnTo>
                  <a:pt x="1304746" y="2847791"/>
                </a:lnTo>
                <a:lnTo>
                  <a:pt x="1306398" y="2848100"/>
                </a:lnTo>
                <a:cubicBezTo>
                  <a:pt x="1307947" y="2848255"/>
                  <a:pt x="1309289" y="2848410"/>
                  <a:pt x="1310115" y="2848565"/>
                </a:cubicBezTo>
                <a:cubicBezTo>
                  <a:pt x="1310528" y="2847171"/>
                  <a:pt x="1308257" y="2847171"/>
                  <a:pt x="1307121" y="2846087"/>
                </a:cubicBezTo>
                <a:cubicBezTo>
                  <a:pt x="1307637" y="2846087"/>
                  <a:pt x="1308876" y="2846242"/>
                  <a:pt x="1310425" y="2846551"/>
                </a:cubicBezTo>
                <a:lnTo>
                  <a:pt x="1311251" y="2846861"/>
                </a:lnTo>
                <a:lnTo>
                  <a:pt x="1310115" y="2845932"/>
                </a:lnTo>
                <a:cubicBezTo>
                  <a:pt x="1308773" y="2844383"/>
                  <a:pt x="1307637" y="2842524"/>
                  <a:pt x="1306914" y="2840820"/>
                </a:cubicBezTo>
                <a:lnTo>
                  <a:pt x="1305778" y="2836328"/>
                </a:lnTo>
                <a:close/>
                <a:moveTo>
                  <a:pt x="1160600" y="2835244"/>
                </a:moveTo>
                <a:cubicBezTo>
                  <a:pt x="1151617" y="2835089"/>
                  <a:pt x="1139020" y="2834314"/>
                  <a:pt x="1141498" y="2840975"/>
                </a:cubicBezTo>
                <a:cubicBezTo>
                  <a:pt x="1137884" y="2840511"/>
                  <a:pt x="1140052" y="2836173"/>
                  <a:pt x="1136232" y="2836328"/>
                </a:cubicBezTo>
                <a:cubicBezTo>
                  <a:pt x="1130139" y="2837567"/>
                  <a:pt x="1125287" y="2840355"/>
                  <a:pt x="1116097" y="2841440"/>
                </a:cubicBezTo>
                <a:lnTo>
                  <a:pt x="1115168" y="2841440"/>
                </a:lnTo>
                <a:lnTo>
                  <a:pt x="1116303" y="2844693"/>
                </a:lnTo>
                <a:lnTo>
                  <a:pt x="1115890" y="2845622"/>
                </a:lnTo>
                <a:lnTo>
                  <a:pt x="1120330" y="2846087"/>
                </a:lnTo>
                <a:cubicBezTo>
                  <a:pt x="1127765" y="2846397"/>
                  <a:pt x="1134373" y="2847326"/>
                  <a:pt x="1140568" y="2846551"/>
                </a:cubicBezTo>
                <a:cubicBezTo>
                  <a:pt x="1139536" y="2847636"/>
                  <a:pt x="1139020" y="2848565"/>
                  <a:pt x="1139226" y="2849340"/>
                </a:cubicBezTo>
                <a:lnTo>
                  <a:pt x="1140878" y="2850424"/>
                </a:lnTo>
                <a:lnTo>
                  <a:pt x="1140568" y="2849804"/>
                </a:lnTo>
                <a:cubicBezTo>
                  <a:pt x="1140465" y="2848565"/>
                  <a:pt x="1140878" y="2847481"/>
                  <a:pt x="1141807" y="2846861"/>
                </a:cubicBezTo>
                <a:cubicBezTo>
                  <a:pt x="1142324" y="2846551"/>
                  <a:pt x="1143150" y="2846397"/>
                  <a:pt x="1144182" y="2846242"/>
                </a:cubicBezTo>
                <a:lnTo>
                  <a:pt x="1145215" y="2848255"/>
                </a:lnTo>
                <a:lnTo>
                  <a:pt x="1146764" y="2847326"/>
                </a:lnTo>
                <a:cubicBezTo>
                  <a:pt x="1148726" y="2846242"/>
                  <a:pt x="1150068" y="2845002"/>
                  <a:pt x="1147590" y="2843144"/>
                </a:cubicBezTo>
                <a:lnTo>
                  <a:pt x="1149242" y="2842834"/>
                </a:lnTo>
                <a:lnTo>
                  <a:pt x="1147280" y="2841440"/>
                </a:lnTo>
                <a:cubicBezTo>
                  <a:pt x="1147693" y="2839736"/>
                  <a:pt x="1148623" y="2838497"/>
                  <a:pt x="1149655" y="2837723"/>
                </a:cubicBezTo>
                <a:cubicBezTo>
                  <a:pt x="1152753" y="2835554"/>
                  <a:pt x="1157296" y="2837412"/>
                  <a:pt x="1158122" y="2840665"/>
                </a:cubicBezTo>
                <a:lnTo>
                  <a:pt x="1158019" y="2843144"/>
                </a:lnTo>
                <a:lnTo>
                  <a:pt x="1158225" y="2843144"/>
                </a:lnTo>
                <a:cubicBezTo>
                  <a:pt x="1159981" y="2842214"/>
                  <a:pt x="1159877" y="2840046"/>
                  <a:pt x="1160600" y="2835244"/>
                </a:cubicBezTo>
                <a:close/>
                <a:moveTo>
                  <a:pt x="779894" y="2835089"/>
                </a:moveTo>
                <a:lnTo>
                  <a:pt x="778965" y="2836173"/>
                </a:lnTo>
                <a:lnTo>
                  <a:pt x="779688" y="2836173"/>
                </a:lnTo>
                <a:close/>
                <a:moveTo>
                  <a:pt x="582778" y="2834314"/>
                </a:moveTo>
                <a:cubicBezTo>
                  <a:pt x="582778" y="2834314"/>
                  <a:pt x="583501" y="2834780"/>
                  <a:pt x="583501" y="2834780"/>
                </a:cubicBezTo>
                <a:cubicBezTo>
                  <a:pt x="583708" y="2834469"/>
                  <a:pt x="583811" y="2834469"/>
                  <a:pt x="583811" y="2834624"/>
                </a:cubicBezTo>
                <a:cubicBezTo>
                  <a:pt x="583914" y="2834934"/>
                  <a:pt x="584018" y="2835554"/>
                  <a:pt x="584533" y="2836328"/>
                </a:cubicBezTo>
                <a:cubicBezTo>
                  <a:pt x="584844" y="2837412"/>
                  <a:pt x="585669" y="2837877"/>
                  <a:pt x="584533" y="2838032"/>
                </a:cubicBezTo>
                <a:cubicBezTo>
                  <a:pt x="583295" y="2838342"/>
                  <a:pt x="583295" y="2838342"/>
                  <a:pt x="581126" y="2836948"/>
                </a:cubicBezTo>
                <a:cubicBezTo>
                  <a:pt x="582262" y="2836638"/>
                  <a:pt x="582262" y="2836638"/>
                  <a:pt x="581952" y="2835554"/>
                </a:cubicBezTo>
                <a:cubicBezTo>
                  <a:pt x="581952" y="2835554"/>
                  <a:pt x="581952" y="2835554"/>
                  <a:pt x="581230" y="2835089"/>
                </a:cubicBezTo>
                <a:cubicBezTo>
                  <a:pt x="581643" y="2834469"/>
                  <a:pt x="582365" y="2834934"/>
                  <a:pt x="582778" y="2834314"/>
                </a:cubicBezTo>
                <a:close/>
                <a:moveTo>
                  <a:pt x="1023372" y="2833386"/>
                </a:moveTo>
                <a:cubicBezTo>
                  <a:pt x="1019862" y="2835089"/>
                  <a:pt x="1017384" y="2835709"/>
                  <a:pt x="1014802" y="2836018"/>
                </a:cubicBezTo>
                <a:lnTo>
                  <a:pt x="1016351" y="2838187"/>
                </a:lnTo>
                <a:lnTo>
                  <a:pt x="1016145" y="2839426"/>
                </a:lnTo>
                <a:lnTo>
                  <a:pt x="1024096" y="2840820"/>
                </a:lnTo>
                <a:cubicBezTo>
                  <a:pt x="1022547" y="2842059"/>
                  <a:pt x="1020482" y="2842524"/>
                  <a:pt x="1018210" y="2842524"/>
                </a:cubicBezTo>
                <a:lnTo>
                  <a:pt x="1015835" y="2842369"/>
                </a:lnTo>
                <a:lnTo>
                  <a:pt x="1015628" y="2843299"/>
                </a:lnTo>
                <a:lnTo>
                  <a:pt x="1012014" y="2849030"/>
                </a:lnTo>
                <a:lnTo>
                  <a:pt x="1012014" y="2849494"/>
                </a:lnTo>
                <a:lnTo>
                  <a:pt x="1011704" y="2849494"/>
                </a:lnTo>
                <a:lnTo>
                  <a:pt x="1008917" y="2853832"/>
                </a:lnTo>
                <a:lnTo>
                  <a:pt x="1005819" y="2849494"/>
                </a:lnTo>
                <a:lnTo>
                  <a:pt x="1001482" y="2850269"/>
                </a:lnTo>
                <a:lnTo>
                  <a:pt x="1001482" y="2849804"/>
                </a:lnTo>
                <a:lnTo>
                  <a:pt x="999830" y="2851044"/>
                </a:lnTo>
                <a:cubicBezTo>
                  <a:pt x="996010" y="2854451"/>
                  <a:pt x="992292" y="2857394"/>
                  <a:pt x="987543" y="2855690"/>
                </a:cubicBezTo>
                <a:cubicBezTo>
                  <a:pt x="990331" y="2852283"/>
                  <a:pt x="992602" y="2848565"/>
                  <a:pt x="995906" y="2845467"/>
                </a:cubicBezTo>
                <a:lnTo>
                  <a:pt x="999107" y="2842834"/>
                </a:lnTo>
                <a:lnTo>
                  <a:pt x="996113" y="2843609"/>
                </a:lnTo>
                <a:lnTo>
                  <a:pt x="1000863" y="2840820"/>
                </a:lnTo>
                <a:lnTo>
                  <a:pt x="1000656" y="2840355"/>
                </a:lnTo>
                <a:lnTo>
                  <a:pt x="994874" y="2840201"/>
                </a:lnTo>
                <a:cubicBezTo>
                  <a:pt x="991570" y="2840665"/>
                  <a:pt x="991466" y="2841595"/>
                  <a:pt x="988472" y="2839271"/>
                </a:cubicBezTo>
                <a:lnTo>
                  <a:pt x="984549" y="2836173"/>
                </a:lnTo>
                <a:lnTo>
                  <a:pt x="982173" y="2836173"/>
                </a:lnTo>
                <a:lnTo>
                  <a:pt x="980418" y="2836328"/>
                </a:lnTo>
                <a:cubicBezTo>
                  <a:pt x="977734" y="2837258"/>
                  <a:pt x="977734" y="2839271"/>
                  <a:pt x="974739" y="2839891"/>
                </a:cubicBezTo>
                <a:cubicBezTo>
                  <a:pt x="977320" y="2843763"/>
                  <a:pt x="983309" y="2838497"/>
                  <a:pt x="986923" y="2838961"/>
                </a:cubicBezTo>
                <a:cubicBezTo>
                  <a:pt x="984135" y="2840975"/>
                  <a:pt x="981761" y="2843763"/>
                  <a:pt x="980108" y="2846861"/>
                </a:cubicBezTo>
                <a:cubicBezTo>
                  <a:pt x="977734" y="2844538"/>
                  <a:pt x="974532" y="2842679"/>
                  <a:pt x="970919" y="2842214"/>
                </a:cubicBezTo>
                <a:cubicBezTo>
                  <a:pt x="968957" y="2841595"/>
                  <a:pt x="966788" y="2840820"/>
                  <a:pt x="964620" y="2840820"/>
                </a:cubicBezTo>
                <a:cubicBezTo>
                  <a:pt x="963897" y="2840511"/>
                  <a:pt x="963897" y="2840511"/>
                  <a:pt x="963071" y="2840975"/>
                </a:cubicBezTo>
                <a:cubicBezTo>
                  <a:pt x="963071" y="2840975"/>
                  <a:pt x="963071" y="2840975"/>
                  <a:pt x="962348" y="2840820"/>
                </a:cubicBezTo>
                <a:cubicBezTo>
                  <a:pt x="962348" y="2840820"/>
                  <a:pt x="961625" y="2840511"/>
                  <a:pt x="961625" y="2840511"/>
                </a:cubicBezTo>
                <a:cubicBezTo>
                  <a:pt x="961006" y="2840201"/>
                  <a:pt x="960283" y="2840046"/>
                  <a:pt x="960076" y="2840665"/>
                </a:cubicBezTo>
                <a:cubicBezTo>
                  <a:pt x="958528" y="2840820"/>
                  <a:pt x="959767" y="2844228"/>
                  <a:pt x="960076" y="2845777"/>
                </a:cubicBezTo>
                <a:cubicBezTo>
                  <a:pt x="958115" y="2847326"/>
                  <a:pt x="958218" y="2844383"/>
                  <a:pt x="957495" y="2841905"/>
                </a:cubicBezTo>
                <a:cubicBezTo>
                  <a:pt x="955120" y="2844847"/>
                  <a:pt x="951713" y="2845932"/>
                  <a:pt x="949131" y="2847171"/>
                </a:cubicBezTo>
                <a:cubicBezTo>
                  <a:pt x="948202" y="2847481"/>
                  <a:pt x="947479" y="2847326"/>
                  <a:pt x="946653" y="2847791"/>
                </a:cubicBezTo>
                <a:cubicBezTo>
                  <a:pt x="946653" y="2847791"/>
                  <a:pt x="946653" y="2847791"/>
                  <a:pt x="945104" y="2847945"/>
                </a:cubicBezTo>
                <a:cubicBezTo>
                  <a:pt x="945104" y="2847945"/>
                  <a:pt x="945104" y="2847945"/>
                  <a:pt x="944898" y="2848565"/>
                </a:cubicBezTo>
                <a:cubicBezTo>
                  <a:pt x="944898" y="2848565"/>
                  <a:pt x="944898" y="2848565"/>
                  <a:pt x="944175" y="2848410"/>
                </a:cubicBezTo>
                <a:cubicBezTo>
                  <a:pt x="944175" y="2848410"/>
                  <a:pt x="944175" y="2848255"/>
                  <a:pt x="936328" y="2849340"/>
                </a:cubicBezTo>
                <a:lnTo>
                  <a:pt x="934779" y="2849649"/>
                </a:lnTo>
                <a:lnTo>
                  <a:pt x="932817" y="2851508"/>
                </a:lnTo>
                <a:cubicBezTo>
                  <a:pt x="931991" y="2852128"/>
                  <a:pt x="931061" y="2852438"/>
                  <a:pt x="930132" y="2852438"/>
                </a:cubicBezTo>
                <a:lnTo>
                  <a:pt x="928480" y="2852128"/>
                </a:lnTo>
                <a:lnTo>
                  <a:pt x="930339" y="2853057"/>
                </a:lnTo>
                <a:cubicBezTo>
                  <a:pt x="932921" y="2854606"/>
                  <a:pt x="934985" y="2856155"/>
                  <a:pt x="935089" y="2857549"/>
                </a:cubicBezTo>
                <a:cubicBezTo>
                  <a:pt x="934263" y="2857704"/>
                  <a:pt x="933436" y="2858014"/>
                  <a:pt x="932300" y="2857394"/>
                </a:cubicBezTo>
                <a:cubicBezTo>
                  <a:pt x="931165" y="2856930"/>
                  <a:pt x="931991" y="2856620"/>
                  <a:pt x="931165" y="2856930"/>
                </a:cubicBezTo>
                <a:cubicBezTo>
                  <a:pt x="930029" y="2856465"/>
                  <a:pt x="930339" y="2857239"/>
                  <a:pt x="930339" y="2857239"/>
                </a:cubicBezTo>
                <a:cubicBezTo>
                  <a:pt x="930339" y="2857239"/>
                  <a:pt x="930029" y="2856465"/>
                  <a:pt x="930029" y="2856465"/>
                </a:cubicBezTo>
                <a:cubicBezTo>
                  <a:pt x="930029" y="2856465"/>
                  <a:pt x="930029" y="2856465"/>
                  <a:pt x="927758" y="2855380"/>
                </a:cubicBezTo>
                <a:cubicBezTo>
                  <a:pt x="924660" y="2854451"/>
                  <a:pt x="923834" y="2854761"/>
                  <a:pt x="921872" y="2854451"/>
                </a:cubicBezTo>
                <a:lnTo>
                  <a:pt x="921459" y="2854142"/>
                </a:lnTo>
                <a:lnTo>
                  <a:pt x="918878" y="2855845"/>
                </a:lnTo>
                <a:lnTo>
                  <a:pt x="911133" y="2855226"/>
                </a:lnTo>
                <a:lnTo>
                  <a:pt x="916812" y="2857394"/>
                </a:lnTo>
                <a:lnTo>
                  <a:pt x="918258" y="2858633"/>
                </a:lnTo>
                <a:lnTo>
                  <a:pt x="919187" y="2857084"/>
                </a:lnTo>
                <a:cubicBezTo>
                  <a:pt x="921872" y="2856620"/>
                  <a:pt x="924660" y="2856310"/>
                  <a:pt x="927861" y="2859253"/>
                </a:cubicBezTo>
                <a:cubicBezTo>
                  <a:pt x="928170" y="2860957"/>
                  <a:pt x="927964" y="2862506"/>
                  <a:pt x="927345" y="2863745"/>
                </a:cubicBezTo>
                <a:lnTo>
                  <a:pt x="926208" y="2864984"/>
                </a:lnTo>
                <a:lnTo>
                  <a:pt x="927345" y="2866223"/>
                </a:lnTo>
                <a:lnTo>
                  <a:pt x="933746" y="2865139"/>
                </a:lnTo>
                <a:cubicBezTo>
                  <a:pt x="936018" y="2865139"/>
                  <a:pt x="937773" y="2864365"/>
                  <a:pt x="939322" y="2864055"/>
                </a:cubicBezTo>
                <a:cubicBezTo>
                  <a:pt x="939322" y="2864055"/>
                  <a:pt x="939322" y="2864055"/>
                  <a:pt x="947170" y="2863125"/>
                </a:cubicBezTo>
                <a:cubicBezTo>
                  <a:pt x="947170" y="2863125"/>
                  <a:pt x="947170" y="2863125"/>
                  <a:pt x="947892" y="2863435"/>
                </a:cubicBezTo>
                <a:cubicBezTo>
                  <a:pt x="947892" y="2863435"/>
                  <a:pt x="947892" y="2863281"/>
                  <a:pt x="948099" y="2862661"/>
                </a:cubicBezTo>
                <a:cubicBezTo>
                  <a:pt x="948099" y="2862661"/>
                  <a:pt x="947996" y="2862661"/>
                  <a:pt x="949648" y="2862506"/>
                </a:cubicBezTo>
                <a:cubicBezTo>
                  <a:pt x="951816" y="2862506"/>
                  <a:pt x="953468" y="2862351"/>
                  <a:pt x="955636" y="2862351"/>
                </a:cubicBezTo>
                <a:cubicBezTo>
                  <a:pt x="957186" y="2862196"/>
                  <a:pt x="959251" y="2862971"/>
                  <a:pt x="960799" y="2862815"/>
                </a:cubicBezTo>
                <a:cubicBezTo>
                  <a:pt x="962245" y="2863281"/>
                  <a:pt x="962864" y="2863435"/>
                  <a:pt x="963794" y="2862971"/>
                </a:cubicBezTo>
                <a:cubicBezTo>
                  <a:pt x="964517" y="2863281"/>
                  <a:pt x="965136" y="2863435"/>
                  <a:pt x="965136" y="2863435"/>
                </a:cubicBezTo>
                <a:cubicBezTo>
                  <a:pt x="965859" y="2863745"/>
                  <a:pt x="965756" y="2863745"/>
                  <a:pt x="967201" y="2864210"/>
                </a:cubicBezTo>
                <a:cubicBezTo>
                  <a:pt x="969576" y="2863590"/>
                  <a:pt x="969163" y="2862661"/>
                  <a:pt x="967821" y="2862196"/>
                </a:cubicBezTo>
                <a:cubicBezTo>
                  <a:pt x="967098" y="2861886"/>
                  <a:pt x="967098" y="2861886"/>
                  <a:pt x="966479" y="2861731"/>
                </a:cubicBezTo>
                <a:cubicBezTo>
                  <a:pt x="965756" y="2861422"/>
                  <a:pt x="965756" y="2861422"/>
                  <a:pt x="965136" y="2861267"/>
                </a:cubicBezTo>
                <a:cubicBezTo>
                  <a:pt x="965136" y="2861267"/>
                  <a:pt x="964413" y="2861111"/>
                  <a:pt x="964207" y="2861731"/>
                </a:cubicBezTo>
                <a:cubicBezTo>
                  <a:pt x="964620" y="2860337"/>
                  <a:pt x="964620" y="2860337"/>
                  <a:pt x="965446" y="2860027"/>
                </a:cubicBezTo>
                <a:cubicBezTo>
                  <a:pt x="966375" y="2859563"/>
                  <a:pt x="967924" y="2859253"/>
                  <a:pt x="969473" y="2859098"/>
                </a:cubicBezTo>
                <a:cubicBezTo>
                  <a:pt x="973087" y="2859718"/>
                  <a:pt x="976081" y="2859872"/>
                  <a:pt x="976288" y="2861422"/>
                </a:cubicBezTo>
                <a:cubicBezTo>
                  <a:pt x="983619" y="2857394"/>
                  <a:pt x="989814" y="2856620"/>
                  <a:pt x="995906" y="2856620"/>
                </a:cubicBezTo>
                <a:cubicBezTo>
                  <a:pt x="999004" y="2856155"/>
                  <a:pt x="1002618" y="2856620"/>
                  <a:pt x="1005716" y="2856310"/>
                </a:cubicBezTo>
                <a:cubicBezTo>
                  <a:pt x="1006645" y="2855845"/>
                  <a:pt x="1007265" y="2856155"/>
                  <a:pt x="1008194" y="2855690"/>
                </a:cubicBezTo>
                <a:cubicBezTo>
                  <a:pt x="1008917" y="2856000"/>
                  <a:pt x="1009743" y="2855536"/>
                  <a:pt x="1010672" y="2855071"/>
                </a:cubicBezTo>
                <a:lnTo>
                  <a:pt x="1010259" y="2852438"/>
                </a:lnTo>
                <a:lnTo>
                  <a:pt x="1013976" y="2854296"/>
                </a:lnTo>
                <a:lnTo>
                  <a:pt x="1015525" y="2853832"/>
                </a:lnTo>
                <a:cubicBezTo>
                  <a:pt x="1017074" y="2858788"/>
                  <a:pt x="1022443" y="2858324"/>
                  <a:pt x="1027193" y="2857704"/>
                </a:cubicBezTo>
                <a:cubicBezTo>
                  <a:pt x="1031840" y="2857239"/>
                  <a:pt x="1036486" y="2856620"/>
                  <a:pt x="1036176" y="2860182"/>
                </a:cubicBezTo>
                <a:cubicBezTo>
                  <a:pt x="1044127" y="2861422"/>
                  <a:pt x="1034421" y="2853677"/>
                  <a:pt x="1038758" y="2854451"/>
                </a:cubicBezTo>
                <a:cubicBezTo>
                  <a:pt x="1041029" y="2854142"/>
                  <a:pt x="1046605" y="2853987"/>
                  <a:pt x="1052284" y="2853677"/>
                </a:cubicBezTo>
                <a:lnTo>
                  <a:pt x="1057963" y="2853367"/>
                </a:lnTo>
                <a:lnTo>
                  <a:pt x="1064882" y="2848100"/>
                </a:lnTo>
                <a:lnTo>
                  <a:pt x="1066740" y="2849340"/>
                </a:lnTo>
                <a:lnTo>
                  <a:pt x="1066534" y="2847326"/>
                </a:lnTo>
                <a:cubicBezTo>
                  <a:pt x="1073452" y="2846861"/>
                  <a:pt x="1065914" y="2849340"/>
                  <a:pt x="1070458" y="2851663"/>
                </a:cubicBezTo>
                <a:cubicBezTo>
                  <a:pt x="1070870" y="2850269"/>
                  <a:pt x="1072420" y="2850114"/>
                  <a:pt x="1073968" y="2849959"/>
                </a:cubicBezTo>
                <a:cubicBezTo>
                  <a:pt x="1075517" y="2849649"/>
                  <a:pt x="1076963" y="2850114"/>
                  <a:pt x="1078305" y="2850579"/>
                </a:cubicBezTo>
                <a:cubicBezTo>
                  <a:pt x="1081712" y="2851818"/>
                  <a:pt x="1084604" y="2852128"/>
                  <a:pt x="1086669" y="2847791"/>
                </a:cubicBezTo>
                <a:cubicBezTo>
                  <a:pt x="1090076" y="2848875"/>
                  <a:pt x="1090386" y="2850424"/>
                  <a:pt x="1088424" y="2851973"/>
                </a:cubicBezTo>
                <a:lnTo>
                  <a:pt x="1093587" y="2849959"/>
                </a:lnTo>
                <a:lnTo>
                  <a:pt x="1094929" y="2841595"/>
                </a:lnTo>
                <a:lnTo>
                  <a:pt x="1095549" y="2839891"/>
                </a:lnTo>
                <a:lnTo>
                  <a:pt x="1092244" y="2842369"/>
                </a:lnTo>
                <a:cubicBezTo>
                  <a:pt x="1091419" y="2841285"/>
                  <a:pt x="1091109" y="2840355"/>
                  <a:pt x="1090489" y="2839271"/>
                </a:cubicBezTo>
                <a:lnTo>
                  <a:pt x="1090283" y="2839116"/>
                </a:lnTo>
                <a:lnTo>
                  <a:pt x="1087495" y="2842214"/>
                </a:lnTo>
                <a:cubicBezTo>
                  <a:pt x="1081506" y="2847171"/>
                  <a:pt x="1073245" y="2849340"/>
                  <a:pt x="1066637" y="2845312"/>
                </a:cubicBezTo>
                <a:lnTo>
                  <a:pt x="1061784" y="2840046"/>
                </a:lnTo>
                <a:lnTo>
                  <a:pt x="1060029" y="2841440"/>
                </a:lnTo>
                <a:cubicBezTo>
                  <a:pt x="1056415" y="2840975"/>
                  <a:pt x="1054969" y="2838342"/>
                  <a:pt x="1051149" y="2838497"/>
                </a:cubicBezTo>
                <a:cubicBezTo>
                  <a:pt x="1047122" y="2839271"/>
                  <a:pt x="1052904" y="2842679"/>
                  <a:pt x="1056208" y="2841595"/>
                </a:cubicBezTo>
                <a:cubicBezTo>
                  <a:pt x="1053420" y="2843299"/>
                  <a:pt x="1050529" y="2843454"/>
                  <a:pt x="1047638" y="2843144"/>
                </a:cubicBezTo>
                <a:lnTo>
                  <a:pt x="1044643" y="2842059"/>
                </a:lnTo>
                <a:lnTo>
                  <a:pt x="1044540" y="2844073"/>
                </a:lnTo>
                <a:cubicBezTo>
                  <a:pt x="1043404" y="2846861"/>
                  <a:pt x="1040617" y="2848720"/>
                  <a:pt x="1037622" y="2848100"/>
                </a:cubicBezTo>
                <a:cubicBezTo>
                  <a:pt x="1035557" y="2847791"/>
                  <a:pt x="1033492" y="2846397"/>
                  <a:pt x="1031736" y="2843454"/>
                </a:cubicBezTo>
                <a:cubicBezTo>
                  <a:pt x="1033492" y="2842214"/>
                  <a:pt x="1034628" y="2840820"/>
                  <a:pt x="1035454" y="2839581"/>
                </a:cubicBezTo>
                <a:lnTo>
                  <a:pt x="1035763" y="2839271"/>
                </a:lnTo>
                <a:lnTo>
                  <a:pt x="1030807" y="2837877"/>
                </a:lnTo>
                <a:cubicBezTo>
                  <a:pt x="1028122" y="2837567"/>
                  <a:pt x="1025748" y="2837723"/>
                  <a:pt x="1023786" y="2839271"/>
                </a:cubicBezTo>
                <a:cubicBezTo>
                  <a:pt x="1018830" y="2838342"/>
                  <a:pt x="1025541" y="2836173"/>
                  <a:pt x="1023372" y="2833386"/>
                </a:cubicBezTo>
                <a:close/>
                <a:moveTo>
                  <a:pt x="741173" y="2833076"/>
                </a:moveTo>
                <a:cubicBezTo>
                  <a:pt x="743858" y="2832610"/>
                  <a:pt x="748092" y="2834624"/>
                  <a:pt x="748504" y="2836018"/>
                </a:cubicBezTo>
                <a:cubicBezTo>
                  <a:pt x="747782" y="2837723"/>
                  <a:pt x="738592" y="2838497"/>
                  <a:pt x="739315" y="2834469"/>
                </a:cubicBezTo>
                <a:cubicBezTo>
                  <a:pt x="739625" y="2833540"/>
                  <a:pt x="740347" y="2833230"/>
                  <a:pt x="741173" y="2833076"/>
                </a:cubicBezTo>
                <a:close/>
                <a:moveTo>
                  <a:pt x="472707" y="2831372"/>
                </a:moveTo>
                <a:cubicBezTo>
                  <a:pt x="475185" y="2831991"/>
                  <a:pt x="476941" y="2834005"/>
                  <a:pt x="477560" y="2837877"/>
                </a:cubicBezTo>
                <a:cubicBezTo>
                  <a:pt x="467648" y="2841130"/>
                  <a:pt x="461039" y="2848875"/>
                  <a:pt x="455154" y="2847326"/>
                </a:cubicBezTo>
                <a:cubicBezTo>
                  <a:pt x="453192" y="2846861"/>
                  <a:pt x="451230" y="2845312"/>
                  <a:pt x="449371" y="2842214"/>
                </a:cubicBezTo>
                <a:cubicBezTo>
                  <a:pt x="452469" y="2838342"/>
                  <a:pt x="465479" y="2829203"/>
                  <a:pt x="472707" y="2831372"/>
                </a:cubicBezTo>
                <a:close/>
                <a:moveTo>
                  <a:pt x="1269535" y="2831062"/>
                </a:moveTo>
                <a:cubicBezTo>
                  <a:pt x="1269535" y="2836173"/>
                  <a:pt x="1273872" y="2836793"/>
                  <a:pt x="1278519" y="2836328"/>
                </a:cubicBezTo>
                <a:lnTo>
                  <a:pt x="1278932" y="2836328"/>
                </a:lnTo>
                <a:lnTo>
                  <a:pt x="1280377" y="2834780"/>
                </a:lnTo>
                <a:cubicBezTo>
                  <a:pt x="1281513" y="2834469"/>
                  <a:pt x="1282959" y="2834314"/>
                  <a:pt x="1284714" y="2834314"/>
                </a:cubicBezTo>
                <a:cubicBezTo>
                  <a:pt x="1285540" y="2835709"/>
                  <a:pt x="1286676" y="2837103"/>
                  <a:pt x="1287812" y="2838652"/>
                </a:cubicBezTo>
                <a:lnTo>
                  <a:pt x="1289154" y="2840820"/>
                </a:lnTo>
                <a:lnTo>
                  <a:pt x="1295453" y="2840820"/>
                </a:lnTo>
                <a:cubicBezTo>
                  <a:pt x="1296589" y="2840665"/>
                  <a:pt x="1297725" y="2840665"/>
                  <a:pt x="1298757" y="2840975"/>
                </a:cubicBezTo>
                <a:lnTo>
                  <a:pt x="1300512" y="2841905"/>
                </a:lnTo>
                <a:lnTo>
                  <a:pt x="1301132" y="2839426"/>
                </a:lnTo>
                <a:lnTo>
                  <a:pt x="1296072" y="2834005"/>
                </a:lnTo>
                <a:cubicBezTo>
                  <a:pt x="1293801" y="2833230"/>
                  <a:pt x="1291116" y="2833386"/>
                  <a:pt x="1288328" y="2833850"/>
                </a:cubicBezTo>
                <a:cubicBezTo>
                  <a:pt x="1282959" y="2834160"/>
                  <a:pt x="1275731" y="2835399"/>
                  <a:pt x="1269535" y="2831062"/>
                </a:cubicBezTo>
                <a:close/>
                <a:moveTo>
                  <a:pt x="532325" y="2831004"/>
                </a:moveTo>
                <a:cubicBezTo>
                  <a:pt x="536519" y="2830094"/>
                  <a:pt x="540650" y="2830133"/>
                  <a:pt x="541992" y="2831217"/>
                </a:cubicBezTo>
                <a:cubicBezTo>
                  <a:pt x="539617" y="2834160"/>
                  <a:pt x="536003" y="2833695"/>
                  <a:pt x="532699" y="2836793"/>
                </a:cubicBezTo>
                <a:cubicBezTo>
                  <a:pt x="530015" y="2835399"/>
                  <a:pt x="525884" y="2838652"/>
                  <a:pt x="522270" y="2836483"/>
                </a:cubicBezTo>
                <a:cubicBezTo>
                  <a:pt x="523871" y="2833773"/>
                  <a:pt x="528130" y="2831914"/>
                  <a:pt x="532325" y="2831004"/>
                </a:cubicBezTo>
                <a:close/>
                <a:moveTo>
                  <a:pt x="299857" y="2830752"/>
                </a:moveTo>
                <a:cubicBezTo>
                  <a:pt x="300373" y="2830597"/>
                  <a:pt x="301096" y="2830752"/>
                  <a:pt x="301921" y="2831217"/>
                </a:cubicBezTo>
                <a:cubicBezTo>
                  <a:pt x="299133" y="2837723"/>
                  <a:pt x="299133" y="2841130"/>
                  <a:pt x="296346" y="2845777"/>
                </a:cubicBezTo>
                <a:cubicBezTo>
                  <a:pt x="295416" y="2845777"/>
                  <a:pt x="295520" y="2844847"/>
                  <a:pt x="294591" y="2844847"/>
                </a:cubicBezTo>
                <a:cubicBezTo>
                  <a:pt x="294177" y="2844383"/>
                  <a:pt x="294074" y="2843454"/>
                  <a:pt x="294074" y="2842524"/>
                </a:cubicBezTo>
                <a:cubicBezTo>
                  <a:pt x="294177" y="2839426"/>
                  <a:pt x="295829" y="2834780"/>
                  <a:pt x="296552" y="2834934"/>
                </a:cubicBezTo>
                <a:cubicBezTo>
                  <a:pt x="296552" y="2834005"/>
                  <a:pt x="297378" y="2834160"/>
                  <a:pt x="297482" y="2833386"/>
                </a:cubicBezTo>
                <a:cubicBezTo>
                  <a:pt x="297482" y="2833386"/>
                  <a:pt x="297482" y="2832456"/>
                  <a:pt x="298411" y="2831681"/>
                </a:cubicBezTo>
                <a:cubicBezTo>
                  <a:pt x="298824" y="2831372"/>
                  <a:pt x="299237" y="2830907"/>
                  <a:pt x="299857" y="2830752"/>
                </a:cubicBezTo>
                <a:close/>
                <a:moveTo>
                  <a:pt x="649792" y="2829300"/>
                </a:moveTo>
                <a:cubicBezTo>
                  <a:pt x="655574" y="2829087"/>
                  <a:pt x="662131" y="2830830"/>
                  <a:pt x="668171" y="2833386"/>
                </a:cubicBezTo>
                <a:lnTo>
                  <a:pt x="672198" y="2835399"/>
                </a:lnTo>
                <a:lnTo>
                  <a:pt x="673541" y="2833230"/>
                </a:lnTo>
                <a:lnTo>
                  <a:pt x="673850" y="2833230"/>
                </a:lnTo>
                <a:lnTo>
                  <a:pt x="673850" y="2832766"/>
                </a:lnTo>
                <a:cubicBezTo>
                  <a:pt x="673954" y="2832456"/>
                  <a:pt x="674057" y="2832146"/>
                  <a:pt x="673850" y="2831836"/>
                </a:cubicBezTo>
                <a:cubicBezTo>
                  <a:pt x="673850" y="2831836"/>
                  <a:pt x="674573" y="2831526"/>
                  <a:pt x="674573" y="2831526"/>
                </a:cubicBezTo>
                <a:cubicBezTo>
                  <a:pt x="674470" y="2831217"/>
                  <a:pt x="674366" y="2831217"/>
                  <a:pt x="674676" y="2831372"/>
                </a:cubicBezTo>
                <a:cubicBezTo>
                  <a:pt x="674986" y="2831372"/>
                  <a:pt x="675502" y="2831681"/>
                  <a:pt x="676535" y="2831681"/>
                </a:cubicBezTo>
                <a:cubicBezTo>
                  <a:pt x="677568" y="2832146"/>
                  <a:pt x="678394" y="2831836"/>
                  <a:pt x="677981" y="2832921"/>
                </a:cubicBezTo>
                <a:cubicBezTo>
                  <a:pt x="677774" y="2833386"/>
                  <a:pt x="677671" y="2833695"/>
                  <a:pt x="677361" y="2833850"/>
                </a:cubicBezTo>
                <a:lnTo>
                  <a:pt x="676845" y="2834160"/>
                </a:lnTo>
                <a:lnTo>
                  <a:pt x="679117" y="2837412"/>
                </a:lnTo>
                <a:lnTo>
                  <a:pt x="677568" y="2838342"/>
                </a:lnTo>
                <a:lnTo>
                  <a:pt x="679117" y="2839116"/>
                </a:lnTo>
                <a:cubicBezTo>
                  <a:pt x="664867" y="2850734"/>
                  <a:pt x="650515" y="2843763"/>
                  <a:pt x="636058" y="2836948"/>
                </a:cubicBezTo>
                <a:cubicBezTo>
                  <a:pt x="639001" y="2831681"/>
                  <a:pt x="644009" y="2829513"/>
                  <a:pt x="649792" y="2829300"/>
                </a:cubicBezTo>
                <a:close/>
                <a:moveTo>
                  <a:pt x="1335723" y="2828274"/>
                </a:moveTo>
                <a:cubicBezTo>
                  <a:pt x="1336652" y="2828274"/>
                  <a:pt x="1337478" y="2828738"/>
                  <a:pt x="1337685" y="2829203"/>
                </a:cubicBezTo>
                <a:cubicBezTo>
                  <a:pt x="1337168" y="2830133"/>
                  <a:pt x="1335620" y="2830752"/>
                  <a:pt x="1335103" y="2831836"/>
                </a:cubicBezTo>
                <a:cubicBezTo>
                  <a:pt x="1334794" y="2830907"/>
                  <a:pt x="1333658" y="2830442"/>
                  <a:pt x="1333348" y="2829513"/>
                </a:cubicBezTo>
                <a:cubicBezTo>
                  <a:pt x="1333761" y="2828583"/>
                  <a:pt x="1334794" y="2828274"/>
                  <a:pt x="1335723" y="2828274"/>
                </a:cubicBezTo>
                <a:close/>
                <a:moveTo>
                  <a:pt x="687170" y="2827964"/>
                </a:moveTo>
                <a:cubicBezTo>
                  <a:pt x="695741" y="2827809"/>
                  <a:pt x="697393" y="2833386"/>
                  <a:pt x="699664" y="2838187"/>
                </a:cubicBezTo>
                <a:cubicBezTo>
                  <a:pt x="698735" y="2838342"/>
                  <a:pt x="697496" y="2838342"/>
                  <a:pt x="696154" y="2837877"/>
                </a:cubicBezTo>
                <a:lnTo>
                  <a:pt x="693779" y="2836948"/>
                </a:lnTo>
                <a:lnTo>
                  <a:pt x="694089" y="2837723"/>
                </a:lnTo>
                <a:cubicBezTo>
                  <a:pt x="694295" y="2839426"/>
                  <a:pt x="694398" y="2840975"/>
                  <a:pt x="694708" y="2842679"/>
                </a:cubicBezTo>
                <a:lnTo>
                  <a:pt x="696464" y="2846551"/>
                </a:lnTo>
                <a:lnTo>
                  <a:pt x="706479" y="2843919"/>
                </a:lnTo>
                <a:lnTo>
                  <a:pt x="712985" y="2844383"/>
                </a:lnTo>
                <a:lnTo>
                  <a:pt x="712675" y="2841905"/>
                </a:lnTo>
                <a:cubicBezTo>
                  <a:pt x="713501" y="2837877"/>
                  <a:pt x="716289" y="2833386"/>
                  <a:pt x="721555" y="2829513"/>
                </a:cubicBezTo>
                <a:cubicBezTo>
                  <a:pt x="723620" y="2829358"/>
                  <a:pt x="725788" y="2829978"/>
                  <a:pt x="727957" y="2831062"/>
                </a:cubicBezTo>
                <a:cubicBezTo>
                  <a:pt x="734255" y="2834314"/>
                  <a:pt x="739831" y="2841750"/>
                  <a:pt x="738282" y="2846551"/>
                </a:cubicBezTo>
                <a:cubicBezTo>
                  <a:pt x="734771" y="2850734"/>
                  <a:pt x="731364" y="2853367"/>
                  <a:pt x="728060" y="2854606"/>
                </a:cubicBezTo>
                <a:lnTo>
                  <a:pt x="719799" y="2855071"/>
                </a:lnTo>
                <a:lnTo>
                  <a:pt x="715669" y="2859253"/>
                </a:lnTo>
                <a:lnTo>
                  <a:pt x="716289" y="2861731"/>
                </a:lnTo>
                <a:cubicBezTo>
                  <a:pt x="716082" y="2863125"/>
                  <a:pt x="715256" y="2864519"/>
                  <a:pt x="713914" y="2865449"/>
                </a:cubicBezTo>
                <a:lnTo>
                  <a:pt x="712985" y="2865139"/>
                </a:lnTo>
                <a:lnTo>
                  <a:pt x="712881" y="2866223"/>
                </a:lnTo>
                <a:cubicBezTo>
                  <a:pt x="712571" y="2867153"/>
                  <a:pt x="712055" y="2867927"/>
                  <a:pt x="711229" y="2868857"/>
                </a:cubicBezTo>
                <a:cubicBezTo>
                  <a:pt x="708544" y="2871490"/>
                  <a:pt x="702349" y="2873504"/>
                  <a:pt x="699871" y="2871025"/>
                </a:cubicBezTo>
                <a:cubicBezTo>
                  <a:pt x="696567" y="2868701"/>
                  <a:pt x="695844" y="2866223"/>
                  <a:pt x="695947" y="2863590"/>
                </a:cubicBezTo>
                <a:cubicBezTo>
                  <a:pt x="695947" y="2863590"/>
                  <a:pt x="695947" y="2863590"/>
                  <a:pt x="695947" y="2864519"/>
                </a:cubicBezTo>
                <a:cubicBezTo>
                  <a:pt x="692333" y="2868082"/>
                  <a:pt x="686034" y="2874123"/>
                  <a:pt x="683453" y="2873504"/>
                </a:cubicBezTo>
                <a:cubicBezTo>
                  <a:pt x="683453" y="2872574"/>
                  <a:pt x="683556" y="2871800"/>
                  <a:pt x="684383" y="2870870"/>
                </a:cubicBezTo>
                <a:cubicBezTo>
                  <a:pt x="685312" y="2869941"/>
                  <a:pt x="685312" y="2870870"/>
                  <a:pt x="685312" y="2870096"/>
                </a:cubicBezTo>
                <a:lnTo>
                  <a:pt x="685415" y="2869786"/>
                </a:lnTo>
                <a:lnTo>
                  <a:pt x="682730" y="2871490"/>
                </a:lnTo>
                <a:cubicBezTo>
                  <a:pt x="681078" y="2869941"/>
                  <a:pt x="679323" y="2870870"/>
                  <a:pt x="677671" y="2869166"/>
                </a:cubicBezTo>
                <a:cubicBezTo>
                  <a:pt x="683040" y="2863900"/>
                  <a:pt x="688513" y="2857859"/>
                  <a:pt x="693572" y="2860182"/>
                </a:cubicBezTo>
                <a:lnTo>
                  <a:pt x="696154" y="2858478"/>
                </a:lnTo>
                <a:cubicBezTo>
                  <a:pt x="697909" y="2859253"/>
                  <a:pt x="697909" y="2859253"/>
                  <a:pt x="697806" y="2860182"/>
                </a:cubicBezTo>
                <a:lnTo>
                  <a:pt x="699355" y="2858788"/>
                </a:lnTo>
                <a:lnTo>
                  <a:pt x="695225" y="2857394"/>
                </a:lnTo>
                <a:lnTo>
                  <a:pt x="693469" y="2855536"/>
                </a:lnTo>
                <a:lnTo>
                  <a:pt x="692643" y="2855690"/>
                </a:lnTo>
                <a:cubicBezTo>
                  <a:pt x="689235" y="2855845"/>
                  <a:pt x="685931" y="2855380"/>
                  <a:pt x="682730" y="2854296"/>
                </a:cubicBezTo>
                <a:cubicBezTo>
                  <a:pt x="682833" y="2852283"/>
                  <a:pt x="683350" y="2850269"/>
                  <a:pt x="684073" y="2848410"/>
                </a:cubicBezTo>
                <a:lnTo>
                  <a:pt x="685312" y="2845467"/>
                </a:lnTo>
                <a:lnTo>
                  <a:pt x="681801" y="2844228"/>
                </a:lnTo>
                <a:cubicBezTo>
                  <a:pt x="680665" y="2843299"/>
                  <a:pt x="680046" y="2842059"/>
                  <a:pt x="679839" y="2840665"/>
                </a:cubicBezTo>
                <a:cubicBezTo>
                  <a:pt x="680975" y="2839736"/>
                  <a:pt x="682111" y="2839271"/>
                  <a:pt x="683247" y="2839271"/>
                </a:cubicBezTo>
                <a:cubicBezTo>
                  <a:pt x="685002" y="2839271"/>
                  <a:pt x="686448" y="2840046"/>
                  <a:pt x="687274" y="2841285"/>
                </a:cubicBezTo>
                <a:lnTo>
                  <a:pt x="687377" y="2841595"/>
                </a:lnTo>
                <a:lnTo>
                  <a:pt x="691197" y="2835244"/>
                </a:lnTo>
                <a:lnTo>
                  <a:pt x="688513" y="2832610"/>
                </a:lnTo>
                <a:cubicBezTo>
                  <a:pt x="687584" y="2831372"/>
                  <a:pt x="687170" y="2829822"/>
                  <a:pt x="687170" y="2827964"/>
                </a:cubicBezTo>
                <a:close/>
                <a:moveTo>
                  <a:pt x="879124" y="2823317"/>
                </a:moveTo>
                <a:cubicBezTo>
                  <a:pt x="880879" y="2822078"/>
                  <a:pt x="883460" y="2821923"/>
                  <a:pt x="884080" y="2824556"/>
                </a:cubicBezTo>
                <a:cubicBezTo>
                  <a:pt x="883151" y="2826105"/>
                  <a:pt x="881189" y="2827344"/>
                  <a:pt x="879330" y="2828738"/>
                </a:cubicBezTo>
                <a:cubicBezTo>
                  <a:pt x="877885" y="2827809"/>
                  <a:pt x="877368" y="2826879"/>
                  <a:pt x="877471" y="2825950"/>
                </a:cubicBezTo>
                <a:cubicBezTo>
                  <a:pt x="877575" y="2824866"/>
                  <a:pt x="878194" y="2824091"/>
                  <a:pt x="879124" y="2823317"/>
                </a:cubicBezTo>
                <a:close/>
                <a:moveTo>
                  <a:pt x="6349878" y="2822899"/>
                </a:moveTo>
                <a:lnTo>
                  <a:pt x="6349317" y="2823522"/>
                </a:lnTo>
                <a:lnTo>
                  <a:pt x="6346497" y="2837111"/>
                </a:lnTo>
                <a:lnTo>
                  <a:pt x="6346463" y="2837695"/>
                </a:lnTo>
                <a:cubicBezTo>
                  <a:pt x="6348171" y="2839118"/>
                  <a:pt x="6349664" y="2840682"/>
                  <a:pt x="6350305" y="2842959"/>
                </a:cubicBezTo>
                <a:cubicBezTo>
                  <a:pt x="6352012" y="2838406"/>
                  <a:pt x="6348171" y="2831008"/>
                  <a:pt x="6352012" y="2828021"/>
                </a:cubicBezTo>
                <a:cubicBezTo>
                  <a:pt x="6354360" y="2833996"/>
                  <a:pt x="6351159" y="2836983"/>
                  <a:pt x="6356707" y="2845093"/>
                </a:cubicBezTo>
                <a:cubicBezTo>
                  <a:pt x="6352012" y="2849645"/>
                  <a:pt x="6347317" y="2845946"/>
                  <a:pt x="6353506" y="2856332"/>
                </a:cubicBezTo>
                <a:cubicBezTo>
                  <a:pt x="6351905" y="2854127"/>
                  <a:pt x="6349931" y="2853380"/>
                  <a:pt x="6348064" y="2852349"/>
                </a:cubicBezTo>
                <a:lnTo>
                  <a:pt x="6344268" y="2847851"/>
                </a:lnTo>
                <a:lnTo>
                  <a:pt x="6342424" y="2856738"/>
                </a:lnTo>
                <a:lnTo>
                  <a:pt x="6344116" y="2861454"/>
                </a:lnTo>
                <a:cubicBezTo>
                  <a:pt x="6344969" y="2862308"/>
                  <a:pt x="6344969" y="2863730"/>
                  <a:pt x="6345610" y="2864584"/>
                </a:cubicBezTo>
                <a:cubicBezTo>
                  <a:pt x="6345610" y="2865295"/>
                  <a:pt x="6345610" y="2866006"/>
                  <a:pt x="6346463" y="2866006"/>
                </a:cubicBezTo>
                <a:cubicBezTo>
                  <a:pt x="6346463" y="2866718"/>
                  <a:pt x="6346463" y="2866718"/>
                  <a:pt x="6347317" y="2867429"/>
                </a:cubicBezTo>
                <a:cubicBezTo>
                  <a:pt x="6350518" y="2874115"/>
                  <a:pt x="6354360" y="2878668"/>
                  <a:pt x="6351159" y="2869705"/>
                </a:cubicBezTo>
                <a:cubicBezTo>
                  <a:pt x="6356707" y="2871981"/>
                  <a:pt x="6356707" y="2889908"/>
                  <a:pt x="6362256" y="2883932"/>
                </a:cubicBezTo>
                <a:cubicBezTo>
                  <a:pt x="6366098" y="2889053"/>
                  <a:pt x="6366098" y="2892753"/>
                  <a:pt x="6365244" y="2896594"/>
                </a:cubicBezTo>
                <a:lnTo>
                  <a:pt x="6365244" y="2900435"/>
                </a:lnTo>
                <a:lnTo>
                  <a:pt x="6368873" y="2897021"/>
                </a:lnTo>
                <a:cubicBezTo>
                  <a:pt x="6373354" y="2900577"/>
                  <a:pt x="6378049" y="2902427"/>
                  <a:pt x="6382318" y="2903850"/>
                </a:cubicBezTo>
                <a:lnTo>
                  <a:pt x="6387227" y="2905984"/>
                </a:lnTo>
                <a:lnTo>
                  <a:pt x="6385092" y="2898017"/>
                </a:lnTo>
                <a:cubicBezTo>
                  <a:pt x="6383385" y="2894318"/>
                  <a:pt x="6381891" y="2889765"/>
                  <a:pt x="6379544" y="2886778"/>
                </a:cubicBezTo>
                <a:cubicBezTo>
                  <a:pt x="6377196" y="2873404"/>
                  <a:pt x="6373994" y="2864441"/>
                  <a:pt x="6370153" y="2855620"/>
                </a:cubicBezTo>
                <a:cubicBezTo>
                  <a:pt x="6367378" y="2850357"/>
                  <a:pt x="6364177" y="2845093"/>
                  <a:pt x="6360549" y="2839402"/>
                </a:cubicBezTo>
                <a:close/>
                <a:moveTo>
                  <a:pt x="832659" y="2821148"/>
                </a:moveTo>
                <a:cubicBezTo>
                  <a:pt x="836375" y="2820684"/>
                  <a:pt x="837408" y="2824866"/>
                  <a:pt x="835653" y="2826260"/>
                </a:cubicBezTo>
                <a:cubicBezTo>
                  <a:pt x="835033" y="2826725"/>
                  <a:pt x="834207" y="2826879"/>
                  <a:pt x="832968" y="2826415"/>
                </a:cubicBezTo>
                <a:cubicBezTo>
                  <a:pt x="832659" y="2825486"/>
                  <a:pt x="832556" y="2824711"/>
                  <a:pt x="832556" y="2823936"/>
                </a:cubicBezTo>
                <a:cubicBezTo>
                  <a:pt x="832556" y="2823162"/>
                  <a:pt x="832556" y="2822233"/>
                  <a:pt x="832659" y="2821148"/>
                </a:cubicBezTo>
                <a:close/>
                <a:moveTo>
                  <a:pt x="825740" y="2820219"/>
                </a:moveTo>
                <a:cubicBezTo>
                  <a:pt x="826876" y="2820529"/>
                  <a:pt x="827805" y="2822078"/>
                  <a:pt x="828528" y="2824711"/>
                </a:cubicBezTo>
                <a:cubicBezTo>
                  <a:pt x="827496" y="2826260"/>
                  <a:pt x="823882" y="2825176"/>
                  <a:pt x="822023" y="2825176"/>
                </a:cubicBezTo>
                <a:cubicBezTo>
                  <a:pt x="822229" y="2823936"/>
                  <a:pt x="822539" y="2822852"/>
                  <a:pt x="821817" y="2823317"/>
                </a:cubicBezTo>
                <a:cubicBezTo>
                  <a:pt x="822023" y="2822078"/>
                  <a:pt x="822539" y="2821458"/>
                  <a:pt x="823262" y="2820993"/>
                </a:cubicBezTo>
                <a:cubicBezTo>
                  <a:pt x="823882" y="2820529"/>
                  <a:pt x="824708" y="2820219"/>
                  <a:pt x="825740" y="2820219"/>
                </a:cubicBezTo>
                <a:close/>
                <a:moveTo>
                  <a:pt x="6485305" y="2819373"/>
                </a:moveTo>
                <a:cubicBezTo>
                  <a:pt x="6490571" y="2822368"/>
                  <a:pt x="6494289" y="2819580"/>
                  <a:pt x="6499400" y="2822574"/>
                </a:cubicBezTo>
                <a:cubicBezTo>
                  <a:pt x="6490726" y="2834759"/>
                  <a:pt x="6482207" y="2848285"/>
                  <a:pt x="6470745" y="2849318"/>
                </a:cubicBezTo>
                <a:cubicBezTo>
                  <a:pt x="6469195" y="2849524"/>
                  <a:pt x="6467491" y="2849318"/>
                  <a:pt x="6465787" y="2848905"/>
                </a:cubicBezTo>
                <a:cubicBezTo>
                  <a:pt x="6460986" y="2837960"/>
                  <a:pt x="6475546" y="2825156"/>
                  <a:pt x="6485305" y="2819373"/>
                </a:cubicBezTo>
                <a:close/>
                <a:moveTo>
                  <a:pt x="693366" y="2818399"/>
                </a:moveTo>
                <a:cubicBezTo>
                  <a:pt x="697625" y="2817896"/>
                  <a:pt x="701730" y="2818360"/>
                  <a:pt x="702969" y="2819599"/>
                </a:cubicBezTo>
                <a:lnTo>
                  <a:pt x="699045" y="2821613"/>
                </a:lnTo>
                <a:lnTo>
                  <a:pt x="700491" y="2821458"/>
                </a:lnTo>
                <a:cubicBezTo>
                  <a:pt x="701213" y="2820993"/>
                  <a:pt x="703795" y="2823162"/>
                  <a:pt x="703485" y="2824401"/>
                </a:cubicBezTo>
                <a:cubicBezTo>
                  <a:pt x="703278" y="2827344"/>
                  <a:pt x="700181" y="2827499"/>
                  <a:pt x="696773" y="2828738"/>
                </a:cubicBezTo>
                <a:cubicBezTo>
                  <a:pt x="697083" y="2827654"/>
                  <a:pt x="695947" y="2827344"/>
                  <a:pt x="694708" y="2827190"/>
                </a:cubicBezTo>
                <a:cubicBezTo>
                  <a:pt x="695018" y="2826260"/>
                  <a:pt x="695225" y="2825176"/>
                  <a:pt x="695637" y="2824091"/>
                </a:cubicBezTo>
                <a:lnTo>
                  <a:pt x="696980" y="2822543"/>
                </a:lnTo>
                <a:lnTo>
                  <a:pt x="693159" y="2824247"/>
                </a:lnTo>
                <a:cubicBezTo>
                  <a:pt x="690681" y="2822697"/>
                  <a:pt x="686241" y="2825331"/>
                  <a:pt x="682833" y="2823007"/>
                </a:cubicBezTo>
                <a:cubicBezTo>
                  <a:pt x="684692" y="2820374"/>
                  <a:pt x="689106" y="2818903"/>
                  <a:pt x="693366" y="2818399"/>
                </a:cubicBezTo>
                <a:close/>
                <a:moveTo>
                  <a:pt x="921562" y="2818205"/>
                </a:moveTo>
                <a:cubicBezTo>
                  <a:pt x="923214" y="2819135"/>
                  <a:pt x="923111" y="2819909"/>
                  <a:pt x="922078" y="2820684"/>
                </a:cubicBezTo>
                <a:cubicBezTo>
                  <a:pt x="922078" y="2820684"/>
                  <a:pt x="921046" y="2821458"/>
                  <a:pt x="920013" y="2822233"/>
                </a:cubicBezTo>
                <a:cubicBezTo>
                  <a:pt x="918981" y="2823007"/>
                  <a:pt x="918878" y="2823936"/>
                  <a:pt x="918878" y="2823936"/>
                </a:cubicBezTo>
                <a:cubicBezTo>
                  <a:pt x="917845" y="2824711"/>
                  <a:pt x="916916" y="2824556"/>
                  <a:pt x="916193" y="2823782"/>
                </a:cubicBezTo>
                <a:cubicBezTo>
                  <a:pt x="916193" y="2823782"/>
                  <a:pt x="917329" y="2822078"/>
                  <a:pt x="917329" y="2822078"/>
                </a:cubicBezTo>
                <a:cubicBezTo>
                  <a:pt x="919394" y="2820529"/>
                  <a:pt x="920426" y="2819754"/>
                  <a:pt x="921562" y="2818205"/>
                </a:cubicBezTo>
                <a:close/>
                <a:moveTo>
                  <a:pt x="396917" y="2815882"/>
                </a:moveTo>
                <a:cubicBezTo>
                  <a:pt x="396917" y="2815882"/>
                  <a:pt x="397537" y="2816037"/>
                  <a:pt x="398259" y="2816346"/>
                </a:cubicBezTo>
                <a:cubicBezTo>
                  <a:pt x="398982" y="2816656"/>
                  <a:pt x="399705" y="2817121"/>
                  <a:pt x="399912" y="2817741"/>
                </a:cubicBezTo>
                <a:cubicBezTo>
                  <a:pt x="400944" y="2819445"/>
                  <a:pt x="397434" y="2820064"/>
                  <a:pt x="397020" y="2820684"/>
                </a:cubicBezTo>
                <a:cubicBezTo>
                  <a:pt x="395781" y="2820839"/>
                  <a:pt x="394646" y="2821148"/>
                  <a:pt x="394232" y="2819909"/>
                </a:cubicBezTo>
                <a:cubicBezTo>
                  <a:pt x="394129" y="2819289"/>
                  <a:pt x="393819" y="2818980"/>
                  <a:pt x="393819" y="2818515"/>
                </a:cubicBezTo>
                <a:cubicBezTo>
                  <a:pt x="393819" y="2818205"/>
                  <a:pt x="394026" y="2817896"/>
                  <a:pt x="394852" y="2817431"/>
                </a:cubicBezTo>
                <a:cubicBezTo>
                  <a:pt x="395265" y="2816656"/>
                  <a:pt x="396504" y="2816502"/>
                  <a:pt x="396917" y="2815882"/>
                </a:cubicBezTo>
                <a:close/>
                <a:moveTo>
                  <a:pt x="379157" y="2815727"/>
                </a:moveTo>
                <a:cubicBezTo>
                  <a:pt x="383494" y="2815727"/>
                  <a:pt x="385972" y="2817896"/>
                  <a:pt x="386901" y="2821303"/>
                </a:cubicBezTo>
                <a:cubicBezTo>
                  <a:pt x="384630" y="2825331"/>
                  <a:pt x="378022" y="2823936"/>
                  <a:pt x="376782" y="2819754"/>
                </a:cubicBezTo>
                <a:cubicBezTo>
                  <a:pt x="377402" y="2818670"/>
                  <a:pt x="377712" y="2816811"/>
                  <a:pt x="379157" y="2815727"/>
                </a:cubicBezTo>
                <a:close/>
                <a:moveTo>
                  <a:pt x="568529" y="2814798"/>
                </a:moveTo>
                <a:cubicBezTo>
                  <a:pt x="570181" y="2815572"/>
                  <a:pt x="569252" y="2818050"/>
                  <a:pt x="569149" y="2819754"/>
                </a:cubicBezTo>
                <a:cubicBezTo>
                  <a:pt x="570801" y="2820529"/>
                  <a:pt x="567187" y="2823162"/>
                  <a:pt x="568942" y="2823936"/>
                </a:cubicBezTo>
                <a:cubicBezTo>
                  <a:pt x="565225" y="2827344"/>
                  <a:pt x="569459" y="2831372"/>
                  <a:pt x="564812" y="2837412"/>
                </a:cubicBezTo>
                <a:cubicBezTo>
                  <a:pt x="564296" y="2835399"/>
                  <a:pt x="564089" y="2833386"/>
                  <a:pt x="564089" y="2831681"/>
                </a:cubicBezTo>
                <a:cubicBezTo>
                  <a:pt x="564089" y="2826260"/>
                  <a:pt x="565948" y="2821923"/>
                  <a:pt x="564812" y="2818360"/>
                </a:cubicBezTo>
                <a:cubicBezTo>
                  <a:pt x="564812" y="2818360"/>
                  <a:pt x="564812" y="2818360"/>
                  <a:pt x="566670" y="2816502"/>
                </a:cubicBezTo>
                <a:cubicBezTo>
                  <a:pt x="566670" y="2815727"/>
                  <a:pt x="566670" y="2815727"/>
                  <a:pt x="566670" y="2815727"/>
                </a:cubicBezTo>
                <a:cubicBezTo>
                  <a:pt x="566670" y="2814953"/>
                  <a:pt x="568529" y="2814798"/>
                  <a:pt x="568529" y="2814798"/>
                </a:cubicBezTo>
                <a:close/>
                <a:moveTo>
                  <a:pt x="917535" y="2811080"/>
                </a:moveTo>
                <a:cubicBezTo>
                  <a:pt x="918258" y="2812010"/>
                  <a:pt x="918361" y="2811235"/>
                  <a:pt x="919187" y="2811235"/>
                </a:cubicBezTo>
                <a:cubicBezTo>
                  <a:pt x="918155" y="2812010"/>
                  <a:pt x="917741" y="2814643"/>
                  <a:pt x="916606" y="2816346"/>
                </a:cubicBezTo>
                <a:cubicBezTo>
                  <a:pt x="915780" y="2816346"/>
                  <a:pt x="914850" y="2817121"/>
                  <a:pt x="914024" y="2817121"/>
                </a:cubicBezTo>
                <a:cubicBezTo>
                  <a:pt x="914127" y="2816656"/>
                  <a:pt x="914024" y="2815882"/>
                  <a:pt x="914024" y="2815417"/>
                </a:cubicBezTo>
                <a:cubicBezTo>
                  <a:pt x="914024" y="2814798"/>
                  <a:pt x="914024" y="2814333"/>
                  <a:pt x="914437" y="2814488"/>
                </a:cubicBezTo>
                <a:cubicBezTo>
                  <a:pt x="914540" y="2813558"/>
                  <a:pt x="916296" y="2813714"/>
                  <a:pt x="916296" y="2813714"/>
                </a:cubicBezTo>
                <a:cubicBezTo>
                  <a:pt x="916399" y="2812784"/>
                  <a:pt x="916606" y="2812010"/>
                  <a:pt x="917535" y="2811080"/>
                </a:cubicBezTo>
                <a:close/>
                <a:moveTo>
                  <a:pt x="941904" y="2807208"/>
                </a:moveTo>
                <a:lnTo>
                  <a:pt x="941490" y="2808292"/>
                </a:lnTo>
                <a:lnTo>
                  <a:pt x="942007" y="2808757"/>
                </a:lnTo>
                <a:close/>
                <a:moveTo>
                  <a:pt x="663422" y="2806743"/>
                </a:moveTo>
                <a:cubicBezTo>
                  <a:pt x="666209" y="2804420"/>
                  <a:pt x="667861" y="2806278"/>
                  <a:pt x="671372" y="2808292"/>
                </a:cubicBezTo>
                <a:cubicBezTo>
                  <a:pt x="670546" y="2809066"/>
                  <a:pt x="673127" y="2811854"/>
                  <a:pt x="673954" y="2812784"/>
                </a:cubicBezTo>
                <a:cubicBezTo>
                  <a:pt x="672198" y="2814333"/>
                  <a:pt x="674780" y="2817896"/>
                  <a:pt x="672095" y="2820219"/>
                </a:cubicBezTo>
                <a:cubicBezTo>
                  <a:pt x="670339" y="2820064"/>
                  <a:pt x="669514" y="2819909"/>
                  <a:pt x="667758" y="2818825"/>
                </a:cubicBezTo>
                <a:cubicBezTo>
                  <a:pt x="661666" y="2811545"/>
                  <a:pt x="664351" y="2807672"/>
                  <a:pt x="663422" y="2806743"/>
                </a:cubicBezTo>
                <a:close/>
                <a:moveTo>
                  <a:pt x="1191577" y="2806433"/>
                </a:moveTo>
                <a:lnTo>
                  <a:pt x="1191577" y="2806743"/>
                </a:lnTo>
                <a:cubicBezTo>
                  <a:pt x="1191370" y="2808137"/>
                  <a:pt x="1191887" y="2809686"/>
                  <a:pt x="1193642" y="2811080"/>
                </a:cubicBezTo>
                <a:cubicBezTo>
                  <a:pt x="1196017" y="2811235"/>
                  <a:pt x="1197463" y="2811080"/>
                  <a:pt x="1198186" y="2810770"/>
                </a:cubicBezTo>
                <a:lnTo>
                  <a:pt x="1198599" y="2809996"/>
                </a:lnTo>
                <a:close/>
                <a:moveTo>
                  <a:pt x="538688" y="2804420"/>
                </a:moveTo>
                <a:cubicBezTo>
                  <a:pt x="539824" y="2804575"/>
                  <a:pt x="541476" y="2806278"/>
                  <a:pt x="542095" y="2806278"/>
                </a:cubicBezTo>
                <a:cubicBezTo>
                  <a:pt x="542921" y="2807208"/>
                  <a:pt x="543748" y="2808137"/>
                  <a:pt x="542921" y="2808912"/>
                </a:cubicBezTo>
                <a:cubicBezTo>
                  <a:pt x="541992" y="2809686"/>
                  <a:pt x="541992" y="2810461"/>
                  <a:pt x="540340" y="2809376"/>
                </a:cubicBezTo>
                <a:cubicBezTo>
                  <a:pt x="539411" y="2809376"/>
                  <a:pt x="538585" y="2808447"/>
                  <a:pt x="537759" y="2808292"/>
                </a:cubicBezTo>
                <a:cubicBezTo>
                  <a:pt x="537759" y="2808292"/>
                  <a:pt x="537449" y="2807672"/>
                  <a:pt x="537346" y="2806898"/>
                </a:cubicBezTo>
                <a:cubicBezTo>
                  <a:pt x="537242" y="2806278"/>
                  <a:pt x="537242" y="2805349"/>
                  <a:pt x="537759" y="2805039"/>
                </a:cubicBezTo>
                <a:cubicBezTo>
                  <a:pt x="537965" y="2804575"/>
                  <a:pt x="538275" y="2804420"/>
                  <a:pt x="538688" y="2804420"/>
                </a:cubicBezTo>
                <a:close/>
                <a:moveTo>
                  <a:pt x="722691" y="2804110"/>
                </a:moveTo>
                <a:cubicBezTo>
                  <a:pt x="723929" y="2803955"/>
                  <a:pt x="725272" y="2804110"/>
                  <a:pt x="726408" y="2804575"/>
                </a:cubicBezTo>
                <a:cubicBezTo>
                  <a:pt x="728266" y="2803800"/>
                  <a:pt x="730848" y="2803955"/>
                  <a:pt x="732396" y="2804884"/>
                </a:cubicBezTo>
                <a:cubicBezTo>
                  <a:pt x="733842" y="2806743"/>
                  <a:pt x="733532" y="2808292"/>
                  <a:pt x="732603" y="2809066"/>
                </a:cubicBezTo>
                <a:cubicBezTo>
                  <a:pt x="725375" y="2816192"/>
                  <a:pt x="718251" y="2812319"/>
                  <a:pt x="716392" y="2813094"/>
                </a:cubicBezTo>
                <a:cubicBezTo>
                  <a:pt x="715256" y="2811700"/>
                  <a:pt x="714740" y="2811080"/>
                  <a:pt x="715153" y="2810151"/>
                </a:cubicBezTo>
                <a:cubicBezTo>
                  <a:pt x="715462" y="2809222"/>
                  <a:pt x="716805" y="2808137"/>
                  <a:pt x="719283" y="2805814"/>
                </a:cubicBezTo>
                <a:cubicBezTo>
                  <a:pt x="720316" y="2805039"/>
                  <a:pt x="721452" y="2804420"/>
                  <a:pt x="722691" y="2804110"/>
                </a:cubicBezTo>
                <a:close/>
                <a:moveTo>
                  <a:pt x="881086" y="2803181"/>
                </a:moveTo>
                <a:cubicBezTo>
                  <a:pt x="884493" y="2804110"/>
                  <a:pt x="886558" y="2809841"/>
                  <a:pt x="888933" y="2814798"/>
                </a:cubicBezTo>
                <a:cubicBezTo>
                  <a:pt x="886662" y="2815417"/>
                  <a:pt x="885526" y="2815727"/>
                  <a:pt x="883977" y="2816811"/>
                </a:cubicBezTo>
                <a:cubicBezTo>
                  <a:pt x="882221" y="2811700"/>
                  <a:pt x="879124" y="2809066"/>
                  <a:pt x="879433" y="2806123"/>
                </a:cubicBezTo>
                <a:cubicBezTo>
                  <a:pt x="879536" y="2805194"/>
                  <a:pt x="880053" y="2804265"/>
                  <a:pt x="881086" y="2803181"/>
                </a:cubicBezTo>
                <a:close/>
                <a:moveTo>
                  <a:pt x="695225" y="2802096"/>
                </a:moveTo>
                <a:cubicBezTo>
                  <a:pt x="698322" y="2804110"/>
                  <a:pt x="698942" y="2805194"/>
                  <a:pt x="699871" y="2808602"/>
                </a:cubicBezTo>
                <a:cubicBezTo>
                  <a:pt x="696154" y="2813249"/>
                  <a:pt x="691507" y="2814333"/>
                  <a:pt x="686861" y="2815262"/>
                </a:cubicBezTo>
                <a:cubicBezTo>
                  <a:pt x="684486" y="2813714"/>
                  <a:pt x="683556" y="2812319"/>
                  <a:pt x="683453" y="2811080"/>
                </a:cubicBezTo>
                <a:cubicBezTo>
                  <a:pt x="683247" y="2807363"/>
                  <a:pt x="691300" y="2804729"/>
                  <a:pt x="695225" y="2802096"/>
                </a:cubicBezTo>
                <a:close/>
                <a:moveTo>
                  <a:pt x="1352554" y="2801632"/>
                </a:moveTo>
                <a:cubicBezTo>
                  <a:pt x="1354515" y="2801786"/>
                  <a:pt x="1355755" y="2802251"/>
                  <a:pt x="1356890" y="2802871"/>
                </a:cubicBezTo>
                <a:cubicBezTo>
                  <a:pt x="1358852" y="2803025"/>
                  <a:pt x="1359265" y="2803800"/>
                  <a:pt x="1358542" y="2805968"/>
                </a:cubicBezTo>
                <a:cubicBezTo>
                  <a:pt x="1356580" y="2805814"/>
                  <a:pt x="1352657" y="2803491"/>
                  <a:pt x="1352554" y="2801632"/>
                </a:cubicBezTo>
                <a:close/>
                <a:moveTo>
                  <a:pt x="518966" y="2801012"/>
                </a:moveTo>
                <a:cubicBezTo>
                  <a:pt x="527124" y="2796520"/>
                  <a:pt x="532906" y="2804729"/>
                  <a:pt x="529498" y="2809841"/>
                </a:cubicBezTo>
                <a:cubicBezTo>
                  <a:pt x="528362" y="2811545"/>
                  <a:pt x="526194" y="2812939"/>
                  <a:pt x="522786" y="2813249"/>
                </a:cubicBezTo>
                <a:cubicBezTo>
                  <a:pt x="521857" y="2809066"/>
                  <a:pt x="519379" y="2807208"/>
                  <a:pt x="518759" y="2804420"/>
                </a:cubicBezTo>
                <a:cubicBezTo>
                  <a:pt x="518656" y="2803491"/>
                  <a:pt x="518656" y="2802406"/>
                  <a:pt x="518966" y="2801012"/>
                </a:cubicBezTo>
                <a:close/>
                <a:moveTo>
                  <a:pt x="466202" y="2801012"/>
                </a:moveTo>
                <a:cubicBezTo>
                  <a:pt x="468164" y="2801477"/>
                  <a:pt x="469816" y="2801167"/>
                  <a:pt x="472604" y="2801477"/>
                </a:cubicBezTo>
                <a:cubicBezTo>
                  <a:pt x="473327" y="2803955"/>
                  <a:pt x="472294" y="2809376"/>
                  <a:pt x="468267" y="2810925"/>
                </a:cubicBezTo>
                <a:cubicBezTo>
                  <a:pt x="465686" y="2809686"/>
                  <a:pt x="464344" y="2808292"/>
                  <a:pt x="464137" y="2806588"/>
                </a:cubicBezTo>
                <a:cubicBezTo>
                  <a:pt x="463827" y="2804884"/>
                  <a:pt x="464550" y="2803025"/>
                  <a:pt x="466202" y="2801012"/>
                </a:cubicBezTo>
                <a:close/>
                <a:moveTo>
                  <a:pt x="1080473" y="2800237"/>
                </a:moveTo>
                <a:lnTo>
                  <a:pt x="1080887" y="2800702"/>
                </a:lnTo>
                <a:lnTo>
                  <a:pt x="1081402" y="2800237"/>
                </a:lnTo>
                <a:close/>
                <a:moveTo>
                  <a:pt x="1349869" y="2799463"/>
                </a:moveTo>
                <a:cubicBezTo>
                  <a:pt x="1350178" y="2799463"/>
                  <a:pt x="1350488" y="2799618"/>
                  <a:pt x="1350488" y="2799618"/>
                </a:cubicBezTo>
                <a:cubicBezTo>
                  <a:pt x="1351727" y="2800082"/>
                  <a:pt x="1352863" y="2800547"/>
                  <a:pt x="1352450" y="2801632"/>
                </a:cubicBezTo>
                <a:cubicBezTo>
                  <a:pt x="1352450" y="2801632"/>
                  <a:pt x="1351727" y="2801941"/>
                  <a:pt x="1349353" y="2801012"/>
                </a:cubicBezTo>
                <a:cubicBezTo>
                  <a:pt x="1350178" y="2800702"/>
                  <a:pt x="1349765" y="2799928"/>
                  <a:pt x="1349765" y="2799928"/>
                </a:cubicBezTo>
                <a:cubicBezTo>
                  <a:pt x="1349765" y="2799928"/>
                  <a:pt x="1349765" y="2799928"/>
                  <a:pt x="1348940" y="2800237"/>
                </a:cubicBezTo>
                <a:cubicBezTo>
                  <a:pt x="1349146" y="2799618"/>
                  <a:pt x="1349559" y="2799463"/>
                  <a:pt x="1349869" y="2799463"/>
                </a:cubicBezTo>
                <a:close/>
                <a:moveTo>
                  <a:pt x="1180116" y="2797914"/>
                </a:moveTo>
                <a:lnTo>
                  <a:pt x="1178567" y="2799463"/>
                </a:lnTo>
                <a:lnTo>
                  <a:pt x="1175779" y="2800237"/>
                </a:lnTo>
                <a:lnTo>
                  <a:pt x="1181458" y="2801786"/>
                </a:lnTo>
                <a:cubicBezTo>
                  <a:pt x="1183317" y="2801941"/>
                  <a:pt x="1185072" y="2802251"/>
                  <a:pt x="1187034" y="2802406"/>
                </a:cubicBezTo>
                <a:lnTo>
                  <a:pt x="1189408" y="2802251"/>
                </a:lnTo>
                <a:lnTo>
                  <a:pt x="1189099" y="2800857"/>
                </a:lnTo>
                <a:lnTo>
                  <a:pt x="1182181" y="2798843"/>
                </a:lnTo>
                <a:close/>
                <a:moveTo>
                  <a:pt x="648243" y="2796055"/>
                </a:moveTo>
                <a:cubicBezTo>
                  <a:pt x="652476" y="2800237"/>
                  <a:pt x="650927" y="2804420"/>
                  <a:pt x="647107" y="2807363"/>
                </a:cubicBezTo>
                <a:cubicBezTo>
                  <a:pt x="640705" y="2812165"/>
                  <a:pt x="627901" y="2813404"/>
                  <a:pt x="625114" y="2805814"/>
                </a:cubicBezTo>
                <a:cubicBezTo>
                  <a:pt x="627591" y="2803181"/>
                  <a:pt x="630586" y="2800702"/>
                  <a:pt x="634406" y="2798843"/>
                </a:cubicBezTo>
                <a:cubicBezTo>
                  <a:pt x="638124" y="2797140"/>
                  <a:pt x="642667" y="2796055"/>
                  <a:pt x="648243" y="2796055"/>
                </a:cubicBezTo>
                <a:close/>
                <a:moveTo>
                  <a:pt x="837822" y="2794197"/>
                </a:moveTo>
                <a:cubicBezTo>
                  <a:pt x="838441" y="2795436"/>
                  <a:pt x="839783" y="2796675"/>
                  <a:pt x="840712" y="2797914"/>
                </a:cubicBezTo>
                <a:lnTo>
                  <a:pt x="841435" y="2799618"/>
                </a:lnTo>
                <a:lnTo>
                  <a:pt x="842055" y="2800237"/>
                </a:lnTo>
                <a:cubicBezTo>
                  <a:pt x="842674" y="2801167"/>
                  <a:pt x="842881" y="2802096"/>
                  <a:pt x="842468" y="2803645"/>
                </a:cubicBezTo>
                <a:cubicBezTo>
                  <a:pt x="842055" y="2803645"/>
                  <a:pt x="841435" y="2803181"/>
                  <a:pt x="840712" y="2802561"/>
                </a:cubicBezTo>
                <a:lnTo>
                  <a:pt x="840093" y="2801941"/>
                </a:lnTo>
                <a:lnTo>
                  <a:pt x="836686" y="2801012"/>
                </a:lnTo>
                <a:cubicBezTo>
                  <a:pt x="827702" y="2800237"/>
                  <a:pt x="820267" y="2809066"/>
                  <a:pt x="812936" y="2803025"/>
                </a:cubicBezTo>
                <a:cubicBezTo>
                  <a:pt x="816447" y="2800857"/>
                  <a:pt x="819545" y="2798224"/>
                  <a:pt x="823365" y="2796365"/>
                </a:cubicBezTo>
                <a:cubicBezTo>
                  <a:pt x="827186" y="2794662"/>
                  <a:pt x="831729" y="2793422"/>
                  <a:pt x="837822" y="2794197"/>
                </a:cubicBezTo>
                <a:close/>
                <a:moveTo>
                  <a:pt x="1359678" y="2793732"/>
                </a:moveTo>
                <a:cubicBezTo>
                  <a:pt x="1367009" y="2790324"/>
                  <a:pt x="1370830" y="2796675"/>
                  <a:pt x="1368971" y="2801321"/>
                </a:cubicBezTo>
                <a:cubicBezTo>
                  <a:pt x="1368248" y="2802871"/>
                  <a:pt x="1367009" y="2804110"/>
                  <a:pt x="1365151" y="2804884"/>
                </a:cubicBezTo>
                <a:cubicBezTo>
                  <a:pt x="1362260" y="2802561"/>
                  <a:pt x="1358645" y="2800392"/>
                  <a:pt x="1358542" y="2797294"/>
                </a:cubicBezTo>
                <a:cubicBezTo>
                  <a:pt x="1358439" y="2796210"/>
                  <a:pt x="1358749" y="2795126"/>
                  <a:pt x="1359678" y="2793732"/>
                </a:cubicBezTo>
                <a:close/>
                <a:moveTo>
                  <a:pt x="933436" y="2792028"/>
                </a:moveTo>
                <a:cubicBezTo>
                  <a:pt x="938599" y="2793887"/>
                  <a:pt x="939426" y="2797604"/>
                  <a:pt x="937980" y="2800237"/>
                </a:cubicBezTo>
                <a:cubicBezTo>
                  <a:pt x="937257" y="2801632"/>
                  <a:pt x="935915" y="2802561"/>
                  <a:pt x="934263" y="2803025"/>
                </a:cubicBezTo>
                <a:lnTo>
                  <a:pt x="932094" y="2802716"/>
                </a:lnTo>
                <a:lnTo>
                  <a:pt x="932094" y="2803645"/>
                </a:lnTo>
                <a:lnTo>
                  <a:pt x="929203" y="2802716"/>
                </a:lnTo>
                <a:lnTo>
                  <a:pt x="929306" y="2803645"/>
                </a:lnTo>
                <a:cubicBezTo>
                  <a:pt x="927345" y="2804884"/>
                  <a:pt x="926002" y="2804729"/>
                  <a:pt x="925176" y="2803800"/>
                </a:cubicBezTo>
                <a:lnTo>
                  <a:pt x="924143" y="2800857"/>
                </a:lnTo>
                <a:lnTo>
                  <a:pt x="921872" y="2800082"/>
                </a:lnTo>
                <a:cubicBezTo>
                  <a:pt x="918774" y="2798689"/>
                  <a:pt x="916399" y="2797449"/>
                  <a:pt x="915573" y="2796985"/>
                </a:cubicBezTo>
                <a:cubicBezTo>
                  <a:pt x="914644" y="2796365"/>
                  <a:pt x="914231" y="2796055"/>
                  <a:pt x="914127" y="2795436"/>
                </a:cubicBezTo>
                <a:cubicBezTo>
                  <a:pt x="914024" y="2794971"/>
                  <a:pt x="914231" y="2794352"/>
                  <a:pt x="914747" y="2793577"/>
                </a:cubicBezTo>
                <a:cubicBezTo>
                  <a:pt x="918258" y="2791408"/>
                  <a:pt x="921768" y="2794197"/>
                  <a:pt x="926105" y="2795590"/>
                </a:cubicBezTo>
                <a:lnTo>
                  <a:pt x="927345" y="2796830"/>
                </a:lnTo>
                <a:lnTo>
                  <a:pt x="927241" y="2794352"/>
                </a:lnTo>
                <a:cubicBezTo>
                  <a:pt x="929616" y="2793732"/>
                  <a:pt x="931165" y="2792648"/>
                  <a:pt x="933436" y="2792028"/>
                </a:cubicBezTo>
                <a:close/>
                <a:moveTo>
                  <a:pt x="871069" y="2791099"/>
                </a:moveTo>
                <a:cubicBezTo>
                  <a:pt x="872205" y="2791563"/>
                  <a:pt x="872722" y="2792183"/>
                  <a:pt x="873445" y="2791873"/>
                </a:cubicBezTo>
                <a:cubicBezTo>
                  <a:pt x="872515" y="2795126"/>
                  <a:pt x="869830" y="2795590"/>
                  <a:pt x="867249" y="2795901"/>
                </a:cubicBezTo>
                <a:cubicBezTo>
                  <a:pt x="865287" y="2796055"/>
                  <a:pt x="864564" y="2796365"/>
                  <a:pt x="863532" y="2797914"/>
                </a:cubicBezTo>
                <a:cubicBezTo>
                  <a:pt x="863532" y="2797914"/>
                  <a:pt x="863532" y="2797914"/>
                  <a:pt x="861157" y="2797140"/>
                </a:cubicBezTo>
                <a:lnTo>
                  <a:pt x="860744" y="2796365"/>
                </a:lnTo>
                <a:cubicBezTo>
                  <a:pt x="860641" y="2795901"/>
                  <a:pt x="861157" y="2795436"/>
                  <a:pt x="861880" y="2794971"/>
                </a:cubicBezTo>
                <a:cubicBezTo>
                  <a:pt x="864255" y="2793577"/>
                  <a:pt x="869004" y="2792183"/>
                  <a:pt x="869521" y="2791873"/>
                </a:cubicBezTo>
                <a:cubicBezTo>
                  <a:pt x="869521" y="2791873"/>
                  <a:pt x="870244" y="2791563"/>
                  <a:pt x="871069" y="2791099"/>
                </a:cubicBezTo>
                <a:close/>
                <a:moveTo>
                  <a:pt x="712985" y="2790479"/>
                </a:moveTo>
                <a:cubicBezTo>
                  <a:pt x="712571" y="2791254"/>
                  <a:pt x="712365" y="2793112"/>
                  <a:pt x="711229" y="2793267"/>
                </a:cubicBezTo>
                <a:cubicBezTo>
                  <a:pt x="709990" y="2793422"/>
                  <a:pt x="710093" y="2793422"/>
                  <a:pt x="708544" y="2792493"/>
                </a:cubicBezTo>
                <a:cubicBezTo>
                  <a:pt x="709577" y="2791718"/>
                  <a:pt x="710093" y="2791254"/>
                  <a:pt x="710713" y="2791099"/>
                </a:cubicBezTo>
                <a:cubicBezTo>
                  <a:pt x="711229" y="2790789"/>
                  <a:pt x="711849" y="2790634"/>
                  <a:pt x="712985" y="2790479"/>
                </a:cubicBezTo>
                <a:close/>
                <a:moveTo>
                  <a:pt x="1379813" y="2790324"/>
                </a:moveTo>
                <a:cubicBezTo>
                  <a:pt x="1381362" y="2791563"/>
                  <a:pt x="1383531" y="2794197"/>
                  <a:pt x="1382807" y="2796365"/>
                </a:cubicBezTo>
                <a:cubicBezTo>
                  <a:pt x="1382807" y="2796365"/>
                  <a:pt x="1382807" y="2796365"/>
                  <a:pt x="1382395" y="2797449"/>
                </a:cubicBezTo>
                <a:cubicBezTo>
                  <a:pt x="1381259" y="2795126"/>
                  <a:pt x="1379813" y="2792028"/>
                  <a:pt x="1379813" y="2790324"/>
                </a:cubicBezTo>
                <a:close/>
                <a:moveTo>
                  <a:pt x="1313729" y="2789550"/>
                </a:moveTo>
                <a:cubicBezTo>
                  <a:pt x="1315278" y="2791408"/>
                  <a:pt x="1316827" y="2793267"/>
                  <a:pt x="1314968" y="2794506"/>
                </a:cubicBezTo>
                <a:cubicBezTo>
                  <a:pt x="1313316" y="2793422"/>
                  <a:pt x="1312387" y="2794197"/>
                  <a:pt x="1310941" y="2791408"/>
                </a:cubicBezTo>
                <a:cubicBezTo>
                  <a:pt x="1311870" y="2790789"/>
                  <a:pt x="1312800" y="2790169"/>
                  <a:pt x="1313729" y="2789550"/>
                </a:cubicBezTo>
                <a:close/>
                <a:moveTo>
                  <a:pt x="658362" y="2789240"/>
                </a:moveTo>
                <a:cubicBezTo>
                  <a:pt x="659085" y="2789395"/>
                  <a:pt x="659807" y="2789859"/>
                  <a:pt x="660530" y="2790789"/>
                </a:cubicBezTo>
                <a:cubicBezTo>
                  <a:pt x="660943" y="2790789"/>
                  <a:pt x="661253" y="2791718"/>
                  <a:pt x="661356" y="2792648"/>
                </a:cubicBezTo>
                <a:lnTo>
                  <a:pt x="660840" y="2794352"/>
                </a:lnTo>
                <a:lnTo>
                  <a:pt x="662079" y="2794042"/>
                </a:lnTo>
                <a:cubicBezTo>
                  <a:pt x="662905" y="2794971"/>
                  <a:pt x="662905" y="2796055"/>
                  <a:pt x="662595" y="2796830"/>
                </a:cubicBezTo>
                <a:lnTo>
                  <a:pt x="662079" y="2797140"/>
                </a:lnTo>
                <a:lnTo>
                  <a:pt x="664248" y="2800392"/>
                </a:lnTo>
                <a:cubicBezTo>
                  <a:pt x="664970" y="2804575"/>
                  <a:pt x="661047" y="2809376"/>
                  <a:pt x="657020" y="2809531"/>
                </a:cubicBezTo>
                <a:cubicBezTo>
                  <a:pt x="654851" y="2807982"/>
                  <a:pt x="654129" y="2805659"/>
                  <a:pt x="654335" y="2803335"/>
                </a:cubicBezTo>
                <a:cubicBezTo>
                  <a:pt x="654645" y="2801012"/>
                  <a:pt x="655781" y="2798843"/>
                  <a:pt x="657639" y="2797604"/>
                </a:cubicBezTo>
                <a:lnTo>
                  <a:pt x="660530" y="2796985"/>
                </a:lnTo>
                <a:lnTo>
                  <a:pt x="659601" y="2795281"/>
                </a:lnTo>
                <a:lnTo>
                  <a:pt x="657329" y="2796055"/>
                </a:lnTo>
                <a:cubicBezTo>
                  <a:pt x="656090" y="2795745"/>
                  <a:pt x="654748" y="2794971"/>
                  <a:pt x="653096" y="2794506"/>
                </a:cubicBezTo>
                <a:cubicBezTo>
                  <a:pt x="654025" y="2793732"/>
                  <a:pt x="653302" y="2792802"/>
                  <a:pt x="652580" y="2791873"/>
                </a:cubicBezTo>
                <a:cubicBezTo>
                  <a:pt x="654129" y="2790789"/>
                  <a:pt x="656193" y="2788620"/>
                  <a:pt x="658362" y="2789240"/>
                </a:cubicBezTo>
                <a:close/>
                <a:moveTo>
                  <a:pt x="1158225" y="2789085"/>
                </a:moveTo>
                <a:cubicBezTo>
                  <a:pt x="1159877" y="2788156"/>
                  <a:pt x="1162459" y="2789240"/>
                  <a:pt x="1162872" y="2790944"/>
                </a:cubicBezTo>
                <a:cubicBezTo>
                  <a:pt x="1163078" y="2791718"/>
                  <a:pt x="1162975" y="2792493"/>
                  <a:pt x="1162149" y="2793267"/>
                </a:cubicBezTo>
                <a:cubicBezTo>
                  <a:pt x="1160291" y="2792802"/>
                  <a:pt x="1159155" y="2792183"/>
                  <a:pt x="1156986" y="2790789"/>
                </a:cubicBezTo>
                <a:cubicBezTo>
                  <a:pt x="1157296" y="2790014"/>
                  <a:pt x="1157709" y="2789395"/>
                  <a:pt x="1158225" y="2789085"/>
                </a:cubicBezTo>
                <a:close/>
                <a:moveTo>
                  <a:pt x="713501" y="2788620"/>
                </a:moveTo>
                <a:cubicBezTo>
                  <a:pt x="713707" y="2788465"/>
                  <a:pt x="714017" y="2788310"/>
                  <a:pt x="714327" y="2788620"/>
                </a:cubicBezTo>
                <a:cubicBezTo>
                  <a:pt x="715050" y="2788930"/>
                  <a:pt x="714533" y="2789704"/>
                  <a:pt x="713398" y="2790014"/>
                </a:cubicBezTo>
                <a:cubicBezTo>
                  <a:pt x="713398" y="2790014"/>
                  <a:pt x="712675" y="2789550"/>
                  <a:pt x="712675" y="2789550"/>
                </a:cubicBezTo>
                <a:cubicBezTo>
                  <a:pt x="712881" y="2789240"/>
                  <a:pt x="713191" y="2788775"/>
                  <a:pt x="713501" y="2788620"/>
                </a:cubicBezTo>
                <a:close/>
                <a:moveTo>
                  <a:pt x="688926" y="2788310"/>
                </a:moveTo>
                <a:cubicBezTo>
                  <a:pt x="690578" y="2789395"/>
                  <a:pt x="692333" y="2789704"/>
                  <a:pt x="693985" y="2790789"/>
                </a:cubicBezTo>
                <a:cubicBezTo>
                  <a:pt x="695018" y="2793577"/>
                  <a:pt x="692436" y="2798843"/>
                  <a:pt x="689029" y="2799308"/>
                </a:cubicBezTo>
                <a:cubicBezTo>
                  <a:pt x="687893" y="2799463"/>
                  <a:pt x="686654" y="2799153"/>
                  <a:pt x="685415" y="2797914"/>
                </a:cubicBezTo>
                <a:cubicBezTo>
                  <a:pt x="684692" y="2796830"/>
                  <a:pt x="684279" y="2795901"/>
                  <a:pt x="684176" y="2795126"/>
                </a:cubicBezTo>
                <a:cubicBezTo>
                  <a:pt x="683866" y="2792493"/>
                  <a:pt x="686138" y="2790324"/>
                  <a:pt x="688926" y="2788310"/>
                </a:cubicBezTo>
                <a:close/>
                <a:moveTo>
                  <a:pt x="511945" y="2786452"/>
                </a:moveTo>
                <a:cubicBezTo>
                  <a:pt x="511945" y="2793887"/>
                  <a:pt x="511428" y="2806278"/>
                  <a:pt x="506782" y="2811854"/>
                </a:cubicBezTo>
                <a:cubicBezTo>
                  <a:pt x="504510" y="2810615"/>
                  <a:pt x="503478" y="2808602"/>
                  <a:pt x="503168" y="2806278"/>
                </a:cubicBezTo>
                <a:cubicBezTo>
                  <a:pt x="502238" y="2799308"/>
                  <a:pt x="508434" y="2789240"/>
                  <a:pt x="511945" y="2786452"/>
                </a:cubicBezTo>
                <a:close/>
                <a:moveTo>
                  <a:pt x="716598" y="2785057"/>
                </a:moveTo>
                <a:cubicBezTo>
                  <a:pt x="716598" y="2785057"/>
                  <a:pt x="716805" y="2786297"/>
                  <a:pt x="716805" y="2786297"/>
                </a:cubicBezTo>
                <a:cubicBezTo>
                  <a:pt x="715669" y="2786607"/>
                  <a:pt x="716289" y="2786916"/>
                  <a:pt x="714946" y="2786142"/>
                </a:cubicBezTo>
                <a:cubicBezTo>
                  <a:pt x="716082" y="2785833"/>
                  <a:pt x="716082" y="2785833"/>
                  <a:pt x="716598" y="2785057"/>
                </a:cubicBezTo>
                <a:close/>
                <a:moveTo>
                  <a:pt x="518450" y="2784903"/>
                </a:moveTo>
                <a:cubicBezTo>
                  <a:pt x="520102" y="2784283"/>
                  <a:pt x="522064" y="2784438"/>
                  <a:pt x="524852" y="2786297"/>
                </a:cubicBezTo>
                <a:cubicBezTo>
                  <a:pt x="525161" y="2790789"/>
                  <a:pt x="522373" y="2790789"/>
                  <a:pt x="519586" y="2790944"/>
                </a:cubicBezTo>
                <a:cubicBezTo>
                  <a:pt x="519895" y="2788775"/>
                  <a:pt x="517830" y="2788000"/>
                  <a:pt x="517727" y="2786607"/>
                </a:cubicBezTo>
                <a:cubicBezTo>
                  <a:pt x="517727" y="2786142"/>
                  <a:pt x="517933" y="2785677"/>
                  <a:pt x="518450" y="2784903"/>
                </a:cubicBezTo>
                <a:close/>
                <a:moveTo>
                  <a:pt x="1350178" y="2784748"/>
                </a:moveTo>
                <a:cubicBezTo>
                  <a:pt x="1352554" y="2785987"/>
                  <a:pt x="1355135" y="2790944"/>
                  <a:pt x="1353999" y="2792957"/>
                </a:cubicBezTo>
                <a:cubicBezTo>
                  <a:pt x="1352863" y="2793267"/>
                  <a:pt x="1351727" y="2793577"/>
                  <a:pt x="1350488" y="2793887"/>
                </a:cubicBezTo>
                <a:cubicBezTo>
                  <a:pt x="1348733" y="2792493"/>
                  <a:pt x="1347391" y="2790634"/>
                  <a:pt x="1347184" y="2788930"/>
                </a:cubicBezTo>
                <a:cubicBezTo>
                  <a:pt x="1346874" y="2787226"/>
                  <a:pt x="1347701" y="2785677"/>
                  <a:pt x="1350178" y="2784748"/>
                </a:cubicBezTo>
                <a:close/>
                <a:moveTo>
                  <a:pt x="646281" y="2784129"/>
                </a:moveTo>
                <a:cubicBezTo>
                  <a:pt x="652476" y="2785522"/>
                  <a:pt x="649379" y="2796210"/>
                  <a:pt x="643080" y="2791099"/>
                </a:cubicBezTo>
                <a:cubicBezTo>
                  <a:pt x="644216" y="2787846"/>
                  <a:pt x="645042" y="2785522"/>
                  <a:pt x="646281" y="2784129"/>
                </a:cubicBezTo>
                <a:close/>
                <a:moveTo>
                  <a:pt x="1033079" y="2782424"/>
                </a:moveTo>
                <a:lnTo>
                  <a:pt x="1031220" y="2787536"/>
                </a:lnTo>
                <a:lnTo>
                  <a:pt x="1030498" y="2789240"/>
                </a:lnTo>
                <a:lnTo>
                  <a:pt x="1031530" y="2789240"/>
                </a:lnTo>
                <a:lnTo>
                  <a:pt x="1030394" y="2789550"/>
                </a:lnTo>
                <a:lnTo>
                  <a:pt x="1028949" y="2793422"/>
                </a:lnTo>
                <a:lnTo>
                  <a:pt x="1031633" y="2793267"/>
                </a:lnTo>
                <a:lnTo>
                  <a:pt x="1031840" y="2792183"/>
                </a:lnTo>
                <a:cubicBezTo>
                  <a:pt x="1032253" y="2791563"/>
                  <a:pt x="1032769" y="2791254"/>
                  <a:pt x="1033595" y="2790944"/>
                </a:cubicBezTo>
                <a:cubicBezTo>
                  <a:pt x="1033285" y="2791408"/>
                  <a:pt x="1033182" y="2792338"/>
                  <a:pt x="1032975" y="2793112"/>
                </a:cubicBezTo>
                <a:lnTo>
                  <a:pt x="1032975" y="2793267"/>
                </a:lnTo>
                <a:lnTo>
                  <a:pt x="1038861" y="2792802"/>
                </a:lnTo>
                <a:cubicBezTo>
                  <a:pt x="1042372" y="2792493"/>
                  <a:pt x="1045986" y="2793267"/>
                  <a:pt x="1046812" y="2793732"/>
                </a:cubicBezTo>
                <a:lnTo>
                  <a:pt x="1046812" y="2794042"/>
                </a:lnTo>
                <a:lnTo>
                  <a:pt x="1047018" y="2794042"/>
                </a:lnTo>
                <a:lnTo>
                  <a:pt x="1047122" y="2794042"/>
                </a:lnTo>
                <a:lnTo>
                  <a:pt x="1048980" y="2793887"/>
                </a:lnTo>
                <a:lnTo>
                  <a:pt x="1048980" y="2793422"/>
                </a:lnTo>
                <a:cubicBezTo>
                  <a:pt x="1049084" y="2792957"/>
                  <a:pt x="1049393" y="2792183"/>
                  <a:pt x="1049909" y="2791718"/>
                </a:cubicBezTo>
                <a:cubicBezTo>
                  <a:pt x="1050323" y="2791254"/>
                  <a:pt x="1050839" y="2790944"/>
                  <a:pt x="1051458" y="2791254"/>
                </a:cubicBezTo>
                <a:cubicBezTo>
                  <a:pt x="1051974" y="2791873"/>
                  <a:pt x="1052697" y="2791563"/>
                  <a:pt x="1053110" y="2792338"/>
                </a:cubicBezTo>
                <a:lnTo>
                  <a:pt x="1054143" y="2793112"/>
                </a:lnTo>
                <a:lnTo>
                  <a:pt x="1056518" y="2792802"/>
                </a:lnTo>
                <a:lnTo>
                  <a:pt x="1062920" y="2792648"/>
                </a:lnTo>
                <a:lnTo>
                  <a:pt x="1055279" y="2786142"/>
                </a:lnTo>
                <a:lnTo>
                  <a:pt x="1053730" y="2789085"/>
                </a:lnTo>
                <a:cubicBezTo>
                  <a:pt x="1052904" y="2790169"/>
                  <a:pt x="1051768" y="2790789"/>
                  <a:pt x="1050323" y="2791254"/>
                </a:cubicBezTo>
                <a:cubicBezTo>
                  <a:pt x="1049393" y="2790324"/>
                  <a:pt x="1048877" y="2789395"/>
                  <a:pt x="1048670" y="2788156"/>
                </a:cubicBezTo>
                <a:lnTo>
                  <a:pt x="1048774" y="2785057"/>
                </a:lnTo>
                <a:lnTo>
                  <a:pt x="1042475" y="2785522"/>
                </a:lnTo>
                <a:close/>
                <a:moveTo>
                  <a:pt x="357989" y="2781960"/>
                </a:moveTo>
                <a:cubicBezTo>
                  <a:pt x="366560" y="2784129"/>
                  <a:pt x="374511" y="2803800"/>
                  <a:pt x="366353" y="2808137"/>
                </a:cubicBezTo>
                <a:cubicBezTo>
                  <a:pt x="364185" y="2798379"/>
                  <a:pt x="358196" y="2793112"/>
                  <a:pt x="357989" y="2781960"/>
                </a:cubicBezTo>
                <a:close/>
                <a:moveTo>
                  <a:pt x="917806" y="2781495"/>
                </a:moveTo>
                <a:cubicBezTo>
                  <a:pt x="922491" y="2779559"/>
                  <a:pt x="926983" y="2779017"/>
                  <a:pt x="929100" y="2783199"/>
                </a:cubicBezTo>
                <a:cubicBezTo>
                  <a:pt x="923834" y="2785368"/>
                  <a:pt x="907932" y="2794662"/>
                  <a:pt x="905351" y="2788156"/>
                </a:cubicBezTo>
                <a:cubicBezTo>
                  <a:pt x="908242" y="2786762"/>
                  <a:pt x="913121" y="2783431"/>
                  <a:pt x="917806" y="2781495"/>
                </a:cubicBezTo>
                <a:close/>
                <a:moveTo>
                  <a:pt x="1369488" y="2777777"/>
                </a:moveTo>
                <a:cubicBezTo>
                  <a:pt x="1369900" y="2777468"/>
                  <a:pt x="1370107" y="2777313"/>
                  <a:pt x="1370313" y="2777777"/>
                </a:cubicBezTo>
                <a:cubicBezTo>
                  <a:pt x="1371036" y="2777623"/>
                  <a:pt x="1371346" y="2778397"/>
                  <a:pt x="1370624" y="2778552"/>
                </a:cubicBezTo>
                <a:cubicBezTo>
                  <a:pt x="1370417" y="2780411"/>
                  <a:pt x="1368352" y="2779172"/>
                  <a:pt x="1367216" y="2778552"/>
                </a:cubicBezTo>
                <a:cubicBezTo>
                  <a:pt x="1368455" y="2778242"/>
                  <a:pt x="1369074" y="2777932"/>
                  <a:pt x="1369488" y="2777777"/>
                </a:cubicBezTo>
                <a:close/>
                <a:moveTo>
                  <a:pt x="845978" y="2776848"/>
                </a:moveTo>
                <a:cubicBezTo>
                  <a:pt x="852484" y="2784438"/>
                  <a:pt x="849179" y="2791408"/>
                  <a:pt x="845875" y="2798379"/>
                </a:cubicBezTo>
                <a:cubicBezTo>
                  <a:pt x="842055" y="2796055"/>
                  <a:pt x="841022" y="2792183"/>
                  <a:pt x="841538" y="2788156"/>
                </a:cubicBezTo>
                <a:cubicBezTo>
                  <a:pt x="842055" y="2783973"/>
                  <a:pt x="843913" y="2779791"/>
                  <a:pt x="845978" y="2776848"/>
                </a:cubicBezTo>
                <a:close/>
                <a:moveTo>
                  <a:pt x="469713" y="2776383"/>
                </a:moveTo>
                <a:cubicBezTo>
                  <a:pt x="476837" y="2782579"/>
                  <a:pt x="475805" y="2797759"/>
                  <a:pt x="467028" y="2796055"/>
                </a:cubicBezTo>
                <a:cubicBezTo>
                  <a:pt x="465789" y="2795901"/>
                  <a:pt x="464344" y="2795281"/>
                  <a:pt x="462794" y="2794352"/>
                </a:cubicBezTo>
                <a:cubicBezTo>
                  <a:pt x="462691" y="2792802"/>
                  <a:pt x="462485" y="2791099"/>
                  <a:pt x="462382" y="2789240"/>
                </a:cubicBezTo>
                <a:cubicBezTo>
                  <a:pt x="462278" y="2787846"/>
                  <a:pt x="462175" y="2786452"/>
                  <a:pt x="462278" y="2785057"/>
                </a:cubicBezTo>
                <a:cubicBezTo>
                  <a:pt x="462588" y="2781030"/>
                  <a:pt x="464137" y="2777313"/>
                  <a:pt x="469713" y="2776383"/>
                </a:cubicBezTo>
                <a:close/>
                <a:moveTo>
                  <a:pt x="348284" y="2776383"/>
                </a:moveTo>
                <a:cubicBezTo>
                  <a:pt x="352930" y="2780101"/>
                  <a:pt x="351071" y="2783044"/>
                  <a:pt x="354169" y="2785057"/>
                </a:cubicBezTo>
                <a:cubicBezTo>
                  <a:pt x="348800" y="2790789"/>
                  <a:pt x="343844" y="2790169"/>
                  <a:pt x="337648" y="2786142"/>
                </a:cubicBezTo>
                <a:cubicBezTo>
                  <a:pt x="338061" y="2781495"/>
                  <a:pt x="343431" y="2775764"/>
                  <a:pt x="348284" y="2776383"/>
                </a:cubicBezTo>
                <a:close/>
                <a:moveTo>
                  <a:pt x="725891" y="2775609"/>
                </a:moveTo>
                <a:cubicBezTo>
                  <a:pt x="725065" y="2777003"/>
                  <a:pt x="719490" y="2783973"/>
                  <a:pt x="716701" y="2785057"/>
                </a:cubicBezTo>
                <a:cubicBezTo>
                  <a:pt x="719696" y="2782115"/>
                  <a:pt x="721968" y="2777003"/>
                  <a:pt x="725891" y="2775609"/>
                </a:cubicBezTo>
                <a:close/>
                <a:moveTo>
                  <a:pt x="654541" y="2774834"/>
                </a:moveTo>
                <a:cubicBezTo>
                  <a:pt x="651857" y="2777468"/>
                  <a:pt x="649482" y="2780411"/>
                  <a:pt x="646384" y="2782734"/>
                </a:cubicBezTo>
                <a:cubicBezTo>
                  <a:pt x="643390" y="2785057"/>
                  <a:pt x="639776" y="2786761"/>
                  <a:pt x="634716" y="2787381"/>
                </a:cubicBezTo>
                <a:cubicBezTo>
                  <a:pt x="634613" y="2782424"/>
                  <a:pt x="637814" y="2779172"/>
                  <a:pt x="641944" y="2777313"/>
                </a:cubicBezTo>
                <a:cubicBezTo>
                  <a:pt x="646074" y="2775454"/>
                  <a:pt x="651134" y="2774679"/>
                  <a:pt x="654541" y="2774834"/>
                </a:cubicBezTo>
                <a:close/>
                <a:moveTo>
                  <a:pt x="5096677" y="2774243"/>
                </a:moveTo>
                <a:lnTo>
                  <a:pt x="5091128" y="2778511"/>
                </a:lnTo>
                <a:lnTo>
                  <a:pt x="5091128" y="2778653"/>
                </a:lnTo>
                <a:cubicBezTo>
                  <a:pt x="5090061" y="2780076"/>
                  <a:pt x="5089207" y="2781072"/>
                  <a:pt x="5088140" y="2781641"/>
                </a:cubicBezTo>
                <a:lnTo>
                  <a:pt x="5087286" y="2781356"/>
                </a:lnTo>
                <a:lnTo>
                  <a:pt x="5086433" y="2782067"/>
                </a:lnTo>
                <a:lnTo>
                  <a:pt x="5069567" y="2785712"/>
                </a:lnTo>
                <a:lnTo>
                  <a:pt x="5091019" y="2785712"/>
                </a:lnTo>
                <a:lnTo>
                  <a:pt x="5092409" y="2782637"/>
                </a:lnTo>
                <a:cubicBezTo>
                  <a:pt x="5093476" y="2781214"/>
                  <a:pt x="5094970" y="2779507"/>
                  <a:pt x="5095823" y="2777800"/>
                </a:cubicBezTo>
                <a:close/>
                <a:moveTo>
                  <a:pt x="905867" y="2773750"/>
                </a:moveTo>
                <a:cubicBezTo>
                  <a:pt x="906383" y="2774060"/>
                  <a:pt x="906899" y="2774679"/>
                  <a:pt x="907726" y="2775144"/>
                </a:cubicBezTo>
                <a:lnTo>
                  <a:pt x="904731" y="2777468"/>
                </a:lnTo>
                <a:cubicBezTo>
                  <a:pt x="904318" y="2777003"/>
                  <a:pt x="904008" y="2776383"/>
                  <a:pt x="903905" y="2775764"/>
                </a:cubicBezTo>
                <a:cubicBezTo>
                  <a:pt x="903699" y="2775144"/>
                  <a:pt x="903905" y="2774525"/>
                  <a:pt x="904422" y="2774215"/>
                </a:cubicBezTo>
                <a:cubicBezTo>
                  <a:pt x="904938" y="2773440"/>
                  <a:pt x="905351" y="2773440"/>
                  <a:pt x="905867" y="2773750"/>
                </a:cubicBezTo>
                <a:close/>
                <a:moveTo>
                  <a:pt x="372135" y="2773596"/>
                </a:moveTo>
                <a:cubicBezTo>
                  <a:pt x="376162" y="2771582"/>
                  <a:pt x="379157" y="2772356"/>
                  <a:pt x="381222" y="2774989"/>
                </a:cubicBezTo>
                <a:cubicBezTo>
                  <a:pt x="380602" y="2779791"/>
                  <a:pt x="374097" y="2781650"/>
                  <a:pt x="371413" y="2778397"/>
                </a:cubicBezTo>
                <a:cubicBezTo>
                  <a:pt x="371516" y="2777777"/>
                  <a:pt x="371516" y="2777003"/>
                  <a:pt x="371516" y="2776229"/>
                </a:cubicBezTo>
                <a:cubicBezTo>
                  <a:pt x="371516" y="2775454"/>
                  <a:pt x="371723" y="2774525"/>
                  <a:pt x="372135" y="2773596"/>
                </a:cubicBezTo>
                <a:close/>
                <a:moveTo>
                  <a:pt x="1362053" y="2773286"/>
                </a:moveTo>
                <a:cubicBezTo>
                  <a:pt x="1365047" y="2775299"/>
                  <a:pt x="1366493" y="2778397"/>
                  <a:pt x="1366183" y="2780876"/>
                </a:cubicBezTo>
                <a:cubicBezTo>
                  <a:pt x="1365770" y="2783509"/>
                  <a:pt x="1363499" y="2785368"/>
                  <a:pt x="1358956" y="2785368"/>
                </a:cubicBezTo>
                <a:cubicBezTo>
                  <a:pt x="1356477" y="2783664"/>
                  <a:pt x="1355135" y="2781340"/>
                  <a:pt x="1354825" y="2779172"/>
                </a:cubicBezTo>
                <a:cubicBezTo>
                  <a:pt x="1354619" y="2777003"/>
                  <a:pt x="1355341" y="2774989"/>
                  <a:pt x="1357200" y="2773905"/>
                </a:cubicBezTo>
                <a:cubicBezTo>
                  <a:pt x="1358336" y="2773131"/>
                  <a:pt x="1359988" y="2772976"/>
                  <a:pt x="1362053" y="2773286"/>
                </a:cubicBezTo>
                <a:close/>
                <a:moveTo>
                  <a:pt x="1336859" y="2772976"/>
                </a:moveTo>
                <a:cubicBezTo>
                  <a:pt x="1338717" y="2772356"/>
                  <a:pt x="1345222" y="2778397"/>
                  <a:pt x="1341299" y="2780411"/>
                </a:cubicBezTo>
                <a:cubicBezTo>
                  <a:pt x="1338511" y="2781185"/>
                  <a:pt x="1336755" y="2777468"/>
                  <a:pt x="1336549" y="2774989"/>
                </a:cubicBezTo>
                <a:cubicBezTo>
                  <a:pt x="1336445" y="2774060"/>
                  <a:pt x="1336549" y="2773440"/>
                  <a:pt x="1336859" y="2772976"/>
                </a:cubicBezTo>
                <a:close/>
                <a:moveTo>
                  <a:pt x="895851" y="2772821"/>
                </a:moveTo>
                <a:cubicBezTo>
                  <a:pt x="898123" y="2774679"/>
                  <a:pt x="899465" y="2777313"/>
                  <a:pt x="896470" y="2779636"/>
                </a:cubicBezTo>
                <a:cubicBezTo>
                  <a:pt x="895541" y="2780411"/>
                  <a:pt x="894612" y="2781185"/>
                  <a:pt x="894715" y="2780256"/>
                </a:cubicBezTo>
                <a:cubicBezTo>
                  <a:pt x="893889" y="2780256"/>
                  <a:pt x="893889" y="2779481"/>
                  <a:pt x="893167" y="2778552"/>
                </a:cubicBezTo>
                <a:cubicBezTo>
                  <a:pt x="892960" y="2777777"/>
                  <a:pt x="892857" y="2776693"/>
                  <a:pt x="893063" y="2775764"/>
                </a:cubicBezTo>
                <a:cubicBezTo>
                  <a:pt x="893167" y="2774834"/>
                  <a:pt x="893580" y="2773905"/>
                  <a:pt x="894096" y="2773596"/>
                </a:cubicBezTo>
                <a:cubicBezTo>
                  <a:pt x="895025" y="2772821"/>
                  <a:pt x="895851" y="2772821"/>
                  <a:pt x="895851" y="2772821"/>
                </a:cubicBezTo>
                <a:close/>
                <a:moveTo>
                  <a:pt x="488195" y="2772511"/>
                </a:moveTo>
                <a:cubicBezTo>
                  <a:pt x="489022" y="2772356"/>
                  <a:pt x="489022" y="2773131"/>
                  <a:pt x="489951" y="2773905"/>
                </a:cubicBezTo>
                <a:cubicBezTo>
                  <a:pt x="490054" y="2774679"/>
                  <a:pt x="489228" y="2775609"/>
                  <a:pt x="489228" y="2775609"/>
                </a:cubicBezTo>
                <a:cubicBezTo>
                  <a:pt x="488402" y="2776538"/>
                  <a:pt x="488402" y="2776693"/>
                  <a:pt x="489331" y="2777313"/>
                </a:cubicBezTo>
                <a:cubicBezTo>
                  <a:pt x="489331" y="2777313"/>
                  <a:pt x="488402" y="2777468"/>
                  <a:pt x="488402" y="2777468"/>
                </a:cubicBezTo>
                <a:cubicBezTo>
                  <a:pt x="488402" y="2777003"/>
                  <a:pt x="488402" y="2777003"/>
                  <a:pt x="488299" y="2777313"/>
                </a:cubicBezTo>
                <a:lnTo>
                  <a:pt x="487886" y="2777932"/>
                </a:lnTo>
                <a:lnTo>
                  <a:pt x="490261" y="2778552"/>
                </a:lnTo>
                <a:cubicBezTo>
                  <a:pt x="493668" y="2781805"/>
                  <a:pt x="490570" y="2790324"/>
                  <a:pt x="486234" y="2791099"/>
                </a:cubicBezTo>
                <a:cubicBezTo>
                  <a:pt x="483859" y="2790169"/>
                  <a:pt x="481587" y="2789240"/>
                  <a:pt x="479213" y="2788310"/>
                </a:cubicBezTo>
                <a:cubicBezTo>
                  <a:pt x="477870" y="2786452"/>
                  <a:pt x="477251" y="2784593"/>
                  <a:pt x="477457" y="2782734"/>
                </a:cubicBezTo>
                <a:cubicBezTo>
                  <a:pt x="477663" y="2780876"/>
                  <a:pt x="478490" y="2779326"/>
                  <a:pt x="479935" y="2778242"/>
                </a:cubicBezTo>
                <a:cubicBezTo>
                  <a:pt x="480865" y="2777468"/>
                  <a:pt x="482104" y="2777003"/>
                  <a:pt x="483549" y="2776848"/>
                </a:cubicBezTo>
                <a:lnTo>
                  <a:pt x="483756" y="2777003"/>
                </a:lnTo>
                <a:lnTo>
                  <a:pt x="482826" y="2775764"/>
                </a:lnTo>
                <a:cubicBezTo>
                  <a:pt x="482517" y="2775144"/>
                  <a:pt x="482517" y="2774525"/>
                  <a:pt x="482929" y="2774060"/>
                </a:cubicBezTo>
                <a:cubicBezTo>
                  <a:pt x="483859" y="2773905"/>
                  <a:pt x="483756" y="2773131"/>
                  <a:pt x="484582" y="2772976"/>
                </a:cubicBezTo>
                <a:cubicBezTo>
                  <a:pt x="486337" y="2771891"/>
                  <a:pt x="487266" y="2771736"/>
                  <a:pt x="488195" y="2772511"/>
                </a:cubicBezTo>
                <a:close/>
                <a:moveTo>
                  <a:pt x="610967" y="2771272"/>
                </a:moveTo>
                <a:cubicBezTo>
                  <a:pt x="610348" y="2774834"/>
                  <a:pt x="610451" y="2777777"/>
                  <a:pt x="610761" y="2780565"/>
                </a:cubicBezTo>
                <a:lnTo>
                  <a:pt x="610967" y="2783044"/>
                </a:lnTo>
                <a:lnTo>
                  <a:pt x="613136" y="2781340"/>
                </a:lnTo>
                <a:cubicBezTo>
                  <a:pt x="614581" y="2780721"/>
                  <a:pt x="616440" y="2780411"/>
                  <a:pt x="618918" y="2780876"/>
                </a:cubicBezTo>
                <a:lnTo>
                  <a:pt x="625010" y="2783509"/>
                </a:lnTo>
                <a:lnTo>
                  <a:pt x="626456" y="2780721"/>
                </a:lnTo>
                <a:cubicBezTo>
                  <a:pt x="628934" y="2779017"/>
                  <a:pt x="633167" y="2781340"/>
                  <a:pt x="633890" y="2783819"/>
                </a:cubicBezTo>
                <a:cubicBezTo>
                  <a:pt x="633167" y="2785677"/>
                  <a:pt x="631309" y="2786452"/>
                  <a:pt x="629450" y="2786452"/>
                </a:cubicBezTo>
                <a:lnTo>
                  <a:pt x="626868" y="2784903"/>
                </a:lnTo>
                <a:lnTo>
                  <a:pt x="628624" y="2788000"/>
                </a:lnTo>
                <a:cubicBezTo>
                  <a:pt x="629037" y="2789395"/>
                  <a:pt x="629140" y="2791254"/>
                  <a:pt x="628728" y="2793422"/>
                </a:cubicBezTo>
                <a:cubicBezTo>
                  <a:pt x="628934" y="2795281"/>
                  <a:pt x="628418" y="2794506"/>
                  <a:pt x="628211" y="2795590"/>
                </a:cubicBezTo>
                <a:cubicBezTo>
                  <a:pt x="627901" y="2796830"/>
                  <a:pt x="628108" y="2798689"/>
                  <a:pt x="628521" y="2799463"/>
                </a:cubicBezTo>
                <a:cubicBezTo>
                  <a:pt x="624184" y="2798689"/>
                  <a:pt x="624081" y="2801632"/>
                  <a:pt x="617369" y="2800237"/>
                </a:cubicBezTo>
                <a:cubicBezTo>
                  <a:pt x="610761" y="2799308"/>
                  <a:pt x="608076" y="2795590"/>
                  <a:pt x="607353" y="2792183"/>
                </a:cubicBezTo>
                <a:lnTo>
                  <a:pt x="607250" y="2789395"/>
                </a:lnTo>
                <a:lnTo>
                  <a:pt x="604668" y="2788620"/>
                </a:lnTo>
                <a:cubicBezTo>
                  <a:pt x="607560" y="2783199"/>
                  <a:pt x="602707" y="2782115"/>
                  <a:pt x="601158" y="2779326"/>
                </a:cubicBezTo>
                <a:cubicBezTo>
                  <a:pt x="600745" y="2778552"/>
                  <a:pt x="600538" y="2777468"/>
                  <a:pt x="601261" y="2776074"/>
                </a:cubicBezTo>
                <a:cubicBezTo>
                  <a:pt x="603326" y="2774525"/>
                  <a:pt x="604875" y="2772201"/>
                  <a:pt x="607663" y="2771427"/>
                </a:cubicBezTo>
                <a:cubicBezTo>
                  <a:pt x="608696" y="2771117"/>
                  <a:pt x="609728" y="2771117"/>
                  <a:pt x="610967" y="2771272"/>
                </a:cubicBezTo>
                <a:close/>
                <a:moveTo>
                  <a:pt x="531253" y="2771253"/>
                </a:moveTo>
                <a:cubicBezTo>
                  <a:pt x="532131" y="2770885"/>
                  <a:pt x="532957" y="2770730"/>
                  <a:pt x="534248" y="2772201"/>
                </a:cubicBezTo>
                <a:cubicBezTo>
                  <a:pt x="534764" y="2773905"/>
                  <a:pt x="534351" y="2775609"/>
                  <a:pt x="532390" y="2777777"/>
                </a:cubicBezTo>
                <a:cubicBezTo>
                  <a:pt x="527640" y="2777003"/>
                  <a:pt x="527846" y="2774370"/>
                  <a:pt x="527949" y="2771582"/>
                </a:cubicBezTo>
                <a:cubicBezTo>
                  <a:pt x="529446" y="2772201"/>
                  <a:pt x="530376" y="2771620"/>
                  <a:pt x="531253" y="2771253"/>
                </a:cubicBezTo>
                <a:close/>
                <a:moveTo>
                  <a:pt x="863016" y="2769878"/>
                </a:moveTo>
                <a:cubicBezTo>
                  <a:pt x="863635" y="2772046"/>
                  <a:pt x="864358" y="2774525"/>
                  <a:pt x="864874" y="2777313"/>
                </a:cubicBezTo>
                <a:lnTo>
                  <a:pt x="864874" y="2777932"/>
                </a:lnTo>
                <a:lnTo>
                  <a:pt x="865803" y="2777777"/>
                </a:lnTo>
                <a:lnTo>
                  <a:pt x="864978" y="2780565"/>
                </a:lnTo>
                <a:lnTo>
                  <a:pt x="865287" y="2785368"/>
                </a:lnTo>
                <a:cubicBezTo>
                  <a:pt x="864668" y="2790634"/>
                  <a:pt x="861777" y="2795281"/>
                  <a:pt x="854135" y="2796830"/>
                </a:cubicBezTo>
                <a:lnTo>
                  <a:pt x="850625" y="2792648"/>
                </a:lnTo>
                <a:lnTo>
                  <a:pt x="850005" y="2792802"/>
                </a:lnTo>
                <a:lnTo>
                  <a:pt x="850212" y="2792028"/>
                </a:lnTo>
                <a:lnTo>
                  <a:pt x="849490" y="2791254"/>
                </a:lnTo>
                <a:lnTo>
                  <a:pt x="850728" y="2789859"/>
                </a:lnTo>
                <a:lnTo>
                  <a:pt x="851038" y="2788156"/>
                </a:lnTo>
                <a:cubicBezTo>
                  <a:pt x="851554" y="2786761"/>
                  <a:pt x="852380" y="2785368"/>
                  <a:pt x="853413" y="2784129"/>
                </a:cubicBezTo>
                <a:lnTo>
                  <a:pt x="855685" y="2782424"/>
                </a:lnTo>
                <a:lnTo>
                  <a:pt x="856924" y="2780101"/>
                </a:lnTo>
                <a:lnTo>
                  <a:pt x="858679" y="2776538"/>
                </a:lnTo>
                <a:lnTo>
                  <a:pt x="857646" y="2775609"/>
                </a:lnTo>
                <a:cubicBezTo>
                  <a:pt x="856511" y="2774679"/>
                  <a:pt x="855685" y="2773750"/>
                  <a:pt x="856097" y="2773286"/>
                </a:cubicBezTo>
                <a:cubicBezTo>
                  <a:pt x="856097" y="2773286"/>
                  <a:pt x="857027" y="2774215"/>
                  <a:pt x="857853" y="2775144"/>
                </a:cubicBezTo>
                <a:lnTo>
                  <a:pt x="859298" y="2775299"/>
                </a:lnTo>
                <a:lnTo>
                  <a:pt x="859608" y="2774679"/>
                </a:lnTo>
                <a:cubicBezTo>
                  <a:pt x="860537" y="2772976"/>
                  <a:pt x="861673" y="2771272"/>
                  <a:pt x="863016" y="2769878"/>
                </a:cubicBezTo>
                <a:close/>
                <a:moveTo>
                  <a:pt x="623668" y="2769723"/>
                </a:moveTo>
                <a:cubicBezTo>
                  <a:pt x="632341" y="2771117"/>
                  <a:pt x="631102" y="2773750"/>
                  <a:pt x="630792" y="2777932"/>
                </a:cubicBezTo>
                <a:cubicBezTo>
                  <a:pt x="628830" y="2777932"/>
                  <a:pt x="627075" y="2779791"/>
                  <a:pt x="624700" y="2779017"/>
                </a:cubicBezTo>
                <a:cubicBezTo>
                  <a:pt x="624700" y="2779017"/>
                  <a:pt x="623461" y="2778707"/>
                  <a:pt x="622532" y="2777158"/>
                </a:cubicBezTo>
                <a:cubicBezTo>
                  <a:pt x="619641" y="2775764"/>
                  <a:pt x="620467" y="2772356"/>
                  <a:pt x="620467" y="2772356"/>
                </a:cubicBezTo>
                <a:cubicBezTo>
                  <a:pt x="620467" y="2772356"/>
                  <a:pt x="620467" y="2772356"/>
                  <a:pt x="619744" y="2772666"/>
                </a:cubicBezTo>
                <a:cubicBezTo>
                  <a:pt x="621293" y="2772046"/>
                  <a:pt x="622223" y="2770497"/>
                  <a:pt x="623668" y="2769723"/>
                </a:cubicBezTo>
                <a:close/>
                <a:moveTo>
                  <a:pt x="578648" y="2769103"/>
                </a:moveTo>
                <a:cubicBezTo>
                  <a:pt x="582056" y="2770497"/>
                  <a:pt x="581230" y="2769723"/>
                  <a:pt x="583708" y="2772976"/>
                </a:cubicBezTo>
                <a:cubicBezTo>
                  <a:pt x="581849" y="2774679"/>
                  <a:pt x="580094" y="2776383"/>
                  <a:pt x="578235" y="2778087"/>
                </a:cubicBezTo>
                <a:cubicBezTo>
                  <a:pt x="577409" y="2776538"/>
                  <a:pt x="575654" y="2775764"/>
                  <a:pt x="574828" y="2774989"/>
                </a:cubicBezTo>
                <a:cubicBezTo>
                  <a:pt x="574931" y="2772511"/>
                  <a:pt x="575860" y="2770807"/>
                  <a:pt x="578648" y="2769103"/>
                </a:cubicBezTo>
                <a:close/>
                <a:moveTo>
                  <a:pt x="950680" y="2768793"/>
                </a:moveTo>
                <a:cubicBezTo>
                  <a:pt x="951609" y="2771117"/>
                  <a:pt x="952745" y="2771582"/>
                  <a:pt x="951919" y="2771891"/>
                </a:cubicBezTo>
                <a:cubicBezTo>
                  <a:pt x="952229" y="2772666"/>
                  <a:pt x="951403" y="2772821"/>
                  <a:pt x="951093" y="2772046"/>
                </a:cubicBezTo>
                <a:cubicBezTo>
                  <a:pt x="950164" y="2771891"/>
                  <a:pt x="949957" y="2771427"/>
                  <a:pt x="949957" y="2770807"/>
                </a:cubicBezTo>
                <a:cubicBezTo>
                  <a:pt x="950061" y="2770032"/>
                  <a:pt x="950474" y="2769258"/>
                  <a:pt x="950680" y="2768793"/>
                </a:cubicBezTo>
                <a:close/>
                <a:moveTo>
                  <a:pt x="617679" y="2768484"/>
                </a:moveTo>
                <a:cubicBezTo>
                  <a:pt x="618402" y="2768484"/>
                  <a:pt x="619228" y="2768484"/>
                  <a:pt x="619538" y="2768948"/>
                </a:cubicBezTo>
                <a:cubicBezTo>
                  <a:pt x="621190" y="2769878"/>
                  <a:pt x="618195" y="2772201"/>
                  <a:pt x="618092" y="2773131"/>
                </a:cubicBezTo>
                <a:cubicBezTo>
                  <a:pt x="617060" y="2773905"/>
                  <a:pt x="616130" y="2774525"/>
                  <a:pt x="615407" y="2773750"/>
                </a:cubicBezTo>
                <a:cubicBezTo>
                  <a:pt x="614994" y="2773286"/>
                  <a:pt x="614581" y="2773131"/>
                  <a:pt x="614375" y="2772666"/>
                </a:cubicBezTo>
                <a:cubicBezTo>
                  <a:pt x="614271" y="2772356"/>
                  <a:pt x="614375" y="2772046"/>
                  <a:pt x="614891" y="2771272"/>
                </a:cubicBezTo>
                <a:cubicBezTo>
                  <a:pt x="615097" y="2770343"/>
                  <a:pt x="616027" y="2769568"/>
                  <a:pt x="616130" y="2768793"/>
                </a:cubicBezTo>
                <a:cubicBezTo>
                  <a:pt x="616130" y="2768793"/>
                  <a:pt x="616853" y="2768484"/>
                  <a:pt x="617679" y="2768484"/>
                </a:cubicBezTo>
                <a:close/>
                <a:moveTo>
                  <a:pt x="432450" y="2767322"/>
                </a:moveTo>
                <a:cubicBezTo>
                  <a:pt x="435458" y="2767593"/>
                  <a:pt x="439046" y="2768716"/>
                  <a:pt x="441730" y="2768948"/>
                </a:cubicBezTo>
                <a:cubicBezTo>
                  <a:pt x="442454" y="2772511"/>
                  <a:pt x="442247" y="2773750"/>
                  <a:pt x="440491" y="2777158"/>
                </a:cubicBezTo>
                <a:cubicBezTo>
                  <a:pt x="434812" y="2778552"/>
                  <a:pt x="430785" y="2776383"/>
                  <a:pt x="426758" y="2774215"/>
                </a:cubicBezTo>
                <a:cubicBezTo>
                  <a:pt x="426552" y="2772976"/>
                  <a:pt x="426552" y="2771736"/>
                  <a:pt x="426655" y="2770807"/>
                </a:cubicBezTo>
                <a:cubicBezTo>
                  <a:pt x="427016" y="2767632"/>
                  <a:pt x="429443" y="2767051"/>
                  <a:pt x="432450" y="2767322"/>
                </a:cubicBezTo>
                <a:close/>
                <a:moveTo>
                  <a:pt x="1383531" y="2766780"/>
                </a:moveTo>
                <a:cubicBezTo>
                  <a:pt x="1385389" y="2767244"/>
                  <a:pt x="1387557" y="2768484"/>
                  <a:pt x="1389726" y="2769878"/>
                </a:cubicBezTo>
                <a:cubicBezTo>
                  <a:pt x="1389106" y="2774525"/>
                  <a:pt x="1383427" y="2771891"/>
                  <a:pt x="1382498" y="2769258"/>
                </a:cubicBezTo>
                <a:cubicBezTo>
                  <a:pt x="1382188" y="2768329"/>
                  <a:pt x="1382395" y="2767400"/>
                  <a:pt x="1383531" y="2766780"/>
                </a:cubicBezTo>
                <a:close/>
                <a:moveTo>
                  <a:pt x="734255" y="2766005"/>
                </a:moveTo>
                <a:cubicBezTo>
                  <a:pt x="734152" y="2767709"/>
                  <a:pt x="733223" y="2770807"/>
                  <a:pt x="730848" y="2771272"/>
                </a:cubicBezTo>
                <a:cubicBezTo>
                  <a:pt x="730848" y="2771272"/>
                  <a:pt x="730951" y="2771272"/>
                  <a:pt x="729815" y="2771427"/>
                </a:cubicBezTo>
                <a:cubicBezTo>
                  <a:pt x="731054" y="2769413"/>
                  <a:pt x="732706" y="2766780"/>
                  <a:pt x="734255" y="2766005"/>
                </a:cubicBezTo>
                <a:close/>
                <a:moveTo>
                  <a:pt x="1009743" y="2765076"/>
                </a:moveTo>
                <a:cubicBezTo>
                  <a:pt x="1014493" y="2763217"/>
                  <a:pt x="1020688" y="2768019"/>
                  <a:pt x="1018623" y="2773286"/>
                </a:cubicBezTo>
                <a:cubicBezTo>
                  <a:pt x="1016661" y="2773131"/>
                  <a:pt x="1015009" y="2773750"/>
                  <a:pt x="1013047" y="2773596"/>
                </a:cubicBezTo>
                <a:cubicBezTo>
                  <a:pt x="1011911" y="2771427"/>
                  <a:pt x="1009226" y="2770187"/>
                  <a:pt x="1009020" y="2767864"/>
                </a:cubicBezTo>
                <a:cubicBezTo>
                  <a:pt x="1008917" y="2767090"/>
                  <a:pt x="1009123" y="2766160"/>
                  <a:pt x="1009743" y="2765076"/>
                </a:cubicBezTo>
                <a:close/>
                <a:moveTo>
                  <a:pt x="560062" y="2763527"/>
                </a:moveTo>
                <a:cubicBezTo>
                  <a:pt x="560991" y="2763372"/>
                  <a:pt x="562024" y="2763527"/>
                  <a:pt x="562437" y="2763992"/>
                </a:cubicBezTo>
                <a:cubicBezTo>
                  <a:pt x="565018" y="2765850"/>
                  <a:pt x="563263" y="2768174"/>
                  <a:pt x="562333" y="2771427"/>
                </a:cubicBezTo>
                <a:cubicBezTo>
                  <a:pt x="561507" y="2770497"/>
                  <a:pt x="560682" y="2771272"/>
                  <a:pt x="559752" y="2771891"/>
                </a:cubicBezTo>
                <a:cubicBezTo>
                  <a:pt x="558513" y="2770652"/>
                  <a:pt x="556242" y="2768639"/>
                  <a:pt x="556655" y="2766625"/>
                </a:cubicBezTo>
                <a:cubicBezTo>
                  <a:pt x="556861" y="2765850"/>
                  <a:pt x="557274" y="2765076"/>
                  <a:pt x="558203" y="2764301"/>
                </a:cubicBezTo>
                <a:cubicBezTo>
                  <a:pt x="558203" y="2763992"/>
                  <a:pt x="559029" y="2763682"/>
                  <a:pt x="560062" y="2763527"/>
                </a:cubicBezTo>
                <a:close/>
                <a:moveTo>
                  <a:pt x="740037" y="2761668"/>
                </a:moveTo>
                <a:cubicBezTo>
                  <a:pt x="742723" y="2761358"/>
                  <a:pt x="745923" y="2761978"/>
                  <a:pt x="748711" y="2763217"/>
                </a:cubicBezTo>
                <a:lnTo>
                  <a:pt x="750157" y="2764301"/>
                </a:lnTo>
                <a:lnTo>
                  <a:pt x="750880" y="2764457"/>
                </a:lnTo>
                <a:lnTo>
                  <a:pt x="751809" y="2765386"/>
                </a:lnTo>
                <a:lnTo>
                  <a:pt x="755526" y="2767864"/>
                </a:lnTo>
                <a:cubicBezTo>
                  <a:pt x="755836" y="2771891"/>
                  <a:pt x="754700" y="2774370"/>
                  <a:pt x="752738" y="2775764"/>
                </a:cubicBezTo>
                <a:cubicBezTo>
                  <a:pt x="746956" y="2779791"/>
                  <a:pt x="734462" y="2773131"/>
                  <a:pt x="735288" y="2763992"/>
                </a:cubicBezTo>
                <a:cubicBezTo>
                  <a:pt x="736630" y="2762598"/>
                  <a:pt x="738179" y="2761823"/>
                  <a:pt x="740037" y="2761668"/>
                </a:cubicBezTo>
                <a:close/>
                <a:moveTo>
                  <a:pt x="1195501" y="2761513"/>
                </a:moveTo>
                <a:lnTo>
                  <a:pt x="1193849" y="2762598"/>
                </a:lnTo>
                <a:lnTo>
                  <a:pt x="1192094" y="2763372"/>
                </a:lnTo>
                <a:lnTo>
                  <a:pt x="1193849" y="2763992"/>
                </a:lnTo>
                <a:close/>
                <a:moveTo>
                  <a:pt x="1179186" y="2758725"/>
                </a:moveTo>
                <a:cubicBezTo>
                  <a:pt x="1177844" y="2762288"/>
                  <a:pt x="1176811" y="2765850"/>
                  <a:pt x="1175056" y="2769258"/>
                </a:cubicBezTo>
                <a:cubicBezTo>
                  <a:pt x="1173197" y="2772511"/>
                  <a:pt x="1170616" y="2775609"/>
                  <a:pt x="1166486" y="2778087"/>
                </a:cubicBezTo>
                <a:cubicBezTo>
                  <a:pt x="1165969" y="2776848"/>
                  <a:pt x="1165660" y="2775609"/>
                  <a:pt x="1165660" y="2774525"/>
                </a:cubicBezTo>
                <a:cubicBezTo>
                  <a:pt x="1165557" y="2773440"/>
                  <a:pt x="1165660" y="2772356"/>
                  <a:pt x="1165866" y="2771272"/>
                </a:cubicBezTo>
                <a:cubicBezTo>
                  <a:pt x="1167415" y="2765076"/>
                  <a:pt x="1174540" y="2760429"/>
                  <a:pt x="1179186" y="2758725"/>
                </a:cubicBezTo>
                <a:close/>
                <a:moveTo>
                  <a:pt x="6515919" y="2758166"/>
                </a:moveTo>
                <a:cubicBezTo>
                  <a:pt x="6520400" y="2757740"/>
                  <a:pt x="6524882" y="2759020"/>
                  <a:pt x="6529363" y="2762435"/>
                </a:cubicBezTo>
                <a:cubicBezTo>
                  <a:pt x="6531285" y="2771113"/>
                  <a:pt x="6520400" y="2776377"/>
                  <a:pt x="6514851" y="2779791"/>
                </a:cubicBezTo>
                <a:cubicBezTo>
                  <a:pt x="6509303" y="2774670"/>
                  <a:pt x="6503967" y="2769406"/>
                  <a:pt x="6503967" y="2764284"/>
                </a:cubicBezTo>
                <a:cubicBezTo>
                  <a:pt x="6507595" y="2760727"/>
                  <a:pt x="6511649" y="2758593"/>
                  <a:pt x="6515919" y="2758166"/>
                </a:cubicBezTo>
                <a:close/>
                <a:moveTo>
                  <a:pt x="1255080" y="2757951"/>
                </a:moveTo>
                <a:cubicBezTo>
                  <a:pt x="1255699" y="2758261"/>
                  <a:pt x="1255802" y="2758725"/>
                  <a:pt x="1255802" y="2759190"/>
                </a:cubicBezTo>
                <a:cubicBezTo>
                  <a:pt x="1255699" y="2759654"/>
                  <a:pt x="1255389" y="2760119"/>
                  <a:pt x="1255183" y="2760739"/>
                </a:cubicBezTo>
                <a:cubicBezTo>
                  <a:pt x="1254666" y="2761668"/>
                  <a:pt x="1254150" y="2762753"/>
                  <a:pt x="1253634" y="2763837"/>
                </a:cubicBezTo>
                <a:cubicBezTo>
                  <a:pt x="1253634" y="2763837"/>
                  <a:pt x="1253634" y="2763837"/>
                  <a:pt x="1255080" y="2757951"/>
                </a:cubicBezTo>
                <a:close/>
                <a:moveTo>
                  <a:pt x="1124564" y="2757641"/>
                </a:moveTo>
                <a:cubicBezTo>
                  <a:pt x="1124564" y="2757641"/>
                  <a:pt x="1125183" y="2758106"/>
                  <a:pt x="1125183" y="2758106"/>
                </a:cubicBezTo>
                <a:cubicBezTo>
                  <a:pt x="1124770" y="2758880"/>
                  <a:pt x="1124254" y="2759654"/>
                  <a:pt x="1123634" y="2759345"/>
                </a:cubicBezTo>
                <a:cubicBezTo>
                  <a:pt x="1123325" y="2759190"/>
                  <a:pt x="1123222" y="2758880"/>
                  <a:pt x="1123325" y="2758570"/>
                </a:cubicBezTo>
                <a:cubicBezTo>
                  <a:pt x="1123531" y="2758261"/>
                  <a:pt x="1123944" y="2757951"/>
                  <a:pt x="1124564" y="2757641"/>
                </a:cubicBezTo>
                <a:close/>
                <a:moveTo>
                  <a:pt x="922492" y="2757176"/>
                </a:moveTo>
                <a:cubicBezTo>
                  <a:pt x="927034" y="2764612"/>
                  <a:pt x="917638" y="2782115"/>
                  <a:pt x="908242" y="2778862"/>
                </a:cubicBezTo>
                <a:lnTo>
                  <a:pt x="910720" y="2774989"/>
                </a:lnTo>
                <a:lnTo>
                  <a:pt x="908655" y="2774525"/>
                </a:lnTo>
                <a:cubicBezTo>
                  <a:pt x="907622" y="2773131"/>
                  <a:pt x="906177" y="2771272"/>
                  <a:pt x="906383" y="2769413"/>
                </a:cubicBezTo>
                <a:cubicBezTo>
                  <a:pt x="906487" y="2768793"/>
                  <a:pt x="906693" y="2768174"/>
                  <a:pt x="907209" y="2767554"/>
                </a:cubicBezTo>
                <a:cubicBezTo>
                  <a:pt x="908035" y="2767709"/>
                  <a:pt x="908242" y="2766780"/>
                  <a:pt x="909068" y="2766935"/>
                </a:cubicBezTo>
                <a:cubicBezTo>
                  <a:pt x="909068" y="2766935"/>
                  <a:pt x="909997" y="2766470"/>
                  <a:pt x="911236" y="2766470"/>
                </a:cubicBezTo>
                <a:lnTo>
                  <a:pt x="914437" y="2767709"/>
                </a:lnTo>
                <a:lnTo>
                  <a:pt x="917432" y="2762443"/>
                </a:lnTo>
                <a:cubicBezTo>
                  <a:pt x="918774" y="2760584"/>
                  <a:pt x="920323" y="2758880"/>
                  <a:pt x="922492" y="2757176"/>
                </a:cubicBezTo>
                <a:close/>
                <a:moveTo>
                  <a:pt x="884493" y="2756557"/>
                </a:moveTo>
                <a:cubicBezTo>
                  <a:pt x="885113" y="2756402"/>
                  <a:pt x="885423" y="2756711"/>
                  <a:pt x="885732" y="2757176"/>
                </a:cubicBezTo>
                <a:cubicBezTo>
                  <a:pt x="886042" y="2757486"/>
                  <a:pt x="886248" y="2758106"/>
                  <a:pt x="886352" y="2758725"/>
                </a:cubicBezTo>
                <a:lnTo>
                  <a:pt x="886662" y="2759654"/>
                </a:lnTo>
                <a:lnTo>
                  <a:pt x="888314" y="2758880"/>
                </a:lnTo>
                <a:cubicBezTo>
                  <a:pt x="892031" y="2760429"/>
                  <a:pt x="893993" y="2762598"/>
                  <a:pt x="894715" y="2764921"/>
                </a:cubicBezTo>
                <a:cubicBezTo>
                  <a:pt x="896884" y="2771582"/>
                  <a:pt x="887591" y="2778552"/>
                  <a:pt x="879640" y="2773440"/>
                </a:cubicBezTo>
                <a:cubicBezTo>
                  <a:pt x="879124" y="2772511"/>
                  <a:pt x="878917" y="2771272"/>
                  <a:pt x="879021" y="2770187"/>
                </a:cubicBezTo>
                <a:cubicBezTo>
                  <a:pt x="879227" y="2766625"/>
                  <a:pt x="881705" y="2762908"/>
                  <a:pt x="884493" y="2760739"/>
                </a:cubicBezTo>
                <a:lnTo>
                  <a:pt x="886145" y="2759965"/>
                </a:lnTo>
                <a:close/>
                <a:moveTo>
                  <a:pt x="984445" y="2755163"/>
                </a:moveTo>
                <a:cubicBezTo>
                  <a:pt x="984858" y="2755782"/>
                  <a:pt x="985684" y="2755318"/>
                  <a:pt x="986097" y="2756092"/>
                </a:cubicBezTo>
                <a:cubicBezTo>
                  <a:pt x="987853" y="2756867"/>
                  <a:pt x="987853" y="2756867"/>
                  <a:pt x="987543" y="2758106"/>
                </a:cubicBezTo>
                <a:cubicBezTo>
                  <a:pt x="987233" y="2759345"/>
                  <a:pt x="984445" y="2760119"/>
                  <a:pt x="984135" y="2761358"/>
                </a:cubicBezTo>
                <a:cubicBezTo>
                  <a:pt x="984135" y="2761358"/>
                  <a:pt x="984032" y="2761358"/>
                  <a:pt x="982380" y="2760429"/>
                </a:cubicBezTo>
                <a:cubicBezTo>
                  <a:pt x="981967" y="2759810"/>
                  <a:pt x="981451" y="2759035"/>
                  <a:pt x="981761" y="2757951"/>
                </a:cubicBezTo>
                <a:cubicBezTo>
                  <a:pt x="982070" y="2756711"/>
                  <a:pt x="983722" y="2755627"/>
                  <a:pt x="984445" y="2755163"/>
                </a:cubicBezTo>
                <a:close/>
                <a:moveTo>
                  <a:pt x="490261" y="2754233"/>
                </a:moveTo>
                <a:cubicBezTo>
                  <a:pt x="499141" y="2752839"/>
                  <a:pt x="502652" y="2762908"/>
                  <a:pt x="498108" y="2766470"/>
                </a:cubicBezTo>
                <a:cubicBezTo>
                  <a:pt x="496662" y="2767709"/>
                  <a:pt x="494391" y="2768019"/>
                  <a:pt x="490984" y="2767090"/>
                </a:cubicBezTo>
                <a:cubicBezTo>
                  <a:pt x="491190" y="2762753"/>
                  <a:pt x="489228" y="2760119"/>
                  <a:pt x="489331" y="2757176"/>
                </a:cubicBezTo>
                <a:cubicBezTo>
                  <a:pt x="489331" y="2756247"/>
                  <a:pt x="489641" y="2755318"/>
                  <a:pt x="490261" y="2754233"/>
                </a:cubicBezTo>
                <a:close/>
                <a:moveTo>
                  <a:pt x="1126629" y="2754078"/>
                </a:moveTo>
                <a:cubicBezTo>
                  <a:pt x="1127868" y="2753614"/>
                  <a:pt x="1127868" y="2753614"/>
                  <a:pt x="1129313" y="2754388"/>
                </a:cubicBezTo>
                <a:cubicBezTo>
                  <a:pt x="1127248" y="2756402"/>
                  <a:pt x="1127248" y="2756402"/>
                  <a:pt x="1124873" y="2757176"/>
                </a:cubicBezTo>
                <a:cubicBezTo>
                  <a:pt x="1125390" y="2756402"/>
                  <a:pt x="1125493" y="2754543"/>
                  <a:pt x="1126629" y="2754078"/>
                </a:cubicBezTo>
                <a:close/>
                <a:moveTo>
                  <a:pt x="469713" y="2753304"/>
                </a:moveTo>
                <a:cubicBezTo>
                  <a:pt x="467441" y="2760274"/>
                  <a:pt x="467648" y="2763682"/>
                  <a:pt x="465273" y="2769103"/>
                </a:cubicBezTo>
                <a:cubicBezTo>
                  <a:pt x="464344" y="2769258"/>
                  <a:pt x="464344" y="2768329"/>
                  <a:pt x="463414" y="2768484"/>
                </a:cubicBezTo>
                <a:cubicBezTo>
                  <a:pt x="463001" y="2768174"/>
                  <a:pt x="462794" y="2767244"/>
                  <a:pt x="462691" y="2766315"/>
                </a:cubicBezTo>
                <a:cubicBezTo>
                  <a:pt x="462588" y="2763217"/>
                  <a:pt x="463930" y="2758261"/>
                  <a:pt x="464653" y="2758106"/>
                </a:cubicBezTo>
                <a:cubicBezTo>
                  <a:pt x="464550" y="2757331"/>
                  <a:pt x="465479" y="2757176"/>
                  <a:pt x="465376" y="2756402"/>
                </a:cubicBezTo>
                <a:cubicBezTo>
                  <a:pt x="465376" y="2756402"/>
                  <a:pt x="465376" y="2755472"/>
                  <a:pt x="466202" y="2754543"/>
                </a:cubicBezTo>
                <a:cubicBezTo>
                  <a:pt x="467028" y="2753614"/>
                  <a:pt x="467854" y="2752684"/>
                  <a:pt x="469713" y="2753304"/>
                </a:cubicBezTo>
                <a:close/>
                <a:moveTo>
                  <a:pt x="1158122" y="2752994"/>
                </a:moveTo>
                <a:cubicBezTo>
                  <a:pt x="1159774" y="2755782"/>
                  <a:pt x="1162872" y="2753614"/>
                  <a:pt x="1162975" y="2757486"/>
                </a:cubicBezTo>
                <a:cubicBezTo>
                  <a:pt x="1162252" y="2758880"/>
                  <a:pt x="1160703" y="2759965"/>
                  <a:pt x="1157503" y="2760274"/>
                </a:cubicBezTo>
                <a:cubicBezTo>
                  <a:pt x="1155954" y="2758415"/>
                  <a:pt x="1155644" y="2757021"/>
                  <a:pt x="1155954" y="2755937"/>
                </a:cubicBezTo>
                <a:cubicBezTo>
                  <a:pt x="1156264" y="2754853"/>
                  <a:pt x="1157193" y="2753924"/>
                  <a:pt x="1158122" y="2752994"/>
                </a:cubicBezTo>
                <a:close/>
                <a:moveTo>
                  <a:pt x="642460" y="2750825"/>
                </a:moveTo>
                <a:cubicBezTo>
                  <a:pt x="651134" y="2746798"/>
                  <a:pt x="664558" y="2753768"/>
                  <a:pt x="659498" y="2761204"/>
                </a:cubicBezTo>
                <a:cubicBezTo>
                  <a:pt x="658775" y="2762288"/>
                  <a:pt x="657742" y="2763372"/>
                  <a:pt x="656193" y="2764301"/>
                </a:cubicBezTo>
                <a:cubicBezTo>
                  <a:pt x="651340" y="2762598"/>
                  <a:pt x="642667" y="2761049"/>
                  <a:pt x="642151" y="2754078"/>
                </a:cubicBezTo>
                <a:cubicBezTo>
                  <a:pt x="642151" y="2753149"/>
                  <a:pt x="642151" y="2752065"/>
                  <a:pt x="642460" y="2750825"/>
                </a:cubicBezTo>
                <a:close/>
                <a:moveTo>
                  <a:pt x="707512" y="2749431"/>
                </a:moveTo>
                <a:cubicBezTo>
                  <a:pt x="708441" y="2751135"/>
                  <a:pt x="708751" y="2752375"/>
                  <a:pt x="709061" y="2753459"/>
                </a:cubicBezTo>
                <a:cubicBezTo>
                  <a:pt x="710093" y="2755163"/>
                  <a:pt x="709680" y="2755782"/>
                  <a:pt x="707305" y="2756247"/>
                </a:cubicBezTo>
                <a:cubicBezTo>
                  <a:pt x="706789" y="2755472"/>
                  <a:pt x="706376" y="2754078"/>
                  <a:pt x="706376" y="2752684"/>
                </a:cubicBezTo>
                <a:cubicBezTo>
                  <a:pt x="706376" y="2751290"/>
                  <a:pt x="706686" y="2749896"/>
                  <a:pt x="707512" y="2749431"/>
                </a:cubicBezTo>
                <a:close/>
                <a:moveTo>
                  <a:pt x="722871" y="2749218"/>
                </a:moveTo>
                <a:cubicBezTo>
                  <a:pt x="724962" y="2747882"/>
                  <a:pt x="727544" y="2747573"/>
                  <a:pt x="729609" y="2749586"/>
                </a:cubicBezTo>
                <a:cubicBezTo>
                  <a:pt x="730331" y="2752065"/>
                  <a:pt x="731054" y="2754543"/>
                  <a:pt x="728369" y="2757951"/>
                </a:cubicBezTo>
                <a:cubicBezTo>
                  <a:pt x="724859" y="2758880"/>
                  <a:pt x="722381" y="2758261"/>
                  <a:pt x="719076" y="2755008"/>
                </a:cubicBezTo>
                <a:cubicBezTo>
                  <a:pt x="719180" y="2752917"/>
                  <a:pt x="720780" y="2750554"/>
                  <a:pt x="722871" y="2749218"/>
                </a:cubicBezTo>
                <a:close/>
                <a:moveTo>
                  <a:pt x="1381981" y="2748192"/>
                </a:moveTo>
                <a:cubicBezTo>
                  <a:pt x="1387351" y="2751445"/>
                  <a:pt x="1378574" y="2755472"/>
                  <a:pt x="1377851" y="2751135"/>
                </a:cubicBezTo>
                <a:cubicBezTo>
                  <a:pt x="1378884" y="2750361"/>
                  <a:pt x="1380123" y="2748812"/>
                  <a:pt x="1381981" y="2748192"/>
                </a:cubicBezTo>
                <a:close/>
                <a:moveTo>
                  <a:pt x="658672" y="2746643"/>
                </a:moveTo>
                <a:cubicBezTo>
                  <a:pt x="667139" y="2745559"/>
                  <a:pt x="681904" y="2761668"/>
                  <a:pt x="676328" y="2768793"/>
                </a:cubicBezTo>
                <a:lnTo>
                  <a:pt x="673437" y="2765696"/>
                </a:lnTo>
                <a:lnTo>
                  <a:pt x="673541" y="2766160"/>
                </a:lnTo>
                <a:cubicBezTo>
                  <a:pt x="669204" y="2769878"/>
                  <a:pt x="666003" y="2768484"/>
                  <a:pt x="663628" y="2763837"/>
                </a:cubicBezTo>
                <a:cubicBezTo>
                  <a:pt x="664867" y="2762288"/>
                  <a:pt x="665177" y="2760739"/>
                  <a:pt x="666622" y="2758261"/>
                </a:cubicBezTo>
                <a:lnTo>
                  <a:pt x="667035" y="2758570"/>
                </a:lnTo>
                <a:lnTo>
                  <a:pt x="662492" y="2753459"/>
                </a:lnTo>
                <a:cubicBezTo>
                  <a:pt x="661047" y="2751445"/>
                  <a:pt x="659807" y="2749277"/>
                  <a:pt x="658672" y="2746643"/>
                </a:cubicBezTo>
                <a:close/>
                <a:moveTo>
                  <a:pt x="706479" y="2745869"/>
                </a:moveTo>
                <a:cubicBezTo>
                  <a:pt x="706996" y="2745869"/>
                  <a:pt x="707409" y="2746024"/>
                  <a:pt x="707615" y="2746334"/>
                </a:cubicBezTo>
                <a:cubicBezTo>
                  <a:pt x="707822" y="2746488"/>
                  <a:pt x="707925" y="2746798"/>
                  <a:pt x="707925" y="2746798"/>
                </a:cubicBezTo>
                <a:cubicBezTo>
                  <a:pt x="708235" y="2748037"/>
                  <a:pt x="708544" y="2749122"/>
                  <a:pt x="707305" y="2749431"/>
                </a:cubicBezTo>
                <a:cubicBezTo>
                  <a:pt x="707305" y="2749431"/>
                  <a:pt x="706583" y="2748812"/>
                  <a:pt x="705963" y="2746488"/>
                </a:cubicBezTo>
                <a:cubicBezTo>
                  <a:pt x="706686" y="2746953"/>
                  <a:pt x="707099" y="2746334"/>
                  <a:pt x="707099" y="2746334"/>
                </a:cubicBezTo>
                <a:cubicBezTo>
                  <a:pt x="707099" y="2746334"/>
                  <a:pt x="707202" y="2746334"/>
                  <a:pt x="706479" y="2745869"/>
                </a:cubicBezTo>
                <a:close/>
                <a:moveTo>
                  <a:pt x="1013150" y="2744940"/>
                </a:moveTo>
                <a:cubicBezTo>
                  <a:pt x="1015112" y="2744630"/>
                  <a:pt x="1015525" y="2745249"/>
                  <a:pt x="1015422" y="2748347"/>
                </a:cubicBezTo>
                <a:cubicBezTo>
                  <a:pt x="1015112" y="2749431"/>
                  <a:pt x="1015009" y="2750516"/>
                  <a:pt x="1014905" y="2751290"/>
                </a:cubicBezTo>
                <a:lnTo>
                  <a:pt x="1014493" y="2752375"/>
                </a:lnTo>
                <a:lnTo>
                  <a:pt x="1014699" y="2752375"/>
                </a:lnTo>
                <a:lnTo>
                  <a:pt x="1014596" y="2754698"/>
                </a:lnTo>
                <a:lnTo>
                  <a:pt x="1014802" y="2755472"/>
                </a:lnTo>
                <a:lnTo>
                  <a:pt x="1014596" y="2755782"/>
                </a:lnTo>
                <a:lnTo>
                  <a:pt x="1014596" y="2756557"/>
                </a:lnTo>
                <a:cubicBezTo>
                  <a:pt x="1013770" y="2755627"/>
                  <a:pt x="1011911" y="2756247"/>
                  <a:pt x="1010982" y="2755318"/>
                </a:cubicBezTo>
                <a:cubicBezTo>
                  <a:pt x="1010982" y="2755318"/>
                  <a:pt x="1010156" y="2752684"/>
                  <a:pt x="1010156" y="2752684"/>
                </a:cubicBezTo>
                <a:cubicBezTo>
                  <a:pt x="1010672" y="2752375"/>
                  <a:pt x="1010879" y="2752220"/>
                  <a:pt x="1010982" y="2752220"/>
                </a:cubicBezTo>
                <a:cubicBezTo>
                  <a:pt x="1011189" y="2752220"/>
                  <a:pt x="1011085" y="2752375"/>
                  <a:pt x="1011085" y="2752839"/>
                </a:cubicBezTo>
                <a:lnTo>
                  <a:pt x="1012428" y="2752684"/>
                </a:lnTo>
                <a:lnTo>
                  <a:pt x="1011704" y="2751445"/>
                </a:lnTo>
                <a:cubicBezTo>
                  <a:pt x="1010775" y="2749896"/>
                  <a:pt x="1010156" y="2748347"/>
                  <a:pt x="1010156" y="2746798"/>
                </a:cubicBezTo>
                <a:cubicBezTo>
                  <a:pt x="1010362" y="2746178"/>
                  <a:pt x="1010465" y="2745714"/>
                  <a:pt x="1010879" y="2745249"/>
                </a:cubicBezTo>
                <a:cubicBezTo>
                  <a:pt x="1011292" y="2744940"/>
                  <a:pt x="1011911" y="2744630"/>
                  <a:pt x="1013150" y="2744940"/>
                </a:cubicBezTo>
                <a:close/>
                <a:moveTo>
                  <a:pt x="726821" y="2743081"/>
                </a:moveTo>
                <a:cubicBezTo>
                  <a:pt x="729919" y="2743391"/>
                  <a:pt x="732810" y="2744785"/>
                  <a:pt x="731880" y="2748192"/>
                </a:cubicBezTo>
                <a:cubicBezTo>
                  <a:pt x="731674" y="2749277"/>
                  <a:pt x="731364" y="2750361"/>
                  <a:pt x="730848" y="2749586"/>
                </a:cubicBezTo>
                <a:cubicBezTo>
                  <a:pt x="730125" y="2750051"/>
                  <a:pt x="729712" y="2749277"/>
                  <a:pt x="728473" y="2748967"/>
                </a:cubicBezTo>
                <a:cubicBezTo>
                  <a:pt x="726821" y="2747882"/>
                  <a:pt x="725479" y="2745714"/>
                  <a:pt x="725788" y="2744475"/>
                </a:cubicBezTo>
                <a:cubicBezTo>
                  <a:pt x="726098" y="2743391"/>
                  <a:pt x="726821" y="2743081"/>
                  <a:pt x="726821" y="2743081"/>
                </a:cubicBezTo>
                <a:close/>
                <a:moveTo>
                  <a:pt x="991260" y="2742771"/>
                </a:moveTo>
                <a:cubicBezTo>
                  <a:pt x="993222" y="2741997"/>
                  <a:pt x="996216" y="2742151"/>
                  <a:pt x="1000656" y="2744165"/>
                </a:cubicBezTo>
                <a:cubicBezTo>
                  <a:pt x="993841" y="2750516"/>
                  <a:pt x="995803" y="2763217"/>
                  <a:pt x="987853" y="2765541"/>
                </a:cubicBezTo>
                <a:cubicBezTo>
                  <a:pt x="988369" y="2761978"/>
                  <a:pt x="987749" y="2756867"/>
                  <a:pt x="987749" y="2752375"/>
                </a:cubicBezTo>
                <a:cubicBezTo>
                  <a:pt x="987749" y="2748037"/>
                  <a:pt x="988369" y="2744165"/>
                  <a:pt x="991260" y="2742771"/>
                </a:cubicBezTo>
                <a:close/>
                <a:moveTo>
                  <a:pt x="695018" y="2741997"/>
                </a:moveTo>
                <a:cubicBezTo>
                  <a:pt x="695844" y="2743700"/>
                  <a:pt x="697599" y="2746488"/>
                  <a:pt x="694915" y="2749741"/>
                </a:cubicBezTo>
                <a:cubicBezTo>
                  <a:pt x="693985" y="2750516"/>
                  <a:pt x="693985" y="2750516"/>
                  <a:pt x="693056" y="2750361"/>
                </a:cubicBezTo>
                <a:cubicBezTo>
                  <a:pt x="691300" y="2750980"/>
                  <a:pt x="690475" y="2751910"/>
                  <a:pt x="688720" y="2750825"/>
                </a:cubicBezTo>
                <a:cubicBezTo>
                  <a:pt x="687377" y="2749741"/>
                  <a:pt x="686964" y="2748967"/>
                  <a:pt x="687067" y="2748037"/>
                </a:cubicBezTo>
                <a:cubicBezTo>
                  <a:pt x="687170" y="2746953"/>
                  <a:pt x="687893" y="2746024"/>
                  <a:pt x="688823" y="2744785"/>
                </a:cubicBezTo>
                <a:cubicBezTo>
                  <a:pt x="689752" y="2743545"/>
                  <a:pt x="690784" y="2743236"/>
                  <a:pt x="691920" y="2743081"/>
                </a:cubicBezTo>
                <a:cubicBezTo>
                  <a:pt x="693056" y="2742926"/>
                  <a:pt x="694089" y="2742771"/>
                  <a:pt x="695018" y="2741997"/>
                </a:cubicBezTo>
                <a:close/>
                <a:moveTo>
                  <a:pt x="1356580" y="2739054"/>
                </a:moveTo>
                <a:cubicBezTo>
                  <a:pt x="1359678" y="2737195"/>
                  <a:pt x="1362260" y="2740757"/>
                  <a:pt x="1361227" y="2742771"/>
                </a:cubicBezTo>
                <a:cubicBezTo>
                  <a:pt x="1360917" y="2743545"/>
                  <a:pt x="1360194" y="2743855"/>
                  <a:pt x="1358956" y="2744010"/>
                </a:cubicBezTo>
                <a:cubicBezTo>
                  <a:pt x="1357716" y="2742461"/>
                  <a:pt x="1357303" y="2741222"/>
                  <a:pt x="1356580" y="2739054"/>
                </a:cubicBezTo>
                <a:close/>
                <a:moveTo>
                  <a:pt x="1139020" y="2738124"/>
                </a:moveTo>
                <a:cubicBezTo>
                  <a:pt x="1138813" y="2739054"/>
                  <a:pt x="1139433" y="2740757"/>
                  <a:pt x="1138400" y="2741532"/>
                </a:cubicBezTo>
                <a:cubicBezTo>
                  <a:pt x="1137367" y="2742306"/>
                  <a:pt x="1137367" y="2742306"/>
                  <a:pt x="1135715" y="2742151"/>
                </a:cubicBezTo>
                <a:cubicBezTo>
                  <a:pt x="1136955" y="2739673"/>
                  <a:pt x="1136955" y="2739673"/>
                  <a:pt x="1139020" y="2738124"/>
                </a:cubicBezTo>
                <a:close/>
                <a:moveTo>
                  <a:pt x="1393753" y="2737504"/>
                </a:moveTo>
                <a:cubicBezTo>
                  <a:pt x="1394889" y="2737969"/>
                  <a:pt x="1394785" y="2737969"/>
                  <a:pt x="1394372" y="2739054"/>
                </a:cubicBezTo>
                <a:cubicBezTo>
                  <a:pt x="1393649" y="2739363"/>
                  <a:pt x="1392927" y="2739673"/>
                  <a:pt x="1392514" y="2738898"/>
                </a:cubicBezTo>
                <a:cubicBezTo>
                  <a:pt x="1391791" y="2739208"/>
                  <a:pt x="1391688" y="2739208"/>
                  <a:pt x="1391378" y="2738589"/>
                </a:cubicBezTo>
                <a:cubicBezTo>
                  <a:pt x="1392204" y="2738279"/>
                  <a:pt x="1393030" y="2737814"/>
                  <a:pt x="1393753" y="2737504"/>
                </a:cubicBezTo>
                <a:close/>
                <a:moveTo>
                  <a:pt x="983722" y="2737350"/>
                </a:moveTo>
                <a:cubicBezTo>
                  <a:pt x="986200" y="2737350"/>
                  <a:pt x="989505" y="2737504"/>
                  <a:pt x="991054" y="2738279"/>
                </a:cubicBezTo>
                <a:cubicBezTo>
                  <a:pt x="989298" y="2739054"/>
                  <a:pt x="985891" y="2739828"/>
                  <a:pt x="984342" y="2738124"/>
                </a:cubicBezTo>
                <a:cubicBezTo>
                  <a:pt x="984342" y="2738124"/>
                  <a:pt x="984445" y="2738124"/>
                  <a:pt x="983722" y="2737350"/>
                </a:cubicBezTo>
                <a:close/>
                <a:moveTo>
                  <a:pt x="952229" y="2736575"/>
                </a:moveTo>
                <a:cubicBezTo>
                  <a:pt x="954501" y="2736730"/>
                  <a:pt x="956876" y="2737504"/>
                  <a:pt x="959044" y="2739054"/>
                </a:cubicBezTo>
                <a:cubicBezTo>
                  <a:pt x="962658" y="2738589"/>
                  <a:pt x="967408" y="2740293"/>
                  <a:pt x="970093" y="2742926"/>
                </a:cubicBezTo>
                <a:cubicBezTo>
                  <a:pt x="972261" y="2746953"/>
                  <a:pt x="971332" y="2750051"/>
                  <a:pt x="969266" y="2751135"/>
                </a:cubicBezTo>
                <a:cubicBezTo>
                  <a:pt x="961625" y="2756092"/>
                  <a:pt x="954707" y="2755782"/>
                  <a:pt x="949234" y="2754388"/>
                </a:cubicBezTo>
                <a:lnTo>
                  <a:pt x="947789" y="2753924"/>
                </a:lnTo>
                <a:lnTo>
                  <a:pt x="947273" y="2754233"/>
                </a:lnTo>
                <a:cubicBezTo>
                  <a:pt x="945414" y="2755318"/>
                  <a:pt x="943246" y="2756402"/>
                  <a:pt x="939426" y="2755782"/>
                </a:cubicBezTo>
                <a:lnTo>
                  <a:pt x="943865" y="2752529"/>
                </a:lnTo>
                <a:lnTo>
                  <a:pt x="942317" y="2751910"/>
                </a:lnTo>
                <a:cubicBezTo>
                  <a:pt x="940458" y="2751135"/>
                  <a:pt x="939012" y="2750516"/>
                  <a:pt x="938083" y="2750671"/>
                </a:cubicBezTo>
                <a:cubicBezTo>
                  <a:pt x="937257" y="2749122"/>
                  <a:pt x="936637" y="2747882"/>
                  <a:pt x="936328" y="2746798"/>
                </a:cubicBezTo>
                <a:cubicBezTo>
                  <a:pt x="936121" y="2746178"/>
                  <a:pt x="936018" y="2745559"/>
                  <a:pt x="936224" y="2744940"/>
                </a:cubicBezTo>
                <a:cubicBezTo>
                  <a:pt x="936844" y="2743081"/>
                  <a:pt x="939426" y="2741532"/>
                  <a:pt x="945518" y="2737814"/>
                </a:cubicBezTo>
                <a:cubicBezTo>
                  <a:pt x="947479" y="2736885"/>
                  <a:pt x="949854" y="2736420"/>
                  <a:pt x="952229" y="2736575"/>
                </a:cubicBezTo>
                <a:close/>
                <a:moveTo>
                  <a:pt x="1316827" y="2735955"/>
                </a:moveTo>
                <a:cubicBezTo>
                  <a:pt x="1319098" y="2737195"/>
                  <a:pt x="1321164" y="2739983"/>
                  <a:pt x="1319718" y="2743236"/>
                </a:cubicBezTo>
                <a:lnTo>
                  <a:pt x="1318789" y="2744475"/>
                </a:lnTo>
                <a:lnTo>
                  <a:pt x="1318892" y="2744630"/>
                </a:lnTo>
                <a:cubicBezTo>
                  <a:pt x="1319615" y="2745249"/>
                  <a:pt x="1320234" y="2746024"/>
                  <a:pt x="1320751" y="2747263"/>
                </a:cubicBezTo>
                <a:cubicBezTo>
                  <a:pt x="1320234" y="2749277"/>
                  <a:pt x="1318892" y="2750361"/>
                  <a:pt x="1317343" y="2751135"/>
                </a:cubicBezTo>
                <a:lnTo>
                  <a:pt x="1314452" y="2752994"/>
                </a:lnTo>
                <a:lnTo>
                  <a:pt x="1313729" y="2758725"/>
                </a:lnTo>
                <a:lnTo>
                  <a:pt x="1314865" y="2758880"/>
                </a:lnTo>
                <a:lnTo>
                  <a:pt x="1316104" y="2759345"/>
                </a:lnTo>
                <a:lnTo>
                  <a:pt x="1316207" y="2758570"/>
                </a:lnTo>
                <a:cubicBezTo>
                  <a:pt x="1318995" y="2758880"/>
                  <a:pt x="1321576" y="2758261"/>
                  <a:pt x="1323848" y="2757951"/>
                </a:cubicBezTo>
                <a:lnTo>
                  <a:pt x="1327978" y="2758415"/>
                </a:lnTo>
                <a:lnTo>
                  <a:pt x="1325707" y="2753924"/>
                </a:lnTo>
                <a:cubicBezTo>
                  <a:pt x="1324055" y="2749431"/>
                  <a:pt x="1325087" y="2747108"/>
                  <a:pt x="1327256" y="2746334"/>
                </a:cubicBezTo>
                <a:cubicBezTo>
                  <a:pt x="1332212" y="2744320"/>
                  <a:pt x="1342847" y="2749586"/>
                  <a:pt x="1342125" y="2753924"/>
                </a:cubicBezTo>
                <a:cubicBezTo>
                  <a:pt x="1341711" y="2755782"/>
                  <a:pt x="1339646" y="2757486"/>
                  <a:pt x="1334484" y="2758415"/>
                </a:cubicBezTo>
                <a:lnTo>
                  <a:pt x="1329424" y="2759035"/>
                </a:lnTo>
                <a:lnTo>
                  <a:pt x="1330457" y="2761978"/>
                </a:lnTo>
                <a:cubicBezTo>
                  <a:pt x="1329011" y="2762598"/>
                  <a:pt x="1325500" y="2763527"/>
                  <a:pt x="1322299" y="2763682"/>
                </a:cubicBezTo>
                <a:lnTo>
                  <a:pt x="1322093" y="2763682"/>
                </a:lnTo>
                <a:lnTo>
                  <a:pt x="1322712" y="2764301"/>
                </a:lnTo>
                <a:cubicBezTo>
                  <a:pt x="1323848" y="2766470"/>
                  <a:pt x="1325603" y="2772201"/>
                  <a:pt x="1324055" y="2771582"/>
                </a:cubicBezTo>
                <a:lnTo>
                  <a:pt x="1323435" y="2772356"/>
                </a:lnTo>
                <a:lnTo>
                  <a:pt x="1323229" y="2774370"/>
                </a:lnTo>
                <a:lnTo>
                  <a:pt x="1323022" y="2774525"/>
                </a:lnTo>
                <a:lnTo>
                  <a:pt x="1323022" y="2774679"/>
                </a:lnTo>
                <a:lnTo>
                  <a:pt x="1322196" y="2774989"/>
                </a:lnTo>
                <a:lnTo>
                  <a:pt x="1318375" y="2776848"/>
                </a:lnTo>
                <a:lnTo>
                  <a:pt x="1317446" y="2776074"/>
                </a:lnTo>
                <a:lnTo>
                  <a:pt x="1314555" y="2776848"/>
                </a:lnTo>
                <a:lnTo>
                  <a:pt x="1309805" y="2774060"/>
                </a:lnTo>
                <a:lnTo>
                  <a:pt x="1307121" y="2779946"/>
                </a:lnTo>
                <a:lnTo>
                  <a:pt x="1300409" y="2788465"/>
                </a:lnTo>
                <a:lnTo>
                  <a:pt x="1307327" y="2800547"/>
                </a:lnTo>
                <a:cubicBezTo>
                  <a:pt x="1302061" y="2800237"/>
                  <a:pt x="1295763" y="2797604"/>
                  <a:pt x="1290496" y="2793422"/>
                </a:cubicBezTo>
                <a:lnTo>
                  <a:pt x="1283888" y="2786452"/>
                </a:lnTo>
                <a:lnTo>
                  <a:pt x="1283062" y="2786761"/>
                </a:lnTo>
                <a:cubicBezTo>
                  <a:pt x="1280997" y="2787536"/>
                  <a:pt x="1278829" y="2787536"/>
                  <a:pt x="1278312" y="2785522"/>
                </a:cubicBezTo>
                <a:cubicBezTo>
                  <a:pt x="1278312" y="2784593"/>
                  <a:pt x="1278725" y="2783819"/>
                  <a:pt x="1279448" y="2783354"/>
                </a:cubicBezTo>
                <a:lnTo>
                  <a:pt x="1282236" y="2782889"/>
                </a:lnTo>
                <a:lnTo>
                  <a:pt x="1279964" y="2777468"/>
                </a:lnTo>
                <a:lnTo>
                  <a:pt x="1280067" y="2777003"/>
                </a:lnTo>
                <a:lnTo>
                  <a:pt x="1277899" y="2772976"/>
                </a:lnTo>
                <a:lnTo>
                  <a:pt x="1277899" y="2772356"/>
                </a:lnTo>
                <a:lnTo>
                  <a:pt x="1272736" y="2774370"/>
                </a:lnTo>
                <a:cubicBezTo>
                  <a:pt x="1270774" y="2774834"/>
                  <a:pt x="1268916" y="2774834"/>
                  <a:pt x="1267470" y="2774525"/>
                </a:cubicBezTo>
                <a:cubicBezTo>
                  <a:pt x="1270362" y="2766005"/>
                  <a:pt x="1281720" y="2762288"/>
                  <a:pt x="1287812" y="2761978"/>
                </a:cubicBezTo>
                <a:lnTo>
                  <a:pt x="1285437" y="2765850"/>
                </a:lnTo>
                <a:lnTo>
                  <a:pt x="1286160" y="2767400"/>
                </a:lnTo>
                <a:lnTo>
                  <a:pt x="1288328" y="2760584"/>
                </a:lnTo>
                <a:cubicBezTo>
                  <a:pt x="1289774" y="2757641"/>
                  <a:pt x="1291426" y="2754853"/>
                  <a:pt x="1293388" y="2752529"/>
                </a:cubicBezTo>
                <a:lnTo>
                  <a:pt x="1295453" y="2750671"/>
                </a:lnTo>
                <a:lnTo>
                  <a:pt x="1295866" y="2748037"/>
                </a:lnTo>
                <a:lnTo>
                  <a:pt x="1296898" y="2749277"/>
                </a:lnTo>
                <a:lnTo>
                  <a:pt x="1299996" y="2746488"/>
                </a:lnTo>
                <a:cubicBezTo>
                  <a:pt x="1302371" y="2745094"/>
                  <a:pt x="1304952" y="2744010"/>
                  <a:pt x="1307534" y="2743855"/>
                </a:cubicBezTo>
                <a:lnTo>
                  <a:pt x="1309186" y="2744165"/>
                </a:lnTo>
                <a:lnTo>
                  <a:pt x="1309083" y="2743700"/>
                </a:lnTo>
                <a:cubicBezTo>
                  <a:pt x="1309083" y="2743700"/>
                  <a:pt x="1309496" y="2742616"/>
                  <a:pt x="1309496" y="2742616"/>
                </a:cubicBezTo>
                <a:cubicBezTo>
                  <a:pt x="1310631" y="2738744"/>
                  <a:pt x="1314865" y="2735800"/>
                  <a:pt x="1316827" y="2735955"/>
                </a:cubicBezTo>
                <a:close/>
                <a:moveTo>
                  <a:pt x="1139433" y="2735646"/>
                </a:moveTo>
                <a:cubicBezTo>
                  <a:pt x="1140156" y="2735800"/>
                  <a:pt x="1140052" y="2736730"/>
                  <a:pt x="1139123" y="2737504"/>
                </a:cubicBezTo>
                <a:cubicBezTo>
                  <a:pt x="1139123" y="2737504"/>
                  <a:pt x="1138400" y="2737504"/>
                  <a:pt x="1138400" y="2737504"/>
                </a:cubicBezTo>
                <a:cubicBezTo>
                  <a:pt x="1138503" y="2736575"/>
                  <a:pt x="1138606" y="2735646"/>
                  <a:pt x="1139433" y="2735646"/>
                </a:cubicBezTo>
                <a:close/>
                <a:moveTo>
                  <a:pt x="860021" y="2734872"/>
                </a:moveTo>
                <a:cubicBezTo>
                  <a:pt x="860951" y="2733168"/>
                  <a:pt x="863325" y="2735491"/>
                  <a:pt x="864255" y="2735491"/>
                </a:cubicBezTo>
                <a:cubicBezTo>
                  <a:pt x="865081" y="2736265"/>
                  <a:pt x="865907" y="2737040"/>
                  <a:pt x="864978" y="2737969"/>
                </a:cubicBezTo>
                <a:cubicBezTo>
                  <a:pt x="864152" y="2738898"/>
                  <a:pt x="864048" y="2739673"/>
                  <a:pt x="862396" y="2738898"/>
                </a:cubicBezTo>
                <a:cubicBezTo>
                  <a:pt x="861467" y="2738898"/>
                  <a:pt x="860641" y="2738124"/>
                  <a:pt x="859815" y="2738124"/>
                </a:cubicBezTo>
                <a:cubicBezTo>
                  <a:pt x="859815" y="2738124"/>
                  <a:pt x="859608" y="2737504"/>
                  <a:pt x="859505" y="2736730"/>
                </a:cubicBezTo>
                <a:cubicBezTo>
                  <a:pt x="859505" y="2736110"/>
                  <a:pt x="859505" y="2735181"/>
                  <a:pt x="860021" y="2734872"/>
                </a:cubicBezTo>
                <a:close/>
                <a:moveTo>
                  <a:pt x="639672" y="2734252"/>
                </a:moveTo>
                <a:cubicBezTo>
                  <a:pt x="636781" y="2741222"/>
                  <a:pt x="636575" y="2744630"/>
                  <a:pt x="633684" y="2749741"/>
                </a:cubicBezTo>
                <a:cubicBezTo>
                  <a:pt x="632858" y="2749741"/>
                  <a:pt x="632858" y="2748967"/>
                  <a:pt x="631928" y="2748967"/>
                </a:cubicBezTo>
                <a:cubicBezTo>
                  <a:pt x="631515" y="2748657"/>
                  <a:pt x="631412" y="2747728"/>
                  <a:pt x="631515" y="2746798"/>
                </a:cubicBezTo>
                <a:cubicBezTo>
                  <a:pt x="631722" y="2743700"/>
                  <a:pt x="633581" y="2738744"/>
                  <a:pt x="634200" y="2738744"/>
                </a:cubicBezTo>
                <a:cubicBezTo>
                  <a:pt x="634303" y="2737969"/>
                  <a:pt x="635129" y="2737969"/>
                  <a:pt x="635232" y="2737040"/>
                </a:cubicBezTo>
                <a:cubicBezTo>
                  <a:pt x="635232" y="2737040"/>
                  <a:pt x="635232" y="2736265"/>
                  <a:pt x="636162" y="2735336"/>
                </a:cubicBezTo>
                <a:cubicBezTo>
                  <a:pt x="637091" y="2734407"/>
                  <a:pt x="638020" y="2733477"/>
                  <a:pt x="639672" y="2734252"/>
                </a:cubicBezTo>
                <a:close/>
                <a:moveTo>
                  <a:pt x="1375192" y="2734136"/>
                </a:moveTo>
                <a:cubicBezTo>
                  <a:pt x="1377722" y="2734019"/>
                  <a:pt x="1380175" y="2735336"/>
                  <a:pt x="1381259" y="2737350"/>
                </a:cubicBezTo>
                <a:cubicBezTo>
                  <a:pt x="1382085" y="2738744"/>
                  <a:pt x="1382085" y="2740447"/>
                  <a:pt x="1381259" y="2742151"/>
                </a:cubicBezTo>
                <a:cubicBezTo>
                  <a:pt x="1375993" y="2743081"/>
                  <a:pt x="1370210" y="2745094"/>
                  <a:pt x="1368661" y="2739518"/>
                </a:cubicBezTo>
                <a:cubicBezTo>
                  <a:pt x="1370055" y="2735801"/>
                  <a:pt x="1372663" y="2734252"/>
                  <a:pt x="1375192" y="2734136"/>
                </a:cubicBezTo>
                <a:close/>
                <a:moveTo>
                  <a:pt x="1290290" y="2732858"/>
                </a:moveTo>
                <a:cubicBezTo>
                  <a:pt x="1292871" y="2732548"/>
                  <a:pt x="1296176" y="2735181"/>
                  <a:pt x="1299686" y="2743391"/>
                </a:cubicBezTo>
                <a:cubicBezTo>
                  <a:pt x="1290703" y="2752529"/>
                  <a:pt x="1286366" y="2750051"/>
                  <a:pt x="1285334" y="2745249"/>
                </a:cubicBezTo>
                <a:cubicBezTo>
                  <a:pt x="1285127" y="2744010"/>
                  <a:pt x="1285024" y="2742616"/>
                  <a:pt x="1285127" y="2741377"/>
                </a:cubicBezTo>
                <a:cubicBezTo>
                  <a:pt x="1285540" y="2737195"/>
                  <a:pt x="1287502" y="2733168"/>
                  <a:pt x="1290290" y="2732858"/>
                </a:cubicBezTo>
                <a:close/>
                <a:moveTo>
                  <a:pt x="652786" y="2732858"/>
                </a:moveTo>
                <a:cubicBezTo>
                  <a:pt x="657226" y="2730999"/>
                  <a:pt x="663834" y="2737350"/>
                  <a:pt x="662698" y="2741687"/>
                </a:cubicBezTo>
                <a:cubicBezTo>
                  <a:pt x="660943" y="2743391"/>
                  <a:pt x="659085" y="2745249"/>
                  <a:pt x="657329" y="2746953"/>
                </a:cubicBezTo>
                <a:cubicBezTo>
                  <a:pt x="652890" y="2748037"/>
                  <a:pt x="649275" y="2745714"/>
                  <a:pt x="648449" y="2742151"/>
                </a:cubicBezTo>
                <a:cubicBezTo>
                  <a:pt x="648139" y="2741067"/>
                  <a:pt x="648139" y="2739673"/>
                  <a:pt x="648656" y="2738279"/>
                </a:cubicBezTo>
                <a:cubicBezTo>
                  <a:pt x="649275" y="2736575"/>
                  <a:pt x="650618" y="2734716"/>
                  <a:pt x="652786" y="2732858"/>
                </a:cubicBezTo>
                <a:close/>
                <a:moveTo>
                  <a:pt x="962555" y="2732548"/>
                </a:moveTo>
                <a:cubicBezTo>
                  <a:pt x="963381" y="2733322"/>
                  <a:pt x="963381" y="2733322"/>
                  <a:pt x="964310" y="2733322"/>
                </a:cubicBezTo>
                <a:cubicBezTo>
                  <a:pt x="964310" y="2733322"/>
                  <a:pt x="963277" y="2734097"/>
                  <a:pt x="963277" y="2734097"/>
                </a:cubicBezTo>
                <a:cubicBezTo>
                  <a:pt x="962864" y="2733632"/>
                  <a:pt x="962658" y="2733632"/>
                  <a:pt x="962555" y="2733477"/>
                </a:cubicBezTo>
                <a:cubicBezTo>
                  <a:pt x="962452" y="2733477"/>
                  <a:pt x="962452" y="2733168"/>
                  <a:pt x="962555" y="2732548"/>
                </a:cubicBezTo>
                <a:close/>
                <a:moveTo>
                  <a:pt x="958115" y="2732393"/>
                </a:moveTo>
                <a:cubicBezTo>
                  <a:pt x="959044" y="2732393"/>
                  <a:pt x="959973" y="2732393"/>
                  <a:pt x="959973" y="2733168"/>
                </a:cubicBezTo>
                <a:cubicBezTo>
                  <a:pt x="959870" y="2733942"/>
                  <a:pt x="958941" y="2733942"/>
                  <a:pt x="958011" y="2733168"/>
                </a:cubicBezTo>
                <a:cubicBezTo>
                  <a:pt x="958011" y="2733168"/>
                  <a:pt x="958115" y="2732393"/>
                  <a:pt x="958115" y="2732393"/>
                </a:cubicBezTo>
                <a:close/>
                <a:moveTo>
                  <a:pt x="1140156" y="2731464"/>
                </a:moveTo>
                <a:cubicBezTo>
                  <a:pt x="1140156" y="2731464"/>
                  <a:pt x="1140775" y="2732393"/>
                  <a:pt x="1140775" y="2732393"/>
                </a:cubicBezTo>
                <a:cubicBezTo>
                  <a:pt x="1139846" y="2733322"/>
                  <a:pt x="1140568" y="2733322"/>
                  <a:pt x="1139020" y="2733322"/>
                </a:cubicBezTo>
                <a:cubicBezTo>
                  <a:pt x="1139949" y="2732393"/>
                  <a:pt x="1139949" y="2732393"/>
                  <a:pt x="1140156" y="2731464"/>
                </a:cubicBezTo>
                <a:close/>
                <a:moveTo>
                  <a:pt x="1249194" y="2730844"/>
                </a:moveTo>
                <a:cubicBezTo>
                  <a:pt x="1251982" y="2741377"/>
                  <a:pt x="1268090" y="2739208"/>
                  <a:pt x="1267470" y="2749431"/>
                </a:cubicBezTo>
                <a:cubicBezTo>
                  <a:pt x="1259210" y="2747418"/>
                  <a:pt x="1250639" y="2747263"/>
                  <a:pt x="1244031" y="2737814"/>
                </a:cubicBezTo>
                <a:cubicBezTo>
                  <a:pt x="1245477" y="2735491"/>
                  <a:pt x="1244754" y="2731153"/>
                  <a:pt x="1249194" y="2730844"/>
                </a:cubicBezTo>
                <a:close/>
                <a:moveTo>
                  <a:pt x="953365" y="2730379"/>
                </a:moveTo>
                <a:cubicBezTo>
                  <a:pt x="955843" y="2731309"/>
                  <a:pt x="955843" y="2731309"/>
                  <a:pt x="957392" y="2733012"/>
                </a:cubicBezTo>
                <a:cubicBezTo>
                  <a:pt x="956566" y="2733012"/>
                  <a:pt x="954604" y="2733787"/>
                  <a:pt x="953881" y="2732858"/>
                </a:cubicBezTo>
                <a:cubicBezTo>
                  <a:pt x="953468" y="2732548"/>
                  <a:pt x="953262" y="2732238"/>
                  <a:pt x="953262" y="2731928"/>
                </a:cubicBezTo>
                <a:cubicBezTo>
                  <a:pt x="953158" y="2731618"/>
                  <a:pt x="953262" y="2731309"/>
                  <a:pt x="953365" y="2730379"/>
                </a:cubicBezTo>
                <a:close/>
                <a:moveTo>
                  <a:pt x="1390862" y="2729760"/>
                </a:moveTo>
                <a:lnTo>
                  <a:pt x="1391481" y="2729914"/>
                </a:lnTo>
                <a:lnTo>
                  <a:pt x="1391068" y="2730224"/>
                </a:lnTo>
                <a:cubicBezTo>
                  <a:pt x="1390862" y="2729914"/>
                  <a:pt x="1390758" y="2729760"/>
                  <a:pt x="1390862" y="2729760"/>
                </a:cubicBezTo>
                <a:close/>
                <a:moveTo>
                  <a:pt x="1163801" y="2729605"/>
                </a:moveTo>
                <a:cubicBezTo>
                  <a:pt x="1170100" y="2729295"/>
                  <a:pt x="1177224" y="2740138"/>
                  <a:pt x="1176295" y="2743700"/>
                </a:cubicBezTo>
                <a:cubicBezTo>
                  <a:pt x="1172784" y="2743081"/>
                  <a:pt x="1171649" y="2739828"/>
                  <a:pt x="1167622" y="2738744"/>
                </a:cubicBezTo>
                <a:cubicBezTo>
                  <a:pt x="1167828" y="2735646"/>
                  <a:pt x="1163285" y="2733787"/>
                  <a:pt x="1163801" y="2729605"/>
                </a:cubicBezTo>
                <a:close/>
                <a:moveTo>
                  <a:pt x="736836" y="2729450"/>
                </a:moveTo>
                <a:cubicBezTo>
                  <a:pt x="737663" y="2729140"/>
                  <a:pt x="738592" y="2729140"/>
                  <a:pt x="739728" y="2729450"/>
                </a:cubicBezTo>
                <a:cubicBezTo>
                  <a:pt x="740967" y="2729760"/>
                  <a:pt x="743755" y="2731153"/>
                  <a:pt x="743032" y="2731618"/>
                </a:cubicBezTo>
                <a:cubicBezTo>
                  <a:pt x="742723" y="2732703"/>
                  <a:pt x="743548" y="2732393"/>
                  <a:pt x="743962" y="2733168"/>
                </a:cubicBezTo>
                <a:lnTo>
                  <a:pt x="743755" y="2733632"/>
                </a:lnTo>
                <a:lnTo>
                  <a:pt x="746026" y="2736575"/>
                </a:lnTo>
                <a:cubicBezTo>
                  <a:pt x="746853" y="2737969"/>
                  <a:pt x="747369" y="2739363"/>
                  <a:pt x="747265" y="2740602"/>
                </a:cubicBezTo>
                <a:lnTo>
                  <a:pt x="745407" y="2741067"/>
                </a:lnTo>
                <a:lnTo>
                  <a:pt x="745923" y="2741687"/>
                </a:lnTo>
                <a:cubicBezTo>
                  <a:pt x="746853" y="2742771"/>
                  <a:pt x="747575" y="2744165"/>
                  <a:pt x="747059" y="2745714"/>
                </a:cubicBezTo>
                <a:cubicBezTo>
                  <a:pt x="746439" y="2745094"/>
                  <a:pt x="745407" y="2744010"/>
                  <a:pt x="744478" y="2743081"/>
                </a:cubicBezTo>
                <a:lnTo>
                  <a:pt x="743548" y="2741687"/>
                </a:lnTo>
                <a:lnTo>
                  <a:pt x="741380" y="2742461"/>
                </a:lnTo>
                <a:lnTo>
                  <a:pt x="737560" y="2740602"/>
                </a:lnTo>
                <a:lnTo>
                  <a:pt x="737146" y="2742306"/>
                </a:lnTo>
                <a:cubicBezTo>
                  <a:pt x="735907" y="2741997"/>
                  <a:pt x="734255" y="2741067"/>
                  <a:pt x="734565" y="2739828"/>
                </a:cubicBezTo>
                <a:lnTo>
                  <a:pt x="735185" y="2739208"/>
                </a:lnTo>
                <a:lnTo>
                  <a:pt x="735701" y="2736885"/>
                </a:lnTo>
                <a:lnTo>
                  <a:pt x="734462" y="2736420"/>
                </a:lnTo>
                <a:cubicBezTo>
                  <a:pt x="733223" y="2735646"/>
                  <a:pt x="732293" y="2734562"/>
                  <a:pt x="732396" y="2733168"/>
                </a:cubicBezTo>
                <a:cubicBezTo>
                  <a:pt x="733119" y="2732703"/>
                  <a:pt x="732706" y="2732083"/>
                  <a:pt x="733429" y="2731618"/>
                </a:cubicBezTo>
                <a:cubicBezTo>
                  <a:pt x="733429" y="2731618"/>
                  <a:pt x="733946" y="2730844"/>
                  <a:pt x="734978" y="2730224"/>
                </a:cubicBezTo>
                <a:cubicBezTo>
                  <a:pt x="735494" y="2729914"/>
                  <a:pt x="736114" y="2729605"/>
                  <a:pt x="736836" y="2729450"/>
                </a:cubicBezTo>
                <a:close/>
                <a:moveTo>
                  <a:pt x="717941" y="2729450"/>
                </a:moveTo>
                <a:cubicBezTo>
                  <a:pt x="720109" y="2727746"/>
                  <a:pt x="726408" y="2728675"/>
                  <a:pt x="728369" y="2731618"/>
                </a:cubicBezTo>
                <a:cubicBezTo>
                  <a:pt x="728989" y="2732548"/>
                  <a:pt x="729092" y="2733787"/>
                  <a:pt x="728473" y="2735181"/>
                </a:cubicBezTo>
                <a:cubicBezTo>
                  <a:pt x="725995" y="2739208"/>
                  <a:pt x="721968" y="2737350"/>
                  <a:pt x="717631" y="2734716"/>
                </a:cubicBezTo>
                <a:cubicBezTo>
                  <a:pt x="718044" y="2733012"/>
                  <a:pt x="717528" y="2731309"/>
                  <a:pt x="717941" y="2729450"/>
                </a:cubicBezTo>
                <a:close/>
                <a:moveTo>
                  <a:pt x="930739" y="2729198"/>
                </a:moveTo>
                <a:cubicBezTo>
                  <a:pt x="932843" y="2729760"/>
                  <a:pt x="934779" y="2731773"/>
                  <a:pt x="936431" y="2735955"/>
                </a:cubicBezTo>
                <a:lnTo>
                  <a:pt x="931578" y="2737195"/>
                </a:lnTo>
                <a:lnTo>
                  <a:pt x="932507" y="2738279"/>
                </a:lnTo>
                <a:cubicBezTo>
                  <a:pt x="933333" y="2738898"/>
                  <a:pt x="931165" y="2740447"/>
                  <a:pt x="931165" y="2740447"/>
                </a:cubicBezTo>
                <a:cubicBezTo>
                  <a:pt x="930545" y="2740602"/>
                  <a:pt x="929926" y="2739828"/>
                  <a:pt x="929306" y="2739054"/>
                </a:cubicBezTo>
                <a:lnTo>
                  <a:pt x="928480" y="2738124"/>
                </a:lnTo>
                <a:lnTo>
                  <a:pt x="922285" y="2741067"/>
                </a:lnTo>
                <a:cubicBezTo>
                  <a:pt x="917948" y="2743236"/>
                  <a:pt x="913921" y="2744940"/>
                  <a:pt x="910100" y="2743391"/>
                </a:cubicBezTo>
                <a:cubicBezTo>
                  <a:pt x="912269" y="2741842"/>
                  <a:pt x="914540" y="2739673"/>
                  <a:pt x="916916" y="2737350"/>
                </a:cubicBezTo>
                <a:lnTo>
                  <a:pt x="921768" y="2733168"/>
                </a:lnTo>
                <a:lnTo>
                  <a:pt x="921562" y="2733168"/>
                </a:lnTo>
                <a:cubicBezTo>
                  <a:pt x="921046" y="2732703"/>
                  <a:pt x="920736" y="2731773"/>
                  <a:pt x="920426" y="2730689"/>
                </a:cubicBezTo>
                <a:cubicBezTo>
                  <a:pt x="921149" y="2730224"/>
                  <a:pt x="921872" y="2730069"/>
                  <a:pt x="922595" y="2730224"/>
                </a:cubicBezTo>
                <a:lnTo>
                  <a:pt x="923731" y="2731464"/>
                </a:lnTo>
                <a:lnTo>
                  <a:pt x="924040" y="2731153"/>
                </a:lnTo>
                <a:cubicBezTo>
                  <a:pt x="926363" y="2729527"/>
                  <a:pt x="928635" y="2728637"/>
                  <a:pt x="930739" y="2729198"/>
                </a:cubicBezTo>
                <a:close/>
                <a:moveTo>
                  <a:pt x="586083" y="2729140"/>
                </a:moveTo>
                <a:cubicBezTo>
                  <a:pt x="586289" y="2729140"/>
                  <a:pt x="586909" y="2729295"/>
                  <a:pt x="587838" y="2729295"/>
                </a:cubicBezTo>
                <a:cubicBezTo>
                  <a:pt x="588974" y="2729605"/>
                  <a:pt x="589696" y="2729295"/>
                  <a:pt x="589490" y="2730379"/>
                </a:cubicBezTo>
                <a:cubicBezTo>
                  <a:pt x="589180" y="2731464"/>
                  <a:pt x="589180" y="2731464"/>
                  <a:pt x="587012" y="2732548"/>
                </a:cubicBezTo>
                <a:cubicBezTo>
                  <a:pt x="587322" y="2731464"/>
                  <a:pt x="587322" y="2731464"/>
                  <a:pt x="586186" y="2731153"/>
                </a:cubicBezTo>
                <a:cubicBezTo>
                  <a:pt x="586186" y="2731153"/>
                  <a:pt x="586186" y="2731153"/>
                  <a:pt x="585463" y="2731464"/>
                </a:cubicBezTo>
                <a:cubicBezTo>
                  <a:pt x="585050" y="2730689"/>
                  <a:pt x="585669" y="2730379"/>
                  <a:pt x="585256" y="2729760"/>
                </a:cubicBezTo>
                <a:cubicBezTo>
                  <a:pt x="585256" y="2729760"/>
                  <a:pt x="585979" y="2729295"/>
                  <a:pt x="585979" y="2729295"/>
                </a:cubicBezTo>
                <a:cubicBezTo>
                  <a:pt x="585773" y="2728985"/>
                  <a:pt x="585773" y="2728985"/>
                  <a:pt x="586083" y="2729140"/>
                </a:cubicBezTo>
                <a:close/>
                <a:moveTo>
                  <a:pt x="1395818" y="2728365"/>
                </a:moveTo>
                <a:cubicBezTo>
                  <a:pt x="1396231" y="2729140"/>
                  <a:pt x="1396231" y="2729140"/>
                  <a:pt x="1395714" y="2730224"/>
                </a:cubicBezTo>
                <a:cubicBezTo>
                  <a:pt x="1396128" y="2730999"/>
                  <a:pt x="1392204" y="2730689"/>
                  <a:pt x="1391378" y="2730999"/>
                </a:cubicBezTo>
                <a:cubicBezTo>
                  <a:pt x="1390965" y="2730224"/>
                  <a:pt x="1391068" y="2730224"/>
                  <a:pt x="1391791" y="2729914"/>
                </a:cubicBezTo>
                <a:lnTo>
                  <a:pt x="1391481" y="2729914"/>
                </a:lnTo>
                <a:lnTo>
                  <a:pt x="1393030" y="2728521"/>
                </a:lnTo>
                <a:cubicBezTo>
                  <a:pt x="1393856" y="2728365"/>
                  <a:pt x="1394889" y="2728365"/>
                  <a:pt x="1395818" y="2728365"/>
                </a:cubicBezTo>
                <a:close/>
                <a:moveTo>
                  <a:pt x="533629" y="2728365"/>
                </a:moveTo>
                <a:cubicBezTo>
                  <a:pt x="535797" y="2727436"/>
                  <a:pt x="540030" y="2728675"/>
                  <a:pt x="541166" y="2730999"/>
                </a:cubicBezTo>
                <a:cubicBezTo>
                  <a:pt x="540856" y="2733787"/>
                  <a:pt x="538895" y="2733632"/>
                  <a:pt x="538895" y="2735491"/>
                </a:cubicBezTo>
                <a:cubicBezTo>
                  <a:pt x="534764" y="2734407"/>
                  <a:pt x="533629" y="2731928"/>
                  <a:pt x="533629" y="2728365"/>
                </a:cubicBezTo>
                <a:close/>
                <a:moveTo>
                  <a:pt x="1099369" y="2728308"/>
                </a:moveTo>
                <a:cubicBezTo>
                  <a:pt x="1100892" y="2729179"/>
                  <a:pt x="1102054" y="2730999"/>
                  <a:pt x="1101951" y="2732238"/>
                </a:cubicBezTo>
                <a:cubicBezTo>
                  <a:pt x="1099266" y="2736575"/>
                  <a:pt x="1094516" y="2732703"/>
                  <a:pt x="1094620" y="2730069"/>
                </a:cubicBezTo>
                <a:cubicBezTo>
                  <a:pt x="1095962" y="2727514"/>
                  <a:pt x="1097846" y="2727436"/>
                  <a:pt x="1099369" y="2728308"/>
                </a:cubicBezTo>
                <a:close/>
                <a:moveTo>
                  <a:pt x="979902" y="2725267"/>
                </a:moveTo>
                <a:lnTo>
                  <a:pt x="981657" y="2727901"/>
                </a:lnTo>
                <a:lnTo>
                  <a:pt x="985787" y="2728365"/>
                </a:lnTo>
                <a:cubicBezTo>
                  <a:pt x="986923" y="2729295"/>
                  <a:pt x="987749" y="2730689"/>
                  <a:pt x="987646" y="2732703"/>
                </a:cubicBezTo>
                <a:cubicBezTo>
                  <a:pt x="984032" y="2734716"/>
                  <a:pt x="980418" y="2737350"/>
                  <a:pt x="977320" y="2736730"/>
                </a:cubicBezTo>
                <a:lnTo>
                  <a:pt x="976495" y="2736110"/>
                </a:lnTo>
                <a:lnTo>
                  <a:pt x="975256" y="2735955"/>
                </a:lnTo>
                <a:cubicBezTo>
                  <a:pt x="971848" y="2735646"/>
                  <a:pt x="966065" y="2734716"/>
                  <a:pt x="964310" y="2733477"/>
                </a:cubicBezTo>
                <a:cubicBezTo>
                  <a:pt x="966375" y="2733942"/>
                  <a:pt x="968957" y="2734097"/>
                  <a:pt x="971435" y="2734252"/>
                </a:cubicBezTo>
                <a:lnTo>
                  <a:pt x="975668" y="2735646"/>
                </a:lnTo>
                <a:lnTo>
                  <a:pt x="974429" y="2734716"/>
                </a:lnTo>
                <a:cubicBezTo>
                  <a:pt x="974326" y="2732858"/>
                  <a:pt x="974739" y="2731309"/>
                  <a:pt x="975565" y="2730069"/>
                </a:cubicBezTo>
                <a:lnTo>
                  <a:pt x="976288" y="2729450"/>
                </a:lnTo>
                <a:lnTo>
                  <a:pt x="976288" y="2729140"/>
                </a:lnTo>
                <a:cubicBezTo>
                  <a:pt x="976288" y="2728830"/>
                  <a:pt x="976288" y="2728675"/>
                  <a:pt x="975875" y="2728830"/>
                </a:cubicBezTo>
                <a:cubicBezTo>
                  <a:pt x="976185" y="2727746"/>
                  <a:pt x="976701" y="2726817"/>
                  <a:pt x="977320" y="2726352"/>
                </a:cubicBezTo>
                <a:cubicBezTo>
                  <a:pt x="978043" y="2725733"/>
                  <a:pt x="978869" y="2725422"/>
                  <a:pt x="979902" y="2725267"/>
                </a:cubicBezTo>
                <a:close/>
                <a:moveTo>
                  <a:pt x="420150" y="2724183"/>
                </a:moveTo>
                <a:cubicBezTo>
                  <a:pt x="422525" y="2723254"/>
                  <a:pt x="424384" y="2723563"/>
                  <a:pt x="427171" y="2725267"/>
                </a:cubicBezTo>
                <a:cubicBezTo>
                  <a:pt x="427171" y="2729140"/>
                  <a:pt x="427584" y="2728056"/>
                  <a:pt x="425623" y="2731618"/>
                </a:cubicBezTo>
                <a:cubicBezTo>
                  <a:pt x="423351" y="2730534"/>
                  <a:pt x="420976" y="2729605"/>
                  <a:pt x="418601" y="2728675"/>
                </a:cubicBezTo>
                <a:cubicBezTo>
                  <a:pt x="419737" y="2727281"/>
                  <a:pt x="419737" y="2725267"/>
                  <a:pt x="420150" y="2724183"/>
                </a:cubicBezTo>
                <a:close/>
                <a:moveTo>
                  <a:pt x="852484" y="2722479"/>
                </a:moveTo>
                <a:cubicBezTo>
                  <a:pt x="855788" y="2722015"/>
                  <a:pt x="857233" y="2722479"/>
                  <a:pt x="857646" y="2723254"/>
                </a:cubicBezTo>
                <a:cubicBezTo>
                  <a:pt x="858989" y="2725578"/>
                  <a:pt x="850728" y="2730689"/>
                  <a:pt x="852484" y="2722479"/>
                </a:cubicBezTo>
                <a:close/>
                <a:moveTo>
                  <a:pt x="870347" y="2720001"/>
                </a:moveTo>
                <a:cubicBezTo>
                  <a:pt x="871276" y="2720156"/>
                  <a:pt x="871999" y="2720776"/>
                  <a:pt x="872722" y="2721705"/>
                </a:cubicBezTo>
                <a:cubicBezTo>
                  <a:pt x="874270" y="2723409"/>
                  <a:pt x="873135" y="2725113"/>
                  <a:pt x="873135" y="2725113"/>
                </a:cubicBezTo>
                <a:cubicBezTo>
                  <a:pt x="871999" y="2726352"/>
                  <a:pt x="870760" y="2726971"/>
                  <a:pt x="869521" y="2727281"/>
                </a:cubicBezTo>
                <a:lnTo>
                  <a:pt x="868798" y="2727126"/>
                </a:lnTo>
                <a:lnTo>
                  <a:pt x="868075" y="2727901"/>
                </a:lnTo>
                <a:lnTo>
                  <a:pt x="867249" y="2726662"/>
                </a:lnTo>
                <a:lnTo>
                  <a:pt x="865907" y="2726352"/>
                </a:lnTo>
                <a:cubicBezTo>
                  <a:pt x="865287" y="2724648"/>
                  <a:pt x="866423" y="2722944"/>
                  <a:pt x="867559" y="2721395"/>
                </a:cubicBezTo>
                <a:cubicBezTo>
                  <a:pt x="868592" y="2720156"/>
                  <a:pt x="869521" y="2719846"/>
                  <a:pt x="870347" y="2720001"/>
                </a:cubicBezTo>
                <a:close/>
                <a:moveTo>
                  <a:pt x="1273149" y="2719072"/>
                </a:moveTo>
                <a:cubicBezTo>
                  <a:pt x="1273975" y="2719072"/>
                  <a:pt x="1274698" y="2719691"/>
                  <a:pt x="1275111" y="2720776"/>
                </a:cubicBezTo>
                <a:cubicBezTo>
                  <a:pt x="1273872" y="2722325"/>
                  <a:pt x="1272839" y="2722944"/>
                  <a:pt x="1270671" y="2724339"/>
                </a:cubicBezTo>
                <a:cubicBezTo>
                  <a:pt x="1270052" y="2723719"/>
                  <a:pt x="1269742" y="2723099"/>
                  <a:pt x="1269639" y="2722479"/>
                </a:cubicBezTo>
                <a:cubicBezTo>
                  <a:pt x="1269432" y="2720621"/>
                  <a:pt x="1271394" y="2718762"/>
                  <a:pt x="1273149" y="2719072"/>
                </a:cubicBezTo>
                <a:close/>
                <a:moveTo>
                  <a:pt x="1145008" y="2718297"/>
                </a:moveTo>
                <a:cubicBezTo>
                  <a:pt x="1144699" y="2720001"/>
                  <a:pt x="1142427" y="2728985"/>
                  <a:pt x="1140362" y="2731464"/>
                </a:cubicBezTo>
                <a:cubicBezTo>
                  <a:pt x="1141807" y="2727281"/>
                  <a:pt x="1141911" y="2721395"/>
                  <a:pt x="1145008" y="2718297"/>
                </a:cubicBezTo>
                <a:close/>
                <a:moveTo>
                  <a:pt x="1246097" y="2718142"/>
                </a:moveTo>
                <a:cubicBezTo>
                  <a:pt x="1247852" y="2720156"/>
                  <a:pt x="1248471" y="2722944"/>
                  <a:pt x="1247852" y="2725887"/>
                </a:cubicBezTo>
                <a:cubicBezTo>
                  <a:pt x="1242999" y="2725113"/>
                  <a:pt x="1240521" y="2722479"/>
                  <a:pt x="1238765" y="2718297"/>
                </a:cubicBezTo>
                <a:cubicBezTo>
                  <a:pt x="1240004" y="2717213"/>
                  <a:pt x="1243618" y="2717832"/>
                  <a:pt x="1246097" y="2718142"/>
                </a:cubicBezTo>
                <a:close/>
                <a:moveTo>
                  <a:pt x="1398193" y="2717832"/>
                </a:moveTo>
                <a:cubicBezTo>
                  <a:pt x="1401291" y="2716439"/>
                  <a:pt x="1403975" y="2716748"/>
                  <a:pt x="1408312" y="2719382"/>
                </a:cubicBezTo>
                <a:cubicBezTo>
                  <a:pt x="1409448" y="2723409"/>
                  <a:pt x="1405111" y="2729605"/>
                  <a:pt x="1399845" y="2726197"/>
                </a:cubicBezTo>
                <a:cubicBezTo>
                  <a:pt x="1399019" y="2725113"/>
                  <a:pt x="1398193" y="2723874"/>
                  <a:pt x="1397780" y="2722479"/>
                </a:cubicBezTo>
                <a:cubicBezTo>
                  <a:pt x="1397470" y="2721240"/>
                  <a:pt x="1397470" y="2719691"/>
                  <a:pt x="1398193" y="2717832"/>
                </a:cubicBezTo>
                <a:close/>
                <a:moveTo>
                  <a:pt x="983722" y="2717523"/>
                </a:moveTo>
                <a:lnTo>
                  <a:pt x="985787" y="2719072"/>
                </a:lnTo>
                <a:lnTo>
                  <a:pt x="985787" y="2718297"/>
                </a:lnTo>
                <a:cubicBezTo>
                  <a:pt x="988472" y="2715664"/>
                  <a:pt x="990227" y="2717213"/>
                  <a:pt x="993635" y="2718762"/>
                </a:cubicBezTo>
                <a:cubicBezTo>
                  <a:pt x="992705" y="2719691"/>
                  <a:pt x="995287" y="2722170"/>
                  <a:pt x="996113" y="2722944"/>
                </a:cubicBezTo>
                <a:cubicBezTo>
                  <a:pt x="994254" y="2724648"/>
                  <a:pt x="996732" y="2727901"/>
                  <a:pt x="993945" y="2730534"/>
                </a:cubicBezTo>
                <a:cubicBezTo>
                  <a:pt x="992189" y="2730689"/>
                  <a:pt x="991363" y="2730689"/>
                  <a:pt x="989711" y="2729914"/>
                </a:cubicBezTo>
                <a:cubicBezTo>
                  <a:pt x="988162" y="2728210"/>
                  <a:pt x="987233" y="2726817"/>
                  <a:pt x="986717" y="2725578"/>
                </a:cubicBezTo>
                <a:lnTo>
                  <a:pt x="985891" y="2722170"/>
                </a:lnTo>
                <a:lnTo>
                  <a:pt x="984239" y="2722325"/>
                </a:lnTo>
                <a:cubicBezTo>
                  <a:pt x="983000" y="2721860"/>
                  <a:pt x="982173" y="2720930"/>
                  <a:pt x="982173" y="2719846"/>
                </a:cubicBezTo>
                <a:cubicBezTo>
                  <a:pt x="982173" y="2719072"/>
                  <a:pt x="982690" y="2718142"/>
                  <a:pt x="983722" y="2717523"/>
                </a:cubicBezTo>
                <a:close/>
                <a:moveTo>
                  <a:pt x="1013873" y="2717058"/>
                </a:moveTo>
                <a:cubicBezTo>
                  <a:pt x="1012634" y="2725422"/>
                  <a:pt x="1013047" y="2733787"/>
                  <a:pt x="1004064" y="2742461"/>
                </a:cubicBezTo>
                <a:cubicBezTo>
                  <a:pt x="1001482" y="2741842"/>
                  <a:pt x="997146" y="2743545"/>
                  <a:pt x="996423" y="2739518"/>
                </a:cubicBezTo>
                <a:cubicBezTo>
                  <a:pt x="1007058" y="2733942"/>
                  <a:pt x="1003444" y="2719227"/>
                  <a:pt x="1013873" y="2717058"/>
                </a:cubicBezTo>
                <a:close/>
                <a:moveTo>
                  <a:pt x="638162" y="2716516"/>
                </a:moveTo>
                <a:cubicBezTo>
                  <a:pt x="641299" y="2716361"/>
                  <a:pt x="644319" y="2717988"/>
                  <a:pt x="645042" y="2720776"/>
                </a:cubicBezTo>
                <a:cubicBezTo>
                  <a:pt x="645455" y="2722634"/>
                  <a:pt x="644938" y="2724958"/>
                  <a:pt x="642770" y="2727591"/>
                </a:cubicBezTo>
                <a:cubicBezTo>
                  <a:pt x="637504" y="2724958"/>
                  <a:pt x="633477" y="2727126"/>
                  <a:pt x="630586" y="2722944"/>
                </a:cubicBezTo>
                <a:cubicBezTo>
                  <a:pt x="631773" y="2718607"/>
                  <a:pt x="635026" y="2716671"/>
                  <a:pt x="638162" y="2716516"/>
                </a:cubicBezTo>
                <a:close/>
                <a:moveTo>
                  <a:pt x="1409654" y="2715974"/>
                </a:moveTo>
                <a:cubicBezTo>
                  <a:pt x="1412959" y="2715044"/>
                  <a:pt x="1415850" y="2715510"/>
                  <a:pt x="1418225" y="2716593"/>
                </a:cubicBezTo>
                <a:lnTo>
                  <a:pt x="1419670" y="2718297"/>
                </a:lnTo>
                <a:lnTo>
                  <a:pt x="1424833" y="2716129"/>
                </a:lnTo>
                <a:cubicBezTo>
                  <a:pt x="1426278" y="2715354"/>
                  <a:pt x="1427517" y="2715044"/>
                  <a:pt x="1429066" y="2716439"/>
                </a:cubicBezTo>
                <a:cubicBezTo>
                  <a:pt x="1428550" y="2718142"/>
                  <a:pt x="1426485" y="2719227"/>
                  <a:pt x="1424317" y="2719691"/>
                </a:cubicBezTo>
                <a:lnTo>
                  <a:pt x="1421219" y="2719846"/>
                </a:lnTo>
                <a:lnTo>
                  <a:pt x="1423181" y="2722015"/>
                </a:lnTo>
                <a:cubicBezTo>
                  <a:pt x="1425039" y="2726507"/>
                  <a:pt x="1423697" y="2732238"/>
                  <a:pt x="1417398" y="2735955"/>
                </a:cubicBezTo>
                <a:cubicBezTo>
                  <a:pt x="1412855" y="2732703"/>
                  <a:pt x="1410273" y="2729450"/>
                  <a:pt x="1409138" y="2726197"/>
                </a:cubicBezTo>
                <a:cubicBezTo>
                  <a:pt x="1408518" y="2724493"/>
                  <a:pt x="1408415" y="2722789"/>
                  <a:pt x="1408518" y="2721086"/>
                </a:cubicBezTo>
                <a:cubicBezTo>
                  <a:pt x="1408622" y="2719382"/>
                  <a:pt x="1409035" y="2717678"/>
                  <a:pt x="1409654" y="2715974"/>
                </a:cubicBezTo>
                <a:close/>
                <a:moveTo>
                  <a:pt x="1250536" y="2715199"/>
                </a:moveTo>
                <a:cubicBezTo>
                  <a:pt x="1255080" y="2712566"/>
                  <a:pt x="1262721" y="2713496"/>
                  <a:pt x="1266851" y="2715664"/>
                </a:cubicBezTo>
                <a:cubicBezTo>
                  <a:pt x="1268709" y="2719382"/>
                  <a:pt x="1268606" y="2722170"/>
                  <a:pt x="1267470" y="2724183"/>
                </a:cubicBezTo>
                <a:cubicBezTo>
                  <a:pt x="1263856" y="2730224"/>
                  <a:pt x="1250020" y="2728210"/>
                  <a:pt x="1247129" y="2719072"/>
                </a:cubicBezTo>
                <a:cubicBezTo>
                  <a:pt x="1247852" y="2717368"/>
                  <a:pt x="1248988" y="2716129"/>
                  <a:pt x="1250536" y="2715199"/>
                </a:cubicBezTo>
                <a:close/>
                <a:moveTo>
                  <a:pt x="451746" y="2715199"/>
                </a:moveTo>
                <a:cubicBezTo>
                  <a:pt x="453295" y="2717058"/>
                  <a:pt x="454224" y="2722479"/>
                  <a:pt x="451230" y="2725887"/>
                </a:cubicBezTo>
                <a:cubicBezTo>
                  <a:pt x="447099" y="2726043"/>
                  <a:pt x="445241" y="2724339"/>
                  <a:pt x="445241" y="2721240"/>
                </a:cubicBezTo>
                <a:cubicBezTo>
                  <a:pt x="445241" y="2720156"/>
                  <a:pt x="445448" y="2719072"/>
                  <a:pt x="445860" y="2717832"/>
                </a:cubicBezTo>
                <a:cubicBezTo>
                  <a:pt x="447719" y="2717213"/>
                  <a:pt x="449165" y="2716129"/>
                  <a:pt x="451746" y="2715199"/>
                </a:cubicBezTo>
                <a:close/>
                <a:moveTo>
                  <a:pt x="669720" y="2712876"/>
                </a:moveTo>
                <a:cubicBezTo>
                  <a:pt x="670546" y="2712566"/>
                  <a:pt x="671579" y="2712721"/>
                  <a:pt x="672818" y="2713031"/>
                </a:cubicBezTo>
                <a:cubicBezTo>
                  <a:pt x="675193" y="2713806"/>
                  <a:pt x="675399" y="2715664"/>
                  <a:pt x="675399" y="2715664"/>
                </a:cubicBezTo>
                <a:lnTo>
                  <a:pt x="674057" y="2718917"/>
                </a:lnTo>
                <a:lnTo>
                  <a:pt x="680768" y="2722479"/>
                </a:lnTo>
                <a:cubicBezTo>
                  <a:pt x="684795" y="2724958"/>
                  <a:pt x="688306" y="2727901"/>
                  <a:pt x="689958" y="2731309"/>
                </a:cubicBezTo>
                <a:cubicBezTo>
                  <a:pt x="683866" y="2735955"/>
                  <a:pt x="675916" y="2728365"/>
                  <a:pt x="671682" y="2721860"/>
                </a:cubicBezTo>
                <a:lnTo>
                  <a:pt x="670753" y="2720001"/>
                </a:lnTo>
                <a:lnTo>
                  <a:pt x="670339" y="2720156"/>
                </a:lnTo>
                <a:cubicBezTo>
                  <a:pt x="668584" y="2719072"/>
                  <a:pt x="668481" y="2717213"/>
                  <a:pt x="668274" y="2715354"/>
                </a:cubicBezTo>
                <a:cubicBezTo>
                  <a:pt x="668378" y="2713960"/>
                  <a:pt x="668894" y="2713031"/>
                  <a:pt x="669720" y="2712876"/>
                </a:cubicBezTo>
                <a:close/>
                <a:moveTo>
                  <a:pt x="1103603" y="2712411"/>
                </a:moveTo>
                <a:cubicBezTo>
                  <a:pt x="1102261" y="2715199"/>
                  <a:pt x="1094206" y="2715664"/>
                  <a:pt x="1090696" y="2715199"/>
                </a:cubicBezTo>
                <a:cubicBezTo>
                  <a:pt x="1091005" y="2714425"/>
                  <a:pt x="1091728" y="2713960"/>
                  <a:pt x="1092761" y="2713496"/>
                </a:cubicBezTo>
                <a:cubicBezTo>
                  <a:pt x="1095755" y="2712256"/>
                  <a:pt x="1101022" y="2711946"/>
                  <a:pt x="1103603" y="2712411"/>
                </a:cubicBezTo>
                <a:close/>
                <a:moveTo>
                  <a:pt x="1074278" y="2712101"/>
                </a:moveTo>
                <a:cubicBezTo>
                  <a:pt x="1074278" y="2712101"/>
                  <a:pt x="1075207" y="2712876"/>
                  <a:pt x="1075207" y="2712876"/>
                </a:cubicBezTo>
                <a:cubicBezTo>
                  <a:pt x="1078511" y="2715199"/>
                  <a:pt x="1080060" y="2720156"/>
                  <a:pt x="1079131" y="2721860"/>
                </a:cubicBezTo>
                <a:cubicBezTo>
                  <a:pt x="1077272" y="2723719"/>
                  <a:pt x="1073762" y="2724648"/>
                  <a:pt x="1071284" y="2722170"/>
                </a:cubicBezTo>
                <a:cubicBezTo>
                  <a:pt x="1068805" y="2720621"/>
                  <a:pt x="1068909" y="2717368"/>
                  <a:pt x="1066431" y="2714889"/>
                </a:cubicBezTo>
                <a:cubicBezTo>
                  <a:pt x="1069115" y="2711482"/>
                  <a:pt x="1070044" y="2710552"/>
                  <a:pt x="1074278" y="2712101"/>
                </a:cubicBezTo>
                <a:close/>
                <a:moveTo>
                  <a:pt x="1350695" y="2711172"/>
                </a:moveTo>
                <a:cubicBezTo>
                  <a:pt x="1352760" y="2713186"/>
                  <a:pt x="1357406" y="2713806"/>
                  <a:pt x="1356374" y="2717832"/>
                </a:cubicBezTo>
                <a:lnTo>
                  <a:pt x="1353793" y="2718452"/>
                </a:lnTo>
                <a:lnTo>
                  <a:pt x="1358232" y="2722325"/>
                </a:lnTo>
                <a:cubicBezTo>
                  <a:pt x="1355961" y="2724493"/>
                  <a:pt x="1354206" y="2724493"/>
                  <a:pt x="1352554" y="2723719"/>
                </a:cubicBezTo>
                <a:lnTo>
                  <a:pt x="1348113" y="2720621"/>
                </a:lnTo>
                <a:lnTo>
                  <a:pt x="1343570" y="2724339"/>
                </a:lnTo>
                <a:cubicBezTo>
                  <a:pt x="1340163" y="2727591"/>
                  <a:pt x="1336962" y="2730379"/>
                  <a:pt x="1331902" y="2728675"/>
                </a:cubicBezTo>
                <a:cubicBezTo>
                  <a:pt x="1336342" y="2721860"/>
                  <a:pt x="1339233" y="2714270"/>
                  <a:pt x="1350695" y="2711172"/>
                </a:cubicBezTo>
                <a:close/>
                <a:moveTo>
                  <a:pt x="1326636" y="2710552"/>
                </a:moveTo>
                <a:cubicBezTo>
                  <a:pt x="1327256" y="2711482"/>
                  <a:pt x="1327875" y="2712411"/>
                  <a:pt x="1328495" y="2713341"/>
                </a:cubicBezTo>
                <a:cubicBezTo>
                  <a:pt x="1326739" y="2717368"/>
                  <a:pt x="1322712" y="2720311"/>
                  <a:pt x="1319305" y="2716439"/>
                </a:cubicBezTo>
                <a:cubicBezTo>
                  <a:pt x="1319925" y="2713960"/>
                  <a:pt x="1324158" y="2710243"/>
                  <a:pt x="1326636" y="2710552"/>
                </a:cubicBezTo>
                <a:close/>
                <a:moveTo>
                  <a:pt x="994048" y="2708849"/>
                </a:moveTo>
                <a:cubicBezTo>
                  <a:pt x="992912" y="2710552"/>
                  <a:pt x="991983" y="2711327"/>
                  <a:pt x="990950" y="2712101"/>
                </a:cubicBezTo>
                <a:cubicBezTo>
                  <a:pt x="989814" y="2713650"/>
                  <a:pt x="988988" y="2713650"/>
                  <a:pt x="987336" y="2711946"/>
                </a:cubicBezTo>
                <a:cubicBezTo>
                  <a:pt x="988472" y="2710397"/>
                  <a:pt x="992396" y="2707919"/>
                  <a:pt x="994048" y="2708849"/>
                </a:cubicBezTo>
                <a:close/>
                <a:moveTo>
                  <a:pt x="996113" y="2706215"/>
                </a:moveTo>
                <a:cubicBezTo>
                  <a:pt x="996010" y="2706990"/>
                  <a:pt x="996836" y="2707145"/>
                  <a:pt x="996836" y="2707145"/>
                </a:cubicBezTo>
                <a:cubicBezTo>
                  <a:pt x="996836" y="2707145"/>
                  <a:pt x="996836" y="2707145"/>
                  <a:pt x="996939" y="2706215"/>
                </a:cubicBezTo>
                <a:cubicBezTo>
                  <a:pt x="997352" y="2706680"/>
                  <a:pt x="997352" y="2707145"/>
                  <a:pt x="997146" y="2707455"/>
                </a:cubicBezTo>
                <a:cubicBezTo>
                  <a:pt x="997042" y="2707765"/>
                  <a:pt x="996732" y="2707919"/>
                  <a:pt x="996732" y="2707919"/>
                </a:cubicBezTo>
                <a:cubicBezTo>
                  <a:pt x="995803" y="2708849"/>
                  <a:pt x="994770" y="2709623"/>
                  <a:pt x="994048" y="2708694"/>
                </a:cubicBezTo>
                <a:cubicBezTo>
                  <a:pt x="994048" y="2708694"/>
                  <a:pt x="994151" y="2707919"/>
                  <a:pt x="996113" y="2706215"/>
                </a:cubicBezTo>
                <a:close/>
                <a:moveTo>
                  <a:pt x="1166796" y="2705441"/>
                </a:moveTo>
                <a:cubicBezTo>
                  <a:pt x="1167725" y="2706215"/>
                  <a:pt x="1169584" y="2708384"/>
                  <a:pt x="1168757" y="2709313"/>
                </a:cubicBezTo>
                <a:cubicBezTo>
                  <a:pt x="1167105" y="2711327"/>
                  <a:pt x="1164627" y="2712411"/>
                  <a:pt x="1163698" y="2711792"/>
                </a:cubicBezTo>
                <a:cubicBezTo>
                  <a:pt x="1162356" y="2710707"/>
                  <a:pt x="1161013" y="2709623"/>
                  <a:pt x="1161426" y="2708074"/>
                </a:cubicBezTo>
                <a:cubicBezTo>
                  <a:pt x="1161530" y="2707455"/>
                  <a:pt x="1161942" y="2706835"/>
                  <a:pt x="1162562" y="2706061"/>
                </a:cubicBezTo>
                <a:cubicBezTo>
                  <a:pt x="1162562" y="2706061"/>
                  <a:pt x="1162459" y="2706215"/>
                  <a:pt x="1163388" y="2706061"/>
                </a:cubicBezTo>
                <a:cubicBezTo>
                  <a:pt x="1165040" y="2705751"/>
                  <a:pt x="1165969" y="2705596"/>
                  <a:pt x="1166796" y="2705441"/>
                </a:cubicBezTo>
                <a:close/>
                <a:moveTo>
                  <a:pt x="1148932" y="2705441"/>
                </a:moveTo>
                <a:cubicBezTo>
                  <a:pt x="1149448" y="2706990"/>
                  <a:pt x="1149759" y="2710397"/>
                  <a:pt x="1147796" y="2711792"/>
                </a:cubicBezTo>
                <a:cubicBezTo>
                  <a:pt x="1147796" y="2711792"/>
                  <a:pt x="1147796" y="2711792"/>
                  <a:pt x="1146867" y="2712566"/>
                </a:cubicBezTo>
                <a:cubicBezTo>
                  <a:pt x="1147280" y="2710243"/>
                  <a:pt x="1147796" y="2706990"/>
                  <a:pt x="1148932" y="2705441"/>
                </a:cubicBezTo>
                <a:close/>
                <a:moveTo>
                  <a:pt x="475702" y="2704667"/>
                </a:moveTo>
                <a:cubicBezTo>
                  <a:pt x="486544" y="2714115"/>
                  <a:pt x="496353" y="2716903"/>
                  <a:pt x="507401" y="2723254"/>
                </a:cubicBezTo>
                <a:cubicBezTo>
                  <a:pt x="507195" y="2726507"/>
                  <a:pt x="505336" y="2729605"/>
                  <a:pt x="499967" y="2733787"/>
                </a:cubicBezTo>
                <a:cubicBezTo>
                  <a:pt x="491190" y="2719536"/>
                  <a:pt x="483136" y="2736575"/>
                  <a:pt x="475598" y="2725887"/>
                </a:cubicBezTo>
                <a:cubicBezTo>
                  <a:pt x="474979" y="2722015"/>
                  <a:pt x="473327" y="2718142"/>
                  <a:pt x="473017" y="2714115"/>
                </a:cubicBezTo>
                <a:cubicBezTo>
                  <a:pt x="472914" y="2712876"/>
                  <a:pt x="472914" y="2711482"/>
                  <a:pt x="473224" y="2710088"/>
                </a:cubicBezTo>
                <a:cubicBezTo>
                  <a:pt x="473533" y="2708229"/>
                  <a:pt x="474256" y="2706525"/>
                  <a:pt x="475702" y="2704667"/>
                </a:cubicBezTo>
                <a:close/>
                <a:moveTo>
                  <a:pt x="610451" y="2704047"/>
                </a:moveTo>
                <a:cubicBezTo>
                  <a:pt x="616543" y="2700019"/>
                  <a:pt x="629140" y="2709778"/>
                  <a:pt x="625423" y="2714735"/>
                </a:cubicBezTo>
                <a:cubicBezTo>
                  <a:pt x="624907" y="2715510"/>
                  <a:pt x="624081" y="2715974"/>
                  <a:pt x="622842" y="2716439"/>
                </a:cubicBezTo>
                <a:cubicBezTo>
                  <a:pt x="615511" y="2715664"/>
                  <a:pt x="610038" y="2713341"/>
                  <a:pt x="609109" y="2706215"/>
                </a:cubicBezTo>
                <a:cubicBezTo>
                  <a:pt x="610348" y="2706370"/>
                  <a:pt x="610451" y="2705131"/>
                  <a:pt x="610451" y="2704047"/>
                </a:cubicBezTo>
                <a:close/>
                <a:moveTo>
                  <a:pt x="985168" y="2703737"/>
                </a:moveTo>
                <a:cubicBezTo>
                  <a:pt x="985891" y="2705596"/>
                  <a:pt x="985787" y="2707299"/>
                  <a:pt x="985168" y="2708539"/>
                </a:cubicBezTo>
                <a:lnTo>
                  <a:pt x="984342" y="2709468"/>
                </a:lnTo>
                <a:lnTo>
                  <a:pt x="983619" y="2710088"/>
                </a:lnTo>
                <a:lnTo>
                  <a:pt x="981864" y="2711637"/>
                </a:lnTo>
                <a:cubicBezTo>
                  <a:pt x="980728" y="2711172"/>
                  <a:pt x="980108" y="2710397"/>
                  <a:pt x="979695" y="2709623"/>
                </a:cubicBezTo>
                <a:cubicBezTo>
                  <a:pt x="979386" y="2708849"/>
                  <a:pt x="979489" y="2707919"/>
                  <a:pt x="979798" y="2707145"/>
                </a:cubicBezTo>
                <a:cubicBezTo>
                  <a:pt x="980521" y="2705596"/>
                  <a:pt x="982380" y="2704202"/>
                  <a:pt x="985168" y="2703737"/>
                </a:cubicBezTo>
                <a:close/>
                <a:moveTo>
                  <a:pt x="1003651" y="2702963"/>
                </a:moveTo>
                <a:cubicBezTo>
                  <a:pt x="1005303" y="2703582"/>
                  <a:pt x="1007058" y="2704202"/>
                  <a:pt x="1008814" y="2704667"/>
                </a:cubicBezTo>
                <a:cubicBezTo>
                  <a:pt x="1007988" y="2704821"/>
                  <a:pt x="1010156" y="2712101"/>
                  <a:pt x="1010156" y="2712101"/>
                </a:cubicBezTo>
                <a:cubicBezTo>
                  <a:pt x="1008503" y="2714115"/>
                  <a:pt x="1008503" y="2714115"/>
                  <a:pt x="1005819" y="2712721"/>
                </a:cubicBezTo>
                <a:cubicBezTo>
                  <a:pt x="1004993" y="2711946"/>
                  <a:pt x="1004064" y="2710243"/>
                  <a:pt x="1003444" y="2708229"/>
                </a:cubicBezTo>
                <a:cubicBezTo>
                  <a:pt x="1003237" y="2707299"/>
                  <a:pt x="1003134" y="2706370"/>
                  <a:pt x="1003134" y="2705441"/>
                </a:cubicBezTo>
                <a:cubicBezTo>
                  <a:pt x="1003134" y="2704511"/>
                  <a:pt x="1003237" y="2703582"/>
                  <a:pt x="1003651" y="2702963"/>
                </a:cubicBezTo>
                <a:close/>
                <a:moveTo>
                  <a:pt x="1392101" y="2702808"/>
                </a:moveTo>
                <a:cubicBezTo>
                  <a:pt x="1394992" y="2702033"/>
                  <a:pt x="1397057" y="2702653"/>
                  <a:pt x="1398296" y="2703737"/>
                </a:cubicBezTo>
                <a:cubicBezTo>
                  <a:pt x="1402116" y="2707299"/>
                  <a:pt x="1399019" y="2716593"/>
                  <a:pt x="1391481" y="2714735"/>
                </a:cubicBezTo>
                <a:cubicBezTo>
                  <a:pt x="1390448" y="2713496"/>
                  <a:pt x="1390242" y="2711017"/>
                  <a:pt x="1390448" y="2708694"/>
                </a:cubicBezTo>
                <a:cubicBezTo>
                  <a:pt x="1390655" y="2706370"/>
                  <a:pt x="1391378" y="2703892"/>
                  <a:pt x="1392101" y="2702808"/>
                </a:cubicBezTo>
                <a:close/>
                <a:moveTo>
                  <a:pt x="979489" y="2701568"/>
                </a:moveTo>
                <a:cubicBezTo>
                  <a:pt x="979902" y="2700949"/>
                  <a:pt x="980625" y="2701414"/>
                  <a:pt x="980211" y="2702033"/>
                </a:cubicBezTo>
                <a:cubicBezTo>
                  <a:pt x="981347" y="2703737"/>
                  <a:pt x="979076" y="2704047"/>
                  <a:pt x="977837" y="2704202"/>
                </a:cubicBezTo>
                <a:cubicBezTo>
                  <a:pt x="979076" y="2702188"/>
                  <a:pt x="978766" y="2701104"/>
                  <a:pt x="979489" y="2701568"/>
                </a:cubicBezTo>
                <a:close/>
                <a:moveTo>
                  <a:pt x="1117439" y="2701104"/>
                </a:moveTo>
                <a:cubicBezTo>
                  <a:pt x="1117749" y="2701259"/>
                  <a:pt x="1117955" y="2701414"/>
                  <a:pt x="1117955" y="2701414"/>
                </a:cubicBezTo>
                <a:cubicBezTo>
                  <a:pt x="1118678" y="2702343"/>
                  <a:pt x="1119401" y="2703118"/>
                  <a:pt x="1118368" y="2703892"/>
                </a:cubicBezTo>
                <a:cubicBezTo>
                  <a:pt x="1118368" y="2703892"/>
                  <a:pt x="1117542" y="2703892"/>
                  <a:pt x="1116097" y="2702033"/>
                </a:cubicBezTo>
                <a:cubicBezTo>
                  <a:pt x="1116923" y="2702188"/>
                  <a:pt x="1117129" y="2701259"/>
                  <a:pt x="1117129" y="2701259"/>
                </a:cubicBezTo>
                <a:cubicBezTo>
                  <a:pt x="1117129" y="2701259"/>
                  <a:pt x="1117026" y="2701259"/>
                  <a:pt x="1116200" y="2701259"/>
                </a:cubicBezTo>
                <a:cubicBezTo>
                  <a:pt x="1116716" y="2700794"/>
                  <a:pt x="1117129" y="2700949"/>
                  <a:pt x="1117439" y="2701104"/>
                </a:cubicBezTo>
                <a:close/>
                <a:moveTo>
                  <a:pt x="632651" y="2700484"/>
                </a:moveTo>
                <a:cubicBezTo>
                  <a:pt x="641015" y="2699710"/>
                  <a:pt x="641841" y="2706370"/>
                  <a:pt x="638020" y="2709313"/>
                </a:cubicBezTo>
                <a:cubicBezTo>
                  <a:pt x="636781" y="2710243"/>
                  <a:pt x="635026" y="2710862"/>
                  <a:pt x="632858" y="2710707"/>
                </a:cubicBezTo>
                <a:cubicBezTo>
                  <a:pt x="631928" y="2709623"/>
                  <a:pt x="631412" y="2707455"/>
                  <a:pt x="631309" y="2705441"/>
                </a:cubicBezTo>
                <a:cubicBezTo>
                  <a:pt x="631309" y="2703427"/>
                  <a:pt x="631619" y="2701259"/>
                  <a:pt x="632651" y="2700484"/>
                </a:cubicBezTo>
                <a:close/>
                <a:moveTo>
                  <a:pt x="4907374" y="2698698"/>
                </a:moveTo>
                <a:lnTo>
                  <a:pt x="4906093" y="2699836"/>
                </a:lnTo>
                <a:lnTo>
                  <a:pt x="4898197" y="2702824"/>
                </a:lnTo>
                <a:lnTo>
                  <a:pt x="4902465" y="2704531"/>
                </a:lnTo>
                <a:cubicBezTo>
                  <a:pt x="4905453" y="2708230"/>
                  <a:pt x="4900757" y="2715486"/>
                  <a:pt x="4901612" y="2721461"/>
                </a:cubicBezTo>
                <a:cubicBezTo>
                  <a:pt x="4904172" y="2723737"/>
                  <a:pt x="4906947" y="2726014"/>
                  <a:pt x="4908227" y="2729428"/>
                </a:cubicBezTo>
                <a:cubicBezTo>
                  <a:pt x="4910788" y="2722599"/>
                  <a:pt x="4904172" y="2711218"/>
                  <a:pt x="4910788" y="2706665"/>
                </a:cubicBezTo>
                <a:cubicBezTo>
                  <a:pt x="4914630" y="2715770"/>
                  <a:pt x="4909508" y="2720323"/>
                  <a:pt x="4918471" y="2732843"/>
                </a:cubicBezTo>
                <a:cubicBezTo>
                  <a:pt x="4910788" y="2739671"/>
                  <a:pt x="4902892" y="2734123"/>
                  <a:pt x="4913349" y="2750057"/>
                </a:cubicBezTo>
                <a:cubicBezTo>
                  <a:pt x="4908227" y="2743228"/>
                  <a:pt x="4900331" y="2745504"/>
                  <a:pt x="4896489" y="2735119"/>
                </a:cubicBezTo>
                <a:cubicBezTo>
                  <a:pt x="4892648" y="2736257"/>
                  <a:pt x="4892648" y="2742090"/>
                  <a:pt x="4893928" y="2747781"/>
                </a:cubicBezTo>
                <a:cubicBezTo>
                  <a:pt x="4895209" y="2751196"/>
                  <a:pt x="4896489" y="2754610"/>
                  <a:pt x="4897770" y="2758024"/>
                </a:cubicBezTo>
                <a:cubicBezTo>
                  <a:pt x="4899050" y="2759162"/>
                  <a:pt x="4899050" y="2761439"/>
                  <a:pt x="4900331" y="2762577"/>
                </a:cubicBezTo>
                <a:cubicBezTo>
                  <a:pt x="4900331" y="2763715"/>
                  <a:pt x="4900331" y="2764854"/>
                  <a:pt x="4901612" y="2764854"/>
                </a:cubicBezTo>
                <a:cubicBezTo>
                  <a:pt x="4901612" y="2765991"/>
                  <a:pt x="4901612" y="2765991"/>
                  <a:pt x="4902892" y="2767129"/>
                </a:cubicBezTo>
                <a:cubicBezTo>
                  <a:pt x="4904172" y="2769690"/>
                  <a:pt x="4905666" y="2772109"/>
                  <a:pt x="4906947" y="2773958"/>
                </a:cubicBezTo>
                <a:lnTo>
                  <a:pt x="4907160" y="2774385"/>
                </a:lnTo>
                <a:lnTo>
                  <a:pt x="4909935" y="2772393"/>
                </a:lnTo>
                <a:lnTo>
                  <a:pt x="4909295" y="2770544"/>
                </a:lnTo>
                <a:lnTo>
                  <a:pt x="4910788" y="2771966"/>
                </a:lnTo>
                <a:lnTo>
                  <a:pt x="4912283" y="2770971"/>
                </a:lnTo>
                <a:cubicBezTo>
                  <a:pt x="4914630" y="2770544"/>
                  <a:pt x="4917191" y="2770971"/>
                  <a:pt x="4919966" y="2772678"/>
                </a:cubicBezTo>
                <a:cubicBezTo>
                  <a:pt x="4921460" y="2775025"/>
                  <a:pt x="4922954" y="2777408"/>
                  <a:pt x="4923594" y="2780200"/>
                </a:cubicBezTo>
                <a:lnTo>
                  <a:pt x="4922768" y="2785712"/>
                </a:lnTo>
                <a:lnTo>
                  <a:pt x="4953000" y="2785712"/>
                </a:lnTo>
                <a:lnTo>
                  <a:pt x="4949097" y="2770277"/>
                </a:lnTo>
                <a:cubicBezTo>
                  <a:pt x="4946536" y="2762577"/>
                  <a:pt x="4943655" y="2755748"/>
                  <a:pt x="4940453" y="2748919"/>
                </a:cubicBezTo>
                <a:cubicBezTo>
                  <a:pt x="4935972" y="2740952"/>
                  <a:pt x="4930637" y="2732843"/>
                  <a:pt x="4924661" y="2724022"/>
                </a:cubicBezTo>
                <a:close/>
                <a:moveTo>
                  <a:pt x="585979" y="2698161"/>
                </a:moveTo>
                <a:cubicBezTo>
                  <a:pt x="591349" y="2696612"/>
                  <a:pt x="601571" y="2712256"/>
                  <a:pt x="583501" y="2706835"/>
                </a:cubicBezTo>
                <a:cubicBezTo>
                  <a:pt x="582882" y="2701104"/>
                  <a:pt x="584224" y="2698625"/>
                  <a:pt x="585979" y="2698161"/>
                </a:cubicBezTo>
                <a:close/>
                <a:moveTo>
                  <a:pt x="1119917" y="2698006"/>
                </a:moveTo>
                <a:cubicBezTo>
                  <a:pt x="1121569" y="2698780"/>
                  <a:pt x="1123222" y="2699555"/>
                  <a:pt x="1124873" y="2700329"/>
                </a:cubicBezTo>
                <a:lnTo>
                  <a:pt x="1124667" y="2701104"/>
                </a:lnTo>
                <a:lnTo>
                  <a:pt x="1124770" y="2701259"/>
                </a:lnTo>
                <a:cubicBezTo>
                  <a:pt x="1125287" y="2701568"/>
                  <a:pt x="1126009" y="2701878"/>
                  <a:pt x="1126939" y="2701723"/>
                </a:cubicBezTo>
                <a:cubicBezTo>
                  <a:pt x="1126629" y="2702808"/>
                  <a:pt x="1126319" y="2704047"/>
                  <a:pt x="1125803" y="2704821"/>
                </a:cubicBezTo>
                <a:lnTo>
                  <a:pt x="1124873" y="2705286"/>
                </a:lnTo>
                <a:lnTo>
                  <a:pt x="1124977" y="2705751"/>
                </a:lnTo>
                <a:lnTo>
                  <a:pt x="1126422" y="2706525"/>
                </a:lnTo>
                <a:lnTo>
                  <a:pt x="1128178" y="2705906"/>
                </a:lnTo>
                <a:lnTo>
                  <a:pt x="1128694" y="2709003"/>
                </a:lnTo>
                <a:lnTo>
                  <a:pt x="1129727" y="2711482"/>
                </a:lnTo>
                <a:cubicBezTo>
                  <a:pt x="1129520" y="2712411"/>
                  <a:pt x="1129004" y="2713341"/>
                  <a:pt x="1128074" y="2714115"/>
                </a:cubicBezTo>
                <a:lnTo>
                  <a:pt x="1127042" y="2714270"/>
                </a:lnTo>
                <a:lnTo>
                  <a:pt x="1121466" y="2720466"/>
                </a:lnTo>
                <a:cubicBezTo>
                  <a:pt x="1127248" y="2722789"/>
                  <a:pt x="1136541" y="2724648"/>
                  <a:pt x="1134993" y="2730844"/>
                </a:cubicBezTo>
                <a:cubicBezTo>
                  <a:pt x="1129107" y="2734097"/>
                  <a:pt x="1123015" y="2727281"/>
                  <a:pt x="1115580" y="2725578"/>
                </a:cubicBezTo>
                <a:cubicBezTo>
                  <a:pt x="1112070" y="2725887"/>
                  <a:pt x="1111347" y="2729914"/>
                  <a:pt x="1105048" y="2726817"/>
                </a:cubicBezTo>
                <a:cubicBezTo>
                  <a:pt x="1107010" y="2722325"/>
                  <a:pt x="1109282" y="2718452"/>
                  <a:pt x="1111966" y="2715510"/>
                </a:cubicBezTo>
                <a:lnTo>
                  <a:pt x="1114961" y="2713031"/>
                </a:lnTo>
                <a:lnTo>
                  <a:pt x="1114858" y="2713031"/>
                </a:lnTo>
                <a:cubicBezTo>
                  <a:pt x="1113722" y="2712101"/>
                  <a:pt x="1112690" y="2710862"/>
                  <a:pt x="1111760" y="2709313"/>
                </a:cubicBezTo>
                <a:cubicBezTo>
                  <a:pt x="1112999" y="2709003"/>
                  <a:pt x="1112586" y="2707765"/>
                  <a:pt x="1112173" y="2706680"/>
                </a:cubicBezTo>
                <a:cubicBezTo>
                  <a:pt x="1113102" y="2705131"/>
                  <a:pt x="1114755" y="2704357"/>
                  <a:pt x="1116716" y="2704047"/>
                </a:cubicBezTo>
                <a:lnTo>
                  <a:pt x="1118472" y="2704202"/>
                </a:lnTo>
                <a:lnTo>
                  <a:pt x="1118472" y="2703892"/>
                </a:lnTo>
                <a:lnTo>
                  <a:pt x="1118781" y="2704202"/>
                </a:lnTo>
                <a:lnTo>
                  <a:pt x="1119504" y="2704357"/>
                </a:lnTo>
                <a:lnTo>
                  <a:pt x="1119195" y="2703427"/>
                </a:lnTo>
                <a:cubicBezTo>
                  <a:pt x="1118885" y="2701414"/>
                  <a:pt x="1118988" y="2699400"/>
                  <a:pt x="1119917" y="2698006"/>
                </a:cubicBezTo>
                <a:close/>
                <a:moveTo>
                  <a:pt x="604049" y="2696921"/>
                </a:moveTo>
                <a:cubicBezTo>
                  <a:pt x="607044" y="2701414"/>
                  <a:pt x="593517" y="2714889"/>
                  <a:pt x="594343" y="2697076"/>
                </a:cubicBezTo>
                <a:cubicBezTo>
                  <a:pt x="600125" y="2695063"/>
                  <a:pt x="603017" y="2695528"/>
                  <a:pt x="604049" y="2696921"/>
                </a:cubicBezTo>
                <a:close/>
                <a:moveTo>
                  <a:pt x="749640" y="2696302"/>
                </a:moveTo>
                <a:cubicBezTo>
                  <a:pt x="749640" y="2697232"/>
                  <a:pt x="749640" y="2697232"/>
                  <a:pt x="749640" y="2697232"/>
                </a:cubicBezTo>
                <a:cubicBezTo>
                  <a:pt x="750570" y="2698161"/>
                  <a:pt x="750570" y="2697232"/>
                  <a:pt x="751396" y="2697386"/>
                </a:cubicBezTo>
                <a:cubicBezTo>
                  <a:pt x="751396" y="2697386"/>
                  <a:pt x="750467" y="2697232"/>
                  <a:pt x="751396" y="2696612"/>
                </a:cubicBezTo>
                <a:cubicBezTo>
                  <a:pt x="751396" y="2697386"/>
                  <a:pt x="752222" y="2697386"/>
                  <a:pt x="753151" y="2697541"/>
                </a:cubicBezTo>
                <a:lnTo>
                  <a:pt x="755320" y="2700484"/>
                </a:lnTo>
                <a:lnTo>
                  <a:pt x="757075" y="2699555"/>
                </a:lnTo>
                <a:cubicBezTo>
                  <a:pt x="757385" y="2701259"/>
                  <a:pt x="758624" y="2701414"/>
                  <a:pt x="757591" y="2704202"/>
                </a:cubicBezTo>
                <a:lnTo>
                  <a:pt x="754700" y="2704047"/>
                </a:lnTo>
                <a:lnTo>
                  <a:pt x="753151" y="2704357"/>
                </a:lnTo>
                <a:cubicBezTo>
                  <a:pt x="752325" y="2704202"/>
                  <a:pt x="751706" y="2703737"/>
                  <a:pt x="751292" y="2703273"/>
                </a:cubicBezTo>
                <a:cubicBezTo>
                  <a:pt x="749950" y="2702808"/>
                  <a:pt x="749331" y="2701568"/>
                  <a:pt x="749124" y="2700329"/>
                </a:cubicBezTo>
                <a:cubicBezTo>
                  <a:pt x="748918" y="2698935"/>
                  <a:pt x="749228" y="2697541"/>
                  <a:pt x="749640" y="2696302"/>
                </a:cubicBezTo>
                <a:close/>
                <a:moveTo>
                  <a:pt x="900085" y="2696147"/>
                </a:moveTo>
                <a:cubicBezTo>
                  <a:pt x="902872" y="2693514"/>
                  <a:pt x="904525" y="2694288"/>
                  <a:pt x="907003" y="2696612"/>
                </a:cubicBezTo>
                <a:cubicBezTo>
                  <a:pt x="903389" y="2701104"/>
                  <a:pt x="902563" y="2699400"/>
                  <a:pt x="900085" y="2696147"/>
                </a:cubicBezTo>
                <a:close/>
                <a:moveTo>
                  <a:pt x="1130553" y="2695373"/>
                </a:moveTo>
                <a:cubicBezTo>
                  <a:pt x="1137781" y="2691500"/>
                  <a:pt x="1141085" y="2697541"/>
                  <a:pt x="1138813" y="2701723"/>
                </a:cubicBezTo>
                <a:cubicBezTo>
                  <a:pt x="1138091" y="2703118"/>
                  <a:pt x="1136748" y="2704357"/>
                  <a:pt x="1134683" y="2704977"/>
                </a:cubicBezTo>
                <a:cubicBezTo>
                  <a:pt x="1132928" y="2704047"/>
                  <a:pt x="1130862" y="2700329"/>
                  <a:pt x="1130346" y="2697541"/>
                </a:cubicBezTo>
                <a:cubicBezTo>
                  <a:pt x="1130243" y="2696612"/>
                  <a:pt x="1130346" y="2695837"/>
                  <a:pt x="1130553" y="2695373"/>
                </a:cubicBezTo>
                <a:close/>
                <a:moveTo>
                  <a:pt x="1108869" y="2695218"/>
                </a:moveTo>
                <a:cubicBezTo>
                  <a:pt x="1111760" y="2700794"/>
                  <a:pt x="1104738" y="2711637"/>
                  <a:pt x="1101125" y="2712256"/>
                </a:cubicBezTo>
                <a:cubicBezTo>
                  <a:pt x="1100195" y="2708849"/>
                  <a:pt x="1102777" y="2706525"/>
                  <a:pt x="1102157" y="2702343"/>
                </a:cubicBezTo>
                <a:cubicBezTo>
                  <a:pt x="1105048" y="2701259"/>
                  <a:pt x="1104842" y="2696457"/>
                  <a:pt x="1108869" y="2695218"/>
                </a:cubicBezTo>
                <a:close/>
                <a:moveTo>
                  <a:pt x="1425349" y="2693824"/>
                </a:moveTo>
                <a:cubicBezTo>
                  <a:pt x="1426898" y="2692585"/>
                  <a:pt x="1429893" y="2693204"/>
                  <a:pt x="1434952" y="2698161"/>
                </a:cubicBezTo>
                <a:cubicBezTo>
                  <a:pt x="1432267" y="2703118"/>
                  <a:pt x="1429893" y="2704357"/>
                  <a:pt x="1427930" y="2703892"/>
                </a:cubicBezTo>
                <a:cubicBezTo>
                  <a:pt x="1425246" y="2703273"/>
                  <a:pt x="1423697" y="2699090"/>
                  <a:pt x="1424110" y="2696147"/>
                </a:cubicBezTo>
                <a:cubicBezTo>
                  <a:pt x="1424317" y="2695063"/>
                  <a:pt x="1424627" y="2694288"/>
                  <a:pt x="1425349" y="2693824"/>
                </a:cubicBezTo>
                <a:close/>
                <a:moveTo>
                  <a:pt x="4731942" y="2693719"/>
                </a:moveTo>
                <a:cubicBezTo>
                  <a:pt x="4729595" y="2694430"/>
                  <a:pt x="4728101" y="2696991"/>
                  <a:pt x="4727461" y="2702112"/>
                </a:cubicBezTo>
                <a:cubicBezTo>
                  <a:pt x="4727461" y="2706665"/>
                  <a:pt x="4736424" y="2711218"/>
                  <a:pt x="4735144" y="2708941"/>
                </a:cubicBezTo>
                <a:cubicBezTo>
                  <a:pt x="4735144" y="2710080"/>
                  <a:pt x="4736424" y="2712356"/>
                  <a:pt x="4737705" y="2714632"/>
                </a:cubicBezTo>
                <a:cubicBezTo>
                  <a:pt x="4737705" y="2715770"/>
                  <a:pt x="4738985" y="2716908"/>
                  <a:pt x="4738985" y="2718189"/>
                </a:cubicBezTo>
                <a:cubicBezTo>
                  <a:pt x="4738985" y="2718189"/>
                  <a:pt x="4738985" y="2718189"/>
                  <a:pt x="4740266" y="2718189"/>
                </a:cubicBezTo>
                <a:cubicBezTo>
                  <a:pt x="4740266" y="2718189"/>
                  <a:pt x="4740266" y="2718189"/>
                  <a:pt x="4745388" y="2726156"/>
                </a:cubicBezTo>
                <a:cubicBezTo>
                  <a:pt x="4745388" y="2726156"/>
                  <a:pt x="4745388" y="2726014"/>
                  <a:pt x="4745388" y="2727152"/>
                </a:cubicBezTo>
                <a:cubicBezTo>
                  <a:pt x="4745388" y="2727152"/>
                  <a:pt x="4745601" y="2727152"/>
                  <a:pt x="4744108" y="2727152"/>
                </a:cubicBezTo>
                <a:cubicBezTo>
                  <a:pt x="4744108" y="2727152"/>
                  <a:pt x="4744108" y="2727152"/>
                  <a:pt x="4744108" y="2728290"/>
                </a:cubicBezTo>
                <a:cubicBezTo>
                  <a:pt x="4745601" y="2731704"/>
                  <a:pt x="4746668" y="2734123"/>
                  <a:pt x="4747949" y="2736399"/>
                </a:cubicBezTo>
                <a:cubicBezTo>
                  <a:pt x="4752004" y="2742090"/>
                  <a:pt x="4757126" y="2746642"/>
                  <a:pt x="4766090" y="2748919"/>
                </a:cubicBezTo>
                <a:cubicBezTo>
                  <a:pt x="4766090" y="2748919"/>
                  <a:pt x="4766090" y="2748919"/>
                  <a:pt x="4766090" y="2750057"/>
                </a:cubicBezTo>
                <a:cubicBezTo>
                  <a:pt x="4766090" y="2750057"/>
                  <a:pt x="4766090" y="2750057"/>
                  <a:pt x="4767370" y="2751196"/>
                </a:cubicBezTo>
                <a:cubicBezTo>
                  <a:pt x="4767370" y="2751196"/>
                  <a:pt x="4767370" y="2751196"/>
                  <a:pt x="4767370" y="2752333"/>
                </a:cubicBezTo>
                <a:cubicBezTo>
                  <a:pt x="4767370" y="2752333"/>
                  <a:pt x="4767370" y="2752333"/>
                  <a:pt x="4769931" y="2758024"/>
                </a:cubicBezTo>
                <a:cubicBezTo>
                  <a:pt x="4771212" y="2761439"/>
                  <a:pt x="4773773" y="2765991"/>
                  <a:pt x="4775053" y="2769406"/>
                </a:cubicBezTo>
                <a:lnTo>
                  <a:pt x="4782888" y="2785712"/>
                </a:lnTo>
                <a:lnTo>
                  <a:pt x="4805454" y="2785712"/>
                </a:lnTo>
                <a:lnTo>
                  <a:pt x="4804835" y="2798102"/>
                </a:lnTo>
                <a:cubicBezTo>
                  <a:pt x="4804835" y="2803059"/>
                  <a:pt x="4804680" y="2808841"/>
                  <a:pt x="4805609" y="2813797"/>
                </a:cubicBezTo>
                <a:cubicBezTo>
                  <a:pt x="4804215" y="2814520"/>
                  <a:pt x="4802976" y="2815346"/>
                  <a:pt x="4802046" y="2816172"/>
                </a:cubicBezTo>
                <a:lnTo>
                  <a:pt x="4800188" y="2818857"/>
                </a:lnTo>
                <a:lnTo>
                  <a:pt x="4800268" y="2819476"/>
                </a:lnTo>
                <a:lnTo>
                  <a:pt x="4804932" y="2828731"/>
                </a:lnTo>
                <a:cubicBezTo>
                  <a:pt x="4807493" y="2834423"/>
                  <a:pt x="4810054" y="2840114"/>
                  <a:pt x="4812615" y="2846942"/>
                </a:cubicBezTo>
                <a:lnTo>
                  <a:pt x="4814996" y="2853714"/>
                </a:lnTo>
                <a:lnTo>
                  <a:pt x="4831162" y="2859358"/>
                </a:lnTo>
                <a:lnTo>
                  <a:pt x="4824507" y="2838579"/>
                </a:lnTo>
                <a:lnTo>
                  <a:pt x="4822920" y="2832534"/>
                </a:lnTo>
                <a:lnTo>
                  <a:pt x="4812189" y="2829763"/>
                </a:lnTo>
                <a:cubicBezTo>
                  <a:pt x="4809628" y="2826918"/>
                  <a:pt x="4807920" y="2822543"/>
                  <a:pt x="4806426" y="2817777"/>
                </a:cubicBezTo>
                <a:cubicBezTo>
                  <a:pt x="4809841" y="2815643"/>
                  <a:pt x="4811761" y="2812513"/>
                  <a:pt x="4814963" y="2810237"/>
                </a:cubicBezTo>
                <a:lnTo>
                  <a:pt x="4817470" y="2811775"/>
                </a:lnTo>
                <a:lnTo>
                  <a:pt x="4816917" y="2809667"/>
                </a:lnTo>
                <a:lnTo>
                  <a:pt x="4813974" y="2785712"/>
                </a:lnTo>
                <a:lnTo>
                  <a:pt x="4832455" y="2785712"/>
                </a:lnTo>
                <a:lnTo>
                  <a:pt x="4829475" y="2783064"/>
                </a:lnTo>
                <a:cubicBezTo>
                  <a:pt x="4824140" y="2775096"/>
                  <a:pt x="4830756" y="2771682"/>
                  <a:pt x="4828195" y="2764854"/>
                </a:cubicBezTo>
                <a:lnTo>
                  <a:pt x="4817737" y="2751764"/>
                </a:lnTo>
                <a:lnTo>
                  <a:pt x="4813896" y="2753045"/>
                </a:lnTo>
                <a:cubicBezTo>
                  <a:pt x="4798956" y="2751196"/>
                  <a:pt x="4779322" y="2733554"/>
                  <a:pt x="4774626" y="2725017"/>
                </a:cubicBezTo>
                <a:cubicBezTo>
                  <a:pt x="4782523" y="2727009"/>
                  <a:pt x="4792980" y="2729855"/>
                  <a:pt x="4802798" y="2733696"/>
                </a:cubicBezTo>
                <a:lnTo>
                  <a:pt x="4804932" y="2734692"/>
                </a:lnTo>
                <a:lnTo>
                  <a:pt x="4804932" y="2733981"/>
                </a:lnTo>
                <a:cubicBezTo>
                  <a:pt x="4803651" y="2733981"/>
                  <a:pt x="4803651" y="2732843"/>
                  <a:pt x="4803651" y="2732843"/>
                </a:cubicBezTo>
                <a:cubicBezTo>
                  <a:pt x="4803651" y="2732843"/>
                  <a:pt x="4803651" y="2732985"/>
                  <a:pt x="4802158" y="2730709"/>
                </a:cubicBezTo>
                <a:cubicBezTo>
                  <a:pt x="4797035" y="2726156"/>
                  <a:pt x="4790633" y="2719185"/>
                  <a:pt x="4784231" y="2713494"/>
                </a:cubicBezTo>
                <a:cubicBezTo>
                  <a:pt x="4777828" y="2715770"/>
                  <a:pt x="4757126" y="2715770"/>
                  <a:pt x="4762248" y="2722599"/>
                </a:cubicBezTo>
                <a:cubicBezTo>
                  <a:pt x="4760967" y="2721461"/>
                  <a:pt x="4760967" y="2720465"/>
                  <a:pt x="4759687" y="2719327"/>
                </a:cubicBezTo>
                <a:cubicBezTo>
                  <a:pt x="4759687" y="2719327"/>
                  <a:pt x="4759687" y="2719185"/>
                  <a:pt x="4754565" y="2710080"/>
                </a:cubicBezTo>
                <a:cubicBezTo>
                  <a:pt x="4754565" y="2710080"/>
                  <a:pt x="4754565" y="2710080"/>
                  <a:pt x="4754565" y="2708941"/>
                </a:cubicBezTo>
                <a:cubicBezTo>
                  <a:pt x="4754565" y="2708941"/>
                  <a:pt x="4754565" y="2708941"/>
                  <a:pt x="4753284" y="2707803"/>
                </a:cubicBezTo>
                <a:cubicBezTo>
                  <a:pt x="4752004" y="2707803"/>
                  <a:pt x="4752004" y="2706665"/>
                  <a:pt x="4750510" y="2705527"/>
                </a:cubicBezTo>
                <a:cubicBezTo>
                  <a:pt x="4746668" y="2702112"/>
                  <a:pt x="4744108" y="2698698"/>
                  <a:pt x="4740266" y="2696422"/>
                </a:cubicBezTo>
                <a:cubicBezTo>
                  <a:pt x="4737065" y="2694146"/>
                  <a:pt x="4734290" y="2693008"/>
                  <a:pt x="4731942" y="2693719"/>
                </a:cubicBezTo>
                <a:close/>
                <a:moveTo>
                  <a:pt x="771324" y="2693514"/>
                </a:moveTo>
                <a:cubicBezTo>
                  <a:pt x="773080" y="2695373"/>
                  <a:pt x="777417" y="2692430"/>
                  <a:pt x="779998" y="2695218"/>
                </a:cubicBezTo>
                <a:cubicBezTo>
                  <a:pt x="786400" y="2700949"/>
                  <a:pt x="787019" y="2703737"/>
                  <a:pt x="785780" y="2707145"/>
                </a:cubicBezTo>
                <a:lnTo>
                  <a:pt x="785677" y="2707455"/>
                </a:lnTo>
                <a:lnTo>
                  <a:pt x="785677" y="2712256"/>
                </a:lnTo>
                <a:lnTo>
                  <a:pt x="784025" y="2713031"/>
                </a:lnTo>
                <a:cubicBezTo>
                  <a:pt x="784954" y="2713960"/>
                  <a:pt x="785780" y="2714889"/>
                  <a:pt x="784851" y="2715974"/>
                </a:cubicBezTo>
                <a:cubicBezTo>
                  <a:pt x="783198" y="2717832"/>
                  <a:pt x="780824" y="2718142"/>
                  <a:pt x="778449" y="2717832"/>
                </a:cubicBezTo>
                <a:cubicBezTo>
                  <a:pt x="782063" y="2719072"/>
                  <a:pt x="784541" y="2721860"/>
                  <a:pt x="783302" y="2728210"/>
                </a:cubicBezTo>
                <a:cubicBezTo>
                  <a:pt x="783508" y="2730069"/>
                  <a:pt x="783095" y="2729295"/>
                  <a:pt x="782786" y="2730534"/>
                </a:cubicBezTo>
                <a:lnTo>
                  <a:pt x="782683" y="2731773"/>
                </a:lnTo>
                <a:lnTo>
                  <a:pt x="785573" y="2723409"/>
                </a:lnTo>
                <a:cubicBezTo>
                  <a:pt x="787019" y="2720930"/>
                  <a:pt x="788981" y="2718917"/>
                  <a:pt x="791975" y="2717523"/>
                </a:cubicBezTo>
                <a:cubicBezTo>
                  <a:pt x="797551" y="2718762"/>
                  <a:pt x="801165" y="2718142"/>
                  <a:pt x="804160" y="2717058"/>
                </a:cubicBezTo>
                <a:lnTo>
                  <a:pt x="804366" y="2717058"/>
                </a:lnTo>
                <a:lnTo>
                  <a:pt x="802198" y="2714889"/>
                </a:lnTo>
                <a:lnTo>
                  <a:pt x="796726" y="2713960"/>
                </a:lnTo>
                <a:cubicBezTo>
                  <a:pt x="794350" y="2713960"/>
                  <a:pt x="792802" y="2714270"/>
                  <a:pt x="792802" y="2714270"/>
                </a:cubicBezTo>
                <a:cubicBezTo>
                  <a:pt x="791150" y="2713186"/>
                  <a:pt x="791150" y="2712411"/>
                  <a:pt x="791150" y="2713186"/>
                </a:cubicBezTo>
                <a:cubicBezTo>
                  <a:pt x="789497" y="2711482"/>
                  <a:pt x="786916" y="2709468"/>
                  <a:pt x="787742" y="2707919"/>
                </a:cubicBezTo>
                <a:cubicBezTo>
                  <a:pt x="788878" y="2706835"/>
                  <a:pt x="790220" y="2706370"/>
                  <a:pt x="791769" y="2706525"/>
                </a:cubicBezTo>
                <a:lnTo>
                  <a:pt x="794970" y="2707455"/>
                </a:lnTo>
                <a:lnTo>
                  <a:pt x="794454" y="2706835"/>
                </a:lnTo>
                <a:cubicBezTo>
                  <a:pt x="793111" y="2704667"/>
                  <a:pt x="792182" y="2702033"/>
                  <a:pt x="792079" y="2698780"/>
                </a:cubicBezTo>
                <a:cubicBezTo>
                  <a:pt x="796726" y="2698161"/>
                  <a:pt x="803127" y="2702498"/>
                  <a:pt x="807257" y="2708074"/>
                </a:cubicBezTo>
                <a:lnTo>
                  <a:pt x="810355" y="2714889"/>
                </a:lnTo>
                <a:lnTo>
                  <a:pt x="813143" y="2713960"/>
                </a:lnTo>
                <a:cubicBezTo>
                  <a:pt x="816860" y="2715354"/>
                  <a:pt x="820681" y="2717058"/>
                  <a:pt x="824501" y="2719072"/>
                </a:cubicBezTo>
                <a:lnTo>
                  <a:pt x="827805" y="2721395"/>
                </a:lnTo>
                <a:lnTo>
                  <a:pt x="830800" y="2722789"/>
                </a:lnTo>
                <a:lnTo>
                  <a:pt x="831110" y="2722944"/>
                </a:lnTo>
                <a:lnTo>
                  <a:pt x="833175" y="2723254"/>
                </a:lnTo>
                <a:lnTo>
                  <a:pt x="831935" y="2722170"/>
                </a:lnTo>
                <a:cubicBezTo>
                  <a:pt x="830903" y="2720776"/>
                  <a:pt x="830180" y="2719072"/>
                  <a:pt x="830284" y="2715974"/>
                </a:cubicBezTo>
                <a:cubicBezTo>
                  <a:pt x="831213" y="2709623"/>
                  <a:pt x="838028" y="2711017"/>
                  <a:pt x="837511" y="2710243"/>
                </a:cubicBezTo>
                <a:cubicBezTo>
                  <a:pt x="837822" y="2709158"/>
                  <a:pt x="837822" y="2709158"/>
                  <a:pt x="837305" y="2708384"/>
                </a:cubicBezTo>
                <a:cubicBezTo>
                  <a:pt x="838131" y="2708074"/>
                  <a:pt x="839164" y="2706525"/>
                  <a:pt x="839370" y="2705441"/>
                </a:cubicBezTo>
                <a:cubicBezTo>
                  <a:pt x="839886" y="2706215"/>
                  <a:pt x="840299" y="2706990"/>
                  <a:pt x="841125" y="2706525"/>
                </a:cubicBezTo>
                <a:cubicBezTo>
                  <a:pt x="840506" y="2708849"/>
                  <a:pt x="839783" y="2709158"/>
                  <a:pt x="839473" y="2710243"/>
                </a:cubicBezTo>
                <a:cubicBezTo>
                  <a:pt x="840196" y="2709933"/>
                  <a:pt x="839886" y="2711017"/>
                  <a:pt x="839886" y="2711017"/>
                </a:cubicBezTo>
                <a:cubicBezTo>
                  <a:pt x="839886" y="2711017"/>
                  <a:pt x="839886" y="2711017"/>
                  <a:pt x="842261" y="2711792"/>
                </a:cubicBezTo>
                <a:cubicBezTo>
                  <a:pt x="842261" y="2711792"/>
                  <a:pt x="847630" y="2713960"/>
                  <a:pt x="846908" y="2719072"/>
                </a:cubicBezTo>
                <a:cubicBezTo>
                  <a:pt x="846082" y="2718917"/>
                  <a:pt x="844843" y="2722634"/>
                  <a:pt x="842674" y="2724493"/>
                </a:cubicBezTo>
                <a:lnTo>
                  <a:pt x="840299" y="2725578"/>
                </a:lnTo>
                <a:lnTo>
                  <a:pt x="844120" y="2728210"/>
                </a:lnTo>
                <a:cubicBezTo>
                  <a:pt x="845772" y="2730844"/>
                  <a:pt x="846391" y="2733322"/>
                  <a:pt x="846185" y="2735491"/>
                </a:cubicBezTo>
                <a:lnTo>
                  <a:pt x="844946" y="2737814"/>
                </a:lnTo>
                <a:lnTo>
                  <a:pt x="848973" y="2747573"/>
                </a:lnTo>
                <a:lnTo>
                  <a:pt x="848973" y="2747882"/>
                </a:lnTo>
                <a:lnTo>
                  <a:pt x="850005" y="2749122"/>
                </a:lnTo>
                <a:lnTo>
                  <a:pt x="851761" y="2748657"/>
                </a:lnTo>
                <a:cubicBezTo>
                  <a:pt x="854342" y="2746024"/>
                  <a:pt x="853000" y="2742306"/>
                  <a:pt x="859712" y="2741067"/>
                </a:cubicBezTo>
                <a:lnTo>
                  <a:pt x="859815" y="2746488"/>
                </a:lnTo>
                <a:lnTo>
                  <a:pt x="860951" y="2745869"/>
                </a:lnTo>
                <a:cubicBezTo>
                  <a:pt x="863635" y="2745094"/>
                  <a:pt x="866423" y="2744785"/>
                  <a:pt x="869314" y="2744475"/>
                </a:cubicBezTo>
                <a:lnTo>
                  <a:pt x="874167" y="2744475"/>
                </a:lnTo>
                <a:lnTo>
                  <a:pt x="872722" y="2742771"/>
                </a:lnTo>
                <a:cubicBezTo>
                  <a:pt x="870554" y="2739054"/>
                  <a:pt x="871792" y="2736420"/>
                  <a:pt x="871069" y="2735800"/>
                </a:cubicBezTo>
                <a:cubicBezTo>
                  <a:pt x="873548" y="2733012"/>
                  <a:pt x="875406" y="2734407"/>
                  <a:pt x="879124" y="2735646"/>
                </a:cubicBezTo>
                <a:cubicBezTo>
                  <a:pt x="878297" y="2736575"/>
                  <a:pt x="881086" y="2738744"/>
                  <a:pt x="882015" y="2739363"/>
                </a:cubicBezTo>
                <a:cubicBezTo>
                  <a:pt x="881189" y="2740293"/>
                  <a:pt x="881396" y="2741532"/>
                  <a:pt x="881602" y="2742926"/>
                </a:cubicBezTo>
                <a:lnTo>
                  <a:pt x="881705" y="2744630"/>
                </a:lnTo>
                <a:lnTo>
                  <a:pt x="890069" y="2744940"/>
                </a:lnTo>
                <a:lnTo>
                  <a:pt x="888107" y="2743081"/>
                </a:lnTo>
                <a:cubicBezTo>
                  <a:pt x="890069" y="2739983"/>
                  <a:pt x="892340" y="2738279"/>
                  <a:pt x="894612" y="2737969"/>
                </a:cubicBezTo>
                <a:cubicBezTo>
                  <a:pt x="896987" y="2737504"/>
                  <a:pt x="899362" y="2738744"/>
                  <a:pt x="901633" y="2741377"/>
                </a:cubicBezTo>
                <a:cubicBezTo>
                  <a:pt x="898123" y="2744320"/>
                  <a:pt x="899465" y="2747882"/>
                  <a:pt x="895851" y="2750671"/>
                </a:cubicBezTo>
                <a:lnTo>
                  <a:pt x="895232" y="2750051"/>
                </a:lnTo>
                <a:lnTo>
                  <a:pt x="893889" y="2754388"/>
                </a:lnTo>
                <a:cubicBezTo>
                  <a:pt x="886248" y="2753149"/>
                  <a:pt x="878607" y="2752839"/>
                  <a:pt x="871380" y="2752529"/>
                </a:cubicBezTo>
                <a:lnTo>
                  <a:pt x="859918" y="2751445"/>
                </a:lnTo>
                <a:lnTo>
                  <a:pt x="860021" y="2754698"/>
                </a:lnTo>
                <a:cubicBezTo>
                  <a:pt x="859402" y="2758880"/>
                  <a:pt x="858163" y="2762753"/>
                  <a:pt x="856201" y="2766160"/>
                </a:cubicBezTo>
                <a:lnTo>
                  <a:pt x="854135" y="2769103"/>
                </a:lnTo>
                <a:lnTo>
                  <a:pt x="854549" y="2770807"/>
                </a:lnTo>
                <a:lnTo>
                  <a:pt x="854342" y="2771891"/>
                </a:lnTo>
                <a:lnTo>
                  <a:pt x="854652" y="2772356"/>
                </a:lnTo>
                <a:cubicBezTo>
                  <a:pt x="854962" y="2772821"/>
                  <a:pt x="855168" y="2773286"/>
                  <a:pt x="855168" y="2773286"/>
                </a:cubicBezTo>
                <a:cubicBezTo>
                  <a:pt x="854342" y="2774060"/>
                  <a:pt x="854342" y="2774060"/>
                  <a:pt x="854342" y="2773131"/>
                </a:cubicBezTo>
                <a:lnTo>
                  <a:pt x="854239" y="2773131"/>
                </a:lnTo>
                <a:lnTo>
                  <a:pt x="854032" y="2775764"/>
                </a:lnTo>
                <a:cubicBezTo>
                  <a:pt x="851864" y="2775299"/>
                  <a:pt x="849696" y="2774370"/>
                  <a:pt x="847734" y="2773131"/>
                </a:cubicBezTo>
                <a:lnTo>
                  <a:pt x="842261" y="2769568"/>
                </a:lnTo>
                <a:lnTo>
                  <a:pt x="846598" y="2769103"/>
                </a:lnTo>
                <a:cubicBezTo>
                  <a:pt x="846598" y="2768329"/>
                  <a:pt x="845772" y="2767400"/>
                  <a:pt x="845772" y="2767400"/>
                </a:cubicBezTo>
                <a:lnTo>
                  <a:pt x="848353" y="2766780"/>
                </a:lnTo>
                <a:lnTo>
                  <a:pt x="848147" y="2765386"/>
                </a:lnTo>
                <a:lnTo>
                  <a:pt x="848973" y="2759965"/>
                </a:lnTo>
                <a:lnTo>
                  <a:pt x="847527" y="2759965"/>
                </a:lnTo>
                <a:lnTo>
                  <a:pt x="845978" y="2763837"/>
                </a:lnTo>
                <a:lnTo>
                  <a:pt x="842261" y="2769568"/>
                </a:lnTo>
                <a:lnTo>
                  <a:pt x="841642" y="2770807"/>
                </a:lnTo>
                <a:cubicBezTo>
                  <a:pt x="840093" y="2773131"/>
                  <a:pt x="838544" y="2775764"/>
                  <a:pt x="837305" y="2778707"/>
                </a:cubicBezTo>
                <a:cubicBezTo>
                  <a:pt x="826257" y="2776229"/>
                  <a:pt x="823675" y="2781805"/>
                  <a:pt x="818616" y="2784748"/>
                </a:cubicBezTo>
                <a:cubicBezTo>
                  <a:pt x="815208" y="2782424"/>
                  <a:pt x="810975" y="2781030"/>
                  <a:pt x="806534" y="2779791"/>
                </a:cubicBezTo>
                <a:lnTo>
                  <a:pt x="800339" y="2778087"/>
                </a:lnTo>
                <a:lnTo>
                  <a:pt x="800546" y="2778552"/>
                </a:lnTo>
                <a:cubicBezTo>
                  <a:pt x="800649" y="2780256"/>
                  <a:pt x="796932" y="2785212"/>
                  <a:pt x="795796" y="2784748"/>
                </a:cubicBezTo>
                <a:cubicBezTo>
                  <a:pt x="795796" y="2783664"/>
                  <a:pt x="795899" y="2782115"/>
                  <a:pt x="796106" y="2780721"/>
                </a:cubicBezTo>
                <a:lnTo>
                  <a:pt x="797241" y="2777313"/>
                </a:lnTo>
                <a:lnTo>
                  <a:pt x="792905" y="2776074"/>
                </a:lnTo>
                <a:cubicBezTo>
                  <a:pt x="790633" y="2771117"/>
                  <a:pt x="787845" y="2766780"/>
                  <a:pt x="785058" y="2762443"/>
                </a:cubicBezTo>
                <a:lnTo>
                  <a:pt x="784644" y="2761668"/>
                </a:lnTo>
                <a:lnTo>
                  <a:pt x="782063" y="2764921"/>
                </a:lnTo>
                <a:lnTo>
                  <a:pt x="785677" y="2768019"/>
                </a:lnTo>
                <a:cubicBezTo>
                  <a:pt x="788052" y="2771736"/>
                  <a:pt x="785470" y="2776074"/>
                  <a:pt x="780307" y="2779172"/>
                </a:cubicBezTo>
                <a:cubicBezTo>
                  <a:pt x="777210" y="2777158"/>
                  <a:pt x="774112" y="2775144"/>
                  <a:pt x="772770" y="2771582"/>
                </a:cubicBezTo>
                <a:lnTo>
                  <a:pt x="775661" y="2768948"/>
                </a:lnTo>
                <a:lnTo>
                  <a:pt x="775351" y="2768639"/>
                </a:lnTo>
                <a:lnTo>
                  <a:pt x="773286" y="2768174"/>
                </a:lnTo>
                <a:lnTo>
                  <a:pt x="771944" y="2769878"/>
                </a:lnTo>
                <a:cubicBezTo>
                  <a:pt x="771427" y="2769103"/>
                  <a:pt x="769672" y="2767864"/>
                  <a:pt x="770395" y="2767554"/>
                </a:cubicBezTo>
                <a:lnTo>
                  <a:pt x="770601" y="2767244"/>
                </a:lnTo>
                <a:lnTo>
                  <a:pt x="767814" y="2765076"/>
                </a:lnTo>
                <a:cubicBezTo>
                  <a:pt x="764716" y="2762443"/>
                  <a:pt x="763890" y="2759654"/>
                  <a:pt x="764199" y="2757176"/>
                </a:cubicBezTo>
                <a:cubicBezTo>
                  <a:pt x="764509" y="2754698"/>
                  <a:pt x="765955" y="2752375"/>
                  <a:pt x="767504" y="2750825"/>
                </a:cubicBezTo>
                <a:cubicBezTo>
                  <a:pt x="768123" y="2751445"/>
                  <a:pt x="772357" y="2747108"/>
                  <a:pt x="777417" y="2747573"/>
                </a:cubicBezTo>
                <a:lnTo>
                  <a:pt x="777726" y="2747882"/>
                </a:lnTo>
                <a:lnTo>
                  <a:pt x="780617" y="2741067"/>
                </a:lnTo>
                <a:lnTo>
                  <a:pt x="782063" y="2734407"/>
                </a:lnTo>
                <a:lnTo>
                  <a:pt x="778346" y="2735646"/>
                </a:lnTo>
                <a:cubicBezTo>
                  <a:pt x="776900" y="2736265"/>
                  <a:pt x="775145" y="2736885"/>
                  <a:pt x="771737" y="2736730"/>
                </a:cubicBezTo>
                <a:cubicBezTo>
                  <a:pt x="763064" y="2736730"/>
                  <a:pt x="761515" y="2730999"/>
                  <a:pt x="762031" y="2726817"/>
                </a:cubicBezTo>
                <a:cubicBezTo>
                  <a:pt x="762238" y="2726817"/>
                  <a:pt x="762341" y="2726507"/>
                  <a:pt x="762651" y="2725887"/>
                </a:cubicBezTo>
                <a:lnTo>
                  <a:pt x="763373" y="2724183"/>
                </a:lnTo>
                <a:lnTo>
                  <a:pt x="762341" y="2721550"/>
                </a:lnTo>
                <a:cubicBezTo>
                  <a:pt x="762444" y="2720776"/>
                  <a:pt x="762857" y="2720001"/>
                  <a:pt x="763683" y="2719072"/>
                </a:cubicBezTo>
                <a:cubicBezTo>
                  <a:pt x="763580" y="2718297"/>
                  <a:pt x="766987" y="2716903"/>
                  <a:pt x="767917" y="2717678"/>
                </a:cubicBezTo>
                <a:lnTo>
                  <a:pt x="768640" y="2718297"/>
                </a:lnTo>
                <a:lnTo>
                  <a:pt x="773802" y="2717058"/>
                </a:lnTo>
                <a:cubicBezTo>
                  <a:pt x="774938" y="2717058"/>
                  <a:pt x="775971" y="2717213"/>
                  <a:pt x="777003" y="2717523"/>
                </a:cubicBezTo>
                <a:cubicBezTo>
                  <a:pt x="775248" y="2717058"/>
                  <a:pt x="773389" y="2716593"/>
                  <a:pt x="772150" y="2716129"/>
                </a:cubicBezTo>
                <a:lnTo>
                  <a:pt x="770292" y="2715510"/>
                </a:lnTo>
                <a:lnTo>
                  <a:pt x="770292" y="2716284"/>
                </a:lnTo>
                <a:lnTo>
                  <a:pt x="769362" y="2715354"/>
                </a:lnTo>
                <a:lnTo>
                  <a:pt x="769156" y="2715199"/>
                </a:lnTo>
                <a:cubicBezTo>
                  <a:pt x="769259" y="2714425"/>
                  <a:pt x="768433" y="2714425"/>
                  <a:pt x="768330" y="2715199"/>
                </a:cubicBezTo>
                <a:cubicBezTo>
                  <a:pt x="767091" y="2714270"/>
                  <a:pt x="765955" y="2713496"/>
                  <a:pt x="765438" y="2712876"/>
                </a:cubicBezTo>
                <a:lnTo>
                  <a:pt x="765645" y="2711946"/>
                </a:lnTo>
                <a:lnTo>
                  <a:pt x="760792" y="2712101"/>
                </a:lnTo>
                <a:lnTo>
                  <a:pt x="759450" y="2711792"/>
                </a:lnTo>
                <a:lnTo>
                  <a:pt x="759037" y="2712256"/>
                </a:lnTo>
                <a:lnTo>
                  <a:pt x="758211" y="2711637"/>
                </a:lnTo>
                <a:lnTo>
                  <a:pt x="753874" y="2710862"/>
                </a:lnTo>
                <a:cubicBezTo>
                  <a:pt x="752119" y="2710243"/>
                  <a:pt x="750776" y="2709003"/>
                  <a:pt x="750570" y="2707299"/>
                </a:cubicBezTo>
                <a:lnTo>
                  <a:pt x="756455" y="2706370"/>
                </a:lnTo>
                <a:lnTo>
                  <a:pt x="756765" y="2706215"/>
                </a:lnTo>
                <a:lnTo>
                  <a:pt x="757178" y="2706215"/>
                </a:lnTo>
                <a:lnTo>
                  <a:pt x="764096" y="2705596"/>
                </a:lnTo>
                <a:lnTo>
                  <a:pt x="770601" y="2706680"/>
                </a:lnTo>
                <a:lnTo>
                  <a:pt x="770704" y="2705906"/>
                </a:lnTo>
                <a:cubicBezTo>
                  <a:pt x="770188" y="2702653"/>
                  <a:pt x="767297" y="2698161"/>
                  <a:pt x="771324" y="2693514"/>
                </a:cubicBezTo>
                <a:close/>
                <a:moveTo>
                  <a:pt x="914127" y="2693204"/>
                </a:moveTo>
                <a:cubicBezTo>
                  <a:pt x="915470" y="2692585"/>
                  <a:pt x="916916" y="2692585"/>
                  <a:pt x="919187" y="2694288"/>
                </a:cubicBezTo>
                <a:cubicBezTo>
                  <a:pt x="920736" y="2699245"/>
                  <a:pt x="915160" y="2703892"/>
                  <a:pt x="909894" y="2700484"/>
                </a:cubicBezTo>
                <a:cubicBezTo>
                  <a:pt x="910204" y="2698625"/>
                  <a:pt x="909688" y="2697076"/>
                  <a:pt x="909997" y="2695218"/>
                </a:cubicBezTo>
                <a:cubicBezTo>
                  <a:pt x="911650" y="2694908"/>
                  <a:pt x="912785" y="2693824"/>
                  <a:pt x="914127" y="2693204"/>
                </a:cubicBezTo>
                <a:close/>
                <a:moveTo>
                  <a:pt x="571627" y="2693204"/>
                </a:moveTo>
                <a:cubicBezTo>
                  <a:pt x="572350" y="2693204"/>
                  <a:pt x="572969" y="2693514"/>
                  <a:pt x="573382" y="2693978"/>
                </a:cubicBezTo>
                <a:cubicBezTo>
                  <a:pt x="581126" y="2700484"/>
                  <a:pt x="577512" y="2707609"/>
                  <a:pt x="578338" y="2709313"/>
                </a:cubicBezTo>
                <a:cubicBezTo>
                  <a:pt x="575757" y="2711482"/>
                  <a:pt x="575654" y="2711482"/>
                  <a:pt x="570594" y="2706835"/>
                </a:cubicBezTo>
                <a:cubicBezTo>
                  <a:pt x="569665" y="2705906"/>
                  <a:pt x="569149" y="2704821"/>
                  <a:pt x="568839" y="2703737"/>
                </a:cubicBezTo>
                <a:cubicBezTo>
                  <a:pt x="568529" y="2702498"/>
                  <a:pt x="568529" y="2701259"/>
                  <a:pt x="568942" y="2700019"/>
                </a:cubicBezTo>
                <a:cubicBezTo>
                  <a:pt x="568529" y="2699245"/>
                  <a:pt x="568323" y="2698161"/>
                  <a:pt x="568323" y="2697232"/>
                </a:cubicBezTo>
                <a:cubicBezTo>
                  <a:pt x="568323" y="2696147"/>
                  <a:pt x="568632" y="2695063"/>
                  <a:pt x="569045" y="2694288"/>
                </a:cubicBezTo>
                <a:cubicBezTo>
                  <a:pt x="569975" y="2693669"/>
                  <a:pt x="570801" y="2693204"/>
                  <a:pt x="571627" y="2693204"/>
                </a:cubicBezTo>
                <a:close/>
                <a:moveTo>
                  <a:pt x="1354619" y="2693049"/>
                </a:moveTo>
                <a:cubicBezTo>
                  <a:pt x="1355032" y="2693824"/>
                  <a:pt x="1356684" y="2694908"/>
                  <a:pt x="1356477" y="2695992"/>
                </a:cubicBezTo>
                <a:cubicBezTo>
                  <a:pt x="1356167" y="2697232"/>
                  <a:pt x="1356167" y="2697232"/>
                  <a:pt x="1354722" y="2698006"/>
                </a:cubicBezTo>
                <a:cubicBezTo>
                  <a:pt x="1354412" y="2696612"/>
                  <a:pt x="1354206" y="2695992"/>
                  <a:pt x="1354206" y="2695373"/>
                </a:cubicBezTo>
                <a:cubicBezTo>
                  <a:pt x="1354206" y="2694753"/>
                  <a:pt x="1354309" y="2694134"/>
                  <a:pt x="1354619" y="2693049"/>
                </a:cubicBezTo>
                <a:close/>
                <a:moveTo>
                  <a:pt x="1032356" y="2692120"/>
                </a:moveTo>
                <a:cubicBezTo>
                  <a:pt x="1032872" y="2691965"/>
                  <a:pt x="1033285" y="2691965"/>
                  <a:pt x="1033698" y="2692430"/>
                </a:cubicBezTo>
                <a:cubicBezTo>
                  <a:pt x="1033698" y="2692430"/>
                  <a:pt x="1033698" y="2693359"/>
                  <a:pt x="1031943" y="2694753"/>
                </a:cubicBezTo>
                <a:cubicBezTo>
                  <a:pt x="1031943" y="2693978"/>
                  <a:pt x="1031117" y="2693824"/>
                  <a:pt x="1031117" y="2693824"/>
                </a:cubicBezTo>
                <a:cubicBezTo>
                  <a:pt x="1031117" y="2693824"/>
                  <a:pt x="1031014" y="2693824"/>
                  <a:pt x="1031014" y="2694598"/>
                </a:cubicBezTo>
                <a:cubicBezTo>
                  <a:pt x="1030601" y="2694288"/>
                  <a:pt x="1030704" y="2693824"/>
                  <a:pt x="1030807" y="2693514"/>
                </a:cubicBezTo>
                <a:cubicBezTo>
                  <a:pt x="1030910" y="2693204"/>
                  <a:pt x="1031117" y="2693049"/>
                  <a:pt x="1031117" y="2693049"/>
                </a:cubicBezTo>
                <a:cubicBezTo>
                  <a:pt x="1031530" y="2692739"/>
                  <a:pt x="1031943" y="2692274"/>
                  <a:pt x="1032356" y="2692120"/>
                </a:cubicBezTo>
                <a:close/>
                <a:moveTo>
                  <a:pt x="791356" y="2691810"/>
                </a:moveTo>
                <a:cubicBezTo>
                  <a:pt x="791563" y="2691965"/>
                  <a:pt x="791975" y="2692430"/>
                  <a:pt x="792698" y="2692739"/>
                </a:cubicBezTo>
                <a:cubicBezTo>
                  <a:pt x="793421" y="2693669"/>
                  <a:pt x="794247" y="2693824"/>
                  <a:pt x="793318" y="2694444"/>
                </a:cubicBezTo>
                <a:cubicBezTo>
                  <a:pt x="792285" y="2695218"/>
                  <a:pt x="792389" y="2695218"/>
                  <a:pt x="789807" y="2695063"/>
                </a:cubicBezTo>
                <a:cubicBezTo>
                  <a:pt x="790840" y="2694288"/>
                  <a:pt x="790840" y="2694288"/>
                  <a:pt x="790117" y="2693514"/>
                </a:cubicBezTo>
                <a:cubicBezTo>
                  <a:pt x="790117" y="2693514"/>
                  <a:pt x="790117" y="2693514"/>
                  <a:pt x="789291" y="2693359"/>
                </a:cubicBezTo>
                <a:cubicBezTo>
                  <a:pt x="789394" y="2692585"/>
                  <a:pt x="790220" y="2692739"/>
                  <a:pt x="790324" y="2691965"/>
                </a:cubicBezTo>
                <a:cubicBezTo>
                  <a:pt x="790324" y="2691965"/>
                  <a:pt x="791253" y="2691965"/>
                  <a:pt x="791253" y="2691965"/>
                </a:cubicBezTo>
                <a:cubicBezTo>
                  <a:pt x="791253" y="2691500"/>
                  <a:pt x="791253" y="2691500"/>
                  <a:pt x="791356" y="2691810"/>
                </a:cubicBezTo>
                <a:close/>
                <a:moveTo>
                  <a:pt x="1368868" y="2691190"/>
                </a:moveTo>
                <a:cubicBezTo>
                  <a:pt x="1371036" y="2696612"/>
                  <a:pt x="1368661" y="2707765"/>
                  <a:pt x="1360194" y="2707299"/>
                </a:cubicBezTo>
                <a:cubicBezTo>
                  <a:pt x="1362879" y="2702033"/>
                  <a:pt x="1364531" y="2695682"/>
                  <a:pt x="1368868" y="2691190"/>
                </a:cubicBezTo>
                <a:close/>
                <a:moveTo>
                  <a:pt x="6518693" y="2691158"/>
                </a:moveTo>
                <a:cubicBezTo>
                  <a:pt x="6520187" y="2693150"/>
                  <a:pt x="6523815" y="2695283"/>
                  <a:pt x="6525309" y="2698983"/>
                </a:cubicBezTo>
                <a:cubicBezTo>
                  <a:pt x="6522321" y="2707377"/>
                  <a:pt x="6516132" y="2710222"/>
                  <a:pt x="6508662" y="2709368"/>
                </a:cubicBezTo>
                <a:cubicBezTo>
                  <a:pt x="6502046" y="2701544"/>
                  <a:pt x="6509303" y="2690162"/>
                  <a:pt x="6518693" y="2691158"/>
                </a:cubicBezTo>
                <a:close/>
                <a:moveTo>
                  <a:pt x="1353276" y="2690726"/>
                </a:moveTo>
                <a:cubicBezTo>
                  <a:pt x="1353999" y="2690416"/>
                  <a:pt x="1354515" y="2691190"/>
                  <a:pt x="1354309" y="2692430"/>
                </a:cubicBezTo>
                <a:cubicBezTo>
                  <a:pt x="1354309" y="2692430"/>
                  <a:pt x="1353586" y="2692739"/>
                  <a:pt x="1353586" y="2692739"/>
                </a:cubicBezTo>
                <a:cubicBezTo>
                  <a:pt x="1353379" y="2692430"/>
                  <a:pt x="1353173" y="2691965"/>
                  <a:pt x="1353070" y="2691655"/>
                </a:cubicBezTo>
                <a:cubicBezTo>
                  <a:pt x="1352966" y="2691345"/>
                  <a:pt x="1352966" y="2691035"/>
                  <a:pt x="1353276" y="2690726"/>
                </a:cubicBezTo>
                <a:close/>
                <a:moveTo>
                  <a:pt x="885938" y="2690106"/>
                </a:moveTo>
                <a:cubicBezTo>
                  <a:pt x="888520" y="2691655"/>
                  <a:pt x="886662" y="2694288"/>
                  <a:pt x="885629" y="2697541"/>
                </a:cubicBezTo>
                <a:cubicBezTo>
                  <a:pt x="884803" y="2696767"/>
                  <a:pt x="883873" y="2697541"/>
                  <a:pt x="882944" y="2698471"/>
                </a:cubicBezTo>
                <a:cubicBezTo>
                  <a:pt x="881705" y="2697232"/>
                  <a:pt x="879536" y="2695682"/>
                  <a:pt x="880053" y="2693514"/>
                </a:cubicBezTo>
                <a:cubicBezTo>
                  <a:pt x="880260" y="2692739"/>
                  <a:pt x="880672" y="2691965"/>
                  <a:pt x="881602" y="2691190"/>
                </a:cubicBezTo>
                <a:cubicBezTo>
                  <a:pt x="881602" y="2690261"/>
                  <a:pt x="885113" y="2689331"/>
                  <a:pt x="885938" y="2690106"/>
                </a:cubicBezTo>
                <a:close/>
                <a:moveTo>
                  <a:pt x="1025851" y="2689177"/>
                </a:moveTo>
                <a:cubicBezTo>
                  <a:pt x="1027090" y="2689331"/>
                  <a:pt x="1027399" y="2689951"/>
                  <a:pt x="1028226" y="2689487"/>
                </a:cubicBezTo>
                <a:cubicBezTo>
                  <a:pt x="1027296" y="2693049"/>
                  <a:pt x="1024612" y="2693824"/>
                  <a:pt x="1021927" y="2694598"/>
                </a:cubicBezTo>
                <a:cubicBezTo>
                  <a:pt x="1019965" y="2694908"/>
                  <a:pt x="1019243" y="2695373"/>
                  <a:pt x="1018210" y="2697076"/>
                </a:cubicBezTo>
                <a:cubicBezTo>
                  <a:pt x="1018210" y="2697076"/>
                  <a:pt x="1018210" y="2697076"/>
                  <a:pt x="1015835" y="2696767"/>
                </a:cubicBezTo>
                <a:lnTo>
                  <a:pt x="1015422" y="2695992"/>
                </a:lnTo>
                <a:cubicBezTo>
                  <a:pt x="1015422" y="2695528"/>
                  <a:pt x="1015835" y="2695063"/>
                  <a:pt x="1016661" y="2694444"/>
                </a:cubicBezTo>
                <a:cubicBezTo>
                  <a:pt x="1018933" y="2692585"/>
                  <a:pt x="1023786" y="2690571"/>
                  <a:pt x="1024302" y="2690106"/>
                </a:cubicBezTo>
                <a:cubicBezTo>
                  <a:pt x="1024302" y="2690106"/>
                  <a:pt x="1025128" y="2689642"/>
                  <a:pt x="1025851" y="2689177"/>
                </a:cubicBezTo>
                <a:close/>
                <a:moveTo>
                  <a:pt x="1004890" y="2688093"/>
                </a:moveTo>
                <a:lnTo>
                  <a:pt x="1006955" y="2689642"/>
                </a:lnTo>
                <a:lnTo>
                  <a:pt x="1007058" y="2689797"/>
                </a:lnTo>
                <a:lnTo>
                  <a:pt x="1009433" y="2691655"/>
                </a:lnTo>
                <a:lnTo>
                  <a:pt x="1009846" y="2691190"/>
                </a:lnTo>
                <a:cubicBezTo>
                  <a:pt x="1011808" y="2691965"/>
                  <a:pt x="1013150" y="2693359"/>
                  <a:pt x="1013770" y="2694598"/>
                </a:cubicBezTo>
                <a:cubicBezTo>
                  <a:pt x="1014389" y="2695992"/>
                  <a:pt x="1014389" y="2697541"/>
                  <a:pt x="1013873" y="2698935"/>
                </a:cubicBezTo>
                <a:lnTo>
                  <a:pt x="1011189" y="2698625"/>
                </a:lnTo>
                <a:lnTo>
                  <a:pt x="1010982" y="2699090"/>
                </a:lnTo>
                <a:cubicBezTo>
                  <a:pt x="1007368" y="2703273"/>
                  <a:pt x="995803" y="2704202"/>
                  <a:pt x="994770" y="2699864"/>
                </a:cubicBezTo>
                <a:cubicBezTo>
                  <a:pt x="994254" y="2697541"/>
                  <a:pt x="996629" y="2693669"/>
                  <a:pt x="1004890" y="2688093"/>
                </a:cubicBezTo>
                <a:close/>
                <a:moveTo>
                  <a:pt x="1351004" y="2687008"/>
                </a:moveTo>
                <a:cubicBezTo>
                  <a:pt x="1351004" y="2687008"/>
                  <a:pt x="1352140" y="2687473"/>
                  <a:pt x="1352140" y="2687473"/>
                </a:cubicBezTo>
                <a:cubicBezTo>
                  <a:pt x="1351934" y="2688712"/>
                  <a:pt x="1352657" y="2688247"/>
                  <a:pt x="1351314" y="2689022"/>
                </a:cubicBezTo>
                <a:cubicBezTo>
                  <a:pt x="1351521" y="2687783"/>
                  <a:pt x="1351521" y="2687783"/>
                  <a:pt x="1351004" y="2687008"/>
                </a:cubicBezTo>
                <a:close/>
                <a:moveTo>
                  <a:pt x="1220489" y="2686699"/>
                </a:moveTo>
                <a:cubicBezTo>
                  <a:pt x="1227407" y="2689487"/>
                  <a:pt x="1232054" y="2693049"/>
                  <a:pt x="1230814" y="2700019"/>
                </a:cubicBezTo>
                <a:cubicBezTo>
                  <a:pt x="1229575" y="2699555"/>
                  <a:pt x="1229265" y="2700639"/>
                  <a:pt x="1228853" y="2701568"/>
                </a:cubicBezTo>
                <a:cubicBezTo>
                  <a:pt x="1223483" y="2703118"/>
                  <a:pt x="1216875" y="2696457"/>
                  <a:pt x="1216049" y="2691500"/>
                </a:cubicBezTo>
                <a:cubicBezTo>
                  <a:pt x="1215739" y="2689797"/>
                  <a:pt x="1216049" y="2688402"/>
                  <a:pt x="1217391" y="2687628"/>
                </a:cubicBezTo>
                <a:cubicBezTo>
                  <a:pt x="1218114" y="2687008"/>
                  <a:pt x="1219146" y="2686699"/>
                  <a:pt x="1220489" y="2686699"/>
                </a:cubicBezTo>
                <a:close/>
                <a:moveTo>
                  <a:pt x="1264102" y="2685169"/>
                </a:moveTo>
                <a:cubicBezTo>
                  <a:pt x="1265560" y="2685188"/>
                  <a:pt x="1266541" y="2685769"/>
                  <a:pt x="1266541" y="2685769"/>
                </a:cubicBezTo>
                <a:cubicBezTo>
                  <a:pt x="1270671" y="2688867"/>
                  <a:pt x="1272633" y="2693204"/>
                  <a:pt x="1272220" y="2697851"/>
                </a:cubicBezTo>
                <a:cubicBezTo>
                  <a:pt x="1272014" y="2699710"/>
                  <a:pt x="1271497" y="2701568"/>
                  <a:pt x="1270362" y="2703582"/>
                </a:cubicBezTo>
                <a:cubicBezTo>
                  <a:pt x="1268503" y="2704667"/>
                  <a:pt x="1266541" y="2704667"/>
                  <a:pt x="1264579" y="2704047"/>
                </a:cubicBezTo>
                <a:lnTo>
                  <a:pt x="1259933" y="2701878"/>
                </a:lnTo>
                <a:lnTo>
                  <a:pt x="1261275" y="2704202"/>
                </a:lnTo>
                <a:cubicBezTo>
                  <a:pt x="1261998" y="2706061"/>
                  <a:pt x="1262617" y="2708074"/>
                  <a:pt x="1262824" y="2710552"/>
                </a:cubicBezTo>
                <a:cubicBezTo>
                  <a:pt x="1252395" y="2710397"/>
                  <a:pt x="1250020" y="2697696"/>
                  <a:pt x="1250433" y="2691190"/>
                </a:cubicBezTo>
                <a:lnTo>
                  <a:pt x="1255493" y="2696302"/>
                </a:lnTo>
                <a:lnTo>
                  <a:pt x="1255183" y="2694598"/>
                </a:lnTo>
                <a:cubicBezTo>
                  <a:pt x="1255389" y="2692430"/>
                  <a:pt x="1256835" y="2690261"/>
                  <a:pt x="1258797" y="2687938"/>
                </a:cubicBezTo>
                <a:cubicBezTo>
                  <a:pt x="1260707" y="2685692"/>
                  <a:pt x="1262643" y="2685150"/>
                  <a:pt x="1264102" y="2685169"/>
                </a:cubicBezTo>
                <a:close/>
                <a:moveTo>
                  <a:pt x="954294" y="2685150"/>
                </a:moveTo>
                <a:cubicBezTo>
                  <a:pt x="955430" y="2685304"/>
                  <a:pt x="955120" y="2686543"/>
                  <a:pt x="955533" y="2687163"/>
                </a:cubicBezTo>
                <a:lnTo>
                  <a:pt x="954294" y="2689951"/>
                </a:lnTo>
                <a:lnTo>
                  <a:pt x="956876" y="2690261"/>
                </a:lnTo>
                <a:cubicBezTo>
                  <a:pt x="972158" y="2694134"/>
                  <a:pt x="974739" y="2711327"/>
                  <a:pt x="968027" y="2720466"/>
                </a:cubicBezTo>
                <a:lnTo>
                  <a:pt x="962968" y="2724803"/>
                </a:lnTo>
                <a:lnTo>
                  <a:pt x="964310" y="2726197"/>
                </a:lnTo>
                <a:cubicBezTo>
                  <a:pt x="965136" y="2727746"/>
                  <a:pt x="965446" y="2729450"/>
                  <a:pt x="965136" y="2730379"/>
                </a:cubicBezTo>
                <a:cubicBezTo>
                  <a:pt x="963484" y="2732238"/>
                  <a:pt x="960076" y="2733632"/>
                  <a:pt x="957289" y="2731464"/>
                </a:cubicBezTo>
                <a:cubicBezTo>
                  <a:pt x="955946" y="2730844"/>
                  <a:pt x="955224" y="2729605"/>
                  <a:pt x="954501" y="2728365"/>
                </a:cubicBezTo>
                <a:lnTo>
                  <a:pt x="952229" y="2725422"/>
                </a:lnTo>
                <a:lnTo>
                  <a:pt x="946343" y="2723874"/>
                </a:lnTo>
                <a:cubicBezTo>
                  <a:pt x="937463" y="2719072"/>
                  <a:pt x="935192" y="2708849"/>
                  <a:pt x="926622" y="2699245"/>
                </a:cubicBezTo>
                <a:cubicBezTo>
                  <a:pt x="936637" y="2700949"/>
                  <a:pt x="941800" y="2692894"/>
                  <a:pt x="948822" y="2690416"/>
                </a:cubicBezTo>
                <a:lnTo>
                  <a:pt x="951196" y="2689951"/>
                </a:lnTo>
                <a:lnTo>
                  <a:pt x="952436" y="2686234"/>
                </a:lnTo>
                <a:cubicBezTo>
                  <a:pt x="952952" y="2685615"/>
                  <a:pt x="953468" y="2685150"/>
                  <a:pt x="954294" y="2685150"/>
                </a:cubicBezTo>
                <a:close/>
                <a:moveTo>
                  <a:pt x="1127765" y="2684220"/>
                </a:moveTo>
                <a:cubicBezTo>
                  <a:pt x="1128281" y="2684220"/>
                  <a:pt x="1129004" y="2684220"/>
                  <a:pt x="1129830" y="2684530"/>
                </a:cubicBezTo>
                <a:cubicBezTo>
                  <a:pt x="1129830" y="2684530"/>
                  <a:pt x="1129830" y="2684530"/>
                  <a:pt x="1130346" y="2685304"/>
                </a:cubicBezTo>
                <a:cubicBezTo>
                  <a:pt x="1131275" y="2686699"/>
                  <a:pt x="1131689" y="2687473"/>
                  <a:pt x="1132204" y="2688093"/>
                </a:cubicBezTo>
                <a:cubicBezTo>
                  <a:pt x="1131895" y="2689331"/>
                  <a:pt x="1130656" y="2691965"/>
                  <a:pt x="1129417" y="2691500"/>
                </a:cubicBezTo>
                <a:cubicBezTo>
                  <a:pt x="1127042" y="2690881"/>
                  <a:pt x="1124873" y="2689022"/>
                  <a:pt x="1125183" y="2687938"/>
                </a:cubicBezTo>
                <a:cubicBezTo>
                  <a:pt x="1125596" y="2686234"/>
                  <a:pt x="1126009" y="2684530"/>
                  <a:pt x="1127765" y="2684220"/>
                </a:cubicBezTo>
                <a:close/>
                <a:moveTo>
                  <a:pt x="726511" y="2683446"/>
                </a:moveTo>
                <a:cubicBezTo>
                  <a:pt x="728266" y="2683601"/>
                  <a:pt x="730022" y="2682826"/>
                  <a:pt x="731674" y="2683911"/>
                </a:cubicBezTo>
                <a:cubicBezTo>
                  <a:pt x="733429" y="2685769"/>
                  <a:pt x="732500" y="2689797"/>
                  <a:pt x="731570" y="2691345"/>
                </a:cubicBezTo>
                <a:cubicBezTo>
                  <a:pt x="729815" y="2692739"/>
                  <a:pt x="727337" y="2691810"/>
                  <a:pt x="725582" y="2689951"/>
                </a:cubicBezTo>
                <a:cubicBezTo>
                  <a:pt x="724756" y="2689331"/>
                  <a:pt x="724343" y="2688557"/>
                  <a:pt x="724239" y="2687628"/>
                </a:cubicBezTo>
                <a:cubicBezTo>
                  <a:pt x="724136" y="2686699"/>
                  <a:pt x="724343" y="2685615"/>
                  <a:pt x="724859" y="2684840"/>
                </a:cubicBezTo>
                <a:cubicBezTo>
                  <a:pt x="725685" y="2684065"/>
                  <a:pt x="725685" y="2684065"/>
                  <a:pt x="726511" y="2683446"/>
                </a:cubicBezTo>
                <a:close/>
                <a:moveTo>
                  <a:pt x="666416" y="2683136"/>
                </a:moveTo>
                <a:cubicBezTo>
                  <a:pt x="670856" y="2685769"/>
                  <a:pt x="669204" y="2689331"/>
                  <a:pt x="666622" y="2690726"/>
                </a:cubicBezTo>
                <a:lnTo>
                  <a:pt x="666519" y="2690726"/>
                </a:lnTo>
                <a:lnTo>
                  <a:pt x="667345" y="2691190"/>
                </a:lnTo>
                <a:cubicBezTo>
                  <a:pt x="668068" y="2691810"/>
                  <a:pt x="668791" y="2692739"/>
                  <a:pt x="669307" y="2694134"/>
                </a:cubicBezTo>
                <a:cubicBezTo>
                  <a:pt x="667965" y="2696147"/>
                  <a:pt x="666726" y="2696767"/>
                  <a:pt x="665487" y="2696767"/>
                </a:cubicBezTo>
                <a:lnTo>
                  <a:pt x="662079" y="2695837"/>
                </a:lnTo>
                <a:lnTo>
                  <a:pt x="662183" y="2696457"/>
                </a:lnTo>
                <a:cubicBezTo>
                  <a:pt x="662183" y="2696457"/>
                  <a:pt x="661976" y="2696457"/>
                  <a:pt x="661563" y="2696147"/>
                </a:cubicBezTo>
                <a:cubicBezTo>
                  <a:pt x="661460" y="2698006"/>
                  <a:pt x="661047" y="2698780"/>
                  <a:pt x="660530" y="2699400"/>
                </a:cubicBezTo>
                <a:cubicBezTo>
                  <a:pt x="659291" y="2699710"/>
                  <a:pt x="657742" y="2698625"/>
                  <a:pt x="656710" y="2696921"/>
                </a:cubicBezTo>
                <a:cubicBezTo>
                  <a:pt x="657949" y="2696767"/>
                  <a:pt x="658052" y="2694908"/>
                  <a:pt x="659291" y="2694598"/>
                </a:cubicBezTo>
                <a:cubicBezTo>
                  <a:pt x="659291" y="2694598"/>
                  <a:pt x="659911" y="2694908"/>
                  <a:pt x="660634" y="2695063"/>
                </a:cubicBezTo>
                <a:lnTo>
                  <a:pt x="661976" y="2695373"/>
                </a:lnTo>
                <a:lnTo>
                  <a:pt x="662698" y="2693978"/>
                </a:lnTo>
                <a:cubicBezTo>
                  <a:pt x="662905" y="2693204"/>
                  <a:pt x="662698" y="2692430"/>
                  <a:pt x="662905" y="2691810"/>
                </a:cubicBezTo>
                <a:lnTo>
                  <a:pt x="663731" y="2691035"/>
                </a:lnTo>
                <a:lnTo>
                  <a:pt x="662389" y="2688712"/>
                </a:lnTo>
                <a:cubicBezTo>
                  <a:pt x="661873" y="2686079"/>
                  <a:pt x="663731" y="2683446"/>
                  <a:pt x="666416" y="2683136"/>
                </a:cubicBezTo>
                <a:close/>
                <a:moveTo>
                  <a:pt x="749228" y="2682671"/>
                </a:moveTo>
                <a:cubicBezTo>
                  <a:pt x="753358" y="2687783"/>
                  <a:pt x="748401" y="2704357"/>
                  <a:pt x="739212" y="2704357"/>
                </a:cubicBezTo>
                <a:cubicBezTo>
                  <a:pt x="741380" y="2698471"/>
                  <a:pt x="743962" y="2693204"/>
                  <a:pt x="743962" y="2684840"/>
                </a:cubicBezTo>
                <a:cubicBezTo>
                  <a:pt x="746439" y="2684995"/>
                  <a:pt x="746233" y="2681897"/>
                  <a:pt x="749228" y="2682671"/>
                </a:cubicBezTo>
                <a:close/>
                <a:moveTo>
                  <a:pt x="967304" y="2680657"/>
                </a:moveTo>
                <a:cubicBezTo>
                  <a:pt x="975049" y="2681122"/>
                  <a:pt x="977320" y="2690106"/>
                  <a:pt x="969369" y="2693049"/>
                </a:cubicBezTo>
                <a:cubicBezTo>
                  <a:pt x="965859" y="2692739"/>
                  <a:pt x="963381" y="2690726"/>
                  <a:pt x="962658" y="2688247"/>
                </a:cubicBezTo>
                <a:cubicBezTo>
                  <a:pt x="962038" y="2685769"/>
                  <a:pt x="963277" y="2682826"/>
                  <a:pt x="967304" y="2680657"/>
                </a:cubicBezTo>
                <a:close/>
                <a:moveTo>
                  <a:pt x="813233" y="2680580"/>
                </a:moveTo>
                <a:cubicBezTo>
                  <a:pt x="816060" y="2681161"/>
                  <a:pt x="818564" y="2682826"/>
                  <a:pt x="819545" y="2686699"/>
                </a:cubicBezTo>
                <a:cubicBezTo>
                  <a:pt x="818616" y="2687473"/>
                  <a:pt x="817686" y="2688093"/>
                  <a:pt x="816654" y="2688712"/>
                </a:cubicBezTo>
                <a:cubicBezTo>
                  <a:pt x="812627" y="2684685"/>
                  <a:pt x="808290" y="2684065"/>
                  <a:pt x="804986" y="2680967"/>
                </a:cubicBezTo>
                <a:cubicBezTo>
                  <a:pt x="807257" y="2680503"/>
                  <a:pt x="810407" y="2679999"/>
                  <a:pt x="813233" y="2680580"/>
                </a:cubicBezTo>
                <a:close/>
                <a:moveTo>
                  <a:pt x="909184" y="2680232"/>
                </a:moveTo>
                <a:cubicBezTo>
                  <a:pt x="910849" y="2679341"/>
                  <a:pt x="912682" y="2679109"/>
                  <a:pt x="913921" y="2680348"/>
                </a:cubicBezTo>
                <a:cubicBezTo>
                  <a:pt x="915573" y="2682671"/>
                  <a:pt x="909894" y="2691345"/>
                  <a:pt x="905764" y="2686543"/>
                </a:cubicBezTo>
                <a:cubicBezTo>
                  <a:pt x="905144" y="2685924"/>
                  <a:pt x="905041" y="2684995"/>
                  <a:pt x="905454" y="2684065"/>
                </a:cubicBezTo>
                <a:cubicBezTo>
                  <a:pt x="906022" y="2682671"/>
                  <a:pt x="907519" y="2681122"/>
                  <a:pt x="909184" y="2680232"/>
                </a:cubicBezTo>
                <a:close/>
                <a:moveTo>
                  <a:pt x="934160" y="2678954"/>
                </a:moveTo>
                <a:cubicBezTo>
                  <a:pt x="936121" y="2678644"/>
                  <a:pt x="936534" y="2679263"/>
                  <a:pt x="936224" y="2680348"/>
                </a:cubicBezTo>
                <a:cubicBezTo>
                  <a:pt x="936224" y="2680348"/>
                  <a:pt x="935915" y="2681587"/>
                  <a:pt x="935605" y="2682826"/>
                </a:cubicBezTo>
                <a:cubicBezTo>
                  <a:pt x="935295" y="2684065"/>
                  <a:pt x="935708" y="2684685"/>
                  <a:pt x="935708" y="2684685"/>
                </a:cubicBezTo>
                <a:cubicBezTo>
                  <a:pt x="935399" y="2685924"/>
                  <a:pt x="934675" y="2686389"/>
                  <a:pt x="933436" y="2686234"/>
                </a:cubicBezTo>
                <a:cubicBezTo>
                  <a:pt x="933436" y="2686234"/>
                  <a:pt x="933333" y="2684375"/>
                  <a:pt x="933333" y="2684375"/>
                </a:cubicBezTo>
                <a:cubicBezTo>
                  <a:pt x="933953" y="2682052"/>
                  <a:pt x="934263" y="2680812"/>
                  <a:pt x="934160" y="2678954"/>
                </a:cubicBezTo>
                <a:close/>
                <a:moveTo>
                  <a:pt x="718767" y="2678334"/>
                </a:moveTo>
                <a:cubicBezTo>
                  <a:pt x="718973" y="2681277"/>
                  <a:pt x="717424" y="2682052"/>
                  <a:pt x="714224" y="2683755"/>
                </a:cubicBezTo>
                <a:cubicBezTo>
                  <a:pt x="714017" y="2681742"/>
                  <a:pt x="714224" y="2680503"/>
                  <a:pt x="715050" y="2679728"/>
                </a:cubicBezTo>
                <a:cubicBezTo>
                  <a:pt x="715772" y="2678954"/>
                  <a:pt x="717012" y="2678644"/>
                  <a:pt x="718767" y="2678334"/>
                </a:cubicBezTo>
                <a:close/>
                <a:moveTo>
                  <a:pt x="890688" y="2675701"/>
                </a:moveTo>
                <a:lnTo>
                  <a:pt x="891515" y="2676320"/>
                </a:lnTo>
                <a:lnTo>
                  <a:pt x="893889" y="2676320"/>
                </a:lnTo>
                <a:cubicBezTo>
                  <a:pt x="894819" y="2676940"/>
                  <a:pt x="895438" y="2677869"/>
                  <a:pt x="895232" y="2679573"/>
                </a:cubicBezTo>
                <a:cubicBezTo>
                  <a:pt x="894922" y="2681897"/>
                  <a:pt x="893580" y="2683136"/>
                  <a:pt x="891825" y="2683755"/>
                </a:cubicBezTo>
                <a:lnTo>
                  <a:pt x="887901" y="2684065"/>
                </a:lnTo>
                <a:lnTo>
                  <a:pt x="889036" y="2685459"/>
                </a:lnTo>
                <a:cubicBezTo>
                  <a:pt x="890172" y="2687473"/>
                  <a:pt x="888417" y="2688093"/>
                  <a:pt x="885629" y="2689487"/>
                </a:cubicBezTo>
                <a:cubicBezTo>
                  <a:pt x="884390" y="2688093"/>
                  <a:pt x="884080" y="2687008"/>
                  <a:pt x="884390" y="2685924"/>
                </a:cubicBezTo>
                <a:lnTo>
                  <a:pt x="885938" y="2684220"/>
                </a:lnTo>
                <a:lnTo>
                  <a:pt x="885319" y="2684375"/>
                </a:lnTo>
                <a:cubicBezTo>
                  <a:pt x="885009" y="2682516"/>
                  <a:pt x="883977" y="2681277"/>
                  <a:pt x="883667" y="2679418"/>
                </a:cubicBezTo>
                <a:lnTo>
                  <a:pt x="881396" y="2678179"/>
                </a:lnTo>
                <a:cubicBezTo>
                  <a:pt x="883151" y="2675082"/>
                  <a:pt x="887694" y="2674617"/>
                  <a:pt x="890688" y="2675701"/>
                </a:cubicBezTo>
                <a:close/>
                <a:moveTo>
                  <a:pt x="927551" y="2675546"/>
                </a:moveTo>
                <a:cubicBezTo>
                  <a:pt x="927241" y="2676630"/>
                  <a:pt x="928584" y="2678799"/>
                  <a:pt x="928790" y="2680657"/>
                </a:cubicBezTo>
                <a:cubicBezTo>
                  <a:pt x="928067" y="2681122"/>
                  <a:pt x="927861" y="2682361"/>
                  <a:pt x="927138" y="2682826"/>
                </a:cubicBezTo>
                <a:cubicBezTo>
                  <a:pt x="926725" y="2682052"/>
                  <a:pt x="924969" y="2681277"/>
                  <a:pt x="925692" y="2680812"/>
                </a:cubicBezTo>
                <a:cubicBezTo>
                  <a:pt x="925279" y="2680038"/>
                  <a:pt x="926725" y="2679108"/>
                  <a:pt x="926725" y="2679108"/>
                </a:cubicBezTo>
                <a:cubicBezTo>
                  <a:pt x="926208" y="2678334"/>
                  <a:pt x="925795" y="2677714"/>
                  <a:pt x="926105" y="2676475"/>
                </a:cubicBezTo>
                <a:cubicBezTo>
                  <a:pt x="927241" y="2676630"/>
                  <a:pt x="926828" y="2676010"/>
                  <a:pt x="927551" y="2675546"/>
                </a:cubicBezTo>
                <a:close/>
                <a:moveTo>
                  <a:pt x="1091419" y="2675082"/>
                </a:moveTo>
                <a:cubicBezTo>
                  <a:pt x="1092348" y="2674926"/>
                  <a:pt x="1093174" y="2674617"/>
                  <a:pt x="1093484" y="2675391"/>
                </a:cubicBezTo>
                <a:cubicBezTo>
                  <a:pt x="1093793" y="2676166"/>
                  <a:pt x="1092864" y="2676320"/>
                  <a:pt x="1091728" y="2675856"/>
                </a:cubicBezTo>
                <a:cubicBezTo>
                  <a:pt x="1091728" y="2675856"/>
                  <a:pt x="1091419" y="2675082"/>
                  <a:pt x="1091419" y="2675082"/>
                </a:cubicBezTo>
                <a:close/>
                <a:moveTo>
                  <a:pt x="1441457" y="2674926"/>
                </a:moveTo>
                <a:cubicBezTo>
                  <a:pt x="1443419" y="2675082"/>
                  <a:pt x="1444865" y="2673687"/>
                  <a:pt x="1447136" y="2675546"/>
                </a:cubicBezTo>
                <a:cubicBezTo>
                  <a:pt x="1445897" y="2677714"/>
                  <a:pt x="1444452" y="2679108"/>
                  <a:pt x="1443212" y="2681122"/>
                </a:cubicBezTo>
                <a:cubicBezTo>
                  <a:pt x="1441354" y="2680967"/>
                  <a:pt x="1440631" y="2680038"/>
                  <a:pt x="1440528" y="2678954"/>
                </a:cubicBezTo>
                <a:cubicBezTo>
                  <a:pt x="1440425" y="2677714"/>
                  <a:pt x="1441044" y="2676320"/>
                  <a:pt x="1441457" y="2674926"/>
                </a:cubicBezTo>
                <a:close/>
                <a:moveTo>
                  <a:pt x="1171132" y="2674926"/>
                </a:moveTo>
                <a:cubicBezTo>
                  <a:pt x="1174333" y="2675391"/>
                  <a:pt x="1177018" y="2677405"/>
                  <a:pt x="1178773" y="2680193"/>
                </a:cubicBezTo>
                <a:lnTo>
                  <a:pt x="1180219" y="2683911"/>
                </a:lnTo>
                <a:lnTo>
                  <a:pt x="1180529" y="2682361"/>
                </a:lnTo>
                <a:cubicBezTo>
                  <a:pt x="1180838" y="2680967"/>
                  <a:pt x="1181251" y="2679883"/>
                  <a:pt x="1181768" y="2680193"/>
                </a:cubicBezTo>
                <a:cubicBezTo>
                  <a:pt x="1181768" y="2680193"/>
                  <a:pt x="1181458" y="2681277"/>
                  <a:pt x="1181045" y="2682361"/>
                </a:cubicBezTo>
                <a:cubicBezTo>
                  <a:pt x="1180632" y="2683601"/>
                  <a:pt x="1180632" y="2683601"/>
                  <a:pt x="1181768" y="2684065"/>
                </a:cubicBezTo>
                <a:cubicBezTo>
                  <a:pt x="1181664" y="2684530"/>
                  <a:pt x="1181561" y="2684840"/>
                  <a:pt x="1181251" y="2684995"/>
                </a:cubicBezTo>
                <a:lnTo>
                  <a:pt x="1180735" y="2685304"/>
                </a:lnTo>
                <a:lnTo>
                  <a:pt x="1180735" y="2690416"/>
                </a:lnTo>
                <a:lnTo>
                  <a:pt x="1179393" y="2695682"/>
                </a:lnTo>
                <a:lnTo>
                  <a:pt x="1178876" y="2697696"/>
                </a:lnTo>
                <a:lnTo>
                  <a:pt x="1175572" y="2703273"/>
                </a:lnTo>
                <a:lnTo>
                  <a:pt x="1175985" y="2702963"/>
                </a:lnTo>
                <a:cubicBezTo>
                  <a:pt x="1177947" y="2702188"/>
                  <a:pt x="1180425" y="2703118"/>
                  <a:pt x="1181974" y="2704977"/>
                </a:cubicBezTo>
                <a:lnTo>
                  <a:pt x="1182387" y="2706680"/>
                </a:lnTo>
                <a:lnTo>
                  <a:pt x="1184659" y="2705441"/>
                </a:lnTo>
                <a:lnTo>
                  <a:pt x="1184762" y="2705441"/>
                </a:lnTo>
                <a:lnTo>
                  <a:pt x="1185382" y="2698316"/>
                </a:lnTo>
                <a:lnTo>
                  <a:pt x="1186518" y="2696612"/>
                </a:lnTo>
                <a:lnTo>
                  <a:pt x="1186414" y="2694753"/>
                </a:lnTo>
                <a:cubicBezTo>
                  <a:pt x="1187137" y="2694598"/>
                  <a:pt x="1187137" y="2694598"/>
                  <a:pt x="1187447" y="2695373"/>
                </a:cubicBezTo>
                <a:cubicBezTo>
                  <a:pt x="1187550" y="2695218"/>
                  <a:pt x="1187550" y="2695218"/>
                  <a:pt x="1187550" y="2695063"/>
                </a:cubicBezTo>
                <a:lnTo>
                  <a:pt x="1187860" y="2695528"/>
                </a:lnTo>
                <a:lnTo>
                  <a:pt x="1188273" y="2695218"/>
                </a:lnTo>
                <a:cubicBezTo>
                  <a:pt x="1188892" y="2694908"/>
                  <a:pt x="1189512" y="2694753"/>
                  <a:pt x="1190338" y="2695063"/>
                </a:cubicBezTo>
                <a:cubicBezTo>
                  <a:pt x="1191164" y="2694753"/>
                  <a:pt x="1192403" y="2697851"/>
                  <a:pt x="1191990" y="2698935"/>
                </a:cubicBezTo>
                <a:cubicBezTo>
                  <a:pt x="1190958" y="2700949"/>
                  <a:pt x="1190544" y="2702033"/>
                  <a:pt x="1188892" y="2702498"/>
                </a:cubicBezTo>
                <a:cubicBezTo>
                  <a:pt x="1188479" y="2703582"/>
                  <a:pt x="1187963" y="2704667"/>
                  <a:pt x="1187343" y="2705286"/>
                </a:cubicBezTo>
                <a:lnTo>
                  <a:pt x="1185278" y="2705441"/>
                </a:lnTo>
                <a:lnTo>
                  <a:pt x="1186724" y="2705596"/>
                </a:lnTo>
                <a:cubicBezTo>
                  <a:pt x="1187343" y="2705751"/>
                  <a:pt x="1187963" y="2706215"/>
                  <a:pt x="1188066" y="2706680"/>
                </a:cubicBezTo>
                <a:cubicBezTo>
                  <a:pt x="1187653" y="2707455"/>
                  <a:pt x="1188376" y="2707919"/>
                  <a:pt x="1187963" y="2708539"/>
                </a:cubicBezTo>
                <a:cubicBezTo>
                  <a:pt x="1187860" y="2710397"/>
                  <a:pt x="1187343" y="2711172"/>
                  <a:pt x="1186207" y="2711327"/>
                </a:cubicBezTo>
                <a:cubicBezTo>
                  <a:pt x="1185795" y="2711946"/>
                  <a:pt x="1184968" y="2711637"/>
                  <a:pt x="1183833" y="2711792"/>
                </a:cubicBezTo>
                <a:lnTo>
                  <a:pt x="1183213" y="2711017"/>
                </a:lnTo>
                <a:lnTo>
                  <a:pt x="1182284" y="2711637"/>
                </a:lnTo>
                <a:cubicBezTo>
                  <a:pt x="1180735" y="2712566"/>
                  <a:pt x="1179186" y="2713341"/>
                  <a:pt x="1178567" y="2713031"/>
                </a:cubicBezTo>
                <a:lnTo>
                  <a:pt x="1182077" y="2710243"/>
                </a:lnTo>
                <a:lnTo>
                  <a:pt x="1177740" y="2711327"/>
                </a:lnTo>
                <a:cubicBezTo>
                  <a:pt x="1175572" y="2711327"/>
                  <a:pt x="1173507" y="2710862"/>
                  <a:pt x="1172681" y="2709933"/>
                </a:cubicBezTo>
                <a:lnTo>
                  <a:pt x="1173404" y="2705906"/>
                </a:lnTo>
                <a:lnTo>
                  <a:pt x="1172991" y="2706215"/>
                </a:lnTo>
                <a:cubicBezTo>
                  <a:pt x="1164627" y="2704667"/>
                  <a:pt x="1163491" y="2697696"/>
                  <a:pt x="1163904" y="2691190"/>
                </a:cubicBezTo>
                <a:lnTo>
                  <a:pt x="1164214" y="2689022"/>
                </a:lnTo>
                <a:lnTo>
                  <a:pt x="1163388" y="2688557"/>
                </a:lnTo>
                <a:cubicBezTo>
                  <a:pt x="1162769" y="2688093"/>
                  <a:pt x="1162046" y="2687473"/>
                  <a:pt x="1161633" y="2687008"/>
                </a:cubicBezTo>
                <a:cubicBezTo>
                  <a:pt x="1160806" y="2687163"/>
                  <a:pt x="1159981" y="2686389"/>
                  <a:pt x="1160084" y="2685459"/>
                </a:cubicBezTo>
                <a:cubicBezTo>
                  <a:pt x="1160084" y="2685459"/>
                  <a:pt x="1159155" y="2684685"/>
                  <a:pt x="1158329" y="2684685"/>
                </a:cubicBezTo>
                <a:cubicBezTo>
                  <a:pt x="1156676" y="2683136"/>
                  <a:pt x="1156780" y="2682361"/>
                  <a:pt x="1156780" y="2681587"/>
                </a:cubicBezTo>
                <a:cubicBezTo>
                  <a:pt x="1156780" y="2681587"/>
                  <a:pt x="1157606" y="2682361"/>
                  <a:pt x="1158432" y="2682361"/>
                </a:cubicBezTo>
                <a:cubicBezTo>
                  <a:pt x="1158432" y="2682361"/>
                  <a:pt x="1159361" y="2682981"/>
                  <a:pt x="1160084" y="2683911"/>
                </a:cubicBezTo>
                <a:cubicBezTo>
                  <a:pt x="1160084" y="2683911"/>
                  <a:pt x="1160910" y="2683755"/>
                  <a:pt x="1161839" y="2683755"/>
                </a:cubicBezTo>
                <a:lnTo>
                  <a:pt x="1164627" y="2685769"/>
                </a:lnTo>
                <a:lnTo>
                  <a:pt x="1164730" y="2685150"/>
                </a:lnTo>
                <a:cubicBezTo>
                  <a:pt x="1165247" y="2681277"/>
                  <a:pt x="1166176" y="2677095"/>
                  <a:pt x="1168448" y="2675546"/>
                </a:cubicBezTo>
                <a:cubicBezTo>
                  <a:pt x="1169170" y="2675082"/>
                  <a:pt x="1170100" y="2674772"/>
                  <a:pt x="1171132" y="2674926"/>
                </a:cubicBezTo>
                <a:close/>
                <a:moveTo>
                  <a:pt x="829870" y="2674849"/>
                </a:moveTo>
                <a:cubicBezTo>
                  <a:pt x="831884" y="2674191"/>
                  <a:pt x="834001" y="2673997"/>
                  <a:pt x="835962" y="2675082"/>
                </a:cubicBezTo>
                <a:lnTo>
                  <a:pt x="837305" y="2676630"/>
                </a:lnTo>
                <a:lnTo>
                  <a:pt x="840403" y="2676320"/>
                </a:lnTo>
                <a:cubicBezTo>
                  <a:pt x="842055" y="2676475"/>
                  <a:pt x="843603" y="2676785"/>
                  <a:pt x="844636" y="2677250"/>
                </a:cubicBezTo>
                <a:cubicBezTo>
                  <a:pt x="845978" y="2680812"/>
                  <a:pt x="845669" y="2683601"/>
                  <a:pt x="844327" y="2685615"/>
                </a:cubicBezTo>
                <a:cubicBezTo>
                  <a:pt x="843397" y="2687163"/>
                  <a:pt x="841952" y="2688247"/>
                  <a:pt x="840196" y="2688867"/>
                </a:cubicBezTo>
                <a:lnTo>
                  <a:pt x="838544" y="2689022"/>
                </a:lnTo>
                <a:lnTo>
                  <a:pt x="838544" y="2689177"/>
                </a:lnTo>
                <a:cubicBezTo>
                  <a:pt x="839267" y="2692120"/>
                  <a:pt x="837511" y="2696147"/>
                  <a:pt x="832865" y="2697696"/>
                </a:cubicBezTo>
                <a:cubicBezTo>
                  <a:pt x="829664" y="2696147"/>
                  <a:pt x="828218" y="2693978"/>
                  <a:pt x="826979" y="2692739"/>
                </a:cubicBezTo>
                <a:lnTo>
                  <a:pt x="829561" y="2687318"/>
                </a:lnTo>
                <a:lnTo>
                  <a:pt x="828218" y="2684995"/>
                </a:lnTo>
                <a:lnTo>
                  <a:pt x="824604" y="2682516"/>
                </a:lnTo>
                <a:cubicBezTo>
                  <a:pt x="826669" y="2681587"/>
                  <a:pt x="825534" y="2679418"/>
                  <a:pt x="824398" y="2677405"/>
                </a:cubicBezTo>
                <a:cubicBezTo>
                  <a:pt x="825947" y="2676630"/>
                  <a:pt x="827857" y="2675507"/>
                  <a:pt x="829870" y="2674849"/>
                </a:cubicBezTo>
                <a:close/>
                <a:moveTo>
                  <a:pt x="1086049" y="2674617"/>
                </a:moveTo>
                <a:cubicBezTo>
                  <a:pt x="1088837" y="2674772"/>
                  <a:pt x="1088837" y="2674772"/>
                  <a:pt x="1091109" y="2676010"/>
                </a:cubicBezTo>
                <a:cubicBezTo>
                  <a:pt x="1090283" y="2676166"/>
                  <a:pt x="1088837" y="2677405"/>
                  <a:pt x="1087701" y="2676785"/>
                </a:cubicBezTo>
                <a:cubicBezTo>
                  <a:pt x="1086565" y="2676166"/>
                  <a:pt x="1086565" y="2676166"/>
                  <a:pt x="1086049" y="2674617"/>
                </a:cubicBezTo>
                <a:close/>
                <a:moveTo>
                  <a:pt x="870863" y="2674462"/>
                </a:moveTo>
                <a:cubicBezTo>
                  <a:pt x="873548" y="2673222"/>
                  <a:pt x="881912" y="2679728"/>
                  <a:pt x="876336" y="2682981"/>
                </a:cubicBezTo>
                <a:cubicBezTo>
                  <a:pt x="875613" y="2683446"/>
                  <a:pt x="874684" y="2683446"/>
                  <a:pt x="873755" y="2682981"/>
                </a:cubicBezTo>
                <a:cubicBezTo>
                  <a:pt x="871586" y="2681897"/>
                  <a:pt x="869521" y="2678799"/>
                  <a:pt x="869727" y="2676475"/>
                </a:cubicBezTo>
                <a:cubicBezTo>
                  <a:pt x="869830" y="2675701"/>
                  <a:pt x="870140" y="2674926"/>
                  <a:pt x="870863" y="2674462"/>
                </a:cubicBezTo>
                <a:close/>
                <a:moveTo>
                  <a:pt x="1095652" y="2673997"/>
                </a:moveTo>
                <a:cubicBezTo>
                  <a:pt x="1096788" y="2674462"/>
                  <a:pt x="1096788" y="2674462"/>
                  <a:pt x="1097717" y="2674307"/>
                </a:cubicBezTo>
                <a:cubicBezTo>
                  <a:pt x="1097717" y="2674307"/>
                  <a:pt x="1096994" y="2675236"/>
                  <a:pt x="1096994" y="2675236"/>
                </a:cubicBezTo>
                <a:cubicBezTo>
                  <a:pt x="1095859" y="2674772"/>
                  <a:pt x="1096168" y="2675546"/>
                  <a:pt x="1095652" y="2673997"/>
                </a:cubicBezTo>
                <a:close/>
                <a:moveTo>
                  <a:pt x="1207892" y="2673222"/>
                </a:moveTo>
                <a:cubicBezTo>
                  <a:pt x="1210267" y="2673378"/>
                  <a:pt x="1212744" y="2673687"/>
                  <a:pt x="1212641" y="2676010"/>
                </a:cubicBezTo>
                <a:cubicBezTo>
                  <a:pt x="1210783" y="2676475"/>
                  <a:pt x="1210783" y="2677560"/>
                  <a:pt x="1207788" y="2676630"/>
                </a:cubicBezTo>
                <a:cubicBezTo>
                  <a:pt x="1207788" y="2675391"/>
                  <a:pt x="1207788" y="2674307"/>
                  <a:pt x="1207892" y="2673222"/>
                </a:cubicBezTo>
                <a:close/>
                <a:moveTo>
                  <a:pt x="765955" y="2672293"/>
                </a:moveTo>
                <a:cubicBezTo>
                  <a:pt x="773389" y="2667801"/>
                  <a:pt x="780514" y="2676320"/>
                  <a:pt x="777829" y="2681277"/>
                </a:cubicBezTo>
                <a:cubicBezTo>
                  <a:pt x="777003" y="2682981"/>
                  <a:pt x="775041" y="2684220"/>
                  <a:pt x="771634" y="2684530"/>
                </a:cubicBezTo>
                <a:cubicBezTo>
                  <a:pt x="769569" y="2678799"/>
                  <a:pt x="765335" y="2677405"/>
                  <a:pt x="765955" y="2672293"/>
                </a:cubicBezTo>
                <a:close/>
                <a:moveTo>
                  <a:pt x="1125080" y="2671674"/>
                </a:moveTo>
                <a:cubicBezTo>
                  <a:pt x="1123737" y="2672913"/>
                  <a:pt x="1120846" y="2674462"/>
                  <a:pt x="1118678" y="2673378"/>
                </a:cubicBezTo>
                <a:cubicBezTo>
                  <a:pt x="1118678" y="2673378"/>
                  <a:pt x="1118678" y="2673378"/>
                  <a:pt x="1117646" y="2672758"/>
                </a:cubicBezTo>
                <a:cubicBezTo>
                  <a:pt x="1120021" y="2672138"/>
                  <a:pt x="1123118" y="2671364"/>
                  <a:pt x="1125080" y="2671674"/>
                </a:cubicBezTo>
                <a:close/>
                <a:moveTo>
                  <a:pt x="743962" y="2669970"/>
                </a:moveTo>
                <a:cubicBezTo>
                  <a:pt x="745097" y="2670125"/>
                  <a:pt x="745717" y="2669815"/>
                  <a:pt x="745510" y="2670899"/>
                </a:cubicBezTo>
                <a:cubicBezTo>
                  <a:pt x="745200" y="2671983"/>
                  <a:pt x="745200" y="2671983"/>
                  <a:pt x="743032" y="2673378"/>
                </a:cubicBezTo>
                <a:cubicBezTo>
                  <a:pt x="743342" y="2672293"/>
                  <a:pt x="743342" y="2672293"/>
                  <a:pt x="742206" y="2672138"/>
                </a:cubicBezTo>
                <a:cubicBezTo>
                  <a:pt x="742206" y="2672138"/>
                  <a:pt x="742103" y="2672138"/>
                  <a:pt x="741380" y="2672603"/>
                </a:cubicBezTo>
                <a:cubicBezTo>
                  <a:pt x="740967" y="2671983"/>
                  <a:pt x="741793" y="2671518"/>
                  <a:pt x="741380" y="2670899"/>
                </a:cubicBezTo>
                <a:cubicBezTo>
                  <a:pt x="741380" y="2670899"/>
                  <a:pt x="741999" y="2670279"/>
                  <a:pt x="741999" y="2670279"/>
                </a:cubicBezTo>
                <a:cubicBezTo>
                  <a:pt x="741793" y="2669970"/>
                  <a:pt x="741793" y="2670125"/>
                  <a:pt x="742103" y="2670125"/>
                </a:cubicBezTo>
                <a:cubicBezTo>
                  <a:pt x="742413" y="2670125"/>
                  <a:pt x="743032" y="2670125"/>
                  <a:pt x="743962" y="2669970"/>
                </a:cubicBezTo>
                <a:close/>
                <a:moveTo>
                  <a:pt x="1149965" y="2669350"/>
                </a:moveTo>
                <a:cubicBezTo>
                  <a:pt x="1149965" y="2669350"/>
                  <a:pt x="1149655" y="2670279"/>
                  <a:pt x="1149965" y="2671054"/>
                </a:cubicBezTo>
                <a:cubicBezTo>
                  <a:pt x="1149965" y="2671054"/>
                  <a:pt x="1149655" y="2672293"/>
                  <a:pt x="1149345" y="2673378"/>
                </a:cubicBezTo>
                <a:cubicBezTo>
                  <a:pt x="1149345" y="2673378"/>
                  <a:pt x="1149655" y="2673997"/>
                  <a:pt x="1149965" y="2674772"/>
                </a:cubicBezTo>
                <a:cubicBezTo>
                  <a:pt x="1149655" y="2677714"/>
                  <a:pt x="1149655" y="2679573"/>
                  <a:pt x="1146248" y="2680038"/>
                </a:cubicBezTo>
                <a:cubicBezTo>
                  <a:pt x="1145834" y="2679263"/>
                  <a:pt x="1146557" y="2677095"/>
                  <a:pt x="1146970" y="2676010"/>
                </a:cubicBezTo>
                <a:cubicBezTo>
                  <a:pt x="1146557" y="2675236"/>
                  <a:pt x="1146970" y="2674152"/>
                  <a:pt x="1147796" y="2673842"/>
                </a:cubicBezTo>
                <a:cubicBezTo>
                  <a:pt x="1147796" y="2673842"/>
                  <a:pt x="1148106" y="2672758"/>
                  <a:pt x="1147796" y="2671983"/>
                </a:cubicBezTo>
                <a:cubicBezTo>
                  <a:pt x="1148519" y="2669815"/>
                  <a:pt x="1149242" y="2669660"/>
                  <a:pt x="1149965" y="2669350"/>
                </a:cubicBezTo>
                <a:close/>
                <a:moveTo>
                  <a:pt x="968234" y="2667027"/>
                </a:moveTo>
                <a:cubicBezTo>
                  <a:pt x="968234" y="2667027"/>
                  <a:pt x="968234" y="2667027"/>
                  <a:pt x="969473" y="2667182"/>
                </a:cubicBezTo>
                <a:cubicBezTo>
                  <a:pt x="967924" y="2668266"/>
                  <a:pt x="968957" y="2671364"/>
                  <a:pt x="966582" y="2671054"/>
                </a:cubicBezTo>
                <a:cubicBezTo>
                  <a:pt x="966891" y="2669815"/>
                  <a:pt x="967924" y="2668111"/>
                  <a:pt x="968234" y="2667027"/>
                </a:cubicBezTo>
                <a:close/>
                <a:moveTo>
                  <a:pt x="629863" y="2667027"/>
                </a:moveTo>
                <a:cubicBezTo>
                  <a:pt x="632341" y="2668575"/>
                  <a:pt x="631515" y="2670125"/>
                  <a:pt x="633167" y="2670899"/>
                </a:cubicBezTo>
                <a:cubicBezTo>
                  <a:pt x="630380" y="2674307"/>
                  <a:pt x="627901" y="2674462"/>
                  <a:pt x="624597" y="2672913"/>
                </a:cubicBezTo>
                <a:cubicBezTo>
                  <a:pt x="624700" y="2670434"/>
                  <a:pt x="627385" y="2667182"/>
                  <a:pt x="629863" y="2667027"/>
                </a:cubicBezTo>
                <a:close/>
                <a:moveTo>
                  <a:pt x="1416675" y="2666872"/>
                </a:moveTo>
                <a:cubicBezTo>
                  <a:pt x="1419670" y="2665013"/>
                  <a:pt x="1422768" y="2666252"/>
                  <a:pt x="1424627" y="2668730"/>
                </a:cubicBezTo>
                <a:cubicBezTo>
                  <a:pt x="1426588" y="2671054"/>
                  <a:pt x="1427414" y="2674617"/>
                  <a:pt x="1426175" y="2677095"/>
                </a:cubicBezTo>
                <a:cubicBezTo>
                  <a:pt x="1419567" y="2676010"/>
                  <a:pt x="1415643" y="2673997"/>
                  <a:pt x="1416675" y="2666872"/>
                </a:cubicBezTo>
                <a:close/>
                <a:moveTo>
                  <a:pt x="5014297" y="2666403"/>
                </a:moveTo>
                <a:cubicBezTo>
                  <a:pt x="5017285" y="2666688"/>
                  <a:pt x="5019846" y="2667826"/>
                  <a:pt x="5020913" y="2671383"/>
                </a:cubicBezTo>
                <a:cubicBezTo>
                  <a:pt x="5016645" y="2679065"/>
                  <a:pt x="5005760" y="2679350"/>
                  <a:pt x="5003626" y="2668395"/>
                </a:cubicBezTo>
                <a:cubicBezTo>
                  <a:pt x="5007467" y="2667399"/>
                  <a:pt x="5011096" y="2666261"/>
                  <a:pt x="5014297" y="2666403"/>
                </a:cubicBezTo>
                <a:close/>
                <a:moveTo>
                  <a:pt x="937360" y="2664239"/>
                </a:moveTo>
                <a:cubicBezTo>
                  <a:pt x="939322" y="2663929"/>
                  <a:pt x="939528" y="2665787"/>
                  <a:pt x="938909" y="2668111"/>
                </a:cubicBezTo>
                <a:cubicBezTo>
                  <a:pt x="938909" y="2673068"/>
                  <a:pt x="937154" y="2675236"/>
                  <a:pt x="933540" y="2674617"/>
                </a:cubicBezTo>
                <a:cubicBezTo>
                  <a:pt x="933127" y="2673997"/>
                  <a:pt x="932507" y="2671364"/>
                  <a:pt x="931785" y="2671829"/>
                </a:cubicBezTo>
                <a:cubicBezTo>
                  <a:pt x="932404" y="2669195"/>
                  <a:pt x="933436" y="2666407"/>
                  <a:pt x="935295" y="2665013"/>
                </a:cubicBezTo>
                <a:cubicBezTo>
                  <a:pt x="935915" y="2664549"/>
                  <a:pt x="936637" y="2664239"/>
                  <a:pt x="937360" y="2664239"/>
                </a:cubicBezTo>
                <a:close/>
                <a:moveTo>
                  <a:pt x="897400" y="2664084"/>
                </a:moveTo>
                <a:cubicBezTo>
                  <a:pt x="898433" y="2665632"/>
                  <a:pt x="900291" y="2667956"/>
                  <a:pt x="897813" y="2671829"/>
                </a:cubicBezTo>
                <a:cubicBezTo>
                  <a:pt x="896987" y="2672758"/>
                  <a:pt x="897090" y="2672758"/>
                  <a:pt x="896161" y="2672913"/>
                </a:cubicBezTo>
                <a:cubicBezTo>
                  <a:pt x="894509" y="2673997"/>
                  <a:pt x="893683" y="2674926"/>
                  <a:pt x="891825" y="2674307"/>
                </a:cubicBezTo>
                <a:cubicBezTo>
                  <a:pt x="890482" y="2673687"/>
                  <a:pt x="889965" y="2672913"/>
                  <a:pt x="890069" y="2671829"/>
                </a:cubicBezTo>
                <a:cubicBezTo>
                  <a:pt x="890069" y="2670899"/>
                  <a:pt x="890688" y="2669815"/>
                  <a:pt x="891515" y="2668421"/>
                </a:cubicBezTo>
                <a:cubicBezTo>
                  <a:pt x="893063" y="2665478"/>
                  <a:pt x="895748" y="2666097"/>
                  <a:pt x="897400" y="2664084"/>
                </a:cubicBezTo>
                <a:close/>
                <a:moveTo>
                  <a:pt x="882635" y="2662844"/>
                </a:moveTo>
                <a:cubicBezTo>
                  <a:pt x="885732" y="2662689"/>
                  <a:pt x="888520" y="2663619"/>
                  <a:pt x="887591" y="2667182"/>
                </a:cubicBezTo>
                <a:cubicBezTo>
                  <a:pt x="887281" y="2668266"/>
                  <a:pt x="886971" y="2669505"/>
                  <a:pt x="886558" y="2668730"/>
                </a:cubicBezTo>
                <a:cubicBezTo>
                  <a:pt x="885835" y="2669350"/>
                  <a:pt x="885319" y="2668575"/>
                  <a:pt x="884184" y="2668421"/>
                </a:cubicBezTo>
                <a:cubicBezTo>
                  <a:pt x="882531" y="2667646"/>
                  <a:pt x="881189" y="2665632"/>
                  <a:pt x="881499" y="2664549"/>
                </a:cubicBezTo>
                <a:cubicBezTo>
                  <a:pt x="881808" y="2663309"/>
                  <a:pt x="882635" y="2662844"/>
                  <a:pt x="882635" y="2662844"/>
                </a:cubicBezTo>
                <a:close/>
                <a:moveTo>
                  <a:pt x="1037003" y="2662380"/>
                </a:moveTo>
                <a:cubicBezTo>
                  <a:pt x="1038242" y="2662380"/>
                  <a:pt x="1039481" y="2662689"/>
                  <a:pt x="1040306" y="2663619"/>
                </a:cubicBezTo>
                <a:cubicBezTo>
                  <a:pt x="1040306" y="2663619"/>
                  <a:pt x="1040306" y="2663619"/>
                  <a:pt x="1041133" y="2664549"/>
                </a:cubicBezTo>
                <a:cubicBezTo>
                  <a:pt x="1039894" y="2664393"/>
                  <a:pt x="1038448" y="2664239"/>
                  <a:pt x="1037003" y="2664084"/>
                </a:cubicBezTo>
                <a:lnTo>
                  <a:pt x="1033905" y="2662999"/>
                </a:lnTo>
                <a:close/>
                <a:moveTo>
                  <a:pt x="1411616" y="2662070"/>
                </a:moveTo>
                <a:cubicBezTo>
                  <a:pt x="1414714" y="2664084"/>
                  <a:pt x="1414920" y="2666717"/>
                  <a:pt x="1411823" y="2668886"/>
                </a:cubicBezTo>
                <a:cubicBezTo>
                  <a:pt x="1410480" y="2667027"/>
                  <a:pt x="1408622" y="2667646"/>
                  <a:pt x="1407279" y="2665787"/>
                </a:cubicBezTo>
                <a:cubicBezTo>
                  <a:pt x="1409344" y="2664393"/>
                  <a:pt x="1410583" y="2662689"/>
                  <a:pt x="1411616" y="2662070"/>
                </a:cubicBezTo>
                <a:close/>
                <a:moveTo>
                  <a:pt x="1130243" y="2661760"/>
                </a:moveTo>
                <a:cubicBezTo>
                  <a:pt x="1130243" y="2662689"/>
                  <a:pt x="1131172" y="2663309"/>
                  <a:pt x="1132101" y="2663309"/>
                </a:cubicBezTo>
                <a:cubicBezTo>
                  <a:pt x="1133031" y="2663929"/>
                  <a:pt x="1133960" y="2664703"/>
                  <a:pt x="1133857" y="2663774"/>
                </a:cubicBezTo>
                <a:cubicBezTo>
                  <a:pt x="1136645" y="2665943"/>
                  <a:pt x="1137471" y="2665787"/>
                  <a:pt x="1136748" y="2668421"/>
                </a:cubicBezTo>
                <a:cubicBezTo>
                  <a:pt x="1129727" y="2668575"/>
                  <a:pt x="1121673" y="2666407"/>
                  <a:pt x="1119917" y="2665787"/>
                </a:cubicBezTo>
                <a:cubicBezTo>
                  <a:pt x="1118988" y="2665478"/>
                  <a:pt x="1118472" y="2665168"/>
                  <a:pt x="1118368" y="2664703"/>
                </a:cubicBezTo>
                <a:cubicBezTo>
                  <a:pt x="1118162" y="2664239"/>
                  <a:pt x="1118368" y="2663464"/>
                  <a:pt x="1118781" y="2662535"/>
                </a:cubicBezTo>
                <a:cubicBezTo>
                  <a:pt x="1122086" y="2659592"/>
                  <a:pt x="1125803" y="2661605"/>
                  <a:pt x="1130243" y="2661760"/>
                </a:cubicBezTo>
                <a:close/>
                <a:moveTo>
                  <a:pt x="825947" y="2661605"/>
                </a:moveTo>
                <a:cubicBezTo>
                  <a:pt x="830284" y="2660676"/>
                  <a:pt x="836066" y="2665478"/>
                  <a:pt x="835033" y="2668730"/>
                </a:cubicBezTo>
                <a:cubicBezTo>
                  <a:pt x="828218" y="2678489"/>
                  <a:pt x="820474" y="2675082"/>
                  <a:pt x="821610" y="2668730"/>
                </a:cubicBezTo>
                <a:cubicBezTo>
                  <a:pt x="821920" y="2666562"/>
                  <a:pt x="823262" y="2664084"/>
                  <a:pt x="825947" y="2661605"/>
                </a:cubicBezTo>
                <a:close/>
                <a:moveTo>
                  <a:pt x="1222967" y="2660985"/>
                </a:moveTo>
                <a:lnTo>
                  <a:pt x="1222760" y="2661760"/>
                </a:lnTo>
                <a:lnTo>
                  <a:pt x="1222554" y="2662380"/>
                </a:lnTo>
                <a:lnTo>
                  <a:pt x="1224206" y="2662535"/>
                </a:lnTo>
                <a:lnTo>
                  <a:pt x="1223690" y="2661141"/>
                </a:lnTo>
                <a:close/>
                <a:moveTo>
                  <a:pt x="951403" y="2660056"/>
                </a:moveTo>
                <a:cubicBezTo>
                  <a:pt x="951403" y="2660056"/>
                  <a:pt x="951403" y="2660056"/>
                  <a:pt x="957701" y="2661760"/>
                </a:cubicBezTo>
                <a:cubicBezTo>
                  <a:pt x="957495" y="2662380"/>
                  <a:pt x="957082" y="2662535"/>
                  <a:pt x="956566" y="2662380"/>
                </a:cubicBezTo>
                <a:cubicBezTo>
                  <a:pt x="956050" y="2662380"/>
                  <a:pt x="955430" y="2662070"/>
                  <a:pt x="954914" y="2661760"/>
                </a:cubicBezTo>
                <a:cubicBezTo>
                  <a:pt x="953778" y="2661296"/>
                  <a:pt x="952539" y="2660676"/>
                  <a:pt x="951403" y="2660056"/>
                </a:cubicBezTo>
                <a:close/>
                <a:moveTo>
                  <a:pt x="785677" y="2659746"/>
                </a:moveTo>
                <a:lnTo>
                  <a:pt x="788671" y="2660831"/>
                </a:lnTo>
                <a:lnTo>
                  <a:pt x="788981" y="2660211"/>
                </a:lnTo>
                <a:cubicBezTo>
                  <a:pt x="790633" y="2662225"/>
                  <a:pt x="792492" y="2661605"/>
                  <a:pt x="794041" y="2663464"/>
                </a:cubicBezTo>
                <a:lnTo>
                  <a:pt x="791666" y="2665787"/>
                </a:lnTo>
                <a:lnTo>
                  <a:pt x="792079" y="2667491"/>
                </a:lnTo>
                <a:lnTo>
                  <a:pt x="798171" y="2668111"/>
                </a:lnTo>
                <a:lnTo>
                  <a:pt x="801682" y="2669350"/>
                </a:lnTo>
                <a:lnTo>
                  <a:pt x="801785" y="2668575"/>
                </a:lnTo>
                <a:cubicBezTo>
                  <a:pt x="803953" y="2666872"/>
                  <a:pt x="807051" y="2666407"/>
                  <a:pt x="809942" y="2667182"/>
                </a:cubicBezTo>
                <a:cubicBezTo>
                  <a:pt x="809529" y="2669505"/>
                  <a:pt x="808600" y="2671209"/>
                  <a:pt x="807257" y="2672603"/>
                </a:cubicBezTo>
                <a:lnTo>
                  <a:pt x="804676" y="2673997"/>
                </a:lnTo>
                <a:lnTo>
                  <a:pt x="807051" y="2674307"/>
                </a:lnTo>
                <a:lnTo>
                  <a:pt x="807980" y="2671364"/>
                </a:lnTo>
                <a:cubicBezTo>
                  <a:pt x="808909" y="2669350"/>
                  <a:pt x="810045" y="2667336"/>
                  <a:pt x="810975" y="2665632"/>
                </a:cubicBezTo>
                <a:cubicBezTo>
                  <a:pt x="812627" y="2668886"/>
                  <a:pt x="810665" y="2672293"/>
                  <a:pt x="816654" y="2675391"/>
                </a:cubicBezTo>
                <a:lnTo>
                  <a:pt x="813040" y="2676785"/>
                </a:lnTo>
                <a:lnTo>
                  <a:pt x="813453" y="2677095"/>
                </a:lnTo>
                <a:cubicBezTo>
                  <a:pt x="806534" y="2683136"/>
                  <a:pt x="795176" y="2680967"/>
                  <a:pt x="790220" y="2678179"/>
                </a:cubicBezTo>
                <a:cubicBezTo>
                  <a:pt x="791872" y="2676630"/>
                  <a:pt x="793937" y="2675546"/>
                  <a:pt x="796209" y="2674772"/>
                </a:cubicBezTo>
                <a:lnTo>
                  <a:pt x="801475" y="2673997"/>
                </a:lnTo>
                <a:lnTo>
                  <a:pt x="801165" y="2672603"/>
                </a:lnTo>
                <a:lnTo>
                  <a:pt x="801268" y="2671983"/>
                </a:lnTo>
                <a:lnTo>
                  <a:pt x="798481" y="2673842"/>
                </a:lnTo>
                <a:cubicBezTo>
                  <a:pt x="792905" y="2676166"/>
                  <a:pt x="787226" y="2674462"/>
                  <a:pt x="781443" y="2672913"/>
                </a:cubicBezTo>
                <a:cubicBezTo>
                  <a:pt x="782373" y="2670899"/>
                  <a:pt x="783922" y="2669505"/>
                  <a:pt x="785677" y="2668730"/>
                </a:cubicBezTo>
                <a:lnTo>
                  <a:pt x="786503" y="2668421"/>
                </a:lnTo>
                <a:lnTo>
                  <a:pt x="785161" y="2668421"/>
                </a:lnTo>
                <a:cubicBezTo>
                  <a:pt x="777829" y="2668421"/>
                  <a:pt x="770601" y="2670899"/>
                  <a:pt x="765645" y="2666407"/>
                </a:cubicBezTo>
                <a:cubicBezTo>
                  <a:pt x="768743" y="2665632"/>
                  <a:pt x="772357" y="2663774"/>
                  <a:pt x="775867" y="2662225"/>
                </a:cubicBezTo>
                <a:cubicBezTo>
                  <a:pt x="779378" y="2660676"/>
                  <a:pt x="782786" y="2659437"/>
                  <a:pt x="785677" y="2659746"/>
                </a:cubicBezTo>
                <a:close/>
                <a:moveTo>
                  <a:pt x="497282" y="2658353"/>
                </a:moveTo>
                <a:cubicBezTo>
                  <a:pt x="498315" y="2659746"/>
                  <a:pt x="498624" y="2661450"/>
                  <a:pt x="497592" y="2664549"/>
                </a:cubicBezTo>
                <a:cubicBezTo>
                  <a:pt x="492946" y="2665943"/>
                  <a:pt x="492119" y="2663464"/>
                  <a:pt x="491294" y="2660985"/>
                </a:cubicBezTo>
                <a:cubicBezTo>
                  <a:pt x="494391" y="2660676"/>
                  <a:pt x="493771" y="2656958"/>
                  <a:pt x="497282" y="2658353"/>
                </a:cubicBezTo>
                <a:close/>
                <a:moveTo>
                  <a:pt x="891411" y="2657113"/>
                </a:moveTo>
                <a:cubicBezTo>
                  <a:pt x="892031" y="2657113"/>
                  <a:pt x="892960" y="2657268"/>
                  <a:pt x="893889" y="2657113"/>
                </a:cubicBezTo>
                <a:lnTo>
                  <a:pt x="892960" y="2660521"/>
                </a:lnTo>
                <a:cubicBezTo>
                  <a:pt x="891721" y="2660366"/>
                  <a:pt x="890069" y="2659592"/>
                  <a:pt x="890482" y="2658353"/>
                </a:cubicBezTo>
                <a:cubicBezTo>
                  <a:pt x="890379" y="2657578"/>
                  <a:pt x="890792" y="2657268"/>
                  <a:pt x="891411" y="2657113"/>
                </a:cubicBezTo>
                <a:close/>
                <a:moveTo>
                  <a:pt x="754906" y="2652466"/>
                </a:moveTo>
                <a:cubicBezTo>
                  <a:pt x="755939" y="2652311"/>
                  <a:pt x="756972" y="2652466"/>
                  <a:pt x="758417" y="2652931"/>
                </a:cubicBezTo>
                <a:cubicBezTo>
                  <a:pt x="755629" y="2654325"/>
                  <a:pt x="754700" y="2655099"/>
                  <a:pt x="752015" y="2654016"/>
                </a:cubicBezTo>
                <a:cubicBezTo>
                  <a:pt x="752945" y="2653241"/>
                  <a:pt x="753874" y="2652621"/>
                  <a:pt x="754906" y="2652466"/>
                </a:cubicBezTo>
                <a:close/>
                <a:moveTo>
                  <a:pt x="1051149" y="2652002"/>
                </a:moveTo>
                <a:cubicBezTo>
                  <a:pt x="1052078" y="2652621"/>
                  <a:pt x="1052078" y="2653551"/>
                  <a:pt x="1053007" y="2654170"/>
                </a:cubicBezTo>
                <a:cubicBezTo>
                  <a:pt x="1053936" y="2654170"/>
                  <a:pt x="1055589" y="2653861"/>
                  <a:pt x="1056518" y="2654480"/>
                </a:cubicBezTo>
                <a:lnTo>
                  <a:pt x="1056621" y="2654635"/>
                </a:lnTo>
                <a:cubicBezTo>
                  <a:pt x="1060235" y="2653706"/>
                  <a:pt x="1064778" y="2653086"/>
                  <a:pt x="1069425" y="2654790"/>
                </a:cubicBezTo>
                <a:cubicBezTo>
                  <a:pt x="1072523" y="2656029"/>
                  <a:pt x="1075620" y="2658197"/>
                  <a:pt x="1078408" y="2662070"/>
                </a:cubicBezTo>
                <a:cubicBezTo>
                  <a:pt x="1081402" y="2666562"/>
                  <a:pt x="1083881" y="2671674"/>
                  <a:pt x="1083571" y="2676630"/>
                </a:cubicBezTo>
                <a:lnTo>
                  <a:pt x="1082745" y="2679263"/>
                </a:lnTo>
                <a:lnTo>
                  <a:pt x="1087495" y="2678799"/>
                </a:lnTo>
                <a:cubicBezTo>
                  <a:pt x="1089560" y="2679108"/>
                  <a:pt x="1091522" y="2679883"/>
                  <a:pt x="1093070" y="2681587"/>
                </a:cubicBezTo>
                <a:cubicBezTo>
                  <a:pt x="1093587" y="2689177"/>
                  <a:pt x="1083055" y="2694598"/>
                  <a:pt x="1076963" y="2694908"/>
                </a:cubicBezTo>
                <a:cubicBezTo>
                  <a:pt x="1075414" y="2693669"/>
                  <a:pt x="1074381" y="2692430"/>
                  <a:pt x="1073762" y="2691190"/>
                </a:cubicBezTo>
                <a:lnTo>
                  <a:pt x="1073658" y="2690571"/>
                </a:lnTo>
                <a:lnTo>
                  <a:pt x="1073039" y="2690881"/>
                </a:lnTo>
                <a:cubicBezTo>
                  <a:pt x="1070458" y="2693514"/>
                  <a:pt x="1070974" y="2691965"/>
                  <a:pt x="1068909" y="2692894"/>
                </a:cubicBezTo>
                <a:cubicBezTo>
                  <a:pt x="1066844" y="2693978"/>
                  <a:pt x="1064262" y="2696457"/>
                  <a:pt x="1063746" y="2698006"/>
                </a:cubicBezTo>
                <a:lnTo>
                  <a:pt x="1061991" y="2696302"/>
                </a:lnTo>
                <a:lnTo>
                  <a:pt x="1060648" y="2697076"/>
                </a:lnTo>
                <a:cubicBezTo>
                  <a:pt x="1060338" y="2695837"/>
                  <a:pt x="1057551" y="2696921"/>
                  <a:pt x="1055589" y="2696612"/>
                </a:cubicBezTo>
                <a:cubicBezTo>
                  <a:pt x="1054453" y="2695837"/>
                  <a:pt x="1053420" y="2695218"/>
                  <a:pt x="1052697" y="2694598"/>
                </a:cubicBezTo>
                <a:lnTo>
                  <a:pt x="1052594" y="2694444"/>
                </a:lnTo>
                <a:lnTo>
                  <a:pt x="1046915" y="2694908"/>
                </a:lnTo>
                <a:cubicBezTo>
                  <a:pt x="1044230" y="2694753"/>
                  <a:pt x="1041959" y="2693978"/>
                  <a:pt x="1040513" y="2692274"/>
                </a:cubicBezTo>
                <a:lnTo>
                  <a:pt x="1039584" y="2690106"/>
                </a:lnTo>
                <a:lnTo>
                  <a:pt x="1037209" y="2691965"/>
                </a:lnTo>
                <a:cubicBezTo>
                  <a:pt x="1035970" y="2692585"/>
                  <a:pt x="1034628" y="2692894"/>
                  <a:pt x="1033698" y="2692274"/>
                </a:cubicBezTo>
                <a:cubicBezTo>
                  <a:pt x="1034628" y="2690726"/>
                  <a:pt x="1035557" y="2690106"/>
                  <a:pt x="1036486" y="2689331"/>
                </a:cubicBezTo>
                <a:cubicBezTo>
                  <a:pt x="1036899" y="2688557"/>
                  <a:pt x="1037416" y="2688093"/>
                  <a:pt x="1038035" y="2688247"/>
                </a:cubicBezTo>
                <a:lnTo>
                  <a:pt x="1039274" y="2689022"/>
                </a:lnTo>
                <a:lnTo>
                  <a:pt x="1039067" y="2688712"/>
                </a:lnTo>
                <a:lnTo>
                  <a:pt x="1039274" y="2684375"/>
                </a:lnTo>
                <a:cubicBezTo>
                  <a:pt x="1038964" y="2683911"/>
                  <a:pt x="1038964" y="2683446"/>
                  <a:pt x="1038964" y="2683136"/>
                </a:cubicBezTo>
                <a:lnTo>
                  <a:pt x="1039377" y="2683136"/>
                </a:lnTo>
                <a:lnTo>
                  <a:pt x="1039377" y="2683291"/>
                </a:lnTo>
                <a:lnTo>
                  <a:pt x="1040720" y="2683601"/>
                </a:lnTo>
                <a:lnTo>
                  <a:pt x="1041133" y="2684065"/>
                </a:lnTo>
                <a:lnTo>
                  <a:pt x="1043198" y="2684995"/>
                </a:lnTo>
                <a:lnTo>
                  <a:pt x="1044230" y="2684840"/>
                </a:lnTo>
                <a:lnTo>
                  <a:pt x="1047122" y="2686389"/>
                </a:lnTo>
                <a:lnTo>
                  <a:pt x="1049703" y="2687008"/>
                </a:lnTo>
                <a:lnTo>
                  <a:pt x="1046915" y="2683755"/>
                </a:lnTo>
                <a:cubicBezTo>
                  <a:pt x="1044437" y="2680348"/>
                  <a:pt x="1042991" y="2677250"/>
                  <a:pt x="1042268" y="2674307"/>
                </a:cubicBezTo>
                <a:cubicBezTo>
                  <a:pt x="1041752" y="2672138"/>
                  <a:pt x="1041649" y="2670125"/>
                  <a:pt x="1041959" y="2668266"/>
                </a:cubicBezTo>
                <a:cubicBezTo>
                  <a:pt x="1042682" y="2662689"/>
                  <a:pt x="1046399" y="2658507"/>
                  <a:pt x="1050219" y="2655874"/>
                </a:cubicBezTo>
                <a:cubicBezTo>
                  <a:pt x="1050426" y="2656339"/>
                  <a:pt x="1051149" y="2656184"/>
                  <a:pt x="1052284" y="2655874"/>
                </a:cubicBezTo>
                <a:lnTo>
                  <a:pt x="1054763" y="2655254"/>
                </a:lnTo>
                <a:lnTo>
                  <a:pt x="1052594" y="2654480"/>
                </a:lnTo>
                <a:cubicBezTo>
                  <a:pt x="1051252" y="2654170"/>
                  <a:pt x="1050013" y="2654170"/>
                  <a:pt x="1049600" y="2654635"/>
                </a:cubicBezTo>
                <a:cubicBezTo>
                  <a:pt x="1049600" y="2653861"/>
                  <a:pt x="1048670" y="2653086"/>
                  <a:pt x="1048670" y="2653086"/>
                </a:cubicBezTo>
                <a:cubicBezTo>
                  <a:pt x="1049496" y="2652157"/>
                  <a:pt x="1050323" y="2652157"/>
                  <a:pt x="1051149" y="2652002"/>
                </a:cubicBezTo>
                <a:close/>
                <a:moveTo>
                  <a:pt x="928273" y="2651692"/>
                </a:moveTo>
                <a:cubicBezTo>
                  <a:pt x="931061" y="2653706"/>
                  <a:pt x="929409" y="2660211"/>
                  <a:pt x="926002" y="2661915"/>
                </a:cubicBezTo>
                <a:cubicBezTo>
                  <a:pt x="926725" y="2659282"/>
                  <a:pt x="926208" y="2657113"/>
                  <a:pt x="926105" y="2655564"/>
                </a:cubicBezTo>
                <a:cubicBezTo>
                  <a:pt x="926002" y="2654016"/>
                  <a:pt x="926208" y="2652776"/>
                  <a:pt x="928273" y="2651692"/>
                </a:cubicBezTo>
                <a:close/>
                <a:moveTo>
                  <a:pt x="1035247" y="2651227"/>
                </a:moveTo>
                <a:cubicBezTo>
                  <a:pt x="1035970" y="2653241"/>
                  <a:pt x="1036073" y="2655254"/>
                  <a:pt x="1035763" y="2657268"/>
                </a:cubicBezTo>
                <a:lnTo>
                  <a:pt x="1033905" y="2662999"/>
                </a:lnTo>
                <a:lnTo>
                  <a:pt x="1033698" y="2663309"/>
                </a:lnTo>
                <a:cubicBezTo>
                  <a:pt x="1031736" y="2667336"/>
                  <a:pt x="1028742" y="2670744"/>
                  <a:pt x="1026367" y="2672603"/>
                </a:cubicBezTo>
                <a:cubicBezTo>
                  <a:pt x="1025541" y="2670589"/>
                  <a:pt x="1025335" y="2668421"/>
                  <a:pt x="1025644" y="2666252"/>
                </a:cubicBezTo>
                <a:cubicBezTo>
                  <a:pt x="1026264" y="2659746"/>
                  <a:pt x="1030807" y="2653086"/>
                  <a:pt x="1035247" y="2651227"/>
                </a:cubicBezTo>
                <a:close/>
                <a:moveTo>
                  <a:pt x="944485" y="2649368"/>
                </a:moveTo>
                <a:cubicBezTo>
                  <a:pt x="946343" y="2650762"/>
                  <a:pt x="949957" y="2651847"/>
                  <a:pt x="949234" y="2655254"/>
                </a:cubicBezTo>
                <a:cubicBezTo>
                  <a:pt x="947892" y="2654325"/>
                  <a:pt x="945001" y="2652466"/>
                  <a:pt x="944278" y="2650918"/>
                </a:cubicBezTo>
                <a:cubicBezTo>
                  <a:pt x="944072" y="2650298"/>
                  <a:pt x="944072" y="2649833"/>
                  <a:pt x="944485" y="2649368"/>
                </a:cubicBezTo>
                <a:close/>
                <a:moveTo>
                  <a:pt x="1070044" y="2649059"/>
                </a:moveTo>
                <a:cubicBezTo>
                  <a:pt x="1074071" y="2650143"/>
                  <a:pt x="1085120" y="2651692"/>
                  <a:pt x="1089869" y="2655254"/>
                </a:cubicBezTo>
                <a:lnTo>
                  <a:pt x="1090489" y="2656029"/>
                </a:lnTo>
                <a:lnTo>
                  <a:pt x="1092244" y="2654480"/>
                </a:lnTo>
                <a:cubicBezTo>
                  <a:pt x="1092864" y="2654016"/>
                  <a:pt x="1093277" y="2653861"/>
                  <a:pt x="1093277" y="2653861"/>
                </a:cubicBezTo>
                <a:cubicBezTo>
                  <a:pt x="1093277" y="2653861"/>
                  <a:pt x="1093174" y="2653861"/>
                  <a:pt x="1091625" y="2653241"/>
                </a:cubicBezTo>
                <a:cubicBezTo>
                  <a:pt x="1094826" y="2654325"/>
                  <a:pt x="1098440" y="2654016"/>
                  <a:pt x="1101641" y="2655099"/>
                </a:cubicBezTo>
                <a:cubicBezTo>
                  <a:pt x="1108972" y="2665323"/>
                  <a:pt x="1107630" y="2668575"/>
                  <a:pt x="1103706" y="2671518"/>
                </a:cubicBezTo>
                <a:lnTo>
                  <a:pt x="1099989" y="2674152"/>
                </a:lnTo>
                <a:lnTo>
                  <a:pt x="1104738" y="2673222"/>
                </a:lnTo>
                <a:cubicBezTo>
                  <a:pt x="1107217" y="2672913"/>
                  <a:pt x="1109592" y="2672603"/>
                  <a:pt x="1111657" y="2673378"/>
                </a:cubicBezTo>
                <a:cubicBezTo>
                  <a:pt x="1110418" y="2673687"/>
                  <a:pt x="1104842" y="2674617"/>
                  <a:pt x="1100918" y="2674772"/>
                </a:cubicBezTo>
                <a:lnTo>
                  <a:pt x="1099266" y="2674617"/>
                </a:lnTo>
                <a:lnTo>
                  <a:pt x="1099059" y="2674617"/>
                </a:lnTo>
                <a:lnTo>
                  <a:pt x="1098853" y="2674617"/>
                </a:lnTo>
                <a:lnTo>
                  <a:pt x="1097717" y="2674462"/>
                </a:lnTo>
                <a:lnTo>
                  <a:pt x="1098440" y="2674307"/>
                </a:lnTo>
                <a:lnTo>
                  <a:pt x="1093793" y="2671829"/>
                </a:lnTo>
                <a:cubicBezTo>
                  <a:pt x="1091831" y="2670899"/>
                  <a:pt x="1089973" y="2669815"/>
                  <a:pt x="1088940" y="2667801"/>
                </a:cubicBezTo>
                <a:cubicBezTo>
                  <a:pt x="1088940" y="2667801"/>
                  <a:pt x="1088631" y="2667182"/>
                  <a:pt x="1088424" y="2666407"/>
                </a:cubicBezTo>
                <a:cubicBezTo>
                  <a:pt x="1088321" y="2665478"/>
                  <a:pt x="1088321" y="2664084"/>
                  <a:pt x="1088734" y="2662535"/>
                </a:cubicBezTo>
                <a:lnTo>
                  <a:pt x="1088734" y="2659127"/>
                </a:lnTo>
                <a:lnTo>
                  <a:pt x="1085843" y="2658817"/>
                </a:lnTo>
                <a:cubicBezTo>
                  <a:pt x="1078615" y="2657888"/>
                  <a:pt x="1069322" y="2656184"/>
                  <a:pt x="1070044" y="2649059"/>
                </a:cubicBezTo>
                <a:close/>
                <a:moveTo>
                  <a:pt x="1250743" y="2648284"/>
                </a:moveTo>
                <a:lnTo>
                  <a:pt x="1253944" y="2652002"/>
                </a:lnTo>
                <a:lnTo>
                  <a:pt x="1256422" y="2651537"/>
                </a:lnTo>
                <a:cubicBezTo>
                  <a:pt x="1258384" y="2651692"/>
                  <a:pt x="1260242" y="2652621"/>
                  <a:pt x="1261585" y="2654790"/>
                </a:cubicBezTo>
                <a:cubicBezTo>
                  <a:pt x="1260346" y="2655254"/>
                  <a:pt x="1258590" y="2656184"/>
                  <a:pt x="1256422" y="2657113"/>
                </a:cubicBezTo>
                <a:lnTo>
                  <a:pt x="1255389" y="2657578"/>
                </a:lnTo>
                <a:lnTo>
                  <a:pt x="1255389" y="2657733"/>
                </a:lnTo>
                <a:cubicBezTo>
                  <a:pt x="1255080" y="2658817"/>
                  <a:pt x="1254357" y="2659437"/>
                  <a:pt x="1254357" y="2659437"/>
                </a:cubicBezTo>
                <a:cubicBezTo>
                  <a:pt x="1252085" y="2661141"/>
                  <a:pt x="1249607" y="2662070"/>
                  <a:pt x="1247129" y="2661915"/>
                </a:cubicBezTo>
                <a:lnTo>
                  <a:pt x="1245580" y="2660985"/>
                </a:lnTo>
                <a:lnTo>
                  <a:pt x="1242999" y="2661450"/>
                </a:lnTo>
                <a:cubicBezTo>
                  <a:pt x="1241140" y="2661450"/>
                  <a:pt x="1239591" y="2660831"/>
                  <a:pt x="1238662" y="2659127"/>
                </a:cubicBezTo>
                <a:lnTo>
                  <a:pt x="1240521" y="2658042"/>
                </a:lnTo>
                <a:lnTo>
                  <a:pt x="1241450" y="2653396"/>
                </a:lnTo>
                <a:cubicBezTo>
                  <a:pt x="1242379" y="2652002"/>
                  <a:pt x="1243722" y="2650762"/>
                  <a:pt x="1244961" y="2649368"/>
                </a:cubicBezTo>
                <a:cubicBezTo>
                  <a:pt x="1247335" y="2647665"/>
                  <a:pt x="1249194" y="2647510"/>
                  <a:pt x="1250743" y="2648284"/>
                </a:cubicBezTo>
                <a:close/>
                <a:moveTo>
                  <a:pt x="1119195" y="2647820"/>
                </a:moveTo>
                <a:lnTo>
                  <a:pt x="1119091" y="2647974"/>
                </a:lnTo>
                <a:lnTo>
                  <a:pt x="1119401" y="2649368"/>
                </a:lnTo>
                <a:lnTo>
                  <a:pt x="1119504" y="2647820"/>
                </a:lnTo>
                <a:close/>
                <a:moveTo>
                  <a:pt x="561611" y="2647820"/>
                </a:moveTo>
                <a:cubicBezTo>
                  <a:pt x="564605" y="2646580"/>
                  <a:pt x="567496" y="2646735"/>
                  <a:pt x="570078" y="2647820"/>
                </a:cubicBezTo>
                <a:cubicBezTo>
                  <a:pt x="577719" y="2651227"/>
                  <a:pt x="582675" y="2662844"/>
                  <a:pt x="579681" y="2669815"/>
                </a:cubicBezTo>
                <a:cubicBezTo>
                  <a:pt x="570698" y="2673687"/>
                  <a:pt x="560888" y="2664393"/>
                  <a:pt x="559649" y="2655874"/>
                </a:cubicBezTo>
                <a:cubicBezTo>
                  <a:pt x="559236" y="2652931"/>
                  <a:pt x="559752" y="2650143"/>
                  <a:pt x="561611" y="2647820"/>
                </a:cubicBezTo>
                <a:close/>
                <a:moveTo>
                  <a:pt x="1184349" y="2647355"/>
                </a:moveTo>
                <a:cubicBezTo>
                  <a:pt x="1187653" y="2647820"/>
                  <a:pt x="1190751" y="2649368"/>
                  <a:pt x="1193333" y="2652621"/>
                </a:cubicBezTo>
                <a:lnTo>
                  <a:pt x="1180735" y="2657888"/>
                </a:lnTo>
                <a:lnTo>
                  <a:pt x="1181251" y="2658507"/>
                </a:lnTo>
                <a:cubicBezTo>
                  <a:pt x="1182181" y="2659282"/>
                  <a:pt x="1182181" y="2659282"/>
                  <a:pt x="1183110" y="2658353"/>
                </a:cubicBezTo>
                <a:cubicBezTo>
                  <a:pt x="1183523" y="2658817"/>
                  <a:pt x="1183730" y="2659127"/>
                  <a:pt x="1183833" y="2659437"/>
                </a:cubicBezTo>
                <a:lnTo>
                  <a:pt x="1183833" y="2659901"/>
                </a:lnTo>
                <a:lnTo>
                  <a:pt x="1188583" y="2661915"/>
                </a:lnTo>
                <a:lnTo>
                  <a:pt x="1192816" y="2665323"/>
                </a:lnTo>
                <a:lnTo>
                  <a:pt x="1194571" y="2666717"/>
                </a:lnTo>
                <a:cubicBezTo>
                  <a:pt x="1199011" y="2671364"/>
                  <a:pt x="1199838" y="2675546"/>
                  <a:pt x="1199838" y="2675546"/>
                </a:cubicBezTo>
                <a:cubicBezTo>
                  <a:pt x="1194985" y="2682516"/>
                  <a:pt x="1188273" y="2680812"/>
                  <a:pt x="1182491" y="2677714"/>
                </a:cubicBezTo>
                <a:lnTo>
                  <a:pt x="1181974" y="2678644"/>
                </a:lnTo>
                <a:cubicBezTo>
                  <a:pt x="1181664" y="2679108"/>
                  <a:pt x="1181355" y="2679418"/>
                  <a:pt x="1181355" y="2679418"/>
                </a:cubicBezTo>
                <a:cubicBezTo>
                  <a:pt x="1180219" y="2678954"/>
                  <a:pt x="1180219" y="2678954"/>
                  <a:pt x="1180941" y="2678644"/>
                </a:cubicBezTo>
                <a:cubicBezTo>
                  <a:pt x="1180941" y="2677714"/>
                  <a:pt x="1181045" y="2677405"/>
                  <a:pt x="1181251" y="2677250"/>
                </a:cubicBezTo>
                <a:lnTo>
                  <a:pt x="1181355" y="2677095"/>
                </a:lnTo>
                <a:lnTo>
                  <a:pt x="1177224" y="2674462"/>
                </a:lnTo>
                <a:cubicBezTo>
                  <a:pt x="1173817" y="2672448"/>
                  <a:pt x="1170409" y="2669970"/>
                  <a:pt x="1169893" y="2667182"/>
                </a:cubicBezTo>
                <a:cubicBezTo>
                  <a:pt x="1169790" y="2666407"/>
                  <a:pt x="1169996" y="2665478"/>
                  <a:pt x="1170616" y="2664549"/>
                </a:cubicBezTo>
                <a:cubicBezTo>
                  <a:pt x="1172165" y="2661760"/>
                  <a:pt x="1175056" y="2660056"/>
                  <a:pt x="1178360" y="2659592"/>
                </a:cubicBezTo>
                <a:lnTo>
                  <a:pt x="1182284" y="2659901"/>
                </a:lnTo>
                <a:lnTo>
                  <a:pt x="1181148" y="2658972"/>
                </a:lnTo>
                <a:lnTo>
                  <a:pt x="1180219" y="2658197"/>
                </a:lnTo>
                <a:lnTo>
                  <a:pt x="1177637" y="2659282"/>
                </a:lnTo>
                <a:cubicBezTo>
                  <a:pt x="1172268" y="2661450"/>
                  <a:pt x="1166692" y="2663154"/>
                  <a:pt x="1160806" y="2663309"/>
                </a:cubicBezTo>
                <a:cubicBezTo>
                  <a:pt x="1161633" y="2661296"/>
                  <a:pt x="1162872" y="2659127"/>
                  <a:pt x="1164524" y="2657113"/>
                </a:cubicBezTo>
                <a:lnTo>
                  <a:pt x="1169480" y="2652466"/>
                </a:lnTo>
                <a:lnTo>
                  <a:pt x="1169584" y="2652466"/>
                </a:lnTo>
                <a:lnTo>
                  <a:pt x="1170203" y="2651692"/>
                </a:lnTo>
                <a:cubicBezTo>
                  <a:pt x="1174437" y="2648594"/>
                  <a:pt x="1179599" y="2646735"/>
                  <a:pt x="1184349" y="2647355"/>
                </a:cubicBezTo>
                <a:close/>
                <a:moveTo>
                  <a:pt x="895851" y="2647045"/>
                </a:moveTo>
                <a:cubicBezTo>
                  <a:pt x="897090" y="2647355"/>
                  <a:pt x="899878" y="2648439"/>
                  <a:pt x="899052" y="2648904"/>
                </a:cubicBezTo>
                <a:cubicBezTo>
                  <a:pt x="898742" y="2649988"/>
                  <a:pt x="899569" y="2649523"/>
                  <a:pt x="899982" y="2650143"/>
                </a:cubicBezTo>
                <a:cubicBezTo>
                  <a:pt x="899155" y="2653706"/>
                  <a:pt x="897400" y="2655874"/>
                  <a:pt x="894199" y="2656029"/>
                </a:cubicBezTo>
                <a:cubicBezTo>
                  <a:pt x="891825" y="2655564"/>
                  <a:pt x="888314" y="2655099"/>
                  <a:pt x="888417" y="2652002"/>
                </a:cubicBezTo>
                <a:cubicBezTo>
                  <a:pt x="889140" y="2651537"/>
                  <a:pt x="888726" y="2650762"/>
                  <a:pt x="889449" y="2650298"/>
                </a:cubicBezTo>
                <a:cubicBezTo>
                  <a:pt x="889449" y="2650298"/>
                  <a:pt x="889965" y="2649523"/>
                  <a:pt x="890998" y="2648749"/>
                </a:cubicBezTo>
                <a:cubicBezTo>
                  <a:pt x="892031" y="2647974"/>
                  <a:pt x="893683" y="2647045"/>
                  <a:pt x="895851" y="2647045"/>
                </a:cubicBezTo>
                <a:close/>
                <a:moveTo>
                  <a:pt x="773493" y="2645651"/>
                </a:moveTo>
                <a:lnTo>
                  <a:pt x="777623" y="2649368"/>
                </a:lnTo>
                <a:lnTo>
                  <a:pt x="778242" y="2649214"/>
                </a:lnTo>
                <a:cubicBezTo>
                  <a:pt x="781030" y="2649833"/>
                  <a:pt x="781856" y="2654635"/>
                  <a:pt x="780721" y="2657578"/>
                </a:cubicBezTo>
                <a:lnTo>
                  <a:pt x="779482" y="2659437"/>
                </a:lnTo>
                <a:lnTo>
                  <a:pt x="779482" y="2659592"/>
                </a:lnTo>
                <a:cubicBezTo>
                  <a:pt x="777003" y="2662535"/>
                  <a:pt x="777003" y="2662380"/>
                  <a:pt x="771634" y="2659127"/>
                </a:cubicBezTo>
                <a:cubicBezTo>
                  <a:pt x="770704" y="2658353"/>
                  <a:pt x="769982" y="2657423"/>
                  <a:pt x="769569" y="2656339"/>
                </a:cubicBezTo>
                <a:cubicBezTo>
                  <a:pt x="769156" y="2655254"/>
                  <a:pt x="769156" y="2654016"/>
                  <a:pt x="769569" y="2652776"/>
                </a:cubicBezTo>
                <a:cubicBezTo>
                  <a:pt x="769053" y="2652002"/>
                  <a:pt x="768743" y="2650918"/>
                  <a:pt x="768640" y="2649988"/>
                </a:cubicBezTo>
                <a:cubicBezTo>
                  <a:pt x="768640" y="2648904"/>
                  <a:pt x="768743" y="2647820"/>
                  <a:pt x="769156" y="2647045"/>
                </a:cubicBezTo>
                <a:cubicBezTo>
                  <a:pt x="770808" y="2645186"/>
                  <a:pt x="772563" y="2644877"/>
                  <a:pt x="773493" y="2645651"/>
                </a:cubicBezTo>
                <a:close/>
                <a:moveTo>
                  <a:pt x="910823" y="2645186"/>
                </a:moveTo>
                <a:cubicBezTo>
                  <a:pt x="913611" y="2646735"/>
                  <a:pt x="917741" y="2645031"/>
                  <a:pt x="918155" y="2650298"/>
                </a:cubicBezTo>
                <a:cubicBezTo>
                  <a:pt x="915160" y="2654790"/>
                  <a:pt x="907622" y="2654635"/>
                  <a:pt x="906487" y="2648904"/>
                </a:cubicBezTo>
                <a:cubicBezTo>
                  <a:pt x="908242" y="2647820"/>
                  <a:pt x="909171" y="2646271"/>
                  <a:pt x="910823" y="2645186"/>
                </a:cubicBezTo>
                <a:close/>
                <a:moveTo>
                  <a:pt x="518372" y="2644954"/>
                </a:moveTo>
                <a:cubicBezTo>
                  <a:pt x="520463" y="2645225"/>
                  <a:pt x="522787" y="2646348"/>
                  <a:pt x="525368" y="2648749"/>
                </a:cubicBezTo>
                <a:cubicBezTo>
                  <a:pt x="527124" y="2649833"/>
                  <a:pt x="526297" y="2649678"/>
                  <a:pt x="527124" y="2650608"/>
                </a:cubicBezTo>
                <a:cubicBezTo>
                  <a:pt x="527949" y="2651537"/>
                  <a:pt x="529705" y="2652621"/>
                  <a:pt x="530531" y="2652621"/>
                </a:cubicBezTo>
                <a:cubicBezTo>
                  <a:pt x="528569" y="2654945"/>
                  <a:pt x="529498" y="2656649"/>
                  <a:pt x="528259" y="2659282"/>
                </a:cubicBezTo>
                <a:lnTo>
                  <a:pt x="527846" y="2659901"/>
                </a:lnTo>
                <a:lnTo>
                  <a:pt x="533732" y="2657578"/>
                </a:lnTo>
                <a:cubicBezTo>
                  <a:pt x="540650" y="2658817"/>
                  <a:pt x="546845" y="2669195"/>
                  <a:pt x="536313" y="2672758"/>
                </a:cubicBezTo>
                <a:cubicBezTo>
                  <a:pt x="534041" y="2669970"/>
                  <a:pt x="532183" y="2667646"/>
                  <a:pt x="530634" y="2665632"/>
                </a:cubicBezTo>
                <a:lnTo>
                  <a:pt x="527433" y="2660366"/>
                </a:lnTo>
                <a:lnTo>
                  <a:pt x="525988" y="2662225"/>
                </a:lnTo>
                <a:cubicBezTo>
                  <a:pt x="520722" y="2668421"/>
                  <a:pt x="514732" y="2666252"/>
                  <a:pt x="511222" y="2663309"/>
                </a:cubicBezTo>
                <a:cubicBezTo>
                  <a:pt x="511945" y="2662689"/>
                  <a:pt x="507298" y="2658817"/>
                  <a:pt x="507504" y="2654016"/>
                </a:cubicBezTo>
                <a:cubicBezTo>
                  <a:pt x="507608" y="2652311"/>
                  <a:pt x="508227" y="2650608"/>
                  <a:pt x="509776" y="2648904"/>
                </a:cubicBezTo>
                <a:cubicBezTo>
                  <a:pt x="510705" y="2647974"/>
                  <a:pt x="511635" y="2647045"/>
                  <a:pt x="512771" y="2646271"/>
                </a:cubicBezTo>
                <a:cubicBezTo>
                  <a:pt x="514423" y="2645264"/>
                  <a:pt x="516281" y="2644683"/>
                  <a:pt x="518372" y="2644954"/>
                </a:cubicBezTo>
                <a:close/>
                <a:moveTo>
                  <a:pt x="718147" y="2644877"/>
                </a:moveTo>
                <a:cubicBezTo>
                  <a:pt x="717321" y="2654790"/>
                  <a:pt x="714224" y="2662225"/>
                  <a:pt x="708957" y="2667491"/>
                </a:cubicBezTo>
                <a:cubicBezTo>
                  <a:pt x="707202" y="2669195"/>
                  <a:pt x="705240" y="2670589"/>
                  <a:pt x="702969" y="2671829"/>
                </a:cubicBezTo>
                <a:cubicBezTo>
                  <a:pt x="698322" y="2666562"/>
                  <a:pt x="702762" y="2660676"/>
                  <a:pt x="704827" y="2655564"/>
                </a:cubicBezTo>
                <a:cubicBezTo>
                  <a:pt x="698735" y="2654945"/>
                  <a:pt x="689442" y="2655719"/>
                  <a:pt x="689029" y="2649214"/>
                </a:cubicBezTo>
                <a:cubicBezTo>
                  <a:pt x="690165" y="2647974"/>
                  <a:pt x="691507" y="2647355"/>
                  <a:pt x="693056" y="2647200"/>
                </a:cubicBezTo>
                <a:cubicBezTo>
                  <a:pt x="697393" y="2646580"/>
                  <a:pt x="703175" y="2649368"/>
                  <a:pt x="708751" y="2649059"/>
                </a:cubicBezTo>
                <a:cubicBezTo>
                  <a:pt x="711849" y="2647665"/>
                  <a:pt x="711435" y="2643483"/>
                  <a:pt x="718147" y="2644877"/>
                </a:cubicBezTo>
                <a:close/>
                <a:moveTo>
                  <a:pt x="1297208" y="2643173"/>
                </a:moveTo>
                <a:cubicBezTo>
                  <a:pt x="1301029" y="2643017"/>
                  <a:pt x="1305159" y="2643328"/>
                  <a:pt x="1309392" y="2643947"/>
                </a:cubicBezTo>
                <a:lnTo>
                  <a:pt x="1315691" y="2645496"/>
                </a:lnTo>
                <a:lnTo>
                  <a:pt x="1319305" y="2643173"/>
                </a:lnTo>
                <a:lnTo>
                  <a:pt x="1320028" y="2646425"/>
                </a:lnTo>
                <a:lnTo>
                  <a:pt x="1321990" y="2647045"/>
                </a:lnTo>
                <a:lnTo>
                  <a:pt x="1327359" y="2649833"/>
                </a:lnTo>
                <a:lnTo>
                  <a:pt x="1327669" y="2649368"/>
                </a:lnTo>
                <a:cubicBezTo>
                  <a:pt x="1328495" y="2648749"/>
                  <a:pt x="1329424" y="2648749"/>
                  <a:pt x="1330250" y="2649214"/>
                </a:cubicBezTo>
                <a:lnTo>
                  <a:pt x="1332831" y="2652621"/>
                </a:lnTo>
                <a:lnTo>
                  <a:pt x="1333554" y="2652931"/>
                </a:lnTo>
                <a:cubicBezTo>
                  <a:pt x="1337065" y="2655564"/>
                  <a:pt x="1340060" y="2658507"/>
                  <a:pt x="1342434" y="2662380"/>
                </a:cubicBezTo>
                <a:cubicBezTo>
                  <a:pt x="1344293" y="2665478"/>
                  <a:pt x="1345429" y="2668266"/>
                  <a:pt x="1345842" y="2671054"/>
                </a:cubicBezTo>
                <a:lnTo>
                  <a:pt x="1345945" y="2674152"/>
                </a:lnTo>
                <a:lnTo>
                  <a:pt x="1347081" y="2676166"/>
                </a:lnTo>
                <a:cubicBezTo>
                  <a:pt x="1348630" y="2679263"/>
                  <a:pt x="1351108" y="2684685"/>
                  <a:pt x="1351108" y="2687008"/>
                </a:cubicBezTo>
                <a:cubicBezTo>
                  <a:pt x="1350282" y="2684840"/>
                  <a:pt x="1348940" y="2682671"/>
                  <a:pt x="1347804" y="2680348"/>
                </a:cubicBezTo>
                <a:lnTo>
                  <a:pt x="1345945" y="2674462"/>
                </a:lnTo>
                <a:lnTo>
                  <a:pt x="1346048" y="2679263"/>
                </a:lnTo>
                <a:cubicBezTo>
                  <a:pt x="1345532" y="2684530"/>
                  <a:pt x="1343983" y="2689951"/>
                  <a:pt x="1344190" y="2696457"/>
                </a:cubicBezTo>
                <a:cubicBezTo>
                  <a:pt x="1333348" y="2698161"/>
                  <a:pt x="1333141" y="2704511"/>
                  <a:pt x="1329734" y="2709158"/>
                </a:cubicBezTo>
                <a:cubicBezTo>
                  <a:pt x="1327772" y="2708694"/>
                  <a:pt x="1325810" y="2708384"/>
                  <a:pt x="1323641" y="2708384"/>
                </a:cubicBezTo>
                <a:lnTo>
                  <a:pt x="1319202" y="2708539"/>
                </a:lnTo>
                <a:lnTo>
                  <a:pt x="1316620" y="2711637"/>
                </a:lnTo>
                <a:lnTo>
                  <a:pt x="1315485" y="2711017"/>
                </a:lnTo>
                <a:lnTo>
                  <a:pt x="1314245" y="2712721"/>
                </a:lnTo>
                <a:cubicBezTo>
                  <a:pt x="1311664" y="2714735"/>
                  <a:pt x="1308257" y="2715044"/>
                  <a:pt x="1306192" y="2713341"/>
                </a:cubicBezTo>
                <a:lnTo>
                  <a:pt x="1304436" y="2709933"/>
                </a:lnTo>
                <a:lnTo>
                  <a:pt x="1303403" y="2709933"/>
                </a:lnTo>
                <a:cubicBezTo>
                  <a:pt x="1299480" y="2706061"/>
                  <a:pt x="1295246" y="2702963"/>
                  <a:pt x="1291116" y="2699710"/>
                </a:cubicBezTo>
                <a:lnTo>
                  <a:pt x="1289877" y="2698780"/>
                </a:lnTo>
                <a:lnTo>
                  <a:pt x="1289567" y="2701259"/>
                </a:lnTo>
                <a:lnTo>
                  <a:pt x="1285953" y="2704511"/>
                </a:lnTo>
                <a:lnTo>
                  <a:pt x="1287296" y="2708074"/>
                </a:lnTo>
                <a:cubicBezTo>
                  <a:pt x="1287708" y="2711327"/>
                  <a:pt x="1287399" y="2714580"/>
                  <a:pt x="1285953" y="2717058"/>
                </a:cubicBezTo>
                <a:lnTo>
                  <a:pt x="1282030" y="2720001"/>
                </a:lnTo>
                <a:lnTo>
                  <a:pt x="1282030" y="2720621"/>
                </a:lnTo>
                <a:cubicBezTo>
                  <a:pt x="1280274" y="2722325"/>
                  <a:pt x="1277693" y="2723254"/>
                  <a:pt x="1276867" y="2722479"/>
                </a:cubicBezTo>
                <a:cubicBezTo>
                  <a:pt x="1275628" y="2721240"/>
                  <a:pt x="1274389" y="2720001"/>
                  <a:pt x="1275008" y="2718452"/>
                </a:cubicBezTo>
                <a:cubicBezTo>
                  <a:pt x="1275215" y="2717832"/>
                  <a:pt x="1275525" y="2717213"/>
                  <a:pt x="1276247" y="2716593"/>
                </a:cubicBezTo>
                <a:cubicBezTo>
                  <a:pt x="1276247" y="2716593"/>
                  <a:pt x="1276247" y="2716593"/>
                  <a:pt x="1277073" y="2716593"/>
                </a:cubicBezTo>
                <a:lnTo>
                  <a:pt x="1278622" y="2716439"/>
                </a:lnTo>
                <a:lnTo>
                  <a:pt x="1274698" y="2711327"/>
                </a:lnTo>
                <a:cubicBezTo>
                  <a:pt x="1273046" y="2707609"/>
                  <a:pt x="1272014" y="2703118"/>
                  <a:pt x="1272220" y="2697851"/>
                </a:cubicBezTo>
                <a:cubicBezTo>
                  <a:pt x="1276763" y="2693824"/>
                  <a:pt x="1280997" y="2695528"/>
                  <a:pt x="1283785" y="2699245"/>
                </a:cubicBezTo>
                <a:lnTo>
                  <a:pt x="1283991" y="2699555"/>
                </a:lnTo>
                <a:lnTo>
                  <a:pt x="1284611" y="2699245"/>
                </a:lnTo>
                <a:cubicBezTo>
                  <a:pt x="1286263" y="2698471"/>
                  <a:pt x="1288018" y="2697386"/>
                  <a:pt x="1288018" y="2697386"/>
                </a:cubicBezTo>
                <a:lnTo>
                  <a:pt x="1289464" y="2698471"/>
                </a:lnTo>
                <a:lnTo>
                  <a:pt x="1278829" y="2689642"/>
                </a:lnTo>
                <a:lnTo>
                  <a:pt x="1278725" y="2682516"/>
                </a:lnTo>
                <a:lnTo>
                  <a:pt x="1278622" y="2682361"/>
                </a:lnTo>
                <a:cubicBezTo>
                  <a:pt x="1278312" y="2682516"/>
                  <a:pt x="1278106" y="2682826"/>
                  <a:pt x="1277693" y="2682671"/>
                </a:cubicBezTo>
                <a:cubicBezTo>
                  <a:pt x="1277693" y="2682671"/>
                  <a:pt x="1278519" y="2682671"/>
                  <a:pt x="1277590" y="2683601"/>
                </a:cubicBezTo>
                <a:cubicBezTo>
                  <a:pt x="1277693" y="2682671"/>
                  <a:pt x="1276867" y="2682671"/>
                  <a:pt x="1275937" y="2682671"/>
                </a:cubicBezTo>
                <a:cubicBezTo>
                  <a:pt x="1274389" y="2680967"/>
                  <a:pt x="1273046" y="2678334"/>
                  <a:pt x="1274079" y="2676630"/>
                </a:cubicBezTo>
                <a:cubicBezTo>
                  <a:pt x="1275008" y="2675856"/>
                  <a:pt x="1275937" y="2675701"/>
                  <a:pt x="1276660" y="2675701"/>
                </a:cubicBezTo>
                <a:lnTo>
                  <a:pt x="1277899" y="2676475"/>
                </a:lnTo>
                <a:lnTo>
                  <a:pt x="1276867" y="2671364"/>
                </a:lnTo>
                <a:cubicBezTo>
                  <a:pt x="1275731" y="2665013"/>
                  <a:pt x="1275318" y="2658817"/>
                  <a:pt x="1279655" y="2654170"/>
                </a:cubicBezTo>
                <a:cubicBezTo>
                  <a:pt x="1290496" y="2652466"/>
                  <a:pt x="1291529" y="2646580"/>
                  <a:pt x="1297208" y="2643173"/>
                </a:cubicBezTo>
                <a:close/>
                <a:moveTo>
                  <a:pt x="1359885" y="2643017"/>
                </a:moveTo>
                <a:cubicBezTo>
                  <a:pt x="1361640" y="2645961"/>
                  <a:pt x="1357510" y="2651692"/>
                  <a:pt x="1353896" y="2652002"/>
                </a:cubicBezTo>
                <a:cubicBezTo>
                  <a:pt x="1357303" y="2647355"/>
                  <a:pt x="1355341" y="2643637"/>
                  <a:pt x="1359885" y="2643017"/>
                </a:cubicBezTo>
                <a:close/>
                <a:moveTo>
                  <a:pt x="1019965" y="2642863"/>
                </a:moveTo>
                <a:cubicBezTo>
                  <a:pt x="1020791" y="2643792"/>
                  <a:pt x="1022650" y="2642863"/>
                  <a:pt x="1023476" y="2643792"/>
                </a:cubicBezTo>
                <a:cubicBezTo>
                  <a:pt x="1023476" y="2643792"/>
                  <a:pt x="1024096" y="2646271"/>
                  <a:pt x="1024096" y="2646271"/>
                </a:cubicBezTo>
                <a:cubicBezTo>
                  <a:pt x="1023063" y="2647200"/>
                  <a:pt x="1023063" y="2647200"/>
                  <a:pt x="1023166" y="2646271"/>
                </a:cubicBezTo>
                <a:cubicBezTo>
                  <a:pt x="1021307" y="2647200"/>
                  <a:pt x="1020378" y="2647200"/>
                  <a:pt x="1019449" y="2647045"/>
                </a:cubicBezTo>
                <a:cubicBezTo>
                  <a:pt x="1019139" y="2646735"/>
                  <a:pt x="1018933" y="2645961"/>
                  <a:pt x="1019036" y="2645186"/>
                </a:cubicBezTo>
                <a:cubicBezTo>
                  <a:pt x="1019139" y="2644567"/>
                  <a:pt x="1019449" y="2643637"/>
                  <a:pt x="1019965" y="2642863"/>
                </a:cubicBezTo>
                <a:close/>
                <a:moveTo>
                  <a:pt x="1388177" y="2641314"/>
                </a:moveTo>
                <a:cubicBezTo>
                  <a:pt x="1391688" y="2645186"/>
                  <a:pt x="1395921" y="2645806"/>
                  <a:pt x="1398812" y="2648594"/>
                </a:cubicBezTo>
                <a:cubicBezTo>
                  <a:pt x="1394166" y="2649833"/>
                  <a:pt x="1385905" y="2651227"/>
                  <a:pt x="1385079" y="2643483"/>
                </a:cubicBezTo>
                <a:cubicBezTo>
                  <a:pt x="1386112" y="2642708"/>
                  <a:pt x="1387144" y="2641933"/>
                  <a:pt x="1388177" y="2641314"/>
                </a:cubicBezTo>
                <a:close/>
                <a:moveTo>
                  <a:pt x="450817" y="2641159"/>
                </a:moveTo>
                <a:cubicBezTo>
                  <a:pt x="451023" y="2641004"/>
                  <a:pt x="451230" y="2641004"/>
                  <a:pt x="451643" y="2641469"/>
                </a:cubicBezTo>
                <a:cubicBezTo>
                  <a:pt x="452469" y="2642398"/>
                  <a:pt x="452469" y="2642243"/>
                  <a:pt x="452366" y="2644721"/>
                </a:cubicBezTo>
                <a:cubicBezTo>
                  <a:pt x="451643" y="2643792"/>
                  <a:pt x="451540" y="2643947"/>
                  <a:pt x="450714" y="2644567"/>
                </a:cubicBezTo>
                <a:cubicBezTo>
                  <a:pt x="450714" y="2644567"/>
                  <a:pt x="450714" y="2644567"/>
                  <a:pt x="450714" y="2645341"/>
                </a:cubicBezTo>
                <a:cubicBezTo>
                  <a:pt x="449888" y="2645341"/>
                  <a:pt x="449991" y="2644567"/>
                  <a:pt x="449165" y="2644412"/>
                </a:cubicBezTo>
                <a:cubicBezTo>
                  <a:pt x="449165" y="2644412"/>
                  <a:pt x="449165" y="2643637"/>
                  <a:pt x="449165" y="2643637"/>
                </a:cubicBezTo>
                <a:cubicBezTo>
                  <a:pt x="448752" y="2643637"/>
                  <a:pt x="448752" y="2643637"/>
                  <a:pt x="448959" y="2643328"/>
                </a:cubicBezTo>
                <a:cubicBezTo>
                  <a:pt x="449165" y="2643173"/>
                  <a:pt x="449578" y="2642863"/>
                  <a:pt x="449991" y="2642088"/>
                </a:cubicBezTo>
                <a:cubicBezTo>
                  <a:pt x="450404" y="2641778"/>
                  <a:pt x="450611" y="2641314"/>
                  <a:pt x="450817" y="2641159"/>
                </a:cubicBezTo>
                <a:close/>
                <a:moveTo>
                  <a:pt x="829251" y="2640849"/>
                </a:moveTo>
                <a:cubicBezTo>
                  <a:pt x="831729" y="2641159"/>
                  <a:pt x="831832" y="2643017"/>
                  <a:pt x="831832" y="2643017"/>
                </a:cubicBezTo>
                <a:cubicBezTo>
                  <a:pt x="831626" y="2646116"/>
                  <a:pt x="829767" y="2648284"/>
                  <a:pt x="826669" y="2648439"/>
                </a:cubicBezTo>
                <a:cubicBezTo>
                  <a:pt x="825018" y="2647510"/>
                  <a:pt x="824811" y="2645806"/>
                  <a:pt x="824708" y="2643947"/>
                </a:cubicBezTo>
                <a:cubicBezTo>
                  <a:pt x="824811" y="2642398"/>
                  <a:pt x="825327" y="2641469"/>
                  <a:pt x="826154" y="2641159"/>
                </a:cubicBezTo>
                <a:cubicBezTo>
                  <a:pt x="826979" y="2640694"/>
                  <a:pt x="828115" y="2640694"/>
                  <a:pt x="829251" y="2640849"/>
                </a:cubicBezTo>
                <a:close/>
                <a:moveTo>
                  <a:pt x="1115580" y="2640229"/>
                </a:moveTo>
                <a:cubicBezTo>
                  <a:pt x="1116097" y="2640539"/>
                  <a:pt x="1116200" y="2640849"/>
                  <a:pt x="1116303" y="2641314"/>
                </a:cubicBezTo>
                <a:cubicBezTo>
                  <a:pt x="1116303" y="2641624"/>
                  <a:pt x="1116097" y="2641778"/>
                  <a:pt x="1116097" y="2641778"/>
                </a:cubicBezTo>
                <a:cubicBezTo>
                  <a:pt x="1115580" y="2642863"/>
                  <a:pt x="1115168" y="2643792"/>
                  <a:pt x="1114032" y="2643328"/>
                </a:cubicBezTo>
                <a:cubicBezTo>
                  <a:pt x="1114032" y="2643328"/>
                  <a:pt x="1113929" y="2643017"/>
                  <a:pt x="1114032" y="2642553"/>
                </a:cubicBezTo>
                <a:cubicBezTo>
                  <a:pt x="1114032" y="2642088"/>
                  <a:pt x="1114238" y="2641469"/>
                  <a:pt x="1114755" y="2640384"/>
                </a:cubicBezTo>
                <a:cubicBezTo>
                  <a:pt x="1114961" y="2641159"/>
                  <a:pt x="1115890" y="2641004"/>
                  <a:pt x="1115890" y="2641004"/>
                </a:cubicBezTo>
                <a:cubicBezTo>
                  <a:pt x="1115890" y="2641004"/>
                  <a:pt x="1115890" y="2641004"/>
                  <a:pt x="1115580" y="2640229"/>
                </a:cubicBezTo>
                <a:close/>
                <a:moveTo>
                  <a:pt x="1039067" y="2638681"/>
                </a:moveTo>
                <a:cubicBezTo>
                  <a:pt x="1040617" y="2641933"/>
                  <a:pt x="1033595" y="2645496"/>
                  <a:pt x="1031943" y="2644877"/>
                </a:cubicBezTo>
                <a:cubicBezTo>
                  <a:pt x="1031117" y="2643173"/>
                  <a:pt x="1036693" y="2635428"/>
                  <a:pt x="1039067" y="2638681"/>
                </a:cubicBezTo>
                <a:close/>
                <a:moveTo>
                  <a:pt x="1067257" y="2638526"/>
                </a:moveTo>
                <a:cubicBezTo>
                  <a:pt x="1068909" y="2640075"/>
                  <a:pt x="1072316" y="2641624"/>
                  <a:pt x="1071284" y="2645031"/>
                </a:cubicBezTo>
                <a:cubicBezTo>
                  <a:pt x="1070044" y="2643792"/>
                  <a:pt x="1067360" y="2641778"/>
                  <a:pt x="1066844" y="2640075"/>
                </a:cubicBezTo>
                <a:cubicBezTo>
                  <a:pt x="1066637" y="2639455"/>
                  <a:pt x="1066740" y="2638990"/>
                  <a:pt x="1067257" y="2638526"/>
                </a:cubicBezTo>
                <a:close/>
                <a:moveTo>
                  <a:pt x="849593" y="2635583"/>
                </a:moveTo>
                <a:cubicBezTo>
                  <a:pt x="858782" y="2642708"/>
                  <a:pt x="861673" y="2655099"/>
                  <a:pt x="854446" y="2662070"/>
                </a:cubicBezTo>
                <a:cubicBezTo>
                  <a:pt x="851864" y="2664084"/>
                  <a:pt x="849386" y="2664858"/>
                  <a:pt x="847114" y="2665013"/>
                </a:cubicBezTo>
                <a:lnTo>
                  <a:pt x="842364" y="2663464"/>
                </a:lnTo>
                <a:lnTo>
                  <a:pt x="841745" y="2663774"/>
                </a:lnTo>
                <a:lnTo>
                  <a:pt x="841538" y="2663154"/>
                </a:lnTo>
                <a:lnTo>
                  <a:pt x="841022" y="2662999"/>
                </a:lnTo>
                <a:cubicBezTo>
                  <a:pt x="837511" y="2660366"/>
                  <a:pt x="835343" y="2655564"/>
                  <a:pt x="835653" y="2650608"/>
                </a:cubicBezTo>
                <a:cubicBezTo>
                  <a:pt x="836066" y="2644567"/>
                  <a:pt x="839990" y="2638371"/>
                  <a:pt x="849593" y="2635583"/>
                </a:cubicBezTo>
                <a:close/>
                <a:moveTo>
                  <a:pt x="505646" y="2635118"/>
                </a:moveTo>
                <a:cubicBezTo>
                  <a:pt x="508537" y="2633414"/>
                  <a:pt x="510189" y="2635428"/>
                  <a:pt x="512771" y="2637597"/>
                </a:cubicBezTo>
                <a:cubicBezTo>
                  <a:pt x="511841" y="2639145"/>
                  <a:pt x="512667" y="2641624"/>
                  <a:pt x="510912" y="2643173"/>
                </a:cubicBezTo>
                <a:cubicBezTo>
                  <a:pt x="510912" y="2643173"/>
                  <a:pt x="509983" y="2643947"/>
                  <a:pt x="508330" y="2643792"/>
                </a:cubicBezTo>
                <a:cubicBezTo>
                  <a:pt x="505646" y="2645186"/>
                  <a:pt x="503064" y="2642398"/>
                  <a:pt x="503064" y="2642398"/>
                </a:cubicBezTo>
                <a:cubicBezTo>
                  <a:pt x="503064" y="2642398"/>
                  <a:pt x="503064" y="2642398"/>
                  <a:pt x="503064" y="2643328"/>
                </a:cubicBezTo>
                <a:cubicBezTo>
                  <a:pt x="503064" y="2641624"/>
                  <a:pt x="502238" y="2639765"/>
                  <a:pt x="502238" y="2638216"/>
                </a:cubicBezTo>
                <a:cubicBezTo>
                  <a:pt x="503581" y="2636667"/>
                  <a:pt x="504717" y="2635738"/>
                  <a:pt x="505646" y="2635118"/>
                </a:cubicBezTo>
                <a:close/>
                <a:moveTo>
                  <a:pt x="1287193" y="2633879"/>
                </a:moveTo>
                <a:cubicBezTo>
                  <a:pt x="1288328" y="2635118"/>
                  <a:pt x="1290703" y="2637441"/>
                  <a:pt x="1291116" y="2639145"/>
                </a:cubicBezTo>
                <a:cubicBezTo>
                  <a:pt x="1291219" y="2639765"/>
                  <a:pt x="1291116" y="2640229"/>
                  <a:pt x="1290703" y="2640539"/>
                </a:cubicBezTo>
                <a:cubicBezTo>
                  <a:pt x="1289567" y="2639300"/>
                  <a:pt x="1287399" y="2638061"/>
                  <a:pt x="1286883" y="2636047"/>
                </a:cubicBezTo>
                <a:cubicBezTo>
                  <a:pt x="1286779" y="2635428"/>
                  <a:pt x="1286883" y="2634653"/>
                  <a:pt x="1287193" y="2633879"/>
                </a:cubicBezTo>
                <a:close/>
                <a:moveTo>
                  <a:pt x="734152" y="2632950"/>
                </a:moveTo>
                <a:cubicBezTo>
                  <a:pt x="736217" y="2632795"/>
                  <a:pt x="738076" y="2633259"/>
                  <a:pt x="739625" y="2634344"/>
                </a:cubicBezTo>
                <a:cubicBezTo>
                  <a:pt x="744478" y="2637131"/>
                  <a:pt x="747265" y="2643947"/>
                  <a:pt x="749434" y="2647974"/>
                </a:cubicBezTo>
                <a:cubicBezTo>
                  <a:pt x="744168" y="2652157"/>
                  <a:pt x="738902" y="2656339"/>
                  <a:pt x="733946" y="2655719"/>
                </a:cubicBezTo>
                <a:cubicBezTo>
                  <a:pt x="730951" y="2652157"/>
                  <a:pt x="729196" y="2648284"/>
                  <a:pt x="729092" y="2644412"/>
                </a:cubicBezTo>
                <a:cubicBezTo>
                  <a:pt x="729092" y="2640384"/>
                  <a:pt x="730538" y="2636667"/>
                  <a:pt x="734152" y="2632950"/>
                </a:cubicBezTo>
                <a:close/>
                <a:moveTo>
                  <a:pt x="1080473" y="2632020"/>
                </a:moveTo>
                <a:cubicBezTo>
                  <a:pt x="1086359" y="2632484"/>
                  <a:pt x="1083777" y="2638835"/>
                  <a:pt x="1081402" y="2639765"/>
                </a:cubicBezTo>
                <a:cubicBezTo>
                  <a:pt x="1078925" y="2639455"/>
                  <a:pt x="1077995" y="2637751"/>
                  <a:pt x="1078099" y="2636047"/>
                </a:cubicBezTo>
                <a:cubicBezTo>
                  <a:pt x="1078202" y="2634344"/>
                  <a:pt x="1079234" y="2632484"/>
                  <a:pt x="1080473" y="2632020"/>
                </a:cubicBezTo>
                <a:close/>
                <a:moveTo>
                  <a:pt x="1000037" y="2631710"/>
                </a:moveTo>
                <a:cubicBezTo>
                  <a:pt x="1001069" y="2631555"/>
                  <a:pt x="1001895" y="2631865"/>
                  <a:pt x="1002721" y="2632484"/>
                </a:cubicBezTo>
                <a:cubicBezTo>
                  <a:pt x="1006232" y="2635273"/>
                  <a:pt x="1006335" y="2640539"/>
                  <a:pt x="1003547" y="2645341"/>
                </a:cubicBezTo>
                <a:lnTo>
                  <a:pt x="1002928" y="2646116"/>
                </a:lnTo>
                <a:lnTo>
                  <a:pt x="1012428" y="2650143"/>
                </a:lnTo>
                <a:lnTo>
                  <a:pt x="1015215" y="2650918"/>
                </a:lnTo>
                <a:lnTo>
                  <a:pt x="1016145" y="2650298"/>
                </a:lnTo>
                <a:cubicBezTo>
                  <a:pt x="1017281" y="2649988"/>
                  <a:pt x="1018313" y="2649678"/>
                  <a:pt x="1019243" y="2648749"/>
                </a:cubicBezTo>
                <a:lnTo>
                  <a:pt x="1019759" y="2650298"/>
                </a:lnTo>
                <a:lnTo>
                  <a:pt x="1021617" y="2649523"/>
                </a:lnTo>
                <a:cubicBezTo>
                  <a:pt x="1022443" y="2649059"/>
                  <a:pt x="1023372" y="2648904"/>
                  <a:pt x="1024818" y="2649368"/>
                </a:cubicBezTo>
                <a:cubicBezTo>
                  <a:pt x="1024508" y="2651692"/>
                  <a:pt x="1023579" y="2653396"/>
                  <a:pt x="1023269" y="2655719"/>
                </a:cubicBezTo>
                <a:lnTo>
                  <a:pt x="1019965" y="2654635"/>
                </a:lnTo>
                <a:lnTo>
                  <a:pt x="1018933" y="2656494"/>
                </a:lnTo>
                <a:cubicBezTo>
                  <a:pt x="1018003" y="2657423"/>
                  <a:pt x="1018003" y="2657423"/>
                  <a:pt x="1017074" y="2657578"/>
                </a:cubicBezTo>
                <a:cubicBezTo>
                  <a:pt x="1016248" y="2658042"/>
                  <a:pt x="1015525" y="2658353"/>
                  <a:pt x="1014802" y="2658662"/>
                </a:cubicBezTo>
                <a:lnTo>
                  <a:pt x="1014389" y="2658662"/>
                </a:lnTo>
                <a:lnTo>
                  <a:pt x="1013564" y="2659746"/>
                </a:lnTo>
                <a:cubicBezTo>
                  <a:pt x="1011911" y="2662535"/>
                  <a:pt x="1010879" y="2665632"/>
                  <a:pt x="1009743" y="2668421"/>
                </a:cubicBezTo>
                <a:lnTo>
                  <a:pt x="1011292" y="2669195"/>
                </a:lnTo>
                <a:cubicBezTo>
                  <a:pt x="1012325" y="2670434"/>
                  <a:pt x="1013047" y="2671829"/>
                  <a:pt x="1014286" y="2672603"/>
                </a:cubicBezTo>
                <a:lnTo>
                  <a:pt x="1014080" y="2672913"/>
                </a:lnTo>
                <a:lnTo>
                  <a:pt x="1018520" y="2677869"/>
                </a:lnTo>
                <a:cubicBezTo>
                  <a:pt x="1019655" y="2680038"/>
                  <a:pt x="1020378" y="2682516"/>
                  <a:pt x="1020172" y="2684685"/>
                </a:cubicBezTo>
                <a:cubicBezTo>
                  <a:pt x="1015009" y="2690571"/>
                  <a:pt x="1007265" y="2688867"/>
                  <a:pt x="1003341" y="2683755"/>
                </a:cubicBezTo>
                <a:lnTo>
                  <a:pt x="1001173" y="2678489"/>
                </a:lnTo>
                <a:lnTo>
                  <a:pt x="1000553" y="2678799"/>
                </a:lnTo>
                <a:cubicBezTo>
                  <a:pt x="997868" y="2680038"/>
                  <a:pt x="995184" y="2680503"/>
                  <a:pt x="992809" y="2680503"/>
                </a:cubicBezTo>
                <a:lnTo>
                  <a:pt x="988782" y="2679728"/>
                </a:lnTo>
                <a:lnTo>
                  <a:pt x="988679" y="2679883"/>
                </a:lnTo>
                <a:cubicBezTo>
                  <a:pt x="987233" y="2680812"/>
                  <a:pt x="984961" y="2680812"/>
                  <a:pt x="982483" y="2679418"/>
                </a:cubicBezTo>
                <a:lnTo>
                  <a:pt x="983722" y="2677405"/>
                </a:lnTo>
                <a:lnTo>
                  <a:pt x="980728" y="2675236"/>
                </a:lnTo>
                <a:lnTo>
                  <a:pt x="978869" y="2672293"/>
                </a:lnTo>
                <a:lnTo>
                  <a:pt x="976495" y="2671518"/>
                </a:lnTo>
                <a:lnTo>
                  <a:pt x="977011" y="2673687"/>
                </a:lnTo>
                <a:cubicBezTo>
                  <a:pt x="976804" y="2674617"/>
                  <a:pt x="976288" y="2675546"/>
                  <a:pt x="975462" y="2676630"/>
                </a:cubicBezTo>
                <a:cubicBezTo>
                  <a:pt x="972777" y="2676785"/>
                  <a:pt x="968544" y="2673687"/>
                  <a:pt x="968750" y="2671209"/>
                </a:cubicBezTo>
                <a:cubicBezTo>
                  <a:pt x="969576" y="2670279"/>
                  <a:pt x="970505" y="2669505"/>
                  <a:pt x="971435" y="2668575"/>
                </a:cubicBezTo>
                <a:lnTo>
                  <a:pt x="972674" y="2669195"/>
                </a:lnTo>
                <a:lnTo>
                  <a:pt x="968854" y="2666562"/>
                </a:lnTo>
                <a:cubicBezTo>
                  <a:pt x="965239" y="2662999"/>
                  <a:pt x="963174" y="2658353"/>
                  <a:pt x="963897" y="2653241"/>
                </a:cubicBezTo>
                <a:cubicBezTo>
                  <a:pt x="964207" y="2650608"/>
                  <a:pt x="965239" y="2647820"/>
                  <a:pt x="967201" y="2645186"/>
                </a:cubicBezTo>
                <a:cubicBezTo>
                  <a:pt x="968647" y="2643328"/>
                  <a:pt x="970402" y="2642088"/>
                  <a:pt x="972364" y="2641004"/>
                </a:cubicBezTo>
                <a:lnTo>
                  <a:pt x="977114" y="2639300"/>
                </a:lnTo>
                <a:lnTo>
                  <a:pt x="977940" y="2638061"/>
                </a:lnTo>
                <a:lnTo>
                  <a:pt x="978663" y="2638835"/>
                </a:lnTo>
                <a:lnTo>
                  <a:pt x="982690" y="2637441"/>
                </a:lnTo>
                <a:cubicBezTo>
                  <a:pt x="986407" y="2636357"/>
                  <a:pt x="990434" y="2635118"/>
                  <a:pt x="994461" y="2632950"/>
                </a:cubicBezTo>
                <a:lnTo>
                  <a:pt x="994358" y="2634344"/>
                </a:lnTo>
                <a:lnTo>
                  <a:pt x="995390" y="2633569"/>
                </a:lnTo>
                <a:cubicBezTo>
                  <a:pt x="997042" y="2632484"/>
                  <a:pt x="998591" y="2631710"/>
                  <a:pt x="1000037" y="2631710"/>
                </a:cubicBezTo>
                <a:close/>
                <a:moveTo>
                  <a:pt x="1114858" y="2631246"/>
                </a:moveTo>
                <a:cubicBezTo>
                  <a:pt x="1115684" y="2630781"/>
                  <a:pt x="1116510" y="2632175"/>
                  <a:pt x="1116510" y="2632175"/>
                </a:cubicBezTo>
                <a:cubicBezTo>
                  <a:pt x="1116716" y="2634034"/>
                  <a:pt x="1114032" y="2634808"/>
                  <a:pt x="1112483" y="2635893"/>
                </a:cubicBezTo>
                <a:cubicBezTo>
                  <a:pt x="1112690" y="2637751"/>
                  <a:pt x="1108662" y="2636357"/>
                  <a:pt x="1108869" y="2638216"/>
                </a:cubicBezTo>
                <a:cubicBezTo>
                  <a:pt x="1104016" y="2637441"/>
                  <a:pt x="1102570" y="2643328"/>
                  <a:pt x="1095136" y="2643328"/>
                </a:cubicBezTo>
                <a:lnTo>
                  <a:pt x="1099472" y="2639455"/>
                </a:lnTo>
                <a:lnTo>
                  <a:pt x="1099059" y="2637287"/>
                </a:lnTo>
                <a:cubicBezTo>
                  <a:pt x="1099472" y="2636202"/>
                  <a:pt x="1100402" y="2635273"/>
                  <a:pt x="1101847" y="2634189"/>
                </a:cubicBezTo>
                <a:cubicBezTo>
                  <a:pt x="1102467" y="2635428"/>
                  <a:pt x="1102570" y="2636512"/>
                  <a:pt x="1102157" y="2637597"/>
                </a:cubicBezTo>
                <a:lnTo>
                  <a:pt x="1101951" y="2637906"/>
                </a:lnTo>
                <a:lnTo>
                  <a:pt x="1106494" y="2635273"/>
                </a:lnTo>
                <a:cubicBezTo>
                  <a:pt x="1108559" y="2634189"/>
                  <a:pt x="1110418" y="2633104"/>
                  <a:pt x="1111760" y="2631400"/>
                </a:cubicBezTo>
                <a:cubicBezTo>
                  <a:pt x="1111760" y="2631400"/>
                  <a:pt x="1111760" y="2631400"/>
                  <a:pt x="1114135" y="2631865"/>
                </a:cubicBezTo>
                <a:cubicBezTo>
                  <a:pt x="1114858" y="2631400"/>
                  <a:pt x="1114858" y="2631246"/>
                  <a:pt x="1114858" y="2631246"/>
                </a:cubicBezTo>
                <a:close/>
                <a:moveTo>
                  <a:pt x="1424110" y="2629387"/>
                </a:moveTo>
                <a:cubicBezTo>
                  <a:pt x="1425349" y="2629232"/>
                  <a:pt x="1426175" y="2629852"/>
                  <a:pt x="1426692" y="2630936"/>
                </a:cubicBezTo>
                <a:cubicBezTo>
                  <a:pt x="1428550" y="2634344"/>
                  <a:pt x="1426692" y="2641933"/>
                  <a:pt x="1419876" y="2633414"/>
                </a:cubicBezTo>
                <a:cubicBezTo>
                  <a:pt x="1421529" y="2630781"/>
                  <a:pt x="1422974" y="2629696"/>
                  <a:pt x="1424110" y="2629387"/>
                </a:cubicBezTo>
                <a:close/>
                <a:moveTo>
                  <a:pt x="1152030" y="2626908"/>
                </a:moveTo>
                <a:cubicBezTo>
                  <a:pt x="1156057" y="2628767"/>
                  <a:pt x="1155747" y="2632795"/>
                  <a:pt x="1157296" y="2636977"/>
                </a:cubicBezTo>
                <a:cubicBezTo>
                  <a:pt x="1156573" y="2637441"/>
                  <a:pt x="1156264" y="2638526"/>
                  <a:pt x="1156676" y="2639300"/>
                </a:cubicBezTo>
                <a:cubicBezTo>
                  <a:pt x="1156470" y="2640384"/>
                  <a:pt x="1156160" y="2641624"/>
                  <a:pt x="1156883" y="2641159"/>
                </a:cubicBezTo>
                <a:cubicBezTo>
                  <a:pt x="1156057" y="2644567"/>
                  <a:pt x="1156573" y="2645341"/>
                  <a:pt x="1153889" y="2645651"/>
                </a:cubicBezTo>
                <a:cubicBezTo>
                  <a:pt x="1150894" y="2639300"/>
                  <a:pt x="1149655" y="2631091"/>
                  <a:pt x="1149448" y="2629232"/>
                </a:cubicBezTo>
                <a:cubicBezTo>
                  <a:pt x="1149345" y="2628303"/>
                  <a:pt x="1149552" y="2627683"/>
                  <a:pt x="1149965" y="2627373"/>
                </a:cubicBezTo>
                <a:cubicBezTo>
                  <a:pt x="1150378" y="2626908"/>
                  <a:pt x="1150997" y="2626908"/>
                  <a:pt x="1152030" y="2626908"/>
                </a:cubicBezTo>
                <a:close/>
                <a:moveTo>
                  <a:pt x="1155954" y="2626134"/>
                </a:moveTo>
                <a:cubicBezTo>
                  <a:pt x="1155954" y="2626134"/>
                  <a:pt x="1155954" y="2626134"/>
                  <a:pt x="1156780" y="2626134"/>
                </a:cubicBezTo>
                <a:cubicBezTo>
                  <a:pt x="1156780" y="2626134"/>
                  <a:pt x="1156780" y="2626908"/>
                  <a:pt x="1155954" y="2627683"/>
                </a:cubicBezTo>
                <a:cubicBezTo>
                  <a:pt x="1155954" y="2627683"/>
                  <a:pt x="1155747" y="2627528"/>
                  <a:pt x="1155644" y="2627218"/>
                </a:cubicBezTo>
                <a:cubicBezTo>
                  <a:pt x="1155644" y="2626908"/>
                  <a:pt x="1155644" y="2626444"/>
                  <a:pt x="1155954" y="2626134"/>
                </a:cubicBezTo>
                <a:close/>
                <a:moveTo>
                  <a:pt x="1117646" y="2625669"/>
                </a:moveTo>
                <a:cubicBezTo>
                  <a:pt x="1127971" y="2626753"/>
                  <a:pt x="1135612" y="2630161"/>
                  <a:pt x="1140775" y="2635273"/>
                </a:cubicBezTo>
                <a:cubicBezTo>
                  <a:pt x="1142530" y="2636977"/>
                  <a:pt x="1143976" y="2638990"/>
                  <a:pt x="1145215" y="2641159"/>
                </a:cubicBezTo>
                <a:cubicBezTo>
                  <a:pt x="1139639" y="2645651"/>
                  <a:pt x="1133650" y="2641004"/>
                  <a:pt x="1128488" y="2638990"/>
                </a:cubicBezTo>
                <a:cubicBezTo>
                  <a:pt x="1127558" y="2644877"/>
                  <a:pt x="1127971" y="2653706"/>
                  <a:pt x="1121260" y="2653861"/>
                </a:cubicBezTo>
                <a:lnTo>
                  <a:pt x="1119401" y="2650143"/>
                </a:lnTo>
                <a:lnTo>
                  <a:pt x="1116200" y="2650453"/>
                </a:lnTo>
                <a:lnTo>
                  <a:pt x="1115374" y="2649833"/>
                </a:lnTo>
                <a:lnTo>
                  <a:pt x="1114238" y="2650608"/>
                </a:lnTo>
                <a:cubicBezTo>
                  <a:pt x="1113619" y="2650918"/>
                  <a:pt x="1113205" y="2651227"/>
                  <a:pt x="1113205" y="2651227"/>
                </a:cubicBezTo>
                <a:cubicBezTo>
                  <a:pt x="1111966" y="2650762"/>
                  <a:pt x="1111347" y="2650608"/>
                  <a:pt x="1111140" y="2650143"/>
                </a:cubicBezTo>
                <a:lnTo>
                  <a:pt x="1111244" y="2648594"/>
                </a:lnTo>
                <a:lnTo>
                  <a:pt x="1109178" y="2648129"/>
                </a:lnTo>
                <a:cubicBezTo>
                  <a:pt x="1109488" y="2646271"/>
                  <a:pt x="1112070" y="2643017"/>
                  <a:pt x="1114032" y="2643328"/>
                </a:cubicBezTo>
                <a:lnTo>
                  <a:pt x="1113309" y="2645341"/>
                </a:lnTo>
                <a:lnTo>
                  <a:pt x="1114755" y="2643792"/>
                </a:lnTo>
                <a:cubicBezTo>
                  <a:pt x="1116510" y="2642708"/>
                  <a:pt x="1118472" y="2641933"/>
                  <a:pt x="1120021" y="2642243"/>
                </a:cubicBezTo>
                <a:lnTo>
                  <a:pt x="1119917" y="2644412"/>
                </a:lnTo>
                <a:lnTo>
                  <a:pt x="1121053" y="2640229"/>
                </a:lnTo>
                <a:cubicBezTo>
                  <a:pt x="1121466" y="2638526"/>
                  <a:pt x="1121776" y="2636667"/>
                  <a:pt x="1121776" y="2634963"/>
                </a:cubicBezTo>
                <a:cubicBezTo>
                  <a:pt x="1120743" y="2632640"/>
                  <a:pt x="1118059" y="2632175"/>
                  <a:pt x="1117439" y="2629387"/>
                </a:cubicBezTo>
                <a:cubicBezTo>
                  <a:pt x="1117232" y="2628457"/>
                  <a:pt x="1117232" y="2627373"/>
                  <a:pt x="1117646" y="2625669"/>
                </a:cubicBezTo>
                <a:close/>
                <a:moveTo>
                  <a:pt x="628004" y="2624895"/>
                </a:moveTo>
                <a:cubicBezTo>
                  <a:pt x="628830" y="2625360"/>
                  <a:pt x="629553" y="2625979"/>
                  <a:pt x="629967" y="2627064"/>
                </a:cubicBezTo>
                <a:cubicBezTo>
                  <a:pt x="632754" y="2632640"/>
                  <a:pt x="628418" y="2639300"/>
                  <a:pt x="620880" y="2641159"/>
                </a:cubicBezTo>
                <a:cubicBezTo>
                  <a:pt x="609315" y="2644257"/>
                  <a:pt x="602087" y="2640539"/>
                  <a:pt x="602087" y="2640539"/>
                </a:cubicBezTo>
                <a:cubicBezTo>
                  <a:pt x="601364" y="2638681"/>
                  <a:pt x="601158" y="2636977"/>
                  <a:pt x="601364" y="2635428"/>
                </a:cubicBezTo>
                <a:cubicBezTo>
                  <a:pt x="601984" y="2631091"/>
                  <a:pt x="606321" y="2628612"/>
                  <a:pt x="610967" y="2627064"/>
                </a:cubicBezTo>
                <a:cubicBezTo>
                  <a:pt x="613136" y="2626289"/>
                  <a:pt x="615201" y="2625825"/>
                  <a:pt x="617163" y="2625360"/>
                </a:cubicBezTo>
                <a:cubicBezTo>
                  <a:pt x="620983" y="2624275"/>
                  <a:pt x="625320" y="2623501"/>
                  <a:pt x="628004" y="2624895"/>
                </a:cubicBezTo>
                <a:close/>
                <a:moveTo>
                  <a:pt x="1385750" y="2624527"/>
                </a:moveTo>
                <a:cubicBezTo>
                  <a:pt x="1387609" y="2623346"/>
                  <a:pt x="1389984" y="2623501"/>
                  <a:pt x="1391791" y="2624585"/>
                </a:cubicBezTo>
                <a:cubicBezTo>
                  <a:pt x="1392927" y="2625205"/>
                  <a:pt x="1393856" y="2626444"/>
                  <a:pt x="1394166" y="2627838"/>
                </a:cubicBezTo>
                <a:cubicBezTo>
                  <a:pt x="1394682" y="2629696"/>
                  <a:pt x="1394062" y="2632175"/>
                  <a:pt x="1391688" y="2634808"/>
                </a:cubicBezTo>
                <a:cubicBezTo>
                  <a:pt x="1387351" y="2635118"/>
                  <a:pt x="1385699" y="2633259"/>
                  <a:pt x="1382807" y="2632484"/>
                </a:cubicBezTo>
                <a:cubicBezTo>
                  <a:pt x="1382549" y="2628225"/>
                  <a:pt x="1383892" y="2625708"/>
                  <a:pt x="1385750" y="2624527"/>
                </a:cubicBezTo>
                <a:close/>
                <a:moveTo>
                  <a:pt x="1373140" y="2623462"/>
                </a:moveTo>
                <a:cubicBezTo>
                  <a:pt x="1376896" y="2623501"/>
                  <a:pt x="1380278" y="2624818"/>
                  <a:pt x="1381775" y="2629387"/>
                </a:cubicBezTo>
                <a:cubicBezTo>
                  <a:pt x="1376199" y="2636977"/>
                  <a:pt x="1360401" y="2637906"/>
                  <a:pt x="1360917" y="2629387"/>
                </a:cubicBezTo>
                <a:cubicBezTo>
                  <a:pt x="1361021" y="2628303"/>
                  <a:pt x="1361433" y="2626908"/>
                  <a:pt x="1362260" y="2625205"/>
                </a:cubicBezTo>
                <a:cubicBezTo>
                  <a:pt x="1365254" y="2624663"/>
                  <a:pt x="1369384" y="2623423"/>
                  <a:pt x="1373140" y="2623462"/>
                </a:cubicBezTo>
                <a:close/>
                <a:moveTo>
                  <a:pt x="1092554" y="2622417"/>
                </a:moveTo>
                <a:cubicBezTo>
                  <a:pt x="1093277" y="2622571"/>
                  <a:pt x="1094103" y="2623036"/>
                  <a:pt x="1094929" y="2623656"/>
                </a:cubicBezTo>
                <a:cubicBezTo>
                  <a:pt x="1097304" y="2625979"/>
                  <a:pt x="1099576" y="2630626"/>
                  <a:pt x="1100298" y="2633259"/>
                </a:cubicBezTo>
                <a:cubicBezTo>
                  <a:pt x="1097201" y="2633104"/>
                  <a:pt x="1093484" y="2625979"/>
                  <a:pt x="1092554" y="2622417"/>
                </a:cubicBezTo>
                <a:close/>
                <a:moveTo>
                  <a:pt x="1281823" y="2621177"/>
                </a:moveTo>
                <a:cubicBezTo>
                  <a:pt x="1282236" y="2621487"/>
                  <a:pt x="1282546" y="2621952"/>
                  <a:pt x="1282959" y="2622417"/>
                </a:cubicBezTo>
                <a:cubicBezTo>
                  <a:pt x="1283682" y="2623346"/>
                  <a:pt x="1284404" y="2624275"/>
                  <a:pt x="1285127" y="2625050"/>
                </a:cubicBezTo>
                <a:cubicBezTo>
                  <a:pt x="1285127" y="2625050"/>
                  <a:pt x="1285230" y="2625205"/>
                  <a:pt x="1280481" y="2621332"/>
                </a:cubicBezTo>
                <a:cubicBezTo>
                  <a:pt x="1280997" y="2621022"/>
                  <a:pt x="1281410" y="2621022"/>
                  <a:pt x="1281823" y="2621177"/>
                </a:cubicBezTo>
                <a:close/>
                <a:moveTo>
                  <a:pt x="5051859" y="2620735"/>
                </a:moveTo>
                <a:cubicBezTo>
                  <a:pt x="5077683" y="2635531"/>
                  <a:pt x="5060822" y="2645632"/>
                  <a:pt x="5043535" y="2654594"/>
                </a:cubicBezTo>
                <a:lnTo>
                  <a:pt x="5030730" y="2661708"/>
                </a:lnTo>
                <a:lnTo>
                  <a:pt x="5033078" y="2663415"/>
                </a:lnTo>
                <a:lnTo>
                  <a:pt x="5027956" y="2663273"/>
                </a:lnTo>
                <a:lnTo>
                  <a:pt x="5027742" y="2663415"/>
                </a:lnTo>
                <a:lnTo>
                  <a:pt x="5027529" y="2663273"/>
                </a:lnTo>
                <a:lnTo>
                  <a:pt x="5007681" y="2662562"/>
                </a:lnTo>
                <a:cubicBezTo>
                  <a:pt x="4999144" y="2661423"/>
                  <a:pt x="4990607" y="2658721"/>
                  <a:pt x="4982071" y="2652461"/>
                </a:cubicBezTo>
                <a:cubicBezTo>
                  <a:pt x="4986339" y="2648904"/>
                  <a:pt x="4990821" y="2647339"/>
                  <a:pt x="4995729" y="2646912"/>
                </a:cubicBezTo>
                <a:cubicBezTo>
                  <a:pt x="4999358" y="2646628"/>
                  <a:pt x="5002986" y="2647055"/>
                  <a:pt x="5006614" y="2647908"/>
                </a:cubicBezTo>
                <a:lnTo>
                  <a:pt x="5013230" y="2650611"/>
                </a:lnTo>
                <a:lnTo>
                  <a:pt x="5008962" y="2642787"/>
                </a:lnTo>
                <a:cubicBezTo>
                  <a:pt x="5020059" y="2627990"/>
                  <a:pt x="5035852" y="2624434"/>
                  <a:pt x="5051859" y="2620735"/>
                </a:cubicBezTo>
                <a:close/>
                <a:moveTo>
                  <a:pt x="961109" y="2618544"/>
                </a:moveTo>
                <a:cubicBezTo>
                  <a:pt x="961625" y="2618699"/>
                  <a:pt x="962142" y="2619163"/>
                  <a:pt x="962658" y="2619783"/>
                </a:cubicBezTo>
                <a:cubicBezTo>
                  <a:pt x="962658" y="2619783"/>
                  <a:pt x="962658" y="2619783"/>
                  <a:pt x="962555" y="2620558"/>
                </a:cubicBezTo>
                <a:cubicBezTo>
                  <a:pt x="962348" y="2622262"/>
                  <a:pt x="962142" y="2623036"/>
                  <a:pt x="962038" y="2623965"/>
                </a:cubicBezTo>
                <a:cubicBezTo>
                  <a:pt x="961006" y="2624740"/>
                  <a:pt x="958115" y="2626134"/>
                  <a:pt x="957392" y="2625360"/>
                </a:cubicBezTo>
                <a:cubicBezTo>
                  <a:pt x="956669" y="2624430"/>
                  <a:pt x="956256" y="2623346"/>
                  <a:pt x="956050" y="2622417"/>
                </a:cubicBezTo>
                <a:cubicBezTo>
                  <a:pt x="955843" y="2621487"/>
                  <a:pt x="956050" y="2620558"/>
                  <a:pt x="956463" y="2620248"/>
                </a:cubicBezTo>
                <a:cubicBezTo>
                  <a:pt x="958011" y="2619009"/>
                  <a:pt x="959560" y="2617924"/>
                  <a:pt x="961109" y="2618544"/>
                </a:cubicBezTo>
                <a:close/>
                <a:moveTo>
                  <a:pt x="898846" y="2618234"/>
                </a:moveTo>
                <a:cubicBezTo>
                  <a:pt x="906383" y="2623811"/>
                  <a:pt x="902666" y="2631246"/>
                  <a:pt x="903389" y="2632950"/>
                </a:cubicBezTo>
                <a:cubicBezTo>
                  <a:pt x="901427" y="2634808"/>
                  <a:pt x="900911" y="2635428"/>
                  <a:pt x="898639" y="2633879"/>
                </a:cubicBezTo>
                <a:lnTo>
                  <a:pt x="896470" y="2632175"/>
                </a:lnTo>
                <a:lnTo>
                  <a:pt x="894612" y="2633569"/>
                </a:lnTo>
                <a:cubicBezTo>
                  <a:pt x="893786" y="2632640"/>
                  <a:pt x="892960" y="2631865"/>
                  <a:pt x="892134" y="2631091"/>
                </a:cubicBezTo>
                <a:lnTo>
                  <a:pt x="894096" y="2627683"/>
                </a:lnTo>
                <a:lnTo>
                  <a:pt x="894302" y="2625050"/>
                </a:lnTo>
                <a:cubicBezTo>
                  <a:pt x="893476" y="2623501"/>
                  <a:pt x="893580" y="2621022"/>
                  <a:pt x="894612" y="2619319"/>
                </a:cubicBezTo>
                <a:cubicBezTo>
                  <a:pt x="896367" y="2617615"/>
                  <a:pt x="898020" y="2617460"/>
                  <a:pt x="898846" y="2618234"/>
                </a:cubicBezTo>
                <a:close/>
                <a:moveTo>
                  <a:pt x="5205521" y="2618174"/>
                </a:moveTo>
                <a:cubicBezTo>
                  <a:pt x="5196131" y="2621873"/>
                  <a:pt x="5186740" y="2630694"/>
                  <a:pt x="5177136" y="2640368"/>
                </a:cubicBezTo>
                <a:cubicBezTo>
                  <a:pt x="5181191" y="2644209"/>
                  <a:pt x="5186527" y="2635246"/>
                  <a:pt x="5190581" y="2639656"/>
                </a:cubicBezTo>
                <a:cubicBezTo>
                  <a:pt x="5186527" y="2641933"/>
                  <a:pt x="5186740" y="2644209"/>
                  <a:pt x="5186740" y="2646343"/>
                </a:cubicBezTo>
                <a:lnTo>
                  <a:pt x="5186527" y="2647055"/>
                </a:lnTo>
                <a:lnTo>
                  <a:pt x="5188234" y="2647908"/>
                </a:lnTo>
                <a:lnTo>
                  <a:pt x="5185460" y="2652319"/>
                </a:lnTo>
                <a:lnTo>
                  <a:pt x="5191436" y="2646343"/>
                </a:lnTo>
                <a:cubicBezTo>
                  <a:pt x="5195277" y="2641221"/>
                  <a:pt x="5196771" y="2635246"/>
                  <a:pt x="5194423" y="2631547"/>
                </a:cubicBezTo>
                <a:cubicBezTo>
                  <a:pt x="5192929" y="2629271"/>
                  <a:pt x="5201679" y="2626283"/>
                  <a:pt x="5204027" y="2626283"/>
                </a:cubicBezTo>
                <a:cubicBezTo>
                  <a:pt x="5207228" y="2623295"/>
                  <a:pt x="5200826" y="2620308"/>
                  <a:pt x="5205521" y="2618174"/>
                </a:cubicBezTo>
                <a:close/>
                <a:moveTo>
                  <a:pt x="1249400" y="2617924"/>
                </a:moveTo>
                <a:cubicBezTo>
                  <a:pt x="1255596" y="2615446"/>
                  <a:pt x="1268503" y="2622571"/>
                  <a:pt x="1269948" y="2631091"/>
                </a:cubicBezTo>
                <a:cubicBezTo>
                  <a:pt x="1270465" y="2634034"/>
                  <a:pt x="1269535" y="2636977"/>
                  <a:pt x="1266748" y="2639920"/>
                </a:cubicBezTo>
                <a:cubicBezTo>
                  <a:pt x="1258074" y="2647510"/>
                  <a:pt x="1251053" y="2640075"/>
                  <a:pt x="1244134" y="2630316"/>
                </a:cubicBezTo>
                <a:cubicBezTo>
                  <a:pt x="1246509" y="2626289"/>
                  <a:pt x="1247026" y="2621952"/>
                  <a:pt x="1249400" y="2617924"/>
                </a:cubicBezTo>
                <a:close/>
                <a:moveTo>
                  <a:pt x="735804" y="2617770"/>
                </a:moveTo>
                <a:cubicBezTo>
                  <a:pt x="736424" y="2617770"/>
                  <a:pt x="737146" y="2617924"/>
                  <a:pt x="737972" y="2618544"/>
                </a:cubicBezTo>
                <a:cubicBezTo>
                  <a:pt x="739212" y="2622571"/>
                  <a:pt x="735701" y="2625825"/>
                  <a:pt x="731054" y="2622417"/>
                </a:cubicBezTo>
                <a:cubicBezTo>
                  <a:pt x="732396" y="2620093"/>
                  <a:pt x="733842" y="2617924"/>
                  <a:pt x="735804" y="2617770"/>
                </a:cubicBezTo>
                <a:close/>
                <a:moveTo>
                  <a:pt x="6558816" y="2617463"/>
                </a:moveTo>
                <a:cubicBezTo>
                  <a:pt x="6562657" y="2617463"/>
                  <a:pt x="6566499" y="2619313"/>
                  <a:pt x="6568206" y="2622585"/>
                </a:cubicBezTo>
                <a:cubicBezTo>
                  <a:pt x="6565431" y="2635815"/>
                  <a:pt x="6550705" y="2629840"/>
                  <a:pt x="6549212" y="2623011"/>
                </a:cubicBezTo>
                <a:cubicBezTo>
                  <a:pt x="6551133" y="2619028"/>
                  <a:pt x="6554975" y="2617320"/>
                  <a:pt x="6558816" y="2617463"/>
                </a:cubicBezTo>
                <a:close/>
                <a:moveTo>
                  <a:pt x="1304230" y="2616840"/>
                </a:moveTo>
                <a:cubicBezTo>
                  <a:pt x="1310735" y="2619319"/>
                  <a:pt x="1332728" y="2635428"/>
                  <a:pt x="1318892" y="2641933"/>
                </a:cubicBezTo>
                <a:cubicBezTo>
                  <a:pt x="1312077" y="2633569"/>
                  <a:pt x="1302164" y="2629542"/>
                  <a:pt x="1301442" y="2623656"/>
                </a:cubicBezTo>
                <a:cubicBezTo>
                  <a:pt x="1301235" y="2621642"/>
                  <a:pt x="1301958" y="2619473"/>
                  <a:pt x="1304230" y="2616840"/>
                </a:cubicBezTo>
                <a:close/>
                <a:moveTo>
                  <a:pt x="762548" y="2614207"/>
                </a:moveTo>
                <a:cubicBezTo>
                  <a:pt x="762548" y="2614207"/>
                  <a:pt x="763787" y="2614207"/>
                  <a:pt x="765232" y="2614517"/>
                </a:cubicBezTo>
                <a:cubicBezTo>
                  <a:pt x="766678" y="2614827"/>
                  <a:pt x="768226" y="2615292"/>
                  <a:pt x="768846" y="2616220"/>
                </a:cubicBezTo>
                <a:cubicBezTo>
                  <a:pt x="771531" y="2618854"/>
                  <a:pt x="765335" y="2621952"/>
                  <a:pt x="764922" y="2623501"/>
                </a:cubicBezTo>
                <a:cubicBezTo>
                  <a:pt x="762857" y="2624585"/>
                  <a:pt x="760689" y="2625514"/>
                  <a:pt x="759553" y="2623501"/>
                </a:cubicBezTo>
                <a:cubicBezTo>
                  <a:pt x="759037" y="2622417"/>
                  <a:pt x="758417" y="2621642"/>
                  <a:pt x="758211" y="2621022"/>
                </a:cubicBezTo>
                <a:cubicBezTo>
                  <a:pt x="758004" y="2620248"/>
                  <a:pt x="758211" y="2619473"/>
                  <a:pt x="759450" y="2618234"/>
                </a:cubicBezTo>
                <a:cubicBezTo>
                  <a:pt x="759966" y="2616685"/>
                  <a:pt x="762031" y="2615756"/>
                  <a:pt x="762548" y="2614207"/>
                </a:cubicBezTo>
                <a:close/>
                <a:moveTo>
                  <a:pt x="1134993" y="2613588"/>
                </a:moveTo>
                <a:cubicBezTo>
                  <a:pt x="1137471" y="2615136"/>
                  <a:pt x="1139949" y="2614207"/>
                  <a:pt x="1142427" y="2615756"/>
                </a:cubicBezTo>
                <a:cubicBezTo>
                  <a:pt x="1142427" y="2615756"/>
                  <a:pt x="1142427" y="2615911"/>
                  <a:pt x="1141601" y="2616685"/>
                </a:cubicBezTo>
                <a:cubicBezTo>
                  <a:pt x="1137367" y="2615136"/>
                  <a:pt x="1133134" y="2617150"/>
                  <a:pt x="1129004" y="2614672"/>
                </a:cubicBezTo>
                <a:cubicBezTo>
                  <a:pt x="1129830" y="2613897"/>
                  <a:pt x="1132514" y="2612039"/>
                  <a:pt x="1134993" y="2613588"/>
                </a:cubicBezTo>
                <a:close/>
                <a:moveTo>
                  <a:pt x="1347804" y="2612968"/>
                </a:moveTo>
                <a:cubicBezTo>
                  <a:pt x="1348733" y="2614982"/>
                  <a:pt x="1348527" y="2617770"/>
                  <a:pt x="1347597" y="2621022"/>
                </a:cubicBezTo>
                <a:lnTo>
                  <a:pt x="1345842" y="2624275"/>
                </a:lnTo>
                <a:lnTo>
                  <a:pt x="1346255" y="2624275"/>
                </a:lnTo>
                <a:cubicBezTo>
                  <a:pt x="1347391" y="2625205"/>
                  <a:pt x="1347701" y="2626134"/>
                  <a:pt x="1347494" y="2627064"/>
                </a:cubicBezTo>
                <a:cubicBezTo>
                  <a:pt x="1347288" y="2628148"/>
                  <a:pt x="1346565" y="2629077"/>
                  <a:pt x="1345532" y="2630471"/>
                </a:cubicBezTo>
                <a:cubicBezTo>
                  <a:pt x="1344499" y="2631710"/>
                  <a:pt x="1343364" y="2632020"/>
                  <a:pt x="1342228" y="2632330"/>
                </a:cubicBezTo>
                <a:lnTo>
                  <a:pt x="1339956" y="2633259"/>
                </a:lnTo>
                <a:lnTo>
                  <a:pt x="1335000" y="2638061"/>
                </a:lnTo>
                <a:cubicBezTo>
                  <a:pt x="1332212" y="2639765"/>
                  <a:pt x="1329321" y="2640384"/>
                  <a:pt x="1326533" y="2639455"/>
                </a:cubicBezTo>
                <a:cubicBezTo>
                  <a:pt x="1337168" y="2632175"/>
                  <a:pt x="1335000" y="2619009"/>
                  <a:pt x="1347804" y="2612968"/>
                </a:cubicBezTo>
                <a:close/>
                <a:moveTo>
                  <a:pt x="1339027" y="2612813"/>
                </a:moveTo>
                <a:cubicBezTo>
                  <a:pt x="1339853" y="2613742"/>
                  <a:pt x="1339750" y="2615446"/>
                  <a:pt x="1338821" y="2617150"/>
                </a:cubicBezTo>
                <a:cubicBezTo>
                  <a:pt x="1337891" y="2616375"/>
                  <a:pt x="1336136" y="2617150"/>
                  <a:pt x="1335206" y="2616375"/>
                </a:cubicBezTo>
                <a:cubicBezTo>
                  <a:pt x="1335206" y="2616375"/>
                  <a:pt x="1334484" y="2613897"/>
                  <a:pt x="1334484" y="2613897"/>
                </a:cubicBezTo>
                <a:cubicBezTo>
                  <a:pt x="1335413" y="2612968"/>
                  <a:pt x="1335413" y="2612968"/>
                  <a:pt x="1335413" y="2613897"/>
                </a:cubicBezTo>
                <a:cubicBezTo>
                  <a:pt x="1337168" y="2612968"/>
                  <a:pt x="1338098" y="2612968"/>
                  <a:pt x="1339027" y="2612813"/>
                </a:cubicBezTo>
                <a:close/>
                <a:moveTo>
                  <a:pt x="785573" y="2612813"/>
                </a:moveTo>
                <a:cubicBezTo>
                  <a:pt x="792079" y="2615756"/>
                  <a:pt x="796209" y="2620558"/>
                  <a:pt x="798274" y="2625979"/>
                </a:cubicBezTo>
                <a:cubicBezTo>
                  <a:pt x="801578" y="2634808"/>
                  <a:pt x="798894" y="2645186"/>
                  <a:pt x="790736" y="2651227"/>
                </a:cubicBezTo>
                <a:cubicBezTo>
                  <a:pt x="789704" y="2650453"/>
                  <a:pt x="788671" y="2649833"/>
                  <a:pt x="788052" y="2650762"/>
                </a:cubicBezTo>
                <a:cubicBezTo>
                  <a:pt x="780721" y="2646890"/>
                  <a:pt x="776693" y="2638990"/>
                  <a:pt x="776074" y="2631246"/>
                </a:cubicBezTo>
                <a:cubicBezTo>
                  <a:pt x="775558" y="2623346"/>
                  <a:pt x="778656" y="2615911"/>
                  <a:pt x="785573" y="2612813"/>
                </a:cubicBezTo>
                <a:close/>
                <a:moveTo>
                  <a:pt x="1127352" y="2612193"/>
                </a:moveTo>
                <a:cubicBezTo>
                  <a:pt x="1129107" y="2612968"/>
                  <a:pt x="1121569" y="2622571"/>
                  <a:pt x="1119711" y="2625205"/>
                </a:cubicBezTo>
                <a:cubicBezTo>
                  <a:pt x="1118885" y="2625360"/>
                  <a:pt x="1118885" y="2625360"/>
                  <a:pt x="1118885" y="2625360"/>
                </a:cubicBezTo>
                <a:cubicBezTo>
                  <a:pt x="1118059" y="2624895"/>
                  <a:pt x="1117852" y="2624275"/>
                  <a:pt x="1118162" y="2623501"/>
                </a:cubicBezTo>
                <a:cubicBezTo>
                  <a:pt x="1118368" y="2622571"/>
                  <a:pt x="1119091" y="2621487"/>
                  <a:pt x="1120021" y="2620093"/>
                </a:cubicBezTo>
                <a:cubicBezTo>
                  <a:pt x="1121879" y="2617460"/>
                  <a:pt x="1125493" y="2614827"/>
                  <a:pt x="1126422" y="2613897"/>
                </a:cubicBezTo>
                <a:cubicBezTo>
                  <a:pt x="1127352" y="2613123"/>
                  <a:pt x="1127352" y="2612193"/>
                  <a:pt x="1127352" y="2612193"/>
                </a:cubicBezTo>
                <a:close/>
                <a:moveTo>
                  <a:pt x="1360401" y="2610644"/>
                </a:moveTo>
                <a:cubicBezTo>
                  <a:pt x="1361640" y="2610799"/>
                  <a:pt x="1363499" y="2610180"/>
                  <a:pt x="1365254" y="2610954"/>
                </a:cubicBezTo>
                <a:cubicBezTo>
                  <a:pt x="1366287" y="2615446"/>
                  <a:pt x="1361640" y="2615292"/>
                  <a:pt x="1360298" y="2613278"/>
                </a:cubicBezTo>
                <a:cubicBezTo>
                  <a:pt x="1359781" y="2612658"/>
                  <a:pt x="1359781" y="2611729"/>
                  <a:pt x="1360401" y="2610644"/>
                </a:cubicBezTo>
                <a:close/>
                <a:moveTo>
                  <a:pt x="713294" y="2610625"/>
                </a:moveTo>
                <a:cubicBezTo>
                  <a:pt x="715850" y="2609638"/>
                  <a:pt x="718922" y="2609870"/>
                  <a:pt x="722587" y="2612348"/>
                </a:cubicBezTo>
                <a:cubicBezTo>
                  <a:pt x="724343" y="2612813"/>
                  <a:pt x="723413" y="2612968"/>
                  <a:pt x="724343" y="2613742"/>
                </a:cubicBezTo>
                <a:cubicBezTo>
                  <a:pt x="725272" y="2614362"/>
                  <a:pt x="727027" y="2614982"/>
                  <a:pt x="727957" y="2614827"/>
                </a:cubicBezTo>
                <a:cubicBezTo>
                  <a:pt x="725479" y="2618544"/>
                  <a:pt x="728163" y="2619938"/>
                  <a:pt x="724136" y="2625514"/>
                </a:cubicBezTo>
                <a:cubicBezTo>
                  <a:pt x="720522" y="2631091"/>
                  <a:pt x="716185" y="2632020"/>
                  <a:pt x="712778" y="2631246"/>
                </a:cubicBezTo>
                <a:lnTo>
                  <a:pt x="710093" y="2630316"/>
                </a:lnTo>
                <a:lnTo>
                  <a:pt x="708338" y="2632330"/>
                </a:lnTo>
                <a:cubicBezTo>
                  <a:pt x="703485" y="2625825"/>
                  <a:pt x="699664" y="2635118"/>
                  <a:pt x="695534" y="2630316"/>
                </a:cubicBezTo>
                <a:cubicBezTo>
                  <a:pt x="695018" y="2627838"/>
                  <a:pt x="693469" y="2625514"/>
                  <a:pt x="693882" y="2622571"/>
                </a:cubicBezTo>
                <a:cubicBezTo>
                  <a:pt x="694089" y="2621642"/>
                  <a:pt x="694398" y="2620713"/>
                  <a:pt x="695121" y="2619628"/>
                </a:cubicBezTo>
                <a:cubicBezTo>
                  <a:pt x="698116" y="2621487"/>
                  <a:pt x="700800" y="2622726"/>
                  <a:pt x="703588" y="2623501"/>
                </a:cubicBezTo>
                <a:lnTo>
                  <a:pt x="705860" y="2624275"/>
                </a:lnTo>
                <a:lnTo>
                  <a:pt x="705240" y="2621642"/>
                </a:lnTo>
                <a:cubicBezTo>
                  <a:pt x="705137" y="2620093"/>
                  <a:pt x="705654" y="2618234"/>
                  <a:pt x="707099" y="2616220"/>
                </a:cubicBezTo>
                <a:cubicBezTo>
                  <a:pt x="708699" y="2613820"/>
                  <a:pt x="710739" y="2611613"/>
                  <a:pt x="713294" y="2610625"/>
                </a:cubicBezTo>
                <a:close/>
                <a:moveTo>
                  <a:pt x="922595" y="2610025"/>
                </a:moveTo>
                <a:cubicBezTo>
                  <a:pt x="925795" y="2612348"/>
                  <a:pt x="923318" y="2615601"/>
                  <a:pt x="920942" y="2615292"/>
                </a:cubicBezTo>
                <a:cubicBezTo>
                  <a:pt x="920117" y="2615136"/>
                  <a:pt x="919290" y="2614672"/>
                  <a:pt x="918774" y="2613432"/>
                </a:cubicBezTo>
                <a:cubicBezTo>
                  <a:pt x="919806" y="2612039"/>
                  <a:pt x="920736" y="2611419"/>
                  <a:pt x="922595" y="2610025"/>
                </a:cubicBezTo>
                <a:close/>
                <a:moveTo>
                  <a:pt x="1348320" y="2607237"/>
                </a:moveTo>
                <a:cubicBezTo>
                  <a:pt x="1349456" y="2607546"/>
                  <a:pt x="1349456" y="2607546"/>
                  <a:pt x="1349146" y="2608631"/>
                </a:cubicBezTo>
                <a:cubicBezTo>
                  <a:pt x="1348423" y="2608940"/>
                  <a:pt x="1347701" y="2609405"/>
                  <a:pt x="1347288" y="2608786"/>
                </a:cubicBezTo>
                <a:cubicBezTo>
                  <a:pt x="1346565" y="2609095"/>
                  <a:pt x="1346565" y="2609095"/>
                  <a:pt x="1346152" y="2608476"/>
                </a:cubicBezTo>
                <a:cubicBezTo>
                  <a:pt x="1346874" y="2608011"/>
                  <a:pt x="1347597" y="2607701"/>
                  <a:pt x="1348320" y="2607237"/>
                </a:cubicBezTo>
                <a:close/>
                <a:moveTo>
                  <a:pt x="837822" y="2606927"/>
                </a:moveTo>
                <a:cubicBezTo>
                  <a:pt x="840609" y="2606617"/>
                  <a:pt x="843191" y="2609715"/>
                  <a:pt x="846288" y="2611419"/>
                </a:cubicBezTo>
                <a:cubicBezTo>
                  <a:pt x="844430" y="2613278"/>
                  <a:pt x="842571" y="2613742"/>
                  <a:pt x="840712" y="2613278"/>
                </a:cubicBezTo>
                <a:cubicBezTo>
                  <a:pt x="838957" y="2612813"/>
                  <a:pt x="836995" y="2611109"/>
                  <a:pt x="835033" y="2608786"/>
                </a:cubicBezTo>
                <a:cubicBezTo>
                  <a:pt x="835962" y="2607701"/>
                  <a:pt x="836995" y="2607082"/>
                  <a:pt x="837822" y="2606927"/>
                </a:cubicBezTo>
                <a:close/>
                <a:moveTo>
                  <a:pt x="1130862" y="2606152"/>
                </a:moveTo>
                <a:cubicBezTo>
                  <a:pt x="1130862" y="2606152"/>
                  <a:pt x="1130966" y="2605378"/>
                  <a:pt x="1133444" y="2606927"/>
                </a:cubicBezTo>
                <a:cubicBezTo>
                  <a:pt x="1132514" y="2607856"/>
                  <a:pt x="1129830" y="2610335"/>
                  <a:pt x="1129830" y="2610335"/>
                </a:cubicBezTo>
                <a:cubicBezTo>
                  <a:pt x="1129727" y="2611264"/>
                  <a:pt x="1129830" y="2611264"/>
                  <a:pt x="1128900" y="2612193"/>
                </a:cubicBezTo>
                <a:cubicBezTo>
                  <a:pt x="1128074" y="2611419"/>
                  <a:pt x="1128074" y="2611419"/>
                  <a:pt x="1128178" y="2610489"/>
                </a:cubicBezTo>
                <a:cubicBezTo>
                  <a:pt x="1129004" y="2609715"/>
                  <a:pt x="1129830" y="2609560"/>
                  <a:pt x="1130759" y="2608786"/>
                </a:cubicBezTo>
                <a:cubicBezTo>
                  <a:pt x="1129107" y="2607082"/>
                  <a:pt x="1129107" y="2608011"/>
                  <a:pt x="1130036" y="2607082"/>
                </a:cubicBezTo>
                <a:cubicBezTo>
                  <a:pt x="1130036" y="2607082"/>
                  <a:pt x="1130036" y="2607082"/>
                  <a:pt x="1130862" y="2606152"/>
                </a:cubicBezTo>
                <a:close/>
                <a:moveTo>
                  <a:pt x="949854" y="2605378"/>
                </a:moveTo>
                <a:cubicBezTo>
                  <a:pt x="949957" y="2606307"/>
                  <a:pt x="950784" y="2606152"/>
                  <a:pt x="951713" y="2606152"/>
                </a:cubicBezTo>
                <a:cubicBezTo>
                  <a:pt x="953571" y="2607546"/>
                  <a:pt x="955430" y="2609715"/>
                  <a:pt x="954604" y="2611574"/>
                </a:cubicBezTo>
                <a:cubicBezTo>
                  <a:pt x="952952" y="2613432"/>
                  <a:pt x="951196" y="2612968"/>
                  <a:pt x="950267" y="2612193"/>
                </a:cubicBezTo>
                <a:cubicBezTo>
                  <a:pt x="948925" y="2612039"/>
                  <a:pt x="948202" y="2610954"/>
                  <a:pt x="947892" y="2609715"/>
                </a:cubicBezTo>
                <a:cubicBezTo>
                  <a:pt x="947583" y="2608476"/>
                  <a:pt x="947789" y="2607082"/>
                  <a:pt x="948099" y="2605688"/>
                </a:cubicBezTo>
                <a:cubicBezTo>
                  <a:pt x="948202" y="2606617"/>
                  <a:pt x="948099" y="2606463"/>
                  <a:pt x="948099" y="2606463"/>
                </a:cubicBezTo>
                <a:cubicBezTo>
                  <a:pt x="949028" y="2607237"/>
                  <a:pt x="949028" y="2606463"/>
                  <a:pt x="949957" y="2606307"/>
                </a:cubicBezTo>
                <a:cubicBezTo>
                  <a:pt x="949957" y="2606307"/>
                  <a:pt x="949028" y="2606463"/>
                  <a:pt x="949854" y="2605378"/>
                </a:cubicBezTo>
                <a:close/>
                <a:moveTo>
                  <a:pt x="866939" y="2603519"/>
                </a:moveTo>
                <a:cubicBezTo>
                  <a:pt x="876749" y="2605842"/>
                  <a:pt x="881912" y="2615292"/>
                  <a:pt x="892754" y="2622417"/>
                </a:cubicBezTo>
                <a:lnTo>
                  <a:pt x="890688" y="2623036"/>
                </a:lnTo>
                <a:lnTo>
                  <a:pt x="891308" y="2623965"/>
                </a:lnTo>
                <a:cubicBezTo>
                  <a:pt x="890585" y="2627218"/>
                  <a:pt x="888210" y="2629232"/>
                  <a:pt x="885526" y="2629542"/>
                </a:cubicBezTo>
                <a:lnTo>
                  <a:pt x="882015" y="2628612"/>
                </a:lnTo>
                <a:lnTo>
                  <a:pt x="878607" y="2633104"/>
                </a:lnTo>
                <a:cubicBezTo>
                  <a:pt x="877471" y="2634653"/>
                  <a:pt x="876129" y="2636047"/>
                  <a:pt x="874684" y="2637131"/>
                </a:cubicBezTo>
                <a:cubicBezTo>
                  <a:pt x="872722" y="2638681"/>
                  <a:pt x="870450" y="2639610"/>
                  <a:pt x="867353" y="2639455"/>
                </a:cubicBezTo>
                <a:cubicBezTo>
                  <a:pt x="853826" y="2639920"/>
                  <a:pt x="846288" y="2627683"/>
                  <a:pt x="846908" y="2617305"/>
                </a:cubicBezTo>
                <a:cubicBezTo>
                  <a:pt x="847321" y="2610954"/>
                  <a:pt x="850832" y="2605378"/>
                  <a:pt x="857646" y="2603674"/>
                </a:cubicBezTo>
                <a:cubicBezTo>
                  <a:pt x="860228" y="2602899"/>
                  <a:pt x="863325" y="2602899"/>
                  <a:pt x="866939" y="2603519"/>
                </a:cubicBezTo>
                <a:close/>
                <a:moveTo>
                  <a:pt x="1316930" y="2602435"/>
                </a:moveTo>
                <a:cubicBezTo>
                  <a:pt x="1318686" y="2603209"/>
                  <a:pt x="1319098" y="2612039"/>
                  <a:pt x="1314968" y="2611264"/>
                </a:cubicBezTo>
                <a:cubicBezTo>
                  <a:pt x="1314039" y="2610954"/>
                  <a:pt x="1313626" y="2610180"/>
                  <a:pt x="1313523" y="2609405"/>
                </a:cubicBezTo>
                <a:cubicBezTo>
                  <a:pt x="1313110" y="2606772"/>
                  <a:pt x="1315485" y="2602899"/>
                  <a:pt x="1316930" y="2602435"/>
                </a:cubicBezTo>
                <a:close/>
                <a:moveTo>
                  <a:pt x="704427" y="2602203"/>
                </a:moveTo>
                <a:cubicBezTo>
                  <a:pt x="705963" y="2602086"/>
                  <a:pt x="707357" y="2603132"/>
                  <a:pt x="709164" y="2604139"/>
                </a:cubicBezTo>
                <a:cubicBezTo>
                  <a:pt x="708338" y="2605997"/>
                  <a:pt x="709474" y="2608321"/>
                  <a:pt x="707822" y="2610180"/>
                </a:cubicBezTo>
                <a:cubicBezTo>
                  <a:pt x="707822" y="2610180"/>
                  <a:pt x="706893" y="2611109"/>
                  <a:pt x="705240" y="2611419"/>
                </a:cubicBezTo>
                <a:cubicBezTo>
                  <a:pt x="702659" y="2613432"/>
                  <a:pt x="699974" y="2611264"/>
                  <a:pt x="699974" y="2611264"/>
                </a:cubicBezTo>
                <a:cubicBezTo>
                  <a:pt x="699974" y="2611264"/>
                  <a:pt x="699974" y="2611264"/>
                  <a:pt x="699974" y="2612193"/>
                </a:cubicBezTo>
                <a:cubicBezTo>
                  <a:pt x="699871" y="2610489"/>
                  <a:pt x="698942" y="2608940"/>
                  <a:pt x="698838" y="2607237"/>
                </a:cubicBezTo>
                <a:cubicBezTo>
                  <a:pt x="701213" y="2603597"/>
                  <a:pt x="702891" y="2602319"/>
                  <a:pt x="704427" y="2602203"/>
                </a:cubicBezTo>
                <a:close/>
                <a:moveTo>
                  <a:pt x="918361" y="2601350"/>
                </a:moveTo>
                <a:cubicBezTo>
                  <a:pt x="916606" y="2603054"/>
                  <a:pt x="917329" y="2604759"/>
                  <a:pt x="915573" y="2606463"/>
                </a:cubicBezTo>
                <a:cubicBezTo>
                  <a:pt x="913921" y="2604913"/>
                  <a:pt x="912166" y="2604139"/>
                  <a:pt x="911339" y="2603364"/>
                </a:cubicBezTo>
                <a:cubicBezTo>
                  <a:pt x="913198" y="2599802"/>
                  <a:pt x="915883" y="2598872"/>
                  <a:pt x="918361" y="2601350"/>
                </a:cubicBezTo>
                <a:close/>
                <a:moveTo>
                  <a:pt x="1404904" y="2600731"/>
                </a:moveTo>
                <a:cubicBezTo>
                  <a:pt x="1407073" y="2602125"/>
                  <a:pt x="1408415" y="2600886"/>
                  <a:pt x="1410583" y="2602280"/>
                </a:cubicBezTo>
                <a:cubicBezTo>
                  <a:pt x="1407073" y="2608166"/>
                  <a:pt x="1403768" y="2614827"/>
                  <a:pt x="1398090" y="2613278"/>
                </a:cubicBezTo>
                <a:cubicBezTo>
                  <a:pt x="1397470" y="2612193"/>
                  <a:pt x="1397367" y="2610954"/>
                  <a:pt x="1397676" y="2609715"/>
                </a:cubicBezTo>
                <a:lnTo>
                  <a:pt x="1398709" y="2607237"/>
                </a:lnTo>
                <a:lnTo>
                  <a:pt x="1398090" y="2606617"/>
                </a:lnTo>
                <a:cubicBezTo>
                  <a:pt x="1399329" y="2605223"/>
                  <a:pt x="1400568" y="2603674"/>
                  <a:pt x="1402426" y="2603054"/>
                </a:cubicBezTo>
                <a:close/>
                <a:moveTo>
                  <a:pt x="1082952" y="2600111"/>
                </a:moveTo>
                <a:cubicBezTo>
                  <a:pt x="1087185" y="2601196"/>
                  <a:pt x="1088424" y="2601815"/>
                  <a:pt x="1088734" y="2606307"/>
                </a:cubicBezTo>
                <a:cubicBezTo>
                  <a:pt x="1088734" y="2606307"/>
                  <a:pt x="1088424" y="2607237"/>
                  <a:pt x="1088424" y="2607237"/>
                </a:cubicBezTo>
                <a:cubicBezTo>
                  <a:pt x="1087598" y="2611264"/>
                  <a:pt x="1083674" y="2614827"/>
                  <a:pt x="1081712" y="2614672"/>
                </a:cubicBezTo>
                <a:cubicBezTo>
                  <a:pt x="1079957" y="2613897"/>
                  <a:pt x="1078202" y="2612039"/>
                  <a:pt x="1077892" y="2609870"/>
                </a:cubicBezTo>
                <a:cubicBezTo>
                  <a:pt x="1077892" y="2609095"/>
                  <a:pt x="1077892" y="2608321"/>
                  <a:pt x="1078202" y="2607546"/>
                </a:cubicBezTo>
                <a:cubicBezTo>
                  <a:pt x="1078615" y="2604603"/>
                  <a:pt x="1081712" y="2603364"/>
                  <a:pt x="1082952" y="2600111"/>
                </a:cubicBezTo>
                <a:close/>
                <a:moveTo>
                  <a:pt x="1075104" y="2599802"/>
                </a:moveTo>
                <a:lnTo>
                  <a:pt x="1075311" y="2600731"/>
                </a:lnTo>
                <a:lnTo>
                  <a:pt x="1076240" y="2601196"/>
                </a:lnTo>
                <a:close/>
                <a:moveTo>
                  <a:pt x="1344706" y="2599647"/>
                </a:moveTo>
                <a:lnTo>
                  <a:pt x="1345326" y="2599647"/>
                </a:lnTo>
                <a:lnTo>
                  <a:pt x="1344912" y="2600266"/>
                </a:lnTo>
                <a:cubicBezTo>
                  <a:pt x="1344706" y="2599802"/>
                  <a:pt x="1344603" y="2599647"/>
                  <a:pt x="1344706" y="2599647"/>
                </a:cubicBezTo>
                <a:close/>
                <a:moveTo>
                  <a:pt x="997146" y="2598562"/>
                </a:moveTo>
                <a:cubicBezTo>
                  <a:pt x="998281" y="2598253"/>
                  <a:pt x="998281" y="2598253"/>
                  <a:pt x="1000450" y="2599182"/>
                </a:cubicBezTo>
                <a:cubicBezTo>
                  <a:pt x="999314" y="2599647"/>
                  <a:pt x="999314" y="2599647"/>
                  <a:pt x="999624" y="2600731"/>
                </a:cubicBezTo>
                <a:cubicBezTo>
                  <a:pt x="999624" y="2600731"/>
                  <a:pt x="999624" y="2600576"/>
                  <a:pt x="1000346" y="2601041"/>
                </a:cubicBezTo>
                <a:cubicBezTo>
                  <a:pt x="999933" y="2601660"/>
                  <a:pt x="999211" y="2601350"/>
                  <a:pt x="998798" y="2602125"/>
                </a:cubicBezTo>
                <a:cubicBezTo>
                  <a:pt x="998798" y="2602125"/>
                  <a:pt x="998075" y="2601815"/>
                  <a:pt x="998075" y="2601815"/>
                </a:cubicBezTo>
                <a:cubicBezTo>
                  <a:pt x="997868" y="2602125"/>
                  <a:pt x="997868" y="2602125"/>
                  <a:pt x="997765" y="2601970"/>
                </a:cubicBezTo>
                <a:cubicBezTo>
                  <a:pt x="997765" y="2601660"/>
                  <a:pt x="997559" y="2601041"/>
                  <a:pt x="997042" y="2600421"/>
                </a:cubicBezTo>
                <a:cubicBezTo>
                  <a:pt x="996836" y="2599802"/>
                  <a:pt x="996629" y="2599492"/>
                  <a:pt x="996526" y="2599182"/>
                </a:cubicBezTo>
                <a:cubicBezTo>
                  <a:pt x="996526" y="2599027"/>
                  <a:pt x="996629" y="2598718"/>
                  <a:pt x="997146" y="2598562"/>
                </a:cubicBezTo>
                <a:close/>
                <a:moveTo>
                  <a:pt x="1349456" y="2597788"/>
                </a:moveTo>
                <a:cubicBezTo>
                  <a:pt x="1349869" y="2598562"/>
                  <a:pt x="1349869" y="2598562"/>
                  <a:pt x="1349559" y="2599647"/>
                </a:cubicBezTo>
                <a:cubicBezTo>
                  <a:pt x="1349972" y="2600266"/>
                  <a:pt x="1346152" y="2600421"/>
                  <a:pt x="1345326" y="2600886"/>
                </a:cubicBezTo>
                <a:cubicBezTo>
                  <a:pt x="1344912" y="2600111"/>
                  <a:pt x="1344912" y="2600111"/>
                  <a:pt x="1345738" y="2599802"/>
                </a:cubicBezTo>
                <a:lnTo>
                  <a:pt x="1345326" y="2599647"/>
                </a:lnTo>
                <a:lnTo>
                  <a:pt x="1346771" y="2598253"/>
                </a:lnTo>
                <a:cubicBezTo>
                  <a:pt x="1347494" y="2597943"/>
                  <a:pt x="1348423" y="2597943"/>
                  <a:pt x="1349456" y="2597788"/>
                </a:cubicBezTo>
                <a:close/>
                <a:moveTo>
                  <a:pt x="929409" y="2597633"/>
                </a:moveTo>
                <a:cubicBezTo>
                  <a:pt x="931268" y="2599027"/>
                  <a:pt x="930649" y="2603364"/>
                  <a:pt x="929823" y="2605068"/>
                </a:cubicBezTo>
                <a:cubicBezTo>
                  <a:pt x="928273" y="2607082"/>
                  <a:pt x="925589" y="2606463"/>
                  <a:pt x="923834" y="2605068"/>
                </a:cubicBezTo>
                <a:cubicBezTo>
                  <a:pt x="922904" y="2604759"/>
                  <a:pt x="922388" y="2603984"/>
                  <a:pt x="922285" y="2603054"/>
                </a:cubicBezTo>
                <a:cubicBezTo>
                  <a:pt x="922078" y="2602280"/>
                  <a:pt x="922285" y="2601196"/>
                  <a:pt x="922595" y="2600266"/>
                </a:cubicBezTo>
                <a:cubicBezTo>
                  <a:pt x="923421" y="2599337"/>
                  <a:pt x="923421" y="2599337"/>
                  <a:pt x="924247" y="2598407"/>
                </a:cubicBezTo>
                <a:cubicBezTo>
                  <a:pt x="926002" y="2598098"/>
                  <a:pt x="927654" y="2597014"/>
                  <a:pt x="929409" y="2597633"/>
                </a:cubicBezTo>
                <a:close/>
                <a:moveTo>
                  <a:pt x="973397" y="2597265"/>
                </a:moveTo>
                <a:cubicBezTo>
                  <a:pt x="974997" y="2596704"/>
                  <a:pt x="976701" y="2596239"/>
                  <a:pt x="978043" y="2597323"/>
                </a:cubicBezTo>
                <a:cubicBezTo>
                  <a:pt x="987130" y="2602899"/>
                  <a:pt x="985581" y="2605688"/>
                  <a:pt x="983309" y="2611884"/>
                </a:cubicBezTo>
                <a:cubicBezTo>
                  <a:pt x="983206" y="2611109"/>
                  <a:pt x="982483" y="2612039"/>
                  <a:pt x="982483" y="2612039"/>
                </a:cubicBezTo>
                <a:cubicBezTo>
                  <a:pt x="980831" y="2613897"/>
                  <a:pt x="985994" y="2614052"/>
                  <a:pt x="984445" y="2616840"/>
                </a:cubicBezTo>
                <a:lnTo>
                  <a:pt x="983722" y="2617305"/>
                </a:lnTo>
                <a:lnTo>
                  <a:pt x="983722" y="2617770"/>
                </a:lnTo>
                <a:lnTo>
                  <a:pt x="986820" y="2620403"/>
                </a:lnTo>
                <a:lnTo>
                  <a:pt x="986717" y="2620093"/>
                </a:lnTo>
                <a:cubicBezTo>
                  <a:pt x="987853" y="2613432"/>
                  <a:pt x="994564" y="2613897"/>
                  <a:pt x="994151" y="2613123"/>
                </a:cubicBezTo>
                <a:lnTo>
                  <a:pt x="994254" y="2612503"/>
                </a:lnTo>
                <a:lnTo>
                  <a:pt x="993222" y="2612658"/>
                </a:lnTo>
                <a:cubicBezTo>
                  <a:pt x="992602" y="2612968"/>
                  <a:pt x="992189" y="2613123"/>
                  <a:pt x="992189" y="2613123"/>
                </a:cubicBezTo>
                <a:cubicBezTo>
                  <a:pt x="990434" y="2612503"/>
                  <a:pt x="990434" y="2611729"/>
                  <a:pt x="990434" y="2612503"/>
                </a:cubicBezTo>
                <a:cubicBezTo>
                  <a:pt x="988679" y="2611109"/>
                  <a:pt x="985994" y="2609870"/>
                  <a:pt x="986717" y="2608011"/>
                </a:cubicBezTo>
                <a:cubicBezTo>
                  <a:pt x="989711" y="2603829"/>
                  <a:pt x="996010" y="2605842"/>
                  <a:pt x="1000037" y="2607237"/>
                </a:cubicBezTo>
                <a:lnTo>
                  <a:pt x="1002825" y="2608166"/>
                </a:lnTo>
                <a:lnTo>
                  <a:pt x="1004787" y="2606152"/>
                </a:lnTo>
                <a:cubicBezTo>
                  <a:pt x="1006438" y="2605997"/>
                  <a:pt x="1007884" y="2607856"/>
                  <a:pt x="1007574" y="2609560"/>
                </a:cubicBezTo>
                <a:lnTo>
                  <a:pt x="1006129" y="2611264"/>
                </a:lnTo>
                <a:lnTo>
                  <a:pt x="1007678" y="2611729"/>
                </a:lnTo>
                <a:cubicBezTo>
                  <a:pt x="1006852" y="2612658"/>
                  <a:pt x="1004477" y="2615601"/>
                  <a:pt x="1004477" y="2615601"/>
                </a:cubicBezTo>
                <a:cubicBezTo>
                  <a:pt x="1004477" y="2616375"/>
                  <a:pt x="1004477" y="2616375"/>
                  <a:pt x="1003651" y="2617305"/>
                </a:cubicBezTo>
                <a:cubicBezTo>
                  <a:pt x="1002721" y="2616531"/>
                  <a:pt x="1002825" y="2616685"/>
                  <a:pt x="1002721" y="2615756"/>
                </a:cubicBezTo>
                <a:cubicBezTo>
                  <a:pt x="1003547" y="2614827"/>
                  <a:pt x="1004373" y="2614672"/>
                  <a:pt x="1005199" y="2613742"/>
                </a:cubicBezTo>
                <a:cubicBezTo>
                  <a:pt x="1003444" y="2612348"/>
                  <a:pt x="1003444" y="2613278"/>
                  <a:pt x="1004270" y="2612348"/>
                </a:cubicBezTo>
                <a:cubicBezTo>
                  <a:pt x="1004270" y="2612348"/>
                  <a:pt x="1004270" y="2612193"/>
                  <a:pt x="1005096" y="2611264"/>
                </a:cubicBezTo>
                <a:lnTo>
                  <a:pt x="1005303" y="2611109"/>
                </a:lnTo>
                <a:lnTo>
                  <a:pt x="1005199" y="2610954"/>
                </a:lnTo>
                <a:lnTo>
                  <a:pt x="1005096" y="2611264"/>
                </a:lnTo>
                <a:lnTo>
                  <a:pt x="996526" y="2611884"/>
                </a:lnTo>
                <a:lnTo>
                  <a:pt x="996010" y="2612813"/>
                </a:lnTo>
                <a:cubicBezTo>
                  <a:pt x="996836" y="2612348"/>
                  <a:pt x="996526" y="2613588"/>
                  <a:pt x="996526" y="2613588"/>
                </a:cubicBezTo>
                <a:cubicBezTo>
                  <a:pt x="996526" y="2613588"/>
                  <a:pt x="996526" y="2613588"/>
                  <a:pt x="998901" y="2613897"/>
                </a:cubicBezTo>
                <a:cubicBezTo>
                  <a:pt x="998901" y="2613897"/>
                  <a:pt x="1004167" y="2615292"/>
                  <a:pt x="1003341" y="2620713"/>
                </a:cubicBezTo>
                <a:cubicBezTo>
                  <a:pt x="1002412" y="2620558"/>
                  <a:pt x="1001173" y="2624430"/>
                  <a:pt x="999004" y="2626599"/>
                </a:cubicBezTo>
                <a:lnTo>
                  <a:pt x="998281" y="2627064"/>
                </a:lnTo>
                <a:lnTo>
                  <a:pt x="997765" y="2627993"/>
                </a:lnTo>
                <a:cubicBezTo>
                  <a:pt x="997042" y="2629387"/>
                  <a:pt x="996216" y="2630471"/>
                  <a:pt x="995906" y="2631246"/>
                </a:cubicBezTo>
                <a:cubicBezTo>
                  <a:pt x="994977" y="2631246"/>
                  <a:pt x="994977" y="2631246"/>
                  <a:pt x="994977" y="2631246"/>
                </a:cubicBezTo>
                <a:cubicBezTo>
                  <a:pt x="994151" y="2631091"/>
                  <a:pt x="993841" y="2630316"/>
                  <a:pt x="994048" y="2629542"/>
                </a:cubicBezTo>
                <a:lnTo>
                  <a:pt x="994564" y="2628303"/>
                </a:lnTo>
                <a:lnTo>
                  <a:pt x="991260" y="2628612"/>
                </a:lnTo>
                <a:cubicBezTo>
                  <a:pt x="990640" y="2627528"/>
                  <a:pt x="989401" y="2626908"/>
                  <a:pt x="988369" y="2625825"/>
                </a:cubicBezTo>
                <a:lnTo>
                  <a:pt x="987646" y="2624585"/>
                </a:lnTo>
                <a:lnTo>
                  <a:pt x="987646" y="2626444"/>
                </a:lnTo>
                <a:cubicBezTo>
                  <a:pt x="987130" y="2627528"/>
                  <a:pt x="986200" y="2628457"/>
                  <a:pt x="984858" y="2629542"/>
                </a:cubicBezTo>
                <a:cubicBezTo>
                  <a:pt x="980418" y="2627838"/>
                  <a:pt x="973190" y="2626289"/>
                  <a:pt x="970299" y="2621642"/>
                </a:cubicBezTo>
                <a:lnTo>
                  <a:pt x="969989" y="2620558"/>
                </a:lnTo>
                <a:lnTo>
                  <a:pt x="969060" y="2619783"/>
                </a:lnTo>
                <a:lnTo>
                  <a:pt x="968854" y="2619783"/>
                </a:lnTo>
                <a:cubicBezTo>
                  <a:pt x="968854" y="2619009"/>
                  <a:pt x="967924" y="2619163"/>
                  <a:pt x="968027" y="2619938"/>
                </a:cubicBezTo>
                <a:cubicBezTo>
                  <a:pt x="966685" y="2619319"/>
                  <a:pt x="965549" y="2618699"/>
                  <a:pt x="964930" y="2618234"/>
                </a:cubicBezTo>
                <a:cubicBezTo>
                  <a:pt x="964620" y="2617924"/>
                  <a:pt x="964517" y="2617615"/>
                  <a:pt x="964620" y="2617305"/>
                </a:cubicBezTo>
                <a:cubicBezTo>
                  <a:pt x="964620" y="2616995"/>
                  <a:pt x="964723" y="2616531"/>
                  <a:pt x="965136" y="2616066"/>
                </a:cubicBezTo>
                <a:cubicBezTo>
                  <a:pt x="965962" y="2614362"/>
                  <a:pt x="967718" y="2614982"/>
                  <a:pt x="969369" y="2612968"/>
                </a:cubicBezTo>
                <a:cubicBezTo>
                  <a:pt x="971744" y="2609250"/>
                  <a:pt x="964517" y="2605223"/>
                  <a:pt x="969369" y="2597788"/>
                </a:cubicBezTo>
                <a:cubicBezTo>
                  <a:pt x="970299" y="2598485"/>
                  <a:pt x="971796" y="2597827"/>
                  <a:pt x="973397" y="2597265"/>
                </a:cubicBezTo>
                <a:close/>
                <a:moveTo>
                  <a:pt x="1205826" y="2596859"/>
                </a:moveTo>
                <a:cubicBezTo>
                  <a:pt x="1210783" y="2598253"/>
                  <a:pt x="1210886" y="2604913"/>
                  <a:pt x="1210783" y="2609095"/>
                </a:cubicBezTo>
                <a:lnTo>
                  <a:pt x="1210783" y="2610489"/>
                </a:lnTo>
                <a:lnTo>
                  <a:pt x="1212435" y="2609250"/>
                </a:lnTo>
                <a:cubicBezTo>
                  <a:pt x="1215223" y="2608011"/>
                  <a:pt x="1218217" y="2608631"/>
                  <a:pt x="1221418" y="2612348"/>
                </a:cubicBezTo>
                <a:lnTo>
                  <a:pt x="1218630" y="2618234"/>
                </a:lnTo>
                <a:lnTo>
                  <a:pt x="1230195" y="2617150"/>
                </a:lnTo>
                <a:cubicBezTo>
                  <a:pt x="1228749" y="2621952"/>
                  <a:pt x="1224619" y="2623965"/>
                  <a:pt x="1219972" y="2624585"/>
                </a:cubicBezTo>
                <a:lnTo>
                  <a:pt x="1216978" y="2624585"/>
                </a:lnTo>
                <a:lnTo>
                  <a:pt x="1215223" y="2627373"/>
                </a:lnTo>
                <a:lnTo>
                  <a:pt x="1215120" y="2627373"/>
                </a:lnTo>
                <a:lnTo>
                  <a:pt x="1214293" y="2629852"/>
                </a:lnTo>
                <a:cubicBezTo>
                  <a:pt x="1213364" y="2632640"/>
                  <a:pt x="1212435" y="2634963"/>
                  <a:pt x="1211299" y="2636822"/>
                </a:cubicBezTo>
                <a:lnTo>
                  <a:pt x="1209543" y="2638681"/>
                </a:lnTo>
                <a:lnTo>
                  <a:pt x="1210886" y="2638216"/>
                </a:lnTo>
                <a:lnTo>
                  <a:pt x="1211505" y="2638061"/>
                </a:lnTo>
                <a:lnTo>
                  <a:pt x="1212331" y="2636357"/>
                </a:lnTo>
                <a:cubicBezTo>
                  <a:pt x="1212951" y="2635583"/>
                  <a:pt x="1213674" y="2635273"/>
                  <a:pt x="1214810" y="2635738"/>
                </a:cubicBezTo>
                <a:lnTo>
                  <a:pt x="1214810" y="2637441"/>
                </a:lnTo>
                <a:lnTo>
                  <a:pt x="1215016" y="2637441"/>
                </a:lnTo>
                <a:cubicBezTo>
                  <a:pt x="1215326" y="2637441"/>
                  <a:pt x="1215636" y="2637597"/>
                  <a:pt x="1216049" y="2637287"/>
                </a:cubicBezTo>
                <a:cubicBezTo>
                  <a:pt x="1216049" y="2637287"/>
                  <a:pt x="1216772" y="2636822"/>
                  <a:pt x="1217907" y="2636977"/>
                </a:cubicBezTo>
                <a:cubicBezTo>
                  <a:pt x="1219146" y="2637131"/>
                  <a:pt x="1220386" y="2637441"/>
                  <a:pt x="1220489" y="2639300"/>
                </a:cubicBezTo>
                <a:lnTo>
                  <a:pt x="1220282" y="2639300"/>
                </a:lnTo>
                <a:lnTo>
                  <a:pt x="1222967" y="2640694"/>
                </a:lnTo>
                <a:cubicBezTo>
                  <a:pt x="1226065" y="2643328"/>
                  <a:pt x="1228646" y="2648284"/>
                  <a:pt x="1229782" y="2653396"/>
                </a:cubicBezTo>
                <a:lnTo>
                  <a:pt x="1229782" y="2660211"/>
                </a:lnTo>
                <a:lnTo>
                  <a:pt x="1231950" y="2657113"/>
                </a:lnTo>
                <a:cubicBezTo>
                  <a:pt x="1234015" y="2654325"/>
                  <a:pt x="1236494" y="2651537"/>
                  <a:pt x="1237526" y="2650143"/>
                </a:cubicBezTo>
                <a:cubicBezTo>
                  <a:pt x="1238456" y="2650298"/>
                  <a:pt x="1238456" y="2650143"/>
                  <a:pt x="1238456" y="2650143"/>
                </a:cubicBezTo>
                <a:cubicBezTo>
                  <a:pt x="1239281" y="2650608"/>
                  <a:pt x="1239385" y="2651382"/>
                  <a:pt x="1239075" y="2652157"/>
                </a:cubicBezTo>
                <a:cubicBezTo>
                  <a:pt x="1238765" y="2652931"/>
                  <a:pt x="1238042" y="2654016"/>
                  <a:pt x="1237010" y="2655254"/>
                </a:cubicBezTo>
                <a:cubicBezTo>
                  <a:pt x="1234945" y="2657888"/>
                  <a:pt x="1231124" y="2660366"/>
                  <a:pt x="1230092" y="2661141"/>
                </a:cubicBezTo>
                <a:lnTo>
                  <a:pt x="1229782" y="2661605"/>
                </a:lnTo>
                <a:lnTo>
                  <a:pt x="1229782" y="2663309"/>
                </a:lnTo>
                <a:lnTo>
                  <a:pt x="1228956" y="2665323"/>
                </a:lnTo>
                <a:lnTo>
                  <a:pt x="1229782" y="2667956"/>
                </a:lnTo>
                <a:lnTo>
                  <a:pt x="1226891" y="2668730"/>
                </a:lnTo>
                <a:lnTo>
                  <a:pt x="1234015" y="2669350"/>
                </a:lnTo>
                <a:cubicBezTo>
                  <a:pt x="1235151" y="2669350"/>
                  <a:pt x="1236184" y="2669195"/>
                  <a:pt x="1236803" y="2669040"/>
                </a:cubicBezTo>
                <a:lnTo>
                  <a:pt x="1237526" y="2668886"/>
                </a:lnTo>
                <a:lnTo>
                  <a:pt x="1237629" y="2668730"/>
                </a:lnTo>
                <a:cubicBezTo>
                  <a:pt x="1239385" y="2667336"/>
                  <a:pt x="1241243" y="2667182"/>
                  <a:pt x="1242999" y="2667646"/>
                </a:cubicBezTo>
                <a:lnTo>
                  <a:pt x="1245787" y="2668266"/>
                </a:lnTo>
                <a:lnTo>
                  <a:pt x="1245683" y="2668111"/>
                </a:lnTo>
                <a:cubicBezTo>
                  <a:pt x="1245477" y="2667646"/>
                  <a:pt x="1245580" y="2667027"/>
                  <a:pt x="1246097" y="2666407"/>
                </a:cubicBezTo>
                <a:cubicBezTo>
                  <a:pt x="1249813" y="2662689"/>
                  <a:pt x="1255802" y="2664393"/>
                  <a:pt x="1258900" y="2665323"/>
                </a:cubicBezTo>
                <a:lnTo>
                  <a:pt x="1260656" y="2665943"/>
                </a:lnTo>
                <a:lnTo>
                  <a:pt x="1260759" y="2665168"/>
                </a:lnTo>
                <a:lnTo>
                  <a:pt x="1261585" y="2666097"/>
                </a:lnTo>
                <a:lnTo>
                  <a:pt x="1261791" y="2666097"/>
                </a:lnTo>
                <a:cubicBezTo>
                  <a:pt x="1261688" y="2666872"/>
                  <a:pt x="1262514" y="2666872"/>
                  <a:pt x="1262617" y="2666097"/>
                </a:cubicBezTo>
                <a:cubicBezTo>
                  <a:pt x="1263753" y="2667027"/>
                  <a:pt x="1264786" y="2667646"/>
                  <a:pt x="1265199" y="2668266"/>
                </a:cubicBezTo>
                <a:cubicBezTo>
                  <a:pt x="1265715" y="2668886"/>
                  <a:pt x="1265612" y="2669660"/>
                  <a:pt x="1264682" y="2670434"/>
                </a:cubicBezTo>
                <a:lnTo>
                  <a:pt x="1264166" y="2670744"/>
                </a:lnTo>
                <a:lnTo>
                  <a:pt x="1265095" y="2675236"/>
                </a:lnTo>
                <a:cubicBezTo>
                  <a:pt x="1262824" y="2676785"/>
                  <a:pt x="1261068" y="2675856"/>
                  <a:pt x="1260036" y="2674307"/>
                </a:cubicBezTo>
                <a:lnTo>
                  <a:pt x="1259829" y="2673532"/>
                </a:lnTo>
                <a:lnTo>
                  <a:pt x="1259210" y="2675701"/>
                </a:lnTo>
                <a:cubicBezTo>
                  <a:pt x="1259416" y="2678799"/>
                  <a:pt x="1261791" y="2682981"/>
                  <a:pt x="1257351" y="2688093"/>
                </a:cubicBezTo>
                <a:cubicBezTo>
                  <a:pt x="1256112" y="2686699"/>
                  <a:pt x="1253221" y="2688247"/>
                  <a:pt x="1250846" y="2688093"/>
                </a:cubicBezTo>
                <a:lnTo>
                  <a:pt x="1249194" y="2687163"/>
                </a:lnTo>
                <a:lnTo>
                  <a:pt x="1250124" y="2688402"/>
                </a:lnTo>
                <a:cubicBezTo>
                  <a:pt x="1249813" y="2689487"/>
                  <a:pt x="1248265" y="2690261"/>
                  <a:pt x="1246303" y="2690261"/>
                </a:cubicBezTo>
                <a:cubicBezTo>
                  <a:pt x="1246612" y="2689022"/>
                  <a:pt x="1244857" y="2687938"/>
                  <a:pt x="1245167" y="2686853"/>
                </a:cubicBezTo>
                <a:cubicBezTo>
                  <a:pt x="1245167" y="2686853"/>
                  <a:pt x="1245580" y="2686389"/>
                  <a:pt x="1245993" y="2685769"/>
                </a:cubicBezTo>
                <a:lnTo>
                  <a:pt x="1246819" y="2684995"/>
                </a:lnTo>
                <a:lnTo>
                  <a:pt x="1245373" y="2683446"/>
                </a:lnTo>
                <a:cubicBezTo>
                  <a:pt x="1242895" y="2680348"/>
                  <a:pt x="1242999" y="2678179"/>
                  <a:pt x="1244238" y="2675546"/>
                </a:cubicBezTo>
                <a:lnTo>
                  <a:pt x="1244857" y="2674307"/>
                </a:lnTo>
                <a:lnTo>
                  <a:pt x="1244547" y="2674152"/>
                </a:lnTo>
                <a:lnTo>
                  <a:pt x="1242069" y="2673378"/>
                </a:lnTo>
                <a:lnTo>
                  <a:pt x="1242379" y="2674926"/>
                </a:lnTo>
                <a:cubicBezTo>
                  <a:pt x="1237423" y="2679728"/>
                  <a:pt x="1228853" y="2672758"/>
                  <a:pt x="1226374" y="2671829"/>
                </a:cubicBezTo>
                <a:cubicBezTo>
                  <a:pt x="1226374" y="2671829"/>
                  <a:pt x="1225548" y="2671983"/>
                  <a:pt x="1224826" y="2671054"/>
                </a:cubicBezTo>
                <a:cubicBezTo>
                  <a:pt x="1224412" y="2670899"/>
                  <a:pt x="1224206" y="2670589"/>
                  <a:pt x="1224309" y="2670434"/>
                </a:cubicBezTo>
                <a:lnTo>
                  <a:pt x="1224619" y="2669970"/>
                </a:lnTo>
                <a:lnTo>
                  <a:pt x="1224516" y="2669350"/>
                </a:lnTo>
                <a:lnTo>
                  <a:pt x="1224103" y="2669505"/>
                </a:lnTo>
                <a:lnTo>
                  <a:pt x="1221005" y="2669040"/>
                </a:lnTo>
                <a:lnTo>
                  <a:pt x="1220798" y="2670744"/>
                </a:lnTo>
                <a:cubicBezTo>
                  <a:pt x="1220902" y="2672138"/>
                  <a:pt x="1221211" y="2673378"/>
                  <a:pt x="1221728" y="2673687"/>
                </a:cubicBezTo>
                <a:cubicBezTo>
                  <a:pt x="1220902" y="2673842"/>
                  <a:pt x="1220489" y="2674926"/>
                  <a:pt x="1220489" y="2674926"/>
                </a:cubicBezTo>
                <a:cubicBezTo>
                  <a:pt x="1219353" y="2674307"/>
                  <a:pt x="1218940" y="2673532"/>
                  <a:pt x="1218630" y="2672758"/>
                </a:cubicBezTo>
                <a:cubicBezTo>
                  <a:pt x="1219146" y="2671829"/>
                  <a:pt x="1219972" y="2671518"/>
                  <a:pt x="1220489" y="2670434"/>
                </a:cubicBezTo>
                <a:lnTo>
                  <a:pt x="1220179" y="2668886"/>
                </a:lnTo>
                <a:lnTo>
                  <a:pt x="1216565" y="2668266"/>
                </a:lnTo>
                <a:cubicBezTo>
                  <a:pt x="1213880" y="2667336"/>
                  <a:pt x="1211402" y="2665943"/>
                  <a:pt x="1209647" y="2664239"/>
                </a:cubicBezTo>
                <a:cubicBezTo>
                  <a:pt x="1209854" y="2664549"/>
                  <a:pt x="1209957" y="2665013"/>
                  <a:pt x="1209854" y="2665478"/>
                </a:cubicBezTo>
                <a:cubicBezTo>
                  <a:pt x="1210370" y="2666252"/>
                  <a:pt x="1209543" y="2666717"/>
                  <a:pt x="1209234" y="2667801"/>
                </a:cubicBezTo>
                <a:lnTo>
                  <a:pt x="1208304" y="2668111"/>
                </a:lnTo>
                <a:lnTo>
                  <a:pt x="1208614" y="2669195"/>
                </a:lnTo>
                <a:cubicBezTo>
                  <a:pt x="1208821" y="2671054"/>
                  <a:pt x="1208821" y="2672758"/>
                  <a:pt x="1208304" y="2673068"/>
                </a:cubicBezTo>
                <a:cubicBezTo>
                  <a:pt x="1207995" y="2672293"/>
                  <a:pt x="1207478" y="2670279"/>
                  <a:pt x="1207065" y="2668421"/>
                </a:cubicBezTo>
                <a:lnTo>
                  <a:pt x="1207065" y="2668111"/>
                </a:lnTo>
                <a:lnTo>
                  <a:pt x="1206239" y="2668111"/>
                </a:lnTo>
                <a:cubicBezTo>
                  <a:pt x="1206033" y="2668266"/>
                  <a:pt x="1205930" y="2668575"/>
                  <a:pt x="1205826" y="2669195"/>
                </a:cubicBezTo>
                <a:cubicBezTo>
                  <a:pt x="1205826" y="2669195"/>
                  <a:pt x="1205413" y="2668421"/>
                  <a:pt x="1205413" y="2668421"/>
                </a:cubicBezTo>
                <a:cubicBezTo>
                  <a:pt x="1206136" y="2667956"/>
                  <a:pt x="1205413" y="2668421"/>
                  <a:pt x="1204174" y="2668266"/>
                </a:cubicBezTo>
                <a:cubicBezTo>
                  <a:pt x="1204071" y="2666407"/>
                  <a:pt x="1203555" y="2665787"/>
                  <a:pt x="1203865" y="2664549"/>
                </a:cubicBezTo>
                <a:lnTo>
                  <a:pt x="1197669" y="2660985"/>
                </a:lnTo>
                <a:lnTo>
                  <a:pt x="1196533" y="2659282"/>
                </a:lnTo>
                <a:lnTo>
                  <a:pt x="1194881" y="2658662"/>
                </a:lnTo>
                <a:cubicBezTo>
                  <a:pt x="1194985" y="2657888"/>
                  <a:pt x="1194881" y="2657888"/>
                  <a:pt x="1195810" y="2657888"/>
                </a:cubicBezTo>
                <a:cubicBezTo>
                  <a:pt x="1195707" y="2657733"/>
                  <a:pt x="1195707" y="2657733"/>
                  <a:pt x="1195604" y="2657733"/>
                </a:cubicBezTo>
                <a:lnTo>
                  <a:pt x="1196017" y="2657578"/>
                </a:lnTo>
                <a:lnTo>
                  <a:pt x="1195914" y="2657113"/>
                </a:lnTo>
                <a:cubicBezTo>
                  <a:pt x="1195914" y="2656339"/>
                  <a:pt x="1196120" y="2655719"/>
                  <a:pt x="1196636" y="2655099"/>
                </a:cubicBezTo>
                <a:cubicBezTo>
                  <a:pt x="1196740" y="2654325"/>
                  <a:pt x="1200147" y="2654325"/>
                  <a:pt x="1200870" y="2655254"/>
                </a:cubicBezTo>
                <a:cubicBezTo>
                  <a:pt x="1202316" y="2656958"/>
                  <a:pt x="1203142" y="2657888"/>
                  <a:pt x="1202935" y="2659437"/>
                </a:cubicBezTo>
                <a:cubicBezTo>
                  <a:pt x="1203658" y="2660366"/>
                  <a:pt x="1204381" y="2661141"/>
                  <a:pt x="1204691" y="2662070"/>
                </a:cubicBezTo>
                <a:lnTo>
                  <a:pt x="1204174" y="2663929"/>
                </a:lnTo>
                <a:lnTo>
                  <a:pt x="1204794" y="2662689"/>
                </a:lnTo>
                <a:cubicBezTo>
                  <a:pt x="1205207" y="2662225"/>
                  <a:pt x="1205826" y="2661760"/>
                  <a:pt x="1206446" y="2661915"/>
                </a:cubicBezTo>
                <a:cubicBezTo>
                  <a:pt x="1206859" y="2662535"/>
                  <a:pt x="1207582" y="2662070"/>
                  <a:pt x="1208098" y="2662844"/>
                </a:cubicBezTo>
                <a:cubicBezTo>
                  <a:pt x="1208718" y="2663154"/>
                  <a:pt x="1209028" y="2663464"/>
                  <a:pt x="1209337" y="2663774"/>
                </a:cubicBezTo>
                <a:cubicBezTo>
                  <a:pt x="1208098" y="2662380"/>
                  <a:pt x="1207169" y="2660831"/>
                  <a:pt x="1207065" y="2658972"/>
                </a:cubicBezTo>
                <a:cubicBezTo>
                  <a:pt x="1210163" y="2659901"/>
                  <a:pt x="1213054" y="2660831"/>
                  <a:pt x="1216359" y="2661760"/>
                </a:cubicBezTo>
                <a:lnTo>
                  <a:pt x="1222037" y="2662380"/>
                </a:lnTo>
                <a:lnTo>
                  <a:pt x="1222244" y="2661760"/>
                </a:lnTo>
                <a:lnTo>
                  <a:pt x="1221831" y="2660831"/>
                </a:lnTo>
                <a:lnTo>
                  <a:pt x="1221625" y="2660831"/>
                </a:lnTo>
                <a:cubicBezTo>
                  <a:pt x="1219250" y="2659127"/>
                  <a:pt x="1216668" y="2659746"/>
                  <a:pt x="1214397" y="2658042"/>
                </a:cubicBezTo>
                <a:cubicBezTo>
                  <a:pt x="1214397" y="2658042"/>
                  <a:pt x="1214397" y="2658042"/>
                  <a:pt x="1215326" y="2657113"/>
                </a:cubicBezTo>
                <a:cubicBezTo>
                  <a:pt x="1217288" y="2658042"/>
                  <a:pt x="1219456" y="2658197"/>
                  <a:pt x="1221521" y="2658353"/>
                </a:cubicBezTo>
                <a:lnTo>
                  <a:pt x="1222760" y="2658662"/>
                </a:lnTo>
                <a:lnTo>
                  <a:pt x="1222037" y="2656649"/>
                </a:lnTo>
                <a:cubicBezTo>
                  <a:pt x="1220179" y="2652621"/>
                  <a:pt x="1218217" y="2648439"/>
                  <a:pt x="1218733" y="2643483"/>
                </a:cubicBezTo>
                <a:lnTo>
                  <a:pt x="1219663" y="2639455"/>
                </a:lnTo>
                <a:lnTo>
                  <a:pt x="1215636" y="2640694"/>
                </a:lnTo>
                <a:lnTo>
                  <a:pt x="1214810" y="2641004"/>
                </a:lnTo>
                <a:lnTo>
                  <a:pt x="1214810" y="2643173"/>
                </a:lnTo>
                <a:cubicBezTo>
                  <a:pt x="1214810" y="2643173"/>
                  <a:pt x="1213261" y="2647355"/>
                  <a:pt x="1210163" y="2646735"/>
                </a:cubicBezTo>
                <a:cubicBezTo>
                  <a:pt x="1209750" y="2646890"/>
                  <a:pt x="1209131" y="2646271"/>
                  <a:pt x="1208718" y="2645341"/>
                </a:cubicBezTo>
                <a:lnTo>
                  <a:pt x="1208201" y="2643017"/>
                </a:lnTo>
                <a:lnTo>
                  <a:pt x="1204587" y="2643947"/>
                </a:lnTo>
                <a:lnTo>
                  <a:pt x="1202729" y="2645806"/>
                </a:lnTo>
                <a:lnTo>
                  <a:pt x="1202109" y="2645961"/>
                </a:lnTo>
                <a:lnTo>
                  <a:pt x="1201799" y="2646735"/>
                </a:lnTo>
                <a:cubicBezTo>
                  <a:pt x="1201799" y="2646735"/>
                  <a:pt x="1201799" y="2646890"/>
                  <a:pt x="1200973" y="2646735"/>
                </a:cubicBezTo>
                <a:lnTo>
                  <a:pt x="1201386" y="2645961"/>
                </a:lnTo>
                <a:lnTo>
                  <a:pt x="1200457" y="2646271"/>
                </a:lnTo>
                <a:lnTo>
                  <a:pt x="1200767" y="2646890"/>
                </a:lnTo>
                <a:cubicBezTo>
                  <a:pt x="1200767" y="2646890"/>
                  <a:pt x="1200044" y="2647045"/>
                  <a:pt x="1199011" y="2646735"/>
                </a:cubicBezTo>
                <a:cubicBezTo>
                  <a:pt x="1199011" y="2646735"/>
                  <a:pt x="1199115" y="2646425"/>
                  <a:pt x="1199321" y="2646271"/>
                </a:cubicBezTo>
                <a:lnTo>
                  <a:pt x="1200044" y="2646116"/>
                </a:lnTo>
                <a:lnTo>
                  <a:pt x="1197360" y="2644412"/>
                </a:lnTo>
                <a:cubicBezTo>
                  <a:pt x="1196740" y="2643483"/>
                  <a:pt x="1196327" y="2642243"/>
                  <a:pt x="1196430" y="2640849"/>
                </a:cubicBezTo>
                <a:cubicBezTo>
                  <a:pt x="1196533" y="2639145"/>
                  <a:pt x="1197256" y="2637441"/>
                  <a:pt x="1198805" y="2635893"/>
                </a:cubicBezTo>
                <a:lnTo>
                  <a:pt x="1199218" y="2635893"/>
                </a:lnTo>
                <a:lnTo>
                  <a:pt x="1200354" y="2629852"/>
                </a:lnTo>
                <a:lnTo>
                  <a:pt x="1201076" y="2627838"/>
                </a:lnTo>
                <a:lnTo>
                  <a:pt x="1200767" y="2627373"/>
                </a:lnTo>
                <a:cubicBezTo>
                  <a:pt x="1200560" y="2626444"/>
                  <a:pt x="1200664" y="2625514"/>
                  <a:pt x="1201180" y="2624275"/>
                </a:cubicBezTo>
                <a:lnTo>
                  <a:pt x="1201490" y="2623965"/>
                </a:lnTo>
                <a:lnTo>
                  <a:pt x="1201283" y="2623191"/>
                </a:lnTo>
                <a:cubicBezTo>
                  <a:pt x="1200354" y="2621177"/>
                  <a:pt x="1199631" y="2619163"/>
                  <a:pt x="1199838" y="2616840"/>
                </a:cubicBezTo>
                <a:cubicBezTo>
                  <a:pt x="1201076" y="2617305"/>
                  <a:pt x="1203761" y="2618854"/>
                  <a:pt x="1203348" y="2621797"/>
                </a:cubicBezTo>
                <a:lnTo>
                  <a:pt x="1203348" y="2622107"/>
                </a:lnTo>
                <a:lnTo>
                  <a:pt x="1205207" y="2617305"/>
                </a:lnTo>
                <a:lnTo>
                  <a:pt x="1205723" y="2616531"/>
                </a:lnTo>
                <a:lnTo>
                  <a:pt x="1204174" y="2615911"/>
                </a:lnTo>
                <a:cubicBezTo>
                  <a:pt x="1203348" y="2616220"/>
                  <a:pt x="1203348" y="2616220"/>
                  <a:pt x="1202212" y="2615756"/>
                </a:cubicBezTo>
                <a:cubicBezTo>
                  <a:pt x="1202626" y="2614672"/>
                  <a:pt x="1202626" y="2614672"/>
                  <a:pt x="1203348" y="2614362"/>
                </a:cubicBezTo>
                <a:lnTo>
                  <a:pt x="1206033" y="2616066"/>
                </a:lnTo>
                <a:lnTo>
                  <a:pt x="1206549" y="2614362"/>
                </a:lnTo>
                <a:lnTo>
                  <a:pt x="1207065" y="2614517"/>
                </a:lnTo>
                <a:lnTo>
                  <a:pt x="1207788" y="2613432"/>
                </a:lnTo>
                <a:lnTo>
                  <a:pt x="1205000" y="2606772"/>
                </a:lnTo>
                <a:cubicBezTo>
                  <a:pt x="1203761" y="2604759"/>
                  <a:pt x="1202626" y="2603519"/>
                  <a:pt x="1202626" y="2603519"/>
                </a:cubicBezTo>
                <a:cubicBezTo>
                  <a:pt x="1202626" y="2601660"/>
                  <a:pt x="1203452" y="2601350"/>
                  <a:pt x="1202729" y="2601660"/>
                </a:cubicBezTo>
                <a:cubicBezTo>
                  <a:pt x="1203555" y="2599492"/>
                  <a:pt x="1203865" y="2596704"/>
                  <a:pt x="1205826" y="2596859"/>
                </a:cubicBezTo>
                <a:close/>
                <a:moveTo>
                  <a:pt x="1110521" y="2594535"/>
                </a:moveTo>
                <a:lnTo>
                  <a:pt x="1110831" y="2595155"/>
                </a:lnTo>
                <a:lnTo>
                  <a:pt x="1111244" y="2595310"/>
                </a:lnTo>
                <a:close/>
                <a:moveTo>
                  <a:pt x="1246509" y="2593451"/>
                </a:moveTo>
                <a:cubicBezTo>
                  <a:pt x="1250639" y="2593296"/>
                  <a:pt x="1253221" y="2594535"/>
                  <a:pt x="1254563" y="2596549"/>
                </a:cubicBezTo>
                <a:lnTo>
                  <a:pt x="1255493" y="2601506"/>
                </a:lnTo>
                <a:lnTo>
                  <a:pt x="1256319" y="2601506"/>
                </a:lnTo>
                <a:cubicBezTo>
                  <a:pt x="1257971" y="2602590"/>
                  <a:pt x="1259623" y="2604449"/>
                  <a:pt x="1261378" y="2607701"/>
                </a:cubicBezTo>
                <a:cubicBezTo>
                  <a:pt x="1256319" y="2607701"/>
                  <a:pt x="1252085" y="2610335"/>
                  <a:pt x="1248058" y="2612348"/>
                </a:cubicBezTo>
                <a:lnTo>
                  <a:pt x="1245064" y="2613588"/>
                </a:lnTo>
                <a:lnTo>
                  <a:pt x="1248058" y="2614982"/>
                </a:lnTo>
                <a:cubicBezTo>
                  <a:pt x="1245477" y="2619163"/>
                  <a:pt x="1242173" y="2620403"/>
                  <a:pt x="1237526" y="2620248"/>
                </a:cubicBezTo>
                <a:cubicBezTo>
                  <a:pt x="1237320" y="2619473"/>
                  <a:pt x="1237629" y="2618234"/>
                  <a:pt x="1238249" y="2616995"/>
                </a:cubicBezTo>
                <a:lnTo>
                  <a:pt x="1239591" y="2614672"/>
                </a:lnTo>
                <a:lnTo>
                  <a:pt x="1236184" y="2614517"/>
                </a:lnTo>
                <a:cubicBezTo>
                  <a:pt x="1237423" y="2613588"/>
                  <a:pt x="1238662" y="2612348"/>
                  <a:pt x="1239901" y="2610954"/>
                </a:cubicBezTo>
                <a:lnTo>
                  <a:pt x="1240417" y="2610335"/>
                </a:lnTo>
                <a:lnTo>
                  <a:pt x="1239488" y="2608321"/>
                </a:lnTo>
                <a:lnTo>
                  <a:pt x="1240417" y="2604449"/>
                </a:lnTo>
                <a:lnTo>
                  <a:pt x="1233912" y="2606617"/>
                </a:lnTo>
                <a:cubicBezTo>
                  <a:pt x="1229678" y="2607237"/>
                  <a:pt x="1225032" y="2607082"/>
                  <a:pt x="1219560" y="2605378"/>
                </a:cubicBezTo>
                <a:cubicBezTo>
                  <a:pt x="1218836" y="2604139"/>
                  <a:pt x="1218424" y="2602899"/>
                  <a:pt x="1218424" y="2601970"/>
                </a:cubicBezTo>
                <a:cubicBezTo>
                  <a:pt x="1218217" y="2598718"/>
                  <a:pt x="1220592" y="2596394"/>
                  <a:pt x="1224103" y="2595310"/>
                </a:cubicBezTo>
                <a:cubicBezTo>
                  <a:pt x="1229885" y="2593296"/>
                  <a:pt x="1238662" y="2594071"/>
                  <a:pt x="1242895" y="2597943"/>
                </a:cubicBezTo>
                <a:lnTo>
                  <a:pt x="1242895" y="2598098"/>
                </a:lnTo>
                <a:close/>
                <a:moveTo>
                  <a:pt x="593104" y="2592676"/>
                </a:moveTo>
                <a:cubicBezTo>
                  <a:pt x="594859" y="2592367"/>
                  <a:pt x="596615" y="2592057"/>
                  <a:pt x="597751" y="2593451"/>
                </a:cubicBezTo>
                <a:cubicBezTo>
                  <a:pt x="598163" y="2593916"/>
                  <a:pt x="598473" y="2594535"/>
                  <a:pt x="598783" y="2595310"/>
                </a:cubicBezTo>
                <a:cubicBezTo>
                  <a:pt x="598783" y="2595310"/>
                  <a:pt x="598680" y="2595310"/>
                  <a:pt x="598267" y="2596084"/>
                </a:cubicBezTo>
                <a:cubicBezTo>
                  <a:pt x="597441" y="2597323"/>
                  <a:pt x="597028" y="2598098"/>
                  <a:pt x="596512" y="2598718"/>
                </a:cubicBezTo>
                <a:cubicBezTo>
                  <a:pt x="595376" y="2598872"/>
                  <a:pt x="592278" y="2598872"/>
                  <a:pt x="591968" y="2597633"/>
                </a:cubicBezTo>
                <a:cubicBezTo>
                  <a:pt x="591658" y="2596549"/>
                  <a:pt x="591658" y="2595310"/>
                  <a:pt x="591865" y="2594380"/>
                </a:cubicBezTo>
                <a:cubicBezTo>
                  <a:pt x="592071" y="2593451"/>
                  <a:pt x="592485" y="2592831"/>
                  <a:pt x="593104" y="2592676"/>
                </a:cubicBezTo>
                <a:close/>
                <a:moveTo>
                  <a:pt x="727789" y="2592076"/>
                </a:moveTo>
                <a:cubicBezTo>
                  <a:pt x="729454" y="2593683"/>
                  <a:pt x="729763" y="2596394"/>
                  <a:pt x="726201" y="2598253"/>
                </a:cubicBezTo>
                <a:cubicBezTo>
                  <a:pt x="723620" y="2595775"/>
                  <a:pt x="721968" y="2594226"/>
                  <a:pt x="721245" y="2592521"/>
                </a:cubicBezTo>
                <a:cubicBezTo>
                  <a:pt x="723104" y="2589966"/>
                  <a:pt x="726124" y="2590469"/>
                  <a:pt x="727789" y="2592076"/>
                </a:cubicBezTo>
                <a:close/>
                <a:moveTo>
                  <a:pt x="1096994" y="2589114"/>
                </a:moveTo>
                <a:cubicBezTo>
                  <a:pt x="1097820" y="2589966"/>
                  <a:pt x="1099369" y="2589501"/>
                  <a:pt x="1101021" y="2589114"/>
                </a:cubicBezTo>
                <a:cubicBezTo>
                  <a:pt x="1102673" y="2588726"/>
                  <a:pt x="1104429" y="2588417"/>
                  <a:pt x="1105668" y="2589578"/>
                </a:cubicBezTo>
                <a:lnTo>
                  <a:pt x="1107527" y="2591282"/>
                </a:lnTo>
                <a:lnTo>
                  <a:pt x="1107733" y="2589424"/>
                </a:lnTo>
                <a:cubicBezTo>
                  <a:pt x="1114651" y="2590353"/>
                  <a:pt x="1122086" y="2593916"/>
                  <a:pt x="1123634" y="2594845"/>
                </a:cubicBezTo>
                <a:cubicBezTo>
                  <a:pt x="1124460" y="2595310"/>
                  <a:pt x="1124873" y="2595775"/>
                  <a:pt x="1124873" y="2596240"/>
                </a:cubicBezTo>
                <a:cubicBezTo>
                  <a:pt x="1124977" y="2596859"/>
                  <a:pt x="1124667" y="2597478"/>
                  <a:pt x="1124151" y="2598253"/>
                </a:cubicBezTo>
                <a:cubicBezTo>
                  <a:pt x="1123222" y="2598872"/>
                  <a:pt x="1122292" y="2599182"/>
                  <a:pt x="1121363" y="2599182"/>
                </a:cubicBezTo>
                <a:lnTo>
                  <a:pt x="1121673" y="2599802"/>
                </a:lnTo>
                <a:lnTo>
                  <a:pt x="1121982" y="2599802"/>
                </a:lnTo>
                <a:cubicBezTo>
                  <a:pt x="1125080" y="2600886"/>
                  <a:pt x="1128074" y="2602590"/>
                  <a:pt x="1129313" y="2602899"/>
                </a:cubicBezTo>
                <a:cubicBezTo>
                  <a:pt x="1129313" y="2602899"/>
                  <a:pt x="1130139" y="2602899"/>
                  <a:pt x="1130966" y="2603674"/>
                </a:cubicBezTo>
                <a:cubicBezTo>
                  <a:pt x="1132618" y="2604449"/>
                  <a:pt x="1130036" y="2605378"/>
                  <a:pt x="1130862" y="2606152"/>
                </a:cubicBezTo>
                <a:lnTo>
                  <a:pt x="1124564" y="2606152"/>
                </a:lnTo>
                <a:lnTo>
                  <a:pt x="1124151" y="2611109"/>
                </a:lnTo>
                <a:cubicBezTo>
                  <a:pt x="1119195" y="2613742"/>
                  <a:pt x="1112690" y="2610180"/>
                  <a:pt x="1108662" y="2605997"/>
                </a:cubicBezTo>
                <a:lnTo>
                  <a:pt x="1108249" y="2605533"/>
                </a:lnTo>
                <a:lnTo>
                  <a:pt x="1108146" y="2605842"/>
                </a:lnTo>
                <a:cubicBezTo>
                  <a:pt x="1108766" y="2606927"/>
                  <a:pt x="1111347" y="2607701"/>
                  <a:pt x="1110005" y="2609715"/>
                </a:cubicBezTo>
                <a:cubicBezTo>
                  <a:pt x="1106597" y="2613588"/>
                  <a:pt x="1100402" y="2612503"/>
                  <a:pt x="1097201" y="2611729"/>
                </a:cubicBezTo>
                <a:lnTo>
                  <a:pt x="1095445" y="2611264"/>
                </a:lnTo>
                <a:lnTo>
                  <a:pt x="1095342" y="2612039"/>
                </a:lnTo>
                <a:lnTo>
                  <a:pt x="1094516" y="2611264"/>
                </a:lnTo>
                <a:lnTo>
                  <a:pt x="1094310" y="2611264"/>
                </a:lnTo>
                <a:cubicBezTo>
                  <a:pt x="1094413" y="2610335"/>
                  <a:pt x="1093484" y="2610489"/>
                  <a:pt x="1093381" y="2611264"/>
                </a:cubicBezTo>
                <a:cubicBezTo>
                  <a:pt x="1092141" y="2610489"/>
                  <a:pt x="1091109" y="2609870"/>
                  <a:pt x="1090592" y="2609250"/>
                </a:cubicBezTo>
                <a:cubicBezTo>
                  <a:pt x="1090283" y="2608940"/>
                  <a:pt x="1090179" y="2608631"/>
                  <a:pt x="1090283" y="2608321"/>
                </a:cubicBezTo>
                <a:cubicBezTo>
                  <a:pt x="1090283" y="2608011"/>
                  <a:pt x="1090592" y="2607701"/>
                  <a:pt x="1091005" y="2607237"/>
                </a:cubicBezTo>
                <a:cubicBezTo>
                  <a:pt x="1091935" y="2605378"/>
                  <a:pt x="1093690" y="2606307"/>
                  <a:pt x="1095445" y="2604449"/>
                </a:cubicBezTo>
                <a:cubicBezTo>
                  <a:pt x="1098233" y="2601041"/>
                  <a:pt x="1091522" y="2596240"/>
                  <a:pt x="1096994" y="2589114"/>
                </a:cubicBezTo>
                <a:close/>
                <a:moveTo>
                  <a:pt x="635852" y="2588804"/>
                </a:moveTo>
                <a:cubicBezTo>
                  <a:pt x="639983" y="2589733"/>
                  <a:pt x="644009" y="2592676"/>
                  <a:pt x="647624" y="2596859"/>
                </a:cubicBezTo>
                <a:lnTo>
                  <a:pt x="649172" y="2599647"/>
                </a:lnTo>
                <a:lnTo>
                  <a:pt x="655161" y="2594226"/>
                </a:lnTo>
                <a:cubicBezTo>
                  <a:pt x="657639" y="2592521"/>
                  <a:pt x="659807" y="2591128"/>
                  <a:pt x="660634" y="2590663"/>
                </a:cubicBezTo>
                <a:cubicBezTo>
                  <a:pt x="661460" y="2590353"/>
                  <a:pt x="661976" y="2590198"/>
                  <a:pt x="662595" y="2590353"/>
                </a:cubicBezTo>
                <a:cubicBezTo>
                  <a:pt x="663112" y="2590663"/>
                  <a:pt x="663525" y="2591128"/>
                  <a:pt x="664144" y="2592057"/>
                </a:cubicBezTo>
                <a:cubicBezTo>
                  <a:pt x="664661" y="2596240"/>
                  <a:pt x="660530" y="2597478"/>
                  <a:pt x="657639" y="2600421"/>
                </a:cubicBezTo>
                <a:cubicBezTo>
                  <a:pt x="656813" y="2599956"/>
                  <a:pt x="655677" y="2600111"/>
                  <a:pt x="655161" y="2600886"/>
                </a:cubicBezTo>
                <a:cubicBezTo>
                  <a:pt x="654025" y="2601041"/>
                  <a:pt x="652786" y="2601350"/>
                  <a:pt x="653612" y="2601815"/>
                </a:cubicBezTo>
                <a:lnTo>
                  <a:pt x="650721" y="2602280"/>
                </a:lnTo>
                <a:lnTo>
                  <a:pt x="656193" y="2611729"/>
                </a:lnTo>
                <a:cubicBezTo>
                  <a:pt x="660324" y="2622881"/>
                  <a:pt x="660427" y="2634653"/>
                  <a:pt x="652786" y="2639455"/>
                </a:cubicBezTo>
                <a:lnTo>
                  <a:pt x="648346" y="2626753"/>
                </a:lnTo>
                <a:cubicBezTo>
                  <a:pt x="647520" y="2626908"/>
                  <a:pt x="647520" y="2626134"/>
                  <a:pt x="646694" y="2626289"/>
                </a:cubicBezTo>
                <a:cubicBezTo>
                  <a:pt x="646694" y="2626289"/>
                  <a:pt x="646591" y="2625514"/>
                  <a:pt x="646591" y="2625514"/>
                </a:cubicBezTo>
                <a:cubicBezTo>
                  <a:pt x="646178" y="2625514"/>
                  <a:pt x="646281" y="2625514"/>
                  <a:pt x="646384" y="2625205"/>
                </a:cubicBezTo>
                <a:lnTo>
                  <a:pt x="647107" y="2624121"/>
                </a:lnTo>
                <a:lnTo>
                  <a:pt x="642977" y="2615446"/>
                </a:lnTo>
                <a:cubicBezTo>
                  <a:pt x="639466" y="2607856"/>
                  <a:pt x="636265" y="2599802"/>
                  <a:pt x="635852" y="2588804"/>
                </a:cubicBezTo>
                <a:close/>
                <a:moveTo>
                  <a:pt x="1141601" y="2587100"/>
                </a:moveTo>
                <a:lnTo>
                  <a:pt x="1144699" y="2592676"/>
                </a:lnTo>
                <a:lnTo>
                  <a:pt x="1148519" y="2590973"/>
                </a:lnTo>
                <a:cubicBezTo>
                  <a:pt x="1150481" y="2590663"/>
                  <a:pt x="1152546" y="2590663"/>
                  <a:pt x="1154405" y="2591282"/>
                </a:cubicBezTo>
                <a:lnTo>
                  <a:pt x="1156264" y="2592986"/>
                </a:lnTo>
                <a:lnTo>
                  <a:pt x="1159051" y="2590353"/>
                </a:lnTo>
                <a:cubicBezTo>
                  <a:pt x="1163388" y="2591902"/>
                  <a:pt x="1162459" y="2594535"/>
                  <a:pt x="1161426" y="2597014"/>
                </a:cubicBezTo>
                <a:lnTo>
                  <a:pt x="1160806" y="2597014"/>
                </a:lnTo>
                <a:lnTo>
                  <a:pt x="1161426" y="2597478"/>
                </a:lnTo>
                <a:lnTo>
                  <a:pt x="1161116" y="2598098"/>
                </a:lnTo>
                <a:lnTo>
                  <a:pt x="1165247" y="2599956"/>
                </a:lnTo>
                <a:lnTo>
                  <a:pt x="1167002" y="2598562"/>
                </a:lnTo>
                <a:cubicBezTo>
                  <a:pt x="1168241" y="2598562"/>
                  <a:pt x="1169480" y="2599027"/>
                  <a:pt x="1171132" y="2599956"/>
                </a:cubicBezTo>
                <a:cubicBezTo>
                  <a:pt x="1170203" y="2601041"/>
                  <a:pt x="1169274" y="2601506"/>
                  <a:pt x="1168138" y="2601506"/>
                </a:cubicBezTo>
                <a:lnTo>
                  <a:pt x="1167622" y="2601506"/>
                </a:lnTo>
                <a:lnTo>
                  <a:pt x="1171958" y="2604603"/>
                </a:lnTo>
                <a:cubicBezTo>
                  <a:pt x="1173920" y="2605997"/>
                  <a:pt x="1175572" y="2607237"/>
                  <a:pt x="1177637" y="2607856"/>
                </a:cubicBezTo>
                <a:cubicBezTo>
                  <a:pt x="1177637" y="2607856"/>
                  <a:pt x="1177534" y="2607856"/>
                  <a:pt x="1178154" y="2610180"/>
                </a:cubicBezTo>
                <a:cubicBezTo>
                  <a:pt x="1178980" y="2610644"/>
                  <a:pt x="1178980" y="2610644"/>
                  <a:pt x="1178980" y="2610644"/>
                </a:cubicBezTo>
                <a:cubicBezTo>
                  <a:pt x="1179393" y="2610954"/>
                  <a:pt x="1179290" y="2611419"/>
                  <a:pt x="1179186" y="2611729"/>
                </a:cubicBezTo>
                <a:lnTo>
                  <a:pt x="1179186" y="2611884"/>
                </a:lnTo>
                <a:lnTo>
                  <a:pt x="1179393" y="2612039"/>
                </a:lnTo>
                <a:lnTo>
                  <a:pt x="1179806" y="2612348"/>
                </a:lnTo>
                <a:lnTo>
                  <a:pt x="1182284" y="2608166"/>
                </a:lnTo>
                <a:cubicBezTo>
                  <a:pt x="1184452" y="2609250"/>
                  <a:pt x="1185485" y="2606307"/>
                  <a:pt x="1187860" y="2608011"/>
                </a:cubicBezTo>
                <a:lnTo>
                  <a:pt x="1187447" y="2610335"/>
                </a:lnTo>
                <a:cubicBezTo>
                  <a:pt x="1188376" y="2610335"/>
                  <a:pt x="1189615" y="2610489"/>
                  <a:pt x="1191267" y="2610799"/>
                </a:cubicBezTo>
                <a:cubicBezTo>
                  <a:pt x="1194365" y="2611419"/>
                  <a:pt x="1198392" y="2613742"/>
                  <a:pt x="1199528" y="2614207"/>
                </a:cubicBezTo>
                <a:cubicBezTo>
                  <a:pt x="1200767" y="2614672"/>
                  <a:pt x="1201490" y="2614207"/>
                  <a:pt x="1201490" y="2614207"/>
                </a:cubicBezTo>
                <a:cubicBezTo>
                  <a:pt x="1201490" y="2615756"/>
                  <a:pt x="1194778" y="2614362"/>
                  <a:pt x="1190131" y="2613432"/>
                </a:cubicBezTo>
                <a:lnTo>
                  <a:pt x="1187137" y="2612813"/>
                </a:lnTo>
                <a:lnTo>
                  <a:pt x="1186931" y="2613897"/>
                </a:lnTo>
                <a:lnTo>
                  <a:pt x="1186001" y="2615446"/>
                </a:lnTo>
                <a:lnTo>
                  <a:pt x="1186311" y="2617150"/>
                </a:lnTo>
                <a:lnTo>
                  <a:pt x="1186827" y="2617460"/>
                </a:lnTo>
                <a:cubicBezTo>
                  <a:pt x="1187963" y="2617924"/>
                  <a:pt x="1189305" y="2618079"/>
                  <a:pt x="1189719" y="2617770"/>
                </a:cubicBezTo>
                <a:cubicBezTo>
                  <a:pt x="1189615" y="2618544"/>
                  <a:pt x="1190441" y="2619473"/>
                  <a:pt x="1190441" y="2619473"/>
                </a:cubicBezTo>
                <a:cubicBezTo>
                  <a:pt x="1189512" y="2620248"/>
                  <a:pt x="1188583" y="2620248"/>
                  <a:pt x="1187757" y="2620248"/>
                </a:cubicBezTo>
                <a:lnTo>
                  <a:pt x="1186414" y="2617924"/>
                </a:lnTo>
                <a:lnTo>
                  <a:pt x="1187653" y="2624585"/>
                </a:lnTo>
                <a:lnTo>
                  <a:pt x="1187343" y="2627218"/>
                </a:lnTo>
                <a:lnTo>
                  <a:pt x="1188273" y="2627064"/>
                </a:lnTo>
                <a:cubicBezTo>
                  <a:pt x="1187860" y="2628922"/>
                  <a:pt x="1188892" y="2629387"/>
                  <a:pt x="1186827" y="2631710"/>
                </a:cubicBezTo>
                <a:lnTo>
                  <a:pt x="1186518" y="2631555"/>
                </a:lnTo>
                <a:lnTo>
                  <a:pt x="1185795" y="2635893"/>
                </a:lnTo>
                <a:cubicBezTo>
                  <a:pt x="1184968" y="2638216"/>
                  <a:pt x="1183730" y="2640384"/>
                  <a:pt x="1182284" y="2642398"/>
                </a:cubicBezTo>
                <a:cubicBezTo>
                  <a:pt x="1175985" y="2638990"/>
                  <a:pt x="1177740" y="2631710"/>
                  <a:pt x="1177534" y="2626134"/>
                </a:cubicBezTo>
                <a:cubicBezTo>
                  <a:pt x="1171855" y="2627683"/>
                  <a:pt x="1163801" y="2631710"/>
                  <a:pt x="1161013" y="2625514"/>
                </a:cubicBezTo>
                <a:cubicBezTo>
                  <a:pt x="1162562" y="2620867"/>
                  <a:pt x="1167931" y="2620867"/>
                  <a:pt x="1173301" y="2619938"/>
                </a:cubicBezTo>
                <a:lnTo>
                  <a:pt x="1175469" y="2619319"/>
                </a:lnTo>
                <a:lnTo>
                  <a:pt x="1176605" y="2617770"/>
                </a:lnTo>
                <a:lnTo>
                  <a:pt x="1179599" y="2612968"/>
                </a:lnTo>
                <a:lnTo>
                  <a:pt x="1179186" y="2612503"/>
                </a:lnTo>
                <a:lnTo>
                  <a:pt x="1178876" y="2612503"/>
                </a:lnTo>
                <a:lnTo>
                  <a:pt x="1178154" y="2612348"/>
                </a:lnTo>
                <a:lnTo>
                  <a:pt x="1177328" y="2612348"/>
                </a:lnTo>
                <a:lnTo>
                  <a:pt x="1176295" y="2612193"/>
                </a:lnTo>
                <a:cubicBezTo>
                  <a:pt x="1175469" y="2611574"/>
                  <a:pt x="1174643" y="2610799"/>
                  <a:pt x="1173920" y="2610335"/>
                </a:cubicBezTo>
                <a:cubicBezTo>
                  <a:pt x="1172268" y="2611264"/>
                  <a:pt x="1171752" y="2606927"/>
                  <a:pt x="1170100" y="2607856"/>
                </a:cubicBezTo>
                <a:cubicBezTo>
                  <a:pt x="1169170" y="2604449"/>
                  <a:pt x="1165660" y="2604139"/>
                  <a:pt x="1162665" y="2601350"/>
                </a:cubicBezTo>
                <a:lnTo>
                  <a:pt x="1160910" y="2598872"/>
                </a:lnTo>
                <a:lnTo>
                  <a:pt x="1159361" y="2602590"/>
                </a:lnTo>
                <a:cubicBezTo>
                  <a:pt x="1158225" y="2604294"/>
                  <a:pt x="1156573" y="2606152"/>
                  <a:pt x="1154921" y="2607701"/>
                </a:cubicBezTo>
                <a:lnTo>
                  <a:pt x="1153062" y="2608940"/>
                </a:lnTo>
                <a:lnTo>
                  <a:pt x="1159051" y="2611729"/>
                </a:lnTo>
                <a:cubicBezTo>
                  <a:pt x="1159051" y="2611729"/>
                  <a:pt x="1162356" y="2614982"/>
                  <a:pt x="1160497" y="2617460"/>
                </a:cubicBezTo>
                <a:cubicBezTo>
                  <a:pt x="1160497" y="2618389"/>
                  <a:pt x="1157090" y="2618544"/>
                  <a:pt x="1156264" y="2617770"/>
                </a:cubicBezTo>
                <a:cubicBezTo>
                  <a:pt x="1154611" y="2616066"/>
                  <a:pt x="1153785" y="2615292"/>
                  <a:pt x="1153889" y="2613588"/>
                </a:cubicBezTo>
                <a:cubicBezTo>
                  <a:pt x="1153062" y="2612813"/>
                  <a:pt x="1152236" y="2612039"/>
                  <a:pt x="1151823" y="2611109"/>
                </a:cubicBezTo>
                <a:lnTo>
                  <a:pt x="1152236" y="2609560"/>
                </a:lnTo>
                <a:lnTo>
                  <a:pt x="1149655" y="2611574"/>
                </a:lnTo>
                <a:cubicBezTo>
                  <a:pt x="1147900" y="2612658"/>
                  <a:pt x="1146248" y="2613278"/>
                  <a:pt x="1145008" y="2613588"/>
                </a:cubicBezTo>
                <a:cubicBezTo>
                  <a:pt x="1142530" y="2612039"/>
                  <a:pt x="1140878" y="2610335"/>
                  <a:pt x="1139742" y="2608631"/>
                </a:cubicBezTo>
                <a:lnTo>
                  <a:pt x="1139639" y="2608476"/>
                </a:lnTo>
                <a:lnTo>
                  <a:pt x="1137987" y="2610954"/>
                </a:lnTo>
                <a:cubicBezTo>
                  <a:pt x="1137677" y="2607082"/>
                  <a:pt x="1137161" y="2603364"/>
                  <a:pt x="1137471" y="2599492"/>
                </a:cubicBezTo>
                <a:cubicBezTo>
                  <a:pt x="1137781" y="2595464"/>
                  <a:pt x="1138813" y="2591437"/>
                  <a:pt x="1141601" y="2587100"/>
                </a:cubicBezTo>
                <a:close/>
                <a:moveTo>
                  <a:pt x="1291335" y="2585745"/>
                </a:moveTo>
                <a:cubicBezTo>
                  <a:pt x="1294807" y="2585087"/>
                  <a:pt x="1298344" y="2586016"/>
                  <a:pt x="1301855" y="2588185"/>
                </a:cubicBezTo>
                <a:cubicBezTo>
                  <a:pt x="1305159" y="2600111"/>
                  <a:pt x="1293284" y="2610180"/>
                  <a:pt x="1284507" y="2604759"/>
                </a:cubicBezTo>
                <a:cubicBezTo>
                  <a:pt x="1283682" y="2601815"/>
                  <a:pt x="1281100" y="2597633"/>
                  <a:pt x="1281203" y="2592831"/>
                </a:cubicBezTo>
                <a:cubicBezTo>
                  <a:pt x="1284456" y="2588649"/>
                  <a:pt x="1287863" y="2586403"/>
                  <a:pt x="1291335" y="2585745"/>
                </a:cubicBezTo>
                <a:close/>
                <a:moveTo>
                  <a:pt x="922285" y="2585087"/>
                </a:moveTo>
                <a:cubicBezTo>
                  <a:pt x="930855" y="2587255"/>
                  <a:pt x="939528" y="2587874"/>
                  <a:pt x="947376" y="2597633"/>
                </a:cubicBezTo>
                <a:cubicBezTo>
                  <a:pt x="946343" y="2599956"/>
                  <a:pt x="947789" y="2604294"/>
                  <a:pt x="943349" y="2604294"/>
                </a:cubicBezTo>
                <a:cubicBezTo>
                  <a:pt x="939012" y="2593606"/>
                  <a:pt x="923111" y="2595155"/>
                  <a:pt x="922285" y="2585087"/>
                </a:cubicBezTo>
                <a:close/>
                <a:moveTo>
                  <a:pt x="902361" y="2584920"/>
                </a:moveTo>
                <a:cubicBezTo>
                  <a:pt x="907061" y="2588281"/>
                  <a:pt x="906693" y="2600421"/>
                  <a:pt x="901737" y="2600886"/>
                </a:cubicBezTo>
                <a:cubicBezTo>
                  <a:pt x="899259" y="2601041"/>
                  <a:pt x="895541" y="2598253"/>
                  <a:pt x="890792" y="2589733"/>
                </a:cubicBezTo>
                <a:cubicBezTo>
                  <a:pt x="892650" y="2587565"/>
                  <a:pt x="894406" y="2586171"/>
                  <a:pt x="895955" y="2585242"/>
                </a:cubicBezTo>
                <a:cubicBezTo>
                  <a:pt x="898665" y="2583654"/>
                  <a:pt x="900795" y="2583799"/>
                  <a:pt x="902361" y="2584920"/>
                </a:cubicBezTo>
                <a:close/>
                <a:moveTo>
                  <a:pt x="5017925" y="2584029"/>
                </a:moveTo>
                <a:cubicBezTo>
                  <a:pt x="5022620" y="2584314"/>
                  <a:pt x="5027316" y="2585168"/>
                  <a:pt x="5031157" y="2586163"/>
                </a:cubicBezTo>
                <a:cubicBezTo>
                  <a:pt x="5020059" y="2603093"/>
                  <a:pt x="5002986" y="2601101"/>
                  <a:pt x="4985699" y="2599110"/>
                </a:cubicBezTo>
                <a:cubicBezTo>
                  <a:pt x="4988473" y="2586305"/>
                  <a:pt x="5003839" y="2583176"/>
                  <a:pt x="5017925" y="2584029"/>
                </a:cubicBezTo>
                <a:close/>
                <a:moveTo>
                  <a:pt x="738902" y="2583383"/>
                </a:moveTo>
                <a:cubicBezTo>
                  <a:pt x="745097" y="2579820"/>
                  <a:pt x="750673" y="2587874"/>
                  <a:pt x="748711" y="2592986"/>
                </a:cubicBezTo>
                <a:cubicBezTo>
                  <a:pt x="744168" y="2595619"/>
                  <a:pt x="738902" y="2591902"/>
                  <a:pt x="738076" y="2587565"/>
                </a:cubicBezTo>
                <a:cubicBezTo>
                  <a:pt x="737766" y="2586171"/>
                  <a:pt x="737972" y="2584622"/>
                  <a:pt x="738902" y="2583383"/>
                </a:cubicBezTo>
                <a:close/>
                <a:moveTo>
                  <a:pt x="1188789" y="2582918"/>
                </a:moveTo>
                <a:lnTo>
                  <a:pt x="1188789" y="2584777"/>
                </a:lnTo>
                <a:lnTo>
                  <a:pt x="1189099" y="2583847"/>
                </a:lnTo>
                <a:lnTo>
                  <a:pt x="1188996" y="2583693"/>
                </a:lnTo>
                <a:cubicBezTo>
                  <a:pt x="1189408" y="2583538"/>
                  <a:pt x="1189512" y="2583383"/>
                  <a:pt x="1189408" y="2583073"/>
                </a:cubicBezTo>
                <a:close/>
                <a:moveTo>
                  <a:pt x="6205820" y="2582322"/>
                </a:moveTo>
                <a:lnTo>
                  <a:pt x="6207038" y="2588526"/>
                </a:lnTo>
                <a:lnTo>
                  <a:pt x="6208599" y="2588016"/>
                </a:lnTo>
                <a:lnTo>
                  <a:pt x="6208274" y="2587799"/>
                </a:lnTo>
                <a:cubicBezTo>
                  <a:pt x="6208167" y="2585914"/>
                  <a:pt x="6208167" y="2583460"/>
                  <a:pt x="6205820" y="2582322"/>
                </a:cubicBezTo>
                <a:close/>
                <a:moveTo>
                  <a:pt x="1109901" y="2581369"/>
                </a:moveTo>
                <a:cubicBezTo>
                  <a:pt x="1113515" y="2583847"/>
                  <a:pt x="1113412" y="2585707"/>
                  <a:pt x="1111966" y="2588649"/>
                </a:cubicBezTo>
                <a:cubicBezTo>
                  <a:pt x="1110727" y="2587720"/>
                  <a:pt x="1110211" y="2586790"/>
                  <a:pt x="1109901" y="2585707"/>
                </a:cubicBezTo>
                <a:cubicBezTo>
                  <a:pt x="1109695" y="2584622"/>
                  <a:pt x="1109798" y="2583228"/>
                  <a:pt x="1109901" y="2581369"/>
                </a:cubicBezTo>
                <a:close/>
                <a:moveTo>
                  <a:pt x="6484119" y="2581184"/>
                </a:moveTo>
                <a:cubicBezTo>
                  <a:pt x="6485826" y="2581468"/>
                  <a:pt x="6487320" y="2581895"/>
                  <a:pt x="6488601" y="2582749"/>
                </a:cubicBezTo>
                <a:cubicBezTo>
                  <a:pt x="6496070" y="2594984"/>
                  <a:pt x="6477503" y="2607077"/>
                  <a:pt x="6466619" y="2603663"/>
                </a:cubicBezTo>
                <a:cubicBezTo>
                  <a:pt x="6461069" y="2594557"/>
                  <a:pt x="6470033" y="2583460"/>
                  <a:pt x="6479424" y="2581326"/>
                </a:cubicBezTo>
                <a:cubicBezTo>
                  <a:pt x="6481131" y="2581042"/>
                  <a:pt x="6482625" y="2581042"/>
                  <a:pt x="6484119" y="2581184"/>
                </a:cubicBezTo>
                <a:close/>
                <a:moveTo>
                  <a:pt x="1332935" y="2580594"/>
                </a:moveTo>
                <a:cubicBezTo>
                  <a:pt x="1335309" y="2579975"/>
                  <a:pt x="1337685" y="2579355"/>
                  <a:pt x="1338098" y="2581524"/>
                </a:cubicBezTo>
                <a:cubicBezTo>
                  <a:pt x="1336445" y="2582608"/>
                  <a:pt x="1336652" y="2583693"/>
                  <a:pt x="1333658" y="2584002"/>
                </a:cubicBezTo>
                <a:cubicBezTo>
                  <a:pt x="1333451" y="2582918"/>
                  <a:pt x="1333244" y="2581679"/>
                  <a:pt x="1332935" y="2580594"/>
                </a:cubicBezTo>
                <a:close/>
                <a:moveTo>
                  <a:pt x="1313419" y="2579820"/>
                </a:moveTo>
                <a:cubicBezTo>
                  <a:pt x="1314245" y="2579820"/>
                  <a:pt x="1316001" y="2579975"/>
                  <a:pt x="1316827" y="2580904"/>
                </a:cubicBezTo>
                <a:cubicBezTo>
                  <a:pt x="1317653" y="2580904"/>
                  <a:pt x="1316310" y="2583383"/>
                  <a:pt x="1316310" y="2583383"/>
                </a:cubicBezTo>
                <a:cubicBezTo>
                  <a:pt x="1315278" y="2584157"/>
                  <a:pt x="1313006" y="2582298"/>
                  <a:pt x="1312077" y="2582298"/>
                </a:cubicBezTo>
                <a:cubicBezTo>
                  <a:pt x="1312180" y="2581369"/>
                  <a:pt x="1313213" y="2580594"/>
                  <a:pt x="1313419" y="2579820"/>
                </a:cubicBezTo>
                <a:close/>
                <a:moveTo>
                  <a:pt x="806534" y="2577497"/>
                </a:moveTo>
                <a:cubicBezTo>
                  <a:pt x="808084" y="2576722"/>
                  <a:pt x="810458" y="2576877"/>
                  <a:pt x="811181" y="2579046"/>
                </a:cubicBezTo>
                <a:cubicBezTo>
                  <a:pt x="810252" y="2579820"/>
                  <a:pt x="809219" y="2581214"/>
                  <a:pt x="807361" y="2581834"/>
                </a:cubicBezTo>
                <a:cubicBezTo>
                  <a:pt x="805915" y="2580904"/>
                  <a:pt x="805399" y="2580130"/>
                  <a:pt x="805295" y="2579355"/>
                </a:cubicBezTo>
                <a:cubicBezTo>
                  <a:pt x="805295" y="2578581"/>
                  <a:pt x="805812" y="2577961"/>
                  <a:pt x="806534" y="2577497"/>
                </a:cubicBezTo>
                <a:close/>
                <a:moveTo>
                  <a:pt x="843255" y="2577342"/>
                </a:moveTo>
                <a:cubicBezTo>
                  <a:pt x="845875" y="2576567"/>
                  <a:pt x="848870" y="2577032"/>
                  <a:pt x="852174" y="2579820"/>
                </a:cubicBezTo>
                <a:cubicBezTo>
                  <a:pt x="853826" y="2580594"/>
                  <a:pt x="853000" y="2580750"/>
                  <a:pt x="853826" y="2581524"/>
                </a:cubicBezTo>
                <a:cubicBezTo>
                  <a:pt x="854652" y="2582298"/>
                  <a:pt x="856304" y="2583073"/>
                  <a:pt x="857233" y="2583073"/>
                </a:cubicBezTo>
                <a:cubicBezTo>
                  <a:pt x="854446" y="2586481"/>
                  <a:pt x="857027" y="2588185"/>
                  <a:pt x="852484" y="2593451"/>
                </a:cubicBezTo>
                <a:cubicBezTo>
                  <a:pt x="846908" y="2600421"/>
                  <a:pt x="840919" y="2598872"/>
                  <a:pt x="837615" y="2596549"/>
                </a:cubicBezTo>
                <a:cubicBezTo>
                  <a:pt x="838234" y="2595929"/>
                  <a:pt x="833691" y="2592676"/>
                  <a:pt x="834104" y="2587720"/>
                </a:cubicBezTo>
                <a:cubicBezTo>
                  <a:pt x="834207" y="2586016"/>
                  <a:pt x="834930" y="2584312"/>
                  <a:pt x="836582" y="2582298"/>
                </a:cubicBezTo>
                <a:cubicBezTo>
                  <a:pt x="838389" y="2580130"/>
                  <a:pt x="840635" y="2578116"/>
                  <a:pt x="843255" y="2577342"/>
                </a:cubicBezTo>
                <a:close/>
                <a:moveTo>
                  <a:pt x="777726" y="2576877"/>
                </a:moveTo>
                <a:cubicBezTo>
                  <a:pt x="784748" y="2582763"/>
                  <a:pt x="781753" y="2587410"/>
                  <a:pt x="777417" y="2588030"/>
                </a:cubicBezTo>
                <a:cubicBezTo>
                  <a:pt x="776074" y="2588185"/>
                  <a:pt x="774422" y="2587874"/>
                  <a:pt x="773080" y="2587100"/>
                </a:cubicBezTo>
                <a:cubicBezTo>
                  <a:pt x="771221" y="2586016"/>
                  <a:pt x="769775" y="2583847"/>
                  <a:pt x="769362" y="2580594"/>
                </a:cubicBezTo>
                <a:cubicBezTo>
                  <a:pt x="770911" y="2579200"/>
                  <a:pt x="772254" y="2578581"/>
                  <a:pt x="773699" y="2578116"/>
                </a:cubicBezTo>
                <a:cubicBezTo>
                  <a:pt x="775041" y="2577806"/>
                  <a:pt x="776281" y="2577497"/>
                  <a:pt x="777726" y="2576877"/>
                </a:cubicBezTo>
                <a:close/>
                <a:moveTo>
                  <a:pt x="1305056" y="2576412"/>
                </a:moveTo>
                <a:lnTo>
                  <a:pt x="1305469" y="2578736"/>
                </a:lnTo>
                <a:lnTo>
                  <a:pt x="1307534" y="2579510"/>
                </a:lnTo>
                <a:cubicBezTo>
                  <a:pt x="1307534" y="2579510"/>
                  <a:pt x="1307327" y="2580284"/>
                  <a:pt x="1307327" y="2580284"/>
                </a:cubicBezTo>
                <a:lnTo>
                  <a:pt x="1305778" y="2581214"/>
                </a:lnTo>
                <a:lnTo>
                  <a:pt x="1305882" y="2581369"/>
                </a:lnTo>
                <a:cubicBezTo>
                  <a:pt x="1305469" y="2582763"/>
                  <a:pt x="1304333" y="2583847"/>
                  <a:pt x="1303094" y="2584467"/>
                </a:cubicBezTo>
                <a:cubicBezTo>
                  <a:pt x="1301235" y="2583538"/>
                  <a:pt x="1300306" y="2582298"/>
                  <a:pt x="1300099" y="2581059"/>
                </a:cubicBezTo>
                <a:cubicBezTo>
                  <a:pt x="1299996" y="2579820"/>
                  <a:pt x="1300616" y="2578581"/>
                  <a:pt x="1301855" y="2577651"/>
                </a:cubicBezTo>
                <a:cubicBezTo>
                  <a:pt x="1302681" y="2577187"/>
                  <a:pt x="1303713" y="2576722"/>
                  <a:pt x="1305056" y="2576412"/>
                </a:cubicBezTo>
                <a:close/>
                <a:moveTo>
                  <a:pt x="1107424" y="2574708"/>
                </a:moveTo>
                <a:cubicBezTo>
                  <a:pt x="1108559" y="2575328"/>
                  <a:pt x="1110005" y="2574089"/>
                  <a:pt x="1111140" y="2574708"/>
                </a:cubicBezTo>
                <a:cubicBezTo>
                  <a:pt x="1111140" y="2574708"/>
                  <a:pt x="1112793" y="2576877"/>
                  <a:pt x="1112793" y="2576877"/>
                </a:cubicBezTo>
                <a:cubicBezTo>
                  <a:pt x="1112276" y="2577961"/>
                  <a:pt x="1112276" y="2577961"/>
                  <a:pt x="1111966" y="2577187"/>
                </a:cubicBezTo>
                <a:cubicBezTo>
                  <a:pt x="1110624" y="2578426"/>
                  <a:pt x="1109798" y="2578581"/>
                  <a:pt x="1108972" y="2578891"/>
                </a:cubicBezTo>
                <a:cubicBezTo>
                  <a:pt x="1107836" y="2578271"/>
                  <a:pt x="1107217" y="2576568"/>
                  <a:pt x="1107424" y="2574708"/>
                </a:cubicBezTo>
                <a:close/>
                <a:moveTo>
                  <a:pt x="704518" y="2574399"/>
                </a:moveTo>
                <a:cubicBezTo>
                  <a:pt x="709370" y="2573469"/>
                  <a:pt x="716289" y="2575483"/>
                  <a:pt x="718870" y="2578426"/>
                </a:cubicBezTo>
                <a:cubicBezTo>
                  <a:pt x="719283" y="2582298"/>
                  <a:pt x="718354" y="2584777"/>
                  <a:pt x="716701" y="2586171"/>
                </a:cubicBezTo>
                <a:cubicBezTo>
                  <a:pt x="711642" y="2590508"/>
                  <a:pt x="700077" y="2585087"/>
                  <a:pt x="700491" y="2576412"/>
                </a:cubicBezTo>
                <a:cubicBezTo>
                  <a:pt x="701420" y="2575328"/>
                  <a:pt x="702865" y="2574708"/>
                  <a:pt x="704518" y="2574399"/>
                </a:cubicBezTo>
                <a:close/>
                <a:moveTo>
                  <a:pt x="870553" y="2574360"/>
                </a:moveTo>
                <a:cubicBezTo>
                  <a:pt x="873445" y="2575483"/>
                  <a:pt x="876697" y="2578348"/>
                  <a:pt x="879330" y="2579665"/>
                </a:cubicBezTo>
                <a:lnTo>
                  <a:pt x="878504" y="2582298"/>
                </a:lnTo>
                <a:lnTo>
                  <a:pt x="878711" y="2582608"/>
                </a:lnTo>
                <a:cubicBezTo>
                  <a:pt x="880053" y="2586481"/>
                  <a:pt x="877059" y="2589733"/>
                  <a:pt x="873651" y="2589114"/>
                </a:cubicBezTo>
                <a:cubicBezTo>
                  <a:pt x="872102" y="2588649"/>
                  <a:pt x="870450" y="2587565"/>
                  <a:pt x="869108" y="2585242"/>
                </a:cubicBezTo>
                <a:lnTo>
                  <a:pt x="869521" y="2584777"/>
                </a:lnTo>
                <a:lnTo>
                  <a:pt x="868489" y="2584312"/>
                </a:lnTo>
                <a:cubicBezTo>
                  <a:pt x="866733" y="2582918"/>
                  <a:pt x="865287" y="2581214"/>
                  <a:pt x="863945" y="2579510"/>
                </a:cubicBezTo>
                <a:cubicBezTo>
                  <a:pt x="865132" y="2573857"/>
                  <a:pt x="867662" y="2573237"/>
                  <a:pt x="870553" y="2574360"/>
                </a:cubicBezTo>
                <a:close/>
                <a:moveTo>
                  <a:pt x="1188686" y="2573624"/>
                </a:moveTo>
                <a:cubicBezTo>
                  <a:pt x="1188583" y="2575018"/>
                  <a:pt x="1188686" y="2577032"/>
                  <a:pt x="1188789" y="2579355"/>
                </a:cubicBezTo>
                <a:lnTo>
                  <a:pt x="1188789" y="2581988"/>
                </a:lnTo>
                <a:lnTo>
                  <a:pt x="1189305" y="2579510"/>
                </a:lnTo>
                <a:cubicBezTo>
                  <a:pt x="1189615" y="2578891"/>
                  <a:pt x="1190235" y="2578581"/>
                  <a:pt x="1191474" y="2579046"/>
                </a:cubicBezTo>
                <a:cubicBezTo>
                  <a:pt x="1193436" y="2579200"/>
                  <a:pt x="1193333" y="2581059"/>
                  <a:pt x="1195707" y="2581988"/>
                </a:cubicBezTo>
                <a:cubicBezTo>
                  <a:pt x="1197875" y="2582608"/>
                  <a:pt x="1199321" y="2580904"/>
                  <a:pt x="1201386" y="2579200"/>
                </a:cubicBezTo>
                <a:lnTo>
                  <a:pt x="1201799" y="2579046"/>
                </a:lnTo>
                <a:lnTo>
                  <a:pt x="1201799" y="2578891"/>
                </a:lnTo>
                <a:cubicBezTo>
                  <a:pt x="1202419" y="2578271"/>
                  <a:pt x="1203245" y="2577806"/>
                  <a:pt x="1204174" y="2577651"/>
                </a:cubicBezTo>
                <a:lnTo>
                  <a:pt x="1205000" y="2577187"/>
                </a:lnTo>
                <a:cubicBezTo>
                  <a:pt x="1206446" y="2576877"/>
                  <a:pt x="1208201" y="2576722"/>
                  <a:pt x="1210370" y="2577342"/>
                </a:cubicBezTo>
                <a:cubicBezTo>
                  <a:pt x="1209543" y="2579510"/>
                  <a:pt x="1214603" y="2582143"/>
                  <a:pt x="1213364" y="2585396"/>
                </a:cubicBezTo>
                <a:lnTo>
                  <a:pt x="1212538" y="2587720"/>
                </a:lnTo>
                <a:lnTo>
                  <a:pt x="1214500" y="2587100"/>
                </a:lnTo>
                <a:cubicBezTo>
                  <a:pt x="1216255" y="2593761"/>
                  <a:pt x="1216049" y="2601970"/>
                  <a:pt x="1215842" y="2603829"/>
                </a:cubicBezTo>
                <a:cubicBezTo>
                  <a:pt x="1215842" y="2604759"/>
                  <a:pt x="1215532" y="2605378"/>
                  <a:pt x="1215120" y="2605688"/>
                </a:cubicBezTo>
                <a:cubicBezTo>
                  <a:pt x="1214603" y="2605842"/>
                  <a:pt x="1213984" y="2605842"/>
                  <a:pt x="1212951" y="2605688"/>
                </a:cubicBezTo>
                <a:cubicBezTo>
                  <a:pt x="1209234" y="2603209"/>
                  <a:pt x="1210370" y="2599337"/>
                  <a:pt x="1209440" y="2595000"/>
                </a:cubicBezTo>
                <a:cubicBezTo>
                  <a:pt x="1210267" y="2594690"/>
                  <a:pt x="1210679" y="2593606"/>
                  <a:pt x="1210370" y="2592831"/>
                </a:cubicBezTo>
                <a:lnTo>
                  <a:pt x="1210886" y="2591747"/>
                </a:lnTo>
                <a:lnTo>
                  <a:pt x="1208821" y="2594071"/>
                </a:lnTo>
                <a:cubicBezTo>
                  <a:pt x="1206962" y="2595155"/>
                  <a:pt x="1204484" y="2594845"/>
                  <a:pt x="1201076" y="2594845"/>
                </a:cubicBezTo>
                <a:cubicBezTo>
                  <a:pt x="1201902" y="2594535"/>
                  <a:pt x="1200767" y="2594071"/>
                  <a:pt x="1200767" y="2594071"/>
                </a:cubicBezTo>
                <a:cubicBezTo>
                  <a:pt x="1198392" y="2593141"/>
                  <a:pt x="1199838" y="2598098"/>
                  <a:pt x="1196740" y="2597478"/>
                </a:cubicBezTo>
                <a:cubicBezTo>
                  <a:pt x="1191680" y="2595929"/>
                  <a:pt x="1190338" y="2589733"/>
                  <a:pt x="1189719" y="2586481"/>
                </a:cubicBezTo>
                <a:lnTo>
                  <a:pt x="1189408" y="2584777"/>
                </a:lnTo>
                <a:lnTo>
                  <a:pt x="1188789" y="2584931"/>
                </a:lnTo>
                <a:lnTo>
                  <a:pt x="1188789" y="2586790"/>
                </a:lnTo>
                <a:cubicBezTo>
                  <a:pt x="1188376" y="2591747"/>
                  <a:pt x="1187137" y="2596084"/>
                  <a:pt x="1183420" y="2596394"/>
                </a:cubicBezTo>
                <a:cubicBezTo>
                  <a:pt x="1183317" y="2594845"/>
                  <a:pt x="1183007" y="2592831"/>
                  <a:pt x="1182697" y="2590663"/>
                </a:cubicBezTo>
                <a:lnTo>
                  <a:pt x="1182387" y="2586635"/>
                </a:lnTo>
                <a:lnTo>
                  <a:pt x="1181561" y="2586016"/>
                </a:lnTo>
                <a:cubicBezTo>
                  <a:pt x="1181251" y="2585707"/>
                  <a:pt x="1181251" y="2585396"/>
                  <a:pt x="1181458" y="2585087"/>
                </a:cubicBezTo>
                <a:lnTo>
                  <a:pt x="1182284" y="2584467"/>
                </a:lnTo>
                <a:lnTo>
                  <a:pt x="1182181" y="2583383"/>
                </a:lnTo>
                <a:cubicBezTo>
                  <a:pt x="1182284" y="2578736"/>
                  <a:pt x="1183626" y="2574399"/>
                  <a:pt x="1188686" y="2573624"/>
                </a:cubicBezTo>
                <a:close/>
                <a:moveTo>
                  <a:pt x="789704" y="2573160"/>
                </a:moveTo>
                <a:cubicBezTo>
                  <a:pt x="792079" y="2575793"/>
                  <a:pt x="796416" y="2575483"/>
                  <a:pt x="795486" y="2580750"/>
                </a:cubicBezTo>
                <a:cubicBezTo>
                  <a:pt x="791563" y="2583847"/>
                  <a:pt x="784334" y="2580904"/>
                  <a:pt x="784644" y="2575018"/>
                </a:cubicBezTo>
                <a:cubicBezTo>
                  <a:pt x="786606" y="2574554"/>
                  <a:pt x="787845" y="2573624"/>
                  <a:pt x="789704" y="2573160"/>
                </a:cubicBezTo>
                <a:close/>
                <a:moveTo>
                  <a:pt x="999004" y="2572540"/>
                </a:moveTo>
                <a:cubicBezTo>
                  <a:pt x="1002308" y="2574864"/>
                  <a:pt x="1002205" y="2577497"/>
                  <a:pt x="1003754" y="2579820"/>
                </a:cubicBezTo>
                <a:cubicBezTo>
                  <a:pt x="998591" y="2587255"/>
                  <a:pt x="993325" y="2584931"/>
                  <a:pt x="992189" y="2581059"/>
                </a:cubicBezTo>
                <a:cubicBezTo>
                  <a:pt x="991776" y="2579665"/>
                  <a:pt x="991879" y="2578271"/>
                  <a:pt x="992602" y="2576877"/>
                </a:cubicBezTo>
                <a:cubicBezTo>
                  <a:pt x="993531" y="2575018"/>
                  <a:pt x="995493" y="2573314"/>
                  <a:pt x="999004" y="2572540"/>
                </a:cubicBezTo>
                <a:close/>
                <a:moveTo>
                  <a:pt x="508537" y="2570991"/>
                </a:moveTo>
                <a:cubicBezTo>
                  <a:pt x="517727" y="2570526"/>
                  <a:pt x="528879" y="2582298"/>
                  <a:pt x="522270" y="2587410"/>
                </a:cubicBezTo>
                <a:cubicBezTo>
                  <a:pt x="521341" y="2588185"/>
                  <a:pt x="520102" y="2588804"/>
                  <a:pt x="518347" y="2589114"/>
                </a:cubicBezTo>
                <a:cubicBezTo>
                  <a:pt x="514732" y="2586171"/>
                  <a:pt x="508434" y="2582143"/>
                  <a:pt x="507401" y="2576722"/>
                </a:cubicBezTo>
                <a:cubicBezTo>
                  <a:pt x="507091" y="2575018"/>
                  <a:pt x="507401" y="2573160"/>
                  <a:pt x="508537" y="2570991"/>
                </a:cubicBezTo>
                <a:close/>
                <a:moveTo>
                  <a:pt x="5102866" y="2570372"/>
                </a:moveTo>
                <a:cubicBezTo>
                  <a:pt x="5102866" y="2572221"/>
                  <a:pt x="5104787" y="2574070"/>
                  <a:pt x="5104787" y="2575778"/>
                </a:cubicBezTo>
                <a:lnTo>
                  <a:pt x="5102013" y="2577058"/>
                </a:lnTo>
                <a:lnTo>
                  <a:pt x="5104573" y="2578339"/>
                </a:lnTo>
                <a:cubicBezTo>
                  <a:pt x="5098171" y="2587587"/>
                  <a:pt x="5111616" y="2589009"/>
                  <a:pt x="5107135" y="2596549"/>
                </a:cubicBezTo>
                <a:cubicBezTo>
                  <a:pt x="5104147" y="2598256"/>
                  <a:pt x="5101585" y="2601244"/>
                  <a:pt x="5097744" y="2601813"/>
                </a:cubicBezTo>
                <a:cubicBezTo>
                  <a:pt x="5096464" y="2602098"/>
                  <a:pt x="5094970" y="2601955"/>
                  <a:pt x="5093476" y="2601528"/>
                </a:cubicBezTo>
                <a:cubicBezTo>
                  <a:pt x="5096037" y="2591997"/>
                  <a:pt x="5094970" y="2584741"/>
                  <a:pt x="5095610" y="2575636"/>
                </a:cubicBezTo>
                <a:lnTo>
                  <a:pt x="5097530" y="2575778"/>
                </a:lnTo>
                <a:lnTo>
                  <a:pt x="5095397" y="2574070"/>
                </a:lnTo>
                <a:cubicBezTo>
                  <a:pt x="5097317" y="2572221"/>
                  <a:pt x="5100945" y="2572221"/>
                  <a:pt x="5102866" y="2570372"/>
                </a:cubicBezTo>
                <a:close/>
                <a:moveTo>
                  <a:pt x="1153062" y="2569907"/>
                </a:moveTo>
                <a:cubicBezTo>
                  <a:pt x="1152340" y="2572075"/>
                  <a:pt x="1152236" y="2575793"/>
                  <a:pt x="1148829" y="2576257"/>
                </a:cubicBezTo>
                <a:cubicBezTo>
                  <a:pt x="1149345" y="2574708"/>
                  <a:pt x="1150171" y="2571456"/>
                  <a:pt x="1151514" y="2570217"/>
                </a:cubicBezTo>
                <a:cubicBezTo>
                  <a:pt x="1152030" y="2569907"/>
                  <a:pt x="1152546" y="2569752"/>
                  <a:pt x="1153062" y="2569907"/>
                </a:cubicBezTo>
                <a:close/>
                <a:moveTo>
                  <a:pt x="1300719" y="2569287"/>
                </a:moveTo>
                <a:cubicBezTo>
                  <a:pt x="1301442" y="2572695"/>
                  <a:pt x="1300616" y="2586016"/>
                  <a:pt x="1293594" y="2581369"/>
                </a:cubicBezTo>
                <a:lnTo>
                  <a:pt x="1293594" y="2581214"/>
                </a:lnTo>
                <a:lnTo>
                  <a:pt x="1291219" y="2582143"/>
                </a:lnTo>
                <a:cubicBezTo>
                  <a:pt x="1289980" y="2581988"/>
                  <a:pt x="1289051" y="2581214"/>
                  <a:pt x="1287812" y="2580130"/>
                </a:cubicBezTo>
                <a:cubicBezTo>
                  <a:pt x="1289154" y="2579200"/>
                  <a:pt x="1290187" y="2578891"/>
                  <a:pt x="1291323" y="2579046"/>
                </a:cubicBezTo>
                <a:lnTo>
                  <a:pt x="1293801" y="2579975"/>
                </a:lnTo>
                <a:lnTo>
                  <a:pt x="1294937" y="2574089"/>
                </a:lnTo>
                <a:cubicBezTo>
                  <a:pt x="1295143" y="2572075"/>
                  <a:pt x="1295556" y="2570217"/>
                  <a:pt x="1296795" y="2569442"/>
                </a:cubicBezTo>
                <a:cubicBezTo>
                  <a:pt x="1297621" y="2568822"/>
                  <a:pt x="1298860" y="2568822"/>
                  <a:pt x="1300719" y="2569287"/>
                </a:cubicBezTo>
                <a:close/>
                <a:moveTo>
                  <a:pt x="861983" y="2568822"/>
                </a:moveTo>
                <a:cubicBezTo>
                  <a:pt x="864564" y="2571920"/>
                  <a:pt x="862499" y="2576568"/>
                  <a:pt x="857130" y="2575638"/>
                </a:cubicBezTo>
                <a:cubicBezTo>
                  <a:pt x="857750" y="2572230"/>
                  <a:pt x="858369" y="2568667"/>
                  <a:pt x="861983" y="2568822"/>
                </a:cubicBezTo>
                <a:close/>
                <a:moveTo>
                  <a:pt x="715050" y="2568822"/>
                </a:moveTo>
                <a:cubicBezTo>
                  <a:pt x="718973" y="2567583"/>
                  <a:pt x="722381" y="2568048"/>
                  <a:pt x="725995" y="2572385"/>
                </a:cubicBezTo>
                <a:cubicBezTo>
                  <a:pt x="725272" y="2575638"/>
                  <a:pt x="722071" y="2576568"/>
                  <a:pt x="718767" y="2575948"/>
                </a:cubicBezTo>
                <a:cubicBezTo>
                  <a:pt x="715566" y="2575483"/>
                  <a:pt x="712159" y="2573469"/>
                  <a:pt x="711126" y="2570836"/>
                </a:cubicBezTo>
                <a:cubicBezTo>
                  <a:pt x="712468" y="2570061"/>
                  <a:pt x="713811" y="2569287"/>
                  <a:pt x="715050" y="2568822"/>
                </a:cubicBezTo>
                <a:close/>
                <a:moveTo>
                  <a:pt x="1043817" y="2565879"/>
                </a:moveTo>
                <a:cubicBezTo>
                  <a:pt x="1046812" y="2565879"/>
                  <a:pt x="1048877" y="2566344"/>
                  <a:pt x="1050219" y="2566963"/>
                </a:cubicBezTo>
                <a:lnTo>
                  <a:pt x="1052388" y="2569287"/>
                </a:lnTo>
                <a:lnTo>
                  <a:pt x="1053833" y="2568358"/>
                </a:lnTo>
                <a:cubicBezTo>
                  <a:pt x="1059822" y="2567273"/>
                  <a:pt x="1065604" y="2572695"/>
                  <a:pt x="1069631" y="2576568"/>
                </a:cubicBezTo>
                <a:cubicBezTo>
                  <a:pt x="1072523" y="2579200"/>
                  <a:pt x="1075414" y="2582298"/>
                  <a:pt x="1075311" y="2585087"/>
                </a:cubicBezTo>
                <a:cubicBezTo>
                  <a:pt x="1075311" y="2586016"/>
                  <a:pt x="1075001" y="2586945"/>
                  <a:pt x="1074278" y="2587720"/>
                </a:cubicBezTo>
                <a:lnTo>
                  <a:pt x="1073142" y="2588494"/>
                </a:lnTo>
                <a:lnTo>
                  <a:pt x="1072729" y="2589888"/>
                </a:lnTo>
                <a:lnTo>
                  <a:pt x="1074794" y="2598407"/>
                </a:lnTo>
                <a:lnTo>
                  <a:pt x="1075311" y="2595155"/>
                </a:lnTo>
                <a:cubicBezTo>
                  <a:pt x="1075207" y="2595929"/>
                  <a:pt x="1075207" y="2595929"/>
                  <a:pt x="1075207" y="2595929"/>
                </a:cubicBezTo>
                <a:cubicBezTo>
                  <a:pt x="1076033" y="2596704"/>
                  <a:pt x="1076136" y="2595929"/>
                  <a:pt x="1077066" y="2595929"/>
                </a:cubicBezTo>
                <a:cubicBezTo>
                  <a:pt x="1077066" y="2595929"/>
                  <a:pt x="1076136" y="2595929"/>
                  <a:pt x="1077066" y="2595000"/>
                </a:cubicBezTo>
                <a:cubicBezTo>
                  <a:pt x="1076963" y="2595929"/>
                  <a:pt x="1077892" y="2595929"/>
                  <a:pt x="1078821" y="2595775"/>
                </a:cubicBezTo>
                <a:cubicBezTo>
                  <a:pt x="1080473" y="2597478"/>
                  <a:pt x="1082022" y="2599956"/>
                  <a:pt x="1081093" y="2601660"/>
                </a:cubicBezTo>
                <a:cubicBezTo>
                  <a:pt x="1080164" y="2602590"/>
                  <a:pt x="1079338" y="2602745"/>
                  <a:pt x="1078615" y="2602745"/>
                </a:cubicBezTo>
                <a:lnTo>
                  <a:pt x="1077375" y="2602125"/>
                </a:lnTo>
                <a:lnTo>
                  <a:pt x="1076033" y="2603519"/>
                </a:lnTo>
                <a:lnTo>
                  <a:pt x="1078408" y="2613432"/>
                </a:lnTo>
                <a:cubicBezTo>
                  <a:pt x="1076240" y="2614982"/>
                  <a:pt x="1074381" y="2617305"/>
                  <a:pt x="1072729" y="2619783"/>
                </a:cubicBezTo>
                <a:lnTo>
                  <a:pt x="1071594" y="2621797"/>
                </a:lnTo>
                <a:lnTo>
                  <a:pt x="1071180" y="2623501"/>
                </a:lnTo>
                <a:lnTo>
                  <a:pt x="1069322" y="2625514"/>
                </a:lnTo>
                <a:lnTo>
                  <a:pt x="1068083" y="2627838"/>
                </a:lnTo>
                <a:cubicBezTo>
                  <a:pt x="1064882" y="2633104"/>
                  <a:pt x="1061061" y="2637751"/>
                  <a:pt x="1054453" y="2638526"/>
                </a:cubicBezTo>
                <a:lnTo>
                  <a:pt x="1053317" y="2638061"/>
                </a:lnTo>
                <a:lnTo>
                  <a:pt x="1052284" y="2639145"/>
                </a:lnTo>
                <a:cubicBezTo>
                  <a:pt x="1050529" y="2640229"/>
                  <a:pt x="1048361" y="2640694"/>
                  <a:pt x="1046089" y="2640539"/>
                </a:cubicBezTo>
                <a:cubicBezTo>
                  <a:pt x="1045056" y="2639610"/>
                  <a:pt x="1044437" y="2638216"/>
                  <a:pt x="1044230" y="2636667"/>
                </a:cubicBezTo>
                <a:lnTo>
                  <a:pt x="1044230" y="2635738"/>
                </a:lnTo>
                <a:lnTo>
                  <a:pt x="1042372" y="2635583"/>
                </a:lnTo>
                <a:cubicBezTo>
                  <a:pt x="1039067" y="2635738"/>
                  <a:pt x="1036073" y="2636357"/>
                  <a:pt x="1032562" y="2635893"/>
                </a:cubicBezTo>
                <a:cubicBezTo>
                  <a:pt x="1029362" y="2633724"/>
                  <a:pt x="1026057" y="2630936"/>
                  <a:pt x="1022960" y="2627993"/>
                </a:cubicBezTo>
                <a:lnTo>
                  <a:pt x="1016558" y="2620713"/>
                </a:lnTo>
                <a:lnTo>
                  <a:pt x="1010465" y="2620558"/>
                </a:lnTo>
                <a:cubicBezTo>
                  <a:pt x="1008400" y="2620867"/>
                  <a:pt x="1006232" y="2620867"/>
                  <a:pt x="1004064" y="2619938"/>
                </a:cubicBezTo>
                <a:cubicBezTo>
                  <a:pt x="1004890" y="2618854"/>
                  <a:pt x="1007265" y="2616840"/>
                  <a:pt x="1009949" y="2618234"/>
                </a:cubicBezTo>
                <a:cubicBezTo>
                  <a:pt x="1011292" y="2618854"/>
                  <a:pt x="1012531" y="2618854"/>
                  <a:pt x="1013770" y="2618854"/>
                </a:cubicBezTo>
                <a:lnTo>
                  <a:pt x="1015319" y="2619319"/>
                </a:lnTo>
                <a:lnTo>
                  <a:pt x="1014493" y="2618079"/>
                </a:lnTo>
                <a:cubicBezTo>
                  <a:pt x="1009536" y="2611109"/>
                  <a:pt x="1006335" y="2602899"/>
                  <a:pt x="1007368" y="2594690"/>
                </a:cubicBezTo>
                <a:cubicBezTo>
                  <a:pt x="1009020" y="2581059"/>
                  <a:pt x="1020069" y="2578581"/>
                  <a:pt x="1028329" y="2568977"/>
                </a:cubicBezTo>
                <a:cubicBezTo>
                  <a:pt x="1033389" y="2571610"/>
                  <a:pt x="1037003" y="2571765"/>
                  <a:pt x="1040100" y="2571146"/>
                </a:cubicBezTo>
                <a:lnTo>
                  <a:pt x="1042165" y="2570526"/>
                </a:lnTo>
                <a:close/>
                <a:moveTo>
                  <a:pt x="5048871" y="2565819"/>
                </a:moveTo>
                <a:cubicBezTo>
                  <a:pt x="5050365" y="2565534"/>
                  <a:pt x="5052072" y="2566246"/>
                  <a:pt x="5053993" y="2568237"/>
                </a:cubicBezTo>
                <a:cubicBezTo>
                  <a:pt x="5051859" y="2572648"/>
                  <a:pt x="5050578" y="2575636"/>
                  <a:pt x="5048658" y="2577343"/>
                </a:cubicBezTo>
                <a:cubicBezTo>
                  <a:pt x="5042682" y="2575209"/>
                  <a:pt x="5044389" y="2566530"/>
                  <a:pt x="5048871" y="2565819"/>
                </a:cubicBezTo>
                <a:close/>
                <a:moveTo>
                  <a:pt x="1317021" y="2564737"/>
                </a:moveTo>
                <a:cubicBezTo>
                  <a:pt x="1319202" y="2563711"/>
                  <a:pt x="1321783" y="2564021"/>
                  <a:pt x="1323022" y="2565724"/>
                </a:cubicBezTo>
                <a:cubicBezTo>
                  <a:pt x="1323435" y="2566344"/>
                  <a:pt x="1323745" y="2567118"/>
                  <a:pt x="1323848" y="2568048"/>
                </a:cubicBezTo>
                <a:lnTo>
                  <a:pt x="1323745" y="2568513"/>
                </a:lnTo>
                <a:lnTo>
                  <a:pt x="1323848" y="2568667"/>
                </a:lnTo>
                <a:cubicBezTo>
                  <a:pt x="1324468" y="2569442"/>
                  <a:pt x="1324777" y="2570371"/>
                  <a:pt x="1324674" y="2571301"/>
                </a:cubicBezTo>
                <a:cubicBezTo>
                  <a:pt x="1323848" y="2572230"/>
                  <a:pt x="1322919" y="2574089"/>
                  <a:pt x="1321060" y="2575018"/>
                </a:cubicBezTo>
                <a:cubicBezTo>
                  <a:pt x="1318995" y="2574708"/>
                  <a:pt x="1317550" y="2573934"/>
                  <a:pt x="1316620" y="2572695"/>
                </a:cubicBezTo>
                <a:lnTo>
                  <a:pt x="1316517" y="2572075"/>
                </a:lnTo>
                <a:lnTo>
                  <a:pt x="1313419" y="2571765"/>
                </a:lnTo>
                <a:cubicBezTo>
                  <a:pt x="1313058" y="2568126"/>
                  <a:pt x="1314839" y="2565763"/>
                  <a:pt x="1317021" y="2564737"/>
                </a:cubicBezTo>
                <a:close/>
                <a:moveTo>
                  <a:pt x="6197710" y="2563400"/>
                </a:moveTo>
                <a:cubicBezTo>
                  <a:pt x="6198563" y="2563543"/>
                  <a:pt x="6199417" y="2563970"/>
                  <a:pt x="6200057" y="2564538"/>
                </a:cubicBezTo>
                <a:cubicBezTo>
                  <a:pt x="6200698" y="2565250"/>
                  <a:pt x="6201125" y="2565961"/>
                  <a:pt x="6200698" y="2566673"/>
                </a:cubicBezTo>
                <a:cubicBezTo>
                  <a:pt x="6199844" y="2567384"/>
                  <a:pt x="6200270" y="2568380"/>
                  <a:pt x="6199204" y="2569091"/>
                </a:cubicBezTo>
                <a:cubicBezTo>
                  <a:pt x="6197710" y="2571367"/>
                  <a:pt x="6196642" y="2571937"/>
                  <a:pt x="6195149" y="2571652"/>
                </a:cubicBezTo>
                <a:cubicBezTo>
                  <a:pt x="6194082" y="2572221"/>
                  <a:pt x="6193655" y="2571225"/>
                  <a:pt x="6191947" y="2570940"/>
                </a:cubicBezTo>
                <a:cubicBezTo>
                  <a:pt x="6191520" y="2569945"/>
                  <a:pt x="6191947" y="2568237"/>
                  <a:pt x="6191947" y="2568237"/>
                </a:cubicBezTo>
                <a:cubicBezTo>
                  <a:pt x="6192587" y="2566530"/>
                  <a:pt x="6192587" y="2566530"/>
                  <a:pt x="6190880" y="2566246"/>
                </a:cubicBezTo>
                <a:cubicBezTo>
                  <a:pt x="6190880" y="2566246"/>
                  <a:pt x="6191947" y="2565534"/>
                  <a:pt x="6191947" y="2565534"/>
                </a:cubicBezTo>
                <a:cubicBezTo>
                  <a:pt x="6192587" y="2566530"/>
                  <a:pt x="6191947" y="2565534"/>
                  <a:pt x="6192587" y="2563827"/>
                </a:cubicBezTo>
                <a:cubicBezTo>
                  <a:pt x="6195149" y="2563543"/>
                  <a:pt x="6196216" y="2562973"/>
                  <a:pt x="6197710" y="2563400"/>
                </a:cubicBezTo>
                <a:close/>
                <a:moveTo>
                  <a:pt x="1349146" y="2563246"/>
                </a:moveTo>
                <a:cubicBezTo>
                  <a:pt x="1349662" y="2565570"/>
                  <a:pt x="1352554" y="2564175"/>
                  <a:pt x="1352554" y="2567118"/>
                </a:cubicBezTo>
                <a:cubicBezTo>
                  <a:pt x="1348630" y="2573160"/>
                  <a:pt x="1331179" y="2575638"/>
                  <a:pt x="1328804" y="2567273"/>
                </a:cubicBezTo>
                <a:cubicBezTo>
                  <a:pt x="1335103" y="2566654"/>
                  <a:pt x="1340886" y="2566809"/>
                  <a:pt x="1349146" y="2563246"/>
                </a:cubicBezTo>
                <a:close/>
                <a:moveTo>
                  <a:pt x="6204966" y="2562831"/>
                </a:moveTo>
                <a:cubicBezTo>
                  <a:pt x="6206673" y="2562547"/>
                  <a:pt x="6208594" y="2562689"/>
                  <a:pt x="6210515" y="2563116"/>
                </a:cubicBezTo>
                <a:cubicBezTo>
                  <a:pt x="6214356" y="2563827"/>
                  <a:pt x="6218198" y="2565819"/>
                  <a:pt x="6220972" y="2567526"/>
                </a:cubicBezTo>
                <a:cubicBezTo>
                  <a:pt x="6220759" y="2570798"/>
                  <a:pt x="6223320" y="2572079"/>
                  <a:pt x="6223107" y="2575351"/>
                </a:cubicBezTo>
                <a:cubicBezTo>
                  <a:pt x="6213289" y="2573786"/>
                  <a:pt x="6202832" y="2573074"/>
                  <a:pt x="6200698" y="2565108"/>
                </a:cubicBezTo>
                <a:cubicBezTo>
                  <a:pt x="6201978" y="2563827"/>
                  <a:pt x="6203472" y="2563116"/>
                  <a:pt x="6204966" y="2562831"/>
                </a:cubicBezTo>
                <a:close/>
                <a:moveTo>
                  <a:pt x="609109" y="2562782"/>
                </a:moveTo>
                <a:cubicBezTo>
                  <a:pt x="615407" y="2560458"/>
                  <a:pt x="630999" y="2569132"/>
                  <a:pt x="628624" y="2577497"/>
                </a:cubicBezTo>
                <a:cubicBezTo>
                  <a:pt x="623152" y="2574089"/>
                  <a:pt x="618505" y="2570371"/>
                  <a:pt x="609831" y="2568203"/>
                </a:cubicBezTo>
                <a:cubicBezTo>
                  <a:pt x="610451" y="2566499"/>
                  <a:pt x="608799" y="2565724"/>
                  <a:pt x="608592" y="2564331"/>
                </a:cubicBezTo>
                <a:cubicBezTo>
                  <a:pt x="608592" y="2564021"/>
                  <a:pt x="608696" y="2563401"/>
                  <a:pt x="609109" y="2562782"/>
                </a:cubicBezTo>
                <a:close/>
                <a:moveTo>
                  <a:pt x="479109" y="2562782"/>
                </a:moveTo>
                <a:cubicBezTo>
                  <a:pt x="481690" y="2564795"/>
                  <a:pt x="482517" y="2567428"/>
                  <a:pt x="480761" y="2569752"/>
                </a:cubicBezTo>
                <a:cubicBezTo>
                  <a:pt x="479006" y="2570526"/>
                  <a:pt x="477251" y="2569442"/>
                  <a:pt x="475598" y="2568358"/>
                </a:cubicBezTo>
                <a:cubicBezTo>
                  <a:pt x="474256" y="2567428"/>
                  <a:pt x="473946" y="2566654"/>
                  <a:pt x="474050" y="2565724"/>
                </a:cubicBezTo>
                <a:cubicBezTo>
                  <a:pt x="474153" y="2564950"/>
                  <a:pt x="474876" y="2564175"/>
                  <a:pt x="475702" y="2563401"/>
                </a:cubicBezTo>
                <a:cubicBezTo>
                  <a:pt x="477457" y="2561852"/>
                  <a:pt x="479109" y="2562782"/>
                  <a:pt x="479109" y="2562782"/>
                </a:cubicBezTo>
                <a:close/>
                <a:moveTo>
                  <a:pt x="1100918" y="2562162"/>
                </a:moveTo>
                <a:cubicBezTo>
                  <a:pt x="1100918" y="2562162"/>
                  <a:pt x="1100608" y="2563246"/>
                  <a:pt x="1101125" y="2564021"/>
                </a:cubicBezTo>
                <a:cubicBezTo>
                  <a:pt x="1101125" y="2564021"/>
                  <a:pt x="1100815" y="2565105"/>
                  <a:pt x="1100608" y="2566189"/>
                </a:cubicBezTo>
                <a:cubicBezTo>
                  <a:pt x="1100608" y="2566189"/>
                  <a:pt x="1101022" y="2566963"/>
                  <a:pt x="1101434" y="2567738"/>
                </a:cubicBezTo>
                <a:cubicBezTo>
                  <a:pt x="1101434" y="2570681"/>
                  <a:pt x="1101641" y="2572540"/>
                  <a:pt x="1098233" y="2573314"/>
                </a:cubicBezTo>
                <a:cubicBezTo>
                  <a:pt x="1098027" y="2573005"/>
                  <a:pt x="1098027" y="2572230"/>
                  <a:pt x="1098130" y="2571301"/>
                </a:cubicBezTo>
                <a:cubicBezTo>
                  <a:pt x="1098233" y="2570526"/>
                  <a:pt x="1098440" y="2569752"/>
                  <a:pt x="1098543" y="2569132"/>
                </a:cubicBezTo>
                <a:cubicBezTo>
                  <a:pt x="1098130" y="2568513"/>
                  <a:pt x="1098336" y="2567428"/>
                  <a:pt x="1099059" y="2566963"/>
                </a:cubicBezTo>
                <a:cubicBezTo>
                  <a:pt x="1099059" y="2566963"/>
                  <a:pt x="1099369" y="2565879"/>
                  <a:pt x="1098853" y="2565105"/>
                </a:cubicBezTo>
                <a:cubicBezTo>
                  <a:pt x="1099472" y="2562936"/>
                  <a:pt x="1100195" y="2562471"/>
                  <a:pt x="1100918" y="2562162"/>
                </a:cubicBezTo>
                <a:close/>
                <a:moveTo>
                  <a:pt x="1031014" y="2561697"/>
                </a:moveTo>
                <a:cubicBezTo>
                  <a:pt x="1031530" y="2561542"/>
                  <a:pt x="1032150" y="2561542"/>
                  <a:pt x="1032666" y="2561697"/>
                </a:cubicBezTo>
                <a:cubicBezTo>
                  <a:pt x="1033182" y="2561852"/>
                  <a:pt x="1033698" y="2562471"/>
                  <a:pt x="1034008" y="2563556"/>
                </a:cubicBezTo>
                <a:cubicBezTo>
                  <a:pt x="1035040" y="2565260"/>
                  <a:pt x="1034524" y="2565879"/>
                  <a:pt x="1031736" y="2567118"/>
                </a:cubicBezTo>
                <a:cubicBezTo>
                  <a:pt x="1029362" y="2567428"/>
                  <a:pt x="1027710" y="2568358"/>
                  <a:pt x="1026987" y="2567893"/>
                </a:cubicBezTo>
                <a:cubicBezTo>
                  <a:pt x="1026470" y="2568513"/>
                  <a:pt x="1025335" y="2568822"/>
                  <a:pt x="1024922" y="2569442"/>
                </a:cubicBezTo>
                <a:cubicBezTo>
                  <a:pt x="1024922" y="2569442"/>
                  <a:pt x="1024922" y="2569597"/>
                  <a:pt x="1024096" y="2568977"/>
                </a:cubicBezTo>
                <a:cubicBezTo>
                  <a:pt x="1026677" y="2566809"/>
                  <a:pt x="1028122" y="2562782"/>
                  <a:pt x="1031014" y="2561697"/>
                </a:cubicBezTo>
                <a:close/>
                <a:moveTo>
                  <a:pt x="828838" y="2560923"/>
                </a:moveTo>
                <a:cubicBezTo>
                  <a:pt x="833175" y="2559838"/>
                  <a:pt x="835446" y="2564640"/>
                  <a:pt x="837098" y="2567118"/>
                </a:cubicBezTo>
                <a:lnTo>
                  <a:pt x="835859" y="2568203"/>
                </a:lnTo>
                <a:lnTo>
                  <a:pt x="837615" y="2568822"/>
                </a:lnTo>
                <a:cubicBezTo>
                  <a:pt x="838337" y="2569287"/>
                  <a:pt x="839061" y="2569907"/>
                  <a:pt x="839886" y="2570526"/>
                </a:cubicBezTo>
                <a:cubicBezTo>
                  <a:pt x="838957" y="2572230"/>
                  <a:pt x="839680" y="2574708"/>
                  <a:pt x="837822" y="2576412"/>
                </a:cubicBezTo>
                <a:cubicBezTo>
                  <a:pt x="837822" y="2576412"/>
                  <a:pt x="836995" y="2577342"/>
                  <a:pt x="835240" y="2577342"/>
                </a:cubicBezTo>
                <a:cubicBezTo>
                  <a:pt x="832556" y="2579200"/>
                  <a:pt x="830077" y="2576722"/>
                  <a:pt x="830077" y="2576722"/>
                </a:cubicBezTo>
                <a:cubicBezTo>
                  <a:pt x="830077" y="2576722"/>
                  <a:pt x="829974" y="2576722"/>
                  <a:pt x="829974" y="2577497"/>
                </a:cubicBezTo>
                <a:cubicBezTo>
                  <a:pt x="830077" y="2575948"/>
                  <a:pt x="829251" y="2574244"/>
                  <a:pt x="829354" y="2572540"/>
                </a:cubicBezTo>
                <a:lnTo>
                  <a:pt x="829870" y="2572075"/>
                </a:lnTo>
                <a:lnTo>
                  <a:pt x="829148" y="2572385"/>
                </a:lnTo>
                <a:cubicBezTo>
                  <a:pt x="827496" y="2570836"/>
                  <a:pt x="826463" y="2568977"/>
                  <a:pt x="826360" y="2567118"/>
                </a:cubicBezTo>
                <a:cubicBezTo>
                  <a:pt x="826257" y="2565105"/>
                  <a:pt x="826979" y="2562936"/>
                  <a:pt x="828838" y="2560923"/>
                </a:cubicBezTo>
                <a:close/>
                <a:moveTo>
                  <a:pt x="628314" y="2560148"/>
                </a:moveTo>
                <a:cubicBezTo>
                  <a:pt x="630276" y="2560303"/>
                  <a:pt x="630689" y="2559219"/>
                  <a:pt x="633374" y="2560923"/>
                </a:cubicBezTo>
                <a:cubicBezTo>
                  <a:pt x="632961" y="2561852"/>
                  <a:pt x="632548" y="2562936"/>
                  <a:pt x="632135" y="2564021"/>
                </a:cubicBezTo>
                <a:cubicBezTo>
                  <a:pt x="629863" y="2563091"/>
                  <a:pt x="627591" y="2562162"/>
                  <a:pt x="628314" y="2560148"/>
                </a:cubicBezTo>
                <a:close/>
                <a:moveTo>
                  <a:pt x="815311" y="2559064"/>
                </a:moveTo>
                <a:cubicBezTo>
                  <a:pt x="819752" y="2558444"/>
                  <a:pt x="822023" y="2560458"/>
                  <a:pt x="822952" y="2563556"/>
                </a:cubicBezTo>
                <a:cubicBezTo>
                  <a:pt x="820474" y="2568048"/>
                  <a:pt x="813969" y="2567428"/>
                  <a:pt x="812936" y="2563401"/>
                </a:cubicBezTo>
                <a:cubicBezTo>
                  <a:pt x="813453" y="2562317"/>
                  <a:pt x="813866" y="2560458"/>
                  <a:pt x="815311" y="2559064"/>
                </a:cubicBezTo>
                <a:close/>
                <a:moveTo>
                  <a:pt x="1132204" y="2558909"/>
                </a:moveTo>
                <a:cubicBezTo>
                  <a:pt x="1133444" y="2559219"/>
                  <a:pt x="1133857" y="2559993"/>
                  <a:pt x="1134373" y="2560768"/>
                </a:cubicBezTo>
                <a:cubicBezTo>
                  <a:pt x="1134063" y="2561852"/>
                  <a:pt x="1133340" y="2562317"/>
                  <a:pt x="1133031" y="2563401"/>
                </a:cubicBezTo>
                <a:cubicBezTo>
                  <a:pt x="1133444" y="2564175"/>
                  <a:pt x="1134373" y="2565570"/>
                  <a:pt x="1134166" y="2566654"/>
                </a:cubicBezTo>
                <a:lnTo>
                  <a:pt x="1133754" y="2567583"/>
                </a:lnTo>
                <a:lnTo>
                  <a:pt x="1134580" y="2567583"/>
                </a:lnTo>
                <a:cubicBezTo>
                  <a:pt x="1135096" y="2575018"/>
                  <a:pt x="1133857" y="2583538"/>
                  <a:pt x="1126526" y="2592212"/>
                </a:cubicBezTo>
                <a:cubicBezTo>
                  <a:pt x="1120640" y="2592676"/>
                  <a:pt x="1118678" y="2588804"/>
                  <a:pt x="1119091" y="2583847"/>
                </a:cubicBezTo>
                <a:cubicBezTo>
                  <a:pt x="1119607" y="2577651"/>
                  <a:pt x="1123841" y="2570061"/>
                  <a:pt x="1129107" y="2567893"/>
                </a:cubicBezTo>
                <a:lnTo>
                  <a:pt x="1132411" y="2567738"/>
                </a:lnTo>
                <a:lnTo>
                  <a:pt x="1132411" y="2567118"/>
                </a:lnTo>
                <a:cubicBezTo>
                  <a:pt x="1132618" y="2566963"/>
                  <a:pt x="1132721" y="2566963"/>
                  <a:pt x="1132928" y="2566344"/>
                </a:cubicBezTo>
                <a:cubicBezTo>
                  <a:pt x="1133134" y="2565260"/>
                  <a:pt x="1132411" y="2560768"/>
                  <a:pt x="1131172" y="2560458"/>
                </a:cubicBezTo>
                <a:cubicBezTo>
                  <a:pt x="1131895" y="2559993"/>
                  <a:pt x="1132204" y="2558909"/>
                  <a:pt x="1132204" y="2558909"/>
                </a:cubicBezTo>
                <a:close/>
                <a:moveTo>
                  <a:pt x="666726" y="2558289"/>
                </a:moveTo>
                <a:cubicBezTo>
                  <a:pt x="674780" y="2555192"/>
                  <a:pt x="686344" y="2560613"/>
                  <a:pt x="689235" y="2566189"/>
                </a:cubicBezTo>
                <a:cubicBezTo>
                  <a:pt x="681078" y="2569442"/>
                  <a:pt x="670856" y="2562936"/>
                  <a:pt x="666726" y="2558289"/>
                </a:cubicBezTo>
                <a:close/>
                <a:moveTo>
                  <a:pt x="755629" y="2557670"/>
                </a:moveTo>
                <a:cubicBezTo>
                  <a:pt x="758004" y="2557360"/>
                  <a:pt x="759140" y="2557205"/>
                  <a:pt x="760689" y="2558135"/>
                </a:cubicBezTo>
                <a:cubicBezTo>
                  <a:pt x="761825" y="2557980"/>
                  <a:pt x="763064" y="2557670"/>
                  <a:pt x="764096" y="2557825"/>
                </a:cubicBezTo>
                <a:cubicBezTo>
                  <a:pt x="765026" y="2557980"/>
                  <a:pt x="765749" y="2558599"/>
                  <a:pt x="766058" y="2559684"/>
                </a:cubicBezTo>
                <a:cubicBezTo>
                  <a:pt x="763993" y="2561232"/>
                  <a:pt x="762444" y="2562007"/>
                  <a:pt x="759553" y="2563091"/>
                </a:cubicBezTo>
                <a:cubicBezTo>
                  <a:pt x="759553" y="2563091"/>
                  <a:pt x="754906" y="2563866"/>
                  <a:pt x="753461" y="2561078"/>
                </a:cubicBezTo>
                <a:cubicBezTo>
                  <a:pt x="752738" y="2560613"/>
                  <a:pt x="754494" y="2557825"/>
                  <a:pt x="755629" y="2557670"/>
                </a:cubicBezTo>
                <a:close/>
                <a:moveTo>
                  <a:pt x="704943" y="2556353"/>
                </a:moveTo>
                <a:cubicBezTo>
                  <a:pt x="710945" y="2554572"/>
                  <a:pt x="717166" y="2554804"/>
                  <a:pt x="719283" y="2558754"/>
                </a:cubicBezTo>
                <a:cubicBezTo>
                  <a:pt x="709267" y="2560613"/>
                  <a:pt x="703485" y="2566189"/>
                  <a:pt x="691920" y="2566035"/>
                </a:cubicBezTo>
                <a:cubicBezTo>
                  <a:pt x="693159" y="2561930"/>
                  <a:pt x="698942" y="2558135"/>
                  <a:pt x="704943" y="2556353"/>
                </a:cubicBezTo>
                <a:close/>
                <a:moveTo>
                  <a:pt x="1285334" y="2556121"/>
                </a:moveTo>
                <a:cubicBezTo>
                  <a:pt x="1287193" y="2554417"/>
                  <a:pt x="1290806" y="2553642"/>
                  <a:pt x="1293078" y="2556276"/>
                </a:cubicBezTo>
                <a:cubicBezTo>
                  <a:pt x="1295453" y="2557980"/>
                  <a:pt x="1295040" y="2561387"/>
                  <a:pt x="1297311" y="2564021"/>
                </a:cubicBezTo>
                <a:cubicBezTo>
                  <a:pt x="1294317" y="2567273"/>
                  <a:pt x="1293388" y="2568203"/>
                  <a:pt x="1289258" y="2566344"/>
                </a:cubicBezTo>
                <a:cubicBezTo>
                  <a:pt x="1289258" y="2566344"/>
                  <a:pt x="1288432" y="2565415"/>
                  <a:pt x="1288432" y="2565415"/>
                </a:cubicBezTo>
                <a:cubicBezTo>
                  <a:pt x="1286883" y="2564175"/>
                  <a:pt x="1285850" y="2562162"/>
                  <a:pt x="1285334" y="2560458"/>
                </a:cubicBezTo>
                <a:cubicBezTo>
                  <a:pt x="1284714" y="2558599"/>
                  <a:pt x="1284817" y="2556896"/>
                  <a:pt x="1285334" y="2556121"/>
                </a:cubicBezTo>
                <a:close/>
                <a:moveTo>
                  <a:pt x="706583" y="2554262"/>
                </a:moveTo>
                <a:cubicBezTo>
                  <a:pt x="706583" y="2554262"/>
                  <a:pt x="705344" y="2554417"/>
                  <a:pt x="704208" y="2554727"/>
                </a:cubicBezTo>
                <a:cubicBezTo>
                  <a:pt x="702969" y="2554882"/>
                  <a:pt x="702969" y="2554882"/>
                  <a:pt x="703278" y="2555966"/>
                </a:cubicBezTo>
                <a:cubicBezTo>
                  <a:pt x="702039" y="2556276"/>
                  <a:pt x="702039" y="2556276"/>
                  <a:pt x="700594" y="2555192"/>
                </a:cubicBezTo>
                <a:cubicBezTo>
                  <a:pt x="701730" y="2555037"/>
                  <a:pt x="706273" y="2553023"/>
                  <a:pt x="706583" y="2554262"/>
                </a:cubicBezTo>
                <a:close/>
                <a:moveTo>
                  <a:pt x="1108559" y="2553333"/>
                </a:moveTo>
                <a:cubicBezTo>
                  <a:pt x="1108559" y="2553333"/>
                  <a:pt x="1110108" y="2553952"/>
                  <a:pt x="1110108" y="2553952"/>
                </a:cubicBezTo>
                <a:cubicBezTo>
                  <a:pt x="1110314" y="2553178"/>
                  <a:pt x="1110211" y="2553178"/>
                  <a:pt x="1110521" y="2553642"/>
                </a:cubicBezTo>
                <a:cubicBezTo>
                  <a:pt x="1110831" y="2554262"/>
                  <a:pt x="1111347" y="2555192"/>
                  <a:pt x="1112690" y="2556431"/>
                </a:cubicBezTo>
                <a:cubicBezTo>
                  <a:pt x="1113825" y="2558444"/>
                  <a:pt x="1115271" y="2558909"/>
                  <a:pt x="1113309" y="2559838"/>
                </a:cubicBezTo>
                <a:cubicBezTo>
                  <a:pt x="1111347" y="2560768"/>
                  <a:pt x="1111347" y="2560768"/>
                  <a:pt x="1106700" y="2559219"/>
                </a:cubicBezTo>
                <a:cubicBezTo>
                  <a:pt x="1108662" y="2558289"/>
                  <a:pt x="1108662" y="2558289"/>
                  <a:pt x="1107630" y="2556276"/>
                </a:cubicBezTo>
                <a:cubicBezTo>
                  <a:pt x="1107630" y="2556276"/>
                  <a:pt x="1107630" y="2556276"/>
                  <a:pt x="1106081" y="2555811"/>
                </a:cubicBezTo>
                <a:cubicBezTo>
                  <a:pt x="1106494" y="2554262"/>
                  <a:pt x="1108043" y="2554882"/>
                  <a:pt x="1108559" y="2553333"/>
                </a:cubicBezTo>
                <a:close/>
                <a:moveTo>
                  <a:pt x="1181664" y="2551784"/>
                </a:moveTo>
                <a:cubicBezTo>
                  <a:pt x="1184556" y="2552094"/>
                  <a:pt x="1189615" y="2555656"/>
                  <a:pt x="1190958" y="2560148"/>
                </a:cubicBezTo>
                <a:lnTo>
                  <a:pt x="1190958" y="2563091"/>
                </a:lnTo>
                <a:lnTo>
                  <a:pt x="1192094" y="2560923"/>
                </a:lnTo>
                <a:cubicBezTo>
                  <a:pt x="1193126" y="2560148"/>
                  <a:pt x="1194674" y="2559838"/>
                  <a:pt x="1196120" y="2559838"/>
                </a:cubicBezTo>
                <a:cubicBezTo>
                  <a:pt x="1195294" y="2559993"/>
                  <a:pt x="1195294" y="2560148"/>
                  <a:pt x="1195294" y="2560148"/>
                </a:cubicBezTo>
                <a:cubicBezTo>
                  <a:pt x="1194881" y="2561232"/>
                  <a:pt x="1195707" y="2560923"/>
                  <a:pt x="1196120" y="2561697"/>
                </a:cubicBezTo>
                <a:cubicBezTo>
                  <a:pt x="1196120" y="2561697"/>
                  <a:pt x="1195707" y="2560923"/>
                  <a:pt x="1196843" y="2561387"/>
                </a:cubicBezTo>
                <a:cubicBezTo>
                  <a:pt x="1196017" y="2561697"/>
                  <a:pt x="1196430" y="2562471"/>
                  <a:pt x="1196843" y="2563246"/>
                </a:cubicBezTo>
                <a:cubicBezTo>
                  <a:pt x="1196017" y="2565415"/>
                  <a:pt x="1194468" y="2567893"/>
                  <a:pt x="1192506" y="2567738"/>
                </a:cubicBezTo>
                <a:cubicBezTo>
                  <a:pt x="1191267" y="2567273"/>
                  <a:pt x="1190751" y="2566499"/>
                  <a:pt x="1190441" y="2565879"/>
                </a:cubicBezTo>
                <a:lnTo>
                  <a:pt x="1190441" y="2564640"/>
                </a:lnTo>
                <a:lnTo>
                  <a:pt x="1186001" y="2562471"/>
                </a:lnTo>
                <a:cubicBezTo>
                  <a:pt x="1182387" y="2559838"/>
                  <a:pt x="1182284" y="2555811"/>
                  <a:pt x="1181664" y="2551784"/>
                </a:cubicBezTo>
                <a:close/>
                <a:moveTo>
                  <a:pt x="746646" y="2551629"/>
                </a:moveTo>
                <a:cubicBezTo>
                  <a:pt x="749537" y="2551629"/>
                  <a:pt x="753358" y="2556276"/>
                  <a:pt x="752325" y="2559528"/>
                </a:cubicBezTo>
                <a:cubicBezTo>
                  <a:pt x="752015" y="2560613"/>
                  <a:pt x="751189" y="2561542"/>
                  <a:pt x="749640" y="2562162"/>
                </a:cubicBezTo>
                <a:cubicBezTo>
                  <a:pt x="744787" y="2563401"/>
                  <a:pt x="743342" y="2559684"/>
                  <a:pt x="742309" y="2555192"/>
                </a:cubicBezTo>
                <a:cubicBezTo>
                  <a:pt x="743962" y="2554107"/>
                  <a:pt x="744891" y="2552558"/>
                  <a:pt x="746646" y="2551629"/>
                </a:cubicBezTo>
                <a:close/>
                <a:moveTo>
                  <a:pt x="843707" y="2551319"/>
                </a:moveTo>
                <a:cubicBezTo>
                  <a:pt x="847321" y="2550235"/>
                  <a:pt x="850109" y="2557360"/>
                  <a:pt x="849179" y="2558754"/>
                </a:cubicBezTo>
                <a:cubicBezTo>
                  <a:pt x="847837" y="2559219"/>
                  <a:pt x="843294" y="2555811"/>
                  <a:pt x="842674" y="2553333"/>
                </a:cubicBezTo>
                <a:cubicBezTo>
                  <a:pt x="842468" y="2552403"/>
                  <a:pt x="842778" y="2551784"/>
                  <a:pt x="843707" y="2551319"/>
                </a:cubicBezTo>
                <a:close/>
                <a:moveTo>
                  <a:pt x="1359781" y="2550080"/>
                </a:moveTo>
                <a:cubicBezTo>
                  <a:pt x="1359781" y="2550080"/>
                  <a:pt x="1359678" y="2550854"/>
                  <a:pt x="1357923" y="2552558"/>
                </a:cubicBezTo>
                <a:cubicBezTo>
                  <a:pt x="1357923" y="2551784"/>
                  <a:pt x="1357097" y="2551784"/>
                  <a:pt x="1357097" y="2551784"/>
                </a:cubicBezTo>
                <a:cubicBezTo>
                  <a:pt x="1357097" y="2551784"/>
                  <a:pt x="1357097" y="2551784"/>
                  <a:pt x="1357097" y="2552713"/>
                </a:cubicBezTo>
                <a:cubicBezTo>
                  <a:pt x="1356684" y="2552249"/>
                  <a:pt x="1356684" y="2551784"/>
                  <a:pt x="1356787" y="2551474"/>
                </a:cubicBezTo>
                <a:cubicBezTo>
                  <a:pt x="1356890" y="2551164"/>
                  <a:pt x="1357097" y="2551009"/>
                  <a:pt x="1357097" y="2551009"/>
                </a:cubicBezTo>
                <a:cubicBezTo>
                  <a:pt x="1358026" y="2550080"/>
                  <a:pt x="1358956" y="2549151"/>
                  <a:pt x="1359781" y="2550080"/>
                </a:cubicBezTo>
                <a:close/>
                <a:moveTo>
                  <a:pt x="714327" y="2548686"/>
                </a:moveTo>
                <a:cubicBezTo>
                  <a:pt x="715153" y="2549151"/>
                  <a:pt x="716289" y="2548995"/>
                  <a:pt x="716289" y="2548995"/>
                </a:cubicBezTo>
                <a:cubicBezTo>
                  <a:pt x="716598" y="2550080"/>
                  <a:pt x="716185" y="2550699"/>
                  <a:pt x="715669" y="2551474"/>
                </a:cubicBezTo>
                <a:cubicBezTo>
                  <a:pt x="714533" y="2551629"/>
                  <a:pt x="713811" y="2551164"/>
                  <a:pt x="712675" y="2551319"/>
                </a:cubicBezTo>
                <a:cubicBezTo>
                  <a:pt x="712159" y="2552094"/>
                  <a:pt x="711332" y="2553333"/>
                  <a:pt x="710093" y="2553642"/>
                </a:cubicBezTo>
                <a:cubicBezTo>
                  <a:pt x="708957" y="2553798"/>
                  <a:pt x="706996" y="2553488"/>
                  <a:pt x="706996" y="2553488"/>
                </a:cubicBezTo>
                <a:cubicBezTo>
                  <a:pt x="706893" y="2552868"/>
                  <a:pt x="706789" y="2552558"/>
                  <a:pt x="706789" y="2552558"/>
                </a:cubicBezTo>
                <a:cubicBezTo>
                  <a:pt x="706893" y="2552403"/>
                  <a:pt x="707099" y="2552558"/>
                  <a:pt x="707512" y="2552868"/>
                </a:cubicBezTo>
                <a:cubicBezTo>
                  <a:pt x="709061" y="2551939"/>
                  <a:pt x="708648" y="2552558"/>
                  <a:pt x="709784" y="2552403"/>
                </a:cubicBezTo>
                <a:cubicBezTo>
                  <a:pt x="710919" y="2552249"/>
                  <a:pt x="714637" y="2549770"/>
                  <a:pt x="714327" y="2548686"/>
                </a:cubicBezTo>
                <a:close/>
                <a:moveTo>
                  <a:pt x="5237961" y="2548462"/>
                </a:moveTo>
                <a:lnTo>
                  <a:pt x="5233692" y="2551734"/>
                </a:lnTo>
                <a:cubicBezTo>
                  <a:pt x="5226649" y="2557709"/>
                  <a:pt x="5220461" y="2562973"/>
                  <a:pt x="5214058" y="2565961"/>
                </a:cubicBezTo>
                <a:cubicBezTo>
                  <a:pt x="5210216" y="2568237"/>
                  <a:pt x="5204667" y="2574924"/>
                  <a:pt x="5199972" y="2580188"/>
                </a:cubicBezTo>
                <a:cubicBezTo>
                  <a:pt x="5194423" y="2585310"/>
                  <a:pt x="5189728" y="2589862"/>
                  <a:pt x="5185886" y="2588297"/>
                </a:cubicBezTo>
                <a:cubicBezTo>
                  <a:pt x="5178844" y="2593561"/>
                  <a:pt x="5172441" y="2598683"/>
                  <a:pt x="5166252" y="2603236"/>
                </a:cubicBezTo>
                <a:cubicBezTo>
                  <a:pt x="5160703" y="2608357"/>
                  <a:pt x="5155154" y="2613621"/>
                  <a:pt x="5149819" y="2618174"/>
                </a:cubicBezTo>
                <a:cubicBezTo>
                  <a:pt x="5145123" y="2623295"/>
                  <a:pt x="5140428" y="2628560"/>
                  <a:pt x="5134879" y="2633824"/>
                </a:cubicBezTo>
                <a:cubicBezTo>
                  <a:pt x="5130184" y="2638234"/>
                  <a:pt x="5125489" y="2643355"/>
                  <a:pt x="5120793" y="2647908"/>
                </a:cubicBezTo>
                <a:cubicBezTo>
                  <a:pt x="5119086" y="2646343"/>
                  <a:pt x="5120580" y="2644067"/>
                  <a:pt x="5119086" y="2642644"/>
                </a:cubicBezTo>
                <a:cubicBezTo>
                  <a:pt x="5116739" y="2639656"/>
                  <a:pt x="5114391" y="2646343"/>
                  <a:pt x="5112043" y="2647908"/>
                </a:cubicBezTo>
                <a:cubicBezTo>
                  <a:pt x="5114391" y="2653172"/>
                  <a:pt x="5116739" y="2644067"/>
                  <a:pt x="5119086" y="2649331"/>
                </a:cubicBezTo>
                <a:cubicBezTo>
                  <a:pt x="5115884" y="2655306"/>
                  <a:pt x="5108842" y="2662704"/>
                  <a:pt x="5101799" y="2670244"/>
                </a:cubicBezTo>
                <a:cubicBezTo>
                  <a:pt x="5094756" y="2677642"/>
                  <a:pt x="5087714" y="2685040"/>
                  <a:pt x="5083658" y="2691869"/>
                </a:cubicBezTo>
                <a:cubicBezTo>
                  <a:pt x="5081311" y="2689593"/>
                  <a:pt x="5086006" y="2686605"/>
                  <a:pt x="5082805" y="2685040"/>
                </a:cubicBezTo>
                <a:cubicBezTo>
                  <a:pt x="5076615" y="2690304"/>
                  <a:pt x="5086859" y="2696280"/>
                  <a:pt x="5077469" y="2698413"/>
                </a:cubicBezTo>
                <a:cubicBezTo>
                  <a:pt x="5075762" y="2696280"/>
                  <a:pt x="5076615" y="2694003"/>
                  <a:pt x="5079817" y="2691016"/>
                </a:cubicBezTo>
                <a:cubicBezTo>
                  <a:pt x="5071067" y="2692438"/>
                  <a:pt x="5071280" y="2707377"/>
                  <a:pt x="5066372" y="2708230"/>
                </a:cubicBezTo>
                <a:cubicBezTo>
                  <a:pt x="5068079" y="2708941"/>
                  <a:pt x="5068719" y="2708941"/>
                  <a:pt x="5070426" y="2708230"/>
                </a:cubicBezTo>
                <a:cubicBezTo>
                  <a:pt x="5068079" y="2710364"/>
                  <a:pt x="5065517" y="2712641"/>
                  <a:pt x="5062530" y="2716339"/>
                </a:cubicBezTo>
                <a:cubicBezTo>
                  <a:pt x="5060182" y="2719327"/>
                  <a:pt x="5056127" y="2722315"/>
                  <a:pt x="5053780" y="2726014"/>
                </a:cubicBezTo>
                <a:cubicBezTo>
                  <a:pt x="5048231" y="2733411"/>
                  <a:pt x="5044389" y="2740952"/>
                  <a:pt x="5047590" y="2744651"/>
                </a:cubicBezTo>
                <a:cubicBezTo>
                  <a:pt x="5045243" y="2747639"/>
                  <a:pt x="5042895" y="2743939"/>
                  <a:pt x="5040547" y="2748350"/>
                </a:cubicBezTo>
                <a:cubicBezTo>
                  <a:pt x="5038840" y="2751338"/>
                  <a:pt x="5041188" y="2752760"/>
                  <a:pt x="5043535" y="2754325"/>
                </a:cubicBezTo>
                <a:cubicBezTo>
                  <a:pt x="5036492" y="2755037"/>
                  <a:pt x="5024754" y="2779649"/>
                  <a:pt x="5020913" y="2785624"/>
                </a:cubicBezTo>
                <a:cubicBezTo>
                  <a:pt x="5015364" y="2780361"/>
                  <a:pt x="5029450" y="2767699"/>
                  <a:pt x="5024754" y="2761723"/>
                </a:cubicBezTo>
                <a:cubicBezTo>
                  <a:pt x="5023261" y="2765422"/>
                  <a:pt x="5020913" y="2769263"/>
                  <a:pt x="5018352" y="2772963"/>
                </a:cubicBezTo>
                <a:lnTo>
                  <a:pt x="5014297" y="2781356"/>
                </a:lnTo>
                <a:lnTo>
                  <a:pt x="5015150" y="2783064"/>
                </a:lnTo>
                <a:lnTo>
                  <a:pt x="5016272" y="2785712"/>
                </a:lnTo>
                <a:lnTo>
                  <a:pt x="5052497" y="2785712"/>
                </a:lnTo>
                <a:lnTo>
                  <a:pt x="5051432" y="2784629"/>
                </a:lnTo>
                <a:cubicBezTo>
                  <a:pt x="5039907" y="2754183"/>
                  <a:pt x="5074695" y="2715913"/>
                  <a:pt x="5106921" y="2725017"/>
                </a:cubicBezTo>
                <a:lnTo>
                  <a:pt x="5109696" y="2737395"/>
                </a:lnTo>
                <a:lnTo>
                  <a:pt x="5111616" y="2736684"/>
                </a:lnTo>
                <a:cubicBezTo>
                  <a:pt x="5113964" y="2736115"/>
                  <a:pt x="5115458" y="2735403"/>
                  <a:pt x="5113537" y="2731989"/>
                </a:cubicBezTo>
                <a:cubicBezTo>
                  <a:pt x="5115884" y="2732701"/>
                  <a:pt x="5119086" y="2731278"/>
                  <a:pt x="5121434" y="2729713"/>
                </a:cubicBezTo>
                <a:cubicBezTo>
                  <a:pt x="5124635" y="2727579"/>
                  <a:pt x="5126983" y="2724591"/>
                  <a:pt x="5130184" y="2721603"/>
                </a:cubicBezTo>
                <a:cubicBezTo>
                  <a:pt x="5128477" y="2720038"/>
                  <a:pt x="5126983" y="2720750"/>
                  <a:pt x="5125489" y="2722315"/>
                </a:cubicBezTo>
                <a:cubicBezTo>
                  <a:pt x="5123781" y="2719327"/>
                  <a:pt x="5129330" y="2717904"/>
                  <a:pt x="5134026" y="2715628"/>
                </a:cubicBezTo>
                <a:cubicBezTo>
                  <a:pt x="5138721" y="2713352"/>
                  <a:pt x="5142776" y="2710506"/>
                  <a:pt x="5140428" y="2705242"/>
                </a:cubicBezTo>
                <a:cubicBezTo>
                  <a:pt x="5141922" y="2705954"/>
                  <a:pt x="5142776" y="2706665"/>
                  <a:pt x="5144269" y="2705954"/>
                </a:cubicBezTo>
                <a:cubicBezTo>
                  <a:pt x="5144269" y="2702966"/>
                  <a:pt x="5141069" y="2704389"/>
                  <a:pt x="5142562" y="2699978"/>
                </a:cubicBezTo>
                <a:cubicBezTo>
                  <a:pt x="5146617" y="2697702"/>
                  <a:pt x="5145764" y="2699978"/>
                  <a:pt x="5148111" y="2702966"/>
                </a:cubicBezTo>
                <a:cubicBezTo>
                  <a:pt x="5147471" y="2696991"/>
                  <a:pt x="5148965" y="2691016"/>
                  <a:pt x="5150459" y="2685040"/>
                </a:cubicBezTo>
                <a:cubicBezTo>
                  <a:pt x="5151953" y="2686605"/>
                  <a:pt x="5156008" y="2688028"/>
                  <a:pt x="5160703" y="2682764"/>
                </a:cubicBezTo>
                <a:cubicBezTo>
                  <a:pt x="5149605" y="2685040"/>
                  <a:pt x="5159849" y="2670956"/>
                  <a:pt x="5165398" y="2676219"/>
                </a:cubicBezTo>
                <a:cubicBezTo>
                  <a:pt x="5166252" y="2673943"/>
                  <a:pt x="5167106" y="2667257"/>
                  <a:pt x="5163051" y="2669533"/>
                </a:cubicBezTo>
                <a:cubicBezTo>
                  <a:pt x="5164331" y="2668395"/>
                  <a:pt x="5172014" y="2667683"/>
                  <a:pt x="5174575" y="2663273"/>
                </a:cubicBezTo>
                <a:lnTo>
                  <a:pt x="5174789" y="2657867"/>
                </a:lnTo>
                <a:lnTo>
                  <a:pt x="5173935" y="2658152"/>
                </a:lnTo>
                <a:cubicBezTo>
                  <a:pt x="5172014" y="2657725"/>
                  <a:pt x="5170307" y="2656587"/>
                  <a:pt x="5169453" y="2654879"/>
                </a:cubicBezTo>
                <a:lnTo>
                  <a:pt x="5173295" y="2648335"/>
                </a:lnTo>
                <a:lnTo>
                  <a:pt x="5170520" y="2648904"/>
                </a:lnTo>
                <a:cubicBezTo>
                  <a:pt x="5165398" y="2650611"/>
                  <a:pt x="5160276" y="2653883"/>
                  <a:pt x="5155368" y="2657582"/>
                </a:cubicBezTo>
                <a:cubicBezTo>
                  <a:pt x="5156861" y="2649331"/>
                  <a:pt x="5168599" y="2644921"/>
                  <a:pt x="5173295" y="2644209"/>
                </a:cubicBezTo>
                <a:cubicBezTo>
                  <a:pt x="5173508" y="2641506"/>
                  <a:pt x="5175002" y="2638945"/>
                  <a:pt x="5177136" y="2636385"/>
                </a:cubicBezTo>
                <a:lnTo>
                  <a:pt x="5182258" y="2630409"/>
                </a:lnTo>
                <a:lnTo>
                  <a:pt x="5178203" y="2632827"/>
                </a:lnTo>
                <a:cubicBezTo>
                  <a:pt x="5169239" y="2624861"/>
                  <a:pt x="5160276" y="2617036"/>
                  <a:pt x="5160276" y="2609069"/>
                </a:cubicBezTo>
                <a:cubicBezTo>
                  <a:pt x="5166252" y="2603805"/>
                  <a:pt x="5173081" y="2600390"/>
                  <a:pt x="5180124" y="2599679"/>
                </a:cubicBezTo>
                <a:cubicBezTo>
                  <a:pt x="5183752" y="2599394"/>
                  <a:pt x="5187380" y="2599679"/>
                  <a:pt x="5191008" y="2600817"/>
                </a:cubicBezTo>
                <a:lnTo>
                  <a:pt x="5195277" y="2602951"/>
                </a:lnTo>
                <a:lnTo>
                  <a:pt x="5198478" y="2591997"/>
                </a:lnTo>
                <a:cubicBezTo>
                  <a:pt x="5206802" y="2592565"/>
                  <a:pt x="5200826" y="2597687"/>
                  <a:pt x="5198051" y="2601813"/>
                </a:cubicBezTo>
                <a:lnTo>
                  <a:pt x="5197411" y="2603947"/>
                </a:lnTo>
                <a:lnTo>
                  <a:pt x="5200399" y="2605370"/>
                </a:lnTo>
                <a:lnTo>
                  <a:pt x="5202107" y="2601955"/>
                </a:lnTo>
                <a:cubicBezTo>
                  <a:pt x="5203387" y="2598968"/>
                  <a:pt x="5204667" y="2595411"/>
                  <a:pt x="5208722" y="2595838"/>
                </a:cubicBezTo>
                <a:cubicBezTo>
                  <a:pt x="5211923" y="2590574"/>
                  <a:pt x="5201679" y="2595838"/>
                  <a:pt x="5204027" y="2589862"/>
                </a:cubicBezTo>
                <a:cubicBezTo>
                  <a:pt x="5210216" y="2585310"/>
                  <a:pt x="5218966" y="2580899"/>
                  <a:pt x="5227503" y="2576347"/>
                </a:cubicBezTo>
                <a:lnTo>
                  <a:pt x="5232625" y="2573217"/>
                </a:lnTo>
                <a:lnTo>
                  <a:pt x="5234120" y="2569091"/>
                </a:lnTo>
                <a:cubicBezTo>
                  <a:pt x="5235400" y="2566246"/>
                  <a:pt x="5236894" y="2563827"/>
                  <a:pt x="5238815" y="2562120"/>
                </a:cubicBezTo>
                <a:lnTo>
                  <a:pt x="5241162" y="2567242"/>
                </a:lnTo>
                <a:lnTo>
                  <a:pt x="5247991" y="2560128"/>
                </a:lnTo>
                <a:cubicBezTo>
                  <a:pt x="5246498" y="2558563"/>
                  <a:pt x="5243296" y="2561551"/>
                  <a:pt x="5240948" y="2562262"/>
                </a:cubicBezTo>
                <a:cubicBezTo>
                  <a:pt x="5243936" y="2557852"/>
                  <a:pt x="5243296" y="2558563"/>
                  <a:pt x="5241589" y="2554864"/>
                </a:cubicBezTo>
                <a:lnTo>
                  <a:pt x="5244150" y="2553868"/>
                </a:lnTo>
                <a:lnTo>
                  <a:pt x="5243083" y="2553442"/>
                </a:lnTo>
                <a:cubicBezTo>
                  <a:pt x="5242443" y="2553157"/>
                  <a:pt x="5242016" y="2552872"/>
                  <a:pt x="5242016" y="2553157"/>
                </a:cubicBezTo>
                <a:cubicBezTo>
                  <a:pt x="5240735" y="2554295"/>
                  <a:pt x="5240735" y="2554295"/>
                  <a:pt x="5240735" y="2555434"/>
                </a:cubicBezTo>
                <a:cubicBezTo>
                  <a:pt x="5239455" y="2555291"/>
                  <a:pt x="5237107" y="2556144"/>
                  <a:pt x="5236040" y="2557283"/>
                </a:cubicBezTo>
                <a:cubicBezTo>
                  <a:pt x="5236040" y="2556002"/>
                  <a:pt x="5236040" y="2554864"/>
                  <a:pt x="5234760" y="2554722"/>
                </a:cubicBezTo>
                <a:cubicBezTo>
                  <a:pt x="5237320" y="2552588"/>
                  <a:pt x="5238388" y="2552872"/>
                  <a:pt x="5239668" y="2551734"/>
                </a:cubicBezTo>
                <a:cubicBezTo>
                  <a:pt x="5238388" y="2551592"/>
                  <a:pt x="5239668" y="2550596"/>
                  <a:pt x="5239668" y="2550596"/>
                </a:cubicBezTo>
                <a:cubicBezTo>
                  <a:pt x="5239668" y="2550596"/>
                  <a:pt x="5239668" y="2550596"/>
                  <a:pt x="5239455" y="2550312"/>
                </a:cubicBezTo>
                <a:close/>
                <a:moveTo>
                  <a:pt x="6470247" y="2547751"/>
                </a:moveTo>
                <a:cubicBezTo>
                  <a:pt x="6481345" y="2554864"/>
                  <a:pt x="6464698" y="2572648"/>
                  <a:pt x="6457228" y="2558421"/>
                </a:cubicBezTo>
                <a:cubicBezTo>
                  <a:pt x="6462777" y="2553157"/>
                  <a:pt x="6466619" y="2549600"/>
                  <a:pt x="6470247" y="2547751"/>
                </a:cubicBezTo>
                <a:close/>
                <a:moveTo>
                  <a:pt x="1366183" y="2546363"/>
                </a:moveTo>
                <a:cubicBezTo>
                  <a:pt x="1365254" y="2548066"/>
                  <a:pt x="1361537" y="2550699"/>
                  <a:pt x="1359781" y="2549925"/>
                </a:cubicBezTo>
                <a:cubicBezTo>
                  <a:pt x="1360711" y="2548221"/>
                  <a:pt x="1361640" y="2547292"/>
                  <a:pt x="1362569" y="2546517"/>
                </a:cubicBezTo>
                <a:cubicBezTo>
                  <a:pt x="1363602" y="2544814"/>
                  <a:pt x="1364531" y="2544814"/>
                  <a:pt x="1366183" y="2546363"/>
                </a:cubicBezTo>
                <a:close/>
                <a:moveTo>
                  <a:pt x="1150171" y="2546207"/>
                </a:moveTo>
                <a:cubicBezTo>
                  <a:pt x="1153682" y="2545433"/>
                  <a:pt x="1157503" y="2545588"/>
                  <a:pt x="1159877" y="2546827"/>
                </a:cubicBezTo>
                <a:cubicBezTo>
                  <a:pt x="1161736" y="2550390"/>
                  <a:pt x="1161942" y="2553178"/>
                  <a:pt x="1161013" y="2555192"/>
                </a:cubicBezTo>
                <a:cubicBezTo>
                  <a:pt x="1158845" y="2559684"/>
                  <a:pt x="1151410" y="2560148"/>
                  <a:pt x="1146454" y="2556585"/>
                </a:cubicBezTo>
                <a:lnTo>
                  <a:pt x="1145422" y="2555192"/>
                </a:lnTo>
                <a:lnTo>
                  <a:pt x="1144182" y="2561852"/>
                </a:lnTo>
                <a:cubicBezTo>
                  <a:pt x="1143976" y="2568977"/>
                  <a:pt x="1146351" y="2575948"/>
                  <a:pt x="1141498" y="2580594"/>
                </a:cubicBezTo>
                <a:cubicBezTo>
                  <a:pt x="1140156" y="2574554"/>
                  <a:pt x="1134580" y="2566654"/>
                  <a:pt x="1135199" y="2561232"/>
                </a:cubicBezTo>
                <a:cubicBezTo>
                  <a:pt x="1135405" y="2559528"/>
                  <a:pt x="1136232" y="2558135"/>
                  <a:pt x="1137781" y="2557050"/>
                </a:cubicBezTo>
                <a:lnTo>
                  <a:pt x="1145215" y="2554882"/>
                </a:lnTo>
                <a:lnTo>
                  <a:pt x="1142633" y="2551629"/>
                </a:lnTo>
                <a:cubicBezTo>
                  <a:pt x="1143563" y="2548841"/>
                  <a:pt x="1146661" y="2546982"/>
                  <a:pt x="1150171" y="2546207"/>
                </a:cubicBezTo>
                <a:close/>
                <a:moveTo>
                  <a:pt x="1079544" y="2545898"/>
                </a:moveTo>
                <a:cubicBezTo>
                  <a:pt x="1079957" y="2545743"/>
                  <a:pt x="1080576" y="2545898"/>
                  <a:pt x="1081506" y="2546363"/>
                </a:cubicBezTo>
                <a:cubicBezTo>
                  <a:pt x="1084087" y="2547756"/>
                  <a:pt x="1087908" y="2551319"/>
                  <a:pt x="1088527" y="2551629"/>
                </a:cubicBezTo>
                <a:cubicBezTo>
                  <a:pt x="1088527" y="2551629"/>
                  <a:pt x="1089354" y="2552249"/>
                  <a:pt x="1090076" y="2552713"/>
                </a:cubicBezTo>
                <a:cubicBezTo>
                  <a:pt x="1090386" y="2553798"/>
                  <a:pt x="1089973" y="2554572"/>
                  <a:pt x="1090696" y="2555037"/>
                </a:cubicBezTo>
                <a:cubicBezTo>
                  <a:pt x="1088940" y="2555346"/>
                  <a:pt x="1087598" y="2554882"/>
                  <a:pt x="1086462" y="2554107"/>
                </a:cubicBezTo>
                <a:lnTo>
                  <a:pt x="1083571" y="2551319"/>
                </a:lnTo>
                <a:lnTo>
                  <a:pt x="1082022" y="2552249"/>
                </a:lnTo>
                <a:cubicBezTo>
                  <a:pt x="1081196" y="2552558"/>
                  <a:pt x="1080267" y="2552558"/>
                  <a:pt x="1078925" y="2552249"/>
                </a:cubicBezTo>
                <a:cubicBezTo>
                  <a:pt x="1079854" y="2551474"/>
                  <a:pt x="1080783" y="2550699"/>
                  <a:pt x="1081816" y="2550390"/>
                </a:cubicBezTo>
                <a:lnTo>
                  <a:pt x="1082642" y="2550390"/>
                </a:lnTo>
                <a:lnTo>
                  <a:pt x="1081919" y="2549615"/>
                </a:lnTo>
                <a:cubicBezTo>
                  <a:pt x="1081402" y="2549151"/>
                  <a:pt x="1080680" y="2548995"/>
                  <a:pt x="1079751" y="2548841"/>
                </a:cubicBezTo>
                <a:cubicBezTo>
                  <a:pt x="1079751" y="2548841"/>
                  <a:pt x="1079751" y="2548841"/>
                  <a:pt x="1079131" y="2546673"/>
                </a:cubicBezTo>
                <a:close/>
                <a:moveTo>
                  <a:pt x="1110831" y="2543110"/>
                </a:moveTo>
                <a:cubicBezTo>
                  <a:pt x="1117129" y="2541096"/>
                  <a:pt x="1124977" y="2542490"/>
                  <a:pt x="1128591" y="2545898"/>
                </a:cubicBezTo>
                <a:cubicBezTo>
                  <a:pt x="1122602" y="2551784"/>
                  <a:pt x="1110831" y="2549305"/>
                  <a:pt x="1105358" y="2546363"/>
                </a:cubicBezTo>
                <a:cubicBezTo>
                  <a:pt x="1106907" y="2544969"/>
                  <a:pt x="1108766" y="2543884"/>
                  <a:pt x="1110831" y="2543110"/>
                </a:cubicBezTo>
                <a:close/>
                <a:moveTo>
                  <a:pt x="1089457" y="2541560"/>
                </a:moveTo>
                <a:cubicBezTo>
                  <a:pt x="1090592" y="2542800"/>
                  <a:pt x="1091728" y="2544039"/>
                  <a:pt x="1091005" y="2545743"/>
                </a:cubicBezTo>
                <a:cubicBezTo>
                  <a:pt x="1090696" y="2546207"/>
                  <a:pt x="1090283" y="2546827"/>
                  <a:pt x="1089560" y="2547447"/>
                </a:cubicBezTo>
                <a:cubicBezTo>
                  <a:pt x="1089560" y="2547447"/>
                  <a:pt x="1089560" y="2547447"/>
                  <a:pt x="1088734" y="2547447"/>
                </a:cubicBezTo>
                <a:cubicBezTo>
                  <a:pt x="1086978" y="2547292"/>
                  <a:pt x="1086153" y="2547292"/>
                  <a:pt x="1085326" y="2547292"/>
                </a:cubicBezTo>
                <a:cubicBezTo>
                  <a:pt x="1084914" y="2546827"/>
                  <a:pt x="1084397" y="2546052"/>
                  <a:pt x="1084087" y="2545123"/>
                </a:cubicBezTo>
                <a:cubicBezTo>
                  <a:pt x="1083777" y="2544349"/>
                  <a:pt x="1083571" y="2543419"/>
                  <a:pt x="1084087" y="2543110"/>
                </a:cubicBezTo>
                <a:cubicBezTo>
                  <a:pt x="1085946" y="2541406"/>
                  <a:pt x="1088631" y="2540631"/>
                  <a:pt x="1089457" y="2541560"/>
                </a:cubicBezTo>
                <a:close/>
                <a:moveTo>
                  <a:pt x="1018313" y="2541251"/>
                </a:moveTo>
                <a:cubicBezTo>
                  <a:pt x="1019346" y="2542645"/>
                  <a:pt x="1022030" y="2542955"/>
                  <a:pt x="1022753" y="2545123"/>
                </a:cubicBezTo>
                <a:cubicBezTo>
                  <a:pt x="1022753" y="2545123"/>
                  <a:pt x="1023063" y="2546207"/>
                  <a:pt x="1022237" y="2547756"/>
                </a:cubicBezTo>
                <a:cubicBezTo>
                  <a:pt x="1022443" y="2550699"/>
                  <a:pt x="1018830" y="2551939"/>
                  <a:pt x="1018830" y="2551939"/>
                </a:cubicBezTo>
                <a:cubicBezTo>
                  <a:pt x="1018830" y="2551939"/>
                  <a:pt x="1018830" y="2551939"/>
                  <a:pt x="1019655" y="2552403"/>
                </a:cubicBezTo>
                <a:cubicBezTo>
                  <a:pt x="1018106" y="2551629"/>
                  <a:pt x="1016145" y="2551629"/>
                  <a:pt x="1014596" y="2551009"/>
                </a:cubicBezTo>
                <a:cubicBezTo>
                  <a:pt x="1013770" y="2549151"/>
                  <a:pt x="1013357" y="2547756"/>
                  <a:pt x="1013254" y="2546673"/>
                </a:cubicBezTo>
                <a:cubicBezTo>
                  <a:pt x="1012840" y="2543264"/>
                  <a:pt x="1015319" y="2542645"/>
                  <a:pt x="1018313" y="2541251"/>
                </a:cubicBezTo>
                <a:close/>
                <a:moveTo>
                  <a:pt x="1133031" y="2540321"/>
                </a:moveTo>
                <a:cubicBezTo>
                  <a:pt x="1134166" y="2538927"/>
                  <a:pt x="1143563" y="2540786"/>
                  <a:pt x="1141601" y="2544349"/>
                </a:cubicBezTo>
                <a:cubicBezTo>
                  <a:pt x="1139226" y="2546982"/>
                  <a:pt x="1133031" y="2542180"/>
                  <a:pt x="1133031" y="2540321"/>
                </a:cubicBezTo>
                <a:close/>
                <a:moveTo>
                  <a:pt x="1009330" y="2540167"/>
                </a:moveTo>
                <a:cubicBezTo>
                  <a:pt x="1010569" y="2540012"/>
                  <a:pt x="1012221" y="2540941"/>
                  <a:pt x="1012944" y="2541560"/>
                </a:cubicBezTo>
                <a:cubicBezTo>
                  <a:pt x="1012531" y="2542180"/>
                  <a:pt x="1013254" y="2542800"/>
                  <a:pt x="1012840" y="2543419"/>
                </a:cubicBezTo>
                <a:cubicBezTo>
                  <a:pt x="1012737" y="2545278"/>
                  <a:pt x="1012737" y="2545433"/>
                  <a:pt x="1011498" y="2545588"/>
                </a:cubicBezTo>
                <a:cubicBezTo>
                  <a:pt x="1010259" y="2545743"/>
                  <a:pt x="1008297" y="2543574"/>
                  <a:pt x="1007058" y="2543729"/>
                </a:cubicBezTo>
                <a:cubicBezTo>
                  <a:pt x="1007058" y="2543729"/>
                  <a:pt x="1007058" y="2543729"/>
                  <a:pt x="1007265" y="2541871"/>
                </a:cubicBezTo>
                <a:cubicBezTo>
                  <a:pt x="1007678" y="2541096"/>
                  <a:pt x="1008091" y="2540476"/>
                  <a:pt x="1009330" y="2540167"/>
                </a:cubicBezTo>
                <a:close/>
                <a:moveTo>
                  <a:pt x="5038627" y="2539926"/>
                </a:moveTo>
                <a:cubicBezTo>
                  <a:pt x="5043962" y="2545048"/>
                  <a:pt x="5040975" y="2553726"/>
                  <a:pt x="5035852" y="2556571"/>
                </a:cubicBezTo>
                <a:cubicBezTo>
                  <a:pt x="5034145" y="2557567"/>
                  <a:pt x="5032011" y="2557852"/>
                  <a:pt x="5030090" y="2557283"/>
                </a:cubicBezTo>
                <a:cubicBezTo>
                  <a:pt x="5023047" y="2550312"/>
                  <a:pt x="5031371" y="2539357"/>
                  <a:pt x="5038627" y="2539926"/>
                </a:cubicBezTo>
                <a:close/>
                <a:moveTo>
                  <a:pt x="775661" y="2539857"/>
                </a:moveTo>
                <a:cubicBezTo>
                  <a:pt x="776797" y="2539702"/>
                  <a:pt x="776797" y="2539702"/>
                  <a:pt x="777623" y="2540167"/>
                </a:cubicBezTo>
                <a:cubicBezTo>
                  <a:pt x="777932" y="2541406"/>
                  <a:pt x="777520" y="2542025"/>
                  <a:pt x="777829" y="2543110"/>
                </a:cubicBezTo>
                <a:cubicBezTo>
                  <a:pt x="780204" y="2542800"/>
                  <a:pt x="779378" y="2542335"/>
                  <a:pt x="779688" y="2543574"/>
                </a:cubicBezTo>
                <a:cubicBezTo>
                  <a:pt x="779688" y="2543574"/>
                  <a:pt x="779688" y="2543574"/>
                  <a:pt x="779998" y="2544659"/>
                </a:cubicBezTo>
                <a:cubicBezTo>
                  <a:pt x="779998" y="2544659"/>
                  <a:pt x="780824" y="2545123"/>
                  <a:pt x="777932" y="2546207"/>
                </a:cubicBezTo>
                <a:cubicBezTo>
                  <a:pt x="777623" y="2544969"/>
                  <a:pt x="776797" y="2541560"/>
                  <a:pt x="776797" y="2541560"/>
                </a:cubicBezTo>
                <a:cubicBezTo>
                  <a:pt x="775971" y="2541096"/>
                  <a:pt x="775971" y="2541096"/>
                  <a:pt x="775661" y="2539857"/>
                </a:cubicBezTo>
                <a:close/>
                <a:moveTo>
                  <a:pt x="773183" y="2538463"/>
                </a:moveTo>
                <a:cubicBezTo>
                  <a:pt x="773596" y="2539702"/>
                  <a:pt x="773802" y="2542645"/>
                  <a:pt x="771015" y="2543729"/>
                </a:cubicBezTo>
                <a:cubicBezTo>
                  <a:pt x="768226" y="2544659"/>
                  <a:pt x="767607" y="2547137"/>
                  <a:pt x="764819" y="2548221"/>
                </a:cubicBezTo>
                <a:cubicBezTo>
                  <a:pt x="764819" y="2548221"/>
                  <a:pt x="764819" y="2548221"/>
                  <a:pt x="764509" y="2546982"/>
                </a:cubicBezTo>
                <a:cubicBezTo>
                  <a:pt x="768226" y="2544659"/>
                  <a:pt x="768743" y="2540321"/>
                  <a:pt x="773183" y="2538463"/>
                </a:cubicBezTo>
                <a:close/>
                <a:moveTo>
                  <a:pt x="670339" y="2538153"/>
                </a:moveTo>
                <a:cubicBezTo>
                  <a:pt x="673024" y="2539392"/>
                  <a:pt x="673954" y="2541871"/>
                  <a:pt x="672405" y="2544659"/>
                </a:cubicBezTo>
                <a:cubicBezTo>
                  <a:pt x="670753" y="2545743"/>
                  <a:pt x="668997" y="2545123"/>
                  <a:pt x="667242" y="2544504"/>
                </a:cubicBezTo>
                <a:cubicBezTo>
                  <a:pt x="665900" y="2543884"/>
                  <a:pt x="665383" y="2543110"/>
                  <a:pt x="665487" y="2542180"/>
                </a:cubicBezTo>
                <a:cubicBezTo>
                  <a:pt x="665487" y="2541406"/>
                  <a:pt x="666106" y="2540476"/>
                  <a:pt x="666932" y="2539392"/>
                </a:cubicBezTo>
                <a:cubicBezTo>
                  <a:pt x="668584" y="2537533"/>
                  <a:pt x="670339" y="2538153"/>
                  <a:pt x="670339" y="2538153"/>
                </a:cubicBezTo>
                <a:close/>
                <a:moveTo>
                  <a:pt x="1068496" y="2537843"/>
                </a:moveTo>
                <a:cubicBezTo>
                  <a:pt x="1068599" y="2539702"/>
                  <a:pt x="1068702" y="2541560"/>
                  <a:pt x="1068909" y="2543419"/>
                </a:cubicBezTo>
                <a:cubicBezTo>
                  <a:pt x="1068496" y="2542645"/>
                  <a:pt x="1062610" y="2547602"/>
                  <a:pt x="1062610" y="2547602"/>
                </a:cubicBezTo>
                <a:cubicBezTo>
                  <a:pt x="1060235" y="2546827"/>
                  <a:pt x="1060235" y="2546827"/>
                  <a:pt x="1060338" y="2543884"/>
                </a:cubicBezTo>
                <a:cubicBezTo>
                  <a:pt x="1060648" y="2542800"/>
                  <a:pt x="1061887" y="2541251"/>
                  <a:pt x="1063436" y="2540012"/>
                </a:cubicBezTo>
                <a:cubicBezTo>
                  <a:pt x="1064985" y="2538772"/>
                  <a:pt x="1066844" y="2537688"/>
                  <a:pt x="1068496" y="2537843"/>
                </a:cubicBezTo>
                <a:close/>
                <a:moveTo>
                  <a:pt x="530531" y="2535984"/>
                </a:moveTo>
                <a:cubicBezTo>
                  <a:pt x="531770" y="2535674"/>
                  <a:pt x="533009" y="2535984"/>
                  <a:pt x="534248" y="2537378"/>
                </a:cubicBezTo>
                <a:cubicBezTo>
                  <a:pt x="535074" y="2538308"/>
                  <a:pt x="535900" y="2539237"/>
                  <a:pt x="535074" y="2539082"/>
                </a:cubicBezTo>
                <a:cubicBezTo>
                  <a:pt x="535074" y="2540012"/>
                  <a:pt x="534145" y="2539857"/>
                  <a:pt x="533319" y="2540631"/>
                </a:cubicBezTo>
                <a:cubicBezTo>
                  <a:pt x="531563" y="2541251"/>
                  <a:pt x="529085" y="2540941"/>
                  <a:pt x="528259" y="2540012"/>
                </a:cubicBezTo>
                <a:cubicBezTo>
                  <a:pt x="527433" y="2539237"/>
                  <a:pt x="527433" y="2538308"/>
                  <a:pt x="527433" y="2538308"/>
                </a:cubicBezTo>
                <a:cubicBezTo>
                  <a:pt x="528259" y="2537224"/>
                  <a:pt x="529395" y="2536294"/>
                  <a:pt x="530531" y="2535984"/>
                </a:cubicBezTo>
                <a:close/>
                <a:moveTo>
                  <a:pt x="1362982" y="2535829"/>
                </a:moveTo>
                <a:cubicBezTo>
                  <a:pt x="1363705" y="2535674"/>
                  <a:pt x="1364531" y="2535984"/>
                  <a:pt x="1365151" y="2536140"/>
                </a:cubicBezTo>
                <a:cubicBezTo>
                  <a:pt x="1366493" y="2536294"/>
                  <a:pt x="1367526" y="2537224"/>
                  <a:pt x="1368145" y="2538308"/>
                </a:cubicBezTo>
                <a:cubicBezTo>
                  <a:pt x="1368765" y="2539547"/>
                  <a:pt x="1369074" y="2541096"/>
                  <a:pt x="1369074" y="2542335"/>
                </a:cubicBezTo>
                <a:cubicBezTo>
                  <a:pt x="1368765" y="2541560"/>
                  <a:pt x="1368868" y="2541560"/>
                  <a:pt x="1368868" y="2541560"/>
                </a:cubicBezTo>
                <a:cubicBezTo>
                  <a:pt x="1367732" y="2540941"/>
                  <a:pt x="1368042" y="2541871"/>
                  <a:pt x="1367216" y="2542025"/>
                </a:cubicBezTo>
                <a:cubicBezTo>
                  <a:pt x="1367216" y="2542025"/>
                  <a:pt x="1368042" y="2541715"/>
                  <a:pt x="1367526" y="2542800"/>
                </a:cubicBezTo>
                <a:cubicBezTo>
                  <a:pt x="1367216" y="2542025"/>
                  <a:pt x="1366390" y="2542180"/>
                  <a:pt x="1365564" y="2542335"/>
                </a:cubicBezTo>
                <a:cubicBezTo>
                  <a:pt x="1363292" y="2541251"/>
                  <a:pt x="1360711" y="2539237"/>
                  <a:pt x="1360917" y="2537378"/>
                </a:cubicBezTo>
                <a:cubicBezTo>
                  <a:pt x="1361433" y="2536294"/>
                  <a:pt x="1362260" y="2535829"/>
                  <a:pt x="1362982" y="2535829"/>
                </a:cubicBezTo>
                <a:close/>
                <a:moveTo>
                  <a:pt x="6271339" y="2535231"/>
                </a:moveTo>
                <a:cubicBezTo>
                  <a:pt x="6280090" y="2547751"/>
                  <a:pt x="6263656" y="2547466"/>
                  <a:pt x="6255760" y="2550312"/>
                </a:cubicBezTo>
                <a:cubicBezTo>
                  <a:pt x="6252772" y="2546044"/>
                  <a:pt x="6252345" y="2544621"/>
                  <a:pt x="6252559" y="2539214"/>
                </a:cubicBezTo>
                <a:cubicBezTo>
                  <a:pt x="6258961" y="2534377"/>
                  <a:pt x="6265151" y="2534804"/>
                  <a:pt x="6271339" y="2535231"/>
                </a:cubicBezTo>
                <a:close/>
                <a:moveTo>
                  <a:pt x="858266" y="2534281"/>
                </a:moveTo>
                <a:cubicBezTo>
                  <a:pt x="858886" y="2536759"/>
                  <a:pt x="858782" y="2538618"/>
                  <a:pt x="856614" y="2540321"/>
                </a:cubicBezTo>
                <a:cubicBezTo>
                  <a:pt x="856511" y="2538772"/>
                  <a:pt x="856407" y="2537688"/>
                  <a:pt x="856614" y="2536759"/>
                </a:cubicBezTo>
                <a:cubicBezTo>
                  <a:pt x="856717" y="2535829"/>
                  <a:pt x="857233" y="2535210"/>
                  <a:pt x="858266" y="2534281"/>
                </a:cubicBezTo>
                <a:close/>
                <a:moveTo>
                  <a:pt x="1148106" y="2534126"/>
                </a:moveTo>
                <a:cubicBezTo>
                  <a:pt x="1148106" y="2534126"/>
                  <a:pt x="1148209" y="2534126"/>
                  <a:pt x="1148623" y="2534745"/>
                </a:cubicBezTo>
                <a:cubicBezTo>
                  <a:pt x="1148623" y="2534745"/>
                  <a:pt x="1147900" y="2535055"/>
                  <a:pt x="1146867" y="2534745"/>
                </a:cubicBezTo>
                <a:cubicBezTo>
                  <a:pt x="1146867" y="2534745"/>
                  <a:pt x="1146867" y="2534436"/>
                  <a:pt x="1147073" y="2534281"/>
                </a:cubicBezTo>
                <a:cubicBezTo>
                  <a:pt x="1147280" y="2534126"/>
                  <a:pt x="1147590" y="2533971"/>
                  <a:pt x="1148106" y="2534126"/>
                </a:cubicBezTo>
                <a:close/>
                <a:moveTo>
                  <a:pt x="788155" y="2533661"/>
                </a:moveTo>
                <a:cubicBezTo>
                  <a:pt x="790530" y="2533196"/>
                  <a:pt x="793318" y="2532112"/>
                  <a:pt x="794454" y="2533816"/>
                </a:cubicBezTo>
                <a:cubicBezTo>
                  <a:pt x="796829" y="2540167"/>
                  <a:pt x="785987" y="2543729"/>
                  <a:pt x="783922" y="2545278"/>
                </a:cubicBezTo>
                <a:cubicBezTo>
                  <a:pt x="783922" y="2545278"/>
                  <a:pt x="783508" y="2545898"/>
                  <a:pt x="782269" y="2546052"/>
                </a:cubicBezTo>
                <a:cubicBezTo>
                  <a:pt x="780721" y="2546982"/>
                  <a:pt x="781237" y="2544504"/>
                  <a:pt x="779998" y="2544659"/>
                </a:cubicBezTo>
                <a:cubicBezTo>
                  <a:pt x="785058" y="2540167"/>
                  <a:pt x="786606" y="2534590"/>
                  <a:pt x="786606" y="2534590"/>
                </a:cubicBezTo>
                <a:cubicBezTo>
                  <a:pt x="788155" y="2533661"/>
                  <a:pt x="788878" y="2534126"/>
                  <a:pt x="788155" y="2533661"/>
                </a:cubicBezTo>
                <a:close/>
                <a:moveTo>
                  <a:pt x="636988" y="2533196"/>
                </a:moveTo>
                <a:cubicBezTo>
                  <a:pt x="642564" y="2529169"/>
                  <a:pt x="645352" y="2535829"/>
                  <a:pt x="643390" y="2538772"/>
                </a:cubicBezTo>
                <a:cubicBezTo>
                  <a:pt x="640292" y="2540012"/>
                  <a:pt x="637607" y="2538153"/>
                  <a:pt x="636988" y="2535829"/>
                </a:cubicBezTo>
                <a:cubicBezTo>
                  <a:pt x="636678" y="2534900"/>
                  <a:pt x="636678" y="2533971"/>
                  <a:pt x="636988" y="2533196"/>
                </a:cubicBezTo>
                <a:close/>
                <a:moveTo>
                  <a:pt x="1374960" y="2532422"/>
                </a:moveTo>
                <a:cubicBezTo>
                  <a:pt x="1380123" y="2535674"/>
                  <a:pt x="1378471" y="2542800"/>
                  <a:pt x="1375270" y="2548686"/>
                </a:cubicBezTo>
                <a:lnTo>
                  <a:pt x="1371863" y="2553798"/>
                </a:lnTo>
                <a:lnTo>
                  <a:pt x="1374547" y="2554417"/>
                </a:lnTo>
                <a:cubicBezTo>
                  <a:pt x="1379813" y="2561232"/>
                  <a:pt x="1376612" y="2565415"/>
                  <a:pt x="1377438" y="2566344"/>
                </a:cubicBezTo>
                <a:lnTo>
                  <a:pt x="1376819" y="2566499"/>
                </a:lnTo>
                <a:lnTo>
                  <a:pt x="1375683" y="2572850"/>
                </a:lnTo>
                <a:lnTo>
                  <a:pt x="1383427" y="2573934"/>
                </a:lnTo>
                <a:cubicBezTo>
                  <a:pt x="1388693" y="2575328"/>
                  <a:pt x="1394062" y="2577497"/>
                  <a:pt x="1399638" y="2580594"/>
                </a:cubicBezTo>
                <a:cubicBezTo>
                  <a:pt x="1401394" y="2587720"/>
                  <a:pt x="1400155" y="2593141"/>
                  <a:pt x="1397160" y="2597168"/>
                </a:cubicBezTo>
                <a:lnTo>
                  <a:pt x="1394682" y="2598562"/>
                </a:lnTo>
                <a:lnTo>
                  <a:pt x="1395095" y="2600421"/>
                </a:lnTo>
                <a:lnTo>
                  <a:pt x="1388797" y="2604294"/>
                </a:lnTo>
                <a:lnTo>
                  <a:pt x="1391068" y="2607237"/>
                </a:lnTo>
                <a:cubicBezTo>
                  <a:pt x="1391584" y="2608011"/>
                  <a:pt x="1391584" y="2608631"/>
                  <a:pt x="1390655" y="2608631"/>
                </a:cubicBezTo>
                <a:cubicBezTo>
                  <a:pt x="1390655" y="2610799"/>
                  <a:pt x="1388797" y="2610799"/>
                  <a:pt x="1386834" y="2612968"/>
                </a:cubicBezTo>
                <a:lnTo>
                  <a:pt x="1383014" y="2613897"/>
                </a:lnTo>
                <a:lnTo>
                  <a:pt x="1383427" y="2615601"/>
                </a:lnTo>
                <a:cubicBezTo>
                  <a:pt x="1378677" y="2616840"/>
                  <a:pt x="1375786" y="2615136"/>
                  <a:pt x="1372998" y="2611729"/>
                </a:cubicBezTo>
                <a:lnTo>
                  <a:pt x="1374237" y="2611109"/>
                </a:lnTo>
                <a:lnTo>
                  <a:pt x="1373721" y="2610025"/>
                </a:lnTo>
                <a:cubicBezTo>
                  <a:pt x="1373411" y="2609095"/>
                  <a:pt x="1373411" y="2608631"/>
                  <a:pt x="1373411" y="2608631"/>
                </a:cubicBezTo>
                <a:lnTo>
                  <a:pt x="1374960" y="2606927"/>
                </a:lnTo>
                <a:lnTo>
                  <a:pt x="1371863" y="2606617"/>
                </a:lnTo>
                <a:lnTo>
                  <a:pt x="1369281" y="2604759"/>
                </a:lnTo>
                <a:lnTo>
                  <a:pt x="1368558" y="2604759"/>
                </a:lnTo>
                <a:lnTo>
                  <a:pt x="1364841" y="2603829"/>
                </a:lnTo>
                <a:lnTo>
                  <a:pt x="1365667" y="2604603"/>
                </a:lnTo>
                <a:cubicBezTo>
                  <a:pt x="1366080" y="2605068"/>
                  <a:pt x="1366287" y="2605688"/>
                  <a:pt x="1366183" y="2605842"/>
                </a:cubicBezTo>
                <a:lnTo>
                  <a:pt x="1362569" y="2603054"/>
                </a:lnTo>
                <a:lnTo>
                  <a:pt x="1358749" y="2601970"/>
                </a:lnTo>
                <a:cubicBezTo>
                  <a:pt x="1349353" y="2598253"/>
                  <a:pt x="1341815" y="2591437"/>
                  <a:pt x="1340886" y="2582298"/>
                </a:cubicBezTo>
                <a:cubicBezTo>
                  <a:pt x="1340679" y="2580594"/>
                  <a:pt x="1340782" y="2578736"/>
                  <a:pt x="1341092" y="2576877"/>
                </a:cubicBezTo>
                <a:lnTo>
                  <a:pt x="1356684" y="2573934"/>
                </a:lnTo>
                <a:lnTo>
                  <a:pt x="1356271" y="2572385"/>
                </a:lnTo>
                <a:cubicBezTo>
                  <a:pt x="1356064" y="2569132"/>
                  <a:pt x="1356580" y="2564795"/>
                  <a:pt x="1359471" y="2560458"/>
                </a:cubicBezTo>
                <a:lnTo>
                  <a:pt x="1362879" y="2557670"/>
                </a:lnTo>
                <a:lnTo>
                  <a:pt x="1363499" y="2555502"/>
                </a:lnTo>
                <a:lnTo>
                  <a:pt x="1365357" y="2556121"/>
                </a:lnTo>
                <a:lnTo>
                  <a:pt x="1366390" y="2555502"/>
                </a:lnTo>
                <a:cubicBezTo>
                  <a:pt x="1367009" y="2555502"/>
                  <a:pt x="1367423" y="2555656"/>
                  <a:pt x="1367423" y="2556121"/>
                </a:cubicBezTo>
                <a:lnTo>
                  <a:pt x="1368661" y="2556740"/>
                </a:lnTo>
                <a:lnTo>
                  <a:pt x="1368868" y="2555346"/>
                </a:lnTo>
                <a:cubicBezTo>
                  <a:pt x="1369074" y="2554727"/>
                  <a:pt x="1369488" y="2553952"/>
                  <a:pt x="1370210" y="2553333"/>
                </a:cubicBezTo>
                <a:lnTo>
                  <a:pt x="1371553" y="2553642"/>
                </a:lnTo>
                <a:lnTo>
                  <a:pt x="1369281" y="2548531"/>
                </a:lnTo>
                <a:cubicBezTo>
                  <a:pt x="1369074" y="2547137"/>
                  <a:pt x="1369178" y="2545743"/>
                  <a:pt x="1369384" y="2544349"/>
                </a:cubicBezTo>
                <a:cubicBezTo>
                  <a:pt x="1370107" y="2540321"/>
                  <a:pt x="1372482" y="2536449"/>
                  <a:pt x="1374960" y="2532422"/>
                </a:cubicBezTo>
                <a:close/>
                <a:moveTo>
                  <a:pt x="590729" y="2530098"/>
                </a:moveTo>
                <a:cubicBezTo>
                  <a:pt x="598887" y="2529014"/>
                  <a:pt x="611070" y="2532886"/>
                  <a:pt x="611794" y="2539857"/>
                </a:cubicBezTo>
                <a:cubicBezTo>
                  <a:pt x="602087" y="2536604"/>
                  <a:pt x="594756" y="2538772"/>
                  <a:pt x="584327" y="2533041"/>
                </a:cubicBezTo>
                <a:cubicBezTo>
                  <a:pt x="585566" y="2531492"/>
                  <a:pt x="587941" y="2530563"/>
                  <a:pt x="590729" y="2530098"/>
                </a:cubicBezTo>
                <a:close/>
                <a:moveTo>
                  <a:pt x="1346358" y="2529169"/>
                </a:moveTo>
                <a:lnTo>
                  <a:pt x="1347907" y="2531492"/>
                </a:lnTo>
                <a:lnTo>
                  <a:pt x="1348836" y="2531957"/>
                </a:lnTo>
                <a:cubicBezTo>
                  <a:pt x="1349559" y="2532422"/>
                  <a:pt x="1349765" y="2533041"/>
                  <a:pt x="1349249" y="2533971"/>
                </a:cubicBezTo>
                <a:cubicBezTo>
                  <a:pt x="1349146" y="2534900"/>
                  <a:pt x="1348630" y="2535365"/>
                  <a:pt x="1347907" y="2535674"/>
                </a:cubicBezTo>
                <a:lnTo>
                  <a:pt x="1347804" y="2535829"/>
                </a:lnTo>
                <a:lnTo>
                  <a:pt x="1347494" y="2537533"/>
                </a:lnTo>
                <a:lnTo>
                  <a:pt x="1346152" y="2537998"/>
                </a:lnTo>
                <a:lnTo>
                  <a:pt x="1346565" y="2540476"/>
                </a:lnTo>
                <a:cubicBezTo>
                  <a:pt x="1347184" y="2541406"/>
                  <a:pt x="1348010" y="2542490"/>
                  <a:pt x="1348836" y="2543574"/>
                </a:cubicBezTo>
                <a:lnTo>
                  <a:pt x="1349146" y="2544194"/>
                </a:lnTo>
                <a:lnTo>
                  <a:pt x="1352450" y="2545123"/>
                </a:lnTo>
                <a:cubicBezTo>
                  <a:pt x="1352244" y="2546363"/>
                  <a:pt x="1352037" y="2547447"/>
                  <a:pt x="1351934" y="2548686"/>
                </a:cubicBezTo>
                <a:lnTo>
                  <a:pt x="1350695" y="2548841"/>
                </a:lnTo>
                <a:lnTo>
                  <a:pt x="1350592" y="2552403"/>
                </a:lnTo>
                <a:cubicBezTo>
                  <a:pt x="1348320" y="2551319"/>
                  <a:pt x="1345532" y="2555656"/>
                  <a:pt x="1342125" y="2553798"/>
                </a:cubicBezTo>
                <a:cubicBezTo>
                  <a:pt x="1331593" y="2549460"/>
                  <a:pt x="1332315" y="2546517"/>
                  <a:pt x="1332625" y="2540167"/>
                </a:cubicBezTo>
                <a:cubicBezTo>
                  <a:pt x="1332935" y="2540941"/>
                  <a:pt x="1333451" y="2539857"/>
                  <a:pt x="1333451" y="2539857"/>
                </a:cubicBezTo>
                <a:cubicBezTo>
                  <a:pt x="1334484" y="2537843"/>
                  <a:pt x="1329321" y="2538308"/>
                  <a:pt x="1330043" y="2535365"/>
                </a:cubicBezTo>
                <a:cubicBezTo>
                  <a:pt x="1330870" y="2533196"/>
                  <a:pt x="1332935" y="2531957"/>
                  <a:pt x="1335103" y="2531492"/>
                </a:cubicBezTo>
                <a:lnTo>
                  <a:pt x="1337272" y="2531182"/>
                </a:lnTo>
                <a:lnTo>
                  <a:pt x="1337788" y="2529788"/>
                </a:lnTo>
                <a:cubicBezTo>
                  <a:pt x="1340782" y="2527775"/>
                  <a:pt x="1344190" y="2527775"/>
                  <a:pt x="1346358" y="2529169"/>
                </a:cubicBezTo>
                <a:close/>
                <a:moveTo>
                  <a:pt x="1043404" y="2529169"/>
                </a:moveTo>
                <a:lnTo>
                  <a:pt x="1042165" y="2530098"/>
                </a:lnTo>
                <a:lnTo>
                  <a:pt x="1042062" y="2530718"/>
                </a:lnTo>
                <a:lnTo>
                  <a:pt x="1043611" y="2529479"/>
                </a:lnTo>
                <a:close/>
                <a:moveTo>
                  <a:pt x="1130036" y="2528550"/>
                </a:moveTo>
                <a:cubicBezTo>
                  <a:pt x="1129520" y="2529634"/>
                  <a:pt x="1131069" y="2531027"/>
                  <a:pt x="1130553" y="2532112"/>
                </a:cubicBezTo>
                <a:cubicBezTo>
                  <a:pt x="1130553" y="2532112"/>
                  <a:pt x="1128488" y="2533661"/>
                  <a:pt x="1128488" y="2533661"/>
                </a:cubicBezTo>
                <a:cubicBezTo>
                  <a:pt x="1127248" y="2533196"/>
                  <a:pt x="1127352" y="2533041"/>
                  <a:pt x="1128178" y="2532886"/>
                </a:cubicBezTo>
                <a:cubicBezTo>
                  <a:pt x="1126629" y="2531492"/>
                  <a:pt x="1126319" y="2530718"/>
                  <a:pt x="1125906" y="2529788"/>
                </a:cubicBezTo>
                <a:cubicBezTo>
                  <a:pt x="1126422" y="2528704"/>
                  <a:pt x="1128074" y="2528239"/>
                  <a:pt x="1130036" y="2528550"/>
                </a:cubicBezTo>
                <a:close/>
                <a:moveTo>
                  <a:pt x="1390345" y="2527465"/>
                </a:moveTo>
                <a:cubicBezTo>
                  <a:pt x="1390862" y="2527465"/>
                  <a:pt x="1391481" y="2527620"/>
                  <a:pt x="1392101" y="2527775"/>
                </a:cubicBezTo>
                <a:cubicBezTo>
                  <a:pt x="1393339" y="2528239"/>
                  <a:pt x="1394579" y="2528550"/>
                  <a:pt x="1395714" y="2528859"/>
                </a:cubicBezTo>
                <a:cubicBezTo>
                  <a:pt x="1395714" y="2528859"/>
                  <a:pt x="1395714" y="2528859"/>
                  <a:pt x="1389313" y="2528239"/>
                </a:cubicBezTo>
                <a:cubicBezTo>
                  <a:pt x="1389416" y="2527620"/>
                  <a:pt x="1389829" y="2527465"/>
                  <a:pt x="1390345" y="2527465"/>
                </a:cubicBezTo>
                <a:close/>
                <a:moveTo>
                  <a:pt x="529085" y="2526846"/>
                </a:moveTo>
                <a:lnTo>
                  <a:pt x="531666" y="2529634"/>
                </a:lnTo>
                <a:cubicBezTo>
                  <a:pt x="530737" y="2530253"/>
                  <a:pt x="529085" y="2531027"/>
                  <a:pt x="528259" y="2530098"/>
                </a:cubicBezTo>
                <a:cubicBezTo>
                  <a:pt x="527433" y="2529634"/>
                  <a:pt x="527433" y="2529169"/>
                  <a:pt x="527743" y="2528704"/>
                </a:cubicBezTo>
                <a:cubicBezTo>
                  <a:pt x="528053" y="2528239"/>
                  <a:pt x="528672" y="2527620"/>
                  <a:pt x="529085" y="2526846"/>
                </a:cubicBezTo>
                <a:close/>
                <a:moveTo>
                  <a:pt x="1053627" y="2526691"/>
                </a:moveTo>
                <a:cubicBezTo>
                  <a:pt x="1054556" y="2526846"/>
                  <a:pt x="1056001" y="2527620"/>
                  <a:pt x="1057137" y="2528550"/>
                </a:cubicBezTo>
                <a:lnTo>
                  <a:pt x="1058893" y="2531182"/>
                </a:lnTo>
                <a:lnTo>
                  <a:pt x="1059202" y="2530718"/>
                </a:lnTo>
                <a:cubicBezTo>
                  <a:pt x="1060855" y="2529788"/>
                  <a:pt x="1062610" y="2529169"/>
                  <a:pt x="1064262" y="2529169"/>
                </a:cubicBezTo>
                <a:lnTo>
                  <a:pt x="1066947" y="2530098"/>
                </a:lnTo>
                <a:lnTo>
                  <a:pt x="1067773" y="2528550"/>
                </a:lnTo>
                <a:cubicBezTo>
                  <a:pt x="1069631" y="2527155"/>
                  <a:pt x="1074175" y="2527775"/>
                  <a:pt x="1082538" y="2533041"/>
                </a:cubicBezTo>
                <a:cubicBezTo>
                  <a:pt x="1080267" y="2550699"/>
                  <a:pt x="1069838" y="2541715"/>
                  <a:pt x="1067257" y="2534436"/>
                </a:cubicBezTo>
                <a:lnTo>
                  <a:pt x="1066844" y="2532267"/>
                </a:lnTo>
                <a:lnTo>
                  <a:pt x="1060958" y="2535829"/>
                </a:lnTo>
                <a:cubicBezTo>
                  <a:pt x="1058170" y="2537378"/>
                  <a:pt x="1055279" y="2538618"/>
                  <a:pt x="1052284" y="2539237"/>
                </a:cubicBezTo>
                <a:cubicBezTo>
                  <a:pt x="1052801" y="2537688"/>
                  <a:pt x="1053730" y="2536140"/>
                  <a:pt x="1054866" y="2534590"/>
                </a:cubicBezTo>
                <a:lnTo>
                  <a:pt x="1058583" y="2531338"/>
                </a:lnTo>
                <a:lnTo>
                  <a:pt x="1054969" y="2530098"/>
                </a:lnTo>
                <a:cubicBezTo>
                  <a:pt x="1053007" y="2529788"/>
                  <a:pt x="1052697" y="2528859"/>
                  <a:pt x="1053627" y="2526691"/>
                </a:cubicBezTo>
                <a:close/>
                <a:moveTo>
                  <a:pt x="768949" y="2525141"/>
                </a:moveTo>
                <a:cubicBezTo>
                  <a:pt x="769775" y="2524677"/>
                  <a:pt x="770395" y="2524832"/>
                  <a:pt x="771118" y="2525607"/>
                </a:cubicBezTo>
                <a:cubicBezTo>
                  <a:pt x="771737" y="2526226"/>
                  <a:pt x="772357" y="2527310"/>
                  <a:pt x="773080" y="2528859"/>
                </a:cubicBezTo>
                <a:cubicBezTo>
                  <a:pt x="774525" y="2531647"/>
                  <a:pt x="775041" y="2535829"/>
                  <a:pt x="775351" y="2536914"/>
                </a:cubicBezTo>
                <a:cubicBezTo>
                  <a:pt x="775661" y="2538153"/>
                  <a:pt x="776384" y="2538618"/>
                  <a:pt x="776384" y="2538618"/>
                </a:cubicBezTo>
                <a:cubicBezTo>
                  <a:pt x="774835" y="2539547"/>
                  <a:pt x="769879" y="2528704"/>
                  <a:pt x="768536" y="2525761"/>
                </a:cubicBezTo>
                <a:cubicBezTo>
                  <a:pt x="768949" y="2525141"/>
                  <a:pt x="768949" y="2525141"/>
                  <a:pt x="768949" y="2525141"/>
                </a:cubicBezTo>
                <a:close/>
                <a:moveTo>
                  <a:pt x="1345222" y="2524057"/>
                </a:moveTo>
                <a:cubicBezTo>
                  <a:pt x="1345326" y="2523283"/>
                  <a:pt x="1346255" y="2523283"/>
                  <a:pt x="1346048" y="2524212"/>
                </a:cubicBezTo>
                <a:cubicBezTo>
                  <a:pt x="1347701" y="2524987"/>
                  <a:pt x="1345635" y="2526536"/>
                  <a:pt x="1344706" y="2527310"/>
                </a:cubicBezTo>
                <a:cubicBezTo>
                  <a:pt x="1344809" y="2526071"/>
                  <a:pt x="1344809" y="2525296"/>
                  <a:pt x="1344809" y="2524677"/>
                </a:cubicBezTo>
                <a:cubicBezTo>
                  <a:pt x="1344809" y="2524212"/>
                  <a:pt x="1344706" y="2524057"/>
                  <a:pt x="1345222" y="2524057"/>
                </a:cubicBezTo>
                <a:close/>
                <a:moveTo>
                  <a:pt x="1394062" y="2523283"/>
                </a:moveTo>
                <a:cubicBezTo>
                  <a:pt x="1394062" y="2523283"/>
                  <a:pt x="1394062" y="2524057"/>
                  <a:pt x="1394062" y="2524057"/>
                </a:cubicBezTo>
                <a:cubicBezTo>
                  <a:pt x="1393030" y="2524057"/>
                  <a:pt x="1392101" y="2524057"/>
                  <a:pt x="1392101" y="2523437"/>
                </a:cubicBezTo>
                <a:cubicBezTo>
                  <a:pt x="1392204" y="2522663"/>
                  <a:pt x="1393133" y="2522508"/>
                  <a:pt x="1394062" y="2523283"/>
                </a:cubicBezTo>
                <a:close/>
                <a:moveTo>
                  <a:pt x="1398193" y="2523128"/>
                </a:moveTo>
                <a:cubicBezTo>
                  <a:pt x="1399019" y="2523903"/>
                  <a:pt x="1399019" y="2523903"/>
                  <a:pt x="1399019" y="2525607"/>
                </a:cubicBezTo>
                <a:cubicBezTo>
                  <a:pt x="1396334" y="2524987"/>
                  <a:pt x="1396334" y="2524832"/>
                  <a:pt x="1394682" y="2523283"/>
                </a:cubicBezTo>
                <a:cubicBezTo>
                  <a:pt x="1395508" y="2523283"/>
                  <a:pt x="1397367" y="2522353"/>
                  <a:pt x="1398193" y="2523128"/>
                </a:cubicBezTo>
                <a:close/>
                <a:moveTo>
                  <a:pt x="1033492" y="2522973"/>
                </a:moveTo>
                <a:cubicBezTo>
                  <a:pt x="1034628" y="2522818"/>
                  <a:pt x="1035660" y="2522973"/>
                  <a:pt x="1036486" y="2523437"/>
                </a:cubicBezTo>
                <a:cubicBezTo>
                  <a:pt x="1037209" y="2523748"/>
                  <a:pt x="1037932" y="2524367"/>
                  <a:pt x="1038448" y="2525296"/>
                </a:cubicBezTo>
                <a:cubicBezTo>
                  <a:pt x="1038758" y="2526381"/>
                  <a:pt x="1037828" y="2527775"/>
                  <a:pt x="1035763" y="2529324"/>
                </a:cubicBezTo>
                <a:cubicBezTo>
                  <a:pt x="1033905" y="2529014"/>
                  <a:pt x="1032975" y="2525607"/>
                  <a:pt x="1031840" y="2523903"/>
                </a:cubicBezTo>
                <a:cubicBezTo>
                  <a:pt x="1033079" y="2523748"/>
                  <a:pt x="1034215" y="2523593"/>
                  <a:pt x="1033492" y="2522973"/>
                </a:cubicBezTo>
                <a:close/>
                <a:moveTo>
                  <a:pt x="692436" y="2522973"/>
                </a:moveTo>
                <a:cubicBezTo>
                  <a:pt x="694811" y="2522508"/>
                  <a:pt x="695534" y="2522973"/>
                  <a:pt x="696257" y="2523437"/>
                </a:cubicBezTo>
                <a:cubicBezTo>
                  <a:pt x="696257" y="2523437"/>
                  <a:pt x="695018" y="2523593"/>
                  <a:pt x="694605" y="2524367"/>
                </a:cubicBezTo>
                <a:cubicBezTo>
                  <a:pt x="694605" y="2524367"/>
                  <a:pt x="693469" y="2524522"/>
                  <a:pt x="692333" y="2524677"/>
                </a:cubicBezTo>
                <a:cubicBezTo>
                  <a:pt x="692333" y="2524677"/>
                  <a:pt x="691920" y="2525451"/>
                  <a:pt x="691507" y="2526071"/>
                </a:cubicBezTo>
                <a:cubicBezTo>
                  <a:pt x="688720" y="2527155"/>
                  <a:pt x="687067" y="2528084"/>
                  <a:pt x="684589" y="2525451"/>
                </a:cubicBezTo>
                <a:cubicBezTo>
                  <a:pt x="684795" y="2525141"/>
                  <a:pt x="685415" y="2524832"/>
                  <a:pt x="686241" y="2524677"/>
                </a:cubicBezTo>
                <a:cubicBezTo>
                  <a:pt x="687067" y="2524522"/>
                  <a:pt x="687893" y="2524367"/>
                  <a:pt x="688513" y="2524212"/>
                </a:cubicBezTo>
                <a:cubicBezTo>
                  <a:pt x="688926" y="2523593"/>
                  <a:pt x="690061" y="2523283"/>
                  <a:pt x="690784" y="2523748"/>
                </a:cubicBezTo>
                <a:cubicBezTo>
                  <a:pt x="690784" y="2523748"/>
                  <a:pt x="692023" y="2523593"/>
                  <a:pt x="692436" y="2522973"/>
                </a:cubicBezTo>
                <a:close/>
                <a:moveTo>
                  <a:pt x="706583" y="2522663"/>
                </a:moveTo>
                <a:cubicBezTo>
                  <a:pt x="710093" y="2523283"/>
                  <a:pt x="714843" y="2529014"/>
                  <a:pt x="715566" y="2531647"/>
                </a:cubicBezTo>
                <a:cubicBezTo>
                  <a:pt x="714017" y="2533971"/>
                  <a:pt x="712055" y="2534745"/>
                  <a:pt x="710196" y="2534745"/>
                </a:cubicBezTo>
                <a:cubicBezTo>
                  <a:pt x="707099" y="2534590"/>
                  <a:pt x="704208" y="2531802"/>
                  <a:pt x="703382" y="2528859"/>
                </a:cubicBezTo>
                <a:cubicBezTo>
                  <a:pt x="703175" y="2527930"/>
                  <a:pt x="703175" y="2526846"/>
                  <a:pt x="703485" y="2525916"/>
                </a:cubicBezTo>
                <a:cubicBezTo>
                  <a:pt x="703898" y="2524677"/>
                  <a:pt x="704827" y="2523437"/>
                  <a:pt x="706583" y="2522663"/>
                </a:cubicBezTo>
                <a:close/>
                <a:moveTo>
                  <a:pt x="1424110" y="2522508"/>
                </a:moveTo>
                <a:cubicBezTo>
                  <a:pt x="1426588" y="2526536"/>
                  <a:pt x="1428034" y="2529324"/>
                  <a:pt x="1428860" y="2532267"/>
                </a:cubicBezTo>
                <a:lnTo>
                  <a:pt x="1429169" y="2535984"/>
                </a:lnTo>
                <a:lnTo>
                  <a:pt x="1438050" y="2539857"/>
                </a:lnTo>
                <a:lnTo>
                  <a:pt x="1429583" y="2542645"/>
                </a:lnTo>
                <a:lnTo>
                  <a:pt x="1429686" y="2543110"/>
                </a:lnTo>
                <a:cubicBezTo>
                  <a:pt x="1424317" y="2547137"/>
                  <a:pt x="1418947" y="2548841"/>
                  <a:pt x="1413681" y="2549151"/>
                </a:cubicBezTo>
                <a:lnTo>
                  <a:pt x="1408622" y="2548841"/>
                </a:lnTo>
                <a:lnTo>
                  <a:pt x="1398193" y="2549770"/>
                </a:lnTo>
                <a:lnTo>
                  <a:pt x="1390758" y="2548066"/>
                </a:lnTo>
                <a:lnTo>
                  <a:pt x="1389932" y="2548221"/>
                </a:lnTo>
                <a:lnTo>
                  <a:pt x="1389726" y="2547911"/>
                </a:lnTo>
                <a:lnTo>
                  <a:pt x="1382704" y="2546363"/>
                </a:lnTo>
                <a:lnTo>
                  <a:pt x="1387351" y="2541715"/>
                </a:lnTo>
                <a:lnTo>
                  <a:pt x="1387351" y="2541096"/>
                </a:lnTo>
                <a:lnTo>
                  <a:pt x="1389313" y="2539857"/>
                </a:lnTo>
                <a:lnTo>
                  <a:pt x="1393649" y="2535365"/>
                </a:lnTo>
                <a:lnTo>
                  <a:pt x="1393649" y="2534281"/>
                </a:lnTo>
                <a:cubicBezTo>
                  <a:pt x="1395714" y="2524677"/>
                  <a:pt x="1414094" y="2525451"/>
                  <a:pt x="1424110" y="2522508"/>
                </a:cubicBezTo>
                <a:close/>
                <a:moveTo>
                  <a:pt x="1161323" y="2522199"/>
                </a:moveTo>
                <a:cubicBezTo>
                  <a:pt x="1161942" y="2524832"/>
                  <a:pt x="1162149" y="2526691"/>
                  <a:pt x="1162046" y="2529634"/>
                </a:cubicBezTo>
                <a:cubicBezTo>
                  <a:pt x="1162046" y="2529634"/>
                  <a:pt x="1160910" y="2534126"/>
                  <a:pt x="1157812" y="2533816"/>
                </a:cubicBezTo>
                <a:cubicBezTo>
                  <a:pt x="1157090" y="2534126"/>
                  <a:pt x="1155231" y="2531182"/>
                  <a:pt x="1155437" y="2530098"/>
                </a:cubicBezTo>
                <a:cubicBezTo>
                  <a:pt x="1156057" y="2527930"/>
                  <a:pt x="1156367" y="2526846"/>
                  <a:pt x="1157812" y="2526071"/>
                </a:cubicBezTo>
                <a:cubicBezTo>
                  <a:pt x="1158122" y="2524832"/>
                  <a:pt x="1158432" y="2523748"/>
                  <a:pt x="1158948" y="2522973"/>
                </a:cubicBezTo>
                <a:cubicBezTo>
                  <a:pt x="1159464" y="2522353"/>
                  <a:pt x="1160187" y="2521889"/>
                  <a:pt x="1161323" y="2522199"/>
                </a:cubicBezTo>
                <a:close/>
                <a:moveTo>
                  <a:pt x="1352037" y="2521424"/>
                </a:moveTo>
                <a:cubicBezTo>
                  <a:pt x="1355341" y="2519256"/>
                  <a:pt x="1360194" y="2521269"/>
                  <a:pt x="1361950" y="2524677"/>
                </a:cubicBezTo>
                <a:cubicBezTo>
                  <a:pt x="1362776" y="2526071"/>
                  <a:pt x="1362879" y="2527930"/>
                  <a:pt x="1362053" y="2529634"/>
                </a:cubicBezTo>
                <a:cubicBezTo>
                  <a:pt x="1356890" y="2529634"/>
                  <a:pt x="1351004" y="2530718"/>
                  <a:pt x="1349353" y="2524987"/>
                </a:cubicBezTo>
                <a:cubicBezTo>
                  <a:pt x="1349972" y="2523283"/>
                  <a:pt x="1350901" y="2522044"/>
                  <a:pt x="1352037" y="2521424"/>
                </a:cubicBezTo>
                <a:close/>
                <a:moveTo>
                  <a:pt x="672715" y="2520340"/>
                </a:moveTo>
                <a:cubicBezTo>
                  <a:pt x="674470" y="2519720"/>
                  <a:pt x="674470" y="2519720"/>
                  <a:pt x="675399" y="2520649"/>
                </a:cubicBezTo>
                <a:cubicBezTo>
                  <a:pt x="676328" y="2521579"/>
                  <a:pt x="675399" y="2524057"/>
                  <a:pt x="676225" y="2524987"/>
                </a:cubicBezTo>
                <a:cubicBezTo>
                  <a:pt x="676225" y="2524987"/>
                  <a:pt x="676225" y="2524987"/>
                  <a:pt x="674470" y="2525761"/>
                </a:cubicBezTo>
                <a:cubicBezTo>
                  <a:pt x="673541" y="2525607"/>
                  <a:pt x="672611" y="2525451"/>
                  <a:pt x="671682" y="2524522"/>
                </a:cubicBezTo>
                <a:cubicBezTo>
                  <a:pt x="670856" y="2523593"/>
                  <a:pt x="670856" y="2521889"/>
                  <a:pt x="670856" y="2520960"/>
                </a:cubicBezTo>
                <a:cubicBezTo>
                  <a:pt x="671785" y="2521114"/>
                  <a:pt x="671785" y="2520185"/>
                  <a:pt x="672715" y="2520340"/>
                </a:cubicBezTo>
                <a:close/>
                <a:moveTo>
                  <a:pt x="1367216" y="2520185"/>
                </a:moveTo>
                <a:cubicBezTo>
                  <a:pt x="1367216" y="2520185"/>
                  <a:pt x="1367216" y="2520185"/>
                  <a:pt x="1368042" y="2520960"/>
                </a:cubicBezTo>
                <a:cubicBezTo>
                  <a:pt x="1365461" y="2520960"/>
                  <a:pt x="1362156" y="2521269"/>
                  <a:pt x="1360504" y="2520495"/>
                </a:cubicBezTo>
                <a:cubicBezTo>
                  <a:pt x="1362156" y="2519565"/>
                  <a:pt x="1365667" y="2518636"/>
                  <a:pt x="1367216" y="2520185"/>
                </a:cubicBezTo>
                <a:close/>
                <a:moveTo>
                  <a:pt x="1050942" y="2518791"/>
                </a:moveTo>
                <a:cubicBezTo>
                  <a:pt x="1051665" y="2519720"/>
                  <a:pt x="1051458" y="2520495"/>
                  <a:pt x="1051355" y="2521424"/>
                </a:cubicBezTo>
                <a:cubicBezTo>
                  <a:pt x="1050323" y="2522199"/>
                  <a:pt x="1049496" y="2522044"/>
                  <a:pt x="1048464" y="2522818"/>
                </a:cubicBezTo>
                <a:cubicBezTo>
                  <a:pt x="1048361" y="2523748"/>
                  <a:pt x="1048051" y="2525296"/>
                  <a:pt x="1047122" y="2526071"/>
                </a:cubicBezTo>
                <a:lnTo>
                  <a:pt x="1046915" y="2526226"/>
                </a:lnTo>
                <a:lnTo>
                  <a:pt x="1046399" y="2528084"/>
                </a:lnTo>
                <a:lnTo>
                  <a:pt x="1047122" y="2527775"/>
                </a:lnTo>
                <a:cubicBezTo>
                  <a:pt x="1050735" y="2529324"/>
                  <a:pt x="1049909" y="2531492"/>
                  <a:pt x="1049909" y="2535210"/>
                </a:cubicBezTo>
                <a:cubicBezTo>
                  <a:pt x="1048774" y="2534745"/>
                  <a:pt x="1047534" y="2538153"/>
                  <a:pt x="1047122" y="2539237"/>
                </a:cubicBezTo>
                <a:lnTo>
                  <a:pt x="1046399" y="2539237"/>
                </a:lnTo>
                <a:lnTo>
                  <a:pt x="1047534" y="2544039"/>
                </a:lnTo>
                <a:cubicBezTo>
                  <a:pt x="1047534" y="2545588"/>
                  <a:pt x="1047225" y="2546827"/>
                  <a:pt x="1046605" y="2548066"/>
                </a:cubicBezTo>
                <a:lnTo>
                  <a:pt x="1045366" y="2549151"/>
                </a:lnTo>
                <a:lnTo>
                  <a:pt x="1047122" y="2549151"/>
                </a:lnTo>
                <a:lnTo>
                  <a:pt x="1052078" y="2549305"/>
                </a:lnTo>
                <a:lnTo>
                  <a:pt x="1053627" y="2549305"/>
                </a:lnTo>
                <a:lnTo>
                  <a:pt x="1053730" y="2549305"/>
                </a:lnTo>
                <a:lnTo>
                  <a:pt x="1054040" y="2549305"/>
                </a:lnTo>
                <a:cubicBezTo>
                  <a:pt x="1056208" y="2549770"/>
                  <a:pt x="1058170" y="2550854"/>
                  <a:pt x="1059719" y="2553023"/>
                </a:cubicBezTo>
                <a:lnTo>
                  <a:pt x="1054350" y="2554417"/>
                </a:lnTo>
                <a:lnTo>
                  <a:pt x="1054040" y="2555966"/>
                </a:lnTo>
                <a:cubicBezTo>
                  <a:pt x="1052801" y="2558135"/>
                  <a:pt x="1050426" y="2559684"/>
                  <a:pt x="1047431" y="2559528"/>
                </a:cubicBezTo>
                <a:lnTo>
                  <a:pt x="1046295" y="2556276"/>
                </a:lnTo>
                <a:lnTo>
                  <a:pt x="1040513" y="2556431"/>
                </a:lnTo>
                <a:cubicBezTo>
                  <a:pt x="1038035" y="2556276"/>
                  <a:pt x="1035454" y="2555502"/>
                  <a:pt x="1032562" y="2554417"/>
                </a:cubicBezTo>
                <a:lnTo>
                  <a:pt x="1031840" y="2552713"/>
                </a:lnTo>
                <a:lnTo>
                  <a:pt x="1031220" y="2552558"/>
                </a:lnTo>
                <a:cubicBezTo>
                  <a:pt x="1029774" y="2551939"/>
                  <a:pt x="1028432" y="2550545"/>
                  <a:pt x="1027503" y="2548531"/>
                </a:cubicBezTo>
                <a:cubicBezTo>
                  <a:pt x="1026987" y="2547292"/>
                  <a:pt x="1026470" y="2546052"/>
                  <a:pt x="1026367" y="2544659"/>
                </a:cubicBezTo>
                <a:cubicBezTo>
                  <a:pt x="1026057" y="2542800"/>
                  <a:pt x="1026264" y="2540786"/>
                  <a:pt x="1027399" y="2538927"/>
                </a:cubicBezTo>
                <a:lnTo>
                  <a:pt x="1028742" y="2537378"/>
                </a:lnTo>
                <a:lnTo>
                  <a:pt x="1028432" y="2534590"/>
                </a:lnTo>
                <a:cubicBezTo>
                  <a:pt x="1028432" y="2534590"/>
                  <a:pt x="1028432" y="2534590"/>
                  <a:pt x="1028949" y="2533506"/>
                </a:cubicBezTo>
                <a:lnTo>
                  <a:pt x="1029981" y="2536294"/>
                </a:lnTo>
                <a:lnTo>
                  <a:pt x="1033698" y="2534126"/>
                </a:lnTo>
                <a:cubicBezTo>
                  <a:pt x="1035350" y="2533041"/>
                  <a:pt x="1034937" y="2533661"/>
                  <a:pt x="1036176" y="2533351"/>
                </a:cubicBezTo>
                <a:cubicBezTo>
                  <a:pt x="1037312" y="2532886"/>
                  <a:pt x="1038964" y="2531802"/>
                  <a:pt x="1039377" y="2531027"/>
                </a:cubicBezTo>
                <a:lnTo>
                  <a:pt x="1039997" y="2531647"/>
                </a:lnTo>
                <a:lnTo>
                  <a:pt x="1041856" y="2529788"/>
                </a:lnTo>
                <a:lnTo>
                  <a:pt x="1043198" y="2528704"/>
                </a:lnTo>
                <a:lnTo>
                  <a:pt x="1042888" y="2528084"/>
                </a:lnTo>
                <a:cubicBezTo>
                  <a:pt x="1042785" y="2526846"/>
                  <a:pt x="1043301" y="2525607"/>
                  <a:pt x="1044333" y="2525141"/>
                </a:cubicBezTo>
                <a:lnTo>
                  <a:pt x="1045883" y="2525451"/>
                </a:lnTo>
                <a:lnTo>
                  <a:pt x="1046399" y="2525296"/>
                </a:lnTo>
                <a:cubicBezTo>
                  <a:pt x="1047328" y="2524522"/>
                  <a:pt x="1049806" y="2520495"/>
                  <a:pt x="1049084" y="2519565"/>
                </a:cubicBezTo>
                <a:cubicBezTo>
                  <a:pt x="1049909" y="2519565"/>
                  <a:pt x="1050942" y="2518791"/>
                  <a:pt x="1050942" y="2518791"/>
                </a:cubicBezTo>
                <a:close/>
                <a:moveTo>
                  <a:pt x="4875574" y="2518586"/>
                </a:moveTo>
                <a:cubicBezTo>
                  <a:pt x="4876428" y="2519154"/>
                  <a:pt x="4877282" y="2520578"/>
                  <a:pt x="4877922" y="2522285"/>
                </a:cubicBezTo>
                <a:cubicBezTo>
                  <a:pt x="4878562" y="2523992"/>
                  <a:pt x="4878989" y="2525983"/>
                  <a:pt x="4879415" y="2527549"/>
                </a:cubicBezTo>
                <a:cubicBezTo>
                  <a:pt x="4877708" y="2530821"/>
                  <a:pt x="4874080" y="2533097"/>
                  <a:pt x="4870025" y="2533809"/>
                </a:cubicBezTo>
                <a:cubicBezTo>
                  <a:pt x="4868531" y="2527549"/>
                  <a:pt x="4870665" y="2523138"/>
                  <a:pt x="4875574" y="2518586"/>
                </a:cubicBezTo>
                <a:close/>
                <a:moveTo>
                  <a:pt x="523613" y="2518171"/>
                </a:moveTo>
                <a:cubicBezTo>
                  <a:pt x="524335" y="2517862"/>
                  <a:pt x="524955" y="2517706"/>
                  <a:pt x="524955" y="2518171"/>
                </a:cubicBezTo>
                <a:cubicBezTo>
                  <a:pt x="525884" y="2519101"/>
                  <a:pt x="525884" y="2518171"/>
                  <a:pt x="526710" y="2518326"/>
                </a:cubicBezTo>
                <a:cubicBezTo>
                  <a:pt x="529292" y="2520960"/>
                  <a:pt x="530118" y="2523593"/>
                  <a:pt x="528362" y="2525916"/>
                </a:cubicBezTo>
                <a:cubicBezTo>
                  <a:pt x="526607" y="2527310"/>
                  <a:pt x="523922" y="2529634"/>
                  <a:pt x="521341" y="2527620"/>
                </a:cubicBezTo>
                <a:cubicBezTo>
                  <a:pt x="521341" y="2526846"/>
                  <a:pt x="520515" y="2526846"/>
                  <a:pt x="520515" y="2525916"/>
                </a:cubicBezTo>
                <a:cubicBezTo>
                  <a:pt x="520515" y="2525916"/>
                  <a:pt x="520102" y="2525141"/>
                  <a:pt x="519998" y="2523748"/>
                </a:cubicBezTo>
                <a:cubicBezTo>
                  <a:pt x="519895" y="2522508"/>
                  <a:pt x="520102" y="2520960"/>
                  <a:pt x="521444" y="2519410"/>
                </a:cubicBezTo>
                <a:cubicBezTo>
                  <a:pt x="521857" y="2519101"/>
                  <a:pt x="522786" y="2518481"/>
                  <a:pt x="523613" y="2518171"/>
                </a:cubicBezTo>
                <a:close/>
                <a:moveTo>
                  <a:pt x="5294944" y="2517874"/>
                </a:moveTo>
                <a:cubicBezTo>
                  <a:pt x="5298358" y="2517021"/>
                  <a:pt x="5302200" y="2516879"/>
                  <a:pt x="5304548" y="2517874"/>
                </a:cubicBezTo>
                <a:cubicBezTo>
                  <a:pt x="5296011" y="2527691"/>
                  <a:pt x="5289182" y="2520862"/>
                  <a:pt x="5284487" y="2526268"/>
                </a:cubicBezTo>
                <a:cubicBezTo>
                  <a:pt x="5283419" y="2523708"/>
                  <a:pt x="5283419" y="2523708"/>
                  <a:pt x="5284700" y="2521431"/>
                </a:cubicBezTo>
                <a:cubicBezTo>
                  <a:pt x="5285767" y="2521573"/>
                  <a:pt x="5285767" y="2520436"/>
                  <a:pt x="5286834" y="2521716"/>
                </a:cubicBezTo>
                <a:cubicBezTo>
                  <a:pt x="5288115" y="2520008"/>
                  <a:pt x="5291316" y="2518586"/>
                  <a:pt x="5294944" y="2517874"/>
                </a:cubicBezTo>
                <a:close/>
                <a:moveTo>
                  <a:pt x="1054969" y="2517862"/>
                </a:moveTo>
                <a:cubicBezTo>
                  <a:pt x="1056724" y="2517862"/>
                  <a:pt x="1058686" y="2518946"/>
                  <a:pt x="1060235" y="2521424"/>
                </a:cubicBezTo>
                <a:cubicBezTo>
                  <a:pt x="1058790" y="2522818"/>
                  <a:pt x="1057344" y="2523437"/>
                  <a:pt x="1055795" y="2523437"/>
                </a:cubicBezTo>
                <a:lnTo>
                  <a:pt x="1054660" y="2522818"/>
                </a:lnTo>
                <a:lnTo>
                  <a:pt x="1053833" y="2522508"/>
                </a:lnTo>
                <a:lnTo>
                  <a:pt x="1051562" y="2521579"/>
                </a:lnTo>
                <a:cubicBezTo>
                  <a:pt x="1051871" y="2519101"/>
                  <a:pt x="1053214" y="2517862"/>
                  <a:pt x="1054969" y="2517862"/>
                </a:cubicBezTo>
                <a:close/>
                <a:moveTo>
                  <a:pt x="1001689" y="2516313"/>
                </a:moveTo>
                <a:cubicBezTo>
                  <a:pt x="1005716" y="2521114"/>
                  <a:pt x="1007265" y="2525296"/>
                  <a:pt x="1001895" y="2530563"/>
                </a:cubicBezTo>
                <a:cubicBezTo>
                  <a:pt x="998488" y="2530253"/>
                  <a:pt x="997042" y="2527465"/>
                  <a:pt x="997249" y="2524212"/>
                </a:cubicBezTo>
                <a:cubicBezTo>
                  <a:pt x="997352" y="2521114"/>
                  <a:pt x="999004" y="2517706"/>
                  <a:pt x="1001689" y="2516313"/>
                </a:cubicBezTo>
                <a:close/>
                <a:moveTo>
                  <a:pt x="660376" y="2515538"/>
                </a:moveTo>
                <a:cubicBezTo>
                  <a:pt x="663551" y="2515887"/>
                  <a:pt x="666313" y="2517165"/>
                  <a:pt x="668068" y="2519720"/>
                </a:cubicBezTo>
                <a:cubicBezTo>
                  <a:pt x="655574" y="2519101"/>
                  <a:pt x="650411" y="2531182"/>
                  <a:pt x="636781" y="2528239"/>
                </a:cubicBezTo>
                <a:cubicBezTo>
                  <a:pt x="637401" y="2523748"/>
                  <a:pt x="643390" y="2519101"/>
                  <a:pt x="650205" y="2516932"/>
                </a:cubicBezTo>
                <a:cubicBezTo>
                  <a:pt x="653612" y="2515770"/>
                  <a:pt x="657200" y="2515190"/>
                  <a:pt x="660376" y="2515538"/>
                </a:cubicBezTo>
                <a:close/>
                <a:moveTo>
                  <a:pt x="1390965" y="2515383"/>
                </a:moveTo>
                <a:cubicBezTo>
                  <a:pt x="1392410" y="2517242"/>
                  <a:pt x="1392410" y="2519565"/>
                  <a:pt x="1391481" y="2521579"/>
                </a:cubicBezTo>
                <a:lnTo>
                  <a:pt x="1389623" y="2524212"/>
                </a:lnTo>
                <a:lnTo>
                  <a:pt x="1389519" y="2524212"/>
                </a:lnTo>
                <a:lnTo>
                  <a:pt x="1386834" y="2525607"/>
                </a:lnTo>
                <a:cubicBezTo>
                  <a:pt x="1385595" y="2525761"/>
                  <a:pt x="1384253" y="2525451"/>
                  <a:pt x="1383014" y="2524212"/>
                </a:cubicBezTo>
                <a:lnTo>
                  <a:pt x="1383014" y="2523283"/>
                </a:lnTo>
                <a:lnTo>
                  <a:pt x="1380536" y="2523128"/>
                </a:lnTo>
                <a:cubicBezTo>
                  <a:pt x="1378058" y="2522973"/>
                  <a:pt x="1375683" y="2522663"/>
                  <a:pt x="1373928" y="2521579"/>
                </a:cubicBezTo>
                <a:cubicBezTo>
                  <a:pt x="1374857" y="2521579"/>
                  <a:pt x="1377645" y="2521579"/>
                  <a:pt x="1380639" y="2521889"/>
                </a:cubicBezTo>
                <a:lnTo>
                  <a:pt x="1383014" y="2522199"/>
                </a:lnTo>
                <a:lnTo>
                  <a:pt x="1383117" y="2521114"/>
                </a:lnTo>
                <a:cubicBezTo>
                  <a:pt x="1384253" y="2518636"/>
                  <a:pt x="1387970" y="2518016"/>
                  <a:pt x="1390965" y="2515383"/>
                </a:cubicBezTo>
                <a:close/>
                <a:moveTo>
                  <a:pt x="1024612" y="2514299"/>
                </a:moveTo>
                <a:cubicBezTo>
                  <a:pt x="1025541" y="2518636"/>
                  <a:pt x="1028535" y="2523903"/>
                  <a:pt x="1027503" y="2527775"/>
                </a:cubicBezTo>
                <a:cubicBezTo>
                  <a:pt x="1026883" y="2526226"/>
                  <a:pt x="1024096" y="2517242"/>
                  <a:pt x="1024612" y="2514299"/>
                </a:cubicBezTo>
                <a:close/>
                <a:moveTo>
                  <a:pt x="565844" y="2513834"/>
                </a:moveTo>
                <a:cubicBezTo>
                  <a:pt x="566774" y="2514764"/>
                  <a:pt x="569355" y="2515074"/>
                  <a:pt x="571214" y="2516003"/>
                </a:cubicBezTo>
                <a:cubicBezTo>
                  <a:pt x="571214" y="2516778"/>
                  <a:pt x="572143" y="2517706"/>
                  <a:pt x="572143" y="2518481"/>
                </a:cubicBezTo>
                <a:cubicBezTo>
                  <a:pt x="571214" y="2518481"/>
                  <a:pt x="569355" y="2518946"/>
                  <a:pt x="569355" y="2518171"/>
                </a:cubicBezTo>
                <a:cubicBezTo>
                  <a:pt x="568529" y="2518171"/>
                  <a:pt x="568529" y="2516467"/>
                  <a:pt x="568529" y="2516467"/>
                </a:cubicBezTo>
                <a:cubicBezTo>
                  <a:pt x="567599" y="2516467"/>
                  <a:pt x="566670" y="2516313"/>
                  <a:pt x="565741" y="2515383"/>
                </a:cubicBezTo>
                <a:cubicBezTo>
                  <a:pt x="566670" y="2514764"/>
                  <a:pt x="565844" y="2514609"/>
                  <a:pt x="565844" y="2513834"/>
                </a:cubicBezTo>
                <a:close/>
                <a:moveTo>
                  <a:pt x="5312444" y="2512468"/>
                </a:moveTo>
                <a:cubicBezTo>
                  <a:pt x="5312871" y="2512326"/>
                  <a:pt x="5313298" y="2512468"/>
                  <a:pt x="5313938" y="2513180"/>
                </a:cubicBezTo>
                <a:cubicBezTo>
                  <a:pt x="5312658" y="2514318"/>
                  <a:pt x="5310310" y="2515314"/>
                  <a:pt x="5309243" y="2516309"/>
                </a:cubicBezTo>
                <a:cubicBezTo>
                  <a:pt x="5309243" y="2516309"/>
                  <a:pt x="5309029" y="2516309"/>
                  <a:pt x="5307962" y="2514887"/>
                </a:cubicBezTo>
                <a:cubicBezTo>
                  <a:pt x="5309670" y="2515171"/>
                  <a:pt x="5310950" y="2512610"/>
                  <a:pt x="5312444" y="2512468"/>
                </a:cubicBezTo>
                <a:close/>
                <a:moveTo>
                  <a:pt x="1280248" y="2512440"/>
                </a:moveTo>
                <a:cubicBezTo>
                  <a:pt x="1281591" y="2511627"/>
                  <a:pt x="1283010" y="2511279"/>
                  <a:pt x="1284611" y="2512595"/>
                </a:cubicBezTo>
                <a:cubicBezTo>
                  <a:pt x="1280067" y="2521734"/>
                  <a:pt x="1289258" y="2529324"/>
                  <a:pt x="1286676" y="2536294"/>
                </a:cubicBezTo>
                <a:lnTo>
                  <a:pt x="1284817" y="2539237"/>
                </a:lnTo>
                <a:lnTo>
                  <a:pt x="1286366" y="2540631"/>
                </a:lnTo>
                <a:cubicBezTo>
                  <a:pt x="1287399" y="2541251"/>
                  <a:pt x="1288535" y="2541715"/>
                  <a:pt x="1289258" y="2542490"/>
                </a:cubicBezTo>
                <a:cubicBezTo>
                  <a:pt x="1289980" y="2543110"/>
                  <a:pt x="1290290" y="2544039"/>
                  <a:pt x="1289774" y="2545123"/>
                </a:cubicBezTo>
                <a:cubicBezTo>
                  <a:pt x="1286986" y="2544814"/>
                  <a:pt x="1285127" y="2544504"/>
                  <a:pt x="1282030" y="2543574"/>
                </a:cubicBezTo>
                <a:cubicBezTo>
                  <a:pt x="1282030" y="2543574"/>
                  <a:pt x="1281823" y="2543264"/>
                  <a:pt x="1281410" y="2543110"/>
                </a:cubicBezTo>
                <a:lnTo>
                  <a:pt x="1280894" y="2542645"/>
                </a:lnTo>
                <a:lnTo>
                  <a:pt x="1278002" y="2545588"/>
                </a:lnTo>
                <a:cubicBezTo>
                  <a:pt x="1274182" y="2546827"/>
                  <a:pt x="1270774" y="2540012"/>
                  <a:pt x="1267677" y="2536914"/>
                </a:cubicBezTo>
                <a:cubicBezTo>
                  <a:pt x="1269535" y="2533506"/>
                  <a:pt x="1270465" y="2532577"/>
                  <a:pt x="1273975" y="2530718"/>
                </a:cubicBezTo>
                <a:cubicBezTo>
                  <a:pt x="1276454" y="2531802"/>
                  <a:pt x="1278106" y="2533506"/>
                  <a:pt x="1279345" y="2535365"/>
                </a:cubicBezTo>
                <a:lnTo>
                  <a:pt x="1280171" y="2537224"/>
                </a:lnTo>
                <a:lnTo>
                  <a:pt x="1282442" y="2537224"/>
                </a:lnTo>
                <a:lnTo>
                  <a:pt x="1284611" y="2539082"/>
                </a:lnTo>
                <a:lnTo>
                  <a:pt x="1278209" y="2529014"/>
                </a:lnTo>
                <a:cubicBezTo>
                  <a:pt x="1277280" y="2527155"/>
                  <a:pt x="1276660" y="2525141"/>
                  <a:pt x="1276247" y="2522818"/>
                </a:cubicBezTo>
                <a:cubicBezTo>
                  <a:pt x="1275937" y="2520495"/>
                  <a:pt x="1275834" y="2518016"/>
                  <a:pt x="1276350" y="2515074"/>
                </a:cubicBezTo>
                <a:cubicBezTo>
                  <a:pt x="1277641" y="2514531"/>
                  <a:pt x="1278906" y="2513253"/>
                  <a:pt x="1280248" y="2512440"/>
                </a:cubicBezTo>
                <a:close/>
                <a:moveTo>
                  <a:pt x="1024818" y="2512285"/>
                </a:moveTo>
                <a:cubicBezTo>
                  <a:pt x="1024405" y="2513370"/>
                  <a:pt x="1024405" y="2513370"/>
                  <a:pt x="1024818" y="2514299"/>
                </a:cubicBezTo>
                <a:cubicBezTo>
                  <a:pt x="1024818" y="2514299"/>
                  <a:pt x="1023683" y="2513679"/>
                  <a:pt x="1023683" y="2513679"/>
                </a:cubicBezTo>
                <a:cubicBezTo>
                  <a:pt x="1024096" y="2512595"/>
                  <a:pt x="1023269" y="2512750"/>
                  <a:pt x="1024818" y="2512285"/>
                </a:cubicBezTo>
                <a:close/>
                <a:moveTo>
                  <a:pt x="810252" y="2510116"/>
                </a:moveTo>
                <a:cubicBezTo>
                  <a:pt x="813453" y="2513060"/>
                  <a:pt x="814279" y="2515693"/>
                  <a:pt x="814072" y="2518171"/>
                </a:cubicBezTo>
                <a:lnTo>
                  <a:pt x="811697" y="2524832"/>
                </a:lnTo>
                <a:lnTo>
                  <a:pt x="814279" y="2528084"/>
                </a:lnTo>
                <a:cubicBezTo>
                  <a:pt x="811800" y="2528550"/>
                  <a:pt x="812730" y="2533816"/>
                  <a:pt x="809116" y="2534436"/>
                </a:cubicBezTo>
                <a:cubicBezTo>
                  <a:pt x="798687" y="2537378"/>
                  <a:pt x="797241" y="2534590"/>
                  <a:pt x="793215" y="2529014"/>
                </a:cubicBezTo>
                <a:cubicBezTo>
                  <a:pt x="793937" y="2529479"/>
                  <a:pt x="793627" y="2528395"/>
                  <a:pt x="793627" y="2528395"/>
                </a:cubicBezTo>
                <a:cubicBezTo>
                  <a:pt x="793008" y="2526071"/>
                  <a:pt x="789600" y="2529634"/>
                  <a:pt x="788155" y="2526846"/>
                </a:cubicBezTo>
                <a:cubicBezTo>
                  <a:pt x="787742" y="2525607"/>
                  <a:pt x="787742" y="2524522"/>
                  <a:pt x="787949" y="2523437"/>
                </a:cubicBezTo>
                <a:cubicBezTo>
                  <a:pt x="788568" y="2520185"/>
                  <a:pt x="791459" y="2517552"/>
                  <a:pt x="793318" y="2516003"/>
                </a:cubicBezTo>
                <a:lnTo>
                  <a:pt x="793834" y="2515693"/>
                </a:lnTo>
                <a:lnTo>
                  <a:pt x="794247" y="2514609"/>
                </a:lnTo>
                <a:lnTo>
                  <a:pt x="793937" y="2514454"/>
                </a:lnTo>
                <a:lnTo>
                  <a:pt x="794350" y="2514299"/>
                </a:lnTo>
                <a:lnTo>
                  <a:pt x="795073" y="2512440"/>
                </a:lnTo>
                <a:lnTo>
                  <a:pt x="796519" y="2513060"/>
                </a:lnTo>
                <a:lnTo>
                  <a:pt x="799100" y="2512285"/>
                </a:lnTo>
                <a:cubicBezTo>
                  <a:pt x="800029" y="2512285"/>
                  <a:pt x="800546" y="2512595"/>
                  <a:pt x="800856" y="2513834"/>
                </a:cubicBezTo>
                <a:cubicBezTo>
                  <a:pt x="801992" y="2515383"/>
                  <a:pt x="800339" y="2516313"/>
                  <a:pt x="800959" y="2518636"/>
                </a:cubicBezTo>
                <a:cubicBezTo>
                  <a:pt x="801785" y="2520649"/>
                  <a:pt x="804263" y="2520960"/>
                  <a:pt x="806948" y="2521889"/>
                </a:cubicBezTo>
                <a:lnTo>
                  <a:pt x="809942" y="2523437"/>
                </a:lnTo>
                <a:lnTo>
                  <a:pt x="809116" y="2522508"/>
                </a:lnTo>
                <a:cubicBezTo>
                  <a:pt x="807051" y="2518791"/>
                  <a:pt x="806018" y="2513060"/>
                  <a:pt x="810252" y="2510116"/>
                </a:cubicBezTo>
                <a:close/>
                <a:moveTo>
                  <a:pt x="1307018" y="2509962"/>
                </a:moveTo>
                <a:cubicBezTo>
                  <a:pt x="1307018" y="2511511"/>
                  <a:pt x="1306604" y="2513215"/>
                  <a:pt x="1305778" y="2514918"/>
                </a:cubicBezTo>
                <a:lnTo>
                  <a:pt x="1304126" y="2517706"/>
                </a:lnTo>
                <a:lnTo>
                  <a:pt x="1305985" y="2517706"/>
                </a:lnTo>
                <a:lnTo>
                  <a:pt x="1306192" y="2517552"/>
                </a:lnTo>
                <a:lnTo>
                  <a:pt x="1307740" y="2517862"/>
                </a:lnTo>
                <a:lnTo>
                  <a:pt x="1309083" y="2518016"/>
                </a:lnTo>
                <a:cubicBezTo>
                  <a:pt x="1316104" y="2519565"/>
                  <a:pt x="1323126" y="2524057"/>
                  <a:pt x="1332419" y="2526226"/>
                </a:cubicBezTo>
                <a:cubicBezTo>
                  <a:pt x="1330353" y="2527465"/>
                  <a:pt x="1328908" y="2529014"/>
                  <a:pt x="1327772" y="2530563"/>
                </a:cubicBezTo>
                <a:lnTo>
                  <a:pt x="1327462" y="2531492"/>
                </a:lnTo>
                <a:lnTo>
                  <a:pt x="1328495" y="2532731"/>
                </a:lnTo>
                <a:cubicBezTo>
                  <a:pt x="1329528" y="2535210"/>
                  <a:pt x="1328392" y="2538308"/>
                  <a:pt x="1326326" y="2540321"/>
                </a:cubicBezTo>
                <a:lnTo>
                  <a:pt x="1325913" y="2540476"/>
                </a:lnTo>
                <a:lnTo>
                  <a:pt x="1328804" y="2542025"/>
                </a:lnTo>
                <a:cubicBezTo>
                  <a:pt x="1329837" y="2542645"/>
                  <a:pt x="1330560" y="2543419"/>
                  <a:pt x="1330353" y="2544349"/>
                </a:cubicBezTo>
                <a:cubicBezTo>
                  <a:pt x="1329218" y="2547292"/>
                  <a:pt x="1325913" y="2547602"/>
                  <a:pt x="1322506" y="2547292"/>
                </a:cubicBezTo>
                <a:lnTo>
                  <a:pt x="1321990" y="2547292"/>
                </a:lnTo>
                <a:lnTo>
                  <a:pt x="1319925" y="2549925"/>
                </a:lnTo>
                <a:cubicBezTo>
                  <a:pt x="1318995" y="2550699"/>
                  <a:pt x="1317963" y="2551474"/>
                  <a:pt x="1316517" y="2552094"/>
                </a:cubicBezTo>
                <a:lnTo>
                  <a:pt x="1311870" y="2552868"/>
                </a:lnTo>
                <a:lnTo>
                  <a:pt x="1311148" y="2554882"/>
                </a:lnTo>
                <a:cubicBezTo>
                  <a:pt x="1301855" y="2556121"/>
                  <a:pt x="1298757" y="2553798"/>
                  <a:pt x="1298964" y="2550545"/>
                </a:cubicBezTo>
                <a:lnTo>
                  <a:pt x="1299170" y="2550080"/>
                </a:lnTo>
                <a:lnTo>
                  <a:pt x="1294937" y="2546827"/>
                </a:lnTo>
                <a:cubicBezTo>
                  <a:pt x="1291426" y="2543110"/>
                  <a:pt x="1289051" y="2538153"/>
                  <a:pt x="1288638" y="2533506"/>
                </a:cubicBezTo>
                <a:cubicBezTo>
                  <a:pt x="1288122" y="2528239"/>
                  <a:pt x="1289980" y="2523128"/>
                  <a:pt x="1295350" y="2520030"/>
                </a:cubicBezTo>
                <a:lnTo>
                  <a:pt x="1295453" y="2520030"/>
                </a:lnTo>
                <a:lnTo>
                  <a:pt x="1299583" y="2515693"/>
                </a:lnTo>
                <a:cubicBezTo>
                  <a:pt x="1301855" y="2513524"/>
                  <a:pt x="1304230" y="2511356"/>
                  <a:pt x="1307018" y="2509962"/>
                </a:cubicBezTo>
                <a:close/>
                <a:moveTo>
                  <a:pt x="574208" y="2509962"/>
                </a:moveTo>
                <a:cubicBezTo>
                  <a:pt x="574621" y="2509807"/>
                  <a:pt x="575034" y="2510116"/>
                  <a:pt x="575447" y="2510581"/>
                </a:cubicBezTo>
                <a:cubicBezTo>
                  <a:pt x="575447" y="2510581"/>
                  <a:pt x="576377" y="2511511"/>
                  <a:pt x="577203" y="2512440"/>
                </a:cubicBezTo>
                <a:cubicBezTo>
                  <a:pt x="578028" y="2513370"/>
                  <a:pt x="578855" y="2513524"/>
                  <a:pt x="578855" y="2513524"/>
                </a:cubicBezTo>
                <a:cubicBezTo>
                  <a:pt x="579681" y="2514454"/>
                  <a:pt x="579784" y="2515383"/>
                  <a:pt x="578855" y="2516158"/>
                </a:cubicBezTo>
                <a:cubicBezTo>
                  <a:pt x="578855" y="2516158"/>
                  <a:pt x="577099" y="2515074"/>
                  <a:pt x="577099" y="2515074"/>
                </a:cubicBezTo>
                <a:cubicBezTo>
                  <a:pt x="575447" y="2513215"/>
                  <a:pt x="574518" y="2512130"/>
                  <a:pt x="572762" y="2511046"/>
                </a:cubicBezTo>
                <a:cubicBezTo>
                  <a:pt x="573279" y="2510272"/>
                  <a:pt x="573692" y="2509962"/>
                  <a:pt x="574208" y="2509962"/>
                </a:cubicBezTo>
                <a:close/>
                <a:moveTo>
                  <a:pt x="735185" y="2509187"/>
                </a:moveTo>
                <a:cubicBezTo>
                  <a:pt x="737353" y="2514454"/>
                  <a:pt x="741277" y="2520185"/>
                  <a:pt x="741587" y="2526071"/>
                </a:cubicBezTo>
                <a:cubicBezTo>
                  <a:pt x="737146" y="2524057"/>
                  <a:pt x="732087" y="2518171"/>
                  <a:pt x="732603" y="2513370"/>
                </a:cubicBezTo>
                <a:cubicBezTo>
                  <a:pt x="732706" y="2511820"/>
                  <a:pt x="733532" y="2510426"/>
                  <a:pt x="735185" y="2509187"/>
                </a:cubicBezTo>
                <a:close/>
                <a:moveTo>
                  <a:pt x="966543" y="2508800"/>
                </a:moveTo>
                <a:cubicBezTo>
                  <a:pt x="971022" y="2507406"/>
                  <a:pt x="975358" y="2508103"/>
                  <a:pt x="976391" y="2512130"/>
                </a:cubicBezTo>
                <a:cubicBezTo>
                  <a:pt x="976701" y="2513370"/>
                  <a:pt x="976598" y="2514609"/>
                  <a:pt x="976288" y="2516467"/>
                </a:cubicBezTo>
                <a:lnTo>
                  <a:pt x="972054" y="2518326"/>
                </a:lnTo>
                <a:lnTo>
                  <a:pt x="973190" y="2518481"/>
                </a:lnTo>
                <a:cubicBezTo>
                  <a:pt x="979489" y="2527775"/>
                  <a:pt x="985684" y="2527155"/>
                  <a:pt x="991466" y="2531492"/>
                </a:cubicBezTo>
                <a:cubicBezTo>
                  <a:pt x="998281" y="2545123"/>
                  <a:pt x="1002721" y="2565105"/>
                  <a:pt x="991879" y="2577497"/>
                </a:cubicBezTo>
                <a:cubicBezTo>
                  <a:pt x="983000" y="2587565"/>
                  <a:pt x="971848" y="2584157"/>
                  <a:pt x="959044" y="2587874"/>
                </a:cubicBezTo>
                <a:cubicBezTo>
                  <a:pt x="952849" y="2578426"/>
                  <a:pt x="946550" y="2579975"/>
                  <a:pt x="940458" y="2578116"/>
                </a:cubicBezTo>
                <a:cubicBezTo>
                  <a:pt x="939426" y="2570371"/>
                  <a:pt x="932197" y="2562471"/>
                  <a:pt x="928480" y="2554417"/>
                </a:cubicBezTo>
                <a:cubicBezTo>
                  <a:pt x="930649" y="2549770"/>
                  <a:pt x="931888" y="2545123"/>
                  <a:pt x="933230" y="2540631"/>
                </a:cubicBezTo>
                <a:lnTo>
                  <a:pt x="935811" y="2533196"/>
                </a:lnTo>
                <a:lnTo>
                  <a:pt x="932507" y="2531492"/>
                </a:lnTo>
                <a:lnTo>
                  <a:pt x="937051" y="2529479"/>
                </a:lnTo>
                <a:lnTo>
                  <a:pt x="937980" y="2526846"/>
                </a:lnTo>
                <a:cubicBezTo>
                  <a:pt x="943762" y="2526536"/>
                  <a:pt x="949338" y="2523128"/>
                  <a:pt x="955120" y="2520340"/>
                </a:cubicBezTo>
                <a:lnTo>
                  <a:pt x="957908" y="2519410"/>
                </a:lnTo>
                <a:lnTo>
                  <a:pt x="955843" y="2518016"/>
                </a:lnTo>
                <a:cubicBezTo>
                  <a:pt x="957444" y="2513679"/>
                  <a:pt x="962064" y="2510194"/>
                  <a:pt x="966543" y="2508800"/>
                </a:cubicBezTo>
                <a:close/>
                <a:moveTo>
                  <a:pt x="6109567" y="2508627"/>
                </a:moveTo>
                <a:cubicBezTo>
                  <a:pt x="6108287" y="2508342"/>
                  <a:pt x="6107219" y="2508485"/>
                  <a:pt x="6106793" y="2509338"/>
                </a:cubicBezTo>
                <a:lnTo>
                  <a:pt x="6107601" y="2510631"/>
                </a:lnTo>
                <a:lnTo>
                  <a:pt x="6113930" y="2510289"/>
                </a:lnTo>
                <a:close/>
                <a:moveTo>
                  <a:pt x="1023063" y="2508258"/>
                </a:moveTo>
                <a:cubicBezTo>
                  <a:pt x="1023476" y="2509187"/>
                  <a:pt x="1023786" y="2509962"/>
                  <a:pt x="1023063" y="2510272"/>
                </a:cubicBezTo>
                <a:cubicBezTo>
                  <a:pt x="1022753" y="2510272"/>
                  <a:pt x="1022443" y="2510116"/>
                  <a:pt x="1022340" y="2509807"/>
                </a:cubicBezTo>
                <a:cubicBezTo>
                  <a:pt x="1022133" y="2509497"/>
                  <a:pt x="1022237" y="2509032"/>
                  <a:pt x="1022340" y="2508413"/>
                </a:cubicBezTo>
                <a:cubicBezTo>
                  <a:pt x="1022340" y="2508413"/>
                  <a:pt x="1023063" y="2508258"/>
                  <a:pt x="1023063" y="2508258"/>
                </a:cubicBezTo>
                <a:close/>
                <a:moveTo>
                  <a:pt x="1079854" y="2506245"/>
                </a:moveTo>
                <a:cubicBezTo>
                  <a:pt x="1080164" y="2506089"/>
                  <a:pt x="1080576" y="2506089"/>
                  <a:pt x="1080887" y="2506554"/>
                </a:cubicBezTo>
                <a:cubicBezTo>
                  <a:pt x="1080887" y="2506554"/>
                  <a:pt x="1080887" y="2506554"/>
                  <a:pt x="1080783" y="2507329"/>
                </a:cubicBezTo>
                <a:cubicBezTo>
                  <a:pt x="1080783" y="2507329"/>
                  <a:pt x="1080060" y="2507329"/>
                  <a:pt x="1079338" y="2506399"/>
                </a:cubicBezTo>
                <a:cubicBezTo>
                  <a:pt x="1079338" y="2506399"/>
                  <a:pt x="1079544" y="2506245"/>
                  <a:pt x="1079854" y="2506245"/>
                </a:cubicBezTo>
                <a:close/>
                <a:moveTo>
                  <a:pt x="641634" y="2506245"/>
                </a:moveTo>
                <a:cubicBezTo>
                  <a:pt x="642460" y="2505470"/>
                  <a:pt x="644216" y="2505625"/>
                  <a:pt x="646797" y="2506864"/>
                </a:cubicBezTo>
                <a:cubicBezTo>
                  <a:pt x="647624" y="2508568"/>
                  <a:pt x="645042" y="2510736"/>
                  <a:pt x="644113" y="2512285"/>
                </a:cubicBezTo>
                <a:cubicBezTo>
                  <a:pt x="643287" y="2511356"/>
                  <a:pt x="642357" y="2510426"/>
                  <a:pt x="642357" y="2511356"/>
                </a:cubicBezTo>
                <a:cubicBezTo>
                  <a:pt x="641531" y="2510426"/>
                  <a:pt x="641118" y="2509497"/>
                  <a:pt x="641015" y="2508723"/>
                </a:cubicBezTo>
                <a:cubicBezTo>
                  <a:pt x="640912" y="2507948"/>
                  <a:pt x="641118" y="2507019"/>
                  <a:pt x="641634" y="2506245"/>
                </a:cubicBezTo>
                <a:close/>
                <a:moveTo>
                  <a:pt x="895438" y="2505935"/>
                </a:moveTo>
                <a:cubicBezTo>
                  <a:pt x="903389" y="2506399"/>
                  <a:pt x="907829" y="2517087"/>
                  <a:pt x="907313" y="2522818"/>
                </a:cubicBezTo>
                <a:lnTo>
                  <a:pt x="903079" y="2525296"/>
                </a:lnTo>
                <a:lnTo>
                  <a:pt x="904938" y="2528859"/>
                </a:lnTo>
                <a:lnTo>
                  <a:pt x="905351" y="2531802"/>
                </a:lnTo>
                <a:lnTo>
                  <a:pt x="909378" y="2531647"/>
                </a:lnTo>
                <a:cubicBezTo>
                  <a:pt x="909688" y="2532886"/>
                  <a:pt x="909584" y="2534745"/>
                  <a:pt x="908861" y="2536759"/>
                </a:cubicBezTo>
                <a:lnTo>
                  <a:pt x="905557" y="2540631"/>
                </a:lnTo>
                <a:lnTo>
                  <a:pt x="912475" y="2541560"/>
                </a:lnTo>
                <a:cubicBezTo>
                  <a:pt x="915160" y="2542645"/>
                  <a:pt x="917432" y="2544194"/>
                  <a:pt x="919394" y="2546207"/>
                </a:cubicBezTo>
                <a:cubicBezTo>
                  <a:pt x="925589" y="2552558"/>
                  <a:pt x="926828" y="2563401"/>
                  <a:pt x="921562" y="2572695"/>
                </a:cubicBezTo>
                <a:cubicBezTo>
                  <a:pt x="920426" y="2572695"/>
                  <a:pt x="919187" y="2572540"/>
                  <a:pt x="918981" y="2573779"/>
                </a:cubicBezTo>
                <a:cubicBezTo>
                  <a:pt x="907003" y="2573779"/>
                  <a:pt x="898226" y="2562007"/>
                  <a:pt x="898949" y="2550854"/>
                </a:cubicBezTo>
                <a:cubicBezTo>
                  <a:pt x="899052" y="2548995"/>
                  <a:pt x="899465" y="2547137"/>
                  <a:pt x="900188" y="2545433"/>
                </a:cubicBezTo>
                <a:lnTo>
                  <a:pt x="902150" y="2542025"/>
                </a:lnTo>
                <a:lnTo>
                  <a:pt x="900291" y="2542955"/>
                </a:lnTo>
                <a:lnTo>
                  <a:pt x="900085" y="2543574"/>
                </a:lnTo>
                <a:lnTo>
                  <a:pt x="892857" y="2552094"/>
                </a:lnTo>
                <a:lnTo>
                  <a:pt x="895335" y="2556121"/>
                </a:lnTo>
                <a:cubicBezTo>
                  <a:pt x="897090" y="2560613"/>
                  <a:pt x="896987" y="2565879"/>
                  <a:pt x="893167" y="2568667"/>
                </a:cubicBezTo>
                <a:cubicBezTo>
                  <a:pt x="892031" y="2566035"/>
                  <a:pt x="891101" y="2563401"/>
                  <a:pt x="889759" y="2560613"/>
                </a:cubicBezTo>
                <a:lnTo>
                  <a:pt x="884390" y="2553023"/>
                </a:lnTo>
                <a:lnTo>
                  <a:pt x="882015" y="2552403"/>
                </a:lnTo>
                <a:cubicBezTo>
                  <a:pt x="879847" y="2551319"/>
                  <a:pt x="877678" y="2549615"/>
                  <a:pt x="875303" y="2546982"/>
                </a:cubicBezTo>
                <a:cubicBezTo>
                  <a:pt x="876129" y="2544194"/>
                  <a:pt x="876749" y="2540786"/>
                  <a:pt x="877678" y="2537378"/>
                </a:cubicBezTo>
                <a:lnTo>
                  <a:pt x="878401" y="2535365"/>
                </a:lnTo>
                <a:lnTo>
                  <a:pt x="875923" y="2537224"/>
                </a:lnTo>
                <a:cubicBezTo>
                  <a:pt x="871483" y="2539547"/>
                  <a:pt x="866320" y="2540786"/>
                  <a:pt x="861054" y="2540476"/>
                </a:cubicBezTo>
                <a:cubicBezTo>
                  <a:pt x="860847" y="2539237"/>
                  <a:pt x="860641" y="2538153"/>
                  <a:pt x="859402" y="2538463"/>
                </a:cubicBezTo>
                <a:cubicBezTo>
                  <a:pt x="858886" y="2536604"/>
                  <a:pt x="858679" y="2534745"/>
                  <a:pt x="858782" y="2532886"/>
                </a:cubicBezTo>
                <a:cubicBezTo>
                  <a:pt x="859608" y="2519720"/>
                  <a:pt x="874994" y="2506245"/>
                  <a:pt x="888004" y="2509807"/>
                </a:cubicBezTo>
                <a:cubicBezTo>
                  <a:pt x="889140" y="2512905"/>
                  <a:pt x="889449" y="2515848"/>
                  <a:pt x="889140" y="2518791"/>
                </a:cubicBezTo>
                <a:lnTo>
                  <a:pt x="889036" y="2518946"/>
                </a:lnTo>
                <a:lnTo>
                  <a:pt x="891101" y="2519256"/>
                </a:lnTo>
                <a:lnTo>
                  <a:pt x="892650" y="2518946"/>
                </a:lnTo>
                <a:lnTo>
                  <a:pt x="891618" y="2516932"/>
                </a:lnTo>
                <a:cubicBezTo>
                  <a:pt x="890688" y="2512905"/>
                  <a:pt x="891618" y="2508413"/>
                  <a:pt x="895438" y="2505935"/>
                </a:cubicBezTo>
                <a:close/>
                <a:moveTo>
                  <a:pt x="817170" y="2505625"/>
                </a:moveTo>
                <a:cubicBezTo>
                  <a:pt x="818512" y="2506245"/>
                  <a:pt x="819752" y="2507329"/>
                  <a:pt x="820681" y="2508413"/>
                </a:cubicBezTo>
                <a:cubicBezTo>
                  <a:pt x="819855" y="2507793"/>
                  <a:pt x="819855" y="2507793"/>
                  <a:pt x="819855" y="2507793"/>
                </a:cubicBezTo>
                <a:cubicBezTo>
                  <a:pt x="818616" y="2507948"/>
                  <a:pt x="819441" y="2508568"/>
                  <a:pt x="818925" y="2509187"/>
                </a:cubicBezTo>
                <a:cubicBezTo>
                  <a:pt x="818925" y="2509187"/>
                  <a:pt x="819441" y="2508568"/>
                  <a:pt x="819752" y="2509652"/>
                </a:cubicBezTo>
                <a:cubicBezTo>
                  <a:pt x="818925" y="2509187"/>
                  <a:pt x="818512" y="2509962"/>
                  <a:pt x="818099" y="2510581"/>
                </a:cubicBezTo>
                <a:cubicBezTo>
                  <a:pt x="815724" y="2511046"/>
                  <a:pt x="812523" y="2510891"/>
                  <a:pt x="811388" y="2509187"/>
                </a:cubicBezTo>
                <a:cubicBezTo>
                  <a:pt x="810768" y="2506864"/>
                  <a:pt x="812420" y="2505935"/>
                  <a:pt x="813556" y="2505780"/>
                </a:cubicBezTo>
                <a:cubicBezTo>
                  <a:pt x="814692" y="2505005"/>
                  <a:pt x="815931" y="2505160"/>
                  <a:pt x="817170" y="2505625"/>
                </a:cubicBezTo>
                <a:close/>
                <a:moveTo>
                  <a:pt x="1144596" y="2504695"/>
                </a:moveTo>
                <a:cubicBezTo>
                  <a:pt x="1145834" y="2505005"/>
                  <a:pt x="1148726" y="2506399"/>
                  <a:pt x="1148519" y="2509342"/>
                </a:cubicBezTo>
                <a:cubicBezTo>
                  <a:pt x="1148313" y="2512285"/>
                  <a:pt x="1150378" y="2514144"/>
                  <a:pt x="1150274" y="2517087"/>
                </a:cubicBezTo>
                <a:cubicBezTo>
                  <a:pt x="1150274" y="2517087"/>
                  <a:pt x="1150274" y="2517087"/>
                  <a:pt x="1149035" y="2516778"/>
                </a:cubicBezTo>
                <a:cubicBezTo>
                  <a:pt x="1148313" y="2512285"/>
                  <a:pt x="1144596" y="2509497"/>
                  <a:pt x="1144596" y="2504695"/>
                </a:cubicBezTo>
                <a:close/>
                <a:moveTo>
                  <a:pt x="1043482" y="2504095"/>
                </a:moveTo>
                <a:cubicBezTo>
                  <a:pt x="1046011" y="2502721"/>
                  <a:pt x="1049135" y="2502759"/>
                  <a:pt x="1051252" y="2505780"/>
                </a:cubicBezTo>
                <a:cubicBezTo>
                  <a:pt x="1051149" y="2509187"/>
                  <a:pt x="1045676" y="2514454"/>
                  <a:pt x="1042991" y="2515383"/>
                </a:cubicBezTo>
                <a:cubicBezTo>
                  <a:pt x="1040513" y="2514299"/>
                  <a:pt x="1039377" y="2512595"/>
                  <a:pt x="1039274" y="2510891"/>
                </a:cubicBezTo>
                <a:cubicBezTo>
                  <a:pt x="1039016" y="2508258"/>
                  <a:pt x="1040952" y="2505470"/>
                  <a:pt x="1043482" y="2504095"/>
                </a:cubicBezTo>
                <a:close/>
                <a:moveTo>
                  <a:pt x="1359265" y="2504076"/>
                </a:moveTo>
                <a:cubicBezTo>
                  <a:pt x="1362672" y="2503301"/>
                  <a:pt x="1364841" y="2505625"/>
                  <a:pt x="1365667" y="2508568"/>
                </a:cubicBezTo>
                <a:cubicBezTo>
                  <a:pt x="1366493" y="2511511"/>
                  <a:pt x="1365977" y="2515228"/>
                  <a:pt x="1363808" y="2517242"/>
                </a:cubicBezTo>
                <a:cubicBezTo>
                  <a:pt x="1359678" y="2514764"/>
                  <a:pt x="1357097" y="2512130"/>
                  <a:pt x="1357613" y="2508413"/>
                </a:cubicBezTo>
                <a:cubicBezTo>
                  <a:pt x="1357820" y="2507019"/>
                  <a:pt x="1358336" y="2505625"/>
                  <a:pt x="1359265" y="2504076"/>
                </a:cubicBezTo>
                <a:close/>
                <a:moveTo>
                  <a:pt x="1260656" y="2504076"/>
                </a:moveTo>
                <a:cubicBezTo>
                  <a:pt x="1260656" y="2504076"/>
                  <a:pt x="1260759" y="2504850"/>
                  <a:pt x="1260759" y="2504850"/>
                </a:cubicBezTo>
                <a:cubicBezTo>
                  <a:pt x="1259726" y="2505005"/>
                  <a:pt x="1258797" y="2505160"/>
                  <a:pt x="1258797" y="2504385"/>
                </a:cubicBezTo>
                <a:cubicBezTo>
                  <a:pt x="1258694" y="2503611"/>
                  <a:pt x="1259623" y="2503456"/>
                  <a:pt x="1260656" y="2504076"/>
                </a:cubicBezTo>
                <a:close/>
                <a:moveTo>
                  <a:pt x="1255286" y="2504076"/>
                </a:moveTo>
                <a:cubicBezTo>
                  <a:pt x="1256215" y="2504695"/>
                  <a:pt x="1256215" y="2503921"/>
                  <a:pt x="1256319" y="2505470"/>
                </a:cubicBezTo>
                <a:cubicBezTo>
                  <a:pt x="1255286" y="2504850"/>
                  <a:pt x="1255286" y="2504850"/>
                  <a:pt x="1254357" y="2505005"/>
                </a:cubicBezTo>
                <a:cubicBezTo>
                  <a:pt x="1254357" y="2505005"/>
                  <a:pt x="1255286" y="2504076"/>
                  <a:pt x="1255286" y="2504076"/>
                </a:cubicBezTo>
                <a:close/>
                <a:moveTo>
                  <a:pt x="949544" y="2503921"/>
                </a:moveTo>
                <a:cubicBezTo>
                  <a:pt x="953675" y="2507019"/>
                  <a:pt x="948925" y="2511201"/>
                  <a:pt x="946343" y="2510736"/>
                </a:cubicBezTo>
                <a:cubicBezTo>
                  <a:pt x="944382" y="2509497"/>
                  <a:pt x="943969" y="2508258"/>
                  <a:pt x="944382" y="2507019"/>
                </a:cubicBezTo>
                <a:cubicBezTo>
                  <a:pt x="944795" y="2505935"/>
                  <a:pt x="945930" y="2505005"/>
                  <a:pt x="947170" y="2504385"/>
                </a:cubicBezTo>
                <a:cubicBezTo>
                  <a:pt x="947996" y="2504076"/>
                  <a:pt x="948925" y="2503766"/>
                  <a:pt x="949544" y="2503921"/>
                </a:cubicBezTo>
                <a:close/>
                <a:moveTo>
                  <a:pt x="608902" y="2503766"/>
                </a:moveTo>
                <a:cubicBezTo>
                  <a:pt x="613446" y="2505780"/>
                  <a:pt x="614994" y="2508877"/>
                  <a:pt x="615407" y="2513370"/>
                </a:cubicBezTo>
                <a:cubicBezTo>
                  <a:pt x="613962" y="2513989"/>
                  <a:pt x="610451" y="2512595"/>
                  <a:pt x="608180" y="2511511"/>
                </a:cubicBezTo>
                <a:cubicBezTo>
                  <a:pt x="607560" y="2510426"/>
                  <a:pt x="607353" y="2509032"/>
                  <a:pt x="607560" y="2507793"/>
                </a:cubicBezTo>
                <a:cubicBezTo>
                  <a:pt x="607663" y="2506399"/>
                  <a:pt x="608180" y="2505005"/>
                  <a:pt x="608902" y="2503766"/>
                </a:cubicBezTo>
                <a:close/>
                <a:moveTo>
                  <a:pt x="1264889" y="2503611"/>
                </a:moveTo>
                <a:cubicBezTo>
                  <a:pt x="1265818" y="2504385"/>
                  <a:pt x="1265818" y="2504231"/>
                  <a:pt x="1265922" y="2505935"/>
                </a:cubicBezTo>
                <a:cubicBezTo>
                  <a:pt x="1263133" y="2505470"/>
                  <a:pt x="1263133" y="2505470"/>
                  <a:pt x="1261275" y="2504076"/>
                </a:cubicBezTo>
                <a:cubicBezTo>
                  <a:pt x="1262204" y="2503921"/>
                  <a:pt x="1263960" y="2502992"/>
                  <a:pt x="1264889" y="2503611"/>
                </a:cubicBezTo>
                <a:close/>
                <a:moveTo>
                  <a:pt x="1345842" y="2503146"/>
                </a:moveTo>
                <a:cubicBezTo>
                  <a:pt x="1351211" y="2506399"/>
                  <a:pt x="1340989" y="2512750"/>
                  <a:pt x="1340369" y="2507483"/>
                </a:cubicBezTo>
                <a:cubicBezTo>
                  <a:pt x="1341608" y="2505935"/>
                  <a:pt x="1343777" y="2504541"/>
                  <a:pt x="1345842" y="2503146"/>
                </a:cubicBezTo>
                <a:close/>
                <a:moveTo>
                  <a:pt x="1022960" y="2502992"/>
                </a:moveTo>
                <a:cubicBezTo>
                  <a:pt x="1023063" y="2504385"/>
                  <a:pt x="1023166" y="2505160"/>
                  <a:pt x="1023063" y="2505625"/>
                </a:cubicBezTo>
                <a:lnTo>
                  <a:pt x="1022857" y="2506089"/>
                </a:lnTo>
                <a:lnTo>
                  <a:pt x="1023269" y="2505935"/>
                </a:lnTo>
                <a:lnTo>
                  <a:pt x="1022443" y="2507173"/>
                </a:lnTo>
                <a:lnTo>
                  <a:pt x="1022237" y="2507948"/>
                </a:lnTo>
                <a:lnTo>
                  <a:pt x="1022030" y="2507638"/>
                </a:lnTo>
                <a:lnTo>
                  <a:pt x="1020172" y="2509187"/>
                </a:lnTo>
                <a:cubicBezTo>
                  <a:pt x="1020172" y="2509187"/>
                  <a:pt x="1020069" y="2509962"/>
                  <a:pt x="1019965" y="2510736"/>
                </a:cubicBezTo>
                <a:cubicBezTo>
                  <a:pt x="1017797" y="2513215"/>
                  <a:pt x="1016764" y="2514764"/>
                  <a:pt x="1013460" y="2513679"/>
                </a:cubicBezTo>
                <a:cubicBezTo>
                  <a:pt x="1013667" y="2512905"/>
                  <a:pt x="1015628" y="2511356"/>
                  <a:pt x="1016558" y="2510581"/>
                </a:cubicBezTo>
                <a:cubicBezTo>
                  <a:pt x="1016661" y="2509652"/>
                  <a:pt x="1017694" y="2508877"/>
                  <a:pt x="1018520" y="2509032"/>
                </a:cubicBezTo>
                <a:cubicBezTo>
                  <a:pt x="1018520" y="2509032"/>
                  <a:pt x="1019552" y="2508258"/>
                  <a:pt x="1019655" y="2507329"/>
                </a:cubicBezTo>
                <a:lnTo>
                  <a:pt x="1021307" y="2506399"/>
                </a:lnTo>
                <a:lnTo>
                  <a:pt x="1021204" y="2506399"/>
                </a:lnTo>
                <a:cubicBezTo>
                  <a:pt x="1020894" y="2505780"/>
                  <a:pt x="1020585" y="2505160"/>
                  <a:pt x="1020791" y="2504541"/>
                </a:cubicBezTo>
                <a:cubicBezTo>
                  <a:pt x="1021101" y="2504076"/>
                  <a:pt x="1021204" y="2503766"/>
                  <a:pt x="1021514" y="2503611"/>
                </a:cubicBezTo>
                <a:cubicBezTo>
                  <a:pt x="1021721" y="2503456"/>
                  <a:pt x="1022133" y="2503301"/>
                  <a:pt x="1022960" y="2502992"/>
                </a:cubicBezTo>
                <a:close/>
                <a:moveTo>
                  <a:pt x="1134993" y="2502217"/>
                </a:moveTo>
                <a:lnTo>
                  <a:pt x="1135922" y="2502527"/>
                </a:lnTo>
                <a:lnTo>
                  <a:pt x="1135715" y="2502372"/>
                </a:lnTo>
                <a:close/>
                <a:moveTo>
                  <a:pt x="1175108" y="2500959"/>
                </a:moveTo>
                <a:cubicBezTo>
                  <a:pt x="1178360" y="2501210"/>
                  <a:pt x="1180993" y="2501597"/>
                  <a:pt x="1181974" y="2501752"/>
                </a:cubicBezTo>
                <a:cubicBezTo>
                  <a:pt x="1183007" y="2502062"/>
                  <a:pt x="1183523" y="2502372"/>
                  <a:pt x="1183833" y="2502837"/>
                </a:cubicBezTo>
                <a:cubicBezTo>
                  <a:pt x="1184142" y="2503301"/>
                  <a:pt x="1184142" y="2503921"/>
                  <a:pt x="1184039" y="2504850"/>
                </a:cubicBezTo>
                <a:cubicBezTo>
                  <a:pt x="1181561" y="2508103"/>
                  <a:pt x="1177431" y="2506554"/>
                  <a:pt x="1172991" y="2506864"/>
                </a:cubicBezTo>
                <a:cubicBezTo>
                  <a:pt x="1172681" y="2506089"/>
                  <a:pt x="1171545" y="2505470"/>
                  <a:pt x="1170719" y="2505625"/>
                </a:cubicBezTo>
                <a:cubicBezTo>
                  <a:pt x="1169584" y="2505005"/>
                  <a:pt x="1168448" y="2504541"/>
                  <a:pt x="1168757" y="2505315"/>
                </a:cubicBezTo>
                <a:cubicBezTo>
                  <a:pt x="1165453" y="2503456"/>
                  <a:pt x="1164627" y="2503766"/>
                  <a:pt x="1164524" y="2500978"/>
                </a:cubicBezTo>
                <a:cubicBezTo>
                  <a:pt x="1167983" y="2500591"/>
                  <a:pt x="1171855" y="2500707"/>
                  <a:pt x="1175108" y="2500959"/>
                </a:cubicBezTo>
                <a:close/>
                <a:moveTo>
                  <a:pt x="590523" y="2500513"/>
                </a:moveTo>
                <a:cubicBezTo>
                  <a:pt x="591452" y="2499739"/>
                  <a:pt x="592278" y="2500668"/>
                  <a:pt x="593104" y="2500823"/>
                </a:cubicBezTo>
                <a:cubicBezTo>
                  <a:pt x="594859" y="2501752"/>
                  <a:pt x="597337" y="2507793"/>
                  <a:pt x="596408" y="2508413"/>
                </a:cubicBezTo>
                <a:cubicBezTo>
                  <a:pt x="594550" y="2507019"/>
                  <a:pt x="591142" y="2504541"/>
                  <a:pt x="590316" y="2502527"/>
                </a:cubicBezTo>
                <a:cubicBezTo>
                  <a:pt x="590110" y="2501752"/>
                  <a:pt x="590110" y="2501133"/>
                  <a:pt x="590523" y="2500513"/>
                </a:cubicBezTo>
                <a:close/>
                <a:moveTo>
                  <a:pt x="5107348" y="2500375"/>
                </a:moveTo>
                <a:cubicBezTo>
                  <a:pt x="5130398" y="2511899"/>
                  <a:pt x="5143416" y="2536227"/>
                  <a:pt x="5132105" y="2553015"/>
                </a:cubicBezTo>
                <a:cubicBezTo>
                  <a:pt x="5119513" y="2567384"/>
                  <a:pt x="5102653" y="2561978"/>
                  <a:pt x="5093049" y="2549885"/>
                </a:cubicBezTo>
                <a:lnTo>
                  <a:pt x="5091982" y="2547466"/>
                </a:lnTo>
                <a:lnTo>
                  <a:pt x="5091342" y="2549600"/>
                </a:lnTo>
                <a:cubicBezTo>
                  <a:pt x="5090488" y="2552446"/>
                  <a:pt x="5089634" y="2555149"/>
                  <a:pt x="5088140" y="2557994"/>
                </a:cubicBezTo>
                <a:lnTo>
                  <a:pt x="5084939" y="2563116"/>
                </a:lnTo>
                <a:lnTo>
                  <a:pt x="5090274" y="2565250"/>
                </a:lnTo>
                <a:cubicBezTo>
                  <a:pt x="5093262" y="2567526"/>
                  <a:pt x="5095397" y="2570372"/>
                  <a:pt x="5095397" y="2573074"/>
                </a:cubicBezTo>
                <a:cubicBezTo>
                  <a:pt x="5093049" y="2578623"/>
                  <a:pt x="5090274" y="2582322"/>
                  <a:pt x="5087286" y="2584883"/>
                </a:cubicBezTo>
                <a:lnTo>
                  <a:pt x="5078963" y="2588297"/>
                </a:lnTo>
                <a:lnTo>
                  <a:pt x="5075335" y="2595126"/>
                </a:lnTo>
                <a:cubicBezTo>
                  <a:pt x="5073414" y="2593419"/>
                  <a:pt x="5067865" y="2598683"/>
                  <a:pt x="5066158" y="2600533"/>
                </a:cubicBezTo>
                <a:cubicBezTo>
                  <a:pt x="5063384" y="2597829"/>
                  <a:pt x="5058475" y="2600248"/>
                  <a:pt x="5053993" y="2599253"/>
                </a:cubicBezTo>
                <a:lnTo>
                  <a:pt x="5051432" y="2597971"/>
                </a:lnTo>
                <a:lnTo>
                  <a:pt x="5050792" y="2598398"/>
                </a:lnTo>
                <a:cubicBezTo>
                  <a:pt x="5047377" y="2599821"/>
                  <a:pt x="5043749" y="2600675"/>
                  <a:pt x="5039907" y="2600533"/>
                </a:cubicBezTo>
                <a:cubicBezTo>
                  <a:pt x="5037987" y="2591997"/>
                  <a:pt x="5041401" y="2582322"/>
                  <a:pt x="5043535" y="2574782"/>
                </a:cubicBezTo>
                <a:cubicBezTo>
                  <a:pt x="5046096" y="2577912"/>
                  <a:pt x="5046737" y="2581184"/>
                  <a:pt x="5048658" y="2584456"/>
                </a:cubicBezTo>
                <a:lnTo>
                  <a:pt x="5051646" y="2587728"/>
                </a:lnTo>
                <a:lnTo>
                  <a:pt x="5061463" y="2581611"/>
                </a:lnTo>
                <a:lnTo>
                  <a:pt x="5068292" y="2579761"/>
                </a:lnTo>
                <a:lnTo>
                  <a:pt x="5067225" y="2577343"/>
                </a:lnTo>
                <a:cubicBezTo>
                  <a:pt x="5066798" y="2572790"/>
                  <a:pt x="5068079" y="2567384"/>
                  <a:pt x="5072347" y="2561551"/>
                </a:cubicBezTo>
                <a:cubicBezTo>
                  <a:pt x="5074481" y="2560697"/>
                  <a:pt x="5077043" y="2560555"/>
                  <a:pt x="5079603" y="2560839"/>
                </a:cubicBezTo>
                <a:lnTo>
                  <a:pt x="5081311" y="2561551"/>
                </a:lnTo>
                <a:lnTo>
                  <a:pt x="5080030" y="2556714"/>
                </a:lnTo>
                <a:cubicBezTo>
                  <a:pt x="5080030" y="2552872"/>
                  <a:pt x="5080884" y="2548605"/>
                  <a:pt x="5082378" y="2544763"/>
                </a:cubicBezTo>
                <a:lnTo>
                  <a:pt x="5085793" y="2539499"/>
                </a:lnTo>
                <a:lnTo>
                  <a:pt x="5083872" y="2539214"/>
                </a:lnTo>
                <a:cubicBezTo>
                  <a:pt x="5074268" y="2527691"/>
                  <a:pt x="5070000" y="2516736"/>
                  <a:pt x="5080671" y="2505782"/>
                </a:cubicBezTo>
                <a:cubicBezTo>
                  <a:pt x="5082378" y="2507631"/>
                  <a:pt x="5084299" y="2506208"/>
                  <a:pt x="5086433" y="2504643"/>
                </a:cubicBezTo>
                <a:lnTo>
                  <a:pt x="5094116" y="2510334"/>
                </a:lnTo>
                <a:lnTo>
                  <a:pt x="5096037" y="2508200"/>
                </a:lnTo>
                <a:cubicBezTo>
                  <a:pt x="5099025" y="2505355"/>
                  <a:pt x="5102653" y="2502652"/>
                  <a:pt x="5107348" y="2500375"/>
                </a:cubicBezTo>
                <a:close/>
                <a:moveTo>
                  <a:pt x="808393" y="2500358"/>
                </a:moveTo>
                <a:cubicBezTo>
                  <a:pt x="810975" y="2502062"/>
                  <a:pt x="811697" y="2504541"/>
                  <a:pt x="809839" y="2507173"/>
                </a:cubicBezTo>
                <a:cubicBezTo>
                  <a:pt x="808084" y="2508103"/>
                  <a:pt x="806328" y="2507329"/>
                  <a:pt x="804676" y="2506554"/>
                </a:cubicBezTo>
                <a:cubicBezTo>
                  <a:pt x="803437" y="2505780"/>
                  <a:pt x="803024" y="2504850"/>
                  <a:pt x="803231" y="2504076"/>
                </a:cubicBezTo>
                <a:cubicBezTo>
                  <a:pt x="803334" y="2503146"/>
                  <a:pt x="804056" y="2502372"/>
                  <a:pt x="804986" y="2501442"/>
                </a:cubicBezTo>
                <a:cubicBezTo>
                  <a:pt x="806741" y="2499584"/>
                  <a:pt x="808393" y="2500358"/>
                  <a:pt x="808393" y="2500358"/>
                </a:cubicBezTo>
                <a:close/>
                <a:moveTo>
                  <a:pt x="561818" y="2499893"/>
                </a:moveTo>
                <a:cubicBezTo>
                  <a:pt x="562643" y="2498345"/>
                  <a:pt x="564399" y="2499429"/>
                  <a:pt x="566154" y="2501288"/>
                </a:cubicBezTo>
                <a:cubicBezTo>
                  <a:pt x="570491" y="2504231"/>
                  <a:pt x="571317" y="2506709"/>
                  <a:pt x="568632" y="2509032"/>
                </a:cubicBezTo>
                <a:cubicBezTo>
                  <a:pt x="567806" y="2508877"/>
                  <a:pt x="565122" y="2507793"/>
                  <a:pt x="565122" y="2508568"/>
                </a:cubicBezTo>
                <a:cubicBezTo>
                  <a:pt x="563160" y="2506554"/>
                  <a:pt x="561301" y="2504076"/>
                  <a:pt x="561198" y="2501907"/>
                </a:cubicBezTo>
                <a:cubicBezTo>
                  <a:pt x="561198" y="2501133"/>
                  <a:pt x="561301" y="2500513"/>
                  <a:pt x="561818" y="2499893"/>
                </a:cubicBezTo>
                <a:close/>
                <a:moveTo>
                  <a:pt x="722897" y="2499584"/>
                </a:moveTo>
                <a:cubicBezTo>
                  <a:pt x="723826" y="2500358"/>
                  <a:pt x="724756" y="2501133"/>
                  <a:pt x="723929" y="2501133"/>
                </a:cubicBezTo>
                <a:cubicBezTo>
                  <a:pt x="723929" y="2502062"/>
                  <a:pt x="723103" y="2502062"/>
                  <a:pt x="722278" y="2502992"/>
                </a:cubicBezTo>
                <a:cubicBezTo>
                  <a:pt x="720625" y="2504076"/>
                  <a:pt x="718044" y="2504541"/>
                  <a:pt x="717115" y="2503766"/>
                </a:cubicBezTo>
                <a:cubicBezTo>
                  <a:pt x="716289" y="2502992"/>
                  <a:pt x="716185" y="2502217"/>
                  <a:pt x="716185" y="2502217"/>
                </a:cubicBezTo>
                <a:cubicBezTo>
                  <a:pt x="717837" y="2499429"/>
                  <a:pt x="720212" y="2497570"/>
                  <a:pt x="722897" y="2499584"/>
                </a:cubicBezTo>
                <a:close/>
                <a:moveTo>
                  <a:pt x="1027503" y="2499274"/>
                </a:moveTo>
                <a:cubicBezTo>
                  <a:pt x="1031840" y="2499893"/>
                  <a:pt x="1033079" y="2500358"/>
                  <a:pt x="1033905" y="2504850"/>
                </a:cubicBezTo>
                <a:cubicBezTo>
                  <a:pt x="1033905" y="2504850"/>
                  <a:pt x="1033595" y="2505935"/>
                  <a:pt x="1033595" y="2505935"/>
                </a:cubicBezTo>
                <a:cubicBezTo>
                  <a:pt x="1033285" y="2509962"/>
                  <a:pt x="1029774" y="2513834"/>
                  <a:pt x="1027813" y="2513834"/>
                </a:cubicBezTo>
                <a:cubicBezTo>
                  <a:pt x="1025954" y="2513215"/>
                  <a:pt x="1024096" y="2511666"/>
                  <a:pt x="1023579" y="2509497"/>
                </a:cubicBezTo>
                <a:cubicBezTo>
                  <a:pt x="1023476" y="2508723"/>
                  <a:pt x="1023372" y="2507948"/>
                  <a:pt x="1023579" y="2507173"/>
                </a:cubicBezTo>
                <a:cubicBezTo>
                  <a:pt x="1023683" y="2504076"/>
                  <a:pt x="1026677" y="2502681"/>
                  <a:pt x="1027503" y="2499274"/>
                </a:cubicBezTo>
                <a:close/>
                <a:moveTo>
                  <a:pt x="6334725" y="2498668"/>
                </a:moveTo>
                <a:cubicBezTo>
                  <a:pt x="6336219" y="2498384"/>
                  <a:pt x="6337500" y="2498384"/>
                  <a:pt x="6338780" y="2499095"/>
                </a:cubicBezTo>
                <a:cubicBezTo>
                  <a:pt x="6338993" y="2499806"/>
                  <a:pt x="6339420" y="2500802"/>
                  <a:pt x="6339847" y="2501798"/>
                </a:cubicBezTo>
                <a:cubicBezTo>
                  <a:pt x="6340274" y="2502936"/>
                  <a:pt x="6340701" y="2504074"/>
                  <a:pt x="6340701" y="2505497"/>
                </a:cubicBezTo>
                <a:cubicBezTo>
                  <a:pt x="6336860" y="2510334"/>
                  <a:pt x="6332591" y="2510903"/>
                  <a:pt x="6328536" y="2508911"/>
                </a:cubicBezTo>
                <a:cubicBezTo>
                  <a:pt x="6327042" y="2504074"/>
                  <a:pt x="6330670" y="2499522"/>
                  <a:pt x="6334725" y="2498668"/>
                </a:cubicBezTo>
                <a:close/>
                <a:moveTo>
                  <a:pt x="925383" y="2498035"/>
                </a:moveTo>
                <a:cubicBezTo>
                  <a:pt x="927964" y="2501907"/>
                  <a:pt x="927138" y="2505160"/>
                  <a:pt x="924556" y="2509187"/>
                </a:cubicBezTo>
                <a:cubicBezTo>
                  <a:pt x="922904" y="2508877"/>
                  <a:pt x="921046" y="2506089"/>
                  <a:pt x="919806" y="2504231"/>
                </a:cubicBezTo>
                <a:cubicBezTo>
                  <a:pt x="920426" y="2501752"/>
                  <a:pt x="922595" y="2499429"/>
                  <a:pt x="925383" y="2498035"/>
                </a:cubicBezTo>
                <a:close/>
                <a:moveTo>
                  <a:pt x="5184393" y="2497103"/>
                </a:moveTo>
                <a:cubicBezTo>
                  <a:pt x="5187167" y="2500091"/>
                  <a:pt x="5192929" y="2503363"/>
                  <a:pt x="5195277" y="2509053"/>
                </a:cubicBezTo>
                <a:cubicBezTo>
                  <a:pt x="5190581" y="2521858"/>
                  <a:pt x="5180551" y="2526268"/>
                  <a:pt x="5168173" y="2524988"/>
                </a:cubicBezTo>
                <a:cubicBezTo>
                  <a:pt x="5157288" y="2513037"/>
                  <a:pt x="5169026" y="2495538"/>
                  <a:pt x="5184393" y="2497103"/>
                </a:cubicBezTo>
                <a:close/>
                <a:moveTo>
                  <a:pt x="1461282" y="2496950"/>
                </a:moveTo>
                <a:lnTo>
                  <a:pt x="1457978" y="2500203"/>
                </a:lnTo>
                <a:lnTo>
                  <a:pt x="1458701" y="2500978"/>
                </a:lnTo>
                <a:lnTo>
                  <a:pt x="1459527" y="2501752"/>
                </a:lnTo>
                <a:close/>
                <a:moveTo>
                  <a:pt x="1395095" y="2496021"/>
                </a:moveTo>
                <a:cubicBezTo>
                  <a:pt x="1396024" y="2496021"/>
                  <a:pt x="1396644" y="2496641"/>
                  <a:pt x="1396954" y="2497570"/>
                </a:cubicBezTo>
                <a:cubicBezTo>
                  <a:pt x="1397780" y="2500358"/>
                  <a:pt x="1396024" y="2505625"/>
                  <a:pt x="1392307" y="2505470"/>
                </a:cubicBezTo>
                <a:cubicBezTo>
                  <a:pt x="1390862" y="2505005"/>
                  <a:pt x="1389932" y="2502527"/>
                  <a:pt x="1390139" y="2500049"/>
                </a:cubicBezTo>
                <a:cubicBezTo>
                  <a:pt x="1390345" y="2497725"/>
                  <a:pt x="1391791" y="2495556"/>
                  <a:pt x="1395095" y="2496021"/>
                </a:cubicBezTo>
                <a:close/>
                <a:moveTo>
                  <a:pt x="6406861" y="2495396"/>
                </a:moveTo>
                <a:cubicBezTo>
                  <a:pt x="6408782" y="2495680"/>
                  <a:pt x="6410916" y="2496249"/>
                  <a:pt x="6413264" y="2497530"/>
                </a:cubicBezTo>
                <a:cubicBezTo>
                  <a:pt x="6404086" y="2509765"/>
                  <a:pt x="6402379" y="2520293"/>
                  <a:pt x="6396830" y="2532528"/>
                </a:cubicBezTo>
                <a:cubicBezTo>
                  <a:pt x="6393202" y="2532528"/>
                  <a:pt x="6389574" y="2530821"/>
                  <a:pt x="6384025" y="2525557"/>
                </a:cubicBezTo>
                <a:cubicBezTo>
                  <a:pt x="6398751" y="2515029"/>
                  <a:pt x="6378476" y="2508058"/>
                  <a:pt x="6389574" y="2499379"/>
                </a:cubicBezTo>
                <a:cubicBezTo>
                  <a:pt x="6394910" y="2498099"/>
                  <a:pt x="6400458" y="2494827"/>
                  <a:pt x="6406861" y="2495396"/>
                </a:cubicBezTo>
                <a:close/>
                <a:moveTo>
                  <a:pt x="1065295" y="2494627"/>
                </a:moveTo>
                <a:cubicBezTo>
                  <a:pt x="1067257" y="2493078"/>
                  <a:pt x="1070458" y="2492923"/>
                  <a:pt x="1074175" y="2495712"/>
                </a:cubicBezTo>
                <a:cubicBezTo>
                  <a:pt x="1076859" y="2502992"/>
                  <a:pt x="1069528" y="2508723"/>
                  <a:pt x="1063642" y="2502527"/>
                </a:cubicBezTo>
                <a:cubicBezTo>
                  <a:pt x="1063126" y="2500823"/>
                  <a:pt x="1063023" y="2499274"/>
                  <a:pt x="1063333" y="2497880"/>
                </a:cubicBezTo>
                <a:cubicBezTo>
                  <a:pt x="1063539" y="2496641"/>
                  <a:pt x="1064262" y="2495402"/>
                  <a:pt x="1065295" y="2494627"/>
                </a:cubicBezTo>
                <a:close/>
                <a:moveTo>
                  <a:pt x="1353173" y="2493698"/>
                </a:moveTo>
                <a:cubicBezTo>
                  <a:pt x="1354825" y="2494627"/>
                  <a:pt x="1358232" y="2496176"/>
                  <a:pt x="1359368" y="2497570"/>
                </a:cubicBezTo>
                <a:cubicBezTo>
                  <a:pt x="1359781" y="2498190"/>
                  <a:pt x="1359885" y="2498654"/>
                  <a:pt x="1359678" y="2499119"/>
                </a:cubicBezTo>
                <a:cubicBezTo>
                  <a:pt x="1357406" y="2498035"/>
                  <a:pt x="1353586" y="2497260"/>
                  <a:pt x="1353173" y="2493698"/>
                </a:cubicBezTo>
                <a:close/>
                <a:moveTo>
                  <a:pt x="969112" y="2493078"/>
                </a:moveTo>
                <a:cubicBezTo>
                  <a:pt x="970015" y="2492536"/>
                  <a:pt x="970867" y="2492226"/>
                  <a:pt x="972158" y="2493543"/>
                </a:cubicBezTo>
                <a:cubicBezTo>
                  <a:pt x="972571" y="2495247"/>
                  <a:pt x="972158" y="2497105"/>
                  <a:pt x="970093" y="2499584"/>
                </a:cubicBezTo>
                <a:cubicBezTo>
                  <a:pt x="965343" y="2499429"/>
                  <a:pt x="965549" y="2496641"/>
                  <a:pt x="965756" y="2494008"/>
                </a:cubicBezTo>
                <a:cubicBezTo>
                  <a:pt x="967253" y="2494395"/>
                  <a:pt x="968208" y="2493620"/>
                  <a:pt x="969112" y="2493078"/>
                </a:cubicBezTo>
                <a:close/>
                <a:moveTo>
                  <a:pt x="680665" y="2493078"/>
                </a:moveTo>
                <a:cubicBezTo>
                  <a:pt x="681388" y="2493233"/>
                  <a:pt x="682214" y="2493698"/>
                  <a:pt x="683556" y="2494627"/>
                </a:cubicBezTo>
                <a:cubicBezTo>
                  <a:pt x="685209" y="2496486"/>
                  <a:pt x="687067" y="2497570"/>
                  <a:pt x="686964" y="2498345"/>
                </a:cubicBezTo>
                <a:cubicBezTo>
                  <a:pt x="687893" y="2498499"/>
                  <a:pt x="688823" y="2499274"/>
                  <a:pt x="689649" y="2499429"/>
                </a:cubicBezTo>
                <a:cubicBezTo>
                  <a:pt x="689649" y="2499429"/>
                  <a:pt x="689649" y="2499429"/>
                  <a:pt x="689649" y="2500203"/>
                </a:cubicBezTo>
                <a:cubicBezTo>
                  <a:pt x="686138" y="2499119"/>
                  <a:pt x="681698" y="2499429"/>
                  <a:pt x="679117" y="2497570"/>
                </a:cubicBezTo>
                <a:cubicBezTo>
                  <a:pt x="678600" y="2497105"/>
                  <a:pt x="678187" y="2496641"/>
                  <a:pt x="678084" y="2496021"/>
                </a:cubicBezTo>
                <a:cubicBezTo>
                  <a:pt x="677981" y="2495556"/>
                  <a:pt x="678290" y="2494937"/>
                  <a:pt x="679117" y="2494162"/>
                </a:cubicBezTo>
                <a:cubicBezTo>
                  <a:pt x="679632" y="2493388"/>
                  <a:pt x="680046" y="2493078"/>
                  <a:pt x="680665" y="2493078"/>
                </a:cubicBezTo>
                <a:close/>
                <a:moveTo>
                  <a:pt x="1258487" y="2492613"/>
                </a:moveTo>
                <a:cubicBezTo>
                  <a:pt x="1263133" y="2490135"/>
                  <a:pt x="1271807" y="2495247"/>
                  <a:pt x="1267987" y="2501752"/>
                </a:cubicBezTo>
                <a:cubicBezTo>
                  <a:pt x="1264889" y="2502837"/>
                  <a:pt x="1257868" y="2500049"/>
                  <a:pt x="1255905" y="2498035"/>
                </a:cubicBezTo>
                <a:cubicBezTo>
                  <a:pt x="1255905" y="2495247"/>
                  <a:pt x="1257041" y="2493543"/>
                  <a:pt x="1258487" y="2492613"/>
                </a:cubicBezTo>
                <a:close/>
                <a:moveTo>
                  <a:pt x="836375" y="2491684"/>
                </a:moveTo>
                <a:cubicBezTo>
                  <a:pt x="837201" y="2491374"/>
                  <a:pt x="838131" y="2491374"/>
                  <a:pt x="839061" y="2491839"/>
                </a:cubicBezTo>
                <a:cubicBezTo>
                  <a:pt x="839990" y="2492304"/>
                  <a:pt x="840816" y="2493078"/>
                  <a:pt x="841332" y="2494008"/>
                </a:cubicBezTo>
                <a:cubicBezTo>
                  <a:pt x="841642" y="2495092"/>
                  <a:pt x="841642" y="2495092"/>
                  <a:pt x="841952" y="2496331"/>
                </a:cubicBezTo>
                <a:cubicBezTo>
                  <a:pt x="841125" y="2497570"/>
                  <a:pt x="840919" y="2499429"/>
                  <a:pt x="839370" y="2500358"/>
                </a:cubicBezTo>
                <a:cubicBezTo>
                  <a:pt x="836995" y="2500668"/>
                  <a:pt x="833691" y="2497725"/>
                  <a:pt x="832659" y="2496021"/>
                </a:cubicBezTo>
                <a:cubicBezTo>
                  <a:pt x="832039" y="2493698"/>
                  <a:pt x="834001" y="2492148"/>
                  <a:pt x="836375" y="2491684"/>
                </a:cubicBezTo>
                <a:close/>
                <a:moveTo>
                  <a:pt x="717115" y="2490290"/>
                </a:moveTo>
                <a:lnTo>
                  <a:pt x="719799" y="2492459"/>
                </a:lnTo>
                <a:cubicBezTo>
                  <a:pt x="718973" y="2493543"/>
                  <a:pt x="717424" y="2494472"/>
                  <a:pt x="716495" y="2493852"/>
                </a:cubicBezTo>
                <a:cubicBezTo>
                  <a:pt x="715669" y="2493543"/>
                  <a:pt x="715566" y="2493078"/>
                  <a:pt x="715876" y="2492459"/>
                </a:cubicBezTo>
                <a:cubicBezTo>
                  <a:pt x="716185" y="2491994"/>
                  <a:pt x="716701" y="2491219"/>
                  <a:pt x="717115" y="2490290"/>
                </a:cubicBezTo>
                <a:close/>
                <a:moveTo>
                  <a:pt x="719283" y="2489980"/>
                </a:moveTo>
                <a:cubicBezTo>
                  <a:pt x="720212" y="2490755"/>
                  <a:pt x="719283" y="2490755"/>
                  <a:pt x="719283" y="2491374"/>
                </a:cubicBezTo>
                <a:cubicBezTo>
                  <a:pt x="718767" y="2491064"/>
                  <a:pt x="718561" y="2490755"/>
                  <a:pt x="718561" y="2490600"/>
                </a:cubicBezTo>
                <a:cubicBezTo>
                  <a:pt x="718561" y="2490445"/>
                  <a:pt x="718767" y="2490290"/>
                  <a:pt x="719283" y="2489980"/>
                </a:cubicBezTo>
                <a:close/>
                <a:moveTo>
                  <a:pt x="1201076" y="2489670"/>
                </a:moveTo>
                <a:cubicBezTo>
                  <a:pt x="1203968" y="2492613"/>
                  <a:pt x="1201076" y="2497415"/>
                  <a:pt x="1197463" y="2497880"/>
                </a:cubicBezTo>
                <a:cubicBezTo>
                  <a:pt x="1196120" y="2496950"/>
                  <a:pt x="1195501" y="2496021"/>
                  <a:pt x="1195294" y="2495092"/>
                </a:cubicBezTo>
                <a:cubicBezTo>
                  <a:pt x="1194778" y="2492304"/>
                  <a:pt x="1198495" y="2489360"/>
                  <a:pt x="1201076" y="2489670"/>
                </a:cubicBezTo>
                <a:close/>
                <a:moveTo>
                  <a:pt x="4879629" y="2487571"/>
                </a:moveTo>
                <a:cubicBezTo>
                  <a:pt x="4878989" y="2489136"/>
                  <a:pt x="4878775" y="2489136"/>
                  <a:pt x="4880270" y="2489705"/>
                </a:cubicBezTo>
                <a:cubicBezTo>
                  <a:pt x="4880270" y="2489705"/>
                  <a:pt x="4880270" y="2489705"/>
                  <a:pt x="4881336" y="2489278"/>
                </a:cubicBezTo>
                <a:cubicBezTo>
                  <a:pt x="4881550" y="2490416"/>
                  <a:pt x="4880483" y="2490843"/>
                  <a:pt x="4880910" y="2491839"/>
                </a:cubicBezTo>
                <a:cubicBezTo>
                  <a:pt x="4880910" y="2491839"/>
                  <a:pt x="4879629" y="2492266"/>
                  <a:pt x="4879629" y="2492266"/>
                </a:cubicBezTo>
                <a:cubicBezTo>
                  <a:pt x="4879843" y="2492835"/>
                  <a:pt x="4879843" y="2492693"/>
                  <a:pt x="4879415" y="2492551"/>
                </a:cubicBezTo>
                <a:cubicBezTo>
                  <a:pt x="4879202" y="2492408"/>
                  <a:pt x="4878562" y="2492124"/>
                  <a:pt x="4877282" y="2491981"/>
                </a:cubicBezTo>
                <a:cubicBezTo>
                  <a:pt x="4876001" y="2491270"/>
                  <a:pt x="4874934" y="2491697"/>
                  <a:pt x="4875787" y="2490132"/>
                </a:cubicBezTo>
                <a:cubicBezTo>
                  <a:pt x="4876428" y="2488710"/>
                  <a:pt x="4876428" y="2488851"/>
                  <a:pt x="4879629" y="2487571"/>
                </a:cubicBezTo>
                <a:close/>
                <a:moveTo>
                  <a:pt x="5246711" y="2486148"/>
                </a:moveTo>
                <a:cubicBezTo>
                  <a:pt x="5247991" y="2486291"/>
                  <a:pt x="5249272" y="2486718"/>
                  <a:pt x="5249912" y="2486433"/>
                </a:cubicBezTo>
                <a:cubicBezTo>
                  <a:pt x="5250553" y="2486718"/>
                  <a:pt x="5251193" y="2487144"/>
                  <a:pt x="5251619" y="2487571"/>
                </a:cubicBezTo>
                <a:cubicBezTo>
                  <a:pt x="5252260" y="2487998"/>
                  <a:pt x="5252474" y="2488567"/>
                  <a:pt x="5252047" y="2489278"/>
                </a:cubicBezTo>
                <a:cubicBezTo>
                  <a:pt x="5251193" y="2490843"/>
                  <a:pt x="5251406" y="2491981"/>
                  <a:pt x="5249059" y="2491839"/>
                </a:cubicBezTo>
                <a:cubicBezTo>
                  <a:pt x="5247778" y="2492266"/>
                  <a:pt x="5246498" y="2491555"/>
                  <a:pt x="5245431" y="2492124"/>
                </a:cubicBezTo>
                <a:cubicBezTo>
                  <a:pt x="5245431" y="2492124"/>
                  <a:pt x="5244790" y="2491270"/>
                  <a:pt x="5244363" y="2490416"/>
                </a:cubicBezTo>
                <a:cubicBezTo>
                  <a:pt x="5243936" y="2489421"/>
                  <a:pt x="5243510" y="2488425"/>
                  <a:pt x="5243936" y="2487571"/>
                </a:cubicBezTo>
                <a:cubicBezTo>
                  <a:pt x="5244150" y="2486291"/>
                  <a:pt x="5245431" y="2486148"/>
                  <a:pt x="5246711" y="2486148"/>
                </a:cubicBezTo>
                <a:close/>
                <a:moveTo>
                  <a:pt x="1062920" y="2484404"/>
                </a:moveTo>
                <a:cubicBezTo>
                  <a:pt x="1063746" y="2484559"/>
                  <a:pt x="1064262" y="2484869"/>
                  <a:pt x="1064675" y="2485643"/>
                </a:cubicBezTo>
                <a:cubicBezTo>
                  <a:pt x="1064985" y="2486728"/>
                  <a:pt x="1063746" y="2486882"/>
                  <a:pt x="1063333" y="2487657"/>
                </a:cubicBezTo>
                <a:cubicBezTo>
                  <a:pt x="1061784" y="2488431"/>
                  <a:pt x="1055382" y="2487193"/>
                  <a:pt x="1055072" y="2485953"/>
                </a:cubicBezTo>
                <a:cubicBezTo>
                  <a:pt x="1057137" y="2485179"/>
                  <a:pt x="1060752" y="2483784"/>
                  <a:pt x="1062920" y="2484404"/>
                </a:cubicBezTo>
                <a:close/>
                <a:moveTo>
                  <a:pt x="1148416" y="2483939"/>
                </a:moveTo>
                <a:cubicBezTo>
                  <a:pt x="1153372" y="2485024"/>
                  <a:pt x="1154198" y="2491529"/>
                  <a:pt x="1154508" y="2495866"/>
                </a:cubicBezTo>
                <a:lnTo>
                  <a:pt x="1154818" y="2498809"/>
                </a:lnTo>
                <a:lnTo>
                  <a:pt x="1157399" y="2499893"/>
                </a:lnTo>
                <a:cubicBezTo>
                  <a:pt x="1158225" y="2501288"/>
                  <a:pt x="1157090" y="2503301"/>
                  <a:pt x="1155437" y="2503766"/>
                </a:cubicBezTo>
                <a:lnTo>
                  <a:pt x="1153269" y="2503146"/>
                </a:lnTo>
                <a:lnTo>
                  <a:pt x="1153372" y="2504695"/>
                </a:lnTo>
                <a:cubicBezTo>
                  <a:pt x="1152236" y="2504385"/>
                  <a:pt x="1148623" y="2503301"/>
                  <a:pt x="1148623" y="2503301"/>
                </a:cubicBezTo>
                <a:cubicBezTo>
                  <a:pt x="1147900" y="2503611"/>
                  <a:pt x="1147900" y="2503611"/>
                  <a:pt x="1146764" y="2503301"/>
                </a:cubicBezTo>
                <a:cubicBezTo>
                  <a:pt x="1146970" y="2502217"/>
                  <a:pt x="1146970" y="2502217"/>
                  <a:pt x="1147796" y="2501752"/>
                </a:cubicBezTo>
                <a:cubicBezTo>
                  <a:pt x="1148932" y="2502217"/>
                  <a:pt x="1149345" y="2502992"/>
                  <a:pt x="1150584" y="2503301"/>
                </a:cubicBezTo>
                <a:cubicBezTo>
                  <a:pt x="1151101" y="2501133"/>
                  <a:pt x="1150378" y="2501442"/>
                  <a:pt x="1151617" y="2501752"/>
                </a:cubicBezTo>
                <a:cubicBezTo>
                  <a:pt x="1151617" y="2501752"/>
                  <a:pt x="1151617" y="2501752"/>
                  <a:pt x="1152856" y="2502217"/>
                </a:cubicBezTo>
                <a:lnTo>
                  <a:pt x="1153062" y="2502217"/>
                </a:lnTo>
                <a:lnTo>
                  <a:pt x="1153166" y="2502062"/>
                </a:lnTo>
                <a:lnTo>
                  <a:pt x="1152856" y="2502217"/>
                </a:lnTo>
                <a:lnTo>
                  <a:pt x="1148829" y="2494627"/>
                </a:lnTo>
                <a:lnTo>
                  <a:pt x="1147796" y="2494472"/>
                </a:lnTo>
                <a:cubicBezTo>
                  <a:pt x="1148519" y="2495092"/>
                  <a:pt x="1147280" y="2495247"/>
                  <a:pt x="1147280" y="2495247"/>
                </a:cubicBezTo>
                <a:cubicBezTo>
                  <a:pt x="1147280" y="2495247"/>
                  <a:pt x="1147280" y="2495247"/>
                  <a:pt x="1147900" y="2497570"/>
                </a:cubicBezTo>
                <a:cubicBezTo>
                  <a:pt x="1147900" y="2497570"/>
                  <a:pt x="1148726" y="2502837"/>
                  <a:pt x="1143563" y="2504385"/>
                </a:cubicBezTo>
                <a:cubicBezTo>
                  <a:pt x="1143460" y="2503921"/>
                  <a:pt x="1142427" y="2503766"/>
                  <a:pt x="1140981" y="2503611"/>
                </a:cubicBezTo>
                <a:lnTo>
                  <a:pt x="1138503" y="2503146"/>
                </a:lnTo>
                <a:lnTo>
                  <a:pt x="1139536" y="2503456"/>
                </a:lnTo>
                <a:cubicBezTo>
                  <a:pt x="1140568" y="2504385"/>
                  <a:pt x="1141085" y="2505780"/>
                  <a:pt x="1141188" y="2507173"/>
                </a:cubicBezTo>
                <a:cubicBezTo>
                  <a:pt x="1137987" y="2509807"/>
                  <a:pt x="1135096" y="2508568"/>
                  <a:pt x="1134476" y="2505625"/>
                </a:cubicBezTo>
                <a:lnTo>
                  <a:pt x="1134683" y="2502217"/>
                </a:lnTo>
                <a:cubicBezTo>
                  <a:pt x="1133031" y="2502062"/>
                  <a:pt x="1131689" y="2501907"/>
                  <a:pt x="1130862" y="2501752"/>
                </a:cubicBezTo>
                <a:cubicBezTo>
                  <a:pt x="1130449" y="2501133"/>
                  <a:pt x="1130449" y="2500978"/>
                  <a:pt x="1130449" y="2500978"/>
                </a:cubicBezTo>
                <a:cubicBezTo>
                  <a:pt x="1130346" y="2500049"/>
                  <a:pt x="1130862" y="2499584"/>
                  <a:pt x="1131689" y="2499429"/>
                </a:cubicBezTo>
                <a:lnTo>
                  <a:pt x="1133031" y="2499429"/>
                </a:lnTo>
                <a:lnTo>
                  <a:pt x="1131379" y="2496486"/>
                </a:lnTo>
                <a:cubicBezTo>
                  <a:pt x="1132721" y="2494472"/>
                  <a:pt x="1131792" y="2490909"/>
                  <a:pt x="1137471" y="2488896"/>
                </a:cubicBezTo>
                <a:cubicBezTo>
                  <a:pt x="1143872" y="2487193"/>
                  <a:pt x="1146248" y="2493543"/>
                  <a:pt x="1146661" y="2492923"/>
                </a:cubicBezTo>
                <a:lnTo>
                  <a:pt x="1147383" y="2492768"/>
                </a:lnTo>
                <a:lnTo>
                  <a:pt x="1146764" y="2491839"/>
                </a:lnTo>
                <a:cubicBezTo>
                  <a:pt x="1146248" y="2491374"/>
                  <a:pt x="1145938" y="2491064"/>
                  <a:pt x="1145938" y="2491064"/>
                </a:cubicBezTo>
                <a:cubicBezTo>
                  <a:pt x="1145731" y="2489205"/>
                  <a:pt x="1146454" y="2488896"/>
                  <a:pt x="1145731" y="2489205"/>
                </a:cubicBezTo>
                <a:cubicBezTo>
                  <a:pt x="1146351" y="2487037"/>
                  <a:pt x="1146454" y="2484094"/>
                  <a:pt x="1148416" y="2483939"/>
                </a:cubicBezTo>
                <a:close/>
                <a:moveTo>
                  <a:pt x="841538" y="2483165"/>
                </a:moveTo>
                <a:cubicBezTo>
                  <a:pt x="845152" y="2482081"/>
                  <a:pt x="848766" y="2481151"/>
                  <a:pt x="849490" y="2484559"/>
                </a:cubicBezTo>
                <a:cubicBezTo>
                  <a:pt x="847114" y="2488276"/>
                  <a:pt x="842055" y="2488431"/>
                  <a:pt x="841538" y="2483165"/>
                </a:cubicBezTo>
                <a:close/>
                <a:moveTo>
                  <a:pt x="950680" y="2482545"/>
                </a:moveTo>
                <a:cubicBezTo>
                  <a:pt x="955636" y="2486728"/>
                  <a:pt x="970815" y="2495092"/>
                  <a:pt x="964930" y="2502217"/>
                </a:cubicBezTo>
                <a:cubicBezTo>
                  <a:pt x="961316" y="2498809"/>
                  <a:pt x="949441" y="2490135"/>
                  <a:pt x="949751" y="2484714"/>
                </a:cubicBezTo>
                <a:cubicBezTo>
                  <a:pt x="949854" y="2483939"/>
                  <a:pt x="950061" y="2483165"/>
                  <a:pt x="950680" y="2482545"/>
                </a:cubicBezTo>
                <a:close/>
                <a:moveTo>
                  <a:pt x="714120" y="2482545"/>
                </a:moveTo>
                <a:cubicBezTo>
                  <a:pt x="716908" y="2484559"/>
                  <a:pt x="717837" y="2486882"/>
                  <a:pt x="716185" y="2489670"/>
                </a:cubicBezTo>
                <a:cubicBezTo>
                  <a:pt x="714637" y="2491529"/>
                  <a:pt x="712159" y="2494317"/>
                  <a:pt x="709370" y="2493078"/>
                </a:cubicBezTo>
                <a:cubicBezTo>
                  <a:pt x="709370" y="2492304"/>
                  <a:pt x="708441" y="2492459"/>
                  <a:pt x="708441" y="2491529"/>
                </a:cubicBezTo>
                <a:cubicBezTo>
                  <a:pt x="708441" y="2491529"/>
                  <a:pt x="707925" y="2490909"/>
                  <a:pt x="707822" y="2489670"/>
                </a:cubicBezTo>
                <a:cubicBezTo>
                  <a:pt x="707718" y="2489051"/>
                  <a:pt x="707718" y="2488276"/>
                  <a:pt x="707822" y="2487502"/>
                </a:cubicBezTo>
                <a:cubicBezTo>
                  <a:pt x="708028" y="2486728"/>
                  <a:pt x="708338" y="2485798"/>
                  <a:pt x="708957" y="2484869"/>
                </a:cubicBezTo>
                <a:cubicBezTo>
                  <a:pt x="709784" y="2483939"/>
                  <a:pt x="712262" y="2481925"/>
                  <a:pt x="712262" y="2482700"/>
                </a:cubicBezTo>
                <a:cubicBezTo>
                  <a:pt x="713191" y="2483474"/>
                  <a:pt x="713191" y="2482700"/>
                  <a:pt x="714120" y="2482545"/>
                </a:cubicBezTo>
                <a:close/>
                <a:moveTo>
                  <a:pt x="835859" y="2482390"/>
                </a:moveTo>
                <a:cubicBezTo>
                  <a:pt x="836686" y="2480841"/>
                  <a:pt x="838337" y="2482700"/>
                  <a:pt x="839164" y="2483629"/>
                </a:cubicBezTo>
                <a:cubicBezTo>
                  <a:pt x="836686" y="2483320"/>
                  <a:pt x="835859" y="2484094"/>
                  <a:pt x="835859" y="2483320"/>
                </a:cubicBezTo>
                <a:cubicBezTo>
                  <a:pt x="835446" y="2483320"/>
                  <a:pt x="835240" y="2483010"/>
                  <a:pt x="835240" y="2482855"/>
                </a:cubicBezTo>
                <a:cubicBezTo>
                  <a:pt x="835240" y="2482545"/>
                  <a:pt x="835446" y="2482390"/>
                  <a:pt x="835859" y="2482390"/>
                </a:cubicBezTo>
                <a:close/>
                <a:moveTo>
                  <a:pt x="691094" y="2481925"/>
                </a:moveTo>
                <a:lnTo>
                  <a:pt x="694398" y="2482545"/>
                </a:lnTo>
                <a:lnTo>
                  <a:pt x="695225" y="2482235"/>
                </a:lnTo>
                <a:cubicBezTo>
                  <a:pt x="695947" y="2482235"/>
                  <a:pt x="696773" y="2482545"/>
                  <a:pt x="697702" y="2483474"/>
                </a:cubicBezTo>
                <a:lnTo>
                  <a:pt x="698219" y="2484404"/>
                </a:lnTo>
                <a:lnTo>
                  <a:pt x="701110" y="2486417"/>
                </a:lnTo>
                <a:lnTo>
                  <a:pt x="699767" y="2487193"/>
                </a:lnTo>
                <a:lnTo>
                  <a:pt x="699252" y="2490290"/>
                </a:lnTo>
                <a:cubicBezTo>
                  <a:pt x="700077" y="2492148"/>
                  <a:pt x="701730" y="2493078"/>
                  <a:pt x="700903" y="2494782"/>
                </a:cubicBezTo>
                <a:cubicBezTo>
                  <a:pt x="699252" y="2491994"/>
                  <a:pt x="698425" y="2491064"/>
                  <a:pt x="697599" y="2489360"/>
                </a:cubicBezTo>
                <a:lnTo>
                  <a:pt x="696464" y="2488896"/>
                </a:lnTo>
                <a:lnTo>
                  <a:pt x="696257" y="2488896"/>
                </a:lnTo>
                <a:lnTo>
                  <a:pt x="695947" y="2488586"/>
                </a:lnTo>
                <a:lnTo>
                  <a:pt x="695018" y="2488276"/>
                </a:lnTo>
                <a:lnTo>
                  <a:pt x="694915" y="2487812"/>
                </a:lnTo>
                <a:lnTo>
                  <a:pt x="692746" y="2486728"/>
                </a:lnTo>
                <a:cubicBezTo>
                  <a:pt x="690888" y="2485953"/>
                  <a:pt x="689029" y="2485179"/>
                  <a:pt x="689029" y="2485179"/>
                </a:cubicBezTo>
                <a:cubicBezTo>
                  <a:pt x="688720" y="2484094"/>
                  <a:pt x="688513" y="2483474"/>
                  <a:pt x="688720" y="2483010"/>
                </a:cubicBezTo>
                <a:cubicBezTo>
                  <a:pt x="689029" y="2482700"/>
                  <a:pt x="689649" y="2482390"/>
                  <a:pt x="691094" y="2481925"/>
                </a:cubicBezTo>
                <a:close/>
                <a:moveTo>
                  <a:pt x="1218114" y="2481461"/>
                </a:moveTo>
                <a:cubicBezTo>
                  <a:pt x="1223690" y="2479292"/>
                  <a:pt x="1226891" y="2482390"/>
                  <a:pt x="1227923" y="2487037"/>
                </a:cubicBezTo>
                <a:cubicBezTo>
                  <a:pt x="1228853" y="2491064"/>
                  <a:pt x="1228336" y="2496021"/>
                  <a:pt x="1226477" y="2499893"/>
                </a:cubicBezTo>
                <a:lnTo>
                  <a:pt x="1223277" y="2504385"/>
                </a:lnTo>
                <a:lnTo>
                  <a:pt x="1228439" y="2502837"/>
                </a:lnTo>
                <a:cubicBezTo>
                  <a:pt x="1232054" y="2502372"/>
                  <a:pt x="1235048" y="2502527"/>
                  <a:pt x="1237732" y="2503146"/>
                </a:cubicBezTo>
                <a:lnTo>
                  <a:pt x="1240624" y="2504385"/>
                </a:lnTo>
                <a:lnTo>
                  <a:pt x="1242895" y="2504231"/>
                </a:lnTo>
                <a:lnTo>
                  <a:pt x="1244031" y="2504076"/>
                </a:lnTo>
                <a:lnTo>
                  <a:pt x="1242173" y="2503146"/>
                </a:lnTo>
                <a:cubicBezTo>
                  <a:pt x="1241037" y="2502527"/>
                  <a:pt x="1241037" y="2502527"/>
                  <a:pt x="1240417" y="2503611"/>
                </a:cubicBezTo>
                <a:cubicBezTo>
                  <a:pt x="1239281" y="2502992"/>
                  <a:pt x="1239281" y="2502992"/>
                  <a:pt x="1238765" y="2501442"/>
                </a:cubicBezTo>
                <a:cubicBezTo>
                  <a:pt x="1239591" y="2501752"/>
                  <a:pt x="1242586" y="2502681"/>
                  <a:pt x="1243928" y="2503611"/>
                </a:cubicBezTo>
                <a:lnTo>
                  <a:pt x="1244238" y="2504076"/>
                </a:lnTo>
                <a:lnTo>
                  <a:pt x="1245270" y="2504076"/>
                </a:lnTo>
                <a:cubicBezTo>
                  <a:pt x="1245787" y="2502992"/>
                  <a:pt x="1245683" y="2503146"/>
                  <a:pt x="1245993" y="2503921"/>
                </a:cubicBezTo>
                <a:lnTo>
                  <a:pt x="1246819" y="2504076"/>
                </a:lnTo>
                <a:lnTo>
                  <a:pt x="1249194" y="2504076"/>
                </a:lnTo>
                <a:cubicBezTo>
                  <a:pt x="1251363" y="2504231"/>
                  <a:pt x="1253324" y="2504385"/>
                  <a:pt x="1254357" y="2504850"/>
                </a:cubicBezTo>
                <a:lnTo>
                  <a:pt x="1248781" y="2505160"/>
                </a:lnTo>
                <a:lnTo>
                  <a:pt x="1251672" y="2505780"/>
                </a:lnTo>
                <a:cubicBezTo>
                  <a:pt x="1253014" y="2505780"/>
                  <a:pt x="1254254" y="2505625"/>
                  <a:pt x="1254563" y="2505160"/>
                </a:cubicBezTo>
                <a:cubicBezTo>
                  <a:pt x="1254873" y="2505935"/>
                  <a:pt x="1255905" y="2506554"/>
                  <a:pt x="1255905" y="2506554"/>
                </a:cubicBezTo>
                <a:cubicBezTo>
                  <a:pt x="1255389" y="2507638"/>
                  <a:pt x="1254666" y="2507793"/>
                  <a:pt x="1253840" y="2508103"/>
                </a:cubicBezTo>
                <a:cubicBezTo>
                  <a:pt x="1252705" y="2507483"/>
                  <a:pt x="1252395" y="2506709"/>
                  <a:pt x="1251259" y="2506089"/>
                </a:cubicBezTo>
                <a:cubicBezTo>
                  <a:pt x="1250536" y="2506245"/>
                  <a:pt x="1248884" y="2506709"/>
                  <a:pt x="1247748" y="2506089"/>
                </a:cubicBezTo>
                <a:lnTo>
                  <a:pt x="1246509" y="2505160"/>
                </a:lnTo>
                <a:lnTo>
                  <a:pt x="1240830" y="2504541"/>
                </a:lnTo>
                <a:lnTo>
                  <a:pt x="1245167" y="2506245"/>
                </a:lnTo>
                <a:cubicBezTo>
                  <a:pt x="1249813" y="2509032"/>
                  <a:pt x="1254254" y="2512595"/>
                  <a:pt x="1260242" y="2515074"/>
                </a:cubicBezTo>
                <a:cubicBezTo>
                  <a:pt x="1257455" y="2525607"/>
                  <a:pt x="1263133" y="2528395"/>
                  <a:pt x="1266025" y="2533351"/>
                </a:cubicBezTo>
                <a:cubicBezTo>
                  <a:pt x="1260759" y="2539547"/>
                  <a:pt x="1259829" y="2549615"/>
                  <a:pt x="1256112" y="2557825"/>
                </a:cubicBezTo>
                <a:lnTo>
                  <a:pt x="1245167" y="2563246"/>
                </a:lnTo>
                <a:lnTo>
                  <a:pt x="1245064" y="2564175"/>
                </a:lnTo>
                <a:lnTo>
                  <a:pt x="1243412" y="2564021"/>
                </a:lnTo>
                <a:lnTo>
                  <a:pt x="1241863" y="2564950"/>
                </a:lnTo>
                <a:lnTo>
                  <a:pt x="1240417" y="2565570"/>
                </a:lnTo>
                <a:lnTo>
                  <a:pt x="1242586" y="2566963"/>
                </a:lnTo>
                <a:cubicBezTo>
                  <a:pt x="1243308" y="2567738"/>
                  <a:pt x="1243928" y="2569752"/>
                  <a:pt x="1244031" y="2571765"/>
                </a:cubicBezTo>
                <a:cubicBezTo>
                  <a:pt x="1244238" y="2573779"/>
                  <a:pt x="1244031" y="2575793"/>
                  <a:pt x="1242999" y="2577187"/>
                </a:cubicBezTo>
                <a:cubicBezTo>
                  <a:pt x="1241450" y="2576257"/>
                  <a:pt x="1239901" y="2575328"/>
                  <a:pt x="1238352" y="2574399"/>
                </a:cubicBezTo>
                <a:cubicBezTo>
                  <a:pt x="1239178" y="2574554"/>
                  <a:pt x="1238352" y="2566809"/>
                  <a:pt x="1238352" y="2566809"/>
                </a:cubicBezTo>
                <a:lnTo>
                  <a:pt x="1239901" y="2565879"/>
                </a:lnTo>
                <a:lnTo>
                  <a:pt x="1234119" y="2568667"/>
                </a:lnTo>
                <a:lnTo>
                  <a:pt x="1234841" y="2569442"/>
                </a:lnTo>
                <a:cubicBezTo>
                  <a:pt x="1236080" y="2571920"/>
                  <a:pt x="1234738" y="2574399"/>
                  <a:pt x="1231331" y="2577187"/>
                </a:cubicBezTo>
                <a:cubicBezTo>
                  <a:pt x="1229575" y="2576412"/>
                  <a:pt x="1227923" y="2576412"/>
                  <a:pt x="1225342" y="2575793"/>
                </a:cubicBezTo>
                <a:lnTo>
                  <a:pt x="1226994" y="2571765"/>
                </a:lnTo>
                <a:lnTo>
                  <a:pt x="1219456" y="2568513"/>
                </a:lnTo>
                <a:cubicBezTo>
                  <a:pt x="1210370" y="2566035"/>
                  <a:pt x="1199115" y="2565570"/>
                  <a:pt x="1195397" y="2556896"/>
                </a:cubicBezTo>
                <a:lnTo>
                  <a:pt x="1195810" y="2553952"/>
                </a:lnTo>
                <a:lnTo>
                  <a:pt x="1195501" y="2553642"/>
                </a:lnTo>
                <a:cubicBezTo>
                  <a:pt x="1194881" y="2552868"/>
                  <a:pt x="1194468" y="2551939"/>
                  <a:pt x="1194674" y="2551009"/>
                </a:cubicBezTo>
                <a:lnTo>
                  <a:pt x="1195707" y="2549305"/>
                </a:lnTo>
                <a:lnTo>
                  <a:pt x="1194674" y="2544659"/>
                </a:lnTo>
                <a:lnTo>
                  <a:pt x="1194881" y="2543574"/>
                </a:lnTo>
                <a:lnTo>
                  <a:pt x="1194365" y="2542025"/>
                </a:lnTo>
                <a:lnTo>
                  <a:pt x="1190958" y="2542335"/>
                </a:lnTo>
                <a:cubicBezTo>
                  <a:pt x="1189822" y="2541871"/>
                  <a:pt x="1189099" y="2541096"/>
                  <a:pt x="1188892" y="2540012"/>
                </a:cubicBezTo>
                <a:cubicBezTo>
                  <a:pt x="1188583" y="2538927"/>
                  <a:pt x="1188686" y="2537843"/>
                  <a:pt x="1189099" y="2536759"/>
                </a:cubicBezTo>
                <a:cubicBezTo>
                  <a:pt x="1189099" y="2535829"/>
                  <a:pt x="1189719" y="2535055"/>
                  <a:pt x="1190544" y="2534590"/>
                </a:cubicBezTo>
                <a:cubicBezTo>
                  <a:pt x="1191370" y="2534281"/>
                  <a:pt x="1192403" y="2534126"/>
                  <a:pt x="1193333" y="2534126"/>
                </a:cubicBezTo>
                <a:lnTo>
                  <a:pt x="1193539" y="2534281"/>
                </a:lnTo>
                <a:lnTo>
                  <a:pt x="1198082" y="2525607"/>
                </a:lnTo>
                <a:cubicBezTo>
                  <a:pt x="1201490" y="2520185"/>
                  <a:pt x="1205723" y="2514918"/>
                  <a:pt x="1210886" y="2510891"/>
                </a:cubicBezTo>
                <a:lnTo>
                  <a:pt x="1217598" y="2506554"/>
                </a:lnTo>
                <a:lnTo>
                  <a:pt x="1215120" y="2495247"/>
                </a:lnTo>
                <a:cubicBezTo>
                  <a:pt x="1215016" y="2491064"/>
                  <a:pt x="1215842" y="2486573"/>
                  <a:pt x="1218114" y="2481461"/>
                </a:cubicBezTo>
                <a:close/>
                <a:moveTo>
                  <a:pt x="1382498" y="2480841"/>
                </a:moveTo>
                <a:cubicBezTo>
                  <a:pt x="1382498" y="2480841"/>
                  <a:pt x="1383014" y="2481616"/>
                  <a:pt x="1383014" y="2481616"/>
                </a:cubicBezTo>
                <a:cubicBezTo>
                  <a:pt x="1382807" y="2484559"/>
                  <a:pt x="1381568" y="2484094"/>
                  <a:pt x="1379194" y="2483474"/>
                </a:cubicBezTo>
                <a:cubicBezTo>
                  <a:pt x="1379090" y="2482545"/>
                  <a:pt x="1379194" y="2481771"/>
                  <a:pt x="1379607" y="2481306"/>
                </a:cubicBezTo>
                <a:cubicBezTo>
                  <a:pt x="1380123" y="2480841"/>
                  <a:pt x="1380949" y="2480686"/>
                  <a:pt x="1382498" y="2480841"/>
                </a:cubicBezTo>
                <a:close/>
                <a:moveTo>
                  <a:pt x="935399" y="2480841"/>
                </a:moveTo>
                <a:cubicBezTo>
                  <a:pt x="936637" y="2480531"/>
                  <a:pt x="937773" y="2480067"/>
                  <a:pt x="937360" y="2480841"/>
                </a:cubicBezTo>
                <a:cubicBezTo>
                  <a:pt x="938083" y="2481151"/>
                  <a:pt x="937670" y="2481925"/>
                  <a:pt x="937980" y="2483010"/>
                </a:cubicBezTo>
                <a:cubicBezTo>
                  <a:pt x="937876" y="2484869"/>
                  <a:pt x="936637" y="2487193"/>
                  <a:pt x="935502" y="2487502"/>
                </a:cubicBezTo>
                <a:cubicBezTo>
                  <a:pt x="934263" y="2487967"/>
                  <a:pt x="933540" y="2487502"/>
                  <a:pt x="933540" y="2487502"/>
                </a:cubicBezTo>
                <a:cubicBezTo>
                  <a:pt x="932817" y="2486263"/>
                  <a:pt x="932404" y="2485024"/>
                  <a:pt x="932610" y="2483784"/>
                </a:cubicBezTo>
                <a:cubicBezTo>
                  <a:pt x="932817" y="2482545"/>
                  <a:pt x="933643" y="2481461"/>
                  <a:pt x="935399" y="2480841"/>
                </a:cubicBezTo>
                <a:close/>
                <a:moveTo>
                  <a:pt x="1310425" y="2480686"/>
                </a:moveTo>
                <a:cubicBezTo>
                  <a:pt x="1311251" y="2480686"/>
                  <a:pt x="1311148" y="2480686"/>
                  <a:pt x="1311974" y="2481461"/>
                </a:cubicBezTo>
                <a:cubicBezTo>
                  <a:pt x="1312800" y="2481461"/>
                  <a:pt x="1311044" y="2485024"/>
                  <a:pt x="1310941" y="2485953"/>
                </a:cubicBezTo>
                <a:cubicBezTo>
                  <a:pt x="1310115" y="2485953"/>
                  <a:pt x="1310218" y="2485953"/>
                  <a:pt x="1310218" y="2485024"/>
                </a:cubicBezTo>
                <a:cubicBezTo>
                  <a:pt x="1310012" y="2485179"/>
                  <a:pt x="1310012" y="2485179"/>
                  <a:pt x="1309908" y="2485333"/>
                </a:cubicBezTo>
                <a:cubicBezTo>
                  <a:pt x="1309599" y="2484714"/>
                  <a:pt x="1309186" y="2484094"/>
                  <a:pt x="1309289" y="2483320"/>
                </a:cubicBezTo>
                <a:cubicBezTo>
                  <a:pt x="1309496" y="2482545"/>
                  <a:pt x="1309908" y="2481616"/>
                  <a:pt x="1310425" y="2480686"/>
                </a:cubicBezTo>
                <a:close/>
                <a:moveTo>
                  <a:pt x="927241" y="2480067"/>
                </a:moveTo>
                <a:cubicBezTo>
                  <a:pt x="927654" y="2481306"/>
                  <a:pt x="927551" y="2483010"/>
                  <a:pt x="926415" y="2483474"/>
                </a:cubicBezTo>
                <a:cubicBezTo>
                  <a:pt x="925589" y="2483939"/>
                  <a:pt x="925176" y="2483784"/>
                  <a:pt x="924866" y="2483320"/>
                </a:cubicBezTo>
                <a:cubicBezTo>
                  <a:pt x="924556" y="2482855"/>
                  <a:pt x="924247" y="2482081"/>
                  <a:pt x="923731" y="2481306"/>
                </a:cubicBezTo>
                <a:close/>
                <a:moveTo>
                  <a:pt x="914954" y="2480067"/>
                </a:moveTo>
                <a:cubicBezTo>
                  <a:pt x="918464" y="2478827"/>
                  <a:pt x="921149" y="2478983"/>
                  <a:pt x="922595" y="2481616"/>
                </a:cubicBezTo>
                <a:cubicBezTo>
                  <a:pt x="923214" y="2483784"/>
                  <a:pt x="924143" y="2487193"/>
                  <a:pt x="921356" y="2488741"/>
                </a:cubicBezTo>
                <a:cubicBezTo>
                  <a:pt x="920633" y="2488431"/>
                  <a:pt x="920117" y="2489205"/>
                  <a:pt x="919394" y="2488896"/>
                </a:cubicBezTo>
                <a:cubicBezTo>
                  <a:pt x="919394" y="2488896"/>
                  <a:pt x="918464" y="2488896"/>
                  <a:pt x="917329" y="2488431"/>
                </a:cubicBezTo>
                <a:cubicBezTo>
                  <a:pt x="916090" y="2487967"/>
                  <a:pt x="914747" y="2487193"/>
                  <a:pt x="913818" y="2485333"/>
                </a:cubicBezTo>
                <a:cubicBezTo>
                  <a:pt x="913715" y="2484714"/>
                  <a:pt x="913508" y="2483784"/>
                  <a:pt x="913508" y="2482855"/>
                </a:cubicBezTo>
                <a:cubicBezTo>
                  <a:pt x="913508" y="2482081"/>
                  <a:pt x="913715" y="2481461"/>
                  <a:pt x="914024" y="2481616"/>
                </a:cubicBezTo>
                <a:cubicBezTo>
                  <a:pt x="915263" y="2481151"/>
                  <a:pt x="914540" y="2480841"/>
                  <a:pt x="914954" y="2480067"/>
                </a:cubicBezTo>
                <a:close/>
                <a:moveTo>
                  <a:pt x="583811" y="2478673"/>
                </a:moveTo>
                <a:cubicBezTo>
                  <a:pt x="583708" y="2480377"/>
                  <a:pt x="587218" y="2481616"/>
                  <a:pt x="585463" y="2483165"/>
                </a:cubicBezTo>
                <a:cubicBezTo>
                  <a:pt x="584533" y="2482235"/>
                  <a:pt x="583708" y="2480377"/>
                  <a:pt x="582882" y="2479447"/>
                </a:cubicBezTo>
                <a:cubicBezTo>
                  <a:pt x="582882" y="2479447"/>
                  <a:pt x="582882" y="2479447"/>
                  <a:pt x="583811" y="2478673"/>
                </a:cubicBezTo>
                <a:close/>
                <a:moveTo>
                  <a:pt x="783612" y="2477588"/>
                </a:moveTo>
                <a:cubicBezTo>
                  <a:pt x="784231" y="2477743"/>
                  <a:pt x="784748" y="2478053"/>
                  <a:pt x="784851" y="2478673"/>
                </a:cubicBezTo>
                <a:cubicBezTo>
                  <a:pt x="782476" y="2478983"/>
                  <a:pt x="779172" y="2480841"/>
                  <a:pt x="776590" y="2478208"/>
                </a:cubicBezTo>
                <a:cubicBezTo>
                  <a:pt x="778449" y="2477898"/>
                  <a:pt x="781856" y="2476969"/>
                  <a:pt x="783612" y="2477588"/>
                </a:cubicBezTo>
                <a:close/>
                <a:moveTo>
                  <a:pt x="1181974" y="2474800"/>
                </a:moveTo>
                <a:cubicBezTo>
                  <a:pt x="1181974" y="2475730"/>
                  <a:pt x="1182077" y="2476504"/>
                  <a:pt x="1181251" y="2476659"/>
                </a:cubicBezTo>
                <a:lnTo>
                  <a:pt x="1180735" y="2477279"/>
                </a:lnTo>
                <a:lnTo>
                  <a:pt x="1182491" y="2477743"/>
                </a:lnTo>
                <a:cubicBezTo>
                  <a:pt x="1183626" y="2478363"/>
                  <a:pt x="1184762" y="2479447"/>
                  <a:pt x="1185795" y="2480841"/>
                </a:cubicBezTo>
                <a:cubicBezTo>
                  <a:pt x="1184968" y="2484869"/>
                  <a:pt x="1182594" y="2485798"/>
                  <a:pt x="1180941" y="2488276"/>
                </a:cubicBezTo>
                <a:cubicBezTo>
                  <a:pt x="1175985" y="2487347"/>
                  <a:pt x="1173817" y="2485024"/>
                  <a:pt x="1173404" y="2482855"/>
                </a:cubicBezTo>
                <a:cubicBezTo>
                  <a:pt x="1173301" y="2482081"/>
                  <a:pt x="1173301" y="2481306"/>
                  <a:pt x="1173507" y="2480531"/>
                </a:cubicBezTo>
                <a:cubicBezTo>
                  <a:pt x="1173817" y="2479602"/>
                  <a:pt x="1174437" y="2478827"/>
                  <a:pt x="1175263" y="2478208"/>
                </a:cubicBezTo>
                <a:cubicBezTo>
                  <a:pt x="1176295" y="2477279"/>
                  <a:pt x="1177637" y="2476659"/>
                  <a:pt x="1179186" y="2476659"/>
                </a:cubicBezTo>
                <a:lnTo>
                  <a:pt x="1180529" y="2477124"/>
                </a:lnTo>
                <a:lnTo>
                  <a:pt x="1180425" y="2475110"/>
                </a:lnTo>
                <a:cubicBezTo>
                  <a:pt x="1181148" y="2474181"/>
                  <a:pt x="1181148" y="2474181"/>
                  <a:pt x="1181974" y="2474800"/>
                </a:cubicBezTo>
                <a:close/>
                <a:moveTo>
                  <a:pt x="5184179" y="2474767"/>
                </a:moveTo>
                <a:cubicBezTo>
                  <a:pt x="5185246" y="2474482"/>
                  <a:pt x="5186740" y="2474767"/>
                  <a:pt x="5187807" y="2476474"/>
                </a:cubicBezTo>
                <a:cubicBezTo>
                  <a:pt x="5187380" y="2479035"/>
                  <a:pt x="5186100" y="2481880"/>
                  <a:pt x="5184606" y="2484868"/>
                </a:cubicBezTo>
                <a:cubicBezTo>
                  <a:pt x="5177990" y="2483730"/>
                  <a:pt x="5180551" y="2475905"/>
                  <a:pt x="5184179" y="2474767"/>
                </a:cubicBezTo>
                <a:close/>
                <a:moveTo>
                  <a:pt x="1461592" y="2474181"/>
                </a:moveTo>
                <a:lnTo>
                  <a:pt x="1460250" y="2475420"/>
                </a:lnTo>
                <a:lnTo>
                  <a:pt x="1461282" y="2475110"/>
                </a:lnTo>
                <a:close/>
                <a:moveTo>
                  <a:pt x="5114177" y="2473629"/>
                </a:moveTo>
                <a:cubicBezTo>
                  <a:pt x="5123781" y="2475336"/>
                  <a:pt x="5123355" y="2482591"/>
                  <a:pt x="5117592" y="2489278"/>
                </a:cubicBezTo>
                <a:cubicBezTo>
                  <a:pt x="5113751" y="2488140"/>
                  <a:pt x="5109696" y="2487144"/>
                  <a:pt x="5107348" y="2484015"/>
                </a:cubicBezTo>
                <a:cubicBezTo>
                  <a:pt x="5109909" y="2479889"/>
                  <a:pt x="5110976" y="2476047"/>
                  <a:pt x="5114177" y="2473629"/>
                </a:cubicBezTo>
                <a:close/>
                <a:moveTo>
                  <a:pt x="1355135" y="2471392"/>
                </a:moveTo>
                <a:cubicBezTo>
                  <a:pt x="1356064" y="2471238"/>
                  <a:pt x="1357303" y="2471547"/>
                  <a:pt x="1359162" y="2472787"/>
                </a:cubicBezTo>
                <a:cubicBezTo>
                  <a:pt x="1358232" y="2475730"/>
                  <a:pt x="1357200" y="2476814"/>
                  <a:pt x="1356167" y="2476814"/>
                </a:cubicBezTo>
                <a:cubicBezTo>
                  <a:pt x="1355135" y="2476969"/>
                  <a:pt x="1354309" y="2475730"/>
                  <a:pt x="1353999" y="2474336"/>
                </a:cubicBezTo>
                <a:cubicBezTo>
                  <a:pt x="1353586" y="2472941"/>
                  <a:pt x="1353896" y="2471703"/>
                  <a:pt x="1355135" y="2471392"/>
                </a:cubicBezTo>
                <a:close/>
                <a:moveTo>
                  <a:pt x="5397599" y="2470499"/>
                </a:moveTo>
                <a:cubicBezTo>
                  <a:pt x="5398452" y="2470641"/>
                  <a:pt x="5399093" y="2470925"/>
                  <a:pt x="5400587" y="2471495"/>
                </a:cubicBezTo>
                <a:cubicBezTo>
                  <a:pt x="5399520" y="2471922"/>
                  <a:pt x="5397812" y="2474055"/>
                  <a:pt x="5396318" y="2473629"/>
                </a:cubicBezTo>
                <a:cubicBezTo>
                  <a:pt x="5394824" y="2473060"/>
                  <a:pt x="5394611" y="2473060"/>
                  <a:pt x="5393971" y="2470925"/>
                </a:cubicBezTo>
                <a:cubicBezTo>
                  <a:pt x="5395678" y="2470641"/>
                  <a:pt x="5396745" y="2470499"/>
                  <a:pt x="5397599" y="2470499"/>
                </a:cubicBezTo>
                <a:close/>
                <a:moveTo>
                  <a:pt x="1172165" y="2470308"/>
                </a:moveTo>
                <a:cubicBezTo>
                  <a:pt x="1172991" y="2470153"/>
                  <a:pt x="1172991" y="2470153"/>
                  <a:pt x="1173920" y="2470928"/>
                </a:cubicBezTo>
                <a:cubicBezTo>
                  <a:pt x="1174746" y="2470773"/>
                  <a:pt x="1173301" y="2474336"/>
                  <a:pt x="1173404" y="2475265"/>
                </a:cubicBezTo>
                <a:cubicBezTo>
                  <a:pt x="1172578" y="2475420"/>
                  <a:pt x="1172474" y="2475420"/>
                  <a:pt x="1172474" y="2474491"/>
                </a:cubicBezTo>
                <a:cubicBezTo>
                  <a:pt x="1172371" y="2474646"/>
                  <a:pt x="1172371" y="2474646"/>
                  <a:pt x="1172268" y="2474800"/>
                </a:cubicBezTo>
                <a:cubicBezTo>
                  <a:pt x="1171855" y="2474181"/>
                  <a:pt x="1171339" y="2473561"/>
                  <a:pt x="1171442" y="2472941"/>
                </a:cubicBezTo>
                <a:cubicBezTo>
                  <a:pt x="1171442" y="2472012"/>
                  <a:pt x="1171855" y="2471238"/>
                  <a:pt x="1172165" y="2470308"/>
                </a:cubicBezTo>
                <a:close/>
                <a:moveTo>
                  <a:pt x="5402721" y="2469503"/>
                </a:moveTo>
                <a:cubicBezTo>
                  <a:pt x="5403148" y="2469361"/>
                  <a:pt x="5403575" y="2469503"/>
                  <a:pt x="5403788" y="2470072"/>
                </a:cubicBezTo>
                <a:cubicBezTo>
                  <a:pt x="5404215" y="2470925"/>
                  <a:pt x="5402935" y="2471495"/>
                  <a:pt x="5401440" y="2471210"/>
                </a:cubicBezTo>
                <a:cubicBezTo>
                  <a:pt x="5401440" y="2471210"/>
                  <a:pt x="5401013" y="2470214"/>
                  <a:pt x="5401013" y="2470214"/>
                </a:cubicBezTo>
                <a:cubicBezTo>
                  <a:pt x="5401654" y="2469930"/>
                  <a:pt x="5402080" y="2469503"/>
                  <a:pt x="5402721" y="2469503"/>
                </a:cubicBezTo>
                <a:close/>
                <a:moveTo>
                  <a:pt x="993635" y="2468760"/>
                </a:moveTo>
                <a:lnTo>
                  <a:pt x="1001895" y="2472632"/>
                </a:lnTo>
                <a:lnTo>
                  <a:pt x="1003031" y="2471083"/>
                </a:lnTo>
                <a:cubicBezTo>
                  <a:pt x="1004064" y="2470308"/>
                  <a:pt x="1006026" y="2469689"/>
                  <a:pt x="1008194" y="2469379"/>
                </a:cubicBezTo>
                <a:cubicBezTo>
                  <a:pt x="1010362" y="2469069"/>
                  <a:pt x="1012531" y="2469224"/>
                  <a:pt x="1013667" y="2470153"/>
                </a:cubicBezTo>
                <a:cubicBezTo>
                  <a:pt x="1012531" y="2471703"/>
                  <a:pt x="1011498" y="2473251"/>
                  <a:pt x="1010362" y="2474800"/>
                </a:cubicBezTo>
                <a:cubicBezTo>
                  <a:pt x="1010362" y="2474491"/>
                  <a:pt x="1008400" y="2474491"/>
                  <a:pt x="1006335" y="2474646"/>
                </a:cubicBezTo>
                <a:lnTo>
                  <a:pt x="1010465" y="2476659"/>
                </a:lnTo>
                <a:cubicBezTo>
                  <a:pt x="1015215" y="2479602"/>
                  <a:pt x="1017281" y="2483474"/>
                  <a:pt x="1010982" y="2489825"/>
                </a:cubicBezTo>
                <a:cubicBezTo>
                  <a:pt x="1006542" y="2480841"/>
                  <a:pt x="993738" y="2476969"/>
                  <a:pt x="993635" y="2468760"/>
                </a:cubicBezTo>
                <a:close/>
                <a:moveTo>
                  <a:pt x="752428" y="2468760"/>
                </a:moveTo>
                <a:cubicBezTo>
                  <a:pt x="753358" y="2469379"/>
                  <a:pt x="756042" y="2469069"/>
                  <a:pt x="757901" y="2469534"/>
                </a:cubicBezTo>
                <a:cubicBezTo>
                  <a:pt x="758004" y="2470308"/>
                  <a:pt x="758933" y="2471083"/>
                  <a:pt x="758933" y="2471857"/>
                </a:cubicBezTo>
                <a:cubicBezTo>
                  <a:pt x="758004" y="2472012"/>
                  <a:pt x="756249" y="2472941"/>
                  <a:pt x="756249" y="2472167"/>
                </a:cubicBezTo>
                <a:cubicBezTo>
                  <a:pt x="755320" y="2472322"/>
                  <a:pt x="755320" y="2470773"/>
                  <a:pt x="755320" y="2470773"/>
                </a:cubicBezTo>
                <a:cubicBezTo>
                  <a:pt x="754390" y="2470773"/>
                  <a:pt x="753461" y="2471083"/>
                  <a:pt x="752531" y="2470308"/>
                </a:cubicBezTo>
                <a:cubicBezTo>
                  <a:pt x="753358" y="2469379"/>
                  <a:pt x="752428" y="2469534"/>
                  <a:pt x="752428" y="2468760"/>
                </a:cubicBezTo>
                <a:close/>
                <a:moveTo>
                  <a:pt x="1221831" y="2467985"/>
                </a:moveTo>
                <a:cubicBezTo>
                  <a:pt x="1224309" y="2467210"/>
                  <a:pt x="1225652" y="2469844"/>
                  <a:pt x="1225238" y="2470618"/>
                </a:cubicBezTo>
                <a:cubicBezTo>
                  <a:pt x="1223999" y="2471083"/>
                  <a:pt x="1222554" y="2470308"/>
                  <a:pt x="1221315" y="2470773"/>
                </a:cubicBezTo>
                <a:cubicBezTo>
                  <a:pt x="1221728" y="2469999"/>
                  <a:pt x="1221418" y="2468760"/>
                  <a:pt x="1221831" y="2467985"/>
                </a:cubicBezTo>
                <a:close/>
                <a:moveTo>
                  <a:pt x="5409337" y="2467226"/>
                </a:moveTo>
                <a:cubicBezTo>
                  <a:pt x="5409337" y="2467226"/>
                  <a:pt x="5408483" y="2468791"/>
                  <a:pt x="5408483" y="2468791"/>
                </a:cubicBezTo>
                <a:cubicBezTo>
                  <a:pt x="5406989" y="2468507"/>
                  <a:pt x="5407203" y="2469361"/>
                  <a:pt x="5406563" y="2467369"/>
                </a:cubicBezTo>
                <a:cubicBezTo>
                  <a:pt x="5408056" y="2467796"/>
                  <a:pt x="5408056" y="2467796"/>
                  <a:pt x="5409337" y="2467226"/>
                </a:cubicBezTo>
                <a:close/>
                <a:moveTo>
                  <a:pt x="1201283" y="2467056"/>
                </a:moveTo>
                <a:cubicBezTo>
                  <a:pt x="1202626" y="2470618"/>
                  <a:pt x="1204174" y="2474026"/>
                  <a:pt x="1205104" y="2477743"/>
                </a:cubicBezTo>
                <a:cubicBezTo>
                  <a:pt x="1206033" y="2481461"/>
                  <a:pt x="1206239" y="2485489"/>
                  <a:pt x="1204794" y="2490290"/>
                </a:cubicBezTo>
                <a:cubicBezTo>
                  <a:pt x="1200147" y="2488431"/>
                  <a:pt x="1198599" y="2484094"/>
                  <a:pt x="1198495" y="2479602"/>
                </a:cubicBezTo>
                <a:cubicBezTo>
                  <a:pt x="1198392" y="2474955"/>
                  <a:pt x="1199838" y="2470153"/>
                  <a:pt x="1201283" y="2467056"/>
                </a:cubicBezTo>
                <a:close/>
                <a:moveTo>
                  <a:pt x="1279448" y="2466281"/>
                </a:moveTo>
                <a:cubicBezTo>
                  <a:pt x="1277073" y="2470618"/>
                  <a:pt x="1274595" y="2471392"/>
                  <a:pt x="1271704" y="2470618"/>
                </a:cubicBezTo>
                <a:cubicBezTo>
                  <a:pt x="1271291" y="2469224"/>
                  <a:pt x="1271394" y="2467985"/>
                  <a:pt x="1271807" y="2466901"/>
                </a:cubicBezTo>
                <a:cubicBezTo>
                  <a:pt x="1273046" y="2463803"/>
                  <a:pt x="1277176" y="2462563"/>
                  <a:pt x="1279448" y="2466281"/>
                </a:cubicBezTo>
                <a:close/>
                <a:moveTo>
                  <a:pt x="1307224" y="2465817"/>
                </a:moveTo>
                <a:cubicBezTo>
                  <a:pt x="1311458" y="2466281"/>
                  <a:pt x="1315174" y="2472632"/>
                  <a:pt x="1309908" y="2476194"/>
                </a:cubicBezTo>
                <a:cubicBezTo>
                  <a:pt x="1307224" y="2476659"/>
                  <a:pt x="1304539" y="2477124"/>
                  <a:pt x="1301648" y="2474336"/>
                </a:cubicBezTo>
                <a:cubicBezTo>
                  <a:pt x="1301648" y="2470928"/>
                  <a:pt x="1302991" y="2468604"/>
                  <a:pt x="1307224" y="2465817"/>
                </a:cubicBezTo>
                <a:close/>
                <a:moveTo>
                  <a:pt x="1243928" y="2464732"/>
                </a:moveTo>
                <a:cubicBezTo>
                  <a:pt x="1244547" y="2466901"/>
                  <a:pt x="1248884" y="2465971"/>
                  <a:pt x="1249813" y="2469379"/>
                </a:cubicBezTo>
                <a:cubicBezTo>
                  <a:pt x="1249400" y="2470153"/>
                  <a:pt x="1249091" y="2470773"/>
                  <a:pt x="1248678" y="2471238"/>
                </a:cubicBezTo>
                <a:lnTo>
                  <a:pt x="1248574" y="2471392"/>
                </a:lnTo>
                <a:lnTo>
                  <a:pt x="1249607" y="2471857"/>
                </a:lnTo>
                <a:cubicBezTo>
                  <a:pt x="1250433" y="2471703"/>
                  <a:pt x="1251569" y="2472322"/>
                  <a:pt x="1251775" y="2473096"/>
                </a:cubicBezTo>
                <a:cubicBezTo>
                  <a:pt x="1251775" y="2473096"/>
                  <a:pt x="1252911" y="2473561"/>
                  <a:pt x="1253737" y="2473406"/>
                </a:cubicBezTo>
                <a:cubicBezTo>
                  <a:pt x="1255905" y="2474491"/>
                  <a:pt x="1256215" y="2475420"/>
                  <a:pt x="1256525" y="2476194"/>
                </a:cubicBezTo>
                <a:cubicBezTo>
                  <a:pt x="1256525" y="2476194"/>
                  <a:pt x="1255389" y="2475575"/>
                  <a:pt x="1254563" y="2475730"/>
                </a:cubicBezTo>
                <a:cubicBezTo>
                  <a:pt x="1254563" y="2475730"/>
                  <a:pt x="1253531" y="2475110"/>
                  <a:pt x="1252395" y="2474646"/>
                </a:cubicBezTo>
                <a:cubicBezTo>
                  <a:pt x="1252395" y="2474646"/>
                  <a:pt x="1251569" y="2474800"/>
                  <a:pt x="1250743" y="2475110"/>
                </a:cubicBezTo>
                <a:cubicBezTo>
                  <a:pt x="1249297" y="2474646"/>
                  <a:pt x="1247955" y="2474181"/>
                  <a:pt x="1247129" y="2473561"/>
                </a:cubicBezTo>
                <a:lnTo>
                  <a:pt x="1246819" y="2472941"/>
                </a:lnTo>
                <a:lnTo>
                  <a:pt x="1241140" y="2473716"/>
                </a:lnTo>
                <a:cubicBezTo>
                  <a:pt x="1236494" y="2473716"/>
                  <a:pt x="1234945" y="2471547"/>
                  <a:pt x="1234015" y="2471857"/>
                </a:cubicBezTo>
                <a:cubicBezTo>
                  <a:pt x="1233809" y="2470928"/>
                  <a:pt x="1233705" y="2470308"/>
                  <a:pt x="1233912" y="2469689"/>
                </a:cubicBezTo>
                <a:cubicBezTo>
                  <a:pt x="1234325" y="2467985"/>
                  <a:pt x="1236287" y="2467056"/>
                  <a:pt x="1238765" y="2465197"/>
                </a:cubicBezTo>
                <a:cubicBezTo>
                  <a:pt x="1239075" y="2466436"/>
                  <a:pt x="1242689" y="2465042"/>
                  <a:pt x="1243928" y="2464732"/>
                </a:cubicBezTo>
                <a:close/>
                <a:moveTo>
                  <a:pt x="1062300" y="2464732"/>
                </a:moveTo>
                <a:cubicBezTo>
                  <a:pt x="1063333" y="2466281"/>
                  <a:pt x="1062920" y="2467056"/>
                  <a:pt x="1061784" y="2467210"/>
                </a:cubicBezTo>
                <a:cubicBezTo>
                  <a:pt x="1061784" y="2467210"/>
                  <a:pt x="1060545" y="2467365"/>
                  <a:pt x="1059306" y="2467520"/>
                </a:cubicBezTo>
                <a:cubicBezTo>
                  <a:pt x="1058067" y="2467675"/>
                  <a:pt x="1057654" y="2468450"/>
                  <a:pt x="1057654" y="2468450"/>
                </a:cubicBezTo>
                <a:cubicBezTo>
                  <a:pt x="1056415" y="2468604"/>
                  <a:pt x="1055589" y="2468140"/>
                  <a:pt x="1055279" y="2466901"/>
                </a:cubicBezTo>
                <a:cubicBezTo>
                  <a:pt x="1055279" y="2466901"/>
                  <a:pt x="1056931" y="2466126"/>
                  <a:pt x="1056931" y="2466126"/>
                </a:cubicBezTo>
                <a:cubicBezTo>
                  <a:pt x="1059409" y="2465661"/>
                  <a:pt x="1060648" y="2465506"/>
                  <a:pt x="1062300" y="2464732"/>
                </a:cubicBezTo>
                <a:close/>
                <a:moveTo>
                  <a:pt x="1150688" y="2463958"/>
                </a:moveTo>
                <a:cubicBezTo>
                  <a:pt x="1150171" y="2466281"/>
                  <a:pt x="1155437" y="2468450"/>
                  <a:pt x="1154611" y="2471857"/>
                </a:cubicBezTo>
                <a:cubicBezTo>
                  <a:pt x="1153269" y="2482390"/>
                  <a:pt x="1150068" y="2482081"/>
                  <a:pt x="1143460" y="2482390"/>
                </a:cubicBezTo>
                <a:cubicBezTo>
                  <a:pt x="1144286" y="2482081"/>
                  <a:pt x="1143047" y="2481616"/>
                  <a:pt x="1143047" y="2481616"/>
                </a:cubicBezTo>
                <a:cubicBezTo>
                  <a:pt x="1140568" y="2480996"/>
                  <a:pt x="1142633" y="2485798"/>
                  <a:pt x="1139536" y="2485489"/>
                </a:cubicBezTo>
                <a:cubicBezTo>
                  <a:pt x="1136955" y="2485024"/>
                  <a:pt x="1135096" y="2483165"/>
                  <a:pt x="1133857" y="2481151"/>
                </a:cubicBezTo>
                <a:lnTo>
                  <a:pt x="1131792" y="2476349"/>
                </a:lnTo>
                <a:lnTo>
                  <a:pt x="1128797" y="2479757"/>
                </a:lnTo>
                <a:cubicBezTo>
                  <a:pt x="1126422" y="2481306"/>
                  <a:pt x="1123531" y="2481925"/>
                  <a:pt x="1120124" y="2480841"/>
                </a:cubicBezTo>
                <a:cubicBezTo>
                  <a:pt x="1120743" y="2479757"/>
                  <a:pt x="1119711" y="2479292"/>
                  <a:pt x="1118678" y="2478673"/>
                </a:cubicBezTo>
                <a:cubicBezTo>
                  <a:pt x="1117852" y="2473406"/>
                  <a:pt x="1125390" y="2467830"/>
                  <a:pt x="1130553" y="2467520"/>
                </a:cubicBezTo>
                <a:lnTo>
                  <a:pt x="1131379" y="2467830"/>
                </a:lnTo>
                <a:lnTo>
                  <a:pt x="1132308" y="2467675"/>
                </a:lnTo>
                <a:cubicBezTo>
                  <a:pt x="1134166" y="2467675"/>
                  <a:pt x="1134373" y="2469379"/>
                  <a:pt x="1136851" y="2470153"/>
                </a:cubicBezTo>
                <a:cubicBezTo>
                  <a:pt x="1141188" y="2470773"/>
                  <a:pt x="1141911" y="2462563"/>
                  <a:pt x="1150688" y="2463958"/>
                </a:cubicBezTo>
                <a:close/>
                <a:moveTo>
                  <a:pt x="761721" y="2463183"/>
                </a:moveTo>
                <a:cubicBezTo>
                  <a:pt x="761721" y="2463183"/>
                  <a:pt x="762651" y="2463803"/>
                  <a:pt x="763580" y="2464577"/>
                </a:cubicBezTo>
                <a:cubicBezTo>
                  <a:pt x="764406" y="2465352"/>
                  <a:pt x="765335" y="2465197"/>
                  <a:pt x="765335" y="2465197"/>
                </a:cubicBezTo>
                <a:cubicBezTo>
                  <a:pt x="766264" y="2465971"/>
                  <a:pt x="766264" y="2466901"/>
                  <a:pt x="765438" y="2467830"/>
                </a:cubicBezTo>
                <a:cubicBezTo>
                  <a:pt x="765438" y="2467830"/>
                  <a:pt x="763683" y="2467210"/>
                  <a:pt x="763683" y="2467210"/>
                </a:cubicBezTo>
                <a:cubicBezTo>
                  <a:pt x="761928" y="2465661"/>
                  <a:pt x="760896" y="2464887"/>
                  <a:pt x="759140" y="2464267"/>
                </a:cubicBezTo>
                <a:cubicBezTo>
                  <a:pt x="759863" y="2462563"/>
                  <a:pt x="760792" y="2462409"/>
                  <a:pt x="761721" y="2463183"/>
                </a:cubicBezTo>
                <a:close/>
                <a:moveTo>
                  <a:pt x="6156093" y="2462959"/>
                </a:moveTo>
                <a:cubicBezTo>
                  <a:pt x="6157587" y="2468934"/>
                  <a:pt x="6150117" y="2475762"/>
                  <a:pt x="6144781" y="2475194"/>
                </a:cubicBezTo>
                <a:cubicBezTo>
                  <a:pt x="6143074" y="2475052"/>
                  <a:pt x="6141580" y="2474055"/>
                  <a:pt x="6140940" y="2471922"/>
                </a:cubicBezTo>
                <a:cubicBezTo>
                  <a:pt x="6142220" y="2464239"/>
                  <a:pt x="6149050" y="2466373"/>
                  <a:pt x="6156093" y="2462959"/>
                </a:cubicBezTo>
                <a:close/>
                <a:moveTo>
                  <a:pt x="583295" y="2462718"/>
                </a:moveTo>
                <a:cubicBezTo>
                  <a:pt x="583295" y="2462718"/>
                  <a:pt x="583295" y="2462718"/>
                  <a:pt x="583295" y="2463493"/>
                </a:cubicBezTo>
                <a:cubicBezTo>
                  <a:pt x="583295" y="2463493"/>
                  <a:pt x="583295" y="2462563"/>
                  <a:pt x="584121" y="2462718"/>
                </a:cubicBezTo>
                <a:cubicBezTo>
                  <a:pt x="586599" y="2467210"/>
                  <a:pt x="585566" y="2473871"/>
                  <a:pt x="585566" y="2474646"/>
                </a:cubicBezTo>
                <a:cubicBezTo>
                  <a:pt x="584740" y="2474646"/>
                  <a:pt x="584740" y="2474646"/>
                  <a:pt x="584740" y="2474646"/>
                </a:cubicBezTo>
                <a:cubicBezTo>
                  <a:pt x="585463" y="2472167"/>
                  <a:pt x="583295" y="2468914"/>
                  <a:pt x="582882" y="2465817"/>
                </a:cubicBezTo>
                <a:cubicBezTo>
                  <a:pt x="582778" y="2464732"/>
                  <a:pt x="582778" y="2463648"/>
                  <a:pt x="583295" y="2462718"/>
                </a:cubicBezTo>
                <a:close/>
                <a:moveTo>
                  <a:pt x="5427691" y="2462105"/>
                </a:moveTo>
                <a:cubicBezTo>
                  <a:pt x="5425557" y="2463101"/>
                  <a:pt x="5413392" y="2467938"/>
                  <a:pt x="5409337" y="2467369"/>
                </a:cubicBezTo>
                <a:cubicBezTo>
                  <a:pt x="5415099" y="2465804"/>
                  <a:pt x="5422142" y="2461109"/>
                  <a:pt x="5427691" y="2462105"/>
                </a:cubicBezTo>
                <a:close/>
                <a:moveTo>
                  <a:pt x="1411616" y="2462099"/>
                </a:moveTo>
                <a:lnTo>
                  <a:pt x="1411203" y="2462409"/>
                </a:lnTo>
                <a:cubicBezTo>
                  <a:pt x="1409861" y="2463958"/>
                  <a:pt x="1408828" y="2465352"/>
                  <a:pt x="1408105" y="2466746"/>
                </a:cubicBezTo>
                <a:lnTo>
                  <a:pt x="1408002" y="2467056"/>
                </a:lnTo>
                <a:lnTo>
                  <a:pt x="1410377" y="2465352"/>
                </a:lnTo>
                <a:cubicBezTo>
                  <a:pt x="1411823" y="2464887"/>
                  <a:pt x="1413062" y="2464732"/>
                  <a:pt x="1414404" y="2464732"/>
                </a:cubicBezTo>
                <a:cubicBezTo>
                  <a:pt x="1414404" y="2464732"/>
                  <a:pt x="1414404" y="2464732"/>
                  <a:pt x="1413578" y="2464732"/>
                </a:cubicBezTo>
                <a:close/>
                <a:moveTo>
                  <a:pt x="573692" y="2461014"/>
                </a:moveTo>
                <a:cubicBezTo>
                  <a:pt x="575447" y="2460395"/>
                  <a:pt x="575447" y="2460395"/>
                  <a:pt x="577203" y="2461324"/>
                </a:cubicBezTo>
                <a:cubicBezTo>
                  <a:pt x="577203" y="2462254"/>
                  <a:pt x="578132" y="2462254"/>
                  <a:pt x="577203" y="2463028"/>
                </a:cubicBezTo>
                <a:cubicBezTo>
                  <a:pt x="579784" y="2465042"/>
                  <a:pt x="582365" y="2472787"/>
                  <a:pt x="581436" y="2476039"/>
                </a:cubicBezTo>
                <a:cubicBezTo>
                  <a:pt x="573486" y="2469379"/>
                  <a:pt x="578028" y="2464732"/>
                  <a:pt x="573692" y="2461014"/>
                </a:cubicBezTo>
                <a:close/>
                <a:moveTo>
                  <a:pt x="6278596" y="2460540"/>
                </a:moveTo>
                <a:cubicBezTo>
                  <a:pt x="6289053" y="2460113"/>
                  <a:pt x="6291401" y="2471068"/>
                  <a:pt x="6287559" y="2476190"/>
                </a:cubicBezTo>
                <a:cubicBezTo>
                  <a:pt x="6286065" y="2477897"/>
                  <a:pt x="6284145" y="2478892"/>
                  <a:pt x="6281370" y="2478750"/>
                </a:cubicBezTo>
                <a:cubicBezTo>
                  <a:pt x="6277742" y="2472206"/>
                  <a:pt x="6272407" y="2465519"/>
                  <a:pt x="6278596" y="2460540"/>
                </a:cubicBezTo>
                <a:close/>
                <a:moveTo>
                  <a:pt x="4839079" y="2460540"/>
                </a:moveTo>
                <a:cubicBezTo>
                  <a:pt x="4848683" y="2473629"/>
                  <a:pt x="4866824" y="2467796"/>
                  <a:pt x="4874720" y="2484015"/>
                </a:cubicBezTo>
                <a:cubicBezTo>
                  <a:pt x="4869172" y="2487428"/>
                  <a:pt x="4858928" y="2485580"/>
                  <a:pt x="4850604" y="2480885"/>
                </a:cubicBezTo>
                <a:cubicBezTo>
                  <a:pt x="4842281" y="2476190"/>
                  <a:pt x="4836091" y="2468649"/>
                  <a:pt x="4839079" y="2460540"/>
                </a:cubicBezTo>
                <a:close/>
                <a:moveTo>
                  <a:pt x="1332005" y="2460085"/>
                </a:moveTo>
                <a:cubicBezTo>
                  <a:pt x="1336033" y="2474026"/>
                  <a:pt x="1325294" y="2487037"/>
                  <a:pt x="1318892" y="2500049"/>
                </a:cubicBezTo>
                <a:cubicBezTo>
                  <a:pt x="1316414" y="2498035"/>
                  <a:pt x="1313729" y="2498499"/>
                  <a:pt x="1310528" y="2494627"/>
                </a:cubicBezTo>
                <a:cubicBezTo>
                  <a:pt x="1316620" y="2486573"/>
                  <a:pt x="1320751" y="2477898"/>
                  <a:pt x="1325191" y="2470153"/>
                </a:cubicBezTo>
                <a:cubicBezTo>
                  <a:pt x="1323229" y="2471238"/>
                  <a:pt x="1317653" y="2473716"/>
                  <a:pt x="1316001" y="2472941"/>
                </a:cubicBezTo>
                <a:cubicBezTo>
                  <a:pt x="1318582" y="2471238"/>
                  <a:pt x="1324158" y="2469379"/>
                  <a:pt x="1325294" y="2469999"/>
                </a:cubicBezTo>
                <a:cubicBezTo>
                  <a:pt x="1327359" y="2466436"/>
                  <a:pt x="1329528" y="2463028"/>
                  <a:pt x="1332005" y="2460085"/>
                </a:cubicBezTo>
                <a:close/>
                <a:moveTo>
                  <a:pt x="851309" y="2460047"/>
                </a:moveTo>
                <a:cubicBezTo>
                  <a:pt x="859118" y="2460937"/>
                  <a:pt x="867404" y="2463028"/>
                  <a:pt x="875200" y="2464113"/>
                </a:cubicBezTo>
                <a:cubicBezTo>
                  <a:pt x="874167" y="2466901"/>
                  <a:pt x="875716" y="2469224"/>
                  <a:pt x="873445" y="2473096"/>
                </a:cubicBezTo>
                <a:lnTo>
                  <a:pt x="861983" y="2470618"/>
                </a:lnTo>
                <a:lnTo>
                  <a:pt x="860434" y="2470928"/>
                </a:lnTo>
                <a:cubicBezTo>
                  <a:pt x="859505" y="2471083"/>
                  <a:pt x="858679" y="2470928"/>
                  <a:pt x="858266" y="2470463"/>
                </a:cubicBezTo>
                <a:lnTo>
                  <a:pt x="857853" y="2469689"/>
                </a:lnTo>
                <a:lnTo>
                  <a:pt x="850832" y="2468140"/>
                </a:lnTo>
                <a:cubicBezTo>
                  <a:pt x="843500" y="2466746"/>
                  <a:pt x="836582" y="2465506"/>
                  <a:pt x="830284" y="2463183"/>
                </a:cubicBezTo>
                <a:cubicBezTo>
                  <a:pt x="836169" y="2459466"/>
                  <a:pt x="843500" y="2459156"/>
                  <a:pt x="851309" y="2460047"/>
                </a:cubicBezTo>
                <a:close/>
                <a:moveTo>
                  <a:pt x="1229265" y="2459775"/>
                </a:moveTo>
                <a:cubicBezTo>
                  <a:pt x="1232157" y="2458536"/>
                  <a:pt x="1235977" y="2458691"/>
                  <a:pt x="1238249" y="2460550"/>
                </a:cubicBezTo>
                <a:cubicBezTo>
                  <a:pt x="1235461" y="2466126"/>
                  <a:pt x="1232363" y="2469379"/>
                  <a:pt x="1225342" y="2466591"/>
                </a:cubicBezTo>
                <a:cubicBezTo>
                  <a:pt x="1225032" y="2465661"/>
                  <a:pt x="1224929" y="2465042"/>
                  <a:pt x="1225032" y="2464267"/>
                </a:cubicBezTo>
                <a:cubicBezTo>
                  <a:pt x="1225238" y="2462254"/>
                  <a:pt x="1226994" y="2460550"/>
                  <a:pt x="1229265" y="2459775"/>
                </a:cubicBezTo>
                <a:close/>
                <a:moveTo>
                  <a:pt x="859505" y="2456988"/>
                </a:moveTo>
                <a:lnTo>
                  <a:pt x="861983" y="2459466"/>
                </a:lnTo>
                <a:cubicBezTo>
                  <a:pt x="861157" y="2460395"/>
                  <a:pt x="859402" y="2461170"/>
                  <a:pt x="858576" y="2460395"/>
                </a:cubicBezTo>
                <a:cubicBezTo>
                  <a:pt x="857750" y="2460085"/>
                  <a:pt x="857750" y="2459620"/>
                  <a:pt x="858163" y="2459001"/>
                </a:cubicBezTo>
                <a:cubicBezTo>
                  <a:pt x="858472" y="2458536"/>
                  <a:pt x="859092" y="2457916"/>
                  <a:pt x="859505" y="2456988"/>
                </a:cubicBezTo>
                <a:close/>
                <a:moveTo>
                  <a:pt x="1099886" y="2456832"/>
                </a:moveTo>
                <a:cubicBezTo>
                  <a:pt x="1100402" y="2461479"/>
                  <a:pt x="1102880" y="2464577"/>
                  <a:pt x="1105978" y="2467056"/>
                </a:cubicBezTo>
                <a:lnTo>
                  <a:pt x="1109385" y="2469844"/>
                </a:lnTo>
                <a:lnTo>
                  <a:pt x="1110005" y="2469224"/>
                </a:lnTo>
                <a:cubicBezTo>
                  <a:pt x="1110211" y="2468914"/>
                  <a:pt x="1110211" y="2468914"/>
                  <a:pt x="1109798" y="2468914"/>
                </a:cubicBezTo>
                <a:cubicBezTo>
                  <a:pt x="1111760" y="2467365"/>
                  <a:pt x="1113929" y="2465042"/>
                  <a:pt x="1115477" y="2465971"/>
                </a:cubicBezTo>
                <a:cubicBezTo>
                  <a:pt x="1117749" y="2468140"/>
                  <a:pt x="1116820" y="2471547"/>
                  <a:pt x="1115064" y="2474491"/>
                </a:cubicBezTo>
                <a:lnTo>
                  <a:pt x="1114858" y="2474955"/>
                </a:lnTo>
                <a:lnTo>
                  <a:pt x="1116406" y="2477898"/>
                </a:lnTo>
                <a:cubicBezTo>
                  <a:pt x="1116820" y="2478983"/>
                  <a:pt x="1117026" y="2480377"/>
                  <a:pt x="1116923" y="2481771"/>
                </a:cubicBezTo>
                <a:lnTo>
                  <a:pt x="1115580" y="2487812"/>
                </a:lnTo>
                <a:lnTo>
                  <a:pt x="1117439" y="2488121"/>
                </a:lnTo>
                <a:cubicBezTo>
                  <a:pt x="1117026" y="2491064"/>
                  <a:pt x="1115477" y="2491994"/>
                  <a:pt x="1113515" y="2491994"/>
                </a:cubicBezTo>
                <a:lnTo>
                  <a:pt x="1113309" y="2491994"/>
                </a:lnTo>
                <a:lnTo>
                  <a:pt x="1111450" y="2494162"/>
                </a:lnTo>
                <a:lnTo>
                  <a:pt x="1111760" y="2494162"/>
                </a:lnTo>
                <a:cubicBezTo>
                  <a:pt x="1112586" y="2494162"/>
                  <a:pt x="1113205" y="2494472"/>
                  <a:pt x="1113722" y="2494937"/>
                </a:cubicBezTo>
                <a:lnTo>
                  <a:pt x="1114341" y="2496331"/>
                </a:lnTo>
                <a:lnTo>
                  <a:pt x="1116716" y="2496795"/>
                </a:lnTo>
                <a:cubicBezTo>
                  <a:pt x="1118885" y="2497570"/>
                  <a:pt x="1121053" y="2498654"/>
                  <a:pt x="1122912" y="2499429"/>
                </a:cubicBezTo>
                <a:cubicBezTo>
                  <a:pt x="1126835" y="2501133"/>
                  <a:pt x="1130966" y="2503301"/>
                  <a:pt x="1132204" y="2505780"/>
                </a:cubicBezTo>
                <a:lnTo>
                  <a:pt x="1132204" y="2506089"/>
                </a:lnTo>
                <a:lnTo>
                  <a:pt x="1134373" y="2507483"/>
                </a:lnTo>
                <a:cubicBezTo>
                  <a:pt x="1136851" y="2509652"/>
                  <a:pt x="1137987" y="2512440"/>
                  <a:pt x="1134373" y="2514609"/>
                </a:cubicBezTo>
                <a:lnTo>
                  <a:pt x="1129830" y="2511511"/>
                </a:lnTo>
                <a:lnTo>
                  <a:pt x="1128384" y="2513370"/>
                </a:lnTo>
                <a:cubicBezTo>
                  <a:pt x="1126319" y="2514454"/>
                  <a:pt x="1123737" y="2514764"/>
                  <a:pt x="1121053" y="2514609"/>
                </a:cubicBezTo>
                <a:lnTo>
                  <a:pt x="1120021" y="2514299"/>
                </a:lnTo>
                <a:lnTo>
                  <a:pt x="1120330" y="2524522"/>
                </a:lnTo>
                <a:lnTo>
                  <a:pt x="1120640" y="2527465"/>
                </a:lnTo>
                <a:lnTo>
                  <a:pt x="1121569" y="2528084"/>
                </a:lnTo>
                <a:cubicBezTo>
                  <a:pt x="1122395" y="2528859"/>
                  <a:pt x="1123118" y="2529788"/>
                  <a:pt x="1124254" y="2530253"/>
                </a:cubicBezTo>
                <a:cubicBezTo>
                  <a:pt x="1123634" y="2531027"/>
                  <a:pt x="1122912" y="2531957"/>
                  <a:pt x="1121776" y="2532577"/>
                </a:cubicBezTo>
                <a:lnTo>
                  <a:pt x="1121260" y="2532731"/>
                </a:lnTo>
                <a:lnTo>
                  <a:pt x="1121260" y="2533196"/>
                </a:lnTo>
                <a:lnTo>
                  <a:pt x="1120950" y="2532886"/>
                </a:lnTo>
                <a:lnTo>
                  <a:pt x="1119814" y="2533351"/>
                </a:lnTo>
                <a:cubicBezTo>
                  <a:pt x="1118988" y="2533351"/>
                  <a:pt x="1118162" y="2533351"/>
                  <a:pt x="1117026" y="2533041"/>
                </a:cubicBezTo>
                <a:cubicBezTo>
                  <a:pt x="1115890" y="2532577"/>
                  <a:pt x="1115787" y="2532577"/>
                  <a:pt x="1115374" y="2531802"/>
                </a:cubicBezTo>
                <a:cubicBezTo>
                  <a:pt x="1114651" y="2531182"/>
                  <a:pt x="1113929" y="2530718"/>
                  <a:pt x="1113515" y="2530253"/>
                </a:cubicBezTo>
                <a:lnTo>
                  <a:pt x="1113309" y="2529788"/>
                </a:lnTo>
                <a:lnTo>
                  <a:pt x="1111966" y="2529479"/>
                </a:lnTo>
                <a:cubicBezTo>
                  <a:pt x="1108766" y="2529169"/>
                  <a:pt x="1105565" y="2529479"/>
                  <a:pt x="1102467" y="2529479"/>
                </a:cubicBezTo>
                <a:lnTo>
                  <a:pt x="1102364" y="2531182"/>
                </a:lnTo>
                <a:cubicBezTo>
                  <a:pt x="1101744" y="2532731"/>
                  <a:pt x="1100711" y="2533971"/>
                  <a:pt x="1100505" y="2535365"/>
                </a:cubicBezTo>
                <a:cubicBezTo>
                  <a:pt x="1096685" y="2534900"/>
                  <a:pt x="1094723" y="2532577"/>
                  <a:pt x="1094310" y="2530408"/>
                </a:cubicBezTo>
                <a:lnTo>
                  <a:pt x="1094413" y="2528395"/>
                </a:lnTo>
                <a:lnTo>
                  <a:pt x="1092761" y="2527930"/>
                </a:lnTo>
                <a:cubicBezTo>
                  <a:pt x="1091522" y="2527310"/>
                  <a:pt x="1090386" y="2526536"/>
                  <a:pt x="1089250" y="2525296"/>
                </a:cubicBezTo>
                <a:cubicBezTo>
                  <a:pt x="1080370" y="2517242"/>
                  <a:pt x="1082125" y="2506709"/>
                  <a:pt x="1088218" y="2500203"/>
                </a:cubicBezTo>
                <a:lnTo>
                  <a:pt x="1088734" y="2499893"/>
                </a:lnTo>
                <a:lnTo>
                  <a:pt x="1086565" y="2498499"/>
                </a:lnTo>
                <a:lnTo>
                  <a:pt x="1086359" y="2500203"/>
                </a:lnTo>
                <a:cubicBezTo>
                  <a:pt x="1085533" y="2501597"/>
                  <a:pt x="1083674" y="2502372"/>
                  <a:pt x="1080990" y="2501442"/>
                </a:cubicBezTo>
                <a:cubicBezTo>
                  <a:pt x="1080473" y="2500358"/>
                  <a:pt x="1080473" y="2498499"/>
                  <a:pt x="1080887" y="2496795"/>
                </a:cubicBezTo>
                <a:lnTo>
                  <a:pt x="1082125" y="2494937"/>
                </a:lnTo>
                <a:lnTo>
                  <a:pt x="1079441" y="2490135"/>
                </a:lnTo>
                <a:cubicBezTo>
                  <a:pt x="1079131" y="2488896"/>
                  <a:pt x="1078925" y="2487502"/>
                  <a:pt x="1078925" y="2485953"/>
                </a:cubicBezTo>
                <a:cubicBezTo>
                  <a:pt x="1079028" y="2484559"/>
                  <a:pt x="1079234" y="2482855"/>
                  <a:pt x="1079647" y="2481151"/>
                </a:cubicBezTo>
                <a:cubicBezTo>
                  <a:pt x="1080990" y="2476504"/>
                  <a:pt x="1084087" y="2472941"/>
                  <a:pt x="1087908" y="2469379"/>
                </a:cubicBezTo>
                <a:lnTo>
                  <a:pt x="1090489" y="2466901"/>
                </a:lnTo>
                <a:lnTo>
                  <a:pt x="1090696" y="2465661"/>
                </a:lnTo>
                <a:cubicBezTo>
                  <a:pt x="1091005" y="2464422"/>
                  <a:pt x="1091419" y="2463183"/>
                  <a:pt x="1092038" y="2462563"/>
                </a:cubicBezTo>
                <a:cubicBezTo>
                  <a:pt x="1092451" y="2462099"/>
                  <a:pt x="1092967" y="2461944"/>
                  <a:pt x="1093587" y="2462099"/>
                </a:cubicBezTo>
                <a:lnTo>
                  <a:pt x="1093174" y="2464267"/>
                </a:lnTo>
                <a:lnTo>
                  <a:pt x="1093897" y="2463648"/>
                </a:lnTo>
                <a:cubicBezTo>
                  <a:pt x="1095962" y="2461634"/>
                  <a:pt x="1098027" y="2459311"/>
                  <a:pt x="1099886" y="2456832"/>
                </a:cubicBezTo>
                <a:close/>
                <a:moveTo>
                  <a:pt x="4916978" y="2455987"/>
                </a:moveTo>
                <a:lnTo>
                  <a:pt x="4918898" y="2456699"/>
                </a:lnTo>
                <a:lnTo>
                  <a:pt x="4919966" y="2456272"/>
                </a:lnTo>
                <a:lnTo>
                  <a:pt x="4919966" y="2456983"/>
                </a:lnTo>
                <a:lnTo>
                  <a:pt x="4921032" y="2457410"/>
                </a:lnTo>
                <a:cubicBezTo>
                  <a:pt x="4922526" y="2458406"/>
                  <a:pt x="4924020" y="2459829"/>
                  <a:pt x="4925301" y="2461678"/>
                </a:cubicBezTo>
                <a:cubicBezTo>
                  <a:pt x="4919752" y="2467369"/>
                  <a:pt x="4921246" y="2473344"/>
                  <a:pt x="4914416" y="2475479"/>
                </a:cubicBezTo>
                <a:cubicBezTo>
                  <a:pt x="4903745" y="2468791"/>
                  <a:pt x="4908868" y="2455418"/>
                  <a:pt x="4916978" y="2455987"/>
                </a:cubicBezTo>
                <a:close/>
                <a:moveTo>
                  <a:pt x="747369" y="2455903"/>
                </a:moveTo>
                <a:cubicBezTo>
                  <a:pt x="748195" y="2454199"/>
                  <a:pt x="749950" y="2454664"/>
                  <a:pt x="751809" y="2456213"/>
                </a:cubicBezTo>
                <a:cubicBezTo>
                  <a:pt x="756352" y="2458071"/>
                  <a:pt x="757385" y="2460395"/>
                  <a:pt x="754906" y="2463183"/>
                </a:cubicBezTo>
                <a:cubicBezTo>
                  <a:pt x="753977" y="2463338"/>
                  <a:pt x="751396" y="2462873"/>
                  <a:pt x="751396" y="2463648"/>
                </a:cubicBezTo>
                <a:cubicBezTo>
                  <a:pt x="749331" y="2462099"/>
                  <a:pt x="747162" y="2460085"/>
                  <a:pt x="746956" y="2458071"/>
                </a:cubicBezTo>
                <a:cubicBezTo>
                  <a:pt x="746853" y="2457297"/>
                  <a:pt x="746956" y="2456677"/>
                  <a:pt x="747369" y="2455903"/>
                </a:cubicBezTo>
                <a:close/>
                <a:moveTo>
                  <a:pt x="5083872" y="2455134"/>
                </a:moveTo>
                <a:cubicBezTo>
                  <a:pt x="5089634" y="2455276"/>
                  <a:pt x="5091768" y="2458122"/>
                  <a:pt x="5093049" y="2463243"/>
                </a:cubicBezTo>
                <a:cubicBezTo>
                  <a:pt x="5090701" y="2465377"/>
                  <a:pt x="5085152" y="2465235"/>
                  <a:pt x="5082805" y="2462390"/>
                </a:cubicBezTo>
                <a:cubicBezTo>
                  <a:pt x="5082164" y="2458122"/>
                  <a:pt x="5084726" y="2457695"/>
                  <a:pt x="5083872" y="2455134"/>
                </a:cubicBezTo>
                <a:close/>
                <a:moveTo>
                  <a:pt x="6146489" y="2454992"/>
                </a:moveTo>
                <a:cubicBezTo>
                  <a:pt x="6146275" y="2456130"/>
                  <a:pt x="6146275" y="2456130"/>
                  <a:pt x="6146275" y="2456130"/>
                </a:cubicBezTo>
                <a:lnTo>
                  <a:pt x="6146434" y="2455034"/>
                </a:lnTo>
                <a:close/>
                <a:moveTo>
                  <a:pt x="6203258" y="2453427"/>
                </a:moveTo>
                <a:cubicBezTo>
                  <a:pt x="6197710" y="2464096"/>
                  <a:pt x="6188959" y="2479462"/>
                  <a:pt x="6178928" y="2489563"/>
                </a:cubicBezTo>
                <a:lnTo>
                  <a:pt x="6178288" y="2489990"/>
                </a:lnTo>
                <a:lnTo>
                  <a:pt x="6181276" y="2490559"/>
                </a:lnTo>
                <a:cubicBezTo>
                  <a:pt x="6182557" y="2491128"/>
                  <a:pt x="6184051" y="2492124"/>
                  <a:pt x="6185545" y="2493546"/>
                </a:cubicBezTo>
                <a:cubicBezTo>
                  <a:pt x="6192161" y="2500660"/>
                  <a:pt x="6185971" y="2506920"/>
                  <a:pt x="6187039" y="2507062"/>
                </a:cubicBezTo>
                <a:cubicBezTo>
                  <a:pt x="6188106" y="2508485"/>
                  <a:pt x="6188106" y="2508485"/>
                  <a:pt x="6189173" y="2508627"/>
                </a:cubicBezTo>
                <a:cubicBezTo>
                  <a:pt x="6189173" y="2509907"/>
                  <a:pt x="6190027" y="2512468"/>
                  <a:pt x="6191094" y="2513891"/>
                </a:cubicBezTo>
                <a:cubicBezTo>
                  <a:pt x="6190027" y="2513606"/>
                  <a:pt x="6188959" y="2513464"/>
                  <a:pt x="6188959" y="2514602"/>
                </a:cubicBezTo>
                <a:cubicBezTo>
                  <a:pt x="6186825" y="2511899"/>
                  <a:pt x="6186825" y="2510618"/>
                  <a:pt x="6185758" y="2509338"/>
                </a:cubicBezTo>
                <a:cubicBezTo>
                  <a:pt x="6185758" y="2510477"/>
                  <a:pt x="6184691" y="2509053"/>
                  <a:pt x="6184691" y="2509053"/>
                </a:cubicBezTo>
                <a:cubicBezTo>
                  <a:pt x="6184691" y="2509053"/>
                  <a:pt x="6184478" y="2509053"/>
                  <a:pt x="6182130" y="2511046"/>
                </a:cubicBezTo>
                <a:cubicBezTo>
                  <a:pt x="6182130" y="2511046"/>
                  <a:pt x="6176154" y="2514887"/>
                  <a:pt x="6170605" y="2509196"/>
                </a:cubicBezTo>
                <a:cubicBezTo>
                  <a:pt x="6171672" y="2508485"/>
                  <a:pt x="6168258" y="2503648"/>
                  <a:pt x="6167617" y="2499379"/>
                </a:cubicBezTo>
                <a:lnTo>
                  <a:pt x="6167831" y="2496961"/>
                </a:lnTo>
                <a:lnTo>
                  <a:pt x="6165483" y="2491128"/>
                </a:lnTo>
                <a:cubicBezTo>
                  <a:pt x="6163562" y="2475762"/>
                  <a:pt x="6191947" y="2456557"/>
                  <a:pt x="6203258" y="2453427"/>
                </a:cubicBezTo>
                <a:close/>
                <a:moveTo>
                  <a:pt x="1348204" y="2452069"/>
                </a:moveTo>
                <a:cubicBezTo>
                  <a:pt x="1350334" y="2451605"/>
                  <a:pt x="1352399" y="2452573"/>
                  <a:pt x="1353586" y="2454199"/>
                </a:cubicBezTo>
                <a:cubicBezTo>
                  <a:pt x="1354309" y="2455439"/>
                  <a:pt x="1354722" y="2456832"/>
                  <a:pt x="1354515" y="2458381"/>
                </a:cubicBezTo>
                <a:cubicBezTo>
                  <a:pt x="1354102" y="2460395"/>
                  <a:pt x="1352657" y="2462409"/>
                  <a:pt x="1349456" y="2464113"/>
                </a:cubicBezTo>
                <a:cubicBezTo>
                  <a:pt x="1345429" y="2462873"/>
                  <a:pt x="1344809" y="2460395"/>
                  <a:pt x="1342434" y="2458536"/>
                </a:cubicBezTo>
                <a:cubicBezTo>
                  <a:pt x="1343880" y="2454431"/>
                  <a:pt x="1346074" y="2452534"/>
                  <a:pt x="1348204" y="2452069"/>
                </a:cubicBezTo>
                <a:close/>
                <a:moveTo>
                  <a:pt x="1277486" y="2451566"/>
                </a:moveTo>
                <a:cubicBezTo>
                  <a:pt x="1276660" y="2455128"/>
                  <a:pt x="1269329" y="2461789"/>
                  <a:pt x="1263133" y="2458846"/>
                </a:cubicBezTo>
                <a:cubicBezTo>
                  <a:pt x="1266438" y="2450946"/>
                  <a:pt x="1272117" y="2451566"/>
                  <a:pt x="1277486" y="2451566"/>
                </a:cubicBezTo>
                <a:close/>
                <a:moveTo>
                  <a:pt x="4821152" y="2450866"/>
                </a:moveTo>
                <a:cubicBezTo>
                  <a:pt x="4828835" y="2449728"/>
                  <a:pt x="4838439" y="2458122"/>
                  <a:pt x="4828835" y="2465519"/>
                </a:cubicBezTo>
                <a:cubicBezTo>
                  <a:pt x="4822219" y="2461536"/>
                  <a:pt x="4817737" y="2458833"/>
                  <a:pt x="4815176" y="2455703"/>
                </a:cubicBezTo>
                <a:cubicBezTo>
                  <a:pt x="4816457" y="2452715"/>
                  <a:pt x="4818591" y="2451293"/>
                  <a:pt x="4821152" y="2450866"/>
                </a:cubicBezTo>
                <a:close/>
                <a:moveTo>
                  <a:pt x="5200826" y="2450581"/>
                </a:moveTo>
                <a:cubicBezTo>
                  <a:pt x="5206375" y="2458549"/>
                  <a:pt x="5215125" y="2472917"/>
                  <a:pt x="5200186" y="2481454"/>
                </a:cubicBezTo>
                <a:cubicBezTo>
                  <a:pt x="5198051" y="2480031"/>
                  <a:pt x="5195917" y="2478750"/>
                  <a:pt x="5193569" y="2477327"/>
                </a:cubicBezTo>
                <a:cubicBezTo>
                  <a:pt x="5198905" y="2467369"/>
                  <a:pt x="5196984" y="2458690"/>
                  <a:pt x="5200826" y="2450581"/>
                </a:cubicBezTo>
                <a:close/>
                <a:moveTo>
                  <a:pt x="639053" y="2450017"/>
                </a:moveTo>
                <a:cubicBezTo>
                  <a:pt x="641634" y="2452805"/>
                  <a:pt x="640705" y="2455284"/>
                  <a:pt x="639879" y="2457762"/>
                </a:cubicBezTo>
                <a:cubicBezTo>
                  <a:pt x="638950" y="2459311"/>
                  <a:pt x="638950" y="2460085"/>
                  <a:pt x="639776" y="2461789"/>
                </a:cubicBezTo>
                <a:cubicBezTo>
                  <a:pt x="639776" y="2461789"/>
                  <a:pt x="639672" y="2461789"/>
                  <a:pt x="638020" y="2463338"/>
                </a:cubicBezTo>
                <a:lnTo>
                  <a:pt x="637091" y="2463183"/>
                </a:lnTo>
                <a:cubicBezTo>
                  <a:pt x="636678" y="2463028"/>
                  <a:pt x="636472" y="2462254"/>
                  <a:pt x="636472" y="2461324"/>
                </a:cubicBezTo>
                <a:cubicBezTo>
                  <a:pt x="636265" y="2458691"/>
                  <a:pt x="637297" y="2453889"/>
                  <a:pt x="637297" y="2453270"/>
                </a:cubicBezTo>
                <a:cubicBezTo>
                  <a:pt x="637297" y="2453270"/>
                  <a:pt x="637297" y="2452340"/>
                  <a:pt x="637297" y="2451566"/>
                </a:cubicBezTo>
                <a:cubicBezTo>
                  <a:pt x="638227" y="2450791"/>
                  <a:pt x="639053" y="2450946"/>
                  <a:pt x="639053" y="2450017"/>
                </a:cubicBezTo>
                <a:close/>
                <a:moveTo>
                  <a:pt x="6160361" y="2448874"/>
                </a:moveTo>
                <a:cubicBezTo>
                  <a:pt x="6163562" y="2449585"/>
                  <a:pt x="6163989" y="2453284"/>
                  <a:pt x="6165483" y="2453712"/>
                </a:cubicBezTo>
                <a:cubicBezTo>
                  <a:pt x="6164629" y="2454280"/>
                  <a:pt x="6162495" y="2455560"/>
                  <a:pt x="6162495" y="2458264"/>
                </a:cubicBezTo>
                <a:cubicBezTo>
                  <a:pt x="6159508" y="2457552"/>
                  <a:pt x="6156306" y="2456699"/>
                  <a:pt x="6157373" y="2453427"/>
                </a:cubicBezTo>
                <a:cubicBezTo>
                  <a:pt x="6157800" y="2451719"/>
                  <a:pt x="6158441" y="2450154"/>
                  <a:pt x="6160361" y="2448874"/>
                </a:cubicBezTo>
                <a:close/>
                <a:moveTo>
                  <a:pt x="855685" y="2448778"/>
                </a:moveTo>
                <a:cubicBezTo>
                  <a:pt x="856511" y="2449707"/>
                  <a:pt x="856511" y="2448778"/>
                  <a:pt x="857440" y="2448778"/>
                </a:cubicBezTo>
                <a:lnTo>
                  <a:pt x="858163" y="2450017"/>
                </a:lnTo>
                <a:lnTo>
                  <a:pt x="858679" y="2449552"/>
                </a:lnTo>
                <a:cubicBezTo>
                  <a:pt x="860434" y="2448313"/>
                  <a:pt x="860434" y="2448468"/>
                  <a:pt x="861363" y="2449242"/>
                </a:cubicBezTo>
                <a:cubicBezTo>
                  <a:pt x="862396" y="2449862"/>
                  <a:pt x="861673" y="2452495"/>
                  <a:pt x="862602" y="2453270"/>
                </a:cubicBezTo>
                <a:cubicBezTo>
                  <a:pt x="862602" y="2453270"/>
                  <a:pt x="862602" y="2453425"/>
                  <a:pt x="860847" y="2454509"/>
                </a:cubicBezTo>
                <a:lnTo>
                  <a:pt x="859298" y="2454199"/>
                </a:lnTo>
                <a:lnTo>
                  <a:pt x="858782" y="2456213"/>
                </a:lnTo>
                <a:cubicBezTo>
                  <a:pt x="857027" y="2457916"/>
                  <a:pt x="854239" y="2460550"/>
                  <a:pt x="851658" y="2459001"/>
                </a:cubicBezTo>
                <a:cubicBezTo>
                  <a:pt x="851658" y="2458227"/>
                  <a:pt x="850832" y="2458227"/>
                  <a:pt x="850935" y="2457297"/>
                </a:cubicBezTo>
                <a:cubicBezTo>
                  <a:pt x="850935" y="2457297"/>
                  <a:pt x="850522" y="2456523"/>
                  <a:pt x="850419" y="2455284"/>
                </a:cubicBezTo>
                <a:cubicBezTo>
                  <a:pt x="850419" y="2454044"/>
                  <a:pt x="850625" y="2452495"/>
                  <a:pt x="852071" y="2450791"/>
                </a:cubicBezTo>
                <a:cubicBezTo>
                  <a:pt x="853000" y="2449862"/>
                  <a:pt x="855685" y="2448003"/>
                  <a:pt x="855685" y="2448778"/>
                </a:cubicBezTo>
                <a:close/>
                <a:moveTo>
                  <a:pt x="4938320" y="2447736"/>
                </a:moveTo>
                <a:cubicBezTo>
                  <a:pt x="4938960" y="2456272"/>
                  <a:pt x="4938533" y="2464239"/>
                  <a:pt x="4943228" y="2474909"/>
                </a:cubicBezTo>
                <a:cubicBezTo>
                  <a:pt x="4940027" y="2476047"/>
                  <a:pt x="4941948" y="2479746"/>
                  <a:pt x="4937679" y="2480457"/>
                </a:cubicBezTo>
                <a:cubicBezTo>
                  <a:pt x="4929569" y="2476332"/>
                  <a:pt x="4926795" y="2452857"/>
                  <a:pt x="4938320" y="2447736"/>
                </a:cubicBezTo>
                <a:close/>
                <a:moveTo>
                  <a:pt x="816396" y="2447151"/>
                </a:moveTo>
                <a:cubicBezTo>
                  <a:pt x="820913" y="2448971"/>
                  <a:pt x="825069" y="2452186"/>
                  <a:pt x="827496" y="2454664"/>
                </a:cubicBezTo>
                <a:cubicBezTo>
                  <a:pt x="823572" y="2454354"/>
                  <a:pt x="819545" y="2454199"/>
                  <a:pt x="815518" y="2453425"/>
                </a:cubicBezTo>
                <a:cubicBezTo>
                  <a:pt x="811388" y="2452650"/>
                  <a:pt x="807361" y="2451256"/>
                  <a:pt x="803127" y="2448003"/>
                </a:cubicBezTo>
                <a:cubicBezTo>
                  <a:pt x="806999" y="2444905"/>
                  <a:pt x="811878" y="2445331"/>
                  <a:pt x="816396" y="2447151"/>
                </a:cubicBezTo>
                <a:close/>
                <a:moveTo>
                  <a:pt x="1014596" y="2445370"/>
                </a:moveTo>
                <a:cubicBezTo>
                  <a:pt x="1014596" y="2445370"/>
                  <a:pt x="1014596" y="2445370"/>
                  <a:pt x="1015009" y="2446145"/>
                </a:cubicBezTo>
                <a:cubicBezTo>
                  <a:pt x="1015938" y="2447384"/>
                  <a:pt x="1016351" y="2448158"/>
                  <a:pt x="1016764" y="2448778"/>
                </a:cubicBezTo>
                <a:cubicBezTo>
                  <a:pt x="1016455" y="2450017"/>
                  <a:pt x="1015112" y="2452805"/>
                  <a:pt x="1013976" y="2452650"/>
                </a:cubicBezTo>
                <a:cubicBezTo>
                  <a:pt x="1011601" y="2452185"/>
                  <a:pt x="1009536" y="2450791"/>
                  <a:pt x="1009846" y="2449552"/>
                </a:cubicBezTo>
                <a:cubicBezTo>
                  <a:pt x="1010259" y="2447848"/>
                  <a:pt x="1010775" y="2445990"/>
                  <a:pt x="1012428" y="2445525"/>
                </a:cubicBezTo>
                <a:cubicBezTo>
                  <a:pt x="1013047" y="2445370"/>
                  <a:pt x="1013667" y="2445370"/>
                  <a:pt x="1014596" y="2445370"/>
                </a:cubicBezTo>
                <a:close/>
                <a:moveTo>
                  <a:pt x="1111657" y="2444131"/>
                </a:moveTo>
                <a:cubicBezTo>
                  <a:pt x="1112379" y="2443666"/>
                  <a:pt x="1112999" y="2443821"/>
                  <a:pt x="1113722" y="2444595"/>
                </a:cubicBezTo>
                <a:cubicBezTo>
                  <a:pt x="1115374" y="2445680"/>
                  <a:pt x="1114238" y="2447229"/>
                  <a:pt x="1115684" y="2448933"/>
                </a:cubicBezTo>
                <a:cubicBezTo>
                  <a:pt x="1117955" y="2451101"/>
                  <a:pt x="1122189" y="2448003"/>
                  <a:pt x="1126629" y="2448623"/>
                </a:cubicBezTo>
                <a:lnTo>
                  <a:pt x="1130553" y="2450482"/>
                </a:lnTo>
                <a:lnTo>
                  <a:pt x="1131069" y="2449242"/>
                </a:lnTo>
                <a:cubicBezTo>
                  <a:pt x="1131998" y="2448468"/>
                  <a:pt x="1133444" y="2448003"/>
                  <a:pt x="1134889" y="2447848"/>
                </a:cubicBezTo>
                <a:cubicBezTo>
                  <a:pt x="1134063" y="2448158"/>
                  <a:pt x="1134166" y="2448158"/>
                  <a:pt x="1134166" y="2448158"/>
                </a:cubicBezTo>
                <a:cubicBezTo>
                  <a:pt x="1133857" y="2449397"/>
                  <a:pt x="1134580" y="2448933"/>
                  <a:pt x="1134993" y="2449707"/>
                </a:cubicBezTo>
                <a:cubicBezTo>
                  <a:pt x="1134993" y="2449707"/>
                  <a:pt x="1134580" y="2448933"/>
                  <a:pt x="1135819" y="2449242"/>
                </a:cubicBezTo>
                <a:cubicBezTo>
                  <a:pt x="1135096" y="2449707"/>
                  <a:pt x="1135509" y="2450482"/>
                  <a:pt x="1136025" y="2451101"/>
                </a:cubicBezTo>
                <a:cubicBezTo>
                  <a:pt x="1135715" y="2452340"/>
                  <a:pt x="1135199" y="2453580"/>
                  <a:pt x="1134580" y="2454509"/>
                </a:cubicBezTo>
                <a:lnTo>
                  <a:pt x="1134166" y="2454819"/>
                </a:lnTo>
                <a:lnTo>
                  <a:pt x="1134683" y="2455593"/>
                </a:lnTo>
                <a:cubicBezTo>
                  <a:pt x="1134993" y="2457142"/>
                  <a:pt x="1134889" y="2459001"/>
                  <a:pt x="1133857" y="2460859"/>
                </a:cubicBezTo>
                <a:cubicBezTo>
                  <a:pt x="1132514" y="2461324"/>
                  <a:pt x="1130346" y="2461014"/>
                  <a:pt x="1128488" y="2460240"/>
                </a:cubicBezTo>
                <a:lnTo>
                  <a:pt x="1127971" y="2459930"/>
                </a:lnTo>
                <a:lnTo>
                  <a:pt x="1125699" y="2461789"/>
                </a:lnTo>
                <a:lnTo>
                  <a:pt x="1127248" y="2462718"/>
                </a:lnTo>
                <a:cubicBezTo>
                  <a:pt x="1127971" y="2463338"/>
                  <a:pt x="1128384" y="2463958"/>
                  <a:pt x="1128384" y="2464887"/>
                </a:cubicBezTo>
                <a:cubicBezTo>
                  <a:pt x="1128384" y="2465352"/>
                  <a:pt x="1128281" y="2465971"/>
                  <a:pt x="1127868" y="2466746"/>
                </a:cubicBezTo>
                <a:cubicBezTo>
                  <a:pt x="1127868" y="2466746"/>
                  <a:pt x="1127868" y="2466901"/>
                  <a:pt x="1127145" y="2467056"/>
                </a:cubicBezTo>
                <a:cubicBezTo>
                  <a:pt x="1125493" y="2467520"/>
                  <a:pt x="1124667" y="2467675"/>
                  <a:pt x="1123841" y="2467830"/>
                </a:cubicBezTo>
                <a:cubicBezTo>
                  <a:pt x="1123222" y="2467520"/>
                  <a:pt x="1122395" y="2466901"/>
                  <a:pt x="1121673" y="2466281"/>
                </a:cubicBezTo>
                <a:lnTo>
                  <a:pt x="1120743" y="2464422"/>
                </a:lnTo>
                <a:lnTo>
                  <a:pt x="1119814" y="2464732"/>
                </a:lnTo>
                <a:cubicBezTo>
                  <a:pt x="1117439" y="2464887"/>
                  <a:pt x="1115477" y="2463803"/>
                  <a:pt x="1112690" y="2462254"/>
                </a:cubicBezTo>
                <a:cubicBezTo>
                  <a:pt x="1113515" y="2462254"/>
                  <a:pt x="1112793" y="2461479"/>
                  <a:pt x="1112793" y="2461479"/>
                </a:cubicBezTo>
                <a:cubicBezTo>
                  <a:pt x="1111347" y="2459620"/>
                  <a:pt x="1109592" y="2464577"/>
                  <a:pt x="1107320" y="2462718"/>
                </a:cubicBezTo>
                <a:cubicBezTo>
                  <a:pt x="1106391" y="2461944"/>
                  <a:pt x="1105874" y="2460859"/>
                  <a:pt x="1105668" y="2459775"/>
                </a:cubicBezTo>
                <a:cubicBezTo>
                  <a:pt x="1105461" y="2458691"/>
                  <a:pt x="1105461" y="2457607"/>
                  <a:pt x="1105668" y="2456523"/>
                </a:cubicBezTo>
                <a:cubicBezTo>
                  <a:pt x="1106081" y="2454199"/>
                  <a:pt x="1107113" y="2452031"/>
                  <a:pt x="1107836" y="2450482"/>
                </a:cubicBezTo>
                <a:lnTo>
                  <a:pt x="1108559" y="2448778"/>
                </a:lnTo>
                <a:lnTo>
                  <a:pt x="1107733" y="2448623"/>
                </a:lnTo>
                <a:lnTo>
                  <a:pt x="1108869" y="2447848"/>
                </a:lnTo>
                <a:lnTo>
                  <a:pt x="1108869" y="2447694"/>
                </a:lnTo>
                <a:cubicBezTo>
                  <a:pt x="1109695" y="2447694"/>
                  <a:pt x="1109798" y="2446919"/>
                  <a:pt x="1108972" y="2446919"/>
                </a:cubicBezTo>
                <a:cubicBezTo>
                  <a:pt x="1110005" y="2445680"/>
                  <a:pt x="1110831" y="2444595"/>
                  <a:pt x="1111657" y="2444131"/>
                </a:cubicBezTo>
                <a:close/>
                <a:moveTo>
                  <a:pt x="1277383" y="2442892"/>
                </a:moveTo>
                <a:cubicBezTo>
                  <a:pt x="1277899" y="2442737"/>
                  <a:pt x="1278725" y="2442892"/>
                  <a:pt x="1280171" y="2443356"/>
                </a:cubicBezTo>
                <a:cubicBezTo>
                  <a:pt x="1281306" y="2443976"/>
                  <a:pt x="1282752" y="2445680"/>
                  <a:pt x="1283785" y="2447538"/>
                </a:cubicBezTo>
                <a:cubicBezTo>
                  <a:pt x="1284921" y="2449397"/>
                  <a:pt x="1285747" y="2451411"/>
                  <a:pt x="1285334" y="2452805"/>
                </a:cubicBezTo>
                <a:cubicBezTo>
                  <a:pt x="1283475" y="2452495"/>
                  <a:pt x="1281616" y="2452031"/>
                  <a:pt x="1279655" y="2451566"/>
                </a:cubicBezTo>
                <a:cubicBezTo>
                  <a:pt x="1280481" y="2451411"/>
                  <a:pt x="1276247" y="2444441"/>
                  <a:pt x="1276247" y="2444441"/>
                </a:cubicBezTo>
                <a:cubicBezTo>
                  <a:pt x="1276660" y="2443511"/>
                  <a:pt x="1276970" y="2443047"/>
                  <a:pt x="1277383" y="2442892"/>
                </a:cubicBezTo>
                <a:close/>
                <a:moveTo>
                  <a:pt x="723103" y="2442892"/>
                </a:moveTo>
                <a:cubicBezTo>
                  <a:pt x="724446" y="2442892"/>
                  <a:pt x="725685" y="2443666"/>
                  <a:pt x="726614" y="2445525"/>
                </a:cubicBezTo>
                <a:cubicBezTo>
                  <a:pt x="722381" y="2448468"/>
                  <a:pt x="720419" y="2453425"/>
                  <a:pt x="717218" y="2453425"/>
                </a:cubicBezTo>
                <a:cubicBezTo>
                  <a:pt x="716185" y="2453425"/>
                  <a:pt x="715050" y="2452960"/>
                  <a:pt x="713604" y="2451721"/>
                </a:cubicBezTo>
                <a:cubicBezTo>
                  <a:pt x="714224" y="2449862"/>
                  <a:pt x="717115" y="2445835"/>
                  <a:pt x="720109" y="2443976"/>
                </a:cubicBezTo>
                <a:cubicBezTo>
                  <a:pt x="721142" y="2443356"/>
                  <a:pt x="722174" y="2442892"/>
                  <a:pt x="723103" y="2442892"/>
                </a:cubicBezTo>
                <a:close/>
                <a:moveTo>
                  <a:pt x="832039" y="2442272"/>
                </a:moveTo>
                <a:cubicBezTo>
                  <a:pt x="832968" y="2443821"/>
                  <a:pt x="830593" y="2446764"/>
                  <a:pt x="829767" y="2448468"/>
                </a:cubicBezTo>
                <a:cubicBezTo>
                  <a:pt x="828838" y="2447694"/>
                  <a:pt x="828012" y="2447074"/>
                  <a:pt x="828012" y="2447848"/>
                </a:cubicBezTo>
                <a:cubicBezTo>
                  <a:pt x="827083" y="2447229"/>
                  <a:pt x="826669" y="2446455"/>
                  <a:pt x="826463" y="2445680"/>
                </a:cubicBezTo>
                <a:cubicBezTo>
                  <a:pt x="826360" y="2444751"/>
                  <a:pt x="826463" y="2443976"/>
                  <a:pt x="826876" y="2443047"/>
                </a:cubicBezTo>
                <a:cubicBezTo>
                  <a:pt x="827702" y="2442117"/>
                  <a:pt x="829354" y="2441807"/>
                  <a:pt x="832039" y="2442272"/>
                </a:cubicBezTo>
                <a:close/>
                <a:moveTo>
                  <a:pt x="1032769" y="2440568"/>
                </a:moveTo>
                <a:cubicBezTo>
                  <a:pt x="1036280" y="2441962"/>
                  <a:pt x="1036280" y="2443821"/>
                  <a:pt x="1035144" y="2447074"/>
                </a:cubicBezTo>
                <a:cubicBezTo>
                  <a:pt x="1032356" y="2446299"/>
                  <a:pt x="1031220" y="2445525"/>
                  <a:pt x="1031117" y="2444595"/>
                </a:cubicBezTo>
                <a:cubicBezTo>
                  <a:pt x="1030910" y="2443666"/>
                  <a:pt x="1031736" y="2442272"/>
                  <a:pt x="1032769" y="2440568"/>
                </a:cubicBezTo>
                <a:close/>
                <a:moveTo>
                  <a:pt x="5455435" y="2440195"/>
                </a:moveTo>
                <a:cubicBezTo>
                  <a:pt x="5452234" y="2443894"/>
                  <a:pt x="5446045" y="2444606"/>
                  <a:pt x="5441350" y="2446028"/>
                </a:cubicBezTo>
                <a:cubicBezTo>
                  <a:pt x="5435801" y="2446882"/>
                  <a:pt x="5431106" y="2449159"/>
                  <a:pt x="5429398" y="2455134"/>
                </a:cubicBezTo>
                <a:cubicBezTo>
                  <a:pt x="5425557" y="2455845"/>
                  <a:pt x="5423209" y="2453569"/>
                  <a:pt x="5419368" y="2455134"/>
                </a:cubicBezTo>
                <a:cubicBezTo>
                  <a:pt x="5415313" y="2457267"/>
                  <a:pt x="5422355" y="2458690"/>
                  <a:pt x="5425557" y="2456557"/>
                </a:cubicBezTo>
                <a:lnTo>
                  <a:pt x="5418301" y="2460255"/>
                </a:lnTo>
                <a:lnTo>
                  <a:pt x="5419368" y="2462390"/>
                </a:lnTo>
                <a:cubicBezTo>
                  <a:pt x="5414246" y="2466088"/>
                  <a:pt x="5410831" y="2465235"/>
                  <a:pt x="5407843" y="2462105"/>
                </a:cubicBezTo>
                <a:lnTo>
                  <a:pt x="5408270" y="2460967"/>
                </a:lnTo>
                <a:lnTo>
                  <a:pt x="5407416" y="2460967"/>
                </a:lnTo>
                <a:cubicBezTo>
                  <a:pt x="5400373" y="2460967"/>
                  <a:pt x="5394184" y="2460967"/>
                  <a:pt x="5390983" y="2465519"/>
                </a:cubicBezTo>
                <a:cubicBezTo>
                  <a:pt x="5385434" y="2466231"/>
                  <a:pt x="5391837" y="2461820"/>
                  <a:pt x="5388635" y="2459544"/>
                </a:cubicBezTo>
                <a:lnTo>
                  <a:pt x="5380525" y="2465235"/>
                </a:lnTo>
                <a:lnTo>
                  <a:pt x="5383086" y="2465946"/>
                </a:lnTo>
                <a:lnTo>
                  <a:pt x="5383726" y="2468365"/>
                </a:lnTo>
                <a:lnTo>
                  <a:pt x="5391837" y="2466942"/>
                </a:lnTo>
                <a:cubicBezTo>
                  <a:pt x="5390556" y="2468791"/>
                  <a:pt x="5388635" y="2469930"/>
                  <a:pt x="5386288" y="2470784"/>
                </a:cubicBezTo>
                <a:lnTo>
                  <a:pt x="5384580" y="2471210"/>
                </a:lnTo>
                <a:lnTo>
                  <a:pt x="5385007" y="2473344"/>
                </a:lnTo>
                <a:lnTo>
                  <a:pt x="5382446" y="2477044"/>
                </a:lnTo>
                <a:lnTo>
                  <a:pt x="5381806" y="2479746"/>
                </a:lnTo>
                <a:lnTo>
                  <a:pt x="5382019" y="2480031"/>
                </a:lnTo>
                <a:lnTo>
                  <a:pt x="5381593" y="2480173"/>
                </a:lnTo>
                <a:lnTo>
                  <a:pt x="5380098" y="2485721"/>
                </a:lnTo>
                <a:lnTo>
                  <a:pt x="5375403" y="2482307"/>
                </a:lnTo>
                <a:lnTo>
                  <a:pt x="5371135" y="2484441"/>
                </a:lnTo>
                <a:lnTo>
                  <a:pt x="5368147" y="2476617"/>
                </a:lnTo>
                <a:lnTo>
                  <a:pt x="5363452" y="2479604"/>
                </a:lnTo>
                <a:lnTo>
                  <a:pt x="5367507" y="2475194"/>
                </a:lnTo>
                <a:lnTo>
                  <a:pt x="5367293" y="2474767"/>
                </a:lnTo>
                <a:lnTo>
                  <a:pt x="5360891" y="2476617"/>
                </a:lnTo>
                <a:cubicBezTo>
                  <a:pt x="5356622" y="2478608"/>
                  <a:pt x="5358543" y="2479746"/>
                  <a:pt x="5348512" y="2475905"/>
                </a:cubicBezTo>
                <a:cubicBezTo>
                  <a:pt x="5345098" y="2477044"/>
                  <a:pt x="5343817" y="2478324"/>
                  <a:pt x="5342963" y="2479604"/>
                </a:cubicBezTo>
                <a:lnTo>
                  <a:pt x="5340189" y="2482876"/>
                </a:lnTo>
                <a:lnTo>
                  <a:pt x="5341042" y="2483588"/>
                </a:lnTo>
                <a:lnTo>
                  <a:pt x="5342963" y="2483872"/>
                </a:lnTo>
                <a:cubicBezTo>
                  <a:pt x="5346165" y="2483018"/>
                  <a:pt x="5349580" y="2478608"/>
                  <a:pt x="5352354" y="2478039"/>
                </a:cubicBezTo>
                <a:cubicBezTo>
                  <a:pt x="5350006" y="2481027"/>
                  <a:pt x="5348512" y="2484868"/>
                  <a:pt x="5347658" y="2488567"/>
                </a:cubicBezTo>
                <a:lnTo>
                  <a:pt x="5342110" y="2487856"/>
                </a:lnTo>
                <a:lnTo>
                  <a:pt x="5342323" y="2490843"/>
                </a:lnTo>
                <a:cubicBezTo>
                  <a:pt x="5340829" y="2491412"/>
                  <a:pt x="5339122" y="2491981"/>
                  <a:pt x="5337628" y="2492551"/>
                </a:cubicBezTo>
                <a:lnTo>
                  <a:pt x="5334213" y="2487286"/>
                </a:lnTo>
                <a:lnTo>
                  <a:pt x="5329731" y="2487856"/>
                </a:lnTo>
                <a:cubicBezTo>
                  <a:pt x="5328878" y="2487856"/>
                  <a:pt x="5328878" y="2487856"/>
                  <a:pt x="5328024" y="2488567"/>
                </a:cubicBezTo>
                <a:cubicBezTo>
                  <a:pt x="5328024" y="2488567"/>
                  <a:pt x="5328024" y="2488567"/>
                  <a:pt x="5327384" y="2488567"/>
                </a:cubicBezTo>
                <a:cubicBezTo>
                  <a:pt x="5327384" y="2488567"/>
                  <a:pt x="5326530" y="2488567"/>
                  <a:pt x="5326530" y="2488567"/>
                </a:cubicBezTo>
                <a:cubicBezTo>
                  <a:pt x="5325676" y="2488567"/>
                  <a:pt x="5325036" y="2488567"/>
                  <a:pt x="5325036" y="2489278"/>
                </a:cubicBezTo>
                <a:cubicBezTo>
                  <a:pt x="5323329" y="2489990"/>
                  <a:pt x="5325676" y="2493120"/>
                  <a:pt x="5326530" y="2494542"/>
                </a:cubicBezTo>
                <a:cubicBezTo>
                  <a:pt x="5324823" y="2496819"/>
                  <a:pt x="5324183" y="2493689"/>
                  <a:pt x="5322475" y="2491555"/>
                </a:cubicBezTo>
                <a:cubicBezTo>
                  <a:pt x="5320981" y="2495254"/>
                  <a:pt x="5317993" y="2497530"/>
                  <a:pt x="5315645" y="2499664"/>
                </a:cubicBezTo>
                <a:cubicBezTo>
                  <a:pt x="5314792" y="2500375"/>
                  <a:pt x="5313938" y="2500517"/>
                  <a:pt x="5313085" y="2501229"/>
                </a:cubicBezTo>
                <a:cubicBezTo>
                  <a:pt x="5313085" y="2501229"/>
                  <a:pt x="5313298" y="2501229"/>
                  <a:pt x="5311591" y="2501941"/>
                </a:cubicBezTo>
                <a:cubicBezTo>
                  <a:pt x="5311591" y="2501941"/>
                  <a:pt x="5311591" y="2501941"/>
                  <a:pt x="5311591" y="2502652"/>
                </a:cubicBezTo>
                <a:cubicBezTo>
                  <a:pt x="5311591" y="2502652"/>
                  <a:pt x="5311591" y="2502652"/>
                  <a:pt x="5310737" y="2502652"/>
                </a:cubicBezTo>
                <a:cubicBezTo>
                  <a:pt x="5310737" y="2502652"/>
                  <a:pt x="5310737" y="2502794"/>
                  <a:pt x="5302841" y="2506493"/>
                </a:cubicBezTo>
                <a:lnTo>
                  <a:pt x="5294517" y="2511046"/>
                </a:lnTo>
                <a:lnTo>
                  <a:pt x="5295798" y="2510903"/>
                </a:lnTo>
                <a:cubicBezTo>
                  <a:pt x="5298999" y="2511188"/>
                  <a:pt x="5301560" y="2511757"/>
                  <a:pt x="5302200" y="2511757"/>
                </a:cubicBezTo>
                <a:cubicBezTo>
                  <a:pt x="5302200" y="2512895"/>
                  <a:pt x="5302200" y="2512895"/>
                  <a:pt x="5302200" y="2512895"/>
                </a:cubicBezTo>
                <a:cubicBezTo>
                  <a:pt x="5298572" y="2511615"/>
                  <a:pt x="5294517" y="2514175"/>
                  <a:pt x="5290035" y="2514318"/>
                </a:cubicBezTo>
                <a:lnTo>
                  <a:pt x="5289182" y="2514033"/>
                </a:lnTo>
                <a:lnTo>
                  <a:pt x="5274669" y="2522000"/>
                </a:lnTo>
                <a:cubicBezTo>
                  <a:pt x="5268266" y="2525699"/>
                  <a:pt x="5262077" y="2530252"/>
                  <a:pt x="5256529" y="2534662"/>
                </a:cubicBezTo>
                <a:lnTo>
                  <a:pt x="5253967" y="2536654"/>
                </a:lnTo>
                <a:lnTo>
                  <a:pt x="5256315" y="2538361"/>
                </a:lnTo>
                <a:cubicBezTo>
                  <a:pt x="5256315" y="2540211"/>
                  <a:pt x="5257169" y="2541918"/>
                  <a:pt x="5257382" y="2544194"/>
                </a:cubicBezTo>
                <a:lnTo>
                  <a:pt x="5255888" y="2548889"/>
                </a:lnTo>
                <a:lnTo>
                  <a:pt x="5259730" y="2547893"/>
                </a:lnTo>
                <a:cubicBezTo>
                  <a:pt x="5261437" y="2547182"/>
                  <a:pt x="5262931" y="2546044"/>
                  <a:pt x="5263571" y="2544478"/>
                </a:cubicBezTo>
                <a:cubicBezTo>
                  <a:pt x="5262931" y="2545901"/>
                  <a:pt x="5262931" y="2547324"/>
                  <a:pt x="5264425" y="2548889"/>
                </a:cubicBezTo>
                <a:cubicBezTo>
                  <a:pt x="5266773" y="2548178"/>
                  <a:pt x="5268480" y="2546613"/>
                  <a:pt x="5270828" y="2545190"/>
                </a:cubicBezTo>
                <a:cubicBezTo>
                  <a:pt x="5269120" y="2544336"/>
                  <a:pt x="5267626" y="2543625"/>
                  <a:pt x="5266132" y="2545190"/>
                </a:cubicBezTo>
                <a:cubicBezTo>
                  <a:pt x="5278511" y="2538361"/>
                  <a:pt x="5291956" y="2530963"/>
                  <a:pt x="5305401" y="2523565"/>
                </a:cubicBezTo>
                <a:cubicBezTo>
                  <a:pt x="5307749" y="2522711"/>
                  <a:pt x="5309243" y="2521289"/>
                  <a:pt x="5310737" y="2520578"/>
                </a:cubicBezTo>
                <a:cubicBezTo>
                  <a:pt x="5310737" y="2520578"/>
                  <a:pt x="5310737" y="2520578"/>
                  <a:pt x="5318633" y="2516879"/>
                </a:cubicBezTo>
                <a:cubicBezTo>
                  <a:pt x="5318633" y="2516879"/>
                  <a:pt x="5318633" y="2516879"/>
                  <a:pt x="5319487" y="2516879"/>
                </a:cubicBezTo>
                <a:cubicBezTo>
                  <a:pt x="5319487" y="2516879"/>
                  <a:pt x="5319487" y="2516736"/>
                  <a:pt x="5319487" y="2516025"/>
                </a:cubicBezTo>
                <a:cubicBezTo>
                  <a:pt x="5319487" y="2516025"/>
                  <a:pt x="5319487" y="2516025"/>
                  <a:pt x="5320981" y="2515314"/>
                </a:cubicBezTo>
                <a:cubicBezTo>
                  <a:pt x="5323329" y="2514602"/>
                  <a:pt x="5324823" y="2513891"/>
                  <a:pt x="5327384" y="2513180"/>
                </a:cubicBezTo>
                <a:cubicBezTo>
                  <a:pt x="5328878" y="2512326"/>
                  <a:pt x="5331225" y="2512326"/>
                  <a:pt x="5332719" y="2511615"/>
                </a:cubicBezTo>
                <a:cubicBezTo>
                  <a:pt x="5334427" y="2511615"/>
                  <a:pt x="5335280" y="2511615"/>
                  <a:pt x="5335921" y="2510903"/>
                </a:cubicBezTo>
                <a:cubicBezTo>
                  <a:pt x="5336774" y="2510903"/>
                  <a:pt x="5337414" y="2510903"/>
                  <a:pt x="5337414" y="2510903"/>
                </a:cubicBezTo>
                <a:cubicBezTo>
                  <a:pt x="5338268" y="2510903"/>
                  <a:pt x="5338268" y="2510903"/>
                  <a:pt x="5339975" y="2510903"/>
                </a:cubicBezTo>
                <a:cubicBezTo>
                  <a:pt x="5341042" y="2510192"/>
                  <a:pt x="5341469" y="2509623"/>
                  <a:pt x="5341256" y="2509196"/>
                </a:cubicBezTo>
                <a:lnTo>
                  <a:pt x="5340616" y="2508911"/>
                </a:lnTo>
                <a:lnTo>
                  <a:pt x="5340189" y="2509196"/>
                </a:lnTo>
                <a:cubicBezTo>
                  <a:pt x="5339122" y="2509480"/>
                  <a:pt x="5338268" y="2509338"/>
                  <a:pt x="5337414" y="2508627"/>
                </a:cubicBezTo>
                <a:lnTo>
                  <a:pt x="5336774" y="2508627"/>
                </a:lnTo>
                <a:cubicBezTo>
                  <a:pt x="5336774" y="2508627"/>
                  <a:pt x="5335921" y="2508627"/>
                  <a:pt x="5335921" y="2509338"/>
                </a:cubicBezTo>
                <a:cubicBezTo>
                  <a:pt x="5335921" y="2507915"/>
                  <a:pt x="5335921" y="2507915"/>
                  <a:pt x="5336774" y="2507205"/>
                </a:cubicBezTo>
                <a:lnTo>
                  <a:pt x="5336987" y="2506920"/>
                </a:lnTo>
                <a:cubicBezTo>
                  <a:pt x="5337201" y="2506351"/>
                  <a:pt x="5337414" y="2505782"/>
                  <a:pt x="5337414" y="2505213"/>
                </a:cubicBezTo>
                <a:cubicBezTo>
                  <a:pt x="5338482" y="2503505"/>
                  <a:pt x="5343177" y="2501798"/>
                  <a:pt x="5345951" y="2501513"/>
                </a:cubicBezTo>
                <a:cubicBezTo>
                  <a:pt x="5346805" y="2501371"/>
                  <a:pt x="5347445" y="2501371"/>
                  <a:pt x="5347872" y="2501798"/>
                </a:cubicBezTo>
                <a:lnTo>
                  <a:pt x="5345951" y="2504074"/>
                </a:lnTo>
                <a:lnTo>
                  <a:pt x="5348512" y="2504928"/>
                </a:lnTo>
                <a:cubicBezTo>
                  <a:pt x="5354915" y="2498241"/>
                  <a:pt x="5361104" y="2495254"/>
                  <a:pt x="5367293" y="2492977"/>
                </a:cubicBezTo>
                <a:cubicBezTo>
                  <a:pt x="5370495" y="2491555"/>
                  <a:pt x="5374550" y="2490843"/>
                  <a:pt x="5377538" y="2489278"/>
                </a:cubicBezTo>
                <a:cubicBezTo>
                  <a:pt x="5378391" y="2488567"/>
                  <a:pt x="5379245" y="2488567"/>
                  <a:pt x="5380098" y="2487856"/>
                </a:cubicBezTo>
                <a:cubicBezTo>
                  <a:pt x="5380738" y="2487856"/>
                  <a:pt x="5381593" y="2487002"/>
                  <a:pt x="5382233" y="2486291"/>
                </a:cubicBezTo>
                <a:cubicBezTo>
                  <a:pt x="5383940" y="2485580"/>
                  <a:pt x="5385434" y="2484868"/>
                  <a:pt x="5386928" y="2483303"/>
                </a:cubicBezTo>
                <a:cubicBezTo>
                  <a:pt x="5390129" y="2487856"/>
                  <a:pt x="5395678" y="2485580"/>
                  <a:pt x="5400373" y="2483303"/>
                </a:cubicBezTo>
                <a:cubicBezTo>
                  <a:pt x="5405068" y="2481169"/>
                  <a:pt x="5409764" y="2478892"/>
                  <a:pt x="5410618" y="2482591"/>
                </a:cubicBezTo>
                <a:cubicBezTo>
                  <a:pt x="5419154" y="2481169"/>
                  <a:pt x="5406776" y="2476617"/>
                  <a:pt x="5411471" y="2475905"/>
                </a:cubicBezTo>
                <a:cubicBezTo>
                  <a:pt x="5413819" y="2474767"/>
                  <a:pt x="5419368" y="2472490"/>
                  <a:pt x="5425343" y="2470214"/>
                </a:cubicBezTo>
                <a:lnTo>
                  <a:pt x="5431106" y="2467938"/>
                </a:lnTo>
                <a:lnTo>
                  <a:pt x="5436655" y="2460113"/>
                </a:lnTo>
                <a:lnTo>
                  <a:pt x="5439002" y="2460824"/>
                </a:lnTo>
                <a:lnTo>
                  <a:pt x="5438576" y="2459829"/>
                </a:lnTo>
                <a:lnTo>
                  <a:pt x="5437081" y="2460113"/>
                </a:lnTo>
                <a:cubicBezTo>
                  <a:pt x="5437081" y="2460113"/>
                  <a:pt x="5437081" y="2459971"/>
                  <a:pt x="5435588" y="2459544"/>
                </a:cubicBezTo>
                <a:cubicBezTo>
                  <a:pt x="5438789" y="2457979"/>
                  <a:pt x="5442844" y="2455987"/>
                  <a:pt x="5445405" y="2455987"/>
                </a:cubicBezTo>
                <a:cubicBezTo>
                  <a:pt x="5444551" y="2456983"/>
                  <a:pt x="5443057" y="2458264"/>
                  <a:pt x="5441563" y="2459117"/>
                </a:cubicBezTo>
                <a:lnTo>
                  <a:pt x="5441350" y="2459259"/>
                </a:lnTo>
                <a:lnTo>
                  <a:pt x="5441350" y="2460540"/>
                </a:lnTo>
                <a:cubicBezTo>
                  <a:pt x="5441563" y="2461109"/>
                  <a:pt x="5442204" y="2461536"/>
                  <a:pt x="5443697" y="2461678"/>
                </a:cubicBezTo>
                <a:cubicBezTo>
                  <a:pt x="5443697" y="2460255"/>
                  <a:pt x="5445191" y="2459544"/>
                  <a:pt x="5446685" y="2458833"/>
                </a:cubicBezTo>
                <a:cubicBezTo>
                  <a:pt x="5448393" y="2458122"/>
                  <a:pt x="5449887" y="2457979"/>
                  <a:pt x="5451381" y="2457979"/>
                </a:cubicBezTo>
                <a:cubicBezTo>
                  <a:pt x="5455435" y="2457979"/>
                  <a:pt x="5458423" y="2457267"/>
                  <a:pt x="5459277" y="2452004"/>
                </a:cubicBezTo>
                <a:cubicBezTo>
                  <a:pt x="5463332" y="2452004"/>
                  <a:pt x="5463973" y="2453569"/>
                  <a:pt x="5462478" y="2455845"/>
                </a:cubicBezTo>
                <a:lnTo>
                  <a:pt x="5467174" y="2452004"/>
                </a:lnTo>
                <a:lnTo>
                  <a:pt x="5465893" y="2442899"/>
                </a:lnTo>
                <a:lnTo>
                  <a:pt x="5466106" y="2441049"/>
                </a:lnTo>
                <a:lnTo>
                  <a:pt x="5463332" y="2444606"/>
                </a:lnTo>
                <a:lnTo>
                  <a:pt x="5461625" y="2443183"/>
                </a:lnTo>
                <a:lnTo>
                  <a:pt x="5461411" y="2443183"/>
                </a:lnTo>
                <a:lnTo>
                  <a:pt x="5460985" y="2442472"/>
                </a:lnTo>
                <a:lnTo>
                  <a:pt x="5460558" y="2442045"/>
                </a:lnTo>
                <a:cubicBezTo>
                  <a:pt x="5459490" y="2441191"/>
                  <a:pt x="5458210" y="2440480"/>
                  <a:pt x="5455435" y="2440195"/>
                </a:cubicBezTo>
                <a:close/>
                <a:moveTo>
                  <a:pt x="896677" y="2438709"/>
                </a:moveTo>
                <a:cubicBezTo>
                  <a:pt x="897503" y="2439484"/>
                  <a:pt x="900188" y="2439329"/>
                  <a:pt x="901943" y="2440103"/>
                </a:cubicBezTo>
                <a:cubicBezTo>
                  <a:pt x="901943" y="2440878"/>
                  <a:pt x="902769" y="2441652"/>
                  <a:pt x="902769" y="2442427"/>
                </a:cubicBezTo>
                <a:cubicBezTo>
                  <a:pt x="901840" y="2442427"/>
                  <a:pt x="899982" y="2443356"/>
                  <a:pt x="900085" y="2442582"/>
                </a:cubicBezTo>
                <a:cubicBezTo>
                  <a:pt x="899155" y="2442582"/>
                  <a:pt x="899259" y="2441033"/>
                  <a:pt x="899259" y="2441033"/>
                </a:cubicBezTo>
                <a:cubicBezTo>
                  <a:pt x="898330" y="2441033"/>
                  <a:pt x="897400" y="2441033"/>
                  <a:pt x="896574" y="2440258"/>
                </a:cubicBezTo>
                <a:cubicBezTo>
                  <a:pt x="897503" y="2439484"/>
                  <a:pt x="896574" y="2439484"/>
                  <a:pt x="896677" y="2438709"/>
                </a:cubicBezTo>
                <a:close/>
                <a:moveTo>
                  <a:pt x="930855" y="2438400"/>
                </a:moveTo>
                <a:cubicBezTo>
                  <a:pt x="931578" y="2438864"/>
                  <a:pt x="932714" y="2438245"/>
                  <a:pt x="933436" y="2438709"/>
                </a:cubicBezTo>
                <a:cubicBezTo>
                  <a:pt x="933024" y="2439484"/>
                  <a:pt x="932921" y="2441343"/>
                  <a:pt x="932197" y="2441033"/>
                </a:cubicBezTo>
                <a:cubicBezTo>
                  <a:pt x="931785" y="2441807"/>
                  <a:pt x="930236" y="2441188"/>
                  <a:pt x="930236" y="2441188"/>
                </a:cubicBezTo>
                <a:cubicBezTo>
                  <a:pt x="929823" y="2441962"/>
                  <a:pt x="929409" y="2442737"/>
                  <a:pt x="928170" y="2443202"/>
                </a:cubicBezTo>
                <a:cubicBezTo>
                  <a:pt x="927861" y="2442117"/>
                  <a:pt x="927448" y="2442892"/>
                  <a:pt x="926725" y="2442582"/>
                </a:cubicBezTo>
                <a:cubicBezTo>
                  <a:pt x="927861" y="2442117"/>
                  <a:pt x="929203" y="2439639"/>
                  <a:pt x="930855" y="2438400"/>
                </a:cubicBezTo>
                <a:close/>
                <a:moveTo>
                  <a:pt x="915366" y="2437160"/>
                </a:moveTo>
                <a:cubicBezTo>
                  <a:pt x="919806" y="2434372"/>
                  <a:pt x="922492" y="2434527"/>
                  <a:pt x="923421" y="2437935"/>
                </a:cubicBezTo>
                <a:cubicBezTo>
                  <a:pt x="923007" y="2438709"/>
                  <a:pt x="920942" y="2440723"/>
                  <a:pt x="921665" y="2441033"/>
                </a:cubicBezTo>
                <a:cubicBezTo>
                  <a:pt x="918981" y="2441962"/>
                  <a:pt x="915883" y="2442737"/>
                  <a:pt x="913921" y="2441962"/>
                </a:cubicBezTo>
                <a:cubicBezTo>
                  <a:pt x="913301" y="2441652"/>
                  <a:pt x="912682" y="2441188"/>
                  <a:pt x="912372" y="2440568"/>
                </a:cubicBezTo>
                <a:cubicBezTo>
                  <a:pt x="911339" y="2439174"/>
                  <a:pt x="912992" y="2437935"/>
                  <a:pt x="915366" y="2437160"/>
                </a:cubicBezTo>
                <a:close/>
                <a:moveTo>
                  <a:pt x="705240" y="2436231"/>
                </a:moveTo>
                <a:cubicBezTo>
                  <a:pt x="708028" y="2435147"/>
                  <a:pt x="711023" y="2437160"/>
                  <a:pt x="714637" y="2436541"/>
                </a:cubicBezTo>
                <a:cubicBezTo>
                  <a:pt x="715462" y="2438555"/>
                  <a:pt x="715979" y="2439794"/>
                  <a:pt x="715876" y="2440878"/>
                </a:cubicBezTo>
                <a:lnTo>
                  <a:pt x="715462" y="2441343"/>
                </a:lnTo>
                <a:lnTo>
                  <a:pt x="711126" y="2449707"/>
                </a:lnTo>
                <a:cubicBezTo>
                  <a:pt x="710300" y="2450482"/>
                  <a:pt x="706789" y="2451721"/>
                  <a:pt x="705963" y="2450791"/>
                </a:cubicBezTo>
                <a:cubicBezTo>
                  <a:pt x="705033" y="2449862"/>
                  <a:pt x="705033" y="2449088"/>
                  <a:pt x="705033" y="2448313"/>
                </a:cubicBezTo>
                <a:lnTo>
                  <a:pt x="707305" y="2444441"/>
                </a:lnTo>
                <a:lnTo>
                  <a:pt x="705447" y="2444441"/>
                </a:lnTo>
                <a:cubicBezTo>
                  <a:pt x="703382" y="2443976"/>
                  <a:pt x="701833" y="2443202"/>
                  <a:pt x="701317" y="2442427"/>
                </a:cubicBezTo>
                <a:cubicBezTo>
                  <a:pt x="700594" y="2440103"/>
                  <a:pt x="701627" y="2436851"/>
                  <a:pt x="705240" y="2436231"/>
                </a:cubicBezTo>
                <a:close/>
                <a:moveTo>
                  <a:pt x="1119814" y="2435457"/>
                </a:moveTo>
                <a:cubicBezTo>
                  <a:pt x="1121466" y="2436231"/>
                  <a:pt x="1122292" y="2437005"/>
                  <a:pt x="1122292" y="2438709"/>
                </a:cubicBezTo>
                <a:cubicBezTo>
                  <a:pt x="1121673" y="2438090"/>
                  <a:pt x="1120021" y="2437625"/>
                  <a:pt x="1119711" y="2436541"/>
                </a:cubicBezTo>
                <a:cubicBezTo>
                  <a:pt x="1119607" y="2436231"/>
                  <a:pt x="1119607" y="2435922"/>
                  <a:pt x="1119814" y="2435457"/>
                </a:cubicBezTo>
                <a:close/>
                <a:moveTo>
                  <a:pt x="830800" y="2435302"/>
                </a:moveTo>
                <a:cubicBezTo>
                  <a:pt x="834001" y="2435302"/>
                  <a:pt x="835550" y="2436076"/>
                  <a:pt x="835962" y="2436851"/>
                </a:cubicBezTo>
                <a:cubicBezTo>
                  <a:pt x="837305" y="2439329"/>
                  <a:pt x="829251" y="2443356"/>
                  <a:pt x="830800" y="2435302"/>
                </a:cubicBezTo>
                <a:close/>
                <a:moveTo>
                  <a:pt x="1173197" y="2434218"/>
                </a:moveTo>
                <a:cubicBezTo>
                  <a:pt x="1174643" y="2436076"/>
                  <a:pt x="1175159" y="2437935"/>
                  <a:pt x="1173920" y="2440413"/>
                </a:cubicBezTo>
                <a:cubicBezTo>
                  <a:pt x="1173197" y="2439174"/>
                  <a:pt x="1172681" y="2438245"/>
                  <a:pt x="1172474" y="2437315"/>
                </a:cubicBezTo>
                <a:cubicBezTo>
                  <a:pt x="1172371" y="2436386"/>
                  <a:pt x="1172474" y="2435612"/>
                  <a:pt x="1173197" y="2434218"/>
                </a:cubicBezTo>
                <a:close/>
                <a:moveTo>
                  <a:pt x="906383" y="2433908"/>
                </a:moveTo>
                <a:cubicBezTo>
                  <a:pt x="906383" y="2433908"/>
                  <a:pt x="907209" y="2434837"/>
                  <a:pt x="908035" y="2435612"/>
                </a:cubicBezTo>
                <a:cubicBezTo>
                  <a:pt x="908861" y="2436386"/>
                  <a:pt x="909688" y="2436386"/>
                  <a:pt x="909688" y="2436386"/>
                </a:cubicBezTo>
                <a:cubicBezTo>
                  <a:pt x="910514" y="2437160"/>
                  <a:pt x="910514" y="2438090"/>
                  <a:pt x="909584" y="2439019"/>
                </a:cubicBezTo>
                <a:cubicBezTo>
                  <a:pt x="909584" y="2439019"/>
                  <a:pt x="907932" y="2438245"/>
                  <a:pt x="907932" y="2438245"/>
                </a:cubicBezTo>
                <a:cubicBezTo>
                  <a:pt x="906280" y="2436541"/>
                  <a:pt x="905454" y="2435767"/>
                  <a:pt x="903699" y="2434992"/>
                </a:cubicBezTo>
                <a:cubicBezTo>
                  <a:pt x="904628" y="2433133"/>
                  <a:pt x="905557" y="2433133"/>
                  <a:pt x="906383" y="2433908"/>
                </a:cubicBezTo>
                <a:close/>
                <a:moveTo>
                  <a:pt x="5116525" y="2433082"/>
                </a:moveTo>
                <a:lnTo>
                  <a:pt x="5122074" y="2437777"/>
                </a:lnTo>
                <a:lnTo>
                  <a:pt x="5123355" y="2436923"/>
                </a:lnTo>
                <a:cubicBezTo>
                  <a:pt x="5124208" y="2436639"/>
                  <a:pt x="5125489" y="2436639"/>
                  <a:pt x="5128263" y="2436354"/>
                </a:cubicBezTo>
                <a:cubicBezTo>
                  <a:pt x="5129117" y="2439769"/>
                  <a:pt x="5129970" y="2443041"/>
                  <a:pt x="5130824" y="2446456"/>
                </a:cubicBezTo>
                <a:cubicBezTo>
                  <a:pt x="5129543" y="2446313"/>
                  <a:pt x="5128477" y="2446598"/>
                  <a:pt x="5127410" y="2446882"/>
                </a:cubicBezTo>
                <a:lnTo>
                  <a:pt x="5126983" y="2447024"/>
                </a:lnTo>
                <a:lnTo>
                  <a:pt x="5128477" y="2462390"/>
                </a:lnTo>
                <a:cubicBezTo>
                  <a:pt x="5116952" y="2460398"/>
                  <a:pt x="5115031" y="2443468"/>
                  <a:pt x="5116525" y="2433082"/>
                </a:cubicBezTo>
                <a:close/>
                <a:moveTo>
                  <a:pt x="5484460" y="2432655"/>
                </a:moveTo>
                <a:lnTo>
                  <a:pt x="5483393" y="2432940"/>
                </a:lnTo>
                <a:lnTo>
                  <a:pt x="5484460" y="2433509"/>
                </a:lnTo>
                <a:close/>
                <a:moveTo>
                  <a:pt x="4971613" y="2430948"/>
                </a:moveTo>
                <a:cubicBezTo>
                  <a:pt x="4975881" y="2433509"/>
                  <a:pt x="4980150" y="2436070"/>
                  <a:pt x="4981430" y="2439484"/>
                </a:cubicBezTo>
                <a:cubicBezTo>
                  <a:pt x="4979936" y="2442329"/>
                  <a:pt x="4978016" y="2444464"/>
                  <a:pt x="4975454" y="2445459"/>
                </a:cubicBezTo>
                <a:cubicBezTo>
                  <a:pt x="4973107" y="2446456"/>
                  <a:pt x="4970119" y="2446313"/>
                  <a:pt x="4966704" y="2444748"/>
                </a:cubicBezTo>
                <a:cubicBezTo>
                  <a:pt x="4963716" y="2439342"/>
                  <a:pt x="4969052" y="2434220"/>
                  <a:pt x="4971613" y="2430948"/>
                </a:cubicBezTo>
                <a:close/>
                <a:moveTo>
                  <a:pt x="931681" y="2430345"/>
                </a:moveTo>
                <a:cubicBezTo>
                  <a:pt x="932921" y="2430035"/>
                  <a:pt x="933643" y="2430345"/>
                  <a:pt x="933953" y="2431429"/>
                </a:cubicBezTo>
                <a:cubicBezTo>
                  <a:pt x="933953" y="2431429"/>
                  <a:pt x="932404" y="2432669"/>
                  <a:pt x="932404" y="2432669"/>
                </a:cubicBezTo>
                <a:cubicBezTo>
                  <a:pt x="929926" y="2433443"/>
                  <a:pt x="928687" y="2433753"/>
                  <a:pt x="927138" y="2434992"/>
                </a:cubicBezTo>
                <a:cubicBezTo>
                  <a:pt x="926518" y="2434218"/>
                  <a:pt x="926312" y="2433753"/>
                  <a:pt x="926415" y="2433288"/>
                </a:cubicBezTo>
                <a:cubicBezTo>
                  <a:pt x="926518" y="2432824"/>
                  <a:pt x="927034" y="2432513"/>
                  <a:pt x="927654" y="2432359"/>
                </a:cubicBezTo>
                <a:cubicBezTo>
                  <a:pt x="927654" y="2432359"/>
                  <a:pt x="928790" y="2431894"/>
                  <a:pt x="930029" y="2431584"/>
                </a:cubicBezTo>
                <a:cubicBezTo>
                  <a:pt x="931165" y="2431120"/>
                  <a:pt x="931681" y="2430345"/>
                  <a:pt x="931681" y="2430345"/>
                </a:cubicBezTo>
                <a:close/>
                <a:moveTo>
                  <a:pt x="1056105" y="2429725"/>
                </a:moveTo>
                <a:cubicBezTo>
                  <a:pt x="1062404" y="2429416"/>
                  <a:pt x="1066844" y="2436076"/>
                  <a:pt x="1065398" y="2443666"/>
                </a:cubicBezTo>
                <a:lnTo>
                  <a:pt x="1063642" y="2450017"/>
                </a:lnTo>
                <a:lnTo>
                  <a:pt x="1070458" y="2458691"/>
                </a:lnTo>
                <a:lnTo>
                  <a:pt x="1069425" y="2459466"/>
                </a:lnTo>
                <a:lnTo>
                  <a:pt x="1071903" y="2459311"/>
                </a:lnTo>
                <a:cubicBezTo>
                  <a:pt x="1073245" y="2459311"/>
                  <a:pt x="1074485" y="2459466"/>
                  <a:pt x="1075517" y="2460085"/>
                </a:cubicBezTo>
                <a:cubicBezTo>
                  <a:pt x="1076136" y="2460395"/>
                  <a:pt x="1076653" y="2461014"/>
                  <a:pt x="1076963" y="2461634"/>
                </a:cubicBezTo>
                <a:cubicBezTo>
                  <a:pt x="1077995" y="2463338"/>
                  <a:pt x="1076446" y="2464267"/>
                  <a:pt x="1074071" y="2464732"/>
                </a:cubicBezTo>
                <a:cubicBezTo>
                  <a:pt x="1069631" y="2466591"/>
                  <a:pt x="1066844" y="2465971"/>
                  <a:pt x="1065914" y="2462409"/>
                </a:cubicBezTo>
                <a:lnTo>
                  <a:pt x="1066740" y="2461479"/>
                </a:lnTo>
                <a:lnTo>
                  <a:pt x="1062094" y="2463958"/>
                </a:lnTo>
                <a:lnTo>
                  <a:pt x="1059202" y="2459930"/>
                </a:lnTo>
                <a:lnTo>
                  <a:pt x="1058480" y="2460550"/>
                </a:lnTo>
                <a:lnTo>
                  <a:pt x="1057551" y="2460240"/>
                </a:lnTo>
                <a:lnTo>
                  <a:pt x="1057241" y="2460705"/>
                </a:lnTo>
                <a:cubicBezTo>
                  <a:pt x="1051045" y="2460395"/>
                  <a:pt x="1048877" y="2456523"/>
                  <a:pt x="1048464" y="2451876"/>
                </a:cubicBezTo>
                <a:lnTo>
                  <a:pt x="1048464" y="2447384"/>
                </a:lnTo>
                <a:lnTo>
                  <a:pt x="1045056" y="2446455"/>
                </a:lnTo>
                <a:cubicBezTo>
                  <a:pt x="1043508" y="2445525"/>
                  <a:pt x="1042785" y="2443976"/>
                  <a:pt x="1043817" y="2441807"/>
                </a:cubicBezTo>
                <a:cubicBezTo>
                  <a:pt x="1044127" y="2440878"/>
                  <a:pt x="1044953" y="2440568"/>
                  <a:pt x="1045883" y="2440568"/>
                </a:cubicBezTo>
                <a:lnTo>
                  <a:pt x="1039171" y="2430345"/>
                </a:lnTo>
                <a:cubicBezTo>
                  <a:pt x="1042785" y="2430810"/>
                  <a:pt x="1045986" y="2432204"/>
                  <a:pt x="1048877" y="2434063"/>
                </a:cubicBezTo>
                <a:lnTo>
                  <a:pt x="1050529" y="2435767"/>
                </a:lnTo>
                <a:lnTo>
                  <a:pt x="1050735" y="2434992"/>
                </a:lnTo>
                <a:cubicBezTo>
                  <a:pt x="1051355" y="2433133"/>
                  <a:pt x="1052181" y="2431584"/>
                  <a:pt x="1053317" y="2430655"/>
                </a:cubicBezTo>
                <a:cubicBezTo>
                  <a:pt x="1054143" y="2430035"/>
                  <a:pt x="1055072" y="2429725"/>
                  <a:pt x="1056105" y="2429725"/>
                </a:cubicBezTo>
                <a:close/>
                <a:moveTo>
                  <a:pt x="1006129" y="2429570"/>
                </a:moveTo>
                <a:cubicBezTo>
                  <a:pt x="1006955" y="2430345"/>
                  <a:pt x="1006026" y="2432978"/>
                  <a:pt x="1006852" y="2433753"/>
                </a:cubicBezTo>
                <a:cubicBezTo>
                  <a:pt x="1006852" y="2433753"/>
                  <a:pt x="1006748" y="2433908"/>
                  <a:pt x="1004993" y="2434837"/>
                </a:cubicBezTo>
                <a:cubicBezTo>
                  <a:pt x="1004064" y="2434837"/>
                  <a:pt x="1003134" y="2434837"/>
                  <a:pt x="1002308" y="2434063"/>
                </a:cubicBezTo>
                <a:cubicBezTo>
                  <a:pt x="1001482" y="2433133"/>
                  <a:pt x="1001586" y="2431429"/>
                  <a:pt x="1001586" y="2430655"/>
                </a:cubicBezTo>
                <a:cubicBezTo>
                  <a:pt x="1002515" y="2430500"/>
                  <a:pt x="1002515" y="2429725"/>
                  <a:pt x="1003444" y="2429725"/>
                </a:cubicBezTo>
                <a:cubicBezTo>
                  <a:pt x="1005199" y="2428796"/>
                  <a:pt x="1005303" y="2428796"/>
                  <a:pt x="1006129" y="2429570"/>
                </a:cubicBezTo>
                <a:close/>
                <a:moveTo>
                  <a:pt x="767504" y="2429570"/>
                </a:moveTo>
                <a:cubicBezTo>
                  <a:pt x="767607" y="2431274"/>
                  <a:pt x="771221" y="2431584"/>
                  <a:pt x="769569" y="2433598"/>
                </a:cubicBezTo>
                <a:cubicBezTo>
                  <a:pt x="768640" y="2432824"/>
                  <a:pt x="767710" y="2431274"/>
                  <a:pt x="766781" y="2430500"/>
                </a:cubicBezTo>
                <a:cubicBezTo>
                  <a:pt x="766781" y="2430500"/>
                  <a:pt x="766678" y="2430500"/>
                  <a:pt x="767504" y="2429570"/>
                </a:cubicBezTo>
                <a:close/>
                <a:moveTo>
                  <a:pt x="1110418" y="2429261"/>
                </a:moveTo>
                <a:cubicBezTo>
                  <a:pt x="1112070" y="2429106"/>
                  <a:pt x="1113722" y="2429570"/>
                  <a:pt x="1114858" y="2431120"/>
                </a:cubicBezTo>
                <a:cubicBezTo>
                  <a:pt x="1112896" y="2435922"/>
                  <a:pt x="1111554" y="2441652"/>
                  <a:pt x="1105565" y="2440878"/>
                </a:cubicBezTo>
                <a:cubicBezTo>
                  <a:pt x="1104222" y="2439639"/>
                  <a:pt x="1103500" y="2438245"/>
                  <a:pt x="1103293" y="2436851"/>
                </a:cubicBezTo>
                <a:cubicBezTo>
                  <a:pt x="1102673" y="2432978"/>
                  <a:pt x="1106597" y="2429570"/>
                  <a:pt x="1110418" y="2429261"/>
                </a:cubicBezTo>
                <a:close/>
                <a:moveTo>
                  <a:pt x="672147" y="2429242"/>
                </a:moveTo>
                <a:cubicBezTo>
                  <a:pt x="675089" y="2427983"/>
                  <a:pt x="678600" y="2428332"/>
                  <a:pt x="680355" y="2430500"/>
                </a:cubicBezTo>
                <a:cubicBezTo>
                  <a:pt x="681491" y="2432049"/>
                  <a:pt x="681904" y="2434372"/>
                  <a:pt x="680768" y="2437470"/>
                </a:cubicBezTo>
                <a:cubicBezTo>
                  <a:pt x="674780" y="2437005"/>
                  <a:pt x="671785" y="2440413"/>
                  <a:pt x="667345" y="2437625"/>
                </a:cubicBezTo>
                <a:cubicBezTo>
                  <a:pt x="666829" y="2433366"/>
                  <a:pt x="669204" y="2430500"/>
                  <a:pt x="672147" y="2429242"/>
                </a:cubicBezTo>
                <a:close/>
                <a:moveTo>
                  <a:pt x="4855940" y="2428245"/>
                </a:moveTo>
                <a:cubicBezTo>
                  <a:pt x="4864903" y="2428814"/>
                  <a:pt x="4873867" y="2439199"/>
                  <a:pt x="4873013" y="2447451"/>
                </a:cubicBezTo>
                <a:cubicBezTo>
                  <a:pt x="4864903" y="2454422"/>
                  <a:pt x="4851671" y="2448305"/>
                  <a:pt x="4847616" y="2439911"/>
                </a:cubicBezTo>
                <a:cubicBezTo>
                  <a:pt x="4846335" y="2437208"/>
                  <a:pt x="4845909" y="2434078"/>
                  <a:pt x="4846976" y="2431090"/>
                </a:cubicBezTo>
                <a:cubicBezTo>
                  <a:pt x="4849750" y="2428814"/>
                  <a:pt x="4852738" y="2427961"/>
                  <a:pt x="4855940" y="2428245"/>
                </a:cubicBezTo>
                <a:close/>
                <a:moveTo>
                  <a:pt x="1078511" y="2427247"/>
                </a:moveTo>
                <a:cubicBezTo>
                  <a:pt x="1080164" y="2428331"/>
                  <a:pt x="1082022" y="2428641"/>
                  <a:pt x="1083674" y="2429725"/>
                </a:cubicBezTo>
                <a:cubicBezTo>
                  <a:pt x="1083364" y="2432978"/>
                  <a:pt x="1086669" y="2435922"/>
                  <a:pt x="1082022" y="2438400"/>
                </a:cubicBezTo>
                <a:cubicBezTo>
                  <a:pt x="1079028" y="2437935"/>
                  <a:pt x="1076756" y="2435457"/>
                  <a:pt x="1076240" y="2432824"/>
                </a:cubicBezTo>
                <a:cubicBezTo>
                  <a:pt x="1076033" y="2432049"/>
                  <a:pt x="1076136" y="2431120"/>
                  <a:pt x="1076343" y="2430345"/>
                </a:cubicBezTo>
                <a:cubicBezTo>
                  <a:pt x="1076653" y="2429106"/>
                  <a:pt x="1077272" y="2428022"/>
                  <a:pt x="1078511" y="2427247"/>
                </a:cubicBezTo>
                <a:close/>
                <a:moveTo>
                  <a:pt x="796002" y="2426163"/>
                </a:moveTo>
                <a:cubicBezTo>
                  <a:pt x="797448" y="2425699"/>
                  <a:pt x="798481" y="2425853"/>
                  <a:pt x="799307" y="2426473"/>
                </a:cubicBezTo>
                <a:cubicBezTo>
                  <a:pt x="800132" y="2427247"/>
                  <a:pt x="800752" y="2428331"/>
                  <a:pt x="801475" y="2429725"/>
                </a:cubicBezTo>
                <a:cubicBezTo>
                  <a:pt x="802921" y="2432513"/>
                  <a:pt x="800752" y="2434218"/>
                  <a:pt x="801475" y="2436541"/>
                </a:cubicBezTo>
                <a:lnTo>
                  <a:pt x="799926" y="2436076"/>
                </a:lnTo>
                <a:lnTo>
                  <a:pt x="798997" y="2444441"/>
                </a:lnTo>
                <a:cubicBezTo>
                  <a:pt x="797964" y="2447074"/>
                  <a:pt x="796416" y="2449397"/>
                  <a:pt x="794454" y="2451256"/>
                </a:cubicBezTo>
                <a:lnTo>
                  <a:pt x="790427" y="2453889"/>
                </a:lnTo>
                <a:lnTo>
                  <a:pt x="794041" y="2454664"/>
                </a:lnTo>
                <a:cubicBezTo>
                  <a:pt x="798171" y="2456368"/>
                  <a:pt x="802404" y="2458846"/>
                  <a:pt x="806431" y="2462873"/>
                </a:cubicBezTo>
                <a:cubicBezTo>
                  <a:pt x="806225" y="2468450"/>
                  <a:pt x="801888" y="2469844"/>
                  <a:pt x="796829" y="2468914"/>
                </a:cubicBezTo>
                <a:cubicBezTo>
                  <a:pt x="790530" y="2467520"/>
                  <a:pt x="782992" y="2462563"/>
                  <a:pt x="781340" y="2457297"/>
                </a:cubicBezTo>
                <a:lnTo>
                  <a:pt x="781443" y="2456832"/>
                </a:lnTo>
                <a:lnTo>
                  <a:pt x="774525" y="2456677"/>
                </a:lnTo>
                <a:cubicBezTo>
                  <a:pt x="772047" y="2456213"/>
                  <a:pt x="769465" y="2455439"/>
                  <a:pt x="766987" y="2454199"/>
                </a:cubicBezTo>
                <a:cubicBezTo>
                  <a:pt x="767091" y="2453115"/>
                  <a:pt x="767091" y="2451876"/>
                  <a:pt x="765852" y="2451876"/>
                </a:cubicBezTo>
                <a:cubicBezTo>
                  <a:pt x="765542" y="2444131"/>
                  <a:pt x="770808" y="2437625"/>
                  <a:pt x="777829" y="2434218"/>
                </a:cubicBezTo>
                <a:cubicBezTo>
                  <a:pt x="782992" y="2431739"/>
                  <a:pt x="789188" y="2430965"/>
                  <a:pt x="794660" y="2432669"/>
                </a:cubicBezTo>
                <a:lnTo>
                  <a:pt x="795486" y="2433133"/>
                </a:lnTo>
                <a:lnTo>
                  <a:pt x="794454" y="2432049"/>
                </a:lnTo>
                <a:cubicBezTo>
                  <a:pt x="794144" y="2430810"/>
                  <a:pt x="794144" y="2430810"/>
                  <a:pt x="794660" y="2430190"/>
                </a:cubicBezTo>
                <a:cubicBezTo>
                  <a:pt x="794763" y="2428331"/>
                  <a:pt x="794350" y="2427093"/>
                  <a:pt x="796002" y="2426163"/>
                </a:cubicBezTo>
                <a:close/>
                <a:moveTo>
                  <a:pt x="893063" y="2425234"/>
                </a:moveTo>
                <a:cubicBezTo>
                  <a:pt x="893993" y="2423530"/>
                  <a:pt x="895645" y="2424304"/>
                  <a:pt x="897297" y="2426008"/>
                </a:cubicBezTo>
                <a:cubicBezTo>
                  <a:pt x="901633" y="2428331"/>
                  <a:pt x="902356" y="2430810"/>
                  <a:pt x="899569" y="2433443"/>
                </a:cubicBezTo>
                <a:cubicBezTo>
                  <a:pt x="898742" y="2433443"/>
                  <a:pt x="896161" y="2432669"/>
                  <a:pt x="896161" y="2433598"/>
                </a:cubicBezTo>
                <a:cubicBezTo>
                  <a:pt x="894199" y="2431739"/>
                  <a:pt x="892444" y="2429416"/>
                  <a:pt x="892340" y="2427403"/>
                </a:cubicBezTo>
                <a:cubicBezTo>
                  <a:pt x="892340" y="2426627"/>
                  <a:pt x="892547" y="2426008"/>
                  <a:pt x="893063" y="2425234"/>
                </a:cubicBezTo>
                <a:close/>
                <a:moveTo>
                  <a:pt x="549117" y="2423375"/>
                </a:moveTo>
                <a:cubicBezTo>
                  <a:pt x="550872" y="2425234"/>
                  <a:pt x="550769" y="2426008"/>
                  <a:pt x="551595" y="2426938"/>
                </a:cubicBezTo>
                <a:cubicBezTo>
                  <a:pt x="551698" y="2426163"/>
                  <a:pt x="552524" y="2427093"/>
                  <a:pt x="552524" y="2427093"/>
                </a:cubicBezTo>
                <a:cubicBezTo>
                  <a:pt x="552524" y="2427093"/>
                  <a:pt x="552524" y="2427093"/>
                  <a:pt x="554280" y="2425543"/>
                </a:cubicBezTo>
                <a:cubicBezTo>
                  <a:pt x="554280" y="2425543"/>
                  <a:pt x="558617" y="2422600"/>
                  <a:pt x="562954" y="2426473"/>
                </a:cubicBezTo>
                <a:cubicBezTo>
                  <a:pt x="562024" y="2427247"/>
                  <a:pt x="567187" y="2432824"/>
                  <a:pt x="565431" y="2435922"/>
                </a:cubicBezTo>
                <a:cubicBezTo>
                  <a:pt x="564502" y="2437470"/>
                  <a:pt x="563676" y="2438245"/>
                  <a:pt x="562747" y="2439949"/>
                </a:cubicBezTo>
                <a:cubicBezTo>
                  <a:pt x="560165" y="2439639"/>
                  <a:pt x="557481" y="2441962"/>
                  <a:pt x="552318" y="2437935"/>
                </a:cubicBezTo>
                <a:cubicBezTo>
                  <a:pt x="547258" y="2433288"/>
                  <a:pt x="551595" y="2428641"/>
                  <a:pt x="550769" y="2428641"/>
                </a:cubicBezTo>
                <a:cubicBezTo>
                  <a:pt x="549840" y="2427712"/>
                  <a:pt x="549840" y="2427712"/>
                  <a:pt x="549014" y="2427557"/>
                </a:cubicBezTo>
                <a:cubicBezTo>
                  <a:pt x="549014" y="2426782"/>
                  <a:pt x="548291" y="2424924"/>
                  <a:pt x="547361" y="2423994"/>
                </a:cubicBezTo>
                <a:cubicBezTo>
                  <a:pt x="548291" y="2424149"/>
                  <a:pt x="549117" y="2424149"/>
                  <a:pt x="549117" y="2423375"/>
                </a:cubicBezTo>
                <a:close/>
                <a:moveTo>
                  <a:pt x="5267626" y="2422839"/>
                </a:moveTo>
                <a:cubicBezTo>
                  <a:pt x="5271681" y="2425257"/>
                  <a:pt x="5275736" y="2427676"/>
                  <a:pt x="5276376" y="2431090"/>
                </a:cubicBezTo>
                <a:lnTo>
                  <a:pt x="5272748" y="2434362"/>
                </a:lnTo>
                <a:lnTo>
                  <a:pt x="5272961" y="2434505"/>
                </a:lnTo>
                <a:cubicBezTo>
                  <a:pt x="5275309" y="2435927"/>
                  <a:pt x="5276590" y="2435927"/>
                  <a:pt x="5278937" y="2435074"/>
                </a:cubicBezTo>
                <a:cubicBezTo>
                  <a:pt x="5278937" y="2435074"/>
                  <a:pt x="5278724" y="2435074"/>
                  <a:pt x="5281072" y="2437777"/>
                </a:cubicBezTo>
                <a:lnTo>
                  <a:pt x="5281072" y="2438915"/>
                </a:lnTo>
                <a:cubicBezTo>
                  <a:pt x="5280645" y="2439484"/>
                  <a:pt x="5279791" y="2439627"/>
                  <a:pt x="5278511" y="2439627"/>
                </a:cubicBezTo>
                <a:cubicBezTo>
                  <a:pt x="5274669" y="2439484"/>
                  <a:pt x="5268053" y="2437350"/>
                  <a:pt x="5267200" y="2437208"/>
                </a:cubicBezTo>
                <a:lnTo>
                  <a:pt x="5265919" y="2437065"/>
                </a:lnTo>
                <a:lnTo>
                  <a:pt x="5260797" y="2436781"/>
                </a:lnTo>
                <a:cubicBezTo>
                  <a:pt x="5258662" y="2431517"/>
                  <a:pt x="5264638" y="2426111"/>
                  <a:pt x="5267626" y="2422839"/>
                </a:cubicBezTo>
                <a:close/>
                <a:moveTo>
                  <a:pt x="1129520" y="2422291"/>
                </a:moveTo>
                <a:cubicBezTo>
                  <a:pt x="1130759" y="2422600"/>
                  <a:pt x="1130759" y="2422600"/>
                  <a:pt x="1131895" y="2422910"/>
                </a:cubicBezTo>
                <a:cubicBezTo>
                  <a:pt x="1132824" y="2424459"/>
                  <a:pt x="1134476" y="2425543"/>
                  <a:pt x="1134683" y="2427403"/>
                </a:cubicBezTo>
                <a:lnTo>
                  <a:pt x="1132721" y="2429106"/>
                </a:lnTo>
                <a:lnTo>
                  <a:pt x="1133960" y="2430035"/>
                </a:lnTo>
                <a:cubicBezTo>
                  <a:pt x="1134270" y="2430345"/>
                  <a:pt x="1134580" y="2430655"/>
                  <a:pt x="1134786" y="2431120"/>
                </a:cubicBezTo>
                <a:cubicBezTo>
                  <a:pt x="1134476" y="2432204"/>
                  <a:pt x="1132928" y="2433288"/>
                  <a:pt x="1130966" y="2433598"/>
                </a:cubicBezTo>
                <a:cubicBezTo>
                  <a:pt x="1131069" y="2432978"/>
                  <a:pt x="1130759" y="2432513"/>
                  <a:pt x="1130346" y="2431894"/>
                </a:cubicBezTo>
                <a:lnTo>
                  <a:pt x="1129933" y="2430345"/>
                </a:lnTo>
                <a:lnTo>
                  <a:pt x="1128178" y="2430810"/>
                </a:lnTo>
                <a:lnTo>
                  <a:pt x="1128281" y="2431429"/>
                </a:lnTo>
                <a:cubicBezTo>
                  <a:pt x="1128281" y="2431429"/>
                  <a:pt x="1128384" y="2430655"/>
                  <a:pt x="1129210" y="2431429"/>
                </a:cubicBezTo>
                <a:cubicBezTo>
                  <a:pt x="1128281" y="2431429"/>
                  <a:pt x="1128178" y="2432204"/>
                  <a:pt x="1128074" y="2433133"/>
                </a:cubicBezTo>
                <a:cubicBezTo>
                  <a:pt x="1126009" y="2434682"/>
                  <a:pt x="1123118" y="2436231"/>
                  <a:pt x="1121466" y="2435302"/>
                </a:cubicBezTo>
                <a:cubicBezTo>
                  <a:pt x="1120743" y="2434372"/>
                  <a:pt x="1120640" y="2433443"/>
                  <a:pt x="1120950" y="2432824"/>
                </a:cubicBezTo>
                <a:cubicBezTo>
                  <a:pt x="1121156" y="2432049"/>
                  <a:pt x="1121673" y="2431429"/>
                  <a:pt x="1122189" y="2431120"/>
                </a:cubicBezTo>
                <a:cubicBezTo>
                  <a:pt x="1122808" y="2429881"/>
                  <a:pt x="1124047" y="2429261"/>
                  <a:pt x="1125390" y="2429106"/>
                </a:cubicBezTo>
                <a:lnTo>
                  <a:pt x="1126422" y="2429261"/>
                </a:lnTo>
                <a:lnTo>
                  <a:pt x="1125699" y="2428641"/>
                </a:lnTo>
                <a:cubicBezTo>
                  <a:pt x="1125287" y="2427712"/>
                  <a:pt x="1125287" y="2426473"/>
                  <a:pt x="1125596" y="2425234"/>
                </a:cubicBezTo>
                <a:cubicBezTo>
                  <a:pt x="1125493" y="2424304"/>
                  <a:pt x="1126009" y="2423684"/>
                  <a:pt x="1126732" y="2423065"/>
                </a:cubicBezTo>
                <a:cubicBezTo>
                  <a:pt x="1127558" y="2422600"/>
                  <a:pt x="1128591" y="2422291"/>
                  <a:pt x="1129520" y="2422291"/>
                </a:cubicBezTo>
                <a:close/>
                <a:moveTo>
                  <a:pt x="1176811" y="2422136"/>
                </a:moveTo>
                <a:cubicBezTo>
                  <a:pt x="1181045" y="2422136"/>
                  <a:pt x="1182697" y="2424149"/>
                  <a:pt x="1183833" y="2427712"/>
                </a:cubicBezTo>
                <a:cubicBezTo>
                  <a:pt x="1181974" y="2429261"/>
                  <a:pt x="1177740" y="2429261"/>
                  <a:pt x="1175985" y="2427247"/>
                </a:cubicBezTo>
                <a:cubicBezTo>
                  <a:pt x="1175469" y="2424304"/>
                  <a:pt x="1177328" y="2423994"/>
                  <a:pt x="1176811" y="2422136"/>
                </a:cubicBezTo>
                <a:close/>
                <a:moveTo>
                  <a:pt x="924350" y="2421516"/>
                </a:moveTo>
                <a:cubicBezTo>
                  <a:pt x="926002" y="2422291"/>
                  <a:pt x="928273" y="2427867"/>
                  <a:pt x="927448" y="2428796"/>
                </a:cubicBezTo>
                <a:cubicBezTo>
                  <a:pt x="925589" y="2427712"/>
                  <a:pt x="922285" y="2425699"/>
                  <a:pt x="921562" y="2423684"/>
                </a:cubicBezTo>
                <a:cubicBezTo>
                  <a:pt x="921252" y="2423065"/>
                  <a:pt x="921356" y="2422291"/>
                  <a:pt x="921768" y="2421671"/>
                </a:cubicBezTo>
                <a:cubicBezTo>
                  <a:pt x="922698" y="2420896"/>
                  <a:pt x="923524" y="2421671"/>
                  <a:pt x="924350" y="2421516"/>
                </a:cubicBezTo>
                <a:close/>
                <a:moveTo>
                  <a:pt x="867559" y="2421516"/>
                </a:moveTo>
                <a:cubicBezTo>
                  <a:pt x="869418" y="2422910"/>
                  <a:pt x="871173" y="2423530"/>
                  <a:pt x="871173" y="2424304"/>
                </a:cubicBezTo>
                <a:cubicBezTo>
                  <a:pt x="872102" y="2424149"/>
                  <a:pt x="873031" y="2424924"/>
                  <a:pt x="873961" y="2424769"/>
                </a:cubicBezTo>
                <a:cubicBezTo>
                  <a:pt x="873961" y="2424769"/>
                  <a:pt x="873961" y="2424769"/>
                  <a:pt x="873961" y="2425699"/>
                </a:cubicBezTo>
                <a:cubicBezTo>
                  <a:pt x="870450" y="2425234"/>
                  <a:pt x="866114" y="2426782"/>
                  <a:pt x="863325" y="2425389"/>
                </a:cubicBezTo>
                <a:cubicBezTo>
                  <a:pt x="862913" y="2425079"/>
                  <a:pt x="862396" y="2424769"/>
                  <a:pt x="862293" y="2424149"/>
                </a:cubicBezTo>
                <a:cubicBezTo>
                  <a:pt x="862087" y="2423684"/>
                  <a:pt x="862293" y="2423065"/>
                  <a:pt x="863119" y="2422136"/>
                </a:cubicBezTo>
                <a:cubicBezTo>
                  <a:pt x="863945" y="2420277"/>
                  <a:pt x="864771" y="2420277"/>
                  <a:pt x="867559" y="2421516"/>
                </a:cubicBezTo>
                <a:close/>
                <a:moveTo>
                  <a:pt x="1054660" y="2421361"/>
                </a:moveTo>
                <a:cubicBezTo>
                  <a:pt x="1057860" y="2421826"/>
                  <a:pt x="1058480" y="2424459"/>
                  <a:pt x="1060958" y="2425079"/>
                </a:cubicBezTo>
                <a:cubicBezTo>
                  <a:pt x="1059926" y="2426627"/>
                  <a:pt x="1058583" y="2429261"/>
                  <a:pt x="1054143" y="2428641"/>
                </a:cubicBezTo>
                <a:cubicBezTo>
                  <a:pt x="1052904" y="2428177"/>
                  <a:pt x="1052904" y="2428177"/>
                  <a:pt x="1052491" y="2427557"/>
                </a:cubicBezTo>
                <a:cubicBezTo>
                  <a:pt x="1050735" y="2426318"/>
                  <a:pt x="1049496" y="2426008"/>
                  <a:pt x="1049393" y="2424149"/>
                </a:cubicBezTo>
                <a:cubicBezTo>
                  <a:pt x="1049393" y="2422600"/>
                  <a:pt x="1049909" y="2421826"/>
                  <a:pt x="1050839" y="2421516"/>
                </a:cubicBezTo>
                <a:cubicBezTo>
                  <a:pt x="1051768" y="2421206"/>
                  <a:pt x="1053007" y="2421206"/>
                  <a:pt x="1054660" y="2421361"/>
                </a:cubicBezTo>
                <a:close/>
                <a:moveTo>
                  <a:pt x="1026987" y="2421051"/>
                </a:moveTo>
                <a:cubicBezTo>
                  <a:pt x="1027813" y="2420896"/>
                  <a:pt x="1028638" y="2421051"/>
                  <a:pt x="1029774" y="2421516"/>
                </a:cubicBezTo>
                <a:cubicBezTo>
                  <a:pt x="1030601" y="2421206"/>
                  <a:pt x="1032872" y="2424149"/>
                  <a:pt x="1032562" y="2425234"/>
                </a:cubicBezTo>
                <a:cubicBezTo>
                  <a:pt x="1032150" y="2428177"/>
                  <a:pt x="1029052" y="2427403"/>
                  <a:pt x="1025644" y="2427867"/>
                </a:cubicBezTo>
                <a:cubicBezTo>
                  <a:pt x="1025954" y="2426782"/>
                  <a:pt x="1024818" y="2426318"/>
                  <a:pt x="1023683" y="2425853"/>
                </a:cubicBezTo>
                <a:cubicBezTo>
                  <a:pt x="1024302" y="2424149"/>
                  <a:pt x="1024818" y="2421516"/>
                  <a:pt x="1026987" y="2421051"/>
                </a:cubicBezTo>
                <a:close/>
                <a:moveTo>
                  <a:pt x="655161" y="2421051"/>
                </a:moveTo>
                <a:cubicBezTo>
                  <a:pt x="657846" y="2422291"/>
                  <a:pt x="660427" y="2428177"/>
                  <a:pt x="658775" y="2430965"/>
                </a:cubicBezTo>
                <a:cubicBezTo>
                  <a:pt x="658156" y="2431894"/>
                  <a:pt x="657123" y="2432359"/>
                  <a:pt x="655471" y="2432359"/>
                </a:cubicBezTo>
                <a:cubicBezTo>
                  <a:pt x="650515" y="2431739"/>
                  <a:pt x="649998" y="2427557"/>
                  <a:pt x="650205" y="2422910"/>
                </a:cubicBezTo>
                <a:cubicBezTo>
                  <a:pt x="652063" y="2422445"/>
                  <a:pt x="653302" y="2421516"/>
                  <a:pt x="655161" y="2421051"/>
                </a:cubicBezTo>
                <a:close/>
                <a:moveTo>
                  <a:pt x="1084604" y="2420587"/>
                </a:moveTo>
                <a:cubicBezTo>
                  <a:pt x="1085223" y="2420587"/>
                  <a:pt x="1085739" y="2420587"/>
                  <a:pt x="1086153" y="2421051"/>
                </a:cubicBezTo>
                <a:cubicBezTo>
                  <a:pt x="1084191" y="2422600"/>
                  <a:pt x="1081919" y="2425853"/>
                  <a:pt x="1078615" y="2424769"/>
                </a:cubicBezTo>
                <a:cubicBezTo>
                  <a:pt x="1080060" y="2423530"/>
                  <a:pt x="1082745" y="2421051"/>
                  <a:pt x="1084604" y="2420587"/>
                </a:cubicBezTo>
                <a:close/>
                <a:moveTo>
                  <a:pt x="5226863" y="2420278"/>
                </a:moveTo>
                <a:cubicBezTo>
                  <a:pt x="5230064" y="2420847"/>
                  <a:pt x="5233265" y="2421416"/>
                  <a:pt x="5236680" y="2421843"/>
                </a:cubicBezTo>
                <a:cubicBezTo>
                  <a:pt x="5235613" y="2424261"/>
                  <a:pt x="5236467" y="2426964"/>
                  <a:pt x="5236253" y="2428672"/>
                </a:cubicBezTo>
                <a:cubicBezTo>
                  <a:pt x="5233692" y="2430806"/>
                  <a:pt x="5231132" y="2431233"/>
                  <a:pt x="5227290" y="2429668"/>
                </a:cubicBezTo>
                <a:cubicBezTo>
                  <a:pt x="5225796" y="2424261"/>
                  <a:pt x="5225796" y="2425969"/>
                  <a:pt x="5226863" y="2420278"/>
                </a:cubicBezTo>
                <a:close/>
                <a:moveTo>
                  <a:pt x="981141" y="2419502"/>
                </a:moveTo>
                <a:cubicBezTo>
                  <a:pt x="983000" y="2419657"/>
                  <a:pt x="981864" y="2422910"/>
                  <a:pt x="982277" y="2423684"/>
                </a:cubicBezTo>
                <a:cubicBezTo>
                  <a:pt x="981864" y="2424769"/>
                  <a:pt x="981451" y="2425853"/>
                  <a:pt x="980315" y="2425389"/>
                </a:cubicBezTo>
                <a:cubicBezTo>
                  <a:pt x="979179" y="2424924"/>
                  <a:pt x="978353" y="2425234"/>
                  <a:pt x="978353" y="2423375"/>
                </a:cubicBezTo>
                <a:cubicBezTo>
                  <a:pt x="978043" y="2422600"/>
                  <a:pt x="978353" y="2421516"/>
                  <a:pt x="978043" y="2420741"/>
                </a:cubicBezTo>
                <a:cubicBezTo>
                  <a:pt x="978043" y="2420741"/>
                  <a:pt x="978456" y="2420277"/>
                  <a:pt x="979076" y="2419967"/>
                </a:cubicBezTo>
                <a:cubicBezTo>
                  <a:pt x="979695" y="2419657"/>
                  <a:pt x="980521" y="2419192"/>
                  <a:pt x="981141" y="2419502"/>
                </a:cubicBezTo>
                <a:close/>
                <a:moveTo>
                  <a:pt x="1007058" y="2418418"/>
                </a:moveTo>
                <a:cubicBezTo>
                  <a:pt x="1010156" y="2421206"/>
                  <a:pt x="1010879" y="2421980"/>
                  <a:pt x="1008400" y="2426008"/>
                </a:cubicBezTo>
                <a:cubicBezTo>
                  <a:pt x="1008400" y="2426008"/>
                  <a:pt x="1007471" y="2426782"/>
                  <a:pt x="1007471" y="2426782"/>
                </a:cubicBezTo>
                <a:cubicBezTo>
                  <a:pt x="1004373" y="2430035"/>
                  <a:pt x="998901" y="2431274"/>
                  <a:pt x="997249" y="2430345"/>
                </a:cubicBezTo>
                <a:cubicBezTo>
                  <a:pt x="996526" y="2429570"/>
                  <a:pt x="996113" y="2428177"/>
                  <a:pt x="996216" y="2426782"/>
                </a:cubicBezTo>
                <a:cubicBezTo>
                  <a:pt x="996320" y="2425543"/>
                  <a:pt x="997042" y="2424149"/>
                  <a:pt x="998488" y="2422910"/>
                </a:cubicBezTo>
                <a:cubicBezTo>
                  <a:pt x="1000656" y="2420587"/>
                  <a:pt x="1004064" y="2420741"/>
                  <a:pt x="1007058" y="2418418"/>
                </a:cubicBezTo>
                <a:close/>
                <a:moveTo>
                  <a:pt x="5256742" y="2417006"/>
                </a:moveTo>
                <a:cubicBezTo>
                  <a:pt x="5257809" y="2417290"/>
                  <a:pt x="5258449" y="2417717"/>
                  <a:pt x="5258876" y="2418286"/>
                </a:cubicBezTo>
                <a:cubicBezTo>
                  <a:pt x="5260157" y="2419993"/>
                  <a:pt x="5259730" y="2423408"/>
                  <a:pt x="5259730" y="2426964"/>
                </a:cubicBezTo>
                <a:cubicBezTo>
                  <a:pt x="5258449" y="2426396"/>
                  <a:pt x="5257595" y="2427818"/>
                  <a:pt x="5256742" y="2429383"/>
                </a:cubicBezTo>
                <a:cubicBezTo>
                  <a:pt x="5254607" y="2428387"/>
                  <a:pt x="5251193" y="2427391"/>
                  <a:pt x="5250766" y="2424261"/>
                </a:cubicBezTo>
                <a:cubicBezTo>
                  <a:pt x="5250553" y="2423123"/>
                  <a:pt x="5250766" y="2421985"/>
                  <a:pt x="5251619" y="2420420"/>
                </a:cubicBezTo>
                <a:cubicBezTo>
                  <a:pt x="5251193" y="2419282"/>
                  <a:pt x="5255461" y="2416437"/>
                  <a:pt x="5256742" y="2417006"/>
                </a:cubicBezTo>
                <a:close/>
                <a:moveTo>
                  <a:pt x="1187653" y="2416714"/>
                </a:moveTo>
                <a:cubicBezTo>
                  <a:pt x="1189615" y="2416714"/>
                  <a:pt x="1192816" y="2416249"/>
                  <a:pt x="1194571" y="2419967"/>
                </a:cubicBezTo>
                <a:cubicBezTo>
                  <a:pt x="1194881" y="2421206"/>
                  <a:pt x="1194985" y="2421206"/>
                  <a:pt x="1194571" y="2421980"/>
                </a:cubicBezTo>
                <a:cubicBezTo>
                  <a:pt x="1194468" y="2423839"/>
                  <a:pt x="1194778" y="2424924"/>
                  <a:pt x="1193126" y="2426163"/>
                </a:cubicBezTo>
                <a:cubicBezTo>
                  <a:pt x="1191680" y="2426938"/>
                  <a:pt x="1190648" y="2426938"/>
                  <a:pt x="1189925" y="2426473"/>
                </a:cubicBezTo>
                <a:cubicBezTo>
                  <a:pt x="1189099" y="2425853"/>
                  <a:pt x="1188376" y="2424924"/>
                  <a:pt x="1187653" y="2423684"/>
                </a:cubicBezTo>
                <a:cubicBezTo>
                  <a:pt x="1186931" y="2422291"/>
                  <a:pt x="1187137" y="2421206"/>
                  <a:pt x="1187343" y="2420122"/>
                </a:cubicBezTo>
                <a:cubicBezTo>
                  <a:pt x="1187653" y="2419037"/>
                  <a:pt x="1187963" y="2417953"/>
                  <a:pt x="1187653" y="2416714"/>
                </a:cubicBezTo>
                <a:close/>
                <a:moveTo>
                  <a:pt x="1063333" y="2416405"/>
                </a:moveTo>
                <a:cubicBezTo>
                  <a:pt x="1064056" y="2416094"/>
                  <a:pt x="1064468" y="2416249"/>
                  <a:pt x="1064882" y="2416870"/>
                </a:cubicBezTo>
                <a:cubicBezTo>
                  <a:pt x="1065192" y="2417334"/>
                  <a:pt x="1065398" y="2418263"/>
                  <a:pt x="1065914" y="2419037"/>
                </a:cubicBezTo>
                <a:lnTo>
                  <a:pt x="1062404" y="2419502"/>
                </a:lnTo>
                <a:cubicBezTo>
                  <a:pt x="1062197" y="2419037"/>
                  <a:pt x="1062094" y="2418263"/>
                  <a:pt x="1062300" y="2417644"/>
                </a:cubicBezTo>
                <a:cubicBezTo>
                  <a:pt x="1062404" y="2417024"/>
                  <a:pt x="1062713" y="2416559"/>
                  <a:pt x="1063333" y="2416405"/>
                </a:cubicBezTo>
                <a:close/>
                <a:moveTo>
                  <a:pt x="1041649" y="2416094"/>
                </a:moveTo>
                <a:cubicBezTo>
                  <a:pt x="1045160" y="2416559"/>
                  <a:pt x="1047534" y="2420432"/>
                  <a:pt x="1047638" y="2423684"/>
                </a:cubicBezTo>
                <a:lnTo>
                  <a:pt x="1047431" y="2424614"/>
                </a:lnTo>
                <a:lnTo>
                  <a:pt x="1048361" y="2426782"/>
                </a:lnTo>
                <a:cubicBezTo>
                  <a:pt x="1048258" y="2427867"/>
                  <a:pt x="1047534" y="2428796"/>
                  <a:pt x="1045986" y="2429416"/>
                </a:cubicBezTo>
                <a:cubicBezTo>
                  <a:pt x="1041339" y="2430500"/>
                  <a:pt x="1039274" y="2426782"/>
                  <a:pt x="1037519" y="2422136"/>
                </a:cubicBezTo>
                <a:cubicBezTo>
                  <a:pt x="1039067" y="2421206"/>
                  <a:pt x="1039790" y="2419812"/>
                  <a:pt x="1041339" y="2418728"/>
                </a:cubicBezTo>
                <a:close/>
                <a:moveTo>
                  <a:pt x="5129970" y="2415440"/>
                </a:moveTo>
                <a:cubicBezTo>
                  <a:pt x="5131251" y="2415583"/>
                  <a:pt x="5132745" y="2416152"/>
                  <a:pt x="5133812" y="2416295"/>
                </a:cubicBezTo>
                <a:cubicBezTo>
                  <a:pt x="5135093" y="2414018"/>
                  <a:pt x="5138507" y="2419140"/>
                  <a:pt x="5139574" y="2416863"/>
                </a:cubicBezTo>
                <a:cubicBezTo>
                  <a:pt x="5144056" y="2422269"/>
                  <a:pt x="5150032" y="2417006"/>
                  <a:pt x="5157928" y="2423977"/>
                </a:cubicBezTo>
                <a:cubicBezTo>
                  <a:pt x="5154940" y="2424546"/>
                  <a:pt x="5152380" y="2424546"/>
                  <a:pt x="5149819" y="2424261"/>
                </a:cubicBezTo>
                <a:cubicBezTo>
                  <a:pt x="5142349" y="2423692"/>
                  <a:pt x="5136586" y="2420704"/>
                  <a:pt x="5131464" y="2421843"/>
                </a:cubicBezTo>
                <a:cubicBezTo>
                  <a:pt x="5131464" y="2421843"/>
                  <a:pt x="5131464" y="2421985"/>
                  <a:pt x="5129117" y="2419282"/>
                </a:cubicBezTo>
                <a:cubicBezTo>
                  <a:pt x="5128050" y="2419140"/>
                  <a:pt x="5128050" y="2419140"/>
                  <a:pt x="5128050" y="2419140"/>
                </a:cubicBezTo>
                <a:cubicBezTo>
                  <a:pt x="5126983" y="2418997"/>
                  <a:pt x="5126983" y="2416579"/>
                  <a:pt x="5126983" y="2416579"/>
                </a:cubicBezTo>
                <a:cubicBezTo>
                  <a:pt x="5127623" y="2415440"/>
                  <a:pt x="5128690" y="2415298"/>
                  <a:pt x="5129970" y="2415440"/>
                </a:cubicBezTo>
                <a:close/>
                <a:moveTo>
                  <a:pt x="4845695" y="2415440"/>
                </a:moveTo>
                <a:cubicBezTo>
                  <a:pt x="4847189" y="2415014"/>
                  <a:pt x="4848683" y="2414872"/>
                  <a:pt x="4850177" y="2415583"/>
                </a:cubicBezTo>
                <a:cubicBezTo>
                  <a:pt x="4850177" y="2415583"/>
                  <a:pt x="4851458" y="2416295"/>
                  <a:pt x="4852098" y="2418571"/>
                </a:cubicBezTo>
                <a:cubicBezTo>
                  <a:pt x="4852738" y="2419140"/>
                  <a:pt x="4853165" y="2419993"/>
                  <a:pt x="4853378" y="2420704"/>
                </a:cubicBezTo>
                <a:cubicBezTo>
                  <a:pt x="4854019" y="2423123"/>
                  <a:pt x="4852738" y="2425684"/>
                  <a:pt x="4852738" y="2425684"/>
                </a:cubicBezTo>
                <a:cubicBezTo>
                  <a:pt x="4852738" y="2425684"/>
                  <a:pt x="4852738" y="2425684"/>
                  <a:pt x="4853805" y="2425257"/>
                </a:cubicBezTo>
                <a:cubicBezTo>
                  <a:pt x="4851671" y="2426111"/>
                  <a:pt x="4849750" y="2428103"/>
                  <a:pt x="4847402" y="2428814"/>
                </a:cubicBezTo>
                <a:cubicBezTo>
                  <a:pt x="4836731" y="2425399"/>
                  <a:pt x="4839506" y="2421843"/>
                  <a:pt x="4841640" y="2416152"/>
                </a:cubicBezTo>
                <a:cubicBezTo>
                  <a:pt x="4842921" y="2416295"/>
                  <a:pt x="4844202" y="2415725"/>
                  <a:pt x="4845695" y="2415440"/>
                </a:cubicBezTo>
                <a:close/>
                <a:moveTo>
                  <a:pt x="5118232" y="2413591"/>
                </a:moveTo>
                <a:cubicBezTo>
                  <a:pt x="5122074" y="2417717"/>
                  <a:pt x="5124635" y="2421985"/>
                  <a:pt x="5125062" y="2426964"/>
                </a:cubicBezTo>
                <a:cubicBezTo>
                  <a:pt x="5119727" y="2428387"/>
                  <a:pt x="5113110" y="2426396"/>
                  <a:pt x="5107988" y="2425257"/>
                </a:cubicBezTo>
                <a:cubicBezTo>
                  <a:pt x="5111616" y="2421843"/>
                  <a:pt x="5116739" y="2422981"/>
                  <a:pt x="5118232" y="2413591"/>
                </a:cubicBezTo>
                <a:close/>
                <a:moveTo>
                  <a:pt x="5532267" y="2413449"/>
                </a:moveTo>
                <a:cubicBezTo>
                  <a:pt x="5525224" y="2415583"/>
                  <a:pt x="5516047" y="2418144"/>
                  <a:pt x="5513913" y="2421843"/>
                </a:cubicBezTo>
                <a:lnTo>
                  <a:pt x="5514126" y="2424688"/>
                </a:lnTo>
                <a:lnTo>
                  <a:pt x="5516047" y="2423834"/>
                </a:lnTo>
                <a:cubicBezTo>
                  <a:pt x="5518608" y="2428245"/>
                  <a:pt x="5513486" y="2431802"/>
                  <a:pt x="5510711" y="2430379"/>
                </a:cubicBezTo>
                <a:cubicBezTo>
                  <a:pt x="5509858" y="2429952"/>
                  <a:pt x="5509217" y="2428814"/>
                  <a:pt x="5509217" y="2427107"/>
                </a:cubicBezTo>
                <a:lnTo>
                  <a:pt x="5513059" y="2425399"/>
                </a:lnTo>
                <a:lnTo>
                  <a:pt x="5510711" y="2424261"/>
                </a:lnTo>
                <a:cubicBezTo>
                  <a:pt x="5510071" y="2423266"/>
                  <a:pt x="5509217" y="2422269"/>
                  <a:pt x="5507297" y="2423123"/>
                </a:cubicBezTo>
                <a:cubicBezTo>
                  <a:pt x="5501321" y="2426396"/>
                  <a:pt x="5497266" y="2430948"/>
                  <a:pt x="5487875" y="2435216"/>
                </a:cubicBezTo>
                <a:lnTo>
                  <a:pt x="5487022" y="2435643"/>
                </a:lnTo>
                <a:lnTo>
                  <a:pt x="5489156" y="2438630"/>
                </a:lnTo>
                <a:lnTo>
                  <a:pt x="5489156" y="2439769"/>
                </a:lnTo>
                <a:lnTo>
                  <a:pt x="5493851" y="2438630"/>
                </a:lnTo>
                <a:cubicBezTo>
                  <a:pt x="5501748" y="2436354"/>
                  <a:pt x="5508790" y="2434932"/>
                  <a:pt x="5515193" y="2431944"/>
                </a:cubicBezTo>
                <a:cubicBezTo>
                  <a:pt x="5513486" y="2434932"/>
                  <a:pt x="5514340" y="2436354"/>
                  <a:pt x="5518181" y="2436354"/>
                </a:cubicBezTo>
                <a:cubicBezTo>
                  <a:pt x="5517541" y="2432655"/>
                  <a:pt x="5527785" y="2428245"/>
                  <a:pt x="5521382" y="2425969"/>
                </a:cubicBezTo>
                <a:cubicBezTo>
                  <a:pt x="5523730" y="2423834"/>
                  <a:pt x="5529919" y="2421558"/>
                  <a:pt x="5532267" y="2422269"/>
                </a:cubicBezTo>
                <a:cubicBezTo>
                  <a:pt x="5533974" y="2420847"/>
                  <a:pt x="5533120" y="2418571"/>
                  <a:pt x="5532267" y="2413449"/>
                </a:cubicBezTo>
                <a:close/>
                <a:moveTo>
                  <a:pt x="1122086" y="2413306"/>
                </a:moveTo>
                <a:cubicBezTo>
                  <a:pt x="1126009" y="2413616"/>
                  <a:pt x="1127971" y="2415630"/>
                  <a:pt x="1126732" y="2418883"/>
                </a:cubicBezTo>
                <a:cubicBezTo>
                  <a:pt x="1124460" y="2417953"/>
                  <a:pt x="1123222" y="2419348"/>
                  <a:pt x="1120950" y="2418263"/>
                </a:cubicBezTo>
                <a:cubicBezTo>
                  <a:pt x="1121673" y="2416094"/>
                  <a:pt x="1121776" y="2414391"/>
                  <a:pt x="1122086" y="2413306"/>
                </a:cubicBezTo>
                <a:close/>
                <a:moveTo>
                  <a:pt x="779520" y="2413036"/>
                </a:moveTo>
                <a:cubicBezTo>
                  <a:pt x="781443" y="2413539"/>
                  <a:pt x="783560" y="2415011"/>
                  <a:pt x="785677" y="2416870"/>
                </a:cubicBezTo>
                <a:cubicBezTo>
                  <a:pt x="784851" y="2417644"/>
                  <a:pt x="787432" y="2419657"/>
                  <a:pt x="788258" y="2421361"/>
                </a:cubicBezTo>
                <a:cubicBezTo>
                  <a:pt x="788155" y="2423994"/>
                  <a:pt x="788155" y="2425543"/>
                  <a:pt x="786400" y="2427093"/>
                </a:cubicBezTo>
                <a:cubicBezTo>
                  <a:pt x="783715" y="2429416"/>
                  <a:pt x="777726" y="2430500"/>
                  <a:pt x="775145" y="2427712"/>
                </a:cubicBezTo>
                <a:cubicBezTo>
                  <a:pt x="771737" y="2424769"/>
                  <a:pt x="770911" y="2422136"/>
                  <a:pt x="770911" y="2419657"/>
                </a:cubicBezTo>
                <a:cubicBezTo>
                  <a:pt x="770911" y="2419657"/>
                  <a:pt x="770911" y="2419657"/>
                  <a:pt x="770911" y="2420587"/>
                </a:cubicBezTo>
                <a:lnTo>
                  <a:pt x="768949" y="2421980"/>
                </a:lnTo>
                <a:lnTo>
                  <a:pt x="769053" y="2423530"/>
                </a:lnTo>
                <a:cubicBezTo>
                  <a:pt x="769053" y="2424304"/>
                  <a:pt x="769053" y="2424924"/>
                  <a:pt x="769053" y="2425079"/>
                </a:cubicBezTo>
                <a:cubicBezTo>
                  <a:pt x="768226" y="2425234"/>
                  <a:pt x="768226" y="2425234"/>
                  <a:pt x="768226" y="2425234"/>
                </a:cubicBezTo>
                <a:lnTo>
                  <a:pt x="767710" y="2423065"/>
                </a:lnTo>
                <a:lnTo>
                  <a:pt x="764613" y="2425543"/>
                </a:lnTo>
                <a:lnTo>
                  <a:pt x="765026" y="2427557"/>
                </a:lnTo>
                <a:lnTo>
                  <a:pt x="763477" y="2426163"/>
                </a:lnTo>
                <a:lnTo>
                  <a:pt x="761102" y="2427403"/>
                </a:lnTo>
                <a:cubicBezTo>
                  <a:pt x="760172" y="2427867"/>
                  <a:pt x="759243" y="2428022"/>
                  <a:pt x="758624" y="2427712"/>
                </a:cubicBezTo>
                <a:cubicBezTo>
                  <a:pt x="758624" y="2426782"/>
                  <a:pt x="758624" y="2426008"/>
                  <a:pt x="759553" y="2425234"/>
                </a:cubicBezTo>
                <a:cubicBezTo>
                  <a:pt x="760379" y="2424459"/>
                  <a:pt x="760379" y="2425389"/>
                  <a:pt x="760482" y="2424459"/>
                </a:cubicBezTo>
                <a:cubicBezTo>
                  <a:pt x="761308" y="2423839"/>
                  <a:pt x="760482" y="2423684"/>
                  <a:pt x="760482" y="2423684"/>
                </a:cubicBezTo>
                <a:lnTo>
                  <a:pt x="760792" y="2423684"/>
                </a:lnTo>
                <a:lnTo>
                  <a:pt x="759243" y="2420277"/>
                </a:lnTo>
                <a:cubicBezTo>
                  <a:pt x="758727" y="2417798"/>
                  <a:pt x="758520" y="2415785"/>
                  <a:pt x="756249" y="2414391"/>
                </a:cubicBezTo>
                <a:cubicBezTo>
                  <a:pt x="758004" y="2413306"/>
                  <a:pt x="758004" y="2413306"/>
                  <a:pt x="759759" y="2413926"/>
                </a:cubicBezTo>
                <a:cubicBezTo>
                  <a:pt x="759863" y="2414856"/>
                  <a:pt x="760689" y="2414701"/>
                  <a:pt x="759863" y="2415630"/>
                </a:cubicBezTo>
                <a:cubicBezTo>
                  <a:pt x="761205" y="2416249"/>
                  <a:pt x="762651" y="2418263"/>
                  <a:pt x="763683" y="2420741"/>
                </a:cubicBezTo>
                <a:lnTo>
                  <a:pt x="763787" y="2421051"/>
                </a:lnTo>
                <a:lnTo>
                  <a:pt x="764716" y="2419502"/>
                </a:lnTo>
                <a:cubicBezTo>
                  <a:pt x="765129" y="2418883"/>
                  <a:pt x="765335" y="2418263"/>
                  <a:pt x="765749" y="2417489"/>
                </a:cubicBezTo>
                <a:lnTo>
                  <a:pt x="765852" y="2417334"/>
                </a:lnTo>
                <a:lnTo>
                  <a:pt x="765749" y="2416870"/>
                </a:lnTo>
                <a:cubicBezTo>
                  <a:pt x="765542" y="2415940"/>
                  <a:pt x="765542" y="2414856"/>
                  <a:pt x="765852" y="2413771"/>
                </a:cubicBezTo>
                <a:cubicBezTo>
                  <a:pt x="765852" y="2413771"/>
                  <a:pt x="765852" y="2413771"/>
                  <a:pt x="765955" y="2414546"/>
                </a:cubicBezTo>
                <a:cubicBezTo>
                  <a:pt x="765955" y="2414546"/>
                  <a:pt x="765852" y="2413771"/>
                  <a:pt x="766678" y="2413616"/>
                </a:cubicBezTo>
                <a:lnTo>
                  <a:pt x="767504" y="2416405"/>
                </a:lnTo>
                <a:lnTo>
                  <a:pt x="768020" y="2415940"/>
                </a:lnTo>
                <a:cubicBezTo>
                  <a:pt x="768846" y="2415630"/>
                  <a:pt x="769672" y="2415320"/>
                  <a:pt x="771015" y="2414546"/>
                </a:cubicBezTo>
                <a:cubicBezTo>
                  <a:pt x="772770" y="2415630"/>
                  <a:pt x="772666" y="2415630"/>
                  <a:pt x="772666" y="2416405"/>
                </a:cubicBezTo>
                <a:cubicBezTo>
                  <a:pt x="772666" y="2415630"/>
                  <a:pt x="773596" y="2415785"/>
                  <a:pt x="774525" y="2415010"/>
                </a:cubicBezTo>
                <a:cubicBezTo>
                  <a:pt x="775868" y="2412997"/>
                  <a:pt x="777597" y="2412532"/>
                  <a:pt x="779520" y="2413036"/>
                </a:cubicBezTo>
                <a:close/>
                <a:moveTo>
                  <a:pt x="6249571" y="2412453"/>
                </a:moveTo>
                <a:cubicBezTo>
                  <a:pt x="6251492" y="2414445"/>
                  <a:pt x="6253199" y="2416721"/>
                  <a:pt x="6254266" y="2418855"/>
                </a:cubicBezTo>
                <a:cubicBezTo>
                  <a:pt x="6257894" y="2425257"/>
                  <a:pt x="6258748" y="2431517"/>
                  <a:pt x="6262589" y="2435074"/>
                </a:cubicBezTo>
                <a:cubicBezTo>
                  <a:pt x="6262589" y="2435074"/>
                  <a:pt x="6262589" y="2435074"/>
                  <a:pt x="6261522" y="2438346"/>
                </a:cubicBezTo>
                <a:cubicBezTo>
                  <a:pt x="6261949" y="2439342"/>
                  <a:pt x="6261949" y="2439484"/>
                  <a:pt x="6261949" y="2439484"/>
                </a:cubicBezTo>
                <a:cubicBezTo>
                  <a:pt x="6262589" y="2440480"/>
                  <a:pt x="6260455" y="2441761"/>
                  <a:pt x="6260455" y="2441761"/>
                </a:cubicBezTo>
                <a:cubicBezTo>
                  <a:pt x="6257894" y="2442045"/>
                  <a:pt x="6257467" y="2438204"/>
                  <a:pt x="6256400" y="2436212"/>
                </a:cubicBezTo>
                <a:cubicBezTo>
                  <a:pt x="6253839" y="2436497"/>
                  <a:pt x="6256400" y="2430948"/>
                  <a:pt x="6253839" y="2431233"/>
                </a:cubicBezTo>
                <a:cubicBezTo>
                  <a:pt x="6255760" y="2424688"/>
                  <a:pt x="6248077" y="2422696"/>
                  <a:pt x="6249571" y="2412453"/>
                </a:cubicBezTo>
                <a:close/>
                <a:moveTo>
                  <a:pt x="4930850" y="2412453"/>
                </a:moveTo>
                <a:cubicBezTo>
                  <a:pt x="4931703" y="2412595"/>
                  <a:pt x="4932770" y="2412738"/>
                  <a:pt x="4933838" y="2413449"/>
                </a:cubicBezTo>
                <a:cubicBezTo>
                  <a:pt x="4933625" y="2418428"/>
                  <a:pt x="4933411" y="2421843"/>
                  <a:pt x="4932557" y="2424261"/>
                </a:cubicBezTo>
                <a:cubicBezTo>
                  <a:pt x="4926154" y="2424546"/>
                  <a:pt x="4924874" y="2415440"/>
                  <a:pt x="4928502" y="2413022"/>
                </a:cubicBezTo>
                <a:cubicBezTo>
                  <a:pt x="4929142" y="2412595"/>
                  <a:pt x="4929996" y="2412453"/>
                  <a:pt x="4930850" y="2412453"/>
                </a:cubicBezTo>
                <a:close/>
                <a:moveTo>
                  <a:pt x="1011189" y="2412377"/>
                </a:moveTo>
                <a:cubicBezTo>
                  <a:pt x="1014905" y="2411913"/>
                  <a:pt x="1018003" y="2417644"/>
                  <a:pt x="1016351" y="2420896"/>
                </a:cubicBezTo>
                <a:cubicBezTo>
                  <a:pt x="1014493" y="2417334"/>
                  <a:pt x="1011498" y="2416559"/>
                  <a:pt x="1010879" y="2414701"/>
                </a:cubicBezTo>
                <a:cubicBezTo>
                  <a:pt x="1010672" y="2414081"/>
                  <a:pt x="1010775" y="2413306"/>
                  <a:pt x="1011189" y="2412377"/>
                </a:cubicBezTo>
                <a:close/>
                <a:moveTo>
                  <a:pt x="1068392" y="2411913"/>
                </a:moveTo>
                <a:cubicBezTo>
                  <a:pt x="1069115" y="2412377"/>
                  <a:pt x="1069528" y="2411757"/>
                  <a:pt x="1070354" y="2412222"/>
                </a:cubicBezTo>
                <a:cubicBezTo>
                  <a:pt x="1070354" y="2412222"/>
                  <a:pt x="1071284" y="2412377"/>
                  <a:pt x="1072420" y="2412997"/>
                </a:cubicBezTo>
                <a:cubicBezTo>
                  <a:pt x="1073658" y="2413616"/>
                  <a:pt x="1075001" y="2414856"/>
                  <a:pt x="1075827" y="2416714"/>
                </a:cubicBezTo>
                <a:cubicBezTo>
                  <a:pt x="1076136" y="2417953"/>
                  <a:pt x="1076343" y="2420896"/>
                  <a:pt x="1075517" y="2420432"/>
                </a:cubicBezTo>
                <a:cubicBezTo>
                  <a:pt x="1074381" y="2420741"/>
                  <a:pt x="1075104" y="2421206"/>
                  <a:pt x="1074691" y="2421826"/>
                </a:cubicBezTo>
                <a:cubicBezTo>
                  <a:pt x="1071180" y="2422445"/>
                  <a:pt x="1068496" y="2421671"/>
                  <a:pt x="1067050" y="2418883"/>
                </a:cubicBezTo>
                <a:cubicBezTo>
                  <a:pt x="1066740" y="2417798"/>
                  <a:pt x="1066431" y="2416249"/>
                  <a:pt x="1066431" y="2415010"/>
                </a:cubicBezTo>
                <a:cubicBezTo>
                  <a:pt x="1066534" y="2413616"/>
                  <a:pt x="1066947" y="2412532"/>
                  <a:pt x="1068392" y="2411913"/>
                </a:cubicBezTo>
                <a:close/>
                <a:moveTo>
                  <a:pt x="901840" y="2411913"/>
                </a:moveTo>
                <a:cubicBezTo>
                  <a:pt x="903389" y="2412532"/>
                  <a:pt x="905867" y="2409899"/>
                  <a:pt x="906590" y="2412067"/>
                </a:cubicBezTo>
                <a:cubicBezTo>
                  <a:pt x="905351" y="2412532"/>
                  <a:pt x="903389" y="2412687"/>
                  <a:pt x="902150" y="2412997"/>
                </a:cubicBezTo>
                <a:cubicBezTo>
                  <a:pt x="902150" y="2412997"/>
                  <a:pt x="902150" y="2412997"/>
                  <a:pt x="901840" y="2411913"/>
                </a:cubicBezTo>
                <a:close/>
                <a:moveTo>
                  <a:pt x="930442" y="2411487"/>
                </a:moveTo>
                <a:cubicBezTo>
                  <a:pt x="932301" y="2411525"/>
                  <a:pt x="934005" y="2411835"/>
                  <a:pt x="934160" y="2412377"/>
                </a:cubicBezTo>
                <a:cubicBezTo>
                  <a:pt x="932094" y="2413461"/>
                  <a:pt x="928480" y="2415475"/>
                  <a:pt x="926208" y="2415475"/>
                </a:cubicBezTo>
                <a:cubicBezTo>
                  <a:pt x="925486" y="2415320"/>
                  <a:pt x="924866" y="2415165"/>
                  <a:pt x="924556" y="2414391"/>
                </a:cubicBezTo>
                <a:cubicBezTo>
                  <a:pt x="924143" y="2413306"/>
                  <a:pt x="925383" y="2412997"/>
                  <a:pt x="925795" y="2412222"/>
                </a:cubicBezTo>
                <a:cubicBezTo>
                  <a:pt x="926570" y="2411680"/>
                  <a:pt x="928584" y="2411448"/>
                  <a:pt x="930442" y="2411487"/>
                </a:cubicBezTo>
                <a:close/>
                <a:moveTo>
                  <a:pt x="1010362" y="2410983"/>
                </a:moveTo>
                <a:cubicBezTo>
                  <a:pt x="1004993" y="2414546"/>
                  <a:pt x="999727" y="2417334"/>
                  <a:pt x="994151" y="2424304"/>
                </a:cubicBezTo>
                <a:lnTo>
                  <a:pt x="993428" y="2424149"/>
                </a:lnTo>
                <a:lnTo>
                  <a:pt x="992705" y="2424614"/>
                </a:lnTo>
                <a:cubicBezTo>
                  <a:pt x="991776" y="2424769"/>
                  <a:pt x="990847" y="2424459"/>
                  <a:pt x="990640" y="2424149"/>
                </a:cubicBezTo>
                <a:lnTo>
                  <a:pt x="991054" y="2423684"/>
                </a:lnTo>
                <a:lnTo>
                  <a:pt x="988988" y="2422755"/>
                </a:lnTo>
                <a:cubicBezTo>
                  <a:pt x="989298" y="2416094"/>
                  <a:pt x="1003754" y="2405252"/>
                  <a:pt x="1010362" y="2410983"/>
                </a:cubicBezTo>
                <a:close/>
                <a:moveTo>
                  <a:pt x="1061887" y="2410828"/>
                </a:moveTo>
                <a:cubicBezTo>
                  <a:pt x="1064159" y="2412842"/>
                  <a:pt x="1064675" y="2414236"/>
                  <a:pt x="1064365" y="2415165"/>
                </a:cubicBezTo>
                <a:cubicBezTo>
                  <a:pt x="1063539" y="2417024"/>
                  <a:pt x="1058273" y="2416405"/>
                  <a:pt x="1058893" y="2413771"/>
                </a:cubicBezTo>
                <a:cubicBezTo>
                  <a:pt x="1059099" y="2412997"/>
                  <a:pt x="1060029" y="2412067"/>
                  <a:pt x="1061887" y="2410828"/>
                </a:cubicBezTo>
                <a:close/>
                <a:moveTo>
                  <a:pt x="1054143" y="2410673"/>
                </a:moveTo>
                <a:cubicBezTo>
                  <a:pt x="1055382" y="2410518"/>
                  <a:pt x="1056105" y="2410983"/>
                  <a:pt x="1056105" y="2410983"/>
                </a:cubicBezTo>
                <a:cubicBezTo>
                  <a:pt x="1057551" y="2413771"/>
                  <a:pt x="1057757" y="2416870"/>
                  <a:pt x="1054143" y="2417334"/>
                </a:cubicBezTo>
                <a:cubicBezTo>
                  <a:pt x="1053007" y="2417489"/>
                  <a:pt x="1051871" y="2417644"/>
                  <a:pt x="1052284" y="2417024"/>
                </a:cubicBezTo>
                <a:cubicBezTo>
                  <a:pt x="1051458" y="2416559"/>
                  <a:pt x="1051974" y="2415940"/>
                  <a:pt x="1051562" y="2414701"/>
                </a:cubicBezTo>
                <a:cubicBezTo>
                  <a:pt x="1051768" y="2412842"/>
                  <a:pt x="1053007" y="2410983"/>
                  <a:pt x="1054143" y="2410673"/>
                </a:cubicBezTo>
                <a:close/>
                <a:moveTo>
                  <a:pt x="845566" y="2409744"/>
                </a:moveTo>
                <a:cubicBezTo>
                  <a:pt x="845978" y="2410828"/>
                  <a:pt x="853103" y="2408505"/>
                  <a:pt x="855271" y="2411293"/>
                </a:cubicBezTo>
                <a:cubicBezTo>
                  <a:pt x="856407" y="2412842"/>
                  <a:pt x="856717" y="2413926"/>
                  <a:pt x="857853" y="2415475"/>
                </a:cubicBezTo>
                <a:cubicBezTo>
                  <a:pt x="856614" y="2417644"/>
                  <a:pt x="857543" y="2421051"/>
                  <a:pt x="851967" y="2424149"/>
                </a:cubicBezTo>
                <a:cubicBezTo>
                  <a:pt x="845566" y="2426938"/>
                  <a:pt x="843088" y="2421051"/>
                  <a:pt x="842674" y="2421826"/>
                </a:cubicBezTo>
                <a:cubicBezTo>
                  <a:pt x="841435" y="2422136"/>
                  <a:pt x="841435" y="2422136"/>
                  <a:pt x="841022" y="2422910"/>
                </a:cubicBezTo>
                <a:cubicBezTo>
                  <a:pt x="840299" y="2422600"/>
                  <a:pt x="838234" y="2422600"/>
                  <a:pt x="837098" y="2423065"/>
                </a:cubicBezTo>
                <a:cubicBezTo>
                  <a:pt x="837511" y="2422291"/>
                  <a:pt x="837925" y="2421516"/>
                  <a:pt x="837201" y="2421206"/>
                </a:cubicBezTo>
                <a:cubicBezTo>
                  <a:pt x="839577" y="2420432"/>
                  <a:pt x="840299" y="2420741"/>
                  <a:pt x="841538" y="2420277"/>
                </a:cubicBezTo>
                <a:cubicBezTo>
                  <a:pt x="840816" y="2419967"/>
                  <a:pt x="841952" y="2419502"/>
                  <a:pt x="841952" y="2419502"/>
                </a:cubicBezTo>
                <a:cubicBezTo>
                  <a:pt x="841952" y="2419502"/>
                  <a:pt x="842055" y="2419502"/>
                  <a:pt x="841332" y="2417334"/>
                </a:cubicBezTo>
                <a:cubicBezTo>
                  <a:pt x="841332" y="2417334"/>
                  <a:pt x="840403" y="2412067"/>
                  <a:pt x="845566" y="2409744"/>
                </a:cubicBezTo>
                <a:close/>
                <a:moveTo>
                  <a:pt x="704930" y="2409744"/>
                </a:moveTo>
                <a:cubicBezTo>
                  <a:pt x="706583" y="2412377"/>
                  <a:pt x="702246" y="2418573"/>
                  <a:pt x="699664" y="2420741"/>
                </a:cubicBezTo>
                <a:cubicBezTo>
                  <a:pt x="699252" y="2420122"/>
                  <a:pt x="699148" y="2419192"/>
                  <a:pt x="699355" y="2418263"/>
                </a:cubicBezTo>
                <a:cubicBezTo>
                  <a:pt x="700077" y="2415320"/>
                  <a:pt x="702969" y="2411448"/>
                  <a:pt x="704930" y="2409744"/>
                </a:cubicBezTo>
                <a:close/>
                <a:moveTo>
                  <a:pt x="902460" y="2408195"/>
                </a:moveTo>
                <a:cubicBezTo>
                  <a:pt x="903492" y="2408815"/>
                  <a:pt x="902563" y="2408969"/>
                  <a:pt x="902666" y="2409744"/>
                </a:cubicBezTo>
                <a:cubicBezTo>
                  <a:pt x="902150" y="2409434"/>
                  <a:pt x="901840" y="2409279"/>
                  <a:pt x="901840" y="2409124"/>
                </a:cubicBezTo>
                <a:cubicBezTo>
                  <a:pt x="901840" y="2408969"/>
                  <a:pt x="902047" y="2408659"/>
                  <a:pt x="902460" y="2408195"/>
                </a:cubicBezTo>
                <a:close/>
                <a:moveTo>
                  <a:pt x="989401" y="2407575"/>
                </a:moveTo>
                <a:cubicBezTo>
                  <a:pt x="991157" y="2410518"/>
                  <a:pt x="991363" y="2412067"/>
                  <a:pt x="990744" y="2412687"/>
                </a:cubicBezTo>
                <a:cubicBezTo>
                  <a:pt x="989505" y="2414236"/>
                  <a:pt x="984652" y="2411603"/>
                  <a:pt x="985891" y="2409434"/>
                </a:cubicBezTo>
                <a:cubicBezTo>
                  <a:pt x="986303" y="2408659"/>
                  <a:pt x="987336" y="2408040"/>
                  <a:pt x="989401" y="2407575"/>
                </a:cubicBezTo>
                <a:close/>
                <a:moveTo>
                  <a:pt x="880672" y="2406956"/>
                </a:moveTo>
                <a:cubicBezTo>
                  <a:pt x="881912" y="2407575"/>
                  <a:pt x="882635" y="2408505"/>
                  <a:pt x="882944" y="2409744"/>
                </a:cubicBezTo>
                <a:lnTo>
                  <a:pt x="882841" y="2411293"/>
                </a:lnTo>
                <a:lnTo>
                  <a:pt x="883357" y="2410828"/>
                </a:lnTo>
                <a:cubicBezTo>
                  <a:pt x="884080" y="2411138"/>
                  <a:pt x="884493" y="2410363"/>
                  <a:pt x="884803" y="2411603"/>
                </a:cubicBezTo>
                <a:cubicBezTo>
                  <a:pt x="887694" y="2409899"/>
                  <a:pt x="895851" y="2410828"/>
                  <a:pt x="898536" y="2412997"/>
                </a:cubicBezTo>
                <a:cubicBezTo>
                  <a:pt x="891515" y="2416405"/>
                  <a:pt x="888417" y="2413771"/>
                  <a:pt x="885113" y="2413306"/>
                </a:cubicBezTo>
                <a:lnTo>
                  <a:pt x="883047" y="2413616"/>
                </a:lnTo>
                <a:lnTo>
                  <a:pt x="884390" y="2415320"/>
                </a:lnTo>
                <a:cubicBezTo>
                  <a:pt x="884803" y="2415940"/>
                  <a:pt x="885113" y="2416559"/>
                  <a:pt x="884699" y="2417489"/>
                </a:cubicBezTo>
                <a:lnTo>
                  <a:pt x="881808" y="2413926"/>
                </a:lnTo>
                <a:lnTo>
                  <a:pt x="881602" y="2413926"/>
                </a:lnTo>
                <a:lnTo>
                  <a:pt x="881602" y="2413616"/>
                </a:lnTo>
                <a:lnTo>
                  <a:pt x="880982" y="2412842"/>
                </a:lnTo>
                <a:cubicBezTo>
                  <a:pt x="880157" y="2412997"/>
                  <a:pt x="879227" y="2412997"/>
                  <a:pt x="878401" y="2412377"/>
                </a:cubicBezTo>
                <a:cubicBezTo>
                  <a:pt x="876542" y="2410828"/>
                  <a:pt x="877368" y="2409124"/>
                  <a:pt x="876336" y="2407575"/>
                </a:cubicBezTo>
                <a:cubicBezTo>
                  <a:pt x="877162" y="2406646"/>
                  <a:pt x="878814" y="2405407"/>
                  <a:pt x="880672" y="2406956"/>
                </a:cubicBezTo>
                <a:close/>
                <a:moveTo>
                  <a:pt x="1273975" y="2406027"/>
                </a:moveTo>
                <a:lnTo>
                  <a:pt x="1273562" y="2406646"/>
                </a:lnTo>
                <a:cubicBezTo>
                  <a:pt x="1273046" y="2407266"/>
                  <a:pt x="1272117" y="2408505"/>
                  <a:pt x="1270258" y="2411293"/>
                </a:cubicBezTo>
                <a:cubicBezTo>
                  <a:pt x="1269845" y="2410828"/>
                  <a:pt x="1269845" y="2410363"/>
                  <a:pt x="1270052" y="2409899"/>
                </a:cubicBezTo>
                <a:cubicBezTo>
                  <a:pt x="1270362" y="2409434"/>
                  <a:pt x="1270878" y="2409124"/>
                  <a:pt x="1271291" y="2408659"/>
                </a:cubicBezTo>
                <a:close/>
                <a:moveTo>
                  <a:pt x="5326103" y="2405766"/>
                </a:moveTo>
                <a:cubicBezTo>
                  <a:pt x="5326103" y="2411173"/>
                  <a:pt x="5326103" y="2416721"/>
                  <a:pt x="5325250" y="2422127"/>
                </a:cubicBezTo>
                <a:cubicBezTo>
                  <a:pt x="5324396" y="2427676"/>
                  <a:pt x="5322475" y="2432940"/>
                  <a:pt x="5318420" y="2438062"/>
                </a:cubicBezTo>
                <a:cubicBezTo>
                  <a:pt x="5309457" y="2426253"/>
                  <a:pt x="5319487" y="2411457"/>
                  <a:pt x="5326103" y="2405766"/>
                </a:cubicBezTo>
                <a:close/>
                <a:moveTo>
                  <a:pt x="1139846" y="2405716"/>
                </a:moveTo>
                <a:cubicBezTo>
                  <a:pt x="1140878" y="2405716"/>
                  <a:pt x="1141911" y="2406027"/>
                  <a:pt x="1142737" y="2406491"/>
                </a:cubicBezTo>
                <a:cubicBezTo>
                  <a:pt x="1143460" y="2407420"/>
                  <a:pt x="1143460" y="2407266"/>
                  <a:pt x="1144182" y="2408195"/>
                </a:cubicBezTo>
                <a:cubicBezTo>
                  <a:pt x="1143872" y="2409899"/>
                  <a:pt x="1144389" y="2411603"/>
                  <a:pt x="1143253" y="2413152"/>
                </a:cubicBezTo>
                <a:cubicBezTo>
                  <a:pt x="1141291" y="2414701"/>
                  <a:pt x="1137161" y="2413616"/>
                  <a:pt x="1135612" y="2412687"/>
                </a:cubicBezTo>
                <a:cubicBezTo>
                  <a:pt x="1134889" y="2411757"/>
                  <a:pt x="1134889" y="2410673"/>
                  <a:pt x="1135199" y="2409744"/>
                </a:cubicBezTo>
                <a:cubicBezTo>
                  <a:pt x="1135612" y="2408659"/>
                  <a:pt x="1136438" y="2407730"/>
                  <a:pt x="1137471" y="2406956"/>
                </a:cubicBezTo>
                <a:cubicBezTo>
                  <a:pt x="1137987" y="2406181"/>
                  <a:pt x="1138916" y="2405716"/>
                  <a:pt x="1139846" y="2405716"/>
                </a:cubicBezTo>
                <a:close/>
                <a:moveTo>
                  <a:pt x="887384" y="2405097"/>
                </a:moveTo>
                <a:cubicBezTo>
                  <a:pt x="892444" y="2404632"/>
                  <a:pt x="898123" y="2408195"/>
                  <a:pt x="898846" y="2408659"/>
                </a:cubicBezTo>
                <a:cubicBezTo>
                  <a:pt x="898433" y="2409279"/>
                  <a:pt x="898536" y="2409279"/>
                  <a:pt x="898536" y="2409279"/>
                </a:cubicBezTo>
                <a:cubicBezTo>
                  <a:pt x="896574" y="2407730"/>
                  <a:pt x="892754" y="2408350"/>
                  <a:pt x="889656" y="2407420"/>
                </a:cubicBezTo>
                <a:cubicBezTo>
                  <a:pt x="888623" y="2407111"/>
                  <a:pt x="887694" y="2406646"/>
                  <a:pt x="886971" y="2405871"/>
                </a:cubicBezTo>
                <a:cubicBezTo>
                  <a:pt x="886971" y="2405871"/>
                  <a:pt x="886971" y="2405871"/>
                  <a:pt x="887694" y="2406181"/>
                </a:cubicBezTo>
                <a:cubicBezTo>
                  <a:pt x="887694" y="2406181"/>
                  <a:pt x="886971" y="2405871"/>
                  <a:pt x="887384" y="2405097"/>
                </a:cubicBezTo>
                <a:close/>
                <a:moveTo>
                  <a:pt x="950577" y="2403548"/>
                </a:moveTo>
                <a:cubicBezTo>
                  <a:pt x="954088" y="2403703"/>
                  <a:pt x="956359" y="2406027"/>
                  <a:pt x="958425" y="2408815"/>
                </a:cubicBezTo>
                <a:lnTo>
                  <a:pt x="961625" y="2412842"/>
                </a:lnTo>
                <a:lnTo>
                  <a:pt x="963897" y="2411293"/>
                </a:lnTo>
                <a:cubicBezTo>
                  <a:pt x="965653" y="2410518"/>
                  <a:pt x="967511" y="2410363"/>
                  <a:pt x="969163" y="2410983"/>
                </a:cubicBezTo>
                <a:cubicBezTo>
                  <a:pt x="967408" y="2412842"/>
                  <a:pt x="966065" y="2414701"/>
                  <a:pt x="964827" y="2416714"/>
                </a:cubicBezTo>
                <a:lnTo>
                  <a:pt x="964620" y="2416870"/>
                </a:lnTo>
                <a:lnTo>
                  <a:pt x="965136" y="2417489"/>
                </a:lnTo>
                <a:cubicBezTo>
                  <a:pt x="967718" y="2418573"/>
                  <a:pt x="969989" y="2417334"/>
                  <a:pt x="972571" y="2418883"/>
                </a:cubicBezTo>
                <a:lnTo>
                  <a:pt x="973706" y="2419967"/>
                </a:lnTo>
                <a:lnTo>
                  <a:pt x="977940" y="2419812"/>
                </a:lnTo>
                <a:cubicBezTo>
                  <a:pt x="978766" y="2421516"/>
                  <a:pt x="975978" y="2424149"/>
                  <a:pt x="975049" y="2425853"/>
                </a:cubicBezTo>
                <a:cubicBezTo>
                  <a:pt x="974223" y="2425079"/>
                  <a:pt x="973397" y="2424149"/>
                  <a:pt x="973397" y="2425079"/>
                </a:cubicBezTo>
                <a:lnTo>
                  <a:pt x="972364" y="2423065"/>
                </a:lnTo>
                <a:lnTo>
                  <a:pt x="970402" y="2423994"/>
                </a:lnTo>
                <a:lnTo>
                  <a:pt x="971435" y="2424924"/>
                </a:lnTo>
                <a:cubicBezTo>
                  <a:pt x="973190" y="2426938"/>
                  <a:pt x="974635" y="2429416"/>
                  <a:pt x="975978" y="2431894"/>
                </a:cubicBezTo>
                <a:lnTo>
                  <a:pt x="978043" y="2436386"/>
                </a:lnTo>
                <a:lnTo>
                  <a:pt x="978972" y="2434372"/>
                </a:lnTo>
                <a:cubicBezTo>
                  <a:pt x="981554" y="2430965"/>
                  <a:pt x="984549" y="2430965"/>
                  <a:pt x="984755" y="2430035"/>
                </a:cubicBezTo>
                <a:cubicBezTo>
                  <a:pt x="988369" y="2431274"/>
                  <a:pt x="987749" y="2433443"/>
                  <a:pt x="988162" y="2437160"/>
                </a:cubicBezTo>
                <a:cubicBezTo>
                  <a:pt x="986923" y="2436851"/>
                  <a:pt x="986097" y="2440258"/>
                  <a:pt x="985891" y="2441498"/>
                </a:cubicBezTo>
                <a:cubicBezTo>
                  <a:pt x="984652" y="2441033"/>
                  <a:pt x="983619" y="2441807"/>
                  <a:pt x="982483" y="2442582"/>
                </a:cubicBezTo>
                <a:lnTo>
                  <a:pt x="980934" y="2443202"/>
                </a:lnTo>
                <a:lnTo>
                  <a:pt x="986303" y="2456523"/>
                </a:lnTo>
                <a:cubicBezTo>
                  <a:pt x="983206" y="2456832"/>
                  <a:pt x="981864" y="2459001"/>
                  <a:pt x="977011" y="2458381"/>
                </a:cubicBezTo>
                <a:cubicBezTo>
                  <a:pt x="975049" y="2450946"/>
                  <a:pt x="972261" y="2443821"/>
                  <a:pt x="969576" y="2437160"/>
                </a:cubicBezTo>
                <a:lnTo>
                  <a:pt x="965962" y="2426163"/>
                </a:lnTo>
                <a:lnTo>
                  <a:pt x="962968" y="2427557"/>
                </a:lnTo>
                <a:lnTo>
                  <a:pt x="957186" y="2428177"/>
                </a:lnTo>
                <a:lnTo>
                  <a:pt x="951713" y="2433443"/>
                </a:lnTo>
                <a:lnTo>
                  <a:pt x="951713" y="2428641"/>
                </a:lnTo>
                <a:lnTo>
                  <a:pt x="950990" y="2428796"/>
                </a:lnTo>
                <a:cubicBezTo>
                  <a:pt x="948305" y="2428641"/>
                  <a:pt x="945827" y="2428022"/>
                  <a:pt x="943246" y="2427247"/>
                </a:cubicBezTo>
                <a:cubicBezTo>
                  <a:pt x="943556" y="2423839"/>
                  <a:pt x="945621" y="2422136"/>
                  <a:pt x="948409" y="2421051"/>
                </a:cubicBezTo>
                <a:lnTo>
                  <a:pt x="955327" y="2419192"/>
                </a:lnTo>
                <a:lnTo>
                  <a:pt x="956359" y="2417953"/>
                </a:lnTo>
                <a:lnTo>
                  <a:pt x="953778" y="2414856"/>
                </a:lnTo>
                <a:cubicBezTo>
                  <a:pt x="950267" y="2410983"/>
                  <a:pt x="946963" y="2406646"/>
                  <a:pt x="950577" y="2403548"/>
                </a:cubicBezTo>
                <a:close/>
                <a:moveTo>
                  <a:pt x="1196430" y="2403393"/>
                </a:moveTo>
                <a:lnTo>
                  <a:pt x="1201799" y="2408505"/>
                </a:lnTo>
                <a:lnTo>
                  <a:pt x="1203865" y="2408659"/>
                </a:lnTo>
                <a:cubicBezTo>
                  <a:pt x="1205723" y="2408350"/>
                  <a:pt x="1206239" y="2408969"/>
                  <a:pt x="1205723" y="2411293"/>
                </a:cubicBezTo>
                <a:lnTo>
                  <a:pt x="1203452" y="2410983"/>
                </a:lnTo>
                <a:lnTo>
                  <a:pt x="1206962" y="2419348"/>
                </a:lnTo>
                <a:cubicBezTo>
                  <a:pt x="1208718" y="2426318"/>
                  <a:pt x="1207995" y="2433443"/>
                  <a:pt x="1202419" y="2435302"/>
                </a:cubicBezTo>
                <a:lnTo>
                  <a:pt x="1201902" y="2430345"/>
                </a:lnTo>
                <a:lnTo>
                  <a:pt x="1199941" y="2428022"/>
                </a:lnTo>
                <a:cubicBezTo>
                  <a:pt x="1198495" y="2425699"/>
                  <a:pt x="1197669" y="2422910"/>
                  <a:pt x="1197256" y="2420741"/>
                </a:cubicBezTo>
                <a:lnTo>
                  <a:pt x="1198392" y="2419348"/>
                </a:lnTo>
                <a:lnTo>
                  <a:pt x="1195810" y="2411913"/>
                </a:lnTo>
                <a:lnTo>
                  <a:pt x="1196120" y="2407730"/>
                </a:lnTo>
                <a:lnTo>
                  <a:pt x="1196224" y="2407575"/>
                </a:lnTo>
                <a:close/>
                <a:moveTo>
                  <a:pt x="4977162" y="2402921"/>
                </a:moveTo>
                <a:cubicBezTo>
                  <a:pt x="4978656" y="2402779"/>
                  <a:pt x="4980363" y="2402921"/>
                  <a:pt x="4982711" y="2403348"/>
                </a:cubicBezTo>
                <a:cubicBezTo>
                  <a:pt x="4980577" y="2414730"/>
                  <a:pt x="4992955" y="2410888"/>
                  <a:pt x="4991675" y="2419851"/>
                </a:cubicBezTo>
                <a:cubicBezTo>
                  <a:pt x="4989540" y="2422696"/>
                  <a:pt x="4988473" y="2426680"/>
                  <a:pt x="4985272" y="2428672"/>
                </a:cubicBezTo>
                <a:cubicBezTo>
                  <a:pt x="4984205" y="2429383"/>
                  <a:pt x="4982924" y="2429810"/>
                  <a:pt x="4981217" y="2429952"/>
                </a:cubicBezTo>
                <a:cubicBezTo>
                  <a:pt x="4980150" y="2419709"/>
                  <a:pt x="4976522" y="2413307"/>
                  <a:pt x="4973747" y="2404344"/>
                </a:cubicBezTo>
                <a:cubicBezTo>
                  <a:pt x="4974601" y="2403632"/>
                  <a:pt x="4975668" y="2403206"/>
                  <a:pt x="4977162" y="2402921"/>
                </a:cubicBezTo>
                <a:close/>
                <a:moveTo>
                  <a:pt x="1015009" y="2402309"/>
                </a:moveTo>
                <a:cubicBezTo>
                  <a:pt x="1016661" y="2403858"/>
                  <a:pt x="1018416" y="2404787"/>
                  <a:pt x="1018416" y="2405562"/>
                </a:cubicBezTo>
                <a:cubicBezTo>
                  <a:pt x="1019243" y="2405562"/>
                  <a:pt x="1020172" y="2406337"/>
                  <a:pt x="1020998" y="2406337"/>
                </a:cubicBezTo>
                <a:cubicBezTo>
                  <a:pt x="1020998" y="2406337"/>
                  <a:pt x="1020998" y="2406337"/>
                  <a:pt x="1020998" y="2407111"/>
                </a:cubicBezTo>
                <a:cubicBezTo>
                  <a:pt x="1017487" y="2406491"/>
                  <a:pt x="1013047" y="2407420"/>
                  <a:pt x="1010465" y="2405871"/>
                </a:cubicBezTo>
                <a:cubicBezTo>
                  <a:pt x="1010053" y="2405407"/>
                  <a:pt x="1009640" y="2405097"/>
                  <a:pt x="1009536" y="2404632"/>
                </a:cubicBezTo>
                <a:cubicBezTo>
                  <a:pt x="1009433" y="2404013"/>
                  <a:pt x="1009743" y="2403393"/>
                  <a:pt x="1010672" y="2402464"/>
                </a:cubicBezTo>
                <a:cubicBezTo>
                  <a:pt x="1011601" y="2400760"/>
                  <a:pt x="1012428" y="2400760"/>
                  <a:pt x="1015009" y="2402309"/>
                </a:cubicBezTo>
                <a:close/>
                <a:moveTo>
                  <a:pt x="915676" y="2400915"/>
                </a:moveTo>
                <a:cubicBezTo>
                  <a:pt x="915573" y="2402619"/>
                  <a:pt x="919084" y="2403238"/>
                  <a:pt x="917226" y="2405097"/>
                </a:cubicBezTo>
                <a:cubicBezTo>
                  <a:pt x="916399" y="2404168"/>
                  <a:pt x="915573" y="2402619"/>
                  <a:pt x="914747" y="2401689"/>
                </a:cubicBezTo>
                <a:cubicBezTo>
                  <a:pt x="914747" y="2401689"/>
                  <a:pt x="914747" y="2401689"/>
                  <a:pt x="915676" y="2400915"/>
                </a:cubicBezTo>
                <a:close/>
                <a:moveTo>
                  <a:pt x="1127971" y="2399985"/>
                </a:moveTo>
                <a:cubicBezTo>
                  <a:pt x="1127971" y="2399985"/>
                  <a:pt x="1127971" y="2399985"/>
                  <a:pt x="1124667" y="2405562"/>
                </a:cubicBezTo>
                <a:cubicBezTo>
                  <a:pt x="1124254" y="2405252"/>
                  <a:pt x="1124151" y="2404787"/>
                  <a:pt x="1124357" y="2404323"/>
                </a:cubicBezTo>
                <a:cubicBezTo>
                  <a:pt x="1124564" y="2404013"/>
                  <a:pt x="1124977" y="2403393"/>
                  <a:pt x="1125390" y="2402928"/>
                </a:cubicBezTo>
                <a:cubicBezTo>
                  <a:pt x="1126216" y="2401999"/>
                  <a:pt x="1127145" y="2400915"/>
                  <a:pt x="1127971" y="2399985"/>
                </a:cubicBezTo>
                <a:close/>
                <a:moveTo>
                  <a:pt x="4815390" y="2399934"/>
                </a:moveTo>
                <a:cubicBezTo>
                  <a:pt x="4815603" y="2400076"/>
                  <a:pt x="4816030" y="2400645"/>
                  <a:pt x="4816670" y="2401072"/>
                </a:cubicBezTo>
                <a:cubicBezTo>
                  <a:pt x="4815603" y="2401499"/>
                  <a:pt x="4816670" y="2401072"/>
                  <a:pt x="4814322" y="2400645"/>
                </a:cubicBezTo>
                <a:cubicBezTo>
                  <a:pt x="4814749" y="2399791"/>
                  <a:pt x="4814963" y="2399649"/>
                  <a:pt x="4815390" y="2399934"/>
                </a:cubicBezTo>
                <a:close/>
                <a:moveTo>
                  <a:pt x="997042" y="2399830"/>
                </a:moveTo>
                <a:cubicBezTo>
                  <a:pt x="997868" y="2400605"/>
                  <a:pt x="998694" y="2401379"/>
                  <a:pt x="999521" y="2402154"/>
                </a:cubicBezTo>
                <a:cubicBezTo>
                  <a:pt x="997765" y="2403858"/>
                  <a:pt x="995906" y="2405716"/>
                  <a:pt x="994358" y="2404013"/>
                </a:cubicBezTo>
                <a:cubicBezTo>
                  <a:pt x="995184" y="2402464"/>
                  <a:pt x="994461" y="2401534"/>
                  <a:pt x="997042" y="2399830"/>
                </a:cubicBezTo>
                <a:close/>
                <a:moveTo>
                  <a:pt x="617834" y="2399753"/>
                </a:moveTo>
                <a:cubicBezTo>
                  <a:pt x="620080" y="2400566"/>
                  <a:pt x="621964" y="2402232"/>
                  <a:pt x="622532" y="2404323"/>
                </a:cubicBezTo>
                <a:cubicBezTo>
                  <a:pt x="623048" y="2406337"/>
                  <a:pt x="622532" y="2408659"/>
                  <a:pt x="620467" y="2410983"/>
                </a:cubicBezTo>
                <a:cubicBezTo>
                  <a:pt x="615097" y="2407575"/>
                  <a:pt x="611174" y="2409279"/>
                  <a:pt x="608076" y="2404632"/>
                </a:cubicBezTo>
                <a:cubicBezTo>
                  <a:pt x="608592" y="2402464"/>
                  <a:pt x="609625" y="2401070"/>
                  <a:pt x="610967" y="2400295"/>
                </a:cubicBezTo>
                <a:cubicBezTo>
                  <a:pt x="612981" y="2398979"/>
                  <a:pt x="615588" y="2398940"/>
                  <a:pt x="617834" y="2399753"/>
                </a:cubicBezTo>
                <a:close/>
                <a:moveTo>
                  <a:pt x="5227717" y="2399507"/>
                </a:moveTo>
                <a:cubicBezTo>
                  <a:pt x="5233479" y="2399791"/>
                  <a:pt x="5237107" y="2405909"/>
                  <a:pt x="5231558" y="2410603"/>
                </a:cubicBezTo>
                <a:lnTo>
                  <a:pt x="5231345" y="2410319"/>
                </a:lnTo>
                <a:lnTo>
                  <a:pt x="5230491" y="2413733"/>
                </a:lnTo>
                <a:cubicBezTo>
                  <a:pt x="5230491" y="2415583"/>
                  <a:pt x="5230277" y="2417290"/>
                  <a:pt x="5228997" y="2419424"/>
                </a:cubicBezTo>
                <a:cubicBezTo>
                  <a:pt x="5224516" y="2416721"/>
                  <a:pt x="5220674" y="2415725"/>
                  <a:pt x="5218326" y="2414303"/>
                </a:cubicBezTo>
                <a:cubicBezTo>
                  <a:pt x="5219393" y="2410461"/>
                  <a:pt x="5221314" y="2407901"/>
                  <a:pt x="5223449" y="2406762"/>
                </a:cubicBezTo>
                <a:cubicBezTo>
                  <a:pt x="5224729" y="2406193"/>
                  <a:pt x="5226009" y="2406051"/>
                  <a:pt x="5227290" y="2406193"/>
                </a:cubicBezTo>
                <a:lnTo>
                  <a:pt x="5228357" y="2406478"/>
                </a:lnTo>
                <a:lnTo>
                  <a:pt x="5227077" y="2404913"/>
                </a:lnTo>
                <a:cubicBezTo>
                  <a:pt x="5226223" y="2403064"/>
                  <a:pt x="5226009" y="2401214"/>
                  <a:pt x="5227717" y="2399507"/>
                </a:cubicBezTo>
                <a:close/>
                <a:moveTo>
                  <a:pt x="1113619" y="2398901"/>
                </a:moveTo>
                <a:cubicBezTo>
                  <a:pt x="1118162" y="2397662"/>
                  <a:pt x="1122292" y="2402928"/>
                  <a:pt x="1121260" y="2406801"/>
                </a:cubicBezTo>
                <a:cubicBezTo>
                  <a:pt x="1120950" y="2408040"/>
                  <a:pt x="1120021" y="2409124"/>
                  <a:pt x="1118368" y="2409744"/>
                </a:cubicBezTo>
                <a:cubicBezTo>
                  <a:pt x="1112999" y="2408815"/>
                  <a:pt x="1115271" y="2403858"/>
                  <a:pt x="1113619" y="2398901"/>
                </a:cubicBezTo>
                <a:close/>
                <a:moveTo>
                  <a:pt x="1058790" y="2396423"/>
                </a:moveTo>
                <a:cubicBezTo>
                  <a:pt x="1059719" y="2395804"/>
                  <a:pt x="1061061" y="2395804"/>
                  <a:pt x="1062920" y="2396578"/>
                </a:cubicBezTo>
                <a:cubicBezTo>
                  <a:pt x="1062817" y="2400140"/>
                  <a:pt x="1062713" y="2402464"/>
                  <a:pt x="1062094" y="2404168"/>
                </a:cubicBezTo>
                <a:cubicBezTo>
                  <a:pt x="1058583" y="2404477"/>
                  <a:pt x="1056931" y="2400915"/>
                  <a:pt x="1057447" y="2398436"/>
                </a:cubicBezTo>
                <a:cubicBezTo>
                  <a:pt x="1057654" y="2397662"/>
                  <a:pt x="1058067" y="2396888"/>
                  <a:pt x="1058790" y="2396423"/>
                </a:cubicBezTo>
                <a:close/>
                <a:moveTo>
                  <a:pt x="940458" y="2396268"/>
                </a:moveTo>
                <a:cubicBezTo>
                  <a:pt x="942317" y="2395958"/>
                  <a:pt x="944278" y="2396268"/>
                  <a:pt x="946447" y="2397042"/>
                </a:cubicBezTo>
                <a:cubicBezTo>
                  <a:pt x="946343" y="2398592"/>
                  <a:pt x="943659" y="2401224"/>
                  <a:pt x="941800" y="2402773"/>
                </a:cubicBezTo>
                <a:lnTo>
                  <a:pt x="934985" y="2399211"/>
                </a:lnTo>
                <a:lnTo>
                  <a:pt x="935915" y="2400760"/>
                </a:lnTo>
                <a:cubicBezTo>
                  <a:pt x="936121" y="2401689"/>
                  <a:pt x="936121" y="2402773"/>
                  <a:pt x="935708" y="2403548"/>
                </a:cubicBezTo>
                <a:cubicBezTo>
                  <a:pt x="931888" y="2405097"/>
                  <a:pt x="927758" y="2401070"/>
                  <a:pt x="928480" y="2397817"/>
                </a:cubicBezTo>
                <a:cubicBezTo>
                  <a:pt x="930958" y="2395804"/>
                  <a:pt x="933127" y="2396578"/>
                  <a:pt x="934469" y="2398126"/>
                </a:cubicBezTo>
                <a:lnTo>
                  <a:pt x="934985" y="2399056"/>
                </a:lnTo>
                <a:close/>
                <a:moveTo>
                  <a:pt x="806844" y="2396268"/>
                </a:moveTo>
                <a:cubicBezTo>
                  <a:pt x="811697" y="2394409"/>
                  <a:pt x="814898" y="2396888"/>
                  <a:pt x="815621" y="2399985"/>
                </a:cubicBezTo>
                <a:cubicBezTo>
                  <a:pt x="816447" y="2403083"/>
                  <a:pt x="814898" y="2406801"/>
                  <a:pt x="810252" y="2407730"/>
                </a:cubicBezTo>
                <a:cubicBezTo>
                  <a:pt x="806948" y="2405716"/>
                  <a:pt x="805399" y="2403393"/>
                  <a:pt x="804160" y="2401999"/>
                </a:cubicBezTo>
                <a:cubicBezTo>
                  <a:pt x="805295" y="2399985"/>
                  <a:pt x="805708" y="2398282"/>
                  <a:pt x="806844" y="2396268"/>
                </a:cubicBezTo>
                <a:close/>
                <a:moveTo>
                  <a:pt x="6196429" y="2395665"/>
                </a:moveTo>
                <a:cubicBezTo>
                  <a:pt x="6197283" y="2398937"/>
                  <a:pt x="6198777" y="2400929"/>
                  <a:pt x="6199630" y="2404201"/>
                </a:cubicBezTo>
                <a:cubicBezTo>
                  <a:pt x="6197070" y="2411173"/>
                  <a:pt x="6191947" y="2412453"/>
                  <a:pt x="6188319" y="2410461"/>
                </a:cubicBezTo>
                <a:cubicBezTo>
                  <a:pt x="6184691" y="2408470"/>
                  <a:pt x="6182343" y="2403064"/>
                  <a:pt x="6185545" y="2397088"/>
                </a:cubicBezTo>
                <a:cubicBezTo>
                  <a:pt x="6190240" y="2395381"/>
                  <a:pt x="6193868" y="2395808"/>
                  <a:pt x="6196429" y="2395665"/>
                </a:cubicBezTo>
                <a:close/>
                <a:moveTo>
                  <a:pt x="6378903" y="2393958"/>
                </a:moveTo>
                <a:cubicBezTo>
                  <a:pt x="6382744" y="2394954"/>
                  <a:pt x="6385519" y="2394243"/>
                  <a:pt x="6387653" y="2394100"/>
                </a:cubicBezTo>
                <a:cubicBezTo>
                  <a:pt x="6389787" y="2393958"/>
                  <a:pt x="6391495" y="2394243"/>
                  <a:pt x="6392989" y="2397088"/>
                </a:cubicBezTo>
                <a:cubicBezTo>
                  <a:pt x="6390215" y="2400929"/>
                  <a:pt x="6381251" y="2398511"/>
                  <a:pt x="6378903" y="2393958"/>
                </a:cubicBezTo>
                <a:close/>
                <a:moveTo>
                  <a:pt x="5362598" y="2393958"/>
                </a:moveTo>
                <a:cubicBezTo>
                  <a:pt x="5362598" y="2393958"/>
                  <a:pt x="5362598" y="2393958"/>
                  <a:pt x="5363665" y="2396519"/>
                </a:cubicBezTo>
                <a:cubicBezTo>
                  <a:pt x="5363665" y="2397800"/>
                  <a:pt x="5363665" y="2398937"/>
                  <a:pt x="5362384" y="2400076"/>
                </a:cubicBezTo>
                <a:cubicBezTo>
                  <a:pt x="5361104" y="2401072"/>
                  <a:pt x="5358756" y="2400929"/>
                  <a:pt x="5357476" y="2400787"/>
                </a:cubicBezTo>
                <a:cubicBezTo>
                  <a:pt x="5357476" y="2399507"/>
                  <a:pt x="5356409" y="2399364"/>
                  <a:pt x="5356409" y="2398084"/>
                </a:cubicBezTo>
                <a:cubicBezTo>
                  <a:pt x="5355342" y="2395523"/>
                  <a:pt x="5355342" y="2395523"/>
                  <a:pt x="5356622" y="2394385"/>
                </a:cubicBezTo>
                <a:cubicBezTo>
                  <a:pt x="5357689" y="2393389"/>
                  <a:pt x="5361317" y="2394954"/>
                  <a:pt x="5362598" y="2393958"/>
                </a:cubicBezTo>
                <a:close/>
                <a:moveTo>
                  <a:pt x="860744" y="2393170"/>
                </a:moveTo>
                <a:cubicBezTo>
                  <a:pt x="862293" y="2392705"/>
                  <a:pt x="864152" y="2392705"/>
                  <a:pt x="865907" y="2393170"/>
                </a:cubicBezTo>
                <a:lnTo>
                  <a:pt x="867972" y="2394564"/>
                </a:lnTo>
                <a:lnTo>
                  <a:pt x="869108" y="2394099"/>
                </a:lnTo>
                <a:cubicBezTo>
                  <a:pt x="876026" y="2399676"/>
                  <a:pt x="871380" y="2404168"/>
                  <a:pt x="866320" y="2403238"/>
                </a:cubicBezTo>
                <a:cubicBezTo>
                  <a:pt x="864564" y="2402928"/>
                  <a:pt x="862913" y="2401999"/>
                  <a:pt x="861467" y="2400295"/>
                </a:cubicBezTo>
                <a:cubicBezTo>
                  <a:pt x="861570" y="2399676"/>
                  <a:pt x="861880" y="2399056"/>
                  <a:pt x="862396" y="2398282"/>
                </a:cubicBezTo>
                <a:lnTo>
                  <a:pt x="862602" y="2397972"/>
                </a:lnTo>
                <a:lnTo>
                  <a:pt x="858266" y="2395029"/>
                </a:lnTo>
                <a:cubicBezTo>
                  <a:pt x="858886" y="2394099"/>
                  <a:pt x="859712" y="2393480"/>
                  <a:pt x="860744" y="2393170"/>
                </a:cubicBezTo>
                <a:close/>
                <a:moveTo>
                  <a:pt x="1079441" y="2392550"/>
                </a:moveTo>
                <a:cubicBezTo>
                  <a:pt x="1082125" y="2393790"/>
                  <a:pt x="1081299" y="2394874"/>
                  <a:pt x="1079647" y="2396733"/>
                </a:cubicBezTo>
                <a:cubicBezTo>
                  <a:pt x="1078821" y="2396423"/>
                  <a:pt x="1078202" y="2396113"/>
                  <a:pt x="1077892" y="2395494"/>
                </a:cubicBezTo>
                <a:cubicBezTo>
                  <a:pt x="1077686" y="2394874"/>
                  <a:pt x="1077892" y="2394099"/>
                  <a:pt x="1078615" y="2392705"/>
                </a:cubicBezTo>
                <a:cubicBezTo>
                  <a:pt x="1078615" y="2392705"/>
                  <a:pt x="1079441" y="2392550"/>
                  <a:pt x="1079441" y="2392550"/>
                </a:cubicBezTo>
                <a:close/>
                <a:moveTo>
                  <a:pt x="623771" y="2392550"/>
                </a:moveTo>
                <a:cubicBezTo>
                  <a:pt x="626559" y="2390537"/>
                  <a:pt x="632858" y="2393790"/>
                  <a:pt x="633684" y="2397198"/>
                </a:cubicBezTo>
                <a:cubicBezTo>
                  <a:pt x="628521" y="2394564"/>
                  <a:pt x="624907" y="2396888"/>
                  <a:pt x="623771" y="2392550"/>
                </a:cubicBezTo>
                <a:close/>
                <a:moveTo>
                  <a:pt x="1050942" y="2392395"/>
                </a:moveTo>
                <a:cubicBezTo>
                  <a:pt x="1051871" y="2393170"/>
                  <a:pt x="1050942" y="2393170"/>
                  <a:pt x="1050942" y="2393945"/>
                </a:cubicBezTo>
                <a:cubicBezTo>
                  <a:pt x="1050426" y="2393634"/>
                  <a:pt x="1050219" y="2393480"/>
                  <a:pt x="1050219" y="2393170"/>
                </a:cubicBezTo>
                <a:cubicBezTo>
                  <a:pt x="1050219" y="2393015"/>
                  <a:pt x="1050426" y="2392860"/>
                  <a:pt x="1050942" y="2392395"/>
                </a:cubicBezTo>
                <a:close/>
                <a:moveTo>
                  <a:pt x="4909935" y="2392108"/>
                </a:moveTo>
                <a:cubicBezTo>
                  <a:pt x="4916551" y="2395096"/>
                  <a:pt x="4916978" y="2404628"/>
                  <a:pt x="4913563" y="2409323"/>
                </a:cubicBezTo>
                <a:cubicBezTo>
                  <a:pt x="4912283" y="2411030"/>
                  <a:pt x="4910575" y="2412026"/>
                  <a:pt x="4908654" y="2412168"/>
                </a:cubicBezTo>
                <a:cubicBezTo>
                  <a:pt x="4899904" y="2408327"/>
                  <a:pt x="4903319" y="2394527"/>
                  <a:pt x="4909935" y="2392108"/>
                </a:cubicBezTo>
                <a:close/>
                <a:moveTo>
                  <a:pt x="5391196" y="2391824"/>
                </a:moveTo>
                <a:cubicBezTo>
                  <a:pt x="5392690" y="2392535"/>
                  <a:pt x="5393117" y="2393958"/>
                  <a:pt x="5392904" y="2395239"/>
                </a:cubicBezTo>
                <a:cubicBezTo>
                  <a:pt x="5392904" y="2396519"/>
                  <a:pt x="5392477" y="2397800"/>
                  <a:pt x="5391837" y="2397942"/>
                </a:cubicBezTo>
                <a:cubicBezTo>
                  <a:pt x="5390342" y="2397372"/>
                  <a:pt x="5389702" y="2395096"/>
                  <a:pt x="5388209" y="2394385"/>
                </a:cubicBezTo>
                <a:cubicBezTo>
                  <a:pt x="5389276" y="2393958"/>
                  <a:pt x="5390129" y="2392393"/>
                  <a:pt x="5391196" y="2391824"/>
                </a:cubicBezTo>
                <a:close/>
                <a:moveTo>
                  <a:pt x="5102653" y="2391540"/>
                </a:moveTo>
                <a:cubicBezTo>
                  <a:pt x="5117806" y="2396803"/>
                  <a:pt x="5116312" y="2408612"/>
                  <a:pt x="5107775" y="2409750"/>
                </a:cubicBezTo>
                <a:cubicBezTo>
                  <a:pt x="5104787" y="2410177"/>
                  <a:pt x="5101159" y="2409323"/>
                  <a:pt x="5097104" y="2406762"/>
                </a:cubicBezTo>
                <a:cubicBezTo>
                  <a:pt x="5094116" y="2401356"/>
                  <a:pt x="5097957" y="2391540"/>
                  <a:pt x="5102653" y="2391540"/>
                </a:cubicBezTo>
                <a:close/>
                <a:moveTo>
                  <a:pt x="6169112" y="2391255"/>
                </a:moveTo>
                <a:cubicBezTo>
                  <a:pt x="6170179" y="2391397"/>
                  <a:pt x="6173593" y="2393105"/>
                  <a:pt x="6173593" y="2391966"/>
                </a:cubicBezTo>
                <a:cubicBezTo>
                  <a:pt x="6176154" y="2395096"/>
                  <a:pt x="6178502" y="2398795"/>
                  <a:pt x="6178502" y="2401783"/>
                </a:cubicBezTo>
                <a:cubicBezTo>
                  <a:pt x="6178502" y="2402779"/>
                  <a:pt x="6178075" y="2403775"/>
                  <a:pt x="6177435" y="2404628"/>
                </a:cubicBezTo>
                <a:cubicBezTo>
                  <a:pt x="6176154" y="2406762"/>
                  <a:pt x="6174020" y="2405197"/>
                  <a:pt x="6171886" y="2402494"/>
                </a:cubicBezTo>
                <a:cubicBezTo>
                  <a:pt x="6166337" y="2397942"/>
                  <a:pt x="6165270" y="2394243"/>
                  <a:pt x="6169112" y="2391255"/>
                </a:cubicBezTo>
                <a:close/>
                <a:moveTo>
                  <a:pt x="1225445" y="2390537"/>
                </a:moveTo>
                <a:cubicBezTo>
                  <a:pt x="1227097" y="2391466"/>
                  <a:pt x="1229472" y="2393480"/>
                  <a:pt x="1228956" y="2395804"/>
                </a:cubicBezTo>
                <a:cubicBezTo>
                  <a:pt x="1228956" y="2395804"/>
                  <a:pt x="1228956" y="2395804"/>
                  <a:pt x="1228646" y="2397042"/>
                </a:cubicBezTo>
                <a:lnTo>
                  <a:pt x="1228233" y="2396268"/>
                </a:lnTo>
                <a:lnTo>
                  <a:pt x="1226891" y="2397972"/>
                </a:lnTo>
                <a:cubicBezTo>
                  <a:pt x="1226065" y="2397662"/>
                  <a:pt x="1225445" y="2397198"/>
                  <a:pt x="1225238" y="2396578"/>
                </a:cubicBezTo>
                <a:cubicBezTo>
                  <a:pt x="1225032" y="2395958"/>
                  <a:pt x="1225342" y="2395184"/>
                  <a:pt x="1226168" y="2393790"/>
                </a:cubicBezTo>
                <a:lnTo>
                  <a:pt x="1226684" y="2393790"/>
                </a:lnTo>
                <a:lnTo>
                  <a:pt x="1226581" y="2393634"/>
                </a:lnTo>
                <a:cubicBezTo>
                  <a:pt x="1225961" y="2392550"/>
                  <a:pt x="1225548" y="2391466"/>
                  <a:pt x="1225445" y="2390537"/>
                </a:cubicBezTo>
                <a:close/>
                <a:moveTo>
                  <a:pt x="1095136" y="2388213"/>
                </a:moveTo>
                <a:cubicBezTo>
                  <a:pt x="1096168" y="2388059"/>
                  <a:pt x="1097614" y="2388059"/>
                  <a:pt x="1099369" y="2388368"/>
                </a:cubicBezTo>
                <a:cubicBezTo>
                  <a:pt x="1097924" y="2396423"/>
                  <a:pt x="1107320" y="2393325"/>
                  <a:pt x="1106494" y="2399676"/>
                </a:cubicBezTo>
                <a:cubicBezTo>
                  <a:pt x="1105771" y="2400760"/>
                  <a:pt x="1105152" y="2401844"/>
                  <a:pt x="1104429" y="2403083"/>
                </a:cubicBezTo>
                <a:lnTo>
                  <a:pt x="1102364" y="2405562"/>
                </a:lnTo>
                <a:lnTo>
                  <a:pt x="1103087" y="2406027"/>
                </a:lnTo>
                <a:cubicBezTo>
                  <a:pt x="1103500" y="2406646"/>
                  <a:pt x="1103706" y="2407420"/>
                  <a:pt x="1103500" y="2407885"/>
                </a:cubicBezTo>
                <a:cubicBezTo>
                  <a:pt x="1101537" y="2417024"/>
                  <a:pt x="1093070" y="2416559"/>
                  <a:pt x="1091831" y="2417953"/>
                </a:cubicBezTo>
                <a:cubicBezTo>
                  <a:pt x="1089250" y="2416870"/>
                  <a:pt x="1088631" y="2416559"/>
                  <a:pt x="1089147" y="2413926"/>
                </a:cubicBezTo>
                <a:lnTo>
                  <a:pt x="1089766" y="2411293"/>
                </a:lnTo>
                <a:lnTo>
                  <a:pt x="1087701" y="2410209"/>
                </a:lnTo>
                <a:cubicBezTo>
                  <a:pt x="1088114" y="2409124"/>
                  <a:pt x="1088527" y="2407885"/>
                  <a:pt x="1088940" y="2406801"/>
                </a:cubicBezTo>
                <a:lnTo>
                  <a:pt x="1092967" y="2407266"/>
                </a:lnTo>
                <a:lnTo>
                  <a:pt x="1095342" y="2406491"/>
                </a:lnTo>
                <a:cubicBezTo>
                  <a:pt x="1095962" y="2405716"/>
                  <a:pt x="1096788" y="2405097"/>
                  <a:pt x="1097717" y="2404787"/>
                </a:cubicBezTo>
                <a:lnTo>
                  <a:pt x="1098130" y="2404787"/>
                </a:lnTo>
                <a:lnTo>
                  <a:pt x="1096168" y="2397817"/>
                </a:lnTo>
                <a:cubicBezTo>
                  <a:pt x="1095032" y="2395029"/>
                  <a:pt x="1093793" y="2392395"/>
                  <a:pt x="1092658" y="2389298"/>
                </a:cubicBezTo>
                <a:cubicBezTo>
                  <a:pt x="1093277" y="2388833"/>
                  <a:pt x="1094000" y="2388368"/>
                  <a:pt x="1095136" y="2388213"/>
                </a:cubicBezTo>
                <a:close/>
                <a:moveTo>
                  <a:pt x="820164" y="2387903"/>
                </a:moveTo>
                <a:cubicBezTo>
                  <a:pt x="822849" y="2390072"/>
                  <a:pt x="822229" y="2392705"/>
                  <a:pt x="821507" y="2395184"/>
                </a:cubicBezTo>
                <a:cubicBezTo>
                  <a:pt x="820681" y="2397042"/>
                  <a:pt x="820784" y="2397817"/>
                  <a:pt x="821713" y="2399366"/>
                </a:cubicBezTo>
                <a:cubicBezTo>
                  <a:pt x="821713" y="2399366"/>
                  <a:pt x="821713" y="2399366"/>
                  <a:pt x="820164" y="2401224"/>
                </a:cubicBezTo>
                <a:lnTo>
                  <a:pt x="819235" y="2401379"/>
                </a:lnTo>
                <a:cubicBezTo>
                  <a:pt x="818719" y="2401224"/>
                  <a:pt x="818616" y="2400605"/>
                  <a:pt x="818409" y="2399676"/>
                </a:cubicBezTo>
                <a:cubicBezTo>
                  <a:pt x="818202" y="2398436"/>
                  <a:pt x="818306" y="2396423"/>
                  <a:pt x="818409" y="2394874"/>
                </a:cubicBezTo>
                <a:cubicBezTo>
                  <a:pt x="818512" y="2393170"/>
                  <a:pt x="818616" y="2391776"/>
                  <a:pt x="818616" y="2391466"/>
                </a:cubicBezTo>
                <a:cubicBezTo>
                  <a:pt x="818616" y="2391466"/>
                  <a:pt x="818616" y="2390691"/>
                  <a:pt x="818616" y="2389762"/>
                </a:cubicBezTo>
                <a:cubicBezTo>
                  <a:pt x="819338" y="2388833"/>
                  <a:pt x="820267" y="2388833"/>
                  <a:pt x="820164" y="2387903"/>
                </a:cubicBezTo>
                <a:close/>
                <a:moveTo>
                  <a:pt x="787665" y="2386684"/>
                </a:moveTo>
                <a:cubicBezTo>
                  <a:pt x="789678" y="2386781"/>
                  <a:pt x="791666" y="2388058"/>
                  <a:pt x="792079" y="2389607"/>
                </a:cubicBezTo>
                <a:cubicBezTo>
                  <a:pt x="790427" y="2393634"/>
                  <a:pt x="784851" y="2393790"/>
                  <a:pt x="783095" y="2390847"/>
                </a:cubicBezTo>
                <a:cubicBezTo>
                  <a:pt x="783612" y="2387671"/>
                  <a:pt x="785651" y="2386587"/>
                  <a:pt x="787665" y="2386684"/>
                </a:cubicBezTo>
                <a:close/>
                <a:moveTo>
                  <a:pt x="709577" y="2386665"/>
                </a:moveTo>
                <a:cubicBezTo>
                  <a:pt x="711332" y="2388523"/>
                  <a:pt x="712985" y="2390382"/>
                  <a:pt x="711229" y="2391776"/>
                </a:cubicBezTo>
                <a:cubicBezTo>
                  <a:pt x="710403" y="2392550"/>
                  <a:pt x="709474" y="2393325"/>
                  <a:pt x="707718" y="2393170"/>
                </a:cubicBezTo>
                <a:cubicBezTo>
                  <a:pt x="705963" y="2391311"/>
                  <a:pt x="706996" y="2388988"/>
                  <a:pt x="706066" y="2388059"/>
                </a:cubicBezTo>
                <a:cubicBezTo>
                  <a:pt x="706996" y="2388059"/>
                  <a:pt x="708648" y="2388213"/>
                  <a:pt x="709577" y="2386665"/>
                </a:cubicBezTo>
                <a:close/>
                <a:moveTo>
                  <a:pt x="4863409" y="2385849"/>
                </a:moveTo>
                <a:cubicBezTo>
                  <a:pt x="4864690" y="2385849"/>
                  <a:pt x="4866184" y="2386133"/>
                  <a:pt x="4868318" y="2386987"/>
                </a:cubicBezTo>
                <a:cubicBezTo>
                  <a:pt x="4873653" y="2388694"/>
                  <a:pt x="4876428" y="2391682"/>
                  <a:pt x="4877282" y="2395096"/>
                </a:cubicBezTo>
                <a:cubicBezTo>
                  <a:pt x="4878348" y="2398368"/>
                  <a:pt x="4877708" y="2401925"/>
                  <a:pt x="4876641" y="2404913"/>
                </a:cubicBezTo>
                <a:cubicBezTo>
                  <a:pt x="4875574" y="2404344"/>
                  <a:pt x="4872586" y="2412026"/>
                  <a:pt x="4865970" y="2414303"/>
                </a:cubicBezTo>
                <a:cubicBezTo>
                  <a:pt x="4863836" y="2415014"/>
                  <a:pt x="4861275" y="2415156"/>
                  <a:pt x="4858073" y="2414160"/>
                </a:cubicBezTo>
                <a:cubicBezTo>
                  <a:pt x="4851458" y="2411600"/>
                  <a:pt x="4845269" y="2406620"/>
                  <a:pt x="4850604" y="2394670"/>
                </a:cubicBezTo>
                <a:cubicBezTo>
                  <a:pt x="4851244" y="2392108"/>
                  <a:pt x="4851458" y="2393105"/>
                  <a:pt x="4852311" y="2391540"/>
                </a:cubicBezTo>
                <a:cubicBezTo>
                  <a:pt x="4853165" y="2390117"/>
                  <a:pt x="4853592" y="2387414"/>
                  <a:pt x="4853378" y="2386276"/>
                </a:cubicBezTo>
                <a:cubicBezTo>
                  <a:pt x="4857433" y="2387556"/>
                  <a:pt x="4859141" y="2385564"/>
                  <a:pt x="4863409" y="2385849"/>
                </a:cubicBezTo>
                <a:close/>
                <a:moveTo>
                  <a:pt x="916399" y="2384651"/>
                </a:moveTo>
                <a:cubicBezTo>
                  <a:pt x="918774" y="2388833"/>
                  <a:pt x="917638" y="2395648"/>
                  <a:pt x="917638" y="2396578"/>
                </a:cubicBezTo>
                <a:cubicBezTo>
                  <a:pt x="916812" y="2396578"/>
                  <a:pt x="916812" y="2396578"/>
                  <a:pt x="916812" y="2396578"/>
                </a:cubicBezTo>
                <a:cubicBezTo>
                  <a:pt x="917535" y="2393945"/>
                  <a:pt x="915470" y="2391002"/>
                  <a:pt x="915160" y="2387903"/>
                </a:cubicBezTo>
                <a:cubicBezTo>
                  <a:pt x="915057" y="2386974"/>
                  <a:pt x="915160" y="2385890"/>
                  <a:pt x="915573" y="2384805"/>
                </a:cubicBezTo>
                <a:cubicBezTo>
                  <a:pt x="915573" y="2384805"/>
                  <a:pt x="915573" y="2384805"/>
                  <a:pt x="915573" y="2385580"/>
                </a:cubicBezTo>
                <a:cubicBezTo>
                  <a:pt x="915573" y="2385580"/>
                  <a:pt x="915573" y="2384805"/>
                  <a:pt x="916399" y="2384651"/>
                </a:cubicBezTo>
                <a:close/>
                <a:moveTo>
                  <a:pt x="909584" y="2384341"/>
                </a:moveTo>
                <a:cubicBezTo>
                  <a:pt x="909584" y="2385115"/>
                  <a:pt x="910410" y="2385115"/>
                  <a:pt x="909584" y="2386045"/>
                </a:cubicBezTo>
                <a:cubicBezTo>
                  <a:pt x="912062" y="2387594"/>
                  <a:pt x="914334" y="2395184"/>
                  <a:pt x="913301" y="2398592"/>
                </a:cubicBezTo>
                <a:cubicBezTo>
                  <a:pt x="905660" y="2393015"/>
                  <a:pt x="910307" y="2387748"/>
                  <a:pt x="906074" y="2384496"/>
                </a:cubicBezTo>
                <a:cubicBezTo>
                  <a:pt x="907829" y="2383566"/>
                  <a:pt x="907829" y="2383566"/>
                  <a:pt x="909584" y="2384341"/>
                </a:cubicBezTo>
                <a:close/>
                <a:moveTo>
                  <a:pt x="5297505" y="2384141"/>
                </a:moveTo>
                <a:cubicBezTo>
                  <a:pt x="5299853" y="2384141"/>
                  <a:pt x="5301987" y="2384568"/>
                  <a:pt x="5303908" y="2385422"/>
                </a:cubicBezTo>
                <a:cubicBezTo>
                  <a:pt x="5307536" y="2388836"/>
                  <a:pt x="5307536" y="2392393"/>
                  <a:pt x="5305615" y="2394100"/>
                </a:cubicBezTo>
                <a:cubicBezTo>
                  <a:pt x="5293023" y="2409750"/>
                  <a:pt x="5276590" y="2402779"/>
                  <a:pt x="5272961" y="2404628"/>
                </a:cubicBezTo>
                <a:cubicBezTo>
                  <a:pt x="5267413" y="2399364"/>
                  <a:pt x="5267626" y="2399364"/>
                  <a:pt x="5276590" y="2388836"/>
                </a:cubicBezTo>
                <a:cubicBezTo>
                  <a:pt x="5278511" y="2387129"/>
                  <a:pt x="5280645" y="2385849"/>
                  <a:pt x="5283206" y="2385137"/>
                </a:cubicBezTo>
                <a:cubicBezTo>
                  <a:pt x="5285767" y="2384568"/>
                  <a:pt x="5288328" y="2384568"/>
                  <a:pt x="5291102" y="2385422"/>
                </a:cubicBezTo>
                <a:cubicBezTo>
                  <a:pt x="5293023" y="2384568"/>
                  <a:pt x="5295158" y="2384141"/>
                  <a:pt x="5297505" y="2384141"/>
                </a:cubicBezTo>
                <a:close/>
                <a:moveTo>
                  <a:pt x="5250553" y="2383999"/>
                </a:moveTo>
                <a:cubicBezTo>
                  <a:pt x="5256955" y="2384284"/>
                  <a:pt x="5263145" y="2387271"/>
                  <a:pt x="5265919" y="2392251"/>
                </a:cubicBezTo>
                <a:cubicBezTo>
                  <a:pt x="5261437" y="2412453"/>
                  <a:pt x="5237107" y="2403206"/>
                  <a:pt x="5234760" y="2392678"/>
                </a:cubicBezTo>
                <a:cubicBezTo>
                  <a:pt x="5237961" y="2386560"/>
                  <a:pt x="5244363" y="2383857"/>
                  <a:pt x="5250553" y="2383999"/>
                </a:cubicBezTo>
                <a:close/>
                <a:moveTo>
                  <a:pt x="736992" y="2382289"/>
                </a:moveTo>
                <a:cubicBezTo>
                  <a:pt x="738592" y="2381669"/>
                  <a:pt x="740761" y="2381398"/>
                  <a:pt x="743032" y="2382792"/>
                </a:cubicBezTo>
                <a:cubicBezTo>
                  <a:pt x="742206" y="2383721"/>
                  <a:pt x="747679" y="2387903"/>
                  <a:pt x="746130" y="2391621"/>
                </a:cubicBezTo>
                <a:cubicBezTo>
                  <a:pt x="745407" y="2393325"/>
                  <a:pt x="744581" y="2394254"/>
                  <a:pt x="743755" y="2396113"/>
                </a:cubicBezTo>
                <a:cubicBezTo>
                  <a:pt x="741173" y="2396423"/>
                  <a:pt x="738798" y="2399366"/>
                  <a:pt x="733429" y="2396733"/>
                </a:cubicBezTo>
                <a:cubicBezTo>
                  <a:pt x="727957" y="2393325"/>
                  <a:pt x="731984" y="2387594"/>
                  <a:pt x="731158" y="2387748"/>
                </a:cubicBezTo>
                <a:cubicBezTo>
                  <a:pt x="730228" y="2386974"/>
                  <a:pt x="730228" y="2386974"/>
                  <a:pt x="729299" y="2387129"/>
                </a:cubicBezTo>
                <a:cubicBezTo>
                  <a:pt x="729299" y="2386355"/>
                  <a:pt x="728266" y="2384805"/>
                  <a:pt x="727440" y="2384031"/>
                </a:cubicBezTo>
                <a:cubicBezTo>
                  <a:pt x="728266" y="2383876"/>
                  <a:pt x="729092" y="2383876"/>
                  <a:pt x="729092" y="2382947"/>
                </a:cubicBezTo>
                <a:cubicBezTo>
                  <a:pt x="730951" y="2384341"/>
                  <a:pt x="730951" y="2385270"/>
                  <a:pt x="731880" y="2385890"/>
                </a:cubicBezTo>
                <a:cubicBezTo>
                  <a:pt x="731777" y="2385115"/>
                  <a:pt x="732706" y="2385890"/>
                  <a:pt x="732706" y="2385890"/>
                </a:cubicBezTo>
                <a:cubicBezTo>
                  <a:pt x="732706" y="2385890"/>
                  <a:pt x="732706" y="2385890"/>
                  <a:pt x="734358" y="2383876"/>
                </a:cubicBezTo>
                <a:cubicBezTo>
                  <a:pt x="734358" y="2383876"/>
                  <a:pt x="735391" y="2382908"/>
                  <a:pt x="736992" y="2382289"/>
                </a:cubicBezTo>
                <a:close/>
                <a:moveTo>
                  <a:pt x="1191577" y="2382017"/>
                </a:moveTo>
                <a:cubicBezTo>
                  <a:pt x="1192816" y="2381862"/>
                  <a:pt x="1193952" y="2382327"/>
                  <a:pt x="1194985" y="2383566"/>
                </a:cubicBezTo>
                <a:cubicBezTo>
                  <a:pt x="1197566" y="2387284"/>
                  <a:pt x="1194262" y="2390227"/>
                  <a:pt x="1190131" y="2393170"/>
                </a:cubicBezTo>
                <a:cubicBezTo>
                  <a:pt x="1188686" y="2392086"/>
                  <a:pt x="1186931" y="2391931"/>
                  <a:pt x="1185485" y="2390847"/>
                </a:cubicBezTo>
                <a:cubicBezTo>
                  <a:pt x="1184762" y="2388213"/>
                  <a:pt x="1188169" y="2382637"/>
                  <a:pt x="1191577" y="2382017"/>
                </a:cubicBezTo>
                <a:close/>
                <a:moveTo>
                  <a:pt x="850109" y="2380314"/>
                </a:moveTo>
                <a:cubicBezTo>
                  <a:pt x="857646" y="2382327"/>
                  <a:pt x="859402" y="2397198"/>
                  <a:pt x="852896" y="2397507"/>
                </a:cubicBezTo>
                <a:cubicBezTo>
                  <a:pt x="851967" y="2397507"/>
                  <a:pt x="850832" y="2397352"/>
                  <a:pt x="849490" y="2396733"/>
                </a:cubicBezTo>
                <a:cubicBezTo>
                  <a:pt x="848353" y="2395338"/>
                  <a:pt x="847321" y="2393790"/>
                  <a:pt x="846495" y="2392395"/>
                </a:cubicBezTo>
                <a:lnTo>
                  <a:pt x="844843" y="2388523"/>
                </a:lnTo>
                <a:lnTo>
                  <a:pt x="838647" y="2388833"/>
                </a:lnTo>
                <a:cubicBezTo>
                  <a:pt x="836375" y="2388833"/>
                  <a:pt x="834827" y="2388213"/>
                  <a:pt x="833691" y="2385425"/>
                </a:cubicBezTo>
                <a:cubicBezTo>
                  <a:pt x="834827" y="2384031"/>
                  <a:pt x="836892" y="2383412"/>
                  <a:pt x="839370" y="2383257"/>
                </a:cubicBezTo>
                <a:lnTo>
                  <a:pt x="845978" y="2383101"/>
                </a:lnTo>
                <a:lnTo>
                  <a:pt x="847424" y="2380778"/>
                </a:lnTo>
                <a:cubicBezTo>
                  <a:pt x="848250" y="2381708"/>
                  <a:pt x="849179" y="2380933"/>
                  <a:pt x="850109" y="2380314"/>
                </a:cubicBezTo>
                <a:close/>
                <a:moveTo>
                  <a:pt x="5312231" y="2378877"/>
                </a:moveTo>
                <a:cubicBezTo>
                  <a:pt x="5318847" y="2381865"/>
                  <a:pt x="5319487" y="2393105"/>
                  <a:pt x="5318847" y="2399364"/>
                </a:cubicBezTo>
                <a:cubicBezTo>
                  <a:pt x="5315645" y="2400076"/>
                  <a:pt x="5315645" y="2402779"/>
                  <a:pt x="5312444" y="2403490"/>
                </a:cubicBezTo>
                <a:cubicBezTo>
                  <a:pt x="5309670" y="2393531"/>
                  <a:pt x="5306042" y="2382861"/>
                  <a:pt x="5312231" y="2378877"/>
                </a:cubicBezTo>
                <a:close/>
                <a:moveTo>
                  <a:pt x="5274029" y="2378024"/>
                </a:moveTo>
                <a:cubicBezTo>
                  <a:pt x="5276376" y="2387129"/>
                  <a:pt x="5273816" y="2388978"/>
                  <a:pt x="5270828" y="2387698"/>
                </a:cubicBezTo>
                <a:cubicBezTo>
                  <a:pt x="5265705" y="2385706"/>
                  <a:pt x="5259730" y="2375463"/>
                  <a:pt x="5274029" y="2378024"/>
                </a:cubicBezTo>
                <a:close/>
                <a:moveTo>
                  <a:pt x="1184039" y="2376751"/>
                </a:moveTo>
                <a:cubicBezTo>
                  <a:pt x="1184556" y="2378610"/>
                  <a:pt x="1185795" y="2379849"/>
                  <a:pt x="1186931" y="2382327"/>
                </a:cubicBezTo>
                <a:cubicBezTo>
                  <a:pt x="1186001" y="2383101"/>
                  <a:pt x="1184142" y="2383876"/>
                  <a:pt x="1181974" y="2383876"/>
                </a:cubicBezTo>
                <a:lnTo>
                  <a:pt x="1177121" y="2382637"/>
                </a:lnTo>
                <a:lnTo>
                  <a:pt x="1178980" y="2389298"/>
                </a:lnTo>
                <a:cubicBezTo>
                  <a:pt x="1179186" y="2392086"/>
                  <a:pt x="1178670" y="2394874"/>
                  <a:pt x="1177637" y="2397352"/>
                </a:cubicBezTo>
                <a:cubicBezTo>
                  <a:pt x="1174333" y="2405716"/>
                  <a:pt x="1165040" y="2411138"/>
                  <a:pt x="1154301" y="2410209"/>
                </a:cubicBezTo>
                <a:cubicBezTo>
                  <a:pt x="1153889" y="2409124"/>
                  <a:pt x="1153475" y="2407885"/>
                  <a:pt x="1152340" y="2408195"/>
                </a:cubicBezTo>
                <a:cubicBezTo>
                  <a:pt x="1151101" y="2405562"/>
                  <a:pt x="1150584" y="2402619"/>
                  <a:pt x="1150791" y="2399830"/>
                </a:cubicBezTo>
                <a:cubicBezTo>
                  <a:pt x="1151204" y="2391466"/>
                  <a:pt x="1157296" y="2383566"/>
                  <a:pt x="1165143" y="2380623"/>
                </a:cubicBezTo>
                <a:cubicBezTo>
                  <a:pt x="1166899" y="2380004"/>
                  <a:pt x="1168757" y="2379539"/>
                  <a:pt x="1170616" y="2379539"/>
                </a:cubicBezTo>
                <a:lnTo>
                  <a:pt x="1175985" y="2380158"/>
                </a:lnTo>
                <a:lnTo>
                  <a:pt x="1176089" y="2378920"/>
                </a:lnTo>
                <a:cubicBezTo>
                  <a:pt x="1177121" y="2376286"/>
                  <a:pt x="1179806" y="2375822"/>
                  <a:pt x="1184039" y="2376751"/>
                </a:cubicBezTo>
                <a:close/>
                <a:moveTo>
                  <a:pt x="5039694" y="2376744"/>
                </a:moveTo>
                <a:cubicBezTo>
                  <a:pt x="5041615" y="2376459"/>
                  <a:pt x="5043962" y="2377313"/>
                  <a:pt x="5046310" y="2379162"/>
                </a:cubicBezTo>
                <a:cubicBezTo>
                  <a:pt x="5045883" y="2381723"/>
                  <a:pt x="5045670" y="2384284"/>
                  <a:pt x="5043749" y="2385991"/>
                </a:cubicBezTo>
                <a:cubicBezTo>
                  <a:pt x="5040761" y="2384284"/>
                  <a:pt x="5038200" y="2383857"/>
                  <a:pt x="5036492" y="2381865"/>
                </a:cubicBezTo>
                <a:cubicBezTo>
                  <a:pt x="5036492" y="2378735"/>
                  <a:pt x="5037773" y="2377028"/>
                  <a:pt x="5039694" y="2376744"/>
                </a:cubicBezTo>
                <a:close/>
                <a:moveTo>
                  <a:pt x="5451381" y="2376175"/>
                </a:moveTo>
                <a:cubicBezTo>
                  <a:pt x="5454368" y="2376032"/>
                  <a:pt x="5457143" y="2377028"/>
                  <a:pt x="5459064" y="2379304"/>
                </a:cubicBezTo>
                <a:cubicBezTo>
                  <a:pt x="5451594" y="2383572"/>
                  <a:pt x="5444124" y="2386560"/>
                  <a:pt x="5435588" y="2395665"/>
                </a:cubicBezTo>
                <a:cubicBezTo>
                  <a:pt x="5433880" y="2393105"/>
                  <a:pt x="5430892" y="2396519"/>
                  <a:pt x="5429185" y="2392678"/>
                </a:cubicBezTo>
                <a:cubicBezTo>
                  <a:pt x="5430465" y="2385422"/>
                  <a:pt x="5442204" y="2376317"/>
                  <a:pt x="5451381" y="2376175"/>
                </a:cubicBezTo>
                <a:close/>
                <a:moveTo>
                  <a:pt x="770098" y="2374311"/>
                </a:moveTo>
                <a:cubicBezTo>
                  <a:pt x="773105" y="2374737"/>
                  <a:pt x="775661" y="2375589"/>
                  <a:pt x="776590" y="2376596"/>
                </a:cubicBezTo>
                <a:cubicBezTo>
                  <a:pt x="774009" y="2378920"/>
                  <a:pt x="770498" y="2377680"/>
                  <a:pt x="766987" y="2379849"/>
                </a:cubicBezTo>
                <a:cubicBezTo>
                  <a:pt x="764406" y="2377835"/>
                  <a:pt x="760069" y="2380004"/>
                  <a:pt x="756662" y="2377061"/>
                </a:cubicBezTo>
                <a:cubicBezTo>
                  <a:pt x="757488" y="2375977"/>
                  <a:pt x="759037" y="2375202"/>
                  <a:pt x="760896" y="2374582"/>
                </a:cubicBezTo>
                <a:cubicBezTo>
                  <a:pt x="763632" y="2373885"/>
                  <a:pt x="767091" y="2373885"/>
                  <a:pt x="770098" y="2374311"/>
                </a:cubicBezTo>
                <a:close/>
                <a:moveTo>
                  <a:pt x="5729253" y="2372333"/>
                </a:moveTo>
                <a:lnTo>
                  <a:pt x="5728826" y="2373045"/>
                </a:lnTo>
                <a:lnTo>
                  <a:pt x="5727972" y="2373756"/>
                </a:lnTo>
                <a:lnTo>
                  <a:pt x="5732028" y="2375463"/>
                </a:lnTo>
                <a:close/>
                <a:moveTo>
                  <a:pt x="5325676" y="2371622"/>
                </a:moveTo>
                <a:cubicBezTo>
                  <a:pt x="5325676" y="2371622"/>
                  <a:pt x="5325676" y="2371622"/>
                  <a:pt x="5326957" y="2371764"/>
                </a:cubicBezTo>
                <a:cubicBezTo>
                  <a:pt x="5325676" y="2376459"/>
                  <a:pt x="5326743" y="2382719"/>
                  <a:pt x="5324183" y="2385991"/>
                </a:cubicBezTo>
                <a:cubicBezTo>
                  <a:pt x="5323756" y="2386560"/>
                  <a:pt x="5323115" y="2387129"/>
                  <a:pt x="5322262" y="2387129"/>
                </a:cubicBezTo>
                <a:cubicBezTo>
                  <a:pt x="5321621" y="2387271"/>
                  <a:pt x="5320768" y="2386845"/>
                  <a:pt x="5319700" y="2385422"/>
                </a:cubicBezTo>
                <a:cubicBezTo>
                  <a:pt x="5317353" y="2383999"/>
                  <a:pt x="5317353" y="2382719"/>
                  <a:pt x="5319914" y="2379447"/>
                </a:cubicBezTo>
                <a:cubicBezTo>
                  <a:pt x="5322262" y="2377313"/>
                  <a:pt x="5323329" y="2375036"/>
                  <a:pt x="5324609" y="2375178"/>
                </a:cubicBezTo>
                <a:cubicBezTo>
                  <a:pt x="5324609" y="2373898"/>
                  <a:pt x="5325676" y="2372902"/>
                  <a:pt x="5325676" y="2371622"/>
                </a:cubicBezTo>
                <a:close/>
                <a:moveTo>
                  <a:pt x="742516" y="2369935"/>
                </a:moveTo>
                <a:cubicBezTo>
                  <a:pt x="751706" y="2369006"/>
                  <a:pt x="754184" y="2373498"/>
                  <a:pt x="755423" y="2373343"/>
                </a:cubicBezTo>
                <a:cubicBezTo>
                  <a:pt x="756352" y="2376906"/>
                  <a:pt x="753977" y="2377370"/>
                  <a:pt x="750673" y="2379074"/>
                </a:cubicBezTo>
                <a:cubicBezTo>
                  <a:pt x="750260" y="2377990"/>
                  <a:pt x="746749" y="2378455"/>
                  <a:pt x="745510" y="2378765"/>
                </a:cubicBezTo>
                <a:cubicBezTo>
                  <a:pt x="744891" y="2376286"/>
                  <a:pt x="740554" y="2376596"/>
                  <a:pt x="739625" y="2373034"/>
                </a:cubicBezTo>
                <a:cubicBezTo>
                  <a:pt x="740451" y="2371639"/>
                  <a:pt x="740863" y="2370865"/>
                  <a:pt x="742516" y="2369935"/>
                </a:cubicBezTo>
                <a:close/>
                <a:moveTo>
                  <a:pt x="1139020" y="2369316"/>
                </a:moveTo>
                <a:cubicBezTo>
                  <a:pt x="1141704" y="2370245"/>
                  <a:pt x="1141911" y="2372104"/>
                  <a:pt x="1142221" y="2375667"/>
                </a:cubicBezTo>
                <a:cubicBezTo>
                  <a:pt x="1140259" y="2375047"/>
                  <a:pt x="1139226" y="2374273"/>
                  <a:pt x="1138813" y="2373343"/>
                </a:cubicBezTo>
                <a:cubicBezTo>
                  <a:pt x="1138400" y="2372259"/>
                  <a:pt x="1138503" y="2371020"/>
                  <a:pt x="1139020" y="2369316"/>
                </a:cubicBezTo>
                <a:close/>
                <a:moveTo>
                  <a:pt x="1207478" y="2368387"/>
                </a:moveTo>
                <a:lnTo>
                  <a:pt x="1207272" y="2370400"/>
                </a:lnTo>
                <a:lnTo>
                  <a:pt x="1207892" y="2370090"/>
                </a:lnTo>
                <a:cubicBezTo>
                  <a:pt x="1209337" y="2369626"/>
                  <a:pt x="1210886" y="2369626"/>
                  <a:pt x="1212125" y="2370710"/>
                </a:cubicBezTo>
                <a:cubicBezTo>
                  <a:pt x="1211196" y="2371020"/>
                  <a:pt x="1209957" y="2371484"/>
                  <a:pt x="1208614" y="2371949"/>
                </a:cubicBezTo>
                <a:lnTo>
                  <a:pt x="1207065" y="2372259"/>
                </a:lnTo>
                <a:lnTo>
                  <a:pt x="1206756" y="2374582"/>
                </a:lnTo>
                <a:cubicBezTo>
                  <a:pt x="1205826" y="2376442"/>
                  <a:pt x="1204071" y="2377990"/>
                  <a:pt x="1201490" y="2379074"/>
                </a:cubicBezTo>
                <a:cubicBezTo>
                  <a:pt x="1197463" y="2377835"/>
                  <a:pt x="1198186" y="2372259"/>
                  <a:pt x="1198186" y="2369161"/>
                </a:cubicBezTo>
                <a:cubicBezTo>
                  <a:pt x="1201799" y="2368232"/>
                  <a:pt x="1205310" y="2367147"/>
                  <a:pt x="1207478" y="2368387"/>
                </a:cubicBezTo>
                <a:close/>
                <a:moveTo>
                  <a:pt x="5555956" y="2368350"/>
                </a:moveTo>
                <a:lnTo>
                  <a:pt x="5555529" y="2373329"/>
                </a:lnTo>
                <a:lnTo>
                  <a:pt x="5558090" y="2375890"/>
                </a:lnTo>
                <a:lnTo>
                  <a:pt x="5557664" y="2369488"/>
                </a:lnTo>
                <a:close/>
                <a:moveTo>
                  <a:pt x="1167828" y="2368077"/>
                </a:moveTo>
                <a:cubicBezTo>
                  <a:pt x="1168757" y="2366373"/>
                  <a:pt x="1170409" y="2367922"/>
                  <a:pt x="1171132" y="2368696"/>
                </a:cubicBezTo>
                <a:cubicBezTo>
                  <a:pt x="1168654" y="2368851"/>
                  <a:pt x="1167828" y="2369626"/>
                  <a:pt x="1167828" y="2368851"/>
                </a:cubicBezTo>
                <a:cubicBezTo>
                  <a:pt x="1167415" y="2368851"/>
                  <a:pt x="1167208" y="2368696"/>
                  <a:pt x="1167208" y="2368387"/>
                </a:cubicBezTo>
                <a:cubicBezTo>
                  <a:pt x="1167208" y="2368232"/>
                  <a:pt x="1167415" y="2368077"/>
                  <a:pt x="1167828" y="2368077"/>
                </a:cubicBezTo>
                <a:close/>
                <a:moveTo>
                  <a:pt x="1015525" y="2367767"/>
                </a:moveTo>
                <a:cubicBezTo>
                  <a:pt x="1021617" y="2368077"/>
                  <a:pt x="1027916" y="2377216"/>
                  <a:pt x="1027503" y="2382172"/>
                </a:cubicBezTo>
                <a:lnTo>
                  <a:pt x="1025025" y="2383876"/>
                </a:lnTo>
                <a:lnTo>
                  <a:pt x="1025541" y="2384651"/>
                </a:lnTo>
                <a:lnTo>
                  <a:pt x="1026677" y="2388368"/>
                </a:lnTo>
                <a:lnTo>
                  <a:pt x="1027090" y="2388213"/>
                </a:lnTo>
                <a:cubicBezTo>
                  <a:pt x="1027813" y="2388059"/>
                  <a:pt x="1028742" y="2388213"/>
                  <a:pt x="1029568" y="2388988"/>
                </a:cubicBezTo>
                <a:cubicBezTo>
                  <a:pt x="1032046" y="2390691"/>
                  <a:pt x="1031840" y="2393170"/>
                  <a:pt x="1030910" y="2395804"/>
                </a:cubicBezTo>
                <a:cubicBezTo>
                  <a:pt x="1031633" y="2397352"/>
                  <a:pt x="1033389" y="2398282"/>
                  <a:pt x="1032459" y="2399985"/>
                </a:cubicBezTo>
                <a:cubicBezTo>
                  <a:pt x="1030910" y="2397507"/>
                  <a:pt x="1029981" y="2396578"/>
                  <a:pt x="1029259" y="2395029"/>
                </a:cubicBezTo>
                <a:cubicBezTo>
                  <a:pt x="1028329" y="2395029"/>
                  <a:pt x="1027503" y="2395029"/>
                  <a:pt x="1026677" y="2394254"/>
                </a:cubicBezTo>
                <a:lnTo>
                  <a:pt x="1025954" y="2392550"/>
                </a:lnTo>
                <a:lnTo>
                  <a:pt x="1024922" y="2392860"/>
                </a:lnTo>
                <a:cubicBezTo>
                  <a:pt x="1024199" y="2393170"/>
                  <a:pt x="1023372" y="2393634"/>
                  <a:pt x="1022547" y="2394099"/>
                </a:cubicBezTo>
                <a:cubicBezTo>
                  <a:pt x="1022133" y="2391621"/>
                  <a:pt x="1021204" y="2389607"/>
                  <a:pt x="1020482" y="2388059"/>
                </a:cubicBezTo>
                <a:lnTo>
                  <a:pt x="1020069" y="2385270"/>
                </a:lnTo>
                <a:lnTo>
                  <a:pt x="1019759" y="2385270"/>
                </a:lnTo>
                <a:cubicBezTo>
                  <a:pt x="1018003" y="2385115"/>
                  <a:pt x="1016455" y="2384186"/>
                  <a:pt x="1015112" y="2382792"/>
                </a:cubicBezTo>
                <a:lnTo>
                  <a:pt x="1014286" y="2381398"/>
                </a:lnTo>
                <a:cubicBezTo>
                  <a:pt x="1011808" y="2383257"/>
                  <a:pt x="1007368" y="2383257"/>
                  <a:pt x="1004167" y="2379694"/>
                </a:cubicBezTo>
                <a:cubicBezTo>
                  <a:pt x="1004270" y="2376132"/>
                  <a:pt x="1005613" y="2373963"/>
                  <a:pt x="1006232" y="2372259"/>
                </a:cubicBezTo>
                <a:lnTo>
                  <a:pt x="1012221" y="2372414"/>
                </a:lnTo>
                <a:close/>
                <a:moveTo>
                  <a:pt x="1157916" y="2367302"/>
                </a:moveTo>
                <a:cubicBezTo>
                  <a:pt x="1160084" y="2368696"/>
                  <a:pt x="1160910" y="2365909"/>
                  <a:pt x="1163388" y="2368077"/>
                </a:cubicBezTo>
                <a:cubicBezTo>
                  <a:pt x="1165350" y="2374582"/>
                  <a:pt x="1154818" y="2387129"/>
                  <a:pt x="1146454" y="2382637"/>
                </a:cubicBezTo>
                <a:cubicBezTo>
                  <a:pt x="1150481" y="2378300"/>
                  <a:pt x="1154818" y="2374892"/>
                  <a:pt x="1157916" y="2367302"/>
                </a:cubicBezTo>
                <a:close/>
                <a:moveTo>
                  <a:pt x="6230790" y="2366785"/>
                </a:moveTo>
                <a:cubicBezTo>
                  <a:pt x="6231643" y="2366927"/>
                  <a:pt x="6232497" y="2367354"/>
                  <a:pt x="6233351" y="2368065"/>
                </a:cubicBezTo>
                <a:cubicBezTo>
                  <a:pt x="6233351" y="2369203"/>
                  <a:pt x="6234418" y="2369488"/>
                  <a:pt x="6234204" y="2370626"/>
                </a:cubicBezTo>
                <a:cubicBezTo>
                  <a:pt x="6234204" y="2370626"/>
                  <a:pt x="6234845" y="2371906"/>
                  <a:pt x="6234845" y="2373614"/>
                </a:cubicBezTo>
                <a:lnTo>
                  <a:pt x="6233138" y="2378024"/>
                </a:lnTo>
                <a:lnTo>
                  <a:pt x="6240394" y="2382150"/>
                </a:lnTo>
                <a:cubicBezTo>
                  <a:pt x="6242954" y="2383999"/>
                  <a:pt x="6245302" y="2386133"/>
                  <a:pt x="6247650" y="2388978"/>
                </a:cubicBezTo>
                <a:cubicBezTo>
                  <a:pt x="6237406" y="2395381"/>
                  <a:pt x="6213289" y="2382292"/>
                  <a:pt x="6217771" y="2369346"/>
                </a:cubicBezTo>
                <a:lnTo>
                  <a:pt x="6223107" y="2372902"/>
                </a:lnTo>
                <a:lnTo>
                  <a:pt x="6223747" y="2370057"/>
                </a:lnTo>
                <a:cubicBezTo>
                  <a:pt x="6225668" y="2368634"/>
                  <a:pt x="6228229" y="2366500"/>
                  <a:pt x="6230790" y="2366785"/>
                </a:cubicBezTo>
                <a:close/>
                <a:moveTo>
                  <a:pt x="5117592" y="2366358"/>
                </a:moveTo>
                <a:cubicBezTo>
                  <a:pt x="5119727" y="2366785"/>
                  <a:pt x="5122287" y="2369488"/>
                  <a:pt x="5124848" y="2375890"/>
                </a:cubicBezTo>
                <a:cubicBezTo>
                  <a:pt x="5118659" y="2381723"/>
                  <a:pt x="5114818" y="2382719"/>
                  <a:pt x="5112684" y="2381439"/>
                </a:cubicBezTo>
                <a:cubicBezTo>
                  <a:pt x="5108842" y="2378877"/>
                  <a:pt x="5110976" y="2368492"/>
                  <a:pt x="5115458" y="2366642"/>
                </a:cubicBezTo>
                <a:cubicBezTo>
                  <a:pt x="5116098" y="2366358"/>
                  <a:pt x="5116739" y="2366216"/>
                  <a:pt x="5117592" y="2366358"/>
                </a:cubicBezTo>
                <a:close/>
                <a:moveTo>
                  <a:pt x="5343604" y="2366073"/>
                </a:moveTo>
                <a:cubicBezTo>
                  <a:pt x="5345525" y="2365646"/>
                  <a:pt x="5347658" y="2366500"/>
                  <a:pt x="5349793" y="2368350"/>
                </a:cubicBezTo>
                <a:cubicBezTo>
                  <a:pt x="5349153" y="2370911"/>
                  <a:pt x="5348299" y="2373472"/>
                  <a:pt x="5346378" y="2375321"/>
                </a:cubicBezTo>
                <a:cubicBezTo>
                  <a:pt x="5343604" y="2373756"/>
                  <a:pt x="5341042" y="2373187"/>
                  <a:pt x="5339549" y="2371338"/>
                </a:cubicBezTo>
                <a:cubicBezTo>
                  <a:pt x="5340189" y="2368208"/>
                  <a:pt x="5341683" y="2366500"/>
                  <a:pt x="5343604" y="2366073"/>
                </a:cubicBezTo>
                <a:close/>
                <a:moveTo>
                  <a:pt x="5077469" y="2365646"/>
                </a:moveTo>
                <a:cubicBezTo>
                  <a:pt x="5080457" y="2365504"/>
                  <a:pt x="5083658" y="2366216"/>
                  <a:pt x="5086646" y="2367923"/>
                </a:cubicBezTo>
                <a:cubicBezTo>
                  <a:pt x="5100518" y="2378451"/>
                  <a:pt x="5092195" y="2394954"/>
                  <a:pt x="5079176" y="2398226"/>
                </a:cubicBezTo>
                <a:cubicBezTo>
                  <a:pt x="5071280" y="2400076"/>
                  <a:pt x="5061889" y="2397230"/>
                  <a:pt x="5054420" y="2385564"/>
                </a:cubicBezTo>
                <a:cubicBezTo>
                  <a:pt x="5058688" y="2374040"/>
                  <a:pt x="5068079" y="2366073"/>
                  <a:pt x="5077469" y="2365646"/>
                </a:cubicBezTo>
                <a:close/>
                <a:moveTo>
                  <a:pt x="5475924" y="2365078"/>
                </a:moveTo>
                <a:cubicBezTo>
                  <a:pt x="5481046" y="2373756"/>
                  <a:pt x="5472296" y="2381012"/>
                  <a:pt x="5467174" y="2378024"/>
                </a:cubicBezTo>
                <a:cubicBezTo>
                  <a:pt x="5465466" y="2377028"/>
                  <a:pt x="5464186" y="2374894"/>
                  <a:pt x="5463759" y="2371195"/>
                </a:cubicBezTo>
                <a:cubicBezTo>
                  <a:pt x="5466747" y="2365789"/>
                  <a:pt x="5472296" y="2367354"/>
                  <a:pt x="5475924" y="2365078"/>
                </a:cubicBezTo>
                <a:close/>
                <a:moveTo>
                  <a:pt x="5694679" y="2364509"/>
                </a:moveTo>
                <a:cubicBezTo>
                  <a:pt x="5698094" y="2364082"/>
                  <a:pt x="5703643" y="2367354"/>
                  <a:pt x="5704070" y="2369346"/>
                </a:cubicBezTo>
                <a:cubicBezTo>
                  <a:pt x="5703216" y="2371622"/>
                  <a:pt x="5690838" y="2372191"/>
                  <a:pt x="5692118" y="2366500"/>
                </a:cubicBezTo>
                <a:cubicBezTo>
                  <a:pt x="5692545" y="2365362"/>
                  <a:pt x="5693399" y="2364793"/>
                  <a:pt x="5694679" y="2364509"/>
                </a:cubicBezTo>
                <a:close/>
                <a:moveTo>
                  <a:pt x="958425" y="2363585"/>
                </a:moveTo>
                <a:cubicBezTo>
                  <a:pt x="961316" y="2365599"/>
                  <a:pt x="961109" y="2371484"/>
                  <a:pt x="961419" y="2376751"/>
                </a:cubicBezTo>
                <a:cubicBezTo>
                  <a:pt x="958941" y="2376442"/>
                  <a:pt x="957701" y="2376442"/>
                  <a:pt x="955843" y="2376751"/>
                </a:cubicBezTo>
                <a:lnTo>
                  <a:pt x="955430" y="2371484"/>
                </a:lnTo>
                <a:lnTo>
                  <a:pt x="952436" y="2371639"/>
                </a:lnTo>
                <a:cubicBezTo>
                  <a:pt x="951609" y="2371484"/>
                  <a:pt x="950990" y="2370865"/>
                  <a:pt x="950474" y="2370090"/>
                </a:cubicBezTo>
                <a:cubicBezTo>
                  <a:pt x="950164" y="2369006"/>
                  <a:pt x="950990" y="2367612"/>
                  <a:pt x="953055" y="2365599"/>
                </a:cubicBezTo>
                <a:lnTo>
                  <a:pt x="955327" y="2367302"/>
                </a:lnTo>
                <a:lnTo>
                  <a:pt x="955636" y="2365599"/>
                </a:lnTo>
                <a:cubicBezTo>
                  <a:pt x="956153" y="2364824"/>
                  <a:pt x="956979" y="2364204"/>
                  <a:pt x="958425" y="2363585"/>
                </a:cubicBezTo>
                <a:close/>
                <a:moveTo>
                  <a:pt x="6222040" y="2363370"/>
                </a:moveTo>
                <a:cubicBezTo>
                  <a:pt x="6222893" y="2363228"/>
                  <a:pt x="6223747" y="2363370"/>
                  <a:pt x="6224174" y="2364082"/>
                </a:cubicBezTo>
                <a:cubicBezTo>
                  <a:pt x="6225241" y="2364936"/>
                  <a:pt x="6225241" y="2365504"/>
                  <a:pt x="6224814" y="2366216"/>
                </a:cubicBezTo>
                <a:cubicBezTo>
                  <a:pt x="6224387" y="2366927"/>
                  <a:pt x="6223533" y="2367638"/>
                  <a:pt x="6222893" y="2368777"/>
                </a:cubicBezTo>
                <a:lnTo>
                  <a:pt x="6219692" y="2364509"/>
                </a:lnTo>
                <a:cubicBezTo>
                  <a:pt x="6220332" y="2364082"/>
                  <a:pt x="6221186" y="2363513"/>
                  <a:pt x="6222040" y="2363370"/>
                </a:cubicBezTo>
                <a:close/>
                <a:moveTo>
                  <a:pt x="1057628" y="2362849"/>
                </a:moveTo>
                <a:cubicBezTo>
                  <a:pt x="1060984" y="2363817"/>
                  <a:pt x="1064469" y="2365986"/>
                  <a:pt x="1067773" y="2369781"/>
                </a:cubicBezTo>
                <a:cubicBezTo>
                  <a:pt x="1065604" y="2378300"/>
                  <a:pt x="1059409" y="2384651"/>
                  <a:pt x="1052491" y="2385890"/>
                </a:cubicBezTo>
                <a:lnTo>
                  <a:pt x="1046708" y="2385115"/>
                </a:lnTo>
                <a:lnTo>
                  <a:pt x="1048670" y="2387594"/>
                </a:lnTo>
                <a:cubicBezTo>
                  <a:pt x="1049187" y="2389917"/>
                  <a:pt x="1048670" y="2392550"/>
                  <a:pt x="1047431" y="2394254"/>
                </a:cubicBezTo>
                <a:cubicBezTo>
                  <a:pt x="1046605" y="2395338"/>
                  <a:pt x="1045366" y="2396113"/>
                  <a:pt x="1043817" y="2396268"/>
                </a:cubicBezTo>
                <a:lnTo>
                  <a:pt x="1042682" y="2395184"/>
                </a:lnTo>
                <a:lnTo>
                  <a:pt x="1042475" y="2395958"/>
                </a:lnTo>
                <a:cubicBezTo>
                  <a:pt x="1042165" y="2397198"/>
                  <a:pt x="1041856" y="2398436"/>
                  <a:pt x="1042682" y="2397817"/>
                </a:cubicBezTo>
                <a:cubicBezTo>
                  <a:pt x="1041752" y="2401379"/>
                  <a:pt x="1042165" y="2402154"/>
                  <a:pt x="1039481" y="2402928"/>
                </a:cubicBezTo>
                <a:cubicBezTo>
                  <a:pt x="1036589" y="2396888"/>
                  <a:pt x="1035557" y="2388833"/>
                  <a:pt x="1035454" y="2386974"/>
                </a:cubicBezTo>
                <a:cubicBezTo>
                  <a:pt x="1035350" y="2386045"/>
                  <a:pt x="1035557" y="2385425"/>
                  <a:pt x="1035970" y="2385115"/>
                </a:cubicBezTo>
                <a:cubicBezTo>
                  <a:pt x="1036383" y="2384651"/>
                  <a:pt x="1037003" y="2384496"/>
                  <a:pt x="1038035" y="2384341"/>
                </a:cubicBezTo>
                <a:lnTo>
                  <a:pt x="1040410" y="2386974"/>
                </a:lnTo>
                <a:lnTo>
                  <a:pt x="1041236" y="2384805"/>
                </a:lnTo>
                <a:lnTo>
                  <a:pt x="1043404" y="2383101"/>
                </a:lnTo>
                <a:lnTo>
                  <a:pt x="1039790" y="2379539"/>
                </a:lnTo>
                <a:cubicBezTo>
                  <a:pt x="1038861" y="2377370"/>
                  <a:pt x="1038655" y="2375202"/>
                  <a:pt x="1039067" y="2373034"/>
                </a:cubicBezTo>
                <a:cubicBezTo>
                  <a:pt x="1039997" y="2368851"/>
                  <a:pt x="1043611" y="2364824"/>
                  <a:pt x="1048258" y="2363120"/>
                </a:cubicBezTo>
                <a:cubicBezTo>
                  <a:pt x="1051045" y="2362113"/>
                  <a:pt x="1054272" y="2361881"/>
                  <a:pt x="1057628" y="2362849"/>
                </a:cubicBezTo>
                <a:close/>
                <a:moveTo>
                  <a:pt x="938909" y="2362345"/>
                </a:moveTo>
                <a:cubicBezTo>
                  <a:pt x="940768" y="2361726"/>
                  <a:pt x="943246" y="2361881"/>
                  <a:pt x="946240" y="2363740"/>
                </a:cubicBezTo>
                <a:cubicBezTo>
                  <a:pt x="944278" y="2369006"/>
                  <a:pt x="946860" y="2372569"/>
                  <a:pt x="942936" y="2375977"/>
                </a:cubicBezTo>
                <a:cubicBezTo>
                  <a:pt x="938393" y="2375357"/>
                  <a:pt x="936121" y="2372414"/>
                  <a:pt x="935502" y="2369471"/>
                </a:cubicBezTo>
                <a:cubicBezTo>
                  <a:pt x="934985" y="2366373"/>
                  <a:pt x="936224" y="2363275"/>
                  <a:pt x="938909" y="2362345"/>
                </a:cubicBezTo>
                <a:close/>
                <a:moveTo>
                  <a:pt x="931061" y="2361571"/>
                </a:moveTo>
                <a:cubicBezTo>
                  <a:pt x="931165" y="2364514"/>
                  <a:pt x="933436" y="2365909"/>
                  <a:pt x="932714" y="2370555"/>
                </a:cubicBezTo>
                <a:cubicBezTo>
                  <a:pt x="917019" y="2373808"/>
                  <a:pt x="903079" y="2380468"/>
                  <a:pt x="889965" y="2382637"/>
                </a:cubicBezTo>
                <a:cubicBezTo>
                  <a:pt x="898020" y="2370090"/>
                  <a:pt x="916090" y="2367147"/>
                  <a:pt x="931061" y="2361571"/>
                </a:cubicBezTo>
                <a:close/>
                <a:moveTo>
                  <a:pt x="554899" y="2361571"/>
                </a:moveTo>
                <a:cubicBezTo>
                  <a:pt x="561198" y="2360022"/>
                  <a:pt x="562230" y="2367302"/>
                  <a:pt x="559649" y="2369316"/>
                </a:cubicBezTo>
                <a:cubicBezTo>
                  <a:pt x="556345" y="2369471"/>
                  <a:pt x="554176" y="2366528"/>
                  <a:pt x="554176" y="2364049"/>
                </a:cubicBezTo>
                <a:cubicBezTo>
                  <a:pt x="554176" y="2363120"/>
                  <a:pt x="554383" y="2362345"/>
                  <a:pt x="554899" y="2361571"/>
                </a:cubicBezTo>
                <a:close/>
                <a:moveTo>
                  <a:pt x="5443697" y="2360952"/>
                </a:moveTo>
                <a:cubicBezTo>
                  <a:pt x="5444551" y="2362232"/>
                  <a:pt x="5445405" y="2363513"/>
                  <a:pt x="5446472" y="2364793"/>
                </a:cubicBezTo>
                <a:cubicBezTo>
                  <a:pt x="5443911" y="2367069"/>
                  <a:pt x="5441350" y="2369203"/>
                  <a:pt x="5439429" y="2366642"/>
                </a:cubicBezTo>
                <a:cubicBezTo>
                  <a:pt x="5440923" y="2364366"/>
                  <a:pt x="5440069" y="2363086"/>
                  <a:pt x="5443697" y="2360952"/>
                </a:cubicBezTo>
                <a:close/>
                <a:moveTo>
                  <a:pt x="5270828" y="2360667"/>
                </a:moveTo>
                <a:cubicBezTo>
                  <a:pt x="5272321" y="2361094"/>
                  <a:pt x="5273602" y="2362517"/>
                  <a:pt x="5274669" y="2363797"/>
                </a:cubicBezTo>
                <a:cubicBezTo>
                  <a:pt x="5271041" y="2366073"/>
                  <a:pt x="5274029" y="2370341"/>
                  <a:pt x="5268693" y="2370483"/>
                </a:cubicBezTo>
                <a:cubicBezTo>
                  <a:pt x="5266773" y="2369488"/>
                  <a:pt x="5265065" y="2367354"/>
                  <a:pt x="5264852" y="2362944"/>
                </a:cubicBezTo>
                <a:cubicBezTo>
                  <a:pt x="5267413" y="2360809"/>
                  <a:pt x="5269120" y="2360241"/>
                  <a:pt x="5270828" y="2360667"/>
                </a:cubicBezTo>
                <a:close/>
                <a:moveTo>
                  <a:pt x="1081196" y="2360177"/>
                </a:moveTo>
                <a:cubicBezTo>
                  <a:pt x="1080990" y="2362656"/>
                  <a:pt x="1081093" y="2364824"/>
                  <a:pt x="1081299" y="2366992"/>
                </a:cubicBezTo>
                <a:lnTo>
                  <a:pt x="1081402" y="2367922"/>
                </a:lnTo>
                <a:lnTo>
                  <a:pt x="1082538" y="2368541"/>
                </a:lnTo>
                <a:cubicBezTo>
                  <a:pt x="1084914" y="2370400"/>
                  <a:pt x="1083674" y="2372878"/>
                  <a:pt x="1085120" y="2374737"/>
                </a:cubicBezTo>
                <a:lnTo>
                  <a:pt x="1082332" y="2375512"/>
                </a:lnTo>
                <a:lnTo>
                  <a:pt x="1082538" y="2379694"/>
                </a:lnTo>
                <a:cubicBezTo>
                  <a:pt x="1082538" y="2381862"/>
                  <a:pt x="1082229" y="2384341"/>
                  <a:pt x="1081402" y="2386974"/>
                </a:cubicBezTo>
                <a:lnTo>
                  <a:pt x="1081196" y="2386665"/>
                </a:lnTo>
                <a:lnTo>
                  <a:pt x="1080887" y="2387439"/>
                </a:lnTo>
                <a:cubicBezTo>
                  <a:pt x="1080060" y="2387594"/>
                  <a:pt x="1079028" y="2386974"/>
                  <a:pt x="1078202" y="2386974"/>
                </a:cubicBezTo>
                <a:lnTo>
                  <a:pt x="1078821" y="2383721"/>
                </a:lnTo>
                <a:lnTo>
                  <a:pt x="1076756" y="2381243"/>
                </a:lnTo>
                <a:lnTo>
                  <a:pt x="1076240" y="2378455"/>
                </a:lnTo>
                <a:lnTo>
                  <a:pt x="1075104" y="2379229"/>
                </a:lnTo>
                <a:cubicBezTo>
                  <a:pt x="1073349" y="2379694"/>
                  <a:pt x="1071284" y="2379539"/>
                  <a:pt x="1069322" y="2378455"/>
                </a:cubicBezTo>
                <a:cubicBezTo>
                  <a:pt x="1068909" y="2376751"/>
                  <a:pt x="1068909" y="2375202"/>
                  <a:pt x="1069012" y="2373963"/>
                </a:cubicBezTo>
                <a:cubicBezTo>
                  <a:pt x="1069115" y="2372569"/>
                  <a:pt x="1069322" y="2371484"/>
                  <a:pt x="1069528" y="2370555"/>
                </a:cubicBezTo>
                <a:lnTo>
                  <a:pt x="1075517" y="2368387"/>
                </a:lnTo>
                <a:lnTo>
                  <a:pt x="1076240" y="2364514"/>
                </a:lnTo>
                <a:cubicBezTo>
                  <a:pt x="1077169" y="2362345"/>
                  <a:pt x="1078821" y="2360642"/>
                  <a:pt x="1081196" y="2360177"/>
                </a:cubicBezTo>
                <a:close/>
                <a:moveTo>
                  <a:pt x="722484" y="2359867"/>
                </a:moveTo>
                <a:cubicBezTo>
                  <a:pt x="724033" y="2364824"/>
                  <a:pt x="726718" y="2370245"/>
                  <a:pt x="721245" y="2372259"/>
                </a:cubicBezTo>
                <a:cubicBezTo>
                  <a:pt x="717218" y="2371484"/>
                  <a:pt x="715359" y="2369161"/>
                  <a:pt x="714946" y="2366683"/>
                </a:cubicBezTo>
                <a:cubicBezTo>
                  <a:pt x="714533" y="2364204"/>
                  <a:pt x="715566" y="2361571"/>
                  <a:pt x="717528" y="2360332"/>
                </a:cubicBezTo>
                <a:cubicBezTo>
                  <a:pt x="718870" y="2359402"/>
                  <a:pt x="720522" y="2359248"/>
                  <a:pt x="722484" y="2359867"/>
                </a:cubicBezTo>
                <a:close/>
                <a:moveTo>
                  <a:pt x="6302926" y="2359814"/>
                </a:moveTo>
                <a:cubicBezTo>
                  <a:pt x="6308261" y="2359814"/>
                  <a:pt x="6315304" y="2364936"/>
                  <a:pt x="6315304" y="2370057"/>
                </a:cubicBezTo>
                <a:cubicBezTo>
                  <a:pt x="6311676" y="2375178"/>
                  <a:pt x="6308261" y="2373614"/>
                  <a:pt x="6306340" y="2377028"/>
                </a:cubicBezTo>
                <a:cubicBezTo>
                  <a:pt x="6299297" y="2371906"/>
                  <a:pt x="6299297" y="2366642"/>
                  <a:pt x="6302926" y="2359814"/>
                </a:cubicBezTo>
                <a:close/>
                <a:moveTo>
                  <a:pt x="1149345" y="2359713"/>
                </a:moveTo>
                <a:cubicBezTo>
                  <a:pt x="1151720" y="2358938"/>
                  <a:pt x="1155025" y="2361416"/>
                  <a:pt x="1156160" y="2362810"/>
                </a:cubicBezTo>
                <a:cubicBezTo>
                  <a:pt x="1156780" y="2364979"/>
                  <a:pt x="1154715" y="2366992"/>
                  <a:pt x="1152443" y="2367767"/>
                </a:cubicBezTo>
                <a:cubicBezTo>
                  <a:pt x="1151617" y="2368387"/>
                  <a:pt x="1150584" y="2368387"/>
                  <a:pt x="1149655" y="2368077"/>
                </a:cubicBezTo>
                <a:cubicBezTo>
                  <a:pt x="1148829" y="2367767"/>
                  <a:pt x="1148003" y="2367147"/>
                  <a:pt x="1147383" y="2366373"/>
                </a:cubicBezTo>
                <a:cubicBezTo>
                  <a:pt x="1147073" y="2365289"/>
                  <a:pt x="1147073" y="2365289"/>
                  <a:pt x="1146764" y="2364204"/>
                </a:cubicBezTo>
                <a:cubicBezTo>
                  <a:pt x="1147590" y="2362656"/>
                  <a:pt x="1147796" y="2360797"/>
                  <a:pt x="1149345" y="2359713"/>
                </a:cubicBezTo>
                <a:close/>
                <a:moveTo>
                  <a:pt x="1026057" y="2357544"/>
                </a:moveTo>
                <a:cubicBezTo>
                  <a:pt x="1028122" y="2357079"/>
                  <a:pt x="1030910" y="2357234"/>
                  <a:pt x="1034215" y="2358783"/>
                </a:cubicBezTo>
                <a:cubicBezTo>
                  <a:pt x="1036899" y="2362191"/>
                  <a:pt x="1034937" y="2369471"/>
                  <a:pt x="1031427" y="2369935"/>
                </a:cubicBezTo>
                <a:cubicBezTo>
                  <a:pt x="1025541" y="2368851"/>
                  <a:pt x="1022650" y="2366063"/>
                  <a:pt x="1022030" y="2363430"/>
                </a:cubicBezTo>
                <a:cubicBezTo>
                  <a:pt x="1021307" y="2360952"/>
                  <a:pt x="1022960" y="2358473"/>
                  <a:pt x="1026057" y="2357544"/>
                </a:cubicBezTo>
                <a:close/>
                <a:moveTo>
                  <a:pt x="5129757" y="2357395"/>
                </a:moveTo>
                <a:cubicBezTo>
                  <a:pt x="5132958" y="2357822"/>
                  <a:pt x="5136373" y="2358391"/>
                  <a:pt x="5139574" y="2358818"/>
                </a:cubicBezTo>
                <a:lnTo>
                  <a:pt x="5141922" y="2362944"/>
                </a:lnTo>
                <a:cubicBezTo>
                  <a:pt x="5143629" y="2363228"/>
                  <a:pt x="5145337" y="2364082"/>
                  <a:pt x="5147257" y="2365789"/>
                </a:cubicBezTo>
                <a:cubicBezTo>
                  <a:pt x="5148965" y="2365789"/>
                  <a:pt x="5150672" y="2372760"/>
                  <a:pt x="5148965" y="2374467"/>
                </a:cubicBezTo>
                <a:cubicBezTo>
                  <a:pt x="5147044" y="2377170"/>
                  <a:pt x="5144910" y="2377597"/>
                  <a:pt x="5142135" y="2377170"/>
                </a:cubicBezTo>
                <a:lnTo>
                  <a:pt x="5138721" y="2376175"/>
                </a:lnTo>
                <a:lnTo>
                  <a:pt x="5138294" y="2376601"/>
                </a:lnTo>
                <a:cubicBezTo>
                  <a:pt x="5135946" y="2377455"/>
                  <a:pt x="5132958" y="2377739"/>
                  <a:pt x="5129330" y="2376744"/>
                </a:cubicBezTo>
                <a:cubicBezTo>
                  <a:pt x="5123781" y="2373329"/>
                  <a:pt x="5124635" y="2359956"/>
                  <a:pt x="5129757" y="2357395"/>
                </a:cubicBezTo>
                <a:close/>
                <a:moveTo>
                  <a:pt x="1108146" y="2356305"/>
                </a:moveTo>
                <a:cubicBezTo>
                  <a:pt x="1112586" y="2358628"/>
                  <a:pt x="1116200" y="2361416"/>
                  <a:pt x="1118988" y="2364359"/>
                </a:cubicBezTo>
                <a:lnTo>
                  <a:pt x="1122189" y="2369316"/>
                </a:lnTo>
                <a:lnTo>
                  <a:pt x="1122189" y="2366218"/>
                </a:lnTo>
                <a:cubicBezTo>
                  <a:pt x="1122808" y="2364049"/>
                  <a:pt x="1123737" y="2362191"/>
                  <a:pt x="1124770" y="2360177"/>
                </a:cubicBezTo>
                <a:cubicBezTo>
                  <a:pt x="1136025" y="2357854"/>
                  <a:pt x="1131172" y="2368541"/>
                  <a:pt x="1130862" y="2374273"/>
                </a:cubicBezTo>
                <a:cubicBezTo>
                  <a:pt x="1129004" y="2374737"/>
                  <a:pt x="1127765" y="2374892"/>
                  <a:pt x="1126526" y="2374737"/>
                </a:cubicBezTo>
                <a:lnTo>
                  <a:pt x="1125183" y="2374428"/>
                </a:lnTo>
                <a:lnTo>
                  <a:pt x="1126732" y="2381088"/>
                </a:lnTo>
                <a:cubicBezTo>
                  <a:pt x="1120021" y="2383257"/>
                  <a:pt x="1116406" y="2376751"/>
                  <a:pt x="1112690" y="2372878"/>
                </a:cubicBezTo>
                <a:cubicBezTo>
                  <a:pt x="1109592" y="2378146"/>
                  <a:pt x="1106494" y="2386974"/>
                  <a:pt x="1100402" y="2384651"/>
                </a:cubicBezTo>
                <a:cubicBezTo>
                  <a:pt x="1099782" y="2383101"/>
                  <a:pt x="1099679" y="2381708"/>
                  <a:pt x="1100092" y="2380158"/>
                </a:cubicBezTo>
                <a:cubicBezTo>
                  <a:pt x="1101331" y="2375822"/>
                  <a:pt x="1106184" y="2371794"/>
                  <a:pt x="1108146" y="2366528"/>
                </a:cubicBezTo>
                <a:cubicBezTo>
                  <a:pt x="1108146" y="2363120"/>
                  <a:pt x="1104222" y="2361881"/>
                  <a:pt x="1108146" y="2356305"/>
                </a:cubicBezTo>
                <a:close/>
                <a:moveTo>
                  <a:pt x="5315219" y="2355261"/>
                </a:moveTo>
                <a:cubicBezTo>
                  <a:pt x="5316072" y="2354834"/>
                  <a:pt x="5316926" y="2354692"/>
                  <a:pt x="5318207" y="2355403"/>
                </a:cubicBezTo>
                <a:cubicBezTo>
                  <a:pt x="5314579" y="2357395"/>
                  <a:pt x="5313298" y="2358391"/>
                  <a:pt x="5310950" y="2359244"/>
                </a:cubicBezTo>
                <a:cubicBezTo>
                  <a:pt x="5310950" y="2360383"/>
                  <a:pt x="5310950" y="2361663"/>
                  <a:pt x="5309670" y="2362659"/>
                </a:cubicBezTo>
                <a:cubicBezTo>
                  <a:pt x="5307322" y="2364651"/>
                  <a:pt x="5304974" y="2363228"/>
                  <a:pt x="5302627" y="2364082"/>
                </a:cubicBezTo>
                <a:cubicBezTo>
                  <a:pt x="5301346" y="2362801"/>
                  <a:pt x="5300279" y="2360383"/>
                  <a:pt x="5302841" y="2358249"/>
                </a:cubicBezTo>
                <a:cubicBezTo>
                  <a:pt x="5305188" y="2354977"/>
                  <a:pt x="5308603" y="2355403"/>
                  <a:pt x="5312231" y="2356968"/>
                </a:cubicBezTo>
                <a:cubicBezTo>
                  <a:pt x="5313298" y="2356542"/>
                  <a:pt x="5314365" y="2355830"/>
                  <a:pt x="5315219" y="2355261"/>
                </a:cubicBezTo>
                <a:close/>
                <a:moveTo>
                  <a:pt x="5028596" y="2354834"/>
                </a:moveTo>
                <a:cubicBezTo>
                  <a:pt x="5034359" y="2356115"/>
                  <a:pt x="5039480" y="2362090"/>
                  <a:pt x="5043109" y="2365362"/>
                </a:cubicBezTo>
                <a:cubicBezTo>
                  <a:pt x="5038840" y="2371622"/>
                  <a:pt x="5034785" y="2377739"/>
                  <a:pt x="5029450" y="2378877"/>
                </a:cubicBezTo>
                <a:cubicBezTo>
                  <a:pt x="5025181" y="2376175"/>
                  <a:pt x="5022193" y="2372760"/>
                  <a:pt x="5020700" y="2368777"/>
                </a:cubicBezTo>
                <a:cubicBezTo>
                  <a:pt x="5019419" y="2364936"/>
                  <a:pt x="5019846" y="2360383"/>
                  <a:pt x="5022407" y="2355261"/>
                </a:cubicBezTo>
                <a:cubicBezTo>
                  <a:pt x="5024541" y="2354407"/>
                  <a:pt x="5026462" y="2354407"/>
                  <a:pt x="5028596" y="2354834"/>
                </a:cubicBezTo>
                <a:close/>
                <a:moveTo>
                  <a:pt x="5382873" y="2353696"/>
                </a:moveTo>
                <a:cubicBezTo>
                  <a:pt x="5386074" y="2353411"/>
                  <a:pt x="5389062" y="2353980"/>
                  <a:pt x="5391837" y="2355688"/>
                </a:cubicBezTo>
                <a:cubicBezTo>
                  <a:pt x="5393330" y="2356968"/>
                  <a:pt x="5394611" y="2358249"/>
                  <a:pt x="5395465" y="2359672"/>
                </a:cubicBezTo>
                <a:cubicBezTo>
                  <a:pt x="5401654" y="2369630"/>
                  <a:pt x="5391837" y="2383004"/>
                  <a:pt x="5380098" y="2386276"/>
                </a:cubicBezTo>
                <a:cubicBezTo>
                  <a:pt x="5371988" y="2388552"/>
                  <a:pt x="5362811" y="2385991"/>
                  <a:pt x="5357049" y="2374467"/>
                </a:cubicBezTo>
                <a:cubicBezTo>
                  <a:pt x="5362811" y="2362659"/>
                  <a:pt x="5373482" y="2354265"/>
                  <a:pt x="5382873" y="2353696"/>
                </a:cubicBezTo>
                <a:close/>
                <a:moveTo>
                  <a:pt x="1125493" y="2352432"/>
                </a:moveTo>
                <a:cubicBezTo>
                  <a:pt x="1129004" y="2351503"/>
                  <a:pt x="1132411" y="2350728"/>
                  <a:pt x="1133754" y="2354136"/>
                </a:cubicBezTo>
                <a:cubicBezTo>
                  <a:pt x="1131895" y="2357699"/>
                  <a:pt x="1126835" y="2357699"/>
                  <a:pt x="1125493" y="2352432"/>
                </a:cubicBezTo>
                <a:close/>
                <a:moveTo>
                  <a:pt x="5234760" y="2352416"/>
                </a:moveTo>
                <a:cubicBezTo>
                  <a:pt x="5240095" y="2352416"/>
                  <a:pt x="5245431" y="2354834"/>
                  <a:pt x="5245858" y="2359387"/>
                </a:cubicBezTo>
                <a:cubicBezTo>
                  <a:pt x="5246071" y="2360667"/>
                  <a:pt x="5245858" y="2362090"/>
                  <a:pt x="5245004" y="2363797"/>
                </a:cubicBezTo>
                <a:cubicBezTo>
                  <a:pt x="5237320" y="2369203"/>
                  <a:pt x="5230064" y="2371195"/>
                  <a:pt x="5223021" y="2363513"/>
                </a:cubicBezTo>
                <a:cubicBezTo>
                  <a:pt x="5224302" y="2362659"/>
                  <a:pt x="5223235" y="2361236"/>
                  <a:pt x="5222381" y="2359814"/>
                </a:cubicBezTo>
                <a:cubicBezTo>
                  <a:pt x="5223449" y="2354692"/>
                  <a:pt x="5229211" y="2352416"/>
                  <a:pt x="5234760" y="2352416"/>
                </a:cubicBezTo>
                <a:close/>
                <a:moveTo>
                  <a:pt x="640705" y="2352277"/>
                </a:moveTo>
                <a:cubicBezTo>
                  <a:pt x="641221" y="2352277"/>
                  <a:pt x="641634" y="2352277"/>
                  <a:pt x="641634" y="2352277"/>
                </a:cubicBezTo>
                <a:cubicBezTo>
                  <a:pt x="643287" y="2353362"/>
                  <a:pt x="642460" y="2355685"/>
                  <a:pt x="642460" y="2357389"/>
                </a:cubicBezTo>
                <a:cubicBezTo>
                  <a:pt x="644216" y="2358318"/>
                  <a:pt x="640602" y="2360487"/>
                  <a:pt x="642357" y="2361416"/>
                </a:cubicBezTo>
                <a:cubicBezTo>
                  <a:pt x="638743" y="2364514"/>
                  <a:pt x="643080" y="2369006"/>
                  <a:pt x="638640" y="2374428"/>
                </a:cubicBezTo>
                <a:cubicBezTo>
                  <a:pt x="638020" y="2372259"/>
                  <a:pt x="637711" y="2370245"/>
                  <a:pt x="637711" y="2368541"/>
                </a:cubicBezTo>
                <a:cubicBezTo>
                  <a:pt x="637607" y="2363120"/>
                  <a:pt x="639259" y="2359093"/>
                  <a:pt x="638020" y="2355220"/>
                </a:cubicBezTo>
                <a:cubicBezTo>
                  <a:pt x="638020" y="2355220"/>
                  <a:pt x="638020" y="2355220"/>
                  <a:pt x="639879" y="2353826"/>
                </a:cubicBezTo>
                <a:cubicBezTo>
                  <a:pt x="639879" y="2353052"/>
                  <a:pt x="639879" y="2353052"/>
                  <a:pt x="639879" y="2353052"/>
                </a:cubicBezTo>
                <a:cubicBezTo>
                  <a:pt x="639879" y="2352587"/>
                  <a:pt x="640292" y="2352432"/>
                  <a:pt x="640705" y="2352277"/>
                </a:cubicBezTo>
                <a:close/>
                <a:moveTo>
                  <a:pt x="973500" y="2351503"/>
                </a:moveTo>
                <a:cubicBezTo>
                  <a:pt x="972158" y="2354136"/>
                  <a:pt x="971641" y="2356924"/>
                  <a:pt x="971538" y="2359557"/>
                </a:cubicBezTo>
                <a:lnTo>
                  <a:pt x="971848" y="2364204"/>
                </a:lnTo>
                <a:lnTo>
                  <a:pt x="971848" y="2364049"/>
                </a:lnTo>
                <a:cubicBezTo>
                  <a:pt x="974326" y="2366528"/>
                  <a:pt x="973397" y="2369006"/>
                  <a:pt x="972364" y="2371484"/>
                </a:cubicBezTo>
                <a:cubicBezTo>
                  <a:pt x="971435" y="2373188"/>
                  <a:pt x="971435" y="2374118"/>
                  <a:pt x="972158" y="2375822"/>
                </a:cubicBezTo>
                <a:cubicBezTo>
                  <a:pt x="972158" y="2375822"/>
                  <a:pt x="972158" y="2375667"/>
                  <a:pt x="971951" y="2375977"/>
                </a:cubicBezTo>
                <a:lnTo>
                  <a:pt x="971641" y="2376286"/>
                </a:lnTo>
                <a:lnTo>
                  <a:pt x="968544" y="2383566"/>
                </a:lnTo>
                <a:cubicBezTo>
                  <a:pt x="964827" y="2381088"/>
                  <a:pt x="962968" y="2373653"/>
                  <a:pt x="963691" y="2366528"/>
                </a:cubicBezTo>
                <a:cubicBezTo>
                  <a:pt x="964310" y="2359402"/>
                  <a:pt x="967408" y="2352587"/>
                  <a:pt x="973500" y="2351503"/>
                </a:cubicBezTo>
                <a:close/>
                <a:moveTo>
                  <a:pt x="5471869" y="2350993"/>
                </a:moveTo>
                <a:cubicBezTo>
                  <a:pt x="5472082" y="2352273"/>
                  <a:pt x="5471229" y="2353838"/>
                  <a:pt x="5471656" y="2354977"/>
                </a:cubicBezTo>
                <a:cubicBezTo>
                  <a:pt x="5470375" y="2355403"/>
                  <a:pt x="5468027" y="2356257"/>
                  <a:pt x="5466747" y="2355546"/>
                </a:cubicBezTo>
                <a:cubicBezTo>
                  <a:pt x="5465466" y="2355972"/>
                  <a:pt x="5465893" y="2351988"/>
                  <a:pt x="5465893" y="2351988"/>
                </a:cubicBezTo>
                <a:cubicBezTo>
                  <a:pt x="5466533" y="2350424"/>
                  <a:pt x="5470589" y="2351420"/>
                  <a:pt x="5471869" y="2350993"/>
                </a:cubicBezTo>
                <a:close/>
                <a:moveTo>
                  <a:pt x="1050013" y="2350419"/>
                </a:moveTo>
                <a:cubicBezTo>
                  <a:pt x="1051458" y="2349954"/>
                  <a:pt x="1052388" y="2350109"/>
                  <a:pt x="1053110" y="2350728"/>
                </a:cubicBezTo>
                <a:cubicBezTo>
                  <a:pt x="1053833" y="2351193"/>
                  <a:pt x="1054246" y="2352123"/>
                  <a:pt x="1054556" y="2353362"/>
                </a:cubicBezTo>
                <a:cubicBezTo>
                  <a:pt x="1055279" y="2355685"/>
                  <a:pt x="1053627" y="2356614"/>
                  <a:pt x="1053627" y="2356614"/>
                </a:cubicBezTo>
                <a:cubicBezTo>
                  <a:pt x="1050735" y="2357699"/>
                  <a:pt x="1048051" y="2356770"/>
                  <a:pt x="1046605" y="2353981"/>
                </a:cubicBezTo>
                <a:cubicBezTo>
                  <a:pt x="1046708" y="2352123"/>
                  <a:pt x="1048361" y="2351348"/>
                  <a:pt x="1050013" y="2350419"/>
                </a:cubicBezTo>
                <a:close/>
                <a:moveTo>
                  <a:pt x="882531" y="2350264"/>
                </a:moveTo>
                <a:lnTo>
                  <a:pt x="883873" y="2351968"/>
                </a:lnTo>
                <a:lnTo>
                  <a:pt x="884596" y="2351812"/>
                </a:lnTo>
                <a:lnTo>
                  <a:pt x="887384" y="2351968"/>
                </a:lnTo>
                <a:lnTo>
                  <a:pt x="887694" y="2351812"/>
                </a:lnTo>
                <a:cubicBezTo>
                  <a:pt x="887694" y="2351812"/>
                  <a:pt x="892134" y="2348250"/>
                  <a:pt x="896264" y="2351503"/>
                </a:cubicBezTo>
                <a:cubicBezTo>
                  <a:pt x="895438" y="2352277"/>
                  <a:pt x="900394" y="2357079"/>
                  <a:pt x="898536" y="2360642"/>
                </a:cubicBezTo>
                <a:cubicBezTo>
                  <a:pt x="897606" y="2362345"/>
                  <a:pt x="896677" y="2363120"/>
                  <a:pt x="895748" y="2364979"/>
                </a:cubicBezTo>
                <a:lnTo>
                  <a:pt x="893373" y="2365444"/>
                </a:lnTo>
                <a:lnTo>
                  <a:pt x="891515" y="2370245"/>
                </a:lnTo>
                <a:cubicBezTo>
                  <a:pt x="890688" y="2371175"/>
                  <a:pt x="887281" y="2373343"/>
                  <a:pt x="886352" y="2372724"/>
                </a:cubicBezTo>
                <a:cubicBezTo>
                  <a:pt x="885423" y="2371949"/>
                  <a:pt x="885423" y="2371175"/>
                  <a:pt x="885319" y="2370400"/>
                </a:cubicBezTo>
                <a:lnTo>
                  <a:pt x="887488" y="2365444"/>
                </a:lnTo>
                <a:lnTo>
                  <a:pt x="885319" y="2364514"/>
                </a:lnTo>
                <a:cubicBezTo>
                  <a:pt x="884080" y="2363585"/>
                  <a:pt x="883460" y="2362501"/>
                  <a:pt x="883151" y="2361416"/>
                </a:cubicBezTo>
                <a:lnTo>
                  <a:pt x="883151" y="2360332"/>
                </a:lnTo>
                <a:lnTo>
                  <a:pt x="882221" y="2360487"/>
                </a:lnTo>
                <a:lnTo>
                  <a:pt x="880776" y="2357854"/>
                </a:lnTo>
                <a:lnTo>
                  <a:pt x="879227" y="2356924"/>
                </a:lnTo>
                <a:cubicBezTo>
                  <a:pt x="878917" y="2355685"/>
                  <a:pt x="878711" y="2354756"/>
                  <a:pt x="878917" y="2354136"/>
                </a:cubicBezTo>
                <a:cubicBezTo>
                  <a:pt x="879124" y="2353671"/>
                  <a:pt x="879743" y="2353207"/>
                  <a:pt x="880982" y="2352897"/>
                </a:cubicBezTo>
                <a:lnTo>
                  <a:pt x="881499" y="2352742"/>
                </a:lnTo>
                <a:lnTo>
                  <a:pt x="880776" y="2351193"/>
                </a:lnTo>
                <a:cubicBezTo>
                  <a:pt x="881602" y="2351193"/>
                  <a:pt x="882531" y="2351193"/>
                  <a:pt x="882531" y="2350264"/>
                </a:cubicBezTo>
                <a:close/>
                <a:moveTo>
                  <a:pt x="898123" y="2349644"/>
                </a:moveTo>
                <a:cubicBezTo>
                  <a:pt x="901633" y="2348405"/>
                  <a:pt x="903492" y="2350264"/>
                  <a:pt x="905248" y="2352123"/>
                </a:cubicBezTo>
                <a:cubicBezTo>
                  <a:pt x="906383" y="2353516"/>
                  <a:pt x="907106" y="2353981"/>
                  <a:pt x="909068" y="2353826"/>
                </a:cubicBezTo>
                <a:cubicBezTo>
                  <a:pt x="909068" y="2353826"/>
                  <a:pt x="909068" y="2353826"/>
                  <a:pt x="909688" y="2355995"/>
                </a:cubicBezTo>
                <a:lnTo>
                  <a:pt x="909275" y="2356770"/>
                </a:lnTo>
                <a:cubicBezTo>
                  <a:pt x="908861" y="2357079"/>
                  <a:pt x="908242" y="2356924"/>
                  <a:pt x="907313" y="2356614"/>
                </a:cubicBezTo>
                <a:cubicBezTo>
                  <a:pt x="904731" y="2355685"/>
                  <a:pt x="900808" y="2352897"/>
                  <a:pt x="900291" y="2352587"/>
                </a:cubicBezTo>
                <a:cubicBezTo>
                  <a:pt x="900291" y="2352587"/>
                  <a:pt x="899569" y="2352277"/>
                  <a:pt x="898742" y="2351812"/>
                </a:cubicBezTo>
                <a:cubicBezTo>
                  <a:pt x="898433" y="2350728"/>
                  <a:pt x="898846" y="2350109"/>
                  <a:pt x="898123" y="2349644"/>
                </a:cubicBezTo>
                <a:close/>
                <a:moveTo>
                  <a:pt x="1088114" y="2349489"/>
                </a:moveTo>
                <a:cubicBezTo>
                  <a:pt x="1089457" y="2351348"/>
                  <a:pt x="1089973" y="2353052"/>
                  <a:pt x="1091315" y="2354911"/>
                </a:cubicBezTo>
                <a:cubicBezTo>
                  <a:pt x="1088837" y="2358009"/>
                  <a:pt x="1086565" y="2355995"/>
                  <a:pt x="1084500" y="2353981"/>
                </a:cubicBezTo>
                <a:cubicBezTo>
                  <a:pt x="1085636" y="2352432"/>
                  <a:pt x="1085223" y="2350728"/>
                  <a:pt x="1088114" y="2349489"/>
                </a:cubicBezTo>
                <a:close/>
                <a:moveTo>
                  <a:pt x="6222040" y="2348432"/>
                </a:moveTo>
                <a:cubicBezTo>
                  <a:pt x="6223320" y="2348716"/>
                  <a:pt x="6224600" y="2349143"/>
                  <a:pt x="6225027" y="2349855"/>
                </a:cubicBezTo>
                <a:cubicBezTo>
                  <a:pt x="6226095" y="2351135"/>
                  <a:pt x="6226095" y="2352416"/>
                  <a:pt x="6226095" y="2352416"/>
                </a:cubicBezTo>
                <a:cubicBezTo>
                  <a:pt x="6223533" y="2355546"/>
                  <a:pt x="6219905" y="2357395"/>
                  <a:pt x="6216704" y="2353269"/>
                </a:cubicBezTo>
                <a:cubicBezTo>
                  <a:pt x="6215850" y="2351847"/>
                  <a:pt x="6214784" y="2350566"/>
                  <a:pt x="6215850" y="2350708"/>
                </a:cubicBezTo>
                <a:cubicBezTo>
                  <a:pt x="6215850" y="2349570"/>
                  <a:pt x="6216917" y="2349713"/>
                  <a:pt x="6218198" y="2348716"/>
                </a:cubicBezTo>
                <a:cubicBezTo>
                  <a:pt x="6219479" y="2348290"/>
                  <a:pt x="6220759" y="2348290"/>
                  <a:pt x="6222040" y="2348432"/>
                </a:cubicBezTo>
                <a:close/>
                <a:moveTo>
                  <a:pt x="5481260" y="2347863"/>
                </a:moveTo>
                <a:cubicBezTo>
                  <a:pt x="5482113" y="2347721"/>
                  <a:pt x="5483180" y="2348148"/>
                  <a:pt x="5484460" y="2348859"/>
                </a:cubicBezTo>
                <a:cubicBezTo>
                  <a:pt x="5484247" y="2350139"/>
                  <a:pt x="5483820" y="2351135"/>
                  <a:pt x="5483180" y="2351704"/>
                </a:cubicBezTo>
                <a:cubicBezTo>
                  <a:pt x="5482327" y="2352416"/>
                  <a:pt x="5481046" y="2352558"/>
                  <a:pt x="5479125" y="2351988"/>
                </a:cubicBezTo>
                <a:cubicBezTo>
                  <a:pt x="5479125" y="2351988"/>
                  <a:pt x="5478912" y="2350993"/>
                  <a:pt x="5478912" y="2350993"/>
                </a:cubicBezTo>
                <a:cubicBezTo>
                  <a:pt x="5479552" y="2348859"/>
                  <a:pt x="5480192" y="2348006"/>
                  <a:pt x="5481260" y="2347863"/>
                </a:cubicBezTo>
                <a:close/>
                <a:moveTo>
                  <a:pt x="849593" y="2346391"/>
                </a:moveTo>
                <a:cubicBezTo>
                  <a:pt x="851554" y="2346546"/>
                  <a:pt x="853413" y="2347940"/>
                  <a:pt x="854755" y="2350883"/>
                </a:cubicBezTo>
                <a:cubicBezTo>
                  <a:pt x="849490" y="2354446"/>
                  <a:pt x="849386" y="2358628"/>
                  <a:pt x="843913" y="2359557"/>
                </a:cubicBezTo>
                <a:cubicBezTo>
                  <a:pt x="842261" y="2358318"/>
                  <a:pt x="841435" y="2356770"/>
                  <a:pt x="841229" y="2355220"/>
                </a:cubicBezTo>
                <a:cubicBezTo>
                  <a:pt x="840506" y="2350419"/>
                  <a:pt x="845152" y="2345617"/>
                  <a:pt x="849593" y="2346391"/>
                </a:cubicBezTo>
                <a:close/>
                <a:moveTo>
                  <a:pt x="5733735" y="2346298"/>
                </a:moveTo>
                <a:cubicBezTo>
                  <a:pt x="5735443" y="2346014"/>
                  <a:pt x="5737150" y="2346867"/>
                  <a:pt x="5738217" y="2348432"/>
                </a:cubicBezTo>
                <a:cubicBezTo>
                  <a:pt x="5739071" y="2349570"/>
                  <a:pt x="5739711" y="2350993"/>
                  <a:pt x="5739924" y="2352985"/>
                </a:cubicBezTo>
                <a:lnTo>
                  <a:pt x="5736936" y="2353411"/>
                </a:lnTo>
                <a:lnTo>
                  <a:pt x="5735869" y="2356257"/>
                </a:lnTo>
                <a:cubicBezTo>
                  <a:pt x="5735869" y="2356257"/>
                  <a:pt x="5734802" y="2356115"/>
                  <a:pt x="5734802" y="2356115"/>
                </a:cubicBezTo>
                <a:lnTo>
                  <a:pt x="5733522" y="2353980"/>
                </a:lnTo>
                <a:lnTo>
                  <a:pt x="5733095" y="2354123"/>
                </a:lnTo>
                <a:cubicBezTo>
                  <a:pt x="5731174" y="2353553"/>
                  <a:pt x="5729893" y="2352131"/>
                  <a:pt x="5728826" y="2350282"/>
                </a:cubicBezTo>
                <a:cubicBezTo>
                  <a:pt x="5730320" y="2347721"/>
                  <a:pt x="5732028" y="2346441"/>
                  <a:pt x="5733735" y="2346298"/>
                </a:cubicBezTo>
                <a:close/>
                <a:moveTo>
                  <a:pt x="5370922" y="2345729"/>
                </a:moveTo>
                <a:cubicBezTo>
                  <a:pt x="5373482" y="2345587"/>
                  <a:pt x="5375830" y="2346441"/>
                  <a:pt x="5378391" y="2347863"/>
                </a:cubicBezTo>
                <a:cubicBezTo>
                  <a:pt x="5378178" y="2350139"/>
                  <a:pt x="5374123" y="2353411"/>
                  <a:pt x="5371562" y="2355546"/>
                </a:cubicBezTo>
                <a:cubicBezTo>
                  <a:pt x="5368147" y="2355261"/>
                  <a:pt x="5364946" y="2352558"/>
                  <a:pt x="5363238" y="2348859"/>
                </a:cubicBezTo>
                <a:cubicBezTo>
                  <a:pt x="5366013" y="2346867"/>
                  <a:pt x="5368360" y="2345871"/>
                  <a:pt x="5370922" y="2345729"/>
                </a:cubicBezTo>
                <a:close/>
                <a:moveTo>
                  <a:pt x="977217" y="2344997"/>
                </a:moveTo>
                <a:cubicBezTo>
                  <a:pt x="978456" y="2344688"/>
                  <a:pt x="980418" y="2346546"/>
                  <a:pt x="981657" y="2346081"/>
                </a:cubicBezTo>
                <a:cubicBezTo>
                  <a:pt x="981657" y="2346081"/>
                  <a:pt x="981554" y="2346081"/>
                  <a:pt x="981451" y="2347940"/>
                </a:cubicBezTo>
                <a:cubicBezTo>
                  <a:pt x="981037" y="2348715"/>
                  <a:pt x="980625" y="2349644"/>
                  <a:pt x="979386" y="2349954"/>
                </a:cubicBezTo>
                <a:cubicBezTo>
                  <a:pt x="978146" y="2350419"/>
                  <a:pt x="976598" y="2349799"/>
                  <a:pt x="975771" y="2349334"/>
                </a:cubicBezTo>
                <a:cubicBezTo>
                  <a:pt x="976288" y="2348560"/>
                  <a:pt x="975462" y="2348250"/>
                  <a:pt x="975978" y="2347476"/>
                </a:cubicBezTo>
                <a:cubicBezTo>
                  <a:pt x="976081" y="2345462"/>
                  <a:pt x="975978" y="2345462"/>
                  <a:pt x="977217" y="2344997"/>
                </a:cubicBezTo>
                <a:close/>
                <a:moveTo>
                  <a:pt x="4905453" y="2344591"/>
                </a:moveTo>
                <a:cubicBezTo>
                  <a:pt x="4923594" y="2342172"/>
                  <a:pt x="4952405" y="2375463"/>
                  <a:pt x="4939600" y="2390686"/>
                </a:cubicBezTo>
                <a:cubicBezTo>
                  <a:pt x="4928929" y="2372902"/>
                  <a:pt x="4913563" y="2366785"/>
                  <a:pt x="4905453" y="2344591"/>
                </a:cubicBezTo>
                <a:close/>
                <a:moveTo>
                  <a:pt x="1204187" y="2341396"/>
                </a:moveTo>
                <a:cubicBezTo>
                  <a:pt x="1205930" y="2341706"/>
                  <a:pt x="1207582" y="2342906"/>
                  <a:pt x="1207892" y="2344068"/>
                </a:cubicBezTo>
                <a:cubicBezTo>
                  <a:pt x="1206756" y="2349644"/>
                  <a:pt x="1200560" y="2346391"/>
                  <a:pt x="1199941" y="2344068"/>
                </a:cubicBezTo>
                <a:cubicBezTo>
                  <a:pt x="1200612" y="2341667"/>
                  <a:pt x="1202445" y="2341086"/>
                  <a:pt x="1204187" y="2341396"/>
                </a:cubicBezTo>
                <a:close/>
                <a:moveTo>
                  <a:pt x="5498333" y="2339612"/>
                </a:moveTo>
                <a:cubicBezTo>
                  <a:pt x="5499827" y="2339185"/>
                  <a:pt x="5501534" y="2339469"/>
                  <a:pt x="5503669" y="2340322"/>
                </a:cubicBezTo>
                <a:cubicBezTo>
                  <a:pt x="5501321" y="2343879"/>
                  <a:pt x="5498760" y="2344022"/>
                  <a:pt x="5493851" y="2344022"/>
                </a:cubicBezTo>
                <a:cubicBezTo>
                  <a:pt x="5495345" y="2341319"/>
                  <a:pt x="5496626" y="2340038"/>
                  <a:pt x="5498333" y="2339612"/>
                </a:cubicBezTo>
                <a:close/>
                <a:moveTo>
                  <a:pt x="1032666" y="2337562"/>
                </a:moveTo>
                <a:cubicBezTo>
                  <a:pt x="1032459" y="2338337"/>
                  <a:pt x="1033182" y="2339421"/>
                  <a:pt x="1033079" y="2340195"/>
                </a:cubicBezTo>
                <a:cubicBezTo>
                  <a:pt x="1031117" y="2341745"/>
                  <a:pt x="1028742" y="2339886"/>
                  <a:pt x="1028949" y="2339111"/>
                </a:cubicBezTo>
                <a:cubicBezTo>
                  <a:pt x="1029878" y="2338182"/>
                  <a:pt x="1031633" y="2338337"/>
                  <a:pt x="1032666" y="2337562"/>
                </a:cubicBezTo>
                <a:close/>
                <a:moveTo>
                  <a:pt x="5199972" y="2337477"/>
                </a:moveTo>
                <a:cubicBezTo>
                  <a:pt x="5201039" y="2337051"/>
                  <a:pt x="5202107" y="2337051"/>
                  <a:pt x="5203600" y="2337477"/>
                </a:cubicBezTo>
                <a:cubicBezTo>
                  <a:pt x="5207655" y="2338758"/>
                  <a:pt x="5213418" y="2343452"/>
                  <a:pt x="5215765" y="2346298"/>
                </a:cubicBezTo>
                <a:cubicBezTo>
                  <a:pt x="5214911" y="2346867"/>
                  <a:pt x="5213631" y="2346725"/>
                  <a:pt x="5212350" y="2346298"/>
                </a:cubicBezTo>
                <a:cubicBezTo>
                  <a:pt x="5208295" y="2345017"/>
                  <a:pt x="5202533" y="2340465"/>
                  <a:pt x="5199972" y="2337477"/>
                </a:cubicBezTo>
                <a:close/>
                <a:moveTo>
                  <a:pt x="1105152" y="2336323"/>
                </a:moveTo>
                <a:cubicBezTo>
                  <a:pt x="1106700" y="2335704"/>
                  <a:pt x="1108662" y="2335704"/>
                  <a:pt x="1111140" y="2336323"/>
                </a:cubicBezTo>
                <a:cubicBezTo>
                  <a:pt x="1116613" y="2337872"/>
                  <a:pt x="1122086" y="2341280"/>
                  <a:pt x="1119607" y="2349644"/>
                </a:cubicBezTo>
                <a:cubicBezTo>
                  <a:pt x="1119607" y="2351503"/>
                  <a:pt x="1119195" y="2350728"/>
                  <a:pt x="1118781" y="2351812"/>
                </a:cubicBezTo>
                <a:cubicBezTo>
                  <a:pt x="1118368" y="2352897"/>
                  <a:pt x="1118368" y="2354756"/>
                  <a:pt x="1118781" y="2355530"/>
                </a:cubicBezTo>
                <a:cubicBezTo>
                  <a:pt x="1114445" y="2354446"/>
                  <a:pt x="1114032" y="2357389"/>
                  <a:pt x="1107424" y="2355220"/>
                </a:cubicBezTo>
                <a:cubicBezTo>
                  <a:pt x="1100918" y="2353671"/>
                  <a:pt x="1098750" y="2349799"/>
                  <a:pt x="1098336" y="2346391"/>
                </a:cubicBezTo>
                <a:cubicBezTo>
                  <a:pt x="1098233" y="2345152"/>
                  <a:pt x="1098336" y="2344068"/>
                  <a:pt x="1098543" y="2342984"/>
                </a:cubicBezTo>
                <a:cubicBezTo>
                  <a:pt x="1099369" y="2343448"/>
                  <a:pt x="1100505" y="2337872"/>
                  <a:pt x="1105152" y="2336323"/>
                </a:cubicBezTo>
                <a:close/>
                <a:moveTo>
                  <a:pt x="4993808" y="2333778"/>
                </a:moveTo>
                <a:cubicBezTo>
                  <a:pt x="4995089" y="2333921"/>
                  <a:pt x="4994876" y="2335201"/>
                  <a:pt x="4996156" y="2335343"/>
                </a:cubicBezTo>
                <a:cubicBezTo>
                  <a:pt x="4996583" y="2336055"/>
                  <a:pt x="4996796" y="2337193"/>
                  <a:pt x="4996583" y="2338758"/>
                </a:cubicBezTo>
                <a:cubicBezTo>
                  <a:pt x="4996370" y="2343026"/>
                  <a:pt x="4993595" y="2349428"/>
                  <a:pt x="4992741" y="2349286"/>
                </a:cubicBezTo>
                <a:cubicBezTo>
                  <a:pt x="4992741" y="2350424"/>
                  <a:pt x="4991461" y="2350282"/>
                  <a:pt x="4991461" y="2351562"/>
                </a:cubicBezTo>
                <a:cubicBezTo>
                  <a:pt x="4991461" y="2351562"/>
                  <a:pt x="4991248" y="2352700"/>
                  <a:pt x="4990180" y="2353696"/>
                </a:cubicBezTo>
                <a:cubicBezTo>
                  <a:pt x="4988900" y="2354692"/>
                  <a:pt x="4987620" y="2355688"/>
                  <a:pt x="4985485" y="2354123"/>
                </a:cubicBezTo>
                <a:cubicBezTo>
                  <a:pt x="4989540" y="2345160"/>
                  <a:pt x="4989754" y="2340322"/>
                  <a:pt x="4993808" y="2333778"/>
                </a:cubicBezTo>
                <a:close/>
                <a:moveTo>
                  <a:pt x="854032" y="2332296"/>
                </a:moveTo>
                <a:cubicBezTo>
                  <a:pt x="855788" y="2334619"/>
                  <a:pt x="855788" y="2338956"/>
                  <a:pt x="851967" y="2341899"/>
                </a:cubicBezTo>
                <a:cubicBezTo>
                  <a:pt x="848250" y="2341745"/>
                  <a:pt x="845978" y="2340350"/>
                  <a:pt x="844223" y="2339731"/>
                </a:cubicBezTo>
                <a:lnTo>
                  <a:pt x="844430" y="2336788"/>
                </a:lnTo>
                <a:lnTo>
                  <a:pt x="843397" y="2338492"/>
                </a:lnTo>
                <a:cubicBezTo>
                  <a:pt x="842468" y="2339886"/>
                  <a:pt x="841538" y="2340815"/>
                  <a:pt x="839370" y="2340505"/>
                </a:cubicBezTo>
                <a:cubicBezTo>
                  <a:pt x="838957" y="2338801"/>
                  <a:pt x="840093" y="2336788"/>
                  <a:pt x="841848" y="2335394"/>
                </a:cubicBezTo>
                <a:lnTo>
                  <a:pt x="844636" y="2334309"/>
                </a:lnTo>
                <a:lnTo>
                  <a:pt x="844739" y="2333070"/>
                </a:lnTo>
                <a:cubicBezTo>
                  <a:pt x="848457" y="2329198"/>
                  <a:pt x="852174" y="2329817"/>
                  <a:pt x="854032" y="2332296"/>
                </a:cubicBezTo>
                <a:close/>
                <a:moveTo>
                  <a:pt x="882325" y="2332141"/>
                </a:moveTo>
                <a:cubicBezTo>
                  <a:pt x="884184" y="2334464"/>
                  <a:pt x="880363" y="2341589"/>
                  <a:pt x="877885" y="2344378"/>
                </a:cubicBezTo>
                <a:cubicBezTo>
                  <a:pt x="877471" y="2343758"/>
                  <a:pt x="877368" y="2342829"/>
                  <a:pt x="877471" y="2341899"/>
                </a:cubicBezTo>
                <a:cubicBezTo>
                  <a:pt x="877885" y="2338801"/>
                  <a:pt x="880569" y="2334309"/>
                  <a:pt x="882325" y="2332141"/>
                </a:cubicBezTo>
                <a:close/>
                <a:moveTo>
                  <a:pt x="1020688" y="2330127"/>
                </a:moveTo>
                <a:cubicBezTo>
                  <a:pt x="1020688" y="2330127"/>
                  <a:pt x="1020378" y="2331366"/>
                  <a:pt x="1020069" y="2332451"/>
                </a:cubicBezTo>
                <a:cubicBezTo>
                  <a:pt x="1019759" y="2333690"/>
                  <a:pt x="1019759" y="2333690"/>
                  <a:pt x="1020998" y="2334000"/>
                </a:cubicBezTo>
                <a:cubicBezTo>
                  <a:pt x="1020688" y="2335084"/>
                  <a:pt x="1020688" y="2335084"/>
                  <a:pt x="1019139" y="2336168"/>
                </a:cubicBezTo>
                <a:cubicBezTo>
                  <a:pt x="1019449" y="2334929"/>
                  <a:pt x="1019449" y="2329972"/>
                  <a:pt x="1020688" y="2330127"/>
                </a:cubicBezTo>
                <a:close/>
                <a:moveTo>
                  <a:pt x="967821" y="2329662"/>
                </a:moveTo>
                <a:cubicBezTo>
                  <a:pt x="971435" y="2330127"/>
                  <a:pt x="975049" y="2330437"/>
                  <a:pt x="976804" y="2332451"/>
                </a:cubicBezTo>
                <a:lnTo>
                  <a:pt x="975978" y="2334929"/>
                </a:lnTo>
                <a:lnTo>
                  <a:pt x="976804" y="2337872"/>
                </a:lnTo>
                <a:cubicBezTo>
                  <a:pt x="977217" y="2341280"/>
                  <a:pt x="974635" y="2341435"/>
                  <a:pt x="971641" y="2342519"/>
                </a:cubicBezTo>
                <a:cubicBezTo>
                  <a:pt x="971125" y="2341589"/>
                  <a:pt x="970196" y="2340970"/>
                  <a:pt x="969266" y="2340350"/>
                </a:cubicBezTo>
                <a:lnTo>
                  <a:pt x="969163" y="2340195"/>
                </a:lnTo>
                <a:lnTo>
                  <a:pt x="968647" y="2340350"/>
                </a:lnTo>
                <a:cubicBezTo>
                  <a:pt x="966891" y="2338956"/>
                  <a:pt x="966375" y="2336943"/>
                  <a:pt x="966582" y="2335084"/>
                </a:cubicBezTo>
                <a:cubicBezTo>
                  <a:pt x="966685" y="2333070"/>
                  <a:pt x="967408" y="2331056"/>
                  <a:pt x="967821" y="2329662"/>
                </a:cubicBezTo>
                <a:close/>
                <a:moveTo>
                  <a:pt x="5735015" y="2329226"/>
                </a:moveTo>
                <a:cubicBezTo>
                  <a:pt x="5736083" y="2330933"/>
                  <a:pt x="5736510" y="2332356"/>
                  <a:pt x="5736296" y="2334063"/>
                </a:cubicBezTo>
                <a:lnTo>
                  <a:pt x="5735229" y="2337477"/>
                </a:lnTo>
                <a:lnTo>
                  <a:pt x="5743126" y="2339042"/>
                </a:lnTo>
                <a:cubicBezTo>
                  <a:pt x="5746114" y="2339327"/>
                  <a:pt x="5748461" y="2339896"/>
                  <a:pt x="5749742" y="2341603"/>
                </a:cubicBezTo>
                <a:cubicBezTo>
                  <a:pt x="5750382" y="2342741"/>
                  <a:pt x="5750595" y="2344449"/>
                  <a:pt x="5749955" y="2347009"/>
                </a:cubicBezTo>
                <a:cubicBezTo>
                  <a:pt x="5745259" y="2348006"/>
                  <a:pt x="5726905" y="2346725"/>
                  <a:pt x="5733308" y="2337051"/>
                </a:cubicBezTo>
                <a:lnTo>
                  <a:pt x="5732028" y="2333778"/>
                </a:lnTo>
                <a:cubicBezTo>
                  <a:pt x="5732241" y="2332213"/>
                  <a:pt x="5733308" y="2330791"/>
                  <a:pt x="5735015" y="2329226"/>
                </a:cubicBezTo>
                <a:close/>
                <a:moveTo>
                  <a:pt x="5310737" y="2329083"/>
                </a:moveTo>
                <a:cubicBezTo>
                  <a:pt x="5310950" y="2329226"/>
                  <a:pt x="5311164" y="2329511"/>
                  <a:pt x="5311591" y="2329653"/>
                </a:cubicBezTo>
                <a:cubicBezTo>
                  <a:pt x="5310524" y="2330791"/>
                  <a:pt x="5310524" y="2330791"/>
                  <a:pt x="5309670" y="2329368"/>
                </a:cubicBezTo>
                <a:cubicBezTo>
                  <a:pt x="5310097" y="2328799"/>
                  <a:pt x="5310310" y="2328799"/>
                  <a:pt x="5310737" y="2329083"/>
                </a:cubicBezTo>
                <a:close/>
                <a:moveTo>
                  <a:pt x="808290" y="2329043"/>
                </a:moveTo>
                <a:cubicBezTo>
                  <a:pt x="816963" y="2327804"/>
                  <a:pt x="829251" y="2343603"/>
                  <a:pt x="822539" y="2350883"/>
                </a:cubicBezTo>
                <a:cubicBezTo>
                  <a:pt x="818202" y="2342519"/>
                  <a:pt x="811181" y="2339576"/>
                  <a:pt x="808290" y="2329043"/>
                </a:cubicBezTo>
                <a:close/>
                <a:moveTo>
                  <a:pt x="1047638" y="2328733"/>
                </a:moveTo>
                <a:cubicBezTo>
                  <a:pt x="1051355" y="2329817"/>
                  <a:pt x="1053317" y="2331831"/>
                  <a:pt x="1054040" y="2333844"/>
                </a:cubicBezTo>
                <a:cubicBezTo>
                  <a:pt x="1054969" y="2337098"/>
                  <a:pt x="1053007" y="2340815"/>
                  <a:pt x="1049909" y="2343138"/>
                </a:cubicBezTo>
                <a:lnTo>
                  <a:pt x="1048154" y="2343913"/>
                </a:lnTo>
                <a:lnTo>
                  <a:pt x="1048774" y="2343913"/>
                </a:lnTo>
                <a:cubicBezTo>
                  <a:pt x="1046915" y="2347321"/>
                  <a:pt x="1045883" y="2349799"/>
                  <a:pt x="1044024" y="2353207"/>
                </a:cubicBezTo>
                <a:cubicBezTo>
                  <a:pt x="1043095" y="2354136"/>
                  <a:pt x="1039584" y="2355995"/>
                  <a:pt x="1038758" y="2355220"/>
                </a:cubicBezTo>
                <a:cubicBezTo>
                  <a:pt x="1037828" y="2354446"/>
                  <a:pt x="1037932" y="2353516"/>
                  <a:pt x="1037932" y="2352742"/>
                </a:cubicBezTo>
                <a:cubicBezTo>
                  <a:pt x="1038861" y="2351038"/>
                  <a:pt x="1039790" y="2349334"/>
                  <a:pt x="1040823" y="2347630"/>
                </a:cubicBezTo>
                <a:lnTo>
                  <a:pt x="1043301" y="2345462"/>
                </a:lnTo>
                <a:lnTo>
                  <a:pt x="1038448" y="2344688"/>
                </a:lnTo>
                <a:cubicBezTo>
                  <a:pt x="1037828" y="2343448"/>
                  <a:pt x="1037932" y="2341745"/>
                  <a:pt x="1038242" y="2340195"/>
                </a:cubicBezTo>
                <a:cubicBezTo>
                  <a:pt x="1039377" y="2335394"/>
                  <a:pt x="1043921" y="2329972"/>
                  <a:pt x="1047638" y="2328733"/>
                </a:cubicBezTo>
                <a:close/>
                <a:moveTo>
                  <a:pt x="5015791" y="2328515"/>
                </a:moveTo>
                <a:cubicBezTo>
                  <a:pt x="5016645" y="2328515"/>
                  <a:pt x="5017285" y="2328515"/>
                  <a:pt x="5018138" y="2328799"/>
                </a:cubicBezTo>
                <a:cubicBezTo>
                  <a:pt x="5018779" y="2329083"/>
                  <a:pt x="5019633" y="2329511"/>
                  <a:pt x="5020273" y="2330221"/>
                </a:cubicBezTo>
                <a:cubicBezTo>
                  <a:pt x="5020913" y="2330791"/>
                  <a:pt x="5021126" y="2331644"/>
                  <a:pt x="5020913" y="2332498"/>
                </a:cubicBezTo>
                <a:cubicBezTo>
                  <a:pt x="5019846" y="2333067"/>
                  <a:pt x="5020059" y="2334063"/>
                  <a:pt x="5018992" y="2334632"/>
                </a:cubicBezTo>
                <a:cubicBezTo>
                  <a:pt x="5017285" y="2336766"/>
                  <a:pt x="5016218" y="2337335"/>
                  <a:pt x="5014724" y="2336766"/>
                </a:cubicBezTo>
                <a:cubicBezTo>
                  <a:pt x="5013657" y="2337335"/>
                  <a:pt x="5013230" y="2336197"/>
                  <a:pt x="5011736" y="2335628"/>
                </a:cubicBezTo>
                <a:cubicBezTo>
                  <a:pt x="5011309" y="2334632"/>
                  <a:pt x="5011949" y="2333067"/>
                  <a:pt x="5011949" y="2333067"/>
                </a:cubicBezTo>
                <a:cubicBezTo>
                  <a:pt x="5012590" y="2331360"/>
                  <a:pt x="5012590" y="2331360"/>
                  <a:pt x="5011096" y="2330933"/>
                </a:cubicBezTo>
                <a:cubicBezTo>
                  <a:pt x="5011096" y="2330933"/>
                  <a:pt x="5012162" y="2330364"/>
                  <a:pt x="5012162" y="2330364"/>
                </a:cubicBezTo>
                <a:cubicBezTo>
                  <a:pt x="5012590" y="2331360"/>
                  <a:pt x="5012162" y="2330364"/>
                  <a:pt x="5012803" y="2328799"/>
                </a:cubicBezTo>
                <a:cubicBezTo>
                  <a:pt x="5014083" y="2328799"/>
                  <a:pt x="5015150" y="2328656"/>
                  <a:pt x="5015791" y="2328515"/>
                </a:cubicBezTo>
                <a:close/>
                <a:moveTo>
                  <a:pt x="5657971" y="2328088"/>
                </a:moveTo>
                <a:cubicBezTo>
                  <a:pt x="5658825" y="2327803"/>
                  <a:pt x="5659678" y="2327803"/>
                  <a:pt x="5660959" y="2328372"/>
                </a:cubicBezTo>
                <a:cubicBezTo>
                  <a:pt x="5659038" y="2329937"/>
                  <a:pt x="5656050" y="2333210"/>
                  <a:pt x="5653703" y="2333778"/>
                </a:cubicBezTo>
                <a:cubicBezTo>
                  <a:pt x="5652849" y="2333921"/>
                  <a:pt x="5652208" y="2333778"/>
                  <a:pt x="5651568" y="2333067"/>
                </a:cubicBezTo>
                <a:cubicBezTo>
                  <a:pt x="5653276" y="2331502"/>
                  <a:pt x="5655196" y="2328656"/>
                  <a:pt x="5657971" y="2328088"/>
                </a:cubicBezTo>
                <a:close/>
                <a:moveTo>
                  <a:pt x="5544005" y="2327803"/>
                </a:moveTo>
                <a:cubicBezTo>
                  <a:pt x="5545499" y="2327945"/>
                  <a:pt x="5546779" y="2328372"/>
                  <a:pt x="5548273" y="2328941"/>
                </a:cubicBezTo>
                <a:cubicBezTo>
                  <a:pt x="5551048" y="2340892"/>
                  <a:pt x="5537815" y="2347152"/>
                  <a:pt x="5531627" y="2335912"/>
                </a:cubicBezTo>
                <a:cubicBezTo>
                  <a:pt x="5534401" y="2331786"/>
                  <a:pt x="5536962" y="2329511"/>
                  <a:pt x="5539736" y="2328515"/>
                </a:cubicBezTo>
                <a:cubicBezTo>
                  <a:pt x="5541230" y="2327945"/>
                  <a:pt x="5542511" y="2327803"/>
                  <a:pt x="5544005" y="2327803"/>
                </a:cubicBezTo>
                <a:close/>
                <a:moveTo>
                  <a:pt x="908242" y="2327649"/>
                </a:moveTo>
                <a:cubicBezTo>
                  <a:pt x="910204" y="2327649"/>
                  <a:pt x="909378" y="2331056"/>
                  <a:pt x="909791" y="2331676"/>
                </a:cubicBezTo>
                <a:cubicBezTo>
                  <a:pt x="909481" y="2332915"/>
                  <a:pt x="909275" y="2334000"/>
                  <a:pt x="908035" y="2333690"/>
                </a:cubicBezTo>
                <a:cubicBezTo>
                  <a:pt x="906899" y="2333225"/>
                  <a:pt x="906074" y="2333690"/>
                  <a:pt x="905970" y="2331676"/>
                </a:cubicBezTo>
                <a:cubicBezTo>
                  <a:pt x="905454" y="2331056"/>
                  <a:pt x="905764" y="2329972"/>
                  <a:pt x="905248" y="2329198"/>
                </a:cubicBezTo>
                <a:cubicBezTo>
                  <a:pt x="905248" y="2329198"/>
                  <a:pt x="905764" y="2328733"/>
                  <a:pt x="906280" y="2328268"/>
                </a:cubicBezTo>
                <a:cubicBezTo>
                  <a:pt x="906899" y="2327804"/>
                  <a:pt x="907622" y="2327494"/>
                  <a:pt x="908242" y="2327649"/>
                </a:cubicBezTo>
                <a:close/>
                <a:moveTo>
                  <a:pt x="1092038" y="2327494"/>
                </a:moveTo>
                <a:cubicBezTo>
                  <a:pt x="1096271" y="2328113"/>
                  <a:pt x="1097821" y="2332605"/>
                  <a:pt x="1092864" y="2335394"/>
                </a:cubicBezTo>
                <a:cubicBezTo>
                  <a:pt x="1091419" y="2333225"/>
                  <a:pt x="1089973" y="2331056"/>
                  <a:pt x="1090696" y="2329198"/>
                </a:cubicBezTo>
                <a:cubicBezTo>
                  <a:pt x="1090902" y="2328578"/>
                  <a:pt x="1091315" y="2327958"/>
                  <a:pt x="1092038" y="2327494"/>
                </a:cubicBezTo>
                <a:close/>
                <a:moveTo>
                  <a:pt x="5354701" y="2327376"/>
                </a:moveTo>
                <a:cubicBezTo>
                  <a:pt x="5360037" y="2337762"/>
                  <a:pt x="5353421" y="2343026"/>
                  <a:pt x="5347872" y="2342314"/>
                </a:cubicBezTo>
                <a:cubicBezTo>
                  <a:pt x="5345951" y="2342030"/>
                  <a:pt x="5344244" y="2341177"/>
                  <a:pt x="5342963" y="2339469"/>
                </a:cubicBezTo>
                <a:cubicBezTo>
                  <a:pt x="5341256" y="2337335"/>
                  <a:pt x="5340616" y="2333921"/>
                  <a:pt x="5342323" y="2329226"/>
                </a:cubicBezTo>
                <a:cubicBezTo>
                  <a:pt x="5347445" y="2326523"/>
                  <a:pt x="5350646" y="2328088"/>
                  <a:pt x="5354701" y="2327376"/>
                </a:cubicBezTo>
                <a:close/>
                <a:moveTo>
                  <a:pt x="988266" y="2327184"/>
                </a:moveTo>
                <a:cubicBezTo>
                  <a:pt x="988266" y="2327184"/>
                  <a:pt x="987956" y="2328268"/>
                  <a:pt x="988472" y="2329043"/>
                </a:cubicBezTo>
                <a:cubicBezTo>
                  <a:pt x="988472" y="2329043"/>
                  <a:pt x="988162" y="2330127"/>
                  <a:pt x="987853" y="2331366"/>
                </a:cubicBezTo>
                <a:cubicBezTo>
                  <a:pt x="987853" y="2331366"/>
                  <a:pt x="988369" y="2331986"/>
                  <a:pt x="988782" y="2332605"/>
                </a:cubicBezTo>
                <a:cubicBezTo>
                  <a:pt x="988679" y="2335704"/>
                  <a:pt x="988782" y="2337407"/>
                  <a:pt x="985374" y="2338647"/>
                </a:cubicBezTo>
                <a:cubicBezTo>
                  <a:pt x="985168" y="2338337"/>
                  <a:pt x="985271" y="2337562"/>
                  <a:pt x="985374" y="2336788"/>
                </a:cubicBezTo>
                <a:cubicBezTo>
                  <a:pt x="985478" y="2336013"/>
                  <a:pt x="985684" y="2335239"/>
                  <a:pt x="985891" y="2334619"/>
                </a:cubicBezTo>
                <a:cubicBezTo>
                  <a:pt x="985374" y="2333844"/>
                  <a:pt x="985684" y="2332760"/>
                  <a:pt x="986407" y="2332296"/>
                </a:cubicBezTo>
                <a:cubicBezTo>
                  <a:pt x="986407" y="2332296"/>
                  <a:pt x="986717" y="2331056"/>
                  <a:pt x="986303" y="2330437"/>
                </a:cubicBezTo>
                <a:cubicBezTo>
                  <a:pt x="986820" y="2328113"/>
                  <a:pt x="987543" y="2327649"/>
                  <a:pt x="988266" y="2327184"/>
                </a:cubicBezTo>
                <a:close/>
                <a:moveTo>
                  <a:pt x="5068932" y="2327092"/>
                </a:moveTo>
                <a:cubicBezTo>
                  <a:pt x="5069573" y="2327376"/>
                  <a:pt x="5070000" y="2327519"/>
                  <a:pt x="5070213" y="2328088"/>
                </a:cubicBezTo>
                <a:cubicBezTo>
                  <a:pt x="5070640" y="2328515"/>
                  <a:pt x="5070853" y="2329368"/>
                  <a:pt x="5071280" y="2330933"/>
                </a:cubicBezTo>
                <a:cubicBezTo>
                  <a:pt x="5070000" y="2330364"/>
                  <a:pt x="5070000" y="2330364"/>
                  <a:pt x="5069146" y="2331929"/>
                </a:cubicBezTo>
                <a:cubicBezTo>
                  <a:pt x="5069146" y="2331929"/>
                  <a:pt x="5069146" y="2331786"/>
                  <a:pt x="5069573" y="2332925"/>
                </a:cubicBezTo>
                <a:cubicBezTo>
                  <a:pt x="5068505" y="2333351"/>
                  <a:pt x="5068292" y="2332213"/>
                  <a:pt x="5067225" y="2332640"/>
                </a:cubicBezTo>
                <a:cubicBezTo>
                  <a:pt x="5067225" y="2332640"/>
                  <a:pt x="5066798" y="2331644"/>
                  <a:pt x="5066798" y="2331644"/>
                </a:cubicBezTo>
                <a:cubicBezTo>
                  <a:pt x="5066372" y="2331786"/>
                  <a:pt x="5066372" y="2331786"/>
                  <a:pt x="5066372" y="2331360"/>
                </a:cubicBezTo>
                <a:cubicBezTo>
                  <a:pt x="5066585" y="2331075"/>
                  <a:pt x="5067012" y="2330364"/>
                  <a:pt x="5067225" y="2329083"/>
                </a:cubicBezTo>
                <a:cubicBezTo>
                  <a:pt x="5067865" y="2327519"/>
                  <a:pt x="5067652" y="2326380"/>
                  <a:pt x="5068932" y="2327092"/>
                </a:cubicBezTo>
                <a:close/>
                <a:moveTo>
                  <a:pt x="948409" y="2326100"/>
                </a:moveTo>
                <a:lnTo>
                  <a:pt x="948409" y="2326875"/>
                </a:lnTo>
                <a:lnTo>
                  <a:pt x="948615" y="2326720"/>
                </a:lnTo>
                <a:close/>
                <a:moveTo>
                  <a:pt x="5512845" y="2325527"/>
                </a:moveTo>
                <a:cubicBezTo>
                  <a:pt x="5518394" y="2326096"/>
                  <a:pt x="5524157" y="2328656"/>
                  <a:pt x="5524584" y="2332640"/>
                </a:cubicBezTo>
                <a:cubicBezTo>
                  <a:pt x="5525011" y="2336197"/>
                  <a:pt x="5521382" y="2340607"/>
                  <a:pt x="5509858" y="2345587"/>
                </a:cubicBezTo>
                <a:cubicBezTo>
                  <a:pt x="5497479" y="2333210"/>
                  <a:pt x="5500681" y="2327234"/>
                  <a:pt x="5507297" y="2325811"/>
                </a:cubicBezTo>
                <a:cubicBezTo>
                  <a:pt x="5509004" y="2325527"/>
                  <a:pt x="5510925" y="2325385"/>
                  <a:pt x="5512845" y="2325527"/>
                </a:cubicBezTo>
                <a:close/>
                <a:moveTo>
                  <a:pt x="5048871" y="2325527"/>
                </a:moveTo>
                <a:cubicBezTo>
                  <a:pt x="5050365" y="2325242"/>
                  <a:pt x="5052286" y="2325242"/>
                  <a:pt x="5053139" y="2326238"/>
                </a:cubicBezTo>
                <a:cubicBezTo>
                  <a:pt x="5056767" y="2327945"/>
                  <a:pt x="5051218" y="2333067"/>
                  <a:pt x="5051218" y="2334916"/>
                </a:cubicBezTo>
                <a:lnTo>
                  <a:pt x="5050578" y="2335485"/>
                </a:lnTo>
                <a:lnTo>
                  <a:pt x="5051646" y="2341177"/>
                </a:lnTo>
                <a:cubicBezTo>
                  <a:pt x="5051859" y="2343595"/>
                  <a:pt x="5051859" y="2345444"/>
                  <a:pt x="5051432" y="2345587"/>
                </a:cubicBezTo>
                <a:cubicBezTo>
                  <a:pt x="5051859" y="2346725"/>
                  <a:pt x="5050578" y="2347294"/>
                  <a:pt x="5051005" y="2348432"/>
                </a:cubicBezTo>
                <a:cubicBezTo>
                  <a:pt x="5051005" y="2348432"/>
                  <a:pt x="5051432" y="2349428"/>
                  <a:pt x="5050792" y="2350993"/>
                </a:cubicBezTo>
                <a:cubicBezTo>
                  <a:pt x="5050151" y="2352700"/>
                  <a:pt x="5049511" y="2354407"/>
                  <a:pt x="5046950" y="2354407"/>
                </a:cubicBezTo>
                <a:cubicBezTo>
                  <a:pt x="5046950" y="2349143"/>
                  <a:pt x="5046310" y="2345444"/>
                  <a:pt x="5046096" y="2342030"/>
                </a:cubicBezTo>
                <a:lnTo>
                  <a:pt x="5045883" y="2336624"/>
                </a:lnTo>
                <a:cubicBezTo>
                  <a:pt x="5043962" y="2334916"/>
                  <a:pt x="5042042" y="2334916"/>
                  <a:pt x="5043962" y="2331360"/>
                </a:cubicBezTo>
                <a:cubicBezTo>
                  <a:pt x="5043962" y="2329653"/>
                  <a:pt x="5045883" y="2327945"/>
                  <a:pt x="5045883" y="2326238"/>
                </a:cubicBezTo>
                <a:cubicBezTo>
                  <a:pt x="5045883" y="2326238"/>
                  <a:pt x="5047163" y="2325669"/>
                  <a:pt x="5048871" y="2325527"/>
                </a:cubicBezTo>
                <a:close/>
                <a:moveTo>
                  <a:pt x="5172868" y="2324958"/>
                </a:moveTo>
                <a:cubicBezTo>
                  <a:pt x="5173508" y="2325100"/>
                  <a:pt x="5173935" y="2325385"/>
                  <a:pt x="5174575" y="2326096"/>
                </a:cubicBezTo>
                <a:cubicBezTo>
                  <a:pt x="5175642" y="2327376"/>
                  <a:pt x="5176709" y="2328799"/>
                  <a:pt x="5176709" y="2331218"/>
                </a:cubicBezTo>
                <a:cubicBezTo>
                  <a:pt x="5174362" y="2333210"/>
                  <a:pt x="5170947" y="2331644"/>
                  <a:pt x="5169666" y="2332640"/>
                </a:cubicBezTo>
                <a:cubicBezTo>
                  <a:pt x="5169880" y="2331502"/>
                  <a:pt x="5169880" y="2329083"/>
                  <a:pt x="5167532" y="2327661"/>
                </a:cubicBezTo>
                <a:cubicBezTo>
                  <a:pt x="5168813" y="2326665"/>
                  <a:pt x="5169880" y="2325527"/>
                  <a:pt x="5171161" y="2325100"/>
                </a:cubicBezTo>
                <a:cubicBezTo>
                  <a:pt x="5171587" y="2324815"/>
                  <a:pt x="5172227" y="2324815"/>
                  <a:pt x="5172868" y="2324958"/>
                </a:cubicBezTo>
                <a:close/>
                <a:moveTo>
                  <a:pt x="878091" y="2323311"/>
                </a:moveTo>
                <a:cubicBezTo>
                  <a:pt x="880260" y="2321298"/>
                  <a:pt x="886662" y="2321298"/>
                  <a:pt x="888520" y="2323931"/>
                </a:cubicBezTo>
                <a:cubicBezTo>
                  <a:pt x="889140" y="2324861"/>
                  <a:pt x="889140" y="2326100"/>
                  <a:pt x="888417" y="2327494"/>
                </a:cubicBezTo>
                <a:cubicBezTo>
                  <a:pt x="885938" y="2331831"/>
                  <a:pt x="881912" y="2330592"/>
                  <a:pt x="877678" y="2328578"/>
                </a:cubicBezTo>
                <a:cubicBezTo>
                  <a:pt x="878091" y="2326720"/>
                  <a:pt x="877678" y="2325171"/>
                  <a:pt x="878091" y="2323311"/>
                </a:cubicBezTo>
                <a:close/>
                <a:moveTo>
                  <a:pt x="5139148" y="2323108"/>
                </a:moveTo>
                <a:cubicBezTo>
                  <a:pt x="5141069" y="2323392"/>
                  <a:pt x="5142562" y="2323962"/>
                  <a:pt x="5143629" y="2324958"/>
                </a:cubicBezTo>
                <a:cubicBezTo>
                  <a:pt x="5144697" y="2328372"/>
                  <a:pt x="5145550" y="2331644"/>
                  <a:pt x="5146617" y="2334916"/>
                </a:cubicBezTo>
                <a:cubicBezTo>
                  <a:pt x="5145764" y="2337904"/>
                  <a:pt x="5143843" y="2339896"/>
                  <a:pt x="5141709" y="2341034"/>
                </a:cubicBezTo>
                <a:lnTo>
                  <a:pt x="5137226" y="2341319"/>
                </a:lnTo>
                <a:lnTo>
                  <a:pt x="5137654" y="2343026"/>
                </a:lnTo>
                <a:cubicBezTo>
                  <a:pt x="5135093" y="2354550"/>
                  <a:pt x="5119513" y="2363797"/>
                  <a:pt x="5106281" y="2363939"/>
                </a:cubicBezTo>
                <a:lnTo>
                  <a:pt x="5102866" y="2363513"/>
                </a:lnTo>
                <a:lnTo>
                  <a:pt x="5102653" y="2364793"/>
                </a:lnTo>
                <a:cubicBezTo>
                  <a:pt x="5101799" y="2368350"/>
                  <a:pt x="5100518" y="2371480"/>
                  <a:pt x="5099451" y="2373187"/>
                </a:cubicBezTo>
                <a:cubicBezTo>
                  <a:pt x="5096677" y="2362659"/>
                  <a:pt x="5092835" y="2345017"/>
                  <a:pt x="5096677" y="2335485"/>
                </a:cubicBezTo>
                <a:lnTo>
                  <a:pt x="5102013" y="2340465"/>
                </a:lnTo>
                <a:lnTo>
                  <a:pt x="5109056" y="2333636"/>
                </a:lnTo>
                <a:cubicBezTo>
                  <a:pt x="5112470" y="2331360"/>
                  <a:pt x="5116312" y="2329795"/>
                  <a:pt x="5120153" y="2329083"/>
                </a:cubicBezTo>
                <a:lnTo>
                  <a:pt x="5126769" y="2328799"/>
                </a:lnTo>
                <a:lnTo>
                  <a:pt x="5130824" y="2324246"/>
                </a:lnTo>
                <a:cubicBezTo>
                  <a:pt x="5133385" y="2323108"/>
                  <a:pt x="5136373" y="2322682"/>
                  <a:pt x="5139148" y="2323108"/>
                </a:cubicBezTo>
                <a:close/>
                <a:moveTo>
                  <a:pt x="1131895" y="2322847"/>
                </a:moveTo>
                <a:cubicBezTo>
                  <a:pt x="1131998" y="2325790"/>
                  <a:pt x="1132411" y="2327029"/>
                  <a:pt x="1130243" y="2329043"/>
                </a:cubicBezTo>
                <a:cubicBezTo>
                  <a:pt x="1129933" y="2327958"/>
                  <a:pt x="1129830" y="2326875"/>
                  <a:pt x="1130036" y="2325790"/>
                </a:cubicBezTo>
                <a:cubicBezTo>
                  <a:pt x="1130243" y="2324861"/>
                  <a:pt x="1130862" y="2323777"/>
                  <a:pt x="1131895" y="2322847"/>
                </a:cubicBezTo>
                <a:close/>
                <a:moveTo>
                  <a:pt x="1006026" y="2322692"/>
                </a:moveTo>
                <a:cubicBezTo>
                  <a:pt x="1010362" y="2322847"/>
                  <a:pt x="1013254" y="2325790"/>
                  <a:pt x="1015112" y="2329662"/>
                </a:cubicBezTo>
                <a:lnTo>
                  <a:pt x="1017384" y="2340970"/>
                </a:lnTo>
                <a:lnTo>
                  <a:pt x="1019965" y="2340970"/>
                </a:lnTo>
                <a:cubicBezTo>
                  <a:pt x="1020998" y="2342209"/>
                  <a:pt x="1021101" y="2343448"/>
                  <a:pt x="1020585" y="2344533"/>
                </a:cubicBezTo>
                <a:lnTo>
                  <a:pt x="1019243" y="2346391"/>
                </a:lnTo>
                <a:lnTo>
                  <a:pt x="1024508" y="2346856"/>
                </a:lnTo>
                <a:cubicBezTo>
                  <a:pt x="1022753" y="2348869"/>
                  <a:pt x="1020172" y="2349180"/>
                  <a:pt x="1018726" y="2351968"/>
                </a:cubicBezTo>
                <a:lnTo>
                  <a:pt x="1018520" y="2353207"/>
                </a:lnTo>
                <a:lnTo>
                  <a:pt x="1019449" y="2352587"/>
                </a:lnTo>
                <a:cubicBezTo>
                  <a:pt x="1021204" y="2351503"/>
                  <a:pt x="1022960" y="2351038"/>
                  <a:pt x="1024612" y="2350883"/>
                </a:cubicBezTo>
                <a:cubicBezTo>
                  <a:pt x="1024199" y="2359557"/>
                  <a:pt x="1014080" y="2366373"/>
                  <a:pt x="1008297" y="2368387"/>
                </a:cubicBezTo>
                <a:cubicBezTo>
                  <a:pt x="1008400" y="2363894"/>
                  <a:pt x="1010982" y="2359713"/>
                  <a:pt x="1014183" y="2356459"/>
                </a:cubicBezTo>
                <a:lnTo>
                  <a:pt x="1016661" y="2354601"/>
                </a:lnTo>
                <a:lnTo>
                  <a:pt x="1015112" y="2353052"/>
                </a:lnTo>
                <a:lnTo>
                  <a:pt x="1015112" y="2353671"/>
                </a:lnTo>
                <a:lnTo>
                  <a:pt x="1010879" y="2350264"/>
                </a:lnTo>
                <a:lnTo>
                  <a:pt x="1009640" y="2349954"/>
                </a:lnTo>
                <a:cubicBezTo>
                  <a:pt x="1008194" y="2349954"/>
                  <a:pt x="1006645" y="2349954"/>
                  <a:pt x="1005509" y="2348560"/>
                </a:cubicBezTo>
                <a:lnTo>
                  <a:pt x="1007058" y="2344688"/>
                </a:lnTo>
                <a:lnTo>
                  <a:pt x="1006542" y="2343913"/>
                </a:lnTo>
                <a:cubicBezTo>
                  <a:pt x="1004890" y="2339886"/>
                  <a:pt x="1004373" y="2335548"/>
                  <a:pt x="1004683" y="2332760"/>
                </a:cubicBezTo>
                <a:cubicBezTo>
                  <a:pt x="1006748" y="2333690"/>
                  <a:pt x="1008607" y="2335084"/>
                  <a:pt x="1010156" y="2336788"/>
                </a:cubicBezTo>
                <a:lnTo>
                  <a:pt x="1013150" y="2341435"/>
                </a:lnTo>
                <a:lnTo>
                  <a:pt x="1015732" y="2340970"/>
                </a:lnTo>
                <a:lnTo>
                  <a:pt x="1011911" y="2338647"/>
                </a:lnTo>
                <a:cubicBezTo>
                  <a:pt x="1007574" y="2334464"/>
                  <a:pt x="1006852" y="2328578"/>
                  <a:pt x="1006026" y="2322692"/>
                </a:cubicBezTo>
                <a:close/>
                <a:moveTo>
                  <a:pt x="5023688" y="2320547"/>
                </a:moveTo>
                <a:cubicBezTo>
                  <a:pt x="5027316" y="2319694"/>
                  <a:pt x="5031157" y="2320690"/>
                  <a:pt x="5034572" y="2325527"/>
                </a:cubicBezTo>
                <a:cubicBezTo>
                  <a:pt x="5033932" y="2326949"/>
                  <a:pt x="5033078" y="2328372"/>
                  <a:pt x="5032438" y="2329795"/>
                </a:cubicBezTo>
                <a:cubicBezTo>
                  <a:pt x="5025395" y="2326665"/>
                  <a:pt x="5020059" y="2328088"/>
                  <a:pt x="5014510" y="2325811"/>
                </a:cubicBezTo>
                <a:cubicBezTo>
                  <a:pt x="5016858" y="2323962"/>
                  <a:pt x="5020273" y="2321401"/>
                  <a:pt x="5023688" y="2320547"/>
                </a:cubicBezTo>
                <a:close/>
                <a:moveTo>
                  <a:pt x="1127558" y="2320523"/>
                </a:moveTo>
                <a:cubicBezTo>
                  <a:pt x="1130243" y="2324086"/>
                  <a:pt x="1126732" y="2328268"/>
                  <a:pt x="1125183" y="2330592"/>
                </a:cubicBezTo>
                <a:lnTo>
                  <a:pt x="1123634" y="2329972"/>
                </a:lnTo>
                <a:lnTo>
                  <a:pt x="1123841" y="2331831"/>
                </a:lnTo>
                <a:cubicBezTo>
                  <a:pt x="1123634" y="2332605"/>
                  <a:pt x="1123428" y="2333535"/>
                  <a:pt x="1123222" y="2334464"/>
                </a:cubicBezTo>
                <a:cubicBezTo>
                  <a:pt x="1121260" y="2334309"/>
                  <a:pt x="1119401" y="2336013"/>
                  <a:pt x="1117026" y="2335084"/>
                </a:cubicBezTo>
                <a:cubicBezTo>
                  <a:pt x="1117026" y="2335084"/>
                  <a:pt x="1115787" y="2334619"/>
                  <a:pt x="1115064" y="2333070"/>
                </a:cubicBezTo>
                <a:cubicBezTo>
                  <a:pt x="1112276" y="2331366"/>
                  <a:pt x="1113515" y="2328113"/>
                  <a:pt x="1113515" y="2328113"/>
                </a:cubicBezTo>
                <a:cubicBezTo>
                  <a:pt x="1113515" y="2328113"/>
                  <a:pt x="1113515" y="2328113"/>
                  <a:pt x="1112793" y="2328424"/>
                </a:cubicBezTo>
                <a:cubicBezTo>
                  <a:pt x="1114341" y="2327804"/>
                  <a:pt x="1115477" y="2326410"/>
                  <a:pt x="1117026" y="2325790"/>
                </a:cubicBezTo>
                <a:lnTo>
                  <a:pt x="1117646" y="2326100"/>
                </a:lnTo>
                <a:lnTo>
                  <a:pt x="1117129" y="2325481"/>
                </a:lnTo>
                <a:cubicBezTo>
                  <a:pt x="1117852" y="2323311"/>
                  <a:pt x="1119195" y="2321763"/>
                  <a:pt x="1120950" y="2320833"/>
                </a:cubicBezTo>
                <a:cubicBezTo>
                  <a:pt x="1122602" y="2319904"/>
                  <a:pt x="1124873" y="2319749"/>
                  <a:pt x="1127558" y="2320523"/>
                </a:cubicBezTo>
                <a:close/>
                <a:moveTo>
                  <a:pt x="1045056" y="2319749"/>
                </a:moveTo>
                <a:cubicBezTo>
                  <a:pt x="1047741" y="2321763"/>
                  <a:pt x="1047328" y="2325016"/>
                  <a:pt x="1045469" y="2327804"/>
                </a:cubicBezTo>
                <a:cubicBezTo>
                  <a:pt x="1043714" y="2330592"/>
                  <a:pt x="1040513" y="2332915"/>
                  <a:pt x="1037622" y="2332760"/>
                </a:cubicBezTo>
                <a:cubicBezTo>
                  <a:pt x="1037416" y="2331212"/>
                  <a:pt x="1037416" y="2329662"/>
                  <a:pt x="1037519" y="2328268"/>
                </a:cubicBezTo>
                <a:cubicBezTo>
                  <a:pt x="1037828" y="2324241"/>
                  <a:pt x="1039687" y="2321298"/>
                  <a:pt x="1045056" y="2319749"/>
                </a:cubicBezTo>
                <a:close/>
                <a:moveTo>
                  <a:pt x="1019759" y="2319130"/>
                </a:moveTo>
                <a:cubicBezTo>
                  <a:pt x="1020894" y="2319284"/>
                  <a:pt x="1021411" y="2319904"/>
                  <a:pt x="1021824" y="2320679"/>
                </a:cubicBezTo>
                <a:cubicBezTo>
                  <a:pt x="1021514" y="2321763"/>
                  <a:pt x="1020791" y="2322382"/>
                  <a:pt x="1020482" y="2323466"/>
                </a:cubicBezTo>
                <a:cubicBezTo>
                  <a:pt x="1020894" y="2324086"/>
                  <a:pt x="1021824" y="2325481"/>
                  <a:pt x="1021514" y="2326720"/>
                </a:cubicBezTo>
                <a:cubicBezTo>
                  <a:pt x="1021204" y="2327804"/>
                  <a:pt x="1020172" y="2329508"/>
                  <a:pt x="1020172" y="2329508"/>
                </a:cubicBezTo>
                <a:cubicBezTo>
                  <a:pt x="1018933" y="2329353"/>
                  <a:pt x="1018933" y="2329198"/>
                  <a:pt x="1019655" y="2328733"/>
                </a:cubicBezTo>
                <a:cubicBezTo>
                  <a:pt x="1019552" y="2326875"/>
                  <a:pt x="1019965" y="2327649"/>
                  <a:pt x="1020275" y="2326410"/>
                </a:cubicBezTo>
                <a:cubicBezTo>
                  <a:pt x="1020585" y="2325325"/>
                  <a:pt x="1019862" y="2320988"/>
                  <a:pt x="1018726" y="2320833"/>
                </a:cubicBezTo>
                <a:cubicBezTo>
                  <a:pt x="1019449" y="2320214"/>
                  <a:pt x="1019759" y="2319130"/>
                  <a:pt x="1019759" y="2319130"/>
                </a:cubicBezTo>
                <a:close/>
                <a:moveTo>
                  <a:pt x="5678033" y="2319125"/>
                </a:moveTo>
                <a:cubicBezTo>
                  <a:pt x="5678673" y="2319694"/>
                  <a:pt x="5678673" y="2320405"/>
                  <a:pt x="5678246" y="2320974"/>
                </a:cubicBezTo>
                <a:cubicBezTo>
                  <a:pt x="5677819" y="2321544"/>
                  <a:pt x="5677179" y="2321970"/>
                  <a:pt x="5676752" y="2322539"/>
                </a:cubicBezTo>
                <a:cubicBezTo>
                  <a:pt x="5675471" y="2323535"/>
                  <a:pt x="5674191" y="2324531"/>
                  <a:pt x="5672910" y="2325527"/>
                </a:cubicBezTo>
                <a:cubicBezTo>
                  <a:pt x="5672910" y="2325527"/>
                  <a:pt x="5672910" y="2325669"/>
                  <a:pt x="5678033" y="2319125"/>
                </a:cubicBezTo>
                <a:close/>
                <a:moveTo>
                  <a:pt x="956372" y="2317561"/>
                </a:moveTo>
                <a:cubicBezTo>
                  <a:pt x="958347" y="2317619"/>
                  <a:pt x="960593" y="2318587"/>
                  <a:pt x="962864" y="2319904"/>
                </a:cubicBezTo>
                <a:cubicBezTo>
                  <a:pt x="962038" y="2320833"/>
                  <a:pt x="964723" y="2322227"/>
                  <a:pt x="965653" y="2323777"/>
                </a:cubicBezTo>
                <a:cubicBezTo>
                  <a:pt x="965859" y="2326255"/>
                  <a:pt x="965859" y="2327958"/>
                  <a:pt x="964207" y="2329817"/>
                </a:cubicBezTo>
                <a:lnTo>
                  <a:pt x="961212" y="2331831"/>
                </a:lnTo>
                <a:lnTo>
                  <a:pt x="962555" y="2333535"/>
                </a:lnTo>
                <a:cubicBezTo>
                  <a:pt x="964620" y="2338647"/>
                  <a:pt x="965033" y="2344688"/>
                  <a:pt x="956153" y="2346701"/>
                </a:cubicBezTo>
                <a:cubicBezTo>
                  <a:pt x="954604" y="2347630"/>
                  <a:pt x="955017" y="2346856"/>
                  <a:pt x="953778" y="2347166"/>
                </a:cubicBezTo>
                <a:cubicBezTo>
                  <a:pt x="952642" y="2347321"/>
                  <a:pt x="950990" y="2348095"/>
                  <a:pt x="950577" y="2348869"/>
                </a:cubicBezTo>
                <a:cubicBezTo>
                  <a:pt x="948822" y="2344842"/>
                  <a:pt x="946034" y="2345926"/>
                  <a:pt x="943659" y="2339576"/>
                </a:cubicBezTo>
                <a:cubicBezTo>
                  <a:pt x="942833" y="2337562"/>
                  <a:pt x="942420" y="2335858"/>
                  <a:pt x="942420" y="2334464"/>
                </a:cubicBezTo>
                <a:lnTo>
                  <a:pt x="942729" y="2333225"/>
                </a:lnTo>
                <a:lnTo>
                  <a:pt x="942420" y="2333690"/>
                </a:lnTo>
                <a:cubicBezTo>
                  <a:pt x="940252" y="2335704"/>
                  <a:pt x="938186" y="2337252"/>
                  <a:pt x="936844" y="2337098"/>
                </a:cubicBezTo>
                <a:cubicBezTo>
                  <a:pt x="936741" y="2336168"/>
                  <a:pt x="936741" y="2335394"/>
                  <a:pt x="937567" y="2334464"/>
                </a:cubicBezTo>
                <a:cubicBezTo>
                  <a:pt x="938393" y="2333535"/>
                  <a:pt x="938393" y="2334309"/>
                  <a:pt x="938393" y="2333535"/>
                </a:cubicBezTo>
                <a:cubicBezTo>
                  <a:pt x="939219" y="2332605"/>
                  <a:pt x="938290" y="2332605"/>
                  <a:pt x="938290" y="2332605"/>
                </a:cubicBezTo>
                <a:cubicBezTo>
                  <a:pt x="938290" y="2332605"/>
                  <a:pt x="939219" y="2332451"/>
                  <a:pt x="939219" y="2332451"/>
                </a:cubicBezTo>
                <a:cubicBezTo>
                  <a:pt x="939219" y="2332451"/>
                  <a:pt x="939219" y="2332451"/>
                  <a:pt x="940871" y="2330592"/>
                </a:cubicBezTo>
                <a:cubicBezTo>
                  <a:pt x="942420" y="2327804"/>
                  <a:pt x="942317" y="2327029"/>
                  <a:pt x="943039" y="2325171"/>
                </a:cubicBezTo>
                <a:cubicBezTo>
                  <a:pt x="944691" y="2323311"/>
                  <a:pt x="945621" y="2323157"/>
                  <a:pt x="948099" y="2321143"/>
                </a:cubicBezTo>
                <a:cubicBezTo>
                  <a:pt x="949854" y="2321763"/>
                  <a:pt x="949854" y="2321763"/>
                  <a:pt x="949957" y="2322537"/>
                </a:cubicBezTo>
                <a:cubicBezTo>
                  <a:pt x="949854" y="2321763"/>
                  <a:pt x="950680" y="2321608"/>
                  <a:pt x="951506" y="2320679"/>
                </a:cubicBezTo>
                <a:cubicBezTo>
                  <a:pt x="952694" y="2318355"/>
                  <a:pt x="954397" y="2317503"/>
                  <a:pt x="956372" y="2317561"/>
                </a:cubicBezTo>
                <a:close/>
                <a:moveTo>
                  <a:pt x="5240095" y="2317133"/>
                </a:moveTo>
                <a:cubicBezTo>
                  <a:pt x="5243296" y="2317987"/>
                  <a:pt x="5245431" y="2319409"/>
                  <a:pt x="5246924" y="2321117"/>
                </a:cubicBezTo>
                <a:lnTo>
                  <a:pt x="5247778" y="2322397"/>
                </a:lnTo>
                <a:lnTo>
                  <a:pt x="5249486" y="2321970"/>
                </a:lnTo>
                <a:cubicBezTo>
                  <a:pt x="5262077" y="2321544"/>
                  <a:pt x="5275523" y="2329937"/>
                  <a:pt x="5281925" y="2343595"/>
                </a:cubicBezTo>
                <a:cubicBezTo>
                  <a:pt x="5280858" y="2344733"/>
                  <a:pt x="5279791" y="2345871"/>
                  <a:pt x="5281072" y="2347152"/>
                </a:cubicBezTo>
                <a:cubicBezTo>
                  <a:pt x="5267840" y="2363086"/>
                  <a:pt x="5234760" y="2354550"/>
                  <a:pt x="5229211" y="2332925"/>
                </a:cubicBezTo>
                <a:lnTo>
                  <a:pt x="5236894" y="2326380"/>
                </a:lnTo>
                <a:lnTo>
                  <a:pt x="5234973" y="2320547"/>
                </a:lnTo>
                <a:cubicBezTo>
                  <a:pt x="5236467" y="2317417"/>
                  <a:pt x="5238815" y="2316422"/>
                  <a:pt x="5240095" y="2317133"/>
                </a:cubicBezTo>
                <a:close/>
                <a:moveTo>
                  <a:pt x="5452021" y="2316137"/>
                </a:moveTo>
                <a:cubicBezTo>
                  <a:pt x="5453302" y="2316137"/>
                  <a:pt x="5454155" y="2316706"/>
                  <a:pt x="5454795" y="2317702"/>
                </a:cubicBezTo>
                <a:cubicBezTo>
                  <a:pt x="5456716" y="2320690"/>
                  <a:pt x="5456076" y="2327092"/>
                  <a:pt x="5454582" y="2328372"/>
                </a:cubicBezTo>
                <a:cubicBezTo>
                  <a:pt x="5452021" y="2328372"/>
                  <a:pt x="5446259" y="2317417"/>
                  <a:pt x="5452021" y="2316137"/>
                </a:cubicBezTo>
                <a:close/>
                <a:moveTo>
                  <a:pt x="5378605" y="2314288"/>
                </a:moveTo>
                <a:cubicBezTo>
                  <a:pt x="5380952" y="2314714"/>
                  <a:pt x="5383086" y="2316137"/>
                  <a:pt x="5383940" y="2318840"/>
                </a:cubicBezTo>
                <a:lnTo>
                  <a:pt x="5384367" y="2322397"/>
                </a:lnTo>
                <a:cubicBezTo>
                  <a:pt x="5392690" y="2326238"/>
                  <a:pt x="5393757" y="2331502"/>
                  <a:pt x="5398666" y="2335912"/>
                </a:cubicBezTo>
                <a:lnTo>
                  <a:pt x="5394824" y="2341603"/>
                </a:lnTo>
                <a:lnTo>
                  <a:pt x="5395038" y="2342172"/>
                </a:lnTo>
                <a:lnTo>
                  <a:pt x="5394184" y="2342599"/>
                </a:lnTo>
                <a:lnTo>
                  <a:pt x="5392690" y="2345017"/>
                </a:lnTo>
                <a:cubicBezTo>
                  <a:pt x="5386288" y="2350851"/>
                  <a:pt x="5378391" y="2347863"/>
                  <a:pt x="5374976" y="2342030"/>
                </a:cubicBezTo>
                <a:cubicBezTo>
                  <a:pt x="5373482" y="2339469"/>
                  <a:pt x="5372842" y="2336481"/>
                  <a:pt x="5373482" y="2333351"/>
                </a:cubicBezTo>
                <a:lnTo>
                  <a:pt x="5374336" y="2331786"/>
                </a:lnTo>
                <a:lnTo>
                  <a:pt x="5371775" y="2333210"/>
                </a:lnTo>
                <a:cubicBezTo>
                  <a:pt x="5367080" y="2335201"/>
                  <a:pt x="5361958" y="2335485"/>
                  <a:pt x="5357689" y="2330648"/>
                </a:cubicBezTo>
                <a:cubicBezTo>
                  <a:pt x="5359824" y="2321117"/>
                  <a:pt x="5371348" y="2313007"/>
                  <a:pt x="5378605" y="2314288"/>
                </a:cubicBezTo>
                <a:close/>
                <a:moveTo>
                  <a:pt x="1038964" y="2314173"/>
                </a:moveTo>
                <a:cubicBezTo>
                  <a:pt x="1040513" y="2316496"/>
                  <a:pt x="1036073" y="2323311"/>
                  <a:pt x="1033389" y="2325945"/>
                </a:cubicBezTo>
                <a:cubicBezTo>
                  <a:pt x="1032975" y="2325325"/>
                  <a:pt x="1032872" y="2324396"/>
                  <a:pt x="1033182" y="2323466"/>
                </a:cubicBezTo>
                <a:cubicBezTo>
                  <a:pt x="1033905" y="2320369"/>
                  <a:pt x="1037003" y="2316032"/>
                  <a:pt x="1038964" y="2314173"/>
                </a:cubicBezTo>
                <a:close/>
                <a:moveTo>
                  <a:pt x="4810481" y="2313718"/>
                </a:moveTo>
                <a:cubicBezTo>
                  <a:pt x="4815390" y="2314430"/>
                  <a:pt x="4820298" y="2315284"/>
                  <a:pt x="4822432" y="2318129"/>
                </a:cubicBezTo>
                <a:cubicBezTo>
                  <a:pt x="4822219" y="2321401"/>
                  <a:pt x="4821365" y="2324104"/>
                  <a:pt x="4819445" y="2326096"/>
                </a:cubicBezTo>
                <a:cubicBezTo>
                  <a:pt x="4817524" y="2327945"/>
                  <a:pt x="4814963" y="2328941"/>
                  <a:pt x="4811335" y="2328799"/>
                </a:cubicBezTo>
                <a:cubicBezTo>
                  <a:pt x="4806639" y="2324815"/>
                  <a:pt x="4809414" y="2317702"/>
                  <a:pt x="4810481" y="2313718"/>
                </a:cubicBezTo>
                <a:close/>
                <a:moveTo>
                  <a:pt x="1003651" y="2312934"/>
                </a:moveTo>
                <a:cubicBezTo>
                  <a:pt x="1005096" y="2315257"/>
                  <a:pt x="1005096" y="2317271"/>
                  <a:pt x="1004270" y="2318975"/>
                </a:cubicBezTo>
                <a:cubicBezTo>
                  <a:pt x="1001792" y="2323931"/>
                  <a:pt x="991983" y="2325016"/>
                  <a:pt x="991776" y="2317426"/>
                </a:cubicBezTo>
                <a:cubicBezTo>
                  <a:pt x="993738" y="2314483"/>
                  <a:pt x="1000966" y="2312469"/>
                  <a:pt x="1003651" y="2312934"/>
                </a:cubicBezTo>
                <a:close/>
                <a:moveTo>
                  <a:pt x="962452" y="2311849"/>
                </a:moveTo>
                <a:cubicBezTo>
                  <a:pt x="969060" y="2312159"/>
                  <a:pt x="964723" y="2322073"/>
                  <a:pt x="960799" y="2318045"/>
                </a:cubicBezTo>
                <a:cubicBezTo>
                  <a:pt x="960799" y="2316187"/>
                  <a:pt x="961625" y="2314018"/>
                  <a:pt x="962452" y="2311849"/>
                </a:cubicBezTo>
                <a:close/>
                <a:moveTo>
                  <a:pt x="4966278" y="2311443"/>
                </a:moveTo>
                <a:cubicBezTo>
                  <a:pt x="4968625" y="2313007"/>
                  <a:pt x="4969692" y="2313149"/>
                  <a:pt x="4970759" y="2314572"/>
                </a:cubicBezTo>
                <a:cubicBezTo>
                  <a:pt x="4971400" y="2315284"/>
                  <a:pt x="4971826" y="2316137"/>
                  <a:pt x="4972040" y="2317133"/>
                </a:cubicBezTo>
                <a:cubicBezTo>
                  <a:pt x="4972466" y="2317987"/>
                  <a:pt x="4972253" y="2318982"/>
                  <a:pt x="4971613" y="2319409"/>
                </a:cubicBezTo>
                <a:cubicBezTo>
                  <a:pt x="4970546" y="2319267"/>
                  <a:pt x="4970546" y="2320405"/>
                  <a:pt x="4969266" y="2320263"/>
                </a:cubicBezTo>
                <a:cubicBezTo>
                  <a:pt x="4966918" y="2320974"/>
                  <a:pt x="4965851" y="2320832"/>
                  <a:pt x="4964570" y="2319552"/>
                </a:cubicBezTo>
                <a:cubicBezTo>
                  <a:pt x="4963503" y="2319267"/>
                  <a:pt x="4963503" y="2318129"/>
                  <a:pt x="4962436" y="2316706"/>
                </a:cubicBezTo>
                <a:cubicBezTo>
                  <a:pt x="4962436" y="2315568"/>
                  <a:pt x="4963716" y="2314572"/>
                  <a:pt x="4963716" y="2314572"/>
                </a:cubicBezTo>
                <a:cubicBezTo>
                  <a:pt x="4964997" y="2313576"/>
                  <a:pt x="4964997" y="2313576"/>
                  <a:pt x="4963930" y="2312153"/>
                </a:cubicBezTo>
                <a:cubicBezTo>
                  <a:pt x="4963930" y="2312153"/>
                  <a:pt x="4965210" y="2312438"/>
                  <a:pt x="4965210" y="2312438"/>
                </a:cubicBezTo>
                <a:cubicBezTo>
                  <a:pt x="4964997" y="2313576"/>
                  <a:pt x="4965210" y="2312438"/>
                  <a:pt x="4966278" y="2311443"/>
                </a:cubicBezTo>
                <a:close/>
                <a:moveTo>
                  <a:pt x="6290121" y="2311016"/>
                </a:moveTo>
                <a:cubicBezTo>
                  <a:pt x="6292681" y="2310161"/>
                  <a:pt x="6294816" y="2311726"/>
                  <a:pt x="6296950" y="2313291"/>
                </a:cubicBezTo>
                <a:cubicBezTo>
                  <a:pt x="6298657" y="2314714"/>
                  <a:pt x="6299084" y="2316137"/>
                  <a:pt x="6298871" y="2317275"/>
                </a:cubicBezTo>
                <a:cubicBezTo>
                  <a:pt x="6298657" y="2318413"/>
                  <a:pt x="6297804" y="2319552"/>
                  <a:pt x="6296523" y="2320547"/>
                </a:cubicBezTo>
                <a:cubicBezTo>
                  <a:pt x="6294176" y="2322539"/>
                  <a:pt x="6291828" y="2320974"/>
                  <a:pt x="6291828" y="2320974"/>
                </a:cubicBezTo>
                <a:cubicBezTo>
                  <a:pt x="6288626" y="2317987"/>
                  <a:pt x="6287773" y="2314145"/>
                  <a:pt x="6290121" y="2311016"/>
                </a:cubicBezTo>
                <a:close/>
                <a:moveTo>
                  <a:pt x="5335494" y="2310304"/>
                </a:moveTo>
                <a:cubicBezTo>
                  <a:pt x="5339335" y="2309451"/>
                  <a:pt x="5342963" y="2310161"/>
                  <a:pt x="5345738" y="2314856"/>
                </a:cubicBezTo>
                <a:cubicBezTo>
                  <a:pt x="5344671" y="2316280"/>
                  <a:pt x="5343817" y="2317702"/>
                  <a:pt x="5342963" y="2319267"/>
                </a:cubicBezTo>
                <a:cubicBezTo>
                  <a:pt x="5336347" y="2316280"/>
                  <a:pt x="5330799" y="2317987"/>
                  <a:pt x="5325463" y="2315853"/>
                </a:cubicBezTo>
                <a:cubicBezTo>
                  <a:pt x="5328024" y="2313861"/>
                  <a:pt x="5331866" y="2311300"/>
                  <a:pt x="5335494" y="2310304"/>
                </a:cubicBezTo>
                <a:close/>
                <a:moveTo>
                  <a:pt x="4851671" y="2308597"/>
                </a:moveTo>
                <a:cubicBezTo>
                  <a:pt x="4852738" y="2308454"/>
                  <a:pt x="4853805" y="2308454"/>
                  <a:pt x="4854873" y="2308597"/>
                </a:cubicBezTo>
                <a:cubicBezTo>
                  <a:pt x="4856793" y="2309024"/>
                  <a:pt x="4858501" y="2310446"/>
                  <a:pt x="4859568" y="2312153"/>
                </a:cubicBezTo>
                <a:cubicBezTo>
                  <a:pt x="4860208" y="2313434"/>
                  <a:pt x="4860421" y="2314856"/>
                  <a:pt x="4860208" y="2316422"/>
                </a:cubicBezTo>
                <a:cubicBezTo>
                  <a:pt x="4858714" y="2317560"/>
                  <a:pt x="4857220" y="2319836"/>
                  <a:pt x="4854873" y="2320832"/>
                </a:cubicBezTo>
                <a:cubicBezTo>
                  <a:pt x="4849323" y="2319125"/>
                  <a:pt x="4847830" y="2315284"/>
                  <a:pt x="4848470" y="2310304"/>
                </a:cubicBezTo>
                <a:cubicBezTo>
                  <a:pt x="4849537" y="2309451"/>
                  <a:pt x="4850604" y="2308881"/>
                  <a:pt x="4851671" y="2308597"/>
                </a:cubicBezTo>
                <a:close/>
                <a:moveTo>
                  <a:pt x="885216" y="2308132"/>
                </a:moveTo>
                <a:cubicBezTo>
                  <a:pt x="887074" y="2309526"/>
                  <a:pt x="888830" y="2310920"/>
                  <a:pt x="887178" y="2312779"/>
                </a:cubicBezTo>
                <a:cubicBezTo>
                  <a:pt x="886352" y="2313863"/>
                  <a:pt x="885629" y="2314792"/>
                  <a:pt x="883873" y="2314947"/>
                </a:cubicBezTo>
                <a:cubicBezTo>
                  <a:pt x="882015" y="2313553"/>
                  <a:pt x="882738" y="2310920"/>
                  <a:pt x="881808" y="2310300"/>
                </a:cubicBezTo>
                <a:cubicBezTo>
                  <a:pt x="882738" y="2310146"/>
                  <a:pt x="884493" y="2309836"/>
                  <a:pt x="885216" y="2308132"/>
                </a:cubicBezTo>
                <a:close/>
                <a:moveTo>
                  <a:pt x="956463" y="2307823"/>
                </a:moveTo>
                <a:lnTo>
                  <a:pt x="956463" y="2309371"/>
                </a:lnTo>
                <a:lnTo>
                  <a:pt x="959251" y="2310920"/>
                </a:lnTo>
                <a:cubicBezTo>
                  <a:pt x="961212" y="2310920"/>
                  <a:pt x="962864" y="2309836"/>
                  <a:pt x="963897" y="2311230"/>
                </a:cubicBezTo>
                <a:cubicBezTo>
                  <a:pt x="960799" y="2311694"/>
                  <a:pt x="959663" y="2312159"/>
                  <a:pt x="957701" y="2312159"/>
                </a:cubicBezTo>
                <a:lnTo>
                  <a:pt x="956772" y="2312934"/>
                </a:lnTo>
                <a:lnTo>
                  <a:pt x="956772" y="2313089"/>
                </a:lnTo>
                <a:lnTo>
                  <a:pt x="956359" y="2313398"/>
                </a:lnTo>
                <a:lnTo>
                  <a:pt x="955636" y="2314018"/>
                </a:lnTo>
                <a:lnTo>
                  <a:pt x="955224" y="2314018"/>
                </a:lnTo>
                <a:lnTo>
                  <a:pt x="953365" y="2315412"/>
                </a:lnTo>
                <a:cubicBezTo>
                  <a:pt x="951919" y="2316806"/>
                  <a:pt x="950370" y="2318356"/>
                  <a:pt x="950370" y="2318356"/>
                </a:cubicBezTo>
                <a:cubicBezTo>
                  <a:pt x="947996" y="2318045"/>
                  <a:pt x="947996" y="2318045"/>
                  <a:pt x="948202" y="2315102"/>
                </a:cubicBezTo>
                <a:lnTo>
                  <a:pt x="950164" y="2312314"/>
                </a:lnTo>
                <a:lnTo>
                  <a:pt x="950164" y="2311385"/>
                </a:lnTo>
                <a:cubicBezTo>
                  <a:pt x="950474" y="2310610"/>
                  <a:pt x="951093" y="2309990"/>
                  <a:pt x="952229" y="2309681"/>
                </a:cubicBezTo>
                <a:lnTo>
                  <a:pt x="953365" y="2309526"/>
                </a:lnTo>
                <a:close/>
                <a:moveTo>
                  <a:pt x="784438" y="2307202"/>
                </a:moveTo>
                <a:cubicBezTo>
                  <a:pt x="791459" y="2309990"/>
                  <a:pt x="799203" y="2312469"/>
                  <a:pt x="799100" y="2318045"/>
                </a:cubicBezTo>
                <a:cubicBezTo>
                  <a:pt x="794866" y="2320679"/>
                  <a:pt x="787845" y="2316032"/>
                  <a:pt x="784334" y="2312779"/>
                </a:cubicBezTo>
                <a:cubicBezTo>
                  <a:pt x="785161" y="2310610"/>
                  <a:pt x="783612" y="2309371"/>
                  <a:pt x="784438" y="2307202"/>
                </a:cubicBezTo>
                <a:close/>
                <a:moveTo>
                  <a:pt x="4984205" y="2306605"/>
                </a:moveTo>
                <a:cubicBezTo>
                  <a:pt x="4987193" y="2308313"/>
                  <a:pt x="4988900" y="2306605"/>
                  <a:pt x="4991888" y="2308313"/>
                </a:cubicBezTo>
                <a:cubicBezTo>
                  <a:pt x="4990394" y="2311158"/>
                  <a:pt x="4990180" y="2313718"/>
                  <a:pt x="4989327" y="2315284"/>
                </a:cubicBezTo>
                <a:cubicBezTo>
                  <a:pt x="4984205" y="2314145"/>
                  <a:pt x="4982071" y="2311016"/>
                  <a:pt x="4984205" y="2306605"/>
                </a:cubicBezTo>
                <a:close/>
                <a:moveTo>
                  <a:pt x="1113515" y="2306583"/>
                </a:moveTo>
                <a:lnTo>
                  <a:pt x="1117852" y="2308751"/>
                </a:lnTo>
                <a:lnTo>
                  <a:pt x="1118781" y="2307047"/>
                </a:lnTo>
                <a:cubicBezTo>
                  <a:pt x="1120021" y="2307202"/>
                  <a:pt x="1121879" y="2306738"/>
                  <a:pt x="1123737" y="2307512"/>
                </a:cubicBezTo>
                <a:cubicBezTo>
                  <a:pt x="1126009" y="2311230"/>
                  <a:pt x="1125287" y="2314173"/>
                  <a:pt x="1122602" y="2316342"/>
                </a:cubicBezTo>
                <a:lnTo>
                  <a:pt x="1121776" y="2315877"/>
                </a:lnTo>
                <a:lnTo>
                  <a:pt x="1121569" y="2316961"/>
                </a:lnTo>
                <a:cubicBezTo>
                  <a:pt x="1121363" y="2317891"/>
                  <a:pt x="1120950" y="2318820"/>
                  <a:pt x="1120021" y="2319749"/>
                </a:cubicBezTo>
                <a:cubicBezTo>
                  <a:pt x="1117336" y="2322382"/>
                  <a:pt x="1111140" y="2324241"/>
                  <a:pt x="1108662" y="2321918"/>
                </a:cubicBezTo>
                <a:cubicBezTo>
                  <a:pt x="1105358" y="2319439"/>
                  <a:pt x="1104635" y="2316961"/>
                  <a:pt x="1104738" y="2314483"/>
                </a:cubicBezTo>
                <a:cubicBezTo>
                  <a:pt x="1104738" y="2314483"/>
                  <a:pt x="1104635" y="2314483"/>
                  <a:pt x="1104635" y="2315257"/>
                </a:cubicBezTo>
                <a:cubicBezTo>
                  <a:pt x="1101022" y="2318820"/>
                  <a:pt x="1094723" y="2325016"/>
                  <a:pt x="1092244" y="2324241"/>
                </a:cubicBezTo>
                <a:cubicBezTo>
                  <a:pt x="1092244" y="2323466"/>
                  <a:pt x="1092244" y="2322537"/>
                  <a:pt x="1093174" y="2321608"/>
                </a:cubicBezTo>
                <a:cubicBezTo>
                  <a:pt x="1094103" y="2320833"/>
                  <a:pt x="1094000" y="2321763"/>
                  <a:pt x="1094103" y="2320833"/>
                </a:cubicBezTo>
                <a:cubicBezTo>
                  <a:pt x="1094929" y="2319904"/>
                  <a:pt x="1094103" y="2320059"/>
                  <a:pt x="1094103" y="2320059"/>
                </a:cubicBezTo>
                <a:cubicBezTo>
                  <a:pt x="1094103" y="2320059"/>
                  <a:pt x="1094929" y="2319904"/>
                  <a:pt x="1094929" y="2319904"/>
                </a:cubicBezTo>
                <a:cubicBezTo>
                  <a:pt x="1094929" y="2319904"/>
                  <a:pt x="1094929" y="2319904"/>
                  <a:pt x="1096788" y="2318200"/>
                </a:cubicBezTo>
                <a:cubicBezTo>
                  <a:pt x="1098646" y="2315567"/>
                  <a:pt x="1098646" y="2314638"/>
                  <a:pt x="1099576" y="2312934"/>
                </a:cubicBezTo>
                <a:cubicBezTo>
                  <a:pt x="1101434" y="2311230"/>
                  <a:pt x="1102261" y="2311230"/>
                  <a:pt x="1104945" y="2309371"/>
                </a:cubicBezTo>
                <a:cubicBezTo>
                  <a:pt x="1106700" y="2310146"/>
                  <a:pt x="1106597" y="2310146"/>
                  <a:pt x="1106597" y="2310920"/>
                </a:cubicBezTo>
                <a:cubicBezTo>
                  <a:pt x="1106597" y="2310146"/>
                  <a:pt x="1107527" y="2310146"/>
                  <a:pt x="1108353" y="2309216"/>
                </a:cubicBezTo>
                <a:cubicBezTo>
                  <a:pt x="1109798" y="2307047"/>
                  <a:pt x="1111554" y="2306428"/>
                  <a:pt x="1113515" y="2306583"/>
                </a:cubicBezTo>
                <a:close/>
                <a:moveTo>
                  <a:pt x="829767" y="2305809"/>
                </a:moveTo>
                <a:cubicBezTo>
                  <a:pt x="831523" y="2305499"/>
                  <a:pt x="834207" y="2304724"/>
                  <a:pt x="835962" y="2306273"/>
                </a:cubicBezTo>
                <a:cubicBezTo>
                  <a:pt x="836582" y="2306738"/>
                  <a:pt x="836995" y="2307667"/>
                  <a:pt x="837305" y="2308751"/>
                </a:cubicBezTo>
                <a:cubicBezTo>
                  <a:pt x="838131" y="2309216"/>
                  <a:pt x="837098" y="2312469"/>
                  <a:pt x="835962" y="2312624"/>
                </a:cubicBezTo>
                <a:cubicBezTo>
                  <a:pt x="833071" y="2313708"/>
                  <a:pt x="831729" y="2310920"/>
                  <a:pt x="829251" y="2308287"/>
                </a:cubicBezTo>
                <a:cubicBezTo>
                  <a:pt x="830387" y="2308132"/>
                  <a:pt x="830077" y="2306893"/>
                  <a:pt x="829767" y="2305809"/>
                </a:cubicBezTo>
                <a:close/>
                <a:moveTo>
                  <a:pt x="5035425" y="2305324"/>
                </a:moveTo>
                <a:cubicBezTo>
                  <a:pt x="5036492" y="2308170"/>
                  <a:pt x="5036706" y="2310304"/>
                  <a:pt x="5036066" y="2312011"/>
                </a:cubicBezTo>
                <a:lnTo>
                  <a:pt x="5032864" y="2315425"/>
                </a:lnTo>
                <a:lnTo>
                  <a:pt x="5033932" y="2315853"/>
                </a:lnTo>
                <a:cubicBezTo>
                  <a:pt x="5036919" y="2317133"/>
                  <a:pt x="5039907" y="2318413"/>
                  <a:pt x="5043322" y="2320690"/>
                </a:cubicBezTo>
                <a:cubicBezTo>
                  <a:pt x="5043322" y="2321827"/>
                  <a:pt x="5042042" y="2321827"/>
                  <a:pt x="5042042" y="2322966"/>
                </a:cubicBezTo>
                <a:cubicBezTo>
                  <a:pt x="5041401" y="2323535"/>
                  <a:pt x="5040334" y="2323535"/>
                  <a:pt x="5038840" y="2323392"/>
                </a:cubicBezTo>
                <a:cubicBezTo>
                  <a:pt x="5034572" y="2322682"/>
                  <a:pt x="5028169" y="2319694"/>
                  <a:pt x="5028169" y="2318840"/>
                </a:cubicBezTo>
                <a:cubicBezTo>
                  <a:pt x="5026889" y="2318698"/>
                  <a:pt x="5027102" y="2317417"/>
                  <a:pt x="5025821" y="2317275"/>
                </a:cubicBezTo>
                <a:cubicBezTo>
                  <a:pt x="5025821" y="2317275"/>
                  <a:pt x="5024754" y="2317133"/>
                  <a:pt x="5023688" y="2315710"/>
                </a:cubicBezTo>
                <a:cubicBezTo>
                  <a:pt x="5022407" y="2314430"/>
                  <a:pt x="5021340" y="2313007"/>
                  <a:pt x="5022620" y="2310731"/>
                </a:cubicBezTo>
                <a:lnTo>
                  <a:pt x="5030517" y="2314288"/>
                </a:lnTo>
                <a:lnTo>
                  <a:pt x="5028596" y="2311726"/>
                </a:lnTo>
                <a:cubicBezTo>
                  <a:pt x="5027742" y="2309735"/>
                  <a:pt x="5027529" y="2307601"/>
                  <a:pt x="5028383" y="2306036"/>
                </a:cubicBezTo>
                <a:cubicBezTo>
                  <a:pt x="5032011" y="2304471"/>
                  <a:pt x="5033291" y="2306748"/>
                  <a:pt x="5035425" y="2305324"/>
                </a:cubicBezTo>
                <a:close/>
                <a:moveTo>
                  <a:pt x="724033" y="2305189"/>
                </a:moveTo>
                <a:cubicBezTo>
                  <a:pt x="725788" y="2304569"/>
                  <a:pt x="726718" y="2304569"/>
                  <a:pt x="727543" y="2305499"/>
                </a:cubicBezTo>
                <a:cubicBezTo>
                  <a:pt x="728473" y="2305499"/>
                  <a:pt x="728369" y="2306428"/>
                  <a:pt x="729299" y="2307358"/>
                </a:cubicBezTo>
                <a:cubicBezTo>
                  <a:pt x="729299" y="2308132"/>
                  <a:pt x="728369" y="2308906"/>
                  <a:pt x="728369" y="2308906"/>
                </a:cubicBezTo>
                <a:cubicBezTo>
                  <a:pt x="727440" y="2309681"/>
                  <a:pt x="727543" y="2309681"/>
                  <a:pt x="728369" y="2310610"/>
                </a:cubicBezTo>
                <a:cubicBezTo>
                  <a:pt x="728369" y="2310610"/>
                  <a:pt x="727440" y="2310455"/>
                  <a:pt x="727440" y="2310455"/>
                </a:cubicBezTo>
                <a:cubicBezTo>
                  <a:pt x="727440" y="2309681"/>
                  <a:pt x="727440" y="2310455"/>
                  <a:pt x="726511" y="2311230"/>
                </a:cubicBezTo>
                <a:cubicBezTo>
                  <a:pt x="724859" y="2310146"/>
                  <a:pt x="723929" y="2310146"/>
                  <a:pt x="723103" y="2309216"/>
                </a:cubicBezTo>
                <a:cubicBezTo>
                  <a:pt x="722691" y="2308751"/>
                  <a:pt x="722278" y="2308132"/>
                  <a:pt x="722071" y="2307358"/>
                </a:cubicBezTo>
                <a:cubicBezTo>
                  <a:pt x="721864" y="2306738"/>
                  <a:pt x="721864" y="2306119"/>
                  <a:pt x="722278" y="2305809"/>
                </a:cubicBezTo>
                <a:cubicBezTo>
                  <a:pt x="723207" y="2305963"/>
                  <a:pt x="723207" y="2305034"/>
                  <a:pt x="724033" y="2305189"/>
                </a:cubicBezTo>
                <a:close/>
                <a:moveTo>
                  <a:pt x="5690624" y="2304755"/>
                </a:moveTo>
                <a:lnTo>
                  <a:pt x="5699801" y="2314572"/>
                </a:lnTo>
                <a:lnTo>
                  <a:pt x="5700655" y="2314572"/>
                </a:lnTo>
                <a:cubicBezTo>
                  <a:pt x="5708765" y="2316422"/>
                  <a:pt x="5708125" y="2332925"/>
                  <a:pt x="5710686" y="2341887"/>
                </a:cubicBezTo>
                <a:cubicBezTo>
                  <a:pt x="5707271" y="2344164"/>
                  <a:pt x="5704923" y="2345444"/>
                  <a:pt x="5702362" y="2346156"/>
                </a:cubicBezTo>
                <a:lnTo>
                  <a:pt x="5699374" y="2346441"/>
                </a:lnTo>
                <a:lnTo>
                  <a:pt x="5696173" y="2354407"/>
                </a:lnTo>
                <a:lnTo>
                  <a:pt x="5693826" y="2346867"/>
                </a:lnTo>
                <a:lnTo>
                  <a:pt x="5693185" y="2347009"/>
                </a:lnTo>
                <a:cubicBezTo>
                  <a:pt x="5689984" y="2342172"/>
                  <a:pt x="5688490" y="2337335"/>
                  <a:pt x="5688276" y="2332640"/>
                </a:cubicBezTo>
                <a:lnTo>
                  <a:pt x="5688490" y="2328088"/>
                </a:lnTo>
                <a:lnTo>
                  <a:pt x="5687850" y="2318555"/>
                </a:lnTo>
                <a:cubicBezTo>
                  <a:pt x="5688063" y="2314288"/>
                  <a:pt x="5688917" y="2309593"/>
                  <a:pt x="5690624" y="2304755"/>
                </a:cubicBezTo>
                <a:close/>
                <a:moveTo>
                  <a:pt x="646384" y="2304414"/>
                </a:moveTo>
                <a:cubicBezTo>
                  <a:pt x="648759" y="2305344"/>
                  <a:pt x="650308" y="2306583"/>
                  <a:pt x="652580" y="2307512"/>
                </a:cubicBezTo>
                <a:cubicBezTo>
                  <a:pt x="652580" y="2311230"/>
                  <a:pt x="649482" y="2310610"/>
                  <a:pt x="646384" y="2309990"/>
                </a:cubicBezTo>
                <a:cubicBezTo>
                  <a:pt x="646384" y="2309061"/>
                  <a:pt x="645971" y="2308287"/>
                  <a:pt x="645764" y="2307358"/>
                </a:cubicBezTo>
                <a:cubicBezTo>
                  <a:pt x="645558" y="2306583"/>
                  <a:pt x="645661" y="2305654"/>
                  <a:pt x="646384" y="2304414"/>
                </a:cubicBezTo>
                <a:close/>
                <a:moveTo>
                  <a:pt x="5538670" y="2304187"/>
                </a:moveTo>
                <a:cubicBezTo>
                  <a:pt x="5541230" y="2303759"/>
                  <a:pt x="5543791" y="2306605"/>
                  <a:pt x="5543578" y="2309024"/>
                </a:cubicBezTo>
                <a:cubicBezTo>
                  <a:pt x="5543365" y="2310019"/>
                  <a:pt x="5542724" y="2311158"/>
                  <a:pt x="5541230" y="2311726"/>
                </a:cubicBezTo>
                <a:cubicBezTo>
                  <a:pt x="5539096" y="2310019"/>
                  <a:pt x="5538029" y="2308454"/>
                  <a:pt x="5536108" y="2305609"/>
                </a:cubicBezTo>
                <a:cubicBezTo>
                  <a:pt x="5536962" y="2304613"/>
                  <a:pt x="5537815" y="2304187"/>
                  <a:pt x="5538670" y="2304187"/>
                </a:cubicBezTo>
                <a:close/>
                <a:moveTo>
                  <a:pt x="6183197" y="2302195"/>
                </a:moveTo>
                <a:cubicBezTo>
                  <a:pt x="6181703" y="2302479"/>
                  <a:pt x="6180636" y="2303049"/>
                  <a:pt x="6179569" y="2304187"/>
                </a:cubicBezTo>
                <a:lnTo>
                  <a:pt x="6177008" y="2307174"/>
                </a:lnTo>
                <a:lnTo>
                  <a:pt x="6182984" y="2304898"/>
                </a:lnTo>
                <a:lnTo>
                  <a:pt x="6190027" y="2302906"/>
                </a:lnTo>
                <a:lnTo>
                  <a:pt x="6187679" y="2302195"/>
                </a:lnTo>
                <a:cubicBezTo>
                  <a:pt x="6185971" y="2301910"/>
                  <a:pt x="6184478" y="2301910"/>
                  <a:pt x="6183197" y="2302195"/>
                </a:cubicBezTo>
                <a:close/>
                <a:moveTo>
                  <a:pt x="901840" y="2302091"/>
                </a:moveTo>
                <a:cubicBezTo>
                  <a:pt x="902976" y="2302710"/>
                  <a:pt x="903699" y="2303795"/>
                  <a:pt x="903595" y="2305499"/>
                </a:cubicBezTo>
                <a:cubicBezTo>
                  <a:pt x="900394" y="2309990"/>
                  <a:pt x="896574" y="2306738"/>
                  <a:pt x="890998" y="2307047"/>
                </a:cubicBezTo>
                <a:cubicBezTo>
                  <a:pt x="891618" y="2302556"/>
                  <a:pt x="898536" y="2300232"/>
                  <a:pt x="901840" y="2302091"/>
                </a:cubicBezTo>
                <a:close/>
                <a:moveTo>
                  <a:pt x="5466961" y="2301057"/>
                </a:moveTo>
                <a:cubicBezTo>
                  <a:pt x="5478698" y="2305182"/>
                  <a:pt x="5484034" y="2320832"/>
                  <a:pt x="5484460" y="2329226"/>
                </a:cubicBezTo>
                <a:cubicBezTo>
                  <a:pt x="5472722" y="2325100"/>
                  <a:pt x="5465039" y="2309308"/>
                  <a:pt x="5466961" y="2301057"/>
                </a:cubicBezTo>
                <a:close/>
                <a:moveTo>
                  <a:pt x="1024612" y="2300852"/>
                </a:moveTo>
                <a:cubicBezTo>
                  <a:pt x="1026987" y="2301626"/>
                  <a:pt x="1027916" y="2303175"/>
                  <a:pt x="1027710" y="2304259"/>
                </a:cubicBezTo>
                <a:lnTo>
                  <a:pt x="1025851" y="2309681"/>
                </a:lnTo>
                <a:lnTo>
                  <a:pt x="1026264" y="2310146"/>
                </a:lnTo>
                <a:cubicBezTo>
                  <a:pt x="1026780" y="2312934"/>
                  <a:pt x="1022857" y="2315567"/>
                  <a:pt x="1019655" y="2315722"/>
                </a:cubicBezTo>
                <a:lnTo>
                  <a:pt x="1017487" y="2315257"/>
                </a:lnTo>
                <a:lnTo>
                  <a:pt x="1017281" y="2315412"/>
                </a:lnTo>
                <a:cubicBezTo>
                  <a:pt x="1014596" y="2314638"/>
                  <a:pt x="1013873" y="2314328"/>
                  <a:pt x="1014080" y="2311694"/>
                </a:cubicBezTo>
                <a:cubicBezTo>
                  <a:pt x="1014183" y="2310765"/>
                  <a:pt x="1014389" y="2309681"/>
                  <a:pt x="1014596" y="2308132"/>
                </a:cubicBezTo>
                <a:cubicBezTo>
                  <a:pt x="1014802" y="2306893"/>
                  <a:pt x="1015422" y="2305963"/>
                  <a:pt x="1016248" y="2305034"/>
                </a:cubicBezTo>
                <a:cubicBezTo>
                  <a:pt x="1017074" y="2304259"/>
                  <a:pt x="1018210" y="2303795"/>
                  <a:pt x="1019552" y="2303485"/>
                </a:cubicBezTo>
                <a:cubicBezTo>
                  <a:pt x="1020585" y="2302091"/>
                  <a:pt x="1022753" y="2300852"/>
                  <a:pt x="1024612" y="2300852"/>
                </a:cubicBezTo>
                <a:close/>
                <a:moveTo>
                  <a:pt x="5254394" y="2299492"/>
                </a:moveTo>
                <a:cubicBezTo>
                  <a:pt x="5255034" y="2299776"/>
                  <a:pt x="5255675" y="2300345"/>
                  <a:pt x="5255888" y="2301057"/>
                </a:cubicBezTo>
                <a:cubicBezTo>
                  <a:pt x="5256742" y="2302479"/>
                  <a:pt x="5256955" y="2304471"/>
                  <a:pt x="5257169" y="2306605"/>
                </a:cubicBezTo>
                <a:cubicBezTo>
                  <a:pt x="5254607" y="2307316"/>
                  <a:pt x="5253541" y="2309877"/>
                  <a:pt x="5249699" y="2308881"/>
                </a:cubicBezTo>
                <a:cubicBezTo>
                  <a:pt x="5250126" y="2305467"/>
                  <a:pt x="5251193" y="2302906"/>
                  <a:pt x="5251406" y="2299634"/>
                </a:cubicBezTo>
                <a:cubicBezTo>
                  <a:pt x="5252687" y="2299207"/>
                  <a:pt x="5253754" y="2299207"/>
                  <a:pt x="5254394" y="2299492"/>
                </a:cubicBezTo>
                <a:close/>
                <a:moveTo>
                  <a:pt x="905557" y="2298838"/>
                </a:moveTo>
                <a:cubicBezTo>
                  <a:pt x="909481" y="2297444"/>
                  <a:pt x="916812" y="2300852"/>
                  <a:pt x="914850" y="2306273"/>
                </a:cubicBezTo>
                <a:cubicBezTo>
                  <a:pt x="912889" y="2307977"/>
                  <a:pt x="910927" y="2309681"/>
                  <a:pt x="906590" y="2308597"/>
                </a:cubicBezTo>
                <a:cubicBezTo>
                  <a:pt x="905454" y="2307202"/>
                  <a:pt x="904834" y="2305809"/>
                  <a:pt x="904628" y="2304259"/>
                </a:cubicBezTo>
                <a:cubicBezTo>
                  <a:pt x="904422" y="2302710"/>
                  <a:pt x="904834" y="2301007"/>
                  <a:pt x="905557" y="2298838"/>
                </a:cubicBezTo>
                <a:close/>
                <a:moveTo>
                  <a:pt x="4906307" y="2297785"/>
                </a:moveTo>
                <a:cubicBezTo>
                  <a:pt x="4908441" y="2298922"/>
                  <a:pt x="4909508" y="2299492"/>
                  <a:pt x="4909508" y="2300772"/>
                </a:cubicBezTo>
                <a:cubicBezTo>
                  <a:pt x="4909508" y="2302195"/>
                  <a:pt x="4908654" y="2304329"/>
                  <a:pt x="4906733" y="2308739"/>
                </a:cubicBezTo>
                <a:cubicBezTo>
                  <a:pt x="4905880" y="2310304"/>
                  <a:pt x="4904812" y="2311585"/>
                  <a:pt x="4903319" y="2312580"/>
                </a:cubicBezTo>
                <a:cubicBezTo>
                  <a:pt x="4901825" y="2313576"/>
                  <a:pt x="4900331" y="2314145"/>
                  <a:pt x="4898624" y="2314288"/>
                </a:cubicBezTo>
                <a:cubicBezTo>
                  <a:pt x="4896703" y="2316137"/>
                  <a:pt x="4893288" y="2317275"/>
                  <a:pt x="4890727" y="2316990"/>
                </a:cubicBezTo>
                <a:cubicBezTo>
                  <a:pt x="4887953" y="2315568"/>
                  <a:pt x="4887312" y="2313434"/>
                  <a:pt x="4888166" y="2311869"/>
                </a:cubicBezTo>
                <a:cubicBezTo>
                  <a:pt x="4893288" y="2298922"/>
                  <a:pt x="4904386" y="2299776"/>
                  <a:pt x="4906307" y="2297785"/>
                </a:cubicBezTo>
                <a:close/>
                <a:moveTo>
                  <a:pt x="5297932" y="2297500"/>
                </a:moveTo>
                <a:cubicBezTo>
                  <a:pt x="5300493" y="2299207"/>
                  <a:pt x="5302627" y="2297358"/>
                  <a:pt x="5305401" y="2299065"/>
                </a:cubicBezTo>
                <a:cubicBezTo>
                  <a:pt x="5303481" y="2302052"/>
                  <a:pt x="5302841" y="2304613"/>
                  <a:pt x="5301773" y="2306036"/>
                </a:cubicBezTo>
                <a:cubicBezTo>
                  <a:pt x="5296865" y="2305182"/>
                  <a:pt x="5295158" y="2302052"/>
                  <a:pt x="5297932" y="2297500"/>
                </a:cubicBezTo>
                <a:close/>
                <a:moveTo>
                  <a:pt x="1155954" y="2294501"/>
                </a:moveTo>
                <a:lnTo>
                  <a:pt x="1156986" y="2297599"/>
                </a:lnTo>
                <a:lnTo>
                  <a:pt x="1160806" y="2298219"/>
                </a:lnTo>
                <a:cubicBezTo>
                  <a:pt x="1153682" y="2305654"/>
                  <a:pt x="1155231" y="2318045"/>
                  <a:pt x="1147073" y="2321608"/>
                </a:cubicBezTo>
                <a:cubicBezTo>
                  <a:pt x="1147693" y="2318356"/>
                  <a:pt x="1147487" y="2314328"/>
                  <a:pt x="1147487" y="2310610"/>
                </a:cubicBezTo>
                <a:cubicBezTo>
                  <a:pt x="1147487" y="2306738"/>
                  <a:pt x="1147693" y="2303175"/>
                  <a:pt x="1149138" y="2300542"/>
                </a:cubicBezTo>
                <a:lnTo>
                  <a:pt x="1151410" y="2298219"/>
                </a:lnTo>
                <a:lnTo>
                  <a:pt x="1150894" y="2297754"/>
                </a:lnTo>
                <a:cubicBezTo>
                  <a:pt x="1153372" y="2296980"/>
                  <a:pt x="1153579" y="2295121"/>
                  <a:pt x="1155954" y="2294501"/>
                </a:cubicBezTo>
                <a:close/>
                <a:moveTo>
                  <a:pt x="5281285" y="2294085"/>
                </a:moveTo>
                <a:cubicBezTo>
                  <a:pt x="5283206" y="2293943"/>
                  <a:pt x="5284913" y="2294085"/>
                  <a:pt x="5286407" y="2294654"/>
                </a:cubicBezTo>
                <a:cubicBezTo>
                  <a:pt x="5289182" y="2295650"/>
                  <a:pt x="5291529" y="2298069"/>
                  <a:pt x="5292810" y="2302764"/>
                </a:cubicBezTo>
                <a:cubicBezTo>
                  <a:pt x="5290035" y="2306890"/>
                  <a:pt x="5285554" y="2306890"/>
                  <a:pt x="5281712" y="2305040"/>
                </a:cubicBezTo>
                <a:cubicBezTo>
                  <a:pt x="5278084" y="2303049"/>
                  <a:pt x="5275096" y="2299207"/>
                  <a:pt x="5275096" y="2295223"/>
                </a:cubicBezTo>
                <a:cubicBezTo>
                  <a:pt x="5277444" y="2294654"/>
                  <a:pt x="5279364" y="2294228"/>
                  <a:pt x="5281285" y="2294085"/>
                </a:cubicBezTo>
                <a:close/>
                <a:moveTo>
                  <a:pt x="4741333" y="2293659"/>
                </a:moveTo>
                <a:cubicBezTo>
                  <a:pt x="4742613" y="2294939"/>
                  <a:pt x="4743467" y="2296362"/>
                  <a:pt x="4743894" y="2297500"/>
                </a:cubicBezTo>
                <a:cubicBezTo>
                  <a:pt x="4745175" y="2301341"/>
                  <a:pt x="4742827" y="2304755"/>
                  <a:pt x="4737918" y="2307886"/>
                </a:cubicBezTo>
                <a:cubicBezTo>
                  <a:pt x="4735784" y="2306605"/>
                  <a:pt x="4733437" y="2306321"/>
                  <a:pt x="4730235" y="2304898"/>
                </a:cubicBezTo>
                <a:cubicBezTo>
                  <a:pt x="4730876" y="2301199"/>
                  <a:pt x="4735357" y="2294370"/>
                  <a:pt x="4741333" y="2293659"/>
                </a:cubicBezTo>
                <a:close/>
                <a:moveTo>
                  <a:pt x="1036280" y="2291868"/>
                </a:moveTo>
                <a:cubicBezTo>
                  <a:pt x="1036280" y="2291868"/>
                  <a:pt x="1036280" y="2291868"/>
                  <a:pt x="1036693" y="2292487"/>
                </a:cubicBezTo>
                <a:cubicBezTo>
                  <a:pt x="1036693" y="2292487"/>
                  <a:pt x="1035970" y="2292952"/>
                  <a:pt x="1034937" y="2292642"/>
                </a:cubicBezTo>
                <a:cubicBezTo>
                  <a:pt x="1034937" y="2292642"/>
                  <a:pt x="1034937" y="2292487"/>
                  <a:pt x="1035144" y="2292178"/>
                </a:cubicBezTo>
                <a:cubicBezTo>
                  <a:pt x="1035350" y="2292023"/>
                  <a:pt x="1035763" y="2291713"/>
                  <a:pt x="1036280" y="2291868"/>
                </a:cubicBezTo>
                <a:close/>
                <a:moveTo>
                  <a:pt x="1044333" y="2290319"/>
                </a:moveTo>
                <a:cubicBezTo>
                  <a:pt x="1045986" y="2291868"/>
                  <a:pt x="1047638" y="2293417"/>
                  <a:pt x="1045779" y="2295121"/>
                </a:cubicBezTo>
                <a:cubicBezTo>
                  <a:pt x="1044850" y="2296050"/>
                  <a:pt x="1044024" y="2296980"/>
                  <a:pt x="1042268" y="2296980"/>
                </a:cubicBezTo>
                <a:cubicBezTo>
                  <a:pt x="1040617" y="2295430"/>
                  <a:pt x="1041649" y="2292797"/>
                  <a:pt x="1040823" y="2292023"/>
                </a:cubicBezTo>
                <a:cubicBezTo>
                  <a:pt x="1041649" y="2292023"/>
                  <a:pt x="1043404" y="2292023"/>
                  <a:pt x="1044333" y="2290319"/>
                </a:cubicBezTo>
                <a:close/>
                <a:moveTo>
                  <a:pt x="809632" y="2289390"/>
                </a:moveTo>
                <a:cubicBezTo>
                  <a:pt x="811904" y="2287841"/>
                  <a:pt x="817170" y="2287995"/>
                  <a:pt x="816757" y="2291248"/>
                </a:cubicBezTo>
                <a:lnTo>
                  <a:pt x="816344" y="2291868"/>
                </a:lnTo>
                <a:lnTo>
                  <a:pt x="816551" y="2292333"/>
                </a:lnTo>
                <a:cubicBezTo>
                  <a:pt x="816654" y="2293262"/>
                  <a:pt x="816447" y="2294346"/>
                  <a:pt x="816551" y="2295121"/>
                </a:cubicBezTo>
                <a:cubicBezTo>
                  <a:pt x="818306" y="2295740"/>
                  <a:pt x="815001" y="2298683"/>
                  <a:pt x="816757" y="2299303"/>
                </a:cubicBezTo>
                <a:cubicBezTo>
                  <a:pt x="814279" y="2302091"/>
                  <a:pt x="816241" y="2304724"/>
                  <a:pt x="815621" y="2308597"/>
                </a:cubicBezTo>
                <a:lnTo>
                  <a:pt x="815311" y="2309371"/>
                </a:lnTo>
                <a:lnTo>
                  <a:pt x="816551" y="2309990"/>
                </a:lnTo>
                <a:cubicBezTo>
                  <a:pt x="817067" y="2310765"/>
                  <a:pt x="817583" y="2311385"/>
                  <a:pt x="818409" y="2310920"/>
                </a:cubicBezTo>
                <a:cubicBezTo>
                  <a:pt x="819648" y="2315257"/>
                  <a:pt x="825637" y="2313244"/>
                  <a:pt x="828734" y="2319439"/>
                </a:cubicBezTo>
                <a:cubicBezTo>
                  <a:pt x="826463" y="2319130"/>
                  <a:pt x="824604" y="2318665"/>
                  <a:pt x="822952" y="2317891"/>
                </a:cubicBezTo>
                <a:cubicBezTo>
                  <a:pt x="817996" y="2315877"/>
                  <a:pt x="815001" y="2312624"/>
                  <a:pt x="810975" y="2312314"/>
                </a:cubicBezTo>
                <a:cubicBezTo>
                  <a:pt x="810975" y="2312314"/>
                  <a:pt x="810975" y="2312159"/>
                  <a:pt x="810355" y="2309990"/>
                </a:cubicBezTo>
                <a:cubicBezTo>
                  <a:pt x="809529" y="2309681"/>
                  <a:pt x="809632" y="2309681"/>
                  <a:pt x="809632" y="2309681"/>
                </a:cubicBezTo>
                <a:cubicBezTo>
                  <a:pt x="809219" y="2309526"/>
                  <a:pt x="809219" y="2309061"/>
                  <a:pt x="809323" y="2308597"/>
                </a:cubicBezTo>
                <a:cubicBezTo>
                  <a:pt x="809426" y="2308132"/>
                  <a:pt x="809736" y="2307823"/>
                  <a:pt x="809736" y="2307823"/>
                </a:cubicBezTo>
                <a:cubicBezTo>
                  <a:pt x="810561" y="2307202"/>
                  <a:pt x="811388" y="2307358"/>
                  <a:pt x="812214" y="2307823"/>
                </a:cubicBezTo>
                <a:lnTo>
                  <a:pt x="812833" y="2308132"/>
                </a:lnTo>
                <a:lnTo>
                  <a:pt x="812730" y="2307358"/>
                </a:lnTo>
                <a:cubicBezTo>
                  <a:pt x="812420" y="2304724"/>
                  <a:pt x="812627" y="2302246"/>
                  <a:pt x="812730" y="2300077"/>
                </a:cubicBezTo>
                <a:lnTo>
                  <a:pt x="812007" y="2294501"/>
                </a:lnTo>
                <a:lnTo>
                  <a:pt x="810458" y="2293726"/>
                </a:lnTo>
                <a:cubicBezTo>
                  <a:pt x="809529" y="2293107"/>
                  <a:pt x="809013" y="2292487"/>
                  <a:pt x="808806" y="2291868"/>
                </a:cubicBezTo>
                <a:cubicBezTo>
                  <a:pt x="808497" y="2291403"/>
                  <a:pt x="808497" y="2290938"/>
                  <a:pt x="808600" y="2290474"/>
                </a:cubicBezTo>
                <a:cubicBezTo>
                  <a:pt x="808806" y="2290009"/>
                  <a:pt x="809116" y="2289699"/>
                  <a:pt x="809632" y="2289390"/>
                </a:cubicBezTo>
                <a:close/>
                <a:moveTo>
                  <a:pt x="839886" y="2289079"/>
                </a:moveTo>
                <a:cubicBezTo>
                  <a:pt x="843294" y="2287376"/>
                  <a:pt x="848869" y="2293572"/>
                  <a:pt x="852896" y="2296050"/>
                </a:cubicBezTo>
                <a:cubicBezTo>
                  <a:pt x="852277" y="2299767"/>
                  <a:pt x="851658" y="2300697"/>
                  <a:pt x="848869" y="2303020"/>
                </a:cubicBezTo>
                <a:cubicBezTo>
                  <a:pt x="843191" y="2301471"/>
                  <a:pt x="840299" y="2297599"/>
                  <a:pt x="837408" y="2293726"/>
                </a:cubicBezTo>
                <a:cubicBezTo>
                  <a:pt x="837925" y="2290938"/>
                  <a:pt x="838751" y="2289545"/>
                  <a:pt x="839886" y="2289079"/>
                </a:cubicBezTo>
                <a:close/>
                <a:moveTo>
                  <a:pt x="5055701" y="2288821"/>
                </a:moveTo>
                <a:cubicBezTo>
                  <a:pt x="5056767" y="2288964"/>
                  <a:pt x="5057834" y="2290386"/>
                  <a:pt x="5057834" y="2290386"/>
                </a:cubicBezTo>
                <a:cubicBezTo>
                  <a:pt x="5059115" y="2291666"/>
                  <a:pt x="5059115" y="2291666"/>
                  <a:pt x="5060182" y="2290671"/>
                </a:cubicBezTo>
                <a:cubicBezTo>
                  <a:pt x="5060182" y="2290671"/>
                  <a:pt x="5060182" y="2291809"/>
                  <a:pt x="5060182" y="2291809"/>
                </a:cubicBezTo>
                <a:cubicBezTo>
                  <a:pt x="5059115" y="2291666"/>
                  <a:pt x="5060182" y="2291809"/>
                  <a:pt x="5061249" y="2293089"/>
                </a:cubicBezTo>
                <a:cubicBezTo>
                  <a:pt x="5060182" y="2295366"/>
                  <a:pt x="5060182" y="2296504"/>
                  <a:pt x="5058902" y="2297642"/>
                </a:cubicBezTo>
                <a:cubicBezTo>
                  <a:pt x="5058261" y="2298212"/>
                  <a:pt x="5057408" y="2298638"/>
                  <a:pt x="5056554" y="2298922"/>
                </a:cubicBezTo>
                <a:lnTo>
                  <a:pt x="5055914" y="2298638"/>
                </a:lnTo>
                <a:lnTo>
                  <a:pt x="5055701" y="2298922"/>
                </a:lnTo>
                <a:cubicBezTo>
                  <a:pt x="5054633" y="2299492"/>
                  <a:pt x="5053566" y="2299918"/>
                  <a:pt x="5052926" y="2299492"/>
                </a:cubicBezTo>
                <a:cubicBezTo>
                  <a:pt x="5050365" y="2299207"/>
                  <a:pt x="5052713" y="2294654"/>
                  <a:pt x="5052499" y="2293516"/>
                </a:cubicBezTo>
                <a:lnTo>
                  <a:pt x="5053353" y="2292236"/>
                </a:lnTo>
                <a:lnTo>
                  <a:pt x="5053353" y="2290956"/>
                </a:lnTo>
                <a:cubicBezTo>
                  <a:pt x="5053353" y="2289818"/>
                  <a:pt x="5054420" y="2289959"/>
                  <a:pt x="5055701" y="2288821"/>
                </a:cubicBezTo>
                <a:close/>
                <a:moveTo>
                  <a:pt x="5421715" y="2287256"/>
                </a:moveTo>
                <a:cubicBezTo>
                  <a:pt x="5417020" y="2294797"/>
                  <a:pt x="5417234" y="2302337"/>
                  <a:pt x="5417020" y="2309877"/>
                </a:cubicBezTo>
                <a:lnTo>
                  <a:pt x="5416807" y="2310446"/>
                </a:lnTo>
                <a:lnTo>
                  <a:pt x="5420008" y="2315710"/>
                </a:lnTo>
                <a:cubicBezTo>
                  <a:pt x="5420862" y="2317702"/>
                  <a:pt x="5420862" y="2319552"/>
                  <a:pt x="5420435" y="2321259"/>
                </a:cubicBezTo>
                <a:lnTo>
                  <a:pt x="5420222" y="2321685"/>
                </a:lnTo>
                <a:lnTo>
                  <a:pt x="5421075" y="2321401"/>
                </a:lnTo>
                <a:cubicBezTo>
                  <a:pt x="5421929" y="2321117"/>
                  <a:pt x="5422782" y="2320690"/>
                  <a:pt x="5423636" y="2320974"/>
                </a:cubicBezTo>
                <a:cubicBezTo>
                  <a:pt x="5423636" y="2320974"/>
                  <a:pt x="5425984" y="2323677"/>
                  <a:pt x="5425984" y="2323677"/>
                </a:cubicBezTo>
                <a:cubicBezTo>
                  <a:pt x="5425343" y="2325385"/>
                  <a:pt x="5425343" y="2325242"/>
                  <a:pt x="5424917" y="2324246"/>
                </a:cubicBezTo>
                <a:cubicBezTo>
                  <a:pt x="5423209" y="2326380"/>
                  <a:pt x="5421929" y="2326949"/>
                  <a:pt x="5420862" y="2327519"/>
                </a:cubicBezTo>
                <a:lnTo>
                  <a:pt x="5419154" y="2323108"/>
                </a:lnTo>
                <a:lnTo>
                  <a:pt x="5416380" y="2327092"/>
                </a:lnTo>
                <a:lnTo>
                  <a:pt x="5411471" y="2328941"/>
                </a:lnTo>
                <a:lnTo>
                  <a:pt x="5409764" y="2332356"/>
                </a:lnTo>
                <a:lnTo>
                  <a:pt x="5407843" y="2329653"/>
                </a:lnTo>
                <a:lnTo>
                  <a:pt x="5400587" y="2328372"/>
                </a:lnTo>
                <a:cubicBezTo>
                  <a:pt x="5397812" y="2327234"/>
                  <a:pt x="5395251" y="2325242"/>
                  <a:pt x="5393544" y="2322254"/>
                </a:cubicBezTo>
                <a:cubicBezTo>
                  <a:pt x="5393544" y="2316849"/>
                  <a:pt x="5397385" y="2313149"/>
                  <a:pt x="5402080" y="2311016"/>
                </a:cubicBezTo>
                <a:lnTo>
                  <a:pt x="5402508" y="2310873"/>
                </a:lnTo>
                <a:lnTo>
                  <a:pt x="5402935" y="2309166"/>
                </a:lnTo>
                <a:cubicBezTo>
                  <a:pt x="5403361" y="2306890"/>
                  <a:pt x="5404642" y="2305751"/>
                  <a:pt x="5405922" y="2304755"/>
                </a:cubicBezTo>
                <a:lnTo>
                  <a:pt x="5408270" y="2302337"/>
                </a:lnTo>
                <a:lnTo>
                  <a:pt x="5411684" y="2293516"/>
                </a:lnTo>
                <a:cubicBezTo>
                  <a:pt x="5414246" y="2289959"/>
                  <a:pt x="5417660" y="2287541"/>
                  <a:pt x="5421715" y="2287256"/>
                </a:cubicBezTo>
                <a:close/>
                <a:moveTo>
                  <a:pt x="1073349" y="2287221"/>
                </a:moveTo>
                <a:cubicBezTo>
                  <a:pt x="1074897" y="2289235"/>
                  <a:pt x="1076446" y="2291248"/>
                  <a:pt x="1078099" y="2293107"/>
                </a:cubicBezTo>
                <a:cubicBezTo>
                  <a:pt x="1077169" y="2293417"/>
                  <a:pt x="1076446" y="2293881"/>
                  <a:pt x="1075827" y="2294501"/>
                </a:cubicBezTo>
                <a:lnTo>
                  <a:pt x="1075724" y="2294656"/>
                </a:lnTo>
                <a:lnTo>
                  <a:pt x="1081196" y="2304414"/>
                </a:lnTo>
                <a:cubicBezTo>
                  <a:pt x="1073039" y="2306428"/>
                  <a:pt x="1066740" y="2295740"/>
                  <a:pt x="1064572" y="2288460"/>
                </a:cubicBezTo>
                <a:lnTo>
                  <a:pt x="1069735" y="2290009"/>
                </a:lnTo>
                <a:lnTo>
                  <a:pt x="1070354" y="2288925"/>
                </a:lnTo>
                <a:cubicBezTo>
                  <a:pt x="1070870" y="2288460"/>
                  <a:pt x="1071490" y="2288305"/>
                  <a:pt x="1073349" y="2287221"/>
                </a:cubicBezTo>
                <a:close/>
                <a:moveTo>
                  <a:pt x="4996583" y="2285976"/>
                </a:moveTo>
                <a:cubicBezTo>
                  <a:pt x="4995729" y="2287541"/>
                  <a:pt x="4997223" y="2288252"/>
                  <a:pt x="4998504" y="2288964"/>
                </a:cubicBezTo>
                <a:cubicBezTo>
                  <a:pt x="4997223" y="2291240"/>
                  <a:pt x="4995729" y="2295081"/>
                  <a:pt x="4992741" y="2295650"/>
                </a:cubicBezTo>
                <a:cubicBezTo>
                  <a:pt x="4991675" y="2295793"/>
                  <a:pt x="4990607" y="2295650"/>
                  <a:pt x="4989113" y="2294939"/>
                </a:cubicBezTo>
                <a:cubicBezTo>
                  <a:pt x="4988046" y="2295223"/>
                  <a:pt x="4985912" y="2291098"/>
                  <a:pt x="4986552" y="2289675"/>
                </a:cubicBezTo>
                <a:cubicBezTo>
                  <a:pt x="4988046" y="2285407"/>
                  <a:pt x="4991888" y="2286545"/>
                  <a:pt x="4996583" y="2285976"/>
                </a:cubicBezTo>
                <a:close/>
                <a:moveTo>
                  <a:pt x="5016858" y="2285834"/>
                </a:moveTo>
                <a:cubicBezTo>
                  <a:pt x="5020059" y="2285264"/>
                  <a:pt x="5023261" y="2285264"/>
                  <a:pt x="5026462" y="2286118"/>
                </a:cubicBezTo>
                <a:cubicBezTo>
                  <a:pt x="5032438" y="2287541"/>
                  <a:pt x="5037133" y="2291666"/>
                  <a:pt x="5036279" y="2297500"/>
                </a:cubicBezTo>
                <a:cubicBezTo>
                  <a:pt x="5036066" y="2299207"/>
                  <a:pt x="5035425" y="2301057"/>
                  <a:pt x="5034145" y="2303049"/>
                </a:cubicBezTo>
                <a:cubicBezTo>
                  <a:pt x="5026035" y="2302337"/>
                  <a:pt x="5011736" y="2303902"/>
                  <a:pt x="5008962" y="2289959"/>
                </a:cubicBezTo>
                <a:cubicBezTo>
                  <a:pt x="5010882" y="2287826"/>
                  <a:pt x="5013870" y="2286545"/>
                  <a:pt x="5016858" y="2285834"/>
                </a:cubicBezTo>
                <a:close/>
                <a:moveTo>
                  <a:pt x="991570" y="2285052"/>
                </a:moveTo>
                <a:cubicBezTo>
                  <a:pt x="991570" y="2285052"/>
                  <a:pt x="992292" y="2285517"/>
                  <a:pt x="992292" y="2285517"/>
                </a:cubicBezTo>
                <a:cubicBezTo>
                  <a:pt x="992499" y="2285207"/>
                  <a:pt x="992499" y="2285207"/>
                  <a:pt x="992602" y="2285517"/>
                </a:cubicBezTo>
                <a:lnTo>
                  <a:pt x="992705" y="2285672"/>
                </a:lnTo>
                <a:lnTo>
                  <a:pt x="1000140" y="2285517"/>
                </a:lnTo>
                <a:cubicBezTo>
                  <a:pt x="1003237" y="2285517"/>
                  <a:pt x="1006232" y="2285672"/>
                  <a:pt x="1009020" y="2286757"/>
                </a:cubicBezTo>
                <a:cubicBezTo>
                  <a:pt x="1005406" y="2290009"/>
                  <a:pt x="998075" y="2292333"/>
                  <a:pt x="993841" y="2289854"/>
                </a:cubicBezTo>
                <a:lnTo>
                  <a:pt x="993119" y="2288925"/>
                </a:lnTo>
                <a:lnTo>
                  <a:pt x="991983" y="2288770"/>
                </a:lnTo>
                <a:cubicBezTo>
                  <a:pt x="991570" y="2288615"/>
                  <a:pt x="991054" y="2288305"/>
                  <a:pt x="989918" y="2287686"/>
                </a:cubicBezTo>
                <a:cubicBezTo>
                  <a:pt x="991054" y="2287531"/>
                  <a:pt x="991054" y="2287531"/>
                  <a:pt x="990744" y="2286447"/>
                </a:cubicBezTo>
                <a:cubicBezTo>
                  <a:pt x="990744" y="2286447"/>
                  <a:pt x="990744" y="2286291"/>
                  <a:pt x="990021" y="2285827"/>
                </a:cubicBezTo>
                <a:cubicBezTo>
                  <a:pt x="990434" y="2285207"/>
                  <a:pt x="991157" y="2285672"/>
                  <a:pt x="991570" y="2285052"/>
                </a:cubicBezTo>
                <a:close/>
                <a:moveTo>
                  <a:pt x="5481686" y="2282135"/>
                </a:moveTo>
                <a:cubicBezTo>
                  <a:pt x="5481686" y="2282135"/>
                  <a:pt x="5481900" y="2281992"/>
                  <a:pt x="5489796" y="2284127"/>
                </a:cubicBezTo>
                <a:cubicBezTo>
                  <a:pt x="5489369" y="2284838"/>
                  <a:pt x="5488943" y="2285123"/>
                  <a:pt x="5488089" y="2285123"/>
                </a:cubicBezTo>
                <a:cubicBezTo>
                  <a:pt x="5487448" y="2284980"/>
                  <a:pt x="5486808" y="2284696"/>
                  <a:pt x="5486168" y="2284269"/>
                </a:cubicBezTo>
                <a:cubicBezTo>
                  <a:pt x="5484674" y="2283557"/>
                  <a:pt x="5483180" y="2282846"/>
                  <a:pt x="5481686" y="2282135"/>
                </a:cubicBezTo>
                <a:close/>
                <a:moveTo>
                  <a:pt x="1083468" y="2282109"/>
                </a:moveTo>
                <a:cubicBezTo>
                  <a:pt x="1083777" y="2282264"/>
                  <a:pt x="1084397" y="2282419"/>
                  <a:pt x="1085326" y="2282574"/>
                </a:cubicBezTo>
                <a:cubicBezTo>
                  <a:pt x="1086462" y="2282884"/>
                  <a:pt x="1087185" y="2282574"/>
                  <a:pt x="1086772" y="2283658"/>
                </a:cubicBezTo>
                <a:cubicBezTo>
                  <a:pt x="1086359" y="2284743"/>
                  <a:pt x="1086359" y="2284743"/>
                  <a:pt x="1084087" y="2285672"/>
                </a:cubicBezTo>
                <a:cubicBezTo>
                  <a:pt x="1084500" y="2284588"/>
                  <a:pt x="1084500" y="2284588"/>
                  <a:pt x="1083364" y="2284123"/>
                </a:cubicBezTo>
                <a:cubicBezTo>
                  <a:pt x="1083364" y="2284123"/>
                  <a:pt x="1083364" y="2284123"/>
                  <a:pt x="1082538" y="2284433"/>
                </a:cubicBezTo>
                <a:cubicBezTo>
                  <a:pt x="1082229" y="2283658"/>
                  <a:pt x="1083055" y="2283348"/>
                  <a:pt x="1082642" y="2282574"/>
                </a:cubicBezTo>
                <a:cubicBezTo>
                  <a:pt x="1082642" y="2282574"/>
                  <a:pt x="1083468" y="2282419"/>
                  <a:pt x="1083468" y="2282419"/>
                </a:cubicBezTo>
                <a:cubicBezTo>
                  <a:pt x="1083261" y="2281955"/>
                  <a:pt x="1083158" y="2281955"/>
                  <a:pt x="1083468" y="2282109"/>
                </a:cubicBezTo>
                <a:close/>
                <a:moveTo>
                  <a:pt x="941077" y="2281839"/>
                </a:moveTo>
                <a:cubicBezTo>
                  <a:pt x="945259" y="2280948"/>
                  <a:pt x="949390" y="2281025"/>
                  <a:pt x="950784" y="2282109"/>
                </a:cubicBezTo>
                <a:cubicBezTo>
                  <a:pt x="948305" y="2284898"/>
                  <a:pt x="944898" y="2284588"/>
                  <a:pt x="941490" y="2287531"/>
                </a:cubicBezTo>
                <a:cubicBezTo>
                  <a:pt x="938806" y="2286291"/>
                  <a:pt x="934675" y="2289390"/>
                  <a:pt x="931061" y="2287376"/>
                </a:cubicBezTo>
                <a:cubicBezTo>
                  <a:pt x="932662" y="2284588"/>
                  <a:pt x="936896" y="2282729"/>
                  <a:pt x="941077" y="2281839"/>
                </a:cubicBezTo>
                <a:close/>
                <a:moveTo>
                  <a:pt x="708648" y="2281645"/>
                </a:moveTo>
                <a:cubicBezTo>
                  <a:pt x="709164" y="2281490"/>
                  <a:pt x="709784" y="2281490"/>
                  <a:pt x="710713" y="2281955"/>
                </a:cubicBezTo>
                <a:cubicBezTo>
                  <a:pt x="707925" y="2288460"/>
                  <a:pt x="707925" y="2291868"/>
                  <a:pt x="705137" y="2296669"/>
                </a:cubicBezTo>
                <a:cubicBezTo>
                  <a:pt x="704208" y="2296515"/>
                  <a:pt x="704311" y="2295740"/>
                  <a:pt x="703382" y="2295585"/>
                </a:cubicBezTo>
                <a:cubicBezTo>
                  <a:pt x="702969" y="2295121"/>
                  <a:pt x="702762" y="2294346"/>
                  <a:pt x="702865" y="2293262"/>
                </a:cubicBezTo>
                <a:cubicBezTo>
                  <a:pt x="702865" y="2290164"/>
                  <a:pt x="704621" y="2285672"/>
                  <a:pt x="705344" y="2285672"/>
                </a:cubicBezTo>
                <a:cubicBezTo>
                  <a:pt x="705344" y="2284898"/>
                  <a:pt x="706273" y="2284898"/>
                  <a:pt x="706273" y="2284123"/>
                </a:cubicBezTo>
                <a:cubicBezTo>
                  <a:pt x="706273" y="2284123"/>
                  <a:pt x="706273" y="2283348"/>
                  <a:pt x="707099" y="2282574"/>
                </a:cubicBezTo>
                <a:cubicBezTo>
                  <a:pt x="707615" y="2282109"/>
                  <a:pt x="708028" y="2281800"/>
                  <a:pt x="708648" y="2281645"/>
                </a:cubicBezTo>
                <a:close/>
                <a:moveTo>
                  <a:pt x="5135093" y="2280855"/>
                </a:moveTo>
                <a:cubicBezTo>
                  <a:pt x="5137013" y="2280285"/>
                  <a:pt x="5139148" y="2281282"/>
                  <a:pt x="5141922" y="2281992"/>
                </a:cubicBezTo>
                <a:cubicBezTo>
                  <a:pt x="5141709" y="2283273"/>
                  <a:pt x="5142135" y="2284696"/>
                  <a:pt x="5142349" y="2286118"/>
                </a:cubicBezTo>
                <a:lnTo>
                  <a:pt x="5142349" y="2287541"/>
                </a:lnTo>
                <a:lnTo>
                  <a:pt x="5149605" y="2286972"/>
                </a:lnTo>
                <a:lnTo>
                  <a:pt x="5149414" y="2289389"/>
                </a:lnTo>
                <a:lnTo>
                  <a:pt x="5149392" y="2289391"/>
                </a:lnTo>
                <a:lnTo>
                  <a:pt x="5149392" y="2289675"/>
                </a:lnTo>
                <a:lnTo>
                  <a:pt x="5149414" y="2289389"/>
                </a:lnTo>
                <a:lnTo>
                  <a:pt x="5162197" y="2288679"/>
                </a:lnTo>
                <a:cubicBezTo>
                  <a:pt x="5164758" y="2288821"/>
                  <a:pt x="5163691" y="2289391"/>
                  <a:pt x="5164971" y="2289959"/>
                </a:cubicBezTo>
                <a:cubicBezTo>
                  <a:pt x="5166465" y="2290671"/>
                  <a:pt x="5169026" y="2290956"/>
                  <a:pt x="5170094" y="2290386"/>
                </a:cubicBezTo>
                <a:cubicBezTo>
                  <a:pt x="5168173" y="2296219"/>
                  <a:pt x="5172227" y="2297073"/>
                  <a:pt x="5168813" y="2306036"/>
                </a:cubicBezTo>
                <a:cubicBezTo>
                  <a:pt x="5164971" y="2317702"/>
                  <a:pt x="5156435" y="2318698"/>
                  <a:pt x="5151099" y="2317133"/>
                </a:cubicBezTo>
                <a:cubicBezTo>
                  <a:pt x="5151739" y="2315995"/>
                  <a:pt x="5144269" y="2313718"/>
                  <a:pt x="5142562" y="2307174"/>
                </a:cubicBezTo>
                <a:cubicBezTo>
                  <a:pt x="5141922" y="2304898"/>
                  <a:pt x="5141922" y="2302337"/>
                  <a:pt x="5142989" y="2298922"/>
                </a:cubicBezTo>
                <a:lnTo>
                  <a:pt x="5145337" y="2295508"/>
                </a:lnTo>
                <a:lnTo>
                  <a:pt x="5136800" y="2299350"/>
                </a:lnTo>
                <a:cubicBezTo>
                  <a:pt x="5129330" y="2301057"/>
                  <a:pt x="5120580" y="2300630"/>
                  <a:pt x="5116525" y="2299350"/>
                </a:cubicBezTo>
                <a:lnTo>
                  <a:pt x="5130398" y="2291666"/>
                </a:lnTo>
                <a:lnTo>
                  <a:pt x="5129330" y="2289675"/>
                </a:lnTo>
                <a:cubicBezTo>
                  <a:pt x="5131251" y="2283842"/>
                  <a:pt x="5133172" y="2281565"/>
                  <a:pt x="5135093" y="2280855"/>
                </a:cubicBezTo>
                <a:close/>
                <a:moveTo>
                  <a:pt x="773183" y="2279631"/>
                </a:moveTo>
                <a:cubicBezTo>
                  <a:pt x="776590" y="2281180"/>
                  <a:pt x="774731" y="2283813"/>
                  <a:pt x="772976" y="2286291"/>
                </a:cubicBezTo>
                <a:cubicBezTo>
                  <a:pt x="771324" y="2285517"/>
                  <a:pt x="769465" y="2286447"/>
                  <a:pt x="767917" y="2283968"/>
                </a:cubicBezTo>
                <a:cubicBezTo>
                  <a:pt x="769672" y="2282264"/>
                  <a:pt x="771427" y="2281335"/>
                  <a:pt x="773183" y="2279631"/>
                </a:cubicBezTo>
                <a:close/>
                <a:moveTo>
                  <a:pt x="1049703" y="2277927"/>
                </a:moveTo>
                <a:cubicBezTo>
                  <a:pt x="1050219" y="2280560"/>
                  <a:pt x="1050426" y="2282264"/>
                  <a:pt x="1050219" y="2285362"/>
                </a:cubicBezTo>
                <a:cubicBezTo>
                  <a:pt x="1050219" y="2285362"/>
                  <a:pt x="1048980" y="2289854"/>
                  <a:pt x="1045883" y="2290009"/>
                </a:cubicBezTo>
                <a:cubicBezTo>
                  <a:pt x="1045160" y="2290629"/>
                  <a:pt x="1043404" y="2287841"/>
                  <a:pt x="1043714" y="2286757"/>
                </a:cubicBezTo>
                <a:cubicBezTo>
                  <a:pt x="1044333" y="2284433"/>
                  <a:pt x="1044643" y="2283194"/>
                  <a:pt x="1046089" y="2282264"/>
                </a:cubicBezTo>
                <a:cubicBezTo>
                  <a:pt x="1046399" y="2281025"/>
                  <a:pt x="1046708" y="2279941"/>
                  <a:pt x="1047225" y="2279166"/>
                </a:cubicBezTo>
                <a:cubicBezTo>
                  <a:pt x="1047741" y="2278237"/>
                  <a:pt x="1048464" y="2277772"/>
                  <a:pt x="1049703" y="2277927"/>
                </a:cubicBezTo>
                <a:close/>
                <a:moveTo>
                  <a:pt x="5581994" y="2277582"/>
                </a:moveTo>
                <a:cubicBezTo>
                  <a:pt x="5578366" y="2281282"/>
                  <a:pt x="5575164" y="2285264"/>
                  <a:pt x="5570896" y="2288537"/>
                </a:cubicBezTo>
                <a:cubicBezTo>
                  <a:pt x="5566840" y="2291666"/>
                  <a:pt x="5561932" y="2294085"/>
                  <a:pt x="5555316" y="2294797"/>
                </a:cubicBezTo>
                <a:cubicBezTo>
                  <a:pt x="5555316" y="2280427"/>
                  <a:pt x="5573030" y="2277155"/>
                  <a:pt x="5581994" y="2277582"/>
                </a:cubicBezTo>
                <a:close/>
                <a:moveTo>
                  <a:pt x="1123325" y="2275449"/>
                </a:moveTo>
                <a:cubicBezTo>
                  <a:pt x="1132824" y="2275914"/>
                  <a:pt x="1141188" y="2282574"/>
                  <a:pt x="1143357" y="2292487"/>
                </a:cubicBezTo>
                <a:cubicBezTo>
                  <a:pt x="1142324" y="2293107"/>
                  <a:pt x="1141291" y="2293881"/>
                  <a:pt x="1141911" y="2294811"/>
                </a:cubicBezTo>
                <a:cubicBezTo>
                  <a:pt x="1138710" y="2297444"/>
                  <a:pt x="1134786" y="2298838"/>
                  <a:pt x="1130862" y="2299303"/>
                </a:cubicBezTo>
                <a:lnTo>
                  <a:pt x="1124770" y="2298528"/>
                </a:lnTo>
                <a:lnTo>
                  <a:pt x="1125080" y="2302866"/>
                </a:lnTo>
                <a:cubicBezTo>
                  <a:pt x="1122705" y="2303485"/>
                  <a:pt x="1121363" y="2302246"/>
                  <a:pt x="1120950" y="2300697"/>
                </a:cubicBezTo>
                <a:lnTo>
                  <a:pt x="1121466" y="2298064"/>
                </a:lnTo>
                <a:lnTo>
                  <a:pt x="1119195" y="2297754"/>
                </a:lnTo>
                <a:cubicBezTo>
                  <a:pt x="1111863" y="2295121"/>
                  <a:pt x="1106081" y="2289390"/>
                  <a:pt x="1106081" y="2281645"/>
                </a:cubicBezTo>
                <a:cubicBezTo>
                  <a:pt x="1111554" y="2276998"/>
                  <a:pt x="1117646" y="2275139"/>
                  <a:pt x="1123325" y="2275449"/>
                </a:cubicBezTo>
                <a:close/>
                <a:moveTo>
                  <a:pt x="916296" y="2275139"/>
                </a:moveTo>
                <a:cubicBezTo>
                  <a:pt x="918464" y="2275139"/>
                  <a:pt x="919806" y="2275139"/>
                  <a:pt x="920736" y="2275758"/>
                </a:cubicBezTo>
                <a:lnTo>
                  <a:pt x="921046" y="2276378"/>
                </a:lnTo>
                <a:lnTo>
                  <a:pt x="926931" y="2283658"/>
                </a:lnTo>
                <a:cubicBezTo>
                  <a:pt x="927241" y="2284743"/>
                  <a:pt x="927034" y="2288460"/>
                  <a:pt x="925899" y="2288925"/>
                </a:cubicBezTo>
                <a:cubicBezTo>
                  <a:pt x="924660" y="2289390"/>
                  <a:pt x="923937" y="2288925"/>
                  <a:pt x="923111" y="2288615"/>
                </a:cubicBezTo>
                <a:lnTo>
                  <a:pt x="920529" y="2285052"/>
                </a:lnTo>
                <a:lnTo>
                  <a:pt x="919806" y="2286757"/>
                </a:lnTo>
                <a:cubicBezTo>
                  <a:pt x="918567" y="2288460"/>
                  <a:pt x="917226" y="2289545"/>
                  <a:pt x="916296" y="2289699"/>
                </a:cubicBezTo>
                <a:cubicBezTo>
                  <a:pt x="914437" y="2289545"/>
                  <a:pt x="912579" y="2288150"/>
                  <a:pt x="912166" y="2285982"/>
                </a:cubicBezTo>
                <a:cubicBezTo>
                  <a:pt x="911959" y="2285362"/>
                  <a:pt x="912062" y="2284588"/>
                  <a:pt x="912269" y="2283658"/>
                </a:cubicBezTo>
                <a:cubicBezTo>
                  <a:pt x="912372" y="2280715"/>
                  <a:pt x="915366" y="2278701"/>
                  <a:pt x="916296" y="2275139"/>
                </a:cubicBezTo>
                <a:close/>
                <a:moveTo>
                  <a:pt x="1060132" y="2274984"/>
                </a:moveTo>
                <a:cubicBezTo>
                  <a:pt x="1063746" y="2276688"/>
                  <a:pt x="1066740" y="2278857"/>
                  <a:pt x="1068496" y="2281955"/>
                </a:cubicBezTo>
                <a:cubicBezTo>
                  <a:pt x="1065398" y="2284433"/>
                  <a:pt x="1060441" y="2285052"/>
                  <a:pt x="1056724" y="2285827"/>
                </a:cubicBezTo>
                <a:cubicBezTo>
                  <a:pt x="1058067" y="2282419"/>
                  <a:pt x="1061784" y="2281645"/>
                  <a:pt x="1060132" y="2274984"/>
                </a:cubicBezTo>
                <a:close/>
                <a:moveTo>
                  <a:pt x="1169170" y="2274055"/>
                </a:moveTo>
                <a:cubicBezTo>
                  <a:pt x="1169996" y="2273900"/>
                  <a:pt x="1171132" y="2274210"/>
                  <a:pt x="1172268" y="2274674"/>
                </a:cubicBezTo>
                <a:cubicBezTo>
                  <a:pt x="1174643" y="2275604"/>
                  <a:pt x="1174540" y="2277462"/>
                  <a:pt x="1174540" y="2277462"/>
                </a:cubicBezTo>
                <a:cubicBezTo>
                  <a:pt x="1174127" y="2280405"/>
                  <a:pt x="1172165" y="2282109"/>
                  <a:pt x="1168964" y="2281490"/>
                </a:cubicBezTo>
                <a:cubicBezTo>
                  <a:pt x="1167415" y="2280251"/>
                  <a:pt x="1167415" y="2278392"/>
                  <a:pt x="1167518" y="2276533"/>
                </a:cubicBezTo>
                <a:cubicBezTo>
                  <a:pt x="1167725" y="2274984"/>
                  <a:pt x="1168344" y="2274365"/>
                  <a:pt x="1169170" y="2274055"/>
                </a:cubicBezTo>
                <a:close/>
                <a:moveTo>
                  <a:pt x="1002205" y="2273280"/>
                </a:moveTo>
                <a:cubicBezTo>
                  <a:pt x="1002721" y="2275139"/>
                  <a:pt x="1003237" y="2276998"/>
                  <a:pt x="1002618" y="2278701"/>
                </a:cubicBezTo>
                <a:cubicBezTo>
                  <a:pt x="1000140" y="2278392"/>
                  <a:pt x="998281" y="2278701"/>
                  <a:pt x="996423" y="2277927"/>
                </a:cubicBezTo>
                <a:cubicBezTo>
                  <a:pt x="996010" y="2276998"/>
                  <a:pt x="995906" y="2276068"/>
                  <a:pt x="996010" y="2275294"/>
                </a:cubicBezTo>
                <a:cubicBezTo>
                  <a:pt x="996216" y="2274674"/>
                  <a:pt x="996526" y="2274055"/>
                  <a:pt x="997042" y="2273745"/>
                </a:cubicBezTo>
                <a:cubicBezTo>
                  <a:pt x="998178" y="2272970"/>
                  <a:pt x="1000037" y="2272815"/>
                  <a:pt x="1002205" y="2273280"/>
                </a:cubicBezTo>
                <a:close/>
                <a:moveTo>
                  <a:pt x="5543365" y="2273172"/>
                </a:moveTo>
                <a:cubicBezTo>
                  <a:pt x="5545712" y="2274026"/>
                  <a:pt x="5547419" y="2275733"/>
                  <a:pt x="5548700" y="2277867"/>
                </a:cubicBezTo>
                <a:cubicBezTo>
                  <a:pt x="5552328" y="2284127"/>
                  <a:pt x="5551048" y="2294654"/>
                  <a:pt x="5548060" y="2300345"/>
                </a:cubicBezTo>
                <a:cubicBezTo>
                  <a:pt x="5542938" y="2302906"/>
                  <a:pt x="5539096" y="2302764"/>
                  <a:pt x="5536322" y="2301057"/>
                </a:cubicBezTo>
                <a:cubicBezTo>
                  <a:pt x="5528212" y="2296077"/>
                  <a:pt x="5530773" y="2277155"/>
                  <a:pt x="5543365" y="2273172"/>
                </a:cubicBezTo>
                <a:close/>
                <a:moveTo>
                  <a:pt x="887901" y="2273125"/>
                </a:moveTo>
                <a:cubicBezTo>
                  <a:pt x="890998" y="2272661"/>
                  <a:pt x="894819" y="2279166"/>
                  <a:pt x="895748" y="2282419"/>
                </a:cubicBezTo>
                <a:cubicBezTo>
                  <a:pt x="895025" y="2282574"/>
                  <a:pt x="894199" y="2282264"/>
                  <a:pt x="893373" y="2281645"/>
                </a:cubicBezTo>
                <a:cubicBezTo>
                  <a:pt x="890998" y="2279941"/>
                  <a:pt x="888623" y="2275604"/>
                  <a:pt x="887901" y="2273125"/>
                </a:cubicBezTo>
                <a:close/>
                <a:moveTo>
                  <a:pt x="5018138" y="2272176"/>
                </a:moveTo>
                <a:cubicBezTo>
                  <a:pt x="5018779" y="2272176"/>
                  <a:pt x="5019419" y="2272318"/>
                  <a:pt x="5020273" y="2272887"/>
                </a:cubicBezTo>
                <a:cubicBezTo>
                  <a:pt x="5020913" y="2275590"/>
                  <a:pt x="5020700" y="2278863"/>
                  <a:pt x="5020486" y="2282277"/>
                </a:cubicBezTo>
                <a:cubicBezTo>
                  <a:pt x="5014297" y="2283842"/>
                  <a:pt x="5013657" y="2275306"/>
                  <a:pt x="5016431" y="2272887"/>
                </a:cubicBezTo>
                <a:cubicBezTo>
                  <a:pt x="5016858" y="2272461"/>
                  <a:pt x="5017498" y="2272176"/>
                  <a:pt x="5018138" y="2272176"/>
                </a:cubicBezTo>
                <a:close/>
                <a:moveTo>
                  <a:pt x="1089457" y="2270182"/>
                </a:moveTo>
                <a:cubicBezTo>
                  <a:pt x="1087701" y="2271422"/>
                  <a:pt x="1085946" y="2272351"/>
                  <a:pt x="1084191" y="2272970"/>
                </a:cubicBezTo>
                <a:lnTo>
                  <a:pt x="1078925" y="2274055"/>
                </a:lnTo>
                <a:lnTo>
                  <a:pt x="1080267" y="2279012"/>
                </a:lnTo>
                <a:cubicBezTo>
                  <a:pt x="1079854" y="2280405"/>
                  <a:pt x="1079028" y="2281800"/>
                  <a:pt x="1077686" y="2282729"/>
                </a:cubicBezTo>
                <a:cubicBezTo>
                  <a:pt x="1075930" y="2283968"/>
                  <a:pt x="1073349" y="2284433"/>
                  <a:pt x="1070148" y="2283348"/>
                </a:cubicBezTo>
                <a:cubicBezTo>
                  <a:pt x="1069425" y="2281490"/>
                  <a:pt x="1069528" y="2279941"/>
                  <a:pt x="1069631" y="2278547"/>
                </a:cubicBezTo>
                <a:lnTo>
                  <a:pt x="1070044" y="2276068"/>
                </a:lnTo>
                <a:lnTo>
                  <a:pt x="1069012" y="2275604"/>
                </a:lnTo>
                <a:cubicBezTo>
                  <a:pt x="1068186" y="2275914"/>
                  <a:pt x="1068186" y="2275758"/>
                  <a:pt x="1068186" y="2275758"/>
                </a:cubicBezTo>
                <a:cubicBezTo>
                  <a:pt x="1067360" y="2276068"/>
                  <a:pt x="1066740" y="2274519"/>
                  <a:pt x="1066740" y="2274519"/>
                </a:cubicBezTo>
                <a:cubicBezTo>
                  <a:pt x="1066740" y="2273590"/>
                  <a:pt x="1067463" y="2273125"/>
                  <a:pt x="1068392" y="2272815"/>
                </a:cubicBezTo>
                <a:cubicBezTo>
                  <a:pt x="1069322" y="2272506"/>
                  <a:pt x="1070458" y="2272506"/>
                  <a:pt x="1071180" y="2272196"/>
                </a:cubicBezTo>
                <a:cubicBezTo>
                  <a:pt x="1071387" y="2270337"/>
                  <a:pt x="1075104" y="2272815"/>
                  <a:pt x="1075207" y="2270957"/>
                </a:cubicBezTo>
                <a:cubicBezTo>
                  <a:pt x="1079751" y="2273280"/>
                  <a:pt x="1082125" y="2268014"/>
                  <a:pt x="1089457" y="2270182"/>
                </a:cubicBezTo>
                <a:close/>
                <a:moveTo>
                  <a:pt x="1102118" y="2269253"/>
                </a:moveTo>
                <a:cubicBezTo>
                  <a:pt x="1106339" y="2268750"/>
                  <a:pt x="1110417" y="2269176"/>
                  <a:pt x="1111657" y="2270337"/>
                </a:cubicBezTo>
                <a:cubicBezTo>
                  <a:pt x="1108972" y="2272970"/>
                  <a:pt x="1105565" y="2272351"/>
                  <a:pt x="1101951" y="2274984"/>
                </a:cubicBezTo>
                <a:cubicBezTo>
                  <a:pt x="1099472" y="2273435"/>
                  <a:pt x="1095032" y="2276224"/>
                  <a:pt x="1091728" y="2273745"/>
                </a:cubicBezTo>
                <a:cubicBezTo>
                  <a:pt x="1093535" y="2271190"/>
                  <a:pt x="1097898" y="2269757"/>
                  <a:pt x="1102118" y="2269253"/>
                </a:cubicBezTo>
                <a:close/>
                <a:moveTo>
                  <a:pt x="4788926" y="2269046"/>
                </a:moveTo>
                <a:cubicBezTo>
                  <a:pt x="4789566" y="2268904"/>
                  <a:pt x="4790206" y="2268904"/>
                  <a:pt x="4790633" y="2269615"/>
                </a:cubicBezTo>
                <a:cubicBezTo>
                  <a:pt x="4791914" y="2270896"/>
                  <a:pt x="4792980" y="2271038"/>
                  <a:pt x="4791700" y="2273314"/>
                </a:cubicBezTo>
                <a:cubicBezTo>
                  <a:pt x="4791700" y="2274452"/>
                  <a:pt x="4790633" y="2275590"/>
                  <a:pt x="4790420" y="2276728"/>
                </a:cubicBezTo>
                <a:cubicBezTo>
                  <a:pt x="4790420" y="2276728"/>
                  <a:pt x="4789566" y="2276871"/>
                  <a:pt x="4788712" y="2276871"/>
                </a:cubicBezTo>
                <a:cubicBezTo>
                  <a:pt x="4787645" y="2277013"/>
                  <a:pt x="4786364" y="2276871"/>
                  <a:pt x="4785938" y="2276160"/>
                </a:cubicBezTo>
                <a:cubicBezTo>
                  <a:pt x="4783590" y="2274737"/>
                  <a:pt x="4787219" y="2271464"/>
                  <a:pt x="4787219" y="2270326"/>
                </a:cubicBezTo>
                <a:cubicBezTo>
                  <a:pt x="4787859" y="2269757"/>
                  <a:pt x="4788499" y="2269331"/>
                  <a:pt x="4788926" y="2269046"/>
                </a:cubicBezTo>
                <a:close/>
                <a:moveTo>
                  <a:pt x="5517541" y="2268904"/>
                </a:moveTo>
                <a:cubicBezTo>
                  <a:pt x="5520956" y="2270896"/>
                  <a:pt x="5526931" y="2269899"/>
                  <a:pt x="5527144" y="2275875"/>
                </a:cubicBezTo>
                <a:cubicBezTo>
                  <a:pt x="5512632" y="2279716"/>
                  <a:pt x="5515620" y="2302052"/>
                  <a:pt x="5501748" y="2301199"/>
                </a:cubicBezTo>
                <a:cubicBezTo>
                  <a:pt x="5504309" y="2289818"/>
                  <a:pt x="5504735" y="2277867"/>
                  <a:pt x="5517541" y="2268904"/>
                </a:cubicBezTo>
                <a:close/>
                <a:moveTo>
                  <a:pt x="929306" y="2267859"/>
                </a:moveTo>
                <a:cubicBezTo>
                  <a:pt x="930339" y="2272970"/>
                  <a:pt x="934056" y="2276688"/>
                  <a:pt x="932817" y="2279476"/>
                </a:cubicBezTo>
                <a:cubicBezTo>
                  <a:pt x="932404" y="2280560"/>
                  <a:pt x="931475" y="2281335"/>
                  <a:pt x="929719" y="2282264"/>
                </a:cubicBezTo>
                <a:cubicBezTo>
                  <a:pt x="928273" y="2280870"/>
                  <a:pt x="925795" y="2276688"/>
                  <a:pt x="925279" y="2273125"/>
                </a:cubicBezTo>
                <a:cubicBezTo>
                  <a:pt x="925073" y="2272041"/>
                  <a:pt x="925176" y="2270802"/>
                  <a:pt x="925589" y="2269873"/>
                </a:cubicBezTo>
                <a:cubicBezTo>
                  <a:pt x="926105" y="2268788"/>
                  <a:pt x="927345" y="2268014"/>
                  <a:pt x="929306" y="2267859"/>
                </a:cubicBezTo>
                <a:close/>
                <a:moveTo>
                  <a:pt x="5665014" y="2267197"/>
                </a:moveTo>
                <a:lnTo>
                  <a:pt x="5667362" y="2281139"/>
                </a:lnTo>
                <a:lnTo>
                  <a:pt x="5668002" y="2281139"/>
                </a:lnTo>
                <a:lnTo>
                  <a:pt x="5668642" y="2280855"/>
                </a:lnTo>
                <a:cubicBezTo>
                  <a:pt x="5671417" y="2280712"/>
                  <a:pt x="5675045" y="2281139"/>
                  <a:pt x="5678886" y="2283700"/>
                </a:cubicBezTo>
                <a:cubicBezTo>
                  <a:pt x="5680593" y="2285549"/>
                  <a:pt x="5684221" y="2290813"/>
                  <a:pt x="5682514" y="2290813"/>
                </a:cubicBezTo>
                <a:cubicBezTo>
                  <a:pt x="5680593" y="2292663"/>
                  <a:pt x="5682514" y="2292521"/>
                  <a:pt x="5682514" y="2294370"/>
                </a:cubicBezTo>
                <a:cubicBezTo>
                  <a:pt x="5679740" y="2296930"/>
                  <a:pt x="5676965" y="2298780"/>
                  <a:pt x="5674191" y="2299350"/>
                </a:cubicBezTo>
                <a:lnTo>
                  <a:pt x="5668429" y="2298354"/>
                </a:lnTo>
                <a:lnTo>
                  <a:pt x="5667575" y="2305324"/>
                </a:lnTo>
                <a:cubicBezTo>
                  <a:pt x="5666294" y="2310019"/>
                  <a:pt x="5664374" y="2314856"/>
                  <a:pt x="5661813" y="2319836"/>
                </a:cubicBezTo>
                <a:cubicBezTo>
                  <a:pt x="5655837" y="2321401"/>
                  <a:pt x="5651355" y="2320405"/>
                  <a:pt x="5647940" y="2317702"/>
                </a:cubicBezTo>
                <a:lnTo>
                  <a:pt x="5643245" y="2308454"/>
                </a:lnTo>
                <a:lnTo>
                  <a:pt x="5642178" y="2310019"/>
                </a:lnTo>
                <a:cubicBezTo>
                  <a:pt x="5640257" y="2311869"/>
                  <a:pt x="5638336" y="2313576"/>
                  <a:pt x="5638336" y="2311869"/>
                </a:cubicBezTo>
                <a:cubicBezTo>
                  <a:pt x="5636416" y="2311869"/>
                  <a:pt x="5636629" y="2310161"/>
                  <a:pt x="5634708" y="2308454"/>
                </a:cubicBezTo>
                <a:cubicBezTo>
                  <a:pt x="5632787" y="2304898"/>
                  <a:pt x="5632787" y="2299776"/>
                  <a:pt x="5634708" y="2298069"/>
                </a:cubicBezTo>
                <a:cubicBezTo>
                  <a:pt x="5636629" y="2296362"/>
                  <a:pt x="5638336" y="2296362"/>
                  <a:pt x="5638336" y="2296362"/>
                </a:cubicBezTo>
                <a:lnTo>
                  <a:pt x="5641537" y="2299776"/>
                </a:lnTo>
                <a:lnTo>
                  <a:pt x="5641537" y="2291951"/>
                </a:lnTo>
                <a:cubicBezTo>
                  <a:pt x="5643672" y="2278009"/>
                  <a:pt x="5652208" y="2264778"/>
                  <a:pt x="5665014" y="2267197"/>
                </a:cubicBezTo>
                <a:close/>
                <a:moveTo>
                  <a:pt x="5091342" y="2267054"/>
                </a:moveTo>
                <a:cubicBezTo>
                  <a:pt x="5095183" y="2270184"/>
                  <a:pt x="5096677" y="2273741"/>
                  <a:pt x="5096250" y="2280427"/>
                </a:cubicBezTo>
                <a:lnTo>
                  <a:pt x="5095183" y="2280427"/>
                </a:lnTo>
                <a:lnTo>
                  <a:pt x="5097530" y="2281423"/>
                </a:lnTo>
                <a:lnTo>
                  <a:pt x="5097744" y="2282135"/>
                </a:lnTo>
                <a:lnTo>
                  <a:pt x="5104787" y="2277582"/>
                </a:lnTo>
                <a:cubicBezTo>
                  <a:pt x="5107135" y="2278863"/>
                  <a:pt x="5108842" y="2280570"/>
                  <a:pt x="5109696" y="2282277"/>
                </a:cubicBezTo>
                <a:lnTo>
                  <a:pt x="5110122" y="2284411"/>
                </a:lnTo>
                <a:lnTo>
                  <a:pt x="5110763" y="2282277"/>
                </a:lnTo>
                <a:cubicBezTo>
                  <a:pt x="5117806" y="2285549"/>
                  <a:pt x="5116098" y="2287114"/>
                  <a:pt x="5112684" y="2291809"/>
                </a:cubicBezTo>
                <a:lnTo>
                  <a:pt x="5110336" y="2288964"/>
                </a:lnTo>
                <a:lnTo>
                  <a:pt x="5105641" y="2297927"/>
                </a:lnTo>
                <a:cubicBezTo>
                  <a:pt x="5099665" y="2303333"/>
                  <a:pt x="5089847" y="2304755"/>
                  <a:pt x="5083658" y="2293801"/>
                </a:cubicBezTo>
                <a:lnTo>
                  <a:pt x="5091128" y="2287399"/>
                </a:lnTo>
                <a:lnTo>
                  <a:pt x="5088780" y="2286261"/>
                </a:lnTo>
                <a:lnTo>
                  <a:pt x="5087500" y="2281139"/>
                </a:lnTo>
                <a:lnTo>
                  <a:pt x="5087073" y="2281282"/>
                </a:lnTo>
                <a:cubicBezTo>
                  <a:pt x="5084085" y="2280143"/>
                  <a:pt x="5081738" y="2277298"/>
                  <a:pt x="5081951" y="2273172"/>
                </a:cubicBezTo>
                <a:cubicBezTo>
                  <a:pt x="5083872" y="2270042"/>
                  <a:pt x="5085579" y="2267054"/>
                  <a:pt x="5091342" y="2267054"/>
                </a:cubicBezTo>
                <a:close/>
                <a:moveTo>
                  <a:pt x="4943015" y="2266769"/>
                </a:moveTo>
                <a:cubicBezTo>
                  <a:pt x="4941308" y="2275306"/>
                  <a:pt x="4924234" y="2283842"/>
                  <a:pt x="4919752" y="2282135"/>
                </a:cubicBezTo>
                <a:cubicBezTo>
                  <a:pt x="4921673" y="2277298"/>
                  <a:pt x="4926368" y="2276302"/>
                  <a:pt x="4929356" y="2270896"/>
                </a:cubicBezTo>
                <a:cubicBezTo>
                  <a:pt x="4933411" y="2271464"/>
                  <a:pt x="4937466" y="2265632"/>
                  <a:pt x="4943015" y="2266769"/>
                </a:cubicBezTo>
                <a:close/>
                <a:moveTo>
                  <a:pt x="805708" y="2266620"/>
                </a:moveTo>
                <a:cubicBezTo>
                  <a:pt x="805708" y="2266620"/>
                  <a:pt x="806328" y="2266775"/>
                  <a:pt x="807051" y="2267239"/>
                </a:cubicBezTo>
                <a:cubicBezTo>
                  <a:pt x="807774" y="2267549"/>
                  <a:pt x="808497" y="2268014"/>
                  <a:pt x="808703" y="2268634"/>
                </a:cubicBezTo>
                <a:cubicBezTo>
                  <a:pt x="809736" y="2270182"/>
                  <a:pt x="806122" y="2270802"/>
                  <a:pt x="805708" y="2271422"/>
                </a:cubicBezTo>
                <a:cubicBezTo>
                  <a:pt x="804573" y="2271731"/>
                  <a:pt x="803334" y="2271886"/>
                  <a:pt x="803024" y="2270647"/>
                </a:cubicBezTo>
                <a:cubicBezTo>
                  <a:pt x="802817" y="2270182"/>
                  <a:pt x="802611" y="2269718"/>
                  <a:pt x="802611" y="2269408"/>
                </a:cubicBezTo>
                <a:cubicBezTo>
                  <a:pt x="802508" y="2268943"/>
                  <a:pt x="802817" y="2268634"/>
                  <a:pt x="803643" y="2268169"/>
                </a:cubicBezTo>
                <a:cubicBezTo>
                  <a:pt x="804056" y="2267549"/>
                  <a:pt x="805192" y="2267395"/>
                  <a:pt x="805708" y="2266620"/>
                </a:cubicBezTo>
                <a:close/>
                <a:moveTo>
                  <a:pt x="787949" y="2266465"/>
                </a:moveTo>
                <a:cubicBezTo>
                  <a:pt x="792285" y="2266620"/>
                  <a:pt x="794763" y="2268788"/>
                  <a:pt x="795693" y="2272196"/>
                </a:cubicBezTo>
                <a:cubicBezTo>
                  <a:pt x="793421" y="2276068"/>
                  <a:pt x="786813" y="2274674"/>
                  <a:pt x="785573" y="2270492"/>
                </a:cubicBezTo>
                <a:cubicBezTo>
                  <a:pt x="786193" y="2269563"/>
                  <a:pt x="786503" y="2267704"/>
                  <a:pt x="787949" y="2266465"/>
                </a:cubicBezTo>
                <a:close/>
                <a:moveTo>
                  <a:pt x="977320" y="2265690"/>
                </a:moveTo>
                <a:cubicBezTo>
                  <a:pt x="978972" y="2266310"/>
                  <a:pt x="978043" y="2268943"/>
                  <a:pt x="977940" y="2270647"/>
                </a:cubicBezTo>
                <a:cubicBezTo>
                  <a:pt x="979695" y="2271267"/>
                  <a:pt x="975978" y="2273900"/>
                  <a:pt x="977734" y="2274674"/>
                </a:cubicBezTo>
                <a:cubicBezTo>
                  <a:pt x="974120" y="2278237"/>
                  <a:pt x="978250" y="2282109"/>
                  <a:pt x="973603" y="2288150"/>
                </a:cubicBezTo>
                <a:cubicBezTo>
                  <a:pt x="973087" y="2286137"/>
                  <a:pt x="972777" y="2284278"/>
                  <a:pt x="972880" y="2282419"/>
                </a:cubicBezTo>
                <a:cubicBezTo>
                  <a:pt x="972880" y="2277153"/>
                  <a:pt x="974739" y="2272815"/>
                  <a:pt x="973603" y="2269099"/>
                </a:cubicBezTo>
                <a:cubicBezTo>
                  <a:pt x="973603" y="2269099"/>
                  <a:pt x="973603" y="2269099"/>
                  <a:pt x="975462" y="2267395"/>
                </a:cubicBezTo>
                <a:cubicBezTo>
                  <a:pt x="975462" y="2266465"/>
                  <a:pt x="975462" y="2266465"/>
                  <a:pt x="975462" y="2266465"/>
                </a:cubicBezTo>
                <a:cubicBezTo>
                  <a:pt x="975565" y="2265690"/>
                  <a:pt x="977320" y="2265690"/>
                  <a:pt x="977320" y="2265690"/>
                </a:cubicBezTo>
                <a:close/>
                <a:moveTo>
                  <a:pt x="1043301" y="2264916"/>
                </a:moveTo>
                <a:cubicBezTo>
                  <a:pt x="1054866" y="2263987"/>
                  <a:pt x="1057344" y="2272351"/>
                  <a:pt x="1051974" y="2275604"/>
                </a:cubicBezTo>
                <a:cubicBezTo>
                  <a:pt x="1050219" y="2276688"/>
                  <a:pt x="1047534" y="2277308"/>
                  <a:pt x="1044024" y="2276688"/>
                </a:cubicBezTo>
                <a:cubicBezTo>
                  <a:pt x="1042165" y="2275294"/>
                  <a:pt x="1041236" y="2272815"/>
                  <a:pt x="1041133" y="2270337"/>
                </a:cubicBezTo>
                <a:cubicBezTo>
                  <a:pt x="1040926" y="2268014"/>
                  <a:pt x="1041752" y="2265690"/>
                  <a:pt x="1043301" y="2264916"/>
                </a:cubicBezTo>
                <a:close/>
                <a:moveTo>
                  <a:pt x="5250126" y="2263640"/>
                </a:moveTo>
                <a:cubicBezTo>
                  <a:pt x="5250126" y="2263640"/>
                  <a:pt x="5250126" y="2263640"/>
                  <a:pt x="5251193" y="2264351"/>
                </a:cubicBezTo>
                <a:cubicBezTo>
                  <a:pt x="5253114" y="2265489"/>
                  <a:pt x="5254181" y="2266058"/>
                  <a:pt x="5255248" y="2266769"/>
                </a:cubicBezTo>
                <a:cubicBezTo>
                  <a:pt x="5255675" y="2268334"/>
                  <a:pt x="5256529" y="2272603"/>
                  <a:pt x="5254821" y="2273029"/>
                </a:cubicBezTo>
                <a:cubicBezTo>
                  <a:pt x="5251833" y="2273883"/>
                  <a:pt x="5248205" y="2273172"/>
                  <a:pt x="5247778" y="2271607"/>
                </a:cubicBezTo>
                <a:cubicBezTo>
                  <a:pt x="5246924" y="2269188"/>
                  <a:pt x="5246071" y="2266627"/>
                  <a:pt x="5247565" y="2265062"/>
                </a:cubicBezTo>
                <a:cubicBezTo>
                  <a:pt x="5247991" y="2264493"/>
                  <a:pt x="5248845" y="2264067"/>
                  <a:pt x="5250126" y="2263640"/>
                </a:cubicBezTo>
                <a:close/>
                <a:moveTo>
                  <a:pt x="6304420" y="2261932"/>
                </a:moveTo>
                <a:cubicBezTo>
                  <a:pt x="6313170" y="2263213"/>
                  <a:pt x="6311249" y="2272603"/>
                  <a:pt x="6312316" y="2271891"/>
                </a:cubicBezTo>
                <a:cubicBezTo>
                  <a:pt x="6313810" y="2272318"/>
                  <a:pt x="6313810" y="2272318"/>
                  <a:pt x="6314877" y="2271607"/>
                </a:cubicBezTo>
                <a:cubicBezTo>
                  <a:pt x="6315304" y="2272745"/>
                  <a:pt x="6317438" y="2274168"/>
                  <a:pt x="6318932" y="2274452"/>
                </a:cubicBezTo>
                <a:cubicBezTo>
                  <a:pt x="6317865" y="2275163"/>
                  <a:pt x="6316798" y="2275875"/>
                  <a:pt x="6317438" y="2276871"/>
                </a:cubicBezTo>
                <a:cubicBezTo>
                  <a:pt x="6314237" y="2276017"/>
                  <a:pt x="6313810" y="2275021"/>
                  <a:pt x="6312316" y="2274594"/>
                </a:cubicBezTo>
                <a:cubicBezTo>
                  <a:pt x="6312743" y="2275590"/>
                  <a:pt x="6311249" y="2275306"/>
                  <a:pt x="6311249" y="2275306"/>
                </a:cubicBezTo>
                <a:cubicBezTo>
                  <a:pt x="6311249" y="2275306"/>
                  <a:pt x="6311249" y="2275306"/>
                  <a:pt x="6310182" y="2278578"/>
                </a:cubicBezTo>
                <a:cubicBezTo>
                  <a:pt x="6310182" y="2278578"/>
                  <a:pt x="6307407" y="2285834"/>
                  <a:pt x="6300151" y="2284980"/>
                </a:cubicBezTo>
                <a:cubicBezTo>
                  <a:pt x="6300578" y="2283273"/>
                  <a:pt x="6291188" y="2280997"/>
                  <a:pt x="6291188" y="2275590"/>
                </a:cubicBezTo>
                <a:cubicBezTo>
                  <a:pt x="6291188" y="2272887"/>
                  <a:pt x="6291614" y="2271180"/>
                  <a:pt x="6291614" y="2268477"/>
                </a:cubicBezTo>
                <a:cubicBezTo>
                  <a:pt x="6294602" y="2266627"/>
                  <a:pt x="6296096" y="2261648"/>
                  <a:pt x="6304420" y="2261932"/>
                </a:cubicBezTo>
                <a:close/>
                <a:moveTo>
                  <a:pt x="5544645" y="2261648"/>
                </a:moveTo>
                <a:cubicBezTo>
                  <a:pt x="5545926" y="2263355"/>
                  <a:pt x="5545285" y="2268334"/>
                  <a:pt x="5544858" y="2271607"/>
                </a:cubicBezTo>
                <a:cubicBezTo>
                  <a:pt x="5542084" y="2274168"/>
                  <a:pt x="5538029" y="2275021"/>
                  <a:pt x="5534187" y="2274026"/>
                </a:cubicBezTo>
                <a:cubicBezTo>
                  <a:pt x="5535041" y="2267339"/>
                  <a:pt x="5538670" y="2264067"/>
                  <a:pt x="5544645" y="2261648"/>
                </a:cubicBezTo>
                <a:close/>
                <a:moveTo>
                  <a:pt x="5625958" y="2261506"/>
                </a:moveTo>
                <a:cubicBezTo>
                  <a:pt x="5627879" y="2265062"/>
                  <a:pt x="5632361" y="2271038"/>
                  <a:pt x="5634708" y="2277155"/>
                </a:cubicBezTo>
                <a:cubicBezTo>
                  <a:pt x="5637269" y="2283130"/>
                  <a:pt x="5637909" y="2289248"/>
                  <a:pt x="5632147" y="2293089"/>
                </a:cubicBezTo>
                <a:cubicBezTo>
                  <a:pt x="5629373" y="2286261"/>
                  <a:pt x="5616994" y="2266485"/>
                  <a:pt x="5625958" y="2261506"/>
                </a:cubicBezTo>
                <a:close/>
                <a:moveTo>
                  <a:pt x="5379245" y="2260225"/>
                </a:moveTo>
                <a:cubicBezTo>
                  <a:pt x="5382873" y="2260368"/>
                  <a:pt x="5386714" y="2261506"/>
                  <a:pt x="5390769" y="2264636"/>
                </a:cubicBezTo>
                <a:cubicBezTo>
                  <a:pt x="5400160" y="2271607"/>
                  <a:pt x="5407630" y="2281992"/>
                  <a:pt x="5394611" y="2296077"/>
                </a:cubicBezTo>
                <a:cubicBezTo>
                  <a:pt x="5392690" y="2299492"/>
                  <a:pt x="5392690" y="2297785"/>
                  <a:pt x="5390769" y="2299492"/>
                </a:cubicBezTo>
                <a:cubicBezTo>
                  <a:pt x="5389062" y="2301199"/>
                  <a:pt x="5387141" y="2304755"/>
                  <a:pt x="5387141" y="2306463"/>
                </a:cubicBezTo>
                <a:cubicBezTo>
                  <a:pt x="5379885" y="2301341"/>
                  <a:pt x="5376043" y="2306605"/>
                  <a:pt x="5364946" y="2297785"/>
                </a:cubicBezTo>
                <a:cubicBezTo>
                  <a:pt x="5350220" y="2287399"/>
                  <a:pt x="5353848" y="2275163"/>
                  <a:pt x="5359397" y="2268192"/>
                </a:cubicBezTo>
                <a:cubicBezTo>
                  <a:pt x="5360677" y="2269473"/>
                  <a:pt x="5368360" y="2259940"/>
                  <a:pt x="5379245" y="2260225"/>
                </a:cubicBezTo>
                <a:close/>
                <a:moveTo>
                  <a:pt x="868592" y="2259494"/>
                </a:moveTo>
                <a:cubicBezTo>
                  <a:pt x="870966" y="2258720"/>
                  <a:pt x="873445" y="2257946"/>
                  <a:pt x="874064" y="2260114"/>
                </a:cubicBezTo>
                <a:cubicBezTo>
                  <a:pt x="874374" y="2261198"/>
                  <a:pt x="874684" y="2262283"/>
                  <a:pt x="873858" y="2263832"/>
                </a:cubicBezTo>
                <a:cubicBezTo>
                  <a:pt x="871483" y="2264761"/>
                  <a:pt x="869624" y="2262902"/>
                  <a:pt x="868489" y="2263367"/>
                </a:cubicBezTo>
                <a:cubicBezTo>
                  <a:pt x="868901" y="2262592"/>
                  <a:pt x="869727" y="2261044"/>
                  <a:pt x="868592" y="2259494"/>
                </a:cubicBezTo>
                <a:close/>
                <a:moveTo>
                  <a:pt x="1075853" y="2259224"/>
                </a:moveTo>
                <a:cubicBezTo>
                  <a:pt x="1077221" y="2258449"/>
                  <a:pt x="1078718" y="2258178"/>
                  <a:pt x="1080887" y="2259649"/>
                </a:cubicBezTo>
                <a:cubicBezTo>
                  <a:pt x="1082229" y="2264451"/>
                  <a:pt x="1076550" y="2269873"/>
                  <a:pt x="1071284" y="2267239"/>
                </a:cubicBezTo>
                <a:cubicBezTo>
                  <a:pt x="1071697" y="2265226"/>
                  <a:pt x="1071180" y="2263677"/>
                  <a:pt x="1071594" y="2261818"/>
                </a:cubicBezTo>
                <a:cubicBezTo>
                  <a:pt x="1073245" y="2261276"/>
                  <a:pt x="1074485" y="2259998"/>
                  <a:pt x="1075853" y="2259224"/>
                </a:cubicBezTo>
                <a:close/>
                <a:moveTo>
                  <a:pt x="4940667" y="2259087"/>
                </a:moveTo>
                <a:cubicBezTo>
                  <a:pt x="4953899" y="2260937"/>
                  <a:pt x="4958167" y="2271749"/>
                  <a:pt x="4962223" y="2282562"/>
                </a:cubicBezTo>
                <a:cubicBezTo>
                  <a:pt x="4951338" y="2285123"/>
                  <a:pt x="4943228" y="2269615"/>
                  <a:pt x="4940667" y="2259087"/>
                </a:cubicBezTo>
                <a:close/>
                <a:moveTo>
                  <a:pt x="1040410" y="2258875"/>
                </a:moveTo>
                <a:cubicBezTo>
                  <a:pt x="1040410" y="2258875"/>
                  <a:pt x="1040410" y="2258875"/>
                  <a:pt x="1041649" y="2259030"/>
                </a:cubicBezTo>
                <a:cubicBezTo>
                  <a:pt x="1041649" y="2259030"/>
                  <a:pt x="1042372" y="2258566"/>
                  <a:pt x="1042165" y="2261663"/>
                </a:cubicBezTo>
                <a:cubicBezTo>
                  <a:pt x="1041029" y="2261508"/>
                  <a:pt x="1037519" y="2260889"/>
                  <a:pt x="1037519" y="2260889"/>
                </a:cubicBezTo>
                <a:cubicBezTo>
                  <a:pt x="1036693" y="2261353"/>
                  <a:pt x="1036693" y="2261353"/>
                  <a:pt x="1035557" y="2261198"/>
                </a:cubicBezTo>
                <a:cubicBezTo>
                  <a:pt x="1035866" y="2260114"/>
                  <a:pt x="1035866" y="2260114"/>
                  <a:pt x="1036589" y="2259494"/>
                </a:cubicBezTo>
                <a:cubicBezTo>
                  <a:pt x="1037725" y="2259649"/>
                  <a:pt x="1038138" y="2260424"/>
                  <a:pt x="1039377" y="2260579"/>
                </a:cubicBezTo>
                <a:cubicBezTo>
                  <a:pt x="1039997" y="2258255"/>
                  <a:pt x="1039274" y="2258720"/>
                  <a:pt x="1040410" y="2258875"/>
                </a:cubicBezTo>
                <a:close/>
                <a:moveTo>
                  <a:pt x="5293663" y="2258376"/>
                </a:moveTo>
                <a:cubicBezTo>
                  <a:pt x="5294944" y="2258376"/>
                  <a:pt x="5296011" y="2258660"/>
                  <a:pt x="5296865" y="2259372"/>
                </a:cubicBezTo>
                <a:cubicBezTo>
                  <a:pt x="5298786" y="2260652"/>
                  <a:pt x="5299853" y="2263213"/>
                  <a:pt x="5300493" y="2266912"/>
                </a:cubicBezTo>
                <a:cubicBezTo>
                  <a:pt x="5298358" y="2268619"/>
                  <a:pt x="5297078" y="2270896"/>
                  <a:pt x="5294303" y="2273598"/>
                </a:cubicBezTo>
                <a:cubicBezTo>
                  <a:pt x="5291316" y="2272176"/>
                  <a:pt x="5287261" y="2265774"/>
                  <a:pt x="5288968" y="2259798"/>
                </a:cubicBezTo>
                <a:cubicBezTo>
                  <a:pt x="5290675" y="2258945"/>
                  <a:pt x="5292383" y="2258518"/>
                  <a:pt x="5293663" y="2258376"/>
                </a:cubicBezTo>
                <a:close/>
                <a:moveTo>
                  <a:pt x="5199545" y="2256384"/>
                </a:moveTo>
                <a:cubicBezTo>
                  <a:pt x="5203174" y="2257380"/>
                  <a:pt x="5206802" y="2258376"/>
                  <a:pt x="5209149" y="2264067"/>
                </a:cubicBezTo>
                <a:cubicBezTo>
                  <a:pt x="5208082" y="2268619"/>
                  <a:pt x="5205307" y="2270896"/>
                  <a:pt x="5199119" y="2272176"/>
                </a:cubicBezTo>
                <a:cubicBezTo>
                  <a:pt x="5194210" y="2268904"/>
                  <a:pt x="5191862" y="2257949"/>
                  <a:pt x="5199545" y="2256384"/>
                </a:cubicBezTo>
                <a:close/>
                <a:moveTo>
                  <a:pt x="1131482" y="2255002"/>
                </a:moveTo>
                <a:cubicBezTo>
                  <a:pt x="1132721" y="2254693"/>
                  <a:pt x="1133960" y="2254848"/>
                  <a:pt x="1135199" y="2255312"/>
                </a:cubicBezTo>
                <a:cubicBezTo>
                  <a:pt x="1136955" y="2254693"/>
                  <a:pt x="1139536" y="2254848"/>
                  <a:pt x="1141085" y="2255777"/>
                </a:cubicBezTo>
                <a:cubicBezTo>
                  <a:pt x="1142530" y="2257481"/>
                  <a:pt x="1142324" y="2259185"/>
                  <a:pt x="1141291" y="2259959"/>
                </a:cubicBezTo>
                <a:cubicBezTo>
                  <a:pt x="1134063" y="2266930"/>
                  <a:pt x="1127042" y="2263212"/>
                  <a:pt x="1125183" y="2263832"/>
                </a:cubicBezTo>
                <a:cubicBezTo>
                  <a:pt x="1124047" y="2262592"/>
                  <a:pt x="1123531" y="2261818"/>
                  <a:pt x="1123944" y="2261044"/>
                </a:cubicBezTo>
                <a:cubicBezTo>
                  <a:pt x="1124254" y="2260114"/>
                  <a:pt x="1125493" y="2258875"/>
                  <a:pt x="1128074" y="2256552"/>
                </a:cubicBezTo>
                <a:cubicBezTo>
                  <a:pt x="1129004" y="2255777"/>
                  <a:pt x="1130243" y="2255157"/>
                  <a:pt x="1131482" y="2255002"/>
                </a:cubicBezTo>
                <a:close/>
                <a:moveTo>
                  <a:pt x="1025644" y="2254073"/>
                </a:moveTo>
                <a:cubicBezTo>
                  <a:pt x="1028742" y="2254848"/>
                  <a:pt x="1031014" y="2256087"/>
                  <a:pt x="1032562" y="2257946"/>
                </a:cubicBezTo>
                <a:lnTo>
                  <a:pt x="1033595" y="2260269"/>
                </a:lnTo>
                <a:lnTo>
                  <a:pt x="1034731" y="2259959"/>
                </a:lnTo>
                <a:lnTo>
                  <a:pt x="1033698" y="2260579"/>
                </a:lnTo>
                <a:lnTo>
                  <a:pt x="1034937" y="2263522"/>
                </a:lnTo>
                <a:lnTo>
                  <a:pt x="1035763" y="2263832"/>
                </a:lnTo>
                <a:cubicBezTo>
                  <a:pt x="1036589" y="2264451"/>
                  <a:pt x="1037312" y="2265535"/>
                  <a:pt x="1037209" y="2266930"/>
                </a:cubicBezTo>
                <a:cubicBezTo>
                  <a:pt x="1036899" y="2270027"/>
                  <a:pt x="1038964" y="2271422"/>
                  <a:pt x="1038758" y="2274519"/>
                </a:cubicBezTo>
                <a:cubicBezTo>
                  <a:pt x="1038758" y="2274519"/>
                  <a:pt x="1038758" y="2274519"/>
                  <a:pt x="1037519" y="2274365"/>
                </a:cubicBezTo>
                <a:cubicBezTo>
                  <a:pt x="1037209" y="2272196"/>
                  <a:pt x="1036176" y="2270492"/>
                  <a:pt x="1035144" y="2268788"/>
                </a:cubicBezTo>
                <a:lnTo>
                  <a:pt x="1034628" y="2267085"/>
                </a:lnTo>
                <a:lnTo>
                  <a:pt x="1034008" y="2270647"/>
                </a:lnTo>
                <a:cubicBezTo>
                  <a:pt x="1033079" y="2272815"/>
                  <a:pt x="1031530" y="2274829"/>
                  <a:pt x="1029568" y="2276224"/>
                </a:cubicBezTo>
                <a:cubicBezTo>
                  <a:pt x="1025025" y="2279786"/>
                  <a:pt x="1017900" y="2280870"/>
                  <a:pt x="1009433" y="2275294"/>
                </a:cubicBezTo>
                <a:cubicBezTo>
                  <a:pt x="1008917" y="2266310"/>
                  <a:pt x="1012737" y="2258255"/>
                  <a:pt x="1018933" y="2255157"/>
                </a:cubicBezTo>
                <a:cubicBezTo>
                  <a:pt x="1020894" y="2254228"/>
                  <a:pt x="1023166" y="2253763"/>
                  <a:pt x="1025644" y="2254073"/>
                </a:cubicBezTo>
                <a:close/>
                <a:moveTo>
                  <a:pt x="927758" y="2251905"/>
                </a:moveTo>
                <a:cubicBezTo>
                  <a:pt x="935915" y="2247258"/>
                  <a:pt x="941594" y="2255622"/>
                  <a:pt x="938186" y="2260579"/>
                </a:cubicBezTo>
                <a:cubicBezTo>
                  <a:pt x="937051" y="2262283"/>
                  <a:pt x="934882" y="2263677"/>
                  <a:pt x="931475" y="2264141"/>
                </a:cubicBezTo>
                <a:cubicBezTo>
                  <a:pt x="930649" y="2259804"/>
                  <a:pt x="928067" y="2257946"/>
                  <a:pt x="927551" y="2255157"/>
                </a:cubicBezTo>
                <a:cubicBezTo>
                  <a:pt x="927345" y="2254228"/>
                  <a:pt x="927345" y="2253144"/>
                  <a:pt x="927758" y="2251905"/>
                </a:cubicBezTo>
                <a:close/>
                <a:moveTo>
                  <a:pt x="874994" y="2251750"/>
                </a:moveTo>
                <a:cubicBezTo>
                  <a:pt x="876852" y="2252214"/>
                  <a:pt x="878607" y="2251905"/>
                  <a:pt x="881292" y="2252214"/>
                </a:cubicBezTo>
                <a:cubicBezTo>
                  <a:pt x="882118" y="2254693"/>
                  <a:pt x="880982" y="2260114"/>
                  <a:pt x="877059" y="2261818"/>
                </a:cubicBezTo>
                <a:cubicBezTo>
                  <a:pt x="874477" y="2260579"/>
                  <a:pt x="873135" y="2259030"/>
                  <a:pt x="872825" y="2257326"/>
                </a:cubicBezTo>
                <a:cubicBezTo>
                  <a:pt x="872515" y="2255622"/>
                  <a:pt x="873341" y="2253763"/>
                  <a:pt x="874994" y="2251750"/>
                </a:cubicBezTo>
                <a:close/>
                <a:moveTo>
                  <a:pt x="5158355" y="2251404"/>
                </a:moveTo>
                <a:cubicBezTo>
                  <a:pt x="5158996" y="2251689"/>
                  <a:pt x="5159209" y="2251974"/>
                  <a:pt x="5158996" y="2252258"/>
                </a:cubicBezTo>
                <a:cubicBezTo>
                  <a:pt x="5158782" y="2252685"/>
                  <a:pt x="5158142" y="2253254"/>
                  <a:pt x="5157715" y="2253966"/>
                </a:cubicBezTo>
                <a:cubicBezTo>
                  <a:pt x="5157288" y="2252970"/>
                  <a:pt x="5157715" y="2253966"/>
                  <a:pt x="5158355" y="2251404"/>
                </a:cubicBezTo>
                <a:close/>
                <a:moveTo>
                  <a:pt x="4801518" y="2248702"/>
                </a:moveTo>
                <a:cubicBezTo>
                  <a:pt x="4804505" y="2250836"/>
                  <a:pt x="4806213" y="2253539"/>
                  <a:pt x="4807493" y="2256384"/>
                </a:cubicBezTo>
                <a:cubicBezTo>
                  <a:pt x="4808774" y="2259230"/>
                  <a:pt x="4809414" y="2262359"/>
                  <a:pt x="4810054" y="2265489"/>
                </a:cubicBezTo>
                <a:cubicBezTo>
                  <a:pt x="4800877" y="2279574"/>
                  <a:pt x="4796822" y="2263071"/>
                  <a:pt x="4792127" y="2256526"/>
                </a:cubicBezTo>
                <a:cubicBezTo>
                  <a:pt x="4795328" y="2251831"/>
                  <a:pt x="4796609" y="2250836"/>
                  <a:pt x="4801518" y="2248702"/>
                </a:cubicBezTo>
                <a:close/>
                <a:moveTo>
                  <a:pt x="1070561" y="2247412"/>
                </a:moveTo>
                <a:cubicBezTo>
                  <a:pt x="1076343" y="2251595"/>
                  <a:pt x="1071284" y="2260114"/>
                  <a:pt x="1065811" y="2260424"/>
                </a:cubicBezTo>
                <a:cubicBezTo>
                  <a:pt x="1063642" y="2258875"/>
                  <a:pt x="1062817" y="2256397"/>
                  <a:pt x="1063126" y="2254073"/>
                </a:cubicBezTo>
                <a:cubicBezTo>
                  <a:pt x="1063333" y="2251905"/>
                  <a:pt x="1064572" y="2249581"/>
                  <a:pt x="1066431" y="2248342"/>
                </a:cubicBezTo>
                <a:cubicBezTo>
                  <a:pt x="1067566" y="2247568"/>
                  <a:pt x="1069012" y="2247103"/>
                  <a:pt x="1070561" y="2247412"/>
                </a:cubicBezTo>
                <a:close/>
                <a:moveTo>
                  <a:pt x="5001492" y="2246710"/>
                </a:moveTo>
                <a:cubicBezTo>
                  <a:pt x="5004053" y="2249129"/>
                  <a:pt x="5005334" y="2250409"/>
                  <a:pt x="5007681" y="2251689"/>
                </a:cubicBezTo>
                <a:cubicBezTo>
                  <a:pt x="5000851" y="2258376"/>
                  <a:pt x="5001278" y="2265347"/>
                  <a:pt x="4992955" y="2262644"/>
                </a:cubicBezTo>
                <a:cubicBezTo>
                  <a:pt x="4991675" y="2257949"/>
                  <a:pt x="4997223" y="2252258"/>
                  <a:pt x="5001492" y="2246710"/>
                </a:cubicBezTo>
                <a:close/>
                <a:moveTo>
                  <a:pt x="6244449" y="2245429"/>
                </a:moveTo>
                <a:cubicBezTo>
                  <a:pt x="6245302" y="2248986"/>
                  <a:pt x="6249784" y="2250978"/>
                  <a:pt x="6252345" y="2254535"/>
                </a:cubicBezTo>
                <a:cubicBezTo>
                  <a:pt x="6253199" y="2255673"/>
                  <a:pt x="6253839" y="2256953"/>
                  <a:pt x="6254052" y="2258660"/>
                </a:cubicBezTo>
                <a:cubicBezTo>
                  <a:pt x="6254052" y="2258660"/>
                  <a:pt x="6254052" y="2258518"/>
                  <a:pt x="6253412" y="2257522"/>
                </a:cubicBezTo>
                <a:cubicBezTo>
                  <a:pt x="6253412" y="2257522"/>
                  <a:pt x="6254052" y="2258660"/>
                  <a:pt x="6252985" y="2259230"/>
                </a:cubicBezTo>
                <a:cubicBezTo>
                  <a:pt x="6247437" y="2255957"/>
                  <a:pt x="6244022" y="2247137"/>
                  <a:pt x="6243595" y="2246141"/>
                </a:cubicBezTo>
                <a:cubicBezTo>
                  <a:pt x="6244449" y="2245429"/>
                  <a:pt x="6244449" y="2245429"/>
                  <a:pt x="6244449" y="2245429"/>
                </a:cubicBezTo>
                <a:close/>
                <a:moveTo>
                  <a:pt x="5391409" y="2245429"/>
                </a:moveTo>
                <a:cubicBezTo>
                  <a:pt x="5394824" y="2245572"/>
                  <a:pt x="5398026" y="2250409"/>
                  <a:pt x="5397599" y="2253112"/>
                </a:cubicBezTo>
                <a:cubicBezTo>
                  <a:pt x="5393330" y="2259372"/>
                  <a:pt x="5387568" y="2250836"/>
                  <a:pt x="5387995" y="2247279"/>
                </a:cubicBezTo>
                <a:cubicBezTo>
                  <a:pt x="5389062" y="2245999"/>
                  <a:pt x="5390342" y="2245429"/>
                  <a:pt x="5391409" y="2245429"/>
                </a:cubicBezTo>
                <a:close/>
                <a:moveTo>
                  <a:pt x="1085636" y="2244624"/>
                </a:moveTo>
                <a:cubicBezTo>
                  <a:pt x="1085946" y="2245709"/>
                  <a:pt x="1086978" y="2247258"/>
                  <a:pt x="1086669" y="2249116"/>
                </a:cubicBezTo>
                <a:cubicBezTo>
                  <a:pt x="1083984" y="2251130"/>
                  <a:pt x="1082538" y="2249891"/>
                  <a:pt x="1082435" y="2248187"/>
                </a:cubicBezTo>
                <a:cubicBezTo>
                  <a:pt x="1082229" y="2246483"/>
                  <a:pt x="1083364" y="2244315"/>
                  <a:pt x="1085636" y="2244624"/>
                </a:cubicBezTo>
                <a:close/>
                <a:moveTo>
                  <a:pt x="945311" y="2242301"/>
                </a:moveTo>
                <a:cubicBezTo>
                  <a:pt x="945208" y="2244624"/>
                  <a:pt x="945724" y="2246483"/>
                  <a:pt x="945621" y="2247723"/>
                </a:cubicBezTo>
                <a:cubicBezTo>
                  <a:pt x="941904" y="2248497"/>
                  <a:pt x="939426" y="2246948"/>
                  <a:pt x="939632" y="2243540"/>
                </a:cubicBezTo>
                <a:cubicBezTo>
                  <a:pt x="942110" y="2243695"/>
                  <a:pt x="942833" y="2241991"/>
                  <a:pt x="945311" y="2242301"/>
                </a:cubicBezTo>
                <a:close/>
                <a:moveTo>
                  <a:pt x="970093" y="2241062"/>
                </a:moveTo>
                <a:cubicBezTo>
                  <a:pt x="972158" y="2239513"/>
                  <a:pt x="975049" y="2239048"/>
                  <a:pt x="978663" y="2241217"/>
                </a:cubicBezTo>
                <a:cubicBezTo>
                  <a:pt x="978559" y="2242301"/>
                  <a:pt x="978559" y="2243540"/>
                  <a:pt x="978559" y="2244624"/>
                </a:cubicBezTo>
                <a:cubicBezTo>
                  <a:pt x="972984" y="2244624"/>
                  <a:pt x="969783" y="2247258"/>
                  <a:pt x="965446" y="2247258"/>
                </a:cubicBezTo>
                <a:cubicBezTo>
                  <a:pt x="966375" y="2245399"/>
                  <a:pt x="967924" y="2242766"/>
                  <a:pt x="970093" y="2241062"/>
                </a:cubicBezTo>
                <a:close/>
                <a:moveTo>
                  <a:pt x="6247223" y="2240735"/>
                </a:moveTo>
                <a:cubicBezTo>
                  <a:pt x="6260455" y="2242015"/>
                  <a:pt x="6258321" y="2251547"/>
                  <a:pt x="6265791" y="2252401"/>
                </a:cubicBezTo>
                <a:cubicBezTo>
                  <a:pt x="6264083" y="2254677"/>
                  <a:pt x="6264083" y="2254677"/>
                  <a:pt x="6261522" y="2254961"/>
                </a:cubicBezTo>
                <a:cubicBezTo>
                  <a:pt x="6260882" y="2253966"/>
                  <a:pt x="6260028" y="2254535"/>
                  <a:pt x="6260455" y="2252970"/>
                </a:cubicBezTo>
                <a:cubicBezTo>
                  <a:pt x="6256187" y="2252827"/>
                  <a:pt x="6248290" y="2245429"/>
                  <a:pt x="6247223" y="2240735"/>
                </a:cubicBezTo>
                <a:close/>
                <a:moveTo>
                  <a:pt x="1067153" y="2239978"/>
                </a:moveTo>
                <a:cubicBezTo>
                  <a:pt x="1067876" y="2240133"/>
                  <a:pt x="1068599" y="2240597"/>
                  <a:pt x="1069322" y="2241526"/>
                </a:cubicBezTo>
                <a:cubicBezTo>
                  <a:pt x="1070148" y="2241681"/>
                  <a:pt x="1070458" y="2245089"/>
                  <a:pt x="1069528" y="2245864"/>
                </a:cubicBezTo>
                <a:cubicBezTo>
                  <a:pt x="1067360" y="2248187"/>
                  <a:pt x="1065088" y="2246329"/>
                  <a:pt x="1061784" y="2245244"/>
                </a:cubicBezTo>
                <a:cubicBezTo>
                  <a:pt x="1062817" y="2244469"/>
                  <a:pt x="1062094" y="2243540"/>
                  <a:pt x="1061371" y="2242766"/>
                </a:cubicBezTo>
                <a:cubicBezTo>
                  <a:pt x="1062817" y="2241526"/>
                  <a:pt x="1064985" y="2239513"/>
                  <a:pt x="1067153" y="2239978"/>
                </a:cubicBezTo>
                <a:close/>
                <a:moveTo>
                  <a:pt x="4935332" y="2239739"/>
                </a:moveTo>
                <a:cubicBezTo>
                  <a:pt x="4940240" y="2242157"/>
                  <a:pt x="4944082" y="2245287"/>
                  <a:pt x="4946429" y="2249839"/>
                </a:cubicBezTo>
                <a:cubicBezTo>
                  <a:pt x="4942161" y="2253396"/>
                  <a:pt x="4935545" y="2253966"/>
                  <a:pt x="4930637" y="2254819"/>
                </a:cubicBezTo>
                <a:cubicBezTo>
                  <a:pt x="4932344" y="2250124"/>
                  <a:pt x="4937253" y="2249271"/>
                  <a:pt x="4935332" y="2239739"/>
                </a:cubicBezTo>
                <a:close/>
                <a:moveTo>
                  <a:pt x="6360976" y="2239454"/>
                </a:moveTo>
                <a:cubicBezTo>
                  <a:pt x="6376556" y="2250409"/>
                  <a:pt x="6364817" y="2269046"/>
                  <a:pt x="6352226" y="2267481"/>
                </a:cubicBezTo>
                <a:cubicBezTo>
                  <a:pt x="6347957" y="2266912"/>
                  <a:pt x="6343689" y="2264209"/>
                  <a:pt x="6340274" y="2258091"/>
                </a:cubicBezTo>
                <a:cubicBezTo>
                  <a:pt x="6350518" y="2250551"/>
                  <a:pt x="6349664" y="2241730"/>
                  <a:pt x="6360976" y="2239454"/>
                </a:cubicBezTo>
                <a:close/>
                <a:moveTo>
                  <a:pt x="5621690" y="2239170"/>
                </a:moveTo>
                <a:lnTo>
                  <a:pt x="5621263" y="2241588"/>
                </a:lnTo>
                <a:lnTo>
                  <a:pt x="5623183" y="2240877"/>
                </a:lnTo>
                <a:lnTo>
                  <a:pt x="5623397" y="2239881"/>
                </a:lnTo>
                <a:lnTo>
                  <a:pt x="5622330" y="2239596"/>
                </a:lnTo>
                <a:close/>
                <a:moveTo>
                  <a:pt x="1097717" y="2239048"/>
                </a:moveTo>
                <a:cubicBezTo>
                  <a:pt x="1099369" y="2240133"/>
                  <a:pt x="1101125" y="2240442"/>
                  <a:pt x="1102777" y="2241681"/>
                </a:cubicBezTo>
                <a:cubicBezTo>
                  <a:pt x="1103809" y="2244315"/>
                  <a:pt x="1101228" y="2249736"/>
                  <a:pt x="1097821" y="2250201"/>
                </a:cubicBezTo>
                <a:cubicBezTo>
                  <a:pt x="1096685" y="2250201"/>
                  <a:pt x="1095445" y="2249891"/>
                  <a:pt x="1094310" y="2248652"/>
                </a:cubicBezTo>
                <a:cubicBezTo>
                  <a:pt x="1093484" y="2247723"/>
                  <a:pt x="1093070" y="2246793"/>
                  <a:pt x="1092967" y="2245864"/>
                </a:cubicBezTo>
                <a:cubicBezTo>
                  <a:pt x="1092658" y="2243230"/>
                  <a:pt x="1094929" y="2241217"/>
                  <a:pt x="1097717" y="2239048"/>
                </a:cubicBezTo>
                <a:close/>
                <a:moveTo>
                  <a:pt x="5257595" y="2238600"/>
                </a:moveTo>
                <a:cubicBezTo>
                  <a:pt x="5259089" y="2238316"/>
                  <a:pt x="5260370" y="2238173"/>
                  <a:pt x="5261437" y="2238600"/>
                </a:cubicBezTo>
                <a:cubicBezTo>
                  <a:pt x="5254821" y="2243011"/>
                  <a:pt x="5255034" y="2249129"/>
                  <a:pt x="5249486" y="2247421"/>
                </a:cubicBezTo>
                <a:cubicBezTo>
                  <a:pt x="5249272" y="2243722"/>
                  <a:pt x="5253541" y="2239739"/>
                  <a:pt x="5257595" y="2238600"/>
                </a:cubicBezTo>
                <a:close/>
                <a:moveTo>
                  <a:pt x="920736" y="2237345"/>
                </a:moveTo>
                <a:cubicBezTo>
                  <a:pt x="920633" y="2244779"/>
                  <a:pt x="920220" y="2257016"/>
                  <a:pt x="915470" y="2262592"/>
                </a:cubicBezTo>
                <a:cubicBezTo>
                  <a:pt x="913198" y="2261353"/>
                  <a:pt x="912166" y="2259340"/>
                  <a:pt x="911856" y="2257171"/>
                </a:cubicBezTo>
                <a:cubicBezTo>
                  <a:pt x="910927" y="2250201"/>
                  <a:pt x="917122" y="2240133"/>
                  <a:pt x="920736" y="2237345"/>
                </a:cubicBezTo>
                <a:close/>
                <a:moveTo>
                  <a:pt x="849283" y="2236879"/>
                </a:moveTo>
                <a:cubicBezTo>
                  <a:pt x="854446" y="2237500"/>
                  <a:pt x="860537" y="2237190"/>
                  <a:pt x="860228" y="2243076"/>
                </a:cubicBezTo>
                <a:cubicBezTo>
                  <a:pt x="855375" y="2249581"/>
                  <a:pt x="848560" y="2246329"/>
                  <a:pt x="847837" y="2241681"/>
                </a:cubicBezTo>
                <a:cubicBezTo>
                  <a:pt x="847527" y="2240133"/>
                  <a:pt x="847940" y="2238429"/>
                  <a:pt x="849283" y="2236879"/>
                </a:cubicBezTo>
                <a:close/>
                <a:moveTo>
                  <a:pt x="6238259" y="2235755"/>
                </a:moveTo>
                <a:cubicBezTo>
                  <a:pt x="6239753" y="2236182"/>
                  <a:pt x="6241888" y="2237463"/>
                  <a:pt x="6243381" y="2237889"/>
                </a:cubicBezTo>
                <a:cubicBezTo>
                  <a:pt x="6243381" y="2237889"/>
                  <a:pt x="6243595" y="2237889"/>
                  <a:pt x="6242954" y="2239596"/>
                </a:cubicBezTo>
                <a:cubicBezTo>
                  <a:pt x="6241888" y="2237463"/>
                  <a:pt x="6237192" y="2239170"/>
                  <a:pt x="6238259" y="2235755"/>
                </a:cubicBezTo>
                <a:close/>
                <a:moveTo>
                  <a:pt x="1055072" y="2235021"/>
                </a:moveTo>
                <a:cubicBezTo>
                  <a:pt x="1061268" y="2236260"/>
                  <a:pt x="1058170" y="2246948"/>
                  <a:pt x="1051871" y="2241836"/>
                </a:cubicBezTo>
                <a:cubicBezTo>
                  <a:pt x="1053007" y="2238583"/>
                  <a:pt x="1053833" y="2236415"/>
                  <a:pt x="1055072" y="2235021"/>
                </a:cubicBezTo>
                <a:close/>
                <a:moveTo>
                  <a:pt x="4728528" y="2234475"/>
                </a:moveTo>
                <a:cubicBezTo>
                  <a:pt x="4730662" y="2234048"/>
                  <a:pt x="4733437" y="2235898"/>
                  <a:pt x="4736851" y="2237178"/>
                </a:cubicBezTo>
                <a:cubicBezTo>
                  <a:pt x="4735784" y="2238173"/>
                  <a:pt x="4736851" y="2239596"/>
                  <a:pt x="4737918" y="2240877"/>
                </a:cubicBezTo>
                <a:cubicBezTo>
                  <a:pt x="4736211" y="2242442"/>
                  <a:pt x="4733864" y="2245287"/>
                  <a:pt x="4730876" y="2244434"/>
                </a:cubicBezTo>
                <a:cubicBezTo>
                  <a:pt x="4729809" y="2244149"/>
                  <a:pt x="4728741" y="2243437"/>
                  <a:pt x="4727674" y="2242015"/>
                </a:cubicBezTo>
                <a:cubicBezTo>
                  <a:pt x="4726394" y="2241873"/>
                  <a:pt x="4725326" y="2237036"/>
                  <a:pt x="4726607" y="2235898"/>
                </a:cubicBezTo>
                <a:cubicBezTo>
                  <a:pt x="4727247" y="2235186"/>
                  <a:pt x="4727888" y="2234759"/>
                  <a:pt x="4728528" y="2234475"/>
                </a:cubicBezTo>
                <a:close/>
                <a:moveTo>
                  <a:pt x="5704923" y="2233479"/>
                </a:moveTo>
                <a:cubicBezTo>
                  <a:pt x="5709405" y="2233194"/>
                  <a:pt x="5712393" y="2236608"/>
                  <a:pt x="5714101" y="2241303"/>
                </a:cubicBezTo>
                <a:cubicBezTo>
                  <a:pt x="5716875" y="2249413"/>
                  <a:pt x="5715594" y="2261506"/>
                  <a:pt x="5710259" y="2267197"/>
                </a:cubicBezTo>
                <a:lnTo>
                  <a:pt x="5710259" y="2267339"/>
                </a:lnTo>
                <a:lnTo>
                  <a:pt x="5716448" y="2272318"/>
                </a:lnTo>
                <a:cubicBezTo>
                  <a:pt x="5716661" y="2278009"/>
                  <a:pt x="5714954" y="2281565"/>
                  <a:pt x="5712393" y="2283273"/>
                </a:cubicBezTo>
                <a:lnTo>
                  <a:pt x="5705563" y="2284696"/>
                </a:lnTo>
                <a:lnTo>
                  <a:pt x="5705350" y="2285692"/>
                </a:lnTo>
                <a:cubicBezTo>
                  <a:pt x="5704070" y="2287968"/>
                  <a:pt x="5701295" y="2290386"/>
                  <a:pt x="5697027" y="2292805"/>
                </a:cubicBezTo>
                <a:cubicBezTo>
                  <a:pt x="5696813" y="2285834"/>
                  <a:pt x="5693399" y="2280000"/>
                  <a:pt x="5690411" y="2274452"/>
                </a:cubicBezTo>
                <a:lnTo>
                  <a:pt x="5688704" y="2270184"/>
                </a:lnTo>
                <a:lnTo>
                  <a:pt x="5686783" y="2274452"/>
                </a:lnTo>
                <a:cubicBezTo>
                  <a:pt x="5681020" y="2270896"/>
                  <a:pt x="5679526" y="2266201"/>
                  <a:pt x="5679740" y="2259798"/>
                </a:cubicBezTo>
                <a:cubicBezTo>
                  <a:pt x="5680807" y="2259514"/>
                  <a:pt x="5682301" y="2260083"/>
                  <a:pt x="5684008" y="2260937"/>
                </a:cubicBezTo>
                <a:lnTo>
                  <a:pt x="5687423" y="2262644"/>
                </a:lnTo>
                <a:lnTo>
                  <a:pt x="5687636" y="2257949"/>
                </a:lnTo>
                <a:cubicBezTo>
                  <a:pt x="5688917" y="2259656"/>
                  <a:pt x="5690624" y="2261363"/>
                  <a:pt x="5692332" y="2263213"/>
                </a:cubicBezTo>
                <a:lnTo>
                  <a:pt x="5693185" y="2263924"/>
                </a:lnTo>
                <a:lnTo>
                  <a:pt x="5696173" y="2262644"/>
                </a:lnTo>
                <a:lnTo>
                  <a:pt x="5701295" y="2263924"/>
                </a:lnTo>
                <a:lnTo>
                  <a:pt x="5698307" y="2255103"/>
                </a:lnTo>
                <a:cubicBezTo>
                  <a:pt x="5697454" y="2249271"/>
                  <a:pt x="5697880" y="2242584"/>
                  <a:pt x="5700015" y="2235186"/>
                </a:cubicBezTo>
                <a:cubicBezTo>
                  <a:pt x="5701722" y="2234190"/>
                  <a:pt x="5703430" y="2233621"/>
                  <a:pt x="5704923" y="2233479"/>
                </a:cubicBezTo>
                <a:close/>
                <a:moveTo>
                  <a:pt x="5146831" y="2233479"/>
                </a:moveTo>
                <a:cubicBezTo>
                  <a:pt x="5150032" y="2237463"/>
                  <a:pt x="5148752" y="2242157"/>
                  <a:pt x="5152166" y="2247279"/>
                </a:cubicBezTo>
                <a:cubicBezTo>
                  <a:pt x="5149819" y="2250551"/>
                  <a:pt x="5153020" y="2256811"/>
                  <a:pt x="5149392" y="2261221"/>
                </a:cubicBezTo>
                <a:cubicBezTo>
                  <a:pt x="5142562" y="2255531"/>
                  <a:pt x="5143202" y="2236608"/>
                  <a:pt x="5146831" y="2233479"/>
                </a:cubicBezTo>
                <a:close/>
                <a:moveTo>
                  <a:pt x="1128488" y="2233472"/>
                </a:moveTo>
                <a:cubicBezTo>
                  <a:pt x="1132411" y="2232078"/>
                  <a:pt x="1136645" y="2235021"/>
                  <a:pt x="1134373" y="2239668"/>
                </a:cubicBezTo>
                <a:cubicBezTo>
                  <a:pt x="1131792" y="2238583"/>
                  <a:pt x="1129107" y="2237500"/>
                  <a:pt x="1128488" y="2235641"/>
                </a:cubicBezTo>
                <a:cubicBezTo>
                  <a:pt x="1128281" y="2235021"/>
                  <a:pt x="1128281" y="2234401"/>
                  <a:pt x="1128488" y="2233472"/>
                </a:cubicBezTo>
                <a:close/>
                <a:moveTo>
                  <a:pt x="766781" y="2232698"/>
                </a:moveTo>
                <a:cubicBezTo>
                  <a:pt x="775351" y="2234866"/>
                  <a:pt x="783302" y="2254538"/>
                  <a:pt x="775145" y="2258875"/>
                </a:cubicBezTo>
                <a:cubicBezTo>
                  <a:pt x="772976" y="2249271"/>
                  <a:pt x="766987" y="2243850"/>
                  <a:pt x="766781" y="2232698"/>
                </a:cubicBezTo>
                <a:close/>
                <a:moveTo>
                  <a:pt x="5581354" y="2230207"/>
                </a:moveTo>
                <a:cubicBezTo>
                  <a:pt x="5583701" y="2229922"/>
                  <a:pt x="5585622" y="2230349"/>
                  <a:pt x="5586902" y="2232056"/>
                </a:cubicBezTo>
                <a:cubicBezTo>
                  <a:pt x="5587542" y="2233052"/>
                  <a:pt x="5587969" y="2234475"/>
                  <a:pt x="5588182" y="2236324"/>
                </a:cubicBezTo>
                <a:cubicBezTo>
                  <a:pt x="5584341" y="2245999"/>
                  <a:pt x="5579219" y="2252401"/>
                  <a:pt x="5569828" y="2250693"/>
                </a:cubicBezTo>
                <a:cubicBezTo>
                  <a:pt x="5570469" y="2249129"/>
                  <a:pt x="5568975" y="2248559"/>
                  <a:pt x="5567481" y="2247990"/>
                </a:cubicBezTo>
                <a:cubicBezTo>
                  <a:pt x="5565347" y="2240450"/>
                  <a:pt x="5574737" y="2231345"/>
                  <a:pt x="5581354" y="2230207"/>
                </a:cubicBezTo>
                <a:close/>
                <a:moveTo>
                  <a:pt x="983206" y="2228051"/>
                </a:moveTo>
                <a:cubicBezTo>
                  <a:pt x="982896" y="2229135"/>
                  <a:pt x="982896" y="2230684"/>
                  <a:pt x="982483" y="2232078"/>
                </a:cubicBezTo>
                <a:lnTo>
                  <a:pt x="979592" y="2235176"/>
                </a:lnTo>
                <a:lnTo>
                  <a:pt x="980315" y="2231923"/>
                </a:lnTo>
                <a:cubicBezTo>
                  <a:pt x="980625" y="2230684"/>
                  <a:pt x="981141" y="2229445"/>
                  <a:pt x="981761" y="2228670"/>
                </a:cubicBezTo>
                <a:cubicBezTo>
                  <a:pt x="982173" y="2228205"/>
                  <a:pt x="982587" y="2227896"/>
                  <a:pt x="983206" y="2228051"/>
                </a:cubicBezTo>
                <a:close/>
                <a:moveTo>
                  <a:pt x="5087714" y="2227788"/>
                </a:moveTo>
                <a:cubicBezTo>
                  <a:pt x="5088567" y="2230918"/>
                  <a:pt x="5088780" y="2233763"/>
                  <a:pt x="5088567" y="2236324"/>
                </a:cubicBezTo>
                <a:cubicBezTo>
                  <a:pt x="5088354" y="2244007"/>
                  <a:pt x="5085793" y="2249555"/>
                  <a:pt x="5087073" y="2255103"/>
                </a:cubicBezTo>
                <a:cubicBezTo>
                  <a:pt x="5087073" y="2255103"/>
                  <a:pt x="5087073" y="2255103"/>
                  <a:pt x="5084726" y="2257095"/>
                </a:cubicBezTo>
                <a:cubicBezTo>
                  <a:pt x="5084512" y="2258233"/>
                  <a:pt x="5084512" y="2258233"/>
                  <a:pt x="5084512" y="2258233"/>
                </a:cubicBezTo>
                <a:cubicBezTo>
                  <a:pt x="5084512" y="2259372"/>
                  <a:pt x="5082164" y="2259087"/>
                  <a:pt x="5082164" y="2259087"/>
                </a:cubicBezTo>
                <a:cubicBezTo>
                  <a:pt x="5080030" y="2257522"/>
                  <a:pt x="5081524" y="2254250"/>
                  <a:pt x="5081524" y="2251831"/>
                </a:cubicBezTo>
                <a:cubicBezTo>
                  <a:pt x="5079390" y="2250266"/>
                  <a:pt x="5084085" y="2247421"/>
                  <a:pt x="5081951" y="2245856"/>
                </a:cubicBezTo>
                <a:cubicBezTo>
                  <a:pt x="5086859" y="2242015"/>
                  <a:pt x="5081524" y="2235186"/>
                  <a:pt x="5087714" y="2227788"/>
                </a:cubicBezTo>
                <a:close/>
                <a:moveTo>
                  <a:pt x="973293" y="2227586"/>
                </a:moveTo>
                <a:cubicBezTo>
                  <a:pt x="974842" y="2229135"/>
                  <a:pt x="975668" y="2230529"/>
                  <a:pt x="975771" y="2231768"/>
                </a:cubicBezTo>
                <a:lnTo>
                  <a:pt x="974532" y="2235021"/>
                </a:lnTo>
                <a:lnTo>
                  <a:pt x="975359" y="2235021"/>
                </a:lnTo>
                <a:lnTo>
                  <a:pt x="979592" y="2235176"/>
                </a:lnTo>
                <a:lnTo>
                  <a:pt x="983103" y="2235486"/>
                </a:lnTo>
                <a:cubicBezTo>
                  <a:pt x="983412" y="2236260"/>
                  <a:pt x="982587" y="2236415"/>
                  <a:pt x="982896" y="2237345"/>
                </a:cubicBezTo>
                <a:cubicBezTo>
                  <a:pt x="982690" y="2237809"/>
                  <a:pt x="981864" y="2238274"/>
                  <a:pt x="980934" y="2238583"/>
                </a:cubicBezTo>
                <a:cubicBezTo>
                  <a:pt x="977940" y="2239358"/>
                  <a:pt x="972674" y="2239203"/>
                  <a:pt x="972467" y="2238583"/>
                </a:cubicBezTo>
                <a:cubicBezTo>
                  <a:pt x="971641" y="2238893"/>
                  <a:pt x="971228" y="2238119"/>
                  <a:pt x="970402" y="2238274"/>
                </a:cubicBezTo>
                <a:cubicBezTo>
                  <a:pt x="970402" y="2238274"/>
                  <a:pt x="969679" y="2238583"/>
                  <a:pt x="968544" y="2237964"/>
                </a:cubicBezTo>
                <a:cubicBezTo>
                  <a:pt x="967408" y="2237500"/>
                  <a:pt x="966272" y="2236879"/>
                  <a:pt x="966375" y="2235021"/>
                </a:cubicBezTo>
                <a:lnTo>
                  <a:pt x="972674" y="2235021"/>
                </a:lnTo>
                <a:lnTo>
                  <a:pt x="970505" y="2233782"/>
                </a:lnTo>
                <a:cubicBezTo>
                  <a:pt x="969473" y="2232698"/>
                  <a:pt x="968750" y="2231303"/>
                  <a:pt x="968854" y="2230064"/>
                </a:cubicBezTo>
                <a:cubicBezTo>
                  <a:pt x="970712" y="2228051"/>
                  <a:pt x="972261" y="2229135"/>
                  <a:pt x="973293" y="2227586"/>
                </a:cubicBezTo>
                <a:close/>
                <a:moveTo>
                  <a:pt x="878401" y="2227121"/>
                </a:moveTo>
                <a:cubicBezTo>
                  <a:pt x="885629" y="2233472"/>
                  <a:pt x="884596" y="2248497"/>
                  <a:pt x="875820" y="2246948"/>
                </a:cubicBezTo>
                <a:cubicBezTo>
                  <a:pt x="874580" y="2246638"/>
                  <a:pt x="873135" y="2246019"/>
                  <a:pt x="871586" y="2245089"/>
                </a:cubicBezTo>
                <a:cubicBezTo>
                  <a:pt x="871483" y="2243695"/>
                  <a:pt x="871276" y="2241836"/>
                  <a:pt x="871069" y="2240133"/>
                </a:cubicBezTo>
                <a:cubicBezTo>
                  <a:pt x="870966" y="2238738"/>
                  <a:pt x="870966" y="2237190"/>
                  <a:pt x="871069" y="2235795"/>
                </a:cubicBezTo>
                <a:cubicBezTo>
                  <a:pt x="871276" y="2231768"/>
                  <a:pt x="872928" y="2228051"/>
                  <a:pt x="878401" y="2227121"/>
                </a:cubicBezTo>
                <a:close/>
                <a:moveTo>
                  <a:pt x="4557365" y="2227077"/>
                </a:moveTo>
                <a:cubicBezTo>
                  <a:pt x="4560140" y="2228784"/>
                  <a:pt x="4562914" y="2230349"/>
                  <a:pt x="4565475" y="2232056"/>
                </a:cubicBezTo>
                <a:cubicBezTo>
                  <a:pt x="4567823" y="2237463"/>
                  <a:pt x="4565475" y="2243580"/>
                  <a:pt x="4560993" y="2246283"/>
                </a:cubicBezTo>
                <a:cubicBezTo>
                  <a:pt x="4559286" y="2247137"/>
                  <a:pt x="4557578" y="2247706"/>
                  <a:pt x="4555658" y="2247706"/>
                </a:cubicBezTo>
                <a:cubicBezTo>
                  <a:pt x="4553097" y="2247706"/>
                  <a:pt x="4550322" y="2246710"/>
                  <a:pt x="4547548" y="2244576"/>
                </a:cubicBezTo>
                <a:cubicBezTo>
                  <a:pt x="4545840" y="2242015"/>
                  <a:pt x="4546907" y="2237889"/>
                  <a:pt x="4549042" y="2234190"/>
                </a:cubicBezTo>
                <a:lnTo>
                  <a:pt x="4547761" y="2234617"/>
                </a:lnTo>
                <a:cubicBezTo>
                  <a:pt x="4548188" y="2233763"/>
                  <a:pt x="4548402" y="2233621"/>
                  <a:pt x="4548615" y="2233763"/>
                </a:cubicBezTo>
                <a:lnTo>
                  <a:pt x="4549255" y="2233763"/>
                </a:lnTo>
                <a:lnTo>
                  <a:pt x="4552883" y="2229353"/>
                </a:lnTo>
                <a:cubicBezTo>
                  <a:pt x="4554378" y="2228072"/>
                  <a:pt x="4555871" y="2227219"/>
                  <a:pt x="4557365" y="2227077"/>
                </a:cubicBezTo>
                <a:close/>
                <a:moveTo>
                  <a:pt x="1129520" y="2225572"/>
                </a:moveTo>
                <a:cubicBezTo>
                  <a:pt x="1130346" y="2228051"/>
                  <a:pt x="1130139" y="2229909"/>
                  <a:pt x="1128900" y="2231458"/>
                </a:cubicBezTo>
                <a:cubicBezTo>
                  <a:pt x="1127661" y="2232852"/>
                  <a:pt x="1125493" y="2233937"/>
                  <a:pt x="1122499" y="2234711"/>
                </a:cubicBezTo>
                <a:cubicBezTo>
                  <a:pt x="1121879" y="2233472"/>
                  <a:pt x="1121776" y="2232388"/>
                  <a:pt x="1122086" y="2231458"/>
                </a:cubicBezTo>
                <a:cubicBezTo>
                  <a:pt x="1122808" y="2228825"/>
                  <a:pt x="1126629" y="2227741"/>
                  <a:pt x="1129520" y="2225572"/>
                </a:cubicBezTo>
                <a:close/>
                <a:moveTo>
                  <a:pt x="4913563" y="2224516"/>
                </a:moveTo>
                <a:cubicBezTo>
                  <a:pt x="4928929" y="2223662"/>
                  <a:pt x="4931917" y="2235613"/>
                  <a:pt x="4924661" y="2240165"/>
                </a:cubicBezTo>
                <a:cubicBezTo>
                  <a:pt x="4922313" y="2241588"/>
                  <a:pt x="4918685" y="2242300"/>
                  <a:pt x="4913990" y="2241303"/>
                </a:cubicBezTo>
                <a:cubicBezTo>
                  <a:pt x="4909295" y="2237320"/>
                  <a:pt x="4909295" y="2226508"/>
                  <a:pt x="4913563" y="2224516"/>
                </a:cubicBezTo>
                <a:close/>
                <a:moveTo>
                  <a:pt x="5207655" y="2224089"/>
                </a:moveTo>
                <a:cubicBezTo>
                  <a:pt x="5211070" y="2224516"/>
                  <a:pt x="5213418" y="2224800"/>
                  <a:pt x="5215765" y="2227361"/>
                </a:cubicBezTo>
                <a:cubicBezTo>
                  <a:pt x="5219180" y="2231345"/>
                  <a:pt x="5221101" y="2239881"/>
                  <a:pt x="5217686" y="2243011"/>
                </a:cubicBezTo>
                <a:cubicBezTo>
                  <a:pt x="5214058" y="2247421"/>
                  <a:pt x="5210430" y="2248132"/>
                  <a:pt x="5207015" y="2247706"/>
                </a:cubicBezTo>
                <a:cubicBezTo>
                  <a:pt x="5207015" y="2247706"/>
                  <a:pt x="5207015" y="2247706"/>
                  <a:pt x="5208082" y="2247848"/>
                </a:cubicBezTo>
                <a:lnTo>
                  <a:pt x="5211710" y="2252543"/>
                </a:lnTo>
                <a:lnTo>
                  <a:pt x="5219393" y="2255815"/>
                </a:lnTo>
                <a:cubicBezTo>
                  <a:pt x="5220461" y="2257095"/>
                  <a:pt x="5220247" y="2258518"/>
                  <a:pt x="5219393" y="2259656"/>
                </a:cubicBezTo>
                <a:lnTo>
                  <a:pt x="5217899" y="2260795"/>
                </a:lnTo>
                <a:lnTo>
                  <a:pt x="5218753" y="2262359"/>
                </a:lnTo>
                <a:cubicBezTo>
                  <a:pt x="5219393" y="2263782"/>
                  <a:pt x="5219606" y="2264920"/>
                  <a:pt x="5219393" y="2265774"/>
                </a:cubicBezTo>
                <a:cubicBezTo>
                  <a:pt x="5218113" y="2265632"/>
                  <a:pt x="5217046" y="2265489"/>
                  <a:pt x="5215978" y="2264209"/>
                </a:cubicBezTo>
                <a:cubicBezTo>
                  <a:pt x="5214698" y="2262928"/>
                  <a:pt x="5215978" y="2263071"/>
                  <a:pt x="5214698" y="2262928"/>
                </a:cubicBezTo>
                <a:cubicBezTo>
                  <a:pt x="5213631" y="2261506"/>
                  <a:pt x="5213631" y="2262786"/>
                  <a:pt x="5213631" y="2262786"/>
                </a:cubicBezTo>
                <a:lnTo>
                  <a:pt x="5213631" y="2262217"/>
                </a:lnTo>
                <a:lnTo>
                  <a:pt x="5211923" y="2262359"/>
                </a:lnTo>
                <a:cubicBezTo>
                  <a:pt x="5210857" y="2261932"/>
                  <a:pt x="5210003" y="2261079"/>
                  <a:pt x="5209790" y="2259514"/>
                </a:cubicBezTo>
                <a:lnTo>
                  <a:pt x="5210216" y="2258091"/>
                </a:lnTo>
                <a:lnTo>
                  <a:pt x="5207442" y="2256242"/>
                </a:lnTo>
                <a:cubicBezTo>
                  <a:pt x="5206375" y="2255673"/>
                  <a:pt x="5205521" y="2255246"/>
                  <a:pt x="5204454" y="2254535"/>
                </a:cubicBezTo>
                <a:cubicBezTo>
                  <a:pt x="5202107" y="2251831"/>
                  <a:pt x="5202320" y="2250693"/>
                  <a:pt x="5199972" y="2246852"/>
                </a:cubicBezTo>
                <a:cubicBezTo>
                  <a:pt x="5201252" y="2244718"/>
                  <a:pt x="5201252" y="2244718"/>
                  <a:pt x="5202320" y="2244860"/>
                </a:cubicBezTo>
                <a:cubicBezTo>
                  <a:pt x="5201252" y="2244718"/>
                  <a:pt x="5201252" y="2243437"/>
                  <a:pt x="5199972" y="2242157"/>
                </a:cubicBezTo>
                <a:cubicBezTo>
                  <a:pt x="5194423" y="2237889"/>
                  <a:pt x="5196771" y="2232198"/>
                  <a:pt x="5201679" y="2226934"/>
                </a:cubicBezTo>
                <a:cubicBezTo>
                  <a:pt x="5202747" y="2228215"/>
                  <a:pt x="5205307" y="2224942"/>
                  <a:pt x="5207655" y="2224089"/>
                </a:cubicBezTo>
                <a:close/>
                <a:moveTo>
                  <a:pt x="833381" y="2224023"/>
                </a:moveTo>
                <a:cubicBezTo>
                  <a:pt x="835446" y="2226812"/>
                  <a:pt x="834207" y="2229755"/>
                  <a:pt x="831832" y="2231768"/>
                </a:cubicBezTo>
                <a:cubicBezTo>
                  <a:pt x="829457" y="2233627"/>
                  <a:pt x="825844" y="2234711"/>
                  <a:pt x="823159" y="2233472"/>
                </a:cubicBezTo>
                <a:cubicBezTo>
                  <a:pt x="823778" y="2228670"/>
                  <a:pt x="825121" y="2225262"/>
                  <a:pt x="828838" y="2224333"/>
                </a:cubicBezTo>
                <a:cubicBezTo>
                  <a:pt x="830077" y="2223868"/>
                  <a:pt x="831523" y="2223868"/>
                  <a:pt x="833381" y="2224023"/>
                </a:cubicBezTo>
                <a:close/>
                <a:moveTo>
                  <a:pt x="4747309" y="2223805"/>
                </a:moveTo>
                <a:cubicBezTo>
                  <a:pt x="4749443" y="2226650"/>
                  <a:pt x="4750510" y="2229495"/>
                  <a:pt x="4750296" y="2232341"/>
                </a:cubicBezTo>
                <a:cubicBezTo>
                  <a:pt x="4750296" y="2235186"/>
                  <a:pt x="4749016" y="2237889"/>
                  <a:pt x="4746242" y="2240165"/>
                </a:cubicBezTo>
                <a:cubicBezTo>
                  <a:pt x="4740480" y="2240023"/>
                  <a:pt x="4738132" y="2232341"/>
                  <a:pt x="4736211" y="2228357"/>
                </a:cubicBezTo>
                <a:cubicBezTo>
                  <a:pt x="4740052" y="2225654"/>
                  <a:pt x="4744108" y="2222951"/>
                  <a:pt x="4747309" y="2223805"/>
                </a:cubicBezTo>
                <a:close/>
                <a:moveTo>
                  <a:pt x="896884" y="2223249"/>
                </a:moveTo>
                <a:cubicBezTo>
                  <a:pt x="897813" y="2223094"/>
                  <a:pt x="897813" y="2224023"/>
                  <a:pt x="898742" y="2224643"/>
                </a:cubicBezTo>
                <a:cubicBezTo>
                  <a:pt x="898846" y="2225572"/>
                  <a:pt x="898020" y="2226501"/>
                  <a:pt x="898020" y="2226501"/>
                </a:cubicBezTo>
                <a:cubicBezTo>
                  <a:pt x="897193" y="2227431"/>
                  <a:pt x="897090" y="2227431"/>
                  <a:pt x="898020" y="2228051"/>
                </a:cubicBezTo>
                <a:cubicBezTo>
                  <a:pt x="898020" y="2228051"/>
                  <a:pt x="897193" y="2228205"/>
                  <a:pt x="897193" y="2228205"/>
                </a:cubicBezTo>
                <a:cubicBezTo>
                  <a:pt x="897193" y="2227896"/>
                  <a:pt x="897193" y="2227896"/>
                  <a:pt x="897090" y="2228051"/>
                </a:cubicBezTo>
                <a:lnTo>
                  <a:pt x="896677" y="2228670"/>
                </a:lnTo>
                <a:lnTo>
                  <a:pt x="899052" y="2229290"/>
                </a:lnTo>
                <a:cubicBezTo>
                  <a:pt x="902563" y="2232543"/>
                  <a:pt x="899362" y="2241217"/>
                  <a:pt x="895025" y="2241991"/>
                </a:cubicBezTo>
                <a:cubicBezTo>
                  <a:pt x="892650" y="2241062"/>
                  <a:pt x="890275" y="2239978"/>
                  <a:pt x="888004" y="2239048"/>
                </a:cubicBezTo>
                <a:cubicBezTo>
                  <a:pt x="886558" y="2237345"/>
                  <a:pt x="886042" y="2235331"/>
                  <a:pt x="886145" y="2233472"/>
                </a:cubicBezTo>
                <a:cubicBezTo>
                  <a:pt x="886352" y="2231768"/>
                  <a:pt x="887281" y="2230064"/>
                  <a:pt x="888726" y="2228980"/>
                </a:cubicBezTo>
                <a:cubicBezTo>
                  <a:pt x="889656" y="2228360"/>
                  <a:pt x="890895" y="2227741"/>
                  <a:pt x="892340" y="2227741"/>
                </a:cubicBezTo>
                <a:lnTo>
                  <a:pt x="892547" y="2227741"/>
                </a:lnTo>
                <a:lnTo>
                  <a:pt x="891618" y="2226501"/>
                </a:lnTo>
                <a:cubicBezTo>
                  <a:pt x="891308" y="2225882"/>
                  <a:pt x="891205" y="2225262"/>
                  <a:pt x="891618" y="2224798"/>
                </a:cubicBezTo>
                <a:cubicBezTo>
                  <a:pt x="892547" y="2224643"/>
                  <a:pt x="892547" y="2223868"/>
                  <a:pt x="893373" y="2223868"/>
                </a:cubicBezTo>
                <a:cubicBezTo>
                  <a:pt x="895128" y="2222784"/>
                  <a:pt x="895955" y="2222629"/>
                  <a:pt x="896884" y="2223249"/>
                </a:cubicBezTo>
                <a:close/>
                <a:moveTo>
                  <a:pt x="6364177" y="2221955"/>
                </a:moveTo>
                <a:cubicBezTo>
                  <a:pt x="6366098" y="2222097"/>
                  <a:pt x="6368018" y="2222382"/>
                  <a:pt x="6369726" y="2222667"/>
                </a:cubicBezTo>
                <a:cubicBezTo>
                  <a:pt x="6372073" y="2225654"/>
                  <a:pt x="6372714" y="2229922"/>
                  <a:pt x="6371647" y="2233906"/>
                </a:cubicBezTo>
                <a:cubicBezTo>
                  <a:pt x="6365244" y="2232767"/>
                  <a:pt x="6362256" y="2228926"/>
                  <a:pt x="6359909" y="2222667"/>
                </a:cubicBezTo>
                <a:cubicBezTo>
                  <a:pt x="6360762" y="2221955"/>
                  <a:pt x="6362470" y="2221813"/>
                  <a:pt x="6364177" y="2221955"/>
                </a:cubicBezTo>
                <a:close/>
                <a:moveTo>
                  <a:pt x="5341469" y="2220532"/>
                </a:moveTo>
                <a:cubicBezTo>
                  <a:pt x="5341042" y="2228499"/>
                  <a:pt x="5342537" y="2237463"/>
                  <a:pt x="5339549" y="2245572"/>
                </a:cubicBezTo>
                <a:cubicBezTo>
                  <a:pt x="5333786" y="2239881"/>
                  <a:pt x="5330371" y="2224516"/>
                  <a:pt x="5341469" y="2220532"/>
                </a:cubicBezTo>
                <a:close/>
                <a:moveTo>
                  <a:pt x="5602055" y="2218825"/>
                </a:moveTo>
                <a:cubicBezTo>
                  <a:pt x="5603549" y="2218968"/>
                  <a:pt x="5605043" y="2219110"/>
                  <a:pt x="5606750" y="2219110"/>
                </a:cubicBezTo>
                <a:cubicBezTo>
                  <a:pt x="5606323" y="2222524"/>
                  <a:pt x="5605896" y="2225796"/>
                  <a:pt x="5602695" y="2225654"/>
                </a:cubicBezTo>
                <a:cubicBezTo>
                  <a:pt x="5602268" y="2223093"/>
                  <a:pt x="5600774" y="2222951"/>
                  <a:pt x="5602055" y="2218825"/>
                </a:cubicBezTo>
                <a:close/>
                <a:moveTo>
                  <a:pt x="841177" y="2218138"/>
                </a:moveTo>
                <a:cubicBezTo>
                  <a:pt x="844197" y="2218370"/>
                  <a:pt x="847786" y="2219454"/>
                  <a:pt x="850419" y="2219686"/>
                </a:cubicBezTo>
                <a:cubicBezTo>
                  <a:pt x="851141" y="2223249"/>
                  <a:pt x="851038" y="2224488"/>
                  <a:pt x="849283" y="2227896"/>
                </a:cubicBezTo>
                <a:cubicBezTo>
                  <a:pt x="843603" y="2229290"/>
                  <a:pt x="839577" y="2227276"/>
                  <a:pt x="835550" y="2225108"/>
                </a:cubicBezTo>
                <a:cubicBezTo>
                  <a:pt x="835343" y="2223713"/>
                  <a:pt x="835240" y="2222629"/>
                  <a:pt x="835343" y="2221700"/>
                </a:cubicBezTo>
                <a:cubicBezTo>
                  <a:pt x="835704" y="2218525"/>
                  <a:pt x="838157" y="2217905"/>
                  <a:pt x="841177" y="2218138"/>
                </a:cubicBezTo>
                <a:close/>
                <a:moveTo>
                  <a:pt x="1031117" y="2217208"/>
                </a:moveTo>
                <a:lnTo>
                  <a:pt x="1035454" y="2221235"/>
                </a:lnTo>
                <a:lnTo>
                  <a:pt x="1037312" y="2221855"/>
                </a:lnTo>
                <a:lnTo>
                  <a:pt x="1040410" y="2221235"/>
                </a:lnTo>
                <a:cubicBezTo>
                  <a:pt x="1039790" y="2223558"/>
                  <a:pt x="1044953" y="2224798"/>
                  <a:pt x="1044024" y="2228360"/>
                </a:cubicBezTo>
                <a:cubicBezTo>
                  <a:pt x="1043301" y="2233782"/>
                  <a:pt x="1042165" y="2236570"/>
                  <a:pt x="1040306" y="2238119"/>
                </a:cubicBezTo>
                <a:lnTo>
                  <a:pt x="1037416" y="2239048"/>
                </a:lnTo>
                <a:lnTo>
                  <a:pt x="1037519" y="2241681"/>
                </a:lnTo>
                <a:cubicBezTo>
                  <a:pt x="1044230" y="2241991"/>
                  <a:pt x="1043198" y="2253299"/>
                  <a:pt x="1043714" y="2255777"/>
                </a:cubicBezTo>
                <a:cubicBezTo>
                  <a:pt x="1043714" y="2255777"/>
                  <a:pt x="1044127" y="2256397"/>
                  <a:pt x="1043817" y="2257636"/>
                </a:cubicBezTo>
                <a:cubicBezTo>
                  <a:pt x="1044024" y="2259494"/>
                  <a:pt x="1041959" y="2257946"/>
                  <a:pt x="1041649" y="2259030"/>
                </a:cubicBezTo>
                <a:cubicBezTo>
                  <a:pt x="1040617" y="2255932"/>
                  <a:pt x="1038964" y="2253454"/>
                  <a:pt x="1037519" y="2251750"/>
                </a:cubicBezTo>
                <a:lnTo>
                  <a:pt x="1036280" y="2250356"/>
                </a:lnTo>
                <a:lnTo>
                  <a:pt x="1032562" y="2250975"/>
                </a:lnTo>
                <a:cubicBezTo>
                  <a:pt x="1031117" y="2251440"/>
                  <a:pt x="1029465" y="2251750"/>
                  <a:pt x="1026057" y="2251130"/>
                </a:cubicBezTo>
                <a:cubicBezTo>
                  <a:pt x="1019552" y="2250046"/>
                  <a:pt x="1016970" y="2246483"/>
                  <a:pt x="1016145" y="2242921"/>
                </a:cubicBezTo>
                <a:lnTo>
                  <a:pt x="1016041" y="2240133"/>
                </a:lnTo>
                <a:lnTo>
                  <a:pt x="1013460" y="2239358"/>
                </a:lnTo>
                <a:cubicBezTo>
                  <a:pt x="1016351" y="2234091"/>
                  <a:pt x="1011498" y="2232852"/>
                  <a:pt x="1009949" y="2230219"/>
                </a:cubicBezTo>
                <a:cubicBezTo>
                  <a:pt x="1009536" y="2229290"/>
                  <a:pt x="1009330" y="2228205"/>
                  <a:pt x="1009949" y="2226812"/>
                </a:cubicBezTo>
                <a:cubicBezTo>
                  <a:pt x="1012014" y="2225417"/>
                  <a:pt x="1013667" y="2222939"/>
                  <a:pt x="1016455" y="2222165"/>
                </a:cubicBezTo>
                <a:cubicBezTo>
                  <a:pt x="1017384" y="2222010"/>
                  <a:pt x="1018520" y="2221855"/>
                  <a:pt x="1019759" y="2222165"/>
                </a:cubicBezTo>
                <a:lnTo>
                  <a:pt x="1019552" y="2230839"/>
                </a:lnTo>
                <a:lnTo>
                  <a:pt x="1019759" y="2228515"/>
                </a:lnTo>
                <a:cubicBezTo>
                  <a:pt x="1020069" y="2227741"/>
                  <a:pt x="1020585" y="2227431"/>
                  <a:pt x="1021824" y="2227586"/>
                </a:cubicBezTo>
                <a:cubicBezTo>
                  <a:pt x="1023786" y="2227276"/>
                  <a:pt x="1023889" y="2229135"/>
                  <a:pt x="1026367" y="2229445"/>
                </a:cubicBezTo>
                <a:cubicBezTo>
                  <a:pt x="1027399" y="2229445"/>
                  <a:pt x="1028329" y="2228980"/>
                  <a:pt x="1029155" y="2228205"/>
                </a:cubicBezTo>
                <a:lnTo>
                  <a:pt x="1030394" y="2226812"/>
                </a:lnTo>
                <a:lnTo>
                  <a:pt x="1029259" y="2225108"/>
                </a:lnTo>
                <a:cubicBezTo>
                  <a:pt x="1029052" y="2224023"/>
                  <a:pt x="1029259" y="2223094"/>
                  <a:pt x="1029259" y="2223094"/>
                </a:cubicBezTo>
                <a:cubicBezTo>
                  <a:pt x="1029259" y="2223094"/>
                  <a:pt x="1029259" y="2223094"/>
                  <a:pt x="1028535" y="2223558"/>
                </a:cubicBezTo>
                <a:lnTo>
                  <a:pt x="1029259" y="2222939"/>
                </a:lnTo>
                <a:lnTo>
                  <a:pt x="1027710" y="2222784"/>
                </a:lnTo>
                <a:lnTo>
                  <a:pt x="1026883" y="2223868"/>
                </a:lnTo>
                <a:cubicBezTo>
                  <a:pt x="1025851" y="2224643"/>
                  <a:pt x="1024818" y="2225417"/>
                  <a:pt x="1024096" y="2224488"/>
                </a:cubicBezTo>
                <a:cubicBezTo>
                  <a:pt x="1023786" y="2224023"/>
                  <a:pt x="1023372" y="2223868"/>
                  <a:pt x="1023269" y="2223558"/>
                </a:cubicBezTo>
                <a:cubicBezTo>
                  <a:pt x="1023063" y="2223249"/>
                  <a:pt x="1023063" y="2222784"/>
                  <a:pt x="1023683" y="2222010"/>
                </a:cubicBezTo>
                <a:lnTo>
                  <a:pt x="1024302" y="2220925"/>
                </a:lnTo>
                <a:lnTo>
                  <a:pt x="1023786" y="2220615"/>
                </a:lnTo>
                <a:cubicBezTo>
                  <a:pt x="1023063" y="2219841"/>
                  <a:pt x="1022547" y="2218757"/>
                  <a:pt x="1022237" y="2217518"/>
                </a:cubicBezTo>
                <a:cubicBezTo>
                  <a:pt x="1026264" y="2215814"/>
                  <a:pt x="1029052" y="2215969"/>
                  <a:pt x="1031117" y="2217208"/>
                </a:cubicBezTo>
                <a:close/>
                <a:moveTo>
                  <a:pt x="773389" y="2216124"/>
                </a:moveTo>
                <a:cubicBezTo>
                  <a:pt x="775764" y="2218757"/>
                  <a:pt x="777829" y="2220306"/>
                  <a:pt x="779585" y="2222010"/>
                </a:cubicBezTo>
                <a:lnTo>
                  <a:pt x="781753" y="2224333"/>
                </a:lnTo>
                <a:lnTo>
                  <a:pt x="786193" y="2223404"/>
                </a:lnTo>
                <a:cubicBezTo>
                  <a:pt x="787639" y="2223558"/>
                  <a:pt x="788878" y="2224488"/>
                  <a:pt x="790014" y="2225727"/>
                </a:cubicBezTo>
                <a:cubicBezTo>
                  <a:pt x="789291" y="2230529"/>
                  <a:pt x="782889" y="2232388"/>
                  <a:pt x="780204" y="2229290"/>
                </a:cubicBezTo>
                <a:lnTo>
                  <a:pt x="780307" y="2227741"/>
                </a:lnTo>
                <a:lnTo>
                  <a:pt x="776384" y="2224953"/>
                </a:lnTo>
                <a:cubicBezTo>
                  <a:pt x="775248" y="2223868"/>
                  <a:pt x="774422" y="2222939"/>
                  <a:pt x="774628" y="2222629"/>
                </a:cubicBezTo>
                <a:cubicBezTo>
                  <a:pt x="773906" y="2222165"/>
                  <a:pt x="774319" y="2221390"/>
                  <a:pt x="773493" y="2221080"/>
                </a:cubicBezTo>
                <a:cubicBezTo>
                  <a:pt x="773493" y="2221080"/>
                  <a:pt x="772770" y="2220770"/>
                  <a:pt x="772460" y="2219686"/>
                </a:cubicBezTo>
                <a:cubicBezTo>
                  <a:pt x="772254" y="2219067"/>
                  <a:pt x="772047" y="2218447"/>
                  <a:pt x="772150" y="2217982"/>
                </a:cubicBezTo>
                <a:cubicBezTo>
                  <a:pt x="772254" y="2217363"/>
                  <a:pt x="772563" y="2216743"/>
                  <a:pt x="773389" y="2216124"/>
                </a:cubicBezTo>
                <a:close/>
                <a:moveTo>
                  <a:pt x="5180978" y="2215695"/>
                </a:moveTo>
                <a:cubicBezTo>
                  <a:pt x="5182685" y="2215838"/>
                  <a:pt x="5184393" y="2216549"/>
                  <a:pt x="5186527" y="2217687"/>
                </a:cubicBezTo>
                <a:cubicBezTo>
                  <a:pt x="5186740" y="2222382"/>
                  <a:pt x="5183112" y="2225654"/>
                  <a:pt x="5178844" y="2226934"/>
                </a:cubicBezTo>
                <a:cubicBezTo>
                  <a:pt x="5174575" y="2228072"/>
                  <a:pt x="5169880" y="2227504"/>
                  <a:pt x="5167532" y="2224516"/>
                </a:cubicBezTo>
                <a:cubicBezTo>
                  <a:pt x="5171801" y="2218825"/>
                  <a:pt x="5175642" y="2215126"/>
                  <a:pt x="5180978" y="2215695"/>
                </a:cubicBezTo>
                <a:close/>
                <a:moveTo>
                  <a:pt x="6209661" y="2214557"/>
                </a:moveTo>
                <a:cubicBezTo>
                  <a:pt x="6212649" y="2214557"/>
                  <a:pt x="6217984" y="2214841"/>
                  <a:pt x="6220332" y="2216691"/>
                </a:cubicBezTo>
                <a:cubicBezTo>
                  <a:pt x="6220972" y="2217260"/>
                  <a:pt x="6221399" y="2218114"/>
                  <a:pt x="6221399" y="2219110"/>
                </a:cubicBezTo>
                <a:cubicBezTo>
                  <a:pt x="6220759" y="2220817"/>
                  <a:pt x="6219265" y="2220390"/>
                  <a:pt x="6218412" y="2220959"/>
                </a:cubicBezTo>
                <a:cubicBezTo>
                  <a:pt x="6215850" y="2221244"/>
                  <a:pt x="6209021" y="2216122"/>
                  <a:pt x="6209661" y="2214557"/>
                </a:cubicBezTo>
                <a:close/>
                <a:moveTo>
                  <a:pt x="5219180" y="2213419"/>
                </a:moveTo>
                <a:cubicBezTo>
                  <a:pt x="5219820" y="2213561"/>
                  <a:pt x="5220887" y="2213988"/>
                  <a:pt x="5221528" y="2214557"/>
                </a:cubicBezTo>
                <a:cubicBezTo>
                  <a:pt x="5222168" y="2215268"/>
                  <a:pt x="5222381" y="2215980"/>
                  <a:pt x="5222168" y="2216691"/>
                </a:cubicBezTo>
                <a:cubicBezTo>
                  <a:pt x="5221101" y="2217403"/>
                  <a:pt x="5221741" y="2218398"/>
                  <a:pt x="5220674" y="2219110"/>
                </a:cubicBezTo>
                <a:cubicBezTo>
                  <a:pt x="5219180" y="2221386"/>
                  <a:pt x="5218113" y="2221955"/>
                  <a:pt x="5216619" y="2221670"/>
                </a:cubicBezTo>
                <a:cubicBezTo>
                  <a:pt x="5215552" y="2222240"/>
                  <a:pt x="5214911" y="2221244"/>
                  <a:pt x="5213418" y="2220959"/>
                </a:cubicBezTo>
                <a:cubicBezTo>
                  <a:pt x="5212991" y="2219963"/>
                  <a:pt x="5213418" y="2218256"/>
                  <a:pt x="5213418" y="2218256"/>
                </a:cubicBezTo>
                <a:cubicBezTo>
                  <a:pt x="5213845" y="2216549"/>
                  <a:pt x="5213845" y="2216549"/>
                  <a:pt x="5212350" y="2216264"/>
                </a:cubicBezTo>
                <a:cubicBezTo>
                  <a:pt x="5212350" y="2216264"/>
                  <a:pt x="5213418" y="2215553"/>
                  <a:pt x="5213418" y="2215553"/>
                </a:cubicBezTo>
                <a:cubicBezTo>
                  <a:pt x="5213845" y="2216549"/>
                  <a:pt x="5213418" y="2215553"/>
                  <a:pt x="5213845" y="2213846"/>
                </a:cubicBezTo>
                <a:cubicBezTo>
                  <a:pt x="5216619" y="2213561"/>
                  <a:pt x="5217473" y="2212992"/>
                  <a:pt x="5219180" y="2213419"/>
                </a:cubicBezTo>
                <a:close/>
                <a:moveTo>
                  <a:pt x="5226436" y="2212850"/>
                </a:moveTo>
                <a:cubicBezTo>
                  <a:pt x="5228144" y="2212565"/>
                  <a:pt x="5230064" y="2212708"/>
                  <a:pt x="5231985" y="2213134"/>
                </a:cubicBezTo>
                <a:cubicBezTo>
                  <a:pt x="5235827" y="2213846"/>
                  <a:pt x="5239668" y="2215838"/>
                  <a:pt x="5242443" y="2217545"/>
                </a:cubicBezTo>
                <a:cubicBezTo>
                  <a:pt x="5242229" y="2220817"/>
                  <a:pt x="5244577" y="2221955"/>
                  <a:pt x="5244363" y="2225369"/>
                </a:cubicBezTo>
                <a:cubicBezTo>
                  <a:pt x="5234760" y="2223805"/>
                  <a:pt x="5224089" y="2223093"/>
                  <a:pt x="5222168" y="2215126"/>
                </a:cubicBezTo>
                <a:cubicBezTo>
                  <a:pt x="5223235" y="2213846"/>
                  <a:pt x="5224729" y="2213134"/>
                  <a:pt x="5226436" y="2212850"/>
                </a:cubicBezTo>
                <a:close/>
                <a:moveTo>
                  <a:pt x="5702575" y="2211996"/>
                </a:moveTo>
                <a:cubicBezTo>
                  <a:pt x="5705137" y="2211996"/>
                  <a:pt x="5705563" y="2212992"/>
                  <a:pt x="5705137" y="2211996"/>
                </a:cubicBezTo>
                <a:cubicBezTo>
                  <a:pt x="5708125" y="2212992"/>
                  <a:pt x="5712180" y="2213561"/>
                  <a:pt x="5711966" y="2216264"/>
                </a:cubicBezTo>
                <a:cubicBezTo>
                  <a:pt x="5709192" y="2225369"/>
                  <a:pt x="5694039" y="2222524"/>
                  <a:pt x="5690624" y="2223093"/>
                </a:cubicBezTo>
                <a:cubicBezTo>
                  <a:pt x="5690624" y="2223093"/>
                  <a:pt x="5689344" y="2223662"/>
                  <a:pt x="5687850" y="2223093"/>
                </a:cubicBezTo>
                <a:cubicBezTo>
                  <a:pt x="5685502" y="2223093"/>
                  <a:pt x="5688276" y="2220248"/>
                  <a:pt x="5686783" y="2219821"/>
                </a:cubicBezTo>
                <a:cubicBezTo>
                  <a:pt x="5695960" y="2217687"/>
                  <a:pt x="5702575" y="2211996"/>
                  <a:pt x="5702575" y="2211996"/>
                </a:cubicBezTo>
                <a:close/>
                <a:moveTo>
                  <a:pt x="5685929" y="2211285"/>
                </a:moveTo>
                <a:cubicBezTo>
                  <a:pt x="5687423" y="2211712"/>
                  <a:pt x="5687423" y="2211712"/>
                  <a:pt x="5687850" y="2212850"/>
                </a:cubicBezTo>
                <a:cubicBezTo>
                  <a:pt x="5687209" y="2214415"/>
                  <a:pt x="5686142" y="2214984"/>
                  <a:pt x="5685502" y="2216549"/>
                </a:cubicBezTo>
                <a:cubicBezTo>
                  <a:pt x="5688490" y="2217687"/>
                  <a:pt x="5688063" y="2216549"/>
                  <a:pt x="5687423" y="2218114"/>
                </a:cubicBezTo>
                <a:cubicBezTo>
                  <a:pt x="5687423" y="2218114"/>
                  <a:pt x="5687423" y="2218114"/>
                  <a:pt x="5686783" y="2219821"/>
                </a:cubicBezTo>
                <a:cubicBezTo>
                  <a:pt x="5686783" y="2219821"/>
                  <a:pt x="5687209" y="2220817"/>
                  <a:pt x="5683155" y="2220248"/>
                </a:cubicBezTo>
                <a:cubicBezTo>
                  <a:pt x="5683795" y="2218683"/>
                  <a:pt x="5685716" y="2213846"/>
                  <a:pt x="5685716" y="2213846"/>
                </a:cubicBezTo>
                <a:cubicBezTo>
                  <a:pt x="5685289" y="2212850"/>
                  <a:pt x="5685289" y="2212850"/>
                  <a:pt x="5685929" y="2211285"/>
                </a:cubicBezTo>
                <a:close/>
                <a:moveTo>
                  <a:pt x="985374" y="2210547"/>
                </a:moveTo>
                <a:cubicBezTo>
                  <a:pt x="985374" y="2210547"/>
                  <a:pt x="985787" y="2211322"/>
                  <a:pt x="985787" y="2211322"/>
                </a:cubicBezTo>
                <a:cubicBezTo>
                  <a:pt x="984961" y="2211477"/>
                  <a:pt x="985787" y="2211322"/>
                  <a:pt x="986923" y="2211941"/>
                </a:cubicBezTo>
                <a:cubicBezTo>
                  <a:pt x="986717" y="2213800"/>
                  <a:pt x="987130" y="2214420"/>
                  <a:pt x="986613" y="2215504"/>
                </a:cubicBezTo>
                <a:cubicBezTo>
                  <a:pt x="986407" y="2216124"/>
                  <a:pt x="985891" y="2216743"/>
                  <a:pt x="985374" y="2217053"/>
                </a:cubicBezTo>
                <a:cubicBezTo>
                  <a:pt x="984858" y="2217518"/>
                  <a:pt x="984342" y="2217673"/>
                  <a:pt x="983722" y="2217363"/>
                </a:cubicBezTo>
                <a:cubicBezTo>
                  <a:pt x="983412" y="2216588"/>
                  <a:pt x="982587" y="2216743"/>
                  <a:pt x="982277" y="2215969"/>
                </a:cubicBezTo>
                <a:cubicBezTo>
                  <a:pt x="981554" y="2215349"/>
                  <a:pt x="981141" y="2214730"/>
                  <a:pt x="980934" y="2214265"/>
                </a:cubicBezTo>
                <a:cubicBezTo>
                  <a:pt x="980728" y="2213800"/>
                  <a:pt x="980728" y="2213335"/>
                  <a:pt x="980934" y="2212716"/>
                </a:cubicBezTo>
                <a:cubicBezTo>
                  <a:pt x="980625" y="2211941"/>
                  <a:pt x="981347" y="2211632"/>
                  <a:pt x="981864" y="2210702"/>
                </a:cubicBezTo>
                <a:cubicBezTo>
                  <a:pt x="982690" y="2210392"/>
                  <a:pt x="983825" y="2211012"/>
                  <a:pt x="983825" y="2211012"/>
                </a:cubicBezTo>
                <a:cubicBezTo>
                  <a:pt x="984961" y="2211477"/>
                  <a:pt x="984961" y="2211632"/>
                  <a:pt x="985374" y="2210547"/>
                </a:cubicBezTo>
                <a:close/>
                <a:moveTo>
                  <a:pt x="756868" y="2209928"/>
                </a:moveTo>
                <a:cubicBezTo>
                  <a:pt x="761515" y="2211787"/>
                  <a:pt x="761825" y="2218137"/>
                  <a:pt x="757797" y="2219686"/>
                </a:cubicBezTo>
                <a:cubicBezTo>
                  <a:pt x="756559" y="2219222"/>
                  <a:pt x="754597" y="2219067"/>
                  <a:pt x="753048" y="2217827"/>
                </a:cubicBezTo>
                <a:cubicBezTo>
                  <a:pt x="751912" y="2213645"/>
                  <a:pt x="753564" y="2211322"/>
                  <a:pt x="756868" y="2209928"/>
                </a:cubicBezTo>
                <a:close/>
                <a:moveTo>
                  <a:pt x="804160" y="2209463"/>
                </a:moveTo>
                <a:cubicBezTo>
                  <a:pt x="804883" y="2209773"/>
                  <a:pt x="805192" y="2210857"/>
                  <a:pt x="805192" y="2210857"/>
                </a:cubicBezTo>
                <a:cubicBezTo>
                  <a:pt x="805502" y="2211941"/>
                  <a:pt x="805502" y="2212096"/>
                  <a:pt x="806741" y="2211632"/>
                </a:cubicBezTo>
                <a:cubicBezTo>
                  <a:pt x="806741" y="2211632"/>
                  <a:pt x="806225" y="2212251"/>
                  <a:pt x="806225" y="2212251"/>
                </a:cubicBezTo>
                <a:cubicBezTo>
                  <a:pt x="805502" y="2211941"/>
                  <a:pt x="806225" y="2212406"/>
                  <a:pt x="806534" y="2213490"/>
                </a:cubicBezTo>
                <a:cubicBezTo>
                  <a:pt x="804986" y="2214730"/>
                  <a:pt x="804470" y="2215504"/>
                  <a:pt x="803231" y="2215814"/>
                </a:cubicBezTo>
                <a:cubicBezTo>
                  <a:pt x="802714" y="2216124"/>
                  <a:pt x="801992" y="2216124"/>
                  <a:pt x="801268" y="2216124"/>
                </a:cubicBezTo>
                <a:cubicBezTo>
                  <a:pt x="800649" y="2216124"/>
                  <a:pt x="800029" y="2215814"/>
                  <a:pt x="799823" y="2215194"/>
                </a:cubicBezTo>
                <a:cubicBezTo>
                  <a:pt x="800339" y="2214420"/>
                  <a:pt x="799513" y="2214110"/>
                  <a:pt x="800029" y="2213335"/>
                </a:cubicBezTo>
                <a:cubicBezTo>
                  <a:pt x="800132" y="2211477"/>
                  <a:pt x="800546" y="2210702"/>
                  <a:pt x="801682" y="2210237"/>
                </a:cubicBezTo>
                <a:cubicBezTo>
                  <a:pt x="802198" y="2209463"/>
                  <a:pt x="802921" y="2209773"/>
                  <a:pt x="804160" y="2209463"/>
                </a:cubicBezTo>
                <a:close/>
                <a:moveTo>
                  <a:pt x="6328109" y="2209293"/>
                </a:moveTo>
                <a:cubicBezTo>
                  <a:pt x="6328963" y="2215695"/>
                  <a:pt x="6322987" y="2224516"/>
                  <a:pt x="6315304" y="2230207"/>
                </a:cubicBezTo>
                <a:cubicBezTo>
                  <a:pt x="6307621" y="2235898"/>
                  <a:pt x="6298230" y="2238458"/>
                  <a:pt x="6292041" y="2232483"/>
                </a:cubicBezTo>
                <a:cubicBezTo>
                  <a:pt x="6307835" y="2228926"/>
                  <a:pt x="6309968" y="2209862"/>
                  <a:pt x="6328109" y="2209293"/>
                </a:cubicBezTo>
                <a:close/>
                <a:moveTo>
                  <a:pt x="1047328" y="2208844"/>
                </a:moveTo>
                <a:cubicBezTo>
                  <a:pt x="1048670" y="2208533"/>
                  <a:pt x="1049909" y="2208379"/>
                  <a:pt x="1050942" y="2208844"/>
                </a:cubicBezTo>
                <a:cubicBezTo>
                  <a:pt x="1052594" y="2210702"/>
                  <a:pt x="1054143" y="2212716"/>
                  <a:pt x="1055692" y="2214575"/>
                </a:cubicBezTo>
                <a:cubicBezTo>
                  <a:pt x="1056311" y="2218911"/>
                  <a:pt x="1053420" y="2222010"/>
                  <a:pt x="1049703" y="2222319"/>
                </a:cubicBezTo>
                <a:cubicBezTo>
                  <a:pt x="1048464" y="2222474"/>
                  <a:pt x="1047018" y="2222319"/>
                  <a:pt x="1045676" y="2221700"/>
                </a:cubicBezTo>
                <a:cubicBezTo>
                  <a:pt x="1043817" y="2220925"/>
                  <a:pt x="1042062" y="2219377"/>
                  <a:pt x="1040513" y="2217053"/>
                </a:cubicBezTo>
                <a:cubicBezTo>
                  <a:pt x="1039481" y="2213800"/>
                  <a:pt x="1043508" y="2209928"/>
                  <a:pt x="1047328" y="2208844"/>
                </a:cubicBezTo>
                <a:close/>
                <a:moveTo>
                  <a:pt x="5684435" y="2208013"/>
                </a:moveTo>
                <a:cubicBezTo>
                  <a:pt x="5683795" y="2209720"/>
                  <a:pt x="5681447" y="2213419"/>
                  <a:pt x="5677392" y="2212708"/>
                </a:cubicBezTo>
                <a:lnTo>
                  <a:pt x="5676752" y="2212850"/>
                </a:lnTo>
                <a:lnTo>
                  <a:pt x="5678886" y="2215268"/>
                </a:lnTo>
                <a:cubicBezTo>
                  <a:pt x="5681447" y="2218968"/>
                  <a:pt x="5682941" y="2222667"/>
                  <a:pt x="5682301" y="2226508"/>
                </a:cubicBezTo>
                <a:lnTo>
                  <a:pt x="5681020" y="2229495"/>
                </a:lnTo>
                <a:lnTo>
                  <a:pt x="5682088" y="2232056"/>
                </a:lnTo>
                <a:cubicBezTo>
                  <a:pt x="5684008" y="2237178"/>
                  <a:pt x="5684862" y="2242726"/>
                  <a:pt x="5683795" y="2249839"/>
                </a:cubicBezTo>
                <a:cubicBezTo>
                  <a:pt x="5677392" y="2247848"/>
                  <a:pt x="5674618" y="2242157"/>
                  <a:pt x="5673550" y="2235755"/>
                </a:cubicBezTo>
                <a:lnTo>
                  <a:pt x="5673550" y="2231629"/>
                </a:lnTo>
                <a:lnTo>
                  <a:pt x="5669922" y="2229211"/>
                </a:lnTo>
                <a:cubicBezTo>
                  <a:pt x="5664587" y="2222667"/>
                  <a:pt x="5663520" y="2210431"/>
                  <a:pt x="5669709" y="2209151"/>
                </a:cubicBezTo>
                <a:cubicBezTo>
                  <a:pt x="5670990" y="2209009"/>
                  <a:pt x="5672484" y="2209151"/>
                  <a:pt x="5674191" y="2209862"/>
                </a:cubicBezTo>
                <a:lnTo>
                  <a:pt x="5674618" y="2210289"/>
                </a:lnTo>
                <a:lnTo>
                  <a:pt x="5675685" y="2209862"/>
                </a:lnTo>
                <a:cubicBezTo>
                  <a:pt x="5678246" y="2208724"/>
                  <a:pt x="5681020" y="2207728"/>
                  <a:pt x="5684435" y="2208013"/>
                </a:cubicBezTo>
                <a:close/>
                <a:moveTo>
                  <a:pt x="1024818" y="2207295"/>
                </a:moveTo>
                <a:cubicBezTo>
                  <a:pt x="1024096" y="2207759"/>
                  <a:pt x="1024096" y="2207759"/>
                  <a:pt x="1024096" y="2207759"/>
                </a:cubicBezTo>
                <a:cubicBezTo>
                  <a:pt x="1023786" y="2208998"/>
                  <a:pt x="1024612" y="2208533"/>
                  <a:pt x="1025025" y="2209153"/>
                </a:cubicBezTo>
                <a:cubicBezTo>
                  <a:pt x="1025025" y="2209153"/>
                  <a:pt x="1024508" y="2208533"/>
                  <a:pt x="1025748" y="2208689"/>
                </a:cubicBezTo>
                <a:cubicBezTo>
                  <a:pt x="1025025" y="2209153"/>
                  <a:pt x="1025438" y="2209773"/>
                  <a:pt x="1025954" y="2210547"/>
                </a:cubicBezTo>
                <a:cubicBezTo>
                  <a:pt x="1025335" y="2212871"/>
                  <a:pt x="1023889" y="2215814"/>
                  <a:pt x="1021927" y="2216124"/>
                </a:cubicBezTo>
                <a:cubicBezTo>
                  <a:pt x="1019552" y="2215814"/>
                  <a:pt x="1019346" y="2213955"/>
                  <a:pt x="1019655" y="2212716"/>
                </a:cubicBezTo>
                <a:cubicBezTo>
                  <a:pt x="1019346" y="2211477"/>
                  <a:pt x="1019965" y="2210237"/>
                  <a:pt x="1020998" y="2209309"/>
                </a:cubicBezTo>
                <a:cubicBezTo>
                  <a:pt x="1022030" y="2208379"/>
                  <a:pt x="1023476" y="2207759"/>
                  <a:pt x="1024818" y="2207295"/>
                </a:cubicBezTo>
                <a:close/>
                <a:moveTo>
                  <a:pt x="5358756" y="2207017"/>
                </a:moveTo>
                <a:cubicBezTo>
                  <a:pt x="5364519" y="2211285"/>
                  <a:pt x="5368574" y="2215411"/>
                  <a:pt x="5370281" y="2219963"/>
                </a:cubicBezTo>
                <a:lnTo>
                  <a:pt x="5370922" y="2227077"/>
                </a:lnTo>
                <a:lnTo>
                  <a:pt x="5374336" y="2224374"/>
                </a:lnTo>
                <a:cubicBezTo>
                  <a:pt x="5376470" y="2223235"/>
                  <a:pt x="5378818" y="2222667"/>
                  <a:pt x="5380952" y="2223378"/>
                </a:cubicBezTo>
                <a:cubicBezTo>
                  <a:pt x="5382233" y="2223805"/>
                  <a:pt x="5383513" y="2224658"/>
                  <a:pt x="5384794" y="2225796"/>
                </a:cubicBezTo>
                <a:cubicBezTo>
                  <a:pt x="5379671" y="2230634"/>
                  <a:pt x="5365586" y="2248986"/>
                  <a:pt x="5358543" y="2241303"/>
                </a:cubicBezTo>
                <a:cubicBezTo>
                  <a:pt x="5359610" y="2240023"/>
                  <a:pt x="5361104" y="2238031"/>
                  <a:pt x="5362811" y="2235898"/>
                </a:cubicBezTo>
                <a:lnTo>
                  <a:pt x="5363025" y="2235471"/>
                </a:lnTo>
                <a:lnTo>
                  <a:pt x="5362171" y="2235471"/>
                </a:lnTo>
                <a:cubicBezTo>
                  <a:pt x="5357903" y="2233906"/>
                  <a:pt x="5355128" y="2229637"/>
                  <a:pt x="5354061" y="2224800"/>
                </a:cubicBezTo>
                <a:cubicBezTo>
                  <a:pt x="5352567" y="2218256"/>
                  <a:pt x="5354061" y="2210716"/>
                  <a:pt x="5358756" y="2207017"/>
                </a:cubicBezTo>
                <a:close/>
                <a:moveTo>
                  <a:pt x="1064675" y="2206210"/>
                </a:moveTo>
                <a:cubicBezTo>
                  <a:pt x="1065501" y="2206210"/>
                  <a:pt x="1065501" y="2206985"/>
                  <a:pt x="1066327" y="2207759"/>
                </a:cubicBezTo>
                <a:cubicBezTo>
                  <a:pt x="1066327" y="2208689"/>
                  <a:pt x="1065398" y="2209463"/>
                  <a:pt x="1065398" y="2209463"/>
                </a:cubicBezTo>
                <a:cubicBezTo>
                  <a:pt x="1064468" y="2210392"/>
                  <a:pt x="1064468" y="2210392"/>
                  <a:pt x="1065295" y="2211167"/>
                </a:cubicBezTo>
                <a:cubicBezTo>
                  <a:pt x="1065295" y="2211167"/>
                  <a:pt x="1064468" y="2211167"/>
                  <a:pt x="1064468" y="2211167"/>
                </a:cubicBezTo>
                <a:cubicBezTo>
                  <a:pt x="1064468" y="2210392"/>
                  <a:pt x="1064468" y="2211167"/>
                  <a:pt x="1063539" y="2212096"/>
                </a:cubicBezTo>
                <a:cubicBezTo>
                  <a:pt x="1061784" y="2211322"/>
                  <a:pt x="1060855" y="2211322"/>
                  <a:pt x="1060029" y="2210547"/>
                </a:cubicBezTo>
                <a:cubicBezTo>
                  <a:pt x="1059616" y="2210237"/>
                  <a:pt x="1059306" y="2209618"/>
                  <a:pt x="1059099" y="2208998"/>
                </a:cubicBezTo>
                <a:cubicBezTo>
                  <a:pt x="1058893" y="2208379"/>
                  <a:pt x="1058893" y="2207759"/>
                  <a:pt x="1059306" y="2207295"/>
                </a:cubicBezTo>
                <a:cubicBezTo>
                  <a:pt x="1060235" y="2207295"/>
                  <a:pt x="1060235" y="2206365"/>
                  <a:pt x="1061165" y="2206365"/>
                </a:cubicBezTo>
                <a:cubicBezTo>
                  <a:pt x="1062920" y="2205436"/>
                  <a:pt x="1063849" y="2205436"/>
                  <a:pt x="1064675" y="2206210"/>
                </a:cubicBezTo>
                <a:close/>
                <a:moveTo>
                  <a:pt x="5014083" y="2205879"/>
                </a:moveTo>
                <a:cubicBezTo>
                  <a:pt x="5016645" y="2206163"/>
                  <a:pt x="5019846" y="2207444"/>
                  <a:pt x="5022833" y="2207870"/>
                </a:cubicBezTo>
                <a:cubicBezTo>
                  <a:pt x="5021767" y="2211285"/>
                  <a:pt x="5019846" y="2213134"/>
                  <a:pt x="5017498" y="2213419"/>
                </a:cubicBezTo>
                <a:cubicBezTo>
                  <a:pt x="5015150" y="2213846"/>
                  <a:pt x="5011949" y="2212708"/>
                  <a:pt x="5008321" y="2210574"/>
                </a:cubicBezTo>
                <a:cubicBezTo>
                  <a:pt x="5009388" y="2206590"/>
                  <a:pt x="5011309" y="2205594"/>
                  <a:pt x="5014083" y="2205879"/>
                </a:cubicBezTo>
                <a:close/>
                <a:moveTo>
                  <a:pt x="6335579" y="2205594"/>
                </a:moveTo>
                <a:cubicBezTo>
                  <a:pt x="6336646" y="2205737"/>
                  <a:pt x="6336432" y="2206732"/>
                  <a:pt x="6337713" y="2207017"/>
                </a:cubicBezTo>
                <a:cubicBezTo>
                  <a:pt x="6337713" y="2207017"/>
                  <a:pt x="6337500" y="2208155"/>
                  <a:pt x="6337713" y="2208155"/>
                </a:cubicBezTo>
                <a:cubicBezTo>
                  <a:pt x="6338140" y="2208155"/>
                  <a:pt x="6338140" y="2208297"/>
                  <a:pt x="6337713" y="2208439"/>
                </a:cubicBezTo>
                <a:cubicBezTo>
                  <a:pt x="6337500" y="2208724"/>
                  <a:pt x="6337073" y="2209151"/>
                  <a:pt x="6336432" y="2210289"/>
                </a:cubicBezTo>
                <a:cubicBezTo>
                  <a:pt x="6335152" y="2211285"/>
                  <a:pt x="6335152" y="2212423"/>
                  <a:pt x="6334085" y="2211000"/>
                </a:cubicBezTo>
                <a:cubicBezTo>
                  <a:pt x="6333018" y="2209720"/>
                  <a:pt x="6333018" y="2209720"/>
                  <a:pt x="6333231" y="2206305"/>
                </a:cubicBezTo>
                <a:cubicBezTo>
                  <a:pt x="6334298" y="2207586"/>
                  <a:pt x="6334298" y="2207586"/>
                  <a:pt x="6335579" y="2206590"/>
                </a:cubicBezTo>
                <a:cubicBezTo>
                  <a:pt x="6335579" y="2206590"/>
                  <a:pt x="6335579" y="2206732"/>
                  <a:pt x="6335579" y="2205594"/>
                </a:cubicBezTo>
                <a:close/>
                <a:moveTo>
                  <a:pt x="4641239" y="2205025"/>
                </a:moveTo>
                <a:cubicBezTo>
                  <a:pt x="4645081" y="2205310"/>
                  <a:pt x="4648069" y="2206590"/>
                  <a:pt x="4649349" y="2206163"/>
                </a:cubicBezTo>
                <a:cubicBezTo>
                  <a:pt x="4652550" y="2210147"/>
                  <a:pt x="4652550" y="2210147"/>
                  <a:pt x="4646788" y="2216406"/>
                </a:cubicBezTo>
                <a:cubicBezTo>
                  <a:pt x="4645508" y="2217545"/>
                  <a:pt x="4644014" y="2218256"/>
                  <a:pt x="4642520" y="2218541"/>
                </a:cubicBezTo>
                <a:cubicBezTo>
                  <a:pt x="4641026" y="2218825"/>
                  <a:pt x="4639318" y="2218541"/>
                  <a:pt x="4637611" y="2217687"/>
                </a:cubicBezTo>
                <a:cubicBezTo>
                  <a:pt x="4635263" y="2218683"/>
                  <a:pt x="4631849" y="2218256"/>
                  <a:pt x="4629501" y="2216691"/>
                </a:cubicBezTo>
                <a:cubicBezTo>
                  <a:pt x="4627367" y="2214131"/>
                  <a:pt x="4627367" y="2211712"/>
                  <a:pt x="4628647" y="2210716"/>
                </a:cubicBezTo>
                <a:cubicBezTo>
                  <a:pt x="4632702" y="2205879"/>
                  <a:pt x="4637398" y="2204883"/>
                  <a:pt x="4641239" y="2205025"/>
                </a:cubicBezTo>
                <a:close/>
                <a:moveTo>
                  <a:pt x="899052" y="2204971"/>
                </a:moveTo>
                <a:cubicBezTo>
                  <a:pt x="907932" y="2203732"/>
                  <a:pt x="911443" y="2213800"/>
                  <a:pt x="907003" y="2217363"/>
                </a:cubicBezTo>
                <a:cubicBezTo>
                  <a:pt x="905454" y="2218447"/>
                  <a:pt x="903079" y="2218911"/>
                  <a:pt x="899775" y="2217982"/>
                </a:cubicBezTo>
                <a:lnTo>
                  <a:pt x="899259" y="2214575"/>
                </a:lnTo>
                <a:lnTo>
                  <a:pt x="898020" y="2214884"/>
                </a:lnTo>
                <a:cubicBezTo>
                  <a:pt x="897090" y="2214884"/>
                  <a:pt x="896058" y="2214575"/>
                  <a:pt x="894922" y="2213955"/>
                </a:cubicBezTo>
                <a:cubicBezTo>
                  <a:pt x="895955" y="2212406"/>
                  <a:pt x="896884" y="2210702"/>
                  <a:pt x="898020" y="2209773"/>
                </a:cubicBezTo>
                <a:lnTo>
                  <a:pt x="898433" y="2209618"/>
                </a:lnTo>
                <a:lnTo>
                  <a:pt x="898123" y="2208069"/>
                </a:lnTo>
                <a:cubicBezTo>
                  <a:pt x="898123" y="2206985"/>
                  <a:pt x="898433" y="2206055"/>
                  <a:pt x="899052" y="2204971"/>
                </a:cubicBezTo>
                <a:close/>
                <a:moveTo>
                  <a:pt x="878401" y="2204042"/>
                </a:moveTo>
                <a:cubicBezTo>
                  <a:pt x="877265" y="2207605"/>
                  <a:pt x="876852" y="2210237"/>
                  <a:pt x="876336" y="2212561"/>
                </a:cubicBezTo>
                <a:lnTo>
                  <a:pt x="876129" y="2213026"/>
                </a:lnTo>
                <a:lnTo>
                  <a:pt x="877885" y="2214420"/>
                </a:lnTo>
                <a:cubicBezTo>
                  <a:pt x="878297" y="2215504"/>
                  <a:pt x="878194" y="2217053"/>
                  <a:pt x="878297" y="2218911"/>
                </a:cubicBezTo>
                <a:cubicBezTo>
                  <a:pt x="877059" y="2218757"/>
                  <a:pt x="876233" y="2222319"/>
                  <a:pt x="875923" y="2223558"/>
                </a:cubicBezTo>
                <a:cubicBezTo>
                  <a:pt x="873548" y="2223094"/>
                  <a:pt x="871896" y="2227121"/>
                  <a:pt x="868282" y="2226657"/>
                </a:cubicBezTo>
                <a:cubicBezTo>
                  <a:pt x="867353" y="2225262"/>
                  <a:pt x="866836" y="2224488"/>
                  <a:pt x="866733" y="2222629"/>
                </a:cubicBezTo>
                <a:cubicBezTo>
                  <a:pt x="867456" y="2220461"/>
                  <a:pt x="868282" y="2218757"/>
                  <a:pt x="869108" y="2217518"/>
                </a:cubicBezTo>
                <a:lnTo>
                  <a:pt x="871792" y="2214575"/>
                </a:lnTo>
                <a:lnTo>
                  <a:pt x="872102" y="2211941"/>
                </a:lnTo>
                <a:cubicBezTo>
                  <a:pt x="872515" y="2210237"/>
                  <a:pt x="873031" y="2208998"/>
                  <a:pt x="873445" y="2208998"/>
                </a:cubicBezTo>
                <a:cubicBezTo>
                  <a:pt x="873341" y="2208069"/>
                  <a:pt x="874270" y="2208069"/>
                  <a:pt x="874167" y="2207140"/>
                </a:cubicBezTo>
                <a:cubicBezTo>
                  <a:pt x="874167" y="2207140"/>
                  <a:pt x="874167" y="2206365"/>
                  <a:pt x="874994" y="2205281"/>
                </a:cubicBezTo>
                <a:cubicBezTo>
                  <a:pt x="875820" y="2204351"/>
                  <a:pt x="876646" y="2203422"/>
                  <a:pt x="878401" y="2204042"/>
                </a:cubicBezTo>
                <a:close/>
                <a:moveTo>
                  <a:pt x="6261522" y="2203175"/>
                </a:moveTo>
                <a:cubicBezTo>
                  <a:pt x="6264083" y="2203602"/>
                  <a:pt x="6265791" y="2205879"/>
                  <a:pt x="6265791" y="2205879"/>
                </a:cubicBezTo>
                <a:cubicBezTo>
                  <a:pt x="6265791" y="2205879"/>
                  <a:pt x="6265791" y="2205879"/>
                  <a:pt x="6265791" y="2204741"/>
                </a:cubicBezTo>
                <a:cubicBezTo>
                  <a:pt x="6265791" y="2207159"/>
                  <a:pt x="6266644" y="2209720"/>
                  <a:pt x="6266644" y="2211996"/>
                </a:cubicBezTo>
                <a:cubicBezTo>
                  <a:pt x="6258961" y="2220390"/>
                  <a:pt x="6257040" y="2216406"/>
                  <a:pt x="6252559" y="2212139"/>
                </a:cubicBezTo>
                <a:cubicBezTo>
                  <a:pt x="6253839" y="2210004"/>
                  <a:pt x="6252985" y="2206163"/>
                  <a:pt x="6255546" y="2204172"/>
                </a:cubicBezTo>
                <a:cubicBezTo>
                  <a:pt x="6255546" y="2204172"/>
                  <a:pt x="6256827" y="2203175"/>
                  <a:pt x="6258961" y="2203602"/>
                </a:cubicBezTo>
                <a:cubicBezTo>
                  <a:pt x="6260028" y="2203175"/>
                  <a:pt x="6260882" y="2203033"/>
                  <a:pt x="6261522" y="2203175"/>
                </a:cubicBezTo>
                <a:close/>
                <a:moveTo>
                  <a:pt x="5626598" y="2201042"/>
                </a:moveTo>
                <a:cubicBezTo>
                  <a:pt x="5627879" y="2201326"/>
                  <a:pt x="5627879" y="2201184"/>
                  <a:pt x="5627665" y="2202464"/>
                </a:cubicBezTo>
                <a:cubicBezTo>
                  <a:pt x="5627879" y="2202322"/>
                  <a:pt x="5627879" y="2202322"/>
                  <a:pt x="5628092" y="2202180"/>
                </a:cubicBezTo>
                <a:lnTo>
                  <a:pt x="5628306" y="2202749"/>
                </a:lnTo>
                <a:lnTo>
                  <a:pt x="5628946" y="2202606"/>
                </a:lnTo>
                <a:cubicBezTo>
                  <a:pt x="5629800" y="2202606"/>
                  <a:pt x="5630653" y="2202749"/>
                  <a:pt x="5631507" y="2203460"/>
                </a:cubicBezTo>
                <a:cubicBezTo>
                  <a:pt x="5632787" y="2203602"/>
                  <a:pt x="5632574" y="2208297"/>
                  <a:pt x="5631507" y="2209293"/>
                </a:cubicBezTo>
                <a:cubicBezTo>
                  <a:pt x="5628946" y="2211427"/>
                  <a:pt x="5627879" y="2212423"/>
                  <a:pt x="5625531" y="2212139"/>
                </a:cubicBezTo>
                <a:cubicBezTo>
                  <a:pt x="5624251" y="2213277"/>
                  <a:pt x="5623183" y="2214273"/>
                  <a:pt x="5622116" y="2214699"/>
                </a:cubicBezTo>
                <a:lnTo>
                  <a:pt x="5619342" y="2213988"/>
                </a:lnTo>
                <a:lnTo>
                  <a:pt x="5621050" y="2214841"/>
                </a:lnTo>
                <a:cubicBezTo>
                  <a:pt x="5621903" y="2215411"/>
                  <a:pt x="5622330" y="2216122"/>
                  <a:pt x="5622330" y="2216976"/>
                </a:cubicBezTo>
                <a:cubicBezTo>
                  <a:pt x="5621263" y="2217687"/>
                  <a:pt x="5621903" y="2218683"/>
                  <a:pt x="5621050" y="2219252"/>
                </a:cubicBezTo>
                <a:cubicBezTo>
                  <a:pt x="5620622" y="2220248"/>
                  <a:pt x="5620195" y="2220675"/>
                  <a:pt x="5619769" y="2221101"/>
                </a:cubicBezTo>
                <a:cubicBezTo>
                  <a:pt x="5621690" y="2219394"/>
                  <a:pt x="5623824" y="2218114"/>
                  <a:pt x="5626385" y="2217972"/>
                </a:cubicBezTo>
                <a:cubicBezTo>
                  <a:pt x="5625104" y="2222240"/>
                  <a:pt x="5623610" y="2226223"/>
                  <a:pt x="5622543" y="2230634"/>
                </a:cubicBezTo>
                <a:lnTo>
                  <a:pt x="5621690" y="2238458"/>
                </a:lnTo>
                <a:lnTo>
                  <a:pt x="5622330" y="2238885"/>
                </a:lnTo>
                <a:lnTo>
                  <a:pt x="5623610" y="2238316"/>
                </a:lnTo>
                <a:lnTo>
                  <a:pt x="5623610" y="2238031"/>
                </a:lnTo>
                <a:cubicBezTo>
                  <a:pt x="5626171" y="2234759"/>
                  <a:pt x="5625104" y="2231203"/>
                  <a:pt x="5627665" y="2228072"/>
                </a:cubicBezTo>
                <a:cubicBezTo>
                  <a:pt x="5627665" y="2228072"/>
                  <a:pt x="5627665" y="2227930"/>
                  <a:pt x="5628733" y="2229211"/>
                </a:cubicBezTo>
                <a:cubicBezTo>
                  <a:pt x="5627452" y="2232056"/>
                  <a:pt x="5627452" y="2235044"/>
                  <a:pt x="5627238" y="2237889"/>
                </a:cubicBezTo>
                <a:lnTo>
                  <a:pt x="5626598" y="2239596"/>
                </a:lnTo>
                <a:lnTo>
                  <a:pt x="5629373" y="2238458"/>
                </a:lnTo>
                <a:cubicBezTo>
                  <a:pt x="5635135" y="2236040"/>
                  <a:pt x="5640684" y="2233336"/>
                  <a:pt x="5647513" y="2234048"/>
                </a:cubicBezTo>
                <a:lnTo>
                  <a:pt x="5653063" y="2235186"/>
                </a:lnTo>
                <a:lnTo>
                  <a:pt x="5652208" y="2231914"/>
                </a:lnTo>
                <a:lnTo>
                  <a:pt x="5648367" y="2231914"/>
                </a:lnTo>
                <a:cubicBezTo>
                  <a:pt x="5641964" y="2229780"/>
                  <a:pt x="5638123" y="2222240"/>
                  <a:pt x="5641537" y="2216406"/>
                </a:cubicBezTo>
                <a:cubicBezTo>
                  <a:pt x="5642818" y="2215980"/>
                  <a:pt x="5644312" y="2215126"/>
                  <a:pt x="5646020" y="2214557"/>
                </a:cubicBezTo>
                <a:lnTo>
                  <a:pt x="5646873" y="2214415"/>
                </a:lnTo>
                <a:lnTo>
                  <a:pt x="5644525" y="2211996"/>
                </a:lnTo>
                <a:lnTo>
                  <a:pt x="5644312" y="2211000"/>
                </a:lnTo>
                <a:lnTo>
                  <a:pt x="5643032" y="2210574"/>
                </a:lnTo>
                <a:cubicBezTo>
                  <a:pt x="5643032" y="2210574"/>
                  <a:pt x="5643032" y="2210574"/>
                  <a:pt x="5643032" y="2209578"/>
                </a:cubicBezTo>
                <a:lnTo>
                  <a:pt x="5644099" y="2210147"/>
                </a:lnTo>
                <a:lnTo>
                  <a:pt x="5643885" y="2208866"/>
                </a:lnTo>
                <a:lnTo>
                  <a:pt x="5643032" y="2209293"/>
                </a:lnTo>
                <a:cubicBezTo>
                  <a:pt x="5643032" y="2209293"/>
                  <a:pt x="5642605" y="2208297"/>
                  <a:pt x="5643245" y="2206732"/>
                </a:cubicBezTo>
                <a:cubicBezTo>
                  <a:pt x="5643245" y="2206732"/>
                  <a:pt x="5643458" y="2206874"/>
                  <a:pt x="5643672" y="2207159"/>
                </a:cubicBezTo>
                <a:lnTo>
                  <a:pt x="5643885" y="2208297"/>
                </a:lnTo>
                <a:lnTo>
                  <a:pt x="5646233" y="2204598"/>
                </a:lnTo>
                <a:cubicBezTo>
                  <a:pt x="5647513" y="2203602"/>
                  <a:pt x="5649434" y="2203175"/>
                  <a:pt x="5651355" y="2203318"/>
                </a:cubicBezTo>
                <a:cubicBezTo>
                  <a:pt x="5653489" y="2203460"/>
                  <a:pt x="5656050" y="2204456"/>
                  <a:pt x="5658184" y="2206590"/>
                </a:cubicBezTo>
                <a:cubicBezTo>
                  <a:pt x="5658184" y="2208013"/>
                  <a:pt x="5657331" y="2209720"/>
                  <a:pt x="5656263" y="2211427"/>
                </a:cubicBezTo>
                <a:lnTo>
                  <a:pt x="5652849" y="2215268"/>
                </a:lnTo>
                <a:lnTo>
                  <a:pt x="5657544" y="2222382"/>
                </a:lnTo>
                <a:lnTo>
                  <a:pt x="5656904" y="2224942"/>
                </a:lnTo>
                <a:lnTo>
                  <a:pt x="5657544" y="2225227"/>
                </a:lnTo>
                <a:cubicBezTo>
                  <a:pt x="5658398" y="2225939"/>
                  <a:pt x="5658825" y="2227077"/>
                  <a:pt x="5658184" y="2228784"/>
                </a:cubicBezTo>
                <a:lnTo>
                  <a:pt x="5656263" y="2228642"/>
                </a:lnTo>
                <a:lnTo>
                  <a:pt x="5656050" y="2229495"/>
                </a:lnTo>
                <a:lnTo>
                  <a:pt x="5656050" y="2230207"/>
                </a:lnTo>
                <a:cubicBezTo>
                  <a:pt x="5656050" y="2230207"/>
                  <a:pt x="5656904" y="2231203"/>
                  <a:pt x="5656477" y="2232910"/>
                </a:cubicBezTo>
                <a:cubicBezTo>
                  <a:pt x="5656263" y="2234617"/>
                  <a:pt x="5656050" y="2236324"/>
                  <a:pt x="5653489" y="2236466"/>
                </a:cubicBezTo>
                <a:lnTo>
                  <a:pt x="5653276" y="2236182"/>
                </a:lnTo>
                <a:lnTo>
                  <a:pt x="5651355" y="2239881"/>
                </a:lnTo>
                <a:cubicBezTo>
                  <a:pt x="5647727" y="2244149"/>
                  <a:pt x="5640897" y="2247564"/>
                  <a:pt x="5633854" y="2249129"/>
                </a:cubicBezTo>
                <a:lnTo>
                  <a:pt x="5624464" y="2249271"/>
                </a:lnTo>
                <a:lnTo>
                  <a:pt x="5628946" y="2252258"/>
                </a:lnTo>
                <a:cubicBezTo>
                  <a:pt x="5632574" y="2255103"/>
                  <a:pt x="5636629" y="2258660"/>
                  <a:pt x="5638336" y="2260083"/>
                </a:cubicBezTo>
                <a:cubicBezTo>
                  <a:pt x="5638336" y="2261221"/>
                  <a:pt x="5638336" y="2261221"/>
                  <a:pt x="5638336" y="2261221"/>
                </a:cubicBezTo>
                <a:cubicBezTo>
                  <a:pt x="5637696" y="2262359"/>
                  <a:pt x="5636842" y="2262502"/>
                  <a:pt x="5635775" y="2262075"/>
                </a:cubicBezTo>
                <a:cubicBezTo>
                  <a:pt x="5634495" y="2261648"/>
                  <a:pt x="5633001" y="2260510"/>
                  <a:pt x="5631293" y="2259087"/>
                </a:cubicBezTo>
                <a:cubicBezTo>
                  <a:pt x="5627879" y="2256384"/>
                  <a:pt x="5624464" y="2251120"/>
                  <a:pt x="5623397" y="2249697"/>
                </a:cubicBezTo>
                <a:lnTo>
                  <a:pt x="5622543" y="2249271"/>
                </a:lnTo>
                <a:lnTo>
                  <a:pt x="5620195" y="2249271"/>
                </a:lnTo>
                <a:lnTo>
                  <a:pt x="5617421" y="2247990"/>
                </a:lnTo>
                <a:lnTo>
                  <a:pt x="5614007" y="2249129"/>
                </a:lnTo>
                <a:lnTo>
                  <a:pt x="5612726" y="2245287"/>
                </a:lnTo>
                <a:lnTo>
                  <a:pt x="5611872" y="2255103"/>
                </a:lnTo>
                <a:cubicBezTo>
                  <a:pt x="5612086" y="2256668"/>
                  <a:pt x="5612299" y="2258091"/>
                  <a:pt x="5612299" y="2258945"/>
                </a:cubicBezTo>
                <a:lnTo>
                  <a:pt x="5612512" y="2259940"/>
                </a:lnTo>
                <a:lnTo>
                  <a:pt x="5612939" y="2260083"/>
                </a:lnTo>
                <a:cubicBezTo>
                  <a:pt x="5614860" y="2262644"/>
                  <a:pt x="5614860" y="2264920"/>
                  <a:pt x="5614433" y="2267481"/>
                </a:cubicBezTo>
                <a:lnTo>
                  <a:pt x="5613580" y="2271180"/>
                </a:lnTo>
                <a:lnTo>
                  <a:pt x="5613793" y="2271180"/>
                </a:lnTo>
                <a:cubicBezTo>
                  <a:pt x="5614433" y="2270896"/>
                  <a:pt x="5615074" y="2271038"/>
                  <a:pt x="5615927" y="2271607"/>
                </a:cubicBezTo>
                <a:cubicBezTo>
                  <a:pt x="5621050" y="2276728"/>
                  <a:pt x="5618915" y="2285123"/>
                  <a:pt x="5617421" y="2289391"/>
                </a:cubicBezTo>
                <a:lnTo>
                  <a:pt x="5616567" y="2291809"/>
                </a:lnTo>
                <a:lnTo>
                  <a:pt x="5617848" y="2291809"/>
                </a:lnTo>
                <a:lnTo>
                  <a:pt x="5616567" y="2292947"/>
                </a:lnTo>
                <a:lnTo>
                  <a:pt x="5616567" y="2293232"/>
                </a:lnTo>
                <a:cubicBezTo>
                  <a:pt x="5615287" y="2293089"/>
                  <a:pt x="5615287" y="2294228"/>
                  <a:pt x="5616567" y="2294370"/>
                </a:cubicBezTo>
                <a:cubicBezTo>
                  <a:pt x="5615287" y="2296077"/>
                  <a:pt x="5614433" y="2297500"/>
                  <a:pt x="5613366" y="2298069"/>
                </a:cubicBezTo>
                <a:cubicBezTo>
                  <a:pt x="5612512" y="2298780"/>
                  <a:pt x="5611659" y="2298638"/>
                  <a:pt x="5610592" y="2297215"/>
                </a:cubicBezTo>
                <a:lnTo>
                  <a:pt x="5610165" y="2296646"/>
                </a:lnTo>
                <a:lnTo>
                  <a:pt x="5603976" y="2297927"/>
                </a:lnTo>
                <a:cubicBezTo>
                  <a:pt x="5601841" y="2294797"/>
                  <a:pt x="5602909" y="2292521"/>
                  <a:pt x="5605256" y="2291098"/>
                </a:cubicBezTo>
                <a:lnTo>
                  <a:pt x="5606323" y="2290671"/>
                </a:lnTo>
                <a:lnTo>
                  <a:pt x="5603336" y="2289675"/>
                </a:lnTo>
                <a:cubicBezTo>
                  <a:pt x="5598853" y="2289959"/>
                  <a:pt x="5593091" y="2293374"/>
                  <a:pt x="5586262" y="2287114"/>
                </a:cubicBezTo>
                <a:cubicBezTo>
                  <a:pt x="5587969" y="2285549"/>
                  <a:pt x="5585835" y="2281565"/>
                  <a:pt x="5586262" y="2278293"/>
                </a:cubicBezTo>
                <a:lnTo>
                  <a:pt x="5587329" y="2276017"/>
                </a:lnTo>
                <a:lnTo>
                  <a:pt x="5585835" y="2277155"/>
                </a:lnTo>
                <a:cubicBezTo>
                  <a:pt x="5584128" y="2276871"/>
                  <a:pt x="5583274" y="2274737"/>
                  <a:pt x="5583274" y="2272034"/>
                </a:cubicBezTo>
                <a:cubicBezTo>
                  <a:pt x="5584768" y="2272461"/>
                  <a:pt x="5586262" y="2270042"/>
                  <a:pt x="5587969" y="2270469"/>
                </a:cubicBezTo>
                <a:cubicBezTo>
                  <a:pt x="5587969" y="2270469"/>
                  <a:pt x="5588610" y="2271038"/>
                  <a:pt x="5589250" y="2271607"/>
                </a:cubicBezTo>
                <a:lnTo>
                  <a:pt x="5590317" y="2272745"/>
                </a:lnTo>
                <a:lnTo>
                  <a:pt x="5592451" y="2270753"/>
                </a:lnTo>
                <a:cubicBezTo>
                  <a:pt x="5596933" y="2267339"/>
                  <a:pt x="5599921" y="2267481"/>
                  <a:pt x="5603549" y="2269046"/>
                </a:cubicBezTo>
                <a:lnTo>
                  <a:pt x="5605256" y="2270042"/>
                </a:lnTo>
                <a:lnTo>
                  <a:pt x="5605256" y="2269615"/>
                </a:lnTo>
                <a:lnTo>
                  <a:pt x="5606323" y="2266201"/>
                </a:lnTo>
                <a:lnTo>
                  <a:pt x="5604403" y="2266485"/>
                </a:lnTo>
                <a:cubicBezTo>
                  <a:pt x="5597573" y="2259798"/>
                  <a:pt x="5607177" y="2247990"/>
                  <a:pt x="5608458" y="2244576"/>
                </a:cubicBezTo>
                <a:cubicBezTo>
                  <a:pt x="5608458" y="2244576"/>
                  <a:pt x="5608458" y="2243437"/>
                  <a:pt x="5609524" y="2242300"/>
                </a:cubicBezTo>
                <a:cubicBezTo>
                  <a:pt x="5609952" y="2241730"/>
                  <a:pt x="5610165" y="2241588"/>
                  <a:pt x="5610592" y="2241588"/>
                </a:cubicBezTo>
                <a:lnTo>
                  <a:pt x="5611232" y="2242015"/>
                </a:lnTo>
                <a:lnTo>
                  <a:pt x="5611872" y="2242015"/>
                </a:lnTo>
                <a:lnTo>
                  <a:pt x="5611659" y="2241303"/>
                </a:lnTo>
                <a:lnTo>
                  <a:pt x="5612512" y="2237036"/>
                </a:lnTo>
                <a:lnTo>
                  <a:pt x="5609952" y="2236893"/>
                </a:lnTo>
                <a:cubicBezTo>
                  <a:pt x="5608244" y="2237036"/>
                  <a:pt x="5606537" y="2237320"/>
                  <a:pt x="5606110" y="2238173"/>
                </a:cubicBezTo>
                <a:cubicBezTo>
                  <a:pt x="5605683" y="2237036"/>
                  <a:pt x="5604189" y="2236324"/>
                  <a:pt x="5604189" y="2236324"/>
                </a:cubicBezTo>
                <a:cubicBezTo>
                  <a:pt x="5605043" y="2234759"/>
                  <a:pt x="5606110" y="2234475"/>
                  <a:pt x="5607177" y="2234048"/>
                </a:cubicBezTo>
                <a:cubicBezTo>
                  <a:pt x="5608671" y="2234617"/>
                  <a:pt x="5609098" y="2235755"/>
                  <a:pt x="5610379" y="2236324"/>
                </a:cubicBezTo>
                <a:lnTo>
                  <a:pt x="5612726" y="2236040"/>
                </a:lnTo>
                <a:lnTo>
                  <a:pt x="5613366" y="2231060"/>
                </a:lnTo>
                <a:cubicBezTo>
                  <a:pt x="5614647" y="2227361"/>
                  <a:pt x="5616567" y="2223947"/>
                  <a:pt x="5619129" y="2221528"/>
                </a:cubicBezTo>
                <a:cubicBezTo>
                  <a:pt x="5618488" y="2221813"/>
                  <a:pt x="5618062" y="2221955"/>
                  <a:pt x="5617208" y="2221813"/>
                </a:cubicBezTo>
                <a:cubicBezTo>
                  <a:pt x="5616354" y="2222382"/>
                  <a:pt x="5615714" y="2221386"/>
                  <a:pt x="5614007" y="2220959"/>
                </a:cubicBezTo>
                <a:lnTo>
                  <a:pt x="5613793" y="2219678"/>
                </a:lnTo>
                <a:lnTo>
                  <a:pt x="5612299" y="2219963"/>
                </a:lnTo>
                <a:cubicBezTo>
                  <a:pt x="5609738" y="2220390"/>
                  <a:pt x="5607391" y="2220390"/>
                  <a:pt x="5606750" y="2219678"/>
                </a:cubicBezTo>
                <a:cubicBezTo>
                  <a:pt x="5608031" y="2219252"/>
                  <a:pt x="5610592" y="2218398"/>
                  <a:pt x="5613366" y="2217972"/>
                </a:cubicBezTo>
                <a:lnTo>
                  <a:pt x="5613580" y="2217972"/>
                </a:lnTo>
                <a:lnTo>
                  <a:pt x="5613580" y="2216833"/>
                </a:lnTo>
                <a:cubicBezTo>
                  <a:pt x="5613366" y="2216549"/>
                  <a:pt x="5613153" y="2216406"/>
                  <a:pt x="5612299" y="2216264"/>
                </a:cubicBezTo>
                <a:cubicBezTo>
                  <a:pt x="5612299" y="2216264"/>
                  <a:pt x="5613153" y="2215553"/>
                  <a:pt x="5613153" y="2215553"/>
                </a:cubicBezTo>
                <a:cubicBezTo>
                  <a:pt x="5613793" y="2216549"/>
                  <a:pt x="5613153" y="2215695"/>
                  <a:pt x="5613366" y="2213988"/>
                </a:cubicBezTo>
                <a:cubicBezTo>
                  <a:pt x="5615927" y="2213703"/>
                  <a:pt x="5616994" y="2213134"/>
                  <a:pt x="5618702" y="2213561"/>
                </a:cubicBezTo>
                <a:lnTo>
                  <a:pt x="5623397" y="2204883"/>
                </a:lnTo>
                <a:lnTo>
                  <a:pt x="5625958" y="2203460"/>
                </a:lnTo>
                <a:close/>
                <a:moveTo>
                  <a:pt x="1119401" y="2200324"/>
                </a:moveTo>
                <a:cubicBezTo>
                  <a:pt x="1123015" y="2198620"/>
                  <a:pt x="1127248" y="2198620"/>
                  <a:pt x="1128797" y="2201563"/>
                </a:cubicBezTo>
                <a:cubicBezTo>
                  <a:pt x="1129313" y="2202338"/>
                  <a:pt x="1129520" y="2203422"/>
                  <a:pt x="1129520" y="2204816"/>
                </a:cubicBezTo>
                <a:cubicBezTo>
                  <a:pt x="1126009" y="2210702"/>
                  <a:pt x="1121776" y="2214110"/>
                  <a:pt x="1114858" y="2211012"/>
                </a:cubicBezTo>
                <a:cubicBezTo>
                  <a:pt x="1115374" y="2210083"/>
                  <a:pt x="1114341" y="2209309"/>
                  <a:pt x="1113309" y="2208689"/>
                </a:cubicBezTo>
                <a:cubicBezTo>
                  <a:pt x="1112586" y="2204971"/>
                  <a:pt x="1115684" y="2201873"/>
                  <a:pt x="1119401" y="2200324"/>
                </a:cubicBezTo>
                <a:close/>
                <a:moveTo>
                  <a:pt x="785677" y="2200324"/>
                </a:moveTo>
                <a:cubicBezTo>
                  <a:pt x="788981" y="2199704"/>
                  <a:pt x="793627" y="2200479"/>
                  <a:pt x="795486" y="2201563"/>
                </a:cubicBezTo>
                <a:cubicBezTo>
                  <a:pt x="796312" y="2204351"/>
                  <a:pt x="795796" y="2206210"/>
                  <a:pt x="794660" y="2207605"/>
                </a:cubicBezTo>
                <a:cubicBezTo>
                  <a:pt x="791150" y="2211322"/>
                  <a:pt x="781443" y="2208689"/>
                  <a:pt x="783095" y="2201254"/>
                </a:cubicBezTo>
                <a:cubicBezTo>
                  <a:pt x="783715" y="2200789"/>
                  <a:pt x="784644" y="2200479"/>
                  <a:pt x="785677" y="2200324"/>
                </a:cubicBezTo>
                <a:close/>
                <a:moveTo>
                  <a:pt x="1094310" y="2199550"/>
                </a:moveTo>
                <a:cubicBezTo>
                  <a:pt x="1097407" y="2199085"/>
                  <a:pt x="1102570" y="2200479"/>
                  <a:pt x="1105048" y="2201718"/>
                </a:cubicBezTo>
                <a:cubicBezTo>
                  <a:pt x="1104635" y="2202338"/>
                  <a:pt x="1103809" y="2202647"/>
                  <a:pt x="1102777" y="2202802"/>
                </a:cubicBezTo>
                <a:cubicBezTo>
                  <a:pt x="1099679" y="2203112"/>
                  <a:pt x="1094516" y="2201718"/>
                  <a:pt x="1092038" y="2200479"/>
                </a:cubicBezTo>
                <a:cubicBezTo>
                  <a:pt x="1092451" y="2199859"/>
                  <a:pt x="1093277" y="2199550"/>
                  <a:pt x="1094310" y="2199550"/>
                </a:cubicBezTo>
                <a:close/>
                <a:moveTo>
                  <a:pt x="933643" y="2198620"/>
                </a:moveTo>
                <a:cubicBezTo>
                  <a:pt x="935915" y="2199550"/>
                  <a:pt x="937051" y="2200014"/>
                  <a:pt x="939012" y="2200169"/>
                </a:cubicBezTo>
                <a:cubicBezTo>
                  <a:pt x="937773" y="2203267"/>
                  <a:pt x="937773" y="2206055"/>
                  <a:pt x="937257" y="2208069"/>
                </a:cubicBezTo>
                <a:lnTo>
                  <a:pt x="936534" y="2209309"/>
                </a:lnTo>
                <a:lnTo>
                  <a:pt x="936431" y="2211787"/>
                </a:lnTo>
                <a:cubicBezTo>
                  <a:pt x="935708" y="2213800"/>
                  <a:pt x="934469" y="2215659"/>
                  <a:pt x="932714" y="2216278"/>
                </a:cubicBezTo>
                <a:cubicBezTo>
                  <a:pt x="928687" y="2218292"/>
                  <a:pt x="926002" y="2217827"/>
                  <a:pt x="923627" y="2216898"/>
                </a:cubicBezTo>
                <a:cubicBezTo>
                  <a:pt x="923627" y="2216898"/>
                  <a:pt x="923731" y="2216898"/>
                  <a:pt x="924453" y="2217208"/>
                </a:cubicBezTo>
                <a:cubicBezTo>
                  <a:pt x="925795" y="2221700"/>
                  <a:pt x="928067" y="2229445"/>
                  <a:pt x="926105" y="2231303"/>
                </a:cubicBezTo>
                <a:cubicBezTo>
                  <a:pt x="925279" y="2230994"/>
                  <a:pt x="924556" y="2230529"/>
                  <a:pt x="924143" y="2229445"/>
                </a:cubicBezTo>
                <a:cubicBezTo>
                  <a:pt x="923834" y="2228360"/>
                  <a:pt x="924660" y="2228670"/>
                  <a:pt x="923834" y="2228360"/>
                </a:cubicBezTo>
                <a:cubicBezTo>
                  <a:pt x="923524" y="2227276"/>
                  <a:pt x="923111" y="2228051"/>
                  <a:pt x="923111" y="2228051"/>
                </a:cubicBezTo>
                <a:cubicBezTo>
                  <a:pt x="923111" y="2228051"/>
                  <a:pt x="923524" y="2227276"/>
                  <a:pt x="923524" y="2227276"/>
                </a:cubicBezTo>
                <a:cubicBezTo>
                  <a:pt x="923524" y="2227276"/>
                  <a:pt x="923524" y="2227276"/>
                  <a:pt x="922801" y="2225108"/>
                </a:cubicBezTo>
                <a:cubicBezTo>
                  <a:pt x="921356" y="2222474"/>
                  <a:pt x="920633" y="2222165"/>
                  <a:pt x="919497" y="2220615"/>
                </a:cubicBezTo>
                <a:cubicBezTo>
                  <a:pt x="918878" y="2218447"/>
                  <a:pt x="919290" y="2217673"/>
                  <a:pt x="919084" y="2214730"/>
                </a:cubicBezTo>
                <a:cubicBezTo>
                  <a:pt x="920736" y="2213490"/>
                  <a:pt x="920736" y="2213645"/>
                  <a:pt x="921459" y="2213955"/>
                </a:cubicBezTo>
                <a:cubicBezTo>
                  <a:pt x="920736" y="2213645"/>
                  <a:pt x="921149" y="2212716"/>
                  <a:pt x="920839" y="2211632"/>
                </a:cubicBezTo>
                <a:cubicBezTo>
                  <a:pt x="918258" y="2207605"/>
                  <a:pt x="921975" y="2204661"/>
                  <a:pt x="927138" y="2202183"/>
                </a:cubicBezTo>
                <a:cubicBezTo>
                  <a:pt x="927448" y="2203422"/>
                  <a:pt x="930339" y="2201718"/>
                  <a:pt x="932300" y="2201718"/>
                </a:cubicBezTo>
                <a:lnTo>
                  <a:pt x="932817" y="2202028"/>
                </a:lnTo>
                <a:close/>
                <a:moveTo>
                  <a:pt x="4709534" y="2197911"/>
                </a:moveTo>
                <a:cubicBezTo>
                  <a:pt x="4709960" y="2199050"/>
                  <a:pt x="4710814" y="2201184"/>
                  <a:pt x="4710174" y="2202891"/>
                </a:cubicBezTo>
                <a:cubicBezTo>
                  <a:pt x="4710600" y="2204029"/>
                  <a:pt x="4706972" y="2204456"/>
                  <a:pt x="4706972" y="2204456"/>
                </a:cubicBezTo>
                <a:cubicBezTo>
                  <a:pt x="4705479" y="2203887"/>
                  <a:pt x="4706332" y="2199477"/>
                  <a:pt x="4705905" y="2198481"/>
                </a:cubicBezTo>
                <a:cubicBezTo>
                  <a:pt x="4706972" y="2197911"/>
                  <a:pt x="4708467" y="2198481"/>
                  <a:pt x="4709534" y="2197911"/>
                </a:cubicBezTo>
                <a:close/>
                <a:moveTo>
                  <a:pt x="1067360" y="2197381"/>
                </a:moveTo>
                <a:cubicBezTo>
                  <a:pt x="1069528" y="2197226"/>
                  <a:pt x="1072006" y="2198000"/>
                  <a:pt x="1074485" y="2199550"/>
                </a:cubicBezTo>
                <a:lnTo>
                  <a:pt x="1076550" y="2201254"/>
                </a:lnTo>
                <a:lnTo>
                  <a:pt x="1079338" y="2200634"/>
                </a:lnTo>
                <a:cubicBezTo>
                  <a:pt x="1080887" y="2200634"/>
                  <a:pt x="1082125" y="2201099"/>
                  <a:pt x="1082538" y="2201718"/>
                </a:cubicBezTo>
                <a:cubicBezTo>
                  <a:pt x="1082435" y="2202028"/>
                  <a:pt x="1082125" y="2202493"/>
                  <a:pt x="1081609" y="2202957"/>
                </a:cubicBezTo>
                <a:lnTo>
                  <a:pt x="1079854" y="2204042"/>
                </a:lnTo>
                <a:lnTo>
                  <a:pt x="1081506" y="2205436"/>
                </a:lnTo>
                <a:cubicBezTo>
                  <a:pt x="1085533" y="2210237"/>
                  <a:pt x="1087908" y="2215969"/>
                  <a:pt x="1085120" y="2219686"/>
                </a:cubicBezTo>
                <a:cubicBezTo>
                  <a:pt x="1082229" y="2215349"/>
                  <a:pt x="1078925" y="2212561"/>
                  <a:pt x="1075827" y="2209309"/>
                </a:cubicBezTo>
                <a:lnTo>
                  <a:pt x="1072109" y="2205281"/>
                </a:lnTo>
                <a:lnTo>
                  <a:pt x="1070458" y="2206210"/>
                </a:lnTo>
                <a:cubicBezTo>
                  <a:pt x="1070148" y="2205436"/>
                  <a:pt x="1069528" y="2203887"/>
                  <a:pt x="1067566" y="2203577"/>
                </a:cubicBezTo>
                <a:cubicBezTo>
                  <a:pt x="1067979" y="2202493"/>
                  <a:pt x="1068496" y="2201408"/>
                  <a:pt x="1069115" y="2200789"/>
                </a:cubicBezTo>
                <a:lnTo>
                  <a:pt x="1069322" y="2200789"/>
                </a:lnTo>
                <a:close/>
                <a:moveTo>
                  <a:pt x="5054420" y="2197200"/>
                </a:moveTo>
                <a:cubicBezTo>
                  <a:pt x="5055701" y="2197058"/>
                  <a:pt x="5057194" y="2197200"/>
                  <a:pt x="5058902" y="2197911"/>
                </a:cubicBezTo>
                <a:cubicBezTo>
                  <a:pt x="5059969" y="2201468"/>
                  <a:pt x="5057621" y="2208439"/>
                  <a:pt x="5054420" y="2209293"/>
                </a:cubicBezTo>
                <a:cubicBezTo>
                  <a:pt x="5052926" y="2208439"/>
                  <a:pt x="5051646" y="2207586"/>
                  <a:pt x="5050151" y="2206732"/>
                </a:cubicBezTo>
                <a:cubicBezTo>
                  <a:pt x="5049511" y="2202180"/>
                  <a:pt x="5050792" y="2197769"/>
                  <a:pt x="5054420" y="2197200"/>
                </a:cubicBezTo>
                <a:close/>
                <a:moveTo>
                  <a:pt x="4997223" y="2196062"/>
                </a:moveTo>
                <a:lnTo>
                  <a:pt x="4997650" y="2197343"/>
                </a:lnTo>
                <a:lnTo>
                  <a:pt x="5000638" y="2197200"/>
                </a:lnTo>
                <a:cubicBezTo>
                  <a:pt x="5004053" y="2197627"/>
                  <a:pt x="5007681" y="2198623"/>
                  <a:pt x="5011309" y="2200615"/>
                </a:cubicBezTo>
                <a:cubicBezTo>
                  <a:pt x="4996370" y="2219394"/>
                  <a:pt x="4993382" y="2235328"/>
                  <a:pt x="4984418" y="2254108"/>
                </a:cubicBezTo>
                <a:cubicBezTo>
                  <a:pt x="4978442" y="2254108"/>
                  <a:pt x="4972466" y="2251404"/>
                  <a:pt x="4963503" y="2243437"/>
                </a:cubicBezTo>
                <a:cubicBezTo>
                  <a:pt x="4987406" y="2227361"/>
                  <a:pt x="4954326" y="2216691"/>
                  <a:pt x="4972466" y="2203318"/>
                </a:cubicBezTo>
                <a:cubicBezTo>
                  <a:pt x="4976949" y="2202322"/>
                  <a:pt x="4981430" y="2200473"/>
                  <a:pt x="4986125" y="2199192"/>
                </a:cubicBezTo>
                <a:lnTo>
                  <a:pt x="4992741" y="2197627"/>
                </a:lnTo>
                <a:close/>
                <a:moveTo>
                  <a:pt x="5341896" y="2195493"/>
                </a:moveTo>
                <a:cubicBezTo>
                  <a:pt x="5344457" y="2195636"/>
                  <a:pt x="5347445" y="2196916"/>
                  <a:pt x="5350433" y="2197200"/>
                </a:cubicBezTo>
                <a:cubicBezTo>
                  <a:pt x="5348726" y="2200757"/>
                  <a:pt x="5346805" y="2202606"/>
                  <a:pt x="5344244" y="2203033"/>
                </a:cubicBezTo>
                <a:cubicBezTo>
                  <a:pt x="5341896" y="2203460"/>
                  <a:pt x="5338909" y="2202464"/>
                  <a:pt x="5335494" y="2200473"/>
                </a:cubicBezTo>
                <a:cubicBezTo>
                  <a:pt x="5337201" y="2196347"/>
                  <a:pt x="5339335" y="2195351"/>
                  <a:pt x="5341896" y="2195493"/>
                </a:cubicBezTo>
                <a:close/>
                <a:moveTo>
                  <a:pt x="5272961" y="2195208"/>
                </a:moveTo>
                <a:cubicBezTo>
                  <a:pt x="5277016" y="2201610"/>
                  <a:pt x="5279791" y="2207586"/>
                  <a:pt x="5281499" y="2213419"/>
                </a:cubicBezTo>
                <a:lnTo>
                  <a:pt x="5283632" y="2228784"/>
                </a:lnTo>
                <a:lnTo>
                  <a:pt x="5283419" y="2223235"/>
                </a:lnTo>
                <a:cubicBezTo>
                  <a:pt x="5283846" y="2221955"/>
                  <a:pt x="5284700" y="2221101"/>
                  <a:pt x="5285980" y="2220532"/>
                </a:cubicBezTo>
                <a:cubicBezTo>
                  <a:pt x="5293023" y="2216549"/>
                  <a:pt x="5303481" y="2222382"/>
                  <a:pt x="5307749" y="2232767"/>
                </a:cubicBezTo>
                <a:cubicBezTo>
                  <a:pt x="5314792" y="2248702"/>
                  <a:pt x="5311377" y="2258660"/>
                  <a:pt x="5311377" y="2258660"/>
                </a:cubicBezTo>
                <a:cubicBezTo>
                  <a:pt x="5298358" y="2264493"/>
                  <a:pt x="5291316" y="2248559"/>
                  <a:pt x="5286834" y="2238173"/>
                </a:cubicBezTo>
                <a:lnTo>
                  <a:pt x="5283846" y="2230349"/>
                </a:lnTo>
                <a:lnTo>
                  <a:pt x="5282139" y="2240592"/>
                </a:lnTo>
                <a:cubicBezTo>
                  <a:pt x="5273175" y="2238600"/>
                  <a:pt x="5272321" y="2227504"/>
                  <a:pt x="5269760" y="2219678"/>
                </a:cubicBezTo>
                <a:cubicBezTo>
                  <a:pt x="5266559" y="2221955"/>
                  <a:pt x="5262931" y="2225369"/>
                  <a:pt x="5259303" y="2227219"/>
                </a:cubicBezTo>
                <a:lnTo>
                  <a:pt x="5254181" y="2228499"/>
                </a:lnTo>
                <a:lnTo>
                  <a:pt x="5254181" y="2229211"/>
                </a:lnTo>
                <a:cubicBezTo>
                  <a:pt x="5254181" y="2229211"/>
                  <a:pt x="5254821" y="2230207"/>
                  <a:pt x="5254181" y="2231914"/>
                </a:cubicBezTo>
                <a:cubicBezTo>
                  <a:pt x="5253754" y="2233621"/>
                  <a:pt x="5253114" y="2235328"/>
                  <a:pt x="5250553" y="2235613"/>
                </a:cubicBezTo>
                <a:cubicBezTo>
                  <a:pt x="5249486" y="2225369"/>
                  <a:pt x="5247351" y="2221244"/>
                  <a:pt x="5247351" y="2213134"/>
                </a:cubicBezTo>
                <a:cubicBezTo>
                  <a:pt x="5248419" y="2212565"/>
                  <a:pt x="5248845" y="2213561"/>
                  <a:pt x="5249912" y="2212850"/>
                </a:cubicBezTo>
                <a:cubicBezTo>
                  <a:pt x="5250553" y="2213134"/>
                  <a:pt x="5251406" y="2213988"/>
                  <a:pt x="5252047" y="2215268"/>
                </a:cubicBezTo>
                <a:lnTo>
                  <a:pt x="5252900" y="2218398"/>
                </a:lnTo>
                <a:lnTo>
                  <a:pt x="5255888" y="2215980"/>
                </a:lnTo>
                <a:cubicBezTo>
                  <a:pt x="5259730" y="2213703"/>
                  <a:pt x="5264425" y="2211854"/>
                  <a:pt x="5267626" y="2208439"/>
                </a:cubicBezTo>
                <a:cubicBezTo>
                  <a:pt x="5269547" y="2204029"/>
                  <a:pt x="5265492" y="2199477"/>
                  <a:pt x="5272961" y="2195208"/>
                </a:cubicBezTo>
                <a:close/>
                <a:moveTo>
                  <a:pt x="5073414" y="2194924"/>
                </a:moveTo>
                <a:cubicBezTo>
                  <a:pt x="5074481" y="2194782"/>
                  <a:pt x="5075548" y="2194782"/>
                  <a:pt x="5076615" y="2195066"/>
                </a:cubicBezTo>
                <a:cubicBezTo>
                  <a:pt x="5078536" y="2195636"/>
                  <a:pt x="5080457" y="2197058"/>
                  <a:pt x="5082164" y="2199334"/>
                </a:cubicBezTo>
                <a:cubicBezTo>
                  <a:pt x="5083018" y="2204172"/>
                  <a:pt x="5081524" y="2208439"/>
                  <a:pt x="5078536" y="2210289"/>
                </a:cubicBezTo>
                <a:lnTo>
                  <a:pt x="5073841" y="2211285"/>
                </a:lnTo>
                <a:lnTo>
                  <a:pt x="5073841" y="2213134"/>
                </a:lnTo>
                <a:cubicBezTo>
                  <a:pt x="5072134" y="2215126"/>
                  <a:pt x="5069573" y="2214984"/>
                  <a:pt x="5067012" y="2214699"/>
                </a:cubicBezTo>
                <a:cubicBezTo>
                  <a:pt x="5065091" y="2214273"/>
                  <a:pt x="5064237" y="2213277"/>
                  <a:pt x="5064024" y="2212139"/>
                </a:cubicBezTo>
                <a:cubicBezTo>
                  <a:pt x="5063810" y="2211000"/>
                  <a:pt x="5064237" y="2209436"/>
                  <a:pt x="5064877" y="2207870"/>
                </a:cubicBezTo>
                <a:lnTo>
                  <a:pt x="5067012" y="2205737"/>
                </a:lnTo>
                <a:lnTo>
                  <a:pt x="5067012" y="2201753"/>
                </a:lnTo>
                <a:cubicBezTo>
                  <a:pt x="5067865" y="2198054"/>
                  <a:pt x="5070426" y="2195493"/>
                  <a:pt x="5073414" y="2194924"/>
                </a:cubicBezTo>
                <a:close/>
                <a:moveTo>
                  <a:pt x="4948564" y="2194497"/>
                </a:moveTo>
                <a:cubicBezTo>
                  <a:pt x="4952832" y="2194924"/>
                  <a:pt x="4957527" y="2198623"/>
                  <a:pt x="4957954" y="2205310"/>
                </a:cubicBezTo>
                <a:cubicBezTo>
                  <a:pt x="4954539" y="2208724"/>
                  <a:pt x="4951338" y="2209720"/>
                  <a:pt x="4948991" y="2210858"/>
                </a:cubicBezTo>
                <a:cubicBezTo>
                  <a:pt x="4946643" y="2208297"/>
                  <a:pt x="4944296" y="2207017"/>
                  <a:pt x="4941734" y="2204598"/>
                </a:cubicBezTo>
                <a:cubicBezTo>
                  <a:pt x="4940453" y="2197343"/>
                  <a:pt x="4944296" y="2194213"/>
                  <a:pt x="4948564" y="2194497"/>
                </a:cubicBezTo>
                <a:close/>
                <a:moveTo>
                  <a:pt x="886558" y="2194128"/>
                </a:moveTo>
                <a:cubicBezTo>
                  <a:pt x="887591" y="2197536"/>
                  <a:pt x="885113" y="2200169"/>
                  <a:pt x="885629" y="2204197"/>
                </a:cubicBezTo>
                <a:cubicBezTo>
                  <a:pt x="882841" y="2205745"/>
                  <a:pt x="882944" y="2210702"/>
                  <a:pt x="878917" y="2212716"/>
                </a:cubicBezTo>
                <a:cubicBezTo>
                  <a:pt x="878194" y="2211322"/>
                  <a:pt x="878091" y="2209618"/>
                  <a:pt x="878401" y="2207759"/>
                </a:cubicBezTo>
                <a:cubicBezTo>
                  <a:pt x="879330" y="2202183"/>
                  <a:pt x="883873" y="2195058"/>
                  <a:pt x="886558" y="2194128"/>
                </a:cubicBezTo>
                <a:close/>
                <a:moveTo>
                  <a:pt x="1007381" y="2193490"/>
                </a:moveTo>
                <a:cubicBezTo>
                  <a:pt x="1009046" y="2194090"/>
                  <a:pt x="1010259" y="2195445"/>
                  <a:pt x="1009949" y="2197846"/>
                </a:cubicBezTo>
                <a:cubicBezTo>
                  <a:pt x="1009949" y="2198620"/>
                  <a:pt x="1009330" y="2199240"/>
                  <a:pt x="1008400" y="2199550"/>
                </a:cubicBezTo>
                <a:cubicBezTo>
                  <a:pt x="1005509" y="2200479"/>
                  <a:pt x="1000037" y="2198930"/>
                  <a:pt x="1000140" y="2195367"/>
                </a:cubicBezTo>
                <a:cubicBezTo>
                  <a:pt x="1000346" y="2194748"/>
                  <a:pt x="1001069" y="2194128"/>
                  <a:pt x="1002102" y="2193664"/>
                </a:cubicBezTo>
                <a:cubicBezTo>
                  <a:pt x="1003599" y="2193044"/>
                  <a:pt x="1005716" y="2192889"/>
                  <a:pt x="1007381" y="2193490"/>
                </a:cubicBezTo>
                <a:close/>
                <a:moveTo>
                  <a:pt x="4641453" y="2193217"/>
                </a:moveTo>
                <a:cubicBezTo>
                  <a:pt x="4642093" y="2193501"/>
                  <a:pt x="4642306" y="2194070"/>
                  <a:pt x="4642306" y="2194639"/>
                </a:cubicBezTo>
                <a:cubicBezTo>
                  <a:pt x="4642093" y="2195351"/>
                  <a:pt x="4641879" y="2196205"/>
                  <a:pt x="4641453" y="2197058"/>
                </a:cubicBezTo>
                <a:cubicBezTo>
                  <a:pt x="4640812" y="2198765"/>
                  <a:pt x="4640172" y="2200330"/>
                  <a:pt x="4639532" y="2202037"/>
                </a:cubicBezTo>
                <a:cubicBezTo>
                  <a:pt x="4639532" y="2202037"/>
                  <a:pt x="4639532" y="2202037"/>
                  <a:pt x="4641453" y="2193217"/>
                </a:cubicBezTo>
                <a:close/>
                <a:moveTo>
                  <a:pt x="945208" y="2192889"/>
                </a:moveTo>
                <a:cubicBezTo>
                  <a:pt x="948409" y="2192734"/>
                  <a:pt x="948925" y="2195367"/>
                  <a:pt x="951403" y="2195677"/>
                </a:cubicBezTo>
                <a:lnTo>
                  <a:pt x="950474" y="2197072"/>
                </a:lnTo>
                <a:lnTo>
                  <a:pt x="957701" y="2201254"/>
                </a:lnTo>
                <a:cubicBezTo>
                  <a:pt x="959663" y="2203267"/>
                  <a:pt x="961109" y="2205591"/>
                  <a:pt x="962038" y="2208069"/>
                </a:cubicBezTo>
                <a:lnTo>
                  <a:pt x="962864" y="2212871"/>
                </a:lnTo>
                <a:lnTo>
                  <a:pt x="965033" y="2209928"/>
                </a:lnTo>
                <a:cubicBezTo>
                  <a:pt x="968234" y="2206675"/>
                  <a:pt x="972261" y="2203887"/>
                  <a:pt x="977527" y="2201873"/>
                </a:cubicBezTo>
                <a:cubicBezTo>
                  <a:pt x="982587" y="2204351"/>
                  <a:pt x="982070" y="2208844"/>
                  <a:pt x="979076" y="2213026"/>
                </a:cubicBezTo>
                <a:cubicBezTo>
                  <a:pt x="977217" y="2215659"/>
                  <a:pt x="974429" y="2218292"/>
                  <a:pt x="971332" y="2219996"/>
                </a:cubicBezTo>
                <a:lnTo>
                  <a:pt x="970196" y="2220461"/>
                </a:lnTo>
                <a:lnTo>
                  <a:pt x="971641" y="2222165"/>
                </a:lnTo>
                <a:cubicBezTo>
                  <a:pt x="971951" y="2223249"/>
                  <a:pt x="972054" y="2224798"/>
                  <a:pt x="971744" y="2226501"/>
                </a:cubicBezTo>
                <a:cubicBezTo>
                  <a:pt x="968957" y="2227431"/>
                  <a:pt x="965343" y="2229135"/>
                  <a:pt x="961625" y="2229600"/>
                </a:cubicBezTo>
                <a:lnTo>
                  <a:pt x="958218" y="2229445"/>
                </a:lnTo>
                <a:lnTo>
                  <a:pt x="953778" y="2234401"/>
                </a:lnTo>
                <a:cubicBezTo>
                  <a:pt x="952642" y="2233937"/>
                  <a:pt x="951609" y="2233317"/>
                  <a:pt x="950990" y="2234401"/>
                </a:cubicBezTo>
                <a:cubicBezTo>
                  <a:pt x="947376" y="2233007"/>
                  <a:pt x="944691" y="2230529"/>
                  <a:pt x="942729" y="2227276"/>
                </a:cubicBezTo>
                <a:lnTo>
                  <a:pt x="942523" y="2226501"/>
                </a:lnTo>
                <a:lnTo>
                  <a:pt x="941181" y="2228670"/>
                </a:lnTo>
                <a:cubicBezTo>
                  <a:pt x="936431" y="2227741"/>
                  <a:pt x="936534" y="2225108"/>
                  <a:pt x="936637" y="2222474"/>
                </a:cubicBezTo>
                <a:cubicBezTo>
                  <a:pt x="938186" y="2223094"/>
                  <a:pt x="939116" y="2222474"/>
                  <a:pt x="939941" y="2222010"/>
                </a:cubicBezTo>
                <a:lnTo>
                  <a:pt x="941181" y="2221855"/>
                </a:lnTo>
                <a:lnTo>
                  <a:pt x="939735" y="2216434"/>
                </a:lnTo>
                <a:cubicBezTo>
                  <a:pt x="939528" y="2210702"/>
                  <a:pt x="941284" y="2204661"/>
                  <a:pt x="945208" y="2200324"/>
                </a:cubicBezTo>
                <a:lnTo>
                  <a:pt x="945930" y="2199859"/>
                </a:lnTo>
                <a:lnTo>
                  <a:pt x="944485" y="2200324"/>
                </a:lnTo>
                <a:cubicBezTo>
                  <a:pt x="943246" y="2200169"/>
                  <a:pt x="943246" y="2200169"/>
                  <a:pt x="942833" y="2199395"/>
                </a:cubicBezTo>
                <a:cubicBezTo>
                  <a:pt x="941181" y="2198620"/>
                  <a:pt x="939941" y="2198311"/>
                  <a:pt x="939838" y="2196452"/>
                </a:cubicBezTo>
                <a:cubicBezTo>
                  <a:pt x="939941" y="2195058"/>
                  <a:pt x="940458" y="2194128"/>
                  <a:pt x="941387" y="2193664"/>
                </a:cubicBezTo>
                <a:cubicBezTo>
                  <a:pt x="942317" y="2193199"/>
                  <a:pt x="943659" y="2193044"/>
                  <a:pt x="945208" y="2192889"/>
                </a:cubicBezTo>
                <a:close/>
                <a:moveTo>
                  <a:pt x="5728613" y="2192790"/>
                </a:moveTo>
                <a:lnTo>
                  <a:pt x="5729680" y="2193217"/>
                </a:lnTo>
                <a:lnTo>
                  <a:pt x="5729893" y="2193074"/>
                </a:lnTo>
                <a:cubicBezTo>
                  <a:pt x="5730107" y="2193501"/>
                  <a:pt x="5730534" y="2193786"/>
                  <a:pt x="5730747" y="2193644"/>
                </a:cubicBezTo>
                <a:lnTo>
                  <a:pt x="5730960" y="2192790"/>
                </a:lnTo>
                <a:close/>
                <a:moveTo>
                  <a:pt x="5252474" y="2192363"/>
                </a:moveTo>
                <a:cubicBezTo>
                  <a:pt x="5257809" y="2194213"/>
                  <a:pt x="5260157" y="2197058"/>
                  <a:pt x="5260370" y="2200046"/>
                </a:cubicBezTo>
                <a:cubicBezTo>
                  <a:pt x="5260583" y="2202891"/>
                  <a:pt x="5258876" y="2205879"/>
                  <a:pt x="5256315" y="2207444"/>
                </a:cubicBezTo>
                <a:cubicBezTo>
                  <a:pt x="5254607" y="2208582"/>
                  <a:pt x="5252474" y="2209151"/>
                  <a:pt x="5250553" y="2208866"/>
                </a:cubicBezTo>
                <a:cubicBezTo>
                  <a:pt x="5247778" y="2208582"/>
                  <a:pt x="5245217" y="2206590"/>
                  <a:pt x="5243510" y="2202322"/>
                </a:cubicBezTo>
                <a:cubicBezTo>
                  <a:pt x="5246071" y="2196773"/>
                  <a:pt x="5249486" y="2195636"/>
                  <a:pt x="5252474" y="2192363"/>
                </a:cubicBezTo>
                <a:close/>
                <a:moveTo>
                  <a:pt x="5364946" y="2190941"/>
                </a:moveTo>
                <a:cubicBezTo>
                  <a:pt x="5371988" y="2191225"/>
                  <a:pt x="5377110" y="2200900"/>
                  <a:pt x="5371562" y="2206447"/>
                </a:cubicBezTo>
                <a:cubicBezTo>
                  <a:pt x="5369214" y="2205167"/>
                  <a:pt x="5366867" y="2205025"/>
                  <a:pt x="5364519" y="2203745"/>
                </a:cubicBezTo>
                <a:cubicBezTo>
                  <a:pt x="5364305" y="2199050"/>
                  <a:pt x="5359397" y="2195351"/>
                  <a:pt x="5364946" y="2190941"/>
                </a:cubicBezTo>
                <a:close/>
                <a:moveTo>
                  <a:pt x="868179" y="2190256"/>
                </a:moveTo>
                <a:cubicBezTo>
                  <a:pt x="876955" y="2189481"/>
                  <a:pt x="878711" y="2195212"/>
                  <a:pt x="876542" y="2198620"/>
                </a:cubicBezTo>
                <a:cubicBezTo>
                  <a:pt x="875820" y="2199859"/>
                  <a:pt x="874787" y="2200789"/>
                  <a:pt x="873238" y="2201099"/>
                </a:cubicBezTo>
                <a:cubicBezTo>
                  <a:pt x="871276" y="2201563"/>
                  <a:pt x="868798" y="2201099"/>
                  <a:pt x="865907" y="2198930"/>
                </a:cubicBezTo>
                <a:cubicBezTo>
                  <a:pt x="865494" y="2194748"/>
                  <a:pt x="867456" y="2193199"/>
                  <a:pt x="868179" y="2190256"/>
                </a:cubicBezTo>
                <a:close/>
                <a:moveTo>
                  <a:pt x="4794048" y="2189518"/>
                </a:moveTo>
                <a:cubicBezTo>
                  <a:pt x="4794902" y="2188949"/>
                  <a:pt x="4795542" y="2189944"/>
                  <a:pt x="4794475" y="2190514"/>
                </a:cubicBezTo>
                <a:cubicBezTo>
                  <a:pt x="4794261" y="2193217"/>
                  <a:pt x="4791273" y="2192079"/>
                  <a:pt x="4789993" y="2191510"/>
                </a:cubicBezTo>
                <a:cubicBezTo>
                  <a:pt x="4792980" y="2189944"/>
                  <a:pt x="4793621" y="2188379"/>
                  <a:pt x="4794048" y="2189518"/>
                </a:cubicBezTo>
                <a:close/>
                <a:moveTo>
                  <a:pt x="4784444" y="2187811"/>
                </a:moveTo>
                <a:cubicBezTo>
                  <a:pt x="4784231" y="2191225"/>
                  <a:pt x="4784871" y="2193786"/>
                  <a:pt x="4784657" y="2195493"/>
                </a:cubicBezTo>
                <a:cubicBezTo>
                  <a:pt x="4779749" y="2196489"/>
                  <a:pt x="4776548" y="2194213"/>
                  <a:pt x="4776974" y="2189233"/>
                </a:cubicBezTo>
                <a:cubicBezTo>
                  <a:pt x="4780176" y="2189660"/>
                  <a:pt x="4781029" y="2187384"/>
                  <a:pt x="4784444" y="2187811"/>
                </a:cubicBezTo>
                <a:close/>
                <a:moveTo>
                  <a:pt x="4703344" y="2185677"/>
                </a:moveTo>
                <a:cubicBezTo>
                  <a:pt x="4704625" y="2185677"/>
                  <a:pt x="4705692" y="2185819"/>
                  <a:pt x="4706332" y="2186530"/>
                </a:cubicBezTo>
                <a:cubicBezTo>
                  <a:pt x="4706759" y="2187242"/>
                  <a:pt x="4706972" y="2188379"/>
                  <a:pt x="4706546" y="2190656"/>
                </a:cubicBezTo>
                <a:cubicBezTo>
                  <a:pt x="4706546" y="2190656"/>
                  <a:pt x="4705479" y="2191083"/>
                  <a:pt x="4705479" y="2191083"/>
                </a:cubicBezTo>
                <a:cubicBezTo>
                  <a:pt x="4701637" y="2190514"/>
                  <a:pt x="4702277" y="2188807"/>
                  <a:pt x="4703344" y="2185677"/>
                </a:cubicBezTo>
                <a:close/>
                <a:moveTo>
                  <a:pt x="5383726" y="2185392"/>
                </a:moveTo>
                <a:cubicBezTo>
                  <a:pt x="5384794" y="2185107"/>
                  <a:pt x="5386288" y="2185392"/>
                  <a:pt x="5387995" y="2186103"/>
                </a:cubicBezTo>
                <a:cubicBezTo>
                  <a:pt x="5388635" y="2189518"/>
                  <a:pt x="5385221" y="2196631"/>
                  <a:pt x="5381806" y="2197627"/>
                </a:cubicBezTo>
                <a:cubicBezTo>
                  <a:pt x="5380525" y="2196773"/>
                  <a:pt x="5379245" y="2195920"/>
                  <a:pt x="5377964" y="2195066"/>
                </a:cubicBezTo>
                <a:cubicBezTo>
                  <a:pt x="5377964" y="2190514"/>
                  <a:pt x="5379885" y="2186103"/>
                  <a:pt x="5383726" y="2185392"/>
                </a:cubicBezTo>
                <a:close/>
                <a:moveTo>
                  <a:pt x="4822432" y="2185392"/>
                </a:moveTo>
                <a:cubicBezTo>
                  <a:pt x="4824140" y="2185392"/>
                  <a:pt x="4826488" y="2185961"/>
                  <a:pt x="4828835" y="2187669"/>
                </a:cubicBezTo>
                <a:cubicBezTo>
                  <a:pt x="4828622" y="2189375"/>
                  <a:pt x="4828622" y="2190941"/>
                  <a:pt x="4828408" y="2192648"/>
                </a:cubicBezTo>
                <a:cubicBezTo>
                  <a:pt x="4821152" y="2192363"/>
                  <a:pt x="4816670" y="2195920"/>
                  <a:pt x="4810908" y="2195778"/>
                </a:cubicBezTo>
                <a:cubicBezTo>
                  <a:pt x="4813042" y="2191794"/>
                  <a:pt x="4816670" y="2185534"/>
                  <a:pt x="4822432" y="2185392"/>
                </a:cubicBezTo>
                <a:close/>
                <a:moveTo>
                  <a:pt x="5283419" y="2185250"/>
                </a:moveTo>
                <a:cubicBezTo>
                  <a:pt x="5286620" y="2184680"/>
                  <a:pt x="5289608" y="2184965"/>
                  <a:pt x="5292810" y="2185250"/>
                </a:cubicBezTo>
                <a:cubicBezTo>
                  <a:pt x="5301560" y="2197769"/>
                  <a:pt x="5285127" y="2197485"/>
                  <a:pt x="5277230" y="2200330"/>
                </a:cubicBezTo>
                <a:cubicBezTo>
                  <a:pt x="5274242" y="2196062"/>
                  <a:pt x="5273816" y="2194639"/>
                  <a:pt x="5274029" y="2189233"/>
                </a:cubicBezTo>
                <a:cubicBezTo>
                  <a:pt x="5277230" y="2186815"/>
                  <a:pt x="5280431" y="2185677"/>
                  <a:pt x="5283419" y="2185250"/>
                </a:cubicBezTo>
                <a:close/>
                <a:moveTo>
                  <a:pt x="5002132" y="2184254"/>
                </a:moveTo>
                <a:cubicBezTo>
                  <a:pt x="5005974" y="2183542"/>
                  <a:pt x="5009602" y="2196347"/>
                  <a:pt x="4999144" y="2190514"/>
                </a:cubicBezTo>
                <a:cubicBezTo>
                  <a:pt x="4999784" y="2186103"/>
                  <a:pt x="5001065" y="2184396"/>
                  <a:pt x="5002132" y="2184254"/>
                </a:cubicBezTo>
                <a:close/>
                <a:moveTo>
                  <a:pt x="5730320" y="2183685"/>
                </a:moveTo>
                <a:cubicBezTo>
                  <a:pt x="5736936" y="2183827"/>
                  <a:pt x="5742699" y="2185677"/>
                  <a:pt x="5743766" y="2192506"/>
                </a:cubicBezTo>
                <a:cubicBezTo>
                  <a:pt x="5742058" y="2192506"/>
                  <a:pt x="5739071" y="2192648"/>
                  <a:pt x="5735869" y="2192790"/>
                </a:cubicBezTo>
                <a:lnTo>
                  <a:pt x="5732241" y="2192790"/>
                </a:lnTo>
                <a:lnTo>
                  <a:pt x="5735656" y="2193501"/>
                </a:lnTo>
                <a:cubicBezTo>
                  <a:pt x="5736723" y="2193928"/>
                  <a:pt x="5736936" y="2194782"/>
                  <a:pt x="5736296" y="2196347"/>
                </a:cubicBezTo>
                <a:cubicBezTo>
                  <a:pt x="5736083" y="2199050"/>
                  <a:pt x="5733522" y="2199050"/>
                  <a:pt x="5732241" y="2202180"/>
                </a:cubicBezTo>
                <a:cubicBezTo>
                  <a:pt x="5731601" y="2205167"/>
                  <a:pt x="5733948" y="2207302"/>
                  <a:pt x="5736083" y="2210004"/>
                </a:cubicBezTo>
                <a:lnTo>
                  <a:pt x="5736510" y="2210716"/>
                </a:lnTo>
                <a:cubicBezTo>
                  <a:pt x="5737363" y="2211427"/>
                  <a:pt x="5738003" y="2212708"/>
                  <a:pt x="5738217" y="2213846"/>
                </a:cubicBezTo>
                <a:lnTo>
                  <a:pt x="5738217" y="2214131"/>
                </a:lnTo>
                <a:lnTo>
                  <a:pt x="5738857" y="2214984"/>
                </a:lnTo>
                <a:cubicBezTo>
                  <a:pt x="5739497" y="2216976"/>
                  <a:pt x="5739497" y="2219394"/>
                  <a:pt x="5738857" y="2222382"/>
                </a:cubicBezTo>
                <a:cubicBezTo>
                  <a:pt x="5735869" y="2221386"/>
                  <a:pt x="5732241" y="2228357"/>
                  <a:pt x="5727759" y="2226650"/>
                </a:cubicBezTo>
                <a:lnTo>
                  <a:pt x="5724558" y="2225512"/>
                </a:lnTo>
                <a:lnTo>
                  <a:pt x="5725198" y="2228072"/>
                </a:lnTo>
                <a:cubicBezTo>
                  <a:pt x="5716021" y="2230634"/>
                  <a:pt x="5704710" y="2230349"/>
                  <a:pt x="5702149" y="2230064"/>
                </a:cubicBezTo>
                <a:cubicBezTo>
                  <a:pt x="5700868" y="2229922"/>
                  <a:pt x="5700015" y="2229637"/>
                  <a:pt x="5699801" y="2229069"/>
                </a:cubicBezTo>
                <a:cubicBezTo>
                  <a:pt x="5699374" y="2228357"/>
                  <a:pt x="5699374" y="2227361"/>
                  <a:pt x="5699588" y="2226081"/>
                </a:cubicBezTo>
                <a:cubicBezTo>
                  <a:pt x="5703003" y="2220959"/>
                  <a:pt x="5708551" y="2222382"/>
                  <a:pt x="5714527" y="2221244"/>
                </a:cubicBezTo>
                <a:cubicBezTo>
                  <a:pt x="5714741" y="2222382"/>
                  <a:pt x="5716234" y="2223093"/>
                  <a:pt x="5717302" y="2222667"/>
                </a:cubicBezTo>
                <a:lnTo>
                  <a:pt x="5718796" y="2223235"/>
                </a:lnTo>
                <a:lnTo>
                  <a:pt x="5715808" y="2220390"/>
                </a:lnTo>
                <a:cubicBezTo>
                  <a:pt x="5714314" y="2217687"/>
                  <a:pt x="5714527" y="2214273"/>
                  <a:pt x="5714741" y="2209720"/>
                </a:cubicBezTo>
                <a:cubicBezTo>
                  <a:pt x="5715168" y="2210858"/>
                  <a:pt x="5715808" y="2209151"/>
                  <a:pt x="5715808" y="2209151"/>
                </a:cubicBezTo>
                <a:cubicBezTo>
                  <a:pt x="5717088" y="2205879"/>
                  <a:pt x="5710259" y="2208155"/>
                  <a:pt x="5711113" y="2203745"/>
                </a:cubicBezTo>
                <a:cubicBezTo>
                  <a:pt x="5713246" y="2196916"/>
                  <a:pt x="5721570" y="2194782"/>
                  <a:pt x="5726052" y="2194070"/>
                </a:cubicBezTo>
                <a:lnTo>
                  <a:pt x="5728613" y="2193644"/>
                </a:lnTo>
                <a:lnTo>
                  <a:pt x="5728186" y="2192790"/>
                </a:lnTo>
                <a:lnTo>
                  <a:pt x="5725625" y="2192790"/>
                </a:lnTo>
                <a:cubicBezTo>
                  <a:pt x="5719009" y="2192221"/>
                  <a:pt x="5713033" y="2190514"/>
                  <a:pt x="5712393" y="2185392"/>
                </a:cubicBezTo>
                <a:cubicBezTo>
                  <a:pt x="5716661" y="2185107"/>
                  <a:pt x="5723917" y="2183542"/>
                  <a:pt x="5730320" y="2183685"/>
                </a:cubicBezTo>
                <a:close/>
                <a:moveTo>
                  <a:pt x="4912923" y="2183542"/>
                </a:moveTo>
                <a:cubicBezTo>
                  <a:pt x="4918471" y="2194355"/>
                  <a:pt x="4924874" y="2182547"/>
                  <a:pt x="4929569" y="2190941"/>
                </a:cubicBezTo>
                <a:cubicBezTo>
                  <a:pt x="4929996" y="2194497"/>
                  <a:pt x="4931490" y="2198481"/>
                  <a:pt x="4930637" y="2202464"/>
                </a:cubicBezTo>
                <a:lnTo>
                  <a:pt x="4930210" y="2203318"/>
                </a:lnTo>
                <a:cubicBezTo>
                  <a:pt x="4931703" y="2204741"/>
                  <a:pt x="4932344" y="2206163"/>
                  <a:pt x="4932770" y="2207586"/>
                </a:cubicBezTo>
                <a:lnTo>
                  <a:pt x="4929996" y="2214557"/>
                </a:lnTo>
                <a:lnTo>
                  <a:pt x="4931063" y="2215268"/>
                </a:lnTo>
                <a:cubicBezTo>
                  <a:pt x="4928716" y="2218541"/>
                  <a:pt x="4922740" y="2219394"/>
                  <a:pt x="4917191" y="2218968"/>
                </a:cubicBezTo>
                <a:lnTo>
                  <a:pt x="4911428" y="2217829"/>
                </a:lnTo>
                <a:lnTo>
                  <a:pt x="4911215" y="2218398"/>
                </a:lnTo>
                <a:cubicBezTo>
                  <a:pt x="4911215" y="2219536"/>
                  <a:pt x="4911215" y="2220390"/>
                  <a:pt x="4911215" y="2221813"/>
                </a:cubicBezTo>
                <a:cubicBezTo>
                  <a:pt x="4909935" y="2225085"/>
                  <a:pt x="4908868" y="2225512"/>
                  <a:pt x="4906520" y="2229211"/>
                </a:cubicBezTo>
                <a:cubicBezTo>
                  <a:pt x="4903959" y="2229211"/>
                  <a:pt x="4903745" y="2229353"/>
                  <a:pt x="4903319" y="2228215"/>
                </a:cubicBezTo>
                <a:cubicBezTo>
                  <a:pt x="4903745" y="2229353"/>
                  <a:pt x="4902892" y="2229780"/>
                  <a:pt x="4902252" y="2231345"/>
                </a:cubicBezTo>
                <a:cubicBezTo>
                  <a:pt x="4901612" y="2234901"/>
                  <a:pt x="4899690" y="2236751"/>
                  <a:pt x="4897129" y="2237605"/>
                </a:cubicBezTo>
                <a:lnTo>
                  <a:pt x="4896916" y="2237605"/>
                </a:lnTo>
                <a:lnTo>
                  <a:pt x="4894995" y="2240165"/>
                </a:lnTo>
                <a:cubicBezTo>
                  <a:pt x="4888593" y="2245002"/>
                  <a:pt x="4879202" y="2246141"/>
                  <a:pt x="4868318" y="2237747"/>
                </a:cubicBezTo>
                <a:lnTo>
                  <a:pt x="4868318" y="2236182"/>
                </a:lnTo>
                <a:lnTo>
                  <a:pt x="4866824" y="2241303"/>
                </a:lnTo>
                <a:cubicBezTo>
                  <a:pt x="4864690" y="2242015"/>
                  <a:pt x="4862769" y="2241730"/>
                  <a:pt x="4861061" y="2240877"/>
                </a:cubicBezTo>
                <a:lnTo>
                  <a:pt x="4859354" y="2239027"/>
                </a:lnTo>
                <a:lnTo>
                  <a:pt x="4858928" y="2242300"/>
                </a:lnTo>
                <a:cubicBezTo>
                  <a:pt x="4855726" y="2241873"/>
                  <a:pt x="4853165" y="2242300"/>
                  <a:pt x="4850817" y="2241161"/>
                </a:cubicBezTo>
                <a:cubicBezTo>
                  <a:pt x="4849750" y="2238031"/>
                  <a:pt x="4850390" y="2236040"/>
                  <a:pt x="4851885" y="2234901"/>
                </a:cubicBezTo>
                <a:lnTo>
                  <a:pt x="4856153" y="2234759"/>
                </a:lnTo>
                <a:lnTo>
                  <a:pt x="4854873" y="2231629"/>
                </a:lnTo>
                <a:cubicBezTo>
                  <a:pt x="4850817" y="2232767"/>
                  <a:pt x="4845695" y="2232056"/>
                  <a:pt x="4842921" y="2229069"/>
                </a:cubicBezTo>
                <a:cubicBezTo>
                  <a:pt x="4846549" y="2223378"/>
                  <a:pt x="4849964" y="2219821"/>
                  <a:pt x="4855299" y="2220532"/>
                </a:cubicBezTo>
                <a:cubicBezTo>
                  <a:pt x="4857006" y="2220817"/>
                  <a:pt x="4858928" y="2221670"/>
                  <a:pt x="4861275" y="2222809"/>
                </a:cubicBezTo>
                <a:lnTo>
                  <a:pt x="4860848" y="2224800"/>
                </a:lnTo>
                <a:lnTo>
                  <a:pt x="4864049" y="2226934"/>
                </a:lnTo>
                <a:lnTo>
                  <a:pt x="4868531" y="2235613"/>
                </a:lnTo>
                <a:lnTo>
                  <a:pt x="4869599" y="2225654"/>
                </a:lnTo>
                <a:cubicBezTo>
                  <a:pt x="4872800" y="2214415"/>
                  <a:pt x="4880910" y="2206732"/>
                  <a:pt x="4890727" y="2208155"/>
                </a:cubicBezTo>
                <a:cubicBezTo>
                  <a:pt x="4894782" y="2209436"/>
                  <a:pt x="4897556" y="2211427"/>
                  <a:pt x="4899690" y="2213988"/>
                </a:cubicBezTo>
                <a:lnTo>
                  <a:pt x="4901612" y="2219252"/>
                </a:lnTo>
                <a:lnTo>
                  <a:pt x="4903959" y="2222809"/>
                </a:lnTo>
                <a:cubicBezTo>
                  <a:pt x="4903959" y="2222809"/>
                  <a:pt x="4903959" y="2222809"/>
                  <a:pt x="4903532" y="2221670"/>
                </a:cubicBezTo>
                <a:lnTo>
                  <a:pt x="4906093" y="2215553"/>
                </a:lnTo>
                <a:lnTo>
                  <a:pt x="4904599" y="2214557"/>
                </a:lnTo>
                <a:lnTo>
                  <a:pt x="4906947" y="2213846"/>
                </a:lnTo>
                <a:lnTo>
                  <a:pt x="4908441" y="2210289"/>
                </a:lnTo>
                <a:cubicBezTo>
                  <a:pt x="4910361" y="2206590"/>
                  <a:pt x="4912283" y="2203602"/>
                  <a:pt x="4914203" y="2203460"/>
                </a:cubicBezTo>
                <a:cubicBezTo>
                  <a:pt x="4914630" y="2204456"/>
                  <a:pt x="4915057" y="2205594"/>
                  <a:pt x="4914416" y="2207159"/>
                </a:cubicBezTo>
                <a:cubicBezTo>
                  <a:pt x="4913776" y="2208866"/>
                  <a:pt x="4913349" y="2207728"/>
                  <a:pt x="4913776" y="2208866"/>
                </a:cubicBezTo>
                <a:cubicBezTo>
                  <a:pt x="4913136" y="2210431"/>
                  <a:pt x="4914203" y="2209862"/>
                  <a:pt x="4914203" y="2209862"/>
                </a:cubicBezTo>
                <a:cubicBezTo>
                  <a:pt x="4914203" y="2209862"/>
                  <a:pt x="4913136" y="2210431"/>
                  <a:pt x="4913136" y="2210431"/>
                </a:cubicBezTo>
                <a:cubicBezTo>
                  <a:pt x="4913136" y="2210431"/>
                  <a:pt x="4913136" y="2210431"/>
                  <a:pt x="4912923" y="2210716"/>
                </a:cubicBezTo>
                <a:lnTo>
                  <a:pt x="4912496" y="2212139"/>
                </a:lnTo>
                <a:lnTo>
                  <a:pt x="4917191" y="2210716"/>
                </a:lnTo>
                <a:lnTo>
                  <a:pt x="4916124" y="2209293"/>
                </a:lnTo>
                <a:cubicBezTo>
                  <a:pt x="4916978" y="2206590"/>
                  <a:pt x="4918258" y="2205025"/>
                  <a:pt x="4919752" y="2203602"/>
                </a:cubicBezTo>
                <a:lnTo>
                  <a:pt x="4922313" y="2201042"/>
                </a:lnTo>
                <a:lnTo>
                  <a:pt x="4918045" y="2197485"/>
                </a:lnTo>
                <a:cubicBezTo>
                  <a:pt x="4914630" y="2195208"/>
                  <a:pt x="4911002" y="2193217"/>
                  <a:pt x="4907374" y="2190514"/>
                </a:cubicBezTo>
                <a:cubicBezTo>
                  <a:pt x="4907587" y="2188237"/>
                  <a:pt x="4909081" y="2186246"/>
                  <a:pt x="4912923" y="2183542"/>
                </a:cubicBezTo>
                <a:close/>
                <a:moveTo>
                  <a:pt x="5773858" y="2182974"/>
                </a:moveTo>
                <a:cubicBezTo>
                  <a:pt x="5773644" y="2186957"/>
                  <a:pt x="5768736" y="2193928"/>
                  <a:pt x="5762547" y="2195778"/>
                </a:cubicBezTo>
                <a:lnTo>
                  <a:pt x="5758492" y="2195636"/>
                </a:lnTo>
                <a:lnTo>
                  <a:pt x="5761480" y="2197343"/>
                </a:lnTo>
                <a:cubicBezTo>
                  <a:pt x="5762333" y="2198908"/>
                  <a:pt x="5762973" y="2200900"/>
                  <a:pt x="5762973" y="2202749"/>
                </a:cubicBezTo>
                <a:cubicBezTo>
                  <a:pt x="5762547" y="2201753"/>
                  <a:pt x="5762547" y="2201753"/>
                  <a:pt x="5762547" y="2201753"/>
                </a:cubicBezTo>
                <a:cubicBezTo>
                  <a:pt x="5761053" y="2201184"/>
                  <a:pt x="5761480" y="2202180"/>
                  <a:pt x="5760413" y="2202749"/>
                </a:cubicBezTo>
                <a:cubicBezTo>
                  <a:pt x="5760413" y="2202749"/>
                  <a:pt x="5761480" y="2202180"/>
                  <a:pt x="5760839" y="2203887"/>
                </a:cubicBezTo>
                <a:cubicBezTo>
                  <a:pt x="5760413" y="2202749"/>
                  <a:pt x="5759345" y="2203318"/>
                  <a:pt x="5758278" y="2203887"/>
                </a:cubicBezTo>
                <a:cubicBezTo>
                  <a:pt x="5755077" y="2202749"/>
                  <a:pt x="5751662" y="2200473"/>
                  <a:pt x="5751876" y="2197769"/>
                </a:cubicBezTo>
                <a:cubicBezTo>
                  <a:pt x="5752516" y="2196205"/>
                  <a:pt x="5753583" y="2195351"/>
                  <a:pt x="5754650" y="2195066"/>
                </a:cubicBezTo>
                <a:lnTo>
                  <a:pt x="5756357" y="2195066"/>
                </a:lnTo>
                <a:lnTo>
                  <a:pt x="5759132" y="2188949"/>
                </a:lnTo>
                <a:cubicBezTo>
                  <a:pt x="5762973" y="2183970"/>
                  <a:pt x="5768522" y="2183685"/>
                  <a:pt x="5773858" y="2182974"/>
                </a:cubicBezTo>
                <a:close/>
                <a:moveTo>
                  <a:pt x="5083658" y="2182689"/>
                </a:moveTo>
                <a:cubicBezTo>
                  <a:pt x="5085579" y="2184965"/>
                  <a:pt x="5086859" y="2187242"/>
                  <a:pt x="5087927" y="2189518"/>
                </a:cubicBezTo>
                <a:cubicBezTo>
                  <a:pt x="5090914" y="2196347"/>
                  <a:pt x="5090914" y="2202749"/>
                  <a:pt x="5094329" y="2206732"/>
                </a:cubicBezTo>
                <a:cubicBezTo>
                  <a:pt x="5094329" y="2206732"/>
                  <a:pt x="5094329" y="2206732"/>
                  <a:pt x="5093049" y="2210004"/>
                </a:cubicBezTo>
                <a:cubicBezTo>
                  <a:pt x="5093476" y="2211000"/>
                  <a:pt x="5093476" y="2211000"/>
                  <a:pt x="5093476" y="2211000"/>
                </a:cubicBezTo>
                <a:cubicBezTo>
                  <a:pt x="5093902" y="2212139"/>
                  <a:pt x="5091768" y="2213134"/>
                  <a:pt x="5091768" y="2213134"/>
                </a:cubicBezTo>
                <a:cubicBezTo>
                  <a:pt x="5089207" y="2213134"/>
                  <a:pt x="5088994" y="2209436"/>
                  <a:pt x="5088140" y="2207302"/>
                </a:cubicBezTo>
                <a:cubicBezTo>
                  <a:pt x="5085579" y="2207302"/>
                  <a:pt x="5088567" y="2201895"/>
                  <a:pt x="5086006" y="2201895"/>
                </a:cubicBezTo>
                <a:cubicBezTo>
                  <a:pt x="5088780" y="2195493"/>
                  <a:pt x="5081311" y="2192932"/>
                  <a:pt x="5083658" y="2182689"/>
                </a:cubicBezTo>
                <a:close/>
                <a:moveTo>
                  <a:pt x="5406136" y="2182547"/>
                </a:moveTo>
                <a:cubicBezTo>
                  <a:pt x="5408056" y="2183116"/>
                  <a:pt x="5409764" y="2184396"/>
                  <a:pt x="5411044" y="2186672"/>
                </a:cubicBezTo>
                <a:cubicBezTo>
                  <a:pt x="5411258" y="2191510"/>
                  <a:pt x="5409123" y="2195778"/>
                  <a:pt x="5406136" y="2197769"/>
                </a:cubicBezTo>
                <a:cubicBezTo>
                  <a:pt x="5402935" y="2199761"/>
                  <a:pt x="5398666" y="2199477"/>
                  <a:pt x="5394824" y="2195066"/>
                </a:cubicBezTo>
                <a:cubicBezTo>
                  <a:pt x="5394184" y="2187099"/>
                  <a:pt x="5400587" y="2181124"/>
                  <a:pt x="5406136" y="2182547"/>
                </a:cubicBezTo>
                <a:close/>
                <a:moveTo>
                  <a:pt x="1020172" y="2182511"/>
                </a:moveTo>
                <a:cubicBezTo>
                  <a:pt x="1021307" y="2182821"/>
                  <a:pt x="1021307" y="2182666"/>
                  <a:pt x="1022547" y="2182976"/>
                </a:cubicBezTo>
                <a:cubicBezTo>
                  <a:pt x="1023372" y="2184215"/>
                  <a:pt x="1025025" y="2184989"/>
                  <a:pt x="1025128" y="2186848"/>
                </a:cubicBezTo>
                <a:cubicBezTo>
                  <a:pt x="1024818" y="2188087"/>
                  <a:pt x="1023579" y="2189172"/>
                  <a:pt x="1022237" y="2189946"/>
                </a:cubicBezTo>
                <a:lnTo>
                  <a:pt x="1020069" y="2190721"/>
                </a:lnTo>
                <a:lnTo>
                  <a:pt x="1020998" y="2191495"/>
                </a:lnTo>
                <a:cubicBezTo>
                  <a:pt x="1021411" y="2192424"/>
                  <a:pt x="1020998" y="2193819"/>
                  <a:pt x="1020688" y="2195832"/>
                </a:cubicBezTo>
                <a:cubicBezTo>
                  <a:pt x="1016970" y="2195522"/>
                  <a:pt x="1016455" y="2193664"/>
                  <a:pt x="1016558" y="2190101"/>
                </a:cubicBezTo>
                <a:lnTo>
                  <a:pt x="1016970" y="2190256"/>
                </a:lnTo>
                <a:lnTo>
                  <a:pt x="1016145" y="2189481"/>
                </a:lnTo>
                <a:cubicBezTo>
                  <a:pt x="1015732" y="2188552"/>
                  <a:pt x="1015732" y="2187313"/>
                  <a:pt x="1016041" y="2186229"/>
                </a:cubicBezTo>
                <a:cubicBezTo>
                  <a:pt x="1016041" y="2185299"/>
                  <a:pt x="1016455" y="2184370"/>
                  <a:pt x="1017281" y="2183750"/>
                </a:cubicBezTo>
                <a:cubicBezTo>
                  <a:pt x="1018106" y="2183131"/>
                  <a:pt x="1019139" y="2182666"/>
                  <a:pt x="1020172" y="2182511"/>
                </a:cubicBezTo>
                <a:close/>
                <a:moveTo>
                  <a:pt x="4960302" y="2182262"/>
                </a:moveTo>
                <a:cubicBezTo>
                  <a:pt x="4961369" y="2182120"/>
                  <a:pt x="4962650" y="2182405"/>
                  <a:pt x="4963716" y="2183827"/>
                </a:cubicBezTo>
                <a:cubicBezTo>
                  <a:pt x="4963076" y="2185250"/>
                  <a:pt x="4962650" y="2187811"/>
                  <a:pt x="4960942" y="2189660"/>
                </a:cubicBezTo>
                <a:cubicBezTo>
                  <a:pt x="4954326" y="2188522"/>
                  <a:pt x="4956887" y="2182831"/>
                  <a:pt x="4960302" y="2182262"/>
                </a:cubicBezTo>
                <a:close/>
                <a:moveTo>
                  <a:pt x="5308816" y="2181978"/>
                </a:moveTo>
                <a:cubicBezTo>
                  <a:pt x="5310097" y="2182262"/>
                  <a:pt x="5311591" y="2182974"/>
                  <a:pt x="5312871" y="2184538"/>
                </a:cubicBezTo>
                <a:cubicBezTo>
                  <a:pt x="5313512" y="2195493"/>
                  <a:pt x="5303054" y="2198338"/>
                  <a:pt x="5298145" y="2194355"/>
                </a:cubicBezTo>
                <a:cubicBezTo>
                  <a:pt x="5296438" y="2193074"/>
                  <a:pt x="5295371" y="2190941"/>
                  <a:pt x="5295371" y="2188095"/>
                </a:cubicBezTo>
                <a:cubicBezTo>
                  <a:pt x="5300066" y="2185107"/>
                  <a:pt x="5304548" y="2181124"/>
                  <a:pt x="5308816" y="2181978"/>
                </a:cubicBezTo>
                <a:close/>
                <a:moveTo>
                  <a:pt x="1043714" y="2181891"/>
                </a:moveTo>
                <a:cubicBezTo>
                  <a:pt x="1044333" y="2182976"/>
                  <a:pt x="1044643" y="2183905"/>
                  <a:pt x="1044747" y="2184989"/>
                </a:cubicBezTo>
                <a:lnTo>
                  <a:pt x="1044024" y="2187622"/>
                </a:lnTo>
                <a:lnTo>
                  <a:pt x="1044850" y="2186074"/>
                </a:lnTo>
                <a:cubicBezTo>
                  <a:pt x="1045779" y="2185299"/>
                  <a:pt x="1046812" y="2184370"/>
                  <a:pt x="1048464" y="2185144"/>
                </a:cubicBezTo>
                <a:cubicBezTo>
                  <a:pt x="1045572" y="2191960"/>
                  <a:pt x="1045366" y="2195367"/>
                  <a:pt x="1042475" y="2200634"/>
                </a:cubicBezTo>
                <a:cubicBezTo>
                  <a:pt x="1041546" y="2200634"/>
                  <a:pt x="1041649" y="2199704"/>
                  <a:pt x="1040823" y="2199859"/>
                </a:cubicBezTo>
                <a:cubicBezTo>
                  <a:pt x="1040306" y="2199395"/>
                  <a:pt x="1040203" y="2198620"/>
                  <a:pt x="1040306" y="2197536"/>
                </a:cubicBezTo>
                <a:cubicBezTo>
                  <a:pt x="1040410" y="2194438"/>
                  <a:pt x="1042268" y="2189636"/>
                  <a:pt x="1042991" y="2189481"/>
                </a:cubicBezTo>
                <a:lnTo>
                  <a:pt x="1043508" y="2188552"/>
                </a:lnTo>
                <a:lnTo>
                  <a:pt x="1038861" y="2193664"/>
                </a:lnTo>
                <a:cubicBezTo>
                  <a:pt x="1034318" y="2197072"/>
                  <a:pt x="1028329" y="2199395"/>
                  <a:pt x="1025231" y="2199704"/>
                </a:cubicBezTo>
                <a:cubicBezTo>
                  <a:pt x="1029259" y="2193664"/>
                  <a:pt x="1036383" y="2184060"/>
                  <a:pt x="1043714" y="2181891"/>
                </a:cubicBezTo>
                <a:close/>
                <a:moveTo>
                  <a:pt x="1009743" y="2180343"/>
                </a:moveTo>
                <a:cubicBezTo>
                  <a:pt x="1008503" y="2182511"/>
                  <a:pt x="1008917" y="2183595"/>
                  <a:pt x="1008091" y="2183286"/>
                </a:cubicBezTo>
                <a:cubicBezTo>
                  <a:pt x="1007678" y="2183905"/>
                  <a:pt x="1006955" y="2183595"/>
                  <a:pt x="1007368" y="2182976"/>
                </a:cubicBezTo>
                <a:cubicBezTo>
                  <a:pt x="1006232" y="2181427"/>
                  <a:pt x="1008607" y="2180807"/>
                  <a:pt x="1009743" y="2180343"/>
                </a:cubicBezTo>
                <a:close/>
                <a:moveTo>
                  <a:pt x="994874" y="2179878"/>
                </a:moveTo>
                <a:cubicBezTo>
                  <a:pt x="995080" y="2179878"/>
                  <a:pt x="995700" y="2180188"/>
                  <a:pt x="996629" y="2180188"/>
                </a:cubicBezTo>
                <a:cubicBezTo>
                  <a:pt x="997765" y="2180498"/>
                  <a:pt x="998488" y="2180033"/>
                  <a:pt x="998178" y="2181117"/>
                </a:cubicBezTo>
                <a:cubicBezTo>
                  <a:pt x="997868" y="2182201"/>
                  <a:pt x="997971" y="2182201"/>
                  <a:pt x="995803" y="2183286"/>
                </a:cubicBezTo>
                <a:cubicBezTo>
                  <a:pt x="996113" y="2182356"/>
                  <a:pt x="996010" y="2182201"/>
                  <a:pt x="994874" y="2181891"/>
                </a:cubicBezTo>
                <a:cubicBezTo>
                  <a:pt x="994874" y="2181891"/>
                  <a:pt x="994874" y="2181891"/>
                  <a:pt x="994151" y="2182201"/>
                </a:cubicBezTo>
                <a:cubicBezTo>
                  <a:pt x="993738" y="2181582"/>
                  <a:pt x="994461" y="2181272"/>
                  <a:pt x="994048" y="2180498"/>
                </a:cubicBezTo>
                <a:cubicBezTo>
                  <a:pt x="994048" y="2180498"/>
                  <a:pt x="994770" y="2180188"/>
                  <a:pt x="994770" y="2180188"/>
                </a:cubicBezTo>
                <a:cubicBezTo>
                  <a:pt x="994564" y="2179723"/>
                  <a:pt x="994564" y="2179723"/>
                  <a:pt x="994874" y="2179878"/>
                </a:cubicBezTo>
                <a:close/>
                <a:moveTo>
                  <a:pt x="883047" y="2179568"/>
                </a:moveTo>
                <a:cubicBezTo>
                  <a:pt x="886042" y="2178484"/>
                  <a:pt x="890275" y="2179568"/>
                  <a:pt x="892444" y="2183905"/>
                </a:cubicBezTo>
                <a:cubicBezTo>
                  <a:pt x="891308" y="2187158"/>
                  <a:pt x="889346" y="2188862"/>
                  <a:pt x="888210" y="2190256"/>
                </a:cubicBezTo>
                <a:cubicBezTo>
                  <a:pt x="885835" y="2189326"/>
                  <a:pt x="883873" y="2189172"/>
                  <a:pt x="881499" y="2188243"/>
                </a:cubicBezTo>
                <a:cubicBezTo>
                  <a:pt x="880776" y="2187158"/>
                  <a:pt x="880260" y="2186074"/>
                  <a:pt x="880053" y="2185144"/>
                </a:cubicBezTo>
                <a:cubicBezTo>
                  <a:pt x="879847" y="2184215"/>
                  <a:pt x="879847" y="2183440"/>
                  <a:pt x="880053" y="2182666"/>
                </a:cubicBezTo>
                <a:cubicBezTo>
                  <a:pt x="880466" y="2181117"/>
                  <a:pt x="881602" y="2180033"/>
                  <a:pt x="883047" y="2179568"/>
                </a:cubicBezTo>
                <a:close/>
                <a:moveTo>
                  <a:pt x="978559" y="2179258"/>
                </a:moveTo>
                <a:cubicBezTo>
                  <a:pt x="976701" y="2182821"/>
                  <a:pt x="974946" y="2186383"/>
                  <a:pt x="972674" y="2189791"/>
                </a:cubicBezTo>
                <a:cubicBezTo>
                  <a:pt x="970299" y="2193199"/>
                  <a:pt x="967304" y="2196297"/>
                  <a:pt x="962658" y="2198776"/>
                </a:cubicBezTo>
                <a:cubicBezTo>
                  <a:pt x="962348" y="2197691"/>
                  <a:pt x="962245" y="2196452"/>
                  <a:pt x="962348" y="2195367"/>
                </a:cubicBezTo>
                <a:cubicBezTo>
                  <a:pt x="963071" y="2187468"/>
                  <a:pt x="972777" y="2181427"/>
                  <a:pt x="978559" y="2179258"/>
                </a:cubicBezTo>
                <a:close/>
                <a:moveTo>
                  <a:pt x="942420" y="2179103"/>
                </a:moveTo>
                <a:cubicBezTo>
                  <a:pt x="944691" y="2178329"/>
                  <a:pt x="948822" y="2179413"/>
                  <a:pt x="949957" y="2181736"/>
                </a:cubicBezTo>
                <a:cubicBezTo>
                  <a:pt x="949544" y="2184679"/>
                  <a:pt x="947686" y="2184370"/>
                  <a:pt x="947686" y="2186229"/>
                </a:cubicBezTo>
                <a:cubicBezTo>
                  <a:pt x="943556" y="2185144"/>
                  <a:pt x="942420" y="2182821"/>
                  <a:pt x="942420" y="2179103"/>
                </a:cubicBezTo>
                <a:close/>
                <a:moveTo>
                  <a:pt x="5157928" y="2178990"/>
                </a:moveTo>
                <a:lnTo>
                  <a:pt x="5160916" y="2183970"/>
                </a:lnTo>
                <a:lnTo>
                  <a:pt x="5163051" y="2184823"/>
                </a:lnTo>
                <a:lnTo>
                  <a:pt x="5167959" y="2191652"/>
                </a:lnTo>
                <a:lnTo>
                  <a:pt x="5172014" y="2192079"/>
                </a:lnTo>
                <a:cubicBezTo>
                  <a:pt x="5173295" y="2192790"/>
                  <a:pt x="5173935" y="2194070"/>
                  <a:pt x="5173508" y="2195778"/>
                </a:cubicBezTo>
                <a:lnTo>
                  <a:pt x="5168813" y="2197343"/>
                </a:lnTo>
                <a:lnTo>
                  <a:pt x="5168386" y="2203175"/>
                </a:lnTo>
                <a:lnTo>
                  <a:pt x="5166679" y="2204741"/>
                </a:lnTo>
                <a:lnTo>
                  <a:pt x="5166679" y="2205594"/>
                </a:lnTo>
                <a:cubicBezTo>
                  <a:pt x="5165398" y="2214699"/>
                  <a:pt x="5159849" y="2222097"/>
                  <a:pt x="5150672" y="2220817"/>
                </a:cubicBezTo>
                <a:cubicBezTo>
                  <a:pt x="5148111" y="2220532"/>
                  <a:pt x="5145123" y="2219394"/>
                  <a:pt x="5141922" y="2217545"/>
                </a:cubicBezTo>
                <a:cubicBezTo>
                  <a:pt x="5141709" y="2211427"/>
                  <a:pt x="5140428" y="2202891"/>
                  <a:pt x="5141922" y="2195351"/>
                </a:cubicBezTo>
                <a:lnTo>
                  <a:pt x="5144697" y="2188949"/>
                </a:lnTo>
                <a:lnTo>
                  <a:pt x="5144697" y="2184680"/>
                </a:lnTo>
                <a:lnTo>
                  <a:pt x="5149392" y="2183542"/>
                </a:lnTo>
                <a:close/>
                <a:moveTo>
                  <a:pt x="5373696" y="2175433"/>
                </a:moveTo>
                <a:cubicBezTo>
                  <a:pt x="5373909" y="2175576"/>
                  <a:pt x="5373696" y="2175860"/>
                  <a:pt x="5373482" y="2176429"/>
                </a:cubicBezTo>
                <a:cubicBezTo>
                  <a:pt x="5376257" y="2176571"/>
                  <a:pt x="5377324" y="2177141"/>
                  <a:pt x="5378391" y="2177851"/>
                </a:cubicBezTo>
                <a:cubicBezTo>
                  <a:pt x="5378818" y="2179416"/>
                  <a:pt x="5377964" y="2181551"/>
                  <a:pt x="5375830" y="2183116"/>
                </a:cubicBezTo>
                <a:cubicBezTo>
                  <a:pt x="5375403" y="2181408"/>
                  <a:pt x="5372629" y="2181266"/>
                  <a:pt x="5371988" y="2179559"/>
                </a:cubicBezTo>
                <a:cubicBezTo>
                  <a:pt x="5371988" y="2179559"/>
                  <a:pt x="5372415" y="2175718"/>
                  <a:pt x="5372415" y="2175718"/>
                </a:cubicBezTo>
                <a:cubicBezTo>
                  <a:pt x="5373269" y="2175576"/>
                  <a:pt x="5373696" y="2175433"/>
                  <a:pt x="5373696" y="2175433"/>
                </a:cubicBezTo>
                <a:close/>
                <a:moveTo>
                  <a:pt x="828838" y="2175076"/>
                </a:moveTo>
                <a:cubicBezTo>
                  <a:pt x="831213" y="2174147"/>
                  <a:pt x="833175" y="2174301"/>
                  <a:pt x="835859" y="2176160"/>
                </a:cubicBezTo>
                <a:cubicBezTo>
                  <a:pt x="835859" y="2179878"/>
                  <a:pt x="836272" y="2178794"/>
                  <a:pt x="834414" y="2182356"/>
                </a:cubicBezTo>
                <a:cubicBezTo>
                  <a:pt x="832039" y="2181427"/>
                  <a:pt x="829767" y="2180343"/>
                  <a:pt x="827393" y="2179413"/>
                </a:cubicBezTo>
                <a:cubicBezTo>
                  <a:pt x="828528" y="2178020"/>
                  <a:pt x="828528" y="2176160"/>
                  <a:pt x="828838" y="2175076"/>
                </a:cubicBezTo>
                <a:close/>
                <a:moveTo>
                  <a:pt x="5229424" y="2173868"/>
                </a:moveTo>
                <a:cubicBezTo>
                  <a:pt x="5235187" y="2173157"/>
                  <a:pt x="5237961" y="2178705"/>
                  <a:pt x="5242656" y="2182689"/>
                </a:cubicBezTo>
                <a:cubicBezTo>
                  <a:pt x="5242229" y="2183685"/>
                  <a:pt x="5242656" y="2185392"/>
                  <a:pt x="5243723" y="2185961"/>
                </a:cubicBezTo>
                <a:cubicBezTo>
                  <a:pt x="5244363" y="2187669"/>
                  <a:pt x="5245004" y="2189233"/>
                  <a:pt x="5245431" y="2188237"/>
                </a:cubicBezTo>
                <a:cubicBezTo>
                  <a:pt x="5247138" y="2193074"/>
                  <a:pt x="5248205" y="2193786"/>
                  <a:pt x="5245644" y="2196347"/>
                </a:cubicBezTo>
                <a:cubicBezTo>
                  <a:pt x="5237748" y="2190371"/>
                  <a:pt x="5230064" y="2180839"/>
                  <a:pt x="5228570" y="2178563"/>
                </a:cubicBezTo>
                <a:cubicBezTo>
                  <a:pt x="5227717" y="2177425"/>
                  <a:pt x="5227290" y="2176713"/>
                  <a:pt x="5227503" y="2176002"/>
                </a:cubicBezTo>
                <a:cubicBezTo>
                  <a:pt x="5227717" y="2175149"/>
                  <a:pt x="5228357" y="2174580"/>
                  <a:pt x="5229424" y="2173868"/>
                </a:cubicBezTo>
                <a:close/>
                <a:moveTo>
                  <a:pt x="5291529" y="2173584"/>
                </a:moveTo>
                <a:cubicBezTo>
                  <a:pt x="5292596" y="2173441"/>
                  <a:pt x="5293877" y="2173726"/>
                  <a:pt x="5294730" y="2175006"/>
                </a:cubicBezTo>
                <a:cubicBezTo>
                  <a:pt x="5293663" y="2176571"/>
                  <a:pt x="5293023" y="2179132"/>
                  <a:pt x="5291102" y="2180982"/>
                </a:cubicBezTo>
                <a:cubicBezTo>
                  <a:pt x="5284700" y="2180128"/>
                  <a:pt x="5287901" y="2174295"/>
                  <a:pt x="5291529" y="2173584"/>
                </a:cubicBezTo>
                <a:close/>
                <a:moveTo>
                  <a:pt x="6364817" y="2173441"/>
                </a:moveTo>
                <a:cubicBezTo>
                  <a:pt x="6370793" y="2183685"/>
                  <a:pt x="6359055" y="2193359"/>
                  <a:pt x="6352226" y="2189802"/>
                </a:cubicBezTo>
                <a:cubicBezTo>
                  <a:pt x="6349878" y="2188664"/>
                  <a:pt x="6348171" y="2185961"/>
                  <a:pt x="6347744" y="2181266"/>
                </a:cubicBezTo>
                <a:cubicBezTo>
                  <a:pt x="6355640" y="2178421"/>
                  <a:pt x="6357561" y="2172588"/>
                  <a:pt x="6364817" y="2173441"/>
                </a:cubicBezTo>
                <a:close/>
                <a:moveTo>
                  <a:pt x="5415739" y="2172161"/>
                </a:moveTo>
                <a:cubicBezTo>
                  <a:pt x="5416380" y="2174864"/>
                  <a:pt x="5418727" y="2176002"/>
                  <a:pt x="5417660" y="2179986"/>
                </a:cubicBezTo>
                <a:cubicBezTo>
                  <a:pt x="5414459" y="2179559"/>
                  <a:pt x="5412111" y="2178421"/>
                  <a:pt x="5408910" y="2177851"/>
                </a:cubicBezTo>
                <a:cubicBezTo>
                  <a:pt x="5407630" y="2172730"/>
                  <a:pt x="5411684" y="2172446"/>
                  <a:pt x="5415739" y="2172161"/>
                </a:cubicBezTo>
                <a:close/>
                <a:moveTo>
                  <a:pt x="6247650" y="2171023"/>
                </a:moveTo>
                <a:cubicBezTo>
                  <a:pt x="6251278" y="2171307"/>
                  <a:pt x="6254266" y="2173299"/>
                  <a:pt x="6256400" y="2175433"/>
                </a:cubicBezTo>
                <a:cubicBezTo>
                  <a:pt x="6255546" y="2176286"/>
                  <a:pt x="6261522" y="2182262"/>
                  <a:pt x="6260882" y="2189091"/>
                </a:cubicBezTo>
                <a:cubicBezTo>
                  <a:pt x="6260668" y="2191367"/>
                  <a:pt x="6259601" y="2193786"/>
                  <a:pt x="6257467" y="2196205"/>
                </a:cubicBezTo>
                <a:cubicBezTo>
                  <a:pt x="6252345" y="2201468"/>
                  <a:pt x="6245302" y="2205025"/>
                  <a:pt x="6236552" y="2195208"/>
                </a:cubicBezTo>
                <a:cubicBezTo>
                  <a:pt x="6234418" y="2193644"/>
                  <a:pt x="6235485" y="2193786"/>
                  <a:pt x="6234418" y="2192363"/>
                </a:cubicBezTo>
                <a:lnTo>
                  <a:pt x="6233991" y="2192079"/>
                </a:lnTo>
                <a:lnTo>
                  <a:pt x="6233564" y="2193786"/>
                </a:lnTo>
                <a:cubicBezTo>
                  <a:pt x="6233138" y="2194213"/>
                  <a:pt x="6232497" y="2194213"/>
                  <a:pt x="6231643" y="2194070"/>
                </a:cubicBezTo>
                <a:cubicBezTo>
                  <a:pt x="6231643" y="2194070"/>
                  <a:pt x="6229936" y="2193644"/>
                  <a:pt x="6228442" y="2193217"/>
                </a:cubicBezTo>
                <a:cubicBezTo>
                  <a:pt x="6226948" y="2192790"/>
                  <a:pt x="6225881" y="2193501"/>
                  <a:pt x="6225881" y="2193501"/>
                </a:cubicBezTo>
                <a:cubicBezTo>
                  <a:pt x="6224387" y="2193074"/>
                  <a:pt x="6223747" y="2192079"/>
                  <a:pt x="6224174" y="2190371"/>
                </a:cubicBezTo>
                <a:cubicBezTo>
                  <a:pt x="6224174" y="2190371"/>
                  <a:pt x="6226735" y="2190087"/>
                  <a:pt x="6226735" y="2190087"/>
                </a:cubicBezTo>
                <a:cubicBezTo>
                  <a:pt x="6228442" y="2190514"/>
                  <a:pt x="6229509" y="2190798"/>
                  <a:pt x="6230576" y="2190941"/>
                </a:cubicBezTo>
                <a:lnTo>
                  <a:pt x="6232497" y="2191083"/>
                </a:lnTo>
                <a:lnTo>
                  <a:pt x="6229936" y="2189233"/>
                </a:lnTo>
                <a:cubicBezTo>
                  <a:pt x="6231003" y="2188237"/>
                  <a:pt x="6231430" y="2187242"/>
                  <a:pt x="6231857" y="2186388"/>
                </a:cubicBezTo>
                <a:lnTo>
                  <a:pt x="6232497" y="2183542"/>
                </a:lnTo>
                <a:lnTo>
                  <a:pt x="6230150" y="2181551"/>
                </a:lnTo>
                <a:cubicBezTo>
                  <a:pt x="6231217" y="2180839"/>
                  <a:pt x="6232924" y="2178563"/>
                  <a:pt x="6233351" y="2179559"/>
                </a:cubicBezTo>
                <a:lnTo>
                  <a:pt x="6233778" y="2179701"/>
                </a:lnTo>
                <a:lnTo>
                  <a:pt x="6236766" y="2176002"/>
                </a:lnTo>
                <a:cubicBezTo>
                  <a:pt x="6240394" y="2171734"/>
                  <a:pt x="6244235" y="2170596"/>
                  <a:pt x="6247650" y="2171023"/>
                </a:cubicBezTo>
                <a:close/>
                <a:moveTo>
                  <a:pt x="789807" y="2170894"/>
                </a:moveTo>
                <a:cubicBezTo>
                  <a:pt x="795280" y="2173217"/>
                  <a:pt x="801992" y="2174611"/>
                  <a:pt x="806844" y="2178639"/>
                </a:cubicBezTo>
                <a:cubicBezTo>
                  <a:pt x="801165" y="2180962"/>
                  <a:pt x="789600" y="2179103"/>
                  <a:pt x="789807" y="2170894"/>
                </a:cubicBezTo>
                <a:close/>
                <a:moveTo>
                  <a:pt x="4987406" y="2168462"/>
                </a:moveTo>
                <a:cubicBezTo>
                  <a:pt x="4988260" y="2169031"/>
                  <a:pt x="4988687" y="2170169"/>
                  <a:pt x="4989113" y="2171592"/>
                </a:cubicBezTo>
                <a:cubicBezTo>
                  <a:pt x="4989754" y="2175860"/>
                  <a:pt x="4988260" y="2182974"/>
                  <a:pt x="4986979" y="2186530"/>
                </a:cubicBezTo>
                <a:cubicBezTo>
                  <a:pt x="4983564" y="2184396"/>
                  <a:pt x="4985485" y="2173157"/>
                  <a:pt x="4987406" y="2168462"/>
                </a:cubicBezTo>
                <a:close/>
                <a:moveTo>
                  <a:pt x="887281" y="2167951"/>
                </a:moveTo>
                <a:cubicBezTo>
                  <a:pt x="888004" y="2167486"/>
                  <a:pt x="888933" y="2167486"/>
                  <a:pt x="889965" y="2167951"/>
                </a:cubicBezTo>
                <a:cubicBezTo>
                  <a:pt x="889965" y="2169190"/>
                  <a:pt x="890482" y="2171049"/>
                  <a:pt x="889862" y="2172753"/>
                </a:cubicBezTo>
                <a:cubicBezTo>
                  <a:pt x="887488" y="2173372"/>
                  <a:pt x="886352" y="2172443"/>
                  <a:pt x="886042" y="2171358"/>
                </a:cubicBezTo>
                <a:cubicBezTo>
                  <a:pt x="885732" y="2170119"/>
                  <a:pt x="886248" y="2168725"/>
                  <a:pt x="887281" y="2167951"/>
                </a:cubicBezTo>
                <a:close/>
                <a:moveTo>
                  <a:pt x="4596634" y="2167039"/>
                </a:moveTo>
                <a:cubicBezTo>
                  <a:pt x="4597915" y="2167324"/>
                  <a:pt x="4598982" y="2167750"/>
                  <a:pt x="4599836" y="2168604"/>
                </a:cubicBezTo>
                <a:cubicBezTo>
                  <a:pt x="4601543" y="2170739"/>
                  <a:pt x="4600690" y="2175006"/>
                  <a:pt x="4593647" y="2181835"/>
                </a:cubicBezTo>
                <a:cubicBezTo>
                  <a:pt x="4586817" y="2178278"/>
                  <a:pt x="4585110" y="2174864"/>
                  <a:pt x="4585750" y="2172303"/>
                </a:cubicBezTo>
                <a:cubicBezTo>
                  <a:pt x="4586604" y="2168604"/>
                  <a:pt x="4592366" y="2166470"/>
                  <a:pt x="4596634" y="2167039"/>
                </a:cubicBezTo>
                <a:close/>
                <a:moveTo>
                  <a:pt x="5614860" y="2166755"/>
                </a:moveTo>
                <a:cubicBezTo>
                  <a:pt x="5616141" y="2166612"/>
                  <a:pt x="5617421" y="2166897"/>
                  <a:pt x="5618702" y="2167608"/>
                </a:cubicBezTo>
                <a:cubicBezTo>
                  <a:pt x="5622330" y="2169885"/>
                  <a:pt x="5624678" y="2173868"/>
                  <a:pt x="5625318" y="2178421"/>
                </a:cubicBezTo>
                <a:lnTo>
                  <a:pt x="5625104" y="2182405"/>
                </a:lnTo>
                <a:lnTo>
                  <a:pt x="5625318" y="2182405"/>
                </a:lnTo>
                <a:lnTo>
                  <a:pt x="5625958" y="2182689"/>
                </a:lnTo>
                <a:lnTo>
                  <a:pt x="5626385" y="2182120"/>
                </a:lnTo>
                <a:cubicBezTo>
                  <a:pt x="5627452" y="2180697"/>
                  <a:pt x="5628519" y="2179416"/>
                  <a:pt x="5629159" y="2180128"/>
                </a:cubicBezTo>
                <a:cubicBezTo>
                  <a:pt x="5629159" y="2180128"/>
                  <a:pt x="5628092" y="2181266"/>
                  <a:pt x="5626812" y="2182405"/>
                </a:cubicBezTo>
                <a:lnTo>
                  <a:pt x="5627025" y="2183116"/>
                </a:lnTo>
                <a:lnTo>
                  <a:pt x="5630440" y="2184680"/>
                </a:lnTo>
                <a:cubicBezTo>
                  <a:pt x="5632574" y="2190229"/>
                  <a:pt x="5626598" y="2201895"/>
                  <a:pt x="5619555" y="2203175"/>
                </a:cubicBezTo>
                <a:cubicBezTo>
                  <a:pt x="5618275" y="2203460"/>
                  <a:pt x="5616994" y="2203318"/>
                  <a:pt x="5615927" y="2202891"/>
                </a:cubicBezTo>
                <a:lnTo>
                  <a:pt x="5614007" y="2201753"/>
                </a:lnTo>
                <a:lnTo>
                  <a:pt x="5607177" y="2206590"/>
                </a:lnTo>
                <a:cubicBezTo>
                  <a:pt x="5604829" y="2207586"/>
                  <a:pt x="5603549" y="2207870"/>
                  <a:pt x="5603549" y="2207870"/>
                </a:cubicBezTo>
                <a:cubicBezTo>
                  <a:pt x="5593945" y="2201326"/>
                  <a:pt x="5596293" y="2192079"/>
                  <a:pt x="5600561" y="2184112"/>
                </a:cubicBezTo>
                <a:lnTo>
                  <a:pt x="5599281" y="2183400"/>
                </a:lnTo>
                <a:cubicBezTo>
                  <a:pt x="5598640" y="2182974"/>
                  <a:pt x="5598213" y="2182547"/>
                  <a:pt x="5598213" y="2182547"/>
                </a:cubicBezTo>
                <a:cubicBezTo>
                  <a:pt x="5598853" y="2180982"/>
                  <a:pt x="5598853" y="2180839"/>
                  <a:pt x="5599281" y="2181978"/>
                </a:cubicBezTo>
                <a:cubicBezTo>
                  <a:pt x="5600561" y="2181978"/>
                  <a:pt x="5600774" y="2182120"/>
                  <a:pt x="5600988" y="2182405"/>
                </a:cubicBezTo>
                <a:lnTo>
                  <a:pt x="5601415" y="2182547"/>
                </a:lnTo>
                <a:lnTo>
                  <a:pt x="5604829" y="2176856"/>
                </a:lnTo>
                <a:cubicBezTo>
                  <a:pt x="5607817" y="2172161"/>
                  <a:pt x="5611232" y="2167466"/>
                  <a:pt x="5614860" y="2166755"/>
                </a:cubicBezTo>
                <a:close/>
                <a:moveTo>
                  <a:pt x="936328" y="2166557"/>
                </a:moveTo>
                <a:cubicBezTo>
                  <a:pt x="936534" y="2169190"/>
                  <a:pt x="935915" y="2170894"/>
                  <a:pt x="934366" y="2171823"/>
                </a:cubicBezTo>
                <a:lnTo>
                  <a:pt x="928170" y="2172598"/>
                </a:lnTo>
                <a:lnTo>
                  <a:pt x="928687" y="2176005"/>
                </a:lnTo>
                <a:cubicBezTo>
                  <a:pt x="925589" y="2178174"/>
                  <a:pt x="922801" y="2178639"/>
                  <a:pt x="920942" y="2179258"/>
                </a:cubicBezTo>
                <a:cubicBezTo>
                  <a:pt x="919600" y="2177400"/>
                  <a:pt x="918155" y="2176315"/>
                  <a:pt x="916812" y="2174456"/>
                </a:cubicBezTo>
                <a:cubicBezTo>
                  <a:pt x="917122" y="2169345"/>
                  <a:pt x="920633" y="2167486"/>
                  <a:pt x="923834" y="2167951"/>
                </a:cubicBezTo>
                <a:lnTo>
                  <a:pt x="927654" y="2170429"/>
                </a:lnTo>
                <a:lnTo>
                  <a:pt x="927758" y="2169345"/>
                </a:lnTo>
                <a:cubicBezTo>
                  <a:pt x="928273" y="2168570"/>
                  <a:pt x="928997" y="2168106"/>
                  <a:pt x="929823" y="2167796"/>
                </a:cubicBezTo>
                <a:cubicBezTo>
                  <a:pt x="931681" y="2167331"/>
                  <a:pt x="934160" y="2167177"/>
                  <a:pt x="936328" y="2166557"/>
                </a:cubicBezTo>
                <a:close/>
                <a:moveTo>
                  <a:pt x="5635349" y="2166185"/>
                </a:moveTo>
                <a:cubicBezTo>
                  <a:pt x="5636416" y="2167466"/>
                  <a:pt x="5636629" y="2168462"/>
                  <a:pt x="5636629" y="2169742"/>
                </a:cubicBezTo>
                <a:cubicBezTo>
                  <a:pt x="5635562" y="2170880"/>
                  <a:pt x="5634281" y="2170739"/>
                  <a:pt x="5633214" y="2171876"/>
                </a:cubicBezTo>
                <a:cubicBezTo>
                  <a:pt x="5633428" y="2173157"/>
                  <a:pt x="5633428" y="2175576"/>
                  <a:pt x="5632361" y="2176713"/>
                </a:cubicBezTo>
                <a:cubicBezTo>
                  <a:pt x="5631293" y="2177710"/>
                  <a:pt x="5628946" y="2178848"/>
                  <a:pt x="5628946" y="2178848"/>
                </a:cubicBezTo>
                <a:cubicBezTo>
                  <a:pt x="5627879" y="2177567"/>
                  <a:pt x="5627665" y="2177710"/>
                  <a:pt x="5628946" y="2177710"/>
                </a:cubicBezTo>
                <a:cubicBezTo>
                  <a:pt x="5630013" y="2175433"/>
                  <a:pt x="5630013" y="2176571"/>
                  <a:pt x="5631080" y="2175433"/>
                </a:cubicBezTo>
                <a:cubicBezTo>
                  <a:pt x="5632147" y="2174295"/>
                  <a:pt x="5634281" y="2168462"/>
                  <a:pt x="5633001" y="2167182"/>
                </a:cubicBezTo>
                <a:cubicBezTo>
                  <a:pt x="5634281" y="2167324"/>
                  <a:pt x="5635349" y="2166185"/>
                  <a:pt x="5635349" y="2166185"/>
                </a:cubicBezTo>
                <a:close/>
                <a:moveTo>
                  <a:pt x="4810481" y="2166185"/>
                </a:moveTo>
                <a:cubicBezTo>
                  <a:pt x="4811548" y="2165902"/>
                  <a:pt x="4812829" y="2165902"/>
                  <a:pt x="4814322" y="2166328"/>
                </a:cubicBezTo>
                <a:cubicBezTo>
                  <a:pt x="4818804" y="2167466"/>
                  <a:pt x="4824140" y="2171023"/>
                  <a:pt x="4825847" y="2173299"/>
                </a:cubicBezTo>
                <a:cubicBezTo>
                  <a:pt x="4825420" y="2177283"/>
                  <a:pt x="4823713" y="2179559"/>
                  <a:pt x="4821579" y="2180413"/>
                </a:cubicBezTo>
                <a:cubicBezTo>
                  <a:pt x="4814963" y="2183258"/>
                  <a:pt x="4804292" y="2174438"/>
                  <a:pt x="4810481" y="2166185"/>
                </a:cubicBezTo>
                <a:close/>
                <a:moveTo>
                  <a:pt x="860537" y="2165937"/>
                </a:moveTo>
                <a:cubicBezTo>
                  <a:pt x="862087" y="2167796"/>
                  <a:pt x="863016" y="2173217"/>
                  <a:pt x="860021" y="2176625"/>
                </a:cubicBezTo>
                <a:cubicBezTo>
                  <a:pt x="855891" y="2176780"/>
                  <a:pt x="854032" y="2175076"/>
                  <a:pt x="854032" y="2172133"/>
                </a:cubicBezTo>
                <a:cubicBezTo>
                  <a:pt x="854032" y="2171049"/>
                  <a:pt x="854239" y="2169965"/>
                  <a:pt x="854549" y="2168570"/>
                </a:cubicBezTo>
                <a:cubicBezTo>
                  <a:pt x="856511" y="2168106"/>
                  <a:pt x="857956" y="2167022"/>
                  <a:pt x="860537" y="2165937"/>
                </a:cubicBezTo>
                <a:close/>
                <a:moveTo>
                  <a:pt x="965756" y="2164388"/>
                </a:moveTo>
                <a:cubicBezTo>
                  <a:pt x="968647" y="2164078"/>
                  <a:pt x="968957" y="2173062"/>
                  <a:pt x="962142" y="2168415"/>
                </a:cubicBezTo>
                <a:cubicBezTo>
                  <a:pt x="963484" y="2165472"/>
                  <a:pt x="964827" y="2164388"/>
                  <a:pt x="965756" y="2164388"/>
                </a:cubicBezTo>
                <a:close/>
                <a:moveTo>
                  <a:pt x="1078408" y="2163614"/>
                </a:moveTo>
                <a:cubicBezTo>
                  <a:pt x="1079234" y="2163304"/>
                  <a:pt x="1080370" y="2163459"/>
                  <a:pt x="1081609" y="2163923"/>
                </a:cubicBezTo>
                <a:cubicBezTo>
                  <a:pt x="1083984" y="2164543"/>
                  <a:pt x="1084191" y="2166402"/>
                  <a:pt x="1084191" y="2166402"/>
                </a:cubicBezTo>
                <a:cubicBezTo>
                  <a:pt x="1084087" y="2169500"/>
                  <a:pt x="1082229" y="2171204"/>
                  <a:pt x="1079131" y="2170894"/>
                </a:cubicBezTo>
                <a:cubicBezTo>
                  <a:pt x="1077479" y="2169810"/>
                  <a:pt x="1077272" y="2168106"/>
                  <a:pt x="1077066" y="2166247"/>
                </a:cubicBezTo>
                <a:cubicBezTo>
                  <a:pt x="1077169" y="2164698"/>
                  <a:pt x="1077686" y="2163923"/>
                  <a:pt x="1078408" y="2163614"/>
                </a:cubicBezTo>
                <a:close/>
                <a:moveTo>
                  <a:pt x="6153318" y="2163340"/>
                </a:moveTo>
                <a:cubicBezTo>
                  <a:pt x="6155239" y="2163767"/>
                  <a:pt x="6156306" y="2164620"/>
                  <a:pt x="6156520" y="2165759"/>
                </a:cubicBezTo>
                <a:cubicBezTo>
                  <a:pt x="6156733" y="2166897"/>
                  <a:pt x="6156520" y="2168320"/>
                  <a:pt x="6155879" y="2170027"/>
                </a:cubicBezTo>
                <a:cubicBezTo>
                  <a:pt x="6154599" y="2173157"/>
                  <a:pt x="6152038" y="2173157"/>
                  <a:pt x="6152038" y="2173157"/>
                </a:cubicBezTo>
                <a:cubicBezTo>
                  <a:pt x="6147983" y="2172588"/>
                  <a:pt x="6145635" y="2169885"/>
                  <a:pt x="6146489" y="2165475"/>
                </a:cubicBezTo>
                <a:cubicBezTo>
                  <a:pt x="6148196" y="2163340"/>
                  <a:pt x="6150757" y="2163340"/>
                  <a:pt x="6153318" y="2163340"/>
                </a:cubicBezTo>
                <a:close/>
                <a:moveTo>
                  <a:pt x="5288542" y="2162771"/>
                </a:moveTo>
                <a:cubicBezTo>
                  <a:pt x="5288542" y="2166185"/>
                  <a:pt x="5289608" y="2167466"/>
                  <a:pt x="5288328" y="2167324"/>
                </a:cubicBezTo>
                <a:cubicBezTo>
                  <a:pt x="5288328" y="2168462"/>
                  <a:pt x="5287261" y="2168320"/>
                  <a:pt x="5287261" y="2167182"/>
                </a:cubicBezTo>
                <a:cubicBezTo>
                  <a:pt x="5284913" y="2165759"/>
                  <a:pt x="5287261" y="2163767"/>
                  <a:pt x="5288542" y="2162771"/>
                </a:cubicBezTo>
                <a:close/>
                <a:moveTo>
                  <a:pt x="5110549" y="2162771"/>
                </a:moveTo>
                <a:cubicBezTo>
                  <a:pt x="5115458" y="2164194"/>
                  <a:pt x="5114604" y="2170169"/>
                  <a:pt x="5111616" y="2171023"/>
                </a:cubicBezTo>
                <a:cubicBezTo>
                  <a:pt x="5110549" y="2171165"/>
                  <a:pt x="5109269" y="2170880"/>
                  <a:pt x="5107988" y="2169742"/>
                </a:cubicBezTo>
                <a:cubicBezTo>
                  <a:pt x="5108415" y="2167182"/>
                  <a:pt x="5109056" y="2165617"/>
                  <a:pt x="5110549" y="2162771"/>
                </a:cubicBezTo>
                <a:close/>
                <a:moveTo>
                  <a:pt x="5143629" y="2162629"/>
                </a:moveTo>
                <a:cubicBezTo>
                  <a:pt x="5148111" y="2161206"/>
                  <a:pt x="5156221" y="2166185"/>
                  <a:pt x="5158142" y="2169315"/>
                </a:cubicBezTo>
                <a:cubicBezTo>
                  <a:pt x="5157075" y="2173299"/>
                  <a:pt x="5155154" y="2175576"/>
                  <a:pt x="5152806" y="2176571"/>
                </a:cubicBezTo>
                <a:cubicBezTo>
                  <a:pt x="5145764" y="2179559"/>
                  <a:pt x="5136373" y="2171165"/>
                  <a:pt x="5143629" y="2162629"/>
                </a:cubicBezTo>
                <a:close/>
                <a:moveTo>
                  <a:pt x="4772493" y="2162487"/>
                </a:moveTo>
                <a:cubicBezTo>
                  <a:pt x="4777401" y="2167324"/>
                  <a:pt x="4774413" y="2175433"/>
                  <a:pt x="4768437" y="2175291"/>
                </a:cubicBezTo>
                <a:cubicBezTo>
                  <a:pt x="4767157" y="2174011"/>
                  <a:pt x="4764596" y="2172730"/>
                  <a:pt x="4763315" y="2170312"/>
                </a:cubicBezTo>
                <a:cubicBezTo>
                  <a:pt x="4764382" y="2164336"/>
                  <a:pt x="4767797" y="2162202"/>
                  <a:pt x="4772493" y="2162487"/>
                </a:cubicBezTo>
                <a:close/>
                <a:moveTo>
                  <a:pt x="1162872" y="2162375"/>
                </a:moveTo>
                <a:cubicBezTo>
                  <a:pt x="1163078" y="2162375"/>
                  <a:pt x="1163388" y="2162530"/>
                  <a:pt x="1163698" y="2162375"/>
                </a:cubicBezTo>
                <a:cubicBezTo>
                  <a:pt x="1163388" y="2163614"/>
                  <a:pt x="1163388" y="2163614"/>
                  <a:pt x="1162252" y="2162839"/>
                </a:cubicBezTo>
                <a:cubicBezTo>
                  <a:pt x="1162459" y="2162375"/>
                  <a:pt x="1162665" y="2162375"/>
                  <a:pt x="1162872" y="2162375"/>
                </a:cubicBezTo>
                <a:close/>
                <a:moveTo>
                  <a:pt x="4682856" y="2161064"/>
                </a:moveTo>
                <a:cubicBezTo>
                  <a:pt x="4686484" y="2163483"/>
                  <a:pt x="4687978" y="2165475"/>
                  <a:pt x="4688405" y="2167039"/>
                </a:cubicBezTo>
                <a:cubicBezTo>
                  <a:pt x="4688618" y="2168604"/>
                  <a:pt x="4687765" y="2169885"/>
                  <a:pt x="4686271" y="2170596"/>
                </a:cubicBezTo>
                <a:cubicBezTo>
                  <a:pt x="4681575" y="2173157"/>
                  <a:pt x="4671118" y="2170596"/>
                  <a:pt x="4682856" y="2161064"/>
                </a:cubicBezTo>
                <a:close/>
                <a:moveTo>
                  <a:pt x="5466961" y="2160779"/>
                </a:moveTo>
                <a:cubicBezTo>
                  <a:pt x="5468668" y="2160637"/>
                  <a:pt x="5469948" y="2160779"/>
                  <a:pt x="5471442" y="2161206"/>
                </a:cubicBezTo>
                <a:cubicBezTo>
                  <a:pt x="5479979" y="2163340"/>
                  <a:pt x="5486381" y="2173299"/>
                  <a:pt x="5488729" y="2179559"/>
                </a:cubicBezTo>
                <a:cubicBezTo>
                  <a:pt x="5484034" y="2177851"/>
                  <a:pt x="5478912" y="2176286"/>
                  <a:pt x="5474430" y="2173868"/>
                </a:cubicBezTo>
                <a:cubicBezTo>
                  <a:pt x="5469735" y="2171307"/>
                  <a:pt x="5465466" y="2167750"/>
                  <a:pt x="5462265" y="2161918"/>
                </a:cubicBezTo>
                <a:cubicBezTo>
                  <a:pt x="5463973" y="2161206"/>
                  <a:pt x="5465466" y="2160922"/>
                  <a:pt x="5466961" y="2160779"/>
                </a:cubicBezTo>
                <a:close/>
                <a:moveTo>
                  <a:pt x="5137654" y="2160068"/>
                </a:moveTo>
                <a:cubicBezTo>
                  <a:pt x="5137013" y="2166612"/>
                  <a:pt x="5127836" y="2173868"/>
                  <a:pt x="5121220" y="2176713"/>
                </a:cubicBezTo>
                <a:lnTo>
                  <a:pt x="5118232" y="2177283"/>
                </a:lnTo>
                <a:lnTo>
                  <a:pt x="5118446" y="2177425"/>
                </a:lnTo>
                <a:cubicBezTo>
                  <a:pt x="5116739" y="2183400"/>
                  <a:pt x="5109482" y="2184538"/>
                  <a:pt x="5106708" y="2180697"/>
                </a:cubicBezTo>
                <a:cubicBezTo>
                  <a:pt x="5106708" y="2176144"/>
                  <a:pt x="5109269" y="2174153"/>
                  <a:pt x="5112043" y="2174011"/>
                </a:cubicBezTo>
                <a:cubicBezTo>
                  <a:pt x="5113324" y="2173868"/>
                  <a:pt x="5114818" y="2174295"/>
                  <a:pt x="5115884" y="2174864"/>
                </a:cubicBezTo>
                <a:lnTo>
                  <a:pt x="5116952" y="2176002"/>
                </a:lnTo>
                <a:lnTo>
                  <a:pt x="5119727" y="2171876"/>
                </a:lnTo>
                <a:cubicBezTo>
                  <a:pt x="5121434" y="2170169"/>
                  <a:pt x="5123141" y="2168462"/>
                  <a:pt x="5124422" y="2165617"/>
                </a:cubicBezTo>
                <a:cubicBezTo>
                  <a:pt x="5128477" y="2165759"/>
                  <a:pt x="5132105" y="2159499"/>
                  <a:pt x="5137654" y="2160068"/>
                </a:cubicBezTo>
                <a:close/>
                <a:moveTo>
                  <a:pt x="4565262" y="2159357"/>
                </a:moveTo>
                <a:cubicBezTo>
                  <a:pt x="4566756" y="2167182"/>
                  <a:pt x="4572305" y="2169458"/>
                  <a:pt x="4568463" y="2173868"/>
                </a:cubicBezTo>
                <a:cubicBezTo>
                  <a:pt x="4563768" y="2172161"/>
                  <a:pt x="4562061" y="2162771"/>
                  <a:pt x="4565262" y="2159357"/>
                </a:cubicBezTo>
                <a:close/>
                <a:moveTo>
                  <a:pt x="5528852" y="2158361"/>
                </a:moveTo>
                <a:cubicBezTo>
                  <a:pt x="5529279" y="2167039"/>
                  <a:pt x="5514553" y="2176856"/>
                  <a:pt x="5509644" y="2175576"/>
                </a:cubicBezTo>
                <a:cubicBezTo>
                  <a:pt x="5510285" y="2170596"/>
                  <a:pt x="5514766" y="2169174"/>
                  <a:pt x="5516473" y="2163625"/>
                </a:cubicBezTo>
                <a:cubicBezTo>
                  <a:pt x="5520529" y="2163767"/>
                  <a:pt x="5523090" y="2157649"/>
                  <a:pt x="5528852" y="2158361"/>
                </a:cubicBezTo>
                <a:close/>
                <a:moveTo>
                  <a:pt x="5010029" y="2157223"/>
                </a:moveTo>
                <a:cubicBezTo>
                  <a:pt x="5010669" y="2158218"/>
                  <a:pt x="5010455" y="2159499"/>
                  <a:pt x="5010242" y="2160922"/>
                </a:cubicBezTo>
                <a:cubicBezTo>
                  <a:pt x="5009175" y="2165047"/>
                  <a:pt x="5004906" y="2170312"/>
                  <a:pt x="5002132" y="2172446"/>
                </a:cubicBezTo>
                <a:cubicBezTo>
                  <a:pt x="5000211" y="2168604"/>
                  <a:pt x="5006400" y="2160210"/>
                  <a:pt x="5010029" y="2157223"/>
                </a:cubicBezTo>
                <a:close/>
                <a:moveTo>
                  <a:pt x="915573" y="2156953"/>
                </a:moveTo>
                <a:cubicBezTo>
                  <a:pt x="917845" y="2155404"/>
                  <a:pt x="924143" y="2162839"/>
                  <a:pt x="915366" y="2162064"/>
                </a:cubicBezTo>
                <a:cubicBezTo>
                  <a:pt x="914954" y="2160516"/>
                  <a:pt x="914850" y="2159276"/>
                  <a:pt x="914850" y="2158502"/>
                </a:cubicBezTo>
                <a:cubicBezTo>
                  <a:pt x="914954" y="2157728"/>
                  <a:pt x="915263" y="2157108"/>
                  <a:pt x="915573" y="2156953"/>
                </a:cubicBezTo>
                <a:close/>
                <a:moveTo>
                  <a:pt x="6321066" y="2156938"/>
                </a:moveTo>
                <a:cubicBezTo>
                  <a:pt x="6324268" y="2157365"/>
                  <a:pt x="6327256" y="2157934"/>
                  <a:pt x="6327042" y="2161206"/>
                </a:cubicBezTo>
                <a:cubicBezTo>
                  <a:pt x="6324694" y="2161633"/>
                  <a:pt x="6324481" y="2163198"/>
                  <a:pt x="6320639" y="2161775"/>
                </a:cubicBezTo>
                <a:cubicBezTo>
                  <a:pt x="6320639" y="2160210"/>
                  <a:pt x="6320853" y="2158503"/>
                  <a:pt x="6321066" y="2156938"/>
                </a:cubicBezTo>
                <a:close/>
                <a:moveTo>
                  <a:pt x="1159155" y="2155249"/>
                </a:moveTo>
                <a:cubicBezTo>
                  <a:pt x="1162562" y="2153390"/>
                  <a:pt x="1164524" y="2156953"/>
                  <a:pt x="1163182" y="2158967"/>
                </a:cubicBezTo>
                <a:cubicBezTo>
                  <a:pt x="1162769" y="2159587"/>
                  <a:pt x="1162046" y="2160051"/>
                  <a:pt x="1160806" y="2160206"/>
                </a:cubicBezTo>
                <a:cubicBezTo>
                  <a:pt x="1159877" y="2158657"/>
                  <a:pt x="1159567" y="2157418"/>
                  <a:pt x="1159155" y="2155249"/>
                </a:cubicBezTo>
                <a:close/>
                <a:moveTo>
                  <a:pt x="5558731" y="2155089"/>
                </a:moveTo>
                <a:cubicBezTo>
                  <a:pt x="5559371" y="2155231"/>
                  <a:pt x="5560438" y="2155658"/>
                  <a:pt x="5561292" y="2156511"/>
                </a:cubicBezTo>
                <a:cubicBezTo>
                  <a:pt x="5561292" y="2156511"/>
                  <a:pt x="5561292" y="2156511"/>
                  <a:pt x="5561505" y="2157649"/>
                </a:cubicBezTo>
                <a:cubicBezTo>
                  <a:pt x="5561719" y="2160068"/>
                  <a:pt x="5561932" y="2161349"/>
                  <a:pt x="5562145" y="2162487"/>
                </a:cubicBezTo>
                <a:cubicBezTo>
                  <a:pt x="5561078" y="2163767"/>
                  <a:pt x="5558090" y="2166328"/>
                  <a:pt x="5556810" y="2165190"/>
                </a:cubicBezTo>
                <a:cubicBezTo>
                  <a:pt x="5554249" y="2162913"/>
                  <a:pt x="5552541" y="2159499"/>
                  <a:pt x="5553609" y="2158218"/>
                </a:cubicBezTo>
                <a:cubicBezTo>
                  <a:pt x="5554889" y="2156369"/>
                  <a:pt x="5556383" y="2154519"/>
                  <a:pt x="5558731" y="2155089"/>
                </a:cubicBezTo>
                <a:close/>
                <a:moveTo>
                  <a:pt x="5438149" y="2154804"/>
                </a:moveTo>
                <a:cubicBezTo>
                  <a:pt x="5440283" y="2155658"/>
                  <a:pt x="5442417" y="2156511"/>
                  <a:pt x="5442631" y="2158930"/>
                </a:cubicBezTo>
                <a:cubicBezTo>
                  <a:pt x="5442631" y="2159641"/>
                  <a:pt x="5442417" y="2160637"/>
                  <a:pt x="5441990" y="2161775"/>
                </a:cubicBezTo>
                <a:cubicBezTo>
                  <a:pt x="5441990" y="2161775"/>
                  <a:pt x="5441990" y="2161775"/>
                  <a:pt x="5440923" y="2162344"/>
                </a:cubicBezTo>
                <a:lnTo>
                  <a:pt x="5439002" y="2163340"/>
                </a:lnTo>
                <a:lnTo>
                  <a:pt x="5444124" y="2166185"/>
                </a:lnTo>
                <a:lnTo>
                  <a:pt x="5447326" y="2165332"/>
                </a:lnTo>
                <a:cubicBezTo>
                  <a:pt x="5450314" y="2165332"/>
                  <a:pt x="5453728" y="2166470"/>
                  <a:pt x="5456716" y="2169174"/>
                </a:cubicBezTo>
                <a:cubicBezTo>
                  <a:pt x="5457143" y="2170880"/>
                  <a:pt x="5456930" y="2173015"/>
                  <a:pt x="5456290" y="2175149"/>
                </a:cubicBezTo>
                <a:lnTo>
                  <a:pt x="5454795" y="2178136"/>
                </a:lnTo>
                <a:lnTo>
                  <a:pt x="5457570" y="2183258"/>
                </a:lnTo>
                <a:cubicBezTo>
                  <a:pt x="5455862" y="2186957"/>
                  <a:pt x="5453302" y="2188949"/>
                  <a:pt x="5450740" y="2189518"/>
                </a:cubicBezTo>
                <a:lnTo>
                  <a:pt x="5447539" y="2188949"/>
                </a:lnTo>
                <a:lnTo>
                  <a:pt x="5445619" y="2190656"/>
                </a:lnTo>
                <a:lnTo>
                  <a:pt x="5456076" y="2190229"/>
                </a:lnTo>
                <a:cubicBezTo>
                  <a:pt x="5461625" y="2190656"/>
                  <a:pt x="5467387" y="2191794"/>
                  <a:pt x="5472722" y="2193928"/>
                </a:cubicBezTo>
                <a:lnTo>
                  <a:pt x="5484888" y="2202037"/>
                </a:lnTo>
                <a:lnTo>
                  <a:pt x="5483607" y="2199761"/>
                </a:lnTo>
                <a:cubicBezTo>
                  <a:pt x="5481473" y="2196773"/>
                  <a:pt x="5479765" y="2193074"/>
                  <a:pt x="5481686" y="2187242"/>
                </a:cubicBezTo>
                <a:cubicBezTo>
                  <a:pt x="5484674" y="2188522"/>
                  <a:pt x="5488729" y="2181835"/>
                  <a:pt x="5492998" y="2183827"/>
                </a:cubicBezTo>
                <a:cubicBezTo>
                  <a:pt x="5503455" y="2187242"/>
                  <a:pt x="5505376" y="2190514"/>
                  <a:pt x="5505162" y="2195778"/>
                </a:cubicBezTo>
                <a:lnTo>
                  <a:pt x="5505162" y="2197627"/>
                </a:lnTo>
                <a:lnTo>
                  <a:pt x="5505589" y="2197485"/>
                </a:lnTo>
                <a:lnTo>
                  <a:pt x="5507937" y="2197343"/>
                </a:lnTo>
                <a:lnTo>
                  <a:pt x="5506443" y="2196062"/>
                </a:lnTo>
                <a:lnTo>
                  <a:pt x="5509644" y="2193928"/>
                </a:lnTo>
                <a:lnTo>
                  <a:pt x="5512419" y="2190941"/>
                </a:lnTo>
                <a:lnTo>
                  <a:pt x="5514340" y="2190656"/>
                </a:lnTo>
                <a:lnTo>
                  <a:pt x="5521596" y="2185534"/>
                </a:lnTo>
                <a:lnTo>
                  <a:pt x="5526504" y="2184254"/>
                </a:lnTo>
                <a:lnTo>
                  <a:pt x="5526504" y="2184112"/>
                </a:lnTo>
                <a:cubicBezTo>
                  <a:pt x="5525651" y="2182262"/>
                  <a:pt x="5525011" y="2180128"/>
                  <a:pt x="5524797" y="2177567"/>
                </a:cubicBezTo>
                <a:cubicBezTo>
                  <a:pt x="5526291" y="2177851"/>
                  <a:pt x="5526504" y="2176144"/>
                  <a:pt x="5526504" y="2174580"/>
                </a:cubicBezTo>
                <a:cubicBezTo>
                  <a:pt x="5528639" y="2173157"/>
                  <a:pt x="5531200" y="2173157"/>
                  <a:pt x="5533761" y="2173868"/>
                </a:cubicBezTo>
                <a:cubicBezTo>
                  <a:pt x="5536322" y="2174438"/>
                  <a:pt x="5539096" y="2176002"/>
                  <a:pt x="5541230" y="2177851"/>
                </a:cubicBezTo>
                <a:lnTo>
                  <a:pt x="5544645" y="2182405"/>
                </a:lnTo>
                <a:lnTo>
                  <a:pt x="5547206" y="2182547"/>
                </a:lnTo>
                <a:lnTo>
                  <a:pt x="5546139" y="2186672"/>
                </a:lnTo>
                <a:lnTo>
                  <a:pt x="5545926" y="2190371"/>
                </a:lnTo>
                <a:cubicBezTo>
                  <a:pt x="5545285" y="2191367"/>
                  <a:pt x="5544005" y="2192221"/>
                  <a:pt x="5542511" y="2192790"/>
                </a:cubicBezTo>
                <a:lnTo>
                  <a:pt x="5541230" y="2192363"/>
                </a:lnTo>
                <a:lnTo>
                  <a:pt x="5536322" y="2194497"/>
                </a:lnTo>
                <a:lnTo>
                  <a:pt x="5535468" y="2196489"/>
                </a:lnTo>
                <a:lnTo>
                  <a:pt x="5537175" y="2200330"/>
                </a:lnTo>
                <a:lnTo>
                  <a:pt x="5539096" y="2202322"/>
                </a:lnTo>
                <a:lnTo>
                  <a:pt x="5541870" y="2201610"/>
                </a:lnTo>
                <a:cubicBezTo>
                  <a:pt x="5545712" y="2202606"/>
                  <a:pt x="5548700" y="2200188"/>
                  <a:pt x="5552541" y="2201042"/>
                </a:cubicBezTo>
                <a:cubicBezTo>
                  <a:pt x="5552541" y="2201042"/>
                  <a:pt x="5552541" y="2201042"/>
                  <a:pt x="5551901" y="2202749"/>
                </a:cubicBezTo>
                <a:cubicBezTo>
                  <a:pt x="5548700" y="2202606"/>
                  <a:pt x="5546139" y="2203745"/>
                  <a:pt x="5543365" y="2204741"/>
                </a:cubicBezTo>
                <a:lnTo>
                  <a:pt x="5541657" y="2204883"/>
                </a:lnTo>
                <a:lnTo>
                  <a:pt x="5543791" y="2207017"/>
                </a:lnTo>
                <a:cubicBezTo>
                  <a:pt x="5548273" y="2211285"/>
                  <a:pt x="5553182" y="2215268"/>
                  <a:pt x="5555316" y="2221813"/>
                </a:cubicBezTo>
                <a:lnTo>
                  <a:pt x="5556383" y="2227361"/>
                </a:lnTo>
                <a:lnTo>
                  <a:pt x="5560652" y="2223662"/>
                </a:lnTo>
                <a:cubicBezTo>
                  <a:pt x="5562145" y="2222240"/>
                  <a:pt x="5563640" y="2221101"/>
                  <a:pt x="5564920" y="2219821"/>
                </a:cubicBezTo>
                <a:lnTo>
                  <a:pt x="5572816" y="2213419"/>
                </a:lnTo>
                <a:lnTo>
                  <a:pt x="5574097" y="2210004"/>
                </a:lnTo>
                <a:lnTo>
                  <a:pt x="5574951" y="2209578"/>
                </a:lnTo>
                <a:lnTo>
                  <a:pt x="5574737" y="2208155"/>
                </a:lnTo>
                <a:cubicBezTo>
                  <a:pt x="5574737" y="2208155"/>
                  <a:pt x="5574737" y="2208297"/>
                  <a:pt x="5575804" y="2207870"/>
                </a:cubicBezTo>
                <a:lnTo>
                  <a:pt x="5575591" y="2209009"/>
                </a:lnTo>
                <a:lnTo>
                  <a:pt x="5577085" y="2208013"/>
                </a:lnTo>
                <a:cubicBezTo>
                  <a:pt x="5580073" y="2207159"/>
                  <a:pt x="5583487" y="2209293"/>
                  <a:pt x="5584768" y="2212850"/>
                </a:cubicBezTo>
                <a:cubicBezTo>
                  <a:pt x="5585622" y="2214984"/>
                  <a:pt x="5585622" y="2217545"/>
                  <a:pt x="5584554" y="2220390"/>
                </a:cubicBezTo>
                <a:cubicBezTo>
                  <a:pt x="5582207" y="2221528"/>
                  <a:pt x="5576658" y="2220675"/>
                  <a:pt x="5573670" y="2218683"/>
                </a:cubicBezTo>
                <a:lnTo>
                  <a:pt x="5573457" y="2218398"/>
                </a:lnTo>
                <a:lnTo>
                  <a:pt x="5573243" y="2218541"/>
                </a:lnTo>
                <a:cubicBezTo>
                  <a:pt x="5570683" y="2222382"/>
                  <a:pt x="5565133" y="2227077"/>
                  <a:pt x="5564493" y="2226650"/>
                </a:cubicBezTo>
                <a:cubicBezTo>
                  <a:pt x="5563853" y="2227646"/>
                  <a:pt x="5562786" y="2227077"/>
                  <a:pt x="5562145" y="2228072"/>
                </a:cubicBezTo>
                <a:cubicBezTo>
                  <a:pt x="5562145" y="2228072"/>
                  <a:pt x="5561505" y="2229211"/>
                  <a:pt x="5559798" y="2229637"/>
                </a:cubicBezTo>
                <a:cubicBezTo>
                  <a:pt x="5558304" y="2230064"/>
                  <a:pt x="5556597" y="2230491"/>
                  <a:pt x="5555316" y="2228215"/>
                </a:cubicBezTo>
                <a:lnTo>
                  <a:pt x="5555529" y="2228072"/>
                </a:lnTo>
                <a:lnTo>
                  <a:pt x="5551474" y="2227646"/>
                </a:lnTo>
                <a:cubicBezTo>
                  <a:pt x="5548700" y="2226934"/>
                  <a:pt x="5545926" y="2225227"/>
                  <a:pt x="5543151" y="2223093"/>
                </a:cubicBezTo>
                <a:lnTo>
                  <a:pt x="5536748" y="2216549"/>
                </a:lnTo>
                <a:lnTo>
                  <a:pt x="5535895" y="2216264"/>
                </a:lnTo>
                <a:lnTo>
                  <a:pt x="5530986" y="2211854"/>
                </a:lnTo>
                <a:lnTo>
                  <a:pt x="5530986" y="2212139"/>
                </a:lnTo>
                <a:cubicBezTo>
                  <a:pt x="5529919" y="2216691"/>
                  <a:pt x="5528425" y="2221813"/>
                  <a:pt x="5527785" y="2223947"/>
                </a:cubicBezTo>
                <a:cubicBezTo>
                  <a:pt x="5526718" y="2224374"/>
                  <a:pt x="5526504" y="2224374"/>
                  <a:pt x="5526504" y="2224374"/>
                </a:cubicBezTo>
                <a:cubicBezTo>
                  <a:pt x="5525224" y="2224231"/>
                  <a:pt x="5524797" y="2223520"/>
                  <a:pt x="5524797" y="2222382"/>
                </a:cubicBezTo>
                <a:cubicBezTo>
                  <a:pt x="5524584" y="2221101"/>
                  <a:pt x="5525011" y="2219394"/>
                  <a:pt x="5525651" y="2217118"/>
                </a:cubicBezTo>
                <a:cubicBezTo>
                  <a:pt x="5526291" y="2214984"/>
                  <a:pt x="5527358" y="2212708"/>
                  <a:pt x="5528639" y="2210574"/>
                </a:cubicBezTo>
                <a:lnTo>
                  <a:pt x="5529065" y="2209720"/>
                </a:lnTo>
                <a:lnTo>
                  <a:pt x="5520315" y="2200188"/>
                </a:lnTo>
                <a:lnTo>
                  <a:pt x="5517328" y="2200330"/>
                </a:lnTo>
                <a:lnTo>
                  <a:pt x="5517328" y="2200615"/>
                </a:lnTo>
                <a:cubicBezTo>
                  <a:pt x="5515833" y="2203318"/>
                  <a:pt x="5513699" y="2204456"/>
                  <a:pt x="5511138" y="2205025"/>
                </a:cubicBezTo>
                <a:lnTo>
                  <a:pt x="5507297" y="2205737"/>
                </a:lnTo>
                <a:lnTo>
                  <a:pt x="5507510" y="2205879"/>
                </a:lnTo>
                <a:cubicBezTo>
                  <a:pt x="5507937" y="2206447"/>
                  <a:pt x="5508150" y="2207017"/>
                  <a:pt x="5507937" y="2208155"/>
                </a:cubicBezTo>
                <a:lnTo>
                  <a:pt x="5503028" y="2212708"/>
                </a:lnTo>
                <a:lnTo>
                  <a:pt x="5507723" y="2214557"/>
                </a:lnTo>
                <a:lnTo>
                  <a:pt x="5497906" y="2223093"/>
                </a:lnTo>
                <a:lnTo>
                  <a:pt x="5498760" y="2225654"/>
                </a:lnTo>
                <a:cubicBezTo>
                  <a:pt x="5500254" y="2233479"/>
                  <a:pt x="5500681" y="2241730"/>
                  <a:pt x="5503669" y="2250836"/>
                </a:cubicBezTo>
                <a:cubicBezTo>
                  <a:pt x="5490863" y="2257665"/>
                  <a:pt x="5493211" y="2266627"/>
                  <a:pt x="5491077" y="2274452"/>
                </a:cubicBezTo>
                <a:cubicBezTo>
                  <a:pt x="5480406" y="2274452"/>
                  <a:pt x="5469948" y="2282988"/>
                  <a:pt x="5458850" y="2286403"/>
                </a:cubicBezTo>
                <a:cubicBezTo>
                  <a:pt x="5452448" y="2282562"/>
                  <a:pt x="5446045" y="2279858"/>
                  <a:pt x="5439643" y="2277155"/>
                </a:cubicBezTo>
                <a:lnTo>
                  <a:pt x="5431960" y="2273456"/>
                </a:lnTo>
                <a:lnTo>
                  <a:pt x="5428758" y="2278435"/>
                </a:lnTo>
                <a:cubicBezTo>
                  <a:pt x="5426624" y="2277155"/>
                  <a:pt x="5425770" y="2276017"/>
                  <a:pt x="5425770" y="2274452"/>
                </a:cubicBezTo>
                <a:lnTo>
                  <a:pt x="5427264" y="2271180"/>
                </a:lnTo>
                <a:lnTo>
                  <a:pt x="5420222" y="2267908"/>
                </a:lnTo>
                <a:lnTo>
                  <a:pt x="5419794" y="2266058"/>
                </a:lnTo>
                <a:lnTo>
                  <a:pt x="5416593" y="2270184"/>
                </a:lnTo>
                <a:lnTo>
                  <a:pt x="5415739" y="2270042"/>
                </a:lnTo>
                <a:lnTo>
                  <a:pt x="5415953" y="2270326"/>
                </a:lnTo>
                <a:cubicBezTo>
                  <a:pt x="5416380" y="2271749"/>
                  <a:pt x="5416166" y="2273314"/>
                  <a:pt x="5414672" y="2275306"/>
                </a:cubicBezTo>
                <a:cubicBezTo>
                  <a:pt x="5414032" y="2276444"/>
                  <a:pt x="5412751" y="2276871"/>
                  <a:pt x="5411471" y="2276871"/>
                </a:cubicBezTo>
                <a:cubicBezTo>
                  <a:pt x="5407416" y="2276587"/>
                  <a:pt x="5402080" y="2271749"/>
                  <a:pt x="5404642" y="2267197"/>
                </a:cubicBezTo>
                <a:lnTo>
                  <a:pt x="5404855" y="2267197"/>
                </a:lnTo>
                <a:lnTo>
                  <a:pt x="5403575" y="2266769"/>
                </a:lnTo>
                <a:cubicBezTo>
                  <a:pt x="5403575" y="2266769"/>
                  <a:pt x="5401867" y="2264920"/>
                  <a:pt x="5401867" y="2261506"/>
                </a:cubicBezTo>
                <a:cubicBezTo>
                  <a:pt x="5398239" y="2256242"/>
                  <a:pt x="5403575" y="2250978"/>
                  <a:pt x="5403575" y="2250978"/>
                </a:cubicBezTo>
                <a:cubicBezTo>
                  <a:pt x="5403575" y="2250978"/>
                  <a:pt x="5403788" y="2250978"/>
                  <a:pt x="5401867" y="2250978"/>
                </a:cubicBezTo>
                <a:cubicBezTo>
                  <a:pt x="5403788" y="2250978"/>
                  <a:pt x="5405495" y="2250551"/>
                  <a:pt x="5407416" y="2250124"/>
                </a:cubicBezTo>
                <a:lnTo>
                  <a:pt x="5411471" y="2249413"/>
                </a:lnTo>
                <a:lnTo>
                  <a:pt x="5412965" y="2247706"/>
                </a:lnTo>
                <a:lnTo>
                  <a:pt x="5410404" y="2242868"/>
                </a:lnTo>
                <a:cubicBezTo>
                  <a:pt x="5406563" y="2234332"/>
                  <a:pt x="5403575" y="2225796"/>
                  <a:pt x="5406989" y="2217545"/>
                </a:cubicBezTo>
                <a:lnTo>
                  <a:pt x="5407630" y="2216976"/>
                </a:lnTo>
                <a:lnTo>
                  <a:pt x="5411898" y="2210289"/>
                </a:lnTo>
                <a:lnTo>
                  <a:pt x="5416593" y="2208582"/>
                </a:lnTo>
                <a:lnTo>
                  <a:pt x="5418087" y="2206305"/>
                </a:lnTo>
                <a:cubicBezTo>
                  <a:pt x="5420008" y="2202464"/>
                  <a:pt x="5421289" y="2198481"/>
                  <a:pt x="5424063" y="2194924"/>
                </a:cubicBezTo>
                <a:cubicBezTo>
                  <a:pt x="5428545" y="2193217"/>
                  <a:pt x="5433880" y="2191794"/>
                  <a:pt x="5439216" y="2190941"/>
                </a:cubicBezTo>
                <a:lnTo>
                  <a:pt x="5443271" y="2190798"/>
                </a:lnTo>
                <a:lnTo>
                  <a:pt x="5437722" y="2188237"/>
                </a:lnTo>
                <a:cubicBezTo>
                  <a:pt x="5436014" y="2186815"/>
                  <a:pt x="5434734" y="2185107"/>
                  <a:pt x="5434093" y="2183400"/>
                </a:cubicBezTo>
                <a:lnTo>
                  <a:pt x="5433880" y="2179986"/>
                </a:lnTo>
                <a:lnTo>
                  <a:pt x="5432813" y="2178705"/>
                </a:lnTo>
                <a:cubicBezTo>
                  <a:pt x="5430465" y="2174864"/>
                  <a:pt x="5428972" y="2170596"/>
                  <a:pt x="5429612" y="2166755"/>
                </a:cubicBezTo>
                <a:lnTo>
                  <a:pt x="5432813" y="2160779"/>
                </a:lnTo>
                <a:lnTo>
                  <a:pt x="5432386" y="2160210"/>
                </a:lnTo>
                <a:cubicBezTo>
                  <a:pt x="5433667" y="2156938"/>
                  <a:pt x="5436655" y="2154377"/>
                  <a:pt x="5438149" y="2154804"/>
                </a:cubicBezTo>
                <a:close/>
                <a:moveTo>
                  <a:pt x="5021767" y="2153951"/>
                </a:moveTo>
                <a:cubicBezTo>
                  <a:pt x="5023688" y="2154093"/>
                  <a:pt x="5025608" y="2155089"/>
                  <a:pt x="5027742" y="2156796"/>
                </a:cubicBezTo>
                <a:cubicBezTo>
                  <a:pt x="5027316" y="2160068"/>
                  <a:pt x="5023261" y="2163910"/>
                  <a:pt x="5020059" y="2163198"/>
                </a:cubicBezTo>
                <a:cubicBezTo>
                  <a:pt x="5016858" y="2160068"/>
                  <a:pt x="5018138" y="2158076"/>
                  <a:pt x="5016218" y="2156369"/>
                </a:cubicBezTo>
                <a:cubicBezTo>
                  <a:pt x="5018138" y="2154519"/>
                  <a:pt x="5020059" y="2153808"/>
                  <a:pt x="5021767" y="2153951"/>
                </a:cubicBezTo>
                <a:close/>
                <a:moveTo>
                  <a:pt x="6164843" y="2153666"/>
                </a:moveTo>
                <a:cubicBezTo>
                  <a:pt x="6166124" y="2153666"/>
                  <a:pt x="6167404" y="2153951"/>
                  <a:pt x="6168685" y="2154804"/>
                </a:cubicBezTo>
                <a:cubicBezTo>
                  <a:pt x="6169325" y="2156511"/>
                  <a:pt x="6170819" y="2158930"/>
                  <a:pt x="6170819" y="2161491"/>
                </a:cubicBezTo>
                <a:cubicBezTo>
                  <a:pt x="6166977" y="2165759"/>
                  <a:pt x="6162922" y="2165759"/>
                  <a:pt x="6158654" y="2162913"/>
                </a:cubicBezTo>
                <a:cubicBezTo>
                  <a:pt x="6157160" y="2157934"/>
                  <a:pt x="6160788" y="2153951"/>
                  <a:pt x="6164843" y="2153666"/>
                </a:cubicBezTo>
                <a:close/>
                <a:moveTo>
                  <a:pt x="766264" y="2153545"/>
                </a:moveTo>
                <a:cubicBezTo>
                  <a:pt x="770188" y="2153855"/>
                  <a:pt x="771427" y="2154320"/>
                  <a:pt x="774525" y="2156798"/>
                </a:cubicBezTo>
                <a:cubicBezTo>
                  <a:pt x="774422" y="2162375"/>
                  <a:pt x="771221" y="2165472"/>
                  <a:pt x="768020" y="2168570"/>
                </a:cubicBezTo>
                <a:cubicBezTo>
                  <a:pt x="763580" y="2168106"/>
                  <a:pt x="761928" y="2166711"/>
                  <a:pt x="761721" y="2164853"/>
                </a:cubicBezTo>
                <a:cubicBezTo>
                  <a:pt x="761618" y="2164233"/>
                  <a:pt x="761721" y="2163459"/>
                  <a:pt x="761928" y="2162839"/>
                </a:cubicBezTo>
                <a:cubicBezTo>
                  <a:pt x="762754" y="2159896"/>
                  <a:pt x="765232" y="2156334"/>
                  <a:pt x="766264" y="2153545"/>
                </a:cubicBezTo>
                <a:close/>
                <a:moveTo>
                  <a:pt x="5711113" y="2152954"/>
                </a:moveTo>
                <a:lnTo>
                  <a:pt x="5707698" y="2160353"/>
                </a:lnTo>
                <a:lnTo>
                  <a:pt x="5709405" y="2162771"/>
                </a:lnTo>
                <a:cubicBezTo>
                  <a:pt x="5709618" y="2164336"/>
                  <a:pt x="5708765" y="2166185"/>
                  <a:pt x="5707698" y="2168320"/>
                </a:cubicBezTo>
                <a:cubicBezTo>
                  <a:pt x="5706204" y="2167182"/>
                  <a:pt x="5705563" y="2165902"/>
                  <a:pt x="5705350" y="2164336"/>
                </a:cubicBezTo>
                <a:lnTo>
                  <a:pt x="5705350" y="2163625"/>
                </a:lnTo>
                <a:lnTo>
                  <a:pt x="5701295" y="2169600"/>
                </a:lnTo>
                <a:cubicBezTo>
                  <a:pt x="5699161" y="2172161"/>
                  <a:pt x="5697454" y="2174580"/>
                  <a:pt x="5696813" y="2177425"/>
                </a:cubicBezTo>
                <a:cubicBezTo>
                  <a:pt x="5696813" y="2177425"/>
                  <a:pt x="5696600" y="2177425"/>
                  <a:pt x="5693399" y="2178278"/>
                </a:cubicBezTo>
                <a:cubicBezTo>
                  <a:pt x="5692759" y="2179275"/>
                  <a:pt x="5692759" y="2179275"/>
                  <a:pt x="5692759" y="2179275"/>
                </a:cubicBezTo>
                <a:cubicBezTo>
                  <a:pt x="5692545" y="2179701"/>
                  <a:pt x="5691904" y="2179701"/>
                  <a:pt x="5691264" y="2179559"/>
                </a:cubicBezTo>
                <a:lnTo>
                  <a:pt x="5691051" y="2179843"/>
                </a:lnTo>
                <a:lnTo>
                  <a:pt x="5690411" y="2180413"/>
                </a:lnTo>
                <a:lnTo>
                  <a:pt x="5696387" y="2183827"/>
                </a:lnTo>
                <a:cubicBezTo>
                  <a:pt x="5694892" y="2186815"/>
                  <a:pt x="5698947" y="2188237"/>
                  <a:pt x="5696387" y="2191367"/>
                </a:cubicBezTo>
                <a:lnTo>
                  <a:pt x="5693185" y="2190941"/>
                </a:lnTo>
                <a:cubicBezTo>
                  <a:pt x="5693399" y="2192221"/>
                  <a:pt x="5693185" y="2193928"/>
                  <a:pt x="5692759" y="2196062"/>
                </a:cubicBezTo>
                <a:cubicBezTo>
                  <a:pt x="5691691" y="2200473"/>
                  <a:pt x="5688704" y="2206021"/>
                  <a:pt x="5688063" y="2207586"/>
                </a:cubicBezTo>
                <a:cubicBezTo>
                  <a:pt x="5687423" y="2209151"/>
                  <a:pt x="5687850" y="2210289"/>
                  <a:pt x="5687850" y="2210289"/>
                </a:cubicBezTo>
                <a:cubicBezTo>
                  <a:pt x="5685929" y="2210289"/>
                  <a:pt x="5687636" y="2201184"/>
                  <a:pt x="5688917" y="2194639"/>
                </a:cubicBezTo>
                <a:lnTo>
                  <a:pt x="5689984" y="2190371"/>
                </a:lnTo>
                <a:lnTo>
                  <a:pt x="5688490" y="2190229"/>
                </a:lnTo>
                <a:lnTo>
                  <a:pt x="5686356" y="2188949"/>
                </a:lnTo>
                <a:lnTo>
                  <a:pt x="5683795" y="2189518"/>
                </a:lnTo>
                <a:lnTo>
                  <a:pt x="5683581" y="2189944"/>
                </a:lnTo>
                <a:cubicBezTo>
                  <a:pt x="5682941" y="2191652"/>
                  <a:pt x="5682514" y="2193501"/>
                  <a:pt x="5683155" y="2194213"/>
                </a:cubicBezTo>
                <a:cubicBezTo>
                  <a:pt x="5682088" y="2194070"/>
                  <a:pt x="5680807" y="2195066"/>
                  <a:pt x="5680807" y="2195066"/>
                </a:cubicBezTo>
                <a:cubicBezTo>
                  <a:pt x="5679526" y="2193786"/>
                  <a:pt x="5679740" y="2192506"/>
                  <a:pt x="5679740" y="2191367"/>
                </a:cubicBezTo>
                <a:lnTo>
                  <a:pt x="5682941" y="2189518"/>
                </a:lnTo>
                <a:lnTo>
                  <a:pt x="5673550" y="2191225"/>
                </a:lnTo>
                <a:lnTo>
                  <a:pt x="5670136" y="2190656"/>
                </a:lnTo>
                <a:lnTo>
                  <a:pt x="5670349" y="2192079"/>
                </a:lnTo>
                <a:cubicBezTo>
                  <a:pt x="5667788" y="2191510"/>
                  <a:pt x="5667148" y="2192932"/>
                  <a:pt x="5663947" y="2190087"/>
                </a:cubicBezTo>
                <a:lnTo>
                  <a:pt x="5663947" y="2189660"/>
                </a:lnTo>
                <a:lnTo>
                  <a:pt x="5657971" y="2188664"/>
                </a:lnTo>
                <a:cubicBezTo>
                  <a:pt x="5654770" y="2187384"/>
                  <a:pt x="5651995" y="2185819"/>
                  <a:pt x="5649220" y="2183827"/>
                </a:cubicBezTo>
                <a:cubicBezTo>
                  <a:pt x="5653703" y="2175149"/>
                  <a:pt x="5663947" y="2177425"/>
                  <a:pt x="5671630" y="2177283"/>
                </a:cubicBezTo>
                <a:cubicBezTo>
                  <a:pt x="5669496" y="2169315"/>
                  <a:pt x="5663947" y="2158361"/>
                  <a:pt x="5672270" y="2154377"/>
                </a:cubicBezTo>
                <a:cubicBezTo>
                  <a:pt x="5678673" y="2156654"/>
                  <a:pt x="5678673" y="2164052"/>
                  <a:pt x="5680167" y="2171449"/>
                </a:cubicBezTo>
                <a:lnTo>
                  <a:pt x="5681020" y="2174438"/>
                </a:lnTo>
                <a:lnTo>
                  <a:pt x="5682941" y="2176002"/>
                </a:lnTo>
                <a:lnTo>
                  <a:pt x="5689771" y="2179986"/>
                </a:lnTo>
                <a:lnTo>
                  <a:pt x="5690411" y="2179559"/>
                </a:lnTo>
                <a:lnTo>
                  <a:pt x="5690411" y="2179132"/>
                </a:lnTo>
                <a:lnTo>
                  <a:pt x="5690197" y="2178990"/>
                </a:lnTo>
                <a:lnTo>
                  <a:pt x="5690411" y="2178136"/>
                </a:lnTo>
                <a:lnTo>
                  <a:pt x="5690411" y="2176998"/>
                </a:lnTo>
                <a:lnTo>
                  <a:pt x="5690624" y="2176856"/>
                </a:lnTo>
                <a:lnTo>
                  <a:pt x="5690838" y="2175576"/>
                </a:lnTo>
                <a:cubicBezTo>
                  <a:pt x="5691478" y="2174438"/>
                  <a:pt x="5692545" y="2173299"/>
                  <a:pt x="5693185" y="2172303"/>
                </a:cubicBezTo>
                <a:cubicBezTo>
                  <a:pt x="5692118" y="2170027"/>
                  <a:pt x="5697880" y="2169315"/>
                  <a:pt x="5696600" y="2167039"/>
                </a:cubicBezTo>
                <a:cubicBezTo>
                  <a:pt x="5703003" y="2165332"/>
                  <a:pt x="5701722" y="2157223"/>
                  <a:pt x="5711113" y="2152954"/>
                </a:cubicBezTo>
                <a:close/>
                <a:moveTo>
                  <a:pt x="1165866" y="2150293"/>
                </a:moveTo>
                <a:cubicBezTo>
                  <a:pt x="1166176" y="2152151"/>
                  <a:pt x="1167312" y="2152151"/>
                  <a:pt x="1166279" y="2155094"/>
                </a:cubicBezTo>
                <a:cubicBezTo>
                  <a:pt x="1165143" y="2154940"/>
                  <a:pt x="1164008" y="2154785"/>
                  <a:pt x="1162769" y="2154785"/>
                </a:cubicBezTo>
                <a:cubicBezTo>
                  <a:pt x="1163078" y="2152461"/>
                  <a:pt x="1163491" y="2150138"/>
                  <a:pt x="1165866" y="2150293"/>
                </a:cubicBezTo>
                <a:close/>
                <a:moveTo>
                  <a:pt x="842261" y="2149983"/>
                </a:moveTo>
                <a:cubicBezTo>
                  <a:pt x="842881" y="2154940"/>
                  <a:pt x="835756" y="2159431"/>
                  <a:pt x="831316" y="2161290"/>
                </a:cubicBezTo>
                <a:cubicBezTo>
                  <a:pt x="829664" y="2159587"/>
                  <a:pt x="827908" y="2160516"/>
                  <a:pt x="826257" y="2158967"/>
                </a:cubicBezTo>
                <a:cubicBezTo>
                  <a:pt x="831729" y="2153700"/>
                  <a:pt x="837201" y="2147659"/>
                  <a:pt x="842261" y="2149983"/>
                </a:cubicBezTo>
                <a:close/>
                <a:moveTo>
                  <a:pt x="957289" y="2149518"/>
                </a:moveTo>
                <a:cubicBezTo>
                  <a:pt x="959044" y="2151377"/>
                  <a:pt x="959560" y="2156798"/>
                  <a:pt x="957701" y="2158192"/>
                </a:cubicBezTo>
                <a:cubicBezTo>
                  <a:pt x="956463" y="2158037"/>
                  <a:pt x="955224" y="2157883"/>
                  <a:pt x="953985" y="2157728"/>
                </a:cubicBezTo>
                <a:cubicBezTo>
                  <a:pt x="953158" y="2156334"/>
                  <a:pt x="952642" y="2154785"/>
                  <a:pt x="952539" y="2153545"/>
                </a:cubicBezTo>
                <a:cubicBezTo>
                  <a:pt x="952539" y="2152151"/>
                  <a:pt x="952952" y="2150912"/>
                  <a:pt x="954088" y="2150138"/>
                </a:cubicBezTo>
                <a:cubicBezTo>
                  <a:pt x="954914" y="2149673"/>
                  <a:pt x="955946" y="2149518"/>
                  <a:pt x="957289" y="2149518"/>
                </a:cubicBezTo>
                <a:close/>
                <a:moveTo>
                  <a:pt x="5444551" y="2148971"/>
                </a:moveTo>
                <a:cubicBezTo>
                  <a:pt x="5445832" y="2149255"/>
                  <a:pt x="5446685" y="2149967"/>
                  <a:pt x="5447112" y="2150678"/>
                </a:cubicBezTo>
                <a:cubicBezTo>
                  <a:pt x="5448393" y="2152954"/>
                  <a:pt x="5446685" y="2156369"/>
                  <a:pt x="5444551" y="2157081"/>
                </a:cubicBezTo>
                <a:cubicBezTo>
                  <a:pt x="5443484" y="2157365"/>
                  <a:pt x="5442204" y="2157223"/>
                  <a:pt x="5441136" y="2156084"/>
                </a:cubicBezTo>
                <a:cubicBezTo>
                  <a:pt x="5441777" y="2153381"/>
                  <a:pt x="5442844" y="2151959"/>
                  <a:pt x="5444551" y="2148971"/>
                </a:cubicBezTo>
                <a:close/>
                <a:moveTo>
                  <a:pt x="5595225" y="2148687"/>
                </a:moveTo>
                <a:cubicBezTo>
                  <a:pt x="5595225" y="2148687"/>
                  <a:pt x="5594158" y="2149825"/>
                  <a:pt x="5594158" y="2150963"/>
                </a:cubicBezTo>
                <a:cubicBezTo>
                  <a:pt x="5594158" y="2150963"/>
                  <a:pt x="5593091" y="2152101"/>
                  <a:pt x="5592025" y="2153239"/>
                </a:cubicBezTo>
                <a:cubicBezTo>
                  <a:pt x="5592025" y="2153239"/>
                  <a:pt x="5592025" y="2154377"/>
                  <a:pt x="5592025" y="2155516"/>
                </a:cubicBezTo>
                <a:lnTo>
                  <a:pt x="5589250" y="2159499"/>
                </a:lnTo>
                <a:lnTo>
                  <a:pt x="5590317" y="2159641"/>
                </a:lnTo>
                <a:cubicBezTo>
                  <a:pt x="5595653" y="2160353"/>
                  <a:pt x="5601201" y="2161633"/>
                  <a:pt x="5603336" y="2164763"/>
                </a:cubicBezTo>
                <a:cubicBezTo>
                  <a:pt x="5604189" y="2165759"/>
                  <a:pt x="5604403" y="2167039"/>
                  <a:pt x="5604189" y="2168462"/>
                </a:cubicBezTo>
                <a:cubicBezTo>
                  <a:pt x="5603762" y="2172730"/>
                  <a:pt x="5600988" y="2176571"/>
                  <a:pt x="5596933" y="2178990"/>
                </a:cubicBezTo>
                <a:lnTo>
                  <a:pt x="5592025" y="2180982"/>
                </a:lnTo>
                <a:lnTo>
                  <a:pt x="5594158" y="2181408"/>
                </a:lnTo>
                <a:cubicBezTo>
                  <a:pt x="5595866" y="2181835"/>
                  <a:pt x="5597360" y="2182262"/>
                  <a:pt x="5597146" y="2183116"/>
                </a:cubicBezTo>
                <a:cubicBezTo>
                  <a:pt x="5597146" y="2183116"/>
                  <a:pt x="5595439" y="2182547"/>
                  <a:pt x="5593945" y="2182120"/>
                </a:cubicBezTo>
                <a:cubicBezTo>
                  <a:pt x="5592451" y="2181551"/>
                  <a:pt x="5592451" y="2181551"/>
                  <a:pt x="5591811" y="2183116"/>
                </a:cubicBezTo>
                <a:cubicBezTo>
                  <a:pt x="5590957" y="2182831"/>
                  <a:pt x="5590530" y="2182831"/>
                  <a:pt x="5590317" y="2182405"/>
                </a:cubicBezTo>
                <a:lnTo>
                  <a:pt x="5589890" y="2181693"/>
                </a:lnTo>
                <a:lnTo>
                  <a:pt x="5582847" y="2181693"/>
                </a:lnTo>
                <a:lnTo>
                  <a:pt x="5575804" y="2179843"/>
                </a:lnTo>
                <a:lnTo>
                  <a:pt x="5575591" y="2179843"/>
                </a:lnTo>
                <a:lnTo>
                  <a:pt x="5572816" y="2179132"/>
                </a:lnTo>
                <a:lnTo>
                  <a:pt x="5565347" y="2174580"/>
                </a:lnTo>
                <a:lnTo>
                  <a:pt x="5565774" y="2175006"/>
                </a:lnTo>
                <a:cubicBezTo>
                  <a:pt x="5566627" y="2177851"/>
                  <a:pt x="5565560" y="2181266"/>
                  <a:pt x="5562999" y="2183258"/>
                </a:cubicBezTo>
                <a:lnTo>
                  <a:pt x="5560438" y="2183970"/>
                </a:lnTo>
                <a:lnTo>
                  <a:pt x="5562145" y="2187099"/>
                </a:lnTo>
                <a:lnTo>
                  <a:pt x="5572176" y="2188095"/>
                </a:lnTo>
                <a:lnTo>
                  <a:pt x="5574524" y="2189660"/>
                </a:lnTo>
                <a:lnTo>
                  <a:pt x="5576871" y="2189518"/>
                </a:lnTo>
                <a:cubicBezTo>
                  <a:pt x="5577085" y="2190514"/>
                  <a:pt x="5577085" y="2190514"/>
                  <a:pt x="5576018" y="2190941"/>
                </a:cubicBezTo>
                <a:cubicBezTo>
                  <a:pt x="5576231" y="2190941"/>
                  <a:pt x="5576231" y="2190941"/>
                  <a:pt x="5576445" y="2191083"/>
                </a:cubicBezTo>
                <a:lnTo>
                  <a:pt x="5576018" y="2191367"/>
                </a:lnTo>
                <a:lnTo>
                  <a:pt x="5576445" y="2192079"/>
                </a:lnTo>
                <a:cubicBezTo>
                  <a:pt x="5576658" y="2192932"/>
                  <a:pt x="5576871" y="2193786"/>
                  <a:pt x="5576658" y="2194924"/>
                </a:cubicBezTo>
                <a:cubicBezTo>
                  <a:pt x="5576871" y="2195493"/>
                  <a:pt x="5575804" y="2196205"/>
                  <a:pt x="5574524" y="2196631"/>
                </a:cubicBezTo>
                <a:lnTo>
                  <a:pt x="5573457" y="2196773"/>
                </a:lnTo>
                <a:lnTo>
                  <a:pt x="5574097" y="2197911"/>
                </a:lnTo>
                <a:cubicBezTo>
                  <a:pt x="5574097" y="2199334"/>
                  <a:pt x="5573670" y="2200046"/>
                  <a:pt x="5573670" y="2200046"/>
                </a:cubicBezTo>
                <a:cubicBezTo>
                  <a:pt x="5570042" y="2205310"/>
                  <a:pt x="5564280" y="2207159"/>
                  <a:pt x="5558731" y="2203602"/>
                </a:cubicBezTo>
                <a:cubicBezTo>
                  <a:pt x="5556810" y="2200188"/>
                  <a:pt x="5558731" y="2196631"/>
                  <a:pt x="5560652" y="2193217"/>
                </a:cubicBezTo>
                <a:lnTo>
                  <a:pt x="5562999" y="2190941"/>
                </a:lnTo>
                <a:lnTo>
                  <a:pt x="5562572" y="2190656"/>
                </a:lnTo>
                <a:lnTo>
                  <a:pt x="5562145" y="2187952"/>
                </a:lnTo>
                <a:lnTo>
                  <a:pt x="5562145" y="2189944"/>
                </a:lnTo>
                <a:cubicBezTo>
                  <a:pt x="5561719" y="2190798"/>
                  <a:pt x="5561292" y="2191510"/>
                  <a:pt x="5560438" y="2191794"/>
                </a:cubicBezTo>
                <a:cubicBezTo>
                  <a:pt x="5559584" y="2191083"/>
                  <a:pt x="5558944" y="2192221"/>
                  <a:pt x="5557877" y="2191652"/>
                </a:cubicBezTo>
                <a:cubicBezTo>
                  <a:pt x="5555316" y="2191367"/>
                  <a:pt x="5554462" y="2190798"/>
                  <a:pt x="5554249" y="2189233"/>
                </a:cubicBezTo>
                <a:cubicBezTo>
                  <a:pt x="5553182" y="2188522"/>
                  <a:pt x="5553822" y="2187526"/>
                  <a:pt x="5553609" y="2185961"/>
                </a:cubicBezTo>
                <a:lnTo>
                  <a:pt x="5554676" y="2184965"/>
                </a:lnTo>
                <a:lnTo>
                  <a:pt x="5553609" y="2183827"/>
                </a:lnTo>
                <a:cubicBezTo>
                  <a:pt x="5552328" y="2181551"/>
                  <a:pt x="5551474" y="2179559"/>
                  <a:pt x="5551901" y="2178848"/>
                </a:cubicBezTo>
                <a:lnTo>
                  <a:pt x="5555743" y="2183542"/>
                </a:lnTo>
                <a:lnTo>
                  <a:pt x="5554249" y="2177567"/>
                </a:lnTo>
                <a:cubicBezTo>
                  <a:pt x="5554249" y="2174580"/>
                  <a:pt x="5554889" y="2171734"/>
                  <a:pt x="5556169" y="2170596"/>
                </a:cubicBezTo>
                <a:lnTo>
                  <a:pt x="5561719" y="2171449"/>
                </a:lnTo>
                <a:lnTo>
                  <a:pt x="5561292" y="2171023"/>
                </a:lnTo>
                <a:cubicBezTo>
                  <a:pt x="5563426" y="2159499"/>
                  <a:pt x="5572816" y="2157934"/>
                  <a:pt x="5581780" y="2158503"/>
                </a:cubicBezTo>
                <a:lnTo>
                  <a:pt x="5584982" y="2158930"/>
                </a:lnTo>
                <a:lnTo>
                  <a:pt x="5585622" y="2157649"/>
                </a:lnTo>
                <a:cubicBezTo>
                  <a:pt x="5586262" y="2156796"/>
                  <a:pt x="5587116" y="2155943"/>
                  <a:pt x="5587542" y="2155373"/>
                </a:cubicBezTo>
                <a:cubicBezTo>
                  <a:pt x="5587542" y="2154235"/>
                  <a:pt x="5588610" y="2153097"/>
                  <a:pt x="5589677" y="2153239"/>
                </a:cubicBezTo>
                <a:cubicBezTo>
                  <a:pt x="5589677" y="2153239"/>
                  <a:pt x="5590744" y="2152101"/>
                  <a:pt x="5590744" y="2150821"/>
                </a:cubicBezTo>
                <a:cubicBezTo>
                  <a:pt x="5592878" y="2148544"/>
                  <a:pt x="5593945" y="2148544"/>
                  <a:pt x="5595225" y="2148687"/>
                </a:cubicBezTo>
                <a:close/>
                <a:moveTo>
                  <a:pt x="5356196" y="2148687"/>
                </a:moveTo>
                <a:cubicBezTo>
                  <a:pt x="5357476" y="2148402"/>
                  <a:pt x="5358970" y="2148402"/>
                  <a:pt x="5360251" y="2149113"/>
                </a:cubicBezTo>
                <a:cubicBezTo>
                  <a:pt x="5360464" y="2149825"/>
                  <a:pt x="5360891" y="2150821"/>
                  <a:pt x="5361317" y="2151817"/>
                </a:cubicBezTo>
                <a:cubicBezTo>
                  <a:pt x="5361744" y="2152954"/>
                  <a:pt x="5362171" y="2154093"/>
                  <a:pt x="5361958" y="2155516"/>
                </a:cubicBezTo>
                <a:lnTo>
                  <a:pt x="5361317" y="2156084"/>
                </a:lnTo>
                <a:lnTo>
                  <a:pt x="5365372" y="2159641"/>
                </a:lnTo>
                <a:cubicBezTo>
                  <a:pt x="5352994" y="2163910"/>
                  <a:pt x="5348512" y="2180839"/>
                  <a:pt x="5336987" y="2179416"/>
                </a:cubicBezTo>
                <a:cubicBezTo>
                  <a:pt x="5341256" y="2172872"/>
                  <a:pt x="5343817" y="2161206"/>
                  <a:pt x="5348512" y="2155658"/>
                </a:cubicBezTo>
                <a:lnTo>
                  <a:pt x="5350646" y="2154662"/>
                </a:lnTo>
                <a:lnTo>
                  <a:pt x="5351073" y="2152244"/>
                </a:lnTo>
                <a:cubicBezTo>
                  <a:pt x="5352354" y="2150394"/>
                  <a:pt x="5354061" y="2149113"/>
                  <a:pt x="5356196" y="2148687"/>
                </a:cubicBezTo>
                <a:close/>
                <a:moveTo>
                  <a:pt x="4983351" y="2148260"/>
                </a:moveTo>
                <a:cubicBezTo>
                  <a:pt x="4984418" y="2148260"/>
                  <a:pt x="4985699" y="2148829"/>
                  <a:pt x="4985699" y="2149398"/>
                </a:cubicBezTo>
                <a:cubicBezTo>
                  <a:pt x="4984845" y="2150963"/>
                  <a:pt x="4982497" y="2151817"/>
                  <a:pt x="4981644" y="2153381"/>
                </a:cubicBezTo>
                <a:cubicBezTo>
                  <a:pt x="4981430" y="2152244"/>
                  <a:pt x="4980150" y="2151532"/>
                  <a:pt x="4979723" y="2150394"/>
                </a:cubicBezTo>
                <a:cubicBezTo>
                  <a:pt x="4980577" y="2148829"/>
                  <a:pt x="4982071" y="2148260"/>
                  <a:pt x="4983351" y="2148260"/>
                </a:cubicBezTo>
                <a:close/>
                <a:moveTo>
                  <a:pt x="5174575" y="2148118"/>
                </a:moveTo>
                <a:cubicBezTo>
                  <a:pt x="5175429" y="2148829"/>
                  <a:pt x="5176069" y="2149540"/>
                  <a:pt x="5176282" y="2150394"/>
                </a:cubicBezTo>
                <a:cubicBezTo>
                  <a:pt x="5177136" y="2152670"/>
                  <a:pt x="5175002" y="2155231"/>
                  <a:pt x="5172868" y="2157649"/>
                </a:cubicBezTo>
                <a:cubicBezTo>
                  <a:pt x="5170947" y="2156369"/>
                  <a:pt x="5168386" y="2157365"/>
                  <a:pt x="5166892" y="2153524"/>
                </a:cubicBezTo>
                <a:cubicBezTo>
                  <a:pt x="5169453" y="2151390"/>
                  <a:pt x="5171801" y="2150252"/>
                  <a:pt x="5174575" y="2148118"/>
                </a:cubicBezTo>
                <a:close/>
                <a:moveTo>
                  <a:pt x="1026057" y="2147195"/>
                </a:moveTo>
                <a:cubicBezTo>
                  <a:pt x="1029465" y="2148898"/>
                  <a:pt x="1029878" y="2152306"/>
                  <a:pt x="1033698" y="2154630"/>
                </a:cubicBezTo>
                <a:cubicBezTo>
                  <a:pt x="1033079" y="2157573"/>
                  <a:pt x="1037106" y="2160826"/>
                  <a:pt x="1035970" y="2164698"/>
                </a:cubicBezTo>
                <a:cubicBezTo>
                  <a:pt x="1029774" y="2163149"/>
                  <a:pt x="1024612" y="2150293"/>
                  <a:pt x="1026057" y="2147195"/>
                </a:cubicBezTo>
                <a:close/>
                <a:moveTo>
                  <a:pt x="5670136" y="2147122"/>
                </a:moveTo>
                <a:cubicBezTo>
                  <a:pt x="5670562" y="2146980"/>
                  <a:pt x="5670990" y="2146980"/>
                  <a:pt x="5671630" y="2147549"/>
                </a:cubicBezTo>
                <a:cubicBezTo>
                  <a:pt x="5671630" y="2147549"/>
                  <a:pt x="5671630" y="2147690"/>
                  <a:pt x="5671630" y="2148687"/>
                </a:cubicBezTo>
                <a:cubicBezTo>
                  <a:pt x="5671630" y="2148687"/>
                  <a:pt x="5670562" y="2148687"/>
                  <a:pt x="5669496" y="2147549"/>
                </a:cubicBezTo>
                <a:cubicBezTo>
                  <a:pt x="5669496" y="2147549"/>
                  <a:pt x="5669709" y="2147264"/>
                  <a:pt x="5670136" y="2147122"/>
                </a:cubicBezTo>
                <a:close/>
                <a:moveTo>
                  <a:pt x="5803950" y="2146980"/>
                </a:moveTo>
                <a:cubicBezTo>
                  <a:pt x="5806938" y="2147690"/>
                  <a:pt x="5808432" y="2147975"/>
                  <a:pt x="5809499" y="2150109"/>
                </a:cubicBezTo>
                <a:cubicBezTo>
                  <a:pt x="5810993" y="2150394"/>
                  <a:pt x="5812487" y="2150821"/>
                  <a:pt x="5813554" y="2151532"/>
                </a:cubicBezTo>
                <a:cubicBezTo>
                  <a:pt x="5814621" y="2152244"/>
                  <a:pt x="5815048" y="2153381"/>
                  <a:pt x="5814621" y="2154946"/>
                </a:cubicBezTo>
                <a:cubicBezTo>
                  <a:pt x="5810993" y="2155800"/>
                  <a:pt x="5808645" y="2156084"/>
                  <a:pt x="5804590" y="2155943"/>
                </a:cubicBezTo>
                <a:cubicBezTo>
                  <a:pt x="5804590" y="2155943"/>
                  <a:pt x="5798401" y="2154377"/>
                  <a:pt x="5798828" y="2150109"/>
                </a:cubicBezTo>
                <a:cubicBezTo>
                  <a:pt x="5798188" y="2149113"/>
                  <a:pt x="5802243" y="2146552"/>
                  <a:pt x="5803950" y="2146980"/>
                </a:cubicBezTo>
                <a:close/>
                <a:moveTo>
                  <a:pt x="1067876" y="2146885"/>
                </a:moveTo>
                <a:cubicBezTo>
                  <a:pt x="1070561" y="2146420"/>
                  <a:pt x="1073245" y="2146111"/>
                  <a:pt x="1076550" y="2149053"/>
                </a:cubicBezTo>
                <a:cubicBezTo>
                  <a:pt x="1077066" y="2152461"/>
                  <a:pt x="1076033" y="2154785"/>
                  <a:pt x="1072213" y="2157418"/>
                </a:cubicBezTo>
                <a:cubicBezTo>
                  <a:pt x="1069012" y="2156953"/>
                  <a:pt x="1065501" y="2153081"/>
                  <a:pt x="1066018" y="2149828"/>
                </a:cubicBezTo>
                <a:cubicBezTo>
                  <a:pt x="1066121" y="2148743"/>
                  <a:pt x="1066740" y="2147659"/>
                  <a:pt x="1067876" y="2146885"/>
                </a:cubicBezTo>
                <a:close/>
                <a:moveTo>
                  <a:pt x="5046523" y="2144134"/>
                </a:moveTo>
                <a:cubicBezTo>
                  <a:pt x="5050151" y="2146695"/>
                  <a:pt x="5053566" y="2145699"/>
                  <a:pt x="5058261" y="2150536"/>
                </a:cubicBezTo>
                <a:cubicBezTo>
                  <a:pt x="5048871" y="2169031"/>
                  <a:pt x="5045030" y="2189091"/>
                  <a:pt x="5036492" y="2204029"/>
                </a:cubicBezTo>
                <a:lnTo>
                  <a:pt x="5034999" y="2194497"/>
                </a:lnTo>
                <a:lnTo>
                  <a:pt x="5033932" y="2194924"/>
                </a:lnTo>
                <a:cubicBezTo>
                  <a:pt x="5031157" y="2198481"/>
                  <a:pt x="5034572" y="2205025"/>
                  <a:pt x="5027956" y="2205737"/>
                </a:cubicBezTo>
                <a:cubicBezTo>
                  <a:pt x="5024541" y="2204456"/>
                  <a:pt x="5020486" y="2204314"/>
                  <a:pt x="5017285" y="2201753"/>
                </a:cubicBezTo>
                <a:cubicBezTo>
                  <a:pt x="5016218" y="2200900"/>
                  <a:pt x="5015150" y="2199619"/>
                  <a:pt x="5014297" y="2198054"/>
                </a:cubicBezTo>
                <a:cubicBezTo>
                  <a:pt x="5023261" y="2194497"/>
                  <a:pt x="5027529" y="2189233"/>
                  <a:pt x="5034359" y="2184254"/>
                </a:cubicBezTo>
                <a:lnTo>
                  <a:pt x="5034785" y="2184680"/>
                </a:lnTo>
                <a:lnTo>
                  <a:pt x="5036492" y="2174295"/>
                </a:lnTo>
                <a:lnTo>
                  <a:pt x="5040547" y="2161918"/>
                </a:lnTo>
                <a:lnTo>
                  <a:pt x="5038413" y="2161775"/>
                </a:lnTo>
                <a:cubicBezTo>
                  <a:pt x="5037133" y="2161349"/>
                  <a:pt x="5035852" y="2160637"/>
                  <a:pt x="5034359" y="2159357"/>
                </a:cubicBezTo>
                <a:cubicBezTo>
                  <a:pt x="5032651" y="2153666"/>
                  <a:pt x="5037560" y="2150963"/>
                  <a:pt x="5038627" y="2146980"/>
                </a:cubicBezTo>
                <a:cubicBezTo>
                  <a:pt x="5041188" y="2147690"/>
                  <a:pt x="5042895" y="2148829"/>
                  <a:pt x="5044175" y="2150394"/>
                </a:cubicBezTo>
                <a:lnTo>
                  <a:pt x="5044389" y="2150678"/>
                </a:lnTo>
                <a:close/>
                <a:moveTo>
                  <a:pt x="968234" y="2142393"/>
                </a:moveTo>
                <a:cubicBezTo>
                  <a:pt x="969576" y="2142083"/>
                  <a:pt x="971332" y="2142393"/>
                  <a:pt x="973190" y="2143477"/>
                </a:cubicBezTo>
                <a:cubicBezTo>
                  <a:pt x="975256" y="2146420"/>
                  <a:pt x="975462" y="2149828"/>
                  <a:pt x="974016" y="2151842"/>
                </a:cubicBezTo>
                <a:cubicBezTo>
                  <a:pt x="972674" y="2154010"/>
                  <a:pt x="969783" y="2154940"/>
                  <a:pt x="965446" y="2153236"/>
                </a:cubicBezTo>
                <a:cubicBezTo>
                  <a:pt x="964620" y="2151997"/>
                  <a:pt x="964000" y="2150757"/>
                  <a:pt x="963794" y="2149518"/>
                </a:cubicBezTo>
                <a:cubicBezTo>
                  <a:pt x="963071" y="2145955"/>
                  <a:pt x="964930" y="2142703"/>
                  <a:pt x="968234" y="2142393"/>
                </a:cubicBezTo>
                <a:close/>
                <a:moveTo>
                  <a:pt x="5389489" y="2142000"/>
                </a:moveTo>
                <a:cubicBezTo>
                  <a:pt x="5389916" y="2142427"/>
                  <a:pt x="5390769" y="2143280"/>
                  <a:pt x="5392690" y="2144134"/>
                </a:cubicBezTo>
                <a:cubicBezTo>
                  <a:pt x="5394397" y="2145699"/>
                  <a:pt x="5396105" y="2145841"/>
                  <a:pt x="5394397" y="2147549"/>
                </a:cubicBezTo>
                <a:cubicBezTo>
                  <a:pt x="5392690" y="2149113"/>
                  <a:pt x="5392690" y="2149113"/>
                  <a:pt x="5387355" y="2149113"/>
                </a:cubicBezTo>
                <a:cubicBezTo>
                  <a:pt x="5389062" y="2147407"/>
                  <a:pt x="5389062" y="2147407"/>
                  <a:pt x="5387355" y="2145841"/>
                </a:cubicBezTo>
                <a:cubicBezTo>
                  <a:pt x="5387355" y="2145841"/>
                  <a:pt x="5387355" y="2145841"/>
                  <a:pt x="5385434" y="2145841"/>
                </a:cubicBezTo>
                <a:cubicBezTo>
                  <a:pt x="5385434" y="2144134"/>
                  <a:pt x="5387355" y="2144134"/>
                  <a:pt x="5387355" y="2142569"/>
                </a:cubicBezTo>
                <a:cubicBezTo>
                  <a:pt x="5387355" y="2142569"/>
                  <a:pt x="5389062" y="2142569"/>
                  <a:pt x="5389062" y="2142569"/>
                </a:cubicBezTo>
                <a:cubicBezTo>
                  <a:pt x="5389062" y="2141715"/>
                  <a:pt x="5389062" y="2141715"/>
                  <a:pt x="5389489" y="2142000"/>
                </a:cubicBezTo>
                <a:close/>
                <a:moveTo>
                  <a:pt x="5693826" y="2141573"/>
                </a:moveTo>
                <a:cubicBezTo>
                  <a:pt x="5694466" y="2141573"/>
                  <a:pt x="5694892" y="2142000"/>
                  <a:pt x="5695533" y="2142569"/>
                </a:cubicBezTo>
                <a:cubicBezTo>
                  <a:pt x="5694679" y="2146125"/>
                  <a:pt x="5693612" y="2148402"/>
                  <a:pt x="5691478" y="2151817"/>
                </a:cubicBezTo>
                <a:cubicBezTo>
                  <a:pt x="5691478" y="2151817"/>
                  <a:pt x="5686996" y="2156369"/>
                  <a:pt x="5683368" y="2153808"/>
                </a:cubicBezTo>
                <a:cubicBezTo>
                  <a:pt x="5682301" y="2153808"/>
                  <a:pt x="5682088" y="2149113"/>
                  <a:pt x="5683155" y="2147975"/>
                </a:cubicBezTo>
                <a:cubicBezTo>
                  <a:pt x="5685289" y="2145699"/>
                  <a:pt x="5686356" y="2144560"/>
                  <a:pt x="5688704" y="2144703"/>
                </a:cubicBezTo>
                <a:cubicBezTo>
                  <a:pt x="5689771" y="2143565"/>
                  <a:pt x="5691051" y="2142427"/>
                  <a:pt x="5692118" y="2141858"/>
                </a:cubicBezTo>
                <a:cubicBezTo>
                  <a:pt x="5692759" y="2141573"/>
                  <a:pt x="5693185" y="2141431"/>
                  <a:pt x="5693826" y="2141573"/>
                </a:cubicBezTo>
                <a:close/>
                <a:moveTo>
                  <a:pt x="5002559" y="2141146"/>
                </a:moveTo>
                <a:cubicBezTo>
                  <a:pt x="5005760" y="2140435"/>
                  <a:pt x="5009388" y="2142142"/>
                  <a:pt x="5009175" y="2147549"/>
                </a:cubicBezTo>
                <a:cubicBezTo>
                  <a:pt x="5004479" y="2148544"/>
                  <a:pt x="5001278" y="2149255"/>
                  <a:pt x="4998717" y="2148971"/>
                </a:cubicBezTo>
                <a:cubicBezTo>
                  <a:pt x="4996796" y="2144845"/>
                  <a:pt x="4999358" y="2141858"/>
                  <a:pt x="5002559" y="2141146"/>
                </a:cubicBezTo>
                <a:close/>
                <a:moveTo>
                  <a:pt x="4549255" y="2141004"/>
                </a:moveTo>
                <a:cubicBezTo>
                  <a:pt x="4546907" y="2144703"/>
                  <a:pt x="4540292" y="2150678"/>
                  <a:pt x="4538798" y="2150109"/>
                </a:cubicBezTo>
                <a:cubicBezTo>
                  <a:pt x="4540505" y="2147975"/>
                  <a:pt x="4546694" y="2141004"/>
                  <a:pt x="4549255" y="2141004"/>
                </a:cubicBezTo>
                <a:close/>
                <a:moveTo>
                  <a:pt x="766484" y="2140321"/>
                </a:moveTo>
                <a:cubicBezTo>
                  <a:pt x="772563" y="2140805"/>
                  <a:pt x="778036" y="2143322"/>
                  <a:pt x="778346" y="2147969"/>
                </a:cubicBezTo>
                <a:cubicBezTo>
                  <a:pt x="768640" y="2145955"/>
                  <a:pt x="761308" y="2149208"/>
                  <a:pt x="750983" y="2144871"/>
                </a:cubicBezTo>
                <a:cubicBezTo>
                  <a:pt x="753719" y="2141386"/>
                  <a:pt x="760405" y="2139837"/>
                  <a:pt x="766484" y="2140321"/>
                </a:cubicBezTo>
                <a:close/>
                <a:moveTo>
                  <a:pt x="5198905" y="2139866"/>
                </a:moveTo>
                <a:cubicBezTo>
                  <a:pt x="5201252" y="2139866"/>
                  <a:pt x="5203814" y="2140577"/>
                  <a:pt x="5207015" y="2143565"/>
                </a:cubicBezTo>
                <a:cubicBezTo>
                  <a:pt x="5213418" y="2150678"/>
                  <a:pt x="5207228" y="2156938"/>
                  <a:pt x="5208509" y="2157081"/>
                </a:cubicBezTo>
                <a:cubicBezTo>
                  <a:pt x="5209576" y="2158503"/>
                  <a:pt x="5209576" y="2158361"/>
                  <a:pt x="5210643" y="2158646"/>
                </a:cubicBezTo>
                <a:cubicBezTo>
                  <a:pt x="5210643" y="2159784"/>
                  <a:pt x="5211497" y="2162487"/>
                  <a:pt x="5212564" y="2163910"/>
                </a:cubicBezTo>
                <a:cubicBezTo>
                  <a:pt x="5211497" y="2163625"/>
                  <a:pt x="5210430" y="2163483"/>
                  <a:pt x="5210216" y="2164620"/>
                </a:cubicBezTo>
                <a:cubicBezTo>
                  <a:pt x="5208082" y="2161918"/>
                  <a:pt x="5208295" y="2160637"/>
                  <a:pt x="5207228" y="2159357"/>
                </a:cubicBezTo>
                <a:cubicBezTo>
                  <a:pt x="5207015" y="2160495"/>
                  <a:pt x="5205948" y="2159072"/>
                  <a:pt x="5205948" y="2159072"/>
                </a:cubicBezTo>
                <a:cubicBezTo>
                  <a:pt x="5205948" y="2159072"/>
                  <a:pt x="5205948" y="2159072"/>
                  <a:pt x="5203600" y="2161064"/>
                </a:cubicBezTo>
                <a:cubicBezTo>
                  <a:pt x="5203600" y="2161064"/>
                  <a:pt x="5197411" y="2164905"/>
                  <a:pt x="5192076" y="2159214"/>
                </a:cubicBezTo>
                <a:cubicBezTo>
                  <a:pt x="5193356" y="2158218"/>
                  <a:pt x="5186953" y="2149967"/>
                  <a:pt x="5189515" y="2145557"/>
                </a:cubicBezTo>
                <a:cubicBezTo>
                  <a:pt x="5190795" y="2143280"/>
                  <a:pt x="5192076" y="2142285"/>
                  <a:pt x="5193356" y="2140151"/>
                </a:cubicBezTo>
                <a:cubicBezTo>
                  <a:pt x="5195064" y="2140435"/>
                  <a:pt x="5196771" y="2139723"/>
                  <a:pt x="5198905" y="2139866"/>
                </a:cubicBezTo>
                <a:close/>
                <a:moveTo>
                  <a:pt x="1006542" y="2139605"/>
                </a:moveTo>
                <a:cubicBezTo>
                  <a:pt x="1008710" y="2141619"/>
                  <a:pt x="1011395" y="2140999"/>
                  <a:pt x="1014080" y="2144716"/>
                </a:cubicBezTo>
                <a:lnTo>
                  <a:pt x="1012014" y="2147505"/>
                </a:lnTo>
                <a:lnTo>
                  <a:pt x="1012737" y="2147815"/>
                </a:lnTo>
                <a:cubicBezTo>
                  <a:pt x="1014286" y="2149983"/>
                  <a:pt x="1011704" y="2154475"/>
                  <a:pt x="1008814" y="2156179"/>
                </a:cubicBezTo>
                <a:lnTo>
                  <a:pt x="1005716" y="2156024"/>
                </a:lnTo>
                <a:lnTo>
                  <a:pt x="1000243" y="2163459"/>
                </a:lnTo>
                <a:cubicBezTo>
                  <a:pt x="996113" y="2169500"/>
                  <a:pt x="992189" y="2175386"/>
                  <a:pt x="987543" y="2180188"/>
                </a:cubicBezTo>
                <a:cubicBezTo>
                  <a:pt x="987336" y="2178484"/>
                  <a:pt x="987233" y="2176780"/>
                  <a:pt x="987439" y="2175076"/>
                </a:cubicBezTo>
                <a:cubicBezTo>
                  <a:pt x="988575" y="2162994"/>
                  <a:pt x="999314" y="2151222"/>
                  <a:pt x="1006542" y="2139605"/>
                </a:cubicBezTo>
                <a:close/>
                <a:moveTo>
                  <a:pt x="5667362" y="2138586"/>
                </a:moveTo>
                <a:cubicBezTo>
                  <a:pt x="5668642" y="2138443"/>
                  <a:pt x="5669496" y="2138728"/>
                  <a:pt x="5669922" y="2139154"/>
                </a:cubicBezTo>
                <a:cubicBezTo>
                  <a:pt x="5670349" y="2139723"/>
                  <a:pt x="5670562" y="2140720"/>
                  <a:pt x="5670562" y="2142000"/>
                </a:cubicBezTo>
                <a:cubicBezTo>
                  <a:pt x="5668002" y="2147690"/>
                  <a:pt x="5662239" y="2147122"/>
                  <a:pt x="5656477" y="2149398"/>
                </a:cubicBezTo>
                <a:cubicBezTo>
                  <a:pt x="5656050" y="2148402"/>
                  <a:pt x="5654556" y="2147975"/>
                  <a:pt x="5653489" y="2148687"/>
                </a:cubicBezTo>
                <a:cubicBezTo>
                  <a:pt x="5651995" y="2148260"/>
                  <a:pt x="5650288" y="2147833"/>
                  <a:pt x="5650715" y="2148971"/>
                </a:cubicBezTo>
                <a:cubicBezTo>
                  <a:pt x="5646020" y="2147833"/>
                  <a:pt x="5645166" y="2148402"/>
                  <a:pt x="5644525" y="2144703"/>
                </a:cubicBezTo>
                <a:cubicBezTo>
                  <a:pt x="5653276" y="2140577"/>
                  <a:pt x="5664800" y="2138870"/>
                  <a:pt x="5667362" y="2138586"/>
                </a:cubicBezTo>
                <a:close/>
                <a:moveTo>
                  <a:pt x="5740138" y="2137732"/>
                </a:moveTo>
                <a:cubicBezTo>
                  <a:pt x="5742485" y="2138586"/>
                  <a:pt x="5746967" y="2139582"/>
                  <a:pt x="5748461" y="2141431"/>
                </a:cubicBezTo>
                <a:cubicBezTo>
                  <a:pt x="5749101" y="2142000"/>
                  <a:pt x="5749101" y="2142712"/>
                  <a:pt x="5748888" y="2143565"/>
                </a:cubicBezTo>
                <a:cubicBezTo>
                  <a:pt x="5745900" y="2142427"/>
                  <a:pt x="5740778" y="2142569"/>
                  <a:pt x="5740138" y="2137732"/>
                </a:cubicBezTo>
                <a:close/>
                <a:moveTo>
                  <a:pt x="1103500" y="2136817"/>
                </a:moveTo>
                <a:cubicBezTo>
                  <a:pt x="1103500" y="2136817"/>
                  <a:pt x="1103500" y="2136817"/>
                  <a:pt x="1104326" y="2136972"/>
                </a:cubicBezTo>
                <a:cubicBezTo>
                  <a:pt x="1106081" y="2137126"/>
                  <a:pt x="1106907" y="2137126"/>
                  <a:pt x="1107836" y="2137282"/>
                </a:cubicBezTo>
                <a:cubicBezTo>
                  <a:pt x="1108662" y="2138211"/>
                  <a:pt x="1110314" y="2140844"/>
                  <a:pt x="1109385" y="2141619"/>
                </a:cubicBezTo>
                <a:cubicBezTo>
                  <a:pt x="1107630" y="2143167"/>
                  <a:pt x="1105152" y="2143632"/>
                  <a:pt x="1104222" y="2142703"/>
                </a:cubicBezTo>
                <a:cubicBezTo>
                  <a:pt x="1102983" y="2141464"/>
                  <a:pt x="1101744" y="2139915"/>
                  <a:pt x="1102261" y="2138520"/>
                </a:cubicBezTo>
                <a:cubicBezTo>
                  <a:pt x="1102467" y="2137901"/>
                  <a:pt x="1102777" y="2137436"/>
                  <a:pt x="1103500" y="2136817"/>
                </a:cubicBezTo>
                <a:close/>
                <a:moveTo>
                  <a:pt x="6320639" y="2136451"/>
                </a:moveTo>
                <a:cubicBezTo>
                  <a:pt x="6328536" y="2139439"/>
                  <a:pt x="6335792" y="2143138"/>
                  <a:pt x="6347317" y="2143138"/>
                </a:cubicBezTo>
                <a:cubicBezTo>
                  <a:pt x="6347103" y="2146552"/>
                  <a:pt x="6351372" y="2146268"/>
                  <a:pt x="6350305" y="2150394"/>
                </a:cubicBezTo>
                <a:cubicBezTo>
                  <a:pt x="6343262" y="2156084"/>
                  <a:pt x="6320426" y="2149255"/>
                  <a:pt x="6320639" y="2136451"/>
                </a:cubicBezTo>
                <a:close/>
                <a:moveTo>
                  <a:pt x="5374763" y="2135456"/>
                </a:moveTo>
                <a:cubicBezTo>
                  <a:pt x="5377324" y="2136167"/>
                  <a:pt x="5378818" y="2137305"/>
                  <a:pt x="5379885" y="2138728"/>
                </a:cubicBezTo>
                <a:cubicBezTo>
                  <a:pt x="5382873" y="2142996"/>
                  <a:pt x="5380525" y="2149398"/>
                  <a:pt x="5375830" y="2150536"/>
                </a:cubicBezTo>
                <a:cubicBezTo>
                  <a:pt x="5373909" y="2150963"/>
                  <a:pt x="5371348" y="2150536"/>
                  <a:pt x="5368787" y="2148260"/>
                </a:cubicBezTo>
                <a:cubicBezTo>
                  <a:pt x="5367720" y="2142427"/>
                  <a:pt x="5373269" y="2139582"/>
                  <a:pt x="5374763" y="2135456"/>
                </a:cubicBezTo>
                <a:close/>
                <a:moveTo>
                  <a:pt x="5797334" y="2134886"/>
                </a:moveTo>
                <a:cubicBezTo>
                  <a:pt x="5797334" y="2134886"/>
                  <a:pt x="5797761" y="2135029"/>
                  <a:pt x="5798188" y="2135313"/>
                </a:cubicBezTo>
                <a:cubicBezTo>
                  <a:pt x="5798401" y="2135598"/>
                  <a:pt x="5798614" y="2136024"/>
                  <a:pt x="5798401" y="2136878"/>
                </a:cubicBezTo>
                <a:cubicBezTo>
                  <a:pt x="5798401" y="2136878"/>
                  <a:pt x="5798401" y="2136736"/>
                  <a:pt x="5797548" y="2137305"/>
                </a:cubicBezTo>
                <a:cubicBezTo>
                  <a:pt x="5797548" y="2137305"/>
                  <a:pt x="5796907" y="2136451"/>
                  <a:pt x="5797334" y="2134886"/>
                </a:cubicBezTo>
                <a:close/>
                <a:moveTo>
                  <a:pt x="5552328" y="2134886"/>
                </a:moveTo>
                <a:cubicBezTo>
                  <a:pt x="5555743" y="2135456"/>
                  <a:pt x="5560225" y="2136309"/>
                  <a:pt x="5562359" y="2137732"/>
                </a:cubicBezTo>
                <a:cubicBezTo>
                  <a:pt x="5560012" y="2138586"/>
                  <a:pt x="5555529" y="2139013"/>
                  <a:pt x="5553395" y="2136309"/>
                </a:cubicBezTo>
                <a:cubicBezTo>
                  <a:pt x="5553395" y="2136309"/>
                  <a:pt x="5553395" y="2136309"/>
                  <a:pt x="5552328" y="2134886"/>
                </a:cubicBezTo>
                <a:close/>
                <a:moveTo>
                  <a:pt x="4964357" y="2134744"/>
                </a:moveTo>
                <a:cubicBezTo>
                  <a:pt x="4965851" y="2135171"/>
                  <a:pt x="4966278" y="2136309"/>
                  <a:pt x="4966704" y="2137305"/>
                </a:cubicBezTo>
                <a:cubicBezTo>
                  <a:pt x="4966491" y="2140008"/>
                  <a:pt x="4966064" y="2142712"/>
                  <a:pt x="4965851" y="2145415"/>
                </a:cubicBezTo>
                <a:cubicBezTo>
                  <a:pt x="4963930" y="2150109"/>
                  <a:pt x="4962009" y="2155089"/>
                  <a:pt x="4957954" y="2154519"/>
                </a:cubicBezTo>
                <a:cubicBezTo>
                  <a:pt x="4958381" y="2149113"/>
                  <a:pt x="4958167" y="2145415"/>
                  <a:pt x="4958808" y="2140008"/>
                </a:cubicBezTo>
                <a:cubicBezTo>
                  <a:pt x="4959448" y="2138443"/>
                  <a:pt x="4962863" y="2134176"/>
                  <a:pt x="4964357" y="2134744"/>
                </a:cubicBezTo>
                <a:close/>
                <a:moveTo>
                  <a:pt x="798790" y="2134493"/>
                </a:moveTo>
                <a:cubicBezTo>
                  <a:pt x="801578" y="2138211"/>
                  <a:pt x="797551" y="2143632"/>
                  <a:pt x="793215" y="2143012"/>
                </a:cubicBezTo>
                <a:cubicBezTo>
                  <a:pt x="792492" y="2142083"/>
                  <a:pt x="790943" y="2140999"/>
                  <a:pt x="790530" y="2139295"/>
                </a:cubicBezTo>
                <a:cubicBezTo>
                  <a:pt x="792285" y="2135268"/>
                  <a:pt x="795280" y="2134029"/>
                  <a:pt x="798790" y="2134493"/>
                </a:cubicBezTo>
                <a:close/>
                <a:moveTo>
                  <a:pt x="5597360" y="2134033"/>
                </a:moveTo>
                <a:cubicBezTo>
                  <a:pt x="5598427" y="2133606"/>
                  <a:pt x="5601201" y="2134602"/>
                  <a:pt x="5602695" y="2135171"/>
                </a:cubicBezTo>
                <a:cubicBezTo>
                  <a:pt x="5603762" y="2134602"/>
                  <a:pt x="5605256" y="2135171"/>
                  <a:pt x="5605683" y="2136167"/>
                </a:cubicBezTo>
                <a:cubicBezTo>
                  <a:pt x="5605683" y="2136167"/>
                  <a:pt x="5607177" y="2136736"/>
                  <a:pt x="5608244" y="2136167"/>
                </a:cubicBezTo>
                <a:cubicBezTo>
                  <a:pt x="5609738" y="2136736"/>
                  <a:pt x="5610592" y="2137305"/>
                  <a:pt x="5611232" y="2137732"/>
                </a:cubicBezTo>
                <a:lnTo>
                  <a:pt x="5611872" y="2139154"/>
                </a:lnTo>
                <a:lnTo>
                  <a:pt x="5612086" y="2139013"/>
                </a:lnTo>
                <a:cubicBezTo>
                  <a:pt x="5619555" y="2139297"/>
                  <a:pt x="5647727" y="2147975"/>
                  <a:pt x="5635349" y="2159641"/>
                </a:cubicBezTo>
                <a:cubicBezTo>
                  <a:pt x="5625531" y="2153381"/>
                  <a:pt x="5613793" y="2152670"/>
                  <a:pt x="5611232" y="2146837"/>
                </a:cubicBezTo>
                <a:lnTo>
                  <a:pt x="5611872" y="2139297"/>
                </a:lnTo>
                <a:lnTo>
                  <a:pt x="5609524" y="2139297"/>
                </a:lnTo>
                <a:cubicBezTo>
                  <a:pt x="5609524" y="2139297"/>
                  <a:pt x="5608031" y="2138870"/>
                  <a:pt x="5606537" y="2138301"/>
                </a:cubicBezTo>
                <a:cubicBezTo>
                  <a:pt x="5606537" y="2138301"/>
                  <a:pt x="5605470" y="2138728"/>
                  <a:pt x="5604403" y="2139297"/>
                </a:cubicBezTo>
                <a:cubicBezTo>
                  <a:pt x="5600561" y="2138728"/>
                  <a:pt x="5597787" y="2138870"/>
                  <a:pt x="5597360" y="2134033"/>
                </a:cubicBezTo>
                <a:close/>
                <a:moveTo>
                  <a:pt x="4666423" y="2133037"/>
                </a:moveTo>
                <a:cubicBezTo>
                  <a:pt x="4657245" y="2149255"/>
                  <a:pt x="4643160" y="2173015"/>
                  <a:pt x="4626300" y="2188379"/>
                </a:cubicBezTo>
                <a:lnTo>
                  <a:pt x="4623739" y="2190371"/>
                </a:lnTo>
                <a:lnTo>
                  <a:pt x="4625873" y="2190941"/>
                </a:lnTo>
                <a:cubicBezTo>
                  <a:pt x="4625446" y="2193501"/>
                  <a:pt x="4627367" y="2195493"/>
                  <a:pt x="4624806" y="2198623"/>
                </a:cubicBezTo>
                <a:lnTo>
                  <a:pt x="4618830" y="2194355"/>
                </a:lnTo>
                <a:lnTo>
                  <a:pt x="4617763" y="2195351"/>
                </a:lnTo>
                <a:cubicBezTo>
                  <a:pt x="4614775" y="2197343"/>
                  <a:pt x="4611787" y="2199050"/>
                  <a:pt x="4608799" y="2200330"/>
                </a:cubicBezTo>
                <a:cubicBezTo>
                  <a:pt x="4598128" y="2188237"/>
                  <a:pt x="4607305" y="2172872"/>
                  <a:pt x="4621604" y="2159641"/>
                </a:cubicBezTo>
                <a:lnTo>
                  <a:pt x="4634410" y="2150394"/>
                </a:lnTo>
                <a:lnTo>
                  <a:pt x="4633983" y="2150109"/>
                </a:lnTo>
                <a:cubicBezTo>
                  <a:pt x="4636544" y="2148260"/>
                  <a:pt x="4635690" y="2145557"/>
                  <a:pt x="4638251" y="2143707"/>
                </a:cubicBezTo>
                <a:lnTo>
                  <a:pt x="4640386" y="2146125"/>
                </a:lnTo>
                <a:lnTo>
                  <a:pt x="4645508" y="2142427"/>
                </a:lnTo>
                <a:cubicBezTo>
                  <a:pt x="4653404" y="2137732"/>
                  <a:pt x="4661087" y="2134459"/>
                  <a:pt x="4666423" y="2133037"/>
                </a:cubicBezTo>
                <a:close/>
                <a:moveTo>
                  <a:pt x="5838951" y="2131899"/>
                </a:moveTo>
                <a:cubicBezTo>
                  <a:pt x="5838524" y="2133464"/>
                  <a:pt x="5836390" y="2137447"/>
                  <a:pt x="5832335" y="2137305"/>
                </a:cubicBezTo>
                <a:cubicBezTo>
                  <a:pt x="5828280" y="2137021"/>
                  <a:pt x="5825719" y="2139866"/>
                  <a:pt x="5821664" y="2139723"/>
                </a:cubicBezTo>
                <a:cubicBezTo>
                  <a:pt x="5821664" y="2139723"/>
                  <a:pt x="5821877" y="2139723"/>
                  <a:pt x="5822304" y="2138016"/>
                </a:cubicBezTo>
                <a:cubicBezTo>
                  <a:pt x="5828280" y="2137021"/>
                  <a:pt x="5832335" y="2131757"/>
                  <a:pt x="5838951" y="2131899"/>
                </a:cubicBezTo>
                <a:close/>
                <a:moveTo>
                  <a:pt x="4835878" y="2131614"/>
                </a:moveTo>
                <a:cubicBezTo>
                  <a:pt x="4841427" y="2137589"/>
                  <a:pt x="4849110" y="2143138"/>
                  <a:pt x="4852952" y="2150821"/>
                </a:cubicBezTo>
                <a:cubicBezTo>
                  <a:pt x="4844628" y="2150678"/>
                  <a:pt x="4830969" y="2141715"/>
                  <a:pt x="4835878" y="2131614"/>
                </a:cubicBezTo>
                <a:close/>
                <a:moveTo>
                  <a:pt x="4560140" y="2130761"/>
                </a:moveTo>
                <a:cubicBezTo>
                  <a:pt x="4561847" y="2130192"/>
                  <a:pt x="4563981" y="2130334"/>
                  <a:pt x="4566542" y="2131330"/>
                </a:cubicBezTo>
                <a:cubicBezTo>
                  <a:pt x="4568677" y="2135456"/>
                  <a:pt x="4568036" y="2139297"/>
                  <a:pt x="4564408" y="2145130"/>
                </a:cubicBezTo>
                <a:cubicBezTo>
                  <a:pt x="4558859" y="2146837"/>
                  <a:pt x="4550536" y="2140862"/>
                  <a:pt x="4555018" y="2133464"/>
                </a:cubicBezTo>
                <a:cubicBezTo>
                  <a:pt x="4556725" y="2132468"/>
                  <a:pt x="4558219" y="2131330"/>
                  <a:pt x="4560140" y="2130761"/>
                </a:cubicBezTo>
                <a:close/>
                <a:moveTo>
                  <a:pt x="713604" y="2130621"/>
                </a:moveTo>
                <a:cubicBezTo>
                  <a:pt x="715979" y="2129691"/>
                  <a:pt x="721761" y="2130156"/>
                  <a:pt x="724446" y="2133874"/>
                </a:cubicBezTo>
                <a:cubicBezTo>
                  <a:pt x="723310" y="2138986"/>
                  <a:pt x="719799" y="2139295"/>
                  <a:pt x="714740" y="2136662"/>
                </a:cubicBezTo>
                <a:cubicBezTo>
                  <a:pt x="714740" y="2134803"/>
                  <a:pt x="714017" y="2133254"/>
                  <a:pt x="713604" y="2130621"/>
                </a:cubicBezTo>
                <a:close/>
                <a:moveTo>
                  <a:pt x="4715509" y="2130476"/>
                </a:moveTo>
                <a:lnTo>
                  <a:pt x="4718924" y="2132041"/>
                </a:lnTo>
                <a:lnTo>
                  <a:pt x="4719778" y="2131187"/>
                </a:lnTo>
                <a:cubicBezTo>
                  <a:pt x="4721912" y="2132894"/>
                  <a:pt x="4723833" y="2134602"/>
                  <a:pt x="4724686" y="2137163"/>
                </a:cubicBezTo>
                <a:lnTo>
                  <a:pt x="4727888" y="2140577"/>
                </a:lnTo>
                <a:cubicBezTo>
                  <a:pt x="4726180" y="2143565"/>
                  <a:pt x="4727674" y="2145415"/>
                  <a:pt x="4725967" y="2148402"/>
                </a:cubicBezTo>
                <a:cubicBezTo>
                  <a:pt x="4717857" y="2143565"/>
                  <a:pt x="4708467" y="2139013"/>
                  <a:pt x="4710600" y="2131187"/>
                </a:cubicBezTo>
                <a:cubicBezTo>
                  <a:pt x="4712308" y="2130334"/>
                  <a:pt x="4714015" y="2130192"/>
                  <a:pt x="4715509" y="2130476"/>
                </a:cubicBezTo>
                <a:close/>
                <a:moveTo>
                  <a:pt x="6271553" y="2130192"/>
                </a:moveTo>
                <a:cubicBezTo>
                  <a:pt x="6272834" y="2130049"/>
                  <a:pt x="6273047" y="2130476"/>
                  <a:pt x="6273047" y="2131330"/>
                </a:cubicBezTo>
                <a:cubicBezTo>
                  <a:pt x="6272834" y="2132326"/>
                  <a:pt x="6272620" y="2133464"/>
                  <a:pt x="6272620" y="2134886"/>
                </a:cubicBezTo>
                <a:lnTo>
                  <a:pt x="6268138" y="2133606"/>
                </a:lnTo>
                <a:cubicBezTo>
                  <a:pt x="6268565" y="2131899"/>
                  <a:pt x="6269846" y="2129765"/>
                  <a:pt x="6271553" y="2130192"/>
                </a:cubicBezTo>
                <a:close/>
                <a:moveTo>
                  <a:pt x="732706" y="2129846"/>
                </a:moveTo>
                <a:cubicBezTo>
                  <a:pt x="733429" y="2129691"/>
                  <a:pt x="734255" y="2129846"/>
                  <a:pt x="735185" y="2130156"/>
                </a:cubicBezTo>
                <a:cubicBezTo>
                  <a:pt x="734978" y="2135422"/>
                  <a:pt x="737560" y="2140379"/>
                  <a:pt x="735701" y="2142703"/>
                </a:cubicBezTo>
                <a:cubicBezTo>
                  <a:pt x="735081" y="2143477"/>
                  <a:pt x="734049" y="2143942"/>
                  <a:pt x="732190" y="2143942"/>
                </a:cubicBezTo>
                <a:cubicBezTo>
                  <a:pt x="731467" y="2142548"/>
                  <a:pt x="730331" y="2139295"/>
                  <a:pt x="730125" y="2136197"/>
                </a:cubicBezTo>
                <a:cubicBezTo>
                  <a:pt x="729815" y="2133099"/>
                  <a:pt x="730435" y="2130311"/>
                  <a:pt x="732706" y="2129846"/>
                </a:cubicBezTo>
                <a:close/>
                <a:moveTo>
                  <a:pt x="831935" y="2129072"/>
                </a:moveTo>
                <a:cubicBezTo>
                  <a:pt x="835343" y="2128917"/>
                  <a:pt x="838028" y="2132170"/>
                  <a:pt x="835550" y="2135732"/>
                </a:cubicBezTo>
                <a:cubicBezTo>
                  <a:pt x="830696" y="2135268"/>
                  <a:pt x="829044" y="2133409"/>
                  <a:pt x="828528" y="2130311"/>
                </a:cubicBezTo>
                <a:cubicBezTo>
                  <a:pt x="829561" y="2129536"/>
                  <a:pt x="830800" y="2129072"/>
                  <a:pt x="831935" y="2129072"/>
                </a:cubicBezTo>
                <a:close/>
                <a:moveTo>
                  <a:pt x="903286" y="2128297"/>
                </a:moveTo>
                <a:cubicBezTo>
                  <a:pt x="905144" y="2126903"/>
                  <a:pt x="908035" y="2126903"/>
                  <a:pt x="909481" y="2130621"/>
                </a:cubicBezTo>
                <a:cubicBezTo>
                  <a:pt x="906590" y="2132634"/>
                  <a:pt x="904731" y="2134029"/>
                  <a:pt x="902872" y="2134648"/>
                </a:cubicBezTo>
                <a:cubicBezTo>
                  <a:pt x="901633" y="2133564"/>
                  <a:pt x="901324" y="2132325"/>
                  <a:pt x="901427" y="2131086"/>
                </a:cubicBezTo>
                <a:cubicBezTo>
                  <a:pt x="901633" y="2130001"/>
                  <a:pt x="902356" y="2129072"/>
                  <a:pt x="903286" y="2128297"/>
                </a:cubicBezTo>
                <a:close/>
                <a:moveTo>
                  <a:pt x="5406776" y="2127773"/>
                </a:moveTo>
                <a:cubicBezTo>
                  <a:pt x="5409764" y="2126493"/>
                  <a:pt x="5412538" y="2128057"/>
                  <a:pt x="5414459" y="2130903"/>
                </a:cubicBezTo>
                <a:cubicBezTo>
                  <a:pt x="5418514" y="2136309"/>
                  <a:pt x="5419794" y="2146552"/>
                  <a:pt x="5415313" y="2149255"/>
                </a:cubicBezTo>
                <a:cubicBezTo>
                  <a:pt x="5412111" y="2151105"/>
                  <a:pt x="5406563" y="2149540"/>
                  <a:pt x="5397599" y="2141146"/>
                </a:cubicBezTo>
                <a:cubicBezTo>
                  <a:pt x="5400587" y="2132894"/>
                  <a:pt x="5403788" y="2128912"/>
                  <a:pt x="5406776" y="2127773"/>
                </a:cubicBezTo>
                <a:close/>
                <a:moveTo>
                  <a:pt x="868385" y="2127678"/>
                </a:moveTo>
                <a:cubicBezTo>
                  <a:pt x="872309" y="2131705"/>
                  <a:pt x="867972" y="2134338"/>
                  <a:pt x="866733" y="2139605"/>
                </a:cubicBezTo>
                <a:cubicBezTo>
                  <a:pt x="864461" y="2138675"/>
                  <a:pt x="863222" y="2136507"/>
                  <a:pt x="862809" y="2134183"/>
                </a:cubicBezTo>
                <a:cubicBezTo>
                  <a:pt x="862499" y="2131860"/>
                  <a:pt x="863016" y="2129536"/>
                  <a:pt x="864461" y="2128297"/>
                </a:cubicBezTo>
                <a:cubicBezTo>
                  <a:pt x="865391" y="2127523"/>
                  <a:pt x="866733" y="2127213"/>
                  <a:pt x="868385" y="2127678"/>
                </a:cubicBezTo>
                <a:close/>
                <a:moveTo>
                  <a:pt x="1157812" y="2127523"/>
                </a:moveTo>
                <a:cubicBezTo>
                  <a:pt x="1159464" y="2129382"/>
                  <a:pt x="1164008" y="2130001"/>
                  <a:pt x="1162356" y="2134029"/>
                </a:cubicBezTo>
                <a:lnTo>
                  <a:pt x="1158432" y="2135113"/>
                </a:lnTo>
                <a:lnTo>
                  <a:pt x="1159464" y="2139140"/>
                </a:lnTo>
                <a:cubicBezTo>
                  <a:pt x="1159361" y="2145801"/>
                  <a:pt x="1154921" y="2155094"/>
                  <a:pt x="1147900" y="2155094"/>
                </a:cubicBezTo>
                <a:cubicBezTo>
                  <a:pt x="1149035" y="2152151"/>
                  <a:pt x="1150171" y="2149363"/>
                  <a:pt x="1151101" y="2146265"/>
                </a:cubicBezTo>
                <a:lnTo>
                  <a:pt x="1152443" y="2137901"/>
                </a:lnTo>
                <a:lnTo>
                  <a:pt x="1148519" y="2140844"/>
                </a:lnTo>
                <a:cubicBezTo>
                  <a:pt x="1144596" y="2144097"/>
                  <a:pt x="1140981" y="2147195"/>
                  <a:pt x="1136232" y="2145491"/>
                </a:cubicBezTo>
                <a:cubicBezTo>
                  <a:pt x="1141704" y="2138520"/>
                  <a:pt x="1145834" y="2130775"/>
                  <a:pt x="1157812" y="2127523"/>
                </a:cubicBezTo>
                <a:close/>
                <a:moveTo>
                  <a:pt x="6280730" y="2127062"/>
                </a:moveTo>
                <a:cubicBezTo>
                  <a:pt x="6281370" y="2128200"/>
                  <a:pt x="6282224" y="2127488"/>
                  <a:pt x="6282864" y="2128484"/>
                </a:cubicBezTo>
                <a:cubicBezTo>
                  <a:pt x="6282864" y="2128484"/>
                  <a:pt x="6283931" y="2129196"/>
                  <a:pt x="6284785" y="2130618"/>
                </a:cubicBezTo>
                <a:cubicBezTo>
                  <a:pt x="6285212" y="2131330"/>
                  <a:pt x="6285638" y="2132326"/>
                  <a:pt x="6285852" y="2133322"/>
                </a:cubicBezTo>
                <a:cubicBezTo>
                  <a:pt x="6286279" y="2134459"/>
                  <a:pt x="6286279" y="2135740"/>
                  <a:pt x="6285852" y="2137163"/>
                </a:cubicBezTo>
                <a:cubicBezTo>
                  <a:pt x="6285425" y="2138870"/>
                  <a:pt x="6283291" y="2142854"/>
                  <a:pt x="6282864" y="2141858"/>
                </a:cubicBezTo>
                <a:cubicBezTo>
                  <a:pt x="6281370" y="2141431"/>
                  <a:pt x="6281797" y="2142427"/>
                  <a:pt x="6280730" y="2142996"/>
                </a:cubicBezTo>
                <a:cubicBezTo>
                  <a:pt x="6276248" y="2142000"/>
                  <a:pt x="6273474" y="2139582"/>
                  <a:pt x="6274114" y="2135313"/>
                </a:cubicBezTo>
                <a:cubicBezTo>
                  <a:pt x="6274967" y="2132041"/>
                  <a:pt x="6276675" y="2127062"/>
                  <a:pt x="6280730" y="2127062"/>
                </a:cubicBezTo>
                <a:close/>
                <a:moveTo>
                  <a:pt x="5363238" y="2126350"/>
                </a:moveTo>
                <a:cubicBezTo>
                  <a:pt x="5364946" y="2126350"/>
                  <a:pt x="5366439" y="2126635"/>
                  <a:pt x="5367293" y="2128057"/>
                </a:cubicBezTo>
                <a:cubicBezTo>
                  <a:pt x="5367934" y="2128769"/>
                  <a:pt x="5368147" y="2129765"/>
                  <a:pt x="5368147" y="2131187"/>
                </a:cubicBezTo>
                <a:cubicBezTo>
                  <a:pt x="5361104" y="2133749"/>
                  <a:pt x="5355768" y="2139582"/>
                  <a:pt x="5351927" y="2138586"/>
                </a:cubicBezTo>
                <a:cubicBezTo>
                  <a:pt x="5350646" y="2138301"/>
                  <a:pt x="5349366" y="2137163"/>
                  <a:pt x="5348299" y="2134886"/>
                </a:cubicBezTo>
                <a:cubicBezTo>
                  <a:pt x="5350433" y="2132468"/>
                  <a:pt x="5358116" y="2126777"/>
                  <a:pt x="5363238" y="2126350"/>
                </a:cubicBezTo>
                <a:close/>
                <a:moveTo>
                  <a:pt x="4834598" y="2126350"/>
                </a:moveTo>
                <a:cubicBezTo>
                  <a:pt x="4834598" y="2127631"/>
                  <a:pt x="4835878" y="2130192"/>
                  <a:pt x="4834811" y="2131330"/>
                </a:cubicBezTo>
                <a:cubicBezTo>
                  <a:pt x="4833744" y="2132468"/>
                  <a:pt x="4833744" y="2132468"/>
                  <a:pt x="4831396" y="2132326"/>
                </a:cubicBezTo>
                <a:cubicBezTo>
                  <a:pt x="4832463" y="2128769"/>
                  <a:pt x="4832463" y="2128769"/>
                  <a:pt x="4834598" y="2126350"/>
                </a:cubicBezTo>
                <a:close/>
                <a:moveTo>
                  <a:pt x="5526504" y="2125923"/>
                </a:moveTo>
                <a:cubicBezTo>
                  <a:pt x="5532053" y="2128057"/>
                  <a:pt x="5540163" y="2128200"/>
                  <a:pt x="5544645" y="2132326"/>
                </a:cubicBezTo>
                <a:cubicBezTo>
                  <a:pt x="5542298" y="2132041"/>
                  <a:pt x="5529706" y="2128769"/>
                  <a:pt x="5526504" y="2125923"/>
                </a:cubicBezTo>
                <a:close/>
                <a:moveTo>
                  <a:pt x="5169666" y="2124928"/>
                </a:moveTo>
                <a:cubicBezTo>
                  <a:pt x="5172227" y="2125070"/>
                  <a:pt x="5174789" y="2125639"/>
                  <a:pt x="5176709" y="2126635"/>
                </a:cubicBezTo>
                <a:lnTo>
                  <a:pt x="5175215" y="2128342"/>
                </a:lnTo>
                <a:lnTo>
                  <a:pt x="5182045" y="2135740"/>
                </a:lnTo>
                <a:cubicBezTo>
                  <a:pt x="5184606" y="2138728"/>
                  <a:pt x="5186953" y="2142000"/>
                  <a:pt x="5188234" y="2145841"/>
                </a:cubicBezTo>
                <a:cubicBezTo>
                  <a:pt x="5182045" y="2145841"/>
                  <a:pt x="5173508" y="2141146"/>
                  <a:pt x="5172441" y="2134318"/>
                </a:cubicBezTo>
                <a:lnTo>
                  <a:pt x="5173295" y="2130761"/>
                </a:lnTo>
                <a:lnTo>
                  <a:pt x="5171374" y="2133179"/>
                </a:lnTo>
                <a:cubicBezTo>
                  <a:pt x="5164544" y="2138016"/>
                  <a:pt x="5154300" y="2138443"/>
                  <a:pt x="5148325" y="2137021"/>
                </a:cubicBezTo>
                <a:cubicBezTo>
                  <a:pt x="5151953" y="2128769"/>
                  <a:pt x="5161770" y="2124785"/>
                  <a:pt x="5169666" y="2124928"/>
                </a:cubicBezTo>
                <a:close/>
                <a:moveTo>
                  <a:pt x="5523943" y="2124217"/>
                </a:moveTo>
                <a:cubicBezTo>
                  <a:pt x="5525011" y="2125497"/>
                  <a:pt x="5525224" y="2125497"/>
                  <a:pt x="5526504" y="2125639"/>
                </a:cubicBezTo>
                <a:cubicBezTo>
                  <a:pt x="5526504" y="2125639"/>
                  <a:pt x="5525011" y="2126635"/>
                  <a:pt x="5525011" y="2126635"/>
                </a:cubicBezTo>
                <a:cubicBezTo>
                  <a:pt x="5523943" y="2125355"/>
                  <a:pt x="5523730" y="2126493"/>
                  <a:pt x="5523943" y="2124217"/>
                </a:cubicBezTo>
                <a:close/>
                <a:moveTo>
                  <a:pt x="5517968" y="2123363"/>
                </a:moveTo>
                <a:cubicBezTo>
                  <a:pt x="5519248" y="2123505"/>
                  <a:pt x="5520529" y="2123647"/>
                  <a:pt x="5520529" y="2124785"/>
                </a:cubicBezTo>
                <a:cubicBezTo>
                  <a:pt x="5520529" y="2125782"/>
                  <a:pt x="5519248" y="2125639"/>
                  <a:pt x="5517968" y="2124358"/>
                </a:cubicBezTo>
                <a:cubicBezTo>
                  <a:pt x="5517968" y="2124358"/>
                  <a:pt x="5517968" y="2123363"/>
                  <a:pt x="5517968" y="2123363"/>
                </a:cubicBezTo>
                <a:close/>
                <a:moveTo>
                  <a:pt x="822268" y="2123050"/>
                </a:moveTo>
                <a:cubicBezTo>
                  <a:pt x="823753" y="2121947"/>
                  <a:pt x="825792" y="2122489"/>
                  <a:pt x="827702" y="2127213"/>
                </a:cubicBezTo>
                <a:cubicBezTo>
                  <a:pt x="822643" y="2131860"/>
                  <a:pt x="820577" y="2130930"/>
                  <a:pt x="820164" y="2128762"/>
                </a:cubicBezTo>
                <a:cubicBezTo>
                  <a:pt x="819855" y="2126903"/>
                  <a:pt x="820784" y="2124154"/>
                  <a:pt x="822268" y="2123050"/>
                </a:cubicBezTo>
                <a:close/>
                <a:moveTo>
                  <a:pt x="4834598" y="2122936"/>
                </a:moveTo>
                <a:cubicBezTo>
                  <a:pt x="4835664" y="2122936"/>
                  <a:pt x="4835664" y="2124358"/>
                  <a:pt x="4834811" y="2125639"/>
                </a:cubicBezTo>
                <a:cubicBezTo>
                  <a:pt x="4834811" y="2125639"/>
                  <a:pt x="4833744" y="2125497"/>
                  <a:pt x="4833744" y="2125497"/>
                </a:cubicBezTo>
                <a:cubicBezTo>
                  <a:pt x="4833531" y="2124217"/>
                  <a:pt x="4833531" y="2122936"/>
                  <a:pt x="4834598" y="2122936"/>
                </a:cubicBezTo>
                <a:close/>
                <a:moveTo>
                  <a:pt x="1070044" y="2122876"/>
                </a:moveTo>
                <a:cubicBezTo>
                  <a:pt x="1073452" y="2124580"/>
                  <a:pt x="1077375" y="2129536"/>
                  <a:pt x="1075827" y="2132634"/>
                </a:cubicBezTo>
                <a:lnTo>
                  <a:pt x="1075207" y="2134029"/>
                </a:lnTo>
                <a:lnTo>
                  <a:pt x="1077789" y="2136817"/>
                </a:lnTo>
                <a:cubicBezTo>
                  <a:pt x="1078099" y="2137746"/>
                  <a:pt x="1077892" y="2138675"/>
                  <a:pt x="1077375" y="2139605"/>
                </a:cubicBezTo>
                <a:lnTo>
                  <a:pt x="1075827" y="2141154"/>
                </a:lnTo>
                <a:lnTo>
                  <a:pt x="1079028" y="2142858"/>
                </a:lnTo>
                <a:cubicBezTo>
                  <a:pt x="1081609" y="2144407"/>
                  <a:pt x="1083674" y="2145955"/>
                  <a:pt x="1083777" y="2147350"/>
                </a:cubicBezTo>
                <a:cubicBezTo>
                  <a:pt x="1082952" y="2147505"/>
                  <a:pt x="1082125" y="2147815"/>
                  <a:pt x="1080990" y="2147195"/>
                </a:cubicBezTo>
                <a:cubicBezTo>
                  <a:pt x="1079854" y="2146730"/>
                  <a:pt x="1080576" y="2146420"/>
                  <a:pt x="1079854" y="2146730"/>
                </a:cubicBezTo>
                <a:cubicBezTo>
                  <a:pt x="1078615" y="2146111"/>
                  <a:pt x="1078925" y="2146885"/>
                  <a:pt x="1078925" y="2146885"/>
                </a:cubicBezTo>
                <a:cubicBezTo>
                  <a:pt x="1078925" y="2146885"/>
                  <a:pt x="1078615" y="2146111"/>
                  <a:pt x="1078615" y="2146111"/>
                </a:cubicBezTo>
                <a:cubicBezTo>
                  <a:pt x="1078615" y="2146111"/>
                  <a:pt x="1078718" y="2146111"/>
                  <a:pt x="1076343" y="2145026"/>
                </a:cubicBezTo>
                <a:cubicBezTo>
                  <a:pt x="1073245" y="2144252"/>
                  <a:pt x="1072523" y="2144562"/>
                  <a:pt x="1070561" y="2144252"/>
                </a:cubicBezTo>
                <a:lnTo>
                  <a:pt x="1070148" y="2143942"/>
                </a:lnTo>
                <a:lnTo>
                  <a:pt x="1067566" y="2145646"/>
                </a:lnTo>
                <a:cubicBezTo>
                  <a:pt x="1061784" y="2147350"/>
                  <a:pt x="1053936" y="2144716"/>
                  <a:pt x="1052904" y="2137901"/>
                </a:cubicBezTo>
                <a:cubicBezTo>
                  <a:pt x="1053833" y="2136042"/>
                  <a:pt x="1055279" y="2134803"/>
                  <a:pt x="1056931" y="2133874"/>
                </a:cubicBezTo>
                <a:lnTo>
                  <a:pt x="1059822" y="2133099"/>
                </a:lnTo>
                <a:lnTo>
                  <a:pt x="1060545" y="2126594"/>
                </a:lnTo>
                <a:cubicBezTo>
                  <a:pt x="1061681" y="2127213"/>
                  <a:pt x="1062404" y="2124270"/>
                  <a:pt x="1063642" y="2123031"/>
                </a:cubicBezTo>
                <a:cubicBezTo>
                  <a:pt x="1066121" y="2122256"/>
                  <a:pt x="1067670" y="2121792"/>
                  <a:pt x="1070044" y="2122876"/>
                </a:cubicBezTo>
                <a:close/>
                <a:moveTo>
                  <a:pt x="889862" y="2122721"/>
                </a:moveTo>
                <a:cubicBezTo>
                  <a:pt x="892547" y="2122256"/>
                  <a:pt x="896781" y="2124425"/>
                  <a:pt x="897193" y="2125819"/>
                </a:cubicBezTo>
                <a:cubicBezTo>
                  <a:pt x="896470" y="2127523"/>
                  <a:pt x="887178" y="2128142"/>
                  <a:pt x="888004" y="2124115"/>
                </a:cubicBezTo>
                <a:cubicBezTo>
                  <a:pt x="888314" y="2123341"/>
                  <a:pt x="888933" y="2122876"/>
                  <a:pt x="889862" y="2122721"/>
                </a:cubicBezTo>
                <a:close/>
                <a:moveTo>
                  <a:pt x="4912923" y="2122367"/>
                </a:moveTo>
                <a:cubicBezTo>
                  <a:pt x="4914203" y="2124217"/>
                  <a:pt x="4915057" y="2126208"/>
                  <a:pt x="4915697" y="2127915"/>
                </a:cubicBezTo>
                <a:cubicBezTo>
                  <a:pt x="4916337" y="2129623"/>
                  <a:pt x="4916551" y="2131187"/>
                  <a:pt x="4916978" y="2132468"/>
                </a:cubicBezTo>
                <a:cubicBezTo>
                  <a:pt x="4914203" y="2134602"/>
                  <a:pt x="4912709" y="2136878"/>
                  <a:pt x="4909935" y="2139154"/>
                </a:cubicBezTo>
                <a:lnTo>
                  <a:pt x="4909508" y="2139013"/>
                </a:lnTo>
                <a:lnTo>
                  <a:pt x="4909508" y="2139297"/>
                </a:lnTo>
                <a:lnTo>
                  <a:pt x="4908014" y="2141146"/>
                </a:lnTo>
                <a:lnTo>
                  <a:pt x="4910361" y="2142000"/>
                </a:lnTo>
                <a:cubicBezTo>
                  <a:pt x="4914630" y="2146268"/>
                  <a:pt x="4915483" y="2149967"/>
                  <a:pt x="4915270" y="2153666"/>
                </a:cubicBezTo>
                <a:cubicBezTo>
                  <a:pt x="4915270" y="2153666"/>
                  <a:pt x="4915270" y="2153666"/>
                  <a:pt x="4915270" y="2152528"/>
                </a:cubicBezTo>
                <a:cubicBezTo>
                  <a:pt x="4920179" y="2148402"/>
                  <a:pt x="4928716" y="2141431"/>
                  <a:pt x="4932130" y="2143138"/>
                </a:cubicBezTo>
                <a:cubicBezTo>
                  <a:pt x="4932130" y="2144277"/>
                  <a:pt x="4932130" y="2145557"/>
                  <a:pt x="4930850" y="2146552"/>
                </a:cubicBezTo>
                <a:cubicBezTo>
                  <a:pt x="4929569" y="2147549"/>
                  <a:pt x="4929569" y="2146268"/>
                  <a:pt x="4929569" y="2147549"/>
                </a:cubicBezTo>
                <a:cubicBezTo>
                  <a:pt x="4928289" y="2148544"/>
                  <a:pt x="4929569" y="2148687"/>
                  <a:pt x="4929569" y="2148687"/>
                </a:cubicBezTo>
                <a:cubicBezTo>
                  <a:pt x="4929569" y="2148687"/>
                  <a:pt x="4928289" y="2148544"/>
                  <a:pt x="4928289" y="2148544"/>
                </a:cubicBezTo>
                <a:cubicBezTo>
                  <a:pt x="4928289" y="2148544"/>
                  <a:pt x="4928289" y="2148544"/>
                  <a:pt x="4925941" y="2150536"/>
                </a:cubicBezTo>
                <a:cubicBezTo>
                  <a:pt x="4923380" y="2153666"/>
                  <a:pt x="4923380" y="2154946"/>
                  <a:pt x="4922099" y="2157223"/>
                </a:cubicBezTo>
                <a:cubicBezTo>
                  <a:pt x="4919539" y="2159214"/>
                  <a:pt x="4918471" y="2158930"/>
                  <a:pt x="4914843" y="2160779"/>
                </a:cubicBezTo>
                <a:cubicBezTo>
                  <a:pt x="4912496" y="2159214"/>
                  <a:pt x="4912496" y="2159214"/>
                  <a:pt x="4912709" y="2158076"/>
                </a:cubicBezTo>
                <a:cubicBezTo>
                  <a:pt x="4912496" y="2159214"/>
                  <a:pt x="4911428" y="2159072"/>
                  <a:pt x="4910148" y="2160068"/>
                </a:cubicBezTo>
                <a:lnTo>
                  <a:pt x="4907160" y="2162487"/>
                </a:lnTo>
                <a:lnTo>
                  <a:pt x="4907160" y="2165332"/>
                </a:lnTo>
                <a:cubicBezTo>
                  <a:pt x="4906947" y="2166470"/>
                  <a:pt x="4906733" y="2167750"/>
                  <a:pt x="4905240" y="2169315"/>
                </a:cubicBezTo>
                <a:cubicBezTo>
                  <a:pt x="4902465" y="2167750"/>
                  <a:pt x="4900971" y="2165902"/>
                  <a:pt x="4898197" y="2164336"/>
                </a:cubicBezTo>
                <a:lnTo>
                  <a:pt x="4901398" y="2161064"/>
                </a:lnTo>
                <a:lnTo>
                  <a:pt x="4895422" y="2156511"/>
                </a:lnTo>
                <a:cubicBezTo>
                  <a:pt x="4896703" y="2155516"/>
                  <a:pt x="4893288" y="2152528"/>
                  <a:pt x="4892434" y="2149825"/>
                </a:cubicBezTo>
                <a:cubicBezTo>
                  <a:pt x="4892648" y="2146268"/>
                  <a:pt x="4892861" y="2143850"/>
                  <a:pt x="4895209" y="2141858"/>
                </a:cubicBezTo>
                <a:lnTo>
                  <a:pt x="4899264" y="2140435"/>
                </a:lnTo>
                <a:lnTo>
                  <a:pt x="4897770" y="2139154"/>
                </a:lnTo>
                <a:cubicBezTo>
                  <a:pt x="4896916" y="2138016"/>
                  <a:pt x="4896276" y="2136594"/>
                  <a:pt x="4894995" y="2135882"/>
                </a:cubicBezTo>
                <a:cubicBezTo>
                  <a:pt x="4895849" y="2134886"/>
                  <a:pt x="4897129" y="2133606"/>
                  <a:pt x="4898624" y="2132610"/>
                </a:cubicBezTo>
                <a:lnTo>
                  <a:pt x="4901825" y="2132468"/>
                </a:lnTo>
                <a:lnTo>
                  <a:pt x="4901398" y="2130761"/>
                </a:lnTo>
                <a:cubicBezTo>
                  <a:pt x="4902252" y="2126350"/>
                  <a:pt x="4906520" y="2121798"/>
                  <a:pt x="4912923" y="2122367"/>
                </a:cubicBezTo>
                <a:close/>
                <a:moveTo>
                  <a:pt x="5708338" y="2122082"/>
                </a:moveTo>
                <a:cubicBezTo>
                  <a:pt x="5713673" y="2122509"/>
                  <a:pt x="5719222" y="2123932"/>
                  <a:pt x="5725198" y="2127773"/>
                </a:cubicBezTo>
                <a:cubicBezTo>
                  <a:pt x="5716448" y="2138016"/>
                  <a:pt x="5699801" y="2128912"/>
                  <a:pt x="5692545" y="2122651"/>
                </a:cubicBezTo>
                <a:cubicBezTo>
                  <a:pt x="5697667" y="2122367"/>
                  <a:pt x="5703003" y="2121656"/>
                  <a:pt x="5708338" y="2122082"/>
                </a:cubicBezTo>
                <a:close/>
                <a:moveTo>
                  <a:pt x="4548402" y="2121940"/>
                </a:moveTo>
                <a:cubicBezTo>
                  <a:pt x="4549469" y="2121371"/>
                  <a:pt x="4549469" y="2121371"/>
                  <a:pt x="4549895" y="2122509"/>
                </a:cubicBezTo>
                <a:lnTo>
                  <a:pt x="4549895" y="2122082"/>
                </a:lnTo>
                <a:lnTo>
                  <a:pt x="4551816" y="2124217"/>
                </a:lnTo>
                <a:cubicBezTo>
                  <a:pt x="4552243" y="2125355"/>
                  <a:pt x="4552030" y="2126635"/>
                  <a:pt x="4552030" y="2128057"/>
                </a:cubicBezTo>
                <a:cubicBezTo>
                  <a:pt x="4550963" y="2128484"/>
                  <a:pt x="4550963" y="2128484"/>
                  <a:pt x="4549469" y="2127915"/>
                </a:cubicBezTo>
                <a:cubicBezTo>
                  <a:pt x="4548615" y="2128484"/>
                  <a:pt x="4548828" y="2122936"/>
                  <a:pt x="4548402" y="2121940"/>
                </a:cubicBezTo>
                <a:close/>
                <a:moveTo>
                  <a:pt x="4538157" y="2121940"/>
                </a:moveTo>
                <a:cubicBezTo>
                  <a:pt x="4538371" y="2122936"/>
                  <a:pt x="4539011" y="2124074"/>
                  <a:pt x="4539438" y="2125212"/>
                </a:cubicBezTo>
                <a:cubicBezTo>
                  <a:pt x="4538798" y="2126777"/>
                  <a:pt x="4538798" y="2126635"/>
                  <a:pt x="4537517" y="2126065"/>
                </a:cubicBezTo>
                <a:cubicBezTo>
                  <a:pt x="4537090" y="2124928"/>
                  <a:pt x="4536450" y="2123932"/>
                  <a:pt x="4537517" y="2123505"/>
                </a:cubicBezTo>
                <a:cubicBezTo>
                  <a:pt x="4537090" y="2122367"/>
                  <a:pt x="4537090" y="2122367"/>
                  <a:pt x="4538157" y="2121940"/>
                </a:cubicBezTo>
                <a:close/>
                <a:moveTo>
                  <a:pt x="4550322" y="2121228"/>
                </a:moveTo>
                <a:lnTo>
                  <a:pt x="4549895" y="2122082"/>
                </a:lnTo>
                <a:lnTo>
                  <a:pt x="4549469" y="2121371"/>
                </a:lnTo>
                <a:cubicBezTo>
                  <a:pt x="4549895" y="2121228"/>
                  <a:pt x="4550109" y="2121087"/>
                  <a:pt x="4550322" y="2121228"/>
                </a:cubicBezTo>
                <a:close/>
                <a:moveTo>
                  <a:pt x="800856" y="2121172"/>
                </a:moveTo>
                <a:cubicBezTo>
                  <a:pt x="802714" y="2120862"/>
                  <a:pt x="801888" y="2124425"/>
                  <a:pt x="802301" y="2125044"/>
                </a:cubicBezTo>
                <a:cubicBezTo>
                  <a:pt x="801992" y="2126129"/>
                  <a:pt x="801682" y="2127368"/>
                  <a:pt x="800546" y="2127213"/>
                </a:cubicBezTo>
                <a:cubicBezTo>
                  <a:pt x="799307" y="2126903"/>
                  <a:pt x="798584" y="2127523"/>
                  <a:pt x="798481" y="2125664"/>
                </a:cubicBezTo>
                <a:cubicBezTo>
                  <a:pt x="797964" y="2124890"/>
                  <a:pt x="798274" y="2123805"/>
                  <a:pt x="797758" y="2123031"/>
                </a:cubicBezTo>
                <a:cubicBezTo>
                  <a:pt x="797758" y="2123031"/>
                  <a:pt x="798274" y="2122566"/>
                  <a:pt x="798894" y="2122101"/>
                </a:cubicBezTo>
                <a:cubicBezTo>
                  <a:pt x="799513" y="2121482"/>
                  <a:pt x="800236" y="2121017"/>
                  <a:pt x="800856" y="2121172"/>
                </a:cubicBezTo>
                <a:close/>
                <a:moveTo>
                  <a:pt x="4579134" y="2120660"/>
                </a:moveTo>
                <a:cubicBezTo>
                  <a:pt x="4582548" y="2120944"/>
                  <a:pt x="4585750" y="2121798"/>
                  <a:pt x="4587244" y="2122936"/>
                </a:cubicBezTo>
                <a:cubicBezTo>
                  <a:pt x="4588311" y="2126920"/>
                  <a:pt x="4587671" y="2129765"/>
                  <a:pt x="4585963" y="2131472"/>
                </a:cubicBezTo>
                <a:cubicBezTo>
                  <a:pt x="4581055" y="2136736"/>
                  <a:pt x="4568463" y="2132468"/>
                  <a:pt x="4570811" y="2122082"/>
                </a:cubicBezTo>
                <a:cubicBezTo>
                  <a:pt x="4572518" y="2120660"/>
                  <a:pt x="4575933" y="2120375"/>
                  <a:pt x="4579134" y="2120660"/>
                </a:cubicBezTo>
                <a:close/>
                <a:moveTo>
                  <a:pt x="4866611" y="2120233"/>
                </a:moveTo>
                <a:cubicBezTo>
                  <a:pt x="4869812" y="2120517"/>
                  <a:pt x="4872800" y="2122509"/>
                  <a:pt x="4872159" y="2127062"/>
                </a:cubicBezTo>
                <a:cubicBezTo>
                  <a:pt x="4872159" y="2128342"/>
                  <a:pt x="4871306" y="2129053"/>
                  <a:pt x="4870025" y="2129480"/>
                </a:cubicBezTo>
                <a:cubicBezTo>
                  <a:pt x="4866184" y="2130761"/>
                  <a:pt x="4858928" y="2128342"/>
                  <a:pt x="4859141" y="2123220"/>
                </a:cubicBezTo>
                <a:cubicBezTo>
                  <a:pt x="4859781" y="2121228"/>
                  <a:pt x="4863409" y="2119806"/>
                  <a:pt x="4866611" y="2120233"/>
                </a:cubicBezTo>
                <a:close/>
                <a:moveTo>
                  <a:pt x="5511565" y="2119522"/>
                </a:moveTo>
                <a:cubicBezTo>
                  <a:pt x="5514980" y="2121371"/>
                  <a:pt x="5514980" y="2121371"/>
                  <a:pt x="5517114" y="2124074"/>
                </a:cubicBezTo>
                <a:cubicBezTo>
                  <a:pt x="5516047" y="2123932"/>
                  <a:pt x="5513699" y="2124643"/>
                  <a:pt x="5512632" y="2123363"/>
                </a:cubicBezTo>
                <a:cubicBezTo>
                  <a:pt x="5511352" y="2121940"/>
                  <a:pt x="5511352" y="2121940"/>
                  <a:pt x="5511565" y="2119522"/>
                </a:cubicBezTo>
                <a:close/>
                <a:moveTo>
                  <a:pt x="4953686" y="2119522"/>
                </a:moveTo>
                <a:cubicBezTo>
                  <a:pt x="4954539" y="2119379"/>
                  <a:pt x="4955393" y="2119237"/>
                  <a:pt x="4956247" y="2119522"/>
                </a:cubicBezTo>
                <a:cubicBezTo>
                  <a:pt x="4957100" y="2119664"/>
                  <a:pt x="4958167" y="2120233"/>
                  <a:pt x="4959021" y="2120944"/>
                </a:cubicBezTo>
                <a:cubicBezTo>
                  <a:pt x="4961582" y="2128342"/>
                  <a:pt x="4954753" y="2129196"/>
                  <a:pt x="4950271" y="2134886"/>
                </a:cubicBezTo>
                <a:cubicBezTo>
                  <a:pt x="4945576" y="2130192"/>
                  <a:pt x="4948777" y="2121087"/>
                  <a:pt x="4953686" y="2119522"/>
                </a:cubicBezTo>
                <a:close/>
                <a:moveTo>
                  <a:pt x="4827768" y="2119095"/>
                </a:moveTo>
                <a:cubicBezTo>
                  <a:pt x="4828622" y="2119237"/>
                  <a:pt x="4828835" y="2119806"/>
                  <a:pt x="4828835" y="2120517"/>
                </a:cubicBezTo>
                <a:cubicBezTo>
                  <a:pt x="4828835" y="2121087"/>
                  <a:pt x="4828622" y="2122082"/>
                  <a:pt x="4828408" y="2122793"/>
                </a:cubicBezTo>
                <a:cubicBezTo>
                  <a:pt x="4827981" y="2124501"/>
                  <a:pt x="4827341" y="2126208"/>
                  <a:pt x="4826915" y="2127915"/>
                </a:cubicBezTo>
                <a:cubicBezTo>
                  <a:pt x="4826915" y="2127915"/>
                  <a:pt x="4826915" y="2127915"/>
                  <a:pt x="4827768" y="2119095"/>
                </a:cubicBezTo>
                <a:close/>
                <a:moveTo>
                  <a:pt x="5761053" y="2118952"/>
                </a:moveTo>
                <a:cubicBezTo>
                  <a:pt x="5763400" y="2119237"/>
                  <a:pt x="5765321" y="2120375"/>
                  <a:pt x="5766815" y="2122651"/>
                </a:cubicBezTo>
                <a:lnTo>
                  <a:pt x="5769803" y="2132610"/>
                </a:lnTo>
                <a:lnTo>
                  <a:pt x="5774284" y="2129196"/>
                </a:lnTo>
                <a:cubicBezTo>
                  <a:pt x="5778127" y="2130476"/>
                  <a:pt x="5780474" y="2134744"/>
                  <a:pt x="5781541" y="2139582"/>
                </a:cubicBezTo>
                <a:cubicBezTo>
                  <a:pt x="5782822" y="2144418"/>
                  <a:pt x="5782395" y="2149682"/>
                  <a:pt x="5780687" y="2152954"/>
                </a:cubicBezTo>
                <a:cubicBezTo>
                  <a:pt x="5775779" y="2155516"/>
                  <a:pt x="5772151" y="2155658"/>
                  <a:pt x="5769376" y="2154377"/>
                </a:cubicBezTo>
                <a:cubicBezTo>
                  <a:pt x="5763187" y="2151532"/>
                  <a:pt x="5762333" y="2141146"/>
                  <a:pt x="5767242" y="2134459"/>
                </a:cubicBezTo>
                <a:lnTo>
                  <a:pt x="5769163" y="2133037"/>
                </a:lnTo>
                <a:lnTo>
                  <a:pt x="5760199" y="2131187"/>
                </a:lnTo>
                <a:cubicBezTo>
                  <a:pt x="5750382" y="2131045"/>
                  <a:pt x="5740564" y="2134176"/>
                  <a:pt x="5734162" y="2127631"/>
                </a:cubicBezTo>
                <a:cubicBezTo>
                  <a:pt x="5742485" y="2125782"/>
                  <a:pt x="5753370" y="2117956"/>
                  <a:pt x="5761053" y="2118952"/>
                </a:cubicBezTo>
                <a:close/>
                <a:moveTo>
                  <a:pt x="5094116" y="2118810"/>
                </a:moveTo>
                <a:lnTo>
                  <a:pt x="5093262" y="2119522"/>
                </a:lnTo>
                <a:lnTo>
                  <a:pt x="5094329" y="2120802"/>
                </a:lnTo>
                <a:cubicBezTo>
                  <a:pt x="5094329" y="2120802"/>
                  <a:pt x="5094329" y="2120802"/>
                  <a:pt x="5093689" y="2119806"/>
                </a:cubicBezTo>
                <a:close/>
                <a:moveTo>
                  <a:pt x="5842152" y="2118526"/>
                </a:moveTo>
                <a:lnTo>
                  <a:pt x="5841725" y="2119948"/>
                </a:lnTo>
                <a:lnTo>
                  <a:pt x="5842152" y="2119522"/>
                </a:lnTo>
                <a:close/>
                <a:moveTo>
                  <a:pt x="6265151" y="2117956"/>
                </a:moveTo>
                <a:cubicBezTo>
                  <a:pt x="6266644" y="2118383"/>
                  <a:pt x="6267071" y="2119379"/>
                  <a:pt x="6267071" y="2119379"/>
                </a:cubicBezTo>
                <a:cubicBezTo>
                  <a:pt x="6266644" y="2123647"/>
                  <a:pt x="6264723" y="2127631"/>
                  <a:pt x="6260028" y="2126350"/>
                </a:cubicBezTo>
                <a:cubicBezTo>
                  <a:pt x="6258534" y="2126065"/>
                  <a:pt x="6257040" y="2125782"/>
                  <a:pt x="6258108" y="2125070"/>
                </a:cubicBezTo>
                <a:cubicBezTo>
                  <a:pt x="6257467" y="2124074"/>
                  <a:pt x="6258534" y="2123505"/>
                  <a:pt x="6258961" y="2121798"/>
                </a:cubicBezTo>
                <a:cubicBezTo>
                  <a:pt x="6260455" y="2119522"/>
                  <a:pt x="6263443" y="2117529"/>
                  <a:pt x="6265151" y="2117956"/>
                </a:cubicBezTo>
                <a:close/>
                <a:moveTo>
                  <a:pt x="835859" y="2117764"/>
                </a:moveTo>
                <a:cubicBezTo>
                  <a:pt x="844430" y="2117610"/>
                  <a:pt x="845978" y="2123031"/>
                  <a:pt x="848353" y="2127987"/>
                </a:cubicBezTo>
                <a:cubicBezTo>
                  <a:pt x="844636" y="2128762"/>
                  <a:pt x="835653" y="2124735"/>
                  <a:pt x="835859" y="2117764"/>
                </a:cubicBezTo>
                <a:close/>
                <a:moveTo>
                  <a:pt x="5326957" y="2116961"/>
                </a:moveTo>
                <a:cubicBezTo>
                  <a:pt x="5327811" y="2116961"/>
                  <a:pt x="5328664" y="2117246"/>
                  <a:pt x="5329518" y="2117672"/>
                </a:cubicBezTo>
                <a:cubicBezTo>
                  <a:pt x="5331225" y="2118668"/>
                  <a:pt x="5332719" y="2120375"/>
                  <a:pt x="5333573" y="2121940"/>
                </a:cubicBezTo>
                <a:cubicBezTo>
                  <a:pt x="5334000" y="2123078"/>
                  <a:pt x="5334213" y="2123932"/>
                  <a:pt x="5334213" y="2124643"/>
                </a:cubicBezTo>
                <a:cubicBezTo>
                  <a:pt x="5332079" y="2126493"/>
                  <a:pt x="5320554" y="2122509"/>
                  <a:pt x="5324396" y="2117814"/>
                </a:cubicBezTo>
                <a:cubicBezTo>
                  <a:pt x="5325250" y="2117103"/>
                  <a:pt x="5326103" y="2116961"/>
                  <a:pt x="5326957" y="2116961"/>
                </a:cubicBezTo>
                <a:close/>
                <a:moveTo>
                  <a:pt x="4896916" y="2116534"/>
                </a:moveTo>
                <a:cubicBezTo>
                  <a:pt x="4897343" y="2117529"/>
                  <a:pt x="4898410" y="2119664"/>
                  <a:pt x="4897983" y="2121371"/>
                </a:cubicBezTo>
                <a:cubicBezTo>
                  <a:pt x="4898410" y="2122367"/>
                  <a:pt x="4894782" y="2123363"/>
                  <a:pt x="4894782" y="2123363"/>
                </a:cubicBezTo>
                <a:cubicBezTo>
                  <a:pt x="4893288" y="2122936"/>
                  <a:pt x="4893715" y="2118526"/>
                  <a:pt x="4893288" y="2117387"/>
                </a:cubicBezTo>
                <a:cubicBezTo>
                  <a:pt x="4894142" y="2116818"/>
                  <a:pt x="4895849" y="2117246"/>
                  <a:pt x="4896916" y="2116534"/>
                </a:cubicBezTo>
                <a:close/>
                <a:moveTo>
                  <a:pt x="4881336" y="2116534"/>
                </a:moveTo>
                <a:cubicBezTo>
                  <a:pt x="4888806" y="2116818"/>
                  <a:pt x="4887739" y="2119095"/>
                  <a:pt x="4886458" y="2124785"/>
                </a:cubicBezTo>
                <a:cubicBezTo>
                  <a:pt x="4881550" y="2124074"/>
                  <a:pt x="4880910" y="2121513"/>
                  <a:pt x="4881336" y="2116534"/>
                </a:cubicBezTo>
                <a:close/>
                <a:moveTo>
                  <a:pt x="5789864" y="2115965"/>
                </a:moveTo>
                <a:cubicBezTo>
                  <a:pt x="5791785" y="2117529"/>
                  <a:pt x="5789224" y="2130334"/>
                  <a:pt x="5784315" y="2127631"/>
                </a:cubicBezTo>
                <a:cubicBezTo>
                  <a:pt x="5780474" y="2124358"/>
                  <a:pt x="5787303" y="2115965"/>
                  <a:pt x="5789864" y="2115965"/>
                </a:cubicBezTo>
                <a:close/>
                <a:moveTo>
                  <a:pt x="4588638" y="2115391"/>
                </a:moveTo>
                <a:lnTo>
                  <a:pt x="4587671" y="2118099"/>
                </a:lnTo>
                <a:cubicBezTo>
                  <a:pt x="4587244" y="2119095"/>
                  <a:pt x="4586604" y="2120091"/>
                  <a:pt x="4585323" y="2119948"/>
                </a:cubicBezTo>
                <a:close/>
                <a:moveTo>
                  <a:pt x="4588738" y="2115254"/>
                </a:moveTo>
                <a:lnTo>
                  <a:pt x="4588638" y="2115391"/>
                </a:lnTo>
                <a:lnTo>
                  <a:pt x="4588671" y="2115298"/>
                </a:lnTo>
                <a:close/>
                <a:moveTo>
                  <a:pt x="5107988" y="2114827"/>
                </a:moveTo>
                <a:cubicBezTo>
                  <a:pt x="5110336" y="2115681"/>
                  <a:pt x="5111830" y="2116961"/>
                  <a:pt x="5112684" y="2118383"/>
                </a:cubicBezTo>
                <a:cubicBezTo>
                  <a:pt x="5113751" y="2119948"/>
                  <a:pt x="5113964" y="2121798"/>
                  <a:pt x="5113324" y="2123790"/>
                </a:cubicBezTo>
                <a:lnTo>
                  <a:pt x="5111616" y="2126635"/>
                </a:lnTo>
                <a:lnTo>
                  <a:pt x="5112684" y="2126493"/>
                </a:lnTo>
                <a:lnTo>
                  <a:pt x="5114177" y="2126635"/>
                </a:lnTo>
                <a:lnTo>
                  <a:pt x="5114604" y="2124501"/>
                </a:lnTo>
                <a:lnTo>
                  <a:pt x="5118872" y="2126635"/>
                </a:lnTo>
                <a:lnTo>
                  <a:pt x="5118446" y="2127062"/>
                </a:lnTo>
                <a:lnTo>
                  <a:pt x="5121860" y="2127488"/>
                </a:lnTo>
                <a:cubicBezTo>
                  <a:pt x="5125062" y="2128342"/>
                  <a:pt x="5128690" y="2129623"/>
                  <a:pt x="5132318" y="2131899"/>
                </a:cubicBezTo>
                <a:cubicBezTo>
                  <a:pt x="5132318" y="2133749"/>
                  <a:pt x="5133172" y="2135882"/>
                  <a:pt x="5133598" y="2138016"/>
                </a:cubicBezTo>
                <a:lnTo>
                  <a:pt x="5133598" y="2140577"/>
                </a:lnTo>
                <a:lnTo>
                  <a:pt x="5134239" y="2141715"/>
                </a:lnTo>
                <a:cubicBezTo>
                  <a:pt x="5134452" y="2143138"/>
                  <a:pt x="5134239" y="2144560"/>
                  <a:pt x="5132745" y="2146268"/>
                </a:cubicBezTo>
                <a:cubicBezTo>
                  <a:pt x="5132105" y="2145983"/>
                  <a:pt x="5131678" y="2145130"/>
                  <a:pt x="5131038" y="2143992"/>
                </a:cubicBezTo>
                <a:lnTo>
                  <a:pt x="5130611" y="2142854"/>
                </a:lnTo>
                <a:lnTo>
                  <a:pt x="5126983" y="2139866"/>
                </a:lnTo>
                <a:lnTo>
                  <a:pt x="5125915" y="2139439"/>
                </a:lnTo>
                <a:lnTo>
                  <a:pt x="5125702" y="2140008"/>
                </a:lnTo>
                <a:cubicBezTo>
                  <a:pt x="5123781" y="2142000"/>
                  <a:pt x="5120580" y="2143423"/>
                  <a:pt x="5119086" y="2142712"/>
                </a:cubicBezTo>
                <a:cubicBezTo>
                  <a:pt x="5117806" y="2142000"/>
                  <a:pt x="5117379" y="2140862"/>
                  <a:pt x="5117379" y="2140862"/>
                </a:cubicBezTo>
                <a:lnTo>
                  <a:pt x="5119299" y="2137447"/>
                </a:lnTo>
                <a:lnTo>
                  <a:pt x="5118232" y="2137163"/>
                </a:lnTo>
                <a:cubicBezTo>
                  <a:pt x="5109482" y="2136024"/>
                  <a:pt x="5100305" y="2137732"/>
                  <a:pt x="5095823" y="2129053"/>
                </a:cubicBezTo>
                <a:lnTo>
                  <a:pt x="5103080" y="2128057"/>
                </a:lnTo>
                <a:lnTo>
                  <a:pt x="5102013" y="2126493"/>
                </a:lnTo>
                <a:cubicBezTo>
                  <a:pt x="5101372" y="2124928"/>
                  <a:pt x="5101159" y="2122651"/>
                  <a:pt x="5102013" y="2119806"/>
                </a:cubicBezTo>
                <a:cubicBezTo>
                  <a:pt x="5102866" y="2118241"/>
                  <a:pt x="5105427" y="2114684"/>
                  <a:pt x="5105854" y="2115822"/>
                </a:cubicBezTo>
                <a:cubicBezTo>
                  <a:pt x="5107348" y="2116391"/>
                  <a:pt x="5106921" y="2115254"/>
                  <a:pt x="5107988" y="2114827"/>
                </a:cubicBezTo>
                <a:close/>
                <a:moveTo>
                  <a:pt x="5152166" y="2114399"/>
                </a:moveTo>
                <a:cubicBezTo>
                  <a:pt x="5156008" y="2127773"/>
                  <a:pt x="5147897" y="2134602"/>
                  <a:pt x="5140001" y="2141573"/>
                </a:cubicBezTo>
                <a:cubicBezTo>
                  <a:pt x="5132958" y="2131472"/>
                  <a:pt x="5143629" y="2119664"/>
                  <a:pt x="5152166" y="2114399"/>
                </a:cubicBezTo>
                <a:close/>
                <a:moveTo>
                  <a:pt x="4668984" y="2113262"/>
                </a:moveTo>
                <a:cubicBezTo>
                  <a:pt x="4670051" y="2114684"/>
                  <a:pt x="4671118" y="2116107"/>
                  <a:pt x="4672185" y="2117529"/>
                </a:cubicBezTo>
                <a:cubicBezTo>
                  <a:pt x="4666850" y="2122367"/>
                  <a:pt x="4665996" y="2128200"/>
                  <a:pt x="4661941" y="2132041"/>
                </a:cubicBezTo>
                <a:cubicBezTo>
                  <a:pt x="4660447" y="2125639"/>
                  <a:pt x="4658313" y="2114399"/>
                  <a:pt x="4668984" y="2113262"/>
                </a:cubicBezTo>
                <a:close/>
                <a:moveTo>
                  <a:pt x="1027710" y="2113118"/>
                </a:moveTo>
                <a:cubicBezTo>
                  <a:pt x="1029465" y="2111878"/>
                  <a:pt x="1032150" y="2111723"/>
                  <a:pt x="1032769" y="2114357"/>
                </a:cubicBezTo>
                <a:cubicBezTo>
                  <a:pt x="1031736" y="2115751"/>
                  <a:pt x="1029878" y="2117145"/>
                  <a:pt x="1028019" y="2118539"/>
                </a:cubicBezTo>
                <a:cubicBezTo>
                  <a:pt x="1026574" y="2117610"/>
                  <a:pt x="1026057" y="2116680"/>
                  <a:pt x="1026161" y="2115596"/>
                </a:cubicBezTo>
                <a:cubicBezTo>
                  <a:pt x="1026161" y="2114666"/>
                  <a:pt x="1026883" y="2113737"/>
                  <a:pt x="1027710" y="2113118"/>
                </a:cubicBezTo>
                <a:close/>
                <a:moveTo>
                  <a:pt x="5177350" y="2112977"/>
                </a:moveTo>
                <a:cubicBezTo>
                  <a:pt x="5179057" y="2118952"/>
                  <a:pt x="5171587" y="2125782"/>
                  <a:pt x="5166252" y="2125212"/>
                </a:cubicBezTo>
                <a:cubicBezTo>
                  <a:pt x="5164544" y="2125070"/>
                  <a:pt x="5163051" y="2124074"/>
                  <a:pt x="5162197" y="2121940"/>
                </a:cubicBezTo>
                <a:cubicBezTo>
                  <a:pt x="5162624" y="2119948"/>
                  <a:pt x="5163477" y="2118668"/>
                  <a:pt x="5164331" y="2117814"/>
                </a:cubicBezTo>
                <a:lnTo>
                  <a:pt x="5167106" y="2116249"/>
                </a:lnTo>
                <a:lnTo>
                  <a:pt x="5167746" y="2115822"/>
                </a:lnTo>
                <a:cubicBezTo>
                  <a:pt x="5170520" y="2114969"/>
                  <a:pt x="5173935" y="2114684"/>
                  <a:pt x="5177350" y="2112977"/>
                </a:cubicBezTo>
                <a:close/>
                <a:moveTo>
                  <a:pt x="5843860" y="2112408"/>
                </a:moveTo>
                <a:cubicBezTo>
                  <a:pt x="5845140" y="2112266"/>
                  <a:pt x="5845780" y="2112835"/>
                  <a:pt x="5845994" y="2114115"/>
                </a:cubicBezTo>
                <a:lnTo>
                  <a:pt x="5845994" y="2115965"/>
                </a:lnTo>
                <a:lnTo>
                  <a:pt x="5850049" y="2113689"/>
                </a:lnTo>
                <a:cubicBezTo>
                  <a:pt x="5852823" y="2115538"/>
                  <a:pt x="5857732" y="2114115"/>
                  <a:pt x="5860720" y="2121940"/>
                </a:cubicBezTo>
                <a:cubicBezTo>
                  <a:pt x="5862854" y="2130761"/>
                  <a:pt x="5854104" y="2134033"/>
                  <a:pt x="5855171" y="2134744"/>
                </a:cubicBezTo>
                <a:lnTo>
                  <a:pt x="5855384" y="2135740"/>
                </a:lnTo>
                <a:lnTo>
                  <a:pt x="5856451" y="2134744"/>
                </a:lnTo>
                <a:cubicBezTo>
                  <a:pt x="5857305" y="2134176"/>
                  <a:pt x="5857519" y="2133749"/>
                  <a:pt x="5857519" y="2133749"/>
                </a:cubicBezTo>
                <a:cubicBezTo>
                  <a:pt x="5860079" y="2133464"/>
                  <a:pt x="5860720" y="2134602"/>
                  <a:pt x="5860079" y="2133464"/>
                </a:cubicBezTo>
                <a:cubicBezTo>
                  <a:pt x="5863281" y="2134318"/>
                  <a:pt x="5867336" y="2134459"/>
                  <a:pt x="5867336" y="2137021"/>
                </a:cubicBezTo>
                <a:cubicBezTo>
                  <a:pt x="5865842" y="2143992"/>
                  <a:pt x="5856878" y="2145130"/>
                  <a:pt x="5850903" y="2145557"/>
                </a:cubicBezTo>
                <a:lnTo>
                  <a:pt x="5847061" y="2145983"/>
                </a:lnTo>
                <a:lnTo>
                  <a:pt x="5845567" y="2149540"/>
                </a:lnTo>
                <a:cubicBezTo>
                  <a:pt x="5843646" y="2150678"/>
                  <a:pt x="5840872" y="2149113"/>
                  <a:pt x="5840232" y="2146837"/>
                </a:cubicBezTo>
                <a:lnTo>
                  <a:pt x="5841085" y="2143850"/>
                </a:lnTo>
                <a:lnTo>
                  <a:pt x="5838737" y="2144134"/>
                </a:lnTo>
                <a:cubicBezTo>
                  <a:pt x="5839378" y="2142427"/>
                  <a:pt x="5840658" y="2137447"/>
                  <a:pt x="5840658" y="2137447"/>
                </a:cubicBezTo>
                <a:cubicBezTo>
                  <a:pt x="5840232" y="2136451"/>
                  <a:pt x="5840232" y="2136451"/>
                  <a:pt x="5840658" y="2134886"/>
                </a:cubicBezTo>
                <a:cubicBezTo>
                  <a:pt x="5842365" y="2135313"/>
                  <a:pt x="5842365" y="2135171"/>
                  <a:pt x="5842793" y="2136167"/>
                </a:cubicBezTo>
                <a:cubicBezTo>
                  <a:pt x="5842365" y="2137874"/>
                  <a:pt x="5841298" y="2138443"/>
                  <a:pt x="5840658" y="2140151"/>
                </a:cubicBezTo>
                <a:cubicBezTo>
                  <a:pt x="5843860" y="2140862"/>
                  <a:pt x="5843219" y="2139866"/>
                  <a:pt x="5842793" y="2141573"/>
                </a:cubicBezTo>
                <a:cubicBezTo>
                  <a:pt x="5842793" y="2141573"/>
                  <a:pt x="5842793" y="2141573"/>
                  <a:pt x="5842365" y="2143280"/>
                </a:cubicBezTo>
                <a:lnTo>
                  <a:pt x="5842152" y="2143565"/>
                </a:lnTo>
                <a:lnTo>
                  <a:pt x="5842365" y="2143707"/>
                </a:lnTo>
                <a:lnTo>
                  <a:pt x="5842365" y="2143280"/>
                </a:lnTo>
                <a:lnTo>
                  <a:pt x="5852823" y="2137589"/>
                </a:lnTo>
                <a:lnTo>
                  <a:pt x="5852823" y="2136167"/>
                </a:lnTo>
                <a:cubicBezTo>
                  <a:pt x="5852183" y="2137305"/>
                  <a:pt x="5851969" y="2135598"/>
                  <a:pt x="5851969" y="2135598"/>
                </a:cubicBezTo>
                <a:cubicBezTo>
                  <a:pt x="5851969" y="2135598"/>
                  <a:pt x="5851969" y="2135598"/>
                  <a:pt x="5848768" y="2136451"/>
                </a:cubicBezTo>
                <a:cubicBezTo>
                  <a:pt x="5848768" y="2136451"/>
                  <a:pt x="5841298" y="2137732"/>
                  <a:pt x="5839378" y="2130476"/>
                </a:cubicBezTo>
                <a:cubicBezTo>
                  <a:pt x="5840018" y="2130334"/>
                  <a:pt x="5840018" y="2128769"/>
                  <a:pt x="5840232" y="2126920"/>
                </a:cubicBezTo>
                <a:lnTo>
                  <a:pt x="5840872" y="2123363"/>
                </a:lnTo>
                <a:lnTo>
                  <a:pt x="5840445" y="2124928"/>
                </a:lnTo>
                <a:cubicBezTo>
                  <a:pt x="5839165" y="2126350"/>
                  <a:pt x="5837457" y="2127062"/>
                  <a:pt x="5835323" y="2127062"/>
                </a:cubicBezTo>
                <a:cubicBezTo>
                  <a:pt x="5831908" y="2122793"/>
                  <a:pt x="5833402" y="2118810"/>
                  <a:pt x="5837457" y="2117956"/>
                </a:cubicBezTo>
                <a:lnTo>
                  <a:pt x="5842152" y="2118241"/>
                </a:lnTo>
                <a:lnTo>
                  <a:pt x="5842365" y="2118099"/>
                </a:lnTo>
                <a:cubicBezTo>
                  <a:pt x="5842579" y="2115965"/>
                  <a:pt x="5842793" y="2114115"/>
                  <a:pt x="5842793" y="2112977"/>
                </a:cubicBezTo>
                <a:cubicBezTo>
                  <a:pt x="5843860" y="2112408"/>
                  <a:pt x="5843860" y="2112408"/>
                  <a:pt x="5843860" y="2112408"/>
                </a:cubicBezTo>
                <a:close/>
                <a:moveTo>
                  <a:pt x="5573030" y="2112408"/>
                </a:moveTo>
                <a:cubicBezTo>
                  <a:pt x="5574311" y="2112124"/>
                  <a:pt x="5575378" y="2112124"/>
                  <a:pt x="5576231" y="2112551"/>
                </a:cubicBezTo>
                <a:cubicBezTo>
                  <a:pt x="5581567" y="2122509"/>
                  <a:pt x="5573030" y="2127062"/>
                  <a:pt x="5567268" y="2123932"/>
                </a:cubicBezTo>
                <a:cubicBezTo>
                  <a:pt x="5565347" y="2122936"/>
                  <a:pt x="5563640" y="2121087"/>
                  <a:pt x="5562999" y="2118241"/>
                </a:cubicBezTo>
                <a:cubicBezTo>
                  <a:pt x="5564280" y="2115822"/>
                  <a:pt x="5569402" y="2112977"/>
                  <a:pt x="5573030" y="2112408"/>
                </a:cubicBezTo>
                <a:close/>
                <a:moveTo>
                  <a:pt x="5434307" y="2111697"/>
                </a:moveTo>
                <a:cubicBezTo>
                  <a:pt x="5434948" y="2111839"/>
                  <a:pt x="5435374" y="2112124"/>
                  <a:pt x="5435801" y="2112977"/>
                </a:cubicBezTo>
                <a:cubicBezTo>
                  <a:pt x="5435801" y="2112977"/>
                  <a:pt x="5435161" y="2113973"/>
                  <a:pt x="5432173" y="2114827"/>
                </a:cubicBezTo>
                <a:cubicBezTo>
                  <a:pt x="5432600" y="2113831"/>
                  <a:pt x="5431533" y="2113262"/>
                  <a:pt x="5431533" y="2113262"/>
                </a:cubicBezTo>
                <a:cubicBezTo>
                  <a:pt x="5431533" y="2113262"/>
                  <a:pt x="5431533" y="2113262"/>
                  <a:pt x="5431106" y="2114257"/>
                </a:cubicBezTo>
                <a:cubicBezTo>
                  <a:pt x="5430892" y="2113404"/>
                  <a:pt x="5431106" y="2112977"/>
                  <a:pt x="5431319" y="2112692"/>
                </a:cubicBezTo>
                <a:cubicBezTo>
                  <a:pt x="5431746" y="2112266"/>
                  <a:pt x="5432173" y="2112266"/>
                  <a:pt x="5432173" y="2112266"/>
                </a:cubicBezTo>
                <a:cubicBezTo>
                  <a:pt x="5432813" y="2111981"/>
                  <a:pt x="5433667" y="2111697"/>
                  <a:pt x="5434307" y="2111697"/>
                </a:cubicBezTo>
                <a:close/>
                <a:moveTo>
                  <a:pt x="849179" y="2111259"/>
                </a:moveTo>
                <a:cubicBezTo>
                  <a:pt x="849902" y="2110794"/>
                  <a:pt x="852380" y="2112963"/>
                  <a:pt x="852071" y="2114047"/>
                </a:cubicBezTo>
                <a:cubicBezTo>
                  <a:pt x="851967" y="2117145"/>
                  <a:pt x="848869" y="2117300"/>
                  <a:pt x="845462" y="2118539"/>
                </a:cubicBezTo>
                <a:cubicBezTo>
                  <a:pt x="845772" y="2117300"/>
                  <a:pt x="844636" y="2117145"/>
                  <a:pt x="843397" y="2116990"/>
                </a:cubicBezTo>
                <a:cubicBezTo>
                  <a:pt x="843810" y="2115286"/>
                  <a:pt x="844120" y="2112498"/>
                  <a:pt x="846288" y="2111414"/>
                </a:cubicBezTo>
                <a:cubicBezTo>
                  <a:pt x="847011" y="2111104"/>
                  <a:pt x="847940" y="2111104"/>
                  <a:pt x="849179" y="2111259"/>
                </a:cubicBezTo>
                <a:close/>
                <a:moveTo>
                  <a:pt x="981244" y="2110949"/>
                </a:moveTo>
                <a:cubicBezTo>
                  <a:pt x="984961" y="2110330"/>
                  <a:pt x="986097" y="2114511"/>
                  <a:pt x="984342" y="2116061"/>
                </a:cubicBezTo>
                <a:cubicBezTo>
                  <a:pt x="983722" y="2116525"/>
                  <a:pt x="982793" y="2116525"/>
                  <a:pt x="981657" y="2116216"/>
                </a:cubicBezTo>
                <a:cubicBezTo>
                  <a:pt x="981347" y="2115286"/>
                  <a:pt x="981244" y="2114511"/>
                  <a:pt x="981244" y="2113737"/>
                </a:cubicBezTo>
                <a:cubicBezTo>
                  <a:pt x="981141" y="2112963"/>
                  <a:pt x="981244" y="2112033"/>
                  <a:pt x="981244" y="2110949"/>
                </a:cubicBezTo>
                <a:close/>
                <a:moveTo>
                  <a:pt x="5300066" y="2110559"/>
                </a:moveTo>
                <a:cubicBezTo>
                  <a:pt x="5310524" y="2110132"/>
                  <a:pt x="5312871" y="2121087"/>
                  <a:pt x="5308816" y="2126208"/>
                </a:cubicBezTo>
                <a:cubicBezTo>
                  <a:pt x="5307536" y="2127915"/>
                  <a:pt x="5305401" y="2128912"/>
                  <a:pt x="5302841" y="2128769"/>
                </a:cubicBezTo>
                <a:cubicBezTo>
                  <a:pt x="5299212" y="2122225"/>
                  <a:pt x="5293877" y="2115538"/>
                  <a:pt x="5300066" y="2110559"/>
                </a:cubicBezTo>
                <a:close/>
                <a:moveTo>
                  <a:pt x="5687209" y="2110274"/>
                </a:moveTo>
                <a:cubicBezTo>
                  <a:pt x="5688490" y="2111554"/>
                  <a:pt x="5691051" y="2115254"/>
                  <a:pt x="5688917" y="2118526"/>
                </a:cubicBezTo>
                <a:cubicBezTo>
                  <a:pt x="5686569" y="2121940"/>
                  <a:pt x="5687850" y="2125497"/>
                  <a:pt x="5685716" y="2128912"/>
                </a:cubicBezTo>
                <a:cubicBezTo>
                  <a:pt x="5685716" y="2128912"/>
                  <a:pt x="5685716" y="2128912"/>
                  <a:pt x="5684435" y="2127773"/>
                </a:cubicBezTo>
                <a:cubicBezTo>
                  <a:pt x="5686569" y="2122082"/>
                  <a:pt x="5684008" y="2115965"/>
                  <a:pt x="5687209" y="2110274"/>
                </a:cubicBezTo>
                <a:close/>
                <a:moveTo>
                  <a:pt x="4684350" y="2110132"/>
                </a:moveTo>
                <a:cubicBezTo>
                  <a:pt x="4695875" y="2109420"/>
                  <a:pt x="4698222" y="2117529"/>
                  <a:pt x="4695234" y="2122367"/>
                </a:cubicBezTo>
                <a:cubicBezTo>
                  <a:pt x="4694167" y="2124074"/>
                  <a:pt x="4692673" y="2125355"/>
                  <a:pt x="4690539" y="2125782"/>
                </a:cubicBezTo>
                <a:cubicBezTo>
                  <a:pt x="4687978" y="2126350"/>
                  <a:pt x="4684777" y="2125639"/>
                  <a:pt x="4680935" y="2122367"/>
                </a:cubicBezTo>
                <a:cubicBezTo>
                  <a:pt x="4680509" y="2116391"/>
                  <a:pt x="4683070" y="2114115"/>
                  <a:pt x="4684350" y="2110132"/>
                </a:cubicBezTo>
                <a:close/>
                <a:moveTo>
                  <a:pt x="5940539" y="2109278"/>
                </a:moveTo>
                <a:lnTo>
                  <a:pt x="5940112" y="2109420"/>
                </a:lnTo>
                <a:lnTo>
                  <a:pt x="5940539" y="2109989"/>
                </a:lnTo>
                <a:lnTo>
                  <a:pt x="5940966" y="2110559"/>
                </a:lnTo>
                <a:close/>
                <a:moveTo>
                  <a:pt x="5692972" y="2109136"/>
                </a:moveTo>
                <a:cubicBezTo>
                  <a:pt x="5694252" y="2110416"/>
                  <a:pt x="5694252" y="2111554"/>
                  <a:pt x="5695533" y="2112835"/>
                </a:cubicBezTo>
                <a:cubicBezTo>
                  <a:pt x="5697667" y="2110559"/>
                  <a:pt x="5696600" y="2110559"/>
                  <a:pt x="5697667" y="2111697"/>
                </a:cubicBezTo>
                <a:cubicBezTo>
                  <a:pt x="5697667" y="2111697"/>
                  <a:pt x="5697667" y="2111697"/>
                  <a:pt x="5698947" y="2112977"/>
                </a:cubicBezTo>
                <a:cubicBezTo>
                  <a:pt x="5698947" y="2112977"/>
                  <a:pt x="5700228" y="2112977"/>
                  <a:pt x="5698094" y="2116534"/>
                </a:cubicBezTo>
                <a:cubicBezTo>
                  <a:pt x="5696813" y="2115254"/>
                  <a:pt x="5693185" y="2111554"/>
                  <a:pt x="5693185" y="2111554"/>
                </a:cubicBezTo>
                <a:cubicBezTo>
                  <a:pt x="5692118" y="2111412"/>
                  <a:pt x="5691904" y="2111412"/>
                  <a:pt x="5690838" y="2110274"/>
                </a:cubicBezTo>
                <a:cubicBezTo>
                  <a:pt x="5691904" y="2109136"/>
                  <a:pt x="5691904" y="2109136"/>
                  <a:pt x="5692972" y="2109136"/>
                </a:cubicBezTo>
                <a:close/>
                <a:moveTo>
                  <a:pt x="5209576" y="2107144"/>
                </a:moveTo>
                <a:cubicBezTo>
                  <a:pt x="5210857" y="2108282"/>
                  <a:pt x="5211497" y="2109705"/>
                  <a:pt x="5211923" y="2111554"/>
                </a:cubicBezTo>
                <a:lnTo>
                  <a:pt x="5211497" y="2115538"/>
                </a:lnTo>
                <a:lnTo>
                  <a:pt x="5212137" y="2115538"/>
                </a:lnTo>
                <a:lnTo>
                  <a:pt x="5211923" y="2110416"/>
                </a:lnTo>
                <a:cubicBezTo>
                  <a:pt x="5212778" y="2110701"/>
                  <a:pt x="5213204" y="2111127"/>
                  <a:pt x="5213204" y="2111839"/>
                </a:cubicBezTo>
                <a:cubicBezTo>
                  <a:pt x="5213418" y="2112551"/>
                  <a:pt x="5213204" y="2113404"/>
                  <a:pt x="5212991" y="2114257"/>
                </a:cubicBezTo>
                <a:lnTo>
                  <a:pt x="5212778" y="2115538"/>
                </a:lnTo>
                <a:lnTo>
                  <a:pt x="5215552" y="2115396"/>
                </a:lnTo>
                <a:cubicBezTo>
                  <a:pt x="5219180" y="2119664"/>
                  <a:pt x="5220674" y="2123363"/>
                  <a:pt x="5220247" y="2126635"/>
                </a:cubicBezTo>
                <a:cubicBezTo>
                  <a:pt x="5219180" y="2136167"/>
                  <a:pt x="5203600" y="2139723"/>
                  <a:pt x="5196344" y="2129053"/>
                </a:cubicBezTo>
                <a:cubicBezTo>
                  <a:pt x="5196344" y="2125782"/>
                  <a:pt x="5198051" y="2122936"/>
                  <a:pt x="5200612" y="2120517"/>
                </a:cubicBezTo>
                <a:lnTo>
                  <a:pt x="5201893" y="2119806"/>
                </a:lnTo>
                <a:lnTo>
                  <a:pt x="5202533" y="2115965"/>
                </a:lnTo>
                <a:cubicBezTo>
                  <a:pt x="5203814" y="2111554"/>
                  <a:pt x="5205735" y="2108282"/>
                  <a:pt x="5209576" y="2107144"/>
                </a:cubicBezTo>
                <a:close/>
                <a:moveTo>
                  <a:pt x="5804164" y="2106148"/>
                </a:moveTo>
                <a:cubicBezTo>
                  <a:pt x="5805657" y="2106860"/>
                  <a:pt x="5806511" y="2108993"/>
                  <a:pt x="5806084" y="2111697"/>
                </a:cubicBezTo>
                <a:cubicBezTo>
                  <a:pt x="5804590" y="2111127"/>
                  <a:pt x="5802669" y="2113262"/>
                  <a:pt x="5801176" y="2112551"/>
                </a:cubicBezTo>
                <a:cubicBezTo>
                  <a:pt x="5801176" y="2112551"/>
                  <a:pt x="5798828" y="2109562"/>
                  <a:pt x="5798828" y="2109562"/>
                </a:cubicBezTo>
                <a:cubicBezTo>
                  <a:pt x="5799682" y="2107998"/>
                  <a:pt x="5799682" y="2107998"/>
                  <a:pt x="5800109" y="2109136"/>
                </a:cubicBezTo>
                <a:cubicBezTo>
                  <a:pt x="5802029" y="2107144"/>
                  <a:pt x="5803096" y="2106575"/>
                  <a:pt x="5804164" y="2106148"/>
                </a:cubicBezTo>
                <a:close/>
                <a:moveTo>
                  <a:pt x="5586475" y="2105152"/>
                </a:moveTo>
                <a:cubicBezTo>
                  <a:pt x="5588823" y="2105721"/>
                  <a:pt x="5590957" y="2106290"/>
                  <a:pt x="5591384" y="2108709"/>
                </a:cubicBezTo>
                <a:cubicBezTo>
                  <a:pt x="5591597" y="2109420"/>
                  <a:pt x="5591597" y="2110274"/>
                  <a:pt x="5591170" y="2111554"/>
                </a:cubicBezTo>
                <a:cubicBezTo>
                  <a:pt x="5591170" y="2111554"/>
                  <a:pt x="5591170" y="2111554"/>
                  <a:pt x="5590103" y="2112266"/>
                </a:cubicBezTo>
                <a:cubicBezTo>
                  <a:pt x="5587969" y="2113404"/>
                  <a:pt x="5587116" y="2114115"/>
                  <a:pt x="5586049" y="2114827"/>
                </a:cubicBezTo>
                <a:cubicBezTo>
                  <a:pt x="5584554" y="2114399"/>
                  <a:pt x="5580926" y="2112551"/>
                  <a:pt x="5581354" y="2110986"/>
                </a:cubicBezTo>
                <a:cubicBezTo>
                  <a:pt x="5582420" y="2107713"/>
                  <a:pt x="5584982" y="2104725"/>
                  <a:pt x="5586475" y="2105152"/>
                </a:cubicBezTo>
                <a:close/>
                <a:moveTo>
                  <a:pt x="4889446" y="2105152"/>
                </a:moveTo>
                <a:cubicBezTo>
                  <a:pt x="4890727" y="2105010"/>
                  <a:pt x="4891794" y="2105152"/>
                  <a:pt x="4892434" y="2105721"/>
                </a:cubicBezTo>
                <a:cubicBezTo>
                  <a:pt x="4893074" y="2106290"/>
                  <a:pt x="4893288" y="2107571"/>
                  <a:pt x="4893074" y="2109705"/>
                </a:cubicBezTo>
                <a:cubicBezTo>
                  <a:pt x="4893074" y="2109705"/>
                  <a:pt x="4892221" y="2110274"/>
                  <a:pt x="4892221" y="2110274"/>
                </a:cubicBezTo>
                <a:cubicBezTo>
                  <a:pt x="4888166" y="2110132"/>
                  <a:pt x="4888593" y="2108425"/>
                  <a:pt x="4889446" y="2105152"/>
                </a:cubicBezTo>
                <a:close/>
                <a:moveTo>
                  <a:pt x="5490863" y="2104725"/>
                </a:moveTo>
                <a:cubicBezTo>
                  <a:pt x="5491931" y="2105295"/>
                  <a:pt x="5494705" y="2105579"/>
                  <a:pt x="5495131" y="2107286"/>
                </a:cubicBezTo>
                <a:cubicBezTo>
                  <a:pt x="5495772" y="2108851"/>
                  <a:pt x="5495772" y="2108851"/>
                  <a:pt x="5494918" y="2110843"/>
                </a:cubicBezTo>
                <a:cubicBezTo>
                  <a:pt x="5492144" y="2107998"/>
                  <a:pt x="5492144" y="2107998"/>
                  <a:pt x="5490863" y="2104725"/>
                </a:cubicBezTo>
                <a:close/>
                <a:moveTo>
                  <a:pt x="5008321" y="2104156"/>
                </a:moveTo>
                <a:cubicBezTo>
                  <a:pt x="5010029" y="2104298"/>
                  <a:pt x="5011522" y="2105437"/>
                  <a:pt x="5013657" y="2107998"/>
                </a:cubicBezTo>
                <a:cubicBezTo>
                  <a:pt x="5013657" y="2107998"/>
                  <a:pt x="5014083" y="2109562"/>
                  <a:pt x="5014083" y="2109562"/>
                </a:cubicBezTo>
                <a:lnTo>
                  <a:pt x="5015577" y="2116818"/>
                </a:lnTo>
                <a:lnTo>
                  <a:pt x="5018138" y="2118526"/>
                </a:lnTo>
                <a:cubicBezTo>
                  <a:pt x="5018352" y="2122082"/>
                  <a:pt x="5016218" y="2124643"/>
                  <a:pt x="5013443" y="2126065"/>
                </a:cubicBezTo>
                <a:lnTo>
                  <a:pt x="5011096" y="2126208"/>
                </a:lnTo>
                <a:lnTo>
                  <a:pt x="5010882" y="2128627"/>
                </a:lnTo>
                <a:lnTo>
                  <a:pt x="5010242" y="2128484"/>
                </a:lnTo>
                <a:lnTo>
                  <a:pt x="5010242" y="2130618"/>
                </a:lnTo>
                <a:cubicBezTo>
                  <a:pt x="5003199" y="2141858"/>
                  <a:pt x="4996796" y="2140577"/>
                  <a:pt x="4995943" y="2142142"/>
                </a:cubicBezTo>
                <a:cubicBezTo>
                  <a:pt x="4993808" y="2141004"/>
                  <a:pt x="4993168" y="2139723"/>
                  <a:pt x="4993168" y="2138016"/>
                </a:cubicBezTo>
                <a:lnTo>
                  <a:pt x="4993808" y="2134886"/>
                </a:lnTo>
                <a:lnTo>
                  <a:pt x="4993382" y="2134886"/>
                </a:lnTo>
                <a:cubicBezTo>
                  <a:pt x="4989327" y="2134318"/>
                  <a:pt x="4983137" y="2130903"/>
                  <a:pt x="4985485" y="2127488"/>
                </a:cubicBezTo>
                <a:cubicBezTo>
                  <a:pt x="4986552" y="2126635"/>
                  <a:pt x="4987620" y="2126493"/>
                  <a:pt x="4988900" y="2126777"/>
                </a:cubicBezTo>
                <a:cubicBezTo>
                  <a:pt x="4990607" y="2127204"/>
                  <a:pt x="4992528" y="2128769"/>
                  <a:pt x="4994022" y="2130334"/>
                </a:cubicBezTo>
                <a:lnTo>
                  <a:pt x="4994449" y="2131330"/>
                </a:lnTo>
                <a:lnTo>
                  <a:pt x="4997010" y="2129480"/>
                </a:lnTo>
                <a:cubicBezTo>
                  <a:pt x="4997863" y="2128200"/>
                  <a:pt x="4998717" y="2126635"/>
                  <a:pt x="4999144" y="2125923"/>
                </a:cubicBezTo>
                <a:cubicBezTo>
                  <a:pt x="5000211" y="2126493"/>
                  <a:pt x="5001278" y="2126065"/>
                  <a:pt x="5002559" y="2125497"/>
                </a:cubicBezTo>
                <a:lnTo>
                  <a:pt x="5002772" y="2125497"/>
                </a:lnTo>
                <a:lnTo>
                  <a:pt x="5002772" y="2125355"/>
                </a:lnTo>
                <a:lnTo>
                  <a:pt x="5001065" y="2123790"/>
                </a:lnTo>
                <a:lnTo>
                  <a:pt x="5000851" y="2124217"/>
                </a:lnTo>
                <a:cubicBezTo>
                  <a:pt x="4997223" y="2127204"/>
                  <a:pt x="4993595" y="2130192"/>
                  <a:pt x="4990180" y="2127346"/>
                </a:cubicBezTo>
                <a:cubicBezTo>
                  <a:pt x="4992955" y="2122936"/>
                  <a:pt x="4994235" y="2119522"/>
                  <a:pt x="4996796" y="2115254"/>
                </a:cubicBezTo>
                <a:cubicBezTo>
                  <a:pt x="4997437" y="2114684"/>
                  <a:pt x="4998931" y="2114115"/>
                  <a:pt x="5000425" y="2113689"/>
                </a:cubicBezTo>
                <a:lnTo>
                  <a:pt x="5003626" y="2113973"/>
                </a:lnTo>
                <a:lnTo>
                  <a:pt x="5003626" y="2112692"/>
                </a:lnTo>
                <a:cubicBezTo>
                  <a:pt x="5003626" y="2110559"/>
                  <a:pt x="5003626" y="2108282"/>
                  <a:pt x="5002772" y="2105863"/>
                </a:cubicBezTo>
                <a:cubicBezTo>
                  <a:pt x="5005334" y="2104583"/>
                  <a:pt x="5006827" y="2103872"/>
                  <a:pt x="5008321" y="2104156"/>
                </a:cubicBezTo>
                <a:close/>
                <a:moveTo>
                  <a:pt x="5977033" y="2104015"/>
                </a:moveTo>
                <a:cubicBezTo>
                  <a:pt x="5977674" y="2104298"/>
                  <a:pt x="5978314" y="2104868"/>
                  <a:pt x="5979168" y="2105437"/>
                </a:cubicBezTo>
                <a:cubicBezTo>
                  <a:pt x="5980448" y="2106575"/>
                  <a:pt x="5981729" y="2107713"/>
                  <a:pt x="5983009" y="2108851"/>
                </a:cubicBezTo>
                <a:cubicBezTo>
                  <a:pt x="5983009" y="2108851"/>
                  <a:pt x="5983009" y="2108851"/>
                  <a:pt x="5975326" y="2104441"/>
                </a:cubicBezTo>
                <a:cubicBezTo>
                  <a:pt x="5975753" y="2103872"/>
                  <a:pt x="5976393" y="2103730"/>
                  <a:pt x="5977033" y="2104015"/>
                </a:cubicBezTo>
                <a:close/>
                <a:moveTo>
                  <a:pt x="6174660" y="2103445"/>
                </a:moveTo>
                <a:cubicBezTo>
                  <a:pt x="6175941" y="2103872"/>
                  <a:pt x="6177435" y="2105579"/>
                  <a:pt x="6180636" y="2109136"/>
                </a:cubicBezTo>
                <a:cubicBezTo>
                  <a:pt x="6181703" y="2110416"/>
                  <a:pt x="6182557" y="2112124"/>
                  <a:pt x="6182984" y="2113831"/>
                </a:cubicBezTo>
                <a:cubicBezTo>
                  <a:pt x="6183197" y="2115538"/>
                  <a:pt x="6182984" y="2117246"/>
                  <a:pt x="6182343" y="2118810"/>
                </a:cubicBezTo>
                <a:cubicBezTo>
                  <a:pt x="6183411" y="2121371"/>
                  <a:pt x="6183197" y="2124928"/>
                  <a:pt x="6181916" y="2127062"/>
                </a:cubicBezTo>
                <a:cubicBezTo>
                  <a:pt x="6179356" y="2129053"/>
                  <a:pt x="6177221" y="2128627"/>
                  <a:pt x="6176154" y="2127346"/>
                </a:cubicBezTo>
                <a:cubicBezTo>
                  <a:pt x="6166337" y="2117387"/>
                  <a:pt x="6171672" y="2107571"/>
                  <a:pt x="6170605" y="2105152"/>
                </a:cubicBezTo>
                <a:cubicBezTo>
                  <a:pt x="6172526" y="2103588"/>
                  <a:pt x="6173380" y="2102876"/>
                  <a:pt x="6174660" y="2103445"/>
                </a:cubicBezTo>
                <a:close/>
                <a:moveTo>
                  <a:pt x="5488943" y="2102591"/>
                </a:moveTo>
                <a:cubicBezTo>
                  <a:pt x="5489369" y="2102876"/>
                  <a:pt x="5489796" y="2103445"/>
                  <a:pt x="5490223" y="2104156"/>
                </a:cubicBezTo>
                <a:cubicBezTo>
                  <a:pt x="5490223" y="2104156"/>
                  <a:pt x="5489796" y="2105152"/>
                  <a:pt x="5489796" y="2105152"/>
                </a:cubicBezTo>
                <a:cubicBezTo>
                  <a:pt x="5488729" y="2104583"/>
                  <a:pt x="5487448" y="2103872"/>
                  <a:pt x="5487875" y="2103018"/>
                </a:cubicBezTo>
                <a:cubicBezTo>
                  <a:pt x="5488089" y="2102450"/>
                  <a:pt x="5488516" y="2102307"/>
                  <a:pt x="5488943" y="2102591"/>
                </a:cubicBezTo>
                <a:close/>
                <a:moveTo>
                  <a:pt x="4907160" y="2102165"/>
                </a:moveTo>
                <a:cubicBezTo>
                  <a:pt x="4909081" y="2101596"/>
                  <a:pt x="4910788" y="2101738"/>
                  <a:pt x="4912283" y="2102307"/>
                </a:cubicBezTo>
                <a:cubicBezTo>
                  <a:pt x="4916551" y="2104015"/>
                  <a:pt x="4918258" y="2109705"/>
                  <a:pt x="4913136" y="2112977"/>
                </a:cubicBezTo>
                <a:cubicBezTo>
                  <a:pt x="4907374" y="2109562"/>
                  <a:pt x="4906307" y="2106148"/>
                  <a:pt x="4907160" y="2102165"/>
                </a:cubicBezTo>
                <a:close/>
                <a:moveTo>
                  <a:pt x="4759901" y="2102023"/>
                </a:moveTo>
                <a:cubicBezTo>
                  <a:pt x="4760541" y="2102023"/>
                  <a:pt x="4761181" y="2102307"/>
                  <a:pt x="4761822" y="2102591"/>
                </a:cubicBezTo>
                <a:cubicBezTo>
                  <a:pt x="4762889" y="2103161"/>
                  <a:pt x="4763955" y="2104156"/>
                  <a:pt x="4763955" y="2104868"/>
                </a:cubicBezTo>
                <a:cubicBezTo>
                  <a:pt x="4762675" y="2105863"/>
                  <a:pt x="4760327" y="2105579"/>
                  <a:pt x="4759047" y="2106575"/>
                </a:cubicBezTo>
                <a:cubicBezTo>
                  <a:pt x="4759047" y="2105437"/>
                  <a:pt x="4757980" y="2104015"/>
                  <a:pt x="4757980" y="2102876"/>
                </a:cubicBezTo>
                <a:cubicBezTo>
                  <a:pt x="4758620" y="2102307"/>
                  <a:pt x="4759260" y="2102023"/>
                  <a:pt x="4759901" y="2102023"/>
                </a:cubicBezTo>
                <a:close/>
                <a:moveTo>
                  <a:pt x="896264" y="2101965"/>
                </a:moveTo>
                <a:cubicBezTo>
                  <a:pt x="897297" y="2101655"/>
                  <a:pt x="898639" y="2101965"/>
                  <a:pt x="900808" y="2103049"/>
                </a:cubicBezTo>
                <a:cubicBezTo>
                  <a:pt x="900808" y="2103049"/>
                  <a:pt x="901633" y="2103979"/>
                  <a:pt x="901633" y="2103979"/>
                </a:cubicBezTo>
                <a:lnTo>
                  <a:pt x="904731" y="2108316"/>
                </a:lnTo>
                <a:lnTo>
                  <a:pt x="907003" y="2108626"/>
                </a:lnTo>
                <a:cubicBezTo>
                  <a:pt x="907519" y="2109864"/>
                  <a:pt x="907622" y="2110949"/>
                  <a:pt x="907416" y="2112033"/>
                </a:cubicBezTo>
                <a:lnTo>
                  <a:pt x="906590" y="2113737"/>
                </a:lnTo>
                <a:lnTo>
                  <a:pt x="906280" y="2115286"/>
                </a:lnTo>
                <a:lnTo>
                  <a:pt x="905557" y="2115286"/>
                </a:lnTo>
                <a:lnTo>
                  <a:pt x="899878" y="2118074"/>
                </a:lnTo>
                <a:cubicBezTo>
                  <a:pt x="898433" y="2118074"/>
                  <a:pt x="896884" y="2117764"/>
                  <a:pt x="895645" y="2116680"/>
                </a:cubicBezTo>
                <a:cubicBezTo>
                  <a:pt x="894922" y="2115131"/>
                  <a:pt x="894922" y="2113737"/>
                  <a:pt x="895438" y="2112498"/>
                </a:cubicBezTo>
                <a:lnTo>
                  <a:pt x="896781" y="2110949"/>
                </a:lnTo>
                <a:lnTo>
                  <a:pt x="895438" y="2109090"/>
                </a:lnTo>
                <a:cubicBezTo>
                  <a:pt x="894819" y="2107696"/>
                  <a:pt x="894199" y="2106147"/>
                  <a:pt x="892857" y="2104753"/>
                </a:cubicBezTo>
                <a:cubicBezTo>
                  <a:pt x="894199" y="2103204"/>
                  <a:pt x="895128" y="2102275"/>
                  <a:pt x="896264" y="2101965"/>
                </a:cubicBezTo>
                <a:close/>
                <a:moveTo>
                  <a:pt x="5102653" y="2100600"/>
                </a:moveTo>
                <a:cubicBezTo>
                  <a:pt x="5103293" y="2101738"/>
                  <a:pt x="5103933" y="2102734"/>
                  <a:pt x="5103293" y="2104441"/>
                </a:cubicBezTo>
                <a:cubicBezTo>
                  <a:pt x="5102866" y="2106006"/>
                  <a:pt x="5102226" y="2105010"/>
                  <a:pt x="5102866" y="2106006"/>
                </a:cubicBezTo>
                <a:cubicBezTo>
                  <a:pt x="5102226" y="2107571"/>
                  <a:pt x="5103293" y="2107002"/>
                  <a:pt x="5103293" y="2107002"/>
                </a:cubicBezTo>
                <a:cubicBezTo>
                  <a:pt x="5103293" y="2107002"/>
                  <a:pt x="5102439" y="2107713"/>
                  <a:pt x="5102439" y="2107713"/>
                </a:cubicBezTo>
                <a:cubicBezTo>
                  <a:pt x="5102439" y="2107713"/>
                  <a:pt x="5102439" y="2107571"/>
                  <a:pt x="5101372" y="2110986"/>
                </a:cubicBezTo>
                <a:cubicBezTo>
                  <a:pt x="5100945" y="2115254"/>
                  <a:pt x="5101372" y="2116391"/>
                  <a:pt x="5101585" y="2119095"/>
                </a:cubicBezTo>
                <a:cubicBezTo>
                  <a:pt x="5100518" y="2122367"/>
                  <a:pt x="5099451" y="2122936"/>
                  <a:pt x="5097530" y="2126920"/>
                </a:cubicBezTo>
                <a:cubicBezTo>
                  <a:pt x="5094970" y="2127204"/>
                  <a:pt x="5094970" y="2127204"/>
                  <a:pt x="5094329" y="2126208"/>
                </a:cubicBezTo>
                <a:cubicBezTo>
                  <a:pt x="5094970" y="2127204"/>
                  <a:pt x="5093902" y="2127915"/>
                  <a:pt x="5093476" y="2129480"/>
                </a:cubicBezTo>
                <a:cubicBezTo>
                  <a:pt x="5093049" y="2136594"/>
                  <a:pt x="5086859" y="2137732"/>
                  <a:pt x="5079603" y="2136736"/>
                </a:cubicBezTo>
                <a:cubicBezTo>
                  <a:pt x="5079817" y="2135882"/>
                  <a:pt x="5078963" y="2135456"/>
                  <a:pt x="5077683" y="2135029"/>
                </a:cubicBezTo>
                <a:lnTo>
                  <a:pt x="5077469" y="2134886"/>
                </a:lnTo>
                <a:lnTo>
                  <a:pt x="5077256" y="2135456"/>
                </a:lnTo>
                <a:cubicBezTo>
                  <a:pt x="5076615" y="2138016"/>
                  <a:pt x="5075975" y="2140577"/>
                  <a:pt x="5075975" y="2140577"/>
                </a:cubicBezTo>
                <a:lnTo>
                  <a:pt x="5073841" y="2140862"/>
                </a:lnTo>
                <a:lnTo>
                  <a:pt x="5078109" y="2143850"/>
                </a:lnTo>
                <a:cubicBezTo>
                  <a:pt x="5082591" y="2149540"/>
                  <a:pt x="5085152" y="2159499"/>
                  <a:pt x="5081097" y="2162060"/>
                </a:cubicBezTo>
                <a:cubicBezTo>
                  <a:pt x="5078323" y="2163767"/>
                  <a:pt x="5072347" y="2162060"/>
                  <a:pt x="5062103" y="2153239"/>
                </a:cubicBezTo>
                <a:cubicBezTo>
                  <a:pt x="5064024" y="2145130"/>
                  <a:pt x="5066798" y="2141431"/>
                  <a:pt x="5069573" y="2140293"/>
                </a:cubicBezTo>
                <a:lnTo>
                  <a:pt x="5072560" y="2140151"/>
                </a:lnTo>
                <a:lnTo>
                  <a:pt x="5071067" y="2137732"/>
                </a:lnTo>
                <a:cubicBezTo>
                  <a:pt x="5070426" y="2136024"/>
                  <a:pt x="5070426" y="2133179"/>
                  <a:pt x="5071067" y="2130334"/>
                </a:cubicBezTo>
                <a:lnTo>
                  <a:pt x="5072560" y="2126493"/>
                </a:lnTo>
                <a:lnTo>
                  <a:pt x="5072134" y="2124928"/>
                </a:lnTo>
                <a:cubicBezTo>
                  <a:pt x="5073628" y="2119948"/>
                  <a:pt x="5079817" y="2113546"/>
                  <a:pt x="5084512" y="2114684"/>
                </a:cubicBezTo>
                <a:cubicBezTo>
                  <a:pt x="5087286" y="2114969"/>
                  <a:pt x="5089421" y="2115822"/>
                  <a:pt x="5090914" y="2116818"/>
                </a:cubicBezTo>
                <a:lnTo>
                  <a:pt x="5091982" y="2118099"/>
                </a:lnTo>
                <a:lnTo>
                  <a:pt x="5090701" y="2114257"/>
                </a:lnTo>
                <a:cubicBezTo>
                  <a:pt x="5090914" y="2112408"/>
                  <a:pt x="5091555" y="2110701"/>
                  <a:pt x="5092195" y="2109136"/>
                </a:cubicBezTo>
                <a:cubicBezTo>
                  <a:pt x="5093476" y="2106860"/>
                  <a:pt x="5093476" y="2105721"/>
                  <a:pt x="5092622" y="2103161"/>
                </a:cubicBezTo>
                <a:cubicBezTo>
                  <a:pt x="5092622" y="2103161"/>
                  <a:pt x="5092622" y="2103161"/>
                  <a:pt x="5094970" y="2101169"/>
                </a:cubicBezTo>
                <a:lnTo>
                  <a:pt x="5096250" y="2101453"/>
                </a:lnTo>
                <a:cubicBezTo>
                  <a:pt x="5096677" y="2101880"/>
                  <a:pt x="5096890" y="2102734"/>
                  <a:pt x="5096890" y="2104156"/>
                </a:cubicBezTo>
                <a:cubicBezTo>
                  <a:pt x="5096890" y="2106006"/>
                  <a:pt x="5096677" y="2108709"/>
                  <a:pt x="5096250" y="2110986"/>
                </a:cubicBezTo>
                <a:lnTo>
                  <a:pt x="5095397" y="2115111"/>
                </a:lnTo>
                <a:lnTo>
                  <a:pt x="5097744" y="2107998"/>
                </a:lnTo>
                <a:cubicBezTo>
                  <a:pt x="5099238" y="2104156"/>
                  <a:pt x="5100945" y="2101026"/>
                  <a:pt x="5102653" y="2100600"/>
                </a:cubicBezTo>
                <a:close/>
                <a:moveTo>
                  <a:pt x="6024839" y="2100315"/>
                </a:moveTo>
                <a:cubicBezTo>
                  <a:pt x="6026547" y="2100315"/>
                  <a:pt x="6028041" y="2100600"/>
                  <a:pt x="6029535" y="2101026"/>
                </a:cubicBezTo>
                <a:cubicBezTo>
                  <a:pt x="6032523" y="2101738"/>
                  <a:pt x="6035297" y="2103161"/>
                  <a:pt x="6037858" y="2104583"/>
                </a:cubicBezTo>
                <a:cubicBezTo>
                  <a:pt x="6041273" y="2120091"/>
                  <a:pt x="6026547" y="2113404"/>
                  <a:pt x="6018437" y="2112977"/>
                </a:cubicBezTo>
                <a:cubicBezTo>
                  <a:pt x="6017370" y="2107855"/>
                  <a:pt x="6017583" y="2106148"/>
                  <a:pt x="6019717" y="2101026"/>
                </a:cubicBezTo>
                <a:cubicBezTo>
                  <a:pt x="6021425" y="2100600"/>
                  <a:pt x="6023132" y="2100315"/>
                  <a:pt x="6024839" y="2100315"/>
                </a:cubicBezTo>
                <a:close/>
                <a:moveTo>
                  <a:pt x="5280858" y="2100173"/>
                </a:moveTo>
                <a:cubicBezTo>
                  <a:pt x="5285767" y="2101596"/>
                  <a:pt x="5291316" y="2102307"/>
                  <a:pt x="5293237" y="2106148"/>
                </a:cubicBezTo>
                <a:cubicBezTo>
                  <a:pt x="5293877" y="2107429"/>
                  <a:pt x="5294303" y="2109136"/>
                  <a:pt x="5293877" y="2111270"/>
                </a:cubicBezTo>
                <a:cubicBezTo>
                  <a:pt x="5290249" y="2115538"/>
                  <a:pt x="5286194" y="2116107"/>
                  <a:pt x="5283206" y="2114827"/>
                </a:cubicBezTo>
                <a:lnTo>
                  <a:pt x="5282566" y="2114257"/>
                </a:lnTo>
                <a:lnTo>
                  <a:pt x="5282566" y="2114399"/>
                </a:lnTo>
                <a:cubicBezTo>
                  <a:pt x="5283206" y="2115396"/>
                  <a:pt x="5279791" y="2116249"/>
                  <a:pt x="5279791" y="2116249"/>
                </a:cubicBezTo>
                <a:cubicBezTo>
                  <a:pt x="5278084" y="2115822"/>
                  <a:pt x="5277871" y="2111270"/>
                  <a:pt x="5277230" y="2110274"/>
                </a:cubicBezTo>
                <a:lnTo>
                  <a:pt x="5278937" y="2109847"/>
                </a:lnTo>
                <a:lnTo>
                  <a:pt x="5278084" y="2106860"/>
                </a:lnTo>
                <a:cubicBezTo>
                  <a:pt x="5277871" y="2104583"/>
                  <a:pt x="5278724" y="2102165"/>
                  <a:pt x="5280858" y="2100173"/>
                </a:cubicBezTo>
                <a:close/>
                <a:moveTo>
                  <a:pt x="4980790" y="2099461"/>
                </a:moveTo>
                <a:cubicBezTo>
                  <a:pt x="4981644" y="2098750"/>
                  <a:pt x="4982284" y="2099888"/>
                  <a:pt x="4981217" y="2100457"/>
                </a:cubicBezTo>
                <a:cubicBezTo>
                  <a:pt x="4981430" y="2103161"/>
                  <a:pt x="4978442" y="2102165"/>
                  <a:pt x="4976949" y="2101738"/>
                </a:cubicBezTo>
                <a:cubicBezTo>
                  <a:pt x="4979723" y="2100031"/>
                  <a:pt x="4980150" y="2098323"/>
                  <a:pt x="4980790" y="2099461"/>
                </a:cubicBezTo>
                <a:close/>
                <a:moveTo>
                  <a:pt x="5957826" y="2099177"/>
                </a:moveTo>
                <a:cubicBezTo>
                  <a:pt x="5960814" y="2100315"/>
                  <a:pt x="5963374" y="2100315"/>
                  <a:pt x="5964869" y="2100884"/>
                </a:cubicBezTo>
                <a:cubicBezTo>
                  <a:pt x="5964442" y="2106290"/>
                  <a:pt x="5961667" y="2108993"/>
                  <a:pt x="5957186" y="2107429"/>
                </a:cubicBezTo>
                <a:cubicBezTo>
                  <a:pt x="5958466" y="2104156"/>
                  <a:pt x="5956545" y="2102450"/>
                  <a:pt x="5957826" y="2099177"/>
                </a:cubicBezTo>
                <a:close/>
                <a:moveTo>
                  <a:pt x="5181832" y="2098893"/>
                </a:moveTo>
                <a:cubicBezTo>
                  <a:pt x="5185033" y="2099604"/>
                  <a:pt x="5185460" y="2103303"/>
                  <a:pt x="5186953" y="2103730"/>
                </a:cubicBezTo>
                <a:cubicBezTo>
                  <a:pt x="5185886" y="2104298"/>
                  <a:pt x="5183965" y="2105579"/>
                  <a:pt x="5183965" y="2108282"/>
                </a:cubicBezTo>
                <a:cubicBezTo>
                  <a:pt x="5180978" y="2107571"/>
                  <a:pt x="5177777" y="2106717"/>
                  <a:pt x="5178844" y="2103445"/>
                </a:cubicBezTo>
                <a:cubicBezTo>
                  <a:pt x="5179270" y="2101738"/>
                  <a:pt x="5179697" y="2100173"/>
                  <a:pt x="5181832" y="2098893"/>
                </a:cubicBezTo>
                <a:close/>
                <a:moveTo>
                  <a:pt x="5484888" y="2098181"/>
                </a:moveTo>
                <a:cubicBezTo>
                  <a:pt x="5485528" y="2099177"/>
                  <a:pt x="5486168" y="2100173"/>
                  <a:pt x="5485955" y="2101880"/>
                </a:cubicBezTo>
                <a:cubicBezTo>
                  <a:pt x="5485741" y="2103588"/>
                  <a:pt x="5485101" y="2102450"/>
                  <a:pt x="5485741" y="2103445"/>
                </a:cubicBezTo>
                <a:cubicBezTo>
                  <a:pt x="5485528" y="2105152"/>
                  <a:pt x="5486381" y="2104583"/>
                  <a:pt x="5486381" y="2104583"/>
                </a:cubicBezTo>
                <a:cubicBezTo>
                  <a:pt x="5486381" y="2104583"/>
                  <a:pt x="5485528" y="2105152"/>
                  <a:pt x="5485528" y="2105152"/>
                </a:cubicBezTo>
                <a:cubicBezTo>
                  <a:pt x="5485528" y="2105152"/>
                  <a:pt x="5485528" y="2105152"/>
                  <a:pt x="5484888" y="2108425"/>
                </a:cubicBezTo>
                <a:cubicBezTo>
                  <a:pt x="5485101" y="2112835"/>
                  <a:pt x="5485955" y="2113831"/>
                  <a:pt x="5486381" y="2116534"/>
                </a:cubicBezTo>
                <a:cubicBezTo>
                  <a:pt x="5485741" y="2119806"/>
                  <a:pt x="5484888" y="2120517"/>
                  <a:pt x="5483393" y="2124358"/>
                </a:cubicBezTo>
                <a:cubicBezTo>
                  <a:pt x="5481046" y="2124501"/>
                  <a:pt x="5481046" y="2124501"/>
                  <a:pt x="5480192" y="2123505"/>
                </a:cubicBezTo>
                <a:cubicBezTo>
                  <a:pt x="5481046" y="2124501"/>
                  <a:pt x="5479979" y="2125070"/>
                  <a:pt x="5479765" y="2126777"/>
                </a:cubicBezTo>
                <a:cubicBezTo>
                  <a:pt x="5480406" y="2133749"/>
                  <a:pt x="5474430" y="2134744"/>
                  <a:pt x="5467174" y="2133749"/>
                </a:cubicBezTo>
                <a:cubicBezTo>
                  <a:pt x="5467387" y="2132041"/>
                  <a:pt x="5463118" y="2131757"/>
                  <a:pt x="5460985" y="2130334"/>
                </a:cubicBezTo>
                <a:cubicBezTo>
                  <a:pt x="5459918" y="2128769"/>
                  <a:pt x="5458850" y="2127488"/>
                  <a:pt x="5458423" y="2126208"/>
                </a:cubicBezTo>
                <a:lnTo>
                  <a:pt x="5458423" y="2125923"/>
                </a:lnTo>
                <a:lnTo>
                  <a:pt x="5450954" y="2123363"/>
                </a:lnTo>
                <a:lnTo>
                  <a:pt x="5450314" y="2122793"/>
                </a:lnTo>
                <a:lnTo>
                  <a:pt x="5449887" y="2122651"/>
                </a:lnTo>
                <a:cubicBezTo>
                  <a:pt x="5443271" y="2122509"/>
                  <a:pt x="5437295" y="2122225"/>
                  <a:pt x="5434734" y="2115681"/>
                </a:cubicBezTo>
                <a:lnTo>
                  <a:pt x="5444551" y="2113831"/>
                </a:lnTo>
                <a:lnTo>
                  <a:pt x="5444551" y="2113119"/>
                </a:lnTo>
                <a:lnTo>
                  <a:pt x="5440496" y="2114257"/>
                </a:lnTo>
                <a:cubicBezTo>
                  <a:pt x="5438576" y="2114257"/>
                  <a:pt x="5436655" y="2113831"/>
                  <a:pt x="5435801" y="2112692"/>
                </a:cubicBezTo>
                <a:cubicBezTo>
                  <a:pt x="5437935" y="2111270"/>
                  <a:pt x="5439429" y="2110843"/>
                  <a:pt x="5440923" y="2110559"/>
                </a:cubicBezTo>
                <a:cubicBezTo>
                  <a:pt x="5441990" y="2109847"/>
                  <a:pt x="5442844" y="2109562"/>
                  <a:pt x="5443484" y="2109989"/>
                </a:cubicBezTo>
                <a:lnTo>
                  <a:pt x="5444551" y="2111697"/>
                </a:lnTo>
                <a:lnTo>
                  <a:pt x="5444551" y="2111270"/>
                </a:lnTo>
                <a:cubicBezTo>
                  <a:pt x="5445191" y="2109278"/>
                  <a:pt x="5446259" y="2107002"/>
                  <a:pt x="5447966" y="2104441"/>
                </a:cubicBezTo>
                <a:cubicBezTo>
                  <a:pt x="5449673" y="2107429"/>
                  <a:pt x="5452234" y="2109847"/>
                  <a:pt x="5455009" y="2112124"/>
                </a:cubicBezTo>
                <a:lnTo>
                  <a:pt x="5455862" y="2112835"/>
                </a:lnTo>
                <a:lnTo>
                  <a:pt x="5460985" y="2113119"/>
                </a:lnTo>
                <a:lnTo>
                  <a:pt x="5462692" y="2113831"/>
                </a:lnTo>
                <a:lnTo>
                  <a:pt x="5465039" y="2112124"/>
                </a:lnTo>
                <a:cubicBezTo>
                  <a:pt x="5466106" y="2111554"/>
                  <a:pt x="5467387" y="2111554"/>
                  <a:pt x="5468668" y="2111839"/>
                </a:cubicBezTo>
                <a:cubicBezTo>
                  <a:pt x="5474430" y="2112551"/>
                  <a:pt x="5477418" y="2114969"/>
                  <a:pt x="5479339" y="2118099"/>
                </a:cubicBezTo>
                <a:cubicBezTo>
                  <a:pt x="5479339" y="2118099"/>
                  <a:pt x="5479339" y="2118099"/>
                  <a:pt x="5478698" y="2117103"/>
                </a:cubicBezTo>
                <a:cubicBezTo>
                  <a:pt x="5479339" y="2112124"/>
                  <a:pt x="5480619" y="2104298"/>
                  <a:pt x="5482540" y="2100457"/>
                </a:cubicBezTo>
                <a:lnTo>
                  <a:pt x="5482967" y="2100173"/>
                </a:lnTo>
                <a:lnTo>
                  <a:pt x="5482753" y="2099888"/>
                </a:lnTo>
                <a:lnTo>
                  <a:pt x="5483180" y="2099746"/>
                </a:lnTo>
                <a:close/>
                <a:moveTo>
                  <a:pt x="4836945" y="2097896"/>
                </a:moveTo>
                <a:cubicBezTo>
                  <a:pt x="4837159" y="2099035"/>
                  <a:pt x="4836945" y="2103018"/>
                  <a:pt x="4836518" y="2107002"/>
                </a:cubicBezTo>
                <a:lnTo>
                  <a:pt x="4836091" y="2110416"/>
                </a:lnTo>
                <a:lnTo>
                  <a:pt x="4837799" y="2110559"/>
                </a:lnTo>
                <a:cubicBezTo>
                  <a:pt x="4841000" y="2112124"/>
                  <a:pt x="4841854" y="2117246"/>
                  <a:pt x="4845482" y="2121228"/>
                </a:cubicBezTo>
                <a:cubicBezTo>
                  <a:pt x="4843134" y="2123363"/>
                  <a:pt x="4839719" y="2123363"/>
                  <a:pt x="4836945" y="2122082"/>
                </a:cubicBezTo>
                <a:lnTo>
                  <a:pt x="4833317" y="2119522"/>
                </a:lnTo>
                <a:lnTo>
                  <a:pt x="4833317" y="2119379"/>
                </a:lnTo>
                <a:lnTo>
                  <a:pt x="4831610" y="2115681"/>
                </a:lnTo>
                <a:cubicBezTo>
                  <a:pt x="4831183" y="2113831"/>
                  <a:pt x="4831823" y="2111981"/>
                  <a:pt x="4833531" y="2110274"/>
                </a:cubicBezTo>
                <a:lnTo>
                  <a:pt x="4834811" y="2110416"/>
                </a:lnTo>
                <a:lnTo>
                  <a:pt x="4834811" y="2107002"/>
                </a:lnTo>
                <a:cubicBezTo>
                  <a:pt x="4835024" y="2103588"/>
                  <a:pt x="4835451" y="2100173"/>
                  <a:pt x="4836945" y="2097896"/>
                </a:cubicBezTo>
                <a:close/>
                <a:moveTo>
                  <a:pt x="5729893" y="2096759"/>
                </a:moveTo>
                <a:cubicBezTo>
                  <a:pt x="5738217" y="2097470"/>
                  <a:pt x="5748674" y="2103303"/>
                  <a:pt x="5751876" y="2110559"/>
                </a:cubicBezTo>
                <a:lnTo>
                  <a:pt x="5752089" y="2115111"/>
                </a:lnTo>
                <a:lnTo>
                  <a:pt x="5752729" y="2115111"/>
                </a:lnTo>
                <a:cubicBezTo>
                  <a:pt x="5752942" y="2115254"/>
                  <a:pt x="5753156" y="2115538"/>
                  <a:pt x="5754010" y="2115822"/>
                </a:cubicBezTo>
                <a:cubicBezTo>
                  <a:pt x="5755504" y="2116107"/>
                  <a:pt x="5761693" y="2114969"/>
                  <a:pt x="5762120" y="2113404"/>
                </a:cubicBezTo>
                <a:cubicBezTo>
                  <a:pt x="5762547" y="2114399"/>
                  <a:pt x="5764041" y="2114827"/>
                  <a:pt x="5764041" y="2114827"/>
                </a:cubicBezTo>
                <a:cubicBezTo>
                  <a:pt x="5763613" y="2116391"/>
                  <a:pt x="5762760" y="2117103"/>
                  <a:pt x="5761693" y="2117672"/>
                </a:cubicBezTo>
                <a:cubicBezTo>
                  <a:pt x="5760199" y="2117387"/>
                  <a:pt x="5759559" y="2116249"/>
                  <a:pt x="5758065" y="2115965"/>
                </a:cubicBezTo>
                <a:cubicBezTo>
                  <a:pt x="5756998" y="2116534"/>
                  <a:pt x="5755077" y="2117814"/>
                  <a:pt x="5753370" y="2117387"/>
                </a:cubicBezTo>
                <a:lnTo>
                  <a:pt x="5752089" y="2116961"/>
                </a:lnTo>
                <a:lnTo>
                  <a:pt x="5752302" y="2118099"/>
                </a:lnTo>
                <a:cubicBezTo>
                  <a:pt x="5741845" y="2118810"/>
                  <a:pt x="5730320" y="2116961"/>
                  <a:pt x="5718369" y="2107002"/>
                </a:cubicBezTo>
                <a:cubicBezTo>
                  <a:pt x="5717515" y="2098893"/>
                  <a:pt x="5723064" y="2096189"/>
                  <a:pt x="5729893" y="2096759"/>
                </a:cubicBezTo>
                <a:close/>
                <a:moveTo>
                  <a:pt x="5641537" y="2096759"/>
                </a:moveTo>
                <a:lnTo>
                  <a:pt x="5639404" y="2097043"/>
                </a:lnTo>
                <a:lnTo>
                  <a:pt x="5641751" y="2097327"/>
                </a:lnTo>
                <a:close/>
                <a:moveTo>
                  <a:pt x="4712735" y="2096616"/>
                </a:moveTo>
                <a:cubicBezTo>
                  <a:pt x="4714655" y="2097896"/>
                  <a:pt x="4715936" y="2102876"/>
                  <a:pt x="4716790" y="2106148"/>
                </a:cubicBezTo>
                <a:cubicBezTo>
                  <a:pt x="4715082" y="2109136"/>
                  <a:pt x="4711454" y="2110843"/>
                  <a:pt x="4707399" y="2110986"/>
                </a:cubicBezTo>
                <a:cubicBezTo>
                  <a:pt x="4705692" y="2104298"/>
                  <a:pt x="4708040" y="2100315"/>
                  <a:pt x="4712735" y="2096616"/>
                </a:cubicBezTo>
                <a:close/>
                <a:moveTo>
                  <a:pt x="812110" y="2096389"/>
                </a:moveTo>
                <a:cubicBezTo>
                  <a:pt x="814795" y="2094220"/>
                  <a:pt x="816551" y="2096079"/>
                  <a:pt x="820061" y="2098093"/>
                </a:cubicBezTo>
                <a:cubicBezTo>
                  <a:pt x="819132" y="2098867"/>
                  <a:pt x="821713" y="2101655"/>
                  <a:pt x="822643" y="2102585"/>
                </a:cubicBezTo>
                <a:cubicBezTo>
                  <a:pt x="820784" y="2104133"/>
                  <a:pt x="823468" y="2107696"/>
                  <a:pt x="820784" y="2109864"/>
                </a:cubicBezTo>
                <a:cubicBezTo>
                  <a:pt x="819028" y="2109710"/>
                  <a:pt x="818099" y="2109710"/>
                  <a:pt x="816344" y="2108626"/>
                </a:cubicBezTo>
                <a:cubicBezTo>
                  <a:pt x="810252" y="2101345"/>
                  <a:pt x="812936" y="2097318"/>
                  <a:pt x="812110" y="2096389"/>
                </a:cubicBezTo>
                <a:close/>
                <a:moveTo>
                  <a:pt x="5618488" y="2095762"/>
                </a:moveTo>
                <a:cubicBezTo>
                  <a:pt x="5619129" y="2095620"/>
                  <a:pt x="5619982" y="2095762"/>
                  <a:pt x="5621263" y="2096332"/>
                </a:cubicBezTo>
                <a:cubicBezTo>
                  <a:pt x="5625318" y="2100884"/>
                  <a:pt x="5622543" y="2105863"/>
                  <a:pt x="5622330" y="2111981"/>
                </a:cubicBezTo>
                <a:cubicBezTo>
                  <a:pt x="5621263" y="2112124"/>
                  <a:pt x="5620195" y="2113404"/>
                  <a:pt x="5620409" y="2114542"/>
                </a:cubicBezTo>
                <a:cubicBezTo>
                  <a:pt x="5619342" y="2115822"/>
                  <a:pt x="5618488" y="2117103"/>
                  <a:pt x="5619555" y="2117103"/>
                </a:cubicBezTo>
                <a:cubicBezTo>
                  <a:pt x="5616567" y="2120944"/>
                  <a:pt x="5616781" y="2122082"/>
                  <a:pt x="5613153" y="2121087"/>
                </a:cubicBezTo>
                <a:cubicBezTo>
                  <a:pt x="5612939" y="2111412"/>
                  <a:pt x="5615927" y="2100315"/>
                  <a:pt x="5616781" y="2097754"/>
                </a:cubicBezTo>
                <a:cubicBezTo>
                  <a:pt x="5617208" y="2096616"/>
                  <a:pt x="5617635" y="2095904"/>
                  <a:pt x="5618488" y="2095762"/>
                </a:cubicBezTo>
                <a:close/>
                <a:moveTo>
                  <a:pt x="946034" y="2095614"/>
                </a:moveTo>
                <a:cubicBezTo>
                  <a:pt x="947686" y="2096544"/>
                  <a:pt x="949441" y="2097628"/>
                  <a:pt x="951093" y="2098712"/>
                </a:cubicBezTo>
                <a:cubicBezTo>
                  <a:pt x="950267" y="2098558"/>
                  <a:pt x="951816" y="2106302"/>
                  <a:pt x="951816" y="2106302"/>
                </a:cubicBezTo>
                <a:lnTo>
                  <a:pt x="950474" y="2107077"/>
                </a:lnTo>
                <a:lnTo>
                  <a:pt x="954088" y="2107851"/>
                </a:lnTo>
                <a:cubicBezTo>
                  <a:pt x="958837" y="2110330"/>
                  <a:pt x="963484" y="2116216"/>
                  <a:pt x="961522" y="2119158"/>
                </a:cubicBezTo>
                <a:cubicBezTo>
                  <a:pt x="960490" y="2120552"/>
                  <a:pt x="957805" y="2121327"/>
                  <a:pt x="952539" y="2120243"/>
                </a:cubicBezTo>
                <a:lnTo>
                  <a:pt x="948409" y="2119313"/>
                </a:lnTo>
                <a:lnTo>
                  <a:pt x="948512" y="2119623"/>
                </a:lnTo>
                <a:cubicBezTo>
                  <a:pt x="948409" y="2120708"/>
                  <a:pt x="947996" y="2121947"/>
                  <a:pt x="947273" y="2123031"/>
                </a:cubicBezTo>
                <a:lnTo>
                  <a:pt x="943246" y="2125819"/>
                </a:lnTo>
                <a:lnTo>
                  <a:pt x="943762" y="2140069"/>
                </a:lnTo>
                <a:cubicBezTo>
                  <a:pt x="944382" y="2147040"/>
                  <a:pt x="944898" y="2153700"/>
                  <a:pt x="944278" y="2160051"/>
                </a:cubicBezTo>
                <a:lnTo>
                  <a:pt x="940355" y="2154165"/>
                </a:lnTo>
                <a:lnTo>
                  <a:pt x="939838" y="2154785"/>
                </a:lnTo>
                <a:cubicBezTo>
                  <a:pt x="939012" y="2157883"/>
                  <a:pt x="943142" y="2161135"/>
                  <a:pt x="939012" y="2163614"/>
                </a:cubicBezTo>
                <a:cubicBezTo>
                  <a:pt x="936431" y="2163768"/>
                  <a:pt x="933643" y="2164853"/>
                  <a:pt x="930752" y="2164078"/>
                </a:cubicBezTo>
                <a:cubicBezTo>
                  <a:pt x="929823" y="2163923"/>
                  <a:pt x="928790" y="2163304"/>
                  <a:pt x="927758" y="2162530"/>
                </a:cubicBezTo>
                <a:cubicBezTo>
                  <a:pt x="932507" y="2157573"/>
                  <a:pt x="933850" y="2152771"/>
                  <a:pt x="936947" y="2147505"/>
                </a:cubicBezTo>
                <a:lnTo>
                  <a:pt x="937360" y="2147659"/>
                </a:lnTo>
                <a:lnTo>
                  <a:pt x="935502" y="2140379"/>
                </a:lnTo>
                <a:lnTo>
                  <a:pt x="934882" y="2135113"/>
                </a:lnTo>
                <a:lnTo>
                  <a:pt x="934469" y="2135577"/>
                </a:lnTo>
                <a:cubicBezTo>
                  <a:pt x="927345" y="2137746"/>
                  <a:pt x="921562" y="2137591"/>
                  <a:pt x="918981" y="2131086"/>
                </a:cubicBezTo>
                <a:cubicBezTo>
                  <a:pt x="920220" y="2130775"/>
                  <a:pt x="920013" y="2129691"/>
                  <a:pt x="919806" y="2128453"/>
                </a:cubicBezTo>
                <a:cubicBezTo>
                  <a:pt x="921046" y="2127058"/>
                  <a:pt x="922801" y="2126129"/>
                  <a:pt x="924763" y="2125664"/>
                </a:cubicBezTo>
                <a:lnTo>
                  <a:pt x="928377" y="2125974"/>
                </a:lnTo>
                <a:lnTo>
                  <a:pt x="928893" y="2121482"/>
                </a:lnTo>
                <a:cubicBezTo>
                  <a:pt x="930752" y="2121172"/>
                  <a:pt x="932300" y="2121482"/>
                  <a:pt x="933540" y="2122101"/>
                </a:cubicBezTo>
                <a:lnTo>
                  <a:pt x="933746" y="2122256"/>
                </a:lnTo>
                <a:lnTo>
                  <a:pt x="933333" y="2117300"/>
                </a:lnTo>
                <a:cubicBezTo>
                  <a:pt x="934779" y="2117610"/>
                  <a:pt x="936121" y="2117454"/>
                  <a:pt x="937567" y="2117300"/>
                </a:cubicBezTo>
                <a:lnTo>
                  <a:pt x="940045" y="2117610"/>
                </a:lnTo>
                <a:lnTo>
                  <a:pt x="940045" y="2116680"/>
                </a:lnTo>
                <a:cubicBezTo>
                  <a:pt x="942007" y="2115751"/>
                  <a:pt x="943659" y="2115286"/>
                  <a:pt x="944898" y="2115286"/>
                </a:cubicBezTo>
                <a:lnTo>
                  <a:pt x="946137" y="2116061"/>
                </a:lnTo>
                <a:lnTo>
                  <a:pt x="945930" y="2111723"/>
                </a:lnTo>
                <a:cubicBezTo>
                  <a:pt x="946137" y="2110019"/>
                  <a:pt x="946757" y="2108626"/>
                  <a:pt x="947479" y="2107851"/>
                </a:cubicBezTo>
                <a:lnTo>
                  <a:pt x="949338" y="2107077"/>
                </a:lnTo>
                <a:lnTo>
                  <a:pt x="947583" y="2105837"/>
                </a:lnTo>
                <a:cubicBezTo>
                  <a:pt x="946757" y="2104908"/>
                  <a:pt x="945930" y="2103049"/>
                  <a:pt x="945518" y="2101036"/>
                </a:cubicBezTo>
                <a:cubicBezTo>
                  <a:pt x="945104" y="2098867"/>
                  <a:pt x="945208" y="2096854"/>
                  <a:pt x="946034" y="2095614"/>
                </a:cubicBezTo>
                <a:close/>
                <a:moveTo>
                  <a:pt x="5675258" y="2095336"/>
                </a:moveTo>
                <a:cubicBezTo>
                  <a:pt x="5676325" y="2095762"/>
                  <a:pt x="5678033" y="2096759"/>
                  <a:pt x="5679740" y="2098039"/>
                </a:cubicBezTo>
                <a:cubicBezTo>
                  <a:pt x="5683368" y="2100600"/>
                  <a:pt x="5686996" y="2105579"/>
                  <a:pt x="5688276" y="2106717"/>
                </a:cubicBezTo>
                <a:cubicBezTo>
                  <a:pt x="5689557" y="2107998"/>
                  <a:pt x="5690624" y="2108140"/>
                  <a:pt x="5690624" y="2108140"/>
                </a:cubicBezTo>
                <a:cubicBezTo>
                  <a:pt x="5689557" y="2110416"/>
                  <a:pt x="5676325" y="2100173"/>
                  <a:pt x="5672697" y="2097612"/>
                </a:cubicBezTo>
                <a:cubicBezTo>
                  <a:pt x="5672697" y="2096474"/>
                  <a:pt x="5672697" y="2096474"/>
                  <a:pt x="5672697" y="2096474"/>
                </a:cubicBezTo>
                <a:cubicBezTo>
                  <a:pt x="5673124" y="2095336"/>
                  <a:pt x="5673977" y="2095051"/>
                  <a:pt x="5675258" y="2095336"/>
                </a:cubicBezTo>
                <a:close/>
                <a:moveTo>
                  <a:pt x="5249486" y="2095051"/>
                </a:moveTo>
                <a:cubicBezTo>
                  <a:pt x="5253541" y="2093914"/>
                  <a:pt x="5256529" y="2095478"/>
                  <a:pt x="5257595" y="2097754"/>
                </a:cubicBezTo>
                <a:cubicBezTo>
                  <a:pt x="5258449" y="2100173"/>
                  <a:pt x="5257595" y="2103445"/>
                  <a:pt x="5253967" y="2105721"/>
                </a:cubicBezTo>
                <a:cubicBezTo>
                  <a:pt x="5248632" y="2102450"/>
                  <a:pt x="5247991" y="2099035"/>
                  <a:pt x="5249486" y="2095051"/>
                </a:cubicBezTo>
                <a:close/>
                <a:moveTo>
                  <a:pt x="5607177" y="2094625"/>
                </a:moveTo>
                <a:cubicBezTo>
                  <a:pt x="5608031" y="2097896"/>
                  <a:pt x="5609311" y="2102307"/>
                  <a:pt x="5608671" y="2104868"/>
                </a:cubicBezTo>
                <a:cubicBezTo>
                  <a:pt x="5607177" y="2103161"/>
                  <a:pt x="5604829" y="2099177"/>
                  <a:pt x="5606323" y="2096189"/>
                </a:cubicBezTo>
                <a:cubicBezTo>
                  <a:pt x="5606323" y="2096189"/>
                  <a:pt x="5606537" y="2096189"/>
                  <a:pt x="5607177" y="2094625"/>
                </a:cubicBezTo>
                <a:close/>
                <a:moveTo>
                  <a:pt x="5171374" y="2094625"/>
                </a:moveTo>
                <a:lnTo>
                  <a:pt x="5168386" y="2095904"/>
                </a:lnTo>
                <a:lnTo>
                  <a:pt x="5167746" y="2095620"/>
                </a:lnTo>
                <a:lnTo>
                  <a:pt x="5167319" y="2095762"/>
                </a:lnTo>
                <a:lnTo>
                  <a:pt x="5167106" y="2095620"/>
                </a:lnTo>
                <a:lnTo>
                  <a:pt x="5167106" y="2095762"/>
                </a:lnTo>
                <a:lnTo>
                  <a:pt x="5167319" y="2095762"/>
                </a:lnTo>
                <a:lnTo>
                  <a:pt x="5167959" y="2096047"/>
                </a:lnTo>
                <a:lnTo>
                  <a:pt x="5168386" y="2095904"/>
                </a:lnTo>
                <a:lnTo>
                  <a:pt x="5171587" y="2096759"/>
                </a:lnTo>
                <a:close/>
                <a:moveTo>
                  <a:pt x="687377" y="2094220"/>
                </a:moveTo>
                <a:cubicBezTo>
                  <a:pt x="688513" y="2094375"/>
                  <a:pt x="690061" y="2095924"/>
                  <a:pt x="690784" y="2096079"/>
                </a:cubicBezTo>
                <a:cubicBezTo>
                  <a:pt x="691610" y="2097008"/>
                  <a:pt x="692436" y="2097938"/>
                  <a:pt x="691507" y="2098712"/>
                </a:cubicBezTo>
                <a:cubicBezTo>
                  <a:pt x="690681" y="2099332"/>
                  <a:pt x="690681" y="2100106"/>
                  <a:pt x="688926" y="2099177"/>
                </a:cubicBezTo>
                <a:cubicBezTo>
                  <a:pt x="688099" y="2099022"/>
                  <a:pt x="687274" y="2098093"/>
                  <a:pt x="686344" y="2098093"/>
                </a:cubicBezTo>
                <a:cubicBezTo>
                  <a:pt x="686344" y="2098093"/>
                  <a:pt x="686138" y="2097473"/>
                  <a:pt x="686034" y="2096698"/>
                </a:cubicBezTo>
                <a:cubicBezTo>
                  <a:pt x="685931" y="2095924"/>
                  <a:pt x="685931" y="2095150"/>
                  <a:pt x="686344" y="2094840"/>
                </a:cubicBezTo>
                <a:cubicBezTo>
                  <a:pt x="686551" y="2094375"/>
                  <a:pt x="686964" y="2094220"/>
                  <a:pt x="687377" y="2094220"/>
                </a:cubicBezTo>
                <a:close/>
                <a:moveTo>
                  <a:pt x="5362384" y="2094198"/>
                </a:moveTo>
                <a:cubicBezTo>
                  <a:pt x="5363238" y="2093629"/>
                  <a:pt x="5363879" y="2094625"/>
                  <a:pt x="5363025" y="2095194"/>
                </a:cubicBezTo>
                <a:cubicBezTo>
                  <a:pt x="5363452" y="2097896"/>
                  <a:pt x="5360251" y="2097043"/>
                  <a:pt x="5358756" y="2096616"/>
                </a:cubicBezTo>
                <a:cubicBezTo>
                  <a:pt x="5361317" y="2094767"/>
                  <a:pt x="5361531" y="2093202"/>
                  <a:pt x="5362384" y="2094198"/>
                </a:cubicBezTo>
                <a:close/>
                <a:moveTo>
                  <a:pt x="5566840" y="2092490"/>
                </a:moveTo>
                <a:cubicBezTo>
                  <a:pt x="5566840" y="2093771"/>
                  <a:pt x="5567908" y="2093914"/>
                  <a:pt x="5567908" y="2093914"/>
                </a:cubicBezTo>
                <a:cubicBezTo>
                  <a:pt x="5567908" y="2093914"/>
                  <a:pt x="5567908" y="2093914"/>
                  <a:pt x="5568121" y="2092775"/>
                </a:cubicBezTo>
                <a:cubicBezTo>
                  <a:pt x="5568548" y="2093344"/>
                  <a:pt x="5568548" y="2094055"/>
                  <a:pt x="5568335" y="2094482"/>
                </a:cubicBezTo>
                <a:cubicBezTo>
                  <a:pt x="5568121" y="2094909"/>
                  <a:pt x="5567908" y="2095194"/>
                  <a:pt x="5567908" y="2095194"/>
                </a:cubicBezTo>
                <a:cubicBezTo>
                  <a:pt x="5566627" y="2096189"/>
                  <a:pt x="5565347" y="2097185"/>
                  <a:pt x="5564280" y="2095762"/>
                </a:cubicBezTo>
                <a:cubicBezTo>
                  <a:pt x="5564280" y="2095762"/>
                  <a:pt x="5564493" y="2094482"/>
                  <a:pt x="5566840" y="2092490"/>
                </a:cubicBezTo>
                <a:close/>
                <a:moveTo>
                  <a:pt x="843810" y="2091896"/>
                </a:moveTo>
                <a:cubicBezTo>
                  <a:pt x="846908" y="2093910"/>
                  <a:pt x="847630" y="2094840"/>
                  <a:pt x="848560" y="2098402"/>
                </a:cubicBezTo>
                <a:cubicBezTo>
                  <a:pt x="844843" y="2102894"/>
                  <a:pt x="840196" y="2103979"/>
                  <a:pt x="835446" y="2105063"/>
                </a:cubicBezTo>
                <a:cubicBezTo>
                  <a:pt x="833175" y="2103514"/>
                  <a:pt x="832142" y="2102120"/>
                  <a:pt x="832142" y="2100881"/>
                </a:cubicBezTo>
                <a:cubicBezTo>
                  <a:pt x="831935" y="2097163"/>
                  <a:pt x="839886" y="2094530"/>
                  <a:pt x="843810" y="2091896"/>
                </a:cubicBezTo>
                <a:close/>
                <a:moveTo>
                  <a:pt x="5917916" y="2091210"/>
                </a:moveTo>
                <a:lnTo>
                  <a:pt x="5915569" y="2092064"/>
                </a:lnTo>
                <a:cubicBezTo>
                  <a:pt x="5914288" y="2093629"/>
                  <a:pt x="5914502" y="2095762"/>
                  <a:pt x="5915142" y="2098466"/>
                </a:cubicBezTo>
                <a:lnTo>
                  <a:pt x="5915569" y="2102307"/>
                </a:lnTo>
                <a:lnTo>
                  <a:pt x="5916209" y="2102307"/>
                </a:lnTo>
                <a:cubicBezTo>
                  <a:pt x="5917703" y="2102165"/>
                  <a:pt x="5918983" y="2101738"/>
                  <a:pt x="5920477" y="2101026"/>
                </a:cubicBezTo>
                <a:cubicBezTo>
                  <a:pt x="5919197" y="2098750"/>
                  <a:pt x="5918343" y="2095762"/>
                  <a:pt x="5917916" y="2092490"/>
                </a:cubicBezTo>
                <a:close/>
                <a:moveTo>
                  <a:pt x="4923594" y="2090357"/>
                </a:moveTo>
                <a:lnTo>
                  <a:pt x="4927435" y="2092775"/>
                </a:lnTo>
                <a:lnTo>
                  <a:pt x="4927435" y="2092490"/>
                </a:lnTo>
                <a:cubicBezTo>
                  <a:pt x="4928075" y="2092775"/>
                  <a:pt x="4928502" y="2092775"/>
                  <a:pt x="4928502" y="2093059"/>
                </a:cubicBezTo>
                <a:lnTo>
                  <a:pt x="4928502" y="2093486"/>
                </a:lnTo>
                <a:lnTo>
                  <a:pt x="4929569" y="2094340"/>
                </a:lnTo>
                <a:cubicBezTo>
                  <a:pt x="4934051" y="2098750"/>
                  <a:pt x="4933411" y="2104583"/>
                  <a:pt x="4933625" y="2110132"/>
                </a:cubicBezTo>
                <a:cubicBezTo>
                  <a:pt x="4928502" y="2108993"/>
                  <a:pt x="4919325" y="2099035"/>
                  <a:pt x="4923594" y="2090357"/>
                </a:cubicBezTo>
                <a:close/>
                <a:moveTo>
                  <a:pt x="5647940" y="2089645"/>
                </a:moveTo>
                <a:cubicBezTo>
                  <a:pt x="5647940" y="2089645"/>
                  <a:pt x="5648154" y="2089645"/>
                  <a:pt x="5648794" y="2089645"/>
                </a:cubicBezTo>
                <a:cubicBezTo>
                  <a:pt x="5649434" y="2089787"/>
                  <a:pt x="5650501" y="2090072"/>
                  <a:pt x="5651782" y="2090784"/>
                </a:cubicBezTo>
                <a:cubicBezTo>
                  <a:pt x="5650715" y="2091210"/>
                  <a:pt x="5651142" y="2092348"/>
                  <a:pt x="5651142" y="2092348"/>
                </a:cubicBezTo>
                <a:cubicBezTo>
                  <a:pt x="5651142" y="2092348"/>
                  <a:pt x="5650928" y="2092206"/>
                  <a:pt x="5652208" y="2091779"/>
                </a:cubicBezTo>
                <a:cubicBezTo>
                  <a:pt x="5651782" y="2092632"/>
                  <a:pt x="5651142" y="2092775"/>
                  <a:pt x="5650715" y="2092775"/>
                </a:cubicBezTo>
                <a:cubicBezTo>
                  <a:pt x="5650288" y="2092775"/>
                  <a:pt x="5649861" y="2092632"/>
                  <a:pt x="5649861" y="2092632"/>
                </a:cubicBezTo>
                <a:cubicBezTo>
                  <a:pt x="5648580" y="2091921"/>
                  <a:pt x="5647087" y="2091210"/>
                  <a:pt x="5647940" y="2089645"/>
                </a:cubicBezTo>
                <a:close/>
                <a:moveTo>
                  <a:pt x="5984503" y="2089219"/>
                </a:moveTo>
                <a:cubicBezTo>
                  <a:pt x="5986424" y="2095478"/>
                  <a:pt x="5978955" y="2101169"/>
                  <a:pt x="5973832" y="2099746"/>
                </a:cubicBezTo>
                <a:cubicBezTo>
                  <a:pt x="5971912" y="2099320"/>
                  <a:pt x="5970417" y="2098039"/>
                  <a:pt x="5969564" y="2095762"/>
                </a:cubicBezTo>
                <a:cubicBezTo>
                  <a:pt x="5970844" y="2088365"/>
                  <a:pt x="5977674" y="2091494"/>
                  <a:pt x="5984503" y="2089219"/>
                </a:cubicBezTo>
                <a:close/>
                <a:moveTo>
                  <a:pt x="6081822" y="2088080"/>
                </a:moveTo>
                <a:cubicBezTo>
                  <a:pt x="6082677" y="2090214"/>
                  <a:pt x="6084384" y="2091779"/>
                  <a:pt x="6085237" y="2093914"/>
                </a:cubicBezTo>
                <a:lnTo>
                  <a:pt x="6085024" y="2094767"/>
                </a:lnTo>
                <a:lnTo>
                  <a:pt x="6085664" y="2093914"/>
                </a:lnTo>
                <a:cubicBezTo>
                  <a:pt x="6088652" y="2095051"/>
                  <a:pt x="6091000" y="2096759"/>
                  <a:pt x="6092067" y="2099177"/>
                </a:cubicBezTo>
                <a:cubicBezTo>
                  <a:pt x="6093348" y="2101596"/>
                  <a:pt x="6093774" y="2104583"/>
                  <a:pt x="6092707" y="2108425"/>
                </a:cubicBezTo>
                <a:cubicBezTo>
                  <a:pt x="6087798" y="2112124"/>
                  <a:pt x="6082036" y="2107286"/>
                  <a:pt x="6078621" y="2105152"/>
                </a:cubicBezTo>
                <a:lnTo>
                  <a:pt x="6079689" y="2103018"/>
                </a:lnTo>
                <a:lnTo>
                  <a:pt x="6077127" y="2103161"/>
                </a:lnTo>
                <a:cubicBezTo>
                  <a:pt x="6075847" y="2103018"/>
                  <a:pt x="6074780" y="2102734"/>
                  <a:pt x="6073286" y="2102450"/>
                </a:cubicBezTo>
                <a:cubicBezTo>
                  <a:pt x="6073499" y="2099746"/>
                  <a:pt x="6071151" y="2097043"/>
                  <a:pt x="6072432" y="2093914"/>
                </a:cubicBezTo>
                <a:cubicBezTo>
                  <a:pt x="6072432" y="2093914"/>
                  <a:pt x="6073072" y="2092348"/>
                  <a:pt x="6075207" y="2091210"/>
                </a:cubicBezTo>
                <a:cubicBezTo>
                  <a:pt x="6077554" y="2087511"/>
                  <a:pt x="6082036" y="2089076"/>
                  <a:pt x="6082036" y="2089076"/>
                </a:cubicBezTo>
                <a:cubicBezTo>
                  <a:pt x="6082036" y="2089076"/>
                  <a:pt x="6082249" y="2089076"/>
                  <a:pt x="6081822" y="2088080"/>
                </a:cubicBezTo>
                <a:close/>
                <a:moveTo>
                  <a:pt x="1186931" y="2086011"/>
                </a:moveTo>
                <a:cubicBezTo>
                  <a:pt x="1186827" y="2087869"/>
                  <a:pt x="1186104" y="2094220"/>
                  <a:pt x="1184556" y="2095459"/>
                </a:cubicBezTo>
                <a:cubicBezTo>
                  <a:pt x="1184246" y="2092361"/>
                  <a:pt x="1185692" y="2086475"/>
                  <a:pt x="1186931" y="2086011"/>
                </a:cubicBezTo>
                <a:close/>
                <a:moveTo>
                  <a:pt x="4730235" y="2085946"/>
                </a:moveTo>
                <a:cubicBezTo>
                  <a:pt x="4738985" y="2084808"/>
                  <a:pt x="4745815" y="2092490"/>
                  <a:pt x="4747949" y="2101596"/>
                </a:cubicBezTo>
                <a:lnTo>
                  <a:pt x="4748163" y="2104156"/>
                </a:lnTo>
                <a:lnTo>
                  <a:pt x="4749870" y="2105863"/>
                </a:lnTo>
                <a:cubicBezTo>
                  <a:pt x="4750723" y="2106860"/>
                  <a:pt x="4750937" y="2107998"/>
                  <a:pt x="4750723" y="2109989"/>
                </a:cubicBezTo>
                <a:lnTo>
                  <a:pt x="4748376" y="2107855"/>
                </a:lnTo>
                <a:lnTo>
                  <a:pt x="4748376" y="2110701"/>
                </a:lnTo>
                <a:cubicBezTo>
                  <a:pt x="4747095" y="2118952"/>
                  <a:pt x="4741120" y="2126350"/>
                  <a:pt x="4728314" y="2126920"/>
                </a:cubicBezTo>
                <a:cubicBezTo>
                  <a:pt x="4717217" y="2113546"/>
                  <a:pt x="4714869" y="2094767"/>
                  <a:pt x="4725113" y="2087511"/>
                </a:cubicBezTo>
                <a:cubicBezTo>
                  <a:pt x="4727034" y="2086657"/>
                  <a:pt x="4728741" y="2086230"/>
                  <a:pt x="4730235" y="2085946"/>
                </a:cubicBezTo>
                <a:close/>
                <a:moveTo>
                  <a:pt x="796932" y="2085856"/>
                </a:moveTo>
                <a:cubicBezTo>
                  <a:pt x="801165" y="2090038"/>
                  <a:pt x="799617" y="2094220"/>
                  <a:pt x="795693" y="2097163"/>
                </a:cubicBezTo>
                <a:cubicBezTo>
                  <a:pt x="789291" y="2101965"/>
                  <a:pt x="776487" y="2103204"/>
                  <a:pt x="773699" y="2095614"/>
                </a:cubicBezTo>
                <a:cubicBezTo>
                  <a:pt x="776281" y="2092826"/>
                  <a:pt x="779275" y="2090348"/>
                  <a:pt x="782992" y="2088644"/>
                </a:cubicBezTo>
                <a:cubicBezTo>
                  <a:pt x="786813" y="2086785"/>
                  <a:pt x="791356" y="2085701"/>
                  <a:pt x="796932" y="2085856"/>
                </a:cubicBezTo>
                <a:close/>
                <a:moveTo>
                  <a:pt x="5715168" y="2084950"/>
                </a:moveTo>
                <a:lnTo>
                  <a:pt x="5714101" y="2085377"/>
                </a:lnTo>
                <a:lnTo>
                  <a:pt x="5714101" y="2085946"/>
                </a:lnTo>
                <a:close/>
                <a:moveTo>
                  <a:pt x="5727332" y="2084096"/>
                </a:moveTo>
                <a:cubicBezTo>
                  <a:pt x="5728826" y="2083812"/>
                  <a:pt x="5730747" y="2083954"/>
                  <a:pt x="5733095" y="2084096"/>
                </a:cubicBezTo>
                <a:cubicBezTo>
                  <a:pt x="5729893" y="2089076"/>
                  <a:pt x="5727332" y="2088791"/>
                  <a:pt x="5723064" y="2086942"/>
                </a:cubicBezTo>
                <a:cubicBezTo>
                  <a:pt x="5724344" y="2085235"/>
                  <a:pt x="5725625" y="2084381"/>
                  <a:pt x="5727332" y="2084096"/>
                </a:cubicBezTo>
                <a:close/>
                <a:moveTo>
                  <a:pt x="986510" y="2083997"/>
                </a:moveTo>
                <a:cubicBezTo>
                  <a:pt x="987130" y="2085236"/>
                  <a:pt x="988472" y="2086321"/>
                  <a:pt x="989298" y="2087715"/>
                </a:cubicBezTo>
                <a:lnTo>
                  <a:pt x="990021" y="2089419"/>
                </a:lnTo>
                <a:lnTo>
                  <a:pt x="990744" y="2090038"/>
                </a:lnTo>
                <a:cubicBezTo>
                  <a:pt x="991363" y="2090812"/>
                  <a:pt x="991570" y="2091896"/>
                  <a:pt x="991054" y="2093446"/>
                </a:cubicBezTo>
                <a:cubicBezTo>
                  <a:pt x="990640" y="2093446"/>
                  <a:pt x="990021" y="2092981"/>
                  <a:pt x="989401" y="2092361"/>
                </a:cubicBezTo>
                <a:lnTo>
                  <a:pt x="988679" y="2091742"/>
                </a:lnTo>
                <a:lnTo>
                  <a:pt x="985374" y="2090812"/>
                </a:lnTo>
                <a:cubicBezTo>
                  <a:pt x="976288" y="2089883"/>
                  <a:pt x="968957" y="2098867"/>
                  <a:pt x="961625" y="2092826"/>
                </a:cubicBezTo>
                <a:cubicBezTo>
                  <a:pt x="965033" y="2090657"/>
                  <a:pt x="968234" y="2088025"/>
                  <a:pt x="972054" y="2086165"/>
                </a:cubicBezTo>
                <a:cubicBezTo>
                  <a:pt x="975875" y="2084307"/>
                  <a:pt x="980418" y="2083222"/>
                  <a:pt x="986510" y="2083997"/>
                </a:cubicBezTo>
                <a:close/>
                <a:moveTo>
                  <a:pt x="5420862" y="2083954"/>
                </a:moveTo>
                <a:cubicBezTo>
                  <a:pt x="5421502" y="2093202"/>
                  <a:pt x="5414886" y="2101738"/>
                  <a:pt x="5408270" y="2107002"/>
                </a:cubicBezTo>
                <a:lnTo>
                  <a:pt x="5407203" y="2109847"/>
                </a:lnTo>
                <a:lnTo>
                  <a:pt x="5405282" y="2108993"/>
                </a:lnTo>
                <a:lnTo>
                  <a:pt x="5402080" y="2111127"/>
                </a:lnTo>
                <a:lnTo>
                  <a:pt x="5402721" y="2106717"/>
                </a:lnTo>
                <a:lnTo>
                  <a:pt x="5401654" y="2104583"/>
                </a:lnTo>
                <a:cubicBezTo>
                  <a:pt x="5401654" y="2103303"/>
                  <a:pt x="5402080" y="2102023"/>
                  <a:pt x="5402721" y="2100884"/>
                </a:cubicBezTo>
                <a:lnTo>
                  <a:pt x="5404855" y="2099177"/>
                </a:lnTo>
                <a:lnTo>
                  <a:pt x="5407843" y="2093486"/>
                </a:lnTo>
                <a:cubicBezTo>
                  <a:pt x="5411684" y="2088365"/>
                  <a:pt x="5416593" y="2084666"/>
                  <a:pt x="5420862" y="2083954"/>
                </a:cubicBezTo>
                <a:close/>
                <a:moveTo>
                  <a:pt x="810665" y="2083842"/>
                </a:moveTo>
                <a:cubicBezTo>
                  <a:pt x="812420" y="2085701"/>
                  <a:pt x="810561" y="2088025"/>
                  <a:pt x="809736" y="2087869"/>
                </a:cubicBezTo>
                <a:cubicBezTo>
                  <a:pt x="808806" y="2086940"/>
                  <a:pt x="808806" y="2085236"/>
                  <a:pt x="807980" y="2084307"/>
                </a:cubicBezTo>
                <a:cubicBezTo>
                  <a:pt x="808909" y="2084462"/>
                  <a:pt x="809839" y="2083687"/>
                  <a:pt x="810665" y="2083842"/>
                </a:cubicBezTo>
                <a:close/>
                <a:moveTo>
                  <a:pt x="5641111" y="2083243"/>
                </a:moveTo>
                <a:cubicBezTo>
                  <a:pt x="5643672" y="2083528"/>
                  <a:pt x="5648154" y="2087084"/>
                  <a:pt x="5647727" y="2089787"/>
                </a:cubicBezTo>
                <a:lnTo>
                  <a:pt x="5645166" y="2088791"/>
                </a:lnTo>
                <a:lnTo>
                  <a:pt x="5647087" y="2090784"/>
                </a:lnTo>
                <a:cubicBezTo>
                  <a:pt x="5648580" y="2093059"/>
                  <a:pt x="5649648" y="2095762"/>
                  <a:pt x="5649220" y="2098039"/>
                </a:cubicBezTo>
                <a:lnTo>
                  <a:pt x="5646446" y="2098039"/>
                </a:lnTo>
                <a:lnTo>
                  <a:pt x="5652208" y="2099461"/>
                </a:lnTo>
                <a:cubicBezTo>
                  <a:pt x="5654556" y="2100031"/>
                  <a:pt x="5656904" y="2100457"/>
                  <a:pt x="5659465" y="2100315"/>
                </a:cubicBezTo>
                <a:cubicBezTo>
                  <a:pt x="5662666" y="2099035"/>
                  <a:pt x="5663093" y="2095194"/>
                  <a:pt x="5666934" y="2094482"/>
                </a:cubicBezTo>
                <a:cubicBezTo>
                  <a:pt x="5668215" y="2094198"/>
                  <a:pt x="5669922" y="2094198"/>
                  <a:pt x="5672057" y="2094767"/>
                </a:cubicBezTo>
                <a:cubicBezTo>
                  <a:pt x="5670562" y="2108993"/>
                  <a:pt x="5666081" y="2119522"/>
                  <a:pt x="5658825" y="2126635"/>
                </a:cubicBezTo>
                <a:cubicBezTo>
                  <a:pt x="5656477" y="2129053"/>
                  <a:pt x="5653703" y="2131045"/>
                  <a:pt x="5650715" y="2132610"/>
                </a:cubicBezTo>
                <a:cubicBezTo>
                  <a:pt x="5644739" y="2124928"/>
                  <a:pt x="5650928" y="2116676"/>
                  <a:pt x="5653916" y="2109562"/>
                </a:cubicBezTo>
                <a:cubicBezTo>
                  <a:pt x="5645806" y="2108425"/>
                  <a:pt x="5633428" y="2108993"/>
                  <a:pt x="5633214" y="2099604"/>
                </a:cubicBezTo>
                <a:lnTo>
                  <a:pt x="5638336" y="2097185"/>
                </a:lnTo>
                <a:lnTo>
                  <a:pt x="5637909" y="2092775"/>
                </a:lnTo>
                <a:lnTo>
                  <a:pt x="5638977" y="2091637"/>
                </a:lnTo>
                <a:lnTo>
                  <a:pt x="5637909" y="2089930"/>
                </a:lnTo>
                <a:cubicBezTo>
                  <a:pt x="5637269" y="2089076"/>
                  <a:pt x="5636842" y="2088507"/>
                  <a:pt x="5636842" y="2088507"/>
                </a:cubicBezTo>
                <a:cubicBezTo>
                  <a:pt x="5637483" y="2086942"/>
                  <a:pt x="5637909" y="2086089"/>
                  <a:pt x="5638550" y="2085803"/>
                </a:cubicBezTo>
                <a:lnTo>
                  <a:pt x="5640471" y="2085946"/>
                </a:lnTo>
                <a:close/>
                <a:moveTo>
                  <a:pt x="1068754" y="2082951"/>
                </a:moveTo>
                <a:cubicBezTo>
                  <a:pt x="1070612" y="2083571"/>
                  <a:pt x="1072574" y="2084617"/>
                  <a:pt x="1074794" y="2085236"/>
                </a:cubicBezTo>
                <a:cubicBezTo>
                  <a:pt x="1074794" y="2086165"/>
                  <a:pt x="1075620" y="2087095"/>
                  <a:pt x="1076446" y="2087095"/>
                </a:cubicBezTo>
                <a:cubicBezTo>
                  <a:pt x="1077272" y="2088025"/>
                  <a:pt x="1078202" y="2088953"/>
                  <a:pt x="1078202" y="2088179"/>
                </a:cubicBezTo>
                <a:cubicBezTo>
                  <a:pt x="1080783" y="2090967"/>
                  <a:pt x="1081712" y="2090967"/>
                  <a:pt x="1080783" y="2093446"/>
                </a:cubicBezTo>
                <a:lnTo>
                  <a:pt x="1077892" y="2092516"/>
                </a:lnTo>
                <a:lnTo>
                  <a:pt x="1077892" y="2093291"/>
                </a:lnTo>
                <a:cubicBezTo>
                  <a:pt x="1076033" y="2094530"/>
                  <a:pt x="1074691" y="2094375"/>
                  <a:pt x="1073762" y="2093600"/>
                </a:cubicBezTo>
                <a:lnTo>
                  <a:pt x="1072729" y="2090657"/>
                </a:lnTo>
                <a:lnTo>
                  <a:pt x="1070561" y="2089883"/>
                </a:lnTo>
                <a:cubicBezTo>
                  <a:pt x="1067463" y="2088489"/>
                  <a:pt x="1065088" y="2087250"/>
                  <a:pt x="1064159" y="2086630"/>
                </a:cubicBezTo>
                <a:cubicBezTo>
                  <a:pt x="1063333" y="2086165"/>
                  <a:pt x="1062920" y="2085701"/>
                  <a:pt x="1062817" y="2085236"/>
                </a:cubicBezTo>
                <a:cubicBezTo>
                  <a:pt x="1062713" y="2084617"/>
                  <a:pt x="1062920" y="2083997"/>
                  <a:pt x="1063333" y="2083222"/>
                </a:cubicBezTo>
                <a:cubicBezTo>
                  <a:pt x="1065140" y="2082138"/>
                  <a:pt x="1066895" y="2082332"/>
                  <a:pt x="1068754" y="2082951"/>
                </a:cubicBezTo>
                <a:close/>
                <a:moveTo>
                  <a:pt x="5267626" y="2082674"/>
                </a:moveTo>
                <a:cubicBezTo>
                  <a:pt x="5272748" y="2084808"/>
                  <a:pt x="5274669" y="2087795"/>
                  <a:pt x="5275309" y="2091210"/>
                </a:cubicBezTo>
                <a:lnTo>
                  <a:pt x="5274883" y="2099461"/>
                </a:lnTo>
                <a:lnTo>
                  <a:pt x="5275949" y="2102450"/>
                </a:lnTo>
                <a:cubicBezTo>
                  <a:pt x="5275949" y="2102450"/>
                  <a:pt x="5275096" y="2103018"/>
                  <a:pt x="5275096" y="2103018"/>
                </a:cubicBezTo>
                <a:cubicBezTo>
                  <a:pt x="5272961" y="2102876"/>
                  <a:pt x="5272108" y="2102450"/>
                  <a:pt x="5271681" y="2101596"/>
                </a:cubicBezTo>
                <a:lnTo>
                  <a:pt x="5271681" y="2100457"/>
                </a:lnTo>
                <a:lnTo>
                  <a:pt x="5270828" y="2100031"/>
                </a:lnTo>
                <a:cubicBezTo>
                  <a:pt x="5266773" y="2096474"/>
                  <a:pt x="5263571" y="2089360"/>
                  <a:pt x="5267626" y="2082674"/>
                </a:cubicBezTo>
                <a:close/>
                <a:moveTo>
                  <a:pt x="4783590" y="2081820"/>
                </a:moveTo>
                <a:cubicBezTo>
                  <a:pt x="4785938" y="2081820"/>
                  <a:pt x="4788072" y="2082389"/>
                  <a:pt x="4790420" y="2083528"/>
                </a:cubicBezTo>
                <a:lnTo>
                  <a:pt x="4787645" y="2090357"/>
                </a:lnTo>
                <a:lnTo>
                  <a:pt x="4790420" y="2090925"/>
                </a:lnTo>
                <a:cubicBezTo>
                  <a:pt x="4791487" y="2091210"/>
                  <a:pt x="4792340" y="2091779"/>
                  <a:pt x="4793194" y="2092775"/>
                </a:cubicBezTo>
                <a:lnTo>
                  <a:pt x="4792767" y="2094625"/>
                </a:lnTo>
                <a:lnTo>
                  <a:pt x="4800023" y="2091494"/>
                </a:lnTo>
                <a:cubicBezTo>
                  <a:pt x="4801731" y="2091210"/>
                  <a:pt x="4803651" y="2091210"/>
                  <a:pt x="4805573" y="2091637"/>
                </a:cubicBezTo>
                <a:cubicBezTo>
                  <a:pt x="4811121" y="2092490"/>
                  <a:pt x="4816670" y="2095904"/>
                  <a:pt x="4822006" y="2099177"/>
                </a:cubicBezTo>
                <a:lnTo>
                  <a:pt x="4820939" y="2100173"/>
                </a:lnTo>
                <a:lnTo>
                  <a:pt x="4824567" y="2105295"/>
                </a:lnTo>
                <a:cubicBezTo>
                  <a:pt x="4822860" y="2108709"/>
                  <a:pt x="4820725" y="2110986"/>
                  <a:pt x="4818164" y="2112692"/>
                </a:cubicBezTo>
                <a:lnTo>
                  <a:pt x="4809841" y="2116249"/>
                </a:lnTo>
                <a:lnTo>
                  <a:pt x="4810268" y="2116249"/>
                </a:lnTo>
                <a:cubicBezTo>
                  <a:pt x="4811548" y="2116961"/>
                  <a:pt x="4812189" y="2118241"/>
                  <a:pt x="4812402" y="2119806"/>
                </a:cubicBezTo>
                <a:cubicBezTo>
                  <a:pt x="4812402" y="2121228"/>
                  <a:pt x="4811975" y="2123078"/>
                  <a:pt x="4811121" y="2124501"/>
                </a:cubicBezTo>
                <a:cubicBezTo>
                  <a:pt x="4810908" y="2125923"/>
                  <a:pt x="4809841" y="2126777"/>
                  <a:pt x="4808561" y="2127346"/>
                </a:cubicBezTo>
                <a:cubicBezTo>
                  <a:pt x="4807493" y="2128057"/>
                  <a:pt x="4805999" y="2128200"/>
                  <a:pt x="4804719" y="2128057"/>
                </a:cubicBezTo>
                <a:cubicBezTo>
                  <a:pt x="4803438" y="2127346"/>
                  <a:pt x="4803225" y="2127346"/>
                  <a:pt x="4801944" y="2126635"/>
                </a:cubicBezTo>
                <a:cubicBezTo>
                  <a:pt x="4801304" y="2124501"/>
                  <a:pt x="4799597" y="2122509"/>
                  <a:pt x="4800237" y="2119948"/>
                </a:cubicBezTo>
                <a:cubicBezTo>
                  <a:pt x="4801091" y="2118383"/>
                  <a:pt x="4802798" y="2117387"/>
                  <a:pt x="4804932" y="2116818"/>
                </a:cubicBezTo>
                <a:lnTo>
                  <a:pt x="4809627" y="2116391"/>
                </a:lnTo>
                <a:lnTo>
                  <a:pt x="4803865" y="2110843"/>
                </a:lnTo>
                <a:cubicBezTo>
                  <a:pt x="4803225" y="2109136"/>
                  <a:pt x="4803865" y="2107286"/>
                  <a:pt x="4805359" y="2105721"/>
                </a:cubicBezTo>
                <a:lnTo>
                  <a:pt x="4808774" y="2102734"/>
                </a:lnTo>
                <a:lnTo>
                  <a:pt x="4799597" y="2099604"/>
                </a:lnTo>
                <a:lnTo>
                  <a:pt x="4792554" y="2094909"/>
                </a:lnTo>
                <a:lnTo>
                  <a:pt x="4791914" y="2098750"/>
                </a:lnTo>
                <a:cubicBezTo>
                  <a:pt x="4782309" y="2106006"/>
                  <a:pt x="4776548" y="2101596"/>
                  <a:pt x="4775480" y="2102734"/>
                </a:cubicBezTo>
                <a:cubicBezTo>
                  <a:pt x="4772065" y="2098608"/>
                  <a:pt x="4774413" y="2096474"/>
                  <a:pt x="4776761" y="2091921"/>
                </a:cubicBezTo>
                <a:cubicBezTo>
                  <a:pt x="4777401" y="2092632"/>
                  <a:pt x="4778681" y="2092206"/>
                  <a:pt x="4779749" y="2091352"/>
                </a:cubicBezTo>
                <a:lnTo>
                  <a:pt x="4781243" y="2090214"/>
                </a:lnTo>
                <a:lnTo>
                  <a:pt x="4780176" y="2087084"/>
                </a:lnTo>
                <a:cubicBezTo>
                  <a:pt x="4779322" y="2085803"/>
                  <a:pt x="4778255" y="2084239"/>
                  <a:pt x="4776334" y="2082674"/>
                </a:cubicBezTo>
                <a:cubicBezTo>
                  <a:pt x="4778895" y="2082105"/>
                  <a:pt x="4781243" y="2081678"/>
                  <a:pt x="4783590" y="2081820"/>
                </a:cubicBezTo>
                <a:close/>
                <a:moveTo>
                  <a:pt x="5742271" y="2080683"/>
                </a:moveTo>
                <a:cubicBezTo>
                  <a:pt x="5741418" y="2082247"/>
                  <a:pt x="5743126" y="2084096"/>
                  <a:pt x="5742271" y="2085662"/>
                </a:cubicBezTo>
                <a:cubicBezTo>
                  <a:pt x="5742271" y="2085662"/>
                  <a:pt x="5739284" y="2088080"/>
                  <a:pt x="5739284" y="2088080"/>
                </a:cubicBezTo>
                <a:cubicBezTo>
                  <a:pt x="5737790" y="2087368"/>
                  <a:pt x="5737790" y="2087368"/>
                  <a:pt x="5739071" y="2086942"/>
                </a:cubicBezTo>
                <a:cubicBezTo>
                  <a:pt x="5737150" y="2085093"/>
                  <a:pt x="5736936" y="2083954"/>
                  <a:pt x="5736723" y="2082816"/>
                </a:cubicBezTo>
                <a:cubicBezTo>
                  <a:pt x="5737576" y="2081251"/>
                  <a:pt x="5739711" y="2080255"/>
                  <a:pt x="5742271" y="2080683"/>
                </a:cubicBezTo>
                <a:close/>
                <a:moveTo>
                  <a:pt x="861673" y="2080279"/>
                </a:moveTo>
                <a:cubicBezTo>
                  <a:pt x="861260" y="2080899"/>
                  <a:pt x="861054" y="2082758"/>
                  <a:pt x="859815" y="2083068"/>
                </a:cubicBezTo>
                <a:cubicBezTo>
                  <a:pt x="858679" y="2083222"/>
                  <a:pt x="858679" y="2083222"/>
                  <a:pt x="857233" y="2082293"/>
                </a:cubicBezTo>
                <a:cubicBezTo>
                  <a:pt x="858266" y="2081518"/>
                  <a:pt x="858782" y="2081054"/>
                  <a:pt x="859298" y="2080899"/>
                </a:cubicBezTo>
                <a:cubicBezTo>
                  <a:pt x="859918" y="2080589"/>
                  <a:pt x="860434" y="2080434"/>
                  <a:pt x="861673" y="2080279"/>
                </a:cubicBezTo>
                <a:close/>
                <a:moveTo>
                  <a:pt x="4815390" y="2079971"/>
                </a:moveTo>
                <a:cubicBezTo>
                  <a:pt x="4816670" y="2080683"/>
                  <a:pt x="4817310" y="2081678"/>
                  <a:pt x="4817524" y="2082816"/>
                </a:cubicBezTo>
                <a:cubicBezTo>
                  <a:pt x="4817524" y="2083812"/>
                  <a:pt x="4817310" y="2084950"/>
                  <a:pt x="4816884" y="2085662"/>
                </a:cubicBezTo>
                <a:cubicBezTo>
                  <a:pt x="4816670" y="2087653"/>
                  <a:pt x="4815603" y="2088934"/>
                  <a:pt x="4813896" y="2089930"/>
                </a:cubicBezTo>
                <a:cubicBezTo>
                  <a:pt x="4812189" y="2090784"/>
                  <a:pt x="4810054" y="2091210"/>
                  <a:pt x="4808347" y="2091210"/>
                </a:cubicBezTo>
                <a:cubicBezTo>
                  <a:pt x="4809414" y="2090784"/>
                  <a:pt x="4809414" y="2090925"/>
                  <a:pt x="4809414" y="2090925"/>
                </a:cubicBezTo>
                <a:cubicBezTo>
                  <a:pt x="4810268" y="2089360"/>
                  <a:pt x="4809201" y="2089645"/>
                  <a:pt x="4808774" y="2088507"/>
                </a:cubicBezTo>
                <a:cubicBezTo>
                  <a:pt x="4808774" y="2088507"/>
                  <a:pt x="4809201" y="2089787"/>
                  <a:pt x="4807706" y="2088934"/>
                </a:cubicBezTo>
                <a:cubicBezTo>
                  <a:pt x="4808987" y="2088649"/>
                  <a:pt x="4808561" y="2087511"/>
                  <a:pt x="4808347" y="2086373"/>
                </a:cubicBezTo>
                <a:cubicBezTo>
                  <a:pt x="4810054" y="2083243"/>
                  <a:pt x="4812829" y="2079686"/>
                  <a:pt x="4815390" y="2079971"/>
                </a:cubicBezTo>
                <a:close/>
                <a:moveTo>
                  <a:pt x="4688405" y="2079971"/>
                </a:moveTo>
                <a:cubicBezTo>
                  <a:pt x="4690113" y="2079971"/>
                  <a:pt x="4692033" y="2080540"/>
                  <a:pt x="4694167" y="2081678"/>
                </a:cubicBezTo>
                <a:cubicBezTo>
                  <a:pt x="4695661" y="2090072"/>
                  <a:pt x="4700997" y="2104583"/>
                  <a:pt x="4688405" y="2108709"/>
                </a:cubicBezTo>
                <a:cubicBezTo>
                  <a:pt x="4677947" y="2101026"/>
                  <a:pt x="4676667" y="2079117"/>
                  <a:pt x="4688405" y="2079971"/>
                </a:cubicBezTo>
                <a:close/>
                <a:moveTo>
                  <a:pt x="4838439" y="2079259"/>
                </a:moveTo>
                <a:cubicBezTo>
                  <a:pt x="4839719" y="2081678"/>
                  <a:pt x="4841000" y="2086373"/>
                  <a:pt x="4839079" y="2088649"/>
                </a:cubicBezTo>
                <a:cubicBezTo>
                  <a:pt x="4839079" y="2088649"/>
                  <a:pt x="4838866" y="2088649"/>
                  <a:pt x="4838012" y="2089645"/>
                </a:cubicBezTo>
                <a:cubicBezTo>
                  <a:pt x="4837799" y="2086230"/>
                  <a:pt x="4837586" y="2081536"/>
                  <a:pt x="4838439" y="2079259"/>
                </a:cubicBezTo>
                <a:close/>
                <a:moveTo>
                  <a:pt x="4775907" y="2079259"/>
                </a:moveTo>
                <a:cubicBezTo>
                  <a:pt x="4776121" y="2083101"/>
                  <a:pt x="4775053" y="2085519"/>
                  <a:pt x="4772919" y="2086800"/>
                </a:cubicBezTo>
                <a:lnTo>
                  <a:pt x="4768864" y="2087084"/>
                </a:lnTo>
                <a:lnTo>
                  <a:pt x="4769078" y="2090357"/>
                </a:lnTo>
                <a:cubicBezTo>
                  <a:pt x="4768437" y="2093344"/>
                  <a:pt x="4766303" y="2096189"/>
                  <a:pt x="4762462" y="2098750"/>
                </a:cubicBezTo>
                <a:cubicBezTo>
                  <a:pt x="4756699" y="2098608"/>
                  <a:pt x="4749656" y="2089645"/>
                  <a:pt x="4751577" y="2085235"/>
                </a:cubicBezTo>
                <a:cubicBezTo>
                  <a:pt x="4756486" y="2079686"/>
                  <a:pt x="4761608" y="2078832"/>
                  <a:pt x="4765022" y="2080398"/>
                </a:cubicBezTo>
                <a:lnTo>
                  <a:pt x="4766090" y="2081536"/>
                </a:lnTo>
                <a:lnTo>
                  <a:pt x="4767157" y="2080683"/>
                </a:lnTo>
                <a:cubicBezTo>
                  <a:pt x="4769505" y="2079971"/>
                  <a:pt x="4772919" y="2079971"/>
                  <a:pt x="4775907" y="2079259"/>
                </a:cubicBezTo>
                <a:close/>
                <a:moveTo>
                  <a:pt x="4710600" y="2078975"/>
                </a:moveTo>
                <a:cubicBezTo>
                  <a:pt x="4711454" y="2078406"/>
                  <a:pt x="4712948" y="2078406"/>
                  <a:pt x="4714229" y="2079259"/>
                </a:cubicBezTo>
                <a:cubicBezTo>
                  <a:pt x="4714229" y="2080824"/>
                  <a:pt x="4714869" y="2083528"/>
                  <a:pt x="4713802" y="2085946"/>
                </a:cubicBezTo>
                <a:cubicBezTo>
                  <a:pt x="4707612" y="2087368"/>
                  <a:pt x="4707826" y="2080967"/>
                  <a:pt x="4710600" y="2078975"/>
                </a:cubicBezTo>
                <a:close/>
                <a:moveTo>
                  <a:pt x="863016" y="2078266"/>
                </a:moveTo>
                <a:cubicBezTo>
                  <a:pt x="863739" y="2078730"/>
                  <a:pt x="863222" y="2079505"/>
                  <a:pt x="862087" y="2079815"/>
                </a:cubicBezTo>
                <a:cubicBezTo>
                  <a:pt x="862087" y="2079815"/>
                  <a:pt x="861363" y="2079350"/>
                  <a:pt x="861363" y="2079350"/>
                </a:cubicBezTo>
                <a:cubicBezTo>
                  <a:pt x="861570" y="2079040"/>
                  <a:pt x="861880" y="2078575"/>
                  <a:pt x="862087" y="2078421"/>
                </a:cubicBezTo>
                <a:cubicBezTo>
                  <a:pt x="862396" y="2078111"/>
                  <a:pt x="862706" y="2078111"/>
                  <a:pt x="863016" y="2078266"/>
                </a:cubicBezTo>
                <a:close/>
                <a:moveTo>
                  <a:pt x="4797890" y="2078264"/>
                </a:moveTo>
                <a:cubicBezTo>
                  <a:pt x="4800237" y="2079686"/>
                  <a:pt x="4801518" y="2080967"/>
                  <a:pt x="4802798" y="2082247"/>
                </a:cubicBezTo>
                <a:cubicBezTo>
                  <a:pt x="4804932" y="2083528"/>
                  <a:pt x="4805146" y="2084808"/>
                  <a:pt x="4802798" y="2087226"/>
                </a:cubicBezTo>
                <a:cubicBezTo>
                  <a:pt x="4800450" y="2085803"/>
                  <a:pt x="4797035" y="2080824"/>
                  <a:pt x="4797890" y="2078264"/>
                </a:cubicBezTo>
                <a:close/>
                <a:moveTo>
                  <a:pt x="5781327" y="2077837"/>
                </a:moveTo>
                <a:cubicBezTo>
                  <a:pt x="5783462" y="2079828"/>
                  <a:pt x="5784955" y="2082531"/>
                  <a:pt x="5785810" y="2085377"/>
                </a:cubicBezTo>
                <a:cubicBezTo>
                  <a:pt x="5788584" y="2094055"/>
                  <a:pt x="5786663" y="2104868"/>
                  <a:pt x="5782181" y="2109847"/>
                </a:cubicBezTo>
                <a:cubicBezTo>
                  <a:pt x="5773858" y="2101453"/>
                  <a:pt x="5777272" y="2085377"/>
                  <a:pt x="5781327" y="2077837"/>
                </a:cubicBezTo>
                <a:close/>
                <a:moveTo>
                  <a:pt x="5532907" y="2077409"/>
                </a:moveTo>
                <a:cubicBezTo>
                  <a:pt x="5539096" y="2080113"/>
                  <a:pt x="5544218" y="2083243"/>
                  <a:pt x="5548486" y="2086942"/>
                </a:cubicBezTo>
                <a:lnTo>
                  <a:pt x="5551688" y="2091067"/>
                </a:lnTo>
                <a:lnTo>
                  <a:pt x="5551901" y="2090925"/>
                </a:lnTo>
                <a:cubicBezTo>
                  <a:pt x="5553182" y="2089360"/>
                  <a:pt x="5554676" y="2087938"/>
                  <a:pt x="5557024" y="2086657"/>
                </a:cubicBezTo>
                <a:cubicBezTo>
                  <a:pt x="5557450" y="2088222"/>
                  <a:pt x="5558944" y="2087653"/>
                  <a:pt x="5560652" y="2087084"/>
                </a:cubicBezTo>
                <a:cubicBezTo>
                  <a:pt x="5562572" y="2088507"/>
                  <a:pt x="5563853" y="2090784"/>
                  <a:pt x="5564280" y="2093486"/>
                </a:cubicBezTo>
                <a:lnTo>
                  <a:pt x="5564066" y="2095904"/>
                </a:lnTo>
                <a:lnTo>
                  <a:pt x="5564280" y="2095904"/>
                </a:lnTo>
                <a:lnTo>
                  <a:pt x="5563853" y="2096332"/>
                </a:lnTo>
                <a:lnTo>
                  <a:pt x="5563853" y="2097327"/>
                </a:lnTo>
                <a:lnTo>
                  <a:pt x="5564920" y="2096901"/>
                </a:lnTo>
                <a:cubicBezTo>
                  <a:pt x="5567695" y="2096474"/>
                  <a:pt x="5570683" y="2096616"/>
                  <a:pt x="5572390" y="2097754"/>
                </a:cubicBezTo>
                <a:cubicBezTo>
                  <a:pt x="5571323" y="2100031"/>
                  <a:pt x="5570255" y="2102307"/>
                  <a:pt x="5569188" y="2104583"/>
                </a:cubicBezTo>
                <a:lnTo>
                  <a:pt x="5568335" y="2104441"/>
                </a:lnTo>
                <a:lnTo>
                  <a:pt x="5568121" y="2104583"/>
                </a:lnTo>
                <a:cubicBezTo>
                  <a:pt x="5567481" y="2105295"/>
                  <a:pt x="5567268" y="2106290"/>
                  <a:pt x="5567481" y="2107571"/>
                </a:cubicBezTo>
                <a:cubicBezTo>
                  <a:pt x="5565774" y="2107144"/>
                  <a:pt x="5564280" y="2106717"/>
                  <a:pt x="5562999" y="2106006"/>
                </a:cubicBezTo>
                <a:lnTo>
                  <a:pt x="5562572" y="2104725"/>
                </a:lnTo>
                <a:lnTo>
                  <a:pt x="5561932" y="2104868"/>
                </a:lnTo>
                <a:lnTo>
                  <a:pt x="5560865" y="2106860"/>
                </a:lnTo>
                <a:lnTo>
                  <a:pt x="5561719" y="2109136"/>
                </a:lnTo>
                <a:lnTo>
                  <a:pt x="5557450" y="2109989"/>
                </a:lnTo>
                <a:lnTo>
                  <a:pt x="5553822" y="2111270"/>
                </a:lnTo>
                <a:cubicBezTo>
                  <a:pt x="5552755" y="2110986"/>
                  <a:pt x="5551474" y="2110416"/>
                  <a:pt x="5550194" y="2109136"/>
                </a:cubicBezTo>
                <a:lnTo>
                  <a:pt x="5550194" y="2107713"/>
                </a:lnTo>
                <a:lnTo>
                  <a:pt x="5541444" y="2099888"/>
                </a:lnTo>
                <a:cubicBezTo>
                  <a:pt x="5538242" y="2107998"/>
                  <a:pt x="5535682" y="2120802"/>
                  <a:pt x="5527144" y="2118526"/>
                </a:cubicBezTo>
                <a:cubicBezTo>
                  <a:pt x="5522876" y="2110559"/>
                  <a:pt x="5532267" y="2102023"/>
                  <a:pt x="5534614" y="2091921"/>
                </a:cubicBezTo>
                <a:cubicBezTo>
                  <a:pt x="5533974" y="2087084"/>
                  <a:pt x="5528425" y="2085946"/>
                  <a:pt x="5532907" y="2077409"/>
                </a:cubicBezTo>
                <a:close/>
                <a:moveTo>
                  <a:pt x="4730235" y="2077126"/>
                </a:moveTo>
                <a:cubicBezTo>
                  <a:pt x="4728314" y="2081109"/>
                  <a:pt x="4722339" y="2087653"/>
                  <a:pt x="4720845" y="2087226"/>
                </a:cubicBezTo>
                <a:cubicBezTo>
                  <a:pt x="4722339" y="2084950"/>
                  <a:pt x="4727674" y="2077409"/>
                  <a:pt x="4730235" y="2077126"/>
                </a:cubicBezTo>
                <a:close/>
                <a:moveTo>
                  <a:pt x="917845" y="2076717"/>
                </a:moveTo>
                <a:cubicBezTo>
                  <a:pt x="920220" y="2077027"/>
                  <a:pt x="921149" y="2078421"/>
                  <a:pt x="920839" y="2079660"/>
                </a:cubicBezTo>
                <a:cubicBezTo>
                  <a:pt x="919600" y="2089108"/>
                  <a:pt x="911236" y="2090657"/>
                  <a:pt x="910204" y="2092361"/>
                </a:cubicBezTo>
                <a:cubicBezTo>
                  <a:pt x="907519" y="2091896"/>
                  <a:pt x="906899" y="2091896"/>
                  <a:pt x="907106" y="2089108"/>
                </a:cubicBezTo>
                <a:cubicBezTo>
                  <a:pt x="907209" y="2088179"/>
                  <a:pt x="907416" y="2086940"/>
                  <a:pt x="907622" y="2085391"/>
                </a:cubicBezTo>
                <a:cubicBezTo>
                  <a:pt x="907932" y="2084152"/>
                  <a:pt x="908552" y="2083068"/>
                  <a:pt x="909378" y="2082138"/>
                </a:cubicBezTo>
                <a:cubicBezTo>
                  <a:pt x="910307" y="2081209"/>
                  <a:pt x="911339" y="2080589"/>
                  <a:pt x="912682" y="2080125"/>
                </a:cubicBezTo>
                <a:cubicBezTo>
                  <a:pt x="913715" y="2078421"/>
                  <a:pt x="915986" y="2077027"/>
                  <a:pt x="917845" y="2076717"/>
                </a:cubicBezTo>
                <a:close/>
                <a:moveTo>
                  <a:pt x="5932216" y="2074991"/>
                </a:moveTo>
                <a:cubicBezTo>
                  <a:pt x="5937551" y="2074137"/>
                  <a:pt x="5942459" y="2079544"/>
                  <a:pt x="5942887" y="2084666"/>
                </a:cubicBezTo>
                <a:cubicBezTo>
                  <a:pt x="5942887" y="2087084"/>
                  <a:pt x="5942246" y="2089219"/>
                  <a:pt x="5940325" y="2090925"/>
                </a:cubicBezTo>
                <a:cubicBezTo>
                  <a:pt x="5933709" y="2088222"/>
                  <a:pt x="5925600" y="2086373"/>
                  <a:pt x="5926666" y="2078121"/>
                </a:cubicBezTo>
                <a:cubicBezTo>
                  <a:pt x="5928587" y="2076129"/>
                  <a:pt x="5930508" y="2075276"/>
                  <a:pt x="5932216" y="2074991"/>
                </a:cubicBezTo>
                <a:close/>
                <a:moveTo>
                  <a:pt x="865184" y="2074858"/>
                </a:moveTo>
                <a:cubicBezTo>
                  <a:pt x="865184" y="2074858"/>
                  <a:pt x="865494" y="2075942"/>
                  <a:pt x="865494" y="2075942"/>
                </a:cubicBezTo>
                <a:cubicBezTo>
                  <a:pt x="864358" y="2076252"/>
                  <a:pt x="864978" y="2076717"/>
                  <a:pt x="863635" y="2075787"/>
                </a:cubicBezTo>
                <a:cubicBezTo>
                  <a:pt x="864771" y="2075632"/>
                  <a:pt x="864771" y="2075632"/>
                  <a:pt x="865184" y="2074858"/>
                </a:cubicBezTo>
                <a:close/>
                <a:moveTo>
                  <a:pt x="4947283" y="2074707"/>
                </a:moveTo>
                <a:cubicBezTo>
                  <a:pt x="4950698" y="2076983"/>
                  <a:pt x="4952192" y="2077553"/>
                  <a:pt x="4954112" y="2079259"/>
                </a:cubicBezTo>
                <a:cubicBezTo>
                  <a:pt x="4954967" y="2078690"/>
                  <a:pt x="4956247" y="2078264"/>
                  <a:pt x="4957741" y="2078832"/>
                </a:cubicBezTo>
                <a:lnTo>
                  <a:pt x="4959448" y="2080398"/>
                </a:lnTo>
                <a:lnTo>
                  <a:pt x="4960515" y="2079401"/>
                </a:lnTo>
                <a:cubicBezTo>
                  <a:pt x="4961369" y="2078548"/>
                  <a:pt x="4962223" y="2077694"/>
                  <a:pt x="4962863" y="2076556"/>
                </a:cubicBezTo>
                <a:cubicBezTo>
                  <a:pt x="4966918" y="2082389"/>
                  <a:pt x="4971826" y="2084239"/>
                  <a:pt x="4972253" y="2088222"/>
                </a:cubicBezTo>
                <a:cubicBezTo>
                  <a:pt x="4972466" y="2089645"/>
                  <a:pt x="4972253" y="2091210"/>
                  <a:pt x="4971400" y="2093202"/>
                </a:cubicBezTo>
                <a:cubicBezTo>
                  <a:pt x="4969052" y="2093629"/>
                  <a:pt x="4966704" y="2092206"/>
                  <a:pt x="4964357" y="2090072"/>
                </a:cubicBezTo>
                <a:lnTo>
                  <a:pt x="4960942" y="2086089"/>
                </a:lnTo>
                <a:lnTo>
                  <a:pt x="4960515" y="2086657"/>
                </a:lnTo>
                <a:cubicBezTo>
                  <a:pt x="4959662" y="2087226"/>
                  <a:pt x="4958595" y="2087368"/>
                  <a:pt x="4957100" y="2086800"/>
                </a:cubicBezTo>
                <a:cubicBezTo>
                  <a:pt x="4953045" y="2086230"/>
                  <a:pt x="4951765" y="2082958"/>
                  <a:pt x="4951552" y="2079259"/>
                </a:cubicBezTo>
                <a:cubicBezTo>
                  <a:pt x="4949631" y="2077553"/>
                  <a:pt x="4947070" y="2077409"/>
                  <a:pt x="4947283" y="2074707"/>
                </a:cubicBezTo>
                <a:close/>
                <a:moveTo>
                  <a:pt x="667139" y="2074703"/>
                </a:moveTo>
                <a:cubicBezTo>
                  <a:pt x="668688" y="2074084"/>
                  <a:pt x="670650" y="2074239"/>
                  <a:pt x="673437" y="2075942"/>
                </a:cubicBezTo>
                <a:cubicBezTo>
                  <a:pt x="673850" y="2080589"/>
                  <a:pt x="670959" y="2080589"/>
                  <a:pt x="668274" y="2080744"/>
                </a:cubicBezTo>
                <a:cubicBezTo>
                  <a:pt x="668584" y="2078575"/>
                  <a:pt x="666416" y="2077801"/>
                  <a:pt x="666313" y="2076407"/>
                </a:cubicBezTo>
                <a:cubicBezTo>
                  <a:pt x="666313" y="2075942"/>
                  <a:pt x="666519" y="2075478"/>
                  <a:pt x="667139" y="2074703"/>
                </a:cubicBezTo>
                <a:close/>
                <a:moveTo>
                  <a:pt x="4795755" y="2074280"/>
                </a:moveTo>
                <a:cubicBezTo>
                  <a:pt x="4796182" y="2074422"/>
                  <a:pt x="4796395" y="2074707"/>
                  <a:pt x="4796395" y="2074707"/>
                </a:cubicBezTo>
                <a:cubicBezTo>
                  <a:pt x="4797676" y="2075987"/>
                  <a:pt x="4798956" y="2077126"/>
                  <a:pt x="4797890" y="2078264"/>
                </a:cubicBezTo>
                <a:cubicBezTo>
                  <a:pt x="4797890" y="2078264"/>
                  <a:pt x="4796609" y="2078264"/>
                  <a:pt x="4794261" y="2075703"/>
                </a:cubicBezTo>
                <a:cubicBezTo>
                  <a:pt x="4795328" y="2075845"/>
                  <a:pt x="4795328" y="2074564"/>
                  <a:pt x="4795328" y="2074564"/>
                </a:cubicBezTo>
                <a:cubicBezTo>
                  <a:pt x="4795328" y="2074564"/>
                  <a:pt x="4795328" y="2074707"/>
                  <a:pt x="4794261" y="2074564"/>
                </a:cubicBezTo>
                <a:cubicBezTo>
                  <a:pt x="4794688" y="2073995"/>
                  <a:pt x="4795328" y="2074137"/>
                  <a:pt x="4795755" y="2074280"/>
                </a:cubicBezTo>
                <a:close/>
                <a:moveTo>
                  <a:pt x="5552768" y="2072005"/>
                </a:moveTo>
                <a:lnTo>
                  <a:pt x="5559264" y="2072502"/>
                </a:lnTo>
                <a:cubicBezTo>
                  <a:pt x="5561345" y="2073106"/>
                  <a:pt x="5563533" y="2073782"/>
                  <a:pt x="5566414" y="2073426"/>
                </a:cubicBezTo>
                <a:cubicBezTo>
                  <a:pt x="5567908" y="2077267"/>
                  <a:pt x="5574737" y="2077126"/>
                  <a:pt x="5576445" y="2082674"/>
                </a:cubicBezTo>
                <a:cubicBezTo>
                  <a:pt x="5572496" y="2084594"/>
                  <a:pt x="5566787" y="2083171"/>
                  <a:pt x="5561959" y="2080646"/>
                </a:cubicBezTo>
                <a:lnTo>
                  <a:pt x="5552768" y="2072016"/>
                </a:lnTo>
                <a:close/>
                <a:moveTo>
                  <a:pt x="1066456" y="2071237"/>
                </a:moveTo>
                <a:cubicBezTo>
                  <a:pt x="1071154" y="2069321"/>
                  <a:pt x="1075672" y="2068817"/>
                  <a:pt x="1077789" y="2072999"/>
                </a:cubicBezTo>
                <a:cubicBezTo>
                  <a:pt x="1072420" y="2075013"/>
                  <a:pt x="1056621" y="2084307"/>
                  <a:pt x="1054040" y="2077956"/>
                </a:cubicBezTo>
                <a:cubicBezTo>
                  <a:pt x="1056879" y="2076484"/>
                  <a:pt x="1061758" y="2073154"/>
                  <a:pt x="1066456" y="2071237"/>
                </a:cubicBezTo>
                <a:close/>
                <a:moveTo>
                  <a:pt x="4597702" y="2070723"/>
                </a:moveTo>
                <a:cubicBezTo>
                  <a:pt x="4598555" y="2070723"/>
                  <a:pt x="4599195" y="2070865"/>
                  <a:pt x="4600903" y="2071150"/>
                </a:cubicBezTo>
                <a:cubicBezTo>
                  <a:pt x="4599836" y="2071862"/>
                  <a:pt x="4598128" y="2074137"/>
                  <a:pt x="4596634" y="2073853"/>
                </a:cubicBezTo>
                <a:cubicBezTo>
                  <a:pt x="4595141" y="2073426"/>
                  <a:pt x="4594927" y="2073426"/>
                  <a:pt x="4594074" y="2071435"/>
                </a:cubicBezTo>
                <a:cubicBezTo>
                  <a:pt x="4595781" y="2070865"/>
                  <a:pt x="4596848" y="2070723"/>
                  <a:pt x="4597702" y="2070723"/>
                </a:cubicBezTo>
                <a:close/>
                <a:moveTo>
                  <a:pt x="775145" y="2070366"/>
                </a:moveTo>
                <a:cubicBezTo>
                  <a:pt x="777520" y="2068817"/>
                  <a:pt x="781856" y="2071140"/>
                  <a:pt x="782579" y="2073619"/>
                </a:cubicBezTo>
                <a:cubicBezTo>
                  <a:pt x="781030" y="2077336"/>
                  <a:pt x="775351" y="2076717"/>
                  <a:pt x="773493" y="2073464"/>
                </a:cubicBezTo>
                <a:cubicBezTo>
                  <a:pt x="773699" y="2071915"/>
                  <a:pt x="774319" y="2070985"/>
                  <a:pt x="775145" y="2070366"/>
                </a:cubicBezTo>
                <a:close/>
                <a:moveTo>
                  <a:pt x="4902038" y="2070296"/>
                </a:moveTo>
                <a:cubicBezTo>
                  <a:pt x="4903959" y="2069870"/>
                  <a:pt x="4905666" y="2070296"/>
                  <a:pt x="4906093" y="2072004"/>
                </a:cubicBezTo>
                <a:cubicBezTo>
                  <a:pt x="4906307" y="2073142"/>
                  <a:pt x="4905880" y="2074991"/>
                  <a:pt x="4904172" y="2077553"/>
                </a:cubicBezTo>
                <a:cubicBezTo>
                  <a:pt x="4900117" y="2076272"/>
                  <a:pt x="4898624" y="2074707"/>
                  <a:pt x="4898624" y="2073426"/>
                </a:cubicBezTo>
                <a:cubicBezTo>
                  <a:pt x="4898624" y="2072004"/>
                  <a:pt x="4900331" y="2070723"/>
                  <a:pt x="4902038" y="2070296"/>
                </a:cubicBezTo>
                <a:close/>
                <a:moveTo>
                  <a:pt x="4657459" y="2070296"/>
                </a:moveTo>
                <a:cubicBezTo>
                  <a:pt x="4663648" y="2074991"/>
                  <a:pt x="4668771" y="2072288"/>
                  <a:pt x="4669624" y="2078548"/>
                </a:cubicBezTo>
                <a:cubicBezTo>
                  <a:pt x="4665569" y="2080824"/>
                  <a:pt x="4657886" y="2075276"/>
                  <a:pt x="4657459" y="2070296"/>
                </a:cubicBezTo>
                <a:close/>
                <a:moveTo>
                  <a:pt x="4875361" y="2069300"/>
                </a:moveTo>
                <a:cubicBezTo>
                  <a:pt x="4874080" y="2071577"/>
                  <a:pt x="4872159" y="2076272"/>
                  <a:pt x="4870025" y="2077837"/>
                </a:cubicBezTo>
                <a:cubicBezTo>
                  <a:pt x="4869385" y="2078264"/>
                  <a:pt x="4868531" y="2078548"/>
                  <a:pt x="4867891" y="2078121"/>
                </a:cubicBezTo>
                <a:cubicBezTo>
                  <a:pt x="4869599" y="2075134"/>
                  <a:pt x="4870665" y="2069727"/>
                  <a:pt x="4875361" y="2069300"/>
                </a:cubicBezTo>
                <a:close/>
                <a:moveTo>
                  <a:pt x="4602610" y="2069017"/>
                </a:moveTo>
                <a:cubicBezTo>
                  <a:pt x="4603250" y="2068873"/>
                  <a:pt x="4603677" y="2069017"/>
                  <a:pt x="4603890" y="2069443"/>
                </a:cubicBezTo>
                <a:cubicBezTo>
                  <a:pt x="4604318" y="2070296"/>
                  <a:pt x="4603250" y="2071150"/>
                  <a:pt x="4601543" y="2070865"/>
                </a:cubicBezTo>
                <a:cubicBezTo>
                  <a:pt x="4601543" y="2070865"/>
                  <a:pt x="4601116" y="2069870"/>
                  <a:pt x="4601116" y="2069870"/>
                </a:cubicBezTo>
                <a:cubicBezTo>
                  <a:pt x="4601543" y="2069585"/>
                  <a:pt x="4602183" y="2069158"/>
                  <a:pt x="4602610" y="2069017"/>
                </a:cubicBezTo>
                <a:close/>
                <a:moveTo>
                  <a:pt x="6057066" y="2068162"/>
                </a:moveTo>
                <a:cubicBezTo>
                  <a:pt x="6058560" y="2067878"/>
                  <a:pt x="6060267" y="2068020"/>
                  <a:pt x="6061548" y="2068305"/>
                </a:cubicBezTo>
                <a:cubicBezTo>
                  <a:pt x="6061121" y="2069585"/>
                  <a:pt x="6068591" y="2071150"/>
                  <a:pt x="6070938" y="2077553"/>
                </a:cubicBezTo>
                <a:cubicBezTo>
                  <a:pt x="6071578" y="2079686"/>
                  <a:pt x="6071792" y="2082389"/>
                  <a:pt x="6070725" y="2085662"/>
                </a:cubicBezTo>
                <a:cubicBezTo>
                  <a:pt x="6068591" y="2093202"/>
                  <a:pt x="6063895" y="2100742"/>
                  <a:pt x="6052371" y="2097470"/>
                </a:cubicBezTo>
                <a:cubicBezTo>
                  <a:pt x="6049809" y="2097470"/>
                  <a:pt x="6050877" y="2096901"/>
                  <a:pt x="6049596" y="2096332"/>
                </a:cubicBezTo>
                <a:cubicBezTo>
                  <a:pt x="6048102" y="2095762"/>
                  <a:pt x="6045328" y="2095762"/>
                  <a:pt x="6044261" y="2096332"/>
                </a:cubicBezTo>
                <a:cubicBezTo>
                  <a:pt x="6045755" y="2090357"/>
                  <a:pt x="6041913" y="2089787"/>
                  <a:pt x="6044688" y="2080683"/>
                </a:cubicBezTo>
                <a:cubicBezTo>
                  <a:pt x="6047035" y="2071719"/>
                  <a:pt x="6052157" y="2068589"/>
                  <a:pt x="6057066" y="2068162"/>
                </a:cubicBezTo>
                <a:close/>
                <a:moveTo>
                  <a:pt x="5746967" y="2067878"/>
                </a:moveTo>
                <a:cubicBezTo>
                  <a:pt x="5748034" y="2068020"/>
                  <a:pt x="5749314" y="2068305"/>
                  <a:pt x="5749955" y="2068447"/>
                </a:cubicBezTo>
                <a:cubicBezTo>
                  <a:pt x="5751022" y="2067878"/>
                  <a:pt x="5752516" y="2068162"/>
                  <a:pt x="5752942" y="2069158"/>
                </a:cubicBezTo>
                <a:cubicBezTo>
                  <a:pt x="5752942" y="2069158"/>
                  <a:pt x="5754650" y="2069585"/>
                  <a:pt x="5755504" y="2068873"/>
                </a:cubicBezTo>
                <a:cubicBezTo>
                  <a:pt x="5758705" y="2069585"/>
                  <a:pt x="5759132" y="2070723"/>
                  <a:pt x="5759772" y="2071719"/>
                </a:cubicBezTo>
                <a:cubicBezTo>
                  <a:pt x="5759772" y="2071719"/>
                  <a:pt x="5758065" y="2071292"/>
                  <a:pt x="5757211" y="2071862"/>
                </a:cubicBezTo>
                <a:cubicBezTo>
                  <a:pt x="5757211" y="2071862"/>
                  <a:pt x="5755717" y="2071577"/>
                  <a:pt x="5754010" y="2071150"/>
                </a:cubicBezTo>
                <a:cubicBezTo>
                  <a:pt x="5754010" y="2071150"/>
                  <a:pt x="5753156" y="2071862"/>
                  <a:pt x="5752089" y="2072431"/>
                </a:cubicBezTo>
                <a:cubicBezTo>
                  <a:pt x="5748034" y="2072431"/>
                  <a:pt x="5745259" y="2072572"/>
                  <a:pt x="5744406" y="2068020"/>
                </a:cubicBezTo>
                <a:cubicBezTo>
                  <a:pt x="5744833" y="2067736"/>
                  <a:pt x="5745900" y="2067736"/>
                  <a:pt x="5746967" y="2067878"/>
                </a:cubicBezTo>
                <a:close/>
                <a:moveTo>
                  <a:pt x="5039054" y="2067878"/>
                </a:moveTo>
                <a:cubicBezTo>
                  <a:pt x="5039694" y="2067878"/>
                  <a:pt x="5040121" y="2068589"/>
                  <a:pt x="5040761" y="2069727"/>
                </a:cubicBezTo>
                <a:cubicBezTo>
                  <a:pt x="5042468" y="2073142"/>
                  <a:pt x="5043749" y="2079971"/>
                  <a:pt x="5043962" y="2080683"/>
                </a:cubicBezTo>
                <a:cubicBezTo>
                  <a:pt x="5043962" y="2080683"/>
                  <a:pt x="5044389" y="2081820"/>
                  <a:pt x="5044816" y="2082816"/>
                </a:cubicBezTo>
                <a:cubicBezTo>
                  <a:pt x="5044175" y="2084523"/>
                  <a:pt x="5043109" y="2084950"/>
                  <a:pt x="5043535" y="2086089"/>
                </a:cubicBezTo>
                <a:cubicBezTo>
                  <a:pt x="5039267" y="2084381"/>
                  <a:pt x="5038840" y="2080683"/>
                  <a:pt x="5038627" y="2076983"/>
                </a:cubicBezTo>
                <a:cubicBezTo>
                  <a:pt x="5039054" y="2074280"/>
                  <a:pt x="5038627" y="2073142"/>
                  <a:pt x="5036706" y="2071577"/>
                </a:cubicBezTo>
                <a:cubicBezTo>
                  <a:pt x="5036706" y="2071577"/>
                  <a:pt x="5036706" y="2071577"/>
                  <a:pt x="5037987" y="2068305"/>
                </a:cubicBezTo>
                <a:close/>
                <a:moveTo>
                  <a:pt x="1014493" y="2067423"/>
                </a:moveTo>
                <a:cubicBezTo>
                  <a:pt x="1014389" y="2076097"/>
                  <a:pt x="1004580" y="2081518"/>
                  <a:pt x="998694" y="2082603"/>
                </a:cubicBezTo>
                <a:cubicBezTo>
                  <a:pt x="998798" y="2076097"/>
                  <a:pt x="1004064" y="2070521"/>
                  <a:pt x="1009330" y="2068507"/>
                </a:cubicBezTo>
                <a:cubicBezTo>
                  <a:pt x="1011085" y="2067733"/>
                  <a:pt x="1012840" y="2067268"/>
                  <a:pt x="1014493" y="2067423"/>
                </a:cubicBezTo>
                <a:close/>
                <a:moveTo>
                  <a:pt x="5604829" y="2067167"/>
                </a:moveTo>
                <a:cubicBezTo>
                  <a:pt x="5605256" y="2073284"/>
                  <a:pt x="5608458" y="2080824"/>
                  <a:pt x="5606323" y="2086515"/>
                </a:cubicBezTo>
                <a:cubicBezTo>
                  <a:pt x="5605896" y="2084239"/>
                  <a:pt x="5603549" y="2071435"/>
                  <a:pt x="5604829" y="2067167"/>
                </a:cubicBezTo>
                <a:close/>
                <a:moveTo>
                  <a:pt x="5228357" y="2066740"/>
                </a:moveTo>
                <a:cubicBezTo>
                  <a:pt x="5231132" y="2066455"/>
                  <a:pt x="5233906" y="2067024"/>
                  <a:pt x="5235400" y="2068873"/>
                </a:cubicBezTo>
                <a:cubicBezTo>
                  <a:pt x="5236253" y="2070012"/>
                  <a:pt x="5236680" y="2071719"/>
                  <a:pt x="5236040" y="2073995"/>
                </a:cubicBezTo>
                <a:cubicBezTo>
                  <a:pt x="5233265" y="2080398"/>
                  <a:pt x="5227717" y="2079259"/>
                  <a:pt x="5221741" y="2077126"/>
                </a:cubicBezTo>
                <a:cubicBezTo>
                  <a:pt x="5221954" y="2074564"/>
                  <a:pt x="5221101" y="2072431"/>
                  <a:pt x="5221314" y="2069727"/>
                </a:cubicBezTo>
                <a:cubicBezTo>
                  <a:pt x="5222808" y="2068162"/>
                  <a:pt x="5225582" y="2067024"/>
                  <a:pt x="5228357" y="2066740"/>
                </a:cubicBezTo>
                <a:close/>
                <a:moveTo>
                  <a:pt x="994668" y="2066494"/>
                </a:moveTo>
                <a:cubicBezTo>
                  <a:pt x="1001173" y="2074239"/>
                  <a:pt x="997765" y="2081209"/>
                  <a:pt x="994461" y="2088179"/>
                </a:cubicBezTo>
                <a:cubicBezTo>
                  <a:pt x="990640" y="2085856"/>
                  <a:pt x="989711" y="2081983"/>
                  <a:pt x="990227" y="2077801"/>
                </a:cubicBezTo>
                <a:cubicBezTo>
                  <a:pt x="990640" y="2073774"/>
                  <a:pt x="992602" y="2069592"/>
                  <a:pt x="994668" y="2066494"/>
                </a:cubicBezTo>
                <a:close/>
                <a:moveTo>
                  <a:pt x="4609013" y="2066170"/>
                </a:moveTo>
                <a:cubicBezTo>
                  <a:pt x="4609013" y="2066170"/>
                  <a:pt x="4608373" y="2067878"/>
                  <a:pt x="4608373" y="2067878"/>
                </a:cubicBezTo>
                <a:cubicBezTo>
                  <a:pt x="4606878" y="2067593"/>
                  <a:pt x="4607305" y="2068589"/>
                  <a:pt x="4606238" y="2066740"/>
                </a:cubicBezTo>
                <a:cubicBezTo>
                  <a:pt x="4607946" y="2066882"/>
                  <a:pt x="4607946" y="2066882"/>
                  <a:pt x="4609013" y="2066170"/>
                </a:cubicBezTo>
                <a:close/>
                <a:moveTo>
                  <a:pt x="874580" y="2065409"/>
                </a:moveTo>
                <a:cubicBezTo>
                  <a:pt x="873651" y="2066804"/>
                  <a:pt x="868179" y="2073774"/>
                  <a:pt x="865391" y="2074858"/>
                </a:cubicBezTo>
                <a:cubicBezTo>
                  <a:pt x="868282" y="2071915"/>
                  <a:pt x="870657" y="2066804"/>
                  <a:pt x="874580" y="2065409"/>
                </a:cubicBezTo>
                <a:close/>
                <a:moveTo>
                  <a:pt x="803127" y="2064635"/>
                </a:moveTo>
                <a:cubicBezTo>
                  <a:pt x="800546" y="2067268"/>
                  <a:pt x="798171" y="2070056"/>
                  <a:pt x="795073" y="2072380"/>
                </a:cubicBezTo>
                <a:cubicBezTo>
                  <a:pt x="792079" y="2074703"/>
                  <a:pt x="788361" y="2076562"/>
                  <a:pt x="783405" y="2077182"/>
                </a:cubicBezTo>
                <a:cubicBezTo>
                  <a:pt x="783302" y="2072225"/>
                  <a:pt x="786503" y="2068973"/>
                  <a:pt x="790633" y="2067113"/>
                </a:cubicBezTo>
                <a:cubicBezTo>
                  <a:pt x="794763" y="2065100"/>
                  <a:pt x="799720" y="2064480"/>
                  <a:pt x="803127" y="2064635"/>
                </a:cubicBezTo>
                <a:close/>
                <a:moveTo>
                  <a:pt x="5605470" y="2064321"/>
                </a:moveTo>
                <a:cubicBezTo>
                  <a:pt x="5604829" y="2066028"/>
                  <a:pt x="5604829" y="2066028"/>
                  <a:pt x="5605256" y="2067167"/>
                </a:cubicBezTo>
                <a:cubicBezTo>
                  <a:pt x="5605256" y="2067167"/>
                  <a:pt x="5603762" y="2066313"/>
                  <a:pt x="5603762" y="2066313"/>
                </a:cubicBezTo>
                <a:cubicBezTo>
                  <a:pt x="5604616" y="2064748"/>
                  <a:pt x="5603549" y="2065175"/>
                  <a:pt x="5605470" y="2064321"/>
                </a:cubicBezTo>
                <a:close/>
                <a:moveTo>
                  <a:pt x="5383726" y="2064179"/>
                </a:moveTo>
                <a:cubicBezTo>
                  <a:pt x="5385861" y="2064036"/>
                  <a:pt x="5387781" y="2064748"/>
                  <a:pt x="5389702" y="2066028"/>
                </a:cubicBezTo>
                <a:cubicBezTo>
                  <a:pt x="5389916" y="2073284"/>
                  <a:pt x="5383086" y="2074137"/>
                  <a:pt x="5378391" y="2067878"/>
                </a:cubicBezTo>
                <a:cubicBezTo>
                  <a:pt x="5379885" y="2065459"/>
                  <a:pt x="5381806" y="2064463"/>
                  <a:pt x="5383726" y="2064179"/>
                </a:cubicBezTo>
                <a:close/>
                <a:moveTo>
                  <a:pt x="4832250" y="2063894"/>
                </a:moveTo>
                <a:cubicBezTo>
                  <a:pt x="4834811" y="2064748"/>
                  <a:pt x="4836305" y="2066170"/>
                  <a:pt x="4837372" y="2067593"/>
                </a:cubicBezTo>
                <a:cubicBezTo>
                  <a:pt x="4840146" y="2072288"/>
                  <a:pt x="4837372" y="2078975"/>
                  <a:pt x="4832677" y="2081393"/>
                </a:cubicBezTo>
                <a:cubicBezTo>
                  <a:pt x="4830756" y="2082389"/>
                  <a:pt x="4828408" y="2082674"/>
                  <a:pt x="4826060" y="2081536"/>
                </a:cubicBezTo>
                <a:cubicBezTo>
                  <a:pt x="4825847" y="2074280"/>
                  <a:pt x="4824353" y="2066313"/>
                  <a:pt x="4832250" y="2063894"/>
                </a:cubicBezTo>
                <a:close/>
                <a:moveTo>
                  <a:pt x="5647727" y="2063610"/>
                </a:moveTo>
                <a:lnTo>
                  <a:pt x="5653063" y="2069727"/>
                </a:lnTo>
                <a:lnTo>
                  <a:pt x="5656050" y="2069017"/>
                </a:lnTo>
                <a:cubicBezTo>
                  <a:pt x="5657544" y="2069585"/>
                  <a:pt x="5658825" y="2071008"/>
                  <a:pt x="5660532" y="2072999"/>
                </a:cubicBezTo>
                <a:cubicBezTo>
                  <a:pt x="5658825" y="2073853"/>
                  <a:pt x="5657331" y="2073995"/>
                  <a:pt x="5655837" y="2073426"/>
                </a:cubicBezTo>
                <a:lnTo>
                  <a:pt x="5655196" y="2073142"/>
                </a:lnTo>
                <a:lnTo>
                  <a:pt x="5658825" y="2079401"/>
                </a:lnTo>
                <a:cubicBezTo>
                  <a:pt x="5660319" y="2082247"/>
                  <a:pt x="5662026" y="2084808"/>
                  <a:pt x="5664160" y="2086657"/>
                </a:cubicBezTo>
                <a:cubicBezTo>
                  <a:pt x="5664160" y="2086657"/>
                  <a:pt x="5664160" y="2086657"/>
                  <a:pt x="5663734" y="2089930"/>
                </a:cubicBezTo>
                <a:cubicBezTo>
                  <a:pt x="5664374" y="2090925"/>
                  <a:pt x="5664374" y="2090925"/>
                  <a:pt x="5664374" y="2090925"/>
                </a:cubicBezTo>
                <a:cubicBezTo>
                  <a:pt x="5665014" y="2091921"/>
                  <a:pt x="5663093" y="2093202"/>
                  <a:pt x="5663093" y="2093202"/>
                </a:cubicBezTo>
                <a:cubicBezTo>
                  <a:pt x="5660532" y="2093344"/>
                  <a:pt x="5659465" y="2089645"/>
                  <a:pt x="5658184" y="2087653"/>
                </a:cubicBezTo>
                <a:cubicBezTo>
                  <a:pt x="5655623" y="2087938"/>
                  <a:pt x="5657331" y="2082389"/>
                  <a:pt x="5654770" y="2082531"/>
                </a:cubicBezTo>
                <a:cubicBezTo>
                  <a:pt x="5655837" y="2075987"/>
                  <a:pt x="5647727" y="2073995"/>
                  <a:pt x="5647727" y="2063610"/>
                </a:cubicBezTo>
                <a:close/>
                <a:moveTo>
                  <a:pt x="1004787" y="2063086"/>
                </a:moveTo>
                <a:cubicBezTo>
                  <a:pt x="1004787" y="2063086"/>
                  <a:pt x="1005613" y="2064015"/>
                  <a:pt x="1006542" y="2064945"/>
                </a:cubicBezTo>
                <a:cubicBezTo>
                  <a:pt x="1007368" y="2065874"/>
                  <a:pt x="1007368" y="2065874"/>
                  <a:pt x="1008297" y="2065100"/>
                </a:cubicBezTo>
                <a:cubicBezTo>
                  <a:pt x="1009226" y="2066029"/>
                  <a:pt x="1009226" y="2066029"/>
                  <a:pt x="1009123" y="2067733"/>
                </a:cubicBezTo>
                <a:cubicBezTo>
                  <a:pt x="1008297" y="2066804"/>
                  <a:pt x="1003857" y="2063861"/>
                  <a:pt x="1004787" y="2063086"/>
                </a:cubicBezTo>
                <a:close/>
                <a:moveTo>
                  <a:pt x="5528212" y="2062898"/>
                </a:moveTo>
                <a:cubicBezTo>
                  <a:pt x="5535468" y="2066740"/>
                  <a:pt x="5528852" y="2073426"/>
                  <a:pt x="5525224" y="2073284"/>
                </a:cubicBezTo>
                <a:cubicBezTo>
                  <a:pt x="5519248" y="2069443"/>
                  <a:pt x="5524797" y="2062756"/>
                  <a:pt x="5528212" y="2062898"/>
                </a:cubicBezTo>
                <a:close/>
                <a:moveTo>
                  <a:pt x="5270828" y="2062472"/>
                </a:moveTo>
                <a:cubicBezTo>
                  <a:pt x="5272961" y="2064463"/>
                  <a:pt x="5274456" y="2066598"/>
                  <a:pt x="5275736" y="2068731"/>
                </a:cubicBezTo>
                <a:cubicBezTo>
                  <a:pt x="5279364" y="2075134"/>
                  <a:pt x="5280004" y="2081536"/>
                  <a:pt x="5284059" y="2085093"/>
                </a:cubicBezTo>
                <a:cubicBezTo>
                  <a:pt x="5284059" y="2085093"/>
                  <a:pt x="5284059" y="2085093"/>
                  <a:pt x="5282992" y="2088365"/>
                </a:cubicBezTo>
                <a:cubicBezTo>
                  <a:pt x="5283419" y="2089360"/>
                  <a:pt x="5283419" y="2089503"/>
                  <a:pt x="5283419" y="2089503"/>
                </a:cubicBezTo>
                <a:cubicBezTo>
                  <a:pt x="5284059" y="2090498"/>
                  <a:pt x="5281925" y="2091637"/>
                  <a:pt x="5281925" y="2091637"/>
                </a:cubicBezTo>
                <a:cubicBezTo>
                  <a:pt x="5279364" y="2091921"/>
                  <a:pt x="5278724" y="2088222"/>
                  <a:pt x="5277871" y="2086230"/>
                </a:cubicBezTo>
                <a:cubicBezTo>
                  <a:pt x="5275096" y="2086515"/>
                  <a:pt x="5277871" y="2080824"/>
                  <a:pt x="5275096" y="2081109"/>
                </a:cubicBezTo>
                <a:cubicBezTo>
                  <a:pt x="5277230" y="2074564"/>
                  <a:pt x="5269333" y="2072715"/>
                  <a:pt x="5270828" y="2062472"/>
                </a:cubicBezTo>
                <a:close/>
                <a:moveTo>
                  <a:pt x="5297078" y="2061618"/>
                </a:moveTo>
                <a:cubicBezTo>
                  <a:pt x="5308603" y="2069300"/>
                  <a:pt x="5319700" y="2062187"/>
                  <a:pt x="5329945" y="2062898"/>
                </a:cubicBezTo>
                <a:cubicBezTo>
                  <a:pt x="5333359" y="2063183"/>
                  <a:pt x="5336774" y="2064321"/>
                  <a:pt x="5340189" y="2067167"/>
                </a:cubicBezTo>
                <a:cubicBezTo>
                  <a:pt x="5367720" y="2088649"/>
                  <a:pt x="5335067" y="2134886"/>
                  <a:pt x="5308176" y="2103872"/>
                </a:cubicBezTo>
                <a:cubicBezTo>
                  <a:pt x="5299639" y="2092775"/>
                  <a:pt x="5302414" y="2078548"/>
                  <a:pt x="5297078" y="2061618"/>
                </a:cubicBezTo>
                <a:close/>
                <a:moveTo>
                  <a:pt x="6195362" y="2060764"/>
                </a:moveTo>
                <a:cubicBezTo>
                  <a:pt x="6198990" y="2060195"/>
                  <a:pt x="6201978" y="2063468"/>
                  <a:pt x="6204753" y="2067309"/>
                </a:cubicBezTo>
                <a:cubicBezTo>
                  <a:pt x="6203258" y="2069585"/>
                  <a:pt x="6202832" y="2072004"/>
                  <a:pt x="6201338" y="2074280"/>
                </a:cubicBezTo>
                <a:cubicBezTo>
                  <a:pt x="6197710" y="2075703"/>
                  <a:pt x="6190240" y="2072004"/>
                  <a:pt x="6189599" y="2067451"/>
                </a:cubicBezTo>
                <a:cubicBezTo>
                  <a:pt x="6189386" y="2065886"/>
                  <a:pt x="6189813" y="2064179"/>
                  <a:pt x="6191734" y="2062472"/>
                </a:cubicBezTo>
                <a:cubicBezTo>
                  <a:pt x="6193014" y="2061476"/>
                  <a:pt x="6194295" y="2060906"/>
                  <a:pt x="6195362" y="2060764"/>
                </a:cubicBezTo>
                <a:close/>
                <a:moveTo>
                  <a:pt x="1115271" y="2060453"/>
                </a:moveTo>
                <a:cubicBezTo>
                  <a:pt x="1130449" y="2059833"/>
                  <a:pt x="1150378" y="2063861"/>
                  <a:pt x="1157399" y="2078730"/>
                </a:cubicBezTo>
                <a:cubicBezTo>
                  <a:pt x="1163078" y="2090967"/>
                  <a:pt x="1155334" y="2099796"/>
                  <a:pt x="1153579" y="2112963"/>
                </a:cubicBezTo>
                <a:cubicBezTo>
                  <a:pt x="1142530" y="2114821"/>
                  <a:pt x="1141291" y="2121172"/>
                  <a:pt x="1137161" y="2125974"/>
                </a:cubicBezTo>
                <a:cubicBezTo>
                  <a:pt x="1129727" y="2123805"/>
                  <a:pt x="1119607" y="2127368"/>
                  <a:pt x="1110624" y="2127368"/>
                </a:cubicBezTo>
                <a:cubicBezTo>
                  <a:pt x="1107320" y="2123496"/>
                  <a:pt x="1103706" y="2120552"/>
                  <a:pt x="1099989" y="2117454"/>
                </a:cubicBezTo>
                <a:lnTo>
                  <a:pt x="1094413" y="2112188"/>
                </a:lnTo>
                <a:lnTo>
                  <a:pt x="1091728" y="2111878"/>
                </a:lnTo>
                <a:lnTo>
                  <a:pt x="1091522" y="2109555"/>
                </a:lnTo>
                <a:lnTo>
                  <a:pt x="1089250" y="2107541"/>
                </a:lnTo>
                <a:cubicBezTo>
                  <a:pt x="1093381" y="2096698"/>
                  <a:pt x="1085739" y="2081364"/>
                  <a:pt x="1095962" y="2071915"/>
                </a:cubicBezTo>
                <a:cubicBezTo>
                  <a:pt x="1107010" y="2070056"/>
                  <a:pt x="1108972" y="2064015"/>
                  <a:pt x="1115271" y="2060453"/>
                </a:cubicBezTo>
                <a:close/>
                <a:moveTo>
                  <a:pt x="5676538" y="2060053"/>
                </a:moveTo>
                <a:cubicBezTo>
                  <a:pt x="5676538" y="2061191"/>
                  <a:pt x="5675898" y="2062329"/>
                  <a:pt x="5674831" y="2063325"/>
                </a:cubicBezTo>
                <a:cubicBezTo>
                  <a:pt x="5671843" y="2066740"/>
                  <a:pt x="5665441" y="2069870"/>
                  <a:pt x="5661813" y="2070865"/>
                </a:cubicBezTo>
                <a:cubicBezTo>
                  <a:pt x="5662026" y="2066598"/>
                  <a:pt x="5671843" y="2061333"/>
                  <a:pt x="5676538" y="2060053"/>
                </a:cubicBezTo>
                <a:close/>
                <a:moveTo>
                  <a:pt x="4717430" y="2059626"/>
                </a:moveTo>
                <a:cubicBezTo>
                  <a:pt x="4717857" y="2060622"/>
                  <a:pt x="4718497" y="2061618"/>
                  <a:pt x="4718924" y="2062614"/>
                </a:cubicBezTo>
                <a:cubicBezTo>
                  <a:pt x="4718497" y="2064179"/>
                  <a:pt x="4718497" y="2064179"/>
                  <a:pt x="4717003" y="2063752"/>
                </a:cubicBezTo>
                <a:cubicBezTo>
                  <a:pt x="4716576" y="2062756"/>
                  <a:pt x="4715936" y="2061760"/>
                  <a:pt x="4717003" y="2061191"/>
                </a:cubicBezTo>
                <a:cubicBezTo>
                  <a:pt x="4716363" y="2060195"/>
                  <a:pt x="4716363" y="2060195"/>
                  <a:pt x="4717430" y="2059626"/>
                </a:cubicBezTo>
                <a:close/>
                <a:moveTo>
                  <a:pt x="6156946" y="2058915"/>
                </a:moveTo>
                <a:cubicBezTo>
                  <a:pt x="6164203" y="2064036"/>
                  <a:pt x="6165057" y="2083101"/>
                  <a:pt x="6161642" y="2086515"/>
                </a:cubicBezTo>
                <a:cubicBezTo>
                  <a:pt x="6158014" y="2082816"/>
                  <a:pt x="6159081" y="2078121"/>
                  <a:pt x="6155239" y="2073142"/>
                </a:cubicBezTo>
                <a:cubicBezTo>
                  <a:pt x="6157373" y="2069727"/>
                  <a:pt x="6153745" y="2063610"/>
                  <a:pt x="6156946" y="2058915"/>
                </a:cubicBezTo>
                <a:close/>
                <a:moveTo>
                  <a:pt x="727234" y="2058904"/>
                </a:moveTo>
                <a:cubicBezTo>
                  <a:pt x="730745" y="2060298"/>
                  <a:pt x="729815" y="2059523"/>
                  <a:pt x="732396" y="2062621"/>
                </a:cubicBezTo>
                <a:cubicBezTo>
                  <a:pt x="730538" y="2064480"/>
                  <a:pt x="728679" y="2066184"/>
                  <a:pt x="726924" y="2067888"/>
                </a:cubicBezTo>
                <a:cubicBezTo>
                  <a:pt x="726098" y="2066339"/>
                  <a:pt x="724343" y="2065564"/>
                  <a:pt x="723413" y="2064790"/>
                </a:cubicBezTo>
                <a:cubicBezTo>
                  <a:pt x="723620" y="2062311"/>
                  <a:pt x="724549" y="2060607"/>
                  <a:pt x="727234" y="2058904"/>
                </a:cubicBezTo>
                <a:close/>
                <a:moveTo>
                  <a:pt x="5603976" y="2058631"/>
                </a:moveTo>
                <a:cubicBezTo>
                  <a:pt x="5604403" y="2059769"/>
                  <a:pt x="5604616" y="2061049"/>
                  <a:pt x="5603762" y="2061476"/>
                </a:cubicBezTo>
                <a:cubicBezTo>
                  <a:pt x="5602695" y="2061760"/>
                  <a:pt x="5602268" y="2060480"/>
                  <a:pt x="5603122" y="2058915"/>
                </a:cubicBezTo>
                <a:cubicBezTo>
                  <a:pt x="5603122" y="2058915"/>
                  <a:pt x="5603976" y="2058631"/>
                  <a:pt x="5603976" y="2058631"/>
                </a:cubicBezTo>
                <a:close/>
                <a:moveTo>
                  <a:pt x="1099369" y="2058594"/>
                </a:moveTo>
                <a:cubicBezTo>
                  <a:pt x="1100298" y="2060762"/>
                  <a:pt x="1101434" y="2061382"/>
                  <a:pt x="1100608" y="2061537"/>
                </a:cubicBezTo>
                <a:cubicBezTo>
                  <a:pt x="1100918" y="2062311"/>
                  <a:pt x="1100092" y="2062621"/>
                  <a:pt x="1099782" y="2061847"/>
                </a:cubicBezTo>
                <a:cubicBezTo>
                  <a:pt x="1098750" y="2061692"/>
                  <a:pt x="1098543" y="2061227"/>
                  <a:pt x="1098646" y="2060453"/>
                </a:cubicBezTo>
                <a:cubicBezTo>
                  <a:pt x="1098750" y="2059833"/>
                  <a:pt x="1099059" y="2059059"/>
                  <a:pt x="1099369" y="2058594"/>
                </a:cubicBezTo>
                <a:close/>
                <a:moveTo>
                  <a:pt x="4729381" y="2058346"/>
                </a:moveTo>
                <a:lnTo>
                  <a:pt x="4731302" y="2060337"/>
                </a:lnTo>
                <a:cubicBezTo>
                  <a:pt x="4731729" y="2061476"/>
                  <a:pt x="4731942" y="2062756"/>
                  <a:pt x="4731942" y="2064036"/>
                </a:cubicBezTo>
                <a:cubicBezTo>
                  <a:pt x="4730876" y="2064748"/>
                  <a:pt x="4730876" y="2064748"/>
                  <a:pt x="4729381" y="2064321"/>
                </a:cubicBezTo>
                <a:cubicBezTo>
                  <a:pt x="4728528" y="2064890"/>
                  <a:pt x="4728314" y="2059484"/>
                  <a:pt x="4727674" y="2058488"/>
                </a:cubicBezTo>
                <a:cubicBezTo>
                  <a:pt x="4728741" y="2057919"/>
                  <a:pt x="4728741" y="2057919"/>
                  <a:pt x="4729168" y="2058915"/>
                </a:cubicBezTo>
                <a:close/>
                <a:moveTo>
                  <a:pt x="5548913" y="2057634"/>
                </a:moveTo>
                <a:cubicBezTo>
                  <a:pt x="5549767" y="2058061"/>
                  <a:pt x="5550621" y="2059057"/>
                  <a:pt x="5551048" y="2060480"/>
                </a:cubicBezTo>
                <a:cubicBezTo>
                  <a:pt x="5552008" y="2062543"/>
                  <a:pt x="5552542" y="2065353"/>
                  <a:pt x="5552782" y="2068109"/>
                </a:cubicBezTo>
                <a:lnTo>
                  <a:pt x="5552768" y="2072005"/>
                </a:lnTo>
                <a:lnTo>
                  <a:pt x="5552755" y="2072004"/>
                </a:lnTo>
                <a:lnTo>
                  <a:pt x="5552768" y="2072016"/>
                </a:lnTo>
                <a:lnTo>
                  <a:pt x="5552755" y="2075418"/>
                </a:lnTo>
                <a:cubicBezTo>
                  <a:pt x="5548913" y="2073569"/>
                  <a:pt x="5548060" y="2062472"/>
                  <a:pt x="5548913" y="2057634"/>
                </a:cubicBezTo>
                <a:close/>
                <a:moveTo>
                  <a:pt x="4829262" y="2057492"/>
                </a:moveTo>
                <a:cubicBezTo>
                  <a:pt x="4830756" y="2057777"/>
                  <a:pt x="4832036" y="2057777"/>
                  <a:pt x="4832677" y="2057634"/>
                </a:cubicBezTo>
                <a:cubicBezTo>
                  <a:pt x="4833317" y="2057634"/>
                  <a:pt x="4833531" y="2057634"/>
                  <a:pt x="4833531" y="2058204"/>
                </a:cubicBezTo>
                <a:cubicBezTo>
                  <a:pt x="4834598" y="2058346"/>
                  <a:pt x="4834598" y="2059626"/>
                  <a:pt x="4833531" y="2059484"/>
                </a:cubicBezTo>
                <a:cubicBezTo>
                  <a:pt x="4832250" y="2061618"/>
                  <a:pt x="4830116" y="2058915"/>
                  <a:pt x="4829262" y="2057492"/>
                </a:cubicBezTo>
                <a:close/>
                <a:moveTo>
                  <a:pt x="4729381" y="2057492"/>
                </a:moveTo>
                <a:lnTo>
                  <a:pt x="4729381" y="2058346"/>
                </a:lnTo>
                <a:lnTo>
                  <a:pt x="4728741" y="2057919"/>
                </a:lnTo>
                <a:cubicBezTo>
                  <a:pt x="4729168" y="2057634"/>
                  <a:pt x="4729381" y="2057350"/>
                  <a:pt x="4729381" y="2057492"/>
                </a:cubicBezTo>
                <a:close/>
                <a:moveTo>
                  <a:pt x="5695960" y="2057065"/>
                </a:moveTo>
                <a:cubicBezTo>
                  <a:pt x="5696600" y="2057208"/>
                  <a:pt x="5697027" y="2057492"/>
                  <a:pt x="5697667" y="2058061"/>
                </a:cubicBezTo>
                <a:cubicBezTo>
                  <a:pt x="5700015" y="2059342"/>
                  <a:pt x="5698947" y="2061760"/>
                  <a:pt x="5701295" y="2064179"/>
                </a:cubicBezTo>
                <a:cubicBezTo>
                  <a:pt x="5706204" y="2068020"/>
                  <a:pt x="5712820" y="2058773"/>
                  <a:pt x="5722424" y="2066313"/>
                </a:cubicBezTo>
                <a:cubicBezTo>
                  <a:pt x="5720289" y="2068589"/>
                  <a:pt x="5725198" y="2074849"/>
                  <a:pt x="5721784" y="2078264"/>
                </a:cubicBezTo>
                <a:lnTo>
                  <a:pt x="5719436" y="2080683"/>
                </a:lnTo>
                <a:lnTo>
                  <a:pt x="5722210" y="2081109"/>
                </a:lnTo>
                <a:cubicBezTo>
                  <a:pt x="5720716" y="2090498"/>
                  <a:pt x="5715808" y="2100742"/>
                  <a:pt x="5714527" y="2103018"/>
                </a:cubicBezTo>
                <a:cubicBezTo>
                  <a:pt x="5714101" y="2104156"/>
                  <a:pt x="5713460" y="2104725"/>
                  <a:pt x="5712606" y="2104725"/>
                </a:cubicBezTo>
                <a:cubicBezTo>
                  <a:pt x="5711966" y="2104725"/>
                  <a:pt x="5711113" y="2104441"/>
                  <a:pt x="5709832" y="2103730"/>
                </a:cubicBezTo>
                <a:cubicBezTo>
                  <a:pt x="5708978" y="2102307"/>
                  <a:pt x="5708765" y="2101026"/>
                  <a:pt x="5708551" y="2099888"/>
                </a:cubicBezTo>
                <a:lnTo>
                  <a:pt x="5707698" y="2100315"/>
                </a:lnTo>
                <a:lnTo>
                  <a:pt x="5707698" y="2100742"/>
                </a:lnTo>
                <a:cubicBezTo>
                  <a:pt x="5706417" y="2105152"/>
                  <a:pt x="5704070" y="2109136"/>
                  <a:pt x="5703430" y="2110843"/>
                </a:cubicBezTo>
                <a:cubicBezTo>
                  <a:pt x="5703430" y="2110843"/>
                  <a:pt x="5703430" y="2111981"/>
                  <a:pt x="5702362" y="2113119"/>
                </a:cubicBezTo>
                <a:cubicBezTo>
                  <a:pt x="5701295" y="2115538"/>
                  <a:pt x="5700015" y="2111839"/>
                  <a:pt x="5698947" y="2112977"/>
                </a:cubicBezTo>
                <a:lnTo>
                  <a:pt x="5699161" y="2104156"/>
                </a:lnTo>
                <a:lnTo>
                  <a:pt x="5692118" y="2103730"/>
                </a:lnTo>
                <a:cubicBezTo>
                  <a:pt x="5688490" y="2096901"/>
                  <a:pt x="5693612" y="2087938"/>
                  <a:pt x="5699374" y="2082389"/>
                </a:cubicBezTo>
                <a:lnTo>
                  <a:pt x="5700015" y="2081820"/>
                </a:lnTo>
                <a:lnTo>
                  <a:pt x="5699374" y="2081678"/>
                </a:lnTo>
                <a:cubicBezTo>
                  <a:pt x="5697880" y="2082531"/>
                  <a:pt x="5696813" y="2086089"/>
                  <a:pt x="5694252" y="2084239"/>
                </a:cubicBezTo>
                <a:cubicBezTo>
                  <a:pt x="5688704" y="2079401"/>
                  <a:pt x="5690197" y="2071008"/>
                  <a:pt x="5691478" y="2066598"/>
                </a:cubicBezTo>
                <a:lnTo>
                  <a:pt x="5692118" y="2064036"/>
                </a:lnTo>
                <a:lnTo>
                  <a:pt x="5690838" y="2064036"/>
                </a:lnTo>
                <a:lnTo>
                  <a:pt x="5692118" y="2062898"/>
                </a:lnTo>
                <a:lnTo>
                  <a:pt x="5692118" y="2062614"/>
                </a:lnTo>
                <a:cubicBezTo>
                  <a:pt x="5693185" y="2062614"/>
                  <a:pt x="5693185" y="2061333"/>
                  <a:pt x="5691904" y="2061333"/>
                </a:cubicBezTo>
                <a:cubicBezTo>
                  <a:pt x="5692972" y="2059626"/>
                  <a:pt x="5693826" y="2058204"/>
                  <a:pt x="5694679" y="2057492"/>
                </a:cubicBezTo>
                <a:cubicBezTo>
                  <a:pt x="5695106" y="2057208"/>
                  <a:pt x="5695533" y="2057065"/>
                  <a:pt x="5695960" y="2057065"/>
                </a:cubicBezTo>
                <a:close/>
                <a:moveTo>
                  <a:pt x="882944" y="2055806"/>
                </a:moveTo>
                <a:cubicBezTo>
                  <a:pt x="882841" y="2057510"/>
                  <a:pt x="881808" y="2060607"/>
                  <a:pt x="879536" y="2061072"/>
                </a:cubicBezTo>
                <a:cubicBezTo>
                  <a:pt x="879536" y="2061072"/>
                  <a:pt x="879640" y="2061072"/>
                  <a:pt x="878401" y="2061227"/>
                </a:cubicBezTo>
                <a:cubicBezTo>
                  <a:pt x="879743" y="2059214"/>
                  <a:pt x="881396" y="2056580"/>
                  <a:pt x="882944" y="2055806"/>
                </a:cubicBezTo>
                <a:close/>
                <a:moveTo>
                  <a:pt x="4978656" y="2055358"/>
                </a:moveTo>
                <a:cubicBezTo>
                  <a:pt x="4979083" y="2055216"/>
                  <a:pt x="4979509" y="2055216"/>
                  <a:pt x="4979723" y="2055785"/>
                </a:cubicBezTo>
                <a:cubicBezTo>
                  <a:pt x="4980363" y="2056639"/>
                  <a:pt x="4979296" y="2057350"/>
                  <a:pt x="4977802" y="2057065"/>
                </a:cubicBezTo>
                <a:cubicBezTo>
                  <a:pt x="4977802" y="2057065"/>
                  <a:pt x="4977162" y="2056212"/>
                  <a:pt x="4977162" y="2056212"/>
                </a:cubicBezTo>
                <a:cubicBezTo>
                  <a:pt x="4977589" y="2055785"/>
                  <a:pt x="4978229" y="2055500"/>
                  <a:pt x="4978656" y="2055358"/>
                </a:cubicBezTo>
                <a:close/>
                <a:moveTo>
                  <a:pt x="5969137" y="2053509"/>
                </a:moveTo>
                <a:cubicBezTo>
                  <a:pt x="5970631" y="2054078"/>
                  <a:pt x="5972125" y="2054647"/>
                  <a:pt x="5973619" y="2055216"/>
                </a:cubicBezTo>
                <a:lnTo>
                  <a:pt x="5972979" y="2060764"/>
                </a:lnTo>
                <a:lnTo>
                  <a:pt x="5974259" y="2064036"/>
                </a:lnTo>
                <a:cubicBezTo>
                  <a:pt x="5976180" y="2065601"/>
                  <a:pt x="5977460" y="2068873"/>
                  <a:pt x="5977033" y="2071435"/>
                </a:cubicBezTo>
                <a:cubicBezTo>
                  <a:pt x="5975753" y="2074707"/>
                  <a:pt x="5973619" y="2075703"/>
                  <a:pt x="5972338" y="2075276"/>
                </a:cubicBezTo>
                <a:cubicBezTo>
                  <a:pt x="5959746" y="2072572"/>
                  <a:pt x="5960173" y="2060764"/>
                  <a:pt x="5958466" y="2059199"/>
                </a:cubicBezTo>
                <a:cubicBezTo>
                  <a:pt x="5959746" y="2055642"/>
                  <a:pt x="5960173" y="2054647"/>
                  <a:pt x="5963801" y="2055358"/>
                </a:cubicBezTo>
                <a:lnTo>
                  <a:pt x="5967429" y="2056212"/>
                </a:lnTo>
                <a:close/>
                <a:moveTo>
                  <a:pt x="708648" y="2053328"/>
                </a:moveTo>
                <a:cubicBezTo>
                  <a:pt x="709680" y="2053173"/>
                  <a:pt x="710713" y="2053328"/>
                  <a:pt x="711126" y="2053792"/>
                </a:cubicBezTo>
                <a:cubicBezTo>
                  <a:pt x="713707" y="2055651"/>
                  <a:pt x="711952" y="2057974"/>
                  <a:pt x="711023" y="2061072"/>
                </a:cubicBezTo>
                <a:cubicBezTo>
                  <a:pt x="710196" y="2060298"/>
                  <a:pt x="709267" y="2060918"/>
                  <a:pt x="708441" y="2061692"/>
                </a:cubicBezTo>
                <a:cubicBezTo>
                  <a:pt x="707099" y="2060298"/>
                  <a:pt x="704930" y="2058440"/>
                  <a:pt x="705344" y="2056271"/>
                </a:cubicBezTo>
                <a:cubicBezTo>
                  <a:pt x="705447" y="2055651"/>
                  <a:pt x="705963" y="2054876"/>
                  <a:pt x="706789" y="2054102"/>
                </a:cubicBezTo>
                <a:cubicBezTo>
                  <a:pt x="706789" y="2053637"/>
                  <a:pt x="707718" y="2053328"/>
                  <a:pt x="708648" y="2053328"/>
                </a:cubicBezTo>
                <a:close/>
                <a:moveTo>
                  <a:pt x="4984418" y="2052655"/>
                </a:moveTo>
                <a:cubicBezTo>
                  <a:pt x="4984418" y="2052655"/>
                  <a:pt x="4984205" y="2054220"/>
                  <a:pt x="4984205" y="2054220"/>
                </a:cubicBezTo>
                <a:cubicBezTo>
                  <a:pt x="4982497" y="2053936"/>
                  <a:pt x="4983137" y="2054932"/>
                  <a:pt x="4981857" y="2053082"/>
                </a:cubicBezTo>
                <a:cubicBezTo>
                  <a:pt x="4983564" y="2053367"/>
                  <a:pt x="4983564" y="2053367"/>
                  <a:pt x="4984418" y="2052655"/>
                </a:cubicBezTo>
                <a:close/>
                <a:moveTo>
                  <a:pt x="5013657" y="2051802"/>
                </a:moveTo>
                <a:cubicBezTo>
                  <a:pt x="5015791" y="2055785"/>
                  <a:pt x="5016858" y="2057208"/>
                  <a:pt x="5017712" y="2059769"/>
                </a:cubicBezTo>
                <a:cubicBezTo>
                  <a:pt x="5018779" y="2059911"/>
                  <a:pt x="5020059" y="2060195"/>
                  <a:pt x="5021126" y="2061476"/>
                </a:cubicBezTo>
                <a:cubicBezTo>
                  <a:pt x="5023047" y="2064321"/>
                  <a:pt x="5021767" y="2066598"/>
                  <a:pt x="5022833" y="2069158"/>
                </a:cubicBezTo>
                <a:cubicBezTo>
                  <a:pt x="5021553" y="2070154"/>
                  <a:pt x="5019205" y="2071008"/>
                  <a:pt x="5017285" y="2068162"/>
                </a:cubicBezTo>
                <a:cubicBezTo>
                  <a:pt x="5014083" y="2065175"/>
                  <a:pt x="5014083" y="2061618"/>
                  <a:pt x="5015577" y="2058204"/>
                </a:cubicBezTo>
                <a:cubicBezTo>
                  <a:pt x="5014510" y="2055642"/>
                  <a:pt x="5012376" y="2054078"/>
                  <a:pt x="5013657" y="2051802"/>
                </a:cubicBezTo>
                <a:close/>
                <a:moveTo>
                  <a:pt x="4856366" y="2051659"/>
                </a:moveTo>
                <a:cubicBezTo>
                  <a:pt x="4858501" y="2053367"/>
                  <a:pt x="4860421" y="2056212"/>
                  <a:pt x="4862342" y="2059057"/>
                </a:cubicBezTo>
                <a:cubicBezTo>
                  <a:pt x="4857860" y="2066455"/>
                  <a:pt x="4849323" y="2052370"/>
                  <a:pt x="4856366" y="2051659"/>
                </a:cubicBezTo>
                <a:close/>
                <a:moveTo>
                  <a:pt x="888726" y="2051469"/>
                </a:moveTo>
                <a:cubicBezTo>
                  <a:pt x="891411" y="2051004"/>
                  <a:pt x="894509" y="2051779"/>
                  <a:pt x="897297" y="2053017"/>
                </a:cubicBezTo>
                <a:lnTo>
                  <a:pt x="898846" y="2054102"/>
                </a:lnTo>
                <a:lnTo>
                  <a:pt x="899569" y="2054257"/>
                </a:lnTo>
                <a:lnTo>
                  <a:pt x="900394" y="2055186"/>
                </a:lnTo>
                <a:lnTo>
                  <a:pt x="904215" y="2057664"/>
                </a:lnTo>
                <a:cubicBezTo>
                  <a:pt x="904525" y="2061692"/>
                  <a:pt x="903286" y="2064170"/>
                  <a:pt x="901427" y="2065564"/>
                </a:cubicBezTo>
                <a:cubicBezTo>
                  <a:pt x="895645" y="2069592"/>
                  <a:pt x="883151" y="2062931"/>
                  <a:pt x="883977" y="2053792"/>
                </a:cubicBezTo>
                <a:cubicBezTo>
                  <a:pt x="885319" y="2052398"/>
                  <a:pt x="886868" y="2051624"/>
                  <a:pt x="888726" y="2051469"/>
                </a:cubicBezTo>
                <a:close/>
                <a:moveTo>
                  <a:pt x="5604829" y="2051090"/>
                </a:moveTo>
                <a:cubicBezTo>
                  <a:pt x="5604616" y="2054932"/>
                  <a:pt x="5604403" y="2055074"/>
                  <a:pt x="5602909" y="2058204"/>
                </a:cubicBezTo>
                <a:cubicBezTo>
                  <a:pt x="5602482" y="2057065"/>
                  <a:pt x="5600988" y="2055074"/>
                  <a:pt x="5601628" y="2053509"/>
                </a:cubicBezTo>
                <a:cubicBezTo>
                  <a:pt x="5602482" y="2051944"/>
                  <a:pt x="5602482" y="2051944"/>
                  <a:pt x="5604829" y="2051090"/>
                </a:cubicBezTo>
                <a:close/>
                <a:moveTo>
                  <a:pt x="4908441" y="2050095"/>
                </a:moveTo>
                <a:cubicBezTo>
                  <a:pt x="4911002" y="2050663"/>
                  <a:pt x="4912069" y="2053367"/>
                  <a:pt x="4914630" y="2056781"/>
                </a:cubicBezTo>
                <a:cubicBezTo>
                  <a:pt x="4913136" y="2057208"/>
                  <a:pt x="4914843" y="2062187"/>
                  <a:pt x="4915483" y="2063894"/>
                </a:cubicBezTo>
                <a:cubicBezTo>
                  <a:pt x="4912283" y="2064748"/>
                  <a:pt x="4913563" y="2070723"/>
                  <a:pt x="4908868" y="2072004"/>
                </a:cubicBezTo>
                <a:cubicBezTo>
                  <a:pt x="4906733" y="2070865"/>
                  <a:pt x="4905666" y="2070154"/>
                  <a:pt x="4903959" y="2067878"/>
                </a:cubicBezTo>
                <a:cubicBezTo>
                  <a:pt x="4900544" y="2055216"/>
                  <a:pt x="4906093" y="2051944"/>
                  <a:pt x="4905453" y="2050237"/>
                </a:cubicBezTo>
                <a:cubicBezTo>
                  <a:pt x="4906733" y="2049952"/>
                  <a:pt x="4907587" y="2049810"/>
                  <a:pt x="4908441" y="2050095"/>
                </a:cubicBezTo>
                <a:close/>
                <a:moveTo>
                  <a:pt x="4953472" y="2049383"/>
                </a:moveTo>
                <a:cubicBezTo>
                  <a:pt x="4956033" y="2049667"/>
                  <a:pt x="4958595" y="2051232"/>
                  <a:pt x="4960942" y="2053367"/>
                </a:cubicBezTo>
                <a:lnTo>
                  <a:pt x="4963716" y="2056923"/>
                </a:lnTo>
                <a:lnTo>
                  <a:pt x="4964783" y="2056496"/>
                </a:lnTo>
                <a:cubicBezTo>
                  <a:pt x="4967131" y="2055500"/>
                  <a:pt x="4969479" y="2054789"/>
                  <a:pt x="4971613" y="2055074"/>
                </a:cubicBezTo>
                <a:cubicBezTo>
                  <a:pt x="4972253" y="2055358"/>
                  <a:pt x="4973107" y="2055500"/>
                  <a:pt x="4973534" y="2056069"/>
                </a:cubicBezTo>
                <a:lnTo>
                  <a:pt x="4973321" y="2056923"/>
                </a:lnTo>
                <a:lnTo>
                  <a:pt x="4973747" y="2056781"/>
                </a:lnTo>
                <a:cubicBezTo>
                  <a:pt x="4974601" y="2056781"/>
                  <a:pt x="4975454" y="2057065"/>
                  <a:pt x="4976949" y="2057492"/>
                </a:cubicBezTo>
                <a:cubicBezTo>
                  <a:pt x="4976095" y="2058061"/>
                  <a:pt x="4974814" y="2060337"/>
                  <a:pt x="4973107" y="2059911"/>
                </a:cubicBezTo>
                <a:lnTo>
                  <a:pt x="4972894" y="2059769"/>
                </a:lnTo>
                <a:lnTo>
                  <a:pt x="4972040" y="2061903"/>
                </a:lnTo>
                <a:cubicBezTo>
                  <a:pt x="4971186" y="2062329"/>
                  <a:pt x="4969906" y="2062187"/>
                  <a:pt x="4967771" y="2061903"/>
                </a:cubicBezTo>
                <a:lnTo>
                  <a:pt x="4972680" y="2071435"/>
                </a:lnTo>
                <a:cubicBezTo>
                  <a:pt x="4973747" y="2074564"/>
                  <a:pt x="4974814" y="2077267"/>
                  <a:pt x="4975028" y="2079259"/>
                </a:cubicBezTo>
                <a:cubicBezTo>
                  <a:pt x="4966491" y="2072431"/>
                  <a:pt x="4952619" y="2060622"/>
                  <a:pt x="4949204" y="2050095"/>
                </a:cubicBezTo>
                <a:cubicBezTo>
                  <a:pt x="4950698" y="2049383"/>
                  <a:pt x="4952192" y="2049241"/>
                  <a:pt x="4953472" y="2049383"/>
                </a:cubicBezTo>
                <a:close/>
                <a:moveTo>
                  <a:pt x="6046395" y="2049098"/>
                </a:moveTo>
                <a:cubicBezTo>
                  <a:pt x="6048529" y="2050805"/>
                  <a:pt x="6050877" y="2050095"/>
                  <a:pt x="6052584" y="2054078"/>
                </a:cubicBezTo>
                <a:cubicBezTo>
                  <a:pt x="6050237" y="2055927"/>
                  <a:pt x="6047676" y="2056639"/>
                  <a:pt x="6045328" y="2058346"/>
                </a:cubicBezTo>
                <a:cubicBezTo>
                  <a:pt x="6041059" y="2055074"/>
                  <a:pt x="6043834" y="2052086"/>
                  <a:pt x="6046395" y="2049098"/>
                </a:cubicBezTo>
                <a:close/>
                <a:moveTo>
                  <a:pt x="5783035" y="2048387"/>
                </a:moveTo>
                <a:cubicBezTo>
                  <a:pt x="5784315" y="2047960"/>
                  <a:pt x="5785383" y="2047818"/>
                  <a:pt x="5786023" y="2048529"/>
                </a:cubicBezTo>
                <a:cubicBezTo>
                  <a:pt x="5788157" y="2051232"/>
                  <a:pt x="5789224" y="2054789"/>
                  <a:pt x="5788157" y="2055785"/>
                </a:cubicBezTo>
                <a:cubicBezTo>
                  <a:pt x="5786450" y="2057350"/>
                  <a:pt x="5784529" y="2058915"/>
                  <a:pt x="5782395" y="2057919"/>
                </a:cubicBezTo>
                <a:cubicBezTo>
                  <a:pt x="5781541" y="2057634"/>
                  <a:pt x="5780687" y="2057065"/>
                  <a:pt x="5780047" y="2056069"/>
                </a:cubicBezTo>
                <a:cubicBezTo>
                  <a:pt x="5780047" y="2056069"/>
                  <a:pt x="5780047" y="2056069"/>
                  <a:pt x="5780047" y="2054789"/>
                </a:cubicBezTo>
                <a:cubicBezTo>
                  <a:pt x="5780047" y="2052513"/>
                  <a:pt x="5780047" y="2051375"/>
                  <a:pt x="5780047" y="2050095"/>
                </a:cubicBezTo>
                <a:cubicBezTo>
                  <a:pt x="5780687" y="2049667"/>
                  <a:pt x="5781968" y="2048956"/>
                  <a:pt x="5783035" y="2048387"/>
                </a:cubicBezTo>
                <a:close/>
                <a:moveTo>
                  <a:pt x="5181618" y="2048245"/>
                </a:moveTo>
                <a:cubicBezTo>
                  <a:pt x="5183539" y="2048387"/>
                  <a:pt x="5187167" y="2051944"/>
                  <a:pt x="5188448" y="2054362"/>
                </a:cubicBezTo>
                <a:cubicBezTo>
                  <a:pt x="5188874" y="2055074"/>
                  <a:pt x="5189088" y="2055785"/>
                  <a:pt x="5188874" y="2056212"/>
                </a:cubicBezTo>
                <a:cubicBezTo>
                  <a:pt x="5186100" y="2055500"/>
                  <a:pt x="5180978" y="2054504"/>
                  <a:pt x="5179057" y="2052228"/>
                </a:cubicBezTo>
                <a:cubicBezTo>
                  <a:pt x="5178417" y="2051375"/>
                  <a:pt x="5178203" y="2050521"/>
                  <a:pt x="5178417" y="2049525"/>
                </a:cubicBezTo>
                <a:cubicBezTo>
                  <a:pt x="5179270" y="2047960"/>
                  <a:pt x="5180551" y="2048672"/>
                  <a:pt x="5181618" y="2048245"/>
                </a:cubicBezTo>
                <a:close/>
                <a:moveTo>
                  <a:pt x="815311" y="2048061"/>
                </a:moveTo>
                <a:cubicBezTo>
                  <a:pt x="817790" y="2048371"/>
                  <a:pt x="822333" y="2051624"/>
                  <a:pt x="822229" y="2055806"/>
                </a:cubicBezTo>
                <a:cubicBezTo>
                  <a:pt x="817893" y="2059523"/>
                  <a:pt x="814692" y="2058284"/>
                  <a:pt x="812214" y="2053637"/>
                </a:cubicBezTo>
                <a:cubicBezTo>
                  <a:pt x="813453" y="2052088"/>
                  <a:pt x="813866" y="2050384"/>
                  <a:pt x="815311" y="2048061"/>
                </a:cubicBezTo>
                <a:close/>
                <a:moveTo>
                  <a:pt x="5284700" y="2047106"/>
                </a:moveTo>
                <a:cubicBezTo>
                  <a:pt x="5286620" y="2047106"/>
                  <a:pt x="5288542" y="2047960"/>
                  <a:pt x="5290462" y="2051375"/>
                </a:cubicBezTo>
                <a:cubicBezTo>
                  <a:pt x="5289608" y="2058488"/>
                  <a:pt x="5280004" y="2061191"/>
                  <a:pt x="5275096" y="2053936"/>
                </a:cubicBezTo>
                <a:cubicBezTo>
                  <a:pt x="5276590" y="2051802"/>
                  <a:pt x="5276803" y="2049383"/>
                  <a:pt x="5278297" y="2047249"/>
                </a:cubicBezTo>
                <a:cubicBezTo>
                  <a:pt x="5280645" y="2047818"/>
                  <a:pt x="5282779" y="2047106"/>
                  <a:pt x="5284700" y="2047106"/>
                </a:cubicBezTo>
                <a:close/>
                <a:moveTo>
                  <a:pt x="6142220" y="2046538"/>
                </a:moveTo>
                <a:cubicBezTo>
                  <a:pt x="6143288" y="2045968"/>
                  <a:pt x="6143715" y="2046964"/>
                  <a:pt x="6144781" y="2046538"/>
                </a:cubicBezTo>
                <a:cubicBezTo>
                  <a:pt x="6144781" y="2046538"/>
                  <a:pt x="6145208" y="2047533"/>
                  <a:pt x="6145208" y="2047533"/>
                </a:cubicBezTo>
                <a:cubicBezTo>
                  <a:pt x="6145635" y="2047249"/>
                  <a:pt x="6145635" y="2047249"/>
                  <a:pt x="6145422" y="2047675"/>
                </a:cubicBezTo>
                <a:cubicBezTo>
                  <a:pt x="6145422" y="2048103"/>
                  <a:pt x="6144995" y="2048814"/>
                  <a:pt x="6144995" y="2050095"/>
                </a:cubicBezTo>
                <a:cubicBezTo>
                  <a:pt x="6144355" y="2051659"/>
                  <a:pt x="6144781" y="2052797"/>
                  <a:pt x="6143288" y="2052228"/>
                </a:cubicBezTo>
                <a:cubicBezTo>
                  <a:pt x="6142007" y="2051659"/>
                  <a:pt x="6142007" y="2051659"/>
                  <a:pt x="6140727" y="2048529"/>
                </a:cubicBezTo>
                <a:cubicBezTo>
                  <a:pt x="6142220" y="2049098"/>
                  <a:pt x="6142220" y="2048956"/>
                  <a:pt x="6142647" y="2047533"/>
                </a:cubicBezTo>
                <a:cubicBezTo>
                  <a:pt x="6142647" y="2047533"/>
                  <a:pt x="6142647" y="2047533"/>
                  <a:pt x="6142220" y="2046538"/>
                </a:cubicBezTo>
                <a:close/>
                <a:moveTo>
                  <a:pt x="1033182" y="2046357"/>
                </a:moveTo>
                <a:cubicBezTo>
                  <a:pt x="1033801" y="2046202"/>
                  <a:pt x="1034111" y="2046512"/>
                  <a:pt x="1034421" y="2046822"/>
                </a:cubicBezTo>
                <a:cubicBezTo>
                  <a:pt x="1034628" y="2047287"/>
                  <a:pt x="1034834" y="2047906"/>
                  <a:pt x="1035040" y="2048526"/>
                </a:cubicBezTo>
                <a:lnTo>
                  <a:pt x="1035247" y="2049455"/>
                </a:lnTo>
                <a:lnTo>
                  <a:pt x="1037003" y="2048526"/>
                </a:lnTo>
                <a:cubicBezTo>
                  <a:pt x="1040720" y="2050229"/>
                  <a:pt x="1042682" y="2052398"/>
                  <a:pt x="1043404" y="2054567"/>
                </a:cubicBezTo>
                <a:cubicBezTo>
                  <a:pt x="1045572" y="2061227"/>
                  <a:pt x="1036280" y="2068197"/>
                  <a:pt x="1028226" y="2063241"/>
                </a:cubicBezTo>
                <a:cubicBezTo>
                  <a:pt x="1027813" y="2062157"/>
                  <a:pt x="1027606" y="2061072"/>
                  <a:pt x="1027710" y="2059988"/>
                </a:cubicBezTo>
                <a:cubicBezTo>
                  <a:pt x="1027916" y="2056426"/>
                  <a:pt x="1030394" y="2052708"/>
                  <a:pt x="1033182" y="2050384"/>
                </a:cubicBezTo>
                <a:lnTo>
                  <a:pt x="1034731" y="2049610"/>
                </a:lnTo>
                <a:close/>
                <a:moveTo>
                  <a:pt x="5217899" y="2045684"/>
                </a:moveTo>
                <a:cubicBezTo>
                  <a:pt x="5218753" y="2048956"/>
                  <a:pt x="5220247" y="2050948"/>
                  <a:pt x="5221101" y="2054078"/>
                </a:cubicBezTo>
                <a:cubicBezTo>
                  <a:pt x="5218540" y="2061191"/>
                  <a:pt x="5213418" y="2062472"/>
                  <a:pt x="5209790" y="2060480"/>
                </a:cubicBezTo>
                <a:cubicBezTo>
                  <a:pt x="5206161" y="2058488"/>
                  <a:pt x="5203814" y="2053082"/>
                  <a:pt x="5207015" y="2047106"/>
                </a:cubicBezTo>
                <a:cubicBezTo>
                  <a:pt x="5211710" y="2045400"/>
                  <a:pt x="5215338" y="2045826"/>
                  <a:pt x="5217899" y="2045684"/>
                </a:cubicBezTo>
                <a:close/>
                <a:moveTo>
                  <a:pt x="1133134" y="2044963"/>
                </a:moveTo>
                <a:cubicBezTo>
                  <a:pt x="1133547" y="2045583"/>
                  <a:pt x="1134270" y="2045118"/>
                  <a:pt x="1134786" y="2045738"/>
                </a:cubicBezTo>
                <a:cubicBezTo>
                  <a:pt x="1136438" y="2046667"/>
                  <a:pt x="1136541" y="2046667"/>
                  <a:pt x="1136232" y="2047906"/>
                </a:cubicBezTo>
                <a:cubicBezTo>
                  <a:pt x="1135922" y="2048990"/>
                  <a:pt x="1133134" y="2049920"/>
                  <a:pt x="1132824" y="2051159"/>
                </a:cubicBezTo>
                <a:cubicBezTo>
                  <a:pt x="1132824" y="2051159"/>
                  <a:pt x="1132721" y="2051159"/>
                  <a:pt x="1131069" y="2050229"/>
                </a:cubicBezTo>
                <a:cubicBezTo>
                  <a:pt x="1130553" y="2049610"/>
                  <a:pt x="1130139" y="2048836"/>
                  <a:pt x="1130449" y="2047597"/>
                </a:cubicBezTo>
                <a:cubicBezTo>
                  <a:pt x="1130759" y="2046512"/>
                  <a:pt x="1132308" y="2045428"/>
                  <a:pt x="1133134" y="2044963"/>
                </a:cubicBezTo>
                <a:close/>
                <a:moveTo>
                  <a:pt x="4709747" y="2043408"/>
                </a:moveTo>
                <a:cubicBezTo>
                  <a:pt x="4711027" y="2044830"/>
                  <a:pt x="4711027" y="2044830"/>
                  <a:pt x="4709747" y="2044688"/>
                </a:cubicBezTo>
                <a:cubicBezTo>
                  <a:pt x="4711027" y="2047249"/>
                  <a:pt x="4711241" y="2048529"/>
                  <a:pt x="4711241" y="2049667"/>
                </a:cubicBezTo>
                <a:cubicBezTo>
                  <a:pt x="4710174" y="2050948"/>
                  <a:pt x="4707826" y="2050805"/>
                  <a:pt x="4705265" y="2049383"/>
                </a:cubicBezTo>
                <a:cubicBezTo>
                  <a:pt x="4706546" y="2048245"/>
                  <a:pt x="4705265" y="2045684"/>
                  <a:pt x="4706332" y="2044546"/>
                </a:cubicBezTo>
                <a:cubicBezTo>
                  <a:pt x="4706332" y="2044546"/>
                  <a:pt x="4709747" y="2043408"/>
                  <a:pt x="4709747" y="2043408"/>
                </a:cubicBezTo>
                <a:close/>
                <a:moveTo>
                  <a:pt x="5836390" y="2041985"/>
                </a:moveTo>
                <a:cubicBezTo>
                  <a:pt x="5836390" y="2041985"/>
                  <a:pt x="5836603" y="2042411"/>
                  <a:pt x="5836817" y="2042696"/>
                </a:cubicBezTo>
                <a:cubicBezTo>
                  <a:pt x="5836817" y="2043123"/>
                  <a:pt x="5836817" y="2043692"/>
                  <a:pt x="5836390" y="2044119"/>
                </a:cubicBezTo>
                <a:cubicBezTo>
                  <a:pt x="5836390" y="2044119"/>
                  <a:pt x="5836390" y="2044119"/>
                  <a:pt x="5835323" y="2043977"/>
                </a:cubicBezTo>
                <a:cubicBezTo>
                  <a:pt x="5835323" y="2043977"/>
                  <a:pt x="5835323" y="2042838"/>
                  <a:pt x="5836390" y="2041985"/>
                </a:cubicBezTo>
                <a:close/>
                <a:moveTo>
                  <a:pt x="5864561" y="2041558"/>
                </a:moveTo>
                <a:cubicBezTo>
                  <a:pt x="5866695" y="2041558"/>
                  <a:pt x="5868830" y="2041843"/>
                  <a:pt x="5871177" y="2042269"/>
                </a:cubicBezTo>
                <a:cubicBezTo>
                  <a:pt x="5877793" y="2044119"/>
                  <a:pt x="5882702" y="2048529"/>
                  <a:pt x="5887611" y="2053651"/>
                </a:cubicBezTo>
                <a:lnTo>
                  <a:pt x="5891025" y="2057208"/>
                </a:lnTo>
                <a:lnTo>
                  <a:pt x="5892733" y="2057634"/>
                </a:lnTo>
                <a:cubicBezTo>
                  <a:pt x="5894440" y="2058061"/>
                  <a:pt x="5895934" y="2058631"/>
                  <a:pt x="5896788" y="2059484"/>
                </a:cubicBezTo>
                <a:cubicBezTo>
                  <a:pt x="5897428" y="2060053"/>
                  <a:pt x="5897641" y="2060764"/>
                  <a:pt x="5897428" y="2061476"/>
                </a:cubicBezTo>
                <a:lnTo>
                  <a:pt x="5894440" y="2061049"/>
                </a:lnTo>
                <a:lnTo>
                  <a:pt x="5895507" y="2061903"/>
                </a:lnTo>
                <a:cubicBezTo>
                  <a:pt x="5898282" y="2064748"/>
                  <a:pt x="5901270" y="2067736"/>
                  <a:pt x="5904898" y="2070296"/>
                </a:cubicBezTo>
                <a:cubicBezTo>
                  <a:pt x="5898282" y="2070865"/>
                  <a:pt x="5894227" y="2074422"/>
                  <a:pt x="5890599" y="2078548"/>
                </a:cubicBezTo>
                <a:lnTo>
                  <a:pt x="5886970" y="2083243"/>
                </a:lnTo>
                <a:lnTo>
                  <a:pt x="5887824" y="2084239"/>
                </a:lnTo>
                <a:cubicBezTo>
                  <a:pt x="5888037" y="2084523"/>
                  <a:pt x="5888037" y="2084523"/>
                  <a:pt x="5888037" y="2083954"/>
                </a:cubicBezTo>
                <a:cubicBezTo>
                  <a:pt x="5890172" y="2086657"/>
                  <a:pt x="5893587" y="2089503"/>
                  <a:pt x="5892306" y="2091779"/>
                </a:cubicBezTo>
                <a:cubicBezTo>
                  <a:pt x="5889105" y="2094767"/>
                  <a:pt x="5884623" y="2093486"/>
                  <a:pt x="5880354" y="2091210"/>
                </a:cubicBezTo>
                <a:lnTo>
                  <a:pt x="5879928" y="2090925"/>
                </a:lnTo>
                <a:lnTo>
                  <a:pt x="5875873" y="2093059"/>
                </a:lnTo>
                <a:cubicBezTo>
                  <a:pt x="5874165" y="2093629"/>
                  <a:pt x="5872458" y="2093914"/>
                  <a:pt x="5870323" y="2093771"/>
                </a:cubicBezTo>
                <a:lnTo>
                  <a:pt x="5862000" y="2091779"/>
                </a:lnTo>
                <a:lnTo>
                  <a:pt x="5861574" y="2094482"/>
                </a:lnTo>
                <a:cubicBezTo>
                  <a:pt x="5857519" y="2093914"/>
                  <a:pt x="5856451" y="2091779"/>
                  <a:pt x="5856238" y="2089076"/>
                </a:cubicBezTo>
                <a:lnTo>
                  <a:pt x="5856451" y="2088791"/>
                </a:lnTo>
                <a:lnTo>
                  <a:pt x="5851756" y="2084950"/>
                </a:lnTo>
                <a:lnTo>
                  <a:pt x="5849622" y="2093486"/>
                </a:lnTo>
                <a:cubicBezTo>
                  <a:pt x="5848555" y="2096474"/>
                  <a:pt x="5847274" y="2099461"/>
                  <a:pt x="5845994" y="2102023"/>
                </a:cubicBezTo>
                <a:cubicBezTo>
                  <a:pt x="5843646" y="2107429"/>
                  <a:pt x="5840872" y="2112977"/>
                  <a:pt x="5837244" y="2114827"/>
                </a:cubicBezTo>
                <a:lnTo>
                  <a:pt x="5836817" y="2114827"/>
                </a:lnTo>
                <a:lnTo>
                  <a:pt x="5834896" y="2117672"/>
                </a:lnTo>
                <a:cubicBezTo>
                  <a:pt x="5831908" y="2121087"/>
                  <a:pt x="5828280" y="2122793"/>
                  <a:pt x="5825079" y="2117956"/>
                </a:cubicBezTo>
                <a:lnTo>
                  <a:pt x="5829347" y="2111554"/>
                </a:lnTo>
                <a:lnTo>
                  <a:pt x="5826786" y="2109562"/>
                </a:lnTo>
                <a:cubicBezTo>
                  <a:pt x="5825506" y="2106717"/>
                  <a:pt x="5824865" y="2103161"/>
                  <a:pt x="5825292" y="2099461"/>
                </a:cubicBezTo>
                <a:lnTo>
                  <a:pt x="5825719" y="2098039"/>
                </a:lnTo>
                <a:lnTo>
                  <a:pt x="5811420" y="2098466"/>
                </a:lnTo>
                <a:lnTo>
                  <a:pt x="5807365" y="2098893"/>
                </a:lnTo>
                <a:lnTo>
                  <a:pt x="5806724" y="2100173"/>
                </a:lnTo>
                <a:cubicBezTo>
                  <a:pt x="5805444" y="2101311"/>
                  <a:pt x="5804164" y="2102165"/>
                  <a:pt x="5803523" y="2103872"/>
                </a:cubicBezTo>
                <a:cubicBezTo>
                  <a:pt x="5802669" y="2103018"/>
                  <a:pt x="5801389" y="2102023"/>
                  <a:pt x="5800322" y="2100457"/>
                </a:cubicBezTo>
                <a:lnTo>
                  <a:pt x="5800109" y="2099746"/>
                </a:lnTo>
                <a:lnTo>
                  <a:pt x="5799682" y="2099746"/>
                </a:lnTo>
                <a:lnTo>
                  <a:pt x="5799895" y="2099177"/>
                </a:lnTo>
                <a:lnTo>
                  <a:pt x="5799468" y="2097754"/>
                </a:lnTo>
                <a:cubicBezTo>
                  <a:pt x="5799255" y="2096616"/>
                  <a:pt x="5799255" y="2095336"/>
                  <a:pt x="5799682" y="2093914"/>
                </a:cubicBezTo>
                <a:cubicBezTo>
                  <a:pt x="5800322" y="2092206"/>
                  <a:pt x="5800322" y="2092206"/>
                  <a:pt x="5801389" y="2091637"/>
                </a:cubicBezTo>
                <a:cubicBezTo>
                  <a:pt x="5802243" y="2090641"/>
                  <a:pt x="5802883" y="2089645"/>
                  <a:pt x="5803523" y="2088934"/>
                </a:cubicBezTo>
                <a:lnTo>
                  <a:pt x="5804164" y="2088791"/>
                </a:lnTo>
                <a:lnTo>
                  <a:pt x="5804590" y="2086800"/>
                </a:lnTo>
                <a:cubicBezTo>
                  <a:pt x="5805231" y="2082531"/>
                  <a:pt x="5804804" y="2078121"/>
                  <a:pt x="5804590" y="2073853"/>
                </a:cubicBezTo>
                <a:lnTo>
                  <a:pt x="5802243" y="2073711"/>
                </a:lnTo>
                <a:cubicBezTo>
                  <a:pt x="5800322" y="2072715"/>
                  <a:pt x="5798614" y="2071435"/>
                  <a:pt x="5796481" y="2071150"/>
                </a:cubicBezTo>
                <a:cubicBezTo>
                  <a:pt x="5797334" y="2065886"/>
                  <a:pt x="5800322" y="2063183"/>
                  <a:pt x="5803523" y="2062472"/>
                </a:cubicBezTo>
                <a:lnTo>
                  <a:pt x="5806084" y="2062756"/>
                </a:lnTo>
                <a:lnTo>
                  <a:pt x="5806938" y="2060480"/>
                </a:lnTo>
                <a:cubicBezTo>
                  <a:pt x="5807792" y="2058773"/>
                  <a:pt x="5808859" y="2057065"/>
                  <a:pt x="5810353" y="2055500"/>
                </a:cubicBezTo>
                <a:cubicBezTo>
                  <a:pt x="5821451" y="2043408"/>
                  <a:pt x="5836177" y="2045826"/>
                  <a:pt x="5844927" y="2054078"/>
                </a:cubicBezTo>
                <a:lnTo>
                  <a:pt x="5845567" y="2054789"/>
                </a:lnTo>
                <a:lnTo>
                  <a:pt x="5847274" y="2051802"/>
                </a:lnTo>
                <a:lnTo>
                  <a:pt x="5844927" y="2051659"/>
                </a:lnTo>
                <a:cubicBezTo>
                  <a:pt x="5843006" y="2050379"/>
                  <a:pt x="5842152" y="2048103"/>
                  <a:pt x="5843219" y="2044403"/>
                </a:cubicBezTo>
                <a:cubicBezTo>
                  <a:pt x="5844927" y="2043550"/>
                  <a:pt x="5847488" y="2043550"/>
                  <a:pt x="5849836" y="2044119"/>
                </a:cubicBezTo>
                <a:lnTo>
                  <a:pt x="5852183" y="2045826"/>
                </a:lnTo>
                <a:lnTo>
                  <a:pt x="5858799" y="2042127"/>
                </a:lnTo>
                <a:cubicBezTo>
                  <a:pt x="5860720" y="2041701"/>
                  <a:pt x="5862427" y="2041558"/>
                  <a:pt x="5864561" y="2041558"/>
                </a:cubicBezTo>
                <a:close/>
                <a:moveTo>
                  <a:pt x="5773218" y="2041416"/>
                </a:moveTo>
                <a:cubicBezTo>
                  <a:pt x="5774498" y="2042696"/>
                  <a:pt x="5775565" y="2043977"/>
                  <a:pt x="5775992" y="2045400"/>
                </a:cubicBezTo>
                <a:lnTo>
                  <a:pt x="5775992" y="2046538"/>
                </a:lnTo>
                <a:lnTo>
                  <a:pt x="5777059" y="2045542"/>
                </a:lnTo>
                <a:cubicBezTo>
                  <a:pt x="5777486" y="2044688"/>
                  <a:pt x="5777699" y="2043834"/>
                  <a:pt x="5777913" y="2042554"/>
                </a:cubicBezTo>
                <a:cubicBezTo>
                  <a:pt x="5777913" y="2042554"/>
                  <a:pt x="5777913" y="2042554"/>
                  <a:pt x="5781114" y="2041558"/>
                </a:cubicBezTo>
                <a:lnTo>
                  <a:pt x="5782181" y="2042269"/>
                </a:lnTo>
                <a:cubicBezTo>
                  <a:pt x="5782395" y="2042838"/>
                  <a:pt x="5782181" y="2043692"/>
                  <a:pt x="5781541" y="2044830"/>
                </a:cubicBezTo>
                <a:cubicBezTo>
                  <a:pt x="5779620" y="2048529"/>
                  <a:pt x="5774498" y="2053936"/>
                  <a:pt x="5774071" y="2054647"/>
                </a:cubicBezTo>
                <a:cubicBezTo>
                  <a:pt x="5774071" y="2054647"/>
                  <a:pt x="5773431" y="2055642"/>
                  <a:pt x="5772791" y="2056781"/>
                </a:cubicBezTo>
                <a:cubicBezTo>
                  <a:pt x="5771084" y="2057208"/>
                  <a:pt x="5770230" y="2056639"/>
                  <a:pt x="5769589" y="2057634"/>
                </a:cubicBezTo>
                <a:cubicBezTo>
                  <a:pt x="5769163" y="2055216"/>
                  <a:pt x="5769803" y="2053367"/>
                  <a:pt x="5770656" y="2051802"/>
                </a:cubicBezTo>
                <a:lnTo>
                  <a:pt x="5774498" y="2047675"/>
                </a:lnTo>
                <a:lnTo>
                  <a:pt x="5773431" y="2045684"/>
                </a:lnTo>
                <a:cubicBezTo>
                  <a:pt x="5772791" y="2044403"/>
                  <a:pt x="5772791" y="2043123"/>
                  <a:pt x="5773218" y="2041416"/>
                </a:cubicBezTo>
                <a:close/>
                <a:moveTo>
                  <a:pt x="4755632" y="2041416"/>
                </a:moveTo>
                <a:cubicBezTo>
                  <a:pt x="4756699" y="2044688"/>
                  <a:pt x="4757553" y="2047960"/>
                  <a:pt x="4754351" y="2048529"/>
                </a:cubicBezTo>
                <a:cubicBezTo>
                  <a:pt x="4753071" y="2046253"/>
                  <a:pt x="4751364" y="2046538"/>
                  <a:pt x="4751151" y="2042269"/>
                </a:cubicBezTo>
                <a:cubicBezTo>
                  <a:pt x="4752644" y="2041985"/>
                  <a:pt x="4754138" y="2041701"/>
                  <a:pt x="4755632" y="2041416"/>
                </a:cubicBezTo>
                <a:close/>
                <a:moveTo>
                  <a:pt x="5190368" y="2041274"/>
                </a:moveTo>
                <a:cubicBezTo>
                  <a:pt x="5191649" y="2041416"/>
                  <a:pt x="5195064" y="2043123"/>
                  <a:pt x="5195064" y="2041985"/>
                </a:cubicBezTo>
                <a:cubicBezTo>
                  <a:pt x="5197624" y="2045115"/>
                  <a:pt x="5199972" y="2048814"/>
                  <a:pt x="5199972" y="2051802"/>
                </a:cubicBezTo>
                <a:cubicBezTo>
                  <a:pt x="5199972" y="2052797"/>
                  <a:pt x="5199545" y="2053793"/>
                  <a:pt x="5198905" y="2054647"/>
                </a:cubicBezTo>
                <a:cubicBezTo>
                  <a:pt x="5197624" y="2056781"/>
                  <a:pt x="5195490" y="2055216"/>
                  <a:pt x="5193143" y="2052513"/>
                </a:cubicBezTo>
                <a:cubicBezTo>
                  <a:pt x="5187594" y="2047960"/>
                  <a:pt x="5186740" y="2044261"/>
                  <a:pt x="5190368" y="2041274"/>
                </a:cubicBezTo>
                <a:close/>
                <a:moveTo>
                  <a:pt x="5949075" y="2040847"/>
                </a:moveTo>
                <a:cubicBezTo>
                  <a:pt x="5950570" y="2042981"/>
                  <a:pt x="5953984" y="2046538"/>
                  <a:pt x="5954625" y="2049098"/>
                </a:cubicBezTo>
                <a:cubicBezTo>
                  <a:pt x="5954838" y="2049952"/>
                  <a:pt x="5954625" y="2050805"/>
                  <a:pt x="5954198" y="2051232"/>
                </a:cubicBezTo>
                <a:cubicBezTo>
                  <a:pt x="5952063" y="2048529"/>
                  <a:pt x="5947582" y="2045400"/>
                  <a:pt x="5949075" y="2040847"/>
                </a:cubicBezTo>
                <a:close/>
                <a:moveTo>
                  <a:pt x="791150" y="2040626"/>
                </a:moveTo>
                <a:cubicBezTo>
                  <a:pt x="799823" y="2036599"/>
                  <a:pt x="813246" y="2043569"/>
                  <a:pt x="808187" y="2051004"/>
                </a:cubicBezTo>
                <a:cubicBezTo>
                  <a:pt x="807464" y="2051933"/>
                  <a:pt x="806328" y="2053017"/>
                  <a:pt x="804779" y="2054102"/>
                </a:cubicBezTo>
                <a:cubicBezTo>
                  <a:pt x="800029" y="2052398"/>
                  <a:pt x="791253" y="2050694"/>
                  <a:pt x="790840" y="2043879"/>
                </a:cubicBezTo>
                <a:cubicBezTo>
                  <a:pt x="790736" y="2042950"/>
                  <a:pt x="790840" y="2041710"/>
                  <a:pt x="791150" y="2040626"/>
                </a:cubicBezTo>
                <a:close/>
                <a:moveTo>
                  <a:pt x="6000937" y="2040420"/>
                </a:moveTo>
                <a:cubicBezTo>
                  <a:pt x="6002217" y="2040278"/>
                  <a:pt x="6004565" y="2040136"/>
                  <a:pt x="6005845" y="2041274"/>
                </a:cubicBezTo>
                <a:cubicBezTo>
                  <a:pt x="6006912" y="2041131"/>
                  <a:pt x="6006272" y="2044830"/>
                  <a:pt x="6006272" y="2044830"/>
                </a:cubicBezTo>
                <a:cubicBezTo>
                  <a:pt x="6005418" y="2046253"/>
                  <a:pt x="6001577" y="2043977"/>
                  <a:pt x="6000297" y="2044119"/>
                </a:cubicBezTo>
                <a:cubicBezTo>
                  <a:pt x="6000083" y="2042838"/>
                  <a:pt x="6001150" y="2041558"/>
                  <a:pt x="6000937" y="2040420"/>
                </a:cubicBezTo>
                <a:close/>
                <a:moveTo>
                  <a:pt x="5657971" y="2040278"/>
                </a:moveTo>
                <a:cubicBezTo>
                  <a:pt x="5660319" y="2040420"/>
                  <a:pt x="5662666" y="2041843"/>
                  <a:pt x="5663306" y="2043408"/>
                </a:cubicBezTo>
                <a:cubicBezTo>
                  <a:pt x="5662666" y="2051517"/>
                  <a:pt x="5653916" y="2048103"/>
                  <a:pt x="5652635" y="2044830"/>
                </a:cubicBezTo>
                <a:cubicBezTo>
                  <a:pt x="5653063" y="2041274"/>
                  <a:pt x="5655623" y="2040136"/>
                  <a:pt x="5657971" y="2040278"/>
                </a:cubicBezTo>
                <a:close/>
                <a:moveTo>
                  <a:pt x="5989412" y="2039993"/>
                </a:moveTo>
                <a:cubicBezTo>
                  <a:pt x="5990052" y="2039709"/>
                  <a:pt x="5991333" y="2039993"/>
                  <a:pt x="5993254" y="2040989"/>
                </a:cubicBezTo>
                <a:cubicBezTo>
                  <a:pt x="5993254" y="2040989"/>
                  <a:pt x="5993467" y="2042127"/>
                  <a:pt x="5993467" y="2042127"/>
                </a:cubicBezTo>
                <a:cubicBezTo>
                  <a:pt x="5991546" y="2045826"/>
                  <a:pt x="5990266" y="2044546"/>
                  <a:pt x="5987491" y="2042411"/>
                </a:cubicBezTo>
                <a:cubicBezTo>
                  <a:pt x="5987918" y="2041274"/>
                  <a:pt x="5988558" y="2040420"/>
                  <a:pt x="5989412" y="2039993"/>
                </a:cubicBezTo>
                <a:close/>
                <a:moveTo>
                  <a:pt x="5693826" y="2039993"/>
                </a:moveTo>
                <a:cubicBezTo>
                  <a:pt x="5694892" y="2039851"/>
                  <a:pt x="5695960" y="2039993"/>
                  <a:pt x="5697027" y="2040420"/>
                </a:cubicBezTo>
                <a:cubicBezTo>
                  <a:pt x="5701082" y="2040989"/>
                  <a:pt x="5702789" y="2045257"/>
                  <a:pt x="5707271" y="2046964"/>
                </a:cubicBezTo>
                <a:cubicBezTo>
                  <a:pt x="5705777" y="2052797"/>
                  <a:pt x="5705137" y="2054504"/>
                  <a:pt x="5698947" y="2054932"/>
                </a:cubicBezTo>
                <a:cubicBezTo>
                  <a:pt x="5698947" y="2054932"/>
                  <a:pt x="5697454" y="2054362"/>
                  <a:pt x="5697454" y="2054362"/>
                </a:cubicBezTo>
                <a:cubicBezTo>
                  <a:pt x="5691904" y="2053367"/>
                  <a:pt x="5687209" y="2047818"/>
                  <a:pt x="5687423" y="2045115"/>
                </a:cubicBezTo>
                <a:cubicBezTo>
                  <a:pt x="5688490" y="2042696"/>
                  <a:pt x="5690838" y="2040420"/>
                  <a:pt x="5693826" y="2039993"/>
                </a:cubicBezTo>
                <a:close/>
                <a:moveTo>
                  <a:pt x="4993808" y="2039993"/>
                </a:moveTo>
                <a:cubicBezTo>
                  <a:pt x="4999784" y="2039993"/>
                  <a:pt x="5004266" y="2044688"/>
                  <a:pt x="5004906" y="2049952"/>
                </a:cubicBezTo>
                <a:cubicBezTo>
                  <a:pt x="5005120" y="2051659"/>
                  <a:pt x="5004906" y="2053509"/>
                  <a:pt x="5004266" y="2055358"/>
                </a:cubicBezTo>
                <a:cubicBezTo>
                  <a:pt x="5003199" y="2057634"/>
                  <a:pt x="5001065" y="2059769"/>
                  <a:pt x="4998077" y="2061476"/>
                </a:cubicBezTo>
                <a:cubicBezTo>
                  <a:pt x="4995089" y="2062045"/>
                  <a:pt x="4991675" y="2059484"/>
                  <a:pt x="4989113" y="2056069"/>
                </a:cubicBezTo>
                <a:lnTo>
                  <a:pt x="4989113" y="2055927"/>
                </a:lnTo>
                <a:lnTo>
                  <a:pt x="4988900" y="2057350"/>
                </a:lnTo>
                <a:cubicBezTo>
                  <a:pt x="4988260" y="2056639"/>
                  <a:pt x="4988473" y="2056496"/>
                  <a:pt x="4988687" y="2056212"/>
                </a:cubicBezTo>
                <a:lnTo>
                  <a:pt x="4988900" y="2055500"/>
                </a:lnTo>
                <a:lnTo>
                  <a:pt x="4986979" y="2051944"/>
                </a:lnTo>
                <a:lnTo>
                  <a:pt x="4984632" y="2052797"/>
                </a:lnTo>
                <a:lnTo>
                  <a:pt x="4986979" y="2051659"/>
                </a:lnTo>
                <a:lnTo>
                  <a:pt x="4986339" y="2050521"/>
                </a:lnTo>
                <a:cubicBezTo>
                  <a:pt x="4985699" y="2048672"/>
                  <a:pt x="4985699" y="2046964"/>
                  <a:pt x="4986125" y="2045542"/>
                </a:cubicBezTo>
                <a:cubicBezTo>
                  <a:pt x="4988687" y="2043692"/>
                  <a:pt x="4991248" y="2041843"/>
                  <a:pt x="4993808" y="2039993"/>
                </a:cubicBezTo>
                <a:close/>
                <a:moveTo>
                  <a:pt x="4955820" y="2039424"/>
                </a:moveTo>
                <a:cubicBezTo>
                  <a:pt x="4960088" y="2042838"/>
                  <a:pt x="4964357" y="2042127"/>
                  <a:pt x="4966278" y="2044119"/>
                </a:cubicBezTo>
                <a:cubicBezTo>
                  <a:pt x="4966704" y="2044830"/>
                  <a:pt x="4967131" y="2045684"/>
                  <a:pt x="4967131" y="2047249"/>
                </a:cubicBezTo>
                <a:cubicBezTo>
                  <a:pt x="4962650" y="2049810"/>
                  <a:pt x="4955607" y="2044546"/>
                  <a:pt x="4955820" y="2039424"/>
                </a:cubicBezTo>
                <a:close/>
                <a:moveTo>
                  <a:pt x="856097" y="2039232"/>
                </a:moveTo>
                <a:cubicBezTo>
                  <a:pt x="857130" y="2040936"/>
                  <a:pt x="857440" y="2042020"/>
                  <a:pt x="857750" y="2043259"/>
                </a:cubicBezTo>
                <a:cubicBezTo>
                  <a:pt x="858782" y="2044963"/>
                  <a:pt x="858266" y="2045583"/>
                  <a:pt x="855891" y="2046047"/>
                </a:cubicBezTo>
                <a:cubicBezTo>
                  <a:pt x="855375" y="2045273"/>
                  <a:pt x="855065" y="2043724"/>
                  <a:pt x="855065" y="2042330"/>
                </a:cubicBezTo>
                <a:cubicBezTo>
                  <a:pt x="854962" y="2040936"/>
                  <a:pt x="855271" y="2039696"/>
                  <a:pt x="856097" y="2039232"/>
                </a:cubicBezTo>
                <a:close/>
                <a:moveTo>
                  <a:pt x="871560" y="2039019"/>
                </a:moveTo>
                <a:cubicBezTo>
                  <a:pt x="873651" y="2037683"/>
                  <a:pt x="876232" y="2037373"/>
                  <a:pt x="878297" y="2039387"/>
                </a:cubicBezTo>
                <a:cubicBezTo>
                  <a:pt x="879021" y="2041865"/>
                  <a:pt x="879743" y="2044343"/>
                  <a:pt x="877059" y="2047751"/>
                </a:cubicBezTo>
                <a:cubicBezTo>
                  <a:pt x="873548" y="2048681"/>
                  <a:pt x="870966" y="2048061"/>
                  <a:pt x="867765" y="2044808"/>
                </a:cubicBezTo>
                <a:cubicBezTo>
                  <a:pt x="867869" y="2042717"/>
                  <a:pt x="869469" y="2040355"/>
                  <a:pt x="871560" y="2039019"/>
                </a:cubicBezTo>
                <a:close/>
                <a:moveTo>
                  <a:pt x="6305273" y="2038855"/>
                </a:moveTo>
                <a:cubicBezTo>
                  <a:pt x="6307407" y="2038997"/>
                  <a:pt x="6308475" y="2039566"/>
                  <a:pt x="6308901" y="2040705"/>
                </a:cubicBezTo>
                <a:cubicBezTo>
                  <a:pt x="6309115" y="2041843"/>
                  <a:pt x="6308901" y="2043408"/>
                  <a:pt x="6308475" y="2045115"/>
                </a:cubicBezTo>
                <a:cubicBezTo>
                  <a:pt x="6307407" y="2048387"/>
                  <a:pt x="6304847" y="2048672"/>
                  <a:pt x="6304847" y="2048672"/>
                </a:cubicBezTo>
                <a:cubicBezTo>
                  <a:pt x="6300792" y="2048529"/>
                  <a:pt x="6298230" y="2045968"/>
                  <a:pt x="6298657" y="2041558"/>
                </a:cubicBezTo>
                <a:cubicBezTo>
                  <a:pt x="6300151" y="2039282"/>
                  <a:pt x="6302712" y="2039139"/>
                  <a:pt x="6305273" y="2038855"/>
                </a:cubicBezTo>
                <a:close/>
                <a:moveTo>
                  <a:pt x="5017498" y="2038570"/>
                </a:moveTo>
                <a:cubicBezTo>
                  <a:pt x="5016431" y="2040705"/>
                  <a:pt x="5013443" y="2043977"/>
                  <a:pt x="5010242" y="2043266"/>
                </a:cubicBezTo>
                <a:cubicBezTo>
                  <a:pt x="5010242" y="2043266"/>
                  <a:pt x="5010242" y="2043266"/>
                  <a:pt x="5008748" y="2042838"/>
                </a:cubicBezTo>
                <a:cubicBezTo>
                  <a:pt x="5011309" y="2041131"/>
                  <a:pt x="5014937" y="2038713"/>
                  <a:pt x="5017498" y="2038570"/>
                </a:cubicBezTo>
                <a:close/>
                <a:moveTo>
                  <a:pt x="5937764" y="2037717"/>
                </a:moveTo>
                <a:cubicBezTo>
                  <a:pt x="5939045" y="2037432"/>
                  <a:pt x="5940112" y="2037432"/>
                  <a:pt x="5941392" y="2037859"/>
                </a:cubicBezTo>
                <a:cubicBezTo>
                  <a:pt x="5942887" y="2038286"/>
                  <a:pt x="5944380" y="2039139"/>
                  <a:pt x="5945661" y="2040847"/>
                </a:cubicBezTo>
                <a:cubicBezTo>
                  <a:pt x="5943954" y="2043123"/>
                  <a:pt x="5943527" y="2045542"/>
                  <a:pt x="5942032" y="2047960"/>
                </a:cubicBezTo>
                <a:cubicBezTo>
                  <a:pt x="5937764" y="2047533"/>
                  <a:pt x="5933496" y="2052086"/>
                  <a:pt x="5930081" y="2045542"/>
                </a:cubicBezTo>
                <a:cubicBezTo>
                  <a:pt x="5930721" y="2041558"/>
                  <a:pt x="5934136" y="2038428"/>
                  <a:pt x="5937764" y="2037717"/>
                </a:cubicBezTo>
                <a:close/>
                <a:moveTo>
                  <a:pt x="4817951" y="2037290"/>
                </a:moveTo>
                <a:cubicBezTo>
                  <a:pt x="4820939" y="2038570"/>
                  <a:pt x="4822646" y="2041274"/>
                  <a:pt x="4823500" y="2044403"/>
                </a:cubicBezTo>
                <a:lnTo>
                  <a:pt x="4823713" y="2047391"/>
                </a:lnTo>
                <a:lnTo>
                  <a:pt x="4825634" y="2047960"/>
                </a:lnTo>
                <a:cubicBezTo>
                  <a:pt x="4828195" y="2052228"/>
                  <a:pt x="4828408" y="2056923"/>
                  <a:pt x="4826488" y="2059769"/>
                </a:cubicBezTo>
                <a:lnTo>
                  <a:pt x="4823286" y="2062045"/>
                </a:lnTo>
                <a:lnTo>
                  <a:pt x="4822860" y="2063183"/>
                </a:lnTo>
                <a:cubicBezTo>
                  <a:pt x="4822219" y="2064179"/>
                  <a:pt x="4821365" y="2064606"/>
                  <a:pt x="4819872" y="2063894"/>
                </a:cubicBezTo>
                <a:cubicBezTo>
                  <a:pt x="4818591" y="2063752"/>
                  <a:pt x="4818164" y="2062898"/>
                  <a:pt x="4817524" y="2062045"/>
                </a:cubicBezTo>
                <a:lnTo>
                  <a:pt x="4817310" y="2061903"/>
                </a:lnTo>
                <a:lnTo>
                  <a:pt x="4814963" y="2061476"/>
                </a:lnTo>
                <a:lnTo>
                  <a:pt x="4814322" y="2059626"/>
                </a:lnTo>
                <a:lnTo>
                  <a:pt x="4811121" y="2060195"/>
                </a:lnTo>
                <a:cubicBezTo>
                  <a:pt x="4809627" y="2060906"/>
                  <a:pt x="4808347" y="2062045"/>
                  <a:pt x="4806639" y="2063183"/>
                </a:cubicBezTo>
                <a:lnTo>
                  <a:pt x="4805786" y="2063610"/>
                </a:lnTo>
                <a:lnTo>
                  <a:pt x="4804505" y="2068305"/>
                </a:lnTo>
                <a:cubicBezTo>
                  <a:pt x="4802798" y="2068020"/>
                  <a:pt x="4801304" y="2067736"/>
                  <a:pt x="4799597" y="2067451"/>
                </a:cubicBezTo>
                <a:lnTo>
                  <a:pt x="4799383" y="2065886"/>
                </a:lnTo>
                <a:lnTo>
                  <a:pt x="4794475" y="2065744"/>
                </a:lnTo>
                <a:cubicBezTo>
                  <a:pt x="4796182" y="2062614"/>
                  <a:pt x="4789993" y="2058631"/>
                  <a:pt x="4792554" y="2054078"/>
                </a:cubicBezTo>
                <a:cubicBezTo>
                  <a:pt x="4798743" y="2039424"/>
                  <a:pt x="4802585" y="2040562"/>
                  <a:pt x="4811335" y="2040989"/>
                </a:cubicBezTo>
                <a:cubicBezTo>
                  <a:pt x="4810268" y="2041416"/>
                  <a:pt x="4811761" y="2042127"/>
                  <a:pt x="4811761" y="2042127"/>
                </a:cubicBezTo>
                <a:cubicBezTo>
                  <a:pt x="4814536" y="2043550"/>
                  <a:pt x="4813896" y="2036294"/>
                  <a:pt x="4817951" y="2037290"/>
                </a:cubicBezTo>
                <a:close/>
                <a:moveTo>
                  <a:pt x="5027102" y="2036294"/>
                </a:moveTo>
                <a:cubicBezTo>
                  <a:pt x="5030730" y="2037290"/>
                  <a:pt x="5034359" y="2039993"/>
                  <a:pt x="5037133" y="2042981"/>
                </a:cubicBezTo>
                <a:lnTo>
                  <a:pt x="5040334" y="2048387"/>
                </a:lnTo>
                <a:lnTo>
                  <a:pt x="5042895" y="2049383"/>
                </a:lnTo>
                <a:cubicBezTo>
                  <a:pt x="5043535" y="2050095"/>
                  <a:pt x="5043962" y="2050805"/>
                  <a:pt x="5043962" y="2051517"/>
                </a:cubicBezTo>
                <a:cubicBezTo>
                  <a:pt x="5044175" y="2052370"/>
                  <a:pt x="5043962" y="2053224"/>
                  <a:pt x="5042682" y="2054078"/>
                </a:cubicBezTo>
                <a:lnTo>
                  <a:pt x="5042255" y="2054362"/>
                </a:lnTo>
                <a:lnTo>
                  <a:pt x="5039694" y="2058631"/>
                </a:lnTo>
                <a:cubicBezTo>
                  <a:pt x="5038413" y="2060053"/>
                  <a:pt x="5036919" y="2060906"/>
                  <a:pt x="5035212" y="2061191"/>
                </a:cubicBezTo>
                <a:cubicBezTo>
                  <a:pt x="5025821" y="2063041"/>
                  <a:pt x="5013657" y="2047533"/>
                  <a:pt x="5019846" y="2036437"/>
                </a:cubicBezTo>
                <a:cubicBezTo>
                  <a:pt x="5022193" y="2035441"/>
                  <a:pt x="5024754" y="2035582"/>
                  <a:pt x="5027102" y="2036294"/>
                </a:cubicBezTo>
                <a:close/>
                <a:moveTo>
                  <a:pt x="5707911" y="2036152"/>
                </a:moveTo>
                <a:lnTo>
                  <a:pt x="5706417" y="2036437"/>
                </a:lnTo>
                <a:lnTo>
                  <a:pt x="5705990" y="2037574"/>
                </a:lnTo>
                <a:close/>
                <a:moveTo>
                  <a:pt x="4773986" y="2035725"/>
                </a:moveTo>
                <a:cubicBezTo>
                  <a:pt x="4774413" y="2039993"/>
                  <a:pt x="4774626" y="2044261"/>
                  <a:pt x="4775267" y="2048672"/>
                </a:cubicBezTo>
                <a:lnTo>
                  <a:pt x="4778681" y="2060480"/>
                </a:lnTo>
                <a:lnTo>
                  <a:pt x="4779962" y="2054647"/>
                </a:lnTo>
                <a:cubicBezTo>
                  <a:pt x="4781456" y="2050521"/>
                  <a:pt x="4783590" y="2047249"/>
                  <a:pt x="4786792" y="2047960"/>
                </a:cubicBezTo>
                <a:cubicBezTo>
                  <a:pt x="4787859" y="2048245"/>
                  <a:pt x="4788926" y="2048814"/>
                  <a:pt x="4789993" y="2049810"/>
                </a:cubicBezTo>
                <a:cubicBezTo>
                  <a:pt x="4786578" y="2056354"/>
                  <a:pt x="4787005" y="2064036"/>
                  <a:pt x="4783590" y="2065886"/>
                </a:cubicBezTo>
                <a:cubicBezTo>
                  <a:pt x="4782309" y="2066455"/>
                  <a:pt x="4780602" y="2066455"/>
                  <a:pt x="4778255" y="2065459"/>
                </a:cubicBezTo>
                <a:lnTo>
                  <a:pt x="4778255" y="2065033"/>
                </a:lnTo>
                <a:lnTo>
                  <a:pt x="4777188" y="2066170"/>
                </a:lnTo>
                <a:cubicBezTo>
                  <a:pt x="4776761" y="2067309"/>
                  <a:pt x="4776334" y="2068447"/>
                  <a:pt x="4774200" y="2068305"/>
                </a:cubicBezTo>
                <a:cubicBezTo>
                  <a:pt x="4772065" y="2067024"/>
                  <a:pt x="4770358" y="2064463"/>
                  <a:pt x="4769078" y="2061476"/>
                </a:cubicBezTo>
                <a:lnTo>
                  <a:pt x="4766730" y="2051517"/>
                </a:lnTo>
                <a:lnTo>
                  <a:pt x="4763955" y="2050379"/>
                </a:lnTo>
                <a:cubicBezTo>
                  <a:pt x="4762889" y="2049383"/>
                  <a:pt x="4761608" y="2048103"/>
                  <a:pt x="4760541" y="2046538"/>
                </a:cubicBezTo>
                <a:cubicBezTo>
                  <a:pt x="4761608" y="2044119"/>
                  <a:pt x="4761394" y="2041843"/>
                  <a:pt x="4762248" y="2038286"/>
                </a:cubicBezTo>
                <a:lnTo>
                  <a:pt x="4768651" y="2040847"/>
                </a:lnTo>
                <a:close/>
                <a:moveTo>
                  <a:pt x="855065" y="2035669"/>
                </a:moveTo>
                <a:cubicBezTo>
                  <a:pt x="855685" y="2035515"/>
                  <a:pt x="855994" y="2035824"/>
                  <a:pt x="856201" y="2035979"/>
                </a:cubicBezTo>
                <a:cubicBezTo>
                  <a:pt x="856511" y="2036289"/>
                  <a:pt x="856614" y="2036599"/>
                  <a:pt x="856614" y="2036599"/>
                </a:cubicBezTo>
                <a:cubicBezTo>
                  <a:pt x="856924" y="2037838"/>
                  <a:pt x="857130" y="2038922"/>
                  <a:pt x="855994" y="2039077"/>
                </a:cubicBezTo>
                <a:cubicBezTo>
                  <a:pt x="855994" y="2039077"/>
                  <a:pt x="855271" y="2038612"/>
                  <a:pt x="854652" y="2036289"/>
                </a:cubicBezTo>
                <a:cubicBezTo>
                  <a:pt x="855375" y="2036754"/>
                  <a:pt x="855788" y="2036134"/>
                  <a:pt x="855788" y="2036134"/>
                </a:cubicBezTo>
                <a:cubicBezTo>
                  <a:pt x="855788" y="2036134"/>
                  <a:pt x="855788" y="2036134"/>
                  <a:pt x="855065" y="2035669"/>
                </a:cubicBezTo>
                <a:close/>
                <a:moveTo>
                  <a:pt x="5586902" y="2033307"/>
                </a:moveTo>
                <a:cubicBezTo>
                  <a:pt x="5596720" y="2034587"/>
                  <a:pt x="5604403" y="2052370"/>
                  <a:pt x="5595225" y="2060906"/>
                </a:cubicBezTo>
                <a:cubicBezTo>
                  <a:pt x="5584768" y="2061618"/>
                  <a:pt x="5577085" y="2046964"/>
                  <a:pt x="5576871" y="2038713"/>
                </a:cubicBezTo>
                <a:cubicBezTo>
                  <a:pt x="5580073" y="2034445"/>
                  <a:pt x="5583487" y="2033022"/>
                  <a:pt x="5586902" y="2033307"/>
                </a:cubicBezTo>
                <a:close/>
                <a:moveTo>
                  <a:pt x="4674746" y="2032595"/>
                </a:moveTo>
                <a:cubicBezTo>
                  <a:pt x="4684563" y="2047106"/>
                  <a:pt x="4702917" y="2044261"/>
                  <a:pt x="4711241" y="2061903"/>
                </a:cubicBezTo>
                <a:cubicBezTo>
                  <a:pt x="4708467" y="2063041"/>
                  <a:pt x="4704412" y="2062898"/>
                  <a:pt x="4699929" y="2061476"/>
                </a:cubicBezTo>
                <a:lnTo>
                  <a:pt x="4695448" y="2059199"/>
                </a:lnTo>
                <a:lnTo>
                  <a:pt x="4695448" y="2059626"/>
                </a:lnTo>
                <a:cubicBezTo>
                  <a:pt x="4694167" y="2061333"/>
                  <a:pt x="4692887" y="2061760"/>
                  <a:pt x="4691606" y="2061476"/>
                </a:cubicBezTo>
                <a:cubicBezTo>
                  <a:pt x="4690326" y="2061191"/>
                  <a:pt x="4688832" y="2060053"/>
                  <a:pt x="4687125" y="2058631"/>
                </a:cubicBezTo>
                <a:cubicBezTo>
                  <a:pt x="4685204" y="2057208"/>
                  <a:pt x="4684777" y="2055642"/>
                  <a:pt x="4684350" y="2054078"/>
                </a:cubicBezTo>
                <a:lnTo>
                  <a:pt x="4683070" y="2051090"/>
                </a:lnTo>
                <a:lnTo>
                  <a:pt x="4676454" y="2044119"/>
                </a:lnTo>
                <a:cubicBezTo>
                  <a:pt x="4674106" y="2040278"/>
                  <a:pt x="4673252" y="2036294"/>
                  <a:pt x="4674746" y="2032595"/>
                </a:cubicBezTo>
                <a:close/>
                <a:moveTo>
                  <a:pt x="843707" y="2031797"/>
                </a:moveTo>
                <a:cubicBezTo>
                  <a:pt x="844533" y="2033501"/>
                  <a:pt x="846185" y="2036289"/>
                  <a:pt x="843500" y="2039542"/>
                </a:cubicBezTo>
                <a:cubicBezTo>
                  <a:pt x="842674" y="2040161"/>
                  <a:pt x="842571" y="2040161"/>
                  <a:pt x="841745" y="2040161"/>
                </a:cubicBezTo>
                <a:cubicBezTo>
                  <a:pt x="839990" y="2040781"/>
                  <a:pt x="839061" y="2041555"/>
                  <a:pt x="837305" y="2040626"/>
                </a:cubicBezTo>
                <a:cubicBezTo>
                  <a:pt x="836066" y="2039542"/>
                  <a:pt x="835653" y="2038612"/>
                  <a:pt x="835756" y="2037683"/>
                </a:cubicBezTo>
                <a:cubicBezTo>
                  <a:pt x="835859" y="2036754"/>
                  <a:pt x="836582" y="2035824"/>
                  <a:pt x="837511" y="2034585"/>
                </a:cubicBezTo>
                <a:cubicBezTo>
                  <a:pt x="838337" y="2033346"/>
                  <a:pt x="839473" y="2033036"/>
                  <a:pt x="840609" y="2032881"/>
                </a:cubicBezTo>
                <a:cubicBezTo>
                  <a:pt x="841642" y="2032572"/>
                  <a:pt x="842778" y="2032572"/>
                  <a:pt x="843707" y="2031797"/>
                </a:cubicBezTo>
                <a:close/>
                <a:moveTo>
                  <a:pt x="6341981" y="2030746"/>
                </a:moveTo>
                <a:cubicBezTo>
                  <a:pt x="6345610" y="2029892"/>
                  <a:pt x="6349238" y="2032453"/>
                  <a:pt x="6349664" y="2036152"/>
                </a:cubicBezTo>
                <a:cubicBezTo>
                  <a:pt x="6344756" y="2044261"/>
                  <a:pt x="6337713" y="2037574"/>
                  <a:pt x="6338567" y="2032880"/>
                </a:cubicBezTo>
                <a:cubicBezTo>
                  <a:pt x="6339634" y="2031742"/>
                  <a:pt x="6340701" y="2031030"/>
                  <a:pt x="6341981" y="2030746"/>
                </a:cubicBezTo>
                <a:close/>
                <a:moveTo>
                  <a:pt x="5177350" y="2030461"/>
                </a:moveTo>
                <a:cubicBezTo>
                  <a:pt x="5177350" y="2030461"/>
                  <a:pt x="5179697" y="2032026"/>
                  <a:pt x="5179697" y="2032026"/>
                </a:cubicBezTo>
                <a:cubicBezTo>
                  <a:pt x="5181832" y="2034872"/>
                  <a:pt x="5182898" y="2036294"/>
                  <a:pt x="5185033" y="2037859"/>
                </a:cubicBezTo>
                <a:cubicBezTo>
                  <a:pt x="5183752" y="2040136"/>
                  <a:pt x="5182472" y="2039851"/>
                  <a:pt x="5181405" y="2038570"/>
                </a:cubicBezTo>
                <a:cubicBezTo>
                  <a:pt x="5181405" y="2038570"/>
                  <a:pt x="5180337" y="2037006"/>
                  <a:pt x="5179270" y="2035725"/>
                </a:cubicBezTo>
                <a:cubicBezTo>
                  <a:pt x="5178203" y="2034302"/>
                  <a:pt x="5177136" y="2034018"/>
                  <a:pt x="5177136" y="2034018"/>
                </a:cubicBezTo>
                <a:cubicBezTo>
                  <a:pt x="5176069" y="2032595"/>
                  <a:pt x="5176069" y="2031457"/>
                  <a:pt x="5177350" y="2030461"/>
                </a:cubicBezTo>
                <a:close/>
                <a:moveTo>
                  <a:pt x="5640044" y="2029038"/>
                </a:moveTo>
                <a:cubicBezTo>
                  <a:pt x="5637909" y="2036579"/>
                  <a:pt x="5634921" y="2061191"/>
                  <a:pt x="5625318" y="2059484"/>
                </a:cubicBezTo>
                <a:cubicBezTo>
                  <a:pt x="5627025" y="2050948"/>
                  <a:pt x="5627025" y="2027900"/>
                  <a:pt x="5640044" y="2029038"/>
                </a:cubicBezTo>
                <a:close/>
                <a:moveTo>
                  <a:pt x="6019077" y="2027758"/>
                </a:moveTo>
                <a:cubicBezTo>
                  <a:pt x="6020784" y="2027900"/>
                  <a:pt x="6022279" y="2028327"/>
                  <a:pt x="6023559" y="2028470"/>
                </a:cubicBezTo>
                <a:cubicBezTo>
                  <a:pt x="6024626" y="2031742"/>
                  <a:pt x="6026120" y="2034160"/>
                  <a:pt x="6026974" y="2037432"/>
                </a:cubicBezTo>
                <a:lnTo>
                  <a:pt x="6026760" y="2037859"/>
                </a:lnTo>
                <a:lnTo>
                  <a:pt x="6026974" y="2038001"/>
                </a:lnTo>
                <a:cubicBezTo>
                  <a:pt x="6028467" y="2039424"/>
                  <a:pt x="6029108" y="2040705"/>
                  <a:pt x="6028895" y="2042127"/>
                </a:cubicBezTo>
                <a:cubicBezTo>
                  <a:pt x="6028681" y="2043408"/>
                  <a:pt x="6027614" y="2044830"/>
                  <a:pt x="6026334" y="2046395"/>
                </a:cubicBezTo>
                <a:cubicBezTo>
                  <a:pt x="6023772" y="2049667"/>
                  <a:pt x="6020358" y="2047960"/>
                  <a:pt x="6018010" y="2049952"/>
                </a:cubicBezTo>
                <a:cubicBezTo>
                  <a:pt x="6017370" y="2048672"/>
                  <a:pt x="6016729" y="2047106"/>
                  <a:pt x="6016516" y="2045115"/>
                </a:cubicBezTo>
                <a:lnTo>
                  <a:pt x="6017583" y="2042269"/>
                </a:lnTo>
                <a:lnTo>
                  <a:pt x="6015876" y="2041843"/>
                </a:lnTo>
                <a:cubicBezTo>
                  <a:pt x="6012248" y="2039282"/>
                  <a:pt x="6009687" y="2033591"/>
                  <a:pt x="6012675" y="2028043"/>
                </a:cubicBezTo>
                <a:cubicBezTo>
                  <a:pt x="6015022" y="2027616"/>
                  <a:pt x="6017156" y="2027616"/>
                  <a:pt x="6019077" y="2027758"/>
                </a:cubicBezTo>
                <a:close/>
                <a:moveTo>
                  <a:pt x="5186527" y="2027331"/>
                </a:moveTo>
                <a:cubicBezTo>
                  <a:pt x="5187167" y="2027474"/>
                  <a:pt x="5188021" y="2027331"/>
                  <a:pt x="5188874" y="2027331"/>
                </a:cubicBezTo>
                <a:cubicBezTo>
                  <a:pt x="5189728" y="2027331"/>
                  <a:pt x="5190155" y="2027474"/>
                  <a:pt x="5190155" y="2028043"/>
                </a:cubicBezTo>
                <a:cubicBezTo>
                  <a:pt x="5191436" y="2028185"/>
                  <a:pt x="5191222" y="2030461"/>
                  <a:pt x="5191222" y="2030461"/>
                </a:cubicBezTo>
                <a:cubicBezTo>
                  <a:pt x="5192289" y="2030746"/>
                  <a:pt x="5193569" y="2030888"/>
                  <a:pt x="5194636" y="2032169"/>
                </a:cubicBezTo>
                <a:cubicBezTo>
                  <a:pt x="5193569" y="2033164"/>
                  <a:pt x="5194636" y="2033307"/>
                  <a:pt x="5194636" y="2034445"/>
                </a:cubicBezTo>
                <a:cubicBezTo>
                  <a:pt x="5193356" y="2033164"/>
                  <a:pt x="5189941" y="2032595"/>
                  <a:pt x="5187594" y="2031030"/>
                </a:cubicBezTo>
                <a:cubicBezTo>
                  <a:pt x="5187594" y="2029892"/>
                  <a:pt x="5186527" y="2028470"/>
                  <a:pt x="5186527" y="2027331"/>
                </a:cubicBezTo>
                <a:close/>
                <a:moveTo>
                  <a:pt x="1542441" y="2027305"/>
                </a:moveTo>
                <a:cubicBezTo>
                  <a:pt x="1543577" y="2027770"/>
                  <a:pt x="1543474" y="2027770"/>
                  <a:pt x="1543061" y="2028699"/>
                </a:cubicBezTo>
                <a:cubicBezTo>
                  <a:pt x="1542235" y="2029009"/>
                  <a:pt x="1541512" y="2029473"/>
                  <a:pt x="1541202" y="2028699"/>
                </a:cubicBezTo>
                <a:cubicBezTo>
                  <a:pt x="1540376" y="2029009"/>
                  <a:pt x="1540376" y="2029009"/>
                  <a:pt x="1540067" y="2028235"/>
                </a:cubicBezTo>
                <a:cubicBezTo>
                  <a:pt x="1540790" y="2028079"/>
                  <a:pt x="1541616" y="2027615"/>
                  <a:pt x="1542441" y="2027305"/>
                </a:cubicBezTo>
                <a:close/>
                <a:moveTo>
                  <a:pt x="1132308" y="2027150"/>
                </a:moveTo>
                <a:cubicBezTo>
                  <a:pt x="1134786" y="2027150"/>
                  <a:pt x="1138194" y="2027305"/>
                  <a:pt x="1139742" y="2028079"/>
                </a:cubicBezTo>
                <a:cubicBezTo>
                  <a:pt x="1137987" y="2028854"/>
                  <a:pt x="1134476" y="2029628"/>
                  <a:pt x="1133031" y="2027925"/>
                </a:cubicBezTo>
                <a:cubicBezTo>
                  <a:pt x="1133031" y="2027925"/>
                  <a:pt x="1133031" y="2027925"/>
                  <a:pt x="1132308" y="2027150"/>
                </a:cubicBezTo>
                <a:close/>
                <a:moveTo>
                  <a:pt x="5609952" y="2026335"/>
                </a:moveTo>
                <a:cubicBezTo>
                  <a:pt x="5609952" y="2027474"/>
                  <a:pt x="5610805" y="2030034"/>
                  <a:pt x="5609524" y="2031172"/>
                </a:cubicBezTo>
                <a:cubicBezTo>
                  <a:pt x="5608244" y="2032453"/>
                  <a:pt x="5608244" y="2032453"/>
                  <a:pt x="5605896" y="2032311"/>
                </a:cubicBezTo>
                <a:cubicBezTo>
                  <a:pt x="5607391" y="2028754"/>
                  <a:pt x="5607391" y="2028754"/>
                  <a:pt x="5609952" y="2026335"/>
                </a:cubicBezTo>
                <a:close/>
                <a:moveTo>
                  <a:pt x="5350006" y="2026193"/>
                </a:moveTo>
                <a:cubicBezTo>
                  <a:pt x="5350006" y="2026193"/>
                  <a:pt x="5350006" y="2026193"/>
                  <a:pt x="5357049" y="2031884"/>
                </a:cubicBezTo>
                <a:cubicBezTo>
                  <a:pt x="5356409" y="2032453"/>
                  <a:pt x="5355768" y="2032453"/>
                  <a:pt x="5355342" y="2032026"/>
                </a:cubicBezTo>
                <a:cubicBezTo>
                  <a:pt x="5354701" y="2031600"/>
                  <a:pt x="5354061" y="2031030"/>
                  <a:pt x="5353421" y="2030319"/>
                </a:cubicBezTo>
                <a:cubicBezTo>
                  <a:pt x="5352354" y="2028896"/>
                  <a:pt x="5351287" y="2027616"/>
                  <a:pt x="5350006" y="2026193"/>
                </a:cubicBezTo>
                <a:close/>
                <a:moveTo>
                  <a:pt x="6262163" y="2025481"/>
                </a:moveTo>
                <a:cubicBezTo>
                  <a:pt x="6263656" y="2037147"/>
                  <a:pt x="6241461" y="2057634"/>
                  <a:pt x="6231643" y="2049810"/>
                </a:cubicBezTo>
                <a:cubicBezTo>
                  <a:pt x="6243381" y="2041985"/>
                  <a:pt x="6247437" y="2031742"/>
                  <a:pt x="6262163" y="2025481"/>
                </a:cubicBezTo>
                <a:close/>
                <a:moveTo>
                  <a:pt x="5160916" y="2025055"/>
                </a:moveTo>
                <a:cubicBezTo>
                  <a:pt x="5161343" y="2026762"/>
                  <a:pt x="5164331" y="2026905"/>
                  <a:pt x="5164971" y="2028043"/>
                </a:cubicBezTo>
                <a:cubicBezTo>
                  <a:pt x="5165185" y="2028470"/>
                  <a:pt x="5165185" y="2029038"/>
                  <a:pt x="5164758" y="2029750"/>
                </a:cubicBezTo>
                <a:cubicBezTo>
                  <a:pt x="5163264" y="2029180"/>
                  <a:pt x="5161556" y="2027331"/>
                  <a:pt x="5160063" y="2026620"/>
                </a:cubicBezTo>
                <a:cubicBezTo>
                  <a:pt x="5160063" y="2026620"/>
                  <a:pt x="5160063" y="2026620"/>
                  <a:pt x="5160916" y="2025055"/>
                </a:cubicBezTo>
                <a:close/>
                <a:moveTo>
                  <a:pt x="5652422" y="2024771"/>
                </a:moveTo>
                <a:cubicBezTo>
                  <a:pt x="5653063" y="2024486"/>
                  <a:pt x="5653916" y="2024628"/>
                  <a:pt x="5654343" y="2025197"/>
                </a:cubicBezTo>
                <a:cubicBezTo>
                  <a:pt x="5652208" y="2027474"/>
                  <a:pt x="5650288" y="2032311"/>
                  <a:pt x="5645592" y="2030888"/>
                </a:cubicBezTo>
                <a:cubicBezTo>
                  <a:pt x="5647087" y="2029180"/>
                  <a:pt x="5650075" y="2025339"/>
                  <a:pt x="5652422" y="2024771"/>
                </a:cubicBezTo>
                <a:close/>
                <a:moveTo>
                  <a:pt x="1008607" y="2024517"/>
                </a:moveTo>
                <a:cubicBezTo>
                  <a:pt x="1009536" y="2022813"/>
                  <a:pt x="1012014" y="2025291"/>
                  <a:pt x="1012944" y="2025136"/>
                </a:cubicBezTo>
                <a:cubicBezTo>
                  <a:pt x="1013770" y="2026066"/>
                  <a:pt x="1014596" y="2026840"/>
                  <a:pt x="1013667" y="2027770"/>
                </a:cubicBezTo>
                <a:cubicBezTo>
                  <a:pt x="1012737" y="2028544"/>
                  <a:pt x="1012737" y="2029318"/>
                  <a:pt x="1010982" y="2028699"/>
                </a:cubicBezTo>
                <a:cubicBezTo>
                  <a:pt x="1010156" y="2028699"/>
                  <a:pt x="1009330" y="2027925"/>
                  <a:pt x="1008400" y="2027925"/>
                </a:cubicBezTo>
                <a:cubicBezTo>
                  <a:pt x="1008400" y="2027925"/>
                  <a:pt x="1008297" y="2027305"/>
                  <a:pt x="1008194" y="2026531"/>
                </a:cubicBezTo>
                <a:cubicBezTo>
                  <a:pt x="1008091" y="2025911"/>
                  <a:pt x="1008194" y="2024982"/>
                  <a:pt x="1008607" y="2024517"/>
                </a:cubicBezTo>
                <a:close/>
                <a:moveTo>
                  <a:pt x="5962521" y="2024201"/>
                </a:moveTo>
                <a:cubicBezTo>
                  <a:pt x="5964228" y="2024201"/>
                  <a:pt x="5965936" y="2024913"/>
                  <a:pt x="5966576" y="2026905"/>
                </a:cubicBezTo>
                <a:cubicBezTo>
                  <a:pt x="5965936" y="2027900"/>
                  <a:pt x="5966789" y="2028470"/>
                  <a:pt x="5966149" y="2029465"/>
                </a:cubicBezTo>
                <a:cubicBezTo>
                  <a:pt x="5966149" y="2029465"/>
                  <a:pt x="5965936" y="2030888"/>
                  <a:pt x="5965082" y="2032453"/>
                </a:cubicBezTo>
                <a:cubicBezTo>
                  <a:pt x="5964228" y="2034018"/>
                  <a:pt x="5962734" y="2035867"/>
                  <a:pt x="5959960" y="2037147"/>
                </a:cubicBezTo>
                <a:cubicBezTo>
                  <a:pt x="5958466" y="2037432"/>
                  <a:pt x="5954198" y="2037717"/>
                  <a:pt x="5954838" y="2036721"/>
                </a:cubicBezTo>
                <a:cubicBezTo>
                  <a:pt x="5954625" y="2035156"/>
                  <a:pt x="5953984" y="2036152"/>
                  <a:pt x="5953130" y="2035582"/>
                </a:cubicBezTo>
                <a:cubicBezTo>
                  <a:pt x="5952277" y="2030603"/>
                  <a:pt x="5953130" y="2026905"/>
                  <a:pt x="5956972" y="2025055"/>
                </a:cubicBezTo>
                <a:cubicBezTo>
                  <a:pt x="5958679" y="2024628"/>
                  <a:pt x="5960600" y="2024059"/>
                  <a:pt x="5962521" y="2024201"/>
                </a:cubicBezTo>
                <a:close/>
                <a:moveTo>
                  <a:pt x="5549127" y="2024059"/>
                </a:moveTo>
                <a:cubicBezTo>
                  <a:pt x="5554036" y="2027900"/>
                  <a:pt x="5555316" y="2029180"/>
                  <a:pt x="5553182" y="2035014"/>
                </a:cubicBezTo>
                <a:cubicBezTo>
                  <a:pt x="5553182" y="2035014"/>
                  <a:pt x="5552115" y="2036152"/>
                  <a:pt x="5552115" y="2036152"/>
                </a:cubicBezTo>
                <a:cubicBezTo>
                  <a:pt x="5548700" y="2040847"/>
                  <a:pt x="5541870" y="2042981"/>
                  <a:pt x="5539523" y="2041558"/>
                </a:cubicBezTo>
                <a:cubicBezTo>
                  <a:pt x="5537175" y="2039139"/>
                  <a:pt x="5535895" y="2034302"/>
                  <a:pt x="5539096" y="2030888"/>
                </a:cubicBezTo>
                <a:cubicBezTo>
                  <a:pt x="5541230" y="2027331"/>
                  <a:pt x="5545926" y="2027474"/>
                  <a:pt x="5549127" y="2024059"/>
                </a:cubicBezTo>
                <a:close/>
                <a:moveTo>
                  <a:pt x="1112999" y="2023278"/>
                </a:moveTo>
                <a:cubicBezTo>
                  <a:pt x="1117232" y="2024207"/>
                  <a:pt x="1123325" y="2023587"/>
                  <a:pt x="1126422" y="2026066"/>
                </a:cubicBezTo>
                <a:cubicBezTo>
                  <a:pt x="1124770" y="2026066"/>
                  <a:pt x="1115374" y="2024827"/>
                  <a:pt x="1112999" y="2023278"/>
                </a:cubicBezTo>
                <a:close/>
                <a:moveTo>
                  <a:pt x="5610379" y="2022921"/>
                </a:moveTo>
                <a:cubicBezTo>
                  <a:pt x="5611019" y="2022921"/>
                  <a:pt x="5611232" y="2023206"/>
                  <a:pt x="5611232" y="2023633"/>
                </a:cubicBezTo>
                <a:cubicBezTo>
                  <a:pt x="5611019" y="2024201"/>
                  <a:pt x="5610805" y="2024771"/>
                  <a:pt x="5610165" y="2025481"/>
                </a:cubicBezTo>
                <a:cubicBezTo>
                  <a:pt x="5610165" y="2025481"/>
                  <a:pt x="5609098" y="2025481"/>
                  <a:pt x="5609098" y="2025481"/>
                </a:cubicBezTo>
                <a:cubicBezTo>
                  <a:pt x="5609311" y="2024059"/>
                  <a:pt x="5609311" y="2022779"/>
                  <a:pt x="5610379" y="2022921"/>
                </a:cubicBezTo>
                <a:close/>
                <a:moveTo>
                  <a:pt x="801475" y="2022658"/>
                </a:moveTo>
                <a:cubicBezTo>
                  <a:pt x="805915" y="2020799"/>
                  <a:pt x="812420" y="2027150"/>
                  <a:pt x="811388" y="2031332"/>
                </a:cubicBezTo>
                <a:cubicBezTo>
                  <a:pt x="809632" y="2033191"/>
                  <a:pt x="807774" y="2034895"/>
                  <a:pt x="806018" y="2036754"/>
                </a:cubicBezTo>
                <a:cubicBezTo>
                  <a:pt x="801578" y="2037838"/>
                  <a:pt x="797861" y="2035515"/>
                  <a:pt x="797035" y="2031952"/>
                </a:cubicBezTo>
                <a:cubicBezTo>
                  <a:pt x="796829" y="2030868"/>
                  <a:pt x="796829" y="2029473"/>
                  <a:pt x="797241" y="2028079"/>
                </a:cubicBezTo>
                <a:cubicBezTo>
                  <a:pt x="797861" y="2026375"/>
                  <a:pt x="799203" y="2024362"/>
                  <a:pt x="801475" y="2022658"/>
                </a:cubicBezTo>
                <a:close/>
                <a:moveTo>
                  <a:pt x="1111140" y="2022193"/>
                </a:moveTo>
                <a:cubicBezTo>
                  <a:pt x="1111966" y="2022968"/>
                  <a:pt x="1112070" y="2023123"/>
                  <a:pt x="1112999" y="2023123"/>
                </a:cubicBezTo>
                <a:cubicBezTo>
                  <a:pt x="1112999" y="2023123"/>
                  <a:pt x="1111966" y="2023742"/>
                  <a:pt x="1111966" y="2023742"/>
                </a:cubicBezTo>
                <a:cubicBezTo>
                  <a:pt x="1111554" y="2023432"/>
                  <a:pt x="1111244" y="2023432"/>
                  <a:pt x="1111140" y="2023278"/>
                </a:cubicBezTo>
                <a:cubicBezTo>
                  <a:pt x="1111037" y="2023123"/>
                  <a:pt x="1111037" y="2022968"/>
                  <a:pt x="1111140" y="2022193"/>
                </a:cubicBezTo>
                <a:close/>
                <a:moveTo>
                  <a:pt x="891411" y="2022193"/>
                </a:moveTo>
                <a:cubicBezTo>
                  <a:pt x="893786" y="2024982"/>
                  <a:pt x="896161" y="2027925"/>
                  <a:pt x="895955" y="2030248"/>
                </a:cubicBezTo>
                <a:lnTo>
                  <a:pt x="894096" y="2030868"/>
                </a:lnTo>
                <a:lnTo>
                  <a:pt x="894612" y="2031332"/>
                </a:lnTo>
                <a:cubicBezTo>
                  <a:pt x="895541" y="2032572"/>
                  <a:pt x="896161" y="2033811"/>
                  <a:pt x="895748" y="2035515"/>
                </a:cubicBezTo>
                <a:cubicBezTo>
                  <a:pt x="895128" y="2034740"/>
                  <a:pt x="894096" y="2033811"/>
                  <a:pt x="893167" y="2032881"/>
                </a:cubicBezTo>
                <a:lnTo>
                  <a:pt x="892237" y="2031487"/>
                </a:lnTo>
                <a:lnTo>
                  <a:pt x="889965" y="2032261"/>
                </a:lnTo>
                <a:cubicBezTo>
                  <a:pt x="887901" y="2032107"/>
                  <a:pt x="885835" y="2031177"/>
                  <a:pt x="883770" y="2029164"/>
                </a:cubicBezTo>
                <a:cubicBezTo>
                  <a:pt x="883254" y="2024982"/>
                  <a:pt x="888726" y="2023432"/>
                  <a:pt x="891411" y="2022193"/>
                </a:cubicBezTo>
                <a:close/>
                <a:moveTo>
                  <a:pt x="1106803" y="2022039"/>
                </a:moveTo>
                <a:cubicBezTo>
                  <a:pt x="1107733" y="2022193"/>
                  <a:pt x="1108662" y="2022193"/>
                  <a:pt x="1108559" y="2022968"/>
                </a:cubicBezTo>
                <a:cubicBezTo>
                  <a:pt x="1108456" y="2023742"/>
                  <a:pt x="1107527" y="2023742"/>
                  <a:pt x="1106700" y="2022813"/>
                </a:cubicBezTo>
                <a:cubicBezTo>
                  <a:pt x="1106700" y="2022813"/>
                  <a:pt x="1106803" y="2022039"/>
                  <a:pt x="1106803" y="2022039"/>
                </a:cubicBezTo>
                <a:close/>
                <a:moveTo>
                  <a:pt x="5289182" y="2020360"/>
                </a:moveTo>
                <a:cubicBezTo>
                  <a:pt x="5289608" y="2020218"/>
                  <a:pt x="5289822" y="2020360"/>
                  <a:pt x="5290675" y="2020787"/>
                </a:cubicBezTo>
                <a:cubicBezTo>
                  <a:pt x="5292170" y="2021356"/>
                  <a:pt x="5292170" y="2025339"/>
                  <a:pt x="5293663" y="2025908"/>
                </a:cubicBezTo>
                <a:cubicBezTo>
                  <a:pt x="5293663" y="2025908"/>
                  <a:pt x="5293450" y="2026051"/>
                  <a:pt x="5291743" y="2028043"/>
                </a:cubicBezTo>
                <a:cubicBezTo>
                  <a:pt x="5290462" y="2028611"/>
                  <a:pt x="5289395" y="2028896"/>
                  <a:pt x="5287901" y="2028327"/>
                </a:cubicBezTo>
                <a:cubicBezTo>
                  <a:pt x="5286407" y="2027616"/>
                  <a:pt x="5285767" y="2025339"/>
                  <a:pt x="5285340" y="2024201"/>
                </a:cubicBezTo>
                <a:cubicBezTo>
                  <a:pt x="5286407" y="2023775"/>
                  <a:pt x="5286194" y="2022494"/>
                  <a:pt x="5287261" y="2022067"/>
                </a:cubicBezTo>
                <a:cubicBezTo>
                  <a:pt x="5288328" y="2021071"/>
                  <a:pt x="5288755" y="2020502"/>
                  <a:pt x="5289182" y="2020360"/>
                </a:cubicBezTo>
                <a:close/>
                <a:moveTo>
                  <a:pt x="1101951" y="2020180"/>
                </a:moveTo>
                <a:cubicBezTo>
                  <a:pt x="1104532" y="2021109"/>
                  <a:pt x="1104532" y="2021109"/>
                  <a:pt x="1106081" y="2022813"/>
                </a:cubicBezTo>
                <a:cubicBezTo>
                  <a:pt x="1105152" y="2022813"/>
                  <a:pt x="1103293" y="2023587"/>
                  <a:pt x="1102467" y="2022658"/>
                </a:cubicBezTo>
                <a:cubicBezTo>
                  <a:pt x="1102157" y="2022193"/>
                  <a:pt x="1101951" y="2022039"/>
                  <a:pt x="1101847" y="2021728"/>
                </a:cubicBezTo>
                <a:cubicBezTo>
                  <a:pt x="1101847" y="2021419"/>
                  <a:pt x="1101951" y="2020954"/>
                  <a:pt x="1101951" y="2020180"/>
                </a:cubicBezTo>
                <a:close/>
                <a:moveTo>
                  <a:pt x="5848128" y="2019791"/>
                </a:moveTo>
                <a:cubicBezTo>
                  <a:pt x="5850049" y="2020218"/>
                  <a:pt x="5851756" y="2021214"/>
                  <a:pt x="5852823" y="2022636"/>
                </a:cubicBezTo>
                <a:cubicBezTo>
                  <a:pt x="5854957" y="2025339"/>
                  <a:pt x="5854957" y="2029750"/>
                  <a:pt x="5851329" y="2034729"/>
                </a:cubicBezTo>
                <a:cubicBezTo>
                  <a:pt x="5841085" y="2038570"/>
                  <a:pt x="5833402" y="2028327"/>
                  <a:pt x="5841725" y="2020360"/>
                </a:cubicBezTo>
                <a:cubicBezTo>
                  <a:pt x="5844073" y="2019506"/>
                  <a:pt x="5846207" y="2019364"/>
                  <a:pt x="5848128" y="2019791"/>
                </a:cubicBezTo>
                <a:close/>
                <a:moveTo>
                  <a:pt x="6184051" y="2019506"/>
                </a:moveTo>
                <a:cubicBezTo>
                  <a:pt x="6187252" y="2019933"/>
                  <a:pt x="6190240" y="2021641"/>
                  <a:pt x="6191947" y="2024059"/>
                </a:cubicBezTo>
                <a:cubicBezTo>
                  <a:pt x="6193228" y="2025766"/>
                  <a:pt x="6193655" y="2027758"/>
                  <a:pt x="6193228" y="2029892"/>
                </a:cubicBezTo>
                <a:cubicBezTo>
                  <a:pt x="6187466" y="2037859"/>
                  <a:pt x="6175941" y="2030746"/>
                  <a:pt x="6175514" y="2023348"/>
                </a:cubicBezTo>
                <a:cubicBezTo>
                  <a:pt x="6177648" y="2020360"/>
                  <a:pt x="6180850" y="2019222"/>
                  <a:pt x="6184051" y="2019506"/>
                </a:cubicBezTo>
                <a:close/>
                <a:moveTo>
                  <a:pt x="1539550" y="2019406"/>
                </a:moveTo>
                <a:lnTo>
                  <a:pt x="1540170" y="2019715"/>
                </a:lnTo>
                <a:lnTo>
                  <a:pt x="1539654" y="2020025"/>
                </a:lnTo>
                <a:cubicBezTo>
                  <a:pt x="1539550" y="2019715"/>
                  <a:pt x="1539447" y="2019560"/>
                  <a:pt x="1539550" y="2019406"/>
                </a:cubicBezTo>
                <a:close/>
                <a:moveTo>
                  <a:pt x="866526" y="2019250"/>
                </a:moveTo>
                <a:cubicBezTo>
                  <a:pt x="868695" y="2017547"/>
                  <a:pt x="875097" y="2018476"/>
                  <a:pt x="877059" y="2021419"/>
                </a:cubicBezTo>
                <a:cubicBezTo>
                  <a:pt x="877678" y="2022348"/>
                  <a:pt x="877781" y="2023587"/>
                  <a:pt x="877059" y="2024982"/>
                </a:cubicBezTo>
                <a:cubicBezTo>
                  <a:pt x="874684" y="2028854"/>
                  <a:pt x="870657" y="2027150"/>
                  <a:pt x="866320" y="2024517"/>
                </a:cubicBezTo>
                <a:cubicBezTo>
                  <a:pt x="866630" y="2022658"/>
                  <a:pt x="866217" y="2021109"/>
                  <a:pt x="866526" y="2019250"/>
                </a:cubicBezTo>
                <a:close/>
                <a:moveTo>
                  <a:pt x="1079428" y="2018999"/>
                </a:moveTo>
                <a:cubicBezTo>
                  <a:pt x="1081532" y="2019560"/>
                  <a:pt x="1083468" y="2021574"/>
                  <a:pt x="1085120" y="2025756"/>
                </a:cubicBezTo>
                <a:lnTo>
                  <a:pt x="1080267" y="2026840"/>
                </a:lnTo>
                <a:lnTo>
                  <a:pt x="1081196" y="2028079"/>
                </a:lnTo>
                <a:cubicBezTo>
                  <a:pt x="1081919" y="2028544"/>
                  <a:pt x="1079854" y="2030248"/>
                  <a:pt x="1079854" y="2030248"/>
                </a:cubicBezTo>
                <a:cubicBezTo>
                  <a:pt x="1079234" y="2030403"/>
                  <a:pt x="1078511" y="2029628"/>
                  <a:pt x="1077892" y="2028854"/>
                </a:cubicBezTo>
                <a:lnTo>
                  <a:pt x="1077066" y="2027925"/>
                </a:lnTo>
                <a:lnTo>
                  <a:pt x="1070974" y="2030868"/>
                </a:lnTo>
                <a:cubicBezTo>
                  <a:pt x="1066637" y="2033036"/>
                  <a:pt x="1062507" y="2034740"/>
                  <a:pt x="1058686" y="2033191"/>
                </a:cubicBezTo>
                <a:cubicBezTo>
                  <a:pt x="1060958" y="2031642"/>
                  <a:pt x="1063229" y="2029318"/>
                  <a:pt x="1065604" y="2027150"/>
                </a:cubicBezTo>
                <a:lnTo>
                  <a:pt x="1070354" y="2022813"/>
                </a:lnTo>
                <a:lnTo>
                  <a:pt x="1070148" y="2022813"/>
                </a:lnTo>
                <a:cubicBezTo>
                  <a:pt x="1069631" y="2022503"/>
                  <a:pt x="1069322" y="2021574"/>
                  <a:pt x="1069012" y="2020489"/>
                </a:cubicBezTo>
                <a:cubicBezTo>
                  <a:pt x="1069838" y="2020025"/>
                  <a:pt x="1070561" y="2019715"/>
                  <a:pt x="1071180" y="2020025"/>
                </a:cubicBezTo>
                <a:lnTo>
                  <a:pt x="1072420" y="2021264"/>
                </a:lnTo>
                <a:lnTo>
                  <a:pt x="1072729" y="2020954"/>
                </a:lnTo>
                <a:cubicBezTo>
                  <a:pt x="1075052" y="2019328"/>
                  <a:pt x="1077324" y="2018437"/>
                  <a:pt x="1079428" y="2018999"/>
                </a:cubicBezTo>
                <a:close/>
                <a:moveTo>
                  <a:pt x="5958893" y="2018369"/>
                </a:moveTo>
                <a:cubicBezTo>
                  <a:pt x="5959746" y="2018653"/>
                  <a:pt x="5960387" y="2019080"/>
                  <a:pt x="5960387" y="2019791"/>
                </a:cubicBezTo>
                <a:cubicBezTo>
                  <a:pt x="5961027" y="2020929"/>
                  <a:pt x="5960600" y="2021498"/>
                  <a:pt x="5959960" y="2021925"/>
                </a:cubicBezTo>
                <a:cubicBezTo>
                  <a:pt x="5959106" y="2022352"/>
                  <a:pt x="5958039" y="2022779"/>
                  <a:pt x="5956758" y="2023490"/>
                </a:cubicBezTo>
                <a:lnTo>
                  <a:pt x="5956118" y="2018653"/>
                </a:lnTo>
                <a:cubicBezTo>
                  <a:pt x="5956972" y="2018369"/>
                  <a:pt x="5958039" y="2018226"/>
                  <a:pt x="5958893" y="2018369"/>
                </a:cubicBezTo>
                <a:close/>
                <a:moveTo>
                  <a:pt x="1544507" y="2018166"/>
                </a:moveTo>
                <a:cubicBezTo>
                  <a:pt x="1544816" y="2018940"/>
                  <a:pt x="1544816" y="2018940"/>
                  <a:pt x="1544403" y="2020025"/>
                </a:cubicBezTo>
                <a:cubicBezTo>
                  <a:pt x="1544816" y="2020644"/>
                  <a:pt x="1540790" y="2020489"/>
                  <a:pt x="1540067" y="2020799"/>
                </a:cubicBezTo>
                <a:cubicBezTo>
                  <a:pt x="1539654" y="2020025"/>
                  <a:pt x="1539654" y="2020025"/>
                  <a:pt x="1540480" y="2019715"/>
                </a:cubicBezTo>
                <a:lnTo>
                  <a:pt x="1540170" y="2019715"/>
                </a:lnTo>
                <a:lnTo>
                  <a:pt x="1541719" y="2018321"/>
                </a:lnTo>
                <a:cubicBezTo>
                  <a:pt x="1542545" y="2018011"/>
                  <a:pt x="1543474" y="2018166"/>
                  <a:pt x="1544507" y="2018166"/>
                </a:cubicBezTo>
                <a:close/>
                <a:moveTo>
                  <a:pt x="6199844" y="2017230"/>
                </a:moveTo>
                <a:cubicBezTo>
                  <a:pt x="6201338" y="2019222"/>
                  <a:pt x="6204326" y="2022210"/>
                  <a:pt x="6203472" y="2025197"/>
                </a:cubicBezTo>
                <a:cubicBezTo>
                  <a:pt x="6203258" y="2026193"/>
                  <a:pt x="6202618" y="2027046"/>
                  <a:pt x="6201338" y="2028043"/>
                </a:cubicBezTo>
                <a:cubicBezTo>
                  <a:pt x="6201338" y="2029323"/>
                  <a:pt x="6196642" y="2029750"/>
                  <a:pt x="6195575" y="2028327"/>
                </a:cubicBezTo>
                <a:cubicBezTo>
                  <a:pt x="6192161" y="2025481"/>
                  <a:pt x="6194722" y="2022352"/>
                  <a:pt x="6196216" y="2017799"/>
                </a:cubicBezTo>
                <a:cubicBezTo>
                  <a:pt x="6197283" y="2019080"/>
                  <a:pt x="6198563" y="2018084"/>
                  <a:pt x="6199844" y="2017230"/>
                </a:cubicBezTo>
                <a:close/>
                <a:moveTo>
                  <a:pt x="5252260" y="2016803"/>
                </a:moveTo>
                <a:cubicBezTo>
                  <a:pt x="5253114" y="2016945"/>
                  <a:pt x="5253967" y="2017372"/>
                  <a:pt x="5254821" y="2018084"/>
                </a:cubicBezTo>
                <a:lnTo>
                  <a:pt x="5255461" y="2019649"/>
                </a:lnTo>
                <a:lnTo>
                  <a:pt x="5256102" y="2019364"/>
                </a:lnTo>
                <a:cubicBezTo>
                  <a:pt x="5257595" y="2022921"/>
                  <a:pt x="5257809" y="2024771"/>
                  <a:pt x="5256742" y="2025624"/>
                </a:cubicBezTo>
                <a:lnTo>
                  <a:pt x="5255461" y="2025766"/>
                </a:lnTo>
                <a:lnTo>
                  <a:pt x="5254607" y="2028043"/>
                </a:lnTo>
                <a:lnTo>
                  <a:pt x="5261864" y="2032169"/>
                </a:lnTo>
                <a:cubicBezTo>
                  <a:pt x="5264425" y="2033875"/>
                  <a:pt x="5266773" y="2036152"/>
                  <a:pt x="5269120" y="2038997"/>
                </a:cubicBezTo>
                <a:cubicBezTo>
                  <a:pt x="5263998" y="2042269"/>
                  <a:pt x="5255461" y="2040562"/>
                  <a:pt x="5248632" y="2036437"/>
                </a:cubicBezTo>
                <a:lnTo>
                  <a:pt x="5242870" y="2030888"/>
                </a:lnTo>
                <a:lnTo>
                  <a:pt x="5235187" y="2035298"/>
                </a:lnTo>
                <a:cubicBezTo>
                  <a:pt x="5224089" y="2038144"/>
                  <a:pt x="5208082" y="2033307"/>
                  <a:pt x="5210430" y="2021925"/>
                </a:cubicBezTo>
                <a:cubicBezTo>
                  <a:pt x="5215552" y="2019933"/>
                  <a:pt x="5220887" y="2018369"/>
                  <a:pt x="5226649" y="2017942"/>
                </a:cubicBezTo>
                <a:cubicBezTo>
                  <a:pt x="5229424" y="2017799"/>
                  <a:pt x="5232412" y="2017942"/>
                  <a:pt x="5235400" y="2018510"/>
                </a:cubicBezTo>
                <a:lnTo>
                  <a:pt x="5239241" y="2019649"/>
                </a:lnTo>
                <a:lnTo>
                  <a:pt x="5239028" y="2019364"/>
                </a:lnTo>
                <a:lnTo>
                  <a:pt x="5240095" y="2019933"/>
                </a:lnTo>
                <a:lnTo>
                  <a:pt x="5244790" y="2021498"/>
                </a:lnTo>
                <a:lnTo>
                  <a:pt x="5245217" y="2020075"/>
                </a:lnTo>
                <a:cubicBezTo>
                  <a:pt x="5247138" y="2018510"/>
                  <a:pt x="5249699" y="2016519"/>
                  <a:pt x="5252260" y="2016803"/>
                </a:cubicBezTo>
                <a:close/>
                <a:moveTo>
                  <a:pt x="4974601" y="2016661"/>
                </a:moveTo>
                <a:cubicBezTo>
                  <a:pt x="4975881" y="2017372"/>
                  <a:pt x="4977162" y="2018795"/>
                  <a:pt x="4977802" y="2020644"/>
                </a:cubicBezTo>
                <a:cubicBezTo>
                  <a:pt x="4978442" y="2022352"/>
                  <a:pt x="4978442" y="2024486"/>
                  <a:pt x="4977162" y="2026905"/>
                </a:cubicBezTo>
                <a:cubicBezTo>
                  <a:pt x="4975881" y="2031030"/>
                  <a:pt x="4971400" y="2032737"/>
                  <a:pt x="4968838" y="2037290"/>
                </a:cubicBezTo>
                <a:cubicBezTo>
                  <a:pt x="4963503" y="2035582"/>
                  <a:pt x="4962223" y="2034872"/>
                  <a:pt x="4962863" y="2028470"/>
                </a:cubicBezTo>
                <a:cubicBezTo>
                  <a:pt x="4962863" y="2028470"/>
                  <a:pt x="4963716" y="2026905"/>
                  <a:pt x="4963716" y="2026905"/>
                </a:cubicBezTo>
                <a:cubicBezTo>
                  <a:pt x="4965851" y="2021071"/>
                  <a:pt x="4972040" y="2016377"/>
                  <a:pt x="4974601" y="2016661"/>
                </a:cubicBezTo>
                <a:close/>
                <a:moveTo>
                  <a:pt x="5784742" y="2015950"/>
                </a:moveTo>
                <a:cubicBezTo>
                  <a:pt x="5786236" y="2016377"/>
                  <a:pt x="5788370" y="2017942"/>
                  <a:pt x="5790078" y="2020075"/>
                </a:cubicBezTo>
                <a:cubicBezTo>
                  <a:pt x="5791998" y="2022210"/>
                  <a:pt x="5793279" y="2024771"/>
                  <a:pt x="5793066" y="2026905"/>
                </a:cubicBezTo>
                <a:cubicBezTo>
                  <a:pt x="5790505" y="2027189"/>
                  <a:pt x="5788157" y="2027331"/>
                  <a:pt x="5785596" y="2027616"/>
                </a:cubicBezTo>
                <a:cubicBezTo>
                  <a:pt x="5786450" y="2026905"/>
                  <a:pt x="5779834" y="2018938"/>
                  <a:pt x="5779834" y="2018938"/>
                </a:cubicBezTo>
                <a:cubicBezTo>
                  <a:pt x="5780687" y="2015665"/>
                  <a:pt x="5780687" y="2015665"/>
                  <a:pt x="5784742" y="2015950"/>
                </a:cubicBezTo>
                <a:close/>
                <a:moveTo>
                  <a:pt x="4966064" y="2015096"/>
                </a:moveTo>
                <a:cubicBezTo>
                  <a:pt x="4967558" y="2015665"/>
                  <a:pt x="4968412" y="2017799"/>
                  <a:pt x="4968838" y="2018938"/>
                </a:cubicBezTo>
                <a:cubicBezTo>
                  <a:pt x="4967771" y="2019506"/>
                  <a:pt x="4968198" y="2020502"/>
                  <a:pt x="4967131" y="2021071"/>
                </a:cubicBezTo>
                <a:cubicBezTo>
                  <a:pt x="4965424" y="2023348"/>
                  <a:pt x="4965424" y="2023348"/>
                  <a:pt x="4963930" y="2022779"/>
                </a:cubicBezTo>
                <a:cubicBezTo>
                  <a:pt x="4962436" y="2022210"/>
                  <a:pt x="4962223" y="2018226"/>
                  <a:pt x="4960515" y="2017657"/>
                </a:cubicBezTo>
                <a:cubicBezTo>
                  <a:pt x="4960515" y="2017657"/>
                  <a:pt x="4960515" y="2017799"/>
                  <a:pt x="4962436" y="2015523"/>
                </a:cubicBezTo>
                <a:cubicBezTo>
                  <a:pt x="4963503" y="2014954"/>
                  <a:pt x="4964570" y="2014527"/>
                  <a:pt x="4966064" y="2015096"/>
                </a:cubicBezTo>
                <a:close/>
                <a:moveTo>
                  <a:pt x="1128488" y="2015068"/>
                </a:moveTo>
                <a:cubicBezTo>
                  <a:pt x="1129727" y="2015223"/>
                  <a:pt x="1130656" y="2016617"/>
                  <a:pt x="1131275" y="2019095"/>
                </a:cubicBezTo>
                <a:cubicBezTo>
                  <a:pt x="1130139" y="2020799"/>
                  <a:pt x="1126629" y="2020180"/>
                  <a:pt x="1124667" y="2020489"/>
                </a:cubicBezTo>
                <a:cubicBezTo>
                  <a:pt x="1124977" y="2019406"/>
                  <a:pt x="1125287" y="2018166"/>
                  <a:pt x="1124564" y="2018631"/>
                </a:cubicBezTo>
                <a:cubicBezTo>
                  <a:pt x="1124770" y="2017392"/>
                  <a:pt x="1125287" y="2016617"/>
                  <a:pt x="1126009" y="2015997"/>
                </a:cubicBezTo>
                <a:cubicBezTo>
                  <a:pt x="1126732" y="2015533"/>
                  <a:pt x="1127558" y="2015223"/>
                  <a:pt x="1128488" y="2015068"/>
                </a:cubicBezTo>
                <a:close/>
                <a:moveTo>
                  <a:pt x="4767797" y="2014527"/>
                </a:moveTo>
                <a:cubicBezTo>
                  <a:pt x="4777828" y="2013531"/>
                  <a:pt x="4781029" y="2024201"/>
                  <a:pt x="4776121" y="2027758"/>
                </a:cubicBezTo>
                <a:cubicBezTo>
                  <a:pt x="4774413" y="2028896"/>
                  <a:pt x="4772065" y="2029323"/>
                  <a:pt x="4768651" y="2028043"/>
                </a:cubicBezTo>
                <a:cubicBezTo>
                  <a:pt x="4764809" y="2023348"/>
                  <a:pt x="4768437" y="2018795"/>
                  <a:pt x="4767797" y="2014527"/>
                </a:cubicBezTo>
                <a:close/>
                <a:moveTo>
                  <a:pt x="4715936" y="2014527"/>
                </a:moveTo>
                <a:cubicBezTo>
                  <a:pt x="4719564" y="2014100"/>
                  <a:pt x="4725113" y="2017372"/>
                  <a:pt x="4725540" y="2019364"/>
                </a:cubicBezTo>
                <a:cubicBezTo>
                  <a:pt x="4724473" y="2021641"/>
                  <a:pt x="4712308" y="2022210"/>
                  <a:pt x="4713375" y="2016519"/>
                </a:cubicBezTo>
                <a:cubicBezTo>
                  <a:pt x="4714015" y="2015380"/>
                  <a:pt x="4714869" y="2014812"/>
                  <a:pt x="4715936" y="2014527"/>
                </a:cubicBezTo>
                <a:close/>
                <a:moveTo>
                  <a:pt x="5629586" y="2014385"/>
                </a:moveTo>
                <a:cubicBezTo>
                  <a:pt x="5629586" y="2014385"/>
                  <a:pt x="5628519" y="2015665"/>
                  <a:pt x="5627665" y="2016945"/>
                </a:cubicBezTo>
                <a:cubicBezTo>
                  <a:pt x="5626598" y="2018226"/>
                  <a:pt x="5626598" y="2018226"/>
                  <a:pt x="5627879" y="2019364"/>
                </a:cubicBezTo>
                <a:cubicBezTo>
                  <a:pt x="5627025" y="2020644"/>
                  <a:pt x="5627025" y="2020644"/>
                  <a:pt x="5624678" y="2020787"/>
                </a:cubicBezTo>
                <a:cubicBezTo>
                  <a:pt x="5625531" y="2019506"/>
                  <a:pt x="5628306" y="2013105"/>
                  <a:pt x="5629586" y="2014385"/>
                </a:cubicBezTo>
                <a:close/>
                <a:moveTo>
                  <a:pt x="6246369" y="2014100"/>
                </a:moveTo>
                <a:cubicBezTo>
                  <a:pt x="6247223" y="2013815"/>
                  <a:pt x="6248077" y="2013815"/>
                  <a:pt x="6248717" y="2014385"/>
                </a:cubicBezTo>
                <a:cubicBezTo>
                  <a:pt x="6248717" y="2015665"/>
                  <a:pt x="6249784" y="2015665"/>
                  <a:pt x="6249784" y="2016945"/>
                </a:cubicBezTo>
                <a:cubicBezTo>
                  <a:pt x="6251065" y="2019364"/>
                  <a:pt x="6251278" y="2020644"/>
                  <a:pt x="6250211" y="2021783"/>
                </a:cubicBezTo>
                <a:cubicBezTo>
                  <a:pt x="6250211" y="2023063"/>
                  <a:pt x="6248930" y="2022921"/>
                  <a:pt x="6247863" y="2024059"/>
                </a:cubicBezTo>
                <a:cubicBezTo>
                  <a:pt x="6246796" y="2024059"/>
                  <a:pt x="6245516" y="2022779"/>
                  <a:pt x="6245516" y="2022779"/>
                </a:cubicBezTo>
                <a:cubicBezTo>
                  <a:pt x="6244449" y="2021498"/>
                  <a:pt x="6244449" y="2021498"/>
                  <a:pt x="6243381" y="2022636"/>
                </a:cubicBezTo>
                <a:cubicBezTo>
                  <a:pt x="6243381" y="2022636"/>
                  <a:pt x="6243168" y="2021498"/>
                  <a:pt x="6243168" y="2021498"/>
                </a:cubicBezTo>
                <a:cubicBezTo>
                  <a:pt x="6244449" y="2021498"/>
                  <a:pt x="6243168" y="2021498"/>
                  <a:pt x="6242101" y="2020218"/>
                </a:cubicBezTo>
                <a:cubicBezTo>
                  <a:pt x="6243168" y="2017799"/>
                  <a:pt x="6242954" y="2016661"/>
                  <a:pt x="6244022" y="2015523"/>
                </a:cubicBezTo>
                <a:cubicBezTo>
                  <a:pt x="6244662" y="2014954"/>
                  <a:pt x="6245516" y="2014385"/>
                  <a:pt x="6246369" y="2014100"/>
                </a:cubicBezTo>
                <a:close/>
                <a:moveTo>
                  <a:pt x="5964015" y="2013815"/>
                </a:moveTo>
                <a:cubicBezTo>
                  <a:pt x="5965296" y="2014100"/>
                  <a:pt x="5966576" y="2015239"/>
                  <a:pt x="5968284" y="2017942"/>
                </a:cubicBezTo>
                <a:cubicBezTo>
                  <a:pt x="5965509" y="2021071"/>
                  <a:pt x="5963588" y="2021783"/>
                  <a:pt x="5962308" y="2021356"/>
                </a:cubicBezTo>
                <a:cubicBezTo>
                  <a:pt x="5959533" y="2020218"/>
                  <a:pt x="5960600" y="2012962"/>
                  <a:pt x="5964015" y="2013815"/>
                </a:cubicBezTo>
                <a:close/>
                <a:moveTo>
                  <a:pt x="5387141" y="2013815"/>
                </a:moveTo>
                <a:cubicBezTo>
                  <a:pt x="5396532" y="2013247"/>
                  <a:pt x="5406989" y="2016803"/>
                  <a:pt x="5419368" y="2016092"/>
                </a:cubicBezTo>
                <a:cubicBezTo>
                  <a:pt x="5411044" y="2025908"/>
                  <a:pt x="5416807" y="2039139"/>
                  <a:pt x="5415313" y="2049525"/>
                </a:cubicBezTo>
                <a:cubicBezTo>
                  <a:pt x="5414672" y="2052940"/>
                  <a:pt x="5413392" y="2056069"/>
                  <a:pt x="5410404" y="2058773"/>
                </a:cubicBezTo>
                <a:cubicBezTo>
                  <a:pt x="5387355" y="2081251"/>
                  <a:pt x="5346378" y="2035441"/>
                  <a:pt x="5378391" y="2016234"/>
                </a:cubicBezTo>
                <a:cubicBezTo>
                  <a:pt x="5381166" y="2014669"/>
                  <a:pt x="5384153" y="2014100"/>
                  <a:pt x="5387141" y="2013815"/>
                </a:cubicBezTo>
                <a:close/>
                <a:moveTo>
                  <a:pt x="5243510" y="2013389"/>
                </a:moveTo>
                <a:cubicBezTo>
                  <a:pt x="5244363" y="2013247"/>
                  <a:pt x="5245217" y="2013389"/>
                  <a:pt x="5245644" y="2014100"/>
                </a:cubicBezTo>
                <a:cubicBezTo>
                  <a:pt x="5246711" y="2014812"/>
                  <a:pt x="5246711" y="2015523"/>
                  <a:pt x="5246284" y="2016234"/>
                </a:cubicBezTo>
                <a:cubicBezTo>
                  <a:pt x="5245644" y="2016803"/>
                  <a:pt x="5244790" y="2017657"/>
                  <a:pt x="5244150" y="2018795"/>
                </a:cubicBezTo>
                <a:lnTo>
                  <a:pt x="5241162" y="2014527"/>
                </a:lnTo>
                <a:cubicBezTo>
                  <a:pt x="5241803" y="2014100"/>
                  <a:pt x="5242656" y="2013531"/>
                  <a:pt x="5243510" y="2013389"/>
                </a:cubicBezTo>
                <a:close/>
                <a:moveTo>
                  <a:pt x="1017384" y="2013364"/>
                </a:moveTo>
                <a:cubicBezTo>
                  <a:pt x="1019243" y="2014913"/>
                  <a:pt x="1017591" y="2017547"/>
                  <a:pt x="1016661" y="2017702"/>
                </a:cubicBezTo>
                <a:cubicBezTo>
                  <a:pt x="1015732" y="2017082"/>
                  <a:pt x="1015732" y="2015378"/>
                  <a:pt x="1014802" y="2014604"/>
                </a:cubicBezTo>
                <a:cubicBezTo>
                  <a:pt x="1015628" y="2014449"/>
                  <a:pt x="1016455" y="2013519"/>
                  <a:pt x="1017384" y="2013364"/>
                </a:cubicBezTo>
                <a:close/>
                <a:moveTo>
                  <a:pt x="4753284" y="2012677"/>
                </a:moveTo>
                <a:cubicBezTo>
                  <a:pt x="4754565" y="2012820"/>
                  <a:pt x="4755632" y="2014243"/>
                  <a:pt x="4756913" y="2014385"/>
                </a:cubicBezTo>
                <a:cubicBezTo>
                  <a:pt x="4756699" y="2015665"/>
                  <a:pt x="4756486" y="2018084"/>
                  <a:pt x="4755419" y="2019080"/>
                </a:cubicBezTo>
                <a:cubicBezTo>
                  <a:pt x="4755206" y="2020360"/>
                  <a:pt x="4751791" y="2018510"/>
                  <a:pt x="4751791" y="2018510"/>
                </a:cubicBezTo>
                <a:cubicBezTo>
                  <a:pt x="4750723" y="2017088"/>
                  <a:pt x="4753284" y="2013815"/>
                  <a:pt x="4753284" y="2012677"/>
                </a:cubicBezTo>
                <a:close/>
                <a:moveTo>
                  <a:pt x="1001173" y="2012125"/>
                </a:moveTo>
                <a:cubicBezTo>
                  <a:pt x="1004477" y="2011815"/>
                  <a:pt x="1005923" y="2012280"/>
                  <a:pt x="1006335" y="2013054"/>
                </a:cubicBezTo>
                <a:cubicBezTo>
                  <a:pt x="1007574" y="2015378"/>
                  <a:pt x="999314" y="2020489"/>
                  <a:pt x="1001173" y="2012125"/>
                </a:cubicBezTo>
                <a:close/>
                <a:moveTo>
                  <a:pt x="3922015" y="2011966"/>
                </a:moveTo>
                <a:lnTo>
                  <a:pt x="3922441" y="2013389"/>
                </a:lnTo>
                <a:lnTo>
                  <a:pt x="3923722" y="2013815"/>
                </a:lnTo>
                <a:close/>
                <a:moveTo>
                  <a:pt x="4874080" y="2010544"/>
                </a:moveTo>
                <a:cubicBezTo>
                  <a:pt x="4885178" y="2018938"/>
                  <a:pt x="4897129" y="2024628"/>
                  <a:pt x="4907800" y="2030746"/>
                </a:cubicBezTo>
                <a:cubicBezTo>
                  <a:pt x="4906307" y="2028043"/>
                  <a:pt x="4902892" y="2020218"/>
                  <a:pt x="4903959" y="2018084"/>
                </a:cubicBezTo>
                <a:cubicBezTo>
                  <a:pt x="4906307" y="2021641"/>
                  <a:pt x="4908868" y="2029180"/>
                  <a:pt x="4908014" y="2030888"/>
                </a:cubicBezTo>
                <a:cubicBezTo>
                  <a:pt x="4912923" y="2033733"/>
                  <a:pt x="4917618" y="2036721"/>
                  <a:pt x="4921673" y="2040136"/>
                </a:cubicBezTo>
                <a:cubicBezTo>
                  <a:pt x="4912069" y="2042838"/>
                  <a:pt x="4902892" y="2040562"/>
                  <a:pt x="4893715" y="2036437"/>
                </a:cubicBezTo>
                <a:lnTo>
                  <a:pt x="4892007" y="2035441"/>
                </a:lnTo>
                <a:lnTo>
                  <a:pt x="4892007" y="2037432"/>
                </a:lnTo>
                <a:cubicBezTo>
                  <a:pt x="4890514" y="2039709"/>
                  <a:pt x="4887739" y="2041131"/>
                  <a:pt x="4884538" y="2041843"/>
                </a:cubicBezTo>
                <a:cubicBezTo>
                  <a:pt x="4873653" y="2044403"/>
                  <a:pt x="4857006" y="2038855"/>
                  <a:pt x="4857647" y="2027616"/>
                </a:cubicBezTo>
                <a:lnTo>
                  <a:pt x="4871519" y="2024628"/>
                </a:lnTo>
                <a:lnTo>
                  <a:pt x="4866611" y="2021925"/>
                </a:lnTo>
                <a:cubicBezTo>
                  <a:pt x="4869385" y="2018653"/>
                  <a:pt x="4868958" y="2014812"/>
                  <a:pt x="4874080" y="2010544"/>
                </a:cubicBezTo>
                <a:close/>
                <a:moveTo>
                  <a:pt x="5005120" y="2010117"/>
                </a:moveTo>
                <a:cubicBezTo>
                  <a:pt x="5006614" y="2010685"/>
                  <a:pt x="5008108" y="2011255"/>
                  <a:pt x="5007681" y="2010117"/>
                </a:cubicBezTo>
                <a:cubicBezTo>
                  <a:pt x="5009175" y="2010685"/>
                  <a:pt x="5010029" y="2011539"/>
                  <a:pt x="5010669" y="2012535"/>
                </a:cubicBezTo>
                <a:cubicBezTo>
                  <a:pt x="5011096" y="2013531"/>
                  <a:pt x="5011309" y="2014812"/>
                  <a:pt x="5011309" y="2016092"/>
                </a:cubicBezTo>
                <a:cubicBezTo>
                  <a:pt x="5010669" y="2017657"/>
                  <a:pt x="5008534" y="2018653"/>
                  <a:pt x="5004906" y="2019222"/>
                </a:cubicBezTo>
                <a:cubicBezTo>
                  <a:pt x="5002986" y="2017657"/>
                  <a:pt x="5004906" y="2012820"/>
                  <a:pt x="5005120" y="2010117"/>
                </a:cubicBezTo>
                <a:close/>
                <a:moveTo>
                  <a:pt x="5117165" y="2009690"/>
                </a:moveTo>
                <a:cubicBezTo>
                  <a:pt x="5123568" y="2014243"/>
                  <a:pt x="5128263" y="2015523"/>
                  <a:pt x="5132745" y="2015950"/>
                </a:cubicBezTo>
                <a:lnTo>
                  <a:pt x="5133385" y="2015950"/>
                </a:lnTo>
                <a:lnTo>
                  <a:pt x="5133172" y="2015523"/>
                </a:lnTo>
                <a:cubicBezTo>
                  <a:pt x="5133172" y="2015380"/>
                  <a:pt x="5133385" y="2015380"/>
                  <a:pt x="5134026" y="2015239"/>
                </a:cubicBezTo>
                <a:cubicBezTo>
                  <a:pt x="5134026" y="2015239"/>
                  <a:pt x="5134026" y="2015239"/>
                  <a:pt x="5135519" y="2014812"/>
                </a:cubicBezTo>
                <a:cubicBezTo>
                  <a:pt x="5135519" y="2014812"/>
                  <a:pt x="5135733" y="2014527"/>
                  <a:pt x="5136160" y="2014812"/>
                </a:cubicBezTo>
                <a:lnTo>
                  <a:pt x="5137226" y="2016092"/>
                </a:lnTo>
                <a:lnTo>
                  <a:pt x="5139361" y="2016234"/>
                </a:lnTo>
                <a:cubicBezTo>
                  <a:pt x="5141495" y="2016234"/>
                  <a:pt x="5143629" y="2016377"/>
                  <a:pt x="5145764" y="2017088"/>
                </a:cubicBezTo>
                <a:cubicBezTo>
                  <a:pt x="5149819" y="2020787"/>
                  <a:pt x="5153660" y="2025055"/>
                  <a:pt x="5157288" y="2029750"/>
                </a:cubicBezTo>
                <a:lnTo>
                  <a:pt x="5160276" y="2034445"/>
                </a:lnTo>
                <a:lnTo>
                  <a:pt x="5163264" y="2038001"/>
                </a:lnTo>
                <a:lnTo>
                  <a:pt x="5163477" y="2038428"/>
                </a:lnTo>
                <a:lnTo>
                  <a:pt x="5171801" y="2043692"/>
                </a:lnTo>
                <a:cubicBezTo>
                  <a:pt x="5174148" y="2045968"/>
                  <a:pt x="5176069" y="2048814"/>
                  <a:pt x="5176923" y="2052228"/>
                </a:cubicBezTo>
                <a:cubicBezTo>
                  <a:pt x="5177563" y="2056496"/>
                  <a:pt x="5176923" y="2059769"/>
                  <a:pt x="5175429" y="2062472"/>
                </a:cubicBezTo>
                <a:lnTo>
                  <a:pt x="5175002" y="2062898"/>
                </a:lnTo>
                <a:lnTo>
                  <a:pt x="5175429" y="2069017"/>
                </a:lnTo>
                <a:cubicBezTo>
                  <a:pt x="5175215" y="2071719"/>
                  <a:pt x="5174575" y="2074564"/>
                  <a:pt x="5174148" y="2076414"/>
                </a:cubicBezTo>
                <a:lnTo>
                  <a:pt x="5172441" y="2073853"/>
                </a:lnTo>
                <a:lnTo>
                  <a:pt x="5172441" y="2079259"/>
                </a:lnTo>
                <a:lnTo>
                  <a:pt x="5172227" y="2079686"/>
                </a:lnTo>
                <a:lnTo>
                  <a:pt x="5174575" y="2088222"/>
                </a:lnTo>
                <a:lnTo>
                  <a:pt x="5173722" y="2090784"/>
                </a:lnTo>
                <a:lnTo>
                  <a:pt x="5176069" y="2094055"/>
                </a:lnTo>
                <a:cubicBezTo>
                  <a:pt x="5178630" y="2100315"/>
                  <a:pt x="5176282" y="2104868"/>
                  <a:pt x="5180337" y="2109136"/>
                </a:cubicBezTo>
                <a:cubicBezTo>
                  <a:pt x="5177990" y="2109989"/>
                  <a:pt x="5177990" y="2109989"/>
                  <a:pt x="5175642" y="2108425"/>
                </a:cubicBezTo>
                <a:cubicBezTo>
                  <a:pt x="5175642" y="2107286"/>
                  <a:pt x="5174575" y="2107002"/>
                  <a:pt x="5175856" y="2106006"/>
                </a:cubicBezTo>
                <a:cubicBezTo>
                  <a:pt x="5175002" y="2105295"/>
                  <a:pt x="5174148" y="2104015"/>
                  <a:pt x="5173508" y="2102450"/>
                </a:cubicBezTo>
                <a:lnTo>
                  <a:pt x="5172654" y="2100173"/>
                </a:lnTo>
                <a:lnTo>
                  <a:pt x="5172014" y="2102734"/>
                </a:lnTo>
                <a:cubicBezTo>
                  <a:pt x="5171587" y="2104156"/>
                  <a:pt x="5170947" y="2105010"/>
                  <a:pt x="5170307" y="2105579"/>
                </a:cubicBezTo>
                <a:lnTo>
                  <a:pt x="5167746" y="2105579"/>
                </a:lnTo>
                <a:lnTo>
                  <a:pt x="5167106" y="2105579"/>
                </a:lnTo>
                <a:lnTo>
                  <a:pt x="5166252" y="2111554"/>
                </a:lnTo>
                <a:lnTo>
                  <a:pt x="5165398" y="2112977"/>
                </a:lnTo>
                <a:lnTo>
                  <a:pt x="5165611" y="2113689"/>
                </a:lnTo>
                <a:cubicBezTo>
                  <a:pt x="5165825" y="2114542"/>
                  <a:pt x="5165825" y="2115254"/>
                  <a:pt x="5165825" y="2115254"/>
                </a:cubicBezTo>
                <a:cubicBezTo>
                  <a:pt x="5164331" y="2115681"/>
                  <a:pt x="5164118" y="2115681"/>
                  <a:pt x="5164758" y="2114542"/>
                </a:cubicBezTo>
                <a:lnTo>
                  <a:pt x="5164544" y="2114399"/>
                </a:lnTo>
                <a:lnTo>
                  <a:pt x="5162837" y="2117529"/>
                </a:lnTo>
                <a:cubicBezTo>
                  <a:pt x="5160276" y="2115822"/>
                  <a:pt x="5158355" y="2113404"/>
                  <a:pt x="5156435" y="2110843"/>
                </a:cubicBezTo>
                <a:lnTo>
                  <a:pt x="5151526" y="2103303"/>
                </a:lnTo>
                <a:lnTo>
                  <a:pt x="5157502" y="2105295"/>
                </a:lnTo>
                <a:lnTo>
                  <a:pt x="5157288" y="2105152"/>
                </a:lnTo>
                <a:cubicBezTo>
                  <a:pt x="5157715" y="2104015"/>
                  <a:pt x="5157288" y="2102450"/>
                  <a:pt x="5157288" y="2102450"/>
                </a:cubicBezTo>
                <a:cubicBezTo>
                  <a:pt x="5158782" y="2102023"/>
                  <a:pt x="5159849" y="2102591"/>
                  <a:pt x="5160703" y="2103161"/>
                </a:cubicBezTo>
                <a:lnTo>
                  <a:pt x="5161130" y="2105863"/>
                </a:lnTo>
                <a:lnTo>
                  <a:pt x="5162410" y="2106006"/>
                </a:lnTo>
                <a:lnTo>
                  <a:pt x="5166038" y="2104725"/>
                </a:lnTo>
                <a:lnTo>
                  <a:pt x="5164118" y="2102307"/>
                </a:lnTo>
                <a:cubicBezTo>
                  <a:pt x="5163264" y="2100173"/>
                  <a:pt x="5163264" y="2097754"/>
                  <a:pt x="5164544" y="2096616"/>
                </a:cubicBezTo>
                <a:lnTo>
                  <a:pt x="5164971" y="2096332"/>
                </a:lnTo>
                <a:lnTo>
                  <a:pt x="5164971" y="2095336"/>
                </a:lnTo>
                <a:lnTo>
                  <a:pt x="5164971" y="2094767"/>
                </a:lnTo>
                <a:lnTo>
                  <a:pt x="5163477" y="2094198"/>
                </a:lnTo>
                <a:lnTo>
                  <a:pt x="5159423" y="2098181"/>
                </a:lnTo>
                <a:lnTo>
                  <a:pt x="5151526" y="2103303"/>
                </a:lnTo>
                <a:lnTo>
                  <a:pt x="5150032" y="2104441"/>
                </a:lnTo>
                <a:cubicBezTo>
                  <a:pt x="5146617" y="2106575"/>
                  <a:pt x="5143416" y="2108993"/>
                  <a:pt x="5140214" y="2111981"/>
                </a:cubicBezTo>
                <a:cubicBezTo>
                  <a:pt x="5127623" y="2102876"/>
                  <a:pt x="5121220" y="2108282"/>
                  <a:pt x="5113110" y="2109278"/>
                </a:cubicBezTo>
                <a:cubicBezTo>
                  <a:pt x="5107561" y="2099461"/>
                  <a:pt x="5094756" y="2092775"/>
                  <a:pt x="5085793" y="2083812"/>
                </a:cubicBezTo>
                <a:cubicBezTo>
                  <a:pt x="5085579" y="2068731"/>
                  <a:pt x="5081311" y="2056069"/>
                  <a:pt x="5081097" y="2040989"/>
                </a:cubicBezTo>
                <a:lnTo>
                  <a:pt x="5087500" y="2035014"/>
                </a:lnTo>
                <a:lnTo>
                  <a:pt x="5087714" y="2034587"/>
                </a:lnTo>
                <a:cubicBezTo>
                  <a:pt x="5088567" y="2033307"/>
                  <a:pt x="5089847" y="2032026"/>
                  <a:pt x="5090488" y="2030888"/>
                </a:cubicBezTo>
                <a:lnTo>
                  <a:pt x="5090914" y="2031457"/>
                </a:lnTo>
                <a:lnTo>
                  <a:pt x="5097317" y="2022636"/>
                </a:lnTo>
                <a:lnTo>
                  <a:pt x="5096037" y="2020929"/>
                </a:lnTo>
                <a:cubicBezTo>
                  <a:pt x="5094756" y="2018084"/>
                  <a:pt x="5094116" y="2015523"/>
                  <a:pt x="5093902" y="2014954"/>
                </a:cubicBezTo>
                <a:cubicBezTo>
                  <a:pt x="5094970" y="2014385"/>
                  <a:pt x="5094970" y="2014527"/>
                  <a:pt x="5094970" y="2014527"/>
                </a:cubicBezTo>
                <a:cubicBezTo>
                  <a:pt x="5095183" y="2016377"/>
                  <a:pt x="5096250" y="2017799"/>
                  <a:pt x="5097744" y="2019364"/>
                </a:cubicBezTo>
                <a:lnTo>
                  <a:pt x="5098811" y="2020929"/>
                </a:lnTo>
                <a:lnTo>
                  <a:pt x="5102013" y="2017372"/>
                </a:lnTo>
                <a:lnTo>
                  <a:pt x="5098171" y="2010117"/>
                </a:lnTo>
                <a:cubicBezTo>
                  <a:pt x="5101372" y="2010685"/>
                  <a:pt x="5103506" y="2011824"/>
                  <a:pt x="5105213" y="2013105"/>
                </a:cubicBezTo>
                <a:lnTo>
                  <a:pt x="5105641" y="2013674"/>
                </a:lnTo>
                <a:lnTo>
                  <a:pt x="5105854" y="2013531"/>
                </a:lnTo>
                <a:cubicBezTo>
                  <a:pt x="5109056" y="2011113"/>
                  <a:pt x="5112684" y="2009690"/>
                  <a:pt x="5117165" y="2009690"/>
                </a:cubicBezTo>
                <a:close/>
                <a:moveTo>
                  <a:pt x="5051218" y="2009690"/>
                </a:moveTo>
                <a:cubicBezTo>
                  <a:pt x="5052286" y="2009832"/>
                  <a:pt x="5053566" y="2010117"/>
                  <a:pt x="5054633" y="2011539"/>
                </a:cubicBezTo>
                <a:lnTo>
                  <a:pt x="5054846" y="2012677"/>
                </a:lnTo>
                <a:lnTo>
                  <a:pt x="5060396" y="2011682"/>
                </a:lnTo>
                <a:cubicBezTo>
                  <a:pt x="5064451" y="2011824"/>
                  <a:pt x="5068292" y="2013105"/>
                  <a:pt x="5069573" y="2015807"/>
                </a:cubicBezTo>
                <a:cubicBezTo>
                  <a:pt x="5069146" y="2019080"/>
                  <a:pt x="5068719" y="2022636"/>
                  <a:pt x="5068505" y="2025908"/>
                </a:cubicBezTo>
                <a:cubicBezTo>
                  <a:pt x="5064664" y="2031030"/>
                  <a:pt x="5058475" y="2032026"/>
                  <a:pt x="5054420" y="2029323"/>
                </a:cubicBezTo>
                <a:cubicBezTo>
                  <a:pt x="5053139" y="2028327"/>
                  <a:pt x="5052072" y="2026905"/>
                  <a:pt x="5051218" y="2025197"/>
                </a:cubicBezTo>
                <a:lnTo>
                  <a:pt x="5051005" y="2017942"/>
                </a:lnTo>
                <a:lnTo>
                  <a:pt x="5050792" y="2018084"/>
                </a:lnTo>
                <a:cubicBezTo>
                  <a:pt x="5050365" y="2017942"/>
                  <a:pt x="5049938" y="2017657"/>
                  <a:pt x="5049511" y="2016945"/>
                </a:cubicBezTo>
                <a:cubicBezTo>
                  <a:pt x="5048444" y="2015523"/>
                  <a:pt x="5049725" y="2011966"/>
                  <a:pt x="5048658" y="2010544"/>
                </a:cubicBezTo>
                <a:cubicBezTo>
                  <a:pt x="5048658" y="2010544"/>
                  <a:pt x="5048658" y="2010544"/>
                  <a:pt x="5051218" y="2009690"/>
                </a:cubicBezTo>
                <a:close/>
                <a:moveTo>
                  <a:pt x="5890812" y="2008836"/>
                </a:moveTo>
                <a:cubicBezTo>
                  <a:pt x="5890812" y="2008836"/>
                  <a:pt x="5892092" y="2011113"/>
                  <a:pt x="5892092" y="2011113"/>
                </a:cubicBezTo>
                <a:cubicBezTo>
                  <a:pt x="5892519" y="2014527"/>
                  <a:pt x="5892733" y="2016092"/>
                  <a:pt x="5894013" y="2018369"/>
                </a:cubicBezTo>
                <a:cubicBezTo>
                  <a:pt x="5891665" y="2019933"/>
                  <a:pt x="5890599" y="2019364"/>
                  <a:pt x="5890385" y="2017657"/>
                </a:cubicBezTo>
                <a:cubicBezTo>
                  <a:pt x="5890385" y="2017657"/>
                  <a:pt x="5890172" y="2015950"/>
                  <a:pt x="5889958" y="2014385"/>
                </a:cubicBezTo>
                <a:cubicBezTo>
                  <a:pt x="5889745" y="2012677"/>
                  <a:pt x="5888678" y="2012108"/>
                  <a:pt x="5888678" y="2012108"/>
                </a:cubicBezTo>
                <a:cubicBezTo>
                  <a:pt x="5888464" y="2010402"/>
                  <a:pt x="5889318" y="2009263"/>
                  <a:pt x="5890812" y="2008836"/>
                </a:cubicBezTo>
                <a:close/>
                <a:moveTo>
                  <a:pt x="3887867" y="2008836"/>
                </a:moveTo>
                <a:lnTo>
                  <a:pt x="3886800" y="2009832"/>
                </a:lnTo>
                <a:lnTo>
                  <a:pt x="3885733" y="2010970"/>
                </a:lnTo>
                <a:lnTo>
                  <a:pt x="3892349" y="2013389"/>
                </a:lnTo>
                <a:close/>
                <a:moveTo>
                  <a:pt x="5864561" y="2008409"/>
                </a:moveTo>
                <a:cubicBezTo>
                  <a:pt x="5865628" y="2011255"/>
                  <a:pt x="5867549" y="2016234"/>
                  <a:pt x="5866909" y="2019364"/>
                </a:cubicBezTo>
                <a:cubicBezTo>
                  <a:pt x="5866695" y="2020360"/>
                  <a:pt x="5866055" y="2021214"/>
                  <a:pt x="5865202" y="2021641"/>
                </a:cubicBezTo>
                <a:cubicBezTo>
                  <a:pt x="5863494" y="2022067"/>
                  <a:pt x="5863281" y="2020644"/>
                  <a:pt x="5862427" y="2020075"/>
                </a:cubicBezTo>
                <a:cubicBezTo>
                  <a:pt x="5861147" y="2017799"/>
                  <a:pt x="5863067" y="2008836"/>
                  <a:pt x="5864561" y="2008409"/>
                </a:cubicBezTo>
                <a:close/>
                <a:moveTo>
                  <a:pt x="1619987" y="2008407"/>
                </a:moveTo>
                <a:cubicBezTo>
                  <a:pt x="1623911" y="2006704"/>
                  <a:pt x="1628351" y="2008407"/>
                  <a:pt x="1630313" y="2011661"/>
                </a:cubicBezTo>
                <a:cubicBezTo>
                  <a:pt x="1630932" y="2012900"/>
                  <a:pt x="1631345" y="2014139"/>
                  <a:pt x="1631345" y="2015533"/>
                </a:cubicBezTo>
                <a:cubicBezTo>
                  <a:pt x="1631345" y="2017392"/>
                  <a:pt x="1630623" y="2019406"/>
                  <a:pt x="1629073" y="2021419"/>
                </a:cubicBezTo>
                <a:cubicBezTo>
                  <a:pt x="1627215" y="2022658"/>
                  <a:pt x="1624221" y="2021884"/>
                  <a:pt x="1621536" y="2020335"/>
                </a:cubicBezTo>
                <a:lnTo>
                  <a:pt x="1621845" y="2021264"/>
                </a:lnTo>
                <a:cubicBezTo>
                  <a:pt x="1621226" y="2020954"/>
                  <a:pt x="1621123" y="2020799"/>
                  <a:pt x="1621226" y="2020644"/>
                </a:cubicBezTo>
                <a:lnTo>
                  <a:pt x="1621226" y="2020180"/>
                </a:lnTo>
                <a:lnTo>
                  <a:pt x="1618025" y="2017547"/>
                </a:lnTo>
                <a:cubicBezTo>
                  <a:pt x="1617096" y="2016462"/>
                  <a:pt x="1616476" y="2015378"/>
                  <a:pt x="1616373" y="2014294"/>
                </a:cubicBezTo>
                <a:cubicBezTo>
                  <a:pt x="1617612" y="2012280"/>
                  <a:pt x="1618748" y="2010266"/>
                  <a:pt x="1619987" y="2008407"/>
                </a:cubicBezTo>
                <a:close/>
                <a:moveTo>
                  <a:pt x="1546882" y="2007633"/>
                </a:moveTo>
                <a:cubicBezTo>
                  <a:pt x="1549876" y="2006084"/>
                  <a:pt x="1552664" y="2006549"/>
                  <a:pt x="1556898" y="2009183"/>
                </a:cubicBezTo>
                <a:cubicBezTo>
                  <a:pt x="1558137" y="2013209"/>
                  <a:pt x="1553800" y="2019250"/>
                  <a:pt x="1548431" y="2015997"/>
                </a:cubicBezTo>
                <a:cubicBezTo>
                  <a:pt x="1547708" y="2014758"/>
                  <a:pt x="1546882" y="2013674"/>
                  <a:pt x="1546469" y="2012280"/>
                </a:cubicBezTo>
                <a:cubicBezTo>
                  <a:pt x="1546056" y="2011041"/>
                  <a:pt x="1546159" y="2009492"/>
                  <a:pt x="1546882" y="2007633"/>
                </a:cubicBezTo>
                <a:close/>
                <a:moveTo>
                  <a:pt x="1132411" y="2007323"/>
                </a:moveTo>
                <a:lnTo>
                  <a:pt x="1134476" y="2008872"/>
                </a:lnTo>
                <a:lnTo>
                  <a:pt x="1134373" y="2008098"/>
                </a:lnTo>
                <a:cubicBezTo>
                  <a:pt x="1137161" y="2005464"/>
                  <a:pt x="1138916" y="2007014"/>
                  <a:pt x="1142324" y="2008562"/>
                </a:cubicBezTo>
                <a:cubicBezTo>
                  <a:pt x="1141395" y="2009492"/>
                  <a:pt x="1143976" y="2011815"/>
                  <a:pt x="1144802" y="2012745"/>
                </a:cubicBezTo>
                <a:cubicBezTo>
                  <a:pt x="1142943" y="2014449"/>
                  <a:pt x="1145422" y="2017702"/>
                  <a:pt x="1142633" y="2020335"/>
                </a:cubicBezTo>
                <a:cubicBezTo>
                  <a:pt x="1140878" y="2020489"/>
                  <a:pt x="1140052" y="2020489"/>
                  <a:pt x="1138297" y="2019715"/>
                </a:cubicBezTo>
                <a:cubicBezTo>
                  <a:pt x="1136851" y="2018011"/>
                  <a:pt x="1135922" y="2016617"/>
                  <a:pt x="1135405" y="2015223"/>
                </a:cubicBezTo>
                <a:lnTo>
                  <a:pt x="1134476" y="2011970"/>
                </a:lnTo>
                <a:lnTo>
                  <a:pt x="1132824" y="2012125"/>
                </a:lnTo>
                <a:cubicBezTo>
                  <a:pt x="1131689" y="2011661"/>
                  <a:pt x="1130759" y="2010731"/>
                  <a:pt x="1130862" y="2009492"/>
                </a:cubicBezTo>
                <a:cubicBezTo>
                  <a:pt x="1130862" y="2008717"/>
                  <a:pt x="1131275" y="2007943"/>
                  <a:pt x="1132411" y="2007323"/>
                </a:cubicBezTo>
                <a:close/>
                <a:moveTo>
                  <a:pt x="1162562" y="2006859"/>
                </a:moveTo>
                <a:cubicBezTo>
                  <a:pt x="1161323" y="2015223"/>
                  <a:pt x="1161736" y="2023587"/>
                  <a:pt x="1152753" y="2032261"/>
                </a:cubicBezTo>
                <a:cubicBezTo>
                  <a:pt x="1150171" y="2031487"/>
                  <a:pt x="1145731" y="2033346"/>
                  <a:pt x="1145112" y="2029164"/>
                </a:cubicBezTo>
                <a:cubicBezTo>
                  <a:pt x="1155747" y="2023742"/>
                  <a:pt x="1152030" y="2008872"/>
                  <a:pt x="1162562" y="2006859"/>
                </a:cubicBezTo>
                <a:close/>
                <a:moveTo>
                  <a:pt x="786825" y="2006317"/>
                </a:moveTo>
                <a:cubicBezTo>
                  <a:pt x="789962" y="2006162"/>
                  <a:pt x="792956" y="2007788"/>
                  <a:pt x="793627" y="2010576"/>
                </a:cubicBezTo>
                <a:cubicBezTo>
                  <a:pt x="794144" y="2012280"/>
                  <a:pt x="793627" y="2014604"/>
                  <a:pt x="791356" y="2017392"/>
                </a:cubicBezTo>
                <a:cubicBezTo>
                  <a:pt x="786193" y="2014758"/>
                  <a:pt x="782166" y="2016927"/>
                  <a:pt x="779172" y="2012745"/>
                </a:cubicBezTo>
                <a:cubicBezTo>
                  <a:pt x="780411" y="2008408"/>
                  <a:pt x="783689" y="2006472"/>
                  <a:pt x="786825" y="2006317"/>
                </a:cubicBezTo>
                <a:close/>
                <a:moveTo>
                  <a:pt x="5145337" y="2006276"/>
                </a:moveTo>
                <a:cubicBezTo>
                  <a:pt x="5145764" y="2007413"/>
                  <a:pt x="5146831" y="2006987"/>
                  <a:pt x="5146190" y="2008694"/>
                </a:cubicBezTo>
                <a:cubicBezTo>
                  <a:pt x="5150245" y="2009548"/>
                  <a:pt x="5156435" y="2018226"/>
                  <a:pt x="5156861" y="2023063"/>
                </a:cubicBezTo>
                <a:cubicBezTo>
                  <a:pt x="5144269" y="2019364"/>
                  <a:pt x="5147897" y="2010402"/>
                  <a:pt x="5140855" y="2008125"/>
                </a:cubicBezTo>
                <a:cubicBezTo>
                  <a:pt x="5142776" y="2006133"/>
                  <a:pt x="5142776" y="2006133"/>
                  <a:pt x="5145337" y="2006276"/>
                </a:cubicBezTo>
                <a:close/>
                <a:moveTo>
                  <a:pt x="1573419" y="2005949"/>
                </a:moveTo>
                <a:cubicBezTo>
                  <a:pt x="1574941" y="2005155"/>
                  <a:pt x="1576155" y="2004845"/>
                  <a:pt x="1577755" y="2006239"/>
                </a:cubicBezTo>
                <a:cubicBezTo>
                  <a:pt x="1576516" y="2009647"/>
                  <a:pt x="1569701" y="2010886"/>
                  <a:pt x="1567223" y="2008562"/>
                </a:cubicBezTo>
                <a:cubicBezTo>
                  <a:pt x="1570063" y="2008020"/>
                  <a:pt x="1571895" y="2006743"/>
                  <a:pt x="1573419" y="2005949"/>
                </a:cubicBezTo>
                <a:close/>
                <a:moveTo>
                  <a:pt x="817583" y="2005929"/>
                </a:moveTo>
                <a:cubicBezTo>
                  <a:pt x="824398" y="2009027"/>
                  <a:pt x="835343" y="2014449"/>
                  <a:pt x="838544" y="2020954"/>
                </a:cubicBezTo>
                <a:cubicBezTo>
                  <a:pt x="830490" y="2027305"/>
                  <a:pt x="819028" y="2011815"/>
                  <a:pt x="817583" y="2005929"/>
                </a:cubicBezTo>
                <a:close/>
                <a:moveTo>
                  <a:pt x="5791145" y="2004711"/>
                </a:moveTo>
                <a:cubicBezTo>
                  <a:pt x="5793279" y="2005421"/>
                  <a:pt x="5795413" y="2006703"/>
                  <a:pt x="5797548" y="2008409"/>
                </a:cubicBezTo>
                <a:lnTo>
                  <a:pt x="5802029" y="2013389"/>
                </a:lnTo>
                <a:lnTo>
                  <a:pt x="5803950" y="2008409"/>
                </a:lnTo>
                <a:cubicBezTo>
                  <a:pt x="5804377" y="2005707"/>
                  <a:pt x="5805444" y="2005279"/>
                  <a:pt x="5808432" y="2006560"/>
                </a:cubicBezTo>
                <a:cubicBezTo>
                  <a:pt x="5808219" y="2007840"/>
                  <a:pt x="5807152" y="2009832"/>
                  <a:pt x="5805871" y="2011397"/>
                </a:cubicBezTo>
                <a:lnTo>
                  <a:pt x="5802456" y="2013815"/>
                </a:lnTo>
                <a:lnTo>
                  <a:pt x="5802883" y="2014243"/>
                </a:lnTo>
                <a:cubicBezTo>
                  <a:pt x="5804377" y="2016519"/>
                  <a:pt x="5805231" y="2018795"/>
                  <a:pt x="5805231" y="2021214"/>
                </a:cubicBezTo>
                <a:lnTo>
                  <a:pt x="5803737" y="2024913"/>
                </a:lnTo>
                <a:lnTo>
                  <a:pt x="5805871" y="2025908"/>
                </a:lnTo>
                <a:cubicBezTo>
                  <a:pt x="5808005" y="2028611"/>
                  <a:pt x="5806938" y="2034729"/>
                  <a:pt x="5799682" y="2046395"/>
                </a:cubicBezTo>
                <a:cubicBezTo>
                  <a:pt x="5775565" y="2043266"/>
                  <a:pt x="5787730" y="2028896"/>
                  <a:pt x="5797974" y="2025197"/>
                </a:cubicBezTo>
                <a:lnTo>
                  <a:pt x="5800749" y="2024771"/>
                </a:lnTo>
                <a:lnTo>
                  <a:pt x="5796054" y="2016661"/>
                </a:lnTo>
                <a:cubicBezTo>
                  <a:pt x="5793919" y="2012820"/>
                  <a:pt x="5791998" y="2008979"/>
                  <a:pt x="5791145" y="2004711"/>
                </a:cubicBezTo>
                <a:close/>
                <a:moveTo>
                  <a:pt x="6200911" y="2004141"/>
                </a:moveTo>
                <a:cubicBezTo>
                  <a:pt x="6205393" y="2005707"/>
                  <a:pt x="6208594" y="2006844"/>
                  <a:pt x="6210515" y="2008409"/>
                </a:cubicBezTo>
                <a:cubicBezTo>
                  <a:pt x="6208594" y="2017088"/>
                  <a:pt x="6193868" y="2012677"/>
                  <a:pt x="6200911" y="2004141"/>
                </a:cubicBezTo>
                <a:close/>
                <a:moveTo>
                  <a:pt x="5089634" y="2004141"/>
                </a:moveTo>
                <a:cubicBezTo>
                  <a:pt x="5091128" y="2004711"/>
                  <a:pt x="5093049" y="2006276"/>
                  <a:pt x="5094543" y="2006703"/>
                </a:cubicBezTo>
                <a:cubicBezTo>
                  <a:pt x="5094543" y="2006703"/>
                  <a:pt x="5094543" y="2006844"/>
                  <a:pt x="5093902" y="2008409"/>
                </a:cubicBezTo>
                <a:cubicBezTo>
                  <a:pt x="5093049" y="2006276"/>
                  <a:pt x="5088140" y="2007413"/>
                  <a:pt x="5089634" y="2004141"/>
                </a:cubicBezTo>
                <a:close/>
                <a:moveTo>
                  <a:pt x="5962734" y="2003714"/>
                </a:moveTo>
                <a:cubicBezTo>
                  <a:pt x="5965296" y="2003856"/>
                  <a:pt x="5968070" y="2005707"/>
                  <a:pt x="5968284" y="2007271"/>
                </a:cubicBezTo>
                <a:cubicBezTo>
                  <a:pt x="5968497" y="2008979"/>
                  <a:pt x="5967857" y="2009974"/>
                  <a:pt x="5967857" y="2009974"/>
                </a:cubicBezTo>
                <a:cubicBezTo>
                  <a:pt x="5964015" y="2011824"/>
                  <a:pt x="5959960" y="2012250"/>
                  <a:pt x="5959106" y="2007271"/>
                </a:cubicBezTo>
                <a:cubicBezTo>
                  <a:pt x="5958893" y="2005707"/>
                  <a:pt x="5958679" y="2003999"/>
                  <a:pt x="5959533" y="2004568"/>
                </a:cubicBezTo>
                <a:cubicBezTo>
                  <a:pt x="5960173" y="2003572"/>
                  <a:pt x="5961241" y="2004141"/>
                  <a:pt x="5962734" y="2003714"/>
                </a:cubicBezTo>
                <a:close/>
                <a:moveTo>
                  <a:pt x="5815475" y="2003714"/>
                </a:moveTo>
                <a:cubicBezTo>
                  <a:pt x="5818890" y="2003999"/>
                  <a:pt x="5820810" y="2005991"/>
                  <a:pt x="5820810" y="2008409"/>
                </a:cubicBezTo>
                <a:cubicBezTo>
                  <a:pt x="5820810" y="2010685"/>
                  <a:pt x="5819103" y="2013674"/>
                  <a:pt x="5815902" y="2015807"/>
                </a:cubicBezTo>
                <a:cubicBezTo>
                  <a:pt x="5813767" y="2013815"/>
                  <a:pt x="5813127" y="2011539"/>
                  <a:pt x="5813127" y="2009548"/>
                </a:cubicBezTo>
                <a:lnTo>
                  <a:pt x="5813767" y="2007983"/>
                </a:lnTo>
                <a:lnTo>
                  <a:pt x="5814194" y="2006703"/>
                </a:lnTo>
                <a:close/>
                <a:moveTo>
                  <a:pt x="5154300" y="2003714"/>
                </a:moveTo>
                <a:cubicBezTo>
                  <a:pt x="5156861" y="2005849"/>
                  <a:pt x="5158568" y="2009263"/>
                  <a:pt x="5159636" y="2012250"/>
                </a:cubicBezTo>
                <a:cubicBezTo>
                  <a:pt x="5160703" y="2015380"/>
                  <a:pt x="5161130" y="2017942"/>
                  <a:pt x="5161343" y="2018510"/>
                </a:cubicBezTo>
                <a:cubicBezTo>
                  <a:pt x="5160276" y="2018938"/>
                  <a:pt x="5160276" y="2018938"/>
                  <a:pt x="5160276" y="2018938"/>
                </a:cubicBezTo>
                <a:cubicBezTo>
                  <a:pt x="5160063" y="2015239"/>
                  <a:pt x="5156008" y="2012393"/>
                  <a:pt x="5154300" y="2008409"/>
                </a:cubicBezTo>
                <a:cubicBezTo>
                  <a:pt x="5153660" y="2007129"/>
                  <a:pt x="5153233" y="2005707"/>
                  <a:pt x="5153233" y="2004141"/>
                </a:cubicBezTo>
                <a:cubicBezTo>
                  <a:pt x="5153233" y="2004141"/>
                  <a:pt x="5153233" y="2004141"/>
                  <a:pt x="5153660" y="2005279"/>
                </a:cubicBezTo>
                <a:cubicBezTo>
                  <a:pt x="5153660" y="2005279"/>
                  <a:pt x="5153233" y="2004141"/>
                  <a:pt x="5154300" y="2003714"/>
                </a:cubicBezTo>
                <a:close/>
                <a:moveTo>
                  <a:pt x="5081524" y="2003288"/>
                </a:moveTo>
                <a:cubicBezTo>
                  <a:pt x="5088140" y="2005138"/>
                  <a:pt x="5084939" y="2013389"/>
                  <a:pt x="5081524" y="2014385"/>
                </a:cubicBezTo>
                <a:cubicBezTo>
                  <a:pt x="5073841" y="2012677"/>
                  <a:pt x="5078323" y="2004141"/>
                  <a:pt x="5081524" y="2003288"/>
                </a:cubicBezTo>
                <a:close/>
                <a:moveTo>
                  <a:pt x="4992955" y="2002719"/>
                </a:moveTo>
                <a:cubicBezTo>
                  <a:pt x="4993382" y="2005279"/>
                  <a:pt x="4992955" y="2006987"/>
                  <a:pt x="4992741" y="2008694"/>
                </a:cubicBezTo>
                <a:cubicBezTo>
                  <a:pt x="4992955" y="2011255"/>
                  <a:pt x="4992101" y="2011966"/>
                  <a:pt x="4988900" y="2011255"/>
                </a:cubicBezTo>
                <a:cubicBezTo>
                  <a:pt x="4988473" y="2008552"/>
                  <a:pt x="4990394" y="2003003"/>
                  <a:pt x="4992955" y="2002719"/>
                </a:cubicBezTo>
                <a:close/>
                <a:moveTo>
                  <a:pt x="1222967" y="2001747"/>
                </a:moveTo>
                <a:cubicBezTo>
                  <a:pt x="1222967" y="2001747"/>
                  <a:pt x="1223793" y="2002676"/>
                  <a:pt x="1223793" y="2002676"/>
                </a:cubicBezTo>
                <a:cubicBezTo>
                  <a:pt x="1227200" y="2005000"/>
                  <a:pt x="1228646" y="2009957"/>
                  <a:pt x="1227717" y="2011661"/>
                </a:cubicBezTo>
                <a:cubicBezTo>
                  <a:pt x="1225961" y="2013364"/>
                  <a:pt x="1222451" y="2014449"/>
                  <a:pt x="1219972" y="2011970"/>
                </a:cubicBezTo>
                <a:cubicBezTo>
                  <a:pt x="1217391" y="2010421"/>
                  <a:pt x="1217494" y="2007169"/>
                  <a:pt x="1215016" y="2004690"/>
                </a:cubicBezTo>
                <a:cubicBezTo>
                  <a:pt x="1217804" y="2001283"/>
                  <a:pt x="1218733" y="2000353"/>
                  <a:pt x="1222967" y="2001747"/>
                </a:cubicBezTo>
                <a:close/>
                <a:moveTo>
                  <a:pt x="5992400" y="2001723"/>
                </a:moveTo>
                <a:cubicBezTo>
                  <a:pt x="5992613" y="2001866"/>
                  <a:pt x="5992826" y="2002149"/>
                  <a:pt x="5993467" y="2002861"/>
                </a:cubicBezTo>
                <a:cubicBezTo>
                  <a:pt x="5992400" y="2004141"/>
                  <a:pt x="5992400" y="2002861"/>
                  <a:pt x="5991546" y="2002719"/>
                </a:cubicBezTo>
                <a:cubicBezTo>
                  <a:pt x="5991973" y="2002149"/>
                  <a:pt x="5992186" y="2001723"/>
                  <a:pt x="5992400" y="2001723"/>
                </a:cubicBezTo>
                <a:close/>
                <a:moveTo>
                  <a:pt x="5046950" y="2000869"/>
                </a:moveTo>
                <a:cubicBezTo>
                  <a:pt x="5048231" y="2005849"/>
                  <a:pt x="5049725" y="2010685"/>
                  <a:pt x="5048018" y="2013674"/>
                </a:cubicBezTo>
                <a:lnTo>
                  <a:pt x="5045456" y="2013389"/>
                </a:lnTo>
                <a:lnTo>
                  <a:pt x="5045670" y="2014385"/>
                </a:lnTo>
                <a:cubicBezTo>
                  <a:pt x="5046310" y="2016234"/>
                  <a:pt x="5046310" y="2018369"/>
                  <a:pt x="5044816" y="2020075"/>
                </a:cubicBezTo>
                <a:cubicBezTo>
                  <a:pt x="5044389" y="2018938"/>
                  <a:pt x="5043749" y="2017088"/>
                  <a:pt x="5043109" y="2015239"/>
                </a:cubicBezTo>
                <a:lnTo>
                  <a:pt x="5042682" y="2013105"/>
                </a:lnTo>
                <a:lnTo>
                  <a:pt x="5039480" y="2012677"/>
                </a:lnTo>
                <a:cubicBezTo>
                  <a:pt x="5036919" y="2011397"/>
                  <a:pt x="5034785" y="2008979"/>
                  <a:pt x="5033291" y="2005421"/>
                </a:cubicBezTo>
                <a:cubicBezTo>
                  <a:pt x="5034999" y="1999874"/>
                  <a:pt x="5042895" y="2000869"/>
                  <a:pt x="5046950" y="2000869"/>
                </a:cubicBezTo>
                <a:close/>
                <a:moveTo>
                  <a:pt x="5949929" y="2000584"/>
                </a:moveTo>
                <a:cubicBezTo>
                  <a:pt x="5951850" y="2000727"/>
                  <a:pt x="5952917" y="2001438"/>
                  <a:pt x="5953558" y="2002719"/>
                </a:cubicBezTo>
                <a:cubicBezTo>
                  <a:pt x="5953984" y="2003999"/>
                  <a:pt x="5953771" y="2005707"/>
                  <a:pt x="5953558" y="2007983"/>
                </a:cubicBezTo>
                <a:cubicBezTo>
                  <a:pt x="5953130" y="2012393"/>
                  <a:pt x="5949502" y="2013247"/>
                  <a:pt x="5948435" y="2016661"/>
                </a:cubicBezTo>
                <a:cubicBezTo>
                  <a:pt x="5946301" y="2015239"/>
                  <a:pt x="5942673" y="2013389"/>
                  <a:pt x="5943740" y="2007271"/>
                </a:cubicBezTo>
                <a:cubicBezTo>
                  <a:pt x="5944167" y="2005564"/>
                  <a:pt x="5944167" y="2005564"/>
                  <a:pt x="5945234" y="2004853"/>
                </a:cubicBezTo>
                <a:cubicBezTo>
                  <a:pt x="5946728" y="2002576"/>
                  <a:pt x="5947155" y="2000869"/>
                  <a:pt x="5949929" y="2000584"/>
                </a:cubicBezTo>
                <a:close/>
                <a:moveTo>
                  <a:pt x="5420648" y="2000300"/>
                </a:moveTo>
                <a:cubicBezTo>
                  <a:pt x="5420862" y="2000443"/>
                  <a:pt x="5421075" y="2000869"/>
                  <a:pt x="5421289" y="2001723"/>
                </a:cubicBezTo>
                <a:cubicBezTo>
                  <a:pt x="5420862" y="2002719"/>
                  <a:pt x="5420435" y="2003714"/>
                  <a:pt x="5419368" y="2003146"/>
                </a:cubicBezTo>
                <a:cubicBezTo>
                  <a:pt x="5418941" y="2004284"/>
                  <a:pt x="5418941" y="2004141"/>
                  <a:pt x="5417874" y="2003714"/>
                </a:cubicBezTo>
                <a:cubicBezTo>
                  <a:pt x="5418514" y="2002576"/>
                  <a:pt x="5418941" y="2001581"/>
                  <a:pt x="5419368" y="2000584"/>
                </a:cubicBezTo>
                <a:cubicBezTo>
                  <a:pt x="5420008" y="2000300"/>
                  <a:pt x="5420435" y="2000158"/>
                  <a:pt x="5420648" y="2000300"/>
                </a:cubicBezTo>
                <a:close/>
                <a:moveTo>
                  <a:pt x="5634281" y="1999589"/>
                </a:moveTo>
                <a:cubicBezTo>
                  <a:pt x="5635562" y="2000727"/>
                  <a:pt x="5635775" y="2001866"/>
                  <a:pt x="5635989" y="2003146"/>
                </a:cubicBezTo>
                <a:cubicBezTo>
                  <a:pt x="5634921" y="2004426"/>
                  <a:pt x="5633854" y="2004426"/>
                  <a:pt x="5632787" y="2005707"/>
                </a:cubicBezTo>
                <a:cubicBezTo>
                  <a:pt x="5633001" y="2006844"/>
                  <a:pt x="5633428" y="2009263"/>
                  <a:pt x="5632361" y="2010544"/>
                </a:cubicBezTo>
                <a:cubicBezTo>
                  <a:pt x="5631507" y="2011682"/>
                  <a:pt x="5629373" y="2013105"/>
                  <a:pt x="5629373" y="2013105"/>
                </a:cubicBezTo>
                <a:cubicBezTo>
                  <a:pt x="5627879" y="2011966"/>
                  <a:pt x="5627879" y="2011966"/>
                  <a:pt x="5629159" y="2011966"/>
                </a:cubicBezTo>
                <a:cubicBezTo>
                  <a:pt x="5629800" y="2009548"/>
                  <a:pt x="5630013" y="2010685"/>
                  <a:pt x="5631080" y="2009405"/>
                </a:cubicBezTo>
                <a:cubicBezTo>
                  <a:pt x="5631934" y="2008125"/>
                  <a:pt x="5633428" y="2002149"/>
                  <a:pt x="5632147" y="2001012"/>
                </a:cubicBezTo>
                <a:cubicBezTo>
                  <a:pt x="5633428" y="2000869"/>
                  <a:pt x="5634281" y="1999589"/>
                  <a:pt x="5634281" y="1999589"/>
                </a:cubicBezTo>
                <a:close/>
                <a:moveTo>
                  <a:pt x="1142737" y="1998650"/>
                </a:moveTo>
                <a:cubicBezTo>
                  <a:pt x="1141601" y="2000198"/>
                  <a:pt x="1140568" y="2001128"/>
                  <a:pt x="1139639" y="2001902"/>
                </a:cubicBezTo>
                <a:cubicBezTo>
                  <a:pt x="1138503" y="2003451"/>
                  <a:pt x="1137574" y="2003451"/>
                  <a:pt x="1136025" y="2001747"/>
                </a:cubicBezTo>
                <a:cubicBezTo>
                  <a:pt x="1137058" y="2000043"/>
                  <a:pt x="1140981" y="1997720"/>
                  <a:pt x="1142737" y="1998650"/>
                </a:cubicBezTo>
                <a:close/>
                <a:moveTo>
                  <a:pt x="4902252" y="1998308"/>
                </a:moveTo>
                <a:cubicBezTo>
                  <a:pt x="4906947" y="1998166"/>
                  <a:pt x="4909935" y="2000158"/>
                  <a:pt x="4913990" y="2005849"/>
                </a:cubicBezTo>
                <a:cubicBezTo>
                  <a:pt x="4913136" y="2011682"/>
                  <a:pt x="4904386" y="2016803"/>
                  <a:pt x="4899477" y="2009690"/>
                </a:cubicBezTo>
                <a:lnTo>
                  <a:pt x="4897556" y="2010544"/>
                </a:lnTo>
                <a:lnTo>
                  <a:pt x="4892861" y="2010970"/>
                </a:lnTo>
                <a:lnTo>
                  <a:pt x="4892221" y="2012393"/>
                </a:lnTo>
                <a:cubicBezTo>
                  <a:pt x="4892221" y="2013531"/>
                  <a:pt x="4887312" y="2011113"/>
                  <a:pt x="4886245" y="2011113"/>
                </a:cubicBezTo>
                <a:lnTo>
                  <a:pt x="4886458" y="2010970"/>
                </a:lnTo>
                <a:lnTo>
                  <a:pt x="4880056" y="2009974"/>
                </a:lnTo>
                <a:cubicBezTo>
                  <a:pt x="4882830" y="2003572"/>
                  <a:pt x="4888593" y="2001438"/>
                  <a:pt x="4894995" y="2001296"/>
                </a:cubicBezTo>
                <a:lnTo>
                  <a:pt x="4900117" y="2001866"/>
                </a:lnTo>
                <a:close/>
                <a:moveTo>
                  <a:pt x="5616567" y="1997597"/>
                </a:moveTo>
                <a:cubicBezTo>
                  <a:pt x="5616354" y="2000016"/>
                  <a:pt x="5613793" y="2013105"/>
                  <a:pt x="5611232" y="2016661"/>
                </a:cubicBezTo>
                <a:cubicBezTo>
                  <a:pt x="5612939" y="2010685"/>
                  <a:pt x="5612726" y="2002292"/>
                  <a:pt x="5616567" y="1997597"/>
                </a:cubicBezTo>
                <a:close/>
                <a:moveTo>
                  <a:pt x="4993595" y="1997597"/>
                </a:moveTo>
                <a:cubicBezTo>
                  <a:pt x="4994449" y="1997882"/>
                  <a:pt x="4994663" y="1998308"/>
                  <a:pt x="4994876" y="1998735"/>
                </a:cubicBezTo>
                <a:cubicBezTo>
                  <a:pt x="4994876" y="1999162"/>
                  <a:pt x="4994876" y="1999589"/>
                  <a:pt x="4994876" y="1999589"/>
                </a:cubicBezTo>
                <a:cubicBezTo>
                  <a:pt x="4994663" y="2001296"/>
                  <a:pt x="4994449" y="2002861"/>
                  <a:pt x="4992741" y="2002434"/>
                </a:cubicBezTo>
                <a:cubicBezTo>
                  <a:pt x="4992741" y="2002434"/>
                  <a:pt x="4992101" y="2001581"/>
                  <a:pt x="4992741" y="1998166"/>
                </a:cubicBezTo>
                <a:cubicBezTo>
                  <a:pt x="4993382" y="1999304"/>
                  <a:pt x="4994235" y="1998593"/>
                  <a:pt x="4994235" y="1998593"/>
                </a:cubicBezTo>
                <a:cubicBezTo>
                  <a:pt x="4994235" y="1998593"/>
                  <a:pt x="4994235" y="1998593"/>
                  <a:pt x="4993595" y="1997597"/>
                </a:cubicBezTo>
                <a:close/>
                <a:moveTo>
                  <a:pt x="945285" y="1997584"/>
                </a:moveTo>
                <a:cubicBezTo>
                  <a:pt x="948486" y="1999036"/>
                  <a:pt x="951455" y="2001205"/>
                  <a:pt x="952745" y="2001747"/>
                </a:cubicBezTo>
                <a:cubicBezTo>
                  <a:pt x="952745" y="2001747"/>
                  <a:pt x="953571" y="2001902"/>
                  <a:pt x="954397" y="2002831"/>
                </a:cubicBezTo>
                <a:cubicBezTo>
                  <a:pt x="956153" y="2003761"/>
                  <a:pt x="953571" y="2004380"/>
                  <a:pt x="954397" y="2005310"/>
                </a:cubicBezTo>
                <a:cubicBezTo>
                  <a:pt x="947479" y="2002986"/>
                  <a:pt x="941490" y="2003916"/>
                  <a:pt x="941490" y="2003916"/>
                </a:cubicBezTo>
                <a:cubicBezTo>
                  <a:pt x="939735" y="2002986"/>
                  <a:pt x="939838" y="2002212"/>
                  <a:pt x="939838" y="2002986"/>
                </a:cubicBezTo>
                <a:cubicBezTo>
                  <a:pt x="938083" y="2001128"/>
                  <a:pt x="935605" y="1999269"/>
                  <a:pt x="936431" y="1997720"/>
                </a:cubicBezTo>
                <a:cubicBezTo>
                  <a:pt x="938651" y="1995396"/>
                  <a:pt x="942084" y="1996132"/>
                  <a:pt x="945285" y="1997584"/>
                </a:cubicBezTo>
                <a:close/>
                <a:moveTo>
                  <a:pt x="6046395" y="1996885"/>
                </a:moveTo>
                <a:cubicBezTo>
                  <a:pt x="6048956" y="1997028"/>
                  <a:pt x="6050237" y="1999304"/>
                  <a:pt x="6051304" y="2001581"/>
                </a:cubicBezTo>
                <a:cubicBezTo>
                  <a:pt x="6052157" y="2003430"/>
                  <a:pt x="6051944" y="2004853"/>
                  <a:pt x="6051090" y="2005849"/>
                </a:cubicBezTo>
                <a:cubicBezTo>
                  <a:pt x="6050237" y="2006703"/>
                  <a:pt x="6048956" y="2007413"/>
                  <a:pt x="6047462" y="2007840"/>
                </a:cubicBezTo>
                <a:cubicBezTo>
                  <a:pt x="6044047" y="2008694"/>
                  <a:pt x="6042981" y="2006560"/>
                  <a:pt x="6042981" y="2006560"/>
                </a:cubicBezTo>
                <a:cubicBezTo>
                  <a:pt x="6041486" y="2002576"/>
                  <a:pt x="6042553" y="1998877"/>
                  <a:pt x="6046395" y="1996885"/>
                </a:cubicBezTo>
                <a:close/>
                <a:moveTo>
                  <a:pt x="4873440" y="1996885"/>
                </a:moveTo>
                <a:cubicBezTo>
                  <a:pt x="4877495" y="1996174"/>
                  <a:pt x="4881550" y="2001438"/>
                  <a:pt x="4881123" y="2004853"/>
                </a:cubicBezTo>
                <a:cubicBezTo>
                  <a:pt x="4876855" y="2008836"/>
                  <a:pt x="4870239" y="2004853"/>
                  <a:pt x="4869812" y="1999874"/>
                </a:cubicBezTo>
                <a:cubicBezTo>
                  <a:pt x="4870879" y="1998024"/>
                  <a:pt x="4872159" y="1997171"/>
                  <a:pt x="4873440" y="1996885"/>
                </a:cubicBezTo>
                <a:close/>
                <a:moveTo>
                  <a:pt x="4755206" y="1996174"/>
                </a:moveTo>
                <a:cubicBezTo>
                  <a:pt x="4756913" y="1995890"/>
                  <a:pt x="4758407" y="1996744"/>
                  <a:pt x="4759687" y="1998451"/>
                </a:cubicBezTo>
                <a:cubicBezTo>
                  <a:pt x="4760541" y="1999589"/>
                  <a:pt x="4761181" y="2001012"/>
                  <a:pt x="4761394" y="2003003"/>
                </a:cubicBezTo>
                <a:lnTo>
                  <a:pt x="4758193" y="2003430"/>
                </a:lnTo>
                <a:lnTo>
                  <a:pt x="4757126" y="2006276"/>
                </a:lnTo>
                <a:cubicBezTo>
                  <a:pt x="4757126" y="2006276"/>
                  <a:pt x="4756059" y="2006133"/>
                  <a:pt x="4756059" y="2006133"/>
                </a:cubicBezTo>
                <a:lnTo>
                  <a:pt x="4754779" y="2003999"/>
                </a:lnTo>
                <a:lnTo>
                  <a:pt x="4754565" y="2004141"/>
                </a:lnTo>
                <a:cubicBezTo>
                  <a:pt x="4752644" y="2003572"/>
                  <a:pt x="4751151" y="2002008"/>
                  <a:pt x="4750296" y="2000158"/>
                </a:cubicBezTo>
                <a:cubicBezTo>
                  <a:pt x="4751577" y="1997739"/>
                  <a:pt x="4753498" y="1996459"/>
                  <a:pt x="4755206" y="1996174"/>
                </a:cubicBezTo>
                <a:close/>
                <a:moveTo>
                  <a:pt x="1144802" y="1996016"/>
                </a:moveTo>
                <a:cubicBezTo>
                  <a:pt x="1144699" y="1996790"/>
                  <a:pt x="1145525" y="1996945"/>
                  <a:pt x="1145525" y="1996945"/>
                </a:cubicBezTo>
                <a:cubicBezTo>
                  <a:pt x="1145525" y="1996945"/>
                  <a:pt x="1145525" y="1996945"/>
                  <a:pt x="1145628" y="1996016"/>
                </a:cubicBezTo>
                <a:cubicBezTo>
                  <a:pt x="1146041" y="1996481"/>
                  <a:pt x="1145938" y="1996945"/>
                  <a:pt x="1145834" y="1997255"/>
                </a:cubicBezTo>
                <a:cubicBezTo>
                  <a:pt x="1145628" y="1997565"/>
                  <a:pt x="1145422" y="1997720"/>
                  <a:pt x="1145422" y="1997720"/>
                </a:cubicBezTo>
                <a:cubicBezTo>
                  <a:pt x="1144492" y="1998494"/>
                  <a:pt x="1143460" y="1999424"/>
                  <a:pt x="1142737" y="1998494"/>
                </a:cubicBezTo>
                <a:cubicBezTo>
                  <a:pt x="1142737" y="1998494"/>
                  <a:pt x="1142840" y="1997565"/>
                  <a:pt x="1144802" y="1996016"/>
                </a:cubicBezTo>
                <a:close/>
                <a:moveTo>
                  <a:pt x="5120153" y="1994609"/>
                </a:moveTo>
                <a:cubicBezTo>
                  <a:pt x="5127196" y="1995320"/>
                  <a:pt x="5133172" y="2006987"/>
                  <a:pt x="5135519" y="2009405"/>
                </a:cubicBezTo>
                <a:cubicBezTo>
                  <a:pt x="5135519" y="2009405"/>
                  <a:pt x="5136586" y="2009974"/>
                  <a:pt x="5137226" y="2011682"/>
                </a:cubicBezTo>
                <a:cubicBezTo>
                  <a:pt x="5138721" y="2013815"/>
                  <a:pt x="5135093" y="2013105"/>
                  <a:pt x="5135519" y="2014812"/>
                </a:cubicBezTo>
                <a:cubicBezTo>
                  <a:pt x="5128263" y="2007983"/>
                  <a:pt x="5120153" y="2005991"/>
                  <a:pt x="5120153" y="2005991"/>
                </a:cubicBezTo>
                <a:cubicBezTo>
                  <a:pt x="5118659" y="2003714"/>
                  <a:pt x="5119086" y="2002719"/>
                  <a:pt x="5118659" y="2003714"/>
                </a:cubicBezTo>
                <a:cubicBezTo>
                  <a:pt x="5117379" y="2000443"/>
                  <a:pt x="5115244" y="1996601"/>
                  <a:pt x="5117379" y="1995179"/>
                </a:cubicBezTo>
                <a:cubicBezTo>
                  <a:pt x="5118232" y="1994752"/>
                  <a:pt x="5119299" y="1994609"/>
                  <a:pt x="5120153" y="1994609"/>
                </a:cubicBezTo>
                <a:close/>
                <a:moveTo>
                  <a:pt x="5251406" y="1994182"/>
                </a:moveTo>
                <a:cubicBezTo>
                  <a:pt x="5257595" y="1993898"/>
                  <a:pt x="5263998" y="1995605"/>
                  <a:pt x="5268053" y="1997455"/>
                </a:cubicBezTo>
                <a:cubicBezTo>
                  <a:pt x="5263145" y="1999589"/>
                  <a:pt x="5258022" y="2002008"/>
                  <a:pt x="5252687" y="2003430"/>
                </a:cubicBezTo>
                <a:lnTo>
                  <a:pt x="5245644" y="2004426"/>
                </a:lnTo>
                <a:lnTo>
                  <a:pt x="5246498" y="2005849"/>
                </a:lnTo>
                <a:cubicBezTo>
                  <a:pt x="5247565" y="2009121"/>
                  <a:pt x="5247138" y="2012677"/>
                  <a:pt x="5242656" y="2013105"/>
                </a:cubicBezTo>
                <a:cubicBezTo>
                  <a:pt x="5241376" y="2013389"/>
                  <a:pt x="5240308" y="2012820"/>
                  <a:pt x="5239455" y="2011682"/>
                </a:cubicBezTo>
                <a:cubicBezTo>
                  <a:pt x="5238174" y="2009974"/>
                  <a:pt x="5237107" y="2007129"/>
                  <a:pt x="5237320" y="2004568"/>
                </a:cubicBezTo>
                <a:lnTo>
                  <a:pt x="5237320" y="2003714"/>
                </a:lnTo>
                <a:lnTo>
                  <a:pt x="5235400" y="2003430"/>
                </a:lnTo>
                <a:lnTo>
                  <a:pt x="5237107" y="2001723"/>
                </a:lnTo>
                <a:lnTo>
                  <a:pt x="5236894" y="2001438"/>
                </a:lnTo>
                <a:cubicBezTo>
                  <a:pt x="5236680" y="2001012"/>
                  <a:pt x="5236680" y="2000584"/>
                  <a:pt x="5237320" y="2000727"/>
                </a:cubicBezTo>
                <a:cubicBezTo>
                  <a:pt x="5237320" y="1999589"/>
                  <a:pt x="5238388" y="1999731"/>
                  <a:pt x="5239668" y="1998735"/>
                </a:cubicBezTo>
                <a:lnTo>
                  <a:pt x="5240095" y="1998735"/>
                </a:lnTo>
                <a:lnTo>
                  <a:pt x="5242443" y="1996601"/>
                </a:lnTo>
                <a:cubicBezTo>
                  <a:pt x="5245217" y="1995036"/>
                  <a:pt x="5248205" y="1994467"/>
                  <a:pt x="5251406" y="1994182"/>
                </a:cubicBezTo>
                <a:close/>
                <a:moveTo>
                  <a:pt x="759140" y="1993847"/>
                </a:moveTo>
                <a:cubicBezTo>
                  <a:pt x="765232" y="1989820"/>
                  <a:pt x="777726" y="1999578"/>
                  <a:pt x="774112" y="2004535"/>
                </a:cubicBezTo>
                <a:cubicBezTo>
                  <a:pt x="773596" y="2005155"/>
                  <a:pt x="772666" y="2005774"/>
                  <a:pt x="771427" y="2006239"/>
                </a:cubicBezTo>
                <a:cubicBezTo>
                  <a:pt x="764096" y="2005464"/>
                  <a:pt x="758727" y="2003141"/>
                  <a:pt x="757797" y="1996016"/>
                </a:cubicBezTo>
                <a:cubicBezTo>
                  <a:pt x="759037" y="1996171"/>
                  <a:pt x="759140" y="1994932"/>
                  <a:pt x="759140" y="1993847"/>
                </a:cubicBezTo>
                <a:close/>
                <a:moveTo>
                  <a:pt x="1133857" y="1993538"/>
                </a:moveTo>
                <a:cubicBezTo>
                  <a:pt x="1134580" y="1995396"/>
                  <a:pt x="1134476" y="1996945"/>
                  <a:pt x="1133857" y="1998339"/>
                </a:cubicBezTo>
                <a:lnTo>
                  <a:pt x="1132928" y="1999269"/>
                </a:lnTo>
                <a:lnTo>
                  <a:pt x="1132308" y="1999888"/>
                </a:lnTo>
                <a:lnTo>
                  <a:pt x="1130553" y="2001437"/>
                </a:lnTo>
                <a:cubicBezTo>
                  <a:pt x="1129417" y="2000817"/>
                  <a:pt x="1128694" y="2000198"/>
                  <a:pt x="1128384" y="1999269"/>
                </a:cubicBezTo>
                <a:cubicBezTo>
                  <a:pt x="1128074" y="1998494"/>
                  <a:pt x="1128074" y="1997720"/>
                  <a:pt x="1128488" y="1996945"/>
                </a:cubicBezTo>
                <a:cubicBezTo>
                  <a:pt x="1129107" y="1995241"/>
                  <a:pt x="1131069" y="1993847"/>
                  <a:pt x="1133857" y="1993538"/>
                </a:cubicBezTo>
                <a:close/>
                <a:moveTo>
                  <a:pt x="1152236" y="1992763"/>
                </a:moveTo>
                <a:cubicBezTo>
                  <a:pt x="1153992" y="1993228"/>
                  <a:pt x="1155747" y="1993847"/>
                  <a:pt x="1157503" y="1994467"/>
                </a:cubicBezTo>
                <a:cubicBezTo>
                  <a:pt x="1156676" y="1994622"/>
                  <a:pt x="1158741" y="2001902"/>
                  <a:pt x="1158741" y="2001902"/>
                </a:cubicBezTo>
                <a:cubicBezTo>
                  <a:pt x="1157193" y="2003761"/>
                  <a:pt x="1157193" y="2003761"/>
                  <a:pt x="1154508" y="2002521"/>
                </a:cubicBezTo>
                <a:cubicBezTo>
                  <a:pt x="1153579" y="2001747"/>
                  <a:pt x="1152649" y="2000043"/>
                  <a:pt x="1152133" y="1998030"/>
                </a:cubicBezTo>
                <a:cubicBezTo>
                  <a:pt x="1151823" y="1997100"/>
                  <a:pt x="1151720" y="1996016"/>
                  <a:pt x="1151720" y="1995086"/>
                </a:cubicBezTo>
                <a:cubicBezTo>
                  <a:pt x="1151720" y="1994157"/>
                  <a:pt x="1151927" y="1993383"/>
                  <a:pt x="1152236" y="1992763"/>
                </a:cubicBezTo>
                <a:close/>
                <a:moveTo>
                  <a:pt x="1540790" y="1992608"/>
                </a:moveTo>
                <a:cubicBezTo>
                  <a:pt x="1543681" y="1991834"/>
                  <a:pt x="1545746" y="1992298"/>
                  <a:pt x="1546985" y="1993538"/>
                </a:cubicBezTo>
                <a:cubicBezTo>
                  <a:pt x="1550805" y="1997100"/>
                  <a:pt x="1547708" y="2006239"/>
                  <a:pt x="1540170" y="2004535"/>
                </a:cubicBezTo>
                <a:cubicBezTo>
                  <a:pt x="1539137" y="2003296"/>
                  <a:pt x="1538931" y="2000817"/>
                  <a:pt x="1539137" y="1998494"/>
                </a:cubicBezTo>
                <a:cubicBezTo>
                  <a:pt x="1539344" y="1996016"/>
                  <a:pt x="1539964" y="1993693"/>
                  <a:pt x="1540790" y="1992608"/>
                </a:cubicBezTo>
                <a:close/>
                <a:moveTo>
                  <a:pt x="1535313" y="1991597"/>
                </a:moveTo>
                <a:lnTo>
                  <a:pt x="1537279" y="1992298"/>
                </a:lnTo>
                <a:cubicBezTo>
                  <a:pt x="1538002" y="1992608"/>
                  <a:pt x="1538725" y="1993073"/>
                  <a:pt x="1538621" y="1994002"/>
                </a:cubicBezTo>
                <a:close/>
                <a:moveTo>
                  <a:pt x="1535214" y="1991524"/>
                </a:moveTo>
                <a:lnTo>
                  <a:pt x="1535313" y="1991597"/>
                </a:lnTo>
                <a:lnTo>
                  <a:pt x="1535246" y="1991572"/>
                </a:lnTo>
                <a:close/>
                <a:moveTo>
                  <a:pt x="1128178" y="1991369"/>
                </a:moveTo>
                <a:cubicBezTo>
                  <a:pt x="1128591" y="1990750"/>
                  <a:pt x="1129313" y="1991214"/>
                  <a:pt x="1128900" y="1991834"/>
                </a:cubicBezTo>
                <a:cubicBezTo>
                  <a:pt x="1130036" y="1993538"/>
                  <a:pt x="1127661" y="1993693"/>
                  <a:pt x="1126526" y="1993847"/>
                </a:cubicBezTo>
                <a:cubicBezTo>
                  <a:pt x="1127765" y="1991989"/>
                  <a:pt x="1127352" y="1990904"/>
                  <a:pt x="1128178" y="1991369"/>
                </a:cubicBezTo>
                <a:close/>
                <a:moveTo>
                  <a:pt x="1266025" y="1990750"/>
                </a:moveTo>
                <a:cubicBezTo>
                  <a:pt x="1266334" y="1990904"/>
                  <a:pt x="1266541" y="1991214"/>
                  <a:pt x="1266541" y="1991214"/>
                </a:cubicBezTo>
                <a:cubicBezTo>
                  <a:pt x="1267264" y="1991989"/>
                  <a:pt x="1268090" y="1992918"/>
                  <a:pt x="1267057" y="1993693"/>
                </a:cubicBezTo>
                <a:cubicBezTo>
                  <a:pt x="1267057" y="1993693"/>
                  <a:pt x="1266128" y="1993693"/>
                  <a:pt x="1264682" y="1991834"/>
                </a:cubicBezTo>
                <a:cubicBezTo>
                  <a:pt x="1265612" y="1991989"/>
                  <a:pt x="1265715" y="1991059"/>
                  <a:pt x="1265715" y="1991059"/>
                </a:cubicBezTo>
                <a:cubicBezTo>
                  <a:pt x="1265715" y="1991059"/>
                  <a:pt x="1265715" y="1991059"/>
                  <a:pt x="1264889" y="1991059"/>
                </a:cubicBezTo>
                <a:cubicBezTo>
                  <a:pt x="1265302" y="1990594"/>
                  <a:pt x="1265818" y="1990750"/>
                  <a:pt x="1266025" y="1990750"/>
                </a:cubicBezTo>
                <a:close/>
                <a:moveTo>
                  <a:pt x="5802883" y="1990626"/>
                </a:moveTo>
                <a:lnTo>
                  <a:pt x="5804590" y="1992760"/>
                </a:lnTo>
                <a:lnTo>
                  <a:pt x="5805231" y="1992476"/>
                </a:lnTo>
                <a:lnTo>
                  <a:pt x="5803950" y="1990768"/>
                </a:lnTo>
                <a:close/>
                <a:moveTo>
                  <a:pt x="781237" y="1990285"/>
                </a:moveTo>
                <a:cubicBezTo>
                  <a:pt x="789704" y="1989511"/>
                  <a:pt x="790530" y="1996171"/>
                  <a:pt x="786709" y="1999114"/>
                </a:cubicBezTo>
                <a:cubicBezTo>
                  <a:pt x="785470" y="2000043"/>
                  <a:pt x="783612" y="2000663"/>
                  <a:pt x="781443" y="2000508"/>
                </a:cubicBezTo>
                <a:cubicBezTo>
                  <a:pt x="780617" y="1999424"/>
                  <a:pt x="780101" y="1997255"/>
                  <a:pt x="779998" y="1995241"/>
                </a:cubicBezTo>
                <a:cubicBezTo>
                  <a:pt x="779894" y="1993073"/>
                  <a:pt x="780307" y="1991059"/>
                  <a:pt x="781237" y="1990285"/>
                </a:cubicBezTo>
                <a:close/>
                <a:moveTo>
                  <a:pt x="5438149" y="1989915"/>
                </a:moveTo>
                <a:cubicBezTo>
                  <a:pt x="5439643" y="1990341"/>
                  <a:pt x="5440496" y="1991195"/>
                  <a:pt x="5440923" y="1992190"/>
                </a:cubicBezTo>
                <a:cubicBezTo>
                  <a:pt x="5442204" y="1995320"/>
                  <a:pt x="5439216" y="2000158"/>
                  <a:pt x="5436441" y="2001012"/>
                </a:cubicBezTo>
                <a:cubicBezTo>
                  <a:pt x="5428972" y="1999731"/>
                  <a:pt x="5434520" y="1990910"/>
                  <a:pt x="5438149" y="1989915"/>
                </a:cubicBezTo>
                <a:close/>
                <a:moveTo>
                  <a:pt x="6131763" y="1988777"/>
                </a:moveTo>
                <a:cubicBezTo>
                  <a:pt x="6131763" y="1990057"/>
                  <a:pt x="6131976" y="1992333"/>
                  <a:pt x="6134324" y="1993755"/>
                </a:cubicBezTo>
                <a:cubicBezTo>
                  <a:pt x="6132189" y="1996032"/>
                  <a:pt x="6130056" y="1998308"/>
                  <a:pt x="6127494" y="1995748"/>
                </a:cubicBezTo>
                <a:cubicBezTo>
                  <a:pt x="6126427" y="1994467"/>
                  <a:pt x="6125147" y="1993187"/>
                  <a:pt x="6124933" y="1990910"/>
                </a:cubicBezTo>
                <a:cubicBezTo>
                  <a:pt x="6127068" y="1988635"/>
                  <a:pt x="6130696" y="1989915"/>
                  <a:pt x="6131763" y="1988777"/>
                </a:cubicBezTo>
                <a:close/>
                <a:moveTo>
                  <a:pt x="6261949" y="1988065"/>
                </a:moveTo>
                <a:cubicBezTo>
                  <a:pt x="6266217" y="1988349"/>
                  <a:pt x="6273047" y="1990910"/>
                  <a:pt x="6273047" y="1991764"/>
                </a:cubicBezTo>
                <a:cubicBezTo>
                  <a:pt x="6274327" y="1991907"/>
                  <a:pt x="6274114" y="1993045"/>
                  <a:pt x="6275394" y="1993187"/>
                </a:cubicBezTo>
                <a:cubicBezTo>
                  <a:pt x="6275394" y="1993187"/>
                  <a:pt x="6276462" y="1993187"/>
                  <a:pt x="6277742" y="1994467"/>
                </a:cubicBezTo>
                <a:cubicBezTo>
                  <a:pt x="6279022" y="1995748"/>
                  <a:pt x="6280303" y="1997028"/>
                  <a:pt x="6279236" y="1999447"/>
                </a:cubicBezTo>
                <a:cubicBezTo>
                  <a:pt x="6269632" y="1995320"/>
                  <a:pt x="6264937" y="1995179"/>
                  <a:pt x="6257894" y="1991195"/>
                </a:cubicBezTo>
                <a:cubicBezTo>
                  <a:pt x="6257894" y="1990057"/>
                  <a:pt x="6258961" y="1990057"/>
                  <a:pt x="6258961" y="1988777"/>
                </a:cubicBezTo>
                <a:cubicBezTo>
                  <a:pt x="6259388" y="1988208"/>
                  <a:pt x="6260668" y="1988065"/>
                  <a:pt x="6261949" y="1988065"/>
                </a:cubicBezTo>
                <a:close/>
                <a:moveTo>
                  <a:pt x="734668" y="1987961"/>
                </a:moveTo>
                <a:cubicBezTo>
                  <a:pt x="740037" y="1986412"/>
                  <a:pt x="750260" y="2002057"/>
                  <a:pt x="732087" y="1996636"/>
                </a:cubicBezTo>
                <a:cubicBezTo>
                  <a:pt x="731570" y="1990904"/>
                  <a:pt x="732810" y="1988426"/>
                  <a:pt x="734668" y="1987961"/>
                </a:cubicBezTo>
                <a:close/>
                <a:moveTo>
                  <a:pt x="5941179" y="1986643"/>
                </a:moveTo>
                <a:cubicBezTo>
                  <a:pt x="5938618" y="2006418"/>
                  <a:pt x="5917703" y="2016945"/>
                  <a:pt x="5902336" y="2029750"/>
                </a:cubicBezTo>
                <a:lnTo>
                  <a:pt x="5901056" y="2028327"/>
                </a:lnTo>
                <a:lnTo>
                  <a:pt x="5901483" y="2031600"/>
                </a:lnTo>
                <a:cubicBezTo>
                  <a:pt x="5901483" y="2033591"/>
                  <a:pt x="5901056" y="2035298"/>
                  <a:pt x="5900416" y="2036579"/>
                </a:cubicBezTo>
                <a:cubicBezTo>
                  <a:pt x="5899775" y="2037574"/>
                  <a:pt x="5899135" y="2038286"/>
                  <a:pt x="5898068" y="2038713"/>
                </a:cubicBezTo>
                <a:cubicBezTo>
                  <a:pt x="5895720" y="2040278"/>
                  <a:pt x="5894653" y="2038001"/>
                  <a:pt x="5894013" y="2034729"/>
                </a:cubicBezTo>
                <a:cubicBezTo>
                  <a:pt x="5891239" y="2028470"/>
                  <a:pt x="5892306" y="2024771"/>
                  <a:pt x="5897215" y="2023490"/>
                </a:cubicBezTo>
                <a:lnTo>
                  <a:pt x="5898495" y="2024628"/>
                </a:lnTo>
                <a:lnTo>
                  <a:pt x="5894867" y="2018084"/>
                </a:lnTo>
                <a:lnTo>
                  <a:pt x="5900416" y="2014243"/>
                </a:lnTo>
                <a:lnTo>
                  <a:pt x="5899775" y="2013247"/>
                </a:lnTo>
                <a:cubicBezTo>
                  <a:pt x="5900416" y="2012250"/>
                  <a:pt x="5899989" y="2010544"/>
                  <a:pt x="5900629" y="2009548"/>
                </a:cubicBezTo>
                <a:cubicBezTo>
                  <a:pt x="5901696" y="2010259"/>
                  <a:pt x="5904258" y="2010402"/>
                  <a:pt x="5903617" y="2011539"/>
                </a:cubicBezTo>
                <a:lnTo>
                  <a:pt x="5903617" y="2012108"/>
                </a:lnTo>
                <a:lnTo>
                  <a:pt x="5917489" y="2002576"/>
                </a:lnTo>
                <a:lnTo>
                  <a:pt x="5917276" y="2002008"/>
                </a:lnTo>
                <a:cubicBezTo>
                  <a:pt x="5916849" y="1997313"/>
                  <a:pt x="5919624" y="1990199"/>
                  <a:pt x="5925600" y="1993045"/>
                </a:cubicBezTo>
                <a:cubicBezTo>
                  <a:pt x="5926666" y="1993329"/>
                  <a:pt x="5927307" y="1994467"/>
                  <a:pt x="5927307" y="1995890"/>
                </a:cubicBezTo>
                <a:close/>
                <a:moveTo>
                  <a:pt x="5830414" y="1986643"/>
                </a:moveTo>
                <a:cubicBezTo>
                  <a:pt x="5837670" y="1986073"/>
                  <a:pt x="5845780" y="1997455"/>
                  <a:pt x="5837244" y="2003288"/>
                </a:cubicBezTo>
                <a:cubicBezTo>
                  <a:pt x="5832762" y="2003146"/>
                  <a:pt x="5825506" y="1995605"/>
                  <a:pt x="5824225" y="1991907"/>
                </a:cubicBezTo>
                <a:cubicBezTo>
                  <a:pt x="5825719" y="1988349"/>
                  <a:pt x="5827853" y="1986927"/>
                  <a:pt x="5830414" y="1986643"/>
                </a:cubicBezTo>
                <a:close/>
                <a:moveTo>
                  <a:pt x="6015663" y="1986216"/>
                </a:moveTo>
                <a:cubicBezTo>
                  <a:pt x="6017156" y="1986073"/>
                  <a:pt x="6018651" y="1986216"/>
                  <a:pt x="6020144" y="1986500"/>
                </a:cubicBezTo>
                <a:cubicBezTo>
                  <a:pt x="6026120" y="1987781"/>
                  <a:pt x="6031455" y="1992618"/>
                  <a:pt x="6033803" y="1999162"/>
                </a:cubicBezTo>
                <a:cubicBezTo>
                  <a:pt x="6036578" y="2006844"/>
                  <a:pt x="6035084" y="2016945"/>
                  <a:pt x="6024626" y="2025908"/>
                </a:cubicBezTo>
                <a:cubicBezTo>
                  <a:pt x="6009046" y="2022067"/>
                  <a:pt x="5998589" y="2008125"/>
                  <a:pt x="6003711" y="1995179"/>
                </a:cubicBezTo>
                <a:cubicBezTo>
                  <a:pt x="6006912" y="1989488"/>
                  <a:pt x="6011181" y="1986643"/>
                  <a:pt x="6015663" y="1986216"/>
                </a:cubicBezTo>
                <a:close/>
                <a:moveTo>
                  <a:pt x="898330" y="1986103"/>
                </a:moveTo>
                <a:cubicBezTo>
                  <a:pt x="898330" y="1987032"/>
                  <a:pt x="898330" y="1986877"/>
                  <a:pt x="898330" y="1986877"/>
                </a:cubicBezTo>
                <a:cubicBezTo>
                  <a:pt x="899155" y="1987961"/>
                  <a:pt x="899155" y="1987032"/>
                  <a:pt x="900085" y="1987187"/>
                </a:cubicBezTo>
                <a:cubicBezTo>
                  <a:pt x="900085" y="1987187"/>
                  <a:pt x="899155" y="1987032"/>
                  <a:pt x="900085" y="1986257"/>
                </a:cubicBezTo>
                <a:cubicBezTo>
                  <a:pt x="900085" y="1987187"/>
                  <a:pt x="900911" y="1987187"/>
                  <a:pt x="901840" y="1987342"/>
                </a:cubicBezTo>
                <a:cubicBezTo>
                  <a:pt x="903492" y="1989200"/>
                  <a:pt x="905248" y="1991834"/>
                  <a:pt x="904318" y="1993538"/>
                </a:cubicBezTo>
                <a:cubicBezTo>
                  <a:pt x="902563" y="1994932"/>
                  <a:pt x="900808" y="1994002"/>
                  <a:pt x="899878" y="1993073"/>
                </a:cubicBezTo>
                <a:cubicBezTo>
                  <a:pt x="898639" y="1992453"/>
                  <a:pt x="898020" y="1991369"/>
                  <a:pt x="897813" y="1989975"/>
                </a:cubicBezTo>
                <a:cubicBezTo>
                  <a:pt x="897606" y="1988736"/>
                  <a:pt x="897813" y="1987342"/>
                  <a:pt x="898330" y="1986103"/>
                </a:cubicBezTo>
                <a:close/>
                <a:moveTo>
                  <a:pt x="1048774" y="1985948"/>
                </a:moveTo>
                <a:cubicBezTo>
                  <a:pt x="1051458" y="1983314"/>
                  <a:pt x="1053214" y="1984089"/>
                  <a:pt x="1055692" y="1986412"/>
                </a:cubicBezTo>
                <a:cubicBezTo>
                  <a:pt x="1051974" y="1990750"/>
                  <a:pt x="1051252" y="1989200"/>
                  <a:pt x="1048774" y="1985948"/>
                </a:cubicBezTo>
                <a:close/>
                <a:moveTo>
                  <a:pt x="4976949" y="1985931"/>
                </a:moveTo>
                <a:cubicBezTo>
                  <a:pt x="4978442" y="1986358"/>
                  <a:pt x="4979936" y="1986784"/>
                  <a:pt x="4981430" y="1986358"/>
                </a:cubicBezTo>
                <a:cubicBezTo>
                  <a:pt x="4981430" y="1989061"/>
                  <a:pt x="4982071" y="1993472"/>
                  <a:pt x="4976949" y="1995890"/>
                </a:cubicBezTo>
                <a:cubicBezTo>
                  <a:pt x="4975454" y="1996459"/>
                  <a:pt x="4975241" y="1996459"/>
                  <a:pt x="4974174" y="1995890"/>
                </a:cubicBezTo>
                <a:cubicBezTo>
                  <a:pt x="4971613" y="1995748"/>
                  <a:pt x="4970119" y="1996174"/>
                  <a:pt x="4968412" y="1993898"/>
                </a:cubicBezTo>
                <a:cubicBezTo>
                  <a:pt x="4967345" y="1991907"/>
                  <a:pt x="4967558" y="1990626"/>
                  <a:pt x="4968198" y="1989488"/>
                </a:cubicBezTo>
                <a:cubicBezTo>
                  <a:pt x="4968838" y="1988349"/>
                  <a:pt x="4970119" y="1987354"/>
                  <a:pt x="4972040" y="1986358"/>
                </a:cubicBezTo>
                <a:cubicBezTo>
                  <a:pt x="4973747" y="1985362"/>
                  <a:pt x="4975454" y="1985646"/>
                  <a:pt x="4976949" y="1985931"/>
                </a:cubicBezTo>
                <a:close/>
                <a:moveTo>
                  <a:pt x="5795626" y="1985219"/>
                </a:moveTo>
                <a:lnTo>
                  <a:pt x="5800535" y="1988208"/>
                </a:lnTo>
                <a:lnTo>
                  <a:pt x="5800535" y="1986643"/>
                </a:lnTo>
                <a:cubicBezTo>
                  <a:pt x="5801176" y="1987354"/>
                  <a:pt x="5802883" y="1988777"/>
                  <a:pt x="5804164" y="1990199"/>
                </a:cubicBezTo>
                <a:lnTo>
                  <a:pt x="5805871" y="1992049"/>
                </a:lnTo>
                <a:lnTo>
                  <a:pt x="5806724" y="1991764"/>
                </a:lnTo>
                <a:cubicBezTo>
                  <a:pt x="5808432" y="1991480"/>
                  <a:pt x="5810139" y="1992333"/>
                  <a:pt x="5810780" y="1993755"/>
                </a:cubicBezTo>
                <a:lnTo>
                  <a:pt x="5810353" y="1995890"/>
                </a:lnTo>
                <a:lnTo>
                  <a:pt x="5810566" y="1996601"/>
                </a:lnTo>
                <a:cubicBezTo>
                  <a:pt x="5811633" y="1997882"/>
                  <a:pt x="5817182" y="2001296"/>
                  <a:pt x="5818463" y="2000300"/>
                </a:cubicBezTo>
                <a:cubicBezTo>
                  <a:pt x="5818249" y="2001438"/>
                  <a:pt x="5819316" y="2002719"/>
                  <a:pt x="5819316" y="2002719"/>
                </a:cubicBezTo>
                <a:cubicBezTo>
                  <a:pt x="5818036" y="2003714"/>
                  <a:pt x="5816968" y="2003572"/>
                  <a:pt x="5815902" y="2003430"/>
                </a:cubicBezTo>
                <a:cubicBezTo>
                  <a:pt x="5814835" y="2002008"/>
                  <a:pt x="5814835" y="2000869"/>
                  <a:pt x="5813767" y="1999447"/>
                </a:cubicBezTo>
                <a:cubicBezTo>
                  <a:pt x="5812700" y="1999304"/>
                  <a:pt x="5810353" y="1998877"/>
                  <a:pt x="5809285" y="1997455"/>
                </a:cubicBezTo>
                <a:lnTo>
                  <a:pt x="5809285" y="1997313"/>
                </a:lnTo>
                <a:lnTo>
                  <a:pt x="5806511" y="1996601"/>
                </a:lnTo>
                <a:lnTo>
                  <a:pt x="5806938" y="1997597"/>
                </a:lnTo>
                <a:cubicBezTo>
                  <a:pt x="5805017" y="2002434"/>
                  <a:pt x="5802029" y="2001438"/>
                  <a:pt x="5796694" y="2001438"/>
                </a:cubicBezTo>
                <a:cubicBezTo>
                  <a:pt x="5797334" y="1999874"/>
                  <a:pt x="5792852" y="1998166"/>
                  <a:pt x="5791358" y="1997597"/>
                </a:cubicBezTo>
                <a:cubicBezTo>
                  <a:pt x="5792639" y="1994325"/>
                  <a:pt x="5787730" y="1991622"/>
                  <a:pt x="5789651" y="1986784"/>
                </a:cubicBezTo>
                <a:cubicBezTo>
                  <a:pt x="5791998" y="1985646"/>
                  <a:pt x="5793066" y="1985219"/>
                  <a:pt x="5795626" y="1985219"/>
                </a:cubicBezTo>
                <a:close/>
                <a:moveTo>
                  <a:pt x="6048316" y="1984935"/>
                </a:moveTo>
                <a:cubicBezTo>
                  <a:pt x="6050664" y="1986216"/>
                  <a:pt x="6053011" y="1987496"/>
                  <a:pt x="6055359" y="1988777"/>
                </a:cubicBezTo>
                <a:cubicBezTo>
                  <a:pt x="6058987" y="1992618"/>
                  <a:pt x="6062615" y="1996317"/>
                  <a:pt x="6060480" y="1999874"/>
                </a:cubicBezTo>
                <a:cubicBezTo>
                  <a:pt x="6055785" y="1997171"/>
                  <a:pt x="6052157" y="1995890"/>
                  <a:pt x="6047462" y="1993187"/>
                </a:cubicBezTo>
                <a:cubicBezTo>
                  <a:pt x="6046395" y="1992049"/>
                  <a:pt x="6043834" y="1987069"/>
                  <a:pt x="6044901" y="1985931"/>
                </a:cubicBezTo>
                <a:cubicBezTo>
                  <a:pt x="6045968" y="1984793"/>
                  <a:pt x="6047035" y="1984793"/>
                  <a:pt x="6048316" y="1984935"/>
                </a:cubicBezTo>
                <a:close/>
                <a:moveTo>
                  <a:pt x="3641581" y="1984793"/>
                </a:moveTo>
                <a:cubicBezTo>
                  <a:pt x="3643288" y="1984651"/>
                  <a:pt x="3645209" y="1985504"/>
                  <a:pt x="3647130" y="1986073"/>
                </a:cubicBezTo>
                <a:cubicBezTo>
                  <a:pt x="3646917" y="1988777"/>
                  <a:pt x="3648837" y="1990768"/>
                  <a:pt x="3646276" y="1993898"/>
                </a:cubicBezTo>
                <a:cubicBezTo>
                  <a:pt x="3643288" y="1992190"/>
                  <a:pt x="3641368" y="1990199"/>
                  <a:pt x="3638593" y="1988492"/>
                </a:cubicBezTo>
                <a:cubicBezTo>
                  <a:pt x="3638807" y="1985931"/>
                  <a:pt x="3640087" y="1984935"/>
                  <a:pt x="3641581" y="1984793"/>
                </a:cubicBezTo>
                <a:close/>
                <a:moveTo>
                  <a:pt x="5952490" y="1984366"/>
                </a:moveTo>
                <a:cubicBezTo>
                  <a:pt x="5953984" y="1986500"/>
                  <a:pt x="5955905" y="1987354"/>
                  <a:pt x="5957399" y="1989488"/>
                </a:cubicBezTo>
                <a:lnTo>
                  <a:pt x="5957399" y="1989630"/>
                </a:lnTo>
                <a:lnTo>
                  <a:pt x="5960814" y="1989915"/>
                </a:lnTo>
                <a:cubicBezTo>
                  <a:pt x="5960387" y="1994752"/>
                  <a:pt x="5955051" y="1998024"/>
                  <a:pt x="5950570" y="1998308"/>
                </a:cubicBezTo>
                <a:lnTo>
                  <a:pt x="5949075" y="1998024"/>
                </a:lnTo>
                <a:lnTo>
                  <a:pt x="5946087" y="1999304"/>
                </a:lnTo>
                <a:cubicBezTo>
                  <a:pt x="5944594" y="1999019"/>
                  <a:pt x="5943313" y="1998166"/>
                  <a:pt x="5942673" y="1996032"/>
                </a:cubicBezTo>
                <a:cubicBezTo>
                  <a:pt x="5940966" y="1989630"/>
                  <a:pt x="5946301" y="1986784"/>
                  <a:pt x="5952490" y="1984366"/>
                </a:cubicBezTo>
                <a:close/>
                <a:moveTo>
                  <a:pt x="1573935" y="1983469"/>
                </a:moveTo>
                <a:cubicBezTo>
                  <a:pt x="1575484" y="1982230"/>
                  <a:pt x="1578581" y="1982849"/>
                  <a:pt x="1583537" y="1987961"/>
                </a:cubicBezTo>
                <a:cubicBezTo>
                  <a:pt x="1580956" y="1992918"/>
                  <a:pt x="1578478" y="1994157"/>
                  <a:pt x="1576619" y="1993693"/>
                </a:cubicBezTo>
                <a:cubicBezTo>
                  <a:pt x="1573935" y="1993073"/>
                  <a:pt x="1572386" y="1988891"/>
                  <a:pt x="1572799" y="1985793"/>
                </a:cubicBezTo>
                <a:cubicBezTo>
                  <a:pt x="1573005" y="1984863"/>
                  <a:pt x="1573315" y="1984089"/>
                  <a:pt x="1573935" y="1983469"/>
                </a:cubicBezTo>
                <a:close/>
                <a:moveTo>
                  <a:pt x="5017071" y="1983370"/>
                </a:moveTo>
                <a:cubicBezTo>
                  <a:pt x="5020700" y="1982374"/>
                  <a:pt x="5028383" y="1987069"/>
                  <a:pt x="5029236" y="1991764"/>
                </a:cubicBezTo>
                <a:cubicBezTo>
                  <a:pt x="5029450" y="1993472"/>
                  <a:pt x="5029023" y="1995036"/>
                  <a:pt x="5027316" y="1996459"/>
                </a:cubicBezTo>
                <a:cubicBezTo>
                  <a:pt x="5021980" y="2000016"/>
                  <a:pt x="5017925" y="1995463"/>
                  <a:pt x="5013870" y="1989772"/>
                </a:cubicBezTo>
                <a:cubicBezTo>
                  <a:pt x="5015364" y="1987781"/>
                  <a:pt x="5015577" y="1985504"/>
                  <a:pt x="5017071" y="1983370"/>
                </a:cubicBezTo>
                <a:close/>
                <a:moveTo>
                  <a:pt x="920013" y="1983314"/>
                </a:moveTo>
                <a:cubicBezTo>
                  <a:pt x="921665" y="1985173"/>
                  <a:pt x="926105" y="1982230"/>
                  <a:pt x="928687" y="1985018"/>
                </a:cubicBezTo>
                <a:cubicBezTo>
                  <a:pt x="935089" y="1990750"/>
                  <a:pt x="935708" y="1993538"/>
                  <a:pt x="934469" y="1996945"/>
                </a:cubicBezTo>
                <a:lnTo>
                  <a:pt x="934366" y="1997100"/>
                </a:lnTo>
                <a:lnTo>
                  <a:pt x="934366" y="2002057"/>
                </a:lnTo>
                <a:lnTo>
                  <a:pt x="932714" y="2002831"/>
                </a:lnTo>
                <a:cubicBezTo>
                  <a:pt x="933540" y="2003606"/>
                  <a:pt x="934469" y="2004690"/>
                  <a:pt x="933540" y="2005774"/>
                </a:cubicBezTo>
                <a:cubicBezTo>
                  <a:pt x="931888" y="2007478"/>
                  <a:pt x="929513" y="2007788"/>
                  <a:pt x="927138" y="2007633"/>
                </a:cubicBezTo>
                <a:cubicBezTo>
                  <a:pt x="930649" y="2008872"/>
                  <a:pt x="933230" y="2011661"/>
                  <a:pt x="931991" y="2017856"/>
                </a:cubicBezTo>
                <a:cubicBezTo>
                  <a:pt x="932094" y="2019715"/>
                  <a:pt x="931681" y="2019095"/>
                  <a:pt x="931371" y="2020180"/>
                </a:cubicBezTo>
                <a:lnTo>
                  <a:pt x="931371" y="2021419"/>
                </a:lnTo>
                <a:lnTo>
                  <a:pt x="934263" y="2013209"/>
                </a:lnTo>
                <a:cubicBezTo>
                  <a:pt x="935708" y="2010731"/>
                  <a:pt x="937670" y="2008562"/>
                  <a:pt x="940665" y="2007323"/>
                </a:cubicBezTo>
                <a:cubicBezTo>
                  <a:pt x="946137" y="2008562"/>
                  <a:pt x="949751" y="2007943"/>
                  <a:pt x="952849" y="2006859"/>
                </a:cubicBezTo>
                <a:lnTo>
                  <a:pt x="953262" y="2006704"/>
                </a:lnTo>
                <a:lnTo>
                  <a:pt x="952952" y="2006549"/>
                </a:lnTo>
                <a:cubicBezTo>
                  <a:pt x="952849" y="2006394"/>
                  <a:pt x="953055" y="2006394"/>
                  <a:pt x="953571" y="2006084"/>
                </a:cubicBezTo>
                <a:cubicBezTo>
                  <a:pt x="953571" y="2006084"/>
                  <a:pt x="953468" y="2006084"/>
                  <a:pt x="954397" y="2005310"/>
                </a:cubicBezTo>
                <a:cubicBezTo>
                  <a:pt x="954397" y="2005310"/>
                  <a:pt x="954397" y="2005155"/>
                  <a:pt x="954707" y="2005155"/>
                </a:cubicBezTo>
                <a:lnTo>
                  <a:pt x="955740" y="2005774"/>
                </a:lnTo>
                <a:lnTo>
                  <a:pt x="957186" y="2005155"/>
                </a:lnTo>
                <a:cubicBezTo>
                  <a:pt x="958631" y="2004535"/>
                  <a:pt x="960076" y="2004071"/>
                  <a:pt x="961832" y="2003761"/>
                </a:cubicBezTo>
                <a:cubicBezTo>
                  <a:pt x="965446" y="2005155"/>
                  <a:pt x="969369" y="2006859"/>
                  <a:pt x="973190" y="2008872"/>
                </a:cubicBezTo>
                <a:lnTo>
                  <a:pt x="976495" y="2011041"/>
                </a:lnTo>
                <a:lnTo>
                  <a:pt x="979489" y="2012590"/>
                </a:lnTo>
                <a:lnTo>
                  <a:pt x="979798" y="2012745"/>
                </a:lnTo>
                <a:lnTo>
                  <a:pt x="986923" y="2013829"/>
                </a:lnTo>
                <a:cubicBezTo>
                  <a:pt x="989195" y="2014604"/>
                  <a:pt x="991157" y="2015997"/>
                  <a:pt x="992809" y="2018011"/>
                </a:cubicBezTo>
                <a:cubicBezTo>
                  <a:pt x="994461" y="2020644"/>
                  <a:pt x="995080" y="2023123"/>
                  <a:pt x="994874" y="2025136"/>
                </a:cubicBezTo>
                <a:lnTo>
                  <a:pt x="993635" y="2027615"/>
                </a:lnTo>
                <a:lnTo>
                  <a:pt x="997662" y="2037373"/>
                </a:lnTo>
                <a:lnTo>
                  <a:pt x="997662" y="2037683"/>
                </a:lnTo>
                <a:lnTo>
                  <a:pt x="998694" y="2038922"/>
                </a:lnTo>
                <a:lnTo>
                  <a:pt x="1000346" y="2038303"/>
                </a:lnTo>
                <a:cubicBezTo>
                  <a:pt x="1003031" y="2035824"/>
                  <a:pt x="1001586" y="2032107"/>
                  <a:pt x="1008297" y="2030713"/>
                </a:cubicBezTo>
                <a:lnTo>
                  <a:pt x="1008400" y="2036134"/>
                </a:lnTo>
                <a:lnTo>
                  <a:pt x="1009640" y="2035669"/>
                </a:lnTo>
                <a:cubicBezTo>
                  <a:pt x="1012325" y="2034895"/>
                  <a:pt x="1015009" y="2034585"/>
                  <a:pt x="1017900" y="2034275"/>
                </a:cubicBezTo>
                <a:lnTo>
                  <a:pt x="1022753" y="2034275"/>
                </a:lnTo>
                <a:lnTo>
                  <a:pt x="1021307" y="2032572"/>
                </a:lnTo>
                <a:cubicBezTo>
                  <a:pt x="1019243" y="2028854"/>
                  <a:pt x="1020482" y="2026066"/>
                  <a:pt x="1019759" y="2025601"/>
                </a:cubicBezTo>
                <a:cubicBezTo>
                  <a:pt x="1022237" y="2022658"/>
                  <a:pt x="1024096" y="2024207"/>
                  <a:pt x="1027710" y="2025291"/>
                </a:cubicBezTo>
                <a:cubicBezTo>
                  <a:pt x="1026883" y="2026375"/>
                  <a:pt x="1029671" y="2028389"/>
                  <a:pt x="1030601" y="2029164"/>
                </a:cubicBezTo>
                <a:cubicBezTo>
                  <a:pt x="1029774" y="2030093"/>
                  <a:pt x="1030084" y="2031332"/>
                  <a:pt x="1030291" y="2032572"/>
                </a:cubicBezTo>
                <a:lnTo>
                  <a:pt x="1030291" y="2034430"/>
                </a:lnTo>
                <a:lnTo>
                  <a:pt x="1044540" y="2034895"/>
                </a:lnTo>
                <a:cubicBezTo>
                  <a:pt x="1043508" y="2037838"/>
                  <a:pt x="1044953" y="2040006"/>
                  <a:pt x="1042475" y="2044189"/>
                </a:cubicBezTo>
                <a:cubicBezTo>
                  <a:pt x="1034834" y="2042795"/>
                  <a:pt x="1027296" y="2042485"/>
                  <a:pt x="1020069" y="2042175"/>
                </a:cubicBezTo>
                <a:lnTo>
                  <a:pt x="1008607" y="2041091"/>
                </a:lnTo>
                <a:lnTo>
                  <a:pt x="1008607" y="2044498"/>
                </a:lnTo>
                <a:cubicBezTo>
                  <a:pt x="1008091" y="2048681"/>
                  <a:pt x="1006748" y="2052398"/>
                  <a:pt x="1004890" y="2055961"/>
                </a:cubicBezTo>
                <a:lnTo>
                  <a:pt x="1002721" y="2058904"/>
                </a:lnTo>
                <a:lnTo>
                  <a:pt x="1003134" y="2060453"/>
                </a:lnTo>
                <a:lnTo>
                  <a:pt x="1003031" y="2061692"/>
                </a:lnTo>
                <a:lnTo>
                  <a:pt x="1003341" y="2062002"/>
                </a:lnTo>
                <a:cubicBezTo>
                  <a:pt x="1003651" y="2062621"/>
                  <a:pt x="1003857" y="2063086"/>
                  <a:pt x="1003857" y="2063086"/>
                </a:cubicBezTo>
                <a:cubicBezTo>
                  <a:pt x="1003031" y="2063861"/>
                  <a:pt x="1003031" y="2063861"/>
                  <a:pt x="1003031" y="2062931"/>
                </a:cubicBezTo>
                <a:lnTo>
                  <a:pt x="1002928" y="2062931"/>
                </a:lnTo>
                <a:lnTo>
                  <a:pt x="1002618" y="2065409"/>
                </a:lnTo>
                <a:cubicBezTo>
                  <a:pt x="1000450" y="2065100"/>
                  <a:pt x="998385" y="2064170"/>
                  <a:pt x="996423" y="2062931"/>
                </a:cubicBezTo>
                <a:lnTo>
                  <a:pt x="990950" y="2059368"/>
                </a:lnTo>
                <a:lnTo>
                  <a:pt x="995287" y="2058904"/>
                </a:lnTo>
                <a:cubicBezTo>
                  <a:pt x="995287" y="2058129"/>
                  <a:pt x="994461" y="2057200"/>
                  <a:pt x="994461" y="2057200"/>
                </a:cubicBezTo>
                <a:lnTo>
                  <a:pt x="997042" y="2056580"/>
                </a:lnTo>
                <a:lnTo>
                  <a:pt x="996836" y="2055186"/>
                </a:lnTo>
                <a:lnTo>
                  <a:pt x="997662" y="2049765"/>
                </a:lnTo>
                <a:lnTo>
                  <a:pt x="996216" y="2049765"/>
                </a:lnTo>
                <a:lnTo>
                  <a:pt x="994668" y="2053637"/>
                </a:lnTo>
                <a:lnTo>
                  <a:pt x="990950" y="2059368"/>
                </a:lnTo>
                <a:lnTo>
                  <a:pt x="990227" y="2060453"/>
                </a:lnTo>
                <a:cubicBezTo>
                  <a:pt x="988782" y="2062931"/>
                  <a:pt x="987233" y="2065409"/>
                  <a:pt x="985994" y="2068507"/>
                </a:cubicBezTo>
                <a:cubicBezTo>
                  <a:pt x="974946" y="2066029"/>
                  <a:pt x="972261" y="2071605"/>
                  <a:pt x="967201" y="2074548"/>
                </a:cubicBezTo>
                <a:cubicBezTo>
                  <a:pt x="960593" y="2069747"/>
                  <a:pt x="950164" y="2069127"/>
                  <a:pt x="941594" y="2065719"/>
                </a:cubicBezTo>
                <a:cubicBezTo>
                  <a:pt x="937051" y="2055806"/>
                  <a:pt x="930442" y="2048681"/>
                  <a:pt x="925899" y="2038768"/>
                </a:cubicBezTo>
                <a:cubicBezTo>
                  <a:pt x="927448" y="2036444"/>
                  <a:pt x="928480" y="2033811"/>
                  <a:pt x="929306" y="2030868"/>
                </a:cubicBezTo>
                <a:lnTo>
                  <a:pt x="930752" y="2024207"/>
                </a:lnTo>
                <a:lnTo>
                  <a:pt x="926931" y="2025291"/>
                </a:lnTo>
                <a:cubicBezTo>
                  <a:pt x="925486" y="2026066"/>
                  <a:pt x="923834" y="2026685"/>
                  <a:pt x="920426" y="2026531"/>
                </a:cubicBezTo>
                <a:cubicBezTo>
                  <a:pt x="911753" y="2026375"/>
                  <a:pt x="910204" y="2020799"/>
                  <a:pt x="910617" y="2016617"/>
                </a:cubicBezTo>
                <a:cubicBezTo>
                  <a:pt x="910823" y="2016617"/>
                  <a:pt x="911030" y="2016152"/>
                  <a:pt x="911236" y="2015688"/>
                </a:cubicBezTo>
                <a:lnTo>
                  <a:pt x="912062" y="2013984"/>
                </a:lnTo>
                <a:lnTo>
                  <a:pt x="910927" y="2011350"/>
                </a:lnTo>
                <a:cubicBezTo>
                  <a:pt x="911030" y="2010576"/>
                  <a:pt x="911443" y="2009802"/>
                  <a:pt x="912269" y="2008872"/>
                </a:cubicBezTo>
                <a:cubicBezTo>
                  <a:pt x="912269" y="2007943"/>
                  <a:pt x="915676" y="2006704"/>
                  <a:pt x="916606" y="2007478"/>
                </a:cubicBezTo>
                <a:lnTo>
                  <a:pt x="917329" y="2008098"/>
                </a:lnTo>
                <a:lnTo>
                  <a:pt x="922492" y="2006704"/>
                </a:lnTo>
                <a:cubicBezTo>
                  <a:pt x="923627" y="2006859"/>
                  <a:pt x="924660" y="2007014"/>
                  <a:pt x="925692" y="2007169"/>
                </a:cubicBezTo>
                <a:cubicBezTo>
                  <a:pt x="923937" y="2006859"/>
                  <a:pt x="921975" y="2006394"/>
                  <a:pt x="920736" y="2005929"/>
                </a:cubicBezTo>
                <a:lnTo>
                  <a:pt x="918981" y="2005155"/>
                </a:lnTo>
                <a:lnTo>
                  <a:pt x="918981" y="2006084"/>
                </a:lnTo>
                <a:lnTo>
                  <a:pt x="918051" y="2005155"/>
                </a:lnTo>
                <a:lnTo>
                  <a:pt x="917845" y="2005000"/>
                </a:lnTo>
                <a:cubicBezTo>
                  <a:pt x="917845" y="2004225"/>
                  <a:pt x="917019" y="2004071"/>
                  <a:pt x="917019" y="2005000"/>
                </a:cubicBezTo>
                <a:cubicBezTo>
                  <a:pt x="915780" y="2003916"/>
                  <a:pt x="914644" y="2003296"/>
                  <a:pt x="914127" y="2002521"/>
                </a:cubicBezTo>
                <a:lnTo>
                  <a:pt x="914231" y="2001747"/>
                </a:lnTo>
                <a:lnTo>
                  <a:pt x="909378" y="2001902"/>
                </a:lnTo>
                <a:lnTo>
                  <a:pt x="908035" y="2001592"/>
                </a:lnTo>
                <a:lnTo>
                  <a:pt x="907622" y="2002057"/>
                </a:lnTo>
                <a:lnTo>
                  <a:pt x="906899" y="2001437"/>
                </a:lnTo>
                <a:lnTo>
                  <a:pt x="902563" y="2000663"/>
                </a:lnTo>
                <a:cubicBezTo>
                  <a:pt x="900704" y="1999888"/>
                  <a:pt x="899465" y="1998804"/>
                  <a:pt x="899259" y="1996945"/>
                </a:cubicBezTo>
                <a:lnTo>
                  <a:pt x="905041" y="1996171"/>
                </a:lnTo>
                <a:lnTo>
                  <a:pt x="905454" y="1995861"/>
                </a:lnTo>
                <a:lnTo>
                  <a:pt x="905764" y="1996016"/>
                </a:lnTo>
                <a:lnTo>
                  <a:pt x="912682" y="1995396"/>
                </a:lnTo>
                <a:lnTo>
                  <a:pt x="919187" y="1996481"/>
                </a:lnTo>
                <a:lnTo>
                  <a:pt x="919394" y="1995551"/>
                </a:lnTo>
                <a:cubicBezTo>
                  <a:pt x="918878" y="1992453"/>
                  <a:pt x="915986" y="1987961"/>
                  <a:pt x="920013" y="1983314"/>
                </a:cubicBezTo>
                <a:close/>
                <a:moveTo>
                  <a:pt x="4949844" y="1983086"/>
                </a:moveTo>
                <a:cubicBezTo>
                  <a:pt x="4952405" y="1982374"/>
                  <a:pt x="4955820" y="1984793"/>
                  <a:pt x="4959448" y="1993898"/>
                </a:cubicBezTo>
                <a:cubicBezTo>
                  <a:pt x="4953259" y="1998735"/>
                  <a:pt x="4949417" y="1999019"/>
                  <a:pt x="4947283" y="1997455"/>
                </a:cubicBezTo>
                <a:cubicBezTo>
                  <a:pt x="4943441" y="1994325"/>
                  <a:pt x="4945362" y="1984224"/>
                  <a:pt x="4949844" y="1983086"/>
                </a:cubicBezTo>
                <a:close/>
                <a:moveTo>
                  <a:pt x="1062817" y="1983005"/>
                </a:moveTo>
                <a:cubicBezTo>
                  <a:pt x="1064159" y="1982385"/>
                  <a:pt x="1065604" y="1982230"/>
                  <a:pt x="1067876" y="1984089"/>
                </a:cubicBezTo>
                <a:cubicBezTo>
                  <a:pt x="1069322" y="1989046"/>
                  <a:pt x="1063849" y="1993693"/>
                  <a:pt x="1058480" y="1990285"/>
                </a:cubicBezTo>
                <a:cubicBezTo>
                  <a:pt x="1058790" y="1988426"/>
                  <a:pt x="1058273" y="1986722"/>
                  <a:pt x="1058686" y="1985018"/>
                </a:cubicBezTo>
                <a:cubicBezTo>
                  <a:pt x="1060235" y="1984708"/>
                  <a:pt x="1061474" y="1983469"/>
                  <a:pt x="1062817" y="1983005"/>
                </a:cubicBezTo>
                <a:close/>
                <a:moveTo>
                  <a:pt x="720212" y="1983005"/>
                </a:moveTo>
                <a:cubicBezTo>
                  <a:pt x="721038" y="1983005"/>
                  <a:pt x="721658" y="1983314"/>
                  <a:pt x="722071" y="1983779"/>
                </a:cubicBezTo>
                <a:cubicBezTo>
                  <a:pt x="729712" y="1990285"/>
                  <a:pt x="726201" y="1997410"/>
                  <a:pt x="727027" y="1999114"/>
                </a:cubicBezTo>
                <a:cubicBezTo>
                  <a:pt x="724343" y="2001283"/>
                  <a:pt x="724343" y="2001283"/>
                  <a:pt x="719180" y="1996636"/>
                </a:cubicBezTo>
                <a:cubicBezTo>
                  <a:pt x="718354" y="1995706"/>
                  <a:pt x="717734" y="1994622"/>
                  <a:pt x="717424" y="1993538"/>
                </a:cubicBezTo>
                <a:cubicBezTo>
                  <a:pt x="717115" y="1992298"/>
                  <a:pt x="717115" y="1991059"/>
                  <a:pt x="717631" y="1989820"/>
                </a:cubicBezTo>
                <a:cubicBezTo>
                  <a:pt x="717218" y="1989046"/>
                  <a:pt x="717012" y="1987961"/>
                  <a:pt x="717012" y="1986877"/>
                </a:cubicBezTo>
                <a:cubicBezTo>
                  <a:pt x="717012" y="1985948"/>
                  <a:pt x="717321" y="1984863"/>
                  <a:pt x="717734" y="1984089"/>
                </a:cubicBezTo>
                <a:cubicBezTo>
                  <a:pt x="718561" y="1983314"/>
                  <a:pt x="719490" y="1983005"/>
                  <a:pt x="720212" y="1983005"/>
                </a:cubicBezTo>
                <a:close/>
                <a:moveTo>
                  <a:pt x="1503204" y="1982695"/>
                </a:moveTo>
                <a:cubicBezTo>
                  <a:pt x="1503721" y="1983469"/>
                  <a:pt x="1505372" y="1984708"/>
                  <a:pt x="1505166" y="1985793"/>
                </a:cubicBezTo>
                <a:cubicBezTo>
                  <a:pt x="1504857" y="1986877"/>
                  <a:pt x="1504857" y="1987032"/>
                  <a:pt x="1503411" y="1987651"/>
                </a:cubicBezTo>
                <a:cubicBezTo>
                  <a:pt x="1502998" y="1986412"/>
                  <a:pt x="1502895" y="1985638"/>
                  <a:pt x="1502895" y="1985018"/>
                </a:cubicBezTo>
                <a:cubicBezTo>
                  <a:pt x="1502895" y="1984399"/>
                  <a:pt x="1502998" y="1983934"/>
                  <a:pt x="1503204" y="1982695"/>
                </a:cubicBezTo>
                <a:close/>
                <a:moveTo>
                  <a:pt x="5424277" y="1982089"/>
                </a:moveTo>
                <a:cubicBezTo>
                  <a:pt x="5428331" y="1981663"/>
                  <a:pt x="5436441" y="1983654"/>
                  <a:pt x="5437081" y="1985362"/>
                </a:cubicBezTo>
                <a:cubicBezTo>
                  <a:pt x="5434520" y="1985219"/>
                  <a:pt x="5425770" y="1984224"/>
                  <a:pt x="5424277" y="1982089"/>
                </a:cubicBezTo>
                <a:close/>
                <a:moveTo>
                  <a:pt x="1181045" y="1981920"/>
                </a:moveTo>
                <a:cubicBezTo>
                  <a:pt x="1181458" y="1981765"/>
                  <a:pt x="1181974" y="1981765"/>
                  <a:pt x="1182387" y="1982230"/>
                </a:cubicBezTo>
                <a:cubicBezTo>
                  <a:pt x="1182387" y="1982230"/>
                  <a:pt x="1182387" y="1983005"/>
                  <a:pt x="1180632" y="1984553"/>
                </a:cubicBezTo>
                <a:cubicBezTo>
                  <a:pt x="1180632" y="1983779"/>
                  <a:pt x="1179702" y="1983624"/>
                  <a:pt x="1179702" y="1983624"/>
                </a:cubicBezTo>
                <a:cubicBezTo>
                  <a:pt x="1179702" y="1983624"/>
                  <a:pt x="1179702" y="1983624"/>
                  <a:pt x="1179702" y="1984399"/>
                </a:cubicBezTo>
                <a:cubicBezTo>
                  <a:pt x="1179290" y="1983934"/>
                  <a:pt x="1179290" y="1983624"/>
                  <a:pt x="1179393" y="1983314"/>
                </a:cubicBezTo>
                <a:cubicBezTo>
                  <a:pt x="1179496" y="1983005"/>
                  <a:pt x="1179702" y="1982849"/>
                  <a:pt x="1179702" y="1982849"/>
                </a:cubicBezTo>
                <a:cubicBezTo>
                  <a:pt x="1180219" y="1982385"/>
                  <a:pt x="1180632" y="1982075"/>
                  <a:pt x="1181045" y="1981920"/>
                </a:cubicBezTo>
                <a:close/>
                <a:moveTo>
                  <a:pt x="5285340" y="1980809"/>
                </a:moveTo>
                <a:cubicBezTo>
                  <a:pt x="5286194" y="1980524"/>
                  <a:pt x="5287474" y="1980524"/>
                  <a:pt x="5289608" y="1980952"/>
                </a:cubicBezTo>
                <a:cubicBezTo>
                  <a:pt x="5292383" y="1982232"/>
                  <a:pt x="5294944" y="1982516"/>
                  <a:pt x="5295371" y="1983654"/>
                </a:cubicBezTo>
                <a:cubicBezTo>
                  <a:pt x="5296438" y="1983228"/>
                  <a:pt x="5297932" y="1983797"/>
                  <a:pt x="5298999" y="1983370"/>
                </a:cubicBezTo>
                <a:cubicBezTo>
                  <a:pt x="5298999" y="1983370"/>
                  <a:pt x="5298999" y="1983370"/>
                  <a:pt x="5299426" y="1984508"/>
                </a:cubicBezTo>
                <a:cubicBezTo>
                  <a:pt x="5294517" y="1985219"/>
                  <a:pt x="5289395" y="1988635"/>
                  <a:pt x="5285340" y="1987781"/>
                </a:cubicBezTo>
                <a:cubicBezTo>
                  <a:pt x="5284700" y="1987354"/>
                  <a:pt x="5283846" y="1987069"/>
                  <a:pt x="5283632" y="1986500"/>
                </a:cubicBezTo>
                <a:cubicBezTo>
                  <a:pt x="5283206" y="1985789"/>
                  <a:pt x="5283206" y="1984935"/>
                  <a:pt x="5284059" y="1983228"/>
                </a:cubicBezTo>
                <a:cubicBezTo>
                  <a:pt x="5284273" y="1981948"/>
                  <a:pt x="5284487" y="1981094"/>
                  <a:pt x="5285340" y="1980809"/>
                </a:cubicBezTo>
                <a:close/>
                <a:moveTo>
                  <a:pt x="1501965" y="1980526"/>
                </a:moveTo>
                <a:cubicBezTo>
                  <a:pt x="1502585" y="1980216"/>
                  <a:pt x="1503204" y="1980991"/>
                  <a:pt x="1502998" y="1982230"/>
                </a:cubicBezTo>
                <a:cubicBezTo>
                  <a:pt x="1502998" y="1982230"/>
                  <a:pt x="1502275" y="1982540"/>
                  <a:pt x="1502275" y="1982540"/>
                </a:cubicBezTo>
                <a:cubicBezTo>
                  <a:pt x="1502068" y="1982230"/>
                  <a:pt x="1501759" y="1981765"/>
                  <a:pt x="1501656" y="1981456"/>
                </a:cubicBezTo>
                <a:cubicBezTo>
                  <a:pt x="1501552" y="1980991"/>
                  <a:pt x="1501656" y="1980681"/>
                  <a:pt x="1501965" y="1980526"/>
                </a:cubicBezTo>
                <a:close/>
                <a:moveTo>
                  <a:pt x="4820512" y="1980240"/>
                </a:moveTo>
                <a:cubicBezTo>
                  <a:pt x="4827981" y="1979529"/>
                  <a:pt x="4835024" y="1982232"/>
                  <a:pt x="4839293" y="1989630"/>
                </a:cubicBezTo>
                <a:lnTo>
                  <a:pt x="4840360" y="1992760"/>
                </a:lnTo>
                <a:lnTo>
                  <a:pt x="4843348" y="1994467"/>
                </a:lnTo>
                <a:cubicBezTo>
                  <a:pt x="4847402" y="1997455"/>
                  <a:pt x="4850390" y="2001438"/>
                  <a:pt x="4850390" y="2005279"/>
                </a:cubicBezTo>
                <a:cubicBezTo>
                  <a:pt x="4847402" y="2009263"/>
                  <a:pt x="4844628" y="2010685"/>
                  <a:pt x="4842067" y="2011682"/>
                </a:cubicBezTo>
                <a:lnTo>
                  <a:pt x="4840573" y="2012250"/>
                </a:lnTo>
                <a:lnTo>
                  <a:pt x="4836518" y="2023348"/>
                </a:lnTo>
                <a:cubicBezTo>
                  <a:pt x="4834384" y="2028611"/>
                  <a:pt x="4832036" y="2034302"/>
                  <a:pt x="4830543" y="2040705"/>
                </a:cubicBezTo>
                <a:cubicBezTo>
                  <a:pt x="4827341" y="2035014"/>
                  <a:pt x="4822432" y="2032595"/>
                  <a:pt x="4817097" y="2031172"/>
                </a:cubicBezTo>
                <a:lnTo>
                  <a:pt x="4811335" y="2029750"/>
                </a:lnTo>
                <a:lnTo>
                  <a:pt x="4810908" y="2030888"/>
                </a:lnTo>
                <a:cubicBezTo>
                  <a:pt x="4810694" y="2031172"/>
                  <a:pt x="4810694" y="2031172"/>
                  <a:pt x="4811335" y="2031030"/>
                </a:cubicBezTo>
                <a:cubicBezTo>
                  <a:pt x="4809627" y="2034018"/>
                  <a:pt x="4808347" y="2038144"/>
                  <a:pt x="4805786" y="2037859"/>
                </a:cubicBezTo>
                <a:cubicBezTo>
                  <a:pt x="4801731" y="2036294"/>
                  <a:pt x="4801091" y="2031742"/>
                  <a:pt x="4801518" y="2026905"/>
                </a:cubicBezTo>
                <a:lnTo>
                  <a:pt x="4801731" y="2026335"/>
                </a:lnTo>
                <a:lnTo>
                  <a:pt x="4797890" y="2023490"/>
                </a:lnTo>
                <a:cubicBezTo>
                  <a:pt x="4796822" y="2022210"/>
                  <a:pt x="4795755" y="2020644"/>
                  <a:pt x="4795115" y="2018795"/>
                </a:cubicBezTo>
                <a:lnTo>
                  <a:pt x="4793834" y="2012250"/>
                </a:lnTo>
                <a:lnTo>
                  <a:pt x="4791060" y="2011397"/>
                </a:lnTo>
                <a:cubicBezTo>
                  <a:pt x="4789352" y="1998593"/>
                  <a:pt x="4792554" y="1994325"/>
                  <a:pt x="4797035" y="1994467"/>
                </a:cubicBezTo>
                <a:lnTo>
                  <a:pt x="4797890" y="1994894"/>
                </a:lnTo>
                <a:lnTo>
                  <a:pt x="4802158" y="1989061"/>
                </a:lnTo>
                <a:cubicBezTo>
                  <a:pt x="4807280" y="1984224"/>
                  <a:pt x="4814109" y="1980952"/>
                  <a:pt x="4820512" y="1980240"/>
                </a:cubicBezTo>
                <a:close/>
                <a:moveTo>
                  <a:pt x="5396959" y="1979956"/>
                </a:moveTo>
                <a:cubicBezTo>
                  <a:pt x="5399947" y="1979956"/>
                  <a:pt x="5403148" y="1980952"/>
                  <a:pt x="5406136" y="1982659"/>
                </a:cubicBezTo>
                <a:lnTo>
                  <a:pt x="5412751" y="1988492"/>
                </a:lnTo>
                <a:lnTo>
                  <a:pt x="5413392" y="1987781"/>
                </a:lnTo>
                <a:cubicBezTo>
                  <a:pt x="5414459" y="1988349"/>
                  <a:pt x="5414459" y="1988349"/>
                  <a:pt x="5414886" y="1989915"/>
                </a:cubicBezTo>
                <a:lnTo>
                  <a:pt x="5414459" y="1990910"/>
                </a:lnTo>
                <a:lnTo>
                  <a:pt x="5417234" y="1997313"/>
                </a:lnTo>
                <a:cubicBezTo>
                  <a:pt x="5417447" y="2000016"/>
                  <a:pt x="5416807" y="2002292"/>
                  <a:pt x="5414672" y="2004141"/>
                </a:cubicBezTo>
                <a:cubicBezTo>
                  <a:pt x="5413392" y="2005138"/>
                  <a:pt x="5411471" y="2005849"/>
                  <a:pt x="5409337" y="2006418"/>
                </a:cubicBezTo>
                <a:cubicBezTo>
                  <a:pt x="5403148" y="2000443"/>
                  <a:pt x="5390556" y="1991622"/>
                  <a:pt x="5396959" y="1979956"/>
                </a:cubicBezTo>
                <a:close/>
                <a:moveTo>
                  <a:pt x="1034628" y="1979906"/>
                </a:moveTo>
                <a:cubicBezTo>
                  <a:pt x="1037209" y="1981456"/>
                  <a:pt x="1035247" y="1983934"/>
                  <a:pt x="1034215" y="1987342"/>
                </a:cubicBezTo>
                <a:cubicBezTo>
                  <a:pt x="1033389" y="1986567"/>
                  <a:pt x="1032562" y="1987342"/>
                  <a:pt x="1031633" y="1988271"/>
                </a:cubicBezTo>
                <a:cubicBezTo>
                  <a:pt x="1030394" y="1987032"/>
                  <a:pt x="1028226" y="1985483"/>
                  <a:pt x="1028742" y="1983314"/>
                </a:cubicBezTo>
                <a:cubicBezTo>
                  <a:pt x="1028845" y="1982540"/>
                  <a:pt x="1029362" y="1981765"/>
                  <a:pt x="1030291" y="1980836"/>
                </a:cubicBezTo>
                <a:cubicBezTo>
                  <a:pt x="1030291" y="1980061"/>
                  <a:pt x="1033801" y="1979132"/>
                  <a:pt x="1034628" y="1979906"/>
                </a:cubicBezTo>
                <a:close/>
                <a:moveTo>
                  <a:pt x="813556" y="1979906"/>
                </a:moveTo>
                <a:cubicBezTo>
                  <a:pt x="815208" y="1980061"/>
                  <a:pt x="816860" y="1981146"/>
                  <a:pt x="817996" y="1983779"/>
                </a:cubicBezTo>
                <a:cubicBezTo>
                  <a:pt x="816654" y="1985793"/>
                  <a:pt x="815311" y="1986567"/>
                  <a:pt x="814072" y="1986567"/>
                </a:cubicBezTo>
                <a:lnTo>
                  <a:pt x="810768" y="1985483"/>
                </a:lnTo>
                <a:lnTo>
                  <a:pt x="810871" y="1986103"/>
                </a:lnTo>
                <a:cubicBezTo>
                  <a:pt x="810871" y="1986257"/>
                  <a:pt x="810665" y="1986103"/>
                  <a:pt x="810252" y="1985948"/>
                </a:cubicBezTo>
                <a:cubicBezTo>
                  <a:pt x="810149" y="1987807"/>
                  <a:pt x="809632" y="1988581"/>
                  <a:pt x="809219" y="1989200"/>
                </a:cubicBezTo>
                <a:cubicBezTo>
                  <a:pt x="807980" y="1989355"/>
                  <a:pt x="806431" y="1988426"/>
                  <a:pt x="805295" y="1986722"/>
                </a:cubicBezTo>
                <a:cubicBezTo>
                  <a:pt x="806534" y="1986567"/>
                  <a:pt x="806741" y="1984708"/>
                  <a:pt x="807877" y="1984399"/>
                </a:cubicBezTo>
                <a:cubicBezTo>
                  <a:pt x="807877" y="1984399"/>
                  <a:pt x="808600" y="1984553"/>
                  <a:pt x="809323" y="1984863"/>
                </a:cubicBezTo>
                <a:lnTo>
                  <a:pt x="810665" y="1985173"/>
                </a:lnTo>
                <a:lnTo>
                  <a:pt x="811388" y="1983779"/>
                </a:lnTo>
                <a:cubicBezTo>
                  <a:pt x="811697" y="1982230"/>
                  <a:pt x="810665" y="1980836"/>
                  <a:pt x="813556" y="1979906"/>
                </a:cubicBezTo>
                <a:close/>
                <a:moveTo>
                  <a:pt x="5201679" y="1979813"/>
                </a:moveTo>
                <a:cubicBezTo>
                  <a:pt x="5202960" y="1979956"/>
                  <a:pt x="5204240" y="1980667"/>
                  <a:pt x="5205735" y="1982089"/>
                </a:cubicBezTo>
                <a:cubicBezTo>
                  <a:pt x="5204454" y="1986784"/>
                  <a:pt x="5196557" y="1989488"/>
                  <a:pt x="5189728" y="1992760"/>
                </a:cubicBezTo>
                <a:cubicBezTo>
                  <a:pt x="5188874" y="1989630"/>
                  <a:pt x="5188448" y="1988065"/>
                  <a:pt x="5186953" y="1986073"/>
                </a:cubicBezTo>
                <a:cubicBezTo>
                  <a:pt x="5193996" y="1983513"/>
                  <a:pt x="5197624" y="1979387"/>
                  <a:pt x="5201679" y="1979813"/>
                </a:cubicBezTo>
                <a:close/>
                <a:moveTo>
                  <a:pt x="4756486" y="1979244"/>
                </a:moveTo>
                <a:cubicBezTo>
                  <a:pt x="4757553" y="1980952"/>
                  <a:pt x="4757980" y="1982374"/>
                  <a:pt x="4757766" y="1983940"/>
                </a:cubicBezTo>
                <a:lnTo>
                  <a:pt x="4756486" y="1987354"/>
                </a:lnTo>
                <a:lnTo>
                  <a:pt x="4764596" y="1988918"/>
                </a:lnTo>
                <a:cubicBezTo>
                  <a:pt x="4767584" y="1989345"/>
                  <a:pt x="4769931" y="1989772"/>
                  <a:pt x="4770998" y="1991622"/>
                </a:cubicBezTo>
                <a:cubicBezTo>
                  <a:pt x="4771852" y="1992760"/>
                  <a:pt x="4771852" y="1994467"/>
                  <a:pt x="4771425" y="1997028"/>
                </a:cubicBezTo>
                <a:cubicBezTo>
                  <a:pt x="4766730" y="1998024"/>
                  <a:pt x="4748163" y="1996744"/>
                  <a:pt x="4754779" y="1987069"/>
                </a:cubicBezTo>
                <a:lnTo>
                  <a:pt x="4753498" y="1983797"/>
                </a:lnTo>
                <a:cubicBezTo>
                  <a:pt x="4753711" y="1982232"/>
                  <a:pt x="4754779" y="1980809"/>
                  <a:pt x="4756486" y="1979244"/>
                </a:cubicBezTo>
                <a:close/>
                <a:moveTo>
                  <a:pt x="5580286" y="1979102"/>
                </a:moveTo>
                <a:cubicBezTo>
                  <a:pt x="5582420" y="1980382"/>
                  <a:pt x="5583487" y="1981663"/>
                  <a:pt x="5584554" y="1982943"/>
                </a:cubicBezTo>
                <a:cubicBezTo>
                  <a:pt x="5585622" y="1983513"/>
                  <a:pt x="5586049" y="1984224"/>
                  <a:pt x="5586049" y="1984935"/>
                </a:cubicBezTo>
                <a:lnTo>
                  <a:pt x="5584768" y="1986643"/>
                </a:lnTo>
                <a:lnTo>
                  <a:pt x="5585195" y="1986500"/>
                </a:lnTo>
                <a:lnTo>
                  <a:pt x="5591170" y="1986784"/>
                </a:lnTo>
                <a:lnTo>
                  <a:pt x="5591384" y="1986643"/>
                </a:lnTo>
                <a:cubicBezTo>
                  <a:pt x="5592025" y="1986358"/>
                  <a:pt x="5592451" y="1986358"/>
                  <a:pt x="5593091" y="1986358"/>
                </a:cubicBezTo>
                <a:lnTo>
                  <a:pt x="5592878" y="1986784"/>
                </a:lnTo>
                <a:lnTo>
                  <a:pt x="5592878" y="1986927"/>
                </a:lnTo>
                <a:lnTo>
                  <a:pt x="5592238" y="1988777"/>
                </a:lnTo>
                <a:lnTo>
                  <a:pt x="5591811" y="1989488"/>
                </a:lnTo>
                <a:lnTo>
                  <a:pt x="5590530" y="1992190"/>
                </a:lnTo>
                <a:lnTo>
                  <a:pt x="5590744" y="1993613"/>
                </a:lnTo>
                <a:lnTo>
                  <a:pt x="5588396" y="1997455"/>
                </a:lnTo>
                <a:lnTo>
                  <a:pt x="5587329" y="2003430"/>
                </a:lnTo>
                <a:lnTo>
                  <a:pt x="5589250" y="2003430"/>
                </a:lnTo>
                <a:cubicBezTo>
                  <a:pt x="5590530" y="2003999"/>
                  <a:pt x="5591811" y="2004711"/>
                  <a:pt x="5592665" y="2005564"/>
                </a:cubicBezTo>
                <a:lnTo>
                  <a:pt x="5594158" y="2008125"/>
                </a:lnTo>
                <a:lnTo>
                  <a:pt x="5594158" y="2005849"/>
                </a:lnTo>
                <a:cubicBezTo>
                  <a:pt x="5595439" y="2007129"/>
                  <a:pt x="5597787" y="2006276"/>
                  <a:pt x="5598853" y="2007698"/>
                </a:cubicBezTo>
                <a:cubicBezTo>
                  <a:pt x="5598853" y="2007698"/>
                  <a:pt x="5599921" y="2011539"/>
                  <a:pt x="5599921" y="2011539"/>
                </a:cubicBezTo>
                <a:cubicBezTo>
                  <a:pt x="5598640" y="2012535"/>
                  <a:pt x="5598640" y="2012535"/>
                  <a:pt x="5598640" y="2011397"/>
                </a:cubicBezTo>
                <a:lnTo>
                  <a:pt x="5594799" y="2011682"/>
                </a:lnTo>
                <a:lnTo>
                  <a:pt x="5595225" y="2015807"/>
                </a:lnTo>
                <a:lnTo>
                  <a:pt x="5594372" y="2017942"/>
                </a:lnTo>
                <a:lnTo>
                  <a:pt x="5595012" y="2019791"/>
                </a:lnTo>
                <a:lnTo>
                  <a:pt x="5602268" y="2017942"/>
                </a:lnTo>
                <a:cubicBezTo>
                  <a:pt x="5605256" y="2017230"/>
                  <a:pt x="5608244" y="2016803"/>
                  <a:pt x="5610592" y="2016945"/>
                </a:cubicBezTo>
                <a:lnTo>
                  <a:pt x="5611019" y="2017088"/>
                </a:lnTo>
                <a:lnTo>
                  <a:pt x="5611019" y="2016661"/>
                </a:lnTo>
                <a:lnTo>
                  <a:pt x="5611445" y="2017230"/>
                </a:lnTo>
                <a:lnTo>
                  <a:pt x="5613580" y="2017942"/>
                </a:lnTo>
                <a:cubicBezTo>
                  <a:pt x="5612939" y="2019080"/>
                  <a:pt x="5612299" y="2020075"/>
                  <a:pt x="5610592" y="2020502"/>
                </a:cubicBezTo>
                <a:cubicBezTo>
                  <a:pt x="5609098" y="2020929"/>
                  <a:pt x="5609738" y="2019933"/>
                  <a:pt x="5609098" y="2020929"/>
                </a:cubicBezTo>
                <a:cubicBezTo>
                  <a:pt x="5607391" y="2021498"/>
                  <a:pt x="5608244" y="2022067"/>
                  <a:pt x="5608244" y="2022067"/>
                </a:cubicBezTo>
                <a:cubicBezTo>
                  <a:pt x="5608244" y="2022067"/>
                  <a:pt x="5607391" y="2021498"/>
                  <a:pt x="5607391" y="2021498"/>
                </a:cubicBezTo>
                <a:cubicBezTo>
                  <a:pt x="5607391" y="2021498"/>
                  <a:pt x="5607391" y="2021356"/>
                  <a:pt x="5604189" y="2022352"/>
                </a:cubicBezTo>
                <a:cubicBezTo>
                  <a:pt x="5600348" y="2024201"/>
                  <a:pt x="5599708" y="2025339"/>
                  <a:pt x="5597360" y="2026905"/>
                </a:cubicBezTo>
                <a:cubicBezTo>
                  <a:pt x="5594158" y="2027758"/>
                  <a:pt x="5593305" y="2027046"/>
                  <a:pt x="5589037" y="2027331"/>
                </a:cubicBezTo>
                <a:cubicBezTo>
                  <a:pt x="5587969" y="2025197"/>
                  <a:pt x="5587969" y="2025197"/>
                  <a:pt x="5588610" y="2024059"/>
                </a:cubicBezTo>
                <a:cubicBezTo>
                  <a:pt x="5587969" y="2025197"/>
                  <a:pt x="5586902" y="2024486"/>
                  <a:pt x="5585195" y="2025055"/>
                </a:cubicBezTo>
                <a:cubicBezTo>
                  <a:pt x="5579006" y="2028470"/>
                  <a:pt x="5575804" y="2023348"/>
                  <a:pt x="5573883" y="2016234"/>
                </a:cubicBezTo>
                <a:cubicBezTo>
                  <a:pt x="5575378" y="2015807"/>
                  <a:pt x="5574097" y="2011824"/>
                  <a:pt x="5574524" y="2009121"/>
                </a:cubicBezTo>
                <a:cubicBezTo>
                  <a:pt x="5575378" y="2007556"/>
                  <a:pt x="5576231" y="2006276"/>
                  <a:pt x="5577298" y="2005279"/>
                </a:cubicBezTo>
                <a:lnTo>
                  <a:pt x="5577298" y="2005138"/>
                </a:lnTo>
                <a:lnTo>
                  <a:pt x="5576871" y="1997313"/>
                </a:lnTo>
                <a:cubicBezTo>
                  <a:pt x="5577085" y="1993613"/>
                  <a:pt x="5577939" y="1990484"/>
                  <a:pt x="5580286" y="1988492"/>
                </a:cubicBezTo>
                <a:lnTo>
                  <a:pt x="5583487" y="1987212"/>
                </a:lnTo>
                <a:lnTo>
                  <a:pt x="5580926" y="1983940"/>
                </a:lnTo>
                <a:cubicBezTo>
                  <a:pt x="5580073" y="1982232"/>
                  <a:pt x="5579646" y="1980382"/>
                  <a:pt x="5580286" y="1979102"/>
                </a:cubicBezTo>
                <a:close/>
                <a:moveTo>
                  <a:pt x="1174540" y="1978822"/>
                </a:moveTo>
                <a:cubicBezTo>
                  <a:pt x="1175675" y="1979132"/>
                  <a:pt x="1176089" y="1979752"/>
                  <a:pt x="1176811" y="1979287"/>
                </a:cubicBezTo>
                <a:cubicBezTo>
                  <a:pt x="1175882" y="1982695"/>
                  <a:pt x="1173301" y="1983624"/>
                  <a:pt x="1170616" y="1984399"/>
                </a:cubicBezTo>
                <a:cubicBezTo>
                  <a:pt x="1168654" y="1984708"/>
                  <a:pt x="1167931" y="1985173"/>
                  <a:pt x="1166796" y="1986877"/>
                </a:cubicBezTo>
                <a:cubicBezTo>
                  <a:pt x="1166796" y="1986877"/>
                  <a:pt x="1166899" y="1986877"/>
                  <a:pt x="1164524" y="1986567"/>
                </a:cubicBezTo>
                <a:lnTo>
                  <a:pt x="1164111" y="1985793"/>
                </a:lnTo>
                <a:cubicBezTo>
                  <a:pt x="1164008" y="1985328"/>
                  <a:pt x="1164524" y="1984708"/>
                  <a:pt x="1165247" y="1984244"/>
                </a:cubicBezTo>
                <a:cubicBezTo>
                  <a:pt x="1167622" y="1982385"/>
                  <a:pt x="1172371" y="1980216"/>
                  <a:pt x="1172991" y="1979906"/>
                </a:cubicBezTo>
                <a:cubicBezTo>
                  <a:pt x="1172991" y="1979906"/>
                  <a:pt x="1173817" y="1979442"/>
                  <a:pt x="1174540" y="1978822"/>
                </a:cubicBezTo>
                <a:close/>
                <a:moveTo>
                  <a:pt x="6088652" y="1978248"/>
                </a:moveTo>
                <a:cubicBezTo>
                  <a:pt x="6092707" y="1979387"/>
                  <a:pt x="6098683" y="1983513"/>
                  <a:pt x="6101457" y="1986358"/>
                </a:cubicBezTo>
                <a:cubicBezTo>
                  <a:pt x="6098043" y="1988492"/>
                  <a:pt x="6088865" y="1982232"/>
                  <a:pt x="6085237" y="1978533"/>
                </a:cubicBezTo>
                <a:cubicBezTo>
                  <a:pt x="6086091" y="1978106"/>
                  <a:pt x="6087158" y="1977964"/>
                  <a:pt x="6088652" y="1978248"/>
                </a:cubicBezTo>
                <a:close/>
                <a:moveTo>
                  <a:pt x="4679228" y="1977964"/>
                </a:moveTo>
                <a:cubicBezTo>
                  <a:pt x="4680295" y="1977822"/>
                  <a:pt x="4681149" y="1977822"/>
                  <a:pt x="4682429" y="1978248"/>
                </a:cubicBezTo>
                <a:cubicBezTo>
                  <a:pt x="4680509" y="1979956"/>
                  <a:pt x="4677521" y="1983228"/>
                  <a:pt x="4674959" y="1983797"/>
                </a:cubicBezTo>
                <a:cubicBezTo>
                  <a:pt x="4674319" y="1983940"/>
                  <a:pt x="4673466" y="1983797"/>
                  <a:pt x="4673039" y="1983086"/>
                </a:cubicBezTo>
                <a:cubicBezTo>
                  <a:pt x="4674746" y="1981521"/>
                  <a:pt x="4676667" y="1978533"/>
                  <a:pt x="4679228" y="1977964"/>
                </a:cubicBezTo>
                <a:close/>
                <a:moveTo>
                  <a:pt x="1153579" y="1977893"/>
                </a:moveTo>
                <a:lnTo>
                  <a:pt x="1158122" y="1981456"/>
                </a:lnTo>
                <a:lnTo>
                  <a:pt x="1158432" y="1980836"/>
                </a:lnTo>
                <a:cubicBezTo>
                  <a:pt x="1160497" y="1981765"/>
                  <a:pt x="1161736" y="1983005"/>
                  <a:pt x="1162356" y="1984399"/>
                </a:cubicBezTo>
                <a:cubicBezTo>
                  <a:pt x="1162975" y="1985793"/>
                  <a:pt x="1162975" y="1987187"/>
                  <a:pt x="1162562" y="1988581"/>
                </a:cubicBezTo>
                <a:lnTo>
                  <a:pt x="1159774" y="1988426"/>
                </a:lnTo>
                <a:lnTo>
                  <a:pt x="1159671" y="1988891"/>
                </a:lnTo>
                <a:cubicBezTo>
                  <a:pt x="1156057" y="1993073"/>
                  <a:pt x="1144492" y="1994002"/>
                  <a:pt x="1143460" y="1989665"/>
                </a:cubicBezTo>
                <a:cubicBezTo>
                  <a:pt x="1142840" y="1987342"/>
                  <a:pt x="1145318" y="1983469"/>
                  <a:pt x="1153579" y="1977893"/>
                </a:cubicBezTo>
                <a:close/>
                <a:moveTo>
                  <a:pt x="4749443" y="1977822"/>
                </a:moveTo>
                <a:cubicBezTo>
                  <a:pt x="4750937" y="1978675"/>
                  <a:pt x="4752004" y="1981521"/>
                  <a:pt x="4752858" y="1981948"/>
                </a:cubicBezTo>
                <a:cubicBezTo>
                  <a:pt x="4753498" y="1983654"/>
                  <a:pt x="4753925" y="1985219"/>
                  <a:pt x="4752431" y="1985646"/>
                </a:cubicBezTo>
                <a:cubicBezTo>
                  <a:pt x="4750937" y="1986073"/>
                  <a:pt x="4750510" y="1987069"/>
                  <a:pt x="4748803" y="1984935"/>
                </a:cubicBezTo>
                <a:cubicBezTo>
                  <a:pt x="4747736" y="1984366"/>
                  <a:pt x="4747309" y="1982801"/>
                  <a:pt x="4746242" y="1982089"/>
                </a:cubicBezTo>
                <a:cubicBezTo>
                  <a:pt x="4746242" y="1982089"/>
                  <a:pt x="4746242" y="1981236"/>
                  <a:pt x="4746455" y="1980240"/>
                </a:cubicBezTo>
                <a:cubicBezTo>
                  <a:pt x="4746882" y="1979244"/>
                  <a:pt x="4747309" y="1978248"/>
                  <a:pt x="4748163" y="1977964"/>
                </a:cubicBezTo>
                <a:cubicBezTo>
                  <a:pt x="4748589" y="1977537"/>
                  <a:pt x="4749016" y="1977679"/>
                  <a:pt x="4749443" y="1977822"/>
                </a:cubicBezTo>
                <a:close/>
                <a:moveTo>
                  <a:pt x="1499590" y="1976809"/>
                </a:moveTo>
                <a:cubicBezTo>
                  <a:pt x="1499590" y="1976809"/>
                  <a:pt x="1500829" y="1977274"/>
                  <a:pt x="1500829" y="1977274"/>
                </a:cubicBezTo>
                <a:cubicBezTo>
                  <a:pt x="1500623" y="1978358"/>
                  <a:pt x="1501346" y="1978048"/>
                  <a:pt x="1500003" y="1978822"/>
                </a:cubicBezTo>
                <a:cubicBezTo>
                  <a:pt x="1500106" y="1977583"/>
                  <a:pt x="1500106" y="1977583"/>
                  <a:pt x="1499590" y="1976809"/>
                </a:cubicBezTo>
                <a:close/>
                <a:moveTo>
                  <a:pt x="5645806" y="1976683"/>
                </a:moveTo>
                <a:cubicBezTo>
                  <a:pt x="5648154" y="1975545"/>
                  <a:pt x="5658611" y="1983086"/>
                  <a:pt x="5654343" y="1986500"/>
                </a:cubicBezTo>
                <a:cubicBezTo>
                  <a:pt x="5649648" y="1988635"/>
                  <a:pt x="5644739" y="1978960"/>
                  <a:pt x="5645806" y="1976683"/>
                </a:cubicBezTo>
                <a:close/>
                <a:moveTo>
                  <a:pt x="5812487" y="1976541"/>
                </a:moveTo>
                <a:cubicBezTo>
                  <a:pt x="5812700" y="1978248"/>
                  <a:pt x="5812914" y="1979813"/>
                  <a:pt x="5813554" y="1978818"/>
                </a:cubicBezTo>
                <a:cubicBezTo>
                  <a:pt x="5813767" y="1980382"/>
                  <a:pt x="5813554" y="1981805"/>
                  <a:pt x="5813127" y="1982801"/>
                </a:cubicBezTo>
                <a:cubicBezTo>
                  <a:pt x="5812487" y="1983940"/>
                  <a:pt x="5811633" y="1984935"/>
                  <a:pt x="5810566" y="1985646"/>
                </a:cubicBezTo>
                <a:cubicBezTo>
                  <a:pt x="5808859" y="1986073"/>
                  <a:pt x="5807152" y="1984793"/>
                  <a:pt x="5805017" y="1981948"/>
                </a:cubicBezTo>
                <a:cubicBezTo>
                  <a:pt x="5805231" y="1979244"/>
                  <a:pt x="5810139" y="1977964"/>
                  <a:pt x="5812487" y="1976541"/>
                </a:cubicBezTo>
                <a:close/>
                <a:moveTo>
                  <a:pt x="4783590" y="1975687"/>
                </a:moveTo>
                <a:cubicBezTo>
                  <a:pt x="4785938" y="1974977"/>
                  <a:pt x="4788285" y="1974977"/>
                  <a:pt x="4789352" y="1975687"/>
                </a:cubicBezTo>
                <a:cubicBezTo>
                  <a:pt x="4791700" y="1978391"/>
                  <a:pt x="4792767" y="1983228"/>
                  <a:pt x="4789139" y="1986358"/>
                </a:cubicBezTo>
                <a:cubicBezTo>
                  <a:pt x="4786792" y="1989630"/>
                  <a:pt x="4782096" y="1989061"/>
                  <a:pt x="4778468" y="1992333"/>
                </a:cubicBezTo>
                <a:cubicBezTo>
                  <a:pt x="4773986" y="1988208"/>
                  <a:pt x="4772919" y="1986784"/>
                  <a:pt x="4775267" y="1981094"/>
                </a:cubicBezTo>
                <a:cubicBezTo>
                  <a:pt x="4775267" y="1981094"/>
                  <a:pt x="4776548" y="1980098"/>
                  <a:pt x="4776548" y="1980098"/>
                </a:cubicBezTo>
                <a:cubicBezTo>
                  <a:pt x="4778468" y="1977964"/>
                  <a:pt x="4781029" y="1976541"/>
                  <a:pt x="4783590" y="1975687"/>
                </a:cubicBezTo>
                <a:close/>
                <a:moveTo>
                  <a:pt x="5921758" y="1975404"/>
                </a:moveTo>
                <a:cubicBezTo>
                  <a:pt x="5923038" y="1975261"/>
                  <a:pt x="5924745" y="1976399"/>
                  <a:pt x="5927307" y="1977822"/>
                </a:cubicBezTo>
                <a:cubicBezTo>
                  <a:pt x="5925386" y="1982659"/>
                  <a:pt x="5922612" y="1982659"/>
                  <a:pt x="5918130" y="1980952"/>
                </a:cubicBezTo>
                <a:cubicBezTo>
                  <a:pt x="5919197" y="1977253"/>
                  <a:pt x="5920264" y="1975687"/>
                  <a:pt x="5921758" y="1975404"/>
                </a:cubicBezTo>
                <a:close/>
                <a:moveTo>
                  <a:pt x="5779193" y="1974977"/>
                </a:moveTo>
                <a:cubicBezTo>
                  <a:pt x="5780047" y="1975118"/>
                  <a:pt x="5780901" y="1975687"/>
                  <a:pt x="5781755" y="1976826"/>
                </a:cubicBezTo>
                <a:cubicBezTo>
                  <a:pt x="5776632" y="1983228"/>
                  <a:pt x="5777059" y="1990768"/>
                  <a:pt x="5777486" y="1997455"/>
                </a:cubicBezTo>
                <a:lnTo>
                  <a:pt x="5777272" y="2004426"/>
                </a:lnTo>
                <a:lnTo>
                  <a:pt x="5777486" y="2006560"/>
                </a:lnTo>
                <a:lnTo>
                  <a:pt x="5777272" y="2006703"/>
                </a:lnTo>
                <a:lnTo>
                  <a:pt x="5777272" y="2007129"/>
                </a:lnTo>
                <a:cubicBezTo>
                  <a:pt x="5776632" y="2010117"/>
                  <a:pt x="5775139" y="2012677"/>
                  <a:pt x="5772151" y="2014812"/>
                </a:cubicBezTo>
                <a:lnTo>
                  <a:pt x="5770443" y="2007556"/>
                </a:lnTo>
                <a:lnTo>
                  <a:pt x="5768309" y="2006987"/>
                </a:lnTo>
                <a:cubicBezTo>
                  <a:pt x="5765321" y="2005421"/>
                  <a:pt x="5762973" y="2002149"/>
                  <a:pt x="5763400" y="1998024"/>
                </a:cubicBezTo>
                <a:lnTo>
                  <a:pt x="5767669" y="1996317"/>
                </a:lnTo>
                <a:lnTo>
                  <a:pt x="5767456" y="1988492"/>
                </a:lnTo>
                <a:cubicBezTo>
                  <a:pt x="5767882" y="1985077"/>
                  <a:pt x="5768736" y="1981379"/>
                  <a:pt x="5770443" y="1977395"/>
                </a:cubicBezTo>
                <a:cubicBezTo>
                  <a:pt x="5773218" y="1976968"/>
                  <a:pt x="5776419" y="1974265"/>
                  <a:pt x="5779193" y="1974977"/>
                </a:cubicBezTo>
                <a:close/>
                <a:moveTo>
                  <a:pt x="1102880" y="1974950"/>
                </a:moveTo>
                <a:cubicBezTo>
                  <a:pt x="1104119" y="1975105"/>
                  <a:pt x="1103706" y="1976344"/>
                  <a:pt x="1104222" y="1976964"/>
                </a:cubicBezTo>
                <a:lnTo>
                  <a:pt x="1102983" y="1979597"/>
                </a:lnTo>
                <a:lnTo>
                  <a:pt x="1105461" y="1979906"/>
                </a:lnTo>
                <a:cubicBezTo>
                  <a:pt x="1120846" y="1983779"/>
                  <a:pt x="1123428" y="2000972"/>
                  <a:pt x="1116613" y="2010266"/>
                </a:cubicBezTo>
                <a:lnTo>
                  <a:pt x="1111657" y="2014449"/>
                </a:lnTo>
                <a:lnTo>
                  <a:pt x="1112999" y="2015997"/>
                </a:lnTo>
                <a:cubicBezTo>
                  <a:pt x="1113825" y="2017547"/>
                  <a:pt x="1114135" y="2019250"/>
                  <a:pt x="1113722" y="2020180"/>
                </a:cubicBezTo>
                <a:cubicBezTo>
                  <a:pt x="1112070" y="2022039"/>
                  <a:pt x="1108662" y="2023278"/>
                  <a:pt x="1105978" y="2021264"/>
                </a:cubicBezTo>
                <a:cubicBezTo>
                  <a:pt x="1104635" y="2020489"/>
                  <a:pt x="1103912" y="2019406"/>
                  <a:pt x="1103190" y="2018166"/>
                </a:cubicBezTo>
                <a:lnTo>
                  <a:pt x="1100918" y="2015223"/>
                </a:lnTo>
                <a:lnTo>
                  <a:pt x="1095032" y="2013674"/>
                </a:lnTo>
                <a:cubicBezTo>
                  <a:pt x="1086049" y="2008872"/>
                  <a:pt x="1083777" y="1998650"/>
                  <a:pt x="1075311" y="1988891"/>
                </a:cubicBezTo>
                <a:cubicBezTo>
                  <a:pt x="1085223" y="1990594"/>
                  <a:pt x="1090386" y="1982695"/>
                  <a:pt x="1097510" y="1980216"/>
                </a:cubicBezTo>
                <a:lnTo>
                  <a:pt x="1099782" y="1979752"/>
                </a:lnTo>
                <a:lnTo>
                  <a:pt x="1101125" y="1976034"/>
                </a:lnTo>
                <a:cubicBezTo>
                  <a:pt x="1101537" y="1975415"/>
                  <a:pt x="1102157" y="1974950"/>
                  <a:pt x="1102880" y="1974950"/>
                </a:cubicBezTo>
                <a:close/>
                <a:moveTo>
                  <a:pt x="1276350" y="1974021"/>
                </a:moveTo>
                <a:cubicBezTo>
                  <a:pt x="1276970" y="1974021"/>
                  <a:pt x="1277590" y="1974021"/>
                  <a:pt x="1278519" y="1974175"/>
                </a:cubicBezTo>
                <a:cubicBezTo>
                  <a:pt x="1278519" y="1974175"/>
                  <a:pt x="1278519" y="1974330"/>
                  <a:pt x="1278932" y="1974950"/>
                </a:cubicBezTo>
                <a:cubicBezTo>
                  <a:pt x="1279861" y="1976499"/>
                  <a:pt x="1280377" y="1977118"/>
                  <a:pt x="1280894" y="1977893"/>
                </a:cubicBezTo>
                <a:cubicBezTo>
                  <a:pt x="1280584" y="1978978"/>
                  <a:pt x="1279241" y="1981765"/>
                  <a:pt x="1278106" y="1981301"/>
                </a:cubicBezTo>
                <a:cubicBezTo>
                  <a:pt x="1275731" y="1980681"/>
                  <a:pt x="1273562" y="1978822"/>
                  <a:pt x="1273769" y="1977583"/>
                </a:cubicBezTo>
                <a:cubicBezTo>
                  <a:pt x="1274285" y="1976034"/>
                  <a:pt x="1274698" y="1974330"/>
                  <a:pt x="1276350" y="1974021"/>
                </a:cubicBezTo>
                <a:close/>
                <a:moveTo>
                  <a:pt x="875200" y="1973091"/>
                </a:moveTo>
                <a:cubicBezTo>
                  <a:pt x="876955" y="1973246"/>
                  <a:pt x="878711" y="1972627"/>
                  <a:pt x="880363" y="1973711"/>
                </a:cubicBezTo>
                <a:cubicBezTo>
                  <a:pt x="882118" y="1975570"/>
                  <a:pt x="881086" y="1979597"/>
                  <a:pt x="880260" y="1981146"/>
                </a:cubicBezTo>
                <a:cubicBezTo>
                  <a:pt x="878504" y="1982695"/>
                  <a:pt x="875923" y="1981456"/>
                  <a:pt x="874270" y="1979597"/>
                </a:cubicBezTo>
                <a:cubicBezTo>
                  <a:pt x="873341" y="1979132"/>
                  <a:pt x="873031" y="1978358"/>
                  <a:pt x="872928" y="1977274"/>
                </a:cubicBezTo>
                <a:cubicBezTo>
                  <a:pt x="872825" y="1976344"/>
                  <a:pt x="873031" y="1975415"/>
                  <a:pt x="873445" y="1974640"/>
                </a:cubicBezTo>
                <a:cubicBezTo>
                  <a:pt x="874374" y="1973866"/>
                  <a:pt x="874374" y="1973866"/>
                  <a:pt x="875200" y="1973091"/>
                </a:cubicBezTo>
                <a:close/>
                <a:moveTo>
                  <a:pt x="5282139" y="1972842"/>
                </a:moveTo>
                <a:cubicBezTo>
                  <a:pt x="5283846" y="1972700"/>
                  <a:pt x="5285554" y="1972985"/>
                  <a:pt x="5287047" y="1973980"/>
                </a:cubicBezTo>
                <a:cubicBezTo>
                  <a:pt x="5287047" y="1981236"/>
                  <a:pt x="5276803" y="1986358"/>
                  <a:pt x="5270828" y="1988208"/>
                </a:cubicBezTo>
                <a:cubicBezTo>
                  <a:pt x="5268907" y="1985646"/>
                  <a:pt x="5266559" y="1986643"/>
                  <a:pt x="5264638" y="1984082"/>
                </a:cubicBezTo>
                <a:cubicBezTo>
                  <a:pt x="5270614" y="1979102"/>
                  <a:pt x="5276803" y="1973553"/>
                  <a:pt x="5282139" y="1972842"/>
                </a:cubicBezTo>
                <a:close/>
                <a:moveTo>
                  <a:pt x="6067097" y="1972415"/>
                </a:moveTo>
                <a:cubicBezTo>
                  <a:pt x="6068164" y="1973838"/>
                  <a:pt x="6067950" y="1976257"/>
                  <a:pt x="6069231" y="1977537"/>
                </a:cubicBezTo>
                <a:cubicBezTo>
                  <a:pt x="6067950" y="1977395"/>
                  <a:pt x="6066670" y="1978391"/>
                  <a:pt x="6065389" y="1978248"/>
                </a:cubicBezTo>
                <a:cubicBezTo>
                  <a:pt x="6063255" y="1975404"/>
                  <a:pt x="6065816" y="1972273"/>
                  <a:pt x="6067097" y="1972415"/>
                </a:cubicBezTo>
                <a:close/>
                <a:moveTo>
                  <a:pt x="6226308" y="1971846"/>
                </a:moveTo>
                <a:cubicBezTo>
                  <a:pt x="6227162" y="1973980"/>
                  <a:pt x="6229296" y="1975404"/>
                  <a:pt x="6230363" y="1977395"/>
                </a:cubicBezTo>
                <a:cubicBezTo>
                  <a:pt x="6228442" y="1989345"/>
                  <a:pt x="6224814" y="1987496"/>
                  <a:pt x="6219052" y="1987069"/>
                </a:cubicBezTo>
                <a:cubicBezTo>
                  <a:pt x="6219052" y="1984366"/>
                  <a:pt x="6216491" y="1981948"/>
                  <a:pt x="6217558" y="1978675"/>
                </a:cubicBezTo>
                <a:cubicBezTo>
                  <a:pt x="6217558" y="1978675"/>
                  <a:pt x="6217984" y="1976968"/>
                  <a:pt x="6220119" y="1975687"/>
                </a:cubicBezTo>
                <a:cubicBezTo>
                  <a:pt x="6222040" y="1971846"/>
                  <a:pt x="6226735" y="1972985"/>
                  <a:pt x="6226735" y="1972985"/>
                </a:cubicBezTo>
                <a:cubicBezTo>
                  <a:pt x="6226735" y="1972985"/>
                  <a:pt x="6226735" y="1972985"/>
                  <a:pt x="6226308" y="1971846"/>
                </a:cubicBezTo>
                <a:close/>
                <a:moveTo>
                  <a:pt x="5797548" y="1971846"/>
                </a:moveTo>
                <a:cubicBezTo>
                  <a:pt x="5797548" y="1971846"/>
                  <a:pt x="5797761" y="1971846"/>
                  <a:pt x="5799041" y="1972415"/>
                </a:cubicBezTo>
                <a:cubicBezTo>
                  <a:pt x="5795840" y="1973696"/>
                  <a:pt x="5791572" y="1975545"/>
                  <a:pt x="5789011" y="1975404"/>
                </a:cubicBezTo>
                <a:cubicBezTo>
                  <a:pt x="5790931" y="1973412"/>
                  <a:pt x="5794773" y="1970566"/>
                  <a:pt x="5797548" y="1971846"/>
                </a:cubicBezTo>
                <a:close/>
                <a:moveTo>
                  <a:pt x="961922" y="1970323"/>
                </a:moveTo>
                <a:cubicBezTo>
                  <a:pt x="964749" y="1970884"/>
                  <a:pt x="967253" y="1972549"/>
                  <a:pt x="968234" y="1976499"/>
                </a:cubicBezTo>
                <a:cubicBezTo>
                  <a:pt x="967201" y="1977118"/>
                  <a:pt x="966272" y="1977893"/>
                  <a:pt x="965343" y="1978513"/>
                </a:cubicBezTo>
                <a:cubicBezTo>
                  <a:pt x="961316" y="1974485"/>
                  <a:pt x="956979" y="1973866"/>
                  <a:pt x="953675" y="1970768"/>
                </a:cubicBezTo>
                <a:cubicBezTo>
                  <a:pt x="955946" y="1970303"/>
                  <a:pt x="959096" y="1969761"/>
                  <a:pt x="961922" y="1970323"/>
                </a:cubicBezTo>
                <a:close/>
                <a:moveTo>
                  <a:pt x="1115890" y="1970303"/>
                </a:moveTo>
                <a:cubicBezTo>
                  <a:pt x="1123737" y="1970923"/>
                  <a:pt x="1126009" y="1979906"/>
                  <a:pt x="1117955" y="1982695"/>
                </a:cubicBezTo>
                <a:cubicBezTo>
                  <a:pt x="1114548" y="1982540"/>
                  <a:pt x="1111966" y="1980526"/>
                  <a:pt x="1111347" y="1978048"/>
                </a:cubicBezTo>
                <a:cubicBezTo>
                  <a:pt x="1110727" y="1975570"/>
                  <a:pt x="1111966" y="1972627"/>
                  <a:pt x="1115890" y="1970303"/>
                </a:cubicBezTo>
                <a:close/>
                <a:moveTo>
                  <a:pt x="5123568" y="1970282"/>
                </a:moveTo>
                <a:cubicBezTo>
                  <a:pt x="5127196" y="1972131"/>
                  <a:pt x="5128690" y="1972558"/>
                  <a:pt x="5130824" y="1973980"/>
                </a:cubicBezTo>
                <a:cubicBezTo>
                  <a:pt x="5131891" y="1973269"/>
                  <a:pt x="5132745" y="1972700"/>
                  <a:pt x="5134452" y="1973127"/>
                </a:cubicBezTo>
                <a:cubicBezTo>
                  <a:pt x="5137440" y="1973980"/>
                  <a:pt x="5137440" y="1976683"/>
                  <a:pt x="5139574" y="1978106"/>
                </a:cubicBezTo>
                <a:cubicBezTo>
                  <a:pt x="5139148" y="1979813"/>
                  <a:pt x="5137654" y="1982089"/>
                  <a:pt x="5134452" y="1981236"/>
                </a:cubicBezTo>
                <a:cubicBezTo>
                  <a:pt x="5130398" y="1981094"/>
                  <a:pt x="5128903" y="1977964"/>
                  <a:pt x="5128263" y="1974265"/>
                </a:cubicBezTo>
                <a:cubicBezTo>
                  <a:pt x="5126129" y="1972842"/>
                  <a:pt x="5123781" y="1972985"/>
                  <a:pt x="5123568" y="1970282"/>
                </a:cubicBezTo>
                <a:close/>
                <a:moveTo>
                  <a:pt x="4966918" y="1970282"/>
                </a:moveTo>
                <a:cubicBezTo>
                  <a:pt x="4970973" y="1969570"/>
                  <a:pt x="4971400" y="1972131"/>
                  <a:pt x="4973961" y="1971420"/>
                </a:cubicBezTo>
                <a:cubicBezTo>
                  <a:pt x="4973961" y="1977253"/>
                  <a:pt x="4971400" y="1979529"/>
                  <a:pt x="4966278" y="1981094"/>
                </a:cubicBezTo>
                <a:cubicBezTo>
                  <a:pt x="4964357" y="1978533"/>
                  <a:pt x="4964143" y="1972700"/>
                  <a:pt x="4966918" y="1970282"/>
                </a:cubicBezTo>
                <a:close/>
                <a:moveTo>
                  <a:pt x="1062610" y="1969993"/>
                </a:moveTo>
                <a:cubicBezTo>
                  <a:pt x="1064262" y="1972471"/>
                  <a:pt x="1058583" y="1981146"/>
                  <a:pt x="1054350" y="1976344"/>
                </a:cubicBezTo>
                <a:cubicBezTo>
                  <a:pt x="1053730" y="1975725"/>
                  <a:pt x="1053730" y="1974795"/>
                  <a:pt x="1054143" y="1973866"/>
                </a:cubicBezTo>
                <a:cubicBezTo>
                  <a:pt x="1055279" y="1971078"/>
                  <a:pt x="1060029" y="1967670"/>
                  <a:pt x="1062610" y="1969993"/>
                </a:cubicBezTo>
                <a:close/>
                <a:moveTo>
                  <a:pt x="1229730" y="1969161"/>
                </a:moveTo>
                <a:cubicBezTo>
                  <a:pt x="1233860" y="1967747"/>
                  <a:pt x="1238662" y="1968057"/>
                  <a:pt x="1241760" y="1971387"/>
                </a:cubicBezTo>
                <a:cubicBezTo>
                  <a:pt x="1242276" y="1978822"/>
                  <a:pt x="1231640" y="1984399"/>
                  <a:pt x="1225652" y="1984553"/>
                </a:cubicBezTo>
                <a:cubicBezTo>
                  <a:pt x="1222451" y="1982230"/>
                  <a:pt x="1221418" y="1979752"/>
                  <a:pt x="1221728" y="1977274"/>
                </a:cubicBezTo>
                <a:cubicBezTo>
                  <a:pt x="1222141" y="1973711"/>
                  <a:pt x="1225600" y="1970574"/>
                  <a:pt x="1229730" y="1969161"/>
                </a:cubicBezTo>
                <a:close/>
                <a:moveTo>
                  <a:pt x="4699503" y="1969001"/>
                </a:moveTo>
                <a:cubicBezTo>
                  <a:pt x="4700143" y="1969712"/>
                  <a:pt x="4699929" y="1970423"/>
                  <a:pt x="4699716" y="1970993"/>
                </a:cubicBezTo>
                <a:cubicBezTo>
                  <a:pt x="4699289" y="1971562"/>
                  <a:pt x="4698649" y="1971988"/>
                  <a:pt x="4698009" y="1972415"/>
                </a:cubicBezTo>
                <a:cubicBezTo>
                  <a:pt x="4696728" y="1973412"/>
                  <a:pt x="4695661" y="1974550"/>
                  <a:pt x="4694381" y="1975545"/>
                </a:cubicBezTo>
                <a:cubicBezTo>
                  <a:pt x="4694381" y="1975545"/>
                  <a:pt x="4694381" y="1975545"/>
                  <a:pt x="4699503" y="1969001"/>
                </a:cubicBezTo>
                <a:close/>
                <a:moveTo>
                  <a:pt x="1082745" y="1968754"/>
                </a:moveTo>
                <a:cubicBezTo>
                  <a:pt x="1084810" y="1968289"/>
                  <a:pt x="1085223" y="1969064"/>
                  <a:pt x="1084914" y="1970148"/>
                </a:cubicBezTo>
                <a:cubicBezTo>
                  <a:pt x="1084914" y="1970148"/>
                  <a:pt x="1084604" y="1971387"/>
                  <a:pt x="1084294" y="1972627"/>
                </a:cubicBezTo>
                <a:cubicBezTo>
                  <a:pt x="1083881" y="1973711"/>
                  <a:pt x="1084397" y="1974485"/>
                  <a:pt x="1084397" y="1974485"/>
                </a:cubicBezTo>
                <a:cubicBezTo>
                  <a:pt x="1084087" y="1975570"/>
                  <a:pt x="1083261" y="1976189"/>
                  <a:pt x="1082022" y="1976034"/>
                </a:cubicBezTo>
                <a:cubicBezTo>
                  <a:pt x="1082022" y="1976034"/>
                  <a:pt x="1081919" y="1974175"/>
                  <a:pt x="1081919" y="1974175"/>
                </a:cubicBezTo>
                <a:cubicBezTo>
                  <a:pt x="1082642" y="1971697"/>
                  <a:pt x="1082848" y="1970613"/>
                  <a:pt x="1082745" y="1968754"/>
                </a:cubicBezTo>
                <a:close/>
                <a:moveTo>
                  <a:pt x="867456" y="1967980"/>
                </a:moveTo>
                <a:cubicBezTo>
                  <a:pt x="867559" y="1970923"/>
                  <a:pt x="866010" y="1971852"/>
                  <a:pt x="862913" y="1973556"/>
                </a:cubicBezTo>
                <a:cubicBezTo>
                  <a:pt x="862602" y="1971542"/>
                  <a:pt x="862913" y="1970303"/>
                  <a:pt x="863635" y="1969528"/>
                </a:cubicBezTo>
                <a:cubicBezTo>
                  <a:pt x="864461" y="1968599"/>
                  <a:pt x="865700" y="1968289"/>
                  <a:pt x="867456" y="1967980"/>
                </a:cubicBezTo>
                <a:close/>
                <a:moveTo>
                  <a:pt x="5616141" y="1967863"/>
                </a:moveTo>
                <a:cubicBezTo>
                  <a:pt x="5625318" y="1968858"/>
                  <a:pt x="5634281" y="1975118"/>
                  <a:pt x="5637056" y="1981094"/>
                </a:cubicBezTo>
                <a:cubicBezTo>
                  <a:pt x="5634281" y="1982232"/>
                  <a:pt x="5631507" y="1982374"/>
                  <a:pt x="5628519" y="1981948"/>
                </a:cubicBezTo>
                <a:lnTo>
                  <a:pt x="5620836" y="1979387"/>
                </a:lnTo>
                <a:lnTo>
                  <a:pt x="5621476" y="1983513"/>
                </a:lnTo>
                <a:cubicBezTo>
                  <a:pt x="5621476" y="1985362"/>
                  <a:pt x="5621050" y="1987069"/>
                  <a:pt x="5619769" y="1988208"/>
                </a:cubicBezTo>
                <a:cubicBezTo>
                  <a:pt x="5619769" y="1988208"/>
                  <a:pt x="5619769" y="1988208"/>
                  <a:pt x="5618702" y="1989345"/>
                </a:cubicBezTo>
                <a:cubicBezTo>
                  <a:pt x="5618702" y="1987638"/>
                  <a:pt x="5618915" y="1985504"/>
                  <a:pt x="5619342" y="1983654"/>
                </a:cubicBezTo>
                <a:lnTo>
                  <a:pt x="5620622" y="1979244"/>
                </a:lnTo>
                <a:lnTo>
                  <a:pt x="5620195" y="1979102"/>
                </a:lnTo>
                <a:cubicBezTo>
                  <a:pt x="5614860" y="1976399"/>
                  <a:pt x="5610165" y="1972273"/>
                  <a:pt x="5607391" y="1968858"/>
                </a:cubicBezTo>
                <a:cubicBezTo>
                  <a:pt x="5610165" y="1967863"/>
                  <a:pt x="5613153" y="1967578"/>
                  <a:pt x="5616141" y="1967863"/>
                </a:cubicBezTo>
                <a:close/>
                <a:moveTo>
                  <a:pt x="5104573" y="1967863"/>
                </a:moveTo>
                <a:cubicBezTo>
                  <a:pt x="5104787" y="1968717"/>
                  <a:pt x="5105427" y="1969286"/>
                  <a:pt x="5106281" y="1969712"/>
                </a:cubicBezTo>
                <a:lnTo>
                  <a:pt x="5106921" y="1969855"/>
                </a:lnTo>
                <a:lnTo>
                  <a:pt x="5108415" y="1969143"/>
                </a:lnTo>
                <a:cubicBezTo>
                  <a:pt x="5109696" y="1968858"/>
                  <a:pt x="5111403" y="1968858"/>
                  <a:pt x="5113110" y="1969428"/>
                </a:cubicBezTo>
                <a:cubicBezTo>
                  <a:pt x="5112470" y="1970566"/>
                  <a:pt x="5117165" y="1973127"/>
                  <a:pt x="5119299" y="1976683"/>
                </a:cubicBezTo>
                <a:cubicBezTo>
                  <a:pt x="5119940" y="1977822"/>
                  <a:pt x="5120367" y="1979102"/>
                  <a:pt x="5120153" y="1980382"/>
                </a:cubicBezTo>
                <a:cubicBezTo>
                  <a:pt x="5119727" y="1983086"/>
                  <a:pt x="5118872" y="1984651"/>
                  <a:pt x="5118659" y="1987354"/>
                </a:cubicBezTo>
                <a:lnTo>
                  <a:pt x="5117592" y="1987923"/>
                </a:lnTo>
                <a:lnTo>
                  <a:pt x="5117592" y="1989203"/>
                </a:lnTo>
                <a:cubicBezTo>
                  <a:pt x="5116739" y="1992190"/>
                  <a:pt x="5114177" y="1994040"/>
                  <a:pt x="5110976" y="1996744"/>
                </a:cubicBezTo>
                <a:cubicBezTo>
                  <a:pt x="5111403" y="1995748"/>
                  <a:pt x="5109909" y="1996317"/>
                  <a:pt x="5109909" y="1996317"/>
                </a:cubicBezTo>
                <a:cubicBezTo>
                  <a:pt x="5106921" y="1997171"/>
                  <a:pt x="5112684" y="2001723"/>
                  <a:pt x="5109056" y="2003714"/>
                </a:cubicBezTo>
                <a:lnTo>
                  <a:pt x="5107561" y="2003856"/>
                </a:lnTo>
                <a:lnTo>
                  <a:pt x="5109482" y="2005849"/>
                </a:lnTo>
                <a:cubicBezTo>
                  <a:pt x="5105854" y="2007556"/>
                  <a:pt x="5108842" y="2012250"/>
                  <a:pt x="5103720" y="2011539"/>
                </a:cubicBezTo>
                <a:cubicBezTo>
                  <a:pt x="5101585" y="2010259"/>
                  <a:pt x="5100092" y="2007840"/>
                  <a:pt x="5099665" y="2003430"/>
                </a:cubicBezTo>
                <a:lnTo>
                  <a:pt x="5100945" y="2002861"/>
                </a:lnTo>
                <a:lnTo>
                  <a:pt x="5099878" y="2002434"/>
                </a:lnTo>
                <a:cubicBezTo>
                  <a:pt x="5097104" y="2000869"/>
                  <a:pt x="5094543" y="1998451"/>
                  <a:pt x="5093049" y="1996744"/>
                </a:cubicBezTo>
                <a:lnTo>
                  <a:pt x="5091128" y="1994894"/>
                </a:lnTo>
                <a:lnTo>
                  <a:pt x="5090488" y="1995890"/>
                </a:lnTo>
                <a:lnTo>
                  <a:pt x="5090061" y="1994182"/>
                </a:lnTo>
                <a:lnTo>
                  <a:pt x="5089847" y="1994040"/>
                </a:lnTo>
                <a:cubicBezTo>
                  <a:pt x="5090274" y="1993045"/>
                  <a:pt x="5089207" y="1992476"/>
                  <a:pt x="5088780" y="1993472"/>
                </a:cubicBezTo>
                <a:cubicBezTo>
                  <a:pt x="5087500" y="1991622"/>
                  <a:pt x="5086646" y="1989915"/>
                  <a:pt x="5086433" y="1988777"/>
                </a:cubicBezTo>
                <a:lnTo>
                  <a:pt x="5087073" y="1987923"/>
                </a:lnTo>
                <a:lnTo>
                  <a:pt x="5084512" y="1986784"/>
                </a:lnTo>
                <a:lnTo>
                  <a:pt x="5083658" y="1987781"/>
                </a:lnTo>
                <a:cubicBezTo>
                  <a:pt x="5074481" y="1991907"/>
                  <a:pt x="5058475" y="1988065"/>
                  <a:pt x="5053353" y="1984651"/>
                </a:cubicBezTo>
                <a:lnTo>
                  <a:pt x="5064877" y="1981948"/>
                </a:lnTo>
                <a:lnTo>
                  <a:pt x="5063384" y="1979671"/>
                </a:lnTo>
                <a:cubicBezTo>
                  <a:pt x="5064877" y="1979956"/>
                  <a:pt x="5067012" y="1980240"/>
                  <a:pt x="5068932" y="1980667"/>
                </a:cubicBezTo>
                <a:lnTo>
                  <a:pt x="5069146" y="1980952"/>
                </a:lnTo>
                <a:lnTo>
                  <a:pt x="5071707" y="1980240"/>
                </a:lnTo>
                <a:lnTo>
                  <a:pt x="5072987" y="1980240"/>
                </a:lnTo>
                <a:lnTo>
                  <a:pt x="5072987" y="1980098"/>
                </a:lnTo>
                <a:cubicBezTo>
                  <a:pt x="5071067" y="1978106"/>
                  <a:pt x="5070000" y="1975972"/>
                  <a:pt x="5070640" y="1973553"/>
                </a:cubicBezTo>
                <a:cubicBezTo>
                  <a:pt x="5074695" y="1974977"/>
                  <a:pt x="5082378" y="1976399"/>
                  <a:pt x="5088567" y="1978960"/>
                </a:cubicBezTo>
                <a:lnTo>
                  <a:pt x="5096250" y="1984082"/>
                </a:lnTo>
                <a:lnTo>
                  <a:pt x="5096890" y="1983086"/>
                </a:lnTo>
                <a:lnTo>
                  <a:pt x="5097530" y="1980098"/>
                </a:lnTo>
                <a:lnTo>
                  <a:pt x="5096464" y="1979956"/>
                </a:lnTo>
                <a:cubicBezTo>
                  <a:pt x="5096250" y="1978818"/>
                  <a:pt x="5094329" y="1976968"/>
                  <a:pt x="5093049" y="1976399"/>
                </a:cubicBezTo>
                <a:cubicBezTo>
                  <a:pt x="5094116" y="1975972"/>
                  <a:pt x="5095183" y="1975545"/>
                  <a:pt x="5094756" y="1974407"/>
                </a:cubicBezTo>
                <a:cubicBezTo>
                  <a:pt x="5096250" y="1975118"/>
                  <a:pt x="5097104" y="1975687"/>
                  <a:pt x="5097744" y="1976114"/>
                </a:cubicBezTo>
                <a:lnTo>
                  <a:pt x="5098171" y="1976399"/>
                </a:lnTo>
                <a:lnTo>
                  <a:pt x="5098385" y="1975261"/>
                </a:lnTo>
                <a:cubicBezTo>
                  <a:pt x="5099025" y="1972415"/>
                  <a:pt x="5100732" y="1969712"/>
                  <a:pt x="5104573" y="1967863"/>
                </a:cubicBezTo>
                <a:close/>
                <a:moveTo>
                  <a:pt x="983671" y="1966721"/>
                </a:moveTo>
                <a:cubicBezTo>
                  <a:pt x="987311" y="1965811"/>
                  <a:pt x="991157" y="1965888"/>
                  <a:pt x="993325" y="1967050"/>
                </a:cubicBezTo>
                <a:cubicBezTo>
                  <a:pt x="994668" y="1970613"/>
                  <a:pt x="994254" y="1973401"/>
                  <a:pt x="993015" y="1975415"/>
                </a:cubicBezTo>
                <a:cubicBezTo>
                  <a:pt x="992086" y="1976964"/>
                  <a:pt x="990640" y="1978048"/>
                  <a:pt x="988885" y="1978668"/>
                </a:cubicBezTo>
                <a:lnTo>
                  <a:pt x="987130" y="1978822"/>
                </a:lnTo>
                <a:lnTo>
                  <a:pt x="987233" y="1978822"/>
                </a:lnTo>
                <a:cubicBezTo>
                  <a:pt x="987956" y="1981920"/>
                  <a:pt x="986200" y="1985793"/>
                  <a:pt x="981554" y="1987342"/>
                </a:cubicBezTo>
                <a:cubicBezTo>
                  <a:pt x="978353" y="1985948"/>
                  <a:pt x="976907" y="1983779"/>
                  <a:pt x="975565" y="1982540"/>
                </a:cubicBezTo>
                <a:lnTo>
                  <a:pt x="978250" y="1977118"/>
                </a:lnTo>
                <a:lnTo>
                  <a:pt x="975256" y="1972317"/>
                </a:lnTo>
                <a:cubicBezTo>
                  <a:pt x="976598" y="1969529"/>
                  <a:pt x="980031" y="1967631"/>
                  <a:pt x="983671" y="1966721"/>
                </a:cubicBezTo>
                <a:close/>
                <a:moveTo>
                  <a:pt x="5825506" y="1966582"/>
                </a:moveTo>
                <a:cubicBezTo>
                  <a:pt x="5819743" y="1967721"/>
                  <a:pt x="5812273" y="1971988"/>
                  <a:pt x="5806938" y="1970566"/>
                </a:cubicBezTo>
                <a:cubicBezTo>
                  <a:pt x="5809072" y="1969712"/>
                  <a:pt x="5821664" y="1965729"/>
                  <a:pt x="5825506" y="1966582"/>
                </a:cubicBezTo>
                <a:close/>
                <a:moveTo>
                  <a:pt x="1384976" y="1965966"/>
                </a:moveTo>
                <a:lnTo>
                  <a:pt x="1385389" y="1966431"/>
                </a:lnTo>
                <a:lnTo>
                  <a:pt x="1385286" y="1966121"/>
                </a:lnTo>
                <a:close/>
                <a:moveTo>
                  <a:pt x="5750168" y="1965871"/>
                </a:moveTo>
                <a:cubicBezTo>
                  <a:pt x="5753370" y="1969286"/>
                  <a:pt x="5758705" y="1971420"/>
                  <a:pt x="5760413" y="1975261"/>
                </a:cubicBezTo>
                <a:cubicBezTo>
                  <a:pt x="5760413" y="1976114"/>
                  <a:pt x="5760626" y="1976968"/>
                  <a:pt x="5760413" y="1977679"/>
                </a:cubicBezTo>
                <a:cubicBezTo>
                  <a:pt x="5759985" y="1978391"/>
                  <a:pt x="5759345" y="1979102"/>
                  <a:pt x="5757638" y="1979529"/>
                </a:cubicBezTo>
                <a:cubicBezTo>
                  <a:pt x="5755290" y="1980952"/>
                  <a:pt x="5754437" y="1980240"/>
                  <a:pt x="5752942" y="1976399"/>
                </a:cubicBezTo>
                <a:cubicBezTo>
                  <a:pt x="5752302" y="1973127"/>
                  <a:pt x="5751022" y="1970850"/>
                  <a:pt x="5751876" y="1969712"/>
                </a:cubicBezTo>
                <a:cubicBezTo>
                  <a:pt x="5750809" y="1969143"/>
                  <a:pt x="5750595" y="1967578"/>
                  <a:pt x="5749528" y="1966867"/>
                </a:cubicBezTo>
                <a:cubicBezTo>
                  <a:pt x="5749528" y="1966867"/>
                  <a:pt x="5749528" y="1966867"/>
                  <a:pt x="5750168" y="1965871"/>
                </a:cubicBezTo>
                <a:close/>
                <a:moveTo>
                  <a:pt x="1039377" y="1965501"/>
                </a:moveTo>
                <a:lnTo>
                  <a:pt x="1040203" y="1966121"/>
                </a:lnTo>
                <a:lnTo>
                  <a:pt x="1042578" y="1966121"/>
                </a:lnTo>
                <a:cubicBezTo>
                  <a:pt x="1043508" y="1966585"/>
                  <a:pt x="1044024" y="1967670"/>
                  <a:pt x="1043921" y="1969219"/>
                </a:cubicBezTo>
                <a:cubicBezTo>
                  <a:pt x="1043508" y="1971697"/>
                  <a:pt x="1042268" y="1972936"/>
                  <a:pt x="1040410" y="1973556"/>
                </a:cubicBezTo>
                <a:lnTo>
                  <a:pt x="1036589" y="1973866"/>
                </a:lnTo>
                <a:lnTo>
                  <a:pt x="1037725" y="1975260"/>
                </a:lnTo>
                <a:cubicBezTo>
                  <a:pt x="1038758" y="1977274"/>
                  <a:pt x="1037003" y="1977893"/>
                  <a:pt x="1034215" y="1979287"/>
                </a:cubicBezTo>
                <a:cubicBezTo>
                  <a:pt x="1033079" y="1977893"/>
                  <a:pt x="1032769" y="1976654"/>
                  <a:pt x="1033079" y="1975725"/>
                </a:cubicBezTo>
                <a:lnTo>
                  <a:pt x="1034628" y="1974021"/>
                </a:lnTo>
                <a:lnTo>
                  <a:pt x="1033905" y="1974175"/>
                </a:lnTo>
                <a:cubicBezTo>
                  <a:pt x="1033595" y="1972317"/>
                  <a:pt x="1032666" y="1971078"/>
                  <a:pt x="1032356" y="1969219"/>
                </a:cubicBezTo>
                <a:lnTo>
                  <a:pt x="1030084" y="1967980"/>
                </a:lnTo>
                <a:cubicBezTo>
                  <a:pt x="1031840" y="1964882"/>
                  <a:pt x="1036280" y="1964262"/>
                  <a:pt x="1039377" y="1965501"/>
                </a:cubicBezTo>
                <a:close/>
                <a:moveTo>
                  <a:pt x="1076240" y="1965346"/>
                </a:moveTo>
                <a:cubicBezTo>
                  <a:pt x="1075930" y="1966431"/>
                  <a:pt x="1077272" y="1968599"/>
                  <a:pt x="1077479" y="1970458"/>
                </a:cubicBezTo>
                <a:cubicBezTo>
                  <a:pt x="1076756" y="1970923"/>
                  <a:pt x="1076550" y="1972162"/>
                  <a:pt x="1075827" y="1972627"/>
                </a:cubicBezTo>
                <a:cubicBezTo>
                  <a:pt x="1075311" y="1971852"/>
                  <a:pt x="1073658" y="1970923"/>
                  <a:pt x="1074381" y="1970458"/>
                </a:cubicBezTo>
                <a:cubicBezTo>
                  <a:pt x="1073968" y="1969838"/>
                  <a:pt x="1075311" y="1968754"/>
                  <a:pt x="1075311" y="1968754"/>
                </a:cubicBezTo>
                <a:cubicBezTo>
                  <a:pt x="1074897" y="1968135"/>
                  <a:pt x="1074485" y="1967360"/>
                  <a:pt x="1074691" y="1966276"/>
                </a:cubicBezTo>
                <a:cubicBezTo>
                  <a:pt x="1075930" y="1966431"/>
                  <a:pt x="1075517" y="1965811"/>
                  <a:pt x="1076240" y="1965346"/>
                </a:cubicBezTo>
                <a:close/>
                <a:moveTo>
                  <a:pt x="5947582" y="1965302"/>
                </a:moveTo>
                <a:cubicBezTo>
                  <a:pt x="5949716" y="1966013"/>
                  <a:pt x="5953344" y="1966867"/>
                  <a:pt x="5953984" y="1969855"/>
                </a:cubicBezTo>
                <a:cubicBezTo>
                  <a:pt x="5954198" y="1970850"/>
                  <a:pt x="5953984" y="1972131"/>
                  <a:pt x="5953344" y="1973838"/>
                </a:cubicBezTo>
                <a:cubicBezTo>
                  <a:pt x="5953771" y="1974834"/>
                  <a:pt x="5949929" y="1978106"/>
                  <a:pt x="5948435" y="1977537"/>
                </a:cubicBezTo>
                <a:cubicBezTo>
                  <a:pt x="5944380" y="1976968"/>
                  <a:pt x="5945234" y="1972700"/>
                  <a:pt x="5944594" y="1967863"/>
                </a:cubicBezTo>
                <a:cubicBezTo>
                  <a:pt x="5946087" y="1968432"/>
                  <a:pt x="5946942" y="1966867"/>
                  <a:pt x="5947582" y="1965302"/>
                </a:cubicBezTo>
                <a:close/>
                <a:moveTo>
                  <a:pt x="5826573" y="1965302"/>
                </a:moveTo>
                <a:cubicBezTo>
                  <a:pt x="5828066" y="1965729"/>
                  <a:pt x="5827639" y="1964733"/>
                  <a:pt x="5828280" y="1966725"/>
                </a:cubicBezTo>
                <a:cubicBezTo>
                  <a:pt x="5826786" y="1966298"/>
                  <a:pt x="5826786" y="1966298"/>
                  <a:pt x="5825719" y="1966725"/>
                </a:cubicBezTo>
                <a:cubicBezTo>
                  <a:pt x="5825719" y="1966725"/>
                  <a:pt x="5826573" y="1965302"/>
                  <a:pt x="5826573" y="1965302"/>
                </a:cubicBezTo>
                <a:close/>
                <a:moveTo>
                  <a:pt x="5832122" y="1965160"/>
                </a:moveTo>
                <a:cubicBezTo>
                  <a:pt x="5833189" y="1964876"/>
                  <a:pt x="5834256" y="1964876"/>
                  <a:pt x="5835536" y="1965160"/>
                </a:cubicBezTo>
                <a:cubicBezTo>
                  <a:pt x="5839591" y="1965302"/>
                  <a:pt x="5841725" y="1969428"/>
                  <a:pt x="5846421" y="1970566"/>
                </a:cubicBezTo>
                <a:cubicBezTo>
                  <a:pt x="5845353" y="1976541"/>
                  <a:pt x="5844927" y="1978248"/>
                  <a:pt x="5838737" y="1979387"/>
                </a:cubicBezTo>
                <a:cubicBezTo>
                  <a:pt x="5838737" y="1979387"/>
                  <a:pt x="5837244" y="1978960"/>
                  <a:pt x="5837244" y="1978960"/>
                </a:cubicBezTo>
                <a:cubicBezTo>
                  <a:pt x="5831481" y="1978391"/>
                  <a:pt x="5826359" y="1973553"/>
                  <a:pt x="5826359" y="1970993"/>
                </a:cubicBezTo>
                <a:cubicBezTo>
                  <a:pt x="5826999" y="1968432"/>
                  <a:pt x="5829134" y="1965871"/>
                  <a:pt x="5832122" y="1965160"/>
                </a:cubicBezTo>
                <a:close/>
                <a:moveTo>
                  <a:pt x="1240107" y="1964882"/>
                </a:moveTo>
                <a:cubicBezTo>
                  <a:pt x="1240934" y="1964727"/>
                  <a:pt x="1241863" y="1964417"/>
                  <a:pt x="1242173" y="1965192"/>
                </a:cubicBezTo>
                <a:cubicBezTo>
                  <a:pt x="1242379" y="1965811"/>
                  <a:pt x="1241450" y="1966121"/>
                  <a:pt x="1240314" y="1965656"/>
                </a:cubicBezTo>
                <a:cubicBezTo>
                  <a:pt x="1240314" y="1965656"/>
                  <a:pt x="1240107" y="1964882"/>
                  <a:pt x="1240107" y="1964882"/>
                </a:cubicBezTo>
                <a:close/>
                <a:moveTo>
                  <a:pt x="6226308" y="1964591"/>
                </a:moveTo>
                <a:cubicBezTo>
                  <a:pt x="6226735" y="1964448"/>
                  <a:pt x="6227162" y="1964448"/>
                  <a:pt x="6228442" y="1965302"/>
                </a:cubicBezTo>
                <a:cubicBezTo>
                  <a:pt x="6229509" y="1965444"/>
                  <a:pt x="6230576" y="1966867"/>
                  <a:pt x="6231643" y="1967009"/>
                </a:cubicBezTo>
                <a:cubicBezTo>
                  <a:pt x="6231643" y="1967009"/>
                  <a:pt x="6232070" y="1967863"/>
                  <a:pt x="6232070" y="1969001"/>
                </a:cubicBezTo>
                <a:cubicBezTo>
                  <a:pt x="6232070" y="1969997"/>
                  <a:pt x="6232070" y="1971277"/>
                  <a:pt x="6231430" y="1971704"/>
                </a:cubicBezTo>
                <a:cubicBezTo>
                  <a:pt x="6230150" y="1973980"/>
                  <a:pt x="6226948" y="1969855"/>
                  <a:pt x="6225668" y="1969570"/>
                </a:cubicBezTo>
                <a:cubicBezTo>
                  <a:pt x="6224600" y="1968290"/>
                  <a:pt x="6223747" y="1966867"/>
                  <a:pt x="6224814" y="1965871"/>
                </a:cubicBezTo>
                <a:cubicBezTo>
                  <a:pt x="6225454" y="1965444"/>
                  <a:pt x="6225668" y="1964876"/>
                  <a:pt x="6226308" y="1964591"/>
                </a:cubicBezTo>
                <a:close/>
                <a:moveTo>
                  <a:pt x="1234635" y="1964417"/>
                </a:moveTo>
                <a:cubicBezTo>
                  <a:pt x="1237423" y="1964572"/>
                  <a:pt x="1237526" y="1964572"/>
                  <a:pt x="1239798" y="1965656"/>
                </a:cubicBezTo>
                <a:cubicBezTo>
                  <a:pt x="1238868" y="1965966"/>
                  <a:pt x="1237526" y="1967205"/>
                  <a:pt x="1236390" y="1966585"/>
                </a:cubicBezTo>
                <a:cubicBezTo>
                  <a:pt x="1235255" y="1965966"/>
                  <a:pt x="1235255" y="1965966"/>
                  <a:pt x="1234635" y="1964417"/>
                </a:cubicBezTo>
                <a:close/>
                <a:moveTo>
                  <a:pt x="1019449" y="1964262"/>
                </a:moveTo>
                <a:cubicBezTo>
                  <a:pt x="1022237" y="1963023"/>
                  <a:pt x="1030601" y="1969528"/>
                  <a:pt x="1024922" y="1972782"/>
                </a:cubicBezTo>
                <a:cubicBezTo>
                  <a:pt x="1024302" y="1973246"/>
                  <a:pt x="1023372" y="1973246"/>
                  <a:pt x="1022340" y="1972627"/>
                </a:cubicBezTo>
                <a:cubicBezTo>
                  <a:pt x="1020275" y="1971542"/>
                  <a:pt x="1018106" y="1968599"/>
                  <a:pt x="1018416" y="1966276"/>
                </a:cubicBezTo>
                <a:cubicBezTo>
                  <a:pt x="1018520" y="1965501"/>
                  <a:pt x="1018726" y="1964727"/>
                  <a:pt x="1019449" y="1964262"/>
                </a:cubicBezTo>
                <a:close/>
                <a:moveTo>
                  <a:pt x="1244238" y="1963797"/>
                </a:moveTo>
                <a:cubicBezTo>
                  <a:pt x="1245477" y="1964262"/>
                  <a:pt x="1245477" y="1964262"/>
                  <a:pt x="1246303" y="1964107"/>
                </a:cubicBezTo>
                <a:cubicBezTo>
                  <a:pt x="1246303" y="1964107"/>
                  <a:pt x="1245683" y="1965037"/>
                  <a:pt x="1245683" y="1965037"/>
                </a:cubicBezTo>
                <a:cubicBezTo>
                  <a:pt x="1244547" y="1964572"/>
                  <a:pt x="1244754" y="1965192"/>
                  <a:pt x="1244238" y="1963797"/>
                </a:cubicBezTo>
                <a:close/>
                <a:moveTo>
                  <a:pt x="5148965" y="1963594"/>
                </a:moveTo>
                <a:cubicBezTo>
                  <a:pt x="5150459" y="1964448"/>
                  <a:pt x="5152166" y="1965302"/>
                  <a:pt x="5153233" y="1966725"/>
                </a:cubicBezTo>
                <a:lnTo>
                  <a:pt x="5154727" y="1971135"/>
                </a:lnTo>
                <a:lnTo>
                  <a:pt x="5164544" y="1974977"/>
                </a:lnTo>
                <a:cubicBezTo>
                  <a:pt x="5167746" y="1977253"/>
                  <a:pt x="5170094" y="1980667"/>
                  <a:pt x="5169026" y="1986073"/>
                </a:cubicBezTo>
                <a:cubicBezTo>
                  <a:pt x="5167532" y="1986500"/>
                  <a:pt x="5166038" y="1986927"/>
                  <a:pt x="5164331" y="1987212"/>
                </a:cubicBezTo>
                <a:cubicBezTo>
                  <a:pt x="5163051" y="1983513"/>
                  <a:pt x="5160916" y="1980809"/>
                  <a:pt x="5158996" y="1978391"/>
                </a:cubicBezTo>
                <a:lnTo>
                  <a:pt x="5155154" y="1972415"/>
                </a:lnTo>
                <a:lnTo>
                  <a:pt x="5155368" y="1973127"/>
                </a:lnTo>
                <a:cubicBezTo>
                  <a:pt x="5152380" y="1977253"/>
                  <a:pt x="5148965" y="1978818"/>
                  <a:pt x="5142562" y="1978533"/>
                </a:cubicBezTo>
                <a:cubicBezTo>
                  <a:pt x="5139148" y="1974123"/>
                  <a:pt x="5141069" y="1963168"/>
                  <a:pt x="5148965" y="1963594"/>
                </a:cubicBezTo>
                <a:close/>
                <a:moveTo>
                  <a:pt x="5831694" y="1963452"/>
                </a:moveTo>
                <a:cubicBezTo>
                  <a:pt x="5832335" y="1963168"/>
                  <a:pt x="5832975" y="1963168"/>
                  <a:pt x="5833615" y="1963452"/>
                </a:cubicBezTo>
                <a:cubicBezTo>
                  <a:pt x="5833615" y="1963452"/>
                  <a:pt x="5833829" y="1964448"/>
                  <a:pt x="5833829" y="1964448"/>
                </a:cubicBezTo>
                <a:cubicBezTo>
                  <a:pt x="5832762" y="1964876"/>
                  <a:pt x="5831481" y="1965444"/>
                  <a:pt x="5831268" y="1964448"/>
                </a:cubicBezTo>
                <a:cubicBezTo>
                  <a:pt x="5831054" y="1963879"/>
                  <a:pt x="5831268" y="1963594"/>
                  <a:pt x="5831694" y="1963452"/>
                </a:cubicBezTo>
                <a:close/>
                <a:moveTo>
                  <a:pt x="4835238" y="1963310"/>
                </a:moveTo>
                <a:cubicBezTo>
                  <a:pt x="4838439" y="1962741"/>
                  <a:pt x="4841854" y="1962741"/>
                  <a:pt x="4845909" y="1963452"/>
                </a:cubicBezTo>
                <a:cubicBezTo>
                  <a:pt x="4847402" y="1967009"/>
                  <a:pt x="4852952" y="1970423"/>
                  <a:pt x="4849323" y="1974834"/>
                </a:cubicBezTo>
                <a:cubicBezTo>
                  <a:pt x="4836945" y="1968432"/>
                  <a:pt x="4826274" y="1981094"/>
                  <a:pt x="4816670" y="1977537"/>
                </a:cubicBezTo>
                <a:lnTo>
                  <a:pt x="4812615" y="1974977"/>
                </a:lnTo>
                <a:lnTo>
                  <a:pt x="4810694" y="1977110"/>
                </a:lnTo>
                <a:cubicBezTo>
                  <a:pt x="4810054" y="1978675"/>
                  <a:pt x="4809201" y="1980240"/>
                  <a:pt x="4808133" y="1981094"/>
                </a:cubicBezTo>
                <a:cubicBezTo>
                  <a:pt x="4807280" y="1982089"/>
                  <a:pt x="4805999" y="1982516"/>
                  <a:pt x="4804719" y="1981805"/>
                </a:cubicBezTo>
                <a:cubicBezTo>
                  <a:pt x="4804932" y="1978106"/>
                  <a:pt x="4805359" y="1975404"/>
                  <a:pt x="4806853" y="1971277"/>
                </a:cubicBezTo>
                <a:cubicBezTo>
                  <a:pt x="4806853" y="1971277"/>
                  <a:pt x="4810268" y="1965160"/>
                  <a:pt x="4814109" y="1966298"/>
                </a:cubicBezTo>
                <a:cubicBezTo>
                  <a:pt x="4814536" y="1966013"/>
                  <a:pt x="4815176" y="1967009"/>
                  <a:pt x="4815603" y="1968290"/>
                </a:cubicBezTo>
                <a:cubicBezTo>
                  <a:pt x="4815817" y="1969570"/>
                  <a:pt x="4815817" y="1971135"/>
                  <a:pt x="4815603" y="1971846"/>
                </a:cubicBezTo>
                <a:lnTo>
                  <a:pt x="4812829" y="1974692"/>
                </a:lnTo>
                <a:lnTo>
                  <a:pt x="4826701" y="1966013"/>
                </a:lnTo>
                <a:cubicBezTo>
                  <a:pt x="4829262" y="1964733"/>
                  <a:pt x="4832036" y="1963737"/>
                  <a:pt x="4835238" y="1963310"/>
                </a:cubicBezTo>
                <a:close/>
                <a:moveTo>
                  <a:pt x="1260346" y="1963178"/>
                </a:moveTo>
                <a:cubicBezTo>
                  <a:pt x="1258694" y="1963642"/>
                  <a:pt x="1249400" y="1965192"/>
                  <a:pt x="1246303" y="1964262"/>
                </a:cubicBezTo>
                <a:cubicBezTo>
                  <a:pt x="1250743" y="1963952"/>
                  <a:pt x="1256215" y="1961629"/>
                  <a:pt x="1260346" y="1963178"/>
                </a:cubicBezTo>
                <a:close/>
                <a:moveTo>
                  <a:pt x="4943228" y="1963168"/>
                </a:moveTo>
                <a:cubicBezTo>
                  <a:pt x="4944722" y="1963879"/>
                  <a:pt x="4945362" y="1964164"/>
                  <a:pt x="4945576" y="1964876"/>
                </a:cubicBezTo>
                <a:cubicBezTo>
                  <a:pt x="4945576" y="1965587"/>
                  <a:pt x="4945362" y="1966725"/>
                  <a:pt x="4944722" y="1968717"/>
                </a:cubicBezTo>
                <a:cubicBezTo>
                  <a:pt x="4943868" y="1970282"/>
                  <a:pt x="4941521" y="1972131"/>
                  <a:pt x="4938960" y="1973696"/>
                </a:cubicBezTo>
                <a:cubicBezTo>
                  <a:pt x="4936399" y="1975261"/>
                  <a:pt x="4933625" y="1976257"/>
                  <a:pt x="4931703" y="1975830"/>
                </a:cubicBezTo>
                <a:cubicBezTo>
                  <a:pt x="4932344" y="1973269"/>
                  <a:pt x="4932770" y="1970566"/>
                  <a:pt x="4933411" y="1968005"/>
                </a:cubicBezTo>
                <a:cubicBezTo>
                  <a:pt x="4933625" y="1969143"/>
                  <a:pt x="4943228" y="1963168"/>
                  <a:pt x="4943228" y="1963168"/>
                </a:cubicBezTo>
                <a:close/>
                <a:moveTo>
                  <a:pt x="6033376" y="1962884"/>
                </a:moveTo>
                <a:cubicBezTo>
                  <a:pt x="6037005" y="1962029"/>
                  <a:pt x="6040419" y="1964164"/>
                  <a:pt x="6041486" y="1968574"/>
                </a:cubicBezTo>
                <a:cubicBezTo>
                  <a:pt x="6042126" y="1971420"/>
                  <a:pt x="6041913" y="1975261"/>
                  <a:pt x="6039993" y="1979813"/>
                </a:cubicBezTo>
                <a:cubicBezTo>
                  <a:pt x="6035084" y="1983513"/>
                  <a:pt x="6025053" y="1980809"/>
                  <a:pt x="6024413" y="1975972"/>
                </a:cubicBezTo>
                <a:cubicBezTo>
                  <a:pt x="6026120" y="1967863"/>
                  <a:pt x="6029748" y="1963879"/>
                  <a:pt x="6033376" y="1962884"/>
                </a:cubicBezTo>
                <a:close/>
                <a:moveTo>
                  <a:pt x="3617891" y="1962172"/>
                </a:moveTo>
                <a:cubicBezTo>
                  <a:pt x="3619385" y="1962457"/>
                  <a:pt x="3620453" y="1962884"/>
                  <a:pt x="3621093" y="1963879"/>
                </a:cubicBezTo>
                <a:cubicBezTo>
                  <a:pt x="3622800" y="1966013"/>
                  <a:pt x="3621946" y="1970139"/>
                  <a:pt x="3615117" y="1977110"/>
                </a:cubicBezTo>
                <a:cubicBezTo>
                  <a:pt x="3608287" y="1973412"/>
                  <a:pt x="3606580" y="1970139"/>
                  <a:pt x="3607220" y="1967436"/>
                </a:cubicBezTo>
                <a:cubicBezTo>
                  <a:pt x="3608074" y="1963737"/>
                  <a:pt x="3613837" y="1961603"/>
                  <a:pt x="3617891" y="1962172"/>
                </a:cubicBezTo>
                <a:close/>
                <a:moveTo>
                  <a:pt x="1273666" y="1961474"/>
                </a:moveTo>
                <a:cubicBezTo>
                  <a:pt x="1272427" y="1962713"/>
                  <a:pt x="1269535" y="1964262"/>
                  <a:pt x="1267367" y="1963178"/>
                </a:cubicBezTo>
                <a:cubicBezTo>
                  <a:pt x="1267367" y="1963178"/>
                  <a:pt x="1267367" y="1963178"/>
                  <a:pt x="1266231" y="1962558"/>
                </a:cubicBezTo>
                <a:cubicBezTo>
                  <a:pt x="1268606" y="1961938"/>
                  <a:pt x="1271807" y="1961164"/>
                  <a:pt x="1273666" y="1961474"/>
                </a:cubicBezTo>
                <a:close/>
                <a:moveTo>
                  <a:pt x="5311591" y="1961034"/>
                </a:moveTo>
                <a:cubicBezTo>
                  <a:pt x="5313938" y="1960181"/>
                  <a:pt x="5316286" y="1961746"/>
                  <a:pt x="5318420" y="1963310"/>
                </a:cubicBezTo>
                <a:cubicBezTo>
                  <a:pt x="5320128" y="1964733"/>
                  <a:pt x="5320554" y="1966156"/>
                  <a:pt x="5320341" y="1967294"/>
                </a:cubicBezTo>
                <a:cubicBezTo>
                  <a:pt x="5320128" y="1968432"/>
                  <a:pt x="5319274" y="1969570"/>
                  <a:pt x="5317993" y="1970566"/>
                </a:cubicBezTo>
                <a:cubicBezTo>
                  <a:pt x="5315432" y="1972558"/>
                  <a:pt x="5313298" y="1970993"/>
                  <a:pt x="5313298" y="1970993"/>
                </a:cubicBezTo>
                <a:cubicBezTo>
                  <a:pt x="5309883" y="1968005"/>
                  <a:pt x="5309029" y="1964164"/>
                  <a:pt x="5311591" y="1961034"/>
                </a:cubicBezTo>
                <a:close/>
                <a:moveTo>
                  <a:pt x="1216668" y="1960545"/>
                </a:moveTo>
                <a:cubicBezTo>
                  <a:pt x="1217494" y="1960700"/>
                  <a:pt x="1219353" y="1959926"/>
                  <a:pt x="1220179" y="1960854"/>
                </a:cubicBezTo>
                <a:cubicBezTo>
                  <a:pt x="1221108" y="1961784"/>
                  <a:pt x="1221108" y="1961784"/>
                  <a:pt x="1221005" y="1963488"/>
                </a:cubicBezTo>
                <a:cubicBezTo>
                  <a:pt x="1218424" y="1962404"/>
                  <a:pt x="1218424" y="1962404"/>
                  <a:pt x="1216668" y="1960545"/>
                </a:cubicBezTo>
                <a:close/>
                <a:moveTo>
                  <a:pt x="5075126" y="1960325"/>
                </a:moveTo>
                <a:lnTo>
                  <a:pt x="5077256" y="1961603"/>
                </a:lnTo>
                <a:cubicBezTo>
                  <a:pt x="5077256" y="1961603"/>
                  <a:pt x="5076188" y="1961034"/>
                  <a:pt x="5077896" y="1960607"/>
                </a:cubicBezTo>
                <a:cubicBezTo>
                  <a:pt x="5077256" y="1961603"/>
                  <a:pt x="5078323" y="1962172"/>
                  <a:pt x="5079390" y="1962741"/>
                </a:cubicBezTo>
                <a:cubicBezTo>
                  <a:pt x="5080671" y="1966013"/>
                  <a:pt x="5081311" y="1970423"/>
                  <a:pt x="5079176" y="1971988"/>
                </a:cubicBezTo>
                <a:cubicBezTo>
                  <a:pt x="5075975" y="1972985"/>
                  <a:pt x="5074481" y="1970708"/>
                  <a:pt x="5073841" y="1969001"/>
                </a:cubicBezTo>
                <a:cubicBezTo>
                  <a:pt x="5072560" y="1967578"/>
                  <a:pt x="5072347" y="1965729"/>
                  <a:pt x="5072774" y="1964022"/>
                </a:cubicBezTo>
                <a:close/>
                <a:moveTo>
                  <a:pt x="1214706" y="1959770"/>
                </a:moveTo>
                <a:cubicBezTo>
                  <a:pt x="1215120" y="1959770"/>
                  <a:pt x="1215532" y="1960080"/>
                  <a:pt x="1216049" y="1960390"/>
                </a:cubicBezTo>
                <a:cubicBezTo>
                  <a:pt x="1216049" y="1960390"/>
                  <a:pt x="1216049" y="1961164"/>
                  <a:pt x="1216049" y="1961164"/>
                </a:cubicBezTo>
                <a:cubicBezTo>
                  <a:pt x="1215016" y="1961009"/>
                  <a:pt x="1214087" y="1961009"/>
                  <a:pt x="1214087" y="1960235"/>
                </a:cubicBezTo>
                <a:cubicBezTo>
                  <a:pt x="1214087" y="1959926"/>
                  <a:pt x="1214397" y="1959616"/>
                  <a:pt x="1214706" y="1959770"/>
                </a:cubicBezTo>
                <a:close/>
                <a:moveTo>
                  <a:pt x="892547" y="1959770"/>
                </a:moveTo>
                <a:cubicBezTo>
                  <a:pt x="893683" y="1959926"/>
                  <a:pt x="894406" y="1959460"/>
                  <a:pt x="894096" y="1960700"/>
                </a:cubicBezTo>
                <a:cubicBezTo>
                  <a:pt x="893786" y="1961784"/>
                  <a:pt x="893786" y="1961784"/>
                  <a:pt x="891618" y="1963178"/>
                </a:cubicBezTo>
                <a:cubicBezTo>
                  <a:pt x="891928" y="1962093"/>
                  <a:pt x="891928" y="1961938"/>
                  <a:pt x="890792" y="1961784"/>
                </a:cubicBezTo>
                <a:cubicBezTo>
                  <a:pt x="890792" y="1961784"/>
                  <a:pt x="890792" y="1961938"/>
                  <a:pt x="890069" y="1962404"/>
                </a:cubicBezTo>
                <a:cubicBezTo>
                  <a:pt x="889656" y="1961784"/>
                  <a:pt x="890379" y="1961319"/>
                  <a:pt x="889965" y="1960700"/>
                </a:cubicBezTo>
                <a:cubicBezTo>
                  <a:pt x="889965" y="1960700"/>
                  <a:pt x="890688" y="1960080"/>
                  <a:pt x="890688" y="1960080"/>
                </a:cubicBezTo>
                <a:cubicBezTo>
                  <a:pt x="890482" y="1959770"/>
                  <a:pt x="890482" y="1959770"/>
                  <a:pt x="890792" y="1959926"/>
                </a:cubicBezTo>
                <a:cubicBezTo>
                  <a:pt x="890998" y="1959926"/>
                  <a:pt x="891618" y="1959926"/>
                  <a:pt x="892547" y="1959770"/>
                </a:cubicBezTo>
                <a:close/>
                <a:moveTo>
                  <a:pt x="5075762" y="1959327"/>
                </a:moveTo>
                <a:lnTo>
                  <a:pt x="5075126" y="1960325"/>
                </a:lnTo>
                <a:lnTo>
                  <a:pt x="5075122" y="1960322"/>
                </a:lnTo>
                <a:cubicBezTo>
                  <a:pt x="5075122" y="1960322"/>
                  <a:pt x="5075122" y="1960322"/>
                  <a:pt x="5075762" y="1959327"/>
                </a:cubicBezTo>
                <a:close/>
                <a:moveTo>
                  <a:pt x="1298654" y="1959150"/>
                </a:moveTo>
                <a:cubicBezTo>
                  <a:pt x="1298654" y="1959150"/>
                  <a:pt x="1298240" y="1960080"/>
                  <a:pt x="1298654" y="1960854"/>
                </a:cubicBezTo>
                <a:cubicBezTo>
                  <a:pt x="1298654" y="1960854"/>
                  <a:pt x="1298344" y="1961938"/>
                  <a:pt x="1297931" y="1963023"/>
                </a:cubicBezTo>
                <a:cubicBezTo>
                  <a:pt x="1297931" y="1963023"/>
                  <a:pt x="1298240" y="1963797"/>
                  <a:pt x="1298654" y="1964572"/>
                </a:cubicBezTo>
                <a:cubicBezTo>
                  <a:pt x="1298240" y="1967515"/>
                  <a:pt x="1298344" y="1969374"/>
                  <a:pt x="1294833" y="1969838"/>
                </a:cubicBezTo>
                <a:cubicBezTo>
                  <a:pt x="1294420" y="1969064"/>
                  <a:pt x="1295246" y="1966895"/>
                  <a:pt x="1295659" y="1965811"/>
                </a:cubicBezTo>
                <a:cubicBezTo>
                  <a:pt x="1295246" y="1965037"/>
                  <a:pt x="1295659" y="1963952"/>
                  <a:pt x="1296382" y="1963642"/>
                </a:cubicBezTo>
                <a:cubicBezTo>
                  <a:pt x="1296382" y="1963642"/>
                  <a:pt x="1296795" y="1962558"/>
                  <a:pt x="1296382" y="1961784"/>
                </a:cubicBezTo>
                <a:cubicBezTo>
                  <a:pt x="1297208" y="1959616"/>
                  <a:pt x="1297931" y="1959305"/>
                  <a:pt x="1298654" y="1959150"/>
                </a:cubicBezTo>
                <a:close/>
                <a:moveTo>
                  <a:pt x="5645166" y="1958900"/>
                </a:moveTo>
                <a:cubicBezTo>
                  <a:pt x="5646233" y="1959042"/>
                  <a:pt x="5647300" y="1959469"/>
                  <a:pt x="5648367" y="1960181"/>
                </a:cubicBezTo>
                <a:cubicBezTo>
                  <a:pt x="5647300" y="1961319"/>
                  <a:pt x="5648367" y="1963879"/>
                  <a:pt x="5647300" y="1965017"/>
                </a:cubicBezTo>
                <a:cubicBezTo>
                  <a:pt x="5647300" y="1965017"/>
                  <a:pt x="5643672" y="1965729"/>
                  <a:pt x="5643672" y="1965729"/>
                </a:cubicBezTo>
                <a:cubicBezTo>
                  <a:pt x="5642605" y="1964448"/>
                  <a:pt x="5642605" y="1964448"/>
                  <a:pt x="5643672" y="1964591"/>
                </a:cubicBezTo>
                <a:cubicBezTo>
                  <a:pt x="5642605" y="1961887"/>
                  <a:pt x="5642605" y="1960749"/>
                  <a:pt x="5642605" y="1959469"/>
                </a:cubicBezTo>
                <a:cubicBezTo>
                  <a:pt x="5643245" y="1958900"/>
                  <a:pt x="5644099" y="1958757"/>
                  <a:pt x="5645166" y="1958900"/>
                </a:cubicBezTo>
                <a:close/>
                <a:moveTo>
                  <a:pt x="1210576" y="1957912"/>
                </a:moveTo>
                <a:cubicBezTo>
                  <a:pt x="1211299" y="1958531"/>
                  <a:pt x="1212125" y="1958996"/>
                  <a:pt x="1212435" y="1960080"/>
                </a:cubicBezTo>
                <a:cubicBezTo>
                  <a:pt x="1212744" y="1961319"/>
                  <a:pt x="1212022" y="1960854"/>
                  <a:pt x="1212744" y="1961319"/>
                </a:cubicBezTo>
                <a:cubicBezTo>
                  <a:pt x="1213158" y="1962404"/>
                  <a:pt x="1213570" y="1961784"/>
                  <a:pt x="1213570" y="1961784"/>
                </a:cubicBezTo>
                <a:cubicBezTo>
                  <a:pt x="1213570" y="1961784"/>
                  <a:pt x="1213054" y="1962404"/>
                  <a:pt x="1213054" y="1962404"/>
                </a:cubicBezTo>
                <a:cubicBezTo>
                  <a:pt x="1213054" y="1962404"/>
                  <a:pt x="1213054" y="1962404"/>
                  <a:pt x="1213777" y="1964727"/>
                </a:cubicBezTo>
                <a:cubicBezTo>
                  <a:pt x="1215120" y="1967515"/>
                  <a:pt x="1215945" y="1968135"/>
                  <a:pt x="1217081" y="1969683"/>
                </a:cubicBezTo>
                <a:cubicBezTo>
                  <a:pt x="1217701" y="1972007"/>
                  <a:pt x="1217185" y="1972782"/>
                  <a:pt x="1217391" y="1975725"/>
                </a:cubicBezTo>
                <a:cubicBezTo>
                  <a:pt x="1215842" y="1976654"/>
                  <a:pt x="1215842" y="1976654"/>
                  <a:pt x="1215016" y="1976189"/>
                </a:cubicBezTo>
                <a:cubicBezTo>
                  <a:pt x="1215842" y="1976654"/>
                  <a:pt x="1215326" y="1977274"/>
                  <a:pt x="1215636" y="1978513"/>
                </a:cubicBezTo>
                <a:cubicBezTo>
                  <a:pt x="1218217" y="1983005"/>
                  <a:pt x="1214500" y="1985328"/>
                  <a:pt x="1209337" y="1986877"/>
                </a:cubicBezTo>
                <a:cubicBezTo>
                  <a:pt x="1208924" y="1985638"/>
                  <a:pt x="1206136" y="1986722"/>
                  <a:pt x="1204174" y="1986412"/>
                </a:cubicBezTo>
                <a:cubicBezTo>
                  <a:pt x="1203038" y="1985638"/>
                  <a:pt x="1202109" y="1985018"/>
                  <a:pt x="1201386" y="1984244"/>
                </a:cubicBezTo>
                <a:lnTo>
                  <a:pt x="1201283" y="1984244"/>
                </a:lnTo>
                <a:lnTo>
                  <a:pt x="1195604" y="1984553"/>
                </a:lnTo>
                <a:cubicBezTo>
                  <a:pt x="1192919" y="1984553"/>
                  <a:pt x="1190544" y="1983779"/>
                  <a:pt x="1189202" y="1982075"/>
                </a:cubicBezTo>
                <a:lnTo>
                  <a:pt x="1188273" y="1979906"/>
                </a:lnTo>
                <a:lnTo>
                  <a:pt x="1185898" y="1981765"/>
                </a:lnTo>
                <a:cubicBezTo>
                  <a:pt x="1184659" y="1982385"/>
                  <a:pt x="1183317" y="1982540"/>
                  <a:pt x="1182387" y="1982075"/>
                </a:cubicBezTo>
                <a:cubicBezTo>
                  <a:pt x="1183317" y="1980526"/>
                  <a:pt x="1184142" y="1979752"/>
                  <a:pt x="1185072" y="1979132"/>
                </a:cubicBezTo>
                <a:cubicBezTo>
                  <a:pt x="1185588" y="1978358"/>
                  <a:pt x="1186104" y="1977893"/>
                  <a:pt x="1186621" y="1978048"/>
                </a:cubicBezTo>
                <a:lnTo>
                  <a:pt x="1187860" y="1978822"/>
                </a:lnTo>
                <a:lnTo>
                  <a:pt x="1187757" y="1978513"/>
                </a:lnTo>
                <a:lnTo>
                  <a:pt x="1187963" y="1974175"/>
                </a:lnTo>
                <a:lnTo>
                  <a:pt x="1187860" y="1974175"/>
                </a:lnTo>
                <a:cubicBezTo>
                  <a:pt x="1187653" y="1973711"/>
                  <a:pt x="1187653" y="1973246"/>
                  <a:pt x="1187653" y="1972936"/>
                </a:cubicBezTo>
                <a:lnTo>
                  <a:pt x="1187963" y="1972936"/>
                </a:lnTo>
                <a:lnTo>
                  <a:pt x="1188066" y="1973091"/>
                </a:lnTo>
                <a:lnTo>
                  <a:pt x="1189408" y="1973401"/>
                </a:lnTo>
                <a:lnTo>
                  <a:pt x="1189822" y="1973866"/>
                </a:lnTo>
                <a:lnTo>
                  <a:pt x="1191887" y="1974640"/>
                </a:lnTo>
                <a:lnTo>
                  <a:pt x="1192919" y="1974640"/>
                </a:lnTo>
                <a:lnTo>
                  <a:pt x="1195707" y="1976189"/>
                </a:lnTo>
                <a:lnTo>
                  <a:pt x="1200044" y="1977118"/>
                </a:lnTo>
                <a:lnTo>
                  <a:pt x="1200044" y="1975570"/>
                </a:lnTo>
                <a:cubicBezTo>
                  <a:pt x="1200457" y="1974640"/>
                  <a:pt x="1200973" y="1973711"/>
                  <a:pt x="1201593" y="1973091"/>
                </a:cubicBezTo>
                <a:lnTo>
                  <a:pt x="1203452" y="1972007"/>
                </a:lnTo>
                <a:lnTo>
                  <a:pt x="1201799" y="1972007"/>
                </a:lnTo>
                <a:cubicBezTo>
                  <a:pt x="1202729" y="1971232"/>
                  <a:pt x="1202109" y="1969374"/>
                  <a:pt x="1203142" y="1968599"/>
                </a:cubicBezTo>
                <a:cubicBezTo>
                  <a:pt x="1203142" y="1968599"/>
                  <a:pt x="1205930" y="1967980"/>
                  <a:pt x="1205930" y="1967980"/>
                </a:cubicBezTo>
                <a:cubicBezTo>
                  <a:pt x="1206653" y="1968909"/>
                  <a:pt x="1206653" y="1968754"/>
                  <a:pt x="1205826" y="1968754"/>
                </a:cubicBezTo>
                <a:lnTo>
                  <a:pt x="1206033" y="1971542"/>
                </a:lnTo>
                <a:lnTo>
                  <a:pt x="1209028" y="1971387"/>
                </a:lnTo>
                <a:lnTo>
                  <a:pt x="1210473" y="1971852"/>
                </a:lnTo>
                <a:lnTo>
                  <a:pt x="1211919" y="1971542"/>
                </a:lnTo>
                <a:lnTo>
                  <a:pt x="1210473" y="1966121"/>
                </a:lnTo>
                <a:cubicBezTo>
                  <a:pt x="1210060" y="1963952"/>
                  <a:pt x="1209750" y="1961784"/>
                  <a:pt x="1209854" y="1960235"/>
                </a:cubicBezTo>
                <a:lnTo>
                  <a:pt x="1209957" y="1959926"/>
                </a:lnTo>
                <a:lnTo>
                  <a:pt x="1209647" y="1959770"/>
                </a:lnTo>
                <a:lnTo>
                  <a:pt x="1209957" y="1959460"/>
                </a:lnTo>
                <a:close/>
                <a:moveTo>
                  <a:pt x="5080244" y="1957051"/>
                </a:moveTo>
                <a:cubicBezTo>
                  <a:pt x="5080244" y="1957051"/>
                  <a:pt x="5082805" y="1957051"/>
                  <a:pt x="5082805" y="1957051"/>
                </a:cubicBezTo>
                <a:cubicBezTo>
                  <a:pt x="5085793" y="1958189"/>
                  <a:pt x="5087286" y="1958757"/>
                  <a:pt x="5089847" y="1958900"/>
                </a:cubicBezTo>
                <a:cubicBezTo>
                  <a:pt x="5089634" y="1961603"/>
                  <a:pt x="5088567" y="1962172"/>
                  <a:pt x="5087073" y="1961603"/>
                </a:cubicBezTo>
                <a:cubicBezTo>
                  <a:pt x="5087073" y="1961603"/>
                  <a:pt x="5085579" y="1960892"/>
                  <a:pt x="5084085" y="1960322"/>
                </a:cubicBezTo>
                <a:cubicBezTo>
                  <a:pt x="5082591" y="1959754"/>
                  <a:pt x="5081524" y="1960322"/>
                  <a:pt x="5081524" y="1960322"/>
                </a:cubicBezTo>
                <a:cubicBezTo>
                  <a:pt x="5080030" y="1959754"/>
                  <a:pt x="5079603" y="1958615"/>
                  <a:pt x="5080244" y="1957051"/>
                </a:cubicBezTo>
                <a:close/>
                <a:moveTo>
                  <a:pt x="5298572" y="1956908"/>
                </a:moveTo>
                <a:cubicBezTo>
                  <a:pt x="5299426" y="1956339"/>
                  <a:pt x="5300706" y="1956197"/>
                  <a:pt x="5301987" y="1956908"/>
                </a:cubicBezTo>
                <a:cubicBezTo>
                  <a:pt x="5306042" y="1957762"/>
                  <a:pt x="5306896" y="1961176"/>
                  <a:pt x="5306896" y="1965017"/>
                </a:cubicBezTo>
                <a:cubicBezTo>
                  <a:pt x="5308603" y="1966867"/>
                  <a:pt x="5311164" y="1967009"/>
                  <a:pt x="5310737" y="1969712"/>
                </a:cubicBezTo>
                <a:cubicBezTo>
                  <a:pt x="5307536" y="1967294"/>
                  <a:pt x="5306255" y="1966582"/>
                  <a:pt x="5304334" y="1964876"/>
                </a:cubicBezTo>
                <a:cubicBezTo>
                  <a:pt x="5303267" y="1965302"/>
                  <a:pt x="5302200" y="1965729"/>
                  <a:pt x="5300706" y="1965017"/>
                </a:cubicBezTo>
                <a:cubicBezTo>
                  <a:pt x="5297932" y="1963594"/>
                  <a:pt x="5298358" y="1960892"/>
                  <a:pt x="5296651" y="1959184"/>
                </a:cubicBezTo>
                <a:cubicBezTo>
                  <a:pt x="5297078" y="1958331"/>
                  <a:pt x="5297505" y="1957477"/>
                  <a:pt x="5298572" y="1956908"/>
                </a:cubicBezTo>
                <a:close/>
                <a:moveTo>
                  <a:pt x="1116923" y="1956827"/>
                </a:moveTo>
                <a:cubicBezTo>
                  <a:pt x="1116923" y="1956827"/>
                  <a:pt x="1116923" y="1956827"/>
                  <a:pt x="1118162" y="1956982"/>
                </a:cubicBezTo>
                <a:cubicBezTo>
                  <a:pt x="1116613" y="1957912"/>
                  <a:pt x="1117646" y="1961164"/>
                  <a:pt x="1115271" y="1960854"/>
                </a:cubicBezTo>
                <a:cubicBezTo>
                  <a:pt x="1115580" y="1959616"/>
                  <a:pt x="1116613" y="1957912"/>
                  <a:pt x="1116923" y="1956827"/>
                </a:cubicBezTo>
                <a:close/>
                <a:moveTo>
                  <a:pt x="778552" y="1956827"/>
                </a:moveTo>
                <a:cubicBezTo>
                  <a:pt x="781030" y="1958376"/>
                  <a:pt x="780101" y="1959926"/>
                  <a:pt x="781753" y="1960700"/>
                </a:cubicBezTo>
                <a:cubicBezTo>
                  <a:pt x="779068" y="1964107"/>
                  <a:pt x="776590" y="1964107"/>
                  <a:pt x="773183" y="1962713"/>
                </a:cubicBezTo>
                <a:cubicBezTo>
                  <a:pt x="773286" y="1960235"/>
                  <a:pt x="775971" y="1956982"/>
                  <a:pt x="778552" y="1956827"/>
                </a:cubicBezTo>
                <a:close/>
                <a:moveTo>
                  <a:pt x="5100305" y="1956339"/>
                </a:moveTo>
                <a:cubicBezTo>
                  <a:pt x="5103506" y="1957619"/>
                  <a:pt x="5107135" y="1959469"/>
                  <a:pt x="5108415" y="1962029"/>
                </a:cubicBezTo>
                <a:cubicBezTo>
                  <a:pt x="5108842" y="1962884"/>
                  <a:pt x="5108842" y="1963879"/>
                  <a:pt x="5108628" y="1965017"/>
                </a:cubicBezTo>
                <a:cubicBezTo>
                  <a:pt x="5108415" y="1967721"/>
                  <a:pt x="5105854" y="1967721"/>
                  <a:pt x="5102866" y="1966582"/>
                </a:cubicBezTo>
                <a:cubicBezTo>
                  <a:pt x="5096250" y="1966013"/>
                  <a:pt x="5093902" y="1963310"/>
                  <a:pt x="5095823" y="1958473"/>
                </a:cubicBezTo>
                <a:cubicBezTo>
                  <a:pt x="5096890" y="1957904"/>
                  <a:pt x="5100732" y="1957477"/>
                  <a:pt x="5100305" y="1956339"/>
                </a:cubicBezTo>
                <a:close/>
                <a:moveTo>
                  <a:pt x="3704326" y="1956339"/>
                </a:moveTo>
                <a:cubicBezTo>
                  <a:pt x="3707955" y="1958615"/>
                  <a:pt x="3709449" y="1960607"/>
                  <a:pt x="3709876" y="1962172"/>
                </a:cubicBezTo>
                <a:cubicBezTo>
                  <a:pt x="3710089" y="1963879"/>
                  <a:pt x="3709235" y="1965017"/>
                  <a:pt x="3707741" y="1965729"/>
                </a:cubicBezTo>
                <a:cubicBezTo>
                  <a:pt x="3703046" y="1968290"/>
                  <a:pt x="3692588" y="1965729"/>
                  <a:pt x="3704326" y="1956339"/>
                </a:cubicBezTo>
                <a:close/>
                <a:moveTo>
                  <a:pt x="1195810" y="1955743"/>
                </a:moveTo>
                <a:cubicBezTo>
                  <a:pt x="1197566" y="1955898"/>
                  <a:pt x="1207065" y="1957757"/>
                  <a:pt x="1209647" y="1959616"/>
                </a:cubicBezTo>
                <a:cubicBezTo>
                  <a:pt x="1205310" y="1958376"/>
                  <a:pt x="1199218" y="1958531"/>
                  <a:pt x="1195810" y="1955743"/>
                </a:cubicBezTo>
                <a:close/>
                <a:moveTo>
                  <a:pt x="959663" y="1955433"/>
                </a:moveTo>
                <a:cubicBezTo>
                  <a:pt x="961212" y="1958686"/>
                  <a:pt x="959354" y="1962093"/>
                  <a:pt x="965239" y="1965192"/>
                </a:cubicBezTo>
                <a:lnTo>
                  <a:pt x="961625" y="1966585"/>
                </a:lnTo>
                <a:lnTo>
                  <a:pt x="962142" y="1966895"/>
                </a:lnTo>
                <a:cubicBezTo>
                  <a:pt x="955120" y="1972936"/>
                  <a:pt x="943865" y="1970768"/>
                  <a:pt x="938806" y="1967980"/>
                </a:cubicBezTo>
                <a:cubicBezTo>
                  <a:pt x="942317" y="1964882"/>
                  <a:pt x="947066" y="1963488"/>
                  <a:pt x="951506" y="1963488"/>
                </a:cubicBezTo>
                <a:lnTo>
                  <a:pt x="955740" y="1964107"/>
                </a:lnTo>
                <a:lnTo>
                  <a:pt x="956669" y="1961009"/>
                </a:lnTo>
                <a:cubicBezTo>
                  <a:pt x="957598" y="1958996"/>
                  <a:pt x="958734" y="1957137"/>
                  <a:pt x="959663" y="1955433"/>
                </a:cubicBezTo>
                <a:close/>
                <a:moveTo>
                  <a:pt x="4990821" y="1954774"/>
                </a:moveTo>
                <a:cubicBezTo>
                  <a:pt x="4991461" y="1955058"/>
                  <a:pt x="4991888" y="1955770"/>
                  <a:pt x="4992528" y="1956481"/>
                </a:cubicBezTo>
                <a:cubicBezTo>
                  <a:pt x="4993808" y="1957762"/>
                  <a:pt x="4995089" y="1958900"/>
                  <a:pt x="4996370" y="1960181"/>
                </a:cubicBezTo>
                <a:cubicBezTo>
                  <a:pt x="4996370" y="1960181"/>
                  <a:pt x="4996370" y="1960181"/>
                  <a:pt x="4989113" y="1955058"/>
                </a:cubicBezTo>
                <a:cubicBezTo>
                  <a:pt x="4989540" y="1954490"/>
                  <a:pt x="4990180" y="1954490"/>
                  <a:pt x="4990821" y="1954774"/>
                </a:cubicBezTo>
                <a:close/>
                <a:moveTo>
                  <a:pt x="5497693" y="1954347"/>
                </a:moveTo>
                <a:cubicBezTo>
                  <a:pt x="5507510" y="1966725"/>
                  <a:pt x="5515620" y="1963452"/>
                  <a:pt x="5523730" y="1965017"/>
                </a:cubicBezTo>
                <a:cubicBezTo>
                  <a:pt x="5526504" y="1975972"/>
                  <a:pt x="5537389" y="1985931"/>
                  <a:pt x="5543578" y="1996885"/>
                </a:cubicBezTo>
                <a:cubicBezTo>
                  <a:pt x="5539523" y="2010970"/>
                  <a:pt x="5540163" y="2024201"/>
                  <a:pt x="5536108" y="2038286"/>
                </a:cubicBezTo>
                <a:cubicBezTo>
                  <a:pt x="5532480" y="2038997"/>
                  <a:pt x="5528852" y="2040847"/>
                  <a:pt x="5525437" y="2043123"/>
                </a:cubicBezTo>
                <a:lnTo>
                  <a:pt x="5520956" y="2046395"/>
                </a:lnTo>
                <a:lnTo>
                  <a:pt x="5518181" y="2063183"/>
                </a:lnTo>
                <a:cubicBezTo>
                  <a:pt x="5516473" y="2067878"/>
                  <a:pt x="5514126" y="2071577"/>
                  <a:pt x="5511565" y="2074707"/>
                </a:cubicBezTo>
                <a:lnTo>
                  <a:pt x="5506443" y="2078975"/>
                </a:lnTo>
                <a:lnTo>
                  <a:pt x="5512419" y="2083385"/>
                </a:lnTo>
                <a:cubicBezTo>
                  <a:pt x="5520529" y="2089503"/>
                  <a:pt x="5531627" y="2098181"/>
                  <a:pt x="5527571" y="2104156"/>
                </a:cubicBezTo>
                <a:cubicBezTo>
                  <a:pt x="5521382" y="2099746"/>
                  <a:pt x="5504309" y="2092064"/>
                  <a:pt x="5504522" y="2082531"/>
                </a:cubicBezTo>
                <a:lnTo>
                  <a:pt x="5505162" y="2080255"/>
                </a:lnTo>
                <a:lnTo>
                  <a:pt x="5502602" y="2082389"/>
                </a:lnTo>
                <a:cubicBezTo>
                  <a:pt x="5496199" y="2086942"/>
                  <a:pt x="5488729" y="2090641"/>
                  <a:pt x="5481473" y="2097043"/>
                </a:cubicBezTo>
                <a:lnTo>
                  <a:pt x="5478698" y="2095478"/>
                </a:lnTo>
                <a:lnTo>
                  <a:pt x="5479552" y="2096332"/>
                </a:lnTo>
                <a:cubicBezTo>
                  <a:pt x="5481046" y="2097612"/>
                  <a:pt x="5482113" y="2098750"/>
                  <a:pt x="5482753" y="2099604"/>
                </a:cubicBezTo>
                <a:cubicBezTo>
                  <a:pt x="5480192" y="2097612"/>
                  <a:pt x="5477204" y="2095904"/>
                  <a:pt x="5474217" y="2093914"/>
                </a:cubicBezTo>
                <a:lnTo>
                  <a:pt x="5473149" y="2092775"/>
                </a:lnTo>
                <a:lnTo>
                  <a:pt x="5466961" y="2092348"/>
                </a:lnTo>
                <a:cubicBezTo>
                  <a:pt x="5462692" y="2092775"/>
                  <a:pt x="5458850" y="2094482"/>
                  <a:pt x="5454795" y="2095194"/>
                </a:cubicBezTo>
                <a:cubicBezTo>
                  <a:pt x="5450527" y="2085519"/>
                  <a:pt x="5438576" y="2079401"/>
                  <a:pt x="5430892" y="2070723"/>
                </a:cubicBezTo>
                <a:cubicBezTo>
                  <a:pt x="5432813" y="2055500"/>
                  <a:pt x="5430465" y="2042838"/>
                  <a:pt x="5432173" y="2027758"/>
                </a:cubicBezTo>
                <a:cubicBezTo>
                  <a:pt x="5439429" y="2023775"/>
                  <a:pt x="5444978" y="2015807"/>
                  <a:pt x="5451167" y="2008694"/>
                </a:cubicBezTo>
                <a:lnTo>
                  <a:pt x="5452875" y="2006987"/>
                </a:lnTo>
                <a:lnTo>
                  <a:pt x="5452021" y="1991053"/>
                </a:lnTo>
                <a:lnTo>
                  <a:pt x="5456290" y="1978248"/>
                </a:lnTo>
                <a:lnTo>
                  <a:pt x="5449247" y="1975687"/>
                </a:lnTo>
                <a:lnTo>
                  <a:pt x="5446685" y="1974692"/>
                </a:lnTo>
                <a:lnTo>
                  <a:pt x="5446899" y="1975972"/>
                </a:lnTo>
                <a:lnTo>
                  <a:pt x="5446259" y="1974550"/>
                </a:lnTo>
                <a:lnTo>
                  <a:pt x="5439856" y="1971846"/>
                </a:lnTo>
                <a:cubicBezTo>
                  <a:pt x="5433880" y="1969001"/>
                  <a:pt x="5429398" y="1965302"/>
                  <a:pt x="5431319" y="1960465"/>
                </a:cubicBezTo>
                <a:cubicBezTo>
                  <a:pt x="5433026" y="1961034"/>
                  <a:pt x="5435374" y="1961461"/>
                  <a:pt x="5438149" y="1962172"/>
                </a:cubicBezTo>
                <a:lnTo>
                  <a:pt x="5443484" y="1963737"/>
                </a:lnTo>
                <a:lnTo>
                  <a:pt x="5443697" y="1962599"/>
                </a:lnTo>
                <a:lnTo>
                  <a:pt x="5444124" y="1963879"/>
                </a:lnTo>
                <a:lnTo>
                  <a:pt x="5446259" y="1964448"/>
                </a:lnTo>
                <a:cubicBezTo>
                  <a:pt x="5451594" y="1966298"/>
                  <a:pt x="5456290" y="1969143"/>
                  <a:pt x="5456930" y="1973838"/>
                </a:cubicBezTo>
                <a:lnTo>
                  <a:pt x="5456503" y="1976968"/>
                </a:lnTo>
                <a:lnTo>
                  <a:pt x="5457143" y="1975118"/>
                </a:lnTo>
                <a:cubicBezTo>
                  <a:pt x="5466747" y="1958900"/>
                  <a:pt x="5481900" y="1961887"/>
                  <a:pt x="5497693" y="1954347"/>
                </a:cubicBezTo>
                <a:close/>
                <a:moveTo>
                  <a:pt x="1358336" y="1954039"/>
                </a:moveTo>
                <a:cubicBezTo>
                  <a:pt x="1358542" y="1954349"/>
                  <a:pt x="1358645" y="1954814"/>
                  <a:pt x="1358542" y="1955278"/>
                </a:cubicBezTo>
                <a:cubicBezTo>
                  <a:pt x="1358956" y="1955898"/>
                  <a:pt x="1358232" y="1956362"/>
                  <a:pt x="1357923" y="1957602"/>
                </a:cubicBezTo>
                <a:lnTo>
                  <a:pt x="1356994" y="1957912"/>
                </a:lnTo>
                <a:lnTo>
                  <a:pt x="1357200" y="1958841"/>
                </a:lnTo>
                <a:lnTo>
                  <a:pt x="1357200" y="1958996"/>
                </a:lnTo>
                <a:lnTo>
                  <a:pt x="1359162" y="1957137"/>
                </a:lnTo>
                <a:lnTo>
                  <a:pt x="1360194" y="1955278"/>
                </a:lnTo>
                <a:lnTo>
                  <a:pt x="1358749" y="1954504"/>
                </a:lnTo>
                <a:cubicBezTo>
                  <a:pt x="1358542" y="1954349"/>
                  <a:pt x="1358439" y="1954194"/>
                  <a:pt x="1358336" y="1954039"/>
                </a:cubicBezTo>
                <a:close/>
                <a:moveTo>
                  <a:pt x="1086049" y="1954039"/>
                </a:moveTo>
                <a:cubicBezTo>
                  <a:pt x="1088011" y="1953729"/>
                  <a:pt x="1088114" y="1955588"/>
                  <a:pt x="1087598" y="1957912"/>
                </a:cubicBezTo>
                <a:cubicBezTo>
                  <a:pt x="1087598" y="1962868"/>
                  <a:pt x="1085739" y="1964882"/>
                  <a:pt x="1082229" y="1964417"/>
                </a:cubicBezTo>
                <a:cubicBezTo>
                  <a:pt x="1081712" y="1963642"/>
                  <a:pt x="1081093" y="1961164"/>
                  <a:pt x="1080370" y="1961629"/>
                </a:cubicBezTo>
                <a:cubicBezTo>
                  <a:pt x="1081093" y="1958996"/>
                  <a:pt x="1082125" y="1956053"/>
                  <a:pt x="1083984" y="1954814"/>
                </a:cubicBezTo>
                <a:cubicBezTo>
                  <a:pt x="1084500" y="1954349"/>
                  <a:pt x="1085326" y="1954039"/>
                  <a:pt x="1086049" y="1954039"/>
                </a:cubicBezTo>
                <a:close/>
                <a:moveTo>
                  <a:pt x="5575164" y="1953920"/>
                </a:moveTo>
                <a:cubicBezTo>
                  <a:pt x="5575804" y="1953778"/>
                  <a:pt x="5576658" y="1954490"/>
                  <a:pt x="5577511" y="1955628"/>
                </a:cubicBezTo>
                <a:cubicBezTo>
                  <a:pt x="5578792" y="1957192"/>
                  <a:pt x="5580073" y="1959611"/>
                  <a:pt x="5581140" y="1961746"/>
                </a:cubicBezTo>
                <a:lnTo>
                  <a:pt x="5581354" y="1962029"/>
                </a:lnTo>
                <a:lnTo>
                  <a:pt x="5585622" y="1966867"/>
                </a:lnTo>
                <a:cubicBezTo>
                  <a:pt x="5586262" y="1968858"/>
                  <a:pt x="5585835" y="1970850"/>
                  <a:pt x="5584768" y="1972558"/>
                </a:cubicBezTo>
                <a:lnTo>
                  <a:pt x="5580286" y="1976968"/>
                </a:lnTo>
                <a:lnTo>
                  <a:pt x="5580713" y="1977253"/>
                </a:lnTo>
                <a:cubicBezTo>
                  <a:pt x="5580926" y="1977822"/>
                  <a:pt x="5580713" y="1978533"/>
                  <a:pt x="5580073" y="1979102"/>
                </a:cubicBezTo>
                <a:cubicBezTo>
                  <a:pt x="5580073" y="1979102"/>
                  <a:pt x="5579859" y="1979102"/>
                  <a:pt x="5579219" y="1978818"/>
                </a:cubicBezTo>
                <a:lnTo>
                  <a:pt x="5578152" y="1977537"/>
                </a:lnTo>
                <a:lnTo>
                  <a:pt x="5574524" y="1978533"/>
                </a:lnTo>
                <a:cubicBezTo>
                  <a:pt x="5569615" y="1973838"/>
                  <a:pt x="5571109" y="1967009"/>
                  <a:pt x="5575378" y="1963452"/>
                </a:cubicBezTo>
                <a:lnTo>
                  <a:pt x="5577085" y="1962599"/>
                </a:lnTo>
                <a:lnTo>
                  <a:pt x="5576231" y="1959896"/>
                </a:lnTo>
                <a:cubicBezTo>
                  <a:pt x="5575591" y="1959042"/>
                  <a:pt x="5574951" y="1958473"/>
                  <a:pt x="5573883" y="1957762"/>
                </a:cubicBezTo>
                <a:cubicBezTo>
                  <a:pt x="5573883" y="1957762"/>
                  <a:pt x="5573670" y="1957762"/>
                  <a:pt x="5574311" y="1954490"/>
                </a:cubicBezTo>
                <a:close/>
                <a:moveTo>
                  <a:pt x="1046089" y="1953884"/>
                </a:moveTo>
                <a:cubicBezTo>
                  <a:pt x="1047018" y="1955433"/>
                  <a:pt x="1048980" y="1957757"/>
                  <a:pt x="1046502" y="1961474"/>
                </a:cubicBezTo>
                <a:cubicBezTo>
                  <a:pt x="1045676" y="1962558"/>
                  <a:pt x="1045676" y="1962558"/>
                  <a:pt x="1044850" y="1962558"/>
                </a:cubicBezTo>
                <a:cubicBezTo>
                  <a:pt x="1043095" y="1963797"/>
                  <a:pt x="1042268" y="1964727"/>
                  <a:pt x="1040513" y="1964107"/>
                </a:cubicBezTo>
                <a:cubicBezTo>
                  <a:pt x="1039171" y="1963488"/>
                  <a:pt x="1038655" y="1962558"/>
                  <a:pt x="1038758" y="1961629"/>
                </a:cubicBezTo>
                <a:cubicBezTo>
                  <a:pt x="1038758" y="1960700"/>
                  <a:pt x="1039377" y="1959460"/>
                  <a:pt x="1040100" y="1958066"/>
                </a:cubicBezTo>
                <a:cubicBezTo>
                  <a:pt x="1041752" y="1955278"/>
                  <a:pt x="1044437" y="1955743"/>
                  <a:pt x="1046089" y="1953884"/>
                </a:cubicBezTo>
                <a:close/>
                <a:moveTo>
                  <a:pt x="1592831" y="1952645"/>
                </a:moveTo>
                <a:cubicBezTo>
                  <a:pt x="1593347" y="1952800"/>
                  <a:pt x="1593967" y="1952955"/>
                  <a:pt x="1594586" y="1953264"/>
                </a:cubicBezTo>
                <a:cubicBezTo>
                  <a:pt x="1595825" y="1953729"/>
                  <a:pt x="1596961" y="1954194"/>
                  <a:pt x="1598200" y="1954659"/>
                </a:cubicBezTo>
                <a:cubicBezTo>
                  <a:pt x="1598200" y="1954659"/>
                  <a:pt x="1598200" y="1954659"/>
                  <a:pt x="1591798" y="1953264"/>
                </a:cubicBezTo>
                <a:cubicBezTo>
                  <a:pt x="1592004" y="1952800"/>
                  <a:pt x="1592418" y="1952645"/>
                  <a:pt x="1592831" y="1952645"/>
                </a:cubicBezTo>
                <a:close/>
                <a:moveTo>
                  <a:pt x="1031323" y="1952490"/>
                </a:moveTo>
                <a:cubicBezTo>
                  <a:pt x="1034421" y="1952490"/>
                  <a:pt x="1037209" y="1953419"/>
                  <a:pt x="1036280" y="1956827"/>
                </a:cubicBezTo>
                <a:cubicBezTo>
                  <a:pt x="1035970" y="1958066"/>
                  <a:pt x="1035660" y="1959150"/>
                  <a:pt x="1035247" y="1958531"/>
                </a:cubicBezTo>
                <a:cubicBezTo>
                  <a:pt x="1034524" y="1958996"/>
                  <a:pt x="1034008" y="1958376"/>
                  <a:pt x="1032872" y="1958222"/>
                </a:cubicBezTo>
                <a:cubicBezTo>
                  <a:pt x="1031220" y="1957292"/>
                  <a:pt x="1029878" y="1955433"/>
                  <a:pt x="1030188" y="1954194"/>
                </a:cubicBezTo>
                <a:cubicBezTo>
                  <a:pt x="1030498" y="1953110"/>
                  <a:pt x="1031323" y="1952490"/>
                  <a:pt x="1031323" y="1952490"/>
                </a:cubicBezTo>
                <a:close/>
                <a:moveTo>
                  <a:pt x="6104872" y="1952071"/>
                </a:moveTo>
                <a:cubicBezTo>
                  <a:pt x="6105939" y="1952213"/>
                  <a:pt x="6107647" y="1952356"/>
                  <a:pt x="6109781" y="1952782"/>
                </a:cubicBezTo>
                <a:cubicBezTo>
                  <a:pt x="6111275" y="1953067"/>
                  <a:pt x="6112768" y="1953920"/>
                  <a:pt x="6113835" y="1955058"/>
                </a:cubicBezTo>
                <a:cubicBezTo>
                  <a:pt x="6114903" y="1956197"/>
                  <a:pt x="6115756" y="1957762"/>
                  <a:pt x="6115970" y="1959611"/>
                </a:cubicBezTo>
                <a:cubicBezTo>
                  <a:pt x="6118104" y="1960892"/>
                  <a:pt x="6119598" y="1963879"/>
                  <a:pt x="6119598" y="1966582"/>
                </a:cubicBezTo>
                <a:cubicBezTo>
                  <a:pt x="6118531" y="1969855"/>
                  <a:pt x="6116610" y="1971135"/>
                  <a:pt x="6114903" y="1970708"/>
                </a:cubicBezTo>
                <a:lnTo>
                  <a:pt x="6107647" y="1968147"/>
                </a:lnTo>
                <a:lnTo>
                  <a:pt x="6107006" y="1968858"/>
                </a:lnTo>
                <a:cubicBezTo>
                  <a:pt x="6103164" y="1969570"/>
                  <a:pt x="6099323" y="1964164"/>
                  <a:pt x="6099110" y="1959611"/>
                </a:cubicBezTo>
                <a:lnTo>
                  <a:pt x="6099750" y="1956766"/>
                </a:lnTo>
                <a:lnTo>
                  <a:pt x="6099536" y="1956481"/>
                </a:lnTo>
                <a:cubicBezTo>
                  <a:pt x="6100817" y="1952782"/>
                  <a:pt x="6101031" y="1951786"/>
                  <a:pt x="6104872" y="1952071"/>
                </a:cubicBezTo>
                <a:close/>
                <a:moveTo>
                  <a:pt x="3658228" y="1951929"/>
                </a:moveTo>
                <a:cubicBezTo>
                  <a:pt x="3660789" y="1956055"/>
                  <a:pt x="3659082" y="1960322"/>
                  <a:pt x="3655667" y="1962884"/>
                </a:cubicBezTo>
                <a:cubicBezTo>
                  <a:pt x="3652466" y="1965587"/>
                  <a:pt x="3647557" y="1966725"/>
                  <a:pt x="3644142" y="1965017"/>
                </a:cubicBezTo>
                <a:cubicBezTo>
                  <a:pt x="3645636" y="1955912"/>
                  <a:pt x="3648411" y="1950506"/>
                  <a:pt x="3658228" y="1951929"/>
                </a:cubicBezTo>
                <a:close/>
                <a:moveTo>
                  <a:pt x="1278829" y="1951560"/>
                </a:moveTo>
                <a:cubicBezTo>
                  <a:pt x="1278932" y="1952490"/>
                  <a:pt x="1279861" y="1953110"/>
                  <a:pt x="1280687" y="1952955"/>
                </a:cubicBezTo>
                <a:cubicBezTo>
                  <a:pt x="1281616" y="1953729"/>
                  <a:pt x="1282546" y="1954504"/>
                  <a:pt x="1282546" y="1953574"/>
                </a:cubicBezTo>
                <a:cubicBezTo>
                  <a:pt x="1285334" y="1955743"/>
                  <a:pt x="1286160" y="1955588"/>
                  <a:pt x="1285437" y="1958222"/>
                </a:cubicBezTo>
                <a:cubicBezTo>
                  <a:pt x="1278415" y="1958376"/>
                  <a:pt x="1270362" y="1956207"/>
                  <a:pt x="1268503" y="1955588"/>
                </a:cubicBezTo>
                <a:cubicBezTo>
                  <a:pt x="1267677" y="1955278"/>
                  <a:pt x="1267161" y="1954968"/>
                  <a:pt x="1266954" y="1954504"/>
                </a:cubicBezTo>
                <a:cubicBezTo>
                  <a:pt x="1266851" y="1953884"/>
                  <a:pt x="1267057" y="1953264"/>
                  <a:pt x="1267470" y="1952335"/>
                </a:cubicBezTo>
                <a:cubicBezTo>
                  <a:pt x="1270774" y="1949393"/>
                  <a:pt x="1274389" y="1951406"/>
                  <a:pt x="1278829" y="1951560"/>
                </a:cubicBezTo>
                <a:close/>
                <a:moveTo>
                  <a:pt x="974532" y="1951406"/>
                </a:moveTo>
                <a:cubicBezTo>
                  <a:pt x="978869" y="1950321"/>
                  <a:pt x="984652" y="1955123"/>
                  <a:pt x="983722" y="1958531"/>
                </a:cubicBezTo>
                <a:cubicBezTo>
                  <a:pt x="976804" y="1968289"/>
                  <a:pt x="969163" y="1964882"/>
                  <a:pt x="970299" y="1958376"/>
                </a:cubicBezTo>
                <a:cubicBezTo>
                  <a:pt x="970609" y="1956362"/>
                  <a:pt x="971951" y="1953884"/>
                  <a:pt x="974532" y="1951406"/>
                </a:cubicBezTo>
                <a:close/>
                <a:moveTo>
                  <a:pt x="5826359" y="1951360"/>
                </a:moveTo>
                <a:cubicBezTo>
                  <a:pt x="5827639" y="1951502"/>
                  <a:pt x="5829774" y="1954063"/>
                  <a:pt x="5830841" y="1955486"/>
                </a:cubicBezTo>
                <a:cubicBezTo>
                  <a:pt x="5831908" y="1955628"/>
                  <a:pt x="5832975" y="1956908"/>
                  <a:pt x="5832975" y="1958189"/>
                </a:cubicBezTo>
                <a:cubicBezTo>
                  <a:pt x="5832975" y="1958189"/>
                  <a:pt x="5834042" y="1959611"/>
                  <a:pt x="5835109" y="1959754"/>
                </a:cubicBezTo>
                <a:lnTo>
                  <a:pt x="5836390" y="1962029"/>
                </a:lnTo>
                <a:lnTo>
                  <a:pt x="5836603" y="1961887"/>
                </a:lnTo>
                <a:cubicBezTo>
                  <a:pt x="5837457" y="1961319"/>
                  <a:pt x="5838310" y="1961034"/>
                  <a:pt x="5838951" y="1961461"/>
                </a:cubicBezTo>
                <a:cubicBezTo>
                  <a:pt x="5839805" y="1961746"/>
                  <a:pt x="5840018" y="1961887"/>
                  <a:pt x="5840232" y="1962172"/>
                </a:cubicBezTo>
                <a:cubicBezTo>
                  <a:pt x="5840658" y="1962599"/>
                  <a:pt x="5840872" y="1963168"/>
                  <a:pt x="5841085" y="1964306"/>
                </a:cubicBezTo>
                <a:cubicBezTo>
                  <a:pt x="5839165" y="1964448"/>
                  <a:pt x="5838310" y="1964448"/>
                  <a:pt x="5837457" y="1964306"/>
                </a:cubicBezTo>
                <a:lnTo>
                  <a:pt x="5837030" y="1964164"/>
                </a:lnTo>
                <a:lnTo>
                  <a:pt x="5837030" y="1964733"/>
                </a:lnTo>
                <a:lnTo>
                  <a:pt x="5835323" y="1963594"/>
                </a:lnTo>
                <a:lnTo>
                  <a:pt x="5834469" y="1963168"/>
                </a:lnTo>
                <a:lnTo>
                  <a:pt x="5834896" y="1963026"/>
                </a:lnTo>
                <a:lnTo>
                  <a:pt x="5832762" y="1960607"/>
                </a:lnTo>
                <a:cubicBezTo>
                  <a:pt x="5832762" y="1960607"/>
                  <a:pt x="5831481" y="1960322"/>
                  <a:pt x="5830414" y="1960038"/>
                </a:cubicBezTo>
                <a:cubicBezTo>
                  <a:pt x="5827213" y="1957192"/>
                  <a:pt x="5825079" y="1955770"/>
                  <a:pt x="5826359" y="1951360"/>
                </a:cubicBezTo>
                <a:close/>
                <a:moveTo>
                  <a:pt x="5331225" y="1951360"/>
                </a:moveTo>
                <a:cubicBezTo>
                  <a:pt x="5331866" y="1951645"/>
                  <a:pt x="5332079" y="1951929"/>
                  <a:pt x="5331866" y="1952213"/>
                </a:cubicBezTo>
                <a:cubicBezTo>
                  <a:pt x="5331866" y="1952640"/>
                  <a:pt x="5331652" y="1952925"/>
                  <a:pt x="5331866" y="1953493"/>
                </a:cubicBezTo>
                <a:cubicBezTo>
                  <a:pt x="5330371" y="1952925"/>
                  <a:pt x="5330371" y="1952925"/>
                  <a:pt x="5331225" y="1951360"/>
                </a:cubicBezTo>
                <a:close/>
                <a:moveTo>
                  <a:pt x="5216192" y="1951075"/>
                </a:moveTo>
                <a:cubicBezTo>
                  <a:pt x="5218326" y="1952071"/>
                  <a:pt x="5219393" y="1953493"/>
                  <a:pt x="5219820" y="1955058"/>
                </a:cubicBezTo>
                <a:cubicBezTo>
                  <a:pt x="5220461" y="1956766"/>
                  <a:pt x="5220461" y="1958615"/>
                  <a:pt x="5220247" y="1960607"/>
                </a:cubicBezTo>
                <a:lnTo>
                  <a:pt x="5220247" y="1963452"/>
                </a:lnTo>
                <a:lnTo>
                  <a:pt x="5220461" y="1963879"/>
                </a:lnTo>
                <a:lnTo>
                  <a:pt x="5221954" y="1966156"/>
                </a:lnTo>
                <a:cubicBezTo>
                  <a:pt x="5221954" y="1966156"/>
                  <a:pt x="5221954" y="1966156"/>
                  <a:pt x="5221954" y="1966440"/>
                </a:cubicBezTo>
                <a:lnTo>
                  <a:pt x="5221741" y="1966867"/>
                </a:lnTo>
                <a:lnTo>
                  <a:pt x="5222381" y="1968147"/>
                </a:lnTo>
                <a:cubicBezTo>
                  <a:pt x="5221741" y="1969855"/>
                  <a:pt x="5220887" y="1970423"/>
                  <a:pt x="5221314" y="1971420"/>
                </a:cubicBezTo>
                <a:cubicBezTo>
                  <a:pt x="5218966" y="1970850"/>
                  <a:pt x="5217686" y="1969570"/>
                  <a:pt x="5217046" y="1968147"/>
                </a:cubicBezTo>
                <a:lnTo>
                  <a:pt x="5215765" y="1969570"/>
                </a:lnTo>
                <a:cubicBezTo>
                  <a:pt x="5213845" y="1970423"/>
                  <a:pt x="5211923" y="1970282"/>
                  <a:pt x="5210003" y="1969570"/>
                </a:cubicBezTo>
                <a:cubicBezTo>
                  <a:pt x="5208295" y="1964306"/>
                  <a:pt x="5211070" y="1961319"/>
                  <a:pt x="5215338" y="1962172"/>
                </a:cubicBezTo>
                <a:lnTo>
                  <a:pt x="5215552" y="1962314"/>
                </a:lnTo>
                <a:lnTo>
                  <a:pt x="5215125" y="1959896"/>
                </a:lnTo>
                <a:cubicBezTo>
                  <a:pt x="5214698" y="1959184"/>
                  <a:pt x="5214058" y="1958615"/>
                  <a:pt x="5212991" y="1957904"/>
                </a:cubicBezTo>
                <a:cubicBezTo>
                  <a:pt x="5212991" y="1957904"/>
                  <a:pt x="5212991" y="1957904"/>
                  <a:pt x="5214058" y="1954632"/>
                </a:cubicBezTo>
                <a:lnTo>
                  <a:pt x="5214698" y="1954205"/>
                </a:lnTo>
                <a:cubicBezTo>
                  <a:pt x="5215338" y="1952498"/>
                  <a:pt x="5216406" y="1952071"/>
                  <a:pt x="5216192" y="1951075"/>
                </a:cubicBezTo>
                <a:close/>
                <a:moveTo>
                  <a:pt x="1380639" y="1950786"/>
                </a:moveTo>
                <a:lnTo>
                  <a:pt x="1379916" y="1953729"/>
                </a:lnTo>
                <a:lnTo>
                  <a:pt x="1379916" y="1958841"/>
                </a:lnTo>
                <a:lnTo>
                  <a:pt x="1382704" y="1959150"/>
                </a:lnTo>
                <a:lnTo>
                  <a:pt x="1382807" y="1959150"/>
                </a:lnTo>
                <a:close/>
                <a:moveTo>
                  <a:pt x="1100092" y="1949857"/>
                </a:moveTo>
                <a:cubicBezTo>
                  <a:pt x="1100092" y="1949857"/>
                  <a:pt x="1100092" y="1949857"/>
                  <a:pt x="1106391" y="1951560"/>
                </a:cubicBezTo>
                <a:cubicBezTo>
                  <a:pt x="1106184" y="1952180"/>
                  <a:pt x="1105771" y="1952180"/>
                  <a:pt x="1105255" y="1952180"/>
                </a:cubicBezTo>
                <a:cubicBezTo>
                  <a:pt x="1104738" y="1952025"/>
                  <a:pt x="1104119" y="1951871"/>
                  <a:pt x="1103500" y="1951560"/>
                </a:cubicBezTo>
                <a:cubicBezTo>
                  <a:pt x="1102364" y="1951096"/>
                  <a:pt x="1101228" y="1950476"/>
                  <a:pt x="1100092" y="1949857"/>
                </a:cubicBezTo>
                <a:close/>
                <a:moveTo>
                  <a:pt x="934263" y="1949393"/>
                </a:moveTo>
                <a:lnTo>
                  <a:pt x="937360" y="1950631"/>
                </a:lnTo>
                <a:lnTo>
                  <a:pt x="937670" y="1950012"/>
                </a:lnTo>
                <a:cubicBezTo>
                  <a:pt x="939322" y="1951871"/>
                  <a:pt x="941077" y="1951406"/>
                  <a:pt x="942729" y="1953264"/>
                </a:cubicBezTo>
                <a:lnTo>
                  <a:pt x="940355" y="1955588"/>
                </a:lnTo>
                <a:lnTo>
                  <a:pt x="940768" y="1957137"/>
                </a:lnTo>
                <a:lnTo>
                  <a:pt x="946860" y="1957912"/>
                </a:lnTo>
                <a:cubicBezTo>
                  <a:pt x="948925" y="1958376"/>
                  <a:pt x="950990" y="1959150"/>
                  <a:pt x="952642" y="1959926"/>
                </a:cubicBezTo>
                <a:cubicBezTo>
                  <a:pt x="945414" y="1967050"/>
                  <a:pt x="937773" y="1964882"/>
                  <a:pt x="930132" y="1962558"/>
                </a:cubicBezTo>
                <a:cubicBezTo>
                  <a:pt x="931061" y="1960700"/>
                  <a:pt x="932507" y="1959305"/>
                  <a:pt x="934263" y="1958376"/>
                </a:cubicBezTo>
                <a:lnTo>
                  <a:pt x="935192" y="1958222"/>
                </a:lnTo>
                <a:lnTo>
                  <a:pt x="933850" y="1958066"/>
                </a:lnTo>
                <a:cubicBezTo>
                  <a:pt x="926415" y="1958222"/>
                  <a:pt x="919187" y="1960545"/>
                  <a:pt x="914334" y="1956053"/>
                </a:cubicBezTo>
                <a:cubicBezTo>
                  <a:pt x="917432" y="1955433"/>
                  <a:pt x="921046" y="1953574"/>
                  <a:pt x="924556" y="1952025"/>
                </a:cubicBezTo>
                <a:cubicBezTo>
                  <a:pt x="927964" y="1950476"/>
                  <a:pt x="931475" y="1949237"/>
                  <a:pt x="934263" y="1949393"/>
                </a:cubicBezTo>
                <a:close/>
                <a:moveTo>
                  <a:pt x="5962734" y="1947661"/>
                </a:moveTo>
                <a:cubicBezTo>
                  <a:pt x="5963588" y="1947376"/>
                  <a:pt x="5964655" y="1947518"/>
                  <a:pt x="5966149" y="1948088"/>
                </a:cubicBezTo>
                <a:cubicBezTo>
                  <a:pt x="5966576" y="1953067"/>
                  <a:pt x="5958893" y="1957335"/>
                  <a:pt x="5954411" y="1955058"/>
                </a:cubicBezTo>
                <a:cubicBezTo>
                  <a:pt x="5959106" y="1952498"/>
                  <a:pt x="5960173" y="1948515"/>
                  <a:pt x="5962734" y="1947661"/>
                </a:cubicBezTo>
                <a:close/>
                <a:moveTo>
                  <a:pt x="1601195" y="1947533"/>
                </a:moveTo>
                <a:cubicBezTo>
                  <a:pt x="1604086" y="1945210"/>
                  <a:pt x="1604086" y="1945210"/>
                  <a:pt x="1608629" y="1949393"/>
                </a:cubicBezTo>
                <a:cubicBezTo>
                  <a:pt x="1609455" y="1950321"/>
                  <a:pt x="1609971" y="1951406"/>
                  <a:pt x="1610178" y="1952490"/>
                </a:cubicBezTo>
                <a:cubicBezTo>
                  <a:pt x="1610384" y="1953574"/>
                  <a:pt x="1610178" y="1954814"/>
                  <a:pt x="1609558" y="1956053"/>
                </a:cubicBezTo>
                <a:cubicBezTo>
                  <a:pt x="1610281" y="1957757"/>
                  <a:pt x="1609971" y="1960235"/>
                  <a:pt x="1608835" y="1961938"/>
                </a:cubicBezTo>
                <a:cubicBezTo>
                  <a:pt x="1606977" y="1963488"/>
                  <a:pt x="1605222" y="1963488"/>
                  <a:pt x="1604499" y="1962558"/>
                </a:cubicBezTo>
                <a:cubicBezTo>
                  <a:pt x="1600988" y="1959616"/>
                  <a:pt x="1600265" y="1956207"/>
                  <a:pt x="1600369" y="1953419"/>
                </a:cubicBezTo>
                <a:cubicBezTo>
                  <a:pt x="1600575" y="1950631"/>
                  <a:pt x="1601504" y="1948463"/>
                  <a:pt x="1601195" y="1947533"/>
                </a:cubicBezTo>
                <a:close/>
                <a:moveTo>
                  <a:pt x="1211609" y="1947533"/>
                </a:moveTo>
                <a:cubicBezTo>
                  <a:pt x="1212538" y="1948308"/>
                  <a:pt x="1212538" y="1948308"/>
                  <a:pt x="1212641" y="1949857"/>
                </a:cubicBezTo>
                <a:lnTo>
                  <a:pt x="1209937" y="1947828"/>
                </a:lnTo>
                <a:close/>
                <a:moveTo>
                  <a:pt x="5090274" y="1947234"/>
                </a:moveTo>
                <a:cubicBezTo>
                  <a:pt x="5091342" y="1946665"/>
                  <a:pt x="5092195" y="1948656"/>
                  <a:pt x="5092195" y="1948656"/>
                </a:cubicBezTo>
                <a:cubicBezTo>
                  <a:pt x="5093262" y="1948230"/>
                  <a:pt x="5094329" y="1947661"/>
                  <a:pt x="5095823" y="1948088"/>
                </a:cubicBezTo>
                <a:cubicBezTo>
                  <a:pt x="5095183" y="1949653"/>
                  <a:pt x="5096250" y="1949083"/>
                  <a:pt x="5096677" y="1950079"/>
                </a:cubicBezTo>
                <a:cubicBezTo>
                  <a:pt x="5095183" y="1949653"/>
                  <a:pt x="5091768" y="1951360"/>
                  <a:pt x="5089207" y="1951360"/>
                </a:cubicBezTo>
                <a:cubicBezTo>
                  <a:pt x="5088780" y="1950363"/>
                  <a:pt x="5087286" y="1949795"/>
                  <a:pt x="5086859" y="1948799"/>
                </a:cubicBezTo>
                <a:cubicBezTo>
                  <a:pt x="5087927" y="1948230"/>
                  <a:pt x="5089847" y="1946096"/>
                  <a:pt x="5090274" y="1947234"/>
                </a:cubicBezTo>
                <a:close/>
                <a:moveTo>
                  <a:pt x="5341683" y="1947091"/>
                </a:moveTo>
                <a:cubicBezTo>
                  <a:pt x="5344457" y="1951786"/>
                  <a:pt x="5339335" y="1954490"/>
                  <a:pt x="5336561" y="1952782"/>
                </a:cubicBezTo>
                <a:cubicBezTo>
                  <a:pt x="5335707" y="1952071"/>
                  <a:pt x="5335067" y="1951075"/>
                  <a:pt x="5334854" y="1949368"/>
                </a:cubicBezTo>
                <a:cubicBezTo>
                  <a:pt x="5336987" y="1948088"/>
                  <a:pt x="5338695" y="1947661"/>
                  <a:pt x="5341683" y="1947091"/>
                </a:cubicBezTo>
                <a:close/>
                <a:moveTo>
                  <a:pt x="1040100" y="1946914"/>
                </a:moveTo>
                <a:cubicBezTo>
                  <a:pt x="1040720" y="1946914"/>
                  <a:pt x="1041649" y="1947069"/>
                  <a:pt x="1042578" y="1946914"/>
                </a:cubicBezTo>
                <a:lnTo>
                  <a:pt x="1041649" y="1950321"/>
                </a:lnTo>
                <a:cubicBezTo>
                  <a:pt x="1040410" y="1950167"/>
                  <a:pt x="1038758" y="1949393"/>
                  <a:pt x="1039067" y="1948153"/>
                </a:cubicBezTo>
                <a:cubicBezTo>
                  <a:pt x="1039067" y="1947224"/>
                  <a:pt x="1039377" y="1947069"/>
                  <a:pt x="1040100" y="1946914"/>
                </a:cubicBezTo>
                <a:close/>
                <a:moveTo>
                  <a:pt x="5497052" y="1946665"/>
                </a:moveTo>
                <a:cubicBezTo>
                  <a:pt x="5497693" y="1947234"/>
                  <a:pt x="5497906" y="1947661"/>
                  <a:pt x="5497693" y="1947803"/>
                </a:cubicBezTo>
                <a:cubicBezTo>
                  <a:pt x="5497693" y="1947945"/>
                  <a:pt x="5497479" y="1947945"/>
                  <a:pt x="5496839" y="1947945"/>
                </a:cubicBezTo>
                <a:lnTo>
                  <a:pt x="5497266" y="1949653"/>
                </a:lnTo>
                <a:lnTo>
                  <a:pt x="5498974" y="1948656"/>
                </a:lnTo>
                <a:cubicBezTo>
                  <a:pt x="5501107" y="1947518"/>
                  <a:pt x="5503242" y="1946522"/>
                  <a:pt x="5505162" y="1946665"/>
                </a:cubicBezTo>
                <a:cubicBezTo>
                  <a:pt x="5506016" y="1946807"/>
                  <a:pt x="5506870" y="1947091"/>
                  <a:pt x="5507297" y="1947661"/>
                </a:cubicBezTo>
                <a:cubicBezTo>
                  <a:pt x="5507937" y="1948230"/>
                  <a:pt x="5508150" y="1949083"/>
                  <a:pt x="5507937" y="1950791"/>
                </a:cubicBezTo>
                <a:cubicBezTo>
                  <a:pt x="5508364" y="1953493"/>
                  <a:pt x="5507297" y="1954063"/>
                  <a:pt x="5503242" y="1953920"/>
                </a:cubicBezTo>
                <a:cubicBezTo>
                  <a:pt x="5501534" y="1953493"/>
                  <a:pt x="5500254" y="1953351"/>
                  <a:pt x="5498974" y="1953210"/>
                </a:cubicBezTo>
                <a:lnTo>
                  <a:pt x="5497693" y="1952640"/>
                </a:lnTo>
                <a:lnTo>
                  <a:pt x="5497693" y="1952925"/>
                </a:lnTo>
                <a:lnTo>
                  <a:pt x="5494278" y="1952782"/>
                </a:lnTo>
                <a:lnTo>
                  <a:pt x="5493211" y="1953067"/>
                </a:lnTo>
                <a:lnTo>
                  <a:pt x="5492998" y="1952782"/>
                </a:lnTo>
                <a:lnTo>
                  <a:pt x="5491717" y="1952782"/>
                </a:lnTo>
                <a:cubicBezTo>
                  <a:pt x="5492998" y="1951645"/>
                  <a:pt x="5492144" y="1949083"/>
                  <a:pt x="5493424" y="1947945"/>
                </a:cubicBezTo>
                <a:cubicBezTo>
                  <a:pt x="5493424" y="1947945"/>
                  <a:pt x="5497052" y="1946665"/>
                  <a:pt x="5497052" y="1946665"/>
                </a:cubicBezTo>
                <a:close/>
                <a:moveTo>
                  <a:pt x="6217131" y="1946380"/>
                </a:moveTo>
                <a:cubicBezTo>
                  <a:pt x="6218198" y="1945669"/>
                  <a:pt x="6219692" y="1945526"/>
                  <a:pt x="6221612" y="1946522"/>
                </a:cubicBezTo>
                <a:cubicBezTo>
                  <a:pt x="6223747" y="1949368"/>
                  <a:pt x="6227162" y="1951502"/>
                  <a:pt x="6228015" y="1955343"/>
                </a:cubicBezTo>
                <a:cubicBezTo>
                  <a:pt x="6228442" y="1956624"/>
                  <a:pt x="6228442" y="1958046"/>
                  <a:pt x="6228229" y="1959896"/>
                </a:cubicBezTo>
                <a:cubicBezTo>
                  <a:pt x="6223320" y="1959042"/>
                  <a:pt x="6219265" y="1959042"/>
                  <a:pt x="6215424" y="1959469"/>
                </a:cubicBezTo>
                <a:lnTo>
                  <a:pt x="6212009" y="1959896"/>
                </a:lnTo>
                <a:lnTo>
                  <a:pt x="6214356" y="1962741"/>
                </a:lnTo>
                <a:cubicBezTo>
                  <a:pt x="6215210" y="1964733"/>
                  <a:pt x="6215637" y="1967436"/>
                  <a:pt x="6215210" y="1970850"/>
                </a:cubicBezTo>
                <a:cubicBezTo>
                  <a:pt x="6213716" y="1978533"/>
                  <a:pt x="6209661" y="1986358"/>
                  <a:pt x="6197710" y="1984224"/>
                </a:cubicBezTo>
                <a:cubicBezTo>
                  <a:pt x="6195149" y="1984508"/>
                  <a:pt x="6196216" y="1983940"/>
                  <a:pt x="6194722" y="1983513"/>
                </a:cubicBezTo>
                <a:cubicBezTo>
                  <a:pt x="6193014" y="1983228"/>
                  <a:pt x="6190454" y="1983370"/>
                  <a:pt x="6189599" y="1983940"/>
                </a:cubicBezTo>
                <a:cubicBezTo>
                  <a:pt x="6190454" y="1977964"/>
                  <a:pt x="6186399" y="1977822"/>
                  <a:pt x="6188319" y="1968574"/>
                </a:cubicBezTo>
                <a:cubicBezTo>
                  <a:pt x="6189599" y="1959469"/>
                  <a:pt x="6194722" y="1955912"/>
                  <a:pt x="6199417" y="1954916"/>
                </a:cubicBezTo>
                <a:lnTo>
                  <a:pt x="6203472" y="1954774"/>
                </a:lnTo>
                <a:lnTo>
                  <a:pt x="6204539" y="1951218"/>
                </a:lnTo>
                <a:cubicBezTo>
                  <a:pt x="6211796" y="1955201"/>
                  <a:pt x="6213289" y="1948515"/>
                  <a:pt x="6217131" y="1946380"/>
                </a:cubicBezTo>
                <a:close/>
                <a:moveTo>
                  <a:pt x="1207892" y="1946294"/>
                </a:moveTo>
                <a:lnTo>
                  <a:pt x="1209937" y="1947828"/>
                </a:lnTo>
                <a:lnTo>
                  <a:pt x="1209854" y="1947843"/>
                </a:lnTo>
                <a:cubicBezTo>
                  <a:pt x="1208821" y="1947069"/>
                  <a:pt x="1207892" y="1946294"/>
                  <a:pt x="1207892" y="1946294"/>
                </a:cubicBezTo>
                <a:close/>
                <a:moveTo>
                  <a:pt x="5976820" y="1945811"/>
                </a:moveTo>
                <a:cubicBezTo>
                  <a:pt x="5977460" y="1945669"/>
                  <a:pt x="5978314" y="1946096"/>
                  <a:pt x="5979595" y="1947234"/>
                </a:cubicBezTo>
                <a:cubicBezTo>
                  <a:pt x="5981942" y="1948656"/>
                  <a:pt x="5981942" y="1949795"/>
                  <a:pt x="5979808" y="1953351"/>
                </a:cubicBezTo>
                <a:cubicBezTo>
                  <a:pt x="5977674" y="1955628"/>
                  <a:pt x="5976607" y="1958046"/>
                  <a:pt x="5975540" y="1957904"/>
                </a:cubicBezTo>
                <a:cubicBezTo>
                  <a:pt x="5975540" y="1959184"/>
                  <a:pt x="5974472" y="1960322"/>
                  <a:pt x="5974472" y="1961603"/>
                </a:cubicBezTo>
                <a:cubicBezTo>
                  <a:pt x="5974472" y="1961603"/>
                  <a:pt x="5974472" y="1961603"/>
                  <a:pt x="5973405" y="1961461"/>
                </a:cubicBezTo>
                <a:cubicBezTo>
                  <a:pt x="5974259" y="1956766"/>
                  <a:pt x="5972765" y="1950648"/>
                  <a:pt x="5974899" y="1947091"/>
                </a:cubicBezTo>
                <a:cubicBezTo>
                  <a:pt x="5975540" y="1946522"/>
                  <a:pt x="5975967" y="1945953"/>
                  <a:pt x="5976820" y="1945811"/>
                </a:cubicBezTo>
                <a:close/>
                <a:moveTo>
                  <a:pt x="5476351" y="1945100"/>
                </a:moveTo>
                <a:cubicBezTo>
                  <a:pt x="5477418" y="1944957"/>
                  <a:pt x="5478698" y="1945242"/>
                  <a:pt x="5480192" y="1946096"/>
                </a:cubicBezTo>
                <a:cubicBezTo>
                  <a:pt x="5482753" y="1952640"/>
                  <a:pt x="5476137" y="1961176"/>
                  <a:pt x="5468668" y="1958331"/>
                </a:cubicBezTo>
                <a:cubicBezTo>
                  <a:pt x="5468881" y="1955628"/>
                  <a:pt x="5468027" y="1953351"/>
                  <a:pt x="5468241" y="1950648"/>
                </a:cubicBezTo>
                <a:cubicBezTo>
                  <a:pt x="5471442" y="1949083"/>
                  <a:pt x="5472936" y="1945384"/>
                  <a:pt x="5476351" y="1945100"/>
                </a:cubicBezTo>
                <a:close/>
                <a:moveTo>
                  <a:pt x="4861061" y="1942681"/>
                </a:moveTo>
                <a:cubicBezTo>
                  <a:pt x="4861275" y="1943820"/>
                  <a:pt x="4862769" y="1946238"/>
                  <a:pt x="4861702" y="1947518"/>
                </a:cubicBezTo>
                <a:cubicBezTo>
                  <a:pt x="4860848" y="1948799"/>
                  <a:pt x="4860848" y="1948799"/>
                  <a:pt x="4858501" y="1948941"/>
                </a:cubicBezTo>
                <a:cubicBezTo>
                  <a:pt x="4859141" y="1945242"/>
                  <a:pt x="4859141" y="1945242"/>
                  <a:pt x="4861061" y="1942681"/>
                </a:cubicBezTo>
                <a:close/>
                <a:moveTo>
                  <a:pt x="5784955" y="1942397"/>
                </a:moveTo>
                <a:cubicBezTo>
                  <a:pt x="5784955" y="1942397"/>
                  <a:pt x="5784955" y="1942397"/>
                  <a:pt x="5787730" y="1942539"/>
                </a:cubicBezTo>
                <a:cubicBezTo>
                  <a:pt x="5788584" y="1943250"/>
                  <a:pt x="5789651" y="1943820"/>
                  <a:pt x="5789864" y="1945526"/>
                </a:cubicBezTo>
                <a:cubicBezTo>
                  <a:pt x="5790291" y="1947234"/>
                  <a:pt x="5788797" y="1949368"/>
                  <a:pt x="5788157" y="1950506"/>
                </a:cubicBezTo>
                <a:cubicBezTo>
                  <a:pt x="5787090" y="1949937"/>
                  <a:pt x="5786450" y="1950933"/>
                  <a:pt x="5785383" y="1950363"/>
                </a:cubicBezTo>
                <a:cubicBezTo>
                  <a:pt x="5782822" y="1950079"/>
                  <a:pt x="5782822" y="1950079"/>
                  <a:pt x="5782608" y="1948515"/>
                </a:cubicBezTo>
                <a:cubicBezTo>
                  <a:pt x="5782181" y="1946807"/>
                  <a:pt x="5785383" y="1944104"/>
                  <a:pt x="5784955" y="1942397"/>
                </a:cubicBezTo>
                <a:close/>
                <a:moveTo>
                  <a:pt x="903492" y="1942267"/>
                </a:moveTo>
                <a:cubicBezTo>
                  <a:pt x="904525" y="1941957"/>
                  <a:pt x="905660" y="1942267"/>
                  <a:pt x="907003" y="1942732"/>
                </a:cubicBezTo>
                <a:cubicBezTo>
                  <a:pt x="904318" y="1944126"/>
                  <a:pt x="903389" y="1944900"/>
                  <a:pt x="900704" y="1943661"/>
                </a:cubicBezTo>
                <a:cubicBezTo>
                  <a:pt x="901633" y="1943041"/>
                  <a:pt x="902563" y="1942422"/>
                  <a:pt x="903492" y="1942267"/>
                </a:cubicBezTo>
                <a:close/>
                <a:moveTo>
                  <a:pt x="4735144" y="1941827"/>
                </a:moveTo>
                <a:cubicBezTo>
                  <a:pt x="4737492" y="1941970"/>
                  <a:pt x="4739839" y="1943250"/>
                  <a:pt x="4742187" y="1947091"/>
                </a:cubicBezTo>
                <a:cubicBezTo>
                  <a:pt x="4740266" y="1952925"/>
                  <a:pt x="4736638" y="1951645"/>
                  <a:pt x="4733009" y="1950221"/>
                </a:cubicBezTo>
                <a:cubicBezTo>
                  <a:pt x="4735144" y="1946665"/>
                  <a:pt x="4730449" y="1944104"/>
                  <a:pt x="4735144" y="1941827"/>
                </a:cubicBezTo>
                <a:close/>
                <a:moveTo>
                  <a:pt x="1199838" y="1941647"/>
                </a:moveTo>
                <a:cubicBezTo>
                  <a:pt x="1200767" y="1942422"/>
                  <a:pt x="1200767" y="1943351"/>
                  <a:pt x="1201696" y="1943971"/>
                </a:cubicBezTo>
                <a:cubicBezTo>
                  <a:pt x="1202522" y="1943816"/>
                  <a:pt x="1204277" y="1943661"/>
                  <a:pt x="1205207" y="1944281"/>
                </a:cubicBezTo>
                <a:cubicBezTo>
                  <a:pt x="1206033" y="1945055"/>
                  <a:pt x="1207065" y="1946604"/>
                  <a:pt x="1207065" y="1946604"/>
                </a:cubicBezTo>
                <a:cubicBezTo>
                  <a:pt x="1206239" y="1947533"/>
                  <a:pt x="1206239" y="1947533"/>
                  <a:pt x="1206239" y="1946759"/>
                </a:cubicBezTo>
                <a:cubicBezTo>
                  <a:pt x="1204381" y="1946139"/>
                  <a:pt x="1205207" y="1945984"/>
                  <a:pt x="1204381" y="1945210"/>
                </a:cubicBezTo>
                <a:cubicBezTo>
                  <a:pt x="1203452" y="1944590"/>
                  <a:pt x="1199115" y="1943506"/>
                  <a:pt x="1198289" y="1944436"/>
                </a:cubicBezTo>
                <a:cubicBezTo>
                  <a:pt x="1198186" y="1943661"/>
                  <a:pt x="1197256" y="1942886"/>
                  <a:pt x="1197256" y="1942886"/>
                </a:cubicBezTo>
                <a:cubicBezTo>
                  <a:pt x="1198082" y="1941957"/>
                  <a:pt x="1198908" y="1941802"/>
                  <a:pt x="1199838" y="1941647"/>
                </a:cubicBezTo>
                <a:close/>
                <a:moveTo>
                  <a:pt x="1320751" y="1941182"/>
                </a:moveTo>
                <a:cubicBezTo>
                  <a:pt x="1321576" y="1941957"/>
                  <a:pt x="1321473" y="1942886"/>
                  <a:pt x="1322299" y="1943661"/>
                </a:cubicBezTo>
                <a:cubicBezTo>
                  <a:pt x="1323229" y="1943661"/>
                  <a:pt x="1324984" y="1943506"/>
                  <a:pt x="1325707" y="1944436"/>
                </a:cubicBezTo>
                <a:cubicBezTo>
                  <a:pt x="1326533" y="1945210"/>
                  <a:pt x="1327359" y="1946759"/>
                  <a:pt x="1327359" y="1946759"/>
                </a:cubicBezTo>
                <a:cubicBezTo>
                  <a:pt x="1326430" y="1947688"/>
                  <a:pt x="1326430" y="1947688"/>
                  <a:pt x="1326430" y="1946759"/>
                </a:cubicBezTo>
                <a:cubicBezTo>
                  <a:pt x="1324777" y="1945984"/>
                  <a:pt x="1325707" y="1945984"/>
                  <a:pt x="1324881" y="1945210"/>
                </a:cubicBezTo>
                <a:cubicBezTo>
                  <a:pt x="1324055" y="1944436"/>
                  <a:pt x="1319821" y="1942886"/>
                  <a:pt x="1318892" y="1943816"/>
                </a:cubicBezTo>
                <a:cubicBezTo>
                  <a:pt x="1318995" y="1942886"/>
                  <a:pt x="1318169" y="1942112"/>
                  <a:pt x="1318169" y="1942112"/>
                </a:cubicBezTo>
                <a:cubicBezTo>
                  <a:pt x="1318995" y="1941337"/>
                  <a:pt x="1319821" y="1941182"/>
                  <a:pt x="1320751" y="1941182"/>
                </a:cubicBezTo>
                <a:close/>
                <a:moveTo>
                  <a:pt x="1183833" y="1940873"/>
                </a:moveTo>
                <a:cubicBezTo>
                  <a:pt x="1184659" y="1942886"/>
                  <a:pt x="1184762" y="1945055"/>
                  <a:pt x="1184452" y="1947069"/>
                </a:cubicBezTo>
                <a:lnTo>
                  <a:pt x="1182594" y="1952645"/>
                </a:lnTo>
                <a:lnTo>
                  <a:pt x="1185588" y="1952180"/>
                </a:lnTo>
                <a:cubicBezTo>
                  <a:pt x="1186931" y="1952180"/>
                  <a:pt x="1188169" y="1952490"/>
                  <a:pt x="1188996" y="1953419"/>
                </a:cubicBezTo>
                <a:cubicBezTo>
                  <a:pt x="1188996" y="1953419"/>
                  <a:pt x="1188996" y="1953419"/>
                  <a:pt x="1189822" y="1954349"/>
                </a:cubicBezTo>
                <a:cubicBezTo>
                  <a:pt x="1188583" y="1954194"/>
                  <a:pt x="1187034" y="1954039"/>
                  <a:pt x="1185692" y="1953729"/>
                </a:cubicBezTo>
                <a:lnTo>
                  <a:pt x="1182491" y="1952800"/>
                </a:lnTo>
                <a:lnTo>
                  <a:pt x="1182387" y="1953110"/>
                </a:lnTo>
                <a:cubicBezTo>
                  <a:pt x="1180425" y="1956982"/>
                  <a:pt x="1177431" y="1960390"/>
                  <a:pt x="1174953" y="1962404"/>
                </a:cubicBezTo>
                <a:cubicBezTo>
                  <a:pt x="1174230" y="1960390"/>
                  <a:pt x="1174024" y="1958222"/>
                  <a:pt x="1174230" y="1956053"/>
                </a:cubicBezTo>
                <a:cubicBezTo>
                  <a:pt x="1174953" y="1949547"/>
                  <a:pt x="1179393" y="1942886"/>
                  <a:pt x="1183833" y="1940873"/>
                </a:cubicBezTo>
                <a:close/>
                <a:moveTo>
                  <a:pt x="3583531" y="1940689"/>
                </a:moveTo>
                <a:cubicBezTo>
                  <a:pt x="3585878" y="1940832"/>
                  <a:pt x="3588226" y="1941401"/>
                  <a:pt x="3590574" y="1942255"/>
                </a:cubicBezTo>
                <a:cubicBezTo>
                  <a:pt x="3591854" y="1946807"/>
                  <a:pt x="3591214" y="1950791"/>
                  <a:pt x="3589720" y="1954063"/>
                </a:cubicBezTo>
                <a:lnTo>
                  <a:pt x="3587373" y="1956055"/>
                </a:lnTo>
                <a:lnTo>
                  <a:pt x="3590360" y="1963168"/>
                </a:lnTo>
                <a:cubicBezTo>
                  <a:pt x="3591428" y="1965160"/>
                  <a:pt x="3591854" y="1966867"/>
                  <a:pt x="3589933" y="1969001"/>
                </a:cubicBezTo>
                <a:cubicBezTo>
                  <a:pt x="3587586" y="1968290"/>
                  <a:pt x="3586092" y="1965444"/>
                  <a:pt x="3585452" y="1962457"/>
                </a:cubicBezTo>
                <a:lnTo>
                  <a:pt x="3585238" y="1958189"/>
                </a:lnTo>
                <a:lnTo>
                  <a:pt x="3582250" y="1960892"/>
                </a:lnTo>
                <a:cubicBezTo>
                  <a:pt x="3576061" y="1963452"/>
                  <a:pt x="3568165" y="1961603"/>
                  <a:pt x="3563043" y="1952925"/>
                </a:cubicBezTo>
                <a:cubicBezTo>
                  <a:pt x="3567524" y="1946665"/>
                  <a:pt x="3572006" y="1943108"/>
                  <a:pt x="3576488" y="1941543"/>
                </a:cubicBezTo>
                <a:cubicBezTo>
                  <a:pt x="3578836" y="1940689"/>
                  <a:pt x="3581183" y="1940547"/>
                  <a:pt x="3583531" y="1940689"/>
                </a:cubicBezTo>
                <a:close/>
                <a:moveTo>
                  <a:pt x="3933539" y="1939979"/>
                </a:moveTo>
                <a:lnTo>
                  <a:pt x="3935887" y="1943250"/>
                </a:lnTo>
                <a:cubicBezTo>
                  <a:pt x="3936527" y="1945242"/>
                  <a:pt x="3936741" y="1946950"/>
                  <a:pt x="3936741" y="1948799"/>
                </a:cubicBezTo>
                <a:cubicBezTo>
                  <a:pt x="3936741" y="1948799"/>
                  <a:pt x="3936741" y="1948799"/>
                  <a:pt x="3936741" y="1947661"/>
                </a:cubicBezTo>
                <a:lnTo>
                  <a:pt x="3940369" y="1944957"/>
                </a:lnTo>
                <a:lnTo>
                  <a:pt x="3939942" y="1944389"/>
                </a:lnTo>
                <a:cubicBezTo>
                  <a:pt x="3937808" y="1942539"/>
                  <a:pt x="3935887" y="1941116"/>
                  <a:pt x="3933966" y="1940120"/>
                </a:cubicBezTo>
                <a:close/>
                <a:moveTo>
                  <a:pt x="4860635" y="1939267"/>
                </a:moveTo>
                <a:cubicBezTo>
                  <a:pt x="4861702" y="1939125"/>
                  <a:pt x="4861915" y="1940405"/>
                  <a:pt x="4861061" y="1941827"/>
                </a:cubicBezTo>
                <a:cubicBezTo>
                  <a:pt x="4861061" y="1941827"/>
                  <a:pt x="4859994" y="1941827"/>
                  <a:pt x="4859994" y="1941827"/>
                </a:cubicBezTo>
                <a:cubicBezTo>
                  <a:pt x="4859781" y="1940547"/>
                  <a:pt x="4859568" y="1939267"/>
                  <a:pt x="4860635" y="1939267"/>
                </a:cubicBezTo>
                <a:close/>
                <a:moveTo>
                  <a:pt x="1093174" y="1939014"/>
                </a:moveTo>
                <a:cubicBezTo>
                  <a:pt x="1095032" y="1940563"/>
                  <a:pt x="1098646" y="1941647"/>
                  <a:pt x="1097924" y="1945055"/>
                </a:cubicBezTo>
                <a:cubicBezTo>
                  <a:pt x="1096581" y="1943971"/>
                  <a:pt x="1093587" y="1942267"/>
                  <a:pt x="1092967" y="1940563"/>
                </a:cubicBezTo>
                <a:cubicBezTo>
                  <a:pt x="1092761" y="1940098"/>
                  <a:pt x="1092761" y="1939479"/>
                  <a:pt x="1093174" y="1939014"/>
                </a:cubicBezTo>
                <a:close/>
                <a:moveTo>
                  <a:pt x="6075847" y="1938982"/>
                </a:moveTo>
                <a:cubicBezTo>
                  <a:pt x="6074566" y="1941970"/>
                  <a:pt x="6072432" y="1944531"/>
                  <a:pt x="6070084" y="1946665"/>
                </a:cubicBezTo>
                <a:lnTo>
                  <a:pt x="6063895" y="1950791"/>
                </a:lnTo>
                <a:lnTo>
                  <a:pt x="6064322" y="1954347"/>
                </a:lnTo>
                <a:lnTo>
                  <a:pt x="6067737" y="1949083"/>
                </a:lnTo>
                <a:cubicBezTo>
                  <a:pt x="6073499" y="1943108"/>
                  <a:pt x="6081609" y="1941970"/>
                  <a:pt x="6089719" y="1940832"/>
                </a:cubicBezTo>
                <a:cubicBezTo>
                  <a:pt x="6089506" y="1946807"/>
                  <a:pt x="6085451" y="1950933"/>
                  <a:pt x="6079902" y="1953493"/>
                </a:cubicBezTo>
                <a:lnTo>
                  <a:pt x="6064536" y="1956481"/>
                </a:lnTo>
                <a:lnTo>
                  <a:pt x="6064536" y="1960038"/>
                </a:lnTo>
                <a:cubicBezTo>
                  <a:pt x="6062615" y="1961603"/>
                  <a:pt x="6061121" y="1961746"/>
                  <a:pt x="6059627" y="1961034"/>
                </a:cubicBezTo>
                <a:lnTo>
                  <a:pt x="6057066" y="1959184"/>
                </a:lnTo>
                <a:lnTo>
                  <a:pt x="6056426" y="1966440"/>
                </a:lnTo>
                <a:cubicBezTo>
                  <a:pt x="6052584" y="1963168"/>
                  <a:pt x="6053224" y="1957904"/>
                  <a:pt x="6044047" y="1957335"/>
                </a:cubicBezTo>
                <a:lnTo>
                  <a:pt x="6047889" y="1953493"/>
                </a:lnTo>
                <a:lnTo>
                  <a:pt x="6047035" y="1953493"/>
                </a:lnTo>
                <a:lnTo>
                  <a:pt x="6051517" y="1947518"/>
                </a:lnTo>
                <a:lnTo>
                  <a:pt x="6051944" y="1945811"/>
                </a:lnTo>
                <a:cubicBezTo>
                  <a:pt x="6051944" y="1943962"/>
                  <a:pt x="6052157" y="1941827"/>
                  <a:pt x="6054078" y="1940262"/>
                </a:cubicBezTo>
                <a:lnTo>
                  <a:pt x="6059413" y="1942255"/>
                </a:lnTo>
                <a:lnTo>
                  <a:pt x="6060480" y="1941543"/>
                </a:lnTo>
                <a:cubicBezTo>
                  <a:pt x="6066030" y="1939409"/>
                  <a:pt x="6071792" y="1938698"/>
                  <a:pt x="6075847" y="1938982"/>
                </a:cubicBezTo>
                <a:close/>
                <a:moveTo>
                  <a:pt x="3659722" y="1938982"/>
                </a:moveTo>
                <a:cubicBezTo>
                  <a:pt x="3661642" y="1941827"/>
                  <a:pt x="3663990" y="1943535"/>
                  <a:pt x="3664844" y="1944957"/>
                </a:cubicBezTo>
                <a:cubicBezTo>
                  <a:pt x="3662069" y="1949226"/>
                  <a:pt x="3658441" y="1949510"/>
                  <a:pt x="3655453" y="1945242"/>
                </a:cubicBezTo>
                <a:cubicBezTo>
                  <a:pt x="3658014" y="1943393"/>
                  <a:pt x="3657161" y="1940832"/>
                  <a:pt x="3659722" y="1938982"/>
                </a:cubicBezTo>
                <a:close/>
                <a:moveTo>
                  <a:pt x="1218630" y="1938704"/>
                </a:moveTo>
                <a:cubicBezTo>
                  <a:pt x="1224103" y="1940253"/>
                  <a:pt x="1241966" y="1942577"/>
                  <a:pt x="1240727" y="1949393"/>
                </a:cubicBezTo>
                <a:cubicBezTo>
                  <a:pt x="1234532" y="1948153"/>
                  <a:pt x="1217804" y="1948308"/>
                  <a:pt x="1218630" y="1938704"/>
                </a:cubicBezTo>
                <a:close/>
                <a:moveTo>
                  <a:pt x="6011181" y="1938414"/>
                </a:moveTo>
                <a:cubicBezTo>
                  <a:pt x="6015876" y="1938555"/>
                  <a:pt x="6019077" y="1940262"/>
                  <a:pt x="6021211" y="1941259"/>
                </a:cubicBezTo>
                <a:lnTo>
                  <a:pt x="6020998" y="1949510"/>
                </a:lnTo>
                <a:lnTo>
                  <a:pt x="6027400" y="1953920"/>
                </a:lnTo>
                <a:cubicBezTo>
                  <a:pt x="6027187" y="1962457"/>
                  <a:pt x="6014382" y="1971135"/>
                  <a:pt x="6007766" y="1970423"/>
                </a:cubicBezTo>
                <a:lnTo>
                  <a:pt x="6005418" y="1967151"/>
                </a:lnTo>
                <a:lnTo>
                  <a:pt x="6004138" y="1967863"/>
                </a:lnTo>
                <a:lnTo>
                  <a:pt x="5999016" y="1969428"/>
                </a:lnTo>
                <a:lnTo>
                  <a:pt x="5999442" y="1969997"/>
                </a:lnTo>
                <a:cubicBezTo>
                  <a:pt x="5999656" y="1970993"/>
                  <a:pt x="5999229" y="1972273"/>
                  <a:pt x="5998162" y="1973269"/>
                </a:cubicBezTo>
                <a:cubicBezTo>
                  <a:pt x="5996028" y="1976826"/>
                  <a:pt x="5992613" y="1976541"/>
                  <a:pt x="5988985" y="1975261"/>
                </a:cubicBezTo>
                <a:cubicBezTo>
                  <a:pt x="5986638" y="1976257"/>
                  <a:pt x="5985570" y="1978675"/>
                  <a:pt x="5983223" y="1977395"/>
                </a:cubicBezTo>
                <a:cubicBezTo>
                  <a:pt x="5986638" y="1975118"/>
                  <a:pt x="5987704" y="1973980"/>
                  <a:pt x="5990052" y="1972842"/>
                </a:cubicBezTo>
                <a:cubicBezTo>
                  <a:pt x="5990052" y="1971704"/>
                  <a:pt x="5990052" y="1970566"/>
                  <a:pt x="5991119" y="1969428"/>
                </a:cubicBezTo>
                <a:lnTo>
                  <a:pt x="5993254" y="1968574"/>
                </a:lnTo>
                <a:lnTo>
                  <a:pt x="5992826" y="1967009"/>
                </a:lnTo>
                <a:cubicBezTo>
                  <a:pt x="5992400" y="1965871"/>
                  <a:pt x="5991973" y="1964876"/>
                  <a:pt x="5991119" y="1963737"/>
                </a:cubicBezTo>
                <a:cubicBezTo>
                  <a:pt x="5994747" y="1963026"/>
                  <a:pt x="5997309" y="1961887"/>
                  <a:pt x="5999656" y="1960892"/>
                </a:cubicBezTo>
                <a:lnTo>
                  <a:pt x="6003284" y="1960322"/>
                </a:lnTo>
                <a:lnTo>
                  <a:pt x="6003284" y="1959896"/>
                </a:lnTo>
                <a:cubicBezTo>
                  <a:pt x="6003711" y="1957477"/>
                  <a:pt x="6004778" y="1955343"/>
                  <a:pt x="6006699" y="1953493"/>
                </a:cubicBezTo>
                <a:lnTo>
                  <a:pt x="6008620" y="1952213"/>
                </a:lnTo>
                <a:cubicBezTo>
                  <a:pt x="6006058" y="1948941"/>
                  <a:pt x="6006058" y="1942966"/>
                  <a:pt x="6011181" y="1938414"/>
                </a:cubicBezTo>
                <a:close/>
                <a:moveTo>
                  <a:pt x="5680167" y="1938271"/>
                </a:moveTo>
                <a:cubicBezTo>
                  <a:pt x="5681447" y="1939267"/>
                  <a:pt x="5684221" y="1942681"/>
                  <a:pt x="5682514" y="1946380"/>
                </a:cubicBezTo>
                <a:cubicBezTo>
                  <a:pt x="5681447" y="1948088"/>
                  <a:pt x="5681447" y="1949937"/>
                  <a:pt x="5681447" y="1951645"/>
                </a:cubicBezTo>
                <a:lnTo>
                  <a:pt x="5681020" y="1953778"/>
                </a:lnTo>
                <a:lnTo>
                  <a:pt x="5682514" y="1952498"/>
                </a:lnTo>
                <a:cubicBezTo>
                  <a:pt x="5692332" y="1945669"/>
                  <a:pt x="5703430" y="1941401"/>
                  <a:pt x="5714954" y="1942824"/>
                </a:cubicBezTo>
                <a:cubicBezTo>
                  <a:pt x="5733735" y="1945100"/>
                  <a:pt x="5736936" y="1960322"/>
                  <a:pt x="5750382" y="1971704"/>
                </a:cubicBezTo>
                <a:cubicBezTo>
                  <a:pt x="5746754" y="1978675"/>
                  <a:pt x="5746327" y="1983513"/>
                  <a:pt x="5747181" y="1987781"/>
                </a:cubicBezTo>
                <a:lnTo>
                  <a:pt x="5748034" y="1990768"/>
                </a:lnTo>
                <a:lnTo>
                  <a:pt x="5754650" y="1993045"/>
                </a:lnTo>
                <a:cubicBezTo>
                  <a:pt x="5754437" y="1997171"/>
                  <a:pt x="5754010" y="2000016"/>
                  <a:pt x="5753156" y="2001866"/>
                </a:cubicBezTo>
                <a:lnTo>
                  <a:pt x="5749955" y="2004853"/>
                </a:lnTo>
                <a:lnTo>
                  <a:pt x="5751235" y="2006844"/>
                </a:lnTo>
                <a:cubicBezTo>
                  <a:pt x="5752516" y="2015096"/>
                  <a:pt x="5745046" y="2023063"/>
                  <a:pt x="5739711" y="2028611"/>
                </a:cubicBezTo>
                <a:cubicBezTo>
                  <a:pt x="5736083" y="2032595"/>
                  <a:pt x="5732028" y="2036437"/>
                  <a:pt x="5728186" y="2036437"/>
                </a:cubicBezTo>
                <a:cubicBezTo>
                  <a:pt x="5726905" y="2036437"/>
                  <a:pt x="5725625" y="2036010"/>
                  <a:pt x="5724558" y="2035014"/>
                </a:cubicBezTo>
                <a:lnTo>
                  <a:pt x="5723277" y="2033449"/>
                </a:lnTo>
                <a:lnTo>
                  <a:pt x="5721570" y="2032880"/>
                </a:lnTo>
                <a:lnTo>
                  <a:pt x="5709618" y="2035725"/>
                </a:lnTo>
                <a:lnTo>
                  <a:pt x="5714314" y="2036437"/>
                </a:lnTo>
                <a:cubicBezTo>
                  <a:pt x="5713033" y="2036294"/>
                  <a:pt x="5713033" y="2036294"/>
                  <a:pt x="5713033" y="2036294"/>
                </a:cubicBezTo>
                <a:cubicBezTo>
                  <a:pt x="5711966" y="2037432"/>
                  <a:pt x="5713033" y="2037574"/>
                  <a:pt x="5713246" y="2038713"/>
                </a:cubicBezTo>
                <a:cubicBezTo>
                  <a:pt x="5713246" y="2038713"/>
                  <a:pt x="5713033" y="2037574"/>
                  <a:pt x="5714314" y="2038713"/>
                </a:cubicBezTo>
                <a:cubicBezTo>
                  <a:pt x="5713246" y="2038713"/>
                  <a:pt x="5713246" y="2039993"/>
                  <a:pt x="5713246" y="2041131"/>
                </a:cubicBezTo>
                <a:cubicBezTo>
                  <a:pt x="5711113" y="2043408"/>
                  <a:pt x="5707698" y="2045684"/>
                  <a:pt x="5705350" y="2044403"/>
                </a:cubicBezTo>
                <a:cubicBezTo>
                  <a:pt x="5704070" y="2043123"/>
                  <a:pt x="5703643" y="2041985"/>
                  <a:pt x="5703856" y="2040847"/>
                </a:cubicBezTo>
                <a:lnTo>
                  <a:pt x="5704497" y="2039282"/>
                </a:lnTo>
                <a:lnTo>
                  <a:pt x="5702789" y="2037290"/>
                </a:lnTo>
                <a:lnTo>
                  <a:pt x="5689130" y="2040705"/>
                </a:lnTo>
                <a:cubicBezTo>
                  <a:pt x="5680380" y="2028327"/>
                  <a:pt x="5656477" y="2025908"/>
                  <a:pt x="5654556" y="2007698"/>
                </a:cubicBezTo>
                <a:lnTo>
                  <a:pt x="5654983" y="2006276"/>
                </a:lnTo>
                <a:lnTo>
                  <a:pt x="5653489" y="2004568"/>
                </a:lnTo>
                <a:cubicBezTo>
                  <a:pt x="5652208" y="2002149"/>
                  <a:pt x="5651355" y="1999447"/>
                  <a:pt x="5651568" y="1996317"/>
                </a:cubicBezTo>
                <a:cubicBezTo>
                  <a:pt x="5652849" y="1994752"/>
                  <a:pt x="5654770" y="1993898"/>
                  <a:pt x="5656904" y="1993472"/>
                </a:cubicBezTo>
                <a:lnTo>
                  <a:pt x="5658398" y="1993472"/>
                </a:lnTo>
                <a:lnTo>
                  <a:pt x="5658611" y="1991053"/>
                </a:lnTo>
                <a:cubicBezTo>
                  <a:pt x="5658398" y="1986500"/>
                  <a:pt x="5657331" y="1982374"/>
                  <a:pt x="5657971" y="1977537"/>
                </a:cubicBezTo>
                <a:cubicBezTo>
                  <a:pt x="5661172" y="1973127"/>
                  <a:pt x="5664800" y="1968574"/>
                  <a:pt x="5668855" y="1964306"/>
                </a:cubicBezTo>
                <a:lnTo>
                  <a:pt x="5679100" y="1955486"/>
                </a:lnTo>
                <a:lnTo>
                  <a:pt x="5679100" y="1947091"/>
                </a:lnTo>
                <a:cubicBezTo>
                  <a:pt x="5678886" y="1944246"/>
                  <a:pt x="5678673" y="1941259"/>
                  <a:pt x="5680167" y="1938271"/>
                </a:cubicBezTo>
                <a:close/>
                <a:moveTo>
                  <a:pt x="1268090" y="1937465"/>
                </a:moveTo>
                <a:lnTo>
                  <a:pt x="1267780" y="1937620"/>
                </a:lnTo>
                <a:lnTo>
                  <a:pt x="1267780" y="1937775"/>
                </a:lnTo>
                <a:lnTo>
                  <a:pt x="1267987" y="1939169"/>
                </a:lnTo>
                <a:close/>
                <a:moveTo>
                  <a:pt x="6330457" y="1936990"/>
                </a:moveTo>
                <a:cubicBezTo>
                  <a:pt x="6333231" y="1944957"/>
                  <a:pt x="6332591" y="1948941"/>
                  <a:pt x="6330670" y="1950363"/>
                </a:cubicBezTo>
                <a:cubicBezTo>
                  <a:pt x="6324481" y="1954490"/>
                  <a:pt x="6305914" y="1935852"/>
                  <a:pt x="6330457" y="1936990"/>
                </a:cubicBezTo>
                <a:close/>
                <a:moveTo>
                  <a:pt x="5562359" y="1936848"/>
                </a:moveTo>
                <a:cubicBezTo>
                  <a:pt x="5563640" y="1936848"/>
                  <a:pt x="5564707" y="1937133"/>
                  <a:pt x="5565774" y="1937560"/>
                </a:cubicBezTo>
                <a:cubicBezTo>
                  <a:pt x="5564920" y="1939979"/>
                  <a:pt x="5564066" y="1942397"/>
                  <a:pt x="5563212" y="1944815"/>
                </a:cubicBezTo>
                <a:cubicBezTo>
                  <a:pt x="5562999" y="1943677"/>
                  <a:pt x="5552969" y="1946522"/>
                  <a:pt x="5552969" y="1946522"/>
                </a:cubicBezTo>
                <a:cubicBezTo>
                  <a:pt x="5550407" y="1944389"/>
                  <a:pt x="5550407" y="1944389"/>
                  <a:pt x="5552115" y="1940689"/>
                </a:cubicBezTo>
                <a:cubicBezTo>
                  <a:pt x="5553182" y="1939552"/>
                  <a:pt x="5555743" y="1938271"/>
                  <a:pt x="5558304" y="1937560"/>
                </a:cubicBezTo>
                <a:cubicBezTo>
                  <a:pt x="5559584" y="1937133"/>
                  <a:pt x="5561078" y="1936848"/>
                  <a:pt x="5562359" y="1936848"/>
                </a:cubicBezTo>
                <a:close/>
                <a:moveTo>
                  <a:pt x="1044540" y="1936846"/>
                </a:moveTo>
                <a:cubicBezTo>
                  <a:pt x="1045676" y="1937000"/>
                  <a:pt x="1048464" y="1938085"/>
                  <a:pt x="1047741" y="1938550"/>
                </a:cubicBezTo>
                <a:cubicBezTo>
                  <a:pt x="1047431" y="1939789"/>
                  <a:pt x="1048154" y="1939324"/>
                  <a:pt x="1048670" y="1939943"/>
                </a:cubicBezTo>
                <a:cubicBezTo>
                  <a:pt x="1047741" y="1943506"/>
                  <a:pt x="1045986" y="1945674"/>
                  <a:pt x="1042888" y="1945674"/>
                </a:cubicBezTo>
                <a:cubicBezTo>
                  <a:pt x="1040513" y="1945365"/>
                  <a:pt x="1037003" y="1944745"/>
                  <a:pt x="1037106" y="1941802"/>
                </a:cubicBezTo>
                <a:cubicBezTo>
                  <a:pt x="1037828" y="1941337"/>
                  <a:pt x="1037416" y="1940563"/>
                  <a:pt x="1038138" y="1940098"/>
                </a:cubicBezTo>
                <a:cubicBezTo>
                  <a:pt x="1038138" y="1940098"/>
                  <a:pt x="1038655" y="1939324"/>
                  <a:pt x="1039687" y="1938550"/>
                </a:cubicBezTo>
                <a:cubicBezTo>
                  <a:pt x="1040720" y="1937620"/>
                  <a:pt x="1042372" y="1936846"/>
                  <a:pt x="1044540" y="1936846"/>
                </a:cubicBezTo>
                <a:close/>
                <a:moveTo>
                  <a:pt x="3570726" y="1936137"/>
                </a:moveTo>
                <a:cubicBezTo>
                  <a:pt x="3568378" y="1939979"/>
                  <a:pt x="3561762" y="1945811"/>
                  <a:pt x="3560268" y="1945242"/>
                </a:cubicBezTo>
                <a:cubicBezTo>
                  <a:pt x="3561975" y="1943108"/>
                  <a:pt x="3568165" y="1936137"/>
                  <a:pt x="3570726" y="1936137"/>
                </a:cubicBezTo>
                <a:close/>
                <a:moveTo>
                  <a:pt x="922078" y="1935296"/>
                </a:moveTo>
                <a:lnTo>
                  <a:pt x="926208" y="1939169"/>
                </a:lnTo>
                <a:lnTo>
                  <a:pt x="926931" y="1939014"/>
                </a:lnTo>
                <a:cubicBezTo>
                  <a:pt x="929616" y="1939634"/>
                  <a:pt x="930545" y="1944436"/>
                  <a:pt x="929306" y="1947379"/>
                </a:cubicBezTo>
                <a:lnTo>
                  <a:pt x="928170" y="1949082"/>
                </a:lnTo>
                <a:lnTo>
                  <a:pt x="928170" y="1949393"/>
                </a:lnTo>
                <a:cubicBezTo>
                  <a:pt x="925692" y="1952180"/>
                  <a:pt x="925692" y="1952180"/>
                  <a:pt x="920220" y="1948772"/>
                </a:cubicBezTo>
                <a:cubicBezTo>
                  <a:pt x="919290" y="1948153"/>
                  <a:pt x="918671" y="1947224"/>
                  <a:pt x="918258" y="1946139"/>
                </a:cubicBezTo>
                <a:cubicBezTo>
                  <a:pt x="917845" y="1945055"/>
                  <a:pt x="917845" y="1943816"/>
                  <a:pt x="918155" y="1942422"/>
                </a:cubicBezTo>
                <a:cubicBezTo>
                  <a:pt x="917741" y="1941802"/>
                  <a:pt x="917432" y="1940718"/>
                  <a:pt x="917329" y="1939789"/>
                </a:cubicBezTo>
                <a:cubicBezTo>
                  <a:pt x="917329" y="1938704"/>
                  <a:pt x="917432" y="1937620"/>
                  <a:pt x="917845" y="1936691"/>
                </a:cubicBezTo>
                <a:cubicBezTo>
                  <a:pt x="919394" y="1934832"/>
                  <a:pt x="921252" y="1934677"/>
                  <a:pt x="922078" y="1935296"/>
                </a:cubicBezTo>
                <a:close/>
                <a:moveTo>
                  <a:pt x="1548121" y="1935142"/>
                </a:moveTo>
                <a:cubicBezTo>
                  <a:pt x="1559892" y="1941802"/>
                  <a:pt x="1577136" y="1952025"/>
                  <a:pt x="1588287" y="1964262"/>
                </a:cubicBezTo>
                <a:lnTo>
                  <a:pt x="1589733" y="1966121"/>
                </a:lnTo>
                <a:lnTo>
                  <a:pt x="1590146" y="1964572"/>
                </a:lnTo>
                <a:cubicBezTo>
                  <a:pt x="1592004" y="1964882"/>
                  <a:pt x="1593450" y="1963488"/>
                  <a:pt x="1595722" y="1965346"/>
                </a:cubicBezTo>
                <a:lnTo>
                  <a:pt x="1592624" y="1969683"/>
                </a:lnTo>
                <a:lnTo>
                  <a:pt x="1593347" y="1970458"/>
                </a:lnTo>
                <a:cubicBezTo>
                  <a:pt x="1594793" y="1972627"/>
                  <a:pt x="1596032" y="1974795"/>
                  <a:pt x="1596961" y="1976964"/>
                </a:cubicBezTo>
                <a:cubicBezTo>
                  <a:pt x="1588184" y="1984708"/>
                  <a:pt x="1577032" y="1978048"/>
                  <a:pt x="1567430" y="1967670"/>
                </a:cubicBezTo>
                <a:lnTo>
                  <a:pt x="1560718" y="1958376"/>
                </a:lnTo>
                <a:lnTo>
                  <a:pt x="1560511" y="1958686"/>
                </a:lnTo>
                <a:cubicBezTo>
                  <a:pt x="1559169" y="1956827"/>
                  <a:pt x="1557207" y="1957447"/>
                  <a:pt x="1555865" y="1955588"/>
                </a:cubicBezTo>
                <a:lnTo>
                  <a:pt x="1557620" y="1954039"/>
                </a:lnTo>
                <a:lnTo>
                  <a:pt x="1554936" y="1950321"/>
                </a:lnTo>
                <a:cubicBezTo>
                  <a:pt x="1551528" y="1944590"/>
                  <a:pt x="1549153" y="1939014"/>
                  <a:pt x="1548121" y="1935142"/>
                </a:cubicBezTo>
                <a:close/>
                <a:moveTo>
                  <a:pt x="4869385" y="1935141"/>
                </a:moveTo>
                <a:cubicBezTo>
                  <a:pt x="4873227" y="1935284"/>
                  <a:pt x="4875574" y="1936706"/>
                  <a:pt x="4876855" y="1938840"/>
                </a:cubicBezTo>
                <a:cubicBezTo>
                  <a:pt x="4880270" y="1945242"/>
                  <a:pt x="4873227" y="1957192"/>
                  <a:pt x="4864476" y="1951929"/>
                </a:cubicBezTo>
                <a:cubicBezTo>
                  <a:pt x="4862769" y="1947661"/>
                  <a:pt x="4866611" y="1937844"/>
                  <a:pt x="4869385" y="1935141"/>
                </a:cubicBezTo>
                <a:close/>
                <a:moveTo>
                  <a:pt x="1059512" y="1934987"/>
                </a:moveTo>
                <a:cubicBezTo>
                  <a:pt x="1062300" y="1936536"/>
                  <a:pt x="1066431" y="1934677"/>
                  <a:pt x="1066740" y="1940098"/>
                </a:cubicBezTo>
                <a:cubicBezTo>
                  <a:pt x="1063849" y="1944590"/>
                  <a:pt x="1056208" y="1944436"/>
                  <a:pt x="1055175" y="1938704"/>
                </a:cubicBezTo>
                <a:cubicBezTo>
                  <a:pt x="1056828" y="1937620"/>
                  <a:pt x="1057757" y="1936071"/>
                  <a:pt x="1059512" y="1934987"/>
                </a:cubicBezTo>
                <a:close/>
                <a:moveTo>
                  <a:pt x="5940966" y="1934857"/>
                </a:moveTo>
                <a:cubicBezTo>
                  <a:pt x="5940966" y="1936137"/>
                  <a:pt x="5942032" y="1936137"/>
                  <a:pt x="5942246" y="1937417"/>
                </a:cubicBezTo>
                <a:cubicBezTo>
                  <a:pt x="5943527" y="1939979"/>
                  <a:pt x="5943527" y="1939836"/>
                  <a:pt x="5942459" y="1941116"/>
                </a:cubicBezTo>
                <a:cubicBezTo>
                  <a:pt x="5941179" y="1942255"/>
                  <a:pt x="5937551" y="1940832"/>
                  <a:pt x="5936484" y="1942112"/>
                </a:cubicBezTo>
                <a:cubicBezTo>
                  <a:pt x="5936484" y="1942112"/>
                  <a:pt x="5936484" y="1942112"/>
                  <a:pt x="5935203" y="1939552"/>
                </a:cubicBezTo>
                <a:cubicBezTo>
                  <a:pt x="5935203" y="1938271"/>
                  <a:pt x="5934990" y="1937133"/>
                  <a:pt x="5936271" y="1935852"/>
                </a:cubicBezTo>
                <a:cubicBezTo>
                  <a:pt x="5937337" y="1934714"/>
                  <a:pt x="5939685" y="1934857"/>
                  <a:pt x="5940966" y="1934857"/>
                </a:cubicBezTo>
                <a:close/>
                <a:moveTo>
                  <a:pt x="667010" y="1934696"/>
                </a:moveTo>
                <a:cubicBezTo>
                  <a:pt x="669126" y="1934948"/>
                  <a:pt x="671475" y="1936071"/>
                  <a:pt x="674057" y="1938550"/>
                </a:cubicBezTo>
                <a:cubicBezTo>
                  <a:pt x="675812" y="1939634"/>
                  <a:pt x="674883" y="1939479"/>
                  <a:pt x="675812" y="1940408"/>
                </a:cubicBezTo>
                <a:cubicBezTo>
                  <a:pt x="676638" y="1941337"/>
                  <a:pt x="678290" y="1942422"/>
                  <a:pt x="679220" y="1942422"/>
                </a:cubicBezTo>
                <a:cubicBezTo>
                  <a:pt x="676535" y="1945520"/>
                  <a:pt x="679117" y="1947379"/>
                  <a:pt x="674676" y="1952025"/>
                </a:cubicBezTo>
                <a:cubicBezTo>
                  <a:pt x="669410" y="1958222"/>
                  <a:pt x="663319" y="1955898"/>
                  <a:pt x="659911" y="1953110"/>
                </a:cubicBezTo>
                <a:cubicBezTo>
                  <a:pt x="660530" y="1952490"/>
                  <a:pt x="655884" y="1948617"/>
                  <a:pt x="656193" y="1943661"/>
                </a:cubicBezTo>
                <a:cubicBezTo>
                  <a:pt x="656297" y="1942112"/>
                  <a:pt x="656917" y="1940408"/>
                  <a:pt x="658465" y="1938704"/>
                </a:cubicBezTo>
                <a:cubicBezTo>
                  <a:pt x="659291" y="1937775"/>
                  <a:pt x="660324" y="1936846"/>
                  <a:pt x="661356" y="1936071"/>
                </a:cubicBezTo>
                <a:cubicBezTo>
                  <a:pt x="663008" y="1935064"/>
                  <a:pt x="664893" y="1934445"/>
                  <a:pt x="667010" y="1934696"/>
                </a:cubicBezTo>
                <a:close/>
                <a:moveTo>
                  <a:pt x="866836" y="1934522"/>
                </a:moveTo>
                <a:cubicBezTo>
                  <a:pt x="866010" y="1944590"/>
                  <a:pt x="862809" y="1952025"/>
                  <a:pt x="857646" y="1957137"/>
                </a:cubicBezTo>
                <a:cubicBezTo>
                  <a:pt x="855891" y="1958996"/>
                  <a:pt x="853826" y="1960390"/>
                  <a:pt x="851658" y="1961629"/>
                </a:cubicBezTo>
                <a:cubicBezTo>
                  <a:pt x="846908" y="1956362"/>
                  <a:pt x="851451" y="1950476"/>
                  <a:pt x="853516" y="1945365"/>
                </a:cubicBezTo>
                <a:cubicBezTo>
                  <a:pt x="847321" y="1944745"/>
                  <a:pt x="838131" y="1945365"/>
                  <a:pt x="837718" y="1939014"/>
                </a:cubicBezTo>
                <a:cubicBezTo>
                  <a:pt x="838854" y="1937775"/>
                  <a:pt x="840196" y="1937155"/>
                  <a:pt x="841642" y="1937000"/>
                </a:cubicBezTo>
                <a:cubicBezTo>
                  <a:pt x="846082" y="1936381"/>
                  <a:pt x="851864" y="1939014"/>
                  <a:pt x="857440" y="1938860"/>
                </a:cubicBezTo>
                <a:cubicBezTo>
                  <a:pt x="860537" y="1937465"/>
                  <a:pt x="860125" y="1933283"/>
                  <a:pt x="866836" y="1934522"/>
                </a:cubicBezTo>
                <a:close/>
                <a:moveTo>
                  <a:pt x="4859781" y="1933007"/>
                </a:moveTo>
                <a:cubicBezTo>
                  <a:pt x="4859781" y="1933007"/>
                  <a:pt x="4861061" y="1934287"/>
                  <a:pt x="4861061" y="1934287"/>
                </a:cubicBezTo>
                <a:cubicBezTo>
                  <a:pt x="4860208" y="1935710"/>
                  <a:pt x="4861275" y="1935568"/>
                  <a:pt x="4859141" y="1935710"/>
                </a:cubicBezTo>
                <a:cubicBezTo>
                  <a:pt x="4859994" y="1934430"/>
                  <a:pt x="4859994" y="1934430"/>
                  <a:pt x="4859781" y="1933007"/>
                </a:cubicBezTo>
                <a:close/>
                <a:moveTo>
                  <a:pt x="1508573" y="1932818"/>
                </a:moveTo>
                <a:cubicBezTo>
                  <a:pt x="1510226" y="1935761"/>
                  <a:pt x="1506199" y="1941337"/>
                  <a:pt x="1502585" y="1941647"/>
                </a:cubicBezTo>
                <a:cubicBezTo>
                  <a:pt x="1505992" y="1937155"/>
                  <a:pt x="1504031" y="1933438"/>
                  <a:pt x="1508573" y="1932818"/>
                </a:cubicBezTo>
                <a:close/>
                <a:moveTo>
                  <a:pt x="1168654" y="1932663"/>
                </a:moveTo>
                <a:cubicBezTo>
                  <a:pt x="1169480" y="1933438"/>
                  <a:pt x="1171339" y="1932663"/>
                  <a:pt x="1172165" y="1933593"/>
                </a:cubicBezTo>
                <a:cubicBezTo>
                  <a:pt x="1172165" y="1933593"/>
                  <a:pt x="1172681" y="1936071"/>
                  <a:pt x="1172681" y="1936071"/>
                </a:cubicBezTo>
                <a:cubicBezTo>
                  <a:pt x="1171752" y="1937000"/>
                  <a:pt x="1171752" y="1937000"/>
                  <a:pt x="1171855" y="1936071"/>
                </a:cubicBezTo>
                <a:cubicBezTo>
                  <a:pt x="1169893" y="1936846"/>
                  <a:pt x="1169067" y="1936846"/>
                  <a:pt x="1168138" y="1936846"/>
                </a:cubicBezTo>
                <a:cubicBezTo>
                  <a:pt x="1167725" y="1936381"/>
                  <a:pt x="1167622" y="1935761"/>
                  <a:pt x="1167725" y="1934987"/>
                </a:cubicBezTo>
                <a:cubicBezTo>
                  <a:pt x="1167725" y="1934212"/>
                  <a:pt x="1168138" y="1933438"/>
                  <a:pt x="1168654" y="1932663"/>
                </a:cubicBezTo>
                <a:close/>
                <a:moveTo>
                  <a:pt x="4686057" y="1931015"/>
                </a:moveTo>
                <a:cubicBezTo>
                  <a:pt x="4687551" y="1930446"/>
                  <a:pt x="4689258" y="1930589"/>
                  <a:pt x="4691606" y="1931158"/>
                </a:cubicBezTo>
                <a:cubicBezTo>
                  <a:pt x="4689685" y="1934999"/>
                  <a:pt x="4687125" y="1935284"/>
                  <a:pt x="4682216" y="1935710"/>
                </a:cubicBezTo>
                <a:cubicBezTo>
                  <a:pt x="4683283" y="1933007"/>
                  <a:pt x="4684563" y="1931584"/>
                  <a:pt x="4686057" y="1931015"/>
                </a:cubicBezTo>
                <a:close/>
                <a:moveTo>
                  <a:pt x="1536866" y="1930959"/>
                </a:moveTo>
                <a:cubicBezTo>
                  <a:pt x="1540376" y="1934832"/>
                  <a:pt x="1544610" y="1935451"/>
                  <a:pt x="1547398" y="1938394"/>
                </a:cubicBezTo>
                <a:cubicBezTo>
                  <a:pt x="1542751" y="1939479"/>
                  <a:pt x="1534594" y="1941028"/>
                  <a:pt x="1533768" y="1933283"/>
                </a:cubicBezTo>
                <a:cubicBezTo>
                  <a:pt x="1534801" y="1932508"/>
                  <a:pt x="1535833" y="1931734"/>
                  <a:pt x="1536866" y="1930959"/>
                </a:cubicBezTo>
                <a:close/>
                <a:moveTo>
                  <a:pt x="599506" y="1930959"/>
                </a:moveTo>
                <a:cubicBezTo>
                  <a:pt x="599713" y="1930804"/>
                  <a:pt x="599919" y="1930804"/>
                  <a:pt x="600332" y="1931269"/>
                </a:cubicBezTo>
                <a:cubicBezTo>
                  <a:pt x="601055" y="1932044"/>
                  <a:pt x="601158" y="1932044"/>
                  <a:pt x="601055" y="1934522"/>
                </a:cubicBezTo>
                <a:cubicBezTo>
                  <a:pt x="600229" y="1933593"/>
                  <a:pt x="600229" y="1933593"/>
                  <a:pt x="599402" y="1934367"/>
                </a:cubicBezTo>
                <a:cubicBezTo>
                  <a:pt x="599402" y="1934367"/>
                  <a:pt x="599402" y="1934367"/>
                  <a:pt x="599402" y="1935142"/>
                </a:cubicBezTo>
                <a:cubicBezTo>
                  <a:pt x="598577" y="1934987"/>
                  <a:pt x="598577" y="1934212"/>
                  <a:pt x="597751" y="1934212"/>
                </a:cubicBezTo>
                <a:cubicBezTo>
                  <a:pt x="597751" y="1934212"/>
                  <a:pt x="597751" y="1933438"/>
                  <a:pt x="597751" y="1933438"/>
                </a:cubicBezTo>
                <a:cubicBezTo>
                  <a:pt x="597337" y="1933283"/>
                  <a:pt x="597337" y="1933283"/>
                  <a:pt x="597544" y="1933128"/>
                </a:cubicBezTo>
                <a:cubicBezTo>
                  <a:pt x="597751" y="1932973"/>
                  <a:pt x="598163" y="1932663"/>
                  <a:pt x="598577" y="1931889"/>
                </a:cubicBezTo>
                <a:cubicBezTo>
                  <a:pt x="598990" y="1931424"/>
                  <a:pt x="599196" y="1931114"/>
                  <a:pt x="599506" y="1930959"/>
                </a:cubicBezTo>
                <a:close/>
                <a:moveTo>
                  <a:pt x="977940" y="1930649"/>
                </a:moveTo>
                <a:cubicBezTo>
                  <a:pt x="980315" y="1930959"/>
                  <a:pt x="980418" y="1932818"/>
                  <a:pt x="980418" y="1932818"/>
                </a:cubicBezTo>
                <a:cubicBezTo>
                  <a:pt x="980211" y="1935761"/>
                  <a:pt x="978456" y="1938085"/>
                  <a:pt x="975256" y="1938239"/>
                </a:cubicBezTo>
                <a:cubicBezTo>
                  <a:pt x="973603" y="1937310"/>
                  <a:pt x="973500" y="1935451"/>
                  <a:pt x="973397" y="1933593"/>
                </a:cubicBezTo>
                <a:cubicBezTo>
                  <a:pt x="973397" y="1932199"/>
                  <a:pt x="974016" y="1931269"/>
                  <a:pt x="974842" y="1930959"/>
                </a:cubicBezTo>
                <a:cubicBezTo>
                  <a:pt x="975668" y="1930495"/>
                  <a:pt x="976701" y="1930495"/>
                  <a:pt x="977940" y="1930649"/>
                </a:cubicBezTo>
                <a:close/>
                <a:moveTo>
                  <a:pt x="5112684" y="1930446"/>
                </a:moveTo>
                <a:cubicBezTo>
                  <a:pt x="5116952" y="1931300"/>
                  <a:pt x="5122501" y="1931015"/>
                  <a:pt x="5127623" y="1931015"/>
                </a:cubicBezTo>
                <a:cubicBezTo>
                  <a:pt x="5132958" y="1931015"/>
                  <a:pt x="5138081" y="1931300"/>
                  <a:pt x="5141495" y="1933291"/>
                </a:cubicBezTo>
                <a:lnTo>
                  <a:pt x="5144697" y="1936421"/>
                </a:lnTo>
                <a:lnTo>
                  <a:pt x="5145550" y="1935710"/>
                </a:lnTo>
                <a:cubicBezTo>
                  <a:pt x="5146404" y="1939125"/>
                  <a:pt x="5148965" y="1939409"/>
                  <a:pt x="5150032" y="1942824"/>
                </a:cubicBezTo>
                <a:lnTo>
                  <a:pt x="5145764" y="1944246"/>
                </a:lnTo>
                <a:lnTo>
                  <a:pt x="5144910" y="1948656"/>
                </a:lnTo>
                <a:lnTo>
                  <a:pt x="5146190" y="1948230"/>
                </a:lnTo>
                <a:cubicBezTo>
                  <a:pt x="5146831" y="1948515"/>
                  <a:pt x="5147684" y="1948656"/>
                  <a:pt x="5148111" y="1949226"/>
                </a:cubicBezTo>
                <a:cubicBezTo>
                  <a:pt x="5148538" y="1949795"/>
                  <a:pt x="5148752" y="1950648"/>
                  <a:pt x="5148111" y="1952356"/>
                </a:cubicBezTo>
                <a:cubicBezTo>
                  <a:pt x="5148111" y="1955058"/>
                  <a:pt x="5147257" y="1955628"/>
                  <a:pt x="5142989" y="1955628"/>
                </a:cubicBezTo>
                <a:cubicBezTo>
                  <a:pt x="5139788" y="1954774"/>
                  <a:pt x="5137226" y="1955058"/>
                  <a:pt x="5136586" y="1954063"/>
                </a:cubicBezTo>
                <a:cubicBezTo>
                  <a:pt x="5135733" y="1954632"/>
                  <a:pt x="5134239" y="1954347"/>
                  <a:pt x="5133172" y="1955058"/>
                </a:cubicBezTo>
                <a:cubicBezTo>
                  <a:pt x="5133172" y="1955058"/>
                  <a:pt x="5133172" y="1954916"/>
                  <a:pt x="5132531" y="1953920"/>
                </a:cubicBezTo>
                <a:cubicBezTo>
                  <a:pt x="5134879" y="1953210"/>
                  <a:pt x="5137226" y="1951786"/>
                  <a:pt x="5139574" y="1950506"/>
                </a:cubicBezTo>
                <a:lnTo>
                  <a:pt x="5144056" y="1948941"/>
                </a:lnTo>
                <a:lnTo>
                  <a:pt x="5136160" y="1943820"/>
                </a:lnTo>
                <a:cubicBezTo>
                  <a:pt x="5126769" y="1939836"/>
                  <a:pt x="5116312" y="1938840"/>
                  <a:pt x="5112684" y="1930446"/>
                </a:cubicBezTo>
                <a:close/>
                <a:moveTo>
                  <a:pt x="1264166" y="1930030"/>
                </a:moveTo>
                <a:cubicBezTo>
                  <a:pt x="1264786" y="1930340"/>
                  <a:pt x="1264889" y="1930649"/>
                  <a:pt x="1264889" y="1930959"/>
                </a:cubicBezTo>
                <a:cubicBezTo>
                  <a:pt x="1264889" y="1931269"/>
                  <a:pt x="1264786" y="1931579"/>
                  <a:pt x="1264786" y="1931579"/>
                </a:cubicBezTo>
                <a:cubicBezTo>
                  <a:pt x="1264269" y="1932663"/>
                  <a:pt x="1263753" y="1933593"/>
                  <a:pt x="1262617" y="1932973"/>
                </a:cubicBezTo>
                <a:cubicBezTo>
                  <a:pt x="1262617" y="1932973"/>
                  <a:pt x="1262617" y="1932818"/>
                  <a:pt x="1262617" y="1932353"/>
                </a:cubicBezTo>
                <a:cubicBezTo>
                  <a:pt x="1262721" y="1931889"/>
                  <a:pt x="1262824" y="1931269"/>
                  <a:pt x="1263340" y="1930185"/>
                </a:cubicBezTo>
                <a:cubicBezTo>
                  <a:pt x="1263650" y="1930959"/>
                  <a:pt x="1264476" y="1930804"/>
                  <a:pt x="1264476" y="1930804"/>
                </a:cubicBezTo>
                <a:cubicBezTo>
                  <a:pt x="1264476" y="1930804"/>
                  <a:pt x="1264476" y="1930804"/>
                  <a:pt x="1264166" y="1930030"/>
                </a:cubicBezTo>
                <a:close/>
                <a:moveTo>
                  <a:pt x="5053780" y="1930019"/>
                </a:moveTo>
                <a:cubicBezTo>
                  <a:pt x="5055914" y="1931158"/>
                  <a:pt x="5058475" y="1931442"/>
                  <a:pt x="5059969" y="1933576"/>
                </a:cubicBezTo>
                <a:cubicBezTo>
                  <a:pt x="5061249" y="1936848"/>
                  <a:pt x="5057621" y="1941401"/>
                  <a:pt x="5055701" y="1942966"/>
                </a:cubicBezTo>
                <a:cubicBezTo>
                  <a:pt x="5052713" y="1943820"/>
                  <a:pt x="5050151" y="1940974"/>
                  <a:pt x="5048871" y="1937844"/>
                </a:cubicBezTo>
                <a:cubicBezTo>
                  <a:pt x="5048231" y="1936706"/>
                  <a:pt x="5048018" y="1935425"/>
                  <a:pt x="5048444" y="1934145"/>
                </a:cubicBezTo>
                <a:cubicBezTo>
                  <a:pt x="5048871" y="1932865"/>
                  <a:pt x="5049725" y="1931726"/>
                  <a:pt x="5050792" y="1930873"/>
                </a:cubicBezTo>
                <a:cubicBezTo>
                  <a:pt x="5052286" y="1930446"/>
                  <a:pt x="5052286" y="1930446"/>
                  <a:pt x="5053780" y="1930019"/>
                </a:cubicBezTo>
                <a:close/>
                <a:moveTo>
                  <a:pt x="5811847" y="1928739"/>
                </a:moveTo>
                <a:cubicBezTo>
                  <a:pt x="5816115" y="1929024"/>
                  <a:pt x="5820810" y="1931300"/>
                  <a:pt x="5822731" y="1934999"/>
                </a:cubicBezTo>
                <a:cubicBezTo>
                  <a:pt x="5816115" y="1940547"/>
                  <a:pt x="5810566" y="1942539"/>
                  <a:pt x="5803310" y="1935141"/>
                </a:cubicBezTo>
                <a:cubicBezTo>
                  <a:pt x="5803523" y="1930446"/>
                  <a:pt x="5807578" y="1928596"/>
                  <a:pt x="5811847" y="1928739"/>
                </a:cubicBezTo>
                <a:close/>
                <a:moveTo>
                  <a:pt x="1187757" y="1928481"/>
                </a:moveTo>
                <a:cubicBezTo>
                  <a:pt x="1189305" y="1931734"/>
                  <a:pt x="1182284" y="1935296"/>
                  <a:pt x="1180632" y="1934522"/>
                </a:cubicBezTo>
                <a:cubicBezTo>
                  <a:pt x="1179806" y="1932973"/>
                  <a:pt x="1185278" y="1925228"/>
                  <a:pt x="1187757" y="1928481"/>
                </a:cubicBezTo>
                <a:close/>
                <a:moveTo>
                  <a:pt x="1215842" y="1928326"/>
                </a:moveTo>
                <a:cubicBezTo>
                  <a:pt x="1217494" y="1929875"/>
                  <a:pt x="1221005" y="1931424"/>
                  <a:pt x="1219972" y="1934832"/>
                </a:cubicBezTo>
                <a:cubicBezTo>
                  <a:pt x="1218733" y="1933593"/>
                  <a:pt x="1215945" y="1931424"/>
                  <a:pt x="1215532" y="1929721"/>
                </a:cubicBezTo>
                <a:cubicBezTo>
                  <a:pt x="1215326" y="1929256"/>
                  <a:pt x="1215429" y="1928791"/>
                  <a:pt x="1215842" y="1928326"/>
                </a:cubicBezTo>
                <a:close/>
                <a:moveTo>
                  <a:pt x="5515406" y="1927743"/>
                </a:moveTo>
                <a:cubicBezTo>
                  <a:pt x="5522876" y="1942397"/>
                  <a:pt x="5543365" y="1937275"/>
                  <a:pt x="5546139" y="1951786"/>
                </a:cubicBezTo>
                <a:cubicBezTo>
                  <a:pt x="5534614" y="1950079"/>
                  <a:pt x="5523303" y="1950791"/>
                  <a:pt x="5511138" y="1938271"/>
                </a:cubicBezTo>
                <a:cubicBezTo>
                  <a:pt x="5512205" y="1934857"/>
                  <a:pt x="5509644" y="1928596"/>
                  <a:pt x="5515406" y="1927743"/>
                </a:cubicBezTo>
                <a:close/>
                <a:moveTo>
                  <a:pt x="5946087" y="1927458"/>
                </a:moveTo>
                <a:cubicBezTo>
                  <a:pt x="5948008" y="1927601"/>
                  <a:pt x="5949929" y="1928454"/>
                  <a:pt x="5951423" y="1930589"/>
                </a:cubicBezTo>
                <a:cubicBezTo>
                  <a:pt x="5954838" y="1933576"/>
                  <a:pt x="5954625" y="1938271"/>
                  <a:pt x="5957826" y="1942397"/>
                </a:cubicBezTo>
                <a:cubicBezTo>
                  <a:pt x="5953984" y="1946522"/>
                  <a:pt x="5952703" y="1947518"/>
                  <a:pt x="5947155" y="1944246"/>
                </a:cubicBezTo>
                <a:cubicBezTo>
                  <a:pt x="5947155" y="1944246"/>
                  <a:pt x="5946087" y="1942966"/>
                  <a:pt x="5946087" y="1942966"/>
                </a:cubicBezTo>
                <a:cubicBezTo>
                  <a:pt x="5941819" y="1938555"/>
                  <a:pt x="5939899" y="1931015"/>
                  <a:pt x="5941179" y="1928881"/>
                </a:cubicBezTo>
                <a:cubicBezTo>
                  <a:pt x="5942459" y="1927885"/>
                  <a:pt x="5944167" y="1927316"/>
                  <a:pt x="5946087" y="1927458"/>
                </a:cubicBezTo>
                <a:close/>
                <a:moveTo>
                  <a:pt x="3581610" y="1925894"/>
                </a:moveTo>
                <a:cubicBezTo>
                  <a:pt x="3583317" y="1925467"/>
                  <a:pt x="3585452" y="1925467"/>
                  <a:pt x="3588013" y="1926463"/>
                </a:cubicBezTo>
                <a:cubicBezTo>
                  <a:pt x="3589933" y="1930731"/>
                  <a:pt x="3589507" y="1934430"/>
                  <a:pt x="3585878" y="1940405"/>
                </a:cubicBezTo>
                <a:cubicBezTo>
                  <a:pt x="3580330" y="1941970"/>
                  <a:pt x="3571793" y="1935995"/>
                  <a:pt x="3576488" y="1928739"/>
                </a:cubicBezTo>
                <a:cubicBezTo>
                  <a:pt x="3577982" y="1927601"/>
                  <a:pt x="3579689" y="1926463"/>
                  <a:pt x="3581610" y="1925894"/>
                </a:cubicBezTo>
                <a:close/>
                <a:moveTo>
                  <a:pt x="3736980" y="1925751"/>
                </a:moveTo>
                <a:lnTo>
                  <a:pt x="3740394" y="1927174"/>
                </a:lnTo>
                <a:lnTo>
                  <a:pt x="3741248" y="1926321"/>
                </a:lnTo>
                <a:cubicBezTo>
                  <a:pt x="3743169" y="1928028"/>
                  <a:pt x="3745303" y="1929735"/>
                  <a:pt x="3746157" y="1932295"/>
                </a:cubicBezTo>
                <a:lnTo>
                  <a:pt x="3749358" y="1935710"/>
                </a:lnTo>
                <a:cubicBezTo>
                  <a:pt x="3747437" y="1938698"/>
                  <a:pt x="3749145" y="1940547"/>
                  <a:pt x="3747224" y="1943535"/>
                </a:cubicBezTo>
                <a:cubicBezTo>
                  <a:pt x="3739114" y="1938698"/>
                  <a:pt x="3729937" y="1934145"/>
                  <a:pt x="3732071" y="1926321"/>
                </a:cubicBezTo>
                <a:cubicBezTo>
                  <a:pt x="3733565" y="1925467"/>
                  <a:pt x="3735272" y="1925324"/>
                  <a:pt x="3736980" y="1925751"/>
                </a:cubicBezTo>
                <a:close/>
                <a:moveTo>
                  <a:pt x="5720930" y="1925467"/>
                </a:moveTo>
                <a:cubicBezTo>
                  <a:pt x="5719009" y="1927601"/>
                  <a:pt x="5712393" y="1934145"/>
                  <a:pt x="5709832" y="1933860"/>
                </a:cubicBezTo>
                <a:cubicBezTo>
                  <a:pt x="5712393" y="1930304"/>
                  <a:pt x="5719436" y="1924897"/>
                  <a:pt x="5720930" y="1925467"/>
                </a:cubicBezTo>
                <a:close/>
                <a:moveTo>
                  <a:pt x="5570042" y="1925467"/>
                </a:moveTo>
                <a:cubicBezTo>
                  <a:pt x="5573243" y="1924613"/>
                  <a:pt x="5578366" y="1928028"/>
                  <a:pt x="5586262" y="1939409"/>
                </a:cubicBezTo>
                <a:lnTo>
                  <a:pt x="5581140" y="1945669"/>
                </a:lnTo>
                <a:lnTo>
                  <a:pt x="5581994" y="1946096"/>
                </a:lnTo>
                <a:cubicBezTo>
                  <a:pt x="5580713" y="1948941"/>
                  <a:pt x="5579006" y="1950648"/>
                  <a:pt x="5577085" y="1951502"/>
                </a:cubicBezTo>
                <a:cubicBezTo>
                  <a:pt x="5575164" y="1952356"/>
                  <a:pt x="5573243" y="1952356"/>
                  <a:pt x="5571323" y="1951786"/>
                </a:cubicBezTo>
                <a:lnTo>
                  <a:pt x="5571536" y="1947945"/>
                </a:lnTo>
                <a:lnTo>
                  <a:pt x="5571109" y="1947803"/>
                </a:lnTo>
                <a:cubicBezTo>
                  <a:pt x="5565133" y="1942824"/>
                  <a:pt x="5564066" y="1926889"/>
                  <a:pt x="5570042" y="1925467"/>
                </a:cubicBezTo>
                <a:close/>
                <a:moveTo>
                  <a:pt x="998281" y="1925228"/>
                </a:moveTo>
                <a:cubicBezTo>
                  <a:pt x="1007471" y="1932353"/>
                  <a:pt x="1010362" y="1944900"/>
                  <a:pt x="1003134" y="1951871"/>
                </a:cubicBezTo>
                <a:cubicBezTo>
                  <a:pt x="1000553" y="1953729"/>
                  <a:pt x="998075" y="1954659"/>
                  <a:pt x="995803" y="1954814"/>
                </a:cubicBezTo>
                <a:lnTo>
                  <a:pt x="991054" y="1953264"/>
                </a:lnTo>
                <a:lnTo>
                  <a:pt x="990331" y="1953419"/>
                </a:lnTo>
                <a:lnTo>
                  <a:pt x="990227" y="1952955"/>
                </a:lnTo>
                <a:lnTo>
                  <a:pt x="989711" y="1952800"/>
                </a:lnTo>
                <a:cubicBezTo>
                  <a:pt x="986200" y="1950167"/>
                  <a:pt x="984032" y="1945365"/>
                  <a:pt x="984342" y="1940408"/>
                </a:cubicBezTo>
                <a:cubicBezTo>
                  <a:pt x="984755" y="1934367"/>
                  <a:pt x="988679" y="1928171"/>
                  <a:pt x="998281" y="1925228"/>
                </a:cubicBezTo>
                <a:close/>
                <a:moveTo>
                  <a:pt x="654335" y="1924918"/>
                </a:moveTo>
                <a:cubicBezTo>
                  <a:pt x="657226" y="1923215"/>
                  <a:pt x="658775" y="1925228"/>
                  <a:pt x="661356" y="1927397"/>
                </a:cubicBezTo>
                <a:cubicBezTo>
                  <a:pt x="660530" y="1928946"/>
                  <a:pt x="661253" y="1931424"/>
                  <a:pt x="659498" y="1932973"/>
                </a:cubicBezTo>
                <a:cubicBezTo>
                  <a:pt x="659498" y="1932973"/>
                  <a:pt x="658672" y="1933748"/>
                  <a:pt x="656917" y="1933593"/>
                </a:cubicBezTo>
                <a:cubicBezTo>
                  <a:pt x="654335" y="1934987"/>
                  <a:pt x="651754" y="1932199"/>
                  <a:pt x="651754" y="1932199"/>
                </a:cubicBezTo>
                <a:cubicBezTo>
                  <a:pt x="651754" y="1932199"/>
                  <a:pt x="651754" y="1932199"/>
                  <a:pt x="651754" y="1932973"/>
                </a:cubicBezTo>
                <a:cubicBezTo>
                  <a:pt x="651754" y="1931424"/>
                  <a:pt x="650927" y="1929565"/>
                  <a:pt x="650927" y="1927861"/>
                </a:cubicBezTo>
                <a:cubicBezTo>
                  <a:pt x="652270" y="1926313"/>
                  <a:pt x="653302" y="1925383"/>
                  <a:pt x="654335" y="1924918"/>
                </a:cubicBezTo>
                <a:close/>
                <a:moveTo>
                  <a:pt x="6285425" y="1924471"/>
                </a:moveTo>
                <a:cubicBezTo>
                  <a:pt x="6285425" y="1924471"/>
                  <a:pt x="6286065" y="1925467"/>
                  <a:pt x="6286065" y="1925467"/>
                </a:cubicBezTo>
                <a:cubicBezTo>
                  <a:pt x="6286493" y="1925183"/>
                  <a:pt x="6286493" y="1925183"/>
                  <a:pt x="6286493" y="1925467"/>
                </a:cubicBezTo>
                <a:cubicBezTo>
                  <a:pt x="6286279" y="1925894"/>
                  <a:pt x="6286065" y="1926748"/>
                  <a:pt x="6286065" y="1928028"/>
                </a:cubicBezTo>
                <a:cubicBezTo>
                  <a:pt x="6285638" y="1929593"/>
                  <a:pt x="6286065" y="1930589"/>
                  <a:pt x="6284572" y="1930162"/>
                </a:cubicBezTo>
                <a:cubicBezTo>
                  <a:pt x="6283078" y="1929877"/>
                  <a:pt x="6283078" y="1929735"/>
                  <a:pt x="6281584" y="1926889"/>
                </a:cubicBezTo>
                <a:cubicBezTo>
                  <a:pt x="6283078" y="1927174"/>
                  <a:pt x="6283078" y="1927174"/>
                  <a:pt x="6283505" y="1925609"/>
                </a:cubicBezTo>
                <a:cubicBezTo>
                  <a:pt x="6283505" y="1925609"/>
                  <a:pt x="6283718" y="1925609"/>
                  <a:pt x="6283078" y="1924613"/>
                </a:cubicBezTo>
                <a:cubicBezTo>
                  <a:pt x="6284145" y="1924044"/>
                  <a:pt x="6284572" y="1925040"/>
                  <a:pt x="6285425" y="1924471"/>
                </a:cubicBezTo>
                <a:close/>
                <a:moveTo>
                  <a:pt x="5557664" y="1924471"/>
                </a:moveTo>
                <a:cubicBezTo>
                  <a:pt x="5557664" y="1924471"/>
                  <a:pt x="5558944" y="1924613"/>
                  <a:pt x="5561078" y="1927316"/>
                </a:cubicBezTo>
                <a:cubicBezTo>
                  <a:pt x="5560012" y="1927174"/>
                  <a:pt x="5560012" y="1928312"/>
                  <a:pt x="5560012" y="1928312"/>
                </a:cubicBezTo>
                <a:cubicBezTo>
                  <a:pt x="5560012" y="1928312"/>
                  <a:pt x="5560012" y="1928312"/>
                  <a:pt x="5561078" y="1928454"/>
                </a:cubicBezTo>
                <a:cubicBezTo>
                  <a:pt x="5560438" y="1929024"/>
                  <a:pt x="5560012" y="1928881"/>
                  <a:pt x="5559584" y="1928739"/>
                </a:cubicBezTo>
                <a:cubicBezTo>
                  <a:pt x="5559157" y="1928454"/>
                  <a:pt x="5558731" y="1928170"/>
                  <a:pt x="5558731" y="1928170"/>
                </a:cubicBezTo>
                <a:cubicBezTo>
                  <a:pt x="5557664" y="1926889"/>
                  <a:pt x="5556597" y="1925467"/>
                  <a:pt x="5557664" y="1924471"/>
                </a:cubicBezTo>
                <a:close/>
                <a:moveTo>
                  <a:pt x="5888464" y="1923759"/>
                </a:moveTo>
                <a:lnTo>
                  <a:pt x="5883129" y="1935141"/>
                </a:lnTo>
                <a:lnTo>
                  <a:pt x="5885049" y="1936848"/>
                </a:lnTo>
                <a:cubicBezTo>
                  <a:pt x="5886117" y="1938129"/>
                  <a:pt x="5887184" y="1941116"/>
                  <a:pt x="5887611" y="1943962"/>
                </a:cubicBezTo>
                <a:cubicBezTo>
                  <a:pt x="5887824" y="1946950"/>
                  <a:pt x="5887611" y="1949795"/>
                  <a:pt x="5886544" y="1951502"/>
                </a:cubicBezTo>
                <a:cubicBezTo>
                  <a:pt x="5884196" y="1949937"/>
                  <a:pt x="5882062" y="1948372"/>
                  <a:pt x="5879928" y="1946807"/>
                </a:cubicBezTo>
                <a:cubicBezTo>
                  <a:pt x="5880568" y="1946950"/>
                  <a:pt x="5880568" y="1944246"/>
                  <a:pt x="5880141" y="1941401"/>
                </a:cubicBezTo>
                <a:lnTo>
                  <a:pt x="5877580" y="1947091"/>
                </a:lnTo>
                <a:cubicBezTo>
                  <a:pt x="5873525" y="1953636"/>
                  <a:pt x="5868190" y="1956481"/>
                  <a:pt x="5859439" y="1947803"/>
                </a:cubicBezTo>
                <a:cubicBezTo>
                  <a:pt x="5871818" y="1941685"/>
                  <a:pt x="5876940" y="1924044"/>
                  <a:pt x="5888464" y="1923759"/>
                </a:cubicBezTo>
                <a:close/>
                <a:moveTo>
                  <a:pt x="1435778" y="1923525"/>
                </a:moveTo>
                <a:cubicBezTo>
                  <a:pt x="1437017" y="1924918"/>
                  <a:pt x="1439392" y="1927087"/>
                  <a:pt x="1439805" y="1928946"/>
                </a:cubicBezTo>
                <a:cubicBezTo>
                  <a:pt x="1439908" y="1929410"/>
                  <a:pt x="1439805" y="1930030"/>
                  <a:pt x="1439289" y="1930340"/>
                </a:cubicBezTo>
                <a:cubicBezTo>
                  <a:pt x="1438153" y="1929101"/>
                  <a:pt x="1435985" y="1927707"/>
                  <a:pt x="1435571" y="1925848"/>
                </a:cubicBezTo>
                <a:cubicBezTo>
                  <a:pt x="1435468" y="1925073"/>
                  <a:pt x="1435468" y="1924454"/>
                  <a:pt x="1435778" y="1923525"/>
                </a:cubicBezTo>
                <a:close/>
                <a:moveTo>
                  <a:pt x="5733735" y="1921910"/>
                </a:moveTo>
                <a:cubicBezTo>
                  <a:pt x="5735443" y="1921341"/>
                  <a:pt x="5737576" y="1921483"/>
                  <a:pt x="5739497" y="1922337"/>
                </a:cubicBezTo>
                <a:cubicBezTo>
                  <a:pt x="5742058" y="1923617"/>
                  <a:pt x="5744193" y="1926463"/>
                  <a:pt x="5745473" y="1931158"/>
                </a:cubicBezTo>
                <a:cubicBezTo>
                  <a:pt x="5742058" y="1935852"/>
                  <a:pt x="5738643" y="1935710"/>
                  <a:pt x="5735229" y="1937844"/>
                </a:cubicBezTo>
                <a:cubicBezTo>
                  <a:pt x="5724985" y="1930731"/>
                  <a:pt x="5728186" y="1923475"/>
                  <a:pt x="5733735" y="1921910"/>
                </a:cubicBezTo>
                <a:close/>
                <a:moveTo>
                  <a:pt x="1229059" y="1921821"/>
                </a:moveTo>
                <a:cubicBezTo>
                  <a:pt x="1234945" y="1922285"/>
                  <a:pt x="1232466" y="1928636"/>
                  <a:pt x="1230092" y="1929565"/>
                </a:cubicBezTo>
                <a:cubicBezTo>
                  <a:pt x="1227510" y="1929256"/>
                  <a:pt x="1226684" y="1927552"/>
                  <a:pt x="1226788" y="1925848"/>
                </a:cubicBezTo>
                <a:cubicBezTo>
                  <a:pt x="1226891" y="1923989"/>
                  <a:pt x="1227923" y="1922285"/>
                  <a:pt x="1229059" y="1921821"/>
                </a:cubicBezTo>
                <a:close/>
                <a:moveTo>
                  <a:pt x="3856068" y="1921626"/>
                </a:moveTo>
                <a:cubicBezTo>
                  <a:pt x="3856068" y="1922764"/>
                  <a:pt x="3857349" y="1925324"/>
                  <a:pt x="3856281" y="1926463"/>
                </a:cubicBezTo>
                <a:cubicBezTo>
                  <a:pt x="3855214" y="1927601"/>
                  <a:pt x="3855214" y="1927601"/>
                  <a:pt x="3852866" y="1927601"/>
                </a:cubicBezTo>
                <a:cubicBezTo>
                  <a:pt x="3853720" y="1923902"/>
                  <a:pt x="3853934" y="1923902"/>
                  <a:pt x="3856068" y="1921626"/>
                </a:cubicBezTo>
                <a:close/>
                <a:moveTo>
                  <a:pt x="1148726" y="1921356"/>
                </a:moveTo>
                <a:cubicBezTo>
                  <a:pt x="1149655" y="1921356"/>
                  <a:pt x="1150584" y="1921666"/>
                  <a:pt x="1151410" y="1922285"/>
                </a:cubicBezTo>
                <a:cubicBezTo>
                  <a:pt x="1154818" y="1925073"/>
                  <a:pt x="1154921" y="1930340"/>
                  <a:pt x="1152236" y="1935142"/>
                </a:cubicBezTo>
                <a:lnTo>
                  <a:pt x="1151514" y="1935916"/>
                </a:lnTo>
                <a:lnTo>
                  <a:pt x="1161116" y="1939789"/>
                </a:lnTo>
                <a:lnTo>
                  <a:pt x="1163904" y="1940718"/>
                </a:lnTo>
                <a:lnTo>
                  <a:pt x="1164730" y="1940098"/>
                </a:lnTo>
                <a:cubicBezTo>
                  <a:pt x="1165866" y="1939789"/>
                  <a:pt x="1167002" y="1939479"/>
                  <a:pt x="1167828" y="1938550"/>
                </a:cubicBezTo>
                <a:cubicBezTo>
                  <a:pt x="1168241" y="1939479"/>
                  <a:pt x="1168861" y="1940408"/>
                  <a:pt x="1169067" y="1941647"/>
                </a:cubicBezTo>
                <a:lnTo>
                  <a:pt x="1168964" y="1942422"/>
                </a:lnTo>
                <a:lnTo>
                  <a:pt x="1169274" y="1942422"/>
                </a:lnTo>
                <a:lnTo>
                  <a:pt x="1168964" y="1942732"/>
                </a:lnTo>
                <a:lnTo>
                  <a:pt x="1168861" y="1943816"/>
                </a:lnTo>
                <a:cubicBezTo>
                  <a:pt x="1168654" y="1944590"/>
                  <a:pt x="1168241" y="1945365"/>
                  <a:pt x="1167518" y="1946294"/>
                </a:cubicBezTo>
                <a:cubicBezTo>
                  <a:pt x="1166589" y="1947224"/>
                  <a:pt x="1166589" y="1947224"/>
                  <a:pt x="1165763" y="1947224"/>
                </a:cubicBezTo>
                <a:cubicBezTo>
                  <a:pt x="1164834" y="1947688"/>
                  <a:pt x="1164111" y="1948153"/>
                  <a:pt x="1163491" y="1948463"/>
                </a:cubicBezTo>
                <a:lnTo>
                  <a:pt x="1163078" y="1948463"/>
                </a:lnTo>
                <a:lnTo>
                  <a:pt x="1162149" y="1949547"/>
                </a:lnTo>
                <a:cubicBezTo>
                  <a:pt x="1160600" y="1952335"/>
                  <a:pt x="1159567" y="1955278"/>
                  <a:pt x="1158432" y="1958222"/>
                </a:cubicBezTo>
                <a:lnTo>
                  <a:pt x="1159981" y="1958996"/>
                </a:lnTo>
                <a:cubicBezTo>
                  <a:pt x="1161013" y="1960235"/>
                  <a:pt x="1161736" y="1961629"/>
                  <a:pt x="1162975" y="1962404"/>
                </a:cubicBezTo>
                <a:cubicBezTo>
                  <a:pt x="1160910" y="1965656"/>
                  <a:pt x="1158019" y="1966431"/>
                  <a:pt x="1155850" y="1966121"/>
                </a:cubicBezTo>
                <a:lnTo>
                  <a:pt x="1154198" y="1965192"/>
                </a:lnTo>
                <a:lnTo>
                  <a:pt x="1152959" y="1966431"/>
                </a:lnTo>
                <a:cubicBezTo>
                  <a:pt x="1151927" y="1967360"/>
                  <a:pt x="1150688" y="1967980"/>
                  <a:pt x="1149242" y="1968599"/>
                </a:cubicBezTo>
                <a:cubicBezTo>
                  <a:pt x="1146454" y="1969683"/>
                  <a:pt x="1143872" y="1970303"/>
                  <a:pt x="1141395" y="1970303"/>
                </a:cubicBezTo>
                <a:lnTo>
                  <a:pt x="1137471" y="1969528"/>
                </a:lnTo>
                <a:lnTo>
                  <a:pt x="1137264" y="1969683"/>
                </a:lnTo>
                <a:cubicBezTo>
                  <a:pt x="1135922" y="1970613"/>
                  <a:pt x="1133650" y="1970458"/>
                  <a:pt x="1131069" y="1969219"/>
                </a:cubicBezTo>
                <a:lnTo>
                  <a:pt x="1132308" y="1967205"/>
                </a:lnTo>
                <a:lnTo>
                  <a:pt x="1129313" y="1964882"/>
                </a:lnTo>
                <a:lnTo>
                  <a:pt x="1127455" y="1961938"/>
                </a:lnTo>
                <a:lnTo>
                  <a:pt x="1125080" y="1961164"/>
                </a:lnTo>
                <a:lnTo>
                  <a:pt x="1125596" y="1963488"/>
                </a:lnTo>
                <a:cubicBezTo>
                  <a:pt x="1125493" y="1964417"/>
                  <a:pt x="1124977" y="1965346"/>
                  <a:pt x="1124047" y="1966431"/>
                </a:cubicBezTo>
                <a:cubicBezTo>
                  <a:pt x="1121466" y="1966585"/>
                  <a:pt x="1117232" y="1963488"/>
                  <a:pt x="1117336" y="1961009"/>
                </a:cubicBezTo>
                <a:cubicBezTo>
                  <a:pt x="1118265" y="1960080"/>
                  <a:pt x="1119195" y="1959150"/>
                  <a:pt x="1120021" y="1958376"/>
                </a:cubicBezTo>
                <a:lnTo>
                  <a:pt x="1121260" y="1958996"/>
                </a:lnTo>
                <a:lnTo>
                  <a:pt x="1117439" y="1956362"/>
                </a:lnTo>
                <a:cubicBezTo>
                  <a:pt x="1113929" y="1952800"/>
                  <a:pt x="1111760" y="1948153"/>
                  <a:pt x="1112483" y="1942886"/>
                </a:cubicBezTo>
                <a:cubicBezTo>
                  <a:pt x="1112896" y="1940408"/>
                  <a:pt x="1113929" y="1937620"/>
                  <a:pt x="1115890" y="1934832"/>
                </a:cubicBezTo>
                <a:cubicBezTo>
                  <a:pt x="1117336" y="1933128"/>
                  <a:pt x="1119091" y="1931734"/>
                  <a:pt x="1121053" y="1930804"/>
                </a:cubicBezTo>
                <a:lnTo>
                  <a:pt x="1125699" y="1929101"/>
                </a:lnTo>
                <a:lnTo>
                  <a:pt x="1126629" y="1927861"/>
                </a:lnTo>
                <a:lnTo>
                  <a:pt x="1127248" y="1928636"/>
                </a:lnTo>
                <a:lnTo>
                  <a:pt x="1131275" y="1927087"/>
                </a:lnTo>
                <a:cubicBezTo>
                  <a:pt x="1135096" y="1926003"/>
                  <a:pt x="1139123" y="1924764"/>
                  <a:pt x="1143150" y="1922750"/>
                </a:cubicBezTo>
                <a:lnTo>
                  <a:pt x="1143047" y="1924144"/>
                </a:lnTo>
                <a:lnTo>
                  <a:pt x="1143976" y="1923370"/>
                </a:lnTo>
                <a:cubicBezTo>
                  <a:pt x="1145628" y="1922285"/>
                  <a:pt x="1147280" y="1921511"/>
                  <a:pt x="1148726" y="1921356"/>
                </a:cubicBezTo>
                <a:close/>
                <a:moveTo>
                  <a:pt x="1263547" y="1921046"/>
                </a:moveTo>
                <a:cubicBezTo>
                  <a:pt x="1264269" y="1920582"/>
                  <a:pt x="1265199" y="1921975"/>
                  <a:pt x="1265199" y="1921975"/>
                </a:cubicBezTo>
                <a:cubicBezTo>
                  <a:pt x="1265302" y="1923834"/>
                  <a:pt x="1262617" y="1924609"/>
                  <a:pt x="1261172" y="1925538"/>
                </a:cubicBezTo>
                <a:cubicBezTo>
                  <a:pt x="1261378" y="1927397"/>
                  <a:pt x="1257351" y="1926158"/>
                  <a:pt x="1257455" y="1928017"/>
                </a:cubicBezTo>
                <a:cubicBezTo>
                  <a:pt x="1252705" y="1927242"/>
                  <a:pt x="1251259" y="1933128"/>
                  <a:pt x="1243722" y="1933128"/>
                </a:cubicBezTo>
                <a:lnTo>
                  <a:pt x="1248161" y="1929256"/>
                </a:lnTo>
                <a:lnTo>
                  <a:pt x="1247645" y="1927087"/>
                </a:lnTo>
                <a:cubicBezTo>
                  <a:pt x="1248058" y="1926003"/>
                  <a:pt x="1249091" y="1925073"/>
                  <a:pt x="1250536" y="1923989"/>
                </a:cubicBezTo>
                <a:cubicBezTo>
                  <a:pt x="1251156" y="1925228"/>
                  <a:pt x="1251156" y="1926313"/>
                  <a:pt x="1250743" y="1927397"/>
                </a:cubicBezTo>
                <a:lnTo>
                  <a:pt x="1250639" y="1927707"/>
                </a:lnTo>
                <a:lnTo>
                  <a:pt x="1255183" y="1925073"/>
                </a:lnTo>
                <a:cubicBezTo>
                  <a:pt x="1257248" y="1923989"/>
                  <a:pt x="1259107" y="1922750"/>
                  <a:pt x="1260449" y="1921201"/>
                </a:cubicBezTo>
                <a:cubicBezTo>
                  <a:pt x="1260449" y="1921201"/>
                  <a:pt x="1260346" y="1921201"/>
                  <a:pt x="1262824" y="1921666"/>
                </a:cubicBezTo>
                <a:cubicBezTo>
                  <a:pt x="1263547" y="1921046"/>
                  <a:pt x="1263547" y="1921046"/>
                  <a:pt x="1263547" y="1921046"/>
                </a:cubicBezTo>
                <a:close/>
                <a:moveTo>
                  <a:pt x="4907587" y="1920914"/>
                </a:moveTo>
                <a:cubicBezTo>
                  <a:pt x="4907800" y="1922053"/>
                  <a:pt x="4906307" y="1925040"/>
                  <a:pt x="4905453" y="1926605"/>
                </a:cubicBezTo>
                <a:cubicBezTo>
                  <a:pt x="4905666" y="1927743"/>
                  <a:pt x="4905026" y="1929166"/>
                  <a:pt x="4903959" y="1929593"/>
                </a:cubicBezTo>
                <a:cubicBezTo>
                  <a:pt x="4903959" y="1929593"/>
                  <a:pt x="4903105" y="1931158"/>
                  <a:pt x="4903319" y="1932295"/>
                </a:cubicBezTo>
                <a:cubicBezTo>
                  <a:pt x="4901825" y="1935284"/>
                  <a:pt x="4900757" y="1935710"/>
                  <a:pt x="4899690" y="1936137"/>
                </a:cubicBezTo>
                <a:cubicBezTo>
                  <a:pt x="4899690" y="1936137"/>
                  <a:pt x="4900331" y="1934572"/>
                  <a:pt x="4900117" y="1933433"/>
                </a:cubicBezTo>
                <a:cubicBezTo>
                  <a:pt x="4900117" y="1933433"/>
                  <a:pt x="4900971" y="1931868"/>
                  <a:pt x="4901825" y="1930446"/>
                </a:cubicBezTo>
                <a:cubicBezTo>
                  <a:pt x="4901825" y="1930446"/>
                  <a:pt x="4901398" y="1929308"/>
                  <a:pt x="4901184" y="1928170"/>
                </a:cubicBezTo>
                <a:cubicBezTo>
                  <a:pt x="4902465" y="1924044"/>
                  <a:pt x="4902892" y="1921341"/>
                  <a:pt x="4907587" y="1920914"/>
                </a:cubicBezTo>
                <a:close/>
                <a:moveTo>
                  <a:pt x="5949929" y="1919776"/>
                </a:moveTo>
                <a:cubicBezTo>
                  <a:pt x="5951423" y="1920060"/>
                  <a:pt x="5952490" y="1922194"/>
                  <a:pt x="5954198" y="1922621"/>
                </a:cubicBezTo>
                <a:cubicBezTo>
                  <a:pt x="5953130" y="1923190"/>
                  <a:pt x="5952490" y="1924897"/>
                  <a:pt x="5951423" y="1925609"/>
                </a:cubicBezTo>
                <a:cubicBezTo>
                  <a:pt x="5948435" y="1924897"/>
                  <a:pt x="5948862" y="1920345"/>
                  <a:pt x="5949929" y="1919776"/>
                </a:cubicBezTo>
                <a:close/>
                <a:moveTo>
                  <a:pt x="1572799" y="1919188"/>
                </a:moveTo>
                <a:cubicBezTo>
                  <a:pt x="1573935" y="1919032"/>
                  <a:pt x="1574864" y="1919652"/>
                  <a:pt x="1575380" y="1920736"/>
                </a:cubicBezTo>
                <a:cubicBezTo>
                  <a:pt x="1577239" y="1924144"/>
                  <a:pt x="1575380" y="1931734"/>
                  <a:pt x="1568462" y="1923215"/>
                </a:cubicBezTo>
                <a:cubicBezTo>
                  <a:pt x="1570218" y="1920582"/>
                  <a:pt x="1571663" y="1919497"/>
                  <a:pt x="1572799" y="1919188"/>
                </a:cubicBezTo>
                <a:close/>
                <a:moveTo>
                  <a:pt x="5041401" y="1919065"/>
                </a:moveTo>
                <a:cubicBezTo>
                  <a:pt x="5042682" y="1918495"/>
                  <a:pt x="5044389" y="1918780"/>
                  <a:pt x="5046737" y="1919349"/>
                </a:cubicBezTo>
                <a:cubicBezTo>
                  <a:pt x="5045456" y="1923190"/>
                  <a:pt x="5043109" y="1923332"/>
                  <a:pt x="5038200" y="1923759"/>
                </a:cubicBezTo>
                <a:cubicBezTo>
                  <a:pt x="5038840" y="1921057"/>
                  <a:pt x="5039907" y="1919634"/>
                  <a:pt x="5041401" y="1919065"/>
                </a:cubicBezTo>
                <a:close/>
                <a:moveTo>
                  <a:pt x="6137952" y="1918780"/>
                </a:moveTo>
                <a:cubicBezTo>
                  <a:pt x="6138165" y="1920345"/>
                  <a:pt x="6138165" y="1920345"/>
                  <a:pt x="6139660" y="1919918"/>
                </a:cubicBezTo>
                <a:cubicBezTo>
                  <a:pt x="6139660" y="1919918"/>
                  <a:pt x="6139660" y="1919918"/>
                  <a:pt x="6140300" y="1918780"/>
                </a:cubicBezTo>
                <a:cubicBezTo>
                  <a:pt x="6141153" y="1919349"/>
                  <a:pt x="6140513" y="1920488"/>
                  <a:pt x="6141367" y="1921057"/>
                </a:cubicBezTo>
                <a:cubicBezTo>
                  <a:pt x="6141367" y="1921057"/>
                  <a:pt x="6140727" y="1922053"/>
                  <a:pt x="6140727" y="1922053"/>
                </a:cubicBezTo>
                <a:cubicBezTo>
                  <a:pt x="6141153" y="1922337"/>
                  <a:pt x="6141153" y="1922337"/>
                  <a:pt x="6140940" y="1922337"/>
                </a:cubicBezTo>
                <a:cubicBezTo>
                  <a:pt x="6140513" y="1922479"/>
                  <a:pt x="6139660" y="1922764"/>
                  <a:pt x="6138592" y="1923475"/>
                </a:cubicBezTo>
                <a:cubicBezTo>
                  <a:pt x="6137098" y="1923902"/>
                  <a:pt x="6136458" y="1924897"/>
                  <a:pt x="6136245" y="1923332"/>
                </a:cubicBezTo>
                <a:cubicBezTo>
                  <a:pt x="6135818" y="1921767"/>
                  <a:pt x="6135818" y="1921767"/>
                  <a:pt x="6137952" y="1918780"/>
                </a:cubicBezTo>
                <a:close/>
                <a:moveTo>
                  <a:pt x="3855855" y="1918069"/>
                </a:moveTo>
                <a:cubicBezTo>
                  <a:pt x="3856922" y="1918211"/>
                  <a:pt x="3857135" y="1919492"/>
                  <a:pt x="3856068" y="1920772"/>
                </a:cubicBezTo>
                <a:cubicBezTo>
                  <a:pt x="3856068" y="1920772"/>
                  <a:pt x="3855001" y="1920772"/>
                  <a:pt x="3855001" y="1920772"/>
                </a:cubicBezTo>
                <a:cubicBezTo>
                  <a:pt x="3855001" y="1919349"/>
                  <a:pt x="3855001" y="1918069"/>
                  <a:pt x="3855855" y="1918069"/>
                </a:cubicBezTo>
                <a:close/>
                <a:moveTo>
                  <a:pt x="3569872" y="1917073"/>
                </a:moveTo>
                <a:cubicBezTo>
                  <a:pt x="3570939" y="1916504"/>
                  <a:pt x="3570939" y="1916647"/>
                  <a:pt x="3571366" y="1917642"/>
                </a:cubicBezTo>
                <a:lnTo>
                  <a:pt x="3571366" y="1917215"/>
                </a:lnTo>
                <a:lnTo>
                  <a:pt x="3573286" y="1919349"/>
                </a:lnTo>
                <a:cubicBezTo>
                  <a:pt x="3573500" y="1920488"/>
                  <a:pt x="3573500" y="1921910"/>
                  <a:pt x="3573500" y="1923190"/>
                </a:cubicBezTo>
                <a:cubicBezTo>
                  <a:pt x="3572433" y="1923759"/>
                  <a:pt x="3572433" y="1923759"/>
                  <a:pt x="3570939" y="1923048"/>
                </a:cubicBezTo>
                <a:cubicBezTo>
                  <a:pt x="3569872" y="1923617"/>
                  <a:pt x="3570299" y="1918211"/>
                  <a:pt x="3569872" y="1917073"/>
                </a:cubicBezTo>
                <a:close/>
                <a:moveTo>
                  <a:pt x="3559414" y="1917073"/>
                </a:moveTo>
                <a:cubicBezTo>
                  <a:pt x="3559841" y="1918211"/>
                  <a:pt x="3560482" y="1919349"/>
                  <a:pt x="3560908" y="1920345"/>
                </a:cubicBezTo>
                <a:cubicBezTo>
                  <a:pt x="3560268" y="1921910"/>
                  <a:pt x="3560268" y="1921767"/>
                  <a:pt x="3558774" y="1921199"/>
                </a:cubicBezTo>
                <a:cubicBezTo>
                  <a:pt x="3558347" y="1920202"/>
                  <a:pt x="3557920" y="1919207"/>
                  <a:pt x="3558988" y="1918638"/>
                </a:cubicBezTo>
                <a:cubicBezTo>
                  <a:pt x="3558561" y="1917642"/>
                  <a:pt x="3558561" y="1917500"/>
                  <a:pt x="3559414" y="1917073"/>
                </a:cubicBezTo>
                <a:close/>
                <a:moveTo>
                  <a:pt x="1401600" y="1916864"/>
                </a:moveTo>
                <a:cubicBezTo>
                  <a:pt x="1404388" y="1918258"/>
                  <a:pt x="1404595" y="1920117"/>
                  <a:pt x="1404904" y="1923679"/>
                </a:cubicBezTo>
                <a:cubicBezTo>
                  <a:pt x="1402942" y="1922905"/>
                  <a:pt x="1401910" y="1921975"/>
                  <a:pt x="1401497" y="1920891"/>
                </a:cubicBezTo>
                <a:cubicBezTo>
                  <a:pt x="1401084" y="1919807"/>
                  <a:pt x="1401187" y="1918568"/>
                  <a:pt x="1401600" y="1916864"/>
                </a:cubicBezTo>
                <a:close/>
                <a:moveTo>
                  <a:pt x="1300616" y="1916554"/>
                </a:moveTo>
                <a:cubicBezTo>
                  <a:pt x="1304746" y="1918413"/>
                  <a:pt x="1304333" y="1922595"/>
                  <a:pt x="1305985" y="1926777"/>
                </a:cubicBezTo>
                <a:cubicBezTo>
                  <a:pt x="1305159" y="1927087"/>
                  <a:pt x="1304952" y="1928326"/>
                  <a:pt x="1305366" y="1928946"/>
                </a:cubicBezTo>
                <a:cubicBezTo>
                  <a:pt x="1305056" y="1930185"/>
                  <a:pt x="1304849" y="1931269"/>
                  <a:pt x="1305572" y="1930959"/>
                </a:cubicBezTo>
                <a:cubicBezTo>
                  <a:pt x="1304746" y="1934367"/>
                  <a:pt x="1305262" y="1935142"/>
                  <a:pt x="1302577" y="1935451"/>
                </a:cubicBezTo>
                <a:cubicBezTo>
                  <a:pt x="1299583" y="1929101"/>
                  <a:pt x="1298344" y="1920891"/>
                  <a:pt x="1298137" y="1918878"/>
                </a:cubicBezTo>
                <a:cubicBezTo>
                  <a:pt x="1298034" y="1917948"/>
                  <a:pt x="1298137" y="1917484"/>
                  <a:pt x="1298550" y="1917019"/>
                </a:cubicBezTo>
                <a:cubicBezTo>
                  <a:pt x="1298964" y="1916709"/>
                  <a:pt x="1299686" y="1916554"/>
                  <a:pt x="1300616" y="1916554"/>
                </a:cubicBezTo>
                <a:close/>
                <a:moveTo>
                  <a:pt x="3571579" y="1916361"/>
                </a:moveTo>
                <a:lnTo>
                  <a:pt x="3571366" y="1917215"/>
                </a:lnTo>
                <a:lnTo>
                  <a:pt x="3570939" y="1916647"/>
                </a:lnTo>
                <a:cubicBezTo>
                  <a:pt x="3571366" y="1916361"/>
                  <a:pt x="3571579" y="1916219"/>
                  <a:pt x="3571579" y="1916361"/>
                </a:cubicBezTo>
                <a:close/>
                <a:moveTo>
                  <a:pt x="5479339" y="1915792"/>
                </a:moveTo>
                <a:cubicBezTo>
                  <a:pt x="5484460" y="1916647"/>
                  <a:pt x="5491503" y="1915792"/>
                  <a:pt x="5497479" y="1915792"/>
                </a:cubicBezTo>
                <a:cubicBezTo>
                  <a:pt x="5503669" y="1915792"/>
                  <a:pt x="5509004" y="1916647"/>
                  <a:pt x="5510711" y="1920629"/>
                </a:cubicBezTo>
                <a:cubicBezTo>
                  <a:pt x="5511992" y="1923332"/>
                  <a:pt x="5511565" y="1927316"/>
                  <a:pt x="5509004" y="1933576"/>
                </a:cubicBezTo>
                <a:cubicBezTo>
                  <a:pt x="5500040" y="1924186"/>
                  <a:pt x="5482753" y="1926889"/>
                  <a:pt x="5479339" y="1915792"/>
                </a:cubicBezTo>
                <a:close/>
                <a:moveTo>
                  <a:pt x="3600604" y="1915792"/>
                </a:moveTo>
                <a:cubicBezTo>
                  <a:pt x="3603806" y="1916077"/>
                  <a:pt x="3607220" y="1917073"/>
                  <a:pt x="3608714" y="1918069"/>
                </a:cubicBezTo>
                <a:cubicBezTo>
                  <a:pt x="3609782" y="1922053"/>
                  <a:pt x="3608928" y="1924897"/>
                  <a:pt x="3607434" y="1926605"/>
                </a:cubicBezTo>
                <a:cubicBezTo>
                  <a:pt x="3602525" y="1931868"/>
                  <a:pt x="3589720" y="1927601"/>
                  <a:pt x="3592281" y="1917215"/>
                </a:cubicBezTo>
                <a:cubicBezTo>
                  <a:pt x="3593988" y="1915792"/>
                  <a:pt x="3597403" y="1915508"/>
                  <a:pt x="3600604" y="1915792"/>
                </a:cubicBezTo>
                <a:close/>
                <a:moveTo>
                  <a:pt x="1304642" y="1915780"/>
                </a:moveTo>
                <a:cubicBezTo>
                  <a:pt x="1304642" y="1915780"/>
                  <a:pt x="1304642" y="1915935"/>
                  <a:pt x="1305469" y="1915780"/>
                </a:cubicBezTo>
                <a:cubicBezTo>
                  <a:pt x="1305469" y="1915780"/>
                  <a:pt x="1305469" y="1916554"/>
                  <a:pt x="1304642" y="1917328"/>
                </a:cubicBezTo>
                <a:cubicBezTo>
                  <a:pt x="1304642" y="1917328"/>
                  <a:pt x="1304436" y="1917174"/>
                  <a:pt x="1304333" y="1917019"/>
                </a:cubicBezTo>
                <a:cubicBezTo>
                  <a:pt x="1304230" y="1916709"/>
                  <a:pt x="1304230" y="1916244"/>
                  <a:pt x="1304642" y="1915780"/>
                </a:cubicBezTo>
                <a:close/>
                <a:moveTo>
                  <a:pt x="5355128" y="1915508"/>
                </a:moveTo>
                <a:cubicBezTo>
                  <a:pt x="5364732" y="1923048"/>
                  <a:pt x="5375403" y="1928739"/>
                  <a:pt x="5380098" y="1945242"/>
                </a:cubicBezTo>
                <a:cubicBezTo>
                  <a:pt x="5377324" y="1947518"/>
                  <a:pt x="5376684" y="1953778"/>
                  <a:pt x="5370922" y="1951502"/>
                </a:cubicBezTo>
                <a:cubicBezTo>
                  <a:pt x="5371562" y="1935568"/>
                  <a:pt x="5350646" y="1928739"/>
                  <a:pt x="5355128" y="1915508"/>
                </a:cubicBezTo>
                <a:close/>
                <a:moveTo>
                  <a:pt x="5315005" y="1915508"/>
                </a:moveTo>
                <a:lnTo>
                  <a:pt x="5314579" y="1916931"/>
                </a:lnTo>
                <a:lnTo>
                  <a:pt x="5315432" y="1916361"/>
                </a:lnTo>
                <a:close/>
                <a:moveTo>
                  <a:pt x="1266231" y="1915470"/>
                </a:moveTo>
                <a:cubicBezTo>
                  <a:pt x="1276660" y="1916554"/>
                  <a:pt x="1284301" y="1919807"/>
                  <a:pt x="1289464" y="1925073"/>
                </a:cubicBezTo>
                <a:cubicBezTo>
                  <a:pt x="1291116" y="1926777"/>
                  <a:pt x="1292665" y="1928791"/>
                  <a:pt x="1293801" y="1930959"/>
                </a:cubicBezTo>
                <a:cubicBezTo>
                  <a:pt x="1288225" y="1935296"/>
                  <a:pt x="1282236" y="1930804"/>
                  <a:pt x="1277073" y="1928636"/>
                </a:cubicBezTo>
                <a:cubicBezTo>
                  <a:pt x="1276247" y="1934522"/>
                  <a:pt x="1276660" y="1943506"/>
                  <a:pt x="1269845" y="1943661"/>
                </a:cubicBezTo>
                <a:lnTo>
                  <a:pt x="1268090" y="1939943"/>
                </a:lnTo>
                <a:lnTo>
                  <a:pt x="1264889" y="1940253"/>
                </a:lnTo>
                <a:lnTo>
                  <a:pt x="1264063" y="1939479"/>
                </a:lnTo>
                <a:lnTo>
                  <a:pt x="1262824" y="1940253"/>
                </a:lnTo>
                <a:cubicBezTo>
                  <a:pt x="1262204" y="1940718"/>
                  <a:pt x="1261791" y="1941028"/>
                  <a:pt x="1261791" y="1941028"/>
                </a:cubicBezTo>
                <a:cubicBezTo>
                  <a:pt x="1260656" y="1940563"/>
                  <a:pt x="1260036" y="1940253"/>
                  <a:pt x="1259829" y="1939789"/>
                </a:cubicBezTo>
                <a:lnTo>
                  <a:pt x="1259933" y="1938394"/>
                </a:lnTo>
                <a:lnTo>
                  <a:pt x="1257868" y="1937930"/>
                </a:lnTo>
                <a:cubicBezTo>
                  <a:pt x="1258177" y="1936071"/>
                  <a:pt x="1260759" y="1932818"/>
                  <a:pt x="1262721" y="1933128"/>
                </a:cubicBezTo>
                <a:lnTo>
                  <a:pt x="1261998" y="1935142"/>
                </a:lnTo>
                <a:lnTo>
                  <a:pt x="1263443" y="1933593"/>
                </a:lnTo>
                <a:cubicBezTo>
                  <a:pt x="1265095" y="1932508"/>
                  <a:pt x="1267057" y="1931734"/>
                  <a:pt x="1268606" y="1932044"/>
                </a:cubicBezTo>
                <a:lnTo>
                  <a:pt x="1268606" y="1934212"/>
                </a:lnTo>
                <a:lnTo>
                  <a:pt x="1269639" y="1930030"/>
                </a:lnTo>
                <a:cubicBezTo>
                  <a:pt x="1270155" y="1928171"/>
                  <a:pt x="1270465" y="1926468"/>
                  <a:pt x="1270362" y="1924764"/>
                </a:cubicBezTo>
                <a:cubicBezTo>
                  <a:pt x="1269329" y="1922440"/>
                  <a:pt x="1266644" y="1921975"/>
                  <a:pt x="1266025" y="1919188"/>
                </a:cubicBezTo>
                <a:cubicBezTo>
                  <a:pt x="1265922" y="1918258"/>
                  <a:pt x="1265818" y="1917019"/>
                  <a:pt x="1266231" y="1915470"/>
                </a:cubicBezTo>
                <a:close/>
                <a:moveTo>
                  <a:pt x="3888081" y="1915365"/>
                </a:moveTo>
                <a:cubicBezTo>
                  <a:pt x="3891282" y="1915650"/>
                  <a:pt x="3894270" y="1917642"/>
                  <a:pt x="3893630" y="1922194"/>
                </a:cubicBezTo>
                <a:cubicBezTo>
                  <a:pt x="3893630" y="1923475"/>
                  <a:pt x="3892776" y="1924329"/>
                  <a:pt x="3891496" y="1924755"/>
                </a:cubicBezTo>
                <a:cubicBezTo>
                  <a:pt x="3887654" y="1925894"/>
                  <a:pt x="3880398" y="1923475"/>
                  <a:pt x="3880611" y="1918353"/>
                </a:cubicBezTo>
                <a:cubicBezTo>
                  <a:pt x="3881251" y="1916361"/>
                  <a:pt x="3884666" y="1915081"/>
                  <a:pt x="3888081" y="1915365"/>
                </a:cubicBezTo>
                <a:close/>
                <a:moveTo>
                  <a:pt x="5553182" y="1915223"/>
                </a:moveTo>
                <a:cubicBezTo>
                  <a:pt x="5555529" y="1916647"/>
                  <a:pt x="5558731" y="1922053"/>
                  <a:pt x="5557450" y="1924471"/>
                </a:cubicBezTo>
                <a:cubicBezTo>
                  <a:pt x="5555316" y="1922906"/>
                  <a:pt x="5554249" y="1921483"/>
                  <a:pt x="5553182" y="1920202"/>
                </a:cubicBezTo>
                <a:cubicBezTo>
                  <a:pt x="5550834" y="1918638"/>
                  <a:pt x="5550834" y="1917357"/>
                  <a:pt x="5553182" y="1915223"/>
                </a:cubicBezTo>
                <a:close/>
                <a:moveTo>
                  <a:pt x="776590" y="1914695"/>
                </a:moveTo>
                <a:cubicBezTo>
                  <a:pt x="777520" y="1915005"/>
                  <a:pt x="778242" y="1915780"/>
                  <a:pt x="778656" y="1916709"/>
                </a:cubicBezTo>
                <a:cubicBezTo>
                  <a:pt x="781443" y="1922440"/>
                  <a:pt x="777106" y="1929101"/>
                  <a:pt x="769569" y="1930959"/>
                </a:cubicBezTo>
                <a:cubicBezTo>
                  <a:pt x="758004" y="1933903"/>
                  <a:pt x="750776" y="1930340"/>
                  <a:pt x="750776" y="1930340"/>
                </a:cubicBezTo>
                <a:cubicBezTo>
                  <a:pt x="749950" y="1928326"/>
                  <a:pt x="749744" y="1926622"/>
                  <a:pt x="749950" y="1925228"/>
                </a:cubicBezTo>
                <a:cubicBezTo>
                  <a:pt x="750570" y="1920891"/>
                  <a:pt x="755010" y="1918413"/>
                  <a:pt x="759657" y="1916864"/>
                </a:cubicBezTo>
                <a:cubicBezTo>
                  <a:pt x="761721" y="1916089"/>
                  <a:pt x="763890" y="1915625"/>
                  <a:pt x="765749" y="1915160"/>
                </a:cubicBezTo>
                <a:cubicBezTo>
                  <a:pt x="769672" y="1914076"/>
                  <a:pt x="774009" y="1913301"/>
                  <a:pt x="776590" y="1914695"/>
                </a:cubicBezTo>
                <a:close/>
                <a:moveTo>
                  <a:pt x="1534426" y="1914231"/>
                </a:moveTo>
                <a:cubicBezTo>
                  <a:pt x="1536272" y="1913030"/>
                  <a:pt x="1538621" y="1913146"/>
                  <a:pt x="1540376" y="1914231"/>
                </a:cubicBezTo>
                <a:cubicBezTo>
                  <a:pt x="1541616" y="1915005"/>
                  <a:pt x="1542545" y="1916089"/>
                  <a:pt x="1542855" y="1917638"/>
                </a:cubicBezTo>
                <a:cubicBezTo>
                  <a:pt x="1543268" y="1919497"/>
                  <a:pt x="1542751" y="1921821"/>
                  <a:pt x="1540376" y="1924609"/>
                </a:cubicBezTo>
                <a:cubicBezTo>
                  <a:pt x="1536040" y="1924918"/>
                  <a:pt x="1534388" y="1923060"/>
                  <a:pt x="1531497" y="1922130"/>
                </a:cubicBezTo>
                <a:cubicBezTo>
                  <a:pt x="1531238" y="1917948"/>
                  <a:pt x="1532581" y="1915431"/>
                  <a:pt x="1534426" y="1914231"/>
                </a:cubicBezTo>
                <a:close/>
                <a:moveTo>
                  <a:pt x="3849239" y="1914228"/>
                </a:moveTo>
                <a:cubicBezTo>
                  <a:pt x="3850092" y="1914370"/>
                  <a:pt x="3850306" y="1914939"/>
                  <a:pt x="3850306" y="1915650"/>
                </a:cubicBezTo>
                <a:cubicBezTo>
                  <a:pt x="3850306" y="1916361"/>
                  <a:pt x="3850092" y="1917215"/>
                  <a:pt x="3849879" y="1918069"/>
                </a:cubicBezTo>
                <a:cubicBezTo>
                  <a:pt x="3849239" y="1919776"/>
                  <a:pt x="3848811" y="1921483"/>
                  <a:pt x="3848385" y="1923048"/>
                </a:cubicBezTo>
                <a:cubicBezTo>
                  <a:pt x="3848385" y="1923048"/>
                  <a:pt x="3848385" y="1923048"/>
                  <a:pt x="3849239" y="1914228"/>
                </a:cubicBezTo>
                <a:close/>
                <a:moveTo>
                  <a:pt x="4973961" y="1913658"/>
                </a:moveTo>
                <a:cubicBezTo>
                  <a:pt x="4976949" y="1913800"/>
                  <a:pt x="4977802" y="1916504"/>
                  <a:pt x="4978869" y="1919065"/>
                </a:cubicBezTo>
                <a:cubicBezTo>
                  <a:pt x="4974601" y="1919776"/>
                  <a:pt x="4975668" y="1925040"/>
                  <a:pt x="4970973" y="1923048"/>
                </a:cubicBezTo>
                <a:cubicBezTo>
                  <a:pt x="4969479" y="1921341"/>
                  <a:pt x="4969052" y="1918780"/>
                  <a:pt x="4970333" y="1914512"/>
                </a:cubicBezTo>
                <a:cubicBezTo>
                  <a:pt x="4971826" y="1913943"/>
                  <a:pt x="4973107" y="1913658"/>
                  <a:pt x="4973961" y="1913658"/>
                </a:cubicBezTo>
                <a:close/>
                <a:moveTo>
                  <a:pt x="1521816" y="1913263"/>
                </a:moveTo>
                <a:cubicBezTo>
                  <a:pt x="1525585" y="1913301"/>
                  <a:pt x="1528967" y="1914618"/>
                  <a:pt x="1530464" y="1919188"/>
                </a:cubicBezTo>
                <a:cubicBezTo>
                  <a:pt x="1524888" y="1926777"/>
                  <a:pt x="1508987" y="1927707"/>
                  <a:pt x="1509606" y="1919188"/>
                </a:cubicBezTo>
                <a:cubicBezTo>
                  <a:pt x="1509606" y="1917948"/>
                  <a:pt x="1510019" y="1916554"/>
                  <a:pt x="1510845" y="1915005"/>
                </a:cubicBezTo>
                <a:cubicBezTo>
                  <a:pt x="1513891" y="1914463"/>
                  <a:pt x="1518047" y="1913224"/>
                  <a:pt x="1521816" y="1913263"/>
                </a:cubicBezTo>
                <a:close/>
                <a:moveTo>
                  <a:pt x="5970204" y="1913090"/>
                </a:moveTo>
                <a:cubicBezTo>
                  <a:pt x="5971058" y="1913658"/>
                  <a:pt x="5971912" y="1915223"/>
                  <a:pt x="5972552" y="1918069"/>
                </a:cubicBezTo>
                <a:cubicBezTo>
                  <a:pt x="5968710" y="1920488"/>
                  <a:pt x="5966576" y="1920629"/>
                  <a:pt x="5965509" y="1919918"/>
                </a:cubicBezTo>
                <a:cubicBezTo>
                  <a:pt x="5963374" y="1918211"/>
                  <a:pt x="5967216" y="1911524"/>
                  <a:pt x="5970204" y="1913090"/>
                </a:cubicBezTo>
                <a:close/>
                <a:moveTo>
                  <a:pt x="797551" y="1912372"/>
                </a:moveTo>
                <a:cubicBezTo>
                  <a:pt x="798481" y="1913146"/>
                  <a:pt x="798481" y="1913146"/>
                  <a:pt x="798584" y="1915470"/>
                </a:cubicBezTo>
                <a:cubicBezTo>
                  <a:pt x="797758" y="1914850"/>
                  <a:pt x="797758" y="1914850"/>
                  <a:pt x="797035" y="1915780"/>
                </a:cubicBezTo>
                <a:cubicBezTo>
                  <a:pt x="797035" y="1915780"/>
                  <a:pt x="796932" y="1915780"/>
                  <a:pt x="797035" y="1916554"/>
                </a:cubicBezTo>
                <a:cubicBezTo>
                  <a:pt x="796209" y="1916709"/>
                  <a:pt x="796209" y="1915935"/>
                  <a:pt x="795383" y="1915935"/>
                </a:cubicBezTo>
                <a:cubicBezTo>
                  <a:pt x="795383" y="1915935"/>
                  <a:pt x="795280" y="1915160"/>
                  <a:pt x="795280" y="1915160"/>
                </a:cubicBezTo>
                <a:cubicBezTo>
                  <a:pt x="794866" y="1915315"/>
                  <a:pt x="794866" y="1915315"/>
                  <a:pt x="795073" y="1915005"/>
                </a:cubicBezTo>
                <a:cubicBezTo>
                  <a:pt x="795280" y="1914850"/>
                  <a:pt x="795693" y="1914385"/>
                  <a:pt x="796002" y="1913456"/>
                </a:cubicBezTo>
                <a:cubicBezTo>
                  <a:pt x="796829" y="1912527"/>
                  <a:pt x="796726" y="1911752"/>
                  <a:pt x="797551" y="1912372"/>
                </a:cubicBezTo>
                <a:close/>
                <a:moveTo>
                  <a:pt x="1241140" y="1912217"/>
                </a:moveTo>
                <a:cubicBezTo>
                  <a:pt x="1241966" y="1912217"/>
                  <a:pt x="1242792" y="1912681"/>
                  <a:pt x="1243515" y="1913456"/>
                </a:cubicBezTo>
                <a:cubicBezTo>
                  <a:pt x="1245993" y="1915625"/>
                  <a:pt x="1248265" y="1920426"/>
                  <a:pt x="1248988" y="1922905"/>
                </a:cubicBezTo>
                <a:cubicBezTo>
                  <a:pt x="1245890" y="1922905"/>
                  <a:pt x="1242069" y="1915625"/>
                  <a:pt x="1241140" y="1912217"/>
                </a:cubicBezTo>
                <a:close/>
                <a:moveTo>
                  <a:pt x="1430512" y="1910978"/>
                </a:moveTo>
                <a:cubicBezTo>
                  <a:pt x="1430925" y="1911288"/>
                  <a:pt x="1431235" y="1911752"/>
                  <a:pt x="1431544" y="1912217"/>
                </a:cubicBezTo>
                <a:cubicBezTo>
                  <a:pt x="1432267" y="1913146"/>
                  <a:pt x="1433093" y="1913921"/>
                  <a:pt x="1433816" y="1914850"/>
                </a:cubicBezTo>
                <a:cubicBezTo>
                  <a:pt x="1433816" y="1914850"/>
                  <a:pt x="1433816" y="1914850"/>
                  <a:pt x="1429066" y="1911133"/>
                </a:cubicBezTo>
                <a:cubicBezTo>
                  <a:pt x="1429583" y="1910668"/>
                  <a:pt x="1430099" y="1910823"/>
                  <a:pt x="1430512" y="1910978"/>
                </a:cubicBezTo>
                <a:close/>
                <a:moveTo>
                  <a:pt x="5518394" y="1910101"/>
                </a:moveTo>
                <a:cubicBezTo>
                  <a:pt x="5518181" y="1913658"/>
                  <a:pt x="5518181" y="1918211"/>
                  <a:pt x="5516901" y="1920345"/>
                </a:cubicBezTo>
                <a:cubicBezTo>
                  <a:pt x="5515833" y="1917927"/>
                  <a:pt x="5514980" y="1913090"/>
                  <a:pt x="5517114" y="1911098"/>
                </a:cubicBezTo>
                <a:cubicBezTo>
                  <a:pt x="5517114" y="1911098"/>
                  <a:pt x="5517114" y="1911098"/>
                  <a:pt x="5518394" y="1910101"/>
                </a:cubicBezTo>
                <a:close/>
                <a:moveTo>
                  <a:pt x="3690454" y="1908395"/>
                </a:moveTo>
                <a:cubicBezTo>
                  <a:pt x="3691522" y="1909817"/>
                  <a:pt x="3692588" y="1911240"/>
                  <a:pt x="3693442" y="1912663"/>
                </a:cubicBezTo>
                <a:cubicBezTo>
                  <a:pt x="3688107" y="1917500"/>
                  <a:pt x="3687253" y="1923332"/>
                  <a:pt x="3683411" y="1927316"/>
                </a:cubicBezTo>
                <a:cubicBezTo>
                  <a:pt x="3681704" y="1920914"/>
                  <a:pt x="3679783" y="1909533"/>
                  <a:pt x="3690454" y="1908395"/>
                </a:cubicBezTo>
                <a:close/>
                <a:moveTo>
                  <a:pt x="1109695" y="1908345"/>
                </a:moveTo>
                <a:cubicBezTo>
                  <a:pt x="1110314" y="1908500"/>
                  <a:pt x="1110831" y="1908809"/>
                  <a:pt x="1111347" y="1909584"/>
                </a:cubicBezTo>
                <a:cubicBezTo>
                  <a:pt x="1111347" y="1909584"/>
                  <a:pt x="1111347" y="1909584"/>
                  <a:pt x="1111244" y="1910358"/>
                </a:cubicBezTo>
                <a:cubicBezTo>
                  <a:pt x="1110934" y="1912062"/>
                  <a:pt x="1110831" y="1912837"/>
                  <a:pt x="1110624" y="1913611"/>
                </a:cubicBezTo>
                <a:cubicBezTo>
                  <a:pt x="1109695" y="1914385"/>
                  <a:pt x="1106803" y="1915935"/>
                  <a:pt x="1106081" y="1915005"/>
                </a:cubicBezTo>
                <a:cubicBezTo>
                  <a:pt x="1105358" y="1914231"/>
                  <a:pt x="1104842" y="1913146"/>
                  <a:pt x="1104738" y="1912217"/>
                </a:cubicBezTo>
                <a:cubicBezTo>
                  <a:pt x="1104532" y="1911288"/>
                  <a:pt x="1104635" y="1910358"/>
                  <a:pt x="1105152" y="1910048"/>
                </a:cubicBezTo>
                <a:cubicBezTo>
                  <a:pt x="1106700" y="1908809"/>
                  <a:pt x="1108146" y="1907725"/>
                  <a:pt x="1109695" y="1908345"/>
                </a:cubicBezTo>
                <a:close/>
                <a:moveTo>
                  <a:pt x="4623952" y="1908252"/>
                </a:moveTo>
                <a:lnTo>
                  <a:pt x="4623312" y="1908821"/>
                </a:lnTo>
                <a:lnTo>
                  <a:pt x="4623739" y="1908679"/>
                </a:lnTo>
                <a:close/>
                <a:moveTo>
                  <a:pt x="5542511" y="1908110"/>
                </a:moveTo>
                <a:cubicBezTo>
                  <a:pt x="5543578" y="1908110"/>
                  <a:pt x="5544645" y="1908821"/>
                  <a:pt x="5545712" y="1910244"/>
                </a:cubicBezTo>
                <a:lnTo>
                  <a:pt x="5543578" y="1913090"/>
                </a:lnTo>
                <a:lnTo>
                  <a:pt x="5544645" y="1913090"/>
                </a:lnTo>
                <a:cubicBezTo>
                  <a:pt x="5548273" y="1916931"/>
                  <a:pt x="5545926" y="1919207"/>
                  <a:pt x="5543791" y="1923902"/>
                </a:cubicBezTo>
                <a:cubicBezTo>
                  <a:pt x="5542724" y="1922621"/>
                  <a:pt x="5539310" y="1926178"/>
                  <a:pt x="5538242" y="1927316"/>
                </a:cubicBezTo>
                <a:cubicBezTo>
                  <a:pt x="5535682" y="1924755"/>
                  <a:pt x="5531200" y="1928312"/>
                  <a:pt x="5527571" y="1924471"/>
                </a:cubicBezTo>
                <a:cubicBezTo>
                  <a:pt x="5527571" y="1922053"/>
                  <a:pt x="5527571" y="1920772"/>
                  <a:pt x="5528639" y="1918353"/>
                </a:cubicBezTo>
                <a:cubicBezTo>
                  <a:pt x="5530773" y="1916361"/>
                  <a:pt x="5532694" y="1915081"/>
                  <a:pt x="5534614" y="1914370"/>
                </a:cubicBezTo>
                <a:lnTo>
                  <a:pt x="5539096" y="1913090"/>
                </a:lnTo>
                <a:lnTo>
                  <a:pt x="5539096" y="1910813"/>
                </a:lnTo>
                <a:cubicBezTo>
                  <a:pt x="5539523" y="1909248"/>
                  <a:pt x="5541017" y="1907968"/>
                  <a:pt x="5542511" y="1908110"/>
                </a:cubicBezTo>
                <a:close/>
                <a:moveTo>
                  <a:pt x="1047534" y="1908035"/>
                </a:moveTo>
                <a:cubicBezTo>
                  <a:pt x="1055072" y="1913456"/>
                  <a:pt x="1051252" y="1921046"/>
                  <a:pt x="1052078" y="1922750"/>
                </a:cubicBezTo>
                <a:cubicBezTo>
                  <a:pt x="1050013" y="1924609"/>
                  <a:pt x="1049496" y="1925228"/>
                  <a:pt x="1047328" y="1923679"/>
                </a:cubicBezTo>
                <a:lnTo>
                  <a:pt x="1045160" y="1921975"/>
                </a:lnTo>
                <a:lnTo>
                  <a:pt x="1043198" y="1923215"/>
                </a:lnTo>
                <a:cubicBezTo>
                  <a:pt x="1042372" y="1922440"/>
                  <a:pt x="1041649" y="1921666"/>
                  <a:pt x="1040823" y="1920891"/>
                </a:cubicBezTo>
                <a:lnTo>
                  <a:pt x="1042785" y="1917328"/>
                </a:lnTo>
                <a:lnTo>
                  <a:pt x="1042991" y="1914850"/>
                </a:lnTo>
                <a:cubicBezTo>
                  <a:pt x="1042165" y="1913301"/>
                  <a:pt x="1042268" y="1910823"/>
                  <a:pt x="1043198" y="1909119"/>
                </a:cubicBezTo>
                <a:cubicBezTo>
                  <a:pt x="1045056" y="1907415"/>
                  <a:pt x="1046708" y="1907260"/>
                  <a:pt x="1047534" y="1908035"/>
                </a:cubicBezTo>
                <a:close/>
                <a:moveTo>
                  <a:pt x="884390" y="1907570"/>
                </a:moveTo>
                <a:cubicBezTo>
                  <a:pt x="885113" y="1907570"/>
                  <a:pt x="885835" y="1907725"/>
                  <a:pt x="886662" y="1908190"/>
                </a:cubicBezTo>
                <a:cubicBezTo>
                  <a:pt x="887797" y="1912372"/>
                  <a:pt x="884287" y="1915470"/>
                  <a:pt x="879743" y="1912062"/>
                </a:cubicBezTo>
                <a:cubicBezTo>
                  <a:pt x="881086" y="1909893"/>
                  <a:pt x="882428" y="1907725"/>
                  <a:pt x="884390" y="1907570"/>
                </a:cubicBezTo>
                <a:close/>
                <a:moveTo>
                  <a:pt x="5490010" y="1907541"/>
                </a:moveTo>
                <a:cubicBezTo>
                  <a:pt x="5491717" y="1907968"/>
                  <a:pt x="5492998" y="1910101"/>
                  <a:pt x="5493851" y="1911240"/>
                </a:cubicBezTo>
                <a:cubicBezTo>
                  <a:pt x="5492784" y="1911809"/>
                  <a:pt x="5493424" y="1912947"/>
                  <a:pt x="5492571" y="1913517"/>
                </a:cubicBezTo>
                <a:cubicBezTo>
                  <a:pt x="5491290" y="1915792"/>
                  <a:pt x="5491290" y="1915935"/>
                  <a:pt x="5489796" y="1915508"/>
                </a:cubicBezTo>
                <a:cubicBezTo>
                  <a:pt x="5488089" y="1915081"/>
                  <a:pt x="5486808" y="1911240"/>
                  <a:pt x="5485101" y="1910813"/>
                </a:cubicBezTo>
                <a:cubicBezTo>
                  <a:pt x="5485101" y="1910813"/>
                  <a:pt x="5485101" y="1910671"/>
                  <a:pt x="5486381" y="1908395"/>
                </a:cubicBezTo>
                <a:cubicBezTo>
                  <a:pt x="5487448" y="1907683"/>
                  <a:pt x="5488303" y="1907114"/>
                  <a:pt x="5490010" y="1907541"/>
                </a:cubicBezTo>
                <a:close/>
                <a:moveTo>
                  <a:pt x="5106708" y="1906972"/>
                </a:moveTo>
                <a:cubicBezTo>
                  <a:pt x="5108201" y="1907399"/>
                  <a:pt x="5109482" y="1908110"/>
                  <a:pt x="5110976" y="1909533"/>
                </a:cubicBezTo>
                <a:cubicBezTo>
                  <a:pt x="5106708" y="1909675"/>
                  <a:pt x="5105000" y="1910244"/>
                  <a:pt x="5102226" y="1907256"/>
                </a:cubicBezTo>
                <a:cubicBezTo>
                  <a:pt x="5103933" y="1906829"/>
                  <a:pt x="5105427" y="1906687"/>
                  <a:pt x="5106708" y="1906972"/>
                </a:cubicBezTo>
                <a:close/>
                <a:moveTo>
                  <a:pt x="4962863" y="1906687"/>
                </a:moveTo>
                <a:cubicBezTo>
                  <a:pt x="4962863" y="1906687"/>
                  <a:pt x="4965851" y="1909248"/>
                  <a:pt x="4965851" y="1909248"/>
                </a:cubicBezTo>
                <a:cubicBezTo>
                  <a:pt x="4965637" y="1910955"/>
                  <a:pt x="4965637" y="1910955"/>
                  <a:pt x="4964783" y="1909817"/>
                </a:cubicBezTo>
                <a:cubicBezTo>
                  <a:pt x="4963716" y="1912236"/>
                  <a:pt x="4962650" y="1912947"/>
                  <a:pt x="4961795" y="1913517"/>
                </a:cubicBezTo>
                <a:cubicBezTo>
                  <a:pt x="4960088" y="1913090"/>
                  <a:pt x="4958595" y="1910955"/>
                  <a:pt x="4958167" y="1908252"/>
                </a:cubicBezTo>
                <a:cubicBezTo>
                  <a:pt x="4959875" y="1908679"/>
                  <a:pt x="4961155" y="1906403"/>
                  <a:pt x="4962863" y="1906687"/>
                </a:cubicBezTo>
                <a:close/>
                <a:moveTo>
                  <a:pt x="1348527" y="1906486"/>
                </a:moveTo>
                <a:cubicBezTo>
                  <a:pt x="1349662" y="1906951"/>
                  <a:pt x="1352450" y="1908655"/>
                  <a:pt x="1351934" y="1911597"/>
                </a:cubicBezTo>
                <a:lnTo>
                  <a:pt x="1352037" y="1912062"/>
                </a:lnTo>
                <a:lnTo>
                  <a:pt x="1353793" y="1910513"/>
                </a:lnTo>
                <a:cubicBezTo>
                  <a:pt x="1356477" y="1908655"/>
                  <a:pt x="1359162" y="1907725"/>
                  <a:pt x="1361950" y="1908035"/>
                </a:cubicBezTo>
                <a:lnTo>
                  <a:pt x="1364118" y="1908964"/>
                </a:lnTo>
                <a:lnTo>
                  <a:pt x="1365873" y="1908190"/>
                </a:lnTo>
                <a:cubicBezTo>
                  <a:pt x="1369591" y="1906796"/>
                  <a:pt x="1373721" y="1906176"/>
                  <a:pt x="1378884" y="1906951"/>
                </a:cubicBezTo>
                <a:cubicBezTo>
                  <a:pt x="1377438" y="1911597"/>
                  <a:pt x="1373308" y="1913766"/>
                  <a:pt x="1368661" y="1914385"/>
                </a:cubicBezTo>
                <a:lnTo>
                  <a:pt x="1365667" y="1914385"/>
                </a:lnTo>
                <a:lnTo>
                  <a:pt x="1363912" y="1917019"/>
                </a:lnTo>
                <a:cubicBezTo>
                  <a:pt x="1359059" y="1920891"/>
                  <a:pt x="1350282" y="1921666"/>
                  <a:pt x="1349353" y="1917174"/>
                </a:cubicBezTo>
                <a:cubicBezTo>
                  <a:pt x="1349249" y="1916244"/>
                  <a:pt x="1349353" y="1915315"/>
                  <a:pt x="1349869" y="1913921"/>
                </a:cubicBezTo>
                <a:lnTo>
                  <a:pt x="1350178" y="1913611"/>
                </a:lnTo>
                <a:lnTo>
                  <a:pt x="1349869" y="1912837"/>
                </a:lnTo>
                <a:cubicBezTo>
                  <a:pt x="1349043" y="1910978"/>
                  <a:pt x="1348320" y="1908964"/>
                  <a:pt x="1348527" y="1906486"/>
                </a:cubicBezTo>
                <a:close/>
                <a:moveTo>
                  <a:pt x="1589939" y="1906021"/>
                </a:moveTo>
                <a:cubicBezTo>
                  <a:pt x="1589939" y="1906021"/>
                  <a:pt x="1590249" y="1906796"/>
                  <a:pt x="1590249" y="1906796"/>
                </a:cubicBezTo>
                <a:cubicBezTo>
                  <a:pt x="1589836" y="1909584"/>
                  <a:pt x="1588597" y="1909119"/>
                  <a:pt x="1586326" y="1908345"/>
                </a:cubicBezTo>
                <a:cubicBezTo>
                  <a:pt x="1586326" y="1907415"/>
                  <a:pt x="1586429" y="1906641"/>
                  <a:pt x="1586945" y="1906176"/>
                </a:cubicBezTo>
                <a:cubicBezTo>
                  <a:pt x="1587461" y="1905866"/>
                  <a:pt x="1588287" y="1905711"/>
                  <a:pt x="1589939" y="1906021"/>
                </a:cubicBezTo>
                <a:close/>
                <a:moveTo>
                  <a:pt x="3705607" y="1905264"/>
                </a:moveTo>
                <a:cubicBezTo>
                  <a:pt x="3717345" y="1904553"/>
                  <a:pt x="3719479" y="1912663"/>
                  <a:pt x="3716491" y="1917642"/>
                </a:cubicBezTo>
                <a:cubicBezTo>
                  <a:pt x="3715638" y="1919207"/>
                  <a:pt x="3713930" y="1920488"/>
                  <a:pt x="3712009" y="1920914"/>
                </a:cubicBezTo>
                <a:cubicBezTo>
                  <a:pt x="3709449" y="1921626"/>
                  <a:pt x="3706034" y="1920772"/>
                  <a:pt x="3702405" y="1917500"/>
                </a:cubicBezTo>
                <a:cubicBezTo>
                  <a:pt x="3701979" y="1911524"/>
                  <a:pt x="3704540" y="1909248"/>
                  <a:pt x="3705607" y="1905264"/>
                </a:cubicBezTo>
                <a:close/>
                <a:moveTo>
                  <a:pt x="3824268" y="1905122"/>
                </a:moveTo>
                <a:lnTo>
                  <a:pt x="3830671" y="1911524"/>
                </a:lnTo>
                <a:lnTo>
                  <a:pt x="3831524" y="1911524"/>
                </a:lnTo>
                <a:lnTo>
                  <a:pt x="3833232" y="1914228"/>
                </a:lnTo>
                <a:lnTo>
                  <a:pt x="3839421" y="1920202"/>
                </a:lnTo>
                <a:lnTo>
                  <a:pt x="3840915" y="1920202"/>
                </a:lnTo>
                <a:cubicBezTo>
                  <a:pt x="3854147" y="1923048"/>
                  <a:pt x="3853080" y="1948372"/>
                  <a:pt x="3857135" y="1962172"/>
                </a:cubicBezTo>
                <a:cubicBezTo>
                  <a:pt x="3851586" y="1965587"/>
                  <a:pt x="3847744" y="1967578"/>
                  <a:pt x="3843690" y="1968717"/>
                </a:cubicBezTo>
                <a:lnTo>
                  <a:pt x="3838568" y="1969143"/>
                </a:lnTo>
                <a:lnTo>
                  <a:pt x="3833232" y="1981379"/>
                </a:lnTo>
                <a:lnTo>
                  <a:pt x="3829390" y="1969712"/>
                </a:lnTo>
                <a:lnTo>
                  <a:pt x="3828750" y="1969855"/>
                </a:lnTo>
                <a:cubicBezTo>
                  <a:pt x="3823201" y="1962457"/>
                  <a:pt x="3820854" y="1955058"/>
                  <a:pt x="3820427" y="1947803"/>
                </a:cubicBezTo>
                <a:lnTo>
                  <a:pt x="3820854" y="1940832"/>
                </a:lnTo>
                <a:lnTo>
                  <a:pt x="3819573" y="1926463"/>
                </a:lnTo>
                <a:lnTo>
                  <a:pt x="3821921" y="1916219"/>
                </a:lnTo>
                <a:lnTo>
                  <a:pt x="3821707" y="1915081"/>
                </a:lnTo>
                <a:lnTo>
                  <a:pt x="3822134" y="1914796"/>
                </a:lnTo>
                <a:close/>
                <a:moveTo>
                  <a:pt x="5556597" y="1904838"/>
                </a:moveTo>
                <a:cubicBezTo>
                  <a:pt x="5557664" y="1904411"/>
                  <a:pt x="5558731" y="1904269"/>
                  <a:pt x="5560012" y="1904838"/>
                </a:cubicBezTo>
                <a:cubicBezTo>
                  <a:pt x="5562145" y="1905691"/>
                  <a:pt x="5564066" y="1908395"/>
                  <a:pt x="5564707" y="1912236"/>
                </a:cubicBezTo>
                <a:cubicBezTo>
                  <a:pt x="5562145" y="1913231"/>
                  <a:pt x="5559798" y="1913090"/>
                  <a:pt x="5557877" y="1912236"/>
                </a:cubicBezTo>
                <a:lnTo>
                  <a:pt x="5556810" y="1910955"/>
                </a:lnTo>
                <a:lnTo>
                  <a:pt x="5555743" y="1910101"/>
                </a:lnTo>
                <a:lnTo>
                  <a:pt x="5553609" y="1907683"/>
                </a:lnTo>
                <a:cubicBezTo>
                  <a:pt x="5554462" y="1906118"/>
                  <a:pt x="5555529" y="1905264"/>
                  <a:pt x="5556597" y="1904838"/>
                </a:cubicBezTo>
                <a:close/>
                <a:moveTo>
                  <a:pt x="5230918" y="1904838"/>
                </a:moveTo>
                <a:cubicBezTo>
                  <a:pt x="5231772" y="1904553"/>
                  <a:pt x="5232839" y="1904553"/>
                  <a:pt x="5233906" y="1904838"/>
                </a:cubicBezTo>
                <a:cubicBezTo>
                  <a:pt x="5235827" y="1910244"/>
                  <a:pt x="5231772" y="1916219"/>
                  <a:pt x="5225369" y="1912947"/>
                </a:cubicBezTo>
                <a:cubicBezTo>
                  <a:pt x="5226863" y="1909391"/>
                  <a:pt x="5228357" y="1905691"/>
                  <a:pt x="5230918" y="1904838"/>
                </a:cubicBezTo>
                <a:close/>
                <a:moveTo>
                  <a:pt x="3517157" y="1904838"/>
                </a:moveTo>
                <a:cubicBezTo>
                  <a:pt x="3518438" y="1904411"/>
                  <a:pt x="3519718" y="1904695"/>
                  <a:pt x="3520572" y="1906260"/>
                </a:cubicBezTo>
                <a:cubicBezTo>
                  <a:pt x="3519932" y="1908821"/>
                  <a:pt x="3518224" y="1911809"/>
                  <a:pt x="3516303" y="1914796"/>
                </a:cubicBezTo>
                <a:cubicBezTo>
                  <a:pt x="3509901" y="1913943"/>
                  <a:pt x="3513529" y="1906118"/>
                  <a:pt x="3517157" y="1904838"/>
                </a:cubicBezTo>
                <a:close/>
                <a:moveTo>
                  <a:pt x="1352037" y="1904162"/>
                </a:moveTo>
                <a:cubicBezTo>
                  <a:pt x="1353173" y="1904627"/>
                  <a:pt x="1353586" y="1905247"/>
                  <a:pt x="1354722" y="1905711"/>
                </a:cubicBezTo>
                <a:cubicBezTo>
                  <a:pt x="1355548" y="1903698"/>
                  <a:pt x="1354722" y="1904007"/>
                  <a:pt x="1355858" y="1904472"/>
                </a:cubicBezTo>
                <a:cubicBezTo>
                  <a:pt x="1355858" y="1904472"/>
                  <a:pt x="1355858" y="1904472"/>
                  <a:pt x="1357097" y="1904937"/>
                </a:cubicBezTo>
                <a:cubicBezTo>
                  <a:pt x="1357097" y="1904937"/>
                  <a:pt x="1357820" y="1904472"/>
                  <a:pt x="1357406" y="1907415"/>
                </a:cubicBezTo>
                <a:cubicBezTo>
                  <a:pt x="1356271" y="1906951"/>
                  <a:pt x="1352760" y="1905711"/>
                  <a:pt x="1352760" y="1905711"/>
                </a:cubicBezTo>
                <a:cubicBezTo>
                  <a:pt x="1352037" y="1906021"/>
                  <a:pt x="1352037" y="1905866"/>
                  <a:pt x="1350901" y="1905402"/>
                </a:cubicBezTo>
                <a:cubicBezTo>
                  <a:pt x="1351211" y="1904317"/>
                  <a:pt x="1351211" y="1904472"/>
                  <a:pt x="1352037" y="1904162"/>
                </a:cubicBezTo>
                <a:close/>
                <a:moveTo>
                  <a:pt x="1598820" y="1903388"/>
                </a:moveTo>
                <a:cubicBezTo>
                  <a:pt x="1599645" y="1903078"/>
                  <a:pt x="1599955" y="1905711"/>
                  <a:pt x="1599955" y="1905711"/>
                </a:cubicBezTo>
                <a:cubicBezTo>
                  <a:pt x="1599542" y="1906796"/>
                  <a:pt x="1596341" y="1906176"/>
                  <a:pt x="1595619" y="1906486"/>
                </a:cubicBezTo>
                <a:cubicBezTo>
                  <a:pt x="1595205" y="1905711"/>
                  <a:pt x="1595619" y="1904627"/>
                  <a:pt x="1595205" y="1903853"/>
                </a:cubicBezTo>
                <a:cubicBezTo>
                  <a:pt x="1596032" y="1903543"/>
                  <a:pt x="1597580" y="1902923"/>
                  <a:pt x="1598820" y="1903388"/>
                </a:cubicBezTo>
                <a:close/>
                <a:moveTo>
                  <a:pt x="1283578" y="1903388"/>
                </a:moveTo>
                <a:cubicBezTo>
                  <a:pt x="1286057" y="1904937"/>
                  <a:pt x="1288638" y="1904007"/>
                  <a:pt x="1291116" y="1905557"/>
                </a:cubicBezTo>
                <a:cubicBezTo>
                  <a:pt x="1291116" y="1905557"/>
                  <a:pt x="1291116" y="1905557"/>
                  <a:pt x="1290187" y="1906486"/>
                </a:cubicBezTo>
                <a:cubicBezTo>
                  <a:pt x="1286057" y="1904937"/>
                  <a:pt x="1281720" y="1906951"/>
                  <a:pt x="1277590" y="1904472"/>
                </a:cubicBezTo>
                <a:cubicBezTo>
                  <a:pt x="1278519" y="1903543"/>
                  <a:pt x="1281203" y="1901684"/>
                  <a:pt x="1283578" y="1903388"/>
                </a:cubicBezTo>
                <a:close/>
                <a:moveTo>
                  <a:pt x="1496493" y="1902614"/>
                </a:moveTo>
                <a:cubicBezTo>
                  <a:pt x="1497319" y="1904627"/>
                  <a:pt x="1497215" y="1907570"/>
                  <a:pt x="1496183" y="1910823"/>
                </a:cubicBezTo>
                <a:lnTo>
                  <a:pt x="1494531" y="1914076"/>
                </a:lnTo>
                <a:lnTo>
                  <a:pt x="1494840" y="1914076"/>
                </a:lnTo>
                <a:cubicBezTo>
                  <a:pt x="1496079" y="1915005"/>
                  <a:pt x="1496390" y="1915935"/>
                  <a:pt x="1496183" y="1916864"/>
                </a:cubicBezTo>
                <a:cubicBezTo>
                  <a:pt x="1495976" y="1917793"/>
                  <a:pt x="1495150" y="1918878"/>
                  <a:pt x="1494118" y="1920117"/>
                </a:cubicBezTo>
                <a:cubicBezTo>
                  <a:pt x="1493085" y="1921511"/>
                  <a:pt x="1491949" y="1921821"/>
                  <a:pt x="1490813" y="1922130"/>
                </a:cubicBezTo>
                <a:lnTo>
                  <a:pt x="1488645" y="1923060"/>
                </a:lnTo>
                <a:lnTo>
                  <a:pt x="1483586" y="1927861"/>
                </a:lnTo>
                <a:cubicBezTo>
                  <a:pt x="1480798" y="1929565"/>
                  <a:pt x="1477906" y="1930185"/>
                  <a:pt x="1475222" y="1929101"/>
                </a:cubicBezTo>
                <a:cubicBezTo>
                  <a:pt x="1485754" y="1921975"/>
                  <a:pt x="1483689" y="1908655"/>
                  <a:pt x="1496493" y="1902614"/>
                </a:cubicBezTo>
                <a:close/>
                <a:moveTo>
                  <a:pt x="1487612" y="1902614"/>
                </a:moveTo>
                <a:cubicBezTo>
                  <a:pt x="1488542" y="1903388"/>
                  <a:pt x="1488438" y="1905092"/>
                  <a:pt x="1487406" y="1906951"/>
                </a:cubicBezTo>
                <a:cubicBezTo>
                  <a:pt x="1486580" y="1906021"/>
                  <a:pt x="1484722" y="1906951"/>
                  <a:pt x="1483895" y="1906176"/>
                </a:cubicBezTo>
                <a:cubicBezTo>
                  <a:pt x="1483895" y="1906176"/>
                  <a:pt x="1483069" y="1903698"/>
                  <a:pt x="1483069" y="1903698"/>
                </a:cubicBezTo>
                <a:cubicBezTo>
                  <a:pt x="1484102" y="1902768"/>
                  <a:pt x="1484102" y="1902768"/>
                  <a:pt x="1483999" y="1903698"/>
                </a:cubicBezTo>
                <a:cubicBezTo>
                  <a:pt x="1485857" y="1902768"/>
                  <a:pt x="1486787" y="1902614"/>
                  <a:pt x="1487612" y="1902614"/>
                </a:cubicBezTo>
                <a:close/>
                <a:moveTo>
                  <a:pt x="934263" y="1902614"/>
                </a:moveTo>
                <a:cubicBezTo>
                  <a:pt x="940768" y="1905557"/>
                  <a:pt x="944898" y="1910358"/>
                  <a:pt x="946860" y="1915780"/>
                </a:cubicBezTo>
                <a:cubicBezTo>
                  <a:pt x="950267" y="1924609"/>
                  <a:pt x="947479" y="1934987"/>
                  <a:pt x="939426" y="1940873"/>
                </a:cubicBezTo>
                <a:cubicBezTo>
                  <a:pt x="938290" y="1940253"/>
                  <a:pt x="937257" y="1939634"/>
                  <a:pt x="936741" y="1940563"/>
                </a:cubicBezTo>
                <a:cubicBezTo>
                  <a:pt x="929409" y="1936691"/>
                  <a:pt x="925279" y="1928791"/>
                  <a:pt x="924763" y="1920891"/>
                </a:cubicBezTo>
                <a:cubicBezTo>
                  <a:pt x="924247" y="1913146"/>
                  <a:pt x="927241" y="1905711"/>
                  <a:pt x="934263" y="1902614"/>
                </a:cubicBezTo>
                <a:close/>
                <a:moveTo>
                  <a:pt x="5954625" y="1902277"/>
                </a:moveTo>
                <a:cubicBezTo>
                  <a:pt x="5954625" y="1902277"/>
                  <a:pt x="5955051" y="1902988"/>
                  <a:pt x="5955691" y="1903842"/>
                </a:cubicBezTo>
                <a:cubicBezTo>
                  <a:pt x="5956118" y="1904695"/>
                  <a:pt x="5956545" y="1905834"/>
                  <a:pt x="5956332" y="1906545"/>
                </a:cubicBezTo>
                <a:cubicBezTo>
                  <a:pt x="5955905" y="1909248"/>
                  <a:pt x="5951637" y="1907683"/>
                  <a:pt x="5950356" y="1908110"/>
                </a:cubicBezTo>
                <a:cubicBezTo>
                  <a:pt x="5948862" y="1907683"/>
                  <a:pt x="5947582" y="1907114"/>
                  <a:pt x="5948222" y="1905549"/>
                </a:cubicBezTo>
                <a:cubicBezTo>
                  <a:pt x="5948862" y="1903842"/>
                  <a:pt x="5948435" y="1902846"/>
                  <a:pt x="5950996" y="1902846"/>
                </a:cubicBezTo>
                <a:cubicBezTo>
                  <a:pt x="5952063" y="1902277"/>
                  <a:pt x="5953558" y="1902846"/>
                  <a:pt x="5954625" y="1902277"/>
                </a:cubicBezTo>
                <a:close/>
                <a:moveTo>
                  <a:pt x="5564066" y="1902134"/>
                </a:moveTo>
                <a:cubicBezTo>
                  <a:pt x="5566627" y="1903842"/>
                  <a:pt x="5568335" y="1903273"/>
                  <a:pt x="5567481" y="1904411"/>
                </a:cubicBezTo>
                <a:cubicBezTo>
                  <a:pt x="5568548" y="1904981"/>
                  <a:pt x="5567695" y="1905976"/>
                  <a:pt x="5566840" y="1905407"/>
                </a:cubicBezTo>
                <a:cubicBezTo>
                  <a:pt x="5564707" y="1906972"/>
                  <a:pt x="5564280" y="1903700"/>
                  <a:pt x="5564066" y="1902134"/>
                </a:cubicBezTo>
                <a:close/>
                <a:moveTo>
                  <a:pt x="1276040" y="1901994"/>
                </a:moveTo>
                <a:cubicBezTo>
                  <a:pt x="1277693" y="1902768"/>
                  <a:pt x="1270258" y="1912372"/>
                  <a:pt x="1268400" y="1915005"/>
                </a:cubicBezTo>
                <a:cubicBezTo>
                  <a:pt x="1267573" y="1915005"/>
                  <a:pt x="1267573" y="1915005"/>
                  <a:pt x="1267573" y="1915005"/>
                </a:cubicBezTo>
                <a:cubicBezTo>
                  <a:pt x="1266748" y="1914695"/>
                  <a:pt x="1266541" y="1914076"/>
                  <a:pt x="1266748" y="1913146"/>
                </a:cubicBezTo>
                <a:cubicBezTo>
                  <a:pt x="1267057" y="1912372"/>
                  <a:pt x="1267677" y="1911288"/>
                  <a:pt x="1268606" y="1909893"/>
                </a:cubicBezTo>
                <a:cubicBezTo>
                  <a:pt x="1270568" y="1907260"/>
                  <a:pt x="1274182" y="1904627"/>
                  <a:pt x="1275008" y="1903698"/>
                </a:cubicBezTo>
                <a:cubicBezTo>
                  <a:pt x="1275937" y="1902768"/>
                  <a:pt x="1276040" y="1901994"/>
                  <a:pt x="1276040" y="1901994"/>
                </a:cubicBezTo>
                <a:close/>
                <a:moveTo>
                  <a:pt x="5132531" y="1901565"/>
                </a:moveTo>
                <a:cubicBezTo>
                  <a:pt x="5133812" y="1901565"/>
                  <a:pt x="5134026" y="1902134"/>
                  <a:pt x="5133812" y="1902988"/>
                </a:cubicBezTo>
                <a:cubicBezTo>
                  <a:pt x="5133812" y="1903842"/>
                  <a:pt x="5133385" y="1904981"/>
                  <a:pt x="5133172" y="1906403"/>
                </a:cubicBezTo>
                <a:lnTo>
                  <a:pt x="5128690" y="1904695"/>
                </a:lnTo>
                <a:cubicBezTo>
                  <a:pt x="5129330" y="1903130"/>
                  <a:pt x="5131038" y="1900997"/>
                  <a:pt x="5132531" y="1901565"/>
                </a:cubicBezTo>
                <a:close/>
                <a:moveTo>
                  <a:pt x="4984205" y="1901281"/>
                </a:moveTo>
                <a:cubicBezTo>
                  <a:pt x="4985699" y="1901708"/>
                  <a:pt x="4986339" y="1903130"/>
                  <a:pt x="4986552" y="1904695"/>
                </a:cubicBezTo>
                <a:cubicBezTo>
                  <a:pt x="4986979" y="1910101"/>
                  <a:pt x="4980363" y="1918638"/>
                  <a:pt x="4976522" y="1903984"/>
                </a:cubicBezTo>
                <a:cubicBezTo>
                  <a:pt x="4980150" y="1901708"/>
                  <a:pt x="4982497" y="1900997"/>
                  <a:pt x="4984205" y="1901281"/>
                </a:cubicBezTo>
                <a:close/>
                <a:moveTo>
                  <a:pt x="4633770" y="1901281"/>
                </a:moveTo>
                <a:lnTo>
                  <a:pt x="4633343" y="1905122"/>
                </a:lnTo>
                <a:lnTo>
                  <a:pt x="4633343" y="1905264"/>
                </a:lnTo>
                <a:lnTo>
                  <a:pt x="4644867" y="1902277"/>
                </a:lnTo>
                <a:lnTo>
                  <a:pt x="4640812" y="1901281"/>
                </a:lnTo>
                <a:close/>
                <a:moveTo>
                  <a:pt x="3488132" y="1901139"/>
                </a:moveTo>
                <a:cubicBezTo>
                  <a:pt x="3486425" y="1903273"/>
                  <a:pt x="3482797" y="1906260"/>
                  <a:pt x="3479809" y="1905264"/>
                </a:cubicBezTo>
                <a:cubicBezTo>
                  <a:pt x="3479809" y="1905264"/>
                  <a:pt x="3479809" y="1905264"/>
                  <a:pt x="3478315" y="1904695"/>
                </a:cubicBezTo>
                <a:cubicBezTo>
                  <a:pt x="3481516" y="1903130"/>
                  <a:pt x="3485785" y="1901139"/>
                  <a:pt x="3488132" y="1901139"/>
                </a:cubicBezTo>
                <a:close/>
                <a:moveTo>
                  <a:pt x="1509090" y="1900445"/>
                </a:moveTo>
                <a:cubicBezTo>
                  <a:pt x="1510226" y="1900445"/>
                  <a:pt x="1512188" y="1899980"/>
                  <a:pt x="1513943" y="1900755"/>
                </a:cubicBezTo>
                <a:cubicBezTo>
                  <a:pt x="1514975" y="1905247"/>
                  <a:pt x="1510329" y="1905092"/>
                  <a:pt x="1508883" y="1903078"/>
                </a:cubicBezTo>
                <a:cubicBezTo>
                  <a:pt x="1508470" y="1902459"/>
                  <a:pt x="1508470" y="1901374"/>
                  <a:pt x="1509090" y="1900445"/>
                </a:cubicBezTo>
                <a:close/>
                <a:moveTo>
                  <a:pt x="861957" y="1900387"/>
                </a:moveTo>
                <a:cubicBezTo>
                  <a:pt x="864513" y="1899400"/>
                  <a:pt x="867559" y="1899593"/>
                  <a:pt x="871173" y="1901994"/>
                </a:cubicBezTo>
                <a:cubicBezTo>
                  <a:pt x="873031" y="1902614"/>
                  <a:pt x="872102" y="1902768"/>
                  <a:pt x="873031" y="1903388"/>
                </a:cubicBezTo>
                <a:cubicBezTo>
                  <a:pt x="873961" y="1904162"/>
                  <a:pt x="875716" y="1904782"/>
                  <a:pt x="876542" y="1904627"/>
                </a:cubicBezTo>
                <a:cubicBezTo>
                  <a:pt x="874167" y="1908345"/>
                  <a:pt x="876852" y="1909584"/>
                  <a:pt x="872825" y="1915315"/>
                </a:cubicBezTo>
                <a:cubicBezTo>
                  <a:pt x="869211" y="1920891"/>
                  <a:pt x="864874" y="1921821"/>
                  <a:pt x="861363" y="1921046"/>
                </a:cubicBezTo>
                <a:lnTo>
                  <a:pt x="858782" y="1920117"/>
                </a:lnTo>
                <a:lnTo>
                  <a:pt x="857027" y="1921975"/>
                </a:lnTo>
                <a:cubicBezTo>
                  <a:pt x="852174" y="1915625"/>
                  <a:pt x="848250" y="1924918"/>
                  <a:pt x="844223" y="1920117"/>
                </a:cubicBezTo>
                <a:cubicBezTo>
                  <a:pt x="843603" y="1917638"/>
                  <a:pt x="842158" y="1915160"/>
                  <a:pt x="842571" y="1912372"/>
                </a:cubicBezTo>
                <a:cubicBezTo>
                  <a:pt x="842674" y="1911442"/>
                  <a:pt x="843088" y="1910358"/>
                  <a:pt x="843810" y="1909274"/>
                </a:cubicBezTo>
                <a:cubicBezTo>
                  <a:pt x="846701" y="1911288"/>
                  <a:pt x="849490" y="1912372"/>
                  <a:pt x="852277" y="1913301"/>
                </a:cubicBezTo>
                <a:lnTo>
                  <a:pt x="854549" y="1914076"/>
                </a:lnTo>
                <a:lnTo>
                  <a:pt x="853826" y="1911442"/>
                </a:lnTo>
                <a:cubicBezTo>
                  <a:pt x="853826" y="1909893"/>
                  <a:pt x="854342" y="1908035"/>
                  <a:pt x="855685" y="1905866"/>
                </a:cubicBezTo>
                <a:cubicBezTo>
                  <a:pt x="857337" y="1903543"/>
                  <a:pt x="859402" y="1901374"/>
                  <a:pt x="861957" y="1900387"/>
                </a:cubicBezTo>
                <a:close/>
                <a:moveTo>
                  <a:pt x="3910917" y="1900285"/>
                </a:moveTo>
                <a:cubicBezTo>
                  <a:pt x="3912197" y="1900143"/>
                  <a:pt x="3913264" y="1900285"/>
                  <a:pt x="3913905" y="1900854"/>
                </a:cubicBezTo>
                <a:cubicBezTo>
                  <a:pt x="3914545" y="1901565"/>
                  <a:pt x="3914758" y="1902704"/>
                  <a:pt x="3914545" y="1904838"/>
                </a:cubicBezTo>
                <a:cubicBezTo>
                  <a:pt x="3914545" y="1904838"/>
                  <a:pt x="3913478" y="1905549"/>
                  <a:pt x="3913478" y="1905549"/>
                </a:cubicBezTo>
                <a:cubicBezTo>
                  <a:pt x="3909423" y="1905264"/>
                  <a:pt x="3910063" y="1903557"/>
                  <a:pt x="3910917" y="1900285"/>
                </a:cubicBezTo>
                <a:close/>
                <a:moveTo>
                  <a:pt x="1071284" y="1899826"/>
                </a:moveTo>
                <a:cubicBezTo>
                  <a:pt x="1074381" y="1902149"/>
                  <a:pt x="1071903" y="1905402"/>
                  <a:pt x="1069528" y="1904937"/>
                </a:cubicBezTo>
                <a:cubicBezTo>
                  <a:pt x="1068702" y="1904937"/>
                  <a:pt x="1067979" y="1904317"/>
                  <a:pt x="1067463" y="1903233"/>
                </a:cubicBezTo>
                <a:cubicBezTo>
                  <a:pt x="1068392" y="1901839"/>
                  <a:pt x="1069425" y="1901064"/>
                  <a:pt x="1071284" y="1899826"/>
                </a:cubicBezTo>
                <a:close/>
                <a:moveTo>
                  <a:pt x="5144483" y="1899716"/>
                </a:moveTo>
                <a:lnTo>
                  <a:pt x="5142562" y="1899859"/>
                </a:lnTo>
                <a:lnTo>
                  <a:pt x="5142989" y="1900285"/>
                </a:lnTo>
                <a:cubicBezTo>
                  <a:pt x="5143202" y="1900427"/>
                  <a:pt x="5143629" y="1900570"/>
                  <a:pt x="5143843" y="1900997"/>
                </a:cubicBezTo>
                <a:lnTo>
                  <a:pt x="5144056" y="1901565"/>
                </a:lnTo>
                <a:close/>
                <a:moveTo>
                  <a:pt x="5529919" y="1899432"/>
                </a:moveTo>
                <a:cubicBezTo>
                  <a:pt x="5531627" y="1899859"/>
                  <a:pt x="5532694" y="1900427"/>
                  <a:pt x="5533547" y="1901423"/>
                </a:cubicBezTo>
                <a:cubicBezTo>
                  <a:pt x="5534401" y="1902419"/>
                  <a:pt x="5534828" y="1903557"/>
                  <a:pt x="5535041" y="1904838"/>
                </a:cubicBezTo>
                <a:cubicBezTo>
                  <a:pt x="5534614" y="1906545"/>
                  <a:pt x="5532907" y="1907825"/>
                  <a:pt x="5529279" y="1908679"/>
                </a:cubicBezTo>
                <a:cubicBezTo>
                  <a:pt x="5527144" y="1907114"/>
                  <a:pt x="5527785" y="1902277"/>
                  <a:pt x="5527358" y="1899574"/>
                </a:cubicBezTo>
                <a:cubicBezTo>
                  <a:pt x="5529065" y="1900000"/>
                  <a:pt x="5530559" y="1900427"/>
                  <a:pt x="5529919" y="1899432"/>
                </a:cubicBezTo>
                <a:close/>
                <a:moveTo>
                  <a:pt x="1528605" y="1898586"/>
                </a:moveTo>
                <a:cubicBezTo>
                  <a:pt x="1530773" y="1899826"/>
                  <a:pt x="1532013" y="1902459"/>
                  <a:pt x="1532116" y="1905402"/>
                </a:cubicBezTo>
                <a:cubicBezTo>
                  <a:pt x="1527263" y="1906641"/>
                  <a:pt x="1524372" y="1904937"/>
                  <a:pt x="1521687" y="1901529"/>
                </a:cubicBezTo>
                <a:cubicBezTo>
                  <a:pt x="1522616" y="1900136"/>
                  <a:pt x="1526230" y="1899206"/>
                  <a:pt x="1528605" y="1898586"/>
                </a:cubicBezTo>
                <a:close/>
                <a:moveTo>
                  <a:pt x="3542128" y="1898435"/>
                </a:moveTo>
                <a:cubicBezTo>
                  <a:pt x="3543194" y="1899859"/>
                  <a:pt x="3545329" y="1901565"/>
                  <a:pt x="3546182" y="1904126"/>
                </a:cubicBezTo>
                <a:cubicBezTo>
                  <a:pt x="3541701" y="1911524"/>
                  <a:pt x="3536152" y="1899432"/>
                  <a:pt x="3542128" y="1898435"/>
                </a:cubicBezTo>
                <a:close/>
                <a:moveTo>
                  <a:pt x="1301029" y="1898432"/>
                </a:moveTo>
                <a:cubicBezTo>
                  <a:pt x="1303610" y="1899206"/>
                  <a:pt x="1305262" y="1899980"/>
                  <a:pt x="1307740" y="1901529"/>
                </a:cubicBezTo>
                <a:cubicBezTo>
                  <a:pt x="1307740" y="1901529"/>
                  <a:pt x="1311044" y="1904627"/>
                  <a:pt x="1309186" y="1907260"/>
                </a:cubicBezTo>
                <a:cubicBezTo>
                  <a:pt x="1309186" y="1908035"/>
                  <a:pt x="1305778" y="1908190"/>
                  <a:pt x="1304952" y="1907415"/>
                </a:cubicBezTo>
                <a:cubicBezTo>
                  <a:pt x="1303300" y="1905866"/>
                  <a:pt x="1302474" y="1905092"/>
                  <a:pt x="1302577" y="1903388"/>
                </a:cubicBezTo>
                <a:cubicBezTo>
                  <a:pt x="1301751" y="1902614"/>
                  <a:pt x="1300822" y="1901839"/>
                  <a:pt x="1300512" y="1900910"/>
                </a:cubicBezTo>
                <a:cubicBezTo>
                  <a:pt x="1300306" y="1900600"/>
                  <a:pt x="1300203" y="1900136"/>
                  <a:pt x="1300306" y="1899670"/>
                </a:cubicBezTo>
                <a:cubicBezTo>
                  <a:pt x="1300306" y="1899360"/>
                  <a:pt x="1300616" y="1898896"/>
                  <a:pt x="1301029" y="1898432"/>
                </a:cubicBezTo>
                <a:close/>
                <a:moveTo>
                  <a:pt x="1497009" y="1897037"/>
                </a:moveTo>
                <a:cubicBezTo>
                  <a:pt x="1498145" y="1897347"/>
                  <a:pt x="1498145" y="1897347"/>
                  <a:pt x="1497835" y="1898432"/>
                </a:cubicBezTo>
                <a:cubicBezTo>
                  <a:pt x="1497112" y="1898741"/>
                  <a:pt x="1496390" y="1899206"/>
                  <a:pt x="1495976" y="1898432"/>
                </a:cubicBezTo>
                <a:cubicBezTo>
                  <a:pt x="1495254" y="1898896"/>
                  <a:pt x="1495254" y="1898896"/>
                  <a:pt x="1494840" y="1898122"/>
                </a:cubicBezTo>
                <a:cubicBezTo>
                  <a:pt x="1495563" y="1897812"/>
                  <a:pt x="1496286" y="1897347"/>
                  <a:pt x="1497009" y="1897037"/>
                </a:cubicBezTo>
                <a:close/>
                <a:moveTo>
                  <a:pt x="986510" y="1896727"/>
                </a:moveTo>
                <a:cubicBezTo>
                  <a:pt x="989195" y="1896417"/>
                  <a:pt x="991776" y="1899360"/>
                  <a:pt x="994977" y="1901219"/>
                </a:cubicBezTo>
                <a:cubicBezTo>
                  <a:pt x="993015" y="1902923"/>
                  <a:pt x="991260" y="1903543"/>
                  <a:pt x="989401" y="1903078"/>
                </a:cubicBezTo>
                <a:cubicBezTo>
                  <a:pt x="987543" y="1902459"/>
                  <a:pt x="985684" y="1900910"/>
                  <a:pt x="983722" y="1898432"/>
                </a:cubicBezTo>
                <a:cubicBezTo>
                  <a:pt x="984652" y="1897347"/>
                  <a:pt x="985581" y="1896882"/>
                  <a:pt x="986510" y="1896727"/>
                </a:cubicBezTo>
                <a:close/>
                <a:moveTo>
                  <a:pt x="5236680" y="1896017"/>
                </a:moveTo>
                <a:cubicBezTo>
                  <a:pt x="5240308" y="1897013"/>
                  <a:pt x="5241803" y="1902277"/>
                  <a:pt x="5244790" y="1906260"/>
                </a:cubicBezTo>
                <a:cubicBezTo>
                  <a:pt x="5241376" y="1907399"/>
                  <a:pt x="5238815" y="1907114"/>
                  <a:pt x="5236894" y="1905407"/>
                </a:cubicBezTo>
                <a:cubicBezTo>
                  <a:pt x="5234760" y="1903700"/>
                  <a:pt x="5233265" y="1900854"/>
                  <a:pt x="5232199" y="1896586"/>
                </a:cubicBezTo>
                <a:cubicBezTo>
                  <a:pt x="5233906" y="1895733"/>
                  <a:pt x="5235400" y="1895590"/>
                  <a:pt x="5236680" y="1896017"/>
                </a:cubicBezTo>
                <a:close/>
                <a:moveTo>
                  <a:pt x="1279551" y="1895953"/>
                </a:moveTo>
                <a:cubicBezTo>
                  <a:pt x="1279551" y="1895953"/>
                  <a:pt x="1279551" y="1895178"/>
                  <a:pt x="1282030" y="1896727"/>
                </a:cubicBezTo>
                <a:cubicBezTo>
                  <a:pt x="1281203" y="1897502"/>
                  <a:pt x="1278415" y="1900136"/>
                  <a:pt x="1278415" y="1900136"/>
                </a:cubicBezTo>
                <a:cubicBezTo>
                  <a:pt x="1278415" y="1901064"/>
                  <a:pt x="1278415" y="1901064"/>
                  <a:pt x="1277590" y="1901839"/>
                </a:cubicBezTo>
                <a:cubicBezTo>
                  <a:pt x="1276763" y="1901064"/>
                  <a:pt x="1276763" y="1901064"/>
                  <a:pt x="1276763" y="1900290"/>
                </a:cubicBezTo>
                <a:cubicBezTo>
                  <a:pt x="1277693" y="1899360"/>
                  <a:pt x="1278519" y="1899360"/>
                  <a:pt x="1279448" y="1898432"/>
                </a:cubicBezTo>
                <a:cubicBezTo>
                  <a:pt x="1277796" y="1896882"/>
                  <a:pt x="1277796" y="1897812"/>
                  <a:pt x="1278622" y="1896882"/>
                </a:cubicBezTo>
                <a:cubicBezTo>
                  <a:pt x="1278622" y="1896882"/>
                  <a:pt x="1278622" y="1896882"/>
                  <a:pt x="1279551" y="1895953"/>
                </a:cubicBezTo>
                <a:close/>
                <a:moveTo>
                  <a:pt x="1098543" y="1895333"/>
                </a:moveTo>
                <a:cubicBezTo>
                  <a:pt x="1098543" y="1896108"/>
                  <a:pt x="1099472" y="1895953"/>
                  <a:pt x="1100298" y="1895798"/>
                </a:cubicBezTo>
                <a:cubicBezTo>
                  <a:pt x="1102157" y="1897347"/>
                  <a:pt x="1104119" y="1899515"/>
                  <a:pt x="1103293" y="1901374"/>
                </a:cubicBezTo>
                <a:cubicBezTo>
                  <a:pt x="1101641" y="1903233"/>
                  <a:pt x="1099782" y="1902768"/>
                  <a:pt x="1098853" y="1901994"/>
                </a:cubicBezTo>
                <a:cubicBezTo>
                  <a:pt x="1097614" y="1901684"/>
                  <a:pt x="1096891" y="1900755"/>
                  <a:pt x="1096581" y="1899515"/>
                </a:cubicBezTo>
                <a:cubicBezTo>
                  <a:pt x="1096271" y="1898276"/>
                  <a:pt x="1096375" y="1896727"/>
                  <a:pt x="1096788" y="1895488"/>
                </a:cubicBezTo>
                <a:cubicBezTo>
                  <a:pt x="1096788" y="1896263"/>
                  <a:pt x="1096788" y="1896263"/>
                  <a:pt x="1096788" y="1896263"/>
                </a:cubicBezTo>
                <a:cubicBezTo>
                  <a:pt x="1097717" y="1897037"/>
                  <a:pt x="1097717" y="1896263"/>
                  <a:pt x="1098543" y="1896108"/>
                </a:cubicBezTo>
                <a:cubicBezTo>
                  <a:pt x="1098543" y="1896108"/>
                  <a:pt x="1097717" y="1896263"/>
                  <a:pt x="1098543" y="1895333"/>
                </a:cubicBezTo>
                <a:close/>
                <a:moveTo>
                  <a:pt x="6144995" y="1895164"/>
                </a:moveTo>
                <a:cubicBezTo>
                  <a:pt x="6152465" y="1895305"/>
                  <a:pt x="6158441" y="1897867"/>
                  <a:pt x="6163562" y="1896302"/>
                </a:cubicBezTo>
                <a:cubicBezTo>
                  <a:pt x="6163562" y="1896302"/>
                  <a:pt x="6163349" y="1896302"/>
                  <a:pt x="6165910" y="1898720"/>
                </a:cubicBezTo>
                <a:cubicBezTo>
                  <a:pt x="6166977" y="1898862"/>
                  <a:pt x="6166977" y="1898862"/>
                  <a:pt x="6166977" y="1898862"/>
                </a:cubicBezTo>
                <a:cubicBezTo>
                  <a:pt x="6168258" y="1898862"/>
                  <a:pt x="6168258" y="1901281"/>
                  <a:pt x="6168258" y="1901281"/>
                </a:cubicBezTo>
                <a:cubicBezTo>
                  <a:pt x="6167191" y="1903700"/>
                  <a:pt x="6163776" y="1902277"/>
                  <a:pt x="6161429" y="1902277"/>
                </a:cubicBezTo>
                <a:cubicBezTo>
                  <a:pt x="6160361" y="1904553"/>
                  <a:pt x="6156733" y="1899574"/>
                  <a:pt x="6155666" y="1901992"/>
                </a:cubicBezTo>
                <a:cubicBezTo>
                  <a:pt x="6150971" y="1896870"/>
                  <a:pt x="6145422" y="1902704"/>
                  <a:pt x="6137098" y="1896302"/>
                </a:cubicBezTo>
                <a:cubicBezTo>
                  <a:pt x="6139873" y="1895448"/>
                  <a:pt x="6142647" y="1895164"/>
                  <a:pt x="6144995" y="1895164"/>
                </a:cubicBezTo>
                <a:close/>
                <a:moveTo>
                  <a:pt x="5020913" y="1894452"/>
                </a:moveTo>
                <a:cubicBezTo>
                  <a:pt x="5022193" y="1894594"/>
                  <a:pt x="5024541" y="1894594"/>
                  <a:pt x="5025821" y="1895875"/>
                </a:cubicBezTo>
                <a:cubicBezTo>
                  <a:pt x="5026889" y="1896017"/>
                  <a:pt x="5025821" y="1899574"/>
                  <a:pt x="5025821" y="1899574"/>
                </a:cubicBezTo>
                <a:cubicBezTo>
                  <a:pt x="5024754" y="1900712"/>
                  <a:pt x="5021126" y="1898151"/>
                  <a:pt x="5019846" y="1898151"/>
                </a:cubicBezTo>
                <a:cubicBezTo>
                  <a:pt x="5019846" y="1896870"/>
                  <a:pt x="5020913" y="1895733"/>
                  <a:pt x="5020913" y="1894452"/>
                </a:cubicBezTo>
                <a:close/>
                <a:moveTo>
                  <a:pt x="1006232" y="1893320"/>
                </a:moveTo>
                <a:cubicBezTo>
                  <a:pt x="1008814" y="1892700"/>
                  <a:pt x="1011911" y="1892700"/>
                  <a:pt x="1015525" y="1893320"/>
                </a:cubicBezTo>
                <a:cubicBezTo>
                  <a:pt x="1025335" y="1895488"/>
                  <a:pt x="1030601" y="1904937"/>
                  <a:pt x="1041442" y="1912062"/>
                </a:cubicBezTo>
                <a:lnTo>
                  <a:pt x="1039377" y="1912837"/>
                </a:lnTo>
                <a:lnTo>
                  <a:pt x="1039894" y="1913766"/>
                </a:lnTo>
                <a:cubicBezTo>
                  <a:pt x="1039171" y="1917019"/>
                  <a:pt x="1036796" y="1919032"/>
                  <a:pt x="1034215" y="1919342"/>
                </a:cubicBezTo>
                <a:lnTo>
                  <a:pt x="1030704" y="1918413"/>
                </a:lnTo>
                <a:lnTo>
                  <a:pt x="1027296" y="1922905"/>
                </a:lnTo>
                <a:cubicBezTo>
                  <a:pt x="1026057" y="1924454"/>
                  <a:pt x="1024818" y="1925693"/>
                  <a:pt x="1023372" y="1926932"/>
                </a:cubicBezTo>
                <a:cubicBezTo>
                  <a:pt x="1021411" y="1928326"/>
                  <a:pt x="1019036" y="1929256"/>
                  <a:pt x="1016041" y="1929256"/>
                </a:cubicBezTo>
                <a:cubicBezTo>
                  <a:pt x="1002412" y="1929721"/>
                  <a:pt x="994874" y="1917484"/>
                  <a:pt x="995597" y="1906951"/>
                </a:cubicBezTo>
                <a:cubicBezTo>
                  <a:pt x="996010" y="1900755"/>
                  <a:pt x="999417" y="1895178"/>
                  <a:pt x="1006232" y="1893320"/>
                </a:cubicBezTo>
                <a:close/>
                <a:moveTo>
                  <a:pt x="5009175" y="1893029"/>
                </a:moveTo>
                <a:cubicBezTo>
                  <a:pt x="5010029" y="1892745"/>
                  <a:pt x="5011309" y="1893029"/>
                  <a:pt x="5013017" y="1894310"/>
                </a:cubicBezTo>
                <a:cubicBezTo>
                  <a:pt x="5013017" y="1894310"/>
                  <a:pt x="5013017" y="1895448"/>
                  <a:pt x="5013017" y="1895448"/>
                </a:cubicBezTo>
                <a:cubicBezTo>
                  <a:pt x="5010882" y="1898862"/>
                  <a:pt x="5009602" y="1897582"/>
                  <a:pt x="5007254" y="1895164"/>
                </a:cubicBezTo>
                <a:cubicBezTo>
                  <a:pt x="5007894" y="1894025"/>
                  <a:pt x="5008321" y="1893172"/>
                  <a:pt x="5009175" y="1893029"/>
                </a:cubicBezTo>
                <a:close/>
                <a:moveTo>
                  <a:pt x="3858415" y="1893029"/>
                </a:moveTo>
                <a:cubicBezTo>
                  <a:pt x="3858415" y="1894310"/>
                  <a:pt x="3858415" y="1898151"/>
                  <a:pt x="3857989" y="1902277"/>
                </a:cubicBezTo>
                <a:lnTo>
                  <a:pt x="3857562" y="1905549"/>
                </a:lnTo>
                <a:lnTo>
                  <a:pt x="3859056" y="1905691"/>
                </a:lnTo>
                <a:cubicBezTo>
                  <a:pt x="3862470" y="1907256"/>
                  <a:pt x="3863324" y="1912378"/>
                  <a:pt x="3866953" y="1916504"/>
                </a:cubicBezTo>
                <a:cubicBezTo>
                  <a:pt x="3864391" y="1918495"/>
                  <a:pt x="3861190" y="1918495"/>
                  <a:pt x="3858415" y="1917215"/>
                </a:cubicBezTo>
                <a:lnTo>
                  <a:pt x="3854787" y="1914654"/>
                </a:lnTo>
                <a:lnTo>
                  <a:pt x="3854787" y="1914512"/>
                </a:lnTo>
                <a:lnTo>
                  <a:pt x="3852866" y="1910813"/>
                </a:lnTo>
                <a:cubicBezTo>
                  <a:pt x="3852653" y="1909106"/>
                  <a:pt x="3853080" y="1907256"/>
                  <a:pt x="3854787" y="1905549"/>
                </a:cubicBezTo>
                <a:lnTo>
                  <a:pt x="3856068" y="1905549"/>
                </a:lnTo>
                <a:lnTo>
                  <a:pt x="3856281" y="1902134"/>
                </a:lnTo>
                <a:cubicBezTo>
                  <a:pt x="3856495" y="1898720"/>
                  <a:pt x="3856922" y="1895448"/>
                  <a:pt x="3858415" y="1893029"/>
                </a:cubicBezTo>
                <a:close/>
                <a:moveTo>
                  <a:pt x="4915911" y="1892745"/>
                </a:moveTo>
                <a:cubicBezTo>
                  <a:pt x="4918898" y="1893029"/>
                  <a:pt x="4921032" y="1895448"/>
                  <a:pt x="4922099" y="1898435"/>
                </a:cubicBezTo>
                <a:lnTo>
                  <a:pt x="4922740" y="1902419"/>
                </a:lnTo>
                <a:lnTo>
                  <a:pt x="4923594" y="1901281"/>
                </a:lnTo>
                <a:cubicBezTo>
                  <a:pt x="4924234" y="1900285"/>
                  <a:pt x="4925087" y="1899574"/>
                  <a:pt x="4925941" y="1899289"/>
                </a:cubicBezTo>
                <a:cubicBezTo>
                  <a:pt x="4937039" y="1902846"/>
                  <a:pt x="4934265" y="1911809"/>
                  <a:pt x="4927862" y="1913374"/>
                </a:cubicBezTo>
                <a:cubicBezTo>
                  <a:pt x="4925728" y="1913943"/>
                  <a:pt x="4923167" y="1913658"/>
                  <a:pt x="4920606" y="1912236"/>
                </a:cubicBezTo>
                <a:lnTo>
                  <a:pt x="4920819" y="1910671"/>
                </a:lnTo>
                <a:lnTo>
                  <a:pt x="4912496" y="1904269"/>
                </a:lnTo>
                <a:cubicBezTo>
                  <a:pt x="4911002" y="1901423"/>
                  <a:pt x="4911002" y="1898009"/>
                  <a:pt x="4912923" y="1893172"/>
                </a:cubicBezTo>
                <a:cubicBezTo>
                  <a:pt x="4913990" y="1892745"/>
                  <a:pt x="4915057" y="1892603"/>
                  <a:pt x="4915911" y="1892745"/>
                </a:cubicBezTo>
                <a:close/>
                <a:moveTo>
                  <a:pt x="1465619" y="1892236"/>
                </a:moveTo>
                <a:cubicBezTo>
                  <a:pt x="1467271" y="1893010"/>
                  <a:pt x="1467684" y="1901839"/>
                  <a:pt x="1463554" y="1901064"/>
                </a:cubicBezTo>
                <a:cubicBezTo>
                  <a:pt x="1462728" y="1900600"/>
                  <a:pt x="1462315" y="1899980"/>
                  <a:pt x="1462108" y="1899206"/>
                </a:cubicBezTo>
                <a:cubicBezTo>
                  <a:pt x="1461799" y="1896572"/>
                  <a:pt x="1464173" y="1892545"/>
                  <a:pt x="1465619" y="1892236"/>
                </a:cubicBezTo>
                <a:close/>
                <a:moveTo>
                  <a:pt x="853051" y="1892003"/>
                </a:moveTo>
                <a:cubicBezTo>
                  <a:pt x="854574" y="1891887"/>
                  <a:pt x="855943" y="1892932"/>
                  <a:pt x="857750" y="1893939"/>
                </a:cubicBezTo>
                <a:cubicBezTo>
                  <a:pt x="857027" y="1895643"/>
                  <a:pt x="858059" y="1898122"/>
                  <a:pt x="856407" y="1899980"/>
                </a:cubicBezTo>
                <a:cubicBezTo>
                  <a:pt x="856407" y="1899980"/>
                  <a:pt x="855581" y="1900910"/>
                  <a:pt x="853826" y="1901064"/>
                </a:cubicBezTo>
                <a:cubicBezTo>
                  <a:pt x="851348" y="1903233"/>
                  <a:pt x="848663" y="1901064"/>
                  <a:pt x="848663" y="1901064"/>
                </a:cubicBezTo>
                <a:cubicBezTo>
                  <a:pt x="848663" y="1901064"/>
                  <a:pt x="848560" y="1901064"/>
                  <a:pt x="848663" y="1901839"/>
                </a:cubicBezTo>
                <a:cubicBezTo>
                  <a:pt x="848560" y="1900290"/>
                  <a:pt x="847527" y="1898741"/>
                  <a:pt x="847424" y="1897037"/>
                </a:cubicBezTo>
                <a:cubicBezTo>
                  <a:pt x="849850" y="1893397"/>
                  <a:pt x="851528" y="1892119"/>
                  <a:pt x="853051" y="1892003"/>
                </a:cubicBezTo>
                <a:close/>
                <a:moveTo>
                  <a:pt x="4896062" y="1891323"/>
                </a:moveTo>
                <a:cubicBezTo>
                  <a:pt x="4905880" y="1889757"/>
                  <a:pt x="4916337" y="1908963"/>
                  <a:pt x="4908868" y="1913090"/>
                </a:cubicBezTo>
                <a:cubicBezTo>
                  <a:pt x="4907800" y="1913800"/>
                  <a:pt x="4906520" y="1913943"/>
                  <a:pt x="4904599" y="1913800"/>
                </a:cubicBezTo>
                <a:cubicBezTo>
                  <a:pt x="4895849" y="1908821"/>
                  <a:pt x="4890300" y="1902846"/>
                  <a:pt x="4893074" y="1893314"/>
                </a:cubicBezTo>
                <a:cubicBezTo>
                  <a:pt x="4894569" y="1894168"/>
                  <a:pt x="4895422" y="1892745"/>
                  <a:pt x="4896062" y="1891323"/>
                </a:cubicBezTo>
                <a:close/>
                <a:moveTo>
                  <a:pt x="1067050" y="1891151"/>
                </a:moveTo>
                <a:cubicBezTo>
                  <a:pt x="1065192" y="1892855"/>
                  <a:pt x="1066018" y="1894559"/>
                  <a:pt x="1064159" y="1896263"/>
                </a:cubicBezTo>
                <a:cubicBezTo>
                  <a:pt x="1062507" y="1894714"/>
                  <a:pt x="1060855" y="1893939"/>
                  <a:pt x="1060029" y="1893010"/>
                </a:cubicBezTo>
                <a:cubicBezTo>
                  <a:pt x="1061887" y="1889603"/>
                  <a:pt x="1064572" y="1888673"/>
                  <a:pt x="1067050" y="1891151"/>
                </a:cubicBezTo>
                <a:close/>
                <a:moveTo>
                  <a:pt x="1553593" y="1890531"/>
                </a:moveTo>
                <a:cubicBezTo>
                  <a:pt x="1555762" y="1891770"/>
                  <a:pt x="1557104" y="1890686"/>
                  <a:pt x="1559272" y="1891925"/>
                </a:cubicBezTo>
                <a:cubicBezTo>
                  <a:pt x="1555762" y="1897812"/>
                  <a:pt x="1552458" y="1904627"/>
                  <a:pt x="1546778" y="1903078"/>
                </a:cubicBezTo>
                <a:cubicBezTo>
                  <a:pt x="1546159" y="1901839"/>
                  <a:pt x="1546056" y="1900600"/>
                  <a:pt x="1546262" y="1899515"/>
                </a:cubicBezTo>
                <a:lnTo>
                  <a:pt x="1547398" y="1897037"/>
                </a:lnTo>
                <a:lnTo>
                  <a:pt x="1546778" y="1896417"/>
                </a:lnTo>
                <a:cubicBezTo>
                  <a:pt x="1548017" y="1894869"/>
                  <a:pt x="1549257" y="1893474"/>
                  <a:pt x="1551115" y="1892855"/>
                </a:cubicBezTo>
                <a:close/>
                <a:moveTo>
                  <a:pt x="1231537" y="1889912"/>
                </a:moveTo>
                <a:cubicBezTo>
                  <a:pt x="1235874" y="1890996"/>
                  <a:pt x="1237113" y="1891616"/>
                  <a:pt x="1237423" y="1896108"/>
                </a:cubicBezTo>
                <a:cubicBezTo>
                  <a:pt x="1237423" y="1896108"/>
                  <a:pt x="1237010" y="1897037"/>
                  <a:pt x="1237010" y="1897037"/>
                </a:cubicBezTo>
                <a:cubicBezTo>
                  <a:pt x="1236287" y="1901064"/>
                  <a:pt x="1232260" y="1904472"/>
                  <a:pt x="1230298" y="1904317"/>
                </a:cubicBezTo>
                <a:cubicBezTo>
                  <a:pt x="1228543" y="1903698"/>
                  <a:pt x="1226891" y="1901839"/>
                  <a:pt x="1226581" y="1899670"/>
                </a:cubicBezTo>
                <a:cubicBezTo>
                  <a:pt x="1226477" y="1898896"/>
                  <a:pt x="1226581" y="1898122"/>
                  <a:pt x="1226891" y="1897347"/>
                </a:cubicBezTo>
                <a:cubicBezTo>
                  <a:pt x="1227303" y="1894404"/>
                  <a:pt x="1230401" y="1893165"/>
                  <a:pt x="1231537" y="1889912"/>
                </a:cubicBezTo>
                <a:close/>
                <a:moveTo>
                  <a:pt x="6016516" y="1889757"/>
                </a:moveTo>
                <a:cubicBezTo>
                  <a:pt x="6020358" y="1889615"/>
                  <a:pt x="6026974" y="1891180"/>
                  <a:pt x="6027827" y="1891323"/>
                </a:cubicBezTo>
                <a:cubicBezTo>
                  <a:pt x="6027827" y="1891323"/>
                  <a:pt x="6029108" y="1891323"/>
                  <a:pt x="6030175" y="1891323"/>
                </a:cubicBezTo>
                <a:cubicBezTo>
                  <a:pt x="6031455" y="1892603"/>
                  <a:pt x="6031455" y="1893883"/>
                  <a:pt x="6032523" y="1893883"/>
                </a:cubicBezTo>
                <a:cubicBezTo>
                  <a:pt x="6029322" y="1897297"/>
                  <a:pt x="6025693" y="1895875"/>
                  <a:pt x="6022279" y="1894594"/>
                </a:cubicBezTo>
                <a:cubicBezTo>
                  <a:pt x="6019931" y="1893314"/>
                  <a:pt x="6018864" y="1893172"/>
                  <a:pt x="6016516" y="1894310"/>
                </a:cubicBezTo>
                <a:cubicBezTo>
                  <a:pt x="6016516" y="1894310"/>
                  <a:pt x="6016516" y="1894310"/>
                  <a:pt x="6014168" y="1891749"/>
                </a:cubicBezTo>
                <a:lnTo>
                  <a:pt x="6013955" y="1890611"/>
                </a:lnTo>
                <a:cubicBezTo>
                  <a:pt x="6014382" y="1890042"/>
                  <a:pt x="6015236" y="1889899"/>
                  <a:pt x="6016516" y="1889757"/>
                </a:cubicBezTo>
                <a:close/>
                <a:moveTo>
                  <a:pt x="1223793" y="1889603"/>
                </a:moveTo>
                <a:lnTo>
                  <a:pt x="1223999" y="1890531"/>
                </a:lnTo>
                <a:lnTo>
                  <a:pt x="1224826" y="1890841"/>
                </a:lnTo>
                <a:close/>
                <a:moveTo>
                  <a:pt x="1493292" y="1889447"/>
                </a:moveTo>
                <a:lnTo>
                  <a:pt x="1493911" y="1889447"/>
                </a:lnTo>
                <a:lnTo>
                  <a:pt x="1493601" y="1889912"/>
                </a:lnTo>
                <a:cubicBezTo>
                  <a:pt x="1493395" y="1889603"/>
                  <a:pt x="1493189" y="1889447"/>
                  <a:pt x="1493292" y="1889447"/>
                </a:cubicBezTo>
                <a:close/>
                <a:moveTo>
                  <a:pt x="5127410" y="1888761"/>
                </a:moveTo>
                <a:cubicBezTo>
                  <a:pt x="5128903" y="1889188"/>
                  <a:pt x="5129330" y="1890326"/>
                  <a:pt x="5129330" y="1890326"/>
                </a:cubicBezTo>
                <a:cubicBezTo>
                  <a:pt x="5128477" y="1894594"/>
                  <a:pt x="5126129" y="1898293"/>
                  <a:pt x="5121647" y="1896586"/>
                </a:cubicBezTo>
                <a:cubicBezTo>
                  <a:pt x="5120153" y="1896017"/>
                  <a:pt x="5118659" y="1895590"/>
                  <a:pt x="5119727" y="1895021"/>
                </a:cubicBezTo>
                <a:cubicBezTo>
                  <a:pt x="5119299" y="1893883"/>
                  <a:pt x="5120367" y="1893456"/>
                  <a:pt x="5121007" y="1891749"/>
                </a:cubicBezTo>
                <a:cubicBezTo>
                  <a:pt x="5122714" y="1889757"/>
                  <a:pt x="5125915" y="1888192"/>
                  <a:pt x="5127410" y="1888761"/>
                </a:cubicBezTo>
                <a:close/>
                <a:moveTo>
                  <a:pt x="1498041" y="1887589"/>
                </a:moveTo>
                <a:cubicBezTo>
                  <a:pt x="1498558" y="1888363"/>
                  <a:pt x="1498558" y="1888363"/>
                  <a:pt x="1498248" y="1889447"/>
                </a:cubicBezTo>
                <a:cubicBezTo>
                  <a:pt x="1498661" y="1890067"/>
                  <a:pt x="1494737" y="1890222"/>
                  <a:pt x="1494014" y="1890686"/>
                </a:cubicBezTo>
                <a:cubicBezTo>
                  <a:pt x="1493601" y="1889912"/>
                  <a:pt x="1493601" y="1889912"/>
                  <a:pt x="1494324" y="1889603"/>
                </a:cubicBezTo>
                <a:lnTo>
                  <a:pt x="1493911" y="1889447"/>
                </a:lnTo>
                <a:lnTo>
                  <a:pt x="1495357" y="1888053"/>
                </a:lnTo>
                <a:cubicBezTo>
                  <a:pt x="1496183" y="1887743"/>
                  <a:pt x="1497112" y="1887589"/>
                  <a:pt x="1498041" y="1887589"/>
                </a:cubicBezTo>
                <a:close/>
                <a:moveTo>
                  <a:pt x="6069871" y="1887481"/>
                </a:moveTo>
                <a:cubicBezTo>
                  <a:pt x="6070511" y="1887481"/>
                  <a:pt x="6071578" y="1887766"/>
                  <a:pt x="6072432" y="1888334"/>
                </a:cubicBezTo>
                <a:cubicBezTo>
                  <a:pt x="6076487" y="1888050"/>
                  <a:pt x="6077341" y="1893029"/>
                  <a:pt x="6077341" y="1893029"/>
                </a:cubicBezTo>
                <a:cubicBezTo>
                  <a:pt x="6077341" y="1893029"/>
                  <a:pt x="6077341" y="1892887"/>
                  <a:pt x="6077981" y="1891891"/>
                </a:cubicBezTo>
                <a:cubicBezTo>
                  <a:pt x="6076701" y="1894025"/>
                  <a:pt x="6076274" y="1896728"/>
                  <a:pt x="6074993" y="1898720"/>
                </a:cubicBezTo>
                <a:cubicBezTo>
                  <a:pt x="6064109" y="1903416"/>
                  <a:pt x="6064109" y="1899147"/>
                  <a:pt x="6062401" y="1893598"/>
                </a:cubicBezTo>
                <a:cubicBezTo>
                  <a:pt x="6064749" y="1892176"/>
                  <a:pt x="6065603" y="1888477"/>
                  <a:pt x="6068804" y="1887623"/>
                </a:cubicBezTo>
                <a:cubicBezTo>
                  <a:pt x="6068804" y="1887623"/>
                  <a:pt x="6069231" y="1887481"/>
                  <a:pt x="6069871" y="1887481"/>
                </a:cubicBezTo>
                <a:close/>
                <a:moveTo>
                  <a:pt x="1078099" y="1887434"/>
                </a:moveTo>
                <a:cubicBezTo>
                  <a:pt x="1079854" y="1888827"/>
                  <a:pt x="1079234" y="1893165"/>
                  <a:pt x="1078511" y="1894869"/>
                </a:cubicBezTo>
                <a:cubicBezTo>
                  <a:pt x="1076859" y="1896727"/>
                  <a:pt x="1074278" y="1896263"/>
                  <a:pt x="1072420" y="1894869"/>
                </a:cubicBezTo>
                <a:cubicBezTo>
                  <a:pt x="1071594" y="1894559"/>
                  <a:pt x="1071077" y="1893784"/>
                  <a:pt x="1070870" y="1892855"/>
                </a:cubicBezTo>
                <a:cubicBezTo>
                  <a:pt x="1070767" y="1891925"/>
                  <a:pt x="1070870" y="1890996"/>
                  <a:pt x="1071284" y="1890067"/>
                </a:cubicBezTo>
                <a:cubicBezTo>
                  <a:pt x="1072109" y="1889137"/>
                  <a:pt x="1072109" y="1888982"/>
                  <a:pt x="1072936" y="1888053"/>
                </a:cubicBezTo>
                <a:cubicBezTo>
                  <a:pt x="1074588" y="1887898"/>
                  <a:pt x="1076343" y="1886814"/>
                  <a:pt x="1078099" y="1887434"/>
                </a:cubicBezTo>
                <a:close/>
                <a:moveTo>
                  <a:pt x="1308566" y="1887279"/>
                </a:moveTo>
                <a:lnTo>
                  <a:pt x="1313936" y="1889603"/>
                </a:lnTo>
                <a:lnTo>
                  <a:pt x="1315691" y="1888363"/>
                </a:lnTo>
                <a:cubicBezTo>
                  <a:pt x="1316827" y="1888208"/>
                  <a:pt x="1318169" y="1888827"/>
                  <a:pt x="1319718" y="1889603"/>
                </a:cubicBezTo>
                <a:cubicBezTo>
                  <a:pt x="1318892" y="1890686"/>
                  <a:pt x="1317963" y="1891306"/>
                  <a:pt x="1316827" y="1891306"/>
                </a:cubicBezTo>
                <a:lnTo>
                  <a:pt x="1316310" y="1891306"/>
                </a:lnTo>
                <a:lnTo>
                  <a:pt x="1320647" y="1894404"/>
                </a:lnTo>
                <a:cubicBezTo>
                  <a:pt x="1322506" y="1895798"/>
                  <a:pt x="1324262" y="1897037"/>
                  <a:pt x="1326223" y="1897657"/>
                </a:cubicBezTo>
                <a:cubicBezTo>
                  <a:pt x="1326223" y="1897657"/>
                  <a:pt x="1326223" y="1897657"/>
                  <a:pt x="1326842" y="1899980"/>
                </a:cubicBezTo>
                <a:cubicBezTo>
                  <a:pt x="1327565" y="1900445"/>
                  <a:pt x="1327669" y="1900445"/>
                  <a:pt x="1327669" y="1900445"/>
                </a:cubicBezTo>
                <a:cubicBezTo>
                  <a:pt x="1327978" y="1900600"/>
                  <a:pt x="1327978" y="1901064"/>
                  <a:pt x="1327772" y="1901529"/>
                </a:cubicBezTo>
                <a:lnTo>
                  <a:pt x="1328082" y="1901839"/>
                </a:lnTo>
                <a:lnTo>
                  <a:pt x="1328495" y="1902149"/>
                </a:lnTo>
                <a:lnTo>
                  <a:pt x="1330973" y="1897967"/>
                </a:lnTo>
                <a:cubicBezTo>
                  <a:pt x="1333141" y="1898896"/>
                  <a:pt x="1334174" y="1895953"/>
                  <a:pt x="1336445" y="1897812"/>
                </a:cubicBezTo>
                <a:lnTo>
                  <a:pt x="1336136" y="1900136"/>
                </a:lnTo>
                <a:cubicBezTo>
                  <a:pt x="1337065" y="1900136"/>
                  <a:pt x="1338304" y="1900290"/>
                  <a:pt x="1339853" y="1900600"/>
                </a:cubicBezTo>
                <a:cubicBezTo>
                  <a:pt x="1343054" y="1901219"/>
                  <a:pt x="1346977" y="1903388"/>
                  <a:pt x="1348217" y="1903853"/>
                </a:cubicBezTo>
                <a:cubicBezTo>
                  <a:pt x="1349353" y="1904317"/>
                  <a:pt x="1350178" y="1904007"/>
                  <a:pt x="1350178" y="1904007"/>
                </a:cubicBezTo>
                <a:cubicBezTo>
                  <a:pt x="1350178" y="1905402"/>
                  <a:pt x="1343467" y="1904162"/>
                  <a:pt x="1338821" y="1903233"/>
                </a:cubicBezTo>
                <a:lnTo>
                  <a:pt x="1335723" y="1902614"/>
                </a:lnTo>
                <a:lnTo>
                  <a:pt x="1335620" y="1903698"/>
                </a:lnTo>
                <a:lnTo>
                  <a:pt x="1334690" y="1905092"/>
                </a:lnTo>
                <a:lnTo>
                  <a:pt x="1335000" y="1906951"/>
                </a:lnTo>
                <a:lnTo>
                  <a:pt x="1335413" y="1907260"/>
                </a:lnTo>
                <a:cubicBezTo>
                  <a:pt x="1336652" y="1907725"/>
                  <a:pt x="1337891" y="1907880"/>
                  <a:pt x="1338407" y="1907415"/>
                </a:cubicBezTo>
                <a:cubicBezTo>
                  <a:pt x="1338304" y="1908345"/>
                  <a:pt x="1339130" y="1909274"/>
                  <a:pt x="1339130" y="1909274"/>
                </a:cubicBezTo>
                <a:cubicBezTo>
                  <a:pt x="1338201" y="1910048"/>
                  <a:pt x="1337272" y="1910048"/>
                  <a:pt x="1336445" y="1910048"/>
                </a:cubicBezTo>
                <a:lnTo>
                  <a:pt x="1335103" y="1907725"/>
                </a:lnTo>
                <a:lnTo>
                  <a:pt x="1336342" y="1914385"/>
                </a:lnTo>
                <a:lnTo>
                  <a:pt x="1335929" y="1917019"/>
                </a:lnTo>
                <a:lnTo>
                  <a:pt x="1336962" y="1916864"/>
                </a:lnTo>
                <a:cubicBezTo>
                  <a:pt x="1336549" y="1918568"/>
                  <a:pt x="1337478" y="1919032"/>
                  <a:pt x="1335516" y="1921511"/>
                </a:cubicBezTo>
                <a:lnTo>
                  <a:pt x="1335206" y="1921356"/>
                </a:lnTo>
                <a:lnTo>
                  <a:pt x="1334484" y="1925693"/>
                </a:lnTo>
                <a:cubicBezTo>
                  <a:pt x="1333554" y="1928017"/>
                  <a:pt x="1332419" y="1930185"/>
                  <a:pt x="1330870" y="1932044"/>
                </a:cubicBezTo>
                <a:cubicBezTo>
                  <a:pt x="1324674" y="1928791"/>
                  <a:pt x="1326326" y="1921511"/>
                  <a:pt x="1326223" y="1915780"/>
                </a:cubicBezTo>
                <a:cubicBezTo>
                  <a:pt x="1320441" y="1917328"/>
                  <a:pt x="1312490" y="1921511"/>
                  <a:pt x="1309599" y="1915315"/>
                </a:cubicBezTo>
                <a:cubicBezTo>
                  <a:pt x="1311251" y="1910668"/>
                  <a:pt x="1316620" y="1910668"/>
                  <a:pt x="1321990" y="1909584"/>
                </a:cubicBezTo>
                <a:lnTo>
                  <a:pt x="1324158" y="1908964"/>
                </a:lnTo>
                <a:lnTo>
                  <a:pt x="1325294" y="1907570"/>
                </a:lnTo>
                <a:lnTo>
                  <a:pt x="1328185" y="1902614"/>
                </a:lnTo>
                <a:lnTo>
                  <a:pt x="1327772" y="1902303"/>
                </a:lnTo>
                <a:lnTo>
                  <a:pt x="1327565" y="1902303"/>
                </a:lnTo>
                <a:lnTo>
                  <a:pt x="1327462" y="1902303"/>
                </a:lnTo>
                <a:lnTo>
                  <a:pt x="1326842" y="1902149"/>
                </a:lnTo>
                <a:lnTo>
                  <a:pt x="1326017" y="1902149"/>
                </a:lnTo>
                <a:lnTo>
                  <a:pt x="1325913" y="1901994"/>
                </a:lnTo>
                <a:lnTo>
                  <a:pt x="1324984" y="1901839"/>
                </a:lnTo>
                <a:cubicBezTo>
                  <a:pt x="1324158" y="1901374"/>
                  <a:pt x="1323229" y="1900600"/>
                  <a:pt x="1322506" y="1900136"/>
                </a:cubicBezTo>
                <a:cubicBezTo>
                  <a:pt x="1320854" y="1901064"/>
                  <a:pt x="1320441" y="1896727"/>
                  <a:pt x="1318789" y="1897657"/>
                </a:cubicBezTo>
                <a:cubicBezTo>
                  <a:pt x="1317550" y="1893010"/>
                  <a:pt x="1311664" y="1893939"/>
                  <a:pt x="1308566" y="1887279"/>
                </a:cubicBezTo>
                <a:close/>
                <a:moveTo>
                  <a:pt x="1121995" y="1887066"/>
                </a:moveTo>
                <a:cubicBezTo>
                  <a:pt x="1123609" y="1886504"/>
                  <a:pt x="1125338" y="1886040"/>
                  <a:pt x="1126732" y="1887124"/>
                </a:cubicBezTo>
                <a:cubicBezTo>
                  <a:pt x="1135819" y="1892700"/>
                  <a:pt x="1134166" y="1895488"/>
                  <a:pt x="1131895" y="1901684"/>
                </a:cubicBezTo>
                <a:cubicBezTo>
                  <a:pt x="1131895" y="1900755"/>
                  <a:pt x="1131069" y="1901839"/>
                  <a:pt x="1131069" y="1901839"/>
                </a:cubicBezTo>
                <a:cubicBezTo>
                  <a:pt x="1129417" y="1903698"/>
                  <a:pt x="1134683" y="1903853"/>
                  <a:pt x="1133134" y="1906486"/>
                </a:cubicBezTo>
                <a:lnTo>
                  <a:pt x="1132411" y="1907105"/>
                </a:lnTo>
                <a:lnTo>
                  <a:pt x="1132411" y="1907415"/>
                </a:lnTo>
                <a:lnTo>
                  <a:pt x="1135405" y="1910204"/>
                </a:lnTo>
                <a:lnTo>
                  <a:pt x="1135405" y="1909738"/>
                </a:lnTo>
                <a:cubicBezTo>
                  <a:pt x="1136438" y="1903233"/>
                  <a:pt x="1143253" y="1903543"/>
                  <a:pt x="1142737" y="1902923"/>
                </a:cubicBezTo>
                <a:lnTo>
                  <a:pt x="1142943" y="1902303"/>
                </a:lnTo>
                <a:lnTo>
                  <a:pt x="1141911" y="1902459"/>
                </a:lnTo>
                <a:cubicBezTo>
                  <a:pt x="1141188" y="1902768"/>
                  <a:pt x="1140878" y="1902923"/>
                  <a:pt x="1140878" y="1902923"/>
                </a:cubicBezTo>
                <a:cubicBezTo>
                  <a:pt x="1139123" y="1902303"/>
                  <a:pt x="1139020" y="1901529"/>
                  <a:pt x="1139123" y="1902303"/>
                </a:cubicBezTo>
                <a:cubicBezTo>
                  <a:pt x="1137264" y="1900910"/>
                  <a:pt x="1134580" y="1899515"/>
                  <a:pt x="1135405" y="1897812"/>
                </a:cubicBezTo>
                <a:cubicBezTo>
                  <a:pt x="1138400" y="1893629"/>
                  <a:pt x="1144699" y="1895643"/>
                  <a:pt x="1148726" y="1897037"/>
                </a:cubicBezTo>
                <a:lnTo>
                  <a:pt x="1151514" y="1897967"/>
                </a:lnTo>
                <a:lnTo>
                  <a:pt x="1153475" y="1895953"/>
                </a:lnTo>
                <a:cubicBezTo>
                  <a:pt x="1155128" y="1895798"/>
                  <a:pt x="1156470" y="1897502"/>
                  <a:pt x="1156264" y="1899206"/>
                </a:cubicBezTo>
                <a:lnTo>
                  <a:pt x="1154818" y="1901064"/>
                </a:lnTo>
                <a:lnTo>
                  <a:pt x="1156367" y="1901529"/>
                </a:lnTo>
                <a:cubicBezTo>
                  <a:pt x="1155540" y="1902459"/>
                  <a:pt x="1153062" y="1905402"/>
                  <a:pt x="1153062" y="1905402"/>
                </a:cubicBezTo>
                <a:cubicBezTo>
                  <a:pt x="1153166" y="1906176"/>
                  <a:pt x="1153166" y="1906176"/>
                  <a:pt x="1152340" y="1907105"/>
                </a:cubicBezTo>
                <a:cubicBezTo>
                  <a:pt x="1151410" y="1906331"/>
                  <a:pt x="1151514" y="1906486"/>
                  <a:pt x="1151410" y="1905557"/>
                </a:cubicBezTo>
                <a:cubicBezTo>
                  <a:pt x="1152236" y="1904627"/>
                  <a:pt x="1153062" y="1904472"/>
                  <a:pt x="1153889" y="1903543"/>
                </a:cubicBezTo>
                <a:cubicBezTo>
                  <a:pt x="1152030" y="1902149"/>
                  <a:pt x="1152133" y="1902923"/>
                  <a:pt x="1152856" y="1901994"/>
                </a:cubicBezTo>
                <a:cubicBezTo>
                  <a:pt x="1152856" y="1901994"/>
                  <a:pt x="1152959" y="1901994"/>
                  <a:pt x="1153785" y="1901064"/>
                </a:cubicBezTo>
                <a:lnTo>
                  <a:pt x="1153889" y="1900910"/>
                </a:lnTo>
                <a:lnTo>
                  <a:pt x="1153785" y="1900755"/>
                </a:lnTo>
                <a:lnTo>
                  <a:pt x="1153785" y="1901064"/>
                </a:lnTo>
                <a:lnTo>
                  <a:pt x="1145215" y="1901684"/>
                </a:lnTo>
                <a:lnTo>
                  <a:pt x="1144699" y="1902614"/>
                </a:lnTo>
                <a:cubicBezTo>
                  <a:pt x="1145422" y="1902149"/>
                  <a:pt x="1145215" y="1903388"/>
                  <a:pt x="1145215" y="1903388"/>
                </a:cubicBezTo>
                <a:cubicBezTo>
                  <a:pt x="1145215" y="1903388"/>
                  <a:pt x="1145112" y="1903233"/>
                  <a:pt x="1147590" y="1903698"/>
                </a:cubicBezTo>
                <a:cubicBezTo>
                  <a:pt x="1147590" y="1903698"/>
                  <a:pt x="1152753" y="1905092"/>
                  <a:pt x="1152030" y="1910358"/>
                </a:cubicBezTo>
                <a:cubicBezTo>
                  <a:pt x="1151101" y="1910358"/>
                  <a:pt x="1149862" y="1914231"/>
                  <a:pt x="1147590" y="1916399"/>
                </a:cubicBezTo>
                <a:lnTo>
                  <a:pt x="1146970" y="1916864"/>
                </a:lnTo>
                <a:lnTo>
                  <a:pt x="1146454" y="1917793"/>
                </a:lnTo>
                <a:cubicBezTo>
                  <a:pt x="1145628" y="1919032"/>
                  <a:pt x="1144905" y="1920271"/>
                  <a:pt x="1144492" y="1920891"/>
                </a:cubicBezTo>
                <a:cubicBezTo>
                  <a:pt x="1143666" y="1921046"/>
                  <a:pt x="1143666" y="1921046"/>
                  <a:pt x="1143666" y="1921046"/>
                </a:cubicBezTo>
                <a:cubicBezTo>
                  <a:pt x="1142737" y="1920736"/>
                  <a:pt x="1142530" y="1920117"/>
                  <a:pt x="1142737" y="1919342"/>
                </a:cubicBezTo>
                <a:lnTo>
                  <a:pt x="1143253" y="1918103"/>
                </a:lnTo>
                <a:lnTo>
                  <a:pt x="1139949" y="1918413"/>
                </a:lnTo>
                <a:cubicBezTo>
                  <a:pt x="1139226" y="1917328"/>
                  <a:pt x="1138091" y="1916709"/>
                  <a:pt x="1137058" y="1915625"/>
                </a:cubicBezTo>
                <a:lnTo>
                  <a:pt x="1136232" y="1914231"/>
                </a:lnTo>
                <a:lnTo>
                  <a:pt x="1136335" y="1916244"/>
                </a:lnTo>
                <a:cubicBezTo>
                  <a:pt x="1135819" y="1917328"/>
                  <a:pt x="1134889" y="1918258"/>
                  <a:pt x="1133444" y="1919342"/>
                </a:cubicBezTo>
                <a:cubicBezTo>
                  <a:pt x="1129107" y="1917638"/>
                  <a:pt x="1121879" y="1916089"/>
                  <a:pt x="1118885" y="1911288"/>
                </a:cubicBezTo>
                <a:lnTo>
                  <a:pt x="1118678" y="1910358"/>
                </a:lnTo>
                <a:lnTo>
                  <a:pt x="1117749" y="1909584"/>
                </a:lnTo>
                <a:lnTo>
                  <a:pt x="1117542" y="1909584"/>
                </a:lnTo>
                <a:cubicBezTo>
                  <a:pt x="1117542" y="1908809"/>
                  <a:pt x="1116613" y="1908809"/>
                  <a:pt x="1116613" y="1909738"/>
                </a:cubicBezTo>
                <a:cubicBezTo>
                  <a:pt x="1115271" y="1909119"/>
                  <a:pt x="1114238" y="1908655"/>
                  <a:pt x="1113619" y="1908035"/>
                </a:cubicBezTo>
                <a:cubicBezTo>
                  <a:pt x="1113309" y="1907725"/>
                  <a:pt x="1113205" y="1907415"/>
                  <a:pt x="1113205" y="1907105"/>
                </a:cubicBezTo>
                <a:cubicBezTo>
                  <a:pt x="1113205" y="1906796"/>
                  <a:pt x="1113412" y="1906331"/>
                  <a:pt x="1113825" y="1905866"/>
                </a:cubicBezTo>
                <a:cubicBezTo>
                  <a:pt x="1114548" y="1904007"/>
                  <a:pt x="1116406" y="1904627"/>
                  <a:pt x="1117955" y="1902768"/>
                </a:cubicBezTo>
                <a:cubicBezTo>
                  <a:pt x="1120434" y="1899051"/>
                  <a:pt x="1113205" y="1895024"/>
                  <a:pt x="1117955" y="1887589"/>
                </a:cubicBezTo>
                <a:cubicBezTo>
                  <a:pt x="1118885" y="1888286"/>
                  <a:pt x="1120382" y="1887627"/>
                  <a:pt x="1121995" y="1887066"/>
                </a:cubicBezTo>
                <a:close/>
                <a:moveTo>
                  <a:pt x="5609524" y="1886628"/>
                </a:moveTo>
                <a:cubicBezTo>
                  <a:pt x="5611232" y="1887054"/>
                  <a:pt x="5613580" y="1888477"/>
                  <a:pt x="5615287" y="1888904"/>
                </a:cubicBezTo>
                <a:cubicBezTo>
                  <a:pt x="5615287" y="1888904"/>
                  <a:pt x="5615287" y="1888904"/>
                  <a:pt x="5614860" y="1890611"/>
                </a:cubicBezTo>
                <a:cubicBezTo>
                  <a:pt x="5613580" y="1888477"/>
                  <a:pt x="5609098" y="1889899"/>
                  <a:pt x="5609524" y="1886628"/>
                </a:cubicBezTo>
                <a:close/>
                <a:moveTo>
                  <a:pt x="1354515" y="1886504"/>
                </a:moveTo>
                <a:cubicBezTo>
                  <a:pt x="1361021" y="1888518"/>
                  <a:pt x="1359059" y="1899515"/>
                  <a:pt x="1359471" y="1902149"/>
                </a:cubicBezTo>
                <a:cubicBezTo>
                  <a:pt x="1359471" y="1902149"/>
                  <a:pt x="1359885" y="1902923"/>
                  <a:pt x="1359471" y="1904007"/>
                </a:cubicBezTo>
                <a:cubicBezTo>
                  <a:pt x="1359471" y="1905866"/>
                  <a:pt x="1357406" y="1903853"/>
                  <a:pt x="1357097" y="1904937"/>
                </a:cubicBezTo>
                <a:cubicBezTo>
                  <a:pt x="1355548" y="1898122"/>
                  <a:pt x="1351314" y="1893320"/>
                  <a:pt x="1351314" y="1893320"/>
                </a:cubicBezTo>
                <a:cubicBezTo>
                  <a:pt x="1351314" y="1891461"/>
                  <a:pt x="1352140" y="1891151"/>
                  <a:pt x="1351418" y="1891461"/>
                </a:cubicBezTo>
                <a:cubicBezTo>
                  <a:pt x="1352140" y="1889292"/>
                  <a:pt x="1352554" y="1886349"/>
                  <a:pt x="1354515" y="1886504"/>
                </a:cubicBezTo>
                <a:close/>
                <a:moveTo>
                  <a:pt x="3558134" y="1885774"/>
                </a:moveTo>
                <a:cubicBezTo>
                  <a:pt x="3568378" y="1889615"/>
                  <a:pt x="3566670" y="1900143"/>
                  <a:pt x="3561122" y="1903130"/>
                </a:cubicBezTo>
                <a:cubicBezTo>
                  <a:pt x="3559201" y="1904269"/>
                  <a:pt x="3556853" y="1904269"/>
                  <a:pt x="3554506" y="1903130"/>
                </a:cubicBezTo>
                <a:cubicBezTo>
                  <a:pt x="3553225" y="1895875"/>
                  <a:pt x="3550451" y="1887908"/>
                  <a:pt x="3558134" y="1885774"/>
                </a:cubicBezTo>
                <a:close/>
                <a:moveTo>
                  <a:pt x="5853677" y="1885489"/>
                </a:moveTo>
                <a:cubicBezTo>
                  <a:pt x="5852610" y="1889473"/>
                  <a:pt x="5857732" y="1890611"/>
                  <a:pt x="5854104" y="1894168"/>
                </a:cubicBezTo>
                <a:cubicBezTo>
                  <a:pt x="5851969" y="1894879"/>
                  <a:pt x="5849195" y="1894310"/>
                  <a:pt x="5845994" y="1891323"/>
                </a:cubicBezTo>
                <a:cubicBezTo>
                  <a:pt x="5846207" y="1884921"/>
                  <a:pt x="5850049" y="1885204"/>
                  <a:pt x="5853677" y="1885489"/>
                </a:cubicBezTo>
                <a:close/>
                <a:moveTo>
                  <a:pt x="1259210" y="1884181"/>
                </a:moveTo>
                <a:lnTo>
                  <a:pt x="1259520" y="1884955"/>
                </a:lnTo>
                <a:lnTo>
                  <a:pt x="1259933" y="1884955"/>
                </a:lnTo>
                <a:close/>
                <a:moveTo>
                  <a:pt x="5683581" y="1883782"/>
                </a:moveTo>
                <a:cubicBezTo>
                  <a:pt x="5684221" y="1883782"/>
                  <a:pt x="5684648" y="1884067"/>
                  <a:pt x="5685289" y="1884636"/>
                </a:cubicBezTo>
                <a:cubicBezTo>
                  <a:pt x="5687850" y="1885631"/>
                  <a:pt x="5686996" y="1888192"/>
                  <a:pt x="5689557" y="1890469"/>
                </a:cubicBezTo>
                <a:cubicBezTo>
                  <a:pt x="5694679" y="1893741"/>
                  <a:pt x="5700442" y="1883782"/>
                  <a:pt x="5710686" y="1890469"/>
                </a:cubicBezTo>
                <a:cubicBezTo>
                  <a:pt x="5708551" y="1892887"/>
                  <a:pt x="5714101" y="1898578"/>
                  <a:pt x="5711113" y="1902419"/>
                </a:cubicBezTo>
                <a:cubicBezTo>
                  <a:pt x="5703643" y="1914939"/>
                  <a:pt x="5699801" y="1912663"/>
                  <a:pt x="5691051" y="1909533"/>
                </a:cubicBezTo>
                <a:cubicBezTo>
                  <a:pt x="5692332" y="1909533"/>
                  <a:pt x="5691051" y="1908395"/>
                  <a:pt x="5691051" y="1908395"/>
                </a:cubicBezTo>
                <a:cubicBezTo>
                  <a:pt x="5688276" y="1906118"/>
                  <a:pt x="5688276" y="1913374"/>
                  <a:pt x="5684435" y="1911240"/>
                </a:cubicBezTo>
                <a:lnTo>
                  <a:pt x="5683581" y="1910244"/>
                </a:lnTo>
                <a:lnTo>
                  <a:pt x="5683155" y="1910244"/>
                </a:lnTo>
                <a:lnTo>
                  <a:pt x="5679313" y="1914370"/>
                </a:lnTo>
                <a:lnTo>
                  <a:pt x="5679953" y="1914370"/>
                </a:lnTo>
                <a:cubicBezTo>
                  <a:pt x="5688917" y="1915792"/>
                  <a:pt x="5688490" y="1925183"/>
                  <a:pt x="5689344" y="1924471"/>
                </a:cubicBezTo>
                <a:lnTo>
                  <a:pt x="5690411" y="1924755"/>
                </a:lnTo>
                <a:lnTo>
                  <a:pt x="5689984" y="1923332"/>
                </a:lnTo>
                <a:cubicBezTo>
                  <a:pt x="5689771" y="1922337"/>
                  <a:pt x="5689557" y="1921910"/>
                  <a:pt x="5689557" y="1921910"/>
                </a:cubicBezTo>
                <a:cubicBezTo>
                  <a:pt x="5690197" y="1919492"/>
                  <a:pt x="5691478" y="1919349"/>
                  <a:pt x="5690197" y="1919492"/>
                </a:cubicBezTo>
                <a:cubicBezTo>
                  <a:pt x="5692118" y="1916931"/>
                  <a:pt x="5694039" y="1913231"/>
                  <a:pt x="5696387" y="1914370"/>
                </a:cubicBezTo>
                <a:cubicBezTo>
                  <a:pt x="5702149" y="1918495"/>
                  <a:pt x="5699588" y="1927174"/>
                  <a:pt x="5697454" y="1932723"/>
                </a:cubicBezTo>
                <a:lnTo>
                  <a:pt x="5696387" y="1936564"/>
                </a:lnTo>
                <a:lnTo>
                  <a:pt x="5698947" y="1939267"/>
                </a:lnTo>
                <a:cubicBezTo>
                  <a:pt x="5699374" y="1941543"/>
                  <a:pt x="5696813" y="1943393"/>
                  <a:pt x="5694466" y="1943108"/>
                </a:cubicBezTo>
                <a:lnTo>
                  <a:pt x="5691904" y="1941116"/>
                </a:lnTo>
                <a:lnTo>
                  <a:pt x="5691264" y="1943250"/>
                </a:lnTo>
                <a:cubicBezTo>
                  <a:pt x="5689984" y="1942112"/>
                  <a:pt x="5686142" y="1938698"/>
                  <a:pt x="5686142" y="1938698"/>
                </a:cubicBezTo>
                <a:cubicBezTo>
                  <a:pt x="5684862" y="1938840"/>
                  <a:pt x="5685076" y="1938840"/>
                  <a:pt x="5683581" y="1937844"/>
                </a:cubicBezTo>
                <a:cubicBezTo>
                  <a:pt x="5684648" y="1936564"/>
                  <a:pt x="5684648" y="1936564"/>
                  <a:pt x="5685716" y="1936421"/>
                </a:cubicBezTo>
                <a:cubicBezTo>
                  <a:pt x="5686996" y="1937560"/>
                  <a:pt x="5687209" y="1938698"/>
                  <a:pt x="5688490" y="1939836"/>
                </a:cubicBezTo>
                <a:cubicBezTo>
                  <a:pt x="5690411" y="1937275"/>
                  <a:pt x="5689344" y="1937417"/>
                  <a:pt x="5690624" y="1938555"/>
                </a:cubicBezTo>
                <a:cubicBezTo>
                  <a:pt x="5690624" y="1938555"/>
                  <a:pt x="5690624" y="1938555"/>
                  <a:pt x="5691904" y="1939694"/>
                </a:cubicBezTo>
                <a:lnTo>
                  <a:pt x="5692118" y="1939979"/>
                </a:lnTo>
                <a:lnTo>
                  <a:pt x="5692332" y="1939694"/>
                </a:lnTo>
                <a:lnTo>
                  <a:pt x="5691904" y="1939694"/>
                </a:lnTo>
                <a:lnTo>
                  <a:pt x="5691051" y="1927885"/>
                </a:lnTo>
                <a:lnTo>
                  <a:pt x="5689771" y="1927174"/>
                </a:lnTo>
                <a:cubicBezTo>
                  <a:pt x="5690411" y="1928170"/>
                  <a:pt x="5688917" y="1927885"/>
                  <a:pt x="5688917" y="1927885"/>
                </a:cubicBezTo>
                <a:cubicBezTo>
                  <a:pt x="5688917" y="1927885"/>
                  <a:pt x="5688917" y="1927743"/>
                  <a:pt x="5688490" y="1931158"/>
                </a:cubicBezTo>
                <a:cubicBezTo>
                  <a:pt x="5688490" y="1931158"/>
                  <a:pt x="5686356" y="1938414"/>
                  <a:pt x="5679100" y="1937275"/>
                </a:cubicBezTo>
                <a:cubicBezTo>
                  <a:pt x="5679313" y="1935995"/>
                  <a:pt x="5673977" y="1934287"/>
                  <a:pt x="5670776" y="1931158"/>
                </a:cubicBezTo>
                <a:lnTo>
                  <a:pt x="5670349" y="1930304"/>
                </a:lnTo>
                <a:lnTo>
                  <a:pt x="5669069" y="1929593"/>
                </a:lnTo>
                <a:cubicBezTo>
                  <a:pt x="5667148" y="1928454"/>
                  <a:pt x="5665441" y="1927601"/>
                  <a:pt x="5664587" y="1927031"/>
                </a:cubicBezTo>
                <a:cubicBezTo>
                  <a:pt x="5664374" y="1925751"/>
                  <a:pt x="5664374" y="1925751"/>
                  <a:pt x="5664374" y="1925751"/>
                </a:cubicBezTo>
                <a:cubicBezTo>
                  <a:pt x="5664800" y="1924471"/>
                  <a:pt x="5665654" y="1924186"/>
                  <a:pt x="5666934" y="1924471"/>
                </a:cubicBezTo>
                <a:lnTo>
                  <a:pt x="5668642" y="1925183"/>
                </a:lnTo>
                <a:lnTo>
                  <a:pt x="5668215" y="1920629"/>
                </a:lnTo>
                <a:cubicBezTo>
                  <a:pt x="5669496" y="1919634"/>
                  <a:pt x="5670349" y="1918069"/>
                  <a:pt x="5671843" y="1916647"/>
                </a:cubicBezTo>
                <a:lnTo>
                  <a:pt x="5673764" y="1915508"/>
                </a:lnTo>
                <a:lnTo>
                  <a:pt x="5670990" y="1915650"/>
                </a:lnTo>
                <a:cubicBezTo>
                  <a:pt x="5669709" y="1914939"/>
                  <a:pt x="5668215" y="1913658"/>
                  <a:pt x="5666934" y="1911666"/>
                </a:cubicBezTo>
                <a:cubicBezTo>
                  <a:pt x="5669069" y="1905691"/>
                  <a:pt x="5671203" y="1895733"/>
                  <a:pt x="5677819" y="1891606"/>
                </a:cubicBezTo>
                <a:lnTo>
                  <a:pt x="5679313" y="1891323"/>
                </a:lnTo>
                <a:lnTo>
                  <a:pt x="5680380" y="1890042"/>
                </a:lnTo>
                <a:lnTo>
                  <a:pt x="5680167" y="1889757"/>
                </a:lnTo>
                <a:cubicBezTo>
                  <a:pt x="5681447" y="1889757"/>
                  <a:pt x="5681233" y="1888477"/>
                  <a:pt x="5679953" y="1888477"/>
                </a:cubicBezTo>
                <a:cubicBezTo>
                  <a:pt x="5681020" y="1886628"/>
                  <a:pt x="5681661" y="1885204"/>
                  <a:pt x="5682301" y="1884351"/>
                </a:cubicBezTo>
                <a:cubicBezTo>
                  <a:pt x="5682728" y="1883924"/>
                  <a:pt x="5683155" y="1883782"/>
                  <a:pt x="5683581" y="1883782"/>
                </a:cubicBezTo>
                <a:close/>
                <a:moveTo>
                  <a:pt x="3504352" y="1883782"/>
                </a:moveTo>
                <a:cubicBezTo>
                  <a:pt x="3504779" y="1885489"/>
                  <a:pt x="3505206" y="1886343"/>
                  <a:pt x="3505420" y="1886912"/>
                </a:cubicBezTo>
                <a:cubicBezTo>
                  <a:pt x="3505846" y="1887481"/>
                  <a:pt x="3506060" y="1887766"/>
                  <a:pt x="3505420" y="1888050"/>
                </a:cubicBezTo>
                <a:cubicBezTo>
                  <a:pt x="3505632" y="1889046"/>
                  <a:pt x="3504565" y="1889473"/>
                  <a:pt x="3504352" y="1888477"/>
                </a:cubicBezTo>
                <a:cubicBezTo>
                  <a:pt x="3501791" y="1888192"/>
                  <a:pt x="3503498" y="1885347"/>
                  <a:pt x="3504352" y="1883782"/>
                </a:cubicBezTo>
                <a:close/>
                <a:moveTo>
                  <a:pt x="5523730" y="1883497"/>
                </a:moveTo>
                <a:cubicBezTo>
                  <a:pt x="5522449" y="1889331"/>
                  <a:pt x="5523303" y="1897724"/>
                  <a:pt x="5519675" y="1901992"/>
                </a:cubicBezTo>
                <a:cubicBezTo>
                  <a:pt x="5519888" y="1899716"/>
                  <a:pt x="5521382" y="1886769"/>
                  <a:pt x="5523730" y="1883497"/>
                </a:cubicBezTo>
                <a:close/>
                <a:moveTo>
                  <a:pt x="4726394" y="1883497"/>
                </a:moveTo>
                <a:cubicBezTo>
                  <a:pt x="4730662" y="1883213"/>
                  <a:pt x="4733864" y="1886628"/>
                  <a:pt x="4735571" y="1891323"/>
                </a:cubicBezTo>
                <a:cubicBezTo>
                  <a:pt x="4738345" y="1899432"/>
                  <a:pt x="4737065" y="1911524"/>
                  <a:pt x="4731729" y="1917215"/>
                </a:cubicBezTo>
                <a:lnTo>
                  <a:pt x="4731516" y="1917357"/>
                </a:lnTo>
                <a:lnTo>
                  <a:pt x="4737918" y="1922194"/>
                </a:lnTo>
                <a:cubicBezTo>
                  <a:pt x="4738132" y="1928028"/>
                  <a:pt x="4736424" y="1931584"/>
                  <a:pt x="4733864" y="1933291"/>
                </a:cubicBezTo>
                <a:lnTo>
                  <a:pt x="4727034" y="1934714"/>
                </a:lnTo>
                <a:lnTo>
                  <a:pt x="4726821" y="1935710"/>
                </a:lnTo>
                <a:cubicBezTo>
                  <a:pt x="4725540" y="1937986"/>
                  <a:pt x="4722766" y="1940405"/>
                  <a:pt x="4718497" y="1942824"/>
                </a:cubicBezTo>
                <a:cubicBezTo>
                  <a:pt x="4718283" y="1935852"/>
                  <a:pt x="4714655" y="1930019"/>
                  <a:pt x="4711881" y="1924471"/>
                </a:cubicBezTo>
                <a:lnTo>
                  <a:pt x="4710174" y="1920202"/>
                </a:lnTo>
                <a:lnTo>
                  <a:pt x="4708253" y="1924471"/>
                </a:lnTo>
                <a:cubicBezTo>
                  <a:pt x="4702491" y="1920914"/>
                  <a:pt x="4700997" y="1916219"/>
                  <a:pt x="4700997" y="1909817"/>
                </a:cubicBezTo>
                <a:cubicBezTo>
                  <a:pt x="4702064" y="1909533"/>
                  <a:pt x="4703771" y="1910101"/>
                  <a:pt x="4705479" y="1910955"/>
                </a:cubicBezTo>
                <a:lnTo>
                  <a:pt x="4708680" y="1912663"/>
                </a:lnTo>
                <a:lnTo>
                  <a:pt x="4709107" y="1907968"/>
                </a:lnTo>
                <a:cubicBezTo>
                  <a:pt x="4710174" y="1909675"/>
                  <a:pt x="4711881" y="1911382"/>
                  <a:pt x="4713802" y="1913090"/>
                </a:cubicBezTo>
                <a:lnTo>
                  <a:pt x="4714655" y="1913943"/>
                </a:lnTo>
                <a:lnTo>
                  <a:pt x="4717643" y="1912663"/>
                </a:lnTo>
                <a:lnTo>
                  <a:pt x="4722766" y="1913800"/>
                </a:lnTo>
                <a:lnTo>
                  <a:pt x="4719778" y="1904981"/>
                </a:lnTo>
                <a:cubicBezTo>
                  <a:pt x="4718924" y="1899147"/>
                  <a:pt x="4719351" y="1892603"/>
                  <a:pt x="4721485" y="1885204"/>
                </a:cubicBezTo>
                <a:cubicBezTo>
                  <a:pt x="4723193" y="1884209"/>
                  <a:pt x="4724900" y="1883639"/>
                  <a:pt x="4726394" y="1883497"/>
                </a:cubicBezTo>
                <a:close/>
                <a:moveTo>
                  <a:pt x="1626389" y="1883251"/>
                </a:moveTo>
                <a:cubicBezTo>
                  <a:pt x="1627525" y="1884491"/>
                  <a:pt x="1629590" y="1886194"/>
                  <a:pt x="1628970" y="1888363"/>
                </a:cubicBezTo>
                <a:cubicBezTo>
                  <a:pt x="1628764" y="1889137"/>
                  <a:pt x="1628247" y="1889912"/>
                  <a:pt x="1627215" y="1890686"/>
                </a:cubicBezTo>
                <a:cubicBezTo>
                  <a:pt x="1627112" y="1891616"/>
                  <a:pt x="1623601" y="1892390"/>
                  <a:pt x="1622775" y="1891461"/>
                </a:cubicBezTo>
                <a:cubicBezTo>
                  <a:pt x="1622259" y="1890996"/>
                  <a:pt x="1621949" y="1890531"/>
                  <a:pt x="1621742" y="1890067"/>
                </a:cubicBezTo>
                <a:cubicBezTo>
                  <a:pt x="1621433" y="1888518"/>
                  <a:pt x="1622775" y="1886504"/>
                  <a:pt x="1623704" y="1884026"/>
                </a:cubicBezTo>
                <a:cubicBezTo>
                  <a:pt x="1624427" y="1884800"/>
                  <a:pt x="1625460" y="1884026"/>
                  <a:pt x="1626389" y="1883251"/>
                </a:cubicBezTo>
                <a:close/>
                <a:moveTo>
                  <a:pt x="1395095" y="1883251"/>
                </a:moveTo>
                <a:cubicBezTo>
                  <a:pt x="1399329" y="1883096"/>
                  <a:pt x="1401910" y="1884336"/>
                  <a:pt x="1403149" y="1886194"/>
                </a:cubicBezTo>
                <a:lnTo>
                  <a:pt x="1404182" y="1891151"/>
                </a:lnTo>
                <a:lnTo>
                  <a:pt x="1404904" y="1891306"/>
                </a:lnTo>
                <a:cubicBezTo>
                  <a:pt x="1406557" y="1892236"/>
                  <a:pt x="1408312" y="1894249"/>
                  <a:pt x="1410067" y="1897347"/>
                </a:cubicBezTo>
                <a:cubicBezTo>
                  <a:pt x="1405007" y="1897502"/>
                  <a:pt x="1400774" y="1900136"/>
                  <a:pt x="1396747" y="1902149"/>
                </a:cubicBezTo>
                <a:lnTo>
                  <a:pt x="1393649" y="1903388"/>
                </a:lnTo>
                <a:lnTo>
                  <a:pt x="1396747" y="1904782"/>
                </a:lnTo>
                <a:cubicBezTo>
                  <a:pt x="1394166" y="1908964"/>
                  <a:pt x="1390758" y="1910048"/>
                  <a:pt x="1386112" y="1910048"/>
                </a:cubicBezTo>
                <a:cubicBezTo>
                  <a:pt x="1385905" y="1909274"/>
                  <a:pt x="1386318" y="1908035"/>
                  <a:pt x="1386938" y="1906796"/>
                </a:cubicBezTo>
                <a:lnTo>
                  <a:pt x="1388177" y="1904472"/>
                </a:lnTo>
                <a:lnTo>
                  <a:pt x="1384769" y="1904162"/>
                </a:lnTo>
                <a:cubicBezTo>
                  <a:pt x="1386008" y="1903388"/>
                  <a:pt x="1387247" y="1902149"/>
                  <a:pt x="1388487" y="1900755"/>
                </a:cubicBezTo>
                <a:lnTo>
                  <a:pt x="1389106" y="1900136"/>
                </a:lnTo>
                <a:lnTo>
                  <a:pt x="1388177" y="1897967"/>
                </a:lnTo>
                <a:lnTo>
                  <a:pt x="1389003" y="1894249"/>
                </a:lnTo>
                <a:lnTo>
                  <a:pt x="1382601" y="1896417"/>
                </a:lnTo>
                <a:cubicBezTo>
                  <a:pt x="1378368" y="1897037"/>
                  <a:pt x="1373618" y="1896727"/>
                  <a:pt x="1368248" y="1895178"/>
                </a:cubicBezTo>
                <a:cubicBezTo>
                  <a:pt x="1367526" y="1893939"/>
                  <a:pt x="1367112" y="1892700"/>
                  <a:pt x="1367009" y="1891616"/>
                </a:cubicBezTo>
                <a:cubicBezTo>
                  <a:pt x="1366803" y="1888518"/>
                  <a:pt x="1369281" y="1886194"/>
                  <a:pt x="1372689" y="1884955"/>
                </a:cubicBezTo>
                <a:cubicBezTo>
                  <a:pt x="1378574" y="1882942"/>
                  <a:pt x="1387351" y="1883871"/>
                  <a:pt x="1391481" y="1887743"/>
                </a:cubicBezTo>
                <a:lnTo>
                  <a:pt x="1391584" y="1887898"/>
                </a:lnTo>
                <a:close/>
                <a:moveTo>
                  <a:pt x="5634281" y="1882786"/>
                </a:moveTo>
                <a:cubicBezTo>
                  <a:pt x="5637696" y="1883355"/>
                  <a:pt x="5641537" y="1884778"/>
                  <a:pt x="5645379" y="1887481"/>
                </a:cubicBezTo>
                <a:cubicBezTo>
                  <a:pt x="5647940" y="1889473"/>
                  <a:pt x="5649648" y="1891891"/>
                  <a:pt x="5651142" y="1894594"/>
                </a:cubicBezTo>
                <a:lnTo>
                  <a:pt x="5653276" y="1900997"/>
                </a:lnTo>
                <a:lnTo>
                  <a:pt x="5655196" y="1902277"/>
                </a:lnTo>
                <a:lnTo>
                  <a:pt x="5654129" y="1903130"/>
                </a:lnTo>
                <a:lnTo>
                  <a:pt x="5656050" y="1908679"/>
                </a:lnTo>
                <a:cubicBezTo>
                  <a:pt x="5657544" y="1913943"/>
                  <a:pt x="5659251" y="1919492"/>
                  <a:pt x="5662026" y="1925040"/>
                </a:cubicBezTo>
                <a:lnTo>
                  <a:pt x="5660105" y="1924897"/>
                </a:lnTo>
                <a:lnTo>
                  <a:pt x="5661172" y="1926178"/>
                </a:lnTo>
                <a:cubicBezTo>
                  <a:pt x="5662879" y="1928454"/>
                  <a:pt x="5663947" y="1930731"/>
                  <a:pt x="5663947" y="1932723"/>
                </a:cubicBezTo>
                <a:cubicBezTo>
                  <a:pt x="5663947" y="1934003"/>
                  <a:pt x="5663734" y="1935284"/>
                  <a:pt x="5662666" y="1936421"/>
                </a:cubicBezTo>
                <a:cubicBezTo>
                  <a:pt x="5658825" y="1941116"/>
                  <a:pt x="5651568" y="1941259"/>
                  <a:pt x="5644952" y="1937560"/>
                </a:cubicBezTo>
                <a:lnTo>
                  <a:pt x="5643885" y="1936564"/>
                </a:lnTo>
                <a:lnTo>
                  <a:pt x="5638550" y="1949795"/>
                </a:lnTo>
                <a:lnTo>
                  <a:pt x="5637269" y="1953636"/>
                </a:lnTo>
                <a:lnTo>
                  <a:pt x="5638123" y="1954916"/>
                </a:lnTo>
                <a:cubicBezTo>
                  <a:pt x="5638763" y="1956339"/>
                  <a:pt x="5638977" y="1957904"/>
                  <a:pt x="5640257" y="1959184"/>
                </a:cubicBezTo>
                <a:cubicBezTo>
                  <a:pt x="5639190" y="1959611"/>
                  <a:pt x="5637696" y="1960465"/>
                  <a:pt x="5635989" y="1960749"/>
                </a:cubicBezTo>
                <a:lnTo>
                  <a:pt x="5635135" y="1960607"/>
                </a:lnTo>
                <a:lnTo>
                  <a:pt x="5634921" y="1961034"/>
                </a:lnTo>
                <a:lnTo>
                  <a:pt x="5634708" y="1960607"/>
                </a:lnTo>
                <a:lnTo>
                  <a:pt x="5633001" y="1960607"/>
                </a:lnTo>
                <a:cubicBezTo>
                  <a:pt x="5631934" y="1960181"/>
                  <a:pt x="5630866" y="1959611"/>
                  <a:pt x="5629586" y="1958615"/>
                </a:cubicBezTo>
                <a:cubicBezTo>
                  <a:pt x="5628306" y="1957477"/>
                  <a:pt x="5628306" y="1957335"/>
                  <a:pt x="5628306" y="1956197"/>
                </a:cubicBezTo>
                <a:cubicBezTo>
                  <a:pt x="5627665" y="1954916"/>
                  <a:pt x="5627025" y="1953920"/>
                  <a:pt x="5626598" y="1953067"/>
                </a:cubicBezTo>
                <a:lnTo>
                  <a:pt x="5626598" y="1952498"/>
                </a:lnTo>
                <a:lnTo>
                  <a:pt x="5625104" y="1951360"/>
                </a:lnTo>
                <a:cubicBezTo>
                  <a:pt x="5621476" y="1949083"/>
                  <a:pt x="5617208" y="1947661"/>
                  <a:pt x="5613366" y="1946096"/>
                </a:cubicBezTo>
                <a:lnTo>
                  <a:pt x="5612299" y="1948230"/>
                </a:lnTo>
                <a:cubicBezTo>
                  <a:pt x="5610592" y="1949653"/>
                  <a:pt x="5608671" y="1950648"/>
                  <a:pt x="5607391" y="1952356"/>
                </a:cubicBezTo>
                <a:cubicBezTo>
                  <a:pt x="5603122" y="1949510"/>
                  <a:pt x="5601841" y="1945526"/>
                  <a:pt x="5602482" y="1942539"/>
                </a:cubicBezTo>
                <a:lnTo>
                  <a:pt x="5603762" y="1940262"/>
                </a:lnTo>
                <a:lnTo>
                  <a:pt x="5601841" y="1938555"/>
                </a:lnTo>
                <a:cubicBezTo>
                  <a:pt x="5600774" y="1937133"/>
                  <a:pt x="5599708" y="1935425"/>
                  <a:pt x="5598853" y="1933433"/>
                </a:cubicBezTo>
                <a:cubicBezTo>
                  <a:pt x="5597360" y="1929593"/>
                  <a:pt x="5596506" y="1926036"/>
                  <a:pt x="5596506" y="1922621"/>
                </a:cubicBezTo>
                <a:lnTo>
                  <a:pt x="5597787" y="1917215"/>
                </a:lnTo>
                <a:lnTo>
                  <a:pt x="5597360" y="1916931"/>
                </a:lnTo>
                <a:cubicBezTo>
                  <a:pt x="5596293" y="1915081"/>
                  <a:pt x="5596293" y="1911952"/>
                  <a:pt x="5598213" y="1908395"/>
                </a:cubicBezTo>
                <a:lnTo>
                  <a:pt x="5600988" y="1910101"/>
                </a:lnTo>
                <a:lnTo>
                  <a:pt x="5603976" y="1905976"/>
                </a:lnTo>
                <a:lnTo>
                  <a:pt x="5608031" y="1903416"/>
                </a:lnTo>
                <a:lnTo>
                  <a:pt x="5609098" y="1900143"/>
                </a:lnTo>
                <a:lnTo>
                  <a:pt x="5605896" y="1900854"/>
                </a:lnTo>
                <a:cubicBezTo>
                  <a:pt x="5604829" y="1900712"/>
                  <a:pt x="5603336" y="1900000"/>
                  <a:pt x="5601841" y="1898720"/>
                </a:cubicBezTo>
                <a:cubicBezTo>
                  <a:pt x="5601628" y="1895164"/>
                  <a:pt x="5606110" y="1889331"/>
                  <a:pt x="5609524" y="1889473"/>
                </a:cubicBezTo>
                <a:cubicBezTo>
                  <a:pt x="5610592" y="1890753"/>
                  <a:pt x="5611872" y="1892033"/>
                  <a:pt x="5612939" y="1893172"/>
                </a:cubicBezTo>
                <a:lnTo>
                  <a:pt x="5612086" y="1894879"/>
                </a:lnTo>
                <a:lnTo>
                  <a:pt x="5615927" y="1889757"/>
                </a:lnTo>
                <a:cubicBezTo>
                  <a:pt x="5620836" y="1884778"/>
                  <a:pt x="5627238" y="1881933"/>
                  <a:pt x="5634281" y="1882786"/>
                </a:cubicBezTo>
                <a:close/>
                <a:moveTo>
                  <a:pt x="741690" y="1882477"/>
                </a:moveTo>
                <a:cubicBezTo>
                  <a:pt x="743548" y="1882167"/>
                  <a:pt x="745200" y="1881857"/>
                  <a:pt x="746439" y="1883251"/>
                </a:cubicBezTo>
                <a:cubicBezTo>
                  <a:pt x="746853" y="1883716"/>
                  <a:pt x="747162" y="1884336"/>
                  <a:pt x="747369" y="1885110"/>
                </a:cubicBezTo>
                <a:cubicBezTo>
                  <a:pt x="747369" y="1885110"/>
                  <a:pt x="747369" y="1885110"/>
                  <a:pt x="746956" y="1885730"/>
                </a:cubicBezTo>
                <a:cubicBezTo>
                  <a:pt x="746130" y="1887124"/>
                  <a:pt x="745613" y="1887743"/>
                  <a:pt x="745200" y="1888518"/>
                </a:cubicBezTo>
                <a:cubicBezTo>
                  <a:pt x="744065" y="1888673"/>
                  <a:pt x="740967" y="1888673"/>
                  <a:pt x="740657" y="1887434"/>
                </a:cubicBezTo>
                <a:cubicBezTo>
                  <a:pt x="740347" y="1886349"/>
                  <a:pt x="740244" y="1885110"/>
                  <a:pt x="740451" y="1884181"/>
                </a:cubicBezTo>
                <a:cubicBezTo>
                  <a:pt x="740657" y="1883251"/>
                  <a:pt x="741173" y="1882477"/>
                  <a:pt x="741690" y="1882477"/>
                </a:cubicBezTo>
                <a:close/>
                <a:moveTo>
                  <a:pt x="876452" y="1881819"/>
                </a:moveTo>
                <a:cubicBezTo>
                  <a:pt x="878117" y="1883445"/>
                  <a:pt x="878401" y="1886195"/>
                  <a:pt x="874787" y="1888053"/>
                </a:cubicBezTo>
                <a:cubicBezTo>
                  <a:pt x="872309" y="1885575"/>
                  <a:pt x="870657" y="1883871"/>
                  <a:pt x="869830" y="1882322"/>
                </a:cubicBezTo>
                <a:cubicBezTo>
                  <a:pt x="871741" y="1879689"/>
                  <a:pt x="874787" y="1880192"/>
                  <a:pt x="876452" y="1881819"/>
                </a:cubicBezTo>
                <a:close/>
                <a:moveTo>
                  <a:pt x="5585835" y="1881221"/>
                </a:moveTo>
                <a:cubicBezTo>
                  <a:pt x="5589250" y="1880367"/>
                  <a:pt x="5593305" y="1882075"/>
                  <a:pt x="5596506" y="1887623"/>
                </a:cubicBezTo>
                <a:cubicBezTo>
                  <a:pt x="5595866" y="1898293"/>
                  <a:pt x="5583274" y="1901423"/>
                  <a:pt x="5579432" y="1890469"/>
                </a:cubicBezTo>
                <a:cubicBezTo>
                  <a:pt x="5579859" y="1885631"/>
                  <a:pt x="5582420" y="1882075"/>
                  <a:pt x="5585835" y="1881221"/>
                </a:cubicBezTo>
                <a:close/>
                <a:moveTo>
                  <a:pt x="5523516" y="1880937"/>
                </a:moveTo>
                <a:cubicBezTo>
                  <a:pt x="5523730" y="1880794"/>
                  <a:pt x="5523943" y="1880794"/>
                  <a:pt x="5525011" y="1880937"/>
                </a:cubicBezTo>
                <a:cubicBezTo>
                  <a:pt x="5523943" y="1882075"/>
                  <a:pt x="5523943" y="1882217"/>
                  <a:pt x="5523943" y="1883497"/>
                </a:cubicBezTo>
                <a:cubicBezTo>
                  <a:pt x="5523943" y="1883497"/>
                  <a:pt x="5522876" y="1882075"/>
                  <a:pt x="5522876" y="1882075"/>
                </a:cubicBezTo>
                <a:cubicBezTo>
                  <a:pt x="5523303" y="1881506"/>
                  <a:pt x="5523516" y="1881079"/>
                  <a:pt x="5523516" y="1880937"/>
                </a:cubicBezTo>
                <a:close/>
                <a:moveTo>
                  <a:pt x="1413165" y="1880153"/>
                </a:moveTo>
                <a:cubicBezTo>
                  <a:pt x="1417398" y="1881547"/>
                  <a:pt x="1416469" y="1884181"/>
                  <a:pt x="1415436" y="1886814"/>
                </a:cubicBezTo>
                <a:cubicBezTo>
                  <a:pt x="1412855" y="1885265"/>
                  <a:pt x="1410996" y="1888673"/>
                  <a:pt x="1409344" y="1885265"/>
                </a:cubicBezTo>
                <a:cubicBezTo>
                  <a:pt x="1409448" y="1883561"/>
                  <a:pt x="1410377" y="1881857"/>
                  <a:pt x="1413165" y="1880153"/>
                </a:cubicBezTo>
                <a:close/>
                <a:moveTo>
                  <a:pt x="811181" y="1880153"/>
                </a:moveTo>
                <a:cubicBezTo>
                  <a:pt x="811697" y="1880463"/>
                  <a:pt x="812214" y="1880928"/>
                  <a:pt x="812730" y="1881857"/>
                </a:cubicBezTo>
                <a:cubicBezTo>
                  <a:pt x="813246" y="1886039"/>
                  <a:pt x="809219" y="1887279"/>
                  <a:pt x="806225" y="1890222"/>
                </a:cubicBezTo>
                <a:cubicBezTo>
                  <a:pt x="805502" y="1889757"/>
                  <a:pt x="804263" y="1889912"/>
                  <a:pt x="803850" y="1890686"/>
                </a:cubicBezTo>
                <a:cubicBezTo>
                  <a:pt x="802611" y="1890841"/>
                  <a:pt x="801475" y="1890996"/>
                  <a:pt x="802198" y="1891461"/>
                </a:cubicBezTo>
                <a:cubicBezTo>
                  <a:pt x="798687" y="1892081"/>
                  <a:pt x="798171" y="1892855"/>
                  <a:pt x="796416" y="1890686"/>
                </a:cubicBezTo>
                <a:cubicBezTo>
                  <a:pt x="800649" y="1885730"/>
                  <a:pt x="807670" y="1881392"/>
                  <a:pt x="809323" y="1880463"/>
                </a:cubicBezTo>
                <a:cubicBezTo>
                  <a:pt x="810045" y="1879999"/>
                  <a:pt x="810665" y="1879999"/>
                  <a:pt x="811181" y="1880153"/>
                </a:cubicBezTo>
                <a:close/>
                <a:moveTo>
                  <a:pt x="1958339" y="1880058"/>
                </a:moveTo>
                <a:lnTo>
                  <a:pt x="1957015" y="1881547"/>
                </a:lnTo>
                <a:cubicBezTo>
                  <a:pt x="1955363" y="1883871"/>
                  <a:pt x="1954537" y="1885885"/>
                  <a:pt x="1955054" y="1887589"/>
                </a:cubicBezTo>
                <a:lnTo>
                  <a:pt x="1958339" y="1889343"/>
                </a:lnTo>
                <a:close/>
                <a:moveTo>
                  <a:pt x="5295371" y="1879372"/>
                </a:moveTo>
                <a:cubicBezTo>
                  <a:pt x="5304121" y="1881221"/>
                  <a:pt x="5310310" y="1886628"/>
                  <a:pt x="5313512" y="1893456"/>
                </a:cubicBezTo>
                <a:cubicBezTo>
                  <a:pt x="5315005" y="1896302"/>
                  <a:pt x="5315859" y="1899432"/>
                  <a:pt x="5316286" y="1902704"/>
                </a:cubicBezTo>
                <a:lnTo>
                  <a:pt x="5316286" y="1902846"/>
                </a:lnTo>
                <a:lnTo>
                  <a:pt x="5322048" y="1900997"/>
                </a:lnTo>
                <a:cubicBezTo>
                  <a:pt x="5330585" y="1900000"/>
                  <a:pt x="5332292" y="1906545"/>
                  <a:pt x="5331012" y="1912805"/>
                </a:cubicBezTo>
                <a:lnTo>
                  <a:pt x="5330371" y="1914085"/>
                </a:lnTo>
                <a:lnTo>
                  <a:pt x="5330585" y="1914085"/>
                </a:lnTo>
                <a:cubicBezTo>
                  <a:pt x="5333786" y="1917357"/>
                  <a:pt x="5332933" y="1922479"/>
                  <a:pt x="5333786" y="1921910"/>
                </a:cubicBezTo>
                <a:cubicBezTo>
                  <a:pt x="5335280" y="1922337"/>
                  <a:pt x="5335280" y="1922337"/>
                  <a:pt x="5336347" y="1921626"/>
                </a:cubicBezTo>
                <a:cubicBezTo>
                  <a:pt x="5336774" y="1922764"/>
                  <a:pt x="5338909" y="1924186"/>
                  <a:pt x="5340402" y="1924471"/>
                </a:cubicBezTo>
                <a:cubicBezTo>
                  <a:pt x="5339335" y="1925183"/>
                  <a:pt x="5338268" y="1925751"/>
                  <a:pt x="5338909" y="1926889"/>
                </a:cubicBezTo>
                <a:cubicBezTo>
                  <a:pt x="5335707" y="1926036"/>
                  <a:pt x="5335280" y="1925040"/>
                  <a:pt x="5333786" y="1924613"/>
                </a:cubicBezTo>
                <a:cubicBezTo>
                  <a:pt x="5334213" y="1925609"/>
                  <a:pt x="5332719" y="1925183"/>
                  <a:pt x="5332719" y="1925183"/>
                </a:cubicBezTo>
                <a:cubicBezTo>
                  <a:pt x="5332719" y="1925183"/>
                  <a:pt x="5332719" y="1925324"/>
                  <a:pt x="5331652" y="1928596"/>
                </a:cubicBezTo>
                <a:cubicBezTo>
                  <a:pt x="5331652" y="1928596"/>
                  <a:pt x="5328664" y="1935852"/>
                  <a:pt x="5321408" y="1934999"/>
                </a:cubicBezTo>
                <a:cubicBezTo>
                  <a:pt x="5322048" y="1933291"/>
                  <a:pt x="5312658" y="1931015"/>
                  <a:pt x="5312658" y="1925609"/>
                </a:cubicBezTo>
                <a:lnTo>
                  <a:pt x="5312658" y="1922906"/>
                </a:lnTo>
                <a:lnTo>
                  <a:pt x="5306896" y="1931868"/>
                </a:lnTo>
                <a:cubicBezTo>
                  <a:pt x="5305401" y="1931300"/>
                  <a:pt x="5303908" y="1930873"/>
                  <a:pt x="5303267" y="1932438"/>
                </a:cubicBezTo>
                <a:cubicBezTo>
                  <a:pt x="5291956" y="1929308"/>
                  <a:pt x="5285340" y="1917215"/>
                  <a:pt x="5284913" y="1904838"/>
                </a:cubicBezTo>
                <a:lnTo>
                  <a:pt x="5284913" y="1904553"/>
                </a:lnTo>
                <a:lnTo>
                  <a:pt x="5282992" y="1904981"/>
                </a:lnTo>
                <a:cubicBezTo>
                  <a:pt x="5282352" y="1903984"/>
                  <a:pt x="5281285" y="1904553"/>
                  <a:pt x="5281925" y="1902988"/>
                </a:cubicBezTo>
                <a:lnTo>
                  <a:pt x="5279791" y="1902277"/>
                </a:lnTo>
                <a:lnTo>
                  <a:pt x="5277871" y="1905264"/>
                </a:lnTo>
                <a:lnTo>
                  <a:pt x="5274456" y="1905976"/>
                </a:lnTo>
                <a:lnTo>
                  <a:pt x="5275096" y="1907683"/>
                </a:lnTo>
                <a:cubicBezTo>
                  <a:pt x="5286194" y="1916077"/>
                  <a:pt x="5287474" y="1930873"/>
                  <a:pt x="5297291" y="1945811"/>
                </a:cubicBezTo>
                <a:lnTo>
                  <a:pt x="5294303" y="1945669"/>
                </a:lnTo>
                <a:lnTo>
                  <a:pt x="5294517" y="1947091"/>
                </a:lnTo>
                <a:cubicBezTo>
                  <a:pt x="5291743" y="1950791"/>
                  <a:pt x="5287687" y="1952071"/>
                  <a:pt x="5284273" y="1951075"/>
                </a:cubicBezTo>
                <a:lnTo>
                  <a:pt x="5280218" y="1947945"/>
                </a:lnTo>
                <a:lnTo>
                  <a:pt x="5273388" y="1951502"/>
                </a:lnTo>
                <a:cubicBezTo>
                  <a:pt x="5271041" y="1952782"/>
                  <a:pt x="5268693" y="1953920"/>
                  <a:pt x="5266346" y="1954490"/>
                </a:cubicBezTo>
                <a:cubicBezTo>
                  <a:pt x="5262931" y="1955343"/>
                  <a:pt x="5259516" y="1955201"/>
                  <a:pt x="5255675" y="1953493"/>
                </a:cubicBezTo>
                <a:cubicBezTo>
                  <a:pt x="5227930" y="1942255"/>
                  <a:pt x="5237961" y="1898435"/>
                  <a:pt x="5263358" y="1902704"/>
                </a:cubicBezTo>
                <a:lnTo>
                  <a:pt x="5271895" y="1906403"/>
                </a:lnTo>
                <a:lnTo>
                  <a:pt x="5267840" y="1901708"/>
                </a:lnTo>
                <a:lnTo>
                  <a:pt x="5266986" y="1900143"/>
                </a:lnTo>
                <a:lnTo>
                  <a:pt x="5264638" y="1898009"/>
                </a:lnTo>
                <a:lnTo>
                  <a:pt x="5264852" y="1888334"/>
                </a:lnTo>
                <a:lnTo>
                  <a:pt x="5264425" y="1889615"/>
                </a:lnTo>
                <a:cubicBezTo>
                  <a:pt x="5263358" y="1887481"/>
                  <a:pt x="5258662" y="1889046"/>
                  <a:pt x="5259730" y="1885631"/>
                </a:cubicBezTo>
                <a:lnTo>
                  <a:pt x="5264852" y="1887908"/>
                </a:lnTo>
                <a:lnTo>
                  <a:pt x="5264852" y="1886058"/>
                </a:lnTo>
                <a:cubicBezTo>
                  <a:pt x="5266132" y="1886912"/>
                  <a:pt x="5267200" y="1885347"/>
                  <a:pt x="5268053" y="1883924"/>
                </a:cubicBezTo>
                <a:cubicBezTo>
                  <a:pt x="5273175" y="1882928"/>
                  <a:pt x="5277444" y="1887196"/>
                  <a:pt x="5279791" y="1892318"/>
                </a:cubicBezTo>
                <a:lnTo>
                  <a:pt x="5280645" y="1897440"/>
                </a:lnTo>
                <a:lnTo>
                  <a:pt x="5282992" y="1900285"/>
                </a:lnTo>
                <a:lnTo>
                  <a:pt x="5285340" y="1901565"/>
                </a:lnTo>
                <a:lnTo>
                  <a:pt x="5286407" y="1892745"/>
                </a:lnTo>
                <a:lnTo>
                  <a:pt x="5289395" y="1888477"/>
                </a:lnTo>
                <a:lnTo>
                  <a:pt x="5288115" y="1886058"/>
                </a:lnTo>
                <a:cubicBezTo>
                  <a:pt x="5288755" y="1884778"/>
                  <a:pt x="5289608" y="1884067"/>
                  <a:pt x="5290675" y="1883497"/>
                </a:cubicBezTo>
                <a:lnTo>
                  <a:pt x="5293023" y="1882928"/>
                </a:lnTo>
                <a:close/>
                <a:moveTo>
                  <a:pt x="1667485" y="1878914"/>
                </a:moveTo>
                <a:cubicBezTo>
                  <a:pt x="1670273" y="1877985"/>
                  <a:pt x="1672751" y="1879689"/>
                  <a:pt x="1675023" y="1883251"/>
                </a:cubicBezTo>
                <a:cubicBezTo>
                  <a:pt x="1674093" y="1884800"/>
                  <a:pt x="1673887" y="1886504"/>
                  <a:pt x="1672854" y="1888827"/>
                </a:cubicBezTo>
                <a:cubicBezTo>
                  <a:pt x="1670170" y="1888363"/>
                  <a:pt x="1665213" y="1885110"/>
                  <a:pt x="1664697" y="1880773"/>
                </a:cubicBezTo>
                <a:cubicBezTo>
                  <a:pt x="1665626" y="1879844"/>
                  <a:pt x="1666659" y="1879224"/>
                  <a:pt x="1667485" y="1878914"/>
                </a:cubicBezTo>
                <a:close/>
                <a:moveTo>
                  <a:pt x="1249710" y="1878856"/>
                </a:moveTo>
                <a:cubicBezTo>
                  <a:pt x="1251362" y="1878450"/>
                  <a:pt x="1253118" y="1878140"/>
                  <a:pt x="1254357" y="1879379"/>
                </a:cubicBezTo>
                <a:lnTo>
                  <a:pt x="1256112" y="1881083"/>
                </a:lnTo>
                <a:lnTo>
                  <a:pt x="1256422" y="1879070"/>
                </a:lnTo>
                <a:cubicBezTo>
                  <a:pt x="1263237" y="1880153"/>
                  <a:pt x="1270671" y="1883716"/>
                  <a:pt x="1272324" y="1884646"/>
                </a:cubicBezTo>
                <a:cubicBezTo>
                  <a:pt x="1273149" y="1885110"/>
                  <a:pt x="1273562" y="1885575"/>
                  <a:pt x="1273562" y="1886039"/>
                </a:cubicBezTo>
                <a:cubicBezTo>
                  <a:pt x="1273562" y="1886504"/>
                  <a:pt x="1273356" y="1887279"/>
                  <a:pt x="1272736" y="1888053"/>
                </a:cubicBezTo>
                <a:cubicBezTo>
                  <a:pt x="1271807" y="1888673"/>
                  <a:pt x="1270878" y="1888982"/>
                  <a:pt x="1270052" y="1888982"/>
                </a:cubicBezTo>
                <a:lnTo>
                  <a:pt x="1270362" y="1889603"/>
                </a:lnTo>
                <a:lnTo>
                  <a:pt x="1270568" y="1889603"/>
                </a:lnTo>
                <a:cubicBezTo>
                  <a:pt x="1273769" y="1890531"/>
                  <a:pt x="1276660" y="1892390"/>
                  <a:pt x="1277899" y="1892700"/>
                </a:cubicBezTo>
                <a:cubicBezTo>
                  <a:pt x="1277899" y="1892700"/>
                  <a:pt x="1278829" y="1892700"/>
                  <a:pt x="1279655" y="1893474"/>
                </a:cubicBezTo>
                <a:cubicBezTo>
                  <a:pt x="1281306" y="1894249"/>
                  <a:pt x="1278725" y="1895178"/>
                  <a:pt x="1279551" y="1895953"/>
                </a:cubicBezTo>
                <a:lnTo>
                  <a:pt x="1273149" y="1895798"/>
                </a:lnTo>
                <a:lnTo>
                  <a:pt x="1272839" y="1900910"/>
                </a:lnTo>
                <a:cubicBezTo>
                  <a:pt x="1267883" y="1903543"/>
                  <a:pt x="1261378" y="1899980"/>
                  <a:pt x="1257351" y="1895643"/>
                </a:cubicBezTo>
                <a:lnTo>
                  <a:pt x="1256938" y="1895333"/>
                </a:lnTo>
                <a:lnTo>
                  <a:pt x="1256835" y="1895643"/>
                </a:lnTo>
                <a:cubicBezTo>
                  <a:pt x="1257455" y="1896727"/>
                  <a:pt x="1260036" y="1897502"/>
                  <a:pt x="1258694" y="1899515"/>
                </a:cubicBezTo>
                <a:cubicBezTo>
                  <a:pt x="1255183" y="1903388"/>
                  <a:pt x="1249091" y="1902303"/>
                  <a:pt x="1245890" y="1901529"/>
                </a:cubicBezTo>
                <a:lnTo>
                  <a:pt x="1244031" y="1901064"/>
                </a:lnTo>
                <a:lnTo>
                  <a:pt x="1244031" y="1901839"/>
                </a:lnTo>
                <a:lnTo>
                  <a:pt x="1243205" y="1901064"/>
                </a:lnTo>
                <a:lnTo>
                  <a:pt x="1242999" y="1901064"/>
                </a:lnTo>
                <a:cubicBezTo>
                  <a:pt x="1242999" y="1900136"/>
                  <a:pt x="1242069" y="1900290"/>
                  <a:pt x="1242069" y="1901064"/>
                </a:cubicBezTo>
                <a:cubicBezTo>
                  <a:pt x="1240830" y="1900290"/>
                  <a:pt x="1239798" y="1899670"/>
                  <a:pt x="1239281" y="1899051"/>
                </a:cubicBezTo>
                <a:cubicBezTo>
                  <a:pt x="1238971" y="1898741"/>
                  <a:pt x="1238868" y="1898432"/>
                  <a:pt x="1238868" y="1898122"/>
                </a:cubicBezTo>
                <a:cubicBezTo>
                  <a:pt x="1238971" y="1897812"/>
                  <a:pt x="1239281" y="1897347"/>
                  <a:pt x="1239695" y="1896882"/>
                </a:cubicBezTo>
                <a:cubicBezTo>
                  <a:pt x="1240624" y="1895178"/>
                  <a:pt x="1242276" y="1895953"/>
                  <a:pt x="1244134" y="1894249"/>
                </a:cubicBezTo>
                <a:cubicBezTo>
                  <a:pt x="1246922" y="1890686"/>
                  <a:pt x="1240211" y="1885885"/>
                  <a:pt x="1245683" y="1878914"/>
                </a:cubicBezTo>
                <a:cubicBezTo>
                  <a:pt x="1246509" y="1879766"/>
                  <a:pt x="1248058" y="1879263"/>
                  <a:pt x="1249710" y="1878856"/>
                </a:cubicBezTo>
                <a:close/>
                <a:moveTo>
                  <a:pt x="6095908" y="1878802"/>
                </a:moveTo>
                <a:cubicBezTo>
                  <a:pt x="6098469" y="1878802"/>
                  <a:pt x="6101457" y="1879798"/>
                  <a:pt x="6104445" y="1880937"/>
                </a:cubicBezTo>
                <a:cubicBezTo>
                  <a:pt x="6104232" y="1890042"/>
                  <a:pt x="6090360" y="1884067"/>
                  <a:pt x="6095908" y="1878802"/>
                </a:cubicBezTo>
                <a:close/>
                <a:moveTo>
                  <a:pt x="5022193" y="1876953"/>
                </a:moveTo>
                <a:cubicBezTo>
                  <a:pt x="5024328" y="1876384"/>
                  <a:pt x="5028383" y="1878802"/>
                  <a:pt x="5030944" y="1880510"/>
                </a:cubicBezTo>
                <a:cubicBezTo>
                  <a:pt x="5031584" y="1884067"/>
                  <a:pt x="5030090" y="1888050"/>
                  <a:pt x="5027316" y="1891323"/>
                </a:cubicBezTo>
                <a:cubicBezTo>
                  <a:pt x="5021980" y="1888050"/>
                  <a:pt x="5021126" y="1883355"/>
                  <a:pt x="5022193" y="1876953"/>
                </a:cubicBezTo>
                <a:close/>
                <a:moveTo>
                  <a:pt x="1290290" y="1876901"/>
                </a:moveTo>
                <a:cubicBezTo>
                  <a:pt x="1297725" y="1883251"/>
                  <a:pt x="1291116" y="1895488"/>
                  <a:pt x="1286573" y="1900755"/>
                </a:cubicBezTo>
                <a:cubicBezTo>
                  <a:pt x="1286366" y="1896882"/>
                  <a:pt x="1285850" y="1893165"/>
                  <a:pt x="1286160" y="1889137"/>
                </a:cubicBezTo>
                <a:cubicBezTo>
                  <a:pt x="1286469" y="1885265"/>
                  <a:pt x="1287502" y="1881238"/>
                  <a:pt x="1290290" y="1876901"/>
                </a:cubicBezTo>
                <a:close/>
                <a:moveTo>
                  <a:pt x="3836647" y="1875103"/>
                </a:moveTo>
                <a:cubicBezTo>
                  <a:pt x="3838141" y="1875815"/>
                  <a:pt x="3838781" y="1876953"/>
                  <a:pt x="3838781" y="1877949"/>
                </a:cubicBezTo>
                <a:cubicBezTo>
                  <a:pt x="3838994" y="1878945"/>
                  <a:pt x="3838568" y="1880083"/>
                  <a:pt x="3838354" y="1880937"/>
                </a:cubicBezTo>
                <a:cubicBezTo>
                  <a:pt x="3838141" y="1882786"/>
                  <a:pt x="3836860" y="1884209"/>
                  <a:pt x="3835366" y="1885062"/>
                </a:cubicBezTo>
                <a:cubicBezTo>
                  <a:pt x="3833659" y="1885916"/>
                  <a:pt x="3831524" y="1886343"/>
                  <a:pt x="3829817" y="1886343"/>
                </a:cubicBezTo>
                <a:cubicBezTo>
                  <a:pt x="3830885" y="1885916"/>
                  <a:pt x="3830885" y="1886058"/>
                  <a:pt x="3830885" y="1886058"/>
                </a:cubicBezTo>
                <a:cubicBezTo>
                  <a:pt x="3831738" y="1884493"/>
                  <a:pt x="3830457" y="1884921"/>
                  <a:pt x="3830244" y="1883782"/>
                </a:cubicBezTo>
                <a:cubicBezTo>
                  <a:pt x="3830244" y="1883782"/>
                  <a:pt x="3830671" y="1884921"/>
                  <a:pt x="3829177" y="1884209"/>
                </a:cubicBezTo>
                <a:cubicBezTo>
                  <a:pt x="3830244" y="1883782"/>
                  <a:pt x="3830031" y="1882644"/>
                  <a:pt x="3829817" y="1881506"/>
                </a:cubicBezTo>
                <a:cubicBezTo>
                  <a:pt x="3831311" y="1878375"/>
                  <a:pt x="3834085" y="1874819"/>
                  <a:pt x="3836647" y="1875103"/>
                </a:cubicBezTo>
                <a:close/>
                <a:moveTo>
                  <a:pt x="3709876" y="1875103"/>
                </a:moveTo>
                <a:cubicBezTo>
                  <a:pt x="3711369" y="1875246"/>
                  <a:pt x="3713290" y="1875815"/>
                  <a:pt x="3715638" y="1876953"/>
                </a:cubicBezTo>
                <a:cubicBezTo>
                  <a:pt x="3717132" y="1885204"/>
                  <a:pt x="3722467" y="1899716"/>
                  <a:pt x="3709876" y="1903842"/>
                </a:cubicBezTo>
                <a:cubicBezTo>
                  <a:pt x="3699418" y="1896159"/>
                  <a:pt x="3698137" y="1874392"/>
                  <a:pt x="3709876" y="1875103"/>
                </a:cubicBezTo>
                <a:close/>
                <a:moveTo>
                  <a:pt x="1070870" y="1874887"/>
                </a:moveTo>
                <a:cubicBezTo>
                  <a:pt x="1079441" y="1877056"/>
                  <a:pt x="1088114" y="1877675"/>
                  <a:pt x="1096065" y="1887279"/>
                </a:cubicBezTo>
                <a:cubicBezTo>
                  <a:pt x="1095032" y="1889603"/>
                  <a:pt x="1096375" y="1893939"/>
                  <a:pt x="1092038" y="1894094"/>
                </a:cubicBezTo>
                <a:cubicBezTo>
                  <a:pt x="1087701" y="1883406"/>
                  <a:pt x="1071800" y="1884955"/>
                  <a:pt x="1070870" y="1874887"/>
                </a:cubicBezTo>
                <a:close/>
                <a:moveTo>
                  <a:pt x="5524157" y="1874819"/>
                </a:moveTo>
                <a:cubicBezTo>
                  <a:pt x="5524157" y="1874819"/>
                  <a:pt x="5525224" y="1874961"/>
                  <a:pt x="5525224" y="1874961"/>
                </a:cubicBezTo>
                <a:cubicBezTo>
                  <a:pt x="5525224" y="1876242"/>
                  <a:pt x="5525011" y="1877522"/>
                  <a:pt x="5523943" y="1877380"/>
                </a:cubicBezTo>
                <a:cubicBezTo>
                  <a:pt x="5522876" y="1877238"/>
                  <a:pt x="5523090" y="1875957"/>
                  <a:pt x="5524157" y="1874819"/>
                </a:cubicBezTo>
                <a:close/>
                <a:moveTo>
                  <a:pt x="1051035" y="1874720"/>
                </a:moveTo>
                <a:cubicBezTo>
                  <a:pt x="1055711" y="1878082"/>
                  <a:pt x="1055305" y="1890222"/>
                  <a:pt x="1050426" y="1890686"/>
                </a:cubicBezTo>
                <a:cubicBezTo>
                  <a:pt x="1047844" y="1890841"/>
                  <a:pt x="1044230" y="1888053"/>
                  <a:pt x="1039377" y="1879534"/>
                </a:cubicBezTo>
                <a:cubicBezTo>
                  <a:pt x="1041339" y="1877365"/>
                  <a:pt x="1043095" y="1875971"/>
                  <a:pt x="1044643" y="1875042"/>
                </a:cubicBezTo>
                <a:cubicBezTo>
                  <a:pt x="1047354" y="1873454"/>
                  <a:pt x="1049477" y="1873600"/>
                  <a:pt x="1051035" y="1874720"/>
                </a:cubicBezTo>
                <a:close/>
                <a:moveTo>
                  <a:pt x="3859910" y="1874534"/>
                </a:moveTo>
                <a:cubicBezTo>
                  <a:pt x="3861190" y="1876811"/>
                  <a:pt x="3862470" y="1881648"/>
                  <a:pt x="3860336" y="1883782"/>
                </a:cubicBezTo>
                <a:cubicBezTo>
                  <a:pt x="3860336" y="1883782"/>
                  <a:pt x="3860336" y="1883782"/>
                  <a:pt x="3859269" y="1884921"/>
                </a:cubicBezTo>
                <a:cubicBezTo>
                  <a:pt x="3859269" y="1881363"/>
                  <a:pt x="3858842" y="1876811"/>
                  <a:pt x="3859910" y="1874534"/>
                </a:cubicBezTo>
                <a:close/>
                <a:moveTo>
                  <a:pt x="1620194" y="1874267"/>
                </a:moveTo>
                <a:cubicBezTo>
                  <a:pt x="1622259" y="1874267"/>
                  <a:pt x="1624221" y="1875197"/>
                  <a:pt x="1625873" y="1877210"/>
                </a:cubicBezTo>
                <a:cubicBezTo>
                  <a:pt x="1625769" y="1881392"/>
                  <a:pt x="1620194" y="1883096"/>
                  <a:pt x="1617303" y="1884491"/>
                </a:cubicBezTo>
                <a:cubicBezTo>
                  <a:pt x="1615340" y="1881703"/>
                  <a:pt x="1613379" y="1878760"/>
                  <a:pt x="1613998" y="1876436"/>
                </a:cubicBezTo>
                <a:cubicBezTo>
                  <a:pt x="1616064" y="1874887"/>
                  <a:pt x="1618129" y="1874113"/>
                  <a:pt x="1620194" y="1874267"/>
                </a:cubicBezTo>
                <a:close/>
                <a:moveTo>
                  <a:pt x="3732071" y="1874250"/>
                </a:moveTo>
                <a:cubicBezTo>
                  <a:pt x="3732925" y="1873538"/>
                  <a:pt x="3734205" y="1873538"/>
                  <a:pt x="3735699" y="1874392"/>
                </a:cubicBezTo>
                <a:cubicBezTo>
                  <a:pt x="3735486" y="1876100"/>
                  <a:pt x="3736339" y="1878660"/>
                  <a:pt x="3735272" y="1881079"/>
                </a:cubicBezTo>
                <a:cubicBezTo>
                  <a:pt x="3729083" y="1882502"/>
                  <a:pt x="3729297" y="1876100"/>
                  <a:pt x="3732071" y="1874250"/>
                </a:cubicBezTo>
                <a:close/>
                <a:moveTo>
                  <a:pt x="5167532" y="1874108"/>
                </a:moveTo>
                <a:cubicBezTo>
                  <a:pt x="5173935" y="1881506"/>
                  <a:pt x="5176709" y="1889899"/>
                  <a:pt x="5176069" y="1897724"/>
                </a:cubicBezTo>
                <a:cubicBezTo>
                  <a:pt x="5176069" y="1898720"/>
                  <a:pt x="5175642" y="1899574"/>
                  <a:pt x="5175642" y="1900570"/>
                </a:cubicBezTo>
                <a:cubicBezTo>
                  <a:pt x="5177136" y="1900854"/>
                  <a:pt x="5178630" y="1901281"/>
                  <a:pt x="5177990" y="1900285"/>
                </a:cubicBezTo>
                <a:cubicBezTo>
                  <a:pt x="5179484" y="1900712"/>
                  <a:pt x="5180551" y="1901423"/>
                  <a:pt x="5181191" y="1902277"/>
                </a:cubicBezTo>
                <a:cubicBezTo>
                  <a:pt x="5181832" y="1903273"/>
                  <a:pt x="5182258" y="1904411"/>
                  <a:pt x="5182258" y="1905834"/>
                </a:cubicBezTo>
                <a:cubicBezTo>
                  <a:pt x="5181618" y="1907399"/>
                  <a:pt x="5179484" y="1908679"/>
                  <a:pt x="5176069" y="1909533"/>
                </a:cubicBezTo>
                <a:cubicBezTo>
                  <a:pt x="5174148" y="1908395"/>
                  <a:pt x="5175215" y="1904411"/>
                  <a:pt x="5175429" y="1901565"/>
                </a:cubicBezTo>
                <a:cubicBezTo>
                  <a:pt x="5173081" y="1912947"/>
                  <a:pt x="5164758" y="1922764"/>
                  <a:pt x="5152593" y="1925324"/>
                </a:cubicBezTo>
                <a:cubicBezTo>
                  <a:pt x="5151739" y="1923902"/>
                  <a:pt x="5150672" y="1922479"/>
                  <a:pt x="5149392" y="1923332"/>
                </a:cubicBezTo>
                <a:lnTo>
                  <a:pt x="5144910" y="1912236"/>
                </a:lnTo>
                <a:lnTo>
                  <a:pt x="5144269" y="1913374"/>
                </a:lnTo>
                <a:cubicBezTo>
                  <a:pt x="5143629" y="1914370"/>
                  <a:pt x="5142776" y="1914939"/>
                  <a:pt x="5142562" y="1914370"/>
                </a:cubicBezTo>
                <a:cubicBezTo>
                  <a:pt x="5141069" y="1913800"/>
                  <a:pt x="5141495" y="1914939"/>
                  <a:pt x="5140428" y="1915508"/>
                </a:cubicBezTo>
                <a:lnTo>
                  <a:pt x="5138934" y="1914512"/>
                </a:lnTo>
                <a:lnTo>
                  <a:pt x="5138294" y="1915365"/>
                </a:lnTo>
                <a:cubicBezTo>
                  <a:pt x="5136800" y="1917784"/>
                  <a:pt x="5136800" y="1917784"/>
                  <a:pt x="5135306" y="1917357"/>
                </a:cubicBezTo>
                <a:cubicBezTo>
                  <a:pt x="5134452" y="1917073"/>
                  <a:pt x="5134026" y="1916077"/>
                  <a:pt x="5133385" y="1915081"/>
                </a:cubicBezTo>
                <a:lnTo>
                  <a:pt x="5132318" y="1913800"/>
                </a:lnTo>
                <a:lnTo>
                  <a:pt x="5130184" y="1915650"/>
                </a:lnTo>
                <a:cubicBezTo>
                  <a:pt x="5129330" y="1916647"/>
                  <a:pt x="5128477" y="1917642"/>
                  <a:pt x="5127196" y="1918780"/>
                </a:cubicBezTo>
                <a:cubicBezTo>
                  <a:pt x="5123995" y="1916788"/>
                  <a:pt x="5119727" y="1909817"/>
                  <a:pt x="5121434" y="1904126"/>
                </a:cubicBezTo>
                <a:cubicBezTo>
                  <a:pt x="5123141" y="1903557"/>
                  <a:pt x="5124635" y="1903416"/>
                  <a:pt x="5125915" y="1903557"/>
                </a:cubicBezTo>
                <a:cubicBezTo>
                  <a:pt x="5127836" y="1903700"/>
                  <a:pt x="5129330" y="1904695"/>
                  <a:pt x="5130611" y="1906403"/>
                </a:cubicBezTo>
                <a:lnTo>
                  <a:pt x="5132318" y="1911382"/>
                </a:lnTo>
                <a:lnTo>
                  <a:pt x="5132958" y="1910244"/>
                </a:lnTo>
                <a:lnTo>
                  <a:pt x="5135093" y="1909817"/>
                </a:lnTo>
                <a:lnTo>
                  <a:pt x="5134666" y="1906972"/>
                </a:lnTo>
                <a:cubicBezTo>
                  <a:pt x="5135306" y="1905264"/>
                  <a:pt x="5136160" y="1903416"/>
                  <a:pt x="5137226" y="1901850"/>
                </a:cubicBezTo>
                <a:lnTo>
                  <a:pt x="5141069" y="1900000"/>
                </a:lnTo>
                <a:lnTo>
                  <a:pt x="5138294" y="1900143"/>
                </a:lnTo>
                <a:cubicBezTo>
                  <a:pt x="5137440" y="1896870"/>
                  <a:pt x="5139148" y="1895021"/>
                  <a:pt x="5141282" y="1894452"/>
                </a:cubicBezTo>
                <a:lnTo>
                  <a:pt x="5144910" y="1895164"/>
                </a:lnTo>
                <a:lnTo>
                  <a:pt x="5145337" y="1892033"/>
                </a:lnTo>
                <a:cubicBezTo>
                  <a:pt x="5148965" y="1881933"/>
                  <a:pt x="5157075" y="1874108"/>
                  <a:pt x="5167532" y="1874108"/>
                </a:cubicBezTo>
                <a:close/>
                <a:moveTo>
                  <a:pt x="3602525" y="1874108"/>
                </a:moveTo>
                <a:cubicBezTo>
                  <a:pt x="3609782" y="1877807"/>
                  <a:pt x="3618532" y="1880083"/>
                  <a:pt x="3624721" y="1886058"/>
                </a:cubicBezTo>
                <a:cubicBezTo>
                  <a:pt x="3617251" y="1889046"/>
                  <a:pt x="3601885" y="1885774"/>
                  <a:pt x="3602525" y="1874108"/>
                </a:cubicBezTo>
                <a:close/>
                <a:moveTo>
                  <a:pt x="1531393" y="1873958"/>
                </a:moveTo>
                <a:lnTo>
                  <a:pt x="1529844" y="1875661"/>
                </a:lnTo>
                <a:lnTo>
                  <a:pt x="1531909" y="1875661"/>
                </a:lnTo>
                <a:cubicBezTo>
                  <a:pt x="1537898" y="1876591"/>
                  <a:pt x="1543268" y="1880928"/>
                  <a:pt x="1543681" y="1890222"/>
                </a:cubicBezTo>
                <a:cubicBezTo>
                  <a:pt x="1533975" y="1898276"/>
                  <a:pt x="1520345" y="1899980"/>
                  <a:pt x="1515079" y="1892545"/>
                </a:cubicBezTo>
                <a:cubicBezTo>
                  <a:pt x="1514459" y="1891151"/>
                  <a:pt x="1514149" y="1889912"/>
                  <a:pt x="1513943" y="1888827"/>
                </a:cubicBezTo>
                <a:cubicBezTo>
                  <a:pt x="1513117" y="1882477"/>
                  <a:pt x="1518693" y="1877520"/>
                  <a:pt x="1525301" y="1875971"/>
                </a:cubicBezTo>
                <a:lnTo>
                  <a:pt x="1527160" y="1875816"/>
                </a:lnTo>
                <a:lnTo>
                  <a:pt x="1528399" y="1874577"/>
                </a:lnTo>
                <a:cubicBezTo>
                  <a:pt x="1529122" y="1873958"/>
                  <a:pt x="1529948" y="1873802"/>
                  <a:pt x="1531393" y="1873958"/>
                </a:cubicBezTo>
                <a:close/>
                <a:moveTo>
                  <a:pt x="3819360" y="1873538"/>
                </a:moveTo>
                <a:cubicBezTo>
                  <a:pt x="3821707" y="1874819"/>
                  <a:pt x="3822988" y="1876100"/>
                  <a:pt x="3824055" y="1877380"/>
                </a:cubicBezTo>
                <a:cubicBezTo>
                  <a:pt x="3826402" y="1878802"/>
                  <a:pt x="3826402" y="1880083"/>
                  <a:pt x="3824268" y="1882359"/>
                </a:cubicBezTo>
                <a:cubicBezTo>
                  <a:pt x="3821921" y="1881079"/>
                  <a:pt x="3818293" y="1875957"/>
                  <a:pt x="3819360" y="1873538"/>
                </a:cubicBezTo>
                <a:close/>
                <a:moveTo>
                  <a:pt x="887488" y="1873183"/>
                </a:moveTo>
                <a:cubicBezTo>
                  <a:pt x="893683" y="1869466"/>
                  <a:pt x="899362" y="1877675"/>
                  <a:pt x="897400" y="1882787"/>
                </a:cubicBezTo>
                <a:cubicBezTo>
                  <a:pt x="892754" y="1885420"/>
                  <a:pt x="887488" y="1881547"/>
                  <a:pt x="886662" y="1877365"/>
                </a:cubicBezTo>
                <a:cubicBezTo>
                  <a:pt x="886455" y="1875971"/>
                  <a:pt x="886662" y="1874422"/>
                  <a:pt x="887488" y="1873183"/>
                </a:cubicBezTo>
                <a:close/>
                <a:moveTo>
                  <a:pt x="1337478" y="1872718"/>
                </a:moveTo>
                <a:lnTo>
                  <a:pt x="1337478" y="1874422"/>
                </a:lnTo>
                <a:lnTo>
                  <a:pt x="1337788" y="1873648"/>
                </a:lnTo>
                <a:lnTo>
                  <a:pt x="1337581" y="1873493"/>
                </a:lnTo>
                <a:cubicBezTo>
                  <a:pt x="1337994" y="1873338"/>
                  <a:pt x="1338201" y="1873028"/>
                  <a:pt x="1338098" y="1872873"/>
                </a:cubicBezTo>
                <a:close/>
                <a:moveTo>
                  <a:pt x="1438463" y="1872409"/>
                </a:moveTo>
                <a:cubicBezTo>
                  <a:pt x="1439702" y="1871944"/>
                  <a:pt x="1440837" y="1871634"/>
                  <a:pt x="1441147" y="1872718"/>
                </a:cubicBezTo>
                <a:cubicBezTo>
                  <a:pt x="1441457" y="1873802"/>
                  <a:pt x="1442180" y="1874113"/>
                  <a:pt x="1440631" y="1875352"/>
                </a:cubicBezTo>
                <a:cubicBezTo>
                  <a:pt x="1440218" y="1876126"/>
                  <a:pt x="1439082" y="1876436"/>
                  <a:pt x="1438566" y="1877210"/>
                </a:cubicBezTo>
                <a:cubicBezTo>
                  <a:pt x="1438566" y="1877210"/>
                  <a:pt x="1437946" y="1877210"/>
                  <a:pt x="1437224" y="1877056"/>
                </a:cubicBezTo>
                <a:cubicBezTo>
                  <a:pt x="1436501" y="1876746"/>
                  <a:pt x="1435778" y="1876436"/>
                  <a:pt x="1435571" y="1875816"/>
                </a:cubicBezTo>
                <a:cubicBezTo>
                  <a:pt x="1435262" y="1875506"/>
                  <a:pt x="1435365" y="1875197"/>
                  <a:pt x="1435468" y="1874887"/>
                </a:cubicBezTo>
                <a:cubicBezTo>
                  <a:pt x="1436088" y="1873802"/>
                  <a:pt x="1438153" y="1873028"/>
                  <a:pt x="1438463" y="1872409"/>
                </a:cubicBezTo>
                <a:close/>
                <a:moveTo>
                  <a:pt x="5676752" y="1872116"/>
                </a:moveTo>
                <a:cubicBezTo>
                  <a:pt x="5678033" y="1871831"/>
                  <a:pt x="5679100" y="1872116"/>
                  <a:pt x="5679740" y="1872827"/>
                </a:cubicBezTo>
                <a:cubicBezTo>
                  <a:pt x="5681233" y="1874819"/>
                  <a:pt x="5682728" y="1876811"/>
                  <a:pt x="5682088" y="1879087"/>
                </a:cubicBezTo>
                <a:cubicBezTo>
                  <a:pt x="5681661" y="1879798"/>
                  <a:pt x="5681233" y="1880510"/>
                  <a:pt x="5680380" y="1881221"/>
                </a:cubicBezTo>
                <a:cubicBezTo>
                  <a:pt x="5680380" y="1881221"/>
                  <a:pt x="5680380" y="1881221"/>
                  <a:pt x="5679100" y="1881079"/>
                </a:cubicBezTo>
                <a:cubicBezTo>
                  <a:pt x="5676965" y="1880652"/>
                  <a:pt x="5675685" y="1880510"/>
                  <a:pt x="5674618" y="1880226"/>
                </a:cubicBezTo>
                <a:cubicBezTo>
                  <a:pt x="5673550" y="1878945"/>
                  <a:pt x="5671417" y="1875103"/>
                  <a:pt x="5672697" y="1874108"/>
                </a:cubicBezTo>
                <a:cubicBezTo>
                  <a:pt x="5673977" y="1873112"/>
                  <a:pt x="5675258" y="1872258"/>
                  <a:pt x="5676752" y="1872116"/>
                </a:cubicBezTo>
                <a:close/>
                <a:moveTo>
                  <a:pt x="3478528" y="1871831"/>
                </a:moveTo>
                <a:cubicBezTo>
                  <a:pt x="3480023" y="1871690"/>
                  <a:pt x="3481516" y="1872116"/>
                  <a:pt x="3483437" y="1873397"/>
                </a:cubicBezTo>
                <a:cubicBezTo>
                  <a:pt x="3488132" y="1883497"/>
                  <a:pt x="3479382" y="1888761"/>
                  <a:pt x="3472980" y="1886201"/>
                </a:cubicBezTo>
                <a:cubicBezTo>
                  <a:pt x="3470845" y="1885204"/>
                  <a:pt x="3469138" y="1883497"/>
                  <a:pt x="3468071" y="1880937"/>
                </a:cubicBezTo>
                <a:cubicBezTo>
                  <a:pt x="3471272" y="1876953"/>
                  <a:pt x="3474260" y="1871973"/>
                  <a:pt x="3478528" y="1871831"/>
                </a:cubicBezTo>
                <a:close/>
                <a:moveTo>
                  <a:pt x="1258590" y="1871169"/>
                </a:moveTo>
                <a:cubicBezTo>
                  <a:pt x="1262204" y="1873648"/>
                  <a:pt x="1261998" y="1875352"/>
                  <a:pt x="1260656" y="1878449"/>
                </a:cubicBezTo>
                <a:cubicBezTo>
                  <a:pt x="1259416" y="1877520"/>
                  <a:pt x="1258797" y="1876591"/>
                  <a:pt x="1258590" y="1875506"/>
                </a:cubicBezTo>
                <a:cubicBezTo>
                  <a:pt x="1258384" y="1874267"/>
                  <a:pt x="1258487" y="1873028"/>
                  <a:pt x="1258590" y="1871169"/>
                </a:cubicBezTo>
                <a:close/>
                <a:moveTo>
                  <a:pt x="6026547" y="1870836"/>
                </a:moveTo>
                <a:cubicBezTo>
                  <a:pt x="6029535" y="1870693"/>
                  <a:pt x="6031669" y="1871405"/>
                  <a:pt x="6033376" y="1875246"/>
                </a:cubicBezTo>
                <a:cubicBezTo>
                  <a:pt x="6030388" y="1879372"/>
                  <a:pt x="6022492" y="1878945"/>
                  <a:pt x="6015236" y="1879514"/>
                </a:cubicBezTo>
                <a:cubicBezTo>
                  <a:pt x="6015449" y="1876100"/>
                  <a:pt x="6015663" y="1874392"/>
                  <a:pt x="6015022" y="1871831"/>
                </a:cubicBezTo>
                <a:cubicBezTo>
                  <a:pt x="6019931" y="1872116"/>
                  <a:pt x="6023772" y="1870978"/>
                  <a:pt x="6026547" y="1870836"/>
                </a:cubicBezTo>
                <a:close/>
                <a:moveTo>
                  <a:pt x="3876556" y="1870551"/>
                </a:moveTo>
                <a:cubicBezTo>
                  <a:pt x="3878477" y="1870836"/>
                  <a:pt x="3880398" y="1871546"/>
                  <a:pt x="3882532" y="1872827"/>
                </a:cubicBezTo>
                <a:cubicBezTo>
                  <a:pt x="3883599" y="1877522"/>
                  <a:pt x="3880398" y="1880510"/>
                  <a:pt x="3876343" y="1881648"/>
                </a:cubicBezTo>
                <a:cubicBezTo>
                  <a:pt x="3872288" y="1882786"/>
                  <a:pt x="3867166" y="1882075"/>
                  <a:pt x="3864391" y="1879087"/>
                </a:cubicBezTo>
                <a:cubicBezTo>
                  <a:pt x="3867806" y="1873397"/>
                  <a:pt x="3871434" y="1869839"/>
                  <a:pt x="3876556" y="1870551"/>
                </a:cubicBezTo>
                <a:close/>
                <a:moveTo>
                  <a:pt x="1481624" y="1870395"/>
                </a:moveTo>
                <a:cubicBezTo>
                  <a:pt x="1483999" y="1869621"/>
                  <a:pt x="1486374" y="1869001"/>
                  <a:pt x="1486787" y="1871325"/>
                </a:cubicBezTo>
                <a:cubicBezTo>
                  <a:pt x="1485135" y="1872254"/>
                  <a:pt x="1485341" y="1873493"/>
                  <a:pt x="1482243" y="1873648"/>
                </a:cubicBezTo>
                <a:cubicBezTo>
                  <a:pt x="1482037" y="1872563"/>
                  <a:pt x="1481830" y="1871479"/>
                  <a:pt x="1481624" y="1870395"/>
                </a:cubicBezTo>
                <a:close/>
                <a:moveTo>
                  <a:pt x="4868531" y="1870266"/>
                </a:moveTo>
                <a:cubicBezTo>
                  <a:pt x="4876215" y="1871262"/>
                  <a:pt x="4880270" y="1896870"/>
                  <a:pt x="4860421" y="1879941"/>
                </a:cubicBezTo>
                <a:cubicBezTo>
                  <a:pt x="4862982" y="1872258"/>
                  <a:pt x="4865970" y="1869839"/>
                  <a:pt x="4868531" y="1870266"/>
                </a:cubicBezTo>
                <a:close/>
                <a:moveTo>
                  <a:pt x="4635050" y="1869697"/>
                </a:moveTo>
                <a:lnTo>
                  <a:pt x="4633770" y="1869982"/>
                </a:lnTo>
                <a:lnTo>
                  <a:pt x="4633556" y="1869982"/>
                </a:lnTo>
                <a:lnTo>
                  <a:pt x="4636117" y="1872685"/>
                </a:lnTo>
                <a:lnTo>
                  <a:pt x="4638678" y="1874108"/>
                </a:lnTo>
                <a:lnTo>
                  <a:pt x="4639745" y="1872116"/>
                </a:lnTo>
                <a:cubicBezTo>
                  <a:pt x="4639958" y="1871831"/>
                  <a:pt x="4640172" y="1871690"/>
                  <a:pt x="4640386" y="1871546"/>
                </a:cubicBezTo>
                <a:cubicBezTo>
                  <a:pt x="4639958" y="1871831"/>
                  <a:pt x="4639318" y="1871973"/>
                  <a:pt x="4638678" y="1871831"/>
                </a:cubicBezTo>
                <a:cubicBezTo>
                  <a:pt x="4637825" y="1872401"/>
                  <a:pt x="4637184" y="1871405"/>
                  <a:pt x="4635477" y="1870978"/>
                </a:cubicBezTo>
                <a:close/>
                <a:moveTo>
                  <a:pt x="1462005" y="1869466"/>
                </a:moveTo>
                <a:cubicBezTo>
                  <a:pt x="1462934" y="1869621"/>
                  <a:pt x="1464690" y="1869775"/>
                  <a:pt x="1465412" y="1870550"/>
                </a:cubicBezTo>
                <a:cubicBezTo>
                  <a:pt x="1466342" y="1870705"/>
                  <a:pt x="1464999" y="1873183"/>
                  <a:pt x="1464999" y="1873183"/>
                </a:cubicBezTo>
                <a:cubicBezTo>
                  <a:pt x="1463967" y="1873958"/>
                  <a:pt x="1461592" y="1872099"/>
                  <a:pt x="1460766" y="1872099"/>
                </a:cubicBezTo>
                <a:cubicBezTo>
                  <a:pt x="1460869" y="1871169"/>
                  <a:pt x="1461902" y="1870395"/>
                  <a:pt x="1462005" y="1869466"/>
                </a:cubicBezTo>
                <a:close/>
                <a:moveTo>
                  <a:pt x="3817226" y="1869413"/>
                </a:moveTo>
                <a:cubicBezTo>
                  <a:pt x="3817652" y="1869555"/>
                  <a:pt x="3817866" y="1869839"/>
                  <a:pt x="3817866" y="1869839"/>
                </a:cubicBezTo>
                <a:cubicBezTo>
                  <a:pt x="3819146" y="1871120"/>
                  <a:pt x="3820427" y="1872401"/>
                  <a:pt x="3819146" y="1873538"/>
                </a:cubicBezTo>
                <a:cubicBezTo>
                  <a:pt x="3819146" y="1873538"/>
                  <a:pt x="3818079" y="1873397"/>
                  <a:pt x="3815731" y="1870978"/>
                </a:cubicBezTo>
                <a:cubicBezTo>
                  <a:pt x="3816799" y="1870978"/>
                  <a:pt x="3816799" y="1869839"/>
                  <a:pt x="3816799" y="1869839"/>
                </a:cubicBezTo>
                <a:cubicBezTo>
                  <a:pt x="3816799" y="1869839"/>
                  <a:pt x="3816799" y="1869839"/>
                  <a:pt x="3815518" y="1869839"/>
                </a:cubicBezTo>
                <a:cubicBezTo>
                  <a:pt x="3816158" y="1869271"/>
                  <a:pt x="3816799" y="1869271"/>
                  <a:pt x="3817226" y="1869413"/>
                </a:cubicBezTo>
                <a:close/>
                <a:moveTo>
                  <a:pt x="3558774" y="1869128"/>
                </a:moveTo>
                <a:cubicBezTo>
                  <a:pt x="3561335" y="1873397"/>
                  <a:pt x="3556427" y="1876953"/>
                  <a:pt x="3553652" y="1875530"/>
                </a:cubicBezTo>
                <a:cubicBezTo>
                  <a:pt x="3552585" y="1875103"/>
                  <a:pt x="3552158" y="1874108"/>
                  <a:pt x="3551944" y="1872401"/>
                </a:cubicBezTo>
                <a:cubicBezTo>
                  <a:pt x="3554079" y="1870693"/>
                  <a:pt x="3555787" y="1870124"/>
                  <a:pt x="3558774" y="1869128"/>
                </a:cubicBezTo>
                <a:close/>
                <a:moveTo>
                  <a:pt x="5364946" y="1868702"/>
                </a:moveTo>
                <a:cubicBezTo>
                  <a:pt x="5365586" y="1868986"/>
                  <a:pt x="5366439" y="1869555"/>
                  <a:pt x="5367080" y="1870409"/>
                </a:cubicBezTo>
                <a:cubicBezTo>
                  <a:pt x="5367080" y="1870409"/>
                  <a:pt x="5367080" y="1870409"/>
                  <a:pt x="5366867" y="1871546"/>
                </a:cubicBezTo>
                <a:cubicBezTo>
                  <a:pt x="5366653" y="1873965"/>
                  <a:pt x="5366653" y="1875103"/>
                  <a:pt x="5366439" y="1876384"/>
                </a:cubicBezTo>
                <a:cubicBezTo>
                  <a:pt x="5365159" y="1877522"/>
                  <a:pt x="5361531" y="1879798"/>
                  <a:pt x="5360464" y="1878518"/>
                </a:cubicBezTo>
                <a:cubicBezTo>
                  <a:pt x="5358543" y="1876100"/>
                  <a:pt x="5357689" y="1872685"/>
                  <a:pt x="5358970" y="1871405"/>
                </a:cubicBezTo>
                <a:cubicBezTo>
                  <a:pt x="5360891" y="1869697"/>
                  <a:pt x="5362811" y="1867990"/>
                  <a:pt x="5364946" y="1868702"/>
                </a:cubicBezTo>
                <a:close/>
                <a:moveTo>
                  <a:pt x="5525651" y="1868132"/>
                </a:moveTo>
                <a:cubicBezTo>
                  <a:pt x="5526077" y="1868132"/>
                  <a:pt x="5526718" y="1868275"/>
                  <a:pt x="5527785" y="1868417"/>
                </a:cubicBezTo>
                <a:cubicBezTo>
                  <a:pt x="5526504" y="1871831"/>
                  <a:pt x="5526504" y="1871831"/>
                  <a:pt x="5524157" y="1873965"/>
                </a:cubicBezTo>
                <a:cubicBezTo>
                  <a:pt x="5524157" y="1872685"/>
                  <a:pt x="5523090" y="1870266"/>
                  <a:pt x="5524370" y="1869128"/>
                </a:cubicBezTo>
                <a:cubicBezTo>
                  <a:pt x="5525011" y="1868559"/>
                  <a:pt x="5525224" y="1868275"/>
                  <a:pt x="5525651" y="1868132"/>
                </a:cubicBezTo>
                <a:close/>
                <a:moveTo>
                  <a:pt x="955224" y="1867297"/>
                </a:moveTo>
                <a:cubicBezTo>
                  <a:pt x="956669" y="1866523"/>
                  <a:pt x="959147" y="1866678"/>
                  <a:pt x="959767" y="1868846"/>
                </a:cubicBezTo>
                <a:cubicBezTo>
                  <a:pt x="958837" y="1869621"/>
                  <a:pt x="957805" y="1871014"/>
                  <a:pt x="956050" y="1871634"/>
                </a:cubicBezTo>
                <a:cubicBezTo>
                  <a:pt x="954604" y="1870705"/>
                  <a:pt x="953985" y="1869775"/>
                  <a:pt x="953985" y="1869001"/>
                </a:cubicBezTo>
                <a:cubicBezTo>
                  <a:pt x="953985" y="1868227"/>
                  <a:pt x="954501" y="1867607"/>
                  <a:pt x="955224" y="1867297"/>
                </a:cubicBezTo>
                <a:close/>
                <a:moveTo>
                  <a:pt x="991905" y="1867084"/>
                </a:moveTo>
                <a:cubicBezTo>
                  <a:pt x="994513" y="1866329"/>
                  <a:pt x="997507" y="1866833"/>
                  <a:pt x="1000863" y="1869621"/>
                </a:cubicBezTo>
                <a:cubicBezTo>
                  <a:pt x="1002515" y="1870395"/>
                  <a:pt x="1001689" y="1870395"/>
                  <a:pt x="1002515" y="1871325"/>
                </a:cubicBezTo>
                <a:cubicBezTo>
                  <a:pt x="1003341" y="1872099"/>
                  <a:pt x="1004993" y="1872873"/>
                  <a:pt x="1005819" y="1872873"/>
                </a:cubicBezTo>
                <a:cubicBezTo>
                  <a:pt x="1003134" y="1876281"/>
                  <a:pt x="1005613" y="1877830"/>
                  <a:pt x="1001069" y="1883096"/>
                </a:cubicBezTo>
                <a:cubicBezTo>
                  <a:pt x="995597" y="1890067"/>
                  <a:pt x="989608" y="1888673"/>
                  <a:pt x="986303" y="1886349"/>
                </a:cubicBezTo>
                <a:cubicBezTo>
                  <a:pt x="986923" y="1885575"/>
                  <a:pt x="982380" y="1882322"/>
                  <a:pt x="982793" y="1877520"/>
                </a:cubicBezTo>
                <a:cubicBezTo>
                  <a:pt x="982896" y="1875816"/>
                  <a:pt x="983619" y="1873958"/>
                  <a:pt x="985271" y="1872099"/>
                </a:cubicBezTo>
                <a:cubicBezTo>
                  <a:pt x="987078" y="1869853"/>
                  <a:pt x="989298" y="1867839"/>
                  <a:pt x="991905" y="1867084"/>
                </a:cubicBezTo>
                <a:close/>
                <a:moveTo>
                  <a:pt x="3503498" y="1866710"/>
                </a:moveTo>
                <a:cubicBezTo>
                  <a:pt x="3506486" y="1866425"/>
                  <a:pt x="3509261" y="1867421"/>
                  <a:pt x="3510755" y="1869982"/>
                </a:cubicBezTo>
                <a:cubicBezTo>
                  <a:pt x="3511822" y="1871546"/>
                  <a:pt x="3512035" y="1873823"/>
                  <a:pt x="3511608" y="1876668"/>
                </a:cubicBezTo>
                <a:cubicBezTo>
                  <a:pt x="3508834" y="1880794"/>
                  <a:pt x="3504565" y="1882786"/>
                  <a:pt x="3501151" y="1882359"/>
                </a:cubicBezTo>
                <a:cubicBezTo>
                  <a:pt x="3497523" y="1881790"/>
                  <a:pt x="3494961" y="1878660"/>
                  <a:pt x="3494961" y="1872401"/>
                </a:cubicBezTo>
                <a:cubicBezTo>
                  <a:pt x="3497309" y="1868986"/>
                  <a:pt x="3500511" y="1867136"/>
                  <a:pt x="3503498" y="1866710"/>
                </a:cubicBezTo>
                <a:close/>
                <a:moveTo>
                  <a:pt x="926415" y="1866678"/>
                </a:moveTo>
                <a:cubicBezTo>
                  <a:pt x="933436" y="1872563"/>
                  <a:pt x="930442" y="1877210"/>
                  <a:pt x="926105" y="1877830"/>
                </a:cubicBezTo>
                <a:cubicBezTo>
                  <a:pt x="924660" y="1877985"/>
                  <a:pt x="923111" y="1877675"/>
                  <a:pt x="921768" y="1876901"/>
                </a:cubicBezTo>
                <a:cubicBezTo>
                  <a:pt x="919910" y="1875816"/>
                  <a:pt x="918464" y="1873648"/>
                  <a:pt x="918051" y="1870240"/>
                </a:cubicBezTo>
                <a:cubicBezTo>
                  <a:pt x="919497" y="1868846"/>
                  <a:pt x="920942" y="1868381"/>
                  <a:pt x="922285" y="1867917"/>
                </a:cubicBezTo>
                <a:cubicBezTo>
                  <a:pt x="923731" y="1867452"/>
                  <a:pt x="924969" y="1867297"/>
                  <a:pt x="926415" y="1866678"/>
                </a:cubicBezTo>
                <a:close/>
                <a:moveTo>
                  <a:pt x="1453744" y="1866213"/>
                </a:moveTo>
                <a:lnTo>
                  <a:pt x="1454054" y="1868536"/>
                </a:lnTo>
                <a:lnTo>
                  <a:pt x="1456120" y="1869311"/>
                </a:lnTo>
                <a:cubicBezTo>
                  <a:pt x="1456120" y="1869311"/>
                  <a:pt x="1456016" y="1870085"/>
                  <a:pt x="1456016" y="1870085"/>
                </a:cubicBezTo>
                <a:lnTo>
                  <a:pt x="1454467" y="1871014"/>
                </a:lnTo>
                <a:lnTo>
                  <a:pt x="1454570" y="1871169"/>
                </a:lnTo>
                <a:cubicBezTo>
                  <a:pt x="1454158" y="1872563"/>
                  <a:pt x="1453022" y="1873648"/>
                  <a:pt x="1451679" y="1874267"/>
                </a:cubicBezTo>
                <a:cubicBezTo>
                  <a:pt x="1449924" y="1873338"/>
                  <a:pt x="1448995" y="1871944"/>
                  <a:pt x="1448788" y="1870705"/>
                </a:cubicBezTo>
                <a:cubicBezTo>
                  <a:pt x="1448582" y="1869466"/>
                  <a:pt x="1449201" y="1868381"/>
                  <a:pt x="1450440" y="1867452"/>
                </a:cubicBezTo>
                <a:cubicBezTo>
                  <a:pt x="1451266" y="1866832"/>
                  <a:pt x="1452299" y="1866368"/>
                  <a:pt x="1453744" y="1866213"/>
                </a:cubicBezTo>
                <a:close/>
                <a:moveTo>
                  <a:pt x="5031797" y="1865856"/>
                </a:moveTo>
                <a:cubicBezTo>
                  <a:pt x="5037773" y="1867563"/>
                  <a:pt x="5043322" y="1874250"/>
                  <a:pt x="5050578" y="1876953"/>
                </a:cubicBezTo>
                <a:cubicBezTo>
                  <a:pt x="5055274" y="1876953"/>
                  <a:pt x="5056981" y="1871405"/>
                  <a:pt x="5064877" y="1876953"/>
                </a:cubicBezTo>
                <a:cubicBezTo>
                  <a:pt x="5058048" y="1889046"/>
                  <a:pt x="5049938" y="1896586"/>
                  <a:pt x="5040547" y="1900143"/>
                </a:cubicBezTo>
                <a:cubicBezTo>
                  <a:pt x="5037347" y="1901423"/>
                  <a:pt x="5033932" y="1902134"/>
                  <a:pt x="5030517" y="1902419"/>
                </a:cubicBezTo>
                <a:cubicBezTo>
                  <a:pt x="5027529" y="1893172"/>
                  <a:pt x="5036492" y="1888192"/>
                  <a:pt x="5041828" y="1883070"/>
                </a:cubicBezTo>
                <a:cubicBezTo>
                  <a:pt x="5034572" y="1878802"/>
                  <a:pt x="5022407" y="1874534"/>
                  <a:pt x="5025608" y="1866141"/>
                </a:cubicBezTo>
                <a:cubicBezTo>
                  <a:pt x="5027742" y="1865287"/>
                  <a:pt x="5029876" y="1865287"/>
                  <a:pt x="5031797" y="1865856"/>
                </a:cubicBezTo>
                <a:close/>
                <a:moveTo>
                  <a:pt x="3618958" y="1865856"/>
                </a:moveTo>
                <a:cubicBezTo>
                  <a:pt x="3619813" y="1865856"/>
                  <a:pt x="3620666" y="1865998"/>
                  <a:pt x="3622160" y="1866425"/>
                </a:cubicBezTo>
                <a:cubicBezTo>
                  <a:pt x="3621093" y="1866994"/>
                  <a:pt x="3619599" y="1869271"/>
                  <a:pt x="3618105" y="1868986"/>
                </a:cubicBezTo>
                <a:cubicBezTo>
                  <a:pt x="3616397" y="1868559"/>
                  <a:pt x="3616397" y="1868559"/>
                  <a:pt x="3615330" y="1866567"/>
                </a:cubicBezTo>
                <a:cubicBezTo>
                  <a:pt x="3617251" y="1866141"/>
                  <a:pt x="3618105" y="1865856"/>
                  <a:pt x="3618958" y="1865856"/>
                </a:cubicBezTo>
                <a:close/>
                <a:moveTo>
                  <a:pt x="5624678" y="1865714"/>
                </a:moveTo>
                <a:cubicBezTo>
                  <a:pt x="5624678" y="1865714"/>
                  <a:pt x="5624678" y="1865714"/>
                  <a:pt x="5622330" y="1874392"/>
                </a:cubicBezTo>
                <a:cubicBezTo>
                  <a:pt x="5621690" y="1874108"/>
                  <a:pt x="5621476" y="1873538"/>
                  <a:pt x="5621476" y="1872827"/>
                </a:cubicBezTo>
                <a:cubicBezTo>
                  <a:pt x="5621690" y="1872116"/>
                  <a:pt x="5621903" y="1871262"/>
                  <a:pt x="5622330" y="1870551"/>
                </a:cubicBezTo>
                <a:cubicBezTo>
                  <a:pt x="5623183" y="1868844"/>
                  <a:pt x="5624037" y="1867279"/>
                  <a:pt x="5624678" y="1865714"/>
                </a:cubicBezTo>
                <a:close/>
                <a:moveTo>
                  <a:pt x="3923508" y="1865572"/>
                </a:moveTo>
                <a:cubicBezTo>
                  <a:pt x="3925429" y="1865002"/>
                  <a:pt x="3927137" y="1865429"/>
                  <a:pt x="3927564" y="1867136"/>
                </a:cubicBezTo>
                <a:cubicBezTo>
                  <a:pt x="3927777" y="1868417"/>
                  <a:pt x="3927350" y="1870124"/>
                  <a:pt x="3925643" y="1872685"/>
                </a:cubicBezTo>
                <a:cubicBezTo>
                  <a:pt x="3921588" y="1871405"/>
                  <a:pt x="3920094" y="1869982"/>
                  <a:pt x="3920094" y="1868559"/>
                </a:cubicBezTo>
                <a:cubicBezTo>
                  <a:pt x="3919880" y="1867136"/>
                  <a:pt x="3921588" y="1865998"/>
                  <a:pt x="3923508" y="1865572"/>
                </a:cubicBezTo>
                <a:close/>
                <a:moveTo>
                  <a:pt x="3678716" y="1865429"/>
                </a:moveTo>
                <a:cubicBezTo>
                  <a:pt x="3685119" y="1870124"/>
                  <a:pt x="3690241" y="1867421"/>
                  <a:pt x="3691095" y="1873681"/>
                </a:cubicBezTo>
                <a:cubicBezTo>
                  <a:pt x="3687039" y="1876100"/>
                  <a:pt x="3679143" y="1870409"/>
                  <a:pt x="3678716" y="1865429"/>
                </a:cubicBezTo>
                <a:close/>
                <a:moveTo>
                  <a:pt x="5230918" y="1864576"/>
                </a:moveTo>
                <a:cubicBezTo>
                  <a:pt x="5234120" y="1864576"/>
                  <a:pt x="5239455" y="1864718"/>
                  <a:pt x="5241589" y="1866567"/>
                </a:cubicBezTo>
                <a:cubicBezTo>
                  <a:pt x="5242443" y="1867136"/>
                  <a:pt x="5242870" y="1867990"/>
                  <a:pt x="5242656" y="1869128"/>
                </a:cubicBezTo>
                <a:cubicBezTo>
                  <a:pt x="5242229" y="1870693"/>
                  <a:pt x="5240735" y="1870409"/>
                  <a:pt x="5239668" y="1870978"/>
                </a:cubicBezTo>
                <a:cubicBezTo>
                  <a:pt x="5237107" y="1871262"/>
                  <a:pt x="5230491" y="1866141"/>
                  <a:pt x="5230918" y="1864576"/>
                </a:cubicBezTo>
                <a:close/>
                <a:moveTo>
                  <a:pt x="1256112" y="1864509"/>
                </a:moveTo>
                <a:cubicBezTo>
                  <a:pt x="1257248" y="1865128"/>
                  <a:pt x="1258590" y="1863889"/>
                  <a:pt x="1259726" y="1864509"/>
                </a:cubicBezTo>
                <a:cubicBezTo>
                  <a:pt x="1259726" y="1864509"/>
                  <a:pt x="1261481" y="1866678"/>
                  <a:pt x="1261481" y="1866678"/>
                </a:cubicBezTo>
                <a:cubicBezTo>
                  <a:pt x="1260965" y="1867762"/>
                  <a:pt x="1260965" y="1867762"/>
                  <a:pt x="1260656" y="1866987"/>
                </a:cubicBezTo>
                <a:cubicBezTo>
                  <a:pt x="1259313" y="1868227"/>
                  <a:pt x="1258487" y="1868381"/>
                  <a:pt x="1257661" y="1868691"/>
                </a:cubicBezTo>
                <a:cubicBezTo>
                  <a:pt x="1256525" y="1868071"/>
                  <a:pt x="1255802" y="1866368"/>
                  <a:pt x="1256112" y="1864509"/>
                </a:cubicBezTo>
                <a:close/>
                <a:moveTo>
                  <a:pt x="3896831" y="1864434"/>
                </a:moveTo>
                <a:cubicBezTo>
                  <a:pt x="3895551" y="1866710"/>
                  <a:pt x="3893416" y="1871405"/>
                  <a:pt x="3891496" y="1872970"/>
                </a:cubicBezTo>
                <a:cubicBezTo>
                  <a:pt x="3890642" y="1873538"/>
                  <a:pt x="3890002" y="1873681"/>
                  <a:pt x="3889362" y="1873397"/>
                </a:cubicBezTo>
                <a:cubicBezTo>
                  <a:pt x="3890855" y="1870266"/>
                  <a:pt x="3891922" y="1865002"/>
                  <a:pt x="3896831" y="1864434"/>
                </a:cubicBezTo>
                <a:close/>
                <a:moveTo>
                  <a:pt x="1527676" y="1864354"/>
                </a:moveTo>
                <a:cubicBezTo>
                  <a:pt x="1528399" y="1865283"/>
                  <a:pt x="1528192" y="1866987"/>
                  <a:pt x="1528915" y="1867917"/>
                </a:cubicBezTo>
                <a:cubicBezTo>
                  <a:pt x="1528089" y="1867917"/>
                  <a:pt x="1527057" y="1868691"/>
                  <a:pt x="1526230" y="1868691"/>
                </a:cubicBezTo>
                <a:cubicBezTo>
                  <a:pt x="1525817" y="1868227"/>
                  <a:pt x="1525611" y="1867762"/>
                  <a:pt x="1525611" y="1867297"/>
                </a:cubicBezTo>
                <a:cubicBezTo>
                  <a:pt x="1525611" y="1866832"/>
                  <a:pt x="1525817" y="1866368"/>
                  <a:pt x="1526024" y="1865903"/>
                </a:cubicBezTo>
                <a:cubicBezTo>
                  <a:pt x="1526437" y="1865128"/>
                  <a:pt x="1527160" y="1864354"/>
                  <a:pt x="1527676" y="1864354"/>
                </a:cubicBezTo>
                <a:close/>
                <a:moveTo>
                  <a:pt x="3624081" y="1864291"/>
                </a:moveTo>
                <a:cubicBezTo>
                  <a:pt x="3624508" y="1864149"/>
                  <a:pt x="3624934" y="1864149"/>
                  <a:pt x="3625361" y="1864576"/>
                </a:cubicBezTo>
                <a:cubicBezTo>
                  <a:pt x="3625788" y="1865572"/>
                  <a:pt x="3624721" y="1866283"/>
                  <a:pt x="3623013" y="1865998"/>
                </a:cubicBezTo>
                <a:cubicBezTo>
                  <a:pt x="3623013" y="1865998"/>
                  <a:pt x="3622587" y="1865002"/>
                  <a:pt x="3622587" y="1865002"/>
                </a:cubicBezTo>
                <a:cubicBezTo>
                  <a:pt x="3623013" y="1864718"/>
                  <a:pt x="3623653" y="1864434"/>
                  <a:pt x="3624081" y="1864291"/>
                </a:cubicBezTo>
                <a:close/>
                <a:moveTo>
                  <a:pt x="853103" y="1864199"/>
                </a:moveTo>
                <a:cubicBezTo>
                  <a:pt x="858059" y="1863270"/>
                  <a:pt x="864874" y="1865283"/>
                  <a:pt x="867559" y="1868227"/>
                </a:cubicBezTo>
                <a:cubicBezTo>
                  <a:pt x="867972" y="1871944"/>
                  <a:pt x="867043" y="1874577"/>
                  <a:pt x="865391" y="1875971"/>
                </a:cubicBezTo>
                <a:cubicBezTo>
                  <a:pt x="860331" y="1880308"/>
                  <a:pt x="848766" y="1874887"/>
                  <a:pt x="849179" y="1866213"/>
                </a:cubicBezTo>
                <a:cubicBezTo>
                  <a:pt x="850109" y="1865128"/>
                  <a:pt x="851554" y="1864509"/>
                  <a:pt x="853103" y="1864199"/>
                </a:cubicBezTo>
                <a:close/>
                <a:moveTo>
                  <a:pt x="1019191" y="1864025"/>
                </a:moveTo>
                <a:cubicBezTo>
                  <a:pt x="1022108" y="1865167"/>
                  <a:pt x="1025386" y="1868072"/>
                  <a:pt x="1028019" y="1869466"/>
                </a:cubicBezTo>
                <a:lnTo>
                  <a:pt x="1027193" y="1872099"/>
                </a:lnTo>
                <a:lnTo>
                  <a:pt x="1027399" y="1872409"/>
                </a:lnTo>
                <a:cubicBezTo>
                  <a:pt x="1028742" y="1876126"/>
                  <a:pt x="1025748" y="1879534"/>
                  <a:pt x="1022237" y="1878760"/>
                </a:cubicBezTo>
                <a:cubicBezTo>
                  <a:pt x="1020688" y="1878449"/>
                  <a:pt x="1019036" y="1877365"/>
                  <a:pt x="1017694" y="1875042"/>
                </a:cubicBezTo>
                <a:lnTo>
                  <a:pt x="1018106" y="1874422"/>
                </a:lnTo>
                <a:lnTo>
                  <a:pt x="1017074" y="1874113"/>
                </a:lnTo>
                <a:cubicBezTo>
                  <a:pt x="1015319" y="1872718"/>
                  <a:pt x="1013976" y="1870859"/>
                  <a:pt x="1012531" y="1869156"/>
                </a:cubicBezTo>
                <a:cubicBezTo>
                  <a:pt x="1013718" y="1863502"/>
                  <a:pt x="1016274" y="1862883"/>
                  <a:pt x="1019191" y="1864025"/>
                </a:cubicBezTo>
                <a:close/>
                <a:moveTo>
                  <a:pt x="5472296" y="1863722"/>
                </a:moveTo>
                <a:cubicBezTo>
                  <a:pt x="5473149" y="1863864"/>
                  <a:pt x="5474217" y="1864434"/>
                  <a:pt x="5474857" y="1864718"/>
                </a:cubicBezTo>
                <a:cubicBezTo>
                  <a:pt x="5471869" y="1865998"/>
                  <a:pt x="5471015" y="1867563"/>
                  <a:pt x="5470802" y="1866425"/>
                </a:cubicBezTo>
                <a:cubicBezTo>
                  <a:pt x="5469735" y="1866852"/>
                  <a:pt x="5469308" y="1865714"/>
                  <a:pt x="5470375" y="1865287"/>
                </a:cubicBezTo>
                <a:cubicBezTo>
                  <a:pt x="5470589" y="1863864"/>
                  <a:pt x="5471442" y="1863580"/>
                  <a:pt x="5472296" y="1863722"/>
                </a:cubicBezTo>
                <a:close/>
                <a:moveTo>
                  <a:pt x="3472552" y="1863580"/>
                </a:moveTo>
                <a:cubicBezTo>
                  <a:pt x="3472339" y="1866283"/>
                  <a:pt x="3471699" y="1867990"/>
                  <a:pt x="3470845" y="1869555"/>
                </a:cubicBezTo>
                <a:cubicBezTo>
                  <a:pt x="3470632" y="1872258"/>
                  <a:pt x="3469565" y="1872827"/>
                  <a:pt x="3466577" y="1871831"/>
                </a:cubicBezTo>
                <a:cubicBezTo>
                  <a:pt x="3466790" y="1869128"/>
                  <a:pt x="3469991" y="1863722"/>
                  <a:pt x="3472552" y="1863580"/>
                </a:cubicBezTo>
                <a:close/>
                <a:moveTo>
                  <a:pt x="5866269" y="1863437"/>
                </a:moveTo>
                <a:cubicBezTo>
                  <a:pt x="5867336" y="1863580"/>
                  <a:pt x="5868403" y="1863864"/>
                  <a:pt x="5869257" y="1864718"/>
                </a:cubicBezTo>
                <a:cubicBezTo>
                  <a:pt x="5863707" y="1871546"/>
                  <a:pt x="5852183" y="1892460"/>
                  <a:pt x="5842152" y="1884209"/>
                </a:cubicBezTo>
                <a:cubicBezTo>
                  <a:pt x="5847061" y="1879372"/>
                  <a:pt x="5858799" y="1863010"/>
                  <a:pt x="5866269" y="1863437"/>
                </a:cubicBezTo>
                <a:close/>
                <a:moveTo>
                  <a:pt x="1337272" y="1863425"/>
                </a:moveTo>
                <a:cubicBezTo>
                  <a:pt x="1337272" y="1864664"/>
                  <a:pt x="1337375" y="1866832"/>
                  <a:pt x="1337478" y="1869156"/>
                </a:cubicBezTo>
                <a:lnTo>
                  <a:pt x="1337478" y="1871789"/>
                </a:lnTo>
                <a:lnTo>
                  <a:pt x="1337994" y="1869311"/>
                </a:lnTo>
                <a:cubicBezTo>
                  <a:pt x="1338304" y="1868691"/>
                  <a:pt x="1338924" y="1868381"/>
                  <a:pt x="1340060" y="1868846"/>
                </a:cubicBezTo>
                <a:cubicBezTo>
                  <a:pt x="1342021" y="1869001"/>
                  <a:pt x="1342021" y="1870859"/>
                  <a:pt x="1344293" y="1871789"/>
                </a:cubicBezTo>
                <a:cubicBezTo>
                  <a:pt x="1346461" y="1872409"/>
                  <a:pt x="1348010" y="1870550"/>
                  <a:pt x="1349972" y="1869001"/>
                </a:cubicBezTo>
                <a:lnTo>
                  <a:pt x="1350488" y="1868691"/>
                </a:lnTo>
                <a:cubicBezTo>
                  <a:pt x="1351004" y="1868071"/>
                  <a:pt x="1351934" y="1867607"/>
                  <a:pt x="1352760" y="1867452"/>
                </a:cubicBezTo>
                <a:lnTo>
                  <a:pt x="1352863" y="1867452"/>
                </a:lnTo>
                <a:lnTo>
                  <a:pt x="1353586" y="1866987"/>
                </a:lnTo>
                <a:cubicBezTo>
                  <a:pt x="1355032" y="1866523"/>
                  <a:pt x="1356787" y="1866523"/>
                  <a:pt x="1358956" y="1867142"/>
                </a:cubicBezTo>
                <a:cubicBezTo>
                  <a:pt x="1358129" y="1869311"/>
                  <a:pt x="1363189" y="1871944"/>
                  <a:pt x="1362053" y="1875197"/>
                </a:cubicBezTo>
                <a:lnTo>
                  <a:pt x="1361227" y="1877520"/>
                </a:lnTo>
                <a:lnTo>
                  <a:pt x="1363086" y="1876901"/>
                </a:lnTo>
                <a:cubicBezTo>
                  <a:pt x="1364944" y="1883561"/>
                  <a:pt x="1364634" y="1891770"/>
                  <a:pt x="1364531" y="1893629"/>
                </a:cubicBezTo>
                <a:cubicBezTo>
                  <a:pt x="1364428" y="1894559"/>
                  <a:pt x="1364222" y="1895178"/>
                  <a:pt x="1363808" y="1895333"/>
                </a:cubicBezTo>
                <a:cubicBezTo>
                  <a:pt x="1363292" y="1895643"/>
                  <a:pt x="1362569" y="1895643"/>
                  <a:pt x="1361640" y="1895488"/>
                </a:cubicBezTo>
                <a:cubicBezTo>
                  <a:pt x="1357820" y="1893010"/>
                  <a:pt x="1358956" y="1888982"/>
                  <a:pt x="1358129" y="1884800"/>
                </a:cubicBezTo>
                <a:cubicBezTo>
                  <a:pt x="1358956" y="1884491"/>
                  <a:pt x="1359368" y="1883406"/>
                  <a:pt x="1359059" y="1882632"/>
                </a:cubicBezTo>
                <a:lnTo>
                  <a:pt x="1359575" y="1881547"/>
                </a:lnTo>
                <a:lnTo>
                  <a:pt x="1357510" y="1883716"/>
                </a:lnTo>
                <a:cubicBezTo>
                  <a:pt x="1355548" y="1884955"/>
                  <a:pt x="1353070" y="1884646"/>
                  <a:pt x="1349765" y="1884491"/>
                </a:cubicBezTo>
                <a:cubicBezTo>
                  <a:pt x="1350592" y="1884181"/>
                  <a:pt x="1349353" y="1883716"/>
                  <a:pt x="1349353" y="1883716"/>
                </a:cubicBezTo>
                <a:cubicBezTo>
                  <a:pt x="1346977" y="1882787"/>
                  <a:pt x="1348527" y="1887898"/>
                  <a:pt x="1345326" y="1887279"/>
                </a:cubicBezTo>
                <a:cubicBezTo>
                  <a:pt x="1340369" y="1885730"/>
                  <a:pt x="1338924" y="1879534"/>
                  <a:pt x="1338407" y="1876281"/>
                </a:cubicBezTo>
                <a:lnTo>
                  <a:pt x="1338098" y="1874422"/>
                </a:lnTo>
                <a:lnTo>
                  <a:pt x="1337478" y="1874732"/>
                </a:lnTo>
                <a:lnTo>
                  <a:pt x="1337478" y="1876591"/>
                </a:lnTo>
                <a:cubicBezTo>
                  <a:pt x="1337065" y="1881547"/>
                  <a:pt x="1335826" y="1885885"/>
                  <a:pt x="1332109" y="1886194"/>
                </a:cubicBezTo>
                <a:cubicBezTo>
                  <a:pt x="1331902" y="1883251"/>
                  <a:pt x="1330663" y="1877985"/>
                  <a:pt x="1330767" y="1873183"/>
                </a:cubicBezTo>
                <a:cubicBezTo>
                  <a:pt x="1330870" y="1868536"/>
                  <a:pt x="1332315" y="1864199"/>
                  <a:pt x="1337272" y="1863425"/>
                </a:cubicBezTo>
                <a:close/>
                <a:moveTo>
                  <a:pt x="938393" y="1862960"/>
                </a:moveTo>
                <a:cubicBezTo>
                  <a:pt x="940665" y="1865593"/>
                  <a:pt x="945001" y="1865283"/>
                  <a:pt x="944072" y="1870550"/>
                </a:cubicBezTo>
                <a:cubicBezTo>
                  <a:pt x="940252" y="1873648"/>
                  <a:pt x="933024" y="1870550"/>
                  <a:pt x="933333" y="1864819"/>
                </a:cubicBezTo>
                <a:cubicBezTo>
                  <a:pt x="935192" y="1864354"/>
                  <a:pt x="936534" y="1863425"/>
                  <a:pt x="938393" y="1862960"/>
                </a:cubicBezTo>
                <a:close/>
                <a:moveTo>
                  <a:pt x="1147590" y="1862340"/>
                </a:moveTo>
                <a:cubicBezTo>
                  <a:pt x="1150894" y="1864664"/>
                  <a:pt x="1150894" y="1867142"/>
                  <a:pt x="1152443" y="1869621"/>
                </a:cubicBezTo>
                <a:cubicBezTo>
                  <a:pt x="1147280" y="1877056"/>
                  <a:pt x="1142014" y="1874732"/>
                  <a:pt x="1140878" y="1870859"/>
                </a:cubicBezTo>
                <a:cubicBezTo>
                  <a:pt x="1140465" y="1869466"/>
                  <a:pt x="1140568" y="1868071"/>
                  <a:pt x="1141188" y="1866678"/>
                </a:cubicBezTo>
                <a:cubicBezTo>
                  <a:pt x="1142117" y="1864819"/>
                  <a:pt x="1144182" y="1863115"/>
                  <a:pt x="1147590" y="1862340"/>
                </a:cubicBezTo>
                <a:close/>
                <a:moveTo>
                  <a:pt x="4724046" y="1861872"/>
                </a:moveTo>
                <a:cubicBezTo>
                  <a:pt x="4726607" y="1861872"/>
                  <a:pt x="4727034" y="1863010"/>
                  <a:pt x="4726607" y="1862015"/>
                </a:cubicBezTo>
                <a:cubicBezTo>
                  <a:pt x="4729595" y="1863010"/>
                  <a:pt x="4733650" y="1863580"/>
                  <a:pt x="4733437" y="1866283"/>
                </a:cubicBezTo>
                <a:cubicBezTo>
                  <a:pt x="4730662" y="1875246"/>
                  <a:pt x="4715509" y="1872543"/>
                  <a:pt x="4711881" y="1873112"/>
                </a:cubicBezTo>
                <a:cubicBezTo>
                  <a:pt x="4711881" y="1873112"/>
                  <a:pt x="4710814" y="1873681"/>
                  <a:pt x="4709320" y="1873112"/>
                </a:cubicBezTo>
                <a:cubicBezTo>
                  <a:pt x="4706759" y="1873112"/>
                  <a:pt x="4709534" y="1870266"/>
                  <a:pt x="4708040" y="1869839"/>
                </a:cubicBezTo>
                <a:cubicBezTo>
                  <a:pt x="4717430" y="1867706"/>
                  <a:pt x="4724046" y="1861872"/>
                  <a:pt x="4724046" y="1861872"/>
                </a:cubicBezTo>
                <a:close/>
                <a:moveTo>
                  <a:pt x="6084810" y="1861446"/>
                </a:moveTo>
                <a:lnTo>
                  <a:pt x="6083957" y="1861588"/>
                </a:lnTo>
                <a:lnTo>
                  <a:pt x="6083957" y="1861730"/>
                </a:lnTo>
                <a:close/>
                <a:moveTo>
                  <a:pt x="3630484" y="1861446"/>
                </a:moveTo>
                <a:cubicBezTo>
                  <a:pt x="3630484" y="1861446"/>
                  <a:pt x="3629843" y="1863010"/>
                  <a:pt x="3629843" y="1863010"/>
                </a:cubicBezTo>
                <a:cubicBezTo>
                  <a:pt x="3628136" y="1862726"/>
                  <a:pt x="3628776" y="1863722"/>
                  <a:pt x="3627709" y="1861872"/>
                </a:cubicBezTo>
                <a:cubicBezTo>
                  <a:pt x="3629416" y="1862157"/>
                  <a:pt x="3629416" y="1862157"/>
                  <a:pt x="3630484" y="1861446"/>
                </a:cubicBezTo>
                <a:close/>
                <a:moveTo>
                  <a:pt x="4707399" y="1861303"/>
                </a:moveTo>
                <a:cubicBezTo>
                  <a:pt x="4708893" y="1861730"/>
                  <a:pt x="4708680" y="1861730"/>
                  <a:pt x="4709107" y="1862868"/>
                </a:cubicBezTo>
                <a:cubicBezTo>
                  <a:pt x="4708467" y="1864434"/>
                  <a:pt x="4707612" y="1865002"/>
                  <a:pt x="4706972" y="1866567"/>
                </a:cubicBezTo>
                <a:cubicBezTo>
                  <a:pt x="4709747" y="1867706"/>
                  <a:pt x="4709320" y="1866567"/>
                  <a:pt x="4708680" y="1868132"/>
                </a:cubicBezTo>
                <a:cubicBezTo>
                  <a:pt x="4708680" y="1868132"/>
                  <a:pt x="4708680" y="1868132"/>
                  <a:pt x="4708040" y="1869839"/>
                </a:cubicBezTo>
                <a:cubicBezTo>
                  <a:pt x="4708040" y="1869839"/>
                  <a:pt x="4708680" y="1870836"/>
                  <a:pt x="4704625" y="1870266"/>
                </a:cubicBezTo>
                <a:cubicBezTo>
                  <a:pt x="4705265" y="1868702"/>
                  <a:pt x="4706972" y="1863864"/>
                  <a:pt x="4706972" y="1863864"/>
                </a:cubicBezTo>
                <a:cubicBezTo>
                  <a:pt x="4706546" y="1862868"/>
                  <a:pt x="4706759" y="1862868"/>
                  <a:pt x="4707399" y="1861303"/>
                </a:cubicBezTo>
                <a:close/>
                <a:moveTo>
                  <a:pt x="5694039" y="1860877"/>
                </a:moveTo>
                <a:cubicBezTo>
                  <a:pt x="5695746" y="1860450"/>
                  <a:pt x="5697880" y="1860592"/>
                  <a:pt x="5699588" y="1861161"/>
                </a:cubicBezTo>
                <a:cubicBezTo>
                  <a:pt x="5698521" y="1861161"/>
                  <a:pt x="5698521" y="1861303"/>
                  <a:pt x="5698521" y="1861303"/>
                </a:cubicBezTo>
                <a:cubicBezTo>
                  <a:pt x="5697454" y="1862584"/>
                  <a:pt x="5698521" y="1862442"/>
                  <a:pt x="5698734" y="1863580"/>
                </a:cubicBezTo>
                <a:cubicBezTo>
                  <a:pt x="5698734" y="1863580"/>
                  <a:pt x="5698521" y="1862442"/>
                  <a:pt x="5700015" y="1863580"/>
                </a:cubicBezTo>
                <a:cubicBezTo>
                  <a:pt x="5698734" y="1863580"/>
                  <a:pt x="5698947" y="1864861"/>
                  <a:pt x="5699161" y="1865998"/>
                </a:cubicBezTo>
                <a:cubicBezTo>
                  <a:pt x="5697240" y="1868559"/>
                  <a:pt x="5694039" y="1871262"/>
                  <a:pt x="5691691" y="1870124"/>
                </a:cubicBezTo>
                <a:cubicBezTo>
                  <a:pt x="5688917" y="1867848"/>
                  <a:pt x="5689771" y="1865429"/>
                  <a:pt x="5690624" y="1864149"/>
                </a:cubicBezTo>
                <a:cubicBezTo>
                  <a:pt x="5691051" y="1862299"/>
                  <a:pt x="5692332" y="1861303"/>
                  <a:pt x="5694039" y="1860877"/>
                </a:cubicBezTo>
                <a:close/>
                <a:moveTo>
                  <a:pt x="657226" y="1860791"/>
                </a:moveTo>
                <a:cubicBezTo>
                  <a:pt x="666416" y="1860327"/>
                  <a:pt x="677464" y="1872099"/>
                  <a:pt x="670959" y="1877210"/>
                </a:cubicBezTo>
                <a:cubicBezTo>
                  <a:pt x="670030" y="1877985"/>
                  <a:pt x="668688" y="1878604"/>
                  <a:pt x="667035" y="1878914"/>
                </a:cubicBezTo>
                <a:cubicBezTo>
                  <a:pt x="663422" y="1875971"/>
                  <a:pt x="657123" y="1871944"/>
                  <a:pt x="656090" y="1866523"/>
                </a:cubicBezTo>
                <a:cubicBezTo>
                  <a:pt x="655781" y="1864819"/>
                  <a:pt x="656090" y="1862960"/>
                  <a:pt x="657226" y="1860791"/>
                </a:cubicBezTo>
                <a:close/>
                <a:moveTo>
                  <a:pt x="5134879" y="1860023"/>
                </a:moveTo>
                <a:cubicBezTo>
                  <a:pt x="5137013" y="1859312"/>
                  <a:pt x="5139574" y="1860166"/>
                  <a:pt x="5141282" y="1863437"/>
                </a:cubicBezTo>
                <a:cubicBezTo>
                  <a:pt x="5137226" y="1866567"/>
                  <a:pt x="5133385" y="1869839"/>
                  <a:pt x="5130398" y="1865998"/>
                </a:cubicBezTo>
                <a:cubicBezTo>
                  <a:pt x="5131038" y="1863010"/>
                  <a:pt x="5132745" y="1860734"/>
                  <a:pt x="5134879" y="1860023"/>
                </a:cubicBezTo>
                <a:close/>
                <a:moveTo>
                  <a:pt x="1301751" y="1859707"/>
                </a:moveTo>
                <a:cubicBezTo>
                  <a:pt x="1300925" y="1861876"/>
                  <a:pt x="1300925" y="1865593"/>
                  <a:pt x="1297415" y="1866058"/>
                </a:cubicBezTo>
                <a:cubicBezTo>
                  <a:pt x="1298034" y="1864354"/>
                  <a:pt x="1298860" y="1861101"/>
                  <a:pt x="1300203" y="1860017"/>
                </a:cubicBezTo>
                <a:cubicBezTo>
                  <a:pt x="1300616" y="1859707"/>
                  <a:pt x="1301132" y="1859552"/>
                  <a:pt x="1301751" y="1859707"/>
                </a:cubicBezTo>
                <a:close/>
                <a:moveTo>
                  <a:pt x="5349580" y="1859312"/>
                </a:moveTo>
                <a:cubicBezTo>
                  <a:pt x="5350220" y="1865714"/>
                  <a:pt x="5344457" y="1874534"/>
                  <a:pt x="5336774" y="1880226"/>
                </a:cubicBezTo>
                <a:cubicBezTo>
                  <a:pt x="5329091" y="1885916"/>
                  <a:pt x="5319700" y="1888477"/>
                  <a:pt x="5313512" y="1882502"/>
                </a:cubicBezTo>
                <a:cubicBezTo>
                  <a:pt x="5329304" y="1878945"/>
                  <a:pt x="5331439" y="1859880"/>
                  <a:pt x="5349580" y="1859312"/>
                </a:cubicBezTo>
                <a:close/>
                <a:moveTo>
                  <a:pt x="3853720" y="1859170"/>
                </a:moveTo>
                <a:cubicBezTo>
                  <a:pt x="3856068" y="1860023"/>
                  <a:pt x="3857775" y="1861303"/>
                  <a:pt x="3858629" y="1862868"/>
                </a:cubicBezTo>
                <a:cubicBezTo>
                  <a:pt x="3861617" y="1867421"/>
                  <a:pt x="3858842" y="1874108"/>
                  <a:pt x="3854147" y="1876526"/>
                </a:cubicBezTo>
                <a:cubicBezTo>
                  <a:pt x="3852226" y="1877665"/>
                  <a:pt x="3849665" y="1877807"/>
                  <a:pt x="3847318" y="1876668"/>
                </a:cubicBezTo>
                <a:cubicBezTo>
                  <a:pt x="3847318" y="1869555"/>
                  <a:pt x="3845824" y="1861446"/>
                  <a:pt x="3853720" y="1859170"/>
                </a:cubicBezTo>
                <a:close/>
                <a:moveTo>
                  <a:pt x="1449408" y="1858933"/>
                </a:moveTo>
                <a:cubicBezTo>
                  <a:pt x="1450131" y="1862340"/>
                  <a:pt x="1449201" y="1875816"/>
                  <a:pt x="1442180" y="1871014"/>
                </a:cubicBezTo>
                <a:lnTo>
                  <a:pt x="1439805" y="1871944"/>
                </a:lnTo>
                <a:cubicBezTo>
                  <a:pt x="1438669" y="1871789"/>
                  <a:pt x="1437637" y="1871014"/>
                  <a:pt x="1436501" y="1869775"/>
                </a:cubicBezTo>
                <a:cubicBezTo>
                  <a:pt x="1437740" y="1869001"/>
                  <a:pt x="1438772" y="1868691"/>
                  <a:pt x="1439908" y="1868846"/>
                </a:cubicBezTo>
                <a:lnTo>
                  <a:pt x="1442386" y="1869775"/>
                </a:lnTo>
                <a:lnTo>
                  <a:pt x="1443522" y="1863889"/>
                </a:lnTo>
                <a:cubicBezTo>
                  <a:pt x="1443832" y="1861721"/>
                  <a:pt x="1444142" y="1860017"/>
                  <a:pt x="1445484" y="1859242"/>
                </a:cubicBezTo>
                <a:cubicBezTo>
                  <a:pt x="1446310" y="1858623"/>
                  <a:pt x="1447549" y="1858623"/>
                  <a:pt x="1449408" y="1858933"/>
                </a:cubicBezTo>
                <a:close/>
                <a:moveTo>
                  <a:pt x="1010672" y="1858623"/>
                </a:moveTo>
                <a:cubicBezTo>
                  <a:pt x="1013150" y="1861721"/>
                  <a:pt x="1011189" y="1866368"/>
                  <a:pt x="1005819" y="1865438"/>
                </a:cubicBezTo>
                <a:cubicBezTo>
                  <a:pt x="1006438" y="1861876"/>
                  <a:pt x="1006955" y="1858313"/>
                  <a:pt x="1010672" y="1858623"/>
                </a:cubicBezTo>
                <a:close/>
                <a:moveTo>
                  <a:pt x="863739" y="1858623"/>
                </a:moveTo>
                <a:cubicBezTo>
                  <a:pt x="867559" y="1857229"/>
                  <a:pt x="871069" y="1857848"/>
                  <a:pt x="874684" y="1862185"/>
                </a:cubicBezTo>
                <a:cubicBezTo>
                  <a:pt x="873961" y="1865283"/>
                  <a:pt x="870760" y="1866213"/>
                  <a:pt x="867456" y="1865748"/>
                </a:cubicBezTo>
                <a:cubicBezTo>
                  <a:pt x="864152" y="1865128"/>
                  <a:pt x="860847" y="1863270"/>
                  <a:pt x="859712" y="1860481"/>
                </a:cubicBezTo>
                <a:cubicBezTo>
                  <a:pt x="861157" y="1859707"/>
                  <a:pt x="862396" y="1859088"/>
                  <a:pt x="863739" y="1858623"/>
                </a:cubicBezTo>
                <a:close/>
                <a:moveTo>
                  <a:pt x="3474473" y="1858600"/>
                </a:moveTo>
                <a:cubicBezTo>
                  <a:pt x="3475327" y="1858885"/>
                  <a:pt x="3475540" y="1859454"/>
                  <a:pt x="3475540" y="1859880"/>
                </a:cubicBezTo>
                <a:cubicBezTo>
                  <a:pt x="3475540" y="1860307"/>
                  <a:pt x="3475327" y="1860734"/>
                  <a:pt x="3475327" y="1860734"/>
                </a:cubicBezTo>
                <a:cubicBezTo>
                  <a:pt x="3474687" y="1862442"/>
                  <a:pt x="3474047" y="1864007"/>
                  <a:pt x="3472552" y="1863437"/>
                </a:cubicBezTo>
                <a:cubicBezTo>
                  <a:pt x="3472552" y="1863437"/>
                  <a:pt x="3472126" y="1862442"/>
                  <a:pt x="3473407" y="1859170"/>
                </a:cubicBezTo>
                <a:cubicBezTo>
                  <a:pt x="3473833" y="1860307"/>
                  <a:pt x="3474900" y="1859739"/>
                  <a:pt x="3474900" y="1859739"/>
                </a:cubicBezTo>
                <a:cubicBezTo>
                  <a:pt x="3474900" y="1859739"/>
                  <a:pt x="3474900" y="1859739"/>
                  <a:pt x="3474473" y="1858600"/>
                </a:cubicBezTo>
                <a:close/>
                <a:moveTo>
                  <a:pt x="4705905" y="1858031"/>
                </a:moveTo>
                <a:cubicBezTo>
                  <a:pt x="4705265" y="1859596"/>
                  <a:pt x="4702917" y="1863437"/>
                  <a:pt x="4698863" y="1862726"/>
                </a:cubicBezTo>
                <a:lnTo>
                  <a:pt x="4698222" y="1862868"/>
                </a:lnTo>
                <a:lnTo>
                  <a:pt x="4700356" y="1865287"/>
                </a:lnTo>
                <a:cubicBezTo>
                  <a:pt x="4702917" y="1868986"/>
                  <a:pt x="4704198" y="1872685"/>
                  <a:pt x="4703771" y="1876526"/>
                </a:cubicBezTo>
                <a:lnTo>
                  <a:pt x="4702491" y="1879514"/>
                </a:lnTo>
                <a:lnTo>
                  <a:pt x="4703558" y="1881933"/>
                </a:lnTo>
                <a:cubicBezTo>
                  <a:pt x="4705479" y="1887054"/>
                  <a:pt x="4706332" y="1892745"/>
                  <a:pt x="4705265" y="1899859"/>
                </a:cubicBezTo>
                <a:cubicBezTo>
                  <a:pt x="4698863" y="1897867"/>
                  <a:pt x="4695875" y="1892176"/>
                  <a:pt x="4695021" y="1885774"/>
                </a:cubicBezTo>
                <a:lnTo>
                  <a:pt x="4695021" y="1881648"/>
                </a:lnTo>
                <a:lnTo>
                  <a:pt x="4691393" y="1879230"/>
                </a:lnTo>
                <a:cubicBezTo>
                  <a:pt x="4686057" y="1872543"/>
                  <a:pt x="4684990" y="1860450"/>
                  <a:pt x="4691180" y="1859170"/>
                </a:cubicBezTo>
                <a:cubicBezTo>
                  <a:pt x="4692460" y="1859027"/>
                  <a:pt x="4693741" y="1859170"/>
                  <a:pt x="4695661" y="1859880"/>
                </a:cubicBezTo>
                <a:lnTo>
                  <a:pt x="4696088" y="1860307"/>
                </a:lnTo>
                <a:lnTo>
                  <a:pt x="4697155" y="1859880"/>
                </a:lnTo>
                <a:cubicBezTo>
                  <a:pt x="4699716" y="1858743"/>
                  <a:pt x="4702491" y="1857747"/>
                  <a:pt x="4705905" y="1858031"/>
                </a:cubicBezTo>
                <a:close/>
                <a:moveTo>
                  <a:pt x="1575496" y="1856667"/>
                </a:moveTo>
                <a:cubicBezTo>
                  <a:pt x="1577394" y="1857306"/>
                  <a:pt x="1578839" y="1858933"/>
                  <a:pt x="1578788" y="1861101"/>
                </a:cubicBezTo>
                <a:cubicBezTo>
                  <a:pt x="1577859" y="1862031"/>
                  <a:pt x="1576929" y="1863889"/>
                  <a:pt x="1575174" y="1864819"/>
                </a:cubicBezTo>
                <a:cubicBezTo>
                  <a:pt x="1570837" y="1864044"/>
                  <a:pt x="1569288" y="1861566"/>
                  <a:pt x="1569495" y="1858158"/>
                </a:cubicBezTo>
                <a:cubicBezTo>
                  <a:pt x="1571250" y="1856377"/>
                  <a:pt x="1573599" y="1856028"/>
                  <a:pt x="1575496" y="1856667"/>
                </a:cubicBezTo>
                <a:close/>
                <a:moveTo>
                  <a:pt x="3490053" y="1856182"/>
                </a:moveTo>
                <a:cubicBezTo>
                  <a:pt x="3492401" y="1855755"/>
                  <a:pt x="3494535" y="1856893"/>
                  <a:pt x="3495815" y="1860307"/>
                </a:cubicBezTo>
                <a:cubicBezTo>
                  <a:pt x="3494108" y="1863580"/>
                  <a:pt x="3487278" y="1867136"/>
                  <a:pt x="3484504" y="1865572"/>
                </a:cubicBezTo>
                <a:cubicBezTo>
                  <a:pt x="3484078" y="1864007"/>
                  <a:pt x="3483651" y="1862442"/>
                  <a:pt x="3483223" y="1860734"/>
                </a:cubicBezTo>
                <a:cubicBezTo>
                  <a:pt x="3485144" y="1858315"/>
                  <a:pt x="3487705" y="1856466"/>
                  <a:pt x="3490053" y="1856182"/>
                </a:cubicBezTo>
                <a:close/>
                <a:moveTo>
                  <a:pt x="5835536" y="1856040"/>
                </a:moveTo>
                <a:cubicBezTo>
                  <a:pt x="5837244" y="1856608"/>
                  <a:pt x="5838524" y="1858173"/>
                  <a:pt x="5839165" y="1859880"/>
                </a:cubicBezTo>
                <a:cubicBezTo>
                  <a:pt x="5839805" y="1861019"/>
                  <a:pt x="5840018" y="1862157"/>
                  <a:pt x="5839805" y="1863154"/>
                </a:cubicBezTo>
                <a:cubicBezTo>
                  <a:pt x="5835536" y="1868844"/>
                  <a:pt x="5829987" y="1862299"/>
                  <a:pt x="5830627" y="1858600"/>
                </a:cubicBezTo>
                <a:cubicBezTo>
                  <a:pt x="5832122" y="1856040"/>
                  <a:pt x="5834042" y="1855470"/>
                  <a:pt x="5835536" y="1856040"/>
                </a:cubicBezTo>
                <a:close/>
                <a:moveTo>
                  <a:pt x="5637483" y="1855897"/>
                </a:moveTo>
                <a:cubicBezTo>
                  <a:pt x="5638123" y="1855613"/>
                  <a:pt x="5638977" y="1855613"/>
                  <a:pt x="5639617" y="1856182"/>
                </a:cubicBezTo>
                <a:cubicBezTo>
                  <a:pt x="5637696" y="1858743"/>
                  <a:pt x="5635989" y="1863722"/>
                  <a:pt x="5631293" y="1862726"/>
                </a:cubicBezTo>
                <a:cubicBezTo>
                  <a:pt x="5632787" y="1860877"/>
                  <a:pt x="5635135" y="1856893"/>
                  <a:pt x="5637483" y="1855897"/>
                </a:cubicBezTo>
                <a:close/>
                <a:moveTo>
                  <a:pt x="1509090" y="1855680"/>
                </a:moveTo>
                <a:cubicBezTo>
                  <a:pt x="1511878" y="1855525"/>
                  <a:pt x="1513633" y="1856299"/>
                  <a:pt x="1514563" y="1857848"/>
                </a:cubicBezTo>
                <a:lnTo>
                  <a:pt x="1514769" y="1860791"/>
                </a:lnTo>
                <a:lnTo>
                  <a:pt x="1517144" y="1860636"/>
                </a:lnTo>
                <a:cubicBezTo>
                  <a:pt x="1519312" y="1861101"/>
                  <a:pt x="1521377" y="1862650"/>
                  <a:pt x="1523236" y="1865438"/>
                </a:cubicBezTo>
                <a:cubicBezTo>
                  <a:pt x="1523133" y="1869621"/>
                  <a:pt x="1516628" y="1874732"/>
                  <a:pt x="1513427" y="1873338"/>
                </a:cubicBezTo>
                <a:cubicBezTo>
                  <a:pt x="1509400" y="1869775"/>
                  <a:pt x="1508780" y="1866058"/>
                  <a:pt x="1509916" y="1863580"/>
                </a:cubicBezTo>
                <a:lnTo>
                  <a:pt x="1510742" y="1862805"/>
                </a:lnTo>
                <a:lnTo>
                  <a:pt x="1510123" y="1862031"/>
                </a:lnTo>
                <a:cubicBezTo>
                  <a:pt x="1509606" y="1860327"/>
                  <a:pt x="1509606" y="1857848"/>
                  <a:pt x="1509090" y="1855680"/>
                </a:cubicBezTo>
                <a:close/>
                <a:moveTo>
                  <a:pt x="1192506" y="1855525"/>
                </a:moveTo>
                <a:cubicBezTo>
                  <a:pt x="1195501" y="1855680"/>
                  <a:pt x="1197566" y="1855990"/>
                  <a:pt x="1198908" y="1856609"/>
                </a:cubicBezTo>
                <a:lnTo>
                  <a:pt x="1201076" y="1858933"/>
                </a:lnTo>
                <a:lnTo>
                  <a:pt x="1202522" y="1858158"/>
                </a:lnTo>
                <a:cubicBezTo>
                  <a:pt x="1208511" y="1857074"/>
                  <a:pt x="1214293" y="1862495"/>
                  <a:pt x="1218217" y="1866368"/>
                </a:cubicBezTo>
                <a:cubicBezTo>
                  <a:pt x="1221211" y="1869001"/>
                  <a:pt x="1223999" y="1872099"/>
                  <a:pt x="1223999" y="1874887"/>
                </a:cubicBezTo>
                <a:cubicBezTo>
                  <a:pt x="1223999" y="1875661"/>
                  <a:pt x="1223690" y="1876591"/>
                  <a:pt x="1222864" y="1877520"/>
                </a:cubicBezTo>
                <a:lnTo>
                  <a:pt x="1221831" y="1878295"/>
                </a:lnTo>
                <a:lnTo>
                  <a:pt x="1221315" y="1879534"/>
                </a:lnTo>
                <a:lnTo>
                  <a:pt x="1223380" y="1888208"/>
                </a:lnTo>
                <a:lnTo>
                  <a:pt x="1223896" y="1884955"/>
                </a:lnTo>
                <a:cubicBezTo>
                  <a:pt x="1223896" y="1885730"/>
                  <a:pt x="1223896" y="1885730"/>
                  <a:pt x="1223896" y="1885730"/>
                </a:cubicBezTo>
                <a:cubicBezTo>
                  <a:pt x="1224722" y="1886504"/>
                  <a:pt x="1224826" y="1885730"/>
                  <a:pt x="1225652" y="1885730"/>
                </a:cubicBezTo>
                <a:cubicBezTo>
                  <a:pt x="1225652" y="1885730"/>
                  <a:pt x="1224722" y="1885730"/>
                  <a:pt x="1225652" y="1884800"/>
                </a:cubicBezTo>
                <a:cubicBezTo>
                  <a:pt x="1225652" y="1885730"/>
                  <a:pt x="1226581" y="1885575"/>
                  <a:pt x="1227407" y="1885575"/>
                </a:cubicBezTo>
                <a:cubicBezTo>
                  <a:pt x="1229059" y="1887279"/>
                  <a:pt x="1230711" y="1889603"/>
                  <a:pt x="1229782" y="1891461"/>
                </a:cubicBezTo>
                <a:cubicBezTo>
                  <a:pt x="1228853" y="1892236"/>
                  <a:pt x="1228027" y="1892545"/>
                  <a:pt x="1227200" y="1892545"/>
                </a:cubicBezTo>
                <a:lnTo>
                  <a:pt x="1226065" y="1891925"/>
                </a:lnTo>
                <a:lnTo>
                  <a:pt x="1224619" y="1893165"/>
                </a:lnTo>
                <a:lnTo>
                  <a:pt x="1227097" y="1903078"/>
                </a:lnTo>
                <a:cubicBezTo>
                  <a:pt x="1218114" y="1909429"/>
                  <a:pt x="1216359" y="1926777"/>
                  <a:pt x="1203142" y="1928171"/>
                </a:cubicBezTo>
                <a:lnTo>
                  <a:pt x="1202006" y="1927861"/>
                </a:lnTo>
                <a:lnTo>
                  <a:pt x="1200870" y="1928946"/>
                </a:lnTo>
                <a:cubicBezTo>
                  <a:pt x="1199115" y="1930030"/>
                  <a:pt x="1197050" y="1930495"/>
                  <a:pt x="1194778" y="1930340"/>
                </a:cubicBezTo>
                <a:cubicBezTo>
                  <a:pt x="1193745" y="1929410"/>
                  <a:pt x="1193126" y="1928017"/>
                  <a:pt x="1192816" y="1926468"/>
                </a:cubicBezTo>
                <a:lnTo>
                  <a:pt x="1192816" y="1925538"/>
                </a:lnTo>
                <a:lnTo>
                  <a:pt x="1191061" y="1925383"/>
                </a:lnTo>
                <a:cubicBezTo>
                  <a:pt x="1187757" y="1925538"/>
                  <a:pt x="1184762" y="1926158"/>
                  <a:pt x="1181251" y="1925693"/>
                </a:cubicBezTo>
                <a:cubicBezTo>
                  <a:pt x="1178051" y="1923370"/>
                  <a:pt x="1174746" y="1920736"/>
                  <a:pt x="1171649" y="1917793"/>
                </a:cubicBezTo>
                <a:lnTo>
                  <a:pt x="1165247" y="1910358"/>
                </a:lnTo>
                <a:lnTo>
                  <a:pt x="1159155" y="1910358"/>
                </a:lnTo>
                <a:cubicBezTo>
                  <a:pt x="1157090" y="1910513"/>
                  <a:pt x="1154921" y="1910668"/>
                  <a:pt x="1152753" y="1909584"/>
                </a:cubicBezTo>
                <a:cubicBezTo>
                  <a:pt x="1153475" y="1908655"/>
                  <a:pt x="1155954" y="1906641"/>
                  <a:pt x="1158535" y="1908035"/>
                </a:cubicBezTo>
                <a:cubicBezTo>
                  <a:pt x="1159877" y="1908655"/>
                  <a:pt x="1161220" y="1908655"/>
                  <a:pt x="1162459" y="1908655"/>
                </a:cubicBezTo>
                <a:lnTo>
                  <a:pt x="1164008" y="1908964"/>
                </a:lnTo>
                <a:lnTo>
                  <a:pt x="1163078" y="1907880"/>
                </a:lnTo>
                <a:cubicBezTo>
                  <a:pt x="1158122" y="1900755"/>
                  <a:pt x="1155025" y="1892700"/>
                  <a:pt x="1156057" y="1884491"/>
                </a:cubicBezTo>
                <a:cubicBezTo>
                  <a:pt x="1157709" y="1870859"/>
                  <a:pt x="1168654" y="1868381"/>
                  <a:pt x="1177018" y="1858623"/>
                </a:cubicBezTo>
                <a:cubicBezTo>
                  <a:pt x="1182077" y="1861411"/>
                  <a:pt x="1185588" y="1861566"/>
                  <a:pt x="1188686" y="1860946"/>
                </a:cubicBezTo>
                <a:lnTo>
                  <a:pt x="1190854" y="1860327"/>
                </a:lnTo>
                <a:close/>
                <a:moveTo>
                  <a:pt x="5357049" y="1855470"/>
                </a:moveTo>
                <a:cubicBezTo>
                  <a:pt x="5358116" y="1855613"/>
                  <a:pt x="5357903" y="1856751"/>
                  <a:pt x="5358970" y="1857035"/>
                </a:cubicBezTo>
                <a:cubicBezTo>
                  <a:pt x="5358970" y="1857035"/>
                  <a:pt x="5358970" y="1858173"/>
                  <a:pt x="5358970" y="1858173"/>
                </a:cubicBezTo>
                <a:cubicBezTo>
                  <a:pt x="5359610" y="1858173"/>
                  <a:pt x="5359397" y="1858173"/>
                  <a:pt x="5359183" y="1858458"/>
                </a:cubicBezTo>
                <a:cubicBezTo>
                  <a:pt x="5358970" y="1858743"/>
                  <a:pt x="5358329" y="1859170"/>
                  <a:pt x="5357689" y="1860307"/>
                </a:cubicBezTo>
                <a:cubicBezTo>
                  <a:pt x="5356622" y="1861161"/>
                  <a:pt x="5356409" y="1862442"/>
                  <a:pt x="5355555" y="1861019"/>
                </a:cubicBezTo>
                <a:cubicBezTo>
                  <a:pt x="5354488" y="1859739"/>
                  <a:pt x="5354488" y="1859739"/>
                  <a:pt x="5354701" y="1856325"/>
                </a:cubicBezTo>
                <a:cubicBezTo>
                  <a:pt x="5355768" y="1857605"/>
                  <a:pt x="5355768" y="1857605"/>
                  <a:pt x="5356836" y="1856608"/>
                </a:cubicBezTo>
                <a:cubicBezTo>
                  <a:pt x="5356836" y="1856608"/>
                  <a:pt x="5356836" y="1856608"/>
                  <a:pt x="5357049" y="1855470"/>
                </a:cubicBezTo>
                <a:close/>
                <a:moveTo>
                  <a:pt x="5019205" y="1855470"/>
                </a:moveTo>
                <a:cubicBezTo>
                  <a:pt x="5020059" y="1856325"/>
                  <a:pt x="5020486" y="1857320"/>
                  <a:pt x="5020700" y="1858885"/>
                </a:cubicBezTo>
                <a:cubicBezTo>
                  <a:pt x="5020913" y="1860307"/>
                  <a:pt x="5020913" y="1862299"/>
                  <a:pt x="5020486" y="1864861"/>
                </a:cubicBezTo>
                <a:cubicBezTo>
                  <a:pt x="5009602" y="1862726"/>
                  <a:pt x="5013657" y="1875673"/>
                  <a:pt x="5004906" y="1874534"/>
                </a:cubicBezTo>
                <a:cubicBezTo>
                  <a:pt x="5002132" y="1872543"/>
                  <a:pt x="4998291" y="1871405"/>
                  <a:pt x="4996156" y="1868132"/>
                </a:cubicBezTo>
                <a:cubicBezTo>
                  <a:pt x="4995516" y="1866994"/>
                  <a:pt x="4995089" y="1865714"/>
                  <a:pt x="4994876" y="1864007"/>
                </a:cubicBezTo>
                <a:cubicBezTo>
                  <a:pt x="5004693" y="1862584"/>
                  <a:pt x="5010882" y="1858600"/>
                  <a:pt x="5019205" y="1855470"/>
                </a:cubicBezTo>
                <a:close/>
                <a:moveTo>
                  <a:pt x="3738687" y="1854759"/>
                </a:moveTo>
                <a:cubicBezTo>
                  <a:pt x="3739327" y="1855755"/>
                  <a:pt x="3739754" y="1856751"/>
                  <a:pt x="3740394" y="1857747"/>
                </a:cubicBezTo>
                <a:cubicBezTo>
                  <a:pt x="3739968" y="1859312"/>
                  <a:pt x="3739968" y="1859312"/>
                  <a:pt x="3738474" y="1858885"/>
                </a:cubicBezTo>
                <a:cubicBezTo>
                  <a:pt x="3738047" y="1857889"/>
                  <a:pt x="3737406" y="1856893"/>
                  <a:pt x="3738260" y="1856325"/>
                </a:cubicBezTo>
                <a:cubicBezTo>
                  <a:pt x="3737834" y="1855328"/>
                  <a:pt x="3737834" y="1855328"/>
                  <a:pt x="3738687" y="1854759"/>
                </a:cubicBezTo>
                <a:close/>
                <a:moveTo>
                  <a:pt x="1465671" y="1854480"/>
                </a:moveTo>
                <a:cubicBezTo>
                  <a:pt x="1467839" y="1853434"/>
                  <a:pt x="1470420" y="1853744"/>
                  <a:pt x="1471711" y="1855525"/>
                </a:cubicBezTo>
                <a:cubicBezTo>
                  <a:pt x="1472537" y="1856764"/>
                  <a:pt x="1472847" y="1858468"/>
                  <a:pt x="1471918" y="1860946"/>
                </a:cubicBezTo>
                <a:cubicBezTo>
                  <a:pt x="1468510" y="1863735"/>
                  <a:pt x="1465206" y="1861101"/>
                  <a:pt x="1462108" y="1861566"/>
                </a:cubicBezTo>
                <a:cubicBezTo>
                  <a:pt x="1461747" y="1857926"/>
                  <a:pt x="1463502" y="1855525"/>
                  <a:pt x="1465671" y="1854480"/>
                </a:cubicBezTo>
                <a:close/>
                <a:moveTo>
                  <a:pt x="5945661" y="1854332"/>
                </a:moveTo>
                <a:cubicBezTo>
                  <a:pt x="5954625" y="1855186"/>
                  <a:pt x="5955051" y="1866141"/>
                  <a:pt x="5957399" y="1873538"/>
                </a:cubicBezTo>
                <a:cubicBezTo>
                  <a:pt x="5964015" y="1868132"/>
                  <a:pt x="5972338" y="1857889"/>
                  <a:pt x="5978100" y="1864576"/>
                </a:cubicBezTo>
                <a:cubicBezTo>
                  <a:pt x="5977674" y="1874250"/>
                  <a:pt x="5965936" y="1876811"/>
                  <a:pt x="5958893" y="1884636"/>
                </a:cubicBezTo>
                <a:cubicBezTo>
                  <a:pt x="5957399" y="1888192"/>
                  <a:pt x="5959320" y="1891180"/>
                  <a:pt x="5956972" y="1894879"/>
                </a:cubicBezTo>
                <a:lnTo>
                  <a:pt x="5955478" y="1896302"/>
                </a:lnTo>
                <a:lnTo>
                  <a:pt x="5955691" y="1902277"/>
                </a:lnTo>
                <a:cubicBezTo>
                  <a:pt x="5953558" y="1903273"/>
                  <a:pt x="5949929" y="1899574"/>
                  <a:pt x="5947582" y="1898151"/>
                </a:cubicBezTo>
                <a:cubicBezTo>
                  <a:pt x="5948649" y="1897013"/>
                  <a:pt x="5949716" y="1896017"/>
                  <a:pt x="5948649" y="1895875"/>
                </a:cubicBezTo>
                <a:lnTo>
                  <a:pt x="5951210" y="1894594"/>
                </a:lnTo>
                <a:lnTo>
                  <a:pt x="5949929" y="1891891"/>
                </a:lnTo>
                <a:lnTo>
                  <a:pt x="5948862" y="1893172"/>
                </a:lnTo>
                <a:cubicBezTo>
                  <a:pt x="5945874" y="1895590"/>
                  <a:pt x="5942673" y="1897724"/>
                  <a:pt x="5939045" y="1899574"/>
                </a:cubicBezTo>
                <a:lnTo>
                  <a:pt x="5933069" y="1902277"/>
                </a:lnTo>
                <a:lnTo>
                  <a:pt x="5935630" y="1903700"/>
                </a:lnTo>
                <a:cubicBezTo>
                  <a:pt x="5940539" y="1907256"/>
                  <a:pt x="5940539" y="1911240"/>
                  <a:pt x="5941606" y="1911524"/>
                </a:cubicBezTo>
                <a:cubicBezTo>
                  <a:pt x="5940112" y="1916647"/>
                  <a:pt x="5937124" y="1915792"/>
                  <a:pt x="5931788" y="1916361"/>
                </a:cubicBezTo>
                <a:cubicBezTo>
                  <a:pt x="5932216" y="1914654"/>
                  <a:pt x="5927520" y="1913517"/>
                  <a:pt x="5926026" y="1913090"/>
                </a:cubicBezTo>
                <a:cubicBezTo>
                  <a:pt x="5926453" y="1911524"/>
                  <a:pt x="5925386" y="1910101"/>
                  <a:pt x="5924532" y="1908536"/>
                </a:cubicBezTo>
                <a:lnTo>
                  <a:pt x="5923465" y="1906403"/>
                </a:lnTo>
                <a:lnTo>
                  <a:pt x="5905111" y="1913658"/>
                </a:lnTo>
                <a:cubicBezTo>
                  <a:pt x="5904898" y="1909391"/>
                  <a:pt x="5901910" y="1907683"/>
                  <a:pt x="5902550" y="1900854"/>
                </a:cubicBezTo>
                <a:cubicBezTo>
                  <a:pt x="5913007" y="1898293"/>
                  <a:pt x="5922612" y="1894452"/>
                  <a:pt x="5932002" y="1890753"/>
                </a:cubicBezTo>
                <a:lnTo>
                  <a:pt x="5947155" y="1885631"/>
                </a:lnTo>
                <a:lnTo>
                  <a:pt x="5945234" y="1881648"/>
                </a:lnTo>
                <a:cubicBezTo>
                  <a:pt x="5943527" y="1875957"/>
                  <a:pt x="5943100" y="1870409"/>
                  <a:pt x="5943527" y="1865002"/>
                </a:cubicBezTo>
                <a:cubicBezTo>
                  <a:pt x="5943740" y="1861446"/>
                  <a:pt x="5944594" y="1857889"/>
                  <a:pt x="5945661" y="1854332"/>
                </a:cubicBezTo>
                <a:close/>
                <a:moveTo>
                  <a:pt x="3749145" y="1853621"/>
                </a:moveTo>
                <a:cubicBezTo>
                  <a:pt x="3750212" y="1853052"/>
                  <a:pt x="3750212" y="1853052"/>
                  <a:pt x="3750639" y="1854190"/>
                </a:cubicBezTo>
                <a:lnTo>
                  <a:pt x="3750852" y="1853621"/>
                </a:lnTo>
                <a:lnTo>
                  <a:pt x="3752772" y="1855613"/>
                </a:lnTo>
                <a:cubicBezTo>
                  <a:pt x="3753200" y="1856608"/>
                  <a:pt x="3753200" y="1857889"/>
                  <a:pt x="3753413" y="1859312"/>
                </a:cubicBezTo>
                <a:cubicBezTo>
                  <a:pt x="3752346" y="1859880"/>
                  <a:pt x="3752346" y="1859880"/>
                  <a:pt x="3750852" y="1859454"/>
                </a:cubicBezTo>
                <a:cubicBezTo>
                  <a:pt x="3749998" y="1860023"/>
                  <a:pt x="3749785" y="1854759"/>
                  <a:pt x="3749145" y="1853621"/>
                </a:cubicBezTo>
                <a:close/>
                <a:moveTo>
                  <a:pt x="6287346" y="1853194"/>
                </a:moveTo>
                <a:cubicBezTo>
                  <a:pt x="6288626" y="1856325"/>
                  <a:pt x="6286919" y="1862015"/>
                  <a:pt x="6283718" y="1863580"/>
                </a:cubicBezTo>
                <a:cubicBezTo>
                  <a:pt x="6279876" y="1863154"/>
                  <a:pt x="6280090" y="1860592"/>
                  <a:pt x="6277529" y="1860592"/>
                </a:cubicBezTo>
                <a:cubicBezTo>
                  <a:pt x="6279236" y="1854759"/>
                  <a:pt x="6282437" y="1853194"/>
                  <a:pt x="6287346" y="1853194"/>
                </a:cubicBezTo>
                <a:close/>
                <a:moveTo>
                  <a:pt x="5282992" y="1853194"/>
                </a:moveTo>
                <a:cubicBezTo>
                  <a:pt x="5285340" y="1853621"/>
                  <a:pt x="5287261" y="1855897"/>
                  <a:pt x="5287261" y="1855897"/>
                </a:cubicBezTo>
                <a:cubicBezTo>
                  <a:pt x="5287261" y="1855897"/>
                  <a:pt x="5287261" y="1855897"/>
                  <a:pt x="5287261" y="1854759"/>
                </a:cubicBezTo>
                <a:cubicBezTo>
                  <a:pt x="5287047" y="1857178"/>
                  <a:pt x="5288115" y="1859739"/>
                  <a:pt x="5287901" y="1862015"/>
                </a:cubicBezTo>
                <a:cubicBezTo>
                  <a:pt x="5284273" y="1866141"/>
                  <a:pt x="5281712" y="1867279"/>
                  <a:pt x="5279791" y="1866852"/>
                </a:cubicBezTo>
                <a:lnTo>
                  <a:pt x="5279578" y="1866710"/>
                </a:lnTo>
                <a:lnTo>
                  <a:pt x="5277657" y="1872685"/>
                </a:lnTo>
                <a:cubicBezTo>
                  <a:pt x="5276803" y="1871973"/>
                  <a:pt x="5276376" y="1870836"/>
                  <a:pt x="5276163" y="1869413"/>
                </a:cubicBezTo>
                <a:lnTo>
                  <a:pt x="5276803" y="1864861"/>
                </a:lnTo>
                <a:lnTo>
                  <a:pt x="5274029" y="1862157"/>
                </a:lnTo>
                <a:cubicBezTo>
                  <a:pt x="5275309" y="1859880"/>
                  <a:pt x="5274456" y="1856182"/>
                  <a:pt x="5276803" y="1854190"/>
                </a:cubicBezTo>
                <a:cubicBezTo>
                  <a:pt x="5276803" y="1854190"/>
                  <a:pt x="5278084" y="1853194"/>
                  <a:pt x="5280431" y="1853621"/>
                </a:cubicBezTo>
                <a:cubicBezTo>
                  <a:pt x="5281285" y="1853194"/>
                  <a:pt x="5282139" y="1853052"/>
                  <a:pt x="5282992" y="1853194"/>
                </a:cubicBezTo>
                <a:close/>
                <a:moveTo>
                  <a:pt x="5102013" y="1852767"/>
                </a:moveTo>
                <a:cubicBezTo>
                  <a:pt x="5102866" y="1853052"/>
                  <a:pt x="5103720" y="1853621"/>
                  <a:pt x="5104360" y="1854617"/>
                </a:cubicBezTo>
                <a:cubicBezTo>
                  <a:pt x="5103720" y="1860450"/>
                  <a:pt x="5097530" y="1862584"/>
                  <a:pt x="5093476" y="1855755"/>
                </a:cubicBezTo>
                <a:cubicBezTo>
                  <a:pt x="5096464" y="1853763"/>
                  <a:pt x="5099451" y="1851771"/>
                  <a:pt x="5102013" y="1852767"/>
                </a:cubicBezTo>
                <a:close/>
                <a:moveTo>
                  <a:pt x="3850519" y="1852767"/>
                </a:moveTo>
                <a:cubicBezTo>
                  <a:pt x="3852226" y="1852910"/>
                  <a:pt x="3853294" y="1852910"/>
                  <a:pt x="3854147" y="1852910"/>
                </a:cubicBezTo>
                <a:cubicBezTo>
                  <a:pt x="3854787" y="1852910"/>
                  <a:pt x="3855001" y="1852767"/>
                  <a:pt x="3855001" y="1853478"/>
                </a:cubicBezTo>
                <a:cubicBezTo>
                  <a:pt x="3856068" y="1853621"/>
                  <a:pt x="3856068" y="1854901"/>
                  <a:pt x="3854787" y="1854617"/>
                </a:cubicBezTo>
                <a:cubicBezTo>
                  <a:pt x="3853720" y="1856893"/>
                  <a:pt x="3851586" y="1854048"/>
                  <a:pt x="3850519" y="1852767"/>
                </a:cubicBezTo>
                <a:close/>
                <a:moveTo>
                  <a:pt x="3750852" y="1852767"/>
                </a:moveTo>
                <a:lnTo>
                  <a:pt x="3750852" y="1853621"/>
                </a:lnTo>
                <a:lnTo>
                  <a:pt x="3749998" y="1853052"/>
                </a:lnTo>
                <a:cubicBezTo>
                  <a:pt x="3750639" y="1852767"/>
                  <a:pt x="3750852" y="1852625"/>
                  <a:pt x="3750852" y="1852767"/>
                </a:cubicBezTo>
                <a:close/>
                <a:moveTo>
                  <a:pt x="757694" y="1852582"/>
                </a:moveTo>
                <a:cubicBezTo>
                  <a:pt x="763993" y="1850103"/>
                  <a:pt x="779688" y="1858933"/>
                  <a:pt x="777313" y="1867297"/>
                </a:cubicBezTo>
                <a:cubicBezTo>
                  <a:pt x="771840" y="1863889"/>
                  <a:pt x="767091" y="1860172"/>
                  <a:pt x="758520" y="1857848"/>
                </a:cubicBezTo>
                <a:cubicBezTo>
                  <a:pt x="759140" y="1856299"/>
                  <a:pt x="757488" y="1855525"/>
                  <a:pt x="757282" y="1854131"/>
                </a:cubicBezTo>
                <a:cubicBezTo>
                  <a:pt x="757178" y="1853666"/>
                  <a:pt x="757282" y="1853202"/>
                  <a:pt x="757694" y="1852582"/>
                </a:cubicBezTo>
                <a:close/>
                <a:moveTo>
                  <a:pt x="627798" y="1852582"/>
                </a:moveTo>
                <a:cubicBezTo>
                  <a:pt x="630380" y="1854595"/>
                  <a:pt x="631205" y="1857229"/>
                  <a:pt x="629347" y="1859552"/>
                </a:cubicBezTo>
                <a:cubicBezTo>
                  <a:pt x="627695" y="1860327"/>
                  <a:pt x="625939" y="1859242"/>
                  <a:pt x="624184" y="1858158"/>
                </a:cubicBezTo>
                <a:cubicBezTo>
                  <a:pt x="622945" y="1857229"/>
                  <a:pt x="622532" y="1856299"/>
                  <a:pt x="622635" y="1855525"/>
                </a:cubicBezTo>
                <a:cubicBezTo>
                  <a:pt x="622842" y="1854750"/>
                  <a:pt x="623461" y="1853821"/>
                  <a:pt x="624391" y="1853202"/>
                </a:cubicBezTo>
                <a:cubicBezTo>
                  <a:pt x="626146" y="1851653"/>
                  <a:pt x="627798" y="1852582"/>
                  <a:pt x="627798" y="1852582"/>
                </a:cubicBezTo>
                <a:close/>
                <a:moveTo>
                  <a:pt x="4993808" y="1852056"/>
                </a:moveTo>
                <a:cubicBezTo>
                  <a:pt x="4995729" y="1852198"/>
                  <a:pt x="4997650" y="1852625"/>
                  <a:pt x="4999784" y="1853336"/>
                </a:cubicBezTo>
                <a:cubicBezTo>
                  <a:pt x="4997437" y="1859454"/>
                  <a:pt x="4987620" y="1865429"/>
                  <a:pt x="4978016" y="1867848"/>
                </a:cubicBezTo>
                <a:cubicBezTo>
                  <a:pt x="4968198" y="1870266"/>
                  <a:pt x="4958381" y="1869128"/>
                  <a:pt x="4955820" y="1861446"/>
                </a:cubicBezTo>
                <a:lnTo>
                  <a:pt x="4962863" y="1860877"/>
                </a:lnTo>
                <a:lnTo>
                  <a:pt x="4965851" y="1858173"/>
                </a:lnTo>
                <a:cubicBezTo>
                  <a:pt x="4969052" y="1856182"/>
                  <a:pt x="4972894" y="1855044"/>
                  <a:pt x="4975881" y="1854474"/>
                </a:cubicBezTo>
                <a:lnTo>
                  <a:pt x="4977802" y="1856040"/>
                </a:lnTo>
                <a:lnTo>
                  <a:pt x="4988046" y="1852483"/>
                </a:lnTo>
                <a:cubicBezTo>
                  <a:pt x="4989967" y="1852056"/>
                  <a:pt x="4991888" y="1851914"/>
                  <a:pt x="4993808" y="1852056"/>
                </a:cubicBezTo>
                <a:close/>
                <a:moveTo>
                  <a:pt x="1249607" y="1851962"/>
                </a:moveTo>
                <a:cubicBezTo>
                  <a:pt x="1249607" y="1851962"/>
                  <a:pt x="1249297" y="1853047"/>
                  <a:pt x="1249710" y="1853821"/>
                </a:cubicBezTo>
                <a:cubicBezTo>
                  <a:pt x="1249710" y="1853821"/>
                  <a:pt x="1249504" y="1854905"/>
                  <a:pt x="1249194" y="1855990"/>
                </a:cubicBezTo>
                <a:cubicBezTo>
                  <a:pt x="1249194" y="1855990"/>
                  <a:pt x="1249710" y="1856764"/>
                  <a:pt x="1250124" y="1857384"/>
                </a:cubicBezTo>
                <a:cubicBezTo>
                  <a:pt x="1250020" y="1860481"/>
                  <a:pt x="1250227" y="1862340"/>
                  <a:pt x="1246922" y="1863115"/>
                </a:cubicBezTo>
                <a:cubicBezTo>
                  <a:pt x="1246716" y="1862650"/>
                  <a:pt x="1246716" y="1861876"/>
                  <a:pt x="1246819" y="1861101"/>
                </a:cubicBezTo>
                <a:cubicBezTo>
                  <a:pt x="1246922" y="1860327"/>
                  <a:pt x="1247129" y="1859552"/>
                  <a:pt x="1247232" y="1858933"/>
                </a:cubicBezTo>
                <a:cubicBezTo>
                  <a:pt x="1246819" y="1858158"/>
                  <a:pt x="1247026" y="1857074"/>
                  <a:pt x="1247748" y="1856764"/>
                </a:cubicBezTo>
                <a:cubicBezTo>
                  <a:pt x="1247748" y="1856764"/>
                  <a:pt x="1248058" y="1855680"/>
                  <a:pt x="1247542" y="1854905"/>
                </a:cubicBezTo>
                <a:cubicBezTo>
                  <a:pt x="1248058" y="1852582"/>
                  <a:pt x="1248884" y="1852272"/>
                  <a:pt x="1249607" y="1851962"/>
                </a:cubicBezTo>
                <a:close/>
                <a:moveTo>
                  <a:pt x="1179599" y="1851498"/>
                </a:moveTo>
                <a:cubicBezTo>
                  <a:pt x="1180219" y="1851343"/>
                  <a:pt x="1180838" y="1851188"/>
                  <a:pt x="1181355" y="1851498"/>
                </a:cubicBezTo>
                <a:cubicBezTo>
                  <a:pt x="1181871" y="1851653"/>
                  <a:pt x="1182387" y="1852272"/>
                  <a:pt x="1182697" y="1853357"/>
                </a:cubicBezTo>
                <a:cubicBezTo>
                  <a:pt x="1183730" y="1855060"/>
                  <a:pt x="1183213" y="1855680"/>
                  <a:pt x="1180425" y="1856764"/>
                </a:cubicBezTo>
                <a:cubicBezTo>
                  <a:pt x="1178051" y="1857229"/>
                  <a:pt x="1176398" y="1858158"/>
                  <a:pt x="1175572" y="1857694"/>
                </a:cubicBezTo>
                <a:cubicBezTo>
                  <a:pt x="1175159" y="1858313"/>
                  <a:pt x="1174024" y="1858623"/>
                  <a:pt x="1173507" y="1859242"/>
                </a:cubicBezTo>
                <a:cubicBezTo>
                  <a:pt x="1173507" y="1859242"/>
                  <a:pt x="1173507" y="1859242"/>
                  <a:pt x="1172784" y="1858778"/>
                </a:cubicBezTo>
                <a:cubicBezTo>
                  <a:pt x="1175263" y="1856609"/>
                  <a:pt x="1176811" y="1852582"/>
                  <a:pt x="1179599" y="1851498"/>
                </a:cubicBezTo>
                <a:close/>
                <a:moveTo>
                  <a:pt x="5407416" y="1850776"/>
                </a:moveTo>
                <a:cubicBezTo>
                  <a:pt x="5422355" y="1856608"/>
                  <a:pt x="5443484" y="1845939"/>
                  <a:pt x="5456503" y="1860023"/>
                </a:cubicBezTo>
                <a:cubicBezTo>
                  <a:pt x="5459277" y="1875246"/>
                  <a:pt x="5467387" y="1877949"/>
                  <a:pt x="5472296" y="1886628"/>
                </a:cubicBezTo>
                <a:cubicBezTo>
                  <a:pt x="5473363" y="1907541"/>
                  <a:pt x="5467814" y="1935141"/>
                  <a:pt x="5447112" y="1944673"/>
                </a:cubicBezTo>
                <a:cubicBezTo>
                  <a:pt x="5430252" y="1952498"/>
                  <a:pt x="5418087" y="1941827"/>
                  <a:pt x="5400160" y="1939409"/>
                </a:cubicBezTo>
                <a:cubicBezTo>
                  <a:pt x="5397385" y="1924186"/>
                  <a:pt x="5388635" y="1922479"/>
                  <a:pt x="5382233" y="1916788"/>
                </a:cubicBezTo>
                <a:cubicBezTo>
                  <a:pt x="5385007" y="1906545"/>
                  <a:pt x="5380312" y="1892603"/>
                  <a:pt x="5380098" y="1880226"/>
                </a:cubicBezTo>
                <a:lnTo>
                  <a:pt x="5383726" y="1876526"/>
                </a:lnTo>
                <a:lnTo>
                  <a:pt x="5381379" y="1872685"/>
                </a:lnTo>
                <a:cubicBezTo>
                  <a:pt x="5382233" y="1871973"/>
                  <a:pt x="5383940" y="1871831"/>
                  <a:pt x="5385647" y="1871973"/>
                </a:cubicBezTo>
                <a:lnTo>
                  <a:pt x="5387568" y="1872258"/>
                </a:lnTo>
                <a:lnTo>
                  <a:pt x="5393757" y="1865572"/>
                </a:lnTo>
                <a:lnTo>
                  <a:pt x="5401013" y="1857889"/>
                </a:lnTo>
                <a:lnTo>
                  <a:pt x="5401440" y="1854190"/>
                </a:lnTo>
                <a:lnTo>
                  <a:pt x="5404642" y="1853906"/>
                </a:lnTo>
                <a:close/>
                <a:moveTo>
                  <a:pt x="977527" y="1850568"/>
                </a:moveTo>
                <a:cubicBezTo>
                  <a:pt x="981761" y="1849639"/>
                  <a:pt x="984135" y="1854441"/>
                  <a:pt x="985787" y="1856919"/>
                </a:cubicBezTo>
                <a:lnTo>
                  <a:pt x="984549" y="1858003"/>
                </a:lnTo>
                <a:lnTo>
                  <a:pt x="986303" y="1858623"/>
                </a:lnTo>
                <a:cubicBezTo>
                  <a:pt x="986923" y="1859088"/>
                  <a:pt x="987646" y="1859707"/>
                  <a:pt x="988472" y="1860172"/>
                </a:cubicBezTo>
                <a:cubicBezTo>
                  <a:pt x="987543" y="1861876"/>
                  <a:pt x="988369" y="1864354"/>
                  <a:pt x="986510" y="1866213"/>
                </a:cubicBezTo>
                <a:cubicBezTo>
                  <a:pt x="986510" y="1866213"/>
                  <a:pt x="985581" y="1866987"/>
                  <a:pt x="983825" y="1867142"/>
                </a:cubicBezTo>
                <a:cubicBezTo>
                  <a:pt x="981141" y="1868846"/>
                  <a:pt x="978663" y="1866523"/>
                  <a:pt x="978663" y="1866523"/>
                </a:cubicBezTo>
                <a:cubicBezTo>
                  <a:pt x="978663" y="1866523"/>
                  <a:pt x="978663" y="1866523"/>
                  <a:pt x="978663" y="1867297"/>
                </a:cubicBezTo>
                <a:cubicBezTo>
                  <a:pt x="978766" y="1865593"/>
                  <a:pt x="977940" y="1864044"/>
                  <a:pt x="978043" y="1862340"/>
                </a:cubicBezTo>
                <a:lnTo>
                  <a:pt x="978559" y="1861876"/>
                </a:lnTo>
                <a:lnTo>
                  <a:pt x="977837" y="1862185"/>
                </a:lnTo>
                <a:cubicBezTo>
                  <a:pt x="976185" y="1860636"/>
                  <a:pt x="975152" y="1858778"/>
                  <a:pt x="975049" y="1856764"/>
                </a:cubicBezTo>
                <a:cubicBezTo>
                  <a:pt x="974946" y="1854905"/>
                  <a:pt x="975668" y="1852737"/>
                  <a:pt x="977527" y="1850568"/>
                </a:cubicBezTo>
                <a:close/>
                <a:moveTo>
                  <a:pt x="777003" y="1849794"/>
                </a:moveTo>
                <a:cubicBezTo>
                  <a:pt x="778965" y="1849949"/>
                  <a:pt x="779275" y="1849019"/>
                  <a:pt x="781960" y="1850568"/>
                </a:cubicBezTo>
                <a:cubicBezTo>
                  <a:pt x="781547" y="1851653"/>
                  <a:pt x="781237" y="1852737"/>
                  <a:pt x="780824" y="1853821"/>
                </a:cubicBezTo>
                <a:cubicBezTo>
                  <a:pt x="778552" y="1852891"/>
                  <a:pt x="776177" y="1851962"/>
                  <a:pt x="777003" y="1849794"/>
                </a:cubicBezTo>
                <a:close/>
                <a:moveTo>
                  <a:pt x="3945278" y="1849637"/>
                </a:moveTo>
                <a:cubicBezTo>
                  <a:pt x="3956589" y="1853621"/>
                  <a:pt x="3955735" y="1861730"/>
                  <a:pt x="3951253" y="1865002"/>
                </a:cubicBezTo>
                <a:cubicBezTo>
                  <a:pt x="3949545" y="1865998"/>
                  <a:pt x="3947625" y="1866567"/>
                  <a:pt x="3945491" y="1866283"/>
                </a:cubicBezTo>
                <a:cubicBezTo>
                  <a:pt x="3942717" y="1865714"/>
                  <a:pt x="3939942" y="1863722"/>
                  <a:pt x="3937594" y="1859312"/>
                </a:cubicBezTo>
                <a:cubicBezTo>
                  <a:pt x="3939302" y="1853763"/>
                  <a:pt x="3942717" y="1852910"/>
                  <a:pt x="3945278" y="1849637"/>
                </a:cubicBezTo>
                <a:close/>
                <a:moveTo>
                  <a:pt x="1593450" y="1849329"/>
                </a:moveTo>
                <a:cubicBezTo>
                  <a:pt x="1594173" y="1852891"/>
                  <a:pt x="1592521" y="1855215"/>
                  <a:pt x="1588907" y="1854905"/>
                </a:cubicBezTo>
                <a:cubicBezTo>
                  <a:pt x="1589217" y="1852582"/>
                  <a:pt x="1587565" y="1851962"/>
                  <a:pt x="1587874" y="1849484"/>
                </a:cubicBezTo>
                <a:cubicBezTo>
                  <a:pt x="1590353" y="1849639"/>
                  <a:pt x="1592211" y="1849175"/>
                  <a:pt x="1593450" y="1849329"/>
                </a:cubicBezTo>
                <a:close/>
                <a:moveTo>
                  <a:pt x="964000" y="1848865"/>
                </a:moveTo>
                <a:cubicBezTo>
                  <a:pt x="968440" y="1848245"/>
                  <a:pt x="970712" y="1850103"/>
                  <a:pt x="971641" y="1853357"/>
                </a:cubicBezTo>
                <a:cubicBezTo>
                  <a:pt x="969163" y="1857694"/>
                  <a:pt x="962658" y="1857229"/>
                  <a:pt x="961522" y="1853202"/>
                </a:cubicBezTo>
                <a:cubicBezTo>
                  <a:pt x="962142" y="1852117"/>
                  <a:pt x="962555" y="1850103"/>
                  <a:pt x="964000" y="1848865"/>
                </a:cubicBezTo>
                <a:close/>
                <a:moveTo>
                  <a:pt x="1280894" y="1848710"/>
                </a:moveTo>
                <a:cubicBezTo>
                  <a:pt x="1282030" y="1849019"/>
                  <a:pt x="1282546" y="1849794"/>
                  <a:pt x="1282959" y="1850568"/>
                </a:cubicBezTo>
                <a:cubicBezTo>
                  <a:pt x="1282752" y="1851653"/>
                  <a:pt x="1281926" y="1851962"/>
                  <a:pt x="1281720" y="1853202"/>
                </a:cubicBezTo>
                <a:cubicBezTo>
                  <a:pt x="1282133" y="1853821"/>
                  <a:pt x="1283062" y="1855370"/>
                  <a:pt x="1282752" y="1856454"/>
                </a:cubicBezTo>
                <a:lnTo>
                  <a:pt x="1282442" y="1857384"/>
                </a:lnTo>
                <a:lnTo>
                  <a:pt x="1283269" y="1857384"/>
                </a:lnTo>
                <a:cubicBezTo>
                  <a:pt x="1283785" y="1864819"/>
                  <a:pt x="1282442" y="1873183"/>
                  <a:pt x="1275215" y="1881857"/>
                </a:cubicBezTo>
                <a:cubicBezTo>
                  <a:pt x="1269329" y="1882477"/>
                  <a:pt x="1267367" y="1878449"/>
                  <a:pt x="1267780" y="1873648"/>
                </a:cubicBezTo>
                <a:cubicBezTo>
                  <a:pt x="1268296" y="1867452"/>
                  <a:pt x="1272530" y="1859862"/>
                  <a:pt x="1277796" y="1857538"/>
                </a:cubicBezTo>
                <a:lnTo>
                  <a:pt x="1281100" y="1857384"/>
                </a:lnTo>
                <a:lnTo>
                  <a:pt x="1281100" y="1856919"/>
                </a:lnTo>
                <a:cubicBezTo>
                  <a:pt x="1281203" y="1856764"/>
                  <a:pt x="1281410" y="1856609"/>
                  <a:pt x="1281513" y="1856145"/>
                </a:cubicBezTo>
                <a:cubicBezTo>
                  <a:pt x="1281823" y="1855060"/>
                  <a:pt x="1280997" y="1850568"/>
                  <a:pt x="1279861" y="1850103"/>
                </a:cubicBezTo>
                <a:cubicBezTo>
                  <a:pt x="1280584" y="1849794"/>
                  <a:pt x="1280894" y="1848710"/>
                  <a:pt x="1280894" y="1848710"/>
                </a:cubicBezTo>
                <a:close/>
                <a:moveTo>
                  <a:pt x="815311" y="1848090"/>
                </a:moveTo>
                <a:cubicBezTo>
                  <a:pt x="823468" y="1844992"/>
                  <a:pt x="834930" y="1850413"/>
                  <a:pt x="837822" y="1855990"/>
                </a:cubicBezTo>
                <a:cubicBezTo>
                  <a:pt x="829767" y="1859088"/>
                  <a:pt x="819441" y="1852737"/>
                  <a:pt x="815311" y="1848090"/>
                </a:cubicBezTo>
                <a:close/>
                <a:moveTo>
                  <a:pt x="3774755" y="1847504"/>
                </a:moveTo>
                <a:cubicBezTo>
                  <a:pt x="3777103" y="1847219"/>
                  <a:pt x="3779664" y="1847361"/>
                  <a:pt x="3782225" y="1847788"/>
                </a:cubicBezTo>
                <a:lnTo>
                  <a:pt x="3786280" y="1869271"/>
                </a:lnTo>
                <a:lnTo>
                  <a:pt x="3788414" y="1868702"/>
                </a:lnTo>
                <a:cubicBezTo>
                  <a:pt x="3792896" y="1868417"/>
                  <a:pt x="3798872" y="1869128"/>
                  <a:pt x="3804847" y="1873112"/>
                </a:cubicBezTo>
                <a:lnTo>
                  <a:pt x="3808689" y="1877807"/>
                </a:lnTo>
                <a:lnTo>
                  <a:pt x="3811677" y="1878660"/>
                </a:lnTo>
                <a:lnTo>
                  <a:pt x="3810823" y="1881221"/>
                </a:lnTo>
                <a:lnTo>
                  <a:pt x="3811677" y="1882644"/>
                </a:lnTo>
                <a:cubicBezTo>
                  <a:pt x="3811677" y="1883497"/>
                  <a:pt x="3811463" y="1884067"/>
                  <a:pt x="3810823" y="1884067"/>
                </a:cubicBezTo>
                <a:lnTo>
                  <a:pt x="3809969" y="1885774"/>
                </a:lnTo>
                <a:lnTo>
                  <a:pt x="3811890" y="1886058"/>
                </a:lnTo>
                <a:cubicBezTo>
                  <a:pt x="3812743" y="1886343"/>
                  <a:pt x="3813811" y="1886912"/>
                  <a:pt x="3814665" y="1887908"/>
                </a:cubicBezTo>
                <a:lnTo>
                  <a:pt x="3814238" y="1889757"/>
                </a:lnTo>
                <a:lnTo>
                  <a:pt x="3821281" y="1886628"/>
                </a:lnTo>
                <a:cubicBezTo>
                  <a:pt x="3823201" y="1886343"/>
                  <a:pt x="3825122" y="1886485"/>
                  <a:pt x="3827043" y="1886769"/>
                </a:cubicBezTo>
                <a:cubicBezTo>
                  <a:pt x="3832592" y="1887766"/>
                  <a:pt x="3837928" y="1891038"/>
                  <a:pt x="3843476" y="1894452"/>
                </a:cubicBezTo>
                <a:cubicBezTo>
                  <a:pt x="3838994" y="1901565"/>
                  <a:pt x="3829177" y="1899289"/>
                  <a:pt x="3821067" y="1894879"/>
                </a:cubicBezTo>
                <a:lnTo>
                  <a:pt x="3814024" y="1890184"/>
                </a:lnTo>
                <a:lnTo>
                  <a:pt x="3813170" y="1893883"/>
                </a:lnTo>
                <a:cubicBezTo>
                  <a:pt x="3803780" y="1901139"/>
                  <a:pt x="3798018" y="1896728"/>
                  <a:pt x="3796737" y="1897867"/>
                </a:cubicBezTo>
                <a:lnTo>
                  <a:pt x="3796524" y="1897013"/>
                </a:lnTo>
                <a:lnTo>
                  <a:pt x="3787774" y="1895448"/>
                </a:lnTo>
                <a:lnTo>
                  <a:pt x="3786280" y="1906118"/>
                </a:lnTo>
                <a:cubicBezTo>
                  <a:pt x="3784359" y="1913374"/>
                  <a:pt x="3781371" y="1920772"/>
                  <a:pt x="3777103" y="1928454"/>
                </a:cubicBezTo>
                <a:cubicBezTo>
                  <a:pt x="3767285" y="1930873"/>
                  <a:pt x="3759816" y="1929166"/>
                  <a:pt x="3754267" y="1925040"/>
                </a:cubicBezTo>
                <a:lnTo>
                  <a:pt x="3752346" y="1921626"/>
                </a:lnTo>
                <a:lnTo>
                  <a:pt x="3749785" y="1922194"/>
                </a:lnTo>
                <a:lnTo>
                  <a:pt x="3744449" y="1913517"/>
                </a:lnTo>
                <a:lnTo>
                  <a:pt x="3740394" y="1916647"/>
                </a:lnTo>
                <a:cubicBezTo>
                  <a:pt x="3739327" y="1917357"/>
                  <a:pt x="3738474" y="1917357"/>
                  <a:pt x="3738474" y="1916077"/>
                </a:cubicBezTo>
                <a:cubicBezTo>
                  <a:pt x="3735486" y="1916077"/>
                  <a:pt x="3735486" y="1913517"/>
                  <a:pt x="3732498" y="1910813"/>
                </a:cubicBezTo>
                <a:lnTo>
                  <a:pt x="3731218" y="1905549"/>
                </a:lnTo>
                <a:lnTo>
                  <a:pt x="3728870" y="1906118"/>
                </a:lnTo>
                <a:cubicBezTo>
                  <a:pt x="3727163" y="1899574"/>
                  <a:pt x="3729510" y="1895590"/>
                  <a:pt x="3734205" y="1891749"/>
                </a:cubicBezTo>
                <a:lnTo>
                  <a:pt x="3735059" y="1893456"/>
                </a:lnTo>
                <a:lnTo>
                  <a:pt x="3736553" y="1892745"/>
                </a:lnTo>
                <a:cubicBezTo>
                  <a:pt x="3737834" y="1892318"/>
                  <a:pt x="3738474" y="1892318"/>
                  <a:pt x="3738474" y="1892318"/>
                </a:cubicBezTo>
                <a:lnTo>
                  <a:pt x="3740821" y="1894452"/>
                </a:lnTo>
                <a:lnTo>
                  <a:pt x="3741248" y="1890184"/>
                </a:lnTo>
                <a:lnTo>
                  <a:pt x="3743809" y="1886628"/>
                </a:lnTo>
                <a:lnTo>
                  <a:pt x="3743809" y="1885631"/>
                </a:lnTo>
                <a:lnTo>
                  <a:pt x="3745090" y="1880510"/>
                </a:lnTo>
                <a:lnTo>
                  <a:pt x="3744022" y="1881648"/>
                </a:lnTo>
                <a:cubicBezTo>
                  <a:pt x="3743382" y="1882217"/>
                  <a:pt x="3742529" y="1882502"/>
                  <a:pt x="3742315" y="1882359"/>
                </a:cubicBezTo>
                <a:lnTo>
                  <a:pt x="3746157" y="1877380"/>
                </a:lnTo>
                <a:lnTo>
                  <a:pt x="3747651" y="1872116"/>
                </a:lnTo>
                <a:cubicBezTo>
                  <a:pt x="3752772" y="1859170"/>
                  <a:pt x="3762163" y="1848784"/>
                  <a:pt x="3774755" y="1847504"/>
                </a:cubicBezTo>
                <a:close/>
                <a:moveTo>
                  <a:pt x="904318" y="1847470"/>
                </a:moveTo>
                <a:cubicBezTo>
                  <a:pt x="906693" y="1847006"/>
                  <a:pt x="907829" y="1847006"/>
                  <a:pt x="909378" y="1847935"/>
                </a:cubicBezTo>
                <a:cubicBezTo>
                  <a:pt x="910514" y="1847780"/>
                  <a:pt x="911753" y="1847470"/>
                  <a:pt x="912682" y="1847625"/>
                </a:cubicBezTo>
                <a:cubicBezTo>
                  <a:pt x="913715" y="1847780"/>
                  <a:pt x="914334" y="1848245"/>
                  <a:pt x="914747" y="1849484"/>
                </a:cubicBezTo>
                <a:cubicBezTo>
                  <a:pt x="912682" y="1851033"/>
                  <a:pt x="911030" y="1851807"/>
                  <a:pt x="908242" y="1852891"/>
                </a:cubicBezTo>
                <a:cubicBezTo>
                  <a:pt x="908242" y="1852891"/>
                  <a:pt x="903492" y="1853666"/>
                  <a:pt x="902150" y="1850879"/>
                </a:cubicBezTo>
                <a:cubicBezTo>
                  <a:pt x="901324" y="1850413"/>
                  <a:pt x="903079" y="1847625"/>
                  <a:pt x="904318" y="1847470"/>
                </a:cubicBezTo>
                <a:close/>
                <a:moveTo>
                  <a:pt x="3877837" y="1846792"/>
                </a:moveTo>
                <a:cubicBezTo>
                  <a:pt x="3879971" y="1848499"/>
                  <a:pt x="3881892" y="1851487"/>
                  <a:pt x="3883812" y="1854332"/>
                </a:cubicBezTo>
                <a:cubicBezTo>
                  <a:pt x="3879331" y="1861730"/>
                  <a:pt x="3870581" y="1847646"/>
                  <a:pt x="3877837" y="1846792"/>
                </a:cubicBezTo>
                <a:close/>
                <a:moveTo>
                  <a:pt x="853632" y="1846096"/>
                </a:moveTo>
                <a:cubicBezTo>
                  <a:pt x="859634" y="1844295"/>
                  <a:pt x="865855" y="1844528"/>
                  <a:pt x="867972" y="1848555"/>
                </a:cubicBezTo>
                <a:cubicBezTo>
                  <a:pt x="857956" y="1850258"/>
                  <a:pt x="852174" y="1855990"/>
                  <a:pt x="840609" y="1855835"/>
                </a:cubicBezTo>
                <a:cubicBezTo>
                  <a:pt x="841848" y="1851730"/>
                  <a:pt x="847631" y="1847896"/>
                  <a:pt x="853632" y="1846096"/>
                </a:cubicBezTo>
                <a:close/>
                <a:moveTo>
                  <a:pt x="1433919" y="1845921"/>
                </a:moveTo>
                <a:cubicBezTo>
                  <a:pt x="1435881" y="1844217"/>
                  <a:pt x="1439392" y="1843443"/>
                  <a:pt x="1441664" y="1846076"/>
                </a:cubicBezTo>
                <a:cubicBezTo>
                  <a:pt x="1444039" y="1847780"/>
                  <a:pt x="1443626" y="1851188"/>
                  <a:pt x="1446000" y="1853821"/>
                </a:cubicBezTo>
                <a:cubicBezTo>
                  <a:pt x="1443006" y="1857074"/>
                  <a:pt x="1441973" y="1857848"/>
                  <a:pt x="1437843" y="1856145"/>
                </a:cubicBezTo>
                <a:cubicBezTo>
                  <a:pt x="1437843" y="1856145"/>
                  <a:pt x="1437120" y="1855215"/>
                  <a:pt x="1437120" y="1855215"/>
                </a:cubicBezTo>
                <a:cubicBezTo>
                  <a:pt x="1435571" y="1853821"/>
                  <a:pt x="1434539" y="1851962"/>
                  <a:pt x="1433919" y="1850103"/>
                </a:cubicBezTo>
                <a:cubicBezTo>
                  <a:pt x="1433403" y="1848400"/>
                  <a:pt x="1433403" y="1846696"/>
                  <a:pt x="1433919" y="1845921"/>
                </a:cubicBezTo>
                <a:close/>
                <a:moveTo>
                  <a:pt x="6069871" y="1845654"/>
                </a:moveTo>
                <a:cubicBezTo>
                  <a:pt x="6070938" y="1845512"/>
                  <a:pt x="6072006" y="1845512"/>
                  <a:pt x="6073499" y="1846508"/>
                </a:cubicBezTo>
                <a:cubicBezTo>
                  <a:pt x="6074780" y="1847646"/>
                  <a:pt x="6073499" y="1847788"/>
                  <a:pt x="6074780" y="1847788"/>
                </a:cubicBezTo>
                <a:cubicBezTo>
                  <a:pt x="6076060" y="1848784"/>
                  <a:pt x="6075847" y="1847646"/>
                  <a:pt x="6075847" y="1847646"/>
                </a:cubicBezTo>
                <a:cubicBezTo>
                  <a:pt x="6075847" y="1847646"/>
                  <a:pt x="6076060" y="1848926"/>
                  <a:pt x="6076060" y="1848926"/>
                </a:cubicBezTo>
                <a:cubicBezTo>
                  <a:pt x="6076060" y="1848926"/>
                  <a:pt x="6076060" y="1848926"/>
                  <a:pt x="6078835" y="1851060"/>
                </a:cubicBezTo>
                <a:cubicBezTo>
                  <a:pt x="6082463" y="1853336"/>
                  <a:pt x="6083743" y="1853194"/>
                  <a:pt x="6086091" y="1854190"/>
                </a:cubicBezTo>
                <a:cubicBezTo>
                  <a:pt x="6088652" y="1856466"/>
                  <a:pt x="6089079" y="1857747"/>
                  <a:pt x="6091853" y="1861161"/>
                </a:cubicBezTo>
                <a:cubicBezTo>
                  <a:pt x="6091000" y="1863580"/>
                  <a:pt x="6091000" y="1863580"/>
                  <a:pt x="6089719" y="1863580"/>
                </a:cubicBezTo>
                <a:cubicBezTo>
                  <a:pt x="6091000" y="1863580"/>
                  <a:pt x="6091000" y="1864718"/>
                  <a:pt x="6092493" y="1865856"/>
                </a:cubicBezTo>
                <a:cubicBezTo>
                  <a:pt x="6098683" y="1869128"/>
                  <a:pt x="6097189" y="1875246"/>
                  <a:pt x="6093348" y="1881363"/>
                </a:cubicBezTo>
                <a:cubicBezTo>
                  <a:pt x="6092067" y="1880367"/>
                  <a:pt x="6090360" y="1884067"/>
                  <a:pt x="6088225" y="1885347"/>
                </a:cubicBezTo>
                <a:cubicBezTo>
                  <a:pt x="6084597" y="1885489"/>
                  <a:pt x="6082463" y="1885631"/>
                  <a:pt x="6079902" y="1883355"/>
                </a:cubicBezTo>
                <a:lnTo>
                  <a:pt x="6077127" y="1879230"/>
                </a:lnTo>
                <a:lnTo>
                  <a:pt x="6074566" y="1881079"/>
                </a:lnTo>
                <a:cubicBezTo>
                  <a:pt x="6067523" y="1883924"/>
                  <a:pt x="6059413" y="1884493"/>
                  <a:pt x="6056426" y="1872401"/>
                </a:cubicBezTo>
                <a:cubicBezTo>
                  <a:pt x="6055359" y="1870124"/>
                  <a:pt x="6056212" y="1870693"/>
                  <a:pt x="6055999" y="1869128"/>
                </a:cubicBezTo>
                <a:cubicBezTo>
                  <a:pt x="6055785" y="1867421"/>
                  <a:pt x="6054505" y="1865144"/>
                  <a:pt x="6053651" y="1864576"/>
                </a:cubicBezTo>
                <a:cubicBezTo>
                  <a:pt x="6058987" y="1862157"/>
                  <a:pt x="6057493" y="1858315"/>
                  <a:pt x="6066243" y="1855044"/>
                </a:cubicBezTo>
                <a:cubicBezTo>
                  <a:pt x="6069018" y="1853763"/>
                  <a:pt x="6071365" y="1853336"/>
                  <a:pt x="6073499" y="1853336"/>
                </a:cubicBezTo>
                <a:lnTo>
                  <a:pt x="6074993" y="1853621"/>
                </a:lnTo>
                <a:lnTo>
                  <a:pt x="6074566" y="1853336"/>
                </a:lnTo>
                <a:cubicBezTo>
                  <a:pt x="6071578" y="1850349"/>
                  <a:pt x="6069444" y="1847361"/>
                  <a:pt x="6069871" y="1845654"/>
                </a:cubicBezTo>
                <a:close/>
                <a:moveTo>
                  <a:pt x="1487716" y="1845457"/>
                </a:moveTo>
                <a:cubicBezTo>
                  <a:pt x="1492466" y="1847935"/>
                  <a:pt x="1498041" y="1847625"/>
                  <a:pt x="1499384" y="1850103"/>
                </a:cubicBezTo>
                <a:cubicBezTo>
                  <a:pt x="1499797" y="1851033"/>
                  <a:pt x="1499797" y="1852272"/>
                  <a:pt x="1499074" y="1853976"/>
                </a:cubicBezTo>
                <a:lnTo>
                  <a:pt x="1498764" y="1853976"/>
                </a:lnTo>
                <a:lnTo>
                  <a:pt x="1499590" y="1854750"/>
                </a:lnTo>
                <a:cubicBezTo>
                  <a:pt x="1500416" y="1855060"/>
                  <a:pt x="1501242" y="1855370"/>
                  <a:pt x="1501139" y="1856919"/>
                </a:cubicBezTo>
                <a:cubicBezTo>
                  <a:pt x="1500210" y="1858468"/>
                  <a:pt x="1498351" y="1859707"/>
                  <a:pt x="1496183" y="1860636"/>
                </a:cubicBezTo>
                <a:lnTo>
                  <a:pt x="1488955" y="1862340"/>
                </a:lnTo>
                <a:lnTo>
                  <a:pt x="1488129" y="1864354"/>
                </a:lnTo>
                <a:cubicBezTo>
                  <a:pt x="1487406" y="1865128"/>
                  <a:pt x="1486477" y="1866058"/>
                  <a:pt x="1485341" y="1866832"/>
                </a:cubicBezTo>
                <a:cubicBezTo>
                  <a:pt x="1483586" y="1866058"/>
                  <a:pt x="1481933" y="1866213"/>
                  <a:pt x="1479352" y="1865593"/>
                </a:cubicBezTo>
                <a:lnTo>
                  <a:pt x="1481211" y="1860946"/>
                </a:lnTo>
                <a:lnTo>
                  <a:pt x="1477494" y="1857074"/>
                </a:lnTo>
                <a:cubicBezTo>
                  <a:pt x="1480591" y="1856764"/>
                  <a:pt x="1483689" y="1856609"/>
                  <a:pt x="1486890" y="1856145"/>
                </a:cubicBezTo>
                <a:lnTo>
                  <a:pt x="1495460" y="1853666"/>
                </a:lnTo>
                <a:lnTo>
                  <a:pt x="1491227" y="1852737"/>
                </a:lnTo>
                <a:cubicBezTo>
                  <a:pt x="1488232" y="1851653"/>
                  <a:pt x="1485857" y="1850103"/>
                  <a:pt x="1486374" y="1847780"/>
                </a:cubicBezTo>
                <a:cubicBezTo>
                  <a:pt x="1486580" y="1847006"/>
                  <a:pt x="1486993" y="1846231"/>
                  <a:pt x="1487716" y="1845457"/>
                </a:cubicBezTo>
                <a:close/>
                <a:moveTo>
                  <a:pt x="6227802" y="1845369"/>
                </a:moveTo>
                <a:cubicBezTo>
                  <a:pt x="6226095" y="1849495"/>
                  <a:pt x="6231003" y="1850491"/>
                  <a:pt x="6226948" y="1854190"/>
                </a:cubicBezTo>
                <a:cubicBezTo>
                  <a:pt x="6224600" y="1854759"/>
                  <a:pt x="6222253" y="1854332"/>
                  <a:pt x="6219265" y="1851487"/>
                </a:cubicBezTo>
                <a:cubicBezTo>
                  <a:pt x="6220332" y="1845085"/>
                  <a:pt x="6223960" y="1845227"/>
                  <a:pt x="6227802" y="1845369"/>
                </a:cubicBezTo>
                <a:close/>
                <a:moveTo>
                  <a:pt x="1649931" y="1844217"/>
                </a:moveTo>
                <a:cubicBezTo>
                  <a:pt x="1650758" y="1844217"/>
                  <a:pt x="1651583" y="1844992"/>
                  <a:pt x="1652409" y="1845147"/>
                </a:cubicBezTo>
                <a:cubicBezTo>
                  <a:pt x="1652409" y="1845147"/>
                  <a:pt x="1652513" y="1845767"/>
                  <a:pt x="1652513" y="1846386"/>
                </a:cubicBezTo>
                <a:cubicBezTo>
                  <a:pt x="1652616" y="1847161"/>
                  <a:pt x="1652513" y="1848090"/>
                  <a:pt x="1651997" y="1848400"/>
                </a:cubicBezTo>
                <a:cubicBezTo>
                  <a:pt x="1650964" y="1850103"/>
                  <a:pt x="1648589" y="1847470"/>
                  <a:pt x="1647763" y="1847470"/>
                </a:cubicBezTo>
                <a:cubicBezTo>
                  <a:pt x="1647350" y="1847006"/>
                  <a:pt x="1647040" y="1846541"/>
                  <a:pt x="1646834" y="1846231"/>
                </a:cubicBezTo>
                <a:cubicBezTo>
                  <a:pt x="1646731" y="1845767"/>
                  <a:pt x="1646731" y="1845302"/>
                  <a:pt x="1647247" y="1844992"/>
                </a:cubicBezTo>
                <a:cubicBezTo>
                  <a:pt x="1648176" y="1844063"/>
                  <a:pt x="1648279" y="1843288"/>
                  <a:pt x="1649931" y="1844217"/>
                </a:cubicBezTo>
                <a:close/>
                <a:moveTo>
                  <a:pt x="855271" y="1843908"/>
                </a:moveTo>
                <a:cubicBezTo>
                  <a:pt x="855271" y="1843908"/>
                  <a:pt x="854032" y="1844217"/>
                  <a:pt x="852793" y="1844372"/>
                </a:cubicBezTo>
                <a:cubicBezTo>
                  <a:pt x="851658" y="1844682"/>
                  <a:pt x="851658" y="1844527"/>
                  <a:pt x="851967" y="1845767"/>
                </a:cubicBezTo>
                <a:cubicBezTo>
                  <a:pt x="850728" y="1845921"/>
                  <a:pt x="850728" y="1845921"/>
                  <a:pt x="849179" y="1844992"/>
                </a:cubicBezTo>
                <a:cubicBezTo>
                  <a:pt x="850419" y="1844837"/>
                  <a:pt x="854962" y="1842824"/>
                  <a:pt x="855271" y="1843908"/>
                </a:cubicBezTo>
                <a:close/>
                <a:moveTo>
                  <a:pt x="4811548" y="1842808"/>
                </a:moveTo>
                <a:cubicBezTo>
                  <a:pt x="4813042" y="1842382"/>
                  <a:pt x="4814749" y="1842667"/>
                  <a:pt x="4816030" y="1843235"/>
                </a:cubicBezTo>
                <a:cubicBezTo>
                  <a:pt x="4817310" y="1843235"/>
                  <a:pt x="4818377" y="1843947"/>
                  <a:pt x="4819018" y="1845085"/>
                </a:cubicBezTo>
                <a:cubicBezTo>
                  <a:pt x="4819658" y="1846223"/>
                  <a:pt x="4819872" y="1847788"/>
                  <a:pt x="4819658" y="1849068"/>
                </a:cubicBezTo>
                <a:lnTo>
                  <a:pt x="4819658" y="1849353"/>
                </a:lnTo>
                <a:lnTo>
                  <a:pt x="4831610" y="1855613"/>
                </a:lnTo>
                <a:lnTo>
                  <a:pt x="4844202" y="1866567"/>
                </a:lnTo>
                <a:lnTo>
                  <a:pt x="4845909" y="1863295"/>
                </a:lnTo>
                <a:cubicBezTo>
                  <a:pt x="4845909" y="1860592"/>
                  <a:pt x="4847189" y="1857462"/>
                  <a:pt x="4849323" y="1856040"/>
                </a:cubicBezTo>
                <a:cubicBezTo>
                  <a:pt x="4850817" y="1855613"/>
                  <a:pt x="4852098" y="1855755"/>
                  <a:pt x="4852952" y="1856040"/>
                </a:cubicBezTo>
                <a:cubicBezTo>
                  <a:pt x="4854019" y="1856466"/>
                  <a:pt x="4854659" y="1857178"/>
                  <a:pt x="4854873" y="1857889"/>
                </a:cubicBezTo>
                <a:cubicBezTo>
                  <a:pt x="4858073" y="1864291"/>
                  <a:pt x="4857433" y="1869128"/>
                  <a:pt x="4855940" y="1872685"/>
                </a:cubicBezTo>
                <a:lnTo>
                  <a:pt x="4854232" y="1876811"/>
                </a:lnTo>
                <a:lnTo>
                  <a:pt x="4858928" y="1884493"/>
                </a:lnTo>
                <a:cubicBezTo>
                  <a:pt x="4860848" y="1888477"/>
                  <a:pt x="4862129" y="1892745"/>
                  <a:pt x="4862769" y="1897297"/>
                </a:cubicBezTo>
                <a:cubicBezTo>
                  <a:pt x="4863409" y="1902277"/>
                  <a:pt x="4863196" y="1906545"/>
                  <a:pt x="4862342" y="1910244"/>
                </a:cubicBezTo>
                <a:lnTo>
                  <a:pt x="4860635" y="1914085"/>
                </a:lnTo>
                <a:lnTo>
                  <a:pt x="4860848" y="1917215"/>
                </a:lnTo>
                <a:lnTo>
                  <a:pt x="4861061" y="1918780"/>
                </a:lnTo>
                <a:lnTo>
                  <a:pt x="4862342" y="1916219"/>
                </a:lnTo>
                <a:cubicBezTo>
                  <a:pt x="4863196" y="1914654"/>
                  <a:pt x="4863196" y="1914654"/>
                  <a:pt x="4861702" y="1913943"/>
                </a:cubicBezTo>
                <a:cubicBezTo>
                  <a:pt x="4862556" y="1912378"/>
                  <a:pt x="4862556" y="1912378"/>
                  <a:pt x="4864903" y="1911524"/>
                </a:cubicBezTo>
                <a:cubicBezTo>
                  <a:pt x="4864263" y="1912805"/>
                  <a:pt x="4862982" y="1916931"/>
                  <a:pt x="4861915" y="1918638"/>
                </a:cubicBezTo>
                <a:lnTo>
                  <a:pt x="4861061" y="1919207"/>
                </a:lnTo>
                <a:lnTo>
                  <a:pt x="4861061" y="1920488"/>
                </a:lnTo>
                <a:cubicBezTo>
                  <a:pt x="4862556" y="1921199"/>
                  <a:pt x="4862556" y="1921199"/>
                  <a:pt x="4861275" y="1921626"/>
                </a:cubicBezTo>
                <a:lnTo>
                  <a:pt x="4861061" y="1922621"/>
                </a:lnTo>
                <a:lnTo>
                  <a:pt x="4861061" y="1925894"/>
                </a:lnTo>
                <a:cubicBezTo>
                  <a:pt x="4861061" y="1928881"/>
                  <a:pt x="4860635" y="1931726"/>
                  <a:pt x="4859994" y="1933007"/>
                </a:cubicBezTo>
                <a:lnTo>
                  <a:pt x="4859568" y="1925467"/>
                </a:lnTo>
                <a:lnTo>
                  <a:pt x="4858714" y="1929308"/>
                </a:lnTo>
                <a:cubicBezTo>
                  <a:pt x="4858714" y="1931158"/>
                  <a:pt x="4858928" y="1933007"/>
                  <a:pt x="4859568" y="1933291"/>
                </a:cubicBezTo>
                <a:cubicBezTo>
                  <a:pt x="4858501" y="1933719"/>
                  <a:pt x="4857647" y="1935284"/>
                  <a:pt x="4857647" y="1935284"/>
                </a:cubicBezTo>
                <a:cubicBezTo>
                  <a:pt x="4856153" y="1934572"/>
                  <a:pt x="4855940" y="1933433"/>
                  <a:pt x="4855513" y="1932295"/>
                </a:cubicBezTo>
                <a:cubicBezTo>
                  <a:pt x="4856366" y="1930873"/>
                  <a:pt x="4857433" y="1930446"/>
                  <a:pt x="4858287" y="1928881"/>
                </a:cubicBezTo>
                <a:cubicBezTo>
                  <a:pt x="4858073" y="1927743"/>
                  <a:pt x="4857433" y="1925467"/>
                  <a:pt x="4858287" y="1924044"/>
                </a:cubicBezTo>
                <a:lnTo>
                  <a:pt x="4859568" y="1922337"/>
                </a:lnTo>
                <a:lnTo>
                  <a:pt x="4860635" y="1914370"/>
                </a:lnTo>
                <a:lnTo>
                  <a:pt x="4858073" y="1920488"/>
                </a:lnTo>
                <a:cubicBezTo>
                  <a:pt x="4854445" y="1926889"/>
                  <a:pt x="4849323" y="1932865"/>
                  <a:pt x="4845909" y="1941259"/>
                </a:cubicBezTo>
                <a:cubicBezTo>
                  <a:pt x="4831396" y="1937275"/>
                  <a:pt x="4827768" y="1945100"/>
                  <a:pt x="4820939" y="1949226"/>
                </a:cubicBezTo>
                <a:cubicBezTo>
                  <a:pt x="4816457" y="1945526"/>
                  <a:pt x="4810908" y="1943393"/>
                  <a:pt x="4804932" y="1941543"/>
                </a:cubicBezTo>
                <a:lnTo>
                  <a:pt x="4802158" y="1940689"/>
                </a:lnTo>
                <a:lnTo>
                  <a:pt x="4801944" y="1944957"/>
                </a:lnTo>
                <a:cubicBezTo>
                  <a:pt x="4801091" y="1946238"/>
                  <a:pt x="4799383" y="1947518"/>
                  <a:pt x="4797890" y="1949368"/>
                </a:cubicBezTo>
                <a:cubicBezTo>
                  <a:pt x="4797249" y="1947661"/>
                  <a:pt x="4795755" y="1948230"/>
                  <a:pt x="4794261" y="1948656"/>
                </a:cubicBezTo>
                <a:cubicBezTo>
                  <a:pt x="4793407" y="1946238"/>
                  <a:pt x="4791700" y="1942539"/>
                  <a:pt x="4793407" y="1940120"/>
                </a:cubicBezTo>
                <a:lnTo>
                  <a:pt x="4795968" y="1938555"/>
                </a:lnTo>
                <a:lnTo>
                  <a:pt x="4787219" y="1935425"/>
                </a:lnTo>
                <a:cubicBezTo>
                  <a:pt x="4784231" y="1928312"/>
                  <a:pt x="4780816" y="1922053"/>
                  <a:pt x="4777188" y="1915792"/>
                </a:cubicBezTo>
                <a:lnTo>
                  <a:pt x="4776334" y="1913800"/>
                </a:lnTo>
                <a:lnTo>
                  <a:pt x="4774626" y="1916931"/>
                </a:lnTo>
                <a:cubicBezTo>
                  <a:pt x="4773346" y="1917927"/>
                  <a:pt x="4770572" y="1918638"/>
                  <a:pt x="4767797" y="1918922"/>
                </a:cubicBezTo>
                <a:cubicBezTo>
                  <a:pt x="4765022" y="1919207"/>
                  <a:pt x="4762248" y="1918922"/>
                  <a:pt x="4760541" y="1917500"/>
                </a:cubicBezTo>
                <a:cubicBezTo>
                  <a:pt x="4761608" y="1915365"/>
                  <a:pt x="4762889" y="1913231"/>
                  <a:pt x="4764169" y="1910955"/>
                </a:cubicBezTo>
                <a:cubicBezTo>
                  <a:pt x="4764169" y="1912236"/>
                  <a:pt x="4774626" y="1911098"/>
                  <a:pt x="4774626" y="1911098"/>
                </a:cubicBezTo>
                <a:lnTo>
                  <a:pt x="4776121" y="1913231"/>
                </a:lnTo>
                <a:lnTo>
                  <a:pt x="4767370" y="1896017"/>
                </a:lnTo>
                <a:cubicBezTo>
                  <a:pt x="4776334" y="1883924"/>
                  <a:pt x="4772279" y="1858743"/>
                  <a:pt x="4788285" y="1851914"/>
                </a:cubicBezTo>
                <a:lnTo>
                  <a:pt x="4792340" y="1852483"/>
                </a:lnTo>
                <a:lnTo>
                  <a:pt x="4792554" y="1852056"/>
                </a:lnTo>
                <a:cubicBezTo>
                  <a:pt x="4793834" y="1851203"/>
                  <a:pt x="4795115" y="1850633"/>
                  <a:pt x="4796395" y="1850776"/>
                </a:cubicBezTo>
                <a:lnTo>
                  <a:pt x="4798743" y="1852198"/>
                </a:lnTo>
                <a:lnTo>
                  <a:pt x="4805359" y="1850918"/>
                </a:lnTo>
                <a:lnTo>
                  <a:pt x="4806639" y="1851060"/>
                </a:lnTo>
                <a:lnTo>
                  <a:pt x="4808774" y="1850349"/>
                </a:lnTo>
                <a:lnTo>
                  <a:pt x="4808347" y="1845796"/>
                </a:lnTo>
                <a:cubicBezTo>
                  <a:pt x="4808987" y="1844231"/>
                  <a:pt x="4810054" y="1843235"/>
                  <a:pt x="4811548" y="1842808"/>
                </a:cubicBezTo>
                <a:close/>
                <a:moveTo>
                  <a:pt x="4750083" y="1842808"/>
                </a:moveTo>
                <a:lnTo>
                  <a:pt x="4751151" y="1843235"/>
                </a:lnTo>
                <a:lnTo>
                  <a:pt x="4751364" y="1842951"/>
                </a:lnTo>
                <a:cubicBezTo>
                  <a:pt x="4751577" y="1843520"/>
                  <a:pt x="4752004" y="1843804"/>
                  <a:pt x="4752218" y="1843662"/>
                </a:cubicBezTo>
                <a:lnTo>
                  <a:pt x="4752431" y="1842808"/>
                </a:lnTo>
                <a:close/>
                <a:moveTo>
                  <a:pt x="1589836" y="1842204"/>
                </a:moveTo>
                <a:cubicBezTo>
                  <a:pt x="1591798" y="1842359"/>
                  <a:pt x="1590972" y="1844527"/>
                  <a:pt x="1590559" y="1845457"/>
                </a:cubicBezTo>
                <a:cubicBezTo>
                  <a:pt x="1589423" y="1843288"/>
                  <a:pt x="1588287" y="1842824"/>
                  <a:pt x="1589113" y="1842513"/>
                </a:cubicBezTo>
                <a:cubicBezTo>
                  <a:pt x="1588700" y="1841894"/>
                  <a:pt x="1589423" y="1841429"/>
                  <a:pt x="1589836" y="1842204"/>
                </a:cubicBezTo>
                <a:close/>
                <a:moveTo>
                  <a:pt x="1330353" y="1841584"/>
                </a:moveTo>
                <a:cubicBezTo>
                  <a:pt x="1333244" y="1841894"/>
                  <a:pt x="1338304" y="1845302"/>
                  <a:pt x="1339646" y="1849794"/>
                </a:cubicBezTo>
                <a:lnTo>
                  <a:pt x="1339543" y="1852737"/>
                </a:lnTo>
                <a:lnTo>
                  <a:pt x="1340679" y="1850568"/>
                </a:lnTo>
                <a:cubicBezTo>
                  <a:pt x="1341815" y="1849949"/>
                  <a:pt x="1343364" y="1849639"/>
                  <a:pt x="1344706" y="1849484"/>
                </a:cubicBezTo>
                <a:cubicBezTo>
                  <a:pt x="1343983" y="1849794"/>
                  <a:pt x="1343983" y="1849794"/>
                  <a:pt x="1343983" y="1849794"/>
                </a:cubicBezTo>
                <a:cubicBezTo>
                  <a:pt x="1343570" y="1850879"/>
                  <a:pt x="1344293" y="1850568"/>
                  <a:pt x="1344706" y="1851343"/>
                </a:cubicBezTo>
                <a:cubicBezTo>
                  <a:pt x="1344706" y="1851343"/>
                  <a:pt x="1344293" y="1850723"/>
                  <a:pt x="1345532" y="1851188"/>
                </a:cubicBezTo>
                <a:cubicBezTo>
                  <a:pt x="1344706" y="1851498"/>
                  <a:pt x="1345119" y="1852272"/>
                  <a:pt x="1345532" y="1853047"/>
                </a:cubicBezTo>
                <a:cubicBezTo>
                  <a:pt x="1344706" y="1855215"/>
                  <a:pt x="1343054" y="1857694"/>
                  <a:pt x="1341092" y="1857538"/>
                </a:cubicBezTo>
                <a:cubicBezTo>
                  <a:pt x="1339956" y="1857074"/>
                  <a:pt x="1339337" y="1856299"/>
                  <a:pt x="1339130" y="1855525"/>
                </a:cubicBezTo>
                <a:lnTo>
                  <a:pt x="1339130" y="1854286"/>
                </a:lnTo>
                <a:lnTo>
                  <a:pt x="1334690" y="1852272"/>
                </a:lnTo>
                <a:cubicBezTo>
                  <a:pt x="1331076" y="1849484"/>
                  <a:pt x="1330870" y="1845457"/>
                  <a:pt x="1330353" y="1841584"/>
                </a:cubicBezTo>
                <a:close/>
                <a:moveTo>
                  <a:pt x="3509261" y="1841528"/>
                </a:moveTo>
                <a:cubicBezTo>
                  <a:pt x="3510541" y="1841386"/>
                  <a:pt x="3511395" y="1841528"/>
                  <a:pt x="3512035" y="1841955"/>
                </a:cubicBezTo>
                <a:cubicBezTo>
                  <a:pt x="3512889" y="1844516"/>
                  <a:pt x="3504565" y="1853478"/>
                  <a:pt x="3501791" y="1848072"/>
                </a:cubicBezTo>
                <a:cubicBezTo>
                  <a:pt x="3500724" y="1844231"/>
                  <a:pt x="3505846" y="1841813"/>
                  <a:pt x="3509261" y="1841528"/>
                </a:cubicBezTo>
                <a:close/>
                <a:moveTo>
                  <a:pt x="5213631" y="1841386"/>
                </a:moveTo>
                <a:cubicBezTo>
                  <a:pt x="5215978" y="1841101"/>
                  <a:pt x="5218966" y="1842808"/>
                  <a:pt x="5218540" y="1845939"/>
                </a:cubicBezTo>
                <a:cubicBezTo>
                  <a:pt x="5217046" y="1846365"/>
                  <a:pt x="5214911" y="1847646"/>
                  <a:pt x="5212350" y="1847219"/>
                </a:cubicBezTo>
                <a:cubicBezTo>
                  <a:pt x="5209576" y="1843520"/>
                  <a:pt x="5211283" y="1841528"/>
                  <a:pt x="5213631" y="1841386"/>
                </a:cubicBezTo>
                <a:close/>
                <a:moveTo>
                  <a:pt x="895232" y="1841274"/>
                </a:moveTo>
                <a:cubicBezTo>
                  <a:pt x="898226" y="1841429"/>
                  <a:pt x="902047" y="1846076"/>
                  <a:pt x="901014" y="1849329"/>
                </a:cubicBezTo>
                <a:cubicBezTo>
                  <a:pt x="900704" y="1850413"/>
                  <a:pt x="899878" y="1851343"/>
                  <a:pt x="898226" y="1851962"/>
                </a:cubicBezTo>
                <a:cubicBezTo>
                  <a:pt x="893373" y="1853202"/>
                  <a:pt x="891928" y="1849484"/>
                  <a:pt x="890998" y="1844992"/>
                </a:cubicBezTo>
                <a:cubicBezTo>
                  <a:pt x="892650" y="1843908"/>
                  <a:pt x="893580" y="1842359"/>
                  <a:pt x="895232" y="1841274"/>
                </a:cubicBezTo>
                <a:close/>
                <a:moveTo>
                  <a:pt x="992292" y="1840965"/>
                </a:moveTo>
                <a:cubicBezTo>
                  <a:pt x="995906" y="1839880"/>
                  <a:pt x="998798" y="1847006"/>
                  <a:pt x="997765" y="1848555"/>
                </a:cubicBezTo>
                <a:cubicBezTo>
                  <a:pt x="996423" y="1849019"/>
                  <a:pt x="991983" y="1845612"/>
                  <a:pt x="991363" y="1843133"/>
                </a:cubicBezTo>
                <a:cubicBezTo>
                  <a:pt x="991157" y="1842204"/>
                  <a:pt x="991363" y="1841429"/>
                  <a:pt x="992292" y="1840965"/>
                </a:cubicBezTo>
                <a:close/>
                <a:moveTo>
                  <a:pt x="5591384" y="1840675"/>
                </a:moveTo>
                <a:cubicBezTo>
                  <a:pt x="5594585" y="1841670"/>
                  <a:pt x="5596293" y="1841955"/>
                  <a:pt x="5598853" y="1841813"/>
                </a:cubicBezTo>
                <a:cubicBezTo>
                  <a:pt x="5599281" y="1844658"/>
                  <a:pt x="5598427" y="1845227"/>
                  <a:pt x="5596720" y="1844800"/>
                </a:cubicBezTo>
                <a:cubicBezTo>
                  <a:pt x="5596720" y="1844800"/>
                  <a:pt x="5595012" y="1844374"/>
                  <a:pt x="5593518" y="1843947"/>
                </a:cubicBezTo>
                <a:cubicBezTo>
                  <a:pt x="5591811" y="1843520"/>
                  <a:pt x="5590957" y="1844089"/>
                  <a:pt x="5590957" y="1844089"/>
                </a:cubicBezTo>
                <a:cubicBezTo>
                  <a:pt x="5589250" y="1843662"/>
                  <a:pt x="5588610" y="1842524"/>
                  <a:pt x="5588823" y="1840817"/>
                </a:cubicBezTo>
                <a:cubicBezTo>
                  <a:pt x="5588823" y="1840817"/>
                  <a:pt x="5591384" y="1840675"/>
                  <a:pt x="5591384" y="1840675"/>
                </a:cubicBezTo>
                <a:close/>
                <a:moveTo>
                  <a:pt x="1508367" y="1839725"/>
                </a:moveTo>
                <a:cubicBezTo>
                  <a:pt x="1508367" y="1839725"/>
                  <a:pt x="1508367" y="1840655"/>
                  <a:pt x="1506508" y="1842359"/>
                </a:cubicBezTo>
                <a:cubicBezTo>
                  <a:pt x="1506612" y="1841584"/>
                  <a:pt x="1505682" y="1841584"/>
                  <a:pt x="1505682" y="1841584"/>
                </a:cubicBezTo>
                <a:cubicBezTo>
                  <a:pt x="1505682" y="1841584"/>
                  <a:pt x="1505786" y="1841584"/>
                  <a:pt x="1505682" y="1842359"/>
                </a:cubicBezTo>
                <a:cubicBezTo>
                  <a:pt x="1505269" y="1842049"/>
                  <a:pt x="1505372" y="1841584"/>
                  <a:pt x="1505476" y="1841274"/>
                </a:cubicBezTo>
                <a:cubicBezTo>
                  <a:pt x="1505579" y="1840965"/>
                  <a:pt x="1505786" y="1840810"/>
                  <a:pt x="1505786" y="1840810"/>
                </a:cubicBezTo>
                <a:cubicBezTo>
                  <a:pt x="1506715" y="1839880"/>
                  <a:pt x="1507541" y="1838951"/>
                  <a:pt x="1508367" y="1839725"/>
                </a:cubicBezTo>
                <a:close/>
                <a:moveTo>
                  <a:pt x="3731218" y="1838683"/>
                </a:moveTo>
                <a:cubicBezTo>
                  <a:pt x="3732498" y="1839963"/>
                  <a:pt x="3732498" y="1839963"/>
                  <a:pt x="3731218" y="1839963"/>
                </a:cubicBezTo>
                <a:cubicBezTo>
                  <a:pt x="3732498" y="1842382"/>
                  <a:pt x="3732498" y="1843662"/>
                  <a:pt x="3732711" y="1844942"/>
                </a:cubicBezTo>
                <a:cubicBezTo>
                  <a:pt x="3731431" y="1846081"/>
                  <a:pt x="3729083" y="1845939"/>
                  <a:pt x="3726735" y="1844658"/>
                </a:cubicBezTo>
                <a:cubicBezTo>
                  <a:pt x="3727803" y="1843377"/>
                  <a:pt x="3726735" y="1840959"/>
                  <a:pt x="3727803" y="1839679"/>
                </a:cubicBezTo>
                <a:cubicBezTo>
                  <a:pt x="3727803" y="1839679"/>
                  <a:pt x="3731218" y="1838683"/>
                  <a:pt x="3731218" y="1838683"/>
                </a:cubicBezTo>
                <a:close/>
                <a:moveTo>
                  <a:pt x="5608458" y="1838540"/>
                </a:moveTo>
                <a:cubicBezTo>
                  <a:pt x="5612086" y="1839536"/>
                  <a:pt x="5616141" y="1841101"/>
                  <a:pt x="5618062" y="1843520"/>
                </a:cubicBezTo>
                <a:cubicBezTo>
                  <a:pt x="5618702" y="1844374"/>
                  <a:pt x="5618915" y="1845369"/>
                  <a:pt x="5618915" y="1846365"/>
                </a:cubicBezTo>
                <a:cubicBezTo>
                  <a:pt x="5619342" y="1849068"/>
                  <a:pt x="5616781" y="1849211"/>
                  <a:pt x="5613580" y="1848499"/>
                </a:cubicBezTo>
                <a:cubicBezTo>
                  <a:pt x="5606964" y="1848499"/>
                  <a:pt x="5603976" y="1845939"/>
                  <a:pt x="5604829" y="1841101"/>
                </a:cubicBezTo>
                <a:cubicBezTo>
                  <a:pt x="5605683" y="1840390"/>
                  <a:pt x="5609098" y="1839536"/>
                  <a:pt x="5608458" y="1838540"/>
                </a:cubicBezTo>
                <a:close/>
                <a:moveTo>
                  <a:pt x="863016" y="1838486"/>
                </a:moveTo>
                <a:cubicBezTo>
                  <a:pt x="863739" y="1838951"/>
                  <a:pt x="864978" y="1838642"/>
                  <a:pt x="864978" y="1838642"/>
                </a:cubicBezTo>
                <a:cubicBezTo>
                  <a:pt x="865287" y="1839880"/>
                  <a:pt x="864771" y="1840500"/>
                  <a:pt x="864358" y="1841274"/>
                </a:cubicBezTo>
                <a:cubicBezTo>
                  <a:pt x="863222" y="1841429"/>
                  <a:pt x="862499" y="1840965"/>
                  <a:pt x="861260" y="1841120"/>
                </a:cubicBezTo>
                <a:cubicBezTo>
                  <a:pt x="860847" y="1841739"/>
                  <a:pt x="859918" y="1843133"/>
                  <a:pt x="858782" y="1843288"/>
                </a:cubicBezTo>
                <a:cubicBezTo>
                  <a:pt x="857543" y="1843598"/>
                  <a:pt x="855685" y="1843288"/>
                  <a:pt x="855685" y="1843288"/>
                </a:cubicBezTo>
                <a:cubicBezTo>
                  <a:pt x="855478" y="1842669"/>
                  <a:pt x="855375" y="1842359"/>
                  <a:pt x="855478" y="1842359"/>
                </a:cubicBezTo>
                <a:cubicBezTo>
                  <a:pt x="855478" y="1842204"/>
                  <a:pt x="855788" y="1842359"/>
                  <a:pt x="856097" y="1842513"/>
                </a:cubicBezTo>
                <a:cubicBezTo>
                  <a:pt x="857750" y="1841739"/>
                  <a:pt x="857233" y="1842359"/>
                  <a:pt x="858472" y="1842204"/>
                </a:cubicBezTo>
                <a:cubicBezTo>
                  <a:pt x="859608" y="1842049"/>
                  <a:pt x="863325" y="1839570"/>
                  <a:pt x="863016" y="1838486"/>
                </a:cubicBezTo>
                <a:close/>
                <a:moveTo>
                  <a:pt x="6138379" y="1837687"/>
                </a:moveTo>
                <a:cubicBezTo>
                  <a:pt x="6145848" y="1842097"/>
                  <a:pt x="6148623" y="1861161"/>
                  <a:pt x="6145635" y="1864861"/>
                </a:cubicBezTo>
                <a:cubicBezTo>
                  <a:pt x="6141580" y="1861446"/>
                  <a:pt x="6142220" y="1856608"/>
                  <a:pt x="6137952" y="1852056"/>
                </a:cubicBezTo>
                <a:cubicBezTo>
                  <a:pt x="6139873" y="1848357"/>
                  <a:pt x="6135604" y="1842667"/>
                  <a:pt x="6138379" y="1837687"/>
                </a:cubicBezTo>
                <a:close/>
                <a:moveTo>
                  <a:pt x="1035350" y="1837092"/>
                </a:moveTo>
                <a:cubicBezTo>
                  <a:pt x="1042165" y="1838022"/>
                  <a:pt x="1049393" y="1852582"/>
                  <a:pt x="1041856" y="1858468"/>
                </a:cubicBezTo>
                <a:cubicBezTo>
                  <a:pt x="1039584" y="1853047"/>
                  <a:pt x="1038138" y="1847780"/>
                  <a:pt x="1032459" y="1841894"/>
                </a:cubicBezTo>
                <a:cubicBezTo>
                  <a:pt x="1034524" y="1840346"/>
                  <a:pt x="1032356" y="1838486"/>
                  <a:pt x="1035350" y="1837092"/>
                </a:cubicBezTo>
                <a:close/>
                <a:moveTo>
                  <a:pt x="3777103" y="1836549"/>
                </a:moveTo>
                <a:cubicBezTo>
                  <a:pt x="3777956" y="1839820"/>
                  <a:pt x="3778810" y="1843094"/>
                  <a:pt x="3775822" y="1843662"/>
                </a:cubicBezTo>
                <a:cubicBezTo>
                  <a:pt x="3774328" y="1841386"/>
                  <a:pt x="3772834" y="1841670"/>
                  <a:pt x="3772407" y="1837545"/>
                </a:cubicBezTo>
                <a:cubicBezTo>
                  <a:pt x="3773901" y="1837260"/>
                  <a:pt x="3775609" y="1836975"/>
                  <a:pt x="3777103" y="1836549"/>
                </a:cubicBezTo>
                <a:close/>
                <a:moveTo>
                  <a:pt x="1511258" y="1836163"/>
                </a:moveTo>
                <a:cubicBezTo>
                  <a:pt x="1512188" y="1834614"/>
                  <a:pt x="1513117" y="1834459"/>
                  <a:pt x="1514872" y="1836163"/>
                </a:cubicBezTo>
                <a:cubicBezTo>
                  <a:pt x="1513839" y="1837867"/>
                  <a:pt x="1510226" y="1840346"/>
                  <a:pt x="1508367" y="1839725"/>
                </a:cubicBezTo>
                <a:cubicBezTo>
                  <a:pt x="1509400" y="1838022"/>
                  <a:pt x="1510329" y="1837092"/>
                  <a:pt x="1511258" y="1836163"/>
                </a:cubicBezTo>
                <a:close/>
                <a:moveTo>
                  <a:pt x="1180735" y="1835853"/>
                </a:moveTo>
                <a:cubicBezTo>
                  <a:pt x="1185382" y="1839725"/>
                  <a:pt x="1190751" y="1839261"/>
                  <a:pt x="1195707" y="1838951"/>
                </a:cubicBezTo>
                <a:lnTo>
                  <a:pt x="1200767" y="1839106"/>
                </a:lnTo>
                <a:lnTo>
                  <a:pt x="1202316" y="1838951"/>
                </a:lnTo>
                <a:lnTo>
                  <a:pt x="1202419" y="1839106"/>
                </a:lnTo>
                <a:lnTo>
                  <a:pt x="1202729" y="1839106"/>
                </a:lnTo>
                <a:cubicBezTo>
                  <a:pt x="1204897" y="1839570"/>
                  <a:pt x="1206756" y="1840655"/>
                  <a:pt x="1208304" y="1842824"/>
                </a:cubicBezTo>
                <a:lnTo>
                  <a:pt x="1203038" y="1844217"/>
                </a:lnTo>
                <a:lnTo>
                  <a:pt x="1202626" y="1845767"/>
                </a:lnTo>
                <a:cubicBezTo>
                  <a:pt x="1201490" y="1847780"/>
                  <a:pt x="1199115" y="1849484"/>
                  <a:pt x="1196120" y="1849329"/>
                </a:cubicBezTo>
                <a:lnTo>
                  <a:pt x="1194881" y="1846076"/>
                </a:lnTo>
                <a:lnTo>
                  <a:pt x="1189202" y="1846231"/>
                </a:lnTo>
                <a:cubicBezTo>
                  <a:pt x="1186724" y="1845921"/>
                  <a:pt x="1184039" y="1845302"/>
                  <a:pt x="1181148" y="1844063"/>
                </a:cubicBezTo>
                <a:cubicBezTo>
                  <a:pt x="1180838" y="1842204"/>
                  <a:pt x="1178773" y="1839725"/>
                  <a:pt x="1179290" y="1837712"/>
                </a:cubicBezTo>
                <a:cubicBezTo>
                  <a:pt x="1179496" y="1837092"/>
                  <a:pt x="1179909" y="1836473"/>
                  <a:pt x="1180735" y="1835853"/>
                </a:cubicBezTo>
                <a:close/>
                <a:moveTo>
                  <a:pt x="1228233" y="1835698"/>
                </a:moveTo>
                <a:cubicBezTo>
                  <a:pt x="1228646" y="1835389"/>
                  <a:pt x="1229265" y="1835698"/>
                  <a:pt x="1230092" y="1836163"/>
                </a:cubicBezTo>
                <a:cubicBezTo>
                  <a:pt x="1232776" y="1837557"/>
                  <a:pt x="1236597" y="1841120"/>
                  <a:pt x="1237216" y="1841429"/>
                </a:cubicBezTo>
                <a:cubicBezTo>
                  <a:pt x="1237216" y="1841429"/>
                  <a:pt x="1237939" y="1841894"/>
                  <a:pt x="1238765" y="1842359"/>
                </a:cubicBezTo>
                <a:cubicBezTo>
                  <a:pt x="1239075" y="1843598"/>
                  <a:pt x="1238662" y="1844217"/>
                  <a:pt x="1239385" y="1844682"/>
                </a:cubicBezTo>
                <a:cubicBezTo>
                  <a:pt x="1237629" y="1844992"/>
                  <a:pt x="1236184" y="1844682"/>
                  <a:pt x="1235151" y="1843908"/>
                </a:cubicBezTo>
                <a:lnTo>
                  <a:pt x="1232157" y="1841120"/>
                </a:lnTo>
                <a:lnTo>
                  <a:pt x="1230711" y="1842049"/>
                </a:lnTo>
                <a:cubicBezTo>
                  <a:pt x="1229782" y="1842359"/>
                  <a:pt x="1228853" y="1842359"/>
                  <a:pt x="1227510" y="1842049"/>
                </a:cubicBezTo>
                <a:cubicBezTo>
                  <a:pt x="1228543" y="1841120"/>
                  <a:pt x="1229472" y="1840500"/>
                  <a:pt x="1230504" y="1840035"/>
                </a:cubicBezTo>
                <a:lnTo>
                  <a:pt x="1231331" y="1840035"/>
                </a:lnTo>
                <a:lnTo>
                  <a:pt x="1230608" y="1839261"/>
                </a:lnTo>
                <a:cubicBezTo>
                  <a:pt x="1229988" y="1838951"/>
                  <a:pt x="1229369" y="1838796"/>
                  <a:pt x="1228439" y="1838642"/>
                </a:cubicBezTo>
                <a:cubicBezTo>
                  <a:pt x="1228439" y="1838642"/>
                  <a:pt x="1228439" y="1838642"/>
                  <a:pt x="1227717" y="1836318"/>
                </a:cubicBezTo>
                <a:close/>
                <a:moveTo>
                  <a:pt x="3573074" y="1835127"/>
                </a:moveTo>
                <a:cubicBezTo>
                  <a:pt x="3582464" y="1841244"/>
                  <a:pt x="3592921" y="1845227"/>
                  <a:pt x="3597190" y="1861019"/>
                </a:cubicBezTo>
                <a:cubicBezTo>
                  <a:pt x="3594415" y="1863864"/>
                  <a:pt x="3593562" y="1870266"/>
                  <a:pt x="3588013" y="1868844"/>
                </a:cubicBezTo>
                <a:lnTo>
                  <a:pt x="3587159" y="1865287"/>
                </a:lnTo>
                <a:lnTo>
                  <a:pt x="3581824" y="1871405"/>
                </a:lnTo>
                <a:cubicBezTo>
                  <a:pt x="3578836" y="1868275"/>
                  <a:pt x="3578836" y="1865856"/>
                  <a:pt x="3579903" y="1863580"/>
                </a:cubicBezTo>
                <a:lnTo>
                  <a:pt x="3584171" y="1857462"/>
                </a:lnTo>
                <a:lnTo>
                  <a:pt x="3579049" y="1851203"/>
                </a:lnTo>
                <a:cubicBezTo>
                  <a:pt x="3574567" y="1846508"/>
                  <a:pt x="3570726" y="1842097"/>
                  <a:pt x="3573074" y="1835127"/>
                </a:cubicBezTo>
                <a:close/>
                <a:moveTo>
                  <a:pt x="5986211" y="1833988"/>
                </a:moveTo>
                <a:cubicBezTo>
                  <a:pt x="5991546" y="1840959"/>
                  <a:pt x="5982369" y="1846081"/>
                  <a:pt x="5978314" y="1844089"/>
                </a:cubicBezTo>
                <a:cubicBezTo>
                  <a:pt x="5975967" y="1838683"/>
                  <a:pt x="5981515" y="1833135"/>
                  <a:pt x="5986211" y="1833988"/>
                </a:cubicBezTo>
                <a:close/>
                <a:moveTo>
                  <a:pt x="5770443" y="1833988"/>
                </a:moveTo>
                <a:cubicBezTo>
                  <a:pt x="5776846" y="1836975"/>
                  <a:pt x="5783035" y="1838825"/>
                  <a:pt x="5789224" y="1840675"/>
                </a:cubicBezTo>
                <a:lnTo>
                  <a:pt x="5799682" y="1844231"/>
                </a:lnTo>
                <a:lnTo>
                  <a:pt x="5802029" y="1839679"/>
                </a:lnTo>
                <a:lnTo>
                  <a:pt x="5804590" y="1845796"/>
                </a:lnTo>
                <a:lnTo>
                  <a:pt x="5808219" y="1847219"/>
                </a:lnTo>
                <a:cubicBezTo>
                  <a:pt x="5809072" y="1863154"/>
                  <a:pt x="5827426" y="1878092"/>
                  <a:pt x="5819956" y="1895733"/>
                </a:cubicBezTo>
                <a:cubicBezTo>
                  <a:pt x="5806938" y="1904411"/>
                  <a:pt x="5807792" y="1912947"/>
                  <a:pt x="5801816" y="1920914"/>
                </a:cubicBezTo>
                <a:cubicBezTo>
                  <a:pt x="5783248" y="1930162"/>
                  <a:pt x="5755717" y="1936279"/>
                  <a:pt x="5738643" y="1921483"/>
                </a:cubicBezTo>
                <a:cubicBezTo>
                  <a:pt x="5724558" y="1909248"/>
                  <a:pt x="5729467" y="1893741"/>
                  <a:pt x="5724344" y="1876242"/>
                </a:cubicBezTo>
                <a:cubicBezTo>
                  <a:pt x="5737150" y="1867706"/>
                  <a:pt x="5735229" y="1859027"/>
                  <a:pt x="5737790" y="1850633"/>
                </a:cubicBezTo>
                <a:cubicBezTo>
                  <a:pt x="5748247" y="1849211"/>
                  <a:pt x="5759132" y="1839110"/>
                  <a:pt x="5770443" y="1833988"/>
                </a:cubicBezTo>
                <a:close/>
                <a:moveTo>
                  <a:pt x="4751791" y="1833561"/>
                </a:moveTo>
                <a:cubicBezTo>
                  <a:pt x="4758193" y="1833703"/>
                  <a:pt x="4764169" y="1835695"/>
                  <a:pt x="4765236" y="1842524"/>
                </a:cubicBezTo>
                <a:cubicBezTo>
                  <a:pt x="4763529" y="1842524"/>
                  <a:pt x="4760541" y="1842667"/>
                  <a:pt x="4757339" y="1842808"/>
                </a:cubicBezTo>
                <a:lnTo>
                  <a:pt x="4753711" y="1842808"/>
                </a:lnTo>
                <a:lnTo>
                  <a:pt x="4757126" y="1843520"/>
                </a:lnTo>
                <a:cubicBezTo>
                  <a:pt x="4757980" y="1843947"/>
                  <a:pt x="4758407" y="1844800"/>
                  <a:pt x="4757766" y="1846365"/>
                </a:cubicBezTo>
                <a:cubicBezTo>
                  <a:pt x="4757553" y="1849068"/>
                  <a:pt x="4754992" y="1849068"/>
                  <a:pt x="4753711" y="1852198"/>
                </a:cubicBezTo>
                <a:cubicBezTo>
                  <a:pt x="4752858" y="1855186"/>
                  <a:pt x="4755419" y="1857320"/>
                  <a:pt x="4757553" y="1860023"/>
                </a:cubicBezTo>
                <a:lnTo>
                  <a:pt x="4757980" y="1860734"/>
                </a:lnTo>
                <a:cubicBezTo>
                  <a:pt x="4758834" y="1861446"/>
                  <a:pt x="4759474" y="1862726"/>
                  <a:pt x="4759687" y="1863864"/>
                </a:cubicBezTo>
                <a:lnTo>
                  <a:pt x="4759687" y="1864007"/>
                </a:lnTo>
                <a:lnTo>
                  <a:pt x="4760327" y="1865002"/>
                </a:lnTo>
                <a:cubicBezTo>
                  <a:pt x="4760967" y="1866994"/>
                  <a:pt x="4760967" y="1869413"/>
                  <a:pt x="4760114" y="1872401"/>
                </a:cubicBezTo>
                <a:cubicBezTo>
                  <a:pt x="4757126" y="1871262"/>
                  <a:pt x="4753498" y="1878233"/>
                  <a:pt x="4749016" y="1876668"/>
                </a:cubicBezTo>
                <a:lnTo>
                  <a:pt x="4745815" y="1875530"/>
                </a:lnTo>
                <a:lnTo>
                  <a:pt x="4746668" y="1878092"/>
                </a:lnTo>
                <a:cubicBezTo>
                  <a:pt x="4737492" y="1880652"/>
                  <a:pt x="4726180" y="1880226"/>
                  <a:pt x="4723619" y="1880083"/>
                </a:cubicBezTo>
                <a:cubicBezTo>
                  <a:pt x="4722339" y="1879941"/>
                  <a:pt x="4721485" y="1879656"/>
                  <a:pt x="4721271" y="1879087"/>
                </a:cubicBezTo>
                <a:cubicBezTo>
                  <a:pt x="4720845" y="1878375"/>
                  <a:pt x="4720845" y="1877380"/>
                  <a:pt x="4721058" y="1876100"/>
                </a:cubicBezTo>
                <a:cubicBezTo>
                  <a:pt x="4724473" y="1870836"/>
                  <a:pt x="4730022" y="1872401"/>
                  <a:pt x="4735784" y="1871262"/>
                </a:cubicBezTo>
                <a:cubicBezTo>
                  <a:pt x="4736211" y="1872401"/>
                  <a:pt x="4737705" y="1872970"/>
                  <a:pt x="4738772" y="1872543"/>
                </a:cubicBezTo>
                <a:lnTo>
                  <a:pt x="4740266" y="1873254"/>
                </a:lnTo>
                <a:lnTo>
                  <a:pt x="4737278" y="1870409"/>
                </a:lnTo>
                <a:cubicBezTo>
                  <a:pt x="4735571" y="1867706"/>
                  <a:pt x="4735997" y="1864291"/>
                  <a:pt x="4736211" y="1859739"/>
                </a:cubicBezTo>
                <a:cubicBezTo>
                  <a:pt x="4736638" y="1860877"/>
                  <a:pt x="4737278" y="1859170"/>
                  <a:pt x="4737278" y="1859170"/>
                </a:cubicBezTo>
                <a:cubicBezTo>
                  <a:pt x="4738559" y="1855897"/>
                  <a:pt x="4731516" y="1858031"/>
                  <a:pt x="4732369" y="1853621"/>
                </a:cubicBezTo>
                <a:cubicBezTo>
                  <a:pt x="4734504" y="1846792"/>
                  <a:pt x="4743040" y="1844800"/>
                  <a:pt x="4747522" y="1844089"/>
                </a:cubicBezTo>
                <a:lnTo>
                  <a:pt x="4750083" y="1843662"/>
                </a:lnTo>
                <a:lnTo>
                  <a:pt x="4749656" y="1842808"/>
                </a:lnTo>
                <a:lnTo>
                  <a:pt x="4747095" y="1842808"/>
                </a:lnTo>
                <a:cubicBezTo>
                  <a:pt x="4740266" y="1842239"/>
                  <a:pt x="4734290" y="1840532"/>
                  <a:pt x="4733864" y="1835411"/>
                </a:cubicBezTo>
                <a:cubicBezTo>
                  <a:pt x="4737918" y="1835127"/>
                  <a:pt x="4745175" y="1833419"/>
                  <a:pt x="4751791" y="1833561"/>
                </a:cubicBezTo>
                <a:close/>
                <a:moveTo>
                  <a:pt x="4795328" y="1832992"/>
                </a:moveTo>
                <a:cubicBezTo>
                  <a:pt x="4794902" y="1836975"/>
                  <a:pt x="4790206" y="1843947"/>
                  <a:pt x="4784017" y="1845796"/>
                </a:cubicBezTo>
                <a:lnTo>
                  <a:pt x="4779962" y="1845654"/>
                </a:lnTo>
                <a:lnTo>
                  <a:pt x="4782950" y="1847219"/>
                </a:lnTo>
                <a:cubicBezTo>
                  <a:pt x="4783804" y="1848784"/>
                  <a:pt x="4784231" y="1850918"/>
                  <a:pt x="4784444" y="1852767"/>
                </a:cubicBezTo>
                <a:cubicBezTo>
                  <a:pt x="4784017" y="1851771"/>
                  <a:pt x="4784017" y="1851771"/>
                  <a:pt x="4784017" y="1851771"/>
                </a:cubicBezTo>
                <a:cubicBezTo>
                  <a:pt x="4782523" y="1851203"/>
                  <a:pt x="4782950" y="1852198"/>
                  <a:pt x="4781883" y="1852767"/>
                </a:cubicBezTo>
                <a:cubicBezTo>
                  <a:pt x="4781883" y="1852767"/>
                  <a:pt x="4782736" y="1852198"/>
                  <a:pt x="4782096" y="1853906"/>
                </a:cubicBezTo>
                <a:cubicBezTo>
                  <a:pt x="4781669" y="1852767"/>
                  <a:pt x="4780602" y="1853336"/>
                  <a:pt x="4779535" y="1853906"/>
                </a:cubicBezTo>
                <a:cubicBezTo>
                  <a:pt x="4776548" y="1852767"/>
                  <a:pt x="4773133" y="1850491"/>
                  <a:pt x="4773346" y="1847788"/>
                </a:cubicBezTo>
                <a:cubicBezTo>
                  <a:pt x="4773986" y="1846223"/>
                  <a:pt x="4775053" y="1845369"/>
                  <a:pt x="4776121" y="1845085"/>
                </a:cubicBezTo>
                <a:lnTo>
                  <a:pt x="4777828" y="1845085"/>
                </a:lnTo>
                <a:lnTo>
                  <a:pt x="4780602" y="1838967"/>
                </a:lnTo>
                <a:cubicBezTo>
                  <a:pt x="4784444" y="1833988"/>
                  <a:pt x="4789993" y="1833703"/>
                  <a:pt x="4795328" y="1832992"/>
                </a:cubicBezTo>
                <a:close/>
                <a:moveTo>
                  <a:pt x="6182557" y="1832850"/>
                </a:moveTo>
                <a:cubicBezTo>
                  <a:pt x="6184051" y="1832565"/>
                  <a:pt x="6185331" y="1832565"/>
                  <a:pt x="6187252" y="1833135"/>
                </a:cubicBezTo>
                <a:cubicBezTo>
                  <a:pt x="6193442" y="1844374"/>
                  <a:pt x="6182130" y="1852198"/>
                  <a:pt x="6175087" y="1847504"/>
                </a:cubicBezTo>
                <a:cubicBezTo>
                  <a:pt x="6172740" y="1845939"/>
                  <a:pt x="6170819" y="1842951"/>
                  <a:pt x="6170392" y="1838256"/>
                </a:cubicBezTo>
                <a:cubicBezTo>
                  <a:pt x="6176154" y="1836975"/>
                  <a:pt x="6178715" y="1833561"/>
                  <a:pt x="6182557" y="1832850"/>
                </a:cubicBezTo>
                <a:close/>
                <a:moveTo>
                  <a:pt x="3839421" y="1832565"/>
                </a:moveTo>
                <a:cubicBezTo>
                  <a:pt x="3842409" y="1833703"/>
                  <a:pt x="3844116" y="1836549"/>
                  <a:pt x="3844756" y="1839536"/>
                </a:cubicBezTo>
                <a:lnTo>
                  <a:pt x="3845184" y="1842524"/>
                </a:lnTo>
                <a:lnTo>
                  <a:pt x="3847104" y="1843235"/>
                </a:lnTo>
                <a:cubicBezTo>
                  <a:pt x="3849879" y="1847361"/>
                  <a:pt x="3849879" y="1852056"/>
                  <a:pt x="3847958" y="1855044"/>
                </a:cubicBezTo>
                <a:lnTo>
                  <a:pt x="3844756" y="1857178"/>
                </a:lnTo>
                <a:lnTo>
                  <a:pt x="3844116" y="1858458"/>
                </a:lnTo>
                <a:cubicBezTo>
                  <a:pt x="3843476" y="1859454"/>
                  <a:pt x="3842623" y="1859739"/>
                  <a:pt x="3841342" y="1859027"/>
                </a:cubicBezTo>
                <a:cubicBezTo>
                  <a:pt x="3840061" y="1858885"/>
                  <a:pt x="3839421" y="1858173"/>
                  <a:pt x="3838994" y="1857178"/>
                </a:cubicBezTo>
                <a:lnTo>
                  <a:pt x="3838781" y="1857035"/>
                </a:lnTo>
                <a:lnTo>
                  <a:pt x="3836433" y="1856608"/>
                </a:lnTo>
                <a:lnTo>
                  <a:pt x="3835793" y="1854759"/>
                </a:lnTo>
                <a:lnTo>
                  <a:pt x="3832378" y="1855328"/>
                </a:lnTo>
                <a:cubicBezTo>
                  <a:pt x="3831098" y="1856182"/>
                  <a:pt x="3829604" y="1857320"/>
                  <a:pt x="3828110" y="1858458"/>
                </a:cubicBezTo>
                <a:lnTo>
                  <a:pt x="3827257" y="1858885"/>
                </a:lnTo>
                <a:lnTo>
                  <a:pt x="3825976" y="1863437"/>
                </a:lnTo>
                <a:cubicBezTo>
                  <a:pt x="3824268" y="1863154"/>
                  <a:pt x="3822774" y="1862868"/>
                  <a:pt x="3821067" y="1862726"/>
                </a:cubicBezTo>
                <a:lnTo>
                  <a:pt x="3820854" y="1861019"/>
                </a:lnTo>
                <a:lnTo>
                  <a:pt x="3815945" y="1860877"/>
                </a:lnTo>
                <a:cubicBezTo>
                  <a:pt x="3817439" y="1857747"/>
                  <a:pt x="3811463" y="1853906"/>
                  <a:pt x="3814024" y="1849211"/>
                </a:cubicBezTo>
                <a:cubicBezTo>
                  <a:pt x="3820000" y="1834700"/>
                  <a:pt x="3824055" y="1835695"/>
                  <a:pt x="3832805" y="1836122"/>
                </a:cubicBezTo>
                <a:cubicBezTo>
                  <a:pt x="3831738" y="1836549"/>
                  <a:pt x="3833232" y="1837260"/>
                  <a:pt x="3833232" y="1837260"/>
                </a:cubicBezTo>
                <a:cubicBezTo>
                  <a:pt x="3836007" y="1838683"/>
                  <a:pt x="3835366" y="1831570"/>
                  <a:pt x="3839421" y="1832565"/>
                </a:cubicBezTo>
                <a:close/>
                <a:moveTo>
                  <a:pt x="5570896" y="1831570"/>
                </a:moveTo>
                <a:cubicBezTo>
                  <a:pt x="5568548" y="1845227"/>
                  <a:pt x="5579432" y="1852341"/>
                  <a:pt x="5583061" y="1862157"/>
                </a:cubicBezTo>
                <a:lnTo>
                  <a:pt x="5583487" y="1865287"/>
                </a:lnTo>
                <a:lnTo>
                  <a:pt x="5588823" y="1867136"/>
                </a:lnTo>
                <a:cubicBezTo>
                  <a:pt x="5589677" y="1867706"/>
                  <a:pt x="5590103" y="1868559"/>
                  <a:pt x="5590103" y="1869555"/>
                </a:cubicBezTo>
                <a:cubicBezTo>
                  <a:pt x="5589890" y="1871262"/>
                  <a:pt x="5588396" y="1870836"/>
                  <a:pt x="5587329" y="1871405"/>
                </a:cubicBezTo>
                <a:lnTo>
                  <a:pt x="5583701" y="1869839"/>
                </a:lnTo>
                <a:lnTo>
                  <a:pt x="5583274" y="1873112"/>
                </a:lnTo>
                <a:cubicBezTo>
                  <a:pt x="5577939" y="1894310"/>
                  <a:pt x="5554249" y="1897867"/>
                  <a:pt x="5541444" y="1888477"/>
                </a:cubicBezTo>
                <a:lnTo>
                  <a:pt x="5535682" y="1881648"/>
                </a:lnTo>
                <a:lnTo>
                  <a:pt x="5533761" y="1883497"/>
                </a:lnTo>
                <a:cubicBezTo>
                  <a:pt x="5531413" y="1884636"/>
                  <a:pt x="5529065" y="1885062"/>
                  <a:pt x="5527999" y="1884493"/>
                </a:cubicBezTo>
                <a:cubicBezTo>
                  <a:pt x="5525224" y="1882217"/>
                  <a:pt x="5523516" y="1877522"/>
                  <a:pt x="5526504" y="1873823"/>
                </a:cubicBezTo>
                <a:cubicBezTo>
                  <a:pt x="5527358" y="1871973"/>
                  <a:pt x="5528852" y="1870978"/>
                  <a:pt x="5530559" y="1869982"/>
                </a:cubicBezTo>
                <a:lnTo>
                  <a:pt x="5534614" y="1866852"/>
                </a:lnTo>
                <a:lnTo>
                  <a:pt x="5536748" y="1858743"/>
                </a:lnTo>
                <a:cubicBezTo>
                  <a:pt x="5543578" y="1846365"/>
                  <a:pt x="5557664" y="1843377"/>
                  <a:pt x="5570896" y="1831570"/>
                </a:cubicBezTo>
                <a:close/>
                <a:moveTo>
                  <a:pt x="1190441" y="1831361"/>
                </a:moveTo>
                <a:cubicBezTo>
                  <a:pt x="1193229" y="1829813"/>
                  <a:pt x="1196017" y="1830122"/>
                  <a:pt x="1197463" y="1832756"/>
                </a:cubicBezTo>
                <a:cubicBezTo>
                  <a:pt x="1197360" y="1834614"/>
                  <a:pt x="1195810" y="1835698"/>
                  <a:pt x="1194158" y="1836937"/>
                </a:cubicBezTo>
                <a:cubicBezTo>
                  <a:pt x="1192713" y="1837712"/>
                  <a:pt x="1191680" y="1837712"/>
                  <a:pt x="1190958" y="1837247"/>
                </a:cubicBezTo>
                <a:cubicBezTo>
                  <a:pt x="1190235" y="1836782"/>
                  <a:pt x="1189822" y="1835853"/>
                  <a:pt x="1189512" y="1834769"/>
                </a:cubicBezTo>
                <a:cubicBezTo>
                  <a:pt x="1188789" y="1832601"/>
                  <a:pt x="1190441" y="1831361"/>
                  <a:pt x="1190441" y="1831361"/>
                </a:cubicBezTo>
                <a:close/>
                <a:moveTo>
                  <a:pt x="1238042" y="1831206"/>
                </a:moveTo>
                <a:cubicBezTo>
                  <a:pt x="1239178" y="1832601"/>
                  <a:pt x="1240314" y="1833840"/>
                  <a:pt x="1239591" y="1835389"/>
                </a:cubicBezTo>
                <a:cubicBezTo>
                  <a:pt x="1239385" y="1836008"/>
                  <a:pt x="1238971" y="1836627"/>
                  <a:pt x="1238249" y="1837247"/>
                </a:cubicBezTo>
                <a:cubicBezTo>
                  <a:pt x="1238249" y="1837247"/>
                  <a:pt x="1238249" y="1837092"/>
                  <a:pt x="1237320" y="1837092"/>
                </a:cubicBezTo>
                <a:cubicBezTo>
                  <a:pt x="1235667" y="1837092"/>
                  <a:pt x="1234841" y="1837092"/>
                  <a:pt x="1233912" y="1837092"/>
                </a:cubicBezTo>
                <a:cubicBezTo>
                  <a:pt x="1233602" y="1836627"/>
                  <a:pt x="1233086" y="1835853"/>
                  <a:pt x="1232673" y="1834924"/>
                </a:cubicBezTo>
                <a:cubicBezTo>
                  <a:pt x="1232363" y="1834149"/>
                  <a:pt x="1232260" y="1833220"/>
                  <a:pt x="1232673" y="1832756"/>
                </a:cubicBezTo>
                <a:cubicBezTo>
                  <a:pt x="1234635" y="1831206"/>
                  <a:pt x="1237320" y="1830432"/>
                  <a:pt x="1238042" y="1831206"/>
                </a:cubicBezTo>
                <a:close/>
                <a:moveTo>
                  <a:pt x="1644252" y="1830897"/>
                </a:moveTo>
                <a:cubicBezTo>
                  <a:pt x="1654475" y="1837557"/>
                  <a:pt x="1642497" y="1840500"/>
                  <a:pt x="1637747" y="1843908"/>
                </a:cubicBezTo>
                <a:cubicBezTo>
                  <a:pt x="1634340" y="1841584"/>
                  <a:pt x="1633617" y="1840655"/>
                  <a:pt x="1632068" y="1837092"/>
                </a:cubicBezTo>
                <a:cubicBezTo>
                  <a:pt x="1633617" y="1834924"/>
                  <a:pt x="1635579" y="1833685"/>
                  <a:pt x="1637644" y="1832756"/>
                </a:cubicBezTo>
                <a:cubicBezTo>
                  <a:pt x="1639709" y="1831826"/>
                  <a:pt x="1641980" y="1831361"/>
                  <a:pt x="1644252" y="1830897"/>
                </a:cubicBezTo>
                <a:close/>
                <a:moveTo>
                  <a:pt x="1272324" y="1830897"/>
                </a:moveTo>
                <a:cubicBezTo>
                  <a:pt x="1273459" y="1832446"/>
                  <a:pt x="1276144" y="1832601"/>
                  <a:pt x="1276763" y="1834924"/>
                </a:cubicBezTo>
                <a:lnTo>
                  <a:pt x="1276763" y="1835389"/>
                </a:lnTo>
                <a:lnTo>
                  <a:pt x="1277280" y="1835543"/>
                </a:lnTo>
                <a:lnTo>
                  <a:pt x="1276763" y="1835853"/>
                </a:lnTo>
                <a:lnTo>
                  <a:pt x="1276247" y="1837557"/>
                </a:lnTo>
                <a:cubicBezTo>
                  <a:pt x="1276454" y="1840500"/>
                  <a:pt x="1272839" y="1841739"/>
                  <a:pt x="1272839" y="1841739"/>
                </a:cubicBezTo>
                <a:cubicBezTo>
                  <a:pt x="1272839" y="1841739"/>
                  <a:pt x="1272839" y="1841739"/>
                  <a:pt x="1273666" y="1842049"/>
                </a:cubicBezTo>
                <a:cubicBezTo>
                  <a:pt x="1272117" y="1841429"/>
                  <a:pt x="1270155" y="1841429"/>
                  <a:pt x="1268606" y="1840810"/>
                </a:cubicBezTo>
                <a:lnTo>
                  <a:pt x="1268090" y="1838951"/>
                </a:lnTo>
                <a:lnTo>
                  <a:pt x="1265405" y="1839261"/>
                </a:lnTo>
                <a:cubicBezTo>
                  <a:pt x="1261068" y="1838951"/>
                  <a:pt x="1256732" y="1837557"/>
                  <a:pt x="1254047" y="1836163"/>
                </a:cubicBezTo>
                <a:cubicBezTo>
                  <a:pt x="1255493" y="1834614"/>
                  <a:pt x="1257455" y="1833685"/>
                  <a:pt x="1259520" y="1832910"/>
                </a:cubicBezTo>
                <a:cubicBezTo>
                  <a:pt x="1262617" y="1831981"/>
                  <a:pt x="1266128" y="1831826"/>
                  <a:pt x="1269329" y="1832291"/>
                </a:cubicBezTo>
                <a:lnTo>
                  <a:pt x="1269639" y="1832291"/>
                </a:lnTo>
                <a:close/>
                <a:moveTo>
                  <a:pt x="3795457" y="1830858"/>
                </a:moveTo>
                <a:cubicBezTo>
                  <a:pt x="3796311" y="1839536"/>
                  <a:pt x="3796097" y="1847504"/>
                  <a:pt x="3801006" y="1858885"/>
                </a:cubicBezTo>
                <a:cubicBezTo>
                  <a:pt x="3797804" y="1859596"/>
                  <a:pt x="3799725" y="1863580"/>
                  <a:pt x="3795670" y="1863580"/>
                </a:cubicBezTo>
                <a:cubicBezTo>
                  <a:pt x="3787347" y="1858173"/>
                  <a:pt x="3783932" y="1834130"/>
                  <a:pt x="3795457" y="1830858"/>
                </a:cubicBezTo>
                <a:close/>
                <a:moveTo>
                  <a:pt x="5596293" y="1830289"/>
                </a:moveTo>
                <a:cubicBezTo>
                  <a:pt x="5597360" y="1829720"/>
                  <a:pt x="5598640" y="1831712"/>
                  <a:pt x="5598640" y="1831712"/>
                </a:cubicBezTo>
                <a:cubicBezTo>
                  <a:pt x="5599494" y="1831143"/>
                  <a:pt x="5600561" y="1830431"/>
                  <a:pt x="5602055" y="1830716"/>
                </a:cubicBezTo>
                <a:cubicBezTo>
                  <a:pt x="5601841" y="1832423"/>
                  <a:pt x="5602909" y="1831854"/>
                  <a:pt x="5603549" y="1832850"/>
                </a:cubicBezTo>
                <a:cubicBezTo>
                  <a:pt x="5601841" y="1832423"/>
                  <a:pt x="5599067" y="1834273"/>
                  <a:pt x="5596293" y="1834557"/>
                </a:cubicBezTo>
                <a:cubicBezTo>
                  <a:pt x="5595653" y="1833561"/>
                  <a:pt x="5594158" y="1833277"/>
                  <a:pt x="5593518" y="1832281"/>
                </a:cubicBezTo>
                <a:cubicBezTo>
                  <a:pt x="5594372" y="1831570"/>
                  <a:pt x="5595653" y="1829293"/>
                  <a:pt x="5596293" y="1830289"/>
                </a:cubicBezTo>
                <a:close/>
                <a:moveTo>
                  <a:pt x="1158019" y="1829967"/>
                </a:moveTo>
                <a:cubicBezTo>
                  <a:pt x="1159258" y="1829813"/>
                  <a:pt x="1160806" y="1830742"/>
                  <a:pt x="1161633" y="1831206"/>
                </a:cubicBezTo>
                <a:cubicBezTo>
                  <a:pt x="1161116" y="1831981"/>
                  <a:pt x="1161942" y="1832446"/>
                  <a:pt x="1161530" y="1833220"/>
                </a:cubicBezTo>
                <a:cubicBezTo>
                  <a:pt x="1161323" y="1835079"/>
                  <a:pt x="1161323" y="1835079"/>
                  <a:pt x="1160084" y="1835389"/>
                </a:cubicBezTo>
                <a:cubicBezTo>
                  <a:pt x="1158948" y="1835543"/>
                  <a:pt x="1156986" y="1833375"/>
                  <a:pt x="1155747" y="1833530"/>
                </a:cubicBezTo>
                <a:cubicBezTo>
                  <a:pt x="1155747" y="1833530"/>
                  <a:pt x="1155747" y="1833530"/>
                  <a:pt x="1155850" y="1831516"/>
                </a:cubicBezTo>
                <a:cubicBezTo>
                  <a:pt x="1156367" y="1830897"/>
                  <a:pt x="1156780" y="1830122"/>
                  <a:pt x="1158019" y="1829967"/>
                </a:cubicBezTo>
                <a:close/>
                <a:moveTo>
                  <a:pt x="924350" y="1829658"/>
                </a:moveTo>
                <a:cubicBezTo>
                  <a:pt x="925486" y="1829502"/>
                  <a:pt x="925486" y="1829502"/>
                  <a:pt x="926208" y="1829967"/>
                </a:cubicBezTo>
                <a:cubicBezTo>
                  <a:pt x="926518" y="1831206"/>
                  <a:pt x="926105" y="1831826"/>
                  <a:pt x="926415" y="1832910"/>
                </a:cubicBezTo>
                <a:cubicBezTo>
                  <a:pt x="928790" y="1832601"/>
                  <a:pt x="928067" y="1832136"/>
                  <a:pt x="928377" y="1833220"/>
                </a:cubicBezTo>
                <a:cubicBezTo>
                  <a:pt x="928377" y="1833220"/>
                  <a:pt x="928377" y="1833220"/>
                  <a:pt x="928687" y="1834459"/>
                </a:cubicBezTo>
                <a:cubicBezTo>
                  <a:pt x="928687" y="1834459"/>
                  <a:pt x="929409" y="1834924"/>
                  <a:pt x="926622" y="1835853"/>
                </a:cubicBezTo>
                <a:cubicBezTo>
                  <a:pt x="926312" y="1834769"/>
                  <a:pt x="925383" y="1831361"/>
                  <a:pt x="925383" y="1831361"/>
                </a:cubicBezTo>
                <a:cubicBezTo>
                  <a:pt x="924660" y="1830897"/>
                  <a:pt x="924660" y="1830742"/>
                  <a:pt x="924350" y="1829658"/>
                </a:cubicBezTo>
                <a:close/>
                <a:moveTo>
                  <a:pt x="5114177" y="1828582"/>
                </a:moveTo>
                <a:cubicBezTo>
                  <a:pt x="5117165" y="1828724"/>
                  <a:pt x="5120367" y="1829436"/>
                  <a:pt x="5123355" y="1830147"/>
                </a:cubicBezTo>
                <a:cubicBezTo>
                  <a:pt x="5132531" y="1844089"/>
                  <a:pt x="5115884" y="1841101"/>
                  <a:pt x="5107988" y="1842667"/>
                </a:cubicBezTo>
                <a:cubicBezTo>
                  <a:pt x="5105000" y="1837972"/>
                  <a:pt x="5104573" y="1836406"/>
                  <a:pt x="5104573" y="1831143"/>
                </a:cubicBezTo>
                <a:cubicBezTo>
                  <a:pt x="5107775" y="1829151"/>
                  <a:pt x="5110976" y="1828582"/>
                  <a:pt x="5114177" y="1828582"/>
                </a:cubicBezTo>
                <a:close/>
                <a:moveTo>
                  <a:pt x="921872" y="1828263"/>
                </a:moveTo>
                <a:cubicBezTo>
                  <a:pt x="922182" y="1829502"/>
                  <a:pt x="922492" y="1832446"/>
                  <a:pt x="919703" y="1833530"/>
                </a:cubicBezTo>
                <a:cubicBezTo>
                  <a:pt x="916812" y="1834459"/>
                  <a:pt x="916296" y="1836937"/>
                  <a:pt x="913508" y="1838022"/>
                </a:cubicBezTo>
                <a:cubicBezTo>
                  <a:pt x="913508" y="1838022"/>
                  <a:pt x="913508" y="1838022"/>
                  <a:pt x="913198" y="1836782"/>
                </a:cubicBezTo>
                <a:cubicBezTo>
                  <a:pt x="916812" y="1834459"/>
                  <a:pt x="917432" y="1830122"/>
                  <a:pt x="921872" y="1828263"/>
                </a:cubicBezTo>
                <a:close/>
                <a:moveTo>
                  <a:pt x="818925" y="1827799"/>
                </a:moveTo>
                <a:cubicBezTo>
                  <a:pt x="821610" y="1829193"/>
                  <a:pt x="822643" y="1831516"/>
                  <a:pt x="821094" y="1834304"/>
                </a:cubicBezTo>
                <a:cubicBezTo>
                  <a:pt x="819441" y="1835389"/>
                  <a:pt x="817583" y="1834769"/>
                  <a:pt x="815828" y="1834304"/>
                </a:cubicBezTo>
                <a:cubicBezTo>
                  <a:pt x="814485" y="1833530"/>
                  <a:pt x="814072" y="1832756"/>
                  <a:pt x="814072" y="1831981"/>
                </a:cubicBezTo>
                <a:cubicBezTo>
                  <a:pt x="814176" y="1831052"/>
                  <a:pt x="814795" y="1830122"/>
                  <a:pt x="815621" y="1829193"/>
                </a:cubicBezTo>
                <a:cubicBezTo>
                  <a:pt x="817170" y="1827334"/>
                  <a:pt x="818925" y="1827799"/>
                  <a:pt x="818925" y="1827799"/>
                </a:cubicBezTo>
                <a:close/>
                <a:moveTo>
                  <a:pt x="3696003" y="1827728"/>
                </a:moveTo>
                <a:cubicBezTo>
                  <a:pt x="3706034" y="1842382"/>
                  <a:pt x="3724175" y="1839394"/>
                  <a:pt x="3732498" y="1857035"/>
                </a:cubicBezTo>
                <a:cubicBezTo>
                  <a:pt x="3729723" y="1858315"/>
                  <a:pt x="3725882" y="1858031"/>
                  <a:pt x="3721400" y="1856751"/>
                </a:cubicBezTo>
                <a:lnTo>
                  <a:pt x="3716918" y="1854332"/>
                </a:lnTo>
                <a:lnTo>
                  <a:pt x="3716918" y="1854901"/>
                </a:lnTo>
                <a:cubicBezTo>
                  <a:pt x="3715638" y="1856466"/>
                  <a:pt x="3714357" y="1856893"/>
                  <a:pt x="3713076" y="1856608"/>
                </a:cubicBezTo>
                <a:cubicBezTo>
                  <a:pt x="3711583" y="1856325"/>
                  <a:pt x="3710302" y="1855328"/>
                  <a:pt x="3708381" y="1853906"/>
                </a:cubicBezTo>
                <a:cubicBezTo>
                  <a:pt x="3706674" y="1852483"/>
                  <a:pt x="3706247" y="1850918"/>
                  <a:pt x="3705820" y="1849353"/>
                </a:cubicBezTo>
                <a:lnTo>
                  <a:pt x="3704540" y="1846223"/>
                </a:lnTo>
                <a:lnTo>
                  <a:pt x="3697924" y="1839394"/>
                </a:lnTo>
                <a:cubicBezTo>
                  <a:pt x="3695576" y="1835553"/>
                  <a:pt x="3694723" y="1831570"/>
                  <a:pt x="3696003" y="1827728"/>
                </a:cubicBezTo>
                <a:close/>
                <a:moveTo>
                  <a:pt x="1217081" y="1827644"/>
                </a:moveTo>
                <a:cubicBezTo>
                  <a:pt x="1217288" y="1829502"/>
                  <a:pt x="1217391" y="1831361"/>
                  <a:pt x="1217598" y="1833065"/>
                </a:cubicBezTo>
                <a:cubicBezTo>
                  <a:pt x="1217081" y="1832446"/>
                  <a:pt x="1211299" y="1837402"/>
                  <a:pt x="1211299" y="1837402"/>
                </a:cubicBezTo>
                <a:cubicBezTo>
                  <a:pt x="1208924" y="1836627"/>
                  <a:pt x="1208924" y="1836627"/>
                  <a:pt x="1209028" y="1833685"/>
                </a:cubicBezTo>
                <a:cubicBezTo>
                  <a:pt x="1209337" y="1832601"/>
                  <a:pt x="1210576" y="1831052"/>
                  <a:pt x="1212125" y="1829813"/>
                </a:cubicBezTo>
                <a:cubicBezTo>
                  <a:pt x="1213674" y="1828573"/>
                  <a:pt x="1215532" y="1827489"/>
                  <a:pt x="1217081" y="1827644"/>
                </a:cubicBezTo>
                <a:close/>
                <a:moveTo>
                  <a:pt x="1742656" y="1826095"/>
                </a:moveTo>
                <a:cubicBezTo>
                  <a:pt x="1742965" y="1826869"/>
                  <a:pt x="1742656" y="1826095"/>
                  <a:pt x="1742346" y="1827799"/>
                </a:cubicBezTo>
                <a:cubicBezTo>
                  <a:pt x="1741726" y="1827489"/>
                  <a:pt x="1741623" y="1827334"/>
                  <a:pt x="1741830" y="1827024"/>
                </a:cubicBezTo>
                <a:cubicBezTo>
                  <a:pt x="1741933" y="1826869"/>
                  <a:pt x="1742346" y="1826559"/>
                  <a:pt x="1742656" y="1826095"/>
                </a:cubicBezTo>
                <a:close/>
                <a:moveTo>
                  <a:pt x="5187594" y="1826021"/>
                </a:moveTo>
                <a:cubicBezTo>
                  <a:pt x="5190155" y="1826591"/>
                  <a:pt x="5192289" y="1825879"/>
                  <a:pt x="5194850" y="1826448"/>
                </a:cubicBezTo>
                <a:cubicBezTo>
                  <a:pt x="5196344" y="1831001"/>
                  <a:pt x="5201893" y="1833277"/>
                  <a:pt x="5197838" y="1839252"/>
                </a:cubicBezTo>
                <a:cubicBezTo>
                  <a:pt x="5191222" y="1841101"/>
                  <a:pt x="5183965" y="1833277"/>
                  <a:pt x="5187594" y="1826021"/>
                </a:cubicBezTo>
                <a:close/>
                <a:moveTo>
                  <a:pt x="679220" y="1825785"/>
                </a:moveTo>
                <a:cubicBezTo>
                  <a:pt x="680355" y="1825475"/>
                  <a:pt x="681594" y="1825785"/>
                  <a:pt x="682833" y="1827179"/>
                </a:cubicBezTo>
                <a:cubicBezTo>
                  <a:pt x="683763" y="1828108"/>
                  <a:pt x="684589" y="1829038"/>
                  <a:pt x="683763" y="1828883"/>
                </a:cubicBezTo>
                <a:cubicBezTo>
                  <a:pt x="683660" y="1829658"/>
                  <a:pt x="682833" y="1829658"/>
                  <a:pt x="682008" y="1830432"/>
                </a:cubicBezTo>
                <a:cubicBezTo>
                  <a:pt x="680252" y="1831052"/>
                  <a:pt x="677671" y="1830742"/>
                  <a:pt x="676845" y="1829813"/>
                </a:cubicBezTo>
                <a:cubicBezTo>
                  <a:pt x="676019" y="1828883"/>
                  <a:pt x="676019" y="1828108"/>
                  <a:pt x="676019" y="1828108"/>
                </a:cubicBezTo>
                <a:cubicBezTo>
                  <a:pt x="676948" y="1826869"/>
                  <a:pt x="677981" y="1825940"/>
                  <a:pt x="679220" y="1825785"/>
                </a:cubicBezTo>
                <a:close/>
                <a:moveTo>
                  <a:pt x="1511671" y="1825475"/>
                </a:moveTo>
                <a:cubicBezTo>
                  <a:pt x="1512394" y="1825475"/>
                  <a:pt x="1513220" y="1825630"/>
                  <a:pt x="1513736" y="1825940"/>
                </a:cubicBezTo>
                <a:cubicBezTo>
                  <a:pt x="1515182" y="1826095"/>
                  <a:pt x="1516111" y="1826869"/>
                  <a:pt x="1516834" y="1828108"/>
                </a:cubicBezTo>
                <a:cubicBezTo>
                  <a:pt x="1517454" y="1829348"/>
                  <a:pt x="1517763" y="1830897"/>
                  <a:pt x="1517763" y="1832136"/>
                </a:cubicBezTo>
                <a:cubicBezTo>
                  <a:pt x="1517454" y="1831361"/>
                  <a:pt x="1517557" y="1831361"/>
                  <a:pt x="1517557" y="1831361"/>
                </a:cubicBezTo>
                <a:cubicBezTo>
                  <a:pt x="1516421" y="1830742"/>
                  <a:pt x="1516628" y="1831516"/>
                  <a:pt x="1515802" y="1831826"/>
                </a:cubicBezTo>
                <a:cubicBezTo>
                  <a:pt x="1515802" y="1831826"/>
                  <a:pt x="1516731" y="1831516"/>
                  <a:pt x="1516111" y="1832601"/>
                </a:cubicBezTo>
                <a:cubicBezTo>
                  <a:pt x="1515905" y="1831671"/>
                  <a:pt x="1515079" y="1831981"/>
                  <a:pt x="1514253" y="1832136"/>
                </a:cubicBezTo>
                <a:cubicBezTo>
                  <a:pt x="1511981" y="1830897"/>
                  <a:pt x="1509400" y="1828883"/>
                  <a:pt x="1509606" y="1827024"/>
                </a:cubicBezTo>
                <a:cubicBezTo>
                  <a:pt x="1510123" y="1826095"/>
                  <a:pt x="1510845" y="1825630"/>
                  <a:pt x="1511671" y="1825475"/>
                </a:cubicBezTo>
                <a:close/>
                <a:moveTo>
                  <a:pt x="5728186" y="1825452"/>
                </a:moveTo>
                <a:cubicBezTo>
                  <a:pt x="5724985" y="1837260"/>
                  <a:pt x="5724131" y="1849353"/>
                  <a:pt x="5710899" y="1860307"/>
                </a:cubicBezTo>
                <a:cubicBezTo>
                  <a:pt x="5707698" y="1858743"/>
                  <a:pt x="5701722" y="1860592"/>
                  <a:pt x="5701509" y="1854617"/>
                </a:cubicBezTo>
                <a:cubicBezTo>
                  <a:pt x="5716234" y="1848641"/>
                  <a:pt x="5714101" y="1826733"/>
                  <a:pt x="5728186" y="1825452"/>
                </a:cubicBezTo>
                <a:close/>
                <a:moveTo>
                  <a:pt x="5703216" y="1825452"/>
                </a:moveTo>
                <a:cubicBezTo>
                  <a:pt x="5704497" y="1825310"/>
                  <a:pt x="5705990" y="1825452"/>
                  <a:pt x="5707058" y="1826021"/>
                </a:cubicBezTo>
                <a:cubicBezTo>
                  <a:pt x="5708551" y="1827159"/>
                  <a:pt x="5708551" y="1827159"/>
                  <a:pt x="5709832" y="1828297"/>
                </a:cubicBezTo>
                <a:cubicBezTo>
                  <a:pt x="5710045" y="1830574"/>
                  <a:pt x="5711539" y="1832992"/>
                  <a:pt x="5710686" y="1835411"/>
                </a:cubicBezTo>
                <a:cubicBezTo>
                  <a:pt x="5708765" y="1837830"/>
                  <a:pt x="5703003" y="1836975"/>
                  <a:pt x="5700442" y="1835980"/>
                </a:cubicBezTo>
                <a:cubicBezTo>
                  <a:pt x="5697880" y="1833703"/>
                  <a:pt x="5698521" y="1830147"/>
                  <a:pt x="5700442" y="1827586"/>
                </a:cubicBezTo>
                <a:cubicBezTo>
                  <a:pt x="5700868" y="1826448"/>
                  <a:pt x="5701935" y="1825736"/>
                  <a:pt x="5703216" y="1825452"/>
                </a:cubicBezTo>
                <a:close/>
                <a:moveTo>
                  <a:pt x="5950356" y="1824456"/>
                </a:moveTo>
                <a:cubicBezTo>
                  <a:pt x="5951423" y="1824172"/>
                  <a:pt x="5952277" y="1824314"/>
                  <a:pt x="5953130" y="1824883"/>
                </a:cubicBezTo>
                <a:cubicBezTo>
                  <a:pt x="5954411" y="1826164"/>
                  <a:pt x="5953344" y="1827301"/>
                  <a:pt x="5953344" y="1828440"/>
                </a:cubicBezTo>
                <a:cubicBezTo>
                  <a:pt x="5952277" y="1830716"/>
                  <a:pt x="5944594" y="1833846"/>
                  <a:pt x="5943527" y="1832565"/>
                </a:cubicBezTo>
                <a:cubicBezTo>
                  <a:pt x="5945020" y="1830005"/>
                  <a:pt x="5947795" y="1825594"/>
                  <a:pt x="5950356" y="1824456"/>
                </a:cubicBezTo>
                <a:close/>
                <a:moveTo>
                  <a:pt x="1006955" y="1824081"/>
                </a:moveTo>
                <a:cubicBezTo>
                  <a:pt x="1007574" y="1826559"/>
                  <a:pt x="1007368" y="1828418"/>
                  <a:pt x="1005303" y="1829967"/>
                </a:cubicBezTo>
                <a:cubicBezTo>
                  <a:pt x="1005199" y="1828418"/>
                  <a:pt x="1005096" y="1827334"/>
                  <a:pt x="1005199" y="1826559"/>
                </a:cubicBezTo>
                <a:cubicBezTo>
                  <a:pt x="1005406" y="1825630"/>
                  <a:pt x="1005923" y="1824856"/>
                  <a:pt x="1006955" y="1824081"/>
                </a:cubicBezTo>
                <a:close/>
                <a:moveTo>
                  <a:pt x="936844" y="1823462"/>
                </a:moveTo>
                <a:cubicBezTo>
                  <a:pt x="939219" y="1822997"/>
                  <a:pt x="942007" y="1821913"/>
                  <a:pt x="943039" y="1823616"/>
                </a:cubicBezTo>
                <a:cubicBezTo>
                  <a:pt x="945414" y="1829813"/>
                  <a:pt x="934572" y="1833530"/>
                  <a:pt x="932610" y="1835079"/>
                </a:cubicBezTo>
                <a:cubicBezTo>
                  <a:pt x="932610" y="1835079"/>
                  <a:pt x="932094" y="1835698"/>
                  <a:pt x="930958" y="1835853"/>
                </a:cubicBezTo>
                <a:cubicBezTo>
                  <a:pt x="929306" y="1836782"/>
                  <a:pt x="929926" y="1834304"/>
                  <a:pt x="928687" y="1834459"/>
                </a:cubicBezTo>
                <a:cubicBezTo>
                  <a:pt x="933643" y="1829967"/>
                  <a:pt x="935192" y="1824236"/>
                  <a:pt x="935192" y="1824236"/>
                </a:cubicBezTo>
                <a:cubicBezTo>
                  <a:pt x="936844" y="1823462"/>
                  <a:pt x="937567" y="1823926"/>
                  <a:pt x="936844" y="1823462"/>
                </a:cubicBezTo>
                <a:close/>
                <a:moveTo>
                  <a:pt x="1177534" y="1823307"/>
                </a:moveTo>
                <a:cubicBezTo>
                  <a:pt x="1178463" y="1825630"/>
                  <a:pt x="1179806" y="1828728"/>
                  <a:pt x="1179702" y="1830587"/>
                </a:cubicBezTo>
                <a:cubicBezTo>
                  <a:pt x="1178257" y="1829193"/>
                  <a:pt x="1176192" y="1826404"/>
                  <a:pt x="1177121" y="1824391"/>
                </a:cubicBezTo>
                <a:cubicBezTo>
                  <a:pt x="1177121" y="1824391"/>
                  <a:pt x="1177121" y="1824391"/>
                  <a:pt x="1177534" y="1823307"/>
                </a:cubicBezTo>
                <a:close/>
                <a:moveTo>
                  <a:pt x="785677" y="1822997"/>
                </a:moveTo>
                <a:cubicBezTo>
                  <a:pt x="791253" y="1818969"/>
                  <a:pt x="794041" y="1825475"/>
                  <a:pt x="792079" y="1828418"/>
                </a:cubicBezTo>
                <a:cubicBezTo>
                  <a:pt x="788981" y="1829813"/>
                  <a:pt x="786296" y="1827954"/>
                  <a:pt x="785573" y="1825475"/>
                </a:cubicBezTo>
                <a:cubicBezTo>
                  <a:pt x="785367" y="1824701"/>
                  <a:pt x="785367" y="1823771"/>
                  <a:pt x="785677" y="1822997"/>
                </a:cubicBezTo>
                <a:close/>
                <a:moveTo>
                  <a:pt x="5839591" y="1822180"/>
                </a:moveTo>
                <a:cubicBezTo>
                  <a:pt x="5843006" y="1822891"/>
                  <a:pt x="5846207" y="1825879"/>
                  <a:pt x="5847915" y="1829862"/>
                </a:cubicBezTo>
                <a:cubicBezTo>
                  <a:pt x="5842793" y="1833277"/>
                  <a:pt x="5838310" y="1832281"/>
                  <a:pt x="5832762" y="1828724"/>
                </a:cubicBezTo>
                <a:cubicBezTo>
                  <a:pt x="5832975" y="1826448"/>
                  <a:pt x="5836817" y="1823887"/>
                  <a:pt x="5839591" y="1822180"/>
                </a:cubicBezTo>
                <a:close/>
                <a:moveTo>
                  <a:pt x="1682457" y="1821913"/>
                </a:moveTo>
                <a:cubicBezTo>
                  <a:pt x="1684832" y="1822068"/>
                  <a:pt x="1686794" y="1822687"/>
                  <a:pt x="1688239" y="1824081"/>
                </a:cubicBezTo>
                <a:cubicBezTo>
                  <a:pt x="1689582" y="1825475"/>
                  <a:pt x="1690305" y="1827334"/>
                  <a:pt x="1690201" y="1829967"/>
                </a:cubicBezTo>
                <a:cubicBezTo>
                  <a:pt x="1687310" y="1833375"/>
                  <a:pt x="1682147" y="1831361"/>
                  <a:pt x="1679256" y="1830587"/>
                </a:cubicBezTo>
                <a:cubicBezTo>
                  <a:pt x="1679772" y="1827024"/>
                  <a:pt x="1680392" y="1823462"/>
                  <a:pt x="1682457" y="1821913"/>
                </a:cubicBezTo>
                <a:close/>
                <a:moveTo>
                  <a:pt x="1057963" y="1821448"/>
                </a:moveTo>
                <a:cubicBezTo>
                  <a:pt x="1058273" y="1822532"/>
                  <a:pt x="1058170" y="1824546"/>
                  <a:pt x="1057447" y="1826559"/>
                </a:cubicBezTo>
                <a:lnTo>
                  <a:pt x="1054246" y="1830432"/>
                </a:lnTo>
                <a:lnTo>
                  <a:pt x="1061061" y="1831361"/>
                </a:lnTo>
                <a:cubicBezTo>
                  <a:pt x="1063849" y="1832446"/>
                  <a:pt x="1066121" y="1833995"/>
                  <a:pt x="1067979" y="1835853"/>
                </a:cubicBezTo>
                <a:cubicBezTo>
                  <a:pt x="1074175" y="1842359"/>
                  <a:pt x="1075517" y="1853202"/>
                  <a:pt x="1070251" y="1862495"/>
                </a:cubicBezTo>
                <a:cubicBezTo>
                  <a:pt x="1069012" y="1862340"/>
                  <a:pt x="1067876" y="1862340"/>
                  <a:pt x="1067670" y="1863580"/>
                </a:cubicBezTo>
                <a:cubicBezTo>
                  <a:pt x="1055692" y="1863580"/>
                  <a:pt x="1046812" y="1851653"/>
                  <a:pt x="1047638" y="1840500"/>
                </a:cubicBezTo>
                <a:cubicBezTo>
                  <a:pt x="1047741" y="1838642"/>
                  <a:pt x="1048154" y="1836937"/>
                  <a:pt x="1048877" y="1835079"/>
                </a:cubicBezTo>
                <a:lnTo>
                  <a:pt x="1051562" y="1830432"/>
                </a:lnTo>
                <a:lnTo>
                  <a:pt x="1050529" y="1829813"/>
                </a:lnTo>
                <a:cubicBezTo>
                  <a:pt x="1048567" y="1827954"/>
                  <a:pt x="1049187" y="1825166"/>
                  <a:pt x="1051665" y="1821758"/>
                </a:cubicBezTo>
                <a:cubicBezTo>
                  <a:pt x="1053627" y="1821913"/>
                  <a:pt x="1055279" y="1821448"/>
                  <a:pt x="1057963" y="1821448"/>
                </a:cubicBezTo>
                <a:close/>
                <a:moveTo>
                  <a:pt x="5269120" y="1820899"/>
                </a:moveTo>
                <a:cubicBezTo>
                  <a:pt x="5270828" y="1821184"/>
                  <a:pt x="5272535" y="1821753"/>
                  <a:pt x="5274029" y="1822607"/>
                </a:cubicBezTo>
                <a:lnTo>
                  <a:pt x="5274242" y="1822749"/>
                </a:lnTo>
                <a:lnTo>
                  <a:pt x="5275096" y="1820899"/>
                </a:lnTo>
                <a:cubicBezTo>
                  <a:pt x="5276590" y="1821469"/>
                  <a:pt x="5278084" y="1822180"/>
                  <a:pt x="5278937" y="1823034"/>
                </a:cubicBezTo>
                <a:cubicBezTo>
                  <a:pt x="5280004" y="1824029"/>
                  <a:pt x="5280218" y="1825025"/>
                  <a:pt x="5279364" y="1826591"/>
                </a:cubicBezTo>
                <a:lnTo>
                  <a:pt x="5278724" y="1827444"/>
                </a:lnTo>
                <a:lnTo>
                  <a:pt x="5280004" y="1830005"/>
                </a:lnTo>
                <a:cubicBezTo>
                  <a:pt x="5281285" y="1832423"/>
                  <a:pt x="5282566" y="1835695"/>
                  <a:pt x="5282139" y="1839110"/>
                </a:cubicBezTo>
                <a:cubicBezTo>
                  <a:pt x="5281925" y="1841386"/>
                  <a:pt x="5281072" y="1843804"/>
                  <a:pt x="5278937" y="1846223"/>
                </a:cubicBezTo>
                <a:cubicBezTo>
                  <a:pt x="5273816" y="1851487"/>
                  <a:pt x="5266559" y="1855044"/>
                  <a:pt x="5258022" y="1845085"/>
                </a:cubicBezTo>
                <a:cubicBezTo>
                  <a:pt x="5255888" y="1843520"/>
                  <a:pt x="5256955" y="1843804"/>
                  <a:pt x="5255888" y="1842382"/>
                </a:cubicBezTo>
                <a:lnTo>
                  <a:pt x="5255461" y="1842097"/>
                </a:lnTo>
                <a:lnTo>
                  <a:pt x="5254821" y="1843804"/>
                </a:lnTo>
                <a:cubicBezTo>
                  <a:pt x="5254394" y="1844231"/>
                  <a:pt x="5253754" y="1844231"/>
                  <a:pt x="5253114" y="1844089"/>
                </a:cubicBezTo>
                <a:cubicBezTo>
                  <a:pt x="5253114" y="1844089"/>
                  <a:pt x="5251406" y="1843662"/>
                  <a:pt x="5249912" y="1843235"/>
                </a:cubicBezTo>
                <a:cubicBezTo>
                  <a:pt x="5248205" y="1842808"/>
                  <a:pt x="5247351" y="1843520"/>
                  <a:pt x="5247351" y="1843520"/>
                </a:cubicBezTo>
                <a:cubicBezTo>
                  <a:pt x="5245644" y="1843094"/>
                  <a:pt x="5245217" y="1842097"/>
                  <a:pt x="5245644" y="1840390"/>
                </a:cubicBezTo>
                <a:cubicBezTo>
                  <a:pt x="5245644" y="1840390"/>
                  <a:pt x="5248205" y="1840105"/>
                  <a:pt x="5248205" y="1840105"/>
                </a:cubicBezTo>
                <a:cubicBezTo>
                  <a:pt x="5249912" y="1840532"/>
                  <a:pt x="5250979" y="1840817"/>
                  <a:pt x="5252047" y="1840959"/>
                </a:cubicBezTo>
                <a:lnTo>
                  <a:pt x="5253967" y="1841101"/>
                </a:lnTo>
                <a:lnTo>
                  <a:pt x="5251406" y="1839252"/>
                </a:lnTo>
                <a:cubicBezTo>
                  <a:pt x="5252474" y="1838256"/>
                  <a:pt x="5252900" y="1837260"/>
                  <a:pt x="5253327" y="1836264"/>
                </a:cubicBezTo>
                <a:lnTo>
                  <a:pt x="5253754" y="1833561"/>
                </a:lnTo>
                <a:lnTo>
                  <a:pt x="5251619" y="1831570"/>
                </a:lnTo>
                <a:cubicBezTo>
                  <a:pt x="5252687" y="1830858"/>
                  <a:pt x="5254394" y="1828582"/>
                  <a:pt x="5254821" y="1829578"/>
                </a:cubicBezTo>
                <a:lnTo>
                  <a:pt x="5255248" y="1829720"/>
                </a:lnTo>
                <a:lnTo>
                  <a:pt x="5258022" y="1825879"/>
                </a:lnTo>
                <a:cubicBezTo>
                  <a:pt x="5261864" y="1821753"/>
                  <a:pt x="5265705" y="1820615"/>
                  <a:pt x="5269120" y="1820899"/>
                </a:cubicBezTo>
                <a:close/>
                <a:moveTo>
                  <a:pt x="5688917" y="1820757"/>
                </a:moveTo>
                <a:cubicBezTo>
                  <a:pt x="5691051" y="1822038"/>
                  <a:pt x="5691904" y="1823460"/>
                  <a:pt x="5693826" y="1826021"/>
                </a:cubicBezTo>
                <a:cubicBezTo>
                  <a:pt x="5690411" y="1830289"/>
                  <a:pt x="5685929" y="1826875"/>
                  <a:pt x="5686569" y="1823602"/>
                </a:cubicBezTo>
                <a:cubicBezTo>
                  <a:pt x="5686783" y="1822607"/>
                  <a:pt x="5687423" y="1821469"/>
                  <a:pt x="5688917" y="1820757"/>
                </a:cubicBezTo>
                <a:close/>
                <a:moveTo>
                  <a:pt x="1293388" y="1820673"/>
                </a:moveTo>
                <a:lnTo>
                  <a:pt x="1296589" y="1823926"/>
                </a:lnTo>
                <a:lnTo>
                  <a:pt x="1296795" y="1823771"/>
                </a:lnTo>
                <a:lnTo>
                  <a:pt x="1297208" y="1824391"/>
                </a:lnTo>
                <a:lnTo>
                  <a:pt x="1298447" y="1825475"/>
                </a:lnTo>
                <a:cubicBezTo>
                  <a:pt x="1299067" y="1826250"/>
                  <a:pt x="1299686" y="1827334"/>
                  <a:pt x="1300306" y="1828728"/>
                </a:cubicBezTo>
                <a:cubicBezTo>
                  <a:pt x="1301235" y="1830587"/>
                  <a:pt x="1301648" y="1832291"/>
                  <a:pt x="1301648" y="1833840"/>
                </a:cubicBezTo>
                <a:lnTo>
                  <a:pt x="1301132" y="1835853"/>
                </a:lnTo>
                <a:lnTo>
                  <a:pt x="1304126" y="1835543"/>
                </a:lnTo>
                <a:cubicBezTo>
                  <a:pt x="1305778" y="1835698"/>
                  <a:pt x="1307327" y="1836008"/>
                  <a:pt x="1308566" y="1836627"/>
                </a:cubicBezTo>
                <a:cubicBezTo>
                  <a:pt x="1310425" y="1840190"/>
                  <a:pt x="1310528" y="1842824"/>
                  <a:pt x="1309599" y="1844837"/>
                </a:cubicBezTo>
                <a:cubicBezTo>
                  <a:pt x="1307534" y="1849329"/>
                  <a:pt x="1299996" y="1849949"/>
                  <a:pt x="1295143" y="1846386"/>
                </a:cubicBezTo>
                <a:lnTo>
                  <a:pt x="1294110" y="1844992"/>
                </a:lnTo>
                <a:lnTo>
                  <a:pt x="1292768" y="1851653"/>
                </a:lnTo>
                <a:cubicBezTo>
                  <a:pt x="1292665" y="1858778"/>
                  <a:pt x="1294937" y="1865748"/>
                  <a:pt x="1290187" y="1870395"/>
                </a:cubicBezTo>
                <a:cubicBezTo>
                  <a:pt x="1288741" y="1864354"/>
                  <a:pt x="1283165" y="1856454"/>
                  <a:pt x="1283888" y="1850879"/>
                </a:cubicBezTo>
                <a:cubicBezTo>
                  <a:pt x="1284095" y="1849329"/>
                  <a:pt x="1284817" y="1847780"/>
                  <a:pt x="1286469" y="1846696"/>
                </a:cubicBezTo>
                <a:lnTo>
                  <a:pt x="1293801" y="1844682"/>
                </a:lnTo>
                <a:lnTo>
                  <a:pt x="1292562" y="1842978"/>
                </a:lnTo>
                <a:lnTo>
                  <a:pt x="1291839" y="1843133"/>
                </a:lnTo>
                <a:cubicBezTo>
                  <a:pt x="1289877" y="1843288"/>
                  <a:pt x="1287399" y="1843443"/>
                  <a:pt x="1285230" y="1842359"/>
                </a:cubicBezTo>
                <a:cubicBezTo>
                  <a:pt x="1283785" y="1841584"/>
                  <a:pt x="1282442" y="1840346"/>
                  <a:pt x="1281513" y="1838177"/>
                </a:cubicBezTo>
                <a:cubicBezTo>
                  <a:pt x="1280997" y="1837092"/>
                  <a:pt x="1280584" y="1835853"/>
                  <a:pt x="1280377" y="1834459"/>
                </a:cubicBezTo>
                <a:cubicBezTo>
                  <a:pt x="1280274" y="1833530"/>
                  <a:pt x="1280171" y="1832601"/>
                  <a:pt x="1280377" y="1831516"/>
                </a:cubicBezTo>
                <a:cubicBezTo>
                  <a:pt x="1280791" y="1828728"/>
                  <a:pt x="1282856" y="1825940"/>
                  <a:pt x="1287708" y="1823926"/>
                </a:cubicBezTo>
                <a:cubicBezTo>
                  <a:pt x="1289361" y="1822687"/>
                  <a:pt x="1288948" y="1823462"/>
                  <a:pt x="1290187" y="1822997"/>
                </a:cubicBezTo>
                <a:cubicBezTo>
                  <a:pt x="1291323" y="1822687"/>
                  <a:pt x="1292974" y="1821448"/>
                  <a:pt x="1293388" y="1820673"/>
                </a:cubicBezTo>
                <a:close/>
                <a:moveTo>
                  <a:pt x="1527986" y="1820364"/>
                </a:moveTo>
                <a:cubicBezTo>
                  <a:pt x="1530464" y="1821603"/>
                  <a:pt x="1532116" y="1823152"/>
                  <a:pt x="1533355" y="1825011"/>
                </a:cubicBezTo>
                <a:lnTo>
                  <a:pt x="1535936" y="1831052"/>
                </a:lnTo>
                <a:lnTo>
                  <a:pt x="1535936" y="1830742"/>
                </a:lnTo>
                <a:cubicBezTo>
                  <a:pt x="1536453" y="1829813"/>
                  <a:pt x="1537382" y="1829348"/>
                  <a:pt x="1538518" y="1829193"/>
                </a:cubicBezTo>
                <a:cubicBezTo>
                  <a:pt x="1539550" y="1829193"/>
                  <a:pt x="1540893" y="1829502"/>
                  <a:pt x="1541925" y="1830122"/>
                </a:cubicBezTo>
                <a:cubicBezTo>
                  <a:pt x="1542958" y="1830277"/>
                  <a:pt x="1543577" y="1831052"/>
                  <a:pt x="1543991" y="1831981"/>
                </a:cubicBezTo>
                <a:cubicBezTo>
                  <a:pt x="1544507" y="1832756"/>
                  <a:pt x="1544610" y="1833840"/>
                  <a:pt x="1544507" y="1834769"/>
                </a:cubicBezTo>
                <a:cubicBezTo>
                  <a:pt x="1543991" y="1835698"/>
                  <a:pt x="1543991" y="1835853"/>
                  <a:pt x="1543474" y="1836782"/>
                </a:cubicBezTo>
                <a:cubicBezTo>
                  <a:pt x="1541925" y="1837247"/>
                  <a:pt x="1540480" y="1838486"/>
                  <a:pt x="1538621" y="1838022"/>
                </a:cubicBezTo>
                <a:cubicBezTo>
                  <a:pt x="1537485" y="1837402"/>
                  <a:pt x="1536763" y="1836163"/>
                  <a:pt x="1536349" y="1834614"/>
                </a:cubicBezTo>
                <a:lnTo>
                  <a:pt x="1536040" y="1831206"/>
                </a:lnTo>
                <a:lnTo>
                  <a:pt x="1532013" y="1835389"/>
                </a:lnTo>
                <a:cubicBezTo>
                  <a:pt x="1530773" y="1835853"/>
                  <a:pt x="1529431" y="1835389"/>
                  <a:pt x="1528296" y="1834304"/>
                </a:cubicBezTo>
                <a:lnTo>
                  <a:pt x="1526127" y="1831826"/>
                </a:lnTo>
                <a:lnTo>
                  <a:pt x="1523856" y="1838486"/>
                </a:lnTo>
                <a:lnTo>
                  <a:pt x="1520448" y="1843598"/>
                </a:lnTo>
                <a:lnTo>
                  <a:pt x="1523236" y="1844063"/>
                </a:lnTo>
                <a:cubicBezTo>
                  <a:pt x="1528502" y="1851033"/>
                  <a:pt x="1525301" y="1855215"/>
                  <a:pt x="1526127" y="1855990"/>
                </a:cubicBezTo>
                <a:cubicBezTo>
                  <a:pt x="1523133" y="1858468"/>
                  <a:pt x="1521584" y="1856764"/>
                  <a:pt x="1518280" y="1855060"/>
                </a:cubicBezTo>
                <a:cubicBezTo>
                  <a:pt x="1518796" y="1854595"/>
                  <a:pt x="1518486" y="1853666"/>
                  <a:pt x="1517867" y="1852891"/>
                </a:cubicBezTo>
                <a:lnTo>
                  <a:pt x="1517041" y="1851807"/>
                </a:lnTo>
                <a:lnTo>
                  <a:pt x="1514769" y="1852582"/>
                </a:lnTo>
                <a:cubicBezTo>
                  <a:pt x="1513839" y="1853202"/>
                  <a:pt x="1512704" y="1853976"/>
                  <a:pt x="1511568" y="1855370"/>
                </a:cubicBezTo>
                <a:cubicBezTo>
                  <a:pt x="1511155" y="1853511"/>
                  <a:pt x="1510845" y="1851807"/>
                  <a:pt x="1510948" y="1850103"/>
                </a:cubicBezTo>
                <a:cubicBezTo>
                  <a:pt x="1510948" y="1848400"/>
                  <a:pt x="1511362" y="1846851"/>
                  <a:pt x="1512188" y="1845147"/>
                </a:cubicBezTo>
                <a:lnTo>
                  <a:pt x="1517144" y="1847161"/>
                </a:lnTo>
                <a:lnTo>
                  <a:pt x="1517557" y="1845147"/>
                </a:lnTo>
                <a:cubicBezTo>
                  <a:pt x="1517763" y="1844372"/>
                  <a:pt x="1518176" y="1843753"/>
                  <a:pt x="1518899" y="1843133"/>
                </a:cubicBezTo>
                <a:lnTo>
                  <a:pt x="1520241" y="1843443"/>
                </a:lnTo>
                <a:lnTo>
                  <a:pt x="1517970" y="1838177"/>
                </a:lnTo>
                <a:cubicBezTo>
                  <a:pt x="1517763" y="1836937"/>
                  <a:pt x="1517763" y="1835543"/>
                  <a:pt x="1518073" y="1834149"/>
                </a:cubicBezTo>
                <a:cubicBezTo>
                  <a:pt x="1518693" y="1830122"/>
                  <a:pt x="1521171" y="1826095"/>
                  <a:pt x="1523546" y="1822223"/>
                </a:cubicBezTo>
                <a:lnTo>
                  <a:pt x="1524268" y="1822997"/>
                </a:lnTo>
                <a:close/>
                <a:moveTo>
                  <a:pt x="4953045" y="1820330"/>
                </a:moveTo>
                <a:cubicBezTo>
                  <a:pt x="4954326" y="1820046"/>
                  <a:pt x="4955607" y="1820330"/>
                  <a:pt x="4957314" y="1821184"/>
                </a:cubicBezTo>
                <a:cubicBezTo>
                  <a:pt x="4954753" y="1823176"/>
                  <a:pt x="4952192" y="1824029"/>
                  <a:pt x="4948777" y="1822180"/>
                </a:cubicBezTo>
                <a:cubicBezTo>
                  <a:pt x="4950698" y="1821326"/>
                  <a:pt x="4951979" y="1820615"/>
                  <a:pt x="4953045" y="1820330"/>
                </a:cubicBezTo>
                <a:close/>
                <a:moveTo>
                  <a:pt x="739315" y="1819899"/>
                </a:moveTo>
                <a:cubicBezTo>
                  <a:pt x="747575" y="1818815"/>
                  <a:pt x="759759" y="1822687"/>
                  <a:pt x="760482" y="1829658"/>
                </a:cubicBezTo>
                <a:cubicBezTo>
                  <a:pt x="750673" y="1826250"/>
                  <a:pt x="743445" y="1828573"/>
                  <a:pt x="732913" y="1822687"/>
                </a:cubicBezTo>
                <a:cubicBezTo>
                  <a:pt x="734255" y="1821138"/>
                  <a:pt x="736630" y="1820209"/>
                  <a:pt x="739315" y="1819899"/>
                </a:cubicBezTo>
                <a:close/>
                <a:moveTo>
                  <a:pt x="1577342" y="1819435"/>
                </a:moveTo>
                <a:cubicBezTo>
                  <a:pt x="1580233" y="1819744"/>
                  <a:pt x="1581886" y="1820983"/>
                  <a:pt x="1582505" y="1822532"/>
                </a:cubicBezTo>
                <a:cubicBezTo>
                  <a:pt x="1584570" y="1827334"/>
                  <a:pt x="1578168" y="1835079"/>
                  <a:pt x="1572179" y="1830587"/>
                </a:cubicBezTo>
                <a:cubicBezTo>
                  <a:pt x="1571973" y="1829813"/>
                  <a:pt x="1571973" y="1828883"/>
                  <a:pt x="1572283" y="1827799"/>
                </a:cubicBezTo>
                <a:cubicBezTo>
                  <a:pt x="1573109" y="1824546"/>
                  <a:pt x="1575690" y="1820673"/>
                  <a:pt x="1577342" y="1819435"/>
                </a:cubicBezTo>
                <a:close/>
                <a:moveTo>
                  <a:pt x="1494944" y="1818969"/>
                </a:moveTo>
                <a:lnTo>
                  <a:pt x="1496596" y="1821293"/>
                </a:lnTo>
                <a:lnTo>
                  <a:pt x="1497422" y="1821603"/>
                </a:lnTo>
                <a:cubicBezTo>
                  <a:pt x="1498145" y="1822068"/>
                  <a:pt x="1498455" y="1822687"/>
                  <a:pt x="1497938" y="1823771"/>
                </a:cubicBezTo>
                <a:cubicBezTo>
                  <a:pt x="1497835" y="1824701"/>
                  <a:pt x="1497215" y="1825011"/>
                  <a:pt x="1496596" y="1825475"/>
                </a:cubicBezTo>
                <a:lnTo>
                  <a:pt x="1496493" y="1825630"/>
                </a:lnTo>
                <a:lnTo>
                  <a:pt x="1496183" y="1827334"/>
                </a:lnTo>
                <a:lnTo>
                  <a:pt x="1494840" y="1827799"/>
                </a:lnTo>
                <a:lnTo>
                  <a:pt x="1495254" y="1830122"/>
                </a:lnTo>
                <a:cubicBezTo>
                  <a:pt x="1495770" y="1831206"/>
                  <a:pt x="1496596" y="1832136"/>
                  <a:pt x="1497422" y="1833375"/>
                </a:cubicBezTo>
                <a:lnTo>
                  <a:pt x="1497732" y="1833995"/>
                </a:lnTo>
                <a:lnTo>
                  <a:pt x="1501139" y="1834924"/>
                </a:lnTo>
                <a:cubicBezTo>
                  <a:pt x="1500933" y="1836163"/>
                  <a:pt x="1500726" y="1837247"/>
                  <a:pt x="1500520" y="1838486"/>
                </a:cubicBezTo>
                <a:lnTo>
                  <a:pt x="1499384" y="1838642"/>
                </a:lnTo>
                <a:lnTo>
                  <a:pt x="1499280" y="1842204"/>
                </a:lnTo>
                <a:cubicBezTo>
                  <a:pt x="1497009" y="1840965"/>
                  <a:pt x="1494118" y="1845457"/>
                  <a:pt x="1490813" y="1843598"/>
                </a:cubicBezTo>
                <a:cubicBezTo>
                  <a:pt x="1480178" y="1839106"/>
                  <a:pt x="1481004" y="1836318"/>
                  <a:pt x="1481314" y="1829967"/>
                </a:cubicBezTo>
                <a:cubicBezTo>
                  <a:pt x="1481624" y="1830742"/>
                  <a:pt x="1482140" y="1829658"/>
                  <a:pt x="1482140" y="1829658"/>
                </a:cubicBezTo>
                <a:cubicBezTo>
                  <a:pt x="1483172" y="1827644"/>
                  <a:pt x="1477906" y="1828108"/>
                  <a:pt x="1478630" y="1825166"/>
                </a:cubicBezTo>
                <a:cubicBezTo>
                  <a:pt x="1479559" y="1822997"/>
                  <a:pt x="1481521" y="1821758"/>
                  <a:pt x="1483792" y="1821138"/>
                </a:cubicBezTo>
                <a:lnTo>
                  <a:pt x="1485961" y="1820983"/>
                </a:lnTo>
                <a:lnTo>
                  <a:pt x="1486374" y="1819589"/>
                </a:lnTo>
                <a:cubicBezTo>
                  <a:pt x="1489471" y="1817730"/>
                  <a:pt x="1492879" y="1817576"/>
                  <a:pt x="1494944" y="1818969"/>
                </a:cubicBezTo>
                <a:close/>
                <a:moveTo>
                  <a:pt x="1192094" y="1818815"/>
                </a:moveTo>
                <a:lnTo>
                  <a:pt x="1190854" y="1819899"/>
                </a:lnTo>
                <a:lnTo>
                  <a:pt x="1190751" y="1820519"/>
                </a:lnTo>
                <a:lnTo>
                  <a:pt x="1192300" y="1819280"/>
                </a:lnTo>
                <a:close/>
                <a:moveTo>
                  <a:pt x="5349153" y="1818765"/>
                </a:moveTo>
                <a:cubicBezTo>
                  <a:pt x="5350860" y="1818907"/>
                  <a:pt x="5352140" y="1819761"/>
                  <a:pt x="5353421" y="1821469"/>
                </a:cubicBezTo>
                <a:cubicBezTo>
                  <a:pt x="5353848" y="1825167"/>
                  <a:pt x="5354275" y="1828724"/>
                  <a:pt x="5350220" y="1833277"/>
                </a:cubicBezTo>
                <a:cubicBezTo>
                  <a:pt x="5345525" y="1833988"/>
                  <a:pt x="5342537" y="1832565"/>
                  <a:pt x="5338695" y="1827301"/>
                </a:cubicBezTo>
                <a:cubicBezTo>
                  <a:pt x="5339549" y="1822891"/>
                  <a:pt x="5344671" y="1818054"/>
                  <a:pt x="5349153" y="1818765"/>
                </a:cubicBezTo>
                <a:close/>
                <a:moveTo>
                  <a:pt x="1278622" y="1818350"/>
                </a:moveTo>
                <a:cubicBezTo>
                  <a:pt x="1278209" y="1819435"/>
                  <a:pt x="1279758" y="1820828"/>
                  <a:pt x="1279241" y="1821913"/>
                </a:cubicBezTo>
                <a:cubicBezTo>
                  <a:pt x="1279241" y="1821913"/>
                  <a:pt x="1277073" y="1823462"/>
                  <a:pt x="1277073" y="1823462"/>
                </a:cubicBezTo>
                <a:cubicBezTo>
                  <a:pt x="1275937" y="1822842"/>
                  <a:pt x="1275937" y="1822842"/>
                  <a:pt x="1276763" y="1822687"/>
                </a:cubicBezTo>
                <a:cubicBezTo>
                  <a:pt x="1275318" y="1821293"/>
                  <a:pt x="1274905" y="1820364"/>
                  <a:pt x="1274595" y="1819589"/>
                </a:cubicBezTo>
                <a:cubicBezTo>
                  <a:pt x="1275111" y="1818505"/>
                  <a:pt x="1276660" y="1818040"/>
                  <a:pt x="1278622" y="1818350"/>
                </a:cubicBezTo>
                <a:close/>
                <a:moveTo>
                  <a:pt x="3589933" y="1817770"/>
                </a:moveTo>
                <a:cubicBezTo>
                  <a:pt x="3593348" y="1818623"/>
                  <a:pt x="3598470" y="1824456"/>
                  <a:pt x="3598044" y="1827871"/>
                </a:cubicBezTo>
                <a:cubicBezTo>
                  <a:pt x="3596763" y="1828724"/>
                  <a:pt x="3595483" y="1829578"/>
                  <a:pt x="3594202" y="1830431"/>
                </a:cubicBezTo>
                <a:cubicBezTo>
                  <a:pt x="3588653" y="1828013"/>
                  <a:pt x="3584598" y="1822464"/>
                  <a:pt x="3589933" y="1817770"/>
                </a:cubicBezTo>
                <a:close/>
                <a:moveTo>
                  <a:pt x="1587771" y="1817266"/>
                </a:moveTo>
                <a:cubicBezTo>
                  <a:pt x="1589010" y="1817421"/>
                  <a:pt x="1590146" y="1817421"/>
                  <a:pt x="1591385" y="1817576"/>
                </a:cubicBezTo>
                <a:cubicBezTo>
                  <a:pt x="1591178" y="1822842"/>
                  <a:pt x="1593760" y="1826095"/>
                  <a:pt x="1593657" y="1830277"/>
                </a:cubicBezTo>
                <a:cubicBezTo>
                  <a:pt x="1590766" y="1828728"/>
                  <a:pt x="1586222" y="1826095"/>
                  <a:pt x="1586119" y="1821913"/>
                </a:cubicBezTo>
                <a:cubicBezTo>
                  <a:pt x="1586119" y="1820673"/>
                  <a:pt x="1586532" y="1818969"/>
                  <a:pt x="1587771" y="1817266"/>
                </a:cubicBezTo>
                <a:close/>
                <a:moveTo>
                  <a:pt x="1539034" y="1817266"/>
                </a:moveTo>
                <a:cubicBezTo>
                  <a:pt x="1539447" y="1817266"/>
                  <a:pt x="1540170" y="1817421"/>
                  <a:pt x="1540686" y="1817576"/>
                </a:cubicBezTo>
                <a:cubicBezTo>
                  <a:pt x="1541925" y="1817885"/>
                  <a:pt x="1543164" y="1818350"/>
                  <a:pt x="1544403" y="1818660"/>
                </a:cubicBezTo>
                <a:cubicBezTo>
                  <a:pt x="1544403" y="1818660"/>
                  <a:pt x="1544403" y="1818660"/>
                  <a:pt x="1538002" y="1818040"/>
                </a:cubicBezTo>
                <a:cubicBezTo>
                  <a:pt x="1538105" y="1817421"/>
                  <a:pt x="1538518" y="1817266"/>
                  <a:pt x="1539034" y="1817266"/>
                </a:cubicBezTo>
                <a:close/>
                <a:moveTo>
                  <a:pt x="5158142" y="1816774"/>
                </a:moveTo>
                <a:lnTo>
                  <a:pt x="5156008" y="1823887"/>
                </a:lnTo>
                <a:lnTo>
                  <a:pt x="5157502" y="1824741"/>
                </a:lnTo>
                <a:cubicBezTo>
                  <a:pt x="5158142" y="1825452"/>
                  <a:pt x="5158568" y="1826306"/>
                  <a:pt x="5159849" y="1828866"/>
                </a:cubicBezTo>
                <a:cubicBezTo>
                  <a:pt x="5157075" y="1831001"/>
                  <a:pt x="5154514" y="1833277"/>
                  <a:pt x="5151739" y="1835411"/>
                </a:cubicBezTo>
                <a:cubicBezTo>
                  <a:pt x="5151312" y="1834273"/>
                  <a:pt x="5150672" y="1833277"/>
                  <a:pt x="5150032" y="1832423"/>
                </a:cubicBezTo>
                <a:lnTo>
                  <a:pt x="5149605" y="1832138"/>
                </a:lnTo>
                <a:lnTo>
                  <a:pt x="5136160" y="1839679"/>
                </a:lnTo>
                <a:cubicBezTo>
                  <a:pt x="5133385" y="1828440"/>
                  <a:pt x="5148111" y="1819761"/>
                  <a:pt x="5158142" y="1816774"/>
                </a:cubicBezTo>
                <a:close/>
                <a:moveTo>
                  <a:pt x="1202316" y="1816491"/>
                </a:moveTo>
                <a:cubicBezTo>
                  <a:pt x="1203245" y="1816646"/>
                  <a:pt x="1204691" y="1817421"/>
                  <a:pt x="1205826" y="1818350"/>
                </a:cubicBezTo>
                <a:lnTo>
                  <a:pt x="1207582" y="1820828"/>
                </a:lnTo>
                <a:lnTo>
                  <a:pt x="1207892" y="1820519"/>
                </a:lnTo>
                <a:cubicBezTo>
                  <a:pt x="1209440" y="1819589"/>
                  <a:pt x="1211196" y="1818969"/>
                  <a:pt x="1212951" y="1818815"/>
                </a:cubicBezTo>
                <a:lnTo>
                  <a:pt x="1215636" y="1819899"/>
                </a:lnTo>
                <a:lnTo>
                  <a:pt x="1216359" y="1818350"/>
                </a:lnTo>
                <a:cubicBezTo>
                  <a:pt x="1218321" y="1816956"/>
                  <a:pt x="1222760" y="1817576"/>
                  <a:pt x="1231227" y="1822842"/>
                </a:cubicBezTo>
                <a:cubicBezTo>
                  <a:pt x="1228956" y="1840500"/>
                  <a:pt x="1218527" y="1831516"/>
                  <a:pt x="1215842" y="1824236"/>
                </a:cubicBezTo>
                <a:lnTo>
                  <a:pt x="1215532" y="1822068"/>
                </a:lnTo>
                <a:lnTo>
                  <a:pt x="1209647" y="1825475"/>
                </a:lnTo>
                <a:cubicBezTo>
                  <a:pt x="1206859" y="1827179"/>
                  <a:pt x="1203968" y="1828418"/>
                  <a:pt x="1200870" y="1829038"/>
                </a:cubicBezTo>
                <a:cubicBezTo>
                  <a:pt x="1201386" y="1827489"/>
                  <a:pt x="1202316" y="1825940"/>
                  <a:pt x="1203555" y="1824391"/>
                </a:cubicBezTo>
                <a:lnTo>
                  <a:pt x="1207272" y="1821138"/>
                </a:lnTo>
                <a:lnTo>
                  <a:pt x="1203658" y="1819899"/>
                </a:lnTo>
                <a:cubicBezTo>
                  <a:pt x="1201696" y="1819435"/>
                  <a:pt x="1201386" y="1818660"/>
                  <a:pt x="1202316" y="1816491"/>
                </a:cubicBezTo>
                <a:close/>
                <a:moveTo>
                  <a:pt x="677774" y="1816491"/>
                </a:moveTo>
                <a:lnTo>
                  <a:pt x="680252" y="1819280"/>
                </a:lnTo>
                <a:cubicBezTo>
                  <a:pt x="679426" y="1820054"/>
                  <a:pt x="677774" y="1820828"/>
                  <a:pt x="676948" y="1819899"/>
                </a:cubicBezTo>
                <a:cubicBezTo>
                  <a:pt x="676122" y="1819280"/>
                  <a:pt x="676122" y="1818969"/>
                  <a:pt x="676432" y="1818350"/>
                </a:cubicBezTo>
                <a:cubicBezTo>
                  <a:pt x="676742" y="1817885"/>
                  <a:pt x="677361" y="1817421"/>
                  <a:pt x="677774" y="1816491"/>
                </a:cubicBezTo>
                <a:close/>
                <a:moveTo>
                  <a:pt x="4656819" y="1816205"/>
                </a:moveTo>
                <a:cubicBezTo>
                  <a:pt x="4657886" y="1817343"/>
                  <a:pt x="4658100" y="1818481"/>
                  <a:pt x="4658100" y="1819761"/>
                </a:cubicBezTo>
                <a:cubicBezTo>
                  <a:pt x="4657032" y="1820899"/>
                  <a:pt x="4655752" y="1820757"/>
                  <a:pt x="4654685" y="1821895"/>
                </a:cubicBezTo>
                <a:cubicBezTo>
                  <a:pt x="4654685" y="1823176"/>
                  <a:pt x="4654898" y="1825594"/>
                  <a:pt x="4653617" y="1826591"/>
                </a:cubicBezTo>
                <a:cubicBezTo>
                  <a:pt x="4652550" y="1827728"/>
                  <a:pt x="4650416" y="1828866"/>
                  <a:pt x="4650416" y="1828866"/>
                </a:cubicBezTo>
                <a:cubicBezTo>
                  <a:pt x="4649136" y="1827586"/>
                  <a:pt x="4649136" y="1827586"/>
                  <a:pt x="4650416" y="1827586"/>
                </a:cubicBezTo>
                <a:cubicBezTo>
                  <a:pt x="4651483" y="1825310"/>
                  <a:pt x="4651483" y="1826591"/>
                  <a:pt x="4652550" y="1825452"/>
                </a:cubicBezTo>
                <a:cubicBezTo>
                  <a:pt x="4653617" y="1824314"/>
                  <a:pt x="4655752" y="1818481"/>
                  <a:pt x="4654471" y="1817200"/>
                </a:cubicBezTo>
                <a:cubicBezTo>
                  <a:pt x="4655752" y="1817343"/>
                  <a:pt x="4656819" y="1816205"/>
                  <a:pt x="4656819" y="1816205"/>
                </a:cubicBezTo>
                <a:close/>
                <a:moveTo>
                  <a:pt x="5999656" y="1815778"/>
                </a:moveTo>
                <a:cubicBezTo>
                  <a:pt x="6001150" y="1815635"/>
                  <a:pt x="6002644" y="1815635"/>
                  <a:pt x="6004138" y="1816347"/>
                </a:cubicBezTo>
                <a:cubicBezTo>
                  <a:pt x="6004138" y="1816347"/>
                  <a:pt x="6004138" y="1816347"/>
                  <a:pt x="6002857" y="1816205"/>
                </a:cubicBezTo>
                <a:cubicBezTo>
                  <a:pt x="6002857" y="1816205"/>
                  <a:pt x="6004138" y="1816347"/>
                  <a:pt x="6004138" y="1817485"/>
                </a:cubicBezTo>
                <a:cubicBezTo>
                  <a:pt x="5998375" y="1820757"/>
                  <a:pt x="5988985" y="1819192"/>
                  <a:pt x="5987918" y="1819050"/>
                </a:cubicBezTo>
                <a:cubicBezTo>
                  <a:pt x="5987918" y="1817912"/>
                  <a:pt x="5987918" y="1817912"/>
                  <a:pt x="5987918" y="1817912"/>
                </a:cubicBezTo>
                <a:cubicBezTo>
                  <a:pt x="5991333" y="1818907"/>
                  <a:pt x="5995387" y="1816062"/>
                  <a:pt x="5999656" y="1815778"/>
                </a:cubicBezTo>
                <a:close/>
                <a:moveTo>
                  <a:pt x="1781790" y="1815349"/>
                </a:moveTo>
                <a:cubicBezTo>
                  <a:pt x="1783881" y="1813781"/>
                  <a:pt x="1786746" y="1813781"/>
                  <a:pt x="1789431" y="1817266"/>
                </a:cubicBezTo>
                <a:cubicBezTo>
                  <a:pt x="1786539" y="1822068"/>
                  <a:pt x="1784577" y="1825320"/>
                  <a:pt x="1782306" y="1827179"/>
                </a:cubicBezTo>
                <a:cubicBezTo>
                  <a:pt x="1780138" y="1826250"/>
                  <a:pt x="1779105" y="1824701"/>
                  <a:pt x="1778795" y="1822842"/>
                </a:cubicBezTo>
                <a:cubicBezTo>
                  <a:pt x="1778382" y="1820054"/>
                  <a:pt x="1779699" y="1816917"/>
                  <a:pt x="1781790" y="1815349"/>
                </a:cubicBezTo>
                <a:close/>
                <a:moveTo>
                  <a:pt x="5980662" y="1815066"/>
                </a:moveTo>
                <a:cubicBezTo>
                  <a:pt x="5980662" y="1815066"/>
                  <a:pt x="5980662" y="1815208"/>
                  <a:pt x="5981942" y="1816489"/>
                </a:cubicBezTo>
                <a:cubicBezTo>
                  <a:pt x="5979595" y="1816347"/>
                  <a:pt x="5978527" y="1821042"/>
                  <a:pt x="5976180" y="1818623"/>
                </a:cubicBezTo>
                <a:cubicBezTo>
                  <a:pt x="5977247" y="1817343"/>
                  <a:pt x="5979595" y="1816205"/>
                  <a:pt x="5980662" y="1815066"/>
                </a:cubicBezTo>
                <a:close/>
                <a:moveTo>
                  <a:pt x="917638" y="1814942"/>
                </a:moveTo>
                <a:cubicBezTo>
                  <a:pt x="918464" y="1814478"/>
                  <a:pt x="919084" y="1814633"/>
                  <a:pt x="919703" y="1815252"/>
                </a:cubicBezTo>
                <a:cubicBezTo>
                  <a:pt x="920426" y="1816026"/>
                  <a:pt x="921046" y="1817111"/>
                  <a:pt x="921768" y="1818505"/>
                </a:cubicBezTo>
                <a:cubicBezTo>
                  <a:pt x="923111" y="1821448"/>
                  <a:pt x="923627" y="1825630"/>
                  <a:pt x="924040" y="1826714"/>
                </a:cubicBezTo>
                <a:cubicBezTo>
                  <a:pt x="924350" y="1827954"/>
                  <a:pt x="925073" y="1828418"/>
                  <a:pt x="925073" y="1828418"/>
                </a:cubicBezTo>
                <a:cubicBezTo>
                  <a:pt x="923421" y="1829348"/>
                  <a:pt x="918567" y="1818505"/>
                  <a:pt x="917122" y="1815562"/>
                </a:cubicBezTo>
                <a:cubicBezTo>
                  <a:pt x="917638" y="1814942"/>
                  <a:pt x="917638" y="1814942"/>
                  <a:pt x="917638" y="1814942"/>
                </a:cubicBezTo>
                <a:close/>
                <a:moveTo>
                  <a:pt x="5438149" y="1814355"/>
                </a:moveTo>
                <a:cubicBezTo>
                  <a:pt x="5439002" y="1814213"/>
                  <a:pt x="5439856" y="1814497"/>
                  <a:pt x="5440923" y="1815066"/>
                </a:cubicBezTo>
                <a:cubicBezTo>
                  <a:pt x="5443911" y="1820046"/>
                  <a:pt x="5439856" y="1824883"/>
                  <a:pt x="5438149" y="1830858"/>
                </a:cubicBezTo>
                <a:cubicBezTo>
                  <a:pt x="5437081" y="1830858"/>
                  <a:pt x="5435588" y="1831996"/>
                  <a:pt x="5435588" y="1833135"/>
                </a:cubicBezTo>
                <a:cubicBezTo>
                  <a:pt x="5434307" y="1834273"/>
                  <a:pt x="5433026" y="1835553"/>
                  <a:pt x="5434307" y="1835553"/>
                </a:cubicBezTo>
                <a:cubicBezTo>
                  <a:pt x="5430465" y="1839110"/>
                  <a:pt x="5430252" y="1840390"/>
                  <a:pt x="5426837" y="1839110"/>
                </a:cubicBezTo>
                <a:lnTo>
                  <a:pt x="5428331" y="1835127"/>
                </a:lnTo>
                <a:lnTo>
                  <a:pt x="5427051" y="1835127"/>
                </a:lnTo>
                <a:cubicBezTo>
                  <a:pt x="5425343" y="1832565"/>
                  <a:pt x="5425557" y="1830716"/>
                  <a:pt x="5426624" y="1829436"/>
                </a:cubicBezTo>
                <a:lnTo>
                  <a:pt x="5430679" y="1828013"/>
                </a:lnTo>
                <a:lnTo>
                  <a:pt x="5431746" y="1825025"/>
                </a:lnTo>
                <a:cubicBezTo>
                  <a:pt x="5433667" y="1820757"/>
                  <a:pt x="5435588" y="1817485"/>
                  <a:pt x="5436228" y="1816205"/>
                </a:cubicBezTo>
                <a:cubicBezTo>
                  <a:pt x="5436868" y="1815066"/>
                  <a:pt x="5437508" y="1814497"/>
                  <a:pt x="5438149" y="1814355"/>
                </a:cubicBezTo>
                <a:close/>
                <a:moveTo>
                  <a:pt x="1493808" y="1813858"/>
                </a:moveTo>
                <a:cubicBezTo>
                  <a:pt x="1493911" y="1813084"/>
                  <a:pt x="1494840" y="1813084"/>
                  <a:pt x="1494737" y="1813858"/>
                </a:cubicBezTo>
                <a:cubicBezTo>
                  <a:pt x="1496286" y="1814788"/>
                  <a:pt x="1494324" y="1816336"/>
                  <a:pt x="1493292" y="1816956"/>
                </a:cubicBezTo>
                <a:cubicBezTo>
                  <a:pt x="1493498" y="1815872"/>
                  <a:pt x="1493498" y="1814942"/>
                  <a:pt x="1493395" y="1814478"/>
                </a:cubicBezTo>
                <a:cubicBezTo>
                  <a:pt x="1493395" y="1814013"/>
                  <a:pt x="1493395" y="1813858"/>
                  <a:pt x="1493808" y="1813858"/>
                </a:cubicBezTo>
                <a:close/>
                <a:moveTo>
                  <a:pt x="5048018" y="1813075"/>
                </a:moveTo>
                <a:cubicBezTo>
                  <a:pt x="5048231" y="1813075"/>
                  <a:pt x="5048658" y="1813359"/>
                  <a:pt x="5048658" y="1813928"/>
                </a:cubicBezTo>
                <a:cubicBezTo>
                  <a:pt x="5051005" y="1815208"/>
                  <a:pt x="5048658" y="1817343"/>
                  <a:pt x="5047590" y="1818481"/>
                </a:cubicBezTo>
                <a:cubicBezTo>
                  <a:pt x="5047377" y="1815066"/>
                  <a:pt x="5046310" y="1813928"/>
                  <a:pt x="5047377" y="1813928"/>
                </a:cubicBezTo>
                <a:cubicBezTo>
                  <a:pt x="5047377" y="1813359"/>
                  <a:pt x="5047590" y="1813075"/>
                  <a:pt x="5048018" y="1813075"/>
                </a:cubicBezTo>
                <a:close/>
                <a:moveTo>
                  <a:pt x="1546882" y="1812929"/>
                </a:moveTo>
                <a:cubicBezTo>
                  <a:pt x="1547708" y="1813703"/>
                  <a:pt x="1547708" y="1813703"/>
                  <a:pt x="1547604" y="1815407"/>
                </a:cubicBezTo>
                <a:cubicBezTo>
                  <a:pt x="1545023" y="1814633"/>
                  <a:pt x="1545023" y="1814633"/>
                  <a:pt x="1543268" y="1813084"/>
                </a:cubicBezTo>
                <a:cubicBezTo>
                  <a:pt x="1544197" y="1813084"/>
                  <a:pt x="1546056" y="1812154"/>
                  <a:pt x="1546882" y="1812929"/>
                </a:cubicBezTo>
                <a:close/>
                <a:moveTo>
                  <a:pt x="1542751" y="1812929"/>
                </a:moveTo>
                <a:cubicBezTo>
                  <a:pt x="1542751" y="1812929"/>
                  <a:pt x="1542648" y="1813703"/>
                  <a:pt x="1542648" y="1813703"/>
                </a:cubicBezTo>
                <a:cubicBezTo>
                  <a:pt x="1541719" y="1813858"/>
                  <a:pt x="1540790" y="1813858"/>
                  <a:pt x="1540790" y="1813084"/>
                </a:cubicBezTo>
                <a:cubicBezTo>
                  <a:pt x="1540790" y="1812309"/>
                  <a:pt x="1541822" y="1812309"/>
                  <a:pt x="1542751" y="1812929"/>
                </a:cubicBezTo>
                <a:close/>
                <a:moveTo>
                  <a:pt x="1182181" y="1812774"/>
                </a:moveTo>
                <a:cubicBezTo>
                  <a:pt x="1183317" y="1812619"/>
                  <a:pt x="1184246" y="1812774"/>
                  <a:pt x="1185072" y="1813084"/>
                </a:cubicBezTo>
                <a:cubicBezTo>
                  <a:pt x="1185898" y="1813548"/>
                  <a:pt x="1186621" y="1814168"/>
                  <a:pt x="1187137" y="1814942"/>
                </a:cubicBezTo>
                <a:cubicBezTo>
                  <a:pt x="1187447" y="1816181"/>
                  <a:pt x="1186518" y="1817576"/>
                  <a:pt x="1184452" y="1819124"/>
                </a:cubicBezTo>
                <a:cubicBezTo>
                  <a:pt x="1182491" y="1818815"/>
                  <a:pt x="1181561" y="1815252"/>
                  <a:pt x="1180529" y="1813703"/>
                </a:cubicBezTo>
                <a:cubicBezTo>
                  <a:pt x="1181664" y="1813393"/>
                  <a:pt x="1182903" y="1813238"/>
                  <a:pt x="1182181" y="1812774"/>
                </a:cubicBezTo>
                <a:close/>
                <a:moveTo>
                  <a:pt x="841125" y="1812619"/>
                </a:moveTo>
                <a:cubicBezTo>
                  <a:pt x="843397" y="1812309"/>
                  <a:pt x="844120" y="1812774"/>
                  <a:pt x="844843" y="1813238"/>
                </a:cubicBezTo>
                <a:cubicBezTo>
                  <a:pt x="844843" y="1813238"/>
                  <a:pt x="843707" y="1813393"/>
                  <a:pt x="843294" y="1814168"/>
                </a:cubicBezTo>
                <a:cubicBezTo>
                  <a:pt x="843294" y="1814168"/>
                  <a:pt x="842158" y="1814323"/>
                  <a:pt x="840919" y="1814478"/>
                </a:cubicBezTo>
                <a:cubicBezTo>
                  <a:pt x="840919" y="1814478"/>
                  <a:pt x="840506" y="1815097"/>
                  <a:pt x="840093" y="1815872"/>
                </a:cubicBezTo>
                <a:cubicBezTo>
                  <a:pt x="837305" y="1816956"/>
                  <a:pt x="835756" y="1817885"/>
                  <a:pt x="833175" y="1815252"/>
                </a:cubicBezTo>
                <a:cubicBezTo>
                  <a:pt x="833381" y="1814942"/>
                  <a:pt x="834104" y="1814633"/>
                  <a:pt x="834930" y="1814478"/>
                </a:cubicBezTo>
                <a:cubicBezTo>
                  <a:pt x="835653" y="1814168"/>
                  <a:pt x="836582" y="1814013"/>
                  <a:pt x="837098" y="1814013"/>
                </a:cubicBezTo>
                <a:cubicBezTo>
                  <a:pt x="837615" y="1813238"/>
                  <a:pt x="838751" y="1813084"/>
                  <a:pt x="839473" y="1813548"/>
                </a:cubicBezTo>
                <a:cubicBezTo>
                  <a:pt x="839473" y="1813548"/>
                  <a:pt x="840609" y="1813393"/>
                  <a:pt x="841125" y="1812619"/>
                </a:cubicBezTo>
                <a:close/>
                <a:moveTo>
                  <a:pt x="855168" y="1812464"/>
                </a:moveTo>
                <a:cubicBezTo>
                  <a:pt x="858679" y="1812929"/>
                  <a:pt x="863532" y="1818815"/>
                  <a:pt x="864152" y="1821448"/>
                </a:cubicBezTo>
                <a:cubicBezTo>
                  <a:pt x="862706" y="1823771"/>
                  <a:pt x="860744" y="1824546"/>
                  <a:pt x="858886" y="1824546"/>
                </a:cubicBezTo>
                <a:cubicBezTo>
                  <a:pt x="855788" y="1824391"/>
                  <a:pt x="852793" y="1821603"/>
                  <a:pt x="852071" y="1818660"/>
                </a:cubicBezTo>
                <a:cubicBezTo>
                  <a:pt x="851761" y="1817576"/>
                  <a:pt x="851761" y="1816646"/>
                  <a:pt x="852071" y="1815717"/>
                </a:cubicBezTo>
                <a:cubicBezTo>
                  <a:pt x="852484" y="1814323"/>
                  <a:pt x="853516" y="1813238"/>
                  <a:pt x="855168" y="1812464"/>
                </a:cubicBezTo>
                <a:close/>
                <a:moveTo>
                  <a:pt x="1310012" y="1811999"/>
                </a:moveTo>
                <a:cubicBezTo>
                  <a:pt x="1310631" y="1814633"/>
                  <a:pt x="1310838" y="1816491"/>
                  <a:pt x="1310735" y="1819435"/>
                </a:cubicBezTo>
                <a:cubicBezTo>
                  <a:pt x="1310735" y="1819435"/>
                  <a:pt x="1309599" y="1823926"/>
                  <a:pt x="1306501" y="1823462"/>
                </a:cubicBezTo>
                <a:cubicBezTo>
                  <a:pt x="1305778" y="1823926"/>
                  <a:pt x="1303817" y="1820983"/>
                  <a:pt x="1304126" y="1819899"/>
                </a:cubicBezTo>
                <a:cubicBezTo>
                  <a:pt x="1304746" y="1817576"/>
                  <a:pt x="1304952" y="1816491"/>
                  <a:pt x="1306501" y="1815717"/>
                </a:cubicBezTo>
                <a:cubicBezTo>
                  <a:pt x="1306708" y="1814633"/>
                  <a:pt x="1307018" y="1813548"/>
                  <a:pt x="1307534" y="1812774"/>
                </a:cubicBezTo>
                <a:cubicBezTo>
                  <a:pt x="1308050" y="1811999"/>
                  <a:pt x="1308773" y="1811690"/>
                  <a:pt x="1310012" y="1811999"/>
                </a:cubicBezTo>
                <a:close/>
                <a:moveTo>
                  <a:pt x="6179996" y="1811225"/>
                </a:moveTo>
                <a:cubicBezTo>
                  <a:pt x="6189599" y="1809945"/>
                  <a:pt x="6203472" y="1818481"/>
                  <a:pt x="6207313" y="1823318"/>
                </a:cubicBezTo>
                <a:cubicBezTo>
                  <a:pt x="6197070" y="1823318"/>
                  <a:pt x="6180209" y="1822749"/>
                  <a:pt x="6172526" y="1816205"/>
                </a:cubicBezTo>
                <a:cubicBezTo>
                  <a:pt x="6174020" y="1813217"/>
                  <a:pt x="6176795" y="1811652"/>
                  <a:pt x="6179996" y="1811225"/>
                </a:cubicBezTo>
                <a:close/>
                <a:moveTo>
                  <a:pt x="1500623" y="1811070"/>
                </a:moveTo>
                <a:cubicBezTo>
                  <a:pt x="1504031" y="1809056"/>
                  <a:pt x="1508883" y="1811070"/>
                  <a:pt x="1510639" y="1814478"/>
                </a:cubicBezTo>
                <a:cubicBezTo>
                  <a:pt x="1511362" y="1815872"/>
                  <a:pt x="1511568" y="1817576"/>
                  <a:pt x="1510742" y="1819280"/>
                </a:cubicBezTo>
                <a:cubicBezTo>
                  <a:pt x="1505476" y="1819435"/>
                  <a:pt x="1499694" y="1820519"/>
                  <a:pt x="1497938" y="1814788"/>
                </a:cubicBezTo>
                <a:cubicBezTo>
                  <a:pt x="1498558" y="1812929"/>
                  <a:pt x="1499590" y="1811845"/>
                  <a:pt x="1500623" y="1811070"/>
                </a:cubicBezTo>
                <a:close/>
                <a:moveTo>
                  <a:pt x="5703003" y="1810514"/>
                </a:moveTo>
                <a:cubicBezTo>
                  <a:pt x="5707698" y="1813075"/>
                  <a:pt x="5708978" y="1816774"/>
                  <a:pt x="5705777" y="1820188"/>
                </a:cubicBezTo>
                <a:cubicBezTo>
                  <a:pt x="5703216" y="1817627"/>
                  <a:pt x="5700868" y="1818765"/>
                  <a:pt x="5698521" y="1816205"/>
                </a:cubicBezTo>
                <a:cubicBezTo>
                  <a:pt x="5700655" y="1813928"/>
                  <a:pt x="5701935" y="1811652"/>
                  <a:pt x="5703003" y="1810514"/>
                </a:cubicBezTo>
                <a:close/>
                <a:moveTo>
                  <a:pt x="821300" y="1810141"/>
                </a:moveTo>
                <a:cubicBezTo>
                  <a:pt x="823159" y="1809366"/>
                  <a:pt x="823159" y="1809366"/>
                  <a:pt x="824088" y="1810295"/>
                </a:cubicBezTo>
                <a:cubicBezTo>
                  <a:pt x="824914" y="1811380"/>
                  <a:pt x="823985" y="1813858"/>
                  <a:pt x="824914" y="1814788"/>
                </a:cubicBezTo>
                <a:cubicBezTo>
                  <a:pt x="824914" y="1814788"/>
                  <a:pt x="824914" y="1814788"/>
                  <a:pt x="823056" y="1815407"/>
                </a:cubicBezTo>
                <a:cubicBezTo>
                  <a:pt x="822229" y="1815407"/>
                  <a:pt x="821300" y="1815252"/>
                  <a:pt x="820371" y="1814323"/>
                </a:cubicBezTo>
                <a:cubicBezTo>
                  <a:pt x="819441" y="1813393"/>
                  <a:pt x="819545" y="1811535"/>
                  <a:pt x="819545" y="1810760"/>
                </a:cubicBezTo>
                <a:cubicBezTo>
                  <a:pt x="820474" y="1810760"/>
                  <a:pt x="820474" y="1809986"/>
                  <a:pt x="821300" y="1810141"/>
                </a:cubicBezTo>
                <a:close/>
                <a:moveTo>
                  <a:pt x="1515905" y="1809831"/>
                </a:moveTo>
                <a:cubicBezTo>
                  <a:pt x="1515905" y="1809831"/>
                  <a:pt x="1515905" y="1809986"/>
                  <a:pt x="1516628" y="1810605"/>
                </a:cubicBezTo>
                <a:cubicBezTo>
                  <a:pt x="1514149" y="1810760"/>
                  <a:pt x="1510742" y="1810915"/>
                  <a:pt x="1509090" y="1810295"/>
                </a:cubicBezTo>
                <a:cubicBezTo>
                  <a:pt x="1510845" y="1809366"/>
                  <a:pt x="1514253" y="1808437"/>
                  <a:pt x="1515905" y="1809831"/>
                </a:cubicBezTo>
                <a:close/>
                <a:moveTo>
                  <a:pt x="3737406" y="1809803"/>
                </a:moveTo>
                <a:cubicBezTo>
                  <a:pt x="3741034" y="1809233"/>
                  <a:pt x="3746370" y="1812506"/>
                  <a:pt x="3747010" y="1814497"/>
                </a:cubicBezTo>
                <a:cubicBezTo>
                  <a:pt x="3745943" y="1816916"/>
                  <a:pt x="3733778" y="1817485"/>
                  <a:pt x="3734845" y="1811794"/>
                </a:cubicBezTo>
                <a:cubicBezTo>
                  <a:pt x="3735272" y="1810514"/>
                  <a:pt x="3736339" y="1809945"/>
                  <a:pt x="3737406" y="1809803"/>
                </a:cubicBezTo>
                <a:close/>
                <a:moveTo>
                  <a:pt x="3789268" y="1809660"/>
                </a:moveTo>
                <a:cubicBezTo>
                  <a:pt x="3799298" y="1808664"/>
                  <a:pt x="3802286" y="1819477"/>
                  <a:pt x="3797591" y="1822891"/>
                </a:cubicBezTo>
                <a:cubicBezTo>
                  <a:pt x="3796737" y="1823460"/>
                  <a:pt x="3795670" y="1823887"/>
                  <a:pt x="3794389" y="1824029"/>
                </a:cubicBezTo>
                <a:lnTo>
                  <a:pt x="3793749" y="1823887"/>
                </a:lnTo>
                <a:lnTo>
                  <a:pt x="3793536" y="1824029"/>
                </a:lnTo>
                <a:cubicBezTo>
                  <a:pt x="3792469" y="1824883"/>
                  <a:pt x="3791188" y="1825310"/>
                  <a:pt x="3789908" y="1825167"/>
                </a:cubicBezTo>
                <a:cubicBezTo>
                  <a:pt x="3788627" y="1824029"/>
                  <a:pt x="3786066" y="1822749"/>
                  <a:pt x="3784786" y="1820188"/>
                </a:cubicBezTo>
                <a:cubicBezTo>
                  <a:pt x="3785213" y="1817343"/>
                  <a:pt x="3786280" y="1815351"/>
                  <a:pt x="3787987" y="1814070"/>
                </a:cubicBezTo>
                <a:lnTo>
                  <a:pt x="3788841" y="1813928"/>
                </a:lnTo>
                <a:close/>
                <a:moveTo>
                  <a:pt x="4865330" y="1809376"/>
                </a:moveTo>
                <a:cubicBezTo>
                  <a:pt x="4866611" y="1818765"/>
                  <a:pt x="4864690" y="1830716"/>
                  <a:pt x="4864263" y="1833419"/>
                </a:cubicBezTo>
                <a:cubicBezTo>
                  <a:pt x="4864049" y="1834700"/>
                  <a:pt x="4863623" y="1835553"/>
                  <a:pt x="4862982" y="1835838"/>
                </a:cubicBezTo>
                <a:cubicBezTo>
                  <a:pt x="4862129" y="1836264"/>
                  <a:pt x="4861275" y="1836264"/>
                  <a:pt x="4859994" y="1836122"/>
                </a:cubicBezTo>
                <a:cubicBezTo>
                  <a:pt x="4855513" y="1832850"/>
                  <a:pt x="4857647" y="1827017"/>
                  <a:pt x="4857220" y="1820899"/>
                </a:cubicBezTo>
                <a:cubicBezTo>
                  <a:pt x="4858501" y="1820615"/>
                  <a:pt x="4859354" y="1819050"/>
                  <a:pt x="4858928" y="1817912"/>
                </a:cubicBezTo>
                <a:cubicBezTo>
                  <a:pt x="4859781" y="1816347"/>
                  <a:pt x="4860635" y="1814782"/>
                  <a:pt x="4859354" y="1815208"/>
                </a:cubicBezTo>
                <a:cubicBezTo>
                  <a:pt x="4861915" y="1810514"/>
                  <a:pt x="4861702" y="1809376"/>
                  <a:pt x="4865330" y="1809376"/>
                </a:cubicBezTo>
                <a:close/>
                <a:moveTo>
                  <a:pt x="5510071" y="1808664"/>
                </a:moveTo>
                <a:cubicBezTo>
                  <a:pt x="5511992" y="1811794"/>
                  <a:pt x="5515193" y="1815066"/>
                  <a:pt x="5518394" y="1818339"/>
                </a:cubicBezTo>
                <a:lnTo>
                  <a:pt x="5524157" y="1824883"/>
                </a:lnTo>
                <a:lnTo>
                  <a:pt x="5524157" y="1824456"/>
                </a:lnTo>
                <a:cubicBezTo>
                  <a:pt x="5524797" y="1823744"/>
                  <a:pt x="5525864" y="1823460"/>
                  <a:pt x="5527571" y="1822891"/>
                </a:cubicBezTo>
                <a:cubicBezTo>
                  <a:pt x="5527999" y="1824029"/>
                  <a:pt x="5528425" y="1825025"/>
                  <a:pt x="5528212" y="1825879"/>
                </a:cubicBezTo>
                <a:lnTo>
                  <a:pt x="5526504" y="1827586"/>
                </a:lnTo>
                <a:lnTo>
                  <a:pt x="5526931" y="1828013"/>
                </a:lnTo>
                <a:cubicBezTo>
                  <a:pt x="5531200" y="1834415"/>
                  <a:pt x="5531627" y="1840532"/>
                  <a:pt x="5520102" y="1845085"/>
                </a:cubicBezTo>
                <a:lnTo>
                  <a:pt x="5518608" y="1838398"/>
                </a:lnTo>
                <a:lnTo>
                  <a:pt x="5516901" y="1839679"/>
                </a:lnTo>
                <a:cubicBezTo>
                  <a:pt x="5516260" y="1840675"/>
                  <a:pt x="5513913" y="1837830"/>
                  <a:pt x="5513913" y="1837830"/>
                </a:cubicBezTo>
                <a:cubicBezTo>
                  <a:pt x="5513913" y="1836975"/>
                  <a:pt x="5514766" y="1835980"/>
                  <a:pt x="5515833" y="1835127"/>
                </a:cubicBezTo>
                <a:lnTo>
                  <a:pt x="5517328" y="1833988"/>
                </a:lnTo>
                <a:lnTo>
                  <a:pt x="5513273" y="1825594"/>
                </a:lnTo>
                <a:cubicBezTo>
                  <a:pt x="5510071" y="1819619"/>
                  <a:pt x="5507723" y="1813928"/>
                  <a:pt x="5510071" y="1808664"/>
                </a:cubicBezTo>
                <a:close/>
                <a:moveTo>
                  <a:pt x="1199528" y="1808591"/>
                </a:moveTo>
                <a:cubicBezTo>
                  <a:pt x="1200251" y="1809521"/>
                  <a:pt x="1200147" y="1810295"/>
                  <a:pt x="1200044" y="1811070"/>
                </a:cubicBezTo>
                <a:cubicBezTo>
                  <a:pt x="1199011" y="1811845"/>
                  <a:pt x="1198186" y="1811845"/>
                  <a:pt x="1197153" y="1812619"/>
                </a:cubicBezTo>
                <a:cubicBezTo>
                  <a:pt x="1197050" y="1813393"/>
                  <a:pt x="1196740" y="1815097"/>
                  <a:pt x="1195707" y="1815872"/>
                </a:cubicBezTo>
                <a:lnTo>
                  <a:pt x="1195604" y="1816026"/>
                </a:lnTo>
                <a:lnTo>
                  <a:pt x="1195088" y="1817885"/>
                </a:lnTo>
                <a:lnTo>
                  <a:pt x="1195810" y="1817576"/>
                </a:lnTo>
                <a:cubicBezTo>
                  <a:pt x="1199321" y="1818969"/>
                  <a:pt x="1198599" y="1821293"/>
                  <a:pt x="1198599" y="1825011"/>
                </a:cubicBezTo>
                <a:cubicBezTo>
                  <a:pt x="1197360" y="1824546"/>
                  <a:pt x="1196224" y="1827799"/>
                  <a:pt x="1195810" y="1828883"/>
                </a:cubicBezTo>
                <a:cubicBezTo>
                  <a:pt x="1193436" y="1827954"/>
                  <a:pt x="1191474" y="1831516"/>
                  <a:pt x="1187963" y="1830122"/>
                </a:cubicBezTo>
                <a:cubicBezTo>
                  <a:pt x="1187137" y="1828573"/>
                  <a:pt x="1186827" y="1827799"/>
                  <a:pt x="1186827" y="1825785"/>
                </a:cubicBezTo>
                <a:lnTo>
                  <a:pt x="1188996" y="1822223"/>
                </a:lnTo>
                <a:lnTo>
                  <a:pt x="1187860" y="1822223"/>
                </a:lnTo>
                <a:cubicBezTo>
                  <a:pt x="1188273" y="1821758"/>
                  <a:pt x="1189408" y="1820673"/>
                  <a:pt x="1190441" y="1819589"/>
                </a:cubicBezTo>
                <a:lnTo>
                  <a:pt x="1191784" y="1818350"/>
                </a:lnTo>
                <a:lnTo>
                  <a:pt x="1191577" y="1817730"/>
                </a:lnTo>
                <a:cubicBezTo>
                  <a:pt x="1191370" y="1816491"/>
                  <a:pt x="1191990" y="1815252"/>
                  <a:pt x="1193023" y="1814942"/>
                </a:cubicBezTo>
                <a:lnTo>
                  <a:pt x="1194571" y="1815252"/>
                </a:lnTo>
                <a:lnTo>
                  <a:pt x="1195088" y="1814942"/>
                </a:lnTo>
                <a:cubicBezTo>
                  <a:pt x="1196017" y="1814168"/>
                  <a:pt x="1198495" y="1810141"/>
                  <a:pt x="1197772" y="1809366"/>
                </a:cubicBezTo>
                <a:cubicBezTo>
                  <a:pt x="1198599" y="1809366"/>
                  <a:pt x="1199528" y="1808591"/>
                  <a:pt x="1199528" y="1808591"/>
                </a:cubicBezTo>
                <a:close/>
                <a:moveTo>
                  <a:pt x="5569188" y="1808380"/>
                </a:moveTo>
                <a:cubicBezTo>
                  <a:pt x="5571536" y="1808949"/>
                  <a:pt x="5573883" y="1808096"/>
                  <a:pt x="5576445" y="1808664"/>
                </a:cubicBezTo>
                <a:cubicBezTo>
                  <a:pt x="5576871" y="1810798"/>
                  <a:pt x="5578366" y="1812506"/>
                  <a:pt x="5579219" y="1814355"/>
                </a:cubicBezTo>
                <a:cubicBezTo>
                  <a:pt x="5579859" y="1816205"/>
                  <a:pt x="5580073" y="1818197"/>
                  <a:pt x="5577725" y="1821326"/>
                </a:cubicBezTo>
                <a:cubicBezTo>
                  <a:pt x="5570683" y="1823318"/>
                  <a:pt x="5564493" y="1815778"/>
                  <a:pt x="5569188" y="1808380"/>
                </a:cubicBezTo>
                <a:close/>
                <a:moveTo>
                  <a:pt x="1121879" y="1808282"/>
                </a:moveTo>
                <a:cubicBezTo>
                  <a:pt x="1128074" y="1817576"/>
                  <a:pt x="1134270" y="1816956"/>
                  <a:pt x="1140156" y="1821293"/>
                </a:cubicBezTo>
                <a:cubicBezTo>
                  <a:pt x="1146867" y="1834924"/>
                  <a:pt x="1151307" y="1854750"/>
                  <a:pt x="1140568" y="1867142"/>
                </a:cubicBezTo>
                <a:cubicBezTo>
                  <a:pt x="1131689" y="1877365"/>
                  <a:pt x="1120434" y="1873802"/>
                  <a:pt x="1107733" y="1877520"/>
                </a:cubicBezTo>
                <a:cubicBezTo>
                  <a:pt x="1101537" y="1868227"/>
                  <a:pt x="1095239" y="1869621"/>
                  <a:pt x="1089147" y="1867917"/>
                </a:cubicBezTo>
                <a:cubicBezTo>
                  <a:pt x="1088114" y="1860172"/>
                  <a:pt x="1080783" y="1852272"/>
                  <a:pt x="1077066" y="1844217"/>
                </a:cubicBezTo>
                <a:cubicBezTo>
                  <a:pt x="1079234" y="1839570"/>
                  <a:pt x="1080576" y="1835079"/>
                  <a:pt x="1081919" y="1830432"/>
                </a:cubicBezTo>
                <a:lnTo>
                  <a:pt x="1084500" y="1822997"/>
                </a:lnTo>
                <a:lnTo>
                  <a:pt x="1081196" y="1821138"/>
                </a:lnTo>
                <a:lnTo>
                  <a:pt x="1085636" y="1819280"/>
                </a:lnTo>
                <a:lnTo>
                  <a:pt x="1086669" y="1816646"/>
                </a:lnTo>
                <a:cubicBezTo>
                  <a:pt x="1098233" y="1816026"/>
                  <a:pt x="1109075" y="1802706"/>
                  <a:pt x="1121879" y="1808282"/>
                </a:cubicBezTo>
                <a:close/>
                <a:moveTo>
                  <a:pt x="672198" y="1807972"/>
                </a:moveTo>
                <a:cubicBezTo>
                  <a:pt x="673024" y="1807662"/>
                  <a:pt x="673644" y="1807507"/>
                  <a:pt x="673644" y="1807972"/>
                </a:cubicBezTo>
                <a:cubicBezTo>
                  <a:pt x="674470" y="1808746"/>
                  <a:pt x="674470" y="1807972"/>
                  <a:pt x="675399" y="1807972"/>
                </a:cubicBezTo>
                <a:cubicBezTo>
                  <a:pt x="677981" y="1810760"/>
                  <a:pt x="678807" y="1813393"/>
                  <a:pt x="677051" y="1815717"/>
                </a:cubicBezTo>
                <a:cubicBezTo>
                  <a:pt x="675193" y="1817111"/>
                  <a:pt x="672611" y="1819435"/>
                  <a:pt x="669927" y="1817421"/>
                </a:cubicBezTo>
                <a:cubicBezTo>
                  <a:pt x="670030" y="1816646"/>
                  <a:pt x="669100" y="1816491"/>
                  <a:pt x="669100" y="1815717"/>
                </a:cubicBezTo>
                <a:cubicBezTo>
                  <a:pt x="669100" y="1815717"/>
                  <a:pt x="668688" y="1814788"/>
                  <a:pt x="668584" y="1813548"/>
                </a:cubicBezTo>
                <a:cubicBezTo>
                  <a:pt x="668481" y="1812309"/>
                  <a:pt x="668791" y="1810760"/>
                  <a:pt x="670133" y="1809211"/>
                </a:cubicBezTo>
                <a:cubicBezTo>
                  <a:pt x="670546" y="1808902"/>
                  <a:pt x="671475" y="1808282"/>
                  <a:pt x="672198" y="1807972"/>
                </a:cubicBezTo>
                <a:close/>
                <a:moveTo>
                  <a:pt x="3774755" y="1807811"/>
                </a:moveTo>
                <a:cubicBezTo>
                  <a:pt x="3776035" y="1807953"/>
                  <a:pt x="3777103" y="1809376"/>
                  <a:pt x="3778170" y="1809660"/>
                </a:cubicBezTo>
                <a:cubicBezTo>
                  <a:pt x="3778170" y="1810798"/>
                  <a:pt x="3777956" y="1813217"/>
                  <a:pt x="3776676" y="1814355"/>
                </a:cubicBezTo>
                <a:cubicBezTo>
                  <a:pt x="3776676" y="1815493"/>
                  <a:pt x="3773261" y="1813643"/>
                  <a:pt x="3773261" y="1813643"/>
                </a:cubicBezTo>
                <a:cubicBezTo>
                  <a:pt x="3772194" y="1812221"/>
                  <a:pt x="3774755" y="1809091"/>
                  <a:pt x="3774755" y="1807811"/>
                </a:cubicBezTo>
                <a:close/>
                <a:moveTo>
                  <a:pt x="1203658" y="1807662"/>
                </a:moveTo>
                <a:cubicBezTo>
                  <a:pt x="1205310" y="1807507"/>
                  <a:pt x="1207375" y="1808746"/>
                  <a:pt x="1208924" y="1811070"/>
                </a:cubicBezTo>
                <a:cubicBezTo>
                  <a:pt x="1207478" y="1812619"/>
                  <a:pt x="1205930" y="1813238"/>
                  <a:pt x="1204484" y="1813084"/>
                </a:cubicBezTo>
                <a:lnTo>
                  <a:pt x="1203348" y="1812619"/>
                </a:lnTo>
                <a:lnTo>
                  <a:pt x="1202419" y="1812309"/>
                </a:lnTo>
                <a:lnTo>
                  <a:pt x="1200251" y="1811380"/>
                </a:lnTo>
                <a:cubicBezTo>
                  <a:pt x="1200457" y="1808902"/>
                  <a:pt x="1201902" y="1807662"/>
                  <a:pt x="1203658" y="1807662"/>
                </a:cubicBezTo>
                <a:close/>
                <a:moveTo>
                  <a:pt x="5342323" y="1806957"/>
                </a:moveTo>
                <a:cubicBezTo>
                  <a:pt x="5345525" y="1807384"/>
                  <a:pt x="5348726" y="1807953"/>
                  <a:pt x="5348512" y="1811225"/>
                </a:cubicBezTo>
                <a:cubicBezTo>
                  <a:pt x="5346165" y="1811652"/>
                  <a:pt x="5345951" y="1813217"/>
                  <a:pt x="5342110" y="1811794"/>
                </a:cubicBezTo>
                <a:cubicBezTo>
                  <a:pt x="5342110" y="1810229"/>
                  <a:pt x="5342323" y="1808522"/>
                  <a:pt x="5342323" y="1806957"/>
                </a:cubicBezTo>
                <a:close/>
                <a:moveTo>
                  <a:pt x="798894" y="1806578"/>
                </a:moveTo>
                <a:cubicBezTo>
                  <a:pt x="805708" y="1804255"/>
                  <a:pt x="813246" y="1804409"/>
                  <a:pt x="816654" y="1809521"/>
                </a:cubicBezTo>
                <a:cubicBezTo>
                  <a:pt x="804160" y="1808902"/>
                  <a:pt x="798997" y="1820983"/>
                  <a:pt x="785367" y="1818040"/>
                </a:cubicBezTo>
                <a:cubicBezTo>
                  <a:pt x="785987" y="1813548"/>
                  <a:pt x="792079" y="1808902"/>
                  <a:pt x="798894" y="1806578"/>
                </a:cubicBezTo>
                <a:close/>
                <a:moveTo>
                  <a:pt x="3486638" y="1806246"/>
                </a:moveTo>
                <a:cubicBezTo>
                  <a:pt x="3487492" y="1807526"/>
                  <a:pt x="3488346" y="1808806"/>
                  <a:pt x="3489199" y="1810087"/>
                </a:cubicBezTo>
                <a:cubicBezTo>
                  <a:pt x="3486638" y="1812221"/>
                  <a:pt x="3484078" y="1814355"/>
                  <a:pt x="3482370" y="1811794"/>
                </a:cubicBezTo>
                <a:cubicBezTo>
                  <a:pt x="3483864" y="1809518"/>
                  <a:pt x="3482797" y="1808238"/>
                  <a:pt x="3486638" y="1806246"/>
                </a:cubicBezTo>
                <a:close/>
                <a:moveTo>
                  <a:pt x="1150378" y="1806113"/>
                </a:moveTo>
                <a:cubicBezTo>
                  <a:pt x="1154405" y="1810915"/>
                  <a:pt x="1155850" y="1815097"/>
                  <a:pt x="1150481" y="1820364"/>
                </a:cubicBezTo>
                <a:cubicBezTo>
                  <a:pt x="1147073" y="1820054"/>
                  <a:pt x="1145731" y="1817111"/>
                  <a:pt x="1145834" y="1814013"/>
                </a:cubicBezTo>
                <a:cubicBezTo>
                  <a:pt x="1146041" y="1810915"/>
                  <a:pt x="1147693" y="1807507"/>
                  <a:pt x="1150378" y="1806113"/>
                </a:cubicBezTo>
                <a:close/>
                <a:moveTo>
                  <a:pt x="5161770" y="1805961"/>
                </a:moveTo>
                <a:cubicBezTo>
                  <a:pt x="5166465" y="1807811"/>
                  <a:pt x="5167532" y="1812933"/>
                  <a:pt x="5176709" y="1810656"/>
                </a:cubicBezTo>
                <a:lnTo>
                  <a:pt x="5175002" y="1813643"/>
                </a:lnTo>
                <a:lnTo>
                  <a:pt x="5177990" y="1815778"/>
                </a:lnTo>
                <a:lnTo>
                  <a:pt x="5177136" y="1819904"/>
                </a:lnTo>
                <a:lnTo>
                  <a:pt x="5177563" y="1819761"/>
                </a:lnTo>
                <a:cubicBezTo>
                  <a:pt x="5178844" y="1819761"/>
                  <a:pt x="5179270" y="1820757"/>
                  <a:pt x="5179697" y="1822038"/>
                </a:cubicBezTo>
                <a:cubicBezTo>
                  <a:pt x="5180124" y="1823318"/>
                  <a:pt x="5180337" y="1824883"/>
                  <a:pt x="5180551" y="1825879"/>
                </a:cubicBezTo>
                <a:cubicBezTo>
                  <a:pt x="5183112" y="1826164"/>
                  <a:pt x="5179697" y="1831285"/>
                  <a:pt x="5182258" y="1831428"/>
                </a:cubicBezTo>
                <a:cubicBezTo>
                  <a:pt x="5179270" y="1837687"/>
                  <a:pt x="5186527" y="1840959"/>
                  <a:pt x="5183325" y="1851060"/>
                </a:cubicBezTo>
                <a:cubicBezTo>
                  <a:pt x="5181618" y="1848641"/>
                  <a:pt x="5180337" y="1846223"/>
                  <a:pt x="5179697" y="1843804"/>
                </a:cubicBezTo>
                <a:lnTo>
                  <a:pt x="5177990" y="1836549"/>
                </a:lnTo>
                <a:lnTo>
                  <a:pt x="5171161" y="1838398"/>
                </a:lnTo>
                <a:cubicBezTo>
                  <a:pt x="5169239" y="1837830"/>
                  <a:pt x="5167319" y="1836691"/>
                  <a:pt x="5166038" y="1834842"/>
                </a:cubicBezTo>
                <a:cubicBezTo>
                  <a:pt x="5164331" y="1832423"/>
                  <a:pt x="5163904" y="1828866"/>
                  <a:pt x="5165185" y="1824456"/>
                </a:cubicBezTo>
                <a:cubicBezTo>
                  <a:pt x="5167959" y="1823460"/>
                  <a:pt x="5169880" y="1823602"/>
                  <a:pt x="5171801" y="1823744"/>
                </a:cubicBezTo>
                <a:lnTo>
                  <a:pt x="5175215" y="1824314"/>
                </a:lnTo>
                <a:lnTo>
                  <a:pt x="5175856" y="1822891"/>
                </a:lnTo>
                <a:lnTo>
                  <a:pt x="5175642" y="1821895"/>
                </a:lnTo>
                <a:lnTo>
                  <a:pt x="5174789" y="1822891"/>
                </a:lnTo>
                <a:cubicBezTo>
                  <a:pt x="5173935" y="1823176"/>
                  <a:pt x="5173508" y="1823176"/>
                  <a:pt x="5173508" y="1823176"/>
                </a:cubicBezTo>
                <a:lnTo>
                  <a:pt x="5168813" y="1820757"/>
                </a:lnTo>
                <a:lnTo>
                  <a:pt x="5167106" y="1822180"/>
                </a:lnTo>
                <a:cubicBezTo>
                  <a:pt x="5163691" y="1817912"/>
                  <a:pt x="5162837" y="1811083"/>
                  <a:pt x="5161770" y="1805961"/>
                </a:cubicBezTo>
                <a:close/>
                <a:moveTo>
                  <a:pt x="3895551" y="1805677"/>
                </a:moveTo>
                <a:cubicBezTo>
                  <a:pt x="3906648" y="1814070"/>
                  <a:pt x="3918600" y="1819761"/>
                  <a:pt x="3929271" y="1825879"/>
                </a:cubicBezTo>
                <a:cubicBezTo>
                  <a:pt x="3927777" y="1823176"/>
                  <a:pt x="3924362" y="1815493"/>
                  <a:pt x="3925429" y="1813217"/>
                </a:cubicBezTo>
                <a:cubicBezTo>
                  <a:pt x="3927777" y="1816774"/>
                  <a:pt x="3930338" y="1824456"/>
                  <a:pt x="3929484" y="1826021"/>
                </a:cubicBezTo>
                <a:cubicBezTo>
                  <a:pt x="3934393" y="1828866"/>
                  <a:pt x="3939088" y="1831854"/>
                  <a:pt x="3943143" y="1835269"/>
                </a:cubicBezTo>
                <a:cubicBezTo>
                  <a:pt x="3923936" y="1840817"/>
                  <a:pt x="3906008" y="1826021"/>
                  <a:pt x="3888081" y="1817200"/>
                </a:cubicBezTo>
                <a:cubicBezTo>
                  <a:pt x="3890855" y="1813786"/>
                  <a:pt x="3890215" y="1810087"/>
                  <a:pt x="3895551" y="1805677"/>
                </a:cubicBezTo>
                <a:close/>
                <a:moveTo>
                  <a:pt x="1539550" y="1805184"/>
                </a:moveTo>
                <a:cubicBezTo>
                  <a:pt x="1541099" y="1806888"/>
                  <a:pt x="1541099" y="1809366"/>
                  <a:pt x="1540170" y="1811380"/>
                </a:cubicBezTo>
                <a:lnTo>
                  <a:pt x="1538311" y="1814013"/>
                </a:lnTo>
                <a:lnTo>
                  <a:pt x="1538208" y="1814013"/>
                </a:lnTo>
                <a:lnTo>
                  <a:pt x="1535524" y="1815252"/>
                </a:lnTo>
                <a:cubicBezTo>
                  <a:pt x="1534181" y="1815562"/>
                  <a:pt x="1532839" y="1815097"/>
                  <a:pt x="1531600" y="1813858"/>
                </a:cubicBezTo>
                <a:lnTo>
                  <a:pt x="1531703" y="1812929"/>
                </a:lnTo>
                <a:lnTo>
                  <a:pt x="1529225" y="1812929"/>
                </a:lnTo>
                <a:cubicBezTo>
                  <a:pt x="1526747" y="1812774"/>
                  <a:pt x="1524268" y="1812464"/>
                  <a:pt x="1522616" y="1811380"/>
                </a:cubicBezTo>
                <a:cubicBezTo>
                  <a:pt x="1523442" y="1811225"/>
                  <a:pt x="1526334" y="1811380"/>
                  <a:pt x="1529225" y="1811690"/>
                </a:cubicBezTo>
                <a:lnTo>
                  <a:pt x="1531703" y="1811999"/>
                </a:lnTo>
                <a:lnTo>
                  <a:pt x="1531806" y="1810760"/>
                </a:lnTo>
                <a:cubicBezTo>
                  <a:pt x="1532942" y="1808437"/>
                  <a:pt x="1536659" y="1807817"/>
                  <a:pt x="1539550" y="1805184"/>
                </a:cubicBezTo>
                <a:close/>
                <a:moveTo>
                  <a:pt x="1173301" y="1804100"/>
                </a:moveTo>
                <a:cubicBezTo>
                  <a:pt x="1174127" y="1808282"/>
                  <a:pt x="1177224" y="1813703"/>
                  <a:pt x="1176192" y="1817576"/>
                </a:cubicBezTo>
                <a:cubicBezTo>
                  <a:pt x="1175572" y="1816026"/>
                  <a:pt x="1172681" y="1807043"/>
                  <a:pt x="1173301" y="1804100"/>
                </a:cubicBezTo>
                <a:close/>
                <a:moveTo>
                  <a:pt x="3911130" y="1803969"/>
                </a:moveTo>
                <a:cubicBezTo>
                  <a:pt x="3912197" y="1804254"/>
                  <a:pt x="3913478" y="1804823"/>
                  <a:pt x="3914758" y="1805534"/>
                </a:cubicBezTo>
                <a:cubicBezTo>
                  <a:pt x="3914758" y="1806672"/>
                  <a:pt x="3914758" y="1806530"/>
                  <a:pt x="3913691" y="1807669"/>
                </a:cubicBezTo>
                <a:cubicBezTo>
                  <a:pt x="3913691" y="1808806"/>
                  <a:pt x="3908782" y="1806388"/>
                  <a:pt x="3907502" y="1806246"/>
                </a:cubicBezTo>
                <a:cubicBezTo>
                  <a:pt x="3907502" y="1805107"/>
                  <a:pt x="3907502" y="1805250"/>
                  <a:pt x="3908782" y="1805250"/>
                </a:cubicBezTo>
                <a:cubicBezTo>
                  <a:pt x="3908569" y="1804966"/>
                  <a:pt x="3908569" y="1804966"/>
                  <a:pt x="3908356" y="1804823"/>
                </a:cubicBezTo>
                <a:cubicBezTo>
                  <a:pt x="3909209" y="1804396"/>
                  <a:pt x="3910063" y="1803827"/>
                  <a:pt x="3911130" y="1803969"/>
                </a:cubicBezTo>
                <a:close/>
                <a:moveTo>
                  <a:pt x="5640044" y="1803827"/>
                </a:moveTo>
                <a:cubicBezTo>
                  <a:pt x="5641537" y="1806104"/>
                  <a:pt x="5643672" y="1807384"/>
                  <a:pt x="5645379" y="1809803"/>
                </a:cubicBezTo>
                <a:cubicBezTo>
                  <a:pt x="5643032" y="1813643"/>
                  <a:pt x="5645592" y="1819335"/>
                  <a:pt x="5638336" y="1819904"/>
                </a:cubicBezTo>
                <a:cubicBezTo>
                  <a:pt x="5632147" y="1815778"/>
                  <a:pt x="5632361" y="1805250"/>
                  <a:pt x="5640044" y="1803827"/>
                </a:cubicBezTo>
                <a:close/>
                <a:moveTo>
                  <a:pt x="5186100" y="1803685"/>
                </a:moveTo>
                <a:cubicBezTo>
                  <a:pt x="5187594" y="1803685"/>
                  <a:pt x="5188874" y="1803969"/>
                  <a:pt x="5190155" y="1804823"/>
                </a:cubicBezTo>
                <a:cubicBezTo>
                  <a:pt x="5190795" y="1806530"/>
                  <a:pt x="5192289" y="1808949"/>
                  <a:pt x="5192289" y="1811510"/>
                </a:cubicBezTo>
                <a:cubicBezTo>
                  <a:pt x="5188448" y="1815778"/>
                  <a:pt x="5184179" y="1815778"/>
                  <a:pt x="5180124" y="1812933"/>
                </a:cubicBezTo>
                <a:cubicBezTo>
                  <a:pt x="5178630" y="1807953"/>
                  <a:pt x="5182045" y="1803969"/>
                  <a:pt x="5186100" y="1803685"/>
                </a:cubicBezTo>
                <a:close/>
                <a:moveTo>
                  <a:pt x="714533" y="1803635"/>
                </a:moveTo>
                <a:cubicBezTo>
                  <a:pt x="715359" y="1804409"/>
                  <a:pt x="718044" y="1804719"/>
                  <a:pt x="719799" y="1805803"/>
                </a:cubicBezTo>
                <a:cubicBezTo>
                  <a:pt x="719799" y="1806578"/>
                  <a:pt x="720729" y="1807507"/>
                  <a:pt x="720729" y="1808282"/>
                </a:cubicBezTo>
                <a:cubicBezTo>
                  <a:pt x="719799" y="1808127"/>
                  <a:pt x="718044" y="1808746"/>
                  <a:pt x="718044" y="1807972"/>
                </a:cubicBezTo>
                <a:cubicBezTo>
                  <a:pt x="717115" y="1807817"/>
                  <a:pt x="717115" y="1806268"/>
                  <a:pt x="717115" y="1806268"/>
                </a:cubicBezTo>
                <a:cubicBezTo>
                  <a:pt x="716185" y="1806268"/>
                  <a:pt x="715359" y="1806113"/>
                  <a:pt x="714430" y="1805184"/>
                </a:cubicBezTo>
                <a:cubicBezTo>
                  <a:pt x="715359" y="1804409"/>
                  <a:pt x="714430" y="1804409"/>
                  <a:pt x="714533" y="1803635"/>
                </a:cubicBezTo>
                <a:close/>
                <a:moveTo>
                  <a:pt x="6004351" y="1803258"/>
                </a:moveTo>
                <a:cubicBezTo>
                  <a:pt x="6005632" y="1805677"/>
                  <a:pt x="6005845" y="1805677"/>
                  <a:pt x="6004778" y="1808096"/>
                </a:cubicBezTo>
                <a:cubicBezTo>
                  <a:pt x="6003497" y="1808096"/>
                  <a:pt x="6003497" y="1809233"/>
                  <a:pt x="6002217" y="1807953"/>
                </a:cubicBezTo>
                <a:cubicBezTo>
                  <a:pt x="6000083" y="1811510"/>
                  <a:pt x="5989839" y="1814640"/>
                  <a:pt x="5985143" y="1813217"/>
                </a:cubicBezTo>
                <a:cubicBezTo>
                  <a:pt x="5992826" y="1802689"/>
                  <a:pt x="6000083" y="1809091"/>
                  <a:pt x="6004351" y="1803258"/>
                </a:cubicBezTo>
                <a:close/>
                <a:moveTo>
                  <a:pt x="4732369" y="1802974"/>
                </a:moveTo>
                <a:lnTo>
                  <a:pt x="4729168" y="1810371"/>
                </a:lnTo>
                <a:lnTo>
                  <a:pt x="4730876" y="1812790"/>
                </a:lnTo>
                <a:cubicBezTo>
                  <a:pt x="4731089" y="1814355"/>
                  <a:pt x="4730235" y="1816205"/>
                  <a:pt x="4729168" y="1818339"/>
                </a:cubicBezTo>
                <a:cubicBezTo>
                  <a:pt x="4727674" y="1817200"/>
                  <a:pt x="4726821" y="1815920"/>
                  <a:pt x="4726821" y="1814355"/>
                </a:cubicBezTo>
                <a:lnTo>
                  <a:pt x="4726821" y="1813643"/>
                </a:lnTo>
                <a:lnTo>
                  <a:pt x="4722552" y="1819619"/>
                </a:lnTo>
                <a:cubicBezTo>
                  <a:pt x="4720631" y="1822180"/>
                  <a:pt x="4718924" y="1824599"/>
                  <a:pt x="4718070" y="1827301"/>
                </a:cubicBezTo>
                <a:cubicBezTo>
                  <a:pt x="4718070" y="1827301"/>
                  <a:pt x="4718070" y="1827301"/>
                  <a:pt x="4714869" y="1828155"/>
                </a:cubicBezTo>
                <a:cubicBezTo>
                  <a:pt x="4714229" y="1829151"/>
                  <a:pt x="4714229" y="1829293"/>
                  <a:pt x="4714229" y="1829293"/>
                </a:cubicBezTo>
                <a:cubicBezTo>
                  <a:pt x="4714015" y="1829720"/>
                  <a:pt x="4713375" y="1829720"/>
                  <a:pt x="4712735" y="1829436"/>
                </a:cubicBezTo>
                <a:lnTo>
                  <a:pt x="4712308" y="1829862"/>
                </a:lnTo>
                <a:lnTo>
                  <a:pt x="4711881" y="1830431"/>
                </a:lnTo>
                <a:lnTo>
                  <a:pt x="4717643" y="1833846"/>
                </a:lnTo>
                <a:cubicBezTo>
                  <a:pt x="4716363" y="1836833"/>
                  <a:pt x="4720418" y="1838256"/>
                  <a:pt x="4717857" y="1841386"/>
                </a:cubicBezTo>
                <a:lnTo>
                  <a:pt x="4714655" y="1840959"/>
                </a:lnTo>
                <a:cubicBezTo>
                  <a:pt x="4714655" y="1842239"/>
                  <a:pt x="4714442" y="1843947"/>
                  <a:pt x="4714015" y="1846081"/>
                </a:cubicBezTo>
                <a:cubicBezTo>
                  <a:pt x="4713162" y="1850491"/>
                  <a:pt x="4710174" y="1855897"/>
                  <a:pt x="4709534" y="1857605"/>
                </a:cubicBezTo>
                <a:cubicBezTo>
                  <a:pt x="4708893" y="1859170"/>
                  <a:pt x="4709320" y="1860307"/>
                  <a:pt x="4709320" y="1860307"/>
                </a:cubicBezTo>
                <a:cubicBezTo>
                  <a:pt x="4707399" y="1860307"/>
                  <a:pt x="4709107" y="1851060"/>
                  <a:pt x="4710387" y="1844658"/>
                </a:cubicBezTo>
                <a:lnTo>
                  <a:pt x="4711241" y="1840390"/>
                </a:lnTo>
                <a:lnTo>
                  <a:pt x="4709747" y="1840248"/>
                </a:lnTo>
                <a:lnTo>
                  <a:pt x="4707826" y="1838967"/>
                </a:lnTo>
                <a:lnTo>
                  <a:pt x="4705265" y="1839394"/>
                </a:lnTo>
                <a:lnTo>
                  <a:pt x="4704838" y="1839963"/>
                </a:lnTo>
                <a:cubicBezTo>
                  <a:pt x="4704198" y="1841670"/>
                  <a:pt x="4703984" y="1843377"/>
                  <a:pt x="4704625" y="1844089"/>
                </a:cubicBezTo>
                <a:cubicBezTo>
                  <a:pt x="4703344" y="1843947"/>
                  <a:pt x="4702064" y="1845085"/>
                  <a:pt x="4702064" y="1845085"/>
                </a:cubicBezTo>
                <a:cubicBezTo>
                  <a:pt x="4700997" y="1843804"/>
                  <a:pt x="4700997" y="1842524"/>
                  <a:pt x="4700997" y="1841386"/>
                </a:cubicBezTo>
                <a:lnTo>
                  <a:pt x="4704198" y="1839536"/>
                </a:lnTo>
                <a:lnTo>
                  <a:pt x="4695021" y="1841244"/>
                </a:lnTo>
                <a:lnTo>
                  <a:pt x="4691393" y="1840675"/>
                </a:lnTo>
                <a:lnTo>
                  <a:pt x="4691606" y="1842097"/>
                </a:lnTo>
                <a:cubicBezTo>
                  <a:pt x="4689258" y="1841528"/>
                  <a:pt x="4688618" y="1842808"/>
                  <a:pt x="4685204" y="1840105"/>
                </a:cubicBezTo>
                <a:lnTo>
                  <a:pt x="4685417" y="1839679"/>
                </a:lnTo>
                <a:lnTo>
                  <a:pt x="4679442" y="1838683"/>
                </a:lnTo>
                <a:cubicBezTo>
                  <a:pt x="4676240" y="1837402"/>
                  <a:pt x="4673252" y="1835838"/>
                  <a:pt x="4670691" y="1833703"/>
                </a:cubicBezTo>
                <a:cubicBezTo>
                  <a:pt x="4675173" y="1825167"/>
                  <a:pt x="4685204" y="1827444"/>
                  <a:pt x="4693100" y="1827301"/>
                </a:cubicBezTo>
                <a:cubicBezTo>
                  <a:pt x="4690966" y="1819335"/>
                  <a:pt x="4685204" y="1808380"/>
                  <a:pt x="4693741" y="1804396"/>
                </a:cubicBezTo>
                <a:cubicBezTo>
                  <a:pt x="4700143" y="1806672"/>
                  <a:pt x="4700143" y="1814070"/>
                  <a:pt x="4701637" y="1821469"/>
                </a:cubicBezTo>
                <a:lnTo>
                  <a:pt x="4702491" y="1824456"/>
                </a:lnTo>
                <a:lnTo>
                  <a:pt x="4704412" y="1826021"/>
                </a:lnTo>
                <a:lnTo>
                  <a:pt x="4711241" y="1830005"/>
                </a:lnTo>
                <a:lnTo>
                  <a:pt x="4711668" y="1829436"/>
                </a:lnTo>
                <a:lnTo>
                  <a:pt x="4711668" y="1829151"/>
                </a:lnTo>
                <a:lnTo>
                  <a:pt x="4711668" y="1829009"/>
                </a:lnTo>
                <a:lnTo>
                  <a:pt x="4711881" y="1828155"/>
                </a:lnTo>
                <a:lnTo>
                  <a:pt x="4711881" y="1827017"/>
                </a:lnTo>
                <a:lnTo>
                  <a:pt x="4712095" y="1826875"/>
                </a:lnTo>
                <a:lnTo>
                  <a:pt x="4712308" y="1825594"/>
                </a:lnTo>
                <a:cubicBezTo>
                  <a:pt x="4712948" y="1824456"/>
                  <a:pt x="4714015" y="1823176"/>
                  <a:pt x="4714655" y="1822180"/>
                </a:cubicBezTo>
                <a:cubicBezTo>
                  <a:pt x="4713375" y="1819904"/>
                  <a:pt x="4719351" y="1819335"/>
                  <a:pt x="4718070" y="1817058"/>
                </a:cubicBezTo>
                <a:cubicBezTo>
                  <a:pt x="4724473" y="1815351"/>
                  <a:pt x="4723193" y="1807241"/>
                  <a:pt x="4732369" y="1802974"/>
                </a:cubicBezTo>
                <a:close/>
                <a:moveTo>
                  <a:pt x="5591597" y="1802404"/>
                </a:moveTo>
                <a:cubicBezTo>
                  <a:pt x="5595653" y="1803969"/>
                  <a:pt x="5600134" y="1810514"/>
                  <a:pt x="5596933" y="1814070"/>
                </a:cubicBezTo>
                <a:cubicBezTo>
                  <a:pt x="5593518" y="1816347"/>
                  <a:pt x="5581567" y="1808522"/>
                  <a:pt x="5588396" y="1802689"/>
                </a:cubicBezTo>
                <a:cubicBezTo>
                  <a:pt x="5589037" y="1801835"/>
                  <a:pt x="5590317" y="1801835"/>
                  <a:pt x="5591597" y="1802404"/>
                </a:cubicBezTo>
                <a:close/>
                <a:moveTo>
                  <a:pt x="5448179" y="1802262"/>
                </a:moveTo>
                <a:cubicBezTo>
                  <a:pt x="5452234" y="1810087"/>
                  <a:pt x="5466747" y="1829151"/>
                  <a:pt x="5455222" y="1834984"/>
                </a:cubicBezTo>
                <a:cubicBezTo>
                  <a:pt x="5452234" y="1827728"/>
                  <a:pt x="5439429" y="1805819"/>
                  <a:pt x="5448179" y="1802262"/>
                </a:cubicBezTo>
                <a:close/>
                <a:moveTo>
                  <a:pt x="1428937" y="1802241"/>
                </a:moveTo>
                <a:cubicBezTo>
                  <a:pt x="1430279" y="1801428"/>
                  <a:pt x="1431699" y="1801079"/>
                  <a:pt x="1433300" y="1802396"/>
                </a:cubicBezTo>
                <a:cubicBezTo>
                  <a:pt x="1428653" y="1811380"/>
                  <a:pt x="1437843" y="1819124"/>
                  <a:pt x="1435262" y="1826095"/>
                </a:cubicBezTo>
                <a:lnTo>
                  <a:pt x="1433403" y="1829038"/>
                </a:lnTo>
                <a:lnTo>
                  <a:pt x="1434952" y="1830432"/>
                </a:lnTo>
                <a:cubicBezTo>
                  <a:pt x="1436088" y="1830897"/>
                  <a:pt x="1437224" y="1831516"/>
                  <a:pt x="1437843" y="1832291"/>
                </a:cubicBezTo>
                <a:cubicBezTo>
                  <a:pt x="1438566" y="1832910"/>
                  <a:pt x="1438876" y="1833840"/>
                  <a:pt x="1438359" y="1834769"/>
                </a:cubicBezTo>
                <a:cubicBezTo>
                  <a:pt x="1435674" y="1834614"/>
                  <a:pt x="1433713" y="1834304"/>
                  <a:pt x="1430718" y="1833220"/>
                </a:cubicBezTo>
                <a:cubicBezTo>
                  <a:pt x="1430718" y="1833220"/>
                  <a:pt x="1426278" y="1830742"/>
                  <a:pt x="1427105" y="1827954"/>
                </a:cubicBezTo>
                <a:cubicBezTo>
                  <a:pt x="1426898" y="1827644"/>
                  <a:pt x="1427621" y="1827179"/>
                  <a:pt x="1428550" y="1826869"/>
                </a:cubicBezTo>
                <a:cubicBezTo>
                  <a:pt x="1429479" y="1826714"/>
                  <a:pt x="1430615" y="1826714"/>
                  <a:pt x="1431132" y="1826869"/>
                </a:cubicBezTo>
                <a:lnTo>
                  <a:pt x="1433197" y="1828883"/>
                </a:lnTo>
                <a:lnTo>
                  <a:pt x="1426898" y="1818815"/>
                </a:lnTo>
                <a:cubicBezTo>
                  <a:pt x="1425969" y="1816956"/>
                  <a:pt x="1425246" y="1814942"/>
                  <a:pt x="1424936" y="1812619"/>
                </a:cubicBezTo>
                <a:cubicBezTo>
                  <a:pt x="1424523" y="1810295"/>
                  <a:pt x="1424523" y="1807817"/>
                  <a:pt x="1425039" y="1804874"/>
                </a:cubicBezTo>
                <a:cubicBezTo>
                  <a:pt x="1426330" y="1804332"/>
                  <a:pt x="1427595" y="1803054"/>
                  <a:pt x="1428937" y="1802241"/>
                </a:cubicBezTo>
                <a:close/>
                <a:moveTo>
                  <a:pt x="6080755" y="1802120"/>
                </a:moveTo>
                <a:cubicBezTo>
                  <a:pt x="6080755" y="1802120"/>
                  <a:pt x="6081396" y="1802689"/>
                  <a:pt x="6082036" y="1803543"/>
                </a:cubicBezTo>
                <a:cubicBezTo>
                  <a:pt x="6082463" y="1804396"/>
                  <a:pt x="6083103" y="1805392"/>
                  <a:pt x="6082890" y="1806246"/>
                </a:cubicBezTo>
                <a:cubicBezTo>
                  <a:pt x="6082890" y="1808949"/>
                  <a:pt x="6078194" y="1807669"/>
                  <a:pt x="6077127" y="1808380"/>
                </a:cubicBezTo>
                <a:cubicBezTo>
                  <a:pt x="6075634" y="1807953"/>
                  <a:pt x="6074139" y="1807669"/>
                  <a:pt x="6074566" y="1805961"/>
                </a:cubicBezTo>
                <a:cubicBezTo>
                  <a:pt x="6074993" y="1804254"/>
                  <a:pt x="6074566" y="1803258"/>
                  <a:pt x="6077127" y="1802974"/>
                </a:cubicBezTo>
                <a:cubicBezTo>
                  <a:pt x="6078194" y="1802404"/>
                  <a:pt x="6079689" y="1802831"/>
                  <a:pt x="6080755" y="1802120"/>
                </a:cubicBezTo>
                <a:close/>
                <a:moveTo>
                  <a:pt x="5084726" y="1802120"/>
                </a:moveTo>
                <a:cubicBezTo>
                  <a:pt x="5085793" y="1803401"/>
                  <a:pt x="5086646" y="1804681"/>
                  <a:pt x="5087927" y="1803685"/>
                </a:cubicBezTo>
                <a:cubicBezTo>
                  <a:pt x="5089634" y="1805677"/>
                  <a:pt x="5090914" y="1807811"/>
                  <a:pt x="5091768" y="1810371"/>
                </a:cubicBezTo>
                <a:cubicBezTo>
                  <a:pt x="5098171" y="1827301"/>
                  <a:pt x="5086219" y="1853052"/>
                  <a:pt x="5067865" y="1855755"/>
                </a:cubicBezTo>
                <a:cubicBezTo>
                  <a:pt x="5061676" y="1849211"/>
                  <a:pt x="5059329" y="1841244"/>
                  <a:pt x="5060182" y="1833277"/>
                </a:cubicBezTo>
                <a:cubicBezTo>
                  <a:pt x="5061463" y="1820046"/>
                  <a:pt x="5071067" y="1807099"/>
                  <a:pt x="5084726" y="1802120"/>
                </a:cubicBezTo>
                <a:close/>
                <a:moveTo>
                  <a:pt x="1173404" y="1802086"/>
                </a:moveTo>
                <a:cubicBezTo>
                  <a:pt x="1173094" y="1803170"/>
                  <a:pt x="1173094" y="1803170"/>
                  <a:pt x="1173404" y="1804100"/>
                </a:cubicBezTo>
                <a:cubicBezTo>
                  <a:pt x="1173404" y="1804100"/>
                  <a:pt x="1172371" y="1803325"/>
                  <a:pt x="1172371" y="1803325"/>
                </a:cubicBezTo>
                <a:cubicBezTo>
                  <a:pt x="1172681" y="1802241"/>
                  <a:pt x="1171958" y="1802551"/>
                  <a:pt x="1173404" y="1802086"/>
                </a:cubicBezTo>
                <a:close/>
                <a:moveTo>
                  <a:pt x="1455397" y="1801621"/>
                </a:moveTo>
                <a:cubicBezTo>
                  <a:pt x="1458288" y="1803790"/>
                  <a:pt x="1459320" y="1805803"/>
                  <a:pt x="1460043" y="1807662"/>
                </a:cubicBezTo>
                <a:lnTo>
                  <a:pt x="1460456" y="1808746"/>
                </a:lnTo>
                <a:lnTo>
                  <a:pt x="1468510" y="1811690"/>
                </a:lnTo>
                <a:cubicBezTo>
                  <a:pt x="1472331" y="1813238"/>
                  <a:pt x="1476461" y="1814942"/>
                  <a:pt x="1481107" y="1816026"/>
                </a:cubicBezTo>
                <a:cubicBezTo>
                  <a:pt x="1476977" y="1818350"/>
                  <a:pt x="1475222" y="1821913"/>
                  <a:pt x="1474189" y="1825785"/>
                </a:cubicBezTo>
                <a:lnTo>
                  <a:pt x="1473157" y="1829967"/>
                </a:lnTo>
                <a:lnTo>
                  <a:pt x="1473983" y="1830277"/>
                </a:lnTo>
                <a:cubicBezTo>
                  <a:pt x="1474189" y="1830432"/>
                  <a:pt x="1474189" y="1830432"/>
                  <a:pt x="1474086" y="1829967"/>
                </a:cubicBezTo>
                <a:cubicBezTo>
                  <a:pt x="1476255" y="1831206"/>
                  <a:pt x="1479249" y="1832136"/>
                  <a:pt x="1479042" y="1833995"/>
                </a:cubicBezTo>
                <a:cubicBezTo>
                  <a:pt x="1477906" y="1836937"/>
                  <a:pt x="1474602" y="1837402"/>
                  <a:pt x="1471092" y="1837092"/>
                </a:cubicBezTo>
                <a:lnTo>
                  <a:pt x="1470678" y="1836937"/>
                </a:lnTo>
                <a:lnTo>
                  <a:pt x="1468613" y="1839725"/>
                </a:lnTo>
                <a:cubicBezTo>
                  <a:pt x="1467684" y="1840500"/>
                  <a:pt x="1466548" y="1841274"/>
                  <a:pt x="1465206" y="1841739"/>
                </a:cubicBezTo>
                <a:lnTo>
                  <a:pt x="1460456" y="1842669"/>
                </a:lnTo>
                <a:lnTo>
                  <a:pt x="1459837" y="1844682"/>
                </a:lnTo>
                <a:cubicBezTo>
                  <a:pt x="1450543" y="1845921"/>
                  <a:pt x="1447446" y="1843598"/>
                  <a:pt x="1447549" y="1840346"/>
                </a:cubicBezTo>
                <a:lnTo>
                  <a:pt x="1447859" y="1839725"/>
                </a:lnTo>
                <a:lnTo>
                  <a:pt x="1443626" y="1836627"/>
                </a:lnTo>
                <a:cubicBezTo>
                  <a:pt x="1440115" y="1832910"/>
                  <a:pt x="1437740" y="1827954"/>
                  <a:pt x="1437224" y="1823307"/>
                </a:cubicBezTo>
                <a:cubicBezTo>
                  <a:pt x="1436707" y="1817885"/>
                  <a:pt x="1438669" y="1812774"/>
                  <a:pt x="1444039" y="1809676"/>
                </a:cubicBezTo>
                <a:lnTo>
                  <a:pt x="1446310" y="1808902"/>
                </a:lnTo>
                <a:lnTo>
                  <a:pt x="1447549" y="1806733"/>
                </a:lnTo>
                <a:cubicBezTo>
                  <a:pt x="1449718" y="1803790"/>
                  <a:pt x="1452608" y="1801621"/>
                  <a:pt x="1455397" y="1801621"/>
                </a:cubicBezTo>
                <a:close/>
                <a:moveTo>
                  <a:pt x="6114903" y="1801267"/>
                </a:moveTo>
                <a:cubicBezTo>
                  <a:pt x="6117037" y="1801124"/>
                  <a:pt x="6119385" y="1801409"/>
                  <a:pt x="6122373" y="1802547"/>
                </a:cubicBezTo>
                <a:cubicBezTo>
                  <a:pt x="6124506" y="1807953"/>
                  <a:pt x="6119598" y="1818054"/>
                  <a:pt x="6112342" y="1815351"/>
                </a:cubicBezTo>
                <a:cubicBezTo>
                  <a:pt x="6109994" y="1812648"/>
                  <a:pt x="6107647" y="1809945"/>
                  <a:pt x="6109140" y="1804112"/>
                </a:cubicBezTo>
                <a:cubicBezTo>
                  <a:pt x="6111061" y="1802547"/>
                  <a:pt x="6112982" y="1801551"/>
                  <a:pt x="6114903" y="1801267"/>
                </a:cubicBezTo>
                <a:close/>
                <a:moveTo>
                  <a:pt x="5934990" y="1799986"/>
                </a:moveTo>
                <a:cubicBezTo>
                  <a:pt x="5937337" y="1801267"/>
                  <a:pt x="5937551" y="1802547"/>
                  <a:pt x="5936271" y="1803685"/>
                </a:cubicBezTo>
                <a:cubicBezTo>
                  <a:pt x="5936271" y="1803685"/>
                  <a:pt x="5935203" y="1804823"/>
                  <a:pt x="5933923" y="1805961"/>
                </a:cubicBezTo>
                <a:cubicBezTo>
                  <a:pt x="5932856" y="1807099"/>
                  <a:pt x="5932856" y="1808238"/>
                  <a:pt x="5932856" y="1808238"/>
                </a:cubicBezTo>
                <a:cubicBezTo>
                  <a:pt x="5931788" y="1809376"/>
                  <a:pt x="5930721" y="1809376"/>
                  <a:pt x="5929441" y="1808096"/>
                </a:cubicBezTo>
                <a:cubicBezTo>
                  <a:pt x="5929441" y="1808096"/>
                  <a:pt x="5930508" y="1805819"/>
                  <a:pt x="5930508" y="1805819"/>
                </a:cubicBezTo>
                <a:cubicBezTo>
                  <a:pt x="5932642" y="1803543"/>
                  <a:pt x="5933923" y="1802262"/>
                  <a:pt x="5934990" y="1799986"/>
                </a:cubicBezTo>
                <a:close/>
                <a:moveTo>
                  <a:pt x="958941" y="1799917"/>
                </a:moveTo>
                <a:cubicBezTo>
                  <a:pt x="962142" y="1802860"/>
                  <a:pt x="962968" y="1805494"/>
                  <a:pt x="962761" y="1807972"/>
                </a:cubicBezTo>
                <a:lnTo>
                  <a:pt x="960283" y="1814478"/>
                </a:lnTo>
                <a:lnTo>
                  <a:pt x="962864" y="1817885"/>
                </a:lnTo>
                <a:cubicBezTo>
                  <a:pt x="960490" y="1818350"/>
                  <a:pt x="961419" y="1823616"/>
                  <a:pt x="957805" y="1824236"/>
                </a:cubicBezTo>
                <a:cubicBezTo>
                  <a:pt x="947376" y="1827179"/>
                  <a:pt x="945930" y="1824236"/>
                  <a:pt x="941904" y="1818815"/>
                </a:cubicBezTo>
                <a:cubicBezTo>
                  <a:pt x="942626" y="1819280"/>
                  <a:pt x="942317" y="1818195"/>
                  <a:pt x="942317" y="1818195"/>
                </a:cubicBezTo>
                <a:cubicBezTo>
                  <a:pt x="941697" y="1815872"/>
                  <a:pt x="938290" y="1819435"/>
                  <a:pt x="936844" y="1816491"/>
                </a:cubicBezTo>
                <a:cubicBezTo>
                  <a:pt x="936431" y="1815407"/>
                  <a:pt x="936328" y="1814168"/>
                  <a:pt x="936534" y="1813084"/>
                </a:cubicBezTo>
                <a:cubicBezTo>
                  <a:pt x="937154" y="1809831"/>
                  <a:pt x="940148" y="1807352"/>
                  <a:pt x="942007" y="1805803"/>
                </a:cubicBezTo>
                <a:lnTo>
                  <a:pt x="942420" y="1805339"/>
                </a:lnTo>
                <a:lnTo>
                  <a:pt x="942936" y="1804409"/>
                </a:lnTo>
                <a:lnTo>
                  <a:pt x="942626" y="1804100"/>
                </a:lnTo>
                <a:lnTo>
                  <a:pt x="942936" y="1804100"/>
                </a:lnTo>
                <a:lnTo>
                  <a:pt x="943762" y="1802241"/>
                </a:lnTo>
                <a:lnTo>
                  <a:pt x="945208" y="1802860"/>
                </a:lnTo>
                <a:lnTo>
                  <a:pt x="947789" y="1802086"/>
                </a:lnTo>
                <a:cubicBezTo>
                  <a:pt x="948615" y="1801931"/>
                  <a:pt x="949234" y="1802396"/>
                  <a:pt x="949544" y="1803480"/>
                </a:cubicBezTo>
                <a:cubicBezTo>
                  <a:pt x="950577" y="1805184"/>
                  <a:pt x="948925" y="1806113"/>
                  <a:pt x="949648" y="1808437"/>
                </a:cubicBezTo>
                <a:cubicBezTo>
                  <a:pt x="950474" y="1810450"/>
                  <a:pt x="952952" y="1810760"/>
                  <a:pt x="955636" y="1811690"/>
                </a:cubicBezTo>
                <a:lnTo>
                  <a:pt x="958631" y="1813084"/>
                </a:lnTo>
                <a:lnTo>
                  <a:pt x="957805" y="1812154"/>
                </a:lnTo>
                <a:cubicBezTo>
                  <a:pt x="955636" y="1808591"/>
                  <a:pt x="954707" y="1802860"/>
                  <a:pt x="958941" y="1799917"/>
                </a:cubicBezTo>
                <a:close/>
                <a:moveTo>
                  <a:pt x="1561028" y="1799763"/>
                </a:moveTo>
                <a:cubicBezTo>
                  <a:pt x="1560925" y="1805803"/>
                  <a:pt x="1554419" y="1815717"/>
                  <a:pt x="1547088" y="1812154"/>
                </a:cubicBezTo>
                <a:cubicBezTo>
                  <a:pt x="1551425" y="1808127"/>
                  <a:pt x="1555452" y="1802551"/>
                  <a:pt x="1561028" y="1799763"/>
                </a:cubicBezTo>
                <a:close/>
                <a:moveTo>
                  <a:pt x="1036693" y="1799608"/>
                </a:moveTo>
                <a:cubicBezTo>
                  <a:pt x="1038861" y="1805803"/>
                  <a:pt x="1038035" y="1811690"/>
                  <a:pt x="1035144" y="1816801"/>
                </a:cubicBezTo>
                <a:cubicBezTo>
                  <a:pt x="1030394" y="1825166"/>
                  <a:pt x="1020275" y="1830897"/>
                  <a:pt x="1009743" y="1830122"/>
                </a:cubicBezTo>
                <a:cubicBezTo>
                  <a:pt x="1009536" y="1829038"/>
                  <a:pt x="1009226" y="1827954"/>
                  <a:pt x="1008091" y="1828263"/>
                </a:cubicBezTo>
                <a:cubicBezTo>
                  <a:pt x="1007574" y="1826404"/>
                  <a:pt x="1007368" y="1824546"/>
                  <a:pt x="1007471" y="1822687"/>
                </a:cubicBezTo>
                <a:cubicBezTo>
                  <a:pt x="1008297" y="1809521"/>
                  <a:pt x="1023579" y="1795890"/>
                  <a:pt x="1036693" y="1799608"/>
                </a:cubicBezTo>
                <a:close/>
                <a:moveTo>
                  <a:pt x="722794" y="1799608"/>
                </a:moveTo>
                <a:cubicBezTo>
                  <a:pt x="723207" y="1799608"/>
                  <a:pt x="723723" y="1799763"/>
                  <a:pt x="724136" y="1800227"/>
                </a:cubicBezTo>
                <a:cubicBezTo>
                  <a:pt x="724136" y="1800227"/>
                  <a:pt x="724962" y="1801157"/>
                  <a:pt x="725891" y="1802241"/>
                </a:cubicBezTo>
                <a:cubicBezTo>
                  <a:pt x="726718" y="1803170"/>
                  <a:pt x="727543" y="1803325"/>
                  <a:pt x="727543" y="1803325"/>
                </a:cubicBezTo>
                <a:cubicBezTo>
                  <a:pt x="728369" y="1804255"/>
                  <a:pt x="728369" y="1805029"/>
                  <a:pt x="727543" y="1805803"/>
                </a:cubicBezTo>
                <a:cubicBezTo>
                  <a:pt x="727543" y="1805803"/>
                  <a:pt x="725788" y="1804874"/>
                  <a:pt x="725788" y="1804874"/>
                </a:cubicBezTo>
                <a:cubicBezTo>
                  <a:pt x="724033" y="1802860"/>
                  <a:pt x="723207" y="1801931"/>
                  <a:pt x="721452" y="1800847"/>
                </a:cubicBezTo>
                <a:cubicBezTo>
                  <a:pt x="721864" y="1800072"/>
                  <a:pt x="722381" y="1799763"/>
                  <a:pt x="722794" y="1799608"/>
                </a:cubicBezTo>
                <a:close/>
                <a:moveTo>
                  <a:pt x="1760209" y="1799143"/>
                </a:moveTo>
                <a:cubicBezTo>
                  <a:pt x="1760829" y="1800692"/>
                  <a:pt x="1762274" y="1802086"/>
                  <a:pt x="1762791" y="1803790"/>
                </a:cubicBezTo>
                <a:cubicBezTo>
                  <a:pt x="1760312" y="1811535"/>
                  <a:pt x="1757731" y="1809521"/>
                  <a:pt x="1753601" y="1807972"/>
                </a:cubicBezTo>
                <a:cubicBezTo>
                  <a:pt x="1753704" y="1807043"/>
                  <a:pt x="1753291" y="1806113"/>
                  <a:pt x="1753084" y="1805029"/>
                </a:cubicBezTo>
                <a:cubicBezTo>
                  <a:pt x="1752774" y="1803945"/>
                  <a:pt x="1752671" y="1802860"/>
                  <a:pt x="1753188" y="1801776"/>
                </a:cubicBezTo>
                <a:cubicBezTo>
                  <a:pt x="1753188" y="1801776"/>
                  <a:pt x="1753704" y="1800847"/>
                  <a:pt x="1755356" y="1800382"/>
                </a:cubicBezTo>
                <a:cubicBezTo>
                  <a:pt x="1755769" y="1799917"/>
                  <a:pt x="1756389" y="1799608"/>
                  <a:pt x="1756905" y="1799453"/>
                </a:cubicBezTo>
                <a:cubicBezTo>
                  <a:pt x="1758660" y="1798988"/>
                  <a:pt x="1760519" y="1799917"/>
                  <a:pt x="1760519" y="1799917"/>
                </a:cubicBezTo>
                <a:cubicBezTo>
                  <a:pt x="1760519" y="1799917"/>
                  <a:pt x="1760519" y="1799917"/>
                  <a:pt x="1760209" y="1799143"/>
                </a:cubicBezTo>
                <a:close/>
                <a:moveTo>
                  <a:pt x="883770" y="1798988"/>
                </a:moveTo>
                <a:cubicBezTo>
                  <a:pt x="885938" y="1804255"/>
                  <a:pt x="889862" y="1809831"/>
                  <a:pt x="890275" y="1815717"/>
                </a:cubicBezTo>
                <a:cubicBezTo>
                  <a:pt x="885835" y="1813858"/>
                  <a:pt x="880672" y="1807972"/>
                  <a:pt x="881189" y="1803170"/>
                </a:cubicBezTo>
                <a:cubicBezTo>
                  <a:pt x="881396" y="1801621"/>
                  <a:pt x="882118" y="1800072"/>
                  <a:pt x="883770" y="1798988"/>
                </a:cubicBezTo>
                <a:close/>
                <a:moveTo>
                  <a:pt x="1220553" y="1798601"/>
                </a:moveTo>
                <a:cubicBezTo>
                  <a:pt x="1225032" y="1797207"/>
                  <a:pt x="1229369" y="1797904"/>
                  <a:pt x="1230401" y="1801931"/>
                </a:cubicBezTo>
                <a:cubicBezTo>
                  <a:pt x="1230711" y="1803015"/>
                  <a:pt x="1230711" y="1804409"/>
                  <a:pt x="1230401" y="1806113"/>
                </a:cubicBezTo>
                <a:cubicBezTo>
                  <a:pt x="1224722" y="1808902"/>
                  <a:pt x="1215532" y="1815407"/>
                  <a:pt x="1209854" y="1807817"/>
                </a:cubicBezTo>
                <a:cubicBezTo>
                  <a:pt x="1211454" y="1803480"/>
                  <a:pt x="1216075" y="1799995"/>
                  <a:pt x="1220553" y="1798601"/>
                </a:cubicBezTo>
                <a:close/>
                <a:moveTo>
                  <a:pt x="1171752" y="1798059"/>
                </a:moveTo>
                <a:cubicBezTo>
                  <a:pt x="1172062" y="1798833"/>
                  <a:pt x="1172474" y="1799763"/>
                  <a:pt x="1171752" y="1799917"/>
                </a:cubicBezTo>
                <a:cubicBezTo>
                  <a:pt x="1171339" y="1800072"/>
                  <a:pt x="1171132" y="1799917"/>
                  <a:pt x="1170926" y="1799608"/>
                </a:cubicBezTo>
                <a:cubicBezTo>
                  <a:pt x="1170823" y="1799298"/>
                  <a:pt x="1170823" y="1798833"/>
                  <a:pt x="1171029" y="1798213"/>
                </a:cubicBezTo>
                <a:cubicBezTo>
                  <a:pt x="1171029" y="1798213"/>
                  <a:pt x="1171752" y="1798059"/>
                  <a:pt x="1171752" y="1798059"/>
                </a:cubicBezTo>
                <a:close/>
                <a:moveTo>
                  <a:pt x="5970631" y="1797425"/>
                </a:moveTo>
                <a:cubicBezTo>
                  <a:pt x="5970844" y="1797425"/>
                  <a:pt x="5971058" y="1797710"/>
                  <a:pt x="5971698" y="1798421"/>
                </a:cubicBezTo>
                <a:cubicBezTo>
                  <a:pt x="5970844" y="1799702"/>
                  <a:pt x="5970631" y="1798421"/>
                  <a:pt x="5969564" y="1798421"/>
                </a:cubicBezTo>
                <a:cubicBezTo>
                  <a:pt x="5969991" y="1797852"/>
                  <a:pt x="5970204" y="1797425"/>
                  <a:pt x="5970631" y="1797425"/>
                </a:cubicBezTo>
                <a:close/>
                <a:moveTo>
                  <a:pt x="4691393" y="1797140"/>
                </a:moveTo>
                <a:cubicBezTo>
                  <a:pt x="4691820" y="1796998"/>
                  <a:pt x="4692460" y="1796998"/>
                  <a:pt x="4693100" y="1797567"/>
                </a:cubicBezTo>
                <a:cubicBezTo>
                  <a:pt x="4693100" y="1797567"/>
                  <a:pt x="4692887" y="1797567"/>
                  <a:pt x="4693100" y="1798705"/>
                </a:cubicBezTo>
                <a:cubicBezTo>
                  <a:pt x="4693100" y="1798705"/>
                  <a:pt x="4692033" y="1798705"/>
                  <a:pt x="4690966" y="1797567"/>
                </a:cubicBezTo>
                <a:cubicBezTo>
                  <a:pt x="4690966" y="1797567"/>
                  <a:pt x="4691180" y="1797283"/>
                  <a:pt x="4691393" y="1797140"/>
                </a:cubicBezTo>
                <a:close/>
                <a:moveTo>
                  <a:pt x="4825207" y="1796856"/>
                </a:moveTo>
                <a:cubicBezTo>
                  <a:pt x="4828408" y="1797710"/>
                  <a:pt x="4829903" y="1797994"/>
                  <a:pt x="4830969" y="1800128"/>
                </a:cubicBezTo>
                <a:cubicBezTo>
                  <a:pt x="4832463" y="1800412"/>
                  <a:pt x="4833957" y="1800840"/>
                  <a:pt x="4835024" y="1801551"/>
                </a:cubicBezTo>
                <a:cubicBezTo>
                  <a:pt x="4836091" y="1802262"/>
                  <a:pt x="4836518" y="1803258"/>
                  <a:pt x="4836091" y="1804966"/>
                </a:cubicBezTo>
                <a:cubicBezTo>
                  <a:pt x="4832463" y="1805819"/>
                  <a:pt x="4829903" y="1806104"/>
                  <a:pt x="4825847" y="1805961"/>
                </a:cubicBezTo>
                <a:cubicBezTo>
                  <a:pt x="4825847" y="1805961"/>
                  <a:pt x="4819658" y="1804396"/>
                  <a:pt x="4820298" y="1800128"/>
                </a:cubicBezTo>
                <a:cubicBezTo>
                  <a:pt x="4819658" y="1799132"/>
                  <a:pt x="4823713" y="1796430"/>
                  <a:pt x="4825207" y="1796856"/>
                </a:cubicBezTo>
                <a:close/>
                <a:moveTo>
                  <a:pt x="1228543" y="1796045"/>
                </a:moveTo>
                <a:cubicBezTo>
                  <a:pt x="1228853" y="1795890"/>
                  <a:pt x="1229265" y="1795890"/>
                  <a:pt x="1229575" y="1796355"/>
                </a:cubicBezTo>
                <a:cubicBezTo>
                  <a:pt x="1229575" y="1796355"/>
                  <a:pt x="1229575" y="1796355"/>
                  <a:pt x="1229472" y="1797129"/>
                </a:cubicBezTo>
                <a:cubicBezTo>
                  <a:pt x="1229472" y="1797129"/>
                  <a:pt x="1228646" y="1796974"/>
                  <a:pt x="1228027" y="1796200"/>
                </a:cubicBezTo>
                <a:cubicBezTo>
                  <a:pt x="1228027" y="1796200"/>
                  <a:pt x="1228233" y="1796045"/>
                  <a:pt x="1228543" y="1796045"/>
                </a:cubicBezTo>
                <a:close/>
                <a:moveTo>
                  <a:pt x="790220" y="1796045"/>
                </a:moveTo>
                <a:cubicBezTo>
                  <a:pt x="791150" y="1795270"/>
                  <a:pt x="792905" y="1795425"/>
                  <a:pt x="795486" y="1796510"/>
                </a:cubicBezTo>
                <a:cubicBezTo>
                  <a:pt x="796312" y="1798368"/>
                  <a:pt x="793627" y="1800537"/>
                  <a:pt x="792802" y="1802086"/>
                </a:cubicBezTo>
                <a:cubicBezTo>
                  <a:pt x="791872" y="1801157"/>
                  <a:pt x="791046" y="1800227"/>
                  <a:pt x="791046" y="1801002"/>
                </a:cubicBezTo>
                <a:cubicBezTo>
                  <a:pt x="790117" y="1800227"/>
                  <a:pt x="789704" y="1799298"/>
                  <a:pt x="789704" y="1798523"/>
                </a:cubicBezTo>
                <a:cubicBezTo>
                  <a:pt x="789600" y="1797594"/>
                  <a:pt x="789807" y="1796819"/>
                  <a:pt x="790220" y="1796045"/>
                </a:cubicBezTo>
                <a:close/>
                <a:moveTo>
                  <a:pt x="1044127" y="1795580"/>
                </a:moveTo>
                <a:cubicBezTo>
                  <a:pt x="1052078" y="1796200"/>
                  <a:pt x="1056415" y="1806888"/>
                  <a:pt x="1055898" y="1812619"/>
                </a:cubicBezTo>
                <a:cubicBezTo>
                  <a:pt x="1053007" y="1815252"/>
                  <a:pt x="1050219" y="1815872"/>
                  <a:pt x="1047741" y="1815252"/>
                </a:cubicBezTo>
                <a:cubicBezTo>
                  <a:pt x="1044024" y="1814478"/>
                  <a:pt x="1041236" y="1810760"/>
                  <a:pt x="1040306" y="1806733"/>
                </a:cubicBezTo>
                <a:cubicBezTo>
                  <a:pt x="1039274" y="1802551"/>
                  <a:pt x="1040203" y="1798059"/>
                  <a:pt x="1044127" y="1795580"/>
                </a:cubicBezTo>
                <a:close/>
                <a:moveTo>
                  <a:pt x="965859" y="1795425"/>
                </a:moveTo>
                <a:cubicBezTo>
                  <a:pt x="967098" y="1796045"/>
                  <a:pt x="968337" y="1796974"/>
                  <a:pt x="969266" y="1798059"/>
                </a:cubicBezTo>
                <a:cubicBezTo>
                  <a:pt x="968544" y="1797594"/>
                  <a:pt x="968544" y="1797594"/>
                  <a:pt x="968544" y="1797594"/>
                </a:cubicBezTo>
                <a:cubicBezTo>
                  <a:pt x="967304" y="1797749"/>
                  <a:pt x="968027" y="1798368"/>
                  <a:pt x="967614" y="1798988"/>
                </a:cubicBezTo>
                <a:cubicBezTo>
                  <a:pt x="967614" y="1798988"/>
                  <a:pt x="968027" y="1798213"/>
                  <a:pt x="968337" y="1799453"/>
                </a:cubicBezTo>
                <a:cubicBezTo>
                  <a:pt x="967614" y="1798988"/>
                  <a:pt x="967201" y="1799608"/>
                  <a:pt x="966788" y="1800382"/>
                </a:cubicBezTo>
                <a:cubicBezTo>
                  <a:pt x="964310" y="1800692"/>
                  <a:pt x="961109" y="1800692"/>
                  <a:pt x="960076" y="1798988"/>
                </a:cubicBezTo>
                <a:cubicBezTo>
                  <a:pt x="959457" y="1796665"/>
                  <a:pt x="961006" y="1795735"/>
                  <a:pt x="962245" y="1795580"/>
                </a:cubicBezTo>
                <a:cubicBezTo>
                  <a:pt x="963277" y="1794806"/>
                  <a:pt x="964620" y="1794961"/>
                  <a:pt x="965859" y="1795425"/>
                </a:cubicBezTo>
                <a:close/>
                <a:moveTo>
                  <a:pt x="5574951" y="1795007"/>
                </a:moveTo>
                <a:cubicBezTo>
                  <a:pt x="5578792" y="1798705"/>
                  <a:pt x="5577725" y="1801124"/>
                  <a:pt x="5574311" y="1804681"/>
                </a:cubicBezTo>
                <a:cubicBezTo>
                  <a:pt x="5568335" y="1799559"/>
                  <a:pt x="5570469" y="1798421"/>
                  <a:pt x="5574951" y="1795007"/>
                </a:cubicBezTo>
                <a:close/>
                <a:moveTo>
                  <a:pt x="6380184" y="1794865"/>
                </a:moveTo>
                <a:cubicBezTo>
                  <a:pt x="6380611" y="1799275"/>
                  <a:pt x="6385732" y="1798421"/>
                  <a:pt x="6383812" y="1803258"/>
                </a:cubicBezTo>
                <a:cubicBezTo>
                  <a:pt x="6381891" y="1804681"/>
                  <a:pt x="6379544" y="1805107"/>
                  <a:pt x="6375488" y="1803685"/>
                </a:cubicBezTo>
                <a:cubicBezTo>
                  <a:pt x="6373354" y="1797283"/>
                  <a:pt x="6376769" y="1796145"/>
                  <a:pt x="6380184" y="1794865"/>
                </a:cubicBezTo>
                <a:close/>
                <a:moveTo>
                  <a:pt x="4932984" y="1794580"/>
                </a:moveTo>
                <a:cubicBezTo>
                  <a:pt x="4935118" y="1794438"/>
                  <a:pt x="4937466" y="1794438"/>
                  <a:pt x="4939600" y="1794722"/>
                </a:cubicBezTo>
                <a:cubicBezTo>
                  <a:pt x="4942801" y="1794865"/>
                  <a:pt x="4945576" y="1795433"/>
                  <a:pt x="4948350" y="1796002"/>
                </a:cubicBezTo>
                <a:cubicBezTo>
                  <a:pt x="4953899" y="1796856"/>
                  <a:pt x="4959662" y="1798136"/>
                  <a:pt x="4962223" y="1801267"/>
                </a:cubicBezTo>
                <a:cubicBezTo>
                  <a:pt x="4963076" y="1802404"/>
                  <a:pt x="4963716" y="1803685"/>
                  <a:pt x="4963503" y="1805107"/>
                </a:cubicBezTo>
                <a:cubicBezTo>
                  <a:pt x="4963930" y="1813786"/>
                  <a:pt x="4954967" y="1819904"/>
                  <a:pt x="4944296" y="1817912"/>
                </a:cubicBezTo>
                <a:lnTo>
                  <a:pt x="4934905" y="1815351"/>
                </a:lnTo>
                <a:lnTo>
                  <a:pt x="4937039" y="1819477"/>
                </a:lnTo>
                <a:cubicBezTo>
                  <a:pt x="4941308" y="1834415"/>
                  <a:pt x="4926582" y="1850064"/>
                  <a:pt x="4911002" y="1848215"/>
                </a:cubicBezTo>
                <a:cubicBezTo>
                  <a:pt x="4907587" y="1847788"/>
                  <a:pt x="4903959" y="1846508"/>
                  <a:pt x="4900757" y="1844231"/>
                </a:cubicBezTo>
                <a:lnTo>
                  <a:pt x="4894355" y="1837260"/>
                </a:lnTo>
                <a:lnTo>
                  <a:pt x="4893074" y="1838683"/>
                </a:lnTo>
                <a:cubicBezTo>
                  <a:pt x="4887526" y="1837545"/>
                  <a:pt x="4886245" y="1834273"/>
                  <a:pt x="4882830" y="1831996"/>
                </a:cubicBezTo>
                <a:cubicBezTo>
                  <a:pt x="4884751" y="1822891"/>
                  <a:pt x="4889660" y="1820472"/>
                  <a:pt x="4893501" y="1821753"/>
                </a:cubicBezTo>
                <a:cubicBezTo>
                  <a:pt x="4894782" y="1822180"/>
                  <a:pt x="4895849" y="1823034"/>
                  <a:pt x="4896916" y="1824029"/>
                </a:cubicBezTo>
                <a:lnTo>
                  <a:pt x="4897983" y="1827728"/>
                </a:lnTo>
                <a:lnTo>
                  <a:pt x="4901184" y="1825025"/>
                </a:lnTo>
                <a:lnTo>
                  <a:pt x="4903319" y="1822038"/>
                </a:lnTo>
                <a:lnTo>
                  <a:pt x="4900757" y="1821469"/>
                </a:lnTo>
                <a:cubicBezTo>
                  <a:pt x="4900757" y="1820330"/>
                  <a:pt x="4900544" y="1820330"/>
                  <a:pt x="4901825" y="1820188"/>
                </a:cubicBezTo>
                <a:cubicBezTo>
                  <a:pt x="4901612" y="1820046"/>
                  <a:pt x="4901612" y="1820046"/>
                  <a:pt x="4901398" y="1820046"/>
                </a:cubicBezTo>
                <a:cubicBezTo>
                  <a:pt x="4902252" y="1819335"/>
                  <a:pt x="4903105" y="1818765"/>
                  <a:pt x="4903959" y="1818765"/>
                </a:cubicBezTo>
                <a:lnTo>
                  <a:pt x="4905453" y="1819335"/>
                </a:lnTo>
                <a:lnTo>
                  <a:pt x="4907800" y="1816489"/>
                </a:lnTo>
                <a:cubicBezTo>
                  <a:pt x="4909935" y="1813928"/>
                  <a:pt x="4912069" y="1811510"/>
                  <a:pt x="4914843" y="1809660"/>
                </a:cubicBezTo>
                <a:lnTo>
                  <a:pt x="4921246" y="1806957"/>
                </a:lnTo>
                <a:lnTo>
                  <a:pt x="4921032" y="1806672"/>
                </a:lnTo>
                <a:cubicBezTo>
                  <a:pt x="4921246" y="1798136"/>
                  <a:pt x="4926582" y="1795149"/>
                  <a:pt x="4932984" y="1794580"/>
                </a:cubicBezTo>
                <a:close/>
                <a:moveTo>
                  <a:pt x="1681218" y="1794496"/>
                </a:moveTo>
                <a:cubicBezTo>
                  <a:pt x="1682044" y="1795580"/>
                  <a:pt x="1683696" y="1796665"/>
                  <a:pt x="1684419" y="1798368"/>
                </a:cubicBezTo>
                <a:cubicBezTo>
                  <a:pt x="1683180" y="1802396"/>
                  <a:pt x="1680392" y="1803480"/>
                  <a:pt x="1676778" y="1803015"/>
                </a:cubicBezTo>
                <a:cubicBezTo>
                  <a:pt x="1676159" y="1802241"/>
                  <a:pt x="1675745" y="1801467"/>
                  <a:pt x="1675539" y="1800692"/>
                </a:cubicBezTo>
                <a:cubicBezTo>
                  <a:pt x="1675436" y="1799917"/>
                  <a:pt x="1675436" y="1799143"/>
                  <a:pt x="1675539" y="1798368"/>
                </a:cubicBezTo>
                <a:cubicBezTo>
                  <a:pt x="1675849" y="1796974"/>
                  <a:pt x="1676881" y="1795735"/>
                  <a:pt x="1678120" y="1794961"/>
                </a:cubicBezTo>
                <a:cubicBezTo>
                  <a:pt x="1679050" y="1794496"/>
                  <a:pt x="1680082" y="1794341"/>
                  <a:pt x="1681218" y="1794496"/>
                </a:cubicBezTo>
                <a:close/>
                <a:moveTo>
                  <a:pt x="1293284" y="1794496"/>
                </a:moveTo>
                <a:cubicBezTo>
                  <a:pt x="1294420" y="1794806"/>
                  <a:pt x="1297311" y="1796200"/>
                  <a:pt x="1297208" y="1799143"/>
                </a:cubicBezTo>
                <a:cubicBezTo>
                  <a:pt x="1297001" y="1802086"/>
                  <a:pt x="1299067" y="1803945"/>
                  <a:pt x="1298964" y="1806888"/>
                </a:cubicBezTo>
                <a:cubicBezTo>
                  <a:pt x="1298964" y="1806888"/>
                  <a:pt x="1298860" y="1806888"/>
                  <a:pt x="1297725" y="1806423"/>
                </a:cubicBezTo>
                <a:cubicBezTo>
                  <a:pt x="1296898" y="1802086"/>
                  <a:pt x="1293181" y="1799298"/>
                  <a:pt x="1293284" y="1794496"/>
                </a:cubicBezTo>
                <a:close/>
                <a:moveTo>
                  <a:pt x="1192119" y="1793896"/>
                </a:moveTo>
                <a:cubicBezTo>
                  <a:pt x="1194649" y="1792521"/>
                  <a:pt x="1197773" y="1792560"/>
                  <a:pt x="1199941" y="1795580"/>
                </a:cubicBezTo>
                <a:cubicBezTo>
                  <a:pt x="1199838" y="1798988"/>
                  <a:pt x="1194365" y="1804255"/>
                  <a:pt x="1191680" y="1805184"/>
                </a:cubicBezTo>
                <a:cubicBezTo>
                  <a:pt x="1189099" y="1803945"/>
                  <a:pt x="1188066" y="1802396"/>
                  <a:pt x="1187860" y="1800692"/>
                </a:cubicBezTo>
                <a:cubicBezTo>
                  <a:pt x="1187653" y="1798059"/>
                  <a:pt x="1189589" y="1795270"/>
                  <a:pt x="1192119" y="1793896"/>
                </a:cubicBezTo>
                <a:close/>
                <a:moveTo>
                  <a:pt x="1409344" y="1793877"/>
                </a:moveTo>
                <a:cubicBezTo>
                  <a:pt x="1409344" y="1793877"/>
                  <a:pt x="1409344" y="1794651"/>
                  <a:pt x="1409344" y="1794651"/>
                </a:cubicBezTo>
                <a:cubicBezTo>
                  <a:pt x="1408415" y="1794806"/>
                  <a:pt x="1407486" y="1794961"/>
                  <a:pt x="1407486" y="1794186"/>
                </a:cubicBezTo>
                <a:cubicBezTo>
                  <a:pt x="1407382" y="1793412"/>
                  <a:pt x="1408312" y="1793257"/>
                  <a:pt x="1409344" y="1793877"/>
                </a:cubicBezTo>
                <a:close/>
                <a:moveTo>
                  <a:pt x="1403872" y="1793877"/>
                </a:moveTo>
                <a:cubicBezTo>
                  <a:pt x="1404904" y="1794496"/>
                  <a:pt x="1404801" y="1793722"/>
                  <a:pt x="1404904" y="1795270"/>
                </a:cubicBezTo>
                <a:cubicBezTo>
                  <a:pt x="1403975" y="1794651"/>
                  <a:pt x="1403975" y="1794651"/>
                  <a:pt x="1402942" y="1794806"/>
                </a:cubicBezTo>
                <a:cubicBezTo>
                  <a:pt x="1402942" y="1794806"/>
                  <a:pt x="1403872" y="1793877"/>
                  <a:pt x="1403872" y="1793877"/>
                </a:cubicBezTo>
                <a:close/>
                <a:moveTo>
                  <a:pt x="1098233" y="1793722"/>
                </a:moveTo>
                <a:cubicBezTo>
                  <a:pt x="1102364" y="1796819"/>
                  <a:pt x="1097614" y="1800847"/>
                  <a:pt x="1094929" y="1800537"/>
                </a:cubicBezTo>
                <a:cubicBezTo>
                  <a:pt x="1093070" y="1799298"/>
                  <a:pt x="1092658" y="1797904"/>
                  <a:pt x="1093070" y="1796819"/>
                </a:cubicBezTo>
                <a:cubicBezTo>
                  <a:pt x="1093381" y="1795735"/>
                  <a:pt x="1094620" y="1794651"/>
                  <a:pt x="1095859" y="1794186"/>
                </a:cubicBezTo>
                <a:cubicBezTo>
                  <a:pt x="1096685" y="1793877"/>
                  <a:pt x="1097510" y="1793567"/>
                  <a:pt x="1098233" y="1793722"/>
                </a:cubicBezTo>
                <a:close/>
                <a:moveTo>
                  <a:pt x="757488" y="1793567"/>
                </a:moveTo>
                <a:cubicBezTo>
                  <a:pt x="762134" y="1795580"/>
                  <a:pt x="763683" y="1798678"/>
                  <a:pt x="764096" y="1803170"/>
                </a:cubicBezTo>
                <a:cubicBezTo>
                  <a:pt x="762651" y="1803790"/>
                  <a:pt x="759140" y="1802241"/>
                  <a:pt x="756868" y="1801312"/>
                </a:cubicBezTo>
                <a:cubicBezTo>
                  <a:pt x="756249" y="1800227"/>
                  <a:pt x="756042" y="1798833"/>
                  <a:pt x="756146" y="1797594"/>
                </a:cubicBezTo>
                <a:cubicBezTo>
                  <a:pt x="756249" y="1796200"/>
                  <a:pt x="756765" y="1794806"/>
                  <a:pt x="757488" y="1793567"/>
                </a:cubicBezTo>
                <a:close/>
                <a:moveTo>
                  <a:pt x="5775352" y="1793441"/>
                </a:moveTo>
                <a:cubicBezTo>
                  <a:pt x="5777913" y="1793584"/>
                  <a:pt x="5780260" y="1794153"/>
                  <a:pt x="5782822" y="1795149"/>
                </a:cubicBezTo>
                <a:lnTo>
                  <a:pt x="5789224" y="1798990"/>
                </a:lnTo>
                <a:lnTo>
                  <a:pt x="5790078" y="1797425"/>
                </a:lnTo>
                <a:cubicBezTo>
                  <a:pt x="5792639" y="1794722"/>
                  <a:pt x="5796481" y="1795575"/>
                  <a:pt x="5801389" y="1798990"/>
                </a:cubicBezTo>
                <a:cubicBezTo>
                  <a:pt x="5800962" y="1801693"/>
                  <a:pt x="5801602" y="1803969"/>
                  <a:pt x="5801816" y="1807669"/>
                </a:cubicBezTo>
                <a:cubicBezTo>
                  <a:pt x="5800109" y="1808096"/>
                  <a:pt x="5797334" y="1808096"/>
                  <a:pt x="5794773" y="1806957"/>
                </a:cubicBezTo>
                <a:lnTo>
                  <a:pt x="5789224" y="1802547"/>
                </a:lnTo>
                <a:lnTo>
                  <a:pt x="5787943" y="1811936"/>
                </a:lnTo>
                <a:cubicBezTo>
                  <a:pt x="5786450" y="1815778"/>
                  <a:pt x="5784315" y="1818907"/>
                  <a:pt x="5781755" y="1821469"/>
                </a:cubicBezTo>
                <a:cubicBezTo>
                  <a:pt x="5772791" y="1830147"/>
                  <a:pt x="5758065" y="1831854"/>
                  <a:pt x="5745046" y="1824599"/>
                </a:cubicBezTo>
                <a:cubicBezTo>
                  <a:pt x="5745259" y="1822891"/>
                  <a:pt x="5745259" y="1821326"/>
                  <a:pt x="5743766" y="1821042"/>
                </a:cubicBezTo>
                <a:cubicBezTo>
                  <a:pt x="5743552" y="1804539"/>
                  <a:pt x="5759985" y="1792446"/>
                  <a:pt x="5775352" y="1793441"/>
                </a:cubicBezTo>
                <a:close/>
                <a:moveTo>
                  <a:pt x="3923508" y="1793441"/>
                </a:moveTo>
                <a:cubicBezTo>
                  <a:pt x="3928204" y="1793441"/>
                  <a:pt x="3931405" y="1795291"/>
                  <a:pt x="3935247" y="1801124"/>
                </a:cubicBezTo>
                <a:cubicBezTo>
                  <a:pt x="3934607" y="1806957"/>
                  <a:pt x="3925856" y="1812079"/>
                  <a:pt x="3920948" y="1804823"/>
                </a:cubicBezTo>
                <a:cubicBezTo>
                  <a:pt x="3920308" y="1801124"/>
                  <a:pt x="3919667" y="1797425"/>
                  <a:pt x="3923508" y="1793441"/>
                </a:cubicBezTo>
                <a:close/>
                <a:moveTo>
                  <a:pt x="1413474" y="1793412"/>
                </a:moveTo>
                <a:cubicBezTo>
                  <a:pt x="1414404" y="1794031"/>
                  <a:pt x="1414404" y="1794031"/>
                  <a:pt x="1414507" y="1795735"/>
                </a:cubicBezTo>
                <a:cubicBezTo>
                  <a:pt x="1411823" y="1795270"/>
                  <a:pt x="1411823" y="1795270"/>
                  <a:pt x="1409964" y="1793877"/>
                </a:cubicBezTo>
                <a:cubicBezTo>
                  <a:pt x="1410790" y="1793722"/>
                  <a:pt x="1412545" y="1792637"/>
                  <a:pt x="1413474" y="1793412"/>
                </a:cubicBezTo>
                <a:close/>
                <a:moveTo>
                  <a:pt x="3717772" y="1793157"/>
                </a:moveTo>
                <a:cubicBezTo>
                  <a:pt x="3720547" y="1792873"/>
                  <a:pt x="3723535" y="1793868"/>
                  <a:pt x="3727163" y="1796998"/>
                </a:cubicBezTo>
                <a:cubicBezTo>
                  <a:pt x="3723747" y="1805961"/>
                  <a:pt x="3701552" y="1836264"/>
                  <a:pt x="3692588" y="1817200"/>
                </a:cubicBezTo>
                <a:cubicBezTo>
                  <a:pt x="3704113" y="1807811"/>
                  <a:pt x="3709662" y="1794153"/>
                  <a:pt x="3717772" y="1793157"/>
                </a:cubicBezTo>
                <a:close/>
                <a:moveTo>
                  <a:pt x="1494428" y="1792947"/>
                </a:moveTo>
                <a:cubicBezTo>
                  <a:pt x="1499797" y="1796200"/>
                  <a:pt x="1489574" y="1802396"/>
                  <a:pt x="1489058" y="1797284"/>
                </a:cubicBezTo>
                <a:cubicBezTo>
                  <a:pt x="1490297" y="1795735"/>
                  <a:pt x="1492362" y="1794341"/>
                  <a:pt x="1494428" y="1792947"/>
                </a:cubicBezTo>
                <a:close/>
                <a:moveTo>
                  <a:pt x="1171649" y="1792792"/>
                </a:moveTo>
                <a:cubicBezTo>
                  <a:pt x="1171752" y="1794186"/>
                  <a:pt x="1171752" y="1794806"/>
                  <a:pt x="1171649" y="1795425"/>
                </a:cubicBezTo>
                <a:lnTo>
                  <a:pt x="1171545" y="1795735"/>
                </a:lnTo>
                <a:lnTo>
                  <a:pt x="1171958" y="1795735"/>
                </a:lnTo>
                <a:lnTo>
                  <a:pt x="1171132" y="1796974"/>
                </a:lnTo>
                <a:lnTo>
                  <a:pt x="1170823" y="1797594"/>
                </a:lnTo>
                <a:lnTo>
                  <a:pt x="1170719" y="1797439"/>
                </a:lnTo>
                <a:lnTo>
                  <a:pt x="1168861" y="1798833"/>
                </a:lnTo>
                <a:cubicBezTo>
                  <a:pt x="1168861" y="1798833"/>
                  <a:pt x="1168757" y="1799763"/>
                  <a:pt x="1168551" y="1800537"/>
                </a:cubicBezTo>
                <a:cubicBezTo>
                  <a:pt x="1166486" y="1802860"/>
                  <a:pt x="1165350" y="1804564"/>
                  <a:pt x="1162149" y="1803480"/>
                </a:cubicBezTo>
                <a:cubicBezTo>
                  <a:pt x="1162252" y="1802706"/>
                  <a:pt x="1164214" y="1801002"/>
                  <a:pt x="1165247" y="1800227"/>
                </a:cubicBezTo>
                <a:cubicBezTo>
                  <a:pt x="1165350" y="1799453"/>
                  <a:pt x="1166279" y="1798678"/>
                  <a:pt x="1167208" y="1798678"/>
                </a:cubicBezTo>
                <a:cubicBezTo>
                  <a:pt x="1167208" y="1798678"/>
                  <a:pt x="1168241" y="1797904"/>
                  <a:pt x="1168344" y="1797129"/>
                </a:cubicBezTo>
                <a:lnTo>
                  <a:pt x="1169893" y="1796200"/>
                </a:lnTo>
                <a:lnTo>
                  <a:pt x="1169893" y="1796045"/>
                </a:lnTo>
                <a:cubicBezTo>
                  <a:pt x="1169480" y="1795580"/>
                  <a:pt x="1169274" y="1794961"/>
                  <a:pt x="1169480" y="1794341"/>
                </a:cubicBezTo>
                <a:cubicBezTo>
                  <a:pt x="1169687" y="1793877"/>
                  <a:pt x="1169893" y="1793567"/>
                  <a:pt x="1170100" y="1793412"/>
                </a:cubicBezTo>
                <a:cubicBezTo>
                  <a:pt x="1170409" y="1793257"/>
                  <a:pt x="1170823" y="1793102"/>
                  <a:pt x="1171649" y="1792792"/>
                </a:cubicBezTo>
                <a:close/>
                <a:moveTo>
                  <a:pt x="6247650" y="1792303"/>
                </a:moveTo>
                <a:cubicBezTo>
                  <a:pt x="6248930" y="1792303"/>
                  <a:pt x="6250211" y="1792730"/>
                  <a:pt x="6251918" y="1793584"/>
                </a:cubicBezTo>
                <a:cubicBezTo>
                  <a:pt x="6253625" y="1805819"/>
                  <a:pt x="6239753" y="1810514"/>
                  <a:pt x="6234845" y="1804396"/>
                </a:cubicBezTo>
                <a:cubicBezTo>
                  <a:pt x="6233138" y="1802404"/>
                  <a:pt x="6232711" y="1799132"/>
                  <a:pt x="6233991" y="1794438"/>
                </a:cubicBezTo>
                <a:cubicBezTo>
                  <a:pt x="6239967" y="1794722"/>
                  <a:pt x="6243595" y="1792019"/>
                  <a:pt x="6247650" y="1792303"/>
                </a:cubicBezTo>
                <a:close/>
                <a:moveTo>
                  <a:pt x="1283578" y="1792018"/>
                </a:moveTo>
                <a:lnTo>
                  <a:pt x="1284611" y="1792327"/>
                </a:lnTo>
                <a:lnTo>
                  <a:pt x="1284301" y="1792173"/>
                </a:lnTo>
                <a:close/>
                <a:moveTo>
                  <a:pt x="4715296" y="1791592"/>
                </a:moveTo>
                <a:cubicBezTo>
                  <a:pt x="4715723" y="1791592"/>
                  <a:pt x="4716363" y="1792019"/>
                  <a:pt x="4717003" y="1792588"/>
                </a:cubicBezTo>
                <a:cubicBezTo>
                  <a:pt x="4715936" y="1796145"/>
                  <a:pt x="4714869" y="1798421"/>
                  <a:pt x="4712735" y="1801835"/>
                </a:cubicBezTo>
                <a:cubicBezTo>
                  <a:pt x="4712735" y="1801835"/>
                  <a:pt x="4708467" y="1806388"/>
                  <a:pt x="4704838" y="1803827"/>
                </a:cubicBezTo>
                <a:cubicBezTo>
                  <a:pt x="4703771" y="1803827"/>
                  <a:pt x="4703558" y="1799132"/>
                  <a:pt x="4704625" y="1797994"/>
                </a:cubicBezTo>
                <a:cubicBezTo>
                  <a:pt x="4706759" y="1795718"/>
                  <a:pt x="4707826" y="1794580"/>
                  <a:pt x="4710174" y="1794722"/>
                </a:cubicBezTo>
                <a:cubicBezTo>
                  <a:pt x="4711241" y="1793584"/>
                  <a:pt x="4712308" y="1792303"/>
                  <a:pt x="4713588" y="1791876"/>
                </a:cubicBezTo>
                <a:cubicBezTo>
                  <a:pt x="4714015" y="1791592"/>
                  <a:pt x="4714655" y="1791450"/>
                  <a:pt x="4715296" y="1791592"/>
                </a:cubicBezTo>
                <a:close/>
                <a:moveTo>
                  <a:pt x="3776462" y="1791308"/>
                </a:moveTo>
                <a:cubicBezTo>
                  <a:pt x="3778170" y="1791165"/>
                  <a:pt x="3779877" y="1792019"/>
                  <a:pt x="3781158" y="1793726"/>
                </a:cubicBezTo>
                <a:cubicBezTo>
                  <a:pt x="3781798" y="1794865"/>
                  <a:pt x="3782438" y="1796287"/>
                  <a:pt x="3782865" y="1798136"/>
                </a:cubicBezTo>
                <a:lnTo>
                  <a:pt x="3779664" y="1798705"/>
                </a:lnTo>
                <a:lnTo>
                  <a:pt x="3778597" y="1801551"/>
                </a:lnTo>
                <a:cubicBezTo>
                  <a:pt x="3778597" y="1801551"/>
                  <a:pt x="3777530" y="1801267"/>
                  <a:pt x="3777530" y="1801267"/>
                </a:cubicBezTo>
                <a:lnTo>
                  <a:pt x="3776249" y="1799132"/>
                </a:lnTo>
                <a:lnTo>
                  <a:pt x="3776035" y="1799275"/>
                </a:lnTo>
                <a:cubicBezTo>
                  <a:pt x="3774114" y="1798705"/>
                  <a:pt x="3772621" y="1797140"/>
                  <a:pt x="3771767" y="1795433"/>
                </a:cubicBezTo>
                <a:cubicBezTo>
                  <a:pt x="3773047" y="1792873"/>
                  <a:pt x="3774755" y="1791592"/>
                  <a:pt x="3776462" y="1791308"/>
                </a:cubicBezTo>
                <a:close/>
                <a:moveTo>
                  <a:pt x="1387351" y="1791089"/>
                </a:moveTo>
                <a:cubicBezTo>
                  <a:pt x="1388280" y="1791553"/>
                  <a:pt x="1391275" y="1792482"/>
                  <a:pt x="1392514" y="1793257"/>
                </a:cubicBezTo>
                <a:lnTo>
                  <a:pt x="1392927" y="1793877"/>
                </a:lnTo>
                <a:lnTo>
                  <a:pt x="1393856" y="1793877"/>
                </a:lnTo>
                <a:cubicBezTo>
                  <a:pt x="1394372" y="1792792"/>
                  <a:pt x="1394372" y="1792792"/>
                  <a:pt x="1394682" y="1793722"/>
                </a:cubicBezTo>
                <a:lnTo>
                  <a:pt x="1395405" y="1793877"/>
                </a:lnTo>
                <a:lnTo>
                  <a:pt x="1397780" y="1793877"/>
                </a:lnTo>
                <a:cubicBezTo>
                  <a:pt x="1399948" y="1793877"/>
                  <a:pt x="1402013" y="1794186"/>
                  <a:pt x="1402942" y="1794651"/>
                </a:cubicBezTo>
                <a:lnTo>
                  <a:pt x="1397470" y="1794961"/>
                </a:lnTo>
                <a:lnTo>
                  <a:pt x="1400258" y="1795580"/>
                </a:lnTo>
                <a:cubicBezTo>
                  <a:pt x="1401600" y="1795580"/>
                  <a:pt x="1402942" y="1795425"/>
                  <a:pt x="1403149" y="1794961"/>
                </a:cubicBezTo>
                <a:cubicBezTo>
                  <a:pt x="1403459" y="1795735"/>
                  <a:pt x="1404595" y="1796355"/>
                  <a:pt x="1404595" y="1796355"/>
                </a:cubicBezTo>
                <a:cubicBezTo>
                  <a:pt x="1404078" y="1797439"/>
                  <a:pt x="1403252" y="1797594"/>
                  <a:pt x="1402426" y="1797904"/>
                </a:cubicBezTo>
                <a:cubicBezTo>
                  <a:pt x="1401394" y="1797284"/>
                  <a:pt x="1401084" y="1796510"/>
                  <a:pt x="1399948" y="1795890"/>
                </a:cubicBezTo>
                <a:cubicBezTo>
                  <a:pt x="1399122" y="1796045"/>
                  <a:pt x="1397470" y="1796510"/>
                  <a:pt x="1396437" y="1795890"/>
                </a:cubicBezTo>
                <a:lnTo>
                  <a:pt x="1395198" y="1794961"/>
                </a:lnTo>
                <a:lnTo>
                  <a:pt x="1389416" y="1794186"/>
                </a:lnTo>
                <a:lnTo>
                  <a:pt x="1393856" y="1796045"/>
                </a:lnTo>
                <a:cubicBezTo>
                  <a:pt x="1398502" y="1798678"/>
                  <a:pt x="1402839" y="1802396"/>
                  <a:pt x="1408931" y="1804874"/>
                </a:cubicBezTo>
                <a:cubicBezTo>
                  <a:pt x="1406040" y="1815407"/>
                  <a:pt x="1411719" y="1818040"/>
                  <a:pt x="1414714" y="1822997"/>
                </a:cubicBezTo>
                <a:cubicBezTo>
                  <a:pt x="1412029" y="1826250"/>
                  <a:pt x="1410480" y="1830277"/>
                  <a:pt x="1409138" y="1834614"/>
                </a:cubicBezTo>
                <a:lnTo>
                  <a:pt x="1408518" y="1836627"/>
                </a:lnTo>
                <a:lnTo>
                  <a:pt x="1411616" y="1836782"/>
                </a:lnTo>
                <a:cubicBezTo>
                  <a:pt x="1412545" y="1837402"/>
                  <a:pt x="1413474" y="1838642"/>
                  <a:pt x="1414817" y="1839725"/>
                </a:cubicBezTo>
                <a:cubicBezTo>
                  <a:pt x="1413578" y="1840190"/>
                  <a:pt x="1413991" y="1841274"/>
                  <a:pt x="1414301" y="1842359"/>
                </a:cubicBezTo>
                <a:cubicBezTo>
                  <a:pt x="1412545" y="1842978"/>
                  <a:pt x="1409861" y="1844217"/>
                  <a:pt x="1408105" y="1842978"/>
                </a:cubicBezTo>
                <a:lnTo>
                  <a:pt x="1406969" y="1841120"/>
                </a:lnTo>
                <a:lnTo>
                  <a:pt x="1404698" y="1847470"/>
                </a:lnTo>
                <a:cubicBezTo>
                  <a:pt x="1399535" y="1849639"/>
                  <a:pt x="1394992" y="1852117"/>
                  <a:pt x="1390448" y="1854750"/>
                </a:cubicBezTo>
                <a:lnTo>
                  <a:pt x="1389003" y="1855370"/>
                </a:lnTo>
                <a:lnTo>
                  <a:pt x="1391275" y="1856609"/>
                </a:lnTo>
                <a:cubicBezTo>
                  <a:pt x="1391997" y="1857538"/>
                  <a:pt x="1392514" y="1859552"/>
                  <a:pt x="1392720" y="1861566"/>
                </a:cubicBezTo>
                <a:cubicBezTo>
                  <a:pt x="1392927" y="1863580"/>
                  <a:pt x="1392720" y="1865593"/>
                  <a:pt x="1391688" y="1866832"/>
                </a:cubicBezTo>
                <a:cubicBezTo>
                  <a:pt x="1390139" y="1866058"/>
                  <a:pt x="1388590" y="1865128"/>
                  <a:pt x="1386938" y="1864199"/>
                </a:cubicBezTo>
                <a:cubicBezTo>
                  <a:pt x="1387867" y="1864199"/>
                  <a:pt x="1387041" y="1856609"/>
                  <a:pt x="1387041" y="1856609"/>
                </a:cubicBezTo>
                <a:lnTo>
                  <a:pt x="1388590" y="1855525"/>
                </a:lnTo>
                <a:lnTo>
                  <a:pt x="1376096" y="1861876"/>
                </a:lnTo>
                <a:cubicBezTo>
                  <a:pt x="1367319" y="1855370"/>
                  <a:pt x="1349043" y="1858313"/>
                  <a:pt x="1344087" y="1846696"/>
                </a:cubicBezTo>
                <a:lnTo>
                  <a:pt x="1344499" y="1843753"/>
                </a:lnTo>
                <a:lnTo>
                  <a:pt x="1344190" y="1843598"/>
                </a:lnTo>
                <a:cubicBezTo>
                  <a:pt x="1343570" y="1842669"/>
                  <a:pt x="1343157" y="1841739"/>
                  <a:pt x="1343260" y="1840810"/>
                </a:cubicBezTo>
                <a:lnTo>
                  <a:pt x="1344293" y="1839106"/>
                </a:lnTo>
                <a:lnTo>
                  <a:pt x="1343364" y="1834304"/>
                </a:lnTo>
                <a:lnTo>
                  <a:pt x="1343467" y="1833375"/>
                </a:lnTo>
                <a:lnTo>
                  <a:pt x="1342951" y="1831826"/>
                </a:lnTo>
                <a:lnTo>
                  <a:pt x="1339646" y="1832136"/>
                </a:lnTo>
                <a:cubicBezTo>
                  <a:pt x="1338511" y="1831671"/>
                  <a:pt x="1337788" y="1830897"/>
                  <a:pt x="1337478" y="1829813"/>
                </a:cubicBezTo>
                <a:cubicBezTo>
                  <a:pt x="1337168" y="1828728"/>
                  <a:pt x="1337375" y="1827489"/>
                  <a:pt x="1337788" y="1826559"/>
                </a:cubicBezTo>
                <a:cubicBezTo>
                  <a:pt x="1337788" y="1825630"/>
                  <a:pt x="1338304" y="1824856"/>
                  <a:pt x="1339130" y="1824391"/>
                </a:cubicBezTo>
                <a:cubicBezTo>
                  <a:pt x="1339956" y="1823926"/>
                  <a:pt x="1341092" y="1823771"/>
                  <a:pt x="1342021" y="1823926"/>
                </a:cubicBezTo>
                <a:lnTo>
                  <a:pt x="1342228" y="1823926"/>
                </a:lnTo>
                <a:lnTo>
                  <a:pt x="1346771" y="1815252"/>
                </a:lnTo>
                <a:lnTo>
                  <a:pt x="1354722" y="1806113"/>
                </a:lnTo>
                <a:lnTo>
                  <a:pt x="1352347" y="1804874"/>
                </a:lnTo>
                <a:cubicBezTo>
                  <a:pt x="1350385" y="1804874"/>
                  <a:pt x="1348113" y="1803945"/>
                  <a:pt x="1347081" y="1802396"/>
                </a:cubicBezTo>
                <a:cubicBezTo>
                  <a:pt x="1346771" y="1801312"/>
                  <a:pt x="1346874" y="1800382"/>
                  <a:pt x="1347081" y="1799763"/>
                </a:cubicBezTo>
                <a:cubicBezTo>
                  <a:pt x="1347391" y="1798988"/>
                  <a:pt x="1347907" y="1798523"/>
                  <a:pt x="1348423" y="1798368"/>
                </a:cubicBezTo>
                <a:cubicBezTo>
                  <a:pt x="1353070" y="1796045"/>
                  <a:pt x="1356580" y="1796510"/>
                  <a:pt x="1359162" y="1797594"/>
                </a:cubicBezTo>
                <a:lnTo>
                  <a:pt x="1362156" y="1798833"/>
                </a:lnTo>
                <a:lnTo>
                  <a:pt x="1367732" y="1795425"/>
                </a:lnTo>
                <a:cubicBezTo>
                  <a:pt x="1370624" y="1794031"/>
                  <a:pt x="1373721" y="1793102"/>
                  <a:pt x="1377025" y="1792637"/>
                </a:cubicBezTo>
                <a:cubicBezTo>
                  <a:pt x="1380639" y="1792173"/>
                  <a:pt x="1383737" y="1792327"/>
                  <a:pt x="1386422" y="1792947"/>
                </a:cubicBezTo>
                <a:lnTo>
                  <a:pt x="1389209" y="1794186"/>
                </a:lnTo>
                <a:lnTo>
                  <a:pt x="1391481" y="1794031"/>
                </a:lnTo>
                <a:lnTo>
                  <a:pt x="1392617" y="1793877"/>
                </a:lnTo>
                <a:lnTo>
                  <a:pt x="1390758" y="1792947"/>
                </a:lnTo>
                <a:cubicBezTo>
                  <a:pt x="1389623" y="1792327"/>
                  <a:pt x="1389623" y="1792327"/>
                  <a:pt x="1389106" y="1793412"/>
                </a:cubicBezTo>
                <a:cubicBezTo>
                  <a:pt x="1387970" y="1792792"/>
                  <a:pt x="1387970" y="1792792"/>
                  <a:pt x="1387351" y="1791089"/>
                </a:cubicBezTo>
                <a:close/>
                <a:moveTo>
                  <a:pt x="1323758" y="1790701"/>
                </a:moveTo>
                <a:cubicBezTo>
                  <a:pt x="1327023" y="1790972"/>
                  <a:pt x="1329682" y="1791398"/>
                  <a:pt x="1330663" y="1791553"/>
                </a:cubicBezTo>
                <a:cubicBezTo>
                  <a:pt x="1331593" y="1791708"/>
                  <a:pt x="1332212" y="1792018"/>
                  <a:pt x="1332419" y="1792482"/>
                </a:cubicBezTo>
                <a:cubicBezTo>
                  <a:pt x="1332728" y="1793102"/>
                  <a:pt x="1332728" y="1793722"/>
                  <a:pt x="1332625" y="1794651"/>
                </a:cubicBezTo>
                <a:cubicBezTo>
                  <a:pt x="1330250" y="1797904"/>
                  <a:pt x="1326017" y="1796355"/>
                  <a:pt x="1321576" y="1796665"/>
                </a:cubicBezTo>
                <a:cubicBezTo>
                  <a:pt x="1321370" y="1795735"/>
                  <a:pt x="1320234" y="1795115"/>
                  <a:pt x="1319408" y="1795425"/>
                </a:cubicBezTo>
                <a:cubicBezTo>
                  <a:pt x="1318272" y="1794806"/>
                  <a:pt x="1317136" y="1794186"/>
                  <a:pt x="1317446" y="1795115"/>
                </a:cubicBezTo>
                <a:cubicBezTo>
                  <a:pt x="1314039" y="1793257"/>
                  <a:pt x="1313213" y="1793412"/>
                  <a:pt x="1313213" y="1790779"/>
                </a:cubicBezTo>
                <a:cubicBezTo>
                  <a:pt x="1316620" y="1790314"/>
                  <a:pt x="1320492" y="1790430"/>
                  <a:pt x="1323758" y="1790701"/>
                </a:cubicBezTo>
                <a:close/>
                <a:moveTo>
                  <a:pt x="739212" y="1790314"/>
                </a:moveTo>
                <a:cubicBezTo>
                  <a:pt x="740037" y="1789539"/>
                  <a:pt x="740967" y="1790469"/>
                  <a:pt x="741793" y="1790623"/>
                </a:cubicBezTo>
                <a:cubicBezTo>
                  <a:pt x="743445" y="1791553"/>
                  <a:pt x="745923" y="1797439"/>
                  <a:pt x="745097" y="1798213"/>
                </a:cubicBezTo>
                <a:cubicBezTo>
                  <a:pt x="743135" y="1796819"/>
                  <a:pt x="739831" y="1794341"/>
                  <a:pt x="739005" y="1792173"/>
                </a:cubicBezTo>
                <a:cubicBezTo>
                  <a:pt x="738695" y="1791553"/>
                  <a:pt x="738798" y="1790934"/>
                  <a:pt x="739212" y="1790314"/>
                </a:cubicBezTo>
                <a:close/>
                <a:moveTo>
                  <a:pt x="5927520" y="1790169"/>
                </a:moveTo>
                <a:cubicBezTo>
                  <a:pt x="5928801" y="1791450"/>
                  <a:pt x="5928801" y="1790169"/>
                  <a:pt x="5929868" y="1790169"/>
                </a:cubicBezTo>
                <a:cubicBezTo>
                  <a:pt x="5928801" y="1791450"/>
                  <a:pt x="5928801" y="1795149"/>
                  <a:pt x="5927947" y="1797567"/>
                </a:cubicBezTo>
                <a:cubicBezTo>
                  <a:pt x="5926666" y="1797567"/>
                  <a:pt x="5925600" y="1798705"/>
                  <a:pt x="5924532" y="1798705"/>
                </a:cubicBezTo>
                <a:cubicBezTo>
                  <a:pt x="5924532" y="1797425"/>
                  <a:pt x="5923465" y="1794865"/>
                  <a:pt x="5924532" y="1794865"/>
                </a:cubicBezTo>
                <a:cubicBezTo>
                  <a:pt x="5924532" y="1793726"/>
                  <a:pt x="5926666" y="1793726"/>
                  <a:pt x="5926666" y="1793726"/>
                </a:cubicBezTo>
                <a:cubicBezTo>
                  <a:pt x="5926666" y="1792588"/>
                  <a:pt x="5926453" y="1791308"/>
                  <a:pt x="5927520" y="1790169"/>
                </a:cubicBezTo>
                <a:close/>
                <a:moveTo>
                  <a:pt x="957082" y="1790159"/>
                </a:moveTo>
                <a:cubicBezTo>
                  <a:pt x="959560" y="1791708"/>
                  <a:pt x="960386" y="1794186"/>
                  <a:pt x="958528" y="1796819"/>
                </a:cubicBezTo>
                <a:cubicBezTo>
                  <a:pt x="956772" y="1797749"/>
                  <a:pt x="955017" y="1797129"/>
                  <a:pt x="953365" y="1796355"/>
                </a:cubicBezTo>
                <a:cubicBezTo>
                  <a:pt x="952126" y="1795425"/>
                  <a:pt x="951713" y="1794651"/>
                  <a:pt x="951816" y="1793722"/>
                </a:cubicBezTo>
                <a:cubicBezTo>
                  <a:pt x="952023" y="1792947"/>
                  <a:pt x="952745" y="1792018"/>
                  <a:pt x="953571" y="1791243"/>
                </a:cubicBezTo>
                <a:cubicBezTo>
                  <a:pt x="955430" y="1789385"/>
                  <a:pt x="957082" y="1790159"/>
                  <a:pt x="957082" y="1790159"/>
                </a:cubicBezTo>
                <a:close/>
                <a:moveTo>
                  <a:pt x="710403" y="1789694"/>
                </a:moveTo>
                <a:cubicBezTo>
                  <a:pt x="711332" y="1788146"/>
                  <a:pt x="713088" y="1789230"/>
                  <a:pt x="714843" y="1790934"/>
                </a:cubicBezTo>
                <a:cubicBezTo>
                  <a:pt x="719180" y="1793877"/>
                  <a:pt x="720006" y="1796510"/>
                  <a:pt x="717321" y="1798678"/>
                </a:cubicBezTo>
                <a:cubicBezTo>
                  <a:pt x="716495" y="1798678"/>
                  <a:pt x="713811" y="1797594"/>
                  <a:pt x="713811" y="1798368"/>
                </a:cubicBezTo>
                <a:cubicBezTo>
                  <a:pt x="711849" y="1796355"/>
                  <a:pt x="709887" y="1793722"/>
                  <a:pt x="709887" y="1791708"/>
                </a:cubicBezTo>
                <a:cubicBezTo>
                  <a:pt x="709784" y="1790934"/>
                  <a:pt x="709990" y="1790314"/>
                  <a:pt x="710403" y="1789694"/>
                </a:cubicBezTo>
                <a:close/>
                <a:moveTo>
                  <a:pt x="871586" y="1789385"/>
                </a:moveTo>
                <a:cubicBezTo>
                  <a:pt x="872515" y="1790159"/>
                  <a:pt x="873445" y="1790779"/>
                  <a:pt x="872619" y="1790934"/>
                </a:cubicBezTo>
                <a:cubicBezTo>
                  <a:pt x="872619" y="1791708"/>
                  <a:pt x="871792" y="1791863"/>
                  <a:pt x="870966" y="1792792"/>
                </a:cubicBezTo>
                <a:cubicBezTo>
                  <a:pt x="869314" y="1793877"/>
                  <a:pt x="866733" y="1794186"/>
                  <a:pt x="865803" y="1793567"/>
                </a:cubicBezTo>
                <a:cubicBezTo>
                  <a:pt x="864874" y="1792792"/>
                  <a:pt x="864874" y="1792018"/>
                  <a:pt x="864874" y="1792018"/>
                </a:cubicBezTo>
                <a:cubicBezTo>
                  <a:pt x="866423" y="1789230"/>
                  <a:pt x="868901" y="1787216"/>
                  <a:pt x="871586" y="1789385"/>
                </a:cubicBezTo>
                <a:close/>
                <a:moveTo>
                  <a:pt x="1176089" y="1789075"/>
                </a:moveTo>
                <a:cubicBezTo>
                  <a:pt x="1180529" y="1789694"/>
                  <a:pt x="1181664" y="1790004"/>
                  <a:pt x="1182491" y="1794496"/>
                </a:cubicBezTo>
                <a:cubicBezTo>
                  <a:pt x="1182491" y="1794496"/>
                  <a:pt x="1182284" y="1795580"/>
                  <a:pt x="1182284" y="1795580"/>
                </a:cubicBezTo>
                <a:cubicBezTo>
                  <a:pt x="1181871" y="1799763"/>
                  <a:pt x="1178360" y="1803635"/>
                  <a:pt x="1176501" y="1803635"/>
                </a:cubicBezTo>
                <a:cubicBezTo>
                  <a:pt x="1174643" y="1803015"/>
                  <a:pt x="1172784" y="1801467"/>
                  <a:pt x="1172268" y="1799298"/>
                </a:cubicBezTo>
                <a:cubicBezTo>
                  <a:pt x="1172062" y="1798523"/>
                  <a:pt x="1172062" y="1797749"/>
                  <a:pt x="1172268" y="1796819"/>
                </a:cubicBezTo>
                <a:cubicBezTo>
                  <a:pt x="1172371" y="1793877"/>
                  <a:pt x="1175263" y="1792327"/>
                  <a:pt x="1176089" y="1789075"/>
                </a:cubicBezTo>
                <a:close/>
                <a:moveTo>
                  <a:pt x="4688832" y="1788604"/>
                </a:moveTo>
                <a:cubicBezTo>
                  <a:pt x="4690113" y="1788462"/>
                  <a:pt x="4690753" y="1788604"/>
                  <a:pt x="4691393" y="1789173"/>
                </a:cubicBezTo>
                <a:cubicBezTo>
                  <a:pt x="4691820" y="1789743"/>
                  <a:pt x="4692033" y="1790738"/>
                  <a:pt x="4692033" y="1792019"/>
                </a:cubicBezTo>
                <a:cubicBezTo>
                  <a:pt x="4689472" y="1797710"/>
                  <a:pt x="4683710" y="1797140"/>
                  <a:pt x="4677947" y="1799417"/>
                </a:cubicBezTo>
                <a:cubicBezTo>
                  <a:pt x="4677521" y="1798279"/>
                  <a:pt x="4675813" y="1797994"/>
                  <a:pt x="4674959" y="1798563"/>
                </a:cubicBezTo>
                <a:cubicBezTo>
                  <a:pt x="4673252" y="1798136"/>
                  <a:pt x="4671758" y="1797852"/>
                  <a:pt x="4672185" y="1798848"/>
                </a:cubicBezTo>
                <a:cubicBezTo>
                  <a:pt x="4667490" y="1797710"/>
                  <a:pt x="4666423" y="1798421"/>
                  <a:pt x="4665996" y="1794722"/>
                </a:cubicBezTo>
                <a:cubicBezTo>
                  <a:pt x="4674746" y="1790596"/>
                  <a:pt x="4686057" y="1788889"/>
                  <a:pt x="4688832" y="1788604"/>
                </a:cubicBezTo>
                <a:close/>
                <a:moveTo>
                  <a:pt x="5160703" y="1788035"/>
                </a:moveTo>
                <a:cubicBezTo>
                  <a:pt x="5163904" y="1788889"/>
                  <a:pt x="5165398" y="1789316"/>
                  <a:pt x="5166679" y="1791308"/>
                </a:cubicBezTo>
                <a:cubicBezTo>
                  <a:pt x="5168386" y="1791734"/>
                  <a:pt x="5169880" y="1792161"/>
                  <a:pt x="5171161" y="1792873"/>
                </a:cubicBezTo>
                <a:cubicBezTo>
                  <a:pt x="5172227" y="1793584"/>
                  <a:pt x="5172868" y="1794580"/>
                  <a:pt x="5172654" y="1796287"/>
                </a:cubicBezTo>
                <a:cubicBezTo>
                  <a:pt x="5169239" y="1796998"/>
                  <a:pt x="5166679" y="1797283"/>
                  <a:pt x="5162624" y="1796998"/>
                </a:cubicBezTo>
                <a:cubicBezTo>
                  <a:pt x="5162624" y="1796998"/>
                  <a:pt x="5156221" y="1795433"/>
                  <a:pt x="5156008" y="1791165"/>
                </a:cubicBezTo>
                <a:cubicBezTo>
                  <a:pt x="5155368" y="1790027"/>
                  <a:pt x="5158996" y="1787609"/>
                  <a:pt x="5160703" y="1788035"/>
                </a:cubicBezTo>
                <a:close/>
                <a:moveTo>
                  <a:pt x="1074071" y="1787835"/>
                </a:moveTo>
                <a:cubicBezTo>
                  <a:pt x="1076550" y="1791553"/>
                  <a:pt x="1075827" y="1794961"/>
                  <a:pt x="1073245" y="1798833"/>
                </a:cubicBezTo>
                <a:cubicBezTo>
                  <a:pt x="1071594" y="1798678"/>
                  <a:pt x="1069735" y="1795890"/>
                  <a:pt x="1068496" y="1794031"/>
                </a:cubicBezTo>
                <a:cubicBezTo>
                  <a:pt x="1069012" y="1791398"/>
                  <a:pt x="1071180" y="1789230"/>
                  <a:pt x="1074071" y="1787835"/>
                </a:cubicBezTo>
                <a:close/>
                <a:moveTo>
                  <a:pt x="4761608" y="1787609"/>
                </a:moveTo>
                <a:cubicBezTo>
                  <a:pt x="4763955" y="1788462"/>
                  <a:pt x="4768437" y="1789600"/>
                  <a:pt x="4769931" y="1791450"/>
                </a:cubicBezTo>
                <a:cubicBezTo>
                  <a:pt x="4770358" y="1792019"/>
                  <a:pt x="4770572" y="1792730"/>
                  <a:pt x="4770358" y="1793584"/>
                </a:cubicBezTo>
                <a:cubicBezTo>
                  <a:pt x="4767370" y="1792446"/>
                  <a:pt x="4762248" y="1792446"/>
                  <a:pt x="4761608" y="1787609"/>
                </a:cubicBezTo>
                <a:close/>
                <a:moveTo>
                  <a:pt x="5341896" y="1786471"/>
                </a:moveTo>
                <a:cubicBezTo>
                  <a:pt x="5350006" y="1789458"/>
                  <a:pt x="5357263" y="1793015"/>
                  <a:pt x="5368787" y="1793157"/>
                </a:cubicBezTo>
                <a:cubicBezTo>
                  <a:pt x="5368574" y="1796571"/>
                  <a:pt x="5372842" y="1796287"/>
                  <a:pt x="5371562" y="1800412"/>
                </a:cubicBezTo>
                <a:lnTo>
                  <a:pt x="5366653" y="1801693"/>
                </a:lnTo>
                <a:lnTo>
                  <a:pt x="5371135" y="1806246"/>
                </a:lnTo>
                <a:lnTo>
                  <a:pt x="5372415" y="1810229"/>
                </a:lnTo>
                <a:lnTo>
                  <a:pt x="5381166" y="1811225"/>
                </a:lnTo>
                <a:cubicBezTo>
                  <a:pt x="5380312" y="1812790"/>
                  <a:pt x="5384367" y="1813786"/>
                  <a:pt x="5386074" y="1815493"/>
                </a:cubicBezTo>
                <a:cubicBezTo>
                  <a:pt x="5387141" y="1818907"/>
                  <a:pt x="5387781" y="1821042"/>
                  <a:pt x="5386288" y="1824314"/>
                </a:cubicBezTo>
                <a:lnTo>
                  <a:pt x="5387781" y="1830858"/>
                </a:lnTo>
                <a:cubicBezTo>
                  <a:pt x="5386714" y="1837687"/>
                  <a:pt x="5378818" y="1842524"/>
                  <a:pt x="5373696" y="1839820"/>
                </a:cubicBezTo>
                <a:cubicBezTo>
                  <a:pt x="5371348" y="1838683"/>
                  <a:pt x="5369641" y="1835980"/>
                  <a:pt x="5369214" y="1831285"/>
                </a:cubicBezTo>
                <a:lnTo>
                  <a:pt x="5369854" y="1830858"/>
                </a:lnTo>
                <a:lnTo>
                  <a:pt x="5366867" y="1829151"/>
                </a:lnTo>
                <a:lnTo>
                  <a:pt x="5364305" y="1829436"/>
                </a:lnTo>
                <a:lnTo>
                  <a:pt x="5363025" y="1828866"/>
                </a:lnTo>
                <a:lnTo>
                  <a:pt x="5358756" y="1836691"/>
                </a:lnTo>
                <a:cubicBezTo>
                  <a:pt x="5356622" y="1840248"/>
                  <a:pt x="5354488" y="1843094"/>
                  <a:pt x="5352781" y="1843235"/>
                </a:cubicBezTo>
                <a:cubicBezTo>
                  <a:pt x="5352354" y="1842097"/>
                  <a:pt x="5352140" y="1840959"/>
                  <a:pt x="5352781" y="1839394"/>
                </a:cubicBezTo>
                <a:cubicBezTo>
                  <a:pt x="5353634" y="1837830"/>
                  <a:pt x="5353848" y="1838825"/>
                  <a:pt x="5353421" y="1837830"/>
                </a:cubicBezTo>
                <a:cubicBezTo>
                  <a:pt x="5354275" y="1836264"/>
                  <a:pt x="5353208" y="1836549"/>
                  <a:pt x="5353208" y="1836549"/>
                </a:cubicBezTo>
                <a:cubicBezTo>
                  <a:pt x="5353208" y="1836549"/>
                  <a:pt x="5354275" y="1836122"/>
                  <a:pt x="5354275" y="1836122"/>
                </a:cubicBezTo>
                <a:cubicBezTo>
                  <a:pt x="5354275" y="1836122"/>
                  <a:pt x="5354275" y="1836264"/>
                  <a:pt x="5355768" y="1832992"/>
                </a:cubicBezTo>
                <a:cubicBezTo>
                  <a:pt x="5356836" y="1828724"/>
                  <a:pt x="5356622" y="1827728"/>
                  <a:pt x="5357049" y="1825025"/>
                </a:cubicBezTo>
                <a:lnTo>
                  <a:pt x="5357263" y="1824456"/>
                </a:lnTo>
                <a:lnTo>
                  <a:pt x="5355128" y="1820899"/>
                </a:lnTo>
                <a:cubicBezTo>
                  <a:pt x="5353208" y="1814924"/>
                  <a:pt x="5354915" y="1807384"/>
                  <a:pt x="5359824" y="1803401"/>
                </a:cubicBezTo>
                <a:lnTo>
                  <a:pt x="5362598" y="1802120"/>
                </a:lnTo>
                <a:lnTo>
                  <a:pt x="5354061" y="1800412"/>
                </a:lnTo>
                <a:cubicBezTo>
                  <a:pt x="5347658" y="1797710"/>
                  <a:pt x="5341896" y="1792873"/>
                  <a:pt x="5341896" y="1786471"/>
                </a:cubicBezTo>
                <a:close/>
                <a:moveTo>
                  <a:pt x="1543784" y="1785822"/>
                </a:moveTo>
                <a:cubicBezTo>
                  <a:pt x="1544713" y="1785822"/>
                  <a:pt x="1545230" y="1786442"/>
                  <a:pt x="1545539" y="1787371"/>
                </a:cubicBezTo>
                <a:cubicBezTo>
                  <a:pt x="1546469" y="1790159"/>
                  <a:pt x="1544713" y="1795425"/>
                  <a:pt x="1540996" y="1795270"/>
                </a:cubicBezTo>
                <a:cubicBezTo>
                  <a:pt x="1539550" y="1794806"/>
                  <a:pt x="1538518" y="1792173"/>
                  <a:pt x="1538828" y="1789849"/>
                </a:cubicBezTo>
                <a:cubicBezTo>
                  <a:pt x="1539034" y="1787526"/>
                  <a:pt x="1540480" y="1785357"/>
                  <a:pt x="1543784" y="1785822"/>
                </a:cubicBezTo>
                <a:close/>
                <a:moveTo>
                  <a:pt x="1776317" y="1785202"/>
                </a:moveTo>
                <a:cubicBezTo>
                  <a:pt x="1781376" y="1791089"/>
                  <a:pt x="1776936" y="1800692"/>
                  <a:pt x="1770844" y="1803635"/>
                </a:cubicBezTo>
                <a:cubicBezTo>
                  <a:pt x="1768883" y="1804564"/>
                  <a:pt x="1766611" y="1804874"/>
                  <a:pt x="1764442" y="1804100"/>
                </a:cubicBezTo>
                <a:cubicBezTo>
                  <a:pt x="1762791" y="1802086"/>
                  <a:pt x="1762171" y="1799917"/>
                  <a:pt x="1762377" y="1797594"/>
                </a:cubicBezTo>
                <a:cubicBezTo>
                  <a:pt x="1762791" y="1791089"/>
                  <a:pt x="1770328" y="1784582"/>
                  <a:pt x="1776317" y="1785202"/>
                </a:cubicBezTo>
                <a:close/>
                <a:moveTo>
                  <a:pt x="5183112" y="1784479"/>
                </a:moveTo>
                <a:cubicBezTo>
                  <a:pt x="5186527" y="1784336"/>
                  <a:pt x="5189515" y="1785332"/>
                  <a:pt x="5190581" y="1787466"/>
                </a:cubicBezTo>
                <a:cubicBezTo>
                  <a:pt x="5191862" y="1803401"/>
                  <a:pt x="5180551" y="1806815"/>
                  <a:pt x="5175856" y="1799417"/>
                </a:cubicBezTo>
                <a:cubicBezTo>
                  <a:pt x="5174362" y="1796998"/>
                  <a:pt x="5173722" y="1793299"/>
                  <a:pt x="5174362" y="1788462"/>
                </a:cubicBezTo>
                <a:cubicBezTo>
                  <a:pt x="5176282" y="1786044"/>
                  <a:pt x="5179697" y="1784763"/>
                  <a:pt x="5183112" y="1784479"/>
                </a:cubicBezTo>
                <a:close/>
                <a:moveTo>
                  <a:pt x="1213984" y="1784428"/>
                </a:moveTo>
                <a:cubicBezTo>
                  <a:pt x="1215945" y="1782724"/>
                  <a:pt x="1219146" y="1782724"/>
                  <a:pt x="1222760" y="1785512"/>
                </a:cubicBezTo>
                <a:cubicBezTo>
                  <a:pt x="1225548" y="1792792"/>
                  <a:pt x="1218114" y="1798368"/>
                  <a:pt x="1212331" y="1792327"/>
                </a:cubicBezTo>
                <a:cubicBezTo>
                  <a:pt x="1211712" y="1790623"/>
                  <a:pt x="1211609" y="1789075"/>
                  <a:pt x="1211919" y="1787680"/>
                </a:cubicBezTo>
                <a:cubicBezTo>
                  <a:pt x="1212228" y="1786286"/>
                  <a:pt x="1212951" y="1785202"/>
                  <a:pt x="1213984" y="1784428"/>
                </a:cubicBezTo>
                <a:close/>
                <a:moveTo>
                  <a:pt x="5945447" y="1784336"/>
                </a:moveTo>
                <a:cubicBezTo>
                  <a:pt x="5946301" y="1784336"/>
                  <a:pt x="5947368" y="1784621"/>
                  <a:pt x="5948222" y="1785190"/>
                </a:cubicBezTo>
                <a:cubicBezTo>
                  <a:pt x="5950570" y="1786613"/>
                  <a:pt x="5949502" y="1788889"/>
                  <a:pt x="5947368" y="1791165"/>
                </a:cubicBezTo>
                <a:cubicBezTo>
                  <a:pt x="5944167" y="1796998"/>
                  <a:pt x="5940752" y="1798136"/>
                  <a:pt x="5937124" y="1794295"/>
                </a:cubicBezTo>
                <a:cubicBezTo>
                  <a:pt x="5937124" y="1793157"/>
                  <a:pt x="5937978" y="1789600"/>
                  <a:pt x="5936911" y="1789458"/>
                </a:cubicBezTo>
                <a:cubicBezTo>
                  <a:pt x="5939258" y="1786897"/>
                  <a:pt x="5942459" y="1784336"/>
                  <a:pt x="5945447" y="1784336"/>
                </a:cubicBezTo>
                <a:close/>
                <a:moveTo>
                  <a:pt x="5664587" y="1784052"/>
                </a:moveTo>
                <a:lnTo>
                  <a:pt x="5669496" y="1786755"/>
                </a:lnTo>
                <a:lnTo>
                  <a:pt x="5672910" y="1787039"/>
                </a:lnTo>
                <a:cubicBezTo>
                  <a:pt x="5675045" y="1785901"/>
                  <a:pt x="5678673" y="1786044"/>
                  <a:pt x="5681020" y="1787324"/>
                </a:cubicBezTo>
                <a:cubicBezTo>
                  <a:pt x="5683368" y="1789885"/>
                  <a:pt x="5683368" y="1792161"/>
                  <a:pt x="5682301" y="1793299"/>
                </a:cubicBezTo>
                <a:cubicBezTo>
                  <a:pt x="5674831" y="1803685"/>
                  <a:pt x="5664374" y="1798421"/>
                  <a:pt x="5662239" y="1799559"/>
                </a:cubicBezTo>
                <a:cubicBezTo>
                  <a:pt x="5659465" y="1796714"/>
                  <a:pt x="5658825" y="1796002"/>
                  <a:pt x="5660746" y="1793015"/>
                </a:cubicBezTo>
                <a:lnTo>
                  <a:pt x="5663093" y="1790027"/>
                </a:lnTo>
                <a:lnTo>
                  <a:pt x="5661386" y="1787324"/>
                </a:lnTo>
                <a:cubicBezTo>
                  <a:pt x="5662453" y="1786186"/>
                  <a:pt x="5663520" y="1785190"/>
                  <a:pt x="5664587" y="1784052"/>
                </a:cubicBezTo>
                <a:close/>
                <a:moveTo>
                  <a:pt x="4618617" y="1784052"/>
                </a:moveTo>
                <a:cubicBezTo>
                  <a:pt x="4619684" y="1783482"/>
                  <a:pt x="4622672" y="1784621"/>
                  <a:pt x="4624166" y="1785190"/>
                </a:cubicBezTo>
                <a:cubicBezTo>
                  <a:pt x="4625232" y="1784621"/>
                  <a:pt x="4626727" y="1785190"/>
                  <a:pt x="4627154" y="1786186"/>
                </a:cubicBezTo>
                <a:cubicBezTo>
                  <a:pt x="4627154" y="1786186"/>
                  <a:pt x="4628647" y="1786755"/>
                  <a:pt x="4629715" y="1786186"/>
                </a:cubicBezTo>
                <a:cubicBezTo>
                  <a:pt x="4632702" y="1787324"/>
                  <a:pt x="4633129" y="1788320"/>
                  <a:pt x="4633343" y="1789316"/>
                </a:cubicBezTo>
                <a:cubicBezTo>
                  <a:pt x="4633343" y="1789316"/>
                  <a:pt x="4632062" y="1788746"/>
                  <a:pt x="4630995" y="1789316"/>
                </a:cubicBezTo>
                <a:cubicBezTo>
                  <a:pt x="4630995" y="1789316"/>
                  <a:pt x="4629501" y="1788889"/>
                  <a:pt x="4628007" y="1788320"/>
                </a:cubicBezTo>
                <a:cubicBezTo>
                  <a:pt x="4628007" y="1788320"/>
                  <a:pt x="4626940" y="1788746"/>
                  <a:pt x="4625873" y="1789316"/>
                </a:cubicBezTo>
                <a:cubicBezTo>
                  <a:pt x="4621818" y="1788746"/>
                  <a:pt x="4619257" y="1788889"/>
                  <a:pt x="4618617" y="1784052"/>
                </a:cubicBezTo>
                <a:close/>
                <a:moveTo>
                  <a:pt x="1802854" y="1783963"/>
                </a:moveTo>
                <a:cubicBezTo>
                  <a:pt x="1805332" y="1787990"/>
                  <a:pt x="1803990" y="1795425"/>
                  <a:pt x="1800582" y="1801467"/>
                </a:cubicBezTo>
                <a:cubicBezTo>
                  <a:pt x="1797175" y="1807507"/>
                  <a:pt x="1791702" y="1811999"/>
                  <a:pt x="1785817" y="1809831"/>
                </a:cubicBezTo>
                <a:cubicBezTo>
                  <a:pt x="1795316" y="1802860"/>
                  <a:pt x="1791083" y="1789694"/>
                  <a:pt x="1802854" y="1783963"/>
                </a:cubicBezTo>
                <a:close/>
                <a:moveTo>
                  <a:pt x="1365796" y="1783905"/>
                </a:moveTo>
                <a:cubicBezTo>
                  <a:pt x="1368997" y="1784273"/>
                  <a:pt x="1370571" y="1787138"/>
                  <a:pt x="1364428" y="1794341"/>
                </a:cubicBezTo>
                <a:cubicBezTo>
                  <a:pt x="1358852" y="1792482"/>
                  <a:pt x="1357097" y="1790314"/>
                  <a:pt x="1357406" y="1788455"/>
                </a:cubicBezTo>
                <a:cubicBezTo>
                  <a:pt x="1357768" y="1785667"/>
                  <a:pt x="1362595" y="1783537"/>
                  <a:pt x="1365796" y="1783905"/>
                </a:cubicBezTo>
                <a:close/>
                <a:moveTo>
                  <a:pt x="5256529" y="1783625"/>
                </a:moveTo>
                <a:cubicBezTo>
                  <a:pt x="5261224" y="1782202"/>
                  <a:pt x="5266346" y="1787751"/>
                  <a:pt x="5267840" y="1793015"/>
                </a:cubicBezTo>
                <a:cubicBezTo>
                  <a:pt x="5268480" y="1794865"/>
                  <a:pt x="5268480" y="1796571"/>
                  <a:pt x="5268053" y="1797994"/>
                </a:cubicBezTo>
                <a:cubicBezTo>
                  <a:pt x="5265278" y="1800270"/>
                  <a:pt x="5262717" y="1802404"/>
                  <a:pt x="5259943" y="1804681"/>
                </a:cubicBezTo>
                <a:cubicBezTo>
                  <a:pt x="5253967" y="1805392"/>
                  <a:pt x="5249699" y="1801409"/>
                  <a:pt x="5249272" y="1796287"/>
                </a:cubicBezTo>
                <a:cubicBezTo>
                  <a:pt x="5249059" y="1794580"/>
                  <a:pt x="5249486" y="1792588"/>
                  <a:pt x="5250126" y="1790738"/>
                </a:cubicBezTo>
                <a:cubicBezTo>
                  <a:pt x="5251406" y="1788320"/>
                  <a:pt x="5253327" y="1785759"/>
                  <a:pt x="5256529" y="1783625"/>
                </a:cubicBezTo>
                <a:close/>
                <a:moveTo>
                  <a:pt x="1501862" y="1783499"/>
                </a:moveTo>
                <a:cubicBezTo>
                  <a:pt x="1503514" y="1784428"/>
                  <a:pt x="1506922" y="1785822"/>
                  <a:pt x="1508058" y="1787371"/>
                </a:cubicBezTo>
                <a:cubicBezTo>
                  <a:pt x="1508367" y="1787835"/>
                  <a:pt x="1508573" y="1788455"/>
                  <a:pt x="1508264" y="1788920"/>
                </a:cubicBezTo>
                <a:cubicBezTo>
                  <a:pt x="1506096" y="1787680"/>
                  <a:pt x="1502172" y="1786906"/>
                  <a:pt x="1501862" y="1783499"/>
                </a:cubicBezTo>
                <a:close/>
                <a:moveTo>
                  <a:pt x="5822091" y="1783340"/>
                </a:moveTo>
                <a:cubicBezTo>
                  <a:pt x="5827639" y="1781917"/>
                  <a:pt x="5833829" y="1783340"/>
                  <a:pt x="5837244" y="1788604"/>
                </a:cubicBezTo>
                <a:cubicBezTo>
                  <a:pt x="5836603" y="1799559"/>
                  <a:pt x="5821877" y="1805534"/>
                  <a:pt x="5813981" y="1804823"/>
                </a:cubicBezTo>
                <a:cubicBezTo>
                  <a:pt x="5810353" y="1800840"/>
                  <a:pt x="5809285" y="1796998"/>
                  <a:pt x="5810139" y="1793584"/>
                </a:cubicBezTo>
                <a:cubicBezTo>
                  <a:pt x="5811420" y="1788462"/>
                  <a:pt x="5816328" y="1784621"/>
                  <a:pt x="5822091" y="1783340"/>
                </a:cubicBezTo>
                <a:close/>
                <a:moveTo>
                  <a:pt x="829354" y="1782879"/>
                </a:moveTo>
                <a:cubicBezTo>
                  <a:pt x="829974" y="1782879"/>
                  <a:pt x="830903" y="1783499"/>
                  <a:pt x="832142" y="1784428"/>
                </a:cubicBezTo>
                <a:cubicBezTo>
                  <a:pt x="833898" y="1786286"/>
                  <a:pt x="835653" y="1787216"/>
                  <a:pt x="835653" y="1788146"/>
                </a:cubicBezTo>
                <a:cubicBezTo>
                  <a:pt x="836582" y="1788146"/>
                  <a:pt x="837408" y="1789075"/>
                  <a:pt x="838337" y="1789230"/>
                </a:cubicBezTo>
                <a:cubicBezTo>
                  <a:pt x="838337" y="1789230"/>
                  <a:pt x="838337" y="1789230"/>
                  <a:pt x="838337" y="1790004"/>
                </a:cubicBezTo>
                <a:cubicBezTo>
                  <a:pt x="834827" y="1788920"/>
                  <a:pt x="830387" y="1789230"/>
                  <a:pt x="827702" y="1787371"/>
                </a:cubicBezTo>
                <a:cubicBezTo>
                  <a:pt x="827289" y="1786906"/>
                  <a:pt x="826876" y="1786442"/>
                  <a:pt x="826773" y="1785822"/>
                </a:cubicBezTo>
                <a:cubicBezTo>
                  <a:pt x="826669" y="1785357"/>
                  <a:pt x="826876" y="1784738"/>
                  <a:pt x="827805" y="1783963"/>
                </a:cubicBezTo>
                <a:cubicBezTo>
                  <a:pt x="828218" y="1783189"/>
                  <a:pt x="828631" y="1782879"/>
                  <a:pt x="829354" y="1782879"/>
                </a:cubicBezTo>
                <a:close/>
                <a:moveTo>
                  <a:pt x="1117697" y="1782801"/>
                </a:moveTo>
                <a:cubicBezTo>
                  <a:pt x="1118601" y="1782298"/>
                  <a:pt x="1119452" y="1782027"/>
                  <a:pt x="1120743" y="1783344"/>
                </a:cubicBezTo>
                <a:cubicBezTo>
                  <a:pt x="1121260" y="1784892"/>
                  <a:pt x="1120846" y="1786906"/>
                  <a:pt x="1118678" y="1789385"/>
                </a:cubicBezTo>
                <a:cubicBezTo>
                  <a:pt x="1114032" y="1789075"/>
                  <a:pt x="1114238" y="1786442"/>
                  <a:pt x="1114341" y="1783653"/>
                </a:cubicBezTo>
                <a:cubicBezTo>
                  <a:pt x="1115838" y="1784041"/>
                  <a:pt x="1116794" y="1783305"/>
                  <a:pt x="1117697" y="1782801"/>
                </a:cubicBezTo>
                <a:close/>
                <a:moveTo>
                  <a:pt x="1407176" y="1782414"/>
                </a:moveTo>
                <a:cubicBezTo>
                  <a:pt x="1411823" y="1779936"/>
                  <a:pt x="1420496" y="1785047"/>
                  <a:pt x="1416675" y="1791398"/>
                </a:cubicBezTo>
                <a:cubicBezTo>
                  <a:pt x="1413578" y="1792637"/>
                  <a:pt x="1406453" y="1789849"/>
                  <a:pt x="1404491" y="1787835"/>
                </a:cubicBezTo>
                <a:cubicBezTo>
                  <a:pt x="1404595" y="1785047"/>
                  <a:pt x="1405627" y="1783344"/>
                  <a:pt x="1407176" y="1782414"/>
                </a:cubicBezTo>
                <a:close/>
                <a:moveTo>
                  <a:pt x="6111275" y="1782345"/>
                </a:moveTo>
                <a:cubicBezTo>
                  <a:pt x="6117464" y="1783340"/>
                  <a:pt x="6120665" y="1792873"/>
                  <a:pt x="6118104" y="1797425"/>
                </a:cubicBezTo>
                <a:cubicBezTo>
                  <a:pt x="6117250" y="1798990"/>
                  <a:pt x="6115756" y="1799986"/>
                  <a:pt x="6113409" y="1799844"/>
                </a:cubicBezTo>
                <a:cubicBezTo>
                  <a:pt x="6107006" y="1795433"/>
                  <a:pt x="6111488" y="1790169"/>
                  <a:pt x="6111275" y="1782345"/>
                </a:cubicBezTo>
                <a:close/>
                <a:moveTo>
                  <a:pt x="1738319" y="1782104"/>
                </a:moveTo>
                <a:cubicBezTo>
                  <a:pt x="1740694" y="1781330"/>
                  <a:pt x="1743275" y="1781795"/>
                  <a:pt x="1745443" y="1782569"/>
                </a:cubicBezTo>
                <a:cubicBezTo>
                  <a:pt x="1745030" y="1783344"/>
                  <a:pt x="1750606" y="1785512"/>
                  <a:pt x="1752258" y="1790314"/>
                </a:cubicBezTo>
                <a:cubicBezTo>
                  <a:pt x="1752774" y="1791863"/>
                  <a:pt x="1752878" y="1793722"/>
                  <a:pt x="1752155" y="1796045"/>
                </a:cubicBezTo>
                <a:cubicBezTo>
                  <a:pt x="1750296" y="1800847"/>
                  <a:pt x="1746682" y="1805339"/>
                  <a:pt x="1738009" y="1801467"/>
                </a:cubicBezTo>
                <a:cubicBezTo>
                  <a:pt x="1736150" y="1801002"/>
                  <a:pt x="1736873" y="1800847"/>
                  <a:pt x="1735737" y="1800227"/>
                </a:cubicBezTo>
                <a:cubicBezTo>
                  <a:pt x="1734705" y="1799608"/>
                  <a:pt x="1732743" y="1799298"/>
                  <a:pt x="1731917" y="1799453"/>
                </a:cubicBezTo>
                <a:cubicBezTo>
                  <a:pt x="1732846" y="1796510"/>
                  <a:pt x="1731401" y="1795270"/>
                  <a:pt x="1731607" y="1792173"/>
                </a:cubicBezTo>
                <a:cubicBezTo>
                  <a:pt x="1731607" y="1791243"/>
                  <a:pt x="1731813" y="1790159"/>
                  <a:pt x="1732433" y="1788610"/>
                </a:cubicBezTo>
                <a:cubicBezTo>
                  <a:pt x="1733672" y="1784738"/>
                  <a:pt x="1735840" y="1782724"/>
                  <a:pt x="1738319" y="1782104"/>
                </a:cubicBezTo>
                <a:close/>
                <a:moveTo>
                  <a:pt x="5721570" y="1782060"/>
                </a:moveTo>
                <a:cubicBezTo>
                  <a:pt x="5724558" y="1784763"/>
                  <a:pt x="5726692" y="1787182"/>
                  <a:pt x="5727759" y="1789316"/>
                </a:cubicBezTo>
                <a:cubicBezTo>
                  <a:pt x="5736510" y="1804254"/>
                  <a:pt x="5707058" y="1806246"/>
                  <a:pt x="5706417" y="1797283"/>
                </a:cubicBezTo>
                <a:cubicBezTo>
                  <a:pt x="5705990" y="1793726"/>
                  <a:pt x="5710045" y="1788746"/>
                  <a:pt x="5721570" y="1782060"/>
                </a:cubicBezTo>
                <a:close/>
                <a:moveTo>
                  <a:pt x="4860208" y="1781917"/>
                </a:moveTo>
                <a:cubicBezTo>
                  <a:pt x="4859781" y="1783482"/>
                  <a:pt x="4857860" y="1787466"/>
                  <a:pt x="4853805" y="1787324"/>
                </a:cubicBezTo>
                <a:cubicBezTo>
                  <a:pt x="4849750" y="1787039"/>
                  <a:pt x="4847189" y="1789885"/>
                  <a:pt x="4843134" y="1789743"/>
                </a:cubicBezTo>
                <a:cubicBezTo>
                  <a:pt x="4843134" y="1789743"/>
                  <a:pt x="4843134" y="1789600"/>
                  <a:pt x="4843774" y="1788035"/>
                </a:cubicBezTo>
                <a:cubicBezTo>
                  <a:pt x="4849750" y="1786897"/>
                  <a:pt x="4853592" y="1781776"/>
                  <a:pt x="4860208" y="1781917"/>
                </a:cubicBezTo>
                <a:close/>
                <a:moveTo>
                  <a:pt x="5627025" y="1781633"/>
                </a:moveTo>
                <a:cubicBezTo>
                  <a:pt x="5628306" y="1781633"/>
                  <a:pt x="5628733" y="1782202"/>
                  <a:pt x="5628733" y="1783056"/>
                </a:cubicBezTo>
                <a:cubicBezTo>
                  <a:pt x="5628733" y="1783909"/>
                  <a:pt x="5628519" y="1785190"/>
                  <a:pt x="5628733" y="1786471"/>
                </a:cubicBezTo>
                <a:lnTo>
                  <a:pt x="5624037" y="1785190"/>
                </a:lnTo>
                <a:cubicBezTo>
                  <a:pt x="5624251" y="1783482"/>
                  <a:pt x="5625531" y="1781207"/>
                  <a:pt x="5627025" y="1781633"/>
                </a:cubicBezTo>
                <a:close/>
                <a:moveTo>
                  <a:pt x="985064" y="1781485"/>
                </a:moveTo>
                <a:cubicBezTo>
                  <a:pt x="985787" y="1781020"/>
                  <a:pt x="986820" y="1781175"/>
                  <a:pt x="987749" y="1781640"/>
                </a:cubicBezTo>
                <a:cubicBezTo>
                  <a:pt x="988679" y="1782104"/>
                  <a:pt x="989505" y="1782879"/>
                  <a:pt x="990021" y="1783653"/>
                </a:cubicBezTo>
                <a:cubicBezTo>
                  <a:pt x="990331" y="1784892"/>
                  <a:pt x="990331" y="1784892"/>
                  <a:pt x="990640" y="1785977"/>
                </a:cubicBezTo>
                <a:cubicBezTo>
                  <a:pt x="989814" y="1787371"/>
                  <a:pt x="989608" y="1789230"/>
                  <a:pt x="987956" y="1790159"/>
                </a:cubicBezTo>
                <a:cubicBezTo>
                  <a:pt x="985581" y="1790469"/>
                  <a:pt x="982380" y="1787371"/>
                  <a:pt x="981244" y="1785822"/>
                </a:cubicBezTo>
                <a:cubicBezTo>
                  <a:pt x="980625" y="1783499"/>
                  <a:pt x="982690" y="1781949"/>
                  <a:pt x="985064" y="1781485"/>
                </a:cubicBezTo>
                <a:close/>
                <a:moveTo>
                  <a:pt x="5608458" y="1781207"/>
                </a:moveTo>
                <a:cubicBezTo>
                  <a:pt x="5609738" y="1781207"/>
                  <a:pt x="5611445" y="1782060"/>
                  <a:pt x="5613366" y="1783198"/>
                </a:cubicBezTo>
                <a:cubicBezTo>
                  <a:pt x="5617208" y="1785332"/>
                  <a:pt x="5616567" y="1789031"/>
                  <a:pt x="5619129" y="1791308"/>
                </a:cubicBezTo>
                <a:cubicBezTo>
                  <a:pt x="5616994" y="1792588"/>
                  <a:pt x="5613793" y="1795291"/>
                  <a:pt x="5608671" y="1791876"/>
                </a:cubicBezTo>
                <a:cubicBezTo>
                  <a:pt x="5607391" y="1790738"/>
                  <a:pt x="5607391" y="1790738"/>
                  <a:pt x="5607177" y="1789600"/>
                </a:cubicBezTo>
                <a:cubicBezTo>
                  <a:pt x="5605683" y="1787182"/>
                  <a:pt x="5604189" y="1786044"/>
                  <a:pt x="5605043" y="1783625"/>
                </a:cubicBezTo>
                <a:cubicBezTo>
                  <a:pt x="5606110" y="1781776"/>
                  <a:pt x="5607177" y="1781064"/>
                  <a:pt x="5608458" y="1781207"/>
                </a:cubicBezTo>
                <a:close/>
                <a:moveTo>
                  <a:pt x="6006912" y="1781064"/>
                </a:moveTo>
                <a:cubicBezTo>
                  <a:pt x="6024199" y="1792161"/>
                  <a:pt x="6028467" y="1817058"/>
                  <a:pt x="6036151" y="1837545"/>
                </a:cubicBezTo>
                <a:cubicBezTo>
                  <a:pt x="6031882" y="1837830"/>
                  <a:pt x="6030175" y="1840959"/>
                  <a:pt x="6023559" y="1839963"/>
                </a:cubicBezTo>
                <a:cubicBezTo>
                  <a:pt x="6019291" y="1818197"/>
                  <a:pt x="6009900" y="1799132"/>
                  <a:pt x="6006912" y="1781064"/>
                </a:cubicBezTo>
                <a:close/>
                <a:moveTo>
                  <a:pt x="1834450" y="1780556"/>
                </a:moveTo>
                <a:cubicBezTo>
                  <a:pt x="1836825" y="1781795"/>
                  <a:pt x="1838477" y="1784428"/>
                  <a:pt x="1838994" y="1787371"/>
                </a:cubicBezTo>
                <a:cubicBezTo>
                  <a:pt x="1834450" y="1788455"/>
                  <a:pt x="1831249" y="1786906"/>
                  <a:pt x="1827945" y="1783344"/>
                </a:cubicBezTo>
                <a:cubicBezTo>
                  <a:pt x="1828358" y="1782724"/>
                  <a:pt x="1829391" y="1782104"/>
                  <a:pt x="1830630" y="1781640"/>
                </a:cubicBezTo>
                <a:cubicBezTo>
                  <a:pt x="1831869" y="1781175"/>
                  <a:pt x="1833314" y="1780865"/>
                  <a:pt x="1834450" y="1780556"/>
                </a:cubicBezTo>
                <a:close/>
                <a:moveTo>
                  <a:pt x="5086859" y="1780495"/>
                </a:moveTo>
                <a:cubicBezTo>
                  <a:pt x="5093689" y="1782060"/>
                  <a:pt x="5100945" y="1788462"/>
                  <a:pt x="5102653" y="1793584"/>
                </a:cubicBezTo>
                <a:cubicBezTo>
                  <a:pt x="5101159" y="1798705"/>
                  <a:pt x="5098598" y="1801267"/>
                  <a:pt x="5095610" y="1802262"/>
                </a:cubicBezTo>
                <a:cubicBezTo>
                  <a:pt x="5088994" y="1804254"/>
                  <a:pt x="5080884" y="1797283"/>
                  <a:pt x="5079603" y="1789173"/>
                </a:cubicBezTo>
                <a:lnTo>
                  <a:pt x="5080244" y="1783767"/>
                </a:lnTo>
                <a:lnTo>
                  <a:pt x="5079817" y="1783198"/>
                </a:lnTo>
                <a:lnTo>
                  <a:pt x="5080457" y="1781917"/>
                </a:lnTo>
                <a:lnTo>
                  <a:pt x="5080671" y="1780922"/>
                </a:lnTo>
                <a:cubicBezTo>
                  <a:pt x="5082591" y="1780068"/>
                  <a:pt x="5084726" y="1780068"/>
                  <a:pt x="5086859" y="1780495"/>
                </a:cubicBezTo>
                <a:close/>
                <a:moveTo>
                  <a:pt x="865700" y="1780091"/>
                </a:moveTo>
                <a:lnTo>
                  <a:pt x="868489" y="1782259"/>
                </a:lnTo>
                <a:cubicBezTo>
                  <a:pt x="867662" y="1783189"/>
                  <a:pt x="866010" y="1784273"/>
                  <a:pt x="865184" y="1783653"/>
                </a:cubicBezTo>
                <a:cubicBezTo>
                  <a:pt x="864255" y="1783344"/>
                  <a:pt x="864255" y="1782879"/>
                  <a:pt x="864461" y="1782259"/>
                </a:cubicBezTo>
                <a:cubicBezTo>
                  <a:pt x="864771" y="1781795"/>
                  <a:pt x="865391" y="1781020"/>
                  <a:pt x="865700" y="1780091"/>
                </a:cubicBezTo>
                <a:close/>
                <a:moveTo>
                  <a:pt x="867972" y="1779781"/>
                </a:moveTo>
                <a:cubicBezTo>
                  <a:pt x="868901" y="1780556"/>
                  <a:pt x="867972" y="1780401"/>
                  <a:pt x="867972" y="1781175"/>
                </a:cubicBezTo>
                <a:cubicBezTo>
                  <a:pt x="867456" y="1780710"/>
                  <a:pt x="867249" y="1780556"/>
                  <a:pt x="867249" y="1780401"/>
                </a:cubicBezTo>
                <a:cubicBezTo>
                  <a:pt x="867249" y="1780245"/>
                  <a:pt x="867456" y="1780091"/>
                  <a:pt x="867972" y="1779781"/>
                </a:cubicBezTo>
                <a:close/>
                <a:moveTo>
                  <a:pt x="5103293" y="1779499"/>
                </a:moveTo>
                <a:cubicBezTo>
                  <a:pt x="5108842" y="1779926"/>
                  <a:pt x="5112897" y="1782629"/>
                  <a:pt x="5115031" y="1790027"/>
                </a:cubicBezTo>
                <a:cubicBezTo>
                  <a:pt x="5112256" y="1793584"/>
                  <a:pt x="5107775" y="1793015"/>
                  <a:pt x="5103933" y="1790454"/>
                </a:cubicBezTo>
                <a:cubicBezTo>
                  <a:pt x="5100092" y="1788035"/>
                  <a:pt x="5097104" y="1783625"/>
                  <a:pt x="5097104" y="1779642"/>
                </a:cubicBezTo>
                <a:cubicBezTo>
                  <a:pt x="5099238" y="1779357"/>
                  <a:pt x="5101372" y="1779357"/>
                  <a:pt x="5103293" y="1779499"/>
                </a:cubicBezTo>
                <a:close/>
                <a:moveTo>
                  <a:pt x="1455087" y="1779316"/>
                </a:moveTo>
                <a:cubicBezTo>
                  <a:pt x="1457978" y="1782414"/>
                  <a:pt x="1455087" y="1787216"/>
                  <a:pt x="1451473" y="1787526"/>
                </a:cubicBezTo>
                <a:cubicBezTo>
                  <a:pt x="1450131" y="1786751"/>
                  <a:pt x="1449511" y="1785822"/>
                  <a:pt x="1449304" y="1784892"/>
                </a:cubicBezTo>
                <a:cubicBezTo>
                  <a:pt x="1448788" y="1781949"/>
                  <a:pt x="1452608" y="1779006"/>
                  <a:pt x="1455087" y="1779316"/>
                </a:cubicBezTo>
                <a:close/>
                <a:moveTo>
                  <a:pt x="1806674" y="1779161"/>
                </a:moveTo>
                <a:cubicBezTo>
                  <a:pt x="1807500" y="1779006"/>
                  <a:pt x="1807810" y="1779781"/>
                  <a:pt x="1808533" y="1779471"/>
                </a:cubicBezTo>
                <a:cubicBezTo>
                  <a:pt x="1808533" y="1779471"/>
                  <a:pt x="1808842" y="1780401"/>
                  <a:pt x="1808842" y="1780401"/>
                </a:cubicBezTo>
                <a:cubicBezTo>
                  <a:pt x="1809256" y="1780245"/>
                  <a:pt x="1809153" y="1780245"/>
                  <a:pt x="1809049" y="1780556"/>
                </a:cubicBezTo>
                <a:cubicBezTo>
                  <a:pt x="1808946" y="1780710"/>
                  <a:pt x="1808739" y="1781175"/>
                  <a:pt x="1808636" y="1782104"/>
                </a:cubicBezTo>
                <a:cubicBezTo>
                  <a:pt x="1808120" y="1783034"/>
                  <a:pt x="1808430" y="1783808"/>
                  <a:pt x="1807294" y="1783189"/>
                </a:cubicBezTo>
                <a:cubicBezTo>
                  <a:pt x="1806261" y="1782724"/>
                  <a:pt x="1806365" y="1782724"/>
                  <a:pt x="1805435" y="1780401"/>
                </a:cubicBezTo>
                <a:cubicBezTo>
                  <a:pt x="1806571" y="1780865"/>
                  <a:pt x="1806571" y="1781020"/>
                  <a:pt x="1806984" y="1779936"/>
                </a:cubicBezTo>
                <a:cubicBezTo>
                  <a:pt x="1806984" y="1779936"/>
                  <a:pt x="1806984" y="1779936"/>
                  <a:pt x="1806674" y="1779161"/>
                </a:cubicBezTo>
                <a:close/>
                <a:moveTo>
                  <a:pt x="5635775" y="1778930"/>
                </a:moveTo>
                <a:cubicBezTo>
                  <a:pt x="5636629" y="1779926"/>
                  <a:pt x="5637483" y="1779357"/>
                  <a:pt x="5638123" y="1780353"/>
                </a:cubicBezTo>
                <a:cubicBezTo>
                  <a:pt x="5638123" y="1780353"/>
                  <a:pt x="5639190" y="1781064"/>
                  <a:pt x="5640471" y="1782487"/>
                </a:cubicBezTo>
                <a:cubicBezTo>
                  <a:pt x="5641537" y="1783909"/>
                  <a:pt x="5642605" y="1786186"/>
                  <a:pt x="5642605" y="1789173"/>
                </a:cubicBezTo>
                <a:cubicBezTo>
                  <a:pt x="5642392" y="1790738"/>
                  <a:pt x="5640897" y="1794722"/>
                  <a:pt x="5640257" y="1793726"/>
                </a:cubicBezTo>
                <a:cubicBezTo>
                  <a:pt x="5638550" y="1793299"/>
                  <a:pt x="5639190" y="1794153"/>
                  <a:pt x="5638336" y="1794865"/>
                </a:cubicBezTo>
                <a:cubicBezTo>
                  <a:pt x="5633428" y="1793584"/>
                  <a:pt x="5630653" y="1791165"/>
                  <a:pt x="5630440" y="1786897"/>
                </a:cubicBezTo>
                <a:cubicBezTo>
                  <a:pt x="5630866" y="1783625"/>
                  <a:pt x="5631721" y="1778788"/>
                  <a:pt x="5635775" y="1778930"/>
                </a:cubicBezTo>
                <a:close/>
                <a:moveTo>
                  <a:pt x="5195704" y="1776796"/>
                </a:moveTo>
                <a:cubicBezTo>
                  <a:pt x="5197411" y="1777223"/>
                  <a:pt x="5197411" y="1777223"/>
                  <a:pt x="5198051" y="1778219"/>
                </a:cubicBezTo>
                <a:cubicBezTo>
                  <a:pt x="5197838" y="1779784"/>
                  <a:pt x="5196771" y="1780495"/>
                  <a:pt x="5196557" y="1782060"/>
                </a:cubicBezTo>
                <a:cubicBezTo>
                  <a:pt x="5199759" y="1782914"/>
                  <a:pt x="5199119" y="1781917"/>
                  <a:pt x="5198905" y="1783482"/>
                </a:cubicBezTo>
                <a:cubicBezTo>
                  <a:pt x="5198905" y="1783482"/>
                  <a:pt x="5198905" y="1783482"/>
                  <a:pt x="5198692" y="1785190"/>
                </a:cubicBezTo>
                <a:cubicBezTo>
                  <a:pt x="5198692" y="1785190"/>
                  <a:pt x="5199332" y="1786186"/>
                  <a:pt x="5195277" y="1785901"/>
                </a:cubicBezTo>
                <a:cubicBezTo>
                  <a:pt x="5195490" y="1784336"/>
                  <a:pt x="5196131" y="1779499"/>
                  <a:pt x="5196131" y="1779499"/>
                </a:cubicBezTo>
                <a:cubicBezTo>
                  <a:pt x="5195490" y="1778361"/>
                  <a:pt x="5195490" y="1778361"/>
                  <a:pt x="5195704" y="1776796"/>
                </a:cubicBezTo>
                <a:close/>
                <a:moveTo>
                  <a:pt x="5022407" y="1776654"/>
                </a:moveTo>
                <a:cubicBezTo>
                  <a:pt x="5023688" y="1776512"/>
                  <a:pt x="5024541" y="1776796"/>
                  <a:pt x="5025181" y="1777365"/>
                </a:cubicBezTo>
                <a:cubicBezTo>
                  <a:pt x="5025608" y="1777935"/>
                  <a:pt x="5025821" y="1778788"/>
                  <a:pt x="5026035" y="1780210"/>
                </a:cubicBezTo>
                <a:lnTo>
                  <a:pt x="5022620" y="1783482"/>
                </a:lnTo>
                <a:lnTo>
                  <a:pt x="5025395" y="1784621"/>
                </a:lnTo>
                <a:lnTo>
                  <a:pt x="5028169" y="1787893"/>
                </a:lnTo>
                <a:lnTo>
                  <a:pt x="5028383" y="1784479"/>
                </a:lnTo>
                <a:cubicBezTo>
                  <a:pt x="5034359" y="1790027"/>
                  <a:pt x="5039054" y="1796002"/>
                  <a:pt x="5049511" y="1800128"/>
                </a:cubicBezTo>
                <a:cubicBezTo>
                  <a:pt x="5047804" y="1803116"/>
                  <a:pt x="5051646" y="1804396"/>
                  <a:pt x="5048658" y="1807669"/>
                </a:cubicBezTo>
                <a:cubicBezTo>
                  <a:pt x="5041828" y="1809803"/>
                  <a:pt x="5030304" y="1802120"/>
                  <a:pt x="5027742" y="1793299"/>
                </a:cubicBezTo>
                <a:lnTo>
                  <a:pt x="5027956" y="1789743"/>
                </a:lnTo>
                <a:lnTo>
                  <a:pt x="5021553" y="1794865"/>
                </a:lnTo>
                <a:lnTo>
                  <a:pt x="5016218" y="1793868"/>
                </a:lnTo>
                <a:lnTo>
                  <a:pt x="5020913" y="1796430"/>
                </a:lnTo>
                <a:cubicBezTo>
                  <a:pt x="5025608" y="1799986"/>
                  <a:pt x="5029236" y="1804823"/>
                  <a:pt x="5031157" y="1810229"/>
                </a:cubicBezTo>
                <a:cubicBezTo>
                  <a:pt x="5032011" y="1812648"/>
                  <a:pt x="5032651" y="1815208"/>
                  <a:pt x="5032864" y="1817770"/>
                </a:cubicBezTo>
                <a:lnTo>
                  <a:pt x="5031797" y="1825167"/>
                </a:lnTo>
                <a:lnTo>
                  <a:pt x="5033504" y="1825310"/>
                </a:lnTo>
                <a:cubicBezTo>
                  <a:pt x="5035425" y="1826021"/>
                  <a:pt x="5036492" y="1827159"/>
                  <a:pt x="5036919" y="1829009"/>
                </a:cubicBezTo>
                <a:lnTo>
                  <a:pt x="5036706" y="1832138"/>
                </a:lnTo>
                <a:lnTo>
                  <a:pt x="5042255" y="1831001"/>
                </a:lnTo>
                <a:cubicBezTo>
                  <a:pt x="5050365" y="1830716"/>
                  <a:pt x="5058048" y="1833135"/>
                  <a:pt x="5059329" y="1839679"/>
                </a:cubicBezTo>
                <a:cubicBezTo>
                  <a:pt x="5046096" y="1838540"/>
                  <a:pt x="5036919" y="1844374"/>
                  <a:pt x="5022407" y="1839963"/>
                </a:cubicBezTo>
                <a:lnTo>
                  <a:pt x="5027529" y="1835980"/>
                </a:lnTo>
                <a:lnTo>
                  <a:pt x="5026676" y="1833419"/>
                </a:lnTo>
                <a:lnTo>
                  <a:pt x="5028596" y="1826591"/>
                </a:lnTo>
                <a:lnTo>
                  <a:pt x="5019419" y="1829293"/>
                </a:lnTo>
                <a:cubicBezTo>
                  <a:pt x="5015364" y="1829436"/>
                  <a:pt x="5011522" y="1828866"/>
                  <a:pt x="5008108" y="1827444"/>
                </a:cubicBezTo>
                <a:cubicBezTo>
                  <a:pt x="4996796" y="1822749"/>
                  <a:pt x="4989113" y="1809945"/>
                  <a:pt x="4990394" y="1795291"/>
                </a:cubicBezTo>
                <a:cubicBezTo>
                  <a:pt x="4992101" y="1794722"/>
                  <a:pt x="4993595" y="1794153"/>
                  <a:pt x="4993168" y="1792588"/>
                </a:cubicBezTo>
                <a:cubicBezTo>
                  <a:pt x="4996796" y="1790881"/>
                  <a:pt x="5000851" y="1790169"/>
                  <a:pt x="5004693" y="1790454"/>
                </a:cubicBezTo>
                <a:lnTo>
                  <a:pt x="5011736" y="1791876"/>
                </a:lnTo>
                <a:lnTo>
                  <a:pt x="5009602" y="1788178"/>
                </a:lnTo>
                <a:lnTo>
                  <a:pt x="5011096" y="1786613"/>
                </a:lnTo>
                <a:lnTo>
                  <a:pt x="5010029" y="1786328"/>
                </a:lnTo>
                <a:cubicBezTo>
                  <a:pt x="5008321" y="1786044"/>
                  <a:pt x="5006827" y="1785474"/>
                  <a:pt x="5007467" y="1786613"/>
                </a:cubicBezTo>
                <a:cubicBezTo>
                  <a:pt x="5002559" y="1785332"/>
                  <a:pt x="5001705" y="1785901"/>
                  <a:pt x="5000425" y="1782202"/>
                </a:cubicBezTo>
                <a:cubicBezTo>
                  <a:pt x="5008748" y="1778219"/>
                  <a:pt x="5019846" y="1776796"/>
                  <a:pt x="5022407" y="1776654"/>
                </a:cubicBezTo>
                <a:close/>
                <a:moveTo>
                  <a:pt x="5152380" y="1775943"/>
                </a:moveTo>
                <a:cubicBezTo>
                  <a:pt x="5152380" y="1775943"/>
                  <a:pt x="5152806" y="1775943"/>
                  <a:pt x="5153020" y="1776227"/>
                </a:cubicBezTo>
                <a:cubicBezTo>
                  <a:pt x="5153447" y="1776512"/>
                  <a:pt x="5153660" y="1777080"/>
                  <a:pt x="5153660" y="1777792"/>
                </a:cubicBezTo>
                <a:cubicBezTo>
                  <a:pt x="5153660" y="1777792"/>
                  <a:pt x="5153447" y="1777792"/>
                  <a:pt x="5152593" y="1778361"/>
                </a:cubicBezTo>
                <a:cubicBezTo>
                  <a:pt x="5152593" y="1778361"/>
                  <a:pt x="5152166" y="1777365"/>
                  <a:pt x="5152380" y="1775943"/>
                </a:cubicBezTo>
                <a:close/>
                <a:moveTo>
                  <a:pt x="6212436" y="1775800"/>
                </a:moveTo>
                <a:cubicBezTo>
                  <a:pt x="6214997" y="1776085"/>
                  <a:pt x="6217131" y="1777223"/>
                  <a:pt x="6218625" y="1779215"/>
                </a:cubicBezTo>
                <a:cubicBezTo>
                  <a:pt x="6219692" y="1780637"/>
                  <a:pt x="6220332" y="1782345"/>
                  <a:pt x="6220546" y="1784194"/>
                </a:cubicBezTo>
                <a:lnTo>
                  <a:pt x="6220546" y="1784479"/>
                </a:lnTo>
                <a:lnTo>
                  <a:pt x="6222040" y="1783340"/>
                </a:lnTo>
                <a:cubicBezTo>
                  <a:pt x="6222893" y="1782914"/>
                  <a:pt x="6223747" y="1782914"/>
                  <a:pt x="6224387" y="1783482"/>
                </a:cubicBezTo>
                <a:cubicBezTo>
                  <a:pt x="6224600" y="1784621"/>
                  <a:pt x="6225668" y="1784621"/>
                  <a:pt x="6225881" y="1785759"/>
                </a:cubicBezTo>
                <a:cubicBezTo>
                  <a:pt x="6227375" y="1788178"/>
                  <a:pt x="6227588" y="1789316"/>
                  <a:pt x="6226521" y="1790596"/>
                </a:cubicBezTo>
                <a:cubicBezTo>
                  <a:pt x="6226735" y="1791734"/>
                  <a:pt x="6225668" y="1791876"/>
                  <a:pt x="6224600" y="1793157"/>
                </a:cubicBezTo>
                <a:cubicBezTo>
                  <a:pt x="6223533" y="1793157"/>
                  <a:pt x="6222253" y="1792019"/>
                  <a:pt x="6222253" y="1792019"/>
                </a:cubicBezTo>
                <a:cubicBezTo>
                  <a:pt x="6220972" y="1790881"/>
                  <a:pt x="6220972" y="1790881"/>
                  <a:pt x="6219905" y="1792161"/>
                </a:cubicBezTo>
                <a:cubicBezTo>
                  <a:pt x="6219905" y="1792161"/>
                  <a:pt x="6219692" y="1791023"/>
                  <a:pt x="6219692" y="1791023"/>
                </a:cubicBezTo>
                <a:cubicBezTo>
                  <a:pt x="6220332" y="1791023"/>
                  <a:pt x="6220332" y="1791023"/>
                  <a:pt x="6219905" y="1790881"/>
                </a:cubicBezTo>
                <a:lnTo>
                  <a:pt x="6219052" y="1790169"/>
                </a:lnTo>
                <a:lnTo>
                  <a:pt x="6218412" y="1793441"/>
                </a:lnTo>
                <a:cubicBezTo>
                  <a:pt x="6213716" y="1798279"/>
                  <a:pt x="6201978" y="1793868"/>
                  <a:pt x="6200911" y="1788035"/>
                </a:cubicBezTo>
                <a:cubicBezTo>
                  <a:pt x="6202191" y="1784763"/>
                  <a:pt x="6203472" y="1781491"/>
                  <a:pt x="6204753" y="1778361"/>
                </a:cubicBezTo>
                <a:cubicBezTo>
                  <a:pt x="6207313" y="1776369"/>
                  <a:pt x="6209875" y="1775516"/>
                  <a:pt x="6212436" y="1775800"/>
                </a:cubicBezTo>
                <a:close/>
                <a:moveTo>
                  <a:pt x="5214911" y="1775800"/>
                </a:moveTo>
                <a:cubicBezTo>
                  <a:pt x="5218113" y="1776654"/>
                  <a:pt x="5222381" y="1776938"/>
                  <a:pt x="5222808" y="1779499"/>
                </a:cubicBezTo>
                <a:cubicBezTo>
                  <a:pt x="5222168" y="1788746"/>
                  <a:pt x="5206588" y="1787324"/>
                  <a:pt x="5203174" y="1788035"/>
                </a:cubicBezTo>
                <a:cubicBezTo>
                  <a:pt x="5203174" y="1788035"/>
                  <a:pt x="5202320" y="1788604"/>
                  <a:pt x="5200612" y="1788320"/>
                </a:cubicBezTo>
                <a:cubicBezTo>
                  <a:pt x="5198264" y="1788462"/>
                  <a:pt x="5200186" y="1785617"/>
                  <a:pt x="5198692" y="1785190"/>
                </a:cubicBezTo>
                <a:cubicBezTo>
                  <a:pt x="5207442" y="1782345"/>
                  <a:pt x="5212350" y="1776085"/>
                  <a:pt x="5212350" y="1776085"/>
                </a:cubicBezTo>
                <a:cubicBezTo>
                  <a:pt x="5214911" y="1775943"/>
                  <a:pt x="5215765" y="1776796"/>
                  <a:pt x="5214911" y="1775800"/>
                </a:cubicBezTo>
                <a:close/>
                <a:moveTo>
                  <a:pt x="3841982" y="1775516"/>
                </a:moveTo>
                <a:cubicBezTo>
                  <a:pt x="3849239" y="1774804"/>
                  <a:pt x="3856281" y="1777365"/>
                  <a:pt x="3860550" y="1784763"/>
                </a:cubicBezTo>
                <a:lnTo>
                  <a:pt x="3860550" y="1784905"/>
                </a:lnTo>
                <a:lnTo>
                  <a:pt x="3866526" y="1790596"/>
                </a:lnTo>
                <a:cubicBezTo>
                  <a:pt x="3869513" y="1793726"/>
                  <a:pt x="3872501" y="1796998"/>
                  <a:pt x="3874422" y="1800840"/>
                </a:cubicBezTo>
                <a:cubicBezTo>
                  <a:pt x="3872288" y="1800840"/>
                  <a:pt x="3869940" y="1800270"/>
                  <a:pt x="3867593" y="1799132"/>
                </a:cubicBezTo>
                <a:lnTo>
                  <a:pt x="3863751" y="1796856"/>
                </a:lnTo>
                <a:lnTo>
                  <a:pt x="3863751" y="1799417"/>
                </a:lnTo>
                <a:lnTo>
                  <a:pt x="3863965" y="1799702"/>
                </a:lnTo>
                <a:lnTo>
                  <a:pt x="3863537" y="1801835"/>
                </a:lnTo>
                <a:lnTo>
                  <a:pt x="3863324" y="1803685"/>
                </a:lnTo>
                <a:cubicBezTo>
                  <a:pt x="3861190" y="1813359"/>
                  <a:pt x="3855001" y="1823034"/>
                  <a:pt x="3852013" y="1835838"/>
                </a:cubicBezTo>
                <a:cubicBezTo>
                  <a:pt x="3850306" y="1832992"/>
                  <a:pt x="3848171" y="1831001"/>
                  <a:pt x="3846037" y="1829436"/>
                </a:cubicBezTo>
                <a:lnTo>
                  <a:pt x="3844756" y="1829009"/>
                </a:lnTo>
                <a:lnTo>
                  <a:pt x="3843049" y="1830431"/>
                </a:lnTo>
                <a:cubicBezTo>
                  <a:pt x="3839635" y="1831854"/>
                  <a:pt x="3835366" y="1830289"/>
                  <a:pt x="3832592" y="1827444"/>
                </a:cubicBezTo>
                <a:lnTo>
                  <a:pt x="3832378" y="1826875"/>
                </a:lnTo>
                <a:lnTo>
                  <a:pt x="3830244" y="1830858"/>
                </a:lnTo>
                <a:cubicBezTo>
                  <a:pt x="3829390" y="1832281"/>
                  <a:pt x="3828323" y="1833277"/>
                  <a:pt x="3827043" y="1832992"/>
                </a:cubicBezTo>
                <a:cubicBezTo>
                  <a:pt x="3822988" y="1831428"/>
                  <a:pt x="3822561" y="1826875"/>
                  <a:pt x="3822988" y="1822180"/>
                </a:cubicBezTo>
                <a:lnTo>
                  <a:pt x="3822988" y="1821469"/>
                </a:lnTo>
                <a:lnTo>
                  <a:pt x="3819360" y="1818623"/>
                </a:lnTo>
                <a:cubicBezTo>
                  <a:pt x="3818293" y="1817343"/>
                  <a:pt x="3817226" y="1815920"/>
                  <a:pt x="3816372" y="1813928"/>
                </a:cubicBezTo>
                <a:lnTo>
                  <a:pt x="3815305" y="1807526"/>
                </a:lnTo>
                <a:lnTo>
                  <a:pt x="3812530" y="1806530"/>
                </a:lnTo>
                <a:cubicBezTo>
                  <a:pt x="3810823" y="1793726"/>
                  <a:pt x="3814024" y="1789458"/>
                  <a:pt x="3818506" y="1789743"/>
                </a:cubicBezTo>
                <a:lnTo>
                  <a:pt x="3819146" y="1790027"/>
                </a:lnTo>
                <a:lnTo>
                  <a:pt x="3823628" y="1784194"/>
                </a:lnTo>
                <a:cubicBezTo>
                  <a:pt x="3828750" y="1779357"/>
                  <a:pt x="3835580" y="1776085"/>
                  <a:pt x="3841982" y="1775516"/>
                </a:cubicBezTo>
                <a:close/>
                <a:moveTo>
                  <a:pt x="1537666" y="1774921"/>
                </a:moveTo>
                <a:cubicBezTo>
                  <a:pt x="1538621" y="1774553"/>
                  <a:pt x="1540067" y="1774979"/>
                  <a:pt x="1542132" y="1775444"/>
                </a:cubicBezTo>
                <a:cubicBezTo>
                  <a:pt x="1541616" y="1779006"/>
                  <a:pt x="1539757" y="1779471"/>
                  <a:pt x="1536143" y="1779161"/>
                </a:cubicBezTo>
                <a:cubicBezTo>
                  <a:pt x="1536246" y="1776451"/>
                  <a:pt x="1536711" y="1775289"/>
                  <a:pt x="1537666" y="1774921"/>
                </a:cubicBezTo>
                <a:close/>
                <a:moveTo>
                  <a:pt x="3777743" y="1774378"/>
                </a:moveTo>
                <a:cubicBezTo>
                  <a:pt x="3779023" y="1776227"/>
                  <a:pt x="3779450" y="1777650"/>
                  <a:pt x="3779237" y="1779215"/>
                </a:cubicBezTo>
                <a:lnTo>
                  <a:pt x="3777956" y="1782629"/>
                </a:lnTo>
                <a:lnTo>
                  <a:pt x="3786066" y="1784194"/>
                </a:lnTo>
                <a:cubicBezTo>
                  <a:pt x="3788841" y="1784479"/>
                  <a:pt x="3791401" y="1785048"/>
                  <a:pt x="3792469" y="1786755"/>
                </a:cubicBezTo>
                <a:cubicBezTo>
                  <a:pt x="3793323" y="1787893"/>
                  <a:pt x="3793323" y="1789600"/>
                  <a:pt x="3792682" y="1792161"/>
                </a:cubicBezTo>
                <a:cubicBezTo>
                  <a:pt x="3787987" y="1793157"/>
                  <a:pt x="3769633" y="1792019"/>
                  <a:pt x="3776035" y="1782345"/>
                </a:cubicBezTo>
                <a:lnTo>
                  <a:pt x="3776249" y="1782345"/>
                </a:lnTo>
                <a:lnTo>
                  <a:pt x="3774969" y="1779072"/>
                </a:lnTo>
                <a:cubicBezTo>
                  <a:pt x="3775182" y="1777365"/>
                  <a:pt x="3776249" y="1776085"/>
                  <a:pt x="3777743" y="1774378"/>
                </a:cubicBezTo>
                <a:close/>
                <a:moveTo>
                  <a:pt x="1211609" y="1774049"/>
                </a:moveTo>
                <a:cubicBezTo>
                  <a:pt x="1212331" y="1774205"/>
                  <a:pt x="1212951" y="1774669"/>
                  <a:pt x="1213261" y="1775444"/>
                </a:cubicBezTo>
                <a:cubicBezTo>
                  <a:pt x="1213570" y="1776528"/>
                  <a:pt x="1212435" y="1776683"/>
                  <a:pt x="1212022" y="1777457"/>
                </a:cubicBezTo>
                <a:cubicBezTo>
                  <a:pt x="1210370" y="1778232"/>
                  <a:pt x="1203968" y="1776993"/>
                  <a:pt x="1203658" y="1775753"/>
                </a:cubicBezTo>
                <a:cubicBezTo>
                  <a:pt x="1205723" y="1774979"/>
                  <a:pt x="1209337" y="1773585"/>
                  <a:pt x="1211609" y="1774049"/>
                </a:cubicBezTo>
                <a:close/>
                <a:moveTo>
                  <a:pt x="1297001" y="1773740"/>
                </a:moveTo>
                <a:cubicBezTo>
                  <a:pt x="1302061" y="1774824"/>
                  <a:pt x="1302784" y="1781330"/>
                  <a:pt x="1303197" y="1785667"/>
                </a:cubicBezTo>
                <a:lnTo>
                  <a:pt x="1303403" y="1788610"/>
                </a:lnTo>
                <a:lnTo>
                  <a:pt x="1305985" y="1789694"/>
                </a:lnTo>
                <a:cubicBezTo>
                  <a:pt x="1306914" y="1790934"/>
                  <a:pt x="1305778" y="1793102"/>
                  <a:pt x="1304126" y="1793567"/>
                </a:cubicBezTo>
                <a:lnTo>
                  <a:pt x="1301855" y="1792947"/>
                </a:lnTo>
                <a:lnTo>
                  <a:pt x="1302061" y="1794496"/>
                </a:lnTo>
                <a:cubicBezTo>
                  <a:pt x="1300925" y="1794186"/>
                  <a:pt x="1297311" y="1793102"/>
                  <a:pt x="1297311" y="1793102"/>
                </a:cubicBezTo>
                <a:cubicBezTo>
                  <a:pt x="1296589" y="1793412"/>
                  <a:pt x="1296589" y="1793412"/>
                  <a:pt x="1295350" y="1793102"/>
                </a:cubicBezTo>
                <a:cubicBezTo>
                  <a:pt x="1295659" y="1792018"/>
                  <a:pt x="1295659" y="1792018"/>
                  <a:pt x="1296382" y="1791553"/>
                </a:cubicBezTo>
                <a:cubicBezTo>
                  <a:pt x="1297621" y="1792018"/>
                  <a:pt x="1298034" y="1792637"/>
                  <a:pt x="1299273" y="1793102"/>
                </a:cubicBezTo>
                <a:cubicBezTo>
                  <a:pt x="1299790" y="1790779"/>
                  <a:pt x="1299067" y="1791243"/>
                  <a:pt x="1300306" y="1791553"/>
                </a:cubicBezTo>
                <a:cubicBezTo>
                  <a:pt x="1300306" y="1791553"/>
                  <a:pt x="1300306" y="1791553"/>
                  <a:pt x="1301545" y="1791863"/>
                </a:cubicBezTo>
                <a:lnTo>
                  <a:pt x="1301648" y="1792018"/>
                </a:lnTo>
                <a:lnTo>
                  <a:pt x="1301855" y="1791863"/>
                </a:lnTo>
                <a:lnTo>
                  <a:pt x="1301545" y="1791863"/>
                </a:lnTo>
                <a:lnTo>
                  <a:pt x="1297415" y="1784428"/>
                </a:lnTo>
                <a:lnTo>
                  <a:pt x="1296382" y="1784273"/>
                </a:lnTo>
                <a:cubicBezTo>
                  <a:pt x="1297208" y="1784738"/>
                  <a:pt x="1295969" y="1785047"/>
                  <a:pt x="1295969" y="1785047"/>
                </a:cubicBezTo>
                <a:cubicBezTo>
                  <a:pt x="1295969" y="1785047"/>
                  <a:pt x="1295969" y="1785047"/>
                  <a:pt x="1296589" y="1787371"/>
                </a:cubicBezTo>
                <a:cubicBezTo>
                  <a:pt x="1296589" y="1787371"/>
                  <a:pt x="1297415" y="1792637"/>
                  <a:pt x="1292252" y="1794031"/>
                </a:cubicBezTo>
                <a:cubicBezTo>
                  <a:pt x="1292045" y="1793722"/>
                  <a:pt x="1291013" y="1793567"/>
                  <a:pt x="1289670" y="1793412"/>
                </a:cubicBezTo>
                <a:lnTo>
                  <a:pt x="1287089" y="1792947"/>
                </a:lnTo>
                <a:lnTo>
                  <a:pt x="1288225" y="1793257"/>
                </a:lnTo>
                <a:cubicBezTo>
                  <a:pt x="1289258" y="1794186"/>
                  <a:pt x="1289774" y="1795580"/>
                  <a:pt x="1289774" y="1796974"/>
                </a:cubicBezTo>
                <a:cubicBezTo>
                  <a:pt x="1286676" y="1799453"/>
                  <a:pt x="1283785" y="1798368"/>
                  <a:pt x="1283165" y="1795425"/>
                </a:cubicBezTo>
                <a:lnTo>
                  <a:pt x="1283372" y="1792018"/>
                </a:lnTo>
                <a:lnTo>
                  <a:pt x="1283269" y="1792018"/>
                </a:lnTo>
                <a:cubicBezTo>
                  <a:pt x="1281720" y="1791863"/>
                  <a:pt x="1280377" y="1791708"/>
                  <a:pt x="1279551" y="1791553"/>
                </a:cubicBezTo>
                <a:cubicBezTo>
                  <a:pt x="1279138" y="1790779"/>
                  <a:pt x="1279138" y="1790779"/>
                  <a:pt x="1279138" y="1790779"/>
                </a:cubicBezTo>
                <a:cubicBezTo>
                  <a:pt x="1279035" y="1789849"/>
                  <a:pt x="1279448" y="1789385"/>
                  <a:pt x="1280377" y="1789230"/>
                </a:cubicBezTo>
                <a:lnTo>
                  <a:pt x="1281720" y="1789230"/>
                </a:lnTo>
                <a:lnTo>
                  <a:pt x="1280067" y="1786286"/>
                </a:lnTo>
                <a:cubicBezTo>
                  <a:pt x="1281410" y="1784273"/>
                  <a:pt x="1280377" y="1780710"/>
                  <a:pt x="1286057" y="1778542"/>
                </a:cubicBezTo>
                <a:cubicBezTo>
                  <a:pt x="1292459" y="1776993"/>
                  <a:pt x="1294833" y="1783344"/>
                  <a:pt x="1295350" y="1782724"/>
                </a:cubicBezTo>
                <a:lnTo>
                  <a:pt x="1296072" y="1782414"/>
                </a:lnTo>
                <a:lnTo>
                  <a:pt x="1295350" y="1781640"/>
                </a:lnTo>
                <a:cubicBezTo>
                  <a:pt x="1294937" y="1781175"/>
                  <a:pt x="1294627" y="1780865"/>
                  <a:pt x="1294627" y="1780865"/>
                </a:cubicBezTo>
                <a:cubicBezTo>
                  <a:pt x="1294420" y="1779006"/>
                  <a:pt x="1295143" y="1778697"/>
                  <a:pt x="1294420" y="1779006"/>
                </a:cubicBezTo>
                <a:cubicBezTo>
                  <a:pt x="1294937" y="1776838"/>
                  <a:pt x="1295143" y="1773740"/>
                  <a:pt x="1297001" y="1773740"/>
                </a:cubicBezTo>
                <a:close/>
                <a:moveTo>
                  <a:pt x="3700698" y="1773097"/>
                </a:moveTo>
                <a:cubicBezTo>
                  <a:pt x="3701552" y="1772955"/>
                  <a:pt x="3702619" y="1773097"/>
                  <a:pt x="3703686" y="1773524"/>
                </a:cubicBezTo>
                <a:cubicBezTo>
                  <a:pt x="3701979" y="1775089"/>
                  <a:pt x="3698778" y="1778361"/>
                  <a:pt x="3696430" y="1778930"/>
                </a:cubicBezTo>
                <a:cubicBezTo>
                  <a:pt x="3695576" y="1779072"/>
                  <a:pt x="3694936" y="1778930"/>
                  <a:pt x="3694509" y="1778361"/>
                </a:cubicBezTo>
                <a:cubicBezTo>
                  <a:pt x="3696217" y="1776796"/>
                  <a:pt x="3697924" y="1773808"/>
                  <a:pt x="3700698" y="1773097"/>
                </a:cubicBezTo>
                <a:close/>
                <a:moveTo>
                  <a:pt x="990227" y="1772811"/>
                </a:moveTo>
                <a:cubicBezTo>
                  <a:pt x="993841" y="1771881"/>
                  <a:pt x="997455" y="1770952"/>
                  <a:pt x="998178" y="1774359"/>
                </a:cubicBezTo>
                <a:cubicBezTo>
                  <a:pt x="995803" y="1778077"/>
                  <a:pt x="990744" y="1778077"/>
                  <a:pt x="990227" y="1772811"/>
                </a:cubicBezTo>
                <a:close/>
                <a:moveTo>
                  <a:pt x="5773644" y="1772528"/>
                </a:moveTo>
                <a:cubicBezTo>
                  <a:pt x="5775565" y="1775373"/>
                  <a:pt x="5778127" y="1772386"/>
                  <a:pt x="5780047" y="1776512"/>
                </a:cubicBezTo>
                <a:cubicBezTo>
                  <a:pt x="5778767" y="1786044"/>
                  <a:pt x="5758705" y="1795860"/>
                  <a:pt x="5750595" y="1785474"/>
                </a:cubicBezTo>
                <a:cubicBezTo>
                  <a:pt x="5758065" y="1782345"/>
                  <a:pt x="5765535" y="1780353"/>
                  <a:pt x="5773644" y="1772528"/>
                </a:cubicBezTo>
                <a:close/>
                <a:moveTo>
                  <a:pt x="1099369" y="1772346"/>
                </a:moveTo>
                <a:cubicBezTo>
                  <a:pt x="1104326" y="1776528"/>
                  <a:pt x="1119504" y="1784738"/>
                  <a:pt x="1113515" y="1792018"/>
                </a:cubicBezTo>
                <a:cubicBezTo>
                  <a:pt x="1110005" y="1788610"/>
                  <a:pt x="1098130" y="1779936"/>
                  <a:pt x="1098440" y="1774514"/>
                </a:cubicBezTo>
                <a:cubicBezTo>
                  <a:pt x="1098543" y="1773740"/>
                  <a:pt x="1098750" y="1772966"/>
                  <a:pt x="1099369" y="1772346"/>
                </a:cubicBezTo>
                <a:close/>
                <a:moveTo>
                  <a:pt x="862809" y="1772346"/>
                </a:moveTo>
                <a:cubicBezTo>
                  <a:pt x="865494" y="1774359"/>
                  <a:pt x="866526" y="1776683"/>
                  <a:pt x="864874" y="1779471"/>
                </a:cubicBezTo>
                <a:cubicBezTo>
                  <a:pt x="863222" y="1781330"/>
                  <a:pt x="860744" y="1784118"/>
                  <a:pt x="858059" y="1782879"/>
                </a:cubicBezTo>
                <a:cubicBezTo>
                  <a:pt x="857956" y="1782104"/>
                  <a:pt x="857130" y="1782104"/>
                  <a:pt x="857130" y="1781330"/>
                </a:cubicBezTo>
                <a:cubicBezTo>
                  <a:pt x="857130" y="1781330"/>
                  <a:pt x="856614" y="1780556"/>
                  <a:pt x="856407" y="1779316"/>
                </a:cubicBezTo>
                <a:cubicBezTo>
                  <a:pt x="856304" y="1778852"/>
                  <a:pt x="856304" y="1778077"/>
                  <a:pt x="856511" y="1777302"/>
                </a:cubicBezTo>
                <a:cubicBezTo>
                  <a:pt x="856614" y="1776528"/>
                  <a:pt x="857027" y="1775599"/>
                  <a:pt x="857646" y="1774669"/>
                </a:cubicBezTo>
                <a:cubicBezTo>
                  <a:pt x="858472" y="1773740"/>
                  <a:pt x="860951" y="1771726"/>
                  <a:pt x="860951" y="1772501"/>
                </a:cubicBezTo>
                <a:cubicBezTo>
                  <a:pt x="861880" y="1773121"/>
                  <a:pt x="861880" y="1772346"/>
                  <a:pt x="862809" y="1772346"/>
                </a:cubicBezTo>
                <a:close/>
                <a:moveTo>
                  <a:pt x="984549" y="1772191"/>
                </a:moveTo>
                <a:cubicBezTo>
                  <a:pt x="985374" y="1770642"/>
                  <a:pt x="987026" y="1772501"/>
                  <a:pt x="987853" y="1773430"/>
                </a:cubicBezTo>
                <a:cubicBezTo>
                  <a:pt x="985374" y="1773121"/>
                  <a:pt x="984445" y="1773895"/>
                  <a:pt x="984549" y="1773121"/>
                </a:cubicBezTo>
                <a:cubicBezTo>
                  <a:pt x="984135" y="1772966"/>
                  <a:pt x="983929" y="1772811"/>
                  <a:pt x="983929" y="1772501"/>
                </a:cubicBezTo>
                <a:cubicBezTo>
                  <a:pt x="983929" y="1772346"/>
                  <a:pt x="984135" y="1772191"/>
                  <a:pt x="984549" y="1772191"/>
                </a:cubicBezTo>
                <a:close/>
                <a:moveTo>
                  <a:pt x="4729809" y="1772101"/>
                </a:moveTo>
                <a:cubicBezTo>
                  <a:pt x="4735144" y="1772528"/>
                  <a:pt x="4740693" y="1773951"/>
                  <a:pt x="4746668" y="1777792"/>
                </a:cubicBezTo>
                <a:cubicBezTo>
                  <a:pt x="4737918" y="1788035"/>
                  <a:pt x="4721058" y="1778930"/>
                  <a:pt x="4713802" y="1772670"/>
                </a:cubicBezTo>
                <a:cubicBezTo>
                  <a:pt x="4719138" y="1772386"/>
                  <a:pt x="4724259" y="1771674"/>
                  <a:pt x="4729809" y="1772101"/>
                </a:cubicBezTo>
                <a:close/>
                <a:moveTo>
                  <a:pt x="839680" y="1771571"/>
                </a:moveTo>
                <a:lnTo>
                  <a:pt x="842984" y="1772346"/>
                </a:lnTo>
                <a:lnTo>
                  <a:pt x="843810" y="1772036"/>
                </a:lnTo>
                <a:cubicBezTo>
                  <a:pt x="844636" y="1771881"/>
                  <a:pt x="845462" y="1772191"/>
                  <a:pt x="846288" y="1773121"/>
                </a:cubicBezTo>
                <a:lnTo>
                  <a:pt x="846908" y="1774049"/>
                </a:lnTo>
                <a:lnTo>
                  <a:pt x="849696" y="1776218"/>
                </a:lnTo>
                <a:lnTo>
                  <a:pt x="848353" y="1776993"/>
                </a:lnTo>
                <a:lnTo>
                  <a:pt x="847940" y="1780091"/>
                </a:lnTo>
                <a:cubicBezTo>
                  <a:pt x="848766" y="1781949"/>
                  <a:pt x="850419" y="1782879"/>
                  <a:pt x="849490" y="1784428"/>
                </a:cubicBezTo>
                <a:cubicBezTo>
                  <a:pt x="847837" y="1781795"/>
                  <a:pt x="847114" y="1780865"/>
                  <a:pt x="846288" y="1779006"/>
                </a:cubicBezTo>
                <a:lnTo>
                  <a:pt x="845049" y="1778542"/>
                </a:lnTo>
                <a:lnTo>
                  <a:pt x="844843" y="1778697"/>
                </a:lnTo>
                <a:lnTo>
                  <a:pt x="844533" y="1778387"/>
                </a:lnTo>
                <a:lnTo>
                  <a:pt x="843707" y="1777922"/>
                </a:lnTo>
                <a:lnTo>
                  <a:pt x="843500" y="1777612"/>
                </a:lnTo>
                <a:lnTo>
                  <a:pt x="841435" y="1776528"/>
                </a:lnTo>
                <a:cubicBezTo>
                  <a:pt x="839577" y="1775753"/>
                  <a:pt x="837615" y="1774979"/>
                  <a:pt x="837615" y="1774979"/>
                </a:cubicBezTo>
                <a:cubicBezTo>
                  <a:pt x="837305" y="1773740"/>
                  <a:pt x="837098" y="1773275"/>
                  <a:pt x="837408" y="1772811"/>
                </a:cubicBezTo>
                <a:cubicBezTo>
                  <a:pt x="837718" y="1772346"/>
                  <a:pt x="838337" y="1772191"/>
                  <a:pt x="839680" y="1771571"/>
                </a:cubicBezTo>
                <a:close/>
                <a:moveTo>
                  <a:pt x="3804847" y="1770963"/>
                </a:moveTo>
                <a:cubicBezTo>
                  <a:pt x="3807408" y="1770109"/>
                  <a:pt x="3809756" y="1770251"/>
                  <a:pt x="3810823" y="1770963"/>
                </a:cubicBezTo>
                <a:cubicBezTo>
                  <a:pt x="3813170" y="1773524"/>
                  <a:pt x="3814238" y="1778503"/>
                  <a:pt x="3810610" y="1781633"/>
                </a:cubicBezTo>
                <a:cubicBezTo>
                  <a:pt x="3808262" y="1784905"/>
                  <a:pt x="3803567" y="1784336"/>
                  <a:pt x="3799939" y="1787466"/>
                </a:cubicBezTo>
                <a:cubicBezTo>
                  <a:pt x="3795457" y="1783340"/>
                  <a:pt x="3794176" y="1782060"/>
                  <a:pt x="3796737" y="1776369"/>
                </a:cubicBezTo>
                <a:cubicBezTo>
                  <a:pt x="3796737" y="1776369"/>
                  <a:pt x="3798018" y="1775231"/>
                  <a:pt x="3798018" y="1775231"/>
                </a:cubicBezTo>
                <a:cubicBezTo>
                  <a:pt x="3799725" y="1773097"/>
                  <a:pt x="3802499" y="1771674"/>
                  <a:pt x="3804847" y="1770963"/>
                </a:cubicBezTo>
                <a:close/>
                <a:moveTo>
                  <a:pt x="3555573" y="1770678"/>
                </a:moveTo>
                <a:cubicBezTo>
                  <a:pt x="3561335" y="1771248"/>
                  <a:pt x="3566884" y="1773951"/>
                  <a:pt x="3567311" y="1777792"/>
                </a:cubicBezTo>
                <a:cubicBezTo>
                  <a:pt x="3567738" y="1781349"/>
                  <a:pt x="3564110" y="1785901"/>
                  <a:pt x="3552799" y="1790738"/>
                </a:cubicBezTo>
                <a:cubicBezTo>
                  <a:pt x="3540207" y="1778361"/>
                  <a:pt x="3543621" y="1772386"/>
                  <a:pt x="3550237" y="1770963"/>
                </a:cubicBezTo>
                <a:cubicBezTo>
                  <a:pt x="3551944" y="1770678"/>
                  <a:pt x="3553865" y="1770536"/>
                  <a:pt x="3555573" y="1770678"/>
                </a:cubicBezTo>
                <a:close/>
                <a:moveTo>
                  <a:pt x="1531187" y="1770642"/>
                </a:moveTo>
                <a:cubicBezTo>
                  <a:pt x="1531187" y="1770642"/>
                  <a:pt x="1531600" y="1771262"/>
                  <a:pt x="1531600" y="1771262"/>
                </a:cubicBezTo>
                <a:cubicBezTo>
                  <a:pt x="1531497" y="1774205"/>
                  <a:pt x="1530258" y="1773895"/>
                  <a:pt x="1527882" y="1773275"/>
                </a:cubicBezTo>
                <a:cubicBezTo>
                  <a:pt x="1527779" y="1772346"/>
                  <a:pt x="1527882" y="1771571"/>
                  <a:pt x="1528296" y="1771107"/>
                </a:cubicBezTo>
                <a:cubicBezTo>
                  <a:pt x="1528709" y="1770642"/>
                  <a:pt x="1529638" y="1770487"/>
                  <a:pt x="1531187" y="1770642"/>
                </a:cubicBezTo>
                <a:close/>
                <a:moveTo>
                  <a:pt x="1189408" y="1770642"/>
                </a:moveTo>
                <a:cubicBezTo>
                  <a:pt x="1190648" y="1770332"/>
                  <a:pt x="1191784" y="1769867"/>
                  <a:pt x="1191370" y="1770642"/>
                </a:cubicBezTo>
                <a:cubicBezTo>
                  <a:pt x="1192094" y="1770952"/>
                  <a:pt x="1191784" y="1771726"/>
                  <a:pt x="1192094" y="1772811"/>
                </a:cubicBezTo>
                <a:cubicBezTo>
                  <a:pt x="1191990" y="1774669"/>
                  <a:pt x="1190648" y="1776993"/>
                  <a:pt x="1189512" y="1777302"/>
                </a:cubicBezTo>
                <a:cubicBezTo>
                  <a:pt x="1188273" y="1777767"/>
                  <a:pt x="1187550" y="1777302"/>
                  <a:pt x="1187550" y="1777302"/>
                </a:cubicBezTo>
                <a:cubicBezTo>
                  <a:pt x="1186827" y="1776063"/>
                  <a:pt x="1186414" y="1774669"/>
                  <a:pt x="1186621" y="1773585"/>
                </a:cubicBezTo>
                <a:cubicBezTo>
                  <a:pt x="1186827" y="1772346"/>
                  <a:pt x="1187653" y="1771262"/>
                  <a:pt x="1189408" y="1770642"/>
                </a:cubicBezTo>
                <a:close/>
                <a:moveTo>
                  <a:pt x="1181251" y="1769867"/>
                </a:moveTo>
                <a:cubicBezTo>
                  <a:pt x="1181664" y="1770952"/>
                  <a:pt x="1181561" y="1772811"/>
                  <a:pt x="1180425" y="1773121"/>
                </a:cubicBezTo>
                <a:cubicBezTo>
                  <a:pt x="1179599" y="1773740"/>
                  <a:pt x="1179186" y="1773585"/>
                  <a:pt x="1178876" y="1773121"/>
                </a:cubicBezTo>
                <a:cubicBezTo>
                  <a:pt x="1178567" y="1772501"/>
                  <a:pt x="1178257" y="1771726"/>
                  <a:pt x="1177740" y="1771107"/>
                </a:cubicBezTo>
                <a:close/>
                <a:moveTo>
                  <a:pt x="1168964" y="1769867"/>
                </a:moveTo>
                <a:cubicBezTo>
                  <a:pt x="1172578" y="1768628"/>
                  <a:pt x="1175159" y="1768783"/>
                  <a:pt x="1176605" y="1771416"/>
                </a:cubicBezTo>
                <a:cubicBezTo>
                  <a:pt x="1177224" y="1773585"/>
                  <a:pt x="1178154" y="1776993"/>
                  <a:pt x="1175366" y="1778542"/>
                </a:cubicBezTo>
                <a:cubicBezTo>
                  <a:pt x="1174643" y="1778232"/>
                  <a:pt x="1174127" y="1779006"/>
                  <a:pt x="1173404" y="1778542"/>
                </a:cubicBezTo>
                <a:cubicBezTo>
                  <a:pt x="1173404" y="1778542"/>
                  <a:pt x="1172474" y="1778697"/>
                  <a:pt x="1171339" y="1778232"/>
                </a:cubicBezTo>
                <a:cubicBezTo>
                  <a:pt x="1170100" y="1777767"/>
                  <a:pt x="1168757" y="1776838"/>
                  <a:pt x="1167828" y="1775134"/>
                </a:cubicBezTo>
                <a:cubicBezTo>
                  <a:pt x="1167725" y="1774514"/>
                  <a:pt x="1167622" y="1773585"/>
                  <a:pt x="1167622" y="1772656"/>
                </a:cubicBezTo>
                <a:cubicBezTo>
                  <a:pt x="1167622" y="1771881"/>
                  <a:pt x="1167725" y="1771107"/>
                  <a:pt x="1168138" y="1771262"/>
                </a:cubicBezTo>
                <a:cubicBezTo>
                  <a:pt x="1169274" y="1770952"/>
                  <a:pt x="1168551" y="1770642"/>
                  <a:pt x="1168964" y="1769867"/>
                </a:cubicBezTo>
                <a:close/>
                <a:moveTo>
                  <a:pt x="6106793" y="1769825"/>
                </a:moveTo>
                <a:cubicBezTo>
                  <a:pt x="6107006" y="1771106"/>
                  <a:pt x="6107219" y="1773381"/>
                  <a:pt x="6109567" y="1774520"/>
                </a:cubicBezTo>
                <a:cubicBezTo>
                  <a:pt x="6107647" y="1776938"/>
                  <a:pt x="6105726" y="1779499"/>
                  <a:pt x="6103164" y="1777223"/>
                </a:cubicBezTo>
                <a:cubicBezTo>
                  <a:pt x="6101884" y="1776085"/>
                  <a:pt x="6100604" y="1774946"/>
                  <a:pt x="6100176" y="1772670"/>
                </a:cubicBezTo>
                <a:cubicBezTo>
                  <a:pt x="6102097" y="1770109"/>
                  <a:pt x="6105726" y="1771106"/>
                  <a:pt x="6106793" y="1769825"/>
                </a:cubicBezTo>
                <a:close/>
                <a:moveTo>
                  <a:pt x="5618702" y="1769398"/>
                </a:moveTo>
                <a:cubicBezTo>
                  <a:pt x="5620195" y="1769825"/>
                  <a:pt x="5621050" y="1770963"/>
                  <a:pt x="5621050" y="1770963"/>
                </a:cubicBezTo>
                <a:cubicBezTo>
                  <a:pt x="5621263" y="1775231"/>
                  <a:pt x="5619769" y="1779072"/>
                  <a:pt x="5615074" y="1777792"/>
                </a:cubicBezTo>
                <a:cubicBezTo>
                  <a:pt x="5613366" y="1777365"/>
                  <a:pt x="5611872" y="1776938"/>
                  <a:pt x="5612726" y="1776369"/>
                </a:cubicBezTo>
                <a:cubicBezTo>
                  <a:pt x="5612086" y="1775373"/>
                  <a:pt x="5612939" y="1774662"/>
                  <a:pt x="5613366" y="1773097"/>
                </a:cubicBezTo>
                <a:cubicBezTo>
                  <a:pt x="5614433" y="1770821"/>
                  <a:pt x="5616994" y="1768971"/>
                  <a:pt x="5618702" y="1769398"/>
                </a:cubicBezTo>
                <a:close/>
                <a:moveTo>
                  <a:pt x="5599921" y="1769256"/>
                </a:moveTo>
                <a:cubicBezTo>
                  <a:pt x="5603976" y="1771674"/>
                  <a:pt x="5604829" y="1777792"/>
                  <a:pt x="5603122" y="1782060"/>
                </a:cubicBezTo>
                <a:lnTo>
                  <a:pt x="5602482" y="1783198"/>
                </a:lnTo>
                <a:lnTo>
                  <a:pt x="5602482" y="1786471"/>
                </a:lnTo>
                <a:cubicBezTo>
                  <a:pt x="5601628" y="1787751"/>
                  <a:pt x="5600134" y="1788462"/>
                  <a:pt x="5598000" y="1788320"/>
                </a:cubicBezTo>
                <a:cubicBezTo>
                  <a:pt x="5594799" y="1787751"/>
                  <a:pt x="5592878" y="1786044"/>
                  <a:pt x="5592025" y="1783625"/>
                </a:cubicBezTo>
                <a:lnTo>
                  <a:pt x="5591597" y="1778219"/>
                </a:lnTo>
                <a:lnTo>
                  <a:pt x="5589677" y="1779784"/>
                </a:lnTo>
                <a:cubicBezTo>
                  <a:pt x="5587116" y="1781207"/>
                  <a:pt x="5586049" y="1778788"/>
                  <a:pt x="5584128" y="1774946"/>
                </a:cubicBezTo>
                <a:cubicBezTo>
                  <a:pt x="5586262" y="1773381"/>
                  <a:pt x="5587756" y="1772955"/>
                  <a:pt x="5589037" y="1773381"/>
                </a:cubicBezTo>
                <a:lnTo>
                  <a:pt x="5591384" y="1775516"/>
                </a:lnTo>
                <a:lnTo>
                  <a:pt x="5591384" y="1774520"/>
                </a:lnTo>
                <a:cubicBezTo>
                  <a:pt x="5593732" y="1774093"/>
                  <a:pt x="5595439" y="1772813"/>
                  <a:pt x="5598000" y="1772386"/>
                </a:cubicBezTo>
                <a:close/>
                <a:moveTo>
                  <a:pt x="4991248" y="1768971"/>
                </a:moveTo>
                <a:cubicBezTo>
                  <a:pt x="4992528" y="1769541"/>
                  <a:pt x="4994022" y="1770678"/>
                  <a:pt x="4995089" y="1771959"/>
                </a:cubicBezTo>
                <a:cubicBezTo>
                  <a:pt x="4996156" y="1772813"/>
                  <a:pt x="4996583" y="1773951"/>
                  <a:pt x="4996583" y="1775373"/>
                </a:cubicBezTo>
                <a:cubicBezTo>
                  <a:pt x="4996583" y="1776654"/>
                  <a:pt x="4996156" y="1778219"/>
                  <a:pt x="4995516" y="1779215"/>
                </a:cubicBezTo>
                <a:cubicBezTo>
                  <a:pt x="4994449" y="1780210"/>
                  <a:pt x="4994449" y="1780210"/>
                  <a:pt x="4993168" y="1781207"/>
                </a:cubicBezTo>
                <a:cubicBezTo>
                  <a:pt x="4991034" y="1780922"/>
                  <a:pt x="4988473" y="1781633"/>
                  <a:pt x="4986339" y="1780068"/>
                </a:cubicBezTo>
                <a:cubicBezTo>
                  <a:pt x="4984205" y="1777365"/>
                  <a:pt x="4985699" y="1771674"/>
                  <a:pt x="4986979" y="1769541"/>
                </a:cubicBezTo>
                <a:cubicBezTo>
                  <a:pt x="4988260" y="1768544"/>
                  <a:pt x="4989754" y="1768402"/>
                  <a:pt x="4991248" y="1768971"/>
                </a:cubicBezTo>
                <a:close/>
                <a:moveTo>
                  <a:pt x="4863623" y="1768544"/>
                </a:moveTo>
                <a:lnTo>
                  <a:pt x="4863196" y="1769967"/>
                </a:lnTo>
                <a:lnTo>
                  <a:pt x="4863409" y="1769541"/>
                </a:lnTo>
                <a:close/>
                <a:moveTo>
                  <a:pt x="732396" y="1768474"/>
                </a:moveTo>
                <a:cubicBezTo>
                  <a:pt x="732396" y="1770178"/>
                  <a:pt x="735907" y="1771416"/>
                  <a:pt x="734152" y="1772811"/>
                </a:cubicBezTo>
                <a:cubicBezTo>
                  <a:pt x="733223" y="1771881"/>
                  <a:pt x="732396" y="1770178"/>
                  <a:pt x="731570" y="1769248"/>
                </a:cubicBezTo>
                <a:cubicBezTo>
                  <a:pt x="731570" y="1769248"/>
                  <a:pt x="731570" y="1769248"/>
                  <a:pt x="732396" y="1768474"/>
                </a:cubicBezTo>
                <a:close/>
                <a:moveTo>
                  <a:pt x="5578792" y="1767406"/>
                </a:moveTo>
                <a:cubicBezTo>
                  <a:pt x="5579646" y="1767549"/>
                  <a:pt x="5580713" y="1768260"/>
                  <a:pt x="5581994" y="1769541"/>
                </a:cubicBezTo>
                <a:cubicBezTo>
                  <a:pt x="5583061" y="1769541"/>
                  <a:pt x="5584554" y="1774378"/>
                  <a:pt x="5583487" y="1775516"/>
                </a:cubicBezTo>
                <a:cubicBezTo>
                  <a:pt x="5581354" y="1779072"/>
                  <a:pt x="5577725" y="1776369"/>
                  <a:pt x="5573030" y="1774946"/>
                </a:cubicBezTo>
                <a:cubicBezTo>
                  <a:pt x="5574097" y="1773808"/>
                  <a:pt x="5573030" y="1772670"/>
                  <a:pt x="5571749" y="1771390"/>
                </a:cubicBezTo>
                <a:cubicBezTo>
                  <a:pt x="5573457" y="1769683"/>
                  <a:pt x="5575591" y="1766695"/>
                  <a:pt x="5578792" y="1767406"/>
                </a:cubicBezTo>
                <a:close/>
                <a:moveTo>
                  <a:pt x="932300" y="1767389"/>
                </a:moveTo>
                <a:cubicBezTo>
                  <a:pt x="932921" y="1767544"/>
                  <a:pt x="933333" y="1767854"/>
                  <a:pt x="933540" y="1768474"/>
                </a:cubicBezTo>
                <a:cubicBezTo>
                  <a:pt x="931165" y="1768783"/>
                  <a:pt x="927861" y="1770642"/>
                  <a:pt x="925279" y="1768009"/>
                </a:cubicBezTo>
                <a:cubicBezTo>
                  <a:pt x="927034" y="1767699"/>
                  <a:pt x="930442" y="1766770"/>
                  <a:pt x="932300" y="1767389"/>
                </a:cubicBezTo>
                <a:close/>
                <a:moveTo>
                  <a:pt x="1539654" y="1767079"/>
                </a:moveTo>
                <a:cubicBezTo>
                  <a:pt x="1540376" y="1766770"/>
                  <a:pt x="1541099" y="1769403"/>
                  <a:pt x="1541099" y="1769403"/>
                </a:cubicBezTo>
                <a:cubicBezTo>
                  <a:pt x="1540790" y="1770487"/>
                  <a:pt x="1537589" y="1770178"/>
                  <a:pt x="1536763" y="1770487"/>
                </a:cubicBezTo>
                <a:cubicBezTo>
                  <a:pt x="1536349" y="1769867"/>
                  <a:pt x="1536659" y="1768628"/>
                  <a:pt x="1536143" y="1767854"/>
                </a:cubicBezTo>
                <a:cubicBezTo>
                  <a:pt x="1536866" y="1767544"/>
                  <a:pt x="1538415" y="1766770"/>
                  <a:pt x="1539654" y="1767079"/>
                </a:cubicBezTo>
                <a:close/>
                <a:moveTo>
                  <a:pt x="5473149" y="1765984"/>
                </a:moveTo>
                <a:cubicBezTo>
                  <a:pt x="5477845" y="1766268"/>
                  <a:pt x="5483180" y="1769683"/>
                  <a:pt x="5486168" y="1773524"/>
                </a:cubicBezTo>
                <a:lnTo>
                  <a:pt x="5487235" y="1775658"/>
                </a:lnTo>
                <a:lnTo>
                  <a:pt x="5491931" y="1773524"/>
                </a:lnTo>
                <a:cubicBezTo>
                  <a:pt x="5491931" y="1774378"/>
                  <a:pt x="5491717" y="1774804"/>
                  <a:pt x="5491077" y="1775231"/>
                </a:cubicBezTo>
                <a:cubicBezTo>
                  <a:pt x="5490436" y="1775516"/>
                  <a:pt x="5489583" y="1775800"/>
                  <a:pt x="5488729" y="1776085"/>
                </a:cubicBezTo>
                <a:lnTo>
                  <a:pt x="5487662" y="1776369"/>
                </a:lnTo>
                <a:lnTo>
                  <a:pt x="5488729" y="1778788"/>
                </a:lnTo>
                <a:cubicBezTo>
                  <a:pt x="5486381" y="1783909"/>
                  <a:pt x="5483393" y="1786613"/>
                  <a:pt x="5480406" y="1787609"/>
                </a:cubicBezTo>
                <a:cubicBezTo>
                  <a:pt x="5471229" y="1790596"/>
                  <a:pt x="5461625" y="1777792"/>
                  <a:pt x="5468454" y="1766695"/>
                </a:cubicBezTo>
                <a:cubicBezTo>
                  <a:pt x="5469948" y="1766126"/>
                  <a:pt x="5471442" y="1765841"/>
                  <a:pt x="5473149" y="1765984"/>
                </a:cubicBezTo>
                <a:close/>
                <a:moveTo>
                  <a:pt x="6046181" y="1765699"/>
                </a:moveTo>
                <a:cubicBezTo>
                  <a:pt x="6047035" y="1765984"/>
                  <a:pt x="6047462" y="1766837"/>
                  <a:pt x="6048102" y="1768687"/>
                </a:cubicBezTo>
                <a:lnTo>
                  <a:pt x="6048316" y="1769256"/>
                </a:lnTo>
                <a:lnTo>
                  <a:pt x="6050237" y="1768402"/>
                </a:lnTo>
                <a:cubicBezTo>
                  <a:pt x="6050237" y="1769683"/>
                  <a:pt x="6050450" y="1770821"/>
                  <a:pt x="6051517" y="1770821"/>
                </a:cubicBezTo>
                <a:lnTo>
                  <a:pt x="6049169" y="1772670"/>
                </a:lnTo>
                <a:lnTo>
                  <a:pt x="6049596" y="1773666"/>
                </a:lnTo>
                <a:lnTo>
                  <a:pt x="6049169" y="1777507"/>
                </a:lnTo>
                <a:lnTo>
                  <a:pt x="6049596" y="1777792"/>
                </a:lnTo>
                <a:cubicBezTo>
                  <a:pt x="6049596" y="1777792"/>
                  <a:pt x="6054505" y="1784052"/>
                  <a:pt x="6050023" y="1789743"/>
                </a:cubicBezTo>
                <a:cubicBezTo>
                  <a:pt x="6048742" y="1788462"/>
                  <a:pt x="6042126" y="1795433"/>
                  <a:pt x="6037431" y="1792730"/>
                </a:cubicBezTo>
                <a:cubicBezTo>
                  <a:pt x="6035084" y="1791450"/>
                  <a:pt x="6033803" y="1790312"/>
                  <a:pt x="6031455" y="1789031"/>
                </a:cubicBezTo>
                <a:lnTo>
                  <a:pt x="6030602" y="1785617"/>
                </a:lnTo>
                <a:lnTo>
                  <a:pt x="6023986" y="1783056"/>
                </a:lnTo>
                <a:cubicBezTo>
                  <a:pt x="6022705" y="1781917"/>
                  <a:pt x="6019717" y="1777365"/>
                  <a:pt x="6020784" y="1776085"/>
                </a:cubicBezTo>
                <a:cubicBezTo>
                  <a:pt x="6021852" y="1774804"/>
                  <a:pt x="6022919" y="1774662"/>
                  <a:pt x="6023986" y="1774662"/>
                </a:cubicBezTo>
                <a:lnTo>
                  <a:pt x="6030815" y="1777650"/>
                </a:lnTo>
                <a:lnTo>
                  <a:pt x="6031882" y="1774662"/>
                </a:lnTo>
                <a:cubicBezTo>
                  <a:pt x="6033376" y="1772955"/>
                  <a:pt x="6034870" y="1771959"/>
                  <a:pt x="6036151" y="1771674"/>
                </a:cubicBezTo>
                <a:lnTo>
                  <a:pt x="6037858" y="1771674"/>
                </a:lnTo>
                <a:lnTo>
                  <a:pt x="6037645" y="1770251"/>
                </a:lnTo>
                <a:lnTo>
                  <a:pt x="6041059" y="1768544"/>
                </a:lnTo>
                <a:lnTo>
                  <a:pt x="6042553" y="1766268"/>
                </a:lnTo>
                <a:cubicBezTo>
                  <a:pt x="6044261" y="1765841"/>
                  <a:pt x="6045328" y="1765557"/>
                  <a:pt x="6046181" y="1765699"/>
                </a:cubicBezTo>
                <a:close/>
                <a:moveTo>
                  <a:pt x="3760243" y="1765272"/>
                </a:moveTo>
                <a:cubicBezTo>
                  <a:pt x="3771767" y="1774235"/>
                  <a:pt x="3772621" y="1784052"/>
                  <a:pt x="3766645" y="1793726"/>
                </a:cubicBezTo>
                <a:cubicBezTo>
                  <a:pt x="3750212" y="1798279"/>
                  <a:pt x="3736339" y="1781917"/>
                  <a:pt x="3743809" y="1769825"/>
                </a:cubicBezTo>
                <a:cubicBezTo>
                  <a:pt x="3747864" y="1768687"/>
                  <a:pt x="3753627" y="1765130"/>
                  <a:pt x="3760243" y="1765272"/>
                </a:cubicBezTo>
                <a:close/>
                <a:moveTo>
                  <a:pt x="3720973" y="1764277"/>
                </a:moveTo>
                <a:cubicBezTo>
                  <a:pt x="3721400" y="1764988"/>
                  <a:pt x="3721400" y="1765557"/>
                  <a:pt x="3721187" y="1766126"/>
                </a:cubicBezTo>
                <a:cubicBezTo>
                  <a:pt x="3720760" y="1766695"/>
                  <a:pt x="3720120" y="1767122"/>
                  <a:pt x="3719479" y="1767691"/>
                </a:cubicBezTo>
                <a:cubicBezTo>
                  <a:pt x="3718199" y="1768687"/>
                  <a:pt x="3716918" y="1769683"/>
                  <a:pt x="3715851" y="1770678"/>
                </a:cubicBezTo>
                <a:cubicBezTo>
                  <a:pt x="3715851" y="1770678"/>
                  <a:pt x="3715638" y="1770821"/>
                  <a:pt x="3720973" y="1764277"/>
                </a:cubicBezTo>
                <a:close/>
                <a:moveTo>
                  <a:pt x="4805146" y="1764134"/>
                </a:moveTo>
                <a:cubicBezTo>
                  <a:pt x="4806426" y="1763992"/>
                  <a:pt x="4807706" y="1763850"/>
                  <a:pt x="4809201" y="1764134"/>
                </a:cubicBezTo>
                <a:cubicBezTo>
                  <a:pt x="4813042" y="1764704"/>
                  <a:pt x="4816884" y="1767549"/>
                  <a:pt x="4819658" y="1774235"/>
                </a:cubicBezTo>
                <a:cubicBezTo>
                  <a:pt x="4821365" y="1776512"/>
                  <a:pt x="4820298" y="1775943"/>
                  <a:pt x="4820939" y="1777650"/>
                </a:cubicBezTo>
                <a:cubicBezTo>
                  <a:pt x="4821365" y="1779215"/>
                  <a:pt x="4823073" y="1781491"/>
                  <a:pt x="4824140" y="1782060"/>
                </a:cubicBezTo>
                <a:lnTo>
                  <a:pt x="4819658" y="1786471"/>
                </a:lnTo>
                <a:lnTo>
                  <a:pt x="4819872" y="1786755"/>
                </a:lnTo>
                <a:lnTo>
                  <a:pt x="4819018" y="1787324"/>
                </a:lnTo>
                <a:lnTo>
                  <a:pt x="4817524" y="1789031"/>
                </a:lnTo>
                <a:cubicBezTo>
                  <a:pt x="4816457" y="1789885"/>
                  <a:pt x="4814963" y="1790738"/>
                  <a:pt x="4813042" y="1791592"/>
                </a:cubicBezTo>
                <a:cubicBezTo>
                  <a:pt x="4810481" y="1792873"/>
                  <a:pt x="4808133" y="1793441"/>
                  <a:pt x="4805999" y="1793441"/>
                </a:cubicBezTo>
                <a:lnTo>
                  <a:pt x="4803225" y="1792730"/>
                </a:lnTo>
                <a:lnTo>
                  <a:pt x="4803651" y="1796856"/>
                </a:lnTo>
                <a:cubicBezTo>
                  <a:pt x="4803438" y="1799132"/>
                  <a:pt x="4803011" y="1801267"/>
                  <a:pt x="4802158" y="1802974"/>
                </a:cubicBezTo>
                <a:cubicBezTo>
                  <a:pt x="4797249" y="1805534"/>
                  <a:pt x="4793621" y="1805677"/>
                  <a:pt x="4790847" y="1804396"/>
                </a:cubicBezTo>
                <a:cubicBezTo>
                  <a:pt x="4784657" y="1801551"/>
                  <a:pt x="4783804" y="1791165"/>
                  <a:pt x="4788712" y="1784479"/>
                </a:cubicBezTo>
                <a:lnTo>
                  <a:pt x="4790633" y="1783056"/>
                </a:lnTo>
                <a:lnTo>
                  <a:pt x="4781456" y="1781207"/>
                </a:lnTo>
                <a:cubicBezTo>
                  <a:pt x="4771638" y="1781064"/>
                  <a:pt x="4762035" y="1784194"/>
                  <a:pt x="4755632" y="1777650"/>
                </a:cubicBezTo>
                <a:cubicBezTo>
                  <a:pt x="4763955" y="1775658"/>
                  <a:pt x="4774840" y="1767976"/>
                  <a:pt x="4782523" y="1768971"/>
                </a:cubicBezTo>
                <a:cubicBezTo>
                  <a:pt x="4784657" y="1769256"/>
                  <a:pt x="4786792" y="1770251"/>
                  <a:pt x="4788285" y="1772528"/>
                </a:cubicBezTo>
                <a:lnTo>
                  <a:pt x="4791060" y="1782629"/>
                </a:lnTo>
                <a:lnTo>
                  <a:pt x="4793407" y="1780922"/>
                </a:lnTo>
                <a:lnTo>
                  <a:pt x="4793194" y="1779926"/>
                </a:lnTo>
                <a:cubicBezTo>
                  <a:pt x="4792980" y="1777223"/>
                  <a:pt x="4792767" y="1773808"/>
                  <a:pt x="4794261" y="1770821"/>
                </a:cubicBezTo>
                <a:cubicBezTo>
                  <a:pt x="4795328" y="1768829"/>
                  <a:pt x="4797035" y="1766979"/>
                  <a:pt x="4800023" y="1765699"/>
                </a:cubicBezTo>
                <a:cubicBezTo>
                  <a:pt x="4801518" y="1764988"/>
                  <a:pt x="4803225" y="1764419"/>
                  <a:pt x="4805146" y="1764134"/>
                </a:cubicBezTo>
                <a:close/>
                <a:moveTo>
                  <a:pt x="6063255" y="1763850"/>
                </a:moveTo>
                <a:cubicBezTo>
                  <a:pt x="6067310" y="1764419"/>
                  <a:pt x="6073713" y="1768118"/>
                  <a:pt x="6076487" y="1770536"/>
                </a:cubicBezTo>
                <a:cubicBezTo>
                  <a:pt x="6073499" y="1773097"/>
                  <a:pt x="6063682" y="1767691"/>
                  <a:pt x="6059840" y="1764419"/>
                </a:cubicBezTo>
                <a:cubicBezTo>
                  <a:pt x="6060480" y="1763850"/>
                  <a:pt x="6061761" y="1763565"/>
                  <a:pt x="6063255" y="1763850"/>
                </a:cubicBezTo>
                <a:close/>
                <a:moveTo>
                  <a:pt x="5396318" y="1763850"/>
                </a:moveTo>
                <a:cubicBezTo>
                  <a:pt x="5397599" y="1763850"/>
                  <a:pt x="5398880" y="1764845"/>
                  <a:pt x="5399733" y="1765984"/>
                </a:cubicBezTo>
                <a:cubicBezTo>
                  <a:pt x="5401440" y="1768402"/>
                  <a:pt x="5401654" y="1772101"/>
                  <a:pt x="5398239" y="1772955"/>
                </a:cubicBezTo>
                <a:cubicBezTo>
                  <a:pt x="5396105" y="1771532"/>
                  <a:pt x="5394184" y="1768971"/>
                  <a:pt x="5392264" y="1766410"/>
                </a:cubicBezTo>
                <a:cubicBezTo>
                  <a:pt x="5393544" y="1764419"/>
                  <a:pt x="5395038" y="1763707"/>
                  <a:pt x="5396318" y="1763850"/>
                </a:cubicBezTo>
                <a:close/>
                <a:moveTo>
                  <a:pt x="5352781" y="1763707"/>
                </a:moveTo>
                <a:cubicBezTo>
                  <a:pt x="5350433" y="1768402"/>
                  <a:pt x="5345951" y="1769114"/>
                  <a:pt x="5342537" y="1774235"/>
                </a:cubicBezTo>
                <a:cubicBezTo>
                  <a:pt x="5338482" y="1773381"/>
                  <a:pt x="5334000" y="1778930"/>
                  <a:pt x="5328664" y="1777365"/>
                </a:cubicBezTo>
                <a:cubicBezTo>
                  <a:pt x="5331012" y="1768829"/>
                  <a:pt x="5348512" y="1761715"/>
                  <a:pt x="5352781" y="1763707"/>
                </a:cubicBezTo>
                <a:close/>
                <a:moveTo>
                  <a:pt x="5280431" y="1762569"/>
                </a:moveTo>
                <a:cubicBezTo>
                  <a:pt x="5284487" y="1765414"/>
                  <a:pt x="5290035" y="1769256"/>
                  <a:pt x="5294730" y="1773524"/>
                </a:cubicBezTo>
                <a:lnTo>
                  <a:pt x="5299639" y="1778788"/>
                </a:lnTo>
                <a:lnTo>
                  <a:pt x="5302200" y="1777080"/>
                </a:lnTo>
                <a:cubicBezTo>
                  <a:pt x="5302841" y="1778219"/>
                  <a:pt x="5303694" y="1777507"/>
                  <a:pt x="5304334" y="1778503"/>
                </a:cubicBezTo>
                <a:cubicBezTo>
                  <a:pt x="5304334" y="1778503"/>
                  <a:pt x="5305401" y="1779215"/>
                  <a:pt x="5306255" y="1780637"/>
                </a:cubicBezTo>
                <a:cubicBezTo>
                  <a:pt x="5306682" y="1781349"/>
                  <a:pt x="5307109" y="1782202"/>
                  <a:pt x="5307322" y="1783340"/>
                </a:cubicBezTo>
                <a:cubicBezTo>
                  <a:pt x="5307536" y="1784479"/>
                  <a:pt x="5307536" y="1785759"/>
                  <a:pt x="5307322" y="1787182"/>
                </a:cubicBezTo>
                <a:cubicBezTo>
                  <a:pt x="5306896" y="1788889"/>
                  <a:pt x="5304761" y="1792873"/>
                  <a:pt x="5304334" y="1791876"/>
                </a:cubicBezTo>
                <a:cubicBezTo>
                  <a:pt x="5302627" y="1791450"/>
                  <a:pt x="5303267" y="1792446"/>
                  <a:pt x="5302200" y="1793015"/>
                </a:cubicBezTo>
                <a:cubicBezTo>
                  <a:pt x="5299853" y="1792446"/>
                  <a:pt x="5298145" y="1791592"/>
                  <a:pt x="5297078" y="1790454"/>
                </a:cubicBezTo>
                <a:lnTo>
                  <a:pt x="5296438" y="1788320"/>
                </a:lnTo>
                <a:lnTo>
                  <a:pt x="5291956" y="1784336"/>
                </a:lnTo>
                <a:lnTo>
                  <a:pt x="5289608" y="1783625"/>
                </a:lnTo>
                <a:lnTo>
                  <a:pt x="5290035" y="1782629"/>
                </a:lnTo>
                <a:lnTo>
                  <a:pt x="5288755" y="1781349"/>
                </a:lnTo>
                <a:lnTo>
                  <a:pt x="5285340" y="1775373"/>
                </a:lnTo>
                <a:lnTo>
                  <a:pt x="5281499" y="1776369"/>
                </a:lnTo>
                <a:cubicBezTo>
                  <a:pt x="5280004" y="1776085"/>
                  <a:pt x="5278511" y="1775658"/>
                  <a:pt x="5279364" y="1775089"/>
                </a:cubicBezTo>
                <a:cubicBezTo>
                  <a:pt x="5278937" y="1774093"/>
                  <a:pt x="5280004" y="1773381"/>
                  <a:pt x="5280431" y="1771817"/>
                </a:cubicBezTo>
                <a:lnTo>
                  <a:pt x="5282566" y="1769825"/>
                </a:lnTo>
                <a:close/>
                <a:moveTo>
                  <a:pt x="5972765" y="1762427"/>
                </a:moveTo>
                <a:cubicBezTo>
                  <a:pt x="5974045" y="1763423"/>
                  <a:pt x="5975540" y="1765699"/>
                  <a:pt x="5973619" y="1768260"/>
                </a:cubicBezTo>
                <a:cubicBezTo>
                  <a:pt x="5971698" y="1771959"/>
                  <a:pt x="5968284" y="1772101"/>
                  <a:pt x="5964655" y="1771106"/>
                </a:cubicBezTo>
                <a:cubicBezTo>
                  <a:pt x="5962521" y="1772386"/>
                  <a:pt x="5961667" y="1774804"/>
                  <a:pt x="5959106" y="1773808"/>
                </a:cubicBezTo>
                <a:cubicBezTo>
                  <a:pt x="5962308" y="1771248"/>
                  <a:pt x="5963161" y="1769967"/>
                  <a:pt x="5965296" y="1768687"/>
                </a:cubicBezTo>
                <a:cubicBezTo>
                  <a:pt x="5965296" y="1767549"/>
                  <a:pt x="5965082" y="1766410"/>
                  <a:pt x="5966149" y="1765130"/>
                </a:cubicBezTo>
                <a:cubicBezTo>
                  <a:pt x="5968070" y="1762712"/>
                  <a:pt x="5970631" y="1763707"/>
                  <a:pt x="5972765" y="1762427"/>
                </a:cubicBezTo>
                <a:close/>
                <a:moveTo>
                  <a:pt x="4865330" y="1762427"/>
                </a:moveTo>
                <a:cubicBezTo>
                  <a:pt x="4866611" y="1762285"/>
                  <a:pt x="4867251" y="1762854"/>
                  <a:pt x="4867464" y="1764134"/>
                </a:cubicBezTo>
                <a:lnTo>
                  <a:pt x="4867464" y="1765984"/>
                </a:lnTo>
                <a:lnTo>
                  <a:pt x="4871519" y="1763707"/>
                </a:lnTo>
                <a:cubicBezTo>
                  <a:pt x="4874294" y="1765557"/>
                  <a:pt x="4879202" y="1764134"/>
                  <a:pt x="4882190" y="1771959"/>
                </a:cubicBezTo>
                <a:cubicBezTo>
                  <a:pt x="4884324" y="1780780"/>
                  <a:pt x="4875574" y="1784052"/>
                  <a:pt x="4876428" y="1784763"/>
                </a:cubicBezTo>
                <a:lnTo>
                  <a:pt x="4876855" y="1785759"/>
                </a:lnTo>
                <a:lnTo>
                  <a:pt x="4877922" y="1784763"/>
                </a:lnTo>
                <a:cubicBezTo>
                  <a:pt x="4878562" y="1784194"/>
                  <a:pt x="4878989" y="1783767"/>
                  <a:pt x="4878989" y="1783767"/>
                </a:cubicBezTo>
                <a:cubicBezTo>
                  <a:pt x="4881550" y="1783482"/>
                  <a:pt x="4881977" y="1784479"/>
                  <a:pt x="4881550" y="1783482"/>
                </a:cubicBezTo>
                <a:cubicBezTo>
                  <a:pt x="4884538" y="1784194"/>
                  <a:pt x="4888806" y="1784479"/>
                  <a:pt x="4888806" y="1787039"/>
                </a:cubicBezTo>
                <a:cubicBezTo>
                  <a:pt x="4887312" y="1794011"/>
                  <a:pt x="4878348" y="1795007"/>
                  <a:pt x="4872373" y="1795575"/>
                </a:cubicBezTo>
                <a:lnTo>
                  <a:pt x="4868318" y="1795860"/>
                </a:lnTo>
                <a:lnTo>
                  <a:pt x="4866824" y="1799417"/>
                </a:lnTo>
                <a:cubicBezTo>
                  <a:pt x="4865116" y="1800697"/>
                  <a:pt x="4862129" y="1799132"/>
                  <a:pt x="4861488" y="1796856"/>
                </a:cubicBezTo>
                <a:lnTo>
                  <a:pt x="4862342" y="1793726"/>
                </a:lnTo>
                <a:lnTo>
                  <a:pt x="4860208" y="1794011"/>
                </a:lnTo>
                <a:cubicBezTo>
                  <a:pt x="4860635" y="1792446"/>
                  <a:pt x="4862129" y="1787466"/>
                  <a:pt x="4862129" y="1787466"/>
                </a:cubicBezTo>
                <a:cubicBezTo>
                  <a:pt x="4861702" y="1786471"/>
                  <a:pt x="4861702" y="1786471"/>
                  <a:pt x="4862129" y="1784763"/>
                </a:cubicBezTo>
                <a:cubicBezTo>
                  <a:pt x="4863623" y="1785190"/>
                  <a:pt x="4863623" y="1785190"/>
                  <a:pt x="4864263" y="1786186"/>
                </a:cubicBezTo>
                <a:cubicBezTo>
                  <a:pt x="4863623" y="1787893"/>
                  <a:pt x="4862769" y="1788462"/>
                  <a:pt x="4862129" y="1790169"/>
                </a:cubicBezTo>
                <a:cubicBezTo>
                  <a:pt x="4865330" y="1790881"/>
                  <a:pt x="4864690" y="1789885"/>
                  <a:pt x="4864263" y="1791592"/>
                </a:cubicBezTo>
                <a:cubicBezTo>
                  <a:pt x="4864263" y="1791592"/>
                  <a:pt x="4864263" y="1791592"/>
                  <a:pt x="4863836" y="1793299"/>
                </a:cubicBezTo>
                <a:lnTo>
                  <a:pt x="4863623" y="1793441"/>
                </a:lnTo>
                <a:lnTo>
                  <a:pt x="4863836" y="1793726"/>
                </a:lnTo>
                <a:lnTo>
                  <a:pt x="4863836" y="1793299"/>
                </a:lnTo>
                <a:lnTo>
                  <a:pt x="4874080" y="1787609"/>
                </a:lnTo>
                <a:lnTo>
                  <a:pt x="4874294" y="1786186"/>
                </a:lnTo>
                <a:cubicBezTo>
                  <a:pt x="4873653" y="1787324"/>
                  <a:pt x="4873227" y="1785617"/>
                  <a:pt x="4873227" y="1785617"/>
                </a:cubicBezTo>
                <a:cubicBezTo>
                  <a:pt x="4873227" y="1785617"/>
                  <a:pt x="4873227" y="1785617"/>
                  <a:pt x="4870025" y="1786471"/>
                </a:cubicBezTo>
                <a:cubicBezTo>
                  <a:pt x="4870025" y="1786471"/>
                  <a:pt x="4862769" y="1787609"/>
                  <a:pt x="4860848" y="1780495"/>
                </a:cubicBezTo>
                <a:cubicBezTo>
                  <a:pt x="4861275" y="1780210"/>
                  <a:pt x="4861488" y="1778788"/>
                  <a:pt x="4861702" y="1776938"/>
                </a:cubicBezTo>
                <a:lnTo>
                  <a:pt x="4862342" y="1773381"/>
                </a:lnTo>
                <a:lnTo>
                  <a:pt x="4861915" y="1774946"/>
                </a:lnTo>
                <a:cubicBezTo>
                  <a:pt x="4860635" y="1776369"/>
                  <a:pt x="4858714" y="1777080"/>
                  <a:pt x="4856793" y="1777080"/>
                </a:cubicBezTo>
                <a:cubicBezTo>
                  <a:pt x="4853378" y="1772813"/>
                  <a:pt x="4854873" y="1768829"/>
                  <a:pt x="4858928" y="1767976"/>
                </a:cubicBezTo>
                <a:lnTo>
                  <a:pt x="4863623" y="1768260"/>
                </a:lnTo>
                <a:lnTo>
                  <a:pt x="4863623" y="1768118"/>
                </a:lnTo>
                <a:cubicBezTo>
                  <a:pt x="4863836" y="1765984"/>
                  <a:pt x="4864049" y="1764134"/>
                  <a:pt x="4864263" y="1762996"/>
                </a:cubicBezTo>
                <a:cubicBezTo>
                  <a:pt x="4865330" y="1762427"/>
                  <a:pt x="4865330" y="1762427"/>
                  <a:pt x="4865330" y="1762427"/>
                </a:cubicBezTo>
                <a:close/>
                <a:moveTo>
                  <a:pt x="4905666" y="1761715"/>
                </a:moveTo>
                <a:cubicBezTo>
                  <a:pt x="4907800" y="1761715"/>
                  <a:pt x="4909508" y="1761715"/>
                  <a:pt x="4910361" y="1762000"/>
                </a:cubicBezTo>
                <a:cubicBezTo>
                  <a:pt x="4911428" y="1762427"/>
                  <a:pt x="4911855" y="1763138"/>
                  <a:pt x="4911428" y="1764845"/>
                </a:cubicBezTo>
                <a:cubicBezTo>
                  <a:pt x="4911428" y="1767549"/>
                  <a:pt x="4908868" y="1767833"/>
                  <a:pt x="4907800" y="1771248"/>
                </a:cubicBezTo>
                <a:cubicBezTo>
                  <a:pt x="4906947" y="1777223"/>
                  <a:pt x="4918258" y="1778219"/>
                  <a:pt x="4916337" y="1790312"/>
                </a:cubicBezTo>
                <a:cubicBezTo>
                  <a:pt x="4913136" y="1789458"/>
                  <a:pt x="4910148" y="1796856"/>
                  <a:pt x="4905453" y="1795575"/>
                </a:cubicBezTo>
                <a:cubicBezTo>
                  <a:pt x="4891154" y="1793726"/>
                  <a:pt x="4891581" y="1789458"/>
                  <a:pt x="4890941" y="1780353"/>
                </a:cubicBezTo>
                <a:cubicBezTo>
                  <a:pt x="4891367" y="1781349"/>
                  <a:pt x="4892007" y="1779784"/>
                  <a:pt x="4892007" y="1779784"/>
                </a:cubicBezTo>
                <a:cubicBezTo>
                  <a:pt x="4892861" y="1776369"/>
                  <a:pt x="4886245" y="1779215"/>
                  <a:pt x="4886672" y="1774804"/>
                </a:cubicBezTo>
                <a:cubicBezTo>
                  <a:pt x="4888166" y="1767833"/>
                  <a:pt x="4896276" y="1764988"/>
                  <a:pt x="4900757" y="1763707"/>
                </a:cubicBezTo>
                <a:lnTo>
                  <a:pt x="4903319" y="1762996"/>
                </a:lnTo>
                <a:lnTo>
                  <a:pt x="4902678" y="1762000"/>
                </a:lnTo>
                <a:lnTo>
                  <a:pt x="4904386" y="1762427"/>
                </a:lnTo>
                <a:lnTo>
                  <a:pt x="4904599" y="1762285"/>
                </a:lnTo>
                <a:cubicBezTo>
                  <a:pt x="4905026" y="1763281"/>
                  <a:pt x="4906093" y="1762712"/>
                  <a:pt x="4905666" y="1761715"/>
                </a:cubicBezTo>
                <a:close/>
                <a:moveTo>
                  <a:pt x="1503824" y="1761193"/>
                </a:moveTo>
                <a:cubicBezTo>
                  <a:pt x="1504650" y="1761038"/>
                  <a:pt x="1505992" y="1761348"/>
                  <a:pt x="1507851" y="1762588"/>
                </a:cubicBezTo>
                <a:cubicBezTo>
                  <a:pt x="1506922" y="1765530"/>
                  <a:pt x="1505786" y="1766614"/>
                  <a:pt x="1504857" y="1766614"/>
                </a:cubicBezTo>
                <a:cubicBezTo>
                  <a:pt x="1503824" y="1766614"/>
                  <a:pt x="1502895" y="1765376"/>
                  <a:pt x="1502585" y="1764136"/>
                </a:cubicBezTo>
                <a:cubicBezTo>
                  <a:pt x="1502275" y="1762742"/>
                  <a:pt x="1502585" y="1761503"/>
                  <a:pt x="1503824" y="1761193"/>
                </a:cubicBezTo>
                <a:close/>
                <a:moveTo>
                  <a:pt x="4708680" y="1760293"/>
                </a:moveTo>
                <a:cubicBezTo>
                  <a:pt x="4709960" y="1761573"/>
                  <a:pt x="4712522" y="1765272"/>
                  <a:pt x="4710174" y="1768544"/>
                </a:cubicBezTo>
                <a:cubicBezTo>
                  <a:pt x="4708040" y="1771959"/>
                  <a:pt x="4709320" y="1775516"/>
                  <a:pt x="4707186" y="1778930"/>
                </a:cubicBezTo>
                <a:cubicBezTo>
                  <a:pt x="4707186" y="1778930"/>
                  <a:pt x="4707186" y="1778930"/>
                  <a:pt x="4705905" y="1777650"/>
                </a:cubicBezTo>
                <a:cubicBezTo>
                  <a:pt x="4708040" y="1771959"/>
                  <a:pt x="4705265" y="1765984"/>
                  <a:pt x="4708680" y="1760293"/>
                </a:cubicBezTo>
                <a:close/>
                <a:moveTo>
                  <a:pt x="1394166" y="1760109"/>
                </a:moveTo>
                <a:cubicBezTo>
                  <a:pt x="1394992" y="1759954"/>
                  <a:pt x="1397160" y="1761038"/>
                  <a:pt x="1398296" y="1761658"/>
                </a:cubicBezTo>
                <a:cubicBezTo>
                  <a:pt x="1399122" y="1761503"/>
                  <a:pt x="1400155" y="1761968"/>
                  <a:pt x="1400464" y="1762742"/>
                </a:cubicBezTo>
                <a:cubicBezTo>
                  <a:pt x="1400464" y="1762742"/>
                  <a:pt x="1401600" y="1763362"/>
                  <a:pt x="1402426" y="1763207"/>
                </a:cubicBezTo>
                <a:cubicBezTo>
                  <a:pt x="1404595" y="1764291"/>
                  <a:pt x="1404904" y="1765066"/>
                  <a:pt x="1405214" y="1765840"/>
                </a:cubicBezTo>
                <a:cubicBezTo>
                  <a:pt x="1405214" y="1765840"/>
                  <a:pt x="1404078" y="1765376"/>
                  <a:pt x="1403252" y="1765530"/>
                </a:cubicBezTo>
                <a:cubicBezTo>
                  <a:pt x="1403252" y="1765530"/>
                  <a:pt x="1402116" y="1764911"/>
                  <a:pt x="1401084" y="1764291"/>
                </a:cubicBezTo>
                <a:cubicBezTo>
                  <a:pt x="1401084" y="1764291"/>
                  <a:pt x="1400258" y="1764601"/>
                  <a:pt x="1399432" y="1764756"/>
                </a:cubicBezTo>
                <a:cubicBezTo>
                  <a:pt x="1396437" y="1763827"/>
                  <a:pt x="1394475" y="1763517"/>
                  <a:pt x="1394166" y="1760109"/>
                </a:cubicBezTo>
                <a:close/>
                <a:moveTo>
                  <a:pt x="4714442" y="1759155"/>
                </a:moveTo>
                <a:cubicBezTo>
                  <a:pt x="4715723" y="1760435"/>
                  <a:pt x="4715723" y="1761573"/>
                  <a:pt x="4717003" y="1762854"/>
                </a:cubicBezTo>
                <a:cubicBezTo>
                  <a:pt x="4719138" y="1760577"/>
                  <a:pt x="4717857" y="1760577"/>
                  <a:pt x="4719138" y="1761715"/>
                </a:cubicBezTo>
                <a:cubicBezTo>
                  <a:pt x="4719138" y="1761715"/>
                  <a:pt x="4719138" y="1761715"/>
                  <a:pt x="4720418" y="1762996"/>
                </a:cubicBezTo>
                <a:cubicBezTo>
                  <a:pt x="4720418" y="1762996"/>
                  <a:pt x="4721485" y="1762996"/>
                  <a:pt x="4719351" y="1766410"/>
                </a:cubicBezTo>
                <a:cubicBezTo>
                  <a:pt x="4718283" y="1765272"/>
                  <a:pt x="4714655" y="1761431"/>
                  <a:pt x="4714655" y="1761431"/>
                </a:cubicBezTo>
                <a:cubicBezTo>
                  <a:pt x="4713375" y="1761431"/>
                  <a:pt x="4713375" y="1761431"/>
                  <a:pt x="4712308" y="1760293"/>
                </a:cubicBezTo>
                <a:cubicBezTo>
                  <a:pt x="4713375" y="1759155"/>
                  <a:pt x="4713375" y="1759155"/>
                  <a:pt x="4714442" y="1759155"/>
                </a:cubicBezTo>
                <a:close/>
                <a:moveTo>
                  <a:pt x="1379039" y="1759121"/>
                </a:moveTo>
                <a:cubicBezTo>
                  <a:pt x="1382756" y="1757011"/>
                  <a:pt x="1386989" y="1756469"/>
                  <a:pt x="1388487" y="1759180"/>
                </a:cubicBezTo>
                <a:cubicBezTo>
                  <a:pt x="1389003" y="1759954"/>
                  <a:pt x="1389106" y="1760884"/>
                  <a:pt x="1389003" y="1762278"/>
                </a:cubicBezTo>
                <a:cubicBezTo>
                  <a:pt x="1385389" y="1768628"/>
                  <a:pt x="1381052" y="1772656"/>
                  <a:pt x="1374134" y="1770642"/>
                </a:cubicBezTo>
                <a:cubicBezTo>
                  <a:pt x="1374754" y="1769558"/>
                  <a:pt x="1373721" y="1768938"/>
                  <a:pt x="1372689" y="1768474"/>
                </a:cubicBezTo>
                <a:cubicBezTo>
                  <a:pt x="1372121" y="1764911"/>
                  <a:pt x="1375322" y="1761232"/>
                  <a:pt x="1379039" y="1759121"/>
                </a:cubicBezTo>
                <a:close/>
                <a:moveTo>
                  <a:pt x="1669860" y="1758715"/>
                </a:moveTo>
                <a:cubicBezTo>
                  <a:pt x="1670893" y="1758715"/>
                  <a:pt x="1672441" y="1759334"/>
                  <a:pt x="1675642" y="1760729"/>
                </a:cubicBezTo>
                <a:cubicBezTo>
                  <a:pt x="1676778" y="1761348"/>
                  <a:pt x="1677707" y="1762123"/>
                  <a:pt x="1678430" y="1763207"/>
                </a:cubicBezTo>
                <a:cubicBezTo>
                  <a:pt x="1679153" y="1764291"/>
                  <a:pt x="1679566" y="1765376"/>
                  <a:pt x="1679669" y="1766614"/>
                </a:cubicBezTo>
                <a:cubicBezTo>
                  <a:pt x="1681011" y="1768009"/>
                  <a:pt x="1681837" y="1770487"/>
                  <a:pt x="1681631" y="1772346"/>
                </a:cubicBezTo>
                <a:cubicBezTo>
                  <a:pt x="1680598" y="1774359"/>
                  <a:pt x="1679050" y="1774824"/>
                  <a:pt x="1677914" y="1774205"/>
                </a:cubicBezTo>
                <a:cubicBezTo>
                  <a:pt x="1668517" y="1770487"/>
                  <a:pt x="1669137" y="1762433"/>
                  <a:pt x="1667692" y="1761038"/>
                </a:cubicBezTo>
                <a:cubicBezTo>
                  <a:pt x="1668517" y="1759489"/>
                  <a:pt x="1668931" y="1758715"/>
                  <a:pt x="1669860" y="1758715"/>
                </a:cubicBezTo>
                <a:close/>
                <a:moveTo>
                  <a:pt x="1142221" y="1758560"/>
                </a:moveTo>
                <a:lnTo>
                  <a:pt x="1150481" y="1762433"/>
                </a:lnTo>
                <a:lnTo>
                  <a:pt x="1151720" y="1760884"/>
                </a:lnTo>
                <a:cubicBezTo>
                  <a:pt x="1152649" y="1760109"/>
                  <a:pt x="1154715" y="1759334"/>
                  <a:pt x="1156883" y="1759180"/>
                </a:cubicBezTo>
                <a:cubicBezTo>
                  <a:pt x="1158948" y="1758870"/>
                  <a:pt x="1161116" y="1759025"/>
                  <a:pt x="1162356" y="1759954"/>
                </a:cubicBezTo>
                <a:cubicBezTo>
                  <a:pt x="1161220" y="1761503"/>
                  <a:pt x="1160084" y="1763052"/>
                  <a:pt x="1158948" y="1764601"/>
                </a:cubicBezTo>
                <a:cubicBezTo>
                  <a:pt x="1159051" y="1764136"/>
                  <a:pt x="1157090" y="1764291"/>
                  <a:pt x="1155025" y="1764446"/>
                </a:cubicBezTo>
                <a:lnTo>
                  <a:pt x="1159051" y="1766305"/>
                </a:lnTo>
                <a:cubicBezTo>
                  <a:pt x="1163904" y="1769248"/>
                  <a:pt x="1165969" y="1773121"/>
                  <a:pt x="1159671" y="1779626"/>
                </a:cubicBezTo>
                <a:cubicBezTo>
                  <a:pt x="1155231" y="1770487"/>
                  <a:pt x="1142427" y="1766770"/>
                  <a:pt x="1142221" y="1758560"/>
                </a:cubicBezTo>
                <a:close/>
                <a:moveTo>
                  <a:pt x="901117" y="1758560"/>
                </a:moveTo>
                <a:cubicBezTo>
                  <a:pt x="902047" y="1759180"/>
                  <a:pt x="904731" y="1758715"/>
                  <a:pt x="906590" y="1759334"/>
                </a:cubicBezTo>
                <a:cubicBezTo>
                  <a:pt x="906590" y="1760109"/>
                  <a:pt x="907519" y="1760729"/>
                  <a:pt x="907622" y="1761658"/>
                </a:cubicBezTo>
                <a:cubicBezTo>
                  <a:pt x="906693" y="1761658"/>
                  <a:pt x="904938" y="1762742"/>
                  <a:pt x="904938" y="1761968"/>
                </a:cubicBezTo>
                <a:cubicBezTo>
                  <a:pt x="904008" y="1762123"/>
                  <a:pt x="903905" y="1760419"/>
                  <a:pt x="903905" y="1760419"/>
                </a:cubicBezTo>
                <a:cubicBezTo>
                  <a:pt x="902976" y="1760574"/>
                  <a:pt x="902150" y="1760729"/>
                  <a:pt x="901117" y="1760109"/>
                </a:cubicBezTo>
                <a:cubicBezTo>
                  <a:pt x="902047" y="1759180"/>
                  <a:pt x="901117" y="1759334"/>
                  <a:pt x="901117" y="1758560"/>
                </a:cubicBezTo>
                <a:close/>
                <a:moveTo>
                  <a:pt x="3964699" y="1758443"/>
                </a:moveTo>
                <a:cubicBezTo>
                  <a:pt x="3965979" y="1759012"/>
                  <a:pt x="3966619" y="1759440"/>
                  <a:pt x="3966833" y="1760008"/>
                </a:cubicBezTo>
                <a:cubicBezTo>
                  <a:pt x="3967046" y="1760720"/>
                  <a:pt x="3966833" y="1761858"/>
                  <a:pt x="3966192" y="1763850"/>
                </a:cubicBezTo>
                <a:cubicBezTo>
                  <a:pt x="3965339" y="1765414"/>
                  <a:pt x="3962991" y="1767406"/>
                  <a:pt x="3960430" y="1768829"/>
                </a:cubicBezTo>
                <a:cubicBezTo>
                  <a:pt x="3957869" y="1770394"/>
                  <a:pt x="3955095" y="1771532"/>
                  <a:pt x="3953174" y="1770963"/>
                </a:cubicBezTo>
                <a:cubicBezTo>
                  <a:pt x="3953601" y="1768402"/>
                  <a:pt x="3954241" y="1765841"/>
                  <a:pt x="3954881" y="1763138"/>
                </a:cubicBezTo>
                <a:cubicBezTo>
                  <a:pt x="3955095" y="1764277"/>
                  <a:pt x="3964699" y="1758443"/>
                  <a:pt x="3964699" y="1758443"/>
                </a:cubicBezTo>
                <a:close/>
                <a:moveTo>
                  <a:pt x="6179569" y="1757448"/>
                </a:moveTo>
                <a:cubicBezTo>
                  <a:pt x="6181916" y="1757021"/>
                  <a:pt x="6184478" y="1758159"/>
                  <a:pt x="6187466" y="1760293"/>
                </a:cubicBezTo>
                <a:cubicBezTo>
                  <a:pt x="6186612" y="1762996"/>
                  <a:pt x="6187039" y="1765272"/>
                  <a:pt x="6186612" y="1769114"/>
                </a:cubicBezTo>
                <a:cubicBezTo>
                  <a:pt x="6183197" y="1770109"/>
                  <a:pt x="6175728" y="1768687"/>
                  <a:pt x="6173593" y="1763138"/>
                </a:cubicBezTo>
                <a:cubicBezTo>
                  <a:pt x="6175300" y="1759582"/>
                  <a:pt x="6177221" y="1757732"/>
                  <a:pt x="6179569" y="1757448"/>
                </a:cubicBezTo>
                <a:close/>
                <a:moveTo>
                  <a:pt x="4825634" y="1756167"/>
                </a:moveTo>
                <a:cubicBezTo>
                  <a:pt x="4827128" y="1756878"/>
                  <a:pt x="4827768" y="1759012"/>
                  <a:pt x="4827341" y="1761715"/>
                </a:cubicBezTo>
                <a:cubicBezTo>
                  <a:pt x="4825847" y="1761147"/>
                  <a:pt x="4823927" y="1763281"/>
                  <a:pt x="4822432" y="1762569"/>
                </a:cubicBezTo>
                <a:cubicBezTo>
                  <a:pt x="4822432" y="1762569"/>
                  <a:pt x="4820298" y="1759582"/>
                  <a:pt x="4820298" y="1759582"/>
                </a:cubicBezTo>
                <a:cubicBezTo>
                  <a:pt x="4821152" y="1758017"/>
                  <a:pt x="4821152" y="1758017"/>
                  <a:pt x="4821365" y="1759155"/>
                </a:cubicBezTo>
                <a:cubicBezTo>
                  <a:pt x="4823286" y="1757163"/>
                  <a:pt x="4824567" y="1756594"/>
                  <a:pt x="4825634" y="1756167"/>
                </a:cubicBezTo>
                <a:close/>
                <a:moveTo>
                  <a:pt x="1533562" y="1756081"/>
                </a:moveTo>
                <a:cubicBezTo>
                  <a:pt x="1531083" y="1760264"/>
                  <a:pt x="1528605" y="1761038"/>
                  <a:pt x="1525714" y="1760419"/>
                </a:cubicBezTo>
                <a:cubicBezTo>
                  <a:pt x="1525301" y="1759025"/>
                  <a:pt x="1525404" y="1757785"/>
                  <a:pt x="1525817" y="1756701"/>
                </a:cubicBezTo>
                <a:cubicBezTo>
                  <a:pt x="1527057" y="1753603"/>
                  <a:pt x="1531187" y="1752364"/>
                  <a:pt x="1533562" y="1756081"/>
                </a:cubicBezTo>
                <a:close/>
                <a:moveTo>
                  <a:pt x="1748644" y="1755772"/>
                </a:moveTo>
                <a:cubicBezTo>
                  <a:pt x="1749883" y="1756701"/>
                  <a:pt x="1750606" y="1757941"/>
                  <a:pt x="1750709" y="1759334"/>
                </a:cubicBezTo>
                <a:cubicBezTo>
                  <a:pt x="1747922" y="1765685"/>
                  <a:pt x="1737906" y="1763207"/>
                  <a:pt x="1736150" y="1758405"/>
                </a:cubicBezTo>
                <a:cubicBezTo>
                  <a:pt x="1738319" y="1753603"/>
                  <a:pt x="1745237" y="1753294"/>
                  <a:pt x="1748644" y="1755772"/>
                </a:cubicBezTo>
                <a:close/>
                <a:moveTo>
                  <a:pt x="6235058" y="1755598"/>
                </a:moveTo>
                <a:cubicBezTo>
                  <a:pt x="6239326" y="1755313"/>
                  <a:pt x="6246156" y="1757305"/>
                  <a:pt x="6246369" y="1758159"/>
                </a:cubicBezTo>
                <a:cubicBezTo>
                  <a:pt x="6247437" y="1758159"/>
                  <a:pt x="6247650" y="1759297"/>
                  <a:pt x="6248717" y="1759297"/>
                </a:cubicBezTo>
                <a:cubicBezTo>
                  <a:pt x="6248717" y="1759297"/>
                  <a:pt x="6249997" y="1759155"/>
                  <a:pt x="6251278" y="1760293"/>
                </a:cubicBezTo>
                <a:cubicBezTo>
                  <a:pt x="6252559" y="1761431"/>
                  <a:pt x="6253839" y="1762569"/>
                  <a:pt x="6252985" y="1765130"/>
                </a:cubicBezTo>
                <a:cubicBezTo>
                  <a:pt x="6243381" y="1762000"/>
                  <a:pt x="6238686" y="1762285"/>
                  <a:pt x="6231217" y="1759155"/>
                </a:cubicBezTo>
                <a:cubicBezTo>
                  <a:pt x="6231217" y="1757874"/>
                  <a:pt x="6232283" y="1757874"/>
                  <a:pt x="6232070" y="1756594"/>
                </a:cubicBezTo>
                <a:cubicBezTo>
                  <a:pt x="6232497" y="1756025"/>
                  <a:pt x="6233778" y="1755598"/>
                  <a:pt x="6235058" y="1755598"/>
                </a:cubicBezTo>
                <a:close/>
                <a:moveTo>
                  <a:pt x="1455809" y="1755462"/>
                </a:moveTo>
                <a:cubicBezTo>
                  <a:pt x="1460043" y="1756081"/>
                  <a:pt x="1463760" y="1762433"/>
                  <a:pt x="1458598" y="1765995"/>
                </a:cubicBezTo>
                <a:lnTo>
                  <a:pt x="1459217" y="1767389"/>
                </a:lnTo>
                <a:lnTo>
                  <a:pt x="1459527" y="1770797"/>
                </a:lnTo>
                <a:lnTo>
                  <a:pt x="1460560" y="1771262"/>
                </a:lnTo>
                <a:cubicBezTo>
                  <a:pt x="1461386" y="1771262"/>
                  <a:pt x="1459630" y="1774824"/>
                  <a:pt x="1459630" y="1775599"/>
                </a:cubicBezTo>
                <a:lnTo>
                  <a:pt x="1459527" y="1775444"/>
                </a:lnTo>
                <a:lnTo>
                  <a:pt x="1458804" y="1780091"/>
                </a:lnTo>
                <a:cubicBezTo>
                  <a:pt x="1454158" y="1778077"/>
                  <a:pt x="1452608" y="1773895"/>
                  <a:pt x="1452505" y="1769248"/>
                </a:cubicBezTo>
                <a:lnTo>
                  <a:pt x="1452919" y="1765530"/>
                </a:lnTo>
                <a:lnTo>
                  <a:pt x="1450337" y="1763981"/>
                </a:lnTo>
                <a:cubicBezTo>
                  <a:pt x="1450234" y="1760574"/>
                  <a:pt x="1451679" y="1758405"/>
                  <a:pt x="1455809" y="1755462"/>
                </a:cubicBezTo>
                <a:close/>
                <a:moveTo>
                  <a:pt x="4607946" y="1755029"/>
                </a:moveTo>
                <a:cubicBezTo>
                  <a:pt x="4610080" y="1755740"/>
                  <a:pt x="4612428" y="1756309"/>
                  <a:pt x="4612854" y="1758586"/>
                </a:cubicBezTo>
                <a:cubicBezTo>
                  <a:pt x="4612854" y="1759440"/>
                  <a:pt x="4612854" y="1760293"/>
                  <a:pt x="4612641" y="1761573"/>
                </a:cubicBezTo>
                <a:cubicBezTo>
                  <a:pt x="4612641" y="1761573"/>
                  <a:pt x="4612428" y="1761573"/>
                  <a:pt x="4611574" y="1762142"/>
                </a:cubicBezTo>
                <a:cubicBezTo>
                  <a:pt x="4609440" y="1763423"/>
                  <a:pt x="4608586" y="1764134"/>
                  <a:pt x="4607519" y="1764845"/>
                </a:cubicBezTo>
                <a:cubicBezTo>
                  <a:pt x="4606025" y="1764419"/>
                  <a:pt x="4602183" y="1762569"/>
                  <a:pt x="4602824" y="1761004"/>
                </a:cubicBezTo>
                <a:cubicBezTo>
                  <a:pt x="4603677" y="1757732"/>
                  <a:pt x="4606238" y="1754745"/>
                  <a:pt x="4607946" y="1755029"/>
                </a:cubicBezTo>
                <a:close/>
                <a:moveTo>
                  <a:pt x="6209234" y="1754887"/>
                </a:moveTo>
                <a:cubicBezTo>
                  <a:pt x="6214997" y="1755313"/>
                  <a:pt x="6219905" y="1757448"/>
                  <a:pt x="6221186" y="1765130"/>
                </a:cubicBezTo>
                <a:cubicBezTo>
                  <a:pt x="6212649" y="1775089"/>
                  <a:pt x="6191734" y="1773666"/>
                  <a:pt x="6194082" y="1761431"/>
                </a:cubicBezTo>
                <a:cubicBezTo>
                  <a:pt x="6194295" y="1759724"/>
                  <a:pt x="6195149" y="1757874"/>
                  <a:pt x="6196429" y="1755740"/>
                </a:cubicBezTo>
                <a:cubicBezTo>
                  <a:pt x="6198563" y="1755598"/>
                  <a:pt x="6200911" y="1755171"/>
                  <a:pt x="6203472" y="1755029"/>
                </a:cubicBezTo>
                <a:cubicBezTo>
                  <a:pt x="6205393" y="1754887"/>
                  <a:pt x="6207313" y="1754745"/>
                  <a:pt x="6209234" y="1754887"/>
                </a:cubicBezTo>
                <a:close/>
                <a:moveTo>
                  <a:pt x="5262504" y="1754887"/>
                </a:moveTo>
                <a:cubicBezTo>
                  <a:pt x="5264425" y="1754460"/>
                  <a:pt x="5265919" y="1755313"/>
                  <a:pt x="5267200" y="1756736"/>
                </a:cubicBezTo>
                <a:cubicBezTo>
                  <a:pt x="5268480" y="1758159"/>
                  <a:pt x="5269547" y="1760293"/>
                  <a:pt x="5269974" y="1762142"/>
                </a:cubicBezTo>
                <a:cubicBezTo>
                  <a:pt x="5269333" y="1761004"/>
                  <a:pt x="5269333" y="1761004"/>
                  <a:pt x="5269333" y="1761004"/>
                </a:cubicBezTo>
                <a:cubicBezTo>
                  <a:pt x="5267626" y="1760577"/>
                  <a:pt x="5268480" y="1761715"/>
                  <a:pt x="5267413" y="1762285"/>
                </a:cubicBezTo>
                <a:cubicBezTo>
                  <a:pt x="5267413" y="1762285"/>
                  <a:pt x="5268266" y="1761573"/>
                  <a:pt x="5268053" y="1763281"/>
                </a:cubicBezTo>
                <a:cubicBezTo>
                  <a:pt x="5267413" y="1762285"/>
                  <a:pt x="5266346" y="1762854"/>
                  <a:pt x="5265492" y="1763565"/>
                </a:cubicBezTo>
                <a:cubicBezTo>
                  <a:pt x="5262290" y="1762712"/>
                  <a:pt x="5258236" y="1760720"/>
                  <a:pt x="5257809" y="1758017"/>
                </a:cubicBezTo>
                <a:cubicBezTo>
                  <a:pt x="5258449" y="1754745"/>
                  <a:pt x="5261010" y="1754460"/>
                  <a:pt x="5262504" y="1754887"/>
                </a:cubicBezTo>
                <a:close/>
                <a:moveTo>
                  <a:pt x="1497938" y="1754378"/>
                </a:moveTo>
                <a:cubicBezTo>
                  <a:pt x="1498558" y="1756701"/>
                  <a:pt x="1502895" y="1755772"/>
                  <a:pt x="1503824" y="1759180"/>
                </a:cubicBezTo>
                <a:cubicBezTo>
                  <a:pt x="1502998" y="1760729"/>
                  <a:pt x="1502481" y="1761503"/>
                  <a:pt x="1500829" y="1762742"/>
                </a:cubicBezTo>
                <a:cubicBezTo>
                  <a:pt x="1491639" y="1765221"/>
                  <a:pt x="1489265" y="1761193"/>
                  <a:pt x="1488026" y="1761658"/>
                </a:cubicBezTo>
                <a:cubicBezTo>
                  <a:pt x="1487819" y="1760729"/>
                  <a:pt x="1487716" y="1760109"/>
                  <a:pt x="1487923" y="1759489"/>
                </a:cubicBezTo>
                <a:cubicBezTo>
                  <a:pt x="1488335" y="1757631"/>
                  <a:pt x="1490297" y="1756856"/>
                  <a:pt x="1492775" y="1754997"/>
                </a:cubicBezTo>
                <a:cubicBezTo>
                  <a:pt x="1493085" y="1756081"/>
                  <a:pt x="1496699" y="1754843"/>
                  <a:pt x="1497938" y="1754378"/>
                </a:cubicBezTo>
                <a:close/>
                <a:moveTo>
                  <a:pt x="1210886" y="1754378"/>
                </a:moveTo>
                <a:cubicBezTo>
                  <a:pt x="1212022" y="1756081"/>
                  <a:pt x="1211609" y="1756856"/>
                  <a:pt x="1210370" y="1757011"/>
                </a:cubicBezTo>
                <a:cubicBezTo>
                  <a:pt x="1210370" y="1757011"/>
                  <a:pt x="1209131" y="1757166"/>
                  <a:pt x="1207892" y="1757321"/>
                </a:cubicBezTo>
                <a:cubicBezTo>
                  <a:pt x="1206756" y="1757476"/>
                  <a:pt x="1206239" y="1758250"/>
                  <a:pt x="1206239" y="1758250"/>
                </a:cubicBezTo>
                <a:cubicBezTo>
                  <a:pt x="1205000" y="1758405"/>
                  <a:pt x="1204277" y="1757785"/>
                  <a:pt x="1203968" y="1756701"/>
                </a:cubicBezTo>
                <a:cubicBezTo>
                  <a:pt x="1203968" y="1756701"/>
                  <a:pt x="1205620" y="1755772"/>
                  <a:pt x="1205620" y="1755772"/>
                </a:cubicBezTo>
                <a:cubicBezTo>
                  <a:pt x="1208098" y="1755462"/>
                  <a:pt x="1209234" y="1755307"/>
                  <a:pt x="1210886" y="1754378"/>
                </a:cubicBezTo>
                <a:close/>
                <a:moveTo>
                  <a:pt x="5092409" y="1754175"/>
                </a:moveTo>
                <a:cubicBezTo>
                  <a:pt x="5094116" y="1754602"/>
                  <a:pt x="5100945" y="1754602"/>
                  <a:pt x="5100732" y="1756309"/>
                </a:cubicBezTo>
                <a:cubicBezTo>
                  <a:pt x="5100732" y="1756309"/>
                  <a:pt x="5099238" y="1755883"/>
                  <a:pt x="5097530" y="1755456"/>
                </a:cubicBezTo>
                <a:cubicBezTo>
                  <a:pt x="5095823" y="1755029"/>
                  <a:pt x="5095823" y="1755029"/>
                  <a:pt x="5095610" y="1756736"/>
                </a:cubicBezTo>
                <a:cubicBezTo>
                  <a:pt x="5093902" y="1756309"/>
                  <a:pt x="5093902" y="1756309"/>
                  <a:pt x="5092409" y="1754175"/>
                </a:cubicBezTo>
                <a:close/>
                <a:moveTo>
                  <a:pt x="4998504" y="1754033"/>
                </a:moveTo>
                <a:cubicBezTo>
                  <a:pt x="4999144" y="1754318"/>
                  <a:pt x="4999784" y="1754887"/>
                  <a:pt x="5000425" y="1755456"/>
                </a:cubicBezTo>
                <a:cubicBezTo>
                  <a:pt x="5001919" y="1756594"/>
                  <a:pt x="5003199" y="1757732"/>
                  <a:pt x="5004479" y="1758870"/>
                </a:cubicBezTo>
                <a:cubicBezTo>
                  <a:pt x="5004479" y="1758870"/>
                  <a:pt x="5004479" y="1758870"/>
                  <a:pt x="4996796" y="1754460"/>
                </a:cubicBezTo>
                <a:cubicBezTo>
                  <a:pt x="4997223" y="1753891"/>
                  <a:pt x="4997863" y="1753748"/>
                  <a:pt x="4998504" y="1754033"/>
                </a:cubicBezTo>
                <a:close/>
                <a:moveTo>
                  <a:pt x="1299376" y="1753758"/>
                </a:moveTo>
                <a:cubicBezTo>
                  <a:pt x="1298757" y="1756081"/>
                  <a:pt x="1304126" y="1758250"/>
                  <a:pt x="1303197" y="1761658"/>
                </a:cubicBezTo>
                <a:cubicBezTo>
                  <a:pt x="1301855" y="1772036"/>
                  <a:pt x="1298757" y="1771726"/>
                  <a:pt x="1292149" y="1772191"/>
                </a:cubicBezTo>
                <a:cubicBezTo>
                  <a:pt x="1292871" y="1771881"/>
                  <a:pt x="1291735" y="1771416"/>
                  <a:pt x="1291735" y="1771416"/>
                </a:cubicBezTo>
                <a:cubicBezTo>
                  <a:pt x="1289258" y="1770797"/>
                  <a:pt x="1291323" y="1775599"/>
                  <a:pt x="1288122" y="1775289"/>
                </a:cubicBezTo>
                <a:cubicBezTo>
                  <a:pt x="1283062" y="1774205"/>
                  <a:pt x="1280997" y="1768318"/>
                  <a:pt x="1280067" y="1765066"/>
                </a:cubicBezTo>
                <a:lnTo>
                  <a:pt x="1279551" y="1763207"/>
                </a:lnTo>
                <a:lnTo>
                  <a:pt x="1278829" y="1763672"/>
                </a:lnTo>
                <a:lnTo>
                  <a:pt x="1279138" y="1762433"/>
                </a:lnTo>
                <a:lnTo>
                  <a:pt x="1279035" y="1762278"/>
                </a:lnTo>
                <a:cubicBezTo>
                  <a:pt x="1279758" y="1761968"/>
                  <a:pt x="1279345" y="1761193"/>
                  <a:pt x="1278622" y="1761503"/>
                </a:cubicBezTo>
                <a:cubicBezTo>
                  <a:pt x="1278622" y="1759954"/>
                  <a:pt x="1278622" y="1758715"/>
                  <a:pt x="1278829" y="1758095"/>
                </a:cubicBezTo>
                <a:cubicBezTo>
                  <a:pt x="1279138" y="1757321"/>
                  <a:pt x="1279655" y="1757011"/>
                  <a:pt x="1280894" y="1757321"/>
                </a:cubicBezTo>
                <a:cubicBezTo>
                  <a:pt x="1282856" y="1757321"/>
                  <a:pt x="1283062" y="1759180"/>
                  <a:pt x="1285540" y="1759954"/>
                </a:cubicBezTo>
                <a:cubicBezTo>
                  <a:pt x="1289877" y="1760574"/>
                  <a:pt x="1290600" y="1752364"/>
                  <a:pt x="1299376" y="1753758"/>
                </a:cubicBezTo>
                <a:close/>
                <a:moveTo>
                  <a:pt x="5602055" y="1753179"/>
                </a:moveTo>
                <a:cubicBezTo>
                  <a:pt x="5603122" y="1753322"/>
                  <a:pt x="5604189" y="1753606"/>
                  <a:pt x="5604829" y="1754602"/>
                </a:cubicBezTo>
                <a:cubicBezTo>
                  <a:pt x="5606537" y="1758443"/>
                  <a:pt x="5597787" y="1769967"/>
                  <a:pt x="5593091" y="1762142"/>
                </a:cubicBezTo>
                <a:cubicBezTo>
                  <a:pt x="5592451" y="1761289"/>
                  <a:pt x="5592665" y="1760008"/>
                  <a:pt x="5593305" y="1758586"/>
                </a:cubicBezTo>
                <a:cubicBezTo>
                  <a:pt x="5594799" y="1755740"/>
                  <a:pt x="5598853" y="1752753"/>
                  <a:pt x="5602055" y="1753179"/>
                </a:cubicBezTo>
                <a:close/>
                <a:moveTo>
                  <a:pt x="5235613" y="1752895"/>
                </a:moveTo>
                <a:lnTo>
                  <a:pt x="5237107" y="1754602"/>
                </a:lnTo>
                <a:lnTo>
                  <a:pt x="5240735" y="1755029"/>
                </a:lnTo>
                <a:cubicBezTo>
                  <a:pt x="5241803" y="1755456"/>
                  <a:pt x="5242443" y="1756309"/>
                  <a:pt x="5242229" y="1757874"/>
                </a:cubicBezTo>
                <a:cubicBezTo>
                  <a:pt x="5242656" y="1760577"/>
                  <a:pt x="5239882" y="1760720"/>
                  <a:pt x="5239455" y="1764134"/>
                </a:cubicBezTo>
                <a:cubicBezTo>
                  <a:pt x="5239455" y="1767122"/>
                  <a:pt x="5242443" y="1768971"/>
                  <a:pt x="5245217" y="1771532"/>
                </a:cubicBezTo>
                <a:lnTo>
                  <a:pt x="5248205" y="1774946"/>
                </a:lnTo>
                <a:lnTo>
                  <a:pt x="5247778" y="1773381"/>
                </a:lnTo>
                <a:cubicBezTo>
                  <a:pt x="5247138" y="1767691"/>
                  <a:pt x="5249059" y="1760008"/>
                  <a:pt x="5255888" y="1758443"/>
                </a:cubicBezTo>
                <a:cubicBezTo>
                  <a:pt x="5258449" y="1763992"/>
                  <a:pt x="5258022" y="1767833"/>
                  <a:pt x="5256315" y="1770821"/>
                </a:cubicBezTo>
                <a:lnTo>
                  <a:pt x="5249486" y="1777792"/>
                </a:lnTo>
                <a:lnTo>
                  <a:pt x="5250979" y="1783482"/>
                </a:lnTo>
                <a:cubicBezTo>
                  <a:pt x="5247778" y="1782629"/>
                  <a:pt x="5245858" y="1789885"/>
                  <a:pt x="5240948" y="1788604"/>
                </a:cubicBezTo>
                <a:cubicBezTo>
                  <a:pt x="5226223" y="1786471"/>
                  <a:pt x="5226009" y="1782060"/>
                  <a:pt x="5223875" y="1772813"/>
                </a:cubicBezTo>
                <a:cubicBezTo>
                  <a:pt x="5224516" y="1773951"/>
                  <a:pt x="5224942" y="1772243"/>
                  <a:pt x="5224942" y="1772243"/>
                </a:cubicBezTo>
                <a:cubicBezTo>
                  <a:pt x="5225369" y="1768971"/>
                  <a:pt x="5218966" y="1771674"/>
                  <a:pt x="5218753" y="1767264"/>
                </a:cubicBezTo>
                <a:cubicBezTo>
                  <a:pt x="5219180" y="1760293"/>
                  <a:pt x="5227077" y="1757590"/>
                  <a:pt x="5231345" y="1756452"/>
                </a:cubicBezTo>
                <a:lnTo>
                  <a:pt x="5232199" y="1756309"/>
                </a:lnTo>
                <a:lnTo>
                  <a:pt x="5233265" y="1755171"/>
                </a:lnTo>
                <a:lnTo>
                  <a:pt x="5233052" y="1754887"/>
                </a:lnTo>
                <a:lnTo>
                  <a:pt x="5233479" y="1754887"/>
                </a:lnTo>
                <a:close/>
                <a:moveTo>
                  <a:pt x="3615544" y="1752895"/>
                </a:moveTo>
                <a:cubicBezTo>
                  <a:pt x="3621093" y="1759155"/>
                  <a:pt x="3618745" y="1764988"/>
                  <a:pt x="3613623" y="1768829"/>
                </a:cubicBezTo>
                <a:lnTo>
                  <a:pt x="3613196" y="1769114"/>
                </a:lnTo>
                <a:lnTo>
                  <a:pt x="3613623" y="1769967"/>
                </a:lnTo>
                <a:cubicBezTo>
                  <a:pt x="3614690" y="1772243"/>
                  <a:pt x="3616184" y="1774662"/>
                  <a:pt x="3616184" y="1774662"/>
                </a:cubicBezTo>
                <a:lnTo>
                  <a:pt x="3614690" y="1776654"/>
                </a:lnTo>
                <a:lnTo>
                  <a:pt x="3626855" y="1762000"/>
                </a:lnTo>
                <a:lnTo>
                  <a:pt x="3636672" y="1761858"/>
                </a:lnTo>
                <a:lnTo>
                  <a:pt x="3636886" y="1761715"/>
                </a:lnTo>
                <a:cubicBezTo>
                  <a:pt x="3636672" y="1761289"/>
                  <a:pt x="3636246" y="1761004"/>
                  <a:pt x="3636459" y="1760435"/>
                </a:cubicBezTo>
                <a:cubicBezTo>
                  <a:pt x="3636459" y="1760435"/>
                  <a:pt x="3636459" y="1761573"/>
                  <a:pt x="3635179" y="1760293"/>
                </a:cubicBezTo>
                <a:cubicBezTo>
                  <a:pt x="3636459" y="1760435"/>
                  <a:pt x="3636459" y="1759297"/>
                  <a:pt x="3636459" y="1758017"/>
                </a:cubicBezTo>
                <a:cubicBezTo>
                  <a:pt x="3638807" y="1755883"/>
                  <a:pt x="3642435" y="1754033"/>
                  <a:pt x="3644782" y="1755456"/>
                </a:cubicBezTo>
                <a:cubicBezTo>
                  <a:pt x="3645850" y="1756736"/>
                  <a:pt x="3646063" y="1758017"/>
                  <a:pt x="3646063" y="1759012"/>
                </a:cubicBezTo>
                <a:lnTo>
                  <a:pt x="3644996" y="1760720"/>
                </a:lnTo>
                <a:lnTo>
                  <a:pt x="3652038" y="1759297"/>
                </a:lnTo>
                <a:cubicBezTo>
                  <a:pt x="3660789" y="1757732"/>
                  <a:pt x="3669325" y="1757163"/>
                  <a:pt x="3675728" y="1763138"/>
                </a:cubicBezTo>
                <a:cubicBezTo>
                  <a:pt x="3678076" y="1778077"/>
                  <a:pt x="3686186" y="1779499"/>
                  <a:pt x="3690881" y="1787324"/>
                </a:cubicBezTo>
                <a:cubicBezTo>
                  <a:pt x="3691095" y="1792588"/>
                  <a:pt x="3690667" y="1798279"/>
                  <a:pt x="3689814" y="1804112"/>
                </a:cubicBezTo>
                <a:lnTo>
                  <a:pt x="3687680" y="1812790"/>
                </a:lnTo>
                <a:lnTo>
                  <a:pt x="3690881" y="1817770"/>
                </a:lnTo>
                <a:lnTo>
                  <a:pt x="3686399" y="1818765"/>
                </a:lnTo>
                <a:lnTo>
                  <a:pt x="3685546" y="1821469"/>
                </a:lnTo>
                <a:lnTo>
                  <a:pt x="3681704" y="1828866"/>
                </a:lnTo>
                <a:lnTo>
                  <a:pt x="3682344" y="1829293"/>
                </a:lnTo>
                <a:cubicBezTo>
                  <a:pt x="3683198" y="1830431"/>
                  <a:pt x="3683198" y="1831712"/>
                  <a:pt x="3682558" y="1832850"/>
                </a:cubicBezTo>
                <a:lnTo>
                  <a:pt x="3677863" y="1836406"/>
                </a:lnTo>
                <a:lnTo>
                  <a:pt x="3677436" y="1837402"/>
                </a:lnTo>
                <a:cubicBezTo>
                  <a:pt x="3673808" y="1842239"/>
                  <a:pt x="3669753" y="1846365"/>
                  <a:pt x="3664417" y="1849637"/>
                </a:cubicBezTo>
                <a:cubicBezTo>
                  <a:pt x="3660149" y="1852198"/>
                  <a:pt x="3656307" y="1853763"/>
                  <a:pt x="3652466" y="1854332"/>
                </a:cubicBezTo>
                <a:lnTo>
                  <a:pt x="3648197" y="1854474"/>
                </a:lnTo>
                <a:lnTo>
                  <a:pt x="3645422" y="1856040"/>
                </a:lnTo>
                <a:cubicBezTo>
                  <a:pt x="3641155" y="1858173"/>
                  <a:pt x="3633684" y="1861588"/>
                  <a:pt x="3630484" y="1861588"/>
                </a:cubicBezTo>
                <a:cubicBezTo>
                  <a:pt x="3633471" y="1860450"/>
                  <a:pt x="3636459" y="1858600"/>
                  <a:pt x="3639660" y="1857035"/>
                </a:cubicBezTo>
                <a:lnTo>
                  <a:pt x="3647770" y="1854474"/>
                </a:lnTo>
                <a:lnTo>
                  <a:pt x="3641155" y="1854617"/>
                </a:lnTo>
                <a:cubicBezTo>
                  <a:pt x="3633898" y="1853906"/>
                  <a:pt x="3626428" y="1851771"/>
                  <a:pt x="3617465" y="1852056"/>
                </a:cubicBezTo>
                <a:cubicBezTo>
                  <a:pt x="3615117" y="1837118"/>
                  <a:pt x="3606367" y="1836833"/>
                  <a:pt x="3599964" y="1832138"/>
                </a:cubicBezTo>
                <a:cubicBezTo>
                  <a:pt x="3600604" y="1829436"/>
                  <a:pt x="3601031" y="1826733"/>
                  <a:pt x="3601031" y="1823744"/>
                </a:cubicBezTo>
                <a:lnTo>
                  <a:pt x="3600818" y="1817627"/>
                </a:lnTo>
                <a:lnTo>
                  <a:pt x="3596549" y="1814070"/>
                </a:lnTo>
                <a:lnTo>
                  <a:pt x="3597403" y="1812506"/>
                </a:lnTo>
                <a:lnTo>
                  <a:pt x="3595055" y="1810798"/>
                </a:lnTo>
                <a:cubicBezTo>
                  <a:pt x="3592281" y="1807241"/>
                  <a:pt x="3591854" y="1802547"/>
                  <a:pt x="3594202" y="1799702"/>
                </a:cubicBezTo>
                <a:lnTo>
                  <a:pt x="3598897" y="1797283"/>
                </a:lnTo>
                <a:lnTo>
                  <a:pt x="3598897" y="1795860"/>
                </a:lnTo>
                <a:cubicBezTo>
                  <a:pt x="3604233" y="1790454"/>
                  <a:pt x="3608501" y="1784621"/>
                  <a:pt x="3612982" y="1778930"/>
                </a:cubicBezTo>
                <a:lnTo>
                  <a:pt x="3614263" y="1777223"/>
                </a:lnTo>
                <a:lnTo>
                  <a:pt x="3610849" y="1776796"/>
                </a:lnTo>
                <a:lnTo>
                  <a:pt x="3606367" y="1771817"/>
                </a:lnTo>
                <a:lnTo>
                  <a:pt x="3601458" y="1773666"/>
                </a:lnTo>
                <a:cubicBezTo>
                  <a:pt x="3596976" y="1774235"/>
                  <a:pt x="3592495" y="1773808"/>
                  <a:pt x="3589080" y="1771817"/>
                </a:cubicBezTo>
                <a:lnTo>
                  <a:pt x="3585025" y="1766410"/>
                </a:lnTo>
                <a:lnTo>
                  <a:pt x="3584171" y="1766410"/>
                </a:lnTo>
                <a:cubicBezTo>
                  <a:pt x="3581824" y="1763992"/>
                  <a:pt x="3580543" y="1760435"/>
                  <a:pt x="3581610" y="1759297"/>
                </a:cubicBezTo>
                <a:cubicBezTo>
                  <a:pt x="3583317" y="1757590"/>
                  <a:pt x="3585025" y="1755883"/>
                  <a:pt x="3587159" y="1756736"/>
                </a:cubicBezTo>
                <a:cubicBezTo>
                  <a:pt x="3588013" y="1757021"/>
                  <a:pt x="3588866" y="1757448"/>
                  <a:pt x="3589720" y="1758443"/>
                </a:cubicBezTo>
                <a:cubicBezTo>
                  <a:pt x="3589720" y="1758443"/>
                  <a:pt x="3589720" y="1758443"/>
                  <a:pt x="3589720" y="1759582"/>
                </a:cubicBezTo>
                <a:lnTo>
                  <a:pt x="3589933" y="1761715"/>
                </a:lnTo>
                <a:lnTo>
                  <a:pt x="3596976" y="1756309"/>
                </a:lnTo>
                <a:cubicBezTo>
                  <a:pt x="3602099" y="1754033"/>
                  <a:pt x="3608287" y="1752611"/>
                  <a:pt x="3615544" y="1752895"/>
                </a:cubicBezTo>
                <a:close/>
                <a:moveTo>
                  <a:pt x="910410" y="1752829"/>
                </a:moveTo>
                <a:cubicBezTo>
                  <a:pt x="910410" y="1752829"/>
                  <a:pt x="911236" y="1753603"/>
                  <a:pt x="912166" y="1754378"/>
                </a:cubicBezTo>
                <a:cubicBezTo>
                  <a:pt x="913095" y="1755152"/>
                  <a:pt x="914024" y="1754997"/>
                  <a:pt x="914024" y="1754997"/>
                </a:cubicBezTo>
                <a:cubicBezTo>
                  <a:pt x="914954" y="1755772"/>
                  <a:pt x="914954" y="1756546"/>
                  <a:pt x="914127" y="1757631"/>
                </a:cubicBezTo>
                <a:cubicBezTo>
                  <a:pt x="914127" y="1757631"/>
                  <a:pt x="912372" y="1757011"/>
                  <a:pt x="912372" y="1757011"/>
                </a:cubicBezTo>
                <a:cubicBezTo>
                  <a:pt x="910514" y="1755462"/>
                  <a:pt x="909584" y="1754688"/>
                  <a:pt x="907829" y="1754068"/>
                </a:cubicBezTo>
                <a:cubicBezTo>
                  <a:pt x="908552" y="1752210"/>
                  <a:pt x="909481" y="1752210"/>
                  <a:pt x="910410" y="1752829"/>
                </a:cubicBezTo>
                <a:close/>
                <a:moveTo>
                  <a:pt x="731880" y="1752364"/>
                </a:moveTo>
                <a:cubicBezTo>
                  <a:pt x="731880" y="1752364"/>
                  <a:pt x="731880" y="1752364"/>
                  <a:pt x="731880" y="1753294"/>
                </a:cubicBezTo>
                <a:cubicBezTo>
                  <a:pt x="731880" y="1753294"/>
                  <a:pt x="731880" y="1752364"/>
                  <a:pt x="732706" y="1752519"/>
                </a:cubicBezTo>
                <a:cubicBezTo>
                  <a:pt x="735185" y="1757011"/>
                  <a:pt x="734255" y="1763517"/>
                  <a:pt x="734255" y="1764446"/>
                </a:cubicBezTo>
                <a:cubicBezTo>
                  <a:pt x="733429" y="1764291"/>
                  <a:pt x="733429" y="1764291"/>
                  <a:pt x="733429" y="1764291"/>
                </a:cubicBezTo>
                <a:cubicBezTo>
                  <a:pt x="734049" y="1761968"/>
                  <a:pt x="731880" y="1758715"/>
                  <a:pt x="731570" y="1755462"/>
                </a:cubicBezTo>
                <a:cubicBezTo>
                  <a:pt x="731364" y="1754533"/>
                  <a:pt x="731467" y="1753448"/>
                  <a:pt x="731880" y="1752364"/>
                </a:cubicBezTo>
                <a:close/>
                <a:moveTo>
                  <a:pt x="3928631" y="1752183"/>
                </a:moveTo>
                <a:cubicBezTo>
                  <a:pt x="3930551" y="1751614"/>
                  <a:pt x="3932259" y="1751757"/>
                  <a:pt x="3933753" y="1752326"/>
                </a:cubicBezTo>
                <a:cubicBezTo>
                  <a:pt x="3938021" y="1754033"/>
                  <a:pt x="3939729" y="1759724"/>
                  <a:pt x="3934607" y="1762854"/>
                </a:cubicBezTo>
                <a:cubicBezTo>
                  <a:pt x="3928631" y="1759582"/>
                  <a:pt x="3927564" y="1756167"/>
                  <a:pt x="3928631" y="1752183"/>
                </a:cubicBezTo>
                <a:close/>
                <a:moveTo>
                  <a:pt x="722278" y="1750815"/>
                </a:moveTo>
                <a:cubicBezTo>
                  <a:pt x="724136" y="1750041"/>
                  <a:pt x="724136" y="1750041"/>
                  <a:pt x="725891" y="1751125"/>
                </a:cubicBezTo>
                <a:cubicBezTo>
                  <a:pt x="725788" y="1751900"/>
                  <a:pt x="726718" y="1752055"/>
                  <a:pt x="725891" y="1752829"/>
                </a:cubicBezTo>
                <a:cubicBezTo>
                  <a:pt x="728473" y="1754688"/>
                  <a:pt x="730951" y="1762588"/>
                  <a:pt x="730022" y="1765840"/>
                </a:cubicBezTo>
                <a:cubicBezTo>
                  <a:pt x="722174" y="1759180"/>
                  <a:pt x="726718" y="1754533"/>
                  <a:pt x="722278" y="1750815"/>
                </a:cubicBezTo>
                <a:close/>
                <a:moveTo>
                  <a:pt x="5299212" y="1749907"/>
                </a:moveTo>
                <a:cubicBezTo>
                  <a:pt x="5300279" y="1749907"/>
                  <a:pt x="5301560" y="1750619"/>
                  <a:pt x="5302414" y="1751614"/>
                </a:cubicBezTo>
                <a:cubicBezTo>
                  <a:pt x="5303267" y="1752753"/>
                  <a:pt x="5303908" y="1754175"/>
                  <a:pt x="5304121" y="1755598"/>
                </a:cubicBezTo>
                <a:cubicBezTo>
                  <a:pt x="5303908" y="1757163"/>
                  <a:pt x="5303908" y="1757163"/>
                  <a:pt x="5303694" y="1758870"/>
                </a:cubicBezTo>
                <a:cubicBezTo>
                  <a:pt x="5301773" y="1760008"/>
                  <a:pt x="5300706" y="1762285"/>
                  <a:pt x="5298145" y="1762427"/>
                </a:cubicBezTo>
                <a:cubicBezTo>
                  <a:pt x="5296438" y="1762000"/>
                  <a:pt x="5294944" y="1760293"/>
                  <a:pt x="5293877" y="1758443"/>
                </a:cubicBezTo>
                <a:lnTo>
                  <a:pt x="5292810" y="1755456"/>
                </a:lnTo>
                <a:lnTo>
                  <a:pt x="5291743" y="1756736"/>
                </a:lnTo>
                <a:cubicBezTo>
                  <a:pt x="5290462" y="1757448"/>
                  <a:pt x="5288542" y="1756878"/>
                  <a:pt x="5285767" y="1756309"/>
                </a:cubicBezTo>
                <a:cubicBezTo>
                  <a:pt x="5286407" y="1751188"/>
                  <a:pt x="5288755" y="1750476"/>
                  <a:pt x="5293663" y="1750619"/>
                </a:cubicBezTo>
                <a:lnTo>
                  <a:pt x="5293663" y="1751188"/>
                </a:lnTo>
                <a:lnTo>
                  <a:pt x="5294517" y="1750050"/>
                </a:lnTo>
                <a:cubicBezTo>
                  <a:pt x="5295798" y="1749481"/>
                  <a:pt x="5297505" y="1749481"/>
                  <a:pt x="5299212" y="1749907"/>
                </a:cubicBezTo>
                <a:close/>
                <a:moveTo>
                  <a:pt x="4012291" y="1749907"/>
                </a:moveTo>
                <a:cubicBezTo>
                  <a:pt x="4012931" y="1750334"/>
                  <a:pt x="4013358" y="1751046"/>
                  <a:pt x="4013999" y="1751614"/>
                </a:cubicBezTo>
                <a:lnTo>
                  <a:pt x="4017627" y="1755313"/>
                </a:lnTo>
                <a:lnTo>
                  <a:pt x="4016773" y="1754745"/>
                </a:lnTo>
                <a:cubicBezTo>
                  <a:pt x="4015919" y="1754033"/>
                  <a:pt x="4014212" y="1752753"/>
                  <a:pt x="4010371" y="1750192"/>
                </a:cubicBezTo>
                <a:cubicBezTo>
                  <a:pt x="4011011" y="1749623"/>
                  <a:pt x="4011651" y="1749623"/>
                  <a:pt x="4012291" y="1749907"/>
                </a:cubicBezTo>
                <a:close/>
                <a:moveTo>
                  <a:pt x="1480694" y="1749886"/>
                </a:moveTo>
                <a:cubicBezTo>
                  <a:pt x="1482656" y="1756856"/>
                  <a:pt x="1481004" y="1763517"/>
                  <a:pt x="1478010" y="1770178"/>
                </a:cubicBezTo>
                <a:lnTo>
                  <a:pt x="1477287" y="1771416"/>
                </a:lnTo>
                <a:lnTo>
                  <a:pt x="1478733" y="1771416"/>
                </a:lnTo>
                <a:cubicBezTo>
                  <a:pt x="1480385" y="1772501"/>
                  <a:pt x="1481417" y="1774514"/>
                  <a:pt x="1481933" y="1776838"/>
                </a:cubicBezTo>
                <a:cubicBezTo>
                  <a:pt x="1483792" y="1784738"/>
                  <a:pt x="1479765" y="1796819"/>
                  <a:pt x="1471608" y="1796355"/>
                </a:cubicBezTo>
                <a:lnTo>
                  <a:pt x="1469440" y="1786286"/>
                </a:lnTo>
                <a:lnTo>
                  <a:pt x="1467477" y="1789849"/>
                </a:lnTo>
                <a:cubicBezTo>
                  <a:pt x="1465103" y="1787835"/>
                  <a:pt x="1462315" y="1788146"/>
                  <a:pt x="1459217" y="1784428"/>
                </a:cubicBezTo>
                <a:cubicBezTo>
                  <a:pt x="1465309" y="1776373"/>
                  <a:pt x="1469440" y="1767699"/>
                  <a:pt x="1473879" y="1759954"/>
                </a:cubicBezTo>
                <a:cubicBezTo>
                  <a:pt x="1471918" y="1761038"/>
                  <a:pt x="1466238" y="1763517"/>
                  <a:pt x="1464690" y="1762742"/>
                </a:cubicBezTo>
                <a:cubicBezTo>
                  <a:pt x="1467271" y="1761038"/>
                  <a:pt x="1472743" y="1759180"/>
                  <a:pt x="1473983" y="1759799"/>
                </a:cubicBezTo>
                <a:cubicBezTo>
                  <a:pt x="1476048" y="1756237"/>
                  <a:pt x="1478216" y="1752829"/>
                  <a:pt x="1480694" y="1749886"/>
                </a:cubicBezTo>
                <a:close/>
                <a:moveTo>
                  <a:pt x="999972" y="1749847"/>
                </a:moveTo>
                <a:cubicBezTo>
                  <a:pt x="1007781" y="1750738"/>
                  <a:pt x="1016041" y="1752829"/>
                  <a:pt x="1023786" y="1753913"/>
                </a:cubicBezTo>
                <a:cubicBezTo>
                  <a:pt x="1022857" y="1756701"/>
                  <a:pt x="1024405" y="1759025"/>
                  <a:pt x="1022030" y="1762897"/>
                </a:cubicBezTo>
                <a:lnTo>
                  <a:pt x="1010672" y="1760419"/>
                </a:lnTo>
                <a:lnTo>
                  <a:pt x="1009123" y="1760729"/>
                </a:lnTo>
                <a:cubicBezTo>
                  <a:pt x="1008091" y="1760729"/>
                  <a:pt x="1007265" y="1760574"/>
                  <a:pt x="1006852" y="1760264"/>
                </a:cubicBezTo>
                <a:lnTo>
                  <a:pt x="1006542" y="1759334"/>
                </a:lnTo>
                <a:lnTo>
                  <a:pt x="999521" y="1757785"/>
                </a:lnTo>
                <a:cubicBezTo>
                  <a:pt x="992189" y="1756546"/>
                  <a:pt x="985271" y="1755307"/>
                  <a:pt x="978869" y="1752984"/>
                </a:cubicBezTo>
                <a:cubicBezTo>
                  <a:pt x="984806" y="1749266"/>
                  <a:pt x="992163" y="1748957"/>
                  <a:pt x="999972" y="1749847"/>
                </a:cubicBezTo>
                <a:close/>
                <a:moveTo>
                  <a:pt x="3581610" y="1749338"/>
                </a:moveTo>
                <a:cubicBezTo>
                  <a:pt x="3584171" y="1749054"/>
                  <a:pt x="3586732" y="1751757"/>
                  <a:pt x="3586305" y="1754175"/>
                </a:cubicBezTo>
                <a:cubicBezTo>
                  <a:pt x="3586305" y="1755313"/>
                  <a:pt x="3585452" y="1756309"/>
                  <a:pt x="3583957" y="1756878"/>
                </a:cubicBezTo>
                <a:cubicBezTo>
                  <a:pt x="3581824" y="1755171"/>
                  <a:pt x="3580970" y="1753748"/>
                  <a:pt x="3579049" y="1750761"/>
                </a:cubicBezTo>
                <a:cubicBezTo>
                  <a:pt x="3579903" y="1749907"/>
                  <a:pt x="3580757" y="1749481"/>
                  <a:pt x="3581610" y="1749338"/>
                </a:cubicBezTo>
                <a:close/>
                <a:moveTo>
                  <a:pt x="4979296" y="1749196"/>
                </a:moveTo>
                <a:cubicBezTo>
                  <a:pt x="4982284" y="1750334"/>
                  <a:pt x="4984845" y="1750334"/>
                  <a:pt x="4986339" y="1750903"/>
                </a:cubicBezTo>
                <a:cubicBezTo>
                  <a:pt x="4985912" y="1756309"/>
                  <a:pt x="4982924" y="1759012"/>
                  <a:pt x="4978442" y="1757305"/>
                </a:cubicBezTo>
                <a:cubicBezTo>
                  <a:pt x="4979936" y="1754033"/>
                  <a:pt x="4978016" y="1752468"/>
                  <a:pt x="4979296" y="1749196"/>
                </a:cubicBezTo>
                <a:close/>
                <a:moveTo>
                  <a:pt x="4959235" y="1749196"/>
                </a:moveTo>
                <a:cubicBezTo>
                  <a:pt x="4960302" y="1749481"/>
                  <a:pt x="4961155" y="1750334"/>
                  <a:pt x="4961795" y="1751046"/>
                </a:cubicBezTo>
                <a:cubicBezTo>
                  <a:pt x="4963503" y="1751899"/>
                  <a:pt x="4964143" y="1753464"/>
                  <a:pt x="4964357" y="1755313"/>
                </a:cubicBezTo>
                <a:lnTo>
                  <a:pt x="4964143" y="1756736"/>
                </a:lnTo>
                <a:lnTo>
                  <a:pt x="4964997" y="1755740"/>
                </a:lnTo>
                <a:cubicBezTo>
                  <a:pt x="4966491" y="1755313"/>
                  <a:pt x="4968198" y="1755313"/>
                  <a:pt x="4969692" y="1755598"/>
                </a:cubicBezTo>
                <a:cubicBezTo>
                  <a:pt x="4970973" y="1755456"/>
                  <a:pt x="4972040" y="1756309"/>
                  <a:pt x="4972680" y="1757305"/>
                </a:cubicBezTo>
                <a:cubicBezTo>
                  <a:pt x="4973321" y="1758443"/>
                  <a:pt x="4973747" y="1759866"/>
                  <a:pt x="4973747" y="1761147"/>
                </a:cubicBezTo>
                <a:cubicBezTo>
                  <a:pt x="4973321" y="1762854"/>
                  <a:pt x="4973321" y="1762854"/>
                  <a:pt x="4972894" y="1764419"/>
                </a:cubicBezTo>
                <a:cubicBezTo>
                  <a:pt x="4970759" y="1765699"/>
                  <a:pt x="4969266" y="1767976"/>
                  <a:pt x="4966704" y="1768118"/>
                </a:cubicBezTo>
                <a:cubicBezTo>
                  <a:pt x="4965210" y="1767833"/>
                  <a:pt x="4964143" y="1766268"/>
                  <a:pt x="4963290" y="1764277"/>
                </a:cubicBezTo>
                <a:lnTo>
                  <a:pt x="4962009" y="1759297"/>
                </a:lnTo>
                <a:lnTo>
                  <a:pt x="4961155" y="1759440"/>
                </a:lnTo>
                <a:cubicBezTo>
                  <a:pt x="4961155" y="1759440"/>
                  <a:pt x="4962436" y="1759582"/>
                  <a:pt x="4961155" y="1760577"/>
                </a:cubicBezTo>
                <a:cubicBezTo>
                  <a:pt x="4961155" y="1759440"/>
                  <a:pt x="4960088" y="1759297"/>
                  <a:pt x="4958808" y="1759155"/>
                </a:cubicBezTo>
                <a:cubicBezTo>
                  <a:pt x="4956674" y="1756309"/>
                  <a:pt x="4954539" y="1752183"/>
                  <a:pt x="4956033" y="1750050"/>
                </a:cubicBezTo>
                <a:cubicBezTo>
                  <a:pt x="4957100" y="1749054"/>
                  <a:pt x="4958381" y="1748911"/>
                  <a:pt x="4959235" y="1749196"/>
                </a:cubicBezTo>
                <a:close/>
                <a:moveTo>
                  <a:pt x="3432003" y="1749196"/>
                </a:moveTo>
                <a:cubicBezTo>
                  <a:pt x="3424960" y="1749196"/>
                  <a:pt x="3424106" y="1755171"/>
                  <a:pt x="3424747" y="1761573"/>
                </a:cubicBezTo>
                <a:lnTo>
                  <a:pt x="3424747" y="1762142"/>
                </a:lnTo>
                <a:lnTo>
                  <a:pt x="3426880" y="1764134"/>
                </a:lnTo>
                <a:cubicBezTo>
                  <a:pt x="3427308" y="1765699"/>
                  <a:pt x="3427521" y="1767691"/>
                  <a:pt x="3427521" y="1770109"/>
                </a:cubicBezTo>
                <a:cubicBezTo>
                  <a:pt x="3425600" y="1771248"/>
                  <a:pt x="3423680" y="1772813"/>
                  <a:pt x="3421545" y="1774378"/>
                </a:cubicBezTo>
                <a:lnTo>
                  <a:pt x="3421069" y="1774672"/>
                </a:lnTo>
                <a:lnTo>
                  <a:pt x="3426390" y="1787214"/>
                </a:lnTo>
                <a:lnTo>
                  <a:pt x="3427948" y="1785759"/>
                </a:lnTo>
                <a:cubicBezTo>
                  <a:pt x="3429015" y="1782629"/>
                  <a:pt x="3428801" y="1778930"/>
                  <a:pt x="3428161" y="1775089"/>
                </a:cubicBezTo>
                <a:cubicBezTo>
                  <a:pt x="3427735" y="1767691"/>
                  <a:pt x="3426027" y="1757732"/>
                  <a:pt x="3432003" y="1749196"/>
                </a:cubicBezTo>
                <a:close/>
                <a:moveTo>
                  <a:pt x="5535468" y="1748200"/>
                </a:moveTo>
                <a:cubicBezTo>
                  <a:pt x="5535682" y="1749338"/>
                  <a:pt x="5536962" y="1750476"/>
                  <a:pt x="5537175" y="1751757"/>
                </a:cubicBezTo>
                <a:cubicBezTo>
                  <a:pt x="5535255" y="1754318"/>
                  <a:pt x="5531413" y="1752041"/>
                  <a:pt x="5531200" y="1750761"/>
                </a:cubicBezTo>
                <a:cubicBezTo>
                  <a:pt x="5532267" y="1749481"/>
                  <a:pt x="5534401" y="1749481"/>
                  <a:pt x="5535468" y="1748200"/>
                </a:cubicBezTo>
                <a:close/>
                <a:moveTo>
                  <a:pt x="4954112" y="1747489"/>
                </a:moveTo>
                <a:cubicBezTo>
                  <a:pt x="4954539" y="1747346"/>
                  <a:pt x="4954967" y="1747346"/>
                  <a:pt x="4955607" y="1747773"/>
                </a:cubicBezTo>
                <a:cubicBezTo>
                  <a:pt x="4954539" y="1750050"/>
                  <a:pt x="4953472" y="1751188"/>
                  <a:pt x="4951124" y="1751046"/>
                </a:cubicBezTo>
                <a:cubicBezTo>
                  <a:pt x="4951979" y="1750192"/>
                  <a:pt x="4952832" y="1748058"/>
                  <a:pt x="4954112" y="1747489"/>
                </a:cubicBezTo>
                <a:close/>
                <a:moveTo>
                  <a:pt x="1786643" y="1747253"/>
                </a:moveTo>
                <a:cubicBezTo>
                  <a:pt x="1790773" y="1751280"/>
                  <a:pt x="1795109" y="1750196"/>
                  <a:pt x="1796659" y="1755152"/>
                </a:cubicBezTo>
                <a:cubicBezTo>
                  <a:pt x="1791806" y="1762897"/>
                  <a:pt x="1782099" y="1759180"/>
                  <a:pt x="1782512" y="1753294"/>
                </a:cubicBezTo>
                <a:lnTo>
                  <a:pt x="1783029" y="1751900"/>
                </a:lnTo>
                <a:lnTo>
                  <a:pt x="1782719" y="1751125"/>
                </a:lnTo>
                <a:lnTo>
                  <a:pt x="1783235" y="1751125"/>
                </a:lnTo>
                <a:lnTo>
                  <a:pt x="1783545" y="1750351"/>
                </a:lnTo>
                <a:cubicBezTo>
                  <a:pt x="1784268" y="1749266"/>
                  <a:pt x="1785300" y="1748182"/>
                  <a:pt x="1786643" y="1747253"/>
                </a:cubicBezTo>
                <a:close/>
                <a:moveTo>
                  <a:pt x="1008194" y="1746788"/>
                </a:moveTo>
                <a:lnTo>
                  <a:pt x="1010672" y="1749266"/>
                </a:lnTo>
                <a:cubicBezTo>
                  <a:pt x="1009743" y="1750041"/>
                  <a:pt x="1007988" y="1750970"/>
                  <a:pt x="1007265" y="1750196"/>
                </a:cubicBezTo>
                <a:cubicBezTo>
                  <a:pt x="1006438" y="1749731"/>
                  <a:pt x="1006438" y="1749421"/>
                  <a:pt x="1006748" y="1748802"/>
                </a:cubicBezTo>
                <a:cubicBezTo>
                  <a:pt x="1007162" y="1748337"/>
                  <a:pt x="1007678" y="1747562"/>
                  <a:pt x="1008194" y="1746788"/>
                </a:cubicBezTo>
                <a:close/>
                <a:moveTo>
                  <a:pt x="4751151" y="1746777"/>
                </a:moveTo>
                <a:cubicBezTo>
                  <a:pt x="4759687" y="1747489"/>
                  <a:pt x="4770145" y="1753322"/>
                  <a:pt x="4773346" y="1760577"/>
                </a:cubicBezTo>
                <a:lnTo>
                  <a:pt x="4773560" y="1765130"/>
                </a:lnTo>
                <a:lnTo>
                  <a:pt x="4774200" y="1765130"/>
                </a:lnTo>
                <a:cubicBezTo>
                  <a:pt x="4774413" y="1765272"/>
                  <a:pt x="4774626" y="1765557"/>
                  <a:pt x="4775267" y="1765699"/>
                </a:cubicBezTo>
                <a:cubicBezTo>
                  <a:pt x="4776761" y="1766126"/>
                  <a:pt x="4782950" y="1764988"/>
                  <a:pt x="4783590" y="1763423"/>
                </a:cubicBezTo>
                <a:cubicBezTo>
                  <a:pt x="4784017" y="1764419"/>
                  <a:pt x="4785511" y="1764845"/>
                  <a:pt x="4785511" y="1764845"/>
                </a:cubicBezTo>
                <a:cubicBezTo>
                  <a:pt x="4785084" y="1766410"/>
                  <a:pt x="4784017" y="1767122"/>
                  <a:pt x="4782950" y="1767691"/>
                </a:cubicBezTo>
                <a:cubicBezTo>
                  <a:pt x="4781456" y="1767406"/>
                  <a:pt x="4781029" y="1766268"/>
                  <a:pt x="4779322" y="1765984"/>
                </a:cubicBezTo>
                <a:cubicBezTo>
                  <a:pt x="4778468" y="1766553"/>
                  <a:pt x="4776334" y="1767833"/>
                  <a:pt x="4774840" y="1767406"/>
                </a:cubicBezTo>
                <a:lnTo>
                  <a:pt x="4773560" y="1766979"/>
                </a:lnTo>
                <a:lnTo>
                  <a:pt x="4773560" y="1768118"/>
                </a:lnTo>
                <a:cubicBezTo>
                  <a:pt x="4763315" y="1768829"/>
                  <a:pt x="4751791" y="1766979"/>
                  <a:pt x="4739839" y="1757021"/>
                </a:cubicBezTo>
                <a:cubicBezTo>
                  <a:pt x="4738985" y="1748911"/>
                  <a:pt x="4744535" y="1746209"/>
                  <a:pt x="4751151" y="1746777"/>
                </a:cubicBezTo>
                <a:close/>
                <a:moveTo>
                  <a:pt x="4662795" y="1746777"/>
                </a:moveTo>
                <a:lnTo>
                  <a:pt x="4660874" y="1747062"/>
                </a:lnTo>
                <a:lnTo>
                  <a:pt x="4663221" y="1747204"/>
                </a:lnTo>
                <a:lnTo>
                  <a:pt x="4663008" y="1746777"/>
                </a:lnTo>
                <a:close/>
                <a:moveTo>
                  <a:pt x="3837287" y="1746635"/>
                </a:moveTo>
                <a:cubicBezTo>
                  <a:pt x="3841982" y="1749196"/>
                  <a:pt x="3843263" y="1750476"/>
                  <a:pt x="3845824" y="1755313"/>
                </a:cubicBezTo>
                <a:cubicBezTo>
                  <a:pt x="3844330" y="1758728"/>
                  <a:pt x="3841982" y="1761004"/>
                  <a:pt x="3839421" y="1762712"/>
                </a:cubicBezTo>
                <a:lnTo>
                  <a:pt x="3836860" y="1763850"/>
                </a:lnTo>
                <a:lnTo>
                  <a:pt x="3836860" y="1766979"/>
                </a:lnTo>
                <a:lnTo>
                  <a:pt x="3834299" y="1769967"/>
                </a:lnTo>
                <a:lnTo>
                  <a:pt x="3848171" y="1761147"/>
                </a:lnTo>
                <a:cubicBezTo>
                  <a:pt x="3850732" y="1759866"/>
                  <a:pt x="3853507" y="1759012"/>
                  <a:pt x="3856708" y="1758443"/>
                </a:cubicBezTo>
                <a:cubicBezTo>
                  <a:pt x="3859910" y="1758017"/>
                  <a:pt x="3863324" y="1757874"/>
                  <a:pt x="3867379" y="1758586"/>
                </a:cubicBezTo>
                <a:cubicBezTo>
                  <a:pt x="3868873" y="1762142"/>
                  <a:pt x="3874422" y="1765557"/>
                  <a:pt x="3870794" y="1769967"/>
                </a:cubicBezTo>
                <a:cubicBezTo>
                  <a:pt x="3858202" y="1763707"/>
                  <a:pt x="3847744" y="1776369"/>
                  <a:pt x="3838141" y="1772813"/>
                </a:cubicBezTo>
                <a:lnTo>
                  <a:pt x="3834085" y="1770251"/>
                </a:lnTo>
                <a:lnTo>
                  <a:pt x="3832165" y="1772386"/>
                </a:lnTo>
                <a:cubicBezTo>
                  <a:pt x="3831311" y="1773808"/>
                  <a:pt x="3830671" y="1775373"/>
                  <a:pt x="3829604" y="1776369"/>
                </a:cubicBezTo>
                <a:cubicBezTo>
                  <a:pt x="3828750" y="1777365"/>
                  <a:pt x="3827470" y="1777792"/>
                  <a:pt x="3825976" y="1777080"/>
                </a:cubicBezTo>
                <a:cubicBezTo>
                  <a:pt x="3826402" y="1773240"/>
                  <a:pt x="3826829" y="1770678"/>
                  <a:pt x="3828110" y="1766410"/>
                </a:cubicBezTo>
                <a:cubicBezTo>
                  <a:pt x="3828110" y="1766410"/>
                  <a:pt x="3828537" y="1766126"/>
                  <a:pt x="3828750" y="1765557"/>
                </a:cubicBezTo>
                <a:lnTo>
                  <a:pt x="3829390" y="1764845"/>
                </a:lnTo>
                <a:lnTo>
                  <a:pt x="3825336" y="1760862"/>
                </a:lnTo>
                <a:cubicBezTo>
                  <a:pt x="3823628" y="1755598"/>
                  <a:pt x="3833019" y="1750903"/>
                  <a:pt x="3837287" y="1746635"/>
                </a:cubicBezTo>
                <a:close/>
                <a:moveTo>
                  <a:pt x="1248574" y="1746478"/>
                </a:moveTo>
                <a:cubicBezTo>
                  <a:pt x="1248988" y="1751280"/>
                  <a:pt x="1251569" y="1754378"/>
                  <a:pt x="1254563" y="1756856"/>
                </a:cubicBezTo>
                <a:lnTo>
                  <a:pt x="1257971" y="1759645"/>
                </a:lnTo>
                <a:lnTo>
                  <a:pt x="1258694" y="1758870"/>
                </a:lnTo>
                <a:cubicBezTo>
                  <a:pt x="1258900" y="1758715"/>
                  <a:pt x="1258900" y="1758715"/>
                  <a:pt x="1258487" y="1758715"/>
                </a:cubicBezTo>
                <a:cubicBezTo>
                  <a:pt x="1260449" y="1757166"/>
                  <a:pt x="1262514" y="1754843"/>
                  <a:pt x="1264166" y="1755772"/>
                </a:cubicBezTo>
                <a:cubicBezTo>
                  <a:pt x="1266334" y="1757941"/>
                  <a:pt x="1265405" y="1761348"/>
                  <a:pt x="1263753" y="1764291"/>
                </a:cubicBezTo>
                <a:lnTo>
                  <a:pt x="1263443" y="1764756"/>
                </a:lnTo>
                <a:lnTo>
                  <a:pt x="1265095" y="1767544"/>
                </a:lnTo>
                <a:cubicBezTo>
                  <a:pt x="1265508" y="1768783"/>
                  <a:pt x="1265715" y="1770023"/>
                  <a:pt x="1265612" y="1771571"/>
                </a:cubicBezTo>
                <a:lnTo>
                  <a:pt x="1264166" y="1777612"/>
                </a:lnTo>
                <a:lnTo>
                  <a:pt x="1266025" y="1777922"/>
                </a:lnTo>
                <a:cubicBezTo>
                  <a:pt x="1265715" y="1780865"/>
                  <a:pt x="1264166" y="1781640"/>
                  <a:pt x="1262204" y="1781795"/>
                </a:cubicBezTo>
                <a:lnTo>
                  <a:pt x="1261998" y="1781640"/>
                </a:lnTo>
                <a:lnTo>
                  <a:pt x="1259210" y="1785047"/>
                </a:lnTo>
                <a:lnTo>
                  <a:pt x="1265405" y="1786596"/>
                </a:lnTo>
                <a:cubicBezTo>
                  <a:pt x="1267573" y="1787371"/>
                  <a:pt x="1269742" y="1788455"/>
                  <a:pt x="1271600" y="1789230"/>
                </a:cubicBezTo>
                <a:cubicBezTo>
                  <a:pt x="1275525" y="1790934"/>
                  <a:pt x="1279551" y="1792947"/>
                  <a:pt x="1280894" y="1795580"/>
                </a:cubicBezTo>
                <a:lnTo>
                  <a:pt x="1280894" y="1795890"/>
                </a:lnTo>
                <a:lnTo>
                  <a:pt x="1282959" y="1797284"/>
                </a:lnTo>
                <a:cubicBezTo>
                  <a:pt x="1285437" y="1799453"/>
                  <a:pt x="1286573" y="1802086"/>
                  <a:pt x="1283062" y="1804409"/>
                </a:cubicBezTo>
                <a:lnTo>
                  <a:pt x="1278519" y="1801312"/>
                </a:lnTo>
                <a:lnTo>
                  <a:pt x="1277073" y="1803170"/>
                </a:lnTo>
                <a:cubicBezTo>
                  <a:pt x="1275008" y="1804100"/>
                  <a:pt x="1272427" y="1804564"/>
                  <a:pt x="1269639" y="1804255"/>
                </a:cubicBezTo>
                <a:lnTo>
                  <a:pt x="1268709" y="1804100"/>
                </a:lnTo>
                <a:lnTo>
                  <a:pt x="1269019" y="1814323"/>
                </a:lnTo>
                <a:lnTo>
                  <a:pt x="1269329" y="1817266"/>
                </a:lnTo>
                <a:lnTo>
                  <a:pt x="1270258" y="1817730"/>
                </a:lnTo>
                <a:cubicBezTo>
                  <a:pt x="1271084" y="1818660"/>
                  <a:pt x="1271704" y="1819589"/>
                  <a:pt x="1272943" y="1820054"/>
                </a:cubicBezTo>
                <a:cubicBezTo>
                  <a:pt x="1272324" y="1820673"/>
                  <a:pt x="1271600" y="1821758"/>
                  <a:pt x="1270465" y="1822377"/>
                </a:cubicBezTo>
                <a:lnTo>
                  <a:pt x="1269948" y="1822532"/>
                </a:lnTo>
                <a:lnTo>
                  <a:pt x="1269948" y="1822997"/>
                </a:lnTo>
                <a:lnTo>
                  <a:pt x="1269535" y="1822687"/>
                </a:lnTo>
                <a:lnTo>
                  <a:pt x="1268503" y="1822997"/>
                </a:lnTo>
                <a:cubicBezTo>
                  <a:pt x="1267677" y="1823152"/>
                  <a:pt x="1266748" y="1823152"/>
                  <a:pt x="1265715" y="1822842"/>
                </a:cubicBezTo>
                <a:cubicBezTo>
                  <a:pt x="1264476" y="1822377"/>
                  <a:pt x="1264476" y="1822377"/>
                  <a:pt x="1264063" y="1821603"/>
                </a:cubicBezTo>
                <a:cubicBezTo>
                  <a:pt x="1263237" y="1820983"/>
                  <a:pt x="1262617" y="1820519"/>
                  <a:pt x="1262101" y="1820054"/>
                </a:cubicBezTo>
                <a:lnTo>
                  <a:pt x="1261998" y="1819589"/>
                </a:lnTo>
                <a:lnTo>
                  <a:pt x="1260552" y="1819280"/>
                </a:lnTo>
                <a:cubicBezTo>
                  <a:pt x="1257455" y="1818969"/>
                  <a:pt x="1254254" y="1819124"/>
                  <a:pt x="1251156" y="1819280"/>
                </a:cubicBezTo>
                <a:lnTo>
                  <a:pt x="1251053" y="1820983"/>
                </a:lnTo>
                <a:cubicBezTo>
                  <a:pt x="1250330" y="1822377"/>
                  <a:pt x="1249400" y="1823771"/>
                  <a:pt x="1249194" y="1825166"/>
                </a:cubicBezTo>
                <a:cubicBezTo>
                  <a:pt x="1245373" y="1824546"/>
                  <a:pt x="1243412" y="1822377"/>
                  <a:pt x="1242895" y="1820209"/>
                </a:cubicBezTo>
                <a:lnTo>
                  <a:pt x="1243102" y="1818195"/>
                </a:lnTo>
                <a:lnTo>
                  <a:pt x="1241450" y="1817576"/>
                </a:lnTo>
                <a:cubicBezTo>
                  <a:pt x="1240211" y="1817111"/>
                  <a:pt x="1238971" y="1816181"/>
                  <a:pt x="1237836" y="1815097"/>
                </a:cubicBezTo>
                <a:cubicBezTo>
                  <a:pt x="1229059" y="1807043"/>
                  <a:pt x="1230814" y="1796510"/>
                  <a:pt x="1236803" y="1790004"/>
                </a:cubicBezTo>
                <a:lnTo>
                  <a:pt x="1237320" y="1789539"/>
                </a:lnTo>
                <a:lnTo>
                  <a:pt x="1235151" y="1788300"/>
                </a:lnTo>
                <a:lnTo>
                  <a:pt x="1235048" y="1790004"/>
                </a:lnTo>
                <a:cubicBezTo>
                  <a:pt x="1234119" y="1791398"/>
                  <a:pt x="1232363" y="1792018"/>
                  <a:pt x="1229678" y="1791243"/>
                </a:cubicBezTo>
                <a:cubicBezTo>
                  <a:pt x="1229059" y="1790159"/>
                  <a:pt x="1229162" y="1788300"/>
                  <a:pt x="1229575" y="1786596"/>
                </a:cubicBezTo>
                <a:lnTo>
                  <a:pt x="1230814" y="1784738"/>
                </a:lnTo>
                <a:lnTo>
                  <a:pt x="1228027" y="1779936"/>
                </a:lnTo>
                <a:cubicBezTo>
                  <a:pt x="1227820" y="1778697"/>
                  <a:pt x="1227613" y="1777302"/>
                  <a:pt x="1227613" y="1775753"/>
                </a:cubicBezTo>
                <a:cubicBezTo>
                  <a:pt x="1227613" y="1774359"/>
                  <a:pt x="1227923" y="1772656"/>
                  <a:pt x="1228233" y="1770952"/>
                </a:cubicBezTo>
                <a:cubicBezTo>
                  <a:pt x="1229575" y="1766305"/>
                  <a:pt x="1232776" y="1762742"/>
                  <a:pt x="1236494" y="1759025"/>
                </a:cubicBezTo>
                <a:lnTo>
                  <a:pt x="1239075" y="1756546"/>
                </a:lnTo>
                <a:lnTo>
                  <a:pt x="1239385" y="1755462"/>
                </a:lnTo>
                <a:cubicBezTo>
                  <a:pt x="1239695" y="1754223"/>
                  <a:pt x="1240107" y="1752984"/>
                  <a:pt x="1240727" y="1752364"/>
                </a:cubicBezTo>
                <a:cubicBezTo>
                  <a:pt x="1241140" y="1751900"/>
                  <a:pt x="1241553" y="1751745"/>
                  <a:pt x="1242173" y="1751900"/>
                </a:cubicBezTo>
                <a:lnTo>
                  <a:pt x="1241863" y="1754068"/>
                </a:lnTo>
                <a:lnTo>
                  <a:pt x="1242482" y="1753448"/>
                </a:lnTo>
                <a:cubicBezTo>
                  <a:pt x="1244547" y="1751435"/>
                  <a:pt x="1246612" y="1749111"/>
                  <a:pt x="1248574" y="1746478"/>
                </a:cubicBezTo>
                <a:close/>
                <a:moveTo>
                  <a:pt x="3509901" y="1746351"/>
                </a:moveTo>
                <a:cubicBezTo>
                  <a:pt x="3521639" y="1750334"/>
                  <a:pt x="3526761" y="1765984"/>
                  <a:pt x="3527188" y="1774378"/>
                </a:cubicBezTo>
                <a:lnTo>
                  <a:pt x="3521852" y="1771106"/>
                </a:lnTo>
                <a:lnTo>
                  <a:pt x="3519718" y="1772101"/>
                </a:lnTo>
                <a:lnTo>
                  <a:pt x="3529109" y="1775089"/>
                </a:lnTo>
                <a:cubicBezTo>
                  <a:pt x="3533164" y="1777080"/>
                  <a:pt x="3537005" y="1779357"/>
                  <a:pt x="3540207" y="1782060"/>
                </a:cubicBezTo>
                <a:lnTo>
                  <a:pt x="3542768" y="1784905"/>
                </a:lnTo>
                <a:lnTo>
                  <a:pt x="3546396" y="1785474"/>
                </a:lnTo>
                <a:lnTo>
                  <a:pt x="3544688" y="1786897"/>
                </a:lnTo>
                <a:lnTo>
                  <a:pt x="3548530" y="1791165"/>
                </a:lnTo>
                <a:cubicBezTo>
                  <a:pt x="3550451" y="1794438"/>
                  <a:pt x="3551944" y="1797994"/>
                  <a:pt x="3552158" y="1801551"/>
                </a:cubicBezTo>
                <a:lnTo>
                  <a:pt x="3551732" y="1803827"/>
                </a:lnTo>
                <a:lnTo>
                  <a:pt x="3552372" y="1803685"/>
                </a:lnTo>
                <a:cubicBezTo>
                  <a:pt x="3552372" y="1803685"/>
                  <a:pt x="3553865" y="1804254"/>
                  <a:pt x="3553865" y="1804254"/>
                </a:cubicBezTo>
                <a:cubicBezTo>
                  <a:pt x="3559201" y="1805819"/>
                  <a:pt x="3563256" y="1811652"/>
                  <a:pt x="3563043" y="1814355"/>
                </a:cubicBezTo>
                <a:cubicBezTo>
                  <a:pt x="3561335" y="1817485"/>
                  <a:pt x="3557494" y="1820330"/>
                  <a:pt x="3553012" y="1818339"/>
                </a:cubicBezTo>
                <a:lnTo>
                  <a:pt x="3551304" y="1817058"/>
                </a:lnTo>
                <a:lnTo>
                  <a:pt x="3551091" y="1817200"/>
                </a:lnTo>
                <a:cubicBezTo>
                  <a:pt x="3550237" y="1818197"/>
                  <a:pt x="3549170" y="1819050"/>
                  <a:pt x="3547463" y="1819761"/>
                </a:cubicBezTo>
                <a:cubicBezTo>
                  <a:pt x="3544688" y="1819050"/>
                  <a:pt x="3543194" y="1817200"/>
                  <a:pt x="3542128" y="1815066"/>
                </a:cubicBezTo>
                <a:lnTo>
                  <a:pt x="3539566" y="1811083"/>
                </a:lnTo>
                <a:lnTo>
                  <a:pt x="3531670" y="1810087"/>
                </a:lnTo>
                <a:lnTo>
                  <a:pt x="3531457" y="1811652"/>
                </a:lnTo>
                <a:lnTo>
                  <a:pt x="3530816" y="1813359"/>
                </a:lnTo>
                <a:lnTo>
                  <a:pt x="3531883" y="1813502"/>
                </a:lnTo>
                <a:cubicBezTo>
                  <a:pt x="3531457" y="1817343"/>
                  <a:pt x="3532310" y="1820899"/>
                  <a:pt x="3532737" y="1824029"/>
                </a:cubicBezTo>
                <a:lnTo>
                  <a:pt x="3532097" y="1829720"/>
                </a:lnTo>
                <a:lnTo>
                  <a:pt x="3538286" y="1826591"/>
                </a:lnTo>
                <a:cubicBezTo>
                  <a:pt x="3544475" y="1824314"/>
                  <a:pt x="3547676" y="1825736"/>
                  <a:pt x="3548743" y="1828724"/>
                </a:cubicBezTo>
                <a:cubicBezTo>
                  <a:pt x="3551518" y="1835553"/>
                  <a:pt x="3544261" y="1850206"/>
                  <a:pt x="3538286" y="1849211"/>
                </a:cubicBezTo>
                <a:cubicBezTo>
                  <a:pt x="3535725" y="1848641"/>
                  <a:pt x="3533377" y="1845796"/>
                  <a:pt x="3532097" y="1838683"/>
                </a:cubicBezTo>
                <a:lnTo>
                  <a:pt x="3531243" y="1831712"/>
                </a:lnTo>
                <a:lnTo>
                  <a:pt x="3527188" y="1833135"/>
                </a:lnTo>
                <a:cubicBezTo>
                  <a:pt x="3526334" y="1831143"/>
                  <a:pt x="3525054" y="1826306"/>
                  <a:pt x="3524840" y="1821895"/>
                </a:cubicBezTo>
                <a:lnTo>
                  <a:pt x="3524840" y="1821611"/>
                </a:lnTo>
                <a:lnTo>
                  <a:pt x="3523987" y="1822464"/>
                </a:lnTo>
                <a:cubicBezTo>
                  <a:pt x="3520999" y="1824029"/>
                  <a:pt x="3513103" y="1826448"/>
                  <a:pt x="3513956" y="1824314"/>
                </a:cubicBezTo>
                <a:lnTo>
                  <a:pt x="3512889" y="1823460"/>
                </a:lnTo>
                <a:lnTo>
                  <a:pt x="3510115" y="1823176"/>
                </a:lnTo>
                <a:lnTo>
                  <a:pt x="3509901" y="1822891"/>
                </a:lnTo>
                <a:lnTo>
                  <a:pt x="3509688" y="1822891"/>
                </a:lnTo>
                <a:lnTo>
                  <a:pt x="3509261" y="1821753"/>
                </a:lnTo>
                <a:lnTo>
                  <a:pt x="3506700" y="1816489"/>
                </a:lnTo>
                <a:lnTo>
                  <a:pt x="3507767" y="1815208"/>
                </a:lnTo>
                <a:lnTo>
                  <a:pt x="3506700" y="1811225"/>
                </a:lnTo>
                <a:lnTo>
                  <a:pt x="3510541" y="1804681"/>
                </a:lnTo>
                <a:lnTo>
                  <a:pt x="3502432" y="1800982"/>
                </a:lnTo>
                <a:lnTo>
                  <a:pt x="3490694" y="1791734"/>
                </a:lnTo>
                <a:lnTo>
                  <a:pt x="3474047" y="1801267"/>
                </a:lnTo>
                <a:cubicBezTo>
                  <a:pt x="3474473" y="1794011"/>
                  <a:pt x="3478102" y="1785332"/>
                  <a:pt x="3483864" y="1778077"/>
                </a:cubicBezTo>
                <a:lnTo>
                  <a:pt x="3493468" y="1768971"/>
                </a:lnTo>
                <a:lnTo>
                  <a:pt x="3493041" y="1767833"/>
                </a:lnTo>
                <a:cubicBezTo>
                  <a:pt x="3491974" y="1764988"/>
                  <a:pt x="3491974" y="1762000"/>
                  <a:pt x="3494749" y="1761289"/>
                </a:cubicBezTo>
                <a:cubicBezTo>
                  <a:pt x="3496029" y="1761289"/>
                  <a:pt x="3497096" y="1761858"/>
                  <a:pt x="3497736" y="1762854"/>
                </a:cubicBezTo>
                <a:lnTo>
                  <a:pt x="3498376" y="1766695"/>
                </a:lnTo>
                <a:lnTo>
                  <a:pt x="3505846" y="1763565"/>
                </a:lnTo>
                <a:lnTo>
                  <a:pt x="3506486" y="1763707"/>
                </a:lnTo>
                <a:lnTo>
                  <a:pt x="3512035" y="1760720"/>
                </a:lnTo>
                <a:lnTo>
                  <a:pt x="3512889" y="1760720"/>
                </a:lnTo>
                <a:lnTo>
                  <a:pt x="3510115" y="1753606"/>
                </a:lnTo>
                <a:cubicBezTo>
                  <a:pt x="3509474" y="1750903"/>
                  <a:pt x="3509474" y="1748342"/>
                  <a:pt x="3509901" y="1746351"/>
                </a:cubicBezTo>
                <a:close/>
                <a:moveTo>
                  <a:pt x="896058" y="1745704"/>
                </a:moveTo>
                <a:cubicBezTo>
                  <a:pt x="896781" y="1744000"/>
                  <a:pt x="898639" y="1744465"/>
                  <a:pt x="900394" y="1745858"/>
                </a:cubicBezTo>
                <a:cubicBezTo>
                  <a:pt x="904938" y="1747717"/>
                  <a:pt x="905970" y="1750196"/>
                  <a:pt x="903492" y="1752984"/>
                </a:cubicBezTo>
                <a:cubicBezTo>
                  <a:pt x="902666" y="1753139"/>
                  <a:pt x="899982" y="1752674"/>
                  <a:pt x="900085" y="1753448"/>
                </a:cubicBezTo>
                <a:cubicBezTo>
                  <a:pt x="898020" y="1751900"/>
                  <a:pt x="895851" y="1749886"/>
                  <a:pt x="895645" y="1747717"/>
                </a:cubicBezTo>
                <a:cubicBezTo>
                  <a:pt x="895541" y="1747098"/>
                  <a:pt x="895645" y="1746323"/>
                  <a:pt x="896058" y="1745704"/>
                </a:cubicBezTo>
                <a:close/>
                <a:moveTo>
                  <a:pt x="4639745" y="1745639"/>
                </a:moveTo>
                <a:cubicBezTo>
                  <a:pt x="4640599" y="1745497"/>
                  <a:pt x="4641453" y="1745782"/>
                  <a:pt x="4642733" y="1746351"/>
                </a:cubicBezTo>
                <a:cubicBezTo>
                  <a:pt x="4646788" y="1750903"/>
                  <a:pt x="4644014" y="1755883"/>
                  <a:pt x="4643800" y="1762000"/>
                </a:cubicBezTo>
                <a:cubicBezTo>
                  <a:pt x="4642520" y="1762142"/>
                  <a:pt x="4641666" y="1763423"/>
                  <a:pt x="4641879" y="1764561"/>
                </a:cubicBezTo>
                <a:cubicBezTo>
                  <a:pt x="4640812" y="1765841"/>
                  <a:pt x="4639745" y="1767122"/>
                  <a:pt x="4641026" y="1767122"/>
                </a:cubicBezTo>
                <a:cubicBezTo>
                  <a:pt x="4638038" y="1770963"/>
                  <a:pt x="4638251" y="1772101"/>
                  <a:pt x="4634623" y="1771106"/>
                </a:cubicBezTo>
                <a:cubicBezTo>
                  <a:pt x="4634410" y="1761431"/>
                  <a:pt x="4637398" y="1750334"/>
                  <a:pt x="4638251" y="1747773"/>
                </a:cubicBezTo>
                <a:cubicBezTo>
                  <a:pt x="4638678" y="1746635"/>
                  <a:pt x="4639105" y="1745924"/>
                  <a:pt x="4639745" y="1745639"/>
                </a:cubicBezTo>
                <a:close/>
                <a:moveTo>
                  <a:pt x="1618722" y="1745587"/>
                </a:moveTo>
                <a:cubicBezTo>
                  <a:pt x="1621226" y="1744310"/>
                  <a:pt x="1624221" y="1745084"/>
                  <a:pt x="1625873" y="1747717"/>
                </a:cubicBezTo>
                <a:cubicBezTo>
                  <a:pt x="1626905" y="1749421"/>
                  <a:pt x="1627422" y="1752055"/>
                  <a:pt x="1626699" y="1755462"/>
                </a:cubicBezTo>
                <a:cubicBezTo>
                  <a:pt x="1623808" y="1758870"/>
                  <a:pt x="1615960" y="1758870"/>
                  <a:pt x="1614514" y="1755772"/>
                </a:cubicBezTo>
                <a:cubicBezTo>
                  <a:pt x="1614204" y="1750196"/>
                  <a:pt x="1616218" y="1746865"/>
                  <a:pt x="1618722" y="1745587"/>
                </a:cubicBezTo>
                <a:close/>
                <a:moveTo>
                  <a:pt x="4696728" y="1745355"/>
                </a:moveTo>
                <a:cubicBezTo>
                  <a:pt x="4697796" y="1745782"/>
                  <a:pt x="4699289" y="1746635"/>
                  <a:pt x="4701210" y="1747916"/>
                </a:cubicBezTo>
                <a:cubicBezTo>
                  <a:pt x="4704838" y="1750619"/>
                  <a:pt x="4708467" y="1755598"/>
                  <a:pt x="4709747" y="1756736"/>
                </a:cubicBezTo>
                <a:cubicBezTo>
                  <a:pt x="4711027" y="1758017"/>
                  <a:pt x="4712095" y="1758159"/>
                  <a:pt x="4712095" y="1758159"/>
                </a:cubicBezTo>
                <a:cubicBezTo>
                  <a:pt x="4711027" y="1760435"/>
                  <a:pt x="4697796" y="1750192"/>
                  <a:pt x="4694167" y="1747631"/>
                </a:cubicBezTo>
                <a:cubicBezTo>
                  <a:pt x="4694167" y="1746493"/>
                  <a:pt x="4694167" y="1746493"/>
                  <a:pt x="4694167" y="1746493"/>
                </a:cubicBezTo>
                <a:cubicBezTo>
                  <a:pt x="4694594" y="1745355"/>
                  <a:pt x="4695448" y="1745070"/>
                  <a:pt x="4696728" y="1745355"/>
                </a:cubicBezTo>
                <a:close/>
                <a:moveTo>
                  <a:pt x="5735869" y="1745212"/>
                </a:moveTo>
                <a:cubicBezTo>
                  <a:pt x="5751449" y="1748484"/>
                  <a:pt x="5739284" y="1759155"/>
                  <a:pt x="5735656" y="1766410"/>
                </a:cubicBezTo>
                <a:lnTo>
                  <a:pt x="5732028" y="1765272"/>
                </a:lnTo>
                <a:lnTo>
                  <a:pt x="5731387" y="1765557"/>
                </a:lnTo>
                <a:cubicBezTo>
                  <a:pt x="5726265" y="1767406"/>
                  <a:pt x="5721570" y="1763281"/>
                  <a:pt x="5722637" y="1758443"/>
                </a:cubicBezTo>
                <a:cubicBezTo>
                  <a:pt x="5723064" y="1756309"/>
                  <a:pt x="5724772" y="1754175"/>
                  <a:pt x="5727759" y="1752183"/>
                </a:cubicBezTo>
                <a:lnTo>
                  <a:pt x="5728613" y="1752753"/>
                </a:lnTo>
                <a:lnTo>
                  <a:pt x="5729253" y="1751330"/>
                </a:lnTo>
                <a:cubicBezTo>
                  <a:pt x="5731174" y="1748911"/>
                  <a:pt x="5733522" y="1747062"/>
                  <a:pt x="5735869" y="1745212"/>
                </a:cubicBezTo>
                <a:close/>
                <a:moveTo>
                  <a:pt x="4628647" y="1744643"/>
                </a:moveTo>
                <a:cubicBezTo>
                  <a:pt x="4629501" y="1747916"/>
                  <a:pt x="4630568" y="1752326"/>
                  <a:pt x="4630141" y="1754887"/>
                </a:cubicBezTo>
                <a:cubicBezTo>
                  <a:pt x="4628434" y="1753179"/>
                  <a:pt x="4626300" y="1749196"/>
                  <a:pt x="4627794" y="1746209"/>
                </a:cubicBezTo>
                <a:cubicBezTo>
                  <a:pt x="4627794" y="1746209"/>
                  <a:pt x="4627794" y="1746209"/>
                  <a:pt x="4628647" y="1744643"/>
                </a:cubicBezTo>
                <a:close/>
                <a:moveTo>
                  <a:pt x="5949716" y="1742794"/>
                </a:moveTo>
                <a:cubicBezTo>
                  <a:pt x="5950356" y="1742652"/>
                  <a:pt x="5951423" y="1742936"/>
                  <a:pt x="5952703" y="1744074"/>
                </a:cubicBezTo>
                <a:cubicBezTo>
                  <a:pt x="5955051" y="1745212"/>
                  <a:pt x="5955265" y="1746351"/>
                  <a:pt x="5953558" y="1750050"/>
                </a:cubicBezTo>
                <a:cubicBezTo>
                  <a:pt x="5951637" y="1752611"/>
                  <a:pt x="5950783" y="1755171"/>
                  <a:pt x="5949502" y="1755171"/>
                </a:cubicBezTo>
                <a:cubicBezTo>
                  <a:pt x="5949716" y="1756452"/>
                  <a:pt x="5948862" y="1757732"/>
                  <a:pt x="5948862" y="1758870"/>
                </a:cubicBezTo>
                <a:cubicBezTo>
                  <a:pt x="5948862" y="1758870"/>
                  <a:pt x="5948862" y="1758870"/>
                  <a:pt x="5947795" y="1759012"/>
                </a:cubicBezTo>
                <a:cubicBezTo>
                  <a:pt x="5948222" y="1754033"/>
                  <a:pt x="5946301" y="1748058"/>
                  <a:pt x="5948008" y="1744359"/>
                </a:cubicBezTo>
                <a:cubicBezTo>
                  <a:pt x="5948649" y="1743647"/>
                  <a:pt x="5949075" y="1743078"/>
                  <a:pt x="5949716" y="1742794"/>
                </a:cubicBezTo>
                <a:close/>
                <a:moveTo>
                  <a:pt x="4588311" y="1742509"/>
                </a:moveTo>
                <a:cubicBezTo>
                  <a:pt x="4588098" y="1743790"/>
                  <a:pt x="4589378" y="1743932"/>
                  <a:pt x="4589378" y="1743932"/>
                </a:cubicBezTo>
                <a:cubicBezTo>
                  <a:pt x="4589378" y="1743932"/>
                  <a:pt x="4589378" y="1743932"/>
                  <a:pt x="4589378" y="1742794"/>
                </a:cubicBezTo>
                <a:cubicBezTo>
                  <a:pt x="4590019" y="1743363"/>
                  <a:pt x="4589805" y="1744074"/>
                  <a:pt x="4589805" y="1744359"/>
                </a:cubicBezTo>
                <a:cubicBezTo>
                  <a:pt x="4589591" y="1744786"/>
                  <a:pt x="4589165" y="1745070"/>
                  <a:pt x="4589165" y="1745070"/>
                </a:cubicBezTo>
                <a:cubicBezTo>
                  <a:pt x="4588098" y="1746066"/>
                  <a:pt x="4586817" y="1747204"/>
                  <a:pt x="4585750" y="1745782"/>
                </a:cubicBezTo>
                <a:cubicBezTo>
                  <a:pt x="4585750" y="1745782"/>
                  <a:pt x="4585750" y="1744501"/>
                  <a:pt x="4588311" y="1742509"/>
                </a:cubicBezTo>
                <a:close/>
                <a:moveTo>
                  <a:pt x="1555452" y="1742296"/>
                </a:moveTo>
                <a:cubicBezTo>
                  <a:pt x="1556278" y="1742296"/>
                  <a:pt x="1557207" y="1742296"/>
                  <a:pt x="1557930" y="1743225"/>
                </a:cubicBezTo>
                <a:cubicBezTo>
                  <a:pt x="1558653" y="1744155"/>
                  <a:pt x="1557724" y="1744155"/>
                  <a:pt x="1558653" y="1744155"/>
                </a:cubicBezTo>
                <a:cubicBezTo>
                  <a:pt x="1559376" y="1745084"/>
                  <a:pt x="1559479" y="1744155"/>
                  <a:pt x="1559479" y="1744155"/>
                </a:cubicBezTo>
                <a:cubicBezTo>
                  <a:pt x="1559479" y="1744155"/>
                  <a:pt x="1559376" y="1745084"/>
                  <a:pt x="1559376" y="1745084"/>
                </a:cubicBezTo>
                <a:cubicBezTo>
                  <a:pt x="1559376" y="1745084"/>
                  <a:pt x="1559376" y="1745084"/>
                  <a:pt x="1560821" y="1746788"/>
                </a:cubicBezTo>
                <a:cubicBezTo>
                  <a:pt x="1563093" y="1748647"/>
                  <a:pt x="1564022" y="1748647"/>
                  <a:pt x="1565674" y="1749576"/>
                </a:cubicBezTo>
                <a:cubicBezTo>
                  <a:pt x="1567120" y="1751435"/>
                  <a:pt x="1566913" y="1752210"/>
                  <a:pt x="1568256" y="1754843"/>
                </a:cubicBezTo>
                <a:cubicBezTo>
                  <a:pt x="1567120" y="1756546"/>
                  <a:pt x="1567120" y="1756546"/>
                  <a:pt x="1566294" y="1756391"/>
                </a:cubicBezTo>
                <a:cubicBezTo>
                  <a:pt x="1567120" y="1756546"/>
                  <a:pt x="1567017" y="1757321"/>
                  <a:pt x="1567739" y="1758250"/>
                </a:cubicBezTo>
                <a:lnTo>
                  <a:pt x="1569495" y="1760419"/>
                </a:lnTo>
                <a:lnTo>
                  <a:pt x="1571560" y="1760419"/>
                </a:lnTo>
                <a:cubicBezTo>
                  <a:pt x="1572386" y="1760574"/>
                  <a:pt x="1573315" y="1760729"/>
                  <a:pt x="1574451" y="1761813"/>
                </a:cubicBezTo>
                <a:cubicBezTo>
                  <a:pt x="1573315" y="1763827"/>
                  <a:pt x="1571973" y="1764911"/>
                  <a:pt x="1570837" y="1766924"/>
                </a:cubicBezTo>
                <a:lnTo>
                  <a:pt x="1568462" y="1764601"/>
                </a:lnTo>
                <a:lnTo>
                  <a:pt x="1565158" y="1768938"/>
                </a:lnTo>
                <a:cubicBezTo>
                  <a:pt x="1564435" y="1768009"/>
                  <a:pt x="1562267" y="1770487"/>
                  <a:pt x="1560305" y="1771107"/>
                </a:cubicBezTo>
                <a:cubicBezTo>
                  <a:pt x="1557724" y="1770952"/>
                  <a:pt x="1555968" y="1770797"/>
                  <a:pt x="1554523" y="1769093"/>
                </a:cubicBezTo>
                <a:lnTo>
                  <a:pt x="1553490" y="1766150"/>
                </a:lnTo>
                <a:lnTo>
                  <a:pt x="1552561" y="1767234"/>
                </a:lnTo>
                <a:cubicBezTo>
                  <a:pt x="1551735" y="1767854"/>
                  <a:pt x="1550702" y="1768318"/>
                  <a:pt x="1550186" y="1769248"/>
                </a:cubicBezTo>
                <a:cubicBezTo>
                  <a:pt x="1549463" y="1768628"/>
                  <a:pt x="1548534" y="1767699"/>
                  <a:pt x="1547811" y="1766614"/>
                </a:cubicBezTo>
                <a:lnTo>
                  <a:pt x="1547708" y="1764291"/>
                </a:lnTo>
                <a:lnTo>
                  <a:pt x="1546469" y="1764601"/>
                </a:lnTo>
                <a:cubicBezTo>
                  <a:pt x="1543268" y="1763981"/>
                  <a:pt x="1539964" y="1760884"/>
                  <a:pt x="1540376" y="1756237"/>
                </a:cubicBezTo>
                <a:cubicBezTo>
                  <a:pt x="1541719" y="1755307"/>
                  <a:pt x="1543164" y="1754688"/>
                  <a:pt x="1544403" y="1754223"/>
                </a:cubicBezTo>
                <a:cubicBezTo>
                  <a:pt x="1545642" y="1753758"/>
                  <a:pt x="1546778" y="1753603"/>
                  <a:pt x="1547708" y="1753294"/>
                </a:cubicBezTo>
                <a:cubicBezTo>
                  <a:pt x="1549257" y="1755307"/>
                  <a:pt x="1550908" y="1756391"/>
                  <a:pt x="1552561" y="1758405"/>
                </a:cubicBezTo>
                <a:lnTo>
                  <a:pt x="1552458" y="1758715"/>
                </a:lnTo>
                <a:lnTo>
                  <a:pt x="1552664" y="1758715"/>
                </a:lnTo>
                <a:lnTo>
                  <a:pt x="1554006" y="1759799"/>
                </a:lnTo>
                <a:lnTo>
                  <a:pt x="1554626" y="1758095"/>
                </a:lnTo>
                <a:cubicBezTo>
                  <a:pt x="1557724" y="1754997"/>
                  <a:pt x="1560408" y="1754378"/>
                  <a:pt x="1563093" y="1754533"/>
                </a:cubicBezTo>
                <a:cubicBezTo>
                  <a:pt x="1563093" y="1754533"/>
                  <a:pt x="1563093" y="1754533"/>
                  <a:pt x="1562267" y="1754533"/>
                </a:cubicBezTo>
                <a:cubicBezTo>
                  <a:pt x="1559272" y="1750970"/>
                  <a:pt x="1554213" y="1744774"/>
                  <a:pt x="1555452" y="1742296"/>
                </a:cubicBezTo>
                <a:close/>
                <a:moveTo>
                  <a:pt x="1602227" y="1741831"/>
                </a:moveTo>
                <a:lnTo>
                  <a:pt x="1607287" y="1743845"/>
                </a:lnTo>
                <a:lnTo>
                  <a:pt x="1607803" y="1743070"/>
                </a:lnTo>
                <a:cubicBezTo>
                  <a:pt x="1610178" y="1744774"/>
                  <a:pt x="1610798" y="1749111"/>
                  <a:pt x="1610488" y="1753139"/>
                </a:cubicBezTo>
                <a:lnTo>
                  <a:pt x="1609662" y="1757321"/>
                </a:lnTo>
                <a:lnTo>
                  <a:pt x="1610074" y="1757476"/>
                </a:lnTo>
                <a:cubicBezTo>
                  <a:pt x="1610901" y="1757476"/>
                  <a:pt x="1611520" y="1757476"/>
                  <a:pt x="1612553" y="1757476"/>
                </a:cubicBezTo>
                <a:cubicBezTo>
                  <a:pt x="1614928" y="1758405"/>
                  <a:pt x="1615237" y="1759180"/>
                  <a:pt x="1617922" y="1760884"/>
                </a:cubicBezTo>
                <a:cubicBezTo>
                  <a:pt x="1617922" y="1762742"/>
                  <a:pt x="1618025" y="1762897"/>
                  <a:pt x="1617199" y="1763207"/>
                </a:cubicBezTo>
                <a:cubicBezTo>
                  <a:pt x="1618025" y="1762897"/>
                  <a:pt x="1618335" y="1763517"/>
                  <a:pt x="1619471" y="1763981"/>
                </a:cubicBezTo>
                <a:cubicBezTo>
                  <a:pt x="1622052" y="1764446"/>
                  <a:pt x="1623395" y="1765840"/>
                  <a:pt x="1624014" y="1767699"/>
                </a:cubicBezTo>
                <a:lnTo>
                  <a:pt x="1624014" y="1767854"/>
                </a:lnTo>
                <a:lnTo>
                  <a:pt x="1625873" y="1769248"/>
                </a:lnTo>
                <a:cubicBezTo>
                  <a:pt x="1629383" y="1773895"/>
                  <a:pt x="1630209" y="1780710"/>
                  <a:pt x="1624117" y="1788610"/>
                </a:cubicBezTo>
                <a:lnTo>
                  <a:pt x="1622981" y="1788610"/>
                </a:lnTo>
                <a:lnTo>
                  <a:pt x="1626699" y="1789694"/>
                </a:lnTo>
                <a:cubicBezTo>
                  <a:pt x="1627215" y="1791243"/>
                  <a:pt x="1627008" y="1792637"/>
                  <a:pt x="1626389" y="1793877"/>
                </a:cubicBezTo>
                <a:lnTo>
                  <a:pt x="1625047" y="1795115"/>
                </a:lnTo>
                <a:lnTo>
                  <a:pt x="1627422" y="1795425"/>
                </a:lnTo>
                <a:cubicBezTo>
                  <a:pt x="1627112" y="1797749"/>
                  <a:pt x="1627422" y="1799608"/>
                  <a:pt x="1626596" y="1801312"/>
                </a:cubicBezTo>
                <a:cubicBezTo>
                  <a:pt x="1624324" y="1802086"/>
                  <a:pt x="1622878" y="1801621"/>
                  <a:pt x="1622052" y="1800537"/>
                </a:cubicBezTo>
                <a:lnTo>
                  <a:pt x="1621949" y="1797439"/>
                </a:lnTo>
                <a:lnTo>
                  <a:pt x="1619677" y="1798368"/>
                </a:lnTo>
                <a:cubicBezTo>
                  <a:pt x="1620503" y="1801312"/>
                  <a:pt x="1619987" y="1805029"/>
                  <a:pt x="1617819" y="1807043"/>
                </a:cubicBezTo>
                <a:cubicBezTo>
                  <a:pt x="1613689" y="1804409"/>
                  <a:pt x="1611107" y="1801931"/>
                  <a:pt x="1611623" y="1798059"/>
                </a:cubicBezTo>
                <a:cubicBezTo>
                  <a:pt x="1611830" y="1796819"/>
                  <a:pt x="1612449" y="1795425"/>
                  <a:pt x="1613275" y="1793722"/>
                </a:cubicBezTo>
                <a:lnTo>
                  <a:pt x="1614721" y="1794031"/>
                </a:lnTo>
                <a:lnTo>
                  <a:pt x="1616270" y="1791708"/>
                </a:lnTo>
                <a:lnTo>
                  <a:pt x="1622568" y="1788455"/>
                </a:lnTo>
                <a:lnTo>
                  <a:pt x="1615340" y="1787680"/>
                </a:lnTo>
                <a:cubicBezTo>
                  <a:pt x="1607183" y="1785357"/>
                  <a:pt x="1601607" y="1779471"/>
                  <a:pt x="1602640" y="1772346"/>
                </a:cubicBezTo>
                <a:cubicBezTo>
                  <a:pt x="1603569" y="1769403"/>
                  <a:pt x="1605015" y="1767389"/>
                  <a:pt x="1606874" y="1765840"/>
                </a:cubicBezTo>
                <a:lnTo>
                  <a:pt x="1610694" y="1764446"/>
                </a:lnTo>
                <a:lnTo>
                  <a:pt x="1613275" y="1762742"/>
                </a:lnTo>
                <a:cubicBezTo>
                  <a:pt x="1613275" y="1762742"/>
                  <a:pt x="1613275" y="1762742"/>
                  <a:pt x="1612449" y="1763052"/>
                </a:cubicBezTo>
                <a:lnTo>
                  <a:pt x="1608009" y="1761193"/>
                </a:lnTo>
                <a:lnTo>
                  <a:pt x="1607287" y="1762278"/>
                </a:lnTo>
                <a:lnTo>
                  <a:pt x="1606770" y="1760574"/>
                </a:lnTo>
                <a:lnTo>
                  <a:pt x="1604189" y="1759489"/>
                </a:lnTo>
                <a:cubicBezTo>
                  <a:pt x="1601504" y="1758095"/>
                  <a:pt x="1599336" y="1756701"/>
                  <a:pt x="1599233" y="1755307"/>
                </a:cubicBezTo>
                <a:cubicBezTo>
                  <a:pt x="1599955" y="1754997"/>
                  <a:pt x="1600781" y="1754688"/>
                  <a:pt x="1601917" y="1755152"/>
                </a:cubicBezTo>
                <a:cubicBezTo>
                  <a:pt x="1603156" y="1755617"/>
                  <a:pt x="1602330" y="1755927"/>
                  <a:pt x="1603156" y="1755617"/>
                </a:cubicBezTo>
                <a:cubicBezTo>
                  <a:pt x="1604292" y="1756081"/>
                  <a:pt x="1603879" y="1755307"/>
                  <a:pt x="1603879" y="1755307"/>
                </a:cubicBezTo>
                <a:cubicBezTo>
                  <a:pt x="1603879" y="1755307"/>
                  <a:pt x="1604292" y="1756081"/>
                  <a:pt x="1604292" y="1756081"/>
                </a:cubicBezTo>
                <a:cubicBezTo>
                  <a:pt x="1604292" y="1756081"/>
                  <a:pt x="1604292" y="1756081"/>
                  <a:pt x="1604499" y="1756237"/>
                </a:cubicBezTo>
                <a:lnTo>
                  <a:pt x="1605531" y="1756546"/>
                </a:lnTo>
                <a:lnTo>
                  <a:pt x="1604499" y="1753139"/>
                </a:lnTo>
                <a:lnTo>
                  <a:pt x="1603466" y="1753913"/>
                </a:lnTo>
                <a:cubicBezTo>
                  <a:pt x="1601504" y="1753294"/>
                  <a:pt x="1600369" y="1752364"/>
                  <a:pt x="1599336" y="1751280"/>
                </a:cubicBezTo>
                <a:lnTo>
                  <a:pt x="1597477" y="1749421"/>
                </a:lnTo>
                <a:lnTo>
                  <a:pt x="1594896" y="1752519"/>
                </a:lnTo>
                <a:cubicBezTo>
                  <a:pt x="1593243" y="1754997"/>
                  <a:pt x="1591798" y="1757631"/>
                  <a:pt x="1589836" y="1760264"/>
                </a:cubicBezTo>
                <a:cubicBezTo>
                  <a:pt x="1588184" y="1760109"/>
                  <a:pt x="1586738" y="1759025"/>
                  <a:pt x="1584776" y="1756237"/>
                </a:cubicBezTo>
                <a:cubicBezTo>
                  <a:pt x="1592624" y="1752210"/>
                  <a:pt x="1584054" y="1747562"/>
                  <a:pt x="1590146" y="1744155"/>
                </a:cubicBezTo>
                <a:cubicBezTo>
                  <a:pt x="1592728" y="1743845"/>
                  <a:pt x="1595619" y="1742761"/>
                  <a:pt x="1598510" y="1743380"/>
                </a:cubicBezTo>
                <a:lnTo>
                  <a:pt x="1599130" y="1743690"/>
                </a:lnTo>
                <a:cubicBezTo>
                  <a:pt x="1600162" y="1742606"/>
                  <a:pt x="1601195" y="1742141"/>
                  <a:pt x="1602227" y="1741831"/>
                </a:cubicBezTo>
                <a:close/>
                <a:moveTo>
                  <a:pt x="1384124" y="1741328"/>
                </a:moveTo>
                <a:cubicBezTo>
                  <a:pt x="1386215" y="1741405"/>
                  <a:pt x="1388125" y="1743070"/>
                  <a:pt x="1388693" y="1745394"/>
                </a:cubicBezTo>
                <a:cubicBezTo>
                  <a:pt x="1389106" y="1746943"/>
                  <a:pt x="1388900" y="1748802"/>
                  <a:pt x="1387867" y="1750660"/>
                </a:cubicBezTo>
                <a:lnTo>
                  <a:pt x="1386731" y="1750506"/>
                </a:lnTo>
                <a:lnTo>
                  <a:pt x="1382085" y="1756546"/>
                </a:lnTo>
                <a:cubicBezTo>
                  <a:pt x="1380020" y="1757631"/>
                  <a:pt x="1377541" y="1757631"/>
                  <a:pt x="1374031" y="1756237"/>
                </a:cubicBezTo>
                <a:cubicBezTo>
                  <a:pt x="1373721" y="1755462"/>
                  <a:pt x="1373618" y="1754688"/>
                  <a:pt x="1373721" y="1754068"/>
                </a:cubicBezTo>
                <a:cubicBezTo>
                  <a:pt x="1373928" y="1751900"/>
                  <a:pt x="1375683" y="1750351"/>
                  <a:pt x="1377851" y="1749576"/>
                </a:cubicBezTo>
                <a:lnTo>
                  <a:pt x="1380742" y="1749111"/>
                </a:lnTo>
                <a:lnTo>
                  <a:pt x="1379916" y="1748492"/>
                </a:lnTo>
                <a:cubicBezTo>
                  <a:pt x="1379194" y="1748027"/>
                  <a:pt x="1378677" y="1747408"/>
                  <a:pt x="1378471" y="1746788"/>
                </a:cubicBezTo>
                <a:cubicBezTo>
                  <a:pt x="1379761" y="1742761"/>
                  <a:pt x="1382033" y="1741250"/>
                  <a:pt x="1384124" y="1741328"/>
                </a:cubicBezTo>
                <a:close/>
                <a:moveTo>
                  <a:pt x="1531497" y="1741212"/>
                </a:moveTo>
                <a:cubicBezTo>
                  <a:pt x="1530670" y="1744929"/>
                  <a:pt x="1523442" y="1751590"/>
                  <a:pt x="1517144" y="1748492"/>
                </a:cubicBezTo>
                <a:lnTo>
                  <a:pt x="1518899" y="1745704"/>
                </a:lnTo>
                <a:lnTo>
                  <a:pt x="1518693" y="1745704"/>
                </a:lnTo>
                <a:cubicBezTo>
                  <a:pt x="1518899" y="1745239"/>
                  <a:pt x="1518899" y="1744929"/>
                  <a:pt x="1519106" y="1744929"/>
                </a:cubicBezTo>
                <a:lnTo>
                  <a:pt x="1519415" y="1744929"/>
                </a:lnTo>
                <a:lnTo>
                  <a:pt x="1520035" y="1744155"/>
                </a:lnTo>
                <a:cubicBezTo>
                  <a:pt x="1523236" y="1740902"/>
                  <a:pt x="1527470" y="1741367"/>
                  <a:pt x="1531497" y="1741212"/>
                </a:cubicBezTo>
                <a:close/>
                <a:moveTo>
                  <a:pt x="1751639" y="1741057"/>
                </a:moveTo>
                <a:cubicBezTo>
                  <a:pt x="1755253" y="1741212"/>
                  <a:pt x="1757731" y="1741367"/>
                  <a:pt x="1759486" y="1741986"/>
                </a:cubicBezTo>
                <a:cubicBezTo>
                  <a:pt x="1759693" y="1746633"/>
                  <a:pt x="1753084" y="1747562"/>
                  <a:pt x="1751329" y="1744929"/>
                </a:cubicBezTo>
                <a:cubicBezTo>
                  <a:pt x="1751019" y="1744465"/>
                  <a:pt x="1750916" y="1743845"/>
                  <a:pt x="1750916" y="1743225"/>
                </a:cubicBezTo>
                <a:cubicBezTo>
                  <a:pt x="1751019" y="1742606"/>
                  <a:pt x="1751123" y="1741831"/>
                  <a:pt x="1751639" y="1741057"/>
                </a:cubicBezTo>
                <a:close/>
                <a:moveTo>
                  <a:pt x="5176496" y="1740802"/>
                </a:moveTo>
                <a:cubicBezTo>
                  <a:pt x="5188661" y="1740091"/>
                  <a:pt x="5199759" y="1745355"/>
                  <a:pt x="5204027" y="1753891"/>
                </a:cubicBezTo>
                <a:cubicBezTo>
                  <a:pt x="5205307" y="1756736"/>
                  <a:pt x="5205948" y="1759724"/>
                  <a:pt x="5205521" y="1763138"/>
                </a:cubicBezTo>
                <a:lnTo>
                  <a:pt x="5204027" y="1765841"/>
                </a:lnTo>
                <a:lnTo>
                  <a:pt x="5203814" y="1768829"/>
                </a:lnTo>
                <a:cubicBezTo>
                  <a:pt x="5204881" y="1771390"/>
                  <a:pt x="5204667" y="1774946"/>
                  <a:pt x="5203174" y="1777080"/>
                </a:cubicBezTo>
                <a:cubicBezTo>
                  <a:pt x="5200826" y="1779072"/>
                  <a:pt x="5198478" y="1778645"/>
                  <a:pt x="5197411" y="1777365"/>
                </a:cubicBezTo>
                <a:lnTo>
                  <a:pt x="5195704" y="1774662"/>
                </a:lnTo>
                <a:lnTo>
                  <a:pt x="5192503" y="1775943"/>
                </a:lnTo>
                <a:lnTo>
                  <a:pt x="5192076" y="1777080"/>
                </a:lnTo>
                <a:cubicBezTo>
                  <a:pt x="5191222" y="1778219"/>
                  <a:pt x="5189728" y="1779215"/>
                  <a:pt x="5187807" y="1779072"/>
                </a:cubicBezTo>
                <a:cubicBezTo>
                  <a:pt x="5183539" y="1778645"/>
                  <a:pt x="5181618" y="1781491"/>
                  <a:pt x="5177563" y="1781207"/>
                </a:cubicBezTo>
                <a:cubicBezTo>
                  <a:pt x="5177563" y="1781207"/>
                  <a:pt x="5177563" y="1781207"/>
                  <a:pt x="5177777" y="1779499"/>
                </a:cubicBezTo>
                <a:cubicBezTo>
                  <a:pt x="5180551" y="1779072"/>
                  <a:pt x="5182898" y="1777650"/>
                  <a:pt x="5185246" y="1776227"/>
                </a:cubicBezTo>
                <a:lnTo>
                  <a:pt x="5187807" y="1775516"/>
                </a:lnTo>
                <a:lnTo>
                  <a:pt x="5182685" y="1774662"/>
                </a:lnTo>
                <a:cubicBezTo>
                  <a:pt x="5179697" y="1773381"/>
                  <a:pt x="5177136" y="1771248"/>
                  <a:pt x="5175002" y="1768544"/>
                </a:cubicBezTo>
                <a:cubicBezTo>
                  <a:pt x="5170094" y="1762285"/>
                  <a:pt x="5168813" y="1752468"/>
                  <a:pt x="5176496" y="1740802"/>
                </a:cubicBezTo>
                <a:close/>
                <a:moveTo>
                  <a:pt x="3944850" y="1740375"/>
                </a:moveTo>
                <a:cubicBezTo>
                  <a:pt x="3955735" y="1744928"/>
                  <a:pt x="3954881" y="1752753"/>
                  <a:pt x="3954881" y="1760150"/>
                </a:cubicBezTo>
                <a:cubicBezTo>
                  <a:pt x="3949973" y="1759012"/>
                  <a:pt x="3940795" y="1748911"/>
                  <a:pt x="3944850" y="1740375"/>
                </a:cubicBezTo>
                <a:close/>
                <a:moveTo>
                  <a:pt x="787742" y="1739818"/>
                </a:moveTo>
                <a:cubicBezTo>
                  <a:pt x="790220" y="1742606"/>
                  <a:pt x="789394" y="1745084"/>
                  <a:pt x="788465" y="1747408"/>
                </a:cubicBezTo>
                <a:cubicBezTo>
                  <a:pt x="787639" y="1748956"/>
                  <a:pt x="787639" y="1749886"/>
                  <a:pt x="788465" y="1751590"/>
                </a:cubicBezTo>
                <a:cubicBezTo>
                  <a:pt x="788465" y="1751590"/>
                  <a:pt x="788361" y="1751590"/>
                  <a:pt x="786606" y="1753139"/>
                </a:cubicBezTo>
                <a:lnTo>
                  <a:pt x="785780" y="1752984"/>
                </a:lnTo>
                <a:cubicBezTo>
                  <a:pt x="785367" y="1752674"/>
                  <a:pt x="785161" y="1752055"/>
                  <a:pt x="785058" y="1751125"/>
                </a:cubicBezTo>
                <a:cubicBezTo>
                  <a:pt x="784851" y="1748337"/>
                  <a:pt x="785987" y="1743690"/>
                  <a:pt x="785987" y="1743070"/>
                </a:cubicBezTo>
                <a:cubicBezTo>
                  <a:pt x="785987" y="1743070"/>
                  <a:pt x="785987" y="1742141"/>
                  <a:pt x="785987" y="1741367"/>
                </a:cubicBezTo>
                <a:cubicBezTo>
                  <a:pt x="786813" y="1740592"/>
                  <a:pt x="787742" y="1740747"/>
                  <a:pt x="787742" y="1739818"/>
                </a:cubicBezTo>
                <a:close/>
                <a:moveTo>
                  <a:pt x="4669411" y="1739664"/>
                </a:moveTo>
                <a:cubicBezTo>
                  <a:pt x="4669411" y="1739664"/>
                  <a:pt x="4669624" y="1739664"/>
                  <a:pt x="4670264" y="1739664"/>
                </a:cubicBezTo>
                <a:cubicBezTo>
                  <a:pt x="4670904" y="1739806"/>
                  <a:pt x="4671758" y="1739948"/>
                  <a:pt x="4673252" y="1740660"/>
                </a:cubicBezTo>
                <a:cubicBezTo>
                  <a:pt x="4672185" y="1741087"/>
                  <a:pt x="4672399" y="1742225"/>
                  <a:pt x="4672399" y="1742225"/>
                </a:cubicBezTo>
                <a:cubicBezTo>
                  <a:pt x="4672399" y="1742225"/>
                  <a:pt x="4672399" y="1742225"/>
                  <a:pt x="4673466" y="1741798"/>
                </a:cubicBezTo>
                <a:cubicBezTo>
                  <a:pt x="4673039" y="1742652"/>
                  <a:pt x="4672612" y="1742794"/>
                  <a:pt x="4672185" y="1742794"/>
                </a:cubicBezTo>
                <a:cubicBezTo>
                  <a:pt x="4671758" y="1742794"/>
                  <a:pt x="4671331" y="1742652"/>
                  <a:pt x="4671331" y="1742652"/>
                </a:cubicBezTo>
                <a:cubicBezTo>
                  <a:pt x="4669838" y="1741940"/>
                  <a:pt x="4668557" y="1741229"/>
                  <a:pt x="4669411" y="1739664"/>
                </a:cubicBezTo>
                <a:close/>
                <a:moveTo>
                  <a:pt x="5048231" y="1739237"/>
                </a:moveTo>
                <a:cubicBezTo>
                  <a:pt x="5060182" y="1739664"/>
                  <a:pt x="5071707" y="1753037"/>
                  <a:pt x="5072134" y="1761715"/>
                </a:cubicBezTo>
                <a:lnTo>
                  <a:pt x="5071067" y="1761289"/>
                </a:lnTo>
                <a:lnTo>
                  <a:pt x="5071067" y="1762427"/>
                </a:lnTo>
                <a:cubicBezTo>
                  <a:pt x="5071067" y="1764419"/>
                  <a:pt x="5070213" y="1765984"/>
                  <a:pt x="5067865" y="1766979"/>
                </a:cubicBezTo>
                <a:cubicBezTo>
                  <a:pt x="5065304" y="1765699"/>
                  <a:pt x="5064024" y="1763281"/>
                  <a:pt x="5064237" y="1761004"/>
                </a:cubicBezTo>
                <a:lnTo>
                  <a:pt x="5065731" y="1759724"/>
                </a:lnTo>
                <a:lnTo>
                  <a:pt x="5063810" y="1759155"/>
                </a:lnTo>
                <a:lnTo>
                  <a:pt x="5059329" y="1755456"/>
                </a:lnTo>
                <a:lnTo>
                  <a:pt x="5058902" y="1762427"/>
                </a:lnTo>
                <a:cubicBezTo>
                  <a:pt x="5055701" y="1767122"/>
                  <a:pt x="5045883" y="1763281"/>
                  <a:pt x="5039907" y="1762996"/>
                </a:cubicBezTo>
                <a:cubicBezTo>
                  <a:pt x="5038840" y="1757874"/>
                  <a:pt x="5038840" y="1756167"/>
                  <a:pt x="5040975" y="1751046"/>
                </a:cubicBezTo>
                <a:cubicBezTo>
                  <a:pt x="5044816" y="1750050"/>
                  <a:pt x="5048018" y="1750192"/>
                  <a:pt x="5051005" y="1751046"/>
                </a:cubicBezTo>
                <a:lnTo>
                  <a:pt x="5056981" y="1753606"/>
                </a:lnTo>
                <a:lnTo>
                  <a:pt x="5056767" y="1753322"/>
                </a:lnTo>
                <a:cubicBezTo>
                  <a:pt x="5052499" y="1748769"/>
                  <a:pt x="5049511" y="1743220"/>
                  <a:pt x="5048231" y="1739237"/>
                </a:cubicBezTo>
                <a:close/>
                <a:moveTo>
                  <a:pt x="5005974" y="1739237"/>
                </a:moveTo>
                <a:cubicBezTo>
                  <a:pt x="5007894" y="1745497"/>
                  <a:pt x="5000425" y="1751188"/>
                  <a:pt x="4995089" y="1749765"/>
                </a:cubicBezTo>
                <a:cubicBezTo>
                  <a:pt x="4993382" y="1749338"/>
                  <a:pt x="4991888" y="1748058"/>
                  <a:pt x="4991034" y="1745782"/>
                </a:cubicBezTo>
                <a:cubicBezTo>
                  <a:pt x="4992315" y="1738383"/>
                  <a:pt x="4999144" y="1741514"/>
                  <a:pt x="5005974" y="1739237"/>
                </a:cubicBezTo>
                <a:close/>
                <a:moveTo>
                  <a:pt x="5519035" y="1739095"/>
                </a:moveTo>
                <a:cubicBezTo>
                  <a:pt x="5520102" y="1738953"/>
                  <a:pt x="5521169" y="1739095"/>
                  <a:pt x="5521809" y="1739664"/>
                </a:cubicBezTo>
                <a:cubicBezTo>
                  <a:pt x="5524157" y="1741087"/>
                  <a:pt x="5520956" y="1744359"/>
                  <a:pt x="5520956" y="1745639"/>
                </a:cubicBezTo>
                <a:cubicBezTo>
                  <a:pt x="5519888" y="1746777"/>
                  <a:pt x="5518608" y="1747916"/>
                  <a:pt x="5517541" y="1746635"/>
                </a:cubicBezTo>
                <a:cubicBezTo>
                  <a:pt x="5516260" y="1745355"/>
                  <a:pt x="5515193" y="1745355"/>
                  <a:pt x="5516260" y="1742936"/>
                </a:cubicBezTo>
                <a:cubicBezTo>
                  <a:pt x="5516047" y="1741798"/>
                  <a:pt x="5517328" y="1740660"/>
                  <a:pt x="5517114" y="1739522"/>
                </a:cubicBezTo>
                <a:cubicBezTo>
                  <a:pt x="5517114" y="1739522"/>
                  <a:pt x="5517968" y="1739237"/>
                  <a:pt x="5519035" y="1739095"/>
                </a:cubicBezTo>
                <a:close/>
                <a:moveTo>
                  <a:pt x="1004270" y="1738578"/>
                </a:moveTo>
                <a:cubicBezTo>
                  <a:pt x="1005199" y="1739353"/>
                  <a:pt x="1005199" y="1738578"/>
                  <a:pt x="1006026" y="1738578"/>
                </a:cubicBezTo>
                <a:lnTo>
                  <a:pt x="1006748" y="1739663"/>
                </a:lnTo>
                <a:lnTo>
                  <a:pt x="1007368" y="1739198"/>
                </a:lnTo>
                <a:cubicBezTo>
                  <a:pt x="1009123" y="1738114"/>
                  <a:pt x="1009123" y="1738269"/>
                  <a:pt x="1010053" y="1738888"/>
                </a:cubicBezTo>
                <a:cubicBezTo>
                  <a:pt x="1010982" y="1739663"/>
                  <a:pt x="1010259" y="1742296"/>
                  <a:pt x="1011189" y="1743070"/>
                </a:cubicBezTo>
                <a:cubicBezTo>
                  <a:pt x="1011189" y="1743070"/>
                  <a:pt x="1011189" y="1743070"/>
                  <a:pt x="1009433" y="1744155"/>
                </a:cubicBezTo>
                <a:lnTo>
                  <a:pt x="1007884" y="1743845"/>
                </a:lnTo>
                <a:lnTo>
                  <a:pt x="1007471" y="1746013"/>
                </a:lnTo>
                <a:cubicBezTo>
                  <a:pt x="1005613" y="1747717"/>
                  <a:pt x="1002825" y="1750351"/>
                  <a:pt x="1000346" y="1748802"/>
                </a:cubicBezTo>
                <a:cubicBezTo>
                  <a:pt x="1000346" y="1747872"/>
                  <a:pt x="999521" y="1748027"/>
                  <a:pt x="999521" y="1747098"/>
                </a:cubicBezTo>
                <a:cubicBezTo>
                  <a:pt x="999521" y="1747098"/>
                  <a:pt x="999107" y="1746323"/>
                  <a:pt x="999107" y="1745084"/>
                </a:cubicBezTo>
                <a:cubicBezTo>
                  <a:pt x="999004" y="1743845"/>
                  <a:pt x="999314" y="1742141"/>
                  <a:pt x="1000656" y="1740437"/>
                </a:cubicBezTo>
                <a:cubicBezTo>
                  <a:pt x="1001586" y="1739663"/>
                  <a:pt x="1004373" y="1737804"/>
                  <a:pt x="1004270" y="1738578"/>
                </a:cubicBezTo>
                <a:close/>
                <a:moveTo>
                  <a:pt x="5799895" y="1738099"/>
                </a:moveTo>
                <a:cubicBezTo>
                  <a:pt x="5818036" y="1739237"/>
                  <a:pt x="5836817" y="1760293"/>
                  <a:pt x="5831694" y="1778361"/>
                </a:cubicBezTo>
                <a:cubicBezTo>
                  <a:pt x="5823371" y="1781349"/>
                  <a:pt x="5815048" y="1780210"/>
                  <a:pt x="5808219" y="1776227"/>
                </a:cubicBezTo>
                <a:cubicBezTo>
                  <a:pt x="5796481" y="1769683"/>
                  <a:pt x="5788584" y="1755740"/>
                  <a:pt x="5789651" y="1741229"/>
                </a:cubicBezTo>
                <a:cubicBezTo>
                  <a:pt x="5791145" y="1740945"/>
                  <a:pt x="5792852" y="1740517"/>
                  <a:pt x="5792212" y="1738953"/>
                </a:cubicBezTo>
                <a:cubicBezTo>
                  <a:pt x="5794773" y="1738241"/>
                  <a:pt x="5797334" y="1737957"/>
                  <a:pt x="5799895" y="1738099"/>
                </a:cubicBezTo>
                <a:close/>
                <a:moveTo>
                  <a:pt x="5103080" y="1738099"/>
                </a:moveTo>
                <a:cubicBezTo>
                  <a:pt x="5103933" y="1740233"/>
                  <a:pt x="5105854" y="1741798"/>
                  <a:pt x="5106708" y="1743932"/>
                </a:cubicBezTo>
                <a:lnTo>
                  <a:pt x="5106281" y="1744786"/>
                </a:lnTo>
                <a:lnTo>
                  <a:pt x="5107135" y="1743932"/>
                </a:lnTo>
                <a:cubicBezTo>
                  <a:pt x="5110122" y="1745070"/>
                  <a:pt x="5112256" y="1746777"/>
                  <a:pt x="5113537" y="1749196"/>
                </a:cubicBezTo>
                <a:lnTo>
                  <a:pt x="5113751" y="1753606"/>
                </a:lnTo>
                <a:lnTo>
                  <a:pt x="5115884" y="1755029"/>
                </a:lnTo>
                <a:lnTo>
                  <a:pt x="5113964" y="1757732"/>
                </a:lnTo>
                <a:lnTo>
                  <a:pt x="5113964" y="1758443"/>
                </a:lnTo>
                <a:cubicBezTo>
                  <a:pt x="5109056" y="1762142"/>
                  <a:pt x="5103506" y="1757305"/>
                  <a:pt x="5100092" y="1755029"/>
                </a:cubicBezTo>
                <a:lnTo>
                  <a:pt x="5100945" y="1753037"/>
                </a:lnTo>
                <a:lnTo>
                  <a:pt x="5098385" y="1753179"/>
                </a:lnTo>
                <a:cubicBezTo>
                  <a:pt x="5097317" y="1753037"/>
                  <a:pt x="5096037" y="1752753"/>
                  <a:pt x="5094756" y="1752468"/>
                </a:cubicBezTo>
                <a:cubicBezTo>
                  <a:pt x="5094970" y="1749765"/>
                  <a:pt x="5092622" y="1747062"/>
                  <a:pt x="5093902" y="1743932"/>
                </a:cubicBezTo>
                <a:cubicBezTo>
                  <a:pt x="5093902" y="1743932"/>
                  <a:pt x="5094543" y="1742225"/>
                  <a:pt x="5096677" y="1741087"/>
                </a:cubicBezTo>
                <a:cubicBezTo>
                  <a:pt x="5099025" y="1737388"/>
                  <a:pt x="5103506" y="1739095"/>
                  <a:pt x="5103506" y="1739095"/>
                </a:cubicBezTo>
                <a:cubicBezTo>
                  <a:pt x="5103506" y="1739095"/>
                  <a:pt x="5103506" y="1739095"/>
                  <a:pt x="5103080" y="1738099"/>
                </a:cubicBezTo>
                <a:close/>
                <a:moveTo>
                  <a:pt x="5303694" y="1737957"/>
                </a:moveTo>
                <a:cubicBezTo>
                  <a:pt x="5305615" y="1736392"/>
                  <a:pt x="5306682" y="1739664"/>
                  <a:pt x="5307109" y="1741229"/>
                </a:cubicBezTo>
                <a:cubicBezTo>
                  <a:pt x="5304121" y="1739522"/>
                  <a:pt x="5302627" y="1740091"/>
                  <a:pt x="5303267" y="1738953"/>
                </a:cubicBezTo>
                <a:cubicBezTo>
                  <a:pt x="5302200" y="1738383"/>
                  <a:pt x="5302627" y="1737388"/>
                  <a:pt x="5303694" y="1737957"/>
                </a:cubicBezTo>
                <a:close/>
                <a:moveTo>
                  <a:pt x="3882532" y="1737815"/>
                </a:moveTo>
                <a:cubicBezTo>
                  <a:pt x="3882745" y="1739095"/>
                  <a:pt x="3884026" y="1741514"/>
                  <a:pt x="3883172" y="1742794"/>
                </a:cubicBezTo>
                <a:cubicBezTo>
                  <a:pt x="3882105" y="1744074"/>
                  <a:pt x="3882319" y="1744074"/>
                  <a:pt x="3879971" y="1744217"/>
                </a:cubicBezTo>
                <a:cubicBezTo>
                  <a:pt x="3880611" y="1740375"/>
                  <a:pt x="3880611" y="1740375"/>
                  <a:pt x="3882532" y="1737815"/>
                </a:cubicBezTo>
                <a:close/>
                <a:moveTo>
                  <a:pt x="5989839" y="1737388"/>
                </a:moveTo>
                <a:cubicBezTo>
                  <a:pt x="5991119" y="1738241"/>
                  <a:pt x="5991973" y="1739379"/>
                  <a:pt x="5992400" y="1740802"/>
                </a:cubicBezTo>
                <a:cubicBezTo>
                  <a:pt x="5993254" y="1742936"/>
                  <a:pt x="5993040" y="1745497"/>
                  <a:pt x="5992400" y="1747916"/>
                </a:cubicBezTo>
                <a:lnTo>
                  <a:pt x="5990479" y="1750761"/>
                </a:lnTo>
                <a:lnTo>
                  <a:pt x="5991119" y="1752326"/>
                </a:lnTo>
                <a:cubicBezTo>
                  <a:pt x="5983650" y="1761858"/>
                  <a:pt x="5977247" y="1755456"/>
                  <a:pt x="5978527" y="1748484"/>
                </a:cubicBezTo>
                <a:cubicBezTo>
                  <a:pt x="5978955" y="1746066"/>
                  <a:pt x="5980235" y="1743647"/>
                  <a:pt x="5982583" y="1741798"/>
                </a:cubicBezTo>
                <a:cubicBezTo>
                  <a:pt x="5983436" y="1741798"/>
                  <a:pt x="5984503" y="1742225"/>
                  <a:pt x="5985570" y="1742936"/>
                </a:cubicBezTo>
                <a:lnTo>
                  <a:pt x="5985784" y="1743220"/>
                </a:lnTo>
                <a:close/>
                <a:moveTo>
                  <a:pt x="5901696" y="1737103"/>
                </a:moveTo>
                <a:cubicBezTo>
                  <a:pt x="5902550" y="1737672"/>
                  <a:pt x="5903404" y="1738526"/>
                  <a:pt x="5904684" y="1739095"/>
                </a:cubicBezTo>
                <a:lnTo>
                  <a:pt x="5901270" y="1742509"/>
                </a:lnTo>
                <a:cubicBezTo>
                  <a:pt x="5899989" y="1741229"/>
                  <a:pt x="5898708" y="1738810"/>
                  <a:pt x="5899775" y="1737815"/>
                </a:cubicBezTo>
                <a:cubicBezTo>
                  <a:pt x="5900416" y="1736676"/>
                  <a:pt x="5901056" y="1736676"/>
                  <a:pt x="5901696" y="1737103"/>
                </a:cubicBezTo>
                <a:close/>
                <a:moveTo>
                  <a:pt x="965007" y="1736875"/>
                </a:moveTo>
                <a:cubicBezTo>
                  <a:pt x="969525" y="1738656"/>
                  <a:pt x="973706" y="1741831"/>
                  <a:pt x="976185" y="1744310"/>
                </a:cubicBezTo>
                <a:cubicBezTo>
                  <a:pt x="972158" y="1744155"/>
                  <a:pt x="968130" y="1744000"/>
                  <a:pt x="964103" y="1743225"/>
                </a:cubicBezTo>
                <a:cubicBezTo>
                  <a:pt x="960076" y="1742451"/>
                  <a:pt x="955946" y="1741057"/>
                  <a:pt x="951816" y="1737804"/>
                </a:cubicBezTo>
                <a:cubicBezTo>
                  <a:pt x="955637" y="1734706"/>
                  <a:pt x="960490" y="1735093"/>
                  <a:pt x="965007" y="1736875"/>
                </a:cubicBezTo>
                <a:close/>
                <a:moveTo>
                  <a:pt x="5740991" y="1735823"/>
                </a:moveTo>
                <a:cubicBezTo>
                  <a:pt x="5745900" y="1736676"/>
                  <a:pt x="5750809" y="1737388"/>
                  <a:pt x="5750595" y="1742509"/>
                </a:cubicBezTo>
                <a:cubicBezTo>
                  <a:pt x="5746327" y="1745924"/>
                  <a:pt x="5739711" y="1743220"/>
                  <a:pt x="5740991" y="1735823"/>
                </a:cubicBezTo>
                <a:close/>
                <a:moveTo>
                  <a:pt x="5789864" y="1735111"/>
                </a:moveTo>
                <a:cubicBezTo>
                  <a:pt x="5791998" y="1734969"/>
                  <a:pt x="5793493" y="1734827"/>
                  <a:pt x="5794773" y="1735111"/>
                </a:cubicBezTo>
                <a:cubicBezTo>
                  <a:pt x="5795840" y="1735396"/>
                  <a:pt x="5796907" y="1735965"/>
                  <a:pt x="5797974" y="1737388"/>
                </a:cubicBezTo>
                <a:cubicBezTo>
                  <a:pt x="5794773" y="1738241"/>
                  <a:pt x="5791998" y="1737957"/>
                  <a:pt x="5789864" y="1735111"/>
                </a:cubicBezTo>
                <a:close/>
                <a:moveTo>
                  <a:pt x="1724982" y="1734975"/>
                </a:moveTo>
                <a:cubicBezTo>
                  <a:pt x="1728774" y="1734115"/>
                  <a:pt x="1732356" y="1734551"/>
                  <a:pt x="1735118" y="1736875"/>
                </a:cubicBezTo>
                <a:cubicBezTo>
                  <a:pt x="1722210" y="1744620"/>
                  <a:pt x="1717771" y="1755772"/>
                  <a:pt x="1701663" y="1761658"/>
                </a:cubicBezTo>
                <a:cubicBezTo>
                  <a:pt x="1700346" y="1751783"/>
                  <a:pt x="1713608" y="1737552"/>
                  <a:pt x="1724982" y="1734975"/>
                </a:cubicBezTo>
                <a:close/>
                <a:moveTo>
                  <a:pt x="4736638" y="1734969"/>
                </a:moveTo>
                <a:lnTo>
                  <a:pt x="4735571" y="1735396"/>
                </a:lnTo>
                <a:lnTo>
                  <a:pt x="4735571" y="1735965"/>
                </a:lnTo>
                <a:close/>
                <a:moveTo>
                  <a:pt x="5468668" y="1734400"/>
                </a:moveTo>
                <a:cubicBezTo>
                  <a:pt x="5468668" y="1734400"/>
                  <a:pt x="5467387" y="1735538"/>
                  <a:pt x="5466106" y="1736818"/>
                </a:cubicBezTo>
                <a:cubicBezTo>
                  <a:pt x="5464826" y="1737957"/>
                  <a:pt x="5464826" y="1737957"/>
                  <a:pt x="5465893" y="1739237"/>
                </a:cubicBezTo>
                <a:cubicBezTo>
                  <a:pt x="5464613" y="1740517"/>
                  <a:pt x="5464613" y="1740517"/>
                  <a:pt x="5462265" y="1740517"/>
                </a:cubicBezTo>
                <a:cubicBezTo>
                  <a:pt x="5463546" y="1739237"/>
                  <a:pt x="5467601" y="1733119"/>
                  <a:pt x="5468668" y="1734400"/>
                </a:cubicBezTo>
                <a:close/>
                <a:moveTo>
                  <a:pt x="3882105" y="1734400"/>
                </a:moveTo>
                <a:cubicBezTo>
                  <a:pt x="3883172" y="1734258"/>
                  <a:pt x="3883386" y="1735538"/>
                  <a:pt x="3882532" y="1736961"/>
                </a:cubicBezTo>
                <a:cubicBezTo>
                  <a:pt x="3882532" y="1736961"/>
                  <a:pt x="3881465" y="1737103"/>
                  <a:pt x="3881465" y="1737103"/>
                </a:cubicBezTo>
                <a:cubicBezTo>
                  <a:pt x="3881251" y="1735680"/>
                  <a:pt x="3881038" y="1734400"/>
                  <a:pt x="3882105" y="1734400"/>
                </a:cubicBezTo>
                <a:close/>
                <a:moveTo>
                  <a:pt x="1645181" y="1734396"/>
                </a:moveTo>
                <a:cubicBezTo>
                  <a:pt x="1651377" y="1735635"/>
                  <a:pt x="1657572" y="1748027"/>
                  <a:pt x="1656333" y="1751280"/>
                </a:cubicBezTo>
                <a:cubicBezTo>
                  <a:pt x="1652823" y="1749886"/>
                  <a:pt x="1652100" y="1746478"/>
                  <a:pt x="1648176" y="1744310"/>
                </a:cubicBezTo>
                <a:cubicBezTo>
                  <a:pt x="1648589" y="1741367"/>
                  <a:pt x="1644356" y="1738423"/>
                  <a:pt x="1645181" y="1734396"/>
                </a:cubicBezTo>
                <a:close/>
                <a:moveTo>
                  <a:pt x="1796245" y="1734242"/>
                </a:moveTo>
                <a:cubicBezTo>
                  <a:pt x="1797072" y="1736565"/>
                  <a:pt x="1799756" y="1735171"/>
                  <a:pt x="1800272" y="1738269"/>
                </a:cubicBezTo>
                <a:cubicBezTo>
                  <a:pt x="1797278" y="1744155"/>
                  <a:pt x="1780241" y="1746168"/>
                  <a:pt x="1776524" y="1737804"/>
                </a:cubicBezTo>
                <a:cubicBezTo>
                  <a:pt x="1782719" y="1737339"/>
                  <a:pt x="1788501" y="1737649"/>
                  <a:pt x="1796245" y="1734242"/>
                </a:cubicBezTo>
                <a:close/>
                <a:moveTo>
                  <a:pt x="4748589" y="1734116"/>
                </a:moveTo>
                <a:cubicBezTo>
                  <a:pt x="4750296" y="1733831"/>
                  <a:pt x="4752004" y="1733973"/>
                  <a:pt x="4754565" y="1734116"/>
                </a:cubicBezTo>
                <a:cubicBezTo>
                  <a:pt x="4751151" y="1739095"/>
                  <a:pt x="4748803" y="1738810"/>
                  <a:pt x="4744535" y="1736961"/>
                </a:cubicBezTo>
                <a:cubicBezTo>
                  <a:pt x="4745815" y="1735253"/>
                  <a:pt x="4747095" y="1734400"/>
                  <a:pt x="4748589" y="1734116"/>
                </a:cubicBezTo>
                <a:close/>
                <a:moveTo>
                  <a:pt x="1260242" y="1733932"/>
                </a:moveTo>
                <a:cubicBezTo>
                  <a:pt x="1260965" y="1733467"/>
                  <a:pt x="1261688" y="1733467"/>
                  <a:pt x="1262411" y="1734396"/>
                </a:cubicBezTo>
                <a:cubicBezTo>
                  <a:pt x="1263237" y="1734861"/>
                  <a:pt x="1263340" y="1735480"/>
                  <a:pt x="1263443" y="1736255"/>
                </a:cubicBezTo>
                <a:lnTo>
                  <a:pt x="1264166" y="1738269"/>
                </a:lnTo>
                <a:lnTo>
                  <a:pt x="1264682" y="1736875"/>
                </a:lnTo>
                <a:cubicBezTo>
                  <a:pt x="1264992" y="1736100"/>
                  <a:pt x="1265612" y="1735480"/>
                  <a:pt x="1266438" y="1735325"/>
                </a:cubicBezTo>
                <a:cubicBezTo>
                  <a:pt x="1267057" y="1735016"/>
                  <a:pt x="1267677" y="1735016"/>
                  <a:pt x="1268606" y="1735171"/>
                </a:cubicBezTo>
                <a:cubicBezTo>
                  <a:pt x="1268606" y="1735171"/>
                  <a:pt x="1268606" y="1735171"/>
                  <a:pt x="1269019" y="1735790"/>
                </a:cubicBezTo>
                <a:cubicBezTo>
                  <a:pt x="1269948" y="1737184"/>
                  <a:pt x="1270362" y="1737804"/>
                  <a:pt x="1270878" y="1738578"/>
                </a:cubicBezTo>
                <a:lnTo>
                  <a:pt x="1270671" y="1738888"/>
                </a:lnTo>
                <a:lnTo>
                  <a:pt x="1275318" y="1738423"/>
                </a:lnTo>
                <a:lnTo>
                  <a:pt x="1279138" y="1740282"/>
                </a:lnTo>
                <a:lnTo>
                  <a:pt x="1279655" y="1739043"/>
                </a:lnTo>
                <a:cubicBezTo>
                  <a:pt x="1280687" y="1738269"/>
                  <a:pt x="1282133" y="1737804"/>
                  <a:pt x="1283475" y="1737649"/>
                </a:cubicBezTo>
                <a:cubicBezTo>
                  <a:pt x="1282752" y="1737959"/>
                  <a:pt x="1282752" y="1737959"/>
                  <a:pt x="1282752" y="1737959"/>
                </a:cubicBezTo>
                <a:cubicBezTo>
                  <a:pt x="1282546" y="1739043"/>
                  <a:pt x="1283269" y="1738733"/>
                  <a:pt x="1283682" y="1739508"/>
                </a:cubicBezTo>
                <a:cubicBezTo>
                  <a:pt x="1283682" y="1739508"/>
                  <a:pt x="1283269" y="1738733"/>
                  <a:pt x="1284507" y="1739043"/>
                </a:cubicBezTo>
                <a:cubicBezTo>
                  <a:pt x="1283682" y="1739508"/>
                  <a:pt x="1284198" y="1740127"/>
                  <a:pt x="1284611" y="1740902"/>
                </a:cubicBezTo>
                <a:cubicBezTo>
                  <a:pt x="1284095" y="1743225"/>
                  <a:pt x="1282752" y="1745858"/>
                  <a:pt x="1280791" y="1745858"/>
                </a:cubicBezTo>
                <a:lnTo>
                  <a:pt x="1279138" y="1744620"/>
                </a:lnTo>
                <a:lnTo>
                  <a:pt x="1278932" y="1746788"/>
                </a:lnTo>
                <a:cubicBezTo>
                  <a:pt x="1278829" y="1747562"/>
                  <a:pt x="1278415" y="1748337"/>
                  <a:pt x="1277590" y="1748802"/>
                </a:cubicBezTo>
                <a:lnTo>
                  <a:pt x="1274285" y="1751590"/>
                </a:lnTo>
                <a:lnTo>
                  <a:pt x="1275937" y="1752519"/>
                </a:lnTo>
                <a:cubicBezTo>
                  <a:pt x="1276557" y="1753139"/>
                  <a:pt x="1276970" y="1753758"/>
                  <a:pt x="1277073" y="1754688"/>
                </a:cubicBezTo>
                <a:cubicBezTo>
                  <a:pt x="1277073" y="1755152"/>
                  <a:pt x="1276867" y="1755772"/>
                  <a:pt x="1276557" y="1756546"/>
                </a:cubicBezTo>
                <a:cubicBezTo>
                  <a:pt x="1276557" y="1756546"/>
                  <a:pt x="1276557" y="1756546"/>
                  <a:pt x="1275731" y="1756856"/>
                </a:cubicBezTo>
                <a:cubicBezTo>
                  <a:pt x="1274079" y="1757166"/>
                  <a:pt x="1273253" y="1757476"/>
                  <a:pt x="1272427" y="1757631"/>
                </a:cubicBezTo>
                <a:cubicBezTo>
                  <a:pt x="1271910" y="1757321"/>
                  <a:pt x="1271084" y="1756701"/>
                  <a:pt x="1270362" y="1755927"/>
                </a:cubicBezTo>
                <a:lnTo>
                  <a:pt x="1269432" y="1754223"/>
                </a:lnTo>
                <a:lnTo>
                  <a:pt x="1268503" y="1754533"/>
                </a:lnTo>
                <a:cubicBezTo>
                  <a:pt x="1266128" y="1754688"/>
                  <a:pt x="1264166" y="1753448"/>
                  <a:pt x="1261275" y="1752055"/>
                </a:cubicBezTo>
                <a:cubicBezTo>
                  <a:pt x="1262204" y="1752055"/>
                  <a:pt x="1261481" y="1751125"/>
                  <a:pt x="1261481" y="1751125"/>
                </a:cubicBezTo>
                <a:cubicBezTo>
                  <a:pt x="1259933" y="1749421"/>
                  <a:pt x="1258280" y="1754378"/>
                  <a:pt x="1255905" y="1752519"/>
                </a:cubicBezTo>
                <a:cubicBezTo>
                  <a:pt x="1255080" y="1751745"/>
                  <a:pt x="1254563" y="1750660"/>
                  <a:pt x="1254357" y="1749576"/>
                </a:cubicBezTo>
                <a:cubicBezTo>
                  <a:pt x="1254150" y="1748492"/>
                  <a:pt x="1254150" y="1747408"/>
                  <a:pt x="1254357" y="1746168"/>
                </a:cubicBezTo>
                <a:cubicBezTo>
                  <a:pt x="1254666" y="1744000"/>
                  <a:pt x="1255699" y="1741831"/>
                  <a:pt x="1256422" y="1740282"/>
                </a:cubicBezTo>
                <a:lnTo>
                  <a:pt x="1257248" y="1738423"/>
                </a:lnTo>
                <a:lnTo>
                  <a:pt x="1256422" y="1738423"/>
                </a:lnTo>
                <a:lnTo>
                  <a:pt x="1257455" y="1737649"/>
                </a:lnTo>
                <a:lnTo>
                  <a:pt x="1257455" y="1737494"/>
                </a:lnTo>
                <a:cubicBezTo>
                  <a:pt x="1258384" y="1737494"/>
                  <a:pt x="1258487" y="1736720"/>
                  <a:pt x="1257661" y="1736565"/>
                </a:cubicBezTo>
                <a:cubicBezTo>
                  <a:pt x="1258694" y="1735480"/>
                  <a:pt x="1259520" y="1734396"/>
                  <a:pt x="1260242" y="1733932"/>
                </a:cubicBezTo>
                <a:close/>
                <a:moveTo>
                  <a:pt x="4662581" y="1733119"/>
                </a:moveTo>
                <a:cubicBezTo>
                  <a:pt x="4665142" y="1733546"/>
                  <a:pt x="4669624" y="1737103"/>
                  <a:pt x="4669197" y="1739806"/>
                </a:cubicBezTo>
                <a:lnTo>
                  <a:pt x="4666423" y="1738810"/>
                </a:lnTo>
                <a:lnTo>
                  <a:pt x="4668557" y="1740802"/>
                </a:lnTo>
                <a:cubicBezTo>
                  <a:pt x="4670051" y="1743078"/>
                  <a:pt x="4671118" y="1745782"/>
                  <a:pt x="4670691" y="1747916"/>
                </a:cubicBezTo>
                <a:lnTo>
                  <a:pt x="4667703" y="1747916"/>
                </a:lnTo>
                <a:lnTo>
                  <a:pt x="4673466" y="1749338"/>
                </a:lnTo>
                <a:cubicBezTo>
                  <a:pt x="4676027" y="1750050"/>
                  <a:pt x="4678374" y="1750476"/>
                  <a:pt x="4680722" y="1750334"/>
                </a:cubicBezTo>
                <a:cubicBezTo>
                  <a:pt x="4683923" y="1748911"/>
                  <a:pt x="4684563" y="1745212"/>
                  <a:pt x="4688405" y="1744359"/>
                </a:cubicBezTo>
                <a:cubicBezTo>
                  <a:pt x="4689685" y="1744217"/>
                  <a:pt x="4691393" y="1744074"/>
                  <a:pt x="4693527" y="1744643"/>
                </a:cubicBezTo>
                <a:cubicBezTo>
                  <a:pt x="4692033" y="1759012"/>
                  <a:pt x="4687551" y="1769541"/>
                  <a:pt x="4680295" y="1776654"/>
                </a:cubicBezTo>
                <a:cubicBezTo>
                  <a:pt x="4677947" y="1778930"/>
                  <a:pt x="4675173" y="1781064"/>
                  <a:pt x="4672185" y="1782629"/>
                </a:cubicBezTo>
                <a:cubicBezTo>
                  <a:pt x="4666209" y="1774946"/>
                  <a:pt x="4672399" y="1766695"/>
                  <a:pt x="4675386" y="1759582"/>
                </a:cubicBezTo>
                <a:cubicBezTo>
                  <a:pt x="4667276" y="1758443"/>
                  <a:pt x="4654898" y="1759012"/>
                  <a:pt x="4654685" y="1749623"/>
                </a:cubicBezTo>
                <a:lnTo>
                  <a:pt x="4659807" y="1747204"/>
                </a:lnTo>
                <a:lnTo>
                  <a:pt x="4659380" y="1742794"/>
                </a:lnTo>
                <a:lnTo>
                  <a:pt x="4660447" y="1741655"/>
                </a:lnTo>
                <a:lnTo>
                  <a:pt x="4659380" y="1739948"/>
                </a:lnTo>
                <a:cubicBezTo>
                  <a:pt x="4658740" y="1739095"/>
                  <a:pt x="4658313" y="1738526"/>
                  <a:pt x="4658313" y="1738526"/>
                </a:cubicBezTo>
                <a:cubicBezTo>
                  <a:pt x="4658953" y="1736961"/>
                  <a:pt x="4659380" y="1736107"/>
                  <a:pt x="4660020" y="1735823"/>
                </a:cubicBezTo>
                <a:lnTo>
                  <a:pt x="4661941" y="1735965"/>
                </a:lnTo>
                <a:close/>
                <a:moveTo>
                  <a:pt x="871792" y="1732692"/>
                </a:moveTo>
                <a:cubicBezTo>
                  <a:pt x="873135" y="1732692"/>
                  <a:pt x="874374" y="1733467"/>
                  <a:pt x="875303" y="1735325"/>
                </a:cubicBezTo>
                <a:cubicBezTo>
                  <a:pt x="870966" y="1738269"/>
                  <a:pt x="869108" y="1743070"/>
                  <a:pt x="865907" y="1743225"/>
                </a:cubicBezTo>
                <a:cubicBezTo>
                  <a:pt x="864874" y="1743225"/>
                  <a:pt x="863739" y="1742761"/>
                  <a:pt x="862293" y="1741522"/>
                </a:cubicBezTo>
                <a:cubicBezTo>
                  <a:pt x="862913" y="1739663"/>
                  <a:pt x="865700" y="1735635"/>
                  <a:pt x="868798" y="1733777"/>
                </a:cubicBezTo>
                <a:cubicBezTo>
                  <a:pt x="869727" y="1733002"/>
                  <a:pt x="870863" y="1732692"/>
                  <a:pt x="871792" y="1732692"/>
                </a:cubicBezTo>
                <a:close/>
                <a:moveTo>
                  <a:pt x="1426072" y="1732538"/>
                </a:moveTo>
                <a:cubicBezTo>
                  <a:pt x="1426588" y="1732538"/>
                  <a:pt x="1427414" y="1732692"/>
                  <a:pt x="1428860" y="1733157"/>
                </a:cubicBezTo>
                <a:cubicBezTo>
                  <a:pt x="1429996" y="1733777"/>
                  <a:pt x="1431338" y="1735480"/>
                  <a:pt x="1432474" y="1737339"/>
                </a:cubicBezTo>
                <a:cubicBezTo>
                  <a:pt x="1433610" y="1739198"/>
                  <a:pt x="1434332" y="1741212"/>
                  <a:pt x="1434023" y="1742606"/>
                </a:cubicBezTo>
                <a:cubicBezTo>
                  <a:pt x="1432164" y="1742141"/>
                  <a:pt x="1430202" y="1741831"/>
                  <a:pt x="1428343" y="1741367"/>
                </a:cubicBezTo>
                <a:cubicBezTo>
                  <a:pt x="1429169" y="1741212"/>
                  <a:pt x="1424833" y="1734242"/>
                  <a:pt x="1424833" y="1734242"/>
                </a:cubicBezTo>
                <a:cubicBezTo>
                  <a:pt x="1425349" y="1733157"/>
                  <a:pt x="1425556" y="1732692"/>
                  <a:pt x="1426072" y="1732538"/>
                </a:cubicBezTo>
                <a:close/>
                <a:moveTo>
                  <a:pt x="980728" y="1732073"/>
                </a:moveTo>
                <a:cubicBezTo>
                  <a:pt x="981657" y="1733622"/>
                  <a:pt x="979179" y="1736410"/>
                  <a:pt x="978456" y="1738269"/>
                </a:cubicBezTo>
                <a:cubicBezTo>
                  <a:pt x="977527" y="1737494"/>
                  <a:pt x="976701" y="1736875"/>
                  <a:pt x="976701" y="1737649"/>
                </a:cubicBezTo>
                <a:cubicBezTo>
                  <a:pt x="975771" y="1736875"/>
                  <a:pt x="975359" y="1736255"/>
                  <a:pt x="975152" y="1735325"/>
                </a:cubicBezTo>
                <a:cubicBezTo>
                  <a:pt x="975049" y="1734551"/>
                  <a:pt x="975152" y="1733622"/>
                  <a:pt x="975565" y="1732847"/>
                </a:cubicBezTo>
                <a:cubicBezTo>
                  <a:pt x="976391" y="1731918"/>
                  <a:pt x="978043" y="1731608"/>
                  <a:pt x="980728" y="1732073"/>
                </a:cubicBezTo>
                <a:close/>
                <a:moveTo>
                  <a:pt x="1632894" y="1731918"/>
                </a:moveTo>
                <a:cubicBezTo>
                  <a:pt x="1635475" y="1735016"/>
                  <a:pt x="1635889" y="1739818"/>
                  <a:pt x="1636508" y="1743380"/>
                </a:cubicBezTo>
                <a:cubicBezTo>
                  <a:pt x="1633101" y="1742141"/>
                  <a:pt x="1632481" y="1738578"/>
                  <a:pt x="1625563" y="1739973"/>
                </a:cubicBezTo>
                <a:cubicBezTo>
                  <a:pt x="1627318" y="1736410"/>
                  <a:pt x="1629590" y="1733622"/>
                  <a:pt x="1632894" y="1731918"/>
                </a:cubicBezTo>
                <a:close/>
                <a:moveTo>
                  <a:pt x="6297164" y="1731555"/>
                </a:moveTo>
                <a:cubicBezTo>
                  <a:pt x="6298657" y="1731555"/>
                  <a:pt x="6300151" y="1731697"/>
                  <a:pt x="6301859" y="1732266"/>
                </a:cubicBezTo>
                <a:cubicBezTo>
                  <a:pt x="6302712" y="1734969"/>
                  <a:pt x="6304206" y="1736961"/>
                  <a:pt x="6305700" y="1740517"/>
                </a:cubicBezTo>
                <a:cubicBezTo>
                  <a:pt x="6302926" y="1742652"/>
                  <a:pt x="6295456" y="1743932"/>
                  <a:pt x="6290761" y="1739806"/>
                </a:cubicBezTo>
                <a:cubicBezTo>
                  <a:pt x="6290547" y="1733973"/>
                  <a:pt x="6292895" y="1731555"/>
                  <a:pt x="6297164" y="1731555"/>
                </a:cubicBezTo>
                <a:close/>
                <a:moveTo>
                  <a:pt x="4763742" y="1730701"/>
                </a:moveTo>
                <a:cubicBezTo>
                  <a:pt x="4762889" y="1732266"/>
                  <a:pt x="4764596" y="1734116"/>
                  <a:pt x="4763742" y="1735680"/>
                </a:cubicBezTo>
                <a:cubicBezTo>
                  <a:pt x="4763742" y="1735680"/>
                  <a:pt x="4760754" y="1738099"/>
                  <a:pt x="4760754" y="1738099"/>
                </a:cubicBezTo>
                <a:cubicBezTo>
                  <a:pt x="4759260" y="1737388"/>
                  <a:pt x="4759260" y="1737388"/>
                  <a:pt x="4760327" y="1736961"/>
                </a:cubicBezTo>
                <a:cubicBezTo>
                  <a:pt x="4758620" y="1735111"/>
                  <a:pt x="4758407" y="1733973"/>
                  <a:pt x="4757980" y="1732835"/>
                </a:cubicBezTo>
                <a:cubicBezTo>
                  <a:pt x="4758834" y="1731270"/>
                  <a:pt x="4761181" y="1730274"/>
                  <a:pt x="4763742" y="1730701"/>
                </a:cubicBezTo>
                <a:close/>
                <a:moveTo>
                  <a:pt x="3890855" y="1730416"/>
                </a:moveTo>
                <a:cubicBezTo>
                  <a:pt x="3894697" y="1730416"/>
                  <a:pt x="3897045" y="1731981"/>
                  <a:pt x="3898325" y="1733973"/>
                </a:cubicBezTo>
                <a:cubicBezTo>
                  <a:pt x="3901740" y="1740375"/>
                  <a:pt x="3894697" y="1752326"/>
                  <a:pt x="3885733" y="1747062"/>
                </a:cubicBezTo>
                <a:cubicBezTo>
                  <a:pt x="3884239" y="1742794"/>
                  <a:pt x="3888081" y="1733119"/>
                  <a:pt x="3890855" y="1730416"/>
                </a:cubicBezTo>
                <a:close/>
                <a:moveTo>
                  <a:pt x="5538883" y="1729421"/>
                </a:moveTo>
                <a:cubicBezTo>
                  <a:pt x="5539523" y="1733973"/>
                  <a:pt x="5538883" y="1735965"/>
                  <a:pt x="5537602" y="1736534"/>
                </a:cubicBezTo>
                <a:cubicBezTo>
                  <a:pt x="5534401" y="1738241"/>
                  <a:pt x="5527358" y="1726860"/>
                  <a:pt x="5538883" y="1729421"/>
                </a:cubicBezTo>
                <a:close/>
                <a:moveTo>
                  <a:pt x="1045263" y="1728356"/>
                </a:moveTo>
                <a:cubicBezTo>
                  <a:pt x="1046192" y="1729130"/>
                  <a:pt x="1048877" y="1729130"/>
                  <a:pt x="1050632" y="1729904"/>
                </a:cubicBezTo>
                <a:cubicBezTo>
                  <a:pt x="1050632" y="1730679"/>
                  <a:pt x="1051458" y="1731453"/>
                  <a:pt x="1051458" y="1732228"/>
                </a:cubicBezTo>
                <a:cubicBezTo>
                  <a:pt x="1050529" y="1732228"/>
                  <a:pt x="1048670" y="1733157"/>
                  <a:pt x="1048670" y="1732228"/>
                </a:cubicBezTo>
                <a:cubicBezTo>
                  <a:pt x="1047844" y="1732383"/>
                  <a:pt x="1047844" y="1730679"/>
                  <a:pt x="1047844" y="1730679"/>
                </a:cubicBezTo>
                <a:cubicBezTo>
                  <a:pt x="1047018" y="1730834"/>
                  <a:pt x="1046089" y="1730834"/>
                  <a:pt x="1045263" y="1730059"/>
                </a:cubicBezTo>
                <a:cubicBezTo>
                  <a:pt x="1046192" y="1729130"/>
                  <a:pt x="1045263" y="1729285"/>
                  <a:pt x="1045263" y="1728356"/>
                </a:cubicBezTo>
                <a:close/>
                <a:moveTo>
                  <a:pt x="4922099" y="1728282"/>
                </a:moveTo>
                <a:cubicBezTo>
                  <a:pt x="4923594" y="1727998"/>
                  <a:pt x="4925087" y="1727998"/>
                  <a:pt x="4926795" y="1728282"/>
                </a:cubicBezTo>
                <a:cubicBezTo>
                  <a:pt x="4929782" y="1728709"/>
                  <a:pt x="4932770" y="1730132"/>
                  <a:pt x="4934905" y="1731128"/>
                </a:cubicBezTo>
                <a:lnTo>
                  <a:pt x="4937466" y="1732266"/>
                </a:lnTo>
                <a:lnTo>
                  <a:pt x="4937466" y="1731128"/>
                </a:lnTo>
                <a:lnTo>
                  <a:pt x="4938533" y="1732551"/>
                </a:lnTo>
                <a:lnTo>
                  <a:pt x="4938746" y="1732551"/>
                </a:lnTo>
                <a:cubicBezTo>
                  <a:pt x="4938746" y="1733831"/>
                  <a:pt x="4939813" y="1733973"/>
                  <a:pt x="4940027" y="1732835"/>
                </a:cubicBezTo>
                <a:cubicBezTo>
                  <a:pt x="4941521" y="1734258"/>
                  <a:pt x="4943015" y="1735396"/>
                  <a:pt x="4943655" y="1736392"/>
                </a:cubicBezTo>
                <a:cubicBezTo>
                  <a:pt x="4944296" y="1737388"/>
                  <a:pt x="4944296" y="1738383"/>
                  <a:pt x="4943015" y="1739379"/>
                </a:cubicBezTo>
                <a:cubicBezTo>
                  <a:pt x="4942374" y="1740517"/>
                  <a:pt x="4941521" y="1740660"/>
                  <a:pt x="4940453" y="1740802"/>
                </a:cubicBezTo>
                <a:lnTo>
                  <a:pt x="4937679" y="1741798"/>
                </a:lnTo>
                <a:lnTo>
                  <a:pt x="4939600" y="1742509"/>
                </a:lnTo>
                <a:cubicBezTo>
                  <a:pt x="4940667" y="1742936"/>
                  <a:pt x="4941521" y="1743790"/>
                  <a:pt x="4941734" y="1744928"/>
                </a:cubicBezTo>
                <a:cubicBezTo>
                  <a:pt x="4942161" y="1745782"/>
                  <a:pt x="4942161" y="1746635"/>
                  <a:pt x="4941948" y="1747916"/>
                </a:cubicBezTo>
                <a:cubicBezTo>
                  <a:pt x="4941948" y="1747916"/>
                  <a:pt x="4941948" y="1747916"/>
                  <a:pt x="4941094" y="1748484"/>
                </a:cubicBezTo>
                <a:cubicBezTo>
                  <a:pt x="4939173" y="1749765"/>
                  <a:pt x="4938320" y="1750334"/>
                  <a:pt x="4937253" y="1751046"/>
                </a:cubicBezTo>
                <a:lnTo>
                  <a:pt x="4936825" y="1750761"/>
                </a:lnTo>
                <a:lnTo>
                  <a:pt x="4937466" y="1757163"/>
                </a:lnTo>
                <a:lnTo>
                  <a:pt x="4934905" y="1762427"/>
                </a:lnTo>
                <a:lnTo>
                  <a:pt x="4936612" y="1763138"/>
                </a:lnTo>
                <a:cubicBezTo>
                  <a:pt x="4937679" y="1764561"/>
                  <a:pt x="4938320" y="1766553"/>
                  <a:pt x="4938533" y="1768402"/>
                </a:cubicBezTo>
                <a:cubicBezTo>
                  <a:pt x="4938106" y="1767406"/>
                  <a:pt x="4938106" y="1767406"/>
                  <a:pt x="4938106" y="1767406"/>
                </a:cubicBezTo>
                <a:cubicBezTo>
                  <a:pt x="4936612" y="1767122"/>
                  <a:pt x="4937039" y="1768118"/>
                  <a:pt x="4935972" y="1768687"/>
                </a:cubicBezTo>
                <a:cubicBezTo>
                  <a:pt x="4935972" y="1768687"/>
                  <a:pt x="4937039" y="1768118"/>
                  <a:pt x="4936612" y="1769825"/>
                </a:cubicBezTo>
                <a:cubicBezTo>
                  <a:pt x="4935972" y="1768687"/>
                  <a:pt x="4935118" y="1769398"/>
                  <a:pt x="4934051" y="1769967"/>
                </a:cubicBezTo>
                <a:cubicBezTo>
                  <a:pt x="4930850" y="1769256"/>
                  <a:pt x="4927222" y="1767406"/>
                  <a:pt x="4927222" y="1764704"/>
                </a:cubicBezTo>
                <a:lnTo>
                  <a:pt x="4928929" y="1762427"/>
                </a:lnTo>
                <a:lnTo>
                  <a:pt x="4925941" y="1762142"/>
                </a:lnTo>
                <a:cubicBezTo>
                  <a:pt x="4924874" y="1762000"/>
                  <a:pt x="4923807" y="1761431"/>
                  <a:pt x="4923167" y="1760293"/>
                </a:cubicBezTo>
                <a:lnTo>
                  <a:pt x="4919325" y="1755740"/>
                </a:lnTo>
                <a:lnTo>
                  <a:pt x="4918045" y="1758017"/>
                </a:lnTo>
                <a:cubicBezTo>
                  <a:pt x="4917191" y="1758870"/>
                  <a:pt x="4916337" y="1759440"/>
                  <a:pt x="4915057" y="1759582"/>
                </a:cubicBezTo>
                <a:cubicBezTo>
                  <a:pt x="4914416" y="1759582"/>
                  <a:pt x="4913563" y="1759297"/>
                  <a:pt x="4912496" y="1758870"/>
                </a:cubicBezTo>
                <a:cubicBezTo>
                  <a:pt x="4912496" y="1758870"/>
                  <a:pt x="4912496" y="1758870"/>
                  <a:pt x="4912069" y="1757732"/>
                </a:cubicBezTo>
                <a:cubicBezTo>
                  <a:pt x="4911642" y="1755456"/>
                  <a:pt x="4911215" y="1754318"/>
                  <a:pt x="4911002" y="1753179"/>
                </a:cubicBezTo>
                <a:cubicBezTo>
                  <a:pt x="4911428" y="1752468"/>
                  <a:pt x="4912283" y="1751330"/>
                  <a:pt x="4913349" y="1750334"/>
                </a:cubicBezTo>
                <a:lnTo>
                  <a:pt x="4915697" y="1749054"/>
                </a:lnTo>
                <a:lnTo>
                  <a:pt x="4915270" y="1747773"/>
                </a:lnTo>
                <a:cubicBezTo>
                  <a:pt x="4915057" y="1744501"/>
                  <a:pt x="4916764" y="1741798"/>
                  <a:pt x="4918685" y="1737815"/>
                </a:cubicBezTo>
                <a:cubicBezTo>
                  <a:pt x="4918685" y="1739095"/>
                  <a:pt x="4919966" y="1738099"/>
                  <a:pt x="4919966" y="1738099"/>
                </a:cubicBezTo>
                <a:cubicBezTo>
                  <a:pt x="4922313" y="1735965"/>
                  <a:pt x="4915483" y="1733688"/>
                  <a:pt x="4918045" y="1730416"/>
                </a:cubicBezTo>
                <a:cubicBezTo>
                  <a:pt x="4919111" y="1729279"/>
                  <a:pt x="4920606" y="1728567"/>
                  <a:pt x="4922099" y="1728282"/>
                </a:cubicBezTo>
                <a:close/>
                <a:moveTo>
                  <a:pt x="3881251" y="1728282"/>
                </a:moveTo>
                <a:cubicBezTo>
                  <a:pt x="3881251" y="1728282"/>
                  <a:pt x="3882532" y="1729563"/>
                  <a:pt x="3882532" y="1729563"/>
                </a:cubicBezTo>
                <a:cubicBezTo>
                  <a:pt x="3881678" y="1730843"/>
                  <a:pt x="3882745" y="1730843"/>
                  <a:pt x="3880611" y="1730986"/>
                </a:cubicBezTo>
                <a:cubicBezTo>
                  <a:pt x="3881465" y="1729563"/>
                  <a:pt x="3881465" y="1729563"/>
                  <a:pt x="3881251" y="1728282"/>
                </a:cubicBezTo>
                <a:close/>
                <a:moveTo>
                  <a:pt x="1184865" y="1728200"/>
                </a:moveTo>
                <a:cubicBezTo>
                  <a:pt x="1185692" y="1728510"/>
                  <a:pt x="1186827" y="1728045"/>
                  <a:pt x="1187550" y="1728356"/>
                </a:cubicBezTo>
                <a:cubicBezTo>
                  <a:pt x="1187137" y="1729285"/>
                  <a:pt x="1186931" y="1731144"/>
                  <a:pt x="1186207" y="1730834"/>
                </a:cubicBezTo>
                <a:cubicBezTo>
                  <a:pt x="1185795" y="1731608"/>
                  <a:pt x="1184246" y="1730989"/>
                  <a:pt x="1184246" y="1730989"/>
                </a:cubicBezTo>
                <a:lnTo>
                  <a:pt x="1183213" y="1731918"/>
                </a:lnTo>
                <a:lnTo>
                  <a:pt x="1184349" y="1732847"/>
                </a:lnTo>
                <a:cubicBezTo>
                  <a:pt x="1184659" y="1733932"/>
                  <a:pt x="1184349" y="1735171"/>
                  <a:pt x="1183730" y="1736875"/>
                </a:cubicBezTo>
                <a:cubicBezTo>
                  <a:pt x="1181045" y="1736100"/>
                  <a:pt x="1179909" y="1735325"/>
                  <a:pt x="1179702" y="1734396"/>
                </a:cubicBezTo>
                <a:cubicBezTo>
                  <a:pt x="1179599" y="1733312"/>
                  <a:pt x="1180425" y="1732073"/>
                  <a:pt x="1181458" y="1730214"/>
                </a:cubicBezTo>
                <a:lnTo>
                  <a:pt x="1182181" y="1730989"/>
                </a:lnTo>
                <a:lnTo>
                  <a:pt x="1182697" y="1730524"/>
                </a:lnTo>
                <a:cubicBezTo>
                  <a:pt x="1183317" y="1729749"/>
                  <a:pt x="1184142" y="1728820"/>
                  <a:pt x="1184865" y="1728200"/>
                </a:cubicBezTo>
                <a:close/>
                <a:moveTo>
                  <a:pt x="5286407" y="1727998"/>
                </a:moveTo>
                <a:cubicBezTo>
                  <a:pt x="5287474" y="1728282"/>
                  <a:pt x="5288115" y="1729279"/>
                  <a:pt x="5288755" y="1730701"/>
                </a:cubicBezTo>
                <a:cubicBezTo>
                  <a:pt x="5290462" y="1734827"/>
                  <a:pt x="5289822" y="1742367"/>
                  <a:pt x="5283206" y="1741514"/>
                </a:cubicBezTo>
                <a:cubicBezTo>
                  <a:pt x="5281925" y="1741514"/>
                  <a:pt x="5281072" y="1740660"/>
                  <a:pt x="5280645" y="1739379"/>
                </a:cubicBezTo>
                <a:cubicBezTo>
                  <a:pt x="5279364" y="1735396"/>
                  <a:pt x="5281499" y="1727856"/>
                  <a:pt x="5286407" y="1727998"/>
                </a:cubicBezTo>
                <a:close/>
                <a:moveTo>
                  <a:pt x="4802798" y="1727856"/>
                </a:moveTo>
                <a:cubicBezTo>
                  <a:pt x="4804932" y="1729847"/>
                  <a:pt x="4806213" y="1732551"/>
                  <a:pt x="4807280" y="1735396"/>
                </a:cubicBezTo>
                <a:cubicBezTo>
                  <a:pt x="4808561" y="1739664"/>
                  <a:pt x="4808774" y="1744501"/>
                  <a:pt x="4808133" y="1748911"/>
                </a:cubicBezTo>
                <a:lnTo>
                  <a:pt x="4808133" y="1749338"/>
                </a:lnTo>
                <a:lnTo>
                  <a:pt x="4810054" y="1753037"/>
                </a:lnTo>
                <a:cubicBezTo>
                  <a:pt x="4807920" y="1754602"/>
                  <a:pt x="4807706" y="1758301"/>
                  <a:pt x="4804505" y="1759155"/>
                </a:cubicBezTo>
                <a:lnTo>
                  <a:pt x="4803865" y="1759155"/>
                </a:lnTo>
                <a:lnTo>
                  <a:pt x="4803651" y="1759866"/>
                </a:lnTo>
                <a:lnTo>
                  <a:pt x="4803225" y="1759155"/>
                </a:lnTo>
                <a:lnTo>
                  <a:pt x="4800877" y="1758443"/>
                </a:lnTo>
                <a:cubicBezTo>
                  <a:pt x="4796822" y="1758728"/>
                  <a:pt x="4795115" y="1753748"/>
                  <a:pt x="4795115" y="1753748"/>
                </a:cubicBezTo>
                <a:cubicBezTo>
                  <a:pt x="4795115" y="1753748"/>
                  <a:pt x="4795115" y="1753748"/>
                  <a:pt x="4794688" y="1754887"/>
                </a:cubicBezTo>
                <a:cubicBezTo>
                  <a:pt x="4795542" y="1752753"/>
                  <a:pt x="4795542" y="1750050"/>
                  <a:pt x="4796395" y="1747916"/>
                </a:cubicBezTo>
                <a:lnTo>
                  <a:pt x="4798956" y="1747204"/>
                </a:lnTo>
                <a:lnTo>
                  <a:pt x="4798530" y="1743505"/>
                </a:lnTo>
                <a:cubicBezTo>
                  <a:pt x="4798956" y="1737530"/>
                  <a:pt x="4800877" y="1731555"/>
                  <a:pt x="4802798" y="1727856"/>
                </a:cubicBezTo>
                <a:close/>
                <a:moveTo>
                  <a:pt x="3524627" y="1727287"/>
                </a:moveTo>
                <a:cubicBezTo>
                  <a:pt x="3524627" y="1727287"/>
                  <a:pt x="3524627" y="1727287"/>
                  <a:pt x="3532737" y="1729279"/>
                </a:cubicBezTo>
                <a:cubicBezTo>
                  <a:pt x="3532310" y="1730132"/>
                  <a:pt x="3531670" y="1730274"/>
                  <a:pt x="3531030" y="1730274"/>
                </a:cubicBezTo>
                <a:cubicBezTo>
                  <a:pt x="3530390" y="1730132"/>
                  <a:pt x="3529749" y="1729705"/>
                  <a:pt x="3528895" y="1729421"/>
                </a:cubicBezTo>
                <a:cubicBezTo>
                  <a:pt x="3527615" y="1728709"/>
                  <a:pt x="3526121" y="1727998"/>
                  <a:pt x="3524627" y="1727287"/>
                </a:cubicBezTo>
                <a:close/>
                <a:moveTo>
                  <a:pt x="1169377" y="1726806"/>
                </a:moveTo>
                <a:cubicBezTo>
                  <a:pt x="1173817" y="1724018"/>
                  <a:pt x="1176501" y="1724328"/>
                  <a:pt x="1177431" y="1727736"/>
                </a:cubicBezTo>
                <a:cubicBezTo>
                  <a:pt x="1177018" y="1728510"/>
                  <a:pt x="1174953" y="1730524"/>
                  <a:pt x="1175675" y="1730834"/>
                </a:cubicBezTo>
                <a:cubicBezTo>
                  <a:pt x="1172991" y="1731763"/>
                  <a:pt x="1169893" y="1732538"/>
                  <a:pt x="1167931" y="1731763"/>
                </a:cubicBezTo>
                <a:cubicBezTo>
                  <a:pt x="1167312" y="1731453"/>
                  <a:pt x="1166692" y="1730989"/>
                  <a:pt x="1166383" y="1730369"/>
                </a:cubicBezTo>
                <a:cubicBezTo>
                  <a:pt x="1165350" y="1728820"/>
                  <a:pt x="1167002" y="1727736"/>
                  <a:pt x="1169377" y="1726806"/>
                </a:cubicBezTo>
                <a:close/>
                <a:moveTo>
                  <a:pt x="5906818" y="1726575"/>
                </a:moveTo>
                <a:cubicBezTo>
                  <a:pt x="5908526" y="1726433"/>
                  <a:pt x="5910874" y="1726860"/>
                  <a:pt x="5913221" y="1728851"/>
                </a:cubicBezTo>
                <a:cubicBezTo>
                  <a:pt x="5914502" y="1729989"/>
                  <a:pt x="5916849" y="1733831"/>
                  <a:pt x="5915782" y="1733831"/>
                </a:cubicBezTo>
                <a:cubicBezTo>
                  <a:pt x="5914715" y="1734969"/>
                  <a:pt x="5915782" y="1734969"/>
                  <a:pt x="5915782" y="1736107"/>
                </a:cubicBezTo>
                <a:lnTo>
                  <a:pt x="5914288" y="1737103"/>
                </a:lnTo>
                <a:lnTo>
                  <a:pt x="5914929" y="1737957"/>
                </a:lnTo>
                <a:cubicBezTo>
                  <a:pt x="5916422" y="1740375"/>
                  <a:pt x="5916422" y="1740375"/>
                  <a:pt x="5915355" y="1741655"/>
                </a:cubicBezTo>
                <a:cubicBezTo>
                  <a:pt x="5914288" y="1742936"/>
                  <a:pt x="5910660" y="1741940"/>
                  <a:pt x="5909593" y="1743220"/>
                </a:cubicBezTo>
                <a:cubicBezTo>
                  <a:pt x="5909593" y="1743220"/>
                  <a:pt x="5909593" y="1743220"/>
                  <a:pt x="5908099" y="1740802"/>
                </a:cubicBezTo>
                <a:lnTo>
                  <a:pt x="5908526" y="1738810"/>
                </a:lnTo>
                <a:lnTo>
                  <a:pt x="5905751" y="1738099"/>
                </a:lnTo>
                <a:cubicBezTo>
                  <a:pt x="5903190" y="1735538"/>
                  <a:pt x="5899775" y="1731697"/>
                  <a:pt x="5901910" y="1728282"/>
                </a:cubicBezTo>
                <a:cubicBezTo>
                  <a:pt x="5902977" y="1728282"/>
                  <a:pt x="5902977" y="1727144"/>
                  <a:pt x="5904044" y="1727144"/>
                </a:cubicBezTo>
                <a:cubicBezTo>
                  <a:pt x="5904044" y="1727144"/>
                  <a:pt x="5905111" y="1726575"/>
                  <a:pt x="5906818" y="1726575"/>
                </a:cubicBezTo>
                <a:close/>
                <a:moveTo>
                  <a:pt x="853826" y="1726032"/>
                </a:moveTo>
                <a:cubicBezTo>
                  <a:pt x="856717" y="1724948"/>
                  <a:pt x="859712" y="1726806"/>
                  <a:pt x="863325" y="1726342"/>
                </a:cubicBezTo>
                <a:cubicBezTo>
                  <a:pt x="864152" y="1728356"/>
                  <a:pt x="864668" y="1729595"/>
                  <a:pt x="864461" y="1730679"/>
                </a:cubicBezTo>
                <a:lnTo>
                  <a:pt x="864152" y="1730989"/>
                </a:lnTo>
                <a:lnTo>
                  <a:pt x="859815" y="1739508"/>
                </a:lnTo>
                <a:cubicBezTo>
                  <a:pt x="858886" y="1740127"/>
                  <a:pt x="855375" y="1741522"/>
                  <a:pt x="854549" y="1740592"/>
                </a:cubicBezTo>
                <a:cubicBezTo>
                  <a:pt x="853723" y="1739663"/>
                  <a:pt x="853723" y="1738888"/>
                  <a:pt x="853723" y="1737959"/>
                </a:cubicBezTo>
                <a:lnTo>
                  <a:pt x="855891" y="1734242"/>
                </a:lnTo>
                <a:lnTo>
                  <a:pt x="854032" y="1734242"/>
                </a:lnTo>
                <a:cubicBezTo>
                  <a:pt x="852071" y="1733777"/>
                  <a:pt x="850419" y="1733002"/>
                  <a:pt x="849902" y="1732228"/>
                </a:cubicBezTo>
                <a:cubicBezTo>
                  <a:pt x="849283" y="1729904"/>
                  <a:pt x="850315" y="1726652"/>
                  <a:pt x="853826" y="1726032"/>
                </a:cubicBezTo>
                <a:close/>
                <a:moveTo>
                  <a:pt x="5441777" y="1726006"/>
                </a:moveTo>
                <a:cubicBezTo>
                  <a:pt x="5450740" y="1726148"/>
                  <a:pt x="5458423" y="1733404"/>
                  <a:pt x="5461411" y="1740660"/>
                </a:cubicBezTo>
                <a:cubicBezTo>
                  <a:pt x="5462265" y="1743078"/>
                  <a:pt x="5462905" y="1745639"/>
                  <a:pt x="5462692" y="1747773"/>
                </a:cubicBezTo>
                <a:cubicBezTo>
                  <a:pt x="5450740" y="1747631"/>
                  <a:pt x="5443271" y="1734116"/>
                  <a:pt x="5441777" y="1726006"/>
                </a:cubicBezTo>
                <a:close/>
                <a:moveTo>
                  <a:pt x="1268503" y="1725257"/>
                </a:moveTo>
                <a:cubicBezTo>
                  <a:pt x="1270155" y="1726032"/>
                  <a:pt x="1270981" y="1726806"/>
                  <a:pt x="1270878" y="1728510"/>
                </a:cubicBezTo>
                <a:cubicBezTo>
                  <a:pt x="1270258" y="1727890"/>
                  <a:pt x="1268709" y="1727271"/>
                  <a:pt x="1268296" y="1726342"/>
                </a:cubicBezTo>
                <a:cubicBezTo>
                  <a:pt x="1268193" y="1726032"/>
                  <a:pt x="1268193" y="1725722"/>
                  <a:pt x="1268503" y="1725257"/>
                </a:cubicBezTo>
                <a:close/>
                <a:moveTo>
                  <a:pt x="979386" y="1725102"/>
                </a:moveTo>
                <a:cubicBezTo>
                  <a:pt x="982690" y="1725102"/>
                  <a:pt x="984135" y="1725722"/>
                  <a:pt x="984652" y="1726652"/>
                </a:cubicBezTo>
                <a:cubicBezTo>
                  <a:pt x="985994" y="1729130"/>
                  <a:pt x="977837" y="1733157"/>
                  <a:pt x="979386" y="1725102"/>
                </a:cubicBezTo>
                <a:close/>
                <a:moveTo>
                  <a:pt x="4953686" y="1725010"/>
                </a:moveTo>
                <a:cubicBezTo>
                  <a:pt x="4959021" y="1724157"/>
                  <a:pt x="4963930" y="1729563"/>
                  <a:pt x="4964143" y="1734684"/>
                </a:cubicBezTo>
                <a:cubicBezTo>
                  <a:pt x="4964357" y="1737103"/>
                  <a:pt x="4963716" y="1739237"/>
                  <a:pt x="4961795" y="1740945"/>
                </a:cubicBezTo>
                <a:cubicBezTo>
                  <a:pt x="4955180" y="1738241"/>
                  <a:pt x="4947070" y="1736392"/>
                  <a:pt x="4948137" y="1728140"/>
                </a:cubicBezTo>
                <a:cubicBezTo>
                  <a:pt x="4949844" y="1726148"/>
                  <a:pt x="4951765" y="1725295"/>
                  <a:pt x="4953686" y="1725010"/>
                </a:cubicBezTo>
                <a:close/>
                <a:moveTo>
                  <a:pt x="1321783" y="1724018"/>
                </a:moveTo>
                <a:cubicBezTo>
                  <a:pt x="1323229" y="1725877"/>
                  <a:pt x="1323848" y="1727736"/>
                  <a:pt x="1322506" y="1730214"/>
                </a:cubicBezTo>
                <a:cubicBezTo>
                  <a:pt x="1321886" y="1728820"/>
                  <a:pt x="1321370" y="1727890"/>
                  <a:pt x="1321164" y="1727116"/>
                </a:cubicBezTo>
                <a:cubicBezTo>
                  <a:pt x="1320957" y="1726187"/>
                  <a:pt x="1321164" y="1725257"/>
                  <a:pt x="1321783" y="1724018"/>
                </a:cubicBezTo>
                <a:close/>
                <a:moveTo>
                  <a:pt x="1055072" y="1723709"/>
                </a:moveTo>
                <a:cubicBezTo>
                  <a:pt x="1055072" y="1723709"/>
                  <a:pt x="1055898" y="1724483"/>
                  <a:pt x="1056724" y="1725412"/>
                </a:cubicBezTo>
                <a:cubicBezTo>
                  <a:pt x="1057551" y="1726187"/>
                  <a:pt x="1058376" y="1726187"/>
                  <a:pt x="1058376" y="1726187"/>
                </a:cubicBezTo>
                <a:cubicBezTo>
                  <a:pt x="1059202" y="1726961"/>
                  <a:pt x="1059202" y="1727890"/>
                  <a:pt x="1058273" y="1728665"/>
                </a:cubicBezTo>
                <a:cubicBezTo>
                  <a:pt x="1058273" y="1728665"/>
                  <a:pt x="1056621" y="1727890"/>
                  <a:pt x="1056621" y="1727890"/>
                </a:cubicBezTo>
                <a:cubicBezTo>
                  <a:pt x="1054969" y="1726342"/>
                  <a:pt x="1054040" y="1725412"/>
                  <a:pt x="1052388" y="1724638"/>
                </a:cubicBezTo>
                <a:cubicBezTo>
                  <a:pt x="1053317" y="1722934"/>
                  <a:pt x="1054246" y="1722934"/>
                  <a:pt x="1055072" y="1723709"/>
                </a:cubicBezTo>
                <a:close/>
                <a:moveTo>
                  <a:pt x="1600575" y="1723554"/>
                </a:moveTo>
                <a:cubicBezTo>
                  <a:pt x="1603053" y="1726032"/>
                  <a:pt x="1603776" y="1728356"/>
                  <a:pt x="1604602" y="1730059"/>
                </a:cubicBezTo>
                <a:cubicBezTo>
                  <a:pt x="1602743" y="1731763"/>
                  <a:pt x="1601814" y="1733467"/>
                  <a:pt x="1600059" y="1735325"/>
                </a:cubicBezTo>
                <a:cubicBezTo>
                  <a:pt x="1594793" y="1736255"/>
                  <a:pt x="1592521" y="1733467"/>
                  <a:pt x="1592728" y="1730369"/>
                </a:cubicBezTo>
                <a:cubicBezTo>
                  <a:pt x="1593037" y="1727271"/>
                  <a:pt x="1595722" y="1723863"/>
                  <a:pt x="1600575" y="1723554"/>
                </a:cubicBezTo>
                <a:close/>
                <a:moveTo>
                  <a:pt x="3624721" y="1722876"/>
                </a:moveTo>
                <a:lnTo>
                  <a:pt x="3617678" y="1729847"/>
                </a:lnTo>
                <a:lnTo>
                  <a:pt x="3620026" y="1729421"/>
                </a:lnTo>
                <a:cubicBezTo>
                  <a:pt x="3623013" y="1729705"/>
                  <a:pt x="3626001" y="1731697"/>
                  <a:pt x="3629203" y="1734400"/>
                </a:cubicBezTo>
                <a:cubicBezTo>
                  <a:pt x="3635392" y="1739664"/>
                  <a:pt x="3632191" y="1745070"/>
                  <a:pt x="3632191" y="1745070"/>
                </a:cubicBezTo>
                <a:cubicBezTo>
                  <a:pt x="3627922" y="1750761"/>
                  <a:pt x="3621946" y="1753464"/>
                  <a:pt x="3615544" y="1752895"/>
                </a:cubicBezTo>
                <a:cubicBezTo>
                  <a:pt x="3612982" y="1752611"/>
                  <a:pt x="3610422" y="1751899"/>
                  <a:pt x="3607647" y="1750334"/>
                </a:cubicBezTo>
                <a:cubicBezTo>
                  <a:pt x="3606154" y="1747773"/>
                  <a:pt x="3606154" y="1745070"/>
                  <a:pt x="3607007" y="1742367"/>
                </a:cubicBezTo>
                <a:lnTo>
                  <a:pt x="3609995" y="1735965"/>
                </a:lnTo>
                <a:lnTo>
                  <a:pt x="3606794" y="1737815"/>
                </a:lnTo>
                <a:cubicBezTo>
                  <a:pt x="3604233" y="1738810"/>
                  <a:pt x="3601458" y="1739664"/>
                  <a:pt x="3598044" y="1739948"/>
                </a:cubicBezTo>
                <a:cubicBezTo>
                  <a:pt x="3598257" y="1725579"/>
                  <a:pt x="3615757" y="1722307"/>
                  <a:pt x="3624721" y="1722876"/>
                </a:cubicBezTo>
                <a:close/>
                <a:moveTo>
                  <a:pt x="1539344" y="1722779"/>
                </a:moveTo>
                <a:cubicBezTo>
                  <a:pt x="1544713" y="1720920"/>
                  <a:pt x="1545333" y="1725877"/>
                  <a:pt x="1549463" y="1729130"/>
                </a:cubicBezTo>
                <a:cubicBezTo>
                  <a:pt x="1546056" y="1732538"/>
                  <a:pt x="1539447" y="1730214"/>
                  <a:pt x="1538311" y="1726652"/>
                </a:cubicBezTo>
                <a:cubicBezTo>
                  <a:pt x="1538208" y="1726032"/>
                  <a:pt x="1538105" y="1725412"/>
                  <a:pt x="1538311" y="1724792"/>
                </a:cubicBezTo>
                <a:cubicBezTo>
                  <a:pt x="1538415" y="1724173"/>
                  <a:pt x="1538828" y="1723399"/>
                  <a:pt x="1539344" y="1722779"/>
                </a:cubicBezTo>
                <a:close/>
                <a:moveTo>
                  <a:pt x="1447136" y="1722469"/>
                </a:moveTo>
                <a:cubicBezTo>
                  <a:pt x="1450647" y="1726961"/>
                  <a:pt x="1450853" y="1729749"/>
                  <a:pt x="1449718" y="1731299"/>
                </a:cubicBezTo>
                <a:cubicBezTo>
                  <a:pt x="1447446" y="1734087"/>
                  <a:pt x="1440115" y="1732692"/>
                  <a:pt x="1439289" y="1729440"/>
                </a:cubicBezTo>
                <a:cubicBezTo>
                  <a:pt x="1438772" y="1727581"/>
                  <a:pt x="1440528" y="1725102"/>
                  <a:pt x="1447136" y="1722469"/>
                </a:cubicBezTo>
                <a:close/>
                <a:moveTo>
                  <a:pt x="5683795" y="1721880"/>
                </a:moveTo>
                <a:cubicBezTo>
                  <a:pt x="5692332" y="1722450"/>
                  <a:pt x="5700228" y="1727002"/>
                  <a:pt x="5702575" y="1736392"/>
                </a:cubicBezTo>
                <a:cubicBezTo>
                  <a:pt x="5703430" y="1739948"/>
                  <a:pt x="5703643" y="1744217"/>
                  <a:pt x="5702789" y="1749196"/>
                </a:cubicBezTo>
                <a:cubicBezTo>
                  <a:pt x="5699588" y="1762712"/>
                  <a:pt x="5686569" y="1769967"/>
                  <a:pt x="5676752" y="1784905"/>
                </a:cubicBezTo>
                <a:lnTo>
                  <a:pt x="5675685" y="1782060"/>
                </a:lnTo>
                <a:lnTo>
                  <a:pt x="5674618" y="1782772"/>
                </a:lnTo>
                <a:cubicBezTo>
                  <a:pt x="5670136" y="1781776"/>
                  <a:pt x="5667148" y="1778503"/>
                  <a:pt x="5666721" y="1774946"/>
                </a:cubicBezTo>
                <a:lnTo>
                  <a:pt x="5668002" y="1770109"/>
                </a:lnTo>
                <a:lnTo>
                  <a:pt x="5661813" y="1765414"/>
                </a:lnTo>
                <a:cubicBezTo>
                  <a:pt x="5659891" y="1763707"/>
                  <a:pt x="5657971" y="1762000"/>
                  <a:pt x="5656477" y="1760008"/>
                </a:cubicBezTo>
                <a:cubicBezTo>
                  <a:pt x="5654343" y="1757305"/>
                  <a:pt x="5653063" y="1754175"/>
                  <a:pt x="5653063" y="1749907"/>
                </a:cubicBezTo>
                <a:cubicBezTo>
                  <a:pt x="5652422" y="1731128"/>
                  <a:pt x="5669496" y="1720885"/>
                  <a:pt x="5683795" y="1721880"/>
                </a:cubicBezTo>
                <a:close/>
                <a:moveTo>
                  <a:pt x="1656643" y="1720455"/>
                </a:moveTo>
                <a:cubicBezTo>
                  <a:pt x="1658502" y="1728356"/>
                  <a:pt x="1647247" y="1734242"/>
                  <a:pt x="1639606" y="1736100"/>
                </a:cubicBezTo>
                <a:cubicBezTo>
                  <a:pt x="1640948" y="1726496"/>
                  <a:pt x="1648796" y="1723399"/>
                  <a:pt x="1656643" y="1720455"/>
                </a:cubicBezTo>
                <a:close/>
                <a:moveTo>
                  <a:pt x="1187860" y="1720146"/>
                </a:moveTo>
                <a:cubicBezTo>
                  <a:pt x="1202212" y="1722159"/>
                  <a:pt x="1209854" y="1737339"/>
                  <a:pt x="1219146" y="1748492"/>
                </a:cubicBezTo>
                <a:lnTo>
                  <a:pt x="1218114" y="1749266"/>
                </a:lnTo>
                <a:lnTo>
                  <a:pt x="1220489" y="1748956"/>
                </a:lnTo>
                <a:cubicBezTo>
                  <a:pt x="1221831" y="1749111"/>
                  <a:pt x="1223173" y="1749266"/>
                  <a:pt x="1224103" y="1749886"/>
                </a:cubicBezTo>
                <a:cubicBezTo>
                  <a:pt x="1224826" y="1750196"/>
                  <a:pt x="1225238" y="1750815"/>
                  <a:pt x="1225652" y="1751435"/>
                </a:cubicBezTo>
                <a:cubicBezTo>
                  <a:pt x="1226684" y="1753139"/>
                  <a:pt x="1225135" y="1754068"/>
                  <a:pt x="1222760" y="1754378"/>
                </a:cubicBezTo>
                <a:cubicBezTo>
                  <a:pt x="1218217" y="1756391"/>
                  <a:pt x="1215532" y="1755617"/>
                  <a:pt x="1214603" y="1752210"/>
                </a:cubicBezTo>
                <a:lnTo>
                  <a:pt x="1215429" y="1751125"/>
                </a:lnTo>
                <a:lnTo>
                  <a:pt x="1210679" y="1753758"/>
                </a:lnTo>
                <a:lnTo>
                  <a:pt x="1207892" y="1749731"/>
                </a:lnTo>
                <a:lnTo>
                  <a:pt x="1207169" y="1750351"/>
                </a:lnTo>
                <a:cubicBezTo>
                  <a:pt x="1206446" y="1749886"/>
                  <a:pt x="1205207" y="1750041"/>
                  <a:pt x="1204484" y="1749576"/>
                </a:cubicBezTo>
                <a:cubicBezTo>
                  <a:pt x="1205000" y="1748802"/>
                  <a:pt x="1205104" y="1747098"/>
                  <a:pt x="1205930" y="1747562"/>
                </a:cubicBezTo>
                <a:lnTo>
                  <a:pt x="1206343" y="1747408"/>
                </a:lnTo>
                <a:lnTo>
                  <a:pt x="1199425" y="1737339"/>
                </a:lnTo>
                <a:lnTo>
                  <a:pt x="1199011" y="1737649"/>
                </a:lnTo>
                <a:cubicBezTo>
                  <a:pt x="1195604" y="1737959"/>
                  <a:pt x="1190441" y="1735790"/>
                  <a:pt x="1192506" y="1731453"/>
                </a:cubicBezTo>
                <a:cubicBezTo>
                  <a:pt x="1192713" y="1730679"/>
                  <a:pt x="1193539" y="1730369"/>
                  <a:pt x="1194571" y="1730214"/>
                </a:cubicBezTo>
                <a:close/>
                <a:moveTo>
                  <a:pt x="1185692" y="1720146"/>
                </a:moveTo>
                <a:cubicBezTo>
                  <a:pt x="1186931" y="1719836"/>
                  <a:pt x="1187653" y="1720146"/>
                  <a:pt x="1187963" y="1721230"/>
                </a:cubicBezTo>
                <a:cubicBezTo>
                  <a:pt x="1187963" y="1721230"/>
                  <a:pt x="1186414" y="1722469"/>
                  <a:pt x="1186414" y="1722469"/>
                </a:cubicBezTo>
                <a:cubicBezTo>
                  <a:pt x="1183936" y="1723244"/>
                  <a:pt x="1182800" y="1723554"/>
                  <a:pt x="1181148" y="1724792"/>
                </a:cubicBezTo>
                <a:cubicBezTo>
                  <a:pt x="1180529" y="1724018"/>
                  <a:pt x="1180322" y="1723554"/>
                  <a:pt x="1180425" y="1723089"/>
                </a:cubicBezTo>
                <a:cubicBezTo>
                  <a:pt x="1180529" y="1722624"/>
                  <a:pt x="1181045" y="1722314"/>
                  <a:pt x="1181664" y="1722159"/>
                </a:cubicBezTo>
                <a:cubicBezTo>
                  <a:pt x="1181664" y="1722159"/>
                  <a:pt x="1182800" y="1721695"/>
                  <a:pt x="1184039" y="1721385"/>
                </a:cubicBezTo>
                <a:cubicBezTo>
                  <a:pt x="1185175" y="1720920"/>
                  <a:pt x="1185692" y="1720146"/>
                  <a:pt x="1185692" y="1720146"/>
                </a:cubicBezTo>
                <a:close/>
                <a:moveTo>
                  <a:pt x="4998931" y="1720031"/>
                </a:moveTo>
                <a:cubicBezTo>
                  <a:pt x="5001278" y="1721311"/>
                  <a:pt x="5002346" y="1720173"/>
                  <a:pt x="5004693" y="1723730"/>
                </a:cubicBezTo>
                <a:cubicBezTo>
                  <a:pt x="5003626" y="1724868"/>
                  <a:pt x="5002559" y="1726006"/>
                  <a:pt x="5001492" y="1727144"/>
                </a:cubicBezTo>
                <a:cubicBezTo>
                  <a:pt x="4999144" y="1724726"/>
                  <a:pt x="4996796" y="1722165"/>
                  <a:pt x="4998931" y="1720031"/>
                </a:cubicBezTo>
                <a:close/>
                <a:moveTo>
                  <a:pt x="1310115" y="1719526"/>
                </a:moveTo>
                <a:cubicBezTo>
                  <a:pt x="1316414" y="1719216"/>
                  <a:pt x="1320854" y="1725722"/>
                  <a:pt x="1319408" y="1733467"/>
                </a:cubicBezTo>
                <a:lnTo>
                  <a:pt x="1317550" y="1740282"/>
                </a:lnTo>
                <a:lnTo>
                  <a:pt x="1320544" y="1738733"/>
                </a:lnTo>
                <a:cubicBezTo>
                  <a:pt x="1331386" y="1735635"/>
                  <a:pt x="1342744" y="1746323"/>
                  <a:pt x="1341402" y="1757631"/>
                </a:cubicBezTo>
                <a:cubicBezTo>
                  <a:pt x="1341092" y="1760109"/>
                  <a:pt x="1340163" y="1762742"/>
                  <a:pt x="1338511" y="1765066"/>
                </a:cubicBezTo>
                <a:lnTo>
                  <a:pt x="1333451" y="1769712"/>
                </a:lnTo>
                <a:lnTo>
                  <a:pt x="1334484" y="1770642"/>
                </a:lnTo>
                <a:cubicBezTo>
                  <a:pt x="1333658" y="1774669"/>
                  <a:pt x="1331283" y="1775599"/>
                  <a:pt x="1329631" y="1778077"/>
                </a:cubicBezTo>
                <a:cubicBezTo>
                  <a:pt x="1323022" y="1776683"/>
                  <a:pt x="1321267" y="1773121"/>
                  <a:pt x="1322196" y="1770332"/>
                </a:cubicBezTo>
                <a:cubicBezTo>
                  <a:pt x="1322506" y="1769403"/>
                  <a:pt x="1323126" y="1768628"/>
                  <a:pt x="1323848" y="1767854"/>
                </a:cubicBezTo>
                <a:lnTo>
                  <a:pt x="1326533" y="1767079"/>
                </a:lnTo>
                <a:lnTo>
                  <a:pt x="1324571" y="1764756"/>
                </a:lnTo>
                <a:lnTo>
                  <a:pt x="1322403" y="1763207"/>
                </a:lnTo>
                <a:lnTo>
                  <a:pt x="1321990" y="1765066"/>
                </a:lnTo>
                <a:cubicBezTo>
                  <a:pt x="1321164" y="1765066"/>
                  <a:pt x="1321164" y="1765221"/>
                  <a:pt x="1321060" y="1764291"/>
                </a:cubicBezTo>
                <a:cubicBezTo>
                  <a:pt x="1320957" y="1764446"/>
                  <a:pt x="1320957" y="1764446"/>
                  <a:pt x="1320957" y="1764601"/>
                </a:cubicBezTo>
                <a:cubicBezTo>
                  <a:pt x="1320441" y="1763981"/>
                  <a:pt x="1320028" y="1763362"/>
                  <a:pt x="1320028" y="1762742"/>
                </a:cubicBezTo>
                <a:lnTo>
                  <a:pt x="1320441" y="1761658"/>
                </a:lnTo>
                <a:lnTo>
                  <a:pt x="1318375" y="1759954"/>
                </a:lnTo>
                <a:cubicBezTo>
                  <a:pt x="1316517" y="1758405"/>
                  <a:pt x="1314762" y="1756856"/>
                  <a:pt x="1313419" y="1754843"/>
                </a:cubicBezTo>
                <a:lnTo>
                  <a:pt x="1311458" y="1750196"/>
                </a:lnTo>
                <a:lnTo>
                  <a:pt x="1311251" y="1750351"/>
                </a:lnTo>
                <a:cubicBezTo>
                  <a:pt x="1305056" y="1750196"/>
                  <a:pt x="1302887" y="1746323"/>
                  <a:pt x="1302474" y="1741677"/>
                </a:cubicBezTo>
                <a:cubicBezTo>
                  <a:pt x="1302371" y="1740127"/>
                  <a:pt x="1302371" y="1738423"/>
                  <a:pt x="1302577" y="1736875"/>
                </a:cubicBezTo>
                <a:cubicBezTo>
                  <a:pt x="1302681" y="1734551"/>
                  <a:pt x="1303094" y="1732538"/>
                  <a:pt x="1303507" y="1730524"/>
                </a:cubicBezTo>
                <a:cubicBezTo>
                  <a:pt x="1304126" y="1726496"/>
                  <a:pt x="1305056" y="1722314"/>
                  <a:pt x="1307327" y="1720455"/>
                </a:cubicBezTo>
                <a:cubicBezTo>
                  <a:pt x="1308153" y="1719836"/>
                  <a:pt x="1309083" y="1719371"/>
                  <a:pt x="1310115" y="1719526"/>
                </a:cubicBezTo>
                <a:close/>
                <a:moveTo>
                  <a:pt x="1584983" y="1719371"/>
                </a:moveTo>
                <a:cubicBezTo>
                  <a:pt x="1586016" y="1719836"/>
                  <a:pt x="1587874" y="1720146"/>
                  <a:pt x="1589217" y="1721385"/>
                </a:cubicBezTo>
                <a:cubicBezTo>
                  <a:pt x="1588391" y="1726187"/>
                  <a:pt x="1584261" y="1724328"/>
                  <a:pt x="1583847" y="1721850"/>
                </a:cubicBezTo>
                <a:cubicBezTo>
                  <a:pt x="1583744" y="1721075"/>
                  <a:pt x="1583951" y="1720146"/>
                  <a:pt x="1584983" y="1719371"/>
                </a:cubicBezTo>
                <a:close/>
                <a:moveTo>
                  <a:pt x="1154818" y="1719371"/>
                </a:moveTo>
                <a:cubicBezTo>
                  <a:pt x="1155644" y="1720146"/>
                  <a:pt x="1154611" y="1722779"/>
                  <a:pt x="1155437" y="1723554"/>
                </a:cubicBezTo>
                <a:cubicBezTo>
                  <a:pt x="1155437" y="1723554"/>
                  <a:pt x="1155437" y="1723554"/>
                  <a:pt x="1153579" y="1724483"/>
                </a:cubicBezTo>
                <a:cubicBezTo>
                  <a:pt x="1152753" y="1724638"/>
                  <a:pt x="1151823" y="1724638"/>
                  <a:pt x="1150997" y="1723709"/>
                </a:cubicBezTo>
                <a:cubicBezTo>
                  <a:pt x="1150068" y="1722934"/>
                  <a:pt x="1150171" y="1721230"/>
                  <a:pt x="1150274" y="1720301"/>
                </a:cubicBezTo>
                <a:cubicBezTo>
                  <a:pt x="1151204" y="1720301"/>
                  <a:pt x="1151204" y="1719526"/>
                  <a:pt x="1152030" y="1719526"/>
                </a:cubicBezTo>
                <a:cubicBezTo>
                  <a:pt x="1153889" y="1718442"/>
                  <a:pt x="1153889" y="1718442"/>
                  <a:pt x="1154818" y="1719371"/>
                </a:cubicBezTo>
                <a:close/>
                <a:moveTo>
                  <a:pt x="916193" y="1719371"/>
                </a:moveTo>
                <a:cubicBezTo>
                  <a:pt x="916296" y="1721075"/>
                  <a:pt x="919910" y="1721385"/>
                  <a:pt x="918258" y="1723399"/>
                </a:cubicBezTo>
                <a:cubicBezTo>
                  <a:pt x="917329" y="1722624"/>
                  <a:pt x="916296" y="1721075"/>
                  <a:pt x="915366" y="1720301"/>
                </a:cubicBezTo>
                <a:cubicBezTo>
                  <a:pt x="915366" y="1720301"/>
                  <a:pt x="915366" y="1720301"/>
                  <a:pt x="916193" y="1719371"/>
                </a:cubicBezTo>
                <a:close/>
                <a:moveTo>
                  <a:pt x="1259003" y="1719062"/>
                </a:moveTo>
                <a:cubicBezTo>
                  <a:pt x="1260759" y="1718907"/>
                  <a:pt x="1262307" y="1719371"/>
                  <a:pt x="1263547" y="1720766"/>
                </a:cubicBezTo>
                <a:cubicBezTo>
                  <a:pt x="1261585" y="1725567"/>
                  <a:pt x="1260242" y="1731453"/>
                  <a:pt x="1254254" y="1730679"/>
                </a:cubicBezTo>
                <a:cubicBezTo>
                  <a:pt x="1252808" y="1729440"/>
                  <a:pt x="1252189" y="1728045"/>
                  <a:pt x="1251982" y="1726652"/>
                </a:cubicBezTo>
                <a:cubicBezTo>
                  <a:pt x="1251363" y="1722779"/>
                  <a:pt x="1255286" y="1719216"/>
                  <a:pt x="1259003" y="1719062"/>
                </a:cubicBezTo>
                <a:close/>
                <a:moveTo>
                  <a:pt x="820835" y="1718984"/>
                </a:moveTo>
                <a:cubicBezTo>
                  <a:pt x="823778" y="1717706"/>
                  <a:pt x="827289" y="1718055"/>
                  <a:pt x="829044" y="1720301"/>
                </a:cubicBezTo>
                <a:cubicBezTo>
                  <a:pt x="830180" y="1721695"/>
                  <a:pt x="830593" y="1724018"/>
                  <a:pt x="829457" y="1727271"/>
                </a:cubicBezTo>
                <a:cubicBezTo>
                  <a:pt x="823365" y="1726806"/>
                  <a:pt x="820474" y="1730214"/>
                  <a:pt x="816034" y="1727426"/>
                </a:cubicBezTo>
                <a:cubicBezTo>
                  <a:pt x="815518" y="1723166"/>
                  <a:pt x="817893" y="1720262"/>
                  <a:pt x="820835" y="1718984"/>
                </a:cubicBezTo>
                <a:close/>
                <a:moveTo>
                  <a:pt x="3586305" y="1718324"/>
                </a:moveTo>
                <a:cubicBezTo>
                  <a:pt x="3588653" y="1719320"/>
                  <a:pt x="3590360" y="1720885"/>
                  <a:pt x="3591641" y="1723019"/>
                </a:cubicBezTo>
                <a:cubicBezTo>
                  <a:pt x="3595269" y="1729279"/>
                  <a:pt x="3593988" y="1739806"/>
                  <a:pt x="3591001" y="1745497"/>
                </a:cubicBezTo>
                <a:cubicBezTo>
                  <a:pt x="3585878" y="1748058"/>
                  <a:pt x="3582037" y="1747916"/>
                  <a:pt x="3579262" y="1746351"/>
                </a:cubicBezTo>
                <a:cubicBezTo>
                  <a:pt x="3570939" y="1741371"/>
                  <a:pt x="3573714" y="1722307"/>
                  <a:pt x="3586305" y="1718324"/>
                </a:cubicBezTo>
                <a:close/>
                <a:moveTo>
                  <a:pt x="6066243" y="1718181"/>
                </a:moveTo>
                <a:cubicBezTo>
                  <a:pt x="6069444" y="1718608"/>
                  <a:pt x="6072006" y="1718181"/>
                  <a:pt x="6075207" y="1718608"/>
                </a:cubicBezTo>
                <a:cubicBezTo>
                  <a:pt x="6080542" y="1723730"/>
                  <a:pt x="6079689" y="1728851"/>
                  <a:pt x="6076487" y="1731412"/>
                </a:cubicBezTo>
                <a:cubicBezTo>
                  <a:pt x="6073072" y="1733973"/>
                  <a:pt x="6067310" y="1733973"/>
                  <a:pt x="6063042" y="1728567"/>
                </a:cubicBezTo>
                <a:cubicBezTo>
                  <a:pt x="6063468" y="1723587"/>
                  <a:pt x="6065176" y="1720458"/>
                  <a:pt x="6066243" y="1718181"/>
                </a:cubicBezTo>
                <a:close/>
                <a:moveTo>
                  <a:pt x="5078536" y="1718181"/>
                </a:moveTo>
                <a:cubicBezTo>
                  <a:pt x="5080030" y="1717897"/>
                  <a:pt x="5081524" y="1718039"/>
                  <a:pt x="5083018" y="1718324"/>
                </a:cubicBezTo>
                <a:cubicBezTo>
                  <a:pt x="5082591" y="1719604"/>
                  <a:pt x="5090061" y="1721169"/>
                  <a:pt x="5092409" y="1727571"/>
                </a:cubicBezTo>
                <a:cubicBezTo>
                  <a:pt x="5093049" y="1729705"/>
                  <a:pt x="5093262" y="1732408"/>
                  <a:pt x="5092195" y="1735680"/>
                </a:cubicBezTo>
                <a:cubicBezTo>
                  <a:pt x="5090061" y="1743220"/>
                  <a:pt x="5085366" y="1750761"/>
                  <a:pt x="5073841" y="1747489"/>
                </a:cubicBezTo>
                <a:cubicBezTo>
                  <a:pt x="5071280" y="1747489"/>
                  <a:pt x="5072347" y="1746777"/>
                  <a:pt x="5070853" y="1746351"/>
                </a:cubicBezTo>
                <a:cubicBezTo>
                  <a:pt x="5069359" y="1745782"/>
                  <a:pt x="5066798" y="1745782"/>
                  <a:pt x="5065731" y="1746351"/>
                </a:cubicBezTo>
                <a:cubicBezTo>
                  <a:pt x="5067225" y="1740375"/>
                  <a:pt x="5063384" y="1739806"/>
                  <a:pt x="5066158" y="1730701"/>
                </a:cubicBezTo>
                <a:cubicBezTo>
                  <a:pt x="5068292" y="1721738"/>
                  <a:pt x="5073628" y="1718608"/>
                  <a:pt x="5078536" y="1718181"/>
                </a:cubicBezTo>
                <a:close/>
                <a:moveTo>
                  <a:pt x="4768437" y="1717897"/>
                </a:moveTo>
                <a:cubicBezTo>
                  <a:pt x="4769505" y="1718039"/>
                  <a:pt x="4770572" y="1718324"/>
                  <a:pt x="4771425" y="1718466"/>
                </a:cubicBezTo>
                <a:cubicBezTo>
                  <a:pt x="4772493" y="1717897"/>
                  <a:pt x="4773986" y="1718181"/>
                  <a:pt x="4774413" y="1719177"/>
                </a:cubicBezTo>
                <a:cubicBezTo>
                  <a:pt x="4774413" y="1719177"/>
                  <a:pt x="4775907" y="1719604"/>
                  <a:pt x="4776974" y="1718893"/>
                </a:cubicBezTo>
                <a:cubicBezTo>
                  <a:pt x="4780176" y="1719604"/>
                  <a:pt x="4780602" y="1720742"/>
                  <a:pt x="4781029" y="1721738"/>
                </a:cubicBezTo>
                <a:cubicBezTo>
                  <a:pt x="4781029" y="1721738"/>
                  <a:pt x="4779535" y="1721311"/>
                  <a:pt x="4778468" y="1721880"/>
                </a:cubicBezTo>
                <a:cubicBezTo>
                  <a:pt x="4778468" y="1721880"/>
                  <a:pt x="4776974" y="1721595"/>
                  <a:pt x="4775480" y="1721169"/>
                </a:cubicBezTo>
                <a:cubicBezTo>
                  <a:pt x="4775480" y="1721169"/>
                  <a:pt x="4774413" y="1721880"/>
                  <a:pt x="4773560" y="1722450"/>
                </a:cubicBezTo>
                <a:cubicBezTo>
                  <a:pt x="4769291" y="1722307"/>
                  <a:pt x="4766730" y="1722592"/>
                  <a:pt x="4765663" y="1718039"/>
                </a:cubicBezTo>
                <a:cubicBezTo>
                  <a:pt x="4766303" y="1717755"/>
                  <a:pt x="4767370" y="1717755"/>
                  <a:pt x="4768437" y="1717897"/>
                </a:cubicBezTo>
                <a:close/>
                <a:moveTo>
                  <a:pt x="1385699" y="1717822"/>
                </a:moveTo>
                <a:cubicBezTo>
                  <a:pt x="1386938" y="1717977"/>
                  <a:pt x="1386938" y="1717977"/>
                  <a:pt x="1386112" y="1718597"/>
                </a:cubicBezTo>
                <a:cubicBezTo>
                  <a:pt x="1387867" y="1719371"/>
                  <a:pt x="1388383" y="1720146"/>
                  <a:pt x="1388797" y="1720766"/>
                </a:cubicBezTo>
                <a:cubicBezTo>
                  <a:pt x="1388487" y="1722005"/>
                  <a:pt x="1386938" y="1723089"/>
                  <a:pt x="1384976" y="1723399"/>
                </a:cubicBezTo>
                <a:cubicBezTo>
                  <a:pt x="1385286" y="1722159"/>
                  <a:pt x="1383634" y="1721230"/>
                  <a:pt x="1383840" y="1719991"/>
                </a:cubicBezTo>
                <a:cubicBezTo>
                  <a:pt x="1383840" y="1719991"/>
                  <a:pt x="1385699" y="1717822"/>
                  <a:pt x="1385699" y="1717822"/>
                </a:cubicBezTo>
                <a:close/>
                <a:moveTo>
                  <a:pt x="1551218" y="1717203"/>
                </a:moveTo>
                <a:cubicBezTo>
                  <a:pt x="1553180" y="1717357"/>
                  <a:pt x="1555142" y="1717667"/>
                  <a:pt x="1557104" y="1717822"/>
                </a:cubicBezTo>
                <a:cubicBezTo>
                  <a:pt x="1560511" y="1719216"/>
                  <a:pt x="1564126" y="1720611"/>
                  <a:pt x="1563712" y="1723554"/>
                </a:cubicBezTo>
                <a:cubicBezTo>
                  <a:pt x="1559789" y="1723244"/>
                  <a:pt x="1557104" y="1723399"/>
                  <a:pt x="1553180" y="1722934"/>
                </a:cubicBezTo>
                <a:cubicBezTo>
                  <a:pt x="1552044" y="1722469"/>
                  <a:pt x="1548947" y="1719991"/>
                  <a:pt x="1549360" y="1718907"/>
                </a:cubicBezTo>
                <a:cubicBezTo>
                  <a:pt x="1549669" y="1717822"/>
                  <a:pt x="1550496" y="1717512"/>
                  <a:pt x="1551218" y="1717203"/>
                </a:cubicBezTo>
                <a:close/>
                <a:moveTo>
                  <a:pt x="4626300" y="1717185"/>
                </a:moveTo>
                <a:cubicBezTo>
                  <a:pt x="4626727" y="1723303"/>
                  <a:pt x="4629928" y="1730843"/>
                  <a:pt x="4627794" y="1736534"/>
                </a:cubicBezTo>
                <a:cubicBezTo>
                  <a:pt x="4627154" y="1734258"/>
                  <a:pt x="4625019" y="1721453"/>
                  <a:pt x="4626300" y="1717185"/>
                </a:cubicBezTo>
                <a:close/>
                <a:moveTo>
                  <a:pt x="1227200" y="1717048"/>
                </a:moveTo>
                <a:cubicBezTo>
                  <a:pt x="1228853" y="1718132"/>
                  <a:pt x="1230608" y="1718442"/>
                  <a:pt x="1232363" y="1719526"/>
                </a:cubicBezTo>
                <a:cubicBezTo>
                  <a:pt x="1232054" y="1722779"/>
                  <a:pt x="1235358" y="1725722"/>
                  <a:pt x="1230608" y="1728200"/>
                </a:cubicBezTo>
                <a:cubicBezTo>
                  <a:pt x="1227717" y="1727736"/>
                  <a:pt x="1225445" y="1725257"/>
                  <a:pt x="1224929" y="1722624"/>
                </a:cubicBezTo>
                <a:cubicBezTo>
                  <a:pt x="1224722" y="1721695"/>
                  <a:pt x="1224722" y="1720920"/>
                  <a:pt x="1224929" y="1719991"/>
                </a:cubicBezTo>
                <a:cubicBezTo>
                  <a:pt x="1225238" y="1718907"/>
                  <a:pt x="1225961" y="1717822"/>
                  <a:pt x="1227200" y="1717048"/>
                </a:cubicBezTo>
                <a:close/>
                <a:moveTo>
                  <a:pt x="1485857" y="1716893"/>
                </a:moveTo>
                <a:cubicBezTo>
                  <a:pt x="1487716" y="1720146"/>
                  <a:pt x="1483895" y="1725257"/>
                  <a:pt x="1480178" y="1725102"/>
                </a:cubicBezTo>
                <a:cubicBezTo>
                  <a:pt x="1482656" y="1722005"/>
                  <a:pt x="1482140" y="1718907"/>
                  <a:pt x="1483586" y="1717512"/>
                </a:cubicBezTo>
                <a:cubicBezTo>
                  <a:pt x="1484102" y="1717203"/>
                  <a:pt x="1484722" y="1716893"/>
                  <a:pt x="1485857" y="1716893"/>
                </a:cubicBezTo>
                <a:close/>
                <a:moveTo>
                  <a:pt x="944691" y="1715964"/>
                </a:moveTo>
                <a:cubicBezTo>
                  <a:pt x="946137" y="1715499"/>
                  <a:pt x="947066" y="1715654"/>
                  <a:pt x="947892" y="1716273"/>
                </a:cubicBezTo>
                <a:cubicBezTo>
                  <a:pt x="948719" y="1716893"/>
                  <a:pt x="949441" y="1717977"/>
                  <a:pt x="950164" y="1719526"/>
                </a:cubicBezTo>
                <a:cubicBezTo>
                  <a:pt x="951609" y="1722314"/>
                  <a:pt x="949441" y="1723863"/>
                  <a:pt x="950164" y="1726342"/>
                </a:cubicBezTo>
                <a:lnTo>
                  <a:pt x="948615" y="1725877"/>
                </a:lnTo>
                <a:lnTo>
                  <a:pt x="947583" y="1734242"/>
                </a:lnTo>
                <a:cubicBezTo>
                  <a:pt x="946653" y="1736875"/>
                  <a:pt x="945104" y="1739198"/>
                  <a:pt x="943142" y="1741057"/>
                </a:cubicBezTo>
                <a:lnTo>
                  <a:pt x="939116" y="1743690"/>
                </a:lnTo>
                <a:lnTo>
                  <a:pt x="942729" y="1744465"/>
                </a:lnTo>
                <a:cubicBezTo>
                  <a:pt x="946860" y="1746168"/>
                  <a:pt x="951093" y="1748647"/>
                  <a:pt x="955120" y="1752674"/>
                </a:cubicBezTo>
                <a:cubicBezTo>
                  <a:pt x="954914" y="1758250"/>
                  <a:pt x="950577" y="1759645"/>
                  <a:pt x="945518" y="1758560"/>
                </a:cubicBezTo>
                <a:cubicBezTo>
                  <a:pt x="939116" y="1757321"/>
                  <a:pt x="931681" y="1752364"/>
                  <a:pt x="930029" y="1747098"/>
                </a:cubicBezTo>
                <a:lnTo>
                  <a:pt x="930029" y="1746633"/>
                </a:lnTo>
                <a:lnTo>
                  <a:pt x="923214" y="1746478"/>
                </a:lnTo>
                <a:cubicBezTo>
                  <a:pt x="920736" y="1746013"/>
                  <a:pt x="918155" y="1745239"/>
                  <a:pt x="915676" y="1744000"/>
                </a:cubicBezTo>
                <a:cubicBezTo>
                  <a:pt x="915676" y="1742916"/>
                  <a:pt x="915780" y="1741677"/>
                  <a:pt x="914540" y="1741522"/>
                </a:cubicBezTo>
                <a:cubicBezTo>
                  <a:pt x="914231" y="1733932"/>
                  <a:pt x="919497" y="1727271"/>
                  <a:pt x="926415" y="1724018"/>
                </a:cubicBezTo>
                <a:cubicBezTo>
                  <a:pt x="931681" y="1721385"/>
                  <a:pt x="937773" y="1720611"/>
                  <a:pt x="943349" y="1722469"/>
                </a:cubicBezTo>
                <a:lnTo>
                  <a:pt x="944175" y="1722934"/>
                </a:lnTo>
                <a:lnTo>
                  <a:pt x="943142" y="1721850"/>
                </a:lnTo>
                <a:cubicBezTo>
                  <a:pt x="942833" y="1720611"/>
                  <a:pt x="942833" y="1720611"/>
                  <a:pt x="943246" y="1719836"/>
                </a:cubicBezTo>
                <a:cubicBezTo>
                  <a:pt x="943349" y="1717977"/>
                  <a:pt x="943039" y="1716893"/>
                  <a:pt x="944691" y="1715964"/>
                </a:cubicBezTo>
                <a:close/>
                <a:moveTo>
                  <a:pt x="5771937" y="1715905"/>
                </a:moveTo>
                <a:cubicBezTo>
                  <a:pt x="5773004" y="1715621"/>
                  <a:pt x="5774071" y="1715905"/>
                  <a:pt x="5774712" y="1717185"/>
                </a:cubicBezTo>
                <a:cubicBezTo>
                  <a:pt x="5776206" y="1722165"/>
                  <a:pt x="5766388" y="1726148"/>
                  <a:pt x="5764254" y="1724726"/>
                </a:cubicBezTo>
                <a:cubicBezTo>
                  <a:pt x="5763827" y="1722876"/>
                  <a:pt x="5768309" y="1716758"/>
                  <a:pt x="5771937" y="1715905"/>
                </a:cubicBezTo>
                <a:close/>
                <a:moveTo>
                  <a:pt x="1465309" y="1715654"/>
                </a:moveTo>
                <a:cubicBezTo>
                  <a:pt x="1465722" y="1716428"/>
                  <a:pt x="1466445" y="1716119"/>
                  <a:pt x="1466858" y="1716893"/>
                </a:cubicBezTo>
                <a:cubicBezTo>
                  <a:pt x="1468510" y="1718132"/>
                  <a:pt x="1468510" y="1718132"/>
                  <a:pt x="1468097" y="1719216"/>
                </a:cubicBezTo>
                <a:cubicBezTo>
                  <a:pt x="1467684" y="1720301"/>
                  <a:pt x="1464793" y="1720455"/>
                  <a:pt x="1464380" y="1721695"/>
                </a:cubicBezTo>
                <a:cubicBezTo>
                  <a:pt x="1464380" y="1721695"/>
                  <a:pt x="1464483" y="1721695"/>
                  <a:pt x="1462831" y="1720301"/>
                </a:cubicBezTo>
                <a:cubicBezTo>
                  <a:pt x="1462418" y="1719526"/>
                  <a:pt x="1462108" y="1718752"/>
                  <a:pt x="1462521" y="1717667"/>
                </a:cubicBezTo>
                <a:cubicBezTo>
                  <a:pt x="1462934" y="1716583"/>
                  <a:pt x="1464483" y="1715964"/>
                  <a:pt x="1465309" y="1715654"/>
                </a:cubicBezTo>
                <a:close/>
                <a:moveTo>
                  <a:pt x="5161770" y="1715478"/>
                </a:moveTo>
                <a:cubicBezTo>
                  <a:pt x="5161556" y="1723445"/>
                  <a:pt x="5163477" y="1732693"/>
                  <a:pt x="5160703" y="1740233"/>
                </a:cubicBezTo>
                <a:cubicBezTo>
                  <a:pt x="5154514" y="1733546"/>
                  <a:pt x="5150885" y="1717755"/>
                  <a:pt x="5161770" y="1715478"/>
                </a:cubicBezTo>
                <a:close/>
                <a:moveTo>
                  <a:pt x="1041649" y="1715034"/>
                </a:moveTo>
                <a:cubicBezTo>
                  <a:pt x="1042578" y="1713331"/>
                  <a:pt x="1044333" y="1714105"/>
                  <a:pt x="1045986" y="1715654"/>
                </a:cubicBezTo>
                <a:cubicBezTo>
                  <a:pt x="1050219" y="1717977"/>
                  <a:pt x="1051045" y="1720455"/>
                  <a:pt x="1048258" y="1723089"/>
                </a:cubicBezTo>
                <a:cubicBezTo>
                  <a:pt x="1047431" y="1723244"/>
                  <a:pt x="1044850" y="1722469"/>
                  <a:pt x="1044747" y="1723399"/>
                </a:cubicBezTo>
                <a:cubicBezTo>
                  <a:pt x="1042888" y="1721540"/>
                  <a:pt x="1041029" y="1719216"/>
                  <a:pt x="1041029" y="1717203"/>
                </a:cubicBezTo>
                <a:cubicBezTo>
                  <a:pt x="1041029" y="1716428"/>
                  <a:pt x="1041236" y="1715654"/>
                  <a:pt x="1041649" y="1715034"/>
                </a:cubicBezTo>
                <a:close/>
                <a:moveTo>
                  <a:pt x="5868616" y="1714340"/>
                </a:moveTo>
                <a:cubicBezTo>
                  <a:pt x="5869897" y="1719320"/>
                  <a:pt x="5871177" y="1724299"/>
                  <a:pt x="5866482" y="1725295"/>
                </a:cubicBezTo>
                <a:cubicBezTo>
                  <a:pt x="5861574" y="1722022"/>
                  <a:pt x="5861360" y="1715051"/>
                  <a:pt x="5868616" y="1714340"/>
                </a:cubicBezTo>
                <a:close/>
                <a:moveTo>
                  <a:pt x="5448393" y="1714340"/>
                </a:moveTo>
                <a:cubicBezTo>
                  <a:pt x="5453942" y="1714909"/>
                  <a:pt x="5459918" y="1717612"/>
                  <a:pt x="5463973" y="1720458"/>
                </a:cubicBezTo>
                <a:cubicBezTo>
                  <a:pt x="5453302" y="1729421"/>
                  <a:pt x="5443697" y="1724726"/>
                  <a:pt x="5434307" y="1720315"/>
                </a:cubicBezTo>
                <a:cubicBezTo>
                  <a:pt x="5437295" y="1714909"/>
                  <a:pt x="5442844" y="1713629"/>
                  <a:pt x="5448393" y="1714340"/>
                </a:cubicBezTo>
                <a:close/>
                <a:moveTo>
                  <a:pt x="4626940" y="1714340"/>
                </a:moveTo>
                <a:cubicBezTo>
                  <a:pt x="4626300" y="1716047"/>
                  <a:pt x="4626300" y="1716047"/>
                  <a:pt x="4626513" y="1717185"/>
                </a:cubicBezTo>
                <a:cubicBezTo>
                  <a:pt x="4626513" y="1717185"/>
                  <a:pt x="4625232" y="1716332"/>
                  <a:pt x="4625232" y="1716332"/>
                </a:cubicBezTo>
                <a:cubicBezTo>
                  <a:pt x="4625873" y="1714767"/>
                  <a:pt x="4625019" y="1715051"/>
                  <a:pt x="4626940" y="1714340"/>
                </a:cubicBezTo>
                <a:close/>
                <a:moveTo>
                  <a:pt x="3708595" y="1714198"/>
                </a:moveTo>
                <a:cubicBezTo>
                  <a:pt x="3714144" y="1717470"/>
                  <a:pt x="3720120" y="1718181"/>
                  <a:pt x="3725668" y="1721453"/>
                </a:cubicBezTo>
                <a:cubicBezTo>
                  <a:pt x="3729083" y="1729989"/>
                  <a:pt x="3719266" y="1747773"/>
                  <a:pt x="3707528" y="1749765"/>
                </a:cubicBezTo>
                <a:cubicBezTo>
                  <a:pt x="3703473" y="1750476"/>
                  <a:pt x="3699418" y="1749196"/>
                  <a:pt x="3695363" y="1745355"/>
                </a:cubicBezTo>
                <a:cubicBezTo>
                  <a:pt x="3684905" y="1733404"/>
                  <a:pt x="3695149" y="1723730"/>
                  <a:pt x="3708595" y="1714198"/>
                </a:cubicBezTo>
                <a:close/>
                <a:moveTo>
                  <a:pt x="3560482" y="1714056"/>
                </a:moveTo>
                <a:cubicBezTo>
                  <a:pt x="3563683" y="1716047"/>
                  <a:pt x="3569659" y="1715051"/>
                  <a:pt x="3570086" y="1721169"/>
                </a:cubicBezTo>
                <a:cubicBezTo>
                  <a:pt x="3555573" y="1725010"/>
                  <a:pt x="3558561" y="1747204"/>
                  <a:pt x="3544475" y="1746351"/>
                </a:cubicBezTo>
                <a:cubicBezTo>
                  <a:pt x="3547249" y="1734969"/>
                  <a:pt x="3547463" y="1723161"/>
                  <a:pt x="3560482" y="1714056"/>
                </a:cubicBezTo>
                <a:close/>
                <a:moveTo>
                  <a:pt x="4669197" y="1713629"/>
                </a:moveTo>
                <a:lnTo>
                  <a:pt x="4674533" y="1719746"/>
                </a:lnTo>
                <a:lnTo>
                  <a:pt x="4677521" y="1719035"/>
                </a:lnTo>
                <a:cubicBezTo>
                  <a:pt x="4679014" y="1719604"/>
                  <a:pt x="4680295" y="1721027"/>
                  <a:pt x="4681789" y="1723019"/>
                </a:cubicBezTo>
                <a:cubicBezTo>
                  <a:pt x="4680082" y="1723872"/>
                  <a:pt x="4678587" y="1723872"/>
                  <a:pt x="4677094" y="1723303"/>
                </a:cubicBezTo>
                <a:lnTo>
                  <a:pt x="4676667" y="1723161"/>
                </a:lnTo>
                <a:lnTo>
                  <a:pt x="4680295" y="1729421"/>
                </a:lnTo>
                <a:cubicBezTo>
                  <a:pt x="4681789" y="1732266"/>
                  <a:pt x="4683496" y="1734827"/>
                  <a:pt x="4685630" y="1736676"/>
                </a:cubicBezTo>
                <a:cubicBezTo>
                  <a:pt x="4685630" y="1736676"/>
                  <a:pt x="4685630" y="1736534"/>
                  <a:pt x="4684990" y="1739948"/>
                </a:cubicBezTo>
                <a:cubicBezTo>
                  <a:pt x="4685844" y="1740945"/>
                  <a:pt x="4685844" y="1740945"/>
                  <a:pt x="4685844" y="1740945"/>
                </a:cubicBezTo>
                <a:cubicBezTo>
                  <a:pt x="4686484" y="1741940"/>
                  <a:pt x="4684563" y="1743220"/>
                  <a:pt x="4684563" y="1743220"/>
                </a:cubicBezTo>
                <a:cubicBezTo>
                  <a:pt x="4682002" y="1743363"/>
                  <a:pt x="4680935" y="1739664"/>
                  <a:pt x="4679655" y="1737672"/>
                </a:cubicBezTo>
                <a:cubicBezTo>
                  <a:pt x="4677094" y="1737957"/>
                  <a:pt x="4678801" y="1732408"/>
                  <a:pt x="4676240" y="1732551"/>
                </a:cubicBezTo>
                <a:cubicBezTo>
                  <a:pt x="4677307" y="1726006"/>
                  <a:pt x="4669197" y="1724014"/>
                  <a:pt x="4669197" y="1713629"/>
                </a:cubicBezTo>
                <a:close/>
                <a:moveTo>
                  <a:pt x="1681734" y="1713331"/>
                </a:moveTo>
                <a:cubicBezTo>
                  <a:pt x="1682354" y="1713021"/>
                  <a:pt x="1683076" y="1713176"/>
                  <a:pt x="1683386" y="1713640"/>
                </a:cubicBezTo>
                <a:cubicBezTo>
                  <a:pt x="1683283" y="1714415"/>
                  <a:pt x="1684109" y="1714415"/>
                  <a:pt x="1684006" y="1715344"/>
                </a:cubicBezTo>
                <a:cubicBezTo>
                  <a:pt x="1684522" y="1717048"/>
                  <a:pt x="1684419" y="1717822"/>
                  <a:pt x="1683490" y="1718752"/>
                </a:cubicBezTo>
                <a:cubicBezTo>
                  <a:pt x="1683283" y="1719526"/>
                  <a:pt x="1682457" y="1719526"/>
                  <a:pt x="1681425" y="1720301"/>
                </a:cubicBezTo>
                <a:cubicBezTo>
                  <a:pt x="1680598" y="1720301"/>
                  <a:pt x="1679875" y="1719371"/>
                  <a:pt x="1679875" y="1719371"/>
                </a:cubicBezTo>
                <a:cubicBezTo>
                  <a:pt x="1679153" y="1718442"/>
                  <a:pt x="1679153" y="1718442"/>
                  <a:pt x="1678120" y="1719216"/>
                </a:cubicBezTo>
                <a:cubicBezTo>
                  <a:pt x="1678120" y="1719216"/>
                  <a:pt x="1678327" y="1718287"/>
                  <a:pt x="1678327" y="1718287"/>
                </a:cubicBezTo>
                <a:cubicBezTo>
                  <a:pt x="1679153" y="1718442"/>
                  <a:pt x="1678327" y="1718287"/>
                  <a:pt x="1677604" y="1717512"/>
                </a:cubicBezTo>
                <a:cubicBezTo>
                  <a:pt x="1678740" y="1715809"/>
                  <a:pt x="1678843" y="1715034"/>
                  <a:pt x="1679875" y="1714260"/>
                </a:cubicBezTo>
                <a:cubicBezTo>
                  <a:pt x="1680392" y="1713795"/>
                  <a:pt x="1681011" y="1713485"/>
                  <a:pt x="1681734" y="1713331"/>
                </a:cubicBezTo>
                <a:close/>
                <a:moveTo>
                  <a:pt x="1515595" y="1713176"/>
                </a:moveTo>
                <a:cubicBezTo>
                  <a:pt x="1516628" y="1713021"/>
                  <a:pt x="1517763" y="1713176"/>
                  <a:pt x="1519209" y="1713795"/>
                </a:cubicBezTo>
                <a:cubicBezTo>
                  <a:pt x="1519519" y="1715499"/>
                  <a:pt x="1518486" y="1717203"/>
                  <a:pt x="1516937" y="1718907"/>
                </a:cubicBezTo>
                <a:lnTo>
                  <a:pt x="1514046" y="1721385"/>
                </a:lnTo>
                <a:lnTo>
                  <a:pt x="1514459" y="1721695"/>
                </a:lnTo>
                <a:cubicBezTo>
                  <a:pt x="1514872" y="1722314"/>
                  <a:pt x="1514975" y="1723089"/>
                  <a:pt x="1514563" y="1724173"/>
                </a:cubicBezTo>
                <a:cubicBezTo>
                  <a:pt x="1514149" y="1727116"/>
                  <a:pt x="1511774" y="1728045"/>
                  <a:pt x="1509090" y="1728200"/>
                </a:cubicBezTo>
                <a:cubicBezTo>
                  <a:pt x="1507851" y="1729595"/>
                  <a:pt x="1507747" y="1731453"/>
                  <a:pt x="1505786" y="1731299"/>
                </a:cubicBezTo>
                <a:cubicBezTo>
                  <a:pt x="1507438" y="1728820"/>
                  <a:pt x="1507851" y="1727736"/>
                  <a:pt x="1509090" y="1726342"/>
                </a:cubicBezTo>
                <a:cubicBezTo>
                  <a:pt x="1508677" y="1725722"/>
                  <a:pt x="1508367" y="1724792"/>
                  <a:pt x="1508780" y="1723709"/>
                </a:cubicBezTo>
                <a:lnTo>
                  <a:pt x="1509916" y="1722469"/>
                </a:lnTo>
                <a:lnTo>
                  <a:pt x="1509193" y="1721695"/>
                </a:lnTo>
                <a:cubicBezTo>
                  <a:pt x="1508573" y="1721075"/>
                  <a:pt x="1507954" y="1720455"/>
                  <a:pt x="1507128" y="1719991"/>
                </a:cubicBezTo>
                <a:cubicBezTo>
                  <a:pt x="1511362" y="1717048"/>
                  <a:pt x="1512704" y="1713485"/>
                  <a:pt x="1515595" y="1713176"/>
                </a:cubicBezTo>
                <a:close/>
                <a:moveTo>
                  <a:pt x="697806" y="1713176"/>
                </a:moveTo>
                <a:cubicBezTo>
                  <a:pt x="699458" y="1715034"/>
                  <a:pt x="699458" y="1715809"/>
                  <a:pt x="700284" y="1716738"/>
                </a:cubicBezTo>
                <a:cubicBezTo>
                  <a:pt x="700284" y="1715964"/>
                  <a:pt x="701110" y="1716738"/>
                  <a:pt x="701110" y="1716738"/>
                </a:cubicBezTo>
                <a:cubicBezTo>
                  <a:pt x="701110" y="1716738"/>
                  <a:pt x="701213" y="1716893"/>
                  <a:pt x="702969" y="1715344"/>
                </a:cubicBezTo>
                <a:cubicBezTo>
                  <a:pt x="702969" y="1715344"/>
                  <a:pt x="707305" y="1712401"/>
                  <a:pt x="711642" y="1716273"/>
                </a:cubicBezTo>
                <a:cubicBezTo>
                  <a:pt x="710713" y="1717048"/>
                  <a:pt x="715876" y="1722469"/>
                  <a:pt x="714017" y="1725722"/>
                </a:cubicBezTo>
                <a:cubicBezTo>
                  <a:pt x="713191" y="1727271"/>
                  <a:pt x="712262" y="1728045"/>
                  <a:pt x="711435" y="1729595"/>
                </a:cubicBezTo>
                <a:cubicBezTo>
                  <a:pt x="708751" y="1729440"/>
                  <a:pt x="706169" y="1731608"/>
                  <a:pt x="701007" y="1727736"/>
                </a:cubicBezTo>
                <a:cubicBezTo>
                  <a:pt x="695844" y="1723089"/>
                  <a:pt x="700284" y="1718442"/>
                  <a:pt x="699355" y="1718287"/>
                </a:cubicBezTo>
                <a:cubicBezTo>
                  <a:pt x="698528" y="1717357"/>
                  <a:pt x="698528" y="1717357"/>
                  <a:pt x="697702" y="1717357"/>
                </a:cubicBezTo>
                <a:cubicBezTo>
                  <a:pt x="697702" y="1716428"/>
                  <a:pt x="696877" y="1714724"/>
                  <a:pt x="696051" y="1713795"/>
                </a:cubicBezTo>
                <a:cubicBezTo>
                  <a:pt x="696877" y="1713795"/>
                  <a:pt x="697806" y="1713950"/>
                  <a:pt x="697806" y="1713176"/>
                </a:cubicBezTo>
                <a:close/>
                <a:moveTo>
                  <a:pt x="4973107" y="1712633"/>
                </a:moveTo>
                <a:cubicBezTo>
                  <a:pt x="4982497" y="1713059"/>
                  <a:pt x="4997223" y="1732978"/>
                  <a:pt x="4989540" y="1742082"/>
                </a:cubicBezTo>
                <a:cubicBezTo>
                  <a:pt x="4984418" y="1734684"/>
                  <a:pt x="4980790" y="1727429"/>
                  <a:pt x="4970973" y="1719746"/>
                </a:cubicBezTo>
                <a:cubicBezTo>
                  <a:pt x="4973321" y="1717470"/>
                  <a:pt x="4969692" y="1714909"/>
                  <a:pt x="4973107" y="1712633"/>
                </a:cubicBezTo>
                <a:close/>
                <a:moveTo>
                  <a:pt x="1278209" y="1712091"/>
                </a:moveTo>
                <a:cubicBezTo>
                  <a:pt x="1279448" y="1712401"/>
                  <a:pt x="1279448" y="1712401"/>
                  <a:pt x="1280584" y="1712711"/>
                </a:cubicBezTo>
                <a:cubicBezTo>
                  <a:pt x="1281513" y="1714260"/>
                  <a:pt x="1283165" y="1715344"/>
                  <a:pt x="1283269" y="1717203"/>
                </a:cubicBezTo>
                <a:cubicBezTo>
                  <a:pt x="1283062" y="1718287"/>
                  <a:pt x="1281926" y="1719062"/>
                  <a:pt x="1280481" y="1719681"/>
                </a:cubicBezTo>
                <a:lnTo>
                  <a:pt x="1276867" y="1720611"/>
                </a:lnTo>
                <a:lnTo>
                  <a:pt x="1276970" y="1721230"/>
                </a:lnTo>
                <a:cubicBezTo>
                  <a:pt x="1276970" y="1721230"/>
                  <a:pt x="1277073" y="1720301"/>
                  <a:pt x="1277796" y="1721230"/>
                </a:cubicBezTo>
                <a:cubicBezTo>
                  <a:pt x="1276970" y="1721230"/>
                  <a:pt x="1276867" y="1722005"/>
                  <a:pt x="1276763" y="1722934"/>
                </a:cubicBezTo>
                <a:cubicBezTo>
                  <a:pt x="1274698" y="1724483"/>
                  <a:pt x="1271704" y="1726032"/>
                  <a:pt x="1270155" y="1724948"/>
                </a:cubicBezTo>
                <a:cubicBezTo>
                  <a:pt x="1269432" y="1724173"/>
                  <a:pt x="1269329" y="1723244"/>
                  <a:pt x="1269535" y="1722624"/>
                </a:cubicBezTo>
                <a:cubicBezTo>
                  <a:pt x="1269742" y="1721850"/>
                  <a:pt x="1270362" y="1721230"/>
                  <a:pt x="1270878" y="1720766"/>
                </a:cubicBezTo>
                <a:cubicBezTo>
                  <a:pt x="1271497" y="1719526"/>
                  <a:pt x="1272633" y="1719062"/>
                  <a:pt x="1273975" y="1718907"/>
                </a:cubicBezTo>
                <a:lnTo>
                  <a:pt x="1275008" y="1719062"/>
                </a:lnTo>
                <a:lnTo>
                  <a:pt x="1274285" y="1718442"/>
                </a:lnTo>
                <a:cubicBezTo>
                  <a:pt x="1273975" y="1717357"/>
                  <a:pt x="1273975" y="1716119"/>
                  <a:pt x="1274182" y="1715034"/>
                </a:cubicBezTo>
                <a:cubicBezTo>
                  <a:pt x="1274079" y="1714105"/>
                  <a:pt x="1274698" y="1713331"/>
                  <a:pt x="1275421" y="1712866"/>
                </a:cubicBezTo>
                <a:cubicBezTo>
                  <a:pt x="1276247" y="1712401"/>
                  <a:pt x="1277280" y="1712091"/>
                  <a:pt x="1278209" y="1712091"/>
                </a:cubicBezTo>
                <a:close/>
                <a:moveTo>
                  <a:pt x="1430822" y="1711936"/>
                </a:moveTo>
                <a:cubicBezTo>
                  <a:pt x="1435055" y="1711936"/>
                  <a:pt x="1436707" y="1713795"/>
                  <a:pt x="1437843" y="1717512"/>
                </a:cubicBezTo>
                <a:cubicBezTo>
                  <a:pt x="1435985" y="1718907"/>
                  <a:pt x="1431751" y="1719062"/>
                  <a:pt x="1429996" y="1717048"/>
                </a:cubicBezTo>
                <a:cubicBezTo>
                  <a:pt x="1429479" y="1714105"/>
                  <a:pt x="1431338" y="1713795"/>
                  <a:pt x="1430822" y="1711936"/>
                </a:cubicBezTo>
                <a:close/>
                <a:moveTo>
                  <a:pt x="1073039" y="1711317"/>
                </a:moveTo>
                <a:cubicBezTo>
                  <a:pt x="1074691" y="1712091"/>
                  <a:pt x="1076963" y="1717667"/>
                  <a:pt x="1076033" y="1718597"/>
                </a:cubicBezTo>
                <a:cubicBezTo>
                  <a:pt x="1074175" y="1717357"/>
                  <a:pt x="1070974" y="1715499"/>
                  <a:pt x="1070148" y="1713485"/>
                </a:cubicBezTo>
                <a:cubicBezTo>
                  <a:pt x="1069941" y="1712711"/>
                  <a:pt x="1070044" y="1712091"/>
                  <a:pt x="1070458" y="1711472"/>
                </a:cubicBezTo>
                <a:cubicBezTo>
                  <a:pt x="1071387" y="1710542"/>
                  <a:pt x="1072213" y="1711317"/>
                  <a:pt x="1073039" y="1711317"/>
                </a:cubicBezTo>
                <a:close/>
                <a:moveTo>
                  <a:pt x="1016145" y="1711317"/>
                </a:moveTo>
                <a:cubicBezTo>
                  <a:pt x="1018003" y="1712711"/>
                  <a:pt x="1019862" y="1713331"/>
                  <a:pt x="1019862" y="1714105"/>
                </a:cubicBezTo>
                <a:cubicBezTo>
                  <a:pt x="1020791" y="1713950"/>
                  <a:pt x="1021721" y="1714724"/>
                  <a:pt x="1022547" y="1714570"/>
                </a:cubicBezTo>
                <a:cubicBezTo>
                  <a:pt x="1022547" y="1714570"/>
                  <a:pt x="1022547" y="1714570"/>
                  <a:pt x="1022650" y="1715344"/>
                </a:cubicBezTo>
                <a:cubicBezTo>
                  <a:pt x="1019036" y="1715034"/>
                  <a:pt x="1014699" y="1716428"/>
                  <a:pt x="1012014" y="1715189"/>
                </a:cubicBezTo>
                <a:cubicBezTo>
                  <a:pt x="1011498" y="1714879"/>
                  <a:pt x="1011085" y="1714415"/>
                  <a:pt x="1010879" y="1713950"/>
                </a:cubicBezTo>
                <a:cubicBezTo>
                  <a:pt x="1010775" y="1713485"/>
                  <a:pt x="1010982" y="1712711"/>
                  <a:pt x="1011808" y="1711781"/>
                </a:cubicBezTo>
                <a:cubicBezTo>
                  <a:pt x="1012634" y="1710077"/>
                  <a:pt x="1013460" y="1709923"/>
                  <a:pt x="1016145" y="1711317"/>
                </a:cubicBezTo>
                <a:close/>
                <a:moveTo>
                  <a:pt x="1175675" y="1710852"/>
                </a:moveTo>
                <a:cubicBezTo>
                  <a:pt x="1176398" y="1710697"/>
                  <a:pt x="1177328" y="1710852"/>
                  <a:pt x="1178463" y="1711317"/>
                </a:cubicBezTo>
                <a:cubicBezTo>
                  <a:pt x="1179186" y="1711007"/>
                  <a:pt x="1181561" y="1713795"/>
                  <a:pt x="1181148" y="1714879"/>
                </a:cubicBezTo>
                <a:cubicBezTo>
                  <a:pt x="1180735" y="1717822"/>
                  <a:pt x="1177740" y="1717203"/>
                  <a:pt x="1174230" y="1717667"/>
                </a:cubicBezTo>
                <a:cubicBezTo>
                  <a:pt x="1174643" y="1716583"/>
                  <a:pt x="1173507" y="1716119"/>
                  <a:pt x="1172371" y="1715654"/>
                </a:cubicBezTo>
                <a:cubicBezTo>
                  <a:pt x="1172888" y="1713950"/>
                  <a:pt x="1173507" y="1711317"/>
                  <a:pt x="1175675" y="1710852"/>
                </a:cubicBezTo>
                <a:close/>
                <a:moveTo>
                  <a:pt x="1141395" y="1710852"/>
                </a:moveTo>
                <a:cubicBezTo>
                  <a:pt x="1141807" y="1711627"/>
                  <a:pt x="1143047" y="1711936"/>
                  <a:pt x="1143563" y="1712711"/>
                </a:cubicBezTo>
                <a:cubicBezTo>
                  <a:pt x="1142943" y="1715034"/>
                  <a:pt x="1139742" y="1714724"/>
                  <a:pt x="1139329" y="1713950"/>
                </a:cubicBezTo>
                <a:cubicBezTo>
                  <a:pt x="1139536" y="1712711"/>
                  <a:pt x="1141085" y="1711936"/>
                  <a:pt x="1141395" y="1710852"/>
                </a:cubicBezTo>
                <a:close/>
                <a:moveTo>
                  <a:pt x="803747" y="1710852"/>
                </a:moveTo>
                <a:cubicBezTo>
                  <a:pt x="806534" y="1712091"/>
                  <a:pt x="809116" y="1717977"/>
                  <a:pt x="807361" y="1720611"/>
                </a:cubicBezTo>
                <a:cubicBezTo>
                  <a:pt x="806844" y="1721540"/>
                  <a:pt x="805812" y="1722159"/>
                  <a:pt x="804160" y="1722159"/>
                </a:cubicBezTo>
                <a:cubicBezTo>
                  <a:pt x="799203" y="1721540"/>
                  <a:pt x="798687" y="1717357"/>
                  <a:pt x="798790" y="1712556"/>
                </a:cubicBezTo>
                <a:cubicBezTo>
                  <a:pt x="800649" y="1712246"/>
                  <a:pt x="801888" y="1711162"/>
                  <a:pt x="803747" y="1710852"/>
                </a:cubicBezTo>
                <a:close/>
                <a:moveTo>
                  <a:pt x="5216832" y="1710784"/>
                </a:moveTo>
                <a:cubicBezTo>
                  <a:pt x="5220461" y="1710214"/>
                  <a:pt x="5223449" y="1713486"/>
                  <a:pt x="5226223" y="1717328"/>
                </a:cubicBezTo>
                <a:cubicBezTo>
                  <a:pt x="5224729" y="1719604"/>
                  <a:pt x="5224302" y="1722022"/>
                  <a:pt x="5222808" y="1724299"/>
                </a:cubicBezTo>
                <a:cubicBezTo>
                  <a:pt x="5218966" y="1725722"/>
                  <a:pt x="5211497" y="1722022"/>
                  <a:pt x="5211070" y="1717470"/>
                </a:cubicBezTo>
                <a:cubicBezTo>
                  <a:pt x="5210857" y="1715905"/>
                  <a:pt x="5211283" y="1714198"/>
                  <a:pt x="5212991" y="1712491"/>
                </a:cubicBezTo>
                <a:cubicBezTo>
                  <a:pt x="5214485" y="1711495"/>
                  <a:pt x="5215765" y="1710926"/>
                  <a:pt x="5216832" y="1710784"/>
                </a:cubicBezTo>
                <a:close/>
                <a:moveTo>
                  <a:pt x="5314365" y="1710499"/>
                </a:moveTo>
                <a:cubicBezTo>
                  <a:pt x="5331012" y="1712064"/>
                  <a:pt x="5347232" y="1726860"/>
                  <a:pt x="5363238" y="1736818"/>
                </a:cubicBezTo>
                <a:cubicBezTo>
                  <a:pt x="5360464" y="1739806"/>
                  <a:pt x="5361317" y="1743647"/>
                  <a:pt x="5356196" y="1747204"/>
                </a:cubicBezTo>
                <a:cubicBezTo>
                  <a:pt x="5339335" y="1732551"/>
                  <a:pt x="5320768" y="1723303"/>
                  <a:pt x="5307322" y="1710641"/>
                </a:cubicBezTo>
                <a:cubicBezTo>
                  <a:pt x="5309670" y="1710356"/>
                  <a:pt x="5312017" y="1710214"/>
                  <a:pt x="5314365" y="1710499"/>
                </a:cubicBezTo>
                <a:close/>
                <a:moveTo>
                  <a:pt x="1233189" y="1710388"/>
                </a:moveTo>
                <a:cubicBezTo>
                  <a:pt x="1233809" y="1710233"/>
                  <a:pt x="1234429" y="1710388"/>
                  <a:pt x="1234738" y="1710852"/>
                </a:cubicBezTo>
                <a:cubicBezTo>
                  <a:pt x="1232776" y="1712401"/>
                  <a:pt x="1230504" y="1715499"/>
                  <a:pt x="1227200" y="1714415"/>
                </a:cubicBezTo>
                <a:cubicBezTo>
                  <a:pt x="1228749" y="1713331"/>
                  <a:pt x="1231331" y="1710852"/>
                  <a:pt x="1233189" y="1710388"/>
                </a:cubicBezTo>
                <a:close/>
                <a:moveTo>
                  <a:pt x="4698009" y="1710072"/>
                </a:moveTo>
                <a:cubicBezTo>
                  <a:pt x="4698009" y="1711210"/>
                  <a:pt x="4697369" y="1712348"/>
                  <a:pt x="4696301" y="1713344"/>
                </a:cubicBezTo>
                <a:cubicBezTo>
                  <a:pt x="4693313" y="1716758"/>
                  <a:pt x="4686698" y="1719888"/>
                  <a:pt x="4683283" y="1720885"/>
                </a:cubicBezTo>
                <a:cubicBezTo>
                  <a:pt x="4683283" y="1716616"/>
                  <a:pt x="4693313" y="1711352"/>
                  <a:pt x="4698009" y="1710072"/>
                </a:cubicBezTo>
                <a:close/>
                <a:moveTo>
                  <a:pt x="1493292" y="1709768"/>
                </a:moveTo>
                <a:cubicBezTo>
                  <a:pt x="1493705" y="1710388"/>
                  <a:pt x="1495357" y="1711317"/>
                  <a:pt x="1495047" y="1712556"/>
                </a:cubicBezTo>
                <a:lnTo>
                  <a:pt x="1494944" y="1712711"/>
                </a:lnTo>
                <a:lnTo>
                  <a:pt x="1496493" y="1713331"/>
                </a:lnTo>
                <a:cubicBezTo>
                  <a:pt x="1496802" y="1713950"/>
                  <a:pt x="1496699" y="1714879"/>
                  <a:pt x="1496493" y="1716428"/>
                </a:cubicBezTo>
                <a:lnTo>
                  <a:pt x="1503411" y="1712866"/>
                </a:lnTo>
                <a:cubicBezTo>
                  <a:pt x="1505682" y="1712091"/>
                  <a:pt x="1507644" y="1711317"/>
                  <a:pt x="1509090" y="1711162"/>
                </a:cubicBezTo>
                <a:cubicBezTo>
                  <a:pt x="1504134" y="1717357"/>
                  <a:pt x="1495563" y="1727426"/>
                  <a:pt x="1487923" y="1729904"/>
                </a:cubicBezTo>
                <a:cubicBezTo>
                  <a:pt x="1487406" y="1728820"/>
                  <a:pt x="1487303" y="1727736"/>
                  <a:pt x="1487406" y="1726806"/>
                </a:cubicBezTo>
                <a:cubicBezTo>
                  <a:pt x="1487612" y="1724948"/>
                  <a:pt x="1488748" y="1723089"/>
                  <a:pt x="1490297" y="1721385"/>
                </a:cubicBezTo>
                <a:lnTo>
                  <a:pt x="1492879" y="1719371"/>
                </a:lnTo>
                <a:lnTo>
                  <a:pt x="1492569" y="1718597"/>
                </a:lnTo>
                <a:cubicBezTo>
                  <a:pt x="1491846" y="1716893"/>
                  <a:pt x="1491330" y="1715189"/>
                  <a:pt x="1491536" y="1713640"/>
                </a:cubicBezTo>
                <a:cubicBezTo>
                  <a:pt x="1491743" y="1713176"/>
                  <a:pt x="1491846" y="1712556"/>
                  <a:pt x="1492259" y="1712246"/>
                </a:cubicBezTo>
                <a:lnTo>
                  <a:pt x="1492879" y="1712401"/>
                </a:lnTo>
                <a:lnTo>
                  <a:pt x="1492775" y="1712091"/>
                </a:lnTo>
                <a:cubicBezTo>
                  <a:pt x="1492775" y="1711472"/>
                  <a:pt x="1492982" y="1710852"/>
                  <a:pt x="1493292" y="1709768"/>
                </a:cubicBezTo>
                <a:close/>
                <a:moveTo>
                  <a:pt x="5108842" y="1709645"/>
                </a:moveTo>
                <a:cubicBezTo>
                  <a:pt x="5110122" y="1709788"/>
                  <a:pt x="5111189" y="1709788"/>
                  <a:pt x="5112470" y="1711068"/>
                </a:cubicBezTo>
                <a:cubicBezTo>
                  <a:pt x="5113537" y="1712206"/>
                  <a:pt x="5112470" y="1712206"/>
                  <a:pt x="5113537" y="1712206"/>
                </a:cubicBezTo>
                <a:cubicBezTo>
                  <a:pt x="5114818" y="1713486"/>
                  <a:pt x="5114818" y="1712348"/>
                  <a:pt x="5114818" y="1712348"/>
                </a:cubicBezTo>
                <a:cubicBezTo>
                  <a:pt x="5114818" y="1712348"/>
                  <a:pt x="5114818" y="1713486"/>
                  <a:pt x="5114818" y="1713486"/>
                </a:cubicBezTo>
                <a:cubicBezTo>
                  <a:pt x="5114818" y="1713486"/>
                  <a:pt x="5114818" y="1713486"/>
                  <a:pt x="5117165" y="1716047"/>
                </a:cubicBezTo>
                <a:lnTo>
                  <a:pt x="5118232" y="1716474"/>
                </a:lnTo>
                <a:lnTo>
                  <a:pt x="5118659" y="1716758"/>
                </a:lnTo>
                <a:lnTo>
                  <a:pt x="5121220" y="1718324"/>
                </a:lnTo>
                <a:cubicBezTo>
                  <a:pt x="5122287" y="1718893"/>
                  <a:pt x="5123141" y="1719177"/>
                  <a:pt x="5124422" y="1719888"/>
                </a:cubicBezTo>
                <a:cubicBezTo>
                  <a:pt x="5126769" y="1722450"/>
                  <a:pt x="5126983" y="1723587"/>
                  <a:pt x="5129330" y="1727287"/>
                </a:cubicBezTo>
                <a:cubicBezTo>
                  <a:pt x="5128263" y="1729563"/>
                  <a:pt x="5128263" y="1729563"/>
                  <a:pt x="5127196" y="1729563"/>
                </a:cubicBezTo>
                <a:cubicBezTo>
                  <a:pt x="5128263" y="1729563"/>
                  <a:pt x="5128263" y="1730701"/>
                  <a:pt x="5129543" y="1731981"/>
                </a:cubicBezTo>
                <a:cubicBezTo>
                  <a:pt x="5132531" y="1733831"/>
                  <a:pt x="5133598" y="1736392"/>
                  <a:pt x="5133172" y="1738953"/>
                </a:cubicBezTo>
                <a:lnTo>
                  <a:pt x="5130184" y="1744928"/>
                </a:lnTo>
                <a:lnTo>
                  <a:pt x="5132531" y="1746351"/>
                </a:lnTo>
                <a:cubicBezTo>
                  <a:pt x="5132531" y="1748058"/>
                  <a:pt x="5132958" y="1750619"/>
                  <a:pt x="5131891" y="1753179"/>
                </a:cubicBezTo>
                <a:cubicBezTo>
                  <a:pt x="5126769" y="1756309"/>
                  <a:pt x="5122714" y="1755171"/>
                  <a:pt x="5119727" y="1751614"/>
                </a:cubicBezTo>
                <a:lnTo>
                  <a:pt x="5120367" y="1750334"/>
                </a:lnTo>
                <a:lnTo>
                  <a:pt x="5118872" y="1750192"/>
                </a:lnTo>
                <a:cubicBezTo>
                  <a:pt x="5117592" y="1749907"/>
                  <a:pt x="5116312" y="1749196"/>
                  <a:pt x="5115244" y="1747916"/>
                </a:cubicBezTo>
                <a:cubicBezTo>
                  <a:pt x="5111616" y="1744217"/>
                  <a:pt x="5108842" y="1735823"/>
                  <a:pt x="5112256" y="1732408"/>
                </a:cubicBezTo>
                <a:lnTo>
                  <a:pt x="5113751" y="1731128"/>
                </a:lnTo>
                <a:lnTo>
                  <a:pt x="5112256" y="1729563"/>
                </a:lnTo>
                <a:cubicBezTo>
                  <a:pt x="5110336" y="1726006"/>
                  <a:pt x="5110122" y="1721595"/>
                  <a:pt x="5112684" y="1718893"/>
                </a:cubicBezTo>
                <a:lnTo>
                  <a:pt x="5113537" y="1718466"/>
                </a:lnTo>
                <a:lnTo>
                  <a:pt x="5112897" y="1717755"/>
                </a:lnTo>
                <a:cubicBezTo>
                  <a:pt x="5110336" y="1714483"/>
                  <a:pt x="5108415" y="1711495"/>
                  <a:pt x="5108842" y="1709645"/>
                </a:cubicBezTo>
                <a:close/>
                <a:moveTo>
                  <a:pt x="1129727" y="1709303"/>
                </a:moveTo>
                <a:cubicBezTo>
                  <a:pt x="1131689" y="1709458"/>
                  <a:pt x="1130553" y="1712711"/>
                  <a:pt x="1130862" y="1713485"/>
                </a:cubicBezTo>
                <a:cubicBezTo>
                  <a:pt x="1130553" y="1714570"/>
                  <a:pt x="1130139" y="1715654"/>
                  <a:pt x="1129004" y="1715189"/>
                </a:cubicBezTo>
                <a:cubicBezTo>
                  <a:pt x="1127765" y="1714724"/>
                  <a:pt x="1127042" y="1715034"/>
                  <a:pt x="1127042" y="1713176"/>
                </a:cubicBezTo>
                <a:cubicBezTo>
                  <a:pt x="1126629" y="1712401"/>
                  <a:pt x="1127042" y="1711317"/>
                  <a:pt x="1126629" y="1710542"/>
                </a:cubicBezTo>
                <a:cubicBezTo>
                  <a:pt x="1126629" y="1710542"/>
                  <a:pt x="1127145" y="1710077"/>
                  <a:pt x="1127765" y="1709768"/>
                </a:cubicBezTo>
                <a:cubicBezTo>
                  <a:pt x="1128384" y="1709303"/>
                  <a:pt x="1129210" y="1708993"/>
                  <a:pt x="1129727" y="1709303"/>
                </a:cubicBezTo>
                <a:close/>
                <a:moveTo>
                  <a:pt x="1466548" y="1709148"/>
                </a:moveTo>
                <a:cubicBezTo>
                  <a:pt x="1467788" y="1708684"/>
                  <a:pt x="1469336" y="1708684"/>
                  <a:pt x="1471092" y="1709613"/>
                </a:cubicBezTo>
                <a:cubicBezTo>
                  <a:pt x="1474086" y="1710542"/>
                  <a:pt x="1475325" y="1713795"/>
                  <a:pt x="1478630" y="1715654"/>
                </a:cubicBezTo>
                <a:cubicBezTo>
                  <a:pt x="1477390" y="1719526"/>
                  <a:pt x="1476874" y="1720455"/>
                  <a:pt x="1472228" y="1719991"/>
                </a:cubicBezTo>
                <a:cubicBezTo>
                  <a:pt x="1472228" y="1719991"/>
                  <a:pt x="1471092" y="1719371"/>
                  <a:pt x="1471092" y="1719371"/>
                </a:cubicBezTo>
                <a:cubicBezTo>
                  <a:pt x="1466858" y="1717822"/>
                  <a:pt x="1463451" y="1713331"/>
                  <a:pt x="1463657" y="1711472"/>
                </a:cubicBezTo>
                <a:cubicBezTo>
                  <a:pt x="1464173" y="1710542"/>
                  <a:pt x="1465206" y="1709613"/>
                  <a:pt x="1466548" y="1709148"/>
                </a:cubicBezTo>
                <a:close/>
                <a:moveTo>
                  <a:pt x="5178417" y="1708934"/>
                </a:moveTo>
                <a:cubicBezTo>
                  <a:pt x="5185673" y="1714056"/>
                  <a:pt x="5186527" y="1733119"/>
                  <a:pt x="5183112" y="1736534"/>
                </a:cubicBezTo>
                <a:cubicBezTo>
                  <a:pt x="5181191" y="1734684"/>
                  <a:pt x="5180551" y="1732551"/>
                  <a:pt x="5179910" y="1730274"/>
                </a:cubicBezTo>
                <a:lnTo>
                  <a:pt x="5178844" y="1727856"/>
                </a:lnTo>
                <a:lnTo>
                  <a:pt x="5179057" y="1730843"/>
                </a:lnTo>
                <a:cubicBezTo>
                  <a:pt x="5176496" y="1731555"/>
                  <a:pt x="5173935" y="1732266"/>
                  <a:pt x="5171801" y="1731412"/>
                </a:cubicBezTo>
                <a:cubicBezTo>
                  <a:pt x="5172014" y="1727998"/>
                  <a:pt x="5171587" y="1725437"/>
                  <a:pt x="5172654" y="1722876"/>
                </a:cubicBezTo>
                <a:cubicBezTo>
                  <a:pt x="5174148" y="1722307"/>
                  <a:pt x="5175215" y="1722165"/>
                  <a:pt x="5176282" y="1722450"/>
                </a:cubicBezTo>
                <a:lnTo>
                  <a:pt x="5176709" y="1722592"/>
                </a:lnTo>
                <a:lnTo>
                  <a:pt x="5177136" y="1716474"/>
                </a:lnTo>
                <a:cubicBezTo>
                  <a:pt x="5176923" y="1713913"/>
                  <a:pt x="5176709" y="1711210"/>
                  <a:pt x="5178417" y="1708934"/>
                </a:cubicBezTo>
                <a:close/>
                <a:moveTo>
                  <a:pt x="6129415" y="1708649"/>
                </a:moveTo>
                <a:cubicBezTo>
                  <a:pt x="6133257" y="1709219"/>
                  <a:pt x="6135177" y="1710499"/>
                  <a:pt x="6136031" y="1712064"/>
                </a:cubicBezTo>
                <a:cubicBezTo>
                  <a:pt x="6138379" y="1716758"/>
                  <a:pt x="6129842" y="1724441"/>
                  <a:pt x="6126214" y="1729989"/>
                </a:cubicBezTo>
                <a:cubicBezTo>
                  <a:pt x="6121305" y="1728994"/>
                  <a:pt x="6119811" y="1728140"/>
                  <a:pt x="6116610" y="1724299"/>
                </a:cubicBezTo>
                <a:cubicBezTo>
                  <a:pt x="6118744" y="1716474"/>
                  <a:pt x="6124080" y="1712633"/>
                  <a:pt x="6129415" y="1708649"/>
                </a:cubicBezTo>
                <a:close/>
                <a:moveTo>
                  <a:pt x="4625446" y="1708649"/>
                </a:moveTo>
                <a:cubicBezTo>
                  <a:pt x="4625660" y="1709788"/>
                  <a:pt x="4626087" y="1711068"/>
                  <a:pt x="4625019" y="1711495"/>
                </a:cubicBezTo>
                <a:cubicBezTo>
                  <a:pt x="4624166" y="1711779"/>
                  <a:pt x="4623739" y="1710499"/>
                  <a:pt x="4624379" y="1708934"/>
                </a:cubicBezTo>
                <a:cubicBezTo>
                  <a:pt x="4624379" y="1708934"/>
                  <a:pt x="4625446" y="1708649"/>
                  <a:pt x="4625446" y="1708649"/>
                </a:cubicBezTo>
                <a:close/>
                <a:moveTo>
                  <a:pt x="1392824" y="1708374"/>
                </a:moveTo>
                <a:cubicBezTo>
                  <a:pt x="1393339" y="1711472"/>
                  <a:pt x="1397160" y="1710697"/>
                  <a:pt x="1395714" y="1714105"/>
                </a:cubicBezTo>
                <a:cubicBezTo>
                  <a:pt x="1394475" y="1715189"/>
                  <a:pt x="1392617" y="1715499"/>
                  <a:pt x="1389519" y="1714570"/>
                </a:cubicBezTo>
                <a:cubicBezTo>
                  <a:pt x="1389106" y="1713485"/>
                  <a:pt x="1388900" y="1712556"/>
                  <a:pt x="1388900" y="1711936"/>
                </a:cubicBezTo>
                <a:cubicBezTo>
                  <a:pt x="1389003" y="1709768"/>
                  <a:pt x="1390965" y="1709148"/>
                  <a:pt x="1392824" y="1708374"/>
                </a:cubicBezTo>
                <a:close/>
                <a:moveTo>
                  <a:pt x="1155747" y="1708219"/>
                </a:moveTo>
                <a:cubicBezTo>
                  <a:pt x="1158741" y="1710852"/>
                  <a:pt x="1159464" y="1711781"/>
                  <a:pt x="1157090" y="1715809"/>
                </a:cubicBezTo>
                <a:cubicBezTo>
                  <a:pt x="1157090" y="1715809"/>
                  <a:pt x="1156160" y="1716583"/>
                  <a:pt x="1156160" y="1716583"/>
                </a:cubicBezTo>
                <a:cubicBezTo>
                  <a:pt x="1152959" y="1719836"/>
                  <a:pt x="1147487" y="1721075"/>
                  <a:pt x="1145938" y="1720146"/>
                </a:cubicBezTo>
                <a:cubicBezTo>
                  <a:pt x="1145215" y="1719216"/>
                  <a:pt x="1144699" y="1717977"/>
                  <a:pt x="1144802" y="1716583"/>
                </a:cubicBezTo>
                <a:cubicBezTo>
                  <a:pt x="1145008" y="1715189"/>
                  <a:pt x="1145628" y="1713795"/>
                  <a:pt x="1147177" y="1712711"/>
                </a:cubicBezTo>
                <a:cubicBezTo>
                  <a:pt x="1149345" y="1710233"/>
                  <a:pt x="1152753" y="1710542"/>
                  <a:pt x="1155747" y="1708219"/>
                </a:cubicBezTo>
                <a:close/>
                <a:moveTo>
                  <a:pt x="1492053" y="1707754"/>
                </a:moveTo>
                <a:cubicBezTo>
                  <a:pt x="1492672" y="1707289"/>
                  <a:pt x="1493189" y="1708064"/>
                  <a:pt x="1492982" y="1709148"/>
                </a:cubicBezTo>
                <a:cubicBezTo>
                  <a:pt x="1492982" y="1709148"/>
                  <a:pt x="1492362" y="1709613"/>
                  <a:pt x="1492362" y="1709613"/>
                </a:cubicBezTo>
                <a:cubicBezTo>
                  <a:pt x="1492053" y="1709303"/>
                  <a:pt x="1491846" y="1708838"/>
                  <a:pt x="1491743" y="1708528"/>
                </a:cubicBezTo>
                <a:cubicBezTo>
                  <a:pt x="1491639" y="1708219"/>
                  <a:pt x="1491639" y="1707909"/>
                  <a:pt x="1492053" y="1707754"/>
                </a:cubicBezTo>
                <a:close/>
                <a:moveTo>
                  <a:pt x="5088994" y="1707654"/>
                </a:moveTo>
                <a:cubicBezTo>
                  <a:pt x="5089421" y="1707369"/>
                  <a:pt x="5090488" y="1707511"/>
                  <a:pt x="5091555" y="1707654"/>
                </a:cubicBezTo>
                <a:cubicBezTo>
                  <a:pt x="5092622" y="1707796"/>
                  <a:pt x="5093902" y="1708080"/>
                  <a:pt x="5094543" y="1708364"/>
                </a:cubicBezTo>
                <a:cubicBezTo>
                  <a:pt x="5095610" y="1707796"/>
                  <a:pt x="5097104" y="1708080"/>
                  <a:pt x="5097744" y="1709076"/>
                </a:cubicBezTo>
                <a:cubicBezTo>
                  <a:pt x="5097744" y="1709076"/>
                  <a:pt x="5099451" y="1709503"/>
                  <a:pt x="5100305" y="1708934"/>
                </a:cubicBezTo>
                <a:cubicBezTo>
                  <a:pt x="5103506" y="1709788"/>
                  <a:pt x="5104147" y="1710641"/>
                  <a:pt x="5104787" y="1711779"/>
                </a:cubicBezTo>
                <a:cubicBezTo>
                  <a:pt x="5104787" y="1711779"/>
                  <a:pt x="5103293" y="1711352"/>
                  <a:pt x="5102439" y="1711921"/>
                </a:cubicBezTo>
                <a:cubicBezTo>
                  <a:pt x="5102439" y="1711921"/>
                  <a:pt x="5100732" y="1711637"/>
                  <a:pt x="5099238" y="1711210"/>
                </a:cubicBezTo>
                <a:cubicBezTo>
                  <a:pt x="5099238" y="1711210"/>
                  <a:pt x="5098171" y="1711779"/>
                  <a:pt x="5097317" y="1712348"/>
                </a:cubicBezTo>
                <a:cubicBezTo>
                  <a:pt x="5093262" y="1712206"/>
                  <a:pt x="5090701" y="1712348"/>
                  <a:pt x="5088994" y="1707654"/>
                </a:cubicBezTo>
                <a:close/>
                <a:moveTo>
                  <a:pt x="4717430" y="1706942"/>
                </a:moveTo>
                <a:cubicBezTo>
                  <a:pt x="4717857" y="1707084"/>
                  <a:pt x="4718497" y="1707511"/>
                  <a:pt x="4719138" y="1708080"/>
                </a:cubicBezTo>
                <a:cubicBezTo>
                  <a:pt x="4721485" y="1709361"/>
                  <a:pt x="4720418" y="1711637"/>
                  <a:pt x="4722766" y="1714198"/>
                </a:cubicBezTo>
                <a:cubicBezTo>
                  <a:pt x="4727674" y="1718039"/>
                  <a:pt x="4734290" y="1708792"/>
                  <a:pt x="4743894" y="1716332"/>
                </a:cubicBezTo>
                <a:cubicBezTo>
                  <a:pt x="4741547" y="1718608"/>
                  <a:pt x="4746668" y="1724868"/>
                  <a:pt x="4743254" y="1728282"/>
                </a:cubicBezTo>
                <a:lnTo>
                  <a:pt x="4740906" y="1730701"/>
                </a:lnTo>
                <a:lnTo>
                  <a:pt x="4743680" y="1731128"/>
                </a:lnTo>
                <a:cubicBezTo>
                  <a:pt x="4742187" y="1740517"/>
                  <a:pt x="4737278" y="1750761"/>
                  <a:pt x="4735997" y="1753037"/>
                </a:cubicBezTo>
                <a:cubicBezTo>
                  <a:pt x="4735357" y="1754175"/>
                  <a:pt x="4734717" y="1754745"/>
                  <a:pt x="4734077" y="1754745"/>
                </a:cubicBezTo>
                <a:cubicBezTo>
                  <a:pt x="4733437" y="1754745"/>
                  <a:pt x="4732369" y="1754460"/>
                  <a:pt x="4731302" y="1753606"/>
                </a:cubicBezTo>
                <a:cubicBezTo>
                  <a:pt x="4730449" y="1752326"/>
                  <a:pt x="4730022" y="1751046"/>
                  <a:pt x="4730022" y="1749907"/>
                </a:cubicBezTo>
                <a:lnTo>
                  <a:pt x="4729168" y="1750334"/>
                </a:lnTo>
                <a:lnTo>
                  <a:pt x="4729168" y="1750619"/>
                </a:lnTo>
                <a:cubicBezTo>
                  <a:pt x="4727888" y="1755029"/>
                  <a:pt x="4725326" y="1759012"/>
                  <a:pt x="4724900" y="1760720"/>
                </a:cubicBezTo>
                <a:cubicBezTo>
                  <a:pt x="4724900" y="1760720"/>
                  <a:pt x="4724900" y="1762000"/>
                  <a:pt x="4723833" y="1763138"/>
                </a:cubicBezTo>
                <a:cubicBezTo>
                  <a:pt x="4722766" y="1765414"/>
                  <a:pt x="4721485" y="1761858"/>
                  <a:pt x="4720418" y="1762996"/>
                </a:cubicBezTo>
                <a:lnTo>
                  <a:pt x="4720631" y="1754175"/>
                </a:lnTo>
                <a:lnTo>
                  <a:pt x="4713588" y="1753748"/>
                </a:lnTo>
                <a:cubicBezTo>
                  <a:pt x="4709960" y="1746919"/>
                  <a:pt x="4714869" y="1737957"/>
                  <a:pt x="4720845" y="1732408"/>
                </a:cubicBezTo>
                <a:lnTo>
                  <a:pt x="4721271" y="1731839"/>
                </a:lnTo>
                <a:lnTo>
                  <a:pt x="4720845" y="1731697"/>
                </a:lnTo>
                <a:cubicBezTo>
                  <a:pt x="4719351" y="1732551"/>
                  <a:pt x="4718283" y="1736107"/>
                  <a:pt x="4715509" y="1734258"/>
                </a:cubicBezTo>
                <a:cubicBezTo>
                  <a:pt x="4710174" y="1729421"/>
                  <a:pt x="4711668" y="1721027"/>
                  <a:pt x="4712735" y="1716616"/>
                </a:cubicBezTo>
                <a:lnTo>
                  <a:pt x="4713375" y="1714056"/>
                </a:lnTo>
                <a:lnTo>
                  <a:pt x="4712308" y="1714056"/>
                </a:lnTo>
                <a:lnTo>
                  <a:pt x="4713375" y="1712917"/>
                </a:lnTo>
                <a:lnTo>
                  <a:pt x="4713375" y="1712633"/>
                </a:lnTo>
                <a:cubicBezTo>
                  <a:pt x="4714655" y="1712633"/>
                  <a:pt x="4714442" y="1711352"/>
                  <a:pt x="4713375" y="1711352"/>
                </a:cubicBezTo>
                <a:cubicBezTo>
                  <a:pt x="4714442" y="1709645"/>
                  <a:pt x="4715296" y="1708222"/>
                  <a:pt x="4716150" y="1707511"/>
                </a:cubicBezTo>
                <a:cubicBezTo>
                  <a:pt x="4716576" y="1707084"/>
                  <a:pt x="4717003" y="1706942"/>
                  <a:pt x="4717430" y="1706942"/>
                </a:cubicBezTo>
                <a:close/>
                <a:moveTo>
                  <a:pt x="3587373" y="1706800"/>
                </a:moveTo>
                <a:cubicBezTo>
                  <a:pt x="3588866" y="1708507"/>
                  <a:pt x="3588013" y="1713486"/>
                  <a:pt x="3587586" y="1716901"/>
                </a:cubicBezTo>
                <a:cubicBezTo>
                  <a:pt x="3584812" y="1719320"/>
                  <a:pt x="3580970" y="1720173"/>
                  <a:pt x="3576915" y="1719320"/>
                </a:cubicBezTo>
                <a:cubicBezTo>
                  <a:pt x="3577982" y="1712633"/>
                  <a:pt x="3581610" y="1709219"/>
                  <a:pt x="3587373" y="1706800"/>
                </a:cubicBezTo>
                <a:close/>
                <a:moveTo>
                  <a:pt x="1524475" y="1706670"/>
                </a:moveTo>
                <a:cubicBezTo>
                  <a:pt x="1526437" y="1706515"/>
                  <a:pt x="1525714" y="1708684"/>
                  <a:pt x="1525404" y="1709768"/>
                </a:cubicBezTo>
                <a:cubicBezTo>
                  <a:pt x="1524165" y="1707754"/>
                  <a:pt x="1522926" y="1707444"/>
                  <a:pt x="1523752" y="1706980"/>
                </a:cubicBezTo>
                <a:cubicBezTo>
                  <a:pt x="1523236" y="1706360"/>
                  <a:pt x="1524062" y="1705895"/>
                  <a:pt x="1524475" y="1706670"/>
                </a:cubicBezTo>
                <a:close/>
                <a:moveTo>
                  <a:pt x="3668899" y="1706657"/>
                </a:moveTo>
                <a:lnTo>
                  <a:pt x="3670393" y="1709219"/>
                </a:lnTo>
                <a:lnTo>
                  <a:pt x="3676795" y="1710499"/>
                </a:lnTo>
                <a:cubicBezTo>
                  <a:pt x="3678716" y="1711779"/>
                  <a:pt x="3680424" y="1713629"/>
                  <a:pt x="3682344" y="1715336"/>
                </a:cubicBezTo>
                <a:cubicBezTo>
                  <a:pt x="3684691" y="1718608"/>
                  <a:pt x="3684905" y="1721169"/>
                  <a:pt x="3683838" y="1723303"/>
                </a:cubicBezTo>
                <a:lnTo>
                  <a:pt x="3678716" y="1727714"/>
                </a:lnTo>
                <a:lnTo>
                  <a:pt x="3679356" y="1731128"/>
                </a:lnTo>
                <a:cubicBezTo>
                  <a:pt x="3679143" y="1733831"/>
                  <a:pt x="3677863" y="1736392"/>
                  <a:pt x="3674875" y="1738241"/>
                </a:cubicBezTo>
                <a:cubicBezTo>
                  <a:pt x="3674234" y="1736534"/>
                  <a:pt x="3672954" y="1734116"/>
                  <a:pt x="3671673" y="1731128"/>
                </a:cubicBezTo>
                <a:lnTo>
                  <a:pt x="3671033" y="1729705"/>
                </a:lnTo>
                <a:lnTo>
                  <a:pt x="3670820" y="1729705"/>
                </a:lnTo>
                <a:cubicBezTo>
                  <a:pt x="3669325" y="1729279"/>
                  <a:pt x="3668472" y="1728282"/>
                  <a:pt x="3668472" y="1728282"/>
                </a:cubicBezTo>
                <a:cubicBezTo>
                  <a:pt x="3666124" y="1725152"/>
                  <a:pt x="3664844" y="1721738"/>
                  <a:pt x="3665057" y="1718324"/>
                </a:cubicBezTo>
                <a:lnTo>
                  <a:pt x="3666338" y="1716190"/>
                </a:lnTo>
                <a:lnTo>
                  <a:pt x="3665697" y="1712633"/>
                </a:lnTo>
                <a:cubicBezTo>
                  <a:pt x="3665697" y="1710072"/>
                  <a:pt x="3666551" y="1707938"/>
                  <a:pt x="3668899" y="1706657"/>
                </a:cubicBezTo>
                <a:close/>
                <a:moveTo>
                  <a:pt x="1770535" y="1706515"/>
                </a:moveTo>
                <a:cubicBezTo>
                  <a:pt x="1772600" y="1707599"/>
                  <a:pt x="1774149" y="1708993"/>
                  <a:pt x="1774871" y="1710852"/>
                </a:cubicBezTo>
                <a:cubicBezTo>
                  <a:pt x="1775594" y="1712556"/>
                  <a:pt x="1775491" y="1714724"/>
                  <a:pt x="1774355" y="1717203"/>
                </a:cubicBezTo>
                <a:cubicBezTo>
                  <a:pt x="1770431" y="1719371"/>
                  <a:pt x="1766714" y="1715499"/>
                  <a:pt x="1764339" y="1713640"/>
                </a:cubicBezTo>
                <a:cubicBezTo>
                  <a:pt x="1766198" y="1710542"/>
                  <a:pt x="1768057" y="1707444"/>
                  <a:pt x="1770535" y="1706515"/>
                </a:cubicBezTo>
                <a:close/>
                <a:moveTo>
                  <a:pt x="1441664" y="1706515"/>
                </a:moveTo>
                <a:cubicBezTo>
                  <a:pt x="1443626" y="1706515"/>
                  <a:pt x="1446826" y="1706050"/>
                  <a:pt x="1448582" y="1709768"/>
                </a:cubicBezTo>
                <a:cubicBezTo>
                  <a:pt x="1448995" y="1710852"/>
                  <a:pt x="1448995" y="1711007"/>
                  <a:pt x="1448582" y="1711781"/>
                </a:cubicBezTo>
                <a:cubicBezTo>
                  <a:pt x="1448478" y="1713640"/>
                  <a:pt x="1448788" y="1714724"/>
                  <a:pt x="1447136" y="1715964"/>
                </a:cubicBezTo>
                <a:cubicBezTo>
                  <a:pt x="1445691" y="1716738"/>
                  <a:pt x="1444761" y="1716583"/>
                  <a:pt x="1443935" y="1716119"/>
                </a:cubicBezTo>
                <a:cubicBezTo>
                  <a:pt x="1443109" y="1715654"/>
                  <a:pt x="1442386" y="1714724"/>
                  <a:pt x="1441664" y="1713331"/>
                </a:cubicBezTo>
                <a:cubicBezTo>
                  <a:pt x="1440941" y="1712091"/>
                  <a:pt x="1441147" y="1710852"/>
                  <a:pt x="1441354" y="1709768"/>
                </a:cubicBezTo>
                <a:cubicBezTo>
                  <a:pt x="1441664" y="1708684"/>
                  <a:pt x="1441973" y="1707599"/>
                  <a:pt x="1441664" y="1706515"/>
                </a:cubicBezTo>
                <a:close/>
                <a:moveTo>
                  <a:pt x="5637909" y="1706231"/>
                </a:moveTo>
                <a:cubicBezTo>
                  <a:pt x="5646020" y="1706800"/>
                  <a:pt x="5654556" y="1712206"/>
                  <a:pt x="5658611" y="1725437"/>
                </a:cubicBezTo>
                <a:cubicBezTo>
                  <a:pt x="5648794" y="1738099"/>
                  <a:pt x="5631721" y="1742082"/>
                  <a:pt x="5621903" y="1732124"/>
                </a:cubicBezTo>
                <a:cubicBezTo>
                  <a:pt x="5619342" y="1728567"/>
                  <a:pt x="5618062" y="1725152"/>
                  <a:pt x="5618062" y="1722022"/>
                </a:cubicBezTo>
                <a:lnTo>
                  <a:pt x="5620195" y="1715478"/>
                </a:lnTo>
                <a:lnTo>
                  <a:pt x="5619769" y="1714625"/>
                </a:lnTo>
                <a:lnTo>
                  <a:pt x="5620409" y="1714340"/>
                </a:lnTo>
                <a:lnTo>
                  <a:pt x="5620836" y="1713629"/>
                </a:lnTo>
                <a:cubicBezTo>
                  <a:pt x="5624251" y="1708792"/>
                  <a:pt x="5630866" y="1705804"/>
                  <a:pt x="5637909" y="1706231"/>
                </a:cubicBezTo>
                <a:close/>
                <a:moveTo>
                  <a:pt x="1190235" y="1705895"/>
                </a:moveTo>
                <a:cubicBezTo>
                  <a:pt x="1193745" y="1706360"/>
                  <a:pt x="1196120" y="1710077"/>
                  <a:pt x="1196327" y="1713331"/>
                </a:cubicBezTo>
                <a:lnTo>
                  <a:pt x="1196120" y="1714415"/>
                </a:lnTo>
                <a:lnTo>
                  <a:pt x="1197050" y="1716583"/>
                </a:lnTo>
                <a:cubicBezTo>
                  <a:pt x="1196843" y="1717667"/>
                  <a:pt x="1196224" y="1718597"/>
                  <a:pt x="1194674" y="1719062"/>
                </a:cubicBezTo>
                <a:cubicBezTo>
                  <a:pt x="1190028" y="1720301"/>
                  <a:pt x="1187963" y="1716583"/>
                  <a:pt x="1186207" y="1711936"/>
                </a:cubicBezTo>
                <a:cubicBezTo>
                  <a:pt x="1187757" y="1711007"/>
                  <a:pt x="1188376" y="1709458"/>
                  <a:pt x="1189925" y="1708528"/>
                </a:cubicBezTo>
                <a:lnTo>
                  <a:pt x="1190028" y="1708528"/>
                </a:lnTo>
                <a:close/>
                <a:moveTo>
                  <a:pt x="6228869" y="1705804"/>
                </a:moveTo>
                <a:cubicBezTo>
                  <a:pt x="6237619" y="1706800"/>
                  <a:pt x="6232070" y="1719320"/>
                  <a:pt x="6231643" y="1726575"/>
                </a:cubicBezTo>
                <a:cubicBezTo>
                  <a:pt x="6226521" y="1727571"/>
                  <a:pt x="6225027" y="1727287"/>
                  <a:pt x="6220119" y="1725010"/>
                </a:cubicBezTo>
                <a:cubicBezTo>
                  <a:pt x="6218412" y="1717043"/>
                  <a:pt x="6221186" y="1711637"/>
                  <a:pt x="6224174" y="1706089"/>
                </a:cubicBezTo>
                <a:cubicBezTo>
                  <a:pt x="6225881" y="1705804"/>
                  <a:pt x="6227588" y="1705662"/>
                  <a:pt x="6228869" y="1705804"/>
                </a:cubicBezTo>
                <a:close/>
                <a:moveTo>
                  <a:pt x="5869043" y="1705662"/>
                </a:moveTo>
                <a:cubicBezTo>
                  <a:pt x="5869257" y="1705662"/>
                  <a:pt x="5869470" y="1705946"/>
                  <a:pt x="5869470" y="1706515"/>
                </a:cubicBezTo>
                <a:cubicBezTo>
                  <a:pt x="5871604" y="1707654"/>
                  <a:pt x="5869043" y="1709930"/>
                  <a:pt x="5867976" y="1711068"/>
                </a:cubicBezTo>
                <a:cubicBezTo>
                  <a:pt x="5868190" y="1707654"/>
                  <a:pt x="5867122" y="1706515"/>
                  <a:pt x="5868403" y="1706515"/>
                </a:cubicBezTo>
                <a:cubicBezTo>
                  <a:pt x="5868403" y="1705946"/>
                  <a:pt x="5868830" y="1705662"/>
                  <a:pt x="5869043" y="1705662"/>
                </a:cubicBezTo>
                <a:close/>
                <a:moveTo>
                  <a:pt x="5695533" y="1705377"/>
                </a:moveTo>
                <a:cubicBezTo>
                  <a:pt x="5697027" y="1706800"/>
                  <a:pt x="5697667" y="1707938"/>
                  <a:pt x="5697880" y="1709219"/>
                </a:cubicBezTo>
                <a:cubicBezTo>
                  <a:pt x="5698521" y="1713059"/>
                  <a:pt x="5694252" y="1716474"/>
                  <a:pt x="5691691" y="1720885"/>
                </a:cubicBezTo>
                <a:cubicBezTo>
                  <a:pt x="5689344" y="1718181"/>
                  <a:pt x="5688490" y="1715763"/>
                  <a:pt x="5689344" y="1713202"/>
                </a:cubicBezTo>
                <a:cubicBezTo>
                  <a:pt x="5689984" y="1710641"/>
                  <a:pt x="5692118" y="1708222"/>
                  <a:pt x="5695533" y="1705377"/>
                </a:cubicBezTo>
                <a:close/>
                <a:moveTo>
                  <a:pt x="1489781" y="1704346"/>
                </a:moveTo>
                <a:cubicBezTo>
                  <a:pt x="1489781" y="1704346"/>
                  <a:pt x="1490917" y="1704501"/>
                  <a:pt x="1490917" y="1704501"/>
                </a:cubicBezTo>
                <a:cubicBezTo>
                  <a:pt x="1490710" y="1705740"/>
                  <a:pt x="1491433" y="1705276"/>
                  <a:pt x="1490091" y="1706205"/>
                </a:cubicBezTo>
                <a:cubicBezTo>
                  <a:pt x="1490297" y="1704966"/>
                  <a:pt x="1490297" y="1704966"/>
                  <a:pt x="1489781" y="1704346"/>
                </a:cubicBezTo>
                <a:close/>
                <a:moveTo>
                  <a:pt x="5724558" y="1704097"/>
                </a:moveTo>
                <a:cubicBezTo>
                  <a:pt x="5726692" y="1704239"/>
                  <a:pt x="5729253" y="1705235"/>
                  <a:pt x="5732028" y="1707511"/>
                </a:cubicBezTo>
                <a:cubicBezTo>
                  <a:pt x="5738003" y="1712491"/>
                  <a:pt x="5742912" y="1719746"/>
                  <a:pt x="5735229" y="1728994"/>
                </a:cubicBezTo>
                <a:cubicBezTo>
                  <a:pt x="5734162" y="1731270"/>
                  <a:pt x="5734162" y="1730132"/>
                  <a:pt x="5733095" y="1731270"/>
                </a:cubicBezTo>
                <a:cubicBezTo>
                  <a:pt x="5731814" y="1732408"/>
                  <a:pt x="5730747" y="1734684"/>
                  <a:pt x="5730960" y="1735965"/>
                </a:cubicBezTo>
                <a:cubicBezTo>
                  <a:pt x="5726052" y="1732124"/>
                  <a:pt x="5723917" y="1735538"/>
                  <a:pt x="5716661" y="1729279"/>
                </a:cubicBezTo>
                <a:cubicBezTo>
                  <a:pt x="5707058" y="1721738"/>
                  <a:pt x="5708978" y="1713486"/>
                  <a:pt x="5712393" y="1708934"/>
                </a:cubicBezTo>
                <a:cubicBezTo>
                  <a:pt x="5713246" y="1709788"/>
                  <a:pt x="5717729" y="1703527"/>
                  <a:pt x="5724558" y="1704097"/>
                </a:cubicBezTo>
                <a:close/>
                <a:moveTo>
                  <a:pt x="6003071" y="1703527"/>
                </a:moveTo>
                <a:cubicBezTo>
                  <a:pt x="6004992" y="1705092"/>
                  <a:pt x="6005845" y="1707796"/>
                  <a:pt x="6006272" y="1711210"/>
                </a:cubicBezTo>
                <a:lnTo>
                  <a:pt x="6006485" y="1720458"/>
                </a:lnTo>
                <a:lnTo>
                  <a:pt x="6009687" y="1722450"/>
                </a:lnTo>
                <a:cubicBezTo>
                  <a:pt x="6008406" y="1723587"/>
                  <a:pt x="6009260" y="1724868"/>
                  <a:pt x="6010113" y="1726148"/>
                </a:cubicBezTo>
                <a:cubicBezTo>
                  <a:pt x="6007553" y="1736534"/>
                  <a:pt x="5987064" y="1738953"/>
                  <a:pt x="5986638" y="1729989"/>
                </a:cubicBezTo>
                <a:cubicBezTo>
                  <a:pt x="5986424" y="1728709"/>
                  <a:pt x="5986851" y="1727144"/>
                  <a:pt x="5987704" y="1725437"/>
                </a:cubicBezTo>
                <a:cubicBezTo>
                  <a:pt x="5989626" y="1723730"/>
                  <a:pt x="5991546" y="1722307"/>
                  <a:pt x="5993467" y="1721169"/>
                </a:cubicBezTo>
                <a:lnTo>
                  <a:pt x="5999016" y="1718893"/>
                </a:lnTo>
                <a:lnTo>
                  <a:pt x="5998589" y="1710356"/>
                </a:lnTo>
                <a:cubicBezTo>
                  <a:pt x="5998589" y="1707227"/>
                  <a:pt x="5999229" y="1705092"/>
                  <a:pt x="6003071" y="1703527"/>
                </a:cubicBezTo>
                <a:close/>
                <a:moveTo>
                  <a:pt x="4990607" y="1703527"/>
                </a:moveTo>
                <a:cubicBezTo>
                  <a:pt x="4992101" y="1704097"/>
                  <a:pt x="4993595" y="1704666"/>
                  <a:pt x="4995089" y="1705235"/>
                </a:cubicBezTo>
                <a:lnTo>
                  <a:pt x="4994449" y="1710784"/>
                </a:lnTo>
                <a:lnTo>
                  <a:pt x="4995516" y="1714056"/>
                </a:lnTo>
                <a:cubicBezTo>
                  <a:pt x="4997437" y="1715621"/>
                  <a:pt x="4998717" y="1718893"/>
                  <a:pt x="4998504" y="1721453"/>
                </a:cubicBezTo>
                <a:cubicBezTo>
                  <a:pt x="4997223" y="1724726"/>
                  <a:pt x="4995089" y="1725722"/>
                  <a:pt x="4993595" y="1725295"/>
                </a:cubicBezTo>
                <a:cubicBezTo>
                  <a:pt x="4981217" y="1722592"/>
                  <a:pt x="4981644" y="1710784"/>
                  <a:pt x="4979723" y="1709219"/>
                </a:cubicBezTo>
                <a:cubicBezTo>
                  <a:pt x="4981217" y="1705662"/>
                  <a:pt x="4981644" y="1704666"/>
                  <a:pt x="4985272" y="1705377"/>
                </a:cubicBezTo>
                <a:lnTo>
                  <a:pt x="4988900" y="1706231"/>
                </a:lnTo>
                <a:close/>
                <a:moveTo>
                  <a:pt x="1559995" y="1703417"/>
                </a:moveTo>
                <a:cubicBezTo>
                  <a:pt x="1561131" y="1704037"/>
                  <a:pt x="1561751" y="1705740"/>
                  <a:pt x="1562886" y="1706360"/>
                </a:cubicBezTo>
                <a:cubicBezTo>
                  <a:pt x="1562061" y="1706515"/>
                  <a:pt x="1561544" y="1707444"/>
                  <a:pt x="1560718" y="1707754"/>
                </a:cubicBezTo>
                <a:cubicBezTo>
                  <a:pt x="1559582" y="1707134"/>
                  <a:pt x="1559169" y="1706050"/>
                  <a:pt x="1559169" y="1705121"/>
                </a:cubicBezTo>
                <a:cubicBezTo>
                  <a:pt x="1559169" y="1704346"/>
                  <a:pt x="1559582" y="1703417"/>
                  <a:pt x="1559995" y="1703417"/>
                </a:cubicBezTo>
                <a:close/>
                <a:moveTo>
                  <a:pt x="1270774" y="1702952"/>
                </a:moveTo>
                <a:cubicBezTo>
                  <a:pt x="1274698" y="1703262"/>
                  <a:pt x="1276660" y="1705431"/>
                  <a:pt x="1275421" y="1708684"/>
                </a:cubicBezTo>
                <a:cubicBezTo>
                  <a:pt x="1273046" y="1707599"/>
                  <a:pt x="1271910" y="1708993"/>
                  <a:pt x="1269535" y="1708064"/>
                </a:cubicBezTo>
                <a:cubicBezTo>
                  <a:pt x="1270362" y="1705895"/>
                  <a:pt x="1270362" y="1704037"/>
                  <a:pt x="1270774" y="1702952"/>
                </a:cubicBezTo>
                <a:close/>
                <a:moveTo>
                  <a:pt x="928158" y="1702836"/>
                </a:moveTo>
                <a:cubicBezTo>
                  <a:pt x="930106" y="1703340"/>
                  <a:pt x="932249" y="1704811"/>
                  <a:pt x="934366" y="1706670"/>
                </a:cubicBezTo>
                <a:cubicBezTo>
                  <a:pt x="933540" y="1707444"/>
                  <a:pt x="936018" y="1709458"/>
                  <a:pt x="936844" y="1711162"/>
                </a:cubicBezTo>
                <a:cubicBezTo>
                  <a:pt x="936844" y="1713640"/>
                  <a:pt x="936741" y="1715344"/>
                  <a:pt x="934985" y="1716893"/>
                </a:cubicBezTo>
                <a:cubicBezTo>
                  <a:pt x="932404" y="1719062"/>
                  <a:pt x="926312" y="1720301"/>
                  <a:pt x="923834" y="1717512"/>
                </a:cubicBezTo>
                <a:cubicBezTo>
                  <a:pt x="920426" y="1714570"/>
                  <a:pt x="919600" y="1711936"/>
                  <a:pt x="919600" y="1709458"/>
                </a:cubicBezTo>
                <a:cubicBezTo>
                  <a:pt x="919600" y="1709458"/>
                  <a:pt x="919600" y="1709458"/>
                  <a:pt x="919497" y="1710233"/>
                </a:cubicBezTo>
                <a:lnTo>
                  <a:pt x="917638" y="1711781"/>
                </a:lnTo>
                <a:lnTo>
                  <a:pt x="917741" y="1713331"/>
                </a:lnTo>
                <a:cubicBezTo>
                  <a:pt x="917741" y="1714105"/>
                  <a:pt x="917741" y="1714724"/>
                  <a:pt x="917741" y="1714879"/>
                </a:cubicBezTo>
                <a:cubicBezTo>
                  <a:pt x="916916" y="1715034"/>
                  <a:pt x="916916" y="1715034"/>
                  <a:pt x="916916" y="1715034"/>
                </a:cubicBezTo>
                <a:lnTo>
                  <a:pt x="916399" y="1712866"/>
                </a:lnTo>
                <a:lnTo>
                  <a:pt x="913301" y="1715189"/>
                </a:lnTo>
                <a:lnTo>
                  <a:pt x="913715" y="1717203"/>
                </a:lnTo>
                <a:lnTo>
                  <a:pt x="912166" y="1715964"/>
                </a:lnTo>
                <a:lnTo>
                  <a:pt x="909791" y="1717203"/>
                </a:lnTo>
                <a:cubicBezTo>
                  <a:pt x="908758" y="1717512"/>
                  <a:pt x="907932" y="1717667"/>
                  <a:pt x="907313" y="1717512"/>
                </a:cubicBezTo>
                <a:cubicBezTo>
                  <a:pt x="907313" y="1716583"/>
                  <a:pt x="907313" y="1715809"/>
                  <a:pt x="908138" y="1715034"/>
                </a:cubicBezTo>
                <a:cubicBezTo>
                  <a:pt x="909068" y="1714260"/>
                  <a:pt x="909068" y="1715189"/>
                  <a:pt x="909068" y="1714260"/>
                </a:cubicBezTo>
                <a:cubicBezTo>
                  <a:pt x="909997" y="1713485"/>
                  <a:pt x="909068" y="1713485"/>
                  <a:pt x="909068" y="1713485"/>
                </a:cubicBezTo>
                <a:lnTo>
                  <a:pt x="909378" y="1713485"/>
                </a:lnTo>
                <a:lnTo>
                  <a:pt x="907932" y="1709923"/>
                </a:lnTo>
                <a:cubicBezTo>
                  <a:pt x="907313" y="1707599"/>
                  <a:pt x="907209" y="1705586"/>
                  <a:pt x="904938" y="1704191"/>
                </a:cubicBezTo>
                <a:cubicBezTo>
                  <a:pt x="906590" y="1703107"/>
                  <a:pt x="906590" y="1703107"/>
                  <a:pt x="908449" y="1703727"/>
                </a:cubicBezTo>
                <a:cubicBezTo>
                  <a:pt x="908449" y="1704501"/>
                  <a:pt x="909378" y="1704501"/>
                  <a:pt x="908552" y="1705431"/>
                </a:cubicBezTo>
                <a:cubicBezTo>
                  <a:pt x="909894" y="1706050"/>
                  <a:pt x="911339" y="1708064"/>
                  <a:pt x="912372" y="1710542"/>
                </a:cubicBezTo>
                <a:lnTo>
                  <a:pt x="912475" y="1710852"/>
                </a:lnTo>
                <a:lnTo>
                  <a:pt x="913405" y="1709303"/>
                </a:lnTo>
                <a:cubicBezTo>
                  <a:pt x="913715" y="1708684"/>
                  <a:pt x="914024" y="1708064"/>
                  <a:pt x="914437" y="1707289"/>
                </a:cubicBezTo>
                <a:lnTo>
                  <a:pt x="914540" y="1707134"/>
                </a:lnTo>
                <a:lnTo>
                  <a:pt x="914334" y="1706670"/>
                </a:lnTo>
                <a:cubicBezTo>
                  <a:pt x="914127" y="1705586"/>
                  <a:pt x="914127" y="1704656"/>
                  <a:pt x="914540" y="1703572"/>
                </a:cubicBezTo>
                <a:cubicBezTo>
                  <a:pt x="914540" y="1703572"/>
                  <a:pt x="914540" y="1703572"/>
                  <a:pt x="914540" y="1704346"/>
                </a:cubicBezTo>
                <a:cubicBezTo>
                  <a:pt x="914540" y="1704346"/>
                  <a:pt x="914540" y="1703572"/>
                  <a:pt x="915366" y="1703417"/>
                </a:cubicBezTo>
                <a:lnTo>
                  <a:pt x="916193" y="1706050"/>
                </a:lnTo>
                <a:lnTo>
                  <a:pt x="916709" y="1705740"/>
                </a:lnTo>
                <a:cubicBezTo>
                  <a:pt x="917432" y="1705431"/>
                  <a:pt x="918361" y="1705121"/>
                  <a:pt x="919703" y="1704346"/>
                </a:cubicBezTo>
                <a:cubicBezTo>
                  <a:pt x="921356" y="1705431"/>
                  <a:pt x="921356" y="1705431"/>
                  <a:pt x="921356" y="1706205"/>
                </a:cubicBezTo>
                <a:cubicBezTo>
                  <a:pt x="921356" y="1705431"/>
                  <a:pt x="922285" y="1705431"/>
                  <a:pt x="923111" y="1704811"/>
                </a:cubicBezTo>
                <a:cubicBezTo>
                  <a:pt x="924453" y="1702797"/>
                  <a:pt x="926209" y="1702333"/>
                  <a:pt x="928158" y="1702836"/>
                </a:cubicBezTo>
                <a:close/>
                <a:moveTo>
                  <a:pt x="1382395" y="1702798"/>
                </a:moveTo>
                <a:cubicBezTo>
                  <a:pt x="1386318" y="1702488"/>
                  <a:pt x="1392514" y="1707289"/>
                  <a:pt x="1381878" y="1710077"/>
                </a:cubicBezTo>
                <a:cubicBezTo>
                  <a:pt x="1380226" y="1707444"/>
                  <a:pt x="1379710" y="1705740"/>
                  <a:pt x="1379916" y="1704501"/>
                </a:cubicBezTo>
                <a:cubicBezTo>
                  <a:pt x="1380226" y="1703417"/>
                  <a:pt x="1381259" y="1702952"/>
                  <a:pt x="1382395" y="1702798"/>
                </a:cubicBezTo>
                <a:close/>
                <a:moveTo>
                  <a:pt x="1159877" y="1702023"/>
                </a:moveTo>
                <a:cubicBezTo>
                  <a:pt x="1163491" y="1701713"/>
                  <a:pt x="1166589" y="1707289"/>
                  <a:pt x="1164937" y="1710542"/>
                </a:cubicBezTo>
                <a:cubicBezTo>
                  <a:pt x="1163078" y="1707134"/>
                  <a:pt x="1160187" y="1706360"/>
                  <a:pt x="1159567" y="1704501"/>
                </a:cubicBezTo>
                <a:cubicBezTo>
                  <a:pt x="1159361" y="1703882"/>
                  <a:pt x="1159464" y="1703107"/>
                  <a:pt x="1159877" y="1702023"/>
                </a:cubicBezTo>
                <a:close/>
                <a:moveTo>
                  <a:pt x="5850903" y="1701963"/>
                </a:moveTo>
                <a:cubicBezTo>
                  <a:pt x="5854104" y="1701109"/>
                  <a:pt x="5856238" y="1703955"/>
                  <a:pt x="5856665" y="1707227"/>
                </a:cubicBezTo>
                <a:cubicBezTo>
                  <a:pt x="5857305" y="1708364"/>
                  <a:pt x="5857092" y="1709645"/>
                  <a:pt x="5856451" y="1710926"/>
                </a:cubicBezTo>
                <a:cubicBezTo>
                  <a:pt x="5855811" y="1712206"/>
                  <a:pt x="5854744" y="1713344"/>
                  <a:pt x="5853677" y="1714056"/>
                </a:cubicBezTo>
                <a:cubicBezTo>
                  <a:pt x="5851969" y="1714483"/>
                  <a:pt x="5851969" y="1714483"/>
                  <a:pt x="5850476" y="1714909"/>
                </a:cubicBezTo>
                <a:cubicBezTo>
                  <a:pt x="5848555" y="1713771"/>
                  <a:pt x="5845994" y="1713629"/>
                  <a:pt x="5844927" y="1711352"/>
                </a:cubicBezTo>
                <a:cubicBezTo>
                  <a:pt x="5844286" y="1708080"/>
                  <a:pt x="5848555" y="1703527"/>
                  <a:pt x="5850903" y="1701963"/>
                </a:cubicBezTo>
                <a:close/>
                <a:moveTo>
                  <a:pt x="5398880" y="1701963"/>
                </a:moveTo>
                <a:cubicBezTo>
                  <a:pt x="5399947" y="1701820"/>
                  <a:pt x="5401227" y="1701963"/>
                  <a:pt x="5402935" y="1701963"/>
                </a:cubicBezTo>
                <a:cubicBezTo>
                  <a:pt x="5403575" y="1707084"/>
                  <a:pt x="5397812" y="1708649"/>
                  <a:pt x="5395892" y="1706231"/>
                </a:cubicBezTo>
                <a:cubicBezTo>
                  <a:pt x="5395251" y="1705377"/>
                  <a:pt x="5395038" y="1704097"/>
                  <a:pt x="5395465" y="1702532"/>
                </a:cubicBezTo>
                <a:cubicBezTo>
                  <a:pt x="5396745" y="1702105"/>
                  <a:pt x="5397812" y="1701963"/>
                  <a:pt x="5398880" y="1701963"/>
                </a:cubicBezTo>
                <a:close/>
                <a:moveTo>
                  <a:pt x="1155850" y="1701713"/>
                </a:moveTo>
                <a:cubicBezTo>
                  <a:pt x="1157399" y="1702333"/>
                  <a:pt x="1159981" y="1699699"/>
                  <a:pt x="1160600" y="1701868"/>
                </a:cubicBezTo>
                <a:cubicBezTo>
                  <a:pt x="1159361" y="1702333"/>
                  <a:pt x="1157399" y="1702333"/>
                  <a:pt x="1156160" y="1702798"/>
                </a:cubicBezTo>
                <a:cubicBezTo>
                  <a:pt x="1156160" y="1702798"/>
                  <a:pt x="1156160" y="1702798"/>
                  <a:pt x="1155850" y="1701713"/>
                </a:cubicBezTo>
                <a:close/>
                <a:moveTo>
                  <a:pt x="5260370" y="1701536"/>
                </a:moveTo>
                <a:cubicBezTo>
                  <a:pt x="5261224" y="1701252"/>
                  <a:pt x="5261650" y="1701252"/>
                  <a:pt x="5262504" y="1701536"/>
                </a:cubicBezTo>
                <a:cubicBezTo>
                  <a:pt x="5263571" y="1701109"/>
                  <a:pt x="5263998" y="1702105"/>
                  <a:pt x="5265492" y="1702816"/>
                </a:cubicBezTo>
                <a:cubicBezTo>
                  <a:pt x="5265705" y="1703955"/>
                  <a:pt x="5265065" y="1705519"/>
                  <a:pt x="5265065" y="1705519"/>
                </a:cubicBezTo>
                <a:cubicBezTo>
                  <a:pt x="5264212" y="1707084"/>
                  <a:pt x="5264212" y="1707084"/>
                  <a:pt x="5265492" y="1707654"/>
                </a:cubicBezTo>
                <a:cubicBezTo>
                  <a:pt x="5265492" y="1707654"/>
                  <a:pt x="5264425" y="1708222"/>
                  <a:pt x="5264425" y="1708222"/>
                </a:cubicBezTo>
                <a:cubicBezTo>
                  <a:pt x="5264212" y="1707084"/>
                  <a:pt x="5264425" y="1708222"/>
                  <a:pt x="5263785" y="1709788"/>
                </a:cubicBezTo>
                <a:cubicBezTo>
                  <a:pt x="5261224" y="1709503"/>
                  <a:pt x="5260157" y="1710072"/>
                  <a:pt x="5258662" y="1709361"/>
                </a:cubicBezTo>
                <a:cubicBezTo>
                  <a:pt x="5258022" y="1709076"/>
                  <a:pt x="5256955" y="1708364"/>
                  <a:pt x="5256529" y="1707654"/>
                </a:cubicBezTo>
                <a:cubicBezTo>
                  <a:pt x="5255888" y="1706942"/>
                  <a:pt x="5255888" y="1706231"/>
                  <a:pt x="5256102" y="1705377"/>
                </a:cubicBezTo>
                <a:cubicBezTo>
                  <a:pt x="5257382" y="1704950"/>
                  <a:pt x="5256955" y="1703812"/>
                  <a:pt x="5258022" y="1703385"/>
                </a:cubicBezTo>
                <a:cubicBezTo>
                  <a:pt x="5258876" y="1702390"/>
                  <a:pt x="5259730" y="1701820"/>
                  <a:pt x="5260370" y="1701536"/>
                </a:cubicBezTo>
                <a:close/>
                <a:moveTo>
                  <a:pt x="1184452" y="1701210"/>
                </a:moveTo>
                <a:cubicBezTo>
                  <a:pt x="1186311" y="1701210"/>
                  <a:pt x="1188015" y="1701481"/>
                  <a:pt x="1188169" y="1702023"/>
                </a:cubicBezTo>
                <a:cubicBezTo>
                  <a:pt x="1186104" y="1703262"/>
                  <a:pt x="1182491" y="1705276"/>
                  <a:pt x="1180219" y="1705121"/>
                </a:cubicBezTo>
                <a:cubicBezTo>
                  <a:pt x="1179496" y="1705121"/>
                  <a:pt x="1178876" y="1704811"/>
                  <a:pt x="1178567" y="1704191"/>
                </a:cubicBezTo>
                <a:cubicBezTo>
                  <a:pt x="1178257" y="1703107"/>
                  <a:pt x="1179393" y="1702798"/>
                  <a:pt x="1179806" y="1702023"/>
                </a:cubicBezTo>
                <a:cubicBezTo>
                  <a:pt x="1180580" y="1701481"/>
                  <a:pt x="1182594" y="1701210"/>
                  <a:pt x="1184452" y="1701210"/>
                </a:cubicBezTo>
                <a:close/>
                <a:moveTo>
                  <a:pt x="4626087" y="1701109"/>
                </a:moveTo>
                <a:cubicBezTo>
                  <a:pt x="4625873" y="1704950"/>
                  <a:pt x="4625873" y="1705092"/>
                  <a:pt x="4624379" y="1708222"/>
                </a:cubicBezTo>
                <a:cubicBezTo>
                  <a:pt x="4623952" y="1706942"/>
                  <a:pt x="4622245" y="1705092"/>
                  <a:pt x="4623099" y="1703527"/>
                </a:cubicBezTo>
                <a:cubicBezTo>
                  <a:pt x="4623952" y="1701963"/>
                  <a:pt x="4623952" y="1701963"/>
                  <a:pt x="4626087" y="1701109"/>
                </a:cubicBezTo>
                <a:close/>
                <a:moveTo>
                  <a:pt x="1576103" y="1700939"/>
                </a:moveTo>
                <a:cubicBezTo>
                  <a:pt x="1579201" y="1700474"/>
                  <a:pt x="1584364" y="1701558"/>
                  <a:pt x="1586945" y="1702488"/>
                </a:cubicBezTo>
                <a:cubicBezTo>
                  <a:pt x="1585396" y="1704966"/>
                  <a:pt x="1577239" y="1703572"/>
                  <a:pt x="1573832" y="1702178"/>
                </a:cubicBezTo>
                <a:cubicBezTo>
                  <a:pt x="1574244" y="1701558"/>
                  <a:pt x="1575071" y="1701248"/>
                  <a:pt x="1576103" y="1700939"/>
                </a:cubicBezTo>
                <a:close/>
                <a:moveTo>
                  <a:pt x="1264373" y="1700629"/>
                </a:moveTo>
                <a:cubicBezTo>
                  <a:pt x="1259003" y="1704346"/>
                  <a:pt x="1253737" y="1706980"/>
                  <a:pt x="1248161" y="1714105"/>
                </a:cubicBezTo>
                <a:cubicBezTo>
                  <a:pt x="1246509" y="1712401"/>
                  <a:pt x="1244651" y="1715034"/>
                  <a:pt x="1242999" y="1712556"/>
                </a:cubicBezTo>
                <a:cubicBezTo>
                  <a:pt x="1243308" y="1705740"/>
                  <a:pt x="1257764" y="1695053"/>
                  <a:pt x="1264373" y="1700629"/>
                </a:cubicBezTo>
                <a:close/>
                <a:moveTo>
                  <a:pt x="1210473" y="1700474"/>
                </a:moveTo>
                <a:cubicBezTo>
                  <a:pt x="1211712" y="1701558"/>
                  <a:pt x="1212435" y="1702333"/>
                  <a:pt x="1212744" y="1703107"/>
                </a:cubicBezTo>
                <a:lnTo>
                  <a:pt x="1212951" y="1704501"/>
                </a:lnTo>
                <a:lnTo>
                  <a:pt x="1217907" y="1701094"/>
                </a:lnTo>
                <a:cubicBezTo>
                  <a:pt x="1219766" y="1700319"/>
                  <a:pt x="1221521" y="1700164"/>
                  <a:pt x="1223173" y="1700784"/>
                </a:cubicBezTo>
                <a:lnTo>
                  <a:pt x="1221315" y="1703107"/>
                </a:lnTo>
                <a:lnTo>
                  <a:pt x="1224412" y="1706515"/>
                </a:lnTo>
                <a:cubicBezTo>
                  <a:pt x="1224722" y="1707754"/>
                  <a:pt x="1224929" y="1710697"/>
                  <a:pt x="1224206" y="1710233"/>
                </a:cubicBezTo>
                <a:cubicBezTo>
                  <a:pt x="1222967" y="1710388"/>
                  <a:pt x="1223793" y="1710852"/>
                  <a:pt x="1223380" y="1711627"/>
                </a:cubicBezTo>
                <a:cubicBezTo>
                  <a:pt x="1221625" y="1711936"/>
                  <a:pt x="1219972" y="1711936"/>
                  <a:pt x="1218733" y="1711472"/>
                </a:cubicBezTo>
                <a:lnTo>
                  <a:pt x="1216875" y="1709768"/>
                </a:lnTo>
                <a:lnTo>
                  <a:pt x="1215429" y="1712091"/>
                </a:lnTo>
                <a:cubicBezTo>
                  <a:pt x="1213158" y="1715809"/>
                  <a:pt x="1210473" y="1719526"/>
                  <a:pt x="1205723" y="1723089"/>
                </a:cubicBezTo>
                <a:lnTo>
                  <a:pt x="1205723" y="1717822"/>
                </a:lnTo>
                <a:lnTo>
                  <a:pt x="1202832" y="1718287"/>
                </a:lnTo>
                <a:cubicBezTo>
                  <a:pt x="1201593" y="1717977"/>
                  <a:pt x="1201593" y="1717977"/>
                  <a:pt x="1201076" y="1717203"/>
                </a:cubicBezTo>
                <a:cubicBezTo>
                  <a:pt x="1199425" y="1716119"/>
                  <a:pt x="1198186" y="1715809"/>
                  <a:pt x="1197979" y="1713950"/>
                </a:cubicBezTo>
                <a:cubicBezTo>
                  <a:pt x="1198082" y="1712401"/>
                  <a:pt x="1198599" y="1711627"/>
                  <a:pt x="1199528" y="1711317"/>
                </a:cubicBezTo>
                <a:cubicBezTo>
                  <a:pt x="1200354" y="1710852"/>
                  <a:pt x="1201696" y="1711007"/>
                  <a:pt x="1203348" y="1711162"/>
                </a:cubicBezTo>
                <a:cubicBezTo>
                  <a:pt x="1204897" y="1711317"/>
                  <a:pt x="1205826" y="1712091"/>
                  <a:pt x="1206756" y="1712866"/>
                </a:cubicBezTo>
                <a:lnTo>
                  <a:pt x="1207065" y="1713176"/>
                </a:lnTo>
                <a:lnTo>
                  <a:pt x="1208408" y="1710077"/>
                </a:lnTo>
                <a:lnTo>
                  <a:pt x="1211919" y="1705740"/>
                </a:lnTo>
                <a:lnTo>
                  <a:pt x="1211712" y="1705895"/>
                </a:lnTo>
                <a:cubicBezTo>
                  <a:pt x="1209957" y="1706360"/>
                  <a:pt x="1207065" y="1705431"/>
                  <a:pt x="1207582" y="1703572"/>
                </a:cubicBezTo>
                <a:cubicBezTo>
                  <a:pt x="1207788" y="1702798"/>
                  <a:pt x="1208614" y="1701713"/>
                  <a:pt x="1210473" y="1700474"/>
                </a:cubicBezTo>
                <a:close/>
                <a:moveTo>
                  <a:pt x="1202832" y="1700474"/>
                </a:moveTo>
                <a:cubicBezTo>
                  <a:pt x="1204071" y="1700319"/>
                  <a:pt x="1204794" y="1700784"/>
                  <a:pt x="1204794" y="1700784"/>
                </a:cubicBezTo>
                <a:cubicBezTo>
                  <a:pt x="1206136" y="1703572"/>
                  <a:pt x="1206343" y="1706515"/>
                  <a:pt x="1202832" y="1707134"/>
                </a:cubicBezTo>
                <a:cubicBezTo>
                  <a:pt x="1201696" y="1707289"/>
                  <a:pt x="1200457" y="1707444"/>
                  <a:pt x="1200870" y="1706824"/>
                </a:cubicBezTo>
                <a:cubicBezTo>
                  <a:pt x="1200147" y="1706360"/>
                  <a:pt x="1200560" y="1705586"/>
                  <a:pt x="1200251" y="1704501"/>
                </a:cubicBezTo>
                <a:cubicBezTo>
                  <a:pt x="1200354" y="1702643"/>
                  <a:pt x="1201696" y="1700629"/>
                  <a:pt x="1202832" y="1700474"/>
                </a:cubicBezTo>
                <a:close/>
                <a:moveTo>
                  <a:pt x="3929911" y="1700113"/>
                </a:moveTo>
                <a:cubicBezTo>
                  <a:pt x="3932259" y="1700682"/>
                  <a:pt x="3933539" y="1703385"/>
                  <a:pt x="3936100" y="1706800"/>
                </a:cubicBezTo>
                <a:cubicBezTo>
                  <a:pt x="3934393" y="1707227"/>
                  <a:pt x="3936314" y="1712206"/>
                  <a:pt x="3936741" y="1713913"/>
                </a:cubicBezTo>
                <a:cubicBezTo>
                  <a:pt x="3933753" y="1714767"/>
                  <a:pt x="3935033" y="1720742"/>
                  <a:pt x="3930338" y="1722022"/>
                </a:cubicBezTo>
                <a:cubicBezTo>
                  <a:pt x="3929271" y="1721453"/>
                  <a:pt x="3928417" y="1721027"/>
                  <a:pt x="3927777" y="1720458"/>
                </a:cubicBezTo>
                <a:lnTo>
                  <a:pt x="3927564" y="1720315"/>
                </a:lnTo>
                <a:lnTo>
                  <a:pt x="3926923" y="1721738"/>
                </a:lnTo>
                <a:cubicBezTo>
                  <a:pt x="3927137" y="1722876"/>
                  <a:pt x="3926283" y="1724441"/>
                  <a:pt x="3925216" y="1724726"/>
                </a:cubicBezTo>
                <a:cubicBezTo>
                  <a:pt x="3925216" y="1724726"/>
                  <a:pt x="3924576" y="1726291"/>
                  <a:pt x="3924789" y="1727429"/>
                </a:cubicBezTo>
                <a:cubicBezTo>
                  <a:pt x="3923295" y="1730416"/>
                  <a:pt x="3922015" y="1730843"/>
                  <a:pt x="3920948" y="1731270"/>
                </a:cubicBezTo>
                <a:cubicBezTo>
                  <a:pt x="3920948" y="1731270"/>
                  <a:pt x="3921801" y="1729705"/>
                  <a:pt x="3921588" y="1728567"/>
                </a:cubicBezTo>
                <a:cubicBezTo>
                  <a:pt x="3921588" y="1728567"/>
                  <a:pt x="3922441" y="1727144"/>
                  <a:pt x="3923082" y="1725579"/>
                </a:cubicBezTo>
                <a:cubicBezTo>
                  <a:pt x="3923082" y="1725579"/>
                  <a:pt x="3922868" y="1724441"/>
                  <a:pt x="3922441" y="1723303"/>
                </a:cubicBezTo>
                <a:cubicBezTo>
                  <a:pt x="3923082" y="1721311"/>
                  <a:pt x="3923722" y="1719462"/>
                  <a:pt x="3924576" y="1718324"/>
                </a:cubicBezTo>
                <a:lnTo>
                  <a:pt x="3925429" y="1717897"/>
                </a:lnTo>
                <a:lnTo>
                  <a:pt x="3924362" y="1710072"/>
                </a:lnTo>
                <a:cubicBezTo>
                  <a:pt x="3924362" y="1703670"/>
                  <a:pt x="3927350" y="1701536"/>
                  <a:pt x="3926923" y="1700255"/>
                </a:cubicBezTo>
                <a:cubicBezTo>
                  <a:pt x="3928204" y="1699971"/>
                  <a:pt x="3929058" y="1699828"/>
                  <a:pt x="3929911" y="1700113"/>
                </a:cubicBezTo>
                <a:close/>
                <a:moveTo>
                  <a:pt x="5231558" y="1699686"/>
                </a:moveTo>
                <a:lnTo>
                  <a:pt x="5236253" y="1700682"/>
                </a:lnTo>
                <a:cubicBezTo>
                  <a:pt x="5237961" y="1701109"/>
                  <a:pt x="5239668" y="1701820"/>
                  <a:pt x="5240522" y="1702674"/>
                </a:cubicBezTo>
                <a:cubicBezTo>
                  <a:pt x="5241376" y="1703243"/>
                  <a:pt x="5241589" y="1703812"/>
                  <a:pt x="5241589" y="1704666"/>
                </a:cubicBezTo>
                <a:cubicBezTo>
                  <a:pt x="5239882" y="1704239"/>
                  <a:pt x="5237748" y="1704239"/>
                  <a:pt x="5235827" y="1703670"/>
                </a:cubicBezTo>
                <a:close/>
                <a:moveTo>
                  <a:pt x="853620" y="1699544"/>
                </a:moveTo>
                <a:cubicBezTo>
                  <a:pt x="855271" y="1702178"/>
                  <a:pt x="850935" y="1708374"/>
                  <a:pt x="848353" y="1710542"/>
                </a:cubicBezTo>
                <a:cubicBezTo>
                  <a:pt x="847940" y="1709923"/>
                  <a:pt x="847837" y="1708993"/>
                  <a:pt x="848044" y="1708064"/>
                </a:cubicBezTo>
                <a:cubicBezTo>
                  <a:pt x="848663" y="1705121"/>
                  <a:pt x="851658" y="1701248"/>
                  <a:pt x="853620" y="1699544"/>
                </a:cubicBezTo>
                <a:close/>
                <a:moveTo>
                  <a:pt x="5934563" y="1699402"/>
                </a:moveTo>
                <a:cubicBezTo>
                  <a:pt x="5934349" y="1703955"/>
                  <a:pt x="5933496" y="1706089"/>
                  <a:pt x="5932429" y="1706657"/>
                </a:cubicBezTo>
                <a:cubicBezTo>
                  <a:pt x="5928801" y="1708507"/>
                  <a:pt x="5923252" y="1697268"/>
                  <a:pt x="5934563" y="1699402"/>
                </a:cubicBezTo>
                <a:close/>
                <a:moveTo>
                  <a:pt x="1756285" y="1699080"/>
                </a:moveTo>
                <a:cubicBezTo>
                  <a:pt x="1758350" y="1700629"/>
                  <a:pt x="1761241" y="1701403"/>
                  <a:pt x="1762687" y="1703727"/>
                </a:cubicBezTo>
                <a:cubicBezTo>
                  <a:pt x="1763203" y="1704501"/>
                  <a:pt x="1763513" y="1705431"/>
                  <a:pt x="1763616" y="1706670"/>
                </a:cubicBezTo>
                <a:cubicBezTo>
                  <a:pt x="1756182" y="1707444"/>
                  <a:pt x="1751535" y="1710077"/>
                  <a:pt x="1745030" y="1712091"/>
                </a:cubicBezTo>
                <a:cubicBezTo>
                  <a:pt x="1744514" y="1711472"/>
                  <a:pt x="1744204" y="1710697"/>
                  <a:pt x="1743998" y="1709613"/>
                </a:cubicBezTo>
                <a:cubicBezTo>
                  <a:pt x="1743895" y="1708528"/>
                  <a:pt x="1743998" y="1707289"/>
                  <a:pt x="1744308" y="1705586"/>
                </a:cubicBezTo>
                <a:cubicBezTo>
                  <a:pt x="1752568" y="1707134"/>
                  <a:pt x="1749780" y="1698151"/>
                  <a:pt x="1756285" y="1699080"/>
                </a:cubicBezTo>
                <a:close/>
                <a:moveTo>
                  <a:pt x="5067865" y="1698975"/>
                </a:moveTo>
                <a:cubicBezTo>
                  <a:pt x="5070000" y="1700682"/>
                  <a:pt x="5072347" y="1700113"/>
                  <a:pt x="5074055" y="1704097"/>
                </a:cubicBezTo>
                <a:cubicBezTo>
                  <a:pt x="5071493" y="1705946"/>
                  <a:pt x="5069146" y="1706657"/>
                  <a:pt x="5066585" y="1708364"/>
                </a:cubicBezTo>
                <a:cubicBezTo>
                  <a:pt x="5062530" y="1705092"/>
                  <a:pt x="5065091" y="1701963"/>
                  <a:pt x="5067865" y="1698975"/>
                </a:cubicBezTo>
                <a:close/>
                <a:moveTo>
                  <a:pt x="1675332" y="1698925"/>
                </a:moveTo>
                <a:cubicBezTo>
                  <a:pt x="1677398" y="1700009"/>
                  <a:pt x="1679256" y="1700164"/>
                  <a:pt x="1680392" y="1700784"/>
                </a:cubicBezTo>
                <a:cubicBezTo>
                  <a:pt x="1679566" y="1704501"/>
                  <a:pt x="1677294" y="1706050"/>
                  <a:pt x="1674093" y="1704501"/>
                </a:cubicBezTo>
                <a:cubicBezTo>
                  <a:pt x="1675332" y="1702333"/>
                  <a:pt x="1674093" y="1701094"/>
                  <a:pt x="1675332" y="1698925"/>
                </a:cubicBezTo>
                <a:close/>
                <a:moveTo>
                  <a:pt x="5895934" y="1698690"/>
                </a:moveTo>
                <a:cubicBezTo>
                  <a:pt x="5906178" y="1715051"/>
                  <a:pt x="5897855" y="1739237"/>
                  <a:pt x="5894653" y="1760577"/>
                </a:cubicBezTo>
                <a:cubicBezTo>
                  <a:pt x="5890812" y="1759297"/>
                  <a:pt x="5887824" y="1761431"/>
                  <a:pt x="5882275" y="1758159"/>
                </a:cubicBezTo>
                <a:lnTo>
                  <a:pt x="5885903" y="1742509"/>
                </a:lnTo>
                <a:lnTo>
                  <a:pt x="5885263" y="1740375"/>
                </a:lnTo>
                <a:cubicBezTo>
                  <a:pt x="5885263" y="1738953"/>
                  <a:pt x="5885476" y="1737815"/>
                  <a:pt x="5885903" y="1737388"/>
                </a:cubicBezTo>
                <a:lnTo>
                  <a:pt x="5887184" y="1736818"/>
                </a:lnTo>
                <a:lnTo>
                  <a:pt x="5889318" y="1727144"/>
                </a:lnTo>
                <a:cubicBezTo>
                  <a:pt x="5891025" y="1717043"/>
                  <a:pt x="5892946" y="1707511"/>
                  <a:pt x="5895934" y="1698690"/>
                </a:cubicBezTo>
                <a:close/>
                <a:moveTo>
                  <a:pt x="4804505" y="1698406"/>
                </a:moveTo>
                <a:cubicBezTo>
                  <a:pt x="4805573" y="1697979"/>
                  <a:pt x="4806853" y="1697837"/>
                  <a:pt x="4807493" y="1698406"/>
                </a:cubicBezTo>
                <a:cubicBezTo>
                  <a:pt x="4809627" y="1701109"/>
                  <a:pt x="4810694" y="1704808"/>
                  <a:pt x="4809627" y="1705804"/>
                </a:cubicBezTo>
                <a:cubicBezTo>
                  <a:pt x="4807706" y="1707369"/>
                  <a:pt x="4805999" y="1708934"/>
                  <a:pt x="4803865" y="1707938"/>
                </a:cubicBezTo>
                <a:cubicBezTo>
                  <a:pt x="4803011" y="1707654"/>
                  <a:pt x="4802158" y="1707084"/>
                  <a:pt x="4801304" y="1706089"/>
                </a:cubicBezTo>
                <a:cubicBezTo>
                  <a:pt x="4801304" y="1706089"/>
                  <a:pt x="4801518" y="1706089"/>
                  <a:pt x="4801518" y="1704808"/>
                </a:cubicBezTo>
                <a:cubicBezTo>
                  <a:pt x="4801518" y="1702532"/>
                  <a:pt x="4801518" y="1701394"/>
                  <a:pt x="4801518" y="1700113"/>
                </a:cubicBezTo>
                <a:cubicBezTo>
                  <a:pt x="4802158" y="1699686"/>
                  <a:pt x="4803225" y="1698975"/>
                  <a:pt x="4804505" y="1698406"/>
                </a:cubicBezTo>
                <a:close/>
                <a:moveTo>
                  <a:pt x="1453538" y="1698151"/>
                </a:moveTo>
                <a:cubicBezTo>
                  <a:pt x="1455397" y="1697841"/>
                  <a:pt x="1456636" y="1698151"/>
                  <a:pt x="1457875" y="1698305"/>
                </a:cubicBezTo>
                <a:cubicBezTo>
                  <a:pt x="1459733" y="1698151"/>
                  <a:pt x="1460250" y="1698770"/>
                  <a:pt x="1459733" y="1701094"/>
                </a:cubicBezTo>
                <a:cubicBezTo>
                  <a:pt x="1457771" y="1701403"/>
                  <a:pt x="1453744" y="1700009"/>
                  <a:pt x="1453538" y="1698151"/>
                </a:cubicBezTo>
                <a:close/>
                <a:moveTo>
                  <a:pt x="1051149" y="1697996"/>
                </a:moveTo>
                <a:cubicBezTo>
                  <a:pt x="1052181" y="1698615"/>
                  <a:pt x="1051252" y="1698770"/>
                  <a:pt x="1051252" y="1699544"/>
                </a:cubicBezTo>
                <a:cubicBezTo>
                  <a:pt x="1050839" y="1699235"/>
                  <a:pt x="1050529" y="1699080"/>
                  <a:pt x="1050529" y="1698925"/>
                </a:cubicBezTo>
                <a:cubicBezTo>
                  <a:pt x="1050529" y="1698615"/>
                  <a:pt x="1050735" y="1698460"/>
                  <a:pt x="1051149" y="1697996"/>
                </a:cubicBezTo>
                <a:close/>
                <a:moveTo>
                  <a:pt x="1138091" y="1697376"/>
                </a:moveTo>
                <a:cubicBezTo>
                  <a:pt x="1138916" y="1698770"/>
                  <a:pt x="1139433" y="1699855"/>
                  <a:pt x="1139639" y="1700784"/>
                </a:cubicBezTo>
                <a:lnTo>
                  <a:pt x="1139536" y="1701094"/>
                </a:lnTo>
                <a:lnTo>
                  <a:pt x="1141807" y="1700474"/>
                </a:lnTo>
                <a:cubicBezTo>
                  <a:pt x="1145422" y="1700164"/>
                  <a:pt x="1150584" y="1701094"/>
                  <a:pt x="1152546" y="1702798"/>
                </a:cubicBezTo>
                <a:cubicBezTo>
                  <a:pt x="1143253" y="1707289"/>
                  <a:pt x="1140878" y="1701248"/>
                  <a:pt x="1135612" y="1703727"/>
                </a:cubicBezTo>
                <a:lnTo>
                  <a:pt x="1135922" y="1702023"/>
                </a:lnTo>
                <a:lnTo>
                  <a:pt x="1134580" y="1700939"/>
                </a:lnTo>
                <a:cubicBezTo>
                  <a:pt x="1134270" y="1700319"/>
                  <a:pt x="1134270" y="1699699"/>
                  <a:pt x="1134476" y="1699235"/>
                </a:cubicBezTo>
                <a:cubicBezTo>
                  <a:pt x="1134889" y="1698460"/>
                  <a:pt x="1136025" y="1697841"/>
                  <a:pt x="1138091" y="1697376"/>
                </a:cubicBezTo>
                <a:close/>
                <a:moveTo>
                  <a:pt x="6109354" y="1697268"/>
                </a:moveTo>
                <a:cubicBezTo>
                  <a:pt x="6109781" y="1698975"/>
                  <a:pt x="6111275" y="1698406"/>
                  <a:pt x="6112768" y="1697979"/>
                </a:cubicBezTo>
                <a:cubicBezTo>
                  <a:pt x="6113195" y="1700540"/>
                  <a:pt x="6114476" y="1704239"/>
                  <a:pt x="6112342" y="1706657"/>
                </a:cubicBezTo>
                <a:cubicBezTo>
                  <a:pt x="6111488" y="1707511"/>
                  <a:pt x="6110421" y="1708080"/>
                  <a:pt x="6108714" y="1708507"/>
                </a:cubicBezTo>
                <a:cubicBezTo>
                  <a:pt x="6108073" y="1709503"/>
                  <a:pt x="6103805" y="1708222"/>
                  <a:pt x="6103378" y="1706515"/>
                </a:cubicBezTo>
                <a:cubicBezTo>
                  <a:pt x="6101884" y="1702674"/>
                  <a:pt x="6105726" y="1700825"/>
                  <a:pt x="6109354" y="1697268"/>
                </a:cubicBezTo>
                <a:close/>
                <a:moveTo>
                  <a:pt x="1450647" y="1696756"/>
                </a:moveTo>
                <a:cubicBezTo>
                  <a:pt x="1450957" y="1696756"/>
                  <a:pt x="1451266" y="1696756"/>
                  <a:pt x="1451266" y="1696756"/>
                </a:cubicBezTo>
                <a:cubicBezTo>
                  <a:pt x="1452505" y="1696911"/>
                  <a:pt x="1453641" y="1697066"/>
                  <a:pt x="1453332" y="1698305"/>
                </a:cubicBezTo>
                <a:cubicBezTo>
                  <a:pt x="1453332" y="1698305"/>
                  <a:pt x="1452712" y="1698770"/>
                  <a:pt x="1450234" y="1698305"/>
                </a:cubicBezTo>
                <a:cubicBezTo>
                  <a:pt x="1451060" y="1697841"/>
                  <a:pt x="1450543" y="1697221"/>
                  <a:pt x="1450543" y="1697221"/>
                </a:cubicBezTo>
                <a:cubicBezTo>
                  <a:pt x="1450543" y="1697221"/>
                  <a:pt x="1450543" y="1697221"/>
                  <a:pt x="1449821" y="1697686"/>
                </a:cubicBezTo>
                <a:cubicBezTo>
                  <a:pt x="1450027" y="1697066"/>
                  <a:pt x="1450337" y="1696911"/>
                  <a:pt x="1450647" y="1696756"/>
                </a:cubicBezTo>
                <a:close/>
                <a:moveTo>
                  <a:pt x="1029259" y="1696601"/>
                </a:moveTo>
                <a:cubicBezTo>
                  <a:pt x="1031943" y="1697996"/>
                  <a:pt x="1032150" y="1700474"/>
                  <a:pt x="1031427" y="1703262"/>
                </a:cubicBezTo>
                <a:cubicBezTo>
                  <a:pt x="1032356" y="1704811"/>
                  <a:pt x="1034111" y="1705431"/>
                  <a:pt x="1033389" y="1707134"/>
                </a:cubicBezTo>
                <a:cubicBezTo>
                  <a:pt x="1031530" y="1704966"/>
                  <a:pt x="1030601" y="1704191"/>
                  <a:pt x="1029671" y="1702643"/>
                </a:cubicBezTo>
                <a:cubicBezTo>
                  <a:pt x="1028845" y="1702798"/>
                  <a:pt x="1027916" y="1702798"/>
                  <a:pt x="1026987" y="1702023"/>
                </a:cubicBezTo>
                <a:cubicBezTo>
                  <a:pt x="1025231" y="1700629"/>
                  <a:pt x="1025954" y="1698925"/>
                  <a:pt x="1025025" y="1697376"/>
                </a:cubicBezTo>
                <a:cubicBezTo>
                  <a:pt x="1025851" y="1696292"/>
                  <a:pt x="1027503" y="1695207"/>
                  <a:pt x="1029259" y="1696601"/>
                </a:cubicBezTo>
                <a:close/>
                <a:moveTo>
                  <a:pt x="5163691" y="1696414"/>
                </a:moveTo>
                <a:cubicBezTo>
                  <a:pt x="5164758" y="1695987"/>
                  <a:pt x="5165185" y="1696983"/>
                  <a:pt x="5166252" y="1696556"/>
                </a:cubicBezTo>
                <a:cubicBezTo>
                  <a:pt x="5166252" y="1696556"/>
                  <a:pt x="5166465" y="1697553"/>
                  <a:pt x="5166465" y="1697553"/>
                </a:cubicBezTo>
                <a:cubicBezTo>
                  <a:pt x="5167106" y="1697268"/>
                  <a:pt x="5167106" y="1697268"/>
                  <a:pt x="5166892" y="1697695"/>
                </a:cubicBezTo>
                <a:cubicBezTo>
                  <a:pt x="5166679" y="1698121"/>
                  <a:pt x="5166465" y="1698833"/>
                  <a:pt x="5166465" y="1700113"/>
                </a:cubicBezTo>
                <a:cubicBezTo>
                  <a:pt x="5165825" y="1701678"/>
                  <a:pt x="5166252" y="1702674"/>
                  <a:pt x="5164758" y="1702247"/>
                </a:cubicBezTo>
                <a:cubicBezTo>
                  <a:pt x="5163264" y="1701678"/>
                  <a:pt x="5163264" y="1701536"/>
                  <a:pt x="5162197" y="1698406"/>
                </a:cubicBezTo>
                <a:cubicBezTo>
                  <a:pt x="5163477" y="1698975"/>
                  <a:pt x="5163477" y="1698975"/>
                  <a:pt x="5164118" y="1697553"/>
                </a:cubicBezTo>
                <a:cubicBezTo>
                  <a:pt x="5164118" y="1697553"/>
                  <a:pt x="5164118" y="1697410"/>
                  <a:pt x="5163691" y="1696414"/>
                </a:cubicBezTo>
                <a:close/>
                <a:moveTo>
                  <a:pt x="1422664" y="1695672"/>
                </a:moveTo>
                <a:cubicBezTo>
                  <a:pt x="1422664" y="1695672"/>
                  <a:pt x="1422664" y="1695672"/>
                  <a:pt x="1418947" y="1700939"/>
                </a:cubicBezTo>
                <a:cubicBezTo>
                  <a:pt x="1418534" y="1700629"/>
                  <a:pt x="1418534" y="1700164"/>
                  <a:pt x="1418740" y="1699699"/>
                </a:cubicBezTo>
                <a:cubicBezTo>
                  <a:pt x="1418947" y="1699235"/>
                  <a:pt x="1419464" y="1698925"/>
                  <a:pt x="1419980" y="1698460"/>
                </a:cubicBezTo>
                <a:cubicBezTo>
                  <a:pt x="1420909" y="1697531"/>
                  <a:pt x="1421735" y="1696601"/>
                  <a:pt x="1422664" y="1695672"/>
                </a:cubicBezTo>
                <a:close/>
                <a:moveTo>
                  <a:pt x="1697429" y="1695517"/>
                </a:moveTo>
                <a:cubicBezTo>
                  <a:pt x="1700527" y="1695672"/>
                  <a:pt x="1705173" y="1697686"/>
                  <a:pt x="1705070" y="1698305"/>
                </a:cubicBezTo>
                <a:cubicBezTo>
                  <a:pt x="1705897" y="1698305"/>
                  <a:pt x="1705793" y="1699235"/>
                  <a:pt x="1706722" y="1699235"/>
                </a:cubicBezTo>
                <a:cubicBezTo>
                  <a:pt x="1706722" y="1699235"/>
                  <a:pt x="1707548" y="1699390"/>
                  <a:pt x="1708271" y="1700164"/>
                </a:cubicBezTo>
                <a:cubicBezTo>
                  <a:pt x="1708994" y="1701094"/>
                  <a:pt x="1709717" y="1702023"/>
                  <a:pt x="1708581" y="1703572"/>
                </a:cubicBezTo>
                <a:cubicBezTo>
                  <a:pt x="1702076" y="1700629"/>
                  <a:pt x="1698565" y="1700474"/>
                  <a:pt x="1693815" y="1697531"/>
                </a:cubicBezTo>
                <a:cubicBezTo>
                  <a:pt x="1693918" y="1696601"/>
                  <a:pt x="1694848" y="1696756"/>
                  <a:pt x="1694951" y="1695827"/>
                </a:cubicBezTo>
                <a:cubicBezTo>
                  <a:pt x="1695468" y="1695517"/>
                  <a:pt x="1696294" y="1695363"/>
                  <a:pt x="1697429" y="1695517"/>
                </a:cubicBezTo>
                <a:close/>
                <a:moveTo>
                  <a:pt x="1288535" y="1695517"/>
                </a:moveTo>
                <a:cubicBezTo>
                  <a:pt x="1289464" y="1695517"/>
                  <a:pt x="1290600" y="1695827"/>
                  <a:pt x="1291323" y="1696292"/>
                </a:cubicBezTo>
                <a:cubicBezTo>
                  <a:pt x="1292045" y="1697066"/>
                  <a:pt x="1292045" y="1697066"/>
                  <a:pt x="1292768" y="1697996"/>
                </a:cubicBezTo>
                <a:cubicBezTo>
                  <a:pt x="1292562" y="1699544"/>
                  <a:pt x="1293078" y="1701403"/>
                  <a:pt x="1291942" y="1702952"/>
                </a:cubicBezTo>
                <a:cubicBezTo>
                  <a:pt x="1289980" y="1704501"/>
                  <a:pt x="1285850" y="1703417"/>
                  <a:pt x="1284301" y="1702488"/>
                </a:cubicBezTo>
                <a:cubicBezTo>
                  <a:pt x="1283578" y="1701558"/>
                  <a:pt x="1283475" y="1700474"/>
                  <a:pt x="1283888" y="1699390"/>
                </a:cubicBezTo>
                <a:cubicBezTo>
                  <a:pt x="1284301" y="1698460"/>
                  <a:pt x="1285127" y="1697376"/>
                  <a:pt x="1286057" y="1696601"/>
                </a:cubicBezTo>
                <a:cubicBezTo>
                  <a:pt x="1286676" y="1695827"/>
                  <a:pt x="1287502" y="1695517"/>
                  <a:pt x="1288535" y="1695517"/>
                </a:cubicBezTo>
                <a:close/>
                <a:moveTo>
                  <a:pt x="1140981" y="1695517"/>
                </a:moveTo>
                <a:lnTo>
                  <a:pt x="1141702" y="1695975"/>
                </a:lnTo>
                <a:lnTo>
                  <a:pt x="1141704" y="1695982"/>
                </a:lnTo>
                <a:cubicBezTo>
                  <a:pt x="1140981" y="1695672"/>
                  <a:pt x="1140981" y="1695517"/>
                  <a:pt x="1140981" y="1695517"/>
                </a:cubicBezTo>
                <a:close/>
                <a:moveTo>
                  <a:pt x="1141395" y="1694898"/>
                </a:moveTo>
                <a:cubicBezTo>
                  <a:pt x="1146454" y="1694433"/>
                  <a:pt x="1152133" y="1697996"/>
                  <a:pt x="1152856" y="1698305"/>
                </a:cubicBezTo>
                <a:cubicBezTo>
                  <a:pt x="1152443" y="1699080"/>
                  <a:pt x="1152546" y="1699080"/>
                  <a:pt x="1152546" y="1699080"/>
                </a:cubicBezTo>
                <a:cubicBezTo>
                  <a:pt x="1150584" y="1697376"/>
                  <a:pt x="1146764" y="1698151"/>
                  <a:pt x="1143666" y="1697221"/>
                </a:cubicBezTo>
                <a:lnTo>
                  <a:pt x="1141702" y="1695975"/>
                </a:lnTo>
                <a:close/>
                <a:moveTo>
                  <a:pt x="6286919" y="1694849"/>
                </a:moveTo>
                <a:cubicBezTo>
                  <a:pt x="6288840" y="1696414"/>
                  <a:pt x="6291614" y="1696414"/>
                  <a:pt x="6293108" y="1696841"/>
                </a:cubicBezTo>
                <a:cubicBezTo>
                  <a:pt x="6294389" y="1700113"/>
                  <a:pt x="6293962" y="1702674"/>
                  <a:pt x="6291614" y="1706515"/>
                </a:cubicBezTo>
                <a:cubicBezTo>
                  <a:pt x="6286279" y="1706515"/>
                  <a:pt x="6287773" y="1707084"/>
                  <a:pt x="6282864" y="1704381"/>
                </a:cubicBezTo>
                <a:cubicBezTo>
                  <a:pt x="6284358" y="1701252"/>
                  <a:pt x="6285638" y="1697979"/>
                  <a:pt x="6286919" y="1694849"/>
                </a:cubicBezTo>
                <a:close/>
                <a:moveTo>
                  <a:pt x="5074268" y="1694423"/>
                </a:moveTo>
                <a:cubicBezTo>
                  <a:pt x="5075335" y="1695134"/>
                  <a:pt x="5075975" y="1693996"/>
                  <a:pt x="5077043" y="1694707"/>
                </a:cubicBezTo>
                <a:cubicBezTo>
                  <a:pt x="5079603" y="1694849"/>
                  <a:pt x="5079603" y="1694707"/>
                  <a:pt x="5080244" y="1696414"/>
                </a:cubicBezTo>
                <a:cubicBezTo>
                  <a:pt x="5080884" y="1698121"/>
                  <a:pt x="5078323" y="1700825"/>
                  <a:pt x="5078750" y="1702532"/>
                </a:cubicBezTo>
                <a:cubicBezTo>
                  <a:pt x="5078750" y="1702532"/>
                  <a:pt x="5078750" y="1702390"/>
                  <a:pt x="5076188" y="1702247"/>
                </a:cubicBezTo>
                <a:cubicBezTo>
                  <a:pt x="5075122" y="1701678"/>
                  <a:pt x="5074055" y="1701109"/>
                  <a:pt x="5073414" y="1699402"/>
                </a:cubicBezTo>
                <a:cubicBezTo>
                  <a:pt x="5072774" y="1697695"/>
                  <a:pt x="5073841" y="1695561"/>
                  <a:pt x="5074268" y="1694423"/>
                </a:cubicBezTo>
                <a:close/>
                <a:moveTo>
                  <a:pt x="1661290" y="1694123"/>
                </a:moveTo>
                <a:cubicBezTo>
                  <a:pt x="1662941" y="1695053"/>
                  <a:pt x="1665730" y="1696137"/>
                  <a:pt x="1666143" y="1698305"/>
                </a:cubicBezTo>
                <a:cubicBezTo>
                  <a:pt x="1666246" y="1699080"/>
                  <a:pt x="1666143" y="1699855"/>
                  <a:pt x="1665626" y="1700939"/>
                </a:cubicBezTo>
                <a:cubicBezTo>
                  <a:pt x="1665833" y="1701713"/>
                  <a:pt x="1662838" y="1703262"/>
                  <a:pt x="1661806" y="1702798"/>
                </a:cubicBezTo>
                <a:cubicBezTo>
                  <a:pt x="1658708" y="1701713"/>
                  <a:pt x="1659534" y="1698925"/>
                  <a:pt x="1659121" y="1695517"/>
                </a:cubicBezTo>
                <a:cubicBezTo>
                  <a:pt x="1660257" y="1696137"/>
                  <a:pt x="1660773" y="1695053"/>
                  <a:pt x="1661290" y="1694123"/>
                </a:cubicBezTo>
                <a:close/>
                <a:moveTo>
                  <a:pt x="1249400" y="1694123"/>
                </a:moveTo>
                <a:cubicBezTo>
                  <a:pt x="1251775" y="1695053"/>
                  <a:pt x="1252498" y="1696601"/>
                  <a:pt x="1252189" y="1697686"/>
                </a:cubicBezTo>
                <a:cubicBezTo>
                  <a:pt x="1250227" y="1706670"/>
                  <a:pt x="1241656" y="1706360"/>
                  <a:pt x="1240521" y="1707754"/>
                </a:cubicBezTo>
                <a:cubicBezTo>
                  <a:pt x="1237939" y="1706670"/>
                  <a:pt x="1237216" y="1706360"/>
                  <a:pt x="1237732" y="1703727"/>
                </a:cubicBezTo>
                <a:lnTo>
                  <a:pt x="1238352" y="1701094"/>
                </a:lnTo>
                <a:lnTo>
                  <a:pt x="1236390" y="1699855"/>
                </a:lnTo>
                <a:cubicBezTo>
                  <a:pt x="1236803" y="1698770"/>
                  <a:pt x="1237216" y="1697686"/>
                  <a:pt x="1237629" y="1696601"/>
                </a:cubicBezTo>
                <a:lnTo>
                  <a:pt x="1241656" y="1697066"/>
                </a:lnTo>
                <a:lnTo>
                  <a:pt x="1244031" y="1696292"/>
                </a:lnTo>
                <a:cubicBezTo>
                  <a:pt x="1245167" y="1694898"/>
                  <a:pt x="1247542" y="1693968"/>
                  <a:pt x="1249400" y="1694123"/>
                </a:cubicBezTo>
                <a:close/>
                <a:moveTo>
                  <a:pt x="5593945" y="1693853"/>
                </a:moveTo>
                <a:cubicBezTo>
                  <a:pt x="5601628" y="1697553"/>
                  <a:pt x="5604189" y="1712633"/>
                  <a:pt x="5600988" y="1718608"/>
                </a:cubicBezTo>
                <a:cubicBezTo>
                  <a:pt x="5596079" y="1720458"/>
                  <a:pt x="5592238" y="1719888"/>
                  <a:pt x="5589463" y="1718181"/>
                </a:cubicBezTo>
                <a:cubicBezTo>
                  <a:pt x="5587542" y="1716901"/>
                  <a:pt x="5586049" y="1714909"/>
                  <a:pt x="5585195" y="1712491"/>
                </a:cubicBezTo>
                <a:lnTo>
                  <a:pt x="5584768" y="1710072"/>
                </a:lnTo>
                <a:lnTo>
                  <a:pt x="5584768" y="1710214"/>
                </a:lnTo>
                <a:cubicBezTo>
                  <a:pt x="5580713" y="1711210"/>
                  <a:pt x="5575164" y="1708792"/>
                  <a:pt x="5573030" y="1702390"/>
                </a:cubicBezTo>
                <a:cubicBezTo>
                  <a:pt x="5575164" y="1697979"/>
                  <a:pt x="5577939" y="1695987"/>
                  <a:pt x="5579859" y="1694138"/>
                </a:cubicBezTo>
                <a:lnTo>
                  <a:pt x="5587329" y="1697837"/>
                </a:lnTo>
                <a:close/>
                <a:moveTo>
                  <a:pt x="5920264" y="1693569"/>
                </a:moveTo>
                <a:cubicBezTo>
                  <a:pt x="5921331" y="1693426"/>
                  <a:pt x="5922612" y="1693569"/>
                  <a:pt x="5923892" y="1694138"/>
                </a:cubicBezTo>
                <a:cubicBezTo>
                  <a:pt x="5925173" y="1695276"/>
                  <a:pt x="5925386" y="1697695"/>
                  <a:pt x="5924745" y="1701252"/>
                </a:cubicBezTo>
                <a:cubicBezTo>
                  <a:pt x="5922612" y="1702674"/>
                  <a:pt x="5918770" y="1699117"/>
                  <a:pt x="5916422" y="1698121"/>
                </a:cubicBezTo>
                <a:cubicBezTo>
                  <a:pt x="5917276" y="1696841"/>
                  <a:pt x="5918343" y="1695703"/>
                  <a:pt x="5917062" y="1695703"/>
                </a:cubicBezTo>
                <a:cubicBezTo>
                  <a:pt x="5918130" y="1694423"/>
                  <a:pt x="5919197" y="1693853"/>
                  <a:pt x="5920264" y="1693569"/>
                </a:cubicBezTo>
                <a:close/>
                <a:moveTo>
                  <a:pt x="5752942" y="1693426"/>
                </a:moveTo>
                <a:cubicBezTo>
                  <a:pt x="5755717" y="1693284"/>
                  <a:pt x="5758492" y="1694280"/>
                  <a:pt x="5761480" y="1696841"/>
                </a:cubicBezTo>
                <a:cubicBezTo>
                  <a:pt x="5762760" y="1702674"/>
                  <a:pt x="5756144" y="1705946"/>
                  <a:pt x="5752942" y="1708222"/>
                </a:cubicBezTo>
                <a:lnTo>
                  <a:pt x="5751235" y="1706515"/>
                </a:lnTo>
                <a:lnTo>
                  <a:pt x="5750382" y="1708934"/>
                </a:lnTo>
                <a:cubicBezTo>
                  <a:pt x="5749742" y="1709788"/>
                  <a:pt x="5749101" y="1710784"/>
                  <a:pt x="5748247" y="1711921"/>
                </a:cubicBezTo>
                <a:cubicBezTo>
                  <a:pt x="5745900" y="1710641"/>
                  <a:pt x="5742485" y="1711779"/>
                  <a:pt x="5740138" y="1709219"/>
                </a:cubicBezTo>
                <a:cubicBezTo>
                  <a:pt x="5740138" y="1709219"/>
                  <a:pt x="5738857" y="1707938"/>
                  <a:pt x="5738643" y="1705519"/>
                </a:cubicBezTo>
                <a:cubicBezTo>
                  <a:pt x="5736296" y="1701820"/>
                  <a:pt x="5739497" y="1698406"/>
                  <a:pt x="5739497" y="1698406"/>
                </a:cubicBezTo>
                <a:cubicBezTo>
                  <a:pt x="5739497" y="1698406"/>
                  <a:pt x="5739497" y="1698406"/>
                  <a:pt x="5738430" y="1698406"/>
                </a:cubicBezTo>
                <a:cubicBezTo>
                  <a:pt x="5740778" y="1698548"/>
                  <a:pt x="5742912" y="1697410"/>
                  <a:pt x="5745259" y="1697553"/>
                </a:cubicBezTo>
                <a:lnTo>
                  <a:pt x="5745900" y="1698264"/>
                </a:lnTo>
                <a:lnTo>
                  <a:pt x="5745473" y="1697268"/>
                </a:lnTo>
                <a:cubicBezTo>
                  <a:pt x="5747821" y="1694991"/>
                  <a:pt x="5750168" y="1693569"/>
                  <a:pt x="5752942" y="1693426"/>
                </a:cubicBezTo>
                <a:close/>
                <a:moveTo>
                  <a:pt x="1099266" y="1693349"/>
                </a:moveTo>
                <a:cubicBezTo>
                  <a:pt x="1102777" y="1693504"/>
                  <a:pt x="1104945" y="1695672"/>
                  <a:pt x="1107010" y="1698615"/>
                </a:cubicBezTo>
                <a:lnTo>
                  <a:pt x="1108766" y="1700784"/>
                </a:lnTo>
                <a:lnTo>
                  <a:pt x="1109385" y="1701094"/>
                </a:lnTo>
                <a:lnTo>
                  <a:pt x="1110624" y="1703262"/>
                </a:lnTo>
                <a:lnTo>
                  <a:pt x="1113825" y="1707289"/>
                </a:lnTo>
                <a:cubicBezTo>
                  <a:pt x="1116406" y="1708374"/>
                  <a:pt x="1118575" y="1706980"/>
                  <a:pt x="1121260" y="1708684"/>
                </a:cubicBezTo>
                <a:lnTo>
                  <a:pt x="1122292" y="1709768"/>
                </a:lnTo>
                <a:lnTo>
                  <a:pt x="1126629" y="1709613"/>
                </a:lnTo>
                <a:cubicBezTo>
                  <a:pt x="1127352" y="1711162"/>
                  <a:pt x="1124667" y="1713795"/>
                  <a:pt x="1123634" y="1715654"/>
                </a:cubicBezTo>
                <a:cubicBezTo>
                  <a:pt x="1122808" y="1714724"/>
                  <a:pt x="1122086" y="1713950"/>
                  <a:pt x="1121982" y="1714879"/>
                </a:cubicBezTo>
                <a:lnTo>
                  <a:pt x="1120950" y="1712866"/>
                </a:lnTo>
                <a:lnTo>
                  <a:pt x="1119091" y="1713795"/>
                </a:lnTo>
                <a:lnTo>
                  <a:pt x="1120021" y="1714570"/>
                </a:lnTo>
                <a:cubicBezTo>
                  <a:pt x="1121776" y="1716738"/>
                  <a:pt x="1123325" y="1719216"/>
                  <a:pt x="1124667" y="1721695"/>
                </a:cubicBezTo>
                <a:lnTo>
                  <a:pt x="1126629" y="1726032"/>
                </a:lnTo>
                <a:lnTo>
                  <a:pt x="1127661" y="1724173"/>
                </a:lnTo>
                <a:cubicBezTo>
                  <a:pt x="1130243" y="1720611"/>
                  <a:pt x="1133134" y="1720766"/>
                  <a:pt x="1133340" y="1719836"/>
                </a:cubicBezTo>
                <a:cubicBezTo>
                  <a:pt x="1136955" y="1720920"/>
                  <a:pt x="1136438" y="1723244"/>
                  <a:pt x="1136851" y="1726961"/>
                </a:cubicBezTo>
                <a:cubicBezTo>
                  <a:pt x="1135612" y="1726652"/>
                  <a:pt x="1134786" y="1730059"/>
                  <a:pt x="1134476" y="1731144"/>
                </a:cubicBezTo>
                <a:cubicBezTo>
                  <a:pt x="1133340" y="1730834"/>
                  <a:pt x="1132308" y="1731608"/>
                  <a:pt x="1131172" y="1732228"/>
                </a:cubicBezTo>
                <a:lnTo>
                  <a:pt x="1129623" y="1733002"/>
                </a:lnTo>
                <a:lnTo>
                  <a:pt x="1134889" y="1746323"/>
                </a:lnTo>
                <a:cubicBezTo>
                  <a:pt x="1131792" y="1746478"/>
                  <a:pt x="1130553" y="1748647"/>
                  <a:pt x="1125596" y="1748182"/>
                </a:cubicBezTo>
                <a:cubicBezTo>
                  <a:pt x="1123737" y="1740592"/>
                  <a:pt x="1120950" y="1733622"/>
                  <a:pt x="1118265" y="1726806"/>
                </a:cubicBezTo>
                <a:lnTo>
                  <a:pt x="1114548" y="1715964"/>
                </a:lnTo>
                <a:lnTo>
                  <a:pt x="1111657" y="1717203"/>
                </a:lnTo>
                <a:cubicBezTo>
                  <a:pt x="1107527" y="1718442"/>
                  <a:pt x="1103500" y="1718907"/>
                  <a:pt x="1099576" y="1718597"/>
                </a:cubicBezTo>
                <a:cubicBezTo>
                  <a:pt x="1096994" y="1718287"/>
                  <a:pt x="1094413" y="1717822"/>
                  <a:pt x="1091831" y="1716893"/>
                </a:cubicBezTo>
                <a:cubicBezTo>
                  <a:pt x="1092038" y="1715344"/>
                  <a:pt x="1092658" y="1714105"/>
                  <a:pt x="1093587" y="1713021"/>
                </a:cubicBezTo>
                <a:lnTo>
                  <a:pt x="1094310" y="1712556"/>
                </a:lnTo>
                <a:lnTo>
                  <a:pt x="1093277" y="1712556"/>
                </a:lnTo>
                <a:cubicBezTo>
                  <a:pt x="1092451" y="1712556"/>
                  <a:pt x="1091728" y="1712556"/>
                  <a:pt x="1091212" y="1712866"/>
                </a:cubicBezTo>
                <a:cubicBezTo>
                  <a:pt x="1091625" y="1712091"/>
                  <a:pt x="1092038" y="1711317"/>
                  <a:pt x="1091212" y="1711007"/>
                </a:cubicBezTo>
                <a:cubicBezTo>
                  <a:pt x="1093587" y="1710077"/>
                  <a:pt x="1094310" y="1710388"/>
                  <a:pt x="1095549" y="1710077"/>
                </a:cubicBezTo>
                <a:cubicBezTo>
                  <a:pt x="1094826" y="1709613"/>
                  <a:pt x="1095962" y="1709303"/>
                  <a:pt x="1095962" y="1709303"/>
                </a:cubicBezTo>
                <a:cubicBezTo>
                  <a:pt x="1095962" y="1709303"/>
                  <a:pt x="1096065" y="1709303"/>
                  <a:pt x="1095342" y="1707134"/>
                </a:cubicBezTo>
                <a:cubicBezTo>
                  <a:pt x="1095342" y="1707134"/>
                  <a:pt x="1094826" y="1704191"/>
                  <a:pt x="1096788" y="1701713"/>
                </a:cubicBezTo>
                <a:lnTo>
                  <a:pt x="1098956" y="1700009"/>
                </a:lnTo>
                <a:lnTo>
                  <a:pt x="1097717" y="1696756"/>
                </a:lnTo>
                <a:cubicBezTo>
                  <a:pt x="1097614" y="1695517"/>
                  <a:pt x="1098027" y="1694433"/>
                  <a:pt x="1099266" y="1693349"/>
                </a:cubicBezTo>
                <a:close/>
                <a:moveTo>
                  <a:pt x="1345119" y="1693194"/>
                </a:moveTo>
                <a:cubicBezTo>
                  <a:pt x="1349559" y="1694898"/>
                  <a:pt x="1353896" y="1702023"/>
                  <a:pt x="1355651" y="1708993"/>
                </a:cubicBezTo>
                <a:cubicBezTo>
                  <a:pt x="1357406" y="1716119"/>
                  <a:pt x="1356580" y="1723244"/>
                  <a:pt x="1351004" y="1725102"/>
                </a:cubicBezTo>
                <a:lnTo>
                  <a:pt x="1350592" y="1719991"/>
                </a:lnTo>
                <a:lnTo>
                  <a:pt x="1348630" y="1717822"/>
                </a:lnTo>
                <a:cubicBezTo>
                  <a:pt x="1347184" y="1715499"/>
                  <a:pt x="1346358" y="1712711"/>
                  <a:pt x="1345945" y="1710542"/>
                </a:cubicBezTo>
                <a:lnTo>
                  <a:pt x="1347081" y="1709148"/>
                </a:lnTo>
                <a:lnTo>
                  <a:pt x="1344499" y="1701713"/>
                </a:lnTo>
                <a:cubicBezTo>
                  <a:pt x="1344190" y="1700319"/>
                  <a:pt x="1344087" y="1698925"/>
                  <a:pt x="1344190" y="1697531"/>
                </a:cubicBezTo>
                <a:cubicBezTo>
                  <a:pt x="1344293" y="1696137"/>
                  <a:pt x="1344603" y="1694743"/>
                  <a:pt x="1345119" y="1693194"/>
                </a:cubicBezTo>
                <a:close/>
                <a:moveTo>
                  <a:pt x="1163698" y="1692110"/>
                </a:moveTo>
                <a:cubicBezTo>
                  <a:pt x="1165350" y="1693659"/>
                  <a:pt x="1167105" y="1694433"/>
                  <a:pt x="1167002" y="1695363"/>
                </a:cubicBezTo>
                <a:cubicBezTo>
                  <a:pt x="1167931" y="1695207"/>
                  <a:pt x="1168757" y="1696137"/>
                  <a:pt x="1169687" y="1695982"/>
                </a:cubicBezTo>
                <a:cubicBezTo>
                  <a:pt x="1169687" y="1695982"/>
                  <a:pt x="1169687" y="1695982"/>
                  <a:pt x="1169584" y="1696911"/>
                </a:cubicBezTo>
                <a:cubicBezTo>
                  <a:pt x="1166176" y="1696137"/>
                  <a:pt x="1161736" y="1697221"/>
                  <a:pt x="1159155" y="1695672"/>
                </a:cubicBezTo>
                <a:cubicBezTo>
                  <a:pt x="1158741" y="1695207"/>
                  <a:pt x="1158329" y="1694898"/>
                  <a:pt x="1158225" y="1694278"/>
                </a:cubicBezTo>
                <a:cubicBezTo>
                  <a:pt x="1158122" y="1693813"/>
                  <a:pt x="1158329" y="1693194"/>
                  <a:pt x="1159258" y="1692265"/>
                </a:cubicBezTo>
                <a:cubicBezTo>
                  <a:pt x="1160291" y="1690561"/>
                  <a:pt x="1161116" y="1690561"/>
                  <a:pt x="1163698" y="1692110"/>
                </a:cubicBezTo>
                <a:close/>
                <a:moveTo>
                  <a:pt x="4857860" y="1692004"/>
                </a:moveTo>
                <a:cubicBezTo>
                  <a:pt x="4857860" y="1692004"/>
                  <a:pt x="4858073" y="1692289"/>
                  <a:pt x="4858073" y="1692716"/>
                </a:cubicBezTo>
                <a:cubicBezTo>
                  <a:pt x="4858287" y="1693142"/>
                  <a:pt x="4858287" y="1693711"/>
                  <a:pt x="4857647" y="1694138"/>
                </a:cubicBezTo>
                <a:cubicBezTo>
                  <a:pt x="4857647" y="1694138"/>
                  <a:pt x="4857647" y="1694138"/>
                  <a:pt x="4856580" y="1693996"/>
                </a:cubicBezTo>
                <a:cubicBezTo>
                  <a:pt x="4856580" y="1693996"/>
                  <a:pt x="4856793" y="1692858"/>
                  <a:pt x="4857860" y="1692004"/>
                </a:cubicBezTo>
                <a:close/>
                <a:moveTo>
                  <a:pt x="4886032" y="1691434"/>
                </a:moveTo>
                <a:cubicBezTo>
                  <a:pt x="4887953" y="1691434"/>
                  <a:pt x="4890300" y="1691861"/>
                  <a:pt x="4892648" y="1692289"/>
                </a:cubicBezTo>
                <a:cubicBezTo>
                  <a:pt x="4899050" y="1694138"/>
                  <a:pt x="4903959" y="1698548"/>
                  <a:pt x="4909081" y="1703670"/>
                </a:cubicBezTo>
                <a:lnTo>
                  <a:pt x="4912496" y="1707227"/>
                </a:lnTo>
                <a:lnTo>
                  <a:pt x="4913990" y="1707654"/>
                </a:lnTo>
                <a:cubicBezTo>
                  <a:pt x="4915697" y="1708080"/>
                  <a:pt x="4917404" y="1708649"/>
                  <a:pt x="4918258" y="1709503"/>
                </a:cubicBezTo>
                <a:cubicBezTo>
                  <a:pt x="4918898" y="1710072"/>
                  <a:pt x="4919111" y="1710641"/>
                  <a:pt x="4918898" y="1711495"/>
                </a:cubicBezTo>
                <a:lnTo>
                  <a:pt x="4915911" y="1711068"/>
                </a:lnTo>
                <a:lnTo>
                  <a:pt x="4916764" y="1711921"/>
                </a:lnTo>
                <a:cubicBezTo>
                  <a:pt x="4919539" y="1714767"/>
                  <a:pt x="4922740" y="1717612"/>
                  <a:pt x="4926368" y="1720315"/>
                </a:cubicBezTo>
                <a:cubicBezTo>
                  <a:pt x="4919752" y="1720885"/>
                  <a:pt x="4915483" y="1724441"/>
                  <a:pt x="4912069" y="1728567"/>
                </a:cubicBezTo>
                <a:lnTo>
                  <a:pt x="4908227" y="1733262"/>
                </a:lnTo>
                <a:lnTo>
                  <a:pt x="4909295" y="1734258"/>
                </a:lnTo>
                <a:cubicBezTo>
                  <a:pt x="4909508" y="1734542"/>
                  <a:pt x="4909508" y="1734542"/>
                  <a:pt x="4909508" y="1733973"/>
                </a:cubicBezTo>
                <a:cubicBezTo>
                  <a:pt x="4911642" y="1736676"/>
                  <a:pt x="4914843" y="1739522"/>
                  <a:pt x="4913563" y="1741798"/>
                </a:cubicBezTo>
                <a:cubicBezTo>
                  <a:pt x="4910575" y="1744786"/>
                  <a:pt x="4905880" y="1743505"/>
                  <a:pt x="4901825" y="1741229"/>
                </a:cubicBezTo>
                <a:lnTo>
                  <a:pt x="4901184" y="1740802"/>
                </a:lnTo>
                <a:lnTo>
                  <a:pt x="4897343" y="1743078"/>
                </a:lnTo>
                <a:cubicBezTo>
                  <a:pt x="4895636" y="1743647"/>
                  <a:pt x="4893928" y="1743932"/>
                  <a:pt x="4891794" y="1743790"/>
                </a:cubicBezTo>
                <a:lnTo>
                  <a:pt x="4883471" y="1741798"/>
                </a:lnTo>
                <a:lnTo>
                  <a:pt x="4883044" y="1744359"/>
                </a:lnTo>
                <a:cubicBezTo>
                  <a:pt x="4878989" y="1743932"/>
                  <a:pt x="4877922" y="1741798"/>
                  <a:pt x="4877708" y="1739095"/>
                </a:cubicBezTo>
                <a:lnTo>
                  <a:pt x="4877922" y="1738810"/>
                </a:lnTo>
                <a:lnTo>
                  <a:pt x="4873227" y="1734969"/>
                </a:lnTo>
                <a:lnTo>
                  <a:pt x="4871092" y="1743505"/>
                </a:lnTo>
                <a:cubicBezTo>
                  <a:pt x="4870025" y="1746493"/>
                  <a:pt x="4868531" y="1749481"/>
                  <a:pt x="4867464" y="1752041"/>
                </a:cubicBezTo>
                <a:cubicBezTo>
                  <a:pt x="4865116" y="1757448"/>
                  <a:pt x="4862342" y="1762996"/>
                  <a:pt x="4858714" y="1764845"/>
                </a:cubicBezTo>
                <a:lnTo>
                  <a:pt x="4858287" y="1764845"/>
                </a:lnTo>
                <a:lnTo>
                  <a:pt x="4856366" y="1767691"/>
                </a:lnTo>
                <a:cubicBezTo>
                  <a:pt x="4853378" y="1771106"/>
                  <a:pt x="4849750" y="1772670"/>
                  <a:pt x="4846549" y="1767833"/>
                </a:cubicBezTo>
                <a:lnTo>
                  <a:pt x="4850817" y="1761573"/>
                </a:lnTo>
                <a:lnTo>
                  <a:pt x="4848257" y="1759582"/>
                </a:lnTo>
                <a:cubicBezTo>
                  <a:pt x="4846976" y="1756736"/>
                  <a:pt x="4846335" y="1753179"/>
                  <a:pt x="4846762" y="1749338"/>
                </a:cubicBezTo>
                <a:lnTo>
                  <a:pt x="4846976" y="1748058"/>
                </a:lnTo>
                <a:lnTo>
                  <a:pt x="4832890" y="1748484"/>
                </a:lnTo>
                <a:lnTo>
                  <a:pt x="4828835" y="1748911"/>
                </a:lnTo>
                <a:lnTo>
                  <a:pt x="4828195" y="1750192"/>
                </a:lnTo>
                <a:cubicBezTo>
                  <a:pt x="4826915" y="1751330"/>
                  <a:pt x="4825634" y="1752183"/>
                  <a:pt x="4824993" y="1753891"/>
                </a:cubicBezTo>
                <a:cubicBezTo>
                  <a:pt x="4824140" y="1753037"/>
                  <a:pt x="4822646" y="1752041"/>
                  <a:pt x="4821792" y="1750476"/>
                </a:cubicBezTo>
                <a:lnTo>
                  <a:pt x="4821579" y="1749765"/>
                </a:lnTo>
                <a:lnTo>
                  <a:pt x="4820939" y="1749765"/>
                </a:lnTo>
                <a:lnTo>
                  <a:pt x="4821365" y="1749196"/>
                </a:lnTo>
                <a:lnTo>
                  <a:pt x="4820939" y="1747773"/>
                </a:lnTo>
                <a:cubicBezTo>
                  <a:pt x="4820725" y="1746635"/>
                  <a:pt x="4820725" y="1745355"/>
                  <a:pt x="4821152" y="1743932"/>
                </a:cubicBezTo>
                <a:cubicBezTo>
                  <a:pt x="4821792" y="1742225"/>
                  <a:pt x="4821792" y="1742225"/>
                  <a:pt x="4822860" y="1741655"/>
                </a:cubicBezTo>
                <a:cubicBezTo>
                  <a:pt x="4823713" y="1740517"/>
                  <a:pt x="4824353" y="1739664"/>
                  <a:pt x="4824993" y="1738953"/>
                </a:cubicBezTo>
                <a:lnTo>
                  <a:pt x="4825634" y="1738810"/>
                </a:lnTo>
                <a:lnTo>
                  <a:pt x="4826060" y="1736818"/>
                </a:lnTo>
                <a:cubicBezTo>
                  <a:pt x="4826488" y="1732551"/>
                  <a:pt x="4826274" y="1728140"/>
                  <a:pt x="4826060" y="1723872"/>
                </a:cubicBezTo>
                <a:lnTo>
                  <a:pt x="4823713" y="1723730"/>
                </a:lnTo>
                <a:cubicBezTo>
                  <a:pt x="4821792" y="1722734"/>
                  <a:pt x="4819872" y="1721453"/>
                  <a:pt x="4817951" y="1721169"/>
                </a:cubicBezTo>
                <a:cubicBezTo>
                  <a:pt x="4818804" y="1715905"/>
                  <a:pt x="4821792" y="1713202"/>
                  <a:pt x="4824780" y="1712491"/>
                </a:cubicBezTo>
                <a:lnTo>
                  <a:pt x="4827555" y="1712775"/>
                </a:lnTo>
                <a:lnTo>
                  <a:pt x="4828408" y="1710499"/>
                </a:lnTo>
                <a:cubicBezTo>
                  <a:pt x="4829048" y="1708792"/>
                  <a:pt x="4830329" y="1707084"/>
                  <a:pt x="4831823" y="1705519"/>
                </a:cubicBezTo>
                <a:cubicBezTo>
                  <a:pt x="4842921" y="1693426"/>
                  <a:pt x="4857433" y="1695845"/>
                  <a:pt x="4866397" y="1704097"/>
                </a:cubicBezTo>
                <a:lnTo>
                  <a:pt x="4867037" y="1704808"/>
                </a:lnTo>
                <a:lnTo>
                  <a:pt x="4868744" y="1701820"/>
                </a:lnTo>
                <a:lnTo>
                  <a:pt x="4866397" y="1701678"/>
                </a:lnTo>
                <a:cubicBezTo>
                  <a:pt x="4864476" y="1700398"/>
                  <a:pt x="4863623" y="1697979"/>
                  <a:pt x="4864690" y="1694280"/>
                </a:cubicBezTo>
                <a:cubicBezTo>
                  <a:pt x="4866184" y="1693426"/>
                  <a:pt x="4868744" y="1693569"/>
                  <a:pt x="4871092" y="1694138"/>
                </a:cubicBezTo>
                <a:lnTo>
                  <a:pt x="4873653" y="1695845"/>
                </a:lnTo>
                <a:lnTo>
                  <a:pt x="4880270" y="1692004"/>
                </a:lnTo>
                <a:cubicBezTo>
                  <a:pt x="4881977" y="1691719"/>
                  <a:pt x="4883898" y="1691434"/>
                  <a:pt x="4886032" y="1691434"/>
                </a:cubicBezTo>
                <a:close/>
                <a:moveTo>
                  <a:pt x="4794688" y="1691292"/>
                </a:moveTo>
                <a:cubicBezTo>
                  <a:pt x="4795968" y="1692716"/>
                  <a:pt x="4796822" y="1693996"/>
                  <a:pt x="4797463" y="1695418"/>
                </a:cubicBezTo>
                <a:lnTo>
                  <a:pt x="4797463" y="1696556"/>
                </a:lnTo>
                <a:lnTo>
                  <a:pt x="4798530" y="1695561"/>
                </a:lnTo>
                <a:cubicBezTo>
                  <a:pt x="4798956" y="1694707"/>
                  <a:pt x="4799170" y="1693853"/>
                  <a:pt x="4799383" y="1692573"/>
                </a:cubicBezTo>
                <a:cubicBezTo>
                  <a:pt x="4799383" y="1692573"/>
                  <a:pt x="4799383" y="1692573"/>
                  <a:pt x="4802585" y="1691577"/>
                </a:cubicBezTo>
                <a:lnTo>
                  <a:pt x="4803438" y="1692289"/>
                </a:lnTo>
                <a:cubicBezTo>
                  <a:pt x="4803865" y="1692858"/>
                  <a:pt x="4803438" y="1693711"/>
                  <a:pt x="4802798" y="1694849"/>
                </a:cubicBezTo>
                <a:cubicBezTo>
                  <a:pt x="4800877" y="1698548"/>
                  <a:pt x="4795968" y="1703812"/>
                  <a:pt x="4795542" y="1704666"/>
                </a:cubicBezTo>
                <a:cubicBezTo>
                  <a:pt x="4795542" y="1704666"/>
                  <a:pt x="4794902" y="1705662"/>
                  <a:pt x="4794261" y="1706800"/>
                </a:cubicBezTo>
                <a:cubicBezTo>
                  <a:pt x="4792554" y="1707227"/>
                  <a:pt x="4791700" y="1706657"/>
                  <a:pt x="4791060" y="1707654"/>
                </a:cubicBezTo>
                <a:cubicBezTo>
                  <a:pt x="4790633" y="1705235"/>
                  <a:pt x="4791060" y="1703243"/>
                  <a:pt x="4792127" y="1701820"/>
                </a:cubicBezTo>
                <a:lnTo>
                  <a:pt x="4795968" y="1697695"/>
                </a:lnTo>
                <a:lnTo>
                  <a:pt x="4794688" y="1695703"/>
                </a:lnTo>
                <a:cubicBezTo>
                  <a:pt x="4794261" y="1694423"/>
                  <a:pt x="4794261" y="1693142"/>
                  <a:pt x="4794688" y="1691292"/>
                </a:cubicBezTo>
                <a:close/>
                <a:moveTo>
                  <a:pt x="5647087" y="1691150"/>
                </a:moveTo>
                <a:cubicBezTo>
                  <a:pt x="5649220" y="1691292"/>
                  <a:pt x="5650288" y="1692004"/>
                  <a:pt x="5650928" y="1693142"/>
                </a:cubicBezTo>
                <a:cubicBezTo>
                  <a:pt x="5651355" y="1694280"/>
                  <a:pt x="5651568" y="1695703"/>
                  <a:pt x="5651142" y="1697410"/>
                </a:cubicBezTo>
                <a:cubicBezTo>
                  <a:pt x="5650715" y="1700682"/>
                  <a:pt x="5648154" y="1700825"/>
                  <a:pt x="5648154" y="1700825"/>
                </a:cubicBezTo>
                <a:cubicBezTo>
                  <a:pt x="5644099" y="1700540"/>
                  <a:pt x="5641111" y="1698121"/>
                  <a:pt x="5640897" y="1693711"/>
                </a:cubicBezTo>
                <a:cubicBezTo>
                  <a:pt x="5641964" y="1691434"/>
                  <a:pt x="5644525" y="1691292"/>
                  <a:pt x="5647087" y="1691150"/>
                </a:cubicBezTo>
                <a:close/>
                <a:moveTo>
                  <a:pt x="4970546" y="1690866"/>
                </a:moveTo>
                <a:cubicBezTo>
                  <a:pt x="4972040" y="1693000"/>
                  <a:pt x="4975454" y="1696556"/>
                  <a:pt x="4976095" y="1699117"/>
                </a:cubicBezTo>
                <a:cubicBezTo>
                  <a:pt x="4976308" y="1699971"/>
                  <a:pt x="4976095" y="1700825"/>
                  <a:pt x="4975454" y="1701252"/>
                </a:cubicBezTo>
                <a:cubicBezTo>
                  <a:pt x="4973321" y="1698548"/>
                  <a:pt x="4969052" y="1695418"/>
                  <a:pt x="4970546" y="1690866"/>
                </a:cubicBezTo>
                <a:close/>
                <a:moveTo>
                  <a:pt x="1064365" y="1690561"/>
                </a:moveTo>
                <a:cubicBezTo>
                  <a:pt x="1064262" y="1692265"/>
                  <a:pt x="1067670" y="1693039"/>
                  <a:pt x="1065914" y="1694743"/>
                </a:cubicBezTo>
                <a:cubicBezTo>
                  <a:pt x="1064985" y="1693968"/>
                  <a:pt x="1064159" y="1692265"/>
                  <a:pt x="1063333" y="1691490"/>
                </a:cubicBezTo>
                <a:cubicBezTo>
                  <a:pt x="1063333" y="1691490"/>
                  <a:pt x="1063436" y="1691490"/>
                  <a:pt x="1064365" y="1690561"/>
                </a:cubicBezTo>
                <a:close/>
                <a:moveTo>
                  <a:pt x="5022407" y="1690439"/>
                </a:moveTo>
                <a:cubicBezTo>
                  <a:pt x="5023474" y="1690297"/>
                  <a:pt x="5025821" y="1690154"/>
                  <a:pt x="5027316" y="1691292"/>
                </a:cubicBezTo>
                <a:cubicBezTo>
                  <a:pt x="5028383" y="1691150"/>
                  <a:pt x="5027742" y="1694849"/>
                  <a:pt x="5027742" y="1694849"/>
                </a:cubicBezTo>
                <a:cubicBezTo>
                  <a:pt x="5026889" y="1696130"/>
                  <a:pt x="5022833" y="1693996"/>
                  <a:pt x="5021767" y="1694138"/>
                </a:cubicBezTo>
                <a:cubicBezTo>
                  <a:pt x="5021553" y="1692858"/>
                  <a:pt x="5022620" y="1691577"/>
                  <a:pt x="5022407" y="1690439"/>
                </a:cubicBezTo>
                <a:close/>
                <a:moveTo>
                  <a:pt x="4679228" y="1690297"/>
                </a:moveTo>
                <a:cubicBezTo>
                  <a:pt x="4681789" y="1690439"/>
                  <a:pt x="4684137" y="1691861"/>
                  <a:pt x="4684777" y="1693426"/>
                </a:cubicBezTo>
                <a:cubicBezTo>
                  <a:pt x="4684137" y="1701536"/>
                  <a:pt x="4675386" y="1698121"/>
                  <a:pt x="4674106" y="1694849"/>
                </a:cubicBezTo>
                <a:cubicBezTo>
                  <a:pt x="4674533" y="1691292"/>
                  <a:pt x="4676880" y="1690154"/>
                  <a:pt x="4679228" y="1690297"/>
                </a:cubicBezTo>
                <a:close/>
                <a:moveTo>
                  <a:pt x="5010669" y="1690012"/>
                </a:moveTo>
                <a:cubicBezTo>
                  <a:pt x="5011522" y="1689728"/>
                  <a:pt x="5012803" y="1690012"/>
                  <a:pt x="5014724" y="1691008"/>
                </a:cubicBezTo>
                <a:cubicBezTo>
                  <a:pt x="5014724" y="1691008"/>
                  <a:pt x="5014724" y="1692146"/>
                  <a:pt x="5014724" y="1692146"/>
                </a:cubicBezTo>
                <a:cubicBezTo>
                  <a:pt x="5013017" y="1695703"/>
                  <a:pt x="5011522" y="1694565"/>
                  <a:pt x="5008962" y="1692431"/>
                </a:cubicBezTo>
                <a:cubicBezTo>
                  <a:pt x="5009388" y="1691292"/>
                  <a:pt x="5009815" y="1690297"/>
                  <a:pt x="5010669" y="1690012"/>
                </a:cubicBezTo>
                <a:close/>
                <a:moveTo>
                  <a:pt x="4715296" y="1690012"/>
                </a:moveTo>
                <a:cubicBezTo>
                  <a:pt x="4716363" y="1689869"/>
                  <a:pt x="4717430" y="1690012"/>
                  <a:pt x="4718497" y="1690439"/>
                </a:cubicBezTo>
                <a:cubicBezTo>
                  <a:pt x="4722552" y="1691008"/>
                  <a:pt x="4724259" y="1695276"/>
                  <a:pt x="4728741" y="1696841"/>
                </a:cubicBezTo>
                <a:cubicBezTo>
                  <a:pt x="4727247" y="1702816"/>
                  <a:pt x="4726394" y="1704523"/>
                  <a:pt x="4720205" y="1704950"/>
                </a:cubicBezTo>
                <a:cubicBezTo>
                  <a:pt x="4720205" y="1704950"/>
                  <a:pt x="4718924" y="1704381"/>
                  <a:pt x="4718924" y="1704381"/>
                </a:cubicBezTo>
                <a:cubicBezTo>
                  <a:pt x="4713375" y="1703385"/>
                  <a:pt x="4708680" y="1697837"/>
                  <a:pt x="4708893" y="1695134"/>
                </a:cubicBezTo>
                <a:cubicBezTo>
                  <a:pt x="4709747" y="1692716"/>
                  <a:pt x="4712308" y="1690439"/>
                  <a:pt x="4715296" y="1690012"/>
                </a:cubicBezTo>
                <a:close/>
                <a:moveTo>
                  <a:pt x="1276557" y="1689786"/>
                </a:moveTo>
                <a:cubicBezTo>
                  <a:pt x="1276557" y="1689786"/>
                  <a:pt x="1276557" y="1689786"/>
                  <a:pt x="1273356" y="1695363"/>
                </a:cubicBezTo>
                <a:cubicBezTo>
                  <a:pt x="1272943" y="1695053"/>
                  <a:pt x="1272839" y="1694588"/>
                  <a:pt x="1273046" y="1694123"/>
                </a:cubicBezTo>
                <a:cubicBezTo>
                  <a:pt x="1273253" y="1693659"/>
                  <a:pt x="1273666" y="1693194"/>
                  <a:pt x="1274079" y="1692729"/>
                </a:cubicBezTo>
                <a:cubicBezTo>
                  <a:pt x="1274905" y="1691645"/>
                  <a:pt x="1275731" y="1690716"/>
                  <a:pt x="1276557" y="1689786"/>
                </a:cubicBezTo>
                <a:close/>
                <a:moveTo>
                  <a:pt x="1251053" y="1689631"/>
                </a:moveTo>
                <a:cubicBezTo>
                  <a:pt x="1251879" y="1690406"/>
                  <a:pt x="1252705" y="1691180"/>
                  <a:pt x="1253531" y="1691955"/>
                </a:cubicBezTo>
                <a:cubicBezTo>
                  <a:pt x="1251775" y="1693659"/>
                  <a:pt x="1249917" y="1695363"/>
                  <a:pt x="1248368" y="1693813"/>
                </a:cubicBezTo>
                <a:cubicBezTo>
                  <a:pt x="1249297" y="1692110"/>
                  <a:pt x="1248471" y="1691335"/>
                  <a:pt x="1251053" y="1689631"/>
                </a:cubicBezTo>
                <a:close/>
                <a:moveTo>
                  <a:pt x="766484" y="1689554"/>
                </a:moveTo>
                <a:cubicBezTo>
                  <a:pt x="768717" y="1690367"/>
                  <a:pt x="770601" y="1692032"/>
                  <a:pt x="771221" y="1694123"/>
                </a:cubicBezTo>
                <a:cubicBezTo>
                  <a:pt x="771737" y="1696137"/>
                  <a:pt x="771221" y="1698305"/>
                  <a:pt x="769053" y="1700784"/>
                </a:cubicBezTo>
                <a:cubicBezTo>
                  <a:pt x="763683" y="1697376"/>
                  <a:pt x="759863" y="1698925"/>
                  <a:pt x="756765" y="1694278"/>
                </a:cubicBezTo>
                <a:cubicBezTo>
                  <a:pt x="757282" y="1692265"/>
                  <a:pt x="758314" y="1690870"/>
                  <a:pt x="759657" y="1690096"/>
                </a:cubicBezTo>
                <a:cubicBezTo>
                  <a:pt x="761670" y="1688779"/>
                  <a:pt x="764251" y="1688741"/>
                  <a:pt x="766484" y="1689554"/>
                </a:cubicBezTo>
                <a:close/>
                <a:moveTo>
                  <a:pt x="1487819" y="1689476"/>
                </a:moveTo>
                <a:cubicBezTo>
                  <a:pt x="1489058" y="1689321"/>
                  <a:pt x="1490400" y="1689476"/>
                  <a:pt x="1491743" y="1689941"/>
                </a:cubicBezTo>
                <a:cubicBezTo>
                  <a:pt x="1493395" y="1690716"/>
                  <a:pt x="1494944" y="1692265"/>
                  <a:pt x="1496183" y="1694433"/>
                </a:cubicBezTo>
                <a:cubicBezTo>
                  <a:pt x="1496596" y="1696601"/>
                  <a:pt x="1494737" y="1699080"/>
                  <a:pt x="1492259" y="1700939"/>
                </a:cubicBezTo>
                <a:lnTo>
                  <a:pt x="1492156" y="1700939"/>
                </a:lnTo>
                <a:lnTo>
                  <a:pt x="1493189" y="1701094"/>
                </a:lnTo>
                <a:cubicBezTo>
                  <a:pt x="1492672" y="1701558"/>
                  <a:pt x="1492569" y="1701403"/>
                  <a:pt x="1492362" y="1701248"/>
                </a:cubicBezTo>
                <a:lnTo>
                  <a:pt x="1491846" y="1701094"/>
                </a:lnTo>
                <a:lnTo>
                  <a:pt x="1489265" y="1702488"/>
                </a:lnTo>
                <a:lnTo>
                  <a:pt x="1489884" y="1704191"/>
                </a:lnTo>
                <a:lnTo>
                  <a:pt x="1489058" y="1702488"/>
                </a:lnTo>
                <a:lnTo>
                  <a:pt x="1488232" y="1702952"/>
                </a:lnTo>
                <a:cubicBezTo>
                  <a:pt x="1486890" y="1703417"/>
                  <a:pt x="1485651" y="1703417"/>
                  <a:pt x="1484618" y="1703107"/>
                </a:cubicBezTo>
                <a:cubicBezTo>
                  <a:pt x="1483276" y="1701248"/>
                  <a:pt x="1481933" y="1699390"/>
                  <a:pt x="1480591" y="1697531"/>
                </a:cubicBezTo>
                <a:cubicBezTo>
                  <a:pt x="1480591" y="1693194"/>
                  <a:pt x="1483999" y="1689941"/>
                  <a:pt x="1487819" y="1689476"/>
                </a:cubicBezTo>
                <a:close/>
                <a:moveTo>
                  <a:pt x="5326743" y="1688874"/>
                </a:moveTo>
                <a:cubicBezTo>
                  <a:pt x="5328664" y="1689016"/>
                  <a:pt x="5329731" y="1689585"/>
                  <a:pt x="5330158" y="1690724"/>
                </a:cubicBezTo>
                <a:cubicBezTo>
                  <a:pt x="5330585" y="1691861"/>
                  <a:pt x="5330371" y="1693426"/>
                  <a:pt x="5329945" y="1695134"/>
                </a:cubicBezTo>
                <a:cubicBezTo>
                  <a:pt x="5328878" y="1698406"/>
                  <a:pt x="5326316" y="1698690"/>
                  <a:pt x="5326316" y="1698690"/>
                </a:cubicBezTo>
                <a:cubicBezTo>
                  <a:pt x="5322262" y="1698406"/>
                  <a:pt x="5319700" y="1695987"/>
                  <a:pt x="5320128" y="1691577"/>
                </a:cubicBezTo>
                <a:cubicBezTo>
                  <a:pt x="5321621" y="1689301"/>
                  <a:pt x="5324183" y="1689159"/>
                  <a:pt x="5326743" y="1688874"/>
                </a:cubicBezTo>
                <a:close/>
                <a:moveTo>
                  <a:pt x="1262307" y="1688702"/>
                </a:moveTo>
                <a:cubicBezTo>
                  <a:pt x="1266851" y="1687308"/>
                  <a:pt x="1270981" y="1692729"/>
                  <a:pt x="1269948" y="1696601"/>
                </a:cubicBezTo>
                <a:cubicBezTo>
                  <a:pt x="1269639" y="1697841"/>
                  <a:pt x="1268709" y="1698925"/>
                  <a:pt x="1267057" y="1699544"/>
                </a:cubicBezTo>
                <a:cubicBezTo>
                  <a:pt x="1261688" y="1698615"/>
                  <a:pt x="1263960" y="1693659"/>
                  <a:pt x="1262307" y="1688702"/>
                </a:cubicBezTo>
                <a:close/>
                <a:moveTo>
                  <a:pt x="1588958" y="1688682"/>
                </a:moveTo>
                <a:cubicBezTo>
                  <a:pt x="1590688" y="1688624"/>
                  <a:pt x="1591953" y="1689864"/>
                  <a:pt x="1589836" y="1693659"/>
                </a:cubicBezTo>
                <a:cubicBezTo>
                  <a:pt x="1586635" y="1693194"/>
                  <a:pt x="1585396" y="1692265"/>
                  <a:pt x="1585293" y="1691490"/>
                </a:cubicBezTo>
                <a:cubicBezTo>
                  <a:pt x="1585035" y="1690096"/>
                  <a:pt x="1587229" y="1688740"/>
                  <a:pt x="1588958" y="1688682"/>
                </a:cubicBezTo>
                <a:close/>
                <a:moveTo>
                  <a:pt x="4030645" y="1688163"/>
                </a:moveTo>
                <a:cubicBezTo>
                  <a:pt x="4031499" y="1687878"/>
                  <a:pt x="4032566" y="1688305"/>
                  <a:pt x="4034487" y="1689443"/>
                </a:cubicBezTo>
                <a:lnTo>
                  <a:pt x="4034487" y="1690154"/>
                </a:lnTo>
                <a:lnTo>
                  <a:pt x="4034701" y="1690012"/>
                </a:lnTo>
                <a:cubicBezTo>
                  <a:pt x="4036194" y="1689159"/>
                  <a:pt x="4037688" y="1688589"/>
                  <a:pt x="4038968" y="1688447"/>
                </a:cubicBezTo>
                <a:cubicBezTo>
                  <a:pt x="4037688" y="1690724"/>
                  <a:pt x="4034914" y="1693996"/>
                  <a:pt x="4031712" y="1693284"/>
                </a:cubicBezTo>
                <a:cubicBezTo>
                  <a:pt x="4031712" y="1693284"/>
                  <a:pt x="4031712" y="1693284"/>
                  <a:pt x="4030005" y="1692858"/>
                </a:cubicBezTo>
                <a:lnTo>
                  <a:pt x="4031072" y="1692289"/>
                </a:lnTo>
                <a:lnTo>
                  <a:pt x="4028725" y="1690439"/>
                </a:lnTo>
                <a:cubicBezTo>
                  <a:pt x="4029151" y="1689301"/>
                  <a:pt x="4029792" y="1688447"/>
                  <a:pt x="4030645" y="1688163"/>
                </a:cubicBezTo>
                <a:close/>
                <a:moveTo>
                  <a:pt x="3937381" y="1687878"/>
                </a:moveTo>
                <a:cubicBezTo>
                  <a:pt x="3940155" y="1688163"/>
                  <a:pt x="3942503" y="1690581"/>
                  <a:pt x="3943570" y="1693711"/>
                </a:cubicBezTo>
                <a:cubicBezTo>
                  <a:pt x="3945278" y="1697695"/>
                  <a:pt x="3945064" y="1702959"/>
                  <a:pt x="3942503" y="1706089"/>
                </a:cubicBezTo>
                <a:cubicBezTo>
                  <a:pt x="3934820" y="1702247"/>
                  <a:pt x="3930338" y="1697979"/>
                  <a:pt x="3934179" y="1688305"/>
                </a:cubicBezTo>
                <a:cubicBezTo>
                  <a:pt x="3935460" y="1687878"/>
                  <a:pt x="3936314" y="1687736"/>
                  <a:pt x="3937381" y="1687878"/>
                </a:cubicBezTo>
                <a:close/>
                <a:moveTo>
                  <a:pt x="4959235" y="1687736"/>
                </a:moveTo>
                <a:cubicBezTo>
                  <a:pt x="4960515" y="1687451"/>
                  <a:pt x="4961582" y="1687451"/>
                  <a:pt x="4962863" y="1687736"/>
                </a:cubicBezTo>
                <a:cubicBezTo>
                  <a:pt x="4964357" y="1688163"/>
                  <a:pt x="4965851" y="1689159"/>
                  <a:pt x="4966918" y="1690866"/>
                </a:cubicBezTo>
                <a:cubicBezTo>
                  <a:pt x="4965424" y="1693142"/>
                  <a:pt x="4964997" y="1695561"/>
                  <a:pt x="4963503" y="1697979"/>
                </a:cubicBezTo>
                <a:cubicBezTo>
                  <a:pt x="4959021" y="1697553"/>
                  <a:pt x="4954967" y="1702105"/>
                  <a:pt x="4951552" y="1695561"/>
                </a:cubicBezTo>
                <a:cubicBezTo>
                  <a:pt x="4952192" y="1691577"/>
                  <a:pt x="4955607" y="1688447"/>
                  <a:pt x="4959235" y="1687736"/>
                </a:cubicBezTo>
                <a:close/>
                <a:moveTo>
                  <a:pt x="1634236" y="1687463"/>
                </a:moveTo>
                <a:cubicBezTo>
                  <a:pt x="1639090" y="1692420"/>
                  <a:pt x="1644149" y="1692110"/>
                  <a:pt x="1642187" y="1698151"/>
                </a:cubicBezTo>
                <a:cubicBezTo>
                  <a:pt x="1638780" y="1699080"/>
                  <a:pt x="1634649" y="1695053"/>
                  <a:pt x="1630623" y="1691955"/>
                </a:cubicBezTo>
                <a:cubicBezTo>
                  <a:pt x="1632378" y="1690096"/>
                  <a:pt x="1633307" y="1689166"/>
                  <a:pt x="1634236" y="1687463"/>
                </a:cubicBezTo>
                <a:close/>
                <a:moveTo>
                  <a:pt x="1077066" y="1687463"/>
                </a:moveTo>
                <a:cubicBezTo>
                  <a:pt x="1082125" y="1683745"/>
                  <a:pt x="1085843" y="1690406"/>
                  <a:pt x="1084397" y="1693194"/>
                </a:cubicBezTo>
                <a:cubicBezTo>
                  <a:pt x="1080473" y="1694898"/>
                  <a:pt x="1076446" y="1690870"/>
                  <a:pt x="1077066" y="1687463"/>
                </a:cubicBezTo>
                <a:close/>
                <a:moveTo>
                  <a:pt x="5612939" y="1686882"/>
                </a:moveTo>
                <a:cubicBezTo>
                  <a:pt x="5615927" y="1687309"/>
                  <a:pt x="5619342" y="1689159"/>
                  <a:pt x="5622543" y="1692716"/>
                </a:cubicBezTo>
                <a:cubicBezTo>
                  <a:pt x="5624037" y="1698690"/>
                  <a:pt x="5617421" y="1706657"/>
                  <a:pt x="5612726" y="1705377"/>
                </a:cubicBezTo>
                <a:cubicBezTo>
                  <a:pt x="5599281" y="1695845"/>
                  <a:pt x="5604189" y="1685317"/>
                  <a:pt x="5612939" y="1686882"/>
                </a:cubicBezTo>
                <a:close/>
                <a:moveTo>
                  <a:pt x="1200457" y="1686688"/>
                </a:moveTo>
                <a:cubicBezTo>
                  <a:pt x="1200354" y="1688392"/>
                  <a:pt x="1197669" y="1690870"/>
                  <a:pt x="1195810" y="1692574"/>
                </a:cubicBezTo>
                <a:cubicBezTo>
                  <a:pt x="1193229" y="1692729"/>
                  <a:pt x="1190648" y="1691180"/>
                  <a:pt x="1188996" y="1688857"/>
                </a:cubicBezTo>
                <a:cubicBezTo>
                  <a:pt x="1192713" y="1685449"/>
                  <a:pt x="1196120" y="1685294"/>
                  <a:pt x="1200457" y="1686688"/>
                </a:cubicBezTo>
                <a:close/>
                <a:moveTo>
                  <a:pt x="1558653" y="1686378"/>
                </a:moveTo>
                <a:cubicBezTo>
                  <a:pt x="1559376" y="1689786"/>
                  <a:pt x="1559892" y="1692110"/>
                  <a:pt x="1559685" y="1693968"/>
                </a:cubicBezTo>
                <a:cubicBezTo>
                  <a:pt x="1556691" y="1695363"/>
                  <a:pt x="1554523" y="1693504"/>
                  <a:pt x="1554006" y="1691180"/>
                </a:cubicBezTo>
                <a:cubicBezTo>
                  <a:pt x="1553490" y="1688857"/>
                  <a:pt x="1554729" y="1686223"/>
                  <a:pt x="1558653" y="1686378"/>
                </a:cubicBezTo>
                <a:close/>
                <a:moveTo>
                  <a:pt x="4729168" y="1686171"/>
                </a:moveTo>
                <a:lnTo>
                  <a:pt x="4727888" y="1686455"/>
                </a:lnTo>
                <a:lnTo>
                  <a:pt x="4727461" y="1687594"/>
                </a:lnTo>
                <a:close/>
                <a:moveTo>
                  <a:pt x="955533" y="1686068"/>
                </a:moveTo>
                <a:cubicBezTo>
                  <a:pt x="960386" y="1684210"/>
                  <a:pt x="963484" y="1686688"/>
                  <a:pt x="964310" y="1689786"/>
                </a:cubicBezTo>
                <a:cubicBezTo>
                  <a:pt x="965136" y="1692884"/>
                  <a:pt x="963484" y="1696601"/>
                  <a:pt x="958941" y="1697531"/>
                </a:cubicBezTo>
                <a:cubicBezTo>
                  <a:pt x="955636" y="1695517"/>
                  <a:pt x="954088" y="1693194"/>
                  <a:pt x="952745" y="1691645"/>
                </a:cubicBezTo>
                <a:cubicBezTo>
                  <a:pt x="953985" y="1689786"/>
                  <a:pt x="954294" y="1687927"/>
                  <a:pt x="955533" y="1686068"/>
                </a:cubicBezTo>
                <a:close/>
                <a:moveTo>
                  <a:pt x="1568359" y="1685604"/>
                </a:moveTo>
                <a:cubicBezTo>
                  <a:pt x="1571353" y="1686378"/>
                  <a:pt x="1575174" y="1689476"/>
                  <a:pt x="1576723" y="1691490"/>
                </a:cubicBezTo>
                <a:cubicBezTo>
                  <a:pt x="1573935" y="1692884"/>
                  <a:pt x="1567842" y="1688392"/>
                  <a:pt x="1565674" y="1685759"/>
                </a:cubicBezTo>
                <a:cubicBezTo>
                  <a:pt x="1566397" y="1685294"/>
                  <a:pt x="1567327" y="1685449"/>
                  <a:pt x="1568359" y="1685604"/>
                </a:cubicBezTo>
                <a:close/>
                <a:moveTo>
                  <a:pt x="1597167" y="1684830"/>
                </a:moveTo>
                <a:cubicBezTo>
                  <a:pt x="1610798" y="1695672"/>
                  <a:pt x="1622362" y="1697841"/>
                  <a:pt x="1635992" y="1704346"/>
                </a:cubicBezTo>
                <a:cubicBezTo>
                  <a:pt x="1635992" y="1708684"/>
                  <a:pt x="1634030" y="1713021"/>
                  <a:pt x="1628247" y="1719526"/>
                </a:cubicBezTo>
                <a:cubicBezTo>
                  <a:pt x="1616579" y="1702178"/>
                  <a:pt x="1608835" y="1726187"/>
                  <a:pt x="1599130" y="1713021"/>
                </a:cubicBezTo>
                <a:cubicBezTo>
                  <a:pt x="1598406" y="1709768"/>
                  <a:pt x="1597064" y="1706515"/>
                  <a:pt x="1596135" y="1703107"/>
                </a:cubicBezTo>
                <a:lnTo>
                  <a:pt x="1594999" y="1698305"/>
                </a:lnTo>
                <a:lnTo>
                  <a:pt x="1593863" y="1695053"/>
                </a:lnTo>
                <a:lnTo>
                  <a:pt x="1594793" y="1694743"/>
                </a:lnTo>
                <a:lnTo>
                  <a:pt x="1594689" y="1692574"/>
                </a:lnTo>
                <a:cubicBezTo>
                  <a:pt x="1594999" y="1690096"/>
                  <a:pt x="1595722" y="1687463"/>
                  <a:pt x="1597167" y="1684830"/>
                </a:cubicBezTo>
                <a:close/>
                <a:moveTo>
                  <a:pt x="1463244" y="1684830"/>
                </a:moveTo>
                <a:cubicBezTo>
                  <a:pt x="1464380" y="1685294"/>
                  <a:pt x="1465103" y="1686843"/>
                  <a:pt x="1465516" y="1689476"/>
                </a:cubicBezTo>
                <a:cubicBezTo>
                  <a:pt x="1464380" y="1690870"/>
                  <a:pt x="1460869" y="1689476"/>
                  <a:pt x="1458907" y="1689321"/>
                </a:cubicBezTo>
                <a:cubicBezTo>
                  <a:pt x="1459320" y="1688237"/>
                  <a:pt x="1459733" y="1687153"/>
                  <a:pt x="1458907" y="1687463"/>
                </a:cubicBezTo>
                <a:cubicBezTo>
                  <a:pt x="1459320" y="1686378"/>
                  <a:pt x="1459940" y="1685759"/>
                  <a:pt x="1460663" y="1685294"/>
                </a:cubicBezTo>
                <a:cubicBezTo>
                  <a:pt x="1461386" y="1684984"/>
                  <a:pt x="1462315" y="1684830"/>
                  <a:pt x="1463244" y="1684830"/>
                </a:cubicBezTo>
                <a:close/>
                <a:moveTo>
                  <a:pt x="3664417" y="1684464"/>
                </a:moveTo>
                <a:lnTo>
                  <a:pt x="3664204" y="1686740"/>
                </a:lnTo>
                <a:lnTo>
                  <a:pt x="3666124" y="1686029"/>
                </a:lnTo>
                <a:lnTo>
                  <a:pt x="3666338" y="1685032"/>
                </a:lnTo>
                <a:lnTo>
                  <a:pt x="3665271" y="1684748"/>
                </a:lnTo>
                <a:close/>
                <a:moveTo>
                  <a:pt x="1374857" y="1683590"/>
                </a:moveTo>
                <a:cubicBezTo>
                  <a:pt x="1374857" y="1683590"/>
                  <a:pt x="1375683" y="1683590"/>
                  <a:pt x="1375683" y="1683590"/>
                </a:cubicBezTo>
                <a:cubicBezTo>
                  <a:pt x="1378161" y="1685139"/>
                  <a:pt x="1377232" y="1686068"/>
                  <a:pt x="1375476" y="1687772"/>
                </a:cubicBezTo>
                <a:cubicBezTo>
                  <a:pt x="1374650" y="1687308"/>
                  <a:pt x="1374031" y="1686998"/>
                  <a:pt x="1373928" y="1686378"/>
                </a:cubicBezTo>
                <a:cubicBezTo>
                  <a:pt x="1373721" y="1685759"/>
                  <a:pt x="1373928" y="1684830"/>
                  <a:pt x="1374857" y="1683590"/>
                </a:cubicBezTo>
                <a:close/>
                <a:moveTo>
                  <a:pt x="4608373" y="1683325"/>
                </a:moveTo>
                <a:cubicBezTo>
                  <a:pt x="4618190" y="1684464"/>
                  <a:pt x="4625660" y="1702390"/>
                  <a:pt x="4616483" y="1710926"/>
                </a:cubicBezTo>
                <a:cubicBezTo>
                  <a:pt x="4606238" y="1711637"/>
                  <a:pt x="4598555" y="1696983"/>
                  <a:pt x="4598342" y="1688732"/>
                </a:cubicBezTo>
                <a:cubicBezTo>
                  <a:pt x="4601543" y="1684322"/>
                  <a:pt x="4604958" y="1682899"/>
                  <a:pt x="4608373" y="1683325"/>
                </a:cubicBezTo>
                <a:close/>
                <a:moveTo>
                  <a:pt x="1009433" y="1682971"/>
                </a:moveTo>
                <a:cubicBezTo>
                  <a:pt x="1010982" y="1682351"/>
                  <a:pt x="1012840" y="1682506"/>
                  <a:pt x="1014493" y="1682971"/>
                </a:cubicBezTo>
                <a:lnTo>
                  <a:pt x="1016661" y="1684365"/>
                </a:lnTo>
                <a:lnTo>
                  <a:pt x="1017797" y="1683900"/>
                </a:lnTo>
                <a:cubicBezTo>
                  <a:pt x="1024715" y="1689476"/>
                  <a:pt x="1020069" y="1693968"/>
                  <a:pt x="1015009" y="1693039"/>
                </a:cubicBezTo>
                <a:cubicBezTo>
                  <a:pt x="1013254" y="1692729"/>
                  <a:pt x="1011498" y="1691800"/>
                  <a:pt x="1010156" y="1690096"/>
                </a:cubicBezTo>
                <a:cubicBezTo>
                  <a:pt x="1010156" y="1689476"/>
                  <a:pt x="1010465" y="1688702"/>
                  <a:pt x="1010982" y="1688082"/>
                </a:cubicBezTo>
                <a:lnTo>
                  <a:pt x="1011189" y="1687772"/>
                </a:lnTo>
                <a:lnTo>
                  <a:pt x="1006955" y="1684830"/>
                </a:lnTo>
                <a:cubicBezTo>
                  <a:pt x="1007471" y="1683900"/>
                  <a:pt x="1008400" y="1683280"/>
                  <a:pt x="1009433" y="1682971"/>
                </a:cubicBezTo>
                <a:close/>
                <a:moveTo>
                  <a:pt x="3928417" y="1682756"/>
                </a:moveTo>
                <a:cubicBezTo>
                  <a:pt x="3929484" y="1683325"/>
                  <a:pt x="3931191" y="1682899"/>
                  <a:pt x="3932259" y="1683468"/>
                </a:cubicBezTo>
                <a:cubicBezTo>
                  <a:pt x="3933326" y="1686882"/>
                  <a:pt x="3929698" y="1688732"/>
                  <a:pt x="3928631" y="1688163"/>
                </a:cubicBezTo>
                <a:cubicBezTo>
                  <a:pt x="3927991" y="1686455"/>
                  <a:pt x="3929058" y="1684464"/>
                  <a:pt x="3928417" y="1682756"/>
                </a:cubicBezTo>
                <a:close/>
                <a:moveTo>
                  <a:pt x="1227303" y="1682351"/>
                </a:moveTo>
                <a:cubicBezTo>
                  <a:pt x="1227303" y="1682351"/>
                  <a:pt x="1228130" y="1682351"/>
                  <a:pt x="1228130" y="1682351"/>
                </a:cubicBezTo>
                <a:cubicBezTo>
                  <a:pt x="1230711" y="1683590"/>
                  <a:pt x="1229885" y="1684675"/>
                  <a:pt x="1228336" y="1686533"/>
                </a:cubicBezTo>
                <a:cubicBezTo>
                  <a:pt x="1227510" y="1686223"/>
                  <a:pt x="1226788" y="1685914"/>
                  <a:pt x="1226581" y="1685294"/>
                </a:cubicBezTo>
                <a:cubicBezTo>
                  <a:pt x="1226374" y="1684675"/>
                  <a:pt x="1226581" y="1683745"/>
                  <a:pt x="1227303" y="1682351"/>
                </a:cubicBezTo>
                <a:close/>
                <a:moveTo>
                  <a:pt x="772460" y="1682351"/>
                </a:moveTo>
                <a:cubicBezTo>
                  <a:pt x="775248" y="1680338"/>
                  <a:pt x="781547" y="1683590"/>
                  <a:pt x="782269" y="1686998"/>
                </a:cubicBezTo>
                <a:cubicBezTo>
                  <a:pt x="777210" y="1684210"/>
                  <a:pt x="773596" y="1686688"/>
                  <a:pt x="772460" y="1682351"/>
                </a:cubicBezTo>
                <a:close/>
                <a:moveTo>
                  <a:pt x="5990266" y="1682330"/>
                </a:moveTo>
                <a:cubicBezTo>
                  <a:pt x="5992400" y="1682472"/>
                  <a:pt x="5994321" y="1682756"/>
                  <a:pt x="5994747" y="1682756"/>
                </a:cubicBezTo>
                <a:cubicBezTo>
                  <a:pt x="5994747" y="1682756"/>
                  <a:pt x="5996028" y="1682756"/>
                  <a:pt x="5997095" y="1682614"/>
                </a:cubicBezTo>
                <a:cubicBezTo>
                  <a:pt x="5998375" y="1683752"/>
                  <a:pt x="5998589" y="1684890"/>
                  <a:pt x="5999656" y="1684890"/>
                </a:cubicBezTo>
                <a:cubicBezTo>
                  <a:pt x="5996882" y="1688589"/>
                  <a:pt x="5993254" y="1687594"/>
                  <a:pt x="5989626" y="1686597"/>
                </a:cubicBezTo>
                <a:cubicBezTo>
                  <a:pt x="5987278" y="1685602"/>
                  <a:pt x="5985997" y="1685744"/>
                  <a:pt x="5984076" y="1687024"/>
                </a:cubicBezTo>
                <a:cubicBezTo>
                  <a:pt x="5984076" y="1687024"/>
                  <a:pt x="5983863" y="1687024"/>
                  <a:pt x="5981302" y="1684748"/>
                </a:cubicBezTo>
                <a:lnTo>
                  <a:pt x="5981088" y="1683468"/>
                </a:lnTo>
                <a:cubicBezTo>
                  <a:pt x="5981302" y="1682899"/>
                  <a:pt x="5982156" y="1682614"/>
                  <a:pt x="5983436" y="1682472"/>
                </a:cubicBezTo>
                <a:cubicBezTo>
                  <a:pt x="5985357" y="1682187"/>
                  <a:pt x="5987918" y="1682187"/>
                  <a:pt x="5990266" y="1682330"/>
                </a:cubicBezTo>
                <a:close/>
                <a:moveTo>
                  <a:pt x="1199631" y="1682196"/>
                </a:moveTo>
                <a:cubicBezTo>
                  <a:pt x="1200560" y="1682971"/>
                  <a:pt x="1199631" y="1682971"/>
                  <a:pt x="1199528" y="1683745"/>
                </a:cubicBezTo>
                <a:cubicBezTo>
                  <a:pt x="1199115" y="1683280"/>
                  <a:pt x="1198805" y="1683126"/>
                  <a:pt x="1198805" y="1682971"/>
                </a:cubicBezTo>
                <a:cubicBezTo>
                  <a:pt x="1198805" y="1682816"/>
                  <a:pt x="1199115" y="1682661"/>
                  <a:pt x="1199631" y="1682196"/>
                </a:cubicBezTo>
                <a:close/>
                <a:moveTo>
                  <a:pt x="5094116" y="1681760"/>
                </a:moveTo>
                <a:cubicBezTo>
                  <a:pt x="5096677" y="1681903"/>
                  <a:pt x="5099451" y="1682899"/>
                  <a:pt x="5101372" y="1683468"/>
                </a:cubicBezTo>
                <a:cubicBezTo>
                  <a:pt x="5100732" y="1688447"/>
                  <a:pt x="5100305" y="1693426"/>
                  <a:pt x="5097530" y="1695845"/>
                </a:cubicBezTo>
                <a:cubicBezTo>
                  <a:pt x="5094329" y="1695703"/>
                  <a:pt x="5091555" y="1694849"/>
                  <a:pt x="5089847" y="1693000"/>
                </a:cubicBezTo>
                <a:cubicBezTo>
                  <a:pt x="5087927" y="1691150"/>
                  <a:pt x="5086646" y="1688447"/>
                  <a:pt x="5086646" y="1684606"/>
                </a:cubicBezTo>
                <a:cubicBezTo>
                  <a:pt x="5088567" y="1682187"/>
                  <a:pt x="5091342" y="1681618"/>
                  <a:pt x="5094116" y="1681760"/>
                </a:cubicBezTo>
                <a:close/>
                <a:moveTo>
                  <a:pt x="5231985" y="1681476"/>
                </a:moveTo>
                <a:lnTo>
                  <a:pt x="5231985" y="1690154"/>
                </a:lnTo>
                <a:lnTo>
                  <a:pt x="5233479" y="1687167"/>
                </a:lnTo>
                <a:cubicBezTo>
                  <a:pt x="5234973" y="1685744"/>
                  <a:pt x="5236894" y="1684748"/>
                  <a:pt x="5238601" y="1684890"/>
                </a:cubicBezTo>
                <a:cubicBezTo>
                  <a:pt x="5241589" y="1687451"/>
                  <a:pt x="5240095" y="1689585"/>
                  <a:pt x="5242016" y="1691008"/>
                </a:cubicBezTo>
                <a:cubicBezTo>
                  <a:pt x="5239882" y="1693142"/>
                  <a:pt x="5238174" y="1694280"/>
                  <a:pt x="5236253" y="1694423"/>
                </a:cubicBezTo>
                <a:lnTo>
                  <a:pt x="5231772" y="1692716"/>
                </a:lnTo>
                <a:lnTo>
                  <a:pt x="5231772" y="1693853"/>
                </a:lnTo>
                <a:lnTo>
                  <a:pt x="5231558" y="1699686"/>
                </a:lnTo>
                <a:lnTo>
                  <a:pt x="5231345" y="1704523"/>
                </a:lnTo>
                <a:cubicBezTo>
                  <a:pt x="5230064" y="1704950"/>
                  <a:pt x="5229851" y="1703812"/>
                  <a:pt x="5228784" y="1704239"/>
                </a:cubicBezTo>
                <a:cubicBezTo>
                  <a:pt x="5227930" y="1703955"/>
                  <a:pt x="5227503" y="1702816"/>
                  <a:pt x="5227077" y="1701536"/>
                </a:cubicBezTo>
                <a:cubicBezTo>
                  <a:pt x="5225796" y="1697410"/>
                  <a:pt x="5226009" y="1690154"/>
                  <a:pt x="5226863" y="1689869"/>
                </a:cubicBezTo>
                <a:cubicBezTo>
                  <a:pt x="5226436" y="1688732"/>
                  <a:pt x="5227717" y="1688305"/>
                  <a:pt x="5227290" y="1687167"/>
                </a:cubicBezTo>
                <a:cubicBezTo>
                  <a:pt x="5227290" y="1687167"/>
                  <a:pt x="5226863" y="1686029"/>
                  <a:pt x="5227717" y="1684464"/>
                </a:cubicBezTo>
                <a:cubicBezTo>
                  <a:pt x="5228570" y="1682899"/>
                  <a:pt x="5229211" y="1681333"/>
                  <a:pt x="5231985" y="1681476"/>
                </a:cubicBezTo>
                <a:close/>
                <a:moveTo>
                  <a:pt x="5363452" y="1680622"/>
                </a:moveTo>
                <a:cubicBezTo>
                  <a:pt x="5367080" y="1679911"/>
                  <a:pt x="5370708" y="1682472"/>
                  <a:pt x="5370922" y="1686171"/>
                </a:cubicBezTo>
                <a:cubicBezTo>
                  <a:pt x="5366226" y="1694280"/>
                  <a:pt x="5359183" y="1687594"/>
                  <a:pt x="5359824" y="1682756"/>
                </a:cubicBezTo>
                <a:cubicBezTo>
                  <a:pt x="5360891" y="1681760"/>
                  <a:pt x="5362171" y="1680907"/>
                  <a:pt x="5363452" y="1680622"/>
                </a:cubicBezTo>
                <a:close/>
                <a:moveTo>
                  <a:pt x="1479559" y="1680338"/>
                </a:moveTo>
                <a:cubicBezTo>
                  <a:pt x="1481107" y="1681112"/>
                  <a:pt x="1483482" y="1683280"/>
                  <a:pt x="1482966" y="1685604"/>
                </a:cubicBezTo>
                <a:cubicBezTo>
                  <a:pt x="1482966" y="1685604"/>
                  <a:pt x="1482966" y="1685604"/>
                  <a:pt x="1482656" y="1686688"/>
                </a:cubicBezTo>
                <a:cubicBezTo>
                  <a:pt x="1481417" y="1684830"/>
                  <a:pt x="1479662" y="1682196"/>
                  <a:pt x="1479559" y="1680338"/>
                </a:cubicBezTo>
                <a:close/>
                <a:moveTo>
                  <a:pt x="5214911" y="1680195"/>
                </a:moveTo>
                <a:cubicBezTo>
                  <a:pt x="5217686" y="1681476"/>
                  <a:pt x="5221314" y="1683610"/>
                  <a:pt x="5223449" y="1686597"/>
                </a:cubicBezTo>
                <a:cubicBezTo>
                  <a:pt x="5225582" y="1689585"/>
                  <a:pt x="5226436" y="1693426"/>
                  <a:pt x="5223449" y="1698406"/>
                </a:cubicBezTo>
                <a:cubicBezTo>
                  <a:pt x="5221741" y="1698264"/>
                  <a:pt x="5220247" y="1698264"/>
                  <a:pt x="5218540" y="1698264"/>
                </a:cubicBezTo>
                <a:cubicBezTo>
                  <a:pt x="5218540" y="1690581"/>
                  <a:pt x="5215125" y="1686171"/>
                  <a:pt x="5214911" y="1680195"/>
                </a:cubicBezTo>
                <a:close/>
                <a:moveTo>
                  <a:pt x="1537589" y="1679873"/>
                </a:moveTo>
                <a:cubicBezTo>
                  <a:pt x="1540170" y="1679718"/>
                  <a:pt x="1542029" y="1681267"/>
                  <a:pt x="1543061" y="1683280"/>
                </a:cubicBezTo>
                <a:lnTo>
                  <a:pt x="1543164" y="1684984"/>
                </a:lnTo>
                <a:lnTo>
                  <a:pt x="1544920" y="1685139"/>
                </a:lnTo>
                <a:lnTo>
                  <a:pt x="1544816" y="1685604"/>
                </a:lnTo>
                <a:lnTo>
                  <a:pt x="1546365" y="1685604"/>
                </a:lnTo>
                <a:cubicBezTo>
                  <a:pt x="1554523" y="1690716"/>
                  <a:pt x="1553593" y="1695363"/>
                  <a:pt x="1554729" y="1695982"/>
                </a:cubicBezTo>
                <a:cubicBezTo>
                  <a:pt x="1553903" y="1697531"/>
                  <a:pt x="1552974" y="1697996"/>
                  <a:pt x="1551735" y="1697996"/>
                </a:cubicBezTo>
                <a:lnTo>
                  <a:pt x="1549463" y="1697531"/>
                </a:lnTo>
                <a:lnTo>
                  <a:pt x="1549463" y="1697841"/>
                </a:lnTo>
                <a:cubicBezTo>
                  <a:pt x="1549050" y="1700784"/>
                  <a:pt x="1546572" y="1705276"/>
                  <a:pt x="1544094" y="1703572"/>
                </a:cubicBezTo>
                <a:cubicBezTo>
                  <a:pt x="1543474" y="1702798"/>
                  <a:pt x="1543371" y="1702023"/>
                  <a:pt x="1543577" y="1701094"/>
                </a:cubicBezTo>
                <a:cubicBezTo>
                  <a:pt x="1543887" y="1699855"/>
                  <a:pt x="1545023" y="1698460"/>
                  <a:pt x="1546159" y="1697376"/>
                </a:cubicBezTo>
                <a:lnTo>
                  <a:pt x="1546882" y="1697066"/>
                </a:lnTo>
                <a:lnTo>
                  <a:pt x="1545539" y="1695207"/>
                </a:lnTo>
                <a:cubicBezTo>
                  <a:pt x="1544610" y="1694588"/>
                  <a:pt x="1543474" y="1693968"/>
                  <a:pt x="1542958" y="1693659"/>
                </a:cubicBezTo>
                <a:cubicBezTo>
                  <a:pt x="1543371" y="1692884"/>
                  <a:pt x="1543061" y="1692110"/>
                  <a:pt x="1542648" y="1691180"/>
                </a:cubicBezTo>
                <a:lnTo>
                  <a:pt x="1542648" y="1691025"/>
                </a:lnTo>
                <a:lnTo>
                  <a:pt x="1542545" y="1691025"/>
                </a:lnTo>
                <a:lnTo>
                  <a:pt x="1541409" y="1692265"/>
                </a:lnTo>
                <a:lnTo>
                  <a:pt x="1541719" y="1692420"/>
                </a:lnTo>
                <a:cubicBezTo>
                  <a:pt x="1543887" y="1695053"/>
                  <a:pt x="1546056" y="1697686"/>
                  <a:pt x="1543991" y="1700164"/>
                </a:cubicBezTo>
                <a:cubicBezTo>
                  <a:pt x="1540790" y="1698151"/>
                  <a:pt x="1538311" y="1697221"/>
                  <a:pt x="1535214" y="1695363"/>
                </a:cubicBezTo>
                <a:cubicBezTo>
                  <a:pt x="1534801" y="1694898"/>
                  <a:pt x="1534388" y="1693813"/>
                  <a:pt x="1534078" y="1692729"/>
                </a:cubicBezTo>
                <a:lnTo>
                  <a:pt x="1534284" y="1690406"/>
                </a:lnTo>
                <a:lnTo>
                  <a:pt x="1533355" y="1690406"/>
                </a:lnTo>
                <a:cubicBezTo>
                  <a:pt x="1531806" y="1690406"/>
                  <a:pt x="1530154" y="1690406"/>
                  <a:pt x="1528399" y="1691025"/>
                </a:cubicBezTo>
                <a:cubicBezTo>
                  <a:pt x="1527470" y="1689166"/>
                  <a:pt x="1526953" y="1688082"/>
                  <a:pt x="1527160" y="1686998"/>
                </a:cubicBezTo>
                <a:cubicBezTo>
                  <a:pt x="1527263" y="1685759"/>
                  <a:pt x="1528089" y="1684675"/>
                  <a:pt x="1529948" y="1683126"/>
                </a:cubicBezTo>
                <a:cubicBezTo>
                  <a:pt x="1529948" y="1683126"/>
                  <a:pt x="1531083" y="1682816"/>
                  <a:pt x="1531083" y="1682816"/>
                </a:cubicBezTo>
                <a:lnTo>
                  <a:pt x="1536349" y="1681732"/>
                </a:lnTo>
                <a:close/>
                <a:moveTo>
                  <a:pt x="4661514" y="1679058"/>
                </a:moveTo>
                <a:cubicBezTo>
                  <a:pt x="4659380" y="1686597"/>
                  <a:pt x="4656179" y="1711210"/>
                  <a:pt x="4646788" y="1709503"/>
                </a:cubicBezTo>
                <a:cubicBezTo>
                  <a:pt x="4648496" y="1700967"/>
                  <a:pt x="4648282" y="1677919"/>
                  <a:pt x="4661514" y="1679058"/>
                </a:cubicBezTo>
                <a:close/>
                <a:moveTo>
                  <a:pt x="3747651" y="1678773"/>
                </a:moveTo>
                <a:cubicBezTo>
                  <a:pt x="3752132" y="1678488"/>
                  <a:pt x="3755334" y="1681760"/>
                  <a:pt x="3756828" y="1686597"/>
                </a:cubicBezTo>
                <a:cubicBezTo>
                  <a:pt x="3759602" y="1694565"/>
                  <a:pt x="3758535" y="1706657"/>
                  <a:pt x="3753200" y="1712491"/>
                </a:cubicBezTo>
                <a:lnTo>
                  <a:pt x="3752986" y="1712491"/>
                </a:lnTo>
                <a:lnTo>
                  <a:pt x="3759388" y="1717470"/>
                </a:lnTo>
                <a:cubicBezTo>
                  <a:pt x="3759602" y="1723161"/>
                  <a:pt x="3757895" y="1726717"/>
                  <a:pt x="3755120" y="1728567"/>
                </a:cubicBezTo>
                <a:lnTo>
                  <a:pt x="3748291" y="1729847"/>
                </a:lnTo>
                <a:lnTo>
                  <a:pt x="3748291" y="1730986"/>
                </a:lnTo>
                <a:cubicBezTo>
                  <a:pt x="3746797" y="1733262"/>
                  <a:pt x="3744236" y="1735538"/>
                  <a:pt x="3739754" y="1737957"/>
                </a:cubicBezTo>
                <a:cubicBezTo>
                  <a:pt x="3739754" y="1730986"/>
                  <a:pt x="3736126" y="1725152"/>
                  <a:pt x="3733351" y="1719604"/>
                </a:cubicBezTo>
                <a:lnTo>
                  <a:pt x="3731644" y="1715478"/>
                </a:lnTo>
                <a:lnTo>
                  <a:pt x="3729723" y="1719604"/>
                </a:lnTo>
                <a:cubicBezTo>
                  <a:pt x="3723961" y="1716047"/>
                  <a:pt x="3722254" y="1711495"/>
                  <a:pt x="3722467" y="1705092"/>
                </a:cubicBezTo>
                <a:cubicBezTo>
                  <a:pt x="3723535" y="1704808"/>
                  <a:pt x="3725242" y="1705235"/>
                  <a:pt x="3726949" y="1706089"/>
                </a:cubicBezTo>
                <a:lnTo>
                  <a:pt x="3730150" y="1707938"/>
                </a:lnTo>
                <a:lnTo>
                  <a:pt x="3730363" y="1703243"/>
                </a:lnTo>
                <a:cubicBezTo>
                  <a:pt x="3731644" y="1704950"/>
                  <a:pt x="3733351" y="1706657"/>
                  <a:pt x="3735272" y="1708364"/>
                </a:cubicBezTo>
                <a:lnTo>
                  <a:pt x="3736126" y="1709076"/>
                </a:lnTo>
                <a:lnTo>
                  <a:pt x="3738901" y="1707796"/>
                </a:lnTo>
                <a:lnTo>
                  <a:pt x="3744236" y="1709076"/>
                </a:lnTo>
                <a:lnTo>
                  <a:pt x="3741248" y="1700113"/>
                </a:lnTo>
                <a:cubicBezTo>
                  <a:pt x="3740394" y="1694280"/>
                  <a:pt x="3740608" y="1687878"/>
                  <a:pt x="3742956" y="1680338"/>
                </a:cubicBezTo>
                <a:cubicBezTo>
                  <a:pt x="3744663" y="1679342"/>
                  <a:pt x="3746370" y="1678773"/>
                  <a:pt x="3747651" y="1678773"/>
                </a:cubicBezTo>
                <a:close/>
                <a:moveTo>
                  <a:pt x="1656436" y="1678169"/>
                </a:moveTo>
                <a:cubicBezTo>
                  <a:pt x="1657572" y="1682661"/>
                  <a:pt x="1651377" y="1683126"/>
                  <a:pt x="1649622" y="1681112"/>
                </a:cubicBezTo>
                <a:cubicBezTo>
                  <a:pt x="1649312" y="1680802"/>
                  <a:pt x="1649105" y="1680338"/>
                  <a:pt x="1649105" y="1679873"/>
                </a:cubicBezTo>
                <a:cubicBezTo>
                  <a:pt x="1649105" y="1679408"/>
                  <a:pt x="1649209" y="1678943"/>
                  <a:pt x="1649622" y="1678324"/>
                </a:cubicBezTo>
                <a:cubicBezTo>
                  <a:pt x="1651583" y="1677859"/>
                  <a:pt x="1653959" y="1678014"/>
                  <a:pt x="1656436" y="1678169"/>
                </a:cubicBezTo>
                <a:close/>
                <a:moveTo>
                  <a:pt x="1349146" y="1678014"/>
                </a:moveTo>
                <a:cubicBezTo>
                  <a:pt x="1350178" y="1677859"/>
                  <a:pt x="1351624" y="1677859"/>
                  <a:pt x="1353483" y="1678169"/>
                </a:cubicBezTo>
                <a:cubicBezTo>
                  <a:pt x="1351934" y="1686068"/>
                  <a:pt x="1361330" y="1683126"/>
                  <a:pt x="1360504" y="1689476"/>
                </a:cubicBezTo>
                <a:cubicBezTo>
                  <a:pt x="1359059" y="1691490"/>
                  <a:pt x="1358232" y="1694278"/>
                  <a:pt x="1355858" y="1695827"/>
                </a:cubicBezTo>
                <a:cubicBezTo>
                  <a:pt x="1355032" y="1696292"/>
                  <a:pt x="1354102" y="1696601"/>
                  <a:pt x="1352863" y="1696756"/>
                </a:cubicBezTo>
                <a:cubicBezTo>
                  <a:pt x="1351831" y="1689631"/>
                  <a:pt x="1348940" y="1685139"/>
                  <a:pt x="1346668" y="1679099"/>
                </a:cubicBezTo>
                <a:cubicBezTo>
                  <a:pt x="1347288" y="1678479"/>
                  <a:pt x="1348010" y="1678169"/>
                  <a:pt x="1349146" y="1678014"/>
                </a:cubicBezTo>
                <a:close/>
                <a:moveTo>
                  <a:pt x="5349580" y="1677919"/>
                </a:moveTo>
                <a:cubicBezTo>
                  <a:pt x="5354488" y="1676923"/>
                  <a:pt x="5358970" y="1679627"/>
                  <a:pt x="5359610" y="1684037"/>
                </a:cubicBezTo>
                <a:cubicBezTo>
                  <a:pt x="5359824" y="1686029"/>
                  <a:pt x="5359397" y="1688305"/>
                  <a:pt x="5357903" y="1690866"/>
                </a:cubicBezTo>
                <a:cubicBezTo>
                  <a:pt x="5353848" y="1693711"/>
                  <a:pt x="5349366" y="1693996"/>
                  <a:pt x="5346378" y="1692004"/>
                </a:cubicBezTo>
                <a:cubicBezTo>
                  <a:pt x="5343390" y="1690154"/>
                  <a:pt x="5342110" y="1686171"/>
                  <a:pt x="5344457" y="1680195"/>
                </a:cubicBezTo>
                <a:cubicBezTo>
                  <a:pt x="5346165" y="1679058"/>
                  <a:pt x="5347872" y="1678204"/>
                  <a:pt x="5349580" y="1677919"/>
                </a:cubicBezTo>
                <a:close/>
                <a:moveTo>
                  <a:pt x="1938842" y="1677859"/>
                </a:moveTo>
                <a:cubicBezTo>
                  <a:pt x="1944418" y="1680957"/>
                  <a:pt x="1944625" y="1688857"/>
                  <a:pt x="1936674" y="1690406"/>
                </a:cubicBezTo>
                <a:cubicBezTo>
                  <a:pt x="1935951" y="1687618"/>
                  <a:pt x="1935125" y="1684984"/>
                  <a:pt x="1935228" y="1682661"/>
                </a:cubicBezTo>
                <a:cubicBezTo>
                  <a:pt x="1935435" y="1680492"/>
                  <a:pt x="1936261" y="1678633"/>
                  <a:pt x="1938842" y="1677859"/>
                </a:cubicBezTo>
                <a:close/>
                <a:moveTo>
                  <a:pt x="1692886" y="1677859"/>
                </a:moveTo>
                <a:cubicBezTo>
                  <a:pt x="1693299" y="1678633"/>
                  <a:pt x="1694022" y="1678479"/>
                  <a:pt x="1694435" y="1679253"/>
                </a:cubicBezTo>
                <a:cubicBezTo>
                  <a:pt x="1695984" y="1680492"/>
                  <a:pt x="1696397" y="1681267"/>
                  <a:pt x="1695984" y="1682351"/>
                </a:cubicBezTo>
                <a:cubicBezTo>
                  <a:pt x="1696397" y="1683126"/>
                  <a:pt x="1695571" y="1683435"/>
                  <a:pt x="1695158" y="1684520"/>
                </a:cubicBezTo>
                <a:cubicBezTo>
                  <a:pt x="1694435" y="1684830"/>
                  <a:pt x="1693299" y="1684365"/>
                  <a:pt x="1693299" y="1684365"/>
                </a:cubicBezTo>
                <a:cubicBezTo>
                  <a:pt x="1692060" y="1683900"/>
                  <a:pt x="1692060" y="1683900"/>
                  <a:pt x="1691750" y="1684984"/>
                </a:cubicBezTo>
                <a:cubicBezTo>
                  <a:pt x="1691750" y="1684984"/>
                  <a:pt x="1691337" y="1684210"/>
                  <a:pt x="1691337" y="1684210"/>
                </a:cubicBezTo>
                <a:cubicBezTo>
                  <a:pt x="1692060" y="1683900"/>
                  <a:pt x="1691337" y="1684210"/>
                  <a:pt x="1690201" y="1683745"/>
                </a:cubicBezTo>
                <a:cubicBezTo>
                  <a:pt x="1690201" y="1682816"/>
                  <a:pt x="1690098" y="1682042"/>
                  <a:pt x="1689995" y="1681576"/>
                </a:cubicBezTo>
                <a:cubicBezTo>
                  <a:pt x="1689995" y="1680957"/>
                  <a:pt x="1689995" y="1680492"/>
                  <a:pt x="1690201" y="1679873"/>
                </a:cubicBezTo>
                <a:cubicBezTo>
                  <a:pt x="1690408" y="1679408"/>
                  <a:pt x="1690718" y="1678788"/>
                  <a:pt x="1691234" y="1678324"/>
                </a:cubicBezTo>
                <a:cubicBezTo>
                  <a:pt x="1691647" y="1677859"/>
                  <a:pt x="1692266" y="1677704"/>
                  <a:pt x="1692886" y="1677859"/>
                </a:cubicBezTo>
                <a:close/>
                <a:moveTo>
                  <a:pt x="5040334" y="1677777"/>
                </a:moveTo>
                <a:lnTo>
                  <a:pt x="5043962" y="1678346"/>
                </a:lnTo>
                <a:lnTo>
                  <a:pt x="5050578" y="1677777"/>
                </a:lnTo>
                <a:cubicBezTo>
                  <a:pt x="5060396" y="1678631"/>
                  <a:pt x="5070000" y="1683041"/>
                  <a:pt x="5071493" y="1691292"/>
                </a:cubicBezTo>
                <a:cubicBezTo>
                  <a:pt x="5063810" y="1687451"/>
                  <a:pt x="5056554" y="1688589"/>
                  <a:pt x="5049298" y="1689301"/>
                </a:cubicBezTo>
                <a:lnTo>
                  <a:pt x="5048871" y="1689301"/>
                </a:lnTo>
                <a:lnTo>
                  <a:pt x="5050365" y="1692004"/>
                </a:lnTo>
                <a:cubicBezTo>
                  <a:pt x="5050151" y="1693426"/>
                  <a:pt x="5049084" y="1694849"/>
                  <a:pt x="5047804" y="1696414"/>
                </a:cubicBezTo>
                <a:cubicBezTo>
                  <a:pt x="5045243" y="1699686"/>
                  <a:pt x="5041828" y="1697979"/>
                  <a:pt x="5039267" y="1699971"/>
                </a:cubicBezTo>
                <a:cubicBezTo>
                  <a:pt x="5038840" y="1698690"/>
                  <a:pt x="5038200" y="1697126"/>
                  <a:pt x="5037987" y="1695134"/>
                </a:cubicBezTo>
                <a:lnTo>
                  <a:pt x="5039054" y="1692289"/>
                </a:lnTo>
                <a:lnTo>
                  <a:pt x="5037347" y="1691861"/>
                </a:lnTo>
                <a:lnTo>
                  <a:pt x="5034145" y="1687451"/>
                </a:lnTo>
                <a:lnTo>
                  <a:pt x="5027316" y="1684464"/>
                </a:lnTo>
                <a:lnTo>
                  <a:pt x="5033932" y="1680480"/>
                </a:lnTo>
                <a:lnTo>
                  <a:pt x="5034145" y="1678061"/>
                </a:lnTo>
                <a:cubicBezTo>
                  <a:pt x="5036492" y="1677635"/>
                  <a:pt x="5038627" y="1677635"/>
                  <a:pt x="5040334" y="1677777"/>
                </a:cubicBezTo>
                <a:close/>
                <a:moveTo>
                  <a:pt x="968854" y="1677704"/>
                </a:moveTo>
                <a:cubicBezTo>
                  <a:pt x="971538" y="1679873"/>
                  <a:pt x="970815" y="1682351"/>
                  <a:pt x="970093" y="1684984"/>
                </a:cubicBezTo>
                <a:cubicBezTo>
                  <a:pt x="969369" y="1686843"/>
                  <a:pt x="969473" y="1687618"/>
                  <a:pt x="970402" y="1689166"/>
                </a:cubicBezTo>
                <a:cubicBezTo>
                  <a:pt x="970402" y="1689166"/>
                  <a:pt x="970402" y="1689166"/>
                  <a:pt x="968750" y="1691025"/>
                </a:cubicBezTo>
                <a:lnTo>
                  <a:pt x="967821" y="1691180"/>
                </a:lnTo>
                <a:cubicBezTo>
                  <a:pt x="967408" y="1691025"/>
                  <a:pt x="967201" y="1690406"/>
                  <a:pt x="967098" y="1689476"/>
                </a:cubicBezTo>
                <a:cubicBezTo>
                  <a:pt x="966891" y="1688237"/>
                  <a:pt x="966891" y="1686223"/>
                  <a:pt x="966995" y="1684675"/>
                </a:cubicBezTo>
                <a:cubicBezTo>
                  <a:pt x="967098" y="1682971"/>
                  <a:pt x="967304" y="1681576"/>
                  <a:pt x="967304" y="1681267"/>
                </a:cubicBezTo>
                <a:cubicBezTo>
                  <a:pt x="967304" y="1681267"/>
                  <a:pt x="967304" y="1680338"/>
                  <a:pt x="967201" y="1679563"/>
                </a:cubicBezTo>
                <a:cubicBezTo>
                  <a:pt x="968027" y="1678633"/>
                  <a:pt x="968854" y="1678479"/>
                  <a:pt x="968854" y="1677704"/>
                </a:cubicBezTo>
                <a:close/>
                <a:moveTo>
                  <a:pt x="1602433" y="1676465"/>
                </a:moveTo>
                <a:cubicBezTo>
                  <a:pt x="1604911" y="1677239"/>
                  <a:pt x="1606254" y="1678633"/>
                  <a:pt x="1606461" y="1680338"/>
                </a:cubicBezTo>
                <a:cubicBezTo>
                  <a:pt x="1606770" y="1682042"/>
                  <a:pt x="1605944" y="1684365"/>
                  <a:pt x="1604396" y="1686998"/>
                </a:cubicBezTo>
                <a:cubicBezTo>
                  <a:pt x="1601504" y="1686223"/>
                  <a:pt x="1600781" y="1684830"/>
                  <a:pt x="1600988" y="1682816"/>
                </a:cubicBezTo>
                <a:cubicBezTo>
                  <a:pt x="1601195" y="1680957"/>
                  <a:pt x="1602124" y="1678633"/>
                  <a:pt x="1602433" y="1676465"/>
                </a:cubicBezTo>
                <a:close/>
                <a:moveTo>
                  <a:pt x="1501759" y="1676465"/>
                </a:moveTo>
                <a:cubicBezTo>
                  <a:pt x="1502481" y="1677395"/>
                  <a:pt x="1503101" y="1679099"/>
                  <a:pt x="1501036" y="1680492"/>
                </a:cubicBezTo>
                <a:cubicBezTo>
                  <a:pt x="1498867" y="1682816"/>
                  <a:pt x="1496286" y="1682816"/>
                  <a:pt x="1493808" y="1681732"/>
                </a:cubicBezTo>
                <a:cubicBezTo>
                  <a:pt x="1491949" y="1682506"/>
                  <a:pt x="1490813" y="1684055"/>
                  <a:pt x="1489161" y="1683126"/>
                </a:cubicBezTo>
                <a:cubicBezTo>
                  <a:pt x="1492053" y="1681576"/>
                  <a:pt x="1493085" y="1680802"/>
                  <a:pt x="1494944" y="1680183"/>
                </a:cubicBezTo>
                <a:cubicBezTo>
                  <a:pt x="1495047" y="1679408"/>
                  <a:pt x="1495254" y="1678479"/>
                  <a:pt x="1496183" y="1677704"/>
                </a:cubicBezTo>
                <a:cubicBezTo>
                  <a:pt x="1498248" y="1676310"/>
                  <a:pt x="1499900" y="1677239"/>
                  <a:pt x="1501759" y="1676465"/>
                </a:cubicBezTo>
                <a:close/>
                <a:moveTo>
                  <a:pt x="858266" y="1676465"/>
                </a:moveTo>
                <a:cubicBezTo>
                  <a:pt x="859918" y="1678324"/>
                  <a:pt x="861673" y="1680028"/>
                  <a:pt x="859918" y="1681576"/>
                </a:cubicBezTo>
                <a:cubicBezTo>
                  <a:pt x="858989" y="1682351"/>
                  <a:pt x="858163" y="1683126"/>
                  <a:pt x="856407" y="1682971"/>
                </a:cubicBezTo>
                <a:cubicBezTo>
                  <a:pt x="854652" y="1681112"/>
                  <a:pt x="855581" y="1678633"/>
                  <a:pt x="854755" y="1677704"/>
                </a:cubicBezTo>
                <a:cubicBezTo>
                  <a:pt x="855581" y="1677859"/>
                  <a:pt x="857337" y="1678014"/>
                  <a:pt x="858266" y="1676465"/>
                </a:cubicBezTo>
                <a:close/>
                <a:moveTo>
                  <a:pt x="1041726" y="1676426"/>
                </a:moveTo>
                <a:cubicBezTo>
                  <a:pt x="1043714" y="1676504"/>
                  <a:pt x="1045676" y="1677782"/>
                  <a:pt x="1046089" y="1679408"/>
                </a:cubicBezTo>
                <a:cubicBezTo>
                  <a:pt x="1044437" y="1683435"/>
                  <a:pt x="1038861" y="1683590"/>
                  <a:pt x="1037209" y="1680647"/>
                </a:cubicBezTo>
                <a:cubicBezTo>
                  <a:pt x="1037725" y="1677472"/>
                  <a:pt x="1039739" y="1676349"/>
                  <a:pt x="1041726" y="1676426"/>
                </a:cubicBezTo>
                <a:close/>
                <a:moveTo>
                  <a:pt x="4631422" y="1676354"/>
                </a:moveTo>
                <a:cubicBezTo>
                  <a:pt x="4631208" y="1677493"/>
                  <a:pt x="4632275" y="1680053"/>
                  <a:pt x="4630995" y="1681192"/>
                </a:cubicBezTo>
                <a:cubicBezTo>
                  <a:pt x="4629715" y="1682472"/>
                  <a:pt x="4629715" y="1682472"/>
                  <a:pt x="4627367" y="1682330"/>
                </a:cubicBezTo>
                <a:cubicBezTo>
                  <a:pt x="4628861" y="1678773"/>
                  <a:pt x="4628861" y="1678773"/>
                  <a:pt x="4631422" y="1676354"/>
                </a:cubicBezTo>
                <a:close/>
                <a:moveTo>
                  <a:pt x="5323542" y="1675643"/>
                </a:moveTo>
                <a:cubicBezTo>
                  <a:pt x="5327597" y="1677635"/>
                  <a:pt x="5329091" y="1679342"/>
                  <a:pt x="5329304" y="1680622"/>
                </a:cubicBezTo>
                <a:cubicBezTo>
                  <a:pt x="5329518" y="1684606"/>
                  <a:pt x="5317140" y="1685032"/>
                  <a:pt x="5323542" y="1675643"/>
                </a:cubicBezTo>
                <a:close/>
                <a:moveTo>
                  <a:pt x="3624294" y="1675501"/>
                </a:moveTo>
                <a:cubicBezTo>
                  <a:pt x="3626641" y="1675074"/>
                  <a:pt x="3628562" y="1675501"/>
                  <a:pt x="3629629" y="1677350"/>
                </a:cubicBezTo>
                <a:cubicBezTo>
                  <a:pt x="3630484" y="1678346"/>
                  <a:pt x="3630910" y="1679769"/>
                  <a:pt x="3630910" y="1681618"/>
                </a:cubicBezTo>
                <a:cubicBezTo>
                  <a:pt x="3627068" y="1691150"/>
                  <a:pt x="3622160" y="1697553"/>
                  <a:pt x="3612556" y="1695845"/>
                </a:cubicBezTo>
                <a:cubicBezTo>
                  <a:pt x="3613196" y="1694138"/>
                  <a:pt x="3611702" y="1693711"/>
                  <a:pt x="3610422" y="1693142"/>
                </a:cubicBezTo>
                <a:cubicBezTo>
                  <a:pt x="3608287" y="1685744"/>
                  <a:pt x="3617465" y="1676639"/>
                  <a:pt x="3624294" y="1675501"/>
                </a:cubicBezTo>
                <a:close/>
                <a:moveTo>
                  <a:pt x="5427691" y="1674931"/>
                </a:moveTo>
                <a:cubicBezTo>
                  <a:pt x="5430892" y="1679627"/>
                  <a:pt x="5434307" y="1684037"/>
                  <a:pt x="5436868" y="1689301"/>
                </a:cubicBezTo>
                <a:cubicBezTo>
                  <a:pt x="5439429" y="1694565"/>
                  <a:pt x="5440923" y="1700825"/>
                  <a:pt x="5440069" y="1709219"/>
                </a:cubicBezTo>
                <a:cubicBezTo>
                  <a:pt x="5438362" y="1710072"/>
                  <a:pt x="5436655" y="1711921"/>
                  <a:pt x="5434948" y="1713202"/>
                </a:cubicBezTo>
                <a:lnTo>
                  <a:pt x="5432386" y="1714056"/>
                </a:lnTo>
                <a:lnTo>
                  <a:pt x="5431746" y="1715051"/>
                </a:lnTo>
                <a:cubicBezTo>
                  <a:pt x="5430465" y="1715905"/>
                  <a:pt x="5428972" y="1716190"/>
                  <a:pt x="5426837" y="1715478"/>
                </a:cubicBezTo>
                <a:cubicBezTo>
                  <a:pt x="5426837" y="1714909"/>
                  <a:pt x="5427478" y="1714056"/>
                  <a:pt x="5428331" y="1713202"/>
                </a:cubicBezTo>
                <a:lnTo>
                  <a:pt x="5429185" y="1712206"/>
                </a:lnTo>
                <a:lnTo>
                  <a:pt x="5430465" y="1707654"/>
                </a:lnTo>
                <a:cubicBezTo>
                  <a:pt x="5431746" y="1695134"/>
                  <a:pt x="5419581" y="1685032"/>
                  <a:pt x="5427691" y="1674931"/>
                </a:cubicBezTo>
                <a:close/>
                <a:moveTo>
                  <a:pt x="5758065" y="1674789"/>
                </a:moveTo>
                <a:cubicBezTo>
                  <a:pt x="5759559" y="1675643"/>
                  <a:pt x="5762120" y="1676212"/>
                  <a:pt x="5764041" y="1678204"/>
                </a:cubicBezTo>
                <a:cubicBezTo>
                  <a:pt x="5764681" y="1684322"/>
                  <a:pt x="5762120" y="1687451"/>
                  <a:pt x="5757638" y="1688732"/>
                </a:cubicBezTo>
                <a:cubicBezTo>
                  <a:pt x="5751662" y="1685317"/>
                  <a:pt x="5752302" y="1676354"/>
                  <a:pt x="5758065" y="1674789"/>
                </a:cubicBezTo>
                <a:close/>
                <a:moveTo>
                  <a:pt x="4673892" y="1674789"/>
                </a:moveTo>
                <a:cubicBezTo>
                  <a:pt x="4674533" y="1674505"/>
                  <a:pt x="4675173" y="1674647"/>
                  <a:pt x="4675813" y="1675216"/>
                </a:cubicBezTo>
                <a:cubicBezTo>
                  <a:pt x="4673679" y="1677493"/>
                  <a:pt x="4671545" y="1682330"/>
                  <a:pt x="4666850" y="1680907"/>
                </a:cubicBezTo>
                <a:cubicBezTo>
                  <a:pt x="4668557" y="1679200"/>
                  <a:pt x="4671545" y="1675358"/>
                  <a:pt x="4673892" y="1674789"/>
                </a:cubicBezTo>
                <a:close/>
                <a:moveTo>
                  <a:pt x="1065088" y="1674452"/>
                </a:moveTo>
                <a:cubicBezTo>
                  <a:pt x="1067463" y="1678633"/>
                  <a:pt x="1066327" y="1685449"/>
                  <a:pt x="1066224" y="1686223"/>
                </a:cubicBezTo>
                <a:cubicBezTo>
                  <a:pt x="1065398" y="1686378"/>
                  <a:pt x="1065398" y="1686223"/>
                  <a:pt x="1065398" y="1686223"/>
                </a:cubicBezTo>
                <a:cubicBezTo>
                  <a:pt x="1066121" y="1683745"/>
                  <a:pt x="1064056" y="1680802"/>
                  <a:pt x="1063849" y="1677704"/>
                </a:cubicBezTo>
                <a:lnTo>
                  <a:pt x="1064159" y="1675381"/>
                </a:lnTo>
                <a:close/>
                <a:moveTo>
                  <a:pt x="1375993" y="1674297"/>
                </a:moveTo>
                <a:cubicBezTo>
                  <a:pt x="1376096" y="1673522"/>
                  <a:pt x="1378677" y="1674297"/>
                  <a:pt x="1378677" y="1674297"/>
                </a:cubicBezTo>
                <a:cubicBezTo>
                  <a:pt x="1379503" y="1675071"/>
                  <a:pt x="1377645" y="1677704"/>
                  <a:pt x="1377645" y="1678633"/>
                </a:cubicBezTo>
                <a:cubicBezTo>
                  <a:pt x="1376715" y="1678633"/>
                  <a:pt x="1375890" y="1677859"/>
                  <a:pt x="1374960" y="1677859"/>
                </a:cubicBezTo>
                <a:cubicBezTo>
                  <a:pt x="1375063" y="1676930"/>
                  <a:pt x="1375063" y="1675226"/>
                  <a:pt x="1375993" y="1674297"/>
                </a:cubicBezTo>
                <a:close/>
                <a:moveTo>
                  <a:pt x="1058273" y="1674142"/>
                </a:moveTo>
                <a:cubicBezTo>
                  <a:pt x="1058170" y="1674916"/>
                  <a:pt x="1059099" y="1674916"/>
                  <a:pt x="1058170" y="1675845"/>
                </a:cubicBezTo>
                <a:cubicBezTo>
                  <a:pt x="1060752" y="1677395"/>
                  <a:pt x="1063023" y="1684830"/>
                  <a:pt x="1061991" y="1688237"/>
                </a:cubicBezTo>
                <a:cubicBezTo>
                  <a:pt x="1054350" y="1682661"/>
                  <a:pt x="1058996" y="1677395"/>
                  <a:pt x="1054660" y="1674297"/>
                </a:cubicBezTo>
                <a:cubicBezTo>
                  <a:pt x="1056518" y="1673367"/>
                  <a:pt x="1056518" y="1673367"/>
                  <a:pt x="1058273" y="1674142"/>
                </a:cubicBezTo>
                <a:close/>
                <a:moveTo>
                  <a:pt x="4570597" y="1674078"/>
                </a:moveTo>
                <a:cubicBezTo>
                  <a:pt x="4575292" y="1677919"/>
                  <a:pt x="4576573" y="1679200"/>
                  <a:pt x="4574652" y="1685032"/>
                </a:cubicBezTo>
                <a:cubicBezTo>
                  <a:pt x="4574652" y="1685032"/>
                  <a:pt x="4573372" y="1686171"/>
                  <a:pt x="4573372" y="1686171"/>
                </a:cubicBezTo>
                <a:cubicBezTo>
                  <a:pt x="4570170" y="1690866"/>
                  <a:pt x="4563341" y="1692858"/>
                  <a:pt x="4560993" y="1691577"/>
                </a:cubicBezTo>
                <a:cubicBezTo>
                  <a:pt x="4558646" y="1689159"/>
                  <a:pt x="4557152" y="1684322"/>
                  <a:pt x="4560566" y="1680907"/>
                </a:cubicBezTo>
                <a:cubicBezTo>
                  <a:pt x="4562701" y="1677350"/>
                  <a:pt x="4567182" y="1677493"/>
                  <a:pt x="4570597" y="1674078"/>
                </a:cubicBezTo>
                <a:close/>
                <a:moveTo>
                  <a:pt x="1565365" y="1672902"/>
                </a:moveTo>
                <a:cubicBezTo>
                  <a:pt x="1567739" y="1673212"/>
                  <a:pt x="1570527" y="1676155"/>
                  <a:pt x="1570011" y="1678479"/>
                </a:cubicBezTo>
                <a:cubicBezTo>
                  <a:pt x="1567739" y="1680802"/>
                  <a:pt x="1566294" y="1679873"/>
                  <a:pt x="1565055" y="1681267"/>
                </a:cubicBezTo>
                <a:cubicBezTo>
                  <a:pt x="1563712" y="1679873"/>
                  <a:pt x="1563196" y="1678479"/>
                  <a:pt x="1563300" y="1677239"/>
                </a:cubicBezTo>
                <a:cubicBezTo>
                  <a:pt x="1563403" y="1675845"/>
                  <a:pt x="1564126" y="1674452"/>
                  <a:pt x="1565365" y="1672902"/>
                </a:cubicBezTo>
                <a:close/>
                <a:moveTo>
                  <a:pt x="1230092" y="1672902"/>
                </a:moveTo>
                <a:cubicBezTo>
                  <a:pt x="1231021" y="1673522"/>
                  <a:pt x="1229472" y="1676465"/>
                  <a:pt x="1229575" y="1677239"/>
                </a:cubicBezTo>
                <a:cubicBezTo>
                  <a:pt x="1228646" y="1677395"/>
                  <a:pt x="1227717" y="1676620"/>
                  <a:pt x="1226891" y="1676775"/>
                </a:cubicBezTo>
                <a:cubicBezTo>
                  <a:pt x="1226788" y="1676000"/>
                  <a:pt x="1226684" y="1674297"/>
                  <a:pt x="1227510" y="1673212"/>
                </a:cubicBezTo>
                <a:cubicBezTo>
                  <a:pt x="1227407" y="1672438"/>
                  <a:pt x="1230092" y="1672902"/>
                  <a:pt x="1230092" y="1672902"/>
                </a:cubicBezTo>
                <a:close/>
                <a:moveTo>
                  <a:pt x="5832548" y="1672797"/>
                </a:moveTo>
                <a:cubicBezTo>
                  <a:pt x="5835750" y="1671944"/>
                  <a:pt x="5837030" y="1674078"/>
                  <a:pt x="5837457" y="1675785"/>
                </a:cubicBezTo>
                <a:cubicBezTo>
                  <a:pt x="5838524" y="1677208"/>
                  <a:pt x="5838310" y="1679058"/>
                  <a:pt x="5837457" y="1680765"/>
                </a:cubicBezTo>
                <a:cubicBezTo>
                  <a:pt x="5836603" y="1682472"/>
                  <a:pt x="5835323" y="1684179"/>
                  <a:pt x="5833829" y="1685460"/>
                </a:cubicBezTo>
                <a:cubicBezTo>
                  <a:pt x="5834469" y="1684464"/>
                  <a:pt x="5834469" y="1684464"/>
                  <a:pt x="5834469" y="1684464"/>
                </a:cubicBezTo>
                <a:cubicBezTo>
                  <a:pt x="5834256" y="1682756"/>
                  <a:pt x="5833615" y="1683752"/>
                  <a:pt x="5832548" y="1683183"/>
                </a:cubicBezTo>
                <a:cubicBezTo>
                  <a:pt x="5832548" y="1683183"/>
                  <a:pt x="5833615" y="1683752"/>
                  <a:pt x="5831908" y="1684179"/>
                </a:cubicBezTo>
                <a:cubicBezTo>
                  <a:pt x="5832548" y="1683183"/>
                  <a:pt x="5831694" y="1682614"/>
                  <a:pt x="5830627" y="1682045"/>
                </a:cubicBezTo>
                <a:cubicBezTo>
                  <a:pt x="5830201" y="1678631"/>
                  <a:pt x="5830201" y="1674220"/>
                  <a:pt x="5832548" y="1672797"/>
                </a:cubicBezTo>
                <a:close/>
                <a:moveTo>
                  <a:pt x="4631849" y="1672797"/>
                </a:moveTo>
                <a:cubicBezTo>
                  <a:pt x="4632275" y="1672797"/>
                  <a:pt x="4632702" y="1673224"/>
                  <a:pt x="4632489" y="1673651"/>
                </a:cubicBezTo>
                <a:cubicBezTo>
                  <a:pt x="4632489" y="1674220"/>
                  <a:pt x="4632062" y="1674789"/>
                  <a:pt x="4631635" y="1675501"/>
                </a:cubicBezTo>
                <a:cubicBezTo>
                  <a:pt x="4631635" y="1675501"/>
                  <a:pt x="4630568" y="1675501"/>
                  <a:pt x="4630568" y="1675501"/>
                </a:cubicBezTo>
                <a:cubicBezTo>
                  <a:pt x="4630782" y="1674078"/>
                  <a:pt x="4630782" y="1672797"/>
                  <a:pt x="4631849" y="1672797"/>
                </a:cubicBezTo>
                <a:close/>
                <a:moveTo>
                  <a:pt x="885668" y="1672070"/>
                </a:moveTo>
                <a:cubicBezTo>
                  <a:pt x="887255" y="1671431"/>
                  <a:pt x="889398" y="1671121"/>
                  <a:pt x="891618" y="1672438"/>
                </a:cubicBezTo>
                <a:cubicBezTo>
                  <a:pt x="890895" y="1673367"/>
                  <a:pt x="896367" y="1677704"/>
                  <a:pt x="894819" y="1681267"/>
                </a:cubicBezTo>
                <a:cubicBezTo>
                  <a:pt x="894096" y="1683126"/>
                  <a:pt x="893167" y="1684055"/>
                  <a:pt x="892444" y="1685759"/>
                </a:cubicBezTo>
                <a:cubicBezTo>
                  <a:pt x="889862" y="1686223"/>
                  <a:pt x="887384" y="1689166"/>
                  <a:pt x="882015" y="1686533"/>
                </a:cubicBezTo>
                <a:cubicBezTo>
                  <a:pt x="876646" y="1682971"/>
                  <a:pt x="880672" y="1677395"/>
                  <a:pt x="879743" y="1677549"/>
                </a:cubicBezTo>
                <a:cubicBezTo>
                  <a:pt x="878917" y="1676775"/>
                  <a:pt x="878814" y="1676775"/>
                  <a:pt x="877988" y="1676930"/>
                </a:cubicBezTo>
                <a:cubicBezTo>
                  <a:pt x="877988" y="1676155"/>
                  <a:pt x="876955" y="1674606"/>
                  <a:pt x="876026" y="1673832"/>
                </a:cubicBezTo>
                <a:cubicBezTo>
                  <a:pt x="876955" y="1673677"/>
                  <a:pt x="877781" y="1673522"/>
                  <a:pt x="877781" y="1672748"/>
                </a:cubicBezTo>
                <a:cubicBezTo>
                  <a:pt x="879536" y="1674142"/>
                  <a:pt x="879640" y="1674916"/>
                  <a:pt x="880466" y="1675691"/>
                </a:cubicBezTo>
                <a:cubicBezTo>
                  <a:pt x="880466" y="1674916"/>
                  <a:pt x="881396" y="1675535"/>
                  <a:pt x="881396" y="1675535"/>
                </a:cubicBezTo>
                <a:cubicBezTo>
                  <a:pt x="881396" y="1675535"/>
                  <a:pt x="881396" y="1675691"/>
                  <a:pt x="883047" y="1673677"/>
                </a:cubicBezTo>
                <a:cubicBezTo>
                  <a:pt x="883047" y="1673677"/>
                  <a:pt x="884080" y="1672709"/>
                  <a:pt x="885668" y="1672070"/>
                </a:cubicBezTo>
                <a:close/>
                <a:moveTo>
                  <a:pt x="1445587" y="1671818"/>
                </a:moveTo>
                <a:cubicBezTo>
                  <a:pt x="1446826" y="1671663"/>
                  <a:pt x="1447962" y="1671973"/>
                  <a:pt x="1448995" y="1673212"/>
                </a:cubicBezTo>
                <a:cubicBezTo>
                  <a:pt x="1451576" y="1677085"/>
                  <a:pt x="1448272" y="1680028"/>
                  <a:pt x="1444142" y="1682971"/>
                </a:cubicBezTo>
                <a:cubicBezTo>
                  <a:pt x="1442696" y="1681887"/>
                  <a:pt x="1441044" y="1681732"/>
                  <a:pt x="1439495" y="1680647"/>
                </a:cubicBezTo>
                <a:cubicBezTo>
                  <a:pt x="1438772" y="1678014"/>
                  <a:pt x="1442180" y="1672438"/>
                  <a:pt x="1445587" y="1671818"/>
                </a:cubicBezTo>
                <a:close/>
                <a:moveTo>
                  <a:pt x="1364841" y="1670579"/>
                </a:moveTo>
                <a:cubicBezTo>
                  <a:pt x="1367423" y="1670114"/>
                  <a:pt x="1370313" y="1671199"/>
                  <a:pt x="1372689" y="1673212"/>
                </a:cubicBezTo>
                <a:cubicBezTo>
                  <a:pt x="1370313" y="1677085"/>
                  <a:pt x="1366906" y="1677704"/>
                  <a:pt x="1362260" y="1676930"/>
                </a:cubicBezTo>
                <a:cubicBezTo>
                  <a:pt x="1361846" y="1675381"/>
                  <a:pt x="1363602" y="1672438"/>
                  <a:pt x="1364841" y="1670579"/>
                </a:cubicBezTo>
                <a:close/>
                <a:moveTo>
                  <a:pt x="1876992" y="1670424"/>
                </a:moveTo>
                <a:cubicBezTo>
                  <a:pt x="1889279" y="1678479"/>
                  <a:pt x="1887834" y="1690870"/>
                  <a:pt x="1886388" y="1703417"/>
                </a:cubicBezTo>
                <a:cubicBezTo>
                  <a:pt x="1877095" y="1701403"/>
                  <a:pt x="1874824" y="1690251"/>
                  <a:pt x="1875443" y="1680028"/>
                </a:cubicBezTo>
                <a:cubicBezTo>
                  <a:pt x="1875649" y="1676620"/>
                  <a:pt x="1876269" y="1673212"/>
                  <a:pt x="1876992" y="1670424"/>
                </a:cubicBezTo>
                <a:close/>
                <a:moveTo>
                  <a:pt x="998798" y="1670114"/>
                </a:moveTo>
                <a:cubicBezTo>
                  <a:pt x="1006335" y="1672128"/>
                  <a:pt x="1008091" y="1686843"/>
                  <a:pt x="1001586" y="1687308"/>
                </a:cubicBezTo>
                <a:cubicBezTo>
                  <a:pt x="1000656" y="1687308"/>
                  <a:pt x="999417" y="1687153"/>
                  <a:pt x="998178" y="1686533"/>
                </a:cubicBezTo>
                <a:cubicBezTo>
                  <a:pt x="996939" y="1684984"/>
                  <a:pt x="996010" y="1683590"/>
                  <a:pt x="995184" y="1682196"/>
                </a:cubicBezTo>
                <a:lnTo>
                  <a:pt x="993531" y="1678169"/>
                </a:lnTo>
                <a:lnTo>
                  <a:pt x="987336" y="1678479"/>
                </a:lnTo>
                <a:cubicBezTo>
                  <a:pt x="985064" y="1678633"/>
                  <a:pt x="983516" y="1678014"/>
                  <a:pt x="982380" y="1675226"/>
                </a:cubicBezTo>
                <a:cubicBezTo>
                  <a:pt x="983516" y="1673832"/>
                  <a:pt x="985478" y="1673212"/>
                  <a:pt x="987956" y="1673057"/>
                </a:cubicBezTo>
                <a:lnTo>
                  <a:pt x="994668" y="1672748"/>
                </a:lnTo>
                <a:lnTo>
                  <a:pt x="996113" y="1670424"/>
                </a:lnTo>
                <a:cubicBezTo>
                  <a:pt x="996939" y="1671509"/>
                  <a:pt x="997868" y="1670734"/>
                  <a:pt x="998798" y="1670114"/>
                </a:cubicBezTo>
                <a:close/>
                <a:moveTo>
                  <a:pt x="4869599" y="1669810"/>
                </a:moveTo>
                <a:cubicBezTo>
                  <a:pt x="4871519" y="1670237"/>
                  <a:pt x="4873013" y="1671233"/>
                  <a:pt x="4874080" y="1672656"/>
                </a:cubicBezTo>
                <a:cubicBezTo>
                  <a:pt x="4876428" y="1675358"/>
                  <a:pt x="4876428" y="1679769"/>
                  <a:pt x="4872586" y="1684748"/>
                </a:cubicBezTo>
                <a:cubicBezTo>
                  <a:pt x="4862556" y="1688589"/>
                  <a:pt x="4854873" y="1678346"/>
                  <a:pt x="4863196" y="1670379"/>
                </a:cubicBezTo>
                <a:cubicBezTo>
                  <a:pt x="4865544" y="1669525"/>
                  <a:pt x="4867677" y="1669383"/>
                  <a:pt x="4869599" y="1669810"/>
                </a:cubicBezTo>
                <a:close/>
                <a:moveTo>
                  <a:pt x="5205521" y="1669525"/>
                </a:moveTo>
                <a:cubicBezTo>
                  <a:pt x="5208722" y="1669952"/>
                  <a:pt x="5211710" y="1671659"/>
                  <a:pt x="5213418" y="1674078"/>
                </a:cubicBezTo>
                <a:cubicBezTo>
                  <a:pt x="5214485" y="1675785"/>
                  <a:pt x="5215125" y="1677777"/>
                  <a:pt x="5214698" y="1679911"/>
                </a:cubicBezTo>
                <a:cubicBezTo>
                  <a:pt x="5208935" y="1687878"/>
                  <a:pt x="5197198" y="1680765"/>
                  <a:pt x="5196771" y="1673366"/>
                </a:cubicBezTo>
                <a:cubicBezTo>
                  <a:pt x="5199119" y="1670379"/>
                  <a:pt x="5202320" y="1669241"/>
                  <a:pt x="5205521" y="1669525"/>
                </a:cubicBezTo>
                <a:close/>
                <a:moveTo>
                  <a:pt x="6134110" y="1668956"/>
                </a:moveTo>
                <a:cubicBezTo>
                  <a:pt x="6134537" y="1669241"/>
                  <a:pt x="6135177" y="1669668"/>
                  <a:pt x="6135604" y="1670237"/>
                </a:cubicBezTo>
                <a:cubicBezTo>
                  <a:pt x="6137739" y="1673509"/>
                  <a:pt x="6137312" y="1680765"/>
                  <a:pt x="6132830" y="1680195"/>
                </a:cubicBezTo>
                <a:lnTo>
                  <a:pt x="6131976" y="1679484"/>
                </a:lnTo>
                <a:lnTo>
                  <a:pt x="6131549" y="1679911"/>
                </a:lnTo>
                <a:cubicBezTo>
                  <a:pt x="6130269" y="1679911"/>
                  <a:pt x="6128775" y="1679769"/>
                  <a:pt x="6127494" y="1679769"/>
                </a:cubicBezTo>
                <a:cubicBezTo>
                  <a:pt x="6126641" y="1682330"/>
                  <a:pt x="6122586" y="1677635"/>
                  <a:pt x="6121946" y="1680195"/>
                </a:cubicBezTo>
                <a:cubicBezTo>
                  <a:pt x="6116610" y="1675643"/>
                  <a:pt x="6111702" y="1681903"/>
                  <a:pt x="6102951" y="1676354"/>
                </a:cubicBezTo>
                <a:cubicBezTo>
                  <a:pt x="6105726" y="1675216"/>
                  <a:pt x="6108287" y="1674789"/>
                  <a:pt x="6110634" y="1674505"/>
                </a:cubicBezTo>
                <a:cubicBezTo>
                  <a:pt x="6114476" y="1674220"/>
                  <a:pt x="6117677" y="1674505"/>
                  <a:pt x="6120878" y="1674647"/>
                </a:cubicBezTo>
                <a:lnTo>
                  <a:pt x="6128348" y="1673651"/>
                </a:lnTo>
                <a:lnTo>
                  <a:pt x="6129629" y="1671375"/>
                </a:lnTo>
                <a:cubicBezTo>
                  <a:pt x="6130482" y="1670237"/>
                  <a:pt x="6131336" y="1669668"/>
                  <a:pt x="6131976" y="1669241"/>
                </a:cubicBezTo>
                <a:cubicBezTo>
                  <a:pt x="6132830" y="1668814"/>
                  <a:pt x="6133470" y="1668672"/>
                  <a:pt x="6134110" y="1668956"/>
                </a:cubicBezTo>
                <a:close/>
                <a:moveTo>
                  <a:pt x="6080969" y="1668529"/>
                </a:moveTo>
                <a:cubicBezTo>
                  <a:pt x="6082463" y="1680480"/>
                  <a:pt x="6060908" y="1697410"/>
                  <a:pt x="6050877" y="1688020"/>
                </a:cubicBezTo>
                <a:cubicBezTo>
                  <a:pt x="6062401" y="1682187"/>
                  <a:pt x="6066243" y="1672513"/>
                  <a:pt x="6080969" y="1668529"/>
                </a:cubicBezTo>
                <a:close/>
                <a:moveTo>
                  <a:pt x="1687827" y="1667946"/>
                </a:moveTo>
                <a:cubicBezTo>
                  <a:pt x="1688859" y="1668410"/>
                  <a:pt x="1689892" y="1669030"/>
                  <a:pt x="1690924" y="1669495"/>
                </a:cubicBezTo>
                <a:cubicBezTo>
                  <a:pt x="1688652" y="1674606"/>
                  <a:pt x="1689685" y="1678479"/>
                  <a:pt x="1688033" y="1682506"/>
                </a:cubicBezTo>
                <a:cubicBezTo>
                  <a:pt x="1686691" y="1680802"/>
                  <a:pt x="1684832" y="1678324"/>
                  <a:pt x="1684212" y="1675845"/>
                </a:cubicBezTo>
                <a:cubicBezTo>
                  <a:pt x="1683593" y="1673212"/>
                  <a:pt x="1684316" y="1670424"/>
                  <a:pt x="1687827" y="1667946"/>
                </a:cubicBezTo>
                <a:close/>
                <a:moveTo>
                  <a:pt x="5221314" y="1667107"/>
                </a:moveTo>
                <a:cubicBezTo>
                  <a:pt x="5222808" y="1669241"/>
                  <a:pt x="5225796" y="1672229"/>
                  <a:pt x="5224942" y="1675216"/>
                </a:cubicBezTo>
                <a:cubicBezTo>
                  <a:pt x="5224729" y="1676212"/>
                  <a:pt x="5224089" y="1677066"/>
                  <a:pt x="5222808" y="1678061"/>
                </a:cubicBezTo>
                <a:cubicBezTo>
                  <a:pt x="5222808" y="1679342"/>
                  <a:pt x="5218113" y="1679769"/>
                  <a:pt x="5217046" y="1678346"/>
                </a:cubicBezTo>
                <a:cubicBezTo>
                  <a:pt x="5213631" y="1675501"/>
                  <a:pt x="5216192" y="1672371"/>
                  <a:pt x="5217686" y="1667818"/>
                </a:cubicBezTo>
                <a:cubicBezTo>
                  <a:pt x="5218753" y="1669099"/>
                  <a:pt x="5220034" y="1668102"/>
                  <a:pt x="5221314" y="1667107"/>
                </a:cubicBezTo>
                <a:close/>
                <a:moveTo>
                  <a:pt x="4841854" y="1666965"/>
                </a:moveTo>
                <a:cubicBezTo>
                  <a:pt x="4853805" y="1671375"/>
                  <a:pt x="4861061" y="1692431"/>
                  <a:pt x="4849964" y="1695276"/>
                </a:cubicBezTo>
                <a:cubicBezTo>
                  <a:pt x="4848470" y="1695703"/>
                  <a:pt x="4846549" y="1695703"/>
                  <a:pt x="4844202" y="1695276"/>
                </a:cubicBezTo>
                <a:cubicBezTo>
                  <a:pt x="4840360" y="1687451"/>
                  <a:pt x="4831396" y="1674789"/>
                  <a:pt x="4841854" y="1666965"/>
                </a:cubicBezTo>
                <a:close/>
                <a:moveTo>
                  <a:pt x="1667485" y="1666706"/>
                </a:moveTo>
                <a:cubicBezTo>
                  <a:pt x="1668724" y="1666862"/>
                  <a:pt x="1670066" y="1667326"/>
                  <a:pt x="1671512" y="1668255"/>
                </a:cubicBezTo>
                <a:cubicBezTo>
                  <a:pt x="1670996" y="1674142"/>
                  <a:pt x="1672131" y="1684520"/>
                  <a:pt x="1662012" y="1686533"/>
                </a:cubicBezTo>
                <a:cubicBezTo>
                  <a:pt x="1660464" y="1685139"/>
                  <a:pt x="1659534" y="1682971"/>
                  <a:pt x="1659018" y="1680802"/>
                </a:cubicBezTo>
                <a:cubicBezTo>
                  <a:pt x="1658605" y="1678479"/>
                  <a:pt x="1658605" y="1676155"/>
                  <a:pt x="1659225" y="1673832"/>
                </a:cubicBezTo>
                <a:cubicBezTo>
                  <a:pt x="1660257" y="1669495"/>
                  <a:pt x="1663251" y="1666087"/>
                  <a:pt x="1667485" y="1666706"/>
                </a:cubicBezTo>
                <a:close/>
                <a:moveTo>
                  <a:pt x="4806213" y="1665827"/>
                </a:moveTo>
                <a:cubicBezTo>
                  <a:pt x="4807706" y="1666253"/>
                  <a:pt x="4809841" y="1667960"/>
                  <a:pt x="4811548" y="1670094"/>
                </a:cubicBezTo>
                <a:cubicBezTo>
                  <a:pt x="4813256" y="1672229"/>
                  <a:pt x="4814749" y="1674789"/>
                  <a:pt x="4814536" y="1676923"/>
                </a:cubicBezTo>
                <a:cubicBezTo>
                  <a:pt x="4811975" y="1677208"/>
                  <a:pt x="4809414" y="1677350"/>
                  <a:pt x="4807066" y="1677635"/>
                </a:cubicBezTo>
                <a:cubicBezTo>
                  <a:pt x="4807920" y="1676923"/>
                  <a:pt x="4801091" y="1668956"/>
                  <a:pt x="4801091" y="1668956"/>
                </a:cubicBezTo>
                <a:cubicBezTo>
                  <a:pt x="4802158" y="1665684"/>
                  <a:pt x="4802158" y="1665684"/>
                  <a:pt x="4806213" y="1665827"/>
                </a:cubicBezTo>
                <a:close/>
                <a:moveTo>
                  <a:pt x="5102226" y="1664830"/>
                </a:moveTo>
                <a:cubicBezTo>
                  <a:pt x="5103080" y="1665257"/>
                  <a:pt x="5103933" y="1666395"/>
                  <a:pt x="5105000" y="1668387"/>
                </a:cubicBezTo>
                <a:cubicBezTo>
                  <a:pt x="5106068" y="1671659"/>
                  <a:pt x="5107775" y="1673936"/>
                  <a:pt x="5107348" y="1674931"/>
                </a:cubicBezTo>
                <a:cubicBezTo>
                  <a:pt x="5108415" y="1675501"/>
                  <a:pt x="5108842" y="1677208"/>
                  <a:pt x="5109909" y="1677777"/>
                </a:cubicBezTo>
                <a:cubicBezTo>
                  <a:pt x="5109909" y="1677777"/>
                  <a:pt x="5109909" y="1677777"/>
                  <a:pt x="5109482" y="1678773"/>
                </a:cubicBezTo>
                <a:cubicBezTo>
                  <a:pt x="5105641" y="1675358"/>
                  <a:pt x="5099878" y="1673366"/>
                  <a:pt x="5097744" y="1669525"/>
                </a:cubicBezTo>
                <a:cubicBezTo>
                  <a:pt x="5097530" y="1668672"/>
                  <a:pt x="5097104" y="1667818"/>
                  <a:pt x="5097317" y="1667107"/>
                </a:cubicBezTo>
                <a:cubicBezTo>
                  <a:pt x="5097530" y="1666395"/>
                  <a:pt x="5098171" y="1665684"/>
                  <a:pt x="5099665" y="1665257"/>
                </a:cubicBezTo>
                <a:cubicBezTo>
                  <a:pt x="5100732" y="1664546"/>
                  <a:pt x="5101372" y="1664404"/>
                  <a:pt x="5102226" y="1664830"/>
                </a:cubicBezTo>
                <a:close/>
                <a:moveTo>
                  <a:pt x="5736083" y="1664404"/>
                </a:moveTo>
                <a:cubicBezTo>
                  <a:pt x="5737150" y="1664404"/>
                  <a:pt x="5738003" y="1665115"/>
                  <a:pt x="5738430" y="1666111"/>
                </a:cubicBezTo>
                <a:cubicBezTo>
                  <a:pt x="5739711" y="1668102"/>
                  <a:pt x="5739284" y="1671517"/>
                  <a:pt x="5736296" y="1672371"/>
                </a:cubicBezTo>
                <a:cubicBezTo>
                  <a:pt x="5735443" y="1671091"/>
                  <a:pt x="5733308" y="1669668"/>
                  <a:pt x="5732668" y="1667249"/>
                </a:cubicBezTo>
                <a:cubicBezTo>
                  <a:pt x="5733735" y="1665257"/>
                  <a:pt x="5735015" y="1664404"/>
                  <a:pt x="5736083" y="1664404"/>
                </a:cubicBezTo>
                <a:close/>
                <a:moveTo>
                  <a:pt x="4651057" y="1664261"/>
                </a:moveTo>
                <a:cubicBezTo>
                  <a:pt x="4651057" y="1664261"/>
                  <a:pt x="4649989" y="1665542"/>
                  <a:pt x="4648922" y="1666965"/>
                </a:cubicBezTo>
                <a:cubicBezTo>
                  <a:pt x="4648069" y="1668245"/>
                  <a:pt x="4648069" y="1668245"/>
                  <a:pt x="4649349" y="1669383"/>
                </a:cubicBezTo>
                <a:cubicBezTo>
                  <a:pt x="4648282" y="1670664"/>
                  <a:pt x="4648282" y="1670664"/>
                  <a:pt x="4646148" y="1670806"/>
                </a:cubicBezTo>
                <a:cubicBezTo>
                  <a:pt x="4647001" y="1669525"/>
                  <a:pt x="4649562" y="1663123"/>
                  <a:pt x="4651057" y="1664261"/>
                </a:cubicBezTo>
                <a:close/>
                <a:moveTo>
                  <a:pt x="3644782" y="1664119"/>
                </a:moveTo>
                <a:cubicBezTo>
                  <a:pt x="3646490" y="1664119"/>
                  <a:pt x="3647983" y="1664119"/>
                  <a:pt x="3649478" y="1664261"/>
                </a:cubicBezTo>
                <a:cubicBezTo>
                  <a:pt x="3649264" y="1667534"/>
                  <a:pt x="3648837" y="1670948"/>
                  <a:pt x="3645636" y="1670806"/>
                </a:cubicBezTo>
                <a:cubicBezTo>
                  <a:pt x="3644996" y="1668245"/>
                  <a:pt x="3643502" y="1668245"/>
                  <a:pt x="3644782" y="1664119"/>
                </a:cubicBezTo>
                <a:close/>
                <a:moveTo>
                  <a:pt x="918748" y="1664054"/>
                </a:moveTo>
                <a:cubicBezTo>
                  <a:pt x="921743" y="1664461"/>
                  <a:pt x="924298" y="1665312"/>
                  <a:pt x="925279" y="1666397"/>
                </a:cubicBezTo>
                <a:cubicBezTo>
                  <a:pt x="922595" y="1668565"/>
                  <a:pt x="919187" y="1667481"/>
                  <a:pt x="915676" y="1669650"/>
                </a:cubicBezTo>
                <a:cubicBezTo>
                  <a:pt x="913095" y="1667636"/>
                  <a:pt x="908655" y="1669805"/>
                  <a:pt x="905248" y="1666862"/>
                </a:cubicBezTo>
                <a:cubicBezTo>
                  <a:pt x="906177" y="1665622"/>
                  <a:pt x="907726" y="1664848"/>
                  <a:pt x="909584" y="1664383"/>
                </a:cubicBezTo>
                <a:cubicBezTo>
                  <a:pt x="912320" y="1663686"/>
                  <a:pt x="915754" y="1663647"/>
                  <a:pt x="918748" y="1664054"/>
                </a:cubicBezTo>
                <a:close/>
                <a:moveTo>
                  <a:pt x="5595866" y="1663977"/>
                </a:moveTo>
                <a:cubicBezTo>
                  <a:pt x="5597146" y="1670237"/>
                  <a:pt x="5598853" y="1681333"/>
                  <a:pt x="5587969" y="1684037"/>
                </a:cubicBezTo>
                <a:cubicBezTo>
                  <a:pt x="5587116" y="1682614"/>
                  <a:pt x="5586262" y="1681333"/>
                  <a:pt x="5585195" y="1680053"/>
                </a:cubicBezTo>
                <a:cubicBezTo>
                  <a:pt x="5590744" y="1674505"/>
                  <a:pt x="5591811" y="1668529"/>
                  <a:pt x="5595866" y="1663977"/>
                </a:cubicBezTo>
                <a:close/>
                <a:moveTo>
                  <a:pt x="1850093" y="1663163"/>
                </a:moveTo>
                <a:cubicBezTo>
                  <a:pt x="1852391" y="1663686"/>
                  <a:pt x="1854482" y="1665157"/>
                  <a:pt x="1855514" y="1667016"/>
                </a:cubicBezTo>
                <a:cubicBezTo>
                  <a:pt x="1856237" y="1668255"/>
                  <a:pt x="1856444" y="1669805"/>
                  <a:pt x="1856031" y="1671199"/>
                </a:cubicBezTo>
                <a:cubicBezTo>
                  <a:pt x="1850971" y="1676310"/>
                  <a:pt x="1843021" y="1670269"/>
                  <a:pt x="1843434" y="1665002"/>
                </a:cubicBezTo>
                <a:cubicBezTo>
                  <a:pt x="1845292" y="1663067"/>
                  <a:pt x="1847796" y="1662641"/>
                  <a:pt x="1850093" y="1663163"/>
                </a:cubicBezTo>
                <a:close/>
                <a:moveTo>
                  <a:pt x="5980448" y="1662697"/>
                </a:moveTo>
                <a:cubicBezTo>
                  <a:pt x="5983223" y="1664404"/>
                  <a:pt x="5985570" y="1664973"/>
                  <a:pt x="5988345" y="1666538"/>
                </a:cubicBezTo>
                <a:cubicBezTo>
                  <a:pt x="5990692" y="1673224"/>
                  <a:pt x="5987278" y="1677493"/>
                  <a:pt x="5983009" y="1678631"/>
                </a:cubicBezTo>
                <a:cubicBezTo>
                  <a:pt x="5978741" y="1679769"/>
                  <a:pt x="5973619" y="1677635"/>
                  <a:pt x="5972338" y="1671233"/>
                </a:cubicBezTo>
                <a:cubicBezTo>
                  <a:pt x="5975113" y="1666822"/>
                  <a:pt x="5978314" y="1664546"/>
                  <a:pt x="5980448" y="1662697"/>
                </a:cubicBezTo>
                <a:close/>
                <a:moveTo>
                  <a:pt x="5344244" y="1662412"/>
                </a:moveTo>
                <a:cubicBezTo>
                  <a:pt x="5346165" y="1662412"/>
                  <a:pt x="5347658" y="1663123"/>
                  <a:pt x="5348726" y="1664546"/>
                </a:cubicBezTo>
                <a:cubicBezTo>
                  <a:pt x="5349366" y="1665684"/>
                  <a:pt x="5349793" y="1667107"/>
                  <a:pt x="5349793" y="1668956"/>
                </a:cubicBezTo>
                <a:cubicBezTo>
                  <a:pt x="5347018" y="1671375"/>
                  <a:pt x="5339762" y="1672086"/>
                  <a:pt x="5337628" y="1669525"/>
                </a:cubicBezTo>
                <a:cubicBezTo>
                  <a:pt x="5337841" y="1667818"/>
                  <a:pt x="5338055" y="1666253"/>
                  <a:pt x="5338268" y="1664546"/>
                </a:cubicBezTo>
                <a:cubicBezTo>
                  <a:pt x="5340189" y="1663265"/>
                  <a:pt x="5342323" y="1662555"/>
                  <a:pt x="5344244" y="1662412"/>
                </a:cubicBezTo>
                <a:close/>
                <a:moveTo>
                  <a:pt x="1716738" y="1661750"/>
                </a:moveTo>
                <a:cubicBezTo>
                  <a:pt x="1721281" y="1664848"/>
                  <a:pt x="1725721" y="1667791"/>
                  <a:pt x="1726547" y="1671663"/>
                </a:cubicBezTo>
                <a:cubicBezTo>
                  <a:pt x="1724586" y="1674761"/>
                  <a:pt x="1722107" y="1676930"/>
                  <a:pt x="1719216" y="1678014"/>
                </a:cubicBezTo>
                <a:cubicBezTo>
                  <a:pt x="1716428" y="1678943"/>
                  <a:pt x="1713124" y="1678633"/>
                  <a:pt x="1709407" y="1676775"/>
                </a:cubicBezTo>
                <a:cubicBezTo>
                  <a:pt x="1708787" y="1675226"/>
                  <a:pt x="1708787" y="1673832"/>
                  <a:pt x="1709097" y="1672283"/>
                </a:cubicBezTo>
                <a:cubicBezTo>
                  <a:pt x="1710027" y="1668100"/>
                  <a:pt x="1714363" y="1664383"/>
                  <a:pt x="1716738" y="1661750"/>
                </a:cubicBezTo>
                <a:close/>
                <a:moveTo>
                  <a:pt x="1684316" y="1661595"/>
                </a:moveTo>
                <a:cubicBezTo>
                  <a:pt x="1685142" y="1661595"/>
                  <a:pt x="1685142" y="1662524"/>
                  <a:pt x="1685968" y="1662524"/>
                </a:cubicBezTo>
                <a:cubicBezTo>
                  <a:pt x="1686381" y="1662989"/>
                  <a:pt x="1686381" y="1663764"/>
                  <a:pt x="1686277" y="1664848"/>
                </a:cubicBezTo>
                <a:cubicBezTo>
                  <a:pt x="1685761" y="1667946"/>
                  <a:pt x="1683593" y="1672593"/>
                  <a:pt x="1682973" y="1672593"/>
                </a:cubicBezTo>
                <a:cubicBezTo>
                  <a:pt x="1682870" y="1673522"/>
                  <a:pt x="1681941" y="1673367"/>
                  <a:pt x="1681837" y="1674297"/>
                </a:cubicBezTo>
                <a:cubicBezTo>
                  <a:pt x="1681837" y="1674297"/>
                  <a:pt x="1681734" y="1675071"/>
                  <a:pt x="1680702" y="1675845"/>
                </a:cubicBezTo>
                <a:cubicBezTo>
                  <a:pt x="1679772" y="1676775"/>
                  <a:pt x="1678740" y="1677549"/>
                  <a:pt x="1677088" y="1676620"/>
                </a:cubicBezTo>
                <a:lnTo>
                  <a:pt x="1679669" y="1670889"/>
                </a:lnTo>
                <a:lnTo>
                  <a:pt x="1677810" y="1672283"/>
                </a:lnTo>
                <a:cubicBezTo>
                  <a:pt x="1676365" y="1672902"/>
                  <a:pt x="1674816" y="1673057"/>
                  <a:pt x="1673680" y="1672438"/>
                </a:cubicBezTo>
                <a:cubicBezTo>
                  <a:pt x="1672544" y="1669805"/>
                  <a:pt x="1674197" y="1668875"/>
                  <a:pt x="1673164" y="1667326"/>
                </a:cubicBezTo>
                <a:cubicBezTo>
                  <a:pt x="1675229" y="1666552"/>
                  <a:pt x="1676778" y="1666397"/>
                  <a:pt x="1678017" y="1666862"/>
                </a:cubicBezTo>
                <a:lnTo>
                  <a:pt x="1680495" y="1669185"/>
                </a:lnTo>
                <a:lnTo>
                  <a:pt x="1680805" y="1668410"/>
                </a:lnTo>
                <a:cubicBezTo>
                  <a:pt x="1681734" y="1666242"/>
                  <a:pt x="1682664" y="1664073"/>
                  <a:pt x="1684316" y="1661595"/>
                </a:cubicBezTo>
                <a:close/>
                <a:moveTo>
                  <a:pt x="5839805" y="1661558"/>
                </a:moveTo>
                <a:cubicBezTo>
                  <a:pt x="5840872" y="1661700"/>
                  <a:pt x="5842152" y="1662697"/>
                  <a:pt x="5843433" y="1663835"/>
                </a:cubicBezTo>
                <a:cubicBezTo>
                  <a:pt x="5845780" y="1666395"/>
                  <a:pt x="5844713" y="1668672"/>
                  <a:pt x="5844713" y="1668672"/>
                </a:cubicBezTo>
                <a:cubicBezTo>
                  <a:pt x="5842579" y="1672086"/>
                  <a:pt x="5839165" y="1673224"/>
                  <a:pt x="5835536" y="1670664"/>
                </a:cubicBezTo>
                <a:cubicBezTo>
                  <a:pt x="5834256" y="1668245"/>
                  <a:pt x="5835323" y="1665969"/>
                  <a:pt x="5836390" y="1663692"/>
                </a:cubicBezTo>
                <a:cubicBezTo>
                  <a:pt x="5837457" y="1661843"/>
                  <a:pt x="5838524" y="1661274"/>
                  <a:pt x="5839805" y="1661558"/>
                </a:cubicBezTo>
                <a:close/>
                <a:moveTo>
                  <a:pt x="5916849" y="1661416"/>
                </a:moveTo>
                <a:cubicBezTo>
                  <a:pt x="5925386" y="1671944"/>
                  <a:pt x="5914715" y="1688305"/>
                  <a:pt x="5907886" y="1694991"/>
                </a:cubicBezTo>
                <a:cubicBezTo>
                  <a:pt x="5908312" y="1689443"/>
                  <a:pt x="5908312" y="1684037"/>
                  <a:pt x="5909379" y="1678488"/>
                </a:cubicBezTo>
                <a:cubicBezTo>
                  <a:pt x="5910446" y="1672940"/>
                  <a:pt x="5912367" y="1667107"/>
                  <a:pt x="5916849" y="1661416"/>
                </a:cubicBezTo>
                <a:close/>
                <a:moveTo>
                  <a:pt x="1488955" y="1661131"/>
                </a:moveTo>
                <a:cubicBezTo>
                  <a:pt x="1489574" y="1660976"/>
                  <a:pt x="1490194" y="1661131"/>
                  <a:pt x="1490813" y="1662060"/>
                </a:cubicBezTo>
                <a:lnTo>
                  <a:pt x="1491020" y="1662369"/>
                </a:lnTo>
                <a:lnTo>
                  <a:pt x="1494118" y="1664228"/>
                </a:lnTo>
                <a:cubicBezTo>
                  <a:pt x="1495150" y="1665158"/>
                  <a:pt x="1495770" y="1666242"/>
                  <a:pt x="1495976" y="1667481"/>
                </a:cubicBezTo>
                <a:cubicBezTo>
                  <a:pt x="1497319" y="1674297"/>
                  <a:pt x="1486064" y="1683126"/>
                  <a:pt x="1478010" y="1678633"/>
                </a:cubicBezTo>
                <a:cubicBezTo>
                  <a:pt x="1477287" y="1676930"/>
                  <a:pt x="1477390" y="1675071"/>
                  <a:pt x="1477906" y="1673367"/>
                </a:cubicBezTo>
                <a:cubicBezTo>
                  <a:pt x="1478630" y="1670734"/>
                  <a:pt x="1480591" y="1668100"/>
                  <a:pt x="1482760" y="1666087"/>
                </a:cubicBezTo>
                <a:lnTo>
                  <a:pt x="1486683" y="1663764"/>
                </a:lnTo>
                <a:lnTo>
                  <a:pt x="1487406" y="1661905"/>
                </a:lnTo>
                <a:cubicBezTo>
                  <a:pt x="1487923" y="1661440"/>
                  <a:pt x="1488438" y="1661131"/>
                  <a:pt x="1488955" y="1661131"/>
                </a:cubicBezTo>
                <a:close/>
                <a:moveTo>
                  <a:pt x="6163136" y="1660563"/>
                </a:moveTo>
                <a:cubicBezTo>
                  <a:pt x="6163562" y="1660563"/>
                  <a:pt x="6163989" y="1660847"/>
                  <a:pt x="6164629" y="1661985"/>
                </a:cubicBezTo>
                <a:cubicBezTo>
                  <a:pt x="6165697" y="1662555"/>
                  <a:pt x="6165910" y="1664261"/>
                  <a:pt x="6166764" y="1664830"/>
                </a:cubicBezTo>
                <a:cubicBezTo>
                  <a:pt x="6166764" y="1664830"/>
                  <a:pt x="6166550" y="1665827"/>
                  <a:pt x="6166124" y="1666822"/>
                </a:cubicBezTo>
                <a:cubicBezTo>
                  <a:pt x="6165697" y="1667818"/>
                  <a:pt x="6165057" y="1668814"/>
                  <a:pt x="6164203" y="1669099"/>
                </a:cubicBezTo>
                <a:cubicBezTo>
                  <a:pt x="6161855" y="1670521"/>
                  <a:pt x="6161001" y="1665542"/>
                  <a:pt x="6160148" y="1664973"/>
                </a:cubicBezTo>
                <a:cubicBezTo>
                  <a:pt x="6159934" y="1663265"/>
                  <a:pt x="6159721" y="1661700"/>
                  <a:pt x="6161215" y="1661274"/>
                </a:cubicBezTo>
                <a:cubicBezTo>
                  <a:pt x="6162069" y="1660989"/>
                  <a:pt x="6162495" y="1660563"/>
                  <a:pt x="6163136" y="1660563"/>
                </a:cubicBezTo>
                <a:close/>
                <a:moveTo>
                  <a:pt x="1511671" y="1660511"/>
                </a:moveTo>
                <a:cubicBezTo>
                  <a:pt x="1512910" y="1660976"/>
                  <a:pt x="1513220" y="1661750"/>
                  <a:pt x="1514046" y="1661440"/>
                </a:cubicBezTo>
                <a:cubicBezTo>
                  <a:pt x="1512807" y="1664538"/>
                  <a:pt x="1510123" y="1664848"/>
                  <a:pt x="1507438" y="1665002"/>
                </a:cubicBezTo>
                <a:cubicBezTo>
                  <a:pt x="1505476" y="1664693"/>
                  <a:pt x="1504650" y="1665002"/>
                  <a:pt x="1503514" y="1666397"/>
                </a:cubicBezTo>
                <a:cubicBezTo>
                  <a:pt x="1503514" y="1666397"/>
                  <a:pt x="1503514" y="1666397"/>
                  <a:pt x="1501139" y="1665467"/>
                </a:cubicBezTo>
                <a:lnTo>
                  <a:pt x="1500829" y="1664693"/>
                </a:lnTo>
                <a:cubicBezTo>
                  <a:pt x="1500829" y="1664228"/>
                  <a:pt x="1501346" y="1663919"/>
                  <a:pt x="1502172" y="1663454"/>
                </a:cubicBezTo>
                <a:cubicBezTo>
                  <a:pt x="1504650" y="1662215"/>
                  <a:pt x="1509606" y="1661285"/>
                  <a:pt x="1510123" y="1661131"/>
                </a:cubicBezTo>
                <a:cubicBezTo>
                  <a:pt x="1510123" y="1661131"/>
                  <a:pt x="1510948" y="1660821"/>
                  <a:pt x="1511671" y="1660511"/>
                </a:cubicBezTo>
                <a:close/>
                <a:moveTo>
                  <a:pt x="891205" y="1659736"/>
                </a:moveTo>
                <a:cubicBezTo>
                  <a:pt x="900394" y="1658807"/>
                  <a:pt x="902872" y="1663299"/>
                  <a:pt x="904008" y="1662989"/>
                </a:cubicBezTo>
                <a:cubicBezTo>
                  <a:pt x="905041" y="1666552"/>
                  <a:pt x="902563" y="1667016"/>
                  <a:pt x="899259" y="1668875"/>
                </a:cubicBezTo>
                <a:cubicBezTo>
                  <a:pt x="898949" y="1667636"/>
                  <a:pt x="895438" y="1668255"/>
                  <a:pt x="894199" y="1668410"/>
                </a:cubicBezTo>
                <a:cubicBezTo>
                  <a:pt x="893580" y="1666087"/>
                  <a:pt x="889140" y="1666242"/>
                  <a:pt x="888210" y="1662679"/>
                </a:cubicBezTo>
                <a:cubicBezTo>
                  <a:pt x="889140" y="1661285"/>
                  <a:pt x="889553" y="1660665"/>
                  <a:pt x="891205" y="1659736"/>
                </a:cubicBezTo>
                <a:close/>
                <a:moveTo>
                  <a:pt x="1726754" y="1659427"/>
                </a:moveTo>
                <a:cubicBezTo>
                  <a:pt x="1728612" y="1659736"/>
                  <a:pt x="1730471" y="1659891"/>
                  <a:pt x="1731710" y="1661285"/>
                </a:cubicBezTo>
                <a:cubicBezTo>
                  <a:pt x="1730471" y="1663454"/>
                  <a:pt x="1730162" y="1665312"/>
                  <a:pt x="1728716" y="1666552"/>
                </a:cubicBezTo>
                <a:cubicBezTo>
                  <a:pt x="1726444" y="1666552"/>
                  <a:pt x="1725205" y="1665622"/>
                  <a:pt x="1724999" y="1664228"/>
                </a:cubicBezTo>
                <a:cubicBezTo>
                  <a:pt x="1724792" y="1662834"/>
                  <a:pt x="1725411" y="1661131"/>
                  <a:pt x="1726754" y="1659427"/>
                </a:cubicBezTo>
                <a:close/>
                <a:moveTo>
                  <a:pt x="1393030" y="1659117"/>
                </a:moveTo>
                <a:cubicBezTo>
                  <a:pt x="1395818" y="1660046"/>
                  <a:pt x="1395921" y="1661750"/>
                  <a:pt x="1396231" y="1665312"/>
                </a:cubicBezTo>
                <a:cubicBezTo>
                  <a:pt x="1394269" y="1664848"/>
                  <a:pt x="1393236" y="1664073"/>
                  <a:pt x="1392824" y="1662989"/>
                </a:cubicBezTo>
                <a:cubicBezTo>
                  <a:pt x="1392410" y="1662060"/>
                  <a:pt x="1392617" y="1660821"/>
                  <a:pt x="1393030" y="1659117"/>
                </a:cubicBezTo>
                <a:close/>
                <a:moveTo>
                  <a:pt x="4912283" y="1658855"/>
                </a:moveTo>
                <a:cubicBezTo>
                  <a:pt x="4912283" y="1658855"/>
                  <a:pt x="4913563" y="1661132"/>
                  <a:pt x="4913563" y="1661132"/>
                </a:cubicBezTo>
                <a:cubicBezTo>
                  <a:pt x="4913990" y="1664546"/>
                  <a:pt x="4914203" y="1666111"/>
                  <a:pt x="4915483" y="1668387"/>
                </a:cubicBezTo>
                <a:cubicBezTo>
                  <a:pt x="4913136" y="1669952"/>
                  <a:pt x="4912069" y="1669383"/>
                  <a:pt x="4911855" y="1667676"/>
                </a:cubicBezTo>
                <a:cubicBezTo>
                  <a:pt x="4911855" y="1667676"/>
                  <a:pt x="4911642" y="1665969"/>
                  <a:pt x="4911428" y="1664261"/>
                </a:cubicBezTo>
                <a:cubicBezTo>
                  <a:pt x="4911215" y="1662697"/>
                  <a:pt x="4910148" y="1661985"/>
                  <a:pt x="4910148" y="1661985"/>
                </a:cubicBezTo>
                <a:cubicBezTo>
                  <a:pt x="4909935" y="1660278"/>
                  <a:pt x="4910788" y="1659282"/>
                  <a:pt x="4912283" y="1658855"/>
                </a:cubicBezTo>
                <a:close/>
                <a:moveTo>
                  <a:pt x="4886032" y="1658428"/>
                </a:moveTo>
                <a:cubicBezTo>
                  <a:pt x="4887099" y="1661274"/>
                  <a:pt x="4889019" y="1666253"/>
                  <a:pt x="4888379" y="1669383"/>
                </a:cubicBezTo>
                <a:cubicBezTo>
                  <a:pt x="4888166" y="1670379"/>
                  <a:pt x="4887526" y="1671233"/>
                  <a:pt x="4886458" y="1671659"/>
                </a:cubicBezTo>
                <a:cubicBezTo>
                  <a:pt x="4884965" y="1672086"/>
                  <a:pt x="4884751" y="1670521"/>
                  <a:pt x="4883684" y="1669952"/>
                </a:cubicBezTo>
                <a:cubicBezTo>
                  <a:pt x="4882617" y="1667676"/>
                  <a:pt x="4884324" y="1658855"/>
                  <a:pt x="4886032" y="1658428"/>
                </a:cubicBezTo>
                <a:close/>
                <a:moveTo>
                  <a:pt x="1461489" y="1658187"/>
                </a:moveTo>
                <a:lnTo>
                  <a:pt x="1461282" y="1660046"/>
                </a:lnTo>
                <a:lnTo>
                  <a:pt x="1462005" y="1659891"/>
                </a:lnTo>
                <a:cubicBezTo>
                  <a:pt x="1463347" y="1659427"/>
                  <a:pt x="1464896" y="1659427"/>
                  <a:pt x="1466135" y="1660511"/>
                </a:cubicBezTo>
                <a:cubicBezTo>
                  <a:pt x="1465309" y="1660821"/>
                  <a:pt x="1463967" y="1661285"/>
                  <a:pt x="1462625" y="1661750"/>
                </a:cubicBezTo>
                <a:lnTo>
                  <a:pt x="1461076" y="1662060"/>
                </a:lnTo>
                <a:lnTo>
                  <a:pt x="1460766" y="1664383"/>
                </a:lnTo>
                <a:cubicBezTo>
                  <a:pt x="1459837" y="1666242"/>
                  <a:pt x="1458081" y="1667791"/>
                  <a:pt x="1455500" y="1668875"/>
                </a:cubicBezTo>
                <a:cubicBezTo>
                  <a:pt x="1451473" y="1667636"/>
                  <a:pt x="1452196" y="1661905"/>
                  <a:pt x="1452196" y="1658962"/>
                </a:cubicBezTo>
                <a:cubicBezTo>
                  <a:pt x="1455809" y="1658032"/>
                  <a:pt x="1459320" y="1656948"/>
                  <a:pt x="1461489" y="1658187"/>
                </a:cubicBezTo>
                <a:close/>
                <a:moveTo>
                  <a:pt x="1316517" y="1657723"/>
                </a:moveTo>
                <a:cubicBezTo>
                  <a:pt x="1317446" y="1656019"/>
                  <a:pt x="1318995" y="1657723"/>
                  <a:pt x="1319821" y="1658497"/>
                </a:cubicBezTo>
                <a:cubicBezTo>
                  <a:pt x="1317343" y="1658652"/>
                  <a:pt x="1316517" y="1659427"/>
                  <a:pt x="1316517" y="1658652"/>
                </a:cubicBezTo>
                <a:cubicBezTo>
                  <a:pt x="1316104" y="1658652"/>
                  <a:pt x="1315897" y="1658497"/>
                  <a:pt x="1315897" y="1658187"/>
                </a:cubicBezTo>
                <a:cubicBezTo>
                  <a:pt x="1315897" y="1658032"/>
                  <a:pt x="1316104" y="1657723"/>
                  <a:pt x="1316517" y="1657723"/>
                </a:cubicBezTo>
                <a:close/>
                <a:moveTo>
                  <a:pt x="1164111" y="1657567"/>
                </a:moveTo>
                <a:cubicBezTo>
                  <a:pt x="1170306" y="1657723"/>
                  <a:pt x="1176605" y="1667016"/>
                  <a:pt x="1176089" y="1671973"/>
                </a:cubicBezTo>
                <a:lnTo>
                  <a:pt x="1173714" y="1673522"/>
                </a:lnTo>
                <a:lnTo>
                  <a:pt x="1174230" y="1674452"/>
                </a:lnTo>
                <a:lnTo>
                  <a:pt x="1175366" y="1678169"/>
                </a:lnTo>
                <a:lnTo>
                  <a:pt x="1175779" y="1677859"/>
                </a:lnTo>
                <a:cubicBezTo>
                  <a:pt x="1176501" y="1677704"/>
                  <a:pt x="1177431" y="1678014"/>
                  <a:pt x="1178154" y="1678788"/>
                </a:cubicBezTo>
                <a:cubicBezTo>
                  <a:pt x="1180632" y="1680338"/>
                  <a:pt x="1180529" y="1682971"/>
                  <a:pt x="1179599" y="1685449"/>
                </a:cubicBezTo>
                <a:cubicBezTo>
                  <a:pt x="1180322" y="1687153"/>
                  <a:pt x="1182077" y="1687927"/>
                  <a:pt x="1181148" y="1689631"/>
                </a:cubicBezTo>
                <a:cubicBezTo>
                  <a:pt x="1179496" y="1687308"/>
                  <a:pt x="1178670" y="1686378"/>
                  <a:pt x="1177844" y="1684675"/>
                </a:cubicBezTo>
                <a:cubicBezTo>
                  <a:pt x="1177018" y="1684830"/>
                  <a:pt x="1176192" y="1684830"/>
                  <a:pt x="1175366" y="1683900"/>
                </a:cubicBezTo>
                <a:lnTo>
                  <a:pt x="1174643" y="1682351"/>
                </a:lnTo>
                <a:lnTo>
                  <a:pt x="1173610" y="1682661"/>
                </a:lnTo>
                <a:cubicBezTo>
                  <a:pt x="1172784" y="1682971"/>
                  <a:pt x="1172062" y="1683280"/>
                  <a:pt x="1171235" y="1683900"/>
                </a:cubicBezTo>
                <a:cubicBezTo>
                  <a:pt x="1170719" y="1681422"/>
                  <a:pt x="1169893" y="1679408"/>
                  <a:pt x="1169170" y="1677704"/>
                </a:cubicBezTo>
                <a:lnTo>
                  <a:pt x="1168757" y="1675071"/>
                </a:lnTo>
                <a:lnTo>
                  <a:pt x="1168448" y="1675071"/>
                </a:lnTo>
                <a:cubicBezTo>
                  <a:pt x="1166692" y="1674761"/>
                  <a:pt x="1165143" y="1673832"/>
                  <a:pt x="1163801" y="1672593"/>
                </a:cubicBezTo>
                <a:lnTo>
                  <a:pt x="1162872" y="1671199"/>
                </a:lnTo>
                <a:cubicBezTo>
                  <a:pt x="1160497" y="1673057"/>
                  <a:pt x="1156057" y="1673057"/>
                  <a:pt x="1152753" y="1669495"/>
                </a:cubicBezTo>
                <a:cubicBezTo>
                  <a:pt x="1152856" y="1665932"/>
                  <a:pt x="1154198" y="1663764"/>
                  <a:pt x="1154921" y="1662060"/>
                </a:cubicBezTo>
                <a:lnTo>
                  <a:pt x="1160910" y="1662215"/>
                </a:lnTo>
                <a:close/>
                <a:moveTo>
                  <a:pt x="5121647" y="1656579"/>
                </a:moveTo>
                <a:lnTo>
                  <a:pt x="5125275" y="1659140"/>
                </a:lnTo>
                <a:lnTo>
                  <a:pt x="5126555" y="1659140"/>
                </a:lnTo>
                <a:cubicBezTo>
                  <a:pt x="5127623" y="1659566"/>
                  <a:pt x="5128477" y="1660420"/>
                  <a:pt x="5129117" y="1661985"/>
                </a:cubicBezTo>
                <a:lnTo>
                  <a:pt x="5129117" y="1663550"/>
                </a:lnTo>
                <a:lnTo>
                  <a:pt x="5131678" y="1667818"/>
                </a:lnTo>
                <a:lnTo>
                  <a:pt x="5129543" y="1667818"/>
                </a:lnTo>
                <a:lnTo>
                  <a:pt x="5127196" y="1671659"/>
                </a:lnTo>
                <a:cubicBezTo>
                  <a:pt x="5127196" y="1674363"/>
                  <a:pt x="5128690" y="1676639"/>
                  <a:pt x="5126769" y="1678061"/>
                </a:cubicBezTo>
                <a:cubicBezTo>
                  <a:pt x="5126129" y="1673794"/>
                  <a:pt x="5125702" y="1672229"/>
                  <a:pt x="5125489" y="1669525"/>
                </a:cubicBezTo>
                <a:lnTo>
                  <a:pt x="5124422" y="1668245"/>
                </a:lnTo>
                <a:lnTo>
                  <a:pt x="5124208" y="1668245"/>
                </a:lnTo>
                <a:lnTo>
                  <a:pt x="5123995" y="1667676"/>
                </a:lnTo>
                <a:lnTo>
                  <a:pt x="5122927" y="1666680"/>
                </a:lnTo>
                <a:lnTo>
                  <a:pt x="5122927" y="1666111"/>
                </a:lnTo>
                <a:lnTo>
                  <a:pt x="5121007" y="1663692"/>
                </a:lnTo>
                <a:cubicBezTo>
                  <a:pt x="5119086" y="1661558"/>
                  <a:pt x="5116952" y="1659424"/>
                  <a:pt x="5116952" y="1659424"/>
                </a:cubicBezTo>
                <a:cubicBezTo>
                  <a:pt x="5117379" y="1656152"/>
                  <a:pt x="5117592" y="1656152"/>
                  <a:pt x="5121647" y="1656579"/>
                </a:cubicBezTo>
                <a:close/>
                <a:moveTo>
                  <a:pt x="4812615" y="1654587"/>
                </a:moveTo>
                <a:cubicBezTo>
                  <a:pt x="4814749" y="1655298"/>
                  <a:pt x="4816884" y="1656579"/>
                  <a:pt x="4819018" y="1658286"/>
                </a:cubicBezTo>
                <a:lnTo>
                  <a:pt x="4823500" y="1663408"/>
                </a:lnTo>
                <a:lnTo>
                  <a:pt x="4825207" y="1658428"/>
                </a:lnTo>
                <a:cubicBezTo>
                  <a:pt x="4825847" y="1655725"/>
                  <a:pt x="4826915" y="1655298"/>
                  <a:pt x="4829903" y="1656579"/>
                </a:cubicBezTo>
                <a:cubicBezTo>
                  <a:pt x="4829689" y="1657859"/>
                  <a:pt x="4828622" y="1659851"/>
                  <a:pt x="4827341" y="1661416"/>
                </a:cubicBezTo>
                <a:lnTo>
                  <a:pt x="4823927" y="1663835"/>
                </a:lnTo>
                <a:lnTo>
                  <a:pt x="4824353" y="1664261"/>
                </a:lnTo>
                <a:cubicBezTo>
                  <a:pt x="4825634" y="1666395"/>
                  <a:pt x="4826488" y="1668814"/>
                  <a:pt x="4826701" y="1671233"/>
                </a:cubicBezTo>
                <a:lnTo>
                  <a:pt x="4825207" y="1674931"/>
                </a:lnTo>
                <a:lnTo>
                  <a:pt x="4827341" y="1675928"/>
                </a:lnTo>
                <a:cubicBezTo>
                  <a:pt x="4829262" y="1678631"/>
                  <a:pt x="4828408" y="1684748"/>
                  <a:pt x="4821152" y="1696414"/>
                </a:cubicBezTo>
                <a:cubicBezTo>
                  <a:pt x="4796822" y="1693284"/>
                  <a:pt x="4809201" y="1678915"/>
                  <a:pt x="4819232" y="1675216"/>
                </a:cubicBezTo>
                <a:lnTo>
                  <a:pt x="4822219" y="1674789"/>
                </a:lnTo>
                <a:lnTo>
                  <a:pt x="4817524" y="1666680"/>
                </a:lnTo>
                <a:cubicBezTo>
                  <a:pt x="4815176" y="1662839"/>
                  <a:pt x="4813469" y="1658855"/>
                  <a:pt x="4812615" y="1654587"/>
                </a:cubicBezTo>
                <a:close/>
                <a:moveTo>
                  <a:pt x="1691453" y="1654179"/>
                </a:moveTo>
                <a:cubicBezTo>
                  <a:pt x="1692705" y="1654857"/>
                  <a:pt x="1693970" y="1655864"/>
                  <a:pt x="1694641" y="1655864"/>
                </a:cubicBezTo>
                <a:lnTo>
                  <a:pt x="1695054" y="1656329"/>
                </a:lnTo>
                <a:lnTo>
                  <a:pt x="1699185" y="1655554"/>
                </a:lnTo>
                <a:cubicBezTo>
                  <a:pt x="1700940" y="1655399"/>
                  <a:pt x="1702282" y="1655399"/>
                  <a:pt x="1702386" y="1655709"/>
                </a:cubicBezTo>
                <a:cubicBezTo>
                  <a:pt x="1703212" y="1655399"/>
                  <a:pt x="1703625" y="1656329"/>
                  <a:pt x="1704451" y="1656019"/>
                </a:cubicBezTo>
                <a:cubicBezTo>
                  <a:pt x="1704451" y="1656019"/>
                  <a:pt x="1705173" y="1655709"/>
                  <a:pt x="1706309" y="1656174"/>
                </a:cubicBezTo>
                <a:cubicBezTo>
                  <a:pt x="1707548" y="1656638"/>
                  <a:pt x="1708787" y="1657103"/>
                  <a:pt x="1708787" y="1658962"/>
                </a:cubicBezTo>
                <a:cubicBezTo>
                  <a:pt x="1704967" y="1658962"/>
                  <a:pt x="1702282" y="1659427"/>
                  <a:pt x="1699804" y="1659581"/>
                </a:cubicBezTo>
                <a:lnTo>
                  <a:pt x="1695880" y="1659736"/>
                </a:lnTo>
                <a:cubicBezTo>
                  <a:pt x="1694641" y="1661131"/>
                  <a:pt x="1694641" y="1662524"/>
                  <a:pt x="1692060" y="1661131"/>
                </a:cubicBezTo>
                <a:cubicBezTo>
                  <a:pt x="1690821" y="1661131"/>
                  <a:pt x="1689582" y="1659736"/>
                  <a:pt x="1688342" y="1659736"/>
                </a:cubicBezTo>
                <a:cubicBezTo>
                  <a:pt x="1688342" y="1659736"/>
                  <a:pt x="1687930" y="1658807"/>
                  <a:pt x="1687827" y="1657567"/>
                </a:cubicBezTo>
                <a:cubicBezTo>
                  <a:pt x="1687620" y="1656483"/>
                  <a:pt x="1687620" y="1655089"/>
                  <a:pt x="1688342" y="1654470"/>
                </a:cubicBezTo>
                <a:cubicBezTo>
                  <a:pt x="1688962" y="1653153"/>
                  <a:pt x="1690201" y="1653502"/>
                  <a:pt x="1691453" y="1654179"/>
                </a:cubicBezTo>
                <a:close/>
                <a:moveTo>
                  <a:pt x="5222381" y="1654161"/>
                </a:moveTo>
                <a:cubicBezTo>
                  <a:pt x="5226863" y="1655725"/>
                  <a:pt x="5230064" y="1656863"/>
                  <a:pt x="5231985" y="1658428"/>
                </a:cubicBezTo>
                <a:cubicBezTo>
                  <a:pt x="5230064" y="1667107"/>
                  <a:pt x="5215338" y="1662697"/>
                  <a:pt x="5222381" y="1654161"/>
                </a:cubicBezTo>
                <a:close/>
                <a:moveTo>
                  <a:pt x="1863981" y="1653850"/>
                </a:moveTo>
                <a:cubicBezTo>
                  <a:pt x="1867182" y="1655399"/>
                  <a:pt x="1869351" y="1656329"/>
                  <a:pt x="1870590" y="1657723"/>
                </a:cubicBezTo>
                <a:cubicBezTo>
                  <a:pt x="1869041" y="1662060"/>
                  <a:pt x="1862742" y="1660821"/>
                  <a:pt x="1862226" y="1657567"/>
                </a:cubicBezTo>
                <a:cubicBezTo>
                  <a:pt x="1862020" y="1656483"/>
                  <a:pt x="1862536" y="1655244"/>
                  <a:pt x="1863981" y="1653850"/>
                </a:cubicBezTo>
                <a:close/>
                <a:moveTo>
                  <a:pt x="1120537" y="1653850"/>
                </a:moveTo>
                <a:cubicBezTo>
                  <a:pt x="1123015" y="1656174"/>
                  <a:pt x="1121982" y="1658807"/>
                  <a:pt x="1121053" y="1661285"/>
                </a:cubicBezTo>
                <a:cubicBezTo>
                  <a:pt x="1120124" y="1662989"/>
                  <a:pt x="1120021" y="1663919"/>
                  <a:pt x="1120846" y="1665467"/>
                </a:cubicBezTo>
                <a:cubicBezTo>
                  <a:pt x="1120846" y="1665467"/>
                  <a:pt x="1120846" y="1665467"/>
                  <a:pt x="1118988" y="1667326"/>
                </a:cubicBezTo>
                <a:lnTo>
                  <a:pt x="1118162" y="1667326"/>
                </a:lnTo>
                <a:cubicBezTo>
                  <a:pt x="1117749" y="1667171"/>
                  <a:pt x="1117542" y="1666397"/>
                  <a:pt x="1117542" y="1665467"/>
                </a:cubicBezTo>
                <a:cubicBezTo>
                  <a:pt x="1117439" y="1662834"/>
                  <a:pt x="1118575" y="1657877"/>
                  <a:pt x="1118678" y="1657258"/>
                </a:cubicBezTo>
                <a:cubicBezTo>
                  <a:pt x="1118678" y="1657258"/>
                  <a:pt x="1118678" y="1656483"/>
                  <a:pt x="1118678" y="1655554"/>
                </a:cubicBezTo>
                <a:cubicBezTo>
                  <a:pt x="1119607" y="1654780"/>
                  <a:pt x="1120434" y="1654625"/>
                  <a:pt x="1120537" y="1653850"/>
                </a:cubicBezTo>
                <a:close/>
                <a:moveTo>
                  <a:pt x="4984205" y="1653734"/>
                </a:moveTo>
                <a:cubicBezTo>
                  <a:pt x="4986766" y="1653876"/>
                  <a:pt x="4989540" y="1655725"/>
                  <a:pt x="4989754" y="1657290"/>
                </a:cubicBezTo>
                <a:cubicBezTo>
                  <a:pt x="4989967" y="1658998"/>
                  <a:pt x="4989327" y="1659993"/>
                  <a:pt x="4989327" y="1659993"/>
                </a:cubicBezTo>
                <a:cubicBezTo>
                  <a:pt x="4985485" y="1661843"/>
                  <a:pt x="4981430" y="1662127"/>
                  <a:pt x="4980577" y="1657290"/>
                </a:cubicBezTo>
                <a:cubicBezTo>
                  <a:pt x="4980363" y="1655725"/>
                  <a:pt x="4980150" y="1654018"/>
                  <a:pt x="4981004" y="1654587"/>
                </a:cubicBezTo>
                <a:cubicBezTo>
                  <a:pt x="4981644" y="1653591"/>
                  <a:pt x="4982711" y="1654161"/>
                  <a:pt x="4984205" y="1653734"/>
                </a:cubicBezTo>
                <a:close/>
                <a:moveTo>
                  <a:pt x="4836945" y="1653734"/>
                </a:moveTo>
                <a:cubicBezTo>
                  <a:pt x="4840360" y="1654018"/>
                  <a:pt x="4842067" y="1656010"/>
                  <a:pt x="4842067" y="1658428"/>
                </a:cubicBezTo>
                <a:cubicBezTo>
                  <a:pt x="4842281" y="1660705"/>
                  <a:pt x="4840573" y="1663550"/>
                  <a:pt x="4837372" y="1665684"/>
                </a:cubicBezTo>
                <a:cubicBezTo>
                  <a:pt x="4835238" y="1663692"/>
                  <a:pt x="4834384" y="1661558"/>
                  <a:pt x="4834598" y="1659566"/>
                </a:cubicBezTo>
                <a:lnTo>
                  <a:pt x="4835238" y="1658002"/>
                </a:lnTo>
                <a:lnTo>
                  <a:pt x="4835664" y="1656721"/>
                </a:lnTo>
                <a:close/>
                <a:moveTo>
                  <a:pt x="1107010" y="1653386"/>
                </a:moveTo>
                <a:cubicBezTo>
                  <a:pt x="1110005" y="1655399"/>
                  <a:pt x="1109695" y="1661131"/>
                  <a:pt x="1110108" y="1666552"/>
                </a:cubicBezTo>
                <a:cubicBezTo>
                  <a:pt x="1107630" y="1666242"/>
                  <a:pt x="1106391" y="1666087"/>
                  <a:pt x="1104532" y="1666552"/>
                </a:cubicBezTo>
                <a:cubicBezTo>
                  <a:pt x="1104738" y="1662989"/>
                  <a:pt x="1103912" y="1660356"/>
                  <a:pt x="1103809" y="1658187"/>
                </a:cubicBezTo>
                <a:cubicBezTo>
                  <a:pt x="1103706" y="1656019"/>
                  <a:pt x="1104222" y="1654470"/>
                  <a:pt x="1107010" y="1653386"/>
                </a:cubicBezTo>
                <a:close/>
                <a:moveTo>
                  <a:pt x="4102995" y="1653307"/>
                </a:moveTo>
                <a:cubicBezTo>
                  <a:pt x="4109610" y="1655156"/>
                  <a:pt x="4106196" y="1663408"/>
                  <a:pt x="4102995" y="1664261"/>
                </a:cubicBezTo>
                <a:cubicBezTo>
                  <a:pt x="4095311" y="1662697"/>
                  <a:pt x="4099793" y="1654161"/>
                  <a:pt x="4102995" y="1653307"/>
                </a:cubicBezTo>
                <a:close/>
                <a:moveTo>
                  <a:pt x="1193023" y="1652146"/>
                </a:moveTo>
                <a:lnTo>
                  <a:pt x="1197360" y="1652921"/>
                </a:lnTo>
                <a:lnTo>
                  <a:pt x="1206239" y="1652611"/>
                </a:lnTo>
                <a:cubicBezTo>
                  <a:pt x="1209647" y="1653541"/>
                  <a:pt x="1213158" y="1655864"/>
                  <a:pt x="1216359" y="1659581"/>
                </a:cubicBezTo>
                <a:cubicBezTo>
                  <a:pt x="1213570" y="1670889"/>
                  <a:pt x="1203452" y="1678479"/>
                  <a:pt x="1194055" y="1674761"/>
                </a:cubicBezTo>
                <a:cubicBezTo>
                  <a:pt x="1189822" y="1672438"/>
                  <a:pt x="1187860" y="1669340"/>
                  <a:pt x="1187550" y="1666087"/>
                </a:cubicBezTo>
                <a:cubicBezTo>
                  <a:pt x="1187447" y="1665002"/>
                  <a:pt x="1187550" y="1663919"/>
                  <a:pt x="1187757" y="1662834"/>
                </a:cubicBezTo>
                <a:lnTo>
                  <a:pt x="1189615" y="1659427"/>
                </a:lnTo>
                <a:lnTo>
                  <a:pt x="1189512" y="1659117"/>
                </a:lnTo>
                <a:cubicBezTo>
                  <a:pt x="1188996" y="1656174"/>
                  <a:pt x="1190235" y="1653076"/>
                  <a:pt x="1193023" y="1652146"/>
                </a:cubicBezTo>
                <a:close/>
                <a:moveTo>
                  <a:pt x="5013870" y="1651742"/>
                </a:moveTo>
                <a:cubicBezTo>
                  <a:pt x="5014083" y="1651742"/>
                  <a:pt x="5014297" y="1652169"/>
                  <a:pt x="5014937" y="1652880"/>
                </a:cubicBezTo>
                <a:cubicBezTo>
                  <a:pt x="5013870" y="1654161"/>
                  <a:pt x="5013870" y="1652880"/>
                  <a:pt x="5012803" y="1652738"/>
                </a:cubicBezTo>
                <a:cubicBezTo>
                  <a:pt x="5013443" y="1652169"/>
                  <a:pt x="5013657" y="1651742"/>
                  <a:pt x="5013870" y="1651742"/>
                </a:cubicBezTo>
                <a:close/>
                <a:moveTo>
                  <a:pt x="1079647" y="1651372"/>
                </a:moveTo>
                <a:cubicBezTo>
                  <a:pt x="1079854" y="1654315"/>
                  <a:pt x="1082125" y="1655709"/>
                  <a:pt x="1081402" y="1660356"/>
                </a:cubicBezTo>
                <a:cubicBezTo>
                  <a:pt x="1065604" y="1663454"/>
                  <a:pt x="1051768" y="1670269"/>
                  <a:pt x="1038655" y="1672438"/>
                </a:cubicBezTo>
                <a:cubicBezTo>
                  <a:pt x="1046708" y="1659891"/>
                  <a:pt x="1064778" y="1656948"/>
                  <a:pt x="1079647" y="1651372"/>
                </a:cubicBezTo>
                <a:close/>
                <a:moveTo>
                  <a:pt x="703485" y="1651372"/>
                </a:moveTo>
                <a:cubicBezTo>
                  <a:pt x="709784" y="1649823"/>
                  <a:pt x="710816" y="1657103"/>
                  <a:pt x="708338" y="1659117"/>
                </a:cubicBezTo>
                <a:cubicBezTo>
                  <a:pt x="705033" y="1659117"/>
                  <a:pt x="702865" y="1656329"/>
                  <a:pt x="702865" y="1653695"/>
                </a:cubicBezTo>
                <a:cubicBezTo>
                  <a:pt x="702762" y="1652921"/>
                  <a:pt x="703072" y="1651991"/>
                  <a:pt x="703485" y="1651372"/>
                </a:cubicBezTo>
                <a:close/>
                <a:moveTo>
                  <a:pt x="3916252" y="1651315"/>
                </a:moveTo>
                <a:cubicBezTo>
                  <a:pt x="3922655" y="1651172"/>
                  <a:pt x="3929271" y="1653164"/>
                  <a:pt x="3933539" y="1655156"/>
                </a:cubicBezTo>
                <a:cubicBezTo>
                  <a:pt x="3928631" y="1657006"/>
                  <a:pt x="3923936" y="1659140"/>
                  <a:pt x="3918813" y="1660420"/>
                </a:cubicBezTo>
                <a:cubicBezTo>
                  <a:pt x="3913691" y="1661700"/>
                  <a:pt x="3908142" y="1661985"/>
                  <a:pt x="3901526" y="1659993"/>
                </a:cubicBezTo>
                <a:cubicBezTo>
                  <a:pt x="3904087" y="1653591"/>
                  <a:pt x="3910063" y="1651457"/>
                  <a:pt x="3916252" y="1651315"/>
                </a:cubicBezTo>
                <a:close/>
                <a:moveTo>
                  <a:pt x="4068421" y="1650888"/>
                </a:moveTo>
                <a:cubicBezTo>
                  <a:pt x="4069701" y="1655868"/>
                  <a:pt x="4071195" y="1660705"/>
                  <a:pt x="4069488" y="1663692"/>
                </a:cubicBezTo>
                <a:lnTo>
                  <a:pt x="4066713" y="1663408"/>
                </a:lnTo>
                <a:lnTo>
                  <a:pt x="4067140" y="1664261"/>
                </a:lnTo>
                <a:cubicBezTo>
                  <a:pt x="4067780" y="1666253"/>
                  <a:pt x="4067780" y="1668387"/>
                  <a:pt x="4066286" y="1670094"/>
                </a:cubicBezTo>
                <a:cubicBezTo>
                  <a:pt x="4065859" y="1668814"/>
                  <a:pt x="4065219" y="1667107"/>
                  <a:pt x="4064579" y="1665257"/>
                </a:cubicBezTo>
                <a:lnTo>
                  <a:pt x="4064152" y="1663123"/>
                </a:lnTo>
                <a:lnTo>
                  <a:pt x="4060951" y="1662697"/>
                </a:lnTo>
                <a:cubicBezTo>
                  <a:pt x="4058390" y="1661416"/>
                  <a:pt x="4056255" y="1658998"/>
                  <a:pt x="4054762" y="1655441"/>
                </a:cubicBezTo>
                <a:cubicBezTo>
                  <a:pt x="4056469" y="1649892"/>
                  <a:pt x="4064152" y="1650888"/>
                  <a:pt x="4068421" y="1650888"/>
                </a:cubicBezTo>
                <a:close/>
                <a:moveTo>
                  <a:pt x="1560821" y="1650752"/>
                </a:moveTo>
                <a:cubicBezTo>
                  <a:pt x="1574244" y="1657567"/>
                  <a:pt x="1588804" y="1660356"/>
                  <a:pt x="1599645" y="1666552"/>
                </a:cubicBezTo>
                <a:lnTo>
                  <a:pt x="1592728" y="1667636"/>
                </a:lnTo>
                <a:lnTo>
                  <a:pt x="1593037" y="1668410"/>
                </a:lnTo>
                <a:cubicBezTo>
                  <a:pt x="1595619" y="1670424"/>
                  <a:pt x="1600369" y="1667946"/>
                  <a:pt x="1600885" y="1672748"/>
                </a:cubicBezTo>
                <a:cubicBezTo>
                  <a:pt x="1599955" y="1675226"/>
                  <a:pt x="1599852" y="1678169"/>
                  <a:pt x="1597994" y="1680492"/>
                </a:cubicBezTo>
                <a:cubicBezTo>
                  <a:pt x="1597374" y="1681267"/>
                  <a:pt x="1596444" y="1682042"/>
                  <a:pt x="1595309" y="1682661"/>
                </a:cubicBezTo>
                <a:cubicBezTo>
                  <a:pt x="1592728" y="1676155"/>
                  <a:pt x="1588907" y="1673057"/>
                  <a:pt x="1585293" y="1668100"/>
                </a:cubicBezTo>
                <a:lnTo>
                  <a:pt x="1585603" y="1667791"/>
                </a:lnTo>
                <a:lnTo>
                  <a:pt x="1578065" y="1666552"/>
                </a:lnTo>
                <a:lnTo>
                  <a:pt x="1569082" y="1663609"/>
                </a:lnTo>
                <a:lnTo>
                  <a:pt x="1568978" y="1665158"/>
                </a:lnTo>
                <a:cubicBezTo>
                  <a:pt x="1568669" y="1666087"/>
                  <a:pt x="1568152" y="1667016"/>
                  <a:pt x="1567223" y="1668100"/>
                </a:cubicBezTo>
                <a:cubicBezTo>
                  <a:pt x="1563093" y="1669340"/>
                  <a:pt x="1561131" y="1665777"/>
                  <a:pt x="1558240" y="1665002"/>
                </a:cubicBezTo>
                <a:cubicBezTo>
                  <a:pt x="1558756" y="1663144"/>
                  <a:pt x="1559582" y="1661905"/>
                  <a:pt x="1560718" y="1660976"/>
                </a:cubicBezTo>
                <a:lnTo>
                  <a:pt x="1560925" y="1660821"/>
                </a:lnTo>
                <a:lnTo>
                  <a:pt x="1556175" y="1659272"/>
                </a:lnTo>
                <a:cubicBezTo>
                  <a:pt x="1558034" y="1656638"/>
                  <a:pt x="1557310" y="1654160"/>
                  <a:pt x="1560821" y="1650752"/>
                </a:cubicBezTo>
                <a:close/>
                <a:moveTo>
                  <a:pt x="4971186" y="1650604"/>
                </a:moveTo>
                <a:cubicBezTo>
                  <a:pt x="4973321" y="1650746"/>
                  <a:pt x="4974387" y="1651457"/>
                  <a:pt x="4974814" y="1652738"/>
                </a:cubicBezTo>
                <a:cubicBezTo>
                  <a:pt x="4975454" y="1653876"/>
                  <a:pt x="4975241" y="1655725"/>
                  <a:pt x="4975028" y="1658002"/>
                </a:cubicBezTo>
                <a:cubicBezTo>
                  <a:pt x="4974814" y="1660136"/>
                  <a:pt x="4973747" y="1661416"/>
                  <a:pt x="4972680" y="1662697"/>
                </a:cubicBezTo>
                <a:lnTo>
                  <a:pt x="4972253" y="1663123"/>
                </a:lnTo>
                <a:lnTo>
                  <a:pt x="4976522" y="1664973"/>
                </a:lnTo>
                <a:lnTo>
                  <a:pt x="4982497" y="1669810"/>
                </a:lnTo>
                <a:lnTo>
                  <a:pt x="4982284" y="1669525"/>
                </a:lnTo>
                <a:cubicBezTo>
                  <a:pt x="4981644" y="1667107"/>
                  <a:pt x="4982924" y="1663123"/>
                  <a:pt x="4985485" y="1663835"/>
                </a:cubicBezTo>
                <a:cubicBezTo>
                  <a:pt x="4986552" y="1664119"/>
                  <a:pt x="4988046" y="1665257"/>
                  <a:pt x="4989754" y="1667818"/>
                </a:cubicBezTo>
                <a:cubicBezTo>
                  <a:pt x="4988260" y="1669525"/>
                  <a:pt x="4987193" y="1670521"/>
                  <a:pt x="4986125" y="1670948"/>
                </a:cubicBezTo>
                <a:lnTo>
                  <a:pt x="4984205" y="1671233"/>
                </a:lnTo>
                <a:lnTo>
                  <a:pt x="4988900" y="1678061"/>
                </a:lnTo>
                <a:cubicBezTo>
                  <a:pt x="4989967" y="1680622"/>
                  <a:pt x="4990180" y="1683041"/>
                  <a:pt x="4989327" y="1685317"/>
                </a:cubicBezTo>
                <a:lnTo>
                  <a:pt x="4986125" y="1682756"/>
                </a:lnTo>
                <a:lnTo>
                  <a:pt x="4981430" y="1687024"/>
                </a:lnTo>
                <a:cubicBezTo>
                  <a:pt x="4979723" y="1687451"/>
                  <a:pt x="4975668" y="1687736"/>
                  <a:pt x="4976308" y="1686740"/>
                </a:cubicBezTo>
                <a:cubicBezTo>
                  <a:pt x="4976095" y="1685032"/>
                  <a:pt x="4975454" y="1686171"/>
                  <a:pt x="4974387" y="1685602"/>
                </a:cubicBezTo>
                <a:cubicBezTo>
                  <a:pt x="4973961" y="1683183"/>
                  <a:pt x="4973961" y="1680907"/>
                  <a:pt x="4974601" y="1679200"/>
                </a:cubicBezTo>
                <a:lnTo>
                  <a:pt x="4976949" y="1676639"/>
                </a:lnTo>
                <a:lnTo>
                  <a:pt x="4973747" y="1674647"/>
                </a:lnTo>
                <a:cubicBezTo>
                  <a:pt x="4968625" y="1671517"/>
                  <a:pt x="4963503" y="1667818"/>
                  <a:pt x="4958595" y="1661274"/>
                </a:cubicBezTo>
                <a:lnTo>
                  <a:pt x="4965851" y="1661274"/>
                </a:lnTo>
                <a:lnTo>
                  <a:pt x="4965210" y="1657290"/>
                </a:lnTo>
                <a:cubicBezTo>
                  <a:pt x="4965637" y="1655583"/>
                  <a:pt x="4965637" y="1655583"/>
                  <a:pt x="4966704" y="1654871"/>
                </a:cubicBezTo>
                <a:cubicBezTo>
                  <a:pt x="4968198" y="1652596"/>
                  <a:pt x="4968625" y="1650888"/>
                  <a:pt x="4971186" y="1650604"/>
                </a:cubicBezTo>
                <a:close/>
                <a:moveTo>
                  <a:pt x="1595205" y="1650287"/>
                </a:moveTo>
                <a:cubicBezTo>
                  <a:pt x="1597787" y="1649513"/>
                  <a:pt x="1602846" y="1651217"/>
                  <a:pt x="1603466" y="1653541"/>
                </a:cubicBezTo>
                <a:cubicBezTo>
                  <a:pt x="1602846" y="1654625"/>
                  <a:pt x="1602227" y="1655554"/>
                  <a:pt x="1601607" y="1656638"/>
                </a:cubicBezTo>
                <a:cubicBezTo>
                  <a:pt x="1598303" y="1657103"/>
                  <a:pt x="1595102" y="1656174"/>
                  <a:pt x="1594689" y="1653541"/>
                </a:cubicBezTo>
                <a:cubicBezTo>
                  <a:pt x="1594586" y="1652611"/>
                  <a:pt x="1594689" y="1651527"/>
                  <a:pt x="1595205" y="1650287"/>
                </a:cubicBezTo>
                <a:close/>
                <a:moveTo>
                  <a:pt x="1335206" y="1649978"/>
                </a:moveTo>
                <a:cubicBezTo>
                  <a:pt x="1334380" y="1659581"/>
                  <a:pt x="1338614" y="1666242"/>
                  <a:pt x="1335413" y="1676775"/>
                </a:cubicBezTo>
                <a:lnTo>
                  <a:pt x="1332522" y="1673057"/>
                </a:lnTo>
                <a:lnTo>
                  <a:pt x="1330663" y="1673677"/>
                </a:lnTo>
                <a:lnTo>
                  <a:pt x="1325707" y="1672283"/>
                </a:lnTo>
                <a:lnTo>
                  <a:pt x="1327669" y="1678943"/>
                </a:lnTo>
                <a:cubicBezTo>
                  <a:pt x="1327772" y="1681887"/>
                  <a:pt x="1327359" y="1684675"/>
                  <a:pt x="1326326" y="1687153"/>
                </a:cubicBezTo>
                <a:cubicBezTo>
                  <a:pt x="1322919" y="1695363"/>
                  <a:pt x="1313626" y="1700939"/>
                  <a:pt x="1302991" y="1700009"/>
                </a:cubicBezTo>
                <a:cubicBezTo>
                  <a:pt x="1302577" y="1698770"/>
                  <a:pt x="1302164" y="1697686"/>
                  <a:pt x="1301029" y="1697996"/>
                </a:cubicBezTo>
                <a:cubicBezTo>
                  <a:pt x="1299790" y="1695363"/>
                  <a:pt x="1299273" y="1692420"/>
                  <a:pt x="1299480" y="1689631"/>
                </a:cubicBezTo>
                <a:lnTo>
                  <a:pt x="1300512" y="1684520"/>
                </a:lnTo>
                <a:lnTo>
                  <a:pt x="1297828" y="1686068"/>
                </a:lnTo>
                <a:lnTo>
                  <a:pt x="1296692" y="1684984"/>
                </a:lnTo>
                <a:lnTo>
                  <a:pt x="1296485" y="1685759"/>
                </a:lnTo>
                <a:cubicBezTo>
                  <a:pt x="1296279" y="1686998"/>
                  <a:pt x="1295866" y="1688082"/>
                  <a:pt x="1296692" y="1687618"/>
                </a:cubicBezTo>
                <a:cubicBezTo>
                  <a:pt x="1295763" y="1691180"/>
                  <a:pt x="1296176" y="1691800"/>
                  <a:pt x="1293491" y="1692729"/>
                </a:cubicBezTo>
                <a:cubicBezTo>
                  <a:pt x="1290600" y="1686688"/>
                  <a:pt x="1289567" y="1678633"/>
                  <a:pt x="1289464" y="1676775"/>
                </a:cubicBezTo>
                <a:cubicBezTo>
                  <a:pt x="1289361" y="1675845"/>
                  <a:pt x="1289567" y="1675226"/>
                  <a:pt x="1289980" y="1674761"/>
                </a:cubicBezTo>
                <a:cubicBezTo>
                  <a:pt x="1290393" y="1674452"/>
                  <a:pt x="1291013" y="1674297"/>
                  <a:pt x="1292045" y="1674142"/>
                </a:cubicBezTo>
                <a:lnTo>
                  <a:pt x="1294420" y="1676620"/>
                </a:lnTo>
                <a:lnTo>
                  <a:pt x="1295246" y="1674606"/>
                </a:lnTo>
                <a:lnTo>
                  <a:pt x="1297621" y="1672593"/>
                </a:lnTo>
                <a:lnTo>
                  <a:pt x="1295143" y="1672438"/>
                </a:lnTo>
                <a:cubicBezTo>
                  <a:pt x="1299170" y="1668100"/>
                  <a:pt x="1303507" y="1664693"/>
                  <a:pt x="1306501" y="1657103"/>
                </a:cubicBezTo>
                <a:cubicBezTo>
                  <a:pt x="1308669" y="1658342"/>
                  <a:pt x="1309599" y="1655554"/>
                  <a:pt x="1311974" y="1657723"/>
                </a:cubicBezTo>
                <a:cubicBezTo>
                  <a:pt x="1313523" y="1662679"/>
                  <a:pt x="1307947" y="1671044"/>
                  <a:pt x="1301545" y="1672902"/>
                </a:cubicBezTo>
                <a:lnTo>
                  <a:pt x="1298964" y="1672748"/>
                </a:lnTo>
                <a:lnTo>
                  <a:pt x="1302681" y="1677395"/>
                </a:lnTo>
                <a:lnTo>
                  <a:pt x="1301958" y="1681267"/>
                </a:lnTo>
                <a:lnTo>
                  <a:pt x="1303817" y="1677859"/>
                </a:lnTo>
                <a:cubicBezTo>
                  <a:pt x="1306398" y="1674452"/>
                  <a:pt x="1309908" y="1671818"/>
                  <a:pt x="1313832" y="1670424"/>
                </a:cubicBezTo>
                <a:cubicBezTo>
                  <a:pt x="1315588" y="1669805"/>
                  <a:pt x="1317446" y="1669340"/>
                  <a:pt x="1319305" y="1669185"/>
                </a:cubicBezTo>
                <a:lnTo>
                  <a:pt x="1324674" y="1669959"/>
                </a:lnTo>
                <a:lnTo>
                  <a:pt x="1324777" y="1668720"/>
                </a:lnTo>
                <a:cubicBezTo>
                  <a:pt x="1325294" y="1667326"/>
                  <a:pt x="1326120" y="1666552"/>
                  <a:pt x="1327462" y="1666242"/>
                </a:cubicBezTo>
                <a:lnTo>
                  <a:pt x="1329734" y="1666397"/>
                </a:lnTo>
                <a:lnTo>
                  <a:pt x="1328908" y="1662369"/>
                </a:lnTo>
                <a:cubicBezTo>
                  <a:pt x="1328701" y="1656483"/>
                  <a:pt x="1330457" y="1650907"/>
                  <a:pt x="1335206" y="1649978"/>
                </a:cubicBezTo>
                <a:close/>
                <a:moveTo>
                  <a:pt x="4655752" y="1649607"/>
                </a:moveTo>
                <a:cubicBezTo>
                  <a:pt x="4657032" y="1650746"/>
                  <a:pt x="4657245" y="1651884"/>
                  <a:pt x="4657459" y="1653164"/>
                </a:cubicBezTo>
                <a:cubicBezTo>
                  <a:pt x="4656392" y="1654444"/>
                  <a:pt x="4655112" y="1654444"/>
                  <a:pt x="4654258" y="1655725"/>
                </a:cubicBezTo>
                <a:cubicBezTo>
                  <a:pt x="4654471" y="1656863"/>
                  <a:pt x="4654685" y="1659282"/>
                  <a:pt x="4653831" y="1660563"/>
                </a:cubicBezTo>
                <a:cubicBezTo>
                  <a:pt x="4652764" y="1661700"/>
                  <a:pt x="4650629" y="1663123"/>
                  <a:pt x="4650629" y="1663123"/>
                </a:cubicBezTo>
                <a:cubicBezTo>
                  <a:pt x="4649349" y="1661985"/>
                  <a:pt x="4649349" y="1661985"/>
                  <a:pt x="4650416" y="1661985"/>
                </a:cubicBezTo>
                <a:cubicBezTo>
                  <a:pt x="4651270" y="1659424"/>
                  <a:pt x="4651483" y="1660563"/>
                  <a:pt x="4652550" y="1659424"/>
                </a:cubicBezTo>
                <a:cubicBezTo>
                  <a:pt x="4653404" y="1658144"/>
                  <a:pt x="4654898" y="1652169"/>
                  <a:pt x="4653617" y="1651030"/>
                </a:cubicBezTo>
                <a:cubicBezTo>
                  <a:pt x="4654685" y="1650888"/>
                  <a:pt x="4655752" y="1649607"/>
                  <a:pt x="4655752" y="1649607"/>
                </a:cubicBezTo>
                <a:close/>
                <a:moveTo>
                  <a:pt x="1403356" y="1649513"/>
                </a:moveTo>
                <a:cubicBezTo>
                  <a:pt x="1405730" y="1648584"/>
                  <a:pt x="1409035" y="1651217"/>
                  <a:pt x="1410170" y="1652611"/>
                </a:cubicBezTo>
                <a:cubicBezTo>
                  <a:pt x="1410790" y="1654780"/>
                  <a:pt x="1408725" y="1656638"/>
                  <a:pt x="1406453" y="1657567"/>
                </a:cubicBezTo>
                <a:cubicBezTo>
                  <a:pt x="1405627" y="1658032"/>
                  <a:pt x="1404698" y="1658187"/>
                  <a:pt x="1403768" y="1657877"/>
                </a:cubicBezTo>
                <a:cubicBezTo>
                  <a:pt x="1402839" y="1657567"/>
                  <a:pt x="1402013" y="1656948"/>
                  <a:pt x="1401394" y="1656174"/>
                </a:cubicBezTo>
                <a:cubicBezTo>
                  <a:pt x="1401084" y="1655089"/>
                  <a:pt x="1401084" y="1655089"/>
                  <a:pt x="1400774" y="1654005"/>
                </a:cubicBezTo>
                <a:cubicBezTo>
                  <a:pt x="1401600" y="1652456"/>
                  <a:pt x="1401806" y="1650598"/>
                  <a:pt x="1403356" y="1649513"/>
                </a:cubicBezTo>
                <a:close/>
                <a:moveTo>
                  <a:pt x="871173" y="1649513"/>
                </a:moveTo>
                <a:cubicBezTo>
                  <a:pt x="872722" y="1654470"/>
                  <a:pt x="875406" y="1659891"/>
                  <a:pt x="869830" y="1662060"/>
                </a:cubicBezTo>
                <a:cubicBezTo>
                  <a:pt x="865907" y="1661131"/>
                  <a:pt x="864048" y="1658807"/>
                  <a:pt x="863635" y="1656483"/>
                </a:cubicBezTo>
                <a:cubicBezTo>
                  <a:pt x="863222" y="1654005"/>
                  <a:pt x="864255" y="1651372"/>
                  <a:pt x="866217" y="1650133"/>
                </a:cubicBezTo>
                <a:cubicBezTo>
                  <a:pt x="867456" y="1649203"/>
                  <a:pt x="869211" y="1648894"/>
                  <a:pt x="871173" y="1649513"/>
                </a:cubicBezTo>
                <a:close/>
                <a:moveTo>
                  <a:pt x="1664284" y="1648584"/>
                </a:moveTo>
                <a:cubicBezTo>
                  <a:pt x="1665936" y="1649358"/>
                  <a:pt x="1666762" y="1649358"/>
                  <a:pt x="1667588" y="1650287"/>
                </a:cubicBezTo>
                <a:cubicBezTo>
                  <a:pt x="1668001" y="1650752"/>
                  <a:pt x="1668311" y="1651372"/>
                  <a:pt x="1668517" y="1651991"/>
                </a:cubicBezTo>
                <a:lnTo>
                  <a:pt x="1668311" y="1652456"/>
                </a:lnTo>
                <a:lnTo>
                  <a:pt x="1668517" y="1652611"/>
                </a:lnTo>
                <a:cubicBezTo>
                  <a:pt x="1668931" y="1653386"/>
                  <a:pt x="1669240" y="1654160"/>
                  <a:pt x="1668931" y="1654625"/>
                </a:cubicBezTo>
                <a:cubicBezTo>
                  <a:pt x="1668724" y="1656483"/>
                  <a:pt x="1665420" y="1654780"/>
                  <a:pt x="1664594" y="1654934"/>
                </a:cubicBezTo>
                <a:lnTo>
                  <a:pt x="1663664" y="1654315"/>
                </a:lnTo>
                <a:lnTo>
                  <a:pt x="1662735" y="1654315"/>
                </a:lnTo>
                <a:cubicBezTo>
                  <a:pt x="1661909" y="1654315"/>
                  <a:pt x="1662012" y="1653541"/>
                  <a:pt x="1661186" y="1652611"/>
                </a:cubicBezTo>
                <a:cubicBezTo>
                  <a:pt x="1661290" y="1651837"/>
                  <a:pt x="1662322" y="1651062"/>
                  <a:pt x="1662322" y="1651062"/>
                </a:cubicBezTo>
                <a:cubicBezTo>
                  <a:pt x="1663251" y="1650133"/>
                  <a:pt x="1663251" y="1650133"/>
                  <a:pt x="1662529" y="1649358"/>
                </a:cubicBezTo>
                <a:cubicBezTo>
                  <a:pt x="1662529" y="1649358"/>
                  <a:pt x="1663355" y="1649358"/>
                  <a:pt x="1663355" y="1649358"/>
                </a:cubicBezTo>
                <a:cubicBezTo>
                  <a:pt x="1663251" y="1650133"/>
                  <a:pt x="1663355" y="1649358"/>
                  <a:pt x="1664284" y="1648584"/>
                </a:cubicBezTo>
                <a:close/>
                <a:moveTo>
                  <a:pt x="4638038" y="1647616"/>
                </a:moveTo>
                <a:cubicBezTo>
                  <a:pt x="4637825" y="1650034"/>
                  <a:pt x="4635263" y="1663123"/>
                  <a:pt x="4632702" y="1666680"/>
                </a:cubicBezTo>
                <a:cubicBezTo>
                  <a:pt x="4634410" y="1660705"/>
                  <a:pt x="4634196" y="1652311"/>
                  <a:pt x="4638038" y="1647616"/>
                </a:cubicBezTo>
                <a:close/>
                <a:moveTo>
                  <a:pt x="4009517" y="1647616"/>
                </a:moveTo>
                <a:lnTo>
                  <a:pt x="4015279" y="1648043"/>
                </a:lnTo>
                <a:lnTo>
                  <a:pt x="4015492" y="1648185"/>
                </a:lnTo>
                <a:lnTo>
                  <a:pt x="4021255" y="1648470"/>
                </a:lnTo>
                <a:lnTo>
                  <a:pt x="4014212" y="1655868"/>
                </a:lnTo>
                <a:lnTo>
                  <a:pt x="4013999" y="1658713"/>
                </a:lnTo>
                <a:cubicBezTo>
                  <a:pt x="4014426" y="1661274"/>
                  <a:pt x="4013572" y="1661985"/>
                  <a:pt x="4010371" y="1661274"/>
                </a:cubicBezTo>
                <a:lnTo>
                  <a:pt x="4010797" y="1658144"/>
                </a:lnTo>
                <a:lnTo>
                  <a:pt x="3999272" y="1662981"/>
                </a:lnTo>
                <a:cubicBezTo>
                  <a:pt x="3989669" y="1665400"/>
                  <a:pt x="3979851" y="1664404"/>
                  <a:pt x="3977290" y="1656721"/>
                </a:cubicBezTo>
                <a:lnTo>
                  <a:pt x="3984120" y="1656010"/>
                </a:lnTo>
                <a:lnTo>
                  <a:pt x="3987321" y="1653307"/>
                </a:lnTo>
                <a:cubicBezTo>
                  <a:pt x="3990522" y="1651315"/>
                  <a:pt x="3994364" y="1650177"/>
                  <a:pt x="3997352" y="1649607"/>
                </a:cubicBezTo>
                <a:lnTo>
                  <a:pt x="3999272" y="1651172"/>
                </a:lnTo>
                <a:close/>
                <a:moveTo>
                  <a:pt x="1174746" y="1647344"/>
                </a:moveTo>
                <a:cubicBezTo>
                  <a:pt x="1176811" y="1646880"/>
                  <a:pt x="1179599" y="1647034"/>
                  <a:pt x="1182903" y="1648429"/>
                </a:cubicBezTo>
                <a:cubicBezTo>
                  <a:pt x="1185588" y="1651991"/>
                  <a:pt x="1183626" y="1659272"/>
                  <a:pt x="1180116" y="1659736"/>
                </a:cubicBezTo>
                <a:cubicBezTo>
                  <a:pt x="1174230" y="1658497"/>
                  <a:pt x="1171339" y="1655864"/>
                  <a:pt x="1170616" y="1653231"/>
                </a:cubicBezTo>
                <a:cubicBezTo>
                  <a:pt x="1169996" y="1650598"/>
                  <a:pt x="1171545" y="1648119"/>
                  <a:pt x="1174746" y="1647344"/>
                </a:cubicBezTo>
                <a:close/>
                <a:moveTo>
                  <a:pt x="5067865" y="1646905"/>
                </a:moveTo>
                <a:cubicBezTo>
                  <a:pt x="5070426" y="1647047"/>
                  <a:pt x="5071493" y="1649323"/>
                  <a:pt x="5072774" y="1651599"/>
                </a:cubicBezTo>
                <a:cubicBezTo>
                  <a:pt x="5073414" y="1653449"/>
                  <a:pt x="5073201" y="1654871"/>
                  <a:pt x="5072560" y="1655868"/>
                </a:cubicBezTo>
                <a:cubicBezTo>
                  <a:pt x="5071707" y="1656721"/>
                  <a:pt x="5070426" y="1657433"/>
                  <a:pt x="5068719" y="1657859"/>
                </a:cubicBezTo>
                <a:cubicBezTo>
                  <a:pt x="5065517" y="1658713"/>
                  <a:pt x="5064237" y="1656579"/>
                  <a:pt x="5064237" y="1656579"/>
                </a:cubicBezTo>
                <a:cubicBezTo>
                  <a:pt x="5062957" y="1652596"/>
                  <a:pt x="5064024" y="1648897"/>
                  <a:pt x="5067865" y="1646905"/>
                </a:cubicBezTo>
                <a:close/>
                <a:moveTo>
                  <a:pt x="3894910" y="1646905"/>
                </a:moveTo>
                <a:cubicBezTo>
                  <a:pt x="3898752" y="1646193"/>
                  <a:pt x="3902807" y="1651315"/>
                  <a:pt x="3902380" y="1654871"/>
                </a:cubicBezTo>
                <a:cubicBezTo>
                  <a:pt x="3898325" y="1658855"/>
                  <a:pt x="3891709" y="1654871"/>
                  <a:pt x="3891069" y="1649892"/>
                </a:cubicBezTo>
                <a:cubicBezTo>
                  <a:pt x="3892349" y="1648043"/>
                  <a:pt x="3893630" y="1647189"/>
                  <a:pt x="3894910" y="1646905"/>
                </a:cubicBezTo>
                <a:close/>
                <a:moveTo>
                  <a:pt x="1909539" y="1646672"/>
                </a:moveTo>
                <a:cubicBezTo>
                  <a:pt x="1916436" y="1642794"/>
                  <a:pt x="1921779" y="1652030"/>
                  <a:pt x="1926658" y="1661440"/>
                </a:cubicBezTo>
                <a:lnTo>
                  <a:pt x="1931821" y="1670734"/>
                </a:lnTo>
                <a:lnTo>
                  <a:pt x="1933060" y="1669030"/>
                </a:lnTo>
                <a:lnTo>
                  <a:pt x="1932957" y="1672748"/>
                </a:lnTo>
                <a:lnTo>
                  <a:pt x="1933060" y="1672902"/>
                </a:lnTo>
                <a:lnTo>
                  <a:pt x="1932957" y="1673057"/>
                </a:lnTo>
                <a:lnTo>
                  <a:pt x="1932440" y="1687463"/>
                </a:lnTo>
                <a:cubicBezTo>
                  <a:pt x="1931614" y="1693659"/>
                  <a:pt x="1929653" y="1699855"/>
                  <a:pt x="1925109" y="1706050"/>
                </a:cubicBezTo>
                <a:cubicBezTo>
                  <a:pt x="1922528" y="1702952"/>
                  <a:pt x="1921392" y="1699699"/>
                  <a:pt x="1921082" y="1696137"/>
                </a:cubicBezTo>
                <a:cubicBezTo>
                  <a:pt x="1920876" y="1693504"/>
                  <a:pt x="1921186" y="1690870"/>
                  <a:pt x="1921805" y="1688237"/>
                </a:cubicBezTo>
                <a:lnTo>
                  <a:pt x="1923767" y="1683435"/>
                </a:lnTo>
                <a:lnTo>
                  <a:pt x="1918088" y="1686533"/>
                </a:lnTo>
                <a:cubicBezTo>
                  <a:pt x="1907349" y="1678479"/>
                  <a:pt x="1904768" y="1667016"/>
                  <a:pt x="1902083" y="1655399"/>
                </a:cubicBezTo>
                <a:cubicBezTo>
                  <a:pt x="1904768" y="1650713"/>
                  <a:pt x="1907240" y="1647964"/>
                  <a:pt x="1909539" y="1646672"/>
                </a:cubicBezTo>
                <a:close/>
                <a:moveTo>
                  <a:pt x="3669539" y="1646335"/>
                </a:moveTo>
                <a:cubicBezTo>
                  <a:pt x="3670606" y="1646478"/>
                  <a:pt x="3670606" y="1646335"/>
                  <a:pt x="3670606" y="1647616"/>
                </a:cubicBezTo>
                <a:cubicBezTo>
                  <a:pt x="3670820" y="1647474"/>
                  <a:pt x="3670820" y="1647474"/>
                  <a:pt x="3670820" y="1647332"/>
                </a:cubicBezTo>
                <a:lnTo>
                  <a:pt x="3671033" y="1647901"/>
                </a:lnTo>
                <a:lnTo>
                  <a:pt x="3671673" y="1647758"/>
                </a:lnTo>
                <a:cubicBezTo>
                  <a:pt x="3672740" y="1647758"/>
                  <a:pt x="3673594" y="1648043"/>
                  <a:pt x="3674448" y="1648754"/>
                </a:cubicBezTo>
                <a:cubicBezTo>
                  <a:pt x="3675515" y="1648897"/>
                  <a:pt x="3675515" y="1653591"/>
                  <a:pt x="3674234" y="1654587"/>
                </a:cubicBezTo>
                <a:cubicBezTo>
                  <a:pt x="3671887" y="1656579"/>
                  <a:pt x="3670606" y="1657717"/>
                  <a:pt x="3668472" y="1657433"/>
                </a:cubicBezTo>
                <a:cubicBezTo>
                  <a:pt x="3667192" y="1658428"/>
                  <a:pt x="3666124" y="1659424"/>
                  <a:pt x="3664844" y="1659851"/>
                </a:cubicBezTo>
                <a:lnTo>
                  <a:pt x="3662283" y="1659140"/>
                </a:lnTo>
                <a:lnTo>
                  <a:pt x="3663990" y="1659993"/>
                </a:lnTo>
                <a:cubicBezTo>
                  <a:pt x="3664630" y="1660563"/>
                  <a:pt x="3665271" y="1661416"/>
                  <a:pt x="3665057" y="1662270"/>
                </a:cubicBezTo>
                <a:cubicBezTo>
                  <a:pt x="3664204" y="1662839"/>
                  <a:pt x="3664844" y="1663835"/>
                  <a:pt x="3663777" y="1664546"/>
                </a:cubicBezTo>
                <a:cubicBezTo>
                  <a:pt x="3663350" y="1665400"/>
                  <a:pt x="3662923" y="1665827"/>
                  <a:pt x="3662497" y="1666253"/>
                </a:cubicBezTo>
                <a:cubicBezTo>
                  <a:pt x="3664417" y="1664546"/>
                  <a:pt x="3666551" y="1663265"/>
                  <a:pt x="3669112" y="1663123"/>
                </a:cubicBezTo>
                <a:cubicBezTo>
                  <a:pt x="3667832" y="1667392"/>
                  <a:pt x="3666551" y="1671375"/>
                  <a:pt x="3665271" y="1675928"/>
                </a:cubicBezTo>
                <a:lnTo>
                  <a:pt x="3664417" y="1683752"/>
                </a:lnTo>
                <a:lnTo>
                  <a:pt x="3665271" y="1684037"/>
                </a:lnTo>
                <a:lnTo>
                  <a:pt x="3666551" y="1683468"/>
                </a:lnTo>
                <a:lnTo>
                  <a:pt x="3666551" y="1683183"/>
                </a:lnTo>
                <a:cubicBezTo>
                  <a:pt x="3668899" y="1679911"/>
                  <a:pt x="3668045" y="1676354"/>
                  <a:pt x="3670393" y="1673224"/>
                </a:cubicBezTo>
                <a:cubicBezTo>
                  <a:pt x="3670393" y="1673224"/>
                  <a:pt x="3670393" y="1673224"/>
                  <a:pt x="3671673" y="1674505"/>
                </a:cubicBezTo>
                <a:cubicBezTo>
                  <a:pt x="3670393" y="1677208"/>
                  <a:pt x="3670180" y="1680195"/>
                  <a:pt x="3669966" y="1683041"/>
                </a:cubicBezTo>
                <a:lnTo>
                  <a:pt x="3669539" y="1684748"/>
                </a:lnTo>
                <a:lnTo>
                  <a:pt x="3672313" y="1683752"/>
                </a:lnTo>
                <a:cubicBezTo>
                  <a:pt x="3677863" y="1681192"/>
                  <a:pt x="3683625" y="1678488"/>
                  <a:pt x="3690454" y="1679200"/>
                </a:cubicBezTo>
                <a:lnTo>
                  <a:pt x="3696003" y="1680480"/>
                </a:lnTo>
                <a:lnTo>
                  <a:pt x="3694296" y="1674931"/>
                </a:lnTo>
                <a:lnTo>
                  <a:pt x="3693869" y="1673794"/>
                </a:lnTo>
                <a:lnTo>
                  <a:pt x="3690881" y="1673794"/>
                </a:lnTo>
                <a:cubicBezTo>
                  <a:pt x="3690881" y="1673794"/>
                  <a:pt x="3685119" y="1671659"/>
                  <a:pt x="3685972" y="1667392"/>
                </a:cubicBezTo>
                <a:cubicBezTo>
                  <a:pt x="3685759" y="1666822"/>
                  <a:pt x="3686613" y="1665969"/>
                  <a:pt x="3687893" y="1665400"/>
                </a:cubicBezTo>
                <a:lnTo>
                  <a:pt x="3691095" y="1664688"/>
                </a:lnTo>
                <a:lnTo>
                  <a:pt x="3689814" y="1659708"/>
                </a:lnTo>
                <a:lnTo>
                  <a:pt x="3687253" y="1657148"/>
                </a:lnTo>
                <a:lnTo>
                  <a:pt x="3687039" y="1656294"/>
                </a:lnTo>
                <a:lnTo>
                  <a:pt x="3685972" y="1655868"/>
                </a:lnTo>
                <a:cubicBezTo>
                  <a:pt x="3685972" y="1655868"/>
                  <a:pt x="3685759" y="1655868"/>
                  <a:pt x="3685972" y="1654729"/>
                </a:cubicBezTo>
                <a:lnTo>
                  <a:pt x="3687039" y="1655298"/>
                </a:lnTo>
                <a:lnTo>
                  <a:pt x="3686613" y="1654018"/>
                </a:lnTo>
                <a:lnTo>
                  <a:pt x="3685759" y="1654444"/>
                </a:lnTo>
                <a:cubicBezTo>
                  <a:pt x="3685759" y="1654444"/>
                  <a:pt x="3685546" y="1653449"/>
                  <a:pt x="3685972" y="1652026"/>
                </a:cubicBezTo>
                <a:cubicBezTo>
                  <a:pt x="3685972" y="1652026"/>
                  <a:pt x="3686399" y="1652169"/>
                  <a:pt x="3686613" y="1652453"/>
                </a:cubicBezTo>
                <a:lnTo>
                  <a:pt x="3686826" y="1653449"/>
                </a:lnTo>
                <a:lnTo>
                  <a:pt x="3689174" y="1649750"/>
                </a:lnTo>
                <a:cubicBezTo>
                  <a:pt x="3690454" y="1648897"/>
                  <a:pt x="3692162" y="1648327"/>
                  <a:pt x="3694082" y="1648470"/>
                </a:cubicBezTo>
                <a:cubicBezTo>
                  <a:pt x="3696430" y="1648612"/>
                  <a:pt x="3698778" y="1649607"/>
                  <a:pt x="3700912" y="1651742"/>
                </a:cubicBezTo>
                <a:lnTo>
                  <a:pt x="3700912" y="1652311"/>
                </a:lnTo>
                <a:lnTo>
                  <a:pt x="3709235" y="1653876"/>
                </a:lnTo>
                <a:lnTo>
                  <a:pt x="3712009" y="1654871"/>
                </a:lnTo>
                <a:lnTo>
                  <a:pt x="3712650" y="1654444"/>
                </a:lnTo>
                <a:cubicBezTo>
                  <a:pt x="3713930" y="1654161"/>
                  <a:pt x="3715211" y="1654303"/>
                  <a:pt x="3716918" y="1655014"/>
                </a:cubicBezTo>
                <a:lnTo>
                  <a:pt x="3717345" y="1655441"/>
                </a:lnTo>
                <a:lnTo>
                  <a:pt x="3718412" y="1655156"/>
                </a:lnTo>
                <a:cubicBezTo>
                  <a:pt x="3721187" y="1653876"/>
                  <a:pt x="3723961" y="1652880"/>
                  <a:pt x="3727163" y="1653164"/>
                </a:cubicBezTo>
                <a:cubicBezTo>
                  <a:pt x="3726522" y="1654871"/>
                  <a:pt x="3724388" y="1658571"/>
                  <a:pt x="3720333" y="1658002"/>
                </a:cubicBezTo>
                <a:lnTo>
                  <a:pt x="3719906" y="1658002"/>
                </a:lnTo>
                <a:lnTo>
                  <a:pt x="3726522" y="1660563"/>
                </a:lnTo>
                <a:lnTo>
                  <a:pt x="3727589" y="1661274"/>
                </a:lnTo>
                <a:lnTo>
                  <a:pt x="3728443" y="1659140"/>
                </a:lnTo>
                <a:cubicBezTo>
                  <a:pt x="3728016" y="1658002"/>
                  <a:pt x="3728016" y="1658002"/>
                  <a:pt x="3728656" y="1656437"/>
                </a:cubicBezTo>
                <a:cubicBezTo>
                  <a:pt x="3730150" y="1657006"/>
                  <a:pt x="3730150" y="1657006"/>
                  <a:pt x="3730577" y="1658002"/>
                </a:cubicBezTo>
                <a:lnTo>
                  <a:pt x="3728230" y="1661700"/>
                </a:lnTo>
                <a:lnTo>
                  <a:pt x="3730577" y="1662412"/>
                </a:lnTo>
                <a:lnTo>
                  <a:pt x="3730363" y="1663123"/>
                </a:lnTo>
                <a:lnTo>
                  <a:pt x="3731858" y="1664119"/>
                </a:lnTo>
                <a:lnTo>
                  <a:pt x="3741034" y="1660278"/>
                </a:lnTo>
                <a:cubicBezTo>
                  <a:pt x="3743809" y="1658571"/>
                  <a:pt x="3745516" y="1657006"/>
                  <a:pt x="3745516" y="1657006"/>
                </a:cubicBezTo>
                <a:cubicBezTo>
                  <a:pt x="3748077" y="1657006"/>
                  <a:pt x="3748505" y="1658144"/>
                  <a:pt x="3748077" y="1657148"/>
                </a:cubicBezTo>
                <a:cubicBezTo>
                  <a:pt x="3751065" y="1658286"/>
                  <a:pt x="3754907" y="1658713"/>
                  <a:pt x="3754693" y="1661416"/>
                </a:cubicBezTo>
                <a:cubicBezTo>
                  <a:pt x="3752772" y="1668245"/>
                  <a:pt x="3743596" y="1668387"/>
                  <a:pt x="3737834" y="1668245"/>
                </a:cubicBezTo>
                <a:lnTo>
                  <a:pt x="3735913" y="1668245"/>
                </a:lnTo>
                <a:lnTo>
                  <a:pt x="3737620" y="1670521"/>
                </a:lnTo>
                <a:cubicBezTo>
                  <a:pt x="3739327" y="1674363"/>
                  <a:pt x="3738474" y="1678488"/>
                  <a:pt x="3733351" y="1682899"/>
                </a:cubicBezTo>
                <a:lnTo>
                  <a:pt x="3725242" y="1679058"/>
                </a:lnTo>
                <a:lnTo>
                  <a:pt x="3726735" y="1694991"/>
                </a:lnTo>
                <a:cubicBezTo>
                  <a:pt x="3720120" y="1693000"/>
                  <a:pt x="3717345" y="1687309"/>
                  <a:pt x="3716491" y="1680907"/>
                </a:cubicBezTo>
                <a:lnTo>
                  <a:pt x="3716491" y="1676781"/>
                </a:lnTo>
                <a:lnTo>
                  <a:pt x="3712650" y="1674363"/>
                </a:lnTo>
                <a:lnTo>
                  <a:pt x="3712650" y="1674220"/>
                </a:lnTo>
                <a:lnTo>
                  <a:pt x="3709235" y="1673082"/>
                </a:lnTo>
                <a:cubicBezTo>
                  <a:pt x="3705394" y="1671802"/>
                  <a:pt x="3702193" y="1670521"/>
                  <a:pt x="3699631" y="1668956"/>
                </a:cubicBezTo>
                <a:lnTo>
                  <a:pt x="3697070" y="1666538"/>
                </a:lnTo>
                <a:lnTo>
                  <a:pt x="3697710" y="1668387"/>
                </a:lnTo>
                <a:lnTo>
                  <a:pt x="3697924" y="1669241"/>
                </a:lnTo>
                <a:lnTo>
                  <a:pt x="3700272" y="1670379"/>
                </a:lnTo>
                <a:cubicBezTo>
                  <a:pt x="3701338" y="1671233"/>
                  <a:pt x="3701765" y="1672229"/>
                  <a:pt x="3701125" y="1673794"/>
                </a:cubicBezTo>
                <a:lnTo>
                  <a:pt x="3698778" y="1673794"/>
                </a:lnTo>
                <a:lnTo>
                  <a:pt x="3698778" y="1674078"/>
                </a:lnTo>
                <a:cubicBezTo>
                  <a:pt x="3698778" y="1674505"/>
                  <a:pt x="3698564" y="1674931"/>
                  <a:pt x="3698991" y="1675501"/>
                </a:cubicBezTo>
                <a:cubicBezTo>
                  <a:pt x="3698991" y="1675501"/>
                  <a:pt x="3699631" y="1676496"/>
                  <a:pt x="3699418" y="1678061"/>
                </a:cubicBezTo>
                <a:cubicBezTo>
                  <a:pt x="3699205" y="1679769"/>
                  <a:pt x="3698778" y="1681476"/>
                  <a:pt x="3696217" y="1681618"/>
                </a:cubicBezTo>
                <a:lnTo>
                  <a:pt x="3696217" y="1681333"/>
                </a:lnTo>
                <a:lnTo>
                  <a:pt x="3694296" y="1685032"/>
                </a:lnTo>
                <a:cubicBezTo>
                  <a:pt x="3690667" y="1689301"/>
                  <a:pt x="3683838" y="1692858"/>
                  <a:pt x="3676795" y="1694423"/>
                </a:cubicBezTo>
                <a:lnTo>
                  <a:pt x="3667405" y="1694423"/>
                </a:lnTo>
                <a:lnTo>
                  <a:pt x="3671673" y="1697410"/>
                </a:lnTo>
                <a:cubicBezTo>
                  <a:pt x="3675515" y="1700255"/>
                  <a:pt x="3679356" y="1703670"/>
                  <a:pt x="3681277" y="1705092"/>
                </a:cubicBezTo>
                <a:cubicBezTo>
                  <a:pt x="3681064" y="1706373"/>
                  <a:pt x="3681277" y="1706373"/>
                  <a:pt x="3681277" y="1706373"/>
                </a:cubicBezTo>
                <a:cubicBezTo>
                  <a:pt x="3680637" y="1707511"/>
                  <a:pt x="3679570" y="1707654"/>
                  <a:pt x="3678503" y="1707227"/>
                </a:cubicBezTo>
                <a:cubicBezTo>
                  <a:pt x="3677436" y="1706800"/>
                  <a:pt x="3675942" y="1705804"/>
                  <a:pt x="3674234" y="1704381"/>
                </a:cubicBezTo>
                <a:cubicBezTo>
                  <a:pt x="3670606" y="1701536"/>
                  <a:pt x="3667192" y="1696272"/>
                  <a:pt x="3666124" y="1694849"/>
                </a:cubicBezTo>
                <a:lnTo>
                  <a:pt x="3665484" y="1694423"/>
                </a:lnTo>
                <a:lnTo>
                  <a:pt x="3663137" y="1694423"/>
                </a:lnTo>
                <a:lnTo>
                  <a:pt x="3660362" y="1693284"/>
                </a:lnTo>
                <a:lnTo>
                  <a:pt x="3656734" y="1694423"/>
                </a:lnTo>
                <a:lnTo>
                  <a:pt x="3655667" y="1690439"/>
                </a:lnTo>
                <a:lnTo>
                  <a:pt x="3654813" y="1700255"/>
                </a:lnTo>
                <a:cubicBezTo>
                  <a:pt x="3654813" y="1701820"/>
                  <a:pt x="3655026" y="1703243"/>
                  <a:pt x="3655240" y="1704097"/>
                </a:cubicBezTo>
                <a:lnTo>
                  <a:pt x="3655453" y="1705092"/>
                </a:lnTo>
                <a:lnTo>
                  <a:pt x="3655667" y="1705235"/>
                </a:lnTo>
                <a:cubicBezTo>
                  <a:pt x="3657588" y="1707654"/>
                  <a:pt x="3657801" y="1710214"/>
                  <a:pt x="3657161" y="1712633"/>
                </a:cubicBezTo>
                <a:lnTo>
                  <a:pt x="3656307" y="1716474"/>
                </a:lnTo>
                <a:lnTo>
                  <a:pt x="3656521" y="1716332"/>
                </a:lnTo>
                <a:cubicBezTo>
                  <a:pt x="3657161" y="1716047"/>
                  <a:pt x="3658014" y="1716190"/>
                  <a:pt x="3658868" y="1716901"/>
                </a:cubicBezTo>
                <a:cubicBezTo>
                  <a:pt x="3663990" y="1722022"/>
                  <a:pt x="3661642" y="1730274"/>
                  <a:pt x="3660362" y="1734542"/>
                </a:cubicBezTo>
                <a:lnTo>
                  <a:pt x="3659508" y="1736961"/>
                </a:lnTo>
                <a:lnTo>
                  <a:pt x="3660575" y="1737103"/>
                </a:lnTo>
                <a:lnTo>
                  <a:pt x="3659295" y="1738241"/>
                </a:lnTo>
                <a:lnTo>
                  <a:pt x="3659295" y="1738526"/>
                </a:lnTo>
                <a:cubicBezTo>
                  <a:pt x="3658228" y="1738383"/>
                  <a:pt x="3658228" y="1739522"/>
                  <a:pt x="3659295" y="1739664"/>
                </a:cubicBezTo>
                <a:cubicBezTo>
                  <a:pt x="3658014" y="1741229"/>
                  <a:pt x="3657161" y="1742652"/>
                  <a:pt x="3656307" y="1743220"/>
                </a:cubicBezTo>
                <a:cubicBezTo>
                  <a:pt x="3655453" y="1743932"/>
                  <a:pt x="3654386" y="1743790"/>
                  <a:pt x="3653319" y="1742509"/>
                </a:cubicBezTo>
                <a:lnTo>
                  <a:pt x="3652892" y="1741798"/>
                </a:lnTo>
                <a:lnTo>
                  <a:pt x="3646703" y="1743078"/>
                </a:lnTo>
                <a:cubicBezTo>
                  <a:pt x="3644569" y="1739948"/>
                  <a:pt x="3645850" y="1737530"/>
                  <a:pt x="3647983" y="1736107"/>
                </a:cubicBezTo>
                <a:lnTo>
                  <a:pt x="3649051" y="1735823"/>
                </a:lnTo>
                <a:lnTo>
                  <a:pt x="3646063" y="1734969"/>
                </a:lnTo>
                <a:cubicBezTo>
                  <a:pt x="3641795" y="1735253"/>
                  <a:pt x="3636032" y="1738526"/>
                  <a:pt x="3628989" y="1732408"/>
                </a:cubicBezTo>
                <a:cubicBezTo>
                  <a:pt x="3630910" y="1730701"/>
                  <a:pt x="3628776" y="1726717"/>
                  <a:pt x="3628989" y="1723445"/>
                </a:cubicBezTo>
                <a:lnTo>
                  <a:pt x="3630270" y="1721169"/>
                </a:lnTo>
                <a:lnTo>
                  <a:pt x="3628562" y="1722450"/>
                </a:lnTo>
                <a:cubicBezTo>
                  <a:pt x="3627068" y="1722022"/>
                  <a:pt x="3626001" y="1719888"/>
                  <a:pt x="3626001" y="1717185"/>
                </a:cubicBezTo>
                <a:cubicBezTo>
                  <a:pt x="3627709" y="1717612"/>
                  <a:pt x="3629203" y="1715193"/>
                  <a:pt x="3630697" y="1715621"/>
                </a:cubicBezTo>
                <a:cubicBezTo>
                  <a:pt x="3630697" y="1715621"/>
                  <a:pt x="3631337" y="1716190"/>
                  <a:pt x="3632191" y="1716758"/>
                </a:cubicBezTo>
                <a:lnTo>
                  <a:pt x="3633258" y="1717897"/>
                </a:lnTo>
                <a:lnTo>
                  <a:pt x="3635392" y="1715905"/>
                </a:lnTo>
                <a:cubicBezTo>
                  <a:pt x="3639660" y="1712491"/>
                  <a:pt x="3642648" y="1712633"/>
                  <a:pt x="3646276" y="1714340"/>
                </a:cubicBezTo>
                <a:lnTo>
                  <a:pt x="3647983" y="1715193"/>
                </a:lnTo>
                <a:lnTo>
                  <a:pt x="3648197" y="1714767"/>
                </a:lnTo>
                <a:lnTo>
                  <a:pt x="3649264" y="1711352"/>
                </a:lnTo>
                <a:lnTo>
                  <a:pt x="3647130" y="1711779"/>
                </a:lnTo>
                <a:cubicBezTo>
                  <a:pt x="3640514" y="1704950"/>
                  <a:pt x="3650118" y="1693142"/>
                  <a:pt x="3651398" y="1689728"/>
                </a:cubicBezTo>
                <a:cubicBezTo>
                  <a:pt x="3651398" y="1689728"/>
                  <a:pt x="3651185" y="1688589"/>
                  <a:pt x="3652466" y="1687594"/>
                </a:cubicBezTo>
                <a:cubicBezTo>
                  <a:pt x="3652679" y="1687024"/>
                  <a:pt x="3653106" y="1686740"/>
                  <a:pt x="3653319" y="1686882"/>
                </a:cubicBezTo>
                <a:lnTo>
                  <a:pt x="3653959" y="1687309"/>
                </a:lnTo>
                <a:lnTo>
                  <a:pt x="3654813" y="1687167"/>
                </a:lnTo>
                <a:lnTo>
                  <a:pt x="3654600" y="1686597"/>
                </a:lnTo>
                <a:lnTo>
                  <a:pt x="3655240" y="1682330"/>
                </a:lnTo>
                <a:lnTo>
                  <a:pt x="3652892" y="1682045"/>
                </a:lnTo>
                <a:cubicBezTo>
                  <a:pt x="3650971" y="1682187"/>
                  <a:pt x="3649264" y="1682614"/>
                  <a:pt x="3648837" y="1683325"/>
                </a:cubicBezTo>
                <a:cubicBezTo>
                  <a:pt x="3648624" y="1682187"/>
                  <a:pt x="3647130" y="1681618"/>
                  <a:pt x="3647130" y="1681618"/>
                </a:cubicBezTo>
                <a:cubicBezTo>
                  <a:pt x="3647983" y="1680053"/>
                  <a:pt x="3649051" y="1679484"/>
                  <a:pt x="3650118" y="1679058"/>
                </a:cubicBezTo>
                <a:cubicBezTo>
                  <a:pt x="3651398" y="1679769"/>
                  <a:pt x="3651826" y="1680907"/>
                  <a:pt x="3653319" y="1681618"/>
                </a:cubicBezTo>
                <a:lnTo>
                  <a:pt x="3655453" y="1681192"/>
                </a:lnTo>
                <a:lnTo>
                  <a:pt x="3656307" y="1676212"/>
                </a:lnTo>
                <a:cubicBezTo>
                  <a:pt x="3657588" y="1672513"/>
                  <a:pt x="3659508" y="1669099"/>
                  <a:pt x="3661856" y="1666680"/>
                </a:cubicBezTo>
                <a:cubicBezTo>
                  <a:pt x="3661429" y="1666965"/>
                  <a:pt x="3660789" y="1667107"/>
                  <a:pt x="3660149" y="1666965"/>
                </a:cubicBezTo>
                <a:cubicBezTo>
                  <a:pt x="3659082" y="1667676"/>
                  <a:pt x="3658441" y="1666538"/>
                  <a:pt x="3656947" y="1666111"/>
                </a:cubicBezTo>
                <a:lnTo>
                  <a:pt x="3656521" y="1664830"/>
                </a:lnTo>
                <a:lnTo>
                  <a:pt x="3655026" y="1665257"/>
                </a:lnTo>
                <a:cubicBezTo>
                  <a:pt x="3652466" y="1665542"/>
                  <a:pt x="3650118" y="1665542"/>
                  <a:pt x="3649691" y="1664830"/>
                </a:cubicBezTo>
                <a:cubicBezTo>
                  <a:pt x="3650758" y="1664404"/>
                  <a:pt x="3653533" y="1663692"/>
                  <a:pt x="3656093" y="1663123"/>
                </a:cubicBezTo>
                <a:lnTo>
                  <a:pt x="3656521" y="1663123"/>
                </a:lnTo>
                <a:lnTo>
                  <a:pt x="3656521" y="1661985"/>
                </a:lnTo>
                <a:cubicBezTo>
                  <a:pt x="3656307" y="1661700"/>
                  <a:pt x="3655880" y="1661558"/>
                  <a:pt x="3655026" y="1661416"/>
                </a:cubicBezTo>
                <a:cubicBezTo>
                  <a:pt x="3655026" y="1661416"/>
                  <a:pt x="3656093" y="1660847"/>
                  <a:pt x="3656093" y="1660847"/>
                </a:cubicBezTo>
                <a:cubicBezTo>
                  <a:pt x="3656734" y="1661843"/>
                  <a:pt x="3656093" y="1660847"/>
                  <a:pt x="3656307" y="1659140"/>
                </a:cubicBezTo>
                <a:cubicBezTo>
                  <a:pt x="3658868" y="1658998"/>
                  <a:pt x="3659722" y="1658286"/>
                  <a:pt x="3661429" y="1658713"/>
                </a:cubicBezTo>
                <a:lnTo>
                  <a:pt x="3666338" y="1650177"/>
                </a:lnTo>
                <a:lnTo>
                  <a:pt x="3668685" y="1648612"/>
                </a:lnTo>
                <a:close/>
                <a:moveTo>
                  <a:pt x="1362260" y="1645950"/>
                </a:moveTo>
                <a:cubicBezTo>
                  <a:pt x="1371036" y="1650907"/>
                  <a:pt x="1376509" y="1656793"/>
                  <a:pt x="1379090" y="1663609"/>
                </a:cubicBezTo>
                <a:cubicBezTo>
                  <a:pt x="1380020" y="1665932"/>
                  <a:pt x="1380536" y="1668410"/>
                  <a:pt x="1380742" y="1670889"/>
                </a:cubicBezTo>
                <a:cubicBezTo>
                  <a:pt x="1374031" y="1673057"/>
                  <a:pt x="1370417" y="1666552"/>
                  <a:pt x="1366700" y="1662679"/>
                </a:cubicBezTo>
                <a:cubicBezTo>
                  <a:pt x="1363602" y="1667946"/>
                  <a:pt x="1360504" y="1676775"/>
                  <a:pt x="1354412" y="1674452"/>
                </a:cubicBezTo>
                <a:cubicBezTo>
                  <a:pt x="1353793" y="1672902"/>
                  <a:pt x="1353793" y="1671354"/>
                  <a:pt x="1354206" y="1669959"/>
                </a:cubicBezTo>
                <a:cubicBezTo>
                  <a:pt x="1355445" y="1665622"/>
                  <a:pt x="1360298" y="1661595"/>
                  <a:pt x="1362260" y="1656329"/>
                </a:cubicBezTo>
                <a:cubicBezTo>
                  <a:pt x="1362260" y="1652921"/>
                  <a:pt x="1358232" y="1651682"/>
                  <a:pt x="1362260" y="1645950"/>
                </a:cubicBezTo>
                <a:close/>
                <a:moveTo>
                  <a:pt x="5257382" y="1644770"/>
                </a:moveTo>
                <a:cubicBezTo>
                  <a:pt x="5265492" y="1644486"/>
                  <a:pt x="5273602" y="1646905"/>
                  <a:pt x="5279578" y="1652311"/>
                </a:cubicBezTo>
                <a:lnTo>
                  <a:pt x="5280431" y="1653307"/>
                </a:lnTo>
                <a:lnTo>
                  <a:pt x="5279578" y="1651315"/>
                </a:lnTo>
                <a:cubicBezTo>
                  <a:pt x="5279791" y="1649607"/>
                  <a:pt x="5280004" y="1649607"/>
                  <a:pt x="5280858" y="1649039"/>
                </a:cubicBezTo>
                <a:cubicBezTo>
                  <a:pt x="5282139" y="1646762"/>
                  <a:pt x="5282352" y="1645197"/>
                  <a:pt x="5284913" y="1644913"/>
                </a:cubicBezTo>
                <a:cubicBezTo>
                  <a:pt x="5287047" y="1645055"/>
                  <a:pt x="5288115" y="1645767"/>
                  <a:pt x="5288755" y="1647047"/>
                </a:cubicBezTo>
                <a:cubicBezTo>
                  <a:pt x="5289395" y="1648327"/>
                  <a:pt x="5289608" y="1650177"/>
                  <a:pt x="5289822" y="1652311"/>
                </a:cubicBezTo>
                <a:cubicBezTo>
                  <a:pt x="5290035" y="1656721"/>
                  <a:pt x="5286407" y="1657575"/>
                  <a:pt x="5285980" y="1660847"/>
                </a:cubicBezTo>
                <a:lnTo>
                  <a:pt x="5284273" y="1659566"/>
                </a:lnTo>
                <a:lnTo>
                  <a:pt x="5278297" y="1669525"/>
                </a:lnTo>
                <a:cubicBezTo>
                  <a:pt x="5275523" y="1672229"/>
                  <a:pt x="5272321" y="1674220"/>
                  <a:pt x="5268907" y="1675501"/>
                </a:cubicBezTo>
                <a:lnTo>
                  <a:pt x="5262290" y="1676639"/>
                </a:lnTo>
                <a:lnTo>
                  <a:pt x="5266559" y="1679769"/>
                </a:lnTo>
                <a:lnTo>
                  <a:pt x="5270401" y="1684464"/>
                </a:lnTo>
                <a:lnTo>
                  <a:pt x="5274242" y="1680907"/>
                </a:lnTo>
                <a:lnTo>
                  <a:pt x="5281712" y="1676496"/>
                </a:lnTo>
                <a:lnTo>
                  <a:pt x="5281712" y="1676354"/>
                </a:lnTo>
                <a:lnTo>
                  <a:pt x="5281925" y="1676354"/>
                </a:lnTo>
                <a:lnTo>
                  <a:pt x="5283632" y="1675501"/>
                </a:lnTo>
                <a:lnTo>
                  <a:pt x="5283206" y="1676496"/>
                </a:lnTo>
                <a:lnTo>
                  <a:pt x="5290889" y="1677066"/>
                </a:lnTo>
                <a:cubicBezTo>
                  <a:pt x="5299639" y="1680622"/>
                  <a:pt x="5306042" y="1691434"/>
                  <a:pt x="5308603" y="1698264"/>
                </a:cubicBezTo>
                <a:cubicBezTo>
                  <a:pt x="5303908" y="1695703"/>
                  <a:pt x="5298786" y="1693284"/>
                  <a:pt x="5294090" y="1690154"/>
                </a:cubicBezTo>
                <a:cubicBezTo>
                  <a:pt x="5291743" y="1688447"/>
                  <a:pt x="5289608" y="1686597"/>
                  <a:pt x="5287474" y="1684464"/>
                </a:cubicBezTo>
                <a:lnTo>
                  <a:pt x="5282779" y="1678061"/>
                </a:lnTo>
                <a:lnTo>
                  <a:pt x="5280858" y="1685317"/>
                </a:lnTo>
                <a:lnTo>
                  <a:pt x="5275096" y="1692004"/>
                </a:lnTo>
                <a:lnTo>
                  <a:pt x="5277444" y="1696841"/>
                </a:lnTo>
                <a:cubicBezTo>
                  <a:pt x="5275736" y="1700398"/>
                  <a:pt x="5273388" y="1701963"/>
                  <a:pt x="5270614" y="1702105"/>
                </a:cubicBezTo>
                <a:lnTo>
                  <a:pt x="5264212" y="1699828"/>
                </a:lnTo>
                <a:lnTo>
                  <a:pt x="5262077" y="1700967"/>
                </a:lnTo>
                <a:cubicBezTo>
                  <a:pt x="5258662" y="1701963"/>
                  <a:pt x="5255461" y="1701820"/>
                  <a:pt x="5253114" y="1699828"/>
                </a:cubicBezTo>
                <a:lnTo>
                  <a:pt x="5258449" y="1694991"/>
                </a:lnTo>
                <a:lnTo>
                  <a:pt x="5252474" y="1688305"/>
                </a:lnTo>
                <a:lnTo>
                  <a:pt x="5251833" y="1686740"/>
                </a:lnTo>
                <a:lnTo>
                  <a:pt x="5249486" y="1688732"/>
                </a:lnTo>
                <a:cubicBezTo>
                  <a:pt x="5247991" y="1689159"/>
                  <a:pt x="5245858" y="1689301"/>
                  <a:pt x="5243723" y="1688874"/>
                </a:cubicBezTo>
                <a:cubicBezTo>
                  <a:pt x="5242229" y="1685032"/>
                  <a:pt x="5239882" y="1680053"/>
                  <a:pt x="5239241" y="1674931"/>
                </a:cubicBezTo>
                <a:lnTo>
                  <a:pt x="5239455" y="1670237"/>
                </a:lnTo>
                <a:lnTo>
                  <a:pt x="5232625" y="1664119"/>
                </a:lnTo>
                <a:cubicBezTo>
                  <a:pt x="5233265" y="1662555"/>
                  <a:pt x="5234120" y="1661132"/>
                  <a:pt x="5232625" y="1660278"/>
                </a:cubicBezTo>
                <a:cubicBezTo>
                  <a:pt x="5236467" y="1650461"/>
                  <a:pt x="5246711" y="1645197"/>
                  <a:pt x="5257382" y="1644770"/>
                </a:cubicBezTo>
                <a:close/>
                <a:moveTo>
                  <a:pt x="5220247" y="1644628"/>
                </a:moveTo>
                <a:cubicBezTo>
                  <a:pt x="5219820" y="1648043"/>
                  <a:pt x="5222168" y="1649039"/>
                  <a:pt x="5221741" y="1652453"/>
                </a:cubicBezTo>
                <a:cubicBezTo>
                  <a:pt x="5218540" y="1652311"/>
                  <a:pt x="5215978" y="1653022"/>
                  <a:pt x="5214485" y="1653022"/>
                </a:cubicBezTo>
                <a:cubicBezTo>
                  <a:pt x="5213418" y="1647758"/>
                  <a:pt x="5215338" y="1644344"/>
                  <a:pt x="5220247" y="1644628"/>
                </a:cubicBezTo>
                <a:close/>
                <a:moveTo>
                  <a:pt x="5599921" y="1643490"/>
                </a:moveTo>
                <a:cubicBezTo>
                  <a:pt x="5604189" y="1648327"/>
                  <a:pt x="5605896" y="1655014"/>
                  <a:pt x="5605896" y="1661132"/>
                </a:cubicBezTo>
                <a:lnTo>
                  <a:pt x="5605256" y="1666822"/>
                </a:lnTo>
                <a:lnTo>
                  <a:pt x="5609311" y="1668102"/>
                </a:lnTo>
                <a:cubicBezTo>
                  <a:pt x="5612086" y="1669383"/>
                  <a:pt x="5614647" y="1670948"/>
                  <a:pt x="5616994" y="1672229"/>
                </a:cubicBezTo>
                <a:cubicBezTo>
                  <a:pt x="5612512" y="1674363"/>
                  <a:pt x="5607817" y="1671802"/>
                  <a:pt x="5603762" y="1679911"/>
                </a:cubicBezTo>
                <a:lnTo>
                  <a:pt x="5601628" y="1674931"/>
                </a:lnTo>
                <a:lnTo>
                  <a:pt x="5601415" y="1675643"/>
                </a:lnTo>
                <a:cubicBezTo>
                  <a:pt x="5592878" y="1665969"/>
                  <a:pt x="5596079" y="1650461"/>
                  <a:pt x="5599921" y="1643490"/>
                </a:cubicBezTo>
                <a:close/>
                <a:moveTo>
                  <a:pt x="1463038" y="1642543"/>
                </a:moveTo>
                <a:cubicBezTo>
                  <a:pt x="1465412" y="1642853"/>
                  <a:pt x="1467994" y="1643163"/>
                  <a:pt x="1470369" y="1643317"/>
                </a:cubicBezTo>
                <a:cubicBezTo>
                  <a:pt x="1474086" y="1646105"/>
                  <a:pt x="1474809" y="1650598"/>
                  <a:pt x="1472847" y="1653541"/>
                </a:cubicBezTo>
                <a:cubicBezTo>
                  <a:pt x="1472124" y="1654470"/>
                  <a:pt x="1471092" y="1655244"/>
                  <a:pt x="1469853" y="1655864"/>
                </a:cubicBezTo>
                <a:lnTo>
                  <a:pt x="1464587" y="1656019"/>
                </a:lnTo>
                <a:lnTo>
                  <a:pt x="1464690" y="1656174"/>
                </a:lnTo>
                <a:cubicBezTo>
                  <a:pt x="1464587" y="1656483"/>
                  <a:pt x="1464380" y="1656793"/>
                  <a:pt x="1463864" y="1657103"/>
                </a:cubicBezTo>
                <a:cubicBezTo>
                  <a:pt x="1462831" y="1657877"/>
                  <a:pt x="1460250" y="1656948"/>
                  <a:pt x="1459217" y="1657723"/>
                </a:cubicBezTo>
                <a:cubicBezTo>
                  <a:pt x="1459217" y="1657723"/>
                  <a:pt x="1459217" y="1657723"/>
                  <a:pt x="1458598" y="1655864"/>
                </a:cubicBezTo>
                <a:cubicBezTo>
                  <a:pt x="1458701" y="1655089"/>
                  <a:pt x="1458907" y="1654160"/>
                  <a:pt x="1459940" y="1653386"/>
                </a:cubicBezTo>
                <a:lnTo>
                  <a:pt x="1460766" y="1653231"/>
                </a:lnTo>
                <a:lnTo>
                  <a:pt x="1460043" y="1649203"/>
                </a:lnTo>
                <a:cubicBezTo>
                  <a:pt x="1460146" y="1646260"/>
                  <a:pt x="1461076" y="1643472"/>
                  <a:pt x="1463038" y="1642543"/>
                </a:cubicBezTo>
                <a:close/>
                <a:moveTo>
                  <a:pt x="3525267" y="1642494"/>
                </a:moveTo>
                <a:lnTo>
                  <a:pt x="3524414" y="1644913"/>
                </a:lnTo>
                <a:lnTo>
                  <a:pt x="3527828" y="1647189"/>
                </a:lnTo>
                <a:lnTo>
                  <a:pt x="3526334" y="1644913"/>
                </a:lnTo>
                <a:close/>
                <a:moveTo>
                  <a:pt x="789394" y="1642078"/>
                </a:moveTo>
                <a:cubicBezTo>
                  <a:pt x="789807" y="1642078"/>
                  <a:pt x="790220" y="1642078"/>
                  <a:pt x="790220" y="1642078"/>
                </a:cubicBezTo>
                <a:cubicBezTo>
                  <a:pt x="791975" y="1643163"/>
                  <a:pt x="791150" y="1645486"/>
                  <a:pt x="791046" y="1647190"/>
                </a:cubicBezTo>
                <a:cubicBezTo>
                  <a:pt x="792802" y="1648119"/>
                  <a:pt x="789291" y="1650287"/>
                  <a:pt x="791046" y="1651217"/>
                </a:cubicBezTo>
                <a:cubicBezTo>
                  <a:pt x="787432" y="1654160"/>
                  <a:pt x="791769" y="1658807"/>
                  <a:pt x="787226" y="1664228"/>
                </a:cubicBezTo>
                <a:cubicBezTo>
                  <a:pt x="786606" y="1662060"/>
                  <a:pt x="786400" y="1660046"/>
                  <a:pt x="786400" y="1658342"/>
                </a:cubicBezTo>
                <a:cubicBezTo>
                  <a:pt x="786296" y="1652921"/>
                  <a:pt x="787949" y="1648894"/>
                  <a:pt x="786709" y="1645021"/>
                </a:cubicBezTo>
                <a:cubicBezTo>
                  <a:pt x="786709" y="1645021"/>
                  <a:pt x="786709" y="1645021"/>
                  <a:pt x="788465" y="1643627"/>
                </a:cubicBezTo>
                <a:cubicBezTo>
                  <a:pt x="788465" y="1642698"/>
                  <a:pt x="788465" y="1642698"/>
                  <a:pt x="788465" y="1642698"/>
                </a:cubicBezTo>
                <a:cubicBezTo>
                  <a:pt x="788465" y="1642388"/>
                  <a:pt x="788981" y="1642078"/>
                  <a:pt x="789394" y="1642078"/>
                </a:cubicBezTo>
                <a:close/>
                <a:moveTo>
                  <a:pt x="3465510" y="1641783"/>
                </a:moveTo>
                <a:cubicBezTo>
                  <a:pt x="3463589" y="1641498"/>
                  <a:pt x="3461455" y="1642210"/>
                  <a:pt x="3459534" y="1644628"/>
                </a:cubicBezTo>
                <a:cubicBezTo>
                  <a:pt x="3459321" y="1647901"/>
                  <a:pt x="3459534" y="1649892"/>
                  <a:pt x="3459961" y="1650888"/>
                </a:cubicBezTo>
                <a:lnTo>
                  <a:pt x="3461028" y="1651457"/>
                </a:lnTo>
                <a:lnTo>
                  <a:pt x="3465936" y="1641783"/>
                </a:lnTo>
                <a:close/>
                <a:moveTo>
                  <a:pt x="1691750" y="1641304"/>
                </a:moveTo>
                <a:cubicBezTo>
                  <a:pt x="1691337" y="1642233"/>
                  <a:pt x="1691337" y="1642233"/>
                  <a:pt x="1692473" y="1642853"/>
                </a:cubicBezTo>
                <a:cubicBezTo>
                  <a:pt x="1692473" y="1642853"/>
                  <a:pt x="1692370" y="1642853"/>
                  <a:pt x="1693196" y="1642543"/>
                </a:cubicBezTo>
                <a:cubicBezTo>
                  <a:pt x="1693505" y="1643317"/>
                  <a:pt x="1692679" y="1643472"/>
                  <a:pt x="1692989" y="1644247"/>
                </a:cubicBezTo>
                <a:cubicBezTo>
                  <a:pt x="1692989" y="1644247"/>
                  <a:pt x="1692266" y="1644556"/>
                  <a:pt x="1692266" y="1644556"/>
                </a:cubicBezTo>
                <a:cubicBezTo>
                  <a:pt x="1692370" y="1644866"/>
                  <a:pt x="1692370" y="1644866"/>
                  <a:pt x="1692060" y="1644866"/>
                </a:cubicBezTo>
                <a:cubicBezTo>
                  <a:pt x="1691853" y="1644711"/>
                  <a:pt x="1691337" y="1644401"/>
                  <a:pt x="1690408" y="1644247"/>
                </a:cubicBezTo>
                <a:cubicBezTo>
                  <a:pt x="1689272" y="1643782"/>
                  <a:pt x="1688446" y="1643937"/>
                  <a:pt x="1688963" y="1643008"/>
                </a:cubicBezTo>
                <a:cubicBezTo>
                  <a:pt x="1689169" y="1642543"/>
                  <a:pt x="1689272" y="1642233"/>
                  <a:pt x="1689685" y="1642078"/>
                </a:cubicBezTo>
                <a:cubicBezTo>
                  <a:pt x="1689995" y="1641768"/>
                  <a:pt x="1690614" y="1641613"/>
                  <a:pt x="1691750" y="1641304"/>
                </a:cubicBezTo>
                <a:close/>
                <a:moveTo>
                  <a:pt x="1227510" y="1641149"/>
                </a:moveTo>
                <a:cubicBezTo>
                  <a:pt x="1224722" y="1646725"/>
                  <a:pt x="1225548" y="1651991"/>
                  <a:pt x="1226065" y="1657258"/>
                </a:cubicBezTo>
                <a:lnTo>
                  <a:pt x="1226065" y="1657567"/>
                </a:lnTo>
                <a:lnTo>
                  <a:pt x="1228027" y="1656483"/>
                </a:lnTo>
                <a:cubicBezTo>
                  <a:pt x="1229059" y="1656638"/>
                  <a:pt x="1230092" y="1657413"/>
                  <a:pt x="1231227" y="1658342"/>
                </a:cubicBezTo>
                <a:cubicBezTo>
                  <a:pt x="1233602" y="1660201"/>
                  <a:pt x="1232363" y="1662679"/>
                  <a:pt x="1233809" y="1664538"/>
                </a:cubicBezTo>
                <a:cubicBezTo>
                  <a:pt x="1232879" y="1664848"/>
                  <a:pt x="1231744" y="1665312"/>
                  <a:pt x="1230298" y="1665467"/>
                </a:cubicBezTo>
                <a:lnTo>
                  <a:pt x="1228233" y="1664693"/>
                </a:lnTo>
                <a:lnTo>
                  <a:pt x="1227923" y="1665932"/>
                </a:lnTo>
                <a:lnTo>
                  <a:pt x="1224722" y="1668255"/>
                </a:lnTo>
                <a:lnTo>
                  <a:pt x="1222554" y="1673212"/>
                </a:lnTo>
                <a:lnTo>
                  <a:pt x="1219663" y="1668410"/>
                </a:lnTo>
                <a:lnTo>
                  <a:pt x="1217907" y="1668255"/>
                </a:lnTo>
                <a:cubicBezTo>
                  <a:pt x="1217598" y="1666552"/>
                  <a:pt x="1217598" y="1665002"/>
                  <a:pt x="1217701" y="1663764"/>
                </a:cubicBezTo>
                <a:lnTo>
                  <a:pt x="1218114" y="1661131"/>
                </a:lnTo>
                <a:lnTo>
                  <a:pt x="1217701" y="1656329"/>
                </a:lnTo>
                <a:cubicBezTo>
                  <a:pt x="1218321" y="1649203"/>
                  <a:pt x="1221521" y="1642233"/>
                  <a:pt x="1227510" y="1641149"/>
                </a:cubicBezTo>
                <a:close/>
                <a:moveTo>
                  <a:pt x="1278622" y="1640684"/>
                </a:moveTo>
                <a:lnTo>
                  <a:pt x="1278312" y="1641459"/>
                </a:lnTo>
                <a:lnTo>
                  <a:pt x="1279138" y="1641459"/>
                </a:lnTo>
                <a:cubicBezTo>
                  <a:pt x="1280584" y="1641459"/>
                  <a:pt x="1281720" y="1642078"/>
                  <a:pt x="1282442" y="1643782"/>
                </a:cubicBezTo>
                <a:cubicBezTo>
                  <a:pt x="1281513" y="1645641"/>
                  <a:pt x="1279758" y="1646570"/>
                  <a:pt x="1278106" y="1646415"/>
                </a:cubicBezTo>
                <a:lnTo>
                  <a:pt x="1277176" y="1645331"/>
                </a:lnTo>
                <a:lnTo>
                  <a:pt x="1276763" y="1646725"/>
                </a:lnTo>
                <a:lnTo>
                  <a:pt x="1274079" y="1649978"/>
                </a:lnTo>
                <a:lnTo>
                  <a:pt x="1279138" y="1650287"/>
                </a:lnTo>
                <a:cubicBezTo>
                  <a:pt x="1282546" y="1652611"/>
                  <a:pt x="1279758" y="1659736"/>
                  <a:pt x="1279551" y="1664073"/>
                </a:cubicBezTo>
                <a:cubicBezTo>
                  <a:pt x="1275834" y="1664848"/>
                  <a:pt x="1274595" y="1664848"/>
                  <a:pt x="1270878" y="1663299"/>
                </a:cubicBezTo>
                <a:cubicBezTo>
                  <a:pt x="1270155" y="1660511"/>
                  <a:pt x="1270258" y="1658187"/>
                  <a:pt x="1270878" y="1656019"/>
                </a:cubicBezTo>
                <a:lnTo>
                  <a:pt x="1272736" y="1651682"/>
                </a:lnTo>
                <a:lnTo>
                  <a:pt x="1272530" y="1651837"/>
                </a:lnTo>
                <a:cubicBezTo>
                  <a:pt x="1269226" y="1654934"/>
                  <a:pt x="1265199" y="1657103"/>
                  <a:pt x="1262307" y="1658032"/>
                </a:cubicBezTo>
                <a:cubicBezTo>
                  <a:pt x="1262617" y="1649358"/>
                  <a:pt x="1272324" y="1640994"/>
                  <a:pt x="1278622" y="1640684"/>
                </a:cubicBezTo>
                <a:close/>
                <a:moveTo>
                  <a:pt x="4824353" y="1640645"/>
                </a:moveTo>
                <a:lnTo>
                  <a:pt x="4826060" y="1642779"/>
                </a:lnTo>
                <a:lnTo>
                  <a:pt x="4826701" y="1642494"/>
                </a:lnTo>
                <a:lnTo>
                  <a:pt x="4825207" y="1640787"/>
                </a:lnTo>
                <a:close/>
                <a:moveTo>
                  <a:pt x="5813127" y="1640360"/>
                </a:moveTo>
                <a:cubicBezTo>
                  <a:pt x="5817609" y="1641213"/>
                  <a:pt x="5821237" y="1645340"/>
                  <a:pt x="5823158" y="1647901"/>
                </a:cubicBezTo>
                <a:lnTo>
                  <a:pt x="5823798" y="1648470"/>
                </a:lnTo>
                <a:lnTo>
                  <a:pt x="5825292" y="1649181"/>
                </a:lnTo>
                <a:lnTo>
                  <a:pt x="5825506" y="1648754"/>
                </a:lnTo>
                <a:lnTo>
                  <a:pt x="5825506" y="1649181"/>
                </a:lnTo>
                <a:lnTo>
                  <a:pt x="5828280" y="1650319"/>
                </a:lnTo>
                <a:lnTo>
                  <a:pt x="5827213" y="1652311"/>
                </a:lnTo>
                <a:lnTo>
                  <a:pt x="5828494" y="1655868"/>
                </a:lnTo>
                <a:cubicBezTo>
                  <a:pt x="5828494" y="1657006"/>
                  <a:pt x="5828066" y="1657859"/>
                  <a:pt x="5826359" y="1658286"/>
                </a:cubicBezTo>
                <a:cubicBezTo>
                  <a:pt x="5824011" y="1659851"/>
                  <a:pt x="5822731" y="1657433"/>
                  <a:pt x="5819530" y="1658428"/>
                </a:cubicBezTo>
                <a:cubicBezTo>
                  <a:pt x="5816755" y="1659566"/>
                  <a:pt x="5816328" y="1662981"/>
                  <a:pt x="5815261" y="1666680"/>
                </a:cubicBezTo>
                <a:lnTo>
                  <a:pt x="5813127" y="1670806"/>
                </a:lnTo>
                <a:lnTo>
                  <a:pt x="5814408" y="1669668"/>
                </a:lnTo>
                <a:cubicBezTo>
                  <a:pt x="5819316" y="1666680"/>
                  <a:pt x="5827213" y="1665400"/>
                  <a:pt x="5831481" y="1671233"/>
                </a:cubicBezTo>
                <a:cubicBezTo>
                  <a:pt x="5827213" y="1675643"/>
                  <a:pt x="5823585" y="1676781"/>
                  <a:pt x="5820383" y="1676496"/>
                </a:cubicBezTo>
                <a:lnTo>
                  <a:pt x="5811206" y="1673082"/>
                </a:lnTo>
                <a:lnTo>
                  <a:pt x="5806511" y="1676639"/>
                </a:lnTo>
                <a:cubicBezTo>
                  <a:pt x="5806084" y="1673366"/>
                  <a:pt x="5798614" y="1674647"/>
                  <a:pt x="5797761" y="1669668"/>
                </a:cubicBezTo>
                <a:cubicBezTo>
                  <a:pt x="5793919" y="1655298"/>
                  <a:pt x="5797761" y="1653307"/>
                  <a:pt x="5805231" y="1647758"/>
                </a:cubicBezTo>
                <a:cubicBezTo>
                  <a:pt x="5804590" y="1648754"/>
                  <a:pt x="5806084" y="1648327"/>
                  <a:pt x="5806084" y="1648327"/>
                </a:cubicBezTo>
                <a:cubicBezTo>
                  <a:pt x="5809499" y="1647474"/>
                  <a:pt x="5804590" y="1642779"/>
                  <a:pt x="5808432" y="1640787"/>
                </a:cubicBezTo>
                <a:cubicBezTo>
                  <a:pt x="5810139" y="1640218"/>
                  <a:pt x="5811633" y="1640076"/>
                  <a:pt x="5813127" y="1640360"/>
                </a:cubicBezTo>
                <a:close/>
                <a:moveTo>
                  <a:pt x="1198702" y="1640219"/>
                </a:moveTo>
                <a:cubicBezTo>
                  <a:pt x="1200044" y="1639755"/>
                  <a:pt x="1201076" y="1639909"/>
                  <a:pt x="1201799" y="1640374"/>
                </a:cubicBezTo>
                <a:cubicBezTo>
                  <a:pt x="1202419" y="1640994"/>
                  <a:pt x="1202935" y="1641923"/>
                  <a:pt x="1203245" y="1643163"/>
                </a:cubicBezTo>
                <a:cubicBezTo>
                  <a:pt x="1203865" y="1645486"/>
                  <a:pt x="1202316" y="1646415"/>
                  <a:pt x="1202316" y="1646415"/>
                </a:cubicBezTo>
                <a:cubicBezTo>
                  <a:pt x="1199425" y="1647344"/>
                  <a:pt x="1196740" y="1646570"/>
                  <a:pt x="1195294" y="1643782"/>
                </a:cubicBezTo>
                <a:cubicBezTo>
                  <a:pt x="1195397" y="1641923"/>
                  <a:pt x="1197050" y="1641149"/>
                  <a:pt x="1198702" y="1640219"/>
                </a:cubicBezTo>
                <a:close/>
                <a:moveTo>
                  <a:pt x="5558944" y="1640218"/>
                </a:moveTo>
                <a:cubicBezTo>
                  <a:pt x="5565133" y="1646335"/>
                  <a:pt x="5554676" y="1659140"/>
                  <a:pt x="5553182" y="1662697"/>
                </a:cubicBezTo>
                <a:cubicBezTo>
                  <a:pt x="5553182" y="1662697"/>
                  <a:pt x="5552969" y="1663835"/>
                  <a:pt x="5551688" y="1664973"/>
                </a:cubicBezTo>
                <a:cubicBezTo>
                  <a:pt x="5550407" y="1667392"/>
                  <a:pt x="5549554" y="1663835"/>
                  <a:pt x="5548273" y="1664973"/>
                </a:cubicBezTo>
                <a:cubicBezTo>
                  <a:pt x="5551688" y="1655583"/>
                  <a:pt x="5550194" y="1647189"/>
                  <a:pt x="5550194" y="1647189"/>
                </a:cubicBezTo>
                <a:cubicBezTo>
                  <a:pt x="5551474" y="1644770"/>
                  <a:pt x="5552541" y="1644913"/>
                  <a:pt x="5551474" y="1644913"/>
                </a:cubicBezTo>
                <a:cubicBezTo>
                  <a:pt x="5554036" y="1642494"/>
                  <a:pt x="5556597" y="1639080"/>
                  <a:pt x="5558944" y="1640218"/>
                </a:cubicBezTo>
                <a:close/>
                <a:moveTo>
                  <a:pt x="1031220" y="1640065"/>
                </a:moveTo>
                <a:lnTo>
                  <a:pt x="1032562" y="1641768"/>
                </a:lnTo>
                <a:lnTo>
                  <a:pt x="1033285" y="1641613"/>
                </a:lnTo>
                <a:lnTo>
                  <a:pt x="1036073" y="1641768"/>
                </a:lnTo>
                <a:lnTo>
                  <a:pt x="1036280" y="1641459"/>
                </a:lnTo>
                <a:cubicBezTo>
                  <a:pt x="1036280" y="1641459"/>
                  <a:pt x="1040823" y="1638051"/>
                  <a:pt x="1044953" y="1641149"/>
                </a:cubicBezTo>
                <a:cubicBezTo>
                  <a:pt x="1044024" y="1642078"/>
                  <a:pt x="1049084" y="1646880"/>
                  <a:pt x="1047122" y="1650287"/>
                </a:cubicBezTo>
                <a:cubicBezTo>
                  <a:pt x="1046192" y="1652146"/>
                  <a:pt x="1045366" y="1652921"/>
                  <a:pt x="1044333" y="1654625"/>
                </a:cubicBezTo>
                <a:lnTo>
                  <a:pt x="1041959" y="1655244"/>
                </a:lnTo>
                <a:lnTo>
                  <a:pt x="1040100" y="1660046"/>
                </a:lnTo>
                <a:cubicBezTo>
                  <a:pt x="1039274" y="1660976"/>
                  <a:pt x="1035970" y="1663144"/>
                  <a:pt x="1035040" y="1662369"/>
                </a:cubicBezTo>
                <a:cubicBezTo>
                  <a:pt x="1034111" y="1661750"/>
                  <a:pt x="1034008" y="1660976"/>
                  <a:pt x="1034008" y="1660046"/>
                </a:cubicBezTo>
                <a:lnTo>
                  <a:pt x="1036176" y="1655244"/>
                </a:lnTo>
                <a:lnTo>
                  <a:pt x="1034008" y="1654315"/>
                </a:lnTo>
                <a:cubicBezTo>
                  <a:pt x="1032769" y="1653231"/>
                  <a:pt x="1032046" y="1652301"/>
                  <a:pt x="1031840" y="1651217"/>
                </a:cubicBezTo>
                <a:lnTo>
                  <a:pt x="1031840" y="1649978"/>
                </a:lnTo>
                <a:lnTo>
                  <a:pt x="1030807" y="1650287"/>
                </a:lnTo>
                <a:lnTo>
                  <a:pt x="1029465" y="1647654"/>
                </a:lnTo>
                <a:lnTo>
                  <a:pt x="1027916" y="1646725"/>
                </a:lnTo>
                <a:cubicBezTo>
                  <a:pt x="1027606" y="1645331"/>
                  <a:pt x="1027296" y="1644556"/>
                  <a:pt x="1027503" y="1643937"/>
                </a:cubicBezTo>
                <a:cubicBezTo>
                  <a:pt x="1027710" y="1643317"/>
                  <a:pt x="1028329" y="1643008"/>
                  <a:pt x="1029671" y="1642543"/>
                </a:cubicBezTo>
                <a:lnTo>
                  <a:pt x="1030084" y="1642543"/>
                </a:lnTo>
                <a:lnTo>
                  <a:pt x="1029465" y="1640994"/>
                </a:lnTo>
                <a:cubicBezTo>
                  <a:pt x="1030291" y="1640994"/>
                  <a:pt x="1031220" y="1640994"/>
                  <a:pt x="1031220" y="1640065"/>
                </a:cubicBezTo>
                <a:close/>
                <a:moveTo>
                  <a:pt x="1236803" y="1639290"/>
                </a:moveTo>
                <a:cubicBezTo>
                  <a:pt x="1238145" y="1641149"/>
                  <a:pt x="1238662" y="1642853"/>
                  <a:pt x="1239901" y="1644711"/>
                </a:cubicBezTo>
                <a:cubicBezTo>
                  <a:pt x="1237526" y="1647654"/>
                  <a:pt x="1235255" y="1645796"/>
                  <a:pt x="1233086" y="1643782"/>
                </a:cubicBezTo>
                <a:cubicBezTo>
                  <a:pt x="1234325" y="1642233"/>
                  <a:pt x="1233912" y="1640529"/>
                  <a:pt x="1236803" y="1639290"/>
                </a:cubicBezTo>
                <a:close/>
                <a:moveTo>
                  <a:pt x="4804719" y="1638938"/>
                </a:moveTo>
                <a:cubicBezTo>
                  <a:pt x="4807706" y="1637941"/>
                  <a:pt x="4809414" y="1640218"/>
                  <a:pt x="4809414" y="1640218"/>
                </a:cubicBezTo>
                <a:cubicBezTo>
                  <a:pt x="4811548" y="1644060"/>
                  <a:pt x="4811121" y="1647901"/>
                  <a:pt x="4807493" y="1649892"/>
                </a:cubicBezTo>
                <a:cubicBezTo>
                  <a:pt x="4804932" y="1649750"/>
                  <a:pt x="4803438" y="1647616"/>
                  <a:pt x="4801731" y="1645340"/>
                </a:cubicBezTo>
                <a:cubicBezTo>
                  <a:pt x="4800664" y="1643348"/>
                  <a:pt x="4800664" y="1641925"/>
                  <a:pt x="4801304" y="1640930"/>
                </a:cubicBezTo>
                <a:cubicBezTo>
                  <a:pt x="4801944" y="1639933"/>
                  <a:pt x="4803225" y="1639365"/>
                  <a:pt x="4804719" y="1638938"/>
                </a:cubicBezTo>
                <a:close/>
                <a:moveTo>
                  <a:pt x="5153233" y="1638795"/>
                </a:moveTo>
                <a:cubicBezTo>
                  <a:pt x="5153233" y="1640076"/>
                  <a:pt x="5153447" y="1642352"/>
                  <a:pt x="5155794" y="1643775"/>
                </a:cubicBezTo>
                <a:cubicBezTo>
                  <a:pt x="5153447" y="1646051"/>
                  <a:pt x="5151312" y="1648185"/>
                  <a:pt x="5148965" y="1645767"/>
                </a:cubicBezTo>
                <a:cubicBezTo>
                  <a:pt x="5147684" y="1644486"/>
                  <a:pt x="5146404" y="1643205"/>
                  <a:pt x="5146404" y="1640930"/>
                </a:cubicBezTo>
                <a:cubicBezTo>
                  <a:pt x="5148538" y="1638511"/>
                  <a:pt x="5152166" y="1639933"/>
                  <a:pt x="5153233" y="1638795"/>
                </a:cubicBezTo>
                <a:close/>
                <a:moveTo>
                  <a:pt x="5005760" y="1638226"/>
                </a:moveTo>
                <a:cubicBezTo>
                  <a:pt x="5010455" y="1643348"/>
                  <a:pt x="5010669" y="1648043"/>
                  <a:pt x="5008748" y="1654018"/>
                </a:cubicBezTo>
                <a:cubicBezTo>
                  <a:pt x="5006400" y="1653876"/>
                  <a:pt x="5002986" y="1650177"/>
                  <a:pt x="5000638" y="1647616"/>
                </a:cubicBezTo>
                <a:cubicBezTo>
                  <a:pt x="5000425" y="1644060"/>
                  <a:pt x="5002559" y="1640503"/>
                  <a:pt x="5005760" y="1638226"/>
                </a:cubicBezTo>
                <a:close/>
                <a:moveTo>
                  <a:pt x="3833019" y="1638084"/>
                </a:moveTo>
                <a:cubicBezTo>
                  <a:pt x="3834513" y="1637657"/>
                  <a:pt x="3836007" y="1637799"/>
                  <a:pt x="3837500" y="1638368"/>
                </a:cubicBezTo>
                <a:cubicBezTo>
                  <a:pt x="3838781" y="1638368"/>
                  <a:pt x="3839848" y="1639222"/>
                  <a:pt x="3840488" y="1640360"/>
                </a:cubicBezTo>
                <a:cubicBezTo>
                  <a:pt x="3840915" y="1641498"/>
                  <a:pt x="3841128" y="1642921"/>
                  <a:pt x="3841128" y="1644202"/>
                </a:cubicBezTo>
                <a:lnTo>
                  <a:pt x="3840915" y="1644486"/>
                </a:lnTo>
                <a:lnTo>
                  <a:pt x="3852866" y="1650746"/>
                </a:lnTo>
                <a:cubicBezTo>
                  <a:pt x="3860336" y="1655441"/>
                  <a:pt x="3867593" y="1661274"/>
                  <a:pt x="3873141" y="1668387"/>
                </a:cubicBezTo>
                <a:lnTo>
                  <a:pt x="3879117" y="1677635"/>
                </a:lnTo>
                <a:lnTo>
                  <a:pt x="3894697" y="1674220"/>
                </a:lnTo>
                <a:cubicBezTo>
                  <a:pt x="3900459" y="1674078"/>
                  <a:pt x="3906648" y="1675216"/>
                  <a:pt x="3913691" y="1678346"/>
                </a:cubicBezTo>
                <a:cubicBezTo>
                  <a:pt x="3916679" y="1686029"/>
                  <a:pt x="3912411" y="1690439"/>
                  <a:pt x="3906008" y="1691861"/>
                </a:cubicBezTo>
                <a:cubicBezTo>
                  <a:pt x="3900459" y="1693142"/>
                  <a:pt x="3893630" y="1692431"/>
                  <a:pt x="3888295" y="1689869"/>
                </a:cubicBezTo>
                <a:lnTo>
                  <a:pt x="3882105" y="1685460"/>
                </a:lnTo>
                <a:lnTo>
                  <a:pt x="3884239" y="1692573"/>
                </a:lnTo>
                <a:cubicBezTo>
                  <a:pt x="3884880" y="1697553"/>
                  <a:pt x="3884666" y="1701678"/>
                  <a:pt x="3883812" y="1705377"/>
                </a:cubicBezTo>
                <a:lnTo>
                  <a:pt x="3882105" y="1709361"/>
                </a:lnTo>
                <a:lnTo>
                  <a:pt x="3882319" y="1712491"/>
                </a:lnTo>
                <a:lnTo>
                  <a:pt x="3882532" y="1714056"/>
                </a:lnTo>
                <a:lnTo>
                  <a:pt x="3883812" y="1711495"/>
                </a:lnTo>
                <a:cubicBezTo>
                  <a:pt x="3884666" y="1709930"/>
                  <a:pt x="3884666" y="1709930"/>
                  <a:pt x="3883172" y="1709076"/>
                </a:cubicBezTo>
                <a:cubicBezTo>
                  <a:pt x="3884026" y="1707511"/>
                  <a:pt x="3884026" y="1707511"/>
                  <a:pt x="3886160" y="1706800"/>
                </a:cubicBezTo>
                <a:cubicBezTo>
                  <a:pt x="3885733" y="1707938"/>
                  <a:pt x="3884453" y="1712064"/>
                  <a:pt x="3883172" y="1713913"/>
                </a:cubicBezTo>
                <a:lnTo>
                  <a:pt x="3882532" y="1714340"/>
                </a:lnTo>
                <a:lnTo>
                  <a:pt x="3882532" y="1715763"/>
                </a:lnTo>
                <a:cubicBezTo>
                  <a:pt x="3884026" y="1716474"/>
                  <a:pt x="3883812" y="1716332"/>
                  <a:pt x="3882745" y="1716758"/>
                </a:cubicBezTo>
                <a:lnTo>
                  <a:pt x="3882532" y="1717897"/>
                </a:lnTo>
                <a:lnTo>
                  <a:pt x="3882532" y="1721169"/>
                </a:lnTo>
                <a:cubicBezTo>
                  <a:pt x="3882319" y="1724157"/>
                  <a:pt x="3882105" y="1726860"/>
                  <a:pt x="3881465" y="1728282"/>
                </a:cubicBezTo>
                <a:lnTo>
                  <a:pt x="3881038" y="1720600"/>
                </a:lnTo>
                <a:lnTo>
                  <a:pt x="3880184" y="1724583"/>
                </a:lnTo>
                <a:cubicBezTo>
                  <a:pt x="3880184" y="1726433"/>
                  <a:pt x="3880398" y="1728140"/>
                  <a:pt x="3881038" y="1728567"/>
                </a:cubicBezTo>
                <a:cubicBezTo>
                  <a:pt x="3879971" y="1728994"/>
                  <a:pt x="3879117" y="1730416"/>
                  <a:pt x="3879117" y="1730416"/>
                </a:cubicBezTo>
                <a:cubicBezTo>
                  <a:pt x="3877624" y="1729705"/>
                  <a:pt x="3877410" y="1728709"/>
                  <a:pt x="3876983" y="1727571"/>
                </a:cubicBezTo>
                <a:cubicBezTo>
                  <a:pt x="3877837" y="1726006"/>
                  <a:pt x="3878904" y="1725579"/>
                  <a:pt x="3879757" y="1724014"/>
                </a:cubicBezTo>
                <a:cubicBezTo>
                  <a:pt x="3879544" y="1723019"/>
                  <a:pt x="3878904" y="1720742"/>
                  <a:pt x="3879757" y="1719177"/>
                </a:cubicBezTo>
                <a:lnTo>
                  <a:pt x="3881038" y="1717470"/>
                </a:lnTo>
                <a:lnTo>
                  <a:pt x="3881892" y="1709645"/>
                </a:lnTo>
                <a:lnTo>
                  <a:pt x="3879544" y="1715621"/>
                </a:lnTo>
                <a:cubicBezTo>
                  <a:pt x="3875703" y="1722022"/>
                  <a:pt x="3870794" y="1728140"/>
                  <a:pt x="3867379" y="1736392"/>
                </a:cubicBezTo>
                <a:cubicBezTo>
                  <a:pt x="3852866" y="1732551"/>
                  <a:pt x="3849025" y="1740375"/>
                  <a:pt x="3842195" y="1744359"/>
                </a:cubicBezTo>
                <a:cubicBezTo>
                  <a:pt x="3833659" y="1737103"/>
                  <a:pt x="3819786" y="1735823"/>
                  <a:pt x="3808475" y="1730701"/>
                </a:cubicBezTo>
                <a:lnTo>
                  <a:pt x="3801006" y="1715621"/>
                </a:lnTo>
                <a:lnTo>
                  <a:pt x="3799725" y="1715478"/>
                </a:lnTo>
                <a:lnTo>
                  <a:pt x="3799939" y="1713202"/>
                </a:lnTo>
                <a:lnTo>
                  <a:pt x="3798658" y="1711068"/>
                </a:lnTo>
                <a:lnTo>
                  <a:pt x="3797804" y="1709076"/>
                </a:lnTo>
                <a:lnTo>
                  <a:pt x="3795884" y="1712064"/>
                </a:lnTo>
                <a:cubicBezTo>
                  <a:pt x="3794816" y="1713059"/>
                  <a:pt x="3792042" y="1713913"/>
                  <a:pt x="3789268" y="1714056"/>
                </a:cubicBezTo>
                <a:cubicBezTo>
                  <a:pt x="3786493" y="1714340"/>
                  <a:pt x="3783718" y="1714056"/>
                  <a:pt x="3781798" y="1712633"/>
                </a:cubicBezTo>
                <a:cubicBezTo>
                  <a:pt x="3783078" y="1710499"/>
                  <a:pt x="3784359" y="1708364"/>
                  <a:pt x="3785640" y="1706231"/>
                </a:cubicBezTo>
                <a:cubicBezTo>
                  <a:pt x="3785426" y="1707369"/>
                  <a:pt x="3796097" y="1706231"/>
                  <a:pt x="3796097" y="1706231"/>
                </a:cubicBezTo>
                <a:lnTo>
                  <a:pt x="3797377" y="1708364"/>
                </a:lnTo>
                <a:lnTo>
                  <a:pt x="3793536" y="1700398"/>
                </a:lnTo>
                <a:lnTo>
                  <a:pt x="3792469" y="1701394"/>
                </a:lnTo>
                <a:cubicBezTo>
                  <a:pt x="3789054" y="1703101"/>
                  <a:pt x="3785640" y="1701252"/>
                  <a:pt x="3781798" y="1696556"/>
                </a:cubicBezTo>
                <a:cubicBezTo>
                  <a:pt x="3782865" y="1694138"/>
                  <a:pt x="3782865" y="1691861"/>
                  <a:pt x="3783718" y="1688305"/>
                </a:cubicBezTo>
                <a:lnTo>
                  <a:pt x="3789268" y="1690581"/>
                </a:lnTo>
                <a:lnTo>
                  <a:pt x="3793749" y="1680195"/>
                </a:lnTo>
                <a:cubicBezTo>
                  <a:pt x="3797164" y="1667676"/>
                  <a:pt x="3797804" y="1652169"/>
                  <a:pt x="3809756" y="1647047"/>
                </a:cubicBezTo>
                <a:lnTo>
                  <a:pt x="3813811" y="1647616"/>
                </a:lnTo>
                <a:lnTo>
                  <a:pt x="3814238" y="1647189"/>
                </a:lnTo>
                <a:cubicBezTo>
                  <a:pt x="3815305" y="1646335"/>
                  <a:pt x="3816585" y="1645767"/>
                  <a:pt x="3817866" y="1646051"/>
                </a:cubicBezTo>
                <a:lnTo>
                  <a:pt x="3820214" y="1647474"/>
                </a:lnTo>
                <a:lnTo>
                  <a:pt x="3826616" y="1646051"/>
                </a:lnTo>
                <a:lnTo>
                  <a:pt x="3828110" y="1646335"/>
                </a:lnTo>
                <a:lnTo>
                  <a:pt x="3830244" y="1645624"/>
                </a:lnTo>
                <a:lnTo>
                  <a:pt x="3829817" y="1640930"/>
                </a:lnTo>
                <a:cubicBezTo>
                  <a:pt x="3830457" y="1639365"/>
                  <a:pt x="3831524" y="1638368"/>
                  <a:pt x="3833019" y="1638084"/>
                </a:cubicBezTo>
                <a:close/>
                <a:moveTo>
                  <a:pt x="1422045" y="1638051"/>
                </a:moveTo>
                <a:lnTo>
                  <a:pt x="1422770" y="1638512"/>
                </a:lnTo>
                <a:lnTo>
                  <a:pt x="1422768" y="1638515"/>
                </a:lnTo>
                <a:cubicBezTo>
                  <a:pt x="1422768" y="1638515"/>
                  <a:pt x="1422768" y="1638515"/>
                  <a:pt x="1422045" y="1638051"/>
                </a:cubicBezTo>
                <a:close/>
                <a:moveTo>
                  <a:pt x="3771340" y="1637941"/>
                </a:moveTo>
                <a:lnTo>
                  <a:pt x="3772621" y="1638368"/>
                </a:lnTo>
                <a:lnTo>
                  <a:pt x="3772834" y="1638226"/>
                </a:lnTo>
                <a:cubicBezTo>
                  <a:pt x="3773047" y="1638795"/>
                  <a:pt x="3773261" y="1638938"/>
                  <a:pt x="3773688" y="1638795"/>
                </a:cubicBezTo>
                <a:lnTo>
                  <a:pt x="3773901" y="1637941"/>
                </a:lnTo>
                <a:close/>
                <a:moveTo>
                  <a:pt x="6161429" y="1637231"/>
                </a:moveTo>
                <a:cubicBezTo>
                  <a:pt x="6162922" y="1638084"/>
                  <a:pt x="6165483" y="1638511"/>
                  <a:pt x="6166977" y="1640360"/>
                </a:cubicBezTo>
                <a:cubicBezTo>
                  <a:pt x="6166977" y="1646478"/>
                  <a:pt x="6163989" y="1649750"/>
                  <a:pt x="6159294" y="1651172"/>
                </a:cubicBezTo>
                <a:cubicBezTo>
                  <a:pt x="6153745" y="1648043"/>
                  <a:pt x="6155666" y="1638938"/>
                  <a:pt x="6161429" y="1637231"/>
                </a:cubicBezTo>
                <a:close/>
                <a:moveTo>
                  <a:pt x="4962650" y="1636661"/>
                </a:moveTo>
                <a:cubicBezTo>
                  <a:pt x="4959875" y="1656437"/>
                  <a:pt x="4938960" y="1666965"/>
                  <a:pt x="4923594" y="1679769"/>
                </a:cubicBezTo>
                <a:lnTo>
                  <a:pt x="4922526" y="1678346"/>
                </a:lnTo>
                <a:lnTo>
                  <a:pt x="4922954" y="1681618"/>
                </a:lnTo>
                <a:cubicBezTo>
                  <a:pt x="4922740" y="1683468"/>
                  <a:pt x="4922526" y="1685317"/>
                  <a:pt x="4921673" y="1686597"/>
                </a:cubicBezTo>
                <a:cubicBezTo>
                  <a:pt x="4921246" y="1687594"/>
                  <a:pt x="4920392" y="1688163"/>
                  <a:pt x="4919539" y="1688732"/>
                </a:cubicBezTo>
                <a:cubicBezTo>
                  <a:pt x="4917191" y="1690154"/>
                  <a:pt x="4915911" y="1688020"/>
                  <a:pt x="4915483" y="1684748"/>
                </a:cubicBezTo>
                <a:cubicBezTo>
                  <a:pt x="4912709" y="1678488"/>
                  <a:pt x="4913776" y="1674789"/>
                  <a:pt x="4918471" y="1673509"/>
                </a:cubicBezTo>
                <a:lnTo>
                  <a:pt x="4919966" y="1674647"/>
                </a:lnTo>
                <a:lnTo>
                  <a:pt x="4916337" y="1668102"/>
                </a:lnTo>
                <a:lnTo>
                  <a:pt x="4921886" y="1664261"/>
                </a:lnTo>
                <a:lnTo>
                  <a:pt x="4921032" y="1663265"/>
                </a:lnTo>
                <a:cubicBezTo>
                  <a:pt x="4921673" y="1662270"/>
                  <a:pt x="4921459" y="1660563"/>
                  <a:pt x="4922099" y="1659566"/>
                </a:cubicBezTo>
                <a:cubicBezTo>
                  <a:pt x="4923167" y="1660278"/>
                  <a:pt x="4925514" y="1660420"/>
                  <a:pt x="4924874" y="1661558"/>
                </a:cubicBezTo>
                <a:lnTo>
                  <a:pt x="4925087" y="1662127"/>
                </a:lnTo>
                <a:lnTo>
                  <a:pt x="4938960" y="1652596"/>
                </a:lnTo>
                <a:lnTo>
                  <a:pt x="4938533" y="1652026"/>
                </a:lnTo>
                <a:cubicBezTo>
                  <a:pt x="4938106" y="1647332"/>
                  <a:pt x="4941094" y="1640218"/>
                  <a:pt x="4947070" y="1643063"/>
                </a:cubicBezTo>
                <a:cubicBezTo>
                  <a:pt x="4948137" y="1643348"/>
                  <a:pt x="4948564" y="1644486"/>
                  <a:pt x="4948777" y="1645908"/>
                </a:cubicBezTo>
                <a:close/>
                <a:moveTo>
                  <a:pt x="4851671" y="1636661"/>
                </a:moveTo>
                <a:cubicBezTo>
                  <a:pt x="4858928" y="1636092"/>
                  <a:pt x="4867037" y="1647332"/>
                  <a:pt x="4858714" y="1653307"/>
                </a:cubicBezTo>
                <a:cubicBezTo>
                  <a:pt x="4854019" y="1653164"/>
                  <a:pt x="4846762" y="1645624"/>
                  <a:pt x="4845482" y="1641925"/>
                </a:cubicBezTo>
                <a:cubicBezTo>
                  <a:pt x="4847189" y="1638368"/>
                  <a:pt x="4849323" y="1636946"/>
                  <a:pt x="4851671" y="1636661"/>
                </a:cubicBezTo>
                <a:close/>
                <a:moveTo>
                  <a:pt x="5037133" y="1636234"/>
                </a:moveTo>
                <a:cubicBezTo>
                  <a:pt x="5038627" y="1636092"/>
                  <a:pt x="5040121" y="1636234"/>
                  <a:pt x="5041615" y="1636519"/>
                </a:cubicBezTo>
                <a:lnTo>
                  <a:pt x="5046310" y="1639080"/>
                </a:lnTo>
                <a:lnTo>
                  <a:pt x="5046737" y="1638938"/>
                </a:lnTo>
                <a:cubicBezTo>
                  <a:pt x="5050792" y="1638226"/>
                  <a:pt x="5055060" y="1639933"/>
                  <a:pt x="5056341" y="1643775"/>
                </a:cubicBezTo>
                <a:lnTo>
                  <a:pt x="5055274" y="1649750"/>
                </a:lnTo>
                <a:lnTo>
                  <a:pt x="5055701" y="1661985"/>
                </a:lnTo>
                <a:cubicBezTo>
                  <a:pt x="5054420" y="1666680"/>
                  <a:pt x="5051218" y="1671517"/>
                  <a:pt x="5046096" y="1675928"/>
                </a:cubicBezTo>
                <a:cubicBezTo>
                  <a:pt x="5030517" y="1672086"/>
                  <a:pt x="5020059" y="1658144"/>
                  <a:pt x="5025181" y="1645197"/>
                </a:cubicBezTo>
                <a:cubicBezTo>
                  <a:pt x="5028383" y="1639365"/>
                  <a:pt x="5032651" y="1636661"/>
                  <a:pt x="5037133" y="1636234"/>
                </a:cubicBezTo>
                <a:close/>
                <a:moveTo>
                  <a:pt x="5742058" y="1635950"/>
                </a:moveTo>
                <a:cubicBezTo>
                  <a:pt x="5742485" y="1638511"/>
                  <a:pt x="5743979" y="1640360"/>
                  <a:pt x="5744406" y="1642921"/>
                </a:cubicBezTo>
                <a:cubicBezTo>
                  <a:pt x="5740991" y="1646051"/>
                  <a:pt x="5741205" y="1652026"/>
                  <a:pt x="5734162" y="1650888"/>
                </a:cubicBezTo>
                <a:cubicBezTo>
                  <a:pt x="5729680" y="1645482"/>
                  <a:pt x="5733948" y="1635523"/>
                  <a:pt x="5742058" y="1635950"/>
                </a:cubicBezTo>
                <a:close/>
                <a:moveTo>
                  <a:pt x="3998205" y="1635950"/>
                </a:moveTo>
                <a:cubicBezTo>
                  <a:pt x="3999700" y="1636376"/>
                  <a:pt x="4001193" y="1636803"/>
                  <a:pt x="4002901" y="1636376"/>
                </a:cubicBezTo>
                <a:cubicBezTo>
                  <a:pt x="4002901" y="1639080"/>
                  <a:pt x="4003541" y="1643490"/>
                  <a:pt x="3998419" y="1645908"/>
                </a:cubicBezTo>
                <a:cubicBezTo>
                  <a:pt x="3996712" y="1646335"/>
                  <a:pt x="3996712" y="1646478"/>
                  <a:pt x="3995645" y="1645908"/>
                </a:cubicBezTo>
                <a:cubicBezTo>
                  <a:pt x="3993084" y="1645767"/>
                  <a:pt x="3991589" y="1646193"/>
                  <a:pt x="3989882" y="1643917"/>
                </a:cubicBezTo>
                <a:cubicBezTo>
                  <a:pt x="3988815" y="1641925"/>
                  <a:pt x="3988815" y="1640503"/>
                  <a:pt x="3989455" y="1639507"/>
                </a:cubicBezTo>
                <a:cubicBezTo>
                  <a:pt x="3990309" y="1638368"/>
                  <a:pt x="3991589" y="1637373"/>
                  <a:pt x="3993297" y="1636376"/>
                </a:cubicBezTo>
                <a:cubicBezTo>
                  <a:pt x="3995217" y="1635381"/>
                  <a:pt x="3996712" y="1635666"/>
                  <a:pt x="3998205" y="1635950"/>
                </a:cubicBezTo>
                <a:close/>
                <a:moveTo>
                  <a:pt x="6103378" y="1635523"/>
                </a:moveTo>
                <a:cubicBezTo>
                  <a:pt x="6106366" y="1636661"/>
                  <a:pt x="6108073" y="1634527"/>
                  <a:pt x="6111061" y="1635666"/>
                </a:cubicBezTo>
                <a:cubicBezTo>
                  <a:pt x="6107006" y="1645197"/>
                  <a:pt x="6103591" y="1655868"/>
                  <a:pt x="6095908" y="1655868"/>
                </a:cubicBezTo>
                <a:cubicBezTo>
                  <a:pt x="6092493" y="1650034"/>
                  <a:pt x="6098896" y="1640360"/>
                  <a:pt x="6103378" y="1635523"/>
                </a:cubicBezTo>
                <a:close/>
                <a:moveTo>
                  <a:pt x="1424523" y="1635417"/>
                </a:moveTo>
                <a:cubicBezTo>
                  <a:pt x="1426898" y="1634488"/>
                  <a:pt x="1430099" y="1634023"/>
                  <a:pt x="1431235" y="1635573"/>
                </a:cubicBezTo>
                <a:cubicBezTo>
                  <a:pt x="1431958" y="1637896"/>
                  <a:pt x="1430305" y="1638980"/>
                  <a:pt x="1429066" y="1639445"/>
                </a:cubicBezTo>
                <a:cubicBezTo>
                  <a:pt x="1428034" y="1640374"/>
                  <a:pt x="1426692" y="1640529"/>
                  <a:pt x="1425452" y="1640219"/>
                </a:cubicBezTo>
                <a:lnTo>
                  <a:pt x="1422770" y="1638512"/>
                </a:lnTo>
                <a:lnTo>
                  <a:pt x="1423697" y="1636966"/>
                </a:lnTo>
                <a:cubicBezTo>
                  <a:pt x="1423697" y="1636966"/>
                  <a:pt x="1423284" y="1637741"/>
                  <a:pt x="1422974" y="1636502"/>
                </a:cubicBezTo>
                <a:cubicBezTo>
                  <a:pt x="1423697" y="1636966"/>
                  <a:pt x="1424110" y="1636192"/>
                  <a:pt x="1424523" y="1635417"/>
                </a:cubicBezTo>
                <a:close/>
                <a:moveTo>
                  <a:pt x="4817097" y="1635239"/>
                </a:moveTo>
                <a:lnTo>
                  <a:pt x="4822006" y="1638226"/>
                </a:lnTo>
                <a:lnTo>
                  <a:pt x="4822006" y="1636661"/>
                </a:lnTo>
                <a:cubicBezTo>
                  <a:pt x="4822646" y="1637231"/>
                  <a:pt x="4824140" y="1638795"/>
                  <a:pt x="4825634" y="1640218"/>
                </a:cubicBezTo>
                <a:lnTo>
                  <a:pt x="4827341" y="1642068"/>
                </a:lnTo>
                <a:lnTo>
                  <a:pt x="4828195" y="1641783"/>
                </a:lnTo>
                <a:cubicBezTo>
                  <a:pt x="4829903" y="1641498"/>
                  <a:pt x="4831610" y="1642352"/>
                  <a:pt x="4832036" y="1643775"/>
                </a:cubicBezTo>
                <a:lnTo>
                  <a:pt x="4831610" y="1645908"/>
                </a:lnTo>
                <a:lnTo>
                  <a:pt x="4832036" y="1646620"/>
                </a:lnTo>
                <a:cubicBezTo>
                  <a:pt x="4833103" y="1647901"/>
                  <a:pt x="4838652" y="1651315"/>
                  <a:pt x="4839719" y="1650319"/>
                </a:cubicBezTo>
                <a:cubicBezTo>
                  <a:pt x="4839719" y="1651457"/>
                  <a:pt x="4840787" y="1652738"/>
                  <a:pt x="4840787" y="1652738"/>
                </a:cubicBezTo>
                <a:cubicBezTo>
                  <a:pt x="4839506" y="1653734"/>
                  <a:pt x="4838439" y="1653591"/>
                  <a:pt x="4837372" y="1653449"/>
                </a:cubicBezTo>
                <a:cubicBezTo>
                  <a:pt x="4836305" y="1652026"/>
                  <a:pt x="4836305" y="1650888"/>
                  <a:pt x="4835238" y="1649466"/>
                </a:cubicBezTo>
                <a:cubicBezTo>
                  <a:pt x="4834171" y="1649323"/>
                  <a:pt x="4831823" y="1648897"/>
                  <a:pt x="4830756" y="1647474"/>
                </a:cubicBezTo>
                <a:lnTo>
                  <a:pt x="4830543" y="1647332"/>
                </a:lnTo>
                <a:lnTo>
                  <a:pt x="4827981" y="1646620"/>
                </a:lnTo>
                <a:lnTo>
                  <a:pt x="4828408" y="1647616"/>
                </a:lnTo>
                <a:cubicBezTo>
                  <a:pt x="4826488" y="1652453"/>
                  <a:pt x="4823286" y="1651457"/>
                  <a:pt x="4818164" y="1651457"/>
                </a:cubicBezTo>
                <a:cubicBezTo>
                  <a:pt x="4818804" y="1649750"/>
                  <a:pt x="4814322" y="1648185"/>
                  <a:pt x="4812829" y="1647616"/>
                </a:cubicBezTo>
                <a:cubicBezTo>
                  <a:pt x="4814109" y="1644344"/>
                  <a:pt x="4809201" y="1641641"/>
                  <a:pt x="4811121" y="1636803"/>
                </a:cubicBezTo>
                <a:cubicBezTo>
                  <a:pt x="4813256" y="1635666"/>
                  <a:pt x="4814322" y="1635239"/>
                  <a:pt x="4817097" y="1635239"/>
                </a:cubicBezTo>
                <a:close/>
                <a:moveTo>
                  <a:pt x="1953092" y="1635108"/>
                </a:moveTo>
                <a:lnTo>
                  <a:pt x="1958339" y="1639964"/>
                </a:lnTo>
                <a:lnTo>
                  <a:pt x="1958339" y="1636773"/>
                </a:lnTo>
                <a:close/>
                <a:moveTo>
                  <a:pt x="5069573" y="1634954"/>
                </a:moveTo>
                <a:cubicBezTo>
                  <a:pt x="5071920" y="1636234"/>
                  <a:pt x="5074481" y="1637515"/>
                  <a:pt x="5076829" y="1638795"/>
                </a:cubicBezTo>
                <a:cubicBezTo>
                  <a:pt x="5080457" y="1642636"/>
                  <a:pt x="5084085" y="1646335"/>
                  <a:pt x="5081738" y="1649892"/>
                </a:cubicBezTo>
                <a:cubicBezTo>
                  <a:pt x="5077043" y="1647189"/>
                  <a:pt x="5073628" y="1645908"/>
                  <a:pt x="5068932" y="1643205"/>
                </a:cubicBezTo>
                <a:cubicBezTo>
                  <a:pt x="5067652" y="1642068"/>
                  <a:pt x="5065091" y="1637088"/>
                  <a:pt x="5066372" y="1635950"/>
                </a:cubicBezTo>
                <a:cubicBezTo>
                  <a:pt x="5067438" y="1634812"/>
                  <a:pt x="5068505" y="1634812"/>
                  <a:pt x="5069573" y="1634954"/>
                </a:cubicBezTo>
                <a:close/>
                <a:moveTo>
                  <a:pt x="4889019" y="1634954"/>
                </a:moveTo>
                <a:cubicBezTo>
                  <a:pt x="4890727" y="1635239"/>
                  <a:pt x="4892221" y="1636376"/>
                  <a:pt x="4893074" y="1638795"/>
                </a:cubicBezTo>
                <a:cubicBezTo>
                  <a:pt x="4893501" y="1640503"/>
                  <a:pt x="4894142" y="1642068"/>
                  <a:pt x="4893074" y="1641498"/>
                </a:cubicBezTo>
                <a:cubicBezTo>
                  <a:pt x="4892648" y="1642494"/>
                  <a:pt x="4891581" y="1642068"/>
                  <a:pt x="4890086" y="1642494"/>
                </a:cubicBezTo>
                <a:cubicBezTo>
                  <a:pt x="4887526" y="1642352"/>
                  <a:pt x="4884324" y="1640503"/>
                  <a:pt x="4883898" y="1638938"/>
                </a:cubicBezTo>
                <a:cubicBezTo>
                  <a:pt x="4883257" y="1637231"/>
                  <a:pt x="4883898" y="1636234"/>
                  <a:pt x="4883898" y="1636234"/>
                </a:cubicBezTo>
                <a:cubicBezTo>
                  <a:pt x="4885605" y="1635239"/>
                  <a:pt x="4887526" y="1634669"/>
                  <a:pt x="4889019" y="1634954"/>
                </a:cubicBezTo>
                <a:close/>
                <a:moveTo>
                  <a:pt x="1231227" y="1634798"/>
                </a:moveTo>
                <a:cubicBezTo>
                  <a:pt x="1232466" y="1634333"/>
                  <a:pt x="1234429" y="1636192"/>
                  <a:pt x="1235667" y="1635882"/>
                </a:cubicBezTo>
                <a:cubicBezTo>
                  <a:pt x="1235667" y="1635882"/>
                  <a:pt x="1235564" y="1635882"/>
                  <a:pt x="1235461" y="1637741"/>
                </a:cubicBezTo>
                <a:cubicBezTo>
                  <a:pt x="1235048" y="1638515"/>
                  <a:pt x="1234635" y="1639290"/>
                  <a:pt x="1233396" y="1639755"/>
                </a:cubicBezTo>
                <a:cubicBezTo>
                  <a:pt x="1232157" y="1640219"/>
                  <a:pt x="1230608" y="1639445"/>
                  <a:pt x="1229782" y="1639135"/>
                </a:cubicBezTo>
                <a:cubicBezTo>
                  <a:pt x="1230298" y="1638361"/>
                  <a:pt x="1229472" y="1637896"/>
                  <a:pt x="1229988" y="1637121"/>
                </a:cubicBezTo>
                <a:cubicBezTo>
                  <a:pt x="1230092" y="1635263"/>
                  <a:pt x="1229988" y="1635263"/>
                  <a:pt x="1231227" y="1634798"/>
                </a:cubicBezTo>
                <a:close/>
                <a:moveTo>
                  <a:pt x="4973961" y="1634385"/>
                </a:moveTo>
                <a:cubicBezTo>
                  <a:pt x="4975241" y="1636519"/>
                  <a:pt x="4977375" y="1637373"/>
                  <a:pt x="4978656" y="1639507"/>
                </a:cubicBezTo>
                <a:lnTo>
                  <a:pt x="4978656" y="1639649"/>
                </a:lnTo>
                <a:lnTo>
                  <a:pt x="4982284" y="1639933"/>
                </a:lnTo>
                <a:cubicBezTo>
                  <a:pt x="4981644" y="1644770"/>
                  <a:pt x="4976522" y="1648043"/>
                  <a:pt x="4972040" y="1648327"/>
                </a:cubicBezTo>
                <a:lnTo>
                  <a:pt x="4970546" y="1648043"/>
                </a:lnTo>
                <a:lnTo>
                  <a:pt x="4967558" y="1649323"/>
                </a:lnTo>
                <a:cubicBezTo>
                  <a:pt x="4966064" y="1649039"/>
                  <a:pt x="4964783" y="1648185"/>
                  <a:pt x="4964143" y="1646051"/>
                </a:cubicBezTo>
                <a:cubicBezTo>
                  <a:pt x="4962436" y="1639649"/>
                  <a:pt x="4967558" y="1636803"/>
                  <a:pt x="4973961" y="1634385"/>
                </a:cubicBezTo>
                <a:close/>
                <a:moveTo>
                  <a:pt x="1197463" y="1633714"/>
                </a:moveTo>
                <a:cubicBezTo>
                  <a:pt x="1195501" y="1637121"/>
                  <a:pt x="1194571" y="1639600"/>
                  <a:pt x="1192609" y="1643008"/>
                </a:cubicBezTo>
                <a:cubicBezTo>
                  <a:pt x="1191784" y="1643937"/>
                  <a:pt x="1188169" y="1645796"/>
                  <a:pt x="1187343" y="1644866"/>
                </a:cubicBezTo>
                <a:cubicBezTo>
                  <a:pt x="1186518" y="1644092"/>
                  <a:pt x="1186518" y="1643317"/>
                  <a:pt x="1186621" y="1642543"/>
                </a:cubicBezTo>
                <a:cubicBezTo>
                  <a:pt x="1187550" y="1640839"/>
                  <a:pt x="1188479" y="1638980"/>
                  <a:pt x="1189408" y="1637276"/>
                </a:cubicBezTo>
                <a:cubicBezTo>
                  <a:pt x="1192197" y="1634643"/>
                  <a:pt x="1194881" y="1632010"/>
                  <a:pt x="1197463" y="1633714"/>
                </a:cubicBezTo>
                <a:close/>
                <a:moveTo>
                  <a:pt x="1596238" y="1633404"/>
                </a:moveTo>
                <a:cubicBezTo>
                  <a:pt x="1599749" y="1632784"/>
                  <a:pt x="1602846" y="1633869"/>
                  <a:pt x="1604189" y="1636037"/>
                </a:cubicBezTo>
                <a:lnTo>
                  <a:pt x="1604911" y="1639445"/>
                </a:lnTo>
                <a:lnTo>
                  <a:pt x="1606254" y="1639445"/>
                </a:lnTo>
                <a:cubicBezTo>
                  <a:pt x="1607700" y="1640684"/>
                  <a:pt x="1607596" y="1642543"/>
                  <a:pt x="1607390" y="1644401"/>
                </a:cubicBezTo>
                <a:cubicBezTo>
                  <a:pt x="1607080" y="1645796"/>
                  <a:pt x="1606357" y="1646415"/>
                  <a:pt x="1605531" y="1646570"/>
                </a:cubicBezTo>
                <a:cubicBezTo>
                  <a:pt x="1604705" y="1646725"/>
                  <a:pt x="1603569" y="1646415"/>
                  <a:pt x="1602433" y="1645950"/>
                </a:cubicBezTo>
                <a:lnTo>
                  <a:pt x="1600885" y="1644401"/>
                </a:lnTo>
                <a:lnTo>
                  <a:pt x="1597994" y="1644401"/>
                </a:lnTo>
                <a:cubicBezTo>
                  <a:pt x="1595309" y="1643782"/>
                  <a:pt x="1593450" y="1641923"/>
                  <a:pt x="1593037" y="1639755"/>
                </a:cubicBezTo>
                <a:cubicBezTo>
                  <a:pt x="1592934" y="1638980"/>
                  <a:pt x="1592934" y="1638206"/>
                  <a:pt x="1593140" y="1637431"/>
                </a:cubicBezTo>
                <a:cubicBezTo>
                  <a:pt x="1593554" y="1636037"/>
                  <a:pt x="1594586" y="1634643"/>
                  <a:pt x="1596238" y="1633404"/>
                </a:cubicBezTo>
                <a:close/>
                <a:moveTo>
                  <a:pt x="4038542" y="1633389"/>
                </a:moveTo>
                <a:cubicBezTo>
                  <a:pt x="4042170" y="1632394"/>
                  <a:pt x="4049853" y="1637088"/>
                  <a:pt x="4050707" y="1641783"/>
                </a:cubicBezTo>
                <a:cubicBezTo>
                  <a:pt x="4050920" y="1643490"/>
                  <a:pt x="4050280" y="1645055"/>
                  <a:pt x="4048572" y="1646478"/>
                </a:cubicBezTo>
                <a:cubicBezTo>
                  <a:pt x="4043451" y="1650034"/>
                  <a:pt x="4039396" y="1645482"/>
                  <a:pt x="4035341" y="1639791"/>
                </a:cubicBezTo>
                <a:cubicBezTo>
                  <a:pt x="4036834" y="1637799"/>
                  <a:pt x="4037048" y="1635381"/>
                  <a:pt x="4038542" y="1633389"/>
                </a:cubicBezTo>
                <a:close/>
                <a:moveTo>
                  <a:pt x="4445533" y="1632109"/>
                </a:moveTo>
                <a:cubicBezTo>
                  <a:pt x="4449801" y="1631682"/>
                  <a:pt x="4457912" y="1633674"/>
                  <a:pt x="4458552" y="1635381"/>
                </a:cubicBezTo>
                <a:cubicBezTo>
                  <a:pt x="4455991" y="1635239"/>
                  <a:pt x="4447241" y="1634243"/>
                  <a:pt x="4445533" y="1632109"/>
                </a:cubicBezTo>
                <a:close/>
                <a:moveTo>
                  <a:pt x="1458210" y="1631138"/>
                </a:moveTo>
                <a:cubicBezTo>
                  <a:pt x="1459966" y="1631429"/>
                  <a:pt x="1461644" y="1632629"/>
                  <a:pt x="1462005" y="1633869"/>
                </a:cubicBezTo>
                <a:cubicBezTo>
                  <a:pt x="1460766" y="1639445"/>
                  <a:pt x="1454570" y="1636192"/>
                  <a:pt x="1453951" y="1633869"/>
                </a:cubicBezTo>
                <a:cubicBezTo>
                  <a:pt x="1454622" y="1631468"/>
                  <a:pt x="1456455" y="1630848"/>
                  <a:pt x="1458210" y="1631138"/>
                </a:cubicBezTo>
                <a:close/>
                <a:moveTo>
                  <a:pt x="6218412" y="1629832"/>
                </a:moveTo>
                <a:cubicBezTo>
                  <a:pt x="6219265" y="1629975"/>
                  <a:pt x="6220332" y="1629832"/>
                  <a:pt x="6221399" y="1629975"/>
                </a:cubicBezTo>
                <a:cubicBezTo>
                  <a:pt x="6222467" y="1629975"/>
                  <a:pt x="6223747" y="1630117"/>
                  <a:pt x="6225027" y="1630686"/>
                </a:cubicBezTo>
                <a:cubicBezTo>
                  <a:pt x="6227802" y="1636234"/>
                  <a:pt x="6226735" y="1640360"/>
                  <a:pt x="6223107" y="1643205"/>
                </a:cubicBezTo>
                <a:cubicBezTo>
                  <a:pt x="6216704" y="1642352"/>
                  <a:pt x="6213929" y="1633531"/>
                  <a:pt x="6218412" y="1629832"/>
                </a:cubicBezTo>
                <a:close/>
                <a:moveTo>
                  <a:pt x="5783675" y="1629548"/>
                </a:moveTo>
                <a:cubicBezTo>
                  <a:pt x="5789864" y="1636376"/>
                  <a:pt x="5797761" y="1638511"/>
                  <a:pt x="5797761" y="1638511"/>
                </a:cubicBezTo>
                <a:cubicBezTo>
                  <a:pt x="5798828" y="1640787"/>
                  <a:pt x="5798401" y="1641783"/>
                  <a:pt x="5799041" y="1640787"/>
                </a:cubicBezTo>
                <a:cubicBezTo>
                  <a:pt x="5799468" y="1644060"/>
                  <a:pt x="5800962" y="1647901"/>
                  <a:pt x="5798614" y="1649466"/>
                </a:cubicBezTo>
                <a:cubicBezTo>
                  <a:pt x="5790078" y="1652596"/>
                  <a:pt x="5785169" y="1637799"/>
                  <a:pt x="5783035" y="1634954"/>
                </a:cubicBezTo>
                <a:cubicBezTo>
                  <a:pt x="5783035" y="1634954"/>
                  <a:pt x="5782181" y="1634385"/>
                  <a:pt x="5781755" y="1632678"/>
                </a:cubicBezTo>
                <a:cubicBezTo>
                  <a:pt x="5780687" y="1630402"/>
                  <a:pt x="5784102" y="1631255"/>
                  <a:pt x="5783675" y="1629548"/>
                </a:cubicBezTo>
                <a:close/>
                <a:moveTo>
                  <a:pt x="4601757" y="1629121"/>
                </a:moveTo>
                <a:cubicBezTo>
                  <a:pt x="4603890" y="1630402"/>
                  <a:pt x="4604958" y="1631539"/>
                  <a:pt x="4605812" y="1632820"/>
                </a:cubicBezTo>
                <a:cubicBezTo>
                  <a:pt x="4606878" y="1633531"/>
                  <a:pt x="4607519" y="1634243"/>
                  <a:pt x="4607305" y="1634954"/>
                </a:cubicBezTo>
                <a:lnTo>
                  <a:pt x="4606238" y="1636661"/>
                </a:lnTo>
                <a:lnTo>
                  <a:pt x="4606665" y="1636519"/>
                </a:lnTo>
                <a:lnTo>
                  <a:pt x="4612641" y="1636803"/>
                </a:lnTo>
                <a:lnTo>
                  <a:pt x="4612641" y="1636661"/>
                </a:lnTo>
                <a:cubicBezTo>
                  <a:pt x="4613281" y="1636376"/>
                  <a:pt x="4613921" y="1636376"/>
                  <a:pt x="4614348" y="1636376"/>
                </a:cubicBezTo>
                <a:lnTo>
                  <a:pt x="4614348" y="1636803"/>
                </a:lnTo>
                <a:lnTo>
                  <a:pt x="4614135" y="1636946"/>
                </a:lnTo>
                <a:lnTo>
                  <a:pt x="4613708" y="1638795"/>
                </a:lnTo>
                <a:lnTo>
                  <a:pt x="4613068" y="1639365"/>
                </a:lnTo>
                <a:lnTo>
                  <a:pt x="4612001" y="1642210"/>
                </a:lnTo>
                <a:lnTo>
                  <a:pt x="4612001" y="1643632"/>
                </a:lnTo>
                <a:lnTo>
                  <a:pt x="4609866" y="1647474"/>
                </a:lnTo>
                <a:lnTo>
                  <a:pt x="4608586" y="1653449"/>
                </a:lnTo>
                <a:lnTo>
                  <a:pt x="4610720" y="1653449"/>
                </a:lnTo>
                <a:cubicBezTo>
                  <a:pt x="4612001" y="1654018"/>
                  <a:pt x="4613281" y="1654729"/>
                  <a:pt x="4614135" y="1655583"/>
                </a:cubicBezTo>
                <a:lnTo>
                  <a:pt x="4615629" y="1658144"/>
                </a:lnTo>
                <a:lnTo>
                  <a:pt x="4615629" y="1655868"/>
                </a:lnTo>
                <a:cubicBezTo>
                  <a:pt x="4616696" y="1657148"/>
                  <a:pt x="4619257" y="1656294"/>
                  <a:pt x="4620324" y="1657717"/>
                </a:cubicBezTo>
                <a:cubicBezTo>
                  <a:pt x="4620324" y="1657717"/>
                  <a:pt x="4621178" y="1661558"/>
                  <a:pt x="4621178" y="1661558"/>
                </a:cubicBezTo>
                <a:cubicBezTo>
                  <a:pt x="4619897" y="1662555"/>
                  <a:pt x="4620111" y="1662555"/>
                  <a:pt x="4620111" y="1661416"/>
                </a:cubicBezTo>
                <a:lnTo>
                  <a:pt x="4616269" y="1661700"/>
                </a:lnTo>
                <a:lnTo>
                  <a:pt x="4616483" y="1665827"/>
                </a:lnTo>
                <a:lnTo>
                  <a:pt x="4615842" y="1667818"/>
                </a:lnTo>
                <a:lnTo>
                  <a:pt x="4616269" y="1669810"/>
                </a:lnTo>
                <a:lnTo>
                  <a:pt x="4623739" y="1667818"/>
                </a:lnTo>
                <a:cubicBezTo>
                  <a:pt x="4626727" y="1667249"/>
                  <a:pt x="4629715" y="1666822"/>
                  <a:pt x="4631849" y="1666965"/>
                </a:cubicBezTo>
                <a:lnTo>
                  <a:pt x="4632275" y="1667107"/>
                </a:lnTo>
                <a:lnTo>
                  <a:pt x="4632489" y="1666680"/>
                </a:lnTo>
                <a:lnTo>
                  <a:pt x="4632916" y="1667107"/>
                </a:lnTo>
                <a:lnTo>
                  <a:pt x="4635050" y="1667960"/>
                </a:lnTo>
                <a:cubicBezTo>
                  <a:pt x="4634196" y="1668956"/>
                  <a:pt x="4633556" y="1670094"/>
                  <a:pt x="4632062" y="1670521"/>
                </a:cubicBezTo>
                <a:cubicBezTo>
                  <a:pt x="4630355" y="1670948"/>
                  <a:pt x="4630995" y="1669952"/>
                  <a:pt x="4630355" y="1670948"/>
                </a:cubicBezTo>
                <a:cubicBezTo>
                  <a:pt x="4628861" y="1671517"/>
                  <a:pt x="4629715" y="1672086"/>
                  <a:pt x="4629715" y="1672086"/>
                </a:cubicBezTo>
                <a:cubicBezTo>
                  <a:pt x="4629715" y="1672086"/>
                  <a:pt x="4628861" y="1671375"/>
                  <a:pt x="4628861" y="1671375"/>
                </a:cubicBezTo>
                <a:cubicBezTo>
                  <a:pt x="4628861" y="1671375"/>
                  <a:pt x="4628861" y="1671375"/>
                  <a:pt x="4625660" y="1672371"/>
                </a:cubicBezTo>
                <a:cubicBezTo>
                  <a:pt x="4621818" y="1674220"/>
                  <a:pt x="4620964" y="1675358"/>
                  <a:pt x="4618830" y="1676923"/>
                </a:cubicBezTo>
                <a:cubicBezTo>
                  <a:pt x="4615629" y="1677777"/>
                  <a:pt x="4614561" y="1677066"/>
                  <a:pt x="4610507" y="1677350"/>
                </a:cubicBezTo>
                <a:cubicBezTo>
                  <a:pt x="4609226" y="1675216"/>
                  <a:pt x="4609226" y="1675216"/>
                  <a:pt x="4609866" y="1674078"/>
                </a:cubicBezTo>
                <a:cubicBezTo>
                  <a:pt x="4609226" y="1675216"/>
                  <a:pt x="4608373" y="1674505"/>
                  <a:pt x="4606665" y="1674931"/>
                </a:cubicBezTo>
                <a:cubicBezTo>
                  <a:pt x="4600476" y="1678488"/>
                  <a:pt x="4597275" y="1673366"/>
                  <a:pt x="4595141" y="1666253"/>
                </a:cubicBezTo>
                <a:cubicBezTo>
                  <a:pt x="4596848" y="1665684"/>
                  <a:pt x="4595354" y="1661843"/>
                  <a:pt x="4595781" y="1659140"/>
                </a:cubicBezTo>
                <a:cubicBezTo>
                  <a:pt x="4596848" y="1657575"/>
                  <a:pt x="4597702" y="1656294"/>
                  <a:pt x="4598769" y="1655298"/>
                </a:cubicBezTo>
                <a:lnTo>
                  <a:pt x="4598769" y="1655156"/>
                </a:lnTo>
                <a:lnTo>
                  <a:pt x="4598342" y="1647332"/>
                </a:lnTo>
                <a:cubicBezTo>
                  <a:pt x="4598342" y="1643632"/>
                  <a:pt x="4599409" y="1640360"/>
                  <a:pt x="4601757" y="1638511"/>
                </a:cubicBezTo>
                <a:lnTo>
                  <a:pt x="4604745" y="1637231"/>
                </a:lnTo>
                <a:lnTo>
                  <a:pt x="4602183" y="1633958"/>
                </a:lnTo>
                <a:cubicBezTo>
                  <a:pt x="4601330" y="1632251"/>
                  <a:pt x="4601116" y="1630402"/>
                  <a:pt x="4601757" y="1629121"/>
                </a:cubicBezTo>
                <a:close/>
                <a:moveTo>
                  <a:pt x="1623085" y="1628757"/>
                </a:moveTo>
                <a:cubicBezTo>
                  <a:pt x="1628661" y="1628912"/>
                  <a:pt x="1632688" y="1630771"/>
                  <a:pt x="1636714" y="1629841"/>
                </a:cubicBezTo>
                <a:cubicBezTo>
                  <a:pt x="1636714" y="1629841"/>
                  <a:pt x="1636714" y="1629841"/>
                  <a:pt x="1638160" y="1631545"/>
                </a:cubicBezTo>
                <a:cubicBezTo>
                  <a:pt x="1638986" y="1631700"/>
                  <a:pt x="1638986" y="1631700"/>
                  <a:pt x="1638986" y="1631700"/>
                </a:cubicBezTo>
                <a:cubicBezTo>
                  <a:pt x="1639812" y="1631700"/>
                  <a:pt x="1639606" y="1633404"/>
                  <a:pt x="1639606" y="1633404"/>
                </a:cubicBezTo>
                <a:cubicBezTo>
                  <a:pt x="1638470" y="1634953"/>
                  <a:pt x="1636095" y="1633869"/>
                  <a:pt x="1634340" y="1633869"/>
                </a:cubicBezTo>
                <a:cubicBezTo>
                  <a:pt x="1633204" y="1635417"/>
                  <a:pt x="1631139" y="1632010"/>
                  <a:pt x="1630003" y="1633559"/>
                </a:cubicBezTo>
                <a:cubicBezTo>
                  <a:pt x="1627215" y="1629996"/>
                  <a:pt x="1622259" y="1633869"/>
                  <a:pt x="1616890" y="1629376"/>
                </a:cubicBezTo>
                <a:cubicBezTo>
                  <a:pt x="1619161" y="1628757"/>
                  <a:pt x="1621226" y="1628602"/>
                  <a:pt x="1623085" y="1628757"/>
                </a:cubicBezTo>
                <a:close/>
                <a:moveTo>
                  <a:pt x="5110122" y="1628267"/>
                </a:moveTo>
                <a:cubicBezTo>
                  <a:pt x="5114177" y="1629405"/>
                  <a:pt x="5120153" y="1633531"/>
                  <a:pt x="5122927" y="1636376"/>
                </a:cubicBezTo>
                <a:cubicBezTo>
                  <a:pt x="5119513" y="1638511"/>
                  <a:pt x="5110122" y="1632251"/>
                  <a:pt x="5106708" y="1628552"/>
                </a:cubicBezTo>
                <a:cubicBezTo>
                  <a:pt x="5107561" y="1627983"/>
                  <a:pt x="5108628" y="1627983"/>
                  <a:pt x="5110122" y="1628267"/>
                </a:cubicBezTo>
                <a:close/>
                <a:moveTo>
                  <a:pt x="3816799" y="1628125"/>
                </a:moveTo>
                <a:cubicBezTo>
                  <a:pt x="3816372" y="1632109"/>
                  <a:pt x="3811463" y="1639080"/>
                  <a:pt x="3805274" y="1640930"/>
                </a:cubicBezTo>
                <a:lnTo>
                  <a:pt x="3801219" y="1640930"/>
                </a:lnTo>
                <a:lnTo>
                  <a:pt x="3804207" y="1642494"/>
                </a:lnTo>
                <a:cubicBezTo>
                  <a:pt x="3805274" y="1643917"/>
                  <a:pt x="3805701" y="1646051"/>
                  <a:pt x="3805701" y="1648043"/>
                </a:cubicBezTo>
                <a:cubicBezTo>
                  <a:pt x="3805487" y="1646905"/>
                  <a:pt x="3805274" y="1646905"/>
                  <a:pt x="3805274" y="1646905"/>
                </a:cubicBezTo>
                <a:cubicBezTo>
                  <a:pt x="3803780" y="1646335"/>
                  <a:pt x="3804207" y="1647474"/>
                  <a:pt x="3803140" y="1648043"/>
                </a:cubicBezTo>
                <a:cubicBezTo>
                  <a:pt x="3803140" y="1648043"/>
                  <a:pt x="3804207" y="1647474"/>
                  <a:pt x="3803567" y="1649039"/>
                </a:cubicBezTo>
                <a:cubicBezTo>
                  <a:pt x="3803140" y="1647901"/>
                  <a:pt x="3802073" y="1648470"/>
                  <a:pt x="3801006" y="1649039"/>
                </a:cubicBezTo>
                <a:cubicBezTo>
                  <a:pt x="3798018" y="1647901"/>
                  <a:pt x="3794603" y="1645767"/>
                  <a:pt x="3794816" y="1643063"/>
                </a:cubicBezTo>
                <a:cubicBezTo>
                  <a:pt x="3795457" y="1641356"/>
                  <a:pt x="3796524" y="1640645"/>
                  <a:pt x="3797377" y="1640218"/>
                </a:cubicBezTo>
                <a:lnTo>
                  <a:pt x="3799085" y="1640218"/>
                </a:lnTo>
                <a:lnTo>
                  <a:pt x="3802073" y="1634100"/>
                </a:lnTo>
                <a:cubicBezTo>
                  <a:pt x="3805701" y="1629121"/>
                  <a:pt x="3811250" y="1628979"/>
                  <a:pt x="3816799" y="1628125"/>
                </a:cubicBezTo>
                <a:close/>
                <a:moveTo>
                  <a:pt x="3770914" y="1627840"/>
                </a:moveTo>
                <a:lnTo>
                  <a:pt x="3771767" y="1628979"/>
                </a:lnTo>
                <a:lnTo>
                  <a:pt x="3773261" y="1628837"/>
                </a:lnTo>
                <a:cubicBezTo>
                  <a:pt x="3779664" y="1628979"/>
                  <a:pt x="3785640" y="1630829"/>
                  <a:pt x="3786706" y="1637799"/>
                </a:cubicBezTo>
                <a:cubicBezTo>
                  <a:pt x="3784786" y="1637657"/>
                  <a:pt x="3782011" y="1637799"/>
                  <a:pt x="3778810" y="1637941"/>
                </a:cubicBezTo>
                <a:lnTo>
                  <a:pt x="3775182" y="1637941"/>
                </a:lnTo>
                <a:lnTo>
                  <a:pt x="3778597" y="1638653"/>
                </a:lnTo>
                <a:cubicBezTo>
                  <a:pt x="3779450" y="1639080"/>
                  <a:pt x="3779877" y="1639933"/>
                  <a:pt x="3779237" y="1641641"/>
                </a:cubicBezTo>
                <a:cubicBezTo>
                  <a:pt x="3779023" y="1644344"/>
                  <a:pt x="3776462" y="1644202"/>
                  <a:pt x="3775182" y="1647474"/>
                </a:cubicBezTo>
                <a:cubicBezTo>
                  <a:pt x="3774328" y="1650461"/>
                  <a:pt x="3776676" y="1652453"/>
                  <a:pt x="3779023" y="1655298"/>
                </a:cubicBezTo>
                <a:lnTo>
                  <a:pt x="3779237" y="1655868"/>
                </a:lnTo>
                <a:lnTo>
                  <a:pt x="3779450" y="1655868"/>
                </a:lnTo>
                <a:cubicBezTo>
                  <a:pt x="3780304" y="1656721"/>
                  <a:pt x="3780944" y="1657859"/>
                  <a:pt x="3781158" y="1659140"/>
                </a:cubicBezTo>
                <a:lnTo>
                  <a:pt x="3781798" y="1660278"/>
                </a:lnTo>
                <a:cubicBezTo>
                  <a:pt x="3782225" y="1662270"/>
                  <a:pt x="3782438" y="1664688"/>
                  <a:pt x="3781585" y="1667676"/>
                </a:cubicBezTo>
                <a:cubicBezTo>
                  <a:pt x="3778597" y="1666538"/>
                  <a:pt x="3774969" y="1673509"/>
                  <a:pt x="3770487" y="1671802"/>
                </a:cubicBezTo>
                <a:lnTo>
                  <a:pt x="3767285" y="1670664"/>
                </a:lnTo>
                <a:lnTo>
                  <a:pt x="3768139" y="1673366"/>
                </a:lnTo>
                <a:cubicBezTo>
                  <a:pt x="3758962" y="1675785"/>
                  <a:pt x="3747651" y="1675501"/>
                  <a:pt x="3745090" y="1675216"/>
                </a:cubicBezTo>
                <a:cubicBezTo>
                  <a:pt x="3743809" y="1675216"/>
                  <a:pt x="3742956" y="1674789"/>
                  <a:pt x="3742529" y="1674220"/>
                </a:cubicBezTo>
                <a:cubicBezTo>
                  <a:pt x="3742315" y="1673509"/>
                  <a:pt x="3742315" y="1672656"/>
                  <a:pt x="3742529" y="1671233"/>
                </a:cubicBezTo>
                <a:cubicBezTo>
                  <a:pt x="3745943" y="1666111"/>
                  <a:pt x="3751279" y="1667676"/>
                  <a:pt x="3757255" y="1666395"/>
                </a:cubicBezTo>
                <a:cubicBezTo>
                  <a:pt x="3757681" y="1667534"/>
                  <a:pt x="3759176" y="1668102"/>
                  <a:pt x="3760243" y="1667676"/>
                </a:cubicBezTo>
                <a:lnTo>
                  <a:pt x="3761736" y="1668387"/>
                </a:lnTo>
                <a:lnTo>
                  <a:pt x="3758535" y="1665542"/>
                </a:lnTo>
                <a:cubicBezTo>
                  <a:pt x="3757041" y="1662981"/>
                  <a:pt x="3757468" y="1659566"/>
                  <a:pt x="3757468" y="1654871"/>
                </a:cubicBezTo>
                <a:cubicBezTo>
                  <a:pt x="3757895" y="1656010"/>
                  <a:pt x="3758535" y="1654444"/>
                  <a:pt x="3758535" y="1654444"/>
                </a:cubicBezTo>
                <a:cubicBezTo>
                  <a:pt x="3759816" y="1651172"/>
                  <a:pt x="3752986" y="1653164"/>
                  <a:pt x="3753840" y="1648897"/>
                </a:cubicBezTo>
                <a:cubicBezTo>
                  <a:pt x="3755974" y="1641925"/>
                  <a:pt x="3764511" y="1640076"/>
                  <a:pt x="3768993" y="1639222"/>
                </a:cubicBezTo>
                <a:lnTo>
                  <a:pt x="3771340" y="1638795"/>
                </a:lnTo>
                <a:lnTo>
                  <a:pt x="3771127" y="1637941"/>
                </a:lnTo>
                <a:lnTo>
                  <a:pt x="3768566" y="1637941"/>
                </a:lnTo>
                <a:cubicBezTo>
                  <a:pt x="3761736" y="1637373"/>
                  <a:pt x="3755761" y="1635666"/>
                  <a:pt x="3755334" y="1630544"/>
                </a:cubicBezTo>
                <a:cubicBezTo>
                  <a:pt x="3757468" y="1630402"/>
                  <a:pt x="3760243" y="1629975"/>
                  <a:pt x="3763231" y="1629548"/>
                </a:cubicBezTo>
                <a:lnTo>
                  <a:pt x="3768779" y="1629121"/>
                </a:lnTo>
                <a:lnTo>
                  <a:pt x="3769633" y="1627983"/>
                </a:lnTo>
                <a:cubicBezTo>
                  <a:pt x="3770059" y="1627556"/>
                  <a:pt x="3770487" y="1627556"/>
                  <a:pt x="3770914" y="1627840"/>
                </a:cubicBezTo>
                <a:close/>
                <a:moveTo>
                  <a:pt x="1421735" y="1627828"/>
                </a:moveTo>
                <a:cubicBezTo>
                  <a:pt x="1423697" y="1627982"/>
                  <a:pt x="1424110" y="1628757"/>
                  <a:pt x="1423697" y="1629841"/>
                </a:cubicBezTo>
                <a:cubicBezTo>
                  <a:pt x="1423697" y="1629841"/>
                  <a:pt x="1423181" y="1630926"/>
                  <a:pt x="1422768" y="1632010"/>
                </a:cubicBezTo>
                <a:cubicBezTo>
                  <a:pt x="1422355" y="1633094"/>
                  <a:pt x="1422768" y="1633869"/>
                  <a:pt x="1422768" y="1633869"/>
                </a:cubicBezTo>
                <a:cubicBezTo>
                  <a:pt x="1422355" y="1634953"/>
                  <a:pt x="1421529" y="1635263"/>
                  <a:pt x="1420393" y="1634798"/>
                </a:cubicBezTo>
                <a:cubicBezTo>
                  <a:pt x="1420393" y="1634798"/>
                  <a:pt x="1420393" y="1632939"/>
                  <a:pt x="1420393" y="1632939"/>
                </a:cubicBezTo>
                <a:cubicBezTo>
                  <a:pt x="1421219" y="1630771"/>
                  <a:pt x="1421632" y="1629686"/>
                  <a:pt x="1421735" y="1627828"/>
                </a:cubicBezTo>
                <a:close/>
                <a:moveTo>
                  <a:pt x="1181251" y="1627363"/>
                </a:moveTo>
                <a:cubicBezTo>
                  <a:pt x="1181148" y="1628137"/>
                  <a:pt x="1181871" y="1629067"/>
                  <a:pt x="1181768" y="1629996"/>
                </a:cubicBezTo>
                <a:cubicBezTo>
                  <a:pt x="1179702" y="1631545"/>
                  <a:pt x="1177431" y="1629686"/>
                  <a:pt x="1177534" y="1628757"/>
                </a:cubicBezTo>
                <a:cubicBezTo>
                  <a:pt x="1178567" y="1627982"/>
                  <a:pt x="1180322" y="1628137"/>
                  <a:pt x="1181251" y="1627363"/>
                </a:cubicBezTo>
                <a:close/>
                <a:moveTo>
                  <a:pt x="4667276" y="1626702"/>
                </a:moveTo>
                <a:cubicBezTo>
                  <a:pt x="4669411" y="1625565"/>
                  <a:pt x="4680082" y="1633104"/>
                  <a:pt x="4675600" y="1636519"/>
                </a:cubicBezTo>
                <a:cubicBezTo>
                  <a:pt x="4671118" y="1638653"/>
                  <a:pt x="4666209" y="1628979"/>
                  <a:pt x="4667276" y="1626702"/>
                </a:cubicBezTo>
                <a:close/>
                <a:moveTo>
                  <a:pt x="4833744" y="1626560"/>
                </a:moveTo>
                <a:cubicBezTo>
                  <a:pt x="4834171" y="1628125"/>
                  <a:pt x="4834384" y="1629832"/>
                  <a:pt x="4835024" y="1628837"/>
                </a:cubicBezTo>
                <a:cubicBezTo>
                  <a:pt x="4835238" y="1630402"/>
                  <a:pt x="4835024" y="1631682"/>
                  <a:pt x="4834598" y="1632820"/>
                </a:cubicBezTo>
                <a:cubicBezTo>
                  <a:pt x="4833957" y="1633958"/>
                  <a:pt x="4833103" y="1634954"/>
                  <a:pt x="4832036" y="1635666"/>
                </a:cubicBezTo>
                <a:cubicBezTo>
                  <a:pt x="4830329" y="1636092"/>
                  <a:pt x="4828408" y="1634812"/>
                  <a:pt x="4826274" y="1631966"/>
                </a:cubicBezTo>
                <a:cubicBezTo>
                  <a:pt x="4826701" y="1629263"/>
                  <a:pt x="4831610" y="1627983"/>
                  <a:pt x="4833744" y="1626560"/>
                </a:cubicBezTo>
                <a:close/>
                <a:moveTo>
                  <a:pt x="1313936" y="1626433"/>
                </a:moveTo>
                <a:cubicBezTo>
                  <a:pt x="1326223" y="1621787"/>
                  <a:pt x="1344912" y="1630461"/>
                  <a:pt x="1346874" y="1643782"/>
                </a:cubicBezTo>
                <a:cubicBezTo>
                  <a:pt x="1342125" y="1648274"/>
                  <a:pt x="1336342" y="1649978"/>
                  <a:pt x="1330560" y="1649358"/>
                </a:cubicBezTo>
                <a:cubicBezTo>
                  <a:pt x="1320957" y="1648429"/>
                  <a:pt x="1311561" y="1641459"/>
                  <a:pt x="1307947" y="1631545"/>
                </a:cubicBezTo>
                <a:cubicBezTo>
                  <a:pt x="1308876" y="1630771"/>
                  <a:pt x="1309805" y="1630151"/>
                  <a:pt x="1309083" y="1629222"/>
                </a:cubicBezTo>
                <a:cubicBezTo>
                  <a:pt x="1310528" y="1627982"/>
                  <a:pt x="1312077" y="1627053"/>
                  <a:pt x="1313936" y="1626433"/>
                </a:cubicBezTo>
                <a:close/>
                <a:moveTo>
                  <a:pt x="4958595" y="1626418"/>
                </a:moveTo>
                <a:cubicBezTo>
                  <a:pt x="4959235" y="1626560"/>
                  <a:pt x="4959662" y="1627272"/>
                  <a:pt x="4959875" y="1628125"/>
                </a:cubicBezTo>
                <a:cubicBezTo>
                  <a:pt x="4959875" y="1628125"/>
                  <a:pt x="4960515" y="1629690"/>
                  <a:pt x="4960942" y="1631397"/>
                </a:cubicBezTo>
                <a:cubicBezTo>
                  <a:pt x="4961582" y="1632962"/>
                  <a:pt x="4962650" y="1633674"/>
                  <a:pt x="4962650" y="1633674"/>
                </a:cubicBezTo>
                <a:cubicBezTo>
                  <a:pt x="4963076" y="1635381"/>
                  <a:pt x="4962650" y="1636376"/>
                  <a:pt x="4961155" y="1636803"/>
                </a:cubicBezTo>
                <a:cubicBezTo>
                  <a:pt x="4961155" y="1636803"/>
                  <a:pt x="4959448" y="1634669"/>
                  <a:pt x="4959448" y="1634669"/>
                </a:cubicBezTo>
                <a:cubicBezTo>
                  <a:pt x="4958381" y="1631255"/>
                  <a:pt x="4957954" y="1629690"/>
                  <a:pt x="4956247" y="1627414"/>
                </a:cubicBezTo>
                <a:cubicBezTo>
                  <a:pt x="4957314" y="1626560"/>
                  <a:pt x="4957954" y="1626276"/>
                  <a:pt x="4958595" y="1626418"/>
                </a:cubicBezTo>
                <a:close/>
                <a:moveTo>
                  <a:pt x="1253840" y="1625969"/>
                </a:moveTo>
                <a:cubicBezTo>
                  <a:pt x="1255389" y="1625504"/>
                  <a:pt x="1257351" y="1625349"/>
                  <a:pt x="1259726" y="1626124"/>
                </a:cubicBezTo>
                <a:cubicBezTo>
                  <a:pt x="1265199" y="1627673"/>
                  <a:pt x="1270671" y="1631080"/>
                  <a:pt x="1268296" y="1639445"/>
                </a:cubicBezTo>
                <a:cubicBezTo>
                  <a:pt x="1268296" y="1641304"/>
                  <a:pt x="1267780" y="1640529"/>
                  <a:pt x="1267470" y="1641613"/>
                </a:cubicBezTo>
                <a:cubicBezTo>
                  <a:pt x="1267057" y="1642698"/>
                  <a:pt x="1267057" y="1644556"/>
                  <a:pt x="1267470" y="1645331"/>
                </a:cubicBezTo>
                <a:cubicBezTo>
                  <a:pt x="1263133" y="1644247"/>
                  <a:pt x="1262721" y="1647034"/>
                  <a:pt x="1256112" y="1645021"/>
                </a:cubicBezTo>
                <a:cubicBezTo>
                  <a:pt x="1249607" y="1643472"/>
                  <a:pt x="1247335" y="1639600"/>
                  <a:pt x="1247026" y="1636037"/>
                </a:cubicBezTo>
                <a:cubicBezTo>
                  <a:pt x="1246819" y="1634953"/>
                  <a:pt x="1246922" y="1633869"/>
                  <a:pt x="1247129" y="1632784"/>
                </a:cubicBezTo>
                <a:cubicBezTo>
                  <a:pt x="1248058" y="1633094"/>
                  <a:pt x="1249194" y="1627673"/>
                  <a:pt x="1253840" y="1625969"/>
                </a:cubicBezTo>
                <a:close/>
                <a:moveTo>
                  <a:pt x="1731568" y="1625543"/>
                </a:moveTo>
                <a:cubicBezTo>
                  <a:pt x="1735815" y="1626976"/>
                  <a:pt x="1739403" y="1630848"/>
                  <a:pt x="1740591" y="1635573"/>
                </a:cubicBezTo>
                <a:cubicBezTo>
                  <a:pt x="1741933" y="1641304"/>
                  <a:pt x="1739868" y="1648119"/>
                  <a:pt x="1731401" y="1653541"/>
                </a:cubicBezTo>
                <a:cubicBezTo>
                  <a:pt x="1723037" y="1650443"/>
                  <a:pt x="1717254" y="1643627"/>
                  <a:pt x="1716944" y="1636811"/>
                </a:cubicBezTo>
                <a:cubicBezTo>
                  <a:pt x="1716841" y="1634643"/>
                  <a:pt x="1717358" y="1632320"/>
                  <a:pt x="1718597" y="1630151"/>
                </a:cubicBezTo>
                <a:cubicBezTo>
                  <a:pt x="1722417" y="1625117"/>
                  <a:pt x="1727322" y="1624110"/>
                  <a:pt x="1731568" y="1625543"/>
                </a:cubicBezTo>
                <a:close/>
                <a:moveTo>
                  <a:pt x="1787778" y="1625504"/>
                </a:moveTo>
                <a:cubicBezTo>
                  <a:pt x="1789328" y="1627208"/>
                  <a:pt x="1789224" y="1631235"/>
                  <a:pt x="1787159" y="1632939"/>
                </a:cubicBezTo>
                <a:cubicBezTo>
                  <a:pt x="1784062" y="1633404"/>
                  <a:pt x="1783751" y="1631545"/>
                  <a:pt x="1781893" y="1632165"/>
                </a:cubicBezTo>
                <a:cubicBezTo>
                  <a:pt x="1781996" y="1627982"/>
                  <a:pt x="1784062" y="1626433"/>
                  <a:pt x="1787778" y="1625504"/>
                </a:cubicBezTo>
                <a:close/>
                <a:moveTo>
                  <a:pt x="4943015" y="1625422"/>
                </a:moveTo>
                <a:cubicBezTo>
                  <a:pt x="4944509" y="1625280"/>
                  <a:pt x="4946216" y="1626418"/>
                  <a:pt x="4948777" y="1627840"/>
                </a:cubicBezTo>
                <a:lnTo>
                  <a:pt x="4947710" y="1628837"/>
                </a:lnTo>
                <a:lnTo>
                  <a:pt x="4948350" y="1629548"/>
                </a:lnTo>
                <a:cubicBezTo>
                  <a:pt x="4949417" y="1630402"/>
                  <a:pt x="4950698" y="1631539"/>
                  <a:pt x="4951552" y="1632535"/>
                </a:cubicBezTo>
                <a:cubicBezTo>
                  <a:pt x="4951124" y="1633674"/>
                  <a:pt x="4951765" y="1635239"/>
                  <a:pt x="4951338" y="1636234"/>
                </a:cubicBezTo>
                <a:cubicBezTo>
                  <a:pt x="4950058" y="1635666"/>
                  <a:pt x="4947496" y="1635381"/>
                  <a:pt x="4947924" y="1634385"/>
                </a:cubicBezTo>
                <a:cubicBezTo>
                  <a:pt x="4946856" y="1633816"/>
                  <a:pt x="4947710" y="1631682"/>
                  <a:pt x="4947710" y="1631682"/>
                </a:cubicBezTo>
                <a:lnTo>
                  <a:pt x="4946429" y="1630259"/>
                </a:lnTo>
                <a:lnTo>
                  <a:pt x="4945149" y="1631824"/>
                </a:lnTo>
                <a:cubicBezTo>
                  <a:pt x="4943655" y="1632251"/>
                  <a:pt x="4941948" y="1631824"/>
                  <a:pt x="4939600" y="1630971"/>
                </a:cubicBezTo>
                <a:cubicBezTo>
                  <a:pt x="4940667" y="1627272"/>
                  <a:pt x="4941734" y="1625707"/>
                  <a:pt x="4943015" y="1625422"/>
                </a:cubicBezTo>
                <a:close/>
                <a:moveTo>
                  <a:pt x="5875446" y="1624995"/>
                </a:moveTo>
                <a:cubicBezTo>
                  <a:pt x="5875659" y="1627414"/>
                  <a:pt x="5876940" y="1631966"/>
                  <a:pt x="5876299" y="1634527"/>
                </a:cubicBezTo>
                <a:cubicBezTo>
                  <a:pt x="5875873" y="1635381"/>
                  <a:pt x="5875446" y="1636092"/>
                  <a:pt x="5874806" y="1636234"/>
                </a:cubicBezTo>
                <a:cubicBezTo>
                  <a:pt x="5874165" y="1632962"/>
                  <a:pt x="5871818" y="1628552"/>
                  <a:pt x="5875446" y="1624995"/>
                </a:cubicBezTo>
                <a:close/>
                <a:moveTo>
                  <a:pt x="4600049" y="1624995"/>
                </a:moveTo>
                <a:cubicBezTo>
                  <a:pt x="4600476" y="1625137"/>
                  <a:pt x="4600690" y="1625422"/>
                  <a:pt x="4600690" y="1625422"/>
                </a:cubicBezTo>
                <a:cubicBezTo>
                  <a:pt x="4601330" y="1626133"/>
                  <a:pt x="4601757" y="1626702"/>
                  <a:pt x="4601970" y="1627272"/>
                </a:cubicBezTo>
                <a:cubicBezTo>
                  <a:pt x="4602183" y="1627840"/>
                  <a:pt x="4602183" y="1628552"/>
                  <a:pt x="4601543" y="1629121"/>
                </a:cubicBezTo>
                <a:cubicBezTo>
                  <a:pt x="4601543" y="1629121"/>
                  <a:pt x="4600476" y="1629121"/>
                  <a:pt x="4598342" y="1626702"/>
                </a:cubicBezTo>
                <a:cubicBezTo>
                  <a:pt x="4599409" y="1626702"/>
                  <a:pt x="4599622" y="1625422"/>
                  <a:pt x="4599622" y="1625422"/>
                </a:cubicBezTo>
                <a:cubicBezTo>
                  <a:pt x="4599622" y="1625422"/>
                  <a:pt x="4599622" y="1625422"/>
                  <a:pt x="4598555" y="1625422"/>
                </a:cubicBezTo>
                <a:cubicBezTo>
                  <a:pt x="4599195" y="1624853"/>
                  <a:pt x="4599622" y="1624853"/>
                  <a:pt x="4600049" y="1624995"/>
                </a:cubicBezTo>
                <a:close/>
                <a:moveTo>
                  <a:pt x="5179270" y="1624853"/>
                </a:moveTo>
                <a:cubicBezTo>
                  <a:pt x="5180978" y="1624568"/>
                  <a:pt x="5182472" y="1624710"/>
                  <a:pt x="5183752" y="1625280"/>
                </a:cubicBezTo>
                <a:cubicBezTo>
                  <a:pt x="5185460" y="1625991"/>
                  <a:pt x="5186527" y="1627698"/>
                  <a:pt x="5186740" y="1630402"/>
                </a:cubicBezTo>
                <a:cubicBezTo>
                  <a:pt x="5179484" y="1631966"/>
                  <a:pt x="5174362" y="1636946"/>
                  <a:pt x="5170520" y="1635239"/>
                </a:cubicBezTo>
                <a:cubicBezTo>
                  <a:pt x="5169239" y="1634669"/>
                  <a:pt x="5167959" y="1633389"/>
                  <a:pt x="5166892" y="1630971"/>
                </a:cubicBezTo>
                <a:cubicBezTo>
                  <a:pt x="5168599" y="1629121"/>
                  <a:pt x="5174362" y="1625565"/>
                  <a:pt x="5179270" y="1624853"/>
                </a:cubicBezTo>
                <a:close/>
                <a:moveTo>
                  <a:pt x="4800664" y="1624853"/>
                </a:moveTo>
                <a:cubicBezTo>
                  <a:pt x="4801518" y="1625137"/>
                  <a:pt x="4802371" y="1625707"/>
                  <a:pt x="4803225" y="1626845"/>
                </a:cubicBezTo>
                <a:cubicBezTo>
                  <a:pt x="4797890" y="1633247"/>
                  <a:pt x="4798530" y="1640645"/>
                  <a:pt x="4798956" y="1647474"/>
                </a:cubicBezTo>
                <a:lnTo>
                  <a:pt x="4798743" y="1654444"/>
                </a:lnTo>
                <a:lnTo>
                  <a:pt x="4798956" y="1656579"/>
                </a:lnTo>
                <a:lnTo>
                  <a:pt x="4798743" y="1656721"/>
                </a:lnTo>
                <a:lnTo>
                  <a:pt x="4798743" y="1657148"/>
                </a:lnTo>
                <a:cubicBezTo>
                  <a:pt x="4798103" y="1660136"/>
                  <a:pt x="4796609" y="1662697"/>
                  <a:pt x="4793621" y="1664830"/>
                </a:cubicBezTo>
                <a:lnTo>
                  <a:pt x="4791700" y="1657575"/>
                </a:lnTo>
                <a:lnTo>
                  <a:pt x="4789566" y="1657006"/>
                </a:lnTo>
                <a:cubicBezTo>
                  <a:pt x="4786792" y="1655441"/>
                  <a:pt x="4784444" y="1652169"/>
                  <a:pt x="4784657" y="1648043"/>
                </a:cubicBezTo>
                <a:lnTo>
                  <a:pt x="4789139" y="1646335"/>
                </a:lnTo>
                <a:lnTo>
                  <a:pt x="4788926" y="1638511"/>
                </a:lnTo>
                <a:cubicBezTo>
                  <a:pt x="4789352" y="1635096"/>
                  <a:pt x="4790206" y="1631397"/>
                  <a:pt x="4791914" y="1627414"/>
                </a:cubicBezTo>
                <a:cubicBezTo>
                  <a:pt x="4794475" y="1626987"/>
                  <a:pt x="4797890" y="1624142"/>
                  <a:pt x="4800664" y="1624853"/>
                </a:cubicBezTo>
                <a:close/>
                <a:moveTo>
                  <a:pt x="1601607" y="1624575"/>
                </a:moveTo>
                <a:cubicBezTo>
                  <a:pt x="1601607" y="1624575"/>
                  <a:pt x="1601607" y="1624575"/>
                  <a:pt x="1603982" y="1625504"/>
                </a:cubicBezTo>
                <a:cubicBezTo>
                  <a:pt x="1604705" y="1625195"/>
                  <a:pt x="1604705" y="1625195"/>
                  <a:pt x="1604705" y="1625195"/>
                </a:cubicBezTo>
                <a:cubicBezTo>
                  <a:pt x="1605531" y="1624885"/>
                  <a:pt x="1606254" y="1626433"/>
                  <a:pt x="1606254" y="1626433"/>
                </a:cubicBezTo>
                <a:cubicBezTo>
                  <a:pt x="1606254" y="1628292"/>
                  <a:pt x="1603569" y="1628447"/>
                  <a:pt x="1602021" y="1629067"/>
                </a:cubicBezTo>
                <a:cubicBezTo>
                  <a:pt x="1602021" y="1630926"/>
                  <a:pt x="1598097" y="1628757"/>
                  <a:pt x="1598097" y="1630616"/>
                </a:cubicBezTo>
                <a:cubicBezTo>
                  <a:pt x="1593450" y="1628602"/>
                  <a:pt x="1591592" y="1634023"/>
                  <a:pt x="1584157" y="1632320"/>
                </a:cubicBezTo>
                <a:cubicBezTo>
                  <a:pt x="1585809" y="1630926"/>
                  <a:pt x="1587461" y="1629996"/>
                  <a:pt x="1589113" y="1629222"/>
                </a:cubicBezTo>
                <a:cubicBezTo>
                  <a:pt x="1594070" y="1627053"/>
                  <a:pt x="1598716" y="1627053"/>
                  <a:pt x="1601607" y="1624575"/>
                </a:cubicBezTo>
                <a:close/>
                <a:moveTo>
                  <a:pt x="1539241" y="1624575"/>
                </a:moveTo>
                <a:cubicBezTo>
                  <a:pt x="1539241" y="1624575"/>
                  <a:pt x="1539241" y="1624575"/>
                  <a:pt x="1538518" y="1625040"/>
                </a:cubicBezTo>
                <a:lnTo>
                  <a:pt x="1537795" y="1624730"/>
                </a:lnTo>
                <a:lnTo>
                  <a:pt x="1538311" y="1625349"/>
                </a:lnTo>
                <a:close/>
                <a:moveTo>
                  <a:pt x="1456429" y="1624420"/>
                </a:moveTo>
                <a:cubicBezTo>
                  <a:pt x="1456429" y="1624420"/>
                  <a:pt x="1456532" y="1624420"/>
                  <a:pt x="1457668" y="1624885"/>
                </a:cubicBezTo>
                <a:cubicBezTo>
                  <a:pt x="1456120" y="1625504"/>
                  <a:pt x="1456945" y="1629067"/>
                  <a:pt x="1454570" y="1627982"/>
                </a:cubicBezTo>
                <a:cubicBezTo>
                  <a:pt x="1454984" y="1626898"/>
                  <a:pt x="1456120" y="1625504"/>
                  <a:pt x="1456429" y="1624420"/>
                </a:cubicBezTo>
                <a:close/>
                <a:moveTo>
                  <a:pt x="5664587" y="1624142"/>
                </a:moveTo>
                <a:cubicBezTo>
                  <a:pt x="5675258" y="1623430"/>
                  <a:pt x="5685716" y="1627556"/>
                  <a:pt x="5689984" y="1637231"/>
                </a:cubicBezTo>
                <a:cubicBezTo>
                  <a:pt x="5685716" y="1646193"/>
                  <a:pt x="5679100" y="1651884"/>
                  <a:pt x="5671843" y="1654587"/>
                </a:cubicBezTo>
                <a:cubicBezTo>
                  <a:pt x="5659465" y="1659282"/>
                  <a:pt x="5645166" y="1655583"/>
                  <a:pt x="5637056" y="1644344"/>
                </a:cubicBezTo>
                <a:cubicBezTo>
                  <a:pt x="5637909" y="1642921"/>
                  <a:pt x="5638977" y="1641356"/>
                  <a:pt x="5637483" y="1640645"/>
                </a:cubicBezTo>
                <a:cubicBezTo>
                  <a:pt x="5642818" y="1630544"/>
                  <a:pt x="5653916" y="1624853"/>
                  <a:pt x="5664587" y="1624142"/>
                </a:cubicBezTo>
                <a:close/>
                <a:moveTo>
                  <a:pt x="4984632" y="1623857"/>
                </a:moveTo>
                <a:cubicBezTo>
                  <a:pt x="4986125" y="1623430"/>
                  <a:pt x="4986552" y="1624995"/>
                  <a:pt x="4987620" y="1625565"/>
                </a:cubicBezTo>
                <a:cubicBezTo>
                  <a:pt x="4989113" y="1627698"/>
                  <a:pt x="4989113" y="1636661"/>
                  <a:pt x="4987620" y="1637088"/>
                </a:cubicBezTo>
                <a:cubicBezTo>
                  <a:pt x="4985912" y="1634243"/>
                  <a:pt x="4983137" y="1629263"/>
                  <a:pt x="4983351" y="1626133"/>
                </a:cubicBezTo>
                <a:cubicBezTo>
                  <a:pt x="4983351" y="1625137"/>
                  <a:pt x="4983778" y="1624284"/>
                  <a:pt x="4984632" y="1623857"/>
                </a:cubicBezTo>
                <a:close/>
                <a:moveTo>
                  <a:pt x="5790291" y="1623573"/>
                </a:moveTo>
                <a:cubicBezTo>
                  <a:pt x="5790718" y="1625137"/>
                  <a:pt x="5790505" y="1625137"/>
                  <a:pt x="5789864" y="1626133"/>
                </a:cubicBezTo>
                <a:cubicBezTo>
                  <a:pt x="5788370" y="1626702"/>
                  <a:pt x="5787517" y="1625991"/>
                  <a:pt x="5785810" y="1626418"/>
                </a:cubicBezTo>
                <a:cubicBezTo>
                  <a:pt x="5786450" y="1629690"/>
                  <a:pt x="5786877" y="1628694"/>
                  <a:pt x="5785383" y="1629121"/>
                </a:cubicBezTo>
                <a:cubicBezTo>
                  <a:pt x="5785383" y="1629121"/>
                  <a:pt x="5785383" y="1629121"/>
                  <a:pt x="5783675" y="1629548"/>
                </a:cubicBezTo>
                <a:cubicBezTo>
                  <a:pt x="5783675" y="1629548"/>
                  <a:pt x="5783248" y="1630544"/>
                  <a:pt x="5781755" y="1626702"/>
                </a:cubicBezTo>
                <a:cubicBezTo>
                  <a:pt x="5783248" y="1626276"/>
                  <a:pt x="5787943" y="1624995"/>
                  <a:pt x="5787943" y="1624995"/>
                </a:cubicBezTo>
                <a:cubicBezTo>
                  <a:pt x="5788797" y="1623999"/>
                  <a:pt x="5788797" y="1623999"/>
                  <a:pt x="5790291" y="1623573"/>
                </a:cubicBezTo>
                <a:close/>
                <a:moveTo>
                  <a:pt x="1415333" y="1622871"/>
                </a:moveTo>
                <a:cubicBezTo>
                  <a:pt x="1415024" y="1623955"/>
                  <a:pt x="1416263" y="1626433"/>
                  <a:pt x="1416263" y="1628292"/>
                </a:cubicBezTo>
                <a:cubicBezTo>
                  <a:pt x="1415540" y="1628602"/>
                  <a:pt x="1415127" y="1629686"/>
                  <a:pt x="1414404" y="1629996"/>
                </a:cubicBezTo>
                <a:cubicBezTo>
                  <a:pt x="1413991" y="1629222"/>
                  <a:pt x="1412442" y="1627828"/>
                  <a:pt x="1413268" y="1627518"/>
                </a:cubicBezTo>
                <a:cubicBezTo>
                  <a:pt x="1412855" y="1626743"/>
                  <a:pt x="1414301" y="1626124"/>
                  <a:pt x="1414301" y="1626124"/>
                </a:cubicBezTo>
                <a:cubicBezTo>
                  <a:pt x="1413991" y="1625349"/>
                  <a:pt x="1413578" y="1624575"/>
                  <a:pt x="1413888" y="1623491"/>
                </a:cubicBezTo>
                <a:cubicBezTo>
                  <a:pt x="1415024" y="1623955"/>
                  <a:pt x="1414610" y="1623181"/>
                  <a:pt x="1415333" y="1622871"/>
                </a:cubicBezTo>
                <a:close/>
                <a:moveTo>
                  <a:pt x="4892434" y="1622719"/>
                </a:moveTo>
                <a:lnTo>
                  <a:pt x="4894142" y="1627556"/>
                </a:lnTo>
                <a:cubicBezTo>
                  <a:pt x="4892648" y="1628125"/>
                  <a:pt x="4890086" y="1627983"/>
                  <a:pt x="4889660" y="1626418"/>
                </a:cubicBezTo>
                <a:cubicBezTo>
                  <a:pt x="4888806" y="1625280"/>
                  <a:pt x="4889019" y="1624710"/>
                  <a:pt x="4889660" y="1624284"/>
                </a:cubicBezTo>
                <a:cubicBezTo>
                  <a:pt x="4890514" y="1623857"/>
                  <a:pt x="4891581" y="1623430"/>
                  <a:pt x="4892434" y="1622719"/>
                </a:cubicBezTo>
                <a:close/>
                <a:moveTo>
                  <a:pt x="5088567" y="1622435"/>
                </a:moveTo>
                <a:cubicBezTo>
                  <a:pt x="5089634" y="1623857"/>
                  <a:pt x="5089421" y="1626276"/>
                  <a:pt x="5090488" y="1627556"/>
                </a:cubicBezTo>
                <a:cubicBezTo>
                  <a:pt x="5089421" y="1627414"/>
                  <a:pt x="5088140" y="1628410"/>
                  <a:pt x="5086859" y="1628267"/>
                </a:cubicBezTo>
                <a:cubicBezTo>
                  <a:pt x="5084726" y="1625422"/>
                  <a:pt x="5087286" y="1622292"/>
                  <a:pt x="5088567" y="1622435"/>
                </a:cubicBezTo>
                <a:close/>
                <a:moveTo>
                  <a:pt x="1002618" y="1622097"/>
                </a:moveTo>
                <a:cubicBezTo>
                  <a:pt x="1004477" y="1624420"/>
                  <a:pt x="1004477" y="1628602"/>
                  <a:pt x="1000553" y="1631700"/>
                </a:cubicBezTo>
                <a:cubicBezTo>
                  <a:pt x="996939" y="1631545"/>
                  <a:pt x="994668" y="1630151"/>
                  <a:pt x="992912" y="1629376"/>
                </a:cubicBezTo>
                <a:cubicBezTo>
                  <a:pt x="993325" y="1627053"/>
                  <a:pt x="993015" y="1625195"/>
                  <a:pt x="993325" y="1622871"/>
                </a:cubicBezTo>
                <a:cubicBezTo>
                  <a:pt x="997042" y="1618843"/>
                  <a:pt x="1000759" y="1619618"/>
                  <a:pt x="1002618" y="1622097"/>
                </a:cubicBezTo>
                <a:close/>
                <a:moveTo>
                  <a:pt x="1031014" y="1621942"/>
                </a:moveTo>
                <a:cubicBezTo>
                  <a:pt x="1032872" y="1624110"/>
                  <a:pt x="1028949" y="1631235"/>
                  <a:pt x="1026574" y="1634023"/>
                </a:cubicBezTo>
                <a:cubicBezTo>
                  <a:pt x="1026161" y="1633559"/>
                  <a:pt x="1025954" y="1632630"/>
                  <a:pt x="1026161" y="1631700"/>
                </a:cubicBezTo>
                <a:cubicBezTo>
                  <a:pt x="1026574" y="1628602"/>
                  <a:pt x="1029259" y="1624110"/>
                  <a:pt x="1031014" y="1621942"/>
                </a:cubicBezTo>
                <a:close/>
                <a:moveTo>
                  <a:pt x="4819018" y="1621865"/>
                </a:moveTo>
                <a:cubicBezTo>
                  <a:pt x="4819018" y="1621865"/>
                  <a:pt x="4819018" y="1621865"/>
                  <a:pt x="4820512" y="1622435"/>
                </a:cubicBezTo>
                <a:cubicBezTo>
                  <a:pt x="4817310" y="1623715"/>
                  <a:pt x="4813042" y="1625565"/>
                  <a:pt x="4810481" y="1625422"/>
                </a:cubicBezTo>
                <a:cubicBezTo>
                  <a:pt x="4812402" y="1623430"/>
                  <a:pt x="4816244" y="1620585"/>
                  <a:pt x="4819018" y="1621865"/>
                </a:cubicBezTo>
                <a:close/>
                <a:moveTo>
                  <a:pt x="3940369" y="1621723"/>
                </a:moveTo>
                <a:cubicBezTo>
                  <a:pt x="3943143" y="1625137"/>
                  <a:pt x="3946771" y="1633389"/>
                  <a:pt x="3945704" y="1634669"/>
                </a:cubicBezTo>
                <a:cubicBezTo>
                  <a:pt x="3944210" y="1632394"/>
                  <a:pt x="3939515" y="1624142"/>
                  <a:pt x="3940369" y="1621723"/>
                </a:cubicBezTo>
                <a:close/>
                <a:moveTo>
                  <a:pt x="1119091" y="1620857"/>
                </a:moveTo>
                <a:cubicBezTo>
                  <a:pt x="1120640" y="1621787"/>
                  <a:pt x="1122602" y="1622097"/>
                  <a:pt x="1124047" y="1623026"/>
                </a:cubicBezTo>
                <a:cubicBezTo>
                  <a:pt x="1127455" y="1631080"/>
                  <a:pt x="1124357" y="1630926"/>
                  <a:pt x="1120330" y="1632165"/>
                </a:cubicBezTo>
                <a:cubicBezTo>
                  <a:pt x="1119298" y="1630616"/>
                  <a:pt x="1116613" y="1629841"/>
                  <a:pt x="1115890" y="1627518"/>
                </a:cubicBezTo>
                <a:cubicBezTo>
                  <a:pt x="1115890" y="1627518"/>
                  <a:pt x="1115890" y="1627208"/>
                  <a:pt x="1115890" y="1626743"/>
                </a:cubicBezTo>
                <a:cubicBezTo>
                  <a:pt x="1115890" y="1626278"/>
                  <a:pt x="1116097" y="1625659"/>
                  <a:pt x="1116510" y="1624885"/>
                </a:cubicBezTo>
                <a:cubicBezTo>
                  <a:pt x="1116303" y="1621942"/>
                  <a:pt x="1119917" y="1621322"/>
                  <a:pt x="1119917" y="1621322"/>
                </a:cubicBezTo>
                <a:cubicBezTo>
                  <a:pt x="1119917" y="1621322"/>
                  <a:pt x="1119814" y="1621322"/>
                  <a:pt x="1119091" y="1620857"/>
                </a:cubicBezTo>
                <a:close/>
                <a:moveTo>
                  <a:pt x="3988388" y="1620300"/>
                </a:moveTo>
                <a:cubicBezTo>
                  <a:pt x="3992443" y="1619589"/>
                  <a:pt x="3992870" y="1622150"/>
                  <a:pt x="3995431" y="1621438"/>
                </a:cubicBezTo>
                <a:cubicBezTo>
                  <a:pt x="3995431" y="1627272"/>
                  <a:pt x="3992657" y="1629548"/>
                  <a:pt x="3987748" y="1631113"/>
                </a:cubicBezTo>
                <a:cubicBezTo>
                  <a:pt x="3985614" y="1628552"/>
                  <a:pt x="3985614" y="1622719"/>
                  <a:pt x="3988388" y="1620300"/>
                </a:cubicBezTo>
                <a:close/>
                <a:moveTo>
                  <a:pt x="3474473" y="1620016"/>
                </a:moveTo>
                <a:lnTo>
                  <a:pt x="3472339" y="1627840"/>
                </a:lnTo>
                <a:cubicBezTo>
                  <a:pt x="3472126" y="1630402"/>
                  <a:pt x="3471699" y="1632820"/>
                  <a:pt x="3471485" y="1635523"/>
                </a:cubicBezTo>
                <a:lnTo>
                  <a:pt x="3471699" y="1638795"/>
                </a:lnTo>
                <a:lnTo>
                  <a:pt x="3473620" y="1638368"/>
                </a:lnTo>
                <a:lnTo>
                  <a:pt x="3476394" y="1628837"/>
                </a:lnTo>
                <a:lnTo>
                  <a:pt x="3477675" y="1625991"/>
                </a:lnTo>
                <a:lnTo>
                  <a:pt x="3475540" y="1623857"/>
                </a:lnTo>
                <a:close/>
                <a:moveTo>
                  <a:pt x="1274698" y="1619928"/>
                </a:moveTo>
                <a:cubicBezTo>
                  <a:pt x="1274698" y="1619928"/>
                  <a:pt x="1274389" y="1621012"/>
                  <a:pt x="1274079" y="1622252"/>
                </a:cubicBezTo>
                <a:cubicBezTo>
                  <a:pt x="1273769" y="1623491"/>
                  <a:pt x="1273769" y="1623491"/>
                  <a:pt x="1275008" y="1623645"/>
                </a:cubicBezTo>
                <a:cubicBezTo>
                  <a:pt x="1274698" y="1624885"/>
                  <a:pt x="1274698" y="1624885"/>
                  <a:pt x="1273149" y="1625969"/>
                </a:cubicBezTo>
                <a:cubicBezTo>
                  <a:pt x="1273459" y="1624730"/>
                  <a:pt x="1273459" y="1619773"/>
                  <a:pt x="1274698" y="1619928"/>
                </a:cubicBezTo>
                <a:close/>
                <a:moveTo>
                  <a:pt x="1221831" y="1619463"/>
                </a:moveTo>
                <a:cubicBezTo>
                  <a:pt x="1225445" y="1619928"/>
                  <a:pt x="1229059" y="1620238"/>
                  <a:pt x="1230814" y="1622252"/>
                </a:cubicBezTo>
                <a:cubicBezTo>
                  <a:pt x="1230711" y="1624575"/>
                  <a:pt x="1230092" y="1626588"/>
                  <a:pt x="1228749" y="1627828"/>
                </a:cubicBezTo>
                <a:cubicBezTo>
                  <a:pt x="1227407" y="1629222"/>
                  <a:pt x="1225445" y="1630151"/>
                  <a:pt x="1222657" y="1630151"/>
                </a:cubicBezTo>
                <a:cubicBezTo>
                  <a:pt x="1220902" y="1628757"/>
                  <a:pt x="1220489" y="1626743"/>
                  <a:pt x="1220592" y="1624730"/>
                </a:cubicBezTo>
                <a:cubicBezTo>
                  <a:pt x="1220695" y="1622871"/>
                  <a:pt x="1221418" y="1620857"/>
                  <a:pt x="1221831" y="1619463"/>
                </a:cubicBezTo>
                <a:close/>
                <a:moveTo>
                  <a:pt x="956979" y="1618843"/>
                </a:moveTo>
                <a:cubicBezTo>
                  <a:pt x="965653" y="1617605"/>
                  <a:pt x="977940" y="1633249"/>
                  <a:pt x="971125" y="1640684"/>
                </a:cubicBezTo>
                <a:cubicBezTo>
                  <a:pt x="966788" y="1632165"/>
                  <a:pt x="959870" y="1629376"/>
                  <a:pt x="956979" y="1618843"/>
                </a:cubicBezTo>
                <a:close/>
                <a:moveTo>
                  <a:pt x="1301751" y="1618534"/>
                </a:moveTo>
                <a:cubicBezTo>
                  <a:pt x="1305469" y="1619618"/>
                  <a:pt x="1307327" y="1621477"/>
                  <a:pt x="1308050" y="1623645"/>
                </a:cubicBezTo>
                <a:cubicBezTo>
                  <a:pt x="1309496" y="1628447"/>
                  <a:pt x="1304436" y="1634333"/>
                  <a:pt x="1298550" y="1635263"/>
                </a:cubicBezTo>
                <a:lnTo>
                  <a:pt x="1294627" y="1634798"/>
                </a:lnTo>
                <a:lnTo>
                  <a:pt x="1294214" y="1635108"/>
                </a:lnTo>
                <a:lnTo>
                  <a:pt x="1293284" y="1634643"/>
                </a:lnTo>
                <a:lnTo>
                  <a:pt x="1292562" y="1634488"/>
                </a:lnTo>
                <a:cubicBezTo>
                  <a:pt x="1291942" y="1633094"/>
                  <a:pt x="1291942" y="1631545"/>
                  <a:pt x="1292252" y="1629996"/>
                </a:cubicBezTo>
                <a:cubicBezTo>
                  <a:pt x="1293388" y="1625040"/>
                  <a:pt x="1298034" y="1619773"/>
                  <a:pt x="1301751" y="1618534"/>
                </a:cubicBezTo>
                <a:close/>
                <a:moveTo>
                  <a:pt x="1527366" y="1618069"/>
                </a:moveTo>
                <a:cubicBezTo>
                  <a:pt x="1528502" y="1618379"/>
                  <a:pt x="1527779" y="1618843"/>
                  <a:pt x="1528502" y="1618379"/>
                </a:cubicBezTo>
                <a:cubicBezTo>
                  <a:pt x="1529638" y="1618843"/>
                  <a:pt x="1529225" y="1618069"/>
                  <a:pt x="1529225" y="1618069"/>
                </a:cubicBezTo>
                <a:cubicBezTo>
                  <a:pt x="1529225" y="1618069"/>
                  <a:pt x="1529741" y="1618689"/>
                  <a:pt x="1529741" y="1618689"/>
                </a:cubicBezTo>
                <a:cubicBezTo>
                  <a:pt x="1529741" y="1618689"/>
                  <a:pt x="1529638" y="1618689"/>
                  <a:pt x="1532116" y="1619463"/>
                </a:cubicBezTo>
                <a:cubicBezTo>
                  <a:pt x="1535214" y="1619773"/>
                  <a:pt x="1536040" y="1619463"/>
                  <a:pt x="1538002" y="1619309"/>
                </a:cubicBezTo>
                <a:cubicBezTo>
                  <a:pt x="1540376" y="1620083"/>
                  <a:pt x="1540790" y="1620857"/>
                  <a:pt x="1543681" y="1622252"/>
                </a:cubicBezTo>
                <a:cubicBezTo>
                  <a:pt x="1543887" y="1624110"/>
                  <a:pt x="1543887" y="1624110"/>
                  <a:pt x="1543164" y="1624575"/>
                </a:cubicBezTo>
                <a:cubicBezTo>
                  <a:pt x="1543887" y="1624110"/>
                  <a:pt x="1544403" y="1624885"/>
                  <a:pt x="1545539" y="1625195"/>
                </a:cubicBezTo>
                <a:cubicBezTo>
                  <a:pt x="1550702" y="1625504"/>
                  <a:pt x="1551528" y="1629996"/>
                  <a:pt x="1550805" y="1635263"/>
                </a:cubicBezTo>
                <a:cubicBezTo>
                  <a:pt x="1550186" y="1635108"/>
                  <a:pt x="1549876" y="1635727"/>
                  <a:pt x="1549566" y="1636657"/>
                </a:cubicBezTo>
                <a:lnTo>
                  <a:pt x="1549463" y="1636811"/>
                </a:lnTo>
                <a:lnTo>
                  <a:pt x="1549876" y="1636966"/>
                </a:lnTo>
                <a:cubicBezTo>
                  <a:pt x="1551735" y="1637431"/>
                  <a:pt x="1553593" y="1637896"/>
                  <a:pt x="1553593" y="1637896"/>
                </a:cubicBezTo>
                <a:lnTo>
                  <a:pt x="1553800" y="1639445"/>
                </a:lnTo>
                <a:lnTo>
                  <a:pt x="1555968" y="1636347"/>
                </a:lnTo>
                <a:cubicBezTo>
                  <a:pt x="1560098" y="1633094"/>
                  <a:pt x="1567327" y="1631235"/>
                  <a:pt x="1569185" y="1634178"/>
                </a:cubicBezTo>
                <a:cubicBezTo>
                  <a:pt x="1570424" y="1636192"/>
                  <a:pt x="1569185" y="1640529"/>
                  <a:pt x="1562783" y="1647964"/>
                </a:cubicBezTo>
                <a:cubicBezTo>
                  <a:pt x="1556898" y="1646570"/>
                  <a:pt x="1554213" y="1644556"/>
                  <a:pt x="1553387" y="1642543"/>
                </a:cubicBezTo>
                <a:lnTo>
                  <a:pt x="1553284" y="1640374"/>
                </a:lnTo>
                <a:lnTo>
                  <a:pt x="1551528" y="1641459"/>
                </a:lnTo>
                <a:cubicBezTo>
                  <a:pt x="1550289" y="1641923"/>
                  <a:pt x="1548224" y="1641923"/>
                  <a:pt x="1546159" y="1641459"/>
                </a:cubicBezTo>
                <a:lnTo>
                  <a:pt x="1543371" y="1640374"/>
                </a:lnTo>
                <a:lnTo>
                  <a:pt x="1542235" y="1640684"/>
                </a:lnTo>
                <a:cubicBezTo>
                  <a:pt x="1538621" y="1639600"/>
                  <a:pt x="1533975" y="1635108"/>
                  <a:pt x="1534801" y="1631700"/>
                </a:cubicBezTo>
                <a:cubicBezTo>
                  <a:pt x="1535007" y="1629686"/>
                  <a:pt x="1535627" y="1628137"/>
                  <a:pt x="1536349" y="1627053"/>
                </a:cubicBezTo>
                <a:lnTo>
                  <a:pt x="1537279" y="1626278"/>
                </a:lnTo>
                <a:lnTo>
                  <a:pt x="1534491" y="1627208"/>
                </a:lnTo>
                <a:cubicBezTo>
                  <a:pt x="1533149" y="1627053"/>
                  <a:pt x="1531909" y="1626588"/>
                  <a:pt x="1530773" y="1626124"/>
                </a:cubicBezTo>
                <a:cubicBezTo>
                  <a:pt x="1529122" y="1625195"/>
                  <a:pt x="1528296" y="1625195"/>
                  <a:pt x="1526437" y="1625814"/>
                </a:cubicBezTo>
                <a:cubicBezTo>
                  <a:pt x="1526437" y="1625814"/>
                  <a:pt x="1526437" y="1625814"/>
                  <a:pt x="1524991" y="1624110"/>
                </a:cubicBezTo>
                <a:lnTo>
                  <a:pt x="1525198" y="1623181"/>
                </a:lnTo>
                <a:cubicBezTo>
                  <a:pt x="1525507" y="1622871"/>
                  <a:pt x="1526127" y="1622716"/>
                  <a:pt x="1527160" y="1622716"/>
                </a:cubicBezTo>
                <a:cubicBezTo>
                  <a:pt x="1528502" y="1622716"/>
                  <a:pt x="1530464" y="1622871"/>
                  <a:pt x="1532116" y="1623181"/>
                </a:cubicBezTo>
                <a:lnTo>
                  <a:pt x="1535110" y="1623800"/>
                </a:lnTo>
                <a:lnTo>
                  <a:pt x="1529948" y="1622097"/>
                </a:lnTo>
                <a:cubicBezTo>
                  <a:pt x="1527160" y="1621012"/>
                  <a:pt x="1524888" y="1619773"/>
                  <a:pt x="1524578" y="1618534"/>
                </a:cubicBezTo>
                <a:cubicBezTo>
                  <a:pt x="1525404" y="1618069"/>
                  <a:pt x="1526127" y="1617605"/>
                  <a:pt x="1527366" y="1618069"/>
                </a:cubicBezTo>
                <a:close/>
                <a:moveTo>
                  <a:pt x="4637611" y="1617881"/>
                </a:moveTo>
                <a:cubicBezTo>
                  <a:pt x="4646574" y="1618878"/>
                  <a:pt x="4655752" y="1624995"/>
                  <a:pt x="4658526" y="1631113"/>
                </a:cubicBezTo>
                <a:cubicBezTo>
                  <a:pt x="4655752" y="1632251"/>
                  <a:pt x="4652764" y="1632394"/>
                  <a:pt x="4649989" y="1631966"/>
                </a:cubicBezTo>
                <a:lnTo>
                  <a:pt x="4642306" y="1629405"/>
                </a:lnTo>
                <a:lnTo>
                  <a:pt x="4642946" y="1633531"/>
                </a:lnTo>
                <a:cubicBezTo>
                  <a:pt x="4642946" y="1635381"/>
                  <a:pt x="4642520" y="1637088"/>
                  <a:pt x="4641239" y="1638226"/>
                </a:cubicBezTo>
                <a:cubicBezTo>
                  <a:pt x="4641239" y="1638226"/>
                  <a:pt x="4641239" y="1638226"/>
                  <a:pt x="4639958" y="1639365"/>
                </a:cubicBezTo>
                <a:cubicBezTo>
                  <a:pt x="4640172" y="1637657"/>
                  <a:pt x="4640386" y="1635523"/>
                  <a:pt x="4640812" y="1633674"/>
                </a:cubicBezTo>
                <a:lnTo>
                  <a:pt x="4642093" y="1629263"/>
                </a:lnTo>
                <a:lnTo>
                  <a:pt x="4641666" y="1629121"/>
                </a:lnTo>
                <a:cubicBezTo>
                  <a:pt x="4636330" y="1626418"/>
                  <a:pt x="4631635" y="1622292"/>
                  <a:pt x="4628861" y="1618878"/>
                </a:cubicBezTo>
                <a:cubicBezTo>
                  <a:pt x="4631635" y="1617881"/>
                  <a:pt x="4634623" y="1617597"/>
                  <a:pt x="4637611" y="1617881"/>
                </a:cubicBezTo>
                <a:close/>
                <a:moveTo>
                  <a:pt x="1056931" y="1617449"/>
                </a:moveTo>
                <a:cubicBezTo>
                  <a:pt x="1058790" y="1617295"/>
                  <a:pt x="1057963" y="1620702"/>
                  <a:pt x="1058480" y="1621477"/>
                </a:cubicBezTo>
                <a:cubicBezTo>
                  <a:pt x="1058170" y="1622561"/>
                  <a:pt x="1057860" y="1623800"/>
                  <a:pt x="1056724" y="1623336"/>
                </a:cubicBezTo>
                <a:cubicBezTo>
                  <a:pt x="1055485" y="1623026"/>
                  <a:pt x="1054763" y="1623336"/>
                  <a:pt x="1054556" y="1621477"/>
                </a:cubicBezTo>
                <a:cubicBezTo>
                  <a:pt x="1054143" y="1620702"/>
                  <a:pt x="1054350" y="1619618"/>
                  <a:pt x="1053936" y="1618998"/>
                </a:cubicBezTo>
                <a:cubicBezTo>
                  <a:pt x="1053936" y="1618998"/>
                  <a:pt x="1054350" y="1618379"/>
                  <a:pt x="1054969" y="1618069"/>
                </a:cubicBezTo>
                <a:cubicBezTo>
                  <a:pt x="1055589" y="1617605"/>
                  <a:pt x="1056311" y="1617140"/>
                  <a:pt x="1056931" y="1617449"/>
                </a:cubicBezTo>
                <a:close/>
                <a:moveTo>
                  <a:pt x="1346048" y="1617295"/>
                </a:moveTo>
                <a:cubicBezTo>
                  <a:pt x="1350282" y="1617759"/>
                  <a:pt x="1351831" y="1622252"/>
                  <a:pt x="1346874" y="1625195"/>
                </a:cubicBezTo>
                <a:cubicBezTo>
                  <a:pt x="1345429" y="1623026"/>
                  <a:pt x="1343983" y="1620857"/>
                  <a:pt x="1344706" y="1618998"/>
                </a:cubicBezTo>
                <a:cubicBezTo>
                  <a:pt x="1344912" y="1618379"/>
                  <a:pt x="1345326" y="1617759"/>
                  <a:pt x="1346048" y="1617295"/>
                </a:cubicBezTo>
                <a:close/>
                <a:moveTo>
                  <a:pt x="1242379" y="1616985"/>
                </a:moveTo>
                <a:cubicBezTo>
                  <a:pt x="1242379" y="1616985"/>
                  <a:pt x="1242069" y="1618069"/>
                  <a:pt x="1242482" y="1618689"/>
                </a:cubicBezTo>
                <a:cubicBezTo>
                  <a:pt x="1242482" y="1618689"/>
                  <a:pt x="1242276" y="1619928"/>
                  <a:pt x="1241966" y="1621012"/>
                </a:cubicBezTo>
                <a:cubicBezTo>
                  <a:pt x="1241966" y="1621012"/>
                  <a:pt x="1242379" y="1621787"/>
                  <a:pt x="1242792" y="1622406"/>
                </a:cubicBezTo>
                <a:cubicBezTo>
                  <a:pt x="1242689" y="1625349"/>
                  <a:pt x="1242792" y="1627208"/>
                  <a:pt x="1239385" y="1628447"/>
                </a:cubicBezTo>
                <a:cubicBezTo>
                  <a:pt x="1239178" y="1628137"/>
                  <a:pt x="1239281" y="1627363"/>
                  <a:pt x="1239385" y="1626588"/>
                </a:cubicBezTo>
                <a:cubicBezTo>
                  <a:pt x="1239488" y="1625814"/>
                  <a:pt x="1239695" y="1624885"/>
                  <a:pt x="1239901" y="1624420"/>
                </a:cubicBezTo>
                <a:cubicBezTo>
                  <a:pt x="1239488" y="1623645"/>
                  <a:pt x="1239695" y="1622561"/>
                  <a:pt x="1240417" y="1622097"/>
                </a:cubicBezTo>
                <a:cubicBezTo>
                  <a:pt x="1240417" y="1622097"/>
                  <a:pt x="1240727" y="1620857"/>
                  <a:pt x="1240314" y="1620238"/>
                </a:cubicBezTo>
                <a:cubicBezTo>
                  <a:pt x="1240934" y="1617914"/>
                  <a:pt x="1241553" y="1617449"/>
                  <a:pt x="1242379" y="1616985"/>
                </a:cubicBezTo>
                <a:close/>
                <a:moveTo>
                  <a:pt x="3911770" y="1616744"/>
                </a:moveTo>
                <a:cubicBezTo>
                  <a:pt x="3912837" y="1616601"/>
                  <a:pt x="3913905" y="1616601"/>
                  <a:pt x="3914972" y="1616886"/>
                </a:cubicBezTo>
                <a:cubicBezTo>
                  <a:pt x="3916252" y="1617313"/>
                  <a:pt x="3917320" y="1618166"/>
                  <a:pt x="3918173" y="1619304"/>
                </a:cubicBezTo>
                <a:cubicBezTo>
                  <a:pt x="3919453" y="1620727"/>
                  <a:pt x="3920308" y="1622577"/>
                  <a:pt x="3920308" y="1624710"/>
                </a:cubicBezTo>
                <a:lnTo>
                  <a:pt x="3919667" y="1626560"/>
                </a:lnTo>
                <a:lnTo>
                  <a:pt x="3922441" y="1626418"/>
                </a:lnTo>
                <a:cubicBezTo>
                  <a:pt x="3923722" y="1627414"/>
                  <a:pt x="3923722" y="1627414"/>
                  <a:pt x="3922868" y="1628552"/>
                </a:cubicBezTo>
                <a:cubicBezTo>
                  <a:pt x="3921588" y="1628552"/>
                  <a:pt x="3920520" y="1628694"/>
                  <a:pt x="3920308" y="1627556"/>
                </a:cubicBezTo>
                <a:lnTo>
                  <a:pt x="3919453" y="1626845"/>
                </a:lnTo>
                <a:lnTo>
                  <a:pt x="3918813" y="1629263"/>
                </a:lnTo>
                <a:cubicBezTo>
                  <a:pt x="3917960" y="1630829"/>
                  <a:pt x="3916466" y="1632394"/>
                  <a:pt x="3914545" y="1633816"/>
                </a:cubicBezTo>
                <a:cubicBezTo>
                  <a:pt x="3908996" y="1632678"/>
                  <a:pt x="3907716" y="1629405"/>
                  <a:pt x="3904301" y="1627129"/>
                </a:cubicBezTo>
                <a:cubicBezTo>
                  <a:pt x="3905581" y="1620300"/>
                  <a:pt x="3908782" y="1617313"/>
                  <a:pt x="3911770" y="1616744"/>
                </a:cubicBezTo>
                <a:close/>
                <a:moveTo>
                  <a:pt x="4846976" y="1616601"/>
                </a:moveTo>
                <a:cubicBezTo>
                  <a:pt x="4841214" y="1617740"/>
                  <a:pt x="4833744" y="1622008"/>
                  <a:pt x="4828408" y="1620585"/>
                </a:cubicBezTo>
                <a:cubicBezTo>
                  <a:pt x="4830543" y="1619731"/>
                  <a:pt x="4842921" y="1615748"/>
                  <a:pt x="4846976" y="1616601"/>
                </a:cubicBezTo>
                <a:close/>
                <a:moveTo>
                  <a:pt x="5374976" y="1616174"/>
                </a:moveTo>
                <a:cubicBezTo>
                  <a:pt x="5375403" y="1617881"/>
                  <a:pt x="5377110" y="1617597"/>
                  <a:pt x="5378605" y="1617313"/>
                </a:cubicBezTo>
                <a:cubicBezTo>
                  <a:pt x="5380738" y="1619020"/>
                  <a:pt x="5382019" y="1621438"/>
                  <a:pt x="5382446" y="1624142"/>
                </a:cubicBezTo>
                <a:lnTo>
                  <a:pt x="5382019" y="1629263"/>
                </a:lnTo>
                <a:lnTo>
                  <a:pt x="5388209" y="1629832"/>
                </a:lnTo>
                <a:cubicBezTo>
                  <a:pt x="5388635" y="1632394"/>
                  <a:pt x="5388209" y="1634527"/>
                  <a:pt x="5387355" y="1636234"/>
                </a:cubicBezTo>
                <a:lnTo>
                  <a:pt x="5387141" y="1636519"/>
                </a:lnTo>
                <a:lnTo>
                  <a:pt x="5393971" y="1635950"/>
                </a:lnTo>
                <a:cubicBezTo>
                  <a:pt x="5393544" y="1638084"/>
                  <a:pt x="5393971" y="1639791"/>
                  <a:pt x="5393971" y="1641783"/>
                </a:cubicBezTo>
                <a:lnTo>
                  <a:pt x="5393544" y="1645197"/>
                </a:lnTo>
                <a:lnTo>
                  <a:pt x="5394824" y="1645197"/>
                </a:lnTo>
                <a:cubicBezTo>
                  <a:pt x="5396318" y="1647901"/>
                  <a:pt x="5396745" y="1650177"/>
                  <a:pt x="5396745" y="1651884"/>
                </a:cubicBezTo>
                <a:lnTo>
                  <a:pt x="5395892" y="1653734"/>
                </a:lnTo>
                <a:lnTo>
                  <a:pt x="5401654" y="1653307"/>
                </a:lnTo>
                <a:cubicBezTo>
                  <a:pt x="5404215" y="1653591"/>
                  <a:pt x="5405922" y="1654444"/>
                  <a:pt x="5406989" y="1655441"/>
                </a:cubicBezTo>
                <a:lnTo>
                  <a:pt x="5408270" y="1658002"/>
                </a:lnTo>
                <a:lnTo>
                  <a:pt x="5409764" y="1655583"/>
                </a:lnTo>
                <a:cubicBezTo>
                  <a:pt x="5411044" y="1654444"/>
                  <a:pt x="5413819" y="1653449"/>
                  <a:pt x="5416593" y="1652880"/>
                </a:cubicBezTo>
                <a:cubicBezTo>
                  <a:pt x="5419368" y="1652311"/>
                  <a:pt x="5422355" y="1652311"/>
                  <a:pt x="5423850" y="1653449"/>
                </a:cubicBezTo>
                <a:cubicBezTo>
                  <a:pt x="5422569" y="1655725"/>
                  <a:pt x="5421075" y="1658144"/>
                  <a:pt x="5419794" y="1660420"/>
                </a:cubicBezTo>
                <a:cubicBezTo>
                  <a:pt x="5419794" y="1659282"/>
                  <a:pt x="5409123" y="1661416"/>
                  <a:pt x="5409123" y="1661416"/>
                </a:cubicBezTo>
                <a:lnTo>
                  <a:pt x="5408056" y="1659566"/>
                </a:lnTo>
                <a:lnTo>
                  <a:pt x="5406989" y="1664546"/>
                </a:lnTo>
                <a:cubicBezTo>
                  <a:pt x="5403575" y="1671091"/>
                  <a:pt x="5395465" y="1677493"/>
                  <a:pt x="5391623" y="1674789"/>
                </a:cubicBezTo>
                <a:cubicBezTo>
                  <a:pt x="5389489" y="1673509"/>
                  <a:pt x="5388635" y="1669668"/>
                  <a:pt x="5389916" y="1662412"/>
                </a:cubicBezTo>
                <a:lnTo>
                  <a:pt x="5391196" y="1656721"/>
                </a:lnTo>
                <a:lnTo>
                  <a:pt x="5390769" y="1656863"/>
                </a:lnTo>
                <a:cubicBezTo>
                  <a:pt x="5389276" y="1656721"/>
                  <a:pt x="5387781" y="1656152"/>
                  <a:pt x="5386288" y="1655156"/>
                </a:cubicBezTo>
                <a:lnTo>
                  <a:pt x="5382233" y="1649607"/>
                </a:lnTo>
                <a:lnTo>
                  <a:pt x="5362598" y="1650319"/>
                </a:lnTo>
                <a:cubicBezTo>
                  <a:pt x="5352994" y="1651172"/>
                  <a:pt x="5343817" y="1651884"/>
                  <a:pt x="5335280" y="1651030"/>
                </a:cubicBezTo>
                <a:lnTo>
                  <a:pt x="5343177" y="1645767"/>
                </a:lnTo>
                <a:lnTo>
                  <a:pt x="5342323" y="1644913"/>
                </a:lnTo>
                <a:cubicBezTo>
                  <a:pt x="5338055" y="1643917"/>
                  <a:pt x="5333573" y="1649466"/>
                  <a:pt x="5330158" y="1643775"/>
                </a:cubicBezTo>
                <a:cubicBezTo>
                  <a:pt x="5329945" y="1640218"/>
                  <a:pt x="5328451" y="1636519"/>
                  <a:pt x="5329518" y="1632394"/>
                </a:cubicBezTo>
                <a:cubicBezTo>
                  <a:pt x="5329945" y="1631113"/>
                  <a:pt x="5330585" y="1629690"/>
                  <a:pt x="5331652" y="1628267"/>
                </a:cubicBezTo>
                <a:cubicBezTo>
                  <a:pt x="5338482" y="1634812"/>
                  <a:pt x="5345098" y="1636661"/>
                  <a:pt x="5352354" y="1640930"/>
                </a:cubicBezTo>
                <a:lnTo>
                  <a:pt x="5352140" y="1641641"/>
                </a:lnTo>
                <a:lnTo>
                  <a:pt x="5362384" y="1638938"/>
                </a:lnTo>
                <a:lnTo>
                  <a:pt x="5369427" y="1638084"/>
                </a:lnTo>
                <a:lnTo>
                  <a:pt x="5368787" y="1637515"/>
                </a:lnTo>
                <a:cubicBezTo>
                  <a:pt x="5366013" y="1627698"/>
                  <a:pt x="5366226" y="1619731"/>
                  <a:pt x="5374976" y="1616174"/>
                </a:cubicBezTo>
                <a:close/>
                <a:moveTo>
                  <a:pt x="1096994" y="1615901"/>
                </a:moveTo>
                <a:lnTo>
                  <a:pt x="1097098" y="1616675"/>
                </a:lnTo>
                <a:lnTo>
                  <a:pt x="1097201" y="1616520"/>
                </a:lnTo>
                <a:close/>
                <a:moveTo>
                  <a:pt x="4771638" y="1615890"/>
                </a:moveTo>
                <a:cubicBezTo>
                  <a:pt x="4774626" y="1619304"/>
                  <a:pt x="4780176" y="1621438"/>
                  <a:pt x="4781669" y="1625280"/>
                </a:cubicBezTo>
                <a:cubicBezTo>
                  <a:pt x="4781883" y="1626133"/>
                  <a:pt x="4782096" y="1626987"/>
                  <a:pt x="4781669" y="1627698"/>
                </a:cubicBezTo>
                <a:cubicBezTo>
                  <a:pt x="4781456" y="1628410"/>
                  <a:pt x="4780602" y="1629121"/>
                  <a:pt x="4779108" y="1629548"/>
                </a:cubicBezTo>
                <a:cubicBezTo>
                  <a:pt x="4776761" y="1630971"/>
                  <a:pt x="4775907" y="1630259"/>
                  <a:pt x="4774413" y="1626418"/>
                </a:cubicBezTo>
                <a:cubicBezTo>
                  <a:pt x="4773773" y="1623146"/>
                  <a:pt x="4772493" y="1620869"/>
                  <a:pt x="4773133" y="1619731"/>
                </a:cubicBezTo>
                <a:cubicBezTo>
                  <a:pt x="4772279" y="1619162"/>
                  <a:pt x="4771852" y="1617597"/>
                  <a:pt x="4770998" y="1616886"/>
                </a:cubicBezTo>
                <a:cubicBezTo>
                  <a:pt x="4770998" y="1616886"/>
                  <a:pt x="4770998" y="1616886"/>
                  <a:pt x="4771638" y="1615890"/>
                </a:cubicBezTo>
                <a:close/>
                <a:moveTo>
                  <a:pt x="3974516" y="1615463"/>
                </a:moveTo>
                <a:cubicBezTo>
                  <a:pt x="3975796" y="1615321"/>
                  <a:pt x="3976863" y="1615463"/>
                  <a:pt x="3978784" y="1616459"/>
                </a:cubicBezTo>
                <a:cubicBezTo>
                  <a:pt x="3976223" y="1618451"/>
                  <a:pt x="3973662" y="1619162"/>
                  <a:pt x="3970247" y="1617455"/>
                </a:cubicBezTo>
                <a:cubicBezTo>
                  <a:pt x="3971955" y="1616459"/>
                  <a:pt x="3973235" y="1615748"/>
                  <a:pt x="3974516" y="1615463"/>
                </a:cubicBezTo>
                <a:close/>
                <a:moveTo>
                  <a:pt x="4968838" y="1615321"/>
                </a:moveTo>
                <a:cubicBezTo>
                  <a:pt x="4971186" y="1616032"/>
                  <a:pt x="4974814" y="1616886"/>
                  <a:pt x="4975454" y="1619873"/>
                </a:cubicBezTo>
                <a:cubicBezTo>
                  <a:pt x="4975668" y="1620869"/>
                  <a:pt x="4975454" y="1622150"/>
                  <a:pt x="4974814" y="1623715"/>
                </a:cubicBezTo>
                <a:cubicBezTo>
                  <a:pt x="4975241" y="1624710"/>
                  <a:pt x="4971400" y="1627983"/>
                  <a:pt x="4969906" y="1627414"/>
                </a:cubicBezTo>
                <a:cubicBezTo>
                  <a:pt x="4965851" y="1626845"/>
                  <a:pt x="4966704" y="1622719"/>
                  <a:pt x="4966064" y="1617881"/>
                </a:cubicBezTo>
                <a:cubicBezTo>
                  <a:pt x="4967558" y="1618451"/>
                  <a:pt x="4968198" y="1616886"/>
                  <a:pt x="4968838" y="1615321"/>
                </a:cubicBezTo>
                <a:close/>
                <a:moveTo>
                  <a:pt x="4848043" y="1615321"/>
                </a:moveTo>
                <a:cubicBezTo>
                  <a:pt x="4849537" y="1615748"/>
                  <a:pt x="4849110" y="1614752"/>
                  <a:pt x="4849750" y="1616744"/>
                </a:cubicBezTo>
                <a:cubicBezTo>
                  <a:pt x="4848257" y="1616317"/>
                  <a:pt x="4848257" y="1616317"/>
                  <a:pt x="4846976" y="1616744"/>
                </a:cubicBezTo>
                <a:cubicBezTo>
                  <a:pt x="4846976" y="1616744"/>
                  <a:pt x="4848043" y="1615321"/>
                  <a:pt x="4848043" y="1615321"/>
                </a:cubicBezTo>
                <a:close/>
                <a:moveTo>
                  <a:pt x="1884530" y="1615281"/>
                </a:moveTo>
                <a:cubicBezTo>
                  <a:pt x="1885769" y="1617449"/>
                  <a:pt x="1887937" y="1619309"/>
                  <a:pt x="1888350" y="1622097"/>
                </a:cubicBezTo>
                <a:cubicBezTo>
                  <a:pt x="1888557" y="1623026"/>
                  <a:pt x="1888453" y="1624110"/>
                  <a:pt x="1888143" y="1625195"/>
                </a:cubicBezTo>
                <a:cubicBezTo>
                  <a:pt x="1881225" y="1623336"/>
                  <a:pt x="1875959" y="1624110"/>
                  <a:pt x="1869351" y="1623645"/>
                </a:cubicBezTo>
                <a:lnTo>
                  <a:pt x="1869454" y="1622252"/>
                </a:lnTo>
                <a:lnTo>
                  <a:pt x="1868215" y="1623800"/>
                </a:lnTo>
                <a:cubicBezTo>
                  <a:pt x="1866873" y="1622406"/>
                  <a:pt x="1866873" y="1619773"/>
                  <a:pt x="1865530" y="1618379"/>
                </a:cubicBezTo>
                <a:cubicBezTo>
                  <a:pt x="1866873" y="1618379"/>
                  <a:pt x="1868215" y="1616985"/>
                  <a:pt x="1869454" y="1616985"/>
                </a:cubicBezTo>
                <a:lnTo>
                  <a:pt x="1870383" y="1618998"/>
                </a:lnTo>
                <a:lnTo>
                  <a:pt x="1871313" y="1617140"/>
                </a:lnTo>
                <a:cubicBezTo>
                  <a:pt x="1878025" y="1621787"/>
                  <a:pt x="1879057" y="1612028"/>
                  <a:pt x="1884530" y="1615281"/>
                </a:cubicBezTo>
                <a:close/>
                <a:moveTo>
                  <a:pt x="4853592" y="1615179"/>
                </a:moveTo>
                <a:cubicBezTo>
                  <a:pt x="4854659" y="1614894"/>
                  <a:pt x="4855726" y="1614894"/>
                  <a:pt x="4857006" y="1615179"/>
                </a:cubicBezTo>
                <a:cubicBezTo>
                  <a:pt x="4861061" y="1615321"/>
                  <a:pt x="4863196" y="1619304"/>
                  <a:pt x="4867677" y="1620443"/>
                </a:cubicBezTo>
                <a:cubicBezTo>
                  <a:pt x="4866824" y="1626560"/>
                  <a:pt x="4866397" y="1628125"/>
                  <a:pt x="4860208" y="1629263"/>
                </a:cubicBezTo>
                <a:cubicBezTo>
                  <a:pt x="4860208" y="1629263"/>
                  <a:pt x="4858714" y="1628979"/>
                  <a:pt x="4858714" y="1628979"/>
                </a:cubicBezTo>
                <a:cubicBezTo>
                  <a:pt x="4852952" y="1628410"/>
                  <a:pt x="4847616" y="1623573"/>
                  <a:pt x="4847616" y="1621012"/>
                </a:cubicBezTo>
                <a:cubicBezTo>
                  <a:pt x="4848470" y="1618451"/>
                  <a:pt x="4850604" y="1615890"/>
                  <a:pt x="4853592" y="1615179"/>
                </a:cubicBezTo>
                <a:close/>
                <a:moveTo>
                  <a:pt x="5734375" y="1614894"/>
                </a:moveTo>
                <a:cubicBezTo>
                  <a:pt x="5736296" y="1616886"/>
                  <a:pt x="5737150" y="1618878"/>
                  <a:pt x="5737576" y="1620727"/>
                </a:cubicBezTo>
                <a:cubicBezTo>
                  <a:pt x="5738217" y="1622719"/>
                  <a:pt x="5738430" y="1624568"/>
                  <a:pt x="5739284" y="1626418"/>
                </a:cubicBezTo>
                <a:cubicBezTo>
                  <a:pt x="5731387" y="1636092"/>
                  <a:pt x="5724772" y="1631966"/>
                  <a:pt x="5724131" y="1625991"/>
                </a:cubicBezTo>
                <a:cubicBezTo>
                  <a:pt x="5723704" y="1623999"/>
                  <a:pt x="5724131" y="1621865"/>
                  <a:pt x="5725198" y="1620016"/>
                </a:cubicBezTo>
                <a:cubicBezTo>
                  <a:pt x="5726905" y="1617455"/>
                  <a:pt x="5729680" y="1615463"/>
                  <a:pt x="5734375" y="1614894"/>
                </a:cubicBezTo>
                <a:close/>
                <a:moveTo>
                  <a:pt x="5247565" y="1614609"/>
                </a:moveTo>
                <a:cubicBezTo>
                  <a:pt x="5247991" y="1614467"/>
                  <a:pt x="5248632" y="1614467"/>
                  <a:pt x="5249699" y="1615321"/>
                </a:cubicBezTo>
                <a:lnTo>
                  <a:pt x="5252687" y="1616744"/>
                </a:lnTo>
                <a:lnTo>
                  <a:pt x="5255248" y="1616459"/>
                </a:lnTo>
                <a:cubicBezTo>
                  <a:pt x="5256529" y="1616459"/>
                  <a:pt x="5257809" y="1616459"/>
                  <a:pt x="5259730" y="1616317"/>
                </a:cubicBezTo>
                <a:cubicBezTo>
                  <a:pt x="5261437" y="1618593"/>
                  <a:pt x="5261437" y="1618593"/>
                  <a:pt x="5260797" y="1619589"/>
                </a:cubicBezTo>
                <a:cubicBezTo>
                  <a:pt x="5261437" y="1618593"/>
                  <a:pt x="5262504" y="1619162"/>
                  <a:pt x="5263998" y="1618736"/>
                </a:cubicBezTo>
                <a:cubicBezTo>
                  <a:pt x="5269547" y="1615321"/>
                  <a:pt x="5273816" y="1620300"/>
                  <a:pt x="5277016" y="1627414"/>
                </a:cubicBezTo>
                <a:cubicBezTo>
                  <a:pt x="5275523" y="1627840"/>
                  <a:pt x="5277657" y="1631824"/>
                  <a:pt x="5277657" y="1634527"/>
                </a:cubicBezTo>
                <a:lnTo>
                  <a:pt x="5277230" y="1635239"/>
                </a:lnTo>
                <a:lnTo>
                  <a:pt x="5281925" y="1636376"/>
                </a:lnTo>
                <a:lnTo>
                  <a:pt x="5281072" y="1638653"/>
                </a:lnTo>
                <a:lnTo>
                  <a:pt x="5283419" y="1638084"/>
                </a:lnTo>
                <a:cubicBezTo>
                  <a:pt x="5287687" y="1638368"/>
                  <a:pt x="5294517" y="1640930"/>
                  <a:pt x="5294517" y="1641783"/>
                </a:cubicBezTo>
                <a:cubicBezTo>
                  <a:pt x="5295584" y="1641925"/>
                  <a:pt x="5295584" y="1643063"/>
                  <a:pt x="5296865" y="1643205"/>
                </a:cubicBezTo>
                <a:cubicBezTo>
                  <a:pt x="5296865" y="1643205"/>
                  <a:pt x="5297932" y="1643205"/>
                  <a:pt x="5299212" y="1644486"/>
                </a:cubicBezTo>
                <a:cubicBezTo>
                  <a:pt x="5300493" y="1645767"/>
                  <a:pt x="5301773" y="1647047"/>
                  <a:pt x="5300706" y="1649466"/>
                </a:cubicBezTo>
                <a:cubicBezTo>
                  <a:pt x="5295798" y="1647474"/>
                  <a:pt x="5292383" y="1646335"/>
                  <a:pt x="5288968" y="1645340"/>
                </a:cubicBezTo>
                <a:lnTo>
                  <a:pt x="5280431" y="1641641"/>
                </a:lnTo>
                <a:lnTo>
                  <a:pt x="5280004" y="1643917"/>
                </a:lnTo>
                <a:cubicBezTo>
                  <a:pt x="5275523" y="1642210"/>
                  <a:pt x="5271681" y="1642068"/>
                  <a:pt x="5268907" y="1641356"/>
                </a:cubicBezTo>
                <a:lnTo>
                  <a:pt x="5267200" y="1640360"/>
                </a:lnTo>
                <a:lnTo>
                  <a:pt x="5263785" y="1640218"/>
                </a:lnTo>
                <a:cubicBezTo>
                  <a:pt x="5261010" y="1639222"/>
                  <a:pt x="5258449" y="1637515"/>
                  <a:pt x="5257595" y="1635096"/>
                </a:cubicBezTo>
                <a:cubicBezTo>
                  <a:pt x="5255034" y="1629548"/>
                  <a:pt x="5255461" y="1625849"/>
                  <a:pt x="5256955" y="1622577"/>
                </a:cubicBezTo>
                <a:cubicBezTo>
                  <a:pt x="5256955" y="1622577"/>
                  <a:pt x="5256742" y="1622719"/>
                  <a:pt x="5256315" y="1623715"/>
                </a:cubicBezTo>
                <a:lnTo>
                  <a:pt x="5250126" y="1625280"/>
                </a:lnTo>
                <a:lnTo>
                  <a:pt x="5251833" y="1627414"/>
                </a:lnTo>
                <a:cubicBezTo>
                  <a:pt x="5249912" y="1639365"/>
                  <a:pt x="5246284" y="1637515"/>
                  <a:pt x="5240522" y="1637088"/>
                </a:cubicBezTo>
                <a:cubicBezTo>
                  <a:pt x="5240522" y="1634385"/>
                  <a:pt x="5237961" y="1631966"/>
                  <a:pt x="5239028" y="1628694"/>
                </a:cubicBezTo>
                <a:cubicBezTo>
                  <a:pt x="5239028" y="1628694"/>
                  <a:pt x="5239028" y="1628267"/>
                  <a:pt x="5239455" y="1627698"/>
                </a:cubicBezTo>
                <a:lnTo>
                  <a:pt x="5240095" y="1626987"/>
                </a:lnTo>
                <a:lnTo>
                  <a:pt x="5236894" y="1625991"/>
                </a:lnTo>
                <a:cubicBezTo>
                  <a:pt x="5237534" y="1624853"/>
                  <a:pt x="5237961" y="1623857"/>
                  <a:pt x="5239455" y="1623288"/>
                </a:cubicBezTo>
                <a:cubicBezTo>
                  <a:pt x="5240948" y="1622861"/>
                  <a:pt x="5240522" y="1623999"/>
                  <a:pt x="5240948" y="1622861"/>
                </a:cubicBezTo>
                <a:cubicBezTo>
                  <a:pt x="5242443" y="1622435"/>
                  <a:pt x="5241376" y="1621865"/>
                  <a:pt x="5241376" y="1621865"/>
                </a:cubicBezTo>
                <a:cubicBezTo>
                  <a:pt x="5241376" y="1621865"/>
                  <a:pt x="5242443" y="1622435"/>
                  <a:pt x="5242443" y="1622435"/>
                </a:cubicBezTo>
                <a:cubicBezTo>
                  <a:pt x="5242443" y="1622435"/>
                  <a:pt x="5242443" y="1622435"/>
                  <a:pt x="5245644" y="1621438"/>
                </a:cubicBezTo>
                <a:lnTo>
                  <a:pt x="5247778" y="1620016"/>
                </a:lnTo>
                <a:lnTo>
                  <a:pt x="5247138" y="1619589"/>
                </a:lnTo>
                <a:cubicBezTo>
                  <a:pt x="5246071" y="1618308"/>
                  <a:pt x="5245004" y="1616886"/>
                  <a:pt x="5246284" y="1615890"/>
                </a:cubicBezTo>
                <a:cubicBezTo>
                  <a:pt x="5246924" y="1615321"/>
                  <a:pt x="5247138" y="1614894"/>
                  <a:pt x="5247565" y="1614609"/>
                </a:cubicBezTo>
                <a:close/>
                <a:moveTo>
                  <a:pt x="1426175" y="1614197"/>
                </a:moveTo>
                <a:cubicBezTo>
                  <a:pt x="1428137" y="1614352"/>
                  <a:pt x="1428137" y="1616210"/>
                  <a:pt x="1427311" y="1618379"/>
                </a:cubicBezTo>
                <a:cubicBezTo>
                  <a:pt x="1426898" y="1623181"/>
                  <a:pt x="1424936" y="1624885"/>
                  <a:pt x="1421425" y="1623491"/>
                </a:cubicBezTo>
                <a:cubicBezTo>
                  <a:pt x="1421012" y="1622716"/>
                  <a:pt x="1420703" y="1619928"/>
                  <a:pt x="1419876" y="1620238"/>
                </a:cubicBezTo>
                <a:cubicBezTo>
                  <a:pt x="1420806" y="1617914"/>
                  <a:pt x="1422148" y="1615281"/>
                  <a:pt x="1424007" y="1614352"/>
                </a:cubicBezTo>
                <a:cubicBezTo>
                  <a:pt x="1424627" y="1614041"/>
                  <a:pt x="1425349" y="1614041"/>
                  <a:pt x="1426175" y="1614197"/>
                </a:cubicBezTo>
                <a:close/>
                <a:moveTo>
                  <a:pt x="3925429" y="1614041"/>
                </a:moveTo>
                <a:cubicBezTo>
                  <a:pt x="3926710" y="1614041"/>
                  <a:pt x="3927777" y="1614609"/>
                  <a:pt x="3929058" y="1615036"/>
                </a:cubicBezTo>
                <a:cubicBezTo>
                  <a:pt x="3929271" y="1616174"/>
                  <a:pt x="3929271" y="1616174"/>
                  <a:pt x="3928204" y="1617455"/>
                </a:cubicBezTo>
                <a:cubicBezTo>
                  <a:pt x="3928417" y="1618593"/>
                  <a:pt x="3923508" y="1616601"/>
                  <a:pt x="3922228" y="1616744"/>
                </a:cubicBezTo>
                <a:cubicBezTo>
                  <a:pt x="3922015" y="1615606"/>
                  <a:pt x="3922015" y="1615463"/>
                  <a:pt x="3923295" y="1615463"/>
                </a:cubicBezTo>
                <a:cubicBezTo>
                  <a:pt x="3923082" y="1615321"/>
                  <a:pt x="3923082" y="1615321"/>
                  <a:pt x="3922868" y="1615179"/>
                </a:cubicBezTo>
                <a:cubicBezTo>
                  <a:pt x="3923722" y="1614609"/>
                  <a:pt x="3924576" y="1613899"/>
                  <a:pt x="3925429" y="1614041"/>
                </a:cubicBezTo>
                <a:close/>
                <a:moveTo>
                  <a:pt x="5638763" y="1613899"/>
                </a:moveTo>
                <a:cubicBezTo>
                  <a:pt x="5640044" y="1613899"/>
                  <a:pt x="5641537" y="1614041"/>
                  <a:pt x="5642818" y="1614609"/>
                </a:cubicBezTo>
                <a:cubicBezTo>
                  <a:pt x="5645379" y="1616886"/>
                  <a:pt x="5645806" y="1619304"/>
                  <a:pt x="5644739" y="1620443"/>
                </a:cubicBezTo>
                <a:lnTo>
                  <a:pt x="5639404" y="1626133"/>
                </a:lnTo>
                <a:lnTo>
                  <a:pt x="5639617" y="1627129"/>
                </a:lnTo>
                <a:cubicBezTo>
                  <a:pt x="5638763" y="1630829"/>
                  <a:pt x="5632147" y="1632109"/>
                  <a:pt x="5628092" y="1630402"/>
                </a:cubicBezTo>
                <a:lnTo>
                  <a:pt x="5625745" y="1628837"/>
                </a:lnTo>
                <a:lnTo>
                  <a:pt x="5625318" y="1628837"/>
                </a:lnTo>
                <a:cubicBezTo>
                  <a:pt x="5621476" y="1625422"/>
                  <a:pt x="5621476" y="1625422"/>
                  <a:pt x="5626171" y="1617881"/>
                </a:cubicBezTo>
                <a:cubicBezTo>
                  <a:pt x="5627025" y="1616744"/>
                  <a:pt x="5628306" y="1615748"/>
                  <a:pt x="5629800" y="1615179"/>
                </a:cubicBezTo>
                <a:cubicBezTo>
                  <a:pt x="5631293" y="1614609"/>
                  <a:pt x="5633001" y="1614609"/>
                  <a:pt x="5634921" y="1615036"/>
                </a:cubicBezTo>
                <a:cubicBezTo>
                  <a:pt x="5635989" y="1614467"/>
                  <a:pt x="5637269" y="1614041"/>
                  <a:pt x="5638763" y="1613899"/>
                </a:cubicBezTo>
                <a:close/>
                <a:moveTo>
                  <a:pt x="5809712" y="1613614"/>
                </a:moveTo>
                <a:cubicBezTo>
                  <a:pt x="5810780" y="1614325"/>
                  <a:pt x="5810780" y="1614325"/>
                  <a:pt x="5810780" y="1614325"/>
                </a:cubicBezTo>
                <a:cubicBezTo>
                  <a:pt x="5811420" y="1615463"/>
                  <a:pt x="5810993" y="1616317"/>
                  <a:pt x="5810139" y="1617171"/>
                </a:cubicBezTo>
                <a:cubicBezTo>
                  <a:pt x="5809072" y="1618166"/>
                  <a:pt x="5807578" y="1619020"/>
                  <a:pt x="5805657" y="1620016"/>
                </a:cubicBezTo>
                <a:cubicBezTo>
                  <a:pt x="5801816" y="1621865"/>
                  <a:pt x="5796054" y="1622577"/>
                  <a:pt x="5794346" y="1623146"/>
                </a:cubicBezTo>
                <a:cubicBezTo>
                  <a:pt x="5792639" y="1623573"/>
                  <a:pt x="5791998" y="1624568"/>
                  <a:pt x="5791998" y="1624568"/>
                </a:cubicBezTo>
                <a:cubicBezTo>
                  <a:pt x="5790931" y="1622292"/>
                  <a:pt x="5805871" y="1615606"/>
                  <a:pt x="5809712" y="1613614"/>
                </a:cubicBezTo>
                <a:close/>
                <a:moveTo>
                  <a:pt x="4853165" y="1613329"/>
                </a:moveTo>
                <a:cubicBezTo>
                  <a:pt x="4853592" y="1613187"/>
                  <a:pt x="4854232" y="1613187"/>
                  <a:pt x="4855086" y="1613471"/>
                </a:cubicBezTo>
                <a:cubicBezTo>
                  <a:pt x="4855086" y="1613471"/>
                  <a:pt x="4855299" y="1614467"/>
                  <a:pt x="4855299" y="1614467"/>
                </a:cubicBezTo>
                <a:cubicBezTo>
                  <a:pt x="4854232" y="1614894"/>
                  <a:pt x="4852952" y="1615463"/>
                  <a:pt x="4852738" y="1614467"/>
                </a:cubicBezTo>
                <a:cubicBezTo>
                  <a:pt x="4852525" y="1613899"/>
                  <a:pt x="4852738" y="1613614"/>
                  <a:pt x="4853165" y="1613329"/>
                </a:cubicBezTo>
                <a:close/>
                <a:moveTo>
                  <a:pt x="1217701" y="1613267"/>
                </a:moveTo>
                <a:cubicBezTo>
                  <a:pt x="1217701" y="1613267"/>
                  <a:pt x="1217701" y="1613267"/>
                  <a:pt x="1218424" y="1613577"/>
                </a:cubicBezTo>
                <a:cubicBezTo>
                  <a:pt x="1215945" y="1616365"/>
                  <a:pt x="1214500" y="1620548"/>
                  <a:pt x="1211712" y="1622097"/>
                </a:cubicBezTo>
                <a:cubicBezTo>
                  <a:pt x="1211093" y="1622252"/>
                  <a:pt x="1210473" y="1622561"/>
                  <a:pt x="1209957" y="1622406"/>
                </a:cubicBezTo>
                <a:cubicBezTo>
                  <a:pt x="1209440" y="1622252"/>
                  <a:pt x="1208924" y="1621787"/>
                  <a:pt x="1208614" y="1620702"/>
                </a:cubicBezTo>
                <a:cubicBezTo>
                  <a:pt x="1208098" y="1619928"/>
                  <a:pt x="1207995" y="1619463"/>
                  <a:pt x="1208304" y="1618843"/>
                </a:cubicBezTo>
                <a:cubicBezTo>
                  <a:pt x="1208614" y="1618224"/>
                  <a:pt x="1209440" y="1617605"/>
                  <a:pt x="1210886" y="1616830"/>
                </a:cubicBezTo>
                <a:cubicBezTo>
                  <a:pt x="1213261" y="1616055"/>
                  <a:pt x="1214913" y="1614816"/>
                  <a:pt x="1215636" y="1615126"/>
                </a:cubicBezTo>
                <a:cubicBezTo>
                  <a:pt x="1216049" y="1614352"/>
                  <a:pt x="1217288" y="1614041"/>
                  <a:pt x="1217701" y="1613267"/>
                </a:cubicBezTo>
                <a:close/>
                <a:moveTo>
                  <a:pt x="5315219" y="1613187"/>
                </a:moveTo>
                <a:cubicBezTo>
                  <a:pt x="5322262" y="1613614"/>
                  <a:pt x="5324823" y="1618451"/>
                  <a:pt x="5324183" y="1622861"/>
                </a:cubicBezTo>
                <a:lnTo>
                  <a:pt x="5320981" y="1628125"/>
                </a:lnTo>
                <a:lnTo>
                  <a:pt x="5322262" y="1628267"/>
                </a:lnTo>
                <a:cubicBezTo>
                  <a:pt x="5323329" y="1628979"/>
                  <a:pt x="5323969" y="1629975"/>
                  <a:pt x="5324396" y="1631113"/>
                </a:cubicBezTo>
                <a:cubicBezTo>
                  <a:pt x="5325250" y="1633674"/>
                  <a:pt x="5325250" y="1637088"/>
                  <a:pt x="5326103" y="1640076"/>
                </a:cubicBezTo>
                <a:cubicBezTo>
                  <a:pt x="5322475" y="1640360"/>
                  <a:pt x="5320128" y="1639507"/>
                  <a:pt x="5318847" y="1637373"/>
                </a:cubicBezTo>
                <a:lnTo>
                  <a:pt x="5317780" y="1628837"/>
                </a:lnTo>
                <a:lnTo>
                  <a:pt x="5313085" y="1629548"/>
                </a:lnTo>
                <a:cubicBezTo>
                  <a:pt x="5310097" y="1625280"/>
                  <a:pt x="5309457" y="1621438"/>
                  <a:pt x="5308603" y="1618878"/>
                </a:cubicBezTo>
                <a:cubicBezTo>
                  <a:pt x="5311164" y="1617171"/>
                  <a:pt x="5312658" y="1615036"/>
                  <a:pt x="5315219" y="1613187"/>
                </a:cubicBezTo>
                <a:close/>
                <a:moveTo>
                  <a:pt x="1132101" y="1613112"/>
                </a:moveTo>
                <a:cubicBezTo>
                  <a:pt x="1134373" y="1611099"/>
                  <a:pt x="1140671" y="1610944"/>
                  <a:pt x="1142530" y="1613732"/>
                </a:cubicBezTo>
                <a:cubicBezTo>
                  <a:pt x="1143150" y="1614662"/>
                  <a:pt x="1143150" y="1615745"/>
                  <a:pt x="1142427" y="1617295"/>
                </a:cubicBezTo>
                <a:cubicBezTo>
                  <a:pt x="1139949" y="1621632"/>
                  <a:pt x="1135922" y="1620393"/>
                  <a:pt x="1131689" y="1618379"/>
                </a:cubicBezTo>
                <a:cubicBezTo>
                  <a:pt x="1132101" y="1616520"/>
                  <a:pt x="1131689" y="1614971"/>
                  <a:pt x="1132101" y="1613112"/>
                </a:cubicBezTo>
                <a:close/>
                <a:moveTo>
                  <a:pt x="5054846" y="1612902"/>
                </a:moveTo>
                <a:cubicBezTo>
                  <a:pt x="5058475" y="1612049"/>
                  <a:pt x="5061889" y="1614182"/>
                  <a:pt x="5062957" y="1618593"/>
                </a:cubicBezTo>
                <a:cubicBezTo>
                  <a:pt x="5063597" y="1621438"/>
                  <a:pt x="5063384" y="1625280"/>
                  <a:pt x="5061463" y="1629832"/>
                </a:cubicBezTo>
                <a:cubicBezTo>
                  <a:pt x="5056554" y="1633531"/>
                  <a:pt x="5046523" y="1630829"/>
                  <a:pt x="5045883" y="1625991"/>
                </a:cubicBezTo>
                <a:cubicBezTo>
                  <a:pt x="5047590" y="1617881"/>
                  <a:pt x="5051218" y="1613899"/>
                  <a:pt x="5054846" y="1612902"/>
                </a:cubicBezTo>
                <a:close/>
                <a:moveTo>
                  <a:pt x="1385905" y="1612493"/>
                </a:moveTo>
                <a:cubicBezTo>
                  <a:pt x="1386008" y="1615591"/>
                  <a:pt x="1386422" y="1616830"/>
                  <a:pt x="1384253" y="1618843"/>
                </a:cubicBezTo>
                <a:cubicBezTo>
                  <a:pt x="1383943" y="1617605"/>
                  <a:pt x="1383840" y="1616520"/>
                  <a:pt x="1384047" y="1615591"/>
                </a:cubicBezTo>
                <a:cubicBezTo>
                  <a:pt x="1384357" y="1614507"/>
                  <a:pt x="1384873" y="1613577"/>
                  <a:pt x="1385905" y="1612493"/>
                </a:cubicBezTo>
                <a:close/>
                <a:moveTo>
                  <a:pt x="1154611" y="1612338"/>
                </a:moveTo>
                <a:cubicBezTo>
                  <a:pt x="1158948" y="1612493"/>
                  <a:pt x="1161942" y="1615591"/>
                  <a:pt x="1163698" y="1619463"/>
                </a:cubicBezTo>
                <a:lnTo>
                  <a:pt x="1165969" y="1630616"/>
                </a:lnTo>
                <a:lnTo>
                  <a:pt x="1168551" y="1630616"/>
                </a:lnTo>
                <a:cubicBezTo>
                  <a:pt x="1169687" y="1632010"/>
                  <a:pt x="1169790" y="1633094"/>
                  <a:pt x="1169274" y="1634333"/>
                </a:cubicBezTo>
                <a:lnTo>
                  <a:pt x="1167931" y="1636037"/>
                </a:lnTo>
                <a:lnTo>
                  <a:pt x="1173197" y="1636502"/>
                </a:lnTo>
                <a:cubicBezTo>
                  <a:pt x="1170823" y="1639290"/>
                  <a:pt x="1167002" y="1638980"/>
                  <a:pt x="1166589" y="1645641"/>
                </a:cubicBezTo>
                <a:lnTo>
                  <a:pt x="1163801" y="1642853"/>
                </a:lnTo>
                <a:lnTo>
                  <a:pt x="1163698" y="1643317"/>
                </a:lnTo>
                <a:lnTo>
                  <a:pt x="1159464" y="1640065"/>
                </a:lnTo>
                <a:lnTo>
                  <a:pt x="1158225" y="1639755"/>
                </a:lnTo>
                <a:cubicBezTo>
                  <a:pt x="1157709" y="1639755"/>
                  <a:pt x="1157090" y="1639755"/>
                  <a:pt x="1156470" y="1639600"/>
                </a:cubicBezTo>
                <a:cubicBezTo>
                  <a:pt x="1157606" y="1640065"/>
                  <a:pt x="1158432" y="1640994"/>
                  <a:pt x="1159258" y="1641923"/>
                </a:cubicBezTo>
                <a:cubicBezTo>
                  <a:pt x="1160394" y="1643317"/>
                  <a:pt x="1161116" y="1643627"/>
                  <a:pt x="1163078" y="1643627"/>
                </a:cubicBezTo>
                <a:cubicBezTo>
                  <a:pt x="1163078" y="1643627"/>
                  <a:pt x="1163078" y="1643627"/>
                  <a:pt x="1163698" y="1645796"/>
                </a:cubicBezTo>
                <a:lnTo>
                  <a:pt x="1163285" y="1646570"/>
                </a:lnTo>
                <a:cubicBezTo>
                  <a:pt x="1162872" y="1646880"/>
                  <a:pt x="1162252" y="1646725"/>
                  <a:pt x="1161323" y="1646415"/>
                </a:cubicBezTo>
                <a:cubicBezTo>
                  <a:pt x="1158741" y="1645486"/>
                  <a:pt x="1154818" y="1642543"/>
                  <a:pt x="1154301" y="1642388"/>
                </a:cubicBezTo>
                <a:cubicBezTo>
                  <a:pt x="1154301" y="1642388"/>
                  <a:pt x="1153579" y="1642078"/>
                  <a:pt x="1152753" y="1641768"/>
                </a:cubicBezTo>
                <a:cubicBezTo>
                  <a:pt x="1152443" y="1640529"/>
                  <a:pt x="1152856" y="1639755"/>
                  <a:pt x="1152133" y="1639445"/>
                </a:cubicBezTo>
                <a:cubicBezTo>
                  <a:pt x="1153785" y="1638825"/>
                  <a:pt x="1155025" y="1639135"/>
                  <a:pt x="1156057" y="1639600"/>
                </a:cubicBezTo>
                <a:cubicBezTo>
                  <a:pt x="1155334" y="1639445"/>
                  <a:pt x="1154715" y="1638980"/>
                  <a:pt x="1154198" y="1638361"/>
                </a:cubicBezTo>
                <a:lnTo>
                  <a:pt x="1155644" y="1634488"/>
                </a:lnTo>
                <a:lnTo>
                  <a:pt x="1155128" y="1633714"/>
                </a:lnTo>
                <a:cubicBezTo>
                  <a:pt x="1153579" y="1629686"/>
                  <a:pt x="1153062" y="1625349"/>
                  <a:pt x="1153269" y="1622406"/>
                </a:cubicBezTo>
                <a:cubicBezTo>
                  <a:pt x="1155437" y="1623491"/>
                  <a:pt x="1157296" y="1624885"/>
                  <a:pt x="1158845" y="1626588"/>
                </a:cubicBezTo>
                <a:lnTo>
                  <a:pt x="1161839" y="1631235"/>
                </a:lnTo>
                <a:lnTo>
                  <a:pt x="1164421" y="1630771"/>
                </a:lnTo>
                <a:lnTo>
                  <a:pt x="1160600" y="1628292"/>
                </a:lnTo>
                <a:cubicBezTo>
                  <a:pt x="1156264" y="1624265"/>
                  <a:pt x="1155437" y="1618379"/>
                  <a:pt x="1154611" y="1612338"/>
                </a:cubicBezTo>
                <a:close/>
                <a:moveTo>
                  <a:pt x="1575690" y="1612028"/>
                </a:moveTo>
                <a:cubicBezTo>
                  <a:pt x="1575794" y="1612803"/>
                  <a:pt x="1575587" y="1613732"/>
                  <a:pt x="1574761" y="1614662"/>
                </a:cubicBezTo>
                <a:cubicBezTo>
                  <a:pt x="1572902" y="1614352"/>
                  <a:pt x="1571766" y="1613887"/>
                  <a:pt x="1569701" y="1612803"/>
                </a:cubicBezTo>
                <a:cubicBezTo>
                  <a:pt x="1570734" y="1609240"/>
                  <a:pt x="1575071" y="1609860"/>
                  <a:pt x="1575690" y="1612028"/>
                </a:cubicBezTo>
                <a:close/>
                <a:moveTo>
                  <a:pt x="6213503" y="1611195"/>
                </a:moveTo>
                <a:cubicBezTo>
                  <a:pt x="6210728" y="1623003"/>
                  <a:pt x="6183411" y="1634100"/>
                  <a:pt x="6177435" y="1622861"/>
                </a:cubicBezTo>
                <a:cubicBezTo>
                  <a:pt x="6190880" y="1619873"/>
                  <a:pt x="6198137" y="1611622"/>
                  <a:pt x="6213503" y="1611195"/>
                </a:cubicBezTo>
                <a:close/>
                <a:moveTo>
                  <a:pt x="5940966" y="1611195"/>
                </a:moveTo>
                <a:cubicBezTo>
                  <a:pt x="5940966" y="1611195"/>
                  <a:pt x="5940966" y="1611337"/>
                  <a:pt x="5942459" y="1612476"/>
                </a:cubicBezTo>
                <a:cubicBezTo>
                  <a:pt x="5940112" y="1612618"/>
                  <a:pt x="5939472" y="1617455"/>
                  <a:pt x="5936911" y="1615179"/>
                </a:cubicBezTo>
                <a:cubicBezTo>
                  <a:pt x="5937764" y="1613899"/>
                  <a:pt x="5940112" y="1612476"/>
                  <a:pt x="5940966" y="1611195"/>
                </a:cubicBezTo>
                <a:close/>
                <a:moveTo>
                  <a:pt x="5337201" y="1610484"/>
                </a:moveTo>
                <a:cubicBezTo>
                  <a:pt x="5338482" y="1610626"/>
                  <a:pt x="5339122" y="1611053"/>
                  <a:pt x="5339549" y="1611480"/>
                </a:cubicBezTo>
                <a:cubicBezTo>
                  <a:pt x="5341469" y="1614609"/>
                  <a:pt x="5331439" y="1623288"/>
                  <a:pt x="5332292" y="1611195"/>
                </a:cubicBezTo>
                <a:cubicBezTo>
                  <a:pt x="5334427" y="1610626"/>
                  <a:pt x="5336134" y="1610484"/>
                  <a:pt x="5337201" y="1610484"/>
                </a:cubicBezTo>
                <a:close/>
                <a:moveTo>
                  <a:pt x="1743468" y="1610227"/>
                </a:moveTo>
                <a:cubicBezTo>
                  <a:pt x="1746192" y="1609898"/>
                  <a:pt x="1748541" y="1611718"/>
                  <a:pt x="1748954" y="1614816"/>
                </a:cubicBezTo>
                <a:cubicBezTo>
                  <a:pt x="1749264" y="1616985"/>
                  <a:pt x="1748644" y="1619618"/>
                  <a:pt x="1746786" y="1622561"/>
                </a:cubicBezTo>
                <a:cubicBezTo>
                  <a:pt x="1742862" y="1624730"/>
                  <a:pt x="1735737" y="1621942"/>
                  <a:pt x="1735737" y="1618534"/>
                </a:cubicBezTo>
                <a:cubicBezTo>
                  <a:pt x="1737647" y="1613035"/>
                  <a:pt x="1740745" y="1610557"/>
                  <a:pt x="1743468" y="1610227"/>
                </a:cubicBezTo>
                <a:close/>
                <a:moveTo>
                  <a:pt x="5911727" y="1610057"/>
                </a:moveTo>
                <a:cubicBezTo>
                  <a:pt x="5922398" y="1609630"/>
                  <a:pt x="5931361" y="1616886"/>
                  <a:pt x="5936057" y="1626418"/>
                </a:cubicBezTo>
                <a:cubicBezTo>
                  <a:pt x="5939472" y="1633674"/>
                  <a:pt x="5940539" y="1642068"/>
                  <a:pt x="5937978" y="1649750"/>
                </a:cubicBezTo>
                <a:lnTo>
                  <a:pt x="5937551" y="1650888"/>
                </a:lnTo>
                <a:lnTo>
                  <a:pt x="5939045" y="1649466"/>
                </a:lnTo>
                <a:cubicBezTo>
                  <a:pt x="5940539" y="1649039"/>
                  <a:pt x="5940539" y="1649039"/>
                  <a:pt x="5941606" y="1649607"/>
                </a:cubicBezTo>
                <a:cubicBezTo>
                  <a:pt x="5944167" y="1649750"/>
                  <a:pt x="5945874" y="1649323"/>
                  <a:pt x="5946942" y="1651599"/>
                </a:cubicBezTo>
                <a:cubicBezTo>
                  <a:pt x="5947795" y="1653591"/>
                  <a:pt x="5947368" y="1654871"/>
                  <a:pt x="5946515" y="1656010"/>
                </a:cubicBezTo>
                <a:cubicBezTo>
                  <a:pt x="5945661" y="1657148"/>
                  <a:pt x="5944167" y="1658144"/>
                  <a:pt x="5942246" y="1659140"/>
                </a:cubicBezTo>
                <a:cubicBezTo>
                  <a:pt x="5938191" y="1661132"/>
                  <a:pt x="5936057" y="1658144"/>
                  <a:pt x="5932856" y="1659140"/>
                </a:cubicBezTo>
                <a:lnTo>
                  <a:pt x="5933283" y="1657006"/>
                </a:lnTo>
                <a:lnTo>
                  <a:pt x="5921758" y="1655583"/>
                </a:lnTo>
                <a:cubicBezTo>
                  <a:pt x="5918130" y="1654303"/>
                  <a:pt x="5915142" y="1652169"/>
                  <a:pt x="5912581" y="1649466"/>
                </a:cubicBezTo>
                <a:lnTo>
                  <a:pt x="5908739" y="1643917"/>
                </a:lnTo>
                <a:lnTo>
                  <a:pt x="5907672" y="1648897"/>
                </a:lnTo>
                <a:cubicBezTo>
                  <a:pt x="5905538" y="1654587"/>
                  <a:pt x="5901910" y="1660420"/>
                  <a:pt x="5896574" y="1665969"/>
                </a:cubicBezTo>
                <a:cubicBezTo>
                  <a:pt x="5888891" y="1665684"/>
                  <a:pt x="5886757" y="1659708"/>
                  <a:pt x="5888251" y="1652738"/>
                </a:cubicBezTo>
                <a:cubicBezTo>
                  <a:pt x="5889958" y="1643917"/>
                  <a:pt x="5897001" y="1633816"/>
                  <a:pt x="5904044" y="1631397"/>
                </a:cubicBezTo>
                <a:lnTo>
                  <a:pt x="5904684" y="1631397"/>
                </a:lnTo>
                <a:lnTo>
                  <a:pt x="5905111" y="1622008"/>
                </a:lnTo>
                <a:cubicBezTo>
                  <a:pt x="5905538" y="1618593"/>
                  <a:pt x="5906605" y="1615036"/>
                  <a:pt x="5908312" y="1611622"/>
                </a:cubicBezTo>
                <a:cubicBezTo>
                  <a:pt x="5910020" y="1611622"/>
                  <a:pt x="5911514" y="1611764"/>
                  <a:pt x="5911727" y="1610057"/>
                </a:cubicBezTo>
                <a:close/>
                <a:moveTo>
                  <a:pt x="5616141" y="1609772"/>
                </a:moveTo>
                <a:cubicBezTo>
                  <a:pt x="5617208" y="1614041"/>
                  <a:pt x="5619555" y="1619020"/>
                  <a:pt x="5621690" y="1623857"/>
                </a:cubicBezTo>
                <a:cubicBezTo>
                  <a:pt x="5623824" y="1628552"/>
                  <a:pt x="5625531" y="1633389"/>
                  <a:pt x="5625318" y="1637373"/>
                </a:cubicBezTo>
                <a:lnTo>
                  <a:pt x="5623824" y="1641498"/>
                </a:lnTo>
                <a:lnTo>
                  <a:pt x="5624464" y="1641925"/>
                </a:lnTo>
                <a:cubicBezTo>
                  <a:pt x="5621903" y="1644202"/>
                  <a:pt x="5622757" y="1646620"/>
                  <a:pt x="5619982" y="1648897"/>
                </a:cubicBezTo>
                <a:lnTo>
                  <a:pt x="5616994" y="1645624"/>
                </a:lnTo>
                <a:lnTo>
                  <a:pt x="5614647" y="1646193"/>
                </a:lnTo>
                <a:lnTo>
                  <a:pt x="5613580" y="1654587"/>
                </a:lnTo>
                <a:cubicBezTo>
                  <a:pt x="5612939" y="1657433"/>
                  <a:pt x="5611872" y="1660278"/>
                  <a:pt x="5610805" y="1662555"/>
                </a:cubicBezTo>
                <a:cubicBezTo>
                  <a:pt x="5600988" y="1652596"/>
                  <a:pt x="5604189" y="1642068"/>
                  <a:pt x="5607177" y="1631539"/>
                </a:cubicBezTo>
                <a:cubicBezTo>
                  <a:pt x="5609738" y="1632820"/>
                  <a:pt x="5611659" y="1634812"/>
                  <a:pt x="5612939" y="1637373"/>
                </a:cubicBezTo>
                <a:lnTo>
                  <a:pt x="5613153" y="1638511"/>
                </a:lnTo>
                <a:lnTo>
                  <a:pt x="5613366" y="1636661"/>
                </a:lnTo>
                <a:cubicBezTo>
                  <a:pt x="5613366" y="1626418"/>
                  <a:pt x="5609952" y="1616459"/>
                  <a:pt x="5616141" y="1609772"/>
                </a:cubicBezTo>
                <a:close/>
                <a:moveTo>
                  <a:pt x="1299170" y="1609550"/>
                </a:moveTo>
                <a:cubicBezTo>
                  <a:pt x="1301751" y="1611564"/>
                  <a:pt x="1301338" y="1614816"/>
                  <a:pt x="1299480" y="1617605"/>
                </a:cubicBezTo>
                <a:cubicBezTo>
                  <a:pt x="1297725" y="1620393"/>
                  <a:pt x="1294524" y="1622561"/>
                  <a:pt x="1291632" y="1622561"/>
                </a:cubicBezTo>
                <a:cubicBezTo>
                  <a:pt x="1291426" y="1621012"/>
                  <a:pt x="1291426" y="1619463"/>
                  <a:pt x="1291529" y="1618069"/>
                </a:cubicBezTo>
                <a:cubicBezTo>
                  <a:pt x="1291839" y="1614041"/>
                  <a:pt x="1293801" y="1611099"/>
                  <a:pt x="1299170" y="1609550"/>
                </a:cubicBezTo>
                <a:close/>
                <a:moveTo>
                  <a:pt x="1659508" y="1609104"/>
                </a:moveTo>
                <a:cubicBezTo>
                  <a:pt x="1660515" y="1609085"/>
                  <a:pt x="1661651" y="1610014"/>
                  <a:pt x="1663355" y="1611254"/>
                </a:cubicBezTo>
                <a:lnTo>
                  <a:pt x="1661290" y="1612958"/>
                </a:lnTo>
                <a:lnTo>
                  <a:pt x="1667795" y="1616365"/>
                </a:lnTo>
                <a:cubicBezTo>
                  <a:pt x="1671718" y="1620702"/>
                  <a:pt x="1672751" y="1627828"/>
                  <a:pt x="1664800" y="1632320"/>
                </a:cubicBezTo>
                <a:lnTo>
                  <a:pt x="1660154" y="1626898"/>
                </a:lnTo>
                <a:lnTo>
                  <a:pt x="1659328" y="1628602"/>
                </a:lnTo>
                <a:lnTo>
                  <a:pt x="1655610" y="1629531"/>
                </a:lnTo>
                <a:lnTo>
                  <a:pt x="1655714" y="1629841"/>
                </a:lnTo>
                <a:cubicBezTo>
                  <a:pt x="1654888" y="1632010"/>
                  <a:pt x="1652823" y="1633714"/>
                  <a:pt x="1649828" y="1633559"/>
                </a:cubicBezTo>
                <a:cubicBezTo>
                  <a:pt x="1647557" y="1632165"/>
                  <a:pt x="1645388" y="1630926"/>
                  <a:pt x="1645388" y="1626743"/>
                </a:cubicBezTo>
                <a:cubicBezTo>
                  <a:pt x="1647660" y="1623955"/>
                  <a:pt x="1650241" y="1622871"/>
                  <a:pt x="1655094" y="1623181"/>
                </a:cubicBezTo>
                <a:lnTo>
                  <a:pt x="1655094" y="1623955"/>
                </a:lnTo>
                <a:lnTo>
                  <a:pt x="1655817" y="1622252"/>
                </a:lnTo>
                <a:lnTo>
                  <a:pt x="1656333" y="1622097"/>
                </a:lnTo>
                <a:lnTo>
                  <a:pt x="1653029" y="1616985"/>
                </a:lnTo>
                <a:cubicBezTo>
                  <a:pt x="1653959" y="1615281"/>
                  <a:pt x="1655197" y="1614041"/>
                  <a:pt x="1656436" y="1613422"/>
                </a:cubicBezTo>
                <a:lnTo>
                  <a:pt x="1657985" y="1613112"/>
                </a:lnTo>
                <a:lnTo>
                  <a:pt x="1656436" y="1612648"/>
                </a:lnTo>
                <a:cubicBezTo>
                  <a:pt x="1657624" y="1610092"/>
                  <a:pt x="1658502" y="1609124"/>
                  <a:pt x="1659508" y="1609104"/>
                </a:cubicBezTo>
                <a:close/>
                <a:moveTo>
                  <a:pt x="1273769" y="1608930"/>
                </a:moveTo>
                <a:lnTo>
                  <a:pt x="1275731" y="1610324"/>
                </a:lnTo>
                <a:lnTo>
                  <a:pt x="1276247" y="1610324"/>
                </a:lnTo>
                <a:cubicBezTo>
                  <a:pt x="1278932" y="1613887"/>
                  <a:pt x="1275421" y="1617914"/>
                  <a:pt x="1273769" y="1620393"/>
                </a:cubicBezTo>
                <a:lnTo>
                  <a:pt x="1272324" y="1619773"/>
                </a:lnTo>
                <a:lnTo>
                  <a:pt x="1272427" y="1621632"/>
                </a:lnTo>
                <a:cubicBezTo>
                  <a:pt x="1272324" y="1622406"/>
                  <a:pt x="1272117" y="1623336"/>
                  <a:pt x="1271910" y="1624265"/>
                </a:cubicBezTo>
                <a:cubicBezTo>
                  <a:pt x="1269948" y="1624110"/>
                  <a:pt x="1267987" y="1625814"/>
                  <a:pt x="1265715" y="1624885"/>
                </a:cubicBezTo>
                <a:cubicBezTo>
                  <a:pt x="1265715" y="1624885"/>
                  <a:pt x="1264476" y="1624420"/>
                  <a:pt x="1263650" y="1622871"/>
                </a:cubicBezTo>
                <a:cubicBezTo>
                  <a:pt x="1260965" y="1621167"/>
                  <a:pt x="1262204" y="1617914"/>
                  <a:pt x="1262204" y="1617914"/>
                </a:cubicBezTo>
                <a:cubicBezTo>
                  <a:pt x="1262204" y="1617914"/>
                  <a:pt x="1262204" y="1617914"/>
                  <a:pt x="1261481" y="1618224"/>
                </a:cubicBezTo>
                <a:cubicBezTo>
                  <a:pt x="1263030" y="1617605"/>
                  <a:pt x="1264166" y="1616210"/>
                  <a:pt x="1265715" y="1615591"/>
                </a:cubicBezTo>
                <a:lnTo>
                  <a:pt x="1266334" y="1615901"/>
                </a:lnTo>
                <a:lnTo>
                  <a:pt x="1265715" y="1615281"/>
                </a:lnTo>
                <a:cubicBezTo>
                  <a:pt x="1266541" y="1613112"/>
                  <a:pt x="1267780" y="1611564"/>
                  <a:pt x="1269535" y="1610634"/>
                </a:cubicBezTo>
                <a:lnTo>
                  <a:pt x="1272736" y="1610479"/>
                </a:lnTo>
                <a:close/>
                <a:moveTo>
                  <a:pt x="4666636" y="1608919"/>
                </a:moveTo>
                <a:cubicBezTo>
                  <a:pt x="4667703" y="1608919"/>
                  <a:pt x="4668771" y="1609488"/>
                  <a:pt x="4669838" y="1610199"/>
                </a:cubicBezTo>
                <a:cubicBezTo>
                  <a:pt x="4668771" y="1611337"/>
                  <a:pt x="4669838" y="1613899"/>
                  <a:pt x="4668557" y="1615036"/>
                </a:cubicBezTo>
                <a:cubicBezTo>
                  <a:pt x="4668557" y="1615036"/>
                  <a:pt x="4665142" y="1615748"/>
                  <a:pt x="4665142" y="1615748"/>
                </a:cubicBezTo>
                <a:cubicBezTo>
                  <a:pt x="4663862" y="1614467"/>
                  <a:pt x="4663862" y="1614467"/>
                  <a:pt x="4665142" y="1614609"/>
                </a:cubicBezTo>
                <a:cubicBezTo>
                  <a:pt x="4664075" y="1611907"/>
                  <a:pt x="4664075" y="1610768"/>
                  <a:pt x="4664075" y="1609488"/>
                </a:cubicBezTo>
                <a:cubicBezTo>
                  <a:pt x="4664715" y="1608919"/>
                  <a:pt x="4665569" y="1608777"/>
                  <a:pt x="4666636" y="1608919"/>
                </a:cubicBezTo>
                <a:close/>
                <a:moveTo>
                  <a:pt x="4890300" y="1608777"/>
                </a:moveTo>
                <a:cubicBezTo>
                  <a:pt x="4891367" y="1608777"/>
                  <a:pt x="4892434" y="1608919"/>
                  <a:pt x="4892221" y="1609488"/>
                </a:cubicBezTo>
                <a:cubicBezTo>
                  <a:pt x="4892648" y="1611053"/>
                  <a:pt x="4893074" y="1610057"/>
                  <a:pt x="4894142" y="1610626"/>
                </a:cubicBezTo>
                <a:cubicBezTo>
                  <a:pt x="4895849" y="1615606"/>
                  <a:pt x="4895636" y="1619162"/>
                  <a:pt x="4892007" y="1621154"/>
                </a:cubicBezTo>
                <a:cubicBezTo>
                  <a:pt x="4889019" y="1622008"/>
                  <a:pt x="4884324" y="1623288"/>
                  <a:pt x="4882190" y="1619446"/>
                </a:cubicBezTo>
                <a:cubicBezTo>
                  <a:pt x="4882617" y="1618451"/>
                  <a:pt x="4881550" y="1617740"/>
                  <a:pt x="4882190" y="1616744"/>
                </a:cubicBezTo>
                <a:cubicBezTo>
                  <a:pt x="4882190" y="1616744"/>
                  <a:pt x="4881977" y="1615463"/>
                  <a:pt x="4882617" y="1613899"/>
                </a:cubicBezTo>
                <a:cubicBezTo>
                  <a:pt x="4883257" y="1612191"/>
                  <a:pt x="4884538" y="1610342"/>
                  <a:pt x="4886885" y="1609061"/>
                </a:cubicBezTo>
                <a:cubicBezTo>
                  <a:pt x="4887739" y="1608919"/>
                  <a:pt x="4889019" y="1608777"/>
                  <a:pt x="4890300" y="1608777"/>
                </a:cubicBezTo>
                <a:close/>
                <a:moveTo>
                  <a:pt x="4196045" y="1608634"/>
                </a:moveTo>
                <a:cubicBezTo>
                  <a:pt x="4198180" y="1608919"/>
                  <a:pt x="4199033" y="1609772"/>
                  <a:pt x="4199460" y="1610910"/>
                </a:cubicBezTo>
                <a:cubicBezTo>
                  <a:pt x="4199673" y="1612049"/>
                  <a:pt x="4199247" y="1613614"/>
                  <a:pt x="4198606" y="1615179"/>
                </a:cubicBezTo>
                <a:cubicBezTo>
                  <a:pt x="4197326" y="1618451"/>
                  <a:pt x="4194765" y="1618308"/>
                  <a:pt x="4194765" y="1618308"/>
                </a:cubicBezTo>
                <a:cubicBezTo>
                  <a:pt x="4190710" y="1617740"/>
                  <a:pt x="4188362" y="1615036"/>
                  <a:pt x="4189216" y="1610626"/>
                </a:cubicBezTo>
                <a:cubicBezTo>
                  <a:pt x="4190923" y="1608492"/>
                  <a:pt x="4193485" y="1608492"/>
                  <a:pt x="4196045" y="1608634"/>
                </a:cubicBezTo>
                <a:close/>
                <a:moveTo>
                  <a:pt x="5780474" y="1608207"/>
                </a:moveTo>
                <a:cubicBezTo>
                  <a:pt x="5783675" y="1613187"/>
                  <a:pt x="5789651" y="1614041"/>
                  <a:pt x="5792212" y="1620158"/>
                </a:cubicBezTo>
                <a:cubicBezTo>
                  <a:pt x="5790718" y="1620585"/>
                  <a:pt x="5786450" y="1621012"/>
                  <a:pt x="5785169" y="1617171"/>
                </a:cubicBezTo>
                <a:cubicBezTo>
                  <a:pt x="5783675" y="1613187"/>
                  <a:pt x="5780260" y="1612476"/>
                  <a:pt x="5778980" y="1608634"/>
                </a:cubicBezTo>
                <a:cubicBezTo>
                  <a:pt x="5778980" y="1608634"/>
                  <a:pt x="5778980" y="1608634"/>
                  <a:pt x="5780474" y="1608207"/>
                </a:cubicBezTo>
                <a:close/>
                <a:moveTo>
                  <a:pt x="4069488" y="1608207"/>
                </a:moveTo>
                <a:cubicBezTo>
                  <a:pt x="4069701" y="1608207"/>
                  <a:pt x="4069914" y="1608492"/>
                  <a:pt x="4069914" y="1609061"/>
                </a:cubicBezTo>
                <a:cubicBezTo>
                  <a:pt x="4072262" y="1610342"/>
                  <a:pt x="4070128" y="1612618"/>
                  <a:pt x="4069061" y="1613614"/>
                </a:cubicBezTo>
                <a:cubicBezTo>
                  <a:pt x="4068847" y="1610199"/>
                  <a:pt x="4067780" y="1609061"/>
                  <a:pt x="4068847" y="1609061"/>
                </a:cubicBezTo>
                <a:cubicBezTo>
                  <a:pt x="4068847" y="1608492"/>
                  <a:pt x="4069061" y="1608207"/>
                  <a:pt x="4069488" y="1608207"/>
                </a:cubicBezTo>
                <a:close/>
                <a:moveTo>
                  <a:pt x="1105048" y="1607304"/>
                </a:moveTo>
                <a:cubicBezTo>
                  <a:pt x="1107010" y="1607343"/>
                  <a:pt x="1109230" y="1608311"/>
                  <a:pt x="1111450" y="1609705"/>
                </a:cubicBezTo>
                <a:cubicBezTo>
                  <a:pt x="1110624" y="1610634"/>
                  <a:pt x="1113412" y="1612028"/>
                  <a:pt x="1114341" y="1613577"/>
                </a:cubicBezTo>
                <a:cubicBezTo>
                  <a:pt x="1114445" y="1616055"/>
                  <a:pt x="1114548" y="1617605"/>
                  <a:pt x="1112896" y="1619618"/>
                </a:cubicBezTo>
                <a:lnTo>
                  <a:pt x="1109901" y="1621632"/>
                </a:lnTo>
                <a:lnTo>
                  <a:pt x="1111244" y="1623336"/>
                </a:lnTo>
                <a:cubicBezTo>
                  <a:pt x="1113309" y="1628447"/>
                  <a:pt x="1113619" y="1634488"/>
                  <a:pt x="1104842" y="1636502"/>
                </a:cubicBezTo>
                <a:lnTo>
                  <a:pt x="1104326" y="1636657"/>
                </a:lnTo>
                <a:lnTo>
                  <a:pt x="1108766" y="1640684"/>
                </a:lnTo>
                <a:cubicBezTo>
                  <a:pt x="1103603" y="1644247"/>
                  <a:pt x="1103500" y="1648429"/>
                  <a:pt x="1098027" y="1649358"/>
                </a:cubicBezTo>
                <a:cubicBezTo>
                  <a:pt x="1096375" y="1648119"/>
                  <a:pt x="1095445" y="1646415"/>
                  <a:pt x="1095239" y="1644866"/>
                </a:cubicBezTo>
                <a:cubicBezTo>
                  <a:pt x="1094826" y="1642543"/>
                  <a:pt x="1095859" y="1640219"/>
                  <a:pt x="1097510" y="1638515"/>
                </a:cubicBezTo>
                <a:lnTo>
                  <a:pt x="1098750" y="1638051"/>
                </a:lnTo>
                <a:lnTo>
                  <a:pt x="1095962" y="1634798"/>
                </a:lnTo>
                <a:cubicBezTo>
                  <a:pt x="1094826" y="1633869"/>
                  <a:pt x="1093484" y="1632475"/>
                  <a:pt x="1092348" y="1629376"/>
                </a:cubicBezTo>
                <a:cubicBezTo>
                  <a:pt x="1091419" y="1627363"/>
                  <a:pt x="1091109" y="1625659"/>
                  <a:pt x="1091109" y="1624110"/>
                </a:cubicBezTo>
                <a:lnTo>
                  <a:pt x="1091315" y="1623026"/>
                </a:lnTo>
                <a:lnTo>
                  <a:pt x="1091109" y="1623336"/>
                </a:lnTo>
                <a:cubicBezTo>
                  <a:pt x="1088940" y="1625504"/>
                  <a:pt x="1086772" y="1627053"/>
                  <a:pt x="1085533" y="1626743"/>
                </a:cubicBezTo>
                <a:cubicBezTo>
                  <a:pt x="1085430" y="1625969"/>
                  <a:pt x="1085430" y="1625195"/>
                  <a:pt x="1086153" y="1624265"/>
                </a:cubicBezTo>
                <a:cubicBezTo>
                  <a:pt x="1086978" y="1623336"/>
                  <a:pt x="1087082" y="1624110"/>
                  <a:pt x="1087082" y="1623181"/>
                </a:cubicBezTo>
                <a:cubicBezTo>
                  <a:pt x="1087804" y="1622252"/>
                  <a:pt x="1086978" y="1622406"/>
                  <a:pt x="1086978" y="1622406"/>
                </a:cubicBezTo>
                <a:cubicBezTo>
                  <a:pt x="1086978" y="1622406"/>
                  <a:pt x="1087908" y="1622252"/>
                  <a:pt x="1087908" y="1622252"/>
                </a:cubicBezTo>
                <a:cubicBezTo>
                  <a:pt x="1087908" y="1622252"/>
                  <a:pt x="1087908" y="1622252"/>
                  <a:pt x="1089457" y="1620393"/>
                </a:cubicBezTo>
                <a:cubicBezTo>
                  <a:pt x="1091109" y="1617605"/>
                  <a:pt x="1091005" y="1616830"/>
                  <a:pt x="1091728" y="1614971"/>
                </a:cubicBezTo>
                <a:cubicBezTo>
                  <a:pt x="1093381" y="1613112"/>
                  <a:pt x="1094310" y="1612958"/>
                  <a:pt x="1096788" y="1610789"/>
                </a:cubicBezTo>
                <a:cubicBezTo>
                  <a:pt x="1098543" y="1611408"/>
                  <a:pt x="1098543" y="1611564"/>
                  <a:pt x="1098543" y="1612338"/>
                </a:cubicBezTo>
                <a:cubicBezTo>
                  <a:pt x="1098543" y="1611564"/>
                  <a:pt x="1099369" y="1611408"/>
                  <a:pt x="1100195" y="1610479"/>
                </a:cubicBezTo>
                <a:cubicBezTo>
                  <a:pt x="1101383" y="1608156"/>
                  <a:pt x="1103086" y="1607265"/>
                  <a:pt x="1105048" y="1607304"/>
                </a:cubicBezTo>
                <a:close/>
                <a:moveTo>
                  <a:pt x="4948564" y="1607070"/>
                </a:moveTo>
                <a:cubicBezTo>
                  <a:pt x="4950698" y="1605646"/>
                  <a:pt x="4952192" y="1607923"/>
                  <a:pt x="4953472" y="1611195"/>
                </a:cubicBezTo>
                <a:cubicBezTo>
                  <a:pt x="4957314" y="1617313"/>
                  <a:pt x="4956887" y="1621012"/>
                  <a:pt x="4952192" y="1622292"/>
                </a:cubicBezTo>
                <a:cubicBezTo>
                  <a:pt x="4951124" y="1621723"/>
                  <a:pt x="4948350" y="1618878"/>
                  <a:pt x="4947924" y="1619873"/>
                </a:cubicBezTo>
                <a:cubicBezTo>
                  <a:pt x="4946643" y="1616174"/>
                  <a:pt x="4945576" y="1611907"/>
                  <a:pt x="4946643" y="1609204"/>
                </a:cubicBezTo>
                <a:cubicBezTo>
                  <a:pt x="4947070" y="1608350"/>
                  <a:pt x="4947710" y="1607496"/>
                  <a:pt x="4948564" y="1607070"/>
                </a:cubicBezTo>
                <a:close/>
                <a:moveTo>
                  <a:pt x="5161556" y="1606785"/>
                </a:moveTo>
                <a:cubicBezTo>
                  <a:pt x="5162624" y="1606500"/>
                  <a:pt x="5163477" y="1606642"/>
                  <a:pt x="5164758" y="1606927"/>
                </a:cubicBezTo>
                <a:cubicBezTo>
                  <a:pt x="5169026" y="1607070"/>
                  <a:pt x="5171587" y="1611195"/>
                  <a:pt x="5176496" y="1612476"/>
                </a:cubicBezTo>
                <a:cubicBezTo>
                  <a:pt x="5176496" y="1615463"/>
                  <a:pt x="5176496" y="1617455"/>
                  <a:pt x="5175642" y="1618736"/>
                </a:cubicBezTo>
                <a:lnTo>
                  <a:pt x="5175002" y="1619020"/>
                </a:lnTo>
                <a:lnTo>
                  <a:pt x="5164758" y="1627129"/>
                </a:lnTo>
                <a:cubicBezTo>
                  <a:pt x="5163264" y="1627556"/>
                  <a:pt x="5158142" y="1627272"/>
                  <a:pt x="5157502" y="1625707"/>
                </a:cubicBezTo>
                <a:cubicBezTo>
                  <a:pt x="5157075" y="1623999"/>
                  <a:pt x="5157502" y="1623003"/>
                  <a:pt x="5157928" y="1621865"/>
                </a:cubicBezTo>
                <a:lnTo>
                  <a:pt x="5162837" y="1618308"/>
                </a:lnTo>
                <a:lnTo>
                  <a:pt x="5160490" y="1617313"/>
                </a:lnTo>
                <a:cubicBezTo>
                  <a:pt x="5158355" y="1615606"/>
                  <a:pt x="5156648" y="1613756"/>
                  <a:pt x="5156435" y="1612476"/>
                </a:cubicBezTo>
                <a:cubicBezTo>
                  <a:pt x="5156861" y="1609915"/>
                  <a:pt x="5158568" y="1607354"/>
                  <a:pt x="5161556" y="1606785"/>
                </a:cubicBezTo>
                <a:close/>
                <a:moveTo>
                  <a:pt x="3509901" y="1606073"/>
                </a:moveTo>
                <a:cubicBezTo>
                  <a:pt x="3511395" y="1605931"/>
                  <a:pt x="3512889" y="1606073"/>
                  <a:pt x="3514383" y="1606358"/>
                </a:cubicBezTo>
                <a:cubicBezTo>
                  <a:pt x="3522919" y="1608492"/>
                  <a:pt x="3529322" y="1618308"/>
                  <a:pt x="3531670" y="1624710"/>
                </a:cubicBezTo>
                <a:cubicBezTo>
                  <a:pt x="3526761" y="1622861"/>
                  <a:pt x="3521852" y="1621438"/>
                  <a:pt x="3517157" y="1619020"/>
                </a:cubicBezTo>
                <a:cubicBezTo>
                  <a:pt x="3512676" y="1616459"/>
                  <a:pt x="3508407" y="1612902"/>
                  <a:pt x="3504992" y="1607212"/>
                </a:cubicBezTo>
                <a:cubicBezTo>
                  <a:pt x="3506700" y="1606500"/>
                  <a:pt x="3508407" y="1606073"/>
                  <a:pt x="3509901" y="1606073"/>
                </a:cubicBezTo>
                <a:close/>
                <a:moveTo>
                  <a:pt x="1437327" y="1605832"/>
                </a:moveTo>
                <a:cubicBezTo>
                  <a:pt x="1439289" y="1606142"/>
                  <a:pt x="1440425" y="1606762"/>
                  <a:pt x="1442386" y="1606917"/>
                </a:cubicBezTo>
                <a:lnTo>
                  <a:pt x="1442799" y="1607691"/>
                </a:lnTo>
                <a:lnTo>
                  <a:pt x="1443729" y="1607691"/>
                </a:lnTo>
                <a:cubicBezTo>
                  <a:pt x="1445897" y="1608310"/>
                  <a:pt x="1447239" y="1610169"/>
                  <a:pt x="1449201" y="1612493"/>
                </a:cubicBezTo>
                <a:cubicBezTo>
                  <a:pt x="1448478" y="1612183"/>
                  <a:pt x="1448892" y="1613267"/>
                  <a:pt x="1448892" y="1613267"/>
                </a:cubicBezTo>
                <a:cubicBezTo>
                  <a:pt x="1449511" y="1615436"/>
                  <a:pt x="1452815" y="1611254"/>
                  <a:pt x="1454261" y="1613887"/>
                </a:cubicBezTo>
                <a:lnTo>
                  <a:pt x="1454364" y="1614971"/>
                </a:lnTo>
                <a:lnTo>
                  <a:pt x="1455809" y="1613577"/>
                </a:lnTo>
                <a:cubicBezTo>
                  <a:pt x="1457049" y="1616210"/>
                  <a:pt x="1460456" y="1614041"/>
                  <a:pt x="1459940" y="1617759"/>
                </a:cubicBezTo>
                <a:cubicBezTo>
                  <a:pt x="1459010" y="1619309"/>
                  <a:pt x="1457255" y="1620393"/>
                  <a:pt x="1454054" y="1620702"/>
                </a:cubicBezTo>
                <a:lnTo>
                  <a:pt x="1453641" y="1619773"/>
                </a:lnTo>
                <a:lnTo>
                  <a:pt x="1453332" y="1620548"/>
                </a:lnTo>
                <a:cubicBezTo>
                  <a:pt x="1452196" y="1622561"/>
                  <a:pt x="1450440" y="1624420"/>
                  <a:pt x="1449201" y="1625504"/>
                </a:cubicBezTo>
                <a:lnTo>
                  <a:pt x="1447859" y="1626898"/>
                </a:lnTo>
                <a:lnTo>
                  <a:pt x="1448582" y="1627363"/>
                </a:lnTo>
                <a:lnTo>
                  <a:pt x="1447342" y="1627673"/>
                </a:lnTo>
                <a:lnTo>
                  <a:pt x="1447239" y="1627828"/>
                </a:lnTo>
                <a:cubicBezTo>
                  <a:pt x="1446517" y="1627518"/>
                  <a:pt x="1446103" y="1628292"/>
                  <a:pt x="1446826" y="1628602"/>
                </a:cubicBezTo>
                <a:cubicBezTo>
                  <a:pt x="1445484" y="1629531"/>
                  <a:pt x="1444245" y="1630151"/>
                  <a:pt x="1443419" y="1630306"/>
                </a:cubicBezTo>
                <a:lnTo>
                  <a:pt x="1442799" y="1629841"/>
                </a:lnTo>
                <a:lnTo>
                  <a:pt x="1441973" y="1631700"/>
                </a:lnTo>
                <a:lnTo>
                  <a:pt x="1442696" y="1632320"/>
                </a:lnTo>
                <a:cubicBezTo>
                  <a:pt x="1445691" y="1638980"/>
                  <a:pt x="1442903" y="1650598"/>
                  <a:pt x="1440425" y="1654315"/>
                </a:cubicBezTo>
                <a:lnTo>
                  <a:pt x="1438463" y="1645950"/>
                </a:lnTo>
                <a:lnTo>
                  <a:pt x="1436810" y="1647034"/>
                </a:lnTo>
                <a:cubicBezTo>
                  <a:pt x="1437017" y="1645950"/>
                  <a:pt x="1437224" y="1644401"/>
                  <a:pt x="1437533" y="1643008"/>
                </a:cubicBezTo>
                <a:lnTo>
                  <a:pt x="1437740" y="1642853"/>
                </a:lnTo>
                <a:lnTo>
                  <a:pt x="1437224" y="1640994"/>
                </a:lnTo>
                <a:lnTo>
                  <a:pt x="1437224" y="1640065"/>
                </a:lnTo>
                <a:lnTo>
                  <a:pt x="1437120" y="1640065"/>
                </a:lnTo>
                <a:cubicBezTo>
                  <a:pt x="1435674" y="1641459"/>
                  <a:pt x="1434126" y="1642233"/>
                  <a:pt x="1432371" y="1641768"/>
                </a:cubicBezTo>
                <a:cubicBezTo>
                  <a:pt x="1433403" y="1638825"/>
                  <a:pt x="1434436" y="1633249"/>
                  <a:pt x="1436295" y="1628757"/>
                </a:cubicBezTo>
                <a:lnTo>
                  <a:pt x="1440011" y="1623181"/>
                </a:lnTo>
                <a:lnTo>
                  <a:pt x="1439289" y="1622716"/>
                </a:lnTo>
                <a:lnTo>
                  <a:pt x="1437120" y="1622252"/>
                </a:lnTo>
                <a:lnTo>
                  <a:pt x="1437017" y="1623026"/>
                </a:lnTo>
                <a:cubicBezTo>
                  <a:pt x="1436191" y="1623181"/>
                  <a:pt x="1434849" y="1624575"/>
                  <a:pt x="1434436" y="1625504"/>
                </a:cubicBezTo>
                <a:cubicBezTo>
                  <a:pt x="1434126" y="1624730"/>
                  <a:pt x="1433816" y="1623955"/>
                  <a:pt x="1432990" y="1624265"/>
                </a:cubicBezTo>
                <a:cubicBezTo>
                  <a:pt x="1433506" y="1623181"/>
                  <a:pt x="1433919" y="1622561"/>
                  <a:pt x="1434229" y="1622097"/>
                </a:cubicBezTo>
                <a:lnTo>
                  <a:pt x="1434436" y="1621787"/>
                </a:lnTo>
                <a:lnTo>
                  <a:pt x="1433610" y="1621632"/>
                </a:lnTo>
                <a:cubicBezTo>
                  <a:pt x="1431544" y="1621167"/>
                  <a:pt x="1429583" y="1619928"/>
                  <a:pt x="1428240" y="1617140"/>
                </a:cubicBezTo>
                <a:cubicBezTo>
                  <a:pt x="1428860" y="1616985"/>
                  <a:pt x="1429273" y="1616520"/>
                  <a:pt x="1429583" y="1615901"/>
                </a:cubicBezTo>
                <a:lnTo>
                  <a:pt x="1429686" y="1615436"/>
                </a:lnTo>
                <a:lnTo>
                  <a:pt x="1429169" y="1614352"/>
                </a:lnTo>
                <a:cubicBezTo>
                  <a:pt x="1428963" y="1613422"/>
                  <a:pt x="1428963" y="1612183"/>
                  <a:pt x="1429376" y="1610944"/>
                </a:cubicBezTo>
                <a:cubicBezTo>
                  <a:pt x="1430202" y="1611408"/>
                  <a:pt x="1432061" y="1608001"/>
                  <a:pt x="1434642" y="1606452"/>
                </a:cubicBezTo>
                <a:cubicBezTo>
                  <a:pt x="1435468" y="1605987"/>
                  <a:pt x="1436398" y="1605677"/>
                  <a:pt x="1437327" y="1605832"/>
                </a:cubicBezTo>
                <a:close/>
                <a:moveTo>
                  <a:pt x="1799640" y="1604748"/>
                </a:moveTo>
                <a:cubicBezTo>
                  <a:pt x="1801718" y="1604477"/>
                  <a:pt x="1804248" y="1605600"/>
                  <a:pt x="1806674" y="1607691"/>
                </a:cubicBezTo>
                <a:cubicBezTo>
                  <a:pt x="1805848" y="1610479"/>
                  <a:pt x="1805126" y="1613422"/>
                  <a:pt x="1802854" y="1615126"/>
                </a:cubicBezTo>
                <a:cubicBezTo>
                  <a:pt x="1799860" y="1613267"/>
                  <a:pt x="1797072" y="1612493"/>
                  <a:pt x="1795316" y="1610169"/>
                </a:cubicBezTo>
                <a:cubicBezTo>
                  <a:pt x="1795936" y="1606684"/>
                  <a:pt x="1797562" y="1605019"/>
                  <a:pt x="1799640" y="1604748"/>
                </a:cubicBezTo>
                <a:close/>
                <a:moveTo>
                  <a:pt x="5993894" y="1604651"/>
                </a:moveTo>
                <a:cubicBezTo>
                  <a:pt x="5993254" y="1609630"/>
                  <a:pt x="5992613" y="1614894"/>
                  <a:pt x="5987704" y="1614752"/>
                </a:cubicBezTo>
                <a:cubicBezTo>
                  <a:pt x="5984290" y="1610342"/>
                  <a:pt x="5986638" y="1603513"/>
                  <a:pt x="5993894" y="1604651"/>
                </a:cubicBezTo>
                <a:close/>
                <a:moveTo>
                  <a:pt x="3886800" y="1604508"/>
                </a:moveTo>
                <a:cubicBezTo>
                  <a:pt x="3887867" y="1614041"/>
                  <a:pt x="3886160" y="1625849"/>
                  <a:pt x="3885733" y="1628552"/>
                </a:cubicBezTo>
                <a:cubicBezTo>
                  <a:pt x="3885307" y="1629975"/>
                  <a:pt x="3884880" y="1630686"/>
                  <a:pt x="3884239" y="1631113"/>
                </a:cubicBezTo>
                <a:cubicBezTo>
                  <a:pt x="3883599" y="1631539"/>
                  <a:pt x="3882745" y="1631539"/>
                  <a:pt x="3881465" y="1631397"/>
                </a:cubicBezTo>
                <a:cubicBezTo>
                  <a:pt x="3876983" y="1627983"/>
                  <a:pt x="3879117" y="1622292"/>
                  <a:pt x="3878691" y="1616174"/>
                </a:cubicBezTo>
                <a:cubicBezTo>
                  <a:pt x="3879757" y="1615748"/>
                  <a:pt x="3880611" y="1614182"/>
                  <a:pt x="3880398" y="1613044"/>
                </a:cubicBezTo>
                <a:cubicBezTo>
                  <a:pt x="3881251" y="1611480"/>
                  <a:pt x="3881892" y="1609915"/>
                  <a:pt x="3880824" y="1610342"/>
                </a:cubicBezTo>
                <a:cubicBezTo>
                  <a:pt x="3883386" y="1605789"/>
                  <a:pt x="3882959" y="1604651"/>
                  <a:pt x="3886800" y="1604508"/>
                </a:cubicBezTo>
                <a:close/>
                <a:moveTo>
                  <a:pt x="4596634" y="1603940"/>
                </a:moveTo>
                <a:cubicBezTo>
                  <a:pt x="4597275" y="1603797"/>
                  <a:pt x="4598128" y="1604508"/>
                  <a:pt x="4598769" y="1605505"/>
                </a:cubicBezTo>
                <a:cubicBezTo>
                  <a:pt x="4601330" y="1608777"/>
                  <a:pt x="4604318" y="1615321"/>
                  <a:pt x="4604745" y="1616174"/>
                </a:cubicBezTo>
                <a:cubicBezTo>
                  <a:pt x="4604745" y="1616174"/>
                  <a:pt x="4605385" y="1617313"/>
                  <a:pt x="4606238" y="1618308"/>
                </a:cubicBezTo>
                <a:cubicBezTo>
                  <a:pt x="4605812" y="1619873"/>
                  <a:pt x="4604958" y="1620443"/>
                  <a:pt x="4605598" y="1621438"/>
                </a:cubicBezTo>
                <a:cubicBezTo>
                  <a:pt x="4600903" y="1620158"/>
                  <a:pt x="4599622" y="1616601"/>
                  <a:pt x="4598555" y="1612902"/>
                </a:cubicBezTo>
                <a:cubicBezTo>
                  <a:pt x="4598128" y="1610199"/>
                  <a:pt x="4597488" y="1609204"/>
                  <a:pt x="4595141" y="1607638"/>
                </a:cubicBezTo>
                <a:cubicBezTo>
                  <a:pt x="4595141" y="1607638"/>
                  <a:pt x="4595141" y="1607781"/>
                  <a:pt x="4595567" y="1604508"/>
                </a:cubicBezTo>
                <a:close/>
                <a:moveTo>
                  <a:pt x="1187653" y="1603819"/>
                </a:moveTo>
                <a:cubicBezTo>
                  <a:pt x="1189202" y="1606297"/>
                  <a:pt x="1184659" y="1613112"/>
                  <a:pt x="1181974" y="1615591"/>
                </a:cubicBezTo>
                <a:cubicBezTo>
                  <a:pt x="1181561" y="1614971"/>
                  <a:pt x="1181561" y="1614197"/>
                  <a:pt x="1181768" y="1613112"/>
                </a:cubicBezTo>
                <a:cubicBezTo>
                  <a:pt x="1182594" y="1610169"/>
                  <a:pt x="1185588" y="1605832"/>
                  <a:pt x="1187653" y="1603819"/>
                </a:cubicBezTo>
                <a:close/>
                <a:moveTo>
                  <a:pt x="3571793" y="1603513"/>
                </a:moveTo>
                <a:cubicBezTo>
                  <a:pt x="3572220" y="1612191"/>
                  <a:pt x="3557280" y="1622008"/>
                  <a:pt x="3552372" y="1620727"/>
                </a:cubicBezTo>
                <a:cubicBezTo>
                  <a:pt x="3553225" y="1615890"/>
                  <a:pt x="3557707" y="1614325"/>
                  <a:pt x="3559201" y="1608777"/>
                </a:cubicBezTo>
                <a:cubicBezTo>
                  <a:pt x="3563470" y="1609061"/>
                  <a:pt x="3566030" y="1602801"/>
                  <a:pt x="3571793" y="1603513"/>
                </a:cubicBezTo>
                <a:close/>
                <a:moveTo>
                  <a:pt x="1328288" y="1603509"/>
                </a:moveTo>
                <a:cubicBezTo>
                  <a:pt x="1338407" y="1596848"/>
                  <a:pt x="1336239" y="1608930"/>
                  <a:pt x="1337375" y="1614662"/>
                </a:cubicBezTo>
                <a:cubicBezTo>
                  <a:pt x="1333967" y="1616830"/>
                  <a:pt x="1332831" y="1617140"/>
                  <a:pt x="1329011" y="1617140"/>
                </a:cubicBezTo>
                <a:cubicBezTo>
                  <a:pt x="1327565" y="1614816"/>
                  <a:pt x="1327153" y="1612493"/>
                  <a:pt x="1327153" y="1610169"/>
                </a:cubicBezTo>
                <a:cubicBezTo>
                  <a:pt x="1327256" y="1608001"/>
                  <a:pt x="1327772" y="1605677"/>
                  <a:pt x="1328288" y="1603509"/>
                </a:cubicBezTo>
                <a:close/>
                <a:moveTo>
                  <a:pt x="1724379" y="1602425"/>
                </a:moveTo>
                <a:cubicBezTo>
                  <a:pt x="1728612" y="1606917"/>
                  <a:pt x="1729335" y="1609705"/>
                  <a:pt x="1728406" y="1611254"/>
                </a:cubicBezTo>
                <a:cubicBezTo>
                  <a:pt x="1726547" y="1614041"/>
                  <a:pt x="1719010" y="1612493"/>
                  <a:pt x="1717667" y="1609240"/>
                </a:cubicBezTo>
                <a:cubicBezTo>
                  <a:pt x="1717461" y="1608775"/>
                  <a:pt x="1717358" y="1608310"/>
                  <a:pt x="1717461" y="1607691"/>
                </a:cubicBezTo>
                <a:cubicBezTo>
                  <a:pt x="1717771" y="1606142"/>
                  <a:pt x="1719733" y="1604284"/>
                  <a:pt x="1724379" y="1602425"/>
                </a:cubicBezTo>
                <a:close/>
                <a:moveTo>
                  <a:pt x="1761448" y="1602270"/>
                </a:moveTo>
                <a:cubicBezTo>
                  <a:pt x="1762481" y="1606142"/>
                  <a:pt x="1761035" y="1610944"/>
                  <a:pt x="1760209" y="1614662"/>
                </a:cubicBezTo>
                <a:cubicBezTo>
                  <a:pt x="1757731" y="1612028"/>
                  <a:pt x="1758557" y="1608310"/>
                  <a:pt x="1751742" y="1607226"/>
                </a:cubicBezTo>
                <a:cubicBezTo>
                  <a:pt x="1754737" y="1604438"/>
                  <a:pt x="1757834" y="1602580"/>
                  <a:pt x="1761448" y="1602270"/>
                </a:cubicBezTo>
                <a:close/>
                <a:moveTo>
                  <a:pt x="5126129" y="1602090"/>
                </a:moveTo>
                <a:cubicBezTo>
                  <a:pt x="5127410" y="1602232"/>
                  <a:pt x="5128903" y="1602374"/>
                  <a:pt x="5131251" y="1602659"/>
                </a:cubicBezTo>
                <a:cubicBezTo>
                  <a:pt x="5132745" y="1603086"/>
                  <a:pt x="5134239" y="1603940"/>
                  <a:pt x="5135306" y="1605078"/>
                </a:cubicBezTo>
                <a:cubicBezTo>
                  <a:pt x="5136373" y="1606215"/>
                  <a:pt x="5137226" y="1607781"/>
                  <a:pt x="5137440" y="1609630"/>
                </a:cubicBezTo>
                <a:cubicBezTo>
                  <a:pt x="5139361" y="1610910"/>
                  <a:pt x="5141069" y="1613899"/>
                  <a:pt x="5141069" y="1616601"/>
                </a:cubicBezTo>
                <a:cubicBezTo>
                  <a:pt x="5140001" y="1619873"/>
                  <a:pt x="5137867" y="1621154"/>
                  <a:pt x="5136373" y="1620727"/>
                </a:cubicBezTo>
                <a:lnTo>
                  <a:pt x="5129117" y="1618166"/>
                </a:lnTo>
                <a:lnTo>
                  <a:pt x="5128263" y="1618878"/>
                </a:lnTo>
                <a:cubicBezTo>
                  <a:pt x="5124635" y="1619589"/>
                  <a:pt x="5120793" y="1614182"/>
                  <a:pt x="5120580" y="1609630"/>
                </a:cubicBezTo>
                <a:lnTo>
                  <a:pt x="5121220" y="1606785"/>
                </a:lnTo>
                <a:lnTo>
                  <a:pt x="5121007" y="1606500"/>
                </a:lnTo>
                <a:cubicBezTo>
                  <a:pt x="5122074" y="1602801"/>
                  <a:pt x="5122501" y="1601805"/>
                  <a:pt x="5126129" y="1602090"/>
                </a:cubicBezTo>
                <a:close/>
                <a:moveTo>
                  <a:pt x="4363793" y="1602090"/>
                </a:moveTo>
                <a:cubicBezTo>
                  <a:pt x="4366995" y="1602517"/>
                  <a:pt x="4370196" y="1603086"/>
                  <a:pt x="4369983" y="1606358"/>
                </a:cubicBezTo>
                <a:cubicBezTo>
                  <a:pt x="4367421" y="1606785"/>
                  <a:pt x="4367421" y="1608350"/>
                  <a:pt x="4363367" y="1606927"/>
                </a:cubicBezTo>
                <a:cubicBezTo>
                  <a:pt x="4363580" y="1605362"/>
                  <a:pt x="4363793" y="1603797"/>
                  <a:pt x="4363793" y="1602090"/>
                </a:cubicBezTo>
                <a:close/>
                <a:moveTo>
                  <a:pt x="1111140" y="1601650"/>
                </a:moveTo>
                <a:cubicBezTo>
                  <a:pt x="1117749" y="1601805"/>
                  <a:pt x="1113412" y="1611873"/>
                  <a:pt x="1109488" y="1607846"/>
                </a:cubicBezTo>
                <a:cubicBezTo>
                  <a:pt x="1109488" y="1605987"/>
                  <a:pt x="1110314" y="1603819"/>
                  <a:pt x="1111140" y="1601650"/>
                </a:cubicBezTo>
                <a:close/>
                <a:moveTo>
                  <a:pt x="4352696" y="1601378"/>
                </a:moveTo>
                <a:cubicBezTo>
                  <a:pt x="4353336" y="1601663"/>
                  <a:pt x="4353336" y="1601948"/>
                  <a:pt x="4353336" y="1602232"/>
                </a:cubicBezTo>
                <a:cubicBezTo>
                  <a:pt x="4353336" y="1602517"/>
                  <a:pt x="4353122" y="1602943"/>
                  <a:pt x="4353336" y="1603370"/>
                </a:cubicBezTo>
                <a:cubicBezTo>
                  <a:pt x="4351629" y="1602943"/>
                  <a:pt x="4351629" y="1602943"/>
                  <a:pt x="4352696" y="1601378"/>
                </a:cubicBezTo>
                <a:close/>
                <a:moveTo>
                  <a:pt x="4847830" y="1601236"/>
                </a:moveTo>
                <a:cubicBezTo>
                  <a:pt x="4848897" y="1601378"/>
                  <a:pt x="4851244" y="1604082"/>
                  <a:pt x="4852311" y="1605505"/>
                </a:cubicBezTo>
                <a:cubicBezTo>
                  <a:pt x="4853378" y="1605646"/>
                  <a:pt x="4854445" y="1606927"/>
                  <a:pt x="4854445" y="1608207"/>
                </a:cubicBezTo>
                <a:cubicBezTo>
                  <a:pt x="4854445" y="1608207"/>
                  <a:pt x="4855513" y="1609630"/>
                  <a:pt x="4856580" y="1609772"/>
                </a:cubicBezTo>
                <a:lnTo>
                  <a:pt x="4857860" y="1611907"/>
                </a:lnTo>
                <a:lnTo>
                  <a:pt x="4858073" y="1611907"/>
                </a:lnTo>
                <a:cubicBezTo>
                  <a:pt x="4858714" y="1611337"/>
                  <a:pt x="4859568" y="1611053"/>
                  <a:pt x="4860421" y="1611337"/>
                </a:cubicBezTo>
                <a:cubicBezTo>
                  <a:pt x="4861061" y="1611622"/>
                  <a:pt x="4861488" y="1611907"/>
                  <a:pt x="4861702" y="1612191"/>
                </a:cubicBezTo>
                <a:cubicBezTo>
                  <a:pt x="4861915" y="1612618"/>
                  <a:pt x="4862129" y="1613187"/>
                  <a:pt x="4862556" y="1614325"/>
                </a:cubicBezTo>
                <a:cubicBezTo>
                  <a:pt x="4860635" y="1614467"/>
                  <a:pt x="4859781" y="1614467"/>
                  <a:pt x="4858928" y="1614325"/>
                </a:cubicBezTo>
                <a:lnTo>
                  <a:pt x="4858501" y="1614182"/>
                </a:lnTo>
                <a:lnTo>
                  <a:pt x="4858501" y="1614752"/>
                </a:lnTo>
                <a:lnTo>
                  <a:pt x="4856793" y="1613614"/>
                </a:lnTo>
                <a:lnTo>
                  <a:pt x="4855940" y="1613187"/>
                </a:lnTo>
                <a:lnTo>
                  <a:pt x="4856153" y="1613044"/>
                </a:lnTo>
                <a:lnTo>
                  <a:pt x="4854232" y="1610484"/>
                </a:lnTo>
                <a:cubicBezTo>
                  <a:pt x="4854232" y="1610484"/>
                  <a:pt x="4852952" y="1610342"/>
                  <a:pt x="4851885" y="1610057"/>
                </a:cubicBezTo>
                <a:cubicBezTo>
                  <a:pt x="4848683" y="1607212"/>
                  <a:pt x="4846335" y="1605646"/>
                  <a:pt x="4847830" y="1601236"/>
                </a:cubicBezTo>
                <a:close/>
                <a:moveTo>
                  <a:pt x="5894440" y="1600809"/>
                </a:moveTo>
                <a:cubicBezTo>
                  <a:pt x="5897001" y="1601805"/>
                  <a:pt x="5897215" y="1603086"/>
                  <a:pt x="5896147" y="1604366"/>
                </a:cubicBezTo>
                <a:cubicBezTo>
                  <a:pt x="5896147" y="1604366"/>
                  <a:pt x="5895080" y="1605505"/>
                  <a:pt x="5894013" y="1606785"/>
                </a:cubicBezTo>
                <a:cubicBezTo>
                  <a:pt x="5893160" y="1608065"/>
                  <a:pt x="5893160" y="1609345"/>
                  <a:pt x="5893160" y="1609345"/>
                </a:cubicBezTo>
                <a:cubicBezTo>
                  <a:pt x="5892092" y="1610626"/>
                  <a:pt x="5891025" y="1610768"/>
                  <a:pt x="5889745" y="1609630"/>
                </a:cubicBezTo>
                <a:cubicBezTo>
                  <a:pt x="5889745" y="1609630"/>
                  <a:pt x="5890599" y="1607070"/>
                  <a:pt x="5890599" y="1607070"/>
                </a:cubicBezTo>
                <a:cubicBezTo>
                  <a:pt x="5892519" y="1604508"/>
                  <a:pt x="5893587" y="1603228"/>
                  <a:pt x="5894440" y="1600809"/>
                </a:cubicBezTo>
                <a:close/>
                <a:moveTo>
                  <a:pt x="3601458" y="1600241"/>
                </a:moveTo>
                <a:cubicBezTo>
                  <a:pt x="3602311" y="1600383"/>
                  <a:pt x="3603166" y="1600951"/>
                  <a:pt x="3604233" y="1601805"/>
                </a:cubicBezTo>
                <a:cubicBezTo>
                  <a:pt x="3604233" y="1601805"/>
                  <a:pt x="3604019" y="1601663"/>
                  <a:pt x="3604233" y="1602943"/>
                </a:cubicBezTo>
                <a:cubicBezTo>
                  <a:pt x="3604659" y="1605220"/>
                  <a:pt x="3604873" y="1606500"/>
                  <a:pt x="3605086" y="1607638"/>
                </a:cubicBezTo>
                <a:cubicBezTo>
                  <a:pt x="3604019" y="1608919"/>
                  <a:pt x="3601031" y="1611480"/>
                  <a:pt x="3599751" y="1610342"/>
                </a:cubicBezTo>
                <a:cubicBezTo>
                  <a:pt x="3596976" y="1608065"/>
                  <a:pt x="3595483" y="1604651"/>
                  <a:pt x="3596336" y="1603370"/>
                </a:cubicBezTo>
                <a:cubicBezTo>
                  <a:pt x="3597830" y="1601521"/>
                  <a:pt x="3599324" y="1599671"/>
                  <a:pt x="3601458" y="1600241"/>
                </a:cubicBezTo>
                <a:close/>
                <a:moveTo>
                  <a:pt x="5432813" y="1599813"/>
                </a:moveTo>
                <a:cubicBezTo>
                  <a:pt x="5434093" y="1599956"/>
                  <a:pt x="5435801" y="1600241"/>
                  <a:pt x="5438149" y="1600525"/>
                </a:cubicBezTo>
                <a:cubicBezTo>
                  <a:pt x="5439643" y="1600951"/>
                  <a:pt x="5441136" y="1601805"/>
                  <a:pt x="5442417" y="1602943"/>
                </a:cubicBezTo>
                <a:cubicBezTo>
                  <a:pt x="5443697" y="1604224"/>
                  <a:pt x="5444764" y="1605646"/>
                  <a:pt x="5445191" y="1607496"/>
                </a:cubicBezTo>
                <a:cubicBezTo>
                  <a:pt x="5447539" y="1608919"/>
                  <a:pt x="5449460" y="1612049"/>
                  <a:pt x="5449887" y="1614609"/>
                </a:cubicBezTo>
                <a:cubicBezTo>
                  <a:pt x="5449460" y="1617881"/>
                  <a:pt x="5447539" y="1619162"/>
                  <a:pt x="5446045" y="1618736"/>
                </a:cubicBezTo>
                <a:cubicBezTo>
                  <a:pt x="5433026" y="1617028"/>
                  <a:pt x="5430679" y="1605505"/>
                  <a:pt x="5428331" y="1604082"/>
                </a:cubicBezTo>
                <a:cubicBezTo>
                  <a:pt x="5428972" y="1600383"/>
                  <a:pt x="5428972" y="1599529"/>
                  <a:pt x="5432813" y="1599813"/>
                </a:cubicBezTo>
                <a:close/>
                <a:moveTo>
                  <a:pt x="3663137" y="1599387"/>
                </a:moveTo>
                <a:cubicBezTo>
                  <a:pt x="3665911" y="1600525"/>
                  <a:pt x="3668899" y="1602232"/>
                  <a:pt x="3671673" y="1604508"/>
                </a:cubicBezTo>
                <a:lnTo>
                  <a:pt x="3678076" y="1611337"/>
                </a:lnTo>
                <a:lnTo>
                  <a:pt x="3678076" y="1611480"/>
                </a:lnTo>
                <a:lnTo>
                  <a:pt x="3679143" y="1612333"/>
                </a:lnTo>
                <a:cubicBezTo>
                  <a:pt x="3683411" y="1618166"/>
                  <a:pt x="3685972" y="1625280"/>
                  <a:pt x="3685119" y="1631824"/>
                </a:cubicBezTo>
                <a:cubicBezTo>
                  <a:pt x="3684478" y="1636376"/>
                  <a:pt x="3682344" y="1640645"/>
                  <a:pt x="3677863" y="1644202"/>
                </a:cubicBezTo>
                <a:lnTo>
                  <a:pt x="3670606" y="1626845"/>
                </a:lnTo>
                <a:lnTo>
                  <a:pt x="3669753" y="1627556"/>
                </a:lnTo>
                <a:cubicBezTo>
                  <a:pt x="3668685" y="1628837"/>
                  <a:pt x="3668685" y="1628837"/>
                  <a:pt x="3669966" y="1630117"/>
                </a:cubicBezTo>
                <a:cubicBezTo>
                  <a:pt x="3669325" y="1630686"/>
                  <a:pt x="3668899" y="1630971"/>
                  <a:pt x="3668472" y="1631113"/>
                </a:cubicBezTo>
                <a:lnTo>
                  <a:pt x="3667832" y="1631113"/>
                </a:lnTo>
                <a:lnTo>
                  <a:pt x="3665057" y="1637657"/>
                </a:lnTo>
                <a:lnTo>
                  <a:pt x="3660362" y="1643490"/>
                </a:lnTo>
                <a:lnTo>
                  <a:pt x="3658441" y="1645908"/>
                </a:lnTo>
                <a:cubicBezTo>
                  <a:pt x="3652038" y="1652026"/>
                  <a:pt x="3646276" y="1653164"/>
                  <a:pt x="3646276" y="1653164"/>
                </a:cubicBezTo>
                <a:cubicBezTo>
                  <a:pt x="3636672" y="1646478"/>
                  <a:pt x="3639020" y="1637231"/>
                  <a:pt x="3643288" y="1629263"/>
                </a:cubicBezTo>
                <a:lnTo>
                  <a:pt x="3642008" y="1628552"/>
                </a:lnTo>
                <a:cubicBezTo>
                  <a:pt x="3641368" y="1628125"/>
                  <a:pt x="3640941" y="1627698"/>
                  <a:pt x="3640941" y="1627698"/>
                </a:cubicBezTo>
                <a:cubicBezTo>
                  <a:pt x="3641581" y="1626133"/>
                  <a:pt x="3641581" y="1626133"/>
                  <a:pt x="3642008" y="1627129"/>
                </a:cubicBezTo>
                <a:cubicBezTo>
                  <a:pt x="3643288" y="1627129"/>
                  <a:pt x="3643715" y="1627272"/>
                  <a:pt x="3643929" y="1627556"/>
                </a:cubicBezTo>
                <a:lnTo>
                  <a:pt x="3644142" y="1627698"/>
                </a:lnTo>
                <a:lnTo>
                  <a:pt x="3647770" y="1622008"/>
                </a:lnTo>
                <a:cubicBezTo>
                  <a:pt x="3650545" y="1617313"/>
                  <a:pt x="3653959" y="1612618"/>
                  <a:pt x="3657801" y="1611907"/>
                </a:cubicBezTo>
                <a:cubicBezTo>
                  <a:pt x="3658868" y="1611764"/>
                  <a:pt x="3660149" y="1612049"/>
                  <a:pt x="3661429" y="1612902"/>
                </a:cubicBezTo>
                <a:cubicBezTo>
                  <a:pt x="3665271" y="1615036"/>
                  <a:pt x="3667618" y="1619020"/>
                  <a:pt x="3668259" y="1623573"/>
                </a:cubicBezTo>
                <a:lnTo>
                  <a:pt x="3667832" y="1628979"/>
                </a:lnTo>
                <a:lnTo>
                  <a:pt x="3669112" y="1627414"/>
                </a:lnTo>
                <a:lnTo>
                  <a:pt x="3670180" y="1626133"/>
                </a:lnTo>
                <a:lnTo>
                  <a:pt x="3668685" y="1622577"/>
                </a:lnTo>
                <a:cubicBezTo>
                  <a:pt x="3665697" y="1615179"/>
                  <a:pt x="3663350" y="1607496"/>
                  <a:pt x="3663137" y="1599387"/>
                </a:cubicBezTo>
                <a:close/>
                <a:moveTo>
                  <a:pt x="1371966" y="1599172"/>
                </a:moveTo>
                <a:cubicBezTo>
                  <a:pt x="1375063" y="1599791"/>
                  <a:pt x="1377748" y="1601495"/>
                  <a:pt x="1376509" y="1604748"/>
                </a:cubicBezTo>
                <a:cubicBezTo>
                  <a:pt x="1376096" y="1605832"/>
                  <a:pt x="1375786" y="1606917"/>
                  <a:pt x="1375373" y="1606142"/>
                </a:cubicBezTo>
                <a:cubicBezTo>
                  <a:pt x="1374547" y="1606452"/>
                  <a:pt x="1374237" y="1605677"/>
                  <a:pt x="1372998" y="1605213"/>
                </a:cubicBezTo>
                <a:cubicBezTo>
                  <a:pt x="1371553" y="1603974"/>
                  <a:pt x="1370417" y="1601650"/>
                  <a:pt x="1370830" y="1600566"/>
                </a:cubicBezTo>
                <a:cubicBezTo>
                  <a:pt x="1371139" y="1599482"/>
                  <a:pt x="1371966" y="1599172"/>
                  <a:pt x="1371966" y="1599172"/>
                </a:cubicBezTo>
                <a:close/>
                <a:moveTo>
                  <a:pt x="1775594" y="1598087"/>
                </a:moveTo>
                <a:cubicBezTo>
                  <a:pt x="1775491" y="1599017"/>
                  <a:pt x="1775697" y="1599791"/>
                  <a:pt x="1775904" y="1600566"/>
                </a:cubicBezTo>
                <a:lnTo>
                  <a:pt x="1776007" y="1600876"/>
                </a:lnTo>
                <a:lnTo>
                  <a:pt x="1787159" y="1599791"/>
                </a:lnTo>
                <a:cubicBezTo>
                  <a:pt x="1785713" y="1608156"/>
                  <a:pt x="1773426" y="1609550"/>
                  <a:pt x="1765888" y="1608465"/>
                </a:cubicBezTo>
                <a:lnTo>
                  <a:pt x="1769296" y="1604438"/>
                </a:lnTo>
                <a:lnTo>
                  <a:pt x="1768676" y="1603509"/>
                </a:lnTo>
                <a:cubicBezTo>
                  <a:pt x="1768469" y="1602889"/>
                  <a:pt x="1768469" y="1601960"/>
                  <a:pt x="1768263" y="1599946"/>
                </a:cubicBezTo>
                <a:cubicBezTo>
                  <a:pt x="1770741" y="1599327"/>
                  <a:pt x="1773116" y="1598707"/>
                  <a:pt x="1775594" y="1598087"/>
                </a:cubicBezTo>
                <a:close/>
                <a:moveTo>
                  <a:pt x="1033905" y="1597933"/>
                </a:moveTo>
                <a:cubicBezTo>
                  <a:pt x="1035660" y="1599327"/>
                  <a:pt x="1037519" y="1600721"/>
                  <a:pt x="1035866" y="1602580"/>
                </a:cubicBezTo>
                <a:cubicBezTo>
                  <a:pt x="1035040" y="1603509"/>
                  <a:pt x="1034215" y="1604438"/>
                  <a:pt x="1032562" y="1604748"/>
                </a:cubicBezTo>
                <a:cubicBezTo>
                  <a:pt x="1030704" y="1603354"/>
                  <a:pt x="1031427" y="1600721"/>
                  <a:pt x="1030498" y="1600101"/>
                </a:cubicBezTo>
                <a:cubicBezTo>
                  <a:pt x="1031427" y="1599946"/>
                  <a:pt x="1033079" y="1599637"/>
                  <a:pt x="1033905" y="1597933"/>
                </a:cubicBezTo>
                <a:close/>
                <a:moveTo>
                  <a:pt x="4984205" y="1597679"/>
                </a:moveTo>
                <a:cubicBezTo>
                  <a:pt x="4985058" y="1597395"/>
                  <a:pt x="4986125" y="1597537"/>
                  <a:pt x="4987620" y="1598106"/>
                </a:cubicBezTo>
                <a:cubicBezTo>
                  <a:pt x="4988046" y="1603086"/>
                  <a:pt x="4980363" y="1607354"/>
                  <a:pt x="4975881" y="1605078"/>
                </a:cubicBezTo>
                <a:cubicBezTo>
                  <a:pt x="4980577" y="1602517"/>
                  <a:pt x="4981644" y="1598533"/>
                  <a:pt x="4984205" y="1597679"/>
                </a:cubicBezTo>
                <a:close/>
                <a:moveTo>
                  <a:pt x="1063746" y="1597623"/>
                </a:moveTo>
                <a:cubicBezTo>
                  <a:pt x="1065398" y="1596384"/>
                  <a:pt x="1067153" y="1598242"/>
                  <a:pt x="1068599" y="1598862"/>
                </a:cubicBezTo>
                <a:cubicBezTo>
                  <a:pt x="1070251" y="1597623"/>
                  <a:pt x="1070870" y="1601805"/>
                  <a:pt x="1072420" y="1600566"/>
                </a:cubicBezTo>
                <a:cubicBezTo>
                  <a:pt x="1073762" y="1605058"/>
                  <a:pt x="1079647" y="1603044"/>
                  <a:pt x="1082745" y="1609240"/>
                </a:cubicBezTo>
                <a:cubicBezTo>
                  <a:pt x="1080473" y="1608930"/>
                  <a:pt x="1078615" y="1608465"/>
                  <a:pt x="1076963" y="1607691"/>
                </a:cubicBezTo>
                <a:cubicBezTo>
                  <a:pt x="1072006" y="1605677"/>
                  <a:pt x="1069012" y="1602425"/>
                  <a:pt x="1064985" y="1601960"/>
                </a:cubicBezTo>
                <a:cubicBezTo>
                  <a:pt x="1064985" y="1601960"/>
                  <a:pt x="1064985" y="1601960"/>
                  <a:pt x="1064365" y="1599791"/>
                </a:cubicBezTo>
                <a:cubicBezTo>
                  <a:pt x="1063642" y="1599482"/>
                  <a:pt x="1063642" y="1599482"/>
                  <a:pt x="1063642" y="1599482"/>
                </a:cubicBezTo>
                <a:cubicBezTo>
                  <a:pt x="1063229" y="1599327"/>
                  <a:pt x="1063229" y="1598707"/>
                  <a:pt x="1063333" y="1598397"/>
                </a:cubicBezTo>
                <a:cubicBezTo>
                  <a:pt x="1063436" y="1597933"/>
                  <a:pt x="1063746" y="1597623"/>
                  <a:pt x="1063746" y="1597623"/>
                </a:cubicBezTo>
                <a:close/>
                <a:moveTo>
                  <a:pt x="1210473" y="1597468"/>
                </a:moveTo>
                <a:lnTo>
                  <a:pt x="1210473" y="1599017"/>
                </a:lnTo>
                <a:lnTo>
                  <a:pt x="1213261" y="1600721"/>
                </a:lnTo>
                <a:cubicBezTo>
                  <a:pt x="1215223" y="1600721"/>
                  <a:pt x="1216875" y="1599637"/>
                  <a:pt x="1217907" y="1601030"/>
                </a:cubicBezTo>
                <a:cubicBezTo>
                  <a:pt x="1214810" y="1601495"/>
                  <a:pt x="1213674" y="1601805"/>
                  <a:pt x="1211712" y="1601960"/>
                </a:cubicBezTo>
                <a:lnTo>
                  <a:pt x="1210783" y="1602734"/>
                </a:lnTo>
                <a:lnTo>
                  <a:pt x="1210783" y="1602889"/>
                </a:lnTo>
                <a:lnTo>
                  <a:pt x="1210370" y="1603044"/>
                </a:lnTo>
                <a:lnTo>
                  <a:pt x="1209647" y="1603819"/>
                </a:lnTo>
                <a:lnTo>
                  <a:pt x="1209234" y="1603819"/>
                </a:lnTo>
                <a:lnTo>
                  <a:pt x="1207478" y="1605213"/>
                </a:lnTo>
                <a:cubicBezTo>
                  <a:pt x="1205930" y="1606607"/>
                  <a:pt x="1204381" y="1608156"/>
                  <a:pt x="1204381" y="1608156"/>
                </a:cubicBezTo>
                <a:cubicBezTo>
                  <a:pt x="1202006" y="1607846"/>
                  <a:pt x="1202006" y="1607691"/>
                  <a:pt x="1202316" y="1604748"/>
                </a:cubicBezTo>
                <a:lnTo>
                  <a:pt x="1204174" y="1602115"/>
                </a:lnTo>
                <a:lnTo>
                  <a:pt x="1204174" y="1601186"/>
                </a:lnTo>
                <a:cubicBezTo>
                  <a:pt x="1204484" y="1600411"/>
                  <a:pt x="1205104" y="1599791"/>
                  <a:pt x="1206239" y="1599327"/>
                </a:cubicBezTo>
                <a:lnTo>
                  <a:pt x="1207375" y="1599327"/>
                </a:lnTo>
                <a:close/>
                <a:moveTo>
                  <a:pt x="6014596" y="1597253"/>
                </a:moveTo>
                <a:cubicBezTo>
                  <a:pt x="6016303" y="1598533"/>
                  <a:pt x="6017370" y="1600668"/>
                  <a:pt x="6018010" y="1603228"/>
                </a:cubicBezTo>
                <a:cubicBezTo>
                  <a:pt x="6019931" y="1610768"/>
                  <a:pt x="6018224" y="1622150"/>
                  <a:pt x="6015449" y="1624853"/>
                </a:cubicBezTo>
                <a:cubicBezTo>
                  <a:pt x="6012248" y="1621154"/>
                  <a:pt x="6013955" y="1616459"/>
                  <a:pt x="6010968" y="1611622"/>
                </a:cubicBezTo>
                <a:cubicBezTo>
                  <a:pt x="6013528" y="1608065"/>
                  <a:pt x="6010754" y="1602090"/>
                  <a:pt x="6014596" y="1597253"/>
                </a:cubicBezTo>
                <a:close/>
                <a:moveTo>
                  <a:pt x="4363153" y="1597110"/>
                </a:moveTo>
                <a:cubicBezTo>
                  <a:pt x="4365714" y="1601805"/>
                  <a:pt x="4360806" y="1604508"/>
                  <a:pt x="4358031" y="1602659"/>
                </a:cubicBezTo>
                <a:cubicBezTo>
                  <a:pt x="4357177" y="1602090"/>
                  <a:pt x="4356537" y="1601094"/>
                  <a:pt x="4356324" y="1599387"/>
                </a:cubicBezTo>
                <a:cubicBezTo>
                  <a:pt x="4358458" y="1598106"/>
                  <a:pt x="4360165" y="1597679"/>
                  <a:pt x="4363153" y="1597110"/>
                </a:cubicBezTo>
                <a:close/>
                <a:moveTo>
                  <a:pt x="933127" y="1597003"/>
                </a:moveTo>
                <a:cubicBezTo>
                  <a:pt x="940045" y="1599791"/>
                  <a:pt x="947789" y="1602270"/>
                  <a:pt x="947789" y="1607846"/>
                </a:cubicBezTo>
                <a:cubicBezTo>
                  <a:pt x="943556" y="1610479"/>
                  <a:pt x="936534" y="1605677"/>
                  <a:pt x="933024" y="1602425"/>
                </a:cubicBezTo>
                <a:cubicBezTo>
                  <a:pt x="933850" y="1600256"/>
                  <a:pt x="932300" y="1599017"/>
                  <a:pt x="933127" y="1597003"/>
                </a:cubicBezTo>
                <a:close/>
                <a:moveTo>
                  <a:pt x="5963161" y="1596826"/>
                </a:moveTo>
                <a:cubicBezTo>
                  <a:pt x="5964655" y="1599102"/>
                  <a:pt x="5964655" y="1599102"/>
                  <a:pt x="5963801" y="1601663"/>
                </a:cubicBezTo>
                <a:cubicBezTo>
                  <a:pt x="5962734" y="1601663"/>
                  <a:pt x="5962948" y="1602943"/>
                  <a:pt x="5961667" y="1601805"/>
                </a:cubicBezTo>
                <a:cubicBezTo>
                  <a:pt x="5960600" y="1603655"/>
                  <a:pt x="5957826" y="1605646"/>
                  <a:pt x="5954625" y="1607070"/>
                </a:cubicBezTo>
                <a:lnTo>
                  <a:pt x="5953984" y="1607212"/>
                </a:lnTo>
                <a:lnTo>
                  <a:pt x="5956118" y="1608492"/>
                </a:lnTo>
                <a:cubicBezTo>
                  <a:pt x="5957186" y="1608919"/>
                  <a:pt x="5957826" y="1609345"/>
                  <a:pt x="5958893" y="1609915"/>
                </a:cubicBezTo>
                <a:lnTo>
                  <a:pt x="5959106" y="1610057"/>
                </a:lnTo>
                <a:lnTo>
                  <a:pt x="5959746" y="1609772"/>
                </a:lnTo>
                <a:cubicBezTo>
                  <a:pt x="5961241" y="1609488"/>
                  <a:pt x="5962521" y="1609488"/>
                  <a:pt x="5964228" y="1610057"/>
                </a:cubicBezTo>
                <a:cubicBezTo>
                  <a:pt x="5964228" y="1610057"/>
                  <a:pt x="5964228" y="1610057"/>
                  <a:pt x="5962948" y="1610057"/>
                </a:cubicBezTo>
                <a:cubicBezTo>
                  <a:pt x="5962948" y="1610057"/>
                  <a:pt x="5964228" y="1610057"/>
                  <a:pt x="5964228" y="1611195"/>
                </a:cubicBezTo>
                <a:lnTo>
                  <a:pt x="5960600" y="1612333"/>
                </a:lnTo>
                <a:lnTo>
                  <a:pt x="5961027" y="1613044"/>
                </a:lnTo>
                <a:cubicBezTo>
                  <a:pt x="5961454" y="1614041"/>
                  <a:pt x="5962094" y="1615321"/>
                  <a:pt x="5962948" y="1617171"/>
                </a:cubicBezTo>
                <a:cubicBezTo>
                  <a:pt x="5961667" y="1619446"/>
                  <a:pt x="5961667" y="1619446"/>
                  <a:pt x="5960387" y="1619446"/>
                </a:cubicBezTo>
                <a:cubicBezTo>
                  <a:pt x="5961667" y="1619446"/>
                  <a:pt x="5961454" y="1620727"/>
                  <a:pt x="5962521" y="1621865"/>
                </a:cubicBezTo>
                <a:cubicBezTo>
                  <a:pt x="5967857" y="1625565"/>
                  <a:pt x="5965082" y="1631539"/>
                  <a:pt x="5959746" y="1637373"/>
                </a:cubicBezTo>
                <a:cubicBezTo>
                  <a:pt x="5958679" y="1636234"/>
                  <a:pt x="5955905" y="1639649"/>
                  <a:pt x="5953558" y="1640930"/>
                </a:cubicBezTo>
                <a:cubicBezTo>
                  <a:pt x="5950143" y="1640787"/>
                  <a:pt x="5947795" y="1640787"/>
                  <a:pt x="5945661" y="1638368"/>
                </a:cubicBezTo>
                <a:cubicBezTo>
                  <a:pt x="5942673" y="1634669"/>
                  <a:pt x="5941179" y="1626276"/>
                  <a:pt x="5945020" y="1622861"/>
                </a:cubicBezTo>
                <a:cubicBezTo>
                  <a:pt x="5948862" y="1618166"/>
                  <a:pt x="5952490" y="1617028"/>
                  <a:pt x="5955905" y="1617028"/>
                </a:cubicBezTo>
                <a:cubicBezTo>
                  <a:pt x="5955905" y="1617028"/>
                  <a:pt x="5955905" y="1617028"/>
                  <a:pt x="5954838" y="1616886"/>
                </a:cubicBezTo>
                <a:lnTo>
                  <a:pt x="5952703" y="1614325"/>
                </a:lnTo>
                <a:lnTo>
                  <a:pt x="5950783" y="1614467"/>
                </a:lnTo>
                <a:cubicBezTo>
                  <a:pt x="5949502" y="1614467"/>
                  <a:pt x="5948862" y="1614467"/>
                  <a:pt x="5948435" y="1614467"/>
                </a:cubicBezTo>
                <a:cubicBezTo>
                  <a:pt x="5948435" y="1613329"/>
                  <a:pt x="5948222" y="1613329"/>
                  <a:pt x="5948222" y="1613329"/>
                </a:cubicBezTo>
                <a:lnTo>
                  <a:pt x="5951423" y="1612618"/>
                </a:lnTo>
                <a:lnTo>
                  <a:pt x="5948008" y="1608350"/>
                </a:lnTo>
                <a:lnTo>
                  <a:pt x="5945234" y="1608919"/>
                </a:lnTo>
                <a:lnTo>
                  <a:pt x="5946942" y="1606785"/>
                </a:lnTo>
                <a:lnTo>
                  <a:pt x="5945234" y="1603513"/>
                </a:lnTo>
                <a:cubicBezTo>
                  <a:pt x="5944807" y="1602090"/>
                  <a:pt x="5944594" y="1600951"/>
                  <a:pt x="5945020" y="1600098"/>
                </a:cubicBezTo>
                <a:cubicBezTo>
                  <a:pt x="5946087" y="1600098"/>
                  <a:pt x="5947368" y="1600241"/>
                  <a:pt x="5948222" y="1601378"/>
                </a:cubicBezTo>
                <a:cubicBezTo>
                  <a:pt x="5949289" y="1602659"/>
                  <a:pt x="5948222" y="1602517"/>
                  <a:pt x="5949289" y="1602517"/>
                </a:cubicBezTo>
                <a:cubicBezTo>
                  <a:pt x="5950356" y="1603797"/>
                  <a:pt x="5950356" y="1602517"/>
                  <a:pt x="5950356" y="1602517"/>
                </a:cubicBezTo>
                <a:lnTo>
                  <a:pt x="5950356" y="1602943"/>
                </a:lnTo>
                <a:lnTo>
                  <a:pt x="5955265" y="1600951"/>
                </a:lnTo>
                <a:cubicBezTo>
                  <a:pt x="5958466" y="1600098"/>
                  <a:pt x="5961454" y="1599956"/>
                  <a:pt x="5963161" y="1596826"/>
                </a:cubicBezTo>
                <a:close/>
                <a:moveTo>
                  <a:pt x="1832398" y="1596790"/>
                </a:moveTo>
                <a:cubicBezTo>
                  <a:pt x="1839381" y="1593363"/>
                  <a:pt x="1846841" y="1593053"/>
                  <a:pt x="1852933" y="1597158"/>
                </a:cubicBezTo>
                <a:cubicBezTo>
                  <a:pt x="1863362" y="1606297"/>
                  <a:pt x="1859438" y="1618534"/>
                  <a:pt x="1850662" y="1625504"/>
                </a:cubicBezTo>
                <a:lnTo>
                  <a:pt x="1848906" y="1626278"/>
                </a:lnTo>
                <a:lnTo>
                  <a:pt x="1850455" y="1626743"/>
                </a:lnTo>
                <a:cubicBezTo>
                  <a:pt x="1852520" y="1627363"/>
                  <a:pt x="1854482" y="1627982"/>
                  <a:pt x="1856547" y="1629067"/>
                </a:cubicBezTo>
                <a:lnTo>
                  <a:pt x="1860264" y="1631390"/>
                </a:lnTo>
                <a:lnTo>
                  <a:pt x="1861813" y="1627518"/>
                </a:lnTo>
                <a:cubicBezTo>
                  <a:pt x="1863465" y="1625349"/>
                  <a:pt x="1865530" y="1623800"/>
                  <a:pt x="1867492" y="1623800"/>
                </a:cubicBezTo>
                <a:cubicBezTo>
                  <a:pt x="1871519" y="1625504"/>
                  <a:pt x="1874204" y="1627518"/>
                  <a:pt x="1876063" y="1629686"/>
                </a:cubicBezTo>
                <a:lnTo>
                  <a:pt x="1878540" y="1635727"/>
                </a:lnTo>
                <a:lnTo>
                  <a:pt x="1883497" y="1638361"/>
                </a:lnTo>
                <a:cubicBezTo>
                  <a:pt x="1882258" y="1639755"/>
                  <a:pt x="1886078" y="1643782"/>
                  <a:pt x="1887421" y="1645021"/>
                </a:cubicBezTo>
                <a:cubicBezTo>
                  <a:pt x="1885459" y="1647034"/>
                  <a:pt x="1887214" y="1650598"/>
                  <a:pt x="1886492" y="1653850"/>
                </a:cubicBezTo>
                <a:lnTo>
                  <a:pt x="1885562" y="1655709"/>
                </a:lnTo>
                <a:lnTo>
                  <a:pt x="1885872" y="1656174"/>
                </a:lnTo>
                <a:cubicBezTo>
                  <a:pt x="1886905" y="1658652"/>
                  <a:pt x="1887524" y="1661285"/>
                  <a:pt x="1887421" y="1664073"/>
                </a:cubicBezTo>
                <a:cubicBezTo>
                  <a:pt x="1881225" y="1665467"/>
                  <a:pt x="1874204" y="1662989"/>
                  <a:pt x="1868732" y="1661440"/>
                </a:cubicBezTo>
                <a:cubicBezTo>
                  <a:pt x="1871003" y="1659581"/>
                  <a:pt x="1873378" y="1659117"/>
                  <a:pt x="1875753" y="1657723"/>
                </a:cubicBezTo>
                <a:lnTo>
                  <a:pt x="1878128" y="1655554"/>
                </a:lnTo>
                <a:lnTo>
                  <a:pt x="1873688" y="1648429"/>
                </a:lnTo>
                <a:lnTo>
                  <a:pt x="1872345" y="1643472"/>
                </a:lnTo>
                <a:lnTo>
                  <a:pt x="1870590" y="1644247"/>
                </a:lnTo>
                <a:cubicBezTo>
                  <a:pt x="1867286" y="1644556"/>
                  <a:pt x="1863362" y="1643627"/>
                  <a:pt x="1859129" y="1640529"/>
                </a:cubicBezTo>
                <a:cubicBezTo>
                  <a:pt x="1858509" y="1638980"/>
                  <a:pt x="1858406" y="1637121"/>
                  <a:pt x="1858612" y="1635263"/>
                </a:cubicBezTo>
                <a:lnTo>
                  <a:pt x="1859129" y="1634023"/>
                </a:lnTo>
                <a:lnTo>
                  <a:pt x="1855618" y="1634953"/>
                </a:lnTo>
                <a:cubicBezTo>
                  <a:pt x="1852830" y="1634953"/>
                  <a:pt x="1849732" y="1634333"/>
                  <a:pt x="1846944" y="1633249"/>
                </a:cubicBezTo>
                <a:lnTo>
                  <a:pt x="1843124" y="1630771"/>
                </a:lnTo>
                <a:lnTo>
                  <a:pt x="1842917" y="1632165"/>
                </a:lnTo>
                <a:cubicBezTo>
                  <a:pt x="1834554" y="1639135"/>
                  <a:pt x="1826603" y="1642233"/>
                  <a:pt x="1818652" y="1634488"/>
                </a:cubicBezTo>
                <a:cubicBezTo>
                  <a:pt x="1819995" y="1633249"/>
                  <a:pt x="1818962" y="1631855"/>
                  <a:pt x="1817826" y="1630306"/>
                </a:cubicBezTo>
                <a:lnTo>
                  <a:pt x="1821956" y="1624730"/>
                </a:lnTo>
                <a:lnTo>
                  <a:pt x="1820407" y="1623336"/>
                </a:lnTo>
                <a:cubicBezTo>
                  <a:pt x="1818342" y="1621167"/>
                  <a:pt x="1816380" y="1618534"/>
                  <a:pt x="1814729" y="1615126"/>
                </a:cubicBezTo>
                <a:cubicBezTo>
                  <a:pt x="1818910" y="1606762"/>
                  <a:pt x="1825415" y="1600217"/>
                  <a:pt x="1832398" y="1596790"/>
                </a:cubicBezTo>
                <a:close/>
                <a:moveTo>
                  <a:pt x="5238388" y="1596399"/>
                </a:moveTo>
                <a:cubicBezTo>
                  <a:pt x="5239668" y="1595688"/>
                  <a:pt x="5241162" y="1595546"/>
                  <a:pt x="5243083" y="1596399"/>
                </a:cubicBezTo>
                <a:cubicBezTo>
                  <a:pt x="5245217" y="1599245"/>
                  <a:pt x="5248419" y="1601378"/>
                  <a:pt x="5249486" y="1605362"/>
                </a:cubicBezTo>
                <a:cubicBezTo>
                  <a:pt x="5249912" y="1606642"/>
                  <a:pt x="5249912" y="1608065"/>
                  <a:pt x="5249486" y="1609772"/>
                </a:cubicBezTo>
                <a:cubicBezTo>
                  <a:pt x="5244790" y="1609061"/>
                  <a:pt x="5240735" y="1609061"/>
                  <a:pt x="5236894" y="1609488"/>
                </a:cubicBezTo>
                <a:lnTo>
                  <a:pt x="5233479" y="1609772"/>
                </a:lnTo>
                <a:lnTo>
                  <a:pt x="5235827" y="1612760"/>
                </a:lnTo>
                <a:cubicBezTo>
                  <a:pt x="5236680" y="1614752"/>
                  <a:pt x="5237107" y="1617455"/>
                  <a:pt x="5236467" y="1620869"/>
                </a:cubicBezTo>
                <a:cubicBezTo>
                  <a:pt x="5234973" y="1628552"/>
                  <a:pt x="5231132" y="1636376"/>
                  <a:pt x="5219180" y="1634243"/>
                </a:cubicBezTo>
                <a:cubicBezTo>
                  <a:pt x="5216619" y="1634527"/>
                  <a:pt x="5217686" y="1633958"/>
                  <a:pt x="5215978" y="1633531"/>
                </a:cubicBezTo>
                <a:cubicBezTo>
                  <a:pt x="5214485" y="1633247"/>
                  <a:pt x="5211923" y="1633389"/>
                  <a:pt x="5210857" y="1633958"/>
                </a:cubicBezTo>
                <a:cubicBezTo>
                  <a:pt x="5211923" y="1627983"/>
                  <a:pt x="5207655" y="1627840"/>
                  <a:pt x="5209576" y="1618593"/>
                </a:cubicBezTo>
                <a:cubicBezTo>
                  <a:pt x="5211070" y="1609488"/>
                  <a:pt x="5215978" y="1605931"/>
                  <a:pt x="5220887" y="1604935"/>
                </a:cubicBezTo>
                <a:lnTo>
                  <a:pt x="5224729" y="1604793"/>
                </a:lnTo>
                <a:lnTo>
                  <a:pt x="5225796" y="1601236"/>
                </a:lnTo>
                <a:cubicBezTo>
                  <a:pt x="5233052" y="1605220"/>
                  <a:pt x="5234760" y="1598533"/>
                  <a:pt x="5238388" y="1596399"/>
                </a:cubicBezTo>
                <a:close/>
                <a:moveTo>
                  <a:pt x="1262101" y="1596384"/>
                </a:moveTo>
                <a:lnTo>
                  <a:pt x="1266438" y="1598552"/>
                </a:lnTo>
                <a:lnTo>
                  <a:pt x="1267470" y="1596848"/>
                </a:lnTo>
                <a:cubicBezTo>
                  <a:pt x="1268709" y="1596848"/>
                  <a:pt x="1270568" y="1596539"/>
                  <a:pt x="1272427" y="1597313"/>
                </a:cubicBezTo>
                <a:cubicBezTo>
                  <a:pt x="1274698" y="1601030"/>
                  <a:pt x="1273872" y="1603974"/>
                  <a:pt x="1271291" y="1606142"/>
                </a:cubicBezTo>
                <a:lnTo>
                  <a:pt x="1270362" y="1605677"/>
                </a:lnTo>
                <a:lnTo>
                  <a:pt x="1270258" y="1606762"/>
                </a:lnTo>
                <a:cubicBezTo>
                  <a:pt x="1270052" y="1607691"/>
                  <a:pt x="1269535" y="1608620"/>
                  <a:pt x="1268606" y="1609395"/>
                </a:cubicBezTo>
                <a:cubicBezTo>
                  <a:pt x="1265922" y="1612028"/>
                  <a:pt x="1259829" y="1614041"/>
                  <a:pt x="1257351" y="1611564"/>
                </a:cubicBezTo>
                <a:lnTo>
                  <a:pt x="1256422" y="1610479"/>
                </a:lnTo>
                <a:lnTo>
                  <a:pt x="1255286" y="1611564"/>
                </a:lnTo>
                <a:cubicBezTo>
                  <a:pt x="1252705" y="1612958"/>
                  <a:pt x="1249504" y="1613112"/>
                  <a:pt x="1247542" y="1611254"/>
                </a:cubicBezTo>
                <a:lnTo>
                  <a:pt x="1247232" y="1610634"/>
                </a:lnTo>
                <a:lnTo>
                  <a:pt x="1246716" y="1611099"/>
                </a:lnTo>
                <a:cubicBezTo>
                  <a:pt x="1244341" y="1612958"/>
                  <a:pt x="1242173" y="1614352"/>
                  <a:pt x="1240830" y="1614041"/>
                </a:cubicBezTo>
                <a:cubicBezTo>
                  <a:pt x="1240934" y="1613112"/>
                  <a:pt x="1240934" y="1612338"/>
                  <a:pt x="1241863" y="1611408"/>
                </a:cubicBezTo>
                <a:cubicBezTo>
                  <a:pt x="1242689" y="1610634"/>
                  <a:pt x="1242689" y="1611408"/>
                  <a:pt x="1242689" y="1610634"/>
                </a:cubicBezTo>
                <a:cubicBezTo>
                  <a:pt x="1243618" y="1609705"/>
                  <a:pt x="1242792" y="1609705"/>
                  <a:pt x="1242792" y="1609705"/>
                </a:cubicBezTo>
                <a:cubicBezTo>
                  <a:pt x="1242792" y="1609705"/>
                  <a:pt x="1243618" y="1609705"/>
                  <a:pt x="1243618" y="1609705"/>
                </a:cubicBezTo>
                <a:cubicBezTo>
                  <a:pt x="1243618" y="1609705"/>
                  <a:pt x="1243618" y="1609705"/>
                  <a:pt x="1245477" y="1608001"/>
                </a:cubicBezTo>
                <a:lnTo>
                  <a:pt x="1245787" y="1607226"/>
                </a:lnTo>
                <a:lnTo>
                  <a:pt x="1245993" y="1606917"/>
                </a:lnTo>
                <a:lnTo>
                  <a:pt x="1247129" y="1605058"/>
                </a:lnTo>
                <a:cubicBezTo>
                  <a:pt x="1247542" y="1604284"/>
                  <a:pt x="1247748" y="1603664"/>
                  <a:pt x="1248265" y="1602734"/>
                </a:cubicBezTo>
                <a:cubicBezTo>
                  <a:pt x="1250124" y="1601030"/>
                  <a:pt x="1250949" y="1600876"/>
                  <a:pt x="1253634" y="1599172"/>
                </a:cubicBezTo>
                <a:cubicBezTo>
                  <a:pt x="1255286" y="1599946"/>
                  <a:pt x="1255286" y="1599946"/>
                  <a:pt x="1255286" y="1600721"/>
                </a:cubicBezTo>
                <a:cubicBezTo>
                  <a:pt x="1255286" y="1599946"/>
                  <a:pt x="1256112" y="1599946"/>
                  <a:pt x="1257041" y="1599017"/>
                </a:cubicBezTo>
                <a:cubicBezTo>
                  <a:pt x="1258384" y="1596848"/>
                  <a:pt x="1260242" y="1596074"/>
                  <a:pt x="1262101" y="1596384"/>
                </a:cubicBezTo>
                <a:close/>
                <a:moveTo>
                  <a:pt x="1381156" y="1595919"/>
                </a:moveTo>
                <a:cubicBezTo>
                  <a:pt x="1381775" y="1595919"/>
                  <a:pt x="1382601" y="1596229"/>
                  <a:pt x="1383634" y="1596384"/>
                </a:cubicBezTo>
                <a:lnTo>
                  <a:pt x="1382395" y="1599637"/>
                </a:lnTo>
                <a:cubicBezTo>
                  <a:pt x="1381259" y="1599172"/>
                  <a:pt x="1379710" y="1597933"/>
                  <a:pt x="1380123" y="1596848"/>
                </a:cubicBezTo>
                <a:cubicBezTo>
                  <a:pt x="1380123" y="1595919"/>
                  <a:pt x="1380536" y="1595764"/>
                  <a:pt x="1381156" y="1595919"/>
                </a:cubicBezTo>
                <a:close/>
                <a:moveTo>
                  <a:pt x="4998291" y="1595830"/>
                </a:moveTo>
                <a:cubicBezTo>
                  <a:pt x="4998931" y="1595688"/>
                  <a:pt x="4999784" y="1595972"/>
                  <a:pt x="5001065" y="1597253"/>
                </a:cubicBezTo>
                <a:cubicBezTo>
                  <a:pt x="5003412" y="1598676"/>
                  <a:pt x="5003412" y="1599813"/>
                  <a:pt x="5001278" y="1603370"/>
                </a:cubicBezTo>
                <a:cubicBezTo>
                  <a:pt x="4999144" y="1605646"/>
                  <a:pt x="4998077" y="1608065"/>
                  <a:pt x="4996796" y="1607923"/>
                </a:cubicBezTo>
                <a:cubicBezTo>
                  <a:pt x="4997010" y="1609204"/>
                  <a:pt x="4995729" y="1610342"/>
                  <a:pt x="4995943" y="1611622"/>
                </a:cubicBezTo>
                <a:cubicBezTo>
                  <a:pt x="4995943" y="1611622"/>
                  <a:pt x="4995943" y="1611622"/>
                  <a:pt x="4994663" y="1611480"/>
                </a:cubicBezTo>
                <a:cubicBezTo>
                  <a:pt x="4995729" y="1606785"/>
                  <a:pt x="4994235" y="1600668"/>
                  <a:pt x="4996370" y="1597110"/>
                </a:cubicBezTo>
                <a:cubicBezTo>
                  <a:pt x="4997010" y="1596541"/>
                  <a:pt x="4997437" y="1595972"/>
                  <a:pt x="4998291" y="1595830"/>
                </a:cubicBezTo>
                <a:close/>
                <a:moveTo>
                  <a:pt x="1554419" y="1595609"/>
                </a:moveTo>
                <a:cubicBezTo>
                  <a:pt x="1555452" y="1595454"/>
                  <a:pt x="1556484" y="1595609"/>
                  <a:pt x="1557724" y="1596693"/>
                </a:cubicBezTo>
                <a:cubicBezTo>
                  <a:pt x="1557517" y="1597158"/>
                  <a:pt x="1556898" y="1597468"/>
                  <a:pt x="1556071" y="1597933"/>
                </a:cubicBezTo>
                <a:lnTo>
                  <a:pt x="1555245" y="1598242"/>
                </a:lnTo>
                <a:lnTo>
                  <a:pt x="1553077" y="1600876"/>
                </a:lnTo>
                <a:lnTo>
                  <a:pt x="1552767" y="1601650"/>
                </a:lnTo>
                <a:lnTo>
                  <a:pt x="1553180" y="1601805"/>
                </a:lnTo>
                <a:cubicBezTo>
                  <a:pt x="1554626" y="1603199"/>
                  <a:pt x="1555659" y="1605522"/>
                  <a:pt x="1555142" y="1606607"/>
                </a:cubicBezTo>
                <a:cubicBezTo>
                  <a:pt x="1554626" y="1607536"/>
                  <a:pt x="1553800" y="1607846"/>
                  <a:pt x="1553800" y="1607846"/>
                </a:cubicBezTo>
                <a:lnTo>
                  <a:pt x="1551322" y="1606452"/>
                </a:lnTo>
                <a:lnTo>
                  <a:pt x="1551115" y="1607226"/>
                </a:lnTo>
                <a:cubicBezTo>
                  <a:pt x="1550289" y="1613577"/>
                  <a:pt x="1551528" y="1620238"/>
                  <a:pt x="1545230" y="1623491"/>
                </a:cubicBezTo>
                <a:lnTo>
                  <a:pt x="1544507" y="1618224"/>
                </a:lnTo>
                <a:lnTo>
                  <a:pt x="1543371" y="1618998"/>
                </a:lnTo>
                <a:cubicBezTo>
                  <a:pt x="1542235" y="1619463"/>
                  <a:pt x="1540583" y="1619618"/>
                  <a:pt x="1538518" y="1618998"/>
                </a:cubicBezTo>
                <a:cubicBezTo>
                  <a:pt x="1537382" y="1618379"/>
                  <a:pt x="1534801" y="1616520"/>
                  <a:pt x="1535627" y="1616210"/>
                </a:cubicBezTo>
                <a:cubicBezTo>
                  <a:pt x="1536040" y="1615126"/>
                  <a:pt x="1535214" y="1615436"/>
                  <a:pt x="1534904" y="1614662"/>
                </a:cubicBezTo>
                <a:cubicBezTo>
                  <a:pt x="1535524" y="1612958"/>
                  <a:pt x="1536453" y="1611873"/>
                  <a:pt x="1537485" y="1611254"/>
                </a:cubicBezTo>
                <a:cubicBezTo>
                  <a:pt x="1538621" y="1610479"/>
                  <a:pt x="1539964" y="1610324"/>
                  <a:pt x="1541409" y="1610789"/>
                </a:cubicBezTo>
                <a:lnTo>
                  <a:pt x="1543474" y="1612028"/>
                </a:lnTo>
                <a:lnTo>
                  <a:pt x="1543371" y="1611254"/>
                </a:lnTo>
                <a:lnTo>
                  <a:pt x="1543474" y="1610169"/>
                </a:lnTo>
                <a:lnTo>
                  <a:pt x="1541925" y="1609860"/>
                </a:lnTo>
                <a:lnTo>
                  <a:pt x="1543474" y="1606762"/>
                </a:lnTo>
                <a:lnTo>
                  <a:pt x="1543784" y="1607072"/>
                </a:lnTo>
                <a:lnTo>
                  <a:pt x="1544094" y="1604593"/>
                </a:lnTo>
                <a:cubicBezTo>
                  <a:pt x="1544713" y="1602270"/>
                  <a:pt x="1545642" y="1599637"/>
                  <a:pt x="1547295" y="1597003"/>
                </a:cubicBezTo>
                <a:cubicBezTo>
                  <a:pt x="1548637" y="1597003"/>
                  <a:pt x="1550186" y="1596384"/>
                  <a:pt x="1551735" y="1596074"/>
                </a:cubicBezTo>
                <a:lnTo>
                  <a:pt x="1553593" y="1596074"/>
                </a:lnTo>
                <a:close/>
                <a:moveTo>
                  <a:pt x="978353" y="1595609"/>
                </a:moveTo>
                <a:cubicBezTo>
                  <a:pt x="980108" y="1595299"/>
                  <a:pt x="982896" y="1594370"/>
                  <a:pt x="984652" y="1596074"/>
                </a:cubicBezTo>
                <a:cubicBezTo>
                  <a:pt x="985271" y="1596539"/>
                  <a:pt x="985684" y="1597313"/>
                  <a:pt x="985994" y="1598552"/>
                </a:cubicBezTo>
                <a:cubicBezTo>
                  <a:pt x="986717" y="1599017"/>
                  <a:pt x="985787" y="1602270"/>
                  <a:pt x="984549" y="1602425"/>
                </a:cubicBezTo>
                <a:cubicBezTo>
                  <a:pt x="981761" y="1603509"/>
                  <a:pt x="980418" y="1600721"/>
                  <a:pt x="977837" y="1598087"/>
                </a:cubicBezTo>
                <a:cubicBezTo>
                  <a:pt x="979076" y="1597933"/>
                  <a:pt x="978663" y="1596693"/>
                  <a:pt x="978353" y="1595609"/>
                </a:cubicBezTo>
                <a:close/>
                <a:moveTo>
                  <a:pt x="872722" y="1594990"/>
                </a:moveTo>
                <a:cubicBezTo>
                  <a:pt x="874477" y="1594215"/>
                  <a:pt x="875406" y="1594370"/>
                  <a:pt x="876233" y="1595299"/>
                </a:cubicBezTo>
                <a:cubicBezTo>
                  <a:pt x="877162" y="1595299"/>
                  <a:pt x="877059" y="1596229"/>
                  <a:pt x="877885" y="1597158"/>
                </a:cubicBezTo>
                <a:cubicBezTo>
                  <a:pt x="877885" y="1597933"/>
                  <a:pt x="877059" y="1598707"/>
                  <a:pt x="877059" y="1598707"/>
                </a:cubicBezTo>
                <a:cubicBezTo>
                  <a:pt x="876129" y="1599482"/>
                  <a:pt x="876129" y="1599482"/>
                  <a:pt x="877059" y="1600411"/>
                </a:cubicBezTo>
                <a:cubicBezTo>
                  <a:pt x="877059" y="1600411"/>
                  <a:pt x="876129" y="1600256"/>
                  <a:pt x="876129" y="1600256"/>
                </a:cubicBezTo>
                <a:cubicBezTo>
                  <a:pt x="876129" y="1599327"/>
                  <a:pt x="876129" y="1600256"/>
                  <a:pt x="875200" y="1601030"/>
                </a:cubicBezTo>
                <a:cubicBezTo>
                  <a:pt x="873445" y="1599946"/>
                  <a:pt x="872619" y="1599946"/>
                  <a:pt x="871689" y="1599017"/>
                </a:cubicBezTo>
                <a:cubicBezTo>
                  <a:pt x="871276" y="1598552"/>
                  <a:pt x="870863" y="1597777"/>
                  <a:pt x="870657" y="1597158"/>
                </a:cubicBezTo>
                <a:cubicBezTo>
                  <a:pt x="870450" y="1596539"/>
                  <a:pt x="870554" y="1595919"/>
                  <a:pt x="870966" y="1595609"/>
                </a:cubicBezTo>
                <a:cubicBezTo>
                  <a:pt x="871792" y="1595609"/>
                  <a:pt x="871792" y="1594835"/>
                  <a:pt x="872722" y="1594990"/>
                </a:cubicBezTo>
                <a:close/>
                <a:moveTo>
                  <a:pt x="795073" y="1594215"/>
                </a:moveTo>
                <a:cubicBezTo>
                  <a:pt x="797448" y="1595144"/>
                  <a:pt x="798997" y="1596384"/>
                  <a:pt x="801268" y="1597313"/>
                </a:cubicBezTo>
                <a:cubicBezTo>
                  <a:pt x="801268" y="1601030"/>
                  <a:pt x="798068" y="1600411"/>
                  <a:pt x="794970" y="1599791"/>
                </a:cubicBezTo>
                <a:cubicBezTo>
                  <a:pt x="795073" y="1598862"/>
                  <a:pt x="794660" y="1598087"/>
                  <a:pt x="794454" y="1597158"/>
                </a:cubicBezTo>
                <a:cubicBezTo>
                  <a:pt x="794247" y="1596384"/>
                  <a:pt x="794247" y="1595454"/>
                  <a:pt x="795073" y="1594215"/>
                </a:cubicBezTo>
                <a:close/>
                <a:moveTo>
                  <a:pt x="3487492" y="1594123"/>
                </a:moveTo>
                <a:cubicBezTo>
                  <a:pt x="3488559" y="1594550"/>
                  <a:pt x="3489413" y="1595119"/>
                  <a:pt x="3489840" y="1595830"/>
                </a:cubicBezTo>
                <a:cubicBezTo>
                  <a:pt x="3491120" y="1598106"/>
                  <a:pt x="3489626" y="1601663"/>
                  <a:pt x="3487278" y="1602232"/>
                </a:cubicBezTo>
                <a:cubicBezTo>
                  <a:pt x="3486211" y="1602517"/>
                  <a:pt x="3485144" y="1602374"/>
                  <a:pt x="3484078" y="1601236"/>
                </a:cubicBezTo>
                <a:cubicBezTo>
                  <a:pt x="3484718" y="1598676"/>
                  <a:pt x="3485571" y="1597110"/>
                  <a:pt x="3487492" y="1594123"/>
                </a:cubicBezTo>
                <a:close/>
                <a:moveTo>
                  <a:pt x="3637953" y="1593838"/>
                </a:moveTo>
                <a:cubicBezTo>
                  <a:pt x="3637953" y="1593838"/>
                  <a:pt x="3636886" y="1594976"/>
                  <a:pt x="3636886" y="1596114"/>
                </a:cubicBezTo>
                <a:cubicBezTo>
                  <a:pt x="3636886" y="1596114"/>
                  <a:pt x="3636032" y="1597395"/>
                  <a:pt x="3634752" y="1598391"/>
                </a:cubicBezTo>
                <a:cubicBezTo>
                  <a:pt x="3634752" y="1598391"/>
                  <a:pt x="3634965" y="1599529"/>
                  <a:pt x="3634965" y="1600809"/>
                </a:cubicBezTo>
                <a:lnTo>
                  <a:pt x="3632191" y="1604651"/>
                </a:lnTo>
                <a:lnTo>
                  <a:pt x="3633044" y="1604793"/>
                </a:lnTo>
                <a:cubicBezTo>
                  <a:pt x="3638380" y="1605505"/>
                  <a:pt x="3644142" y="1606785"/>
                  <a:pt x="3646276" y="1609915"/>
                </a:cubicBezTo>
                <a:cubicBezTo>
                  <a:pt x="3646917" y="1610910"/>
                  <a:pt x="3647343" y="1612191"/>
                  <a:pt x="3647130" y="1613614"/>
                </a:cubicBezTo>
                <a:cubicBezTo>
                  <a:pt x="3646490" y="1618024"/>
                  <a:pt x="3643715" y="1621723"/>
                  <a:pt x="3639874" y="1624142"/>
                </a:cubicBezTo>
                <a:lnTo>
                  <a:pt x="3634752" y="1626133"/>
                </a:lnTo>
                <a:lnTo>
                  <a:pt x="3636886" y="1626560"/>
                </a:lnTo>
                <a:cubicBezTo>
                  <a:pt x="3638807" y="1626987"/>
                  <a:pt x="3640300" y="1627556"/>
                  <a:pt x="3639874" y="1628267"/>
                </a:cubicBezTo>
                <a:cubicBezTo>
                  <a:pt x="3639874" y="1628267"/>
                  <a:pt x="3638380" y="1627840"/>
                  <a:pt x="3636886" y="1627272"/>
                </a:cubicBezTo>
                <a:cubicBezTo>
                  <a:pt x="3635179" y="1626702"/>
                  <a:pt x="3635179" y="1626702"/>
                  <a:pt x="3634538" y="1628267"/>
                </a:cubicBezTo>
                <a:cubicBezTo>
                  <a:pt x="3633898" y="1628125"/>
                  <a:pt x="3633471" y="1627983"/>
                  <a:pt x="3633258" y="1627556"/>
                </a:cubicBezTo>
                <a:lnTo>
                  <a:pt x="3632831" y="1626845"/>
                </a:lnTo>
                <a:lnTo>
                  <a:pt x="3625788" y="1626845"/>
                </a:lnTo>
                <a:lnTo>
                  <a:pt x="3618532" y="1624995"/>
                </a:lnTo>
                <a:lnTo>
                  <a:pt x="3615757" y="1624284"/>
                </a:lnTo>
                <a:lnTo>
                  <a:pt x="3608074" y="1619731"/>
                </a:lnTo>
                <a:lnTo>
                  <a:pt x="3608501" y="1620300"/>
                </a:lnTo>
                <a:cubicBezTo>
                  <a:pt x="3609568" y="1623003"/>
                  <a:pt x="3608287" y="1626418"/>
                  <a:pt x="3605726" y="1628552"/>
                </a:cubicBezTo>
                <a:lnTo>
                  <a:pt x="3603379" y="1629121"/>
                </a:lnTo>
                <a:lnTo>
                  <a:pt x="3605086" y="1632251"/>
                </a:lnTo>
                <a:lnTo>
                  <a:pt x="3605086" y="1632394"/>
                </a:lnTo>
                <a:lnTo>
                  <a:pt x="3614904" y="1633247"/>
                </a:lnTo>
                <a:lnTo>
                  <a:pt x="3617251" y="1634812"/>
                </a:lnTo>
                <a:lnTo>
                  <a:pt x="3619813" y="1634669"/>
                </a:lnTo>
                <a:cubicBezTo>
                  <a:pt x="3620026" y="1635666"/>
                  <a:pt x="3620026" y="1635666"/>
                  <a:pt x="3618958" y="1636092"/>
                </a:cubicBezTo>
                <a:cubicBezTo>
                  <a:pt x="3619172" y="1636234"/>
                  <a:pt x="3619172" y="1636234"/>
                  <a:pt x="3619385" y="1636234"/>
                </a:cubicBezTo>
                <a:lnTo>
                  <a:pt x="3618745" y="1636661"/>
                </a:lnTo>
                <a:lnTo>
                  <a:pt x="3619172" y="1637231"/>
                </a:lnTo>
                <a:cubicBezTo>
                  <a:pt x="3619599" y="1638084"/>
                  <a:pt x="3619813" y="1638938"/>
                  <a:pt x="3619385" y="1640076"/>
                </a:cubicBezTo>
                <a:cubicBezTo>
                  <a:pt x="3619813" y="1641213"/>
                  <a:pt x="3615544" y="1642921"/>
                  <a:pt x="3614050" y="1642352"/>
                </a:cubicBezTo>
                <a:cubicBezTo>
                  <a:pt x="3611275" y="1640930"/>
                  <a:pt x="3609782" y="1640360"/>
                  <a:pt x="3609141" y="1638084"/>
                </a:cubicBezTo>
                <a:cubicBezTo>
                  <a:pt x="3607647" y="1637515"/>
                  <a:pt x="3606154" y="1636803"/>
                  <a:pt x="3605300" y="1635950"/>
                </a:cubicBezTo>
                <a:lnTo>
                  <a:pt x="3605086" y="1633104"/>
                </a:lnTo>
                <a:lnTo>
                  <a:pt x="3604873" y="1635096"/>
                </a:lnTo>
                <a:cubicBezTo>
                  <a:pt x="3604659" y="1635950"/>
                  <a:pt x="3604019" y="1636803"/>
                  <a:pt x="3603379" y="1636946"/>
                </a:cubicBezTo>
                <a:cubicBezTo>
                  <a:pt x="3602311" y="1636376"/>
                  <a:pt x="3601671" y="1637373"/>
                  <a:pt x="3600818" y="1636803"/>
                </a:cubicBezTo>
                <a:cubicBezTo>
                  <a:pt x="3598257" y="1636661"/>
                  <a:pt x="3597190" y="1635950"/>
                  <a:pt x="3596976" y="1634385"/>
                </a:cubicBezTo>
                <a:cubicBezTo>
                  <a:pt x="3596123" y="1633816"/>
                  <a:pt x="3596549" y="1632678"/>
                  <a:pt x="3596336" y="1631113"/>
                </a:cubicBezTo>
                <a:lnTo>
                  <a:pt x="3597403" y="1630259"/>
                </a:lnTo>
                <a:lnTo>
                  <a:pt x="3596549" y="1628979"/>
                </a:lnTo>
                <a:cubicBezTo>
                  <a:pt x="3595269" y="1626845"/>
                  <a:pt x="3594202" y="1624710"/>
                  <a:pt x="3594628" y="1623857"/>
                </a:cubicBezTo>
                <a:lnTo>
                  <a:pt x="3598470" y="1628694"/>
                </a:lnTo>
                <a:lnTo>
                  <a:pt x="3596976" y="1622719"/>
                </a:lnTo>
                <a:cubicBezTo>
                  <a:pt x="3596976" y="1619731"/>
                  <a:pt x="3597616" y="1616886"/>
                  <a:pt x="3598897" y="1615748"/>
                </a:cubicBezTo>
                <a:lnTo>
                  <a:pt x="3604446" y="1616744"/>
                </a:lnTo>
                <a:lnTo>
                  <a:pt x="3604019" y="1616174"/>
                </a:lnTo>
                <a:cubicBezTo>
                  <a:pt x="3606154" y="1604651"/>
                  <a:pt x="3615757" y="1603086"/>
                  <a:pt x="3624721" y="1603655"/>
                </a:cubicBezTo>
                <a:lnTo>
                  <a:pt x="3627709" y="1604082"/>
                </a:lnTo>
                <a:lnTo>
                  <a:pt x="3628349" y="1602943"/>
                </a:lnTo>
                <a:cubicBezTo>
                  <a:pt x="3628989" y="1602090"/>
                  <a:pt x="3629843" y="1601094"/>
                  <a:pt x="3630484" y="1600525"/>
                </a:cubicBezTo>
                <a:cubicBezTo>
                  <a:pt x="3630270" y="1599387"/>
                  <a:pt x="3631337" y="1598249"/>
                  <a:pt x="3632617" y="1598391"/>
                </a:cubicBezTo>
                <a:cubicBezTo>
                  <a:pt x="3632617" y="1598391"/>
                  <a:pt x="3633684" y="1597110"/>
                  <a:pt x="3633684" y="1595972"/>
                </a:cubicBezTo>
                <a:cubicBezTo>
                  <a:pt x="3635819" y="1593696"/>
                  <a:pt x="3636886" y="1593838"/>
                  <a:pt x="3637953" y="1593838"/>
                </a:cubicBezTo>
                <a:close/>
                <a:moveTo>
                  <a:pt x="1460043" y="1593441"/>
                </a:moveTo>
                <a:cubicBezTo>
                  <a:pt x="1461592" y="1592356"/>
                  <a:pt x="1461076" y="1594990"/>
                  <a:pt x="1462315" y="1594680"/>
                </a:cubicBezTo>
                <a:cubicBezTo>
                  <a:pt x="1457359" y="1599946"/>
                  <a:pt x="1455913" y="1605832"/>
                  <a:pt x="1455913" y="1605832"/>
                </a:cubicBezTo>
                <a:cubicBezTo>
                  <a:pt x="1454261" y="1606917"/>
                  <a:pt x="1453538" y="1606607"/>
                  <a:pt x="1454261" y="1606917"/>
                </a:cubicBezTo>
                <a:cubicBezTo>
                  <a:pt x="1451886" y="1607846"/>
                  <a:pt x="1449098" y="1609395"/>
                  <a:pt x="1448065" y="1607846"/>
                </a:cubicBezTo>
                <a:cubicBezTo>
                  <a:pt x="1447756" y="1607226"/>
                  <a:pt x="1447652" y="1606452"/>
                  <a:pt x="1447652" y="1605832"/>
                </a:cubicBezTo>
                <a:cubicBezTo>
                  <a:pt x="1448169" y="1600721"/>
                  <a:pt x="1456636" y="1596384"/>
                  <a:pt x="1458391" y="1594680"/>
                </a:cubicBezTo>
                <a:cubicBezTo>
                  <a:pt x="1458391" y="1594680"/>
                  <a:pt x="1458804" y="1593905"/>
                  <a:pt x="1460043" y="1593441"/>
                </a:cubicBezTo>
                <a:close/>
                <a:moveTo>
                  <a:pt x="1567739" y="1593131"/>
                </a:moveTo>
                <a:cubicBezTo>
                  <a:pt x="1572489" y="1593596"/>
                  <a:pt x="1577755" y="1600256"/>
                  <a:pt x="1579820" y="1605058"/>
                </a:cubicBezTo>
                <a:lnTo>
                  <a:pt x="1580233" y="1607226"/>
                </a:lnTo>
                <a:lnTo>
                  <a:pt x="1580337" y="1607072"/>
                </a:lnTo>
                <a:cubicBezTo>
                  <a:pt x="1584673" y="1608310"/>
                  <a:pt x="1585499" y="1613577"/>
                  <a:pt x="1582712" y="1615591"/>
                </a:cubicBezTo>
                <a:cubicBezTo>
                  <a:pt x="1579407" y="1615591"/>
                  <a:pt x="1577962" y="1613732"/>
                  <a:pt x="1577859" y="1611719"/>
                </a:cubicBezTo>
                <a:cubicBezTo>
                  <a:pt x="1577755" y="1610789"/>
                  <a:pt x="1578065" y="1609705"/>
                  <a:pt x="1578478" y="1608930"/>
                </a:cubicBezTo>
                <a:lnTo>
                  <a:pt x="1579304" y="1608156"/>
                </a:lnTo>
                <a:lnTo>
                  <a:pt x="1576310" y="1606142"/>
                </a:lnTo>
                <a:cubicBezTo>
                  <a:pt x="1575071" y="1604903"/>
                  <a:pt x="1573832" y="1603664"/>
                  <a:pt x="1571766" y="1602734"/>
                </a:cubicBezTo>
                <a:cubicBezTo>
                  <a:pt x="1571870" y="1599791"/>
                  <a:pt x="1567327" y="1597158"/>
                  <a:pt x="1567739" y="1593131"/>
                </a:cubicBezTo>
                <a:close/>
                <a:moveTo>
                  <a:pt x="5761053" y="1592984"/>
                </a:moveTo>
                <a:cubicBezTo>
                  <a:pt x="5761693" y="1591847"/>
                  <a:pt x="5765535" y="1594407"/>
                  <a:pt x="5765748" y="1595972"/>
                </a:cubicBezTo>
                <a:cubicBezTo>
                  <a:pt x="5766388" y="1599245"/>
                  <a:pt x="5766601" y="1600809"/>
                  <a:pt x="5765108" y="1602943"/>
                </a:cubicBezTo>
                <a:cubicBezTo>
                  <a:pt x="5765535" y="1604508"/>
                  <a:pt x="5765748" y="1606215"/>
                  <a:pt x="5765535" y="1607496"/>
                </a:cubicBezTo>
                <a:cubicBezTo>
                  <a:pt x="5765321" y="1608919"/>
                  <a:pt x="5764681" y="1609772"/>
                  <a:pt x="5762973" y="1610342"/>
                </a:cubicBezTo>
                <a:cubicBezTo>
                  <a:pt x="5760839" y="1607496"/>
                  <a:pt x="5759772" y="1605220"/>
                  <a:pt x="5758278" y="1601378"/>
                </a:cubicBezTo>
                <a:cubicBezTo>
                  <a:pt x="5758278" y="1601378"/>
                  <a:pt x="5757211" y="1594834"/>
                  <a:pt x="5761053" y="1592984"/>
                </a:cubicBezTo>
                <a:close/>
                <a:moveTo>
                  <a:pt x="3535511" y="1592700"/>
                </a:moveTo>
                <a:cubicBezTo>
                  <a:pt x="3537005" y="1593127"/>
                  <a:pt x="3538286" y="1594407"/>
                  <a:pt x="3539566" y="1595688"/>
                </a:cubicBezTo>
                <a:cubicBezTo>
                  <a:pt x="3535725" y="1597964"/>
                  <a:pt x="3538713" y="1602232"/>
                  <a:pt x="3533377" y="1602374"/>
                </a:cubicBezTo>
                <a:cubicBezTo>
                  <a:pt x="3531457" y="1601378"/>
                  <a:pt x="3529962" y="1599245"/>
                  <a:pt x="3529536" y="1594834"/>
                </a:cubicBezTo>
                <a:cubicBezTo>
                  <a:pt x="3532097" y="1592700"/>
                  <a:pt x="3534018" y="1592273"/>
                  <a:pt x="3535511" y="1592700"/>
                </a:cubicBezTo>
                <a:close/>
                <a:moveTo>
                  <a:pt x="4988046" y="1592558"/>
                </a:moveTo>
                <a:cubicBezTo>
                  <a:pt x="4987193" y="1594692"/>
                  <a:pt x="4990821" y="1598249"/>
                  <a:pt x="4987833" y="1599102"/>
                </a:cubicBezTo>
                <a:cubicBezTo>
                  <a:pt x="4987193" y="1597395"/>
                  <a:pt x="4987193" y="1594692"/>
                  <a:pt x="4986552" y="1592984"/>
                </a:cubicBezTo>
                <a:cubicBezTo>
                  <a:pt x="4986552" y="1592984"/>
                  <a:pt x="4986552" y="1592984"/>
                  <a:pt x="4988046" y="1592558"/>
                </a:cubicBezTo>
                <a:close/>
                <a:moveTo>
                  <a:pt x="4806426" y="1592415"/>
                </a:moveTo>
                <a:cubicBezTo>
                  <a:pt x="4806426" y="1592415"/>
                  <a:pt x="4806426" y="1592415"/>
                  <a:pt x="4809201" y="1592558"/>
                </a:cubicBezTo>
                <a:cubicBezTo>
                  <a:pt x="4810054" y="1593269"/>
                  <a:pt x="4811121" y="1593838"/>
                  <a:pt x="4811335" y="1595546"/>
                </a:cubicBezTo>
                <a:cubicBezTo>
                  <a:pt x="4811548" y="1597253"/>
                  <a:pt x="4810268" y="1599387"/>
                  <a:pt x="4809627" y="1600525"/>
                </a:cubicBezTo>
                <a:cubicBezTo>
                  <a:pt x="4808561" y="1599813"/>
                  <a:pt x="4807920" y="1600951"/>
                  <a:pt x="4806853" y="1600383"/>
                </a:cubicBezTo>
                <a:cubicBezTo>
                  <a:pt x="4804292" y="1600098"/>
                  <a:pt x="4804292" y="1600098"/>
                  <a:pt x="4803865" y="1598391"/>
                </a:cubicBezTo>
                <a:cubicBezTo>
                  <a:pt x="4803651" y="1596826"/>
                  <a:pt x="4806639" y="1594123"/>
                  <a:pt x="4806426" y="1592415"/>
                </a:cubicBezTo>
                <a:close/>
                <a:moveTo>
                  <a:pt x="3712864" y="1592273"/>
                </a:moveTo>
                <a:cubicBezTo>
                  <a:pt x="3713290" y="1592273"/>
                  <a:pt x="3713930" y="1592273"/>
                  <a:pt x="3714357" y="1592700"/>
                </a:cubicBezTo>
                <a:cubicBezTo>
                  <a:pt x="3714357" y="1592700"/>
                  <a:pt x="3714357" y="1592700"/>
                  <a:pt x="3714357" y="1593838"/>
                </a:cubicBezTo>
                <a:cubicBezTo>
                  <a:pt x="3714357" y="1593838"/>
                  <a:pt x="3713290" y="1593838"/>
                  <a:pt x="3712223" y="1592700"/>
                </a:cubicBezTo>
                <a:cubicBezTo>
                  <a:pt x="3712223" y="1592700"/>
                  <a:pt x="3712436" y="1592415"/>
                  <a:pt x="3712864" y="1592273"/>
                </a:cubicBezTo>
                <a:close/>
                <a:moveTo>
                  <a:pt x="5374976" y="1591989"/>
                </a:moveTo>
                <a:cubicBezTo>
                  <a:pt x="5376470" y="1592273"/>
                  <a:pt x="5377964" y="1593269"/>
                  <a:pt x="5378818" y="1594550"/>
                </a:cubicBezTo>
                <a:cubicBezTo>
                  <a:pt x="5380738" y="1597110"/>
                  <a:pt x="5380738" y="1601094"/>
                  <a:pt x="5375830" y="1603086"/>
                </a:cubicBezTo>
                <a:cubicBezTo>
                  <a:pt x="5372842" y="1599102"/>
                  <a:pt x="5370922" y="1596541"/>
                  <a:pt x="5370281" y="1593981"/>
                </a:cubicBezTo>
                <a:cubicBezTo>
                  <a:pt x="5371775" y="1592273"/>
                  <a:pt x="5373269" y="1591847"/>
                  <a:pt x="5374976" y="1591989"/>
                </a:cubicBezTo>
                <a:close/>
                <a:moveTo>
                  <a:pt x="3846678" y="1591989"/>
                </a:moveTo>
                <a:cubicBezTo>
                  <a:pt x="3849665" y="1592842"/>
                  <a:pt x="3851159" y="1593269"/>
                  <a:pt x="3852226" y="1595261"/>
                </a:cubicBezTo>
                <a:cubicBezTo>
                  <a:pt x="3853934" y="1595688"/>
                  <a:pt x="3855427" y="1596114"/>
                  <a:pt x="3856495" y="1596826"/>
                </a:cubicBezTo>
                <a:cubicBezTo>
                  <a:pt x="3857349" y="1597537"/>
                  <a:pt x="3857989" y="1598533"/>
                  <a:pt x="3857562" y="1600098"/>
                </a:cubicBezTo>
                <a:cubicBezTo>
                  <a:pt x="3853934" y="1600951"/>
                  <a:pt x="3851373" y="1601236"/>
                  <a:pt x="3847318" y="1601094"/>
                </a:cubicBezTo>
                <a:cubicBezTo>
                  <a:pt x="3847318" y="1601094"/>
                  <a:pt x="3841128" y="1599529"/>
                  <a:pt x="3841555" y="1595261"/>
                </a:cubicBezTo>
                <a:cubicBezTo>
                  <a:pt x="3841128" y="1594265"/>
                  <a:pt x="3845184" y="1591704"/>
                  <a:pt x="3846678" y="1591989"/>
                </a:cubicBezTo>
                <a:close/>
                <a:moveTo>
                  <a:pt x="1044088" y="1591853"/>
                </a:moveTo>
                <a:cubicBezTo>
                  <a:pt x="1046321" y="1590962"/>
                  <a:pt x="1048877" y="1590885"/>
                  <a:pt x="1050529" y="1591892"/>
                </a:cubicBezTo>
                <a:cubicBezTo>
                  <a:pt x="1051562" y="1592511"/>
                  <a:pt x="1052388" y="1593596"/>
                  <a:pt x="1052284" y="1595144"/>
                </a:cubicBezTo>
                <a:cubicBezTo>
                  <a:pt x="1049084" y="1599791"/>
                  <a:pt x="1045263" y="1596539"/>
                  <a:pt x="1039584" y="1596693"/>
                </a:cubicBezTo>
                <a:cubicBezTo>
                  <a:pt x="1039945" y="1594447"/>
                  <a:pt x="1041855" y="1592743"/>
                  <a:pt x="1044088" y="1591853"/>
                </a:cubicBezTo>
                <a:close/>
                <a:moveTo>
                  <a:pt x="1435674" y="1591737"/>
                </a:moveTo>
                <a:cubicBezTo>
                  <a:pt x="1436914" y="1592047"/>
                  <a:pt x="1438566" y="1593131"/>
                  <a:pt x="1437946" y="1595454"/>
                </a:cubicBezTo>
                <a:cubicBezTo>
                  <a:pt x="1437843" y="1598397"/>
                  <a:pt x="1435571" y="1599482"/>
                  <a:pt x="1432887" y="1599946"/>
                </a:cubicBezTo>
                <a:cubicBezTo>
                  <a:pt x="1431854" y="1601495"/>
                  <a:pt x="1431958" y="1603199"/>
                  <a:pt x="1429996" y="1603354"/>
                </a:cubicBezTo>
                <a:cubicBezTo>
                  <a:pt x="1431338" y="1600721"/>
                  <a:pt x="1431648" y="1599637"/>
                  <a:pt x="1432680" y="1598087"/>
                </a:cubicBezTo>
                <a:cubicBezTo>
                  <a:pt x="1432164" y="1597313"/>
                  <a:pt x="1431751" y="1596693"/>
                  <a:pt x="1432061" y="1595454"/>
                </a:cubicBezTo>
                <a:cubicBezTo>
                  <a:pt x="1432680" y="1593286"/>
                  <a:pt x="1434642" y="1593286"/>
                  <a:pt x="1435674" y="1591737"/>
                </a:cubicBezTo>
                <a:close/>
                <a:moveTo>
                  <a:pt x="5886117" y="1591562"/>
                </a:moveTo>
                <a:cubicBezTo>
                  <a:pt x="5887397" y="1592842"/>
                  <a:pt x="5887397" y="1591562"/>
                  <a:pt x="5888464" y="1591562"/>
                </a:cubicBezTo>
                <a:cubicBezTo>
                  <a:pt x="5887397" y="1592842"/>
                  <a:pt x="5888037" y="1596541"/>
                  <a:pt x="5887184" y="1599102"/>
                </a:cubicBezTo>
                <a:cubicBezTo>
                  <a:pt x="5886117" y="1599102"/>
                  <a:pt x="5885263" y="1600383"/>
                  <a:pt x="5884196" y="1600525"/>
                </a:cubicBezTo>
                <a:cubicBezTo>
                  <a:pt x="5883982" y="1599245"/>
                  <a:pt x="5882489" y="1596826"/>
                  <a:pt x="5883556" y="1596826"/>
                </a:cubicBezTo>
                <a:cubicBezTo>
                  <a:pt x="5883342" y="1595546"/>
                  <a:pt x="5885690" y="1595404"/>
                  <a:pt x="5885690" y="1595404"/>
                </a:cubicBezTo>
                <a:cubicBezTo>
                  <a:pt x="5885476" y="1594265"/>
                  <a:pt x="5885263" y="1592984"/>
                  <a:pt x="5886117" y="1591562"/>
                </a:cubicBezTo>
                <a:close/>
                <a:moveTo>
                  <a:pt x="5633214" y="1590993"/>
                </a:moveTo>
                <a:cubicBezTo>
                  <a:pt x="5634281" y="1592273"/>
                  <a:pt x="5634921" y="1593554"/>
                  <a:pt x="5635135" y="1594834"/>
                </a:cubicBezTo>
                <a:cubicBezTo>
                  <a:pt x="5635562" y="1596257"/>
                  <a:pt x="5635349" y="1597822"/>
                  <a:pt x="5634495" y="1599671"/>
                </a:cubicBezTo>
                <a:cubicBezTo>
                  <a:pt x="5632574" y="1595972"/>
                  <a:pt x="5631721" y="1594692"/>
                  <a:pt x="5633214" y="1590993"/>
                </a:cubicBezTo>
                <a:close/>
                <a:moveTo>
                  <a:pt x="1173301" y="1590652"/>
                </a:moveTo>
                <a:cubicBezTo>
                  <a:pt x="1175675" y="1591427"/>
                  <a:pt x="1176605" y="1592976"/>
                  <a:pt x="1176295" y="1594060"/>
                </a:cubicBezTo>
                <a:lnTo>
                  <a:pt x="1174437" y="1599327"/>
                </a:lnTo>
                <a:lnTo>
                  <a:pt x="1174953" y="1599946"/>
                </a:lnTo>
                <a:cubicBezTo>
                  <a:pt x="1175469" y="1602580"/>
                  <a:pt x="1171545" y="1605368"/>
                  <a:pt x="1168241" y="1605522"/>
                </a:cubicBezTo>
                <a:lnTo>
                  <a:pt x="1166176" y="1605058"/>
                </a:lnTo>
                <a:lnTo>
                  <a:pt x="1165969" y="1605213"/>
                </a:lnTo>
                <a:cubicBezTo>
                  <a:pt x="1163285" y="1604438"/>
                  <a:pt x="1162562" y="1604129"/>
                  <a:pt x="1162769" y="1601495"/>
                </a:cubicBezTo>
                <a:cubicBezTo>
                  <a:pt x="1162872" y="1600566"/>
                  <a:pt x="1162975" y="1599482"/>
                  <a:pt x="1163182" y="1597777"/>
                </a:cubicBezTo>
                <a:cubicBezTo>
                  <a:pt x="1163491" y="1596693"/>
                  <a:pt x="1164111" y="1595609"/>
                  <a:pt x="1164937" y="1594835"/>
                </a:cubicBezTo>
                <a:cubicBezTo>
                  <a:pt x="1165763" y="1594060"/>
                  <a:pt x="1166899" y="1593441"/>
                  <a:pt x="1168241" y="1593286"/>
                </a:cubicBezTo>
                <a:cubicBezTo>
                  <a:pt x="1169170" y="1591892"/>
                  <a:pt x="1171339" y="1590652"/>
                  <a:pt x="1173301" y="1590652"/>
                </a:cubicBezTo>
                <a:close/>
                <a:moveTo>
                  <a:pt x="1352450" y="1590497"/>
                </a:moveTo>
                <a:cubicBezTo>
                  <a:pt x="1354722" y="1593441"/>
                  <a:pt x="1357097" y="1596229"/>
                  <a:pt x="1354309" y="1598397"/>
                </a:cubicBezTo>
                <a:cubicBezTo>
                  <a:pt x="1352140" y="1597933"/>
                  <a:pt x="1350488" y="1596693"/>
                  <a:pt x="1349972" y="1595144"/>
                </a:cubicBezTo>
                <a:cubicBezTo>
                  <a:pt x="1349456" y="1593596"/>
                  <a:pt x="1350075" y="1591737"/>
                  <a:pt x="1352450" y="1590497"/>
                </a:cubicBezTo>
                <a:close/>
                <a:moveTo>
                  <a:pt x="5559798" y="1589001"/>
                </a:moveTo>
                <a:lnTo>
                  <a:pt x="5560865" y="1596968"/>
                </a:lnTo>
                <a:lnTo>
                  <a:pt x="5561292" y="1597537"/>
                </a:lnTo>
                <a:lnTo>
                  <a:pt x="5561078" y="1597964"/>
                </a:lnTo>
                <a:lnTo>
                  <a:pt x="5561932" y="1607496"/>
                </a:lnTo>
                <a:lnTo>
                  <a:pt x="5560438" y="1616459"/>
                </a:lnTo>
                <a:lnTo>
                  <a:pt x="5561719" y="1616744"/>
                </a:lnTo>
                <a:cubicBezTo>
                  <a:pt x="5566200" y="1616032"/>
                  <a:pt x="5572176" y="1612049"/>
                  <a:pt x="5578579" y="1617597"/>
                </a:cubicBezTo>
                <a:cubicBezTo>
                  <a:pt x="5576018" y="1619873"/>
                  <a:pt x="5580073" y="1625991"/>
                  <a:pt x="5576231" y="1629548"/>
                </a:cubicBezTo>
                <a:cubicBezTo>
                  <a:pt x="5568335" y="1638368"/>
                  <a:pt x="5564707" y="1639222"/>
                  <a:pt x="5560012" y="1637515"/>
                </a:cubicBezTo>
                <a:lnTo>
                  <a:pt x="5559584" y="1637373"/>
                </a:lnTo>
                <a:lnTo>
                  <a:pt x="5552755" y="1637373"/>
                </a:lnTo>
                <a:lnTo>
                  <a:pt x="5551688" y="1635096"/>
                </a:lnTo>
                <a:cubicBezTo>
                  <a:pt x="5550621" y="1636234"/>
                  <a:pt x="5549341" y="1637515"/>
                  <a:pt x="5547633" y="1636234"/>
                </a:cubicBezTo>
                <a:cubicBezTo>
                  <a:pt x="5545285" y="1633958"/>
                  <a:pt x="5544858" y="1630686"/>
                  <a:pt x="5545072" y="1627414"/>
                </a:cubicBezTo>
                <a:cubicBezTo>
                  <a:pt x="5543578" y="1632251"/>
                  <a:pt x="5539523" y="1635808"/>
                  <a:pt x="5530986" y="1634243"/>
                </a:cubicBezTo>
                <a:cubicBezTo>
                  <a:pt x="5528425" y="1634385"/>
                  <a:pt x="5529279" y="1633674"/>
                  <a:pt x="5527785" y="1633247"/>
                </a:cubicBezTo>
                <a:lnTo>
                  <a:pt x="5526077" y="1633247"/>
                </a:lnTo>
                <a:lnTo>
                  <a:pt x="5537389" y="1637231"/>
                </a:lnTo>
                <a:cubicBezTo>
                  <a:pt x="5540803" y="1639222"/>
                  <a:pt x="5543791" y="1641925"/>
                  <a:pt x="5545499" y="1646051"/>
                </a:cubicBezTo>
                <a:cubicBezTo>
                  <a:pt x="5543791" y="1653734"/>
                  <a:pt x="5544645" y="1658571"/>
                  <a:pt x="5546139" y="1662839"/>
                </a:cubicBezTo>
                <a:lnTo>
                  <a:pt x="5546353" y="1663408"/>
                </a:lnTo>
                <a:lnTo>
                  <a:pt x="5546779" y="1663123"/>
                </a:lnTo>
                <a:cubicBezTo>
                  <a:pt x="5546779" y="1662981"/>
                  <a:pt x="5546779" y="1663265"/>
                  <a:pt x="5547206" y="1663835"/>
                </a:cubicBezTo>
                <a:cubicBezTo>
                  <a:pt x="5547206" y="1663835"/>
                  <a:pt x="5547419" y="1663835"/>
                  <a:pt x="5548273" y="1664973"/>
                </a:cubicBezTo>
                <a:cubicBezTo>
                  <a:pt x="5548273" y="1664973"/>
                  <a:pt x="5548700" y="1664973"/>
                  <a:pt x="5548486" y="1665542"/>
                </a:cubicBezTo>
                <a:lnTo>
                  <a:pt x="5547846" y="1666965"/>
                </a:lnTo>
                <a:lnTo>
                  <a:pt x="5548486" y="1668814"/>
                </a:lnTo>
                <a:cubicBezTo>
                  <a:pt x="5549341" y="1670806"/>
                  <a:pt x="5549981" y="1672940"/>
                  <a:pt x="5550407" y="1675216"/>
                </a:cubicBezTo>
                <a:cubicBezTo>
                  <a:pt x="5548700" y="1680338"/>
                  <a:pt x="5546139" y="1685602"/>
                  <a:pt x="5543365" y="1690866"/>
                </a:cubicBezTo>
                <a:lnTo>
                  <a:pt x="5540377" y="1695418"/>
                </a:lnTo>
                <a:lnTo>
                  <a:pt x="5538242" y="1699544"/>
                </a:lnTo>
                <a:lnTo>
                  <a:pt x="5538029" y="1699971"/>
                </a:lnTo>
                <a:lnTo>
                  <a:pt x="5536535" y="1709788"/>
                </a:lnTo>
                <a:cubicBezTo>
                  <a:pt x="5535468" y="1712917"/>
                  <a:pt x="5533547" y="1715621"/>
                  <a:pt x="5530773" y="1717897"/>
                </a:cubicBezTo>
                <a:cubicBezTo>
                  <a:pt x="5527144" y="1720173"/>
                  <a:pt x="5523943" y="1721027"/>
                  <a:pt x="5520956" y="1720742"/>
                </a:cubicBezTo>
                <a:lnTo>
                  <a:pt x="5517541" y="1719035"/>
                </a:lnTo>
                <a:lnTo>
                  <a:pt x="5504095" y="1724583"/>
                </a:lnTo>
                <a:lnTo>
                  <a:pt x="5503669" y="1724583"/>
                </a:lnTo>
                <a:lnTo>
                  <a:pt x="5501961" y="1726006"/>
                </a:lnTo>
                <a:lnTo>
                  <a:pt x="5502815" y="1728282"/>
                </a:lnTo>
                <a:cubicBezTo>
                  <a:pt x="5506230" y="1731981"/>
                  <a:pt x="5511565" y="1729989"/>
                  <a:pt x="5513273" y="1739237"/>
                </a:cubicBezTo>
                <a:lnTo>
                  <a:pt x="5505802" y="1739522"/>
                </a:lnTo>
                <a:lnTo>
                  <a:pt x="5506657" y="1741087"/>
                </a:lnTo>
                <a:cubicBezTo>
                  <a:pt x="5507510" y="1744786"/>
                  <a:pt x="5508150" y="1748627"/>
                  <a:pt x="5508364" y="1752468"/>
                </a:cubicBezTo>
                <a:lnTo>
                  <a:pt x="5508364" y="1759155"/>
                </a:lnTo>
                <a:lnTo>
                  <a:pt x="5510711" y="1757305"/>
                </a:lnTo>
                <a:cubicBezTo>
                  <a:pt x="5515833" y="1754318"/>
                  <a:pt x="5519675" y="1756025"/>
                  <a:pt x="5520315" y="1755029"/>
                </a:cubicBezTo>
                <a:cubicBezTo>
                  <a:pt x="5524370" y="1758443"/>
                  <a:pt x="5522449" y="1761004"/>
                  <a:pt x="5520742" y="1765984"/>
                </a:cubicBezTo>
                <a:cubicBezTo>
                  <a:pt x="5519461" y="1764845"/>
                  <a:pt x="5516473" y="1768687"/>
                  <a:pt x="5515406" y="1769967"/>
                </a:cubicBezTo>
                <a:cubicBezTo>
                  <a:pt x="5514126" y="1768829"/>
                  <a:pt x="5512632" y="1769256"/>
                  <a:pt x="5510711" y="1769541"/>
                </a:cubicBezTo>
                <a:lnTo>
                  <a:pt x="5508364" y="1769541"/>
                </a:lnTo>
                <a:lnTo>
                  <a:pt x="5507510" y="1789173"/>
                </a:lnTo>
                <a:cubicBezTo>
                  <a:pt x="5503455" y="1787751"/>
                  <a:pt x="5500681" y="1789743"/>
                  <a:pt x="5494705" y="1786328"/>
                </a:cubicBezTo>
                <a:cubicBezTo>
                  <a:pt x="5496626" y="1775800"/>
                  <a:pt x="5497052" y="1765414"/>
                  <a:pt x="5497479" y="1755456"/>
                </a:cubicBezTo>
                <a:lnTo>
                  <a:pt x="5498974" y="1739664"/>
                </a:lnTo>
                <a:lnTo>
                  <a:pt x="5494491" y="1739664"/>
                </a:lnTo>
                <a:cubicBezTo>
                  <a:pt x="5488729" y="1738953"/>
                  <a:pt x="5483393" y="1737103"/>
                  <a:pt x="5478485" y="1734542"/>
                </a:cubicBezTo>
                <a:lnTo>
                  <a:pt x="5474430" y="1731697"/>
                </a:lnTo>
                <a:lnTo>
                  <a:pt x="5472296" y="1732124"/>
                </a:lnTo>
                <a:lnTo>
                  <a:pt x="5470589" y="1732124"/>
                </a:lnTo>
                <a:lnTo>
                  <a:pt x="5470161" y="1732408"/>
                </a:lnTo>
                <a:cubicBezTo>
                  <a:pt x="5469308" y="1732835"/>
                  <a:pt x="5468668" y="1733119"/>
                  <a:pt x="5468668" y="1733119"/>
                </a:cubicBezTo>
                <a:cubicBezTo>
                  <a:pt x="5467601" y="1731981"/>
                  <a:pt x="5467814" y="1731981"/>
                  <a:pt x="5468881" y="1731981"/>
                </a:cubicBezTo>
                <a:lnTo>
                  <a:pt x="5469094" y="1731839"/>
                </a:lnTo>
                <a:lnTo>
                  <a:pt x="5465466" y="1731412"/>
                </a:lnTo>
                <a:cubicBezTo>
                  <a:pt x="5465893" y="1728424"/>
                  <a:pt x="5467387" y="1725579"/>
                  <a:pt x="5468881" y="1722876"/>
                </a:cubicBezTo>
                <a:lnTo>
                  <a:pt x="5473789" y="1715336"/>
                </a:lnTo>
                <a:lnTo>
                  <a:pt x="5474430" y="1721311"/>
                </a:lnTo>
                <a:cubicBezTo>
                  <a:pt x="5475710" y="1721311"/>
                  <a:pt x="5476991" y="1720173"/>
                  <a:pt x="5476991" y="1720173"/>
                </a:cubicBezTo>
                <a:lnTo>
                  <a:pt x="5477632" y="1723730"/>
                </a:lnTo>
                <a:lnTo>
                  <a:pt x="5479552" y="1723445"/>
                </a:lnTo>
                <a:lnTo>
                  <a:pt x="5487022" y="1724583"/>
                </a:lnTo>
                <a:lnTo>
                  <a:pt x="5487022" y="1722592"/>
                </a:lnTo>
                <a:lnTo>
                  <a:pt x="5481686" y="1720458"/>
                </a:lnTo>
                <a:lnTo>
                  <a:pt x="5473789" y="1715336"/>
                </a:lnTo>
                <a:lnTo>
                  <a:pt x="5472296" y="1714340"/>
                </a:lnTo>
                <a:cubicBezTo>
                  <a:pt x="5468881" y="1712348"/>
                  <a:pt x="5465466" y="1710214"/>
                  <a:pt x="5461411" y="1708649"/>
                </a:cubicBezTo>
                <a:cubicBezTo>
                  <a:pt x="5464613" y="1693426"/>
                  <a:pt x="5456930" y="1689585"/>
                  <a:pt x="5452875" y="1682614"/>
                </a:cubicBezTo>
                <a:cubicBezTo>
                  <a:pt x="5459704" y="1673509"/>
                  <a:pt x="5460344" y="1659140"/>
                  <a:pt x="5465039" y="1647332"/>
                </a:cubicBezTo>
                <a:cubicBezTo>
                  <a:pt x="5478698" y="1641071"/>
                  <a:pt x="5488516" y="1632109"/>
                  <a:pt x="5502388" y="1625707"/>
                </a:cubicBezTo>
                <a:cubicBezTo>
                  <a:pt x="5505376" y="1627983"/>
                  <a:pt x="5509217" y="1629263"/>
                  <a:pt x="5513273" y="1630402"/>
                </a:cubicBezTo>
                <a:lnTo>
                  <a:pt x="5522236" y="1632394"/>
                </a:lnTo>
                <a:lnTo>
                  <a:pt x="5520742" y="1627129"/>
                </a:lnTo>
                <a:cubicBezTo>
                  <a:pt x="5519675" y="1625137"/>
                  <a:pt x="5518821" y="1622861"/>
                  <a:pt x="5519035" y="1618166"/>
                </a:cubicBezTo>
                <a:cubicBezTo>
                  <a:pt x="5519248" y="1606215"/>
                  <a:pt x="5527144" y="1604082"/>
                  <a:pt x="5532907" y="1604651"/>
                </a:cubicBezTo>
                <a:cubicBezTo>
                  <a:pt x="5532694" y="1604935"/>
                  <a:pt x="5533334" y="1605220"/>
                  <a:pt x="5533974" y="1605505"/>
                </a:cubicBezTo>
                <a:lnTo>
                  <a:pt x="5536322" y="1606642"/>
                </a:lnTo>
                <a:lnTo>
                  <a:pt x="5539950" y="1605078"/>
                </a:lnTo>
                <a:cubicBezTo>
                  <a:pt x="5541017" y="1605220"/>
                  <a:pt x="5542084" y="1605931"/>
                  <a:pt x="5543578" y="1606927"/>
                </a:cubicBezTo>
                <a:cubicBezTo>
                  <a:pt x="5544645" y="1606927"/>
                  <a:pt x="5546353" y="1611622"/>
                  <a:pt x="5545499" y="1612902"/>
                </a:cubicBezTo>
                <a:lnTo>
                  <a:pt x="5544645" y="1613899"/>
                </a:lnTo>
                <a:lnTo>
                  <a:pt x="5546353" y="1621012"/>
                </a:lnTo>
                <a:cubicBezTo>
                  <a:pt x="5546353" y="1622577"/>
                  <a:pt x="5545926" y="1623999"/>
                  <a:pt x="5545712" y="1625422"/>
                </a:cubicBezTo>
                <a:cubicBezTo>
                  <a:pt x="5546139" y="1623003"/>
                  <a:pt x="5546779" y="1620300"/>
                  <a:pt x="5547419" y="1618593"/>
                </a:cubicBezTo>
                <a:lnTo>
                  <a:pt x="5548486" y="1616174"/>
                </a:lnTo>
                <a:lnTo>
                  <a:pt x="5547206" y="1616174"/>
                </a:lnTo>
                <a:lnTo>
                  <a:pt x="5548700" y="1614894"/>
                </a:lnTo>
                <a:lnTo>
                  <a:pt x="5548700" y="1614609"/>
                </a:lnTo>
                <a:cubicBezTo>
                  <a:pt x="5549981" y="1614609"/>
                  <a:pt x="5549981" y="1613471"/>
                  <a:pt x="5548913" y="1613471"/>
                </a:cubicBezTo>
                <a:cubicBezTo>
                  <a:pt x="5550194" y="1611764"/>
                  <a:pt x="5551261" y="1610199"/>
                  <a:pt x="5552115" y="1609488"/>
                </a:cubicBezTo>
                <a:lnTo>
                  <a:pt x="5553182" y="1609630"/>
                </a:lnTo>
                <a:lnTo>
                  <a:pt x="5553182" y="1602943"/>
                </a:lnTo>
                <a:lnTo>
                  <a:pt x="5553395" y="1601094"/>
                </a:lnTo>
                <a:lnTo>
                  <a:pt x="5552755" y="1600525"/>
                </a:lnTo>
                <a:lnTo>
                  <a:pt x="5553609" y="1599529"/>
                </a:lnTo>
                <a:lnTo>
                  <a:pt x="5554676" y="1593554"/>
                </a:lnTo>
                <a:cubicBezTo>
                  <a:pt x="5555743" y="1590993"/>
                  <a:pt x="5557237" y="1589286"/>
                  <a:pt x="5559798" y="1589001"/>
                </a:cubicBezTo>
                <a:close/>
                <a:moveTo>
                  <a:pt x="1054246" y="1588639"/>
                </a:moveTo>
                <a:cubicBezTo>
                  <a:pt x="1058170" y="1587090"/>
                  <a:pt x="1065501" y="1590652"/>
                  <a:pt x="1063436" y="1596074"/>
                </a:cubicBezTo>
                <a:cubicBezTo>
                  <a:pt x="1061577" y="1597777"/>
                  <a:pt x="1059512" y="1599327"/>
                  <a:pt x="1055279" y="1598242"/>
                </a:cubicBezTo>
                <a:cubicBezTo>
                  <a:pt x="1054143" y="1596848"/>
                  <a:pt x="1053420" y="1595609"/>
                  <a:pt x="1053317" y="1594060"/>
                </a:cubicBezTo>
                <a:cubicBezTo>
                  <a:pt x="1053110" y="1592511"/>
                  <a:pt x="1053420" y="1590808"/>
                  <a:pt x="1054246" y="1588639"/>
                </a:cubicBezTo>
                <a:close/>
                <a:moveTo>
                  <a:pt x="5032438" y="1588290"/>
                </a:moveTo>
                <a:cubicBezTo>
                  <a:pt x="5037347" y="1588432"/>
                  <a:pt x="5040334" y="1590282"/>
                  <a:pt x="5042682" y="1591277"/>
                </a:cubicBezTo>
                <a:lnTo>
                  <a:pt x="5042468" y="1599529"/>
                </a:lnTo>
                <a:lnTo>
                  <a:pt x="5048871" y="1603940"/>
                </a:lnTo>
                <a:cubicBezTo>
                  <a:pt x="5048658" y="1612476"/>
                  <a:pt x="5035852" y="1621154"/>
                  <a:pt x="5029023" y="1620443"/>
                </a:cubicBezTo>
                <a:lnTo>
                  <a:pt x="5026889" y="1617171"/>
                </a:lnTo>
                <a:lnTo>
                  <a:pt x="5025608" y="1617881"/>
                </a:lnTo>
                <a:lnTo>
                  <a:pt x="5020486" y="1619446"/>
                </a:lnTo>
                <a:lnTo>
                  <a:pt x="5020913" y="1620016"/>
                </a:lnTo>
                <a:cubicBezTo>
                  <a:pt x="5021126" y="1621012"/>
                  <a:pt x="5020700" y="1622292"/>
                  <a:pt x="5019633" y="1623288"/>
                </a:cubicBezTo>
                <a:cubicBezTo>
                  <a:pt x="5017498" y="1626702"/>
                  <a:pt x="5013870" y="1626560"/>
                  <a:pt x="5010455" y="1625280"/>
                </a:cubicBezTo>
                <a:cubicBezTo>
                  <a:pt x="5008108" y="1626276"/>
                  <a:pt x="5007041" y="1628694"/>
                  <a:pt x="5004693" y="1627414"/>
                </a:cubicBezTo>
                <a:cubicBezTo>
                  <a:pt x="5007894" y="1625137"/>
                  <a:pt x="5009175" y="1623999"/>
                  <a:pt x="5011522" y="1622861"/>
                </a:cubicBezTo>
                <a:cubicBezTo>
                  <a:pt x="5011309" y="1621723"/>
                  <a:pt x="5011309" y="1620585"/>
                  <a:pt x="5012590" y="1619446"/>
                </a:cubicBezTo>
                <a:lnTo>
                  <a:pt x="5014724" y="1618451"/>
                </a:lnTo>
                <a:lnTo>
                  <a:pt x="5014297" y="1617028"/>
                </a:lnTo>
                <a:cubicBezTo>
                  <a:pt x="5013870" y="1615890"/>
                  <a:pt x="5013443" y="1614894"/>
                  <a:pt x="5012590" y="1613756"/>
                </a:cubicBezTo>
                <a:cubicBezTo>
                  <a:pt x="5016005" y="1613044"/>
                  <a:pt x="5018779" y="1611907"/>
                  <a:pt x="5021126" y="1610910"/>
                </a:cubicBezTo>
                <a:lnTo>
                  <a:pt x="5024754" y="1610342"/>
                </a:lnTo>
                <a:lnTo>
                  <a:pt x="5024754" y="1609915"/>
                </a:lnTo>
                <a:cubicBezTo>
                  <a:pt x="5025181" y="1607496"/>
                  <a:pt x="5026462" y="1605362"/>
                  <a:pt x="5028169" y="1603513"/>
                </a:cubicBezTo>
                <a:lnTo>
                  <a:pt x="5030090" y="1602232"/>
                </a:lnTo>
                <a:cubicBezTo>
                  <a:pt x="5027529" y="1598960"/>
                  <a:pt x="5027529" y="1592842"/>
                  <a:pt x="5032438" y="1588290"/>
                </a:cubicBezTo>
                <a:close/>
                <a:moveTo>
                  <a:pt x="4701637" y="1588290"/>
                </a:moveTo>
                <a:cubicBezTo>
                  <a:pt x="4702917" y="1589286"/>
                  <a:pt x="4705692" y="1592700"/>
                  <a:pt x="4703771" y="1596257"/>
                </a:cubicBezTo>
                <a:cubicBezTo>
                  <a:pt x="4702917" y="1598106"/>
                  <a:pt x="4702917" y="1599956"/>
                  <a:pt x="4702917" y="1601663"/>
                </a:cubicBezTo>
                <a:lnTo>
                  <a:pt x="4702491" y="1603797"/>
                </a:lnTo>
                <a:lnTo>
                  <a:pt x="4703984" y="1602517"/>
                </a:lnTo>
                <a:cubicBezTo>
                  <a:pt x="4713802" y="1595688"/>
                  <a:pt x="4724900" y="1591420"/>
                  <a:pt x="4736211" y="1592842"/>
                </a:cubicBezTo>
                <a:cubicBezTo>
                  <a:pt x="4754992" y="1595119"/>
                  <a:pt x="4758407" y="1610199"/>
                  <a:pt x="4771852" y="1621723"/>
                </a:cubicBezTo>
                <a:cubicBezTo>
                  <a:pt x="4768010" y="1628694"/>
                  <a:pt x="4767797" y="1633531"/>
                  <a:pt x="4768651" y="1637799"/>
                </a:cubicBezTo>
                <a:lnTo>
                  <a:pt x="4769505" y="1640787"/>
                </a:lnTo>
                <a:lnTo>
                  <a:pt x="4776121" y="1643063"/>
                </a:lnTo>
                <a:cubicBezTo>
                  <a:pt x="4775907" y="1647189"/>
                  <a:pt x="4775480" y="1650034"/>
                  <a:pt x="4774626" y="1651884"/>
                </a:cubicBezTo>
                <a:lnTo>
                  <a:pt x="4771425" y="1654871"/>
                </a:lnTo>
                <a:lnTo>
                  <a:pt x="4772493" y="1656863"/>
                </a:lnTo>
                <a:cubicBezTo>
                  <a:pt x="4773986" y="1665115"/>
                  <a:pt x="4766517" y="1673082"/>
                  <a:pt x="4761181" y="1678488"/>
                </a:cubicBezTo>
                <a:cubicBezTo>
                  <a:pt x="4757553" y="1682614"/>
                  <a:pt x="4753284" y="1686455"/>
                  <a:pt x="4749443" y="1686455"/>
                </a:cubicBezTo>
                <a:cubicBezTo>
                  <a:pt x="4748376" y="1686455"/>
                  <a:pt x="4747095" y="1686029"/>
                  <a:pt x="4745815" y="1684890"/>
                </a:cubicBezTo>
                <a:lnTo>
                  <a:pt x="4744748" y="1683468"/>
                </a:lnTo>
                <a:lnTo>
                  <a:pt x="4743040" y="1682756"/>
                </a:lnTo>
                <a:lnTo>
                  <a:pt x="4731089" y="1685602"/>
                </a:lnTo>
                <a:lnTo>
                  <a:pt x="4735571" y="1686313"/>
                </a:lnTo>
                <a:cubicBezTo>
                  <a:pt x="4734504" y="1686313"/>
                  <a:pt x="4734504" y="1686313"/>
                  <a:pt x="4734504" y="1686313"/>
                </a:cubicBezTo>
                <a:cubicBezTo>
                  <a:pt x="4733437" y="1687451"/>
                  <a:pt x="4734504" y="1687594"/>
                  <a:pt x="4734504" y="1688732"/>
                </a:cubicBezTo>
                <a:cubicBezTo>
                  <a:pt x="4734504" y="1688732"/>
                  <a:pt x="4734504" y="1687451"/>
                  <a:pt x="4735784" y="1688732"/>
                </a:cubicBezTo>
                <a:cubicBezTo>
                  <a:pt x="4734504" y="1688732"/>
                  <a:pt x="4734717" y="1690012"/>
                  <a:pt x="4734717" y="1691150"/>
                </a:cubicBezTo>
                <a:cubicBezTo>
                  <a:pt x="4732369" y="1693426"/>
                  <a:pt x="4729168" y="1695703"/>
                  <a:pt x="4726607" y="1694423"/>
                </a:cubicBezTo>
                <a:cubicBezTo>
                  <a:pt x="4725540" y="1693142"/>
                  <a:pt x="4725113" y="1692004"/>
                  <a:pt x="4725113" y="1690866"/>
                </a:cubicBezTo>
                <a:lnTo>
                  <a:pt x="4725967" y="1689301"/>
                </a:lnTo>
                <a:lnTo>
                  <a:pt x="4724259" y="1687309"/>
                </a:lnTo>
                <a:lnTo>
                  <a:pt x="4710600" y="1690724"/>
                </a:lnTo>
                <a:cubicBezTo>
                  <a:pt x="4701851" y="1678346"/>
                  <a:pt x="4677947" y="1675928"/>
                  <a:pt x="4676027" y="1657717"/>
                </a:cubicBezTo>
                <a:lnTo>
                  <a:pt x="4676454" y="1656152"/>
                </a:lnTo>
                <a:lnTo>
                  <a:pt x="4674959" y="1654587"/>
                </a:lnTo>
                <a:cubicBezTo>
                  <a:pt x="4673466" y="1652169"/>
                  <a:pt x="4672825" y="1649323"/>
                  <a:pt x="4673039" y="1646193"/>
                </a:cubicBezTo>
                <a:cubicBezTo>
                  <a:pt x="4674319" y="1644770"/>
                  <a:pt x="4676240" y="1643917"/>
                  <a:pt x="4678374" y="1643490"/>
                </a:cubicBezTo>
                <a:lnTo>
                  <a:pt x="4679655" y="1643490"/>
                </a:lnTo>
                <a:lnTo>
                  <a:pt x="4679868" y="1641071"/>
                </a:lnTo>
                <a:cubicBezTo>
                  <a:pt x="4679655" y="1636519"/>
                  <a:pt x="4678801" y="1632394"/>
                  <a:pt x="4679442" y="1627556"/>
                </a:cubicBezTo>
                <a:cubicBezTo>
                  <a:pt x="4682642" y="1623146"/>
                  <a:pt x="4686271" y="1618593"/>
                  <a:pt x="4690326" y="1614325"/>
                </a:cubicBezTo>
                <a:lnTo>
                  <a:pt x="4700570" y="1605505"/>
                </a:lnTo>
                <a:lnTo>
                  <a:pt x="4700570" y="1597110"/>
                </a:lnTo>
                <a:cubicBezTo>
                  <a:pt x="4700356" y="1594265"/>
                  <a:pt x="4700143" y="1591277"/>
                  <a:pt x="4701637" y="1588290"/>
                </a:cubicBezTo>
                <a:close/>
                <a:moveTo>
                  <a:pt x="1378780" y="1588174"/>
                </a:moveTo>
                <a:lnTo>
                  <a:pt x="1378884" y="1589568"/>
                </a:lnTo>
                <a:lnTo>
                  <a:pt x="1379194" y="1589258"/>
                </a:lnTo>
                <a:cubicBezTo>
                  <a:pt x="1379297" y="1589104"/>
                  <a:pt x="1379400" y="1588794"/>
                  <a:pt x="1379710" y="1588639"/>
                </a:cubicBezTo>
                <a:lnTo>
                  <a:pt x="1380123" y="1588484"/>
                </a:lnTo>
                <a:close/>
                <a:moveTo>
                  <a:pt x="5073841" y="1587436"/>
                </a:moveTo>
                <a:cubicBezTo>
                  <a:pt x="5074695" y="1589712"/>
                  <a:pt x="5074268" y="1591420"/>
                  <a:pt x="5073628" y="1592842"/>
                </a:cubicBezTo>
                <a:cubicBezTo>
                  <a:pt x="5073841" y="1591847"/>
                  <a:pt x="5074481" y="1590993"/>
                  <a:pt x="5075335" y="1590282"/>
                </a:cubicBezTo>
                <a:lnTo>
                  <a:pt x="5080671" y="1592273"/>
                </a:lnTo>
                <a:lnTo>
                  <a:pt x="5081738" y="1591562"/>
                </a:lnTo>
                <a:cubicBezTo>
                  <a:pt x="5087286" y="1589428"/>
                  <a:pt x="5093262" y="1588717"/>
                  <a:pt x="5097317" y="1589001"/>
                </a:cubicBezTo>
                <a:cubicBezTo>
                  <a:pt x="5095823" y="1591989"/>
                  <a:pt x="5093902" y="1594550"/>
                  <a:pt x="5091555" y="1596684"/>
                </a:cubicBezTo>
                <a:lnTo>
                  <a:pt x="5085152" y="1600809"/>
                </a:lnTo>
                <a:lnTo>
                  <a:pt x="5085793" y="1604366"/>
                </a:lnTo>
                <a:lnTo>
                  <a:pt x="5089207" y="1599102"/>
                </a:lnTo>
                <a:cubicBezTo>
                  <a:pt x="5094756" y="1593127"/>
                  <a:pt x="5102866" y="1591989"/>
                  <a:pt x="5111189" y="1590851"/>
                </a:cubicBezTo>
                <a:cubicBezTo>
                  <a:pt x="5110976" y="1596826"/>
                  <a:pt x="5106708" y="1600951"/>
                  <a:pt x="5101372" y="1603370"/>
                </a:cubicBezTo>
                <a:lnTo>
                  <a:pt x="5086006" y="1606500"/>
                </a:lnTo>
                <a:lnTo>
                  <a:pt x="5086006" y="1610057"/>
                </a:lnTo>
                <a:cubicBezTo>
                  <a:pt x="5084085" y="1611622"/>
                  <a:pt x="5082591" y="1611764"/>
                  <a:pt x="5080884" y="1611053"/>
                </a:cubicBezTo>
                <a:lnTo>
                  <a:pt x="5078536" y="1609204"/>
                </a:lnTo>
                <a:lnTo>
                  <a:pt x="5077896" y="1616459"/>
                </a:lnTo>
                <a:cubicBezTo>
                  <a:pt x="5074055" y="1613187"/>
                  <a:pt x="5074481" y="1607923"/>
                  <a:pt x="5065304" y="1607354"/>
                </a:cubicBezTo>
                <a:lnTo>
                  <a:pt x="5069146" y="1603513"/>
                </a:lnTo>
                <a:lnTo>
                  <a:pt x="5068505" y="1603370"/>
                </a:lnTo>
                <a:lnTo>
                  <a:pt x="5072987" y="1597537"/>
                </a:lnTo>
                <a:lnTo>
                  <a:pt x="5073414" y="1595830"/>
                </a:lnTo>
                <a:cubicBezTo>
                  <a:pt x="5073414" y="1595119"/>
                  <a:pt x="5073414" y="1594265"/>
                  <a:pt x="5073628" y="1593412"/>
                </a:cubicBezTo>
                <a:cubicBezTo>
                  <a:pt x="5072987" y="1594976"/>
                  <a:pt x="5071707" y="1596114"/>
                  <a:pt x="5070426" y="1597253"/>
                </a:cubicBezTo>
                <a:cubicBezTo>
                  <a:pt x="5068505" y="1598818"/>
                  <a:pt x="5068079" y="1599813"/>
                  <a:pt x="5068079" y="1602517"/>
                </a:cubicBezTo>
                <a:cubicBezTo>
                  <a:pt x="5068079" y="1602517"/>
                  <a:pt x="5068079" y="1602517"/>
                  <a:pt x="5065091" y="1603370"/>
                </a:cubicBezTo>
                <a:lnTo>
                  <a:pt x="5064024" y="1602801"/>
                </a:lnTo>
                <a:cubicBezTo>
                  <a:pt x="5063597" y="1602232"/>
                  <a:pt x="5063810" y="1601378"/>
                  <a:pt x="5064237" y="1600098"/>
                </a:cubicBezTo>
                <a:cubicBezTo>
                  <a:pt x="5065517" y="1596541"/>
                  <a:pt x="5069573" y="1591135"/>
                  <a:pt x="5069786" y="1590424"/>
                </a:cubicBezTo>
                <a:cubicBezTo>
                  <a:pt x="5069786" y="1590424"/>
                  <a:pt x="5070213" y="1589428"/>
                  <a:pt x="5070640" y="1588290"/>
                </a:cubicBezTo>
                <a:cubicBezTo>
                  <a:pt x="5072347" y="1587863"/>
                  <a:pt x="5073414" y="1588432"/>
                  <a:pt x="5073841" y="1587436"/>
                </a:cubicBezTo>
                <a:close/>
                <a:moveTo>
                  <a:pt x="5569402" y="1587010"/>
                </a:moveTo>
                <a:cubicBezTo>
                  <a:pt x="5571109" y="1586725"/>
                  <a:pt x="5573030" y="1587010"/>
                  <a:pt x="5574737" y="1587720"/>
                </a:cubicBezTo>
                <a:cubicBezTo>
                  <a:pt x="5573670" y="1587720"/>
                  <a:pt x="5573670" y="1587720"/>
                  <a:pt x="5573670" y="1587720"/>
                </a:cubicBezTo>
                <a:cubicBezTo>
                  <a:pt x="5572390" y="1588859"/>
                  <a:pt x="5573457" y="1588859"/>
                  <a:pt x="5573457" y="1590139"/>
                </a:cubicBezTo>
                <a:cubicBezTo>
                  <a:pt x="5573457" y="1590139"/>
                  <a:pt x="5573457" y="1588859"/>
                  <a:pt x="5574524" y="1590139"/>
                </a:cubicBezTo>
                <a:cubicBezTo>
                  <a:pt x="5573243" y="1590139"/>
                  <a:pt x="5573243" y="1591277"/>
                  <a:pt x="5573243" y="1592558"/>
                </a:cubicBezTo>
                <a:cubicBezTo>
                  <a:pt x="5570683" y="1594834"/>
                  <a:pt x="5566840" y="1597253"/>
                  <a:pt x="5564707" y="1596114"/>
                </a:cubicBezTo>
                <a:cubicBezTo>
                  <a:pt x="5562572" y="1593554"/>
                  <a:pt x="5563853" y="1591135"/>
                  <a:pt x="5565133" y="1589855"/>
                </a:cubicBezTo>
                <a:cubicBezTo>
                  <a:pt x="5565987" y="1588147"/>
                  <a:pt x="5567481" y="1587294"/>
                  <a:pt x="5569402" y="1587010"/>
                </a:cubicBezTo>
                <a:close/>
                <a:moveTo>
                  <a:pt x="5351927" y="1587010"/>
                </a:moveTo>
                <a:cubicBezTo>
                  <a:pt x="5354701" y="1594976"/>
                  <a:pt x="5354061" y="1598818"/>
                  <a:pt x="5351927" y="1600241"/>
                </a:cubicBezTo>
                <a:cubicBezTo>
                  <a:pt x="5345951" y="1604366"/>
                  <a:pt x="5327384" y="1585871"/>
                  <a:pt x="5351927" y="1587010"/>
                </a:cubicBezTo>
                <a:close/>
                <a:moveTo>
                  <a:pt x="4583829" y="1586867"/>
                </a:moveTo>
                <a:cubicBezTo>
                  <a:pt x="4585110" y="1586867"/>
                  <a:pt x="4586177" y="1587152"/>
                  <a:pt x="4587031" y="1587578"/>
                </a:cubicBezTo>
                <a:cubicBezTo>
                  <a:pt x="4586391" y="1589997"/>
                  <a:pt x="4585536" y="1592415"/>
                  <a:pt x="4584683" y="1594834"/>
                </a:cubicBezTo>
                <a:cubicBezTo>
                  <a:pt x="4584470" y="1593696"/>
                  <a:pt x="4574439" y="1596541"/>
                  <a:pt x="4574439" y="1596541"/>
                </a:cubicBezTo>
                <a:cubicBezTo>
                  <a:pt x="4571877" y="1594407"/>
                  <a:pt x="4571877" y="1594407"/>
                  <a:pt x="4573585" y="1590709"/>
                </a:cubicBezTo>
                <a:cubicBezTo>
                  <a:pt x="4574652" y="1589428"/>
                  <a:pt x="4577000" y="1588147"/>
                  <a:pt x="4579774" y="1587436"/>
                </a:cubicBezTo>
                <a:cubicBezTo>
                  <a:pt x="4581055" y="1587010"/>
                  <a:pt x="4582548" y="1586867"/>
                  <a:pt x="4583829" y="1586867"/>
                </a:cubicBezTo>
                <a:close/>
                <a:moveTo>
                  <a:pt x="1694641" y="1586625"/>
                </a:moveTo>
                <a:cubicBezTo>
                  <a:pt x="1696810" y="1587245"/>
                  <a:pt x="1698255" y="1588639"/>
                  <a:pt x="1699081" y="1590188"/>
                </a:cubicBezTo>
                <a:lnTo>
                  <a:pt x="1699288" y="1593441"/>
                </a:lnTo>
                <a:lnTo>
                  <a:pt x="1700527" y="1593131"/>
                </a:lnTo>
                <a:cubicBezTo>
                  <a:pt x="1708891" y="1594990"/>
                  <a:pt x="1715602" y="1606297"/>
                  <a:pt x="1715705" y="1615901"/>
                </a:cubicBezTo>
                <a:lnTo>
                  <a:pt x="1715396" y="1618379"/>
                </a:lnTo>
                <a:lnTo>
                  <a:pt x="1716325" y="1618534"/>
                </a:lnTo>
                <a:cubicBezTo>
                  <a:pt x="1718906" y="1619153"/>
                  <a:pt x="1721178" y="1620083"/>
                  <a:pt x="1722417" y="1620857"/>
                </a:cubicBezTo>
                <a:cubicBezTo>
                  <a:pt x="1714776" y="1622871"/>
                  <a:pt x="1701973" y="1625659"/>
                  <a:pt x="1695054" y="1622871"/>
                </a:cubicBezTo>
                <a:lnTo>
                  <a:pt x="1698668" y="1618998"/>
                </a:lnTo>
                <a:lnTo>
                  <a:pt x="1693712" y="1613887"/>
                </a:lnTo>
                <a:cubicBezTo>
                  <a:pt x="1692060" y="1611408"/>
                  <a:pt x="1690924" y="1608620"/>
                  <a:pt x="1690408" y="1605832"/>
                </a:cubicBezTo>
                <a:lnTo>
                  <a:pt x="1690201" y="1601030"/>
                </a:lnTo>
                <a:lnTo>
                  <a:pt x="1686897" y="1598087"/>
                </a:lnTo>
                <a:cubicBezTo>
                  <a:pt x="1686071" y="1596229"/>
                  <a:pt x="1685761" y="1594060"/>
                  <a:pt x="1686071" y="1592047"/>
                </a:cubicBezTo>
                <a:cubicBezTo>
                  <a:pt x="1686277" y="1590652"/>
                  <a:pt x="1686691" y="1589568"/>
                  <a:pt x="1687413" y="1588794"/>
                </a:cubicBezTo>
                <a:cubicBezTo>
                  <a:pt x="1689892" y="1588019"/>
                  <a:pt x="1692266" y="1587400"/>
                  <a:pt x="1694641" y="1586625"/>
                </a:cubicBezTo>
                <a:close/>
                <a:moveTo>
                  <a:pt x="4026163" y="1585587"/>
                </a:moveTo>
                <a:cubicBezTo>
                  <a:pt x="4037688" y="1586156"/>
                  <a:pt x="4048572" y="1594550"/>
                  <a:pt x="4052628" y="1605362"/>
                </a:cubicBezTo>
                <a:cubicBezTo>
                  <a:pt x="4053481" y="1607781"/>
                  <a:pt x="4054122" y="1610342"/>
                  <a:pt x="4054122" y="1612902"/>
                </a:cubicBezTo>
                <a:lnTo>
                  <a:pt x="4053268" y="1620300"/>
                </a:lnTo>
                <a:lnTo>
                  <a:pt x="4054975" y="1620443"/>
                </a:lnTo>
                <a:cubicBezTo>
                  <a:pt x="4058603" y="1621865"/>
                  <a:pt x="4059243" y="1625565"/>
                  <a:pt x="4057963" y="1631397"/>
                </a:cubicBezTo>
                <a:cubicBezTo>
                  <a:pt x="4055402" y="1632109"/>
                  <a:pt x="4053695" y="1633816"/>
                  <a:pt x="4050280" y="1635381"/>
                </a:cubicBezTo>
                <a:cubicBezTo>
                  <a:pt x="4049213" y="1634100"/>
                  <a:pt x="4048146" y="1631539"/>
                  <a:pt x="4048146" y="1628552"/>
                </a:cubicBezTo>
                <a:lnTo>
                  <a:pt x="4049853" y="1621865"/>
                </a:lnTo>
                <a:lnTo>
                  <a:pt x="4040676" y="1624426"/>
                </a:lnTo>
                <a:cubicBezTo>
                  <a:pt x="4036834" y="1624710"/>
                  <a:pt x="4032993" y="1623999"/>
                  <a:pt x="4029578" y="1622577"/>
                </a:cubicBezTo>
                <a:cubicBezTo>
                  <a:pt x="4018054" y="1618024"/>
                  <a:pt x="4010584" y="1605220"/>
                  <a:pt x="4011864" y="1590424"/>
                </a:cubicBezTo>
                <a:cubicBezTo>
                  <a:pt x="4013358" y="1589855"/>
                  <a:pt x="4015066" y="1589286"/>
                  <a:pt x="4014639" y="1587720"/>
                </a:cubicBezTo>
                <a:cubicBezTo>
                  <a:pt x="4018267" y="1586014"/>
                  <a:pt x="4022322" y="1585302"/>
                  <a:pt x="4026163" y="1585587"/>
                </a:cubicBezTo>
                <a:close/>
                <a:moveTo>
                  <a:pt x="1723346" y="1584921"/>
                </a:moveTo>
                <a:cubicBezTo>
                  <a:pt x="1725308" y="1586316"/>
                  <a:pt x="1725618" y="1587864"/>
                  <a:pt x="1725308" y="1589878"/>
                </a:cubicBezTo>
                <a:lnTo>
                  <a:pt x="1724586" y="1592356"/>
                </a:lnTo>
                <a:lnTo>
                  <a:pt x="1724896" y="1592666"/>
                </a:lnTo>
                <a:cubicBezTo>
                  <a:pt x="1725515" y="1594370"/>
                  <a:pt x="1725721" y="1596539"/>
                  <a:pt x="1724999" y="1599172"/>
                </a:cubicBezTo>
                <a:cubicBezTo>
                  <a:pt x="1722521" y="1603199"/>
                  <a:pt x="1712814" y="1602580"/>
                  <a:pt x="1710956" y="1598862"/>
                </a:cubicBezTo>
                <a:cubicBezTo>
                  <a:pt x="1711266" y="1596539"/>
                  <a:pt x="1711678" y="1594060"/>
                  <a:pt x="1711988" y="1591737"/>
                </a:cubicBezTo>
                <a:lnTo>
                  <a:pt x="1714983" y="1590033"/>
                </a:lnTo>
                <a:cubicBezTo>
                  <a:pt x="1715189" y="1588794"/>
                  <a:pt x="1715809" y="1587554"/>
                  <a:pt x="1717048" y="1586160"/>
                </a:cubicBezTo>
                <a:cubicBezTo>
                  <a:pt x="1717048" y="1584921"/>
                  <a:pt x="1722107" y="1583682"/>
                  <a:pt x="1723346" y="1584921"/>
                </a:cubicBezTo>
                <a:close/>
                <a:moveTo>
                  <a:pt x="4962436" y="1584875"/>
                </a:moveTo>
                <a:cubicBezTo>
                  <a:pt x="4962436" y="1586156"/>
                  <a:pt x="4963503" y="1586156"/>
                  <a:pt x="4963503" y="1587294"/>
                </a:cubicBezTo>
                <a:cubicBezTo>
                  <a:pt x="4964997" y="1589855"/>
                  <a:pt x="4964997" y="1589855"/>
                  <a:pt x="4963716" y="1591135"/>
                </a:cubicBezTo>
                <a:cubicBezTo>
                  <a:pt x="4962650" y="1592273"/>
                  <a:pt x="4959021" y="1590851"/>
                  <a:pt x="4957954" y="1591989"/>
                </a:cubicBezTo>
                <a:cubicBezTo>
                  <a:pt x="4957954" y="1591989"/>
                  <a:pt x="4957954" y="1591989"/>
                  <a:pt x="4956674" y="1589428"/>
                </a:cubicBezTo>
                <a:cubicBezTo>
                  <a:pt x="4956460" y="1588290"/>
                  <a:pt x="4956460" y="1587010"/>
                  <a:pt x="4957741" y="1585871"/>
                </a:cubicBezTo>
                <a:cubicBezTo>
                  <a:pt x="4958808" y="1584591"/>
                  <a:pt x="4961155" y="1584733"/>
                  <a:pt x="4962436" y="1584875"/>
                </a:cubicBezTo>
                <a:close/>
                <a:moveTo>
                  <a:pt x="1410067" y="1584147"/>
                </a:moveTo>
                <a:lnTo>
                  <a:pt x="1411100" y="1587245"/>
                </a:lnTo>
                <a:lnTo>
                  <a:pt x="1414301" y="1587864"/>
                </a:lnTo>
                <a:lnTo>
                  <a:pt x="1413991" y="1586935"/>
                </a:lnTo>
                <a:cubicBezTo>
                  <a:pt x="1414198" y="1586470"/>
                  <a:pt x="1414301" y="1585851"/>
                  <a:pt x="1414714" y="1585541"/>
                </a:cubicBezTo>
                <a:cubicBezTo>
                  <a:pt x="1415127" y="1585231"/>
                  <a:pt x="1415746" y="1585076"/>
                  <a:pt x="1416985" y="1585541"/>
                </a:cubicBezTo>
                <a:cubicBezTo>
                  <a:pt x="1418947" y="1585541"/>
                  <a:pt x="1419361" y="1586160"/>
                  <a:pt x="1419361" y="1589258"/>
                </a:cubicBezTo>
                <a:cubicBezTo>
                  <a:pt x="1418740" y="1591582"/>
                  <a:pt x="1418947" y="1593441"/>
                  <a:pt x="1418225" y="1593905"/>
                </a:cubicBezTo>
                <a:cubicBezTo>
                  <a:pt x="1418637" y="1594525"/>
                  <a:pt x="1418431" y="1595609"/>
                  <a:pt x="1418947" y="1596384"/>
                </a:cubicBezTo>
                <a:cubicBezTo>
                  <a:pt x="1418947" y="1596384"/>
                  <a:pt x="1418844" y="1596384"/>
                  <a:pt x="1418121" y="1596848"/>
                </a:cubicBezTo>
                <a:cubicBezTo>
                  <a:pt x="1417605" y="1595144"/>
                  <a:pt x="1416572" y="1593441"/>
                  <a:pt x="1415643" y="1591737"/>
                </a:cubicBezTo>
                <a:lnTo>
                  <a:pt x="1414507" y="1588484"/>
                </a:lnTo>
                <a:lnTo>
                  <a:pt x="1410790" y="1594215"/>
                </a:lnTo>
                <a:cubicBezTo>
                  <a:pt x="1407899" y="1601030"/>
                  <a:pt x="1407176" y="1608620"/>
                  <a:pt x="1401084" y="1611254"/>
                </a:cubicBezTo>
                <a:cubicBezTo>
                  <a:pt x="1401703" y="1608156"/>
                  <a:pt x="1401497" y="1604129"/>
                  <a:pt x="1401497" y="1600411"/>
                </a:cubicBezTo>
                <a:cubicBezTo>
                  <a:pt x="1401497" y="1596539"/>
                  <a:pt x="1401703" y="1592821"/>
                  <a:pt x="1403149" y="1590343"/>
                </a:cubicBezTo>
                <a:lnTo>
                  <a:pt x="1405421" y="1588019"/>
                </a:lnTo>
                <a:lnTo>
                  <a:pt x="1404904" y="1587400"/>
                </a:lnTo>
                <a:cubicBezTo>
                  <a:pt x="1407382" y="1586780"/>
                  <a:pt x="1407589" y="1584921"/>
                  <a:pt x="1410067" y="1584147"/>
                </a:cubicBezTo>
                <a:close/>
                <a:moveTo>
                  <a:pt x="5903190" y="1584022"/>
                </a:moveTo>
                <a:cubicBezTo>
                  <a:pt x="5904044" y="1583879"/>
                  <a:pt x="5905111" y="1584022"/>
                  <a:pt x="5905965" y="1584591"/>
                </a:cubicBezTo>
                <a:cubicBezTo>
                  <a:pt x="5908526" y="1585729"/>
                  <a:pt x="5907672" y="1588147"/>
                  <a:pt x="5905751" y="1590566"/>
                </a:cubicBezTo>
                <a:cubicBezTo>
                  <a:pt x="5903190" y="1596826"/>
                  <a:pt x="5899989" y="1598249"/>
                  <a:pt x="5895934" y="1594834"/>
                </a:cubicBezTo>
                <a:cubicBezTo>
                  <a:pt x="5895720" y="1593696"/>
                  <a:pt x="5896574" y="1589997"/>
                  <a:pt x="5895294" y="1590139"/>
                </a:cubicBezTo>
                <a:cubicBezTo>
                  <a:pt x="5897428" y="1587294"/>
                  <a:pt x="5900203" y="1584306"/>
                  <a:pt x="5903190" y="1584022"/>
                </a:cubicBezTo>
                <a:close/>
                <a:moveTo>
                  <a:pt x="3710089" y="1583737"/>
                </a:moveTo>
                <a:cubicBezTo>
                  <a:pt x="3711369" y="1583595"/>
                  <a:pt x="3712223" y="1583879"/>
                  <a:pt x="3712650" y="1584448"/>
                </a:cubicBezTo>
                <a:cubicBezTo>
                  <a:pt x="3713290" y="1585018"/>
                  <a:pt x="3713290" y="1585871"/>
                  <a:pt x="3713290" y="1587294"/>
                </a:cubicBezTo>
                <a:cubicBezTo>
                  <a:pt x="3710729" y="1592842"/>
                  <a:pt x="3705180" y="1592415"/>
                  <a:pt x="3699418" y="1594550"/>
                </a:cubicBezTo>
                <a:cubicBezTo>
                  <a:pt x="3698778" y="1593554"/>
                  <a:pt x="3697284" y="1593127"/>
                  <a:pt x="3696217" y="1593696"/>
                </a:cubicBezTo>
                <a:cubicBezTo>
                  <a:pt x="3694723" y="1593412"/>
                  <a:pt x="3693015" y="1592984"/>
                  <a:pt x="3693655" y="1593981"/>
                </a:cubicBezTo>
                <a:cubicBezTo>
                  <a:pt x="3688960" y="1592842"/>
                  <a:pt x="3687893" y="1593554"/>
                  <a:pt x="3687466" y="1589855"/>
                </a:cubicBezTo>
                <a:cubicBezTo>
                  <a:pt x="3696217" y="1585729"/>
                  <a:pt x="3707528" y="1584022"/>
                  <a:pt x="3710089" y="1583737"/>
                </a:cubicBezTo>
                <a:close/>
                <a:moveTo>
                  <a:pt x="5260797" y="1583026"/>
                </a:moveTo>
                <a:cubicBezTo>
                  <a:pt x="5265278" y="1585729"/>
                  <a:pt x="5269547" y="1588432"/>
                  <a:pt x="5267626" y="1592700"/>
                </a:cubicBezTo>
                <a:cubicBezTo>
                  <a:pt x="5262077" y="1594265"/>
                  <a:pt x="5256955" y="1589286"/>
                  <a:pt x="5260797" y="1583026"/>
                </a:cubicBezTo>
                <a:close/>
                <a:moveTo>
                  <a:pt x="3783078" y="1582883"/>
                </a:moveTo>
                <a:cubicBezTo>
                  <a:pt x="3785213" y="1583595"/>
                  <a:pt x="3789694" y="1584733"/>
                  <a:pt x="3791401" y="1586583"/>
                </a:cubicBezTo>
                <a:cubicBezTo>
                  <a:pt x="3791828" y="1587294"/>
                  <a:pt x="3792042" y="1588005"/>
                  <a:pt x="3791828" y="1588717"/>
                </a:cubicBezTo>
                <a:cubicBezTo>
                  <a:pt x="3788841" y="1587720"/>
                  <a:pt x="3783718" y="1587578"/>
                  <a:pt x="3783078" y="1582883"/>
                </a:cubicBezTo>
                <a:close/>
                <a:moveTo>
                  <a:pt x="1631035" y="1582598"/>
                </a:moveTo>
                <a:cubicBezTo>
                  <a:pt x="1633410" y="1584302"/>
                  <a:pt x="1637954" y="1581978"/>
                  <a:pt x="1641155" y="1584612"/>
                </a:cubicBezTo>
                <a:cubicBezTo>
                  <a:pt x="1637025" y="1589568"/>
                  <a:pt x="1623291" y="1589104"/>
                  <a:pt x="1621020" y="1586470"/>
                </a:cubicBezTo>
                <a:cubicBezTo>
                  <a:pt x="1623911" y="1584147"/>
                  <a:pt x="1627318" y="1585076"/>
                  <a:pt x="1631035" y="1582598"/>
                </a:cubicBezTo>
                <a:close/>
                <a:moveTo>
                  <a:pt x="1534594" y="1582598"/>
                </a:moveTo>
                <a:cubicBezTo>
                  <a:pt x="1544300" y="1579810"/>
                  <a:pt x="1549257" y="1585696"/>
                  <a:pt x="1554316" y="1591427"/>
                </a:cubicBezTo>
                <a:cubicBezTo>
                  <a:pt x="1546985" y="1596539"/>
                  <a:pt x="1538415" y="1588794"/>
                  <a:pt x="1534594" y="1582598"/>
                </a:cubicBezTo>
                <a:close/>
                <a:moveTo>
                  <a:pt x="1290290" y="1581514"/>
                </a:moveTo>
                <a:cubicBezTo>
                  <a:pt x="1290290" y="1581514"/>
                  <a:pt x="1290290" y="1581669"/>
                  <a:pt x="1290703" y="1582288"/>
                </a:cubicBezTo>
                <a:cubicBezTo>
                  <a:pt x="1290703" y="1582288"/>
                  <a:pt x="1289980" y="1582598"/>
                  <a:pt x="1288948" y="1582443"/>
                </a:cubicBezTo>
                <a:cubicBezTo>
                  <a:pt x="1288948" y="1582443"/>
                  <a:pt x="1288948" y="1582133"/>
                  <a:pt x="1289154" y="1581978"/>
                </a:cubicBezTo>
                <a:cubicBezTo>
                  <a:pt x="1289361" y="1581669"/>
                  <a:pt x="1289774" y="1581514"/>
                  <a:pt x="1290290" y="1581514"/>
                </a:cubicBezTo>
                <a:close/>
                <a:moveTo>
                  <a:pt x="4133940" y="1580465"/>
                </a:moveTo>
                <a:cubicBezTo>
                  <a:pt x="4138422" y="1581318"/>
                  <a:pt x="4143971" y="1581034"/>
                  <a:pt x="4149093" y="1581034"/>
                </a:cubicBezTo>
                <a:cubicBezTo>
                  <a:pt x="4154429" y="1581034"/>
                  <a:pt x="4159337" y="1581318"/>
                  <a:pt x="4162965" y="1583310"/>
                </a:cubicBezTo>
                <a:lnTo>
                  <a:pt x="4166167" y="1586440"/>
                </a:lnTo>
                <a:lnTo>
                  <a:pt x="4166807" y="1585729"/>
                </a:lnTo>
                <a:cubicBezTo>
                  <a:pt x="4167874" y="1589143"/>
                  <a:pt x="4170435" y="1589428"/>
                  <a:pt x="4171289" y="1592700"/>
                </a:cubicBezTo>
                <a:lnTo>
                  <a:pt x="4167020" y="1594123"/>
                </a:lnTo>
                <a:lnTo>
                  <a:pt x="4166167" y="1599387"/>
                </a:lnTo>
                <a:cubicBezTo>
                  <a:pt x="4155922" y="1589570"/>
                  <a:pt x="4138849" y="1591704"/>
                  <a:pt x="4133940" y="1580465"/>
                </a:cubicBezTo>
                <a:close/>
                <a:moveTo>
                  <a:pt x="5411258" y="1580181"/>
                </a:moveTo>
                <a:cubicBezTo>
                  <a:pt x="5413392" y="1582030"/>
                  <a:pt x="5414886" y="1583310"/>
                  <a:pt x="5415313" y="1584875"/>
                </a:cubicBezTo>
                <a:cubicBezTo>
                  <a:pt x="5415526" y="1586298"/>
                  <a:pt x="5415099" y="1588147"/>
                  <a:pt x="5413606" y="1591135"/>
                </a:cubicBezTo>
                <a:cubicBezTo>
                  <a:pt x="5413606" y="1591135"/>
                  <a:pt x="5412538" y="1592273"/>
                  <a:pt x="5412538" y="1592273"/>
                </a:cubicBezTo>
                <a:lnTo>
                  <a:pt x="5406349" y="1596541"/>
                </a:lnTo>
                <a:lnTo>
                  <a:pt x="5405922" y="1599671"/>
                </a:lnTo>
                <a:cubicBezTo>
                  <a:pt x="5399520" y="1602659"/>
                  <a:pt x="5393330" y="1596257"/>
                  <a:pt x="5392904" y="1589855"/>
                </a:cubicBezTo>
                <a:cubicBezTo>
                  <a:pt x="5392904" y="1587863"/>
                  <a:pt x="5393330" y="1585729"/>
                  <a:pt x="5394824" y="1584022"/>
                </a:cubicBezTo>
                <a:cubicBezTo>
                  <a:pt x="5396959" y="1583026"/>
                  <a:pt x="5399093" y="1583026"/>
                  <a:pt x="5400800" y="1583737"/>
                </a:cubicBezTo>
                <a:lnTo>
                  <a:pt x="5402721" y="1585587"/>
                </a:lnTo>
                <a:lnTo>
                  <a:pt x="5405282" y="1583737"/>
                </a:lnTo>
                <a:cubicBezTo>
                  <a:pt x="5407203" y="1582883"/>
                  <a:pt x="5409337" y="1582030"/>
                  <a:pt x="5411258" y="1580181"/>
                </a:cubicBezTo>
                <a:close/>
                <a:moveTo>
                  <a:pt x="3840275" y="1580181"/>
                </a:moveTo>
                <a:cubicBezTo>
                  <a:pt x="3840275" y="1580181"/>
                  <a:pt x="3840702" y="1580181"/>
                  <a:pt x="3840915" y="1580465"/>
                </a:cubicBezTo>
                <a:cubicBezTo>
                  <a:pt x="3841128" y="1580750"/>
                  <a:pt x="3841342" y="1581176"/>
                  <a:pt x="3841128" y="1581888"/>
                </a:cubicBezTo>
                <a:cubicBezTo>
                  <a:pt x="3841128" y="1581888"/>
                  <a:pt x="3841128" y="1582030"/>
                  <a:pt x="3840275" y="1582599"/>
                </a:cubicBezTo>
                <a:cubicBezTo>
                  <a:pt x="3840275" y="1582599"/>
                  <a:pt x="3839848" y="1581603"/>
                  <a:pt x="3840275" y="1580181"/>
                </a:cubicBezTo>
                <a:close/>
                <a:moveTo>
                  <a:pt x="3595269" y="1580181"/>
                </a:moveTo>
                <a:cubicBezTo>
                  <a:pt x="3598470" y="1580750"/>
                  <a:pt x="3602952" y="1581461"/>
                  <a:pt x="3605086" y="1583026"/>
                </a:cubicBezTo>
                <a:cubicBezTo>
                  <a:pt x="3602952" y="1583737"/>
                  <a:pt x="3598257" y="1584164"/>
                  <a:pt x="3596336" y="1581461"/>
                </a:cubicBezTo>
                <a:cubicBezTo>
                  <a:pt x="3596336" y="1581461"/>
                  <a:pt x="3596336" y="1581461"/>
                  <a:pt x="3595269" y="1580181"/>
                </a:cubicBezTo>
                <a:close/>
                <a:moveTo>
                  <a:pt x="4075250" y="1580038"/>
                </a:moveTo>
                <a:cubicBezTo>
                  <a:pt x="4077384" y="1581176"/>
                  <a:pt x="4079945" y="1581461"/>
                  <a:pt x="4081439" y="1583595"/>
                </a:cubicBezTo>
                <a:cubicBezTo>
                  <a:pt x="4082506" y="1586867"/>
                  <a:pt x="4079092" y="1591420"/>
                  <a:pt x="4077171" y="1592984"/>
                </a:cubicBezTo>
                <a:cubicBezTo>
                  <a:pt x="4074183" y="1593838"/>
                  <a:pt x="4071409" y="1590993"/>
                  <a:pt x="4070341" y="1587863"/>
                </a:cubicBezTo>
                <a:cubicBezTo>
                  <a:pt x="4069488" y="1586725"/>
                  <a:pt x="4069488" y="1585302"/>
                  <a:pt x="4069914" y="1584022"/>
                </a:cubicBezTo>
                <a:cubicBezTo>
                  <a:pt x="4070341" y="1582883"/>
                  <a:pt x="4071195" y="1581746"/>
                  <a:pt x="4072262" y="1580892"/>
                </a:cubicBezTo>
                <a:cubicBezTo>
                  <a:pt x="4073756" y="1580465"/>
                  <a:pt x="4073756" y="1580465"/>
                  <a:pt x="4075250" y="1580038"/>
                </a:cubicBezTo>
                <a:close/>
                <a:moveTo>
                  <a:pt x="1193023" y="1579965"/>
                </a:moveTo>
                <a:cubicBezTo>
                  <a:pt x="1194674" y="1581669"/>
                  <a:pt x="1196224" y="1583218"/>
                  <a:pt x="1194468" y="1584921"/>
                </a:cubicBezTo>
                <a:cubicBezTo>
                  <a:pt x="1193539" y="1585851"/>
                  <a:pt x="1192609" y="1586780"/>
                  <a:pt x="1190958" y="1586780"/>
                </a:cubicBezTo>
                <a:cubicBezTo>
                  <a:pt x="1189202" y="1585231"/>
                  <a:pt x="1190235" y="1582598"/>
                  <a:pt x="1189408" y="1581823"/>
                </a:cubicBezTo>
                <a:cubicBezTo>
                  <a:pt x="1190338" y="1581823"/>
                  <a:pt x="1191990" y="1581669"/>
                  <a:pt x="1193023" y="1579965"/>
                </a:cubicBezTo>
                <a:close/>
                <a:moveTo>
                  <a:pt x="4049853" y="1579611"/>
                </a:moveTo>
                <a:cubicBezTo>
                  <a:pt x="4055829" y="1585160"/>
                  <a:pt x="4060524" y="1591135"/>
                  <a:pt x="4070981" y="1595404"/>
                </a:cubicBezTo>
                <a:cubicBezTo>
                  <a:pt x="4069061" y="1598391"/>
                  <a:pt x="4072902" y="1599529"/>
                  <a:pt x="4069914" y="1602943"/>
                </a:cubicBezTo>
                <a:cubicBezTo>
                  <a:pt x="4060951" y="1605646"/>
                  <a:pt x="4043664" y="1591135"/>
                  <a:pt x="4049853" y="1579611"/>
                </a:cubicBezTo>
                <a:close/>
                <a:moveTo>
                  <a:pt x="3640087" y="1579327"/>
                </a:moveTo>
                <a:cubicBezTo>
                  <a:pt x="3641155" y="1578758"/>
                  <a:pt x="3644142" y="1579754"/>
                  <a:pt x="3645636" y="1580323"/>
                </a:cubicBezTo>
                <a:cubicBezTo>
                  <a:pt x="3646703" y="1579754"/>
                  <a:pt x="3648197" y="1580323"/>
                  <a:pt x="3648624" y="1581461"/>
                </a:cubicBezTo>
                <a:cubicBezTo>
                  <a:pt x="3648624" y="1581461"/>
                  <a:pt x="3650118" y="1581888"/>
                  <a:pt x="3651185" y="1581461"/>
                </a:cubicBezTo>
                <a:cubicBezTo>
                  <a:pt x="3654173" y="1582457"/>
                  <a:pt x="3654386" y="1583453"/>
                  <a:pt x="3654813" y="1584448"/>
                </a:cubicBezTo>
                <a:cubicBezTo>
                  <a:pt x="3654813" y="1584448"/>
                  <a:pt x="3653533" y="1584022"/>
                  <a:pt x="3652466" y="1584448"/>
                </a:cubicBezTo>
                <a:cubicBezTo>
                  <a:pt x="3652466" y="1584448"/>
                  <a:pt x="3650758" y="1584022"/>
                  <a:pt x="3649264" y="1583595"/>
                </a:cubicBezTo>
                <a:cubicBezTo>
                  <a:pt x="3649264" y="1583595"/>
                  <a:pt x="3648411" y="1584022"/>
                  <a:pt x="3647343" y="1584448"/>
                </a:cubicBezTo>
                <a:cubicBezTo>
                  <a:pt x="3643288" y="1584022"/>
                  <a:pt x="3640727" y="1584022"/>
                  <a:pt x="3640087" y="1579327"/>
                </a:cubicBezTo>
                <a:close/>
                <a:moveTo>
                  <a:pt x="1468304" y="1579190"/>
                </a:moveTo>
                <a:cubicBezTo>
                  <a:pt x="1465619" y="1588329"/>
                  <a:pt x="1459114" y="1585696"/>
                  <a:pt x="1457462" y="1590808"/>
                </a:cubicBezTo>
                <a:cubicBezTo>
                  <a:pt x="1456016" y="1589413"/>
                  <a:pt x="1456016" y="1589413"/>
                  <a:pt x="1456120" y="1587554"/>
                </a:cubicBezTo>
                <a:cubicBezTo>
                  <a:pt x="1456945" y="1587245"/>
                  <a:pt x="1456636" y="1586470"/>
                  <a:pt x="1457875" y="1586935"/>
                </a:cubicBezTo>
                <a:cubicBezTo>
                  <a:pt x="1458494" y="1583992"/>
                  <a:pt x="1464793" y="1579500"/>
                  <a:pt x="1468304" y="1579190"/>
                </a:cubicBezTo>
                <a:close/>
                <a:moveTo>
                  <a:pt x="958218" y="1579190"/>
                </a:moveTo>
                <a:cubicBezTo>
                  <a:pt x="960593" y="1577641"/>
                  <a:pt x="965859" y="1577796"/>
                  <a:pt x="965446" y="1581049"/>
                </a:cubicBezTo>
                <a:lnTo>
                  <a:pt x="964930" y="1581669"/>
                </a:lnTo>
                <a:lnTo>
                  <a:pt x="965239" y="1582133"/>
                </a:lnTo>
                <a:cubicBezTo>
                  <a:pt x="965239" y="1583063"/>
                  <a:pt x="965136" y="1584147"/>
                  <a:pt x="965136" y="1584921"/>
                </a:cubicBezTo>
                <a:cubicBezTo>
                  <a:pt x="966995" y="1585541"/>
                  <a:pt x="963588" y="1588484"/>
                  <a:pt x="965446" y="1589104"/>
                </a:cubicBezTo>
                <a:cubicBezTo>
                  <a:pt x="962142" y="1592821"/>
                  <a:pt x="966685" y="1596384"/>
                  <a:pt x="962658" y="1602734"/>
                </a:cubicBezTo>
                <a:cubicBezTo>
                  <a:pt x="961832" y="1600721"/>
                  <a:pt x="961522" y="1598862"/>
                  <a:pt x="961316" y="1597158"/>
                </a:cubicBezTo>
                <a:cubicBezTo>
                  <a:pt x="961109" y="1594525"/>
                  <a:pt x="961212" y="1592047"/>
                  <a:pt x="961316" y="1589878"/>
                </a:cubicBezTo>
                <a:lnTo>
                  <a:pt x="960696" y="1584302"/>
                </a:lnTo>
                <a:lnTo>
                  <a:pt x="959044" y="1583373"/>
                </a:lnTo>
                <a:cubicBezTo>
                  <a:pt x="958218" y="1582753"/>
                  <a:pt x="957701" y="1582288"/>
                  <a:pt x="957392" y="1581669"/>
                </a:cubicBezTo>
                <a:cubicBezTo>
                  <a:pt x="957082" y="1581204"/>
                  <a:pt x="957082" y="1580584"/>
                  <a:pt x="957289" y="1580274"/>
                </a:cubicBezTo>
                <a:cubicBezTo>
                  <a:pt x="957495" y="1579810"/>
                  <a:pt x="957805" y="1579500"/>
                  <a:pt x="958218" y="1579190"/>
                </a:cubicBezTo>
                <a:close/>
                <a:moveTo>
                  <a:pt x="4833317" y="1578758"/>
                </a:moveTo>
                <a:cubicBezTo>
                  <a:pt x="4837586" y="1579042"/>
                  <a:pt x="4842281" y="1581318"/>
                  <a:pt x="4844202" y="1585018"/>
                </a:cubicBezTo>
                <a:cubicBezTo>
                  <a:pt x="4837586" y="1590566"/>
                  <a:pt x="4831823" y="1592558"/>
                  <a:pt x="4824567" y="1585160"/>
                </a:cubicBezTo>
                <a:cubicBezTo>
                  <a:pt x="4824993" y="1580465"/>
                  <a:pt x="4829048" y="1578616"/>
                  <a:pt x="4833317" y="1578758"/>
                </a:cubicBezTo>
                <a:close/>
                <a:moveTo>
                  <a:pt x="988575" y="1578725"/>
                </a:moveTo>
                <a:cubicBezTo>
                  <a:pt x="991983" y="1577176"/>
                  <a:pt x="997559" y="1583218"/>
                  <a:pt x="1001586" y="1585851"/>
                </a:cubicBezTo>
                <a:cubicBezTo>
                  <a:pt x="1000863" y="1589413"/>
                  <a:pt x="1000243" y="1590497"/>
                  <a:pt x="997455" y="1592821"/>
                </a:cubicBezTo>
                <a:cubicBezTo>
                  <a:pt x="991776" y="1591272"/>
                  <a:pt x="988885" y="1587400"/>
                  <a:pt x="986097" y="1583527"/>
                </a:cubicBezTo>
                <a:cubicBezTo>
                  <a:pt x="986510" y="1580739"/>
                  <a:pt x="987439" y="1579345"/>
                  <a:pt x="988575" y="1578725"/>
                </a:cubicBezTo>
                <a:close/>
                <a:moveTo>
                  <a:pt x="1759280" y="1578416"/>
                </a:moveTo>
                <a:cubicBezTo>
                  <a:pt x="1759693" y="1580584"/>
                  <a:pt x="1759693" y="1582443"/>
                  <a:pt x="1759486" y="1584302"/>
                </a:cubicBezTo>
                <a:cubicBezTo>
                  <a:pt x="1759073" y="1589723"/>
                  <a:pt x="1756905" y="1593905"/>
                  <a:pt x="1757731" y="1597623"/>
                </a:cubicBezTo>
                <a:cubicBezTo>
                  <a:pt x="1757731" y="1597623"/>
                  <a:pt x="1757834" y="1597623"/>
                  <a:pt x="1755872" y="1599327"/>
                </a:cubicBezTo>
                <a:cubicBezTo>
                  <a:pt x="1755769" y="1600101"/>
                  <a:pt x="1755769" y="1600101"/>
                  <a:pt x="1755769" y="1600101"/>
                </a:cubicBezTo>
                <a:cubicBezTo>
                  <a:pt x="1755666" y="1600876"/>
                  <a:pt x="1753910" y="1600876"/>
                  <a:pt x="1753910" y="1600876"/>
                </a:cubicBezTo>
                <a:cubicBezTo>
                  <a:pt x="1753084" y="1600411"/>
                  <a:pt x="1752981" y="1599637"/>
                  <a:pt x="1753084" y="1598707"/>
                </a:cubicBezTo>
                <a:cubicBezTo>
                  <a:pt x="1753188" y="1597777"/>
                  <a:pt x="1753601" y="1596693"/>
                  <a:pt x="1753704" y="1595919"/>
                </a:cubicBezTo>
                <a:cubicBezTo>
                  <a:pt x="1752052" y="1594990"/>
                  <a:pt x="1755769" y="1592511"/>
                  <a:pt x="1754117" y="1591737"/>
                </a:cubicBezTo>
                <a:cubicBezTo>
                  <a:pt x="1758040" y="1588484"/>
                  <a:pt x="1754220" y="1584147"/>
                  <a:pt x="1759280" y="1578416"/>
                </a:cubicBezTo>
                <a:close/>
                <a:moveTo>
                  <a:pt x="1574451" y="1578261"/>
                </a:moveTo>
                <a:cubicBezTo>
                  <a:pt x="1577342" y="1579035"/>
                  <a:pt x="1578994" y="1580429"/>
                  <a:pt x="1579717" y="1582133"/>
                </a:cubicBezTo>
                <a:cubicBezTo>
                  <a:pt x="1581886" y="1587245"/>
                  <a:pt x="1575794" y="1594060"/>
                  <a:pt x="1569598" y="1588794"/>
                </a:cubicBezTo>
                <a:cubicBezTo>
                  <a:pt x="1568566" y="1585541"/>
                  <a:pt x="1572179" y="1579655"/>
                  <a:pt x="1574451" y="1578261"/>
                </a:cubicBezTo>
                <a:close/>
                <a:moveTo>
                  <a:pt x="4536877" y="1577762"/>
                </a:moveTo>
                <a:cubicBezTo>
                  <a:pt x="4544347" y="1592415"/>
                  <a:pt x="4564835" y="1587294"/>
                  <a:pt x="4567609" y="1601805"/>
                </a:cubicBezTo>
                <a:cubicBezTo>
                  <a:pt x="4556085" y="1600098"/>
                  <a:pt x="4544560" y="1600668"/>
                  <a:pt x="4532609" y="1588290"/>
                </a:cubicBezTo>
                <a:cubicBezTo>
                  <a:pt x="4533676" y="1584733"/>
                  <a:pt x="4531115" y="1578616"/>
                  <a:pt x="4536877" y="1577762"/>
                </a:cubicBezTo>
                <a:close/>
                <a:moveTo>
                  <a:pt x="1634649" y="1577641"/>
                </a:moveTo>
                <a:cubicBezTo>
                  <a:pt x="1634959" y="1577796"/>
                  <a:pt x="1635372" y="1578261"/>
                  <a:pt x="1635889" y="1578571"/>
                </a:cubicBezTo>
                <a:cubicBezTo>
                  <a:pt x="1635166" y="1578880"/>
                  <a:pt x="1635889" y="1578571"/>
                  <a:pt x="1634030" y="1578106"/>
                </a:cubicBezTo>
                <a:cubicBezTo>
                  <a:pt x="1634236" y="1577641"/>
                  <a:pt x="1634443" y="1577486"/>
                  <a:pt x="1634649" y="1577641"/>
                </a:cubicBezTo>
                <a:close/>
                <a:moveTo>
                  <a:pt x="5769376" y="1577619"/>
                </a:moveTo>
                <a:cubicBezTo>
                  <a:pt x="5770656" y="1579896"/>
                  <a:pt x="5772791" y="1581176"/>
                  <a:pt x="5774284" y="1583595"/>
                </a:cubicBezTo>
                <a:cubicBezTo>
                  <a:pt x="5774071" y="1587578"/>
                  <a:pt x="5767669" y="1592842"/>
                  <a:pt x="5763187" y="1591420"/>
                </a:cubicBezTo>
                <a:cubicBezTo>
                  <a:pt x="5761693" y="1590993"/>
                  <a:pt x="5760413" y="1589855"/>
                  <a:pt x="5759772" y="1587578"/>
                </a:cubicBezTo>
                <a:cubicBezTo>
                  <a:pt x="5757851" y="1581034"/>
                  <a:pt x="5762973" y="1578900"/>
                  <a:pt x="5769376" y="1577619"/>
                </a:cubicBezTo>
                <a:close/>
                <a:moveTo>
                  <a:pt x="4967558" y="1577335"/>
                </a:moveTo>
                <a:cubicBezTo>
                  <a:pt x="4969479" y="1577619"/>
                  <a:pt x="4971400" y="1578473"/>
                  <a:pt x="4972894" y="1580607"/>
                </a:cubicBezTo>
                <a:cubicBezTo>
                  <a:pt x="4976308" y="1583595"/>
                  <a:pt x="4975881" y="1588290"/>
                  <a:pt x="4979083" y="1592415"/>
                </a:cubicBezTo>
                <a:cubicBezTo>
                  <a:pt x="4975454" y="1596541"/>
                  <a:pt x="4974174" y="1597537"/>
                  <a:pt x="4968625" y="1594265"/>
                </a:cubicBezTo>
                <a:cubicBezTo>
                  <a:pt x="4968625" y="1594265"/>
                  <a:pt x="4967558" y="1592984"/>
                  <a:pt x="4967558" y="1592984"/>
                </a:cubicBezTo>
                <a:cubicBezTo>
                  <a:pt x="4963076" y="1588574"/>
                  <a:pt x="4961369" y="1581034"/>
                  <a:pt x="4962650" y="1578900"/>
                </a:cubicBezTo>
                <a:cubicBezTo>
                  <a:pt x="4963930" y="1577904"/>
                  <a:pt x="4965637" y="1577193"/>
                  <a:pt x="4967558" y="1577335"/>
                </a:cubicBezTo>
                <a:close/>
                <a:moveTo>
                  <a:pt x="3881678" y="1577051"/>
                </a:moveTo>
                <a:cubicBezTo>
                  <a:pt x="3881251" y="1578758"/>
                  <a:pt x="3879331" y="1582741"/>
                  <a:pt x="3875276" y="1582457"/>
                </a:cubicBezTo>
                <a:cubicBezTo>
                  <a:pt x="3871221" y="1582173"/>
                  <a:pt x="3868660" y="1585018"/>
                  <a:pt x="3864605" y="1584875"/>
                </a:cubicBezTo>
                <a:cubicBezTo>
                  <a:pt x="3864605" y="1584875"/>
                  <a:pt x="3864605" y="1584875"/>
                  <a:pt x="3865032" y="1583168"/>
                </a:cubicBezTo>
                <a:cubicBezTo>
                  <a:pt x="3871221" y="1582173"/>
                  <a:pt x="3875062" y="1577051"/>
                  <a:pt x="3881678" y="1577051"/>
                </a:cubicBezTo>
                <a:close/>
                <a:moveTo>
                  <a:pt x="1327359" y="1577021"/>
                </a:moveTo>
                <a:cubicBezTo>
                  <a:pt x="1328908" y="1579035"/>
                  <a:pt x="1330560" y="1580894"/>
                  <a:pt x="1332109" y="1582908"/>
                </a:cubicBezTo>
                <a:cubicBezTo>
                  <a:pt x="1331283" y="1583218"/>
                  <a:pt x="1330560" y="1583682"/>
                  <a:pt x="1329940" y="1584147"/>
                </a:cubicBezTo>
                <a:lnTo>
                  <a:pt x="1329734" y="1584457"/>
                </a:lnTo>
                <a:lnTo>
                  <a:pt x="1335206" y="1594215"/>
                </a:lnTo>
                <a:cubicBezTo>
                  <a:pt x="1327049" y="1596229"/>
                  <a:pt x="1320751" y="1585541"/>
                  <a:pt x="1318582" y="1578261"/>
                </a:cubicBezTo>
                <a:lnTo>
                  <a:pt x="1323745" y="1579810"/>
                </a:lnTo>
                <a:lnTo>
                  <a:pt x="1324365" y="1578725"/>
                </a:lnTo>
                <a:cubicBezTo>
                  <a:pt x="1324881" y="1578261"/>
                  <a:pt x="1325500" y="1577951"/>
                  <a:pt x="1327359" y="1577021"/>
                </a:cubicBezTo>
                <a:close/>
                <a:moveTo>
                  <a:pt x="5609952" y="1576197"/>
                </a:moveTo>
                <a:cubicBezTo>
                  <a:pt x="5609952" y="1576197"/>
                  <a:pt x="5610592" y="1577193"/>
                  <a:pt x="5610592" y="1577193"/>
                </a:cubicBezTo>
                <a:cubicBezTo>
                  <a:pt x="5611019" y="1576909"/>
                  <a:pt x="5611019" y="1576909"/>
                  <a:pt x="5611019" y="1577335"/>
                </a:cubicBezTo>
                <a:cubicBezTo>
                  <a:pt x="5610805" y="1577762"/>
                  <a:pt x="5610805" y="1578473"/>
                  <a:pt x="5611019" y="1579754"/>
                </a:cubicBezTo>
                <a:cubicBezTo>
                  <a:pt x="5610805" y="1581318"/>
                  <a:pt x="5611445" y="1582315"/>
                  <a:pt x="5609952" y="1581888"/>
                </a:cubicBezTo>
                <a:cubicBezTo>
                  <a:pt x="5608458" y="1581461"/>
                  <a:pt x="5608458" y="1581603"/>
                  <a:pt x="5606323" y="1578616"/>
                </a:cubicBezTo>
                <a:cubicBezTo>
                  <a:pt x="5608031" y="1578900"/>
                  <a:pt x="5608031" y="1578900"/>
                  <a:pt x="5608244" y="1577335"/>
                </a:cubicBezTo>
                <a:cubicBezTo>
                  <a:pt x="5608244" y="1577335"/>
                  <a:pt x="5608244" y="1577478"/>
                  <a:pt x="5607391" y="1576481"/>
                </a:cubicBezTo>
                <a:cubicBezTo>
                  <a:pt x="5608458" y="1575770"/>
                  <a:pt x="5609098" y="1576766"/>
                  <a:pt x="5609952" y="1576197"/>
                </a:cubicBezTo>
                <a:close/>
                <a:moveTo>
                  <a:pt x="1464999" y="1575937"/>
                </a:moveTo>
                <a:cubicBezTo>
                  <a:pt x="1465309" y="1576712"/>
                  <a:pt x="1465309" y="1576712"/>
                  <a:pt x="1465309" y="1576712"/>
                </a:cubicBezTo>
                <a:cubicBezTo>
                  <a:pt x="1462625" y="1576867"/>
                  <a:pt x="1460560" y="1579810"/>
                  <a:pt x="1457668" y="1581049"/>
                </a:cubicBezTo>
                <a:cubicBezTo>
                  <a:pt x="1456739" y="1581514"/>
                  <a:pt x="1455706" y="1581823"/>
                  <a:pt x="1454570" y="1581823"/>
                </a:cubicBezTo>
                <a:cubicBezTo>
                  <a:pt x="1454570" y="1581823"/>
                  <a:pt x="1454570" y="1581823"/>
                  <a:pt x="1455397" y="1581514"/>
                </a:cubicBezTo>
                <a:cubicBezTo>
                  <a:pt x="1455397" y="1581514"/>
                  <a:pt x="1454570" y="1581823"/>
                  <a:pt x="1454261" y="1581049"/>
                </a:cubicBezTo>
                <a:cubicBezTo>
                  <a:pt x="1455809" y="1579190"/>
                  <a:pt x="1458288" y="1577951"/>
                  <a:pt x="1460456" y="1577176"/>
                </a:cubicBezTo>
                <a:cubicBezTo>
                  <a:pt x="1462728" y="1576402"/>
                  <a:pt x="1464587" y="1576092"/>
                  <a:pt x="1464999" y="1575937"/>
                </a:cubicBezTo>
                <a:close/>
                <a:moveTo>
                  <a:pt x="1245064" y="1575627"/>
                </a:moveTo>
                <a:cubicBezTo>
                  <a:pt x="1250846" y="1575783"/>
                  <a:pt x="1257558" y="1574388"/>
                  <a:pt x="1263030" y="1576402"/>
                </a:cubicBezTo>
                <a:cubicBezTo>
                  <a:pt x="1258177" y="1580894"/>
                  <a:pt x="1246716" y="1583527"/>
                  <a:pt x="1245064" y="1575627"/>
                </a:cubicBezTo>
                <a:close/>
                <a:moveTo>
                  <a:pt x="4742187" y="1575486"/>
                </a:moveTo>
                <a:cubicBezTo>
                  <a:pt x="4740480" y="1577619"/>
                  <a:pt x="4733650" y="1584164"/>
                  <a:pt x="4731302" y="1583879"/>
                </a:cubicBezTo>
                <a:cubicBezTo>
                  <a:pt x="4733864" y="1580323"/>
                  <a:pt x="4740906" y="1574774"/>
                  <a:pt x="4742187" y="1575486"/>
                </a:cubicBezTo>
                <a:close/>
                <a:moveTo>
                  <a:pt x="4591299" y="1575486"/>
                </a:moveTo>
                <a:cubicBezTo>
                  <a:pt x="4594500" y="1574632"/>
                  <a:pt x="4599836" y="1578046"/>
                  <a:pt x="4607519" y="1589428"/>
                </a:cubicBezTo>
                <a:lnTo>
                  <a:pt x="4602610" y="1595688"/>
                </a:lnTo>
                <a:lnTo>
                  <a:pt x="4603464" y="1596114"/>
                </a:lnTo>
                <a:cubicBezTo>
                  <a:pt x="4602183" y="1598960"/>
                  <a:pt x="4600476" y="1600668"/>
                  <a:pt x="4598555" y="1601521"/>
                </a:cubicBezTo>
                <a:cubicBezTo>
                  <a:pt x="4596634" y="1602374"/>
                  <a:pt x="4594714" y="1602374"/>
                  <a:pt x="4592793" y="1601805"/>
                </a:cubicBezTo>
                <a:lnTo>
                  <a:pt x="4593006" y="1597964"/>
                </a:lnTo>
                <a:lnTo>
                  <a:pt x="4592366" y="1597822"/>
                </a:lnTo>
                <a:cubicBezTo>
                  <a:pt x="4586604" y="1592842"/>
                  <a:pt x="4585323" y="1576909"/>
                  <a:pt x="4591299" y="1575486"/>
                </a:cubicBezTo>
                <a:close/>
                <a:moveTo>
                  <a:pt x="1140156" y="1574853"/>
                </a:moveTo>
                <a:cubicBezTo>
                  <a:pt x="1140156" y="1574853"/>
                  <a:pt x="1140981" y="1575318"/>
                  <a:pt x="1140981" y="1575318"/>
                </a:cubicBezTo>
                <a:cubicBezTo>
                  <a:pt x="1141188" y="1575008"/>
                  <a:pt x="1141188" y="1575008"/>
                  <a:pt x="1141188" y="1575318"/>
                </a:cubicBezTo>
                <a:cubicBezTo>
                  <a:pt x="1141291" y="1575473"/>
                  <a:pt x="1141498" y="1576092"/>
                  <a:pt x="1142014" y="1576867"/>
                </a:cubicBezTo>
                <a:cubicBezTo>
                  <a:pt x="1142324" y="1577951"/>
                  <a:pt x="1143047" y="1578416"/>
                  <a:pt x="1141911" y="1578725"/>
                </a:cubicBezTo>
                <a:cubicBezTo>
                  <a:pt x="1140775" y="1578880"/>
                  <a:pt x="1140775" y="1578880"/>
                  <a:pt x="1138606" y="1577486"/>
                </a:cubicBezTo>
                <a:cubicBezTo>
                  <a:pt x="1139742" y="1577331"/>
                  <a:pt x="1139742" y="1577331"/>
                  <a:pt x="1139433" y="1576092"/>
                </a:cubicBezTo>
                <a:cubicBezTo>
                  <a:pt x="1139433" y="1576092"/>
                  <a:pt x="1139329" y="1576092"/>
                  <a:pt x="1138606" y="1575627"/>
                </a:cubicBezTo>
                <a:cubicBezTo>
                  <a:pt x="1139020" y="1575008"/>
                  <a:pt x="1139742" y="1575473"/>
                  <a:pt x="1140156" y="1574853"/>
                </a:cubicBezTo>
                <a:close/>
                <a:moveTo>
                  <a:pt x="4579134" y="1574489"/>
                </a:moveTo>
                <a:cubicBezTo>
                  <a:pt x="4579134" y="1574489"/>
                  <a:pt x="4580415" y="1574632"/>
                  <a:pt x="4582548" y="1577335"/>
                </a:cubicBezTo>
                <a:cubicBezTo>
                  <a:pt x="4581482" y="1577193"/>
                  <a:pt x="4581268" y="1578331"/>
                  <a:pt x="4581268" y="1578331"/>
                </a:cubicBezTo>
                <a:cubicBezTo>
                  <a:pt x="4581268" y="1578331"/>
                  <a:pt x="4581268" y="1578331"/>
                  <a:pt x="4582548" y="1578473"/>
                </a:cubicBezTo>
                <a:cubicBezTo>
                  <a:pt x="4581908" y="1579042"/>
                  <a:pt x="4581268" y="1578900"/>
                  <a:pt x="4580841" y="1578758"/>
                </a:cubicBezTo>
                <a:cubicBezTo>
                  <a:pt x="4580415" y="1578473"/>
                  <a:pt x="4580201" y="1578189"/>
                  <a:pt x="4580201" y="1578189"/>
                </a:cubicBezTo>
                <a:cubicBezTo>
                  <a:pt x="4579134" y="1576909"/>
                  <a:pt x="4577853" y="1575486"/>
                  <a:pt x="4579134" y="1574489"/>
                </a:cubicBezTo>
                <a:close/>
                <a:moveTo>
                  <a:pt x="6020358" y="1573779"/>
                </a:moveTo>
                <a:cubicBezTo>
                  <a:pt x="6022279" y="1575059"/>
                  <a:pt x="6023346" y="1575628"/>
                  <a:pt x="6024413" y="1577904"/>
                </a:cubicBezTo>
                <a:cubicBezTo>
                  <a:pt x="6025907" y="1590566"/>
                  <a:pt x="6019504" y="1593981"/>
                  <a:pt x="6019931" y="1595546"/>
                </a:cubicBezTo>
                <a:cubicBezTo>
                  <a:pt x="6015022" y="1596968"/>
                  <a:pt x="6014382" y="1593554"/>
                  <a:pt x="6011821" y="1589001"/>
                </a:cubicBezTo>
                <a:cubicBezTo>
                  <a:pt x="6013528" y="1588574"/>
                  <a:pt x="6012675" y="1583737"/>
                  <a:pt x="6012461" y="1582030"/>
                </a:cubicBezTo>
                <a:cubicBezTo>
                  <a:pt x="6015663" y="1581176"/>
                  <a:pt x="6015449" y="1575201"/>
                  <a:pt x="6020358" y="1573779"/>
                </a:cubicBezTo>
                <a:close/>
                <a:moveTo>
                  <a:pt x="4909721" y="1573779"/>
                </a:moveTo>
                <a:lnTo>
                  <a:pt x="4904386" y="1585160"/>
                </a:lnTo>
                <a:lnTo>
                  <a:pt x="4906520" y="1586867"/>
                </a:lnTo>
                <a:cubicBezTo>
                  <a:pt x="4907587" y="1588147"/>
                  <a:pt x="4908654" y="1590993"/>
                  <a:pt x="4908868" y="1593981"/>
                </a:cubicBezTo>
                <a:cubicBezTo>
                  <a:pt x="4909295" y="1596826"/>
                  <a:pt x="4909081" y="1599813"/>
                  <a:pt x="4907800" y="1601521"/>
                </a:cubicBezTo>
                <a:cubicBezTo>
                  <a:pt x="4905666" y="1599956"/>
                  <a:pt x="4903532" y="1598391"/>
                  <a:pt x="4901398" y="1596826"/>
                </a:cubicBezTo>
                <a:cubicBezTo>
                  <a:pt x="4902038" y="1596968"/>
                  <a:pt x="4901825" y="1594265"/>
                  <a:pt x="4901612" y="1591420"/>
                </a:cubicBezTo>
                <a:lnTo>
                  <a:pt x="4899050" y="1596968"/>
                </a:lnTo>
                <a:cubicBezTo>
                  <a:pt x="4894995" y="1603655"/>
                  <a:pt x="4889660" y="1606500"/>
                  <a:pt x="4880696" y="1597822"/>
                </a:cubicBezTo>
                <a:cubicBezTo>
                  <a:pt x="4893288" y="1591704"/>
                  <a:pt x="4898410" y="1574063"/>
                  <a:pt x="4909721" y="1573779"/>
                </a:cubicBezTo>
                <a:close/>
                <a:moveTo>
                  <a:pt x="5384580" y="1573494"/>
                </a:moveTo>
                <a:cubicBezTo>
                  <a:pt x="5385647" y="1573921"/>
                  <a:pt x="5386288" y="1574774"/>
                  <a:pt x="5386501" y="1576055"/>
                </a:cubicBezTo>
                <a:cubicBezTo>
                  <a:pt x="5387141" y="1579754"/>
                  <a:pt x="5384153" y="1585587"/>
                  <a:pt x="5382233" y="1586156"/>
                </a:cubicBezTo>
                <a:cubicBezTo>
                  <a:pt x="5380098" y="1585160"/>
                  <a:pt x="5379031" y="1572356"/>
                  <a:pt x="5384580" y="1573494"/>
                </a:cubicBezTo>
                <a:close/>
                <a:moveTo>
                  <a:pt x="5179270" y="1573352"/>
                </a:moveTo>
                <a:cubicBezTo>
                  <a:pt x="5179910" y="1577619"/>
                  <a:pt x="5170947" y="1582883"/>
                  <a:pt x="5166465" y="1584306"/>
                </a:cubicBezTo>
                <a:cubicBezTo>
                  <a:pt x="5166252" y="1583168"/>
                  <a:pt x="5166679" y="1582030"/>
                  <a:pt x="5167532" y="1580892"/>
                </a:cubicBezTo>
                <a:cubicBezTo>
                  <a:pt x="5170094" y="1577619"/>
                  <a:pt x="5175856" y="1574347"/>
                  <a:pt x="5179270" y="1573352"/>
                </a:cubicBezTo>
                <a:close/>
                <a:moveTo>
                  <a:pt x="1471918" y="1573304"/>
                </a:moveTo>
                <a:cubicBezTo>
                  <a:pt x="1472228" y="1573149"/>
                  <a:pt x="1472640" y="1573149"/>
                  <a:pt x="1473157" y="1573459"/>
                </a:cubicBezTo>
                <a:cubicBezTo>
                  <a:pt x="1472743" y="1574543"/>
                  <a:pt x="1471401" y="1575783"/>
                  <a:pt x="1470885" y="1576867"/>
                </a:cubicBezTo>
                <a:cubicBezTo>
                  <a:pt x="1470885" y="1576867"/>
                  <a:pt x="1470885" y="1576867"/>
                  <a:pt x="1469749" y="1576247"/>
                </a:cubicBezTo>
                <a:cubicBezTo>
                  <a:pt x="1470988" y="1575937"/>
                  <a:pt x="1471092" y="1573769"/>
                  <a:pt x="1471918" y="1573304"/>
                </a:cubicBezTo>
                <a:close/>
                <a:moveTo>
                  <a:pt x="4997437" y="1572640"/>
                </a:moveTo>
                <a:cubicBezTo>
                  <a:pt x="4998077" y="1579611"/>
                  <a:pt x="4993168" y="1587436"/>
                  <a:pt x="4992741" y="1588432"/>
                </a:cubicBezTo>
                <a:cubicBezTo>
                  <a:pt x="4991675" y="1587863"/>
                  <a:pt x="4991675" y="1588005"/>
                  <a:pt x="4991675" y="1588005"/>
                </a:cubicBezTo>
                <a:cubicBezTo>
                  <a:pt x="4994022" y="1585302"/>
                  <a:pt x="4992955" y="1580038"/>
                  <a:pt x="4994235" y="1575770"/>
                </a:cubicBezTo>
                <a:lnTo>
                  <a:pt x="4995953" y="1573064"/>
                </a:lnTo>
                <a:close/>
                <a:moveTo>
                  <a:pt x="4996583" y="1572071"/>
                </a:moveTo>
                <a:lnTo>
                  <a:pt x="4995953" y="1573064"/>
                </a:lnTo>
                <a:lnTo>
                  <a:pt x="4995943" y="1573067"/>
                </a:lnTo>
                <a:cubicBezTo>
                  <a:pt x="4996370" y="1572071"/>
                  <a:pt x="4996583" y="1572071"/>
                  <a:pt x="4996583" y="1572071"/>
                </a:cubicBezTo>
                <a:close/>
                <a:moveTo>
                  <a:pt x="4754992" y="1571929"/>
                </a:moveTo>
                <a:cubicBezTo>
                  <a:pt x="4756913" y="1571360"/>
                  <a:pt x="4758834" y="1571502"/>
                  <a:pt x="4760754" y="1572356"/>
                </a:cubicBezTo>
                <a:cubicBezTo>
                  <a:pt x="4763315" y="1573636"/>
                  <a:pt x="4765663" y="1576481"/>
                  <a:pt x="4766730" y="1581176"/>
                </a:cubicBezTo>
                <a:cubicBezTo>
                  <a:pt x="4763529" y="1585729"/>
                  <a:pt x="4760114" y="1585729"/>
                  <a:pt x="4756699" y="1587863"/>
                </a:cubicBezTo>
                <a:cubicBezTo>
                  <a:pt x="4746455" y="1580750"/>
                  <a:pt x="4749656" y="1573494"/>
                  <a:pt x="4754992" y="1571929"/>
                </a:cubicBezTo>
                <a:close/>
                <a:moveTo>
                  <a:pt x="1232157" y="1571910"/>
                </a:moveTo>
                <a:cubicBezTo>
                  <a:pt x="1232466" y="1572065"/>
                  <a:pt x="1232983" y="1572220"/>
                  <a:pt x="1233912" y="1572220"/>
                </a:cubicBezTo>
                <a:cubicBezTo>
                  <a:pt x="1235048" y="1572685"/>
                  <a:pt x="1235771" y="1572375"/>
                  <a:pt x="1235461" y="1573459"/>
                </a:cubicBezTo>
                <a:cubicBezTo>
                  <a:pt x="1235048" y="1574543"/>
                  <a:pt x="1234945" y="1574543"/>
                  <a:pt x="1232673" y="1575318"/>
                </a:cubicBezTo>
                <a:cubicBezTo>
                  <a:pt x="1233086" y="1574388"/>
                  <a:pt x="1233086" y="1574388"/>
                  <a:pt x="1232054" y="1573924"/>
                </a:cubicBezTo>
                <a:cubicBezTo>
                  <a:pt x="1232054" y="1573924"/>
                  <a:pt x="1231950" y="1573924"/>
                  <a:pt x="1231227" y="1574233"/>
                </a:cubicBezTo>
                <a:cubicBezTo>
                  <a:pt x="1230918" y="1573459"/>
                  <a:pt x="1231640" y="1573149"/>
                  <a:pt x="1231331" y="1572375"/>
                </a:cubicBezTo>
                <a:cubicBezTo>
                  <a:pt x="1231331" y="1572375"/>
                  <a:pt x="1232054" y="1572220"/>
                  <a:pt x="1232054" y="1572220"/>
                </a:cubicBezTo>
                <a:cubicBezTo>
                  <a:pt x="1231847" y="1571755"/>
                  <a:pt x="1231847" y="1571755"/>
                  <a:pt x="1232157" y="1571910"/>
                </a:cubicBezTo>
                <a:close/>
                <a:moveTo>
                  <a:pt x="5724558" y="1571644"/>
                </a:moveTo>
                <a:cubicBezTo>
                  <a:pt x="5726692" y="1571360"/>
                  <a:pt x="5728613" y="1571644"/>
                  <a:pt x="5730534" y="1572925"/>
                </a:cubicBezTo>
                <a:cubicBezTo>
                  <a:pt x="5735443" y="1581461"/>
                  <a:pt x="5724131" y="1589143"/>
                  <a:pt x="5717088" y="1586440"/>
                </a:cubicBezTo>
                <a:cubicBezTo>
                  <a:pt x="5713460" y="1580038"/>
                  <a:pt x="5718796" y="1572782"/>
                  <a:pt x="5724558" y="1571644"/>
                </a:cubicBezTo>
                <a:close/>
                <a:moveTo>
                  <a:pt x="1089754" y="1571619"/>
                </a:moveTo>
                <a:cubicBezTo>
                  <a:pt x="1093923" y="1570709"/>
                  <a:pt x="1098027" y="1570748"/>
                  <a:pt x="1099369" y="1571755"/>
                </a:cubicBezTo>
                <a:cubicBezTo>
                  <a:pt x="1096994" y="1574698"/>
                  <a:pt x="1093484" y="1574388"/>
                  <a:pt x="1090179" y="1577331"/>
                </a:cubicBezTo>
                <a:cubicBezTo>
                  <a:pt x="1087495" y="1575937"/>
                  <a:pt x="1083364" y="1579190"/>
                  <a:pt x="1079751" y="1577176"/>
                </a:cubicBezTo>
                <a:cubicBezTo>
                  <a:pt x="1081351" y="1574388"/>
                  <a:pt x="1085585" y="1572529"/>
                  <a:pt x="1089754" y="1571619"/>
                </a:cubicBezTo>
                <a:close/>
                <a:moveTo>
                  <a:pt x="857233" y="1571445"/>
                </a:moveTo>
                <a:cubicBezTo>
                  <a:pt x="857853" y="1571291"/>
                  <a:pt x="858472" y="1571291"/>
                  <a:pt x="859298" y="1571755"/>
                </a:cubicBezTo>
                <a:cubicBezTo>
                  <a:pt x="856614" y="1578261"/>
                  <a:pt x="856511" y="1581669"/>
                  <a:pt x="853826" y="1586470"/>
                </a:cubicBezTo>
                <a:cubicBezTo>
                  <a:pt x="852896" y="1586316"/>
                  <a:pt x="852896" y="1585541"/>
                  <a:pt x="852071" y="1585386"/>
                </a:cubicBezTo>
                <a:cubicBezTo>
                  <a:pt x="851658" y="1584921"/>
                  <a:pt x="851451" y="1584147"/>
                  <a:pt x="851451" y="1583063"/>
                </a:cubicBezTo>
                <a:cubicBezTo>
                  <a:pt x="851554" y="1579965"/>
                  <a:pt x="853310" y="1575318"/>
                  <a:pt x="854032" y="1575473"/>
                </a:cubicBezTo>
                <a:cubicBezTo>
                  <a:pt x="854032" y="1574543"/>
                  <a:pt x="854858" y="1574698"/>
                  <a:pt x="854858" y="1573924"/>
                </a:cubicBezTo>
                <a:cubicBezTo>
                  <a:pt x="854858" y="1573924"/>
                  <a:pt x="854858" y="1572995"/>
                  <a:pt x="855788" y="1572220"/>
                </a:cubicBezTo>
                <a:cubicBezTo>
                  <a:pt x="856201" y="1571910"/>
                  <a:pt x="856717" y="1571600"/>
                  <a:pt x="857233" y="1571445"/>
                </a:cubicBezTo>
                <a:close/>
                <a:moveTo>
                  <a:pt x="3569232" y="1571217"/>
                </a:moveTo>
                <a:cubicBezTo>
                  <a:pt x="3574994" y="1573209"/>
                  <a:pt x="3583104" y="1573352"/>
                  <a:pt x="3587373" y="1577619"/>
                </a:cubicBezTo>
                <a:cubicBezTo>
                  <a:pt x="3585025" y="1577193"/>
                  <a:pt x="3572646" y="1574063"/>
                  <a:pt x="3569232" y="1571217"/>
                </a:cubicBezTo>
                <a:close/>
                <a:moveTo>
                  <a:pt x="5319700" y="1570791"/>
                </a:moveTo>
                <a:cubicBezTo>
                  <a:pt x="5321195" y="1570364"/>
                  <a:pt x="5323329" y="1571075"/>
                  <a:pt x="5324183" y="1572498"/>
                </a:cubicBezTo>
                <a:cubicBezTo>
                  <a:pt x="5324823" y="1573494"/>
                  <a:pt x="5325036" y="1574774"/>
                  <a:pt x="5324183" y="1576197"/>
                </a:cubicBezTo>
                <a:cubicBezTo>
                  <a:pt x="5322475" y="1576197"/>
                  <a:pt x="5319914" y="1576909"/>
                  <a:pt x="5317780" y="1576055"/>
                </a:cubicBezTo>
                <a:cubicBezTo>
                  <a:pt x="5316926" y="1572782"/>
                  <a:pt x="5317993" y="1571217"/>
                  <a:pt x="5319700" y="1570791"/>
                </a:cubicBezTo>
                <a:close/>
                <a:moveTo>
                  <a:pt x="1441457" y="1570361"/>
                </a:moveTo>
                <a:cubicBezTo>
                  <a:pt x="1441767" y="1571445"/>
                  <a:pt x="1442076" y="1572530"/>
                  <a:pt x="1442283" y="1573769"/>
                </a:cubicBezTo>
                <a:cubicBezTo>
                  <a:pt x="1439598" y="1574698"/>
                  <a:pt x="1437637" y="1576247"/>
                  <a:pt x="1435881" y="1577641"/>
                </a:cubicBezTo>
                <a:lnTo>
                  <a:pt x="1431544" y="1580429"/>
                </a:lnTo>
                <a:lnTo>
                  <a:pt x="1432061" y="1580274"/>
                </a:lnTo>
                <a:cubicBezTo>
                  <a:pt x="1435055" y="1582443"/>
                  <a:pt x="1436191" y="1584921"/>
                  <a:pt x="1435985" y="1589568"/>
                </a:cubicBezTo>
                <a:cubicBezTo>
                  <a:pt x="1432784" y="1592047"/>
                  <a:pt x="1424833" y="1590652"/>
                  <a:pt x="1425142" y="1584921"/>
                </a:cubicBezTo>
                <a:cubicBezTo>
                  <a:pt x="1425762" y="1583837"/>
                  <a:pt x="1426382" y="1582598"/>
                  <a:pt x="1427414" y="1581823"/>
                </a:cubicBezTo>
                <a:lnTo>
                  <a:pt x="1430615" y="1580739"/>
                </a:lnTo>
                <a:lnTo>
                  <a:pt x="1433403" y="1573614"/>
                </a:lnTo>
                <a:cubicBezTo>
                  <a:pt x="1435055" y="1571291"/>
                  <a:pt x="1437533" y="1569586"/>
                  <a:pt x="1441457" y="1570361"/>
                </a:cubicBezTo>
                <a:close/>
                <a:moveTo>
                  <a:pt x="4971186" y="1569795"/>
                </a:moveTo>
                <a:cubicBezTo>
                  <a:pt x="4972894" y="1570080"/>
                  <a:pt x="4973961" y="1572214"/>
                  <a:pt x="4975454" y="1572640"/>
                </a:cubicBezTo>
                <a:cubicBezTo>
                  <a:pt x="4974387" y="1573209"/>
                  <a:pt x="4973961" y="1574917"/>
                  <a:pt x="4972894" y="1575628"/>
                </a:cubicBezTo>
                <a:cubicBezTo>
                  <a:pt x="4969692" y="1574774"/>
                  <a:pt x="4970119" y="1570364"/>
                  <a:pt x="4971186" y="1569795"/>
                </a:cubicBezTo>
                <a:close/>
                <a:moveTo>
                  <a:pt x="1662322" y="1569586"/>
                </a:moveTo>
                <a:cubicBezTo>
                  <a:pt x="1666556" y="1570981"/>
                  <a:pt x="1667175" y="1568038"/>
                  <a:pt x="1673680" y="1570516"/>
                </a:cubicBezTo>
                <a:cubicBezTo>
                  <a:pt x="1682147" y="1573304"/>
                  <a:pt x="1682870" y="1579500"/>
                  <a:pt x="1681734" y="1583373"/>
                </a:cubicBezTo>
                <a:cubicBezTo>
                  <a:pt x="1680908" y="1582908"/>
                  <a:pt x="1679256" y="1588329"/>
                  <a:pt x="1674506" y="1589568"/>
                </a:cubicBezTo>
                <a:cubicBezTo>
                  <a:pt x="1672854" y="1590033"/>
                  <a:pt x="1670996" y="1590033"/>
                  <a:pt x="1668517" y="1589258"/>
                </a:cubicBezTo>
                <a:lnTo>
                  <a:pt x="1666039" y="1587554"/>
                </a:lnTo>
                <a:lnTo>
                  <a:pt x="1668827" y="1593751"/>
                </a:lnTo>
                <a:cubicBezTo>
                  <a:pt x="1670066" y="1599172"/>
                  <a:pt x="1669757" y="1605522"/>
                  <a:pt x="1668827" y="1608465"/>
                </a:cubicBezTo>
                <a:lnTo>
                  <a:pt x="1663251" y="1598397"/>
                </a:lnTo>
                <a:lnTo>
                  <a:pt x="1661806" y="1599172"/>
                </a:lnTo>
                <a:cubicBezTo>
                  <a:pt x="1657572" y="1597777"/>
                  <a:pt x="1655920" y="1596384"/>
                  <a:pt x="1655404" y="1594990"/>
                </a:cubicBezTo>
                <a:cubicBezTo>
                  <a:pt x="1654991" y="1593596"/>
                  <a:pt x="1655714" y="1592047"/>
                  <a:pt x="1656230" y="1590033"/>
                </a:cubicBezTo>
                <a:cubicBezTo>
                  <a:pt x="1657159" y="1590188"/>
                  <a:pt x="1658192" y="1589878"/>
                  <a:pt x="1659225" y="1589723"/>
                </a:cubicBezTo>
                <a:lnTo>
                  <a:pt x="1660257" y="1589723"/>
                </a:lnTo>
                <a:lnTo>
                  <a:pt x="1659844" y="1584457"/>
                </a:lnTo>
                <a:lnTo>
                  <a:pt x="1661598" y="1584595"/>
                </a:lnTo>
                <a:lnTo>
                  <a:pt x="1661599" y="1584612"/>
                </a:lnTo>
                <a:lnTo>
                  <a:pt x="1661806" y="1584612"/>
                </a:lnTo>
                <a:lnTo>
                  <a:pt x="1661598" y="1584595"/>
                </a:lnTo>
                <a:lnTo>
                  <a:pt x="1661083" y="1575318"/>
                </a:lnTo>
                <a:cubicBezTo>
                  <a:pt x="1661186" y="1573459"/>
                  <a:pt x="1661599" y="1574233"/>
                  <a:pt x="1662012" y="1573304"/>
                </a:cubicBezTo>
                <a:cubicBezTo>
                  <a:pt x="1662529" y="1572220"/>
                  <a:pt x="1662735" y="1570361"/>
                  <a:pt x="1662322" y="1569586"/>
                </a:cubicBezTo>
                <a:close/>
                <a:moveTo>
                  <a:pt x="1027193" y="1569432"/>
                </a:moveTo>
                <a:cubicBezTo>
                  <a:pt x="1030601" y="1570826"/>
                  <a:pt x="1028742" y="1573459"/>
                  <a:pt x="1026987" y="1576092"/>
                </a:cubicBezTo>
                <a:cubicBezTo>
                  <a:pt x="1025335" y="1575318"/>
                  <a:pt x="1023476" y="1576247"/>
                  <a:pt x="1021927" y="1573769"/>
                </a:cubicBezTo>
                <a:cubicBezTo>
                  <a:pt x="1023683" y="1572065"/>
                  <a:pt x="1025438" y="1571136"/>
                  <a:pt x="1027193" y="1569432"/>
                </a:cubicBezTo>
                <a:close/>
                <a:moveTo>
                  <a:pt x="3566670" y="1569368"/>
                </a:moveTo>
                <a:cubicBezTo>
                  <a:pt x="3567951" y="1570648"/>
                  <a:pt x="3567951" y="1570648"/>
                  <a:pt x="3569232" y="1570933"/>
                </a:cubicBezTo>
                <a:cubicBezTo>
                  <a:pt x="3569232" y="1570933"/>
                  <a:pt x="3567951" y="1571787"/>
                  <a:pt x="3567951" y="1571787"/>
                </a:cubicBezTo>
                <a:cubicBezTo>
                  <a:pt x="3566670" y="1570506"/>
                  <a:pt x="3566670" y="1571502"/>
                  <a:pt x="3566670" y="1569368"/>
                </a:cubicBezTo>
                <a:close/>
                <a:moveTo>
                  <a:pt x="4062658" y="1569083"/>
                </a:moveTo>
                <a:cubicBezTo>
                  <a:pt x="4064152" y="1568515"/>
                  <a:pt x="4065859" y="1568657"/>
                  <a:pt x="4068207" y="1569368"/>
                </a:cubicBezTo>
                <a:cubicBezTo>
                  <a:pt x="4066926" y="1573067"/>
                  <a:pt x="4064366" y="1573352"/>
                  <a:pt x="4059457" y="1573779"/>
                </a:cubicBezTo>
                <a:cubicBezTo>
                  <a:pt x="4060310" y="1571075"/>
                  <a:pt x="4061378" y="1569652"/>
                  <a:pt x="4062658" y="1569083"/>
                </a:cubicBezTo>
                <a:close/>
                <a:moveTo>
                  <a:pt x="5159209" y="1568799"/>
                </a:moveTo>
                <a:cubicBezTo>
                  <a:pt x="5159423" y="1570364"/>
                  <a:pt x="5159423" y="1570364"/>
                  <a:pt x="5161130" y="1569937"/>
                </a:cubicBezTo>
                <a:cubicBezTo>
                  <a:pt x="5161130" y="1569937"/>
                  <a:pt x="5161130" y="1569795"/>
                  <a:pt x="5161770" y="1568799"/>
                </a:cubicBezTo>
                <a:cubicBezTo>
                  <a:pt x="5162624" y="1569368"/>
                  <a:pt x="5161983" y="1570364"/>
                  <a:pt x="5162837" y="1570933"/>
                </a:cubicBezTo>
                <a:cubicBezTo>
                  <a:pt x="5162837" y="1570933"/>
                  <a:pt x="5162197" y="1572071"/>
                  <a:pt x="5162197" y="1572071"/>
                </a:cubicBezTo>
                <a:cubicBezTo>
                  <a:pt x="5162624" y="1572356"/>
                  <a:pt x="5162624" y="1572356"/>
                  <a:pt x="5162197" y="1572356"/>
                </a:cubicBezTo>
                <a:cubicBezTo>
                  <a:pt x="5161983" y="1572498"/>
                  <a:pt x="5161130" y="1572782"/>
                  <a:pt x="5160063" y="1573494"/>
                </a:cubicBezTo>
                <a:cubicBezTo>
                  <a:pt x="5158568" y="1573921"/>
                  <a:pt x="5157928" y="1574917"/>
                  <a:pt x="5157502" y="1573352"/>
                </a:cubicBezTo>
                <a:cubicBezTo>
                  <a:pt x="5157288" y="1571787"/>
                  <a:pt x="5157288" y="1571787"/>
                  <a:pt x="5159209" y="1568799"/>
                </a:cubicBezTo>
                <a:close/>
                <a:moveTo>
                  <a:pt x="3560908" y="1568515"/>
                </a:moveTo>
                <a:cubicBezTo>
                  <a:pt x="3562189" y="1568657"/>
                  <a:pt x="3563470" y="1568799"/>
                  <a:pt x="3563470" y="1569937"/>
                </a:cubicBezTo>
                <a:cubicBezTo>
                  <a:pt x="3563256" y="1570933"/>
                  <a:pt x="3561975" y="1570791"/>
                  <a:pt x="3560908" y="1569510"/>
                </a:cubicBezTo>
                <a:cubicBezTo>
                  <a:pt x="3560908" y="1569510"/>
                  <a:pt x="3560908" y="1568515"/>
                  <a:pt x="3560908" y="1568515"/>
                </a:cubicBezTo>
                <a:close/>
                <a:moveTo>
                  <a:pt x="1521791" y="1568502"/>
                </a:moveTo>
                <a:lnTo>
                  <a:pt x="1520241" y="1568657"/>
                </a:lnTo>
                <a:lnTo>
                  <a:pt x="1521171" y="1570826"/>
                </a:lnTo>
                <a:lnTo>
                  <a:pt x="1520965" y="1571291"/>
                </a:lnTo>
                <a:lnTo>
                  <a:pt x="1521068" y="1571600"/>
                </a:lnTo>
                <a:lnTo>
                  <a:pt x="1520965" y="1571755"/>
                </a:lnTo>
                <a:lnTo>
                  <a:pt x="1521068" y="1571755"/>
                </a:lnTo>
                <a:lnTo>
                  <a:pt x="1521068" y="1571600"/>
                </a:lnTo>
                <a:lnTo>
                  <a:pt x="1521274" y="1571136"/>
                </a:lnTo>
                <a:lnTo>
                  <a:pt x="1521171" y="1570826"/>
                </a:lnTo>
                <a:close/>
                <a:moveTo>
                  <a:pt x="5481686" y="1567945"/>
                </a:moveTo>
                <a:cubicBezTo>
                  <a:pt x="5483393" y="1569795"/>
                  <a:pt x="5484460" y="1571929"/>
                  <a:pt x="5484888" y="1574489"/>
                </a:cubicBezTo>
                <a:cubicBezTo>
                  <a:pt x="5485315" y="1578189"/>
                  <a:pt x="5484247" y="1582457"/>
                  <a:pt x="5482540" y="1586440"/>
                </a:cubicBezTo>
                <a:lnTo>
                  <a:pt x="5481260" y="1588432"/>
                </a:lnTo>
                <a:lnTo>
                  <a:pt x="5480832" y="1589428"/>
                </a:lnTo>
                <a:lnTo>
                  <a:pt x="5479552" y="1590566"/>
                </a:lnTo>
                <a:lnTo>
                  <a:pt x="5476137" y="1595830"/>
                </a:lnTo>
                <a:cubicBezTo>
                  <a:pt x="5470589" y="1596257"/>
                  <a:pt x="5467174" y="1594692"/>
                  <a:pt x="5465253" y="1591989"/>
                </a:cubicBezTo>
                <a:cubicBezTo>
                  <a:pt x="5459918" y="1584022"/>
                  <a:pt x="5468881" y="1566807"/>
                  <a:pt x="5481686" y="1567945"/>
                </a:cubicBezTo>
                <a:close/>
                <a:moveTo>
                  <a:pt x="1303713" y="1567728"/>
                </a:moveTo>
                <a:cubicBezTo>
                  <a:pt x="1304230" y="1570206"/>
                  <a:pt x="1304436" y="1572065"/>
                  <a:pt x="1304230" y="1575008"/>
                </a:cubicBezTo>
                <a:cubicBezTo>
                  <a:pt x="1304230" y="1575008"/>
                  <a:pt x="1303094" y="1579655"/>
                  <a:pt x="1299996" y="1579810"/>
                </a:cubicBezTo>
                <a:cubicBezTo>
                  <a:pt x="1299170" y="1580274"/>
                  <a:pt x="1297415" y="1577641"/>
                  <a:pt x="1297725" y="1576402"/>
                </a:cubicBezTo>
                <a:cubicBezTo>
                  <a:pt x="1298344" y="1574079"/>
                  <a:pt x="1298654" y="1572995"/>
                  <a:pt x="1300099" y="1572065"/>
                </a:cubicBezTo>
                <a:cubicBezTo>
                  <a:pt x="1300409" y="1570826"/>
                  <a:pt x="1300719" y="1569741"/>
                  <a:pt x="1301235" y="1568812"/>
                </a:cubicBezTo>
                <a:cubicBezTo>
                  <a:pt x="1301751" y="1568038"/>
                  <a:pt x="1302474" y="1567573"/>
                  <a:pt x="1303713" y="1567728"/>
                </a:cubicBezTo>
                <a:close/>
                <a:moveTo>
                  <a:pt x="5515406" y="1567661"/>
                </a:moveTo>
                <a:cubicBezTo>
                  <a:pt x="5521169" y="1566950"/>
                  <a:pt x="5523516" y="1574489"/>
                  <a:pt x="5525011" y="1578189"/>
                </a:cubicBezTo>
                <a:cubicBezTo>
                  <a:pt x="5521169" y="1581461"/>
                  <a:pt x="5517328" y="1584733"/>
                  <a:pt x="5513913" y="1584448"/>
                </a:cubicBezTo>
                <a:lnTo>
                  <a:pt x="5513059" y="1581888"/>
                </a:lnTo>
                <a:lnTo>
                  <a:pt x="5512419" y="1582599"/>
                </a:lnTo>
                <a:cubicBezTo>
                  <a:pt x="5510711" y="1584022"/>
                  <a:pt x="5509004" y="1584733"/>
                  <a:pt x="5506870" y="1584164"/>
                </a:cubicBezTo>
                <a:cubicBezTo>
                  <a:pt x="5507723" y="1583310"/>
                  <a:pt x="5509004" y="1581888"/>
                  <a:pt x="5510498" y="1580607"/>
                </a:cubicBezTo>
                <a:lnTo>
                  <a:pt x="5512205" y="1579327"/>
                </a:lnTo>
                <a:lnTo>
                  <a:pt x="5511138" y="1576197"/>
                </a:lnTo>
                <a:cubicBezTo>
                  <a:pt x="5511352" y="1573352"/>
                  <a:pt x="5512845" y="1570506"/>
                  <a:pt x="5515406" y="1567661"/>
                </a:cubicBezTo>
                <a:close/>
                <a:moveTo>
                  <a:pt x="3751065" y="1567234"/>
                </a:moveTo>
                <a:cubicBezTo>
                  <a:pt x="3756614" y="1567661"/>
                  <a:pt x="3762163" y="1569083"/>
                  <a:pt x="3768139" y="1572925"/>
                </a:cubicBezTo>
                <a:lnTo>
                  <a:pt x="3760456" y="1577193"/>
                </a:lnTo>
                <a:lnTo>
                  <a:pt x="3762803" y="1582457"/>
                </a:lnTo>
                <a:cubicBezTo>
                  <a:pt x="3763231" y="1585160"/>
                  <a:pt x="3763231" y="1588005"/>
                  <a:pt x="3762376" y="1590566"/>
                </a:cubicBezTo>
                <a:lnTo>
                  <a:pt x="3760029" y="1593127"/>
                </a:lnTo>
                <a:lnTo>
                  <a:pt x="3763657" y="1596968"/>
                </a:lnTo>
                <a:cubicBezTo>
                  <a:pt x="3761523" y="1602943"/>
                  <a:pt x="3757895" y="1601663"/>
                  <a:pt x="3754480" y="1600241"/>
                </a:cubicBezTo>
                <a:lnTo>
                  <a:pt x="3754480" y="1599387"/>
                </a:lnTo>
                <a:lnTo>
                  <a:pt x="3753840" y="1600241"/>
                </a:lnTo>
                <a:lnTo>
                  <a:pt x="3752986" y="1599813"/>
                </a:lnTo>
                <a:lnTo>
                  <a:pt x="3750425" y="1605505"/>
                </a:lnTo>
                <a:lnTo>
                  <a:pt x="3752346" y="1607923"/>
                </a:lnTo>
                <a:cubicBezTo>
                  <a:pt x="3752346" y="1609630"/>
                  <a:pt x="3751705" y="1611337"/>
                  <a:pt x="3750425" y="1613614"/>
                </a:cubicBezTo>
                <a:cubicBezTo>
                  <a:pt x="3748931" y="1612333"/>
                  <a:pt x="3748291" y="1611053"/>
                  <a:pt x="3748291" y="1609488"/>
                </a:cubicBezTo>
                <a:lnTo>
                  <a:pt x="3748291" y="1608777"/>
                </a:lnTo>
                <a:lnTo>
                  <a:pt x="3744022" y="1614752"/>
                </a:lnTo>
                <a:cubicBezTo>
                  <a:pt x="3742102" y="1617455"/>
                  <a:pt x="3740394" y="1619731"/>
                  <a:pt x="3739541" y="1622577"/>
                </a:cubicBezTo>
                <a:cubicBezTo>
                  <a:pt x="3739541" y="1622577"/>
                  <a:pt x="3739541" y="1622435"/>
                  <a:pt x="3736339" y="1623288"/>
                </a:cubicBezTo>
                <a:cubicBezTo>
                  <a:pt x="3735699" y="1624426"/>
                  <a:pt x="3735699" y="1624426"/>
                  <a:pt x="3735699" y="1624426"/>
                </a:cubicBezTo>
                <a:cubicBezTo>
                  <a:pt x="3735272" y="1624995"/>
                  <a:pt x="3734632" y="1624853"/>
                  <a:pt x="3734205" y="1624710"/>
                </a:cubicBezTo>
                <a:lnTo>
                  <a:pt x="3733992" y="1624710"/>
                </a:lnTo>
                <a:lnTo>
                  <a:pt x="3733778" y="1624995"/>
                </a:lnTo>
                <a:lnTo>
                  <a:pt x="3733351" y="1625565"/>
                </a:lnTo>
                <a:lnTo>
                  <a:pt x="3739114" y="1628979"/>
                </a:lnTo>
                <a:cubicBezTo>
                  <a:pt x="3737620" y="1631966"/>
                  <a:pt x="3741675" y="1633389"/>
                  <a:pt x="3739327" y="1636661"/>
                </a:cubicBezTo>
                <a:lnTo>
                  <a:pt x="3736126" y="1636092"/>
                </a:lnTo>
                <a:cubicBezTo>
                  <a:pt x="3736126" y="1637373"/>
                  <a:pt x="3735913" y="1639080"/>
                  <a:pt x="3735486" y="1641356"/>
                </a:cubicBezTo>
                <a:cubicBezTo>
                  <a:pt x="3734632" y="1645624"/>
                  <a:pt x="3731431" y="1651172"/>
                  <a:pt x="3730791" y="1652738"/>
                </a:cubicBezTo>
                <a:cubicBezTo>
                  <a:pt x="3730150" y="1654444"/>
                  <a:pt x="3730791" y="1655441"/>
                  <a:pt x="3730791" y="1655441"/>
                </a:cubicBezTo>
                <a:cubicBezTo>
                  <a:pt x="3728656" y="1655441"/>
                  <a:pt x="3730577" y="1646193"/>
                  <a:pt x="3731858" y="1639791"/>
                </a:cubicBezTo>
                <a:lnTo>
                  <a:pt x="3732711" y="1635666"/>
                </a:lnTo>
                <a:lnTo>
                  <a:pt x="3731218" y="1635381"/>
                </a:lnTo>
                <a:lnTo>
                  <a:pt x="3729083" y="1634100"/>
                </a:lnTo>
                <a:lnTo>
                  <a:pt x="3726735" y="1634527"/>
                </a:lnTo>
                <a:lnTo>
                  <a:pt x="3726309" y="1635239"/>
                </a:lnTo>
                <a:cubicBezTo>
                  <a:pt x="3725668" y="1636803"/>
                  <a:pt x="3725455" y="1638653"/>
                  <a:pt x="3725882" y="1639222"/>
                </a:cubicBezTo>
                <a:cubicBezTo>
                  <a:pt x="3724815" y="1639080"/>
                  <a:pt x="3723535" y="1640218"/>
                  <a:pt x="3723535" y="1640218"/>
                </a:cubicBezTo>
                <a:cubicBezTo>
                  <a:pt x="3722467" y="1638938"/>
                  <a:pt x="3722467" y="1637657"/>
                  <a:pt x="3722467" y="1636519"/>
                </a:cubicBezTo>
                <a:lnTo>
                  <a:pt x="3725668" y="1634669"/>
                </a:lnTo>
                <a:lnTo>
                  <a:pt x="3716491" y="1636376"/>
                </a:lnTo>
                <a:lnTo>
                  <a:pt x="3712864" y="1635950"/>
                </a:lnTo>
                <a:lnTo>
                  <a:pt x="3713076" y="1637231"/>
                </a:lnTo>
                <a:cubicBezTo>
                  <a:pt x="3710516" y="1636661"/>
                  <a:pt x="3709876" y="1638084"/>
                  <a:pt x="3706674" y="1635239"/>
                </a:cubicBezTo>
                <a:lnTo>
                  <a:pt x="3706888" y="1634812"/>
                </a:lnTo>
                <a:lnTo>
                  <a:pt x="3700912" y="1633816"/>
                </a:lnTo>
                <a:cubicBezTo>
                  <a:pt x="3697710" y="1632678"/>
                  <a:pt x="3694723" y="1630971"/>
                  <a:pt x="3691948" y="1628979"/>
                </a:cubicBezTo>
                <a:cubicBezTo>
                  <a:pt x="3696643" y="1620300"/>
                  <a:pt x="3706674" y="1622719"/>
                  <a:pt x="3714357" y="1622435"/>
                </a:cubicBezTo>
                <a:cubicBezTo>
                  <a:pt x="3712223" y="1614609"/>
                  <a:pt x="3706674" y="1603513"/>
                  <a:pt x="3715211" y="1599671"/>
                </a:cubicBezTo>
                <a:cubicBezTo>
                  <a:pt x="3721614" y="1601805"/>
                  <a:pt x="3721614" y="1609204"/>
                  <a:pt x="3722894" y="1616601"/>
                </a:cubicBezTo>
                <a:lnTo>
                  <a:pt x="3723747" y="1619589"/>
                </a:lnTo>
                <a:lnTo>
                  <a:pt x="3725882" y="1621154"/>
                </a:lnTo>
                <a:lnTo>
                  <a:pt x="3732498" y="1625280"/>
                </a:lnTo>
                <a:lnTo>
                  <a:pt x="3733138" y="1624710"/>
                </a:lnTo>
                <a:lnTo>
                  <a:pt x="3733138" y="1624284"/>
                </a:lnTo>
                <a:lnTo>
                  <a:pt x="3733351" y="1623288"/>
                </a:lnTo>
                <a:lnTo>
                  <a:pt x="3733351" y="1622150"/>
                </a:lnTo>
                <a:lnTo>
                  <a:pt x="3733565" y="1620727"/>
                </a:lnTo>
                <a:cubicBezTo>
                  <a:pt x="3734418" y="1619589"/>
                  <a:pt x="3735486" y="1618451"/>
                  <a:pt x="3736126" y="1617455"/>
                </a:cubicBezTo>
                <a:cubicBezTo>
                  <a:pt x="3734845" y="1615179"/>
                  <a:pt x="3740821" y="1614467"/>
                  <a:pt x="3739541" y="1612191"/>
                </a:cubicBezTo>
                <a:cubicBezTo>
                  <a:pt x="3744236" y="1610910"/>
                  <a:pt x="3744663" y="1606073"/>
                  <a:pt x="3748505" y="1601948"/>
                </a:cubicBezTo>
                <a:lnTo>
                  <a:pt x="3751919" y="1599529"/>
                </a:lnTo>
                <a:lnTo>
                  <a:pt x="3746797" y="1597395"/>
                </a:lnTo>
                <a:cubicBezTo>
                  <a:pt x="3744449" y="1595830"/>
                  <a:pt x="3741889" y="1593554"/>
                  <a:pt x="3739754" y="1591277"/>
                </a:cubicBezTo>
                <a:lnTo>
                  <a:pt x="3738047" y="1588717"/>
                </a:lnTo>
                <a:lnTo>
                  <a:pt x="3734205" y="1596968"/>
                </a:lnTo>
                <a:cubicBezTo>
                  <a:pt x="3734205" y="1596968"/>
                  <a:pt x="3729723" y="1601521"/>
                  <a:pt x="3726309" y="1598960"/>
                </a:cubicBezTo>
                <a:cubicBezTo>
                  <a:pt x="3725028" y="1598960"/>
                  <a:pt x="3724815" y="1594265"/>
                  <a:pt x="3725882" y="1593127"/>
                </a:cubicBezTo>
                <a:cubicBezTo>
                  <a:pt x="3728230" y="1590851"/>
                  <a:pt x="3729297" y="1589712"/>
                  <a:pt x="3731644" y="1589855"/>
                </a:cubicBezTo>
                <a:cubicBezTo>
                  <a:pt x="3732711" y="1588717"/>
                  <a:pt x="3733778" y="1587578"/>
                  <a:pt x="3735059" y="1587010"/>
                </a:cubicBezTo>
                <a:lnTo>
                  <a:pt x="3737193" y="1587578"/>
                </a:lnTo>
                <a:lnTo>
                  <a:pt x="3734418" y="1584022"/>
                </a:lnTo>
                <a:cubicBezTo>
                  <a:pt x="3732925" y="1581603"/>
                  <a:pt x="3732071" y="1579327"/>
                  <a:pt x="3731644" y="1577619"/>
                </a:cubicBezTo>
                <a:cubicBezTo>
                  <a:pt x="3733778" y="1574205"/>
                  <a:pt x="3736126" y="1571929"/>
                  <a:pt x="3738474" y="1570364"/>
                </a:cubicBezTo>
                <a:lnTo>
                  <a:pt x="3738687" y="1570222"/>
                </a:lnTo>
                <a:lnTo>
                  <a:pt x="3735272" y="1567945"/>
                </a:lnTo>
                <a:cubicBezTo>
                  <a:pt x="3740608" y="1567519"/>
                  <a:pt x="3745730" y="1566807"/>
                  <a:pt x="3751065" y="1567234"/>
                </a:cubicBezTo>
                <a:close/>
                <a:moveTo>
                  <a:pt x="1593657" y="1567108"/>
                </a:moveTo>
                <a:lnTo>
                  <a:pt x="1594793" y="1570516"/>
                </a:lnTo>
                <a:lnTo>
                  <a:pt x="1599026" y="1570826"/>
                </a:lnTo>
                <a:lnTo>
                  <a:pt x="1600162" y="1572065"/>
                </a:lnTo>
                <a:lnTo>
                  <a:pt x="1600781" y="1572065"/>
                </a:lnTo>
                <a:cubicBezTo>
                  <a:pt x="1607390" y="1572995"/>
                  <a:pt x="1612759" y="1577021"/>
                  <a:pt x="1611830" y="1583682"/>
                </a:cubicBezTo>
                <a:cubicBezTo>
                  <a:pt x="1611623" y="1585541"/>
                  <a:pt x="1610798" y="1587709"/>
                  <a:pt x="1609455" y="1590033"/>
                </a:cubicBezTo>
                <a:cubicBezTo>
                  <a:pt x="1605015" y="1590188"/>
                  <a:pt x="1598820" y="1591117"/>
                  <a:pt x="1593347" y="1590033"/>
                </a:cubicBezTo>
                <a:lnTo>
                  <a:pt x="1588700" y="1588019"/>
                </a:lnTo>
                <a:lnTo>
                  <a:pt x="1585603" y="1588019"/>
                </a:lnTo>
                <a:lnTo>
                  <a:pt x="1584776" y="1584612"/>
                </a:lnTo>
                <a:lnTo>
                  <a:pt x="1581472" y="1578416"/>
                </a:lnTo>
                <a:lnTo>
                  <a:pt x="1585087" y="1576247"/>
                </a:lnTo>
                <a:lnTo>
                  <a:pt x="1585706" y="1574698"/>
                </a:lnTo>
                <a:lnTo>
                  <a:pt x="1590662" y="1571136"/>
                </a:lnTo>
                <a:lnTo>
                  <a:pt x="1590972" y="1568192"/>
                </a:lnTo>
                <a:cubicBezTo>
                  <a:pt x="1591488" y="1567263"/>
                  <a:pt x="1592418" y="1566798"/>
                  <a:pt x="1593657" y="1567108"/>
                </a:cubicBezTo>
                <a:close/>
                <a:moveTo>
                  <a:pt x="4376599" y="1565527"/>
                </a:moveTo>
                <a:cubicBezTo>
                  <a:pt x="4386203" y="1573067"/>
                  <a:pt x="4396874" y="1578758"/>
                  <a:pt x="4401355" y="1595261"/>
                </a:cubicBezTo>
                <a:cubicBezTo>
                  <a:pt x="4398794" y="1597537"/>
                  <a:pt x="4397941" y="1603797"/>
                  <a:pt x="4392392" y="1601521"/>
                </a:cubicBezTo>
                <a:lnTo>
                  <a:pt x="4390898" y="1596114"/>
                </a:lnTo>
                <a:lnTo>
                  <a:pt x="4385349" y="1597537"/>
                </a:lnTo>
                <a:cubicBezTo>
                  <a:pt x="4376172" y="1597395"/>
                  <a:pt x="4363367" y="1591277"/>
                  <a:pt x="4363367" y="1581603"/>
                </a:cubicBezTo>
                <a:cubicBezTo>
                  <a:pt x="4367421" y="1583168"/>
                  <a:pt x="4371263" y="1584733"/>
                  <a:pt x="4375532" y="1586014"/>
                </a:cubicBezTo>
                <a:lnTo>
                  <a:pt x="4387056" y="1587863"/>
                </a:lnTo>
                <a:lnTo>
                  <a:pt x="4383001" y="1582457"/>
                </a:lnTo>
                <a:cubicBezTo>
                  <a:pt x="4378519" y="1577051"/>
                  <a:pt x="4374251" y="1572071"/>
                  <a:pt x="4376599" y="1565527"/>
                </a:cubicBezTo>
                <a:close/>
                <a:moveTo>
                  <a:pt x="4574652" y="1565242"/>
                </a:moveTo>
                <a:cubicBezTo>
                  <a:pt x="4577000" y="1566665"/>
                  <a:pt x="4580201" y="1572071"/>
                  <a:pt x="4578920" y="1574489"/>
                </a:cubicBezTo>
                <a:cubicBezTo>
                  <a:pt x="4576786" y="1572925"/>
                  <a:pt x="4575506" y="1571502"/>
                  <a:pt x="4574439" y="1570222"/>
                </a:cubicBezTo>
                <a:cubicBezTo>
                  <a:pt x="4572305" y="1568657"/>
                  <a:pt x="4572305" y="1567376"/>
                  <a:pt x="4574652" y="1565242"/>
                </a:cubicBezTo>
                <a:close/>
                <a:moveTo>
                  <a:pt x="1560718" y="1565095"/>
                </a:moveTo>
                <a:cubicBezTo>
                  <a:pt x="1562370" y="1564475"/>
                  <a:pt x="1564229" y="1566024"/>
                  <a:pt x="1565984" y="1567573"/>
                </a:cubicBezTo>
                <a:cubicBezTo>
                  <a:pt x="1565055" y="1568967"/>
                  <a:pt x="1565777" y="1570826"/>
                  <a:pt x="1562990" y="1571910"/>
                </a:cubicBezTo>
                <a:cubicBezTo>
                  <a:pt x="1561441" y="1570052"/>
                  <a:pt x="1560615" y="1568348"/>
                  <a:pt x="1559066" y="1566334"/>
                </a:cubicBezTo>
                <a:cubicBezTo>
                  <a:pt x="1559582" y="1565714"/>
                  <a:pt x="1560098" y="1565250"/>
                  <a:pt x="1560718" y="1565095"/>
                </a:cubicBezTo>
                <a:close/>
                <a:moveTo>
                  <a:pt x="1170306" y="1564940"/>
                </a:moveTo>
                <a:cubicBezTo>
                  <a:pt x="1172474" y="1564940"/>
                  <a:pt x="1173920" y="1564940"/>
                  <a:pt x="1174850" y="1565559"/>
                </a:cubicBezTo>
                <a:lnTo>
                  <a:pt x="1175056" y="1566024"/>
                </a:lnTo>
                <a:lnTo>
                  <a:pt x="1180941" y="1573459"/>
                </a:lnTo>
                <a:cubicBezTo>
                  <a:pt x="1181251" y="1574543"/>
                  <a:pt x="1181045" y="1578261"/>
                  <a:pt x="1179909" y="1578725"/>
                </a:cubicBezTo>
                <a:cubicBezTo>
                  <a:pt x="1178670" y="1579035"/>
                  <a:pt x="1177947" y="1578725"/>
                  <a:pt x="1177121" y="1578416"/>
                </a:cubicBezTo>
                <a:lnTo>
                  <a:pt x="1174540" y="1574853"/>
                </a:lnTo>
                <a:lnTo>
                  <a:pt x="1173817" y="1576557"/>
                </a:lnTo>
                <a:cubicBezTo>
                  <a:pt x="1172578" y="1578106"/>
                  <a:pt x="1171235" y="1579345"/>
                  <a:pt x="1170306" y="1579500"/>
                </a:cubicBezTo>
                <a:cubicBezTo>
                  <a:pt x="1168448" y="1579190"/>
                  <a:pt x="1166589" y="1577951"/>
                  <a:pt x="1166176" y="1575783"/>
                </a:cubicBezTo>
                <a:cubicBezTo>
                  <a:pt x="1165969" y="1575008"/>
                  <a:pt x="1166072" y="1574388"/>
                  <a:pt x="1166279" y="1573459"/>
                </a:cubicBezTo>
                <a:cubicBezTo>
                  <a:pt x="1166383" y="1570361"/>
                  <a:pt x="1169377" y="1568502"/>
                  <a:pt x="1170306" y="1564940"/>
                </a:cubicBezTo>
                <a:close/>
                <a:moveTo>
                  <a:pt x="3554506" y="1564815"/>
                </a:moveTo>
                <a:cubicBezTo>
                  <a:pt x="3557920" y="1566523"/>
                  <a:pt x="3557920" y="1566523"/>
                  <a:pt x="3560055" y="1569368"/>
                </a:cubicBezTo>
                <a:cubicBezTo>
                  <a:pt x="3558774" y="1569083"/>
                  <a:pt x="3556427" y="1569937"/>
                  <a:pt x="3555359" y="1568515"/>
                </a:cubicBezTo>
                <a:cubicBezTo>
                  <a:pt x="3554292" y="1567092"/>
                  <a:pt x="3554292" y="1567092"/>
                  <a:pt x="3554506" y="1564815"/>
                </a:cubicBezTo>
                <a:close/>
                <a:moveTo>
                  <a:pt x="1691957" y="1564785"/>
                </a:moveTo>
                <a:cubicBezTo>
                  <a:pt x="1693402" y="1566488"/>
                  <a:pt x="1692266" y="1568967"/>
                  <a:pt x="1692989" y="1569896"/>
                </a:cubicBezTo>
                <a:cubicBezTo>
                  <a:pt x="1692163" y="1569741"/>
                  <a:pt x="1690408" y="1569741"/>
                  <a:pt x="1689375" y="1571445"/>
                </a:cubicBezTo>
                <a:cubicBezTo>
                  <a:pt x="1688652" y="1570516"/>
                  <a:pt x="1687827" y="1569741"/>
                  <a:pt x="1687517" y="1568812"/>
                </a:cubicBezTo>
                <a:cubicBezTo>
                  <a:pt x="1687310" y="1568502"/>
                  <a:pt x="1687310" y="1568038"/>
                  <a:pt x="1687413" y="1567573"/>
                </a:cubicBezTo>
                <a:cubicBezTo>
                  <a:pt x="1687517" y="1567108"/>
                  <a:pt x="1687723" y="1566798"/>
                  <a:pt x="1688239" y="1566334"/>
                </a:cubicBezTo>
                <a:cubicBezTo>
                  <a:pt x="1689169" y="1565559"/>
                  <a:pt x="1690201" y="1564785"/>
                  <a:pt x="1691957" y="1564785"/>
                </a:cubicBezTo>
                <a:close/>
                <a:moveTo>
                  <a:pt x="1533562" y="1564320"/>
                </a:moveTo>
                <a:cubicBezTo>
                  <a:pt x="1537898" y="1563081"/>
                  <a:pt x="1542855" y="1568502"/>
                  <a:pt x="1542441" y="1572375"/>
                </a:cubicBezTo>
                <a:cubicBezTo>
                  <a:pt x="1542338" y="1573614"/>
                  <a:pt x="1541616" y="1574698"/>
                  <a:pt x="1540067" y="1575318"/>
                </a:cubicBezTo>
                <a:cubicBezTo>
                  <a:pt x="1538621" y="1575008"/>
                  <a:pt x="1537692" y="1574388"/>
                  <a:pt x="1537072" y="1573769"/>
                </a:cubicBezTo>
                <a:lnTo>
                  <a:pt x="1535936" y="1571755"/>
                </a:lnTo>
                <a:lnTo>
                  <a:pt x="1535627" y="1571291"/>
                </a:lnTo>
                <a:cubicBezTo>
                  <a:pt x="1535007" y="1569277"/>
                  <a:pt x="1534801" y="1566798"/>
                  <a:pt x="1533562" y="1564320"/>
                </a:cubicBezTo>
                <a:close/>
                <a:moveTo>
                  <a:pt x="5826786" y="1564104"/>
                </a:moveTo>
                <a:cubicBezTo>
                  <a:pt x="5828920" y="1564388"/>
                  <a:pt x="5831054" y="1565385"/>
                  <a:pt x="5832762" y="1567661"/>
                </a:cubicBezTo>
                <a:cubicBezTo>
                  <a:pt x="5825292" y="1570648"/>
                  <a:pt x="5817609" y="1576055"/>
                  <a:pt x="5809499" y="1576624"/>
                </a:cubicBezTo>
                <a:cubicBezTo>
                  <a:pt x="5812273" y="1570506"/>
                  <a:pt x="5820170" y="1563393"/>
                  <a:pt x="5826786" y="1564104"/>
                </a:cubicBezTo>
                <a:close/>
                <a:moveTo>
                  <a:pt x="4012504" y="1564104"/>
                </a:moveTo>
                <a:cubicBezTo>
                  <a:pt x="4013999" y="1564673"/>
                  <a:pt x="4015279" y="1565811"/>
                  <a:pt x="4016346" y="1567234"/>
                </a:cubicBezTo>
                <a:cubicBezTo>
                  <a:pt x="4017414" y="1567945"/>
                  <a:pt x="4018054" y="1569226"/>
                  <a:pt x="4018054" y="1570506"/>
                </a:cubicBezTo>
                <a:cubicBezTo>
                  <a:pt x="4018054" y="1571929"/>
                  <a:pt x="4017627" y="1573352"/>
                  <a:pt x="4016987" y="1574489"/>
                </a:cubicBezTo>
                <a:cubicBezTo>
                  <a:pt x="4015706" y="1575486"/>
                  <a:pt x="4015919" y="1575486"/>
                  <a:pt x="4014639" y="1576481"/>
                </a:cubicBezTo>
                <a:cubicBezTo>
                  <a:pt x="4012291" y="1576055"/>
                  <a:pt x="4009943" y="1576766"/>
                  <a:pt x="4007809" y="1575201"/>
                </a:cubicBezTo>
                <a:cubicBezTo>
                  <a:pt x="4005675" y="1572498"/>
                  <a:pt x="4007169" y="1566807"/>
                  <a:pt x="4008450" y="1564673"/>
                </a:cubicBezTo>
                <a:cubicBezTo>
                  <a:pt x="4009730" y="1563678"/>
                  <a:pt x="4011224" y="1563678"/>
                  <a:pt x="4012504" y="1564104"/>
                </a:cubicBezTo>
                <a:close/>
                <a:moveTo>
                  <a:pt x="3803780" y="1564104"/>
                </a:moveTo>
                <a:cubicBezTo>
                  <a:pt x="3806128" y="1564388"/>
                  <a:pt x="3808048" y="1565527"/>
                  <a:pt x="3809543" y="1567661"/>
                </a:cubicBezTo>
                <a:lnTo>
                  <a:pt x="3812530" y="1577904"/>
                </a:lnTo>
                <a:lnTo>
                  <a:pt x="3817012" y="1574347"/>
                </a:lnTo>
                <a:cubicBezTo>
                  <a:pt x="3820854" y="1575628"/>
                  <a:pt x="3823414" y="1579896"/>
                  <a:pt x="3824482" y="1584733"/>
                </a:cubicBezTo>
                <a:cubicBezTo>
                  <a:pt x="3825549" y="1589570"/>
                  <a:pt x="3825336" y="1594834"/>
                  <a:pt x="3823628" y="1598106"/>
                </a:cubicBezTo>
                <a:cubicBezTo>
                  <a:pt x="3818719" y="1600668"/>
                  <a:pt x="3814878" y="1600951"/>
                  <a:pt x="3812103" y="1599671"/>
                </a:cubicBezTo>
                <a:cubicBezTo>
                  <a:pt x="3805914" y="1596684"/>
                  <a:pt x="3805274" y="1586440"/>
                  <a:pt x="3810183" y="1579611"/>
                </a:cubicBezTo>
                <a:lnTo>
                  <a:pt x="3812103" y="1578189"/>
                </a:lnTo>
                <a:lnTo>
                  <a:pt x="3802927" y="1576481"/>
                </a:lnTo>
                <a:cubicBezTo>
                  <a:pt x="3793109" y="1576197"/>
                  <a:pt x="3783505" y="1579469"/>
                  <a:pt x="3777103" y="1572782"/>
                </a:cubicBezTo>
                <a:cubicBezTo>
                  <a:pt x="3785426" y="1570933"/>
                  <a:pt x="3796311" y="1563251"/>
                  <a:pt x="3803780" y="1564104"/>
                </a:cubicBezTo>
                <a:close/>
                <a:moveTo>
                  <a:pt x="3885093" y="1563820"/>
                </a:moveTo>
                <a:lnTo>
                  <a:pt x="3884666" y="1565100"/>
                </a:lnTo>
                <a:lnTo>
                  <a:pt x="3884880" y="1564815"/>
                </a:lnTo>
                <a:close/>
                <a:moveTo>
                  <a:pt x="4991461" y="1563108"/>
                </a:moveTo>
                <a:cubicBezTo>
                  <a:pt x="4992528" y="1563678"/>
                  <a:pt x="4993382" y="1565242"/>
                  <a:pt x="4994022" y="1568088"/>
                </a:cubicBezTo>
                <a:cubicBezTo>
                  <a:pt x="4992101" y="1569226"/>
                  <a:pt x="4990607" y="1569937"/>
                  <a:pt x="4989327" y="1570222"/>
                </a:cubicBezTo>
                <a:lnTo>
                  <a:pt x="4988900" y="1570080"/>
                </a:lnTo>
                <a:lnTo>
                  <a:pt x="4989754" y="1573209"/>
                </a:lnTo>
                <a:cubicBezTo>
                  <a:pt x="4990180" y="1578189"/>
                  <a:pt x="4988900" y="1585302"/>
                  <a:pt x="4986552" y="1588005"/>
                </a:cubicBezTo>
                <a:cubicBezTo>
                  <a:pt x="4980363" y="1575201"/>
                  <a:pt x="4988687" y="1571929"/>
                  <a:pt x="4985272" y="1564673"/>
                </a:cubicBezTo>
                <a:lnTo>
                  <a:pt x="4987620" y="1565100"/>
                </a:lnTo>
                <a:lnTo>
                  <a:pt x="4989113" y="1563251"/>
                </a:lnTo>
                <a:cubicBezTo>
                  <a:pt x="4989967" y="1562824"/>
                  <a:pt x="4990821" y="1562824"/>
                  <a:pt x="4991461" y="1563108"/>
                </a:cubicBezTo>
                <a:close/>
                <a:moveTo>
                  <a:pt x="1141911" y="1562926"/>
                </a:moveTo>
                <a:cubicBezTo>
                  <a:pt x="1145008" y="1562462"/>
                  <a:pt x="1148829" y="1568967"/>
                  <a:pt x="1149862" y="1572220"/>
                </a:cubicBezTo>
                <a:cubicBezTo>
                  <a:pt x="1149035" y="1572375"/>
                  <a:pt x="1148209" y="1572065"/>
                  <a:pt x="1147383" y="1571445"/>
                </a:cubicBezTo>
                <a:cubicBezTo>
                  <a:pt x="1145008" y="1569586"/>
                  <a:pt x="1142633" y="1565405"/>
                  <a:pt x="1141911" y="1562926"/>
                </a:cubicBezTo>
                <a:close/>
                <a:moveTo>
                  <a:pt x="5300493" y="1562539"/>
                </a:moveTo>
                <a:cubicBezTo>
                  <a:pt x="5301773" y="1562255"/>
                  <a:pt x="5303054" y="1562255"/>
                  <a:pt x="5303908" y="1562539"/>
                </a:cubicBezTo>
                <a:cubicBezTo>
                  <a:pt x="5306042" y="1563108"/>
                  <a:pt x="5307536" y="1564673"/>
                  <a:pt x="5308176" y="1566665"/>
                </a:cubicBezTo>
                <a:cubicBezTo>
                  <a:pt x="5309029" y="1568799"/>
                  <a:pt x="5309029" y="1571217"/>
                  <a:pt x="5307962" y="1573636"/>
                </a:cubicBezTo>
                <a:lnTo>
                  <a:pt x="5307109" y="1574632"/>
                </a:lnTo>
                <a:lnTo>
                  <a:pt x="5307536" y="1575486"/>
                </a:lnTo>
                <a:cubicBezTo>
                  <a:pt x="5307962" y="1575201"/>
                  <a:pt x="5307962" y="1575059"/>
                  <a:pt x="5307749" y="1575486"/>
                </a:cubicBezTo>
                <a:cubicBezTo>
                  <a:pt x="5307749" y="1575912"/>
                  <a:pt x="5307536" y="1576766"/>
                  <a:pt x="5307536" y="1578046"/>
                </a:cubicBezTo>
                <a:cubicBezTo>
                  <a:pt x="5306896" y="1579611"/>
                  <a:pt x="5307536" y="1580465"/>
                  <a:pt x="5306042" y="1580181"/>
                </a:cubicBezTo>
                <a:cubicBezTo>
                  <a:pt x="5305401" y="1579896"/>
                  <a:pt x="5304974" y="1579896"/>
                  <a:pt x="5304548" y="1579469"/>
                </a:cubicBezTo>
                <a:lnTo>
                  <a:pt x="5303694" y="1578046"/>
                </a:lnTo>
                <a:lnTo>
                  <a:pt x="5302200" y="1579611"/>
                </a:lnTo>
                <a:cubicBezTo>
                  <a:pt x="5297718" y="1578046"/>
                  <a:pt x="5295371" y="1575343"/>
                  <a:pt x="5293450" y="1573779"/>
                </a:cubicBezTo>
                <a:cubicBezTo>
                  <a:pt x="5294730" y="1570506"/>
                  <a:pt x="5294944" y="1567803"/>
                  <a:pt x="5296438" y="1564531"/>
                </a:cubicBezTo>
                <a:cubicBezTo>
                  <a:pt x="5297932" y="1563535"/>
                  <a:pt x="5299212" y="1562824"/>
                  <a:pt x="5300493" y="1562539"/>
                </a:cubicBezTo>
                <a:close/>
                <a:moveTo>
                  <a:pt x="1530773" y="1562152"/>
                </a:moveTo>
                <a:cubicBezTo>
                  <a:pt x="1531393" y="1563855"/>
                  <a:pt x="1531393" y="1563855"/>
                  <a:pt x="1530258" y="1565559"/>
                </a:cubicBezTo>
                <a:cubicBezTo>
                  <a:pt x="1529431" y="1565559"/>
                  <a:pt x="1529225" y="1566334"/>
                  <a:pt x="1528502" y="1565405"/>
                </a:cubicBezTo>
                <a:cubicBezTo>
                  <a:pt x="1527986" y="1566024"/>
                  <a:pt x="1527057" y="1566644"/>
                  <a:pt x="1525921" y="1567108"/>
                </a:cubicBezTo>
                <a:lnTo>
                  <a:pt x="1524268" y="1567728"/>
                </a:lnTo>
                <a:lnTo>
                  <a:pt x="1526127" y="1568192"/>
                </a:lnTo>
                <a:cubicBezTo>
                  <a:pt x="1527160" y="1568502"/>
                  <a:pt x="1527779" y="1568967"/>
                  <a:pt x="1528192" y="1569432"/>
                </a:cubicBezTo>
                <a:lnTo>
                  <a:pt x="1528192" y="1571291"/>
                </a:lnTo>
                <a:lnTo>
                  <a:pt x="1528192" y="1571755"/>
                </a:lnTo>
                <a:lnTo>
                  <a:pt x="1532529" y="1572375"/>
                </a:lnTo>
                <a:lnTo>
                  <a:pt x="1533562" y="1572995"/>
                </a:lnTo>
                <a:lnTo>
                  <a:pt x="1534078" y="1572840"/>
                </a:lnTo>
                <a:cubicBezTo>
                  <a:pt x="1534697" y="1572685"/>
                  <a:pt x="1535214" y="1572685"/>
                  <a:pt x="1535214" y="1572685"/>
                </a:cubicBezTo>
                <a:cubicBezTo>
                  <a:pt x="1535524" y="1573769"/>
                  <a:pt x="1535524" y="1573924"/>
                  <a:pt x="1534697" y="1573459"/>
                </a:cubicBezTo>
                <a:lnTo>
                  <a:pt x="1534594" y="1573614"/>
                </a:lnTo>
                <a:lnTo>
                  <a:pt x="1536866" y="1574853"/>
                </a:lnTo>
                <a:cubicBezTo>
                  <a:pt x="1535627" y="1576712"/>
                  <a:pt x="1533871" y="1578106"/>
                  <a:pt x="1532013" y="1579500"/>
                </a:cubicBezTo>
                <a:lnTo>
                  <a:pt x="1526540" y="1583063"/>
                </a:lnTo>
                <a:lnTo>
                  <a:pt x="1527986" y="1578725"/>
                </a:lnTo>
                <a:lnTo>
                  <a:pt x="1527882" y="1578880"/>
                </a:lnTo>
                <a:cubicBezTo>
                  <a:pt x="1527057" y="1578571"/>
                  <a:pt x="1525921" y="1578880"/>
                  <a:pt x="1525921" y="1578880"/>
                </a:cubicBezTo>
                <a:cubicBezTo>
                  <a:pt x="1525611" y="1577796"/>
                  <a:pt x="1526024" y="1577021"/>
                  <a:pt x="1526437" y="1576402"/>
                </a:cubicBezTo>
                <a:lnTo>
                  <a:pt x="1528399" y="1576092"/>
                </a:lnTo>
                <a:lnTo>
                  <a:pt x="1528502" y="1575163"/>
                </a:lnTo>
                <a:lnTo>
                  <a:pt x="1527573" y="1572530"/>
                </a:lnTo>
                <a:lnTo>
                  <a:pt x="1525817" y="1573924"/>
                </a:lnTo>
                <a:cubicBezTo>
                  <a:pt x="1524268" y="1574543"/>
                  <a:pt x="1522513" y="1574543"/>
                  <a:pt x="1521687" y="1573614"/>
                </a:cubicBezTo>
                <a:lnTo>
                  <a:pt x="1521481" y="1573304"/>
                </a:lnTo>
                <a:lnTo>
                  <a:pt x="1520758" y="1573304"/>
                </a:lnTo>
                <a:lnTo>
                  <a:pt x="1520345" y="1573304"/>
                </a:lnTo>
                <a:lnTo>
                  <a:pt x="1519932" y="1574388"/>
                </a:lnTo>
                <a:lnTo>
                  <a:pt x="1522823" y="1577331"/>
                </a:lnTo>
                <a:lnTo>
                  <a:pt x="1526540" y="1583063"/>
                </a:lnTo>
                <a:lnTo>
                  <a:pt x="1527366" y="1584147"/>
                </a:lnTo>
                <a:cubicBezTo>
                  <a:pt x="1528915" y="1586625"/>
                  <a:pt x="1530670" y="1588949"/>
                  <a:pt x="1532839" y="1591272"/>
                </a:cubicBezTo>
                <a:cubicBezTo>
                  <a:pt x="1526230" y="1600411"/>
                  <a:pt x="1530154" y="1605058"/>
                  <a:pt x="1530877" y="1610944"/>
                </a:cubicBezTo>
                <a:cubicBezTo>
                  <a:pt x="1523752" y="1614971"/>
                  <a:pt x="1518899" y="1624265"/>
                  <a:pt x="1512394" y="1630771"/>
                </a:cubicBezTo>
                <a:cubicBezTo>
                  <a:pt x="1501449" y="1630926"/>
                  <a:pt x="1492259" y="1634023"/>
                  <a:pt x="1481314" y="1634178"/>
                </a:cubicBezTo>
                <a:lnTo>
                  <a:pt x="1476977" y="1629531"/>
                </a:lnTo>
                <a:lnTo>
                  <a:pt x="1476667" y="1629376"/>
                </a:lnTo>
                <a:cubicBezTo>
                  <a:pt x="1475738" y="1628757"/>
                  <a:pt x="1474809" y="1627828"/>
                  <a:pt x="1473983" y="1627363"/>
                </a:cubicBezTo>
                <a:lnTo>
                  <a:pt x="1474396" y="1627053"/>
                </a:lnTo>
                <a:lnTo>
                  <a:pt x="1467994" y="1622406"/>
                </a:lnTo>
                <a:lnTo>
                  <a:pt x="1466755" y="1623336"/>
                </a:lnTo>
                <a:cubicBezTo>
                  <a:pt x="1464690" y="1624265"/>
                  <a:pt x="1462831" y="1624730"/>
                  <a:pt x="1462418" y="1624885"/>
                </a:cubicBezTo>
                <a:cubicBezTo>
                  <a:pt x="1462005" y="1624110"/>
                  <a:pt x="1462108" y="1624110"/>
                  <a:pt x="1462108" y="1624110"/>
                </a:cubicBezTo>
                <a:cubicBezTo>
                  <a:pt x="1463451" y="1623955"/>
                  <a:pt x="1464483" y="1623181"/>
                  <a:pt x="1465619" y="1622097"/>
                </a:cubicBezTo>
                <a:lnTo>
                  <a:pt x="1466755" y="1621322"/>
                </a:lnTo>
                <a:lnTo>
                  <a:pt x="1464173" y="1618998"/>
                </a:lnTo>
                <a:lnTo>
                  <a:pt x="1458907" y="1621787"/>
                </a:lnTo>
                <a:cubicBezTo>
                  <a:pt x="1459320" y="1619463"/>
                  <a:pt x="1460146" y="1617914"/>
                  <a:pt x="1461076" y="1616675"/>
                </a:cubicBezTo>
                <a:lnTo>
                  <a:pt x="1461489" y="1616365"/>
                </a:lnTo>
                <a:lnTo>
                  <a:pt x="1461386" y="1616210"/>
                </a:lnTo>
                <a:cubicBezTo>
                  <a:pt x="1459630" y="1613887"/>
                  <a:pt x="1458598" y="1611254"/>
                  <a:pt x="1458598" y="1608001"/>
                </a:cubicBezTo>
                <a:cubicBezTo>
                  <a:pt x="1461902" y="1603354"/>
                  <a:pt x="1462831" y="1599946"/>
                  <a:pt x="1463141" y="1596693"/>
                </a:cubicBezTo>
                <a:lnTo>
                  <a:pt x="1463141" y="1596229"/>
                </a:lnTo>
                <a:lnTo>
                  <a:pt x="1462831" y="1596384"/>
                </a:lnTo>
                <a:cubicBezTo>
                  <a:pt x="1462728" y="1596384"/>
                  <a:pt x="1462728" y="1596229"/>
                  <a:pt x="1462625" y="1595764"/>
                </a:cubicBezTo>
                <a:cubicBezTo>
                  <a:pt x="1462625" y="1595764"/>
                  <a:pt x="1462625" y="1595764"/>
                  <a:pt x="1462315" y="1594680"/>
                </a:cubicBezTo>
                <a:cubicBezTo>
                  <a:pt x="1462315" y="1594680"/>
                  <a:pt x="1462108" y="1594525"/>
                  <a:pt x="1462315" y="1594215"/>
                </a:cubicBezTo>
                <a:lnTo>
                  <a:pt x="1463244" y="1593441"/>
                </a:lnTo>
                <a:lnTo>
                  <a:pt x="1463347" y="1591892"/>
                </a:lnTo>
                <a:cubicBezTo>
                  <a:pt x="1463347" y="1590343"/>
                  <a:pt x="1463451" y="1588794"/>
                  <a:pt x="1463967" y="1587245"/>
                </a:cubicBezTo>
                <a:cubicBezTo>
                  <a:pt x="1466652" y="1584302"/>
                  <a:pt x="1469749" y="1581514"/>
                  <a:pt x="1473157" y="1578880"/>
                </a:cubicBezTo>
                <a:lnTo>
                  <a:pt x="1476564" y="1576712"/>
                </a:lnTo>
                <a:lnTo>
                  <a:pt x="1479145" y="1574543"/>
                </a:lnTo>
                <a:lnTo>
                  <a:pt x="1479455" y="1574388"/>
                </a:lnTo>
                <a:lnTo>
                  <a:pt x="1483276" y="1568348"/>
                </a:lnTo>
                <a:cubicBezTo>
                  <a:pt x="1484928" y="1566644"/>
                  <a:pt x="1486993" y="1565250"/>
                  <a:pt x="1489471" y="1564630"/>
                </a:cubicBezTo>
                <a:cubicBezTo>
                  <a:pt x="1492569" y="1564165"/>
                  <a:pt x="1494944" y="1564630"/>
                  <a:pt x="1496905" y="1565714"/>
                </a:cubicBezTo>
                <a:lnTo>
                  <a:pt x="1497215" y="1566024"/>
                </a:lnTo>
                <a:lnTo>
                  <a:pt x="1501656" y="1565714"/>
                </a:lnTo>
                <a:cubicBezTo>
                  <a:pt x="1503617" y="1565869"/>
                  <a:pt x="1505682" y="1566334"/>
                  <a:pt x="1507025" y="1566644"/>
                </a:cubicBezTo>
                <a:lnTo>
                  <a:pt x="1505166" y="1567883"/>
                </a:lnTo>
                <a:lnTo>
                  <a:pt x="1509090" y="1567883"/>
                </a:lnTo>
                <a:lnTo>
                  <a:pt x="1509400" y="1568038"/>
                </a:lnTo>
                <a:lnTo>
                  <a:pt x="1515595" y="1566334"/>
                </a:lnTo>
                <a:lnTo>
                  <a:pt x="1517454" y="1566953"/>
                </a:lnTo>
                <a:lnTo>
                  <a:pt x="1519829" y="1565250"/>
                </a:lnTo>
                <a:cubicBezTo>
                  <a:pt x="1524372" y="1563391"/>
                  <a:pt x="1527676" y="1565095"/>
                  <a:pt x="1530773" y="1562152"/>
                </a:cubicBezTo>
                <a:close/>
                <a:moveTo>
                  <a:pt x="5676752" y="1562112"/>
                </a:moveTo>
                <a:cubicBezTo>
                  <a:pt x="5679740" y="1563962"/>
                  <a:pt x="5682728" y="1565811"/>
                  <a:pt x="5682941" y="1568657"/>
                </a:cubicBezTo>
                <a:cubicBezTo>
                  <a:pt x="5682941" y="1569510"/>
                  <a:pt x="5682728" y="1570506"/>
                  <a:pt x="5682088" y="1571644"/>
                </a:cubicBezTo>
                <a:cubicBezTo>
                  <a:pt x="5676538" y="1573209"/>
                  <a:pt x="5672057" y="1568372"/>
                  <a:pt x="5676752" y="1562112"/>
                </a:cubicBezTo>
                <a:close/>
                <a:moveTo>
                  <a:pt x="3832592" y="1561116"/>
                </a:moveTo>
                <a:cubicBezTo>
                  <a:pt x="3834513" y="1562681"/>
                  <a:pt x="3831952" y="1575628"/>
                  <a:pt x="3827043" y="1572925"/>
                </a:cubicBezTo>
                <a:cubicBezTo>
                  <a:pt x="3823414" y="1569652"/>
                  <a:pt x="3830031" y="1561116"/>
                  <a:pt x="3832592" y="1561116"/>
                </a:cubicBezTo>
                <a:close/>
                <a:moveTo>
                  <a:pt x="1383221" y="1560758"/>
                </a:moveTo>
                <a:cubicBezTo>
                  <a:pt x="1384357" y="1561222"/>
                  <a:pt x="1385286" y="1562771"/>
                  <a:pt x="1385905" y="1565250"/>
                </a:cubicBezTo>
                <a:cubicBezTo>
                  <a:pt x="1385079" y="1566644"/>
                  <a:pt x="1382188" y="1565869"/>
                  <a:pt x="1380123" y="1565714"/>
                </a:cubicBezTo>
                <a:cubicBezTo>
                  <a:pt x="1388383" y="1567418"/>
                  <a:pt x="1395508" y="1573459"/>
                  <a:pt x="1397367" y="1582288"/>
                </a:cubicBezTo>
                <a:cubicBezTo>
                  <a:pt x="1396334" y="1582908"/>
                  <a:pt x="1395302" y="1583682"/>
                  <a:pt x="1395921" y="1584612"/>
                </a:cubicBezTo>
                <a:lnTo>
                  <a:pt x="1387867" y="1587864"/>
                </a:lnTo>
                <a:lnTo>
                  <a:pt x="1388693" y="1588329"/>
                </a:lnTo>
                <a:cubicBezTo>
                  <a:pt x="1389416" y="1588794"/>
                  <a:pt x="1389829" y="1589413"/>
                  <a:pt x="1389416" y="1589568"/>
                </a:cubicBezTo>
                <a:cubicBezTo>
                  <a:pt x="1389003" y="1590652"/>
                  <a:pt x="1389829" y="1590343"/>
                  <a:pt x="1390242" y="1591117"/>
                </a:cubicBezTo>
                <a:lnTo>
                  <a:pt x="1389519" y="1592201"/>
                </a:lnTo>
                <a:lnTo>
                  <a:pt x="1390139" y="1592666"/>
                </a:lnTo>
                <a:cubicBezTo>
                  <a:pt x="1391894" y="1593751"/>
                  <a:pt x="1391894" y="1593751"/>
                  <a:pt x="1391584" y="1594835"/>
                </a:cubicBezTo>
                <a:cubicBezTo>
                  <a:pt x="1391378" y="1595454"/>
                  <a:pt x="1390655" y="1595764"/>
                  <a:pt x="1389932" y="1596229"/>
                </a:cubicBezTo>
                <a:lnTo>
                  <a:pt x="1389003" y="1597003"/>
                </a:lnTo>
                <a:lnTo>
                  <a:pt x="1390345" y="1598552"/>
                </a:lnTo>
                <a:cubicBezTo>
                  <a:pt x="1391068" y="1599172"/>
                  <a:pt x="1391791" y="1599791"/>
                  <a:pt x="1392617" y="1600721"/>
                </a:cubicBezTo>
                <a:cubicBezTo>
                  <a:pt x="1391171" y="1603044"/>
                  <a:pt x="1386112" y="1606142"/>
                  <a:pt x="1381981" y="1604903"/>
                </a:cubicBezTo>
                <a:cubicBezTo>
                  <a:pt x="1381568" y="1603664"/>
                  <a:pt x="1381465" y="1602580"/>
                  <a:pt x="1381568" y="1601650"/>
                </a:cubicBezTo>
                <a:cubicBezTo>
                  <a:pt x="1381672" y="1600256"/>
                  <a:pt x="1382395" y="1599172"/>
                  <a:pt x="1383634" y="1598242"/>
                </a:cubicBezTo>
                <a:lnTo>
                  <a:pt x="1387247" y="1597003"/>
                </a:lnTo>
                <a:lnTo>
                  <a:pt x="1386422" y="1596539"/>
                </a:lnTo>
                <a:lnTo>
                  <a:pt x="1386112" y="1594990"/>
                </a:lnTo>
                <a:lnTo>
                  <a:pt x="1384047" y="1595299"/>
                </a:lnTo>
                <a:cubicBezTo>
                  <a:pt x="1382807" y="1594835"/>
                  <a:pt x="1381465" y="1594215"/>
                  <a:pt x="1380329" y="1593441"/>
                </a:cubicBezTo>
                <a:lnTo>
                  <a:pt x="1378987" y="1590652"/>
                </a:lnTo>
                <a:lnTo>
                  <a:pt x="1379090" y="1592666"/>
                </a:lnTo>
                <a:cubicBezTo>
                  <a:pt x="1376715" y="1593286"/>
                  <a:pt x="1375373" y="1592047"/>
                  <a:pt x="1374960" y="1590497"/>
                </a:cubicBezTo>
                <a:lnTo>
                  <a:pt x="1375476" y="1587864"/>
                </a:lnTo>
                <a:lnTo>
                  <a:pt x="1373205" y="1587554"/>
                </a:lnTo>
                <a:cubicBezTo>
                  <a:pt x="1365873" y="1584921"/>
                  <a:pt x="1360194" y="1579035"/>
                  <a:pt x="1360194" y="1571445"/>
                </a:cubicBezTo>
                <a:cubicBezTo>
                  <a:pt x="1365564" y="1566798"/>
                  <a:pt x="1371656" y="1564785"/>
                  <a:pt x="1377335" y="1565250"/>
                </a:cubicBezTo>
                <a:cubicBezTo>
                  <a:pt x="1378058" y="1565250"/>
                  <a:pt x="1378677" y="1565559"/>
                  <a:pt x="1379400" y="1565559"/>
                </a:cubicBezTo>
                <a:cubicBezTo>
                  <a:pt x="1379607" y="1564475"/>
                  <a:pt x="1379916" y="1563391"/>
                  <a:pt x="1379194" y="1563855"/>
                </a:cubicBezTo>
                <a:cubicBezTo>
                  <a:pt x="1379503" y="1562771"/>
                  <a:pt x="1380020" y="1561997"/>
                  <a:pt x="1380639" y="1561532"/>
                </a:cubicBezTo>
                <a:cubicBezTo>
                  <a:pt x="1381362" y="1561067"/>
                  <a:pt x="1382188" y="1560758"/>
                  <a:pt x="1383221" y="1560758"/>
                </a:cubicBezTo>
                <a:close/>
                <a:moveTo>
                  <a:pt x="5471229" y="1560263"/>
                </a:moveTo>
                <a:cubicBezTo>
                  <a:pt x="5474003" y="1562112"/>
                  <a:pt x="5477632" y="1564388"/>
                  <a:pt x="5478912" y="1566523"/>
                </a:cubicBezTo>
                <a:cubicBezTo>
                  <a:pt x="5476351" y="1566380"/>
                  <a:pt x="5472082" y="1564958"/>
                  <a:pt x="5471656" y="1561828"/>
                </a:cubicBezTo>
                <a:cubicBezTo>
                  <a:pt x="5471656" y="1561828"/>
                  <a:pt x="5471656" y="1561970"/>
                  <a:pt x="5471229" y="1560263"/>
                </a:cubicBezTo>
                <a:close/>
                <a:moveTo>
                  <a:pt x="5269333" y="1560263"/>
                </a:moveTo>
                <a:cubicBezTo>
                  <a:pt x="5277016" y="1561543"/>
                  <a:pt x="5286834" y="1567803"/>
                  <a:pt x="5288115" y="1571502"/>
                </a:cubicBezTo>
                <a:cubicBezTo>
                  <a:pt x="5283419" y="1572925"/>
                  <a:pt x="5279791" y="1569510"/>
                  <a:pt x="5274242" y="1570222"/>
                </a:cubicBezTo>
                <a:cubicBezTo>
                  <a:pt x="5272108" y="1566380"/>
                  <a:pt x="5265278" y="1566523"/>
                  <a:pt x="5262717" y="1560974"/>
                </a:cubicBezTo>
                <a:cubicBezTo>
                  <a:pt x="5264425" y="1560121"/>
                  <a:pt x="5266773" y="1559836"/>
                  <a:pt x="5269333" y="1560263"/>
                </a:cubicBezTo>
                <a:close/>
                <a:moveTo>
                  <a:pt x="4539651" y="1560121"/>
                </a:moveTo>
                <a:cubicBezTo>
                  <a:pt x="4539651" y="1563535"/>
                  <a:pt x="4539438" y="1568230"/>
                  <a:pt x="4538371" y="1570364"/>
                </a:cubicBezTo>
                <a:cubicBezTo>
                  <a:pt x="4537304" y="1567945"/>
                  <a:pt x="4536237" y="1563108"/>
                  <a:pt x="4538584" y="1561116"/>
                </a:cubicBezTo>
                <a:cubicBezTo>
                  <a:pt x="4538584" y="1561116"/>
                  <a:pt x="4538584" y="1561116"/>
                  <a:pt x="4539651" y="1560121"/>
                </a:cubicBezTo>
                <a:close/>
                <a:moveTo>
                  <a:pt x="1343467" y="1559983"/>
                </a:moveTo>
                <a:cubicBezTo>
                  <a:pt x="1341711" y="1561222"/>
                  <a:pt x="1339956" y="1562152"/>
                  <a:pt x="1338201" y="1562616"/>
                </a:cubicBezTo>
                <a:lnTo>
                  <a:pt x="1332935" y="1563855"/>
                </a:lnTo>
                <a:lnTo>
                  <a:pt x="1334277" y="1568812"/>
                </a:lnTo>
                <a:cubicBezTo>
                  <a:pt x="1333864" y="1570206"/>
                  <a:pt x="1333038" y="1571600"/>
                  <a:pt x="1331696" y="1572530"/>
                </a:cubicBezTo>
                <a:cubicBezTo>
                  <a:pt x="1329940" y="1573769"/>
                  <a:pt x="1327359" y="1574079"/>
                  <a:pt x="1324158" y="1573149"/>
                </a:cubicBezTo>
                <a:cubicBezTo>
                  <a:pt x="1323435" y="1571136"/>
                  <a:pt x="1323538" y="1569741"/>
                  <a:pt x="1323641" y="1568348"/>
                </a:cubicBezTo>
                <a:lnTo>
                  <a:pt x="1324055" y="1565869"/>
                </a:lnTo>
                <a:lnTo>
                  <a:pt x="1323022" y="1565405"/>
                </a:lnTo>
                <a:lnTo>
                  <a:pt x="1322299" y="1565559"/>
                </a:lnTo>
                <a:lnTo>
                  <a:pt x="1323022" y="1566179"/>
                </a:lnTo>
                <a:cubicBezTo>
                  <a:pt x="1323229" y="1566798"/>
                  <a:pt x="1323229" y="1567108"/>
                  <a:pt x="1323229" y="1567108"/>
                </a:cubicBezTo>
                <a:lnTo>
                  <a:pt x="1321473" y="1570516"/>
                </a:lnTo>
                <a:lnTo>
                  <a:pt x="1322506" y="1571755"/>
                </a:lnTo>
                <a:cubicBezTo>
                  <a:pt x="1319408" y="1574233"/>
                  <a:pt x="1314452" y="1574853"/>
                  <a:pt x="1310735" y="1575627"/>
                </a:cubicBezTo>
                <a:cubicBezTo>
                  <a:pt x="1312077" y="1572220"/>
                  <a:pt x="1315794" y="1571445"/>
                  <a:pt x="1314142" y="1564785"/>
                </a:cubicBezTo>
                <a:lnTo>
                  <a:pt x="1316310" y="1566024"/>
                </a:lnTo>
                <a:lnTo>
                  <a:pt x="1317860" y="1563855"/>
                </a:lnTo>
                <a:lnTo>
                  <a:pt x="1320854" y="1564475"/>
                </a:lnTo>
                <a:lnTo>
                  <a:pt x="1320751" y="1564165"/>
                </a:lnTo>
                <a:cubicBezTo>
                  <a:pt x="1320751" y="1563236"/>
                  <a:pt x="1321473" y="1562926"/>
                  <a:pt x="1322403" y="1562616"/>
                </a:cubicBezTo>
                <a:cubicBezTo>
                  <a:pt x="1323332" y="1562307"/>
                  <a:pt x="1324468" y="1562152"/>
                  <a:pt x="1325191" y="1561997"/>
                </a:cubicBezTo>
                <a:cubicBezTo>
                  <a:pt x="1325397" y="1560138"/>
                  <a:pt x="1329114" y="1562616"/>
                  <a:pt x="1329218" y="1560758"/>
                </a:cubicBezTo>
                <a:cubicBezTo>
                  <a:pt x="1333761" y="1562926"/>
                  <a:pt x="1336136" y="1557659"/>
                  <a:pt x="1343467" y="1559983"/>
                </a:cubicBezTo>
                <a:close/>
                <a:moveTo>
                  <a:pt x="5102866" y="1559267"/>
                </a:moveTo>
                <a:cubicBezTo>
                  <a:pt x="5105427" y="1559836"/>
                  <a:pt x="5107561" y="1559267"/>
                  <a:pt x="5110122" y="1559836"/>
                </a:cubicBezTo>
                <a:cubicBezTo>
                  <a:pt x="5112897" y="1562966"/>
                  <a:pt x="5113110" y="1571644"/>
                  <a:pt x="5109269" y="1574205"/>
                </a:cubicBezTo>
                <a:cubicBezTo>
                  <a:pt x="5107988" y="1575059"/>
                  <a:pt x="5106494" y="1575059"/>
                  <a:pt x="5104360" y="1574063"/>
                </a:cubicBezTo>
                <a:cubicBezTo>
                  <a:pt x="5098385" y="1570648"/>
                  <a:pt x="5100092" y="1565100"/>
                  <a:pt x="5102866" y="1559267"/>
                </a:cubicBezTo>
                <a:close/>
                <a:moveTo>
                  <a:pt x="1250794" y="1558937"/>
                </a:moveTo>
                <a:cubicBezTo>
                  <a:pt x="1255028" y="1558434"/>
                  <a:pt x="1259107" y="1558899"/>
                  <a:pt x="1260346" y="1560138"/>
                </a:cubicBezTo>
                <a:cubicBezTo>
                  <a:pt x="1259003" y="1561532"/>
                  <a:pt x="1257455" y="1561997"/>
                  <a:pt x="1255802" y="1562462"/>
                </a:cubicBezTo>
                <a:lnTo>
                  <a:pt x="1254047" y="1563236"/>
                </a:lnTo>
                <a:lnTo>
                  <a:pt x="1256215" y="1563081"/>
                </a:lnTo>
                <a:cubicBezTo>
                  <a:pt x="1256732" y="1564940"/>
                  <a:pt x="1257248" y="1566798"/>
                  <a:pt x="1256628" y="1568348"/>
                </a:cubicBezTo>
                <a:cubicBezTo>
                  <a:pt x="1254150" y="1568192"/>
                  <a:pt x="1252292" y="1568502"/>
                  <a:pt x="1250433" y="1567728"/>
                </a:cubicBezTo>
                <a:cubicBezTo>
                  <a:pt x="1250020" y="1566644"/>
                  <a:pt x="1249917" y="1565869"/>
                  <a:pt x="1250124" y="1565095"/>
                </a:cubicBezTo>
                <a:lnTo>
                  <a:pt x="1250227" y="1564785"/>
                </a:lnTo>
                <a:lnTo>
                  <a:pt x="1245787" y="1564475"/>
                </a:lnTo>
                <a:cubicBezTo>
                  <a:pt x="1243928" y="1564630"/>
                  <a:pt x="1241966" y="1564785"/>
                  <a:pt x="1240314" y="1563546"/>
                </a:cubicBezTo>
                <a:cubicBezTo>
                  <a:pt x="1242173" y="1560912"/>
                  <a:pt x="1246561" y="1559441"/>
                  <a:pt x="1250794" y="1558937"/>
                </a:cubicBezTo>
                <a:close/>
                <a:moveTo>
                  <a:pt x="1479042" y="1558744"/>
                </a:moveTo>
                <a:cubicBezTo>
                  <a:pt x="1480694" y="1559673"/>
                  <a:pt x="1480488" y="1560603"/>
                  <a:pt x="1479559" y="1561377"/>
                </a:cubicBezTo>
                <a:cubicBezTo>
                  <a:pt x="1479559" y="1561377"/>
                  <a:pt x="1478423" y="1562152"/>
                  <a:pt x="1477494" y="1562926"/>
                </a:cubicBezTo>
                <a:cubicBezTo>
                  <a:pt x="1476461" y="1563701"/>
                  <a:pt x="1476255" y="1564475"/>
                  <a:pt x="1476255" y="1564475"/>
                </a:cubicBezTo>
                <a:cubicBezTo>
                  <a:pt x="1475222" y="1565250"/>
                  <a:pt x="1474396" y="1565250"/>
                  <a:pt x="1473673" y="1564320"/>
                </a:cubicBezTo>
                <a:cubicBezTo>
                  <a:pt x="1473673" y="1564320"/>
                  <a:pt x="1474809" y="1562616"/>
                  <a:pt x="1474809" y="1562616"/>
                </a:cubicBezTo>
                <a:cubicBezTo>
                  <a:pt x="1476874" y="1561067"/>
                  <a:pt x="1477906" y="1560293"/>
                  <a:pt x="1479042" y="1558744"/>
                </a:cubicBezTo>
                <a:close/>
                <a:moveTo>
                  <a:pt x="4563981" y="1558129"/>
                </a:moveTo>
                <a:cubicBezTo>
                  <a:pt x="4565049" y="1558129"/>
                  <a:pt x="4566115" y="1558698"/>
                  <a:pt x="4566969" y="1560263"/>
                </a:cubicBezTo>
                <a:lnTo>
                  <a:pt x="4564835" y="1563108"/>
                </a:lnTo>
                <a:lnTo>
                  <a:pt x="4565902" y="1562966"/>
                </a:lnTo>
                <a:cubicBezTo>
                  <a:pt x="4569530" y="1566807"/>
                  <a:pt x="4567396" y="1569226"/>
                  <a:pt x="4565262" y="1573921"/>
                </a:cubicBezTo>
                <a:cubicBezTo>
                  <a:pt x="4563981" y="1572640"/>
                  <a:pt x="4560780" y="1576197"/>
                  <a:pt x="4559499" y="1577335"/>
                </a:cubicBezTo>
                <a:cubicBezTo>
                  <a:pt x="4557152" y="1574774"/>
                  <a:pt x="4552670" y="1578189"/>
                  <a:pt x="4549042" y="1574347"/>
                </a:cubicBezTo>
                <a:cubicBezTo>
                  <a:pt x="4548828" y="1571929"/>
                  <a:pt x="4548828" y="1570791"/>
                  <a:pt x="4549895" y="1568372"/>
                </a:cubicBezTo>
                <a:cubicBezTo>
                  <a:pt x="4552243" y="1566380"/>
                  <a:pt x="4554164" y="1565100"/>
                  <a:pt x="4556085" y="1564388"/>
                </a:cubicBezTo>
                <a:lnTo>
                  <a:pt x="4560566" y="1563108"/>
                </a:lnTo>
                <a:lnTo>
                  <a:pt x="4560353" y="1560832"/>
                </a:lnTo>
                <a:cubicBezTo>
                  <a:pt x="4560993" y="1559267"/>
                  <a:pt x="4562274" y="1557986"/>
                  <a:pt x="4563981" y="1558129"/>
                </a:cubicBezTo>
                <a:close/>
                <a:moveTo>
                  <a:pt x="1609558" y="1557659"/>
                </a:moveTo>
                <a:cubicBezTo>
                  <a:pt x="1612966" y="1557505"/>
                  <a:pt x="1615340" y="1560138"/>
                  <a:pt x="1616270" y="1563236"/>
                </a:cubicBezTo>
                <a:cubicBezTo>
                  <a:pt x="1617096" y="1566334"/>
                  <a:pt x="1616683" y="1569741"/>
                  <a:pt x="1614514" y="1571445"/>
                </a:cubicBezTo>
                <a:cubicBezTo>
                  <a:pt x="1610384" y="1568348"/>
                  <a:pt x="1607700" y="1565559"/>
                  <a:pt x="1608113" y="1561687"/>
                </a:cubicBezTo>
                <a:cubicBezTo>
                  <a:pt x="1608216" y="1560448"/>
                  <a:pt x="1608732" y="1559208"/>
                  <a:pt x="1609558" y="1557659"/>
                </a:cubicBezTo>
                <a:close/>
                <a:moveTo>
                  <a:pt x="4511480" y="1557560"/>
                </a:moveTo>
                <a:cubicBezTo>
                  <a:pt x="4512974" y="1557986"/>
                  <a:pt x="4514468" y="1560121"/>
                  <a:pt x="4515108" y="1561259"/>
                </a:cubicBezTo>
                <a:cubicBezTo>
                  <a:pt x="4514254" y="1561828"/>
                  <a:pt x="4514895" y="1562824"/>
                  <a:pt x="4514041" y="1563535"/>
                </a:cubicBezTo>
                <a:cubicBezTo>
                  <a:pt x="4512761" y="1565811"/>
                  <a:pt x="4512761" y="1565953"/>
                  <a:pt x="4511053" y="1565527"/>
                </a:cubicBezTo>
                <a:cubicBezTo>
                  <a:pt x="4509559" y="1565100"/>
                  <a:pt x="4508279" y="1561259"/>
                  <a:pt x="4506571" y="1560832"/>
                </a:cubicBezTo>
                <a:cubicBezTo>
                  <a:pt x="4506571" y="1560832"/>
                  <a:pt x="4506571" y="1560690"/>
                  <a:pt x="4507852" y="1558414"/>
                </a:cubicBezTo>
                <a:cubicBezTo>
                  <a:pt x="4508706" y="1557702"/>
                  <a:pt x="4509773" y="1557133"/>
                  <a:pt x="4511480" y="1557560"/>
                </a:cubicBezTo>
                <a:close/>
                <a:moveTo>
                  <a:pt x="3886800" y="1557560"/>
                </a:moveTo>
                <a:cubicBezTo>
                  <a:pt x="3888081" y="1557417"/>
                  <a:pt x="3888721" y="1558129"/>
                  <a:pt x="3888935" y="1559267"/>
                </a:cubicBezTo>
                <a:lnTo>
                  <a:pt x="3888935" y="1561116"/>
                </a:lnTo>
                <a:lnTo>
                  <a:pt x="3892990" y="1558840"/>
                </a:lnTo>
                <a:cubicBezTo>
                  <a:pt x="3895764" y="1560690"/>
                  <a:pt x="3900673" y="1559409"/>
                  <a:pt x="3903447" y="1567234"/>
                </a:cubicBezTo>
                <a:cubicBezTo>
                  <a:pt x="3905795" y="1576055"/>
                  <a:pt x="3897045" y="1579327"/>
                  <a:pt x="3897898" y="1579896"/>
                </a:cubicBezTo>
                <a:lnTo>
                  <a:pt x="3898111" y="1580892"/>
                </a:lnTo>
                <a:lnTo>
                  <a:pt x="3899392" y="1580038"/>
                </a:lnTo>
                <a:cubicBezTo>
                  <a:pt x="3900033" y="1579327"/>
                  <a:pt x="3900459" y="1578900"/>
                  <a:pt x="3900459" y="1578900"/>
                </a:cubicBezTo>
                <a:cubicBezTo>
                  <a:pt x="3903020" y="1578616"/>
                  <a:pt x="3903447" y="1579611"/>
                  <a:pt x="3903020" y="1578616"/>
                </a:cubicBezTo>
                <a:cubicBezTo>
                  <a:pt x="3906008" y="1579469"/>
                  <a:pt x="3910063" y="1579611"/>
                  <a:pt x="3910277" y="1582315"/>
                </a:cubicBezTo>
                <a:cubicBezTo>
                  <a:pt x="3908782" y="1589143"/>
                  <a:pt x="3899819" y="1590282"/>
                  <a:pt x="3893843" y="1590709"/>
                </a:cubicBezTo>
                <a:lnTo>
                  <a:pt x="3889788" y="1591135"/>
                </a:lnTo>
                <a:lnTo>
                  <a:pt x="3888295" y="1594692"/>
                </a:lnTo>
                <a:cubicBezTo>
                  <a:pt x="3886374" y="1595830"/>
                  <a:pt x="3883599" y="1594265"/>
                  <a:pt x="3882959" y="1591989"/>
                </a:cubicBezTo>
                <a:lnTo>
                  <a:pt x="3883812" y="1589001"/>
                </a:lnTo>
                <a:lnTo>
                  <a:pt x="3881678" y="1589143"/>
                </a:lnTo>
                <a:cubicBezTo>
                  <a:pt x="3882105" y="1587578"/>
                  <a:pt x="3883599" y="1582599"/>
                  <a:pt x="3883599" y="1582599"/>
                </a:cubicBezTo>
                <a:cubicBezTo>
                  <a:pt x="3883172" y="1581603"/>
                  <a:pt x="3883172" y="1581603"/>
                  <a:pt x="3883599" y="1580038"/>
                </a:cubicBezTo>
                <a:cubicBezTo>
                  <a:pt x="3885093" y="1580323"/>
                  <a:pt x="3885093" y="1580323"/>
                  <a:pt x="3885733" y="1581461"/>
                </a:cubicBezTo>
                <a:cubicBezTo>
                  <a:pt x="3885093" y="1583026"/>
                  <a:pt x="3884026" y="1583595"/>
                  <a:pt x="3883599" y="1585302"/>
                </a:cubicBezTo>
                <a:cubicBezTo>
                  <a:pt x="3886587" y="1586014"/>
                  <a:pt x="3886160" y="1585018"/>
                  <a:pt x="3885733" y="1586725"/>
                </a:cubicBezTo>
                <a:cubicBezTo>
                  <a:pt x="3885733" y="1586725"/>
                  <a:pt x="3885733" y="1586725"/>
                  <a:pt x="3885093" y="1588432"/>
                </a:cubicBezTo>
                <a:lnTo>
                  <a:pt x="3885093" y="1588717"/>
                </a:lnTo>
                <a:lnTo>
                  <a:pt x="3885307" y="1588859"/>
                </a:lnTo>
                <a:lnTo>
                  <a:pt x="3885093" y="1588432"/>
                </a:lnTo>
                <a:lnTo>
                  <a:pt x="3895551" y="1582883"/>
                </a:lnTo>
                <a:lnTo>
                  <a:pt x="3895764" y="1581461"/>
                </a:lnTo>
                <a:cubicBezTo>
                  <a:pt x="3894910" y="1582457"/>
                  <a:pt x="3894697" y="1580750"/>
                  <a:pt x="3894697" y="1580750"/>
                </a:cubicBezTo>
                <a:cubicBezTo>
                  <a:pt x="3894697" y="1580750"/>
                  <a:pt x="3894697" y="1580750"/>
                  <a:pt x="3891496" y="1581603"/>
                </a:cubicBezTo>
                <a:cubicBezTo>
                  <a:pt x="3891496" y="1581603"/>
                  <a:pt x="3884239" y="1582741"/>
                  <a:pt x="3882105" y="1575628"/>
                </a:cubicBezTo>
                <a:cubicBezTo>
                  <a:pt x="3882745" y="1575486"/>
                  <a:pt x="3882959" y="1574063"/>
                  <a:pt x="3883172" y="1572071"/>
                </a:cubicBezTo>
                <a:lnTo>
                  <a:pt x="3883812" y="1568657"/>
                </a:lnTo>
                <a:lnTo>
                  <a:pt x="3883386" y="1570080"/>
                </a:lnTo>
                <a:cubicBezTo>
                  <a:pt x="3882105" y="1571502"/>
                  <a:pt x="3880184" y="1572214"/>
                  <a:pt x="3878264" y="1572356"/>
                </a:cubicBezTo>
                <a:cubicBezTo>
                  <a:pt x="3874636" y="1567945"/>
                  <a:pt x="3876343" y="1563962"/>
                  <a:pt x="3880398" y="1563108"/>
                </a:cubicBezTo>
                <a:lnTo>
                  <a:pt x="3885093" y="1563393"/>
                </a:lnTo>
                <a:cubicBezTo>
                  <a:pt x="3885307" y="1561116"/>
                  <a:pt x="3885520" y="1559267"/>
                  <a:pt x="3885733" y="1558129"/>
                </a:cubicBezTo>
                <a:cubicBezTo>
                  <a:pt x="3886587" y="1557560"/>
                  <a:pt x="3886800" y="1557560"/>
                  <a:pt x="3886800" y="1557560"/>
                </a:cubicBezTo>
                <a:close/>
                <a:moveTo>
                  <a:pt x="1183317" y="1557505"/>
                </a:moveTo>
                <a:cubicBezTo>
                  <a:pt x="1184452" y="1562771"/>
                  <a:pt x="1188066" y="1566488"/>
                  <a:pt x="1186827" y="1569277"/>
                </a:cubicBezTo>
                <a:cubicBezTo>
                  <a:pt x="1186414" y="1570206"/>
                  <a:pt x="1185485" y="1571136"/>
                  <a:pt x="1183730" y="1571910"/>
                </a:cubicBezTo>
                <a:cubicBezTo>
                  <a:pt x="1182387" y="1570671"/>
                  <a:pt x="1179806" y="1566488"/>
                  <a:pt x="1179290" y="1562926"/>
                </a:cubicBezTo>
                <a:cubicBezTo>
                  <a:pt x="1179083" y="1561687"/>
                  <a:pt x="1179186" y="1560603"/>
                  <a:pt x="1179599" y="1559673"/>
                </a:cubicBezTo>
                <a:cubicBezTo>
                  <a:pt x="1180116" y="1558434"/>
                  <a:pt x="1181355" y="1557659"/>
                  <a:pt x="1183317" y="1557505"/>
                </a:cubicBezTo>
                <a:close/>
                <a:moveTo>
                  <a:pt x="3615971" y="1557417"/>
                </a:moveTo>
                <a:cubicBezTo>
                  <a:pt x="3617251" y="1557275"/>
                  <a:pt x="3618318" y="1557417"/>
                  <a:pt x="3618958" y="1557702"/>
                </a:cubicBezTo>
                <a:cubicBezTo>
                  <a:pt x="3624294" y="1567661"/>
                  <a:pt x="3615971" y="1572214"/>
                  <a:pt x="3610208" y="1569083"/>
                </a:cubicBezTo>
                <a:cubicBezTo>
                  <a:pt x="3608287" y="1568088"/>
                  <a:pt x="3606580" y="1566238"/>
                  <a:pt x="3605726" y="1563393"/>
                </a:cubicBezTo>
                <a:cubicBezTo>
                  <a:pt x="3607007" y="1560974"/>
                  <a:pt x="3612129" y="1558129"/>
                  <a:pt x="3615971" y="1557417"/>
                </a:cubicBezTo>
                <a:close/>
                <a:moveTo>
                  <a:pt x="1526850" y="1557350"/>
                </a:moveTo>
                <a:cubicBezTo>
                  <a:pt x="1527263" y="1558124"/>
                  <a:pt x="1528192" y="1559519"/>
                  <a:pt x="1530154" y="1559519"/>
                </a:cubicBezTo>
                <a:cubicBezTo>
                  <a:pt x="1529638" y="1561687"/>
                  <a:pt x="1529018" y="1564010"/>
                  <a:pt x="1526643" y="1563236"/>
                </a:cubicBezTo>
                <a:cubicBezTo>
                  <a:pt x="1525404" y="1562926"/>
                  <a:pt x="1524268" y="1562616"/>
                  <a:pt x="1523339" y="1561067"/>
                </a:cubicBezTo>
                <a:cubicBezTo>
                  <a:pt x="1523856" y="1558744"/>
                  <a:pt x="1526540" y="1558434"/>
                  <a:pt x="1526850" y="1557350"/>
                </a:cubicBezTo>
                <a:close/>
                <a:moveTo>
                  <a:pt x="6004992" y="1556991"/>
                </a:moveTo>
                <a:cubicBezTo>
                  <a:pt x="6005205" y="1558271"/>
                  <a:pt x="6005418" y="1559409"/>
                  <a:pt x="6006485" y="1559409"/>
                </a:cubicBezTo>
                <a:cubicBezTo>
                  <a:pt x="6004565" y="1561828"/>
                  <a:pt x="6003497" y="1561970"/>
                  <a:pt x="6002430" y="1563108"/>
                </a:cubicBezTo>
                <a:cubicBezTo>
                  <a:pt x="6003711" y="1563108"/>
                  <a:pt x="6002644" y="1564388"/>
                  <a:pt x="6002644" y="1564388"/>
                </a:cubicBezTo>
                <a:cubicBezTo>
                  <a:pt x="6002644" y="1564388"/>
                  <a:pt x="6002644" y="1564388"/>
                  <a:pt x="6005205" y="1566665"/>
                </a:cubicBezTo>
                <a:cubicBezTo>
                  <a:pt x="6005205" y="1566665"/>
                  <a:pt x="6010754" y="1572356"/>
                  <a:pt x="6006912" y="1578616"/>
                </a:cubicBezTo>
                <a:cubicBezTo>
                  <a:pt x="6005632" y="1577478"/>
                  <a:pt x="5999656" y="1585018"/>
                  <a:pt x="5994747" y="1582883"/>
                </a:cubicBezTo>
                <a:cubicBezTo>
                  <a:pt x="5992186" y="1581888"/>
                  <a:pt x="5990906" y="1580607"/>
                  <a:pt x="5988558" y="1579611"/>
                </a:cubicBezTo>
                <a:cubicBezTo>
                  <a:pt x="5987918" y="1576055"/>
                  <a:pt x="5984076" y="1572782"/>
                  <a:pt x="5987704" y="1565242"/>
                </a:cubicBezTo>
                <a:cubicBezTo>
                  <a:pt x="5992400" y="1557844"/>
                  <a:pt x="6000083" y="1563393"/>
                  <a:pt x="5999869" y="1562255"/>
                </a:cubicBezTo>
                <a:cubicBezTo>
                  <a:pt x="6000937" y="1560974"/>
                  <a:pt x="6000937" y="1560832"/>
                  <a:pt x="6000723" y="1559694"/>
                </a:cubicBezTo>
                <a:cubicBezTo>
                  <a:pt x="6002004" y="1559694"/>
                  <a:pt x="6004138" y="1558271"/>
                  <a:pt x="6004992" y="1556991"/>
                </a:cubicBezTo>
                <a:close/>
                <a:moveTo>
                  <a:pt x="4128178" y="1556991"/>
                </a:moveTo>
                <a:cubicBezTo>
                  <a:pt x="4129459" y="1557275"/>
                  <a:pt x="4130952" y="1558129"/>
                  <a:pt x="4132233" y="1559551"/>
                </a:cubicBezTo>
                <a:cubicBezTo>
                  <a:pt x="4128178" y="1559694"/>
                  <a:pt x="4126471" y="1560263"/>
                  <a:pt x="4123696" y="1557275"/>
                </a:cubicBezTo>
                <a:cubicBezTo>
                  <a:pt x="4125190" y="1556849"/>
                  <a:pt x="4126684" y="1556706"/>
                  <a:pt x="4128178" y="1556991"/>
                </a:cubicBezTo>
                <a:close/>
                <a:moveTo>
                  <a:pt x="1797381" y="1556730"/>
                </a:moveTo>
                <a:cubicBezTo>
                  <a:pt x="1799240" y="1557040"/>
                  <a:pt x="1801305" y="1557969"/>
                  <a:pt x="1803473" y="1559053"/>
                </a:cubicBezTo>
                <a:cubicBezTo>
                  <a:pt x="1802647" y="1563855"/>
                  <a:pt x="1796968" y="1561997"/>
                  <a:pt x="1796142" y="1559363"/>
                </a:cubicBezTo>
                <a:cubicBezTo>
                  <a:pt x="1795936" y="1558589"/>
                  <a:pt x="1796142" y="1557505"/>
                  <a:pt x="1797381" y="1556730"/>
                </a:cubicBezTo>
                <a:close/>
                <a:moveTo>
                  <a:pt x="1557414" y="1556420"/>
                </a:moveTo>
                <a:cubicBezTo>
                  <a:pt x="1557414" y="1560912"/>
                  <a:pt x="1554006" y="1567108"/>
                  <a:pt x="1549050" y="1567883"/>
                </a:cubicBezTo>
                <a:lnTo>
                  <a:pt x="1546469" y="1567263"/>
                </a:lnTo>
                <a:lnTo>
                  <a:pt x="1548224" y="1568657"/>
                </a:lnTo>
                <a:cubicBezTo>
                  <a:pt x="1551735" y="1573614"/>
                  <a:pt x="1552044" y="1581049"/>
                  <a:pt x="1551012" y="1585386"/>
                </a:cubicBezTo>
                <a:cubicBezTo>
                  <a:pt x="1545023" y="1582753"/>
                  <a:pt x="1542132" y="1575627"/>
                  <a:pt x="1542235" y="1569896"/>
                </a:cubicBezTo>
                <a:cubicBezTo>
                  <a:pt x="1542338" y="1568038"/>
                  <a:pt x="1542751" y="1566179"/>
                  <a:pt x="1543474" y="1564785"/>
                </a:cubicBezTo>
                <a:lnTo>
                  <a:pt x="1544713" y="1565869"/>
                </a:lnTo>
                <a:lnTo>
                  <a:pt x="1550083" y="1560912"/>
                </a:lnTo>
                <a:cubicBezTo>
                  <a:pt x="1552251" y="1559053"/>
                  <a:pt x="1554626" y="1557350"/>
                  <a:pt x="1557414" y="1556420"/>
                </a:cubicBezTo>
                <a:close/>
                <a:moveTo>
                  <a:pt x="954294" y="1556420"/>
                </a:moveTo>
                <a:cubicBezTo>
                  <a:pt x="954294" y="1556420"/>
                  <a:pt x="955017" y="1556575"/>
                  <a:pt x="955740" y="1556885"/>
                </a:cubicBezTo>
                <a:cubicBezTo>
                  <a:pt x="956463" y="1557195"/>
                  <a:pt x="957186" y="1557815"/>
                  <a:pt x="957392" y="1558279"/>
                </a:cubicBezTo>
                <a:cubicBezTo>
                  <a:pt x="958425" y="1559983"/>
                  <a:pt x="954810" y="1560603"/>
                  <a:pt x="954397" y="1561222"/>
                </a:cubicBezTo>
                <a:cubicBezTo>
                  <a:pt x="953158" y="1561377"/>
                  <a:pt x="952023" y="1561687"/>
                  <a:pt x="951713" y="1560448"/>
                </a:cubicBezTo>
                <a:cubicBezTo>
                  <a:pt x="951506" y="1559828"/>
                  <a:pt x="951196" y="1559519"/>
                  <a:pt x="951196" y="1559053"/>
                </a:cubicBezTo>
                <a:cubicBezTo>
                  <a:pt x="951196" y="1558744"/>
                  <a:pt x="951403" y="1558434"/>
                  <a:pt x="952229" y="1557969"/>
                </a:cubicBezTo>
                <a:cubicBezTo>
                  <a:pt x="952642" y="1557350"/>
                  <a:pt x="953881" y="1557040"/>
                  <a:pt x="954294" y="1556420"/>
                </a:cubicBezTo>
                <a:close/>
                <a:moveTo>
                  <a:pt x="936534" y="1556265"/>
                </a:moveTo>
                <a:cubicBezTo>
                  <a:pt x="940974" y="1556265"/>
                  <a:pt x="943349" y="1558589"/>
                  <a:pt x="944382" y="1561842"/>
                </a:cubicBezTo>
                <a:cubicBezTo>
                  <a:pt x="942110" y="1565869"/>
                  <a:pt x="935502" y="1564475"/>
                  <a:pt x="934263" y="1560293"/>
                </a:cubicBezTo>
                <a:cubicBezTo>
                  <a:pt x="934779" y="1559208"/>
                  <a:pt x="935192" y="1557505"/>
                  <a:pt x="936534" y="1556265"/>
                </a:cubicBezTo>
                <a:close/>
                <a:moveTo>
                  <a:pt x="1492362" y="1555955"/>
                </a:moveTo>
                <a:cubicBezTo>
                  <a:pt x="1491846" y="1557969"/>
                  <a:pt x="1491123" y="1561687"/>
                  <a:pt x="1489471" y="1563081"/>
                </a:cubicBezTo>
                <a:cubicBezTo>
                  <a:pt x="1488852" y="1563546"/>
                  <a:pt x="1488232" y="1563701"/>
                  <a:pt x="1487509" y="1563546"/>
                </a:cubicBezTo>
                <a:cubicBezTo>
                  <a:pt x="1486374" y="1562926"/>
                  <a:pt x="1486890" y="1561997"/>
                  <a:pt x="1486580" y="1561222"/>
                </a:cubicBezTo>
                <a:cubicBezTo>
                  <a:pt x="1486683" y="1559828"/>
                  <a:pt x="1489265" y="1557195"/>
                  <a:pt x="1491020" y="1556265"/>
                </a:cubicBezTo>
                <a:cubicBezTo>
                  <a:pt x="1491536" y="1555955"/>
                  <a:pt x="1492053" y="1555801"/>
                  <a:pt x="1492362" y="1555955"/>
                </a:cubicBezTo>
                <a:close/>
                <a:moveTo>
                  <a:pt x="3730150" y="1555568"/>
                </a:moveTo>
                <a:cubicBezTo>
                  <a:pt x="3731218" y="1556706"/>
                  <a:pt x="3733778" y="1560405"/>
                  <a:pt x="3731644" y="1563820"/>
                </a:cubicBezTo>
                <a:cubicBezTo>
                  <a:pt x="3729510" y="1567234"/>
                  <a:pt x="3730791" y="1570648"/>
                  <a:pt x="3728656" y="1574063"/>
                </a:cubicBezTo>
                <a:cubicBezTo>
                  <a:pt x="3728656" y="1574063"/>
                  <a:pt x="3728443" y="1574063"/>
                  <a:pt x="3727376" y="1572925"/>
                </a:cubicBezTo>
                <a:cubicBezTo>
                  <a:pt x="3729510" y="1567092"/>
                  <a:pt x="3726735" y="1561259"/>
                  <a:pt x="3730150" y="1555568"/>
                </a:cubicBezTo>
                <a:close/>
                <a:moveTo>
                  <a:pt x="1125906" y="1555336"/>
                </a:moveTo>
                <a:cubicBezTo>
                  <a:pt x="1127661" y="1556111"/>
                  <a:pt x="1126629" y="1558744"/>
                  <a:pt x="1126629" y="1560293"/>
                </a:cubicBezTo>
                <a:cubicBezTo>
                  <a:pt x="1128281" y="1561067"/>
                  <a:pt x="1124667" y="1563701"/>
                  <a:pt x="1126422" y="1564475"/>
                </a:cubicBezTo>
                <a:cubicBezTo>
                  <a:pt x="1122705" y="1567883"/>
                  <a:pt x="1126939" y="1571910"/>
                  <a:pt x="1122292" y="1577951"/>
                </a:cubicBezTo>
                <a:cubicBezTo>
                  <a:pt x="1121673" y="1575937"/>
                  <a:pt x="1121466" y="1574079"/>
                  <a:pt x="1121466" y="1572220"/>
                </a:cubicBezTo>
                <a:cubicBezTo>
                  <a:pt x="1121569" y="1566798"/>
                  <a:pt x="1123428" y="1562616"/>
                  <a:pt x="1122292" y="1558899"/>
                </a:cubicBezTo>
                <a:cubicBezTo>
                  <a:pt x="1122292" y="1558899"/>
                  <a:pt x="1122189" y="1558899"/>
                  <a:pt x="1124047" y="1557195"/>
                </a:cubicBezTo>
                <a:cubicBezTo>
                  <a:pt x="1124151" y="1556265"/>
                  <a:pt x="1124151" y="1556265"/>
                  <a:pt x="1124151" y="1556265"/>
                </a:cubicBezTo>
                <a:cubicBezTo>
                  <a:pt x="1124151" y="1555491"/>
                  <a:pt x="1125906" y="1555336"/>
                  <a:pt x="1125906" y="1555336"/>
                </a:cubicBezTo>
                <a:close/>
                <a:moveTo>
                  <a:pt x="4252388" y="1554857"/>
                </a:moveTo>
                <a:cubicBezTo>
                  <a:pt x="4253242" y="1554572"/>
                  <a:pt x="4254096" y="1554572"/>
                  <a:pt x="4255376" y="1554857"/>
                </a:cubicBezTo>
                <a:cubicBezTo>
                  <a:pt x="4257297" y="1560263"/>
                  <a:pt x="4253242" y="1566096"/>
                  <a:pt x="4246840" y="1562966"/>
                </a:cubicBezTo>
                <a:cubicBezTo>
                  <a:pt x="4248333" y="1559409"/>
                  <a:pt x="4249827" y="1555710"/>
                  <a:pt x="4252388" y="1554857"/>
                </a:cubicBezTo>
                <a:close/>
                <a:moveTo>
                  <a:pt x="1297311" y="1554717"/>
                </a:moveTo>
                <a:cubicBezTo>
                  <a:pt x="1308876" y="1553787"/>
                  <a:pt x="1311354" y="1561997"/>
                  <a:pt x="1305985" y="1565405"/>
                </a:cubicBezTo>
                <a:cubicBezTo>
                  <a:pt x="1304230" y="1566488"/>
                  <a:pt x="1301545" y="1566953"/>
                  <a:pt x="1298034" y="1566488"/>
                </a:cubicBezTo>
                <a:cubicBezTo>
                  <a:pt x="1296279" y="1565095"/>
                  <a:pt x="1295350" y="1562616"/>
                  <a:pt x="1295143" y="1560138"/>
                </a:cubicBezTo>
                <a:cubicBezTo>
                  <a:pt x="1295040" y="1557659"/>
                  <a:pt x="1295763" y="1555491"/>
                  <a:pt x="1297311" y="1554717"/>
                </a:cubicBezTo>
                <a:close/>
                <a:moveTo>
                  <a:pt x="4578067" y="1554714"/>
                </a:moveTo>
                <a:cubicBezTo>
                  <a:pt x="4579134" y="1554288"/>
                  <a:pt x="4580201" y="1554288"/>
                  <a:pt x="4581268" y="1554857"/>
                </a:cubicBezTo>
                <a:cubicBezTo>
                  <a:pt x="4583616" y="1555710"/>
                  <a:pt x="4585536" y="1558414"/>
                  <a:pt x="4585963" y="1562255"/>
                </a:cubicBezTo>
                <a:cubicBezTo>
                  <a:pt x="4583403" y="1563251"/>
                  <a:pt x="4581268" y="1563108"/>
                  <a:pt x="4579348" y="1562255"/>
                </a:cubicBezTo>
                <a:lnTo>
                  <a:pt x="4578067" y="1560974"/>
                </a:lnTo>
                <a:lnTo>
                  <a:pt x="4577213" y="1560121"/>
                </a:lnTo>
                <a:lnTo>
                  <a:pt x="4575079" y="1557702"/>
                </a:lnTo>
                <a:cubicBezTo>
                  <a:pt x="4575933" y="1556137"/>
                  <a:pt x="4576786" y="1555141"/>
                  <a:pt x="4578067" y="1554714"/>
                </a:cubicBezTo>
                <a:close/>
                <a:moveTo>
                  <a:pt x="3735913" y="1554430"/>
                </a:moveTo>
                <a:cubicBezTo>
                  <a:pt x="3736980" y="1555568"/>
                  <a:pt x="3737193" y="1556706"/>
                  <a:pt x="3738260" y="1557986"/>
                </a:cubicBezTo>
                <a:cubicBezTo>
                  <a:pt x="3740608" y="1555710"/>
                  <a:pt x="3739327" y="1555710"/>
                  <a:pt x="3740608" y="1556991"/>
                </a:cubicBezTo>
                <a:cubicBezTo>
                  <a:pt x="3740608" y="1556991"/>
                  <a:pt x="3740608" y="1556991"/>
                  <a:pt x="3741889" y="1558129"/>
                </a:cubicBezTo>
                <a:cubicBezTo>
                  <a:pt x="3741889" y="1558129"/>
                  <a:pt x="3742956" y="1558271"/>
                  <a:pt x="3740821" y="1561686"/>
                </a:cubicBezTo>
                <a:cubicBezTo>
                  <a:pt x="3739541" y="1560405"/>
                  <a:pt x="3736126" y="1556706"/>
                  <a:pt x="3736126" y="1556706"/>
                </a:cubicBezTo>
                <a:cubicBezTo>
                  <a:pt x="3734845" y="1556564"/>
                  <a:pt x="3734845" y="1556706"/>
                  <a:pt x="3733565" y="1555426"/>
                </a:cubicBezTo>
                <a:cubicBezTo>
                  <a:pt x="3734632" y="1554288"/>
                  <a:pt x="3734632" y="1554288"/>
                  <a:pt x="3735913" y="1554430"/>
                </a:cubicBezTo>
                <a:close/>
                <a:moveTo>
                  <a:pt x="1314762" y="1553477"/>
                </a:moveTo>
                <a:cubicBezTo>
                  <a:pt x="1317860" y="1556265"/>
                  <a:pt x="1317860" y="1559363"/>
                  <a:pt x="1315794" y="1562307"/>
                </a:cubicBezTo>
                <a:cubicBezTo>
                  <a:pt x="1312180" y="1563391"/>
                  <a:pt x="1309289" y="1560912"/>
                  <a:pt x="1309083" y="1557969"/>
                </a:cubicBezTo>
                <a:cubicBezTo>
                  <a:pt x="1309083" y="1556885"/>
                  <a:pt x="1309289" y="1555955"/>
                  <a:pt x="1309908" y="1555026"/>
                </a:cubicBezTo>
                <a:cubicBezTo>
                  <a:pt x="1311148" y="1554562"/>
                  <a:pt x="1312903" y="1553477"/>
                  <a:pt x="1314762" y="1553477"/>
                </a:cubicBezTo>
                <a:close/>
                <a:moveTo>
                  <a:pt x="5586902" y="1552722"/>
                </a:moveTo>
                <a:cubicBezTo>
                  <a:pt x="5588182" y="1552580"/>
                  <a:pt x="5589463" y="1552865"/>
                  <a:pt x="5590530" y="1553434"/>
                </a:cubicBezTo>
                <a:cubicBezTo>
                  <a:pt x="5591597" y="1554714"/>
                  <a:pt x="5591597" y="1554714"/>
                  <a:pt x="5592665" y="1555852"/>
                </a:cubicBezTo>
                <a:cubicBezTo>
                  <a:pt x="5592451" y="1558271"/>
                  <a:pt x="5593305" y="1560690"/>
                  <a:pt x="5592025" y="1562966"/>
                </a:cubicBezTo>
                <a:cubicBezTo>
                  <a:pt x="5589463" y="1565385"/>
                  <a:pt x="5583701" y="1564104"/>
                  <a:pt x="5581567" y="1562824"/>
                </a:cubicBezTo>
                <a:cubicBezTo>
                  <a:pt x="5579646" y="1560405"/>
                  <a:pt x="5581140" y="1556849"/>
                  <a:pt x="5583701" y="1554572"/>
                </a:cubicBezTo>
                <a:cubicBezTo>
                  <a:pt x="5584341" y="1553434"/>
                  <a:pt x="5585622" y="1552865"/>
                  <a:pt x="5586902" y="1552722"/>
                </a:cubicBezTo>
                <a:close/>
                <a:moveTo>
                  <a:pt x="4975881" y="1552296"/>
                </a:moveTo>
                <a:cubicBezTo>
                  <a:pt x="4975881" y="1552296"/>
                  <a:pt x="4976522" y="1553007"/>
                  <a:pt x="4976949" y="1553861"/>
                </a:cubicBezTo>
                <a:cubicBezTo>
                  <a:pt x="4977589" y="1554714"/>
                  <a:pt x="4978016" y="1555852"/>
                  <a:pt x="4977589" y="1556564"/>
                </a:cubicBezTo>
                <a:cubicBezTo>
                  <a:pt x="4977375" y="1559267"/>
                  <a:pt x="4972894" y="1557702"/>
                  <a:pt x="4971826" y="1558129"/>
                </a:cubicBezTo>
                <a:cubicBezTo>
                  <a:pt x="4970333" y="1557702"/>
                  <a:pt x="4968838" y="1557133"/>
                  <a:pt x="4969479" y="1555568"/>
                </a:cubicBezTo>
                <a:cubicBezTo>
                  <a:pt x="4970119" y="1553861"/>
                  <a:pt x="4969692" y="1552865"/>
                  <a:pt x="4972253" y="1552865"/>
                </a:cubicBezTo>
                <a:cubicBezTo>
                  <a:pt x="4973321" y="1552296"/>
                  <a:pt x="4974814" y="1552865"/>
                  <a:pt x="4975881" y="1552296"/>
                </a:cubicBezTo>
                <a:close/>
                <a:moveTo>
                  <a:pt x="4585536" y="1552154"/>
                </a:moveTo>
                <a:cubicBezTo>
                  <a:pt x="4588098" y="1553861"/>
                  <a:pt x="4589591" y="1553292"/>
                  <a:pt x="4588951" y="1554430"/>
                </a:cubicBezTo>
                <a:cubicBezTo>
                  <a:pt x="4589805" y="1554999"/>
                  <a:pt x="4589165" y="1555995"/>
                  <a:pt x="4588311" y="1555426"/>
                </a:cubicBezTo>
                <a:cubicBezTo>
                  <a:pt x="4585963" y="1556991"/>
                  <a:pt x="4585750" y="1553719"/>
                  <a:pt x="4585536" y="1552154"/>
                </a:cubicBezTo>
                <a:close/>
                <a:moveTo>
                  <a:pt x="1474912" y="1551774"/>
                </a:moveTo>
                <a:cubicBezTo>
                  <a:pt x="1475635" y="1552548"/>
                  <a:pt x="1475738" y="1551774"/>
                  <a:pt x="1476564" y="1551774"/>
                </a:cubicBezTo>
                <a:cubicBezTo>
                  <a:pt x="1475635" y="1552703"/>
                  <a:pt x="1475222" y="1555181"/>
                  <a:pt x="1474086" y="1556885"/>
                </a:cubicBezTo>
                <a:cubicBezTo>
                  <a:pt x="1473260" y="1556885"/>
                  <a:pt x="1472228" y="1557659"/>
                  <a:pt x="1471401" y="1557659"/>
                </a:cubicBezTo>
                <a:cubicBezTo>
                  <a:pt x="1471504" y="1557195"/>
                  <a:pt x="1471401" y="1556575"/>
                  <a:pt x="1471401" y="1555955"/>
                </a:cubicBezTo>
                <a:cubicBezTo>
                  <a:pt x="1471401" y="1555336"/>
                  <a:pt x="1471504" y="1555026"/>
                  <a:pt x="1471918" y="1555026"/>
                </a:cubicBezTo>
                <a:cubicBezTo>
                  <a:pt x="1472021" y="1554097"/>
                  <a:pt x="1473673" y="1554251"/>
                  <a:pt x="1473673" y="1554251"/>
                </a:cubicBezTo>
                <a:cubicBezTo>
                  <a:pt x="1473879" y="1553477"/>
                  <a:pt x="1473983" y="1552548"/>
                  <a:pt x="1474912" y="1551774"/>
                </a:cubicBezTo>
                <a:close/>
                <a:moveTo>
                  <a:pt x="1821027" y="1551309"/>
                </a:moveTo>
                <a:cubicBezTo>
                  <a:pt x="1830320" y="1554717"/>
                  <a:pt x="1833521" y="1561997"/>
                  <a:pt x="1832592" y="1570981"/>
                </a:cubicBezTo>
                <a:cubicBezTo>
                  <a:pt x="1823918" y="1578880"/>
                  <a:pt x="1811218" y="1570361"/>
                  <a:pt x="1812354" y="1559208"/>
                </a:cubicBezTo>
                <a:cubicBezTo>
                  <a:pt x="1814522" y="1557195"/>
                  <a:pt x="1816897" y="1553013"/>
                  <a:pt x="1821027" y="1551309"/>
                </a:cubicBezTo>
                <a:close/>
                <a:moveTo>
                  <a:pt x="3847104" y="1551300"/>
                </a:moveTo>
                <a:cubicBezTo>
                  <a:pt x="3848599" y="1552011"/>
                  <a:pt x="3849239" y="1554288"/>
                  <a:pt x="3848811" y="1556991"/>
                </a:cubicBezTo>
                <a:cubicBezTo>
                  <a:pt x="3847318" y="1556279"/>
                  <a:pt x="3845397" y="1558414"/>
                  <a:pt x="3843903" y="1557702"/>
                </a:cubicBezTo>
                <a:cubicBezTo>
                  <a:pt x="3843903" y="1557702"/>
                  <a:pt x="3841769" y="1554857"/>
                  <a:pt x="3841769" y="1554857"/>
                </a:cubicBezTo>
                <a:cubicBezTo>
                  <a:pt x="3842409" y="1553149"/>
                  <a:pt x="3842623" y="1553292"/>
                  <a:pt x="3842836" y="1554430"/>
                </a:cubicBezTo>
                <a:cubicBezTo>
                  <a:pt x="3844756" y="1552296"/>
                  <a:pt x="3845824" y="1551869"/>
                  <a:pt x="3847104" y="1551300"/>
                </a:cubicBezTo>
                <a:close/>
                <a:moveTo>
                  <a:pt x="4091470" y="1550731"/>
                </a:moveTo>
                <a:cubicBezTo>
                  <a:pt x="4092750" y="1555568"/>
                  <a:pt x="4093818" y="1560263"/>
                  <a:pt x="4089122" y="1562112"/>
                </a:cubicBezTo>
                <a:cubicBezTo>
                  <a:pt x="4084213" y="1559551"/>
                  <a:pt x="4084213" y="1552580"/>
                  <a:pt x="4091470" y="1550731"/>
                </a:cubicBezTo>
                <a:close/>
                <a:moveTo>
                  <a:pt x="3629203" y="1550304"/>
                </a:moveTo>
                <a:cubicBezTo>
                  <a:pt x="3631550" y="1550873"/>
                  <a:pt x="3633898" y="1551442"/>
                  <a:pt x="3634324" y="1553861"/>
                </a:cubicBezTo>
                <a:cubicBezTo>
                  <a:pt x="3634324" y="1554572"/>
                  <a:pt x="3634324" y="1555568"/>
                  <a:pt x="3633898" y="1556706"/>
                </a:cubicBezTo>
                <a:cubicBezTo>
                  <a:pt x="3633898" y="1556706"/>
                  <a:pt x="3633898" y="1556706"/>
                  <a:pt x="3632831" y="1557417"/>
                </a:cubicBezTo>
                <a:cubicBezTo>
                  <a:pt x="3630910" y="1558698"/>
                  <a:pt x="3629843" y="1559267"/>
                  <a:pt x="3628989" y="1559978"/>
                </a:cubicBezTo>
                <a:cubicBezTo>
                  <a:pt x="3627282" y="1559551"/>
                  <a:pt x="3623653" y="1557844"/>
                  <a:pt x="3624294" y="1556137"/>
                </a:cubicBezTo>
                <a:cubicBezTo>
                  <a:pt x="3625148" y="1552865"/>
                  <a:pt x="3627709" y="1549877"/>
                  <a:pt x="3629203" y="1550304"/>
                </a:cubicBezTo>
                <a:close/>
                <a:moveTo>
                  <a:pt x="3533804" y="1549877"/>
                </a:moveTo>
                <a:cubicBezTo>
                  <a:pt x="3534871" y="1550589"/>
                  <a:pt x="3537432" y="1550731"/>
                  <a:pt x="3538073" y="1552296"/>
                </a:cubicBezTo>
                <a:cubicBezTo>
                  <a:pt x="3538713" y="1554003"/>
                  <a:pt x="3538713" y="1554003"/>
                  <a:pt x="3537646" y="1555995"/>
                </a:cubicBezTo>
                <a:cubicBezTo>
                  <a:pt x="3534871" y="1553149"/>
                  <a:pt x="3534871" y="1553149"/>
                  <a:pt x="3533804" y="1549877"/>
                </a:cubicBezTo>
                <a:close/>
                <a:moveTo>
                  <a:pt x="6110634" y="1549593"/>
                </a:moveTo>
                <a:cubicBezTo>
                  <a:pt x="6111488" y="1549308"/>
                  <a:pt x="6112342" y="1549450"/>
                  <a:pt x="6112768" y="1550020"/>
                </a:cubicBezTo>
                <a:cubicBezTo>
                  <a:pt x="6112768" y="1551157"/>
                  <a:pt x="6113835" y="1551157"/>
                  <a:pt x="6113835" y="1552438"/>
                </a:cubicBezTo>
                <a:cubicBezTo>
                  <a:pt x="6114690" y="1554857"/>
                  <a:pt x="6114690" y="1556137"/>
                  <a:pt x="6113409" y="1557275"/>
                </a:cubicBezTo>
                <a:cubicBezTo>
                  <a:pt x="6113195" y="1558556"/>
                  <a:pt x="6111915" y="1558414"/>
                  <a:pt x="6110634" y="1559551"/>
                </a:cubicBezTo>
                <a:cubicBezTo>
                  <a:pt x="6109567" y="1559551"/>
                  <a:pt x="6108500" y="1558414"/>
                  <a:pt x="6108500" y="1558414"/>
                </a:cubicBezTo>
                <a:cubicBezTo>
                  <a:pt x="6107647" y="1557133"/>
                  <a:pt x="6107647" y="1557133"/>
                  <a:pt x="6106366" y="1558414"/>
                </a:cubicBezTo>
                <a:cubicBezTo>
                  <a:pt x="6106366" y="1558414"/>
                  <a:pt x="6106366" y="1557133"/>
                  <a:pt x="6106366" y="1557133"/>
                </a:cubicBezTo>
                <a:cubicBezTo>
                  <a:pt x="6107433" y="1557133"/>
                  <a:pt x="6106366" y="1557133"/>
                  <a:pt x="6105512" y="1555995"/>
                </a:cubicBezTo>
                <a:cubicBezTo>
                  <a:pt x="6106793" y="1553576"/>
                  <a:pt x="6106793" y="1552296"/>
                  <a:pt x="6108073" y="1551015"/>
                </a:cubicBezTo>
                <a:cubicBezTo>
                  <a:pt x="6108714" y="1550447"/>
                  <a:pt x="6109781" y="1549877"/>
                  <a:pt x="6110634" y="1549593"/>
                </a:cubicBezTo>
                <a:close/>
                <a:moveTo>
                  <a:pt x="4551390" y="1549450"/>
                </a:moveTo>
                <a:cubicBezTo>
                  <a:pt x="4553097" y="1549735"/>
                  <a:pt x="4554164" y="1550447"/>
                  <a:pt x="4555018" y="1551442"/>
                </a:cubicBezTo>
                <a:cubicBezTo>
                  <a:pt x="4555658" y="1552438"/>
                  <a:pt x="4556085" y="1553576"/>
                  <a:pt x="4556298" y="1554857"/>
                </a:cubicBezTo>
                <a:cubicBezTo>
                  <a:pt x="4556085" y="1556564"/>
                  <a:pt x="4554164" y="1557844"/>
                  <a:pt x="4550749" y="1558698"/>
                </a:cubicBezTo>
                <a:cubicBezTo>
                  <a:pt x="4548402" y="1557133"/>
                  <a:pt x="4549255" y="1552296"/>
                  <a:pt x="4548828" y="1549593"/>
                </a:cubicBezTo>
                <a:cubicBezTo>
                  <a:pt x="4550322" y="1550020"/>
                  <a:pt x="4552030" y="1550447"/>
                  <a:pt x="4551390" y="1549450"/>
                </a:cubicBezTo>
                <a:close/>
                <a:moveTo>
                  <a:pt x="1122705" y="1549295"/>
                </a:moveTo>
                <a:cubicBezTo>
                  <a:pt x="1125080" y="1548520"/>
                  <a:pt x="1127455" y="1547746"/>
                  <a:pt x="1128074" y="1549915"/>
                </a:cubicBezTo>
                <a:cubicBezTo>
                  <a:pt x="1128384" y="1550999"/>
                  <a:pt x="1128694" y="1552084"/>
                  <a:pt x="1127868" y="1553632"/>
                </a:cubicBezTo>
                <a:cubicBezTo>
                  <a:pt x="1125493" y="1554407"/>
                  <a:pt x="1123634" y="1552703"/>
                  <a:pt x="1122499" y="1553013"/>
                </a:cubicBezTo>
                <a:cubicBezTo>
                  <a:pt x="1122912" y="1552238"/>
                  <a:pt x="1123737" y="1550844"/>
                  <a:pt x="1122705" y="1549295"/>
                </a:cubicBezTo>
                <a:close/>
                <a:moveTo>
                  <a:pt x="4019974" y="1549166"/>
                </a:moveTo>
                <a:cubicBezTo>
                  <a:pt x="4020401" y="1549450"/>
                  <a:pt x="4021255" y="1550020"/>
                  <a:pt x="4021895" y="1550589"/>
                </a:cubicBezTo>
                <a:cubicBezTo>
                  <a:pt x="4023175" y="1551727"/>
                  <a:pt x="4024670" y="1553007"/>
                  <a:pt x="4025950" y="1554145"/>
                </a:cubicBezTo>
                <a:cubicBezTo>
                  <a:pt x="4025950" y="1554145"/>
                  <a:pt x="4025950" y="1554145"/>
                  <a:pt x="4018267" y="1549593"/>
                </a:cubicBezTo>
                <a:cubicBezTo>
                  <a:pt x="4018694" y="1549024"/>
                  <a:pt x="4019334" y="1548881"/>
                  <a:pt x="4019974" y="1549166"/>
                </a:cubicBezTo>
                <a:close/>
                <a:moveTo>
                  <a:pt x="1329863" y="1549024"/>
                </a:moveTo>
                <a:cubicBezTo>
                  <a:pt x="1331231" y="1548250"/>
                  <a:pt x="1332728" y="1547979"/>
                  <a:pt x="1334897" y="1549450"/>
                </a:cubicBezTo>
                <a:cubicBezTo>
                  <a:pt x="1336239" y="1554251"/>
                  <a:pt x="1330560" y="1559519"/>
                  <a:pt x="1325294" y="1556885"/>
                </a:cubicBezTo>
                <a:cubicBezTo>
                  <a:pt x="1325707" y="1555026"/>
                  <a:pt x="1325191" y="1553477"/>
                  <a:pt x="1325603" y="1551618"/>
                </a:cubicBezTo>
                <a:cubicBezTo>
                  <a:pt x="1327256" y="1551076"/>
                  <a:pt x="1328495" y="1549798"/>
                  <a:pt x="1329863" y="1549024"/>
                </a:cubicBezTo>
                <a:close/>
                <a:moveTo>
                  <a:pt x="1294420" y="1548676"/>
                </a:moveTo>
                <a:cubicBezTo>
                  <a:pt x="1294420" y="1548676"/>
                  <a:pt x="1294420" y="1548676"/>
                  <a:pt x="1295659" y="1548830"/>
                </a:cubicBezTo>
                <a:cubicBezTo>
                  <a:pt x="1295659" y="1548830"/>
                  <a:pt x="1296382" y="1548366"/>
                  <a:pt x="1296176" y="1551309"/>
                </a:cubicBezTo>
                <a:cubicBezTo>
                  <a:pt x="1295040" y="1551154"/>
                  <a:pt x="1291529" y="1550689"/>
                  <a:pt x="1291529" y="1550689"/>
                </a:cubicBezTo>
                <a:cubicBezTo>
                  <a:pt x="1290703" y="1551154"/>
                  <a:pt x="1290703" y="1551154"/>
                  <a:pt x="1289567" y="1550999"/>
                </a:cubicBezTo>
                <a:cubicBezTo>
                  <a:pt x="1289877" y="1549760"/>
                  <a:pt x="1289877" y="1549760"/>
                  <a:pt x="1290600" y="1549295"/>
                </a:cubicBezTo>
                <a:cubicBezTo>
                  <a:pt x="1291735" y="1549450"/>
                  <a:pt x="1292252" y="1550225"/>
                  <a:pt x="1293388" y="1550380"/>
                </a:cubicBezTo>
                <a:cubicBezTo>
                  <a:pt x="1294007" y="1548056"/>
                  <a:pt x="1293284" y="1548520"/>
                  <a:pt x="1294420" y="1548676"/>
                </a:cubicBezTo>
                <a:close/>
                <a:moveTo>
                  <a:pt x="4217387" y="1548597"/>
                </a:moveTo>
                <a:cubicBezTo>
                  <a:pt x="4218668" y="1549024"/>
                  <a:pt x="4220375" y="1550731"/>
                  <a:pt x="4223577" y="1554288"/>
                </a:cubicBezTo>
                <a:cubicBezTo>
                  <a:pt x="4224644" y="1555568"/>
                  <a:pt x="4225498" y="1557275"/>
                  <a:pt x="4225711" y="1558983"/>
                </a:cubicBezTo>
                <a:cubicBezTo>
                  <a:pt x="4226138" y="1560690"/>
                  <a:pt x="4225924" y="1562397"/>
                  <a:pt x="4225284" y="1564104"/>
                </a:cubicBezTo>
                <a:cubicBezTo>
                  <a:pt x="4226138" y="1566523"/>
                  <a:pt x="4225924" y="1570080"/>
                  <a:pt x="4224644" y="1572214"/>
                </a:cubicBezTo>
                <a:cubicBezTo>
                  <a:pt x="4222296" y="1574205"/>
                  <a:pt x="4219948" y="1573921"/>
                  <a:pt x="4218882" y="1572498"/>
                </a:cubicBezTo>
                <a:cubicBezTo>
                  <a:pt x="4209277" y="1562539"/>
                  <a:pt x="4214399" y="1552865"/>
                  <a:pt x="4213546" y="1550304"/>
                </a:cubicBezTo>
                <a:cubicBezTo>
                  <a:pt x="4215253" y="1548739"/>
                  <a:pt x="4216320" y="1548028"/>
                  <a:pt x="4217387" y="1548597"/>
                </a:cubicBezTo>
                <a:close/>
                <a:moveTo>
                  <a:pt x="5717729" y="1548455"/>
                </a:moveTo>
                <a:cubicBezTo>
                  <a:pt x="5724985" y="1553719"/>
                  <a:pt x="5714954" y="1565385"/>
                  <a:pt x="5710045" y="1555426"/>
                </a:cubicBezTo>
                <a:cubicBezTo>
                  <a:pt x="5713246" y="1552011"/>
                  <a:pt x="5715594" y="1549593"/>
                  <a:pt x="5717729" y="1548455"/>
                </a:cubicBezTo>
                <a:close/>
                <a:moveTo>
                  <a:pt x="1489161" y="1547901"/>
                </a:moveTo>
                <a:cubicBezTo>
                  <a:pt x="1489884" y="1547901"/>
                  <a:pt x="1490607" y="1548211"/>
                  <a:pt x="1491227" y="1548676"/>
                </a:cubicBezTo>
                <a:cubicBezTo>
                  <a:pt x="1492775" y="1549605"/>
                  <a:pt x="1491639" y="1551154"/>
                  <a:pt x="1489678" y="1552858"/>
                </a:cubicBezTo>
                <a:cubicBezTo>
                  <a:pt x="1486374" y="1556885"/>
                  <a:pt x="1483689" y="1557505"/>
                  <a:pt x="1481521" y="1554872"/>
                </a:cubicBezTo>
                <a:cubicBezTo>
                  <a:pt x="1481624" y="1553942"/>
                  <a:pt x="1482863" y="1551464"/>
                  <a:pt x="1482037" y="1551464"/>
                </a:cubicBezTo>
                <a:cubicBezTo>
                  <a:pt x="1484308" y="1549605"/>
                  <a:pt x="1486993" y="1547901"/>
                  <a:pt x="1489161" y="1547901"/>
                </a:cubicBezTo>
                <a:close/>
                <a:moveTo>
                  <a:pt x="3531883" y="1547743"/>
                </a:moveTo>
                <a:cubicBezTo>
                  <a:pt x="3532310" y="1548028"/>
                  <a:pt x="3532737" y="1548597"/>
                  <a:pt x="3533164" y="1549450"/>
                </a:cubicBezTo>
                <a:cubicBezTo>
                  <a:pt x="3533164" y="1549450"/>
                  <a:pt x="3532523" y="1550304"/>
                  <a:pt x="3532523" y="1550304"/>
                </a:cubicBezTo>
                <a:cubicBezTo>
                  <a:pt x="3531457" y="1549735"/>
                  <a:pt x="3530390" y="1549024"/>
                  <a:pt x="3530816" y="1548170"/>
                </a:cubicBezTo>
                <a:cubicBezTo>
                  <a:pt x="3531030" y="1547743"/>
                  <a:pt x="3531457" y="1547601"/>
                  <a:pt x="3531883" y="1547743"/>
                </a:cubicBezTo>
                <a:close/>
                <a:moveTo>
                  <a:pt x="5192929" y="1546605"/>
                </a:moveTo>
                <a:cubicBezTo>
                  <a:pt x="5193996" y="1547174"/>
                  <a:pt x="5195917" y="1548312"/>
                  <a:pt x="5198051" y="1546890"/>
                </a:cubicBezTo>
                <a:cubicBezTo>
                  <a:pt x="5199119" y="1550162"/>
                  <a:pt x="5200186" y="1553434"/>
                  <a:pt x="5197198" y="1554288"/>
                </a:cubicBezTo>
                <a:cubicBezTo>
                  <a:pt x="5195704" y="1554714"/>
                  <a:pt x="5194210" y="1555141"/>
                  <a:pt x="5192076" y="1554003"/>
                </a:cubicBezTo>
                <a:cubicBezTo>
                  <a:pt x="5191008" y="1550731"/>
                  <a:pt x="5193356" y="1548170"/>
                  <a:pt x="5192929" y="1546605"/>
                </a:cubicBezTo>
                <a:close/>
                <a:moveTo>
                  <a:pt x="4258151" y="1546036"/>
                </a:moveTo>
                <a:cubicBezTo>
                  <a:pt x="4261779" y="1547032"/>
                  <a:pt x="4263273" y="1552296"/>
                  <a:pt x="4266261" y="1556279"/>
                </a:cubicBezTo>
                <a:cubicBezTo>
                  <a:pt x="4262846" y="1557417"/>
                  <a:pt x="4260285" y="1557133"/>
                  <a:pt x="4258151" y="1555426"/>
                </a:cubicBezTo>
                <a:cubicBezTo>
                  <a:pt x="4256230" y="1553719"/>
                  <a:pt x="4254736" y="1550731"/>
                  <a:pt x="4253669" y="1546605"/>
                </a:cubicBezTo>
                <a:cubicBezTo>
                  <a:pt x="4255376" y="1545752"/>
                  <a:pt x="4256870" y="1545609"/>
                  <a:pt x="4258151" y="1546036"/>
                </a:cubicBezTo>
                <a:close/>
                <a:moveTo>
                  <a:pt x="5493851" y="1545609"/>
                </a:moveTo>
                <a:cubicBezTo>
                  <a:pt x="5499614" y="1545894"/>
                  <a:pt x="5506870" y="1554430"/>
                  <a:pt x="5501534" y="1560121"/>
                </a:cubicBezTo>
                <a:cubicBezTo>
                  <a:pt x="5498119" y="1561116"/>
                  <a:pt x="5494705" y="1562112"/>
                  <a:pt x="5489796" y="1558414"/>
                </a:cubicBezTo>
                <a:cubicBezTo>
                  <a:pt x="5488516" y="1553576"/>
                  <a:pt x="5489583" y="1550020"/>
                  <a:pt x="5493851" y="1545609"/>
                </a:cubicBezTo>
                <a:close/>
                <a:moveTo>
                  <a:pt x="5166465" y="1545183"/>
                </a:moveTo>
                <a:cubicBezTo>
                  <a:pt x="5173935" y="1545325"/>
                  <a:pt x="5179697" y="1547885"/>
                  <a:pt x="5184819" y="1546320"/>
                </a:cubicBezTo>
                <a:cubicBezTo>
                  <a:pt x="5184819" y="1546320"/>
                  <a:pt x="5184819" y="1546178"/>
                  <a:pt x="5187167" y="1548739"/>
                </a:cubicBezTo>
                <a:cubicBezTo>
                  <a:pt x="5188448" y="1548881"/>
                  <a:pt x="5188448" y="1548881"/>
                  <a:pt x="5188448" y="1548881"/>
                </a:cubicBezTo>
                <a:cubicBezTo>
                  <a:pt x="5189515" y="1548881"/>
                  <a:pt x="5189728" y="1551300"/>
                  <a:pt x="5189728" y="1551300"/>
                </a:cubicBezTo>
                <a:cubicBezTo>
                  <a:pt x="5188661" y="1553719"/>
                  <a:pt x="5185033" y="1552296"/>
                  <a:pt x="5182898" y="1552296"/>
                </a:cubicBezTo>
                <a:cubicBezTo>
                  <a:pt x="5181832" y="1554572"/>
                  <a:pt x="5178203" y="1549593"/>
                  <a:pt x="5177136" y="1552011"/>
                </a:cubicBezTo>
                <a:cubicBezTo>
                  <a:pt x="5172441" y="1546890"/>
                  <a:pt x="5166892" y="1552722"/>
                  <a:pt x="5158568" y="1546320"/>
                </a:cubicBezTo>
                <a:cubicBezTo>
                  <a:pt x="5161343" y="1545467"/>
                  <a:pt x="5163904" y="1545183"/>
                  <a:pt x="5166465" y="1545183"/>
                </a:cubicBezTo>
                <a:close/>
                <a:moveTo>
                  <a:pt x="5858372" y="1544898"/>
                </a:moveTo>
                <a:cubicBezTo>
                  <a:pt x="5858586" y="1544898"/>
                  <a:pt x="5858799" y="1545183"/>
                  <a:pt x="5859226" y="1545894"/>
                </a:cubicBezTo>
                <a:cubicBezTo>
                  <a:pt x="5857945" y="1547174"/>
                  <a:pt x="5858159" y="1545894"/>
                  <a:pt x="5857092" y="1545894"/>
                </a:cubicBezTo>
                <a:cubicBezTo>
                  <a:pt x="5857732" y="1545183"/>
                  <a:pt x="5857945" y="1544898"/>
                  <a:pt x="5858372" y="1544898"/>
                </a:cubicBezTo>
                <a:close/>
                <a:moveTo>
                  <a:pt x="4000767" y="1544471"/>
                </a:moveTo>
                <a:cubicBezTo>
                  <a:pt x="4003755" y="1545467"/>
                  <a:pt x="4006102" y="1545609"/>
                  <a:pt x="4007596" y="1546036"/>
                </a:cubicBezTo>
                <a:cubicBezTo>
                  <a:pt x="4007169" y="1551442"/>
                  <a:pt x="4004395" y="1554145"/>
                  <a:pt x="3999913" y="1552438"/>
                </a:cubicBezTo>
                <a:cubicBezTo>
                  <a:pt x="4001193" y="1549308"/>
                  <a:pt x="3999272" y="1547601"/>
                  <a:pt x="4000767" y="1544471"/>
                </a:cubicBezTo>
                <a:close/>
                <a:moveTo>
                  <a:pt x="3980705" y="1544471"/>
                </a:moveTo>
                <a:cubicBezTo>
                  <a:pt x="3981772" y="1544756"/>
                  <a:pt x="3982626" y="1545467"/>
                  <a:pt x="3983053" y="1546178"/>
                </a:cubicBezTo>
                <a:cubicBezTo>
                  <a:pt x="3984760" y="1547032"/>
                  <a:pt x="3985614" y="1548739"/>
                  <a:pt x="3985827" y="1550589"/>
                </a:cubicBezTo>
                <a:lnTo>
                  <a:pt x="3985614" y="1552011"/>
                </a:lnTo>
                <a:lnTo>
                  <a:pt x="3986467" y="1551015"/>
                </a:lnTo>
                <a:cubicBezTo>
                  <a:pt x="3987748" y="1550447"/>
                  <a:pt x="3989455" y="1550447"/>
                  <a:pt x="3991162" y="1550873"/>
                </a:cubicBezTo>
                <a:cubicBezTo>
                  <a:pt x="3992443" y="1550731"/>
                  <a:pt x="3993297" y="1551442"/>
                  <a:pt x="3994150" y="1552438"/>
                </a:cubicBezTo>
                <a:cubicBezTo>
                  <a:pt x="3994791" y="1553576"/>
                  <a:pt x="3995217" y="1554999"/>
                  <a:pt x="3995217" y="1556279"/>
                </a:cubicBezTo>
                <a:cubicBezTo>
                  <a:pt x="3994791" y="1557986"/>
                  <a:pt x="3994791" y="1557986"/>
                  <a:pt x="3994364" y="1559551"/>
                </a:cubicBezTo>
                <a:cubicBezTo>
                  <a:pt x="3992230" y="1560832"/>
                  <a:pt x="3990736" y="1563108"/>
                  <a:pt x="3988175" y="1563393"/>
                </a:cubicBezTo>
                <a:lnTo>
                  <a:pt x="3985827" y="1560690"/>
                </a:lnTo>
                <a:lnTo>
                  <a:pt x="3984546" y="1562397"/>
                </a:lnTo>
                <a:cubicBezTo>
                  <a:pt x="3984120" y="1562824"/>
                  <a:pt x="3983693" y="1563251"/>
                  <a:pt x="3983053" y="1563535"/>
                </a:cubicBezTo>
                <a:cubicBezTo>
                  <a:pt x="3981559" y="1563108"/>
                  <a:pt x="3980065" y="1560974"/>
                  <a:pt x="3979638" y="1558271"/>
                </a:cubicBezTo>
                <a:cubicBezTo>
                  <a:pt x="3980491" y="1558414"/>
                  <a:pt x="3981132" y="1557986"/>
                  <a:pt x="3981986" y="1557417"/>
                </a:cubicBezTo>
                <a:lnTo>
                  <a:pt x="3984120" y="1556849"/>
                </a:lnTo>
                <a:lnTo>
                  <a:pt x="3983479" y="1554430"/>
                </a:lnTo>
                <a:lnTo>
                  <a:pt x="3982626" y="1554572"/>
                </a:lnTo>
                <a:cubicBezTo>
                  <a:pt x="3982626" y="1554572"/>
                  <a:pt x="3983693" y="1554714"/>
                  <a:pt x="3982626" y="1555852"/>
                </a:cubicBezTo>
                <a:cubicBezTo>
                  <a:pt x="3982626" y="1554572"/>
                  <a:pt x="3981559" y="1554430"/>
                  <a:pt x="3980278" y="1554288"/>
                </a:cubicBezTo>
                <a:cubicBezTo>
                  <a:pt x="3978144" y="1551442"/>
                  <a:pt x="3976010" y="1547459"/>
                  <a:pt x="3977290" y="1545183"/>
                </a:cubicBezTo>
                <a:cubicBezTo>
                  <a:pt x="3978571" y="1544186"/>
                  <a:pt x="3979851" y="1544044"/>
                  <a:pt x="3980705" y="1544471"/>
                </a:cubicBezTo>
                <a:close/>
                <a:moveTo>
                  <a:pt x="5248845" y="1544186"/>
                </a:moveTo>
                <a:cubicBezTo>
                  <a:pt x="5261010" y="1548170"/>
                  <a:pt x="5261650" y="1555141"/>
                  <a:pt x="5263145" y="1555568"/>
                </a:cubicBezTo>
                <a:cubicBezTo>
                  <a:pt x="5262504" y="1560547"/>
                  <a:pt x="5259089" y="1559694"/>
                  <a:pt x="5253967" y="1560121"/>
                </a:cubicBezTo>
                <a:cubicBezTo>
                  <a:pt x="5254181" y="1558414"/>
                  <a:pt x="5249272" y="1557275"/>
                  <a:pt x="5247778" y="1556849"/>
                </a:cubicBezTo>
                <a:cubicBezTo>
                  <a:pt x="5248205" y="1553576"/>
                  <a:pt x="5242656" y="1551300"/>
                  <a:pt x="5243510" y="1546320"/>
                </a:cubicBezTo>
                <a:cubicBezTo>
                  <a:pt x="5245431" y="1545040"/>
                  <a:pt x="5246284" y="1544471"/>
                  <a:pt x="5248845" y="1544186"/>
                </a:cubicBezTo>
                <a:close/>
                <a:moveTo>
                  <a:pt x="1900225" y="1543874"/>
                </a:moveTo>
                <a:cubicBezTo>
                  <a:pt x="1902909" y="1550689"/>
                  <a:pt x="1909311" y="1557505"/>
                  <a:pt x="1916333" y="1564475"/>
                </a:cubicBezTo>
                <a:cubicBezTo>
                  <a:pt x="1919120" y="1561532"/>
                  <a:pt x="1912615" y="1557659"/>
                  <a:pt x="1915816" y="1554717"/>
                </a:cubicBezTo>
                <a:cubicBezTo>
                  <a:pt x="1917468" y="1557659"/>
                  <a:pt x="1919120" y="1557505"/>
                  <a:pt x="1920669" y="1557505"/>
                </a:cubicBezTo>
                <a:lnTo>
                  <a:pt x="1921186" y="1557659"/>
                </a:lnTo>
                <a:lnTo>
                  <a:pt x="1921805" y="1556420"/>
                </a:lnTo>
                <a:lnTo>
                  <a:pt x="1925006" y="1558434"/>
                </a:lnTo>
                <a:lnTo>
                  <a:pt x="1920669" y="1554097"/>
                </a:lnTo>
                <a:cubicBezTo>
                  <a:pt x="1916952" y="1551309"/>
                  <a:pt x="1912615" y="1550225"/>
                  <a:pt x="1909931" y="1551929"/>
                </a:cubicBezTo>
                <a:cubicBezTo>
                  <a:pt x="1908278" y="1553013"/>
                  <a:pt x="1906110" y="1546662"/>
                  <a:pt x="1906110" y="1544958"/>
                </a:cubicBezTo>
                <a:cubicBezTo>
                  <a:pt x="1903942" y="1542635"/>
                  <a:pt x="1901773" y="1547282"/>
                  <a:pt x="1900225" y="1543874"/>
                </a:cubicBezTo>
                <a:close/>
                <a:moveTo>
                  <a:pt x="1279655" y="1543874"/>
                </a:moveTo>
                <a:lnTo>
                  <a:pt x="1281616" y="1544958"/>
                </a:lnTo>
                <a:lnTo>
                  <a:pt x="1283785" y="1545113"/>
                </a:lnTo>
                <a:cubicBezTo>
                  <a:pt x="1285643" y="1544339"/>
                  <a:pt x="1288225" y="1544494"/>
                  <a:pt x="1289774" y="1545578"/>
                </a:cubicBezTo>
                <a:cubicBezTo>
                  <a:pt x="1291219" y="1547282"/>
                  <a:pt x="1290909" y="1548985"/>
                  <a:pt x="1289980" y="1549760"/>
                </a:cubicBezTo>
                <a:lnTo>
                  <a:pt x="1288018" y="1550999"/>
                </a:lnTo>
                <a:lnTo>
                  <a:pt x="1288948" y="1553322"/>
                </a:lnTo>
                <a:lnTo>
                  <a:pt x="1289774" y="1553632"/>
                </a:lnTo>
                <a:cubicBezTo>
                  <a:pt x="1290600" y="1554251"/>
                  <a:pt x="1291323" y="1555336"/>
                  <a:pt x="1291219" y="1556730"/>
                </a:cubicBezTo>
                <a:cubicBezTo>
                  <a:pt x="1290909" y="1559828"/>
                  <a:pt x="1292974" y="1561222"/>
                  <a:pt x="1292768" y="1564165"/>
                </a:cubicBezTo>
                <a:cubicBezTo>
                  <a:pt x="1292768" y="1564165"/>
                  <a:pt x="1292768" y="1564165"/>
                  <a:pt x="1291529" y="1564010"/>
                </a:cubicBezTo>
                <a:cubicBezTo>
                  <a:pt x="1291219" y="1561997"/>
                  <a:pt x="1290187" y="1560293"/>
                  <a:pt x="1289154" y="1558589"/>
                </a:cubicBezTo>
                <a:lnTo>
                  <a:pt x="1288638" y="1556730"/>
                </a:lnTo>
                <a:lnTo>
                  <a:pt x="1288018" y="1560448"/>
                </a:lnTo>
                <a:cubicBezTo>
                  <a:pt x="1287089" y="1562616"/>
                  <a:pt x="1285540" y="1564475"/>
                  <a:pt x="1283578" y="1566024"/>
                </a:cubicBezTo>
                <a:cubicBezTo>
                  <a:pt x="1279035" y="1569586"/>
                  <a:pt x="1271910" y="1570516"/>
                  <a:pt x="1263443" y="1564940"/>
                </a:cubicBezTo>
                <a:cubicBezTo>
                  <a:pt x="1262927" y="1556111"/>
                  <a:pt x="1266748" y="1548056"/>
                  <a:pt x="1272943" y="1544958"/>
                </a:cubicBezTo>
                <a:cubicBezTo>
                  <a:pt x="1275008" y="1544029"/>
                  <a:pt x="1277176" y="1543564"/>
                  <a:pt x="1279655" y="1543874"/>
                </a:cubicBezTo>
                <a:close/>
                <a:moveTo>
                  <a:pt x="1438566" y="1543719"/>
                </a:moveTo>
                <a:cubicBezTo>
                  <a:pt x="1441973" y="1544648"/>
                  <a:pt x="1443935" y="1550380"/>
                  <a:pt x="1446310" y="1555336"/>
                </a:cubicBezTo>
                <a:cubicBezTo>
                  <a:pt x="1444039" y="1555955"/>
                  <a:pt x="1442903" y="1556265"/>
                  <a:pt x="1441457" y="1557350"/>
                </a:cubicBezTo>
                <a:cubicBezTo>
                  <a:pt x="1439598" y="1552238"/>
                  <a:pt x="1436604" y="1549605"/>
                  <a:pt x="1436914" y="1546662"/>
                </a:cubicBezTo>
                <a:cubicBezTo>
                  <a:pt x="1437017" y="1545732"/>
                  <a:pt x="1437533" y="1544803"/>
                  <a:pt x="1438566" y="1543719"/>
                </a:cubicBezTo>
                <a:close/>
                <a:moveTo>
                  <a:pt x="5521809" y="1543618"/>
                </a:moveTo>
                <a:cubicBezTo>
                  <a:pt x="5524370" y="1544044"/>
                  <a:pt x="5526718" y="1543475"/>
                  <a:pt x="5529065" y="1543902"/>
                </a:cubicBezTo>
                <a:cubicBezTo>
                  <a:pt x="5531413" y="1546890"/>
                  <a:pt x="5530132" y="1555710"/>
                  <a:pt x="5526077" y="1558414"/>
                </a:cubicBezTo>
                <a:cubicBezTo>
                  <a:pt x="5524797" y="1559267"/>
                  <a:pt x="5523090" y="1559409"/>
                  <a:pt x="5521169" y="1558414"/>
                </a:cubicBezTo>
                <a:cubicBezTo>
                  <a:pt x="5515833" y="1555141"/>
                  <a:pt x="5518181" y="1549593"/>
                  <a:pt x="5521809" y="1543618"/>
                </a:cubicBezTo>
                <a:close/>
                <a:moveTo>
                  <a:pt x="5281499" y="1543048"/>
                </a:moveTo>
                <a:cubicBezTo>
                  <a:pt x="5287261" y="1542479"/>
                  <a:pt x="5289608" y="1545183"/>
                  <a:pt x="5293450" y="1546178"/>
                </a:cubicBezTo>
                <a:cubicBezTo>
                  <a:pt x="5294517" y="1558271"/>
                  <a:pt x="5286834" y="1560690"/>
                  <a:pt x="5281925" y="1557702"/>
                </a:cubicBezTo>
                <a:cubicBezTo>
                  <a:pt x="5280431" y="1556706"/>
                  <a:pt x="5279151" y="1555284"/>
                  <a:pt x="5278511" y="1553149"/>
                </a:cubicBezTo>
                <a:cubicBezTo>
                  <a:pt x="5277871" y="1550447"/>
                  <a:pt x="5278511" y="1547032"/>
                  <a:pt x="5281499" y="1543048"/>
                </a:cubicBezTo>
                <a:close/>
                <a:moveTo>
                  <a:pt x="3975583" y="1542764"/>
                </a:moveTo>
                <a:cubicBezTo>
                  <a:pt x="3976010" y="1542621"/>
                  <a:pt x="3976437" y="1542621"/>
                  <a:pt x="3977077" y="1542906"/>
                </a:cubicBezTo>
                <a:cubicBezTo>
                  <a:pt x="3976010" y="1545183"/>
                  <a:pt x="3974943" y="1546320"/>
                  <a:pt x="3972595" y="1546320"/>
                </a:cubicBezTo>
                <a:cubicBezTo>
                  <a:pt x="3973449" y="1545467"/>
                  <a:pt x="3974089" y="1543191"/>
                  <a:pt x="3975583" y="1542764"/>
                </a:cubicBezTo>
                <a:close/>
                <a:moveTo>
                  <a:pt x="5452448" y="1542337"/>
                </a:moveTo>
                <a:cubicBezTo>
                  <a:pt x="5456503" y="1546320"/>
                  <a:pt x="5463759" y="1549593"/>
                  <a:pt x="5465466" y="1554999"/>
                </a:cubicBezTo>
                <a:cubicBezTo>
                  <a:pt x="5463546" y="1553719"/>
                  <a:pt x="5453942" y="1546178"/>
                  <a:pt x="5452448" y="1542337"/>
                </a:cubicBezTo>
                <a:close/>
                <a:moveTo>
                  <a:pt x="1789637" y="1541938"/>
                </a:moveTo>
                <a:cubicBezTo>
                  <a:pt x="1793742" y="1541202"/>
                  <a:pt x="1797898" y="1542325"/>
                  <a:pt x="1800995" y="1547746"/>
                </a:cubicBezTo>
                <a:cubicBezTo>
                  <a:pt x="1799963" y="1549295"/>
                  <a:pt x="1799033" y="1550844"/>
                  <a:pt x="1798001" y="1552548"/>
                </a:cubicBezTo>
                <a:cubicBezTo>
                  <a:pt x="1790773" y="1548676"/>
                  <a:pt x="1784474" y="1550070"/>
                  <a:pt x="1778589" y="1547282"/>
                </a:cubicBezTo>
                <a:cubicBezTo>
                  <a:pt x="1781480" y="1545268"/>
                  <a:pt x="1785533" y="1542673"/>
                  <a:pt x="1789637" y="1541938"/>
                </a:cubicBezTo>
                <a:close/>
                <a:moveTo>
                  <a:pt x="3772621" y="1541910"/>
                </a:moveTo>
                <a:cubicBezTo>
                  <a:pt x="3781158" y="1542621"/>
                  <a:pt x="3791615" y="1548455"/>
                  <a:pt x="3794603" y="1555710"/>
                </a:cubicBezTo>
                <a:lnTo>
                  <a:pt x="3794816" y="1560263"/>
                </a:lnTo>
                <a:lnTo>
                  <a:pt x="3795670" y="1560263"/>
                </a:lnTo>
                <a:cubicBezTo>
                  <a:pt x="3795884" y="1560547"/>
                  <a:pt x="3795884" y="1560690"/>
                  <a:pt x="3796737" y="1560974"/>
                </a:cubicBezTo>
                <a:cubicBezTo>
                  <a:pt x="3798231" y="1561259"/>
                  <a:pt x="3804420" y="1560263"/>
                  <a:pt x="3804847" y="1558556"/>
                </a:cubicBezTo>
                <a:cubicBezTo>
                  <a:pt x="3805487" y="1559551"/>
                  <a:pt x="3806982" y="1559978"/>
                  <a:pt x="3806982" y="1559978"/>
                </a:cubicBezTo>
                <a:cubicBezTo>
                  <a:pt x="3806555" y="1561686"/>
                  <a:pt x="3805487" y="1562255"/>
                  <a:pt x="3804420" y="1562966"/>
                </a:cubicBezTo>
                <a:cubicBezTo>
                  <a:pt x="3802927" y="1562539"/>
                  <a:pt x="3802286" y="1561543"/>
                  <a:pt x="3800792" y="1561116"/>
                </a:cubicBezTo>
                <a:cubicBezTo>
                  <a:pt x="3799725" y="1561686"/>
                  <a:pt x="3797804" y="1562966"/>
                  <a:pt x="3796311" y="1562681"/>
                </a:cubicBezTo>
                <a:lnTo>
                  <a:pt x="3795030" y="1562112"/>
                </a:lnTo>
                <a:lnTo>
                  <a:pt x="3795030" y="1563251"/>
                </a:lnTo>
                <a:cubicBezTo>
                  <a:pt x="3784786" y="1563962"/>
                  <a:pt x="3773047" y="1562255"/>
                  <a:pt x="3761096" y="1552154"/>
                </a:cubicBezTo>
                <a:cubicBezTo>
                  <a:pt x="3760456" y="1544044"/>
                  <a:pt x="3765791" y="1541341"/>
                  <a:pt x="3772621" y="1541910"/>
                </a:cubicBezTo>
                <a:close/>
                <a:moveTo>
                  <a:pt x="3684265" y="1541910"/>
                </a:moveTo>
                <a:lnTo>
                  <a:pt x="3682344" y="1542337"/>
                </a:lnTo>
                <a:lnTo>
                  <a:pt x="3684478" y="1542479"/>
                </a:lnTo>
                <a:lnTo>
                  <a:pt x="3684478" y="1542053"/>
                </a:lnTo>
                <a:close/>
                <a:moveTo>
                  <a:pt x="1076343" y="1541705"/>
                </a:moveTo>
                <a:cubicBezTo>
                  <a:pt x="1084500" y="1537058"/>
                  <a:pt x="1090283" y="1545268"/>
                  <a:pt x="1086875" y="1550380"/>
                </a:cubicBezTo>
                <a:cubicBezTo>
                  <a:pt x="1085739" y="1552084"/>
                  <a:pt x="1083571" y="1553477"/>
                  <a:pt x="1080164" y="1553787"/>
                </a:cubicBezTo>
                <a:cubicBezTo>
                  <a:pt x="1079234" y="1549605"/>
                  <a:pt x="1076756" y="1547746"/>
                  <a:pt x="1076240" y="1544958"/>
                </a:cubicBezTo>
                <a:cubicBezTo>
                  <a:pt x="1076033" y="1544029"/>
                  <a:pt x="1076033" y="1542944"/>
                  <a:pt x="1076343" y="1541705"/>
                </a:cubicBezTo>
                <a:close/>
                <a:moveTo>
                  <a:pt x="5842365" y="1541626"/>
                </a:moveTo>
                <a:cubicBezTo>
                  <a:pt x="5845994" y="1543760"/>
                  <a:pt x="5848768" y="1547174"/>
                  <a:pt x="5845780" y="1550873"/>
                </a:cubicBezTo>
                <a:cubicBezTo>
                  <a:pt x="5844927" y="1552154"/>
                  <a:pt x="5843860" y="1553434"/>
                  <a:pt x="5843646" y="1552296"/>
                </a:cubicBezTo>
                <a:cubicBezTo>
                  <a:pt x="5842579" y="1552296"/>
                  <a:pt x="5842365" y="1551157"/>
                  <a:pt x="5841085" y="1550020"/>
                </a:cubicBezTo>
                <a:cubicBezTo>
                  <a:pt x="5839591" y="1547743"/>
                  <a:pt x="5839165" y="1544186"/>
                  <a:pt x="5840232" y="1542906"/>
                </a:cubicBezTo>
                <a:cubicBezTo>
                  <a:pt x="5841085" y="1541626"/>
                  <a:pt x="5842365" y="1541626"/>
                  <a:pt x="5842365" y="1541626"/>
                </a:cubicBezTo>
                <a:close/>
                <a:moveTo>
                  <a:pt x="1023579" y="1541551"/>
                </a:moveTo>
                <a:cubicBezTo>
                  <a:pt x="1025541" y="1542015"/>
                  <a:pt x="1027193" y="1541705"/>
                  <a:pt x="1029981" y="1542015"/>
                </a:cubicBezTo>
                <a:cubicBezTo>
                  <a:pt x="1030704" y="1544494"/>
                  <a:pt x="1029671" y="1549915"/>
                  <a:pt x="1025644" y="1551464"/>
                </a:cubicBezTo>
                <a:cubicBezTo>
                  <a:pt x="1023063" y="1550225"/>
                  <a:pt x="1021721" y="1548830"/>
                  <a:pt x="1021514" y="1547127"/>
                </a:cubicBezTo>
                <a:cubicBezTo>
                  <a:pt x="1021204" y="1545423"/>
                  <a:pt x="1022030" y="1543564"/>
                  <a:pt x="1023579" y="1541551"/>
                </a:cubicBezTo>
                <a:close/>
                <a:moveTo>
                  <a:pt x="3917533" y="1541341"/>
                </a:moveTo>
                <a:cubicBezTo>
                  <a:pt x="3924789" y="1540203"/>
                  <a:pt x="3932472" y="1550589"/>
                  <a:pt x="3932899" y="1557702"/>
                </a:cubicBezTo>
                <a:lnTo>
                  <a:pt x="3932472" y="1558840"/>
                </a:lnTo>
                <a:lnTo>
                  <a:pt x="3932686" y="1560121"/>
                </a:lnTo>
                <a:cubicBezTo>
                  <a:pt x="3932686" y="1562681"/>
                  <a:pt x="3930338" y="1562966"/>
                  <a:pt x="3929271" y="1566380"/>
                </a:cubicBezTo>
                <a:cubicBezTo>
                  <a:pt x="3928417" y="1572356"/>
                  <a:pt x="3939729" y="1573352"/>
                  <a:pt x="3937808" y="1585445"/>
                </a:cubicBezTo>
                <a:cubicBezTo>
                  <a:pt x="3934607" y="1584733"/>
                  <a:pt x="3931618" y="1591989"/>
                  <a:pt x="3926923" y="1590851"/>
                </a:cubicBezTo>
                <a:cubicBezTo>
                  <a:pt x="3912411" y="1589001"/>
                  <a:pt x="3912837" y="1584591"/>
                  <a:pt x="3912411" y="1575486"/>
                </a:cubicBezTo>
                <a:cubicBezTo>
                  <a:pt x="3912837" y="1576624"/>
                  <a:pt x="3913478" y="1574917"/>
                  <a:pt x="3913478" y="1574917"/>
                </a:cubicBezTo>
                <a:cubicBezTo>
                  <a:pt x="3914332" y="1571502"/>
                  <a:pt x="3907716" y="1574347"/>
                  <a:pt x="3908142" y="1570080"/>
                </a:cubicBezTo>
                <a:cubicBezTo>
                  <a:pt x="3908782" y="1566523"/>
                  <a:pt x="3911344" y="1563962"/>
                  <a:pt x="3914118" y="1562255"/>
                </a:cubicBezTo>
                <a:lnTo>
                  <a:pt x="3920734" y="1559409"/>
                </a:lnTo>
                <a:lnTo>
                  <a:pt x="3916039" y="1555284"/>
                </a:lnTo>
                <a:cubicBezTo>
                  <a:pt x="3913905" y="1552011"/>
                  <a:pt x="3913051" y="1548028"/>
                  <a:pt x="3914545" y="1543333"/>
                </a:cubicBezTo>
                <a:cubicBezTo>
                  <a:pt x="3916039" y="1544186"/>
                  <a:pt x="3916679" y="1542764"/>
                  <a:pt x="3917533" y="1541341"/>
                </a:cubicBezTo>
                <a:close/>
                <a:moveTo>
                  <a:pt x="1643220" y="1541240"/>
                </a:moveTo>
                <a:cubicBezTo>
                  <a:pt x="1646524" y="1542015"/>
                  <a:pt x="1648176" y="1544029"/>
                  <a:pt x="1649105" y="1548520"/>
                </a:cubicBezTo>
                <a:cubicBezTo>
                  <a:pt x="1646731" y="1552084"/>
                  <a:pt x="1638780" y="1553787"/>
                  <a:pt x="1637644" y="1548211"/>
                </a:cubicBezTo>
                <a:cubicBezTo>
                  <a:pt x="1638367" y="1545578"/>
                  <a:pt x="1639090" y="1542944"/>
                  <a:pt x="1643220" y="1541240"/>
                </a:cubicBezTo>
                <a:close/>
                <a:moveTo>
                  <a:pt x="5855598" y="1541057"/>
                </a:moveTo>
                <a:cubicBezTo>
                  <a:pt x="5856451" y="1541483"/>
                  <a:pt x="5857305" y="1542337"/>
                  <a:pt x="5858586" y="1542906"/>
                </a:cubicBezTo>
                <a:lnTo>
                  <a:pt x="5855598" y="1546605"/>
                </a:lnTo>
                <a:cubicBezTo>
                  <a:pt x="5854317" y="1545467"/>
                  <a:pt x="5852823" y="1543191"/>
                  <a:pt x="5853890" y="1542053"/>
                </a:cubicBezTo>
                <a:cubicBezTo>
                  <a:pt x="5854317" y="1540772"/>
                  <a:pt x="5854744" y="1540772"/>
                  <a:pt x="5855598" y="1541057"/>
                </a:cubicBezTo>
                <a:close/>
                <a:moveTo>
                  <a:pt x="3661216" y="1540914"/>
                </a:moveTo>
                <a:cubicBezTo>
                  <a:pt x="3661856" y="1540630"/>
                  <a:pt x="3662923" y="1540914"/>
                  <a:pt x="3664204" y="1541483"/>
                </a:cubicBezTo>
                <a:cubicBezTo>
                  <a:pt x="3668259" y="1546036"/>
                  <a:pt x="3665484" y="1551157"/>
                  <a:pt x="3665271" y="1557275"/>
                </a:cubicBezTo>
                <a:cubicBezTo>
                  <a:pt x="3663990" y="1557275"/>
                  <a:pt x="3663137" y="1558556"/>
                  <a:pt x="3663137" y="1559836"/>
                </a:cubicBezTo>
                <a:cubicBezTo>
                  <a:pt x="3662283" y="1561116"/>
                  <a:pt x="3661216" y="1562397"/>
                  <a:pt x="3662497" y="1562255"/>
                </a:cubicBezTo>
                <a:cubicBezTo>
                  <a:pt x="3659508" y="1566096"/>
                  <a:pt x="3659722" y="1567234"/>
                  <a:pt x="3656093" y="1566238"/>
                </a:cubicBezTo>
                <a:cubicBezTo>
                  <a:pt x="3655880" y="1556564"/>
                  <a:pt x="3658868" y="1545467"/>
                  <a:pt x="3659722" y="1543048"/>
                </a:cubicBezTo>
                <a:cubicBezTo>
                  <a:pt x="3660149" y="1541768"/>
                  <a:pt x="3660575" y="1541057"/>
                  <a:pt x="3661216" y="1540914"/>
                </a:cubicBezTo>
                <a:close/>
                <a:moveTo>
                  <a:pt x="3717985" y="1540630"/>
                </a:moveTo>
                <a:cubicBezTo>
                  <a:pt x="3719266" y="1540914"/>
                  <a:pt x="3720760" y="1541910"/>
                  <a:pt x="3722680" y="1543191"/>
                </a:cubicBezTo>
                <a:cubicBezTo>
                  <a:pt x="3726309" y="1545752"/>
                  <a:pt x="3729937" y="1550731"/>
                  <a:pt x="3731218" y="1552011"/>
                </a:cubicBezTo>
                <a:cubicBezTo>
                  <a:pt x="3732285" y="1553292"/>
                  <a:pt x="3733565" y="1553292"/>
                  <a:pt x="3733565" y="1553292"/>
                </a:cubicBezTo>
                <a:cubicBezTo>
                  <a:pt x="3732498" y="1555710"/>
                  <a:pt x="3719266" y="1545325"/>
                  <a:pt x="3715638" y="1542764"/>
                </a:cubicBezTo>
                <a:cubicBezTo>
                  <a:pt x="3715424" y="1541626"/>
                  <a:pt x="3715424" y="1541626"/>
                  <a:pt x="3715424" y="1541626"/>
                </a:cubicBezTo>
                <a:cubicBezTo>
                  <a:pt x="3716064" y="1540488"/>
                  <a:pt x="3716918" y="1540203"/>
                  <a:pt x="3717985" y="1540630"/>
                </a:cubicBezTo>
                <a:close/>
                <a:moveTo>
                  <a:pt x="6029108" y="1539919"/>
                </a:moveTo>
                <a:cubicBezTo>
                  <a:pt x="6032310" y="1539349"/>
                  <a:pt x="6035938" y="1540772"/>
                  <a:pt x="6037858" y="1543475"/>
                </a:cubicBezTo>
                <a:cubicBezTo>
                  <a:pt x="6038925" y="1545183"/>
                  <a:pt x="6039352" y="1547601"/>
                  <a:pt x="6038498" y="1550304"/>
                </a:cubicBezTo>
                <a:cubicBezTo>
                  <a:pt x="6031669" y="1552438"/>
                  <a:pt x="6024199" y="1556137"/>
                  <a:pt x="6021211" y="1548455"/>
                </a:cubicBezTo>
                <a:cubicBezTo>
                  <a:pt x="6022492" y="1543048"/>
                  <a:pt x="6025693" y="1540488"/>
                  <a:pt x="6029108" y="1539919"/>
                </a:cubicBezTo>
                <a:close/>
                <a:moveTo>
                  <a:pt x="5451167" y="1539919"/>
                </a:moveTo>
                <a:cubicBezTo>
                  <a:pt x="5451594" y="1541483"/>
                  <a:pt x="5451594" y="1541483"/>
                  <a:pt x="5452448" y="1542195"/>
                </a:cubicBezTo>
                <a:cubicBezTo>
                  <a:pt x="5452448" y="1542195"/>
                  <a:pt x="5450954" y="1542479"/>
                  <a:pt x="5450954" y="1542479"/>
                </a:cubicBezTo>
                <a:cubicBezTo>
                  <a:pt x="5450527" y="1540914"/>
                  <a:pt x="5449887" y="1541768"/>
                  <a:pt x="5451167" y="1539919"/>
                </a:cubicBezTo>
                <a:close/>
                <a:moveTo>
                  <a:pt x="3650118" y="1539919"/>
                </a:moveTo>
                <a:cubicBezTo>
                  <a:pt x="3650971" y="1543191"/>
                  <a:pt x="3652038" y="1547459"/>
                  <a:pt x="3651612" y="1550162"/>
                </a:cubicBezTo>
                <a:cubicBezTo>
                  <a:pt x="3649904" y="1548312"/>
                  <a:pt x="3647770" y="1544328"/>
                  <a:pt x="3649264" y="1541341"/>
                </a:cubicBezTo>
                <a:cubicBezTo>
                  <a:pt x="3649264" y="1541341"/>
                  <a:pt x="3649264" y="1541341"/>
                  <a:pt x="3650118" y="1539919"/>
                </a:cubicBezTo>
                <a:close/>
                <a:moveTo>
                  <a:pt x="5037987" y="1539776"/>
                </a:moveTo>
                <a:cubicBezTo>
                  <a:pt x="5041615" y="1539634"/>
                  <a:pt x="5048444" y="1541199"/>
                  <a:pt x="5049298" y="1541341"/>
                </a:cubicBezTo>
                <a:cubicBezTo>
                  <a:pt x="5049298" y="1541341"/>
                  <a:pt x="5050365" y="1541341"/>
                  <a:pt x="5051646" y="1541341"/>
                </a:cubicBezTo>
                <a:cubicBezTo>
                  <a:pt x="5052713" y="1542621"/>
                  <a:pt x="5052926" y="1543760"/>
                  <a:pt x="5053993" y="1543902"/>
                </a:cubicBezTo>
                <a:cubicBezTo>
                  <a:pt x="5050792" y="1547316"/>
                  <a:pt x="5047163" y="1545894"/>
                  <a:pt x="5043749" y="1544613"/>
                </a:cubicBezTo>
                <a:cubicBezTo>
                  <a:pt x="5041401" y="1543333"/>
                  <a:pt x="5040121" y="1543191"/>
                  <a:pt x="5037987" y="1544328"/>
                </a:cubicBezTo>
                <a:cubicBezTo>
                  <a:pt x="5037987" y="1544328"/>
                  <a:pt x="5037987" y="1544328"/>
                  <a:pt x="5035425" y="1541768"/>
                </a:cubicBezTo>
                <a:lnTo>
                  <a:pt x="5035425" y="1540630"/>
                </a:lnTo>
                <a:cubicBezTo>
                  <a:pt x="5035639" y="1540061"/>
                  <a:pt x="5036706" y="1539776"/>
                  <a:pt x="5037987" y="1539776"/>
                </a:cubicBezTo>
                <a:close/>
                <a:moveTo>
                  <a:pt x="5592025" y="1538923"/>
                </a:moveTo>
                <a:cubicBezTo>
                  <a:pt x="5594799" y="1538496"/>
                  <a:pt x="5596720" y="1538923"/>
                  <a:pt x="5597787" y="1539919"/>
                </a:cubicBezTo>
                <a:cubicBezTo>
                  <a:pt x="5598853" y="1541057"/>
                  <a:pt x="5599281" y="1542764"/>
                  <a:pt x="5599708" y="1545183"/>
                </a:cubicBezTo>
                <a:cubicBezTo>
                  <a:pt x="5595653" y="1545325"/>
                  <a:pt x="5594372" y="1543191"/>
                  <a:pt x="5592025" y="1538923"/>
                </a:cubicBezTo>
                <a:close/>
                <a:moveTo>
                  <a:pt x="5370708" y="1538780"/>
                </a:moveTo>
                <a:cubicBezTo>
                  <a:pt x="5373909" y="1538354"/>
                  <a:pt x="5377110" y="1539065"/>
                  <a:pt x="5378818" y="1541057"/>
                </a:cubicBezTo>
                <a:cubicBezTo>
                  <a:pt x="5379885" y="1542337"/>
                  <a:pt x="5380525" y="1544186"/>
                  <a:pt x="5379671" y="1546463"/>
                </a:cubicBezTo>
                <a:cubicBezTo>
                  <a:pt x="5374123" y="1551869"/>
                  <a:pt x="5370495" y="1545894"/>
                  <a:pt x="5363452" y="1544186"/>
                </a:cubicBezTo>
                <a:cubicBezTo>
                  <a:pt x="5364519" y="1541057"/>
                  <a:pt x="5367720" y="1539349"/>
                  <a:pt x="5370708" y="1538780"/>
                </a:cubicBezTo>
                <a:close/>
                <a:moveTo>
                  <a:pt x="1570527" y="1538762"/>
                </a:moveTo>
                <a:cubicBezTo>
                  <a:pt x="1570321" y="1539537"/>
                  <a:pt x="1570218" y="1540311"/>
                  <a:pt x="1571044" y="1540466"/>
                </a:cubicBezTo>
                <a:cubicBezTo>
                  <a:pt x="1569082" y="1542015"/>
                  <a:pt x="1568152" y="1541860"/>
                  <a:pt x="1567223" y="1542635"/>
                </a:cubicBezTo>
                <a:cubicBezTo>
                  <a:pt x="1568049" y="1542790"/>
                  <a:pt x="1567017" y="1543564"/>
                  <a:pt x="1567017" y="1543564"/>
                </a:cubicBezTo>
                <a:cubicBezTo>
                  <a:pt x="1567017" y="1543564"/>
                  <a:pt x="1567017" y="1543564"/>
                  <a:pt x="1568462" y="1545268"/>
                </a:cubicBezTo>
                <a:cubicBezTo>
                  <a:pt x="1568462" y="1545268"/>
                  <a:pt x="1571250" y="1549760"/>
                  <a:pt x="1567120" y="1553632"/>
                </a:cubicBezTo>
                <a:cubicBezTo>
                  <a:pt x="1566397" y="1552703"/>
                  <a:pt x="1560408" y="1557350"/>
                  <a:pt x="1557207" y="1555491"/>
                </a:cubicBezTo>
                <a:cubicBezTo>
                  <a:pt x="1555555" y="1554562"/>
                  <a:pt x="1554832" y="1553632"/>
                  <a:pt x="1553284" y="1552703"/>
                </a:cubicBezTo>
                <a:cubicBezTo>
                  <a:pt x="1553490" y="1551464"/>
                  <a:pt x="1552974" y="1550225"/>
                  <a:pt x="1553077" y="1548676"/>
                </a:cubicBezTo>
                <a:cubicBezTo>
                  <a:pt x="1553077" y="1546972"/>
                  <a:pt x="1553593" y="1545113"/>
                  <a:pt x="1555762" y="1542790"/>
                </a:cubicBezTo>
                <a:cubicBezTo>
                  <a:pt x="1560925" y="1538143"/>
                  <a:pt x="1565468" y="1542635"/>
                  <a:pt x="1565571" y="1541705"/>
                </a:cubicBezTo>
                <a:cubicBezTo>
                  <a:pt x="1566603" y="1540931"/>
                  <a:pt x="1566500" y="1540931"/>
                  <a:pt x="1566707" y="1540156"/>
                </a:cubicBezTo>
                <a:cubicBezTo>
                  <a:pt x="1567533" y="1540156"/>
                  <a:pt x="1569495" y="1539537"/>
                  <a:pt x="1570527" y="1538762"/>
                </a:cubicBezTo>
                <a:close/>
                <a:moveTo>
                  <a:pt x="5911941" y="1538069"/>
                </a:moveTo>
                <a:cubicBezTo>
                  <a:pt x="5914288" y="1538923"/>
                  <a:pt x="5919837" y="1542764"/>
                  <a:pt x="5922612" y="1547032"/>
                </a:cubicBezTo>
                <a:cubicBezTo>
                  <a:pt x="5923465" y="1548312"/>
                  <a:pt x="5923892" y="1549877"/>
                  <a:pt x="5923892" y="1551157"/>
                </a:cubicBezTo>
                <a:cubicBezTo>
                  <a:pt x="5923892" y="1553007"/>
                  <a:pt x="5922825" y="1554714"/>
                  <a:pt x="5920477" y="1555995"/>
                </a:cubicBezTo>
                <a:cubicBezTo>
                  <a:pt x="5916209" y="1550020"/>
                  <a:pt x="5909593" y="1547459"/>
                  <a:pt x="5909379" y="1543048"/>
                </a:cubicBezTo>
                <a:cubicBezTo>
                  <a:pt x="5909379" y="1541626"/>
                  <a:pt x="5910020" y="1540061"/>
                  <a:pt x="5911941" y="1538069"/>
                </a:cubicBezTo>
                <a:close/>
                <a:moveTo>
                  <a:pt x="3609782" y="1537784"/>
                </a:moveTo>
                <a:cubicBezTo>
                  <a:pt x="3609568" y="1538923"/>
                  <a:pt x="3610849" y="1539207"/>
                  <a:pt x="3610849" y="1539207"/>
                </a:cubicBezTo>
                <a:cubicBezTo>
                  <a:pt x="3610849" y="1539207"/>
                  <a:pt x="3610849" y="1539065"/>
                  <a:pt x="3610849" y="1537927"/>
                </a:cubicBezTo>
                <a:cubicBezTo>
                  <a:pt x="3611489" y="1538638"/>
                  <a:pt x="3611275" y="1539207"/>
                  <a:pt x="3611062" y="1539634"/>
                </a:cubicBezTo>
                <a:cubicBezTo>
                  <a:pt x="3610849" y="1540061"/>
                  <a:pt x="3610635" y="1540345"/>
                  <a:pt x="3610635" y="1540345"/>
                </a:cubicBezTo>
                <a:cubicBezTo>
                  <a:pt x="3609355" y="1541341"/>
                  <a:pt x="3608287" y="1542337"/>
                  <a:pt x="3607220" y="1540914"/>
                </a:cubicBezTo>
                <a:cubicBezTo>
                  <a:pt x="3607220" y="1540914"/>
                  <a:pt x="3607220" y="1539776"/>
                  <a:pt x="3609782" y="1537784"/>
                </a:cubicBezTo>
                <a:close/>
                <a:moveTo>
                  <a:pt x="5090274" y="1537500"/>
                </a:moveTo>
                <a:cubicBezTo>
                  <a:pt x="5090274" y="1537500"/>
                  <a:pt x="5090701" y="1537500"/>
                  <a:pt x="5091342" y="1537500"/>
                </a:cubicBezTo>
                <a:cubicBezTo>
                  <a:pt x="5091982" y="1537500"/>
                  <a:pt x="5092835" y="1537784"/>
                  <a:pt x="5093902" y="1538354"/>
                </a:cubicBezTo>
                <a:cubicBezTo>
                  <a:pt x="5097957" y="1538069"/>
                  <a:pt x="5098811" y="1543048"/>
                  <a:pt x="5098811" y="1543048"/>
                </a:cubicBezTo>
                <a:cubicBezTo>
                  <a:pt x="5098811" y="1543048"/>
                  <a:pt x="5098811" y="1542906"/>
                  <a:pt x="5099451" y="1541910"/>
                </a:cubicBezTo>
                <a:cubicBezTo>
                  <a:pt x="5098171" y="1544044"/>
                  <a:pt x="5097744" y="1546747"/>
                  <a:pt x="5096464" y="1548739"/>
                </a:cubicBezTo>
                <a:cubicBezTo>
                  <a:pt x="5085366" y="1553434"/>
                  <a:pt x="5085579" y="1549166"/>
                  <a:pt x="5083872" y="1543618"/>
                </a:cubicBezTo>
                <a:cubicBezTo>
                  <a:pt x="5086006" y="1542195"/>
                  <a:pt x="5087073" y="1538496"/>
                  <a:pt x="5090274" y="1537500"/>
                </a:cubicBezTo>
                <a:close/>
                <a:moveTo>
                  <a:pt x="1219250" y="1537213"/>
                </a:moveTo>
                <a:cubicBezTo>
                  <a:pt x="1225032" y="1541396"/>
                  <a:pt x="1219869" y="1549915"/>
                  <a:pt x="1214500" y="1550225"/>
                </a:cubicBezTo>
                <a:cubicBezTo>
                  <a:pt x="1212331" y="1548520"/>
                  <a:pt x="1211505" y="1546197"/>
                  <a:pt x="1211712" y="1543874"/>
                </a:cubicBezTo>
                <a:cubicBezTo>
                  <a:pt x="1212022" y="1541551"/>
                  <a:pt x="1213261" y="1539382"/>
                  <a:pt x="1215016" y="1538143"/>
                </a:cubicBezTo>
                <a:cubicBezTo>
                  <a:pt x="1216255" y="1537368"/>
                  <a:pt x="1217701" y="1536903"/>
                  <a:pt x="1219250" y="1537213"/>
                </a:cubicBezTo>
                <a:close/>
                <a:moveTo>
                  <a:pt x="5446259" y="1536789"/>
                </a:moveTo>
                <a:cubicBezTo>
                  <a:pt x="5446899" y="1537216"/>
                  <a:pt x="5447326" y="1537500"/>
                  <a:pt x="5447752" y="1537784"/>
                </a:cubicBezTo>
                <a:cubicBezTo>
                  <a:pt x="5447966" y="1538211"/>
                  <a:pt x="5447966" y="1538638"/>
                  <a:pt x="5447752" y="1539065"/>
                </a:cubicBezTo>
                <a:cubicBezTo>
                  <a:pt x="5447112" y="1540061"/>
                  <a:pt x="5446045" y="1539349"/>
                  <a:pt x="5445619" y="1537784"/>
                </a:cubicBezTo>
                <a:cubicBezTo>
                  <a:pt x="5445619" y="1537784"/>
                  <a:pt x="5446259" y="1536789"/>
                  <a:pt x="5446259" y="1536789"/>
                </a:cubicBezTo>
                <a:close/>
                <a:moveTo>
                  <a:pt x="4630995" y="1536646"/>
                </a:moveTo>
                <a:cubicBezTo>
                  <a:pt x="4632702" y="1537073"/>
                  <a:pt x="4635050" y="1538496"/>
                  <a:pt x="4636544" y="1538923"/>
                </a:cubicBezTo>
                <a:cubicBezTo>
                  <a:pt x="4636544" y="1538923"/>
                  <a:pt x="4636544" y="1538923"/>
                  <a:pt x="4636330" y="1540630"/>
                </a:cubicBezTo>
                <a:cubicBezTo>
                  <a:pt x="4635050" y="1538496"/>
                  <a:pt x="4630568" y="1539919"/>
                  <a:pt x="4630995" y="1536646"/>
                </a:cubicBezTo>
                <a:close/>
                <a:moveTo>
                  <a:pt x="3417704" y="1536504"/>
                </a:moveTo>
                <a:lnTo>
                  <a:pt x="3413222" y="1538069"/>
                </a:lnTo>
                <a:lnTo>
                  <a:pt x="3411942" y="1537500"/>
                </a:lnTo>
                <a:lnTo>
                  <a:pt x="3411301" y="1543618"/>
                </a:lnTo>
                <a:cubicBezTo>
                  <a:pt x="3410874" y="1553861"/>
                  <a:pt x="3409594" y="1562966"/>
                  <a:pt x="3410661" y="1571502"/>
                </a:cubicBezTo>
                <a:cubicBezTo>
                  <a:pt x="3409167" y="1570080"/>
                  <a:pt x="3407886" y="1569368"/>
                  <a:pt x="3406819" y="1569652"/>
                </a:cubicBezTo>
                <a:lnTo>
                  <a:pt x="3405326" y="1571929"/>
                </a:lnTo>
                <a:lnTo>
                  <a:pt x="3406179" y="1571502"/>
                </a:lnTo>
                <a:cubicBezTo>
                  <a:pt x="3407886" y="1571360"/>
                  <a:pt x="3409381" y="1571929"/>
                  <a:pt x="3410234" y="1573209"/>
                </a:cubicBezTo>
                <a:cubicBezTo>
                  <a:pt x="3410661" y="1573921"/>
                  <a:pt x="3410874" y="1575059"/>
                  <a:pt x="3411088" y="1576481"/>
                </a:cubicBezTo>
                <a:lnTo>
                  <a:pt x="3408313" y="1577904"/>
                </a:lnTo>
                <a:lnTo>
                  <a:pt x="3409594" y="1580038"/>
                </a:lnTo>
                <a:cubicBezTo>
                  <a:pt x="3411088" y="1582741"/>
                  <a:pt x="3412795" y="1584591"/>
                  <a:pt x="3415356" y="1581176"/>
                </a:cubicBezTo>
                <a:lnTo>
                  <a:pt x="3415783" y="1583453"/>
                </a:lnTo>
                <a:lnTo>
                  <a:pt x="3417704" y="1580750"/>
                </a:lnTo>
                <a:cubicBezTo>
                  <a:pt x="3420052" y="1581318"/>
                  <a:pt x="3421759" y="1582599"/>
                  <a:pt x="3422826" y="1584022"/>
                </a:cubicBezTo>
                <a:cubicBezTo>
                  <a:pt x="3425814" y="1588290"/>
                  <a:pt x="3423253" y="1594550"/>
                  <a:pt x="3418771" y="1595688"/>
                </a:cubicBezTo>
                <a:lnTo>
                  <a:pt x="3415356" y="1595546"/>
                </a:lnTo>
                <a:lnTo>
                  <a:pt x="3415356" y="1595830"/>
                </a:lnTo>
                <a:cubicBezTo>
                  <a:pt x="3416637" y="1598249"/>
                  <a:pt x="3419624" y="1598106"/>
                  <a:pt x="3426240" y="1599102"/>
                </a:cubicBezTo>
                <a:cubicBezTo>
                  <a:pt x="3426454" y="1586725"/>
                  <a:pt x="3427521" y="1569368"/>
                  <a:pt x="3418344" y="1572782"/>
                </a:cubicBezTo>
                <a:cubicBezTo>
                  <a:pt x="3418984" y="1567803"/>
                  <a:pt x="3424960" y="1570791"/>
                  <a:pt x="3424747" y="1565527"/>
                </a:cubicBezTo>
                <a:cubicBezTo>
                  <a:pt x="3423039" y="1557133"/>
                  <a:pt x="3419198" y="1550447"/>
                  <a:pt x="3417704" y="1537784"/>
                </a:cubicBezTo>
                <a:close/>
                <a:moveTo>
                  <a:pt x="1702902" y="1536439"/>
                </a:moveTo>
                <a:cubicBezTo>
                  <a:pt x="1703315" y="1537058"/>
                  <a:pt x="1703212" y="1537987"/>
                  <a:pt x="1702902" y="1538917"/>
                </a:cubicBezTo>
                <a:cubicBezTo>
                  <a:pt x="1701973" y="1541860"/>
                  <a:pt x="1698668" y="1546042"/>
                  <a:pt x="1696500" y="1547901"/>
                </a:cubicBezTo>
                <a:cubicBezTo>
                  <a:pt x="1696190" y="1547127"/>
                  <a:pt x="1696190" y="1546352"/>
                  <a:pt x="1696500" y="1545268"/>
                </a:cubicBezTo>
                <a:cubicBezTo>
                  <a:pt x="1697429" y="1542325"/>
                  <a:pt x="1700837" y="1538143"/>
                  <a:pt x="1702902" y="1536439"/>
                </a:cubicBezTo>
                <a:close/>
                <a:moveTo>
                  <a:pt x="4875147" y="1535366"/>
                </a:moveTo>
                <a:cubicBezTo>
                  <a:pt x="4874080" y="1539491"/>
                  <a:pt x="4879202" y="1540630"/>
                  <a:pt x="4875574" y="1544186"/>
                </a:cubicBezTo>
                <a:cubicBezTo>
                  <a:pt x="4873440" y="1544898"/>
                  <a:pt x="4870665" y="1544328"/>
                  <a:pt x="4867251" y="1541341"/>
                </a:cubicBezTo>
                <a:cubicBezTo>
                  <a:pt x="4867677" y="1534939"/>
                  <a:pt x="4871306" y="1535224"/>
                  <a:pt x="4875147" y="1535366"/>
                </a:cubicBezTo>
                <a:close/>
                <a:moveTo>
                  <a:pt x="3690667" y="1534939"/>
                </a:moveTo>
                <a:cubicBezTo>
                  <a:pt x="3690667" y="1534939"/>
                  <a:pt x="3691095" y="1534797"/>
                  <a:pt x="3691734" y="1534939"/>
                </a:cubicBezTo>
                <a:cubicBezTo>
                  <a:pt x="3692375" y="1534939"/>
                  <a:pt x="3693229" y="1535224"/>
                  <a:pt x="3694723" y="1535935"/>
                </a:cubicBezTo>
                <a:cubicBezTo>
                  <a:pt x="3693655" y="1536219"/>
                  <a:pt x="3693869" y="1537500"/>
                  <a:pt x="3693869" y="1537500"/>
                </a:cubicBezTo>
                <a:cubicBezTo>
                  <a:pt x="3693869" y="1537500"/>
                  <a:pt x="3693869" y="1537500"/>
                  <a:pt x="3694936" y="1537073"/>
                </a:cubicBezTo>
                <a:cubicBezTo>
                  <a:pt x="3694509" y="1537784"/>
                  <a:pt x="3694082" y="1537927"/>
                  <a:pt x="3693442" y="1538069"/>
                </a:cubicBezTo>
                <a:cubicBezTo>
                  <a:pt x="3693015" y="1538069"/>
                  <a:pt x="3692802" y="1537784"/>
                  <a:pt x="3692802" y="1537784"/>
                </a:cubicBezTo>
                <a:cubicBezTo>
                  <a:pt x="3691308" y="1537073"/>
                  <a:pt x="3690027" y="1536504"/>
                  <a:pt x="3690667" y="1534939"/>
                </a:cubicBezTo>
                <a:close/>
                <a:moveTo>
                  <a:pt x="5747821" y="1534512"/>
                </a:moveTo>
                <a:cubicBezTo>
                  <a:pt x="5748888" y="1536504"/>
                  <a:pt x="5749742" y="1538354"/>
                  <a:pt x="5750382" y="1540061"/>
                </a:cubicBezTo>
                <a:cubicBezTo>
                  <a:pt x="5752302" y="1545325"/>
                  <a:pt x="5751449" y="1550162"/>
                  <a:pt x="5745473" y="1555141"/>
                </a:cubicBezTo>
                <a:cubicBezTo>
                  <a:pt x="5741205" y="1554145"/>
                  <a:pt x="5739924" y="1549735"/>
                  <a:pt x="5740564" y="1545183"/>
                </a:cubicBezTo>
                <a:cubicBezTo>
                  <a:pt x="5741418" y="1540772"/>
                  <a:pt x="5744193" y="1536077"/>
                  <a:pt x="5747821" y="1534512"/>
                </a:cubicBezTo>
                <a:close/>
                <a:moveTo>
                  <a:pt x="1339750" y="1534425"/>
                </a:moveTo>
                <a:cubicBezTo>
                  <a:pt x="1340060" y="1535509"/>
                  <a:pt x="1340989" y="1537058"/>
                  <a:pt x="1340679" y="1538917"/>
                </a:cubicBezTo>
                <a:cubicBezTo>
                  <a:pt x="1337994" y="1540931"/>
                  <a:pt x="1336549" y="1539692"/>
                  <a:pt x="1336445" y="1537987"/>
                </a:cubicBezTo>
                <a:cubicBezTo>
                  <a:pt x="1336239" y="1536284"/>
                  <a:pt x="1337478" y="1534116"/>
                  <a:pt x="1339750" y="1534425"/>
                </a:cubicBezTo>
                <a:close/>
                <a:moveTo>
                  <a:pt x="4027444" y="1534370"/>
                </a:moveTo>
                <a:cubicBezTo>
                  <a:pt x="4029151" y="1540630"/>
                  <a:pt x="4021895" y="1546320"/>
                  <a:pt x="4016559" y="1544898"/>
                </a:cubicBezTo>
                <a:cubicBezTo>
                  <a:pt x="4014852" y="1544471"/>
                  <a:pt x="4013358" y="1543191"/>
                  <a:pt x="4012504" y="1540914"/>
                </a:cubicBezTo>
                <a:cubicBezTo>
                  <a:pt x="4013785" y="1533517"/>
                  <a:pt x="4020614" y="1536646"/>
                  <a:pt x="4027444" y="1534370"/>
                </a:cubicBezTo>
                <a:close/>
                <a:moveTo>
                  <a:pt x="4289523" y="1533943"/>
                </a:moveTo>
                <a:cubicBezTo>
                  <a:pt x="4294645" y="1532947"/>
                  <a:pt x="4298914" y="1537216"/>
                  <a:pt x="4301048" y="1542337"/>
                </a:cubicBezTo>
                <a:cubicBezTo>
                  <a:pt x="4303395" y="1547316"/>
                  <a:pt x="4303395" y="1553149"/>
                  <a:pt x="4299341" y="1555284"/>
                </a:cubicBezTo>
                <a:cubicBezTo>
                  <a:pt x="4298274" y="1555995"/>
                  <a:pt x="4296779" y="1556279"/>
                  <a:pt x="4294859" y="1556279"/>
                </a:cubicBezTo>
                <a:cubicBezTo>
                  <a:pt x="4286749" y="1551442"/>
                  <a:pt x="4282053" y="1545609"/>
                  <a:pt x="4286322" y="1536077"/>
                </a:cubicBezTo>
                <a:cubicBezTo>
                  <a:pt x="4287603" y="1536789"/>
                  <a:pt x="4288670" y="1535366"/>
                  <a:pt x="4289523" y="1533943"/>
                </a:cubicBezTo>
                <a:close/>
                <a:moveTo>
                  <a:pt x="1637231" y="1533806"/>
                </a:moveTo>
                <a:cubicBezTo>
                  <a:pt x="1638160" y="1533031"/>
                  <a:pt x="1639193" y="1533186"/>
                  <a:pt x="1640019" y="1533806"/>
                </a:cubicBezTo>
                <a:lnTo>
                  <a:pt x="1640845" y="1534890"/>
                </a:lnTo>
                <a:lnTo>
                  <a:pt x="1641980" y="1534270"/>
                </a:lnTo>
                <a:cubicBezTo>
                  <a:pt x="1643013" y="1533806"/>
                  <a:pt x="1643839" y="1533651"/>
                  <a:pt x="1644459" y="1533806"/>
                </a:cubicBezTo>
                <a:cubicBezTo>
                  <a:pt x="1644356" y="1534735"/>
                  <a:pt x="1644252" y="1535509"/>
                  <a:pt x="1643323" y="1536284"/>
                </a:cubicBezTo>
                <a:cubicBezTo>
                  <a:pt x="1642394" y="1537213"/>
                  <a:pt x="1642497" y="1536284"/>
                  <a:pt x="1642394" y="1537213"/>
                </a:cubicBezTo>
                <a:cubicBezTo>
                  <a:pt x="1641361" y="1537987"/>
                  <a:pt x="1642291" y="1537987"/>
                  <a:pt x="1642291" y="1537987"/>
                </a:cubicBezTo>
                <a:lnTo>
                  <a:pt x="1641877" y="1537987"/>
                </a:lnTo>
                <a:lnTo>
                  <a:pt x="1641980" y="1539227"/>
                </a:lnTo>
                <a:cubicBezTo>
                  <a:pt x="1641671" y="1540001"/>
                  <a:pt x="1641051" y="1540621"/>
                  <a:pt x="1639915" y="1540776"/>
                </a:cubicBezTo>
                <a:lnTo>
                  <a:pt x="1638883" y="1540466"/>
                </a:lnTo>
                <a:lnTo>
                  <a:pt x="1637540" y="1542480"/>
                </a:lnTo>
                <a:cubicBezTo>
                  <a:pt x="1637128" y="1543254"/>
                  <a:pt x="1636818" y="1543874"/>
                  <a:pt x="1636301" y="1544648"/>
                </a:cubicBezTo>
                <a:cubicBezTo>
                  <a:pt x="1634340" y="1546352"/>
                  <a:pt x="1633513" y="1546197"/>
                  <a:pt x="1630726" y="1547901"/>
                </a:cubicBezTo>
                <a:cubicBezTo>
                  <a:pt x="1629177" y="1546972"/>
                  <a:pt x="1629177" y="1546972"/>
                  <a:pt x="1629280" y="1546197"/>
                </a:cubicBezTo>
                <a:cubicBezTo>
                  <a:pt x="1629177" y="1546972"/>
                  <a:pt x="1628247" y="1546972"/>
                  <a:pt x="1627318" y="1547901"/>
                </a:cubicBezTo>
                <a:cubicBezTo>
                  <a:pt x="1624221" y="1551929"/>
                  <a:pt x="1620090" y="1550225"/>
                  <a:pt x="1616270" y="1546662"/>
                </a:cubicBezTo>
                <a:cubicBezTo>
                  <a:pt x="1617199" y="1545887"/>
                  <a:pt x="1614824" y="1544029"/>
                  <a:pt x="1614205" y="1542325"/>
                </a:cubicBezTo>
                <a:cubicBezTo>
                  <a:pt x="1614514" y="1539847"/>
                  <a:pt x="1614721" y="1538143"/>
                  <a:pt x="1616579" y="1536439"/>
                </a:cubicBezTo>
                <a:cubicBezTo>
                  <a:pt x="1619471" y="1533961"/>
                  <a:pt x="1625666" y="1532566"/>
                  <a:pt x="1627938" y="1535045"/>
                </a:cubicBezTo>
                <a:cubicBezTo>
                  <a:pt x="1631139" y="1537678"/>
                  <a:pt x="1631655" y="1540311"/>
                  <a:pt x="1631345" y="1542790"/>
                </a:cubicBezTo>
                <a:cubicBezTo>
                  <a:pt x="1631345" y="1542790"/>
                  <a:pt x="1631345" y="1542790"/>
                  <a:pt x="1631448" y="1542015"/>
                </a:cubicBezTo>
                <a:lnTo>
                  <a:pt x="1634856" y="1539382"/>
                </a:lnTo>
                <a:close/>
                <a:moveTo>
                  <a:pt x="4705052" y="1533801"/>
                </a:moveTo>
                <a:cubicBezTo>
                  <a:pt x="4705479" y="1533801"/>
                  <a:pt x="4706119" y="1534085"/>
                  <a:pt x="4706759" y="1534654"/>
                </a:cubicBezTo>
                <a:cubicBezTo>
                  <a:pt x="4709320" y="1535650"/>
                  <a:pt x="4708467" y="1538211"/>
                  <a:pt x="4711027" y="1540345"/>
                </a:cubicBezTo>
                <a:cubicBezTo>
                  <a:pt x="4716150" y="1543760"/>
                  <a:pt x="4721698" y="1533801"/>
                  <a:pt x="4731942" y="1540345"/>
                </a:cubicBezTo>
                <a:cubicBezTo>
                  <a:pt x="4730022" y="1542906"/>
                  <a:pt x="4735571" y="1548597"/>
                  <a:pt x="4732583" y="1552438"/>
                </a:cubicBezTo>
                <a:cubicBezTo>
                  <a:pt x="4724900" y="1564958"/>
                  <a:pt x="4721058" y="1562681"/>
                  <a:pt x="4712522" y="1559551"/>
                </a:cubicBezTo>
                <a:cubicBezTo>
                  <a:pt x="4713802" y="1559551"/>
                  <a:pt x="4712308" y="1558414"/>
                  <a:pt x="4712308" y="1558414"/>
                </a:cubicBezTo>
                <a:cubicBezTo>
                  <a:pt x="4709747" y="1556137"/>
                  <a:pt x="4709534" y="1563393"/>
                  <a:pt x="4705905" y="1561259"/>
                </a:cubicBezTo>
                <a:lnTo>
                  <a:pt x="4705052" y="1560263"/>
                </a:lnTo>
                <a:lnTo>
                  <a:pt x="4704625" y="1560263"/>
                </a:lnTo>
                <a:lnTo>
                  <a:pt x="4700783" y="1564388"/>
                </a:lnTo>
                <a:lnTo>
                  <a:pt x="4701424" y="1564388"/>
                </a:lnTo>
                <a:cubicBezTo>
                  <a:pt x="4710387" y="1565811"/>
                  <a:pt x="4709960" y="1575201"/>
                  <a:pt x="4710814" y="1574489"/>
                </a:cubicBezTo>
                <a:lnTo>
                  <a:pt x="4711668" y="1574774"/>
                </a:lnTo>
                <a:lnTo>
                  <a:pt x="4711454" y="1573352"/>
                </a:lnTo>
                <a:cubicBezTo>
                  <a:pt x="4711027" y="1572356"/>
                  <a:pt x="4710814" y="1571929"/>
                  <a:pt x="4710814" y="1571929"/>
                </a:cubicBezTo>
                <a:cubicBezTo>
                  <a:pt x="4711668" y="1569510"/>
                  <a:pt x="4712735" y="1569368"/>
                  <a:pt x="4711668" y="1569510"/>
                </a:cubicBezTo>
                <a:cubicBezTo>
                  <a:pt x="4713588" y="1566950"/>
                  <a:pt x="4715509" y="1563251"/>
                  <a:pt x="4717857" y="1564388"/>
                </a:cubicBezTo>
                <a:cubicBezTo>
                  <a:pt x="4723619" y="1568515"/>
                  <a:pt x="4720845" y="1577193"/>
                  <a:pt x="4718924" y="1582741"/>
                </a:cubicBezTo>
                <a:lnTo>
                  <a:pt x="4717643" y="1586583"/>
                </a:lnTo>
                <a:lnTo>
                  <a:pt x="4720418" y="1589286"/>
                </a:lnTo>
                <a:cubicBezTo>
                  <a:pt x="4720631" y="1591562"/>
                  <a:pt x="4718283" y="1593412"/>
                  <a:pt x="4715936" y="1593127"/>
                </a:cubicBezTo>
                <a:lnTo>
                  <a:pt x="4713375" y="1591135"/>
                </a:lnTo>
                <a:lnTo>
                  <a:pt x="4712735" y="1593269"/>
                </a:lnTo>
                <a:cubicBezTo>
                  <a:pt x="4711454" y="1592131"/>
                  <a:pt x="4707399" y="1588717"/>
                  <a:pt x="4707399" y="1588717"/>
                </a:cubicBezTo>
                <a:cubicBezTo>
                  <a:pt x="4706332" y="1588859"/>
                  <a:pt x="4706332" y="1588859"/>
                  <a:pt x="4705052" y="1587720"/>
                </a:cubicBezTo>
                <a:cubicBezTo>
                  <a:pt x="4706119" y="1586440"/>
                  <a:pt x="4705905" y="1586583"/>
                  <a:pt x="4707186" y="1586440"/>
                </a:cubicBezTo>
                <a:cubicBezTo>
                  <a:pt x="4708467" y="1587578"/>
                  <a:pt x="4708680" y="1588717"/>
                  <a:pt x="4709960" y="1589855"/>
                </a:cubicBezTo>
                <a:cubicBezTo>
                  <a:pt x="4711881" y="1587294"/>
                  <a:pt x="4710814" y="1587436"/>
                  <a:pt x="4712095" y="1588432"/>
                </a:cubicBezTo>
                <a:cubicBezTo>
                  <a:pt x="4712095" y="1588432"/>
                  <a:pt x="4712095" y="1588574"/>
                  <a:pt x="4713375" y="1589712"/>
                </a:cubicBezTo>
                <a:lnTo>
                  <a:pt x="4713588" y="1589855"/>
                </a:lnTo>
                <a:lnTo>
                  <a:pt x="4713802" y="1589712"/>
                </a:lnTo>
                <a:lnTo>
                  <a:pt x="4713375" y="1589712"/>
                </a:lnTo>
                <a:lnTo>
                  <a:pt x="4712522" y="1577904"/>
                </a:lnTo>
                <a:lnTo>
                  <a:pt x="4711241" y="1577193"/>
                </a:lnTo>
                <a:cubicBezTo>
                  <a:pt x="4711881" y="1578189"/>
                  <a:pt x="4710174" y="1577904"/>
                  <a:pt x="4710174" y="1577904"/>
                </a:cubicBezTo>
                <a:cubicBezTo>
                  <a:pt x="4710174" y="1577904"/>
                  <a:pt x="4710387" y="1577762"/>
                  <a:pt x="4709747" y="1581176"/>
                </a:cubicBezTo>
                <a:cubicBezTo>
                  <a:pt x="4709747" y="1581176"/>
                  <a:pt x="4707826" y="1588290"/>
                  <a:pt x="4700570" y="1587294"/>
                </a:cubicBezTo>
                <a:cubicBezTo>
                  <a:pt x="4700570" y="1586014"/>
                  <a:pt x="4695234" y="1584306"/>
                  <a:pt x="4692246" y="1581176"/>
                </a:cubicBezTo>
                <a:lnTo>
                  <a:pt x="4691606" y="1580323"/>
                </a:lnTo>
                <a:lnTo>
                  <a:pt x="4690326" y="1579611"/>
                </a:lnTo>
                <a:cubicBezTo>
                  <a:pt x="4688618" y="1578473"/>
                  <a:pt x="4686911" y="1577478"/>
                  <a:pt x="4686057" y="1576909"/>
                </a:cubicBezTo>
                <a:cubicBezTo>
                  <a:pt x="4685844" y="1575770"/>
                  <a:pt x="4685844" y="1575770"/>
                  <a:pt x="4685844" y="1575770"/>
                </a:cubicBezTo>
                <a:cubicBezTo>
                  <a:pt x="4686271" y="1574489"/>
                  <a:pt x="4687125" y="1574205"/>
                  <a:pt x="4688192" y="1574489"/>
                </a:cubicBezTo>
                <a:lnTo>
                  <a:pt x="4689899" y="1575201"/>
                </a:lnTo>
                <a:lnTo>
                  <a:pt x="4689472" y="1570648"/>
                </a:lnTo>
                <a:cubicBezTo>
                  <a:pt x="4690966" y="1569652"/>
                  <a:pt x="4691820" y="1568088"/>
                  <a:pt x="4693313" y="1566665"/>
                </a:cubicBezTo>
                <a:lnTo>
                  <a:pt x="4695234" y="1565527"/>
                </a:lnTo>
                <a:lnTo>
                  <a:pt x="4692460" y="1565669"/>
                </a:lnTo>
                <a:cubicBezTo>
                  <a:pt x="4690966" y="1564958"/>
                  <a:pt x="4689685" y="1563678"/>
                  <a:pt x="4688192" y="1561686"/>
                </a:cubicBezTo>
                <a:cubicBezTo>
                  <a:pt x="4690539" y="1555710"/>
                  <a:pt x="4692673" y="1545752"/>
                  <a:pt x="4699289" y="1541626"/>
                </a:cubicBezTo>
                <a:lnTo>
                  <a:pt x="4700570" y="1541341"/>
                </a:lnTo>
                <a:lnTo>
                  <a:pt x="4701637" y="1540061"/>
                </a:lnTo>
                <a:lnTo>
                  <a:pt x="4701637" y="1539776"/>
                </a:lnTo>
                <a:cubicBezTo>
                  <a:pt x="4702704" y="1539776"/>
                  <a:pt x="4702704" y="1538496"/>
                  <a:pt x="4701424" y="1538496"/>
                </a:cubicBezTo>
                <a:cubicBezTo>
                  <a:pt x="4702277" y="1536646"/>
                  <a:pt x="4702917" y="1535224"/>
                  <a:pt x="4703771" y="1534370"/>
                </a:cubicBezTo>
                <a:cubicBezTo>
                  <a:pt x="4704198" y="1533943"/>
                  <a:pt x="4704625" y="1533801"/>
                  <a:pt x="4705052" y="1533801"/>
                </a:cubicBezTo>
                <a:close/>
                <a:moveTo>
                  <a:pt x="4544987" y="1533517"/>
                </a:moveTo>
                <a:cubicBezTo>
                  <a:pt x="4543707" y="1539349"/>
                  <a:pt x="4544560" y="1547743"/>
                  <a:pt x="4541145" y="1552011"/>
                </a:cubicBezTo>
                <a:cubicBezTo>
                  <a:pt x="4541145" y="1549735"/>
                  <a:pt x="4542852" y="1536789"/>
                  <a:pt x="4544987" y="1533517"/>
                </a:cubicBezTo>
                <a:close/>
                <a:moveTo>
                  <a:pt x="3422399" y="1533374"/>
                </a:moveTo>
                <a:lnTo>
                  <a:pt x="3421545" y="1534228"/>
                </a:lnTo>
                <a:lnTo>
                  <a:pt x="3422399" y="1534654"/>
                </a:lnTo>
                <a:close/>
                <a:moveTo>
                  <a:pt x="4124550" y="1533232"/>
                </a:moveTo>
                <a:cubicBezTo>
                  <a:pt x="4125404" y="1535366"/>
                  <a:pt x="4127324" y="1536931"/>
                  <a:pt x="4128178" y="1539065"/>
                </a:cubicBezTo>
                <a:lnTo>
                  <a:pt x="4127751" y="1539919"/>
                </a:lnTo>
                <a:lnTo>
                  <a:pt x="4128605" y="1539207"/>
                </a:lnTo>
                <a:cubicBezTo>
                  <a:pt x="4131593" y="1540203"/>
                  <a:pt x="4133727" y="1542053"/>
                  <a:pt x="4135008" y="1544471"/>
                </a:cubicBezTo>
                <a:cubicBezTo>
                  <a:pt x="4136288" y="1546747"/>
                  <a:pt x="4136502" y="1549877"/>
                  <a:pt x="4135435" y="1553576"/>
                </a:cubicBezTo>
                <a:cubicBezTo>
                  <a:pt x="4130526" y="1557275"/>
                  <a:pt x="4124764" y="1552438"/>
                  <a:pt x="4121562" y="1550304"/>
                </a:cubicBezTo>
                <a:lnTo>
                  <a:pt x="4122416" y="1548170"/>
                </a:lnTo>
                <a:lnTo>
                  <a:pt x="4119855" y="1548455"/>
                </a:lnTo>
                <a:cubicBezTo>
                  <a:pt x="4118788" y="1548170"/>
                  <a:pt x="4117507" y="1547885"/>
                  <a:pt x="4116226" y="1547601"/>
                </a:cubicBezTo>
                <a:cubicBezTo>
                  <a:pt x="4116440" y="1544898"/>
                  <a:pt x="4114093" y="1542337"/>
                  <a:pt x="4115373" y="1539065"/>
                </a:cubicBezTo>
                <a:cubicBezTo>
                  <a:pt x="4115373" y="1539065"/>
                  <a:pt x="4116013" y="1537358"/>
                  <a:pt x="4118147" y="1536362"/>
                </a:cubicBezTo>
                <a:cubicBezTo>
                  <a:pt x="4120495" y="1532520"/>
                  <a:pt x="4124977" y="1534228"/>
                  <a:pt x="4124977" y="1534228"/>
                </a:cubicBezTo>
                <a:cubicBezTo>
                  <a:pt x="4124977" y="1534228"/>
                  <a:pt x="4124977" y="1534228"/>
                  <a:pt x="4124550" y="1533232"/>
                </a:cubicBezTo>
                <a:close/>
                <a:moveTo>
                  <a:pt x="1543474" y="1533186"/>
                </a:moveTo>
                <a:cubicBezTo>
                  <a:pt x="1550393" y="1533961"/>
                  <a:pt x="1552974" y="1545268"/>
                  <a:pt x="1545230" y="1550534"/>
                </a:cubicBezTo>
                <a:cubicBezTo>
                  <a:pt x="1542855" y="1550534"/>
                  <a:pt x="1540790" y="1549295"/>
                  <a:pt x="1539034" y="1547436"/>
                </a:cubicBezTo>
                <a:lnTo>
                  <a:pt x="1538518" y="1546507"/>
                </a:lnTo>
                <a:lnTo>
                  <a:pt x="1535730" y="1546042"/>
                </a:lnTo>
                <a:cubicBezTo>
                  <a:pt x="1532529" y="1545113"/>
                  <a:pt x="1530154" y="1543719"/>
                  <a:pt x="1529328" y="1540931"/>
                </a:cubicBezTo>
                <a:cubicBezTo>
                  <a:pt x="1530154" y="1540001"/>
                  <a:pt x="1531187" y="1539537"/>
                  <a:pt x="1532529" y="1539227"/>
                </a:cubicBezTo>
                <a:lnTo>
                  <a:pt x="1535420" y="1539537"/>
                </a:lnTo>
                <a:lnTo>
                  <a:pt x="1535420" y="1539072"/>
                </a:lnTo>
                <a:lnTo>
                  <a:pt x="1531703" y="1539227"/>
                </a:lnTo>
                <a:cubicBezTo>
                  <a:pt x="1531909" y="1538607"/>
                  <a:pt x="1532219" y="1538297"/>
                  <a:pt x="1532735" y="1538297"/>
                </a:cubicBezTo>
                <a:cubicBezTo>
                  <a:pt x="1533252" y="1538143"/>
                  <a:pt x="1533871" y="1538297"/>
                  <a:pt x="1534491" y="1538452"/>
                </a:cubicBezTo>
                <a:lnTo>
                  <a:pt x="1535420" y="1538607"/>
                </a:lnTo>
                <a:lnTo>
                  <a:pt x="1535317" y="1536594"/>
                </a:lnTo>
                <a:cubicBezTo>
                  <a:pt x="1538415" y="1533961"/>
                  <a:pt x="1541099" y="1532876"/>
                  <a:pt x="1543474" y="1533186"/>
                </a:cubicBezTo>
                <a:close/>
                <a:moveTo>
                  <a:pt x="4655752" y="1532805"/>
                </a:moveTo>
                <a:cubicBezTo>
                  <a:pt x="4659167" y="1533374"/>
                  <a:pt x="4663008" y="1534797"/>
                  <a:pt x="4666850" y="1537500"/>
                </a:cubicBezTo>
                <a:cubicBezTo>
                  <a:pt x="4669197" y="1539491"/>
                  <a:pt x="4671118" y="1541910"/>
                  <a:pt x="4672399" y="1544613"/>
                </a:cubicBezTo>
                <a:lnTo>
                  <a:pt x="4674746" y="1551015"/>
                </a:lnTo>
                <a:lnTo>
                  <a:pt x="4676454" y="1552296"/>
                </a:lnTo>
                <a:lnTo>
                  <a:pt x="4675386" y="1553149"/>
                </a:lnTo>
                <a:lnTo>
                  <a:pt x="4677521" y="1558698"/>
                </a:lnTo>
                <a:cubicBezTo>
                  <a:pt x="4679014" y="1563962"/>
                  <a:pt x="4680722" y="1569510"/>
                  <a:pt x="4683496" y="1575059"/>
                </a:cubicBezTo>
                <a:lnTo>
                  <a:pt x="4681575" y="1574917"/>
                </a:lnTo>
                <a:lnTo>
                  <a:pt x="4682642" y="1576197"/>
                </a:lnTo>
                <a:cubicBezTo>
                  <a:pt x="4684137" y="1578473"/>
                  <a:pt x="4685204" y="1580750"/>
                  <a:pt x="4685417" y="1582741"/>
                </a:cubicBezTo>
                <a:cubicBezTo>
                  <a:pt x="4685417" y="1584022"/>
                  <a:pt x="4684990" y="1585302"/>
                  <a:pt x="4684137" y="1586440"/>
                </a:cubicBezTo>
                <a:cubicBezTo>
                  <a:pt x="4680295" y="1591135"/>
                  <a:pt x="4673039" y="1591277"/>
                  <a:pt x="4666423" y="1587578"/>
                </a:cubicBezTo>
                <a:lnTo>
                  <a:pt x="4665356" y="1586583"/>
                </a:lnTo>
                <a:lnTo>
                  <a:pt x="4660020" y="1599813"/>
                </a:lnTo>
                <a:lnTo>
                  <a:pt x="4658740" y="1603655"/>
                </a:lnTo>
                <a:lnTo>
                  <a:pt x="4659593" y="1604793"/>
                </a:lnTo>
                <a:cubicBezTo>
                  <a:pt x="4660020" y="1606358"/>
                  <a:pt x="4660447" y="1607923"/>
                  <a:pt x="4661728" y="1609061"/>
                </a:cubicBezTo>
                <a:cubicBezTo>
                  <a:pt x="4660447" y="1609630"/>
                  <a:pt x="4659167" y="1610484"/>
                  <a:pt x="4657459" y="1610768"/>
                </a:cubicBezTo>
                <a:lnTo>
                  <a:pt x="4656392" y="1610626"/>
                </a:lnTo>
                <a:lnTo>
                  <a:pt x="4656392" y="1611053"/>
                </a:lnTo>
                <a:lnTo>
                  <a:pt x="4655965" y="1610626"/>
                </a:lnTo>
                <a:lnTo>
                  <a:pt x="4654471" y="1610484"/>
                </a:lnTo>
                <a:cubicBezTo>
                  <a:pt x="4653404" y="1610199"/>
                  <a:pt x="4652337" y="1609630"/>
                  <a:pt x="4651057" y="1608634"/>
                </a:cubicBezTo>
                <a:cubicBezTo>
                  <a:pt x="4649776" y="1607354"/>
                  <a:pt x="4649776" y="1607354"/>
                  <a:pt x="4649776" y="1606215"/>
                </a:cubicBezTo>
                <a:cubicBezTo>
                  <a:pt x="4649136" y="1604935"/>
                  <a:pt x="4648496" y="1603940"/>
                  <a:pt x="4648069" y="1603086"/>
                </a:cubicBezTo>
                <a:lnTo>
                  <a:pt x="4648069" y="1602517"/>
                </a:lnTo>
                <a:lnTo>
                  <a:pt x="4646574" y="1601236"/>
                </a:lnTo>
                <a:cubicBezTo>
                  <a:pt x="4642733" y="1599102"/>
                  <a:pt x="4638678" y="1597679"/>
                  <a:pt x="4634623" y="1596114"/>
                </a:cubicBezTo>
                <a:lnTo>
                  <a:pt x="4633556" y="1598249"/>
                </a:lnTo>
                <a:cubicBezTo>
                  <a:pt x="4631849" y="1599671"/>
                  <a:pt x="4629928" y="1600668"/>
                  <a:pt x="4628861" y="1602374"/>
                </a:cubicBezTo>
                <a:cubicBezTo>
                  <a:pt x="4624379" y="1599529"/>
                  <a:pt x="4623312" y="1595546"/>
                  <a:pt x="4623739" y="1592558"/>
                </a:cubicBezTo>
                <a:lnTo>
                  <a:pt x="4625019" y="1590282"/>
                </a:lnTo>
                <a:lnTo>
                  <a:pt x="4623312" y="1588574"/>
                </a:lnTo>
                <a:cubicBezTo>
                  <a:pt x="4622031" y="1587152"/>
                  <a:pt x="4621178" y="1585445"/>
                  <a:pt x="4620324" y="1583453"/>
                </a:cubicBezTo>
                <a:cubicBezTo>
                  <a:pt x="4618830" y="1579611"/>
                  <a:pt x="4617976" y="1576055"/>
                  <a:pt x="4617976" y="1572640"/>
                </a:cubicBezTo>
                <a:lnTo>
                  <a:pt x="4619044" y="1567234"/>
                </a:lnTo>
                <a:lnTo>
                  <a:pt x="4618830" y="1566950"/>
                </a:lnTo>
                <a:cubicBezTo>
                  <a:pt x="4617549" y="1565100"/>
                  <a:pt x="4617763" y="1561970"/>
                  <a:pt x="4619470" y="1558414"/>
                </a:cubicBezTo>
                <a:lnTo>
                  <a:pt x="4622245" y="1560121"/>
                </a:lnTo>
                <a:lnTo>
                  <a:pt x="4625446" y="1555995"/>
                </a:lnTo>
                <a:lnTo>
                  <a:pt x="4629501" y="1553434"/>
                </a:lnTo>
                <a:lnTo>
                  <a:pt x="4630568" y="1550162"/>
                </a:lnTo>
                <a:lnTo>
                  <a:pt x="4627367" y="1550873"/>
                </a:lnTo>
                <a:cubicBezTo>
                  <a:pt x="4626087" y="1550731"/>
                  <a:pt x="4624806" y="1550020"/>
                  <a:pt x="4623312" y="1548739"/>
                </a:cubicBezTo>
                <a:cubicBezTo>
                  <a:pt x="4623099" y="1545183"/>
                  <a:pt x="4627367" y="1539349"/>
                  <a:pt x="4630782" y="1539491"/>
                </a:cubicBezTo>
                <a:cubicBezTo>
                  <a:pt x="4632062" y="1540772"/>
                  <a:pt x="4633343" y="1542053"/>
                  <a:pt x="4634410" y="1543191"/>
                </a:cubicBezTo>
                <a:lnTo>
                  <a:pt x="4633556" y="1544898"/>
                </a:lnTo>
                <a:lnTo>
                  <a:pt x="4637184" y="1539634"/>
                </a:lnTo>
                <a:cubicBezTo>
                  <a:pt x="4642093" y="1534797"/>
                  <a:pt x="4648496" y="1531809"/>
                  <a:pt x="4655752" y="1532805"/>
                </a:cubicBezTo>
                <a:close/>
                <a:moveTo>
                  <a:pt x="1490813" y="1532566"/>
                </a:moveTo>
                <a:cubicBezTo>
                  <a:pt x="1495976" y="1534425"/>
                  <a:pt x="1496905" y="1538143"/>
                  <a:pt x="1495460" y="1540776"/>
                </a:cubicBezTo>
                <a:cubicBezTo>
                  <a:pt x="1494014" y="1543409"/>
                  <a:pt x="1490091" y="1545113"/>
                  <a:pt x="1485754" y="1542790"/>
                </a:cubicBezTo>
                <a:cubicBezTo>
                  <a:pt x="1484515" y="1539382"/>
                  <a:pt x="1484825" y="1536749"/>
                  <a:pt x="1484722" y="1534890"/>
                </a:cubicBezTo>
                <a:cubicBezTo>
                  <a:pt x="1487096" y="1534270"/>
                  <a:pt x="1488542" y="1533186"/>
                  <a:pt x="1490813" y="1532566"/>
                </a:cubicBezTo>
                <a:close/>
                <a:moveTo>
                  <a:pt x="1199321" y="1532102"/>
                </a:moveTo>
                <a:cubicBezTo>
                  <a:pt x="1199218" y="1534425"/>
                  <a:pt x="1199734" y="1536284"/>
                  <a:pt x="1199734" y="1537368"/>
                </a:cubicBezTo>
                <a:cubicBezTo>
                  <a:pt x="1195914" y="1538143"/>
                  <a:pt x="1193436" y="1536749"/>
                  <a:pt x="1193642" y="1533186"/>
                </a:cubicBezTo>
                <a:cubicBezTo>
                  <a:pt x="1196120" y="1533496"/>
                  <a:pt x="1196843" y="1531792"/>
                  <a:pt x="1199321" y="1532102"/>
                </a:cubicBezTo>
                <a:close/>
                <a:moveTo>
                  <a:pt x="1608835" y="1531792"/>
                </a:moveTo>
                <a:cubicBezTo>
                  <a:pt x="1609352" y="1532566"/>
                  <a:pt x="1610074" y="1532102"/>
                  <a:pt x="1610591" y="1532876"/>
                </a:cubicBezTo>
                <a:cubicBezTo>
                  <a:pt x="1612243" y="1533961"/>
                  <a:pt x="1612656" y="1534735"/>
                  <a:pt x="1612449" y="1535819"/>
                </a:cubicBezTo>
                <a:cubicBezTo>
                  <a:pt x="1612862" y="1536594"/>
                  <a:pt x="1612140" y="1537058"/>
                  <a:pt x="1611933" y="1538143"/>
                </a:cubicBezTo>
                <a:cubicBezTo>
                  <a:pt x="1611210" y="1538452"/>
                  <a:pt x="1609971" y="1538143"/>
                  <a:pt x="1609971" y="1538143"/>
                </a:cubicBezTo>
                <a:cubicBezTo>
                  <a:pt x="1608732" y="1537833"/>
                  <a:pt x="1608732" y="1537833"/>
                  <a:pt x="1608526" y="1538917"/>
                </a:cubicBezTo>
                <a:cubicBezTo>
                  <a:pt x="1608526" y="1538917"/>
                  <a:pt x="1608009" y="1538143"/>
                  <a:pt x="1608009" y="1538143"/>
                </a:cubicBezTo>
                <a:cubicBezTo>
                  <a:pt x="1608732" y="1537833"/>
                  <a:pt x="1608009" y="1538143"/>
                  <a:pt x="1606770" y="1537833"/>
                </a:cubicBezTo>
                <a:cubicBezTo>
                  <a:pt x="1606564" y="1535819"/>
                  <a:pt x="1606151" y="1535200"/>
                  <a:pt x="1606461" y="1533961"/>
                </a:cubicBezTo>
                <a:cubicBezTo>
                  <a:pt x="1606564" y="1533496"/>
                  <a:pt x="1606874" y="1532721"/>
                  <a:pt x="1607287" y="1532257"/>
                </a:cubicBezTo>
                <a:cubicBezTo>
                  <a:pt x="1607803" y="1531792"/>
                  <a:pt x="1608319" y="1531637"/>
                  <a:pt x="1608835" y="1531792"/>
                </a:cubicBezTo>
                <a:close/>
                <a:moveTo>
                  <a:pt x="1428447" y="1531637"/>
                </a:moveTo>
                <a:cubicBezTo>
                  <a:pt x="1429686" y="1532102"/>
                  <a:pt x="1430099" y="1532721"/>
                  <a:pt x="1430822" y="1532412"/>
                </a:cubicBezTo>
                <a:cubicBezTo>
                  <a:pt x="1430408" y="1534116"/>
                  <a:pt x="1429479" y="1535045"/>
                  <a:pt x="1428447" y="1535509"/>
                </a:cubicBezTo>
                <a:lnTo>
                  <a:pt x="1429479" y="1536439"/>
                </a:lnTo>
                <a:cubicBezTo>
                  <a:pt x="1430099" y="1537833"/>
                  <a:pt x="1429996" y="1539227"/>
                  <a:pt x="1429479" y="1540621"/>
                </a:cubicBezTo>
                <a:cubicBezTo>
                  <a:pt x="1425659" y="1541860"/>
                  <a:pt x="1423491" y="1539847"/>
                  <a:pt x="1424110" y="1536749"/>
                </a:cubicBezTo>
                <a:lnTo>
                  <a:pt x="1424213" y="1536594"/>
                </a:lnTo>
                <a:lnTo>
                  <a:pt x="1422458" y="1536903"/>
                </a:lnTo>
                <a:cubicBezTo>
                  <a:pt x="1421942" y="1537213"/>
                  <a:pt x="1421529" y="1537678"/>
                  <a:pt x="1421012" y="1538452"/>
                </a:cubicBezTo>
                <a:cubicBezTo>
                  <a:pt x="1421012" y="1538452"/>
                  <a:pt x="1421012" y="1538452"/>
                  <a:pt x="1418637" y="1537678"/>
                </a:cubicBezTo>
                <a:lnTo>
                  <a:pt x="1418328" y="1537213"/>
                </a:lnTo>
                <a:cubicBezTo>
                  <a:pt x="1417089" y="1536749"/>
                  <a:pt x="1416779" y="1535974"/>
                  <a:pt x="1416056" y="1536129"/>
                </a:cubicBezTo>
                <a:cubicBezTo>
                  <a:pt x="1416779" y="1534580"/>
                  <a:pt x="1417811" y="1533806"/>
                  <a:pt x="1418947" y="1533496"/>
                </a:cubicBezTo>
                <a:cubicBezTo>
                  <a:pt x="1420186" y="1533031"/>
                  <a:pt x="1421529" y="1533031"/>
                  <a:pt x="1422974" y="1533186"/>
                </a:cubicBezTo>
                <a:lnTo>
                  <a:pt x="1425039" y="1533186"/>
                </a:lnTo>
                <a:lnTo>
                  <a:pt x="1425349" y="1533031"/>
                </a:lnTo>
                <a:lnTo>
                  <a:pt x="1427001" y="1531947"/>
                </a:lnTo>
                <a:cubicBezTo>
                  <a:pt x="1427001" y="1531947"/>
                  <a:pt x="1427001" y="1531947"/>
                  <a:pt x="1427208" y="1531947"/>
                </a:cubicBezTo>
                <a:lnTo>
                  <a:pt x="1427517" y="1532102"/>
                </a:lnTo>
                <a:close/>
                <a:moveTo>
                  <a:pt x="1291529" y="1531327"/>
                </a:moveTo>
                <a:cubicBezTo>
                  <a:pt x="1298240" y="1531792"/>
                  <a:pt x="1297208" y="1543099"/>
                  <a:pt x="1297725" y="1545578"/>
                </a:cubicBezTo>
                <a:cubicBezTo>
                  <a:pt x="1297725" y="1545578"/>
                  <a:pt x="1298137" y="1546197"/>
                  <a:pt x="1297931" y="1547436"/>
                </a:cubicBezTo>
                <a:cubicBezTo>
                  <a:pt x="1298034" y="1549140"/>
                  <a:pt x="1295969" y="1547746"/>
                  <a:pt x="1295659" y="1548830"/>
                </a:cubicBezTo>
                <a:cubicBezTo>
                  <a:pt x="1293594" y="1542480"/>
                  <a:pt x="1289051" y="1538917"/>
                  <a:pt x="1289051" y="1538917"/>
                </a:cubicBezTo>
                <a:cubicBezTo>
                  <a:pt x="1288948" y="1537058"/>
                  <a:pt x="1289567" y="1536439"/>
                  <a:pt x="1288844" y="1537058"/>
                </a:cubicBezTo>
                <a:cubicBezTo>
                  <a:pt x="1289464" y="1534735"/>
                  <a:pt x="1289670" y="1531637"/>
                  <a:pt x="1291529" y="1531327"/>
                </a:cubicBezTo>
                <a:close/>
                <a:moveTo>
                  <a:pt x="4607305" y="1531240"/>
                </a:moveTo>
                <a:cubicBezTo>
                  <a:pt x="4610720" y="1530387"/>
                  <a:pt x="4614775" y="1532094"/>
                  <a:pt x="4617976" y="1537500"/>
                </a:cubicBezTo>
                <a:cubicBezTo>
                  <a:pt x="4617123" y="1548312"/>
                  <a:pt x="4604745" y="1551442"/>
                  <a:pt x="4600903" y="1540345"/>
                </a:cubicBezTo>
                <a:cubicBezTo>
                  <a:pt x="4601116" y="1535650"/>
                  <a:pt x="4603890" y="1532094"/>
                  <a:pt x="4607305" y="1531240"/>
                </a:cubicBezTo>
                <a:close/>
                <a:moveTo>
                  <a:pt x="5442417" y="1531098"/>
                </a:moveTo>
                <a:cubicBezTo>
                  <a:pt x="5443484" y="1532520"/>
                  <a:pt x="5443911" y="1533232"/>
                  <a:pt x="5444338" y="1533943"/>
                </a:cubicBezTo>
                <a:cubicBezTo>
                  <a:pt x="5444551" y="1534797"/>
                  <a:pt x="5444764" y="1535508"/>
                  <a:pt x="5444978" y="1537216"/>
                </a:cubicBezTo>
                <a:cubicBezTo>
                  <a:pt x="5444124" y="1536646"/>
                  <a:pt x="5441563" y="1536504"/>
                  <a:pt x="5441350" y="1534797"/>
                </a:cubicBezTo>
                <a:cubicBezTo>
                  <a:pt x="5440923" y="1533090"/>
                  <a:pt x="5440923" y="1533090"/>
                  <a:pt x="5442417" y="1531098"/>
                </a:cubicBezTo>
                <a:close/>
                <a:moveTo>
                  <a:pt x="4544987" y="1530955"/>
                </a:moveTo>
                <a:cubicBezTo>
                  <a:pt x="4545200" y="1530813"/>
                  <a:pt x="4545414" y="1530813"/>
                  <a:pt x="4546481" y="1530955"/>
                </a:cubicBezTo>
                <a:cubicBezTo>
                  <a:pt x="4545414" y="1532094"/>
                  <a:pt x="4545200" y="1532236"/>
                  <a:pt x="4545200" y="1533517"/>
                </a:cubicBezTo>
                <a:cubicBezTo>
                  <a:pt x="4545200" y="1533517"/>
                  <a:pt x="4544347" y="1532094"/>
                  <a:pt x="4544347" y="1532094"/>
                </a:cubicBezTo>
                <a:cubicBezTo>
                  <a:pt x="4544773" y="1531525"/>
                  <a:pt x="4544773" y="1531098"/>
                  <a:pt x="4544987" y="1530955"/>
                </a:cubicBezTo>
                <a:close/>
                <a:moveTo>
                  <a:pt x="1224103" y="1530862"/>
                </a:moveTo>
                <a:cubicBezTo>
                  <a:pt x="1226271" y="1529314"/>
                  <a:pt x="1229059" y="1528694"/>
                  <a:pt x="1232673" y="1530862"/>
                </a:cubicBezTo>
                <a:cubicBezTo>
                  <a:pt x="1232570" y="1532102"/>
                  <a:pt x="1232570" y="1533186"/>
                  <a:pt x="1232570" y="1534425"/>
                </a:cubicBezTo>
                <a:cubicBezTo>
                  <a:pt x="1226994" y="1534425"/>
                  <a:pt x="1223793" y="1536903"/>
                  <a:pt x="1219456" y="1537058"/>
                </a:cubicBezTo>
                <a:cubicBezTo>
                  <a:pt x="1220386" y="1535045"/>
                  <a:pt x="1221934" y="1532412"/>
                  <a:pt x="1224103" y="1530862"/>
                </a:cubicBezTo>
                <a:close/>
                <a:moveTo>
                  <a:pt x="3757895" y="1530102"/>
                </a:moveTo>
                <a:lnTo>
                  <a:pt x="3757041" y="1530529"/>
                </a:lnTo>
                <a:lnTo>
                  <a:pt x="3756828" y="1531098"/>
                </a:lnTo>
                <a:close/>
                <a:moveTo>
                  <a:pt x="5859652" y="1529960"/>
                </a:moveTo>
                <a:cubicBezTo>
                  <a:pt x="5860507" y="1529817"/>
                  <a:pt x="5861360" y="1529817"/>
                  <a:pt x="5862640" y="1530102"/>
                </a:cubicBezTo>
                <a:cubicBezTo>
                  <a:pt x="5863707" y="1530387"/>
                  <a:pt x="5864988" y="1530813"/>
                  <a:pt x="5866269" y="1531667"/>
                </a:cubicBezTo>
                <a:cubicBezTo>
                  <a:pt x="5867549" y="1532805"/>
                  <a:pt x="5870323" y="1536219"/>
                  <a:pt x="5869043" y="1536362"/>
                </a:cubicBezTo>
                <a:cubicBezTo>
                  <a:pt x="5868190" y="1537642"/>
                  <a:pt x="5869257" y="1537500"/>
                  <a:pt x="5869470" y="1538780"/>
                </a:cubicBezTo>
                <a:cubicBezTo>
                  <a:pt x="5866482" y="1542479"/>
                  <a:pt x="5863281" y="1543902"/>
                  <a:pt x="5859439" y="1541626"/>
                </a:cubicBezTo>
                <a:cubicBezTo>
                  <a:pt x="5856878" y="1539349"/>
                  <a:pt x="5853036" y="1535935"/>
                  <a:pt x="5854744" y="1532236"/>
                </a:cubicBezTo>
                <a:cubicBezTo>
                  <a:pt x="5856024" y="1532236"/>
                  <a:pt x="5855811" y="1530955"/>
                  <a:pt x="5856878" y="1530955"/>
                </a:cubicBezTo>
                <a:cubicBezTo>
                  <a:pt x="5856878" y="1530955"/>
                  <a:pt x="5857945" y="1530244"/>
                  <a:pt x="5859652" y="1529960"/>
                </a:cubicBezTo>
                <a:close/>
                <a:moveTo>
                  <a:pt x="1215842" y="1529778"/>
                </a:moveTo>
                <a:cubicBezTo>
                  <a:pt x="1216565" y="1529933"/>
                  <a:pt x="1217185" y="1530398"/>
                  <a:pt x="1217907" y="1531327"/>
                </a:cubicBezTo>
                <a:cubicBezTo>
                  <a:pt x="1218836" y="1531327"/>
                  <a:pt x="1219146" y="1534735"/>
                  <a:pt x="1218114" y="1535509"/>
                </a:cubicBezTo>
                <a:cubicBezTo>
                  <a:pt x="1216049" y="1537987"/>
                  <a:pt x="1213777" y="1536129"/>
                  <a:pt x="1210473" y="1535045"/>
                </a:cubicBezTo>
                <a:cubicBezTo>
                  <a:pt x="1211402" y="1534270"/>
                  <a:pt x="1210679" y="1533341"/>
                  <a:pt x="1209957" y="1532412"/>
                </a:cubicBezTo>
                <a:cubicBezTo>
                  <a:pt x="1211505" y="1531327"/>
                  <a:pt x="1213674" y="1529159"/>
                  <a:pt x="1215842" y="1529778"/>
                </a:cubicBezTo>
                <a:close/>
                <a:moveTo>
                  <a:pt x="3770059" y="1529248"/>
                </a:moveTo>
                <a:cubicBezTo>
                  <a:pt x="3771554" y="1528964"/>
                  <a:pt x="3773474" y="1529106"/>
                  <a:pt x="3776035" y="1529248"/>
                </a:cubicBezTo>
                <a:cubicBezTo>
                  <a:pt x="3772621" y="1534228"/>
                  <a:pt x="3770059" y="1534085"/>
                  <a:pt x="3766005" y="1532094"/>
                </a:cubicBezTo>
                <a:cubicBezTo>
                  <a:pt x="3767285" y="1530387"/>
                  <a:pt x="3768566" y="1529675"/>
                  <a:pt x="3770059" y="1529248"/>
                </a:cubicBezTo>
                <a:close/>
                <a:moveTo>
                  <a:pt x="1246406" y="1528849"/>
                </a:moveTo>
                <a:cubicBezTo>
                  <a:pt x="1248058" y="1529933"/>
                  <a:pt x="1249813" y="1530243"/>
                  <a:pt x="1251466" y="1531327"/>
                </a:cubicBezTo>
                <a:cubicBezTo>
                  <a:pt x="1252498" y="1534116"/>
                  <a:pt x="1249813" y="1539537"/>
                  <a:pt x="1246509" y="1539847"/>
                </a:cubicBezTo>
                <a:cubicBezTo>
                  <a:pt x="1245373" y="1540001"/>
                  <a:pt x="1244134" y="1539692"/>
                  <a:pt x="1242895" y="1538452"/>
                </a:cubicBezTo>
                <a:cubicBezTo>
                  <a:pt x="1242173" y="1537368"/>
                  <a:pt x="1241760" y="1536439"/>
                  <a:pt x="1241656" y="1535664"/>
                </a:cubicBezTo>
                <a:cubicBezTo>
                  <a:pt x="1241243" y="1533031"/>
                  <a:pt x="1243618" y="1530862"/>
                  <a:pt x="1246406" y="1528849"/>
                </a:cubicBezTo>
                <a:close/>
                <a:moveTo>
                  <a:pt x="5773004" y="1528680"/>
                </a:moveTo>
                <a:cubicBezTo>
                  <a:pt x="5773004" y="1528822"/>
                  <a:pt x="5773004" y="1529106"/>
                  <a:pt x="5772577" y="1529533"/>
                </a:cubicBezTo>
                <a:cubicBezTo>
                  <a:pt x="5773858" y="1531809"/>
                  <a:pt x="5772791" y="1531240"/>
                  <a:pt x="5773004" y="1532805"/>
                </a:cubicBezTo>
                <a:cubicBezTo>
                  <a:pt x="5773431" y="1534512"/>
                  <a:pt x="5776632" y="1539491"/>
                  <a:pt x="5778340" y="1539065"/>
                </a:cubicBezTo>
                <a:cubicBezTo>
                  <a:pt x="5777699" y="1540061"/>
                  <a:pt x="5777913" y="1541768"/>
                  <a:pt x="5777913" y="1541768"/>
                </a:cubicBezTo>
                <a:cubicBezTo>
                  <a:pt x="5776206" y="1542195"/>
                  <a:pt x="5775352" y="1541483"/>
                  <a:pt x="5774498" y="1540914"/>
                </a:cubicBezTo>
                <a:cubicBezTo>
                  <a:pt x="5774071" y="1539349"/>
                  <a:pt x="5774712" y="1538354"/>
                  <a:pt x="5774498" y="1536646"/>
                </a:cubicBezTo>
                <a:cubicBezTo>
                  <a:pt x="5773644" y="1536077"/>
                  <a:pt x="5771724" y="1534797"/>
                  <a:pt x="5771510" y="1533232"/>
                </a:cubicBezTo>
                <a:cubicBezTo>
                  <a:pt x="5771297" y="1531525"/>
                  <a:pt x="5771510" y="1528964"/>
                  <a:pt x="5771510" y="1528964"/>
                </a:cubicBezTo>
                <a:cubicBezTo>
                  <a:pt x="5772364" y="1528680"/>
                  <a:pt x="5772791" y="1528537"/>
                  <a:pt x="5773004" y="1528680"/>
                </a:cubicBezTo>
                <a:close/>
                <a:moveTo>
                  <a:pt x="5117379" y="1528680"/>
                </a:moveTo>
                <a:cubicBezTo>
                  <a:pt x="5119940" y="1528680"/>
                  <a:pt x="5122927" y="1529817"/>
                  <a:pt x="5125915" y="1530955"/>
                </a:cubicBezTo>
                <a:cubicBezTo>
                  <a:pt x="5125702" y="1540061"/>
                  <a:pt x="5111830" y="1534085"/>
                  <a:pt x="5117379" y="1528680"/>
                </a:cubicBezTo>
                <a:close/>
                <a:moveTo>
                  <a:pt x="3684051" y="1528252"/>
                </a:moveTo>
                <a:cubicBezTo>
                  <a:pt x="3686613" y="1528680"/>
                  <a:pt x="3691095" y="1532236"/>
                  <a:pt x="3690667" y="1534939"/>
                </a:cubicBezTo>
                <a:lnTo>
                  <a:pt x="3687893" y="1533943"/>
                </a:lnTo>
                <a:lnTo>
                  <a:pt x="3690027" y="1535935"/>
                </a:lnTo>
                <a:cubicBezTo>
                  <a:pt x="3691522" y="1538354"/>
                  <a:pt x="3692588" y="1541057"/>
                  <a:pt x="3692162" y="1543191"/>
                </a:cubicBezTo>
                <a:lnTo>
                  <a:pt x="3689174" y="1543048"/>
                </a:lnTo>
                <a:lnTo>
                  <a:pt x="3694936" y="1544613"/>
                </a:lnTo>
                <a:cubicBezTo>
                  <a:pt x="3697284" y="1545183"/>
                  <a:pt x="3699845" y="1545609"/>
                  <a:pt x="3702193" y="1545609"/>
                </a:cubicBezTo>
                <a:cubicBezTo>
                  <a:pt x="3705394" y="1544186"/>
                  <a:pt x="3706034" y="1540488"/>
                  <a:pt x="3709876" y="1539634"/>
                </a:cubicBezTo>
                <a:cubicBezTo>
                  <a:pt x="3711156" y="1539349"/>
                  <a:pt x="3712650" y="1539349"/>
                  <a:pt x="3714997" y="1539919"/>
                </a:cubicBezTo>
                <a:cubicBezTo>
                  <a:pt x="3713504" y="1554145"/>
                  <a:pt x="3708808" y="1564673"/>
                  <a:pt x="3701765" y="1571787"/>
                </a:cubicBezTo>
                <a:cubicBezTo>
                  <a:pt x="3699418" y="1574205"/>
                  <a:pt x="3696643" y="1576197"/>
                  <a:pt x="3693655" y="1577904"/>
                </a:cubicBezTo>
                <a:cubicBezTo>
                  <a:pt x="3687466" y="1570222"/>
                  <a:pt x="3693869" y="1561970"/>
                  <a:pt x="3696643" y="1554857"/>
                </a:cubicBezTo>
                <a:cubicBezTo>
                  <a:pt x="3688534" y="1553576"/>
                  <a:pt x="3676368" y="1554145"/>
                  <a:pt x="3676155" y="1544898"/>
                </a:cubicBezTo>
                <a:lnTo>
                  <a:pt x="3681277" y="1542337"/>
                </a:lnTo>
                <a:lnTo>
                  <a:pt x="3680851" y="1537927"/>
                </a:lnTo>
                <a:lnTo>
                  <a:pt x="3681704" y="1536789"/>
                </a:lnTo>
                <a:lnTo>
                  <a:pt x="3680637" y="1535224"/>
                </a:lnTo>
                <a:cubicBezTo>
                  <a:pt x="3680210" y="1534370"/>
                  <a:pt x="3679783" y="1533801"/>
                  <a:pt x="3679783" y="1533801"/>
                </a:cubicBezTo>
                <a:cubicBezTo>
                  <a:pt x="3680424" y="1532094"/>
                  <a:pt x="3680637" y="1531240"/>
                  <a:pt x="3681277" y="1530955"/>
                </a:cubicBezTo>
                <a:lnTo>
                  <a:pt x="3683411" y="1531098"/>
                </a:lnTo>
                <a:close/>
                <a:moveTo>
                  <a:pt x="5497266" y="1528110"/>
                </a:moveTo>
                <a:cubicBezTo>
                  <a:pt x="5499187" y="1527968"/>
                  <a:pt x="5500894" y="1528395"/>
                  <a:pt x="5501534" y="1529533"/>
                </a:cubicBezTo>
                <a:cubicBezTo>
                  <a:pt x="5499400" y="1530955"/>
                  <a:pt x="5497693" y="1531383"/>
                  <a:pt x="5495986" y="1531809"/>
                </a:cubicBezTo>
                <a:cubicBezTo>
                  <a:pt x="5493638" y="1533232"/>
                  <a:pt x="5492784" y="1532663"/>
                  <a:pt x="5492144" y="1529248"/>
                </a:cubicBezTo>
                <a:cubicBezTo>
                  <a:pt x="5493424" y="1528537"/>
                  <a:pt x="5495345" y="1528110"/>
                  <a:pt x="5497266" y="1528110"/>
                </a:cubicBezTo>
                <a:close/>
                <a:moveTo>
                  <a:pt x="5999656" y="1527683"/>
                </a:moveTo>
                <a:cubicBezTo>
                  <a:pt x="5999442" y="1528964"/>
                  <a:pt x="5999229" y="1531240"/>
                  <a:pt x="6001577" y="1532520"/>
                </a:cubicBezTo>
                <a:cubicBezTo>
                  <a:pt x="5999016" y="1534797"/>
                  <a:pt x="5996455" y="1537216"/>
                  <a:pt x="5994321" y="1534797"/>
                </a:cubicBezTo>
                <a:cubicBezTo>
                  <a:pt x="5993254" y="1533659"/>
                  <a:pt x="5992186" y="1532378"/>
                  <a:pt x="5992400" y="1529960"/>
                </a:cubicBezTo>
                <a:cubicBezTo>
                  <a:pt x="5994961" y="1527541"/>
                  <a:pt x="5998375" y="1528822"/>
                  <a:pt x="5999656" y="1527683"/>
                </a:cubicBezTo>
                <a:close/>
                <a:moveTo>
                  <a:pt x="5505589" y="1527541"/>
                </a:moveTo>
                <a:cubicBezTo>
                  <a:pt x="5504949" y="1528537"/>
                  <a:pt x="5505802" y="1529106"/>
                  <a:pt x="5505802" y="1529106"/>
                </a:cubicBezTo>
                <a:cubicBezTo>
                  <a:pt x="5505802" y="1529106"/>
                  <a:pt x="5505802" y="1529248"/>
                  <a:pt x="5506443" y="1528110"/>
                </a:cubicBezTo>
                <a:cubicBezTo>
                  <a:pt x="5506657" y="1528964"/>
                  <a:pt x="5506443" y="1529391"/>
                  <a:pt x="5506016" y="1529675"/>
                </a:cubicBezTo>
                <a:cubicBezTo>
                  <a:pt x="5505589" y="1530102"/>
                  <a:pt x="5505162" y="1530244"/>
                  <a:pt x="5505162" y="1530244"/>
                </a:cubicBezTo>
                <a:cubicBezTo>
                  <a:pt x="5503669" y="1530671"/>
                  <a:pt x="5501961" y="1530955"/>
                  <a:pt x="5501748" y="1529391"/>
                </a:cubicBezTo>
                <a:cubicBezTo>
                  <a:pt x="5501748" y="1529391"/>
                  <a:pt x="5502388" y="1528395"/>
                  <a:pt x="5505589" y="1527541"/>
                </a:cubicBezTo>
                <a:close/>
                <a:moveTo>
                  <a:pt x="1069322" y="1526990"/>
                </a:moveTo>
                <a:cubicBezTo>
                  <a:pt x="1069322" y="1534580"/>
                  <a:pt x="1068805" y="1546817"/>
                  <a:pt x="1064159" y="1552393"/>
                </a:cubicBezTo>
                <a:cubicBezTo>
                  <a:pt x="1061887" y="1551154"/>
                  <a:pt x="1060855" y="1549140"/>
                  <a:pt x="1060545" y="1546817"/>
                </a:cubicBezTo>
                <a:cubicBezTo>
                  <a:pt x="1059616" y="1539847"/>
                  <a:pt x="1065811" y="1529778"/>
                  <a:pt x="1069322" y="1526990"/>
                </a:cubicBezTo>
                <a:close/>
                <a:moveTo>
                  <a:pt x="1103396" y="1526526"/>
                </a:moveTo>
                <a:cubicBezTo>
                  <a:pt x="1108456" y="1527145"/>
                  <a:pt x="1114548" y="1526990"/>
                  <a:pt x="1114238" y="1532876"/>
                </a:cubicBezTo>
                <a:cubicBezTo>
                  <a:pt x="1109385" y="1539382"/>
                  <a:pt x="1102570" y="1536129"/>
                  <a:pt x="1101847" y="1531482"/>
                </a:cubicBezTo>
                <a:cubicBezTo>
                  <a:pt x="1101537" y="1529933"/>
                  <a:pt x="1101951" y="1528074"/>
                  <a:pt x="1103396" y="1526526"/>
                </a:cubicBezTo>
                <a:close/>
                <a:moveTo>
                  <a:pt x="3785213" y="1525834"/>
                </a:moveTo>
                <a:cubicBezTo>
                  <a:pt x="3784359" y="1527399"/>
                  <a:pt x="3786066" y="1529391"/>
                  <a:pt x="3785213" y="1530955"/>
                </a:cubicBezTo>
                <a:cubicBezTo>
                  <a:pt x="3785213" y="1530955"/>
                  <a:pt x="3782225" y="1533232"/>
                  <a:pt x="3782225" y="1533232"/>
                </a:cubicBezTo>
                <a:cubicBezTo>
                  <a:pt x="3780730" y="1532520"/>
                  <a:pt x="3780730" y="1532520"/>
                  <a:pt x="3781798" y="1532094"/>
                </a:cubicBezTo>
                <a:cubicBezTo>
                  <a:pt x="3780090" y="1530244"/>
                  <a:pt x="3779877" y="1529106"/>
                  <a:pt x="3779450" y="1527968"/>
                </a:cubicBezTo>
                <a:cubicBezTo>
                  <a:pt x="3780304" y="1526403"/>
                  <a:pt x="3782652" y="1525549"/>
                  <a:pt x="3785213" y="1525834"/>
                </a:cubicBezTo>
                <a:close/>
                <a:moveTo>
                  <a:pt x="4545627" y="1524838"/>
                </a:moveTo>
                <a:cubicBezTo>
                  <a:pt x="4545627" y="1524838"/>
                  <a:pt x="4546694" y="1524980"/>
                  <a:pt x="4546694" y="1524980"/>
                </a:cubicBezTo>
                <a:cubicBezTo>
                  <a:pt x="4546481" y="1526261"/>
                  <a:pt x="4546481" y="1527541"/>
                  <a:pt x="4545414" y="1527399"/>
                </a:cubicBezTo>
                <a:cubicBezTo>
                  <a:pt x="4544347" y="1527256"/>
                  <a:pt x="4544347" y="1525976"/>
                  <a:pt x="4545627" y="1524838"/>
                </a:cubicBezTo>
                <a:close/>
                <a:moveTo>
                  <a:pt x="1203658" y="1524667"/>
                </a:moveTo>
                <a:cubicBezTo>
                  <a:pt x="1209957" y="1526061"/>
                  <a:pt x="1206756" y="1536749"/>
                  <a:pt x="1200560" y="1531637"/>
                </a:cubicBezTo>
                <a:cubicBezTo>
                  <a:pt x="1201696" y="1528384"/>
                  <a:pt x="1202522" y="1526061"/>
                  <a:pt x="1203658" y="1524667"/>
                </a:cubicBezTo>
                <a:close/>
                <a:moveTo>
                  <a:pt x="5805657" y="1523984"/>
                </a:moveTo>
                <a:cubicBezTo>
                  <a:pt x="5806938" y="1523558"/>
                  <a:pt x="5808432" y="1523558"/>
                  <a:pt x="5809712" y="1523984"/>
                </a:cubicBezTo>
                <a:cubicBezTo>
                  <a:pt x="5811420" y="1524553"/>
                  <a:pt x="5812914" y="1525976"/>
                  <a:pt x="5814194" y="1528252"/>
                </a:cubicBezTo>
                <a:cubicBezTo>
                  <a:pt x="5813340" y="1533090"/>
                  <a:pt x="5805231" y="1539776"/>
                  <a:pt x="5801602" y="1540630"/>
                </a:cubicBezTo>
                <a:cubicBezTo>
                  <a:pt x="5798614" y="1538638"/>
                  <a:pt x="5797334" y="1535935"/>
                  <a:pt x="5797548" y="1533374"/>
                </a:cubicBezTo>
                <a:cubicBezTo>
                  <a:pt x="5797761" y="1529106"/>
                  <a:pt x="5801389" y="1524980"/>
                  <a:pt x="5805657" y="1523984"/>
                </a:cubicBezTo>
                <a:close/>
                <a:moveTo>
                  <a:pt x="4189002" y="1523984"/>
                </a:moveTo>
                <a:cubicBezTo>
                  <a:pt x="4195405" y="1531525"/>
                  <a:pt x="4197966" y="1539919"/>
                  <a:pt x="4197540" y="1547743"/>
                </a:cubicBezTo>
                <a:cubicBezTo>
                  <a:pt x="4196899" y="1560832"/>
                  <a:pt x="4187722" y="1572356"/>
                  <a:pt x="4174063" y="1575343"/>
                </a:cubicBezTo>
                <a:cubicBezTo>
                  <a:pt x="4173210" y="1573921"/>
                  <a:pt x="4172143" y="1572498"/>
                  <a:pt x="4170862" y="1573352"/>
                </a:cubicBezTo>
                <a:cubicBezTo>
                  <a:pt x="4167234" y="1568942"/>
                  <a:pt x="4165313" y="1563535"/>
                  <a:pt x="4164673" y="1558129"/>
                </a:cubicBezTo>
                <a:lnTo>
                  <a:pt x="4165740" y="1549735"/>
                </a:lnTo>
                <a:lnTo>
                  <a:pt x="4159764" y="1550162"/>
                </a:lnTo>
                <a:cubicBezTo>
                  <a:pt x="4158910" y="1546890"/>
                  <a:pt x="4160618" y="1545040"/>
                  <a:pt x="4162752" y="1544471"/>
                </a:cubicBezTo>
                <a:lnTo>
                  <a:pt x="4166380" y="1545183"/>
                </a:lnTo>
                <a:lnTo>
                  <a:pt x="4166807" y="1542053"/>
                </a:lnTo>
                <a:cubicBezTo>
                  <a:pt x="4170435" y="1531952"/>
                  <a:pt x="4178331" y="1523984"/>
                  <a:pt x="4189002" y="1523984"/>
                </a:cubicBezTo>
                <a:close/>
                <a:moveTo>
                  <a:pt x="3811250" y="1523984"/>
                </a:moveTo>
                <a:cubicBezTo>
                  <a:pt x="3813384" y="1524553"/>
                  <a:pt x="3812530" y="1526688"/>
                  <a:pt x="3814665" y="1527399"/>
                </a:cubicBezTo>
                <a:cubicBezTo>
                  <a:pt x="3814665" y="1527399"/>
                  <a:pt x="3813811" y="1529533"/>
                  <a:pt x="3813811" y="1529533"/>
                </a:cubicBezTo>
                <a:cubicBezTo>
                  <a:pt x="3814878" y="1529817"/>
                  <a:pt x="3814878" y="1529675"/>
                  <a:pt x="3814238" y="1530102"/>
                </a:cubicBezTo>
                <a:cubicBezTo>
                  <a:pt x="3813384" y="1530529"/>
                  <a:pt x="3812103" y="1531240"/>
                  <a:pt x="3810396" y="1533090"/>
                </a:cubicBezTo>
                <a:cubicBezTo>
                  <a:pt x="3807622" y="1534654"/>
                  <a:pt x="3806982" y="1536646"/>
                  <a:pt x="3805701" y="1533943"/>
                </a:cubicBezTo>
                <a:cubicBezTo>
                  <a:pt x="3804420" y="1531240"/>
                  <a:pt x="3804420" y="1531240"/>
                  <a:pt x="3806555" y="1524838"/>
                </a:cubicBezTo>
                <a:cubicBezTo>
                  <a:pt x="3807835" y="1527541"/>
                  <a:pt x="3807835" y="1527541"/>
                  <a:pt x="3810610" y="1526118"/>
                </a:cubicBezTo>
                <a:cubicBezTo>
                  <a:pt x="3810610" y="1526118"/>
                  <a:pt x="3810610" y="1526118"/>
                  <a:pt x="3811250" y="1523984"/>
                </a:cubicBezTo>
                <a:close/>
                <a:moveTo>
                  <a:pt x="3943570" y="1523415"/>
                </a:moveTo>
                <a:cubicBezTo>
                  <a:pt x="3945064" y="1523131"/>
                  <a:pt x="3946558" y="1523131"/>
                  <a:pt x="3948052" y="1523415"/>
                </a:cubicBezTo>
                <a:cubicBezTo>
                  <a:pt x="3951253" y="1523984"/>
                  <a:pt x="3954241" y="1525407"/>
                  <a:pt x="3956375" y="1526403"/>
                </a:cubicBezTo>
                <a:lnTo>
                  <a:pt x="3958723" y="1527399"/>
                </a:lnTo>
                <a:lnTo>
                  <a:pt x="3958936" y="1526261"/>
                </a:lnTo>
                <a:lnTo>
                  <a:pt x="3960004" y="1527825"/>
                </a:lnTo>
                <a:lnTo>
                  <a:pt x="3960216" y="1527825"/>
                </a:lnTo>
                <a:cubicBezTo>
                  <a:pt x="3960216" y="1528964"/>
                  <a:pt x="3961284" y="1529106"/>
                  <a:pt x="3961284" y="1527968"/>
                </a:cubicBezTo>
                <a:cubicBezTo>
                  <a:pt x="3962991" y="1529391"/>
                  <a:pt x="3964485" y="1530529"/>
                  <a:pt x="3965125" y="1531667"/>
                </a:cubicBezTo>
                <a:cubicBezTo>
                  <a:pt x="3965766" y="1532663"/>
                  <a:pt x="3965552" y="1533517"/>
                  <a:pt x="3964485" y="1534512"/>
                </a:cubicBezTo>
                <a:cubicBezTo>
                  <a:pt x="3962991" y="1536789"/>
                  <a:pt x="3960857" y="1535224"/>
                  <a:pt x="3958509" y="1537216"/>
                </a:cubicBezTo>
                <a:cubicBezTo>
                  <a:pt x="3955521" y="1540345"/>
                  <a:pt x="3959790" y="1546178"/>
                  <a:pt x="3958936" y="1552296"/>
                </a:cubicBezTo>
                <a:lnTo>
                  <a:pt x="3956375" y="1557702"/>
                </a:lnTo>
                <a:lnTo>
                  <a:pt x="3958083" y="1558414"/>
                </a:lnTo>
                <a:cubicBezTo>
                  <a:pt x="3959150" y="1559694"/>
                  <a:pt x="3959790" y="1561686"/>
                  <a:pt x="3960004" y="1563678"/>
                </a:cubicBezTo>
                <a:cubicBezTo>
                  <a:pt x="3959576" y="1562539"/>
                  <a:pt x="3959576" y="1562681"/>
                  <a:pt x="3959576" y="1562681"/>
                </a:cubicBezTo>
                <a:cubicBezTo>
                  <a:pt x="3957869" y="1562255"/>
                  <a:pt x="3958509" y="1563251"/>
                  <a:pt x="3957442" y="1563820"/>
                </a:cubicBezTo>
                <a:cubicBezTo>
                  <a:pt x="3957442" y="1563820"/>
                  <a:pt x="3958509" y="1563251"/>
                  <a:pt x="3958083" y="1564958"/>
                </a:cubicBezTo>
                <a:cubicBezTo>
                  <a:pt x="3957442" y="1563962"/>
                  <a:pt x="3956375" y="1564531"/>
                  <a:pt x="3955521" y="1565242"/>
                </a:cubicBezTo>
                <a:cubicBezTo>
                  <a:pt x="3953814" y="1564815"/>
                  <a:pt x="3952107" y="1564104"/>
                  <a:pt x="3950826" y="1563251"/>
                </a:cubicBezTo>
                <a:lnTo>
                  <a:pt x="3950400" y="1562681"/>
                </a:lnTo>
                <a:lnTo>
                  <a:pt x="3949333" y="1563393"/>
                </a:lnTo>
                <a:cubicBezTo>
                  <a:pt x="3947198" y="1563820"/>
                  <a:pt x="3944637" y="1563678"/>
                  <a:pt x="3942076" y="1562255"/>
                </a:cubicBezTo>
                <a:cubicBezTo>
                  <a:pt x="3941436" y="1560405"/>
                  <a:pt x="3941863" y="1557417"/>
                  <a:pt x="3942930" y="1554857"/>
                </a:cubicBezTo>
                <a:lnTo>
                  <a:pt x="3943357" y="1554145"/>
                </a:lnTo>
                <a:lnTo>
                  <a:pt x="3940795" y="1551015"/>
                </a:lnTo>
                <a:lnTo>
                  <a:pt x="3939515" y="1553149"/>
                </a:lnTo>
                <a:cubicBezTo>
                  <a:pt x="3938662" y="1554145"/>
                  <a:pt x="3937808" y="1554714"/>
                  <a:pt x="3936527" y="1554714"/>
                </a:cubicBezTo>
                <a:cubicBezTo>
                  <a:pt x="3935887" y="1554714"/>
                  <a:pt x="3935033" y="1554572"/>
                  <a:pt x="3933966" y="1554003"/>
                </a:cubicBezTo>
                <a:cubicBezTo>
                  <a:pt x="3933966" y="1554003"/>
                  <a:pt x="3933753" y="1554003"/>
                  <a:pt x="3933539" y="1553007"/>
                </a:cubicBezTo>
                <a:cubicBezTo>
                  <a:pt x="3932899" y="1550731"/>
                  <a:pt x="3932686" y="1549593"/>
                  <a:pt x="3932472" y="1548455"/>
                </a:cubicBezTo>
                <a:cubicBezTo>
                  <a:pt x="3932899" y="1547601"/>
                  <a:pt x="3933753" y="1546463"/>
                  <a:pt x="3934607" y="1545467"/>
                </a:cubicBezTo>
                <a:lnTo>
                  <a:pt x="3937167" y="1544186"/>
                </a:lnTo>
                <a:lnTo>
                  <a:pt x="3936741" y="1542906"/>
                </a:lnTo>
                <a:cubicBezTo>
                  <a:pt x="3936527" y="1539634"/>
                  <a:pt x="3938021" y="1536931"/>
                  <a:pt x="3940155" y="1533090"/>
                </a:cubicBezTo>
                <a:cubicBezTo>
                  <a:pt x="3940155" y="1534228"/>
                  <a:pt x="3941222" y="1533232"/>
                  <a:pt x="3941222" y="1533232"/>
                </a:cubicBezTo>
                <a:cubicBezTo>
                  <a:pt x="3943783" y="1531240"/>
                  <a:pt x="3936954" y="1528822"/>
                  <a:pt x="3939515" y="1525692"/>
                </a:cubicBezTo>
                <a:cubicBezTo>
                  <a:pt x="3940582" y="1524411"/>
                  <a:pt x="3942076" y="1523700"/>
                  <a:pt x="3943570" y="1523415"/>
                </a:cubicBezTo>
                <a:close/>
                <a:moveTo>
                  <a:pt x="1744346" y="1523292"/>
                </a:moveTo>
                <a:cubicBezTo>
                  <a:pt x="1745908" y="1522614"/>
                  <a:pt x="1747870" y="1522963"/>
                  <a:pt x="1749574" y="1524976"/>
                </a:cubicBezTo>
                <a:lnTo>
                  <a:pt x="1749367" y="1525131"/>
                </a:lnTo>
                <a:lnTo>
                  <a:pt x="1751845" y="1525751"/>
                </a:lnTo>
                <a:cubicBezTo>
                  <a:pt x="1753188" y="1525751"/>
                  <a:pt x="1754427" y="1525906"/>
                  <a:pt x="1755976" y="1526835"/>
                </a:cubicBezTo>
                <a:cubicBezTo>
                  <a:pt x="1754014" y="1530088"/>
                  <a:pt x="1753291" y="1532876"/>
                  <a:pt x="1752258" y="1534580"/>
                </a:cubicBezTo>
                <a:cubicBezTo>
                  <a:pt x="1749470" y="1533806"/>
                  <a:pt x="1747612" y="1532412"/>
                  <a:pt x="1746786" y="1530862"/>
                </a:cubicBezTo>
                <a:cubicBezTo>
                  <a:pt x="1746373" y="1529933"/>
                  <a:pt x="1746269" y="1529004"/>
                  <a:pt x="1746373" y="1528074"/>
                </a:cubicBezTo>
                <a:lnTo>
                  <a:pt x="1746579" y="1527300"/>
                </a:lnTo>
                <a:lnTo>
                  <a:pt x="1745443" y="1528229"/>
                </a:lnTo>
                <a:cubicBezTo>
                  <a:pt x="1744101" y="1528849"/>
                  <a:pt x="1742759" y="1529004"/>
                  <a:pt x="1741520" y="1527764"/>
                </a:cubicBezTo>
                <a:cubicBezTo>
                  <a:pt x="1741623" y="1525674"/>
                  <a:pt x="1742784" y="1523970"/>
                  <a:pt x="1744346" y="1523292"/>
                </a:cubicBezTo>
                <a:close/>
                <a:moveTo>
                  <a:pt x="1382498" y="1523273"/>
                </a:moveTo>
                <a:cubicBezTo>
                  <a:pt x="1386422" y="1521879"/>
                  <a:pt x="1390758" y="1524822"/>
                  <a:pt x="1388383" y="1529468"/>
                </a:cubicBezTo>
                <a:cubicBezTo>
                  <a:pt x="1385802" y="1528384"/>
                  <a:pt x="1383117" y="1527300"/>
                  <a:pt x="1382498" y="1525441"/>
                </a:cubicBezTo>
                <a:cubicBezTo>
                  <a:pt x="1382291" y="1524822"/>
                  <a:pt x="1382291" y="1524047"/>
                  <a:pt x="1382498" y="1523273"/>
                </a:cubicBezTo>
                <a:close/>
                <a:moveTo>
                  <a:pt x="6130056" y="1523131"/>
                </a:moveTo>
                <a:cubicBezTo>
                  <a:pt x="6134324" y="1523273"/>
                  <a:pt x="6140727" y="1525692"/>
                  <a:pt x="6140513" y="1526688"/>
                </a:cubicBezTo>
                <a:cubicBezTo>
                  <a:pt x="6141794" y="1526688"/>
                  <a:pt x="6141580" y="1527825"/>
                  <a:pt x="6142647" y="1527825"/>
                </a:cubicBezTo>
                <a:cubicBezTo>
                  <a:pt x="6142647" y="1527825"/>
                  <a:pt x="6143928" y="1527825"/>
                  <a:pt x="6144995" y="1529106"/>
                </a:cubicBezTo>
                <a:cubicBezTo>
                  <a:pt x="6145422" y="1529675"/>
                  <a:pt x="6146062" y="1530387"/>
                  <a:pt x="6146275" y="1531098"/>
                </a:cubicBezTo>
                <a:cubicBezTo>
                  <a:pt x="6146489" y="1531952"/>
                  <a:pt x="6146275" y="1532805"/>
                  <a:pt x="6145635" y="1533943"/>
                </a:cubicBezTo>
                <a:cubicBezTo>
                  <a:pt x="6136672" y="1530244"/>
                  <a:pt x="6132189" y="1530102"/>
                  <a:pt x="6125574" y="1526403"/>
                </a:cubicBezTo>
                <a:cubicBezTo>
                  <a:pt x="6125574" y="1525123"/>
                  <a:pt x="6126854" y="1525123"/>
                  <a:pt x="6126854" y="1523984"/>
                </a:cubicBezTo>
                <a:cubicBezTo>
                  <a:pt x="6127494" y="1523415"/>
                  <a:pt x="6128775" y="1523131"/>
                  <a:pt x="6130056" y="1523131"/>
                </a:cubicBezTo>
                <a:close/>
                <a:moveTo>
                  <a:pt x="3824268" y="1522988"/>
                </a:moveTo>
                <a:cubicBezTo>
                  <a:pt x="3826189" y="1525123"/>
                  <a:pt x="3827683" y="1527683"/>
                  <a:pt x="3828750" y="1530529"/>
                </a:cubicBezTo>
                <a:cubicBezTo>
                  <a:pt x="3831524" y="1539207"/>
                  <a:pt x="3829604" y="1550020"/>
                  <a:pt x="3824909" y="1554999"/>
                </a:cubicBezTo>
                <a:cubicBezTo>
                  <a:pt x="3816799" y="1546747"/>
                  <a:pt x="3820214" y="1530529"/>
                  <a:pt x="3824268" y="1522988"/>
                </a:cubicBezTo>
                <a:close/>
                <a:moveTo>
                  <a:pt x="3575634" y="1522561"/>
                </a:moveTo>
                <a:cubicBezTo>
                  <a:pt x="3581824" y="1525265"/>
                  <a:pt x="3587159" y="1528395"/>
                  <a:pt x="3591214" y="1532094"/>
                </a:cubicBezTo>
                <a:lnTo>
                  <a:pt x="3594628" y="1536219"/>
                </a:lnTo>
                <a:lnTo>
                  <a:pt x="3594628" y="1536077"/>
                </a:lnTo>
                <a:cubicBezTo>
                  <a:pt x="3595909" y="1534512"/>
                  <a:pt x="3597616" y="1533090"/>
                  <a:pt x="3599751" y="1531809"/>
                </a:cubicBezTo>
                <a:cubicBezTo>
                  <a:pt x="3600178" y="1533517"/>
                  <a:pt x="3601885" y="1532947"/>
                  <a:pt x="3603379" y="1532378"/>
                </a:cubicBezTo>
                <a:cubicBezTo>
                  <a:pt x="3605513" y="1533659"/>
                  <a:pt x="3606580" y="1535935"/>
                  <a:pt x="3607007" y="1538638"/>
                </a:cubicBezTo>
                <a:lnTo>
                  <a:pt x="3606794" y="1541057"/>
                </a:lnTo>
                <a:lnTo>
                  <a:pt x="3607220" y="1541057"/>
                </a:lnTo>
                <a:lnTo>
                  <a:pt x="3606794" y="1541483"/>
                </a:lnTo>
                <a:lnTo>
                  <a:pt x="3606580" y="1542479"/>
                </a:lnTo>
                <a:lnTo>
                  <a:pt x="3607861" y="1542053"/>
                </a:lnTo>
                <a:cubicBezTo>
                  <a:pt x="3610635" y="1541626"/>
                  <a:pt x="3613410" y="1541768"/>
                  <a:pt x="3615330" y="1543048"/>
                </a:cubicBezTo>
                <a:cubicBezTo>
                  <a:pt x="3614263" y="1545325"/>
                  <a:pt x="3613196" y="1547601"/>
                  <a:pt x="3612129" y="1549877"/>
                </a:cubicBezTo>
                <a:lnTo>
                  <a:pt x="3611062" y="1549593"/>
                </a:lnTo>
                <a:lnTo>
                  <a:pt x="3610849" y="1549735"/>
                </a:lnTo>
                <a:cubicBezTo>
                  <a:pt x="3610422" y="1550447"/>
                  <a:pt x="3609995" y="1551442"/>
                  <a:pt x="3610208" y="1552722"/>
                </a:cubicBezTo>
                <a:cubicBezTo>
                  <a:pt x="3608714" y="1552296"/>
                  <a:pt x="3607007" y="1551869"/>
                  <a:pt x="3605940" y="1551157"/>
                </a:cubicBezTo>
                <a:lnTo>
                  <a:pt x="3605300" y="1549877"/>
                </a:lnTo>
                <a:lnTo>
                  <a:pt x="3604659" y="1550020"/>
                </a:lnTo>
                <a:lnTo>
                  <a:pt x="3603592" y="1552011"/>
                </a:lnTo>
                <a:lnTo>
                  <a:pt x="3604446" y="1554430"/>
                </a:lnTo>
                <a:lnTo>
                  <a:pt x="3600178" y="1555141"/>
                </a:lnTo>
                <a:lnTo>
                  <a:pt x="3596763" y="1556564"/>
                </a:lnTo>
                <a:cubicBezTo>
                  <a:pt x="3595483" y="1556279"/>
                  <a:pt x="3594202" y="1555568"/>
                  <a:pt x="3593135" y="1554288"/>
                </a:cubicBezTo>
                <a:lnTo>
                  <a:pt x="3592921" y="1552865"/>
                </a:lnTo>
                <a:lnTo>
                  <a:pt x="3584384" y="1545183"/>
                </a:lnTo>
                <a:cubicBezTo>
                  <a:pt x="3581183" y="1553149"/>
                  <a:pt x="3578622" y="1565953"/>
                  <a:pt x="3570086" y="1563820"/>
                </a:cubicBezTo>
                <a:cubicBezTo>
                  <a:pt x="3565603" y="1555710"/>
                  <a:pt x="3574994" y="1547316"/>
                  <a:pt x="3577341" y="1537073"/>
                </a:cubicBezTo>
                <a:cubicBezTo>
                  <a:pt x="3576915" y="1532236"/>
                  <a:pt x="3571366" y="1531240"/>
                  <a:pt x="3575634" y="1522561"/>
                </a:cubicBezTo>
                <a:close/>
                <a:moveTo>
                  <a:pt x="915366" y="1522498"/>
                </a:moveTo>
                <a:cubicBezTo>
                  <a:pt x="923937" y="1524667"/>
                  <a:pt x="931991" y="1544339"/>
                  <a:pt x="923834" y="1548676"/>
                </a:cubicBezTo>
                <a:cubicBezTo>
                  <a:pt x="921665" y="1539072"/>
                  <a:pt x="915676" y="1533651"/>
                  <a:pt x="915366" y="1522498"/>
                </a:cubicBezTo>
                <a:close/>
                <a:moveTo>
                  <a:pt x="4698009" y="1522135"/>
                </a:moveTo>
                <a:cubicBezTo>
                  <a:pt x="4699289" y="1521851"/>
                  <a:pt x="4700570" y="1521993"/>
                  <a:pt x="4700997" y="1522704"/>
                </a:cubicBezTo>
                <a:cubicBezTo>
                  <a:pt x="4702704" y="1524838"/>
                  <a:pt x="4704198" y="1526830"/>
                  <a:pt x="4703344" y="1528964"/>
                </a:cubicBezTo>
                <a:cubicBezTo>
                  <a:pt x="4703131" y="1529817"/>
                  <a:pt x="4702704" y="1530529"/>
                  <a:pt x="4701637" y="1531240"/>
                </a:cubicBezTo>
                <a:cubicBezTo>
                  <a:pt x="4701637" y="1531240"/>
                  <a:pt x="4701637" y="1531240"/>
                  <a:pt x="4700570" y="1531098"/>
                </a:cubicBezTo>
                <a:cubicBezTo>
                  <a:pt x="4698222" y="1530671"/>
                  <a:pt x="4697155" y="1530529"/>
                  <a:pt x="4696088" y="1530244"/>
                </a:cubicBezTo>
                <a:cubicBezTo>
                  <a:pt x="4695021" y="1528964"/>
                  <a:pt x="4692887" y="1524980"/>
                  <a:pt x="4694167" y="1523984"/>
                </a:cubicBezTo>
                <a:cubicBezTo>
                  <a:pt x="4695234" y="1522988"/>
                  <a:pt x="4696728" y="1522277"/>
                  <a:pt x="4698009" y="1522135"/>
                </a:cubicBezTo>
                <a:close/>
                <a:moveTo>
                  <a:pt x="1505269" y="1521724"/>
                </a:moveTo>
                <a:cubicBezTo>
                  <a:pt x="1509916" y="1523737"/>
                  <a:pt x="1509090" y="1527764"/>
                  <a:pt x="1507541" y="1532102"/>
                </a:cubicBezTo>
                <a:cubicBezTo>
                  <a:pt x="1505682" y="1531947"/>
                  <a:pt x="1504134" y="1532566"/>
                  <a:pt x="1502172" y="1532412"/>
                </a:cubicBezTo>
                <a:cubicBezTo>
                  <a:pt x="1501036" y="1531327"/>
                  <a:pt x="1500210" y="1529314"/>
                  <a:pt x="1500003" y="1527300"/>
                </a:cubicBezTo>
                <a:cubicBezTo>
                  <a:pt x="1499797" y="1525286"/>
                  <a:pt x="1500210" y="1523273"/>
                  <a:pt x="1501552" y="1522188"/>
                </a:cubicBezTo>
                <a:cubicBezTo>
                  <a:pt x="1502378" y="1521569"/>
                  <a:pt x="1503617" y="1521259"/>
                  <a:pt x="1505269" y="1521724"/>
                </a:cubicBezTo>
                <a:close/>
                <a:moveTo>
                  <a:pt x="1757731" y="1521259"/>
                </a:moveTo>
                <a:cubicBezTo>
                  <a:pt x="1759486" y="1522033"/>
                  <a:pt x="1761448" y="1521414"/>
                  <a:pt x="1762687" y="1521569"/>
                </a:cubicBezTo>
                <a:cubicBezTo>
                  <a:pt x="1764236" y="1523428"/>
                  <a:pt x="1764546" y="1525286"/>
                  <a:pt x="1763410" y="1528074"/>
                </a:cubicBezTo>
                <a:cubicBezTo>
                  <a:pt x="1759486" y="1529159"/>
                  <a:pt x="1760725" y="1529159"/>
                  <a:pt x="1756595" y="1528384"/>
                </a:cubicBezTo>
                <a:cubicBezTo>
                  <a:pt x="1757008" y="1526061"/>
                  <a:pt x="1757421" y="1523737"/>
                  <a:pt x="1757731" y="1521259"/>
                </a:cubicBezTo>
                <a:close/>
                <a:moveTo>
                  <a:pt x="5924745" y="1520997"/>
                </a:moveTo>
                <a:cubicBezTo>
                  <a:pt x="5927947" y="1520143"/>
                  <a:pt x="5932216" y="1521566"/>
                  <a:pt x="5933069" y="1526403"/>
                </a:cubicBezTo>
                <a:cubicBezTo>
                  <a:pt x="5934563" y="1530387"/>
                  <a:pt x="5932002" y="1534512"/>
                  <a:pt x="5932856" y="1539491"/>
                </a:cubicBezTo>
                <a:cubicBezTo>
                  <a:pt x="5930081" y="1540630"/>
                  <a:pt x="5928160" y="1541341"/>
                  <a:pt x="5926666" y="1541057"/>
                </a:cubicBezTo>
                <a:lnTo>
                  <a:pt x="5926240" y="1540630"/>
                </a:lnTo>
                <a:lnTo>
                  <a:pt x="5914715" y="1534654"/>
                </a:lnTo>
                <a:cubicBezTo>
                  <a:pt x="5913648" y="1533374"/>
                  <a:pt x="5911727" y="1528680"/>
                  <a:pt x="5913007" y="1527399"/>
                </a:cubicBezTo>
                <a:cubicBezTo>
                  <a:pt x="5914288" y="1526261"/>
                  <a:pt x="5915355" y="1526261"/>
                  <a:pt x="5916636" y="1526261"/>
                </a:cubicBezTo>
                <a:lnTo>
                  <a:pt x="5921758" y="1529248"/>
                </a:lnTo>
                <a:lnTo>
                  <a:pt x="5921758" y="1526688"/>
                </a:lnTo>
                <a:cubicBezTo>
                  <a:pt x="5922398" y="1523984"/>
                  <a:pt x="5923465" y="1521708"/>
                  <a:pt x="5924745" y="1520997"/>
                </a:cubicBezTo>
                <a:close/>
                <a:moveTo>
                  <a:pt x="5048018" y="1520854"/>
                </a:moveTo>
                <a:cubicBezTo>
                  <a:pt x="5051005" y="1520712"/>
                  <a:pt x="5053139" y="1521423"/>
                  <a:pt x="5054633" y="1525265"/>
                </a:cubicBezTo>
                <a:cubicBezTo>
                  <a:pt x="5051859" y="1529391"/>
                  <a:pt x="5043962" y="1528964"/>
                  <a:pt x="5036492" y="1529533"/>
                </a:cubicBezTo>
                <a:cubicBezTo>
                  <a:pt x="5036919" y="1526118"/>
                  <a:pt x="5037133" y="1524411"/>
                  <a:pt x="5036492" y="1521851"/>
                </a:cubicBezTo>
                <a:cubicBezTo>
                  <a:pt x="5041401" y="1522135"/>
                  <a:pt x="5045030" y="1520997"/>
                  <a:pt x="5048018" y="1520854"/>
                </a:cubicBezTo>
                <a:close/>
                <a:moveTo>
                  <a:pt x="3975156" y="1520143"/>
                </a:moveTo>
                <a:cubicBezTo>
                  <a:pt x="3980491" y="1519289"/>
                  <a:pt x="3985187" y="1524696"/>
                  <a:pt x="3985614" y="1529960"/>
                </a:cubicBezTo>
                <a:cubicBezTo>
                  <a:pt x="3985827" y="1532236"/>
                  <a:pt x="3985187" y="1534512"/>
                  <a:pt x="3983053" y="1536077"/>
                </a:cubicBezTo>
                <a:cubicBezTo>
                  <a:pt x="3976437" y="1533374"/>
                  <a:pt x="3968540" y="1531525"/>
                  <a:pt x="3969607" y="1523273"/>
                </a:cubicBezTo>
                <a:cubicBezTo>
                  <a:pt x="3971315" y="1521423"/>
                  <a:pt x="3973235" y="1520428"/>
                  <a:pt x="3975156" y="1520143"/>
                </a:cubicBezTo>
                <a:close/>
                <a:moveTo>
                  <a:pt x="5769163" y="1520001"/>
                </a:moveTo>
                <a:cubicBezTo>
                  <a:pt x="5769589" y="1521708"/>
                  <a:pt x="5772364" y="1527968"/>
                  <a:pt x="5770656" y="1528395"/>
                </a:cubicBezTo>
                <a:cubicBezTo>
                  <a:pt x="5770656" y="1528395"/>
                  <a:pt x="5770230" y="1526688"/>
                  <a:pt x="5770016" y="1524980"/>
                </a:cubicBezTo>
                <a:cubicBezTo>
                  <a:pt x="5769803" y="1523415"/>
                  <a:pt x="5769803" y="1523415"/>
                  <a:pt x="5768096" y="1523842"/>
                </a:cubicBezTo>
                <a:cubicBezTo>
                  <a:pt x="5767882" y="1522135"/>
                  <a:pt x="5767882" y="1522135"/>
                  <a:pt x="5769163" y="1520001"/>
                </a:cubicBezTo>
                <a:close/>
                <a:moveTo>
                  <a:pt x="5740138" y="1520001"/>
                </a:moveTo>
                <a:cubicBezTo>
                  <a:pt x="5741418" y="1521281"/>
                  <a:pt x="5742271" y="1523273"/>
                  <a:pt x="5742699" y="1525407"/>
                </a:cubicBezTo>
                <a:cubicBezTo>
                  <a:pt x="5744193" y="1532236"/>
                  <a:pt x="5741205" y="1541626"/>
                  <a:pt x="5737363" y="1545325"/>
                </a:cubicBezTo>
                <a:cubicBezTo>
                  <a:pt x="5732028" y="1545894"/>
                  <a:pt x="5728613" y="1544613"/>
                  <a:pt x="5726479" y="1542337"/>
                </a:cubicBezTo>
                <a:cubicBezTo>
                  <a:pt x="5720503" y="1535366"/>
                  <a:pt x="5727972" y="1519432"/>
                  <a:pt x="5740138" y="1520001"/>
                </a:cubicBezTo>
                <a:close/>
                <a:moveTo>
                  <a:pt x="4386203" y="1518720"/>
                </a:moveTo>
                <a:cubicBezTo>
                  <a:pt x="4387056" y="1519005"/>
                  <a:pt x="4387696" y="1519432"/>
                  <a:pt x="4388550" y="1520428"/>
                </a:cubicBezTo>
                <a:cubicBezTo>
                  <a:pt x="4388550" y="1520428"/>
                  <a:pt x="4388550" y="1520428"/>
                  <a:pt x="4388337" y="1521566"/>
                </a:cubicBezTo>
                <a:cubicBezTo>
                  <a:pt x="4388123" y="1523984"/>
                  <a:pt x="4388123" y="1525123"/>
                  <a:pt x="4387910" y="1526403"/>
                </a:cubicBezTo>
                <a:cubicBezTo>
                  <a:pt x="4386630" y="1527541"/>
                  <a:pt x="4383001" y="1529817"/>
                  <a:pt x="4381934" y="1528537"/>
                </a:cubicBezTo>
                <a:cubicBezTo>
                  <a:pt x="4379800" y="1526118"/>
                  <a:pt x="4379160" y="1522704"/>
                  <a:pt x="4380440" y="1521423"/>
                </a:cubicBezTo>
                <a:cubicBezTo>
                  <a:pt x="4382147" y="1519717"/>
                  <a:pt x="4384282" y="1518009"/>
                  <a:pt x="4386203" y="1518720"/>
                </a:cubicBezTo>
                <a:close/>
                <a:moveTo>
                  <a:pt x="5957826" y="1518436"/>
                </a:moveTo>
                <a:cubicBezTo>
                  <a:pt x="5961881" y="1519289"/>
                  <a:pt x="5967216" y="1523415"/>
                  <a:pt x="5969564" y="1526118"/>
                </a:cubicBezTo>
                <a:cubicBezTo>
                  <a:pt x="5965936" y="1528395"/>
                  <a:pt x="5957399" y="1522419"/>
                  <a:pt x="5954411" y="1518863"/>
                </a:cubicBezTo>
                <a:cubicBezTo>
                  <a:pt x="5955265" y="1518294"/>
                  <a:pt x="5956545" y="1518151"/>
                  <a:pt x="5957826" y="1518436"/>
                </a:cubicBezTo>
                <a:close/>
                <a:moveTo>
                  <a:pt x="5222594" y="1518151"/>
                </a:moveTo>
                <a:cubicBezTo>
                  <a:pt x="5224729" y="1517724"/>
                  <a:pt x="5227290" y="1518294"/>
                  <a:pt x="5229424" y="1520286"/>
                </a:cubicBezTo>
                <a:cubicBezTo>
                  <a:pt x="5228570" y="1527256"/>
                  <a:pt x="5228784" y="1535650"/>
                  <a:pt x="5220674" y="1535224"/>
                </a:cubicBezTo>
                <a:cubicBezTo>
                  <a:pt x="5211710" y="1528537"/>
                  <a:pt x="5216192" y="1519147"/>
                  <a:pt x="5222594" y="1518151"/>
                </a:cubicBezTo>
                <a:close/>
                <a:moveTo>
                  <a:pt x="4547121" y="1518151"/>
                </a:moveTo>
                <a:cubicBezTo>
                  <a:pt x="4547548" y="1518151"/>
                  <a:pt x="4548188" y="1518294"/>
                  <a:pt x="4549255" y="1518294"/>
                </a:cubicBezTo>
                <a:cubicBezTo>
                  <a:pt x="4547975" y="1521851"/>
                  <a:pt x="4547975" y="1521851"/>
                  <a:pt x="4545627" y="1523984"/>
                </a:cubicBezTo>
                <a:cubicBezTo>
                  <a:pt x="4545627" y="1522704"/>
                  <a:pt x="4544560" y="1520143"/>
                  <a:pt x="4545840" y="1519005"/>
                </a:cubicBezTo>
                <a:cubicBezTo>
                  <a:pt x="4546481" y="1518578"/>
                  <a:pt x="4546694" y="1518294"/>
                  <a:pt x="4547121" y="1518151"/>
                </a:cubicBezTo>
                <a:close/>
                <a:moveTo>
                  <a:pt x="1237216" y="1517696"/>
                </a:moveTo>
                <a:cubicBezTo>
                  <a:pt x="1236906" y="1518935"/>
                  <a:pt x="1236906" y="1520484"/>
                  <a:pt x="1236494" y="1521879"/>
                </a:cubicBezTo>
                <a:lnTo>
                  <a:pt x="1233602" y="1524976"/>
                </a:lnTo>
                <a:lnTo>
                  <a:pt x="1234325" y="1521569"/>
                </a:lnTo>
                <a:cubicBezTo>
                  <a:pt x="1234635" y="1520329"/>
                  <a:pt x="1235151" y="1519090"/>
                  <a:pt x="1235771" y="1518471"/>
                </a:cubicBezTo>
                <a:cubicBezTo>
                  <a:pt x="1236184" y="1517851"/>
                  <a:pt x="1236597" y="1517696"/>
                  <a:pt x="1237216" y="1517696"/>
                </a:cubicBezTo>
                <a:close/>
                <a:moveTo>
                  <a:pt x="5697454" y="1517582"/>
                </a:moveTo>
                <a:cubicBezTo>
                  <a:pt x="5707484" y="1524269"/>
                  <a:pt x="5704497" y="1526830"/>
                  <a:pt x="5701722" y="1531809"/>
                </a:cubicBezTo>
                <a:cubicBezTo>
                  <a:pt x="5699374" y="1530813"/>
                  <a:pt x="5696173" y="1532236"/>
                  <a:pt x="5693399" y="1529960"/>
                </a:cubicBezTo>
                <a:cubicBezTo>
                  <a:pt x="5693399" y="1529960"/>
                  <a:pt x="5692118" y="1528822"/>
                  <a:pt x="5691904" y="1526403"/>
                </a:cubicBezTo>
                <a:cubicBezTo>
                  <a:pt x="5689130" y="1522988"/>
                  <a:pt x="5691904" y="1519289"/>
                  <a:pt x="5691904" y="1519289"/>
                </a:cubicBezTo>
                <a:cubicBezTo>
                  <a:pt x="5691904" y="1519289"/>
                  <a:pt x="5691904" y="1519147"/>
                  <a:pt x="5690838" y="1519289"/>
                </a:cubicBezTo>
                <a:cubicBezTo>
                  <a:pt x="5692972" y="1519147"/>
                  <a:pt x="5695106" y="1517724"/>
                  <a:pt x="5697454" y="1517582"/>
                </a:cubicBezTo>
                <a:close/>
                <a:moveTo>
                  <a:pt x="1227303" y="1517386"/>
                </a:moveTo>
                <a:cubicBezTo>
                  <a:pt x="1228853" y="1518935"/>
                  <a:pt x="1229678" y="1520175"/>
                  <a:pt x="1229782" y="1521569"/>
                </a:cubicBezTo>
                <a:lnTo>
                  <a:pt x="1228543" y="1524822"/>
                </a:lnTo>
                <a:lnTo>
                  <a:pt x="1229369" y="1524822"/>
                </a:lnTo>
                <a:lnTo>
                  <a:pt x="1233602" y="1524976"/>
                </a:lnTo>
                <a:lnTo>
                  <a:pt x="1237113" y="1525131"/>
                </a:lnTo>
                <a:cubicBezTo>
                  <a:pt x="1237423" y="1526061"/>
                  <a:pt x="1236597" y="1526216"/>
                  <a:pt x="1236906" y="1526990"/>
                </a:cubicBezTo>
                <a:cubicBezTo>
                  <a:pt x="1236700" y="1527610"/>
                  <a:pt x="1235874" y="1527919"/>
                  <a:pt x="1234945" y="1528229"/>
                </a:cubicBezTo>
                <a:cubicBezTo>
                  <a:pt x="1231950" y="1529159"/>
                  <a:pt x="1226684" y="1529004"/>
                  <a:pt x="1226477" y="1528384"/>
                </a:cubicBezTo>
                <a:cubicBezTo>
                  <a:pt x="1225652" y="1528694"/>
                  <a:pt x="1225342" y="1527764"/>
                  <a:pt x="1224516" y="1528074"/>
                </a:cubicBezTo>
                <a:cubicBezTo>
                  <a:pt x="1224516" y="1528074"/>
                  <a:pt x="1223690" y="1528384"/>
                  <a:pt x="1222554" y="1527764"/>
                </a:cubicBezTo>
                <a:cubicBezTo>
                  <a:pt x="1221418" y="1527145"/>
                  <a:pt x="1220282" y="1526680"/>
                  <a:pt x="1220386" y="1524667"/>
                </a:cubicBezTo>
                <a:lnTo>
                  <a:pt x="1226684" y="1524667"/>
                </a:lnTo>
                <a:lnTo>
                  <a:pt x="1224516" y="1523583"/>
                </a:lnTo>
                <a:cubicBezTo>
                  <a:pt x="1223483" y="1522498"/>
                  <a:pt x="1222760" y="1521104"/>
                  <a:pt x="1222864" y="1519865"/>
                </a:cubicBezTo>
                <a:cubicBezTo>
                  <a:pt x="1224722" y="1517696"/>
                  <a:pt x="1226271" y="1518781"/>
                  <a:pt x="1227303" y="1517386"/>
                </a:cubicBezTo>
                <a:close/>
                <a:moveTo>
                  <a:pt x="3595696" y="1517156"/>
                </a:moveTo>
                <a:cubicBezTo>
                  <a:pt x="3600391" y="1515875"/>
                  <a:pt x="3603592" y="1519432"/>
                  <a:pt x="3609355" y="1518578"/>
                </a:cubicBezTo>
                <a:cubicBezTo>
                  <a:pt x="3610849" y="1522561"/>
                  <a:pt x="3617465" y="1522277"/>
                  <a:pt x="3619172" y="1527825"/>
                </a:cubicBezTo>
                <a:cubicBezTo>
                  <a:pt x="3611489" y="1531809"/>
                  <a:pt x="3596549" y="1522135"/>
                  <a:pt x="3595696" y="1517156"/>
                </a:cubicBezTo>
                <a:close/>
                <a:moveTo>
                  <a:pt x="1356580" y="1516922"/>
                </a:moveTo>
                <a:cubicBezTo>
                  <a:pt x="1357716" y="1517231"/>
                  <a:pt x="1357510" y="1518316"/>
                  <a:pt x="1357923" y="1519090"/>
                </a:cubicBezTo>
                <a:cubicBezTo>
                  <a:pt x="1358129" y="1520949"/>
                  <a:pt x="1354412" y="1525751"/>
                  <a:pt x="1353276" y="1525441"/>
                </a:cubicBezTo>
                <a:cubicBezTo>
                  <a:pt x="1353276" y="1523118"/>
                  <a:pt x="1353379" y="1519245"/>
                  <a:pt x="1354722" y="1517696"/>
                </a:cubicBezTo>
                <a:cubicBezTo>
                  <a:pt x="1355135" y="1517077"/>
                  <a:pt x="1355755" y="1516767"/>
                  <a:pt x="1356580" y="1516922"/>
                </a:cubicBezTo>
                <a:close/>
                <a:moveTo>
                  <a:pt x="1027090" y="1516922"/>
                </a:moveTo>
                <a:cubicBezTo>
                  <a:pt x="1034318" y="1523118"/>
                  <a:pt x="1033182" y="1538297"/>
                  <a:pt x="1024405" y="1536594"/>
                </a:cubicBezTo>
                <a:cubicBezTo>
                  <a:pt x="1023166" y="1536439"/>
                  <a:pt x="1021824" y="1535819"/>
                  <a:pt x="1020275" y="1534890"/>
                </a:cubicBezTo>
                <a:cubicBezTo>
                  <a:pt x="1020172" y="1533341"/>
                  <a:pt x="1019862" y="1531637"/>
                  <a:pt x="1019759" y="1529778"/>
                </a:cubicBezTo>
                <a:cubicBezTo>
                  <a:pt x="1019655" y="1528384"/>
                  <a:pt x="1019552" y="1526990"/>
                  <a:pt x="1019655" y="1525596"/>
                </a:cubicBezTo>
                <a:cubicBezTo>
                  <a:pt x="1019965" y="1521569"/>
                  <a:pt x="1021514" y="1517851"/>
                  <a:pt x="1027090" y="1516922"/>
                </a:cubicBezTo>
                <a:close/>
                <a:moveTo>
                  <a:pt x="4646148" y="1515733"/>
                </a:moveTo>
                <a:cubicBezTo>
                  <a:pt x="4646148" y="1515733"/>
                  <a:pt x="4646148" y="1515733"/>
                  <a:pt x="4643800" y="1524411"/>
                </a:cubicBezTo>
                <a:cubicBezTo>
                  <a:pt x="4642946" y="1524127"/>
                  <a:pt x="4642946" y="1523558"/>
                  <a:pt x="4642946" y="1522846"/>
                </a:cubicBezTo>
                <a:cubicBezTo>
                  <a:pt x="4643160" y="1522135"/>
                  <a:pt x="4643373" y="1521281"/>
                  <a:pt x="4643800" y="1520428"/>
                </a:cubicBezTo>
                <a:cubicBezTo>
                  <a:pt x="4644441" y="1518863"/>
                  <a:pt x="4645294" y="1517298"/>
                  <a:pt x="4646148" y="1515733"/>
                </a:cubicBezTo>
                <a:close/>
                <a:moveTo>
                  <a:pt x="4053268" y="1515733"/>
                </a:moveTo>
                <a:cubicBezTo>
                  <a:pt x="4059243" y="1517440"/>
                  <a:pt x="4064793" y="1524127"/>
                  <a:pt x="4072049" y="1526830"/>
                </a:cubicBezTo>
                <a:cubicBezTo>
                  <a:pt x="4076744" y="1526830"/>
                  <a:pt x="4078451" y="1521423"/>
                  <a:pt x="4086134" y="1526830"/>
                </a:cubicBezTo>
                <a:cubicBezTo>
                  <a:pt x="4082933" y="1532947"/>
                  <a:pt x="4079092" y="1537927"/>
                  <a:pt x="4075037" y="1541768"/>
                </a:cubicBezTo>
                <a:lnTo>
                  <a:pt x="4068207" y="1546178"/>
                </a:lnTo>
                <a:lnTo>
                  <a:pt x="4072476" y="1546178"/>
                </a:lnTo>
                <a:cubicBezTo>
                  <a:pt x="4075463" y="1547032"/>
                  <a:pt x="4078024" y="1548312"/>
                  <a:pt x="4080799" y="1549735"/>
                </a:cubicBezTo>
                <a:cubicBezTo>
                  <a:pt x="4084000" y="1565242"/>
                  <a:pt x="4069274" y="1558556"/>
                  <a:pt x="4061378" y="1558129"/>
                </a:cubicBezTo>
                <a:cubicBezTo>
                  <a:pt x="4060738" y="1555568"/>
                  <a:pt x="4060524" y="1553861"/>
                  <a:pt x="4060738" y="1552154"/>
                </a:cubicBezTo>
                <a:lnTo>
                  <a:pt x="4061164" y="1550304"/>
                </a:lnTo>
                <a:lnTo>
                  <a:pt x="4051987" y="1552438"/>
                </a:lnTo>
                <a:cubicBezTo>
                  <a:pt x="4048999" y="1543191"/>
                  <a:pt x="4057963" y="1538211"/>
                  <a:pt x="4063299" y="1533090"/>
                </a:cubicBezTo>
                <a:cubicBezTo>
                  <a:pt x="4056042" y="1528822"/>
                  <a:pt x="4043877" y="1524553"/>
                  <a:pt x="4047079" y="1516160"/>
                </a:cubicBezTo>
                <a:cubicBezTo>
                  <a:pt x="4049213" y="1515306"/>
                  <a:pt x="4051134" y="1515164"/>
                  <a:pt x="4053268" y="1515733"/>
                </a:cubicBezTo>
                <a:close/>
                <a:moveTo>
                  <a:pt x="1615134" y="1515683"/>
                </a:moveTo>
                <a:cubicBezTo>
                  <a:pt x="1613998" y="1522653"/>
                  <a:pt x="1613482" y="1530398"/>
                  <a:pt x="1607700" y="1531792"/>
                </a:cubicBezTo>
                <a:cubicBezTo>
                  <a:pt x="1606770" y="1531018"/>
                  <a:pt x="1606254" y="1529933"/>
                  <a:pt x="1606047" y="1528694"/>
                </a:cubicBezTo>
                <a:cubicBezTo>
                  <a:pt x="1605841" y="1527455"/>
                  <a:pt x="1605944" y="1526061"/>
                  <a:pt x="1606254" y="1524667"/>
                </a:cubicBezTo>
                <a:cubicBezTo>
                  <a:pt x="1606770" y="1521879"/>
                  <a:pt x="1608216" y="1519090"/>
                  <a:pt x="1609455" y="1517077"/>
                </a:cubicBezTo>
                <a:cubicBezTo>
                  <a:pt x="1611830" y="1517231"/>
                  <a:pt x="1612656" y="1515528"/>
                  <a:pt x="1615134" y="1515683"/>
                </a:cubicBezTo>
                <a:close/>
                <a:moveTo>
                  <a:pt x="1383531" y="1515373"/>
                </a:moveTo>
                <a:cubicBezTo>
                  <a:pt x="1384357" y="1517851"/>
                  <a:pt x="1384150" y="1519710"/>
                  <a:pt x="1382911" y="1521104"/>
                </a:cubicBezTo>
                <a:cubicBezTo>
                  <a:pt x="1381672" y="1522653"/>
                  <a:pt x="1379607" y="1523737"/>
                  <a:pt x="1376509" y="1524512"/>
                </a:cubicBezTo>
                <a:cubicBezTo>
                  <a:pt x="1375890" y="1523273"/>
                  <a:pt x="1375786" y="1522188"/>
                  <a:pt x="1376096" y="1521259"/>
                </a:cubicBezTo>
                <a:cubicBezTo>
                  <a:pt x="1376819" y="1518626"/>
                  <a:pt x="1380639" y="1517541"/>
                  <a:pt x="1383531" y="1515373"/>
                </a:cubicBezTo>
                <a:close/>
                <a:moveTo>
                  <a:pt x="1594070" y="1514753"/>
                </a:moveTo>
                <a:cubicBezTo>
                  <a:pt x="1589733" y="1520484"/>
                  <a:pt x="1582815" y="1526061"/>
                  <a:pt x="1581163" y="1527145"/>
                </a:cubicBezTo>
                <a:cubicBezTo>
                  <a:pt x="1580337" y="1527764"/>
                  <a:pt x="1579820" y="1528074"/>
                  <a:pt x="1579304" y="1527919"/>
                </a:cubicBezTo>
                <a:cubicBezTo>
                  <a:pt x="1578685" y="1527764"/>
                  <a:pt x="1578271" y="1527300"/>
                  <a:pt x="1577755" y="1526526"/>
                </a:cubicBezTo>
                <a:cubicBezTo>
                  <a:pt x="1577239" y="1522343"/>
                  <a:pt x="1581266" y="1520329"/>
                  <a:pt x="1584157" y="1516922"/>
                </a:cubicBezTo>
                <a:cubicBezTo>
                  <a:pt x="1584880" y="1517231"/>
                  <a:pt x="1586119" y="1516922"/>
                  <a:pt x="1586532" y="1516148"/>
                </a:cubicBezTo>
                <a:cubicBezTo>
                  <a:pt x="1587771" y="1515683"/>
                  <a:pt x="1588907" y="1515218"/>
                  <a:pt x="1588184" y="1514908"/>
                </a:cubicBezTo>
                <a:cubicBezTo>
                  <a:pt x="1591695" y="1513669"/>
                  <a:pt x="1592211" y="1512895"/>
                  <a:pt x="1594070" y="1514753"/>
                </a:cubicBezTo>
                <a:close/>
                <a:moveTo>
                  <a:pt x="1712401" y="1514598"/>
                </a:moveTo>
                <a:cubicBezTo>
                  <a:pt x="1713331" y="1514444"/>
                  <a:pt x="1714363" y="1514598"/>
                  <a:pt x="1715602" y="1515218"/>
                </a:cubicBezTo>
                <a:cubicBezTo>
                  <a:pt x="1719526" y="1520794"/>
                  <a:pt x="1720972" y="1526061"/>
                  <a:pt x="1715396" y="1531173"/>
                </a:cubicBezTo>
                <a:cubicBezTo>
                  <a:pt x="1714776" y="1530243"/>
                  <a:pt x="1713744" y="1531018"/>
                  <a:pt x="1712711" y="1531637"/>
                </a:cubicBezTo>
                <a:cubicBezTo>
                  <a:pt x="1708994" y="1530862"/>
                  <a:pt x="1707342" y="1526680"/>
                  <a:pt x="1707342" y="1522653"/>
                </a:cubicBezTo>
                <a:cubicBezTo>
                  <a:pt x="1707342" y="1518781"/>
                  <a:pt x="1709097" y="1514908"/>
                  <a:pt x="1712401" y="1514598"/>
                </a:cubicBezTo>
                <a:close/>
                <a:moveTo>
                  <a:pt x="1463347" y="1514289"/>
                </a:moveTo>
                <a:cubicBezTo>
                  <a:pt x="1463760" y="1514753"/>
                  <a:pt x="1464380" y="1515373"/>
                  <a:pt x="1465206" y="1515838"/>
                </a:cubicBezTo>
                <a:lnTo>
                  <a:pt x="1462108" y="1518006"/>
                </a:lnTo>
                <a:cubicBezTo>
                  <a:pt x="1461799" y="1517541"/>
                  <a:pt x="1461386" y="1516922"/>
                  <a:pt x="1461282" y="1516302"/>
                </a:cubicBezTo>
                <a:cubicBezTo>
                  <a:pt x="1461179" y="1515683"/>
                  <a:pt x="1461282" y="1515063"/>
                  <a:pt x="1461799" y="1514753"/>
                </a:cubicBezTo>
                <a:cubicBezTo>
                  <a:pt x="1462315" y="1513979"/>
                  <a:pt x="1462831" y="1513979"/>
                  <a:pt x="1463347" y="1514289"/>
                </a:cubicBezTo>
                <a:close/>
                <a:moveTo>
                  <a:pt x="929513" y="1514289"/>
                </a:moveTo>
                <a:cubicBezTo>
                  <a:pt x="933540" y="1512120"/>
                  <a:pt x="936534" y="1512895"/>
                  <a:pt x="938599" y="1515528"/>
                </a:cubicBezTo>
                <a:cubicBezTo>
                  <a:pt x="937980" y="1520329"/>
                  <a:pt x="931578" y="1522188"/>
                  <a:pt x="928893" y="1518935"/>
                </a:cubicBezTo>
                <a:cubicBezTo>
                  <a:pt x="928997" y="1518316"/>
                  <a:pt x="928893" y="1517696"/>
                  <a:pt x="928997" y="1516767"/>
                </a:cubicBezTo>
                <a:cubicBezTo>
                  <a:pt x="928997" y="1515993"/>
                  <a:pt x="929100" y="1515063"/>
                  <a:pt x="929513" y="1514289"/>
                </a:cubicBezTo>
                <a:close/>
                <a:moveTo>
                  <a:pt x="4493766" y="1513741"/>
                </a:moveTo>
                <a:cubicBezTo>
                  <a:pt x="4494620" y="1513883"/>
                  <a:pt x="4495687" y="1514310"/>
                  <a:pt x="4496327" y="1514737"/>
                </a:cubicBezTo>
                <a:cubicBezTo>
                  <a:pt x="4493340" y="1516017"/>
                  <a:pt x="4492485" y="1517582"/>
                  <a:pt x="4492272" y="1516444"/>
                </a:cubicBezTo>
                <a:cubicBezTo>
                  <a:pt x="4491205" y="1516871"/>
                  <a:pt x="4490778" y="1515733"/>
                  <a:pt x="4491845" y="1515306"/>
                </a:cubicBezTo>
                <a:cubicBezTo>
                  <a:pt x="4492059" y="1513883"/>
                  <a:pt x="4492699" y="1513599"/>
                  <a:pt x="4493766" y="1513741"/>
                </a:cubicBezTo>
                <a:close/>
                <a:moveTo>
                  <a:pt x="4887739" y="1513457"/>
                </a:moveTo>
                <a:cubicBezTo>
                  <a:pt x="4888806" y="1513599"/>
                  <a:pt x="4889873" y="1513883"/>
                  <a:pt x="4890727" y="1514737"/>
                </a:cubicBezTo>
                <a:cubicBezTo>
                  <a:pt x="4884965" y="1521566"/>
                  <a:pt x="4873653" y="1542479"/>
                  <a:pt x="4863623" y="1534228"/>
                </a:cubicBezTo>
                <a:cubicBezTo>
                  <a:pt x="4868318" y="1529391"/>
                  <a:pt x="4880270" y="1513030"/>
                  <a:pt x="4887739" y="1513457"/>
                </a:cubicBezTo>
                <a:close/>
                <a:moveTo>
                  <a:pt x="4099793" y="1513314"/>
                </a:moveTo>
                <a:cubicBezTo>
                  <a:pt x="4101501" y="1513172"/>
                  <a:pt x="4102995" y="1513314"/>
                  <a:pt x="4104489" y="1513599"/>
                </a:cubicBezTo>
                <a:cubicBezTo>
                  <a:pt x="4103848" y="1514737"/>
                  <a:pt x="4111531" y="1516302"/>
                  <a:pt x="4113666" y="1522704"/>
                </a:cubicBezTo>
                <a:cubicBezTo>
                  <a:pt x="4114519" y="1524838"/>
                  <a:pt x="4114519" y="1527541"/>
                  <a:pt x="4113666" y="1530955"/>
                </a:cubicBezTo>
                <a:cubicBezTo>
                  <a:pt x="4111531" y="1538496"/>
                  <a:pt x="4106836" y="1546036"/>
                  <a:pt x="4095311" y="1542621"/>
                </a:cubicBezTo>
                <a:cubicBezTo>
                  <a:pt x="4092750" y="1542621"/>
                  <a:pt x="4093818" y="1542053"/>
                  <a:pt x="4092324" y="1541483"/>
                </a:cubicBezTo>
                <a:cubicBezTo>
                  <a:pt x="4090830" y="1540914"/>
                  <a:pt x="4088268" y="1540914"/>
                  <a:pt x="4087201" y="1541483"/>
                </a:cubicBezTo>
                <a:cubicBezTo>
                  <a:pt x="4088695" y="1535508"/>
                  <a:pt x="4084640" y="1534939"/>
                  <a:pt x="4087628" y="1525834"/>
                </a:cubicBezTo>
                <a:cubicBezTo>
                  <a:pt x="4089763" y="1516871"/>
                  <a:pt x="4095098" y="1513883"/>
                  <a:pt x="4099793" y="1513314"/>
                </a:cubicBezTo>
                <a:close/>
                <a:moveTo>
                  <a:pt x="1858096" y="1513050"/>
                </a:moveTo>
                <a:cubicBezTo>
                  <a:pt x="1856960" y="1514134"/>
                  <a:pt x="1859129" y="1516457"/>
                  <a:pt x="1859645" y="1518161"/>
                </a:cubicBezTo>
                <a:cubicBezTo>
                  <a:pt x="1856444" y="1515993"/>
                  <a:pt x="1856960" y="1516457"/>
                  <a:pt x="1854275" y="1517696"/>
                </a:cubicBezTo>
                <a:lnTo>
                  <a:pt x="1853553" y="1515838"/>
                </a:lnTo>
                <a:lnTo>
                  <a:pt x="1853243" y="1516612"/>
                </a:lnTo>
                <a:cubicBezTo>
                  <a:pt x="1853036" y="1517077"/>
                  <a:pt x="1852830" y="1517386"/>
                  <a:pt x="1853036" y="1517386"/>
                </a:cubicBezTo>
                <a:cubicBezTo>
                  <a:pt x="1853862" y="1518316"/>
                  <a:pt x="1853862" y="1518316"/>
                  <a:pt x="1854689" y="1518316"/>
                </a:cubicBezTo>
                <a:cubicBezTo>
                  <a:pt x="1854585" y="1519245"/>
                  <a:pt x="1855205" y="1520949"/>
                  <a:pt x="1856031" y="1521724"/>
                </a:cubicBezTo>
                <a:cubicBezTo>
                  <a:pt x="1855101" y="1521724"/>
                  <a:pt x="1854275" y="1521724"/>
                  <a:pt x="1854172" y="1522653"/>
                </a:cubicBezTo>
                <a:cubicBezTo>
                  <a:pt x="1852624" y="1520794"/>
                  <a:pt x="1852830" y="1520020"/>
                  <a:pt x="1852004" y="1519090"/>
                </a:cubicBezTo>
                <a:cubicBezTo>
                  <a:pt x="1851901" y="1520020"/>
                  <a:pt x="1851178" y="1519090"/>
                  <a:pt x="1851178" y="1519090"/>
                </a:cubicBezTo>
                <a:cubicBezTo>
                  <a:pt x="1851178" y="1519090"/>
                  <a:pt x="1851178" y="1519090"/>
                  <a:pt x="1850971" y="1519245"/>
                </a:cubicBezTo>
                <a:lnTo>
                  <a:pt x="1849629" y="1520329"/>
                </a:lnTo>
                <a:lnTo>
                  <a:pt x="1852004" y="1523428"/>
                </a:lnTo>
                <a:cubicBezTo>
                  <a:pt x="1856340" y="1528539"/>
                  <a:pt x="1860161" y="1533031"/>
                  <a:pt x="1862330" y="1537678"/>
                </a:cubicBezTo>
                <a:cubicBezTo>
                  <a:pt x="1863981" y="1540466"/>
                  <a:pt x="1868835" y="1544494"/>
                  <a:pt x="1872655" y="1547901"/>
                </a:cubicBezTo>
                <a:cubicBezTo>
                  <a:pt x="1876372" y="1551929"/>
                  <a:pt x="1879676" y="1555336"/>
                  <a:pt x="1878540" y="1558124"/>
                </a:cubicBezTo>
                <a:cubicBezTo>
                  <a:pt x="1882361" y="1563236"/>
                  <a:pt x="1886078" y="1567883"/>
                  <a:pt x="1889383" y="1572375"/>
                </a:cubicBezTo>
                <a:cubicBezTo>
                  <a:pt x="1893100" y="1576402"/>
                  <a:pt x="1896920" y="1580429"/>
                  <a:pt x="1900225" y="1584302"/>
                </a:cubicBezTo>
                <a:cubicBezTo>
                  <a:pt x="1903942" y="1587709"/>
                  <a:pt x="1907762" y="1591117"/>
                  <a:pt x="1911583" y="1595144"/>
                </a:cubicBezTo>
                <a:cubicBezTo>
                  <a:pt x="1914784" y="1598552"/>
                  <a:pt x="1918501" y="1601960"/>
                  <a:pt x="1921805" y="1605368"/>
                </a:cubicBezTo>
                <a:cubicBezTo>
                  <a:pt x="1920669" y="1606607"/>
                  <a:pt x="1919017" y="1605522"/>
                  <a:pt x="1917985" y="1606607"/>
                </a:cubicBezTo>
                <a:cubicBezTo>
                  <a:pt x="1915816" y="1608310"/>
                  <a:pt x="1920669" y="1610015"/>
                  <a:pt x="1921805" y="1611719"/>
                </a:cubicBezTo>
                <a:cubicBezTo>
                  <a:pt x="1925626" y="1610015"/>
                  <a:pt x="1919017" y="1608310"/>
                  <a:pt x="1922838" y="1606607"/>
                </a:cubicBezTo>
                <a:cubicBezTo>
                  <a:pt x="1927174" y="1608930"/>
                  <a:pt x="1932543" y="1614041"/>
                  <a:pt x="1938016" y="1619153"/>
                </a:cubicBezTo>
                <a:cubicBezTo>
                  <a:pt x="1943386" y="1624265"/>
                  <a:pt x="1948755" y="1629376"/>
                  <a:pt x="1953711" y="1632320"/>
                </a:cubicBezTo>
                <a:cubicBezTo>
                  <a:pt x="1952059" y="1634023"/>
                  <a:pt x="1949891" y="1630616"/>
                  <a:pt x="1948755" y="1632939"/>
                </a:cubicBezTo>
                <a:cubicBezTo>
                  <a:pt x="1950665" y="1635185"/>
                  <a:pt x="1952704" y="1634450"/>
                  <a:pt x="1954460" y="1634004"/>
                </a:cubicBezTo>
                <a:lnTo>
                  <a:pt x="1958339" y="1636726"/>
                </a:lnTo>
                <a:lnTo>
                  <a:pt x="1958339" y="1585092"/>
                </a:lnTo>
                <a:lnTo>
                  <a:pt x="1948755" y="1583837"/>
                </a:lnTo>
                <a:cubicBezTo>
                  <a:pt x="1949891" y="1582753"/>
                  <a:pt x="1950923" y="1579810"/>
                  <a:pt x="1947103" y="1576402"/>
                </a:cubicBezTo>
                <a:cubicBezTo>
                  <a:pt x="1948755" y="1584457"/>
                  <a:pt x="1938533" y="1577021"/>
                  <a:pt x="1942353" y="1572995"/>
                </a:cubicBezTo>
                <a:cubicBezTo>
                  <a:pt x="1940701" y="1572375"/>
                  <a:pt x="1935848" y="1571755"/>
                  <a:pt x="1937500" y="1574698"/>
                </a:cubicBezTo>
                <a:cubicBezTo>
                  <a:pt x="1936674" y="1573769"/>
                  <a:pt x="1936158" y="1568192"/>
                  <a:pt x="1932957" y="1566334"/>
                </a:cubicBezTo>
                <a:lnTo>
                  <a:pt x="1929033" y="1566179"/>
                </a:lnTo>
                <a:lnTo>
                  <a:pt x="1929240" y="1566798"/>
                </a:lnTo>
                <a:cubicBezTo>
                  <a:pt x="1928930" y="1568192"/>
                  <a:pt x="1928104" y="1569432"/>
                  <a:pt x="1926865" y="1570052"/>
                </a:cubicBezTo>
                <a:lnTo>
                  <a:pt x="1922115" y="1567263"/>
                </a:lnTo>
                <a:lnTo>
                  <a:pt x="1922528" y="1569277"/>
                </a:lnTo>
                <a:cubicBezTo>
                  <a:pt x="1923767" y="1572995"/>
                  <a:pt x="1926142" y="1576712"/>
                  <a:pt x="1928827" y="1580274"/>
                </a:cubicBezTo>
                <a:cubicBezTo>
                  <a:pt x="1922838" y="1579190"/>
                  <a:pt x="1919637" y="1570671"/>
                  <a:pt x="1919120" y="1567263"/>
                </a:cubicBezTo>
                <a:cubicBezTo>
                  <a:pt x="1917159" y="1567108"/>
                  <a:pt x="1915300" y="1566024"/>
                  <a:pt x="1913441" y="1564475"/>
                </a:cubicBezTo>
                <a:lnTo>
                  <a:pt x="1909104" y="1560758"/>
                </a:lnTo>
                <a:lnTo>
                  <a:pt x="1910860" y="1563701"/>
                </a:lnTo>
                <a:cubicBezTo>
                  <a:pt x="1905077" y="1570206"/>
                  <a:pt x="1899398" y="1576712"/>
                  <a:pt x="1893616" y="1576712"/>
                </a:cubicBezTo>
                <a:cubicBezTo>
                  <a:pt x="1889796" y="1572375"/>
                  <a:pt x="1887317" y="1567418"/>
                  <a:pt x="1886801" y="1562307"/>
                </a:cubicBezTo>
                <a:cubicBezTo>
                  <a:pt x="1886595" y="1559673"/>
                  <a:pt x="1886801" y="1557040"/>
                  <a:pt x="1887627" y="1554407"/>
                </a:cubicBezTo>
                <a:lnTo>
                  <a:pt x="1889176" y="1551309"/>
                </a:lnTo>
                <a:lnTo>
                  <a:pt x="1881225" y="1548985"/>
                </a:lnTo>
                <a:cubicBezTo>
                  <a:pt x="1881638" y="1542944"/>
                  <a:pt x="1885356" y="1547282"/>
                  <a:pt x="1888350" y="1549295"/>
                </a:cubicBezTo>
                <a:lnTo>
                  <a:pt x="1889899" y="1549760"/>
                </a:lnTo>
                <a:lnTo>
                  <a:pt x="1890931" y="1547591"/>
                </a:lnTo>
                <a:lnTo>
                  <a:pt x="1888453" y="1546352"/>
                </a:lnTo>
                <a:cubicBezTo>
                  <a:pt x="1886285" y="1545423"/>
                  <a:pt x="1883703" y="1544494"/>
                  <a:pt x="1884013" y="1541551"/>
                </a:cubicBezTo>
                <a:cubicBezTo>
                  <a:pt x="1880193" y="1539227"/>
                  <a:pt x="1884013" y="1546662"/>
                  <a:pt x="1879676" y="1544958"/>
                </a:cubicBezTo>
                <a:cubicBezTo>
                  <a:pt x="1876372" y="1540466"/>
                  <a:pt x="1873171" y="1534116"/>
                  <a:pt x="1869867" y="1527919"/>
                </a:cubicBezTo>
                <a:lnTo>
                  <a:pt x="1867596" y="1524202"/>
                </a:lnTo>
                <a:lnTo>
                  <a:pt x="1864601" y="1523118"/>
                </a:lnTo>
                <a:cubicBezTo>
                  <a:pt x="1862536" y="1522188"/>
                  <a:pt x="1860780" y="1521104"/>
                  <a:pt x="1859541" y="1519710"/>
                </a:cubicBezTo>
                <a:lnTo>
                  <a:pt x="1863259" y="1518006"/>
                </a:lnTo>
                <a:close/>
                <a:moveTo>
                  <a:pt x="1045572" y="1513050"/>
                </a:moveTo>
                <a:cubicBezTo>
                  <a:pt x="1046399" y="1512895"/>
                  <a:pt x="1046502" y="1513824"/>
                  <a:pt x="1047431" y="1514444"/>
                </a:cubicBezTo>
                <a:cubicBezTo>
                  <a:pt x="1047431" y="1515373"/>
                  <a:pt x="1046605" y="1516148"/>
                  <a:pt x="1046605" y="1516148"/>
                </a:cubicBezTo>
                <a:cubicBezTo>
                  <a:pt x="1045779" y="1517231"/>
                  <a:pt x="1045779" y="1517231"/>
                  <a:pt x="1046708" y="1517851"/>
                </a:cubicBezTo>
                <a:cubicBezTo>
                  <a:pt x="1046708" y="1517851"/>
                  <a:pt x="1045883" y="1518006"/>
                  <a:pt x="1045883" y="1518006"/>
                </a:cubicBezTo>
                <a:cubicBezTo>
                  <a:pt x="1045883" y="1517541"/>
                  <a:pt x="1045883" y="1517541"/>
                  <a:pt x="1045779" y="1517851"/>
                </a:cubicBezTo>
                <a:lnTo>
                  <a:pt x="1045263" y="1518471"/>
                </a:lnTo>
                <a:lnTo>
                  <a:pt x="1047638" y="1519090"/>
                </a:lnTo>
                <a:cubicBezTo>
                  <a:pt x="1051149" y="1522343"/>
                  <a:pt x="1047948" y="1531018"/>
                  <a:pt x="1043714" y="1531637"/>
                </a:cubicBezTo>
                <a:cubicBezTo>
                  <a:pt x="1041339" y="1530708"/>
                  <a:pt x="1038964" y="1529778"/>
                  <a:pt x="1036693" y="1528849"/>
                </a:cubicBezTo>
                <a:cubicBezTo>
                  <a:pt x="1035247" y="1526990"/>
                  <a:pt x="1034628" y="1525131"/>
                  <a:pt x="1034834" y="1523273"/>
                </a:cubicBezTo>
                <a:cubicBezTo>
                  <a:pt x="1035040" y="1521569"/>
                  <a:pt x="1035866" y="1519865"/>
                  <a:pt x="1037312" y="1518781"/>
                </a:cubicBezTo>
                <a:cubicBezTo>
                  <a:pt x="1038345" y="1518006"/>
                  <a:pt x="1039584" y="1517541"/>
                  <a:pt x="1040926" y="1517386"/>
                </a:cubicBezTo>
                <a:lnTo>
                  <a:pt x="1041133" y="1517541"/>
                </a:lnTo>
                <a:lnTo>
                  <a:pt x="1040306" y="1516302"/>
                </a:lnTo>
                <a:cubicBezTo>
                  <a:pt x="1039997" y="1515683"/>
                  <a:pt x="1039894" y="1515063"/>
                  <a:pt x="1040306" y="1514598"/>
                </a:cubicBezTo>
                <a:cubicBezTo>
                  <a:pt x="1041236" y="1514444"/>
                  <a:pt x="1041236" y="1513669"/>
                  <a:pt x="1042062" y="1513514"/>
                </a:cubicBezTo>
                <a:cubicBezTo>
                  <a:pt x="1043817" y="1512430"/>
                  <a:pt x="1044643" y="1512275"/>
                  <a:pt x="1045572" y="1513050"/>
                </a:cubicBezTo>
                <a:close/>
                <a:moveTo>
                  <a:pt x="3789908" y="1513030"/>
                </a:moveTo>
                <a:cubicBezTo>
                  <a:pt x="3790975" y="1513172"/>
                  <a:pt x="3792042" y="1513457"/>
                  <a:pt x="3792896" y="1513599"/>
                </a:cubicBezTo>
                <a:cubicBezTo>
                  <a:pt x="3793749" y="1513030"/>
                  <a:pt x="3795243" y="1513314"/>
                  <a:pt x="3795884" y="1514310"/>
                </a:cubicBezTo>
                <a:cubicBezTo>
                  <a:pt x="3795884" y="1514310"/>
                  <a:pt x="3797377" y="1514737"/>
                  <a:pt x="3798444" y="1514025"/>
                </a:cubicBezTo>
                <a:cubicBezTo>
                  <a:pt x="3801432" y="1514879"/>
                  <a:pt x="3802073" y="1515875"/>
                  <a:pt x="3802499" y="1516871"/>
                </a:cubicBezTo>
                <a:cubicBezTo>
                  <a:pt x="3802499" y="1516871"/>
                  <a:pt x="3801006" y="1516444"/>
                  <a:pt x="3799939" y="1517156"/>
                </a:cubicBezTo>
                <a:cubicBezTo>
                  <a:pt x="3799939" y="1517156"/>
                  <a:pt x="3798444" y="1516729"/>
                  <a:pt x="3796951" y="1516444"/>
                </a:cubicBezTo>
                <a:cubicBezTo>
                  <a:pt x="3796951" y="1516444"/>
                  <a:pt x="3795884" y="1517013"/>
                  <a:pt x="3794816" y="1517582"/>
                </a:cubicBezTo>
                <a:cubicBezTo>
                  <a:pt x="3790761" y="1517582"/>
                  <a:pt x="3788201" y="1517867"/>
                  <a:pt x="3787133" y="1513172"/>
                </a:cubicBezTo>
                <a:cubicBezTo>
                  <a:pt x="3787560" y="1512887"/>
                  <a:pt x="3788627" y="1512887"/>
                  <a:pt x="3789908" y="1513030"/>
                </a:cubicBezTo>
                <a:close/>
                <a:moveTo>
                  <a:pt x="5394397" y="1512034"/>
                </a:moveTo>
                <a:cubicBezTo>
                  <a:pt x="5396959" y="1512603"/>
                  <a:pt x="5400800" y="1513030"/>
                  <a:pt x="5402080" y="1516017"/>
                </a:cubicBezTo>
                <a:cubicBezTo>
                  <a:pt x="5402508" y="1517013"/>
                  <a:pt x="5402721" y="1518294"/>
                  <a:pt x="5402508" y="1520001"/>
                </a:cubicBezTo>
                <a:cubicBezTo>
                  <a:pt x="5403148" y="1520997"/>
                  <a:pt x="5399947" y="1524411"/>
                  <a:pt x="5398452" y="1523984"/>
                </a:cubicBezTo>
                <a:cubicBezTo>
                  <a:pt x="5394184" y="1523842"/>
                  <a:pt x="5394184" y="1519574"/>
                  <a:pt x="5392264" y="1514879"/>
                </a:cubicBezTo>
                <a:cubicBezTo>
                  <a:pt x="5393971" y="1515306"/>
                  <a:pt x="5394184" y="1513741"/>
                  <a:pt x="5394397" y="1512034"/>
                </a:cubicBezTo>
                <a:close/>
                <a:moveTo>
                  <a:pt x="1165143" y="1511965"/>
                </a:moveTo>
                <a:cubicBezTo>
                  <a:pt x="1166072" y="1511655"/>
                  <a:pt x="1167105" y="1511655"/>
                  <a:pt x="1168344" y="1511965"/>
                </a:cubicBezTo>
                <a:cubicBezTo>
                  <a:pt x="1167828" y="1515373"/>
                  <a:pt x="1167828" y="1518316"/>
                  <a:pt x="1168138" y="1521104"/>
                </a:cubicBezTo>
                <a:lnTo>
                  <a:pt x="1168344" y="1523583"/>
                </a:lnTo>
                <a:lnTo>
                  <a:pt x="1170513" y="1521879"/>
                </a:lnTo>
                <a:cubicBezTo>
                  <a:pt x="1171958" y="1521259"/>
                  <a:pt x="1173920" y="1520949"/>
                  <a:pt x="1176398" y="1521414"/>
                </a:cubicBezTo>
                <a:cubicBezTo>
                  <a:pt x="1181974" y="1522498"/>
                  <a:pt x="1187653" y="1525286"/>
                  <a:pt x="1186104" y="1533961"/>
                </a:cubicBezTo>
                <a:cubicBezTo>
                  <a:pt x="1186311" y="1535819"/>
                  <a:pt x="1185898" y="1535045"/>
                  <a:pt x="1185588" y="1536284"/>
                </a:cubicBezTo>
                <a:cubicBezTo>
                  <a:pt x="1185382" y="1537368"/>
                  <a:pt x="1185485" y="1539227"/>
                  <a:pt x="1185898" y="1540001"/>
                </a:cubicBezTo>
                <a:cubicBezTo>
                  <a:pt x="1181561" y="1539227"/>
                  <a:pt x="1181458" y="1542325"/>
                  <a:pt x="1174746" y="1540931"/>
                </a:cubicBezTo>
                <a:cubicBezTo>
                  <a:pt x="1168138" y="1539847"/>
                  <a:pt x="1165557" y="1536284"/>
                  <a:pt x="1164834" y="1532721"/>
                </a:cubicBezTo>
                <a:lnTo>
                  <a:pt x="1164730" y="1529933"/>
                </a:lnTo>
                <a:lnTo>
                  <a:pt x="1162149" y="1529159"/>
                </a:lnTo>
                <a:cubicBezTo>
                  <a:pt x="1165040" y="1523892"/>
                  <a:pt x="1160187" y="1522653"/>
                  <a:pt x="1158638" y="1520020"/>
                </a:cubicBezTo>
                <a:cubicBezTo>
                  <a:pt x="1158122" y="1519090"/>
                  <a:pt x="1158019" y="1518006"/>
                  <a:pt x="1158638" y="1516612"/>
                </a:cubicBezTo>
                <a:cubicBezTo>
                  <a:pt x="1160703" y="1515063"/>
                  <a:pt x="1162252" y="1512740"/>
                  <a:pt x="1165143" y="1511965"/>
                </a:cubicBezTo>
                <a:close/>
                <a:moveTo>
                  <a:pt x="1088643" y="1511810"/>
                </a:moveTo>
                <a:cubicBezTo>
                  <a:pt x="1089534" y="1511423"/>
                  <a:pt x="1090386" y="1511268"/>
                  <a:pt x="1091728" y="1512740"/>
                </a:cubicBezTo>
                <a:cubicBezTo>
                  <a:pt x="1092141" y="1514444"/>
                  <a:pt x="1091831" y="1516302"/>
                  <a:pt x="1089766" y="1518471"/>
                </a:cubicBezTo>
                <a:lnTo>
                  <a:pt x="1088218" y="1517851"/>
                </a:lnTo>
                <a:lnTo>
                  <a:pt x="1088321" y="1518006"/>
                </a:lnTo>
                <a:cubicBezTo>
                  <a:pt x="1088011" y="1519400"/>
                  <a:pt x="1087082" y="1520484"/>
                  <a:pt x="1085843" y="1521569"/>
                </a:cubicBezTo>
                <a:cubicBezTo>
                  <a:pt x="1083468" y="1523428"/>
                  <a:pt x="1079854" y="1524357"/>
                  <a:pt x="1077169" y="1523273"/>
                </a:cubicBezTo>
                <a:cubicBezTo>
                  <a:pt x="1077789" y="1518471"/>
                  <a:pt x="1079131" y="1515063"/>
                  <a:pt x="1082848" y="1513979"/>
                </a:cubicBezTo>
                <a:lnTo>
                  <a:pt x="1085533" y="1513824"/>
                </a:lnTo>
                <a:lnTo>
                  <a:pt x="1085326" y="1512275"/>
                </a:lnTo>
                <a:cubicBezTo>
                  <a:pt x="1086824" y="1512817"/>
                  <a:pt x="1087753" y="1512197"/>
                  <a:pt x="1088643" y="1511810"/>
                </a:cubicBezTo>
                <a:close/>
                <a:moveTo>
                  <a:pt x="5106281" y="1511465"/>
                </a:moveTo>
                <a:lnTo>
                  <a:pt x="5105213" y="1511607"/>
                </a:lnTo>
                <a:lnTo>
                  <a:pt x="5105427" y="1511749"/>
                </a:lnTo>
                <a:close/>
                <a:moveTo>
                  <a:pt x="5676325" y="1510895"/>
                </a:moveTo>
                <a:cubicBezTo>
                  <a:pt x="5677605" y="1511038"/>
                  <a:pt x="5679100" y="1511607"/>
                  <a:pt x="5680593" y="1512603"/>
                </a:cubicBezTo>
                <a:cubicBezTo>
                  <a:pt x="5677819" y="1516586"/>
                  <a:pt x="5676325" y="1520428"/>
                  <a:pt x="5675045" y="1524269"/>
                </a:cubicBezTo>
                <a:lnTo>
                  <a:pt x="5673977" y="1527399"/>
                </a:lnTo>
                <a:lnTo>
                  <a:pt x="5677605" y="1526403"/>
                </a:lnTo>
                <a:cubicBezTo>
                  <a:pt x="5679953" y="1526403"/>
                  <a:pt x="5682301" y="1527114"/>
                  <a:pt x="5685289" y="1528964"/>
                </a:cubicBezTo>
                <a:cubicBezTo>
                  <a:pt x="5691691" y="1533517"/>
                  <a:pt x="5697240" y="1540345"/>
                  <a:pt x="5690624" y="1550304"/>
                </a:cubicBezTo>
                <a:cubicBezTo>
                  <a:pt x="5689771" y="1552865"/>
                  <a:pt x="5689557" y="1551585"/>
                  <a:pt x="5688704" y="1552865"/>
                </a:cubicBezTo>
                <a:cubicBezTo>
                  <a:pt x="5687636" y="1554145"/>
                  <a:pt x="5686783" y="1556564"/>
                  <a:pt x="5686996" y="1557702"/>
                </a:cubicBezTo>
                <a:cubicBezTo>
                  <a:pt x="5681874" y="1554430"/>
                  <a:pt x="5680167" y="1558129"/>
                  <a:pt x="5672484" y="1552580"/>
                </a:cubicBezTo>
                <a:cubicBezTo>
                  <a:pt x="5664800" y="1547601"/>
                  <a:pt x="5663520" y="1541626"/>
                  <a:pt x="5664374" y="1536789"/>
                </a:cubicBezTo>
                <a:lnTo>
                  <a:pt x="5665867" y="1533232"/>
                </a:lnTo>
                <a:lnTo>
                  <a:pt x="5663093" y="1530813"/>
                </a:lnTo>
                <a:cubicBezTo>
                  <a:pt x="5671843" y="1524127"/>
                  <a:pt x="5659038" y="1518720"/>
                  <a:pt x="5665654" y="1513172"/>
                </a:cubicBezTo>
                <a:cubicBezTo>
                  <a:pt x="5669069" y="1512318"/>
                  <a:pt x="5672484" y="1510327"/>
                  <a:pt x="5676325" y="1510895"/>
                </a:cubicBezTo>
                <a:close/>
                <a:moveTo>
                  <a:pt x="4715509" y="1510895"/>
                </a:moveTo>
                <a:cubicBezTo>
                  <a:pt x="4717217" y="1510469"/>
                  <a:pt x="4719351" y="1510611"/>
                  <a:pt x="4721058" y="1511180"/>
                </a:cubicBezTo>
                <a:cubicBezTo>
                  <a:pt x="4719991" y="1511180"/>
                  <a:pt x="4719991" y="1511180"/>
                  <a:pt x="4719991" y="1511180"/>
                </a:cubicBezTo>
                <a:cubicBezTo>
                  <a:pt x="4718924" y="1512461"/>
                  <a:pt x="4719991" y="1512461"/>
                  <a:pt x="4720205" y="1513599"/>
                </a:cubicBezTo>
                <a:cubicBezTo>
                  <a:pt x="4720205" y="1513599"/>
                  <a:pt x="4719991" y="1512461"/>
                  <a:pt x="4721271" y="1513599"/>
                </a:cubicBezTo>
                <a:cubicBezTo>
                  <a:pt x="4720205" y="1513599"/>
                  <a:pt x="4720418" y="1514879"/>
                  <a:pt x="4720631" y="1516017"/>
                </a:cubicBezTo>
                <a:cubicBezTo>
                  <a:pt x="4718497" y="1518578"/>
                  <a:pt x="4715509" y="1521281"/>
                  <a:pt x="4712948" y="1520143"/>
                </a:cubicBezTo>
                <a:cubicBezTo>
                  <a:pt x="4710387" y="1517867"/>
                  <a:pt x="4711027" y="1515306"/>
                  <a:pt x="4712095" y="1514025"/>
                </a:cubicBezTo>
                <a:cubicBezTo>
                  <a:pt x="4712522" y="1512318"/>
                  <a:pt x="4713802" y="1511322"/>
                  <a:pt x="4715509" y="1510895"/>
                </a:cubicBezTo>
                <a:close/>
                <a:moveTo>
                  <a:pt x="1806674" y="1510106"/>
                </a:moveTo>
                <a:cubicBezTo>
                  <a:pt x="1807810" y="1510726"/>
                  <a:pt x="1808636" y="1510571"/>
                  <a:pt x="1808533" y="1512275"/>
                </a:cubicBezTo>
                <a:cubicBezTo>
                  <a:pt x="1808842" y="1513205"/>
                  <a:pt x="1808327" y="1514134"/>
                  <a:pt x="1808739" y="1514908"/>
                </a:cubicBezTo>
                <a:cubicBezTo>
                  <a:pt x="1808739" y="1514908"/>
                  <a:pt x="1808120" y="1515373"/>
                  <a:pt x="1807500" y="1515683"/>
                </a:cubicBezTo>
                <a:cubicBezTo>
                  <a:pt x="1806777" y="1515993"/>
                  <a:pt x="1806055" y="1516302"/>
                  <a:pt x="1805435" y="1515993"/>
                </a:cubicBezTo>
                <a:cubicBezTo>
                  <a:pt x="1804506" y="1515838"/>
                  <a:pt x="1804403" y="1514908"/>
                  <a:pt x="1804403" y="1513979"/>
                </a:cubicBezTo>
                <a:cubicBezTo>
                  <a:pt x="1804506" y="1513050"/>
                  <a:pt x="1804816" y="1512120"/>
                  <a:pt x="1804609" y="1511655"/>
                </a:cubicBezTo>
                <a:cubicBezTo>
                  <a:pt x="1804816" y="1511191"/>
                  <a:pt x="1805126" y="1510726"/>
                  <a:pt x="1805435" y="1510416"/>
                </a:cubicBezTo>
                <a:cubicBezTo>
                  <a:pt x="1805745" y="1509951"/>
                  <a:pt x="1806158" y="1509797"/>
                  <a:pt x="1806674" y="1510106"/>
                </a:cubicBezTo>
                <a:close/>
                <a:moveTo>
                  <a:pt x="3648411" y="1509615"/>
                </a:moveTo>
                <a:cubicBezTo>
                  <a:pt x="3647770" y="1511180"/>
                  <a:pt x="3647770" y="1511180"/>
                  <a:pt x="3647983" y="1512461"/>
                </a:cubicBezTo>
                <a:cubicBezTo>
                  <a:pt x="3647983" y="1512461"/>
                  <a:pt x="3646703" y="1511465"/>
                  <a:pt x="3646703" y="1511465"/>
                </a:cubicBezTo>
                <a:cubicBezTo>
                  <a:pt x="3647343" y="1509900"/>
                  <a:pt x="3646276" y="1510327"/>
                  <a:pt x="3648411" y="1509615"/>
                </a:cubicBezTo>
                <a:close/>
                <a:moveTo>
                  <a:pt x="3690667" y="1508904"/>
                </a:moveTo>
                <a:lnTo>
                  <a:pt x="3696003" y="1514879"/>
                </a:lnTo>
                <a:lnTo>
                  <a:pt x="3698991" y="1514310"/>
                </a:lnTo>
                <a:cubicBezTo>
                  <a:pt x="3700485" y="1514879"/>
                  <a:pt x="3701765" y="1516160"/>
                  <a:pt x="3703259" y="1518151"/>
                </a:cubicBezTo>
                <a:cubicBezTo>
                  <a:pt x="3701552" y="1519005"/>
                  <a:pt x="3700058" y="1519147"/>
                  <a:pt x="3698564" y="1518578"/>
                </a:cubicBezTo>
                <a:lnTo>
                  <a:pt x="3698137" y="1518294"/>
                </a:lnTo>
                <a:lnTo>
                  <a:pt x="3701765" y="1524553"/>
                </a:lnTo>
                <a:cubicBezTo>
                  <a:pt x="3703259" y="1527399"/>
                  <a:pt x="3704753" y="1529960"/>
                  <a:pt x="3707101" y="1531809"/>
                </a:cubicBezTo>
                <a:cubicBezTo>
                  <a:pt x="3707101" y="1531809"/>
                  <a:pt x="3707101" y="1531809"/>
                  <a:pt x="3706461" y="1535081"/>
                </a:cubicBezTo>
                <a:cubicBezTo>
                  <a:pt x="3707101" y="1536077"/>
                  <a:pt x="3707314" y="1536077"/>
                  <a:pt x="3707314" y="1536077"/>
                </a:cubicBezTo>
                <a:cubicBezTo>
                  <a:pt x="3707955" y="1537216"/>
                  <a:pt x="3706034" y="1538354"/>
                  <a:pt x="3706034" y="1538354"/>
                </a:cubicBezTo>
                <a:cubicBezTo>
                  <a:pt x="3703473" y="1538638"/>
                  <a:pt x="3702405" y="1534939"/>
                  <a:pt x="3700912" y="1532805"/>
                </a:cubicBezTo>
                <a:cubicBezTo>
                  <a:pt x="3698351" y="1533090"/>
                  <a:pt x="3700272" y="1527541"/>
                  <a:pt x="3697710" y="1527825"/>
                </a:cubicBezTo>
                <a:cubicBezTo>
                  <a:pt x="3698778" y="1521139"/>
                  <a:pt x="3690667" y="1519147"/>
                  <a:pt x="3690667" y="1508904"/>
                </a:cubicBezTo>
                <a:close/>
                <a:moveTo>
                  <a:pt x="5754437" y="1508193"/>
                </a:moveTo>
                <a:cubicBezTo>
                  <a:pt x="5765535" y="1511607"/>
                  <a:pt x="5775352" y="1540061"/>
                  <a:pt x="5764254" y="1545894"/>
                </a:cubicBezTo>
                <a:cubicBezTo>
                  <a:pt x="5761906" y="1532094"/>
                  <a:pt x="5754223" y="1524127"/>
                  <a:pt x="5754437" y="1508193"/>
                </a:cubicBezTo>
                <a:close/>
                <a:moveTo>
                  <a:pt x="3571153" y="1508193"/>
                </a:moveTo>
                <a:cubicBezTo>
                  <a:pt x="3578195" y="1511892"/>
                  <a:pt x="3571579" y="1518578"/>
                  <a:pt x="3568165" y="1518294"/>
                </a:cubicBezTo>
                <a:cubicBezTo>
                  <a:pt x="3562189" y="1514595"/>
                  <a:pt x="3567524" y="1508050"/>
                  <a:pt x="3571153" y="1508193"/>
                </a:cubicBezTo>
                <a:close/>
                <a:moveTo>
                  <a:pt x="989827" y="1507938"/>
                </a:moveTo>
                <a:cubicBezTo>
                  <a:pt x="992835" y="1508170"/>
                  <a:pt x="996423" y="1509254"/>
                  <a:pt x="999107" y="1509487"/>
                </a:cubicBezTo>
                <a:cubicBezTo>
                  <a:pt x="999830" y="1513050"/>
                  <a:pt x="999624" y="1514289"/>
                  <a:pt x="997971" y="1517696"/>
                </a:cubicBezTo>
                <a:cubicBezTo>
                  <a:pt x="992189" y="1519090"/>
                  <a:pt x="988266" y="1516922"/>
                  <a:pt x="984239" y="1514908"/>
                </a:cubicBezTo>
                <a:cubicBezTo>
                  <a:pt x="984032" y="1513514"/>
                  <a:pt x="983929" y="1512275"/>
                  <a:pt x="984032" y="1511501"/>
                </a:cubicBezTo>
                <a:cubicBezTo>
                  <a:pt x="984393" y="1508325"/>
                  <a:pt x="986820" y="1507706"/>
                  <a:pt x="989827" y="1507938"/>
                </a:cubicBezTo>
                <a:close/>
                <a:moveTo>
                  <a:pt x="1645181" y="1507783"/>
                </a:moveTo>
                <a:cubicBezTo>
                  <a:pt x="1646317" y="1507473"/>
                  <a:pt x="1649415" y="1506854"/>
                  <a:pt x="1649725" y="1508093"/>
                </a:cubicBezTo>
                <a:cubicBezTo>
                  <a:pt x="1650344" y="1510262"/>
                  <a:pt x="1649828" y="1512895"/>
                  <a:pt x="1648692" y="1513205"/>
                </a:cubicBezTo>
                <a:cubicBezTo>
                  <a:pt x="1646937" y="1513824"/>
                  <a:pt x="1645078" y="1514444"/>
                  <a:pt x="1643942" y="1513359"/>
                </a:cubicBezTo>
                <a:cubicBezTo>
                  <a:pt x="1643530" y="1513050"/>
                  <a:pt x="1643220" y="1512430"/>
                  <a:pt x="1642910" y="1511501"/>
                </a:cubicBezTo>
                <a:cubicBezTo>
                  <a:pt x="1642910" y="1511501"/>
                  <a:pt x="1642910" y="1511501"/>
                  <a:pt x="1643426" y="1510726"/>
                </a:cubicBezTo>
                <a:cubicBezTo>
                  <a:pt x="1644252" y="1509332"/>
                  <a:pt x="1644665" y="1508558"/>
                  <a:pt x="1645181" y="1507783"/>
                </a:cubicBezTo>
                <a:close/>
                <a:moveTo>
                  <a:pt x="1285230" y="1507008"/>
                </a:moveTo>
                <a:lnTo>
                  <a:pt x="1290290" y="1511965"/>
                </a:lnTo>
                <a:lnTo>
                  <a:pt x="1294420" y="1510881"/>
                </a:lnTo>
                <a:cubicBezTo>
                  <a:pt x="1293801" y="1513205"/>
                  <a:pt x="1299067" y="1514598"/>
                  <a:pt x="1298137" y="1518161"/>
                </a:cubicBezTo>
                <a:cubicBezTo>
                  <a:pt x="1296589" y="1528849"/>
                  <a:pt x="1293388" y="1529004"/>
                  <a:pt x="1286676" y="1530553"/>
                </a:cubicBezTo>
                <a:cubicBezTo>
                  <a:pt x="1287502" y="1530088"/>
                  <a:pt x="1286263" y="1529778"/>
                  <a:pt x="1286263" y="1529778"/>
                </a:cubicBezTo>
                <a:cubicBezTo>
                  <a:pt x="1283888" y="1529468"/>
                  <a:pt x="1285850" y="1534116"/>
                  <a:pt x="1282649" y="1534270"/>
                </a:cubicBezTo>
                <a:cubicBezTo>
                  <a:pt x="1277590" y="1533961"/>
                  <a:pt x="1275628" y="1528229"/>
                  <a:pt x="1274801" y="1525131"/>
                </a:cubicBezTo>
                <a:lnTo>
                  <a:pt x="1274698" y="1524512"/>
                </a:lnTo>
                <a:lnTo>
                  <a:pt x="1273872" y="1523737"/>
                </a:lnTo>
                <a:lnTo>
                  <a:pt x="1273666" y="1523892"/>
                </a:lnTo>
                <a:lnTo>
                  <a:pt x="1273666" y="1523583"/>
                </a:lnTo>
                <a:lnTo>
                  <a:pt x="1272220" y="1522033"/>
                </a:lnTo>
                <a:lnTo>
                  <a:pt x="1273459" y="1520949"/>
                </a:lnTo>
                <a:lnTo>
                  <a:pt x="1273769" y="1518316"/>
                </a:lnTo>
                <a:cubicBezTo>
                  <a:pt x="1274079" y="1517541"/>
                  <a:pt x="1274698" y="1517077"/>
                  <a:pt x="1275834" y="1517231"/>
                </a:cubicBezTo>
                <a:cubicBezTo>
                  <a:pt x="1277796" y="1516922"/>
                  <a:pt x="1277899" y="1518935"/>
                  <a:pt x="1280377" y="1519245"/>
                </a:cubicBezTo>
                <a:cubicBezTo>
                  <a:pt x="1282546" y="1519245"/>
                  <a:pt x="1283888" y="1517077"/>
                  <a:pt x="1285747" y="1515063"/>
                </a:cubicBezTo>
                <a:lnTo>
                  <a:pt x="1288225" y="1512895"/>
                </a:lnTo>
                <a:lnTo>
                  <a:pt x="1287089" y="1513205"/>
                </a:lnTo>
                <a:cubicBezTo>
                  <a:pt x="1282959" y="1513669"/>
                  <a:pt x="1277383" y="1512275"/>
                  <a:pt x="1276247" y="1507318"/>
                </a:cubicBezTo>
                <a:cubicBezTo>
                  <a:pt x="1280274" y="1505460"/>
                  <a:pt x="1283062" y="1505769"/>
                  <a:pt x="1285230" y="1507008"/>
                </a:cubicBezTo>
                <a:close/>
                <a:moveTo>
                  <a:pt x="1674093" y="1506389"/>
                </a:moveTo>
                <a:cubicBezTo>
                  <a:pt x="1674609" y="1508248"/>
                  <a:pt x="1676468" y="1509022"/>
                  <a:pt x="1675745" y="1511810"/>
                </a:cubicBezTo>
                <a:cubicBezTo>
                  <a:pt x="1673267" y="1511501"/>
                  <a:pt x="1671408" y="1510726"/>
                  <a:pt x="1669034" y="1510571"/>
                </a:cubicBezTo>
                <a:cubicBezTo>
                  <a:pt x="1668724" y="1509642"/>
                  <a:pt x="1668724" y="1508867"/>
                  <a:pt x="1668931" y="1508402"/>
                </a:cubicBezTo>
                <a:cubicBezTo>
                  <a:pt x="1669137" y="1507938"/>
                  <a:pt x="1669550" y="1507473"/>
                  <a:pt x="1670066" y="1507318"/>
                </a:cubicBezTo>
                <a:cubicBezTo>
                  <a:pt x="1671099" y="1506698"/>
                  <a:pt x="1672544" y="1506544"/>
                  <a:pt x="1674093" y="1506389"/>
                </a:cubicBezTo>
                <a:close/>
                <a:moveTo>
                  <a:pt x="1522513" y="1506079"/>
                </a:moveTo>
                <a:cubicBezTo>
                  <a:pt x="1524268" y="1505460"/>
                  <a:pt x="1526643" y="1506079"/>
                  <a:pt x="1528296" y="1508712"/>
                </a:cubicBezTo>
                <a:cubicBezTo>
                  <a:pt x="1525921" y="1512585"/>
                  <a:pt x="1523442" y="1513050"/>
                  <a:pt x="1520551" y="1511965"/>
                </a:cubicBezTo>
                <a:cubicBezTo>
                  <a:pt x="1519726" y="1509022"/>
                  <a:pt x="1520861" y="1506854"/>
                  <a:pt x="1522513" y="1506079"/>
                </a:cubicBezTo>
                <a:close/>
                <a:moveTo>
                  <a:pt x="4857006" y="1506058"/>
                </a:moveTo>
                <a:cubicBezTo>
                  <a:pt x="4858501" y="1506486"/>
                  <a:pt x="4859994" y="1508193"/>
                  <a:pt x="4860635" y="1509900"/>
                </a:cubicBezTo>
                <a:cubicBezTo>
                  <a:pt x="4861061" y="1511038"/>
                  <a:pt x="4861488" y="1512176"/>
                  <a:pt x="4861275" y="1513172"/>
                </a:cubicBezTo>
                <a:cubicBezTo>
                  <a:pt x="4857006" y="1518863"/>
                  <a:pt x="4851458" y="1512318"/>
                  <a:pt x="4851885" y="1508620"/>
                </a:cubicBezTo>
                <a:cubicBezTo>
                  <a:pt x="4853592" y="1506058"/>
                  <a:pt x="4855513" y="1505489"/>
                  <a:pt x="4857006" y="1506058"/>
                </a:cubicBezTo>
                <a:close/>
                <a:moveTo>
                  <a:pt x="1027503" y="1505924"/>
                </a:moveTo>
                <a:cubicBezTo>
                  <a:pt x="1032253" y="1511036"/>
                  <a:pt x="1035350" y="1512430"/>
                  <a:pt x="1038551" y="1516922"/>
                </a:cubicBezTo>
                <a:cubicBezTo>
                  <a:pt x="1038138" y="1517696"/>
                  <a:pt x="1037312" y="1517386"/>
                  <a:pt x="1036899" y="1518161"/>
                </a:cubicBezTo>
                <a:cubicBezTo>
                  <a:pt x="1036280" y="1518316"/>
                  <a:pt x="1035454" y="1518161"/>
                  <a:pt x="1034628" y="1517696"/>
                </a:cubicBezTo>
                <a:cubicBezTo>
                  <a:pt x="1031840" y="1516302"/>
                  <a:pt x="1028329" y="1512895"/>
                  <a:pt x="1028638" y="1512275"/>
                </a:cubicBezTo>
                <a:cubicBezTo>
                  <a:pt x="1027916" y="1511965"/>
                  <a:pt x="1028329" y="1511191"/>
                  <a:pt x="1027503" y="1510881"/>
                </a:cubicBezTo>
                <a:cubicBezTo>
                  <a:pt x="1027503" y="1510881"/>
                  <a:pt x="1026780" y="1510571"/>
                  <a:pt x="1026470" y="1509332"/>
                </a:cubicBezTo>
                <a:cubicBezTo>
                  <a:pt x="1026264" y="1508867"/>
                  <a:pt x="1026057" y="1508248"/>
                  <a:pt x="1026161" y="1507628"/>
                </a:cubicBezTo>
                <a:cubicBezTo>
                  <a:pt x="1026264" y="1507163"/>
                  <a:pt x="1026677" y="1506544"/>
                  <a:pt x="1027503" y="1505924"/>
                </a:cubicBezTo>
                <a:close/>
                <a:moveTo>
                  <a:pt x="4658953" y="1505916"/>
                </a:moveTo>
                <a:cubicBezTo>
                  <a:pt x="4659593" y="1505632"/>
                  <a:pt x="4660447" y="1505632"/>
                  <a:pt x="4661087" y="1506201"/>
                </a:cubicBezTo>
                <a:cubicBezTo>
                  <a:pt x="4658953" y="1508762"/>
                  <a:pt x="4657459" y="1513741"/>
                  <a:pt x="4652764" y="1512745"/>
                </a:cubicBezTo>
                <a:cubicBezTo>
                  <a:pt x="4654258" y="1510895"/>
                  <a:pt x="4656605" y="1506770"/>
                  <a:pt x="4658953" y="1505916"/>
                </a:cubicBezTo>
                <a:close/>
                <a:moveTo>
                  <a:pt x="4238302" y="1505916"/>
                </a:moveTo>
                <a:cubicBezTo>
                  <a:pt x="4241931" y="1505489"/>
                  <a:pt x="4244705" y="1508620"/>
                  <a:pt x="4247693" y="1512461"/>
                </a:cubicBezTo>
                <a:cubicBezTo>
                  <a:pt x="4246199" y="1514737"/>
                  <a:pt x="4245772" y="1517156"/>
                  <a:pt x="4244065" y="1519432"/>
                </a:cubicBezTo>
                <a:cubicBezTo>
                  <a:pt x="4240437" y="1520854"/>
                  <a:pt x="4232967" y="1517298"/>
                  <a:pt x="4232327" y="1512603"/>
                </a:cubicBezTo>
                <a:cubicBezTo>
                  <a:pt x="4232327" y="1511038"/>
                  <a:pt x="4232754" y="1509330"/>
                  <a:pt x="4234461" y="1507766"/>
                </a:cubicBezTo>
                <a:cubicBezTo>
                  <a:pt x="4235741" y="1506628"/>
                  <a:pt x="4237022" y="1506058"/>
                  <a:pt x="4238302" y="1505916"/>
                </a:cubicBezTo>
                <a:close/>
                <a:moveTo>
                  <a:pt x="3719479" y="1505347"/>
                </a:moveTo>
                <a:cubicBezTo>
                  <a:pt x="3719266" y="1506343"/>
                  <a:pt x="3718626" y="1507481"/>
                  <a:pt x="3717772" y="1508620"/>
                </a:cubicBezTo>
                <a:cubicBezTo>
                  <a:pt x="3714571" y="1511892"/>
                  <a:pt x="3708168" y="1515022"/>
                  <a:pt x="3704540" y="1516017"/>
                </a:cubicBezTo>
                <a:cubicBezTo>
                  <a:pt x="3704753" y="1511749"/>
                  <a:pt x="3714571" y="1506628"/>
                  <a:pt x="3719479" y="1505347"/>
                </a:cubicBezTo>
                <a:close/>
                <a:moveTo>
                  <a:pt x="4130312" y="1504920"/>
                </a:moveTo>
                <a:cubicBezTo>
                  <a:pt x="4131380" y="1504920"/>
                  <a:pt x="4132660" y="1504920"/>
                  <a:pt x="4133940" y="1506201"/>
                </a:cubicBezTo>
                <a:cubicBezTo>
                  <a:pt x="4135008" y="1507481"/>
                  <a:pt x="4133727" y="1507339"/>
                  <a:pt x="4135008" y="1507481"/>
                </a:cubicBezTo>
                <a:cubicBezTo>
                  <a:pt x="4136288" y="1508620"/>
                  <a:pt x="4136075" y="1507481"/>
                  <a:pt x="4136075" y="1507481"/>
                </a:cubicBezTo>
                <a:cubicBezTo>
                  <a:pt x="4136075" y="1507481"/>
                  <a:pt x="4136288" y="1508620"/>
                  <a:pt x="4136288" y="1508620"/>
                </a:cubicBezTo>
                <a:cubicBezTo>
                  <a:pt x="4136288" y="1508620"/>
                  <a:pt x="4136288" y="1508620"/>
                  <a:pt x="4138636" y="1511180"/>
                </a:cubicBezTo>
                <a:cubicBezTo>
                  <a:pt x="4142264" y="1513741"/>
                  <a:pt x="4143544" y="1513741"/>
                  <a:pt x="4145892" y="1515022"/>
                </a:cubicBezTo>
                <a:cubicBezTo>
                  <a:pt x="4148239" y="1517582"/>
                  <a:pt x="4148239" y="1518720"/>
                  <a:pt x="4150801" y="1522419"/>
                </a:cubicBezTo>
                <a:cubicBezTo>
                  <a:pt x="4149733" y="1524838"/>
                  <a:pt x="4149733" y="1524696"/>
                  <a:pt x="4148666" y="1524696"/>
                </a:cubicBezTo>
                <a:cubicBezTo>
                  <a:pt x="4149733" y="1524696"/>
                  <a:pt x="4149733" y="1525976"/>
                  <a:pt x="4151014" y="1527114"/>
                </a:cubicBezTo>
                <a:cubicBezTo>
                  <a:pt x="4154002" y="1529106"/>
                  <a:pt x="4154856" y="1531525"/>
                  <a:pt x="4154642" y="1534228"/>
                </a:cubicBezTo>
                <a:lnTo>
                  <a:pt x="4151654" y="1540203"/>
                </a:lnTo>
                <a:lnTo>
                  <a:pt x="4154002" y="1541483"/>
                </a:lnTo>
                <a:cubicBezTo>
                  <a:pt x="4153789" y="1543191"/>
                  <a:pt x="4154429" y="1545752"/>
                  <a:pt x="4153362" y="1548312"/>
                </a:cubicBezTo>
                <a:cubicBezTo>
                  <a:pt x="4148239" y="1551442"/>
                  <a:pt x="4144185" y="1550447"/>
                  <a:pt x="4141197" y="1546747"/>
                </a:cubicBezTo>
                <a:lnTo>
                  <a:pt x="4141837" y="1545609"/>
                </a:lnTo>
                <a:lnTo>
                  <a:pt x="4140343" y="1545325"/>
                </a:lnTo>
                <a:cubicBezTo>
                  <a:pt x="4139062" y="1545040"/>
                  <a:pt x="4137782" y="1544471"/>
                  <a:pt x="4136502" y="1543191"/>
                </a:cubicBezTo>
                <a:cubicBezTo>
                  <a:pt x="4132873" y="1539491"/>
                  <a:pt x="4130312" y="1530955"/>
                  <a:pt x="4133514" y="1527541"/>
                </a:cubicBezTo>
                <a:cubicBezTo>
                  <a:pt x="4136928" y="1522988"/>
                  <a:pt x="4140343" y="1521993"/>
                  <a:pt x="4143758" y="1522135"/>
                </a:cubicBezTo>
                <a:cubicBezTo>
                  <a:pt x="4143758" y="1522135"/>
                  <a:pt x="4143758" y="1521993"/>
                  <a:pt x="4142691" y="1521993"/>
                </a:cubicBezTo>
                <a:cubicBezTo>
                  <a:pt x="4137782" y="1517013"/>
                  <a:pt x="4129245" y="1508335"/>
                  <a:pt x="4130312" y="1504920"/>
                </a:cubicBezTo>
                <a:close/>
                <a:moveTo>
                  <a:pt x="4300835" y="1504636"/>
                </a:moveTo>
                <a:cubicBezTo>
                  <a:pt x="4301688" y="1505205"/>
                  <a:pt x="4302115" y="1506343"/>
                  <a:pt x="4302115" y="1507766"/>
                </a:cubicBezTo>
                <a:cubicBezTo>
                  <a:pt x="4302755" y="1512034"/>
                  <a:pt x="4300835" y="1519147"/>
                  <a:pt x="4299127" y="1522561"/>
                </a:cubicBezTo>
                <a:cubicBezTo>
                  <a:pt x="4298274" y="1521993"/>
                  <a:pt x="4297847" y="1520854"/>
                  <a:pt x="4297633" y="1519432"/>
                </a:cubicBezTo>
                <a:cubicBezTo>
                  <a:pt x="4297207" y="1515164"/>
                  <a:pt x="4299127" y="1508050"/>
                  <a:pt x="4300835" y="1504636"/>
                </a:cubicBezTo>
                <a:close/>
                <a:moveTo>
                  <a:pt x="1761448" y="1504530"/>
                </a:moveTo>
                <a:cubicBezTo>
                  <a:pt x="1761035" y="1505460"/>
                  <a:pt x="1762068" y="1506079"/>
                  <a:pt x="1763203" y="1506698"/>
                </a:cubicBezTo>
                <a:cubicBezTo>
                  <a:pt x="1762481" y="1508248"/>
                  <a:pt x="1761758" y="1510726"/>
                  <a:pt x="1759486" y="1511036"/>
                </a:cubicBezTo>
                <a:cubicBezTo>
                  <a:pt x="1758660" y="1511191"/>
                  <a:pt x="1757834" y="1511036"/>
                  <a:pt x="1756698" y="1510416"/>
                </a:cubicBezTo>
                <a:cubicBezTo>
                  <a:pt x="1755872" y="1510726"/>
                  <a:pt x="1753807" y="1507628"/>
                  <a:pt x="1754220" y="1506698"/>
                </a:cubicBezTo>
                <a:cubicBezTo>
                  <a:pt x="1754427" y="1505924"/>
                  <a:pt x="1754737" y="1505460"/>
                  <a:pt x="1755149" y="1505150"/>
                </a:cubicBezTo>
                <a:cubicBezTo>
                  <a:pt x="1756389" y="1504220"/>
                  <a:pt x="1758867" y="1504530"/>
                  <a:pt x="1761448" y="1504530"/>
                </a:cubicBezTo>
                <a:close/>
                <a:moveTo>
                  <a:pt x="5639830" y="1504209"/>
                </a:moveTo>
                <a:cubicBezTo>
                  <a:pt x="5641324" y="1505774"/>
                  <a:pt x="5642178" y="1507623"/>
                  <a:pt x="5642605" y="1509615"/>
                </a:cubicBezTo>
                <a:cubicBezTo>
                  <a:pt x="5643458" y="1515733"/>
                  <a:pt x="5639617" y="1523700"/>
                  <a:pt x="5640044" y="1531383"/>
                </a:cubicBezTo>
                <a:cubicBezTo>
                  <a:pt x="5641964" y="1535650"/>
                  <a:pt x="5647727" y="1535081"/>
                  <a:pt x="5645806" y="1544328"/>
                </a:cubicBezTo>
                <a:cubicBezTo>
                  <a:pt x="5631934" y="1543191"/>
                  <a:pt x="5621690" y="1538780"/>
                  <a:pt x="5614647" y="1531667"/>
                </a:cubicBezTo>
                <a:cubicBezTo>
                  <a:pt x="5612299" y="1529248"/>
                  <a:pt x="5610165" y="1526403"/>
                  <a:pt x="5608458" y="1523415"/>
                </a:cubicBezTo>
                <a:cubicBezTo>
                  <a:pt x="5615714" y="1516871"/>
                  <a:pt x="5623824" y="1523131"/>
                  <a:pt x="5630866" y="1525976"/>
                </a:cubicBezTo>
                <a:cubicBezTo>
                  <a:pt x="5631721" y="1517440"/>
                  <a:pt x="5630866" y="1504778"/>
                  <a:pt x="5639830" y="1504209"/>
                </a:cubicBezTo>
                <a:close/>
                <a:moveTo>
                  <a:pt x="4199887" y="1504209"/>
                </a:moveTo>
                <a:cubicBezTo>
                  <a:pt x="4206930" y="1509188"/>
                  <a:pt x="4207784" y="1528252"/>
                  <a:pt x="4204582" y="1531667"/>
                </a:cubicBezTo>
                <a:cubicBezTo>
                  <a:pt x="4200954" y="1527968"/>
                  <a:pt x="4201808" y="1523273"/>
                  <a:pt x="4198180" y="1518294"/>
                </a:cubicBezTo>
                <a:cubicBezTo>
                  <a:pt x="4200314" y="1514879"/>
                  <a:pt x="4196472" y="1508762"/>
                  <a:pt x="4199887" y="1504209"/>
                </a:cubicBezTo>
                <a:close/>
                <a:moveTo>
                  <a:pt x="1596754" y="1504065"/>
                </a:moveTo>
                <a:cubicBezTo>
                  <a:pt x="1598820" y="1503911"/>
                  <a:pt x="1600988" y="1505150"/>
                  <a:pt x="1602124" y="1507008"/>
                </a:cubicBezTo>
                <a:cubicBezTo>
                  <a:pt x="1602950" y="1508248"/>
                  <a:pt x="1603363" y="1509797"/>
                  <a:pt x="1603156" y="1511191"/>
                </a:cubicBezTo>
                <a:cubicBezTo>
                  <a:pt x="1602950" y="1513205"/>
                  <a:pt x="1601504" y="1515063"/>
                  <a:pt x="1598406" y="1516302"/>
                </a:cubicBezTo>
                <a:cubicBezTo>
                  <a:pt x="1594379" y="1514444"/>
                  <a:pt x="1593554" y="1511965"/>
                  <a:pt x="1591178" y="1509797"/>
                </a:cubicBezTo>
                <a:cubicBezTo>
                  <a:pt x="1592521" y="1505924"/>
                  <a:pt x="1594586" y="1504220"/>
                  <a:pt x="1596754" y="1504065"/>
                </a:cubicBezTo>
                <a:close/>
                <a:moveTo>
                  <a:pt x="5868616" y="1503782"/>
                </a:moveTo>
                <a:cubicBezTo>
                  <a:pt x="5869257" y="1504209"/>
                  <a:pt x="5869683" y="1505205"/>
                  <a:pt x="5870323" y="1507055"/>
                </a:cubicBezTo>
                <a:lnTo>
                  <a:pt x="5869257" y="1511465"/>
                </a:lnTo>
                <a:lnTo>
                  <a:pt x="5869897" y="1512745"/>
                </a:lnTo>
                <a:cubicBezTo>
                  <a:pt x="5869897" y="1513741"/>
                  <a:pt x="5869470" y="1514879"/>
                  <a:pt x="5868190" y="1516017"/>
                </a:cubicBezTo>
                <a:lnTo>
                  <a:pt x="5866909" y="1516871"/>
                </a:lnTo>
                <a:lnTo>
                  <a:pt x="5863921" y="1520712"/>
                </a:lnTo>
                <a:lnTo>
                  <a:pt x="5863067" y="1518863"/>
                </a:lnTo>
                <a:lnTo>
                  <a:pt x="5858586" y="1518294"/>
                </a:lnTo>
                <a:cubicBezTo>
                  <a:pt x="5856238" y="1519432"/>
                  <a:pt x="5854744" y="1521708"/>
                  <a:pt x="5852610" y="1520428"/>
                </a:cubicBezTo>
                <a:cubicBezTo>
                  <a:pt x="5856238" y="1518151"/>
                  <a:pt x="5857519" y="1517156"/>
                  <a:pt x="5860079" y="1516017"/>
                </a:cubicBezTo>
                <a:lnTo>
                  <a:pt x="5860720" y="1514310"/>
                </a:lnTo>
                <a:lnTo>
                  <a:pt x="5860507" y="1514168"/>
                </a:lnTo>
                <a:lnTo>
                  <a:pt x="5860933" y="1513599"/>
                </a:lnTo>
                <a:lnTo>
                  <a:pt x="5861574" y="1512461"/>
                </a:lnTo>
                <a:lnTo>
                  <a:pt x="5862000" y="1512176"/>
                </a:lnTo>
                <a:lnTo>
                  <a:pt x="5863494" y="1509330"/>
                </a:lnTo>
                <a:cubicBezTo>
                  <a:pt x="5864775" y="1506770"/>
                  <a:pt x="5865842" y="1504209"/>
                  <a:pt x="5865842" y="1504209"/>
                </a:cubicBezTo>
                <a:cubicBezTo>
                  <a:pt x="5867336" y="1503640"/>
                  <a:pt x="5868190" y="1503356"/>
                  <a:pt x="5868616" y="1503782"/>
                </a:cubicBezTo>
                <a:close/>
                <a:moveTo>
                  <a:pt x="3646917" y="1503782"/>
                </a:moveTo>
                <a:cubicBezTo>
                  <a:pt x="3647130" y="1505063"/>
                  <a:pt x="3647557" y="1506201"/>
                  <a:pt x="3646490" y="1506628"/>
                </a:cubicBezTo>
                <a:cubicBezTo>
                  <a:pt x="3645422" y="1507055"/>
                  <a:pt x="3645209" y="1505774"/>
                  <a:pt x="3645850" y="1504209"/>
                </a:cubicBezTo>
                <a:cubicBezTo>
                  <a:pt x="3645850" y="1504209"/>
                  <a:pt x="3646917" y="1503782"/>
                  <a:pt x="3646917" y="1503782"/>
                </a:cubicBezTo>
                <a:close/>
                <a:moveTo>
                  <a:pt x="4972680" y="1503498"/>
                </a:moveTo>
                <a:cubicBezTo>
                  <a:pt x="4973747" y="1504066"/>
                  <a:pt x="4974814" y="1504636"/>
                  <a:pt x="4975241" y="1503498"/>
                </a:cubicBezTo>
                <a:cubicBezTo>
                  <a:pt x="4976522" y="1506770"/>
                  <a:pt x="4976095" y="1507766"/>
                  <a:pt x="4976522" y="1509473"/>
                </a:cubicBezTo>
                <a:cubicBezTo>
                  <a:pt x="4977162" y="1508477"/>
                  <a:pt x="4977589" y="1510042"/>
                  <a:pt x="4977589" y="1510042"/>
                </a:cubicBezTo>
                <a:cubicBezTo>
                  <a:pt x="4977589" y="1510042"/>
                  <a:pt x="4977589" y="1510184"/>
                  <a:pt x="4980577" y="1509188"/>
                </a:cubicBezTo>
                <a:cubicBezTo>
                  <a:pt x="4980577" y="1509188"/>
                  <a:pt x="4984632" y="1508477"/>
                  <a:pt x="4988046" y="1511180"/>
                </a:cubicBezTo>
                <a:lnTo>
                  <a:pt x="4990394" y="1514168"/>
                </a:lnTo>
                <a:lnTo>
                  <a:pt x="4994876" y="1512461"/>
                </a:lnTo>
                <a:cubicBezTo>
                  <a:pt x="4996583" y="1512318"/>
                  <a:pt x="4998077" y="1512887"/>
                  <a:pt x="4999571" y="1514595"/>
                </a:cubicBezTo>
                <a:cubicBezTo>
                  <a:pt x="4999358" y="1519432"/>
                  <a:pt x="4996370" y="1522419"/>
                  <a:pt x="4992315" y="1525265"/>
                </a:cubicBezTo>
                <a:lnTo>
                  <a:pt x="4989327" y="1527683"/>
                </a:lnTo>
                <a:lnTo>
                  <a:pt x="4988900" y="1528537"/>
                </a:lnTo>
                <a:lnTo>
                  <a:pt x="4985912" y="1530244"/>
                </a:lnTo>
                <a:lnTo>
                  <a:pt x="4980363" y="1534654"/>
                </a:lnTo>
                <a:cubicBezTo>
                  <a:pt x="4978869" y="1538211"/>
                  <a:pt x="4980790" y="1541199"/>
                  <a:pt x="4978442" y="1544898"/>
                </a:cubicBezTo>
                <a:lnTo>
                  <a:pt x="4976949" y="1546320"/>
                </a:lnTo>
                <a:lnTo>
                  <a:pt x="4977162" y="1552296"/>
                </a:lnTo>
                <a:cubicBezTo>
                  <a:pt x="4975028" y="1553292"/>
                  <a:pt x="4971400" y="1549593"/>
                  <a:pt x="4968838" y="1548170"/>
                </a:cubicBezTo>
                <a:cubicBezTo>
                  <a:pt x="4970119" y="1547032"/>
                  <a:pt x="4971186" y="1546036"/>
                  <a:pt x="4969906" y="1545894"/>
                </a:cubicBezTo>
                <a:lnTo>
                  <a:pt x="4972680" y="1544471"/>
                </a:lnTo>
                <a:lnTo>
                  <a:pt x="4971400" y="1541910"/>
                </a:lnTo>
                <a:lnTo>
                  <a:pt x="4970333" y="1543191"/>
                </a:lnTo>
                <a:cubicBezTo>
                  <a:pt x="4967345" y="1545609"/>
                  <a:pt x="4963930" y="1547743"/>
                  <a:pt x="4960515" y="1549593"/>
                </a:cubicBezTo>
                <a:lnTo>
                  <a:pt x="4954539" y="1552296"/>
                </a:lnTo>
                <a:lnTo>
                  <a:pt x="4957100" y="1553719"/>
                </a:lnTo>
                <a:cubicBezTo>
                  <a:pt x="4962009" y="1557275"/>
                  <a:pt x="4961795" y="1561259"/>
                  <a:pt x="4963076" y="1561543"/>
                </a:cubicBezTo>
                <a:cubicBezTo>
                  <a:pt x="4961582" y="1566523"/>
                  <a:pt x="4958381" y="1565811"/>
                  <a:pt x="4953259" y="1566380"/>
                </a:cubicBezTo>
                <a:cubicBezTo>
                  <a:pt x="4953686" y="1564673"/>
                  <a:pt x="4948991" y="1563535"/>
                  <a:pt x="4947496" y="1563108"/>
                </a:cubicBezTo>
                <a:cubicBezTo>
                  <a:pt x="4947924" y="1561543"/>
                  <a:pt x="4946856" y="1560121"/>
                  <a:pt x="4946003" y="1558556"/>
                </a:cubicBezTo>
                <a:lnTo>
                  <a:pt x="4944936" y="1556422"/>
                </a:lnTo>
                <a:lnTo>
                  <a:pt x="4926582" y="1563678"/>
                </a:lnTo>
                <a:cubicBezTo>
                  <a:pt x="4926368" y="1559409"/>
                  <a:pt x="4923380" y="1557702"/>
                  <a:pt x="4924020" y="1550873"/>
                </a:cubicBezTo>
                <a:cubicBezTo>
                  <a:pt x="4934478" y="1548312"/>
                  <a:pt x="4944082" y="1544471"/>
                  <a:pt x="4953472" y="1540772"/>
                </a:cubicBezTo>
                <a:lnTo>
                  <a:pt x="4968412" y="1535650"/>
                </a:lnTo>
                <a:lnTo>
                  <a:pt x="4966704" y="1531667"/>
                </a:lnTo>
                <a:cubicBezTo>
                  <a:pt x="4964997" y="1525976"/>
                  <a:pt x="4964357" y="1520428"/>
                  <a:pt x="4964783" y="1515022"/>
                </a:cubicBezTo>
                <a:cubicBezTo>
                  <a:pt x="4965210" y="1511465"/>
                  <a:pt x="4965851" y="1507908"/>
                  <a:pt x="4967131" y="1504351"/>
                </a:cubicBezTo>
                <a:cubicBezTo>
                  <a:pt x="4969266" y="1504636"/>
                  <a:pt x="4970973" y="1505489"/>
                  <a:pt x="4972466" y="1506770"/>
                </a:cubicBezTo>
                <a:lnTo>
                  <a:pt x="4973107" y="1507766"/>
                </a:lnTo>
                <a:lnTo>
                  <a:pt x="4973107" y="1506343"/>
                </a:lnTo>
                <a:cubicBezTo>
                  <a:pt x="4973107" y="1505205"/>
                  <a:pt x="4973107" y="1504209"/>
                  <a:pt x="4972680" y="1503498"/>
                </a:cubicBezTo>
                <a:close/>
                <a:moveTo>
                  <a:pt x="1624737" y="1503291"/>
                </a:moveTo>
                <a:cubicBezTo>
                  <a:pt x="1627938" y="1508093"/>
                  <a:pt x="1632378" y="1507938"/>
                  <a:pt x="1631139" y="1511965"/>
                </a:cubicBezTo>
                <a:cubicBezTo>
                  <a:pt x="1628454" y="1512120"/>
                  <a:pt x="1625563" y="1509022"/>
                  <a:pt x="1624737" y="1506079"/>
                </a:cubicBezTo>
                <a:cubicBezTo>
                  <a:pt x="1624530" y="1504995"/>
                  <a:pt x="1624427" y="1504065"/>
                  <a:pt x="1624737" y="1503291"/>
                </a:cubicBezTo>
                <a:close/>
                <a:moveTo>
                  <a:pt x="5308816" y="1503213"/>
                </a:moveTo>
                <a:cubicBezTo>
                  <a:pt x="5310097" y="1506343"/>
                  <a:pt x="5308389" y="1512034"/>
                  <a:pt x="5305188" y="1513599"/>
                </a:cubicBezTo>
                <a:cubicBezTo>
                  <a:pt x="5301346" y="1513172"/>
                  <a:pt x="5301560" y="1510469"/>
                  <a:pt x="5298999" y="1510611"/>
                </a:cubicBezTo>
                <a:cubicBezTo>
                  <a:pt x="5300493" y="1504778"/>
                  <a:pt x="5303694" y="1503213"/>
                  <a:pt x="5308816" y="1503213"/>
                </a:cubicBezTo>
                <a:close/>
                <a:moveTo>
                  <a:pt x="4123483" y="1502786"/>
                </a:moveTo>
                <a:cubicBezTo>
                  <a:pt x="4124337" y="1503071"/>
                  <a:pt x="4125190" y="1503640"/>
                  <a:pt x="4125831" y="1504636"/>
                </a:cubicBezTo>
                <a:cubicBezTo>
                  <a:pt x="4124977" y="1510469"/>
                  <a:pt x="4118788" y="1512603"/>
                  <a:pt x="4114946" y="1505774"/>
                </a:cubicBezTo>
                <a:cubicBezTo>
                  <a:pt x="4117934" y="1503782"/>
                  <a:pt x="4120922" y="1501791"/>
                  <a:pt x="4123483" y="1502786"/>
                </a:cubicBezTo>
                <a:close/>
                <a:moveTo>
                  <a:pt x="3591641" y="1502786"/>
                </a:moveTo>
                <a:cubicBezTo>
                  <a:pt x="3592708" y="1503213"/>
                  <a:pt x="3593348" y="1504209"/>
                  <a:pt x="3593988" y="1505632"/>
                </a:cubicBezTo>
                <a:cubicBezTo>
                  <a:pt x="3595696" y="1509757"/>
                  <a:pt x="3596123" y="1517013"/>
                  <a:pt x="3595483" y="1520570"/>
                </a:cubicBezTo>
                <a:cubicBezTo>
                  <a:pt x="3591641" y="1518720"/>
                  <a:pt x="3591001" y="1507623"/>
                  <a:pt x="3591641" y="1502786"/>
                </a:cubicBezTo>
                <a:close/>
                <a:moveTo>
                  <a:pt x="3738901" y="1502217"/>
                </a:moveTo>
                <a:cubicBezTo>
                  <a:pt x="3739327" y="1502217"/>
                  <a:pt x="3739754" y="1502644"/>
                  <a:pt x="3740394" y="1503213"/>
                </a:cubicBezTo>
                <a:cubicBezTo>
                  <a:pt x="3742956" y="1504494"/>
                  <a:pt x="3741675" y="1506912"/>
                  <a:pt x="3744236" y="1509330"/>
                </a:cubicBezTo>
                <a:cubicBezTo>
                  <a:pt x="3748931" y="1513172"/>
                  <a:pt x="3755547" y="1503925"/>
                  <a:pt x="3765364" y="1511465"/>
                </a:cubicBezTo>
                <a:cubicBezTo>
                  <a:pt x="3763017" y="1513741"/>
                  <a:pt x="3767926" y="1520001"/>
                  <a:pt x="3764724" y="1523415"/>
                </a:cubicBezTo>
                <a:lnTo>
                  <a:pt x="3762376" y="1525976"/>
                </a:lnTo>
                <a:lnTo>
                  <a:pt x="3764938" y="1526261"/>
                </a:lnTo>
                <a:cubicBezTo>
                  <a:pt x="3763657" y="1535792"/>
                  <a:pt x="3758748" y="1546036"/>
                  <a:pt x="3757468" y="1548170"/>
                </a:cubicBezTo>
                <a:cubicBezTo>
                  <a:pt x="3756828" y="1549308"/>
                  <a:pt x="3756187" y="1549877"/>
                  <a:pt x="3755547" y="1549877"/>
                </a:cubicBezTo>
                <a:cubicBezTo>
                  <a:pt x="3754693" y="1550020"/>
                  <a:pt x="3753840" y="1549593"/>
                  <a:pt x="3752772" y="1548881"/>
                </a:cubicBezTo>
                <a:cubicBezTo>
                  <a:pt x="3751919" y="1547601"/>
                  <a:pt x="3751492" y="1546320"/>
                  <a:pt x="3751492" y="1545040"/>
                </a:cubicBezTo>
                <a:lnTo>
                  <a:pt x="3750639" y="1545467"/>
                </a:lnTo>
                <a:lnTo>
                  <a:pt x="3750639" y="1545894"/>
                </a:lnTo>
                <a:cubicBezTo>
                  <a:pt x="3749145" y="1550162"/>
                  <a:pt x="3746797" y="1554288"/>
                  <a:pt x="3746370" y="1555995"/>
                </a:cubicBezTo>
                <a:cubicBezTo>
                  <a:pt x="3746370" y="1555995"/>
                  <a:pt x="3746370" y="1557133"/>
                  <a:pt x="3745303" y="1558271"/>
                </a:cubicBezTo>
                <a:cubicBezTo>
                  <a:pt x="3744236" y="1560547"/>
                  <a:pt x="3742956" y="1556991"/>
                  <a:pt x="3741889" y="1558129"/>
                </a:cubicBezTo>
                <a:lnTo>
                  <a:pt x="3741889" y="1549450"/>
                </a:lnTo>
                <a:lnTo>
                  <a:pt x="3735059" y="1548881"/>
                </a:lnTo>
                <a:cubicBezTo>
                  <a:pt x="3731431" y="1542053"/>
                  <a:pt x="3736339" y="1533090"/>
                  <a:pt x="3742102" y="1527541"/>
                </a:cubicBezTo>
                <a:lnTo>
                  <a:pt x="3742742" y="1526972"/>
                </a:lnTo>
                <a:lnTo>
                  <a:pt x="3742315" y="1526830"/>
                </a:lnTo>
                <a:cubicBezTo>
                  <a:pt x="3740821" y="1527683"/>
                  <a:pt x="3739754" y="1531240"/>
                  <a:pt x="3736980" y="1529391"/>
                </a:cubicBezTo>
                <a:cubicBezTo>
                  <a:pt x="3731644" y="1524696"/>
                  <a:pt x="3733138" y="1516160"/>
                  <a:pt x="3734205" y="1511749"/>
                </a:cubicBezTo>
                <a:lnTo>
                  <a:pt x="3734845" y="1509330"/>
                </a:lnTo>
                <a:lnTo>
                  <a:pt x="3733778" y="1509188"/>
                </a:lnTo>
                <a:lnTo>
                  <a:pt x="3734845" y="1508050"/>
                </a:lnTo>
                <a:lnTo>
                  <a:pt x="3734845" y="1507766"/>
                </a:lnTo>
                <a:cubicBezTo>
                  <a:pt x="3736126" y="1507908"/>
                  <a:pt x="3735913" y="1506628"/>
                  <a:pt x="3734845" y="1506486"/>
                </a:cubicBezTo>
                <a:cubicBezTo>
                  <a:pt x="3735913" y="1504778"/>
                  <a:pt x="3736766" y="1503356"/>
                  <a:pt x="3737620" y="1502644"/>
                </a:cubicBezTo>
                <a:cubicBezTo>
                  <a:pt x="3738047" y="1502217"/>
                  <a:pt x="3738474" y="1502075"/>
                  <a:pt x="3738901" y="1502217"/>
                </a:cubicBezTo>
                <a:close/>
                <a:moveTo>
                  <a:pt x="1129004" y="1502052"/>
                </a:moveTo>
                <a:cubicBezTo>
                  <a:pt x="1132618" y="1502517"/>
                  <a:pt x="1131998" y="1504995"/>
                  <a:pt x="1132308" y="1508712"/>
                </a:cubicBezTo>
                <a:cubicBezTo>
                  <a:pt x="1131069" y="1508558"/>
                  <a:pt x="1130243" y="1512120"/>
                  <a:pt x="1129933" y="1513205"/>
                </a:cubicBezTo>
                <a:cubicBezTo>
                  <a:pt x="1127558" y="1512895"/>
                  <a:pt x="1125906" y="1516922"/>
                  <a:pt x="1122292" y="1516302"/>
                </a:cubicBezTo>
                <a:cubicBezTo>
                  <a:pt x="1121363" y="1514908"/>
                  <a:pt x="1120950" y="1514289"/>
                  <a:pt x="1120743" y="1512430"/>
                </a:cubicBezTo>
                <a:cubicBezTo>
                  <a:pt x="1123634" y="1503601"/>
                  <a:pt x="1128694" y="1503136"/>
                  <a:pt x="1129004" y="1502052"/>
                </a:cubicBezTo>
                <a:close/>
                <a:moveTo>
                  <a:pt x="5393330" y="1501648"/>
                </a:moveTo>
                <a:cubicBezTo>
                  <a:pt x="5393544" y="1513457"/>
                  <a:pt x="5386074" y="1515733"/>
                  <a:pt x="5379245" y="1518863"/>
                </a:cubicBezTo>
                <a:cubicBezTo>
                  <a:pt x="5378178" y="1513741"/>
                  <a:pt x="5383726" y="1501364"/>
                  <a:pt x="5393330" y="1501648"/>
                </a:cubicBezTo>
                <a:close/>
                <a:moveTo>
                  <a:pt x="5503669" y="1501506"/>
                </a:moveTo>
                <a:cubicBezTo>
                  <a:pt x="5504949" y="1501791"/>
                  <a:pt x="5506443" y="1502644"/>
                  <a:pt x="5507937" y="1503925"/>
                </a:cubicBezTo>
                <a:cubicBezTo>
                  <a:pt x="5509644" y="1505063"/>
                  <a:pt x="5510071" y="1506628"/>
                  <a:pt x="5510498" y="1508193"/>
                </a:cubicBezTo>
                <a:cubicBezTo>
                  <a:pt x="5510711" y="1509615"/>
                  <a:pt x="5510925" y="1511180"/>
                  <a:pt x="5511992" y="1512461"/>
                </a:cubicBezTo>
                <a:cubicBezTo>
                  <a:pt x="5509431" y="1513599"/>
                  <a:pt x="5505589" y="1515875"/>
                  <a:pt x="5501321" y="1512176"/>
                </a:cubicBezTo>
                <a:cubicBezTo>
                  <a:pt x="5500254" y="1511038"/>
                  <a:pt x="5500254" y="1510895"/>
                  <a:pt x="5500467" y="1509757"/>
                </a:cubicBezTo>
                <a:cubicBezTo>
                  <a:pt x="5499400" y="1507339"/>
                  <a:pt x="5498333" y="1506058"/>
                  <a:pt x="5499827" y="1503640"/>
                </a:cubicBezTo>
                <a:cubicBezTo>
                  <a:pt x="5501107" y="1501933"/>
                  <a:pt x="5502388" y="1501364"/>
                  <a:pt x="5503669" y="1501506"/>
                </a:cubicBezTo>
                <a:close/>
                <a:moveTo>
                  <a:pt x="4428887" y="1500794"/>
                </a:moveTo>
                <a:cubicBezTo>
                  <a:pt x="4443826" y="1506486"/>
                  <a:pt x="4464955" y="1495957"/>
                  <a:pt x="4477973" y="1510042"/>
                </a:cubicBezTo>
                <a:cubicBezTo>
                  <a:pt x="4480534" y="1525265"/>
                  <a:pt x="4488857" y="1527968"/>
                  <a:pt x="4493766" y="1536646"/>
                </a:cubicBezTo>
                <a:cubicBezTo>
                  <a:pt x="4494620" y="1557560"/>
                  <a:pt x="4489071" y="1585018"/>
                  <a:pt x="4468583" y="1594692"/>
                </a:cubicBezTo>
                <a:cubicBezTo>
                  <a:pt x="4451722" y="1602517"/>
                  <a:pt x="4439558" y="1591847"/>
                  <a:pt x="4421417" y="1589428"/>
                </a:cubicBezTo>
                <a:cubicBezTo>
                  <a:pt x="4418856" y="1574205"/>
                  <a:pt x="4410105" y="1572498"/>
                  <a:pt x="4403489" y="1566807"/>
                </a:cubicBezTo>
                <a:cubicBezTo>
                  <a:pt x="4406477" y="1556564"/>
                  <a:pt x="4401569" y="1542621"/>
                  <a:pt x="4401569" y="1530244"/>
                </a:cubicBezTo>
                <a:cubicBezTo>
                  <a:pt x="4406904" y="1525692"/>
                  <a:pt x="4410960" y="1520712"/>
                  <a:pt x="4415228" y="1515591"/>
                </a:cubicBezTo>
                <a:lnTo>
                  <a:pt x="4422484" y="1507908"/>
                </a:lnTo>
                <a:lnTo>
                  <a:pt x="4422911" y="1504209"/>
                </a:lnTo>
                <a:lnTo>
                  <a:pt x="4426112" y="1503925"/>
                </a:lnTo>
                <a:close/>
                <a:moveTo>
                  <a:pt x="1235874" y="1500348"/>
                </a:moveTo>
                <a:cubicBezTo>
                  <a:pt x="1236700" y="1500193"/>
                  <a:pt x="1237836" y="1500658"/>
                  <a:pt x="1237836" y="1500658"/>
                </a:cubicBezTo>
                <a:cubicBezTo>
                  <a:pt x="1238971" y="1501277"/>
                  <a:pt x="1238971" y="1501277"/>
                  <a:pt x="1239385" y="1500348"/>
                </a:cubicBezTo>
                <a:cubicBezTo>
                  <a:pt x="1239385" y="1500348"/>
                  <a:pt x="1239798" y="1501122"/>
                  <a:pt x="1239798" y="1501122"/>
                </a:cubicBezTo>
                <a:cubicBezTo>
                  <a:pt x="1238971" y="1501277"/>
                  <a:pt x="1239798" y="1501122"/>
                  <a:pt x="1240934" y="1501587"/>
                </a:cubicBezTo>
                <a:cubicBezTo>
                  <a:pt x="1240727" y="1503446"/>
                  <a:pt x="1241140" y="1504220"/>
                  <a:pt x="1240624" y="1505305"/>
                </a:cubicBezTo>
                <a:cubicBezTo>
                  <a:pt x="1240417" y="1505769"/>
                  <a:pt x="1239901" y="1506544"/>
                  <a:pt x="1239385" y="1506854"/>
                </a:cubicBezTo>
                <a:cubicBezTo>
                  <a:pt x="1238868" y="1507318"/>
                  <a:pt x="1238352" y="1507318"/>
                  <a:pt x="1237732" y="1507163"/>
                </a:cubicBezTo>
                <a:cubicBezTo>
                  <a:pt x="1237423" y="1506234"/>
                  <a:pt x="1236597" y="1506544"/>
                  <a:pt x="1236287" y="1505769"/>
                </a:cubicBezTo>
                <a:cubicBezTo>
                  <a:pt x="1235564" y="1505150"/>
                  <a:pt x="1235151" y="1504530"/>
                  <a:pt x="1234945" y="1504065"/>
                </a:cubicBezTo>
                <a:cubicBezTo>
                  <a:pt x="1234738" y="1503446"/>
                  <a:pt x="1234738" y="1503136"/>
                  <a:pt x="1234945" y="1502517"/>
                </a:cubicBezTo>
                <a:cubicBezTo>
                  <a:pt x="1234635" y="1501742"/>
                  <a:pt x="1235358" y="1501432"/>
                  <a:pt x="1235874" y="1500348"/>
                </a:cubicBezTo>
                <a:close/>
                <a:moveTo>
                  <a:pt x="1736254" y="1500038"/>
                </a:moveTo>
                <a:cubicBezTo>
                  <a:pt x="1750916" y="1503291"/>
                  <a:pt x="1744204" y="1520949"/>
                  <a:pt x="1736564" y="1522653"/>
                </a:cubicBezTo>
                <a:cubicBezTo>
                  <a:pt x="1732123" y="1520329"/>
                  <a:pt x="1730162" y="1515683"/>
                  <a:pt x="1730265" y="1511191"/>
                </a:cubicBezTo>
                <a:cubicBezTo>
                  <a:pt x="1730471" y="1506544"/>
                  <a:pt x="1732640" y="1502052"/>
                  <a:pt x="1736254" y="1500038"/>
                </a:cubicBezTo>
                <a:close/>
                <a:moveTo>
                  <a:pt x="1010879" y="1499728"/>
                </a:moveTo>
                <a:cubicBezTo>
                  <a:pt x="1015628" y="1501587"/>
                  <a:pt x="1015835" y="1507938"/>
                  <a:pt x="1011911" y="1509487"/>
                </a:cubicBezTo>
                <a:cubicBezTo>
                  <a:pt x="1010672" y="1509022"/>
                  <a:pt x="1008710" y="1508867"/>
                  <a:pt x="1007058" y="1507628"/>
                </a:cubicBezTo>
                <a:cubicBezTo>
                  <a:pt x="1006026" y="1503446"/>
                  <a:pt x="1007574" y="1500968"/>
                  <a:pt x="1010879" y="1499728"/>
                </a:cubicBezTo>
                <a:close/>
                <a:moveTo>
                  <a:pt x="1155954" y="1498799"/>
                </a:moveTo>
                <a:cubicBezTo>
                  <a:pt x="1157090" y="1502826"/>
                  <a:pt x="1153475" y="1506544"/>
                  <a:pt x="1148932" y="1503756"/>
                </a:cubicBezTo>
                <a:cubicBezTo>
                  <a:pt x="1150894" y="1500503"/>
                  <a:pt x="1152856" y="1497405"/>
                  <a:pt x="1155954" y="1498799"/>
                </a:cubicBezTo>
                <a:close/>
                <a:moveTo>
                  <a:pt x="4011864" y="1498661"/>
                </a:moveTo>
                <a:cubicBezTo>
                  <a:pt x="4013358" y="1499229"/>
                  <a:pt x="4015066" y="1499799"/>
                  <a:pt x="4016559" y="1500368"/>
                </a:cubicBezTo>
                <a:lnTo>
                  <a:pt x="4015919" y="1505916"/>
                </a:lnTo>
                <a:lnTo>
                  <a:pt x="4016987" y="1509188"/>
                </a:lnTo>
                <a:cubicBezTo>
                  <a:pt x="4018054" y="1510042"/>
                  <a:pt x="4018907" y="1511180"/>
                  <a:pt x="4019334" y="1512461"/>
                </a:cubicBezTo>
                <a:lnTo>
                  <a:pt x="4019334" y="1513030"/>
                </a:lnTo>
                <a:lnTo>
                  <a:pt x="4028938" y="1510327"/>
                </a:lnTo>
                <a:cubicBezTo>
                  <a:pt x="4032780" y="1508762"/>
                  <a:pt x="4036408" y="1507055"/>
                  <a:pt x="4040676" y="1505489"/>
                </a:cubicBezTo>
                <a:cubicBezTo>
                  <a:pt x="4041316" y="1506343"/>
                  <a:pt x="4041957" y="1507339"/>
                  <a:pt x="4042170" y="1508904"/>
                </a:cubicBezTo>
                <a:cubicBezTo>
                  <a:pt x="4042383" y="1510327"/>
                  <a:pt x="4042383" y="1512318"/>
                  <a:pt x="4041957" y="1514737"/>
                </a:cubicBezTo>
                <a:cubicBezTo>
                  <a:pt x="4030859" y="1512745"/>
                  <a:pt x="4035127" y="1525692"/>
                  <a:pt x="4026377" y="1524553"/>
                </a:cubicBezTo>
                <a:cubicBezTo>
                  <a:pt x="4024883" y="1523558"/>
                  <a:pt x="4023389" y="1522704"/>
                  <a:pt x="4021682" y="1521708"/>
                </a:cubicBezTo>
                <a:lnTo>
                  <a:pt x="4018267" y="1518863"/>
                </a:lnTo>
                <a:lnTo>
                  <a:pt x="4017627" y="1519859"/>
                </a:lnTo>
                <a:cubicBezTo>
                  <a:pt x="4016773" y="1520428"/>
                  <a:pt x="4015706" y="1520712"/>
                  <a:pt x="4015066" y="1520428"/>
                </a:cubicBezTo>
                <a:cubicBezTo>
                  <a:pt x="4002474" y="1517724"/>
                  <a:pt x="4003114" y="1506058"/>
                  <a:pt x="4001193" y="1504351"/>
                </a:cubicBezTo>
                <a:cubicBezTo>
                  <a:pt x="4002687" y="1500794"/>
                  <a:pt x="4003114" y="1499941"/>
                  <a:pt x="4006743" y="1500652"/>
                </a:cubicBezTo>
                <a:lnTo>
                  <a:pt x="4010371" y="1501506"/>
                </a:lnTo>
                <a:close/>
                <a:moveTo>
                  <a:pt x="1449718" y="1498489"/>
                </a:moveTo>
                <a:cubicBezTo>
                  <a:pt x="1451266" y="1502052"/>
                  <a:pt x="1453022" y="1505769"/>
                  <a:pt x="1454054" y="1509642"/>
                </a:cubicBezTo>
                <a:lnTo>
                  <a:pt x="1454777" y="1514753"/>
                </a:lnTo>
                <a:lnTo>
                  <a:pt x="1455809" y="1514134"/>
                </a:lnTo>
                <a:cubicBezTo>
                  <a:pt x="1458185" y="1513359"/>
                  <a:pt x="1460766" y="1513669"/>
                  <a:pt x="1461076" y="1516922"/>
                </a:cubicBezTo>
                <a:cubicBezTo>
                  <a:pt x="1461282" y="1517851"/>
                  <a:pt x="1460869" y="1518626"/>
                  <a:pt x="1460043" y="1519245"/>
                </a:cubicBezTo>
                <a:cubicBezTo>
                  <a:pt x="1458804" y="1520175"/>
                  <a:pt x="1456739" y="1520949"/>
                  <a:pt x="1454880" y="1520794"/>
                </a:cubicBezTo>
                <a:lnTo>
                  <a:pt x="1454261" y="1520794"/>
                </a:lnTo>
                <a:lnTo>
                  <a:pt x="1454054" y="1522188"/>
                </a:lnTo>
                <a:lnTo>
                  <a:pt x="1452815" y="1520949"/>
                </a:lnTo>
                <a:lnTo>
                  <a:pt x="1452608" y="1521104"/>
                </a:lnTo>
                <a:cubicBezTo>
                  <a:pt x="1452299" y="1521259"/>
                  <a:pt x="1451989" y="1521259"/>
                  <a:pt x="1452093" y="1520794"/>
                </a:cubicBezTo>
                <a:cubicBezTo>
                  <a:pt x="1451266" y="1520794"/>
                  <a:pt x="1451370" y="1520020"/>
                  <a:pt x="1450647" y="1519090"/>
                </a:cubicBezTo>
                <a:lnTo>
                  <a:pt x="1450647" y="1518781"/>
                </a:lnTo>
                <a:lnTo>
                  <a:pt x="1449098" y="1517077"/>
                </a:lnTo>
                <a:cubicBezTo>
                  <a:pt x="1447962" y="1515063"/>
                  <a:pt x="1447549" y="1512895"/>
                  <a:pt x="1447342" y="1510571"/>
                </a:cubicBezTo>
                <a:cubicBezTo>
                  <a:pt x="1447136" y="1506079"/>
                  <a:pt x="1448375" y="1501432"/>
                  <a:pt x="1449718" y="1498489"/>
                </a:cubicBezTo>
                <a:close/>
                <a:moveTo>
                  <a:pt x="1304952" y="1498489"/>
                </a:moveTo>
                <a:cubicBezTo>
                  <a:pt x="1306604" y="1500503"/>
                  <a:pt x="1308153" y="1502362"/>
                  <a:pt x="1309805" y="1504375"/>
                </a:cubicBezTo>
                <a:cubicBezTo>
                  <a:pt x="1310322" y="1508712"/>
                  <a:pt x="1307430" y="1511810"/>
                  <a:pt x="1303713" y="1512120"/>
                </a:cubicBezTo>
                <a:cubicBezTo>
                  <a:pt x="1302474" y="1512275"/>
                  <a:pt x="1301029" y="1511965"/>
                  <a:pt x="1299686" y="1511501"/>
                </a:cubicBezTo>
                <a:cubicBezTo>
                  <a:pt x="1297931" y="1510571"/>
                  <a:pt x="1296072" y="1509177"/>
                  <a:pt x="1294524" y="1506854"/>
                </a:cubicBezTo>
                <a:cubicBezTo>
                  <a:pt x="1293491" y="1503446"/>
                  <a:pt x="1297518" y="1499728"/>
                  <a:pt x="1301338" y="1498644"/>
                </a:cubicBezTo>
                <a:cubicBezTo>
                  <a:pt x="1302681" y="1498179"/>
                  <a:pt x="1303920" y="1498179"/>
                  <a:pt x="1304952" y="1498489"/>
                </a:cubicBezTo>
                <a:close/>
                <a:moveTo>
                  <a:pt x="5810139" y="1497949"/>
                </a:moveTo>
                <a:cubicBezTo>
                  <a:pt x="5810566" y="1498376"/>
                  <a:pt x="5810993" y="1499229"/>
                  <a:pt x="5811420" y="1500368"/>
                </a:cubicBezTo>
                <a:cubicBezTo>
                  <a:pt x="5811633" y="1501364"/>
                  <a:pt x="5811847" y="1502644"/>
                  <a:pt x="5812060" y="1503498"/>
                </a:cubicBezTo>
                <a:cubicBezTo>
                  <a:pt x="5812914" y="1504066"/>
                  <a:pt x="5813127" y="1505632"/>
                  <a:pt x="5812487" y="1506628"/>
                </a:cubicBezTo>
                <a:cubicBezTo>
                  <a:pt x="5812487" y="1506628"/>
                  <a:pt x="5812700" y="1508193"/>
                  <a:pt x="5813767" y="1508904"/>
                </a:cubicBezTo>
                <a:cubicBezTo>
                  <a:pt x="5814194" y="1512034"/>
                  <a:pt x="5813767" y="1513030"/>
                  <a:pt x="5813127" y="1514025"/>
                </a:cubicBezTo>
                <a:cubicBezTo>
                  <a:pt x="5813127" y="1514025"/>
                  <a:pt x="5812700" y="1512461"/>
                  <a:pt x="5811847" y="1511892"/>
                </a:cubicBezTo>
                <a:cubicBezTo>
                  <a:pt x="5811847" y="1511892"/>
                  <a:pt x="5811420" y="1510327"/>
                  <a:pt x="5811206" y="1508620"/>
                </a:cubicBezTo>
                <a:cubicBezTo>
                  <a:pt x="5811206" y="1508620"/>
                  <a:pt x="5810353" y="1508050"/>
                  <a:pt x="5809285" y="1507481"/>
                </a:cubicBezTo>
                <a:cubicBezTo>
                  <a:pt x="5807792" y="1503640"/>
                  <a:pt x="5806724" y="1501506"/>
                  <a:pt x="5810139" y="1497949"/>
                </a:cubicBezTo>
                <a:close/>
                <a:moveTo>
                  <a:pt x="1479869" y="1497715"/>
                </a:moveTo>
                <a:cubicBezTo>
                  <a:pt x="1482243" y="1501432"/>
                  <a:pt x="1481004" y="1507628"/>
                  <a:pt x="1478010" y="1512585"/>
                </a:cubicBezTo>
                <a:lnTo>
                  <a:pt x="1473983" y="1516767"/>
                </a:lnTo>
                <a:lnTo>
                  <a:pt x="1477184" y="1522343"/>
                </a:lnTo>
                <a:cubicBezTo>
                  <a:pt x="1479249" y="1530398"/>
                  <a:pt x="1475738" y="1542015"/>
                  <a:pt x="1467477" y="1540311"/>
                </a:cubicBezTo>
                <a:cubicBezTo>
                  <a:pt x="1466032" y="1536594"/>
                  <a:pt x="1464896" y="1532721"/>
                  <a:pt x="1464587" y="1528539"/>
                </a:cubicBezTo>
                <a:cubicBezTo>
                  <a:pt x="1464483" y="1526526"/>
                  <a:pt x="1464587" y="1524357"/>
                  <a:pt x="1464999" y="1522188"/>
                </a:cubicBezTo>
                <a:lnTo>
                  <a:pt x="1465826" y="1519400"/>
                </a:lnTo>
                <a:lnTo>
                  <a:pt x="1465619" y="1519555"/>
                </a:lnTo>
                <a:lnTo>
                  <a:pt x="1466032" y="1518781"/>
                </a:lnTo>
                <a:lnTo>
                  <a:pt x="1467168" y="1515373"/>
                </a:lnTo>
                <a:lnTo>
                  <a:pt x="1466135" y="1515063"/>
                </a:lnTo>
                <a:cubicBezTo>
                  <a:pt x="1464999" y="1513669"/>
                  <a:pt x="1463554" y="1511810"/>
                  <a:pt x="1463760" y="1509951"/>
                </a:cubicBezTo>
                <a:cubicBezTo>
                  <a:pt x="1463864" y="1509332"/>
                  <a:pt x="1464173" y="1508712"/>
                  <a:pt x="1464690" y="1508093"/>
                </a:cubicBezTo>
                <a:lnTo>
                  <a:pt x="1465826" y="1507628"/>
                </a:lnTo>
                <a:lnTo>
                  <a:pt x="1465619" y="1507163"/>
                </a:lnTo>
                <a:cubicBezTo>
                  <a:pt x="1468201" y="1506079"/>
                  <a:pt x="1469543" y="1505924"/>
                  <a:pt x="1470162" y="1506698"/>
                </a:cubicBezTo>
                <a:lnTo>
                  <a:pt x="1470266" y="1507628"/>
                </a:lnTo>
                <a:lnTo>
                  <a:pt x="1471918" y="1508248"/>
                </a:lnTo>
                <a:lnTo>
                  <a:pt x="1474912" y="1502981"/>
                </a:lnTo>
                <a:cubicBezTo>
                  <a:pt x="1476151" y="1501122"/>
                  <a:pt x="1477803" y="1499418"/>
                  <a:pt x="1479869" y="1497715"/>
                </a:cubicBezTo>
                <a:close/>
                <a:moveTo>
                  <a:pt x="1278932" y="1497095"/>
                </a:moveTo>
                <a:cubicBezTo>
                  <a:pt x="1278106" y="1497560"/>
                  <a:pt x="1278106" y="1497560"/>
                  <a:pt x="1278106" y="1497560"/>
                </a:cubicBezTo>
                <a:cubicBezTo>
                  <a:pt x="1277796" y="1498799"/>
                  <a:pt x="1278622" y="1498179"/>
                  <a:pt x="1279035" y="1498954"/>
                </a:cubicBezTo>
                <a:cubicBezTo>
                  <a:pt x="1279035" y="1498954"/>
                  <a:pt x="1278519" y="1498334"/>
                  <a:pt x="1279758" y="1498489"/>
                </a:cubicBezTo>
                <a:cubicBezTo>
                  <a:pt x="1279035" y="1498954"/>
                  <a:pt x="1279448" y="1499728"/>
                  <a:pt x="1279964" y="1500348"/>
                </a:cubicBezTo>
                <a:cubicBezTo>
                  <a:pt x="1279345" y="1502672"/>
                  <a:pt x="1277899" y="1505615"/>
                  <a:pt x="1275937" y="1505924"/>
                </a:cubicBezTo>
                <a:cubicBezTo>
                  <a:pt x="1273562" y="1505460"/>
                  <a:pt x="1273356" y="1503601"/>
                  <a:pt x="1273666" y="1502517"/>
                </a:cubicBezTo>
                <a:cubicBezTo>
                  <a:pt x="1273356" y="1501122"/>
                  <a:pt x="1273975" y="1500038"/>
                  <a:pt x="1275008" y="1499109"/>
                </a:cubicBezTo>
                <a:cubicBezTo>
                  <a:pt x="1276040" y="1498179"/>
                  <a:pt x="1277590" y="1497405"/>
                  <a:pt x="1278932" y="1497095"/>
                </a:cubicBezTo>
                <a:close/>
                <a:moveTo>
                  <a:pt x="5416593" y="1496527"/>
                </a:moveTo>
                <a:cubicBezTo>
                  <a:pt x="5421715" y="1496242"/>
                  <a:pt x="5425343" y="1507197"/>
                  <a:pt x="5428972" y="1512745"/>
                </a:cubicBezTo>
                <a:cubicBezTo>
                  <a:pt x="5426197" y="1516871"/>
                  <a:pt x="5424917" y="1517867"/>
                  <a:pt x="5420008" y="1519147"/>
                </a:cubicBezTo>
                <a:cubicBezTo>
                  <a:pt x="5413819" y="1514025"/>
                  <a:pt x="5412325" y="1507623"/>
                  <a:pt x="5410831" y="1501079"/>
                </a:cubicBezTo>
                <a:cubicBezTo>
                  <a:pt x="5412965" y="1497949"/>
                  <a:pt x="5414886" y="1496527"/>
                  <a:pt x="5416593" y="1496527"/>
                </a:cubicBezTo>
                <a:close/>
                <a:moveTo>
                  <a:pt x="3647557" y="1496384"/>
                </a:moveTo>
                <a:cubicBezTo>
                  <a:pt x="3647343" y="1500226"/>
                  <a:pt x="3647343" y="1500226"/>
                  <a:pt x="3645636" y="1503356"/>
                </a:cubicBezTo>
                <a:cubicBezTo>
                  <a:pt x="3645422" y="1502217"/>
                  <a:pt x="3643715" y="1500226"/>
                  <a:pt x="3644569" y="1498661"/>
                </a:cubicBezTo>
                <a:cubicBezTo>
                  <a:pt x="3645422" y="1497096"/>
                  <a:pt x="3645422" y="1497096"/>
                  <a:pt x="3647557" y="1496384"/>
                </a:cubicBezTo>
                <a:close/>
                <a:moveTo>
                  <a:pt x="5091342" y="1495673"/>
                </a:moveTo>
                <a:cubicBezTo>
                  <a:pt x="5092409" y="1495530"/>
                  <a:pt x="5093476" y="1495530"/>
                  <a:pt x="5094756" y="1496527"/>
                </a:cubicBezTo>
                <a:cubicBezTo>
                  <a:pt x="5096037" y="1497664"/>
                  <a:pt x="5094970" y="1497807"/>
                  <a:pt x="5096250" y="1497807"/>
                </a:cubicBezTo>
                <a:cubicBezTo>
                  <a:pt x="5097530" y="1498803"/>
                  <a:pt x="5097317" y="1497664"/>
                  <a:pt x="5097317" y="1497664"/>
                </a:cubicBezTo>
                <a:cubicBezTo>
                  <a:pt x="5097317" y="1497664"/>
                  <a:pt x="5097530" y="1498945"/>
                  <a:pt x="5097530" y="1498945"/>
                </a:cubicBezTo>
                <a:cubicBezTo>
                  <a:pt x="5097530" y="1498945"/>
                  <a:pt x="5097530" y="1498945"/>
                  <a:pt x="5100092" y="1501079"/>
                </a:cubicBezTo>
                <a:cubicBezTo>
                  <a:pt x="5103933" y="1503356"/>
                  <a:pt x="5105000" y="1503213"/>
                  <a:pt x="5107561" y="1504209"/>
                </a:cubicBezTo>
                <a:cubicBezTo>
                  <a:pt x="5110122" y="1506486"/>
                  <a:pt x="5110336" y="1507766"/>
                  <a:pt x="5113324" y="1511180"/>
                </a:cubicBezTo>
                <a:cubicBezTo>
                  <a:pt x="5112470" y="1513599"/>
                  <a:pt x="5112256" y="1513599"/>
                  <a:pt x="5111189" y="1513599"/>
                </a:cubicBezTo>
                <a:cubicBezTo>
                  <a:pt x="5112256" y="1513599"/>
                  <a:pt x="5112470" y="1514737"/>
                  <a:pt x="5113751" y="1515875"/>
                </a:cubicBezTo>
                <a:cubicBezTo>
                  <a:pt x="5120153" y="1519147"/>
                  <a:pt x="5118659" y="1525265"/>
                  <a:pt x="5114818" y="1531383"/>
                </a:cubicBezTo>
                <a:cubicBezTo>
                  <a:pt x="5113537" y="1530244"/>
                  <a:pt x="5111616" y="1534085"/>
                  <a:pt x="5109482" y="1535366"/>
                </a:cubicBezTo>
                <a:cubicBezTo>
                  <a:pt x="5106068" y="1535508"/>
                  <a:pt x="5103933" y="1535650"/>
                  <a:pt x="5101159" y="1533374"/>
                </a:cubicBezTo>
                <a:lnTo>
                  <a:pt x="5098385" y="1529248"/>
                </a:lnTo>
                <a:lnTo>
                  <a:pt x="5096037" y="1531098"/>
                </a:lnTo>
                <a:cubicBezTo>
                  <a:pt x="5088994" y="1533943"/>
                  <a:pt x="5080671" y="1534370"/>
                  <a:pt x="5077896" y="1522277"/>
                </a:cubicBezTo>
                <a:lnTo>
                  <a:pt x="5077683" y="1521566"/>
                </a:lnTo>
                <a:lnTo>
                  <a:pt x="5072134" y="1527683"/>
                </a:lnTo>
                <a:cubicBezTo>
                  <a:pt x="5067225" y="1520570"/>
                  <a:pt x="5061463" y="1520428"/>
                  <a:pt x="5060182" y="1512887"/>
                </a:cubicBezTo>
                <a:cubicBezTo>
                  <a:pt x="5061889" y="1510611"/>
                  <a:pt x="5064237" y="1509330"/>
                  <a:pt x="5066372" y="1509046"/>
                </a:cubicBezTo>
                <a:cubicBezTo>
                  <a:pt x="5069573" y="1508477"/>
                  <a:pt x="5072774" y="1509900"/>
                  <a:pt x="5075122" y="1512176"/>
                </a:cubicBezTo>
                <a:lnTo>
                  <a:pt x="5075762" y="1513883"/>
                </a:lnTo>
                <a:lnTo>
                  <a:pt x="5080244" y="1510042"/>
                </a:lnTo>
                <a:cubicBezTo>
                  <a:pt x="5081524" y="1508477"/>
                  <a:pt x="5083445" y="1506628"/>
                  <a:pt x="5087714" y="1505063"/>
                </a:cubicBezTo>
                <a:cubicBezTo>
                  <a:pt x="5090488" y="1503782"/>
                  <a:pt x="5092835" y="1503356"/>
                  <a:pt x="5094970" y="1503356"/>
                </a:cubicBezTo>
                <a:lnTo>
                  <a:pt x="5096464" y="1503640"/>
                </a:lnTo>
                <a:lnTo>
                  <a:pt x="5096037" y="1503356"/>
                </a:lnTo>
                <a:cubicBezTo>
                  <a:pt x="5093049" y="1500368"/>
                  <a:pt x="5090914" y="1497380"/>
                  <a:pt x="5091342" y="1495673"/>
                </a:cubicBezTo>
                <a:close/>
                <a:moveTo>
                  <a:pt x="4089336" y="1494250"/>
                </a:moveTo>
                <a:cubicBezTo>
                  <a:pt x="4091470" y="1495815"/>
                  <a:pt x="4093818" y="1495246"/>
                  <a:pt x="4095525" y="1499229"/>
                </a:cubicBezTo>
                <a:cubicBezTo>
                  <a:pt x="4092964" y="1501079"/>
                  <a:pt x="4090616" y="1501791"/>
                  <a:pt x="4088055" y="1503640"/>
                </a:cubicBezTo>
                <a:cubicBezTo>
                  <a:pt x="4083787" y="1500226"/>
                  <a:pt x="4086561" y="1497096"/>
                  <a:pt x="4089336" y="1494250"/>
                </a:cubicBezTo>
                <a:close/>
                <a:moveTo>
                  <a:pt x="1725928" y="1494152"/>
                </a:moveTo>
                <a:cubicBezTo>
                  <a:pt x="1732536" y="1492448"/>
                  <a:pt x="1733878" y="1494307"/>
                  <a:pt x="1732949" y="1496475"/>
                </a:cubicBezTo>
                <a:cubicBezTo>
                  <a:pt x="1731504" y="1500193"/>
                  <a:pt x="1724069" y="1504530"/>
                  <a:pt x="1725928" y="1494152"/>
                </a:cubicBezTo>
                <a:close/>
                <a:moveTo>
                  <a:pt x="1027090" y="1493842"/>
                </a:moveTo>
                <a:cubicBezTo>
                  <a:pt x="1024818" y="1500968"/>
                  <a:pt x="1025025" y="1504220"/>
                  <a:pt x="1022753" y="1509642"/>
                </a:cubicBezTo>
                <a:cubicBezTo>
                  <a:pt x="1021824" y="1509797"/>
                  <a:pt x="1021824" y="1508867"/>
                  <a:pt x="1020894" y="1509022"/>
                </a:cubicBezTo>
                <a:cubicBezTo>
                  <a:pt x="1020482" y="1508712"/>
                  <a:pt x="1020172" y="1507938"/>
                  <a:pt x="1020172" y="1506854"/>
                </a:cubicBezTo>
                <a:cubicBezTo>
                  <a:pt x="1019965" y="1503756"/>
                  <a:pt x="1021411" y="1498799"/>
                  <a:pt x="1022030" y="1498799"/>
                </a:cubicBezTo>
                <a:cubicBezTo>
                  <a:pt x="1022030" y="1497870"/>
                  <a:pt x="1022857" y="1497715"/>
                  <a:pt x="1022857" y="1496940"/>
                </a:cubicBezTo>
                <a:cubicBezTo>
                  <a:pt x="1022857" y="1496940"/>
                  <a:pt x="1022753" y="1496011"/>
                  <a:pt x="1023579" y="1495082"/>
                </a:cubicBezTo>
                <a:cubicBezTo>
                  <a:pt x="1024405" y="1494152"/>
                  <a:pt x="1025231" y="1493223"/>
                  <a:pt x="1027090" y="1493842"/>
                </a:cubicBezTo>
                <a:close/>
                <a:moveTo>
                  <a:pt x="1715602" y="1493687"/>
                </a:moveTo>
                <a:cubicBezTo>
                  <a:pt x="1717254" y="1496321"/>
                  <a:pt x="1720352" y="1494152"/>
                  <a:pt x="1720455" y="1498025"/>
                </a:cubicBezTo>
                <a:cubicBezTo>
                  <a:pt x="1719733" y="1499418"/>
                  <a:pt x="1718184" y="1500658"/>
                  <a:pt x="1714983" y="1500813"/>
                </a:cubicBezTo>
                <a:cubicBezTo>
                  <a:pt x="1713434" y="1498954"/>
                  <a:pt x="1713021" y="1497715"/>
                  <a:pt x="1713331" y="1496475"/>
                </a:cubicBezTo>
                <a:cubicBezTo>
                  <a:pt x="1713641" y="1495391"/>
                  <a:pt x="1714673" y="1494462"/>
                  <a:pt x="1715602" y="1493687"/>
                </a:cubicBezTo>
                <a:close/>
                <a:moveTo>
                  <a:pt x="3825976" y="1493681"/>
                </a:moveTo>
                <a:cubicBezTo>
                  <a:pt x="3827043" y="1493254"/>
                  <a:pt x="3828323" y="1492970"/>
                  <a:pt x="3828750" y="1493681"/>
                </a:cubicBezTo>
                <a:cubicBezTo>
                  <a:pt x="3831098" y="1496242"/>
                  <a:pt x="3832165" y="1499941"/>
                  <a:pt x="3830885" y="1501079"/>
                </a:cubicBezTo>
                <a:cubicBezTo>
                  <a:pt x="3829177" y="1502644"/>
                  <a:pt x="3827470" y="1504209"/>
                  <a:pt x="3825122" y="1503213"/>
                </a:cubicBezTo>
                <a:cubicBezTo>
                  <a:pt x="3824482" y="1502786"/>
                  <a:pt x="3823628" y="1502217"/>
                  <a:pt x="3822774" y="1501221"/>
                </a:cubicBezTo>
                <a:cubicBezTo>
                  <a:pt x="3822774" y="1501221"/>
                  <a:pt x="3822774" y="1501221"/>
                  <a:pt x="3822774" y="1500083"/>
                </a:cubicBezTo>
                <a:cubicBezTo>
                  <a:pt x="3822988" y="1497664"/>
                  <a:pt x="3822988" y="1496527"/>
                  <a:pt x="3822988" y="1495388"/>
                </a:cubicBezTo>
                <a:cubicBezTo>
                  <a:pt x="3823628" y="1494820"/>
                  <a:pt x="3824695" y="1494108"/>
                  <a:pt x="3825976" y="1493681"/>
                </a:cubicBezTo>
                <a:close/>
                <a:moveTo>
                  <a:pt x="1525921" y="1492758"/>
                </a:moveTo>
                <a:cubicBezTo>
                  <a:pt x="1525921" y="1492758"/>
                  <a:pt x="1526334" y="1493378"/>
                  <a:pt x="1526334" y="1493378"/>
                </a:cubicBezTo>
                <a:cubicBezTo>
                  <a:pt x="1526230" y="1494927"/>
                  <a:pt x="1525921" y="1495546"/>
                  <a:pt x="1525301" y="1495856"/>
                </a:cubicBezTo>
                <a:lnTo>
                  <a:pt x="1524475" y="1495856"/>
                </a:lnTo>
                <a:lnTo>
                  <a:pt x="1524165" y="1496475"/>
                </a:lnTo>
                <a:cubicBezTo>
                  <a:pt x="1521584" y="1499418"/>
                  <a:pt x="1516421" y="1501742"/>
                  <a:pt x="1511568" y="1498799"/>
                </a:cubicBezTo>
                <a:cubicBezTo>
                  <a:pt x="1513117" y="1495082"/>
                  <a:pt x="1515285" y="1493687"/>
                  <a:pt x="1517763" y="1493223"/>
                </a:cubicBezTo>
                <a:lnTo>
                  <a:pt x="1523752" y="1493533"/>
                </a:lnTo>
                <a:close/>
                <a:moveTo>
                  <a:pt x="5376043" y="1491547"/>
                </a:moveTo>
                <a:cubicBezTo>
                  <a:pt x="5377324" y="1492970"/>
                  <a:pt x="5377751" y="1494677"/>
                  <a:pt x="5377964" y="1496242"/>
                </a:cubicBezTo>
                <a:cubicBezTo>
                  <a:pt x="5377964" y="1500937"/>
                  <a:pt x="5373482" y="1504636"/>
                  <a:pt x="5368574" y="1501364"/>
                </a:cubicBezTo>
                <a:cubicBezTo>
                  <a:pt x="5369214" y="1494535"/>
                  <a:pt x="5371988" y="1492258"/>
                  <a:pt x="5376043" y="1491547"/>
                </a:cubicBezTo>
                <a:close/>
                <a:moveTo>
                  <a:pt x="4185161" y="1491547"/>
                </a:moveTo>
                <a:cubicBezTo>
                  <a:pt x="4186228" y="1491120"/>
                  <a:pt x="4186655" y="1492258"/>
                  <a:pt x="4187722" y="1491690"/>
                </a:cubicBezTo>
                <a:cubicBezTo>
                  <a:pt x="4187722" y="1491690"/>
                  <a:pt x="4187935" y="1492827"/>
                  <a:pt x="4187935" y="1492827"/>
                </a:cubicBezTo>
                <a:cubicBezTo>
                  <a:pt x="4188576" y="1492543"/>
                  <a:pt x="4188576" y="1492401"/>
                  <a:pt x="4188362" y="1492827"/>
                </a:cubicBezTo>
                <a:cubicBezTo>
                  <a:pt x="4188149" y="1493254"/>
                  <a:pt x="4187935" y="1494108"/>
                  <a:pt x="4187722" y="1495388"/>
                </a:cubicBezTo>
                <a:cubicBezTo>
                  <a:pt x="4187295" y="1496953"/>
                  <a:pt x="4187722" y="1497949"/>
                  <a:pt x="4186228" y="1497380"/>
                </a:cubicBezTo>
                <a:cubicBezTo>
                  <a:pt x="4184734" y="1496811"/>
                  <a:pt x="4184734" y="1496811"/>
                  <a:pt x="4183454" y="1493681"/>
                </a:cubicBezTo>
                <a:cubicBezTo>
                  <a:pt x="4184948" y="1494250"/>
                  <a:pt x="4184948" y="1494250"/>
                  <a:pt x="4185588" y="1492685"/>
                </a:cubicBezTo>
                <a:cubicBezTo>
                  <a:pt x="4185588" y="1492685"/>
                  <a:pt x="4185588" y="1492685"/>
                  <a:pt x="4185161" y="1491547"/>
                </a:cubicBezTo>
                <a:close/>
                <a:moveTo>
                  <a:pt x="4235101" y="1491405"/>
                </a:moveTo>
                <a:cubicBezTo>
                  <a:pt x="4237449" y="1491120"/>
                  <a:pt x="4240437" y="1492685"/>
                  <a:pt x="4240010" y="1495815"/>
                </a:cubicBezTo>
                <a:cubicBezTo>
                  <a:pt x="4238516" y="1496242"/>
                  <a:pt x="4236382" y="1497664"/>
                  <a:pt x="4233821" y="1497238"/>
                </a:cubicBezTo>
                <a:cubicBezTo>
                  <a:pt x="4231046" y="1493539"/>
                  <a:pt x="4232754" y="1491547"/>
                  <a:pt x="4235101" y="1491405"/>
                </a:cubicBezTo>
                <a:close/>
                <a:moveTo>
                  <a:pt x="4612641" y="1490693"/>
                </a:moveTo>
                <a:cubicBezTo>
                  <a:pt x="4616056" y="1491690"/>
                  <a:pt x="4617549" y="1491974"/>
                  <a:pt x="4620111" y="1491832"/>
                </a:cubicBezTo>
                <a:cubicBezTo>
                  <a:pt x="4620751" y="1494677"/>
                  <a:pt x="4619684" y="1495246"/>
                  <a:pt x="4618190" y="1494820"/>
                </a:cubicBezTo>
                <a:cubicBezTo>
                  <a:pt x="4618190" y="1494820"/>
                  <a:pt x="4616483" y="1494392"/>
                  <a:pt x="4614775" y="1493966"/>
                </a:cubicBezTo>
                <a:cubicBezTo>
                  <a:pt x="4613281" y="1493397"/>
                  <a:pt x="4612214" y="1494108"/>
                  <a:pt x="4612214" y="1494108"/>
                </a:cubicBezTo>
                <a:cubicBezTo>
                  <a:pt x="4610720" y="1493681"/>
                  <a:pt x="4609866" y="1492543"/>
                  <a:pt x="4610080" y="1490835"/>
                </a:cubicBezTo>
                <a:cubicBezTo>
                  <a:pt x="4610080" y="1490835"/>
                  <a:pt x="4612641" y="1490693"/>
                  <a:pt x="4612641" y="1490693"/>
                </a:cubicBezTo>
                <a:close/>
                <a:moveTo>
                  <a:pt x="1039790" y="1489970"/>
                </a:moveTo>
                <a:cubicBezTo>
                  <a:pt x="1042991" y="1489505"/>
                  <a:pt x="1047638" y="1490280"/>
                  <a:pt x="1049496" y="1491364"/>
                </a:cubicBezTo>
                <a:cubicBezTo>
                  <a:pt x="1049909" y="1492758"/>
                  <a:pt x="1050013" y="1493842"/>
                  <a:pt x="1049806" y="1494927"/>
                </a:cubicBezTo>
                <a:lnTo>
                  <a:pt x="1049703" y="1495082"/>
                </a:lnTo>
                <a:lnTo>
                  <a:pt x="1053317" y="1495701"/>
                </a:lnTo>
                <a:cubicBezTo>
                  <a:pt x="1054763" y="1496475"/>
                  <a:pt x="1055898" y="1497715"/>
                  <a:pt x="1056621" y="1499109"/>
                </a:cubicBezTo>
                <a:lnTo>
                  <a:pt x="1056724" y="1499573"/>
                </a:lnTo>
                <a:lnTo>
                  <a:pt x="1058170" y="1499109"/>
                </a:lnTo>
                <a:cubicBezTo>
                  <a:pt x="1058893" y="1499573"/>
                  <a:pt x="1059202" y="1500658"/>
                  <a:pt x="1059202" y="1500658"/>
                </a:cubicBezTo>
                <a:cubicBezTo>
                  <a:pt x="1059512" y="1501742"/>
                  <a:pt x="1059512" y="1501742"/>
                  <a:pt x="1060752" y="1501432"/>
                </a:cubicBezTo>
                <a:cubicBezTo>
                  <a:pt x="1060752" y="1501432"/>
                  <a:pt x="1060235" y="1502052"/>
                  <a:pt x="1060235" y="1502052"/>
                </a:cubicBezTo>
                <a:cubicBezTo>
                  <a:pt x="1059512" y="1501742"/>
                  <a:pt x="1060235" y="1502052"/>
                  <a:pt x="1060545" y="1503291"/>
                </a:cubicBezTo>
                <a:cubicBezTo>
                  <a:pt x="1058996" y="1504375"/>
                  <a:pt x="1058583" y="1505150"/>
                  <a:pt x="1057344" y="1505615"/>
                </a:cubicBezTo>
                <a:lnTo>
                  <a:pt x="1056311" y="1505769"/>
                </a:lnTo>
                <a:lnTo>
                  <a:pt x="1055589" y="1507008"/>
                </a:lnTo>
                <a:cubicBezTo>
                  <a:pt x="1054143" y="1508248"/>
                  <a:pt x="1051768" y="1508712"/>
                  <a:pt x="1048361" y="1507628"/>
                </a:cubicBezTo>
                <a:cubicBezTo>
                  <a:pt x="1048464" y="1505460"/>
                  <a:pt x="1048051" y="1503756"/>
                  <a:pt x="1047638" y="1502207"/>
                </a:cubicBezTo>
                <a:lnTo>
                  <a:pt x="1046812" y="1498179"/>
                </a:lnTo>
                <a:lnTo>
                  <a:pt x="1045056" y="1498954"/>
                </a:lnTo>
                <a:cubicBezTo>
                  <a:pt x="1040926" y="1499418"/>
                  <a:pt x="1035866" y="1496630"/>
                  <a:pt x="1037106" y="1491054"/>
                </a:cubicBezTo>
                <a:cubicBezTo>
                  <a:pt x="1037725" y="1490590"/>
                  <a:pt x="1038655" y="1490280"/>
                  <a:pt x="1039790" y="1489970"/>
                </a:cubicBezTo>
                <a:close/>
                <a:moveTo>
                  <a:pt x="5850689" y="1489128"/>
                </a:moveTo>
                <a:cubicBezTo>
                  <a:pt x="5851543" y="1488986"/>
                  <a:pt x="5852183" y="1489271"/>
                  <a:pt x="5853250" y="1490551"/>
                </a:cubicBezTo>
                <a:cubicBezTo>
                  <a:pt x="5854317" y="1491120"/>
                  <a:pt x="5854957" y="1491832"/>
                  <a:pt x="5854744" y="1492685"/>
                </a:cubicBezTo>
                <a:cubicBezTo>
                  <a:pt x="5854744" y="1493539"/>
                  <a:pt x="5854104" y="1494820"/>
                  <a:pt x="5852610" y="1496527"/>
                </a:cubicBezTo>
                <a:cubicBezTo>
                  <a:pt x="5850049" y="1498945"/>
                  <a:pt x="5848768" y="1501364"/>
                  <a:pt x="5847701" y="1501364"/>
                </a:cubicBezTo>
                <a:cubicBezTo>
                  <a:pt x="5847488" y="1502644"/>
                  <a:pt x="5846207" y="1503782"/>
                  <a:pt x="5845994" y="1505063"/>
                </a:cubicBezTo>
                <a:cubicBezTo>
                  <a:pt x="5845994" y="1505063"/>
                  <a:pt x="5845994" y="1505063"/>
                  <a:pt x="5844927" y="1505063"/>
                </a:cubicBezTo>
                <a:cubicBezTo>
                  <a:pt x="5846634" y="1500226"/>
                  <a:pt x="5845994" y="1494108"/>
                  <a:pt x="5848768" y="1490408"/>
                </a:cubicBezTo>
                <a:cubicBezTo>
                  <a:pt x="5849408" y="1489840"/>
                  <a:pt x="5850049" y="1489271"/>
                  <a:pt x="5850689" y="1489128"/>
                </a:cubicBezTo>
                <a:close/>
                <a:moveTo>
                  <a:pt x="1769296" y="1489040"/>
                </a:moveTo>
                <a:lnTo>
                  <a:pt x="1770122" y="1489040"/>
                </a:lnTo>
                <a:cubicBezTo>
                  <a:pt x="1770535" y="1489350"/>
                  <a:pt x="1770638" y="1489970"/>
                  <a:pt x="1770638" y="1490899"/>
                </a:cubicBezTo>
                <a:cubicBezTo>
                  <a:pt x="1770535" y="1493687"/>
                  <a:pt x="1768986" y="1498489"/>
                  <a:pt x="1768883" y="1499109"/>
                </a:cubicBezTo>
                <a:lnTo>
                  <a:pt x="1768779" y="1500038"/>
                </a:lnTo>
                <a:lnTo>
                  <a:pt x="1768573" y="1503756"/>
                </a:lnTo>
                <a:cubicBezTo>
                  <a:pt x="1764752" y="1505305"/>
                  <a:pt x="1760829" y="1500968"/>
                  <a:pt x="1758454" y="1498799"/>
                </a:cubicBezTo>
                <a:cubicBezTo>
                  <a:pt x="1760209" y="1495856"/>
                  <a:pt x="1761964" y="1492913"/>
                  <a:pt x="1764442" y="1492448"/>
                </a:cubicBezTo>
                <a:lnTo>
                  <a:pt x="1766817" y="1495082"/>
                </a:lnTo>
                <a:lnTo>
                  <a:pt x="1766921" y="1494927"/>
                </a:lnTo>
                <a:cubicBezTo>
                  <a:pt x="1767953" y="1493223"/>
                  <a:pt x="1767953" y="1492294"/>
                  <a:pt x="1767334" y="1490590"/>
                </a:cubicBezTo>
                <a:cubicBezTo>
                  <a:pt x="1767334" y="1490590"/>
                  <a:pt x="1767334" y="1490744"/>
                  <a:pt x="1769296" y="1489040"/>
                </a:cubicBezTo>
                <a:close/>
                <a:moveTo>
                  <a:pt x="3474473" y="1488702"/>
                </a:moveTo>
                <a:lnTo>
                  <a:pt x="3473833" y="1489271"/>
                </a:lnTo>
                <a:lnTo>
                  <a:pt x="3474473" y="1489982"/>
                </a:lnTo>
                <a:close/>
                <a:moveTo>
                  <a:pt x="5336561" y="1488560"/>
                </a:moveTo>
                <a:cubicBezTo>
                  <a:pt x="5343817" y="1495957"/>
                  <a:pt x="5352140" y="1503498"/>
                  <a:pt x="5349153" y="1510469"/>
                </a:cubicBezTo>
                <a:cubicBezTo>
                  <a:pt x="5342110" y="1511322"/>
                  <a:pt x="5336134" y="1501506"/>
                  <a:pt x="5333573" y="1495388"/>
                </a:cubicBezTo>
                <a:cubicBezTo>
                  <a:pt x="5335707" y="1493112"/>
                  <a:pt x="5334427" y="1490835"/>
                  <a:pt x="5336561" y="1488560"/>
                </a:cubicBezTo>
                <a:close/>
                <a:moveTo>
                  <a:pt x="4629928" y="1488560"/>
                </a:moveTo>
                <a:cubicBezTo>
                  <a:pt x="4633556" y="1489555"/>
                  <a:pt x="4637611" y="1490978"/>
                  <a:pt x="4639318" y="1493539"/>
                </a:cubicBezTo>
                <a:cubicBezTo>
                  <a:pt x="4639958" y="1494250"/>
                  <a:pt x="4640386" y="1495388"/>
                  <a:pt x="4640386" y="1496384"/>
                </a:cubicBezTo>
                <a:cubicBezTo>
                  <a:pt x="4640812" y="1499087"/>
                  <a:pt x="4638251" y="1499229"/>
                  <a:pt x="4635050" y="1498518"/>
                </a:cubicBezTo>
                <a:cubicBezTo>
                  <a:pt x="4628220" y="1498518"/>
                  <a:pt x="4625446" y="1495957"/>
                  <a:pt x="4626087" y="1491120"/>
                </a:cubicBezTo>
                <a:cubicBezTo>
                  <a:pt x="4627154" y="1490408"/>
                  <a:pt x="4630568" y="1489555"/>
                  <a:pt x="4629928" y="1488560"/>
                </a:cubicBezTo>
                <a:close/>
                <a:moveTo>
                  <a:pt x="1700940" y="1488421"/>
                </a:moveTo>
                <a:cubicBezTo>
                  <a:pt x="1701766" y="1489195"/>
                  <a:pt x="1702592" y="1489970"/>
                  <a:pt x="1703521" y="1489040"/>
                </a:cubicBezTo>
                <a:cubicBezTo>
                  <a:pt x="1715086" y="1498644"/>
                  <a:pt x="1708891" y="1522653"/>
                  <a:pt x="1693196" y="1526680"/>
                </a:cubicBezTo>
                <a:lnTo>
                  <a:pt x="1688446" y="1521104"/>
                </a:lnTo>
                <a:lnTo>
                  <a:pt x="1684212" y="1522498"/>
                </a:lnTo>
                <a:cubicBezTo>
                  <a:pt x="1681941" y="1521414"/>
                  <a:pt x="1681218" y="1519710"/>
                  <a:pt x="1681734" y="1518781"/>
                </a:cubicBezTo>
                <a:cubicBezTo>
                  <a:pt x="1682354" y="1516457"/>
                  <a:pt x="1683386" y="1514908"/>
                  <a:pt x="1684626" y="1513824"/>
                </a:cubicBezTo>
                <a:lnTo>
                  <a:pt x="1685555" y="1513205"/>
                </a:lnTo>
                <a:lnTo>
                  <a:pt x="1685245" y="1511965"/>
                </a:lnTo>
                <a:cubicBezTo>
                  <a:pt x="1684935" y="1502826"/>
                  <a:pt x="1691027" y="1493068"/>
                  <a:pt x="1700940" y="1488421"/>
                </a:cubicBezTo>
                <a:close/>
                <a:moveTo>
                  <a:pt x="1334794" y="1488266"/>
                </a:moveTo>
                <a:cubicBezTo>
                  <a:pt x="1336445" y="1488421"/>
                  <a:pt x="1338201" y="1489040"/>
                  <a:pt x="1339956" y="1490590"/>
                </a:cubicBezTo>
                <a:cubicBezTo>
                  <a:pt x="1343777" y="1494307"/>
                  <a:pt x="1346358" y="1499573"/>
                  <a:pt x="1339130" y="1505769"/>
                </a:cubicBezTo>
                <a:cubicBezTo>
                  <a:pt x="1337994" y="1507318"/>
                  <a:pt x="1338201" y="1506544"/>
                  <a:pt x="1337168" y="1507318"/>
                </a:cubicBezTo>
                <a:lnTo>
                  <a:pt x="1336962" y="1507628"/>
                </a:lnTo>
                <a:lnTo>
                  <a:pt x="1338201" y="1508093"/>
                </a:lnTo>
                <a:cubicBezTo>
                  <a:pt x="1338511" y="1508402"/>
                  <a:pt x="1338511" y="1508867"/>
                  <a:pt x="1338407" y="1509332"/>
                </a:cubicBezTo>
                <a:cubicBezTo>
                  <a:pt x="1338407" y="1509332"/>
                  <a:pt x="1338098" y="1510571"/>
                  <a:pt x="1337788" y="1511655"/>
                </a:cubicBezTo>
                <a:cubicBezTo>
                  <a:pt x="1337478" y="1512895"/>
                  <a:pt x="1337994" y="1513514"/>
                  <a:pt x="1337994" y="1513514"/>
                </a:cubicBezTo>
                <a:cubicBezTo>
                  <a:pt x="1337685" y="1514753"/>
                  <a:pt x="1336962" y="1515063"/>
                  <a:pt x="1335723" y="1514753"/>
                </a:cubicBezTo>
                <a:cubicBezTo>
                  <a:pt x="1335723" y="1514753"/>
                  <a:pt x="1335516" y="1512895"/>
                  <a:pt x="1335516" y="1512895"/>
                </a:cubicBezTo>
                <a:cubicBezTo>
                  <a:pt x="1335826" y="1511655"/>
                  <a:pt x="1336033" y="1510881"/>
                  <a:pt x="1336136" y="1510106"/>
                </a:cubicBezTo>
                <a:lnTo>
                  <a:pt x="1336239" y="1508712"/>
                </a:lnTo>
                <a:lnTo>
                  <a:pt x="1334897" y="1510571"/>
                </a:lnTo>
                <a:cubicBezTo>
                  <a:pt x="1334174" y="1509797"/>
                  <a:pt x="1333451" y="1509487"/>
                  <a:pt x="1332728" y="1509177"/>
                </a:cubicBezTo>
                <a:lnTo>
                  <a:pt x="1330767" y="1508867"/>
                </a:lnTo>
                <a:lnTo>
                  <a:pt x="1329321" y="1510416"/>
                </a:lnTo>
                <a:cubicBezTo>
                  <a:pt x="1328804" y="1509642"/>
                  <a:pt x="1327153" y="1508402"/>
                  <a:pt x="1327875" y="1508093"/>
                </a:cubicBezTo>
                <a:lnTo>
                  <a:pt x="1327978" y="1507783"/>
                </a:lnTo>
                <a:lnTo>
                  <a:pt x="1325191" y="1505769"/>
                </a:lnTo>
                <a:cubicBezTo>
                  <a:pt x="1322196" y="1502981"/>
                  <a:pt x="1321370" y="1500193"/>
                  <a:pt x="1321576" y="1497715"/>
                </a:cubicBezTo>
                <a:cubicBezTo>
                  <a:pt x="1321783" y="1496475"/>
                  <a:pt x="1322196" y="1495237"/>
                  <a:pt x="1322816" y="1494152"/>
                </a:cubicBezTo>
                <a:lnTo>
                  <a:pt x="1322919" y="1493997"/>
                </a:lnTo>
                <a:lnTo>
                  <a:pt x="1321576" y="1493378"/>
                </a:lnTo>
                <a:cubicBezTo>
                  <a:pt x="1321990" y="1492294"/>
                  <a:pt x="1322506" y="1491209"/>
                  <a:pt x="1323126" y="1490590"/>
                </a:cubicBezTo>
                <a:cubicBezTo>
                  <a:pt x="1323848" y="1489815"/>
                  <a:pt x="1324571" y="1489660"/>
                  <a:pt x="1325707" y="1490280"/>
                </a:cubicBezTo>
                <a:lnTo>
                  <a:pt x="1326326" y="1490744"/>
                </a:lnTo>
                <a:lnTo>
                  <a:pt x="1328185" y="1489815"/>
                </a:lnTo>
                <a:cubicBezTo>
                  <a:pt x="1329940" y="1488886"/>
                  <a:pt x="1332315" y="1487956"/>
                  <a:pt x="1334794" y="1488266"/>
                </a:cubicBezTo>
                <a:close/>
                <a:moveTo>
                  <a:pt x="5159636" y="1487706"/>
                </a:moveTo>
                <a:cubicBezTo>
                  <a:pt x="5167319" y="1492116"/>
                  <a:pt x="5169880" y="1511038"/>
                  <a:pt x="5167106" y="1514737"/>
                </a:cubicBezTo>
                <a:cubicBezTo>
                  <a:pt x="5163051" y="1511465"/>
                  <a:pt x="5163477" y="1506628"/>
                  <a:pt x="5159423" y="1502075"/>
                </a:cubicBezTo>
                <a:cubicBezTo>
                  <a:pt x="5161343" y="1498376"/>
                  <a:pt x="5156861" y="1492685"/>
                  <a:pt x="5159636" y="1487706"/>
                </a:cubicBezTo>
                <a:close/>
                <a:moveTo>
                  <a:pt x="3879331" y="1487137"/>
                </a:moveTo>
                <a:cubicBezTo>
                  <a:pt x="3879331" y="1487137"/>
                  <a:pt x="3879544" y="1487421"/>
                  <a:pt x="3879544" y="1487848"/>
                </a:cubicBezTo>
                <a:cubicBezTo>
                  <a:pt x="3879757" y="1488275"/>
                  <a:pt x="3879757" y="1488844"/>
                  <a:pt x="3879117" y="1489271"/>
                </a:cubicBezTo>
                <a:cubicBezTo>
                  <a:pt x="3879117" y="1489271"/>
                  <a:pt x="3879117" y="1489271"/>
                  <a:pt x="3878050" y="1489128"/>
                </a:cubicBezTo>
                <a:cubicBezTo>
                  <a:pt x="3878050" y="1489128"/>
                  <a:pt x="3878050" y="1488133"/>
                  <a:pt x="3879331" y="1487137"/>
                </a:cubicBezTo>
                <a:close/>
                <a:moveTo>
                  <a:pt x="1513324" y="1486872"/>
                </a:moveTo>
                <a:cubicBezTo>
                  <a:pt x="1513324" y="1486872"/>
                  <a:pt x="1513324" y="1486872"/>
                  <a:pt x="1515698" y="1487646"/>
                </a:cubicBezTo>
                <a:cubicBezTo>
                  <a:pt x="1516421" y="1487337"/>
                  <a:pt x="1516524" y="1487337"/>
                  <a:pt x="1516524" y="1487337"/>
                </a:cubicBezTo>
                <a:cubicBezTo>
                  <a:pt x="1517247" y="1486872"/>
                  <a:pt x="1518073" y="1488421"/>
                  <a:pt x="1518073" y="1488421"/>
                </a:cubicBezTo>
                <a:cubicBezTo>
                  <a:pt x="1518280" y="1490280"/>
                  <a:pt x="1515595" y="1490744"/>
                  <a:pt x="1514149" y="1491364"/>
                </a:cubicBezTo>
                <a:cubicBezTo>
                  <a:pt x="1514356" y="1493378"/>
                  <a:pt x="1510226" y="1491364"/>
                  <a:pt x="1510432" y="1493378"/>
                </a:cubicBezTo>
                <a:cubicBezTo>
                  <a:pt x="1505682" y="1491829"/>
                  <a:pt x="1504340" y="1497560"/>
                  <a:pt x="1496905" y="1496475"/>
                </a:cubicBezTo>
                <a:cubicBezTo>
                  <a:pt x="1498351" y="1494927"/>
                  <a:pt x="1499900" y="1493842"/>
                  <a:pt x="1501449" y="1492913"/>
                </a:cubicBezTo>
                <a:cubicBezTo>
                  <a:pt x="1506096" y="1490280"/>
                  <a:pt x="1510742" y="1489815"/>
                  <a:pt x="1513324" y="1486872"/>
                </a:cubicBezTo>
                <a:close/>
                <a:moveTo>
                  <a:pt x="3907502" y="1486568"/>
                </a:moveTo>
                <a:cubicBezTo>
                  <a:pt x="3909423" y="1486710"/>
                  <a:pt x="3911770" y="1486994"/>
                  <a:pt x="3914118" y="1487563"/>
                </a:cubicBezTo>
                <a:cubicBezTo>
                  <a:pt x="3920520" y="1489413"/>
                  <a:pt x="3925429" y="1493681"/>
                  <a:pt x="3930338" y="1498945"/>
                </a:cubicBezTo>
                <a:lnTo>
                  <a:pt x="3933753" y="1502502"/>
                </a:lnTo>
                <a:lnTo>
                  <a:pt x="3935460" y="1502786"/>
                </a:lnTo>
                <a:cubicBezTo>
                  <a:pt x="3937167" y="1503213"/>
                  <a:pt x="3938874" y="1503782"/>
                  <a:pt x="3939729" y="1504636"/>
                </a:cubicBezTo>
                <a:cubicBezTo>
                  <a:pt x="3940369" y="1505205"/>
                  <a:pt x="3940582" y="1505916"/>
                  <a:pt x="3940369" y="1506770"/>
                </a:cubicBezTo>
                <a:lnTo>
                  <a:pt x="3937381" y="1506201"/>
                </a:lnTo>
                <a:lnTo>
                  <a:pt x="3938234" y="1507197"/>
                </a:lnTo>
                <a:cubicBezTo>
                  <a:pt x="3941009" y="1510042"/>
                  <a:pt x="3944210" y="1512887"/>
                  <a:pt x="3947625" y="1515448"/>
                </a:cubicBezTo>
                <a:cubicBezTo>
                  <a:pt x="3941222" y="1516160"/>
                  <a:pt x="3936954" y="1519574"/>
                  <a:pt x="3933539" y="1523842"/>
                </a:cubicBezTo>
                <a:lnTo>
                  <a:pt x="3929698" y="1528537"/>
                </a:lnTo>
                <a:lnTo>
                  <a:pt x="3930551" y="1529391"/>
                </a:lnTo>
                <a:cubicBezTo>
                  <a:pt x="3930978" y="1529675"/>
                  <a:pt x="3930978" y="1529675"/>
                  <a:pt x="3930978" y="1529106"/>
                </a:cubicBezTo>
                <a:cubicBezTo>
                  <a:pt x="3933112" y="1531809"/>
                  <a:pt x="3936314" y="1534797"/>
                  <a:pt x="3935033" y="1536931"/>
                </a:cubicBezTo>
                <a:cubicBezTo>
                  <a:pt x="3932046" y="1540061"/>
                  <a:pt x="3927350" y="1538780"/>
                  <a:pt x="3923295" y="1536362"/>
                </a:cubicBezTo>
                <a:lnTo>
                  <a:pt x="3922655" y="1536077"/>
                </a:lnTo>
                <a:lnTo>
                  <a:pt x="3918600" y="1538211"/>
                </a:lnTo>
                <a:cubicBezTo>
                  <a:pt x="3917106" y="1538780"/>
                  <a:pt x="3915185" y="1539065"/>
                  <a:pt x="3913264" y="1538923"/>
                </a:cubicBezTo>
                <a:lnTo>
                  <a:pt x="3904941" y="1537073"/>
                </a:lnTo>
                <a:lnTo>
                  <a:pt x="3904514" y="1539634"/>
                </a:lnTo>
                <a:cubicBezTo>
                  <a:pt x="3900459" y="1539065"/>
                  <a:pt x="3899178" y="1536931"/>
                  <a:pt x="3899178" y="1534228"/>
                </a:cubicBezTo>
                <a:lnTo>
                  <a:pt x="3899178" y="1533943"/>
                </a:lnTo>
                <a:lnTo>
                  <a:pt x="3896191" y="1531383"/>
                </a:lnTo>
                <a:lnTo>
                  <a:pt x="3896191" y="1531809"/>
                </a:lnTo>
                <a:cubicBezTo>
                  <a:pt x="3896191" y="1532947"/>
                  <a:pt x="3895764" y="1533801"/>
                  <a:pt x="3895124" y="1534512"/>
                </a:cubicBezTo>
                <a:lnTo>
                  <a:pt x="3893203" y="1535366"/>
                </a:lnTo>
                <a:lnTo>
                  <a:pt x="3892563" y="1538638"/>
                </a:lnTo>
                <a:cubicBezTo>
                  <a:pt x="3891496" y="1541626"/>
                  <a:pt x="3890002" y="1544613"/>
                  <a:pt x="3888935" y="1547174"/>
                </a:cubicBezTo>
                <a:cubicBezTo>
                  <a:pt x="3886587" y="1552580"/>
                  <a:pt x="3883599" y="1558271"/>
                  <a:pt x="3880184" y="1559978"/>
                </a:cubicBezTo>
                <a:lnTo>
                  <a:pt x="3879757" y="1559978"/>
                </a:lnTo>
                <a:lnTo>
                  <a:pt x="3877837" y="1562966"/>
                </a:lnTo>
                <a:cubicBezTo>
                  <a:pt x="3874849" y="1566380"/>
                  <a:pt x="3871007" y="1567945"/>
                  <a:pt x="3868020" y="1562966"/>
                </a:cubicBezTo>
                <a:lnTo>
                  <a:pt x="3872288" y="1556706"/>
                </a:lnTo>
                <a:lnTo>
                  <a:pt x="3869727" y="1554714"/>
                </a:lnTo>
                <a:cubicBezTo>
                  <a:pt x="3868233" y="1551869"/>
                  <a:pt x="3867806" y="1548312"/>
                  <a:pt x="3868020" y="1544613"/>
                </a:cubicBezTo>
                <a:lnTo>
                  <a:pt x="3868446" y="1543191"/>
                </a:lnTo>
                <a:lnTo>
                  <a:pt x="3854361" y="1543618"/>
                </a:lnTo>
                <a:lnTo>
                  <a:pt x="3850306" y="1544044"/>
                </a:lnTo>
                <a:lnTo>
                  <a:pt x="3849452" y="1545325"/>
                </a:lnTo>
                <a:cubicBezTo>
                  <a:pt x="3848385" y="1546463"/>
                  <a:pt x="3847104" y="1547459"/>
                  <a:pt x="3846464" y="1549024"/>
                </a:cubicBezTo>
                <a:cubicBezTo>
                  <a:pt x="3845397" y="1548170"/>
                  <a:pt x="3844116" y="1547174"/>
                  <a:pt x="3843263" y="1545609"/>
                </a:cubicBezTo>
                <a:lnTo>
                  <a:pt x="3843049" y="1544898"/>
                </a:lnTo>
                <a:lnTo>
                  <a:pt x="3842409" y="1544898"/>
                </a:lnTo>
                <a:lnTo>
                  <a:pt x="3842836" y="1544471"/>
                </a:lnTo>
                <a:lnTo>
                  <a:pt x="3842195" y="1542906"/>
                </a:lnTo>
                <a:cubicBezTo>
                  <a:pt x="3842195" y="1541768"/>
                  <a:pt x="3842195" y="1540630"/>
                  <a:pt x="3842623" y="1539065"/>
                </a:cubicBezTo>
                <a:cubicBezTo>
                  <a:pt x="3843263" y="1537500"/>
                  <a:pt x="3843263" y="1537358"/>
                  <a:pt x="3844330" y="1536789"/>
                </a:cubicBezTo>
                <a:cubicBezTo>
                  <a:pt x="3845184" y="1535792"/>
                  <a:pt x="3845824" y="1534797"/>
                  <a:pt x="3846464" y="1534228"/>
                </a:cubicBezTo>
                <a:lnTo>
                  <a:pt x="3847104" y="1533943"/>
                </a:lnTo>
                <a:lnTo>
                  <a:pt x="3847531" y="1532094"/>
                </a:lnTo>
                <a:cubicBezTo>
                  <a:pt x="3847958" y="1527683"/>
                  <a:pt x="3847531" y="1523273"/>
                  <a:pt x="3847531" y="1519005"/>
                </a:cubicBezTo>
                <a:lnTo>
                  <a:pt x="3845184" y="1518863"/>
                </a:lnTo>
                <a:cubicBezTo>
                  <a:pt x="3843049" y="1518009"/>
                  <a:pt x="3841342" y="1516586"/>
                  <a:pt x="3839421" y="1516302"/>
                </a:cubicBezTo>
                <a:cubicBezTo>
                  <a:pt x="3840061" y="1511038"/>
                  <a:pt x="3843263" y="1508335"/>
                  <a:pt x="3846251" y="1507766"/>
                </a:cubicBezTo>
                <a:lnTo>
                  <a:pt x="3849025" y="1507908"/>
                </a:lnTo>
                <a:lnTo>
                  <a:pt x="3849665" y="1505632"/>
                </a:lnTo>
                <a:cubicBezTo>
                  <a:pt x="3850519" y="1503925"/>
                  <a:pt x="3851586" y="1502359"/>
                  <a:pt x="3853294" y="1500794"/>
                </a:cubicBezTo>
                <a:cubicBezTo>
                  <a:pt x="3864391" y="1488560"/>
                  <a:pt x="3878904" y="1490978"/>
                  <a:pt x="3887867" y="1499372"/>
                </a:cubicBezTo>
                <a:lnTo>
                  <a:pt x="3888295" y="1500083"/>
                </a:lnTo>
                <a:lnTo>
                  <a:pt x="3890215" y="1497096"/>
                </a:lnTo>
                <a:lnTo>
                  <a:pt x="3887867" y="1496811"/>
                </a:lnTo>
                <a:cubicBezTo>
                  <a:pt x="3885947" y="1495673"/>
                  <a:pt x="3884880" y="1493112"/>
                  <a:pt x="3886160" y="1489413"/>
                </a:cubicBezTo>
                <a:cubicBezTo>
                  <a:pt x="3887654" y="1488702"/>
                  <a:pt x="3890215" y="1488702"/>
                  <a:pt x="3892563" y="1489271"/>
                </a:cubicBezTo>
                <a:lnTo>
                  <a:pt x="3895124" y="1490978"/>
                </a:lnTo>
                <a:lnTo>
                  <a:pt x="3901740" y="1487279"/>
                </a:lnTo>
                <a:cubicBezTo>
                  <a:pt x="3903447" y="1486852"/>
                  <a:pt x="3905368" y="1486568"/>
                  <a:pt x="3907502" y="1486568"/>
                </a:cubicBezTo>
                <a:close/>
                <a:moveTo>
                  <a:pt x="3816158" y="1486568"/>
                </a:moveTo>
                <a:cubicBezTo>
                  <a:pt x="3817226" y="1487848"/>
                  <a:pt x="3818293" y="1489128"/>
                  <a:pt x="3818719" y="1490551"/>
                </a:cubicBezTo>
                <a:lnTo>
                  <a:pt x="3818719" y="1491690"/>
                </a:lnTo>
                <a:lnTo>
                  <a:pt x="3819786" y="1490693"/>
                </a:lnTo>
                <a:cubicBezTo>
                  <a:pt x="3820427" y="1489982"/>
                  <a:pt x="3820640" y="1488986"/>
                  <a:pt x="3820854" y="1487706"/>
                </a:cubicBezTo>
                <a:cubicBezTo>
                  <a:pt x="3820854" y="1487706"/>
                  <a:pt x="3820854" y="1487706"/>
                  <a:pt x="3823841" y="1486852"/>
                </a:cubicBezTo>
                <a:lnTo>
                  <a:pt x="3824909" y="1487421"/>
                </a:lnTo>
                <a:cubicBezTo>
                  <a:pt x="3825122" y="1487990"/>
                  <a:pt x="3824909" y="1488844"/>
                  <a:pt x="3824268" y="1490125"/>
                </a:cubicBezTo>
                <a:cubicBezTo>
                  <a:pt x="3822348" y="1493681"/>
                  <a:pt x="3817439" y="1498945"/>
                  <a:pt x="3817012" y="1499799"/>
                </a:cubicBezTo>
                <a:cubicBezTo>
                  <a:pt x="3817012" y="1499799"/>
                  <a:pt x="3816158" y="1500937"/>
                  <a:pt x="3815518" y="1501933"/>
                </a:cubicBezTo>
                <a:cubicBezTo>
                  <a:pt x="3814024" y="1502359"/>
                  <a:pt x="3812957" y="1501791"/>
                  <a:pt x="3812317" y="1502786"/>
                </a:cubicBezTo>
                <a:cubicBezTo>
                  <a:pt x="3811890" y="1500368"/>
                  <a:pt x="3812530" y="1498518"/>
                  <a:pt x="3813598" y="1496953"/>
                </a:cubicBezTo>
                <a:lnTo>
                  <a:pt x="3817439" y="1492970"/>
                </a:lnTo>
                <a:lnTo>
                  <a:pt x="3816158" y="1490835"/>
                </a:lnTo>
                <a:cubicBezTo>
                  <a:pt x="3815731" y="1489698"/>
                  <a:pt x="3815731" y="1488417"/>
                  <a:pt x="3816158" y="1486568"/>
                </a:cubicBezTo>
                <a:close/>
                <a:moveTo>
                  <a:pt x="3991803" y="1486141"/>
                </a:moveTo>
                <a:cubicBezTo>
                  <a:pt x="3993510" y="1488133"/>
                  <a:pt x="3996925" y="1491832"/>
                  <a:pt x="3997565" y="1494392"/>
                </a:cubicBezTo>
                <a:cubicBezTo>
                  <a:pt x="3997565" y="1495246"/>
                  <a:pt x="3997565" y="1495957"/>
                  <a:pt x="3996925" y="1496527"/>
                </a:cubicBezTo>
                <a:cubicBezTo>
                  <a:pt x="3994791" y="1493823"/>
                  <a:pt x="3990309" y="1490693"/>
                  <a:pt x="3991803" y="1486141"/>
                </a:cubicBezTo>
                <a:close/>
                <a:moveTo>
                  <a:pt x="3700698" y="1485430"/>
                </a:moveTo>
                <a:cubicBezTo>
                  <a:pt x="3703046" y="1485571"/>
                  <a:pt x="3705607" y="1486994"/>
                  <a:pt x="3706247" y="1488702"/>
                </a:cubicBezTo>
                <a:cubicBezTo>
                  <a:pt x="3705607" y="1496811"/>
                  <a:pt x="3696857" y="1493254"/>
                  <a:pt x="3695576" y="1489982"/>
                </a:cubicBezTo>
                <a:cubicBezTo>
                  <a:pt x="3696003" y="1486568"/>
                  <a:pt x="3698351" y="1485287"/>
                  <a:pt x="3700698" y="1485430"/>
                </a:cubicBezTo>
                <a:close/>
                <a:moveTo>
                  <a:pt x="4032139" y="1485145"/>
                </a:moveTo>
                <a:cubicBezTo>
                  <a:pt x="4032993" y="1484861"/>
                  <a:pt x="4034060" y="1485145"/>
                  <a:pt x="4035981" y="1486141"/>
                </a:cubicBezTo>
                <a:cubicBezTo>
                  <a:pt x="4035981" y="1486141"/>
                  <a:pt x="4036194" y="1487279"/>
                  <a:pt x="4036194" y="1487279"/>
                </a:cubicBezTo>
                <a:cubicBezTo>
                  <a:pt x="4034487" y="1490978"/>
                  <a:pt x="4032993" y="1489840"/>
                  <a:pt x="4030432" y="1487563"/>
                </a:cubicBezTo>
                <a:cubicBezTo>
                  <a:pt x="4030859" y="1486425"/>
                  <a:pt x="4031286" y="1485571"/>
                  <a:pt x="4032139" y="1485145"/>
                </a:cubicBezTo>
                <a:close/>
                <a:moveTo>
                  <a:pt x="3736766" y="1485145"/>
                </a:moveTo>
                <a:cubicBezTo>
                  <a:pt x="3737834" y="1485145"/>
                  <a:pt x="3738901" y="1485145"/>
                  <a:pt x="3739968" y="1485571"/>
                </a:cubicBezTo>
                <a:cubicBezTo>
                  <a:pt x="3744022" y="1486141"/>
                  <a:pt x="3745730" y="1490408"/>
                  <a:pt x="3750212" y="1492116"/>
                </a:cubicBezTo>
                <a:cubicBezTo>
                  <a:pt x="3748717" y="1497949"/>
                  <a:pt x="3747864" y="1499656"/>
                  <a:pt x="3741675" y="1500083"/>
                </a:cubicBezTo>
                <a:cubicBezTo>
                  <a:pt x="3741675" y="1500083"/>
                  <a:pt x="3740394" y="1499656"/>
                  <a:pt x="3740394" y="1499656"/>
                </a:cubicBezTo>
                <a:cubicBezTo>
                  <a:pt x="3734845" y="1498518"/>
                  <a:pt x="3729937" y="1493112"/>
                  <a:pt x="3730150" y="1490408"/>
                </a:cubicBezTo>
                <a:cubicBezTo>
                  <a:pt x="3731218" y="1487990"/>
                  <a:pt x="3733778" y="1485571"/>
                  <a:pt x="3736766" y="1485145"/>
                </a:cubicBezTo>
                <a:close/>
                <a:moveTo>
                  <a:pt x="1432680" y="1484704"/>
                </a:moveTo>
                <a:cubicBezTo>
                  <a:pt x="1437946" y="1484704"/>
                  <a:pt x="1441664" y="1492139"/>
                  <a:pt x="1443006" y="1496475"/>
                </a:cubicBezTo>
                <a:cubicBezTo>
                  <a:pt x="1441147" y="1497870"/>
                  <a:pt x="1441870" y="1499573"/>
                  <a:pt x="1440011" y="1500968"/>
                </a:cubicBezTo>
                <a:cubicBezTo>
                  <a:pt x="1436398" y="1496630"/>
                  <a:pt x="1432371" y="1492139"/>
                  <a:pt x="1431854" y="1488266"/>
                </a:cubicBezTo>
                <a:cubicBezTo>
                  <a:pt x="1431751" y="1487027"/>
                  <a:pt x="1431958" y="1485788"/>
                  <a:pt x="1432680" y="1484704"/>
                </a:cubicBezTo>
                <a:close/>
                <a:moveTo>
                  <a:pt x="5233906" y="1484149"/>
                </a:moveTo>
                <a:cubicBezTo>
                  <a:pt x="5240522" y="1485003"/>
                  <a:pt x="5245217" y="1486852"/>
                  <a:pt x="5246711" y="1491974"/>
                </a:cubicBezTo>
                <a:lnTo>
                  <a:pt x="5246924" y="1495673"/>
                </a:lnTo>
                <a:lnTo>
                  <a:pt x="5249059" y="1495388"/>
                </a:lnTo>
                <a:cubicBezTo>
                  <a:pt x="5247565" y="1499514"/>
                  <a:pt x="5252474" y="1500510"/>
                  <a:pt x="5248419" y="1504209"/>
                </a:cubicBezTo>
                <a:cubicBezTo>
                  <a:pt x="5246071" y="1504778"/>
                  <a:pt x="5243510" y="1504351"/>
                  <a:pt x="5240522" y="1501506"/>
                </a:cubicBezTo>
                <a:lnTo>
                  <a:pt x="5241376" y="1499372"/>
                </a:lnTo>
                <a:lnTo>
                  <a:pt x="5241162" y="1499514"/>
                </a:lnTo>
                <a:cubicBezTo>
                  <a:pt x="5239241" y="1499087"/>
                  <a:pt x="5237748" y="1497807"/>
                  <a:pt x="5236253" y="1496100"/>
                </a:cubicBezTo>
                <a:cubicBezTo>
                  <a:pt x="5233692" y="1492827"/>
                  <a:pt x="5232412" y="1487848"/>
                  <a:pt x="5233906" y="1484149"/>
                </a:cubicBezTo>
                <a:close/>
                <a:moveTo>
                  <a:pt x="1351418" y="1484084"/>
                </a:moveTo>
                <a:cubicBezTo>
                  <a:pt x="1354412" y="1486717"/>
                  <a:pt x="1355238" y="1488576"/>
                  <a:pt x="1354928" y="1489970"/>
                </a:cubicBezTo>
                <a:lnTo>
                  <a:pt x="1354825" y="1490125"/>
                </a:lnTo>
                <a:lnTo>
                  <a:pt x="1359162" y="1491519"/>
                </a:lnTo>
                <a:cubicBezTo>
                  <a:pt x="1358645" y="1492139"/>
                  <a:pt x="1357820" y="1492448"/>
                  <a:pt x="1356787" y="1492603"/>
                </a:cubicBezTo>
                <a:lnTo>
                  <a:pt x="1353483" y="1492139"/>
                </a:lnTo>
                <a:lnTo>
                  <a:pt x="1351521" y="1494152"/>
                </a:lnTo>
                <a:cubicBezTo>
                  <a:pt x="1349869" y="1493223"/>
                  <a:pt x="1347184" y="1493842"/>
                  <a:pt x="1345738" y="1492139"/>
                </a:cubicBezTo>
                <a:cubicBezTo>
                  <a:pt x="1345738" y="1492139"/>
                  <a:pt x="1345016" y="1491209"/>
                  <a:pt x="1345326" y="1489505"/>
                </a:cubicBezTo>
                <a:cubicBezTo>
                  <a:pt x="1345016" y="1488886"/>
                  <a:pt x="1344912" y="1488266"/>
                  <a:pt x="1345016" y="1487646"/>
                </a:cubicBezTo>
                <a:cubicBezTo>
                  <a:pt x="1345326" y="1485942"/>
                  <a:pt x="1346977" y="1484549"/>
                  <a:pt x="1346977" y="1484549"/>
                </a:cubicBezTo>
                <a:cubicBezTo>
                  <a:pt x="1346977" y="1484549"/>
                  <a:pt x="1346977" y="1484549"/>
                  <a:pt x="1346152" y="1484549"/>
                </a:cubicBezTo>
                <a:cubicBezTo>
                  <a:pt x="1347907" y="1484704"/>
                  <a:pt x="1349765" y="1483929"/>
                  <a:pt x="1351418" y="1484084"/>
                </a:cubicBezTo>
                <a:close/>
                <a:moveTo>
                  <a:pt x="5007681" y="1484007"/>
                </a:moveTo>
                <a:cubicBezTo>
                  <a:pt x="5012803" y="1490978"/>
                  <a:pt x="5003626" y="1496100"/>
                  <a:pt x="4999784" y="1494108"/>
                </a:cubicBezTo>
                <a:cubicBezTo>
                  <a:pt x="4997437" y="1488702"/>
                  <a:pt x="5002986" y="1483153"/>
                  <a:pt x="5007681" y="1484007"/>
                </a:cubicBezTo>
                <a:close/>
                <a:moveTo>
                  <a:pt x="4791700" y="1484007"/>
                </a:moveTo>
                <a:cubicBezTo>
                  <a:pt x="4798103" y="1486994"/>
                  <a:pt x="4804292" y="1488844"/>
                  <a:pt x="4810694" y="1490693"/>
                </a:cubicBezTo>
                <a:lnTo>
                  <a:pt x="4820939" y="1494250"/>
                </a:lnTo>
                <a:lnTo>
                  <a:pt x="4823500" y="1489698"/>
                </a:lnTo>
                <a:lnTo>
                  <a:pt x="4826060" y="1495815"/>
                </a:lnTo>
                <a:lnTo>
                  <a:pt x="4829689" y="1497238"/>
                </a:lnTo>
                <a:cubicBezTo>
                  <a:pt x="4830543" y="1513172"/>
                  <a:pt x="4848897" y="1528110"/>
                  <a:pt x="4841214" y="1545752"/>
                </a:cubicBezTo>
                <a:cubicBezTo>
                  <a:pt x="4828408" y="1554288"/>
                  <a:pt x="4829262" y="1562824"/>
                  <a:pt x="4823286" y="1570933"/>
                </a:cubicBezTo>
                <a:cubicBezTo>
                  <a:pt x="4804505" y="1580181"/>
                  <a:pt x="4777188" y="1586298"/>
                  <a:pt x="4760114" y="1571502"/>
                </a:cubicBezTo>
                <a:cubicBezTo>
                  <a:pt x="4746028" y="1559267"/>
                  <a:pt x="4750937" y="1543760"/>
                  <a:pt x="4745815" y="1526261"/>
                </a:cubicBezTo>
                <a:cubicBezTo>
                  <a:pt x="4758620" y="1517724"/>
                  <a:pt x="4756699" y="1509046"/>
                  <a:pt x="4759047" y="1500652"/>
                </a:cubicBezTo>
                <a:cubicBezTo>
                  <a:pt x="4769718" y="1499229"/>
                  <a:pt x="4780602" y="1489128"/>
                  <a:pt x="4791700" y="1484007"/>
                </a:cubicBezTo>
                <a:close/>
                <a:moveTo>
                  <a:pt x="4348000" y="1484007"/>
                </a:moveTo>
                <a:cubicBezTo>
                  <a:pt x="4350134" y="1484149"/>
                  <a:pt x="4351202" y="1484861"/>
                  <a:pt x="4351629" y="1485856"/>
                </a:cubicBezTo>
                <a:cubicBezTo>
                  <a:pt x="4352055" y="1486994"/>
                  <a:pt x="4351842" y="1488560"/>
                  <a:pt x="4351202" y="1490267"/>
                </a:cubicBezTo>
                <a:cubicBezTo>
                  <a:pt x="4350348" y="1493539"/>
                  <a:pt x="4347787" y="1493823"/>
                  <a:pt x="4347787" y="1493823"/>
                </a:cubicBezTo>
                <a:cubicBezTo>
                  <a:pt x="4343519" y="1493681"/>
                  <a:pt x="4341171" y="1491120"/>
                  <a:pt x="4341598" y="1486852"/>
                </a:cubicBezTo>
                <a:cubicBezTo>
                  <a:pt x="4343091" y="1484576"/>
                  <a:pt x="4345439" y="1484291"/>
                  <a:pt x="4348000" y="1484007"/>
                </a:cubicBezTo>
                <a:close/>
                <a:moveTo>
                  <a:pt x="1140568" y="1483929"/>
                </a:moveTo>
                <a:cubicBezTo>
                  <a:pt x="1141601" y="1487337"/>
                  <a:pt x="1139123" y="1489970"/>
                  <a:pt x="1139639" y="1493997"/>
                </a:cubicBezTo>
                <a:cubicBezTo>
                  <a:pt x="1136851" y="1495546"/>
                  <a:pt x="1136955" y="1500503"/>
                  <a:pt x="1132928" y="1502362"/>
                </a:cubicBezTo>
                <a:cubicBezTo>
                  <a:pt x="1132308" y="1501122"/>
                  <a:pt x="1132101" y="1499418"/>
                  <a:pt x="1132411" y="1497560"/>
                </a:cubicBezTo>
                <a:cubicBezTo>
                  <a:pt x="1133340" y="1491984"/>
                  <a:pt x="1137884" y="1484858"/>
                  <a:pt x="1140568" y="1483929"/>
                </a:cubicBezTo>
                <a:close/>
                <a:moveTo>
                  <a:pt x="1569701" y="1483619"/>
                </a:moveTo>
                <a:cubicBezTo>
                  <a:pt x="1572179" y="1483619"/>
                  <a:pt x="1573109" y="1482845"/>
                  <a:pt x="1573005" y="1483774"/>
                </a:cubicBezTo>
                <a:cubicBezTo>
                  <a:pt x="1573832" y="1483774"/>
                  <a:pt x="1573728" y="1484549"/>
                  <a:pt x="1572902" y="1484549"/>
                </a:cubicBezTo>
                <a:cubicBezTo>
                  <a:pt x="1571870" y="1486252"/>
                  <a:pt x="1570424" y="1484549"/>
                  <a:pt x="1569701" y="1483619"/>
                </a:cubicBezTo>
                <a:close/>
                <a:moveTo>
                  <a:pt x="1261391" y="1483213"/>
                </a:moveTo>
                <a:cubicBezTo>
                  <a:pt x="1263056" y="1483774"/>
                  <a:pt x="1264269" y="1485091"/>
                  <a:pt x="1263960" y="1487492"/>
                </a:cubicBezTo>
                <a:cubicBezTo>
                  <a:pt x="1263960" y="1488421"/>
                  <a:pt x="1263340" y="1489040"/>
                  <a:pt x="1262411" y="1489350"/>
                </a:cubicBezTo>
                <a:cubicBezTo>
                  <a:pt x="1259520" y="1490280"/>
                  <a:pt x="1254047" y="1488730"/>
                  <a:pt x="1254150" y="1485168"/>
                </a:cubicBezTo>
                <a:cubicBezTo>
                  <a:pt x="1254357" y="1484394"/>
                  <a:pt x="1255080" y="1483929"/>
                  <a:pt x="1256112" y="1483464"/>
                </a:cubicBezTo>
                <a:cubicBezTo>
                  <a:pt x="1257609" y="1482845"/>
                  <a:pt x="1259726" y="1482651"/>
                  <a:pt x="1261391" y="1483213"/>
                </a:cubicBezTo>
                <a:close/>
                <a:moveTo>
                  <a:pt x="5204027" y="1482869"/>
                </a:moveTo>
                <a:cubicBezTo>
                  <a:pt x="5205307" y="1482584"/>
                  <a:pt x="5206802" y="1482584"/>
                  <a:pt x="5208509" y="1483011"/>
                </a:cubicBezTo>
                <a:cubicBezTo>
                  <a:pt x="5214911" y="1494250"/>
                  <a:pt x="5203600" y="1502217"/>
                  <a:pt x="5196557" y="1497522"/>
                </a:cubicBezTo>
                <a:cubicBezTo>
                  <a:pt x="5194210" y="1495957"/>
                  <a:pt x="5192289" y="1492970"/>
                  <a:pt x="5191862" y="1488275"/>
                </a:cubicBezTo>
                <a:cubicBezTo>
                  <a:pt x="5197624" y="1486994"/>
                  <a:pt x="5200186" y="1483580"/>
                  <a:pt x="5204027" y="1482869"/>
                </a:cubicBezTo>
                <a:close/>
                <a:moveTo>
                  <a:pt x="3980705" y="1482869"/>
                </a:moveTo>
                <a:cubicBezTo>
                  <a:pt x="3981772" y="1482584"/>
                  <a:pt x="3983053" y="1482726"/>
                  <a:pt x="3984120" y="1483011"/>
                </a:cubicBezTo>
                <a:cubicBezTo>
                  <a:pt x="3985827" y="1483438"/>
                  <a:pt x="3987321" y="1484291"/>
                  <a:pt x="3988388" y="1485998"/>
                </a:cubicBezTo>
                <a:cubicBezTo>
                  <a:pt x="3986894" y="1488275"/>
                  <a:pt x="3986467" y="1490835"/>
                  <a:pt x="3984974" y="1493112"/>
                </a:cubicBezTo>
                <a:cubicBezTo>
                  <a:pt x="3980491" y="1492685"/>
                  <a:pt x="3976437" y="1497238"/>
                  <a:pt x="3973022" y="1490835"/>
                </a:cubicBezTo>
                <a:cubicBezTo>
                  <a:pt x="3973662" y="1486710"/>
                  <a:pt x="3977077" y="1483580"/>
                  <a:pt x="3980705" y="1482869"/>
                </a:cubicBezTo>
                <a:close/>
                <a:moveTo>
                  <a:pt x="1488852" y="1482225"/>
                </a:moveTo>
                <a:cubicBezTo>
                  <a:pt x="1494014" y="1482845"/>
                  <a:pt x="1495976" y="1489815"/>
                  <a:pt x="1490710" y="1493378"/>
                </a:cubicBezTo>
                <a:cubicBezTo>
                  <a:pt x="1489161" y="1492294"/>
                  <a:pt x="1487406" y="1492139"/>
                  <a:pt x="1485857" y="1491054"/>
                </a:cubicBezTo>
                <a:cubicBezTo>
                  <a:pt x="1486270" y="1489350"/>
                  <a:pt x="1485754" y="1487801"/>
                  <a:pt x="1485754" y="1486407"/>
                </a:cubicBezTo>
                <a:cubicBezTo>
                  <a:pt x="1485754" y="1485013"/>
                  <a:pt x="1486374" y="1483619"/>
                  <a:pt x="1488852" y="1482225"/>
                </a:cubicBezTo>
                <a:close/>
                <a:moveTo>
                  <a:pt x="4592366" y="1481589"/>
                </a:moveTo>
                <a:cubicBezTo>
                  <a:pt x="4590019" y="1495246"/>
                  <a:pt x="4600903" y="1502359"/>
                  <a:pt x="4604318" y="1512176"/>
                </a:cubicBezTo>
                <a:lnTo>
                  <a:pt x="4604958" y="1515306"/>
                </a:lnTo>
                <a:lnTo>
                  <a:pt x="4610080" y="1517156"/>
                </a:lnTo>
                <a:cubicBezTo>
                  <a:pt x="4610933" y="1517724"/>
                  <a:pt x="4611574" y="1518578"/>
                  <a:pt x="4611574" y="1519574"/>
                </a:cubicBezTo>
                <a:cubicBezTo>
                  <a:pt x="4611361" y="1521281"/>
                  <a:pt x="4609653" y="1520712"/>
                  <a:pt x="4608799" y="1521423"/>
                </a:cubicBezTo>
                <a:lnTo>
                  <a:pt x="4605171" y="1519717"/>
                </a:lnTo>
                <a:lnTo>
                  <a:pt x="4604745" y="1523131"/>
                </a:lnTo>
                <a:cubicBezTo>
                  <a:pt x="4599409" y="1544328"/>
                  <a:pt x="4575720" y="1547885"/>
                  <a:pt x="4562914" y="1538496"/>
                </a:cubicBezTo>
                <a:lnTo>
                  <a:pt x="4557152" y="1531667"/>
                </a:lnTo>
                <a:lnTo>
                  <a:pt x="4555018" y="1533517"/>
                </a:lnTo>
                <a:cubicBezTo>
                  <a:pt x="4552883" y="1534654"/>
                  <a:pt x="4550536" y="1535081"/>
                  <a:pt x="4549255" y="1534512"/>
                </a:cubicBezTo>
                <a:cubicBezTo>
                  <a:pt x="4546694" y="1532236"/>
                  <a:pt x="4544987" y="1527541"/>
                  <a:pt x="4547761" y="1523842"/>
                </a:cubicBezTo>
                <a:cubicBezTo>
                  <a:pt x="4548828" y="1521993"/>
                  <a:pt x="4550322" y="1520997"/>
                  <a:pt x="4552030" y="1520001"/>
                </a:cubicBezTo>
                <a:lnTo>
                  <a:pt x="4556085" y="1516871"/>
                </a:lnTo>
                <a:lnTo>
                  <a:pt x="4558219" y="1508762"/>
                </a:lnTo>
                <a:cubicBezTo>
                  <a:pt x="4564835" y="1496384"/>
                  <a:pt x="4578920" y="1493254"/>
                  <a:pt x="4592366" y="1481589"/>
                </a:cubicBezTo>
                <a:close/>
                <a:moveTo>
                  <a:pt x="3750639" y="1481304"/>
                </a:moveTo>
                <a:lnTo>
                  <a:pt x="3749358" y="1481589"/>
                </a:lnTo>
                <a:lnTo>
                  <a:pt x="3748717" y="1482869"/>
                </a:lnTo>
                <a:close/>
                <a:moveTo>
                  <a:pt x="1671305" y="1480521"/>
                </a:moveTo>
                <a:cubicBezTo>
                  <a:pt x="1674300" y="1482535"/>
                  <a:pt x="1674300" y="1485788"/>
                  <a:pt x="1672958" y="1488576"/>
                </a:cubicBezTo>
                <a:cubicBezTo>
                  <a:pt x="1671512" y="1491209"/>
                  <a:pt x="1668724" y="1493378"/>
                  <a:pt x="1665833" y="1493378"/>
                </a:cubicBezTo>
                <a:cubicBezTo>
                  <a:pt x="1665420" y="1491674"/>
                  <a:pt x="1665110" y="1490280"/>
                  <a:pt x="1665007" y="1488886"/>
                </a:cubicBezTo>
                <a:cubicBezTo>
                  <a:pt x="1664904" y="1487492"/>
                  <a:pt x="1665007" y="1486252"/>
                  <a:pt x="1665420" y="1485168"/>
                </a:cubicBezTo>
                <a:cubicBezTo>
                  <a:pt x="1666143" y="1483154"/>
                  <a:pt x="1667898" y="1481450"/>
                  <a:pt x="1671305" y="1480521"/>
                </a:cubicBezTo>
                <a:close/>
                <a:moveTo>
                  <a:pt x="1586016" y="1480521"/>
                </a:moveTo>
                <a:cubicBezTo>
                  <a:pt x="1595102" y="1474171"/>
                  <a:pt x="1594896" y="1486097"/>
                  <a:pt x="1596961" y="1491829"/>
                </a:cubicBezTo>
                <a:cubicBezTo>
                  <a:pt x="1593863" y="1493997"/>
                  <a:pt x="1592831" y="1494307"/>
                  <a:pt x="1588907" y="1494152"/>
                </a:cubicBezTo>
                <a:cubicBezTo>
                  <a:pt x="1587152" y="1491829"/>
                  <a:pt x="1586326" y="1489505"/>
                  <a:pt x="1586016" y="1487337"/>
                </a:cubicBezTo>
                <a:cubicBezTo>
                  <a:pt x="1585603" y="1485013"/>
                  <a:pt x="1585809" y="1482845"/>
                  <a:pt x="1586016" y="1480521"/>
                </a:cubicBezTo>
                <a:close/>
                <a:moveTo>
                  <a:pt x="4617763" y="1480308"/>
                </a:moveTo>
                <a:cubicBezTo>
                  <a:pt x="4618617" y="1479739"/>
                  <a:pt x="4620111" y="1481589"/>
                  <a:pt x="4620111" y="1481589"/>
                </a:cubicBezTo>
                <a:cubicBezTo>
                  <a:pt x="4620964" y="1481019"/>
                  <a:pt x="4622031" y="1480450"/>
                  <a:pt x="4623525" y="1480734"/>
                </a:cubicBezTo>
                <a:cubicBezTo>
                  <a:pt x="4623312" y="1482442"/>
                  <a:pt x="4624166" y="1481872"/>
                  <a:pt x="4624806" y="1482869"/>
                </a:cubicBezTo>
                <a:cubicBezTo>
                  <a:pt x="4623312" y="1482442"/>
                  <a:pt x="4620324" y="1484291"/>
                  <a:pt x="4617763" y="1484576"/>
                </a:cubicBezTo>
                <a:cubicBezTo>
                  <a:pt x="4617123" y="1483580"/>
                  <a:pt x="4615416" y="1483296"/>
                  <a:pt x="4614775" y="1482299"/>
                </a:cubicBezTo>
                <a:cubicBezTo>
                  <a:pt x="4615842" y="1481589"/>
                  <a:pt x="4617123" y="1479312"/>
                  <a:pt x="4617763" y="1480308"/>
                </a:cubicBezTo>
                <a:close/>
                <a:moveTo>
                  <a:pt x="1122189" y="1480057"/>
                </a:moveTo>
                <a:cubicBezTo>
                  <a:pt x="1130966" y="1479282"/>
                  <a:pt x="1132721" y="1484858"/>
                  <a:pt x="1130553" y="1488421"/>
                </a:cubicBezTo>
                <a:cubicBezTo>
                  <a:pt x="1129830" y="1489505"/>
                  <a:pt x="1128797" y="1490435"/>
                  <a:pt x="1127248" y="1490899"/>
                </a:cubicBezTo>
                <a:cubicBezTo>
                  <a:pt x="1125287" y="1491364"/>
                  <a:pt x="1122808" y="1490899"/>
                  <a:pt x="1119917" y="1488730"/>
                </a:cubicBezTo>
                <a:cubicBezTo>
                  <a:pt x="1119504" y="1484549"/>
                  <a:pt x="1121466" y="1482845"/>
                  <a:pt x="1122189" y="1480057"/>
                </a:cubicBezTo>
                <a:close/>
                <a:moveTo>
                  <a:pt x="5378391" y="1480024"/>
                </a:moveTo>
                <a:cubicBezTo>
                  <a:pt x="5383300" y="1479169"/>
                  <a:pt x="5393330" y="1485145"/>
                  <a:pt x="5380525" y="1490408"/>
                </a:cubicBezTo>
                <a:cubicBezTo>
                  <a:pt x="5374123" y="1483438"/>
                  <a:pt x="5375190" y="1480592"/>
                  <a:pt x="5378391" y="1480024"/>
                </a:cubicBezTo>
                <a:close/>
                <a:moveTo>
                  <a:pt x="1470369" y="1479902"/>
                </a:moveTo>
                <a:cubicBezTo>
                  <a:pt x="1470369" y="1479902"/>
                  <a:pt x="1470472" y="1480057"/>
                  <a:pt x="1471918" y="1481296"/>
                </a:cubicBezTo>
                <a:cubicBezTo>
                  <a:pt x="1472331" y="1482225"/>
                  <a:pt x="1472537" y="1483000"/>
                  <a:pt x="1472124" y="1484084"/>
                </a:cubicBezTo>
                <a:cubicBezTo>
                  <a:pt x="1471608" y="1485168"/>
                  <a:pt x="1469956" y="1485633"/>
                  <a:pt x="1469130" y="1485942"/>
                </a:cubicBezTo>
                <a:cubicBezTo>
                  <a:pt x="1468820" y="1485168"/>
                  <a:pt x="1467891" y="1485323"/>
                  <a:pt x="1467581" y="1484549"/>
                </a:cubicBezTo>
                <a:cubicBezTo>
                  <a:pt x="1466858" y="1483774"/>
                  <a:pt x="1466445" y="1483464"/>
                  <a:pt x="1466342" y="1483154"/>
                </a:cubicBezTo>
                <a:cubicBezTo>
                  <a:pt x="1466238" y="1482845"/>
                  <a:pt x="1466342" y="1482690"/>
                  <a:pt x="1466652" y="1482070"/>
                </a:cubicBezTo>
                <a:cubicBezTo>
                  <a:pt x="1467065" y="1480986"/>
                  <a:pt x="1469956" y="1480986"/>
                  <a:pt x="1470369" y="1479902"/>
                </a:cubicBezTo>
                <a:close/>
                <a:moveTo>
                  <a:pt x="1532323" y="1479747"/>
                </a:moveTo>
                <a:cubicBezTo>
                  <a:pt x="1535420" y="1482380"/>
                  <a:pt x="1535833" y="1485323"/>
                  <a:pt x="1534904" y="1487492"/>
                </a:cubicBezTo>
                <a:lnTo>
                  <a:pt x="1534491" y="1487956"/>
                </a:lnTo>
                <a:lnTo>
                  <a:pt x="1534594" y="1487956"/>
                </a:lnTo>
                <a:cubicBezTo>
                  <a:pt x="1535317" y="1487492"/>
                  <a:pt x="1535936" y="1489970"/>
                  <a:pt x="1535936" y="1489970"/>
                </a:cubicBezTo>
                <a:cubicBezTo>
                  <a:pt x="1535627" y="1491209"/>
                  <a:pt x="1532323" y="1491364"/>
                  <a:pt x="1531600" y="1491829"/>
                </a:cubicBezTo>
                <a:lnTo>
                  <a:pt x="1531290" y="1490590"/>
                </a:lnTo>
                <a:lnTo>
                  <a:pt x="1529122" y="1491209"/>
                </a:lnTo>
                <a:cubicBezTo>
                  <a:pt x="1527470" y="1491364"/>
                  <a:pt x="1525714" y="1490744"/>
                  <a:pt x="1524268" y="1489195"/>
                </a:cubicBezTo>
                <a:cubicBezTo>
                  <a:pt x="1525301" y="1485633"/>
                  <a:pt x="1525817" y="1481606"/>
                  <a:pt x="1528605" y="1480211"/>
                </a:cubicBezTo>
                <a:cubicBezTo>
                  <a:pt x="1529535" y="1479747"/>
                  <a:pt x="1530773" y="1479437"/>
                  <a:pt x="1532323" y="1479747"/>
                </a:cubicBezTo>
                <a:close/>
                <a:moveTo>
                  <a:pt x="5816328" y="1479169"/>
                </a:moveTo>
                <a:cubicBezTo>
                  <a:pt x="5816328" y="1480450"/>
                  <a:pt x="5817395" y="1480450"/>
                  <a:pt x="5817395" y="1481589"/>
                </a:cubicBezTo>
                <a:cubicBezTo>
                  <a:pt x="5818249" y="1484149"/>
                  <a:pt x="5818249" y="1484149"/>
                  <a:pt x="5816968" y="1485430"/>
                </a:cubicBezTo>
                <a:cubicBezTo>
                  <a:pt x="5815688" y="1486568"/>
                  <a:pt x="5812273" y="1485287"/>
                  <a:pt x="5810993" y="1486568"/>
                </a:cubicBezTo>
                <a:cubicBezTo>
                  <a:pt x="5810993" y="1486568"/>
                  <a:pt x="5810780" y="1486568"/>
                  <a:pt x="5809926" y="1484007"/>
                </a:cubicBezTo>
                <a:cubicBezTo>
                  <a:pt x="5810139" y="1482869"/>
                  <a:pt x="5810139" y="1481589"/>
                  <a:pt x="5811420" y="1480308"/>
                </a:cubicBezTo>
                <a:cubicBezTo>
                  <a:pt x="5812914" y="1479169"/>
                  <a:pt x="5815261" y="1479169"/>
                  <a:pt x="5816328" y="1479169"/>
                </a:cubicBezTo>
                <a:close/>
                <a:moveTo>
                  <a:pt x="1578581" y="1479127"/>
                </a:moveTo>
                <a:cubicBezTo>
                  <a:pt x="1579717" y="1479902"/>
                  <a:pt x="1581576" y="1480366"/>
                  <a:pt x="1582918" y="1481761"/>
                </a:cubicBezTo>
                <a:cubicBezTo>
                  <a:pt x="1582299" y="1486407"/>
                  <a:pt x="1578065" y="1484084"/>
                  <a:pt x="1577549" y="1481450"/>
                </a:cubicBezTo>
                <a:cubicBezTo>
                  <a:pt x="1577445" y="1480676"/>
                  <a:pt x="1577652" y="1479747"/>
                  <a:pt x="1578581" y="1479127"/>
                </a:cubicBezTo>
                <a:close/>
                <a:moveTo>
                  <a:pt x="5547419" y="1476467"/>
                </a:moveTo>
                <a:cubicBezTo>
                  <a:pt x="5543151" y="1485856"/>
                  <a:pt x="5535682" y="1501079"/>
                  <a:pt x="5526718" y="1505489"/>
                </a:cubicBezTo>
                <a:cubicBezTo>
                  <a:pt x="5518181" y="1494250"/>
                  <a:pt x="5539310" y="1478458"/>
                  <a:pt x="5547419" y="1476467"/>
                </a:cubicBezTo>
                <a:close/>
                <a:moveTo>
                  <a:pt x="4208851" y="1476040"/>
                </a:moveTo>
                <a:cubicBezTo>
                  <a:pt x="4211625" y="1476609"/>
                  <a:pt x="4213759" y="1475897"/>
                  <a:pt x="4216320" y="1476467"/>
                </a:cubicBezTo>
                <a:cubicBezTo>
                  <a:pt x="4217814" y="1481019"/>
                  <a:pt x="4223363" y="1483296"/>
                  <a:pt x="4219308" y="1489271"/>
                </a:cubicBezTo>
                <a:cubicBezTo>
                  <a:pt x="4212692" y="1491120"/>
                  <a:pt x="4205223" y="1483296"/>
                  <a:pt x="4208851" y="1476040"/>
                </a:cubicBezTo>
                <a:close/>
                <a:moveTo>
                  <a:pt x="1440321" y="1475719"/>
                </a:moveTo>
                <a:cubicBezTo>
                  <a:pt x="1440837" y="1479282"/>
                  <a:pt x="1443316" y="1483000"/>
                  <a:pt x="1442696" y="1485942"/>
                </a:cubicBezTo>
                <a:cubicBezTo>
                  <a:pt x="1442386" y="1486407"/>
                  <a:pt x="1442180" y="1487027"/>
                  <a:pt x="1441767" y="1487182"/>
                </a:cubicBezTo>
                <a:cubicBezTo>
                  <a:pt x="1441251" y="1487492"/>
                  <a:pt x="1440631" y="1487492"/>
                  <a:pt x="1439392" y="1486872"/>
                </a:cubicBezTo>
                <a:cubicBezTo>
                  <a:pt x="1438463" y="1486717"/>
                  <a:pt x="1437843" y="1486562"/>
                  <a:pt x="1437637" y="1485942"/>
                </a:cubicBezTo>
                <a:cubicBezTo>
                  <a:pt x="1437430" y="1485323"/>
                  <a:pt x="1437430" y="1484394"/>
                  <a:pt x="1437740" y="1482845"/>
                </a:cubicBezTo>
                <a:cubicBezTo>
                  <a:pt x="1438669" y="1480831"/>
                  <a:pt x="1438876" y="1478973"/>
                  <a:pt x="1439702" y="1478662"/>
                </a:cubicBezTo>
                <a:cubicBezTo>
                  <a:pt x="1439392" y="1477888"/>
                  <a:pt x="1439805" y="1476804"/>
                  <a:pt x="1439495" y="1476029"/>
                </a:cubicBezTo>
                <a:cubicBezTo>
                  <a:pt x="1439495" y="1476029"/>
                  <a:pt x="1439495" y="1476029"/>
                  <a:pt x="1440321" y="1475719"/>
                </a:cubicBezTo>
                <a:close/>
                <a:moveTo>
                  <a:pt x="4749443" y="1475471"/>
                </a:moveTo>
                <a:cubicBezTo>
                  <a:pt x="4746455" y="1487279"/>
                  <a:pt x="4745601" y="1499229"/>
                  <a:pt x="4732369" y="1510184"/>
                </a:cubicBezTo>
                <a:cubicBezTo>
                  <a:pt x="4729168" y="1508762"/>
                  <a:pt x="4723193" y="1510611"/>
                  <a:pt x="4722979" y="1504636"/>
                </a:cubicBezTo>
                <a:cubicBezTo>
                  <a:pt x="4737705" y="1498661"/>
                  <a:pt x="4735571" y="1476751"/>
                  <a:pt x="4749443" y="1475471"/>
                </a:cubicBezTo>
                <a:close/>
                <a:moveTo>
                  <a:pt x="4724686" y="1475471"/>
                </a:moveTo>
                <a:cubicBezTo>
                  <a:pt x="4725967" y="1475329"/>
                  <a:pt x="4727247" y="1475471"/>
                  <a:pt x="4728528" y="1476040"/>
                </a:cubicBezTo>
                <a:cubicBezTo>
                  <a:pt x="4729809" y="1477177"/>
                  <a:pt x="4730022" y="1477177"/>
                  <a:pt x="4731302" y="1478316"/>
                </a:cubicBezTo>
                <a:cubicBezTo>
                  <a:pt x="4731516" y="1480592"/>
                  <a:pt x="4733009" y="1483011"/>
                  <a:pt x="4732156" y="1485430"/>
                </a:cubicBezTo>
                <a:cubicBezTo>
                  <a:pt x="4730235" y="1487848"/>
                  <a:pt x="4724259" y="1486994"/>
                  <a:pt x="4721912" y="1485998"/>
                </a:cubicBezTo>
                <a:cubicBezTo>
                  <a:pt x="4719351" y="1483722"/>
                  <a:pt x="4719991" y="1480166"/>
                  <a:pt x="4721912" y="1477605"/>
                </a:cubicBezTo>
                <a:cubicBezTo>
                  <a:pt x="4722339" y="1476467"/>
                  <a:pt x="4723406" y="1475755"/>
                  <a:pt x="4724686" y="1475471"/>
                </a:cubicBezTo>
                <a:close/>
                <a:moveTo>
                  <a:pt x="1645285" y="1474945"/>
                </a:moveTo>
                <a:cubicBezTo>
                  <a:pt x="1646524" y="1476494"/>
                  <a:pt x="1648176" y="1477423"/>
                  <a:pt x="1650138" y="1479437"/>
                </a:cubicBezTo>
                <a:cubicBezTo>
                  <a:pt x="1649105" y="1481606"/>
                  <a:pt x="1644459" y="1484549"/>
                  <a:pt x="1640122" y="1483309"/>
                </a:cubicBezTo>
                <a:cubicBezTo>
                  <a:pt x="1639502" y="1482070"/>
                  <a:pt x="1639193" y="1480831"/>
                  <a:pt x="1639090" y="1479902"/>
                </a:cubicBezTo>
                <a:cubicBezTo>
                  <a:pt x="1639090" y="1478973"/>
                  <a:pt x="1639296" y="1478198"/>
                  <a:pt x="1639812" y="1477578"/>
                </a:cubicBezTo>
                <a:cubicBezTo>
                  <a:pt x="1640741" y="1476184"/>
                  <a:pt x="1642600" y="1475410"/>
                  <a:pt x="1645285" y="1474945"/>
                </a:cubicBezTo>
                <a:close/>
                <a:moveTo>
                  <a:pt x="1197153" y="1474790"/>
                </a:moveTo>
                <a:cubicBezTo>
                  <a:pt x="1195707" y="1478353"/>
                  <a:pt x="1194881" y="1480831"/>
                  <a:pt x="1194158" y="1483309"/>
                </a:cubicBezTo>
                <a:lnTo>
                  <a:pt x="1191474" y="1489505"/>
                </a:lnTo>
                <a:lnTo>
                  <a:pt x="1193126" y="1489815"/>
                </a:lnTo>
                <a:cubicBezTo>
                  <a:pt x="1191887" y="1493068"/>
                  <a:pt x="1191784" y="1495856"/>
                  <a:pt x="1191267" y="1497870"/>
                </a:cubicBezTo>
                <a:lnTo>
                  <a:pt x="1190544" y="1499109"/>
                </a:lnTo>
                <a:lnTo>
                  <a:pt x="1190441" y="1501587"/>
                </a:lnTo>
                <a:cubicBezTo>
                  <a:pt x="1189719" y="1503601"/>
                  <a:pt x="1188479" y="1505460"/>
                  <a:pt x="1186724" y="1506079"/>
                </a:cubicBezTo>
                <a:cubicBezTo>
                  <a:pt x="1182697" y="1507938"/>
                  <a:pt x="1180012" y="1507628"/>
                  <a:pt x="1177637" y="1506544"/>
                </a:cubicBezTo>
                <a:cubicBezTo>
                  <a:pt x="1177637" y="1506544"/>
                  <a:pt x="1177740" y="1506698"/>
                  <a:pt x="1178463" y="1507008"/>
                </a:cubicBezTo>
                <a:lnTo>
                  <a:pt x="1179599" y="1511501"/>
                </a:lnTo>
                <a:lnTo>
                  <a:pt x="1181148" y="1510262"/>
                </a:lnTo>
                <a:cubicBezTo>
                  <a:pt x="1189822" y="1511655"/>
                  <a:pt x="1188479" y="1514289"/>
                  <a:pt x="1188169" y="1518471"/>
                </a:cubicBezTo>
                <a:cubicBezTo>
                  <a:pt x="1186207" y="1518471"/>
                  <a:pt x="1184452" y="1520329"/>
                  <a:pt x="1182077" y="1519555"/>
                </a:cubicBezTo>
                <a:cubicBezTo>
                  <a:pt x="1182077" y="1519555"/>
                  <a:pt x="1181768" y="1519555"/>
                  <a:pt x="1181355" y="1519245"/>
                </a:cubicBezTo>
                <a:lnTo>
                  <a:pt x="1180838" y="1518781"/>
                </a:lnTo>
                <a:lnTo>
                  <a:pt x="1180116" y="1521104"/>
                </a:lnTo>
                <a:cubicBezTo>
                  <a:pt x="1179290" y="1520639"/>
                  <a:pt x="1178567" y="1520329"/>
                  <a:pt x="1178154" y="1519245"/>
                </a:cubicBezTo>
                <a:cubicBezTo>
                  <a:pt x="1177844" y="1518161"/>
                  <a:pt x="1178670" y="1518471"/>
                  <a:pt x="1177844" y="1518161"/>
                </a:cubicBezTo>
                <a:cubicBezTo>
                  <a:pt x="1177534" y="1517077"/>
                  <a:pt x="1177121" y="1517851"/>
                  <a:pt x="1177121" y="1517851"/>
                </a:cubicBezTo>
                <a:cubicBezTo>
                  <a:pt x="1177121" y="1517851"/>
                  <a:pt x="1177534" y="1517077"/>
                  <a:pt x="1177534" y="1517077"/>
                </a:cubicBezTo>
                <a:cubicBezTo>
                  <a:pt x="1177534" y="1517077"/>
                  <a:pt x="1177534" y="1517077"/>
                  <a:pt x="1176811" y="1514753"/>
                </a:cubicBezTo>
                <a:lnTo>
                  <a:pt x="1175779" y="1513205"/>
                </a:lnTo>
                <a:lnTo>
                  <a:pt x="1175469" y="1513669"/>
                </a:lnTo>
                <a:cubicBezTo>
                  <a:pt x="1174540" y="1514444"/>
                  <a:pt x="1173507" y="1515218"/>
                  <a:pt x="1172784" y="1514289"/>
                </a:cubicBezTo>
                <a:cubicBezTo>
                  <a:pt x="1172371" y="1513824"/>
                  <a:pt x="1172062" y="1513669"/>
                  <a:pt x="1171855" y="1513359"/>
                </a:cubicBezTo>
                <a:cubicBezTo>
                  <a:pt x="1171752" y="1513050"/>
                  <a:pt x="1171752" y="1512585"/>
                  <a:pt x="1172371" y="1511810"/>
                </a:cubicBezTo>
                <a:lnTo>
                  <a:pt x="1173404" y="1509642"/>
                </a:lnTo>
                <a:lnTo>
                  <a:pt x="1173197" y="1507783"/>
                </a:lnTo>
                <a:cubicBezTo>
                  <a:pt x="1173197" y="1506854"/>
                  <a:pt x="1173197" y="1505924"/>
                  <a:pt x="1173094" y="1504530"/>
                </a:cubicBezTo>
                <a:cubicBezTo>
                  <a:pt x="1174746" y="1503291"/>
                  <a:pt x="1174746" y="1503291"/>
                  <a:pt x="1175469" y="1503756"/>
                </a:cubicBezTo>
                <a:cubicBezTo>
                  <a:pt x="1174746" y="1503291"/>
                  <a:pt x="1175159" y="1502517"/>
                  <a:pt x="1174850" y="1501432"/>
                </a:cubicBezTo>
                <a:cubicBezTo>
                  <a:pt x="1172371" y="1497405"/>
                  <a:pt x="1175985" y="1494307"/>
                  <a:pt x="1181148" y="1491984"/>
                </a:cubicBezTo>
                <a:cubicBezTo>
                  <a:pt x="1181458" y="1493068"/>
                  <a:pt x="1184349" y="1491519"/>
                  <a:pt x="1186311" y="1491519"/>
                </a:cubicBezTo>
                <a:lnTo>
                  <a:pt x="1186827" y="1491829"/>
                </a:lnTo>
                <a:lnTo>
                  <a:pt x="1187653" y="1488421"/>
                </a:lnTo>
                <a:lnTo>
                  <a:pt x="1189305" y="1489040"/>
                </a:lnTo>
                <a:lnTo>
                  <a:pt x="1188892" y="1487337"/>
                </a:lnTo>
                <a:cubicBezTo>
                  <a:pt x="1189099" y="1484239"/>
                  <a:pt x="1190958" y="1479282"/>
                  <a:pt x="1191577" y="1479282"/>
                </a:cubicBezTo>
                <a:cubicBezTo>
                  <a:pt x="1191680" y="1478507"/>
                  <a:pt x="1192506" y="1478507"/>
                  <a:pt x="1192609" y="1477578"/>
                </a:cubicBezTo>
                <a:cubicBezTo>
                  <a:pt x="1192609" y="1477578"/>
                  <a:pt x="1192609" y="1476804"/>
                  <a:pt x="1193539" y="1475874"/>
                </a:cubicBezTo>
                <a:cubicBezTo>
                  <a:pt x="1194468" y="1474945"/>
                  <a:pt x="1195397" y="1474016"/>
                  <a:pt x="1197153" y="1474790"/>
                </a:cubicBezTo>
                <a:close/>
                <a:moveTo>
                  <a:pt x="4971826" y="1474475"/>
                </a:moveTo>
                <a:cubicBezTo>
                  <a:pt x="4972894" y="1474190"/>
                  <a:pt x="4973747" y="1474332"/>
                  <a:pt x="4974601" y="1474902"/>
                </a:cubicBezTo>
                <a:cubicBezTo>
                  <a:pt x="4975881" y="1476182"/>
                  <a:pt x="4974814" y="1477320"/>
                  <a:pt x="4974814" y="1478458"/>
                </a:cubicBezTo>
                <a:cubicBezTo>
                  <a:pt x="4973747" y="1480734"/>
                  <a:pt x="4966064" y="1483865"/>
                  <a:pt x="4964783" y="1482584"/>
                </a:cubicBezTo>
                <a:cubicBezTo>
                  <a:pt x="4966491" y="1480024"/>
                  <a:pt x="4969052" y="1475613"/>
                  <a:pt x="4971826" y="1474475"/>
                </a:cubicBezTo>
                <a:close/>
                <a:moveTo>
                  <a:pt x="5931148" y="1474332"/>
                </a:moveTo>
                <a:cubicBezTo>
                  <a:pt x="5942887" y="1472910"/>
                  <a:pt x="5947155" y="1487421"/>
                  <a:pt x="5940966" y="1492258"/>
                </a:cubicBezTo>
                <a:cubicBezTo>
                  <a:pt x="5939045" y="1493823"/>
                  <a:pt x="5935844" y="1494392"/>
                  <a:pt x="5931361" y="1492827"/>
                </a:cubicBezTo>
                <a:cubicBezTo>
                  <a:pt x="5932002" y="1484433"/>
                  <a:pt x="5927520" y="1480450"/>
                  <a:pt x="5931148" y="1474332"/>
                </a:cubicBezTo>
                <a:close/>
                <a:moveTo>
                  <a:pt x="3682771" y="1474332"/>
                </a:moveTo>
                <a:cubicBezTo>
                  <a:pt x="3681277" y="1479881"/>
                  <a:pt x="3679143" y="1495104"/>
                  <a:pt x="3674234" y="1501648"/>
                </a:cubicBezTo>
                <a:lnTo>
                  <a:pt x="3673167" y="1502502"/>
                </a:lnTo>
                <a:lnTo>
                  <a:pt x="3675301" y="1504920"/>
                </a:lnTo>
                <a:cubicBezTo>
                  <a:pt x="3675942" y="1505774"/>
                  <a:pt x="3676155" y="1506343"/>
                  <a:pt x="3676155" y="1506343"/>
                </a:cubicBezTo>
                <a:cubicBezTo>
                  <a:pt x="3676155" y="1506343"/>
                  <a:pt x="3676155" y="1506201"/>
                  <a:pt x="3677009" y="1504066"/>
                </a:cubicBezTo>
                <a:cubicBezTo>
                  <a:pt x="3675515" y="1508477"/>
                  <a:pt x="3675942" y="1513457"/>
                  <a:pt x="3674448" y="1517867"/>
                </a:cubicBezTo>
                <a:cubicBezTo>
                  <a:pt x="3660362" y="1527968"/>
                  <a:pt x="3655880" y="1526118"/>
                  <a:pt x="3651826" y="1520712"/>
                </a:cubicBezTo>
                <a:lnTo>
                  <a:pt x="3648197" y="1515591"/>
                </a:lnTo>
                <a:lnTo>
                  <a:pt x="3649478" y="1522135"/>
                </a:lnTo>
                <a:cubicBezTo>
                  <a:pt x="3649904" y="1525549"/>
                  <a:pt x="3650331" y="1528822"/>
                  <a:pt x="3649264" y="1531667"/>
                </a:cubicBezTo>
                <a:cubicBezTo>
                  <a:pt x="3648837" y="1529960"/>
                  <a:pt x="3647557" y="1522277"/>
                  <a:pt x="3647343" y="1516871"/>
                </a:cubicBezTo>
                <a:lnTo>
                  <a:pt x="3647557" y="1514595"/>
                </a:lnTo>
                <a:lnTo>
                  <a:pt x="3647557" y="1514310"/>
                </a:lnTo>
                <a:lnTo>
                  <a:pt x="3647557" y="1514025"/>
                </a:lnTo>
                <a:lnTo>
                  <a:pt x="3647770" y="1512461"/>
                </a:lnTo>
                <a:lnTo>
                  <a:pt x="3647983" y="1513457"/>
                </a:lnTo>
                <a:lnTo>
                  <a:pt x="3651398" y="1507055"/>
                </a:lnTo>
                <a:cubicBezTo>
                  <a:pt x="3652679" y="1504351"/>
                  <a:pt x="3654173" y="1501791"/>
                  <a:pt x="3656947" y="1500368"/>
                </a:cubicBezTo>
                <a:cubicBezTo>
                  <a:pt x="3656947" y="1500368"/>
                  <a:pt x="3657801" y="1499941"/>
                  <a:pt x="3658868" y="1499656"/>
                </a:cubicBezTo>
                <a:cubicBezTo>
                  <a:pt x="3660149" y="1499514"/>
                  <a:pt x="3662069" y="1499514"/>
                  <a:pt x="3664204" y="1500083"/>
                </a:cubicBezTo>
                <a:lnTo>
                  <a:pt x="3668899" y="1500083"/>
                </a:lnTo>
                <a:lnTo>
                  <a:pt x="3669325" y="1496100"/>
                </a:lnTo>
                <a:cubicBezTo>
                  <a:pt x="3670606" y="1486141"/>
                  <a:pt x="3672954" y="1473336"/>
                  <a:pt x="3682771" y="1474332"/>
                </a:cubicBezTo>
                <a:close/>
                <a:moveTo>
                  <a:pt x="5764894" y="1473336"/>
                </a:moveTo>
                <a:cubicBezTo>
                  <a:pt x="5769376" y="1484576"/>
                  <a:pt x="5761906" y="1500368"/>
                  <a:pt x="5754010" y="1504351"/>
                </a:cubicBezTo>
                <a:cubicBezTo>
                  <a:pt x="5749742" y="1493254"/>
                  <a:pt x="5758705" y="1479169"/>
                  <a:pt x="5764894" y="1473336"/>
                </a:cubicBezTo>
                <a:close/>
                <a:moveTo>
                  <a:pt x="4061805" y="1472910"/>
                </a:moveTo>
                <a:cubicBezTo>
                  <a:pt x="4063726" y="1473052"/>
                  <a:pt x="4065219" y="1473336"/>
                  <a:pt x="4066500" y="1473621"/>
                </a:cubicBezTo>
                <a:lnTo>
                  <a:pt x="4069488" y="1481872"/>
                </a:lnTo>
                <a:lnTo>
                  <a:pt x="4074823" y="1482869"/>
                </a:lnTo>
                <a:cubicBezTo>
                  <a:pt x="4077811" y="1484149"/>
                  <a:pt x="4080159" y="1486425"/>
                  <a:pt x="4080799" y="1489698"/>
                </a:cubicBezTo>
                <a:cubicBezTo>
                  <a:pt x="4077384" y="1489413"/>
                  <a:pt x="4074397" y="1489555"/>
                  <a:pt x="4071409" y="1489840"/>
                </a:cubicBezTo>
                <a:lnTo>
                  <a:pt x="4070128" y="1489982"/>
                </a:lnTo>
                <a:lnTo>
                  <a:pt x="4069274" y="1491547"/>
                </a:lnTo>
                <a:cubicBezTo>
                  <a:pt x="4066713" y="1494820"/>
                  <a:pt x="4063299" y="1493112"/>
                  <a:pt x="4060738" y="1495104"/>
                </a:cubicBezTo>
                <a:lnTo>
                  <a:pt x="4059670" y="1491263"/>
                </a:lnTo>
                <a:lnTo>
                  <a:pt x="4053908" y="1491547"/>
                </a:lnTo>
                <a:cubicBezTo>
                  <a:pt x="4050920" y="1491547"/>
                  <a:pt x="4047505" y="1491120"/>
                  <a:pt x="4043877" y="1489982"/>
                </a:cubicBezTo>
                <a:lnTo>
                  <a:pt x="4044304" y="1489698"/>
                </a:lnTo>
                <a:lnTo>
                  <a:pt x="4043237" y="1489271"/>
                </a:lnTo>
                <a:cubicBezTo>
                  <a:pt x="4043024" y="1488133"/>
                  <a:pt x="4043877" y="1486710"/>
                  <a:pt x="4043877" y="1485571"/>
                </a:cubicBezTo>
                <a:lnTo>
                  <a:pt x="4048359" y="1486425"/>
                </a:lnTo>
                <a:lnTo>
                  <a:pt x="4051774" y="1483580"/>
                </a:lnTo>
                <a:lnTo>
                  <a:pt x="4055615" y="1482869"/>
                </a:lnTo>
                <a:lnTo>
                  <a:pt x="4054548" y="1481304"/>
                </a:lnTo>
                <a:cubicBezTo>
                  <a:pt x="4053908" y="1478885"/>
                  <a:pt x="4054122" y="1476040"/>
                  <a:pt x="4055615" y="1473336"/>
                </a:cubicBezTo>
                <a:cubicBezTo>
                  <a:pt x="4057963" y="1472767"/>
                  <a:pt x="4060097" y="1472767"/>
                  <a:pt x="4061805" y="1472910"/>
                </a:cubicBezTo>
                <a:close/>
                <a:moveTo>
                  <a:pt x="1274182" y="1472312"/>
                </a:moveTo>
                <a:cubicBezTo>
                  <a:pt x="1275318" y="1472467"/>
                  <a:pt x="1275318" y="1472467"/>
                  <a:pt x="1276557" y="1472622"/>
                </a:cubicBezTo>
                <a:cubicBezTo>
                  <a:pt x="1277383" y="1474016"/>
                  <a:pt x="1279035" y="1474790"/>
                  <a:pt x="1279138" y="1476649"/>
                </a:cubicBezTo>
                <a:cubicBezTo>
                  <a:pt x="1278829" y="1477888"/>
                  <a:pt x="1277590" y="1478973"/>
                  <a:pt x="1276247" y="1479747"/>
                </a:cubicBezTo>
                <a:lnTo>
                  <a:pt x="1274079" y="1480521"/>
                </a:lnTo>
                <a:lnTo>
                  <a:pt x="1275008" y="1481296"/>
                </a:lnTo>
                <a:cubicBezTo>
                  <a:pt x="1275525" y="1482225"/>
                  <a:pt x="1275111" y="1483619"/>
                  <a:pt x="1274698" y="1485633"/>
                </a:cubicBezTo>
                <a:cubicBezTo>
                  <a:pt x="1270981" y="1485168"/>
                  <a:pt x="1270465" y="1483464"/>
                  <a:pt x="1270568" y="1479902"/>
                </a:cubicBezTo>
                <a:lnTo>
                  <a:pt x="1270981" y="1479902"/>
                </a:lnTo>
                <a:lnTo>
                  <a:pt x="1270155" y="1479282"/>
                </a:lnTo>
                <a:cubicBezTo>
                  <a:pt x="1269742" y="1478353"/>
                  <a:pt x="1269742" y="1477113"/>
                  <a:pt x="1270052" y="1475874"/>
                </a:cubicBezTo>
                <a:cubicBezTo>
                  <a:pt x="1270052" y="1475100"/>
                  <a:pt x="1270568" y="1474171"/>
                  <a:pt x="1271291" y="1473551"/>
                </a:cubicBezTo>
                <a:cubicBezTo>
                  <a:pt x="1272117" y="1472931"/>
                  <a:pt x="1273149" y="1472467"/>
                  <a:pt x="1274182" y="1472312"/>
                </a:cubicBezTo>
                <a:close/>
                <a:moveTo>
                  <a:pt x="4860848" y="1472198"/>
                </a:moveTo>
                <a:cubicBezTo>
                  <a:pt x="4864476" y="1472910"/>
                  <a:pt x="4867464" y="1475897"/>
                  <a:pt x="4869385" y="1479881"/>
                </a:cubicBezTo>
                <a:cubicBezTo>
                  <a:pt x="4864263" y="1483296"/>
                  <a:pt x="4859568" y="1482299"/>
                  <a:pt x="4854232" y="1478743"/>
                </a:cubicBezTo>
                <a:cubicBezTo>
                  <a:pt x="4854445" y="1476467"/>
                  <a:pt x="4858287" y="1473905"/>
                  <a:pt x="4860848" y="1472198"/>
                </a:cubicBezTo>
                <a:close/>
                <a:moveTo>
                  <a:pt x="1827429" y="1472002"/>
                </a:moveTo>
                <a:cubicBezTo>
                  <a:pt x="1834554" y="1478198"/>
                  <a:pt x="1829597" y="1483154"/>
                  <a:pt x="1833521" y="1486562"/>
                </a:cubicBezTo>
                <a:cubicBezTo>
                  <a:pt x="1831663" y="1487337"/>
                  <a:pt x="1831663" y="1487337"/>
                  <a:pt x="1830010" y="1486407"/>
                </a:cubicBezTo>
                <a:cubicBezTo>
                  <a:pt x="1830113" y="1485633"/>
                  <a:pt x="1829288" y="1485633"/>
                  <a:pt x="1830217" y="1484858"/>
                </a:cubicBezTo>
                <a:cubicBezTo>
                  <a:pt x="1828978" y="1483929"/>
                  <a:pt x="1827945" y="1481606"/>
                  <a:pt x="1827429" y="1478973"/>
                </a:cubicBezTo>
                <a:cubicBezTo>
                  <a:pt x="1826809" y="1476494"/>
                  <a:pt x="1826706" y="1473706"/>
                  <a:pt x="1827429" y="1472002"/>
                </a:cubicBezTo>
                <a:close/>
                <a:moveTo>
                  <a:pt x="5787090" y="1471630"/>
                </a:moveTo>
                <a:cubicBezTo>
                  <a:pt x="5788370" y="1471772"/>
                  <a:pt x="5789651" y="1472625"/>
                  <a:pt x="5790931" y="1473763"/>
                </a:cubicBezTo>
                <a:cubicBezTo>
                  <a:pt x="5793706" y="1476040"/>
                  <a:pt x="5792852" y="1478316"/>
                  <a:pt x="5792852" y="1478316"/>
                </a:cubicBezTo>
                <a:cubicBezTo>
                  <a:pt x="5790931" y="1482015"/>
                  <a:pt x="5787730" y="1483438"/>
                  <a:pt x="5783889" y="1481304"/>
                </a:cubicBezTo>
                <a:cubicBezTo>
                  <a:pt x="5782395" y="1479027"/>
                  <a:pt x="5783248" y="1476467"/>
                  <a:pt x="5784102" y="1474048"/>
                </a:cubicBezTo>
                <a:cubicBezTo>
                  <a:pt x="5784955" y="1472198"/>
                  <a:pt x="5786023" y="1471630"/>
                  <a:pt x="5787090" y="1471630"/>
                </a:cubicBezTo>
                <a:close/>
                <a:moveTo>
                  <a:pt x="1668621" y="1471383"/>
                </a:moveTo>
                <a:cubicBezTo>
                  <a:pt x="1670789" y="1472776"/>
                  <a:pt x="1672648" y="1473241"/>
                  <a:pt x="1673680" y="1474016"/>
                </a:cubicBezTo>
                <a:cubicBezTo>
                  <a:pt x="1673061" y="1477578"/>
                  <a:pt x="1670789" y="1478817"/>
                  <a:pt x="1667485" y="1476804"/>
                </a:cubicBezTo>
                <a:cubicBezTo>
                  <a:pt x="1668724" y="1474945"/>
                  <a:pt x="1667382" y="1473396"/>
                  <a:pt x="1668621" y="1471383"/>
                </a:cubicBezTo>
                <a:close/>
                <a:moveTo>
                  <a:pt x="1737596" y="1471228"/>
                </a:moveTo>
                <a:cubicBezTo>
                  <a:pt x="1748954" y="1480366"/>
                  <a:pt x="1743895" y="1492294"/>
                  <a:pt x="1745237" y="1494927"/>
                </a:cubicBezTo>
                <a:cubicBezTo>
                  <a:pt x="1741416" y="1498954"/>
                  <a:pt x="1741416" y="1498799"/>
                  <a:pt x="1733775" y="1492294"/>
                </a:cubicBezTo>
                <a:cubicBezTo>
                  <a:pt x="1732536" y="1490899"/>
                  <a:pt x="1731607" y="1489350"/>
                  <a:pt x="1731091" y="1487492"/>
                </a:cubicBezTo>
                <a:cubicBezTo>
                  <a:pt x="1730677" y="1485633"/>
                  <a:pt x="1730677" y="1483774"/>
                  <a:pt x="1731298" y="1481761"/>
                </a:cubicBezTo>
                <a:cubicBezTo>
                  <a:pt x="1730677" y="1480366"/>
                  <a:pt x="1730368" y="1478817"/>
                  <a:pt x="1730368" y="1477113"/>
                </a:cubicBezTo>
                <a:cubicBezTo>
                  <a:pt x="1730368" y="1475410"/>
                  <a:pt x="1730677" y="1473861"/>
                  <a:pt x="1731298" y="1472467"/>
                </a:cubicBezTo>
                <a:cubicBezTo>
                  <a:pt x="1733775" y="1469833"/>
                  <a:pt x="1736357" y="1469833"/>
                  <a:pt x="1737596" y="1471228"/>
                </a:cubicBezTo>
                <a:close/>
                <a:moveTo>
                  <a:pt x="4710387" y="1470776"/>
                </a:moveTo>
                <a:cubicBezTo>
                  <a:pt x="4712308" y="1472056"/>
                  <a:pt x="4713375" y="1473479"/>
                  <a:pt x="4715082" y="1476040"/>
                </a:cubicBezTo>
                <a:cubicBezTo>
                  <a:pt x="4711881" y="1480308"/>
                  <a:pt x="4707399" y="1476894"/>
                  <a:pt x="4708040" y="1473621"/>
                </a:cubicBezTo>
                <a:cubicBezTo>
                  <a:pt x="4708040" y="1472483"/>
                  <a:pt x="4708893" y="1471487"/>
                  <a:pt x="4710387" y="1470776"/>
                </a:cubicBezTo>
                <a:close/>
                <a:moveTo>
                  <a:pt x="4305103" y="1470633"/>
                </a:moveTo>
                <a:cubicBezTo>
                  <a:pt x="4305316" y="1473621"/>
                  <a:pt x="4304250" y="1477035"/>
                  <a:pt x="4302115" y="1480450"/>
                </a:cubicBezTo>
                <a:lnTo>
                  <a:pt x="4299767" y="1483296"/>
                </a:lnTo>
                <a:lnTo>
                  <a:pt x="4300621" y="1487137"/>
                </a:lnTo>
                <a:cubicBezTo>
                  <a:pt x="4300621" y="1489271"/>
                  <a:pt x="4299981" y="1490978"/>
                  <a:pt x="4299127" y="1491547"/>
                </a:cubicBezTo>
                <a:cubicBezTo>
                  <a:pt x="4298700" y="1491405"/>
                  <a:pt x="4298060" y="1490978"/>
                  <a:pt x="4297420" y="1490267"/>
                </a:cubicBezTo>
                <a:lnTo>
                  <a:pt x="4295926" y="1487848"/>
                </a:lnTo>
                <a:lnTo>
                  <a:pt x="4294005" y="1490125"/>
                </a:lnTo>
                <a:cubicBezTo>
                  <a:pt x="4287389" y="1495673"/>
                  <a:pt x="4279493" y="1498945"/>
                  <a:pt x="4274370" y="1495104"/>
                </a:cubicBezTo>
                <a:cubicBezTo>
                  <a:pt x="4280346" y="1491120"/>
                  <a:pt x="4284188" y="1486568"/>
                  <a:pt x="4288670" y="1482299"/>
                </a:cubicBezTo>
                <a:lnTo>
                  <a:pt x="4294219" y="1477177"/>
                </a:lnTo>
                <a:lnTo>
                  <a:pt x="4292938" y="1474902"/>
                </a:lnTo>
                <a:cubicBezTo>
                  <a:pt x="4294005" y="1474475"/>
                  <a:pt x="4296139" y="1473621"/>
                  <a:pt x="4296566" y="1470918"/>
                </a:cubicBezTo>
                <a:cubicBezTo>
                  <a:pt x="4298060" y="1471487"/>
                  <a:pt x="4299554" y="1472198"/>
                  <a:pt x="4300408" y="1473052"/>
                </a:cubicBezTo>
                <a:lnTo>
                  <a:pt x="4300408" y="1473336"/>
                </a:lnTo>
                <a:close/>
                <a:moveTo>
                  <a:pt x="1263753" y="1470143"/>
                </a:moveTo>
                <a:cubicBezTo>
                  <a:pt x="1262514" y="1472312"/>
                  <a:pt x="1262927" y="1473396"/>
                  <a:pt x="1262101" y="1472931"/>
                </a:cubicBezTo>
                <a:cubicBezTo>
                  <a:pt x="1261688" y="1473706"/>
                  <a:pt x="1260965" y="1473396"/>
                  <a:pt x="1261378" y="1472622"/>
                </a:cubicBezTo>
                <a:cubicBezTo>
                  <a:pt x="1260242" y="1471228"/>
                  <a:pt x="1262617" y="1470453"/>
                  <a:pt x="1263753" y="1470143"/>
                </a:cubicBezTo>
                <a:close/>
                <a:moveTo>
                  <a:pt x="1294317" y="1469988"/>
                </a:moveTo>
                <a:cubicBezTo>
                  <a:pt x="1295143" y="1469833"/>
                  <a:pt x="1296072" y="1469833"/>
                  <a:pt x="1297105" y="1469988"/>
                </a:cubicBezTo>
                <a:cubicBezTo>
                  <a:pt x="1298344" y="1470298"/>
                  <a:pt x="1301235" y="1471847"/>
                  <a:pt x="1300512" y="1472157"/>
                </a:cubicBezTo>
                <a:cubicBezTo>
                  <a:pt x="1300203" y="1473396"/>
                  <a:pt x="1300925" y="1472931"/>
                  <a:pt x="1301338" y="1473706"/>
                </a:cubicBezTo>
                <a:cubicBezTo>
                  <a:pt x="1300925" y="1475410"/>
                  <a:pt x="1300306" y="1476649"/>
                  <a:pt x="1299480" y="1477423"/>
                </a:cubicBezTo>
                <a:lnTo>
                  <a:pt x="1297931" y="1477888"/>
                </a:lnTo>
                <a:lnTo>
                  <a:pt x="1295040" y="1481141"/>
                </a:lnTo>
                <a:lnTo>
                  <a:pt x="1294524" y="1482845"/>
                </a:lnTo>
                <a:lnTo>
                  <a:pt x="1293801" y="1482535"/>
                </a:lnTo>
                <a:lnTo>
                  <a:pt x="1292871" y="1483464"/>
                </a:lnTo>
                <a:lnTo>
                  <a:pt x="1288535" y="1485942"/>
                </a:lnTo>
                <a:lnTo>
                  <a:pt x="1289258" y="1488730"/>
                </a:lnTo>
                <a:cubicBezTo>
                  <a:pt x="1289051" y="1489815"/>
                  <a:pt x="1288741" y="1490899"/>
                  <a:pt x="1288328" y="1490280"/>
                </a:cubicBezTo>
                <a:cubicBezTo>
                  <a:pt x="1287605" y="1490590"/>
                  <a:pt x="1287089" y="1489815"/>
                  <a:pt x="1285953" y="1489505"/>
                </a:cubicBezTo>
                <a:lnTo>
                  <a:pt x="1284507" y="1487956"/>
                </a:lnTo>
                <a:lnTo>
                  <a:pt x="1279241" y="1489505"/>
                </a:lnTo>
                <a:cubicBezTo>
                  <a:pt x="1281306" y="1486562"/>
                  <a:pt x="1284095" y="1482535"/>
                  <a:pt x="1287193" y="1479127"/>
                </a:cubicBezTo>
                <a:lnTo>
                  <a:pt x="1291013" y="1475565"/>
                </a:lnTo>
                <a:lnTo>
                  <a:pt x="1289774" y="1473706"/>
                </a:lnTo>
                <a:cubicBezTo>
                  <a:pt x="1290600" y="1473241"/>
                  <a:pt x="1290083" y="1472622"/>
                  <a:pt x="1290806" y="1472157"/>
                </a:cubicBezTo>
                <a:cubicBezTo>
                  <a:pt x="1290806" y="1472157"/>
                  <a:pt x="1291323" y="1471383"/>
                  <a:pt x="1292355" y="1470763"/>
                </a:cubicBezTo>
                <a:cubicBezTo>
                  <a:pt x="1292871" y="1470453"/>
                  <a:pt x="1293491" y="1470143"/>
                  <a:pt x="1294317" y="1469988"/>
                </a:cubicBezTo>
                <a:close/>
                <a:moveTo>
                  <a:pt x="3695149" y="1469922"/>
                </a:moveTo>
                <a:cubicBezTo>
                  <a:pt x="3696003" y="1469638"/>
                  <a:pt x="3696643" y="1469780"/>
                  <a:pt x="3697284" y="1470491"/>
                </a:cubicBezTo>
                <a:cubicBezTo>
                  <a:pt x="3695149" y="1472767"/>
                  <a:pt x="3693015" y="1477462"/>
                  <a:pt x="3688320" y="1476040"/>
                </a:cubicBezTo>
                <a:cubicBezTo>
                  <a:pt x="3690027" y="1474332"/>
                  <a:pt x="3692802" y="1470633"/>
                  <a:pt x="3695149" y="1469922"/>
                </a:cubicBezTo>
                <a:close/>
                <a:moveTo>
                  <a:pt x="4198820" y="1469780"/>
                </a:moveTo>
                <a:cubicBezTo>
                  <a:pt x="4200100" y="1469780"/>
                  <a:pt x="4200741" y="1470776"/>
                  <a:pt x="4201168" y="1472056"/>
                </a:cubicBezTo>
                <a:cubicBezTo>
                  <a:pt x="4201594" y="1473336"/>
                  <a:pt x="4201594" y="1474902"/>
                  <a:pt x="4202021" y="1475897"/>
                </a:cubicBezTo>
                <a:cubicBezTo>
                  <a:pt x="4204582" y="1476182"/>
                  <a:pt x="4201168" y="1481304"/>
                  <a:pt x="4203728" y="1481446"/>
                </a:cubicBezTo>
                <a:cubicBezTo>
                  <a:pt x="4200528" y="1487706"/>
                  <a:pt x="4207784" y="1490978"/>
                  <a:pt x="4204796" y="1501079"/>
                </a:cubicBezTo>
                <a:cubicBezTo>
                  <a:pt x="4203088" y="1498661"/>
                  <a:pt x="4201808" y="1496242"/>
                  <a:pt x="4200954" y="1493823"/>
                </a:cubicBezTo>
                <a:lnTo>
                  <a:pt x="4199460" y="1486568"/>
                </a:lnTo>
                <a:lnTo>
                  <a:pt x="4192631" y="1488417"/>
                </a:lnTo>
                <a:cubicBezTo>
                  <a:pt x="4190710" y="1487848"/>
                  <a:pt x="4188789" y="1486710"/>
                  <a:pt x="4187509" y="1484861"/>
                </a:cubicBezTo>
                <a:cubicBezTo>
                  <a:pt x="4185801" y="1482442"/>
                  <a:pt x="4185161" y="1478885"/>
                  <a:pt x="4186655" y="1474475"/>
                </a:cubicBezTo>
                <a:cubicBezTo>
                  <a:pt x="4189216" y="1473479"/>
                  <a:pt x="4191350" y="1473621"/>
                  <a:pt x="4193271" y="1473763"/>
                </a:cubicBezTo>
                <a:lnTo>
                  <a:pt x="4196686" y="1474332"/>
                </a:lnTo>
                <a:lnTo>
                  <a:pt x="4197326" y="1472910"/>
                </a:lnTo>
                <a:cubicBezTo>
                  <a:pt x="4196899" y="1471772"/>
                  <a:pt x="4197113" y="1471772"/>
                  <a:pt x="4197113" y="1471772"/>
                </a:cubicBezTo>
                <a:cubicBezTo>
                  <a:pt x="4196686" y="1470633"/>
                  <a:pt x="4198820" y="1469780"/>
                  <a:pt x="4198820" y="1469780"/>
                </a:cubicBezTo>
                <a:close/>
                <a:moveTo>
                  <a:pt x="1137058" y="1469369"/>
                </a:moveTo>
                <a:cubicBezTo>
                  <a:pt x="1138606" y="1468749"/>
                  <a:pt x="1140362" y="1468749"/>
                  <a:pt x="1142117" y="1469524"/>
                </a:cubicBezTo>
                <a:lnTo>
                  <a:pt x="1142840" y="1470143"/>
                </a:lnTo>
                <a:lnTo>
                  <a:pt x="1143460" y="1469833"/>
                </a:lnTo>
                <a:cubicBezTo>
                  <a:pt x="1143253" y="1469524"/>
                  <a:pt x="1143150" y="1469524"/>
                  <a:pt x="1143460" y="1469678"/>
                </a:cubicBezTo>
                <a:cubicBezTo>
                  <a:pt x="1143769" y="1469678"/>
                  <a:pt x="1144389" y="1469833"/>
                  <a:pt x="1145318" y="1469833"/>
                </a:cubicBezTo>
                <a:cubicBezTo>
                  <a:pt x="1146454" y="1470298"/>
                  <a:pt x="1147073" y="1469833"/>
                  <a:pt x="1146867" y="1470918"/>
                </a:cubicBezTo>
                <a:cubicBezTo>
                  <a:pt x="1146661" y="1471383"/>
                  <a:pt x="1146661" y="1471692"/>
                  <a:pt x="1146351" y="1472002"/>
                </a:cubicBezTo>
                <a:lnTo>
                  <a:pt x="1145318" y="1472622"/>
                </a:lnTo>
                <a:lnTo>
                  <a:pt x="1146454" y="1473706"/>
                </a:lnTo>
                <a:cubicBezTo>
                  <a:pt x="1145318" y="1476959"/>
                  <a:pt x="1143357" y="1478662"/>
                  <a:pt x="1142221" y="1480057"/>
                </a:cubicBezTo>
                <a:cubicBezTo>
                  <a:pt x="1139846" y="1479127"/>
                  <a:pt x="1137884" y="1478973"/>
                  <a:pt x="1135509" y="1477888"/>
                </a:cubicBezTo>
                <a:cubicBezTo>
                  <a:pt x="1134786" y="1476804"/>
                  <a:pt x="1134270" y="1475874"/>
                  <a:pt x="1134063" y="1474945"/>
                </a:cubicBezTo>
                <a:cubicBezTo>
                  <a:pt x="1133857" y="1474016"/>
                  <a:pt x="1133857" y="1473086"/>
                  <a:pt x="1134063" y="1472467"/>
                </a:cubicBezTo>
                <a:cubicBezTo>
                  <a:pt x="1134476" y="1470918"/>
                  <a:pt x="1135612" y="1469833"/>
                  <a:pt x="1137058" y="1469369"/>
                </a:cubicBezTo>
                <a:close/>
                <a:moveTo>
                  <a:pt x="4005248" y="1469353"/>
                </a:moveTo>
                <a:cubicBezTo>
                  <a:pt x="4007169" y="1469495"/>
                  <a:pt x="4008663" y="1470065"/>
                  <a:pt x="4009517" y="1472056"/>
                </a:cubicBezTo>
                <a:cubicBezTo>
                  <a:pt x="4008876" y="1473052"/>
                  <a:pt x="4009730" y="1473621"/>
                  <a:pt x="4009090" y="1474759"/>
                </a:cubicBezTo>
                <a:cubicBezTo>
                  <a:pt x="4009090" y="1474759"/>
                  <a:pt x="4008876" y="1476040"/>
                  <a:pt x="4008023" y="1477605"/>
                </a:cubicBezTo>
                <a:cubicBezTo>
                  <a:pt x="4007169" y="1479312"/>
                  <a:pt x="4005462" y="1481161"/>
                  <a:pt x="4002901" y="1482299"/>
                </a:cubicBezTo>
                <a:cubicBezTo>
                  <a:pt x="4001193" y="1482726"/>
                  <a:pt x="3997138" y="1483011"/>
                  <a:pt x="3997779" y="1481872"/>
                </a:cubicBezTo>
                <a:cubicBezTo>
                  <a:pt x="3997352" y="1480308"/>
                  <a:pt x="3996712" y="1481304"/>
                  <a:pt x="3995858" y="1480734"/>
                </a:cubicBezTo>
                <a:cubicBezTo>
                  <a:pt x="3995004" y="1475897"/>
                  <a:pt x="3996071" y="1472198"/>
                  <a:pt x="3999913" y="1470207"/>
                </a:cubicBezTo>
                <a:cubicBezTo>
                  <a:pt x="4001407" y="1469780"/>
                  <a:pt x="4003541" y="1469353"/>
                  <a:pt x="4005248" y="1469353"/>
                </a:cubicBezTo>
                <a:close/>
                <a:moveTo>
                  <a:pt x="3592068" y="1469353"/>
                </a:moveTo>
                <a:cubicBezTo>
                  <a:pt x="3596763" y="1473052"/>
                  <a:pt x="3598044" y="1474332"/>
                  <a:pt x="3595909" y="1480166"/>
                </a:cubicBezTo>
                <a:cubicBezTo>
                  <a:pt x="3595909" y="1480166"/>
                  <a:pt x="3594842" y="1481446"/>
                  <a:pt x="3594842" y="1481446"/>
                </a:cubicBezTo>
                <a:cubicBezTo>
                  <a:pt x="3591641" y="1485998"/>
                  <a:pt x="3584812" y="1488133"/>
                  <a:pt x="3582464" y="1486852"/>
                </a:cubicBezTo>
                <a:cubicBezTo>
                  <a:pt x="3579903" y="1484291"/>
                  <a:pt x="3578622" y="1479454"/>
                  <a:pt x="3582037" y="1476040"/>
                </a:cubicBezTo>
                <a:cubicBezTo>
                  <a:pt x="3584171" y="1472625"/>
                  <a:pt x="3588653" y="1472767"/>
                  <a:pt x="3592068" y="1469353"/>
                </a:cubicBezTo>
                <a:close/>
                <a:moveTo>
                  <a:pt x="5481686" y="1469068"/>
                </a:moveTo>
                <a:cubicBezTo>
                  <a:pt x="5483820" y="1470776"/>
                  <a:pt x="5486168" y="1471345"/>
                  <a:pt x="5489369" y="1473336"/>
                </a:cubicBezTo>
                <a:cubicBezTo>
                  <a:pt x="5488943" y="1476751"/>
                  <a:pt x="5484674" y="1483011"/>
                  <a:pt x="5478698" y="1482869"/>
                </a:cubicBezTo>
                <a:cubicBezTo>
                  <a:pt x="5473576" y="1476894"/>
                  <a:pt x="5475284" y="1472483"/>
                  <a:pt x="5481686" y="1469068"/>
                </a:cubicBezTo>
                <a:close/>
                <a:moveTo>
                  <a:pt x="1232570" y="1469059"/>
                </a:moveTo>
                <a:cubicBezTo>
                  <a:pt x="1230711" y="1472467"/>
                  <a:pt x="1228956" y="1476184"/>
                  <a:pt x="1226684" y="1479592"/>
                </a:cubicBezTo>
                <a:cubicBezTo>
                  <a:pt x="1225445" y="1481296"/>
                  <a:pt x="1224103" y="1482845"/>
                  <a:pt x="1222554" y="1484394"/>
                </a:cubicBezTo>
                <a:lnTo>
                  <a:pt x="1217907" y="1487801"/>
                </a:lnTo>
                <a:lnTo>
                  <a:pt x="1223173" y="1489195"/>
                </a:lnTo>
                <a:lnTo>
                  <a:pt x="1228027" y="1493378"/>
                </a:lnTo>
                <a:lnTo>
                  <a:pt x="1231537" y="1491674"/>
                </a:lnTo>
                <a:cubicBezTo>
                  <a:pt x="1234119" y="1492913"/>
                  <a:pt x="1235255" y="1494617"/>
                  <a:pt x="1235358" y="1496630"/>
                </a:cubicBezTo>
                <a:lnTo>
                  <a:pt x="1233705" y="1501277"/>
                </a:lnTo>
                <a:lnTo>
                  <a:pt x="1234532" y="1502826"/>
                </a:lnTo>
                <a:cubicBezTo>
                  <a:pt x="1235255" y="1505305"/>
                  <a:pt x="1235151" y="1507628"/>
                  <a:pt x="1233705" y="1509332"/>
                </a:cubicBezTo>
                <a:lnTo>
                  <a:pt x="1230195" y="1505460"/>
                </a:lnTo>
                <a:lnTo>
                  <a:pt x="1225342" y="1509797"/>
                </a:lnTo>
                <a:lnTo>
                  <a:pt x="1224206" y="1510262"/>
                </a:lnTo>
                <a:lnTo>
                  <a:pt x="1225652" y="1511965"/>
                </a:lnTo>
                <a:cubicBezTo>
                  <a:pt x="1225961" y="1513050"/>
                  <a:pt x="1226065" y="1514598"/>
                  <a:pt x="1225755" y="1516148"/>
                </a:cubicBezTo>
                <a:cubicBezTo>
                  <a:pt x="1222967" y="1517231"/>
                  <a:pt x="1219353" y="1518935"/>
                  <a:pt x="1215636" y="1519400"/>
                </a:cubicBezTo>
                <a:lnTo>
                  <a:pt x="1212228" y="1519245"/>
                </a:lnTo>
                <a:lnTo>
                  <a:pt x="1207788" y="1524202"/>
                </a:lnTo>
                <a:cubicBezTo>
                  <a:pt x="1206653" y="1523737"/>
                  <a:pt x="1205620" y="1523118"/>
                  <a:pt x="1205000" y="1524202"/>
                </a:cubicBezTo>
                <a:cubicBezTo>
                  <a:pt x="1197875" y="1521414"/>
                  <a:pt x="1194055" y="1513979"/>
                  <a:pt x="1193745" y="1506234"/>
                </a:cubicBezTo>
                <a:cubicBezTo>
                  <a:pt x="1193539" y="1500348"/>
                  <a:pt x="1195294" y="1494462"/>
                  <a:pt x="1199218" y="1490125"/>
                </a:cubicBezTo>
                <a:lnTo>
                  <a:pt x="1199941" y="1489505"/>
                </a:lnTo>
                <a:lnTo>
                  <a:pt x="1198495" y="1490125"/>
                </a:lnTo>
                <a:cubicBezTo>
                  <a:pt x="1197256" y="1489970"/>
                  <a:pt x="1197256" y="1489815"/>
                  <a:pt x="1196843" y="1489195"/>
                </a:cubicBezTo>
                <a:cubicBezTo>
                  <a:pt x="1195191" y="1488266"/>
                  <a:pt x="1194055" y="1488111"/>
                  <a:pt x="1193849" y="1486252"/>
                </a:cubicBezTo>
                <a:cubicBezTo>
                  <a:pt x="1193952" y="1484704"/>
                  <a:pt x="1194468" y="1483929"/>
                  <a:pt x="1195397" y="1483464"/>
                </a:cubicBezTo>
                <a:cubicBezTo>
                  <a:pt x="1196327" y="1483000"/>
                  <a:pt x="1197669" y="1482845"/>
                  <a:pt x="1199218" y="1482690"/>
                </a:cubicBezTo>
                <a:cubicBezTo>
                  <a:pt x="1202419" y="1482535"/>
                  <a:pt x="1203038" y="1485168"/>
                  <a:pt x="1205413" y="1485478"/>
                </a:cubicBezTo>
                <a:lnTo>
                  <a:pt x="1204484" y="1486717"/>
                </a:lnTo>
                <a:lnTo>
                  <a:pt x="1211712" y="1491054"/>
                </a:lnTo>
                <a:cubicBezTo>
                  <a:pt x="1213674" y="1493068"/>
                  <a:pt x="1215120" y="1495391"/>
                  <a:pt x="1216049" y="1497870"/>
                </a:cubicBezTo>
                <a:lnTo>
                  <a:pt x="1216875" y="1502672"/>
                </a:lnTo>
                <a:lnTo>
                  <a:pt x="1219146" y="1499573"/>
                </a:lnTo>
                <a:lnTo>
                  <a:pt x="1222554" y="1496785"/>
                </a:lnTo>
                <a:lnTo>
                  <a:pt x="1219972" y="1493997"/>
                </a:lnTo>
                <a:lnTo>
                  <a:pt x="1216772" y="1488576"/>
                </a:lnTo>
                <a:lnTo>
                  <a:pt x="1216668" y="1488576"/>
                </a:lnTo>
                <a:lnTo>
                  <a:pt x="1216668" y="1488421"/>
                </a:lnTo>
                <a:lnTo>
                  <a:pt x="1216049" y="1487182"/>
                </a:lnTo>
                <a:lnTo>
                  <a:pt x="1216772" y="1487492"/>
                </a:lnTo>
                <a:lnTo>
                  <a:pt x="1217185" y="1481916"/>
                </a:lnTo>
                <a:cubicBezTo>
                  <a:pt x="1219766" y="1475565"/>
                  <a:pt x="1227613" y="1470918"/>
                  <a:pt x="1232570" y="1469059"/>
                </a:cubicBezTo>
                <a:close/>
                <a:moveTo>
                  <a:pt x="5422782" y="1468926"/>
                </a:moveTo>
                <a:cubicBezTo>
                  <a:pt x="5425770" y="1472625"/>
                  <a:pt x="5423209" y="1475044"/>
                  <a:pt x="5420435" y="1479881"/>
                </a:cubicBezTo>
                <a:cubicBezTo>
                  <a:pt x="5419368" y="1478601"/>
                  <a:pt x="5415526" y="1482299"/>
                  <a:pt x="5414246" y="1483580"/>
                </a:cubicBezTo>
                <a:cubicBezTo>
                  <a:pt x="5412325" y="1481019"/>
                  <a:pt x="5407203" y="1484576"/>
                  <a:pt x="5404215" y="1480877"/>
                </a:cubicBezTo>
                <a:cubicBezTo>
                  <a:pt x="5404428" y="1478458"/>
                  <a:pt x="5404642" y="1477177"/>
                  <a:pt x="5405922" y="1474759"/>
                </a:cubicBezTo>
                <a:cubicBezTo>
                  <a:pt x="5416166" y="1466366"/>
                  <a:pt x="5421502" y="1470207"/>
                  <a:pt x="5422782" y="1468926"/>
                </a:cubicBezTo>
                <a:close/>
                <a:moveTo>
                  <a:pt x="1091005" y="1468904"/>
                </a:moveTo>
                <a:cubicBezTo>
                  <a:pt x="1093277" y="1467974"/>
                  <a:pt x="1097407" y="1469214"/>
                  <a:pt x="1098543" y="1471537"/>
                </a:cubicBezTo>
                <a:cubicBezTo>
                  <a:pt x="1098233" y="1474326"/>
                  <a:pt x="1096271" y="1474171"/>
                  <a:pt x="1096375" y="1476029"/>
                </a:cubicBezTo>
                <a:cubicBezTo>
                  <a:pt x="1092141" y="1474945"/>
                  <a:pt x="1091005" y="1472622"/>
                  <a:pt x="1091005" y="1468904"/>
                </a:cubicBezTo>
                <a:close/>
                <a:moveTo>
                  <a:pt x="4370623" y="1468784"/>
                </a:moveTo>
                <a:cubicBezTo>
                  <a:pt x="4372117" y="1468926"/>
                  <a:pt x="4373611" y="1469780"/>
                  <a:pt x="4374678" y="1471345"/>
                </a:cubicBezTo>
                <a:cubicBezTo>
                  <a:pt x="4375318" y="1475044"/>
                  <a:pt x="4375745" y="1478743"/>
                  <a:pt x="4371690" y="1483296"/>
                </a:cubicBezTo>
                <a:cubicBezTo>
                  <a:pt x="4366995" y="1484007"/>
                  <a:pt x="4363793" y="1482584"/>
                  <a:pt x="4360165" y="1477320"/>
                </a:cubicBezTo>
                <a:cubicBezTo>
                  <a:pt x="4360806" y="1472910"/>
                  <a:pt x="4366141" y="1468073"/>
                  <a:pt x="4370623" y="1468784"/>
                </a:cubicBezTo>
                <a:close/>
                <a:moveTo>
                  <a:pt x="1535975" y="1468129"/>
                </a:moveTo>
                <a:cubicBezTo>
                  <a:pt x="1538389" y="1467123"/>
                  <a:pt x="1541306" y="1467432"/>
                  <a:pt x="1543164" y="1468904"/>
                </a:cubicBezTo>
                <a:cubicBezTo>
                  <a:pt x="1544403" y="1469833"/>
                  <a:pt x="1545127" y="1471383"/>
                  <a:pt x="1545023" y="1473241"/>
                </a:cubicBezTo>
                <a:cubicBezTo>
                  <a:pt x="1540273" y="1475874"/>
                  <a:pt x="1535420" y="1479747"/>
                  <a:pt x="1531806" y="1475255"/>
                </a:cubicBezTo>
                <a:cubicBezTo>
                  <a:pt x="1531652" y="1471460"/>
                  <a:pt x="1533562" y="1469136"/>
                  <a:pt x="1535975" y="1468129"/>
                </a:cubicBezTo>
                <a:close/>
                <a:moveTo>
                  <a:pt x="1429583" y="1467510"/>
                </a:moveTo>
                <a:cubicBezTo>
                  <a:pt x="1427827" y="1469833"/>
                  <a:pt x="1427311" y="1470763"/>
                  <a:pt x="1426072" y="1472157"/>
                </a:cubicBezTo>
                <a:cubicBezTo>
                  <a:pt x="1426382" y="1472931"/>
                  <a:pt x="1426692" y="1473706"/>
                  <a:pt x="1426175" y="1474790"/>
                </a:cubicBezTo>
                <a:cubicBezTo>
                  <a:pt x="1425142" y="1476804"/>
                  <a:pt x="1423181" y="1476494"/>
                  <a:pt x="1421942" y="1477733"/>
                </a:cubicBezTo>
                <a:cubicBezTo>
                  <a:pt x="1421322" y="1477423"/>
                  <a:pt x="1420703" y="1477113"/>
                  <a:pt x="1420290" y="1476339"/>
                </a:cubicBezTo>
                <a:cubicBezTo>
                  <a:pt x="1419876" y="1475719"/>
                  <a:pt x="1419773" y="1474790"/>
                  <a:pt x="1420290" y="1473861"/>
                </a:cubicBezTo>
                <a:cubicBezTo>
                  <a:pt x="1420909" y="1470918"/>
                  <a:pt x="1423387" y="1470298"/>
                  <a:pt x="1426175" y="1470298"/>
                </a:cubicBezTo>
                <a:cubicBezTo>
                  <a:pt x="1427517" y="1469059"/>
                  <a:pt x="1427621" y="1467200"/>
                  <a:pt x="1429583" y="1467510"/>
                </a:cubicBezTo>
                <a:close/>
                <a:moveTo>
                  <a:pt x="1690821" y="1466890"/>
                </a:moveTo>
                <a:cubicBezTo>
                  <a:pt x="1691647" y="1467665"/>
                  <a:pt x="1691647" y="1467665"/>
                  <a:pt x="1690614" y="1468284"/>
                </a:cubicBezTo>
                <a:cubicBezTo>
                  <a:pt x="1690201" y="1467974"/>
                  <a:pt x="1690201" y="1467820"/>
                  <a:pt x="1690408" y="1467510"/>
                </a:cubicBezTo>
                <a:cubicBezTo>
                  <a:pt x="1690511" y="1467355"/>
                  <a:pt x="1690718" y="1467200"/>
                  <a:pt x="1690821" y="1466890"/>
                </a:cubicBezTo>
                <a:close/>
                <a:moveTo>
                  <a:pt x="4179612" y="1466793"/>
                </a:moveTo>
                <a:lnTo>
                  <a:pt x="4177478" y="1473905"/>
                </a:lnTo>
                <a:lnTo>
                  <a:pt x="4178972" y="1474759"/>
                </a:lnTo>
                <a:cubicBezTo>
                  <a:pt x="4179612" y="1475471"/>
                  <a:pt x="4179826" y="1476324"/>
                  <a:pt x="4181319" y="1478885"/>
                </a:cubicBezTo>
                <a:cubicBezTo>
                  <a:pt x="4178545" y="1481019"/>
                  <a:pt x="4175771" y="1483153"/>
                  <a:pt x="4173210" y="1485430"/>
                </a:cubicBezTo>
                <a:cubicBezTo>
                  <a:pt x="4172783" y="1484149"/>
                  <a:pt x="4172143" y="1483153"/>
                  <a:pt x="4171289" y="1482299"/>
                </a:cubicBezTo>
                <a:lnTo>
                  <a:pt x="4171075" y="1482157"/>
                </a:lnTo>
                <a:lnTo>
                  <a:pt x="4157630" y="1489698"/>
                </a:lnTo>
                <a:cubicBezTo>
                  <a:pt x="4154856" y="1478458"/>
                  <a:pt x="4169581" y="1469780"/>
                  <a:pt x="4179612" y="1466793"/>
                </a:cubicBezTo>
                <a:close/>
                <a:moveTo>
                  <a:pt x="1634236" y="1466445"/>
                </a:moveTo>
                <a:cubicBezTo>
                  <a:pt x="1637489" y="1466426"/>
                  <a:pt x="1639296" y="1467045"/>
                  <a:pt x="1639296" y="1467045"/>
                </a:cubicBezTo>
                <a:cubicBezTo>
                  <a:pt x="1643530" y="1476494"/>
                  <a:pt x="1631965" y="1481606"/>
                  <a:pt x="1624427" y="1484858"/>
                </a:cubicBezTo>
                <a:lnTo>
                  <a:pt x="1618748" y="1487027"/>
                </a:lnTo>
                <a:lnTo>
                  <a:pt x="1626182" y="1488266"/>
                </a:lnTo>
                <a:cubicBezTo>
                  <a:pt x="1624737" y="1494772"/>
                  <a:pt x="1616683" y="1495391"/>
                  <a:pt x="1611004" y="1497250"/>
                </a:cubicBezTo>
                <a:cubicBezTo>
                  <a:pt x="1612656" y="1499573"/>
                  <a:pt x="1615134" y="1502207"/>
                  <a:pt x="1616476" y="1504840"/>
                </a:cubicBezTo>
                <a:lnTo>
                  <a:pt x="1617406" y="1508558"/>
                </a:lnTo>
                <a:lnTo>
                  <a:pt x="1617922" y="1508558"/>
                </a:lnTo>
                <a:cubicBezTo>
                  <a:pt x="1617922" y="1508558"/>
                  <a:pt x="1618645" y="1508093"/>
                  <a:pt x="1619884" y="1508558"/>
                </a:cubicBezTo>
                <a:cubicBezTo>
                  <a:pt x="1621123" y="1508867"/>
                  <a:pt x="1622362" y="1509332"/>
                  <a:pt x="1622568" y="1511191"/>
                </a:cubicBezTo>
                <a:cubicBezTo>
                  <a:pt x="1615134" y="1511965"/>
                  <a:pt x="1612140" y="1513514"/>
                  <a:pt x="1606254" y="1513514"/>
                </a:cubicBezTo>
                <a:cubicBezTo>
                  <a:pt x="1605841" y="1512740"/>
                  <a:pt x="1606564" y="1512430"/>
                  <a:pt x="1606047" y="1511655"/>
                </a:cubicBezTo>
                <a:cubicBezTo>
                  <a:pt x="1606254" y="1511191"/>
                  <a:pt x="1606874" y="1510571"/>
                  <a:pt x="1607803" y="1510106"/>
                </a:cubicBezTo>
                <a:lnTo>
                  <a:pt x="1610074" y="1509487"/>
                </a:lnTo>
                <a:lnTo>
                  <a:pt x="1608319" y="1507318"/>
                </a:lnTo>
                <a:cubicBezTo>
                  <a:pt x="1606667" y="1504530"/>
                  <a:pt x="1605325" y="1501122"/>
                  <a:pt x="1602846" y="1498799"/>
                </a:cubicBezTo>
                <a:cubicBezTo>
                  <a:pt x="1599645" y="1497405"/>
                  <a:pt x="1596341" y="1500348"/>
                  <a:pt x="1593243" y="1494927"/>
                </a:cubicBezTo>
                <a:cubicBezTo>
                  <a:pt x="1597890" y="1491984"/>
                  <a:pt x="1602227" y="1489970"/>
                  <a:pt x="1606461" y="1488730"/>
                </a:cubicBezTo>
                <a:lnTo>
                  <a:pt x="1617612" y="1487182"/>
                </a:lnTo>
                <a:lnTo>
                  <a:pt x="1613585" y="1487337"/>
                </a:lnTo>
                <a:cubicBezTo>
                  <a:pt x="1612656" y="1487027"/>
                  <a:pt x="1612036" y="1486407"/>
                  <a:pt x="1611623" y="1485478"/>
                </a:cubicBezTo>
                <a:cubicBezTo>
                  <a:pt x="1608732" y="1480366"/>
                  <a:pt x="1612966" y="1472776"/>
                  <a:pt x="1620503" y="1469678"/>
                </a:cubicBezTo>
                <a:cubicBezTo>
                  <a:pt x="1626286" y="1467123"/>
                  <a:pt x="1630984" y="1466464"/>
                  <a:pt x="1634236" y="1466445"/>
                </a:cubicBezTo>
                <a:close/>
                <a:moveTo>
                  <a:pt x="1585499" y="1465961"/>
                </a:moveTo>
                <a:cubicBezTo>
                  <a:pt x="1593450" y="1465496"/>
                  <a:pt x="1595515" y="1473086"/>
                  <a:pt x="1592624" y="1476649"/>
                </a:cubicBezTo>
                <a:cubicBezTo>
                  <a:pt x="1591695" y="1477888"/>
                  <a:pt x="1590146" y="1478662"/>
                  <a:pt x="1588081" y="1478662"/>
                </a:cubicBezTo>
                <a:cubicBezTo>
                  <a:pt x="1585912" y="1475255"/>
                  <a:pt x="1583021" y="1472002"/>
                  <a:pt x="1583641" y="1468904"/>
                </a:cubicBezTo>
                <a:cubicBezTo>
                  <a:pt x="1583847" y="1467974"/>
                  <a:pt x="1584364" y="1466890"/>
                  <a:pt x="1585499" y="1465961"/>
                </a:cubicBezTo>
                <a:close/>
                <a:moveTo>
                  <a:pt x="5021126" y="1465796"/>
                </a:moveTo>
                <a:lnTo>
                  <a:pt x="5024328" y="1466223"/>
                </a:lnTo>
                <a:lnTo>
                  <a:pt x="5025608" y="1467503"/>
                </a:lnTo>
                <a:cubicBezTo>
                  <a:pt x="5019846" y="1470776"/>
                  <a:pt x="5010455" y="1469211"/>
                  <a:pt x="5009388" y="1469068"/>
                </a:cubicBezTo>
                <a:cubicBezTo>
                  <a:pt x="5009175" y="1467930"/>
                  <a:pt x="5009388" y="1467930"/>
                  <a:pt x="5009388" y="1467930"/>
                </a:cubicBezTo>
                <a:cubicBezTo>
                  <a:pt x="5012803" y="1468926"/>
                  <a:pt x="5016858" y="1466081"/>
                  <a:pt x="5021126" y="1465796"/>
                </a:cubicBezTo>
                <a:close/>
                <a:moveTo>
                  <a:pt x="1824022" y="1465186"/>
                </a:moveTo>
                <a:cubicBezTo>
                  <a:pt x="1824847" y="1466116"/>
                  <a:pt x="1825570" y="1467820"/>
                  <a:pt x="1826293" y="1468594"/>
                </a:cubicBezTo>
                <a:cubicBezTo>
                  <a:pt x="1826293" y="1468594"/>
                  <a:pt x="1826293" y="1468749"/>
                  <a:pt x="1825261" y="1469524"/>
                </a:cubicBezTo>
                <a:cubicBezTo>
                  <a:pt x="1825467" y="1468284"/>
                  <a:pt x="1823608" y="1467355"/>
                  <a:pt x="1823505" y="1466271"/>
                </a:cubicBezTo>
                <a:cubicBezTo>
                  <a:pt x="1823402" y="1465961"/>
                  <a:pt x="1823505" y="1465651"/>
                  <a:pt x="1824022" y="1465186"/>
                </a:cubicBezTo>
                <a:close/>
                <a:moveTo>
                  <a:pt x="5130398" y="1465085"/>
                </a:moveTo>
                <a:cubicBezTo>
                  <a:pt x="5131038" y="1465227"/>
                  <a:pt x="5131464" y="1465654"/>
                  <a:pt x="5131464" y="1465654"/>
                </a:cubicBezTo>
                <a:cubicBezTo>
                  <a:pt x="5133172" y="1467930"/>
                  <a:pt x="5130611" y="1470349"/>
                  <a:pt x="5129757" y="1472340"/>
                </a:cubicBezTo>
                <a:cubicBezTo>
                  <a:pt x="5131464" y="1474617"/>
                  <a:pt x="5125702" y="1475471"/>
                  <a:pt x="5127410" y="1477605"/>
                </a:cubicBezTo>
                <a:cubicBezTo>
                  <a:pt x="5121220" y="1479454"/>
                  <a:pt x="5123995" y="1487563"/>
                  <a:pt x="5115458" y="1491832"/>
                </a:cubicBezTo>
                <a:cubicBezTo>
                  <a:pt x="5115884" y="1488702"/>
                  <a:pt x="5116525" y="1486141"/>
                  <a:pt x="5117592" y="1483865"/>
                </a:cubicBezTo>
                <a:cubicBezTo>
                  <a:pt x="5120367" y="1477035"/>
                  <a:pt x="5124848" y="1472910"/>
                  <a:pt x="5125489" y="1467361"/>
                </a:cubicBezTo>
                <a:cubicBezTo>
                  <a:pt x="5125489" y="1467361"/>
                  <a:pt x="5125489" y="1467361"/>
                  <a:pt x="5128477" y="1466508"/>
                </a:cubicBezTo>
                <a:cubicBezTo>
                  <a:pt x="5128903" y="1465512"/>
                  <a:pt x="5128903" y="1465512"/>
                  <a:pt x="5128903" y="1465512"/>
                </a:cubicBezTo>
                <a:cubicBezTo>
                  <a:pt x="5129117" y="1464943"/>
                  <a:pt x="5129970" y="1464943"/>
                  <a:pt x="5130398" y="1465085"/>
                </a:cubicBezTo>
                <a:close/>
                <a:moveTo>
                  <a:pt x="5002132" y="1465085"/>
                </a:moveTo>
                <a:cubicBezTo>
                  <a:pt x="5002132" y="1465085"/>
                  <a:pt x="5002132" y="1465227"/>
                  <a:pt x="5003412" y="1466508"/>
                </a:cubicBezTo>
                <a:cubicBezTo>
                  <a:pt x="5001065" y="1466366"/>
                  <a:pt x="4999998" y="1471060"/>
                  <a:pt x="4997650" y="1468641"/>
                </a:cubicBezTo>
                <a:cubicBezTo>
                  <a:pt x="4998717" y="1467361"/>
                  <a:pt x="5001065" y="1466223"/>
                  <a:pt x="5002132" y="1465085"/>
                </a:cubicBezTo>
                <a:close/>
                <a:moveTo>
                  <a:pt x="3891069" y="1465085"/>
                </a:moveTo>
                <a:cubicBezTo>
                  <a:pt x="3892776" y="1465369"/>
                  <a:pt x="3894483" y="1466366"/>
                  <a:pt x="3895551" y="1467788"/>
                </a:cubicBezTo>
                <a:cubicBezTo>
                  <a:pt x="3897685" y="1470491"/>
                  <a:pt x="3897898" y="1474902"/>
                  <a:pt x="3894057" y="1480024"/>
                </a:cubicBezTo>
                <a:cubicBezTo>
                  <a:pt x="3884026" y="1483722"/>
                  <a:pt x="3876129" y="1473621"/>
                  <a:pt x="3884666" y="1465512"/>
                </a:cubicBezTo>
                <a:cubicBezTo>
                  <a:pt x="3887014" y="1464800"/>
                  <a:pt x="3889148" y="1464658"/>
                  <a:pt x="3891069" y="1465085"/>
                </a:cubicBezTo>
                <a:close/>
                <a:moveTo>
                  <a:pt x="4226991" y="1464800"/>
                </a:moveTo>
                <a:cubicBezTo>
                  <a:pt x="4229979" y="1465085"/>
                  <a:pt x="4233181" y="1466793"/>
                  <a:pt x="4234888" y="1469353"/>
                </a:cubicBezTo>
                <a:cubicBezTo>
                  <a:pt x="4235955" y="1470918"/>
                  <a:pt x="4236595" y="1472910"/>
                  <a:pt x="4236169" y="1475044"/>
                </a:cubicBezTo>
                <a:cubicBezTo>
                  <a:pt x="4230406" y="1483011"/>
                  <a:pt x="4218668" y="1476040"/>
                  <a:pt x="4218241" y="1468499"/>
                </a:cubicBezTo>
                <a:cubicBezTo>
                  <a:pt x="4220375" y="1465512"/>
                  <a:pt x="4223790" y="1464374"/>
                  <a:pt x="4226991" y="1464800"/>
                </a:cubicBezTo>
                <a:close/>
                <a:moveTo>
                  <a:pt x="977527" y="1464722"/>
                </a:moveTo>
                <a:cubicBezTo>
                  <a:pt x="979902" y="1463948"/>
                  <a:pt x="981761" y="1464102"/>
                  <a:pt x="984549" y="1465961"/>
                </a:cubicBezTo>
                <a:cubicBezTo>
                  <a:pt x="984549" y="1469678"/>
                  <a:pt x="984961" y="1468594"/>
                  <a:pt x="983000" y="1472157"/>
                </a:cubicBezTo>
                <a:cubicBezTo>
                  <a:pt x="980728" y="1471228"/>
                  <a:pt x="978353" y="1470143"/>
                  <a:pt x="976081" y="1469214"/>
                </a:cubicBezTo>
                <a:cubicBezTo>
                  <a:pt x="977217" y="1467820"/>
                  <a:pt x="977114" y="1465806"/>
                  <a:pt x="977527" y="1464722"/>
                </a:cubicBezTo>
                <a:close/>
                <a:moveTo>
                  <a:pt x="4459619" y="1464374"/>
                </a:moveTo>
                <a:cubicBezTo>
                  <a:pt x="4460472" y="1464231"/>
                  <a:pt x="4461327" y="1464516"/>
                  <a:pt x="4462393" y="1465085"/>
                </a:cubicBezTo>
                <a:cubicBezTo>
                  <a:pt x="4465381" y="1470065"/>
                  <a:pt x="4461327" y="1474759"/>
                  <a:pt x="4459619" y="1480877"/>
                </a:cubicBezTo>
                <a:cubicBezTo>
                  <a:pt x="4458339" y="1480877"/>
                  <a:pt x="4457058" y="1482015"/>
                  <a:pt x="4457058" y="1483153"/>
                </a:cubicBezTo>
                <a:cubicBezTo>
                  <a:pt x="4455777" y="1484291"/>
                  <a:pt x="4454497" y="1485571"/>
                  <a:pt x="4455564" y="1485571"/>
                </a:cubicBezTo>
                <a:cubicBezTo>
                  <a:pt x="4451722" y="1489128"/>
                  <a:pt x="4451722" y="1490408"/>
                  <a:pt x="4448308" y="1489128"/>
                </a:cubicBezTo>
                <a:lnTo>
                  <a:pt x="4449588" y="1485145"/>
                </a:lnTo>
                <a:lnTo>
                  <a:pt x="4448521" y="1485145"/>
                </a:lnTo>
                <a:cubicBezTo>
                  <a:pt x="4446814" y="1482584"/>
                  <a:pt x="4447027" y="1480734"/>
                  <a:pt x="4448094" y="1479454"/>
                </a:cubicBezTo>
                <a:lnTo>
                  <a:pt x="4452149" y="1478032"/>
                </a:lnTo>
                <a:lnTo>
                  <a:pt x="4453216" y="1475044"/>
                </a:lnTo>
                <a:cubicBezTo>
                  <a:pt x="4455137" y="1470776"/>
                  <a:pt x="4456844" y="1467503"/>
                  <a:pt x="4457698" y="1466223"/>
                </a:cubicBezTo>
                <a:cubicBezTo>
                  <a:pt x="4458339" y="1465085"/>
                  <a:pt x="4458979" y="1464516"/>
                  <a:pt x="4459619" y="1464374"/>
                </a:cubicBezTo>
                <a:close/>
                <a:moveTo>
                  <a:pt x="1390862" y="1464102"/>
                </a:moveTo>
                <a:lnTo>
                  <a:pt x="1390242" y="1464412"/>
                </a:lnTo>
                <a:lnTo>
                  <a:pt x="1391275" y="1464722"/>
                </a:lnTo>
                <a:close/>
                <a:moveTo>
                  <a:pt x="4001620" y="1463663"/>
                </a:moveTo>
                <a:cubicBezTo>
                  <a:pt x="4002474" y="1463804"/>
                  <a:pt x="4003114" y="1464231"/>
                  <a:pt x="4003327" y="1465085"/>
                </a:cubicBezTo>
                <a:cubicBezTo>
                  <a:pt x="4003755" y="1466081"/>
                  <a:pt x="4003541" y="1466650"/>
                  <a:pt x="4002687" y="1467219"/>
                </a:cubicBezTo>
                <a:cubicBezTo>
                  <a:pt x="4002047" y="1467646"/>
                  <a:pt x="4000767" y="1467930"/>
                  <a:pt x="3999700" y="1468641"/>
                </a:cubicBezTo>
                <a:lnTo>
                  <a:pt x="3999059" y="1463804"/>
                </a:lnTo>
                <a:cubicBezTo>
                  <a:pt x="3999700" y="1463520"/>
                  <a:pt x="4000767" y="1463378"/>
                  <a:pt x="4001620" y="1463663"/>
                </a:cubicBezTo>
                <a:close/>
                <a:moveTo>
                  <a:pt x="5439429" y="1463236"/>
                </a:moveTo>
                <a:cubicBezTo>
                  <a:pt x="5439216" y="1464516"/>
                  <a:pt x="5440283" y="1465796"/>
                  <a:pt x="5440283" y="1466935"/>
                </a:cubicBezTo>
                <a:cubicBezTo>
                  <a:pt x="5437508" y="1469353"/>
                  <a:pt x="5434307" y="1466935"/>
                  <a:pt x="5434520" y="1465654"/>
                </a:cubicBezTo>
                <a:cubicBezTo>
                  <a:pt x="5435801" y="1464516"/>
                  <a:pt x="5438149" y="1464516"/>
                  <a:pt x="5439429" y="1463236"/>
                </a:cubicBezTo>
                <a:close/>
                <a:moveTo>
                  <a:pt x="4242571" y="1462382"/>
                </a:moveTo>
                <a:cubicBezTo>
                  <a:pt x="4244278" y="1464374"/>
                  <a:pt x="4247053" y="1467361"/>
                  <a:pt x="4246412" y="1470349"/>
                </a:cubicBezTo>
                <a:cubicBezTo>
                  <a:pt x="4246199" y="1471345"/>
                  <a:pt x="4245559" y="1472340"/>
                  <a:pt x="4244278" y="1473336"/>
                </a:cubicBezTo>
                <a:cubicBezTo>
                  <a:pt x="4244065" y="1474475"/>
                  <a:pt x="4239369" y="1474902"/>
                  <a:pt x="4238302" y="1473621"/>
                </a:cubicBezTo>
                <a:cubicBezTo>
                  <a:pt x="4235101" y="1470633"/>
                  <a:pt x="4237662" y="1467503"/>
                  <a:pt x="4239156" y="1462951"/>
                </a:cubicBezTo>
                <a:cubicBezTo>
                  <a:pt x="4240224" y="1464374"/>
                  <a:pt x="4241504" y="1463378"/>
                  <a:pt x="4242571" y="1462382"/>
                </a:cubicBezTo>
                <a:close/>
                <a:moveTo>
                  <a:pt x="1709510" y="1462089"/>
                </a:moveTo>
                <a:cubicBezTo>
                  <a:pt x="1710956" y="1464722"/>
                  <a:pt x="1711678" y="1465651"/>
                  <a:pt x="1712298" y="1467355"/>
                </a:cubicBezTo>
                <a:cubicBezTo>
                  <a:pt x="1713124" y="1467355"/>
                  <a:pt x="1714054" y="1467355"/>
                  <a:pt x="1714776" y="1468284"/>
                </a:cubicBezTo>
                <a:cubicBezTo>
                  <a:pt x="1716222" y="1469988"/>
                  <a:pt x="1715189" y="1471692"/>
                  <a:pt x="1715809" y="1473396"/>
                </a:cubicBezTo>
                <a:cubicBezTo>
                  <a:pt x="1714879" y="1474326"/>
                  <a:pt x="1713124" y="1475100"/>
                  <a:pt x="1711575" y="1473241"/>
                </a:cubicBezTo>
                <a:cubicBezTo>
                  <a:pt x="1709200" y="1471537"/>
                  <a:pt x="1709510" y="1469059"/>
                  <a:pt x="1710646" y="1466426"/>
                </a:cubicBezTo>
                <a:cubicBezTo>
                  <a:pt x="1710336" y="1465651"/>
                  <a:pt x="1709820" y="1464877"/>
                  <a:pt x="1709407" y="1464257"/>
                </a:cubicBezTo>
                <a:cubicBezTo>
                  <a:pt x="1709097" y="1463638"/>
                  <a:pt x="1708994" y="1463018"/>
                  <a:pt x="1709510" y="1462089"/>
                </a:cubicBezTo>
                <a:close/>
                <a:moveTo>
                  <a:pt x="1741416" y="1461624"/>
                </a:moveTo>
                <a:cubicBezTo>
                  <a:pt x="1741933" y="1463948"/>
                  <a:pt x="1743895" y="1463948"/>
                  <a:pt x="1744411" y="1466271"/>
                </a:cubicBezTo>
                <a:cubicBezTo>
                  <a:pt x="1737183" y="1468284"/>
                  <a:pt x="1729439" y="1470918"/>
                  <a:pt x="1726547" y="1466426"/>
                </a:cubicBezTo>
                <a:cubicBezTo>
                  <a:pt x="1728716" y="1461624"/>
                  <a:pt x="1736873" y="1461159"/>
                  <a:pt x="1741416" y="1461624"/>
                </a:cubicBezTo>
                <a:close/>
                <a:moveTo>
                  <a:pt x="5201466" y="1461244"/>
                </a:moveTo>
                <a:cubicBezTo>
                  <a:pt x="5211070" y="1459964"/>
                  <a:pt x="5224942" y="1468499"/>
                  <a:pt x="5228784" y="1473336"/>
                </a:cubicBezTo>
                <a:cubicBezTo>
                  <a:pt x="5218326" y="1473336"/>
                  <a:pt x="5201466" y="1472625"/>
                  <a:pt x="5193783" y="1466223"/>
                </a:cubicBezTo>
                <a:cubicBezTo>
                  <a:pt x="5195490" y="1463093"/>
                  <a:pt x="5198264" y="1461671"/>
                  <a:pt x="5201466" y="1461244"/>
                </a:cubicBezTo>
                <a:close/>
                <a:moveTo>
                  <a:pt x="3827683" y="1460959"/>
                </a:moveTo>
                <a:cubicBezTo>
                  <a:pt x="3829177" y="1461386"/>
                  <a:pt x="3831311" y="1463093"/>
                  <a:pt x="3833019" y="1465227"/>
                </a:cubicBezTo>
                <a:cubicBezTo>
                  <a:pt x="3834726" y="1467361"/>
                  <a:pt x="3836220" y="1469922"/>
                  <a:pt x="3836007" y="1472198"/>
                </a:cubicBezTo>
                <a:cubicBezTo>
                  <a:pt x="3833445" y="1472340"/>
                  <a:pt x="3830885" y="1472483"/>
                  <a:pt x="3828323" y="1472767"/>
                </a:cubicBezTo>
                <a:cubicBezTo>
                  <a:pt x="3829390" y="1472198"/>
                  <a:pt x="3822561" y="1464089"/>
                  <a:pt x="3822561" y="1464089"/>
                </a:cubicBezTo>
                <a:cubicBezTo>
                  <a:pt x="3823628" y="1460817"/>
                  <a:pt x="3823628" y="1460817"/>
                  <a:pt x="3827683" y="1460959"/>
                </a:cubicBezTo>
                <a:close/>
                <a:moveTo>
                  <a:pt x="1043817" y="1460694"/>
                </a:moveTo>
                <a:cubicBezTo>
                  <a:pt x="1049290" y="1463018"/>
                  <a:pt x="1056105" y="1464412"/>
                  <a:pt x="1060855" y="1468439"/>
                </a:cubicBezTo>
                <a:cubicBezTo>
                  <a:pt x="1055175" y="1470763"/>
                  <a:pt x="1043611" y="1468904"/>
                  <a:pt x="1043817" y="1460694"/>
                </a:cubicBezTo>
                <a:close/>
                <a:moveTo>
                  <a:pt x="1427827" y="1460539"/>
                </a:moveTo>
                <a:cubicBezTo>
                  <a:pt x="1428653" y="1460694"/>
                  <a:pt x="1429479" y="1461314"/>
                  <a:pt x="1430202" y="1462244"/>
                </a:cubicBezTo>
                <a:cubicBezTo>
                  <a:pt x="1431648" y="1464102"/>
                  <a:pt x="1430512" y="1465651"/>
                  <a:pt x="1430512" y="1465651"/>
                </a:cubicBezTo>
                <a:cubicBezTo>
                  <a:pt x="1428343" y="1468129"/>
                  <a:pt x="1425556" y="1468749"/>
                  <a:pt x="1423284" y="1466890"/>
                </a:cubicBezTo>
                <a:cubicBezTo>
                  <a:pt x="1422664" y="1465186"/>
                  <a:pt x="1423800" y="1463483"/>
                  <a:pt x="1424936" y="1461934"/>
                </a:cubicBezTo>
                <a:cubicBezTo>
                  <a:pt x="1425969" y="1460694"/>
                  <a:pt x="1427001" y="1460385"/>
                  <a:pt x="1427827" y="1460539"/>
                </a:cubicBezTo>
                <a:close/>
                <a:moveTo>
                  <a:pt x="4724473" y="1460532"/>
                </a:moveTo>
                <a:cubicBezTo>
                  <a:pt x="4729168" y="1463093"/>
                  <a:pt x="4730449" y="1466793"/>
                  <a:pt x="4727034" y="1470207"/>
                </a:cubicBezTo>
                <a:cubicBezTo>
                  <a:pt x="4724686" y="1467646"/>
                  <a:pt x="4722339" y="1468784"/>
                  <a:pt x="4719991" y="1466223"/>
                </a:cubicBezTo>
                <a:cubicBezTo>
                  <a:pt x="4722125" y="1463947"/>
                  <a:pt x="4723193" y="1461671"/>
                  <a:pt x="4724473" y="1460532"/>
                </a:cubicBezTo>
                <a:close/>
                <a:moveTo>
                  <a:pt x="5573883" y="1459537"/>
                </a:moveTo>
                <a:cubicBezTo>
                  <a:pt x="5574097" y="1461244"/>
                  <a:pt x="5576871" y="1461529"/>
                  <a:pt x="5577085" y="1463093"/>
                </a:cubicBezTo>
                <a:cubicBezTo>
                  <a:pt x="5577085" y="1463093"/>
                  <a:pt x="5576871" y="1464231"/>
                  <a:pt x="5576658" y="1465085"/>
                </a:cubicBezTo>
                <a:lnTo>
                  <a:pt x="5576018" y="1466935"/>
                </a:lnTo>
                <a:lnTo>
                  <a:pt x="5577939" y="1467930"/>
                </a:lnTo>
                <a:cubicBezTo>
                  <a:pt x="5580286" y="1468358"/>
                  <a:pt x="5582207" y="1466935"/>
                  <a:pt x="5583487" y="1470918"/>
                </a:cubicBezTo>
                <a:cubicBezTo>
                  <a:pt x="5583061" y="1473336"/>
                  <a:pt x="5581567" y="1475471"/>
                  <a:pt x="5577939" y="1477035"/>
                </a:cubicBezTo>
                <a:cubicBezTo>
                  <a:pt x="5575164" y="1475186"/>
                  <a:pt x="5574311" y="1473336"/>
                  <a:pt x="5574097" y="1471630"/>
                </a:cubicBezTo>
                <a:lnTo>
                  <a:pt x="5575591" y="1467077"/>
                </a:lnTo>
                <a:lnTo>
                  <a:pt x="5574737" y="1467219"/>
                </a:lnTo>
                <a:cubicBezTo>
                  <a:pt x="5574524" y="1467219"/>
                  <a:pt x="5574737" y="1466935"/>
                  <a:pt x="5574951" y="1466366"/>
                </a:cubicBezTo>
                <a:cubicBezTo>
                  <a:pt x="5572390" y="1466223"/>
                  <a:pt x="5571536" y="1465512"/>
                  <a:pt x="5570469" y="1464943"/>
                </a:cubicBezTo>
                <a:cubicBezTo>
                  <a:pt x="5570255" y="1463236"/>
                  <a:pt x="5571536" y="1461101"/>
                  <a:pt x="5573883" y="1459537"/>
                </a:cubicBezTo>
                <a:close/>
                <a:moveTo>
                  <a:pt x="4289096" y="1459252"/>
                </a:moveTo>
                <a:cubicBezTo>
                  <a:pt x="4289950" y="1458967"/>
                  <a:pt x="4290804" y="1458967"/>
                  <a:pt x="4291444" y="1459537"/>
                </a:cubicBezTo>
                <a:cubicBezTo>
                  <a:pt x="4291444" y="1460817"/>
                  <a:pt x="4292724" y="1460817"/>
                  <a:pt x="4292724" y="1462097"/>
                </a:cubicBezTo>
                <a:cubicBezTo>
                  <a:pt x="4294005" y="1464516"/>
                  <a:pt x="4294005" y="1465796"/>
                  <a:pt x="4292938" y="1466935"/>
                </a:cubicBezTo>
                <a:cubicBezTo>
                  <a:pt x="4292938" y="1468073"/>
                  <a:pt x="4291871" y="1468073"/>
                  <a:pt x="4290804" y="1469211"/>
                </a:cubicBezTo>
                <a:cubicBezTo>
                  <a:pt x="4289523" y="1469211"/>
                  <a:pt x="4288456" y="1467930"/>
                  <a:pt x="4288456" y="1467930"/>
                </a:cubicBezTo>
                <a:cubicBezTo>
                  <a:pt x="4287176" y="1466650"/>
                  <a:pt x="4287176" y="1466650"/>
                  <a:pt x="4286109" y="1467788"/>
                </a:cubicBezTo>
                <a:cubicBezTo>
                  <a:pt x="4286109" y="1467788"/>
                  <a:pt x="4286109" y="1466650"/>
                  <a:pt x="4286109" y="1466650"/>
                </a:cubicBezTo>
                <a:cubicBezTo>
                  <a:pt x="4287176" y="1466650"/>
                  <a:pt x="4286109" y="1466650"/>
                  <a:pt x="4284828" y="1465369"/>
                </a:cubicBezTo>
                <a:cubicBezTo>
                  <a:pt x="4285895" y="1462951"/>
                  <a:pt x="4285895" y="1461671"/>
                  <a:pt x="4286962" y="1460532"/>
                </a:cubicBezTo>
                <a:cubicBezTo>
                  <a:pt x="4287389" y="1459964"/>
                  <a:pt x="4288243" y="1459537"/>
                  <a:pt x="4289096" y="1459252"/>
                </a:cubicBezTo>
                <a:close/>
                <a:moveTo>
                  <a:pt x="4006956" y="1458967"/>
                </a:moveTo>
                <a:cubicBezTo>
                  <a:pt x="4008023" y="1459252"/>
                  <a:pt x="4009303" y="1460532"/>
                  <a:pt x="4011011" y="1463093"/>
                </a:cubicBezTo>
                <a:cubicBezTo>
                  <a:pt x="4008236" y="1466223"/>
                  <a:pt x="4006316" y="1466935"/>
                  <a:pt x="4005035" y="1466508"/>
                </a:cubicBezTo>
                <a:cubicBezTo>
                  <a:pt x="4002474" y="1465369"/>
                  <a:pt x="4003327" y="1458114"/>
                  <a:pt x="4006956" y="1458967"/>
                </a:cubicBezTo>
                <a:close/>
                <a:moveTo>
                  <a:pt x="4531328" y="1458682"/>
                </a:moveTo>
                <a:cubicBezTo>
                  <a:pt x="4533462" y="1461813"/>
                  <a:pt x="4536664" y="1464943"/>
                  <a:pt x="4539651" y="1468215"/>
                </a:cubicBezTo>
                <a:lnTo>
                  <a:pt x="4545627" y="1474759"/>
                </a:lnTo>
                <a:lnTo>
                  <a:pt x="4545627" y="1474475"/>
                </a:lnTo>
                <a:cubicBezTo>
                  <a:pt x="4546054" y="1473763"/>
                  <a:pt x="4547335" y="1473336"/>
                  <a:pt x="4548828" y="1472910"/>
                </a:cubicBezTo>
                <a:cubicBezTo>
                  <a:pt x="4549469" y="1474048"/>
                  <a:pt x="4549895" y="1475044"/>
                  <a:pt x="4549469" y="1475897"/>
                </a:cubicBezTo>
                <a:lnTo>
                  <a:pt x="4547761" y="1477605"/>
                </a:lnTo>
                <a:lnTo>
                  <a:pt x="4548188" y="1478032"/>
                </a:lnTo>
                <a:cubicBezTo>
                  <a:pt x="4552670" y="1484433"/>
                  <a:pt x="4553097" y="1490551"/>
                  <a:pt x="4541572" y="1495104"/>
                </a:cubicBezTo>
                <a:lnTo>
                  <a:pt x="4540078" y="1488417"/>
                </a:lnTo>
                <a:lnTo>
                  <a:pt x="4538371" y="1489698"/>
                </a:lnTo>
                <a:cubicBezTo>
                  <a:pt x="4537731" y="1490693"/>
                  <a:pt x="4535383" y="1487848"/>
                  <a:pt x="4535383" y="1487848"/>
                </a:cubicBezTo>
                <a:cubicBezTo>
                  <a:pt x="4535169" y="1486994"/>
                  <a:pt x="4536237" y="1485998"/>
                  <a:pt x="4537304" y="1485145"/>
                </a:cubicBezTo>
                <a:lnTo>
                  <a:pt x="4538584" y="1484007"/>
                </a:lnTo>
                <a:lnTo>
                  <a:pt x="4534529" y="1475613"/>
                </a:lnTo>
                <a:cubicBezTo>
                  <a:pt x="4531541" y="1469638"/>
                  <a:pt x="4529194" y="1463947"/>
                  <a:pt x="4531328" y="1458682"/>
                </a:cubicBezTo>
                <a:close/>
                <a:moveTo>
                  <a:pt x="4590445" y="1458399"/>
                </a:moveTo>
                <a:cubicBezTo>
                  <a:pt x="4593006" y="1458825"/>
                  <a:pt x="4595354" y="1458114"/>
                  <a:pt x="4597702" y="1458682"/>
                </a:cubicBezTo>
                <a:cubicBezTo>
                  <a:pt x="4598128" y="1460817"/>
                  <a:pt x="4599836" y="1462524"/>
                  <a:pt x="4600476" y="1464374"/>
                </a:cubicBezTo>
                <a:cubicBezTo>
                  <a:pt x="4601330" y="1466223"/>
                  <a:pt x="4601543" y="1468215"/>
                  <a:pt x="4598982" y="1471345"/>
                </a:cubicBezTo>
                <a:cubicBezTo>
                  <a:pt x="4592153" y="1473336"/>
                  <a:pt x="4585750" y="1465796"/>
                  <a:pt x="4590445" y="1458399"/>
                </a:cubicBezTo>
                <a:close/>
                <a:moveTo>
                  <a:pt x="1141291" y="1457751"/>
                </a:moveTo>
                <a:cubicBezTo>
                  <a:pt x="1142014" y="1457287"/>
                  <a:pt x="1142943" y="1457132"/>
                  <a:pt x="1143976" y="1457751"/>
                </a:cubicBezTo>
                <a:cubicBezTo>
                  <a:pt x="1143976" y="1458991"/>
                  <a:pt x="1144492" y="1460849"/>
                  <a:pt x="1143872" y="1462398"/>
                </a:cubicBezTo>
                <a:cubicBezTo>
                  <a:pt x="1141498" y="1463018"/>
                  <a:pt x="1140362" y="1462244"/>
                  <a:pt x="1140052" y="1461005"/>
                </a:cubicBezTo>
                <a:cubicBezTo>
                  <a:pt x="1139742" y="1459920"/>
                  <a:pt x="1140259" y="1458371"/>
                  <a:pt x="1141291" y="1457751"/>
                </a:cubicBezTo>
                <a:close/>
                <a:moveTo>
                  <a:pt x="4028085" y="1456976"/>
                </a:moveTo>
                <a:cubicBezTo>
                  <a:pt x="4029151" y="1457260"/>
                  <a:pt x="4030218" y="1457829"/>
                  <a:pt x="4030859" y="1458825"/>
                </a:cubicBezTo>
                <a:cubicBezTo>
                  <a:pt x="4031712" y="1460105"/>
                  <a:pt x="4031712" y="1461955"/>
                  <a:pt x="4030645" y="1464516"/>
                </a:cubicBezTo>
                <a:cubicBezTo>
                  <a:pt x="4025737" y="1464374"/>
                  <a:pt x="4022535" y="1464231"/>
                  <a:pt x="4020188" y="1463378"/>
                </a:cubicBezTo>
                <a:cubicBezTo>
                  <a:pt x="4019761" y="1458541"/>
                  <a:pt x="4024670" y="1456264"/>
                  <a:pt x="4028085" y="1456976"/>
                </a:cubicBezTo>
                <a:close/>
                <a:moveTo>
                  <a:pt x="1746063" y="1456358"/>
                </a:moveTo>
                <a:cubicBezTo>
                  <a:pt x="1749987" y="1456358"/>
                  <a:pt x="1754014" y="1456358"/>
                  <a:pt x="1757937" y="1456977"/>
                </a:cubicBezTo>
                <a:cubicBezTo>
                  <a:pt x="1761964" y="1457597"/>
                  <a:pt x="1765785" y="1458991"/>
                  <a:pt x="1769502" y="1461934"/>
                </a:cubicBezTo>
                <a:cubicBezTo>
                  <a:pt x="1760932" y="1468439"/>
                  <a:pt x="1750193" y="1461159"/>
                  <a:pt x="1746063" y="1456358"/>
                </a:cubicBezTo>
                <a:close/>
                <a:moveTo>
                  <a:pt x="1190338" y="1456358"/>
                </a:moveTo>
                <a:cubicBezTo>
                  <a:pt x="1190544" y="1458991"/>
                  <a:pt x="1189925" y="1460694"/>
                  <a:pt x="1188376" y="1461624"/>
                </a:cubicBezTo>
                <a:lnTo>
                  <a:pt x="1182181" y="1462398"/>
                </a:lnTo>
                <a:lnTo>
                  <a:pt x="1182697" y="1465806"/>
                </a:lnTo>
                <a:cubicBezTo>
                  <a:pt x="1179599" y="1467974"/>
                  <a:pt x="1176811" y="1468439"/>
                  <a:pt x="1174953" y="1469059"/>
                </a:cubicBezTo>
                <a:cubicBezTo>
                  <a:pt x="1173714" y="1467200"/>
                  <a:pt x="1172165" y="1466116"/>
                  <a:pt x="1170823" y="1464257"/>
                </a:cubicBezTo>
                <a:cubicBezTo>
                  <a:pt x="1171132" y="1459145"/>
                  <a:pt x="1174643" y="1457287"/>
                  <a:pt x="1177844" y="1457751"/>
                </a:cubicBezTo>
                <a:lnTo>
                  <a:pt x="1181664" y="1460075"/>
                </a:lnTo>
                <a:lnTo>
                  <a:pt x="1181768" y="1459145"/>
                </a:lnTo>
                <a:cubicBezTo>
                  <a:pt x="1182284" y="1458371"/>
                  <a:pt x="1183007" y="1457906"/>
                  <a:pt x="1183833" y="1457597"/>
                </a:cubicBezTo>
                <a:cubicBezTo>
                  <a:pt x="1185692" y="1456977"/>
                  <a:pt x="1188169" y="1456977"/>
                  <a:pt x="1190338" y="1456358"/>
                </a:cubicBezTo>
                <a:close/>
                <a:moveTo>
                  <a:pt x="4183240" y="1455980"/>
                </a:moveTo>
                <a:cubicBezTo>
                  <a:pt x="4187935" y="1457829"/>
                  <a:pt x="4189002" y="1462951"/>
                  <a:pt x="4198180" y="1460674"/>
                </a:cubicBezTo>
                <a:cubicBezTo>
                  <a:pt x="4195832" y="1465654"/>
                  <a:pt x="4192844" y="1469780"/>
                  <a:pt x="4188576" y="1472198"/>
                </a:cubicBezTo>
                <a:cubicBezTo>
                  <a:pt x="4185161" y="1467930"/>
                  <a:pt x="4184307" y="1461101"/>
                  <a:pt x="4183240" y="1455980"/>
                </a:cubicBezTo>
                <a:close/>
                <a:moveTo>
                  <a:pt x="1721385" y="1455738"/>
                </a:moveTo>
                <a:cubicBezTo>
                  <a:pt x="1724792" y="1456667"/>
                  <a:pt x="1729335" y="1455893"/>
                  <a:pt x="1731710" y="1457751"/>
                </a:cubicBezTo>
                <a:cubicBezTo>
                  <a:pt x="1732123" y="1458061"/>
                  <a:pt x="1732536" y="1458526"/>
                  <a:pt x="1732536" y="1459145"/>
                </a:cubicBezTo>
                <a:cubicBezTo>
                  <a:pt x="1732640" y="1459610"/>
                  <a:pt x="1732330" y="1460230"/>
                  <a:pt x="1731298" y="1461005"/>
                </a:cubicBezTo>
                <a:cubicBezTo>
                  <a:pt x="1730265" y="1462708"/>
                  <a:pt x="1729335" y="1462708"/>
                  <a:pt x="1726961" y="1460849"/>
                </a:cubicBezTo>
                <a:cubicBezTo>
                  <a:pt x="1725411" y="1459145"/>
                  <a:pt x="1723760" y="1458371"/>
                  <a:pt x="1723863" y="1457441"/>
                </a:cubicBezTo>
                <a:cubicBezTo>
                  <a:pt x="1722933" y="1457441"/>
                  <a:pt x="1722210" y="1456667"/>
                  <a:pt x="1721281" y="1456667"/>
                </a:cubicBezTo>
                <a:cubicBezTo>
                  <a:pt x="1721281" y="1456667"/>
                  <a:pt x="1721281" y="1456667"/>
                  <a:pt x="1721385" y="1455738"/>
                </a:cubicBezTo>
                <a:close/>
                <a:moveTo>
                  <a:pt x="1009226" y="1455738"/>
                </a:moveTo>
                <a:cubicBezTo>
                  <a:pt x="1010775" y="1457597"/>
                  <a:pt x="1011704" y="1463018"/>
                  <a:pt x="1008710" y="1466426"/>
                </a:cubicBezTo>
                <a:cubicBezTo>
                  <a:pt x="1004477" y="1466580"/>
                  <a:pt x="1002721" y="1464877"/>
                  <a:pt x="1002721" y="1461779"/>
                </a:cubicBezTo>
                <a:cubicBezTo>
                  <a:pt x="1002721" y="1460849"/>
                  <a:pt x="1002825" y="1459610"/>
                  <a:pt x="1003237" y="1458371"/>
                </a:cubicBezTo>
                <a:cubicBezTo>
                  <a:pt x="1005096" y="1457906"/>
                  <a:pt x="1006542" y="1456667"/>
                  <a:pt x="1009226" y="1455738"/>
                </a:cubicBezTo>
                <a:close/>
                <a:moveTo>
                  <a:pt x="1219766" y="1454034"/>
                </a:moveTo>
                <a:cubicBezTo>
                  <a:pt x="1222657" y="1453879"/>
                  <a:pt x="1222967" y="1462863"/>
                  <a:pt x="1216152" y="1458216"/>
                </a:cubicBezTo>
                <a:cubicBezTo>
                  <a:pt x="1217598" y="1455273"/>
                  <a:pt x="1218836" y="1454189"/>
                  <a:pt x="1219766" y="1454034"/>
                </a:cubicBezTo>
                <a:close/>
                <a:moveTo>
                  <a:pt x="3933753" y="1453988"/>
                </a:moveTo>
                <a:cubicBezTo>
                  <a:pt x="3933753" y="1453988"/>
                  <a:pt x="3934820" y="1456264"/>
                  <a:pt x="3934820" y="1456264"/>
                </a:cubicBezTo>
                <a:cubicBezTo>
                  <a:pt x="3935460" y="1459679"/>
                  <a:pt x="3935674" y="1461386"/>
                  <a:pt x="3936741" y="1463663"/>
                </a:cubicBezTo>
                <a:cubicBezTo>
                  <a:pt x="3934607" y="1465085"/>
                  <a:pt x="3933539" y="1464516"/>
                  <a:pt x="3933326" y="1462951"/>
                </a:cubicBezTo>
                <a:cubicBezTo>
                  <a:pt x="3933326" y="1462951"/>
                  <a:pt x="3933112" y="1461244"/>
                  <a:pt x="3932899" y="1459537"/>
                </a:cubicBezTo>
                <a:cubicBezTo>
                  <a:pt x="3932686" y="1457829"/>
                  <a:pt x="3931618" y="1457260"/>
                  <a:pt x="3931618" y="1457260"/>
                </a:cubicBezTo>
                <a:cubicBezTo>
                  <a:pt x="3931405" y="1455553"/>
                  <a:pt x="3932046" y="1454415"/>
                  <a:pt x="3933753" y="1453988"/>
                </a:cubicBezTo>
                <a:close/>
                <a:moveTo>
                  <a:pt x="4661514" y="1453845"/>
                </a:moveTo>
                <a:cubicBezTo>
                  <a:pt x="4663008" y="1456122"/>
                  <a:pt x="4665142" y="1457402"/>
                  <a:pt x="4666636" y="1459821"/>
                </a:cubicBezTo>
                <a:cubicBezTo>
                  <a:pt x="4664502" y="1463663"/>
                  <a:pt x="4667063" y="1469353"/>
                  <a:pt x="4659593" y="1469780"/>
                </a:cubicBezTo>
                <a:cubicBezTo>
                  <a:pt x="4653404" y="1465796"/>
                  <a:pt x="4653617" y="1455268"/>
                  <a:pt x="4661514" y="1453845"/>
                </a:cubicBezTo>
                <a:close/>
                <a:moveTo>
                  <a:pt x="3907502" y="1453704"/>
                </a:moveTo>
                <a:cubicBezTo>
                  <a:pt x="3908569" y="1456549"/>
                  <a:pt x="3910490" y="1461529"/>
                  <a:pt x="3909637" y="1464516"/>
                </a:cubicBezTo>
                <a:cubicBezTo>
                  <a:pt x="3909423" y="1465654"/>
                  <a:pt x="3908996" y="1466366"/>
                  <a:pt x="3907929" y="1466935"/>
                </a:cubicBezTo>
                <a:cubicBezTo>
                  <a:pt x="3906435" y="1467361"/>
                  <a:pt x="3906222" y="1465654"/>
                  <a:pt x="3905154" y="1465085"/>
                </a:cubicBezTo>
                <a:cubicBezTo>
                  <a:pt x="3904087" y="1462951"/>
                  <a:pt x="3905795" y="1454130"/>
                  <a:pt x="3907502" y="1453704"/>
                </a:cubicBezTo>
                <a:close/>
                <a:moveTo>
                  <a:pt x="1227097" y="1453415"/>
                </a:moveTo>
                <a:cubicBezTo>
                  <a:pt x="1227923" y="1453105"/>
                  <a:pt x="1229059" y="1453260"/>
                  <a:pt x="1230298" y="1453569"/>
                </a:cubicBezTo>
                <a:cubicBezTo>
                  <a:pt x="1232673" y="1454344"/>
                  <a:pt x="1232879" y="1456203"/>
                  <a:pt x="1232879" y="1456203"/>
                </a:cubicBezTo>
                <a:cubicBezTo>
                  <a:pt x="1232673" y="1459145"/>
                  <a:pt x="1230918" y="1461005"/>
                  <a:pt x="1227717" y="1460694"/>
                </a:cubicBezTo>
                <a:cubicBezTo>
                  <a:pt x="1226065" y="1459610"/>
                  <a:pt x="1225961" y="1457751"/>
                  <a:pt x="1225755" y="1455893"/>
                </a:cubicBezTo>
                <a:cubicBezTo>
                  <a:pt x="1225858" y="1454499"/>
                  <a:pt x="1226271" y="1453724"/>
                  <a:pt x="1227097" y="1453415"/>
                </a:cubicBezTo>
                <a:close/>
                <a:moveTo>
                  <a:pt x="5025821" y="1453135"/>
                </a:moveTo>
                <a:cubicBezTo>
                  <a:pt x="5027102" y="1455695"/>
                  <a:pt x="5027102" y="1455695"/>
                  <a:pt x="5026035" y="1458114"/>
                </a:cubicBezTo>
                <a:cubicBezTo>
                  <a:pt x="5024968" y="1457972"/>
                  <a:pt x="5024968" y="1459252"/>
                  <a:pt x="5023688" y="1457972"/>
                </a:cubicBezTo>
                <a:cubicBezTo>
                  <a:pt x="5021553" y="1461529"/>
                  <a:pt x="5011309" y="1464658"/>
                  <a:pt x="5006614" y="1463236"/>
                </a:cubicBezTo>
                <a:cubicBezTo>
                  <a:pt x="5014297" y="1452708"/>
                  <a:pt x="5021553" y="1459109"/>
                  <a:pt x="5025821" y="1453135"/>
                </a:cubicBezTo>
                <a:close/>
                <a:moveTo>
                  <a:pt x="4613068" y="1452423"/>
                </a:moveTo>
                <a:cubicBezTo>
                  <a:pt x="4616909" y="1453988"/>
                  <a:pt x="4621604" y="1460532"/>
                  <a:pt x="4618403" y="1464089"/>
                </a:cubicBezTo>
                <a:cubicBezTo>
                  <a:pt x="4614989" y="1466366"/>
                  <a:pt x="4603037" y="1458541"/>
                  <a:pt x="4609653" y="1452708"/>
                </a:cubicBezTo>
                <a:cubicBezTo>
                  <a:pt x="4610507" y="1451854"/>
                  <a:pt x="4611787" y="1451854"/>
                  <a:pt x="4613068" y="1452423"/>
                </a:cubicBezTo>
                <a:close/>
                <a:moveTo>
                  <a:pt x="4469650" y="1452281"/>
                </a:moveTo>
                <a:cubicBezTo>
                  <a:pt x="4473705" y="1460105"/>
                  <a:pt x="4488004" y="1479169"/>
                  <a:pt x="4476479" y="1485003"/>
                </a:cubicBezTo>
                <a:cubicBezTo>
                  <a:pt x="4473705" y="1477605"/>
                  <a:pt x="4460899" y="1455837"/>
                  <a:pt x="4469650" y="1452281"/>
                </a:cubicBezTo>
                <a:close/>
                <a:moveTo>
                  <a:pt x="1416882" y="1452175"/>
                </a:moveTo>
                <a:cubicBezTo>
                  <a:pt x="1417192" y="1452175"/>
                  <a:pt x="1417398" y="1452330"/>
                  <a:pt x="1417811" y="1452175"/>
                </a:cubicBezTo>
                <a:cubicBezTo>
                  <a:pt x="1417398" y="1453260"/>
                  <a:pt x="1417398" y="1453260"/>
                  <a:pt x="1416263" y="1452640"/>
                </a:cubicBezTo>
                <a:cubicBezTo>
                  <a:pt x="1416469" y="1452175"/>
                  <a:pt x="1416675" y="1452020"/>
                  <a:pt x="1416882" y="1452175"/>
                </a:cubicBezTo>
                <a:close/>
                <a:moveTo>
                  <a:pt x="5102013" y="1452138"/>
                </a:moveTo>
                <a:cubicBezTo>
                  <a:pt x="5102013" y="1452138"/>
                  <a:pt x="5102866" y="1452708"/>
                  <a:pt x="5103293" y="1453561"/>
                </a:cubicBezTo>
                <a:cubicBezTo>
                  <a:pt x="5103933" y="1454415"/>
                  <a:pt x="5104573" y="1455410"/>
                  <a:pt x="5104147" y="1456264"/>
                </a:cubicBezTo>
                <a:cubicBezTo>
                  <a:pt x="5104360" y="1458825"/>
                  <a:pt x="5099665" y="1457687"/>
                  <a:pt x="5098598" y="1458399"/>
                </a:cubicBezTo>
                <a:cubicBezTo>
                  <a:pt x="5097104" y="1457972"/>
                  <a:pt x="5095397" y="1457545"/>
                  <a:pt x="5096037" y="1455980"/>
                </a:cubicBezTo>
                <a:cubicBezTo>
                  <a:pt x="5096464" y="1454272"/>
                  <a:pt x="5096037" y="1453277"/>
                  <a:pt x="5098598" y="1452992"/>
                </a:cubicBezTo>
                <a:cubicBezTo>
                  <a:pt x="5099665" y="1452423"/>
                  <a:pt x="5101159" y="1452708"/>
                  <a:pt x="5102013" y="1452138"/>
                </a:cubicBezTo>
                <a:close/>
                <a:moveTo>
                  <a:pt x="5136373" y="1451285"/>
                </a:moveTo>
                <a:cubicBezTo>
                  <a:pt x="5138507" y="1451000"/>
                  <a:pt x="5140855" y="1451427"/>
                  <a:pt x="5143843" y="1452565"/>
                </a:cubicBezTo>
                <a:cubicBezTo>
                  <a:pt x="5145977" y="1457972"/>
                  <a:pt x="5141069" y="1468073"/>
                  <a:pt x="5133598" y="1465227"/>
                </a:cubicBezTo>
                <a:cubicBezTo>
                  <a:pt x="5131251" y="1462666"/>
                  <a:pt x="5129117" y="1459821"/>
                  <a:pt x="5130611" y="1453988"/>
                </a:cubicBezTo>
                <a:cubicBezTo>
                  <a:pt x="5132531" y="1452423"/>
                  <a:pt x="5134239" y="1451427"/>
                  <a:pt x="5136373" y="1451285"/>
                </a:cubicBezTo>
                <a:close/>
                <a:moveTo>
                  <a:pt x="4387056" y="1450716"/>
                </a:moveTo>
                <a:cubicBezTo>
                  <a:pt x="4389618" y="1451996"/>
                  <a:pt x="4391325" y="1453988"/>
                  <a:pt x="4392605" y="1456264"/>
                </a:cubicBezTo>
                <a:lnTo>
                  <a:pt x="4393672" y="1460248"/>
                </a:lnTo>
                <a:lnTo>
                  <a:pt x="4402636" y="1461244"/>
                </a:lnTo>
                <a:cubicBezTo>
                  <a:pt x="4401782" y="1462809"/>
                  <a:pt x="4405837" y="1463804"/>
                  <a:pt x="4407545" y="1465512"/>
                </a:cubicBezTo>
                <a:cubicBezTo>
                  <a:pt x="4408612" y="1468926"/>
                  <a:pt x="4409252" y="1471060"/>
                  <a:pt x="4407758" y="1474332"/>
                </a:cubicBezTo>
                <a:cubicBezTo>
                  <a:pt x="4405410" y="1479027"/>
                  <a:pt x="4398581" y="1484433"/>
                  <a:pt x="4394313" y="1482299"/>
                </a:cubicBezTo>
                <a:lnTo>
                  <a:pt x="4392392" y="1481446"/>
                </a:lnTo>
                <a:lnTo>
                  <a:pt x="4388550" y="1485003"/>
                </a:lnTo>
                <a:cubicBezTo>
                  <a:pt x="4387270" y="1485430"/>
                  <a:pt x="4385989" y="1485145"/>
                  <a:pt x="4384709" y="1484433"/>
                </a:cubicBezTo>
                <a:lnTo>
                  <a:pt x="4382575" y="1482299"/>
                </a:lnTo>
                <a:lnTo>
                  <a:pt x="4380227" y="1486710"/>
                </a:lnTo>
                <a:cubicBezTo>
                  <a:pt x="4378092" y="1490267"/>
                  <a:pt x="4375959" y="1493112"/>
                  <a:pt x="4374038" y="1493254"/>
                </a:cubicBezTo>
                <a:cubicBezTo>
                  <a:pt x="4373824" y="1492116"/>
                  <a:pt x="4373397" y="1490978"/>
                  <a:pt x="4374251" y="1489413"/>
                </a:cubicBezTo>
                <a:cubicBezTo>
                  <a:pt x="4374891" y="1487848"/>
                  <a:pt x="4375318" y="1488844"/>
                  <a:pt x="4374891" y="1487848"/>
                </a:cubicBezTo>
                <a:cubicBezTo>
                  <a:pt x="4375745" y="1486141"/>
                  <a:pt x="4374678" y="1486568"/>
                  <a:pt x="4374678" y="1486568"/>
                </a:cubicBezTo>
                <a:cubicBezTo>
                  <a:pt x="4374678" y="1486568"/>
                  <a:pt x="4375745" y="1486141"/>
                  <a:pt x="4375745" y="1486141"/>
                </a:cubicBezTo>
                <a:cubicBezTo>
                  <a:pt x="4375745" y="1486141"/>
                  <a:pt x="4375745" y="1486283"/>
                  <a:pt x="4377239" y="1483011"/>
                </a:cubicBezTo>
                <a:cubicBezTo>
                  <a:pt x="4378306" y="1478743"/>
                  <a:pt x="4377879" y="1477747"/>
                  <a:pt x="4378306" y="1475044"/>
                </a:cubicBezTo>
                <a:lnTo>
                  <a:pt x="4378733" y="1474475"/>
                </a:lnTo>
                <a:lnTo>
                  <a:pt x="4376385" y="1470918"/>
                </a:lnTo>
                <a:cubicBezTo>
                  <a:pt x="4374038" y="1462951"/>
                  <a:pt x="4377666" y="1452138"/>
                  <a:pt x="4387056" y="1450716"/>
                </a:cubicBezTo>
                <a:close/>
                <a:moveTo>
                  <a:pt x="5951637" y="1450574"/>
                </a:moveTo>
                <a:cubicBezTo>
                  <a:pt x="5952063" y="1453135"/>
                  <a:pt x="5953558" y="1454842"/>
                  <a:pt x="5953984" y="1457402"/>
                </a:cubicBezTo>
                <a:cubicBezTo>
                  <a:pt x="5952277" y="1461244"/>
                  <a:pt x="5944380" y="1464800"/>
                  <a:pt x="5940539" y="1462382"/>
                </a:cubicBezTo>
                <a:cubicBezTo>
                  <a:pt x="5939258" y="1461671"/>
                  <a:pt x="5938404" y="1460248"/>
                  <a:pt x="5938618" y="1457972"/>
                </a:cubicBezTo>
                <a:cubicBezTo>
                  <a:pt x="5939472" y="1451143"/>
                  <a:pt x="5945234" y="1450431"/>
                  <a:pt x="5951637" y="1450574"/>
                </a:cubicBezTo>
                <a:close/>
                <a:moveTo>
                  <a:pt x="1542029" y="1450472"/>
                </a:moveTo>
                <a:cubicBezTo>
                  <a:pt x="1543371" y="1452020"/>
                  <a:pt x="1540480" y="1460385"/>
                  <a:pt x="1537072" y="1457597"/>
                </a:cubicBezTo>
                <a:cubicBezTo>
                  <a:pt x="1536556" y="1456977"/>
                  <a:pt x="1536453" y="1456358"/>
                  <a:pt x="1536453" y="1455738"/>
                </a:cubicBezTo>
                <a:cubicBezTo>
                  <a:pt x="1536453" y="1455118"/>
                  <a:pt x="1536659" y="1454499"/>
                  <a:pt x="1536969" y="1453879"/>
                </a:cubicBezTo>
                <a:cubicBezTo>
                  <a:pt x="1537692" y="1452640"/>
                  <a:pt x="1538931" y="1451556"/>
                  <a:pt x="1540067" y="1450936"/>
                </a:cubicBezTo>
                <a:cubicBezTo>
                  <a:pt x="1540893" y="1450626"/>
                  <a:pt x="1541512" y="1450472"/>
                  <a:pt x="1542029" y="1450472"/>
                </a:cubicBezTo>
                <a:close/>
                <a:moveTo>
                  <a:pt x="4956460" y="1450005"/>
                </a:moveTo>
                <a:cubicBezTo>
                  <a:pt x="4958808" y="1451285"/>
                  <a:pt x="4958808" y="1452565"/>
                  <a:pt x="4957741" y="1453704"/>
                </a:cubicBezTo>
                <a:cubicBezTo>
                  <a:pt x="4957741" y="1453704"/>
                  <a:pt x="4956674" y="1454842"/>
                  <a:pt x="4955393" y="1455980"/>
                </a:cubicBezTo>
                <a:cubicBezTo>
                  <a:pt x="4954326" y="1457118"/>
                  <a:pt x="4954326" y="1458256"/>
                  <a:pt x="4954326" y="1458256"/>
                </a:cubicBezTo>
                <a:cubicBezTo>
                  <a:pt x="4953259" y="1459394"/>
                  <a:pt x="4951979" y="1459394"/>
                  <a:pt x="4950911" y="1458114"/>
                </a:cubicBezTo>
                <a:cubicBezTo>
                  <a:pt x="4950911" y="1458114"/>
                  <a:pt x="4951979" y="1455837"/>
                  <a:pt x="4951979" y="1455837"/>
                </a:cubicBezTo>
                <a:cubicBezTo>
                  <a:pt x="4954112" y="1453561"/>
                  <a:pt x="4955393" y="1452281"/>
                  <a:pt x="4956460" y="1450005"/>
                </a:cubicBezTo>
                <a:close/>
                <a:moveTo>
                  <a:pt x="3834085" y="1449862"/>
                </a:moveTo>
                <a:cubicBezTo>
                  <a:pt x="3836220" y="1450574"/>
                  <a:pt x="3838354" y="1451854"/>
                  <a:pt x="3840488" y="1453419"/>
                </a:cubicBezTo>
                <a:lnTo>
                  <a:pt x="3844970" y="1458541"/>
                </a:lnTo>
                <a:lnTo>
                  <a:pt x="3846678" y="1453561"/>
                </a:lnTo>
                <a:cubicBezTo>
                  <a:pt x="3847104" y="1450858"/>
                  <a:pt x="3848385" y="1450431"/>
                  <a:pt x="3851373" y="1451712"/>
                </a:cubicBezTo>
                <a:cubicBezTo>
                  <a:pt x="3851159" y="1452992"/>
                  <a:pt x="3850092" y="1454984"/>
                  <a:pt x="3848811" y="1456549"/>
                </a:cubicBezTo>
                <a:lnTo>
                  <a:pt x="3845184" y="1458967"/>
                </a:lnTo>
                <a:lnTo>
                  <a:pt x="3845824" y="1459394"/>
                </a:lnTo>
                <a:cubicBezTo>
                  <a:pt x="3847104" y="1461671"/>
                  <a:pt x="3847958" y="1464089"/>
                  <a:pt x="3847958" y="1466366"/>
                </a:cubicBezTo>
                <a:lnTo>
                  <a:pt x="3846678" y="1470065"/>
                </a:lnTo>
                <a:lnTo>
                  <a:pt x="3848811" y="1471203"/>
                </a:lnTo>
                <a:cubicBezTo>
                  <a:pt x="3850732" y="1473763"/>
                  <a:pt x="3849879" y="1480024"/>
                  <a:pt x="3842623" y="1491547"/>
                </a:cubicBezTo>
                <a:cubicBezTo>
                  <a:pt x="3818293" y="1488417"/>
                  <a:pt x="3830671" y="1474048"/>
                  <a:pt x="3840702" y="1470491"/>
                </a:cubicBezTo>
                <a:lnTo>
                  <a:pt x="3843690" y="1469922"/>
                </a:lnTo>
                <a:lnTo>
                  <a:pt x="3838781" y="1461813"/>
                </a:lnTo>
                <a:cubicBezTo>
                  <a:pt x="3836647" y="1457972"/>
                  <a:pt x="3834939" y="1453988"/>
                  <a:pt x="3834085" y="1449862"/>
                </a:cubicBezTo>
                <a:close/>
                <a:moveTo>
                  <a:pt x="4243852" y="1449293"/>
                </a:moveTo>
                <a:cubicBezTo>
                  <a:pt x="4248333" y="1450858"/>
                  <a:pt x="4251321" y="1451996"/>
                  <a:pt x="4253242" y="1453704"/>
                </a:cubicBezTo>
                <a:cubicBezTo>
                  <a:pt x="4251535" y="1462240"/>
                  <a:pt x="4236809" y="1457972"/>
                  <a:pt x="4243852" y="1449293"/>
                </a:cubicBezTo>
                <a:close/>
                <a:moveTo>
                  <a:pt x="5386074" y="1449151"/>
                </a:moveTo>
                <a:cubicBezTo>
                  <a:pt x="5386074" y="1449151"/>
                  <a:pt x="5386714" y="1449862"/>
                  <a:pt x="5387568" y="1450716"/>
                </a:cubicBezTo>
                <a:cubicBezTo>
                  <a:pt x="5388209" y="1451569"/>
                  <a:pt x="5388849" y="1452565"/>
                  <a:pt x="5388635" y="1453419"/>
                </a:cubicBezTo>
                <a:cubicBezTo>
                  <a:pt x="5389062" y="1455980"/>
                  <a:pt x="5384367" y="1454842"/>
                  <a:pt x="5383300" y="1455410"/>
                </a:cubicBezTo>
                <a:cubicBezTo>
                  <a:pt x="5381806" y="1454984"/>
                  <a:pt x="5380098" y="1454557"/>
                  <a:pt x="5380525" y="1452992"/>
                </a:cubicBezTo>
                <a:cubicBezTo>
                  <a:pt x="5380738" y="1451285"/>
                  <a:pt x="5380098" y="1450289"/>
                  <a:pt x="5382659" y="1450146"/>
                </a:cubicBezTo>
                <a:cubicBezTo>
                  <a:pt x="5383513" y="1449435"/>
                  <a:pt x="5385221" y="1449862"/>
                  <a:pt x="5386074" y="1449151"/>
                </a:cubicBezTo>
                <a:close/>
                <a:moveTo>
                  <a:pt x="4005675" y="1448866"/>
                </a:moveTo>
                <a:cubicBezTo>
                  <a:pt x="4008236" y="1449151"/>
                  <a:pt x="4010797" y="1450858"/>
                  <a:pt x="4011224" y="1452423"/>
                </a:cubicBezTo>
                <a:cubicBezTo>
                  <a:pt x="4011438" y="1454130"/>
                  <a:pt x="4010797" y="1455127"/>
                  <a:pt x="4010797" y="1455127"/>
                </a:cubicBezTo>
                <a:cubicBezTo>
                  <a:pt x="4006956" y="1457118"/>
                  <a:pt x="4002687" y="1457402"/>
                  <a:pt x="4002047" y="1452423"/>
                </a:cubicBezTo>
                <a:cubicBezTo>
                  <a:pt x="4001833" y="1450858"/>
                  <a:pt x="4001620" y="1449293"/>
                  <a:pt x="4002474" y="1449862"/>
                </a:cubicBezTo>
                <a:cubicBezTo>
                  <a:pt x="4003114" y="1448724"/>
                  <a:pt x="4003968" y="1449435"/>
                  <a:pt x="4005675" y="1448866"/>
                </a:cubicBezTo>
                <a:close/>
                <a:moveTo>
                  <a:pt x="3858415" y="1448866"/>
                </a:moveTo>
                <a:cubicBezTo>
                  <a:pt x="3861830" y="1449293"/>
                  <a:pt x="3863537" y="1451143"/>
                  <a:pt x="3863537" y="1453561"/>
                </a:cubicBezTo>
                <a:cubicBezTo>
                  <a:pt x="3863537" y="1455980"/>
                  <a:pt x="3862044" y="1458682"/>
                  <a:pt x="3858629" y="1460817"/>
                </a:cubicBezTo>
                <a:cubicBezTo>
                  <a:pt x="3856708" y="1458825"/>
                  <a:pt x="3855855" y="1456833"/>
                  <a:pt x="3855855" y="1454700"/>
                </a:cubicBezTo>
                <a:lnTo>
                  <a:pt x="3856708" y="1453135"/>
                </a:lnTo>
                <a:lnTo>
                  <a:pt x="3857135" y="1451996"/>
                </a:lnTo>
                <a:close/>
                <a:moveTo>
                  <a:pt x="5511565" y="1448155"/>
                </a:moveTo>
                <a:cubicBezTo>
                  <a:pt x="5513273" y="1447871"/>
                  <a:pt x="5514980" y="1447871"/>
                  <a:pt x="5516901" y="1448440"/>
                </a:cubicBezTo>
                <a:cubicBezTo>
                  <a:pt x="5519461" y="1449293"/>
                  <a:pt x="5522023" y="1451143"/>
                  <a:pt x="5524370" y="1454272"/>
                </a:cubicBezTo>
                <a:cubicBezTo>
                  <a:pt x="5526931" y="1460390"/>
                  <a:pt x="5518181" y="1469353"/>
                  <a:pt x="5512419" y="1467930"/>
                </a:cubicBezTo>
                <a:cubicBezTo>
                  <a:pt x="5509858" y="1465512"/>
                  <a:pt x="5507510" y="1462951"/>
                  <a:pt x="5505162" y="1460532"/>
                </a:cubicBezTo>
                <a:cubicBezTo>
                  <a:pt x="5503455" y="1454415"/>
                  <a:pt x="5506657" y="1449293"/>
                  <a:pt x="5511565" y="1448155"/>
                </a:cubicBezTo>
                <a:close/>
                <a:moveTo>
                  <a:pt x="4991888" y="1447443"/>
                </a:moveTo>
                <a:cubicBezTo>
                  <a:pt x="4992315" y="1447443"/>
                  <a:pt x="4992528" y="1447728"/>
                  <a:pt x="4993168" y="1448298"/>
                </a:cubicBezTo>
                <a:cubicBezTo>
                  <a:pt x="4992315" y="1449720"/>
                  <a:pt x="4992101" y="1448440"/>
                  <a:pt x="4991034" y="1448440"/>
                </a:cubicBezTo>
                <a:cubicBezTo>
                  <a:pt x="4991461" y="1447871"/>
                  <a:pt x="4991675" y="1447443"/>
                  <a:pt x="4991888" y="1447443"/>
                </a:cubicBezTo>
                <a:close/>
                <a:moveTo>
                  <a:pt x="5706204" y="1447301"/>
                </a:moveTo>
                <a:cubicBezTo>
                  <a:pt x="5713246" y="1453135"/>
                  <a:pt x="5719009" y="1462809"/>
                  <a:pt x="5720289" y="1465085"/>
                </a:cubicBezTo>
                <a:cubicBezTo>
                  <a:pt x="5720930" y="1466223"/>
                  <a:pt x="5721143" y="1466935"/>
                  <a:pt x="5720716" y="1467646"/>
                </a:cubicBezTo>
                <a:cubicBezTo>
                  <a:pt x="5720503" y="1468358"/>
                  <a:pt x="5719649" y="1469068"/>
                  <a:pt x="5718582" y="1469780"/>
                </a:cubicBezTo>
                <a:cubicBezTo>
                  <a:pt x="5712820" y="1470491"/>
                  <a:pt x="5710899" y="1464943"/>
                  <a:pt x="5706844" y="1460817"/>
                </a:cubicBezTo>
                <a:cubicBezTo>
                  <a:pt x="5707484" y="1459821"/>
                  <a:pt x="5707271" y="1458114"/>
                  <a:pt x="5706417" y="1457545"/>
                </a:cubicBezTo>
                <a:cubicBezTo>
                  <a:pt x="5705990" y="1455837"/>
                  <a:pt x="5705777" y="1454272"/>
                  <a:pt x="5705137" y="1455268"/>
                </a:cubicBezTo>
                <a:cubicBezTo>
                  <a:pt x="5704283" y="1450431"/>
                  <a:pt x="5703216" y="1449720"/>
                  <a:pt x="5706204" y="1447301"/>
                </a:cubicBezTo>
                <a:close/>
                <a:moveTo>
                  <a:pt x="4035341" y="1447017"/>
                </a:moveTo>
                <a:cubicBezTo>
                  <a:pt x="4035554" y="1447017"/>
                  <a:pt x="4035768" y="1447301"/>
                  <a:pt x="4036408" y="1448013"/>
                </a:cubicBezTo>
                <a:cubicBezTo>
                  <a:pt x="4035341" y="1449293"/>
                  <a:pt x="4035341" y="1448013"/>
                  <a:pt x="4034273" y="1448013"/>
                </a:cubicBezTo>
                <a:cubicBezTo>
                  <a:pt x="4034701" y="1447301"/>
                  <a:pt x="4034914" y="1447017"/>
                  <a:pt x="4035341" y="1447017"/>
                </a:cubicBezTo>
                <a:close/>
                <a:moveTo>
                  <a:pt x="1169584" y="1446599"/>
                </a:moveTo>
                <a:cubicBezTo>
                  <a:pt x="1171855" y="1445205"/>
                  <a:pt x="1178154" y="1452485"/>
                  <a:pt x="1169377" y="1451865"/>
                </a:cubicBezTo>
                <a:cubicBezTo>
                  <a:pt x="1168964" y="1450316"/>
                  <a:pt x="1168861" y="1449077"/>
                  <a:pt x="1168861" y="1448303"/>
                </a:cubicBezTo>
                <a:cubicBezTo>
                  <a:pt x="1168964" y="1447373"/>
                  <a:pt x="1169274" y="1446908"/>
                  <a:pt x="1169584" y="1446599"/>
                </a:cubicBezTo>
                <a:close/>
                <a:moveTo>
                  <a:pt x="1396747" y="1445979"/>
                </a:moveTo>
                <a:cubicBezTo>
                  <a:pt x="1397263" y="1446754"/>
                  <a:pt x="1397676" y="1447528"/>
                  <a:pt x="1398502" y="1447064"/>
                </a:cubicBezTo>
                <a:cubicBezTo>
                  <a:pt x="1397883" y="1449387"/>
                  <a:pt x="1397160" y="1449697"/>
                  <a:pt x="1396850" y="1450781"/>
                </a:cubicBezTo>
                <a:cubicBezTo>
                  <a:pt x="1397573" y="1450472"/>
                  <a:pt x="1397263" y="1451556"/>
                  <a:pt x="1397263" y="1451556"/>
                </a:cubicBezTo>
                <a:cubicBezTo>
                  <a:pt x="1397263" y="1451556"/>
                  <a:pt x="1397367" y="1451556"/>
                  <a:pt x="1399741" y="1452330"/>
                </a:cubicBezTo>
                <a:cubicBezTo>
                  <a:pt x="1399741" y="1452330"/>
                  <a:pt x="1405007" y="1454499"/>
                  <a:pt x="1404388" y="1459765"/>
                </a:cubicBezTo>
                <a:cubicBezTo>
                  <a:pt x="1403149" y="1459301"/>
                  <a:pt x="1401497" y="1466116"/>
                  <a:pt x="1397573" y="1466116"/>
                </a:cubicBezTo>
                <a:lnTo>
                  <a:pt x="1395611" y="1466116"/>
                </a:lnTo>
                <a:lnTo>
                  <a:pt x="1402116" y="1470298"/>
                </a:lnTo>
                <a:cubicBezTo>
                  <a:pt x="1401703" y="1471383"/>
                  <a:pt x="1401394" y="1472467"/>
                  <a:pt x="1402529" y="1472931"/>
                </a:cubicBezTo>
                <a:cubicBezTo>
                  <a:pt x="1400258" y="1481141"/>
                  <a:pt x="1391481" y="1485942"/>
                  <a:pt x="1382498" y="1486252"/>
                </a:cubicBezTo>
                <a:lnTo>
                  <a:pt x="1382291" y="1486252"/>
                </a:lnTo>
                <a:lnTo>
                  <a:pt x="1382601" y="1487646"/>
                </a:lnTo>
                <a:cubicBezTo>
                  <a:pt x="1381878" y="1488111"/>
                  <a:pt x="1382291" y="1488886"/>
                  <a:pt x="1381156" y="1488421"/>
                </a:cubicBezTo>
                <a:lnTo>
                  <a:pt x="1380639" y="1489970"/>
                </a:lnTo>
                <a:lnTo>
                  <a:pt x="1382807" y="1491364"/>
                </a:lnTo>
                <a:lnTo>
                  <a:pt x="1383324" y="1493842"/>
                </a:lnTo>
                <a:lnTo>
                  <a:pt x="1384563" y="1493378"/>
                </a:lnTo>
                <a:cubicBezTo>
                  <a:pt x="1390655" y="1485323"/>
                  <a:pt x="1401394" y="1484394"/>
                  <a:pt x="1412235" y="1477269"/>
                </a:cubicBezTo>
                <a:lnTo>
                  <a:pt x="1412132" y="1479437"/>
                </a:lnTo>
                <a:lnTo>
                  <a:pt x="1413165" y="1479282"/>
                </a:lnTo>
                <a:cubicBezTo>
                  <a:pt x="1415850" y="1481296"/>
                  <a:pt x="1416779" y="1484239"/>
                  <a:pt x="1416056" y="1486717"/>
                </a:cubicBezTo>
                <a:lnTo>
                  <a:pt x="1413784" y="1489660"/>
                </a:lnTo>
                <a:lnTo>
                  <a:pt x="1416366" y="1494617"/>
                </a:lnTo>
                <a:cubicBezTo>
                  <a:pt x="1417295" y="1496321"/>
                  <a:pt x="1418121" y="1498025"/>
                  <a:pt x="1418534" y="1499728"/>
                </a:cubicBezTo>
                <a:cubicBezTo>
                  <a:pt x="1419154" y="1502207"/>
                  <a:pt x="1419050" y="1504685"/>
                  <a:pt x="1417811" y="1507473"/>
                </a:cubicBezTo>
                <a:cubicBezTo>
                  <a:pt x="1409654" y="1527610"/>
                  <a:pt x="1377851" y="1520329"/>
                  <a:pt x="1380949" y="1501897"/>
                </a:cubicBezTo>
                <a:lnTo>
                  <a:pt x="1383634" y="1495701"/>
                </a:lnTo>
                <a:lnTo>
                  <a:pt x="1380226" y="1498644"/>
                </a:lnTo>
                <a:lnTo>
                  <a:pt x="1379090" y="1499264"/>
                </a:lnTo>
                <a:lnTo>
                  <a:pt x="1377541" y="1500968"/>
                </a:lnTo>
                <a:lnTo>
                  <a:pt x="1370520" y="1500813"/>
                </a:lnTo>
                <a:lnTo>
                  <a:pt x="1371449" y="1501122"/>
                </a:lnTo>
                <a:cubicBezTo>
                  <a:pt x="1369900" y="1501897"/>
                  <a:pt x="1371036" y="1505305"/>
                  <a:pt x="1368558" y="1504530"/>
                </a:cubicBezTo>
                <a:lnTo>
                  <a:pt x="1370210" y="1500813"/>
                </a:lnTo>
                <a:lnTo>
                  <a:pt x="1368868" y="1500813"/>
                </a:lnTo>
                <a:cubicBezTo>
                  <a:pt x="1369488" y="1499883"/>
                  <a:pt x="1368352" y="1499109"/>
                  <a:pt x="1367319" y="1498489"/>
                </a:cubicBezTo>
                <a:cubicBezTo>
                  <a:pt x="1366596" y="1494772"/>
                  <a:pt x="1369694" y="1491674"/>
                  <a:pt x="1373411" y="1489970"/>
                </a:cubicBezTo>
                <a:lnTo>
                  <a:pt x="1377129" y="1489350"/>
                </a:lnTo>
                <a:lnTo>
                  <a:pt x="1379194" y="1487646"/>
                </a:lnTo>
                <a:lnTo>
                  <a:pt x="1380123" y="1485942"/>
                </a:lnTo>
                <a:lnTo>
                  <a:pt x="1373721" y="1485168"/>
                </a:lnTo>
                <a:lnTo>
                  <a:pt x="1370624" y="1483000"/>
                </a:lnTo>
                <a:lnTo>
                  <a:pt x="1368868" y="1483929"/>
                </a:lnTo>
                <a:cubicBezTo>
                  <a:pt x="1367938" y="1483464"/>
                  <a:pt x="1367423" y="1482845"/>
                  <a:pt x="1367009" y="1482070"/>
                </a:cubicBezTo>
                <a:lnTo>
                  <a:pt x="1366596" y="1480366"/>
                </a:lnTo>
                <a:lnTo>
                  <a:pt x="1364015" y="1478662"/>
                </a:lnTo>
                <a:cubicBezTo>
                  <a:pt x="1365357" y="1472312"/>
                  <a:pt x="1369281" y="1467820"/>
                  <a:pt x="1374237" y="1465496"/>
                </a:cubicBezTo>
                <a:cubicBezTo>
                  <a:pt x="1376302" y="1464412"/>
                  <a:pt x="1378574" y="1463793"/>
                  <a:pt x="1380949" y="1463483"/>
                </a:cubicBezTo>
                <a:lnTo>
                  <a:pt x="1381052" y="1463483"/>
                </a:lnTo>
                <a:lnTo>
                  <a:pt x="1379710" y="1459301"/>
                </a:lnTo>
                <a:cubicBezTo>
                  <a:pt x="1378987" y="1453105"/>
                  <a:pt x="1383737" y="1451865"/>
                  <a:pt x="1388280" y="1452795"/>
                </a:cubicBezTo>
                <a:lnTo>
                  <a:pt x="1389209" y="1453260"/>
                </a:lnTo>
                <a:lnTo>
                  <a:pt x="1389209" y="1453105"/>
                </a:lnTo>
                <a:cubicBezTo>
                  <a:pt x="1391584" y="1450781"/>
                  <a:pt x="1395302" y="1451401"/>
                  <a:pt x="1394889" y="1450781"/>
                </a:cubicBezTo>
                <a:cubicBezTo>
                  <a:pt x="1395198" y="1449697"/>
                  <a:pt x="1395198" y="1449697"/>
                  <a:pt x="1394682" y="1448922"/>
                </a:cubicBezTo>
                <a:cubicBezTo>
                  <a:pt x="1395508" y="1448612"/>
                  <a:pt x="1396541" y="1447064"/>
                  <a:pt x="1396747" y="1445979"/>
                </a:cubicBezTo>
                <a:close/>
                <a:moveTo>
                  <a:pt x="3992657" y="1445879"/>
                </a:moveTo>
                <a:cubicBezTo>
                  <a:pt x="3994791" y="1445879"/>
                  <a:pt x="3995858" y="1446590"/>
                  <a:pt x="3996285" y="1447871"/>
                </a:cubicBezTo>
                <a:cubicBezTo>
                  <a:pt x="3996712" y="1449151"/>
                  <a:pt x="3996712" y="1450858"/>
                  <a:pt x="3996498" y="1453135"/>
                </a:cubicBezTo>
                <a:cubicBezTo>
                  <a:pt x="3995858" y="1457545"/>
                  <a:pt x="3992230" y="1458399"/>
                  <a:pt x="3991376" y="1461813"/>
                </a:cubicBezTo>
                <a:cubicBezTo>
                  <a:pt x="3989242" y="1460390"/>
                  <a:pt x="3985614" y="1458541"/>
                  <a:pt x="3986467" y="1452423"/>
                </a:cubicBezTo>
                <a:cubicBezTo>
                  <a:pt x="3987108" y="1450716"/>
                  <a:pt x="3987108" y="1450716"/>
                  <a:pt x="3987961" y="1450146"/>
                </a:cubicBezTo>
                <a:cubicBezTo>
                  <a:pt x="3989669" y="1447728"/>
                  <a:pt x="3990096" y="1446021"/>
                  <a:pt x="3992657" y="1445879"/>
                </a:cubicBezTo>
                <a:close/>
                <a:moveTo>
                  <a:pt x="5672697" y="1445452"/>
                </a:moveTo>
                <a:cubicBezTo>
                  <a:pt x="5673124" y="1445736"/>
                  <a:pt x="5673764" y="1446306"/>
                  <a:pt x="5674831" y="1446732"/>
                </a:cubicBezTo>
                <a:cubicBezTo>
                  <a:pt x="5676112" y="1447871"/>
                  <a:pt x="5677179" y="1447728"/>
                  <a:pt x="5676325" y="1448866"/>
                </a:cubicBezTo>
                <a:cubicBezTo>
                  <a:pt x="5675258" y="1450146"/>
                  <a:pt x="5675258" y="1450146"/>
                  <a:pt x="5672057" y="1450289"/>
                </a:cubicBezTo>
                <a:cubicBezTo>
                  <a:pt x="5672910" y="1449151"/>
                  <a:pt x="5673124" y="1449151"/>
                  <a:pt x="5671843" y="1448155"/>
                </a:cubicBezTo>
                <a:cubicBezTo>
                  <a:pt x="5671843" y="1448155"/>
                  <a:pt x="5671630" y="1448013"/>
                  <a:pt x="5670562" y="1448155"/>
                </a:cubicBezTo>
                <a:cubicBezTo>
                  <a:pt x="5670349" y="1447017"/>
                  <a:pt x="5671630" y="1447017"/>
                  <a:pt x="5671417" y="1445879"/>
                </a:cubicBezTo>
                <a:cubicBezTo>
                  <a:pt x="5671417" y="1445879"/>
                  <a:pt x="5672484" y="1445879"/>
                  <a:pt x="5672484" y="1445879"/>
                </a:cubicBezTo>
                <a:cubicBezTo>
                  <a:pt x="5672484" y="1445309"/>
                  <a:pt x="5672484" y="1445168"/>
                  <a:pt x="5672697" y="1445452"/>
                </a:cubicBezTo>
                <a:close/>
                <a:moveTo>
                  <a:pt x="1611623" y="1445205"/>
                </a:moveTo>
                <a:cubicBezTo>
                  <a:pt x="1617406" y="1445515"/>
                  <a:pt x="1623911" y="1444430"/>
                  <a:pt x="1629796" y="1446599"/>
                </a:cubicBezTo>
                <a:cubicBezTo>
                  <a:pt x="1625666" y="1450781"/>
                  <a:pt x="1614514" y="1453260"/>
                  <a:pt x="1611623" y="1445205"/>
                </a:cubicBezTo>
                <a:close/>
                <a:moveTo>
                  <a:pt x="1413165" y="1445050"/>
                </a:moveTo>
                <a:cubicBezTo>
                  <a:pt x="1416572" y="1443037"/>
                  <a:pt x="1418534" y="1446754"/>
                  <a:pt x="1417295" y="1448768"/>
                </a:cubicBezTo>
                <a:cubicBezTo>
                  <a:pt x="1416779" y="1449387"/>
                  <a:pt x="1416056" y="1449852"/>
                  <a:pt x="1414817" y="1450007"/>
                </a:cubicBezTo>
                <a:cubicBezTo>
                  <a:pt x="1413888" y="1448458"/>
                  <a:pt x="1413578" y="1447218"/>
                  <a:pt x="1413165" y="1445050"/>
                </a:cubicBezTo>
                <a:close/>
                <a:moveTo>
                  <a:pt x="4596421" y="1445025"/>
                </a:moveTo>
                <a:cubicBezTo>
                  <a:pt x="4600049" y="1448724"/>
                  <a:pt x="4598982" y="1451143"/>
                  <a:pt x="4595781" y="1454557"/>
                </a:cubicBezTo>
                <a:cubicBezTo>
                  <a:pt x="4589805" y="1449435"/>
                  <a:pt x="4591939" y="1448440"/>
                  <a:pt x="4596421" y="1445025"/>
                </a:cubicBezTo>
                <a:close/>
                <a:moveTo>
                  <a:pt x="5401440" y="1444883"/>
                </a:moveTo>
                <a:cubicBezTo>
                  <a:pt x="5402080" y="1449293"/>
                  <a:pt x="5407203" y="1448298"/>
                  <a:pt x="5405068" y="1453135"/>
                </a:cubicBezTo>
                <a:cubicBezTo>
                  <a:pt x="5403361" y="1454700"/>
                  <a:pt x="5400800" y="1454984"/>
                  <a:pt x="5396745" y="1453561"/>
                </a:cubicBezTo>
                <a:cubicBezTo>
                  <a:pt x="5394611" y="1447301"/>
                  <a:pt x="5398026" y="1446163"/>
                  <a:pt x="5401440" y="1444883"/>
                </a:cubicBezTo>
                <a:close/>
                <a:moveTo>
                  <a:pt x="6110634" y="1444598"/>
                </a:moveTo>
                <a:cubicBezTo>
                  <a:pt x="6111915" y="1444314"/>
                  <a:pt x="6112982" y="1444314"/>
                  <a:pt x="6114690" y="1445452"/>
                </a:cubicBezTo>
                <a:cubicBezTo>
                  <a:pt x="6113409" y="1448724"/>
                  <a:pt x="6111702" y="1450858"/>
                  <a:pt x="6110421" y="1453988"/>
                </a:cubicBezTo>
                <a:cubicBezTo>
                  <a:pt x="6105512" y="1453988"/>
                  <a:pt x="6106152" y="1449578"/>
                  <a:pt x="6107006" y="1445309"/>
                </a:cubicBezTo>
                <a:cubicBezTo>
                  <a:pt x="6108287" y="1445452"/>
                  <a:pt x="6109567" y="1444883"/>
                  <a:pt x="6110634" y="1444598"/>
                </a:cubicBezTo>
                <a:close/>
                <a:moveTo>
                  <a:pt x="4796822" y="1443460"/>
                </a:moveTo>
                <a:cubicBezTo>
                  <a:pt x="4799383" y="1443603"/>
                  <a:pt x="4801731" y="1444171"/>
                  <a:pt x="4804292" y="1445168"/>
                </a:cubicBezTo>
                <a:lnTo>
                  <a:pt x="4810694" y="1448866"/>
                </a:lnTo>
                <a:lnTo>
                  <a:pt x="4811548" y="1447443"/>
                </a:lnTo>
                <a:cubicBezTo>
                  <a:pt x="4814109" y="1444741"/>
                  <a:pt x="4817951" y="1445594"/>
                  <a:pt x="4822646" y="1449008"/>
                </a:cubicBezTo>
                <a:cubicBezTo>
                  <a:pt x="4822432" y="1451712"/>
                  <a:pt x="4823073" y="1453988"/>
                  <a:pt x="4823073" y="1457687"/>
                </a:cubicBezTo>
                <a:cubicBezTo>
                  <a:pt x="4821579" y="1458114"/>
                  <a:pt x="4818804" y="1457972"/>
                  <a:pt x="4816030" y="1456976"/>
                </a:cubicBezTo>
                <a:lnTo>
                  <a:pt x="4810694" y="1452565"/>
                </a:lnTo>
                <a:lnTo>
                  <a:pt x="4809414" y="1461955"/>
                </a:lnTo>
                <a:cubicBezTo>
                  <a:pt x="4807920" y="1465796"/>
                  <a:pt x="4805786" y="1468926"/>
                  <a:pt x="4803225" y="1471487"/>
                </a:cubicBezTo>
                <a:cubicBezTo>
                  <a:pt x="4794261" y="1480024"/>
                  <a:pt x="4779322" y="1481872"/>
                  <a:pt x="4766517" y="1474617"/>
                </a:cubicBezTo>
                <a:cubicBezTo>
                  <a:pt x="4766730" y="1472910"/>
                  <a:pt x="4766730" y="1471345"/>
                  <a:pt x="4765022" y="1471060"/>
                </a:cubicBezTo>
                <a:cubicBezTo>
                  <a:pt x="4765022" y="1454557"/>
                  <a:pt x="4781456" y="1442322"/>
                  <a:pt x="4796822" y="1443460"/>
                </a:cubicBezTo>
                <a:close/>
                <a:moveTo>
                  <a:pt x="1020275" y="1443346"/>
                </a:moveTo>
                <a:cubicBezTo>
                  <a:pt x="1024199" y="1443656"/>
                  <a:pt x="1025438" y="1444121"/>
                  <a:pt x="1028535" y="1446599"/>
                </a:cubicBezTo>
                <a:cubicBezTo>
                  <a:pt x="1028432" y="1452175"/>
                  <a:pt x="1025231" y="1455273"/>
                  <a:pt x="1022030" y="1458216"/>
                </a:cubicBezTo>
                <a:cubicBezTo>
                  <a:pt x="1017591" y="1457906"/>
                  <a:pt x="1015938" y="1456512"/>
                  <a:pt x="1015732" y="1454654"/>
                </a:cubicBezTo>
                <a:cubicBezTo>
                  <a:pt x="1015628" y="1453879"/>
                  <a:pt x="1015732" y="1453260"/>
                  <a:pt x="1015938" y="1452485"/>
                </a:cubicBezTo>
                <a:cubicBezTo>
                  <a:pt x="1016764" y="1449542"/>
                  <a:pt x="1019243" y="1445979"/>
                  <a:pt x="1020275" y="1443346"/>
                </a:cubicBezTo>
                <a:close/>
                <a:moveTo>
                  <a:pt x="1680082" y="1442107"/>
                </a:moveTo>
                <a:cubicBezTo>
                  <a:pt x="1681115" y="1442882"/>
                  <a:pt x="1682147" y="1443501"/>
                  <a:pt x="1683283" y="1444121"/>
                </a:cubicBezTo>
                <a:cubicBezTo>
                  <a:pt x="1681115" y="1448922"/>
                  <a:pt x="1682354" y="1452950"/>
                  <a:pt x="1680805" y="1456822"/>
                </a:cubicBezTo>
                <a:cubicBezTo>
                  <a:pt x="1679360" y="1454963"/>
                  <a:pt x="1677501" y="1452175"/>
                  <a:pt x="1676778" y="1449542"/>
                </a:cubicBezTo>
                <a:cubicBezTo>
                  <a:pt x="1676159" y="1446754"/>
                  <a:pt x="1676675" y="1444121"/>
                  <a:pt x="1680082" y="1442107"/>
                </a:cubicBezTo>
                <a:close/>
                <a:moveTo>
                  <a:pt x="4089336" y="1442037"/>
                </a:moveTo>
                <a:cubicBezTo>
                  <a:pt x="4091896" y="1442179"/>
                  <a:pt x="4092964" y="1444456"/>
                  <a:pt x="4094244" y="1446732"/>
                </a:cubicBezTo>
                <a:cubicBezTo>
                  <a:pt x="4094884" y="1448724"/>
                  <a:pt x="4094671" y="1450005"/>
                  <a:pt x="4093818" y="1451000"/>
                </a:cubicBezTo>
                <a:cubicBezTo>
                  <a:pt x="4093177" y="1451996"/>
                  <a:pt x="4091896" y="1452565"/>
                  <a:pt x="4090189" y="1452992"/>
                </a:cubicBezTo>
                <a:cubicBezTo>
                  <a:pt x="4086988" y="1453988"/>
                  <a:pt x="4085708" y="1451712"/>
                  <a:pt x="4085708" y="1451712"/>
                </a:cubicBezTo>
                <a:cubicBezTo>
                  <a:pt x="4084213" y="1447728"/>
                  <a:pt x="4085494" y="1444029"/>
                  <a:pt x="4089336" y="1442037"/>
                </a:cubicBezTo>
                <a:close/>
                <a:moveTo>
                  <a:pt x="4948991" y="1440188"/>
                </a:moveTo>
                <a:cubicBezTo>
                  <a:pt x="4950271" y="1441469"/>
                  <a:pt x="4950058" y="1440188"/>
                  <a:pt x="4951338" y="1440188"/>
                </a:cubicBezTo>
                <a:cubicBezTo>
                  <a:pt x="4950271" y="1441469"/>
                  <a:pt x="4950271" y="1445168"/>
                  <a:pt x="4949204" y="1447586"/>
                </a:cubicBezTo>
                <a:cubicBezTo>
                  <a:pt x="4948137" y="1447586"/>
                  <a:pt x="4947070" y="1448724"/>
                  <a:pt x="4946003" y="1448724"/>
                </a:cubicBezTo>
                <a:cubicBezTo>
                  <a:pt x="4946003" y="1447443"/>
                  <a:pt x="4944722" y="1444883"/>
                  <a:pt x="4946003" y="1444883"/>
                </a:cubicBezTo>
                <a:cubicBezTo>
                  <a:pt x="4945789" y="1443745"/>
                  <a:pt x="4948137" y="1443745"/>
                  <a:pt x="4948137" y="1443745"/>
                </a:cubicBezTo>
                <a:cubicBezTo>
                  <a:pt x="4947924" y="1442606"/>
                  <a:pt x="4947924" y="1441326"/>
                  <a:pt x="4948991" y="1440188"/>
                </a:cubicBezTo>
                <a:close/>
                <a:moveTo>
                  <a:pt x="1314555" y="1440093"/>
                </a:moveTo>
                <a:cubicBezTo>
                  <a:pt x="1314865" y="1441797"/>
                  <a:pt x="1316001" y="1441952"/>
                  <a:pt x="1314968" y="1444740"/>
                </a:cubicBezTo>
                <a:cubicBezTo>
                  <a:pt x="1313832" y="1444740"/>
                  <a:pt x="1312593" y="1444585"/>
                  <a:pt x="1311458" y="1444585"/>
                </a:cubicBezTo>
                <a:cubicBezTo>
                  <a:pt x="1311767" y="1442262"/>
                  <a:pt x="1312180" y="1439938"/>
                  <a:pt x="1314555" y="1440093"/>
                </a:cubicBezTo>
                <a:close/>
                <a:moveTo>
                  <a:pt x="1096271" y="1439629"/>
                </a:moveTo>
                <a:cubicBezTo>
                  <a:pt x="1096891" y="1444740"/>
                  <a:pt x="1089766" y="1449077"/>
                  <a:pt x="1085326" y="1450936"/>
                </a:cubicBezTo>
                <a:cubicBezTo>
                  <a:pt x="1083674" y="1449387"/>
                  <a:pt x="1082022" y="1450316"/>
                  <a:pt x="1080370" y="1448768"/>
                </a:cubicBezTo>
                <a:cubicBezTo>
                  <a:pt x="1085739" y="1443501"/>
                  <a:pt x="1091212" y="1437460"/>
                  <a:pt x="1096271" y="1439629"/>
                </a:cubicBezTo>
                <a:close/>
                <a:moveTo>
                  <a:pt x="5495131" y="1439619"/>
                </a:moveTo>
                <a:cubicBezTo>
                  <a:pt x="5496626" y="1439477"/>
                  <a:pt x="5498119" y="1439761"/>
                  <a:pt x="5499827" y="1440188"/>
                </a:cubicBezTo>
                <a:cubicBezTo>
                  <a:pt x="5505376" y="1451996"/>
                  <a:pt x="5495559" y="1470491"/>
                  <a:pt x="5485528" y="1463520"/>
                </a:cubicBezTo>
                <a:cubicBezTo>
                  <a:pt x="5484034" y="1462524"/>
                  <a:pt x="5482540" y="1460959"/>
                  <a:pt x="5481046" y="1458825"/>
                </a:cubicBezTo>
                <a:cubicBezTo>
                  <a:pt x="5483607" y="1452281"/>
                  <a:pt x="5485741" y="1440188"/>
                  <a:pt x="5495131" y="1439619"/>
                </a:cubicBezTo>
                <a:close/>
                <a:moveTo>
                  <a:pt x="1349456" y="1439319"/>
                </a:moveTo>
                <a:cubicBezTo>
                  <a:pt x="1354102" y="1438854"/>
                  <a:pt x="1360504" y="1443037"/>
                  <a:pt x="1364634" y="1448612"/>
                </a:cubicBezTo>
                <a:cubicBezTo>
                  <a:pt x="1368765" y="1454189"/>
                  <a:pt x="1370624" y="1461005"/>
                  <a:pt x="1366287" y="1465496"/>
                </a:cubicBezTo>
                <a:cubicBezTo>
                  <a:pt x="1363705" y="1454034"/>
                  <a:pt x="1349869" y="1452485"/>
                  <a:pt x="1349456" y="1439319"/>
                </a:cubicBezTo>
                <a:close/>
                <a:moveTo>
                  <a:pt x="5363665" y="1439192"/>
                </a:moveTo>
                <a:cubicBezTo>
                  <a:pt x="5369214" y="1441610"/>
                  <a:pt x="5371135" y="1445879"/>
                  <a:pt x="5370495" y="1450574"/>
                </a:cubicBezTo>
                <a:cubicBezTo>
                  <a:pt x="5365159" y="1454415"/>
                  <a:pt x="5357689" y="1448866"/>
                  <a:pt x="5358543" y="1442891"/>
                </a:cubicBezTo>
                <a:cubicBezTo>
                  <a:pt x="5359824" y="1441895"/>
                  <a:pt x="5361317" y="1439904"/>
                  <a:pt x="5363665" y="1439192"/>
                </a:cubicBezTo>
                <a:close/>
                <a:moveTo>
                  <a:pt x="1718906" y="1439164"/>
                </a:moveTo>
                <a:cubicBezTo>
                  <a:pt x="1720765" y="1439629"/>
                  <a:pt x="1722624" y="1440248"/>
                  <a:pt x="1723966" y="1441642"/>
                </a:cubicBezTo>
                <a:cubicBezTo>
                  <a:pt x="1722830" y="1443656"/>
                  <a:pt x="1722417" y="1445515"/>
                  <a:pt x="1721075" y="1446599"/>
                </a:cubicBezTo>
                <a:cubicBezTo>
                  <a:pt x="1718803" y="1446134"/>
                  <a:pt x="1717564" y="1445050"/>
                  <a:pt x="1717254" y="1443656"/>
                </a:cubicBezTo>
                <a:cubicBezTo>
                  <a:pt x="1716944" y="1442262"/>
                  <a:pt x="1717564" y="1440713"/>
                  <a:pt x="1718906" y="1439164"/>
                </a:cubicBezTo>
                <a:close/>
                <a:moveTo>
                  <a:pt x="1211299" y="1439164"/>
                </a:moveTo>
                <a:cubicBezTo>
                  <a:pt x="1213054" y="1441178"/>
                  <a:pt x="1213570" y="1446444"/>
                  <a:pt x="1211712" y="1447993"/>
                </a:cubicBezTo>
                <a:cubicBezTo>
                  <a:pt x="1210473" y="1447838"/>
                  <a:pt x="1209337" y="1447683"/>
                  <a:pt x="1208098" y="1447528"/>
                </a:cubicBezTo>
                <a:cubicBezTo>
                  <a:pt x="1207169" y="1446134"/>
                  <a:pt x="1206653" y="1444585"/>
                  <a:pt x="1206549" y="1443191"/>
                </a:cubicBezTo>
                <a:cubicBezTo>
                  <a:pt x="1206549" y="1441797"/>
                  <a:pt x="1207065" y="1440713"/>
                  <a:pt x="1208098" y="1439938"/>
                </a:cubicBezTo>
                <a:cubicBezTo>
                  <a:pt x="1208924" y="1439474"/>
                  <a:pt x="1209957" y="1439164"/>
                  <a:pt x="1211299" y="1439164"/>
                </a:cubicBezTo>
                <a:close/>
                <a:moveTo>
                  <a:pt x="1594689" y="1438699"/>
                </a:moveTo>
                <a:cubicBezTo>
                  <a:pt x="1597271" y="1439938"/>
                  <a:pt x="1598613" y="1441333"/>
                  <a:pt x="1598923" y="1443191"/>
                </a:cubicBezTo>
                <a:cubicBezTo>
                  <a:pt x="1599233" y="1444895"/>
                  <a:pt x="1598510" y="1447064"/>
                  <a:pt x="1597064" y="1449542"/>
                </a:cubicBezTo>
                <a:cubicBezTo>
                  <a:pt x="1594070" y="1448303"/>
                  <a:pt x="1593347" y="1446754"/>
                  <a:pt x="1593450" y="1444895"/>
                </a:cubicBezTo>
                <a:cubicBezTo>
                  <a:pt x="1593554" y="1443037"/>
                  <a:pt x="1594483" y="1440868"/>
                  <a:pt x="1594689" y="1438699"/>
                </a:cubicBezTo>
                <a:close/>
                <a:moveTo>
                  <a:pt x="1514219" y="1438590"/>
                </a:moveTo>
                <a:cubicBezTo>
                  <a:pt x="1529180" y="1437741"/>
                  <a:pt x="1543835" y="1454731"/>
                  <a:pt x="1526953" y="1469369"/>
                </a:cubicBezTo>
                <a:cubicBezTo>
                  <a:pt x="1518899" y="1475565"/>
                  <a:pt x="1508573" y="1473551"/>
                  <a:pt x="1496286" y="1477423"/>
                </a:cubicBezTo>
                <a:cubicBezTo>
                  <a:pt x="1501862" y="1469059"/>
                  <a:pt x="1496699" y="1461005"/>
                  <a:pt x="1497215" y="1453569"/>
                </a:cubicBezTo>
                <a:cubicBezTo>
                  <a:pt x="1497422" y="1451091"/>
                  <a:pt x="1498248" y="1448612"/>
                  <a:pt x="1500313" y="1446134"/>
                </a:cubicBezTo>
                <a:cubicBezTo>
                  <a:pt x="1504211" y="1441139"/>
                  <a:pt x="1509232" y="1438873"/>
                  <a:pt x="1514219" y="1438590"/>
                </a:cubicBezTo>
                <a:close/>
                <a:moveTo>
                  <a:pt x="5320128" y="1438196"/>
                </a:moveTo>
                <a:cubicBezTo>
                  <a:pt x="5316926" y="1445736"/>
                  <a:pt x="5315005" y="1455127"/>
                  <a:pt x="5309457" y="1461671"/>
                </a:cubicBezTo>
                <a:cubicBezTo>
                  <a:pt x="5306255" y="1453845"/>
                  <a:pt x="5308816" y="1437912"/>
                  <a:pt x="5320128" y="1438196"/>
                </a:cubicBezTo>
                <a:close/>
                <a:moveTo>
                  <a:pt x="5833189" y="1438054"/>
                </a:moveTo>
                <a:cubicBezTo>
                  <a:pt x="5834469" y="1437912"/>
                  <a:pt x="5835536" y="1438196"/>
                  <a:pt x="5836603" y="1438765"/>
                </a:cubicBezTo>
                <a:cubicBezTo>
                  <a:pt x="5837670" y="1440046"/>
                  <a:pt x="5837457" y="1442464"/>
                  <a:pt x="5835963" y="1446021"/>
                </a:cubicBezTo>
                <a:cubicBezTo>
                  <a:pt x="5833615" y="1447159"/>
                  <a:pt x="5830414" y="1443460"/>
                  <a:pt x="5828280" y="1442322"/>
                </a:cubicBezTo>
                <a:cubicBezTo>
                  <a:pt x="5829561" y="1441042"/>
                  <a:pt x="5830841" y="1439904"/>
                  <a:pt x="5829774" y="1439904"/>
                </a:cubicBezTo>
                <a:cubicBezTo>
                  <a:pt x="5831054" y="1438623"/>
                  <a:pt x="5832122" y="1438196"/>
                  <a:pt x="5833189" y="1438054"/>
                </a:cubicBezTo>
                <a:close/>
                <a:moveTo>
                  <a:pt x="4181960" y="1438054"/>
                </a:moveTo>
                <a:cubicBezTo>
                  <a:pt x="4185161" y="1438907"/>
                  <a:pt x="4186869" y="1439334"/>
                  <a:pt x="4188149" y="1441326"/>
                </a:cubicBezTo>
                <a:cubicBezTo>
                  <a:pt x="4189857" y="1441753"/>
                  <a:pt x="4191350" y="1442179"/>
                  <a:pt x="4192417" y="1442891"/>
                </a:cubicBezTo>
                <a:cubicBezTo>
                  <a:pt x="4193698" y="1443603"/>
                  <a:pt x="4194338" y="1444598"/>
                  <a:pt x="4194125" y="1446306"/>
                </a:cubicBezTo>
                <a:cubicBezTo>
                  <a:pt x="4190497" y="1447017"/>
                  <a:pt x="4188149" y="1447301"/>
                  <a:pt x="4183881" y="1447017"/>
                </a:cubicBezTo>
                <a:cubicBezTo>
                  <a:pt x="4183881" y="1447017"/>
                  <a:pt x="4177691" y="1445309"/>
                  <a:pt x="4177478" y="1441042"/>
                </a:cubicBezTo>
                <a:cubicBezTo>
                  <a:pt x="4176624" y="1440046"/>
                  <a:pt x="4180466" y="1437627"/>
                  <a:pt x="4181960" y="1438054"/>
                </a:cubicBezTo>
                <a:close/>
                <a:moveTo>
                  <a:pt x="1151823" y="1437615"/>
                </a:moveTo>
                <a:cubicBezTo>
                  <a:pt x="1157606" y="1435601"/>
                  <a:pt x="1160394" y="1436066"/>
                  <a:pt x="1161426" y="1437615"/>
                </a:cubicBezTo>
                <a:cubicBezTo>
                  <a:pt x="1164421" y="1441952"/>
                  <a:pt x="1150997" y="1455428"/>
                  <a:pt x="1151823" y="1437615"/>
                </a:cubicBezTo>
                <a:close/>
                <a:moveTo>
                  <a:pt x="1280067" y="1436995"/>
                </a:moveTo>
                <a:cubicBezTo>
                  <a:pt x="1283475" y="1438699"/>
                  <a:pt x="1283991" y="1441952"/>
                  <a:pt x="1287708" y="1444430"/>
                </a:cubicBezTo>
                <a:cubicBezTo>
                  <a:pt x="1287089" y="1447373"/>
                  <a:pt x="1291116" y="1450626"/>
                  <a:pt x="1289980" y="1454499"/>
                </a:cubicBezTo>
                <a:cubicBezTo>
                  <a:pt x="1283785" y="1452795"/>
                  <a:pt x="1278622" y="1440093"/>
                  <a:pt x="1280067" y="1436995"/>
                </a:cubicBezTo>
                <a:close/>
                <a:moveTo>
                  <a:pt x="1321990" y="1436531"/>
                </a:moveTo>
                <a:cubicBezTo>
                  <a:pt x="1324674" y="1436221"/>
                  <a:pt x="1327256" y="1435911"/>
                  <a:pt x="1330560" y="1438854"/>
                </a:cubicBezTo>
                <a:cubicBezTo>
                  <a:pt x="1331076" y="1442262"/>
                  <a:pt x="1330043" y="1444430"/>
                  <a:pt x="1326223" y="1447218"/>
                </a:cubicBezTo>
                <a:cubicBezTo>
                  <a:pt x="1323022" y="1446599"/>
                  <a:pt x="1319511" y="1442882"/>
                  <a:pt x="1320028" y="1439629"/>
                </a:cubicBezTo>
                <a:cubicBezTo>
                  <a:pt x="1320131" y="1438389"/>
                  <a:pt x="1320751" y="1437460"/>
                  <a:pt x="1321990" y="1436531"/>
                </a:cubicBezTo>
                <a:close/>
                <a:moveTo>
                  <a:pt x="3845824" y="1435777"/>
                </a:moveTo>
                <a:lnTo>
                  <a:pt x="3847531" y="1437912"/>
                </a:lnTo>
                <a:lnTo>
                  <a:pt x="3847958" y="1437627"/>
                </a:lnTo>
                <a:lnTo>
                  <a:pt x="3846678" y="1435920"/>
                </a:lnTo>
                <a:close/>
                <a:moveTo>
                  <a:pt x="1697610" y="1435117"/>
                </a:moveTo>
                <a:cubicBezTo>
                  <a:pt x="1699443" y="1436337"/>
                  <a:pt x="1700269" y="1438544"/>
                  <a:pt x="1700010" y="1440558"/>
                </a:cubicBezTo>
                <a:cubicBezTo>
                  <a:pt x="1699804" y="1441952"/>
                  <a:pt x="1699185" y="1443191"/>
                  <a:pt x="1697945" y="1444121"/>
                </a:cubicBezTo>
                <a:cubicBezTo>
                  <a:pt x="1696397" y="1445360"/>
                  <a:pt x="1693918" y="1445825"/>
                  <a:pt x="1690511" y="1444585"/>
                </a:cubicBezTo>
                <a:cubicBezTo>
                  <a:pt x="1688549" y="1440868"/>
                  <a:pt x="1689685" y="1438544"/>
                  <a:pt x="1689169" y="1435601"/>
                </a:cubicBezTo>
                <a:cubicBezTo>
                  <a:pt x="1692937" y="1433665"/>
                  <a:pt x="1695777" y="1433897"/>
                  <a:pt x="1697610" y="1435117"/>
                </a:cubicBezTo>
                <a:close/>
                <a:moveTo>
                  <a:pt x="4204582" y="1434497"/>
                </a:moveTo>
                <a:cubicBezTo>
                  <a:pt x="4207784" y="1434213"/>
                  <a:pt x="4210985" y="1435351"/>
                  <a:pt x="4212052" y="1437485"/>
                </a:cubicBezTo>
                <a:cubicBezTo>
                  <a:pt x="4213332" y="1453419"/>
                  <a:pt x="4201808" y="1456833"/>
                  <a:pt x="4197326" y="1449435"/>
                </a:cubicBezTo>
                <a:cubicBezTo>
                  <a:pt x="4195832" y="1447017"/>
                  <a:pt x="4194978" y="1443318"/>
                  <a:pt x="4195832" y="1438481"/>
                </a:cubicBezTo>
                <a:cubicBezTo>
                  <a:pt x="4197753" y="1435920"/>
                  <a:pt x="4201168" y="1434640"/>
                  <a:pt x="4204582" y="1434497"/>
                </a:cubicBezTo>
                <a:close/>
                <a:moveTo>
                  <a:pt x="4966704" y="1434355"/>
                </a:moveTo>
                <a:cubicBezTo>
                  <a:pt x="4967771" y="1434355"/>
                  <a:pt x="4968838" y="1434640"/>
                  <a:pt x="4969692" y="1435209"/>
                </a:cubicBezTo>
                <a:cubicBezTo>
                  <a:pt x="4972040" y="1436489"/>
                  <a:pt x="4970973" y="1438907"/>
                  <a:pt x="4968838" y="1441184"/>
                </a:cubicBezTo>
                <a:cubicBezTo>
                  <a:pt x="4965637" y="1447017"/>
                  <a:pt x="4962223" y="1448155"/>
                  <a:pt x="4958595" y="1444314"/>
                </a:cubicBezTo>
                <a:cubicBezTo>
                  <a:pt x="4958381" y="1443176"/>
                  <a:pt x="4959448" y="1439619"/>
                  <a:pt x="4958167" y="1439477"/>
                </a:cubicBezTo>
                <a:cubicBezTo>
                  <a:pt x="4960729" y="1436915"/>
                  <a:pt x="4963930" y="1434355"/>
                  <a:pt x="4966704" y="1434355"/>
                </a:cubicBezTo>
                <a:close/>
                <a:moveTo>
                  <a:pt x="4686057" y="1434070"/>
                </a:moveTo>
                <a:lnTo>
                  <a:pt x="4690966" y="1436773"/>
                </a:lnTo>
                <a:lnTo>
                  <a:pt x="4694381" y="1437058"/>
                </a:lnTo>
                <a:cubicBezTo>
                  <a:pt x="4696515" y="1435920"/>
                  <a:pt x="4699929" y="1436062"/>
                  <a:pt x="4702277" y="1437343"/>
                </a:cubicBezTo>
                <a:cubicBezTo>
                  <a:pt x="4704625" y="1439904"/>
                  <a:pt x="4704838" y="1442179"/>
                  <a:pt x="4703771" y="1443318"/>
                </a:cubicBezTo>
                <a:cubicBezTo>
                  <a:pt x="4696301" y="1453704"/>
                  <a:pt x="4685844" y="1448440"/>
                  <a:pt x="4683496" y="1449578"/>
                </a:cubicBezTo>
                <a:cubicBezTo>
                  <a:pt x="4680935" y="1446732"/>
                  <a:pt x="4680082" y="1446021"/>
                  <a:pt x="4682216" y="1443033"/>
                </a:cubicBezTo>
                <a:lnTo>
                  <a:pt x="4684563" y="1440046"/>
                </a:lnTo>
                <a:lnTo>
                  <a:pt x="4682856" y="1437343"/>
                </a:lnTo>
                <a:cubicBezTo>
                  <a:pt x="4683923" y="1436205"/>
                  <a:pt x="4684990" y="1435209"/>
                  <a:pt x="4686057" y="1434070"/>
                </a:cubicBezTo>
                <a:close/>
                <a:moveTo>
                  <a:pt x="4174703" y="1434070"/>
                </a:moveTo>
                <a:cubicBezTo>
                  <a:pt x="4174703" y="1435209"/>
                  <a:pt x="4174703" y="1437627"/>
                  <a:pt x="4177051" y="1438907"/>
                </a:cubicBezTo>
                <a:cubicBezTo>
                  <a:pt x="4174917" y="1441184"/>
                  <a:pt x="4172783" y="1443460"/>
                  <a:pt x="4170435" y="1440899"/>
                </a:cubicBezTo>
                <a:cubicBezTo>
                  <a:pt x="4169155" y="1439619"/>
                  <a:pt x="4167874" y="1438481"/>
                  <a:pt x="4167874" y="1436062"/>
                </a:cubicBezTo>
                <a:cubicBezTo>
                  <a:pt x="4170008" y="1433786"/>
                  <a:pt x="4173636" y="1435209"/>
                  <a:pt x="4174703" y="1434070"/>
                </a:cubicBezTo>
                <a:close/>
                <a:moveTo>
                  <a:pt x="1474706" y="1433897"/>
                </a:moveTo>
                <a:cubicBezTo>
                  <a:pt x="1475119" y="1434362"/>
                  <a:pt x="1475119" y="1434827"/>
                  <a:pt x="1474809" y="1435137"/>
                </a:cubicBezTo>
                <a:cubicBezTo>
                  <a:pt x="1474499" y="1435601"/>
                  <a:pt x="1474086" y="1436066"/>
                  <a:pt x="1473570" y="1436531"/>
                </a:cubicBezTo>
                <a:cubicBezTo>
                  <a:pt x="1472537" y="1437305"/>
                  <a:pt x="1471608" y="1438080"/>
                  <a:pt x="1470575" y="1439009"/>
                </a:cubicBezTo>
                <a:cubicBezTo>
                  <a:pt x="1470575" y="1439009"/>
                  <a:pt x="1470575" y="1439009"/>
                  <a:pt x="1474706" y="1433897"/>
                </a:cubicBezTo>
                <a:close/>
                <a:moveTo>
                  <a:pt x="4277999" y="1433643"/>
                </a:moveTo>
                <a:cubicBezTo>
                  <a:pt x="4282480" y="1432221"/>
                  <a:pt x="4287816" y="1437769"/>
                  <a:pt x="4289310" y="1443033"/>
                </a:cubicBezTo>
                <a:cubicBezTo>
                  <a:pt x="4289737" y="1444883"/>
                  <a:pt x="4289950" y="1446590"/>
                  <a:pt x="4289310" y="1448013"/>
                </a:cubicBezTo>
                <a:cubicBezTo>
                  <a:pt x="4286749" y="1450289"/>
                  <a:pt x="4283974" y="1452423"/>
                  <a:pt x="4281413" y="1454557"/>
                </a:cubicBezTo>
                <a:cubicBezTo>
                  <a:pt x="4275438" y="1455410"/>
                  <a:pt x="4271169" y="1451427"/>
                  <a:pt x="4270742" y="1446306"/>
                </a:cubicBezTo>
                <a:cubicBezTo>
                  <a:pt x="4270529" y="1444598"/>
                  <a:pt x="4270742" y="1442606"/>
                  <a:pt x="4271596" y="1440757"/>
                </a:cubicBezTo>
                <a:cubicBezTo>
                  <a:pt x="4272663" y="1438196"/>
                  <a:pt x="4274797" y="1435777"/>
                  <a:pt x="4277999" y="1433643"/>
                </a:cubicBezTo>
                <a:close/>
                <a:moveTo>
                  <a:pt x="6026547" y="1433501"/>
                </a:moveTo>
                <a:cubicBezTo>
                  <a:pt x="6033803" y="1433359"/>
                  <a:pt x="6039352" y="1435635"/>
                  <a:pt x="6044688" y="1433928"/>
                </a:cubicBezTo>
                <a:cubicBezTo>
                  <a:pt x="6044688" y="1433928"/>
                  <a:pt x="6044688" y="1433928"/>
                  <a:pt x="6046822" y="1436347"/>
                </a:cubicBezTo>
                <a:cubicBezTo>
                  <a:pt x="6047889" y="1436489"/>
                  <a:pt x="6047889" y="1436347"/>
                  <a:pt x="6047889" y="1436347"/>
                </a:cubicBezTo>
                <a:cubicBezTo>
                  <a:pt x="6048529" y="1436347"/>
                  <a:pt x="6048742" y="1437058"/>
                  <a:pt x="6048742" y="1437627"/>
                </a:cubicBezTo>
                <a:cubicBezTo>
                  <a:pt x="6048956" y="1438196"/>
                  <a:pt x="6048742" y="1438765"/>
                  <a:pt x="6048742" y="1438765"/>
                </a:cubicBezTo>
                <a:cubicBezTo>
                  <a:pt x="6047462" y="1441184"/>
                  <a:pt x="6044047" y="1440046"/>
                  <a:pt x="6041913" y="1439904"/>
                </a:cubicBezTo>
                <a:cubicBezTo>
                  <a:pt x="6040419" y="1442322"/>
                  <a:pt x="6037645" y="1437485"/>
                  <a:pt x="6036151" y="1439904"/>
                </a:cubicBezTo>
                <a:cubicBezTo>
                  <a:pt x="6032096" y="1434924"/>
                  <a:pt x="6025693" y="1440899"/>
                  <a:pt x="6018437" y="1434782"/>
                </a:cubicBezTo>
                <a:cubicBezTo>
                  <a:pt x="6021425" y="1433786"/>
                  <a:pt x="6023986" y="1433501"/>
                  <a:pt x="6026547" y="1433501"/>
                </a:cubicBezTo>
                <a:close/>
                <a:moveTo>
                  <a:pt x="4843348" y="1433359"/>
                </a:moveTo>
                <a:cubicBezTo>
                  <a:pt x="4849110" y="1431936"/>
                  <a:pt x="4855299" y="1433217"/>
                  <a:pt x="4858714" y="1438623"/>
                </a:cubicBezTo>
                <a:cubicBezTo>
                  <a:pt x="4857860" y="1449578"/>
                  <a:pt x="4843134" y="1455553"/>
                  <a:pt x="4835238" y="1454842"/>
                </a:cubicBezTo>
                <a:cubicBezTo>
                  <a:pt x="4831610" y="1450858"/>
                  <a:pt x="4830756" y="1447017"/>
                  <a:pt x="4831610" y="1443603"/>
                </a:cubicBezTo>
                <a:cubicBezTo>
                  <a:pt x="4832677" y="1438481"/>
                  <a:pt x="4837799" y="1434640"/>
                  <a:pt x="4843348" y="1433359"/>
                </a:cubicBezTo>
                <a:close/>
                <a:moveTo>
                  <a:pt x="5796054" y="1432363"/>
                </a:moveTo>
                <a:cubicBezTo>
                  <a:pt x="5797121" y="1432078"/>
                  <a:pt x="5798401" y="1432078"/>
                  <a:pt x="5799682" y="1432505"/>
                </a:cubicBezTo>
                <a:cubicBezTo>
                  <a:pt x="5805017" y="1440188"/>
                  <a:pt x="5796054" y="1444029"/>
                  <a:pt x="5791998" y="1441326"/>
                </a:cubicBezTo>
                <a:cubicBezTo>
                  <a:pt x="5790078" y="1437058"/>
                  <a:pt x="5792639" y="1433359"/>
                  <a:pt x="5796054" y="1432363"/>
                </a:cubicBezTo>
                <a:close/>
                <a:moveTo>
                  <a:pt x="5132745" y="1432363"/>
                </a:moveTo>
                <a:cubicBezTo>
                  <a:pt x="5138934" y="1433359"/>
                  <a:pt x="5142135" y="1442891"/>
                  <a:pt x="5139361" y="1447443"/>
                </a:cubicBezTo>
                <a:cubicBezTo>
                  <a:pt x="5138507" y="1448866"/>
                  <a:pt x="5137013" y="1450005"/>
                  <a:pt x="5134879" y="1449862"/>
                </a:cubicBezTo>
                <a:cubicBezTo>
                  <a:pt x="5128477" y="1445452"/>
                  <a:pt x="5132958" y="1440188"/>
                  <a:pt x="5132745" y="1432363"/>
                </a:cubicBezTo>
                <a:close/>
                <a:moveTo>
                  <a:pt x="1348836" y="1432349"/>
                </a:moveTo>
                <a:cubicBezTo>
                  <a:pt x="1349043" y="1432504"/>
                  <a:pt x="1349353" y="1432968"/>
                  <a:pt x="1350178" y="1433433"/>
                </a:cubicBezTo>
                <a:cubicBezTo>
                  <a:pt x="1350798" y="1434207"/>
                  <a:pt x="1351727" y="1434362"/>
                  <a:pt x="1350695" y="1434982"/>
                </a:cubicBezTo>
                <a:cubicBezTo>
                  <a:pt x="1349765" y="1435756"/>
                  <a:pt x="1349765" y="1435756"/>
                  <a:pt x="1347288" y="1435601"/>
                </a:cubicBezTo>
                <a:cubicBezTo>
                  <a:pt x="1348217" y="1434827"/>
                  <a:pt x="1348217" y="1434827"/>
                  <a:pt x="1347494" y="1434052"/>
                </a:cubicBezTo>
                <a:cubicBezTo>
                  <a:pt x="1347494" y="1434052"/>
                  <a:pt x="1347494" y="1434052"/>
                  <a:pt x="1346668" y="1433897"/>
                </a:cubicBezTo>
                <a:cubicBezTo>
                  <a:pt x="1346771" y="1433123"/>
                  <a:pt x="1347597" y="1433278"/>
                  <a:pt x="1347804" y="1432504"/>
                </a:cubicBezTo>
                <a:cubicBezTo>
                  <a:pt x="1347804" y="1432504"/>
                  <a:pt x="1348630" y="1432504"/>
                  <a:pt x="1348630" y="1432504"/>
                </a:cubicBezTo>
                <a:cubicBezTo>
                  <a:pt x="1348630" y="1432039"/>
                  <a:pt x="1348630" y="1432193"/>
                  <a:pt x="1348836" y="1432349"/>
                </a:cubicBezTo>
                <a:close/>
                <a:moveTo>
                  <a:pt x="5806511" y="1432078"/>
                </a:moveTo>
                <a:cubicBezTo>
                  <a:pt x="5812487" y="1432932"/>
                  <a:pt x="5818890" y="1441469"/>
                  <a:pt x="5822091" y="1450858"/>
                </a:cubicBezTo>
                <a:cubicBezTo>
                  <a:pt x="5825292" y="1460105"/>
                  <a:pt x="5825079" y="1470491"/>
                  <a:pt x="5818036" y="1475186"/>
                </a:cubicBezTo>
                <a:cubicBezTo>
                  <a:pt x="5819103" y="1457972"/>
                  <a:pt x="5802243" y="1451000"/>
                  <a:pt x="5806511" y="1432078"/>
                </a:cubicBezTo>
                <a:close/>
                <a:moveTo>
                  <a:pt x="4743040" y="1432078"/>
                </a:moveTo>
                <a:cubicBezTo>
                  <a:pt x="4746028" y="1434782"/>
                  <a:pt x="4747949" y="1437200"/>
                  <a:pt x="4749230" y="1439334"/>
                </a:cubicBezTo>
                <a:cubicBezTo>
                  <a:pt x="4757980" y="1454272"/>
                  <a:pt x="4728528" y="1456264"/>
                  <a:pt x="4727674" y="1447301"/>
                </a:cubicBezTo>
                <a:cubicBezTo>
                  <a:pt x="4727461" y="1443745"/>
                  <a:pt x="4731302" y="1438765"/>
                  <a:pt x="4743040" y="1432078"/>
                </a:cubicBezTo>
                <a:close/>
                <a:moveTo>
                  <a:pt x="1222244" y="1432039"/>
                </a:moveTo>
                <a:cubicBezTo>
                  <a:pt x="1223690" y="1431884"/>
                  <a:pt x="1225342" y="1432193"/>
                  <a:pt x="1227200" y="1433278"/>
                </a:cubicBezTo>
                <a:cubicBezTo>
                  <a:pt x="1229265" y="1436221"/>
                  <a:pt x="1229472" y="1439474"/>
                  <a:pt x="1228027" y="1441642"/>
                </a:cubicBezTo>
                <a:cubicBezTo>
                  <a:pt x="1226684" y="1443811"/>
                  <a:pt x="1223793" y="1444740"/>
                  <a:pt x="1219456" y="1443037"/>
                </a:cubicBezTo>
                <a:cubicBezTo>
                  <a:pt x="1218630" y="1441797"/>
                  <a:pt x="1218011" y="1440558"/>
                  <a:pt x="1217804" y="1439319"/>
                </a:cubicBezTo>
                <a:cubicBezTo>
                  <a:pt x="1217081" y="1435756"/>
                  <a:pt x="1219043" y="1432504"/>
                  <a:pt x="1222244" y="1432039"/>
                </a:cubicBezTo>
                <a:close/>
                <a:moveTo>
                  <a:pt x="3873141" y="1431936"/>
                </a:moveTo>
                <a:cubicBezTo>
                  <a:pt x="3880398" y="1431225"/>
                  <a:pt x="3888507" y="1442606"/>
                  <a:pt x="3880184" y="1448440"/>
                </a:cubicBezTo>
                <a:cubicBezTo>
                  <a:pt x="3875489" y="1448298"/>
                  <a:pt x="3868233" y="1440757"/>
                  <a:pt x="3866953" y="1437058"/>
                </a:cubicBezTo>
                <a:cubicBezTo>
                  <a:pt x="3868446" y="1433643"/>
                  <a:pt x="3870794" y="1432078"/>
                  <a:pt x="3873141" y="1431936"/>
                </a:cubicBezTo>
                <a:close/>
                <a:moveTo>
                  <a:pt x="3984120" y="1431794"/>
                </a:moveTo>
                <a:cubicBezTo>
                  <a:pt x="3983479" y="1436773"/>
                  <a:pt x="3981559" y="1441184"/>
                  <a:pt x="3978998" y="1445168"/>
                </a:cubicBezTo>
                <a:lnTo>
                  <a:pt x="3976650" y="1447443"/>
                </a:lnTo>
                <a:lnTo>
                  <a:pt x="3977717" y="1447728"/>
                </a:lnTo>
                <a:cubicBezTo>
                  <a:pt x="3980278" y="1448582"/>
                  <a:pt x="3982413" y="1449720"/>
                  <a:pt x="3983693" y="1451285"/>
                </a:cubicBezTo>
                <a:cubicBezTo>
                  <a:pt x="3984546" y="1452423"/>
                  <a:pt x="3984974" y="1453704"/>
                  <a:pt x="3984974" y="1455127"/>
                </a:cubicBezTo>
                <a:cubicBezTo>
                  <a:pt x="3985400" y="1463804"/>
                  <a:pt x="3976223" y="1469922"/>
                  <a:pt x="3965766" y="1467930"/>
                </a:cubicBezTo>
                <a:lnTo>
                  <a:pt x="3957016" y="1465512"/>
                </a:lnTo>
                <a:lnTo>
                  <a:pt x="3945064" y="1474902"/>
                </a:lnTo>
                <a:lnTo>
                  <a:pt x="3943997" y="1473479"/>
                </a:lnTo>
                <a:lnTo>
                  <a:pt x="3944210" y="1476894"/>
                </a:lnTo>
                <a:cubicBezTo>
                  <a:pt x="3944210" y="1478743"/>
                  <a:pt x="3943997" y="1480450"/>
                  <a:pt x="3943143" y="1481872"/>
                </a:cubicBezTo>
                <a:cubicBezTo>
                  <a:pt x="3942717" y="1482726"/>
                  <a:pt x="3941863" y="1483438"/>
                  <a:pt x="3941009" y="1483865"/>
                </a:cubicBezTo>
                <a:cubicBezTo>
                  <a:pt x="3938662" y="1485287"/>
                  <a:pt x="3937381" y="1483153"/>
                  <a:pt x="3936741" y="1479881"/>
                </a:cubicBezTo>
                <a:cubicBezTo>
                  <a:pt x="3934179" y="1473763"/>
                  <a:pt x="3935033" y="1469922"/>
                  <a:pt x="3939942" y="1468641"/>
                </a:cubicBezTo>
                <a:lnTo>
                  <a:pt x="3941222" y="1469780"/>
                </a:lnTo>
                <a:lnTo>
                  <a:pt x="3937808" y="1463378"/>
                </a:lnTo>
                <a:lnTo>
                  <a:pt x="3943357" y="1459394"/>
                </a:lnTo>
                <a:lnTo>
                  <a:pt x="3942503" y="1458399"/>
                </a:lnTo>
                <a:lnTo>
                  <a:pt x="3942930" y="1457118"/>
                </a:lnTo>
                <a:lnTo>
                  <a:pt x="3942289" y="1456691"/>
                </a:lnTo>
                <a:cubicBezTo>
                  <a:pt x="3942717" y="1448155"/>
                  <a:pt x="3948052" y="1445168"/>
                  <a:pt x="3954454" y="1444598"/>
                </a:cubicBezTo>
                <a:lnTo>
                  <a:pt x="3960644" y="1444598"/>
                </a:lnTo>
                <a:lnTo>
                  <a:pt x="3961924" y="1439904"/>
                </a:lnTo>
                <a:cubicBezTo>
                  <a:pt x="3963205" y="1437769"/>
                  <a:pt x="3965339" y="1436773"/>
                  <a:pt x="3968327" y="1438196"/>
                </a:cubicBezTo>
                <a:cubicBezTo>
                  <a:pt x="3969607" y="1438623"/>
                  <a:pt x="3970034" y="1439761"/>
                  <a:pt x="3970034" y="1441042"/>
                </a:cubicBezTo>
                <a:close/>
                <a:moveTo>
                  <a:pt x="5898495" y="1431652"/>
                </a:moveTo>
                <a:cubicBezTo>
                  <a:pt x="5902336" y="1431367"/>
                  <a:pt x="5908953" y="1432932"/>
                  <a:pt x="5909806" y="1432932"/>
                </a:cubicBezTo>
                <a:cubicBezTo>
                  <a:pt x="5909806" y="1432932"/>
                  <a:pt x="5910874" y="1432932"/>
                  <a:pt x="5912154" y="1432932"/>
                </a:cubicBezTo>
                <a:cubicBezTo>
                  <a:pt x="5913007" y="1434070"/>
                  <a:pt x="5913007" y="1435351"/>
                  <a:pt x="5914074" y="1435351"/>
                </a:cubicBezTo>
                <a:cubicBezTo>
                  <a:pt x="5910233" y="1438765"/>
                  <a:pt x="5906818" y="1437627"/>
                  <a:pt x="5903617" y="1436347"/>
                </a:cubicBezTo>
                <a:cubicBezTo>
                  <a:pt x="5901483" y="1435209"/>
                  <a:pt x="5900416" y="1435209"/>
                  <a:pt x="5897855" y="1436347"/>
                </a:cubicBezTo>
                <a:cubicBezTo>
                  <a:pt x="5897855" y="1436347"/>
                  <a:pt x="5897855" y="1436347"/>
                  <a:pt x="5895934" y="1433928"/>
                </a:cubicBezTo>
                <a:lnTo>
                  <a:pt x="5895934" y="1432648"/>
                </a:lnTo>
                <a:cubicBezTo>
                  <a:pt x="5896361" y="1432078"/>
                  <a:pt x="5897215" y="1431794"/>
                  <a:pt x="5898495" y="1431652"/>
                </a:cubicBezTo>
                <a:close/>
                <a:moveTo>
                  <a:pt x="4648496" y="1431652"/>
                </a:moveTo>
                <a:cubicBezTo>
                  <a:pt x="4649776" y="1431652"/>
                  <a:pt x="4649989" y="1432078"/>
                  <a:pt x="4650203" y="1433074"/>
                </a:cubicBezTo>
                <a:cubicBezTo>
                  <a:pt x="4650203" y="1433928"/>
                  <a:pt x="4649989" y="1435209"/>
                  <a:pt x="4650203" y="1436489"/>
                </a:cubicBezTo>
                <a:lnTo>
                  <a:pt x="4645508" y="1435209"/>
                </a:lnTo>
                <a:cubicBezTo>
                  <a:pt x="4645721" y="1433501"/>
                  <a:pt x="4646788" y="1431225"/>
                  <a:pt x="4648496" y="1431652"/>
                </a:cubicBezTo>
                <a:close/>
                <a:moveTo>
                  <a:pt x="4629928" y="1431225"/>
                </a:moveTo>
                <a:cubicBezTo>
                  <a:pt x="4631208" y="1431225"/>
                  <a:pt x="4632916" y="1432078"/>
                  <a:pt x="4634837" y="1433074"/>
                </a:cubicBezTo>
                <a:cubicBezTo>
                  <a:pt x="4638678" y="1435351"/>
                  <a:pt x="4638038" y="1439050"/>
                  <a:pt x="4640599" y="1441326"/>
                </a:cubicBezTo>
                <a:cubicBezTo>
                  <a:pt x="4638465" y="1442606"/>
                  <a:pt x="4635263" y="1445309"/>
                  <a:pt x="4630141" y="1441895"/>
                </a:cubicBezTo>
                <a:cubicBezTo>
                  <a:pt x="4628647" y="1440757"/>
                  <a:pt x="4628647" y="1440757"/>
                  <a:pt x="4628647" y="1439619"/>
                </a:cubicBezTo>
                <a:cubicBezTo>
                  <a:pt x="4626940" y="1437200"/>
                  <a:pt x="4625660" y="1436062"/>
                  <a:pt x="4626513" y="1433643"/>
                </a:cubicBezTo>
                <a:cubicBezTo>
                  <a:pt x="4627367" y="1431794"/>
                  <a:pt x="4628647" y="1431083"/>
                  <a:pt x="4629928" y="1431225"/>
                </a:cubicBezTo>
                <a:close/>
                <a:moveTo>
                  <a:pt x="5028383" y="1431083"/>
                </a:moveTo>
                <a:cubicBezTo>
                  <a:pt x="5045670" y="1442179"/>
                  <a:pt x="5049725" y="1467077"/>
                  <a:pt x="5057408" y="1487563"/>
                </a:cubicBezTo>
                <a:cubicBezTo>
                  <a:pt x="5053353" y="1487848"/>
                  <a:pt x="5051432" y="1490978"/>
                  <a:pt x="5045030" y="1489982"/>
                </a:cubicBezTo>
                <a:cubicBezTo>
                  <a:pt x="5040761" y="1468215"/>
                  <a:pt x="5031371" y="1449151"/>
                  <a:pt x="5028383" y="1431083"/>
                </a:cubicBezTo>
                <a:close/>
                <a:moveTo>
                  <a:pt x="1020559" y="1430102"/>
                </a:moveTo>
                <a:cubicBezTo>
                  <a:pt x="1026625" y="1430567"/>
                  <a:pt x="1032098" y="1433046"/>
                  <a:pt x="1032459" y="1437615"/>
                </a:cubicBezTo>
                <a:cubicBezTo>
                  <a:pt x="1022753" y="1435756"/>
                  <a:pt x="1015422" y="1439009"/>
                  <a:pt x="1005096" y="1434672"/>
                </a:cubicBezTo>
                <a:cubicBezTo>
                  <a:pt x="1007833" y="1431187"/>
                  <a:pt x="1014493" y="1429638"/>
                  <a:pt x="1020559" y="1430102"/>
                </a:cubicBezTo>
                <a:close/>
                <a:moveTo>
                  <a:pt x="4091043" y="1430087"/>
                </a:moveTo>
                <a:cubicBezTo>
                  <a:pt x="4093391" y="1431367"/>
                  <a:pt x="4095739" y="1432648"/>
                  <a:pt x="4098086" y="1434070"/>
                </a:cubicBezTo>
                <a:lnTo>
                  <a:pt x="4101074" y="1437485"/>
                </a:lnTo>
                <a:lnTo>
                  <a:pt x="4102141" y="1430798"/>
                </a:lnTo>
                <a:cubicBezTo>
                  <a:pt x="4103848" y="1429945"/>
                  <a:pt x="4106196" y="1430087"/>
                  <a:pt x="4108330" y="1430514"/>
                </a:cubicBezTo>
                <a:cubicBezTo>
                  <a:pt x="4114946" y="1432078"/>
                  <a:pt x="4122416" y="1438338"/>
                  <a:pt x="4124123" y="1443460"/>
                </a:cubicBezTo>
                <a:cubicBezTo>
                  <a:pt x="4122629" y="1448582"/>
                  <a:pt x="4119855" y="1451285"/>
                  <a:pt x="4117081" y="1452281"/>
                </a:cubicBezTo>
                <a:cubicBezTo>
                  <a:pt x="4112598" y="1453561"/>
                  <a:pt x="4107476" y="1450858"/>
                  <a:pt x="4104275" y="1446590"/>
                </a:cubicBezTo>
                <a:lnTo>
                  <a:pt x="4103208" y="1444171"/>
                </a:lnTo>
                <a:lnTo>
                  <a:pt x="4103208" y="1445025"/>
                </a:lnTo>
                <a:cubicBezTo>
                  <a:pt x="4098513" y="1442464"/>
                  <a:pt x="4095098" y="1441042"/>
                  <a:pt x="4090403" y="1438481"/>
                </a:cubicBezTo>
                <a:cubicBezTo>
                  <a:pt x="4089122" y="1437200"/>
                  <a:pt x="4086561" y="1432363"/>
                  <a:pt x="4087628" y="1431225"/>
                </a:cubicBezTo>
                <a:cubicBezTo>
                  <a:pt x="4088695" y="1429945"/>
                  <a:pt x="4089976" y="1430087"/>
                  <a:pt x="4091043" y="1430087"/>
                </a:cubicBezTo>
                <a:close/>
                <a:moveTo>
                  <a:pt x="1520655" y="1429560"/>
                </a:moveTo>
                <a:cubicBezTo>
                  <a:pt x="1522616" y="1429250"/>
                  <a:pt x="1521997" y="1431574"/>
                  <a:pt x="1521687" y="1432658"/>
                </a:cubicBezTo>
                <a:cubicBezTo>
                  <a:pt x="1520345" y="1430800"/>
                  <a:pt x="1519209" y="1430645"/>
                  <a:pt x="1519932" y="1430025"/>
                </a:cubicBezTo>
                <a:cubicBezTo>
                  <a:pt x="1519519" y="1429405"/>
                  <a:pt x="1520241" y="1428940"/>
                  <a:pt x="1520655" y="1429560"/>
                </a:cubicBezTo>
                <a:close/>
                <a:moveTo>
                  <a:pt x="4124764" y="1429518"/>
                </a:moveTo>
                <a:cubicBezTo>
                  <a:pt x="4130312" y="1429945"/>
                  <a:pt x="4134367" y="1432505"/>
                  <a:pt x="4136502" y="1439904"/>
                </a:cubicBezTo>
                <a:cubicBezTo>
                  <a:pt x="4133727" y="1443603"/>
                  <a:pt x="4129245" y="1443033"/>
                  <a:pt x="4125404" y="1440472"/>
                </a:cubicBezTo>
                <a:cubicBezTo>
                  <a:pt x="4121562" y="1438054"/>
                  <a:pt x="4118361" y="1433643"/>
                  <a:pt x="4118574" y="1429660"/>
                </a:cubicBezTo>
                <a:cubicBezTo>
                  <a:pt x="4120708" y="1429376"/>
                  <a:pt x="4122843" y="1429376"/>
                  <a:pt x="4124764" y="1429518"/>
                </a:cubicBezTo>
                <a:close/>
                <a:moveTo>
                  <a:pt x="3995431" y="1429518"/>
                </a:moveTo>
                <a:cubicBezTo>
                  <a:pt x="3996712" y="1431652"/>
                  <a:pt x="3998632" y="1432648"/>
                  <a:pt x="4000126" y="1434782"/>
                </a:cubicBezTo>
                <a:lnTo>
                  <a:pt x="4003755" y="1435209"/>
                </a:lnTo>
                <a:cubicBezTo>
                  <a:pt x="4003114" y="1440046"/>
                  <a:pt x="3997779" y="1443318"/>
                  <a:pt x="3993297" y="1443460"/>
                </a:cubicBezTo>
                <a:lnTo>
                  <a:pt x="3992016" y="1443176"/>
                </a:lnTo>
                <a:lnTo>
                  <a:pt x="3989029" y="1444456"/>
                </a:lnTo>
                <a:cubicBezTo>
                  <a:pt x="3987534" y="1444314"/>
                  <a:pt x="3986254" y="1443318"/>
                  <a:pt x="3985400" y="1441184"/>
                </a:cubicBezTo>
                <a:cubicBezTo>
                  <a:pt x="3983906" y="1434782"/>
                  <a:pt x="3989029" y="1431936"/>
                  <a:pt x="3995431" y="1429518"/>
                </a:cubicBezTo>
                <a:close/>
                <a:moveTo>
                  <a:pt x="1260552" y="1429405"/>
                </a:moveTo>
                <a:cubicBezTo>
                  <a:pt x="1262721" y="1431419"/>
                  <a:pt x="1265508" y="1430800"/>
                  <a:pt x="1268090" y="1434517"/>
                </a:cubicBezTo>
                <a:cubicBezTo>
                  <a:pt x="1257455" y="1446754"/>
                  <a:pt x="1250743" y="1460230"/>
                  <a:pt x="1241553" y="1469988"/>
                </a:cubicBezTo>
                <a:cubicBezTo>
                  <a:pt x="1241346" y="1468284"/>
                  <a:pt x="1241243" y="1466580"/>
                  <a:pt x="1241450" y="1464877"/>
                </a:cubicBezTo>
                <a:cubicBezTo>
                  <a:pt x="1242586" y="1452795"/>
                  <a:pt x="1253324" y="1441023"/>
                  <a:pt x="1260552" y="1429405"/>
                </a:cubicBezTo>
                <a:close/>
                <a:moveTo>
                  <a:pt x="5449247" y="1429376"/>
                </a:moveTo>
                <a:cubicBezTo>
                  <a:pt x="5456290" y="1429233"/>
                  <a:pt x="5460558" y="1433643"/>
                  <a:pt x="5463118" y="1439334"/>
                </a:cubicBezTo>
                <a:cubicBezTo>
                  <a:pt x="5465893" y="1445025"/>
                  <a:pt x="5466747" y="1451854"/>
                  <a:pt x="5466747" y="1456549"/>
                </a:cubicBezTo>
                <a:cubicBezTo>
                  <a:pt x="5462905" y="1452992"/>
                  <a:pt x="5459064" y="1449720"/>
                  <a:pt x="5455862" y="1445452"/>
                </a:cubicBezTo>
                <a:cubicBezTo>
                  <a:pt x="5452661" y="1441326"/>
                  <a:pt x="5450100" y="1436205"/>
                  <a:pt x="5449247" y="1429376"/>
                </a:cubicBezTo>
                <a:close/>
                <a:moveTo>
                  <a:pt x="1739351" y="1429096"/>
                </a:moveTo>
                <a:cubicBezTo>
                  <a:pt x="1740281" y="1429096"/>
                  <a:pt x="1741106" y="1429096"/>
                  <a:pt x="1741933" y="1430025"/>
                </a:cubicBezTo>
                <a:cubicBezTo>
                  <a:pt x="1742656" y="1430954"/>
                  <a:pt x="1742552" y="1432658"/>
                  <a:pt x="1742449" y="1433588"/>
                </a:cubicBezTo>
                <a:cubicBezTo>
                  <a:pt x="1741520" y="1433588"/>
                  <a:pt x="1741416" y="1434362"/>
                  <a:pt x="1740487" y="1434362"/>
                </a:cubicBezTo>
                <a:cubicBezTo>
                  <a:pt x="1738629" y="1435137"/>
                  <a:pt x="1738629" y="1435137"/>
                  <a:pt x="1737803" y="1434207"/>
                </a:cubicBezTo>
                <a:cubicBezTo>
                  <a:pt x="1737080" y="1433433"/>
                  <a:pt x="1738215" y="1430800"/>
                  <a:pt x="1737493" y="1429870"/>
                </a:cubicBezTo>
                <a:cubicBezTo>
                  <a:pt x="1737493" y="1429870"/>
                  <a:pt x="1737493" y="1429870"/>
                  <a:pt x="1739351" y="1429096"/>
                </a:cubicBezTo>
                <a:close/>
                <a:moveTo>
                  <a:pt x="5017071" y="1429091"/>
                </a:moveTo>
                <a:cubicBezTo>
                  <a:pt x="5025821" y="1430514"/>
                  <a:pt x="5023261" y="1440188"/>
                  <a:pt x="5018779" y="1441326"/>
                </a:cubicBezTo>
                <a:cubicBezTo>
                  <a:pt x="5013230" y="1439050"/>
                  <a:pt x="5013017" y="1431367"/>
                  <a:pt x="5017071" y="1429091"/>
                </a:cubicBezTo>
                <a:close/>
                <a:moveTo>
                  <a:pt x="5278297" y="1428948"/>
                </a:moveTo>
                <a:cubicBezTo>
                  <a:pt x="5278937" y="1429802"/>
                  <a:pt x="5279364" y="1431083"/>
                  <a:pt x="5279791" y="1432648"/>
                </a:cubicBezTo>
                <a:cubicBezTo>
                  <a:pt x="5280431" y="1437058"/>
                  <a:pt x="5279364" y="1443460"/>
                  <a:pt x="5277871" y="1446021"/>
                </a:cubicBezTo>
                <a:cubicBezTo>
                  <a:pt x="5275949" y="1446590"/>
                  <a:pt x="5274456" y="1446732"/>
                  <a:pt x="5272961" y="1446448"/>
                </a:cubicBezTo>
                <a:lnTo>
                  <a:pt x="5272748" y="1446306"/>
                </a:lnTo>
                <a:lnTo>
                  <a:pt x="5271895" y="1451285"/>
                </a:lnTo>
                <a:cubicBezTo>
                  <a:pt x="5270828" y="1453277"/>
                  <a:pt x="5269120" y="1454842"/>
                  <a:pt x="5267200" y="1455837"/>
                </a:cubicBezTo>
                <a:lnTo>
                  <a:pt x="5266559" y="1455980"/>
                </a:lnTo>
                <a:lnTo>
                  <a:pt x="5267200" y="1457972"/>
                </a:lnTo>
                <a:cubicBezTo>
                  <a:pt x="5266559" y="1458967"/>
                  <a:pt x="5265065" y="1459394"/>
                  <a:pt x="5265065" y="1459394"/>
                </a:cubicBezTo>
                <a:cubicBezTo>
                  <a:pt x="5263571" y="1459821"/>
                  <a:pt x="5263571" y="1459821"/>
                  <a:pt x="5263998" y="1461529"/>
                </a:cubicBezTo>
                <a:cubicBezTo>
                  <a:pt x="5263998" y="1461529"/>
                  <a:pt x="5263145" y="1460817"/>
                  <a:pt x="5263145" y="1460817"/>
                </a:cubicBezTo>
                <a:cubicBezTo>
                  <a:pt x="5263571" y="1459821"/>
                  <a:pt x="5263145" y="1460817"/>
                  <a:pt x="5261437" y="1461244"/>
                </a:cubicBezTo>
                <a:cubicBezTo>
                  <a:pt x="5259943" y="1459109"/>
                  <a:pt x="5258876" y="1458541"/>
                  <a:pt x="5258236" y="1456833"/>
                </a:cubicBezTo>
                <a:lnTo>
                  <a:pt x="5258022" y="1455410"/>
                </a:lnTo>
                <a:lnTo>
                  <a:pt x="5256315" y="1454415"/>
                </a:lnTo>
                <a:cubicBezTo>
                  <a:pt x="5254607" y="1452423"/>
                  <a:pt x="5253967" y="1449151"/>
                  <a:pt x="5255461" y="1444456"/>
                </a:cubicBezTo>
                <a:cubicBezTo>
                  <a:pt x="5258449" y="1444598"/>
                  <a:pt x="5260797" y="1444029"/>
                  <a:pt x="5262931" y="1443460"/>
                </a:cubicBezTo>
                <a:lnTo>
                  <a:pt x="5268480" y="1442322"/>
                </a:lnTo>
                <a:lnTo>
                  <a:pt x="5267413" y="1439904"/>
                </a:lnTo>
                <a:cubicBezTo>
                  <a:pt x="5266773" y="1434213"/>
                  <a:pt x="5270614" y="1427241"/>
                  <a:pt x="5278297" y="1428948"/>
                </a:cubicBezTo>
                <a:close/>
                <a:moveTo>
                  <a:pt x="4657245" y="1428948"/>
                </a:moveTo>
                <a:cubicBezTo>
                  <a:pt x="4657886" y="1429945"/>
                  <a:pt x="4658953" y="1429376"/>
                  <a:pt x="4659593" y="1430371"/>
                </a:cubicBezTo>
                <a:cubicBezTo>
                  <a:pt x="4659593" y="1430371"/>
                  <a:pt x="4660660" y="1431083"/>
                  <a:pt x="4661728" y="1432505"/>
                </a:cubicBezTo>
                <a:cubicBezTo>
                  <a:pt x="4663008" y="1433928"/>
                  <a:pt x="4664075" y="1436205"/>
                  <a:pt x="4664075" y="1439192"/>
                </a:cubicBezTo>
                <a:cubicBezTo>
                  <a:pt x="4663862" y="1440757"/>
                  <a:pt x="4662368" y="1444598"/>
                  <a:pt x="4661728" y="1443603"/>
                </a:cubicBezTo>
                <a:cubicBezTo>
                  <a:pt x="4660020" y="1443176"/>
                  <a:pt x="4660660" y="1444171"/>
                  <a:pt x="4659807" y="1444883"/>
                </a:cubicBezTo>
                <a:cubicBezTo>
                  <a:pt x="4654898" y="1443603"/>
                  <a:pt x="4651910" y="1441184"/>
                  <a:pt x="4651910" y="1436915"/>
                </a:cubicBezTo>
                <a:cubicBezTo>
                  <a:pt x="4652337" y="1433643"/>
                  <a:pt x="4653191" y="1428806"/>
                  <a:pt x="4657245" y="1428948"/>
                </a:cubicBezTo>
                <a:close/>
                <a:moveTo>
                  <a:pt x="1567430" y="1427856"/>
                </a:moveTo>
                <a:cubicBezTo>
                  <a:pt x="1570527" y="1436840"/>
                  <a:pt x="1582815" y="1440093"/>
                  <a:pt x="1581782" y="1448458"/>
                </a:cubicBezTo>
                <a:cubicBezTo>
                  <a:pt x="1577032" y="1445360"/>
                  <a:pt x="1568566" y="1443501"/>
                  <a:pt x="1564539" y="1440093"/>
                </a:cubicBezTo>
                <a:lnTo>
                  <a:pt x="1563816" y="1438544"/>
                </a:lnTo>
                <a:lnTo>
                  <a:pt x="1562061" y="1438235"/>
                </a:lnTo>
                <a:cubicBezTo>
                  <a:pt x="1560718" y="1437305"/>
                  <a:pt x="1559789" y="1436066"/>
                  <a:pt x="1559479" y="1434517"/>
                </a:cubicBezTo>
                <a:cubicBezTo>
                  <a:pt x="1559272" y="1433588"/>
                  <a:pt x="1559272" y="1432504"/>
                  <a:pt x="1559789" y="1431574"/>
                </a:cubicBezTo>
                <a:cubicBezTo>
                  <a:pt x="1560305" y="1431419"/>
                  <a:pt x="1561028" y="1431109"/>
                  <a:pt x="1561751" y="1430800"/>
                </a:cubicBezTo>
                <a:cubicBezTo>
                  <a:pt x="1562576" y="1430490"/>
                  <a:pt x="1563403" y="1430180"/>
                  <a:pt x="1564435" y="1430335"/>
                </a:cubicBezTo>
                <a:lnTo>
                  <a:pt x="1564848" y="1430800"/>
                </a:lnTo>
                <a:close/>
                <a:moveTo>
                  <a:pt x="4217174" y="1426815"/>
                </a:moveTo>
                <a:cubicBezTo>
                  <a:pt x="4218668" y="1427241"/>
                  <a:pt x="4218668" y="1427241"/>
                  <a:pt x="4219522" y="1428237"/>
                </a:cubicBezTo>
                <a:cubicBezTo>
                  <a:pt x="4219308" y="1429802"/>
                  <a:pt x="4218241" y="1430371"/>
                  <a:pt x="4218027" y="1432078"/>
                </a:cubicBezTo>
                <a:cubicBezTo>
                  <a:pt x="4221229" y="1432932"/>
                  <a:pt x="4220589" y="1431936"/>
                  <a:pt x="4220375" y="1433501"/>
                </a:cubicBezTo>
                <a:cubicBezTo>
                  <a:pt x="4220375" y="1433501"/>
                  <a:pt x="4220375" y="1433501"/>
                  <a:pt x="4220162" y="1435209"/>
                </a:cubicBezTo>
                <a:cubicBezTo>
                  <a:pt x="4220162" y="1435209"/>
                  <a:pt x="4220802" y="1436205"/>
                  <a:pt x="4216534" y="1435920"/>
                </a:cubicBezTo>
                <a:cubicBezTo>
                  <a:pt x="4216747" y="1434355"/>
                  <a:pt x="4217601" y="1429518"/>
                  <a:pt x="4217601" y="1429518"/>
                </a:cubicBezTo>
                <a:cubicBezTo>
                  <a:pt x="4216961" y="1428379"/>
                  <a:pt x="4216961" y="1428379"/>
                  <a:pt x="4217174" y="1426815"/>
                </a:cubicBezTo>
                <a:close/>
                <a:moveTo>
                  <a:pt x="4043877" y="1426673"/>
                </a:moveTo>
                <a:cubicBezTo>
                  <a:pt x="4045158" y="1426530"/>
                  <a:pt x="4046012" y="1426815"/>
                  <a:pt x="4046439" y="1427384"/>
                </a:cubicBezTo>
                <a:cubicBezTo>
                  <a:pt x="4047079" y="1427953"/>
                  <a:pt x="4047292" y="1428806"/>
                  <a:pt x="4047505" y="1430229"/>
                </a:cubicBezTo>
                <a:lnTo>
                  <a:pt x="4043877" y="1433501"/>
                </a:lnTo>
                <a:lnTo>
                  <a:pt x="4046865" y="1434640"/>
                </a:lnTo>
                <a:lnTo>
                  <a:pt x="4049213" y="1437627"/>
                </a:lnTo>
                <a:lnTo>
                  <a:pt x="4054122" y="1432648"/>
                </a:lnTo>
                <a:cubicBezTo>
                  <a:pt x="4057109" y="1431367"/>
                  <a:pt x="4060097" y="1431083"/>
                  <a:pt x="4063085" y="1431652"/>
                </a:cubicBezTo>
                <a:cubicBezTo>
                  <a:pt x="4068847" y="1432932"/>
                  <a:pt x="4074397" y="1437912"/>
                  <a:pt x="4076744" y="1444314"/>
                </a:cubicBezTo>
                <a:cubicBezTo>
                  <a:pt x="4079518" y="1451996"/>
                  <a:pt x="4078024" y="1462097"/>
                  <a:pt x="4067567" y="1471203"/>
                </a:cubicBezTo>
                <a:cubicBezTo>
                  <a:pt x="4055829" y="1468215"/>
                  <a:pt x="4047079" y="1459679"/>
                  <a:pt x="4045371" y="1450146"/>
                </a:cubicBezTo>
                <a:lnTo>
                  <a:pt x="4046439" y="1442179"/>
                </a:lnTo>
                <a:lnTo>
                  <a:pt x="4043024" y="1444883"/>
                </a:lnTo>
                <a:cubicBezTo>
                  <a:pt x="4039822" y="1445594"/>
                  <a:pt x="4036194" y="1444883"/>
                  <a:pt x="4033846" y="1443176"/>
                </a:cubicBezTo>
                <a:cubicBezTo>
                  <a:pt x="4032353" y="1442037"/>
                  <a:pt x="4031286" y="1440330"/>
                  <a:pt x="4031072" y="1438196"/>
                </a:cubicBezTo>
                <a:lnTo>
                  <a:pt x="4032566" y="1436632"/>
                </a:lnTo>
                <a:lnTo>
                  <a:pt x="4031499" y="1436347"/>
                </a:lnTo>
                <a:cubicBezTo>
                  <a:pt x="4029792" y="1435920"/>
                  <a:pt x="4028085" y="1435493"/>
                  <a:pt x="4028938" y="1436632"/>
                </a:cubicBezTo>
                <a:cubicBezTo>
                  <a:pt x="4024030" y="1435351"/>
                  <a:pt x="4022962" y="1435920"/>
                  <a:pt x="4021895" y="1432221"/>
                </a:cubicBezTo>
                <a:cubicBezTo>
                  <a:pt x="4030218" y="1428237"/>
                  <a:pt x="4041316" y="1426815"/>
                  <a:pt x="4043877" y="1426673"/>
                </a:cubicBezTo>
                <a:close/>
                <a:moveTo>
                  <a:pt x="1357510" y="1426617"/>
                </a:moveTo>
                <a:cubicBezTo>
                  <a:pt x="1357510" y="1426617"/>
                  <a:pt x="1357510" y="1426617"/>
                  <a:pt x="1358336" y="1426772"/>
                </a:cubicBezTo>
                <a:cubicBezTo>
                  <a:pt x="1360091" y="1426927"/>
                  <a:pt x="1360917" y="1426927"/>
                  <a:pt x="1361846" y="1427082"/>
                </a:cubicBezTo>
                <a:cubicBezTo>
                  <a:pt x="1362672" y="1428011"/>
                  <a:pt x="1364325" y="1430645"/>
                  <a:pt x="1363395" y="1431419"/>
                </a:cubicBezTo>
                <a:cubicBezTo>
                  <a:pt x="1361640" y="1432813"/>
                  <a:pt x="1359162" y="1433433"/>
                  <a:pt x="1358232" y="1432504"/>
                </a:cubicBezTo>
                <a:cubicBezTo>
                  <a:pt x="1356994" y="1431109"/>
                  <a:pt x="1355755" y="1429715"/>
                  <a:pt x="1356271" y="1428166"/>
                </a:cubicBezTo>
                <a:cubicBezTo>
                  <a:pt x="1356477" y="1427702"/>
                  <a:pt x="1356890" y="1427082"/>
                  <a:pt x="1357510" y="1426617"/>
                </a:cubicBezTo>
                <a:close/>
                <a:moveTo>
                  <a:pt x="4173850" y="1425961"/>
                </a:moveTo>
                <a:cubicBezTo>
                  <a:pt x="4173850" y="1425961"/>
                  <a:pt x="4174063" y="1425961"/>
                  <a:pt x="4174490" y="1426246"/>
                </a:cubicBezTo>
                <a:cubicBezTo>
                  <a:pt x="4174703" y="1426530"/>
                  <a:pt x="4175130" y="1427099"/>
                  <a:pt x="4174917" y="1427811"/>
                </a:cubicBezTo>
                <a:cubicBezTo>
                  <a:pt x="4174917" y="1427811"/>
                  <a:pt x="4174917" y="1427811"/>
                  <a:pt x="4174063" y="1428379"/>
                </a:cubicBezTo>
                <a:cubicBezTo>
                  <a:pt x="4174063" y="1428379"/>
                  <a:pt x="4173423" y="1427384"/>
                  <a:pt x="4173850" y="1425961"/>
                </a:cubicBezTo>
                <a:close/>
                <a:moveTo>
                  <a:pt x="1546778" y="1425843"/>
                </a:moveTo>
                <a:cubicBezTo>
                  <a:pt x="1548637" y="1430954"/>
                  <a:pt x="1552871" y="1434827"/>
                  <a:pt x="1552148" y="1437615"/>
                </a:cubicBezTo>
                <a:cubicBezTo>
                  <a:pt x="1551941" y="1438544"/>
                  <a:pt x="1551115" y="1439474"/>
                  <a:pt x="1549463" y="1440248"/>
                </a:cubicBezTo>
                <a:cubicBezTo>
                  <a:pt x="1547708" y="1438699"/>
                  <a:pt x="1543577" y="1433123"/>
                  <a:pt x="1543268" y="1429405"/>
                </a:cubicBezTo>
                <a:cubicBezTo>
                  <a:pt x="1543268" y="1428166"/>
                  <a:pt x="1543474" y="1427082"/>
                  <a:pt x="1544507" y="1426462"/>
                </a:cubicBezTo>
                <a:cubicBezTo>
                  <a:pt x="1545023" y="1425998"/>
                  <a:pt x="1545746" y="1425843"/>
                  <a:pt x="1546778" y="1425843"/>
                </a:cubicBezTo>
                <a:close/>
                <a:moveTo>
                  <a:pt x="5233906" y="1425819"/>
                </a:moveTo>
                <a:cubicBezTo>
                  <a:pt x="5236253" y="1426103"/>
                  <a:pt x="5238601" y="1427241"/>
                  <a:pt x="5240095" y="1429233"/>
                </a:cubicBezTo>
                <a:cubicBezTo>
                  <a:pt x="5241162" y="1430656"/>
                  <a:pt x="5241803" y="1432363"/>
                  <a:pt x="5242016" y="1434213"/>
                </a:cubicBezTo>
                <a:lnTo>
                  <a:pt x="5241803" y="1434497"/>
                </a:lnTo>
                <a:lnTo>
                  <a:pt x="5243510" y="1433359"/>
                </a:lnTo>
                <a:cubicBezTo>
                  <a:pt x="5244363" y="1432932"/>
                  <a:pt x="5245217" y="1432790"/>
                  <a:pt x="5245858" y="1433359"/>
                </a:cubicBezTo>
                <a:cubicBezTo>
                  <a:pt x="5246071" y="1434640"/>
                  <a:pt x="5247138" y="1434640"/>
                  <a:pt x="5247351" y="1435777"/>
                </a:cubicBezTo>
                <a:cubicBezTo>
                  <a:pt x="5248845" y="1438196"/>
                  <a:pt x="5249059" y="1439334"/>
                  <a:pt x="5247991" y="1440614"/>
                </a:cubicBezTo>
                <a:cubicBezTo>
                  <a:pt x="5248205" y="1441753"/>
                  <a:pt x="5246924" y="1441895"/>
                  <a:pt x="5246071" y="1443176"/>
                </a:cubicBezTo>
                <a:cubicBezTo>
                  <a:pt x="5244790" y="1443176"/>
                  <a:pt x="5243723" y="1442037"/>
                  <a:pt x="5243723" y="1442037"/>
                </a:cubicBezTo>
                <a:cubicBezTo>
                  <a:pt x="5242229" y="1440899"/>
                  <a:pt x="5242229" y="1440899"/>
                  <a:pt x="5241376" y="1442179"/>
                </a:cubicBezTo>
                <a:cubicBezTo>
                  <a:pt x="5241376" y="1442179"/>
                  <a:pt x="5241162" y="1441042"/>
                  <a:pt x="5241162" y="1441042"/>
                </a:cubicBezTo>
                <a:cubicBezTo>
                  <a:pt x="5241803" y="1441042"/>
                  <a:pt x="5241803" y="1441042"/>
                  <a:pt x="5241376" y="1440899"/>
                </a:cubicBezTo>
                <a:lnTo>
                  <a:pt x="5240522" y="1440188"/>
                </a:lnTo>
                <a:lnTo>
                  <a:pt x="5239668" y="1443460"/>
                </a:lnTo>
                <a:cubicBezTo>
                  <a:pt x="5235187" y="1448298"/>
                  <a:pt x="5223235" y="1443887"/>
                  <a:pt x="5222381" y="1438054"/>
                </a:cubicBezTo>
                <a:cubicBezTo>
                  <a:pt x="5223662" y="1434782"/>
                  <a:pt x="5224942" y="1431510"/>
                  <a:pt x="5226223" y="1428379"/>
                </a:cubicBezTo>
                <a:cubicBezTo>
                  <a:pt x="5228784" y="1426388"/>
                  <a:pt x="5231345" y="1425534"/>
                  <a:pt x="5233906" y="1425819"/>
                </a:cubicBezTo>
                <a:close/>
                <a:moveTo>
                  <a:pt x="5562145" y="1424681"/>
                </a:moveTo>
                <a:cubicBezTo>
                  <a:pt x="5565133" y="1424538"/>
                  <a:pt x="5567908" y="1425107"/>
                  <a:pt x="5568975" y="1426388"/>
                </a:cubicBezTo>
                <a:cubicBezTo>
                  <a:pt x="5570255" y="1438054"/>
                  <a:pt x="5561078" y="1439192"/>
                  <a:pt x="5556810" y="1433928"/>
                </a:cubicBezTo>
                <a:cubicBezTo>
                  <a:pt x="5555529" y="1432221"/>
                  <a:pt x="5554676" y="1429660"/>
                  <a:pt x="5555103" y="1426673"/>
                </a:cubicBezTo>
                <a:cubicBezTo>
                  <a:pt x="5556383" y="1425534"/>
                  <a:pt x="5559371" y="1424823"/>
                  <a:pt x="5562145" y="1424681"/>
                </a:cubicBezTo>
                <a:close/>
                <a:moveTo>
                  <a:pt x="3663563" y="1424538"/>
                </a:moveTo>
                <a:lnTo>
                  <a:pt x="3664417" y="1428806"/>
                </a:lnTo>
                <a:cubicBezTo>
                  <a:pt x="3664417" y="1430514"/>
                  <a:pt x="3663990" y="1432221"/>
                  <a:pt x="3662709" y="1433359"/>
                </a:cubicBezTo>
                <a:cubicBezTo>
                  <a:pt x="3662709" y="1433359"/>
                  <a:pt x="3662709" y="1433359"/>
                  <a:pt x="3661429" y="1434497"/>
                </a:cubicBezTo>
                <a:cubicBezTo>
                  <a:pt x="3661642" y="1432790"/>
                  <a:pt x="3661856" y="1430798"/>
                  <a:pt x="3662069" y="1428806"/>
                </a:cubicBezTo>
                <a:close/>
                <a:moveTo>
                  <a:pt x="3623227" y="1424254"/>
                </a:moveTo>
                <a:cubicBezTo>
                  <a:pt x="3625361" y="1425534"/>
                  <a:pt x="3626215" y="1426815"/>
                  <a:pt x="3627282" y="1428095"/>
                </a:cubicBezTo>
                <a:cubicBezTo>
                  <a:pt x="3628349" y="1428664"/>
                  <a:pt x="3628989" y="1429376"/>
                  <a:pt x="3628776" y="1430229"/>
                </a:cubicBezTo>
                <a:lnTo>
                  <a:pt x="3627709" y="1431936"/>
                </a:lnTo>
                <a:lnTo>
                  <a:pt x="3628136" y="1431652"/>
                </a:lnTo>
                <a:lnTo>
                  <a:pt x="3634111" y="1431936"/>
                </a:lnTo>
                <a:cubicBezTo>
                  <a:pt x="3634752" y="1431510"/>
                  <a:pt x="3635392" y="1431510"/>
                  <a:pt x="3635819" y="1431510"/>
                </a:cubicBezTo>
                <a:lnTo>
                  <a:pt x="3635819" y="1432078"/>
                </a:lnTo>
                <a:lnTo>
                  <a:pt x="3635605" y="1432078"/>
                </a:lnTo>
                <a:lnTo>
                  <a:pt x="3635179" y="1433928"/>
                </a:lnTo>
                <a:lnTo>
                  <a:pt x="3634538" y="1434497"/>
                </a:lnTo>
                <a:lnTo>
                  <a:pt x="3633258" y="1437343"/>
                </a:lnTo>
                <a:lnTo>
                  <a:pt x="3633471" y="1438765"/>
                </a:lnTo>
                <a:lnTo>
                  <a:pt x="3631337" y="1442749"/>
                </a:lnTo>
                <a:lnTo>
                  <a:pt x="3630484" y="1446306"/>
                </a:lnTo>
                <a:lnTo>
                  <a:pt x="3634965" y="1442464"/>
                </a:lnTo>
                <a:cubicBezTo>
                  <a:pt x="3639660" y="1439050"/>
                  <a:pt x="3643929" y="1437058"/>
                  <a:pt x="3647983" y="1436062"/>
                </a:cubicBezTo>
                <a:cubicBezTo>
                  <a:pt x="3650971" y="1435351"/>
                  <a:pt x="3653746" y="1435209"/>
                  <a:pt x="3656307" y="1435635"/>
                </a:cubicBezTo>
                <a:cubicBezTo>
                  <a:pt x="3663990" y="1436632"/>
                  <a:pt x="3669753" y="1441753"/>
                  <a:pt x="3673380" y="1447017"/>
                </a:cubicBezTo>
                <a:cubicBezTo>
                  <a:pt x="3672740" y="1447301"/>
                  <a:pt x="3672954" y="1448298"/>
                  <a:pt x="3673380" y="1449862"/>
                </a:cubicBezTo>
                <a:lnTo>
                  <a:pt x="3674234" y="1453277"/>
                </a:lnTo>
                <a:lnTo>
                  <a:pt x="3675301" y="1450289"/>
                </a:lnTo>
                <a:cubicBezTo>
                  <a:pt x="3675728" y="1448440"/>
                  <a:pt x="3675728" y="1446732"/>
                  <a:pt x="3675088" y="1446163"/>
                </a:cubicBezTo>
                <a:cubicBezTo>
                  <a:pt x="3676155" y="1446163"/>
                  <a:pt x="3677222" y="1444883"/>
                  <a:pt x="3677222" y="1444883"/>
                </a:cubicBezTo>
                <a:cubicBezTo>
                  <a:pt x="3678503" y="1446021"/>
                  <a:pt x="3678503" y="1447159"/>
                  <a:pt x="3678716" y="1448298"/>
                </a:cubicBezTo>
                <a:cubicBezTo>
                  <a:pt x="3677863" y="1449578"/>
                  <a:pt x="3676582" y="1449578"/>
                  <a:pt x="3675728" y="1450858"/>
                </a:cubicBezTo>
                <a:cubicBezTo>
                  <a:pt x="3675728" y="1452138"/>
                  <a:pt x="3676155" y="1454415"/>
                  <a:pt x="3675301" y="1455695"/>
                </a:cubicBezTo>
                <a:lnTo>
                  <a:pt x="3675088" y="1455837"/>
                </a:lnTo>
                <a:cubicBezTo>
                  <a:pt x="3676368" y="1460817"/>
                  <a:pt x="3677222" y="1467077"/>
                  <a:pt x="3674875" y="1473479"/>
                </a:cubicBezTo>
                <a:cubicBezTo>
                  <a:pt x="3673167" y="1477747"/>
                  <a:pt x="3670180" y="1482015"/>
                  <a:pt x="3664844" y="1485856"/>
                </a:cubicBezTo>
                <a:cubicBezTo>
                  <a:pt x="3658654" y="1489982"/>
                  <a:pt x="3651612" y="1493397"/>
                  <a:pt x="3644782" y="1492970"/>
                </a:cubicBezTo>
                <a:lnTo>
                  <a:pt x="3641155" y="1491832"/>
                </a:lnTo>
                <a:lnTo>
                  <a:pt x="3641795" y="1498376"/>
                </a:lnTo>
                <a:cubicBezTo>
                  <a:pt x="3641368" y="1501221"/>
                  <a:pt x="3640300" y="1503925"/>
                  <a:pt x="3637953" y="1506058"/>
                </a:cubicBezTo>
                <a:cubicBezTo>
                  <a:pt x="3627495" y="1506770"/>
                  <a:pt x="3620026" y="1492258"/>
                  <a:pt x="3619599" y="1483865"/>
                </a:cubicBezTo>
                <a:cubicBezTo>
                  <a:pt x="3621306" y="1481731"/>
                  <a:pt x="3623013" y="1480308"/>
                  <a:pt x="3624721" y="1479454"/>
                </a:cubicBezTo>
                <a:lnTo>
                  <a:pt x="3625575" y="1479312"/>
                </a:lnTo>
                <a:lnTo>
                  <a:pt x="3625148" y="1478458"/>
                </a:lnTo>
                <a:cubicBezTo>
                  <a:pt x="3621520" y="1474902"/>
                  <a:pt x="3623653" y="1475613"/>
                  <a:pt x="3622373" y="1472767"/>
                </a:cubicBezTo>
                <a:cubicBezTo>
                  <a:pt x="3620879" y="1469922"/>
                  <a:pt x="3617465" y="1466366"/>
                  <a:pt x="3615330" y="1465654"/>
                </a:cubicBezTo>
                <a:lnTo>
                  <a:pt x="3617678" y="1463236"/>
                </a:lnTo>
                <a:lnTo>
                  <a:pt x="3616611" y="1461386"/>
                </a:lnTo>
                <a:cubicBezTo>
                  <a:pt x="3618318" y="1460959"/>
                  <a:pt x="3616825" y="1457118"/>
                  <a:pt x="3617251" y="1454415"/>
                </a:cubicBezTo>
                <a:cubicBezTo>
                  <a:pt x="3618318" y="1452850"/>
                  <a:pt x="3619172" y="1451427"/>
                  <a:pt x="3620026" y="1450431"/>
                </a:cubicBezTo>
                <a:lnTo>
                  <a:pt x="3620239" y="1450289"/>
                </a:lnTo>
                <a:lnTo>
                  <a:pt x="3619599" y="1442464"/>
                </a:lnTo>
                <a:cubicBezTo>
                  <a:pt x="3619813" y="1438765"/>
                  <a:pt x="3620879" y="1435635"/>
                  <a:pt x="3623227" y="1433643"/>
                </a:cubicBezTo>
                <a:lnTo>
                  <a:pt x="3626215" y="1432363"/>
                </a:lnTo>
                <a:lnTo>
                  <a:pt x="3623653" y="1429091"/>
                </a:lnTo>
                <a:cubicBezTo>
                  <a:pt x="3622800" y="1427384"/>
                  <a:pt x="3622373" y="1425534"/>
                  <a:pt x="3623227" y="1424254"/>
                </a:cubicBezTo>
                <a:close/>
                <a:moveTo>
                  <a:pt x="1052801" y="1424139"/>
                </a:moveTo>
                <a:cubicBezTo>
                  <a:pt x="1055589" y="1428011"/>
                  <a:pt x="1051562" y="1433433"/>
                  <a:pt x="1047225" y="1432813"/>
                </a:cubicBezTo>
                <a:cubicBezTo>
                  <a:pt x="1046502" y="1431884"/>
                  <a:pt x="1045056" y="1430800"/>
                  <a:pt x="1044540" y="1429096"/>
                </a:cubicBezTo>
                <a:cubicBezTo>
                  <a:pt x="1046295" y="1425069"/>
                  <a:pt x="1049393" y="1423674"/>
                  <a:pt x="1052801" y="1424139"/>
                </a:cubicBezTo>
                <a:close/>
                <a:moveTo>
                  <a:pt x="1223793" y="1423829"/>
                </a:moveTo>
                <a:cubicBezTo>
                  <a:pt x="1229678" y="1427237"/>
                  <a:pt x="1224826" y="1432349"/>
                  <a:pt x="1221315" y="1431884"/>
                </a:cubicBezTo>
                <a:cubicBezTo>
                  <a:pt x="1220592" y="1431109"/>
                  <a:pt x="1219972" y="1430180"/>
                  <a:pt x="1219766" y="1429250"/>
                </a:cubicBezTo>
                <a:cubicBezTo>
                  <a:pt x="1219250" y="1426617"/>
                  <a:pt x="1221108" y="1423984"/>
                  <a:pt x="1223793" y="1423829"/>
                </a:cubicBezTo>
                <a:close/>
                <a:moveTo>
                  <a:pt x="5538242" y="1423542"/>
                </a:moveTo>
                <a:cubicBezTo>
                  <a:pt x="5549981" y="1426957"/>
                  <a:pt x="5548700" y="1441610"/>
                  <a:pt x="5541230" y="1443603"/>
                </a:cubicBezTo>
                <a:cubicBezTo>
                  <a:pt x="5538670" y="1444314"/>
                  <a:pt x="5535468" y="1443460"/>
                  <a:pt x="5531840" y="1440330"/>
                </a:cubicBezTo>
                <a:cubicBezTo>
                  <a:pt x="5535255" y="1433217"/>
                  <a:pt x="5532267" y="1427668"/>
                  <a:pt x="5538242" y="1423542"/>
                </a:cubicBezTo>
                <a:close/>
                <a:moveTo>
                  <a:pt x="4131380" y="1423542"/>
                </a:moveTo>
                <a:cubicBezTo>
                  <a:pt x="4135647" y="1424538"/>
                  <a:pt x="4141623" y="1428806"/>
                  <a:pt x="4144185" y="1431510"/>
                </a:cubicBezTo>
                <a:cubicBezTo>
                  <a:pt x="4140983" y="1433643"/>
                  <a:pt x="4131593" y="1427526"/>
                  <a:pt x="4127964" y="1423827"/>
                </a:cubicBezTo>
                <a:cubicBezTo>
                  <a:pt x="4128818" y="1423258"/>
                  <a:pt x="4130099" y="1423116"/>
                  <a:pt x="4131380" y="1423542"/>
                </a:cubicBezTo>
                <a:close/>
                <a:moveTo>
                  <a:pt x="4794902" y="1422547"/>
                </a:moveTo>
                <a:cubicBezTo>
                  <a:pt x="4797035" y="1425392"/>
                  <a:pt x="4799597" y="1422404"/>
                  <a:pt x="4801518" y="1426530"/>
                </a:cubicBezTo>
                <a:cubicBezTo>
                  <a:pt x="4800237" y="1435920"/>
                  <a:pt x="4780176" y="1445879"/>
                  <a:pt x="4772065" y="1435493"/>
                </a:cubicBezTo>
                <a:cubicBezTo>
                  <a:pt x="4779535" y="1432363"/>
                  <a:pt x="4786792" y="1430371"/>
                  <a:pt x="4794902" y="1422547"/>
                </a:cubicBezTo>
                <a:close/>
                <a:moveTo>
                  <a:pt x="1594341" y="1422338"/>
                </a:moveTo>
                <a:cubicBezTo>
                  <a:pt x="1596626" y="1421273"/>
                  <a:pt x="1599388" y="1421351"/>
                  <a:pt x="1601401" y="1423365"/>
                </a:cubicBezTo>
                <a:cubicBezTo>
                  <a:pt x="1600472" y="1425069"/>
                  <a:pt x="1600369" y="1426772"/>
                  <a:pt x="1599439" y="1428476"/>
                </a:cubicBezTo>
                <a:cubicBezTo>
                  <a:pt x="1596032" y="1428631"/>
                  <a:pt x="1593347" y="1432193"/>
                  <a:pt x="1590146" y="1428166"/>
                </a:cubicBezTo>
                <a:cubicBezTo>
                  <a:pt x="1590249" y="1425611"/>
                  <a:pt x="1592056" y="1423403"/>
                  <a:pt x="1594341" y="1422338"/>
                </a:cubicBezTo>
                <a:close/>
                <a:moveTo>
                  <a:pt x="3688534" y="1421835"/>
                </a:moveTo>
                <a:cubicBezTo>
                  <a:pt x="3690881" y="1420697"/>
                  <a:pt x="3701552" y="1428379"/>
                  <a:pt x="3697070" y="1431652"/>
                </a:cubicBezTo>
                <a:cubicBezTo>
                  <a:pt x="3692588" y="1433786"/>
                  <a:pt x="3687680" y="1424111"/>
                  <a:pt x="3688534" y="1421835"/>
                </a:cubicBezTo>
                <a:close/>
                <a:moveTo>
                  <a:pt x="3855214" y="1421693"/>
                </a:moveTo>
                <a:cubicBezTo>
                  <a:pt x="3855427" y="1423400"/>
                  <a:pt x="3855641" y="1424965"/>
                  <a:pt x="3856495" y="1423969"/>
                </a:cubicBezTo>
                <a:cubicBezTo>
                  <a:pt x="3856708" y="1425534"/>
                  <a:pt x="3856495" y="1426957"/>
                  <a:pt x="3855855" y="1428095"/>
                </a:cubicBezTo>
                <a:cubicBezTo>
                  <a:pt x="3855427" y="1429091"/>
                  <a:pt x="3854574" y="1430087"/>
                  <a:pt x="3853294" y="1430798"/>
                </a:cubicBezTo>
                <a:cubicBezTo>
                  <a:pt x="3851799" y="1431225"/>
                  <a:pt x="3849879" y="1429945"/>
                  <a:pt x="3847744" y="1427099"/>
                </a:cubicBezTo>
                <a:cubicBezTo>
                  <a:pt x="3848171" y="1424538"/>
                  <a:pt x="3852866" y="1423258"/>
                  <a:pt x="3855214" y="1421693"/>
                </a:cubicBezTo>
                <a:close/>
                <a:moveTo>
                  <a:pt x="3964485" y="1420697"/>
                </a:moveTo>
                <a:cubicBezTo>
                  <a:pt x="3965766" y="1420412"/>
                  <a:pt x="3967687" y="1421551"/>
                  <a:pt x="3970034" y="1422974"/>
                </a:cubicBezTo>
                <a:cubicBezTo>
                  <a:pt x="3968113" y="1427811"/>
                  <a:pt x="3965552" y="1427811"/>
                  <a:pt x="3961071" y="1426246"/>
                </a:cubicBezTo>
                <a:cubicBezTo>
                  <a:pt x="3962137" y="1422404"/>
                  <a:pt x="3963205" y="1420839"/>
                  <a:pt x="3964485" y="1420697"/>
                </a:cubicBezTo>
                <a:close/>
                <a:moveTo>
                  <a:pt x="5762547" y="1420555"/>
                </a:moveTo>
                <a:cubicBezTo>
                  <a:pt x="5762333" y="1423258"/>
                  <a:pt x="5763827" y="1423684"/>
                  <a:pt x="5761480" y="1427384"/>
                </a:cubicBezTo>
                <a:cubicBezTo>
                  <a:pt x="5759985" y="1426815"/>
                  <a:pt x="5758492" y="1426388"/>
                  <a:pt x="5757211" y="1425819"/>
                </a:cubicBezTo>
                <a:cubicBezTo>
                  <a:pt x="5758278" y="1422689"/>
                  <a:pt x="5759559" y="1419559"/>
                  <a:pt x="5762547" y="1420555"/>
                </a:cubicBezTo>
                <a:close/>
                <a:moveTo>
                  <a:pt x="3621520" y="1420270"/>
                </a:moveTo>
                <a:cubicBezTo>
                  <a:pt x="3621946" y="1420412"/>
                  <a:pt x="3622160" y="1420697"/>
                  <a:pt x="3622160" y="1420697"/>
                </a:cubicBezTo>
                <a:cubicBezTo>
                  <a:pt x="3622587" y="1421266"/>
                  <a:pt x="3623227" y="1421835"/>
                  <a:pt x="3623441" y="1422404"/>
                </a:cubicBezTo>
                <a:cubicBezTo>
                  <a:pt x="3623653" y="1423116"/>
                  <a:pt x="3623653" y="1423684"/>
                  <a:pt x="3623013" y="1424254"/>
                </a:cubicBezTo>
                <a:cubicBezTo>
                  <a:pt x="3623013" y="1424254"/>
                  <a:pt x="3621733" y="1424254"/>
                  <a:pt x="3619813" y="1421835"/>
                </a:cubicBezTo>
                <a:cubicBezTo>
                  <a:pt x="3620879" y="1421835"/>
                  <a:pt x="3621093" y="1420697"/>
                  <a:pt x="3621093" y="1420697"/>
                </a:cubicBezTo>
                <a:cubicBezTo>
                  <a:pt x="3621093" y="1420697"/>
                  <a:pt x="3621093" y="1420555"/>
                  <a:pt x="3620026" y="1420555"/>
                </a:cubicBezTo>
                <a:cubicBezTo>
                  <a:pt x="3620453" y="1419986"/>
                  <a:pt x="3621093" y="1420128"/>
                  <a:pt x="3621520" y="1420270"/>
                </a:cubicBezTo>
                <a:close/>
                <a:moveTo>
                  <a:pt x="967614" y="1420267"/>
                </a:moveTo>
                <a:cubicBezTo>
                  <a:pt x="969989" y="1419492"/>
                  <a:pt x="975771" y="1419957"/>
                  <a:pt x="978559" y="1423519"/>
                </a:cubicBezTo>
                <a:cubicBezTo>
                  <a:pt x="977320" y="1428631"/>
                  <a:pt x="973810" y="1429096"/>
                  <a:pt x="968750" y="1426462"/>
                </a:cubicBezTo>
                <a:cubicBezTo>
                  <a:pt x="968750" y="1424604"/>
                  <a:pt x="968027" y="1423055"/>
                  <a:pt x="967614" y="1420267"/>
                </a:cubicBezTo>
                <a:close/>
                <a:moveTo>
                  <a:pt x="5128050" y="1419843"/>
                </a:moveTo>
                <a:cubicBezTo>
                  <a:pt x="5128263" y="1421124"/>
                  <a:pt x="5128690" y="1423400"/>
                  <a:pt x="5131038" y="1424538"/>
                </a:cubicBezTo>
                <a:cubicBezTo>
                  <a:pt x="5129117" y="1426957"/>
                  <a:pt x="5127196" y="1429518"/>
                  <a:pt x="5124635" y="1427241"/>
                </a:cubicBezTo>
                <a:cubicBezTo>
                  <a:pt x="5123355" y="1426103"/>
                  <a:pt x="5122074" y="1424965"/>
                  <a:pt x="5121647" y="1422689"/>
                </a:cubicBezTo>
                <a:cubicBezTo>
                  <a:pt x="5123568" y="1420128"/>
                  <a:pt x="5127196" y="1421124"/>
                  <a:pt x="5128050" y="1419843"/>
                </a:cubicBezTo>
                <a:close/>
                <a:moveTo>
                  <a:pt x="986820" y="1419647"/>
                </a:moveTo>
                <a:cubicBezTo>
                  <a:pt x="987439" y="1419492"/>
                  <a:pt x="988266" y="1419647"/>
                  <a:pt x="989195" y="1419957"/>
                </a:cubicBezTo>
                <a:cubicBezTo>
                  <a:pt x="988988" y="1425223"/>
                  <a:pt x="991570" y="1430180"/>
                  <a:pt x="989711" y="1432504"/>
                </a:cubicBezTo>
                <a:cubicBezTo>
                  <a:pt x="989092" y="1433278"/>
                  <a:pt x="988059" y="1433588"/>
                  <a:pt x="986200" y="1433743"/>
                </a:cubicBezTo>
                <a:cubicBezTo>
                  <a:pt x="985478" y="1432349"/>
                  <a:pt x="984342" y="1429096"/>
                  <a:pt x="984135" y="1425998"/>
                </a:cubicBezTo>
                <a:cubicBezTo>
                  <a:pt x="983825" y="1422900"/>
                  <a:pt x="984445" y="1420112"/>
                  <a:pt x="986820" y="1419647"/>
                </a:cubicBezTo>
                <a:close/>
                <a:moveTo>
                  <a:pt x="4640172" y="1419417"/>
                </a:moveTo>
                <a:cubicBezTo>
                  <a:pt x="4641666" y="1419843"/>
                  <a:pt x="4642520" y="1420982"/>
                  <a:pt x="4642520" y="1420982"/>
                </a:cubicBezTo>
                <a:cubicBezTo>
                  <a:pt x="4642520" y="1425250"/>
                  <a:pt x="4641239" y="1429091"/>
                  <a:pt x="4636544" y="1427811"/>
                </a:cubicBezTo>
                <a:cubicBezTo>
                  <a:pt x="4634837" y="1427384"/>
                  <a:pt x="4633343" y="1426957"/>
                  <a:pt x="4634196" y="1426388"/>
                </a:cubicBezTo>
                <a:cubicBezTo>
                  <a:pt x="4633556" y="1425392"/>
                  <a:pt x="4634410" y="1424681"/>
                  <a:pt x="4634623" y="1423116"/>
                </a:cubicBezTo>
                <a:cubicBezTo>
                  <a:pt x="4635903" y="1420839"/>
                  <a:pt x="4638465" y="1418990"/>
                  <a:pt x="4640172" y="1419417"/>
                </a:cubicBezTo>
                <a:close/>
                <a:moveTo>
                  <a:pt x="4621178" y="1419274"/>
                </a:moveTo>
                <a:cubicBezTo>
                  <a:pt x="4625446" y="1421693"/>
                  <a:pt x="4626300" y="1427811"/>
                  <a:pt x="4624592" y="1432078"/>
                </a:cubicBezTo>
                <a:lnTo>
                  <a:pt x="4623739" y="1433217"/>
                </a:lnTo>
                <a:lnTo>
                  <a:pt x="4623739" y="1436489"/>
                </a:lnTo>
                <a:cubicBezTo>
                  <a:pt x="4623099" y="1437769"/>
                  <a:pt x="4621604" y="1438481"/>
                  <a:pt x="4619470" y="1438338"/>
                </a:cubicBezTo>
                <a:cubicBezTo>
                  <a:pt x="4616056" y="1437769"/>
                  <a:pt x="4614348" y="1436062"/>
                  <a:pt x="4613495" y="1433501"/>
                </a:cubicBezTo>
                <a:lnTo>
                  <a:pt x="4613068" y="1428237"/>
                </a:lnTo>
                <a:lnTo>
                  <a:pt x="4611147" y="1429802"/>
                </a:lnTo>
                <a:cubicBezTo>
                  <a:pt x="4608373" y="1431225"/>
                  <a:pt x="4607519" y="1428806"/>
                  <a:pt x="4605598" y="1424965"/>
                </a:cubicBezTo>
                <a:cubicBezTo>
                  <a:pt x="4607519" y="1423400"/>
                  <a:pt x="4609226" y="1422974"/>
                  <a:pt x="4610507" y="1423400"/>
                </a:cubicBezTo>
                <a:lnTo>
                  <a:pt x="4612854" y="1425534"/>
                </a:lnTo>
                <a:lnTo>
                  <a:pt x="4612641" y="1424538"/>
                </a:lnTo>
                <a:cubicBezTo>
                  <a:pt x="4615202" y="1424111"/>
                  <a:pt x="4616909" y="1422831"/>
                  <a:pt x="4619470" y="1422404"/>
                </a:cubicBezTo>
                <a:close/>
                <a:moveTo>
                  <a:pt x="1085946" y="1418717"/>
                </a:moveTo>
                <a:cubicBezTo>
                  <a:pt x="1089354" y="1418717"/>
                  <a:pt x="1092038" y="1421971"/>
                  <a:pt x="1089663" y="1425533"/>
                </a:cubicBezTo>
                <a:cubicBezTo>
                  <a:pt x="1084707" y="1425069"/>
                  <a:pt x="1083055" y="1423055"/>
                  <a:pt x="1082538" y="1420112"/>
                </a:cubicBezTo>
                <a:cubicBezTo>
                  <a:pt x="1083571" y="1419182"/>
                  <a:pt x="1084810" y="1418872"/>
                  <a:pt x="1085946" y="1418717"/>
                </a:cubicBezTo>
                <a:close/>
                <a:moveTo>
                  <a:pt x="1704038" y="1418408"/>
                </a:moveTo>
                <a:cubicBezTo>
                  <a:pt x="1705690" y="1418563"/>
                  <a:pt x="1708065" y="1421506"/>
                  <a:pt x="1709613" y="1423365"/>
                </a:cubicBezTo>
                <a:cubicBezTo>
                  <a:pt x="1709407" y="1425843"/>
                  <a:pt x="1707445" y="1428166"/>
                  <a:pt x="1704761" y="1429405"/>
                </a:cubicBezTo>
                <a:cubicBezTo>
                  <a:pt x="1703315" y="1427392"/>
                  <a:pt x="1702592" y="1425688"/>
                  <a:pt x="1702489" y="1423829"/>
                </a:cubicBezTo>
                <a:cubicBezTo>
                  <a:pt x="1702386" y="1421971"/>
                  <a:pt x="1703005" y="1420267"/>
                  <a:pt x="1704038" y="1418408"/>
                </a:cubicBezTo>
                <a:close/>
                <a:moveTo>
                  <a:pt x="1580646" y="1418408"/>
                </a:moveTo>
                <a:cubicBezTo>
                  <a:pt x="1581782" y="1418098"/>
                  <a:pt x="1583331" y="1418717"/>
                  <a:pt x="1584467" y="1420267"/>
                </a:cubicBezTo>
                <a:cubicBezTo>
                  <a:pt x="1583228" y="1420576"/>
                  <a:pt x="1583125" y="1422590"/>
                  <a:pt x="1581886" y="1423055"/>
                </a:cubicBezTo>
                <a:cubicBezTo>
                  <a:pt x="1581886" y="1423055"/>
                  <a:pt x="1579098" y="1422745"/>
                  <a:pt x="1579098" y="1422745"/>
                </a:cubicBezTo>
                <a:cubicBezTo>
                  <a:pt x="1578994" y="1422126"/>
                  <a:pt x="1578891" y="1421815"/>
                  <a:pt x="1578891" y="1421815"/>
                </a:cubicBezTo>
                <a:cubicBezTo>
                  <a:pt x="1578994" y="1421661"/>
                  <a:pt x="1579201" y="1421815"/>
                  <a:pt x="1579614" y="1421971"/>
                </a:cubicBezTo>
                <a:cubicBezTo>
                  <a:pt x="1579717" y="1419957"/>
                  <a:pt x="1580130" y="1419182"/>
                  <a:pt x="1580646" y="1418408"/>
                </a:cubicBezTo>
                <a:close/>
                <a:moveTo>
                  <a:pt x="1157296" y="1418098"/>
                </a:moveTo>
                <a:cubicBezTo>
                  <a:pt x="1159155" y="1416704"/>
                  <a:pt x="1162046" y="1416704"/>
                  <a:pt x="1163491" y="1420267"/>
                </a:cubicBezTo>
                <a:cubicBezTo>
                  <a:pt x="1160600" y="1422435"/>
                  <a:pt x="1158741" y="1423829"/>
                  <a:pt x="1156883" y="1424294"/>
                </a:cubicBezTo>
                <a:cubicBezTo>
                  <a:pt x="1155644" y="1423210"/>
                  <a:pt x="1155334" y="1422126"/>
                  <a:pt x="1155437" y="1420886"/>
                </a:cubicBezTo>
                <a:cubicBezTo>
                  <a:pt x="1155644" y="1419802"/>
                  <a:pt x="1156367" y="1418717"/>
                  <a:pt x="1157296" y="1418098"/>
                </a:cubicBezTo>
                <a:close/>
                <a:moveTo>
                  <a:pt x="4109824" y="1417710"/>
                </a:moveTo>
                <a:cubicBezTo>
                  <a:pt x="4111105" y="1418990"/>
                  <a:pt x="4110891" y="1421409"/>
                  <a:pt x="4111958" y="1422831"/>
                </a:cubicBezTo>
                <a:cubicBezTo>
                  <a:pt x="4110891" y="1422547"/>
                  <a:pt x="4109397" y="1423542"/>
                  <a:pt x="4108330" y="1423400"/>
                </a:cubicBezTo>
                <a:cubicBezTo>
                  <a:pt x="4106196" y="1420697"/>
                  <a:pt x="4108757" y="1417425"/>
                  <a:pt x="4109824" y="1417710"/>
                </a:cubicBezTo>
                <a:close/>
                <a:moveTo>
                  <a:pt x="3483864" y="1417710"/>
                </a:moveTo>
                <a:lnTo>
                  <a:pt x="3484078" y="1421409"/>
                </a:lnTo>
                <a:lnTo>
                  <a:pt x="3485571" y="1421693"/>
                </a:lnTo>
                <a:cubicBezTo>
                  <a:pt x="3486425" y="1422262"/>
                  <a:pt x="3486852" y="1422974"/>
                  <a:pt x="3487278" y="1424111"/>
                </a:cubicBezTo>
                <a:cubicBezTo>
                  <a:pt x="3486638" y="1423684"/>
                  <a:pt x="3485358" y="1423542"/>
                  <a:pt x="3484291" y="1423258"/>
                </a:cubicBezTo>
                <a:lnTo>
                  <a:pt x="3484078" y="1423258"/>
                </a:lnTo>
                <a:lnTo>
                  <a:pt x="3484718" y="1431367"/>
                </a:lnTo>
                <a:cubicBezTo>
                  <a:pt x="3485144" y="1436205"/>
                  <a:pt x="3484078" y="1441184"/>
                  <a:pt x="3483437" y="1442322"/>
                </a:cubicBezTo>
                <a:lnTo>
                  <a:pt x="3483010" y="1442322"/>
                </a:lnTo>
                <a:lnTo>
                  <a:pt x="3483010" y="1442606"/>
                </a:lnTo>
                <a:lnTo>
                  <a:pt x="3483010" y="1442749"/>
                </a:lnTo>
                <a:lnTo>
                  <a:pt x="3483223" y="1445309"/>
                </a:lnTo>
                <a:lnTo>
                  <a:pt x="3483864" y="1445309"/>
                </a:lnTo>
                <a:cubicBezTo>
                  <a:pt x="3484504" y="1445452"/>
                  <a:pt x="3485571" y="1445879"/>
                  <a:pt x="3486211" y="1446590"/>
                </a:cubicBezTo>
                <a:cubicBezTo>
                  <a:pt x="3486852" y="1447159"/>
                  <a:pt x="3487278" y="1447871"/>
                  <a:pt x="3486852" y="1448724"/>
                </a:cubicBezTo>
                <a:cubicBezTo>
                  <a:pt x="3485998" y="1449435"/>
                  <a:pt x="3486425" y="1450431"/>
                  <a:pt x="3485358" y="1451000"/>
                </a:cubicBezTo>
                <a:lnTo>
                  <a:pt x="3484291" y="1452423"/>
                </a:lnTo>
                <a:lnTo>
                  <a:pt x="3484718" y="1455695"/>
                </a:lnTo>
                <a:lnTo>
                  <a:pt x="3484931" y="1464516"/>
                </a:lnTo>
                <a:lnTo>
                  <a:pt x="3493894" y="1453988"/>
                </a:lnTo>
                <a:lnTo>
                  <a:pt x="3489840" y="1451854"/>
                </a:lnTo>
                <a:cubicBezTo>
                  <a:pt x="3488346" y="1450716"/>
                  <a:pt x="3487492" y="1449151"/>
                  <a:pt x="3486852" y="1447159"/>
                </a:cubicBezTo>
                <a:cubicBezTo>
                  <a:pt x="3488132" y="1445879"/>
                  <a:pt x="3489413" y="1445168"/>
                  <a:pt x="3491120" y="1444883"/>
                </a:cubicBezTo>
                <a:lnTo>
                  <a:pt x="3495389" y="1445025"/>
                </a:lnTo>
                <a:lnTo>
                  <a:pt x="3494749" y="1436347"/>
                </a:lnTo>
                <a:lnTo>
                  <a:pt x="3499017" y="1423400"/>
                </a:lnTo>
                <a:lnTo>
                  <a:pt x="3491974" y="1420839"/>
                </a:lnTo>
                <a:lnTo>
                  <a:pt x="3489626" y="1419843"/>
                </a:lnTo>
                <a:lnTo>
                  <a:pt x="3489626" y="1421266"/>
                </a:lnTo>
                <a:lnTo>
                  <a:pt x="3489199" y="1419701"/>
                </a:lnTo>
                <a:close/>
                <a:moveTo>
                  <a:pt x="1122395" y="1417479"/>
                </a:moveTo>
                <a:cubicBezTo>
                  <a:pt x="1126319" y="1421506"/>
                  <a:pt x="1121982" y="1424139"/>
                  <a:pt x="1120743" y="1429250"/>
                </a:cubicBezTo>
                <a:cubicBezTo>
                  <a:pt x="1118472" y="1428476"/>
                  <a:pt x="1117232" y="1426152"/>
                  <a:pt x="1116820" y="1423984"/>
                </a:cubicBezTo>
                <a:cubicBezTo>
                  <a:pt x="1116510" y="1421661"/>
                  <a:pt x="1117026" y="1419337"/>
                  <a:pt x="1118472" y="1418098"/>
                </a:cubicBezTo>
                <a:cubicBezTo>
                  <a:pt x="1119401" y="1417323"/>
                  <a:pt x="1120743" y="1416859"/>
                  <a:pt x="1122395" y="1417479"/>
                </a:cubicBezTo>
                <a:close/>
                <a:moveTo>
                  <a:pt x="4600049" y="1417425"/>
                </a:moveTo>
                <a:cubicBezTo>
                  <a:pt x="4601116" y="1417567"/>
                  <a:pt x="4602183" y="1418279"/>
                  <a:pt x="4603464" y="1419559"/>
                </a:cubicBezTo>
                <a:cubicBezTo>
                  <a:pt x="4604531" y="1419559"/>
                  <a:pt x="4605812" y="1424396"/>
                  <a:pt x="4604745" y="1425534"/>
                </a:cubicBezTo>
                <a:cubicBezTo>
                  <a:pt x="4602610" y="1429091"/>
                  <a:pt x="4599195" y="1426388"/>
                  <a:pt x="4594500" y="1424965"/>
                </a:cubicBezTo>
                <a:cubicBezTo>
                  <a:pt x="4595567" y="1423827"/>
                  <a:pt x="4594500" y="1422689"/>
                  <a:pt x="4593219" y="1421409"/>
                </a:cubicBezTo>
                <a:cubicBezTo>
                  <a:pt x="4594927" y="1419701"/>
                  <a:pt x="4597062" y="1416714"/>
                  <a:pt x="4600049" y="1417425"/>
                </a:cubicBezTo>
                <a:close/>
                <a:moveTo>
                  <a:pt x="1552251" y="1417323"/>
                </a:moveTo>
                <a:cubicBezTo>
                  <a:pt x="1555349" y="1415155"/>
                  <a:pt x="1559995" y="1416859"/>
                  <a:pt x="1560821" y="1420267"/>
                </a:cubicBezTo>
                <a:cubicBezTo>
                  <a:pt x="1561131" y="1421661"/>
                  <a:pt x="1560821" y="1423519"/>
                  <a:pt x="1559169" y="1425378"/>
                </a:cubicBezTo>
                <a:cubicBezTo>
                  <a:pt x="1554936" y="1426152"/>
                  <a:pt x="1552871" y="1422126"/>
                  <a:pt x="1549876" y="1421041"/>
                </a:cubicBezTo>
                <a:cubicBezTo>
                  <a:pt x="1550393" y="1419182"/>
                  <a:pt x="1551218" y="1418098"/>
                  <a:pt x="1552251" y="1417323"/>
                </a:cubicBezTo>
                <a:close/>
                <a:moveTo>
                  <a:pt x="1411823" y="1417169"/>
                </a:moveTo>
                <a:cubicBezTo>
                  <a:pt x="1413474" y="1419182"/>
                  <a:pt x="1418018" y="1419647"/>
                  <a:pt x="1416366" y="1423829"/>
                </a:cubicBezTo>
                <a:cubicBezTo>
                  <a:pt x="1404801" y="1423365"/>
                  <a:pt x="1399845" y="1438544"/>
                  <a:pt x="1390242" y="1435292"/>
                </a:cubicBezTo>
                <a:cubicBezTo>
                  <a:pt x="1395714" y="1428321"/>
                  <a:pt x="1399845" y="1420576"/>
                  <a:pt x="1411823" y="1417169"/>
                </a:cubicBezTo>
                <a:close/>
                <a:moveTo>
                  <a:pt x="5424063" y="1416002"/>
                </a:moveTo>
                <a:cubicBezTo>
                  <a:pt x="5427691" y="1419559"/>
                  <a:pt x="5431106" y="1423684"/>
                  <a:pt x="5433453" y="1428948"/>
                </a:cubicBezTo>
                <a:cubicBezTo>
                  <a:pt x="5436014" y="1434070"/>
                  <a:pt x="5437508" y="1440330"/>
                  <a:pt x="5437508" y="1448013"/>
                </a:cubicBezTo>
                <a:cubicBezTo>
                  <a:pt x="5431533" y="1453845"/>
                  <a:pt x="5425770" y="1451712"/>
                  <a:pt x="5421929" y="1446306"/>
                </a:cubicBezTo>
                <a:cubicBezTo>
                  <a:pt x="5415313" y="1437485"/>
                  <a:pt x="5413392" y="1419986"/>
                  <a:pt x="5424063" y="1416002"/>
                </a:cubicBezTo>
                <a:close/>
                <a:moveTo>
                  <a:pt x="4494406" y="1416002"/>
                </a:moveTo>
                <a:cubicBezTo>
                  <a:pt x="4499315" y="1416287"/>
                  <a:pt x="4504437" y="1419701"/>
                  <a:pt x="4507639" y="1423542"/>
                </a:cubicBezTo>
                <a:lnTo>
                  <a:pt x="4508706" y="1425677"/>
                </a:lnTo>
                <a:lnTo>
                  <a:pt x="4513187" y="1423542"/>
                </a:lnTo>
                <a:cubicBezTo>
                  <a:pt x="4513401" y="1424396"/>
                  <a:pt x="4512974" y="1424823"/>
                  <a:pt x="4512547" y="1425250"/>
                </a:cubicBezTo>
                <a:cubicBezTo>
                  <a:pt x="4511907" y="1425534"/>
                  <a:pt x="4511053" y="1425819"/>
                  <a:pt x="4510199" y="1426103"/>
                </a:cubicBezTo>
                <a:lnTo>
                  <a:pt x="4508919" y="1426388"/>
                </a:lnTo>
                <a:lnTo>
                  <a:pt x="4510199" y="1428806"/>
                </a:lnTo>
                <a:cubicBezTo>
                  <a:pt x="4507852" y="1433928"/>
                  <a:pt x="4504864" y="1436632"/>
                  <a:pt x="4501876" y="1437627"/>
                </a:cubicBezTo>
                <a:cubicBezTo>
                  <a:pt x="4492699" y="1440614"/>
                  <a:pt x="4483095" y="1427811"/>
                  <a:pt x="4489925" y="1416714"/>
                </a:cubicBezTo>
                <a:cubicBezTo>
                  <a:pt x="4491419" y="1416145"/>
                  <a:pt x="4492912" y="1415860"/>
                  <a:pt x="4494406" y="1416002"/>
                </a:cubicBezTo>
                <a:close/>
                <a:moveTo>
                  <a:pt x="5454368" y="1415718"/>
                </a:moveTo>
                <a:cubicBezTo>
                  <a:pt x="5456503" y="1416002"/>
                  <a:pt x="5457783" y="1416856"/>
                  <a:pt x="5458637" y="1417994"/>
                </a:cubicBezTo>
                <a:cubicBezTo>
                  <a:pt x="5460771" y="1421266"/>
                  <a:pt x="5457570" y="1427241"/>
                  <a:pt x="5454155" y="1428237"/>
                </a:cubicBezTo>
                <a:cubicBezTo>
                  <a:pt x="5449033" y="1426103"/>
                  <a:pt x="5450100" y="1418279"/>
                  <a:pt x="5454368" y="1415718"/>
                </a:cubicBezTo>
                <a:close/>
                <a:moveTo>
                  <a:pt x="5067652" y="1415718"/>
                </a:moveTo>
                <a:cubicBezTo>
                  <a:pt x="5068505" y="1416002"/>
                  <a:pt x="5068932" y="1416856"/>
                  <a:pt x="5069573" y="1418705"/>
                </a:cubicBezTo>
                <a:lnTo>
                  <a:pt x="5069573" y="1419274"/>
                </a:lnTo>
                <a:lnTo>
                  <a:pt x="5071707" y="1418421"/>
                </a:lnTo>
                <a:cubicBezTo>
                  <a:pt x="5071707" y="1419559"/>
                  <a:pt x="5071707" y="1420839"/>
                  <a:pt x="5072987" y="1420839"/>
                </a:cubicBezTo>
                <a:lnTo>
                  <a:pt x="5070640" y="1422689"/>
                </a:lnTo>
                <a:lnTo>
                  <a:pt x="5070853" y="1423684"/>
                </a:lnTo>
                <a:lnTo>
                  <a:pt x="5070640" y="1427526"/>
                </a:lnTo>
                <a:lnTo>
                  <a:pt x="5071067" y="1427811"/>
                </a:lnTo>
                <a:cubicBezTo>
                  <a:pt x="5071067" y="1427811"/>
                  <a:pt x="5075762" y="1434070"/>
                  <a:pt x="5071493" y="1439761"/>
                </a:cubicBezTo>
                <a:cubicBezTo>
                  <a:pt x="5070213" y="1438481"/>
                  <a:pt x="5063597" y="1445452"/>
                  <a:pt x="5058902" y="1442749"/>
                </a:cubicBezTo>
                <a:cubicBezTo>
                  <a:pt x="5056341" y="1441469"/>
                  <a:pt x="5055274" y="1440330"/>
                  <a:pt x="5052926" y="1438907"/>
                </a:cubicBezTo>
                <a:lnTo>
                  <a:pt x="5052072" y="1435635"/>
                </a:lnTo>
                <a:lnTo>
                  <a:pt x="5045456" y="1433074"/>
                </a:lnTo>
                <a:cubicBezTo>
                  <a:pt x="5044175" y="1431936"/>
                  <a:pt x="5041188" y="1427384"/>
                  <a:pt x="5042255" y="1426103"/>
                </a:cubicBezTo>
                <a:cubicBezTo>
                  <a:pt x="5043109" y="1424823"/>
                  <a:pt x="5044175" y="1424681"/>
                  <a:pt x="5045456" y="1424681"/>
                </a:cubicBezTo>
                <a:lnTo>
                  <a:pt x="5052072" y="1427668"/>
                </a:lnTo>
                <a:lnTo>
                  <a:pt x="5053353" y="1424681"/>
                </a:lnTo>
                <a:cubicBezTo>
                  <a:pt x="5054846" y="1422974"/>
                  <a:pt x="5056127" y="1421978"/>
                  <a:pt x="5057621" y="1421693"/>
                </a:cubicBezTo>
                <a:lnTo>
                  <a:pt x="5059329" y="1421693"/>
                </a:lnTo>
                <a:lnTo>
                  <a:pt x="5058902" y="1420270"/>
                </a:lnTo>
                <a:lnTo>
                  <a:pt x="5062530" y="1418421"/>
                </a:lnTo>
                <a:lnTo>
                  <a:pt x="5063810" y="1416287"/>
                </a:lnTo>
                <a:cubicBezTo>
                  <a:pt x="5065731" y="1415860"/>
                  <a:pt x="5066798" y="1415433"/>
                  <a:pt x="5067652" y="1415718"/>
                </a:cubicBezTo>
                <a:close/>
                <a:moveTo>
                  <a:pt x="5606964" y="1415291"/>
                </a:moveTo>
                <a:cubicBezTo>
                  <a:pt x="5610379" y="1415433"/>
                  <a:pt x="5615074" y="1419132"/>
                  <a:pt x="5615074" y="1422689"/>
                </a:cubicBezTo>
                <a:cubicBezTo>
                  <a:pt x="5613153" y="1426103"/>
                  <a:pt x="5610805" y="1424823"/>
                  <a:pt x="5609738" y="1427099"/>
                </a:cubicBezTo>
                <a:cubicBezTo>
                  <a:pt x="5605256" y="1423400"/>
                  <a:pt x="5605043" y="1419986"/>
                  <a:pt x="5606964" y="1415291"/>
                </a:cubicBezTo>
                <a:close/>
                <a:moveTo>
                  <a:pt x="5993254" y="1414295"/>
                </a:moveTo>
                <a:cubicBezTo>
                  <a:pt x="5996028" y="1418137"/>
                  <a:pt x="5991759" y="1426815"/>
                  <a:pt x="5986851" y="1427811"/>
                </a:cubicBezTo>
                <a:cubicBezTo>
                  <a:pt x="5990692" y="1420839"/>
                  <a:pt x="5987491" y="1415860"/>
                  <a:pt x="5993254" y="1414295"/>
                </a:cubicBezTo>
                <a:close/>
                <a:moveTo>
                  <a:pt x="3826616" y="1414153"/>
                </a:moveTo>
                <a:cubicBezTo>
                  <a:pt x="3829177" y="1413726"/>
                  <a:pt x="3831952" y="1414010"/>
                  <a:pt x="3834513" y="1415575"/>
                </a:cubicBezTo>
                <a:lnTo>
                  <a:pt x="3836647" y="1417425"/>
                </a:lnTo>
                <a:lnTo>
                  <a:pt x="3840488" y="1416998"/>
                </a:lnTo>
                <a:cubicBezTo>
                  <a:pt x="3840488" y="1416998"/>
                  <a:pt x="3840488" y="1416998"/>
                  <a:pt x="3841982" y="1417710"/>
                </a:cubicBezTo>
                <a:lnTo>
                  <a:pt x="3838141" y="1419132"/>
                </a:lnTo>
                <a:lnTo>
                  <a:pt x="3841128" y="1424254"/>
                </a:lnTo>
                <a:cubicBezTo>
                  <a:pt x="3842623" y="1426530"/>
                  <a:pt x="3841769" y="1425961"/>
                  <a:pt x="3842195" y="1427668"/>
                </a:cubicBezTo>
                <a:cubicBezTo>
                  <a:pt x="3842836" y="1429233"/>
                  <a:pt x="3844330" y="1431510"/>
                  <a:pt x="3845397" y="1432078"/>
                </a:cubicBezTo>
                <a:lnTo>
                  <a:pt x="3844543" y="1432932"/>
                </a:lnTo>
                <a:lnTo>
                  <a:pt x="3847104" y="1435493"/>
                </a:lnTo>
                <a:lnTo>
                  <a:pt x="3848599" y="1437343"/>
                </a:lnTo>
                <a:lnTo>
                  <a:pt x="3849452" y="1436915"/>
                </a:lnTo>
                <a:cubicBezTo>
                  <a:pt x="3851159" y="1436773"/>
                  <a:pt x="3852866" y="1437485"/>
                  <a:pt x="3853507" y="1438907"/>
                </a:cubicBezTo>
                <a:lnTo>
                  <a:pt x="3853080" y="1441042"/>
                </a:lnTo>
                <a:lnTo>
                  <a:pt x="3853294" y="1441753"/>
                </a:lnTo>
                <a:cubicBezTo>
                  <a:pt x="3854361" y="1443033"/>
                  <a:pt x="3859910" y="1446448"/>
                  <a:pt x="3861190" y="1445452"/>
                </a:cubicBezTo>
                <a:cubicBezTo>
                  <a:pt x="3861190" y="1446590"/>
                  <a:pt x="3862257" y="1448013"/>
                  <a:pt x="3862257" y="1448013"/>
                </a:cubicBezTo>
                <a:cubicBezTo>
                  <a:pt x="3860977" y="1449008"/>
                  <a:pt x="3859910" y="1448724"/>
                  <a:pt x="3858629" y="1448582"/>
                </a:cubicBezTo>
                <a:cubicBezTo>
                  <a:pt x="3857562" y="1447159"/>
                  <a:pt x="3857775" y="1446021"/>
                  <a:pt x="3856708" y="1444598"/>
                </a:cubicBezTo>
                <a:cubicBezTo>
                  <a:pt x="3855427" y="1444456"/>
                  <a:pt x="3853294" y="1444029"/>
                  <a:pt x="3852226" y="1442749"/>
                </a:cubicBezTo>
                <a:lnTo>
                  <a:pt x="3852013" y="1442464"/>
                </a:lnTo>
                <a:lnTo>
                  <a:pt x="3849452" y="1441753"/>
                </a:lnTo>
                <a:lnTo>
                  <a:pt x="3849879" y="1442749"/>
                </a:lnTo>
                <a:cubicBezTo>
                  <a:pt x="3847744" y="1447728"/>
                  <a:pt x="3844756" y="1446590"/>
                  <a:pt x="3839635" y="1446590"/>
                </a:cubicBezTo>
                <a:cubicBezTo>
                  <a:pt x="3840275" y="1445025"/>
                  <a:pt x="3835580" y="1443318"/>
                  <a:pt x="3834085" y="1442749"/>
                </a:cubicBezTo>
                <a:lnTo>
                  <a:pt x="3834085" y="1441753"/>
                </a:lnTo>
                <a:lnTo>
                  <a:pt x="3827470" y="1443318"/>
                </a:lnTo>
                <a:cubicBezTo>
                  <a:pt x="3825336" y="1443318"/>
                  <a:pt x="3823628" y="1442891"/>
                  <a:pt x="3821921" y="1442037"/>
                </a:cubicBezTo>
                <a:lnTo>
                  <a:pt x="3820427" y="1440330"/>
                </a:lnTo>
                <a:lnTo>
                  <a:pt x="3820427" y="1442749"/>
                </a:lnTo>
                <a:lnTo>
                  <a:pt x="3820214" y="1449578"/>
                </a:lnTo>
                <a:lnTo>
                  <a:pt x="3820214" y="1451712"/>
                </a:lnTo>
                <a:lnTo>
                  <a:pt x="3820214" y="1451854"/>
                </a:lnTo>
                <a:lnTo>
                  <a:pt x="3820214" y="1452281"/>
                </a:lnTo>
                <a:cubicBezTo>
                  <a:pt x="3819573" y="1455268"/>
                  <a:pt x="3818079" y="1457972"/>
                  <a:pt x="3815091" y="1460105"/>
                </a:cubicBezTo>
                <a:lnTo>
                  <a:pt x="3813170" y="1452708"/>
                </a:lnTo>
                <a:lnTo>
                  <a:pt x="3811036" y="1452281"/>
                </a:lnTo>
                <a:cubicBezTo>
                  <a:pt x="3808048" y="1450574"/>
                  <a:pt x="3805914" y="1447301"/>
                  <a:pt x="3806128" y="1443176"/>
                </a:cubicBezTo>
                <a:lnTo>
                  <a:pt x="3810610" y="1441610"/>
                </a:lnTo>
                <a:lnTo>
                  <a:pt x="3810396" y="1433643"/>
                </a:lnTo>
                <a:cubicBezTo>
                  <a:pt x="3810610" y="1430229"/>
                  <a:pt x="3811677" y="1426673"/>
                  <a:pt x="3813170" y="1422689"/>
                </a:cubicBezTo>
                <a:lnTo>
                  <a:pt x="3815518" y="1421693"/>
                </a:lnTo>
                <a:lnTo>
                  <a:pt x="3815731" y="1420839"/>
                </a:lnTo>
                <a:cubicBezTo>
                  <a:pt x="3816585" y="1418847"/>
                  <a:pt x="3818506" y="1416998"/>
                  <a:pt x="3821281" y="1415718"/>
                </a:cubicBezTo>
                <a:cubicBezTo>
                  <a:pt x="3822988" y="1415006"/>
                  <a:pt x="3824695" y="1414295"/>
                  <a:pt x="3826616" y="1414153"/>
                </a:cubicBezTo>
                <a:close/>
                <a:moveTo>
                  <a:pt x="5255461" y="1413868"/>
                </a:moveTo>
                <a:cubicBezTo>
                  <a:pt x="5256102" y="1414010"/>
                  <a:pt x="5256955" y="1414580"/>
                  <a:pt x="5257809" y="1415718"/>
                </a:cubicBezTo>
                <a:cubicBezTo>
                  <a:pt x="5250766" y="1422262"/>
                  <a:pt x="5248845" y="1426530"/>
                  <a:pt x="5242656" y="1430940"/>
                </a:cubicBezTo>
                <a:cubicBezTo>
                  <a:pt x="5241589" y="1430371"/>
                  <a:pt x="5242016" y="1429233"/>
                  <a:pt x="5240948" y="1428664"/>
                </a:cubicBezTo>
                <a:cubicBezTo>
                  <a:pt x="5240735" y="1427811"/>
                  <a:pt x="5240948" y="1426673"/>
                  <a:pt x="5241589" y="1425534"/>
                </a:cubicBezTo>
                <a:cubicBezTo>
                  <a:pt x="5243510" y="1421693"/>
                  <a:pt x="5248205" y="1416856"/>
                  <a:pt x="5249059" y="1417282"/>
                </a:cubicBezTo>
                <a:cubicBezTo>
                  <a:pt x="5249486" y="1416287"/>
                  <a:pt x="5250553" y="1416856"/>
                  <a:pt x="5250979" y="1415718"/>
                </a:cubicBezTo>
                <a:cubicBezTo>
                  <a:pt x="5250979" y="1415718"/>
                  <a:pt x="5251406" y="1414722"/>
                  <a:pt x="5253114" y="1414295"/>
                </a:cubicBezTo>
                <a:cubicBezTo>
                  <a:pt x="5253754" y="1414010"/>
                  <a:pt x="5254607" y="1413726"/>
                  <a:pt x="5255461" y="1413868"/>
                </a:cubicBezTo>
                <a:close/>
                <a:moveTo>
                  <a:pt x="5084512" y="1413868"/>
                </a:moveTo>
                <a:cubicBezTo>
                  <a:pt x="5088780" y="1414437"/>
                  <a:pt x="5094970" y="1418137"/>
                  <a:pt x="5097957" y="1420555"/>
                </a:cubicBezTo>
                <a:cubicBezTo>
                  <a:pt x="5094970" y="1423116"/>
                  <a:pt x="5085152" y="1417710"/>
                  <a:pt x="5081311" y="1414437"/>
                </a:cubicBezTo>
                <a:cubicBezTo>
                  <a:pt x="5081951" y="1413868"/>
                  <a:pt x="5083231" y="1413583"/>
                  <a:pt x="5084512" y="1413868"/>
                </a:cubicBezTo>
                <a:close/>
                <a:moveTo>
                  <a:pt x="4417788" y="1413868"/>
                </a:moveTo>
                <a:cubicBezTo>
                  <a:pt x="4419069" y="1413868"/>
                  <a:pt x="4420350" y="1414864"/>
                  <a:pt x="4421203" y="1416002"/>
                </a:cubicBezTo>
                <a:cubicBezTo>
                  <a:pt x="4422911" y="1418421"/>
                  <a:pt x="4423124" y="1422120"/>
                  <a:pt x="4419496" y="1422974"/>
                </a:cubicBezTo>
                <a:cubicBezTo>
                  <a:pt x="4417575" y="1421551"/>
                  <a:pt x="4415655" y="1418990"/>
                  <a:pt x="4413734" y="1416429"/>
                </a:cubicBezTo>
                <a:cubicBezTo>
                  <a:pt x="4415014" y="1414437"/>
                  <a:pt x="4416295" y="1413726"/>
                  <a:pt x="4417788" y="1413868"/>
                </a:cubicBezTo>
                <a:close/>
                <a:moveTo>
                  <a:pt x="1615444" y="1413761"/>
                </a:moveTo>
                <a:cubicBezTo>
                  <a:pt x="1618955" y="1417479"/>
                  <a:pt x="1632274" y="1427702"/>
                  <a:pt x="1626699" y="1432813"/>
                </a:cubicBezTo>
                <a:cubicBezTo>
                  <a:pt x="1625769" y="1432039"/>
                  <a:pt x="1624324" y="1430954"/>
                  <a:pt x="1622775" y="1429715"/>
                </a:cubicBezTo>
                <a:lnTo>
                  <a:pt x="1622465" y="1429560"/>
                </a:lnTo>
                <a:lnTo>
                  <a:pt x="1622465" y="1430180"/>
                </a:lnTo>
                <a:cubicBezTo>
                  <a:pt x="1621329" y="1433278"/>
                  <a:pt x="1618232" y="1435292"/>
                  <a:pt x="1614721" y="1436066"/>
                </a:cubicBezTo>
                <a:cubicBezTo>
                  <a:pt x="1609971" y="1437150"/>
                  <a:pt x="1604499" y="1436066"/>
                  <a:pt x="1601814" y="1432658"/>
                </a:cubicBezTo>
                <a:cubicBezTo>
                  <a:pt x="1604911" y="1428476"/>
                  <a:pt x="1607906" y="1425533"/>
                  <a:pt x="1611210" y="1424294"/>
                </a:cubicBezTo>
                <a:lnTo>
                  <a:pt x="1616373" y="1423829"/>
                </a:lnTo>
                <a:lnTo>
                  <a:pt x="1614411" y="1421351"/>
                </a:lnTo>
                <a:cubicBezTo>
                  <a:pt x="1613585" y="1419802"/>
                  <a:pt x="1613172" y="1418098"/>
                  <a:pt x="1613689" y="1416549"/>
                </a:cubicBezTo>
                <a:cubicBezTo>
                  <a:pt x="1613998" y="1415620"/>
                  <a:pt x="1614618" y="1414690"/>
                  <a:pt x="1615444" y="1413761"/>
                </a:cubicBezTo>
                <a:close/>
                <a:moveTo>
                  <a:pt x="4374251" y="1413726"/>
                </a:moveTo>
                <a:cubicBezTo>
                  <a:pt x="4371904" y="1418421"/>
                  <a:pt x="4367208" y="1418990"/>
                  <a:pt x="4364007" y="1424254"/>
                </a:cubicBezTo>
                <a:cubicBezTo>
                  <a:pt x="4359952" y="1423400"/>
                  <a:pt x="4355470" y="1428948"/>
                  <a:pt x="4350134" y="1427384"/>
                </a:cubicBezTo>
                <a:cubicBezTo>
                  <a:pt x="4352269" y="1418847"/>
                  <a:pt x="4369983" y="1411734"/>
                  <a:pt x="4374251" y="1413726"/>
                </a:cubicBezTo>
                <a:close/>
                <a:moveTo>
                  <a:pt x="3659082" y="1413157"/>
                </a:moveTo>
                <a:cubicBezTo>
                  <a:pt x="3668045" y="1414010"/>
                  <a:pt x="3677222" y="1420270"/>
                  <a:pt x="3679783" y="1426388"/>
                </a:cubicBezTo>
                <a:cubicBezTo>
                  <a:pt x="3677009" y="1427384"/>
                  <a:pt x="3674234" y="1427526"/>
                  <a:pt x="3671460" y="1427099"/>
                </a:cubicBezTo>
                <a:lnTo>
                  <a:pt x="3663563" y="1424538"/>
                </a:lnTo>
                <a:lnTo>
                  <a:pt x="3663137" y="1424254"/>
                </a:lnTo>
                <a:cubicBezTo>
                  <a:pt x="3657588" y="1421551"/>
                  <a:pt x="3652892" y="1417425"/>
                  <a:pt x="3650331" y="1414153"/>
                </a:cubicBezTo>
                <a:cubicBezTo>
                  <a:pt x="3653106" y="1413015"/>
                  <a:pt x="3656093" y="1412730"/>
                  <a:pt x="3659082" y="1413157"/>
                </a:cubicBezTo>
                <a:close/>
                <a:moveTo>
                  <a:pt x="1076279" y="1412812"/>
                </a:moveTo>
                <a:cubicBezTo>
                  <a:pt x="1077763" y="1411709"/>
                  <a:pt x="1079802" y="1412212"/>
                  <a:pt x="1081712" y="1416859"/>
                </a:cubicBezTo>
                <a:cubicBezTo>
                  <a:pt x="1076653" y="1421506"/>
                  <a:pt x="1074588" y="1420731"/>
                  <a:pt x="1074175" y="1418408"/>
                </a:cubicBezTo>
                <a:cubicBezTo>
                  <a:pt x="1073865" y="1416626"/>
                  <a:pt x="1074794" y="1413916"/>
                  <a:pt x="1076279" y="1412812"/>
                </a:cubicBezTo>
                <a:close/>
                <a:moveTo>
                  <a:pt x="4301902" y="1412588"/>
                </a:moveTo>
                <a:cubicBezTo>
                  <a:pt x="4310225" y="1418137"/>
                  <a:pt x="4323457" y="1427953"/>
                  <a:pt x="4326445" y="1438054"/>
                </a:cubicBezTo>
                <a:cubicBezTo>
                  <a:pt x="4324951" y="1438907"/>
                  <a:pt x="4323670" y="1439334"/>
                  <a:pt x="4322177" y="1439477"/>
                </a:cubicBezTo>
                <a:lnTo>
                  <a:pt x="4318549" y="1438481"/>
                </a:lnTo>
                <a:lnTo>
                  <a:pt x="4320683" y="1439619"/>
                </a:lnTo>
                <a:cubicBezTo>
                  <a:pt x="4321749" y="1440899"/>
                  <a:pt x="4323030" y="1442322"/>
                  <a:pt x="4321963" y="1444598"/>
                </a:cubicBezTo>
                <a:cubicBezTo>
                  <a:pt x="4312573" y="1440614"/>
                  <a:pt x="4307878" y="1440330"/>
                  <a:pt x="4300621" y="1436347"/>
                </a:cubicBezTo>
                <a:cubicBezTo>
                  <a:pt x="4300621" y="1435067"/>
                  <a:pt x="4301902" y="1435209"/>
                  <a:pt x="4301688" y="1434070"/>
                </a:cubicBezTo>
                <a:cubicBezTo>
                  <a:pt x="4302328" y="1433359"/>
                  <a:pt x="4303395" y="1433217"/>
                  <a:pt x="4304890" y="1433359"/>
                </a:cubicBezTo>
                <a:cubicBezTo>
                  <a:pt x="4309158" y="1433501"/>
                  <a:pt x="4315774" y="1436062"/>
                  <a:pt x="4315987" y="1437058"/>
                </a:cubicBezTo>
                <a:lnTo>
                  <a:pt x="4317268" y="1437769"/>
                </a:lnTo>
                <a:lnTo>
                  <a:pt x="4310225" y="1431367"/>
                </a:lnTo>
                <a:cubicBezTo>
                  <a:pt x="4305530" y="1425107"/>
                  <a:pt x="4302328" y="1416856"/>
                  <a:pt x="4301902" y="1412588"/>
                </a:cubicBezTo>
                <a:close/>
                <a:moveTo>
                  <a:pt x="1143872" y="1412522"/>
                </a:moveTo>
                <a:cubicBezTo>
                  <a:pt x="1146557" y="1412057"/>
                  <a:pt x="1150791" y="1414226"/>
                  <a:pt x="1151204" y="1415620"/>
                </a:cubicBezTo>
                <a:cubicBezTo>
                  <a:pt x="1150481" y="1417169"/>
                  <a:pt x="1141188" y="1417943"/>
                  <a:pt x="1142014" y="1413916"/>
                </a:cubicBezTo>
                <a:cubicBezTo>
                  <a:pt x="1142324" y="1413141"/>
                  <a:pt x="1142943" y="1412677"/>
                  <a:pt x="1143872" y="1412522"/>
                </a:cubicBezTo>
                <a:close/>
                <a:moveTo>
                  <a:pt x="4994022" y="1412303"/>
                </a:moveTo>
                <a:cubicBezTo>
                  <a:pt x="4995516" y="1413442"/>
                  <a:pt x="4997010" y="1415718"/>
                  <a:pt x="4995089" y="1418137"/>
                </a:cubicBezTo>
                <a:cubicBezTo>
                  <a:pt x="4993168" y="1421835"/>
                  <a:pt x="4989754" y="1422120"/>
                  <a:pt x="4985912" y="1421124"/>
                </a:cubicBezTo>
                <a:cubicBezTo>
                  <a:pt x="4983778" y="1422404"/>
                  <a:pt x="4982924" y="1424823"/>
                  <a:pt x="4980577" y="1423827"/>
                </a:cubicBezTo>
                <a:cubicBezTo>
                  <a:pt x="4983564" y="1421266"/>
                  <a:pt x="4984632" y="1419986"/>
                  <a:pt x="4986766" y="1418705"/>
                </a:cubicBezTo>
                <a:cubicBezTo>
                  <a:pt x="4986552" y="1417567"/>
                  <a:pt x="4986552" y="1416287"/>
                  <a:pt x="4987620" y="1415006"/>
                </a:cubicBezTo>
                <a:cubicBezTo>
                  <a:pt x="4989540" y="1412588"/>
                  <a:pt x="4991888" y="1413583"/>
                  <a:pt x="4994022" y="1412303"/>
                </a:cubicBezTo>
                <a:close/>
                <a:moveTo>
                  <a:pt x="3868446" y="1411734"/>
                </a:moveTo>
                <a:cubicBezTo>
                  <a:pt x="3862470" y="1413015"/>
                  <a:pt x="3855214" y="1417140"/>
                  <a:pt x="3849879" y="1415718"/>
                </a:cubicBezTo>
                <a:cubicBezTo>
                  <a:pt x="3852013" y="1414864"/>
                  <a:pt x="3864391" y="1411023"/>
                  <a:pt x="3868446" y="1411734"/>
                </a:cubicBezTo>
                <a:close/>
                <a:moveTo>
                  <a:pt x="1328804" y="1411593"/>
                </a:moveTo>
                <a:cubicBezTo>
                  <a:pt x="1333761" y="1412367"/>
                  <a:pt x="1337272" y="1418098"/>
                  <a:pt x="1335309" y="1421815"/>
                </a:cubicBezTo>
                <a:cubicBezTo>
                  <a:pt x="1334484" y="1423519"/>
                  <a:pt x="1332522" y="1424759"/>
                  <a:pt x="1329114" y="1425069"/>
                </a:cubicBezTo>
                <a:lnTo>
                  <a:pt x="1328804" y="1424604"/>
                </a:lnTo>
                <a:lnTo>
                  <a:pt x="1327565" y="1426772"/>
                </a:lnTo>
                <a:lnTo>
                  <a:pt x="1327772" y="1428631"/>
                </a:lnTo>
                <a:lnTo>
                  <a:pt x="1327359" y="1429560"/>
                </a:lnTo>
                <a:lnTo>
                  <a:pt x="1333038" y="1432658"/>
                </a:lnTo>
                <a:cubicBezTo>
                  <a:pt x="1335620" y="1434207"/>
                  <a:pt x="1337685" y="1435756"/>
                  <a:pt x="1337788" y="1436995"/>
                </a:cubicBezTo>
                <a:cubicBezTo>
                  <a:pt x="1336962" y="1437305"/>
                  <a:pt x="1336136" y="1437460"/>
                  <a:pt x="1335000" y="1436995"/>
                </a:cubicBezTo>
                <a:cubicBezTo>
                  <a:pt x="1333864" y="1436376"/>
                  <a:pt x="1334587" y="1436221"/>
                  <a:pt x="1333864" y="1436531"/>
                </a:cubicBezTo>
                <a:cubicBezTo>
                  <a:pt x="1332728" y="1435911"/>
                  <a:pt x="1332935" y="1436685"/>
                  <a:pt x="1332935" y="1436685"/>
                </a:cubicBezTo>
                <a:cubicBezTo>
                  <a:pt x="1332935" y="1436685"/>
                  <a:pt x="1332625" y="1435911"/>
                  <a:pt x="1332625" y="1435911"/>
                </a:cubicBezTo>
                <a:cubicBezTo>
                  <a:pt x="1332625" y="1435911"/>
                  <a:pt x="1332728" y="1435911"/>
                  <a:pt x="1330353" y="1434827"/>
                </a:cubicBezTo>
                <a:cubicBezTo>
                  <a:pt x="1327256" y="1434052"/>
                  <a:pt x="1326533" y="1434207"/>
                  <a:pt x="1324571" y="1433897"/>
                </a:cubicBezTo>
                <a:lnTo>
                  <a:pt x="1324158" y="1433743"/>
                </a:lnTo>
                <a:lnTo>
                  <a:pt x="1321576" y="1435292"/>
                </a:lnTo>
                <a:cubicBezTo>
                  <a:pt x="1317240" y="1436685"/>
                  <a:pt x="1311767" y="1435447"/>
                  <a:pt x="1308876" y="1431884"/>
                </a:cubicBezTo>
                <a:lnTo>
                  <a:pt x="1307947" y="1429870"/>
                </a:lnTo>
                <a:lnTo>
                  <a:pt x="1306708" y="1436066"/>
                </a:lnTo>
                <a:cubicBezTo>
                  <a:pt x="1304746" y="1440713"/>
                  <a:pt x="1301235" y="1444895"/>
                  <a:pt x="1296589" y="1444895"/>
                </a:cubicBezTo>
                <a:cubicBezTo>
                  <a:pt x="1298757" y="1439009"/>
                  <a:pt x="1301338" y="1433743"/>
                  <a:pt x="1301442" y="1425378"/>
                </a:cubicBezTo>
                <a:cubicBezTo>
                  <a:pt x="1303920" y="1425533"/>
                  <a:pt x="1303713" y="1422435"/>
                  <a:pt x="1306708" y="1423365"/>
                </a:cubicBezTo>
                <a:lnTo>
                  <a:pt x="1307637" y="1426927"/>
                </a:lnTo>
                <a:lnTo>
                  <a:pt x="1310941" y="1423674"/>
                </a:lnTo>
                <a:lnTo>
                  <a:pt x="1313832" y="1422745"/>
                </a:lnTo>
                <a:lnTo>
                  <a:pt x="1314555" y="1416394"/>
                </a:lnTo>
                <a:cubicBezTo>
                  <a:pt x="1315691" y="1417014"/>
                  <a:pt x="1316414" y="1414071"/>
                  <a:pt x="1317653" y="1412832"/>
                </a:cubicBezTo>
                <a:cubicBezTo>
                  <a:pt x="1320131" y="1412057"/>
                  <a:pt x="1321680" y="1411593"/>
                  <a:pt x="1324055" y="1412677"/>
                </a:cubicBezTo>
                <a:close/>
                <a:moveTo>
                  <a:pt x="1586635" y="1411438"/>
                </a:moveTo>
                <a:cubicBezTo>
                  <a:pt x="1589113" y="1410973"/>
                  <a:pt x="1594276" y="1413451"/>
                  <a:pt x="1594999" y="1415929"/>
                </a:cubicBezTo>
                <a:cubicBezTo>
                  <a:pt x="1594379" y="1416859"/>
                  <a:pt x="1593760" y="1417788"/>
                  <a:pt x="1593140" y="1418717"/>
                </a:cubicBezTo>
                <a:cubicBezTo>
                  <a:pt x="1589836" y="1418717"/>
                  <a:pt x="1586635" y="1417323"/>
                  <a:pt x="1586119" y="1414536"/>
                </a:cubicBezTo>
                <a:cubicBezTo>
                  <a:pt x="1585912" y="1413761"/>
                  <a:pt x="1586119" y="1412677"/>
                  <a:pt x="1586635" y="1411438"/>
                </a:cubicBezTo>
                <a:close/>
                <a:moveTo>
                  <a:pt x="3793109" y="1411023"/>
                </a:moveTo>
                <a:cubicBezTo>
                  <a:pt x="3796097" y="1414580"/>
                  <a:pt x="3801646" y="1416571"/>
                  <a:pt x="3803140" y="1420555"/>
                </a:cubicBezTo>
                <a:cubicBezTo>
                  <a:pt x="3803353" y="1421266"/>
                  <a:pt x="3803353" y="1422120"/>
                  <a:pt x="3803140" y="1422831"/>
                </a:cubicBezTo>
                <a:cubicBezTo>
                  <a:pt x="3802927" y="1423542"/>
                  <a:pt x="3802073" y="1424254"/>
                  <a:pt x="3800579" y="1424681"/>
                </a:cubicBezTo>
                <a:cubicBezTo>
                  <a:pt x="3798231" y="1426103"/>
                  <a:pt x="3797377" y="1425392"/>
                  <a:pt x="3795670" y="1421551"/>
                </a:cubicBezTo>
                <a:cubicBezTo>
                  <a:pt x="3795243" y="1418279"/>
                  <a:pt x="3793963" y="1416002"/>
                  <a:pt x="3794603" y="1415006"/>
                </a:cubicBezTo>
                <a:cubicBezTo>
                  <a:pt x="3793749" y="1414295"/>
                  <a:pt x="3793323" y="1412730"/>
                  <a:pt x="3792469" y="1412161"/>
                </a:cubicBezTo>
                <a:cubicBezTo>
                  <a:pt x="3792469" y="1412161"/>
                  <a:pt x="3792256" y="1412161"/>
                  <a:pt x="3793109" y="1411023"/>
                </a:cubicBezTo>
                <a:close/>
                <a:moveTo>
                  <a:pt x="1054866" y="1410973"/>
                </a:moveTo>
                <a:cubicBezTo>
                  <a:pt x="1056724" y="1410663"/>
                  <a:pt x="1055898" y="1414071"/>
                  <a:pt x="1056311" y="1414845"/>
                </a:cubicBezTo>
                <a:cubicBezTo>
                  <a:pt x="1056001" y="1415929"/>
                  <a:pt x="1055692" y="1417169"/>
                  <a:pt x="1054556" y="1416859"/>
                </a:cubicBezTo>
                <a:cubicBezTo>
                  <a:pt x="1053317" y="1416704"/>
                  <a:pt x="1052594" y="1417169"/>
                  <a:pt x="1052491" y="1415310"/>
                </a:cubicBezTo>
                <a:cubicBezTo>
                  <a:pt x="1051974" y="1414690"/>
                  <a:pt x="1052284" y="1413451"/>
                  <a:pt x="1051768" y="1412832"/>
                </a:cubicBezTo>
                <a:cubicBezTo>
                  <a:pt x="1051768" y="1412832"/>
                  <a:pt x="1052284" y="1412367"/>
                  <a:pt x="1052904" y="1411747"/>
                </a:cubicBezTo>
                <a:cubicBezTo>
                  <a:pt x="1053524" y="1411282"/>
                  <a:pt x="1054246" y="1410818"/>
                  <a:pt x="1054866" y="1410973"/>
                </a:cubicBezTo>
                <a:close/>
                <a:moveTo>
                  <a:pt x="3990309" y="1410454"/>
                </a:moveTo>
                <a:cubicBezTo>
                  <a:pt x="3992657" y="1411307"/>
                  <a:pt x="3996285" y="1412018"/>
                  <a:pt x="3996925" y="1415006"/>
                </a:cubicBezTo>
                <a:cubicBezTo>
                  <a:pt x="3997138" y="1416145"/>
                  <a:pt x="3996925" y="1417282"/>
                  <a:pt x="3996285" y="1418847"/>
                </a:cubicBezTo>
                <a:cubicBezTo>
                  <a:pt x="3996712" y="1419986"/>
                  <a:pt x="3992657" y="1423116"/>
                  <a:pt x="3991162" y="1422689"/>
                </a:cubicBezTo>
                <a:cubicBezTo>
                  <a:pt x="3987108" y="1422120"/>
                  <a:pt x="3988175" y="1417852"/>
                  <a:pt x="3987534" y="1413157"/>
                </a:cubicBezTo>
                <a:cubicBezTo>
                  <a:pt x="3989029" y="1413583"/>
                  <a:pt x="3989669" y="1412018"/>
                  <a:pt x="3990309" y="1410454"/>
                </a:cubicBezTo>
                <a:close/>
                <a:moveTo>
                  <a:pt x="3869300" y="1410454"/>
                </a:moveTo>
                <a:cubicBezTo>
                  <a:pt x="3870794" y="1411023"/>
                  <a:pt x="3870581" y="1409885"/>
                  <a:pt x="3871221" y="1412018"/>
                </a:cubicBezTo>
                <a:cubicBezTo>
                  <a:pt x="3869727" y="1411450"/>
                  <a:pt x="3869727" y="1411450"/>
                  <a:pt x="3868446" y="1412018"/>
                </a:cubicBezTo>
                <a:cubicBezTo>
                  <a:pt x="3868446" y="1412018"/>
                  <a:pt x="3869300" y="1410454"/>
                  <a:pt x="3869300" y="1410454"/>
                </a:cubicBezTo>
                <a:close/>
                <a:moveTo>
                  <a:pt x="3875062" y="1410311"/>
                </a:moveTo>
                <a:cubicBezTo>
                  <a:pt x="3876129" y="1410169"/>
                  <a:pt x="3877197" y="1410027"/>
                  <a:pt x="3878264" y="1410311"/>
                </a:cubicBezTo>
                <a:cubicBezTo>
                  <a:pt x="3882532" y="1410454"/>
                  <a:pt x="3884453" y="1414580"/>
                  <a:pt x="3889148" y="1415718"/>
                </a:cubicBezTo>
                <a:cubicBezTo>
                  <a:pt x="3888295" y="1421693"/>
                  <a:pt x="3887654" y="1423400"/>
                  <a:pt x="3881465" y="1424538"/>
                </a:cubicBezTo>
                <a:cubicBezTo>
                  <a:pt x="3881465" y="1424538"/>
                  <a:pt x="3879971" y="1424111"/>
                  <a:pt x="3879971" y="1424111"/>
                </a:cubicBezTo>
                <a:cubicBezTo>
                  <a:pt x="3874422" y="1423684"/>
                  <a:pt x="3869086" y="1418847"/>
                  <a:pt x="3869086" y="1416145"/>
                </a:cubicBezTo>
                <a:cubicBezTo>
                  <a:pt x="3869940" y="1413583"/>
                  <a:pt x="3872074" y="1411023"/>
                  <a:pt x="3875062" y="1410311"/>
                </a:cubicBezTo>
                <a:close/>
                <a:moveTo>
                  <a:pt x="1499487" y="1410198"/>
                </a:moveTo>
                <a:cubicBezTo>
                  <a:pt x="1504753" y="1410043"/>
                  <a:pt x="1505372" y="1415000"/>
                  <a:pt x="1500829" y="1418408"/>
                </a:cubicBezTo>
                <a:cubicBezTo>
                  <a:pt x="1499074" y="1417323"/>
                  <a:pt x="1498351" y="1415929"/>
                  <a:pt x="1498145" y="1414536"/>
                </a:cubicBezTo>
                <a:cubicBezTo>
                  <a:pt x="1498041" y="1412986"/>
                  <a:pt x="1498558" y="1411593"/>
                  <a:pt x="1499487" y="1410198"/>
                </a:cubicBezTo>
                <a:close/>
                <a:moveTo>
                  <a:pt x="3874636" y="1408604"/>
                </a:moveTo>
                <a:cubicBezTo>
                  <a:pt x="3875062" y="1408320"/>
                  <a:pt x="3875703" y="1408462"/>
                  <a:pt x="3876556" y="1408604"/>
                </a:cubicBezTo>
                <a:cubicBezTo>
                  <a:pt x="3876556" y="1408604"/>
                  <a:pt x="3876769" y="1409600"/>
                  <a:pt x="3876769" y="1409600"/>
                </a:cubicBezTo>
                <a:cubicBezTo>
                  <a:pt x="3875489" y="1410169"/>
                  <a:pt x="3874422" y="1410596"/>
                  <a:pt x="3873995" y="1409600"/>
                </a:cubicBezTo>
                <a:cubicBezTo>
                  <a:pt x="3873995" y="1409173"/>
                  <a:pt x="3874209" y="1408746"/>
                  <a:pt x="3874636" y="1408604"/>
                </a:cubicBezTo>
                <a:close/>
                <a:moveTo>
                  <a:pt x="4076317" y="1408178"/>
                </a:moveTo>
                <a:cubicBezTo>
                  <a:pt x="4079732" y="1407181"/>
                  <a:pt x="4083147" y="1409458"/>
                  <a:pt x="4084427" y="1413726"/>
                </a:cubicBezTo>
                <a:cubicBezTo>
                  <a:pt x="4085068" y="1416571"/>
                  <a:pt x="4084854" y="1420412"/>
                  <a:pt x="4082720" y="1424965"/>
                </a:cubicBezTo>
                <a:cubicBezTo>
                  <a:pt x="4078024" y="1428664"/>
                  <a:pt x="4067994" y="1425961"/>
                  <a:pt x="4067354" y="1421124"/>
                </a:cubicBezTo>
                <a:cubicBezTo>
                  <a:pt x="4068847" y="1413015"/>
                  <a:pt x="4072689" y="1409031"/>
                  <a:pt x="4076317" y="1408178"/>
                </a:cubicBezTo>
                <a:close/>
                <a:moveTo>
                  <a:pt x="5164331" y="1408035"/>
                </a:moveTo>
                <a:cubicBezTo>
                  <a:pt x="5166679" y="1410454"/>
                  <a:pt x="5167959" y="1412872"/>
                  <a:pt x="5170307" y="1415291"/>
                </a:cubicBezTo>
                <a:cubicBezTo>
                  <a:pt x="5168386" y="1419986"/>
                  <a:pt x="5164758" y="1417425"/>
                  <a:pt x="5161130" y="1415006"/>
                </a:cubicBezTo>
                <a:cubicBezTo>
                  <a:pt x="5162197" y="1412730"/>
                  <a:pt x="5160916" y="1410169"/>
                  <a:pt x="5164331" y="1408035"/>
                </a:cubicBezTo>
                <a:close/>
                <a:moveTo>
                  <a:pt x="1738422" y="1407875"/>
                </a:moveTo>
                <a:cubicBezTo>
                  <a:pt x="1739351" y="1407875"/>
                  <a:pt x="1740281" y="1408184"/>
                  <a:pt x="1740384" y="1408649"/>
                </a:cubicBezTo>
                <a:cubicBezTo>
                  <a:pt x="1739971" y="1409734"/>
                  <a:pt x="1738319" y="1410198"/>
                  <a:pt x="1737803" y="1411282"/>
                </a:cubicBezTo>
                <a:cubicBezTo>
                  <a:pt x="1737493" y="1410508"/>
                  <a:pt x="1736357" y="1409888"/>
                  <a:pt x="1735944" y="1409114"/>
                </a:cubicBezTo>
                <a:cubicBezTo>
                  <a:pt x="1736460" y="1408030"/>
                  <a:pt x="1737493" y="1407720"/>
                  <a:pt x="1738422" y="1407875"/>
                </a:cubicBezTo>
                <a:close/>
                <a:moveTo>
                  <a:pt x="1089869" y="1407565"/>
                </a:moveTo>
                <a:cubicBezTo>
                  <a:pt x="1098440" y="1407410"/>
                  <a:pt x="1100092" y="1412832"/>
                  <a:pt x="1102364" y="1417788"/>
                </a:cubicBezTo>
                <a:cubicBezTo>
                  <a:pt x="1098646" y="1418563"/>
                  <a:pt x="1089663" y="1414536"/>
                  <a:pt x="1089869" y="1407565"/>
                </a:cubicBezTo>
                <a:close/>
                <a:moveTo>
                  <a:pt x="5201039" y="1407466"/>
                </a:moveTo>
                <a:cubicBezTo>
                  <a:pt x="5203387" y="1407039"/>
                  <a:pt x="5205948" y="1408178"/>
                  <a:pt x="5208722" y="1410311"/>
                </a:cubicBezTo>
                <a:cubicBezTo>
                  <a:pt x="5208082" y="1413015"/>
                  <a:pt x="5208509" y="1415291"/>
                  <a:pt x="5208082" y="1419132"/>
                </a:cubicBezTo>
                <a:cubicBezTo>
                  <a:pt x="5204667" y="1420128"/>
                  <a:pt x="5197198" y="1418705"/>
                  <a:pt x="5195064" y="1413157"/>
                </a:cubicBezTo>
                <a:cubicBezTo>
                  <a:pt x="5196771" y="1409600"/>
                  <a:pt x="5198692" y="1407751"/>
                  <a:pt x="5201039" y="1407466"/>
                </a:cubicBezTo>
                <a:close/>
                <a:moveTo>
                  <a:pt x="1558653" y="1406791"/>
                </a:moveTo>
                <a:cubicBezTo>
                  <a:pt x="1559789" y="1408030"/>
                  <a:pt x="1559789" y="1408030"/>
                  <a:pt x="1559789" y="1411902"/>
                </a:cubicBezTo>
                <a:cubicBezTo>
                  <a:pt x="1558550" y="1410663"/>
                  <a:pt x="1558550" y="1410663"/>
                  <a:pt x="1557414" y="1411902"/>
                </a:cubicBezTo>
                <a:cubicBezTo>
                  <a:pt x="1557414" y="1411902"/>
                  <a:pt x="1557414" y="1411902"/>
                  <a:pt x="1557414" y="1413296"/>
                </a:cubicBezTo>
                <a:cubicBezTo>
                  <a:pt x="1556175" y="1413296"/>
                  <a:pt x="1556175" y="1411902"/>
                  <a:pt x="1555039" y="1411902"/>
                </a:cubicBezTo>
                <a:cubicBezTo>
                  <a:pt x="1555039" y="1411902"/>
                  <a:pt x="1555039" y="1410663"/>
                  <a:pt x="1555039" y="1410663"/>
                </a:cubicBezTo>
                <a:cubicBezTo>
                  <a:pt x="1554419" y="1410663"/>
                  <a:pt x="1554419" y="1410663"/>
                  <a:pt x="1554626" y="1410353"/>
                </a:cubicBezTo>
                <a:cubicBezTo>
                  <a:pt x="1554936" y="1410043"/>
                  <a:pt x="1555555" y="1409424"/>
                  <a:pt x="1556175" y="1408030"/>
                </a:cubicBezTo>
                <a:cubicBezTo>
                  <a:pt x="1557310" y="1406791"/>
                  <a:pt x="1557414" y="1405551"/>
                  <a:pt x="1558653" y="1406791"/>
                </a:cubicBezTo>
                <a:close/>
                <a:moveTo>
                  <a:pt x="1712608" y="1406016"/>
                </a:moveTo>
                <a:cubicBezTo>
                  <a:pt x="1719836" y="1401524"/>
                  <a:pt x="1729542" y="1408649"/>
                  <a:pt x="1731917" y="1417169"/>
                </a:cubicBezTo>
                <a:cubicBezTo>
                  <a:pt x="1733569" y="1423055"/>
                  <a:pt x="1731710" y="1429715"/>
                  <a:pt x="1723346" y="1433897"/>
                </a:cubicBezTo>
                <a:cubicBezTo>
                  <a:pt x="1714776" y="1429715"/>
                  <a:pt x="1708684" y="1421971"/>
                  <a:pt x="1708271" y="1415155"/>
                </a:cubicBezTo>
                <a:cubicBezTo>
                  <a:pt x="1708065" y="1412832"/>
                  <a:pt x="1708478" y="1410663"/>
                  <a:pt x="1709717" y="1408649"/>
                </a:cubicBezTo>
                <a:cubicBezTo>
                  <a:pt x="1710646" y="1407565"/>
                  <a:pt x="1711575" y="1406636"/>
                  <a:pt x="1712608" y="1406016"/>
                </a:cubicBezTo>
                <a:close/>
                <a:moveTo>
                  <a:pt x="5256529" y="1405616"/>
                </a:moveTo>
                <a:cubicBezTo>
                  <a:pt x="5260797" y="1405332"/>
                  <a:pt x="5267626" y="1407324"/>
                  <a:pt x="5267626" y="1408178"/>
                </a:cubicBezTo>
                <a:cubicBezTo>
                  <a:pt x="5268907" y="1408178"/>
                  <a:pt x="5269120" y="1409316"/>
                  <a:pt x="5270187" y="1409316"/>
                </a:cubicBezTo>
                <a:cubicBezTo>
                  <a:pt x="5270187" y="1409316"/>
                  <a:pt x="5271468" y="1409173"/>
                  <a:pt x="5272748" y="1410311"/>
                </a:cubicBezTo>
                <a:cubicBezTo>
                  <a:pt x="5274029" y="1411450"/>
                  <a:pt x="5275309" y="1412588"/>
                  <a:pt x="5274456" y="1415148"/>
                </a:cubicBezTo>
                <a:cubicBezTo>
                  <a:pt x="5264638" y="1412018"/>
                  <a:pt x="5260157" y="1412303"/>
                  <a:pt x="5252687" y="1409173"/>
                </a:cubicBezTo>
                <a:cubicBezTo>
                  <a:pt x="5252474" y="1407893"/>
                  <a:pt x="5253754" y="1407893"/>
                  <a:pt x="5253541" y="1406612"/>
                </a:cubicBezTo>
                <a:cubicBezTo>
                  <a:pt x="5253967" y="1406044"/>
                  <a:pt x="5255034" y="1405616"/>
                  <a:pt x="5256529" y="1405616"/>
                </a:cubicBezTo>
                <a:close/>
                <a:moveTo>
                  <a:pt x="5230705" y="1404906"/>
                </a:moveTo>
                <a:cubicBezTo>
                  <a:pt x="5236253" y="1405332"/>
                  <a:pt x="5241376" y="1407466"/>
                  <a:pt x="5242656" y="1415148"/>
                </a:cubicBezTo>
                <a:cubicBezTo>
                  <a:pt x="5234120" y="1425107"/>
                  <a:pt x="5213204" y="1423542"/>
                  <a:pt x="5215552" y="1411450"/>
                </a:cubicBezTo>
                <a:cubicBezTo>
                  <a:pt x="5215765" y="1409743"/>
                  <a:pt x="5216619" y="1407893"/>
                  <a:pt x="5217899" y="1405759"/>
                </a:cubicBezTo>
                <a:cubicBezTo>
                  <a:pt x="5220034" y="1405616"/>
                  <a:pt x="5222381" y="1405190"/>
                  <a:pt x="5224942" y="1405047"/>
                </a:cubicBezTo>
                <a:cubicBezTo>
                  <a:pt x="5226863" y="1404906"/>
                  <a:pt x="5228784" y="1404763"/>
                  <a:pt x="5230705" y="1404906"/>
                </a:cubicBezTo>
                <a:close/>
                <a:moveTo>
                  <a:pt x="4283974" y="1404906"/>
                </a:moveTo>
                <a:cubicBezTo>
                  <a:pt x="4285682" y="1404479"/>
                  <a:pt x="4287389" y="1405332"/>
                  <a:pt x="4288670" y="1406755"/>
                </a:cubicBezTo>
                <a:cubicBezTo>
                  <a:pt x="4289950" y="1408178"/>
                  <a:pt x="4290804" y="1410169"/>
                  <a:pt x="4291444" y="1412018"/>
                </a:cubicBezTo>
                <a:cubicBezTo>
                  <a:pt x="4290804" y="1411023"/>
                  <a:pt x="4290804" y="1411023"/>
                  <a:pt x="4290804" y="1411023"/>
                </a:cubicBezTo>
                <a:cubicBezTo>
                  <a:pt x="4289096" y="1410596"/>
                  <a:pt x="4289737" y="1411734"/>
                  <a:pt x="4288883" y="1412303"/>
                </a:cubicBezTo>
                <a:cubicBezTo>
                  <a:pt x="4288883" y="1412303"/>
                  <a:pt x="4289737" y="1411592"/>
                  <a:pt x="4289523" y="1413299"/>
                </a:cubicBezTo>
                <a:cubicBezTo>
                  <a:pt x="4288883" y="1412303"/>
                  <a:pt x="4288029" y="1412872"/>
                  <a:pt x="4286962" y="1413583"/>
                </a:cubicBezTo>
                <a:cubicBezTo>
                  <a:pt x="4283761" y="1412730"/>
                  <a:pt x="4279706" y="1410738"/>
                  <a:pt x="4279279" y="1408035"/>
                </a:cubicBezTo>
                <a:cubicBezTo>
                  <a:pt x="4279706" y="1404763"/>
                  <a:pt x="4282267" y="1404479"/>
                  <a:pt x="4283974" y="1404906"/>
                </a:cubicBezTo>
                <a:close/>
                <a:moveTo>
                  <a:pt x="1635269" y="1404467"/>
                </a:moveTo>
                <a:cubicBezTo>
                  <a:pt x="1639812" y="1407565"/>
                  <a:pt x="1633617" y="1411747"/>
                  <a:pt x="1631035" y="1411438"/>
                </a:cubicBezTo>
                <a:cubicBezTo>
                  <a:pt x="1630106" y="1410663"/>
                  <a:pt x="1629693" y="1409734"/>
                  <a:pt x="1629693" y="1408959"/>
                </a:cubicBezTo>
                <a:cubicBezTo>
                  <a:pt x="1629796" y="1406481"/>
                  <a:pt x="1633307" y="1404158"/>
                  <a:pt x="1635269" y="1404467"/>
                </a:cubicBezTo>
                <a:close/>
                <a:moveTo>
                  <a:pt x="4113879" y="1404194"/>
                </a:moveTo>
                <a:cubicBezTo>
                  <a:pt x="4115586" y="1404621"/>
                  <a:pt x="4122416" y="1404621"/>
                  <a:pt x="4122202" y="1406328"/>
                </a:cubicBezTo>
                <a:cubicBezTo>
                  <a:pt x="4122202" y="1406328"/>
                  <a:pt x="4120495" y="1405901"/>
                  <a:pt x="4119001" y="1405474"/>
                </a:cubicBezTo>
                <a:cubicBezTo>
                  <a:pt x="4117293" y="1405047"/>
                  <a:pt x="4117293" y="1405047"/>
                  <a:pt x="4116867" y="1406755"/>
                </a:cubicBezTo>
                <a:cubicBezTo>
                  <a:pt x="4115373" y="1406328"/>
                  <a:pt x="4115373" y="1406328"/>
                  <a:pt x="4113879" y="1404194"/>
                </a:cubicBezTo>
                <a:close/>
                <a:moveTo>
                  <a:pt x="3688107" y="1404052"/>
                </a:moveTo>
                <a:cubicBezTo>
                  <a:pt x="3688960" y="1404194"/>
                  <a:pt x="3690241" y="1404621"/>
                  <a:pt x="3691308" y="1405332"/>
                </a:cubicBezTo>
                <a:cubicBezTo>
                  <a:pt x="3690027" y="1406470"/>
                  <a:pt x="3691308" y="1409031"/>
                  <a:pt x="3690027" y="1410169"/>
                </a:cubicBezTo>
                <a:cubicBezTo>
                  <a:pt x="3690027" y="1410169"/>
                  <a:pt x="3686613" y="1411023"/>
                  <a:pt x="3686613" y="1411023"/>
                </a:cubicBezTo>
                <a:cubicBezTo>
                  <a:pt x="3685332" y="1409600"/>
                  <a:pt x="3685332" y="1409600"/>
                  <a:pt x="3686613" y="1409743"/>
                </a:cubicBezTo>
                <a:cubicBezTo>
                  <a:pt x="3685332" y="1407181"/>
                  <a:pt x="3685332" y="1405901"/>
                  <a:pt x="3685546" y="1404621"/>
                </a:cubicBezTo>
                <a:cubicBezTo>
                  <a:pt x="3685972" y="1404194"/>
                  <a:pt x="3687039" y="1403909"/>
                  <a:pt x="3688107" y="1404052"/>
                </a:cubicBezTo>
                <a:close/>
                <a:moveTo>
                  <a:pt x="1695364" y="1403693"/>
                </a:moveTo>
                <a:lnTo>
                  <a:pt x="1699495" y="1406481"/>
                </a:lnTo>
                <a:lnTo>
                  <a:pt x="1699907" y="1406326"/>
                </a:lnTo>
                <a:lnTo>
                  <a:pt x="1700217" y="1406946"/>
                </a:lnTo>
                <a:lnTo>
                  <a:pt x="1701973" y="1408030"/>
                </a:lnTo>
                <a:cubicBezTo>
                  <a:pt x="1706206" y="1412677"/>
                  <a:pt x="1704038" y="1418408"/>
                  <a:pt x="1699804" y="1420886"/>
                </a:cubicBezTo>
                <a:cubicBezTo>
                  <a:pt x="1697945" y="1421971"/>
                  <a:pt x="1695777" y="1422435"/>
                  <a:pt x="1693505" y="1421971"/>
                </a:cubicBezTo>
                <a:lnTo>
                  <a:pt x="1692370" y="1421351"/>
                </a:lnTo>
                <a:lnTo>
                  <a:pt x="1693402" y="1423210"/>
                </a:lnTo>
                <a:cubicBezTo>
                  <a:pt x="1694848" y="1426617"/>
                  <a:pt x="1695054" y="1430335"/>
                  <a:pt x="1691543" y="1433433"/>
                </a:cubicBezTo>
                <a:cubicBezTo>
                  <a:pt x="1684626" y="1431884"/>
                  <a:pt x="1678740" y="1423519"/>
                  <a:pt x="1679669" y="1418253"/>
                </a:cubicBezTo>
                <a:cubicBezTo>
                  <a:pt x="1679979" y="1416549"/>
                  <a:pt x="1681011" y="1415000"/>
                  <a:pt x="1682973" y="1414381"/>
                </a:cubicBezTo>
                <a:lnTo>
                  <a:pt x="1685555" y="1414071"/>
                </a:lnTo>
                <a:cubicBezTo>
                  <a:pt x="1688342" y="1408030"/>
                  <a:pt x="1692163" y="1407255"/>
                  <a:pt x="1695364" y="1403693"/>
                </a:cubicBezTo>
                <a:close/>
                <a:moveTo>
                  <a:pt x="4135008" y="1403625"/>
                </a:moveTo>
                <a:cubicBezTo>
                  <a:pt x="4135861" y="1404621"/>
                  <a:pt x="4137355" y="1405047"/>
                  <a:pt x="4137355" y="1405047"/>
                </a:cubicBezTo>
                <a:cubicBezTo>
                  <a:pt x="4137142" y="1406612"/>
                  <a:pt x="4136288" y="1407324"/>
                  <a:pt x="4135221" y="1407893"/>
                </a:cubicBezTo>
                <a:cubicBezTo>
                  <a:pt x="4133727" y="1407466"/>
                  <a:pt x="4132873" y="1406470"/>
                  <a:pt x="4131380" y="1406044"/>
                </a:cubicBezTo>
                <a:cubicBezTo>
                  <a:pt x="4130526" y="1406612"/>
                  <a:pt x="4128605" y="1407893"/>
                  <a:pt x="4126897" y="1407466"/>
                </a:cubicBezTo>
                <a:cubicBezTo>
                  <a:pt x="4125404" y="1407039"/>
                  <a:pt x="4123056" y="1405616"/>
                  <a:pt x="4123056" y="1405616"/>
                </a:cubicBezTo>
                <a:cubicBezTo>
                  <a:pt x="4123269" y="1403909"/>
                  <a:pt x="4123483" y="1403909"/>
                  <a:pt x="4124123" y="1404906"/>
                </a:cubicBezTo>
                <a:cubicBezTo>
                  <a:pt x="4126684" y="1404763"/>
                  <a:pt x="4125617" y="1405332"/>
                  <a:pt x="4127324" y="1405759"/>
                </a:cubicBezTo>
                <a:cubicBezTo>
                  <a:pt x="4128818" y="1406186"/>
                  <a:pt x="4134794" y="1405190"/>
                  <a:pt x="4135008" y="1403625"/>
                </a:cubicBezTo>
                <a:close/>
                <a:moveTo>
                  <a:pt x="4623525" y="1403198"/>
                </a:moveTo>
                <a:cubicBezTo>
                  <a:pt x="4624592" y="1403340"/>
                  <a:pt x="4625660" y="1403625"/>
                  <a:pt x="4626300" y="1404621"/>
                </a:cubicBezTo>
                <a:cubicBezTo>
                  <a:pt x="4628007" y="1408462"/>
                  <a:pt x="4619044" y="1419986"/>
                  <a:pt x="4614561" y="1412161"/>
                </a:cubicBezTo>
                <a:cubicBezTo>
                  <a:pt x="4613921" y="1411307"/>
                  <a:pt x="4613921" y="1410027"/>
                  <a:pt x="4614775" y="1408604"/>
                </a:cubicBezTo>
                <a:cubicBezTo>
                  <a:pt x="4616269" y="1405759"/>
                  <a:pt x="4620324" y="1402771"/>
                  <a:pt x="4623525" y="1403198"/>
                </a:cubicBezTo>
                <a:close/>
                <a:moveTo>
                  <a:pt x="1281720" y="1402918"/>
                </a:moveTo>
                <a:cubicBezTo>
                  <a:pt x="1283475" y="1401679"/>
                  <a:pt x="1286160" y="1401524"/>
                  <a:pt x="1286779" y="1404003"/>
                </a:cubicBezTo>
                <a:cubicBezTo>
                  <a:pt x="1285747" y="1405551"/>
                  <a:pt x="1283888" y="1406946"/>
                  <a:pt x="1282030" y="1408339"/>
                </a:cubicBezTo>
                <a:cubicBezTo>
                  <a:pt x="1280584" y="1407410"/>
                  <a:pt x="1280067" y="1406326"/>
                  <a:pt x="1280171" y="1405397"/>
                </a:cubicBezTo>
                <a:cubicBezTo>
                  <a:pt x="1280171" y="1404467"/>
                  <a:pt x="1280894" y="1403538"/>
                  <a:pt x="1281720" y="1402918"/>
                </a:cubicBezTo>
                <a:close/>
                <a:moveTo>
                  <a:pt x="1793767" y="1402299"/>
                </a:moveTo>
                <a:cubicBezTo>
                  <a:pt x="1794077" y="1403073"/>
                  <a:pt x="1795626" y="1404312"/>
                  <a:pt x="1795316" y="1405397"/>
                </a:cubicBezTo>
                <a:cubicBezTo>
                  <a:pt x="1794903" y="1406481"/>
                  <a:pt x="1794903" y="1406636"/>
                  <a:pt x="1793354" y="1407101"/>
                </a:cubicBezTo>
                <a:cubicBezTo>
                  <a:pt x="1793148" y="1405861"/>
                  <a:pt x="1793044" y="1405087"/>
                  <a:pt x="1793044" y="1404467"/>
                </a:cubicBezTo>
                <a:cubicBezTo>
                  <a:pt x="1793148" y="1403848"/>
                  <a:pt x="1793354" y="1403383"/>
                  <a:pt x="1793767" y="1402299"/>
                </a:cubicBezTo>
                <a:close/>
                <a:moveTo>
                  <a:pt x="1653106" y="1401931"/>
                </a:moveTo>
                <a:cubicBezTo>
                  <a:pt x="1656901" y="1400905"/>
                  <a:pt x="1661341" y="1401911"/>
                  <a:pt x="1666452" y="1406636"/>
                </a:cubicBezTo>
                <a:cubicBezTo>
                  <a:pt x="1668931" y="1408030"/>
                  <a:pt x="1667692" y="1408030"/>
                  <a:pt x="1668931" y="1409424"/>
                </a:cubicBezTo>
                <a:cubicBezTo>
                  <a:pt x="1670170" y="1410663"/>
                  <a:pt x="1672751" y="1412057"/>
                  <a:pt x="1673990" y="1412057"/>
                </a:cubicBezTo>
                <a:cubicBezTo>
                  <a:pt x="1670273" y="1417323"/>
                  <a:pt x="1674093" y="1420112"/>
                  <a:pt x="1667692" y="1428166"/>
                </a:cubicBezTo>
                <a:cubicBezTo>
                  <a:pt x="1660154" y="1438854"/>
                  <a:pt x="1651274" y="1436221"/>
                  <a:pt x="1646214" y="1432193"/>
                </a:cubicBezTo>
                <a:cubicBezTo>
                  <a:pt x="1647143" y="1431264"/>
                  <a:pt x="1640225" y="1425688"/>
                  <a:pt x="1640432" y="1417788"/>
                </a:cubicBezTo>
                <a:cubicBezTo>
                  <a:pt x="1640535" y="1415155"/>
                  <a:pt x="1641361" y="1412367"/>
                  <a:pt x="1643633" y="1409424"/>
                </a:cubicBezTo>
                <a:cubicBezTo>
                  <a:pt x="1646163" y="1406016"/>
                  <a:pt x="1649312" y="1402957"/>
                  <a:pt x="1653106" y="1401931"/>
                </a:cubicBezTo>
                <a:close/>
                <a:moveTo>
                  <a:pt x="1103190" y="1400904"/>
                </a:moveTo>
                <a:cubicBezTo>
                  <a:pt x="1103912" y="1400440"/>
                  <a:pt x="1106391" y="1402763"/>
                  <a:pt x="1106081" y="1403848"/>
                </a:cubicBezTo>
                <a:cubicBezTo>
                  <a:pt x="1105978" y="1406946"/>
                  <a:pt x="1102880" y="1406946"/>
                  <a:pt x="1099472" y="1408339"/>
                </a:cubicBezTo>
                <a:cubicBezTo>
                  <a:pt x="1099782" y="1407101"/>
                  <a:pt x="1098646" y="1406946"/>
                  <a:pt x="1097407" y="1406791"/>
                </a:cubicBezTo>
                <a:cubicBezTo>
                  <a:pt x="1097821" y="1404932"/>
                  <a:pt x="1098130" y="1402144"/>
                  <a:pt x="1100298" y="1401215"/>
                </a:cubicBezTo>
                <a:cubicBezTo>
                  <a:pt x="1101022" y="1400904"/>
                  <a:pt x="1101951" y="1400750"/>
                  <a:pt x="1103190" y="1400904"/>
                </a:cubicBezTo>
                <a:close/>
                <a:moveTo>
                  <a:pt x="1235255" y="1400595"/>
                </a:moveTo>
                <a:cubicBezTo>
                  <a:pt x="1238971" y="1400130"/>
                  <a:pt x="1240107" y="1404312"/>
                  <a:pt x="1238352" y="1405706"/>
                </a:cubicBezTo>
                <a:cubicBezTo>
                  <a:pt x="1237732" y="1406171"/>
                  <a:pt x="1236803" y="1406326"/>
                  <a:pt x="1235667" y="1406016"/>
                </a:cubicBezTo>
                <a:cubicBezTo>
                  <a:pt x="1235358" y="1405087"/>
                  <a:pt x="1235255" y="1404312"/>
                  <a:pt x="1235255" y="1403538"/>
                </a:cubicBezTo>
                <a:cubicBezTo>
                  <a:pt x="1235151" y="1402763"/>
                  <a:pt x="1235255" y="1401834"/>
                  <a:pt x="1235255" y="1400595"/>
                </a:cubicBezTo>
                <a:close/>
                <a:moveTo>
                  <a:pt x="1792735" y="1399975"/>
                </a:moveTo>
                <a:cubicBezTo>
                  <a:pt x="1793354" y="1399665"/>
                  <a:pt x="1793767" y="1400595"/>
                  <a:pt x="1793561" y="1401679"/>
                </a:cubicBezTo>
                <a:cubicBezTo>
                  <a:pt x="1793561" y="1401679"/>
                  <a:pt x="1792838" y="1401989"/>
                  <a:pt x="1792838" y="1401989"/>
                </a:cubicBezTo>
                <a:cubicBezTo>
                  <a:pt x="1792631" y="1401524"/>
                  <a:pt x="1792322" y="1401215"/>
                  <a:pt x="1792322" y="1400750"/>
                </a:cubicBezTo>
                <a:cubicBezTo>
                  <a:pt x="1792219" y="1400440"/>
                  <a:pt x="1792322" y="1400130"/>
                  <a:pt x="1792735" y="1399975"/>
                </a:cubicBezTo>
                <a:close/>
                <a:moveTo>
                  <a:pt x="4320469" y="1399926"/>
                </a:moveTo>
                <a:cubicBezTo>
                  <a:pt x="4321749" y="1399926"/>
                  <a:pt x="4323030" y="1400495"/>
                  <a:pt x="4323884" y="1401633"/>
                </a:cubicBezTo>
                <a:cubicBezTo>
                  <a:pt x="4324737" y="1402771"/>
                  <a:pt x="4325378" y="1404194"/>
                  <a:pt x="4325592" y="1405616"/>
                </a:cubicBezTo>
                <a:cubicBezTo>
                  <a:pt x="4325164" y="1407181"/>
                  <a:pt x="4325378" y="1407181"/>
                  <a:pt x="4324951" y="1408889"/>
                </a:cubicBezTo>
                <a:cubicBezTo>
                  <a:pt x="4323244" y="1410027"/>
                  <a:pt x="4322177" y="1412303"/>
                  <a:pt x="4319616" y="1412446"/>
                </a:cubicBezTo>
                <a:cubicBezTo>
                  <a:pt x="4317908" y="1412018"/>
                  <a:pt x="4316414" y="1410311"/>
                  <a:pt x="4315347" y="1408462"/>
                </a:cubicBezTo>
                <a:lnTo>
                  <a:pt x="4314280" y="1405474"/>
                </a:lnTo>
                <a:lnTo>
                  <a:pt x="4313213" y="1406755"/>
                </a:lnTo>
                <a:cubicBezTo>
                  <a:pt x="4311933" y="1407324"/>
                  <a:pt x="4310012" y="1406755"/>
                  <a:pt x="4307237" y="1406328"/>
                </a:cubicBezTo>
                <a:cubicBezTo>
                  <a:pt x="4307664" y="1401206"/>
                  <a:pt x="4310225" y="1400495"/>
                  <a:pt x="4315134" y="1400637"/>
                </a:cubicBezTo>
                <a:lnTo>
                  <a:pt x="4314921" y="1401206"/>
                </a:lnTo>
                <a:lnTo>
                  <a:pt x="4315987" y="1400068"/>
                </a:lnTo>
                <a:cubicBezTo>
                  <a:pt x="4317268" y="1399499"/>
                  <a:pt x="4318975" y="1399499"/>
                  <a:pt x="4320469" y="1399926"/>
                </a:cubicBezTo>
                <a:close/>
                <a:moveTo>
                  <a:pt x="5328451" y="1399499"/>
                </a:moveTo>
                <a:cubicBezTo>
                  <a:pt x="5329518" y="1399357"/>
                  <a:pt x="5330371" y="1399499"/>
                  <a:pt x="5331439" y="1399784"/>
                </a:cubicBezTo>
                <a:cubicBezTo>
                  <a:pt x="5335494" y="1400922"/>
                  <a:pt x="5340402" y="1404337"/>
                  <a:pt x="5344030" y="1405759"/>
                </a:cubicBezTo>
                <a:cubicBezTo>
                  <a:pt x="5343604" y="1411165"/>
                  <a:pt x="5342963" y="1412872"/>
                  <a:pt x="5339549" y="1417140"/>
                </a:cubicBezTo>
                <a:cubicBezTo>
                  <a:pt x="5331866" y="1416998"/>
                  <a:pt x="5327597" y="1412588"/>
                  <a:pt x="5323542" y="1408178"/>
                </a:cubicBezTo>
                <a:cubicBezTo>
                  <a:pt x="5323969" y="1402060"/>
                  <a:pt x="5325890" y="1399784"/>
                  <a:pt x="5328451" y="1399499"/>
                </a:cubicBezTo>
                <a:close/>
                <a:moveTo>
                  <a:pt x="3618105" y="1399072"/>
                </a:moveTo>
                <a:cubicBezTo>
                  <a:pt x="3618745" y="1399072"/>
                  <a:pt x="3619385" y="1399642"/>
                  <a:pt x="3620239" y="1400780"/>
                </a:cubicBezTo>
                <a:cubicBezTo>
                  <a:pt x="3622800" y="1403909"/>
                  <a:pt x="3625575" y="1410596"/>
                  <a:pt x="3626215" y="1411307"/>
                </a:cubicBezTo>
                <a:cubicBezTo>
                  <a:pt x="3626215" y="1411307"/>
                  <a:pt x="3626855" y="1412446"/>
                  <a:pt x="3627495" y="1413442"/>
                </a:cubicBezTo>
                <a:cubicBezTo>
                  <a:pt x="3627282" y="1415148"/>
                  <a:pt x="3626428" y="1415575"/>
                  <a:pt x="3627068" y="1416714"/>
                </a:cubicBezTo>
                <a:cubicBezTo>
                  <a:pt x="3622160" y="1415433"/>
                  <a:pt x="3621093" y="1411734"/>
                  <a:pt x="3620026" y="1408035"/>
                </a:cubicBezTo>
                <a:cubicBezTo>
                  <a:pt x="3619599" y="1405332"/>
                  <a:pt x="3618958" y="1404337"/>
                  <a:pt x="3616611" y="1402914"/>
                </a:cubicBezTo>
                <a:cubicBezTo>
                  <a:pt x="3616611" y="1402914"/>
                  <a:pt x="3616611" y="1402914"/>
                  <a:pt x="3617038" y="1399642"/>
                </a:cubicBezTo>
                <a:close/>
                <a:moveTo>
                  <a:pt x="1054660" y="1399046"/>
                </a:moveTo>
                <a:cubicBezTo>
                  <a:pt x="1055795" y="1400285"/>
                  <a:pt x="1056001" y="1402144"/>
                  <a:pt x="1054969" y="1405087"/>
                </a:cubicBezTo>
                <a:cubicBezTo>
                  <a:pt x="1050426" y="1406636"/>
                  <a:pt x="1049600" y="1404158"/>
                  <a:pt x="1048670" y="1401679"/>
                </a:cubicBezTo>
                <a:cubicBezTo>
                  <a:pt x="1051871" y="1401215"/>
                  <a:pt x="1051149" y="1397497"/>
                  <a:pt x="1054660" y="1399046"/>
                </a:cubicBezTo>
                <a:close/>
                <a:moveTo>
                  <a:pt x="4556938" y="1398219"/>
                </a:moveTo>
                <a:cubicBezTo>
                  <a:pt x="4557152" y="1399357"/>
                  <a:pt x="4558432" y="1400495"/>
                  <a:pt x="4558646" y="1401775"/>
                </a:cubicBezTo>
                <a:cubicBezTo>
                  <a:pt x="4556511" y="1404337"/>
                  <a:pt x="4552883" y="1402060"/>
                  <a:pt x="4552670" y="1400780"/>
                </a:cubicBezTo>
                <a:cubicBezTo>
                  <a:pt x="4553523" y="1399499"/>
                  <a:pt x="4555871" y="1399499"/>
                  <a:pt x="4556938" y="1398219"/>
                </a:cubicBezTo>
                <a:close/>
                <a:moveTo>
                  <a:pt x="4147599" y="1397223"/>
                </a:moveTo>
                <a:cubicBezTo>
                  <a:pt x="4148880" y="1397365"/>
                  <a:pt x="4150374" y="1397650"/>
                  <a:pt x="4152508" y="1397934"/>
                </a:cubicBezTo>
                <a:cubicBezTo>
                  <a:pt x="4154215" y="1398219"/>
                  <a:pt x="4155496" y="1399072"/>
                  <a:pt x="4156777" y="1400210"/>
                </a:cubicBezTo>
                <a:cubicBezTo>
                  <a:pt x="4157844" y="1401349"/>
                  <a:pt x="4158484" y="1402914"/>
                  <a:pt x="4158910" y="1404763"/>
                </a:cubicBezTo>
                <a:cubicBezTo>
                  <a:pt x="4160831" y="1406186"/>
                  <a:pt x="4162539" y="1409173"/>
                  <a:pt x="4162539" y="1411734"/>
                </a:cubicBezTo>
                <a:cubicBezTo>
                  <a:pt x="4161472" y="1415006"/>
                  <a:pt x="4159337" y="1416287"/>
                  <a:pt x="4157844" y="1416002"/>
                </a:cubicBezTo>
                <a:lnTo>
                  <a:pt x="4150374" y="1413442"/>
                </a:lnTo>
                <a:lnTo>
                  <a:pt x="4149733" y="1414010"/>
                </a:lnTo>
                <a:cubicBezTo>
                  <a:pt x="4145892" y="1414722"/>
                  <a:pt x="4142264" y="1409316"/>
                  <a:pt x="4142051" y="1404906"/>
                </a:cubicBezTo>
                <a:lnTo>
                  <a:pt x="4142691" y="1401917"/>
                </a:lnTo>
                <a:lnTo>
                  <a:pt x="4142477" y="1401633"/>
                </a:lnTo>
                <a:cubicBezTo>
                  <a:pt x="4143544" y="1397934"/>
                  <a:pt x="4143971" y="1396938"/>
                  <a:pt x="4147599" y="1397223"/>
                </a:cubicBezTo>
                <a:close/>
                <a:moveTo>
                  <a:pt x="3869300" y="1396369"/>
                </a:moveTo>
                <a:cubicBezTo>
                  <a:pt x="3870367" y="1396654"/>
                  <a:pt x="3872501" y="1399357"/>
                  <a:pt x="3873568" y="1400637"/>
                </a:cubicBezTo>
                <a:cubicBezTo>
                  <a:pt x="3874849" y="1400780"/>
                  <a:pt x="3875916" y="1402202"/>
                  <a:pt x="3875703" y="1403340"/>
                </a:cubicBezTo>
                <a:cubicBezTo>
                  <a:pt x="3875703" y="1403340"/>
                  <a:pt x="3876769" y="1404763"/>
                  <a:pt x="3878050" y="1404906"/>
                </a:cubicBezTo>
                <a:lnTo>
                  <a:pt x="3879331" y="1407181"/>
                </a:lnTo>
                <a:lnTo>
                  <a:pt x="3879331" y="1407039"/>
                </a:lnTo>
                <a:cubicBezTo>
                  <a:pt x="3880184" y="1406612"/>
                  <a:pt x="3881038" y="1406186"/>
                  <a:pt x="3881892" y="1406470"/>
                </a:cubicBezTo>
                <a:cubicBezTo>
                  <a:pt x="3882532" y="1406897"/>
                  <a:pt x="3882959" y="1407039"/>
                  <a:pt x="3883172" y="1407466"/>
                </a:cubicBezTo>
                <a:cubicBezTo>
                  <a:pt x="3883386" y="1407751"/>
                  <a:pt x="3883599" y="1408320"/>
                  <a:pt x="3884026" y="1409458"/>
                </a:cubicBezTo>
                <a:cubicBezTo>
                  <a:pt x="3882105" y="1409600"/>
                  <a:pt x="3881038" y="1409743"/>
                  <a:pt x="3880398" y="1409600"/>
                </a:cubicBezTo>
                <a:lnTo>
                  <a:pt x="3879757" y="1409316"/>
                </a:lnTo>
                <a:lnTo>
                  <a:pt x="3879971" y="1409885"/>
                </a:lnTo>
                <a:lnTo>
                  <a:pt x="3878264" y="1408746"/>
                </a:lnTo>
                <a:lnTo>
                  <a:pt x="3877197" y="1408462"/>
                </a:lnTo>
                <a:lnTo>
                  <a:pt x="3877624" y="1408178"/>
                </a:lnTo>
                <a:lnTo>
                  <a:pt x="3875489" y="1405616"/>
                </a:lnTo>
                <a:cubicBezTo>
                  <a:pt x="3875489" y="1405616"/>
                  <a:pt x="3874422" y="1405474"/>
                  <a:pt x="3873355" y="1405332"/>
                </a:cubicBezTo>
                <a:cubicBezTo>
                  <a:pt x="3869940" y="1402344"/>
                  <a:pt x="3867806" y="1400922"/>
                  <a:pt x="3869300" y="1396369"/>
                </a:cubicBezTo>
                <a:close/>
                <a:moveTo>
                  <a:pt x="3823841" y="1396085"/>
                </a:moveTo>
                <a:cubicBezTo>
                  <a:pt x="3828537" y="1395515"/>
                  <a:pt x="3829390" y="1398930"/>
                  <a:pt x="3831311" y="1403056"/>
                </a:cubicBezTo>
                <a:cubicBezTo>
                  <a:pt x="3829390" y="1404479"/>
                  <a:pt x="3828964" y="1408178"/>
                  <a:pt x="3825976" y="1409173"/>
                </a:cubicBezTo>
                <a:cubicBezTo>
                  <a:pt x="3825976" y="1409173"/>
                  <a:pt x="3824482" y="1409600"/>
                  <a:pt x="3822348" y="1408462"/>
                </a:cubicBezTo>
                <a:cubicBezTo>
                  <a:pt x="3818293" y="1408746"/>
                  <a:pt x="3816585" y="1403767"/>
                  <a:pt x="3816585" y="1403767"/>
                </a:cubicBezTo>
                <a:cubicBezTo>
                  <a:pt x="3816585" y="1403767"/>
                  <a:pt x="3816585" y="1403767"/>
                  <a:pt x="3815945" y="1404906"/>
                </a:cubicBezTo>
                <a:cubicBezTo>
                  <a:pt x="3817012" y="1402771"/>
                  <a:pt x="3817012" y="1400068"/>
                  <a:pt x="3817866" y="1397934"/>
                </a:cubicBezTo>
                <a:cubicBezTo>
                  <a:pt x="3820427" y="1396796"/>
                  <a:pt x="3822348" y="1396227"/>
                  <a:pt x="3823841" y="1396085"/>
                </a:cubicBezTo>
                <a:close/>
                <a:moveTo>
                  <a:pt x="1790670" y="1395948"/>
                </a:moveTo>
                <a:cubicBezTo>
                  <a:pt x="1790670" y="1395948"/>
                  <a:pt x="1791806" y="1396568"/>
                  <a:pt x="1791806" y="1396568"/>
                </a:cubicBezTo>
                <a:cubicBezTo>
                  <a:pt x="1791599" y="1397651"/>
                  <a:pt x="1792219" y="1397497"/>
                  <a:pt x="1790773" y="1397961"/>
                </a:cubicBezTo>
                <a:cubicBezTo>
                  <a:pt x="1791083" y="1396877"/>
                  <a:pt x="1791083" y="1396877"/>
                  <a:pt x="1790670" y="1395948"/>
                </a:cubicBezTo>
                <a:close/>
                <a:moveTo>
                  <a:pt x="4757339" y="1395089"/>
                </a:moveTo>
                <a:cubicBezTo>
                  <a:pt x="4772919" y="1398361"/>
                  <a:pt x="4760754" y="1409173"/>
                  <a:pt x="4756913" y="1416429"/>
                </a:cubicBezTo>
                <a:lnTo>
                  <a:pt x="4753284" y="1415291"/>
                </a:lnTo>
                <a:lnTo>
                  <a:pt x="4752858" y="1415575"/>
                </a:lnTo>
                <a:cubicBezTo>
                  <a:pt x="4747736" y="1417425"/>
                  <a:pt x="4743040" y="1413299"/>
                  <a:pt x="4744108" y="1408462"/>
                </a:cubicBezTo>
                <a:cubicBezTo>
                  <a:pt x="4744535" y="1406328"/>
                  <a:pt x="4746028" y="1404052"/>
                  <a:pt x="4749230" y="1402202"/>
                </a:cubicBezTo>
                <a:lnTo>
                  <a:pt x="4750083" y="1402771"/>
                </a:lnTo>
                <a:lnTo>
                  <a:pt x="4750510" y="1401349"/>
                </a:lnTo>
                <a:cubicBezTo>
                  <a:pt x="4752431" y="1398930"/>
                  <a:pt x="4754992" y="1397080"/>
                  <a:pt x="4757339" y="1395089"/>
                </a:cubicBezTo>
                <a:close/>
                <a:moveTo>
                  <a:pt x="1587048" y="1394709"/>
                </a:moveTo>
                <a:cubicBezTo>
                  <a:pt x="1590559" y="1394554"/>
                  <a:pt x="1593657" y="1396103"/>
                  <a:pt x="1595102" y="1398271"/>
                </a:cubicBezTo>
                <a:cubicBezTo>
                  <a:pt x="1596548" y="1400595"/>
                  <a:pt x="1596341" y="1403693"/>
                  <a:pt x="1593140" y="1406481"/>
                </a:cubicBezTo>
                <a:cubicBezTo>
                  <a:pt x="1587358" y="1406946"/>
                  <a:pt x="1583021" y="1402299"/>
                  <a:pt x="1584054" y="1398271"/>
                </a:cubicBezTo>
                <a:cubicBezTo>
                  <a:pt x="1584467" y="1396877"/>
                  <a:pt x="1585396" y="1395638"/>
                  <a:pt x="1587048" y="1394709"/>
                </a:cubicBezTo>
                <a:close/>
                <a:moveTo>
                  <a:pt x="5561078" y="1394093"/>
                </a:moveTo>
                <a:cubicBezTo>
                  <a:pt x="5561078" y="1395800"/>
                  <a:pt x="5562572" y="1395942"/>
                  <a:pt x="5564280" y="1395942"/>
                </a:cubicBezTo>
                <a:cubicBezTo>
                  <a:pt x="5569615" y="1404337"/>
                  <a:pt x="5556169" y="1421551"/>
                  <a:pt x="5549341" y="1416571"/>
                </a:cubicBezTo>
                <a:cubicBezTo>
                  <a:pt x="5548486" y="1415860"/>
                  <a:pt x="5547633" y="1414722"/>
                  <a:pt x="5546993" y="1412872"/>
                </a:cubicBezTo>
                <a:cubicBezTo>
                  <a:pt x="5548060" y="1402771"/>
                  <a:pt x="5551261" y="1395373"/>
                  <a:pt x="5561078" y="1394093"/>
                </a:cubicBezTo>
                <a:close/>
                <a:moveTo>
                  <a:pt x="5756571" y="1393524"/>
                </a:moveTo>
                <a:cubicBezTo>
                  <a:pt x="5757211" y="1393381"/>
                  <a:pt x="5757851" y="1393381"/>
                  <a:pt x="5758705" y="1393950"/>
                </a:cubicBezTo>
                <a:cubicBezTo>
                  <a:pt x="5762120" y="1402629"/>
                  <a:pt x="5749955" y="1424254"/>
                  <a:pt x="5738430" y="1420982"/>
                </a:cubicBezTo>
                <a:cubicBezTo>
                  <a:pt x="5743126" y="1413442"/>
                  <a:pt x="5748461" y="1406897"/>
                  <a:pt x="5751449" y="1395089"/>
                </a:cubicBezTo>
                <a:cubicBezTo>
                  <a:pt x="5753583" y="1395942"/>
                  <a:pt x="5754650" y="1393666"/>
                  <a:pt x="5756571" y="1393524"/>
                </a:cubicBezTo>
                <a:close/>
                <a:moveTo>
                  <a:pt x="4971186" y="1392813"/>
                </a:moveTo>
                <a:cubicBezTo>
                  <a:pt x="4971826" y="1392670"/>
                  <a:pt x="4972894" y="1392955"/>
                  <a:pt x="4974174" y="1394093"/>
                </a:cubicBezTo>
                <a:cubicBezTo>
                  <a:pt x="4976522" y="1395231"/>
                  <a:pt x="4976735" y="1396369"/>
                  <a:pt x="4974814" y="1400068"/>
                </a:cubicBezTo>
                <a:cubicBezTo>
                  <a:pt x="4972894" y="1402629"/>
                  <a:pt x="4972040" y="1405190"/>
                  <a:pt x="4970973" y="1405190"/>
                </a:cubicBezTo>
                <a:cubicBezTo>
                  <a:pt x="4971186" y="1406470"/>
                  <a:pt x="4970119" y="1407751"/>
                  <a:pt x="4970333" y="1408889"/>
                </a:cubicBezTo>
                <a:cubicBezTo>
                  <a:pt x="4970333" y="1408889"/>
                  <a:pt x="4970333" y="1408889"/>
                  <a:pt x="4969266" y="1409031"/>
                </a:cubicBezTo>
                <a:cubicBezTo>
                  <a:pt x="4969692" y="1404052"/>
                  <a:pt x="4967771" y="1398076"/>
                  <a:pt x="4969479" y="1394377"/>
                </a:cubicBezTo>
                <a:cubicBezTo>
                  <a:pt x="4969906" y="1393666"/>
                  <a:pt x="4970546" y="1393097"/>
                  <a:pt x="4971186" y="1392813"/>
                </a:cubicBezTo>
                <a:close/>
                <a:moveTo>
                  <a:pt x="4005675" y="1392813"/>
                </a:moveTo>
                <a:cubicBezTo>
                  <a:pt x="4006529" y="1392528"/>
                  <a:pt x="4007596" y="1392670"/>
                  <a:pt x="4008876" y="1393239"/>
                </a:cubicBezTo>
                <a:cubicBezTo>
                  <a:pt x="4009517" y="1398361"/>
                  <a:pt x="4001620" y="1402629"/>
                  <a:pt x="3997138" y="1400352"/>
                </a:cubicBezTo>
                <a:cubicBezTo>
                  <a:pt x="4002047" y="1397792"/>
                  <a:pt x="4003114" y="1393666"/>
                  <a:pt x="4005675" y="1392813"/>
                </a:cubicBezTo>
                <a:close/>
                <a:moveTo>
                  <a:pt x="5976820" y="1392670"/>
                </a:moveTo>
                <a:cubicBezTo>
                  <a:pt x="5979595" y="1393381"/>
                  <a:pt x="5981515" y="1394946"/>
                  <a:pt x="5982796" y="1396796"/>
                </a:cubicBezTo>
                <a:cubicBezTo>
                  <a:pt x="5986211" y="1402202"/>
                  <a:pt x="5983009" y="1410881"/>
                  <a:pt x="5977033" y="1412588"/>
                </a:cubicBezTo>
                <a:cubicBezTo>
                  <a:pt x="5974472" y="1413299"/>
                  <a:pt x="5971271" y="1412730"/>
                  <a:pt x="5968070" y="1409743"/>
                </a:cubicBezTo>
                <a:cubicBezTo>
                  <a:pt x="5972552" y="1402344"/>
                  <a:pt x="5970417" y="1396938"/>
                  <a:pt x="5976820" y="1392670"/>
                </a:cubicBezTo>
                <a:close/>
                <a:moveTo>
                  <a:pt x="5834682" y="1391816"/>
                </a:moveTo>
                <a:cubicBezTo>
                  <a:pt x="5836390" y="1392101"/>
                  <a:pt x="5838310" y="1392670"/>
                  <a:pt x="5840018" y="1393666"/>
                </a:cubicBezTo>
                <a:cubicBezTo>
                  <a:pt x="5837244" y="1400068"/>
                  <a:pt x="5832975" y="1402202"/>
                  <a:pt x="5826786" y="1402771"/>
                </a:cubicBezTo>
                <a:cubicBezTo>
                  <a:pt x="5825932" y="1400780"/>
                  <a:pt x="5828066" y="1395942"/>
                  <a:pt x="5829347" y="1392813"/>
                </a:cubicBezTo>
                <a:cubicBezTo>
                  <a:pt x="5831054" y="1391959"/>
                  <a:pt x="5832762" y="1391674"/>
                  <a:pt x="5834682" y="1391816"/>
                </a:cubicBezTo>
                <a:close/>
                <a:moveTo>
                  <a:pt x="3539993" y="1391816"/>
                </a:moveTo>
                <a:cubicBezTo>
                  <a:pt x="3540420" y="1392528"/>
                  <a:pt x="3540633" y="1392813"/>
                  <a:pt x="3540633" y="1392955"/>
                </a:cubicBezTo>
                <a:cubicBezTo>
                  <a:pt x="3540633" y="1393239"/>
                  <a:pt x="3540420" y="1393097"/>
                  <a:pt x="3539780" y="1393097"/>
                </a:cubicBezTo>
                <a:lnTo>
                  <a:pt x="3539993" y="1394946"/>
                </a:lnTo>
                <a:lnTo>
                  <a:pt x="3541701" y="1393950"/>
                </a:lnTo>
                <a:cubicBezTo>
                  <a:pt x="3543835" y="1392670"/>
                  <a:pt x="3545969" y="1391816"/>
                  <a:pt x="3548103" y="1391816"/>
                </a:cubicBezTo>
                <a:cubicBezTo>
                  <a:pt x="3548957" y="1392101"/>
                  <a:pt x="3549597" y="1392243"/>
                  <a:pt x="3550237" y="1392813"/>
                </a:cubicBezTo>
                <a:cubicBezTo>
                  <a:pt x="3550664" y="1393381"/>
                  <a:pt x="3551091" y="1394235"/>
                  <a:pt x="3550664" y="1395942"/>
                </a:cubicBezTo>
                <a:cubicBezTo>
                  <a:pt x="3551091" y="1398645"/>
                  <a:pt x="3550237" y="1399215"/>
                  <a:pt x="3545969" y="1399072"/>
                </a:cubicBezTo>
                <a:cubicBezTo>
                  <a:pt x="3544475" y="1398645"/>
                  <a:pt x="3542981" y="1398503"/>
                  <a:pt x="3541914" y="1398361"/>
                </a:cubicBezTo>
                <a:lnTo>
                  <a:pt x="3540420" y="1397792"/>
                </a:lnTo>
                <a:lnTo>
                  <a:pt x="3540420" y="1398076"/>
                </a:lnTo>
                <a:lnTo>
                  <a:pt x="3537219" y="1397934"/>
                </a:lnTo>
                <a:lnTo>
                  <a:pt x="3536152" y="1398219"/>
                </a:lnTo>
                <a:lnTo>
                  <a:pt x="3535725" y="1397934"/>
                </a:lnTo>
                <a:lnTo>
                  <a:pt x="3534658" y="1397934"/>
                </a:lnTo>
                <a:cubicBezTo>
                  <a:pt x="3535938" y="1396796"/>
                  <a:pt x="3535085" y="1394235"/>
                  <a:pt x="3536365" y="1392955"/>
                </a:cubicBezTo>
                <a:cubicBezTo>
                  <a:pt x="3536365" y="1392955"/>
                  <a:pt x="3539993" y="1391816"/>
                  <a:pt x="3539993" y="1391816"/>
                </a:cubicBezTo>
                <a:close/>
                <a:moveTo>
                  <a:pt x="1559892" y="1391611"/>
                </a:moveTo>
                <a:cubicBezTo>
                  <a:pt x="1561234" y="1393934"/>
                  <a:pt x="1560098" y="1397961"/>
                  <a:pt x="1554006" y="1404467"/>
                </a:cubicBezTo>
                <a:cubicBezTo>
                  <a:pt x="1548017" y="1402299"/>
                  <a:pt x="1545127" y="1399975"/>
                  <a:pt x="1544300" y="1397807"/>
                </a:cubicBezTo>
                <a:cubicBezTo>
                  <a:pt x="1543371" y="1395638"/>
                  <a:pt x="1544507" y="1393625"/>
                  <a:pt x="1546572" y="1392230"/>
                </a:cubicBezTo>
                <a:cubicBezTo>
                  <a:pt x="1550496" y="1389287"/>
                  <a:pt x="1557930" y="1388358"/>
                  <a:pt x="1559892" y="1391611"/>
                </a:cubicBezTo>
                <a:close/>
                <a:moveTo>
                  <a:pt x="1150274" y="1391611"/>
                </a:moveTo>
                <a:cubicBezTo>
                  <a:pt x="1151307" y="1391456"/>
                  <a:pt x="1152649" y="1391766"/>
                  <a:pt x="1154818" y="1392850"/>
                </a:cubicBezTo>
                <a:cubicBezTo>
                  <a:pt x="1154818" y="1392850"/>
                  <a:pt x="1155644" y="1393625"/>
                  <a:pt x="1155644" y="1393625"/>
                </a:cubicBezTo>
                <a:lnTo>
                  <a:pt x="1158741" y="1398116"/>
                </a:lnTo>
                <a:lnTo>
                  <a:pt x="1161013" y="1398426"/>
                </a:lnTo>
                <a:cubicBezTo>
                  <a:pt x="1163182" y="1403073"/>
                  <a:pt x="1158535" y="1407565"/>
                  <a:pt x="1153889" y="1407875"/>
                </a:cubicBezTo>
                <a:cubicBezTo>
                  <a:pt x="1152443" y="1407875"/>
                  <a:pt x="1150894" y="1407565"/>
                  <a:pt x="1149655" y="1406481"/>
                </a:cubicBezTo>
                <a:cubicBezTo>
                  <a:pt x="1148932" y="1404932"/>
                  <a:pt x="1148932" y="1403383"/>
                  <a:pt x="1149448" y="1402144"/>
                </a:cubicBezTo>
                <a:lnTo>
                  <a:pt x="1150791" y="1400750"/>
                </a:lnTo>
                <a:lnTo>
                  <a:pt x="1149448" y="1398891"/>
                </a:lnTo>
                <a:cubicBezTo>
                  <a:pt x="1148829" y="1397497"/>
                  <a:pt x="1148209" y="1395948"/>
                  <a:pt x="1146867" y="1394554"/>
                </a:cubicBezTo>
                <a:cubicBezTo>
                  <a:pt x="1148209" y="1393005"/>
                  <a:pt x="1149138" y="1391921"/>
                  <a:pt x="1150274" y="1391611"/>
                </a:cubicBezTo>
                <a:close/>
                <a:moveTo>
                  <a:pt x="4259858" y="1391532"/>
                </a:moveTo>
                <a:cubicBezTo>
                  <a:pt x="4261139" y="1390963"/>
                  <a:pt x="4262632" y="1390678"/>
                  <a:pt x="4264553" y="1391532"/>
                </a:cubicBezTo>
                <a:cubicBezTo>
                  <a:pt x="4266474" y="1394377"/>
                  <a:pt x="4269889" y="1396654"/>
                  <a:pt x="4270956" y="1400495"/>
                </a:cubicBezTo>
                <a:cubicBezTo>
                  <a:pt x="4271169" y="1401775"/>
                  <a:pt x="4271382" y="1403340"/>
                  <a:pt x="4270956" y="1405047"/>
                </a:cubicBezTo>
                <a:lnTo>
                  <a:pt x="4259004" y="1404763"/>
                </a:lnTo>
                <a:lnTo>
                  <a:pt x="4262206" y="1405047"/>
                </a:lnTo>
                <a:cubicBezTo>
                  <a:pt x="4263273" y="1405474"/>
                  <a:pt x="4263699" y="1406186"/>
                  <a:pt x="4263486" y="1407893"/>
                </a:cubicBezTo>
                <a:cubicBezTo>
                  <a:pt x="4263913" y="1410596"/>
                  <a:pt x="4261352" y="1410738"/>
                  <a:pt x="4260925" y="1414153"/>
                </a:cubicBezTo>
                <a:cubicBezTo>
                  <a:pt x="4260925" y="1415575"/>
                  <a:pt x="4261566" y="1416856"/>
                  <a:pt x="4262632" y="1417994"/>
                </a:cubicBezTo>
                <a:lnTo>
                  <a:pt x="4264553" y="1419701"/>
                </a:lnTo>
                <a:lnTo>
                  <a:pt x="4266901" y="1418137"/>
                </a:lnTo>
                <a:cubicBezTo>
                  <a:pt x="4268395" y="1417852"/>
                  <a:pt x="4269675" y="1418137"/>
                  <a:pt x="4269675" y="1418137"/>
                </a:cubicBezTo>
                <a:cubicBezTo>
                  <a:pt x="4269675" y="1418137"/>
                  <a:pt x="4269675" y="1418137"/>
                  <a:pt x="4269035" y="1417140"/>
                </a:cubicBezTo>
                <a:lnTo>
                  <a:pt x="4269889" y="1418137"/>
                </a:lnTo>
                <a:lnTo>
                  <a:pt x="4270102" y="1416002"/>
                </a:lnTo>
                <a:lnTo>
                  <a:pt x="4268608" y="1414864"/>
                </a:lnTo>
                <a:cubicBezTo>
                  <a:pt x="4267541" y="1413442"/>
                  <a:pt x="4266474" y="1412018"/>
                  <a:pt x="4267754" y="1411023"/>
                </a:cubicBezTo>
                <a:cubicBezTo>
                  <a:pt x="4268395" y="1410596"/>
                  <a:pt x="4268608" y="1410027"/>
                  <a:pt x="4269035" y="1409885"/>
                </a:cubicBezTo>
                <a:cubicBezTo>
                  <a:pt x="4269462" y="1409600"/>
                  <a:pt x="4270102" y="1409600"/>
                  <a:pt x="4271169" y="1410454"/>
                </a:cubicBezTo>
                <a:lnTo>
                  <a:pt x="4272663" y="1411307"/>
                </a:lnTo>
                <a:lnTo>
                  <a:pt x="4273090" y="1410596"/>
                </a:lnTo>
                <a:cubicBezTo>
                  <a:pt x="4274157" y="1409600"/>
                  <a:pt x="4275651" y="1408889"/>
                  <a:pt x="4277358" y="1408462"/>
                </a:cubicBezTo>
                <a:cubicBezTo>
                  <a:pt x="4279706" y="1414010"/>
                  <a:pt x="4279493" y="1417852"/>
                  <a:pt x="4277785" y="1420697"/>
                </a:cubicBezTo>
                <a:lnTo>
                  <a:pt x="4272237" y="1426673"/>
                </a:lnTo>
                <a:lnTo>
                  <a:pt x="4271382" y="1429233"/>
                </a:lnTo>
                <a:lnTo>
                  <a:pt x="4272237" y="1433501"/>
                </a:lnTo>
                <a:cubicBezTo>
                  <a:pt x="4269035" y="1432648"/>
                  <a:pt x="4267328" y="1439761"/>
                  <a:pt x="4262419" y="1438481"/>
                </a:cubicBezTo>
                <a:cubicBezTo>
                  <a:pt x="4254949" y="1437485"/>
                  <a:pt x="4251108" y="1435920"/>
                  <a:pt x="4248973" y="1433359"/>
                </a:cubicBezTo>
                <a:lnTo>
                  <a:pt x="4247693" y="1429376"/>
                </a:lnTo>
                <a:lnTo>
                  <a:pt x="4244065" y="1429518"/>
                </a:lnTo>
                <a:cubicBezTo>
                  <a:pt x="4243638" y="1438765"/>
                  <a:pt x="4228058" y="1437343"/>
                  <a:pt x="4224644" y="1438054"/>
                </a:cubicBezTo>
                <a:cubicBezTo>
                  <a:pt x="4224644" y="1438054"/>
                  <a:pt x="4223790" y="1438623"/>
                  <a:pt x="4222083" y="1438196"/>
                </a:cubicBezTo>
                <a:cubicBezTo>
                  <a:pt x="4219522" y="1438481"/>
                  <a:pt x="4221656" y="1435635"/>
                  <a:pt x="4220162" y="1435209"/>
                </a:cubicBezTo>
                <a:cubicBezTo>
                  <a:pt x="4224430" y="1433786"/>
                  <a:pt x="4227845" y="1431510"/>
                  <a:pt x="4230193" y="1429518"/>
                </a:cubicBezTo>
                <a:lnTo>
                  <a:pt x="4232113" y="1427811"/>
                </a:lnTo>
                <a:lnTo>
                  <a:pt x="4231260" y="1422689"/>
                </a:lnTo>
                <a:cubicBezTo>
                  <a:pt x="4230619" y="1420697"/>
                  <a:pt x="4230193" y="1418421"/>
                  <a:pt x="4231046" y="1413726"/>
                </a:cubicBezTo>
                <a:cubicBezTo>
                  <a:pt x="4232541" y="1404763"/>
                  <a:pt x="4237449" y="1401206"/>
                  <a:pt x="4242357" y="1400068"/>
                </a:cubicBezTo>
                <a:lnTo>
                  <a:pt x="4246199" y="1399926"/>
                </a:lnTo>
                <a:lnTo>
                  <a:pt x="4247266" y="1396369"/>
                </a:lnTo>
                <a:cubicBezTo>
                  <a:pt x="4254523" y="1400352"/>
                  <a:pt x="4256230" y="1393666"/>
                  <a:pt x="4259858" y="1391532"/>
                </a:cubicBezTo>
                <a:close/>
                <a:moveTo>
                  <a:pt x="3957656" y="1391390"/>
                </a:moveTo>
                <a:cubicBezTo>
                  <a:pt x="3960004" y="1391959"/>
                  <a:pt x="3962564" y="1392670"/>
                  <a:pt x="3963205" y="1394946"/>
                </a:cubicBezTo>
                <a:cubicBezTo>
                  <a:pt x="3963418" y="1395800"/>
                  <a:pt x="3963418" y="1396654"/>
                  <a:pt x="3963418" y="1397934"/>
                </a:cubicBezTo>
                <a:cubicBezTo>
                  <a:pt x="3963418" y="1397934"/>
                  <a:pt x="3963418" y="1397934"/>
                  <a:pt x="3962351" y="1398503"/>
                </a:cubicBezTo>
                <a:cubicBezTo>
                  <a:pt x="3960644" y="1399784"/>
                  <a:pt x="3959576" y="1400352"/>
                  <a:pt x="3958723" y="1400922"/>
                </a:cubicBezTo>
                <a:cubicBezTo>
                  <a:pt x="3957016" y="1400495"/>
                  <a:pt x="3953174" y="1398645"/>
                  <a:pt x="3953388" y="1397080"/>
                </a:cubicBezTo>
                <a:cubicBezTo>
                  <a:pt x="3954028" y="1393808"/>
                  <a:pt x="3955949" y="1390963"/>
                  <a:pt x="3957656" y="1391390"/>
                </a:cubicBezTo>
                <a:close/>
                <a:moveTo>
                  <a:pt x="4019547" y="1390963"/>
                </a:moveTo>
                <a:cubicBezTo>
                  <a:pt x="4020401" y="1390821"/>
                  <a:pt x="4021255" y="1391248"/>
                  <a:pt x="4022535" y="1392528"/>
                </a:cubicBezTo>
                <a:cubicBezTo>
                  <a:pt x="4024883" y="1393808"/>
                  <a:pt x="4024883" y="1394946"/>
                  <a:pt x="4022749" y="1398503"/>
                </a:cubicBezTo>
                <a:cubicBezTo>
                  <a:pt x="4020614" y="1400780"/>
                  <a:pt x="4019334" y="1403198"/>
                  <a:pt x="4018267" y="1403198"/>
                </a:cubicBezTo>
                <a:cubicBezTo>
                  <a:pt x="4018267" y="1404337"/>
                  <a:pt x="4017200" y="1405616"/>
                  <a:pt x="4017200" y="1406755"/>
                </a:cubicBezTo>
                <a:cubicBezTo>
                  <a:pt x="4017200" y="1406755"/>
                  <a:pt x="4017200" y="1406755"/>
                  <a:pt x="4016133" y="1406755"/>
                </a:cubicBezTo>
                <a:cubicBezTo>
                  <a:pt x="4016987" y="1401917"/>
                  <a:pt x="4015706" y="1395800"/>
                  <a:pt x="4017840" y="1392243"/>
                </a:cubicBezTo>
                <a:cubicBezTo>
                  <a:pt x="4018480" y="1391674"/>
                  <a:pt x="4018907" y="1391106"/>
                  <a:pt x="4019547" y="1390963"/>
                </a:cubicBezTo>
                <a:close/>
                <a:moveTo>
                  <a:pt x="4197753" y="1390821"/>
                </a:moveTo>
                <a:cubicBezTo>
                  <a:pt x="4210131" y="1390109"/>
                  <a:pt x="4221229" y="1395373"/>
                  <a:pt x="4225498" y="1403909"/>
                </a:cubicBezTo>
                <a:cubicBezTo>
                  <a:pt x="4226778" y="1406612"/>
                  <a:pt x="4227418" y="1409743"/>
                  <a:pt x="4226991" y="1413157"/>
                </a:cubicBezTo>
                <a:cubicBezTo>
                  <a:pt x="4225924" y="1417425"/>
                  <a:pt x="4224217" y="1420555"/>
                  <a:pt x="4221656" y="1422689"/>
                </a:cubicBezTo>
                <a:lnTo>
                  <a:pt x="4218455" y="1424111"/>
                </a:lnTo>
                <a:lnTo>
                  <a:pt x="4218882" y="1425677"/>
                </a:lnTo>
                <a:lnTo>
                  <a:pt x="4218027" y="1424254"/>
                </a:lnTo>
                <a:lnTo>
                  <a:pt x="4213973" y="1425961"/>
                </a:lnTo>
                <a:lnTo>
                  <a:pt x="4213546" y="1427099"/>
                </a:lnTo>
                <a:cubicBezTo>
                  <a:pt x="4212692" y="1428237"/>
                  <a:pt x="4211199" y="1429233"/>
                  <a:pt x="4209277" y="1429091"/>
                </a:cubicBezTo>
                <a:cubicBezTo>
                  <a:pt x="4205009" y="1428664"/>
                  <a:pt x="4203088" y="1431510"/>
                  <a:pt x="4198820" y="1431225"/>
                </a:cubicBezTo>
                <a:cubicBezTo>
                  <a:pt x="4198820" y="1431225"/>
                  <a:pt x="4198820" y="1431225"/>
                  <a:pt x="4199033" y="1429518"/>
                </a:cubicBezTo>
                <a:cubicBezTo>
                  <a:pt x="4202021" y="1429091"/>
                  <a:pt x="4204369" y="1427668"/>
                  <a:pt x="4206716" y="1426246"/>
                </a:cubicBezTo>
                <a:lnTo>
                  <a:pt x="4209064" y="1425534"/>
                </a:lnTo>
                <a:lnTo>
                  <a:pt x="4204156" y="1424681"/>
                </a:lnTo>
                <a:cubicBezTo>
                  <a:pt x="4201168" y="1423400"/>
                  <a:pt x="4198393" y="1421266"/>
                  <a:pt x="4196472" y="1418563"/>
                </a:cubicBezTo>
                <a:cubicBezTo>
                  <a:pt x="4191564" y="1412303"/>
                  <a:pt x="4190070" y="1402487"/>
                  <a:pt x="4197753" y="1390821"/>
                </a:cubicBezTo>
                <a:close/>
                <a:moveTo>
                  <a:pt x="3519078" y="1390251"/>
                </a:moveTo>
                <a:cubicBezTo>
                  <a:pt x="3520145" y="1390109"/>
                  <a:pt x="3521426" y="1390394"/>
                  <a:pt x="3522919" y="1391248"/>
                </a:cubicBezTo>
                <a:cubicBezTo>
                  <a:pt x="3525481" y="1397792"/>
                  <a:pt x="3518865" y="1406328"/>
                  <a:pt x="3511608" y="1403482"/>
                </a:cubicBezTo>
                <a:cubicBezTo>
                  <a:pt x="3511822" y="1400780"/>
                  <a:pt x="3510968" y="1398503"/>
                  <a:pt x="3511182" y="1395800"/>
                </a:cubicBezTo>
                <a:cubicBezTo>
                  <a:pt x="3514169" y="1394235"/>
                  <a:pt x="3515877" y="1390536"/>
                  <a:pt x="3519078" y="1390251"/>
                </a:cubicBezTo>
                <a:close/>
                <a:moveTo>
                  <a:pt x="1449614" y="1390217"/>
                </a:moveTo>
                <a:cubicBezTo>
                  <a:pt x="1451576" y="1390062"/>
                  <a:pt x="1453228" y="1390526"/>
                  <a:pt x="1454570" y="1392075"/>
                </a:cubicBezTo>
                <a:cubicBezTo>
                  <a:pt x="1455294" y="1393005"/>
                  <a:pt x="1455809" y="1394399"/>
                  <a:pt x="1456223" y="1395948"/>
                </a:cubicBezTo>
                <a:cubicBezTo>
                  <a:pt x="1451886" y="1400440"/>
                  <a:pt x="1445484" y="1409579"/>
                  <a:pt x="1437017" y="1404932"/>
                </a:cubicBezTo>
                <a:cubicBezTo>
                  <a:pt x="1437017" y="1402763"/>
                  <a:pt x="1437740" y="1400440"/>
                  <a:pt x="1438979" y="1398271"/>
                </a:cubicBezTo>
                <a:lnTo>
                  <a:pt x="1443212" y="1393470"/>
                </a:lnTo>
                <a:lnTo>
                  <a:pt x="1442696" y="1393005"/>
                </a:lnTo>
                <a:cubicBezTo>
                  <a:pt x="1443109" y="1392230"/>
                  <a:pt x="1443109" y="1392230"/>
                  <a:pt x="1444245" y="1391921"/>
                </a:cubicBezTo>
                <a:lnTo>
                  <a:pt x="1444968" y="1392230"/>
                </a:lnTo>
                <a:close/>
                <a:moveTo>
                  <a:pt x="1582195" y="1389907"/>
                </a:moveTo>
                <a:cubicBezTo>
                  <a:pt x="1581886" y="1392230"/>
                  <a:pt x="1581060" y="1393934"/>
                  <a:pt x="1580646" y="1396258"/>
                </a:cubicBezTo>
                <a:cubicBezTo>
                  <a:pt x="1576929" y="1397187"/>
                  <a:pt x="1576723" y="1394244"/>
                  <a:pt x="1576516" y="1391301"/>
                </a:cubicBezTo>
                <a:cubicBezTo>
                  <a:pt x="1578478" y="1390836"/>
                  <a:pt x="1579304" y="1389132"/>
                  <a:pt x="1582195" y="1389907"/>
                </a:cubicBezTo>
                <a:close/>
                <a:moveTo>
                  <a:pt x="4540505" y="1389113"/>
                </a:moveTo>
                <a:cubicBezTo>
                  <a:pt x="4541359" y="1388971"/>
                  <a:pt x="4542639" y="1389113"/>
                  <a:pt x="4543279" y="1389683"/>
                </a:cubicBezTo>
                <a:cubicBezTo>
                  <a:pt x="4545627" y="1390963"/>
                  <a:pt x="4542212" y="1394377"/>
                  <a:pt x="4542426" y="1395658"/>
                </a:cubicBezTo>
                <a:cubicBezTo>
                  <a:pt x="4541145" y="1396796"/>
                  <a:pt x="4540078" y="1397934"/>
                  <a:pt x="4538798" y="1396654"/>
                </a:cubicBezTo>
                <a:cubicBezTo>
                  <a:pt x="4537731" y="1395373"/>
                  <a:pt x="4536664" y="1395373"/>
                  <a:pt x="4537517" y="1392955"/>
                </a:cubicBezTo>
                <a:cubicBezTo>
                  <a:pt x="4537517" y="1391816"/>
                  <a:pt x="4538584" y="1390678"/>
                  <a:pt x="4538584" y="1389398"/>
                </a:cubicBezTo>
                <a:cubicBezTo>
                  <a:pt x="4538584" y="1389398"/>
                  <a:pt x="4539438" y="1389256"/>
                  <a:pt x="4540505" y="1389113"/>
                </a:cubicBezTo>
                <a:close/>
                <a:moveTo>
                  <a:pt x="1463244" y="1388668"/>
                </a:moveTo>
                <a:cubicBezTo>
                  <a:pt x="1470369" y="1394709"/>
                  <a:pt x="1479972" y="1390526"/>
                  <a:pt x="1487509" y="1391611"/>
                </a:cubicBezTo>
                <a:cubicBezTo>
                  <a:pt x="1489988" y="1392075"/>
                  <a:pt x="1492259" y="1393005"/>
                  <a:pt x="1494221" y="1395173"/>
                </a:cubicBezTo>
                <a:cubicBezTo>
                  <a:pt x="1510536" y="1411902"/>
                  <a:pt x="1477287" y="1441642"/>
                  <a:pt x="1463347" y="1418408"/>
                </a:cubicBezTo>
                <a:cubicBezTo>
                  <a:pt x="1462211" y="1416394"/>
                  <a:pt x="1461799" y="1414226"/>
                  <a:pt x="1461592" y="1412057"/>
                </a:cubicBezTo>
                <a:cubicBezTo>
                  <a:pt x="1461179" y="1405242"/>
                  <a:pt x="1463760" y="1397651"/>
                  <a:pt x="1463244" y="1388668"/>
                </a:cubicBezTo>
                <a:close/>
                <a:moveTo>
                  <a:pt x="4821365" y="1388118"/>
                </a:moveTo>
                <a:cubicBezTo>
                  <a:pt x="4839506" y="1389256"/>
                  <a:pt x="4858287" y="1410311"/>
                  <a:pt x="4853165" y="1428379"/>
                </a:cubicBezTo>
                <a:cubicBezTo>
                  <a:pt x="4844628" y="1431367"/>
                  <a:pt x="4836518" y="1430229"/>
                  <a:pt x="4829475" y="1426246"/>
                </a:cubicBezTo>
                <a:cubicBezTo>
                  <a:pt x="4817951" y="1419701"/>
                  <a:pt x="4810054" y="1405759"/>
                  <a:pt x="4811121" y="1391248"/>
                </a:cubicBezTo>
                <a:cubicBezTo>
                  <a:pt x="4812615" y="1390963"/>
                  <a:pt x="4814109" y="1390536"/>
                  <a:pt x="4813682" y="1388971"/>
                </a:cubicBezTo>
                <a:cubicBezTo>
                  <a:pt x="4816244" y="1388260"/>
                  <a:pt x="4818804" y="1387975"/>
                  <a:pt x="4821365" y="1388118"/>
                </a:cubicBezTo>
                <a:close/>
                <a:moveTo>
                  <a:pt x="4324951" y="1387975"/>
                </a:moveTo>
                <a:cubicBezTo>
                  <a:pt x="4327085" y="1386410"/>
                  <a:pt x="4327939" y="1389683"/>
                  <a:pt x="4328579" y="1391248"/>
                </a:cubicBezTo>
                <a:cubicBezTo>
                  <a:pt x="4325592" y="1389540"/>
                  <a:pt x="4324097" y="1390109"/>
                  <a:pt x="4324524" y="1388971"/>
                </a:cubicBezTo>
                <a:cubicBezTo>
                  <a:pt x="4323670" y="1388402"/>
                  <a:pt x="4324097" y="1387406"/>
                  <a:pt x="4324951" y="1387975"/>
                </a:cubicBezTo>
                <a:close/>
                <a:moveTo>
                  <a:pt x="1512497" y="1387583"/>
                </a:moveTo>
                <a:cubicBezTo>
                  <a:pt x="1519209" y="1387119"/>
                  <a:pt x="1525404" y="1391921"/>
                  <a:pt x="1529225" y="1396722"/>
                </a:cubicBezTo>
                <a:lnTo>
                  <a:pt x="1531290" y="1397497"/>
                </a:lnTo>
                <a:lnTo>
                  <a:pt x="1530670" y="1398891"/>
                </a:lnTo>
                <a:lnTo>
                  <a:pt x="1532219" y="1401215"/>
                </a:lnTo>
                <a:lnTo>
                  <a:pt x="1529018" y="1400750"/>
                </a:lnTo>
                <a:lnTo>
                  <a:pt x="1527470" y="1401524"/>
                </a:lnTo>
                <a:cubicBezTo>
                  <a:pt x="1526540" y="1401524"/>
                  <a:pt x="1525611" y="1401215"/>
                  <a:pt x="1524785" y="1400750"/>
                </a:cubicBezTo>
                <a:lnTo>
                  <a:pt x="1523546" y="1399201"/>
                </a:lnTo>
                <a:lnTo>
                  <a:pt x="1519415" y="1397032"/>
                </a:lnTo>
                <a:cubicBezTo>
                  <a:pt x="1515698" y="1394244"/>
                  <a:pt x="1513014" y="1390682"/>
                  <a:pt x="1512497" y="1387583"/>
                </a:cubicBezTo>
                <a:close/>
                <a:moveTo>
                  <a:pt x="5255461" y="1387549"/>
                </a:moveTo>
                <a:cubicBezTo>
                  <a:pt x="5261224" y="1386126"/>
                  <a:pt x="5264638" y="1388260"/>
                  <a:pt x="5266346" y="1392813"/>
                </a:cubicBezTo>
                <a:cubicBezTo>
                  <a:pt x="5263785" y="1399357"/>
                  <a:pt x="5255034" y="1399642"/>
                  <a:pt x="5252900" y="1394235"/>
                </a:cubicBezTo>
                <a:cubicBezTo>
                  <a:pt x="5253541" y="1392528"/>
                  <a:pt x="5253754" y="1389825"/>
                  <a:pt x="5255461" y="1387549"/>
                </a:cubicBezTo>
                <a:close/>
                <a:moveTo>
                  <a:pt x="3827897" y="1387549"/>
                </a:moveTo>
                <a:cubicBezTo>
                  <a:pt x="3827897" y="1387549"/>
                  <a:pt x="3827897" y="1387549"/>
                  <a:pt x="3830457" y="1387833"/>
                </a:cubicBezTo>
                <a:cubicBezTo>
                  <a:pt x="3831524" y="1388402"/>
                  <a:pt x="3832378" y="1388971"/>
                  <a:pt x="3832805" y="1390678"/>
                </a:cubicBezTo>
                <a:cubicBezTo>
                  <a:pt x="3833019" y="1392386"/>
                  <a:pt x="3831738" y="1394662"/>
                  <a:pt x="3830885" y="1395658"/>
                </a:cubicBezTo>
                <a:cubicBezTo>
                  <a:pt x="3830031" y="1395089"/>
                  <a:pt x="3829177" y="1396085"/>
                  <a:pt x="3828323" y="1395515"/>
                </a:cubicBezTo>
                <a:cubicBezTo>
                  <a:pt x="3825762" y="1395373"/>
                  <a:pt x="3825549" y="1395373"/>
                  <a:pt x="3825336" y="1393666"/>
                </a:cubicBezTo>
                <a:cubicBezTo>
                  <a:pt x="3825122" y="1391959"/>
                  <a:pt x="3828110" y="1389256"/>
                  <a:pt x="3827897" y="1387549"/>
                </a:cubicBezTo>
                <a:close/>
                <a:moveTo>
                  <a:pt x="5011309" y="1387406"/>
                </a:moveTo>
                <a:cubicBezTo>
                  <a:pt x="5012590" y="1388118"/>
                  <a:pt x="5013443" y="1389398"/>
                  <a:pt x="5013870" y="1390821"/>
                </a:cubicBezTo>
                <a:cubicBezTo>
                  <a:pt x="5014724" y="1392955"/>
                  <a:pt x="5014510" y="1395515"/>
                  <a:pt x="5013870" y="1397792"/>
                </a:cubicBezTo>
                <a:lnTo>
                  <a:pt x="5011949" y="1400780"/>
                </a:lnTo>
                <a:lnTo>
                  <a:pt x="5012590" y="1402344"/>
                </a:lnTo>
                <a:cubicBezTo>
                  <a:pt x="5004906" y="1411876"/>
                  <a:pt x="4998717" y="1405474"/>
                  <a:pt x="4999998" y="1398503"/>
                </a:cubicBezTo>
                <a:cubicBezTo>
                  <a:pt x="5000425" y="1396085"/>
                  <a:pt x="5001705" y="1393666"/>
                  <a:pt x="5004053" y="1391816"/>
                </a:cubicBezTo>
                <a:cubicBezTo>
                  <a:pt x="5004906" y="1391816"/>
                  <a:pt x="5005974" y="1392243"/>
                  <a:pt x="5006827" y="1392955"/>
                </a:cubicBezTo>
                <a:lnTo>
                  <a:pt x="5007254" y="1393239"/>
                </a:lnTo>
                <a:close/>
                <a:moveTo>
                  <a:pt x="1452815" y="1387274"/>
                </a:moveTo>
                <a:cubicBezTo>
                  <a:pt x="1453538" y="1387583"/>
                  <a:pt x="1454261" y="1387893"/>
                  <a:pt x="1453848" y="1388668"/>
                </a:cubicBezTo>
                <a:cubicBezTo>
                  <a:pt x="1454674" y="1388978"/>
                  <a:pt x="1454570" y="1388978"/>
                  <a:pt x="1454261" y="1389752"/>
                </a:cubicBezTo>
                <a:cubicBezTo>
                  <a:pt x="1453435" y="1389287"/>
                  <a:pt x="1452712" y="1388978"/>
                  <a:pt x="1451989" y="1388668"/>
                </a:cubicBezTo>
                <a:cubicBezTo>
                  <a:pt x="1451783" y="1388203"/>
                  <a:pt x="1451679" y="1387893"/>
                  <a:pt x="1451783" y="1387738"/>
                </a:cubicBezTo>
                <a:cubicBezTo>
                  <a:pt x="1451886" y="1387583"/>
                  <a:pt x="1452196" y="1387428"/>
                  <a:pt x="1452815" y="1387274"/>
                </a:cubicBezTo>
                <a:close/>
                <a:moveTo>
                  <a:pt x="4923167" y="1387121"/>
                </a:moveTo>
                <a:cubicBezTo>
                  <a:pt x="4923807" y="1387691"/>
                  <a:pt x="4924874" y="1388402"/>
                  <a:pt x="4925941" y="1389113"/>
                </a:cubicBezTo>
                <a:lnTo>
                  <a:pt x="4922526" y="1392528"/>
                </a:lnTo>
                <a:cubicBezTo>
                  <a:pt x="4921459" y="1391248"/>
                  <a:pt x="4920179" y="1388829"/>
                  <a:pt x="4921246" y="1387833"/>
                </a:cubicBezTo>
                <a:cubicBezTo>
                  <a:pt x="4921886" y="1386695"/>
                  <a:pt x="4922313" y="1386695"/>
                  <a:pt x="4923167" y="1387121"/>
                </a:cubicBezTo>
                <a:close/>
                <a:moveTo>
                  <a:pt x="1066121" y="1386190"/>
                </a:moveTo>
                <a:cubicBezTo>
                  <a:pt x="1068805" y="1384021"/>
                  <a:pt x="1070561" y="1385880"/>
                  <a:pt x="1074071" y="1387893"/>
                </a:cubicBezTo>
                <a:cubicBezTo>
                  <a:pt x="1073142" y="1388668"/>
                  <a:pt x="1075827" y="1391456"/>
                  <a:pt x="1076756" y="1392385"/>
                </a:cubicBezTo>
                <a:cubicBezTo>
                  <a:pt x="1074897" y="1393779"/>
                  <a:pt x="1077479" y="1397497"/>
                  <a:pt x="1074794" y="1399665"/>
                </a:cubicBezTo>
                <a:cubicBezTo>
                  <a:pt x="1073039" y="1399511"/>
                  <a:pt x="1072109" y="1399355"/>
                  <a:pt x="1070354" y="1398426"/>
                </a:cubicBezTo>
                <a:cubicBezTo>
                  <a:pt x="1064262" y="1390991"/>
                  <a:pt x="1067050" y="1387119"/>
                  <a:pt x="1066121" y="1386190"/>
                </a:cubicBezTo>
                <a:close/>
                <a:moveTo>
                  <a:pt x="4762462" y="1385841"/>
                </a:moveTo>
                <a:cubicBezTo>
                  <a:pt x="4767370" y="1386695"/>
                  <a:pt x="4772279" y="1387406"/>
                  <a:pt x="4771852" y="1392528"/>
                </a:cubicBezTo>
                <a:cubicBezTo>
                  <a:pt x="4767584" y="1395942"/>
                  <a:pt x="4761181" y="1393239"/>
                  <a:pt x="4762462" y="1385841"/>
                </a:cubicBezTo>
                <a:close/>
                <a:moveTo>
                  <a:pt x="1200044" y="1385415"/>
                </a:moveTo>
                <a:cubicBezTo>
                  <a:pt x="1201696" y="1386344"/>
                  <a:pt x="1203452" y="1387428"/>
                  <a:pt x="1205104" y="1388358"/>
                </a:cubicBezTo>
                <a:cubicBezTo>
                  <a:pt x="1204277" y="1388358"/>
                  <a:pt x="1205826" y="1396103"/>
                  <a:pt x="1205826" y="1396103"/>
                </a:cubicBezTo>
                <a:lnTo>
                  <a:pt x="1204484" y="1396877"/>
                </a:lnTo>
                <a:lnTo>
                  <a:pt x="1208098" y="1397651"/>
                </a:lnTo>
                <a:cubicBezTo>
                  <a:pt x="1212848" y="1400130"/>
                  <a:pt x="1217494" y="1406016"/>
                  <a:pt x="1215532" y="1408804"/>
                </a:cubicBezTo>
                <a:cubicBezTo>
                  <a:pt x="1214603" y="1410353"/>
                  <a:pt x="1211815" y="1410973"/>
                  <a:pt x="1206549" y="1410043"/>
                </a:cubicBezTo>
                <a:lnTo>
                  <a:pt x="1202419" y="1409114"/>
                </a:lnTo>
                <a:lnTo>
                  <a:pt x="1202522" y="1409424"/>
                </a:lnTo>
                <a:cubicBezTo>
                  <a:pt x="1202419" y="1410508"/>
                  <a:pt x="1202006" y="1411593"/>
                  <a:pt x="1201283" y="1412677"/>
                </a:cubicBezTo>
                <a:lnTo>
                  <a:pt x="1197256" y="1415620"/>
                </a:lnTo>
                <a:lnTo>
                  <a:pt x="1197772" y="1429870"/>
                </a:lnTo>
                <a:cubicBezTo>
                  <a:pt x="1198392" y="1436840"/>
                  <a:pt x="1198908" y="1443501"/>
                  <a:pt x="1198289" y="1449697"/>
                </a:cubicBezTo>
                <a:lnTo>
                  <a:pt x="1194468" y="1443966"/>
                </a:lnTo>
                <a:lnTo>
                  <a:pt x="1193849" y="1444585"/>
                </a:lnTo>
                <a:cubicBezTo>
                  <a:pt x="1193126" y="1447683"/>
                  <a:pt x="1197153" y="1450936"/>
                  <a:pt x="1193023" y="1453415"/>
                </a:cubicBezTo>
                <a:cubicBezTo>
                  <a:pt x="1190441" y="1453569"/>
                  <a:pt x="1187757" y="1454654"/>
                  <a:pt x="1184762" y="1453879"/>
                </a:cubicBezTo>
                <a:cubicBezTo>
                  <a:pt x="1183833" y="1453569"/>
                  <a:pt x="1182800" y="1453105"/>
                  <a:pt x="1181768" y="1452330"/>
                </a:cubicBezTo>
                <a:cubicBezTo>
                  <a:pt x="1186518" y="1447373"/>
                  <a:pt x="1187860" y="1442571"/>
                  <a:pt x="1190958" y="1437305"/>
                </a:cubicBezTo>
                <a:lnTo>
                  <a:pt x="1191474" y="1437460"/>
                </a:lnTo>
                <a:lnTo>
                  <a:pt x="1189512" y="1430025"/>
                </a:lnTo>
                <a:lnTo>
                  <a:pt x="1188892" y="1424914"/>
                </a:lnTo>
                <a:lnTo>
                  <a:pt x="1188479" y="1425378"/>
                </a:lnTo>
                <a:cubicBezTo>
                  <a:pt x="1181355" y="1427392"/>
                  <a:pt x="1175572" y="1427237"/>
                  <a:pt x="1172991" y="1420886"/>
                </a:cubicBezTo>
                <a:cubicBezTo>
                  <a:pt x="1174230" y="1420576"/>
                  <a:pt x="1174024" y="1419337"/>
                  <a:pt x="1173817" y="1418253"/>
                </a:cubicBezTo>
                <a:cubicBezTo>
                  <a:pt x="1175056" y="1416704"/>
                  <a:pt x="1176811" y="1415775"/>
                  <a:pt x="1178773" y="1415465"/>
                </a:cubicBezTo>
                <a:lnTo>
                  <a:pt x="1182491" y="1415775"/>
                </a:lnTo>
                <a:lnTo>
                  <a:pt x="1182903" y="1411282"/>
                </a:lnTo>
                <a:cubicBezTo>
                  <a:pt x="1184762" y="1410973"/>
                  <a:pt x="1186311" y="1411282"/>
                  <a:pt x="1187550" y="1411902"/>
                </a:cubicBezTo>
                <a:lnTo>
                  <a:pt x="1187757" y="1412057"/>
                </a:lnTo>
                <a:lnTo>
                  <a:pt x="1187343" y="1407101"/>
                </a:lnTo>
                <a:cubicBezTo>
                  <a:pt x="1188892" y="1407410"/>
                  <a:pt x="1190131" y="1407101"/>
                  <a:pt x="1191577" y="1407101"/>
                </a:cubicBezTo>
                <a:lnTo>
                  <a:pt x="1194055" y="1407410"/>
                </a:lnTo>
                <a:lnTo>
                  <a:pt x="1194055" y="1406481"/>
                </a:lnTo>
                <a:cubicBezTo>
                  <a:pt x="1196017" y="1405397"/>
                  <a:pt x="1197669" y="1405087"/>
                  <a:pt x="1198908" y="1405087"/>
                </a:cubicBezTo>
                <a:lnTo>
                  <a:pt x="1200251" y="1405706"/>
                </a:lnTo>
                <a:lnTo>
                  <a:pt x="1199941" y="1401524"/>
                </a:lnTo>
                <a:cubicBezTo>
                  <a:pt x="1200147" y="1399665"/>
                  <a:pt x="1200767" y="1398426"/>
                  <a:pt x="1201490" y="1397651"/>
                </a:cubicBezTo>
                <a:lnTo>
                  <a:pt x="1203348" y="1396722"/>
                </a:lnTo>
                <a:lnTo>
                  <a:pt x="1201593" y="1395638"/>
                </a:lnTo>
                <a:cubicBezTo>
                  <a:pt x="1200767" y="1394709"/>
                  <a:pt x="1200044" y="1392695"/>
                  <a:pt x="1199631" y="1390682"/>
                </a:cubicBezTo>
                <a:cubicBezTo>
                  <a:pt x="1199218" y="1388668"/>
                  <a:pt x="1199218" y="1386499"/>
                  <a:pt x="1200044" y="1385415"/>
                </a:cubicBezTo>
                <a:close/>
                <a:moveTo>
                  <a:pt x="4816030" y="1384988"/>
                </a:moveTo>
                <a:cubicBezTo>
                  <a:pt x="4817310" y="1385272"/>
                  <a:pt x="4818377" y="1385984"/>
                  <a:pt x="4819445" y="1387406"/>
                </a:cubicBezTo>
                <a:cubicBezTo>
                  <a:pt x="4816030" y="1388260"/>
                  <a:pt x="4813469" y="1387975"/>
                  <a:pt x="4811335" y="1385130"/>
                </a:cubicBezTo>
                <a:cubicBezTo>
                  <a:pt x="4813469" y="1384988"/>
                  <a:pt x="4814963" y="1384845"/>
                  <a:pt x="4816030" y="1384988"/>
                </a:cubicBezTo>
                <a:close/>
                <a:moveTo>
                  <a:pt x="5355982" y="1384845"/>
                </a:moveTo>
                <a:cubicBezTo>
                  <a:pt x="5365586" y="1392386"/>
                  <a:pt x="5364519" y="1421551"/>
                  <a:pt x="5351927" y="1422547"/>
                </a:cubicBezTo>
                <a:cubicBezTo>
                  <a:pt x="5354488" y="1409173"/>
                  <a:pt x="5350006" y="1399072"/>
                  <a:pt x="5355982" y="1384845"/>
                </a:cubicBezTo>
                <a:close/>
                <a:moveTo>
                  <a:pt x="4490138" y="1384419"/>
                </a:moveTo>
                <a:cubicBezTo>
                  <a:pt x="4490138" y="1384419"/>
                  <a:pt x="4488857" y="1385557"/>
                  <a:pt x="4487577" y="1386837"/>
                </a:cubicBezTo>
                <a:cubicBezTo>
                  <a:pt x="4486297" y="1387975"/>
                  <a:pt x="4486297" y="1387975"/>
                  <a:pt x="4487364" y="1389256"/>
                </a:cubicBezTo>
                <a:cubicBezTo>
                  <a:pt x="4486083" y="1390536"/>
                  <a:pt x="4486083" y="1390536"/>
                  <a:pt x="4483735" y="1390394"/>
                </a:cubicBezTo>
                <a:cubicBezTo>
                  <a:pt x="4485016" y="1389256"/>
                  <a:pt x="4489071" y="1383138"/>
                  <a:pt x="4490138" y="1384419"/>
                </a:cubicBezTo>
                <a:close/>
                <a:moveTo>
                  <a:pt x="4118574" y="1384276"/>
                </a:moveTo>
                <a:cubicBezTo>
                  <a:pt x="4117293" y="1387121"/>
                  <a:pt x="4115373" y="1389683"/>
                  <a:pt x="4113025" y="1391816"/>
                </a:cubicBezTo>
                <a:lnTo>
                  <a:pt x="4106622" y="1395942"/>
                </a:lnTo>
                <a:lnTo>
                  <a:pt x="4107263" y="1399499"/>
                </a:lnTo>
                <a:lnTo>
                  <a:pt x="4110464" y="1394235"/>
                </a:lnTo>
                <a:cubicBezTo>
                  <a:pt x="4116226" y="1388260"/>
                  <a:pt x="4124337" y="1387264"/>
                  <a:pt x="4132447" y="1386126"/>
                </a:cubicBezTo>
                <a:cubicBezTo>
                  <a:pt x="4132233" y="1392101"/>
                  <a:pt x="4128178" y="1396085"/>
                  <a:pt x="4122843" y="1398645"/>
                </a:cubicBezTo>
                <a:lnTo>
                  <a:pt x="4107263" y="1401775"/>
                </a:lnTo>
                <a:lnTo>
                  <a:pt x="4107263" y="1405332"/>
                </a:lnTo>
                <a:cubicBezTo>
                  <a:pt x="4105555" y="1406755"/>
                  <a:pt x="4103848" y="1406897"/>
                  <a:pt x="4102354" y="1406186"/>
                </a:cubicBezTo>
                <a:lnTo>
                  <a:pt x="4099793" y="1404337"/>
                </a:lnTo>
                <a:lnTo>
                  <a:pt x="4099153" y="1411592"/>
                </a:lnTo>
                <a:cubicBezTo>
                  <a:pt x="4096379" y="1409173"/>
                  <a:pt x="4095951" y="1405616"/>
                  <a:pt x="4092110" y="1403625"/>
                </a:cubicBezTo>
                <a:lnTo>
                  <a:pt x="4090403" y="1403340"/>
                </a:lnTo>
                <a:lnTo>
                  <a:pt x="4091256" y="1404621"/>
                </a:lnTo>
                <a:cubicBezTo>
                  <a:pt x="4092750" y="1407039"/>
                  <a:pt x="4093391" y="1409458"/>
                  <a:pt x="4093604" y="1411734"/>
                </a:cubicBezTo>
                <a:cubicBezTo>
                  <a:pt x="4081653" y="1411165"/>
                  <a:pt x="4072262" y="1397223"/>
                  <a:pt x="4069488" y="1389256"/>
                </a:cubicBezTo>
                <a:cubicBezTo>
                  <a:pt x="4075677" y="1389398"/>
                  <a:pt x="4081439" y="1392955"/>
                  <a:pt x="4085921" y="1397365"/>
                </a:cubicBezTo>
                <a:lnTo>
                  <a:pt x="4088482" y="1400780"/>
                </a:lnTo>
                <a:lnTo>
                  <a:pt x="4090616" y="1398645"/>
                </a:lnTo>
                <a:lnTo>
                  <a:pt x="4089763" y="1398645"/>
                </a:lnTo>
                <a:lnTo>
                  <a:pt x="4094458" y="1392813"/>
                </a:lnTo>
                <a:lnTo>
                  <a:pt x="4094884" y="1391106"/>
                </a:lnTo>
                <a:cubicBezTo>
                  <a:pt x="4094884" y="1389113"/>
                  <a:pt x="4094884" y="1386979"/>
                  <a:pt x="4096805" y="1385414"/>
                </a:cubicBezTo>
                <a:lnTo>
                  <a:pt x="4102141" y="1387549"/>
                </a:lnTo>
                <a:lnTo>
                  <a:pt x="4103208" y="1386837"/>
                </a:lnTo>
                <a:cubicBezTo>
                  <a:pt x="4108757" y="1384561"/>
                  <a:pt x="4114733" y="1383849"/>
                  <a:pt x="4118574" y="1384276"/>
                </a:cubicBezTo>
                <a:close/>
                <a:moveTo>
                  <a:pt x="941387" y="1384021"/>
                </a:moveTo>
                <a:cubicBezTo>
                  <a:pt x="942523" y="1384176"/>
                  <a:pt x="944072" y="1385725"/>
                  <a:pt x="944795" y="1385880"/>
                </a:cubicBezTo>
                <a:cubicBezTo>
                  <a:pt x="945621" y="1386809"/>
                  <a:pt x="946447" y="1387583"/>
                  <a:pt x="945621" y="1388358"/>
                </a:cubicBezTo>
                <a:cubicBezTo>
                  <a:pt x="944691" y="1389132"/>
                  <a:pt x="944691" y="1389907"/>
                  <a:pt x="942936" y="1388978"/>
                </a:cubicBezTo>
                <a:cubicBezTo>
                  <a:pt x="942110" y="1388823"/>
                  <a:pt x="941284" y="1387893"/>
                  <a:pt x="940355" y="1387893"/>
                </a:cubicBezTo>
                <a:cubicBezTo>
                  <a:pt x="940355" y="1387893"/>
                  <a:pt x="940148" y="1387274"/>
                  <a:pt x="940045" y="1386499"/>
                </a:cubicBezTo>
                <a:cubicBezTo>
                  <a:pt x="939941" y="1385725"/>
                  <a:pt x="939941" y="1384950"/>
                  <a:pt x="940355" y="1384486"/>
                </a:cubicBezTo>
                <a:cubicBezTo>
                  <a:pt x="940561" y="1384176"/>
                  <a:pt x="940974" y="1384021"/>
                  <a:pt x="941387" y="1384021"/>
                </a:cubicBezTo>
                <a:close/>
                <a:moveTo>
                  <a:pt x="1686484" y="1383866"/>
                </a:moveTo>
                <a:cubicBezTo>
                  <a:pt x="1687723" y="1384331"/>
                  <a:pt x="1687620" y="1384331"/>
                  <a:pt x="1686897" y="1384640"/>
                </a:cubicBezTo>
                <a:cubicBezTo>
                  <a:pt x="1688446" y="1385880"/>
                  <a:pt x="1688859" y="1386809"/>
                  <a:pt x="1689272" y="1387583"/>
                </a:cubicBezTo>
                <a:lnTo>
                  <a:pt x="1686071" y="1388823"/>
                </a:lnTo>
                <a:lnTo>
                  <a:pt x="1688963" y="1390836"/>
                </a:lnTo>
                <a:lnTo>
                  <a:pt x="1690305" y="1394399"/>
                </a:lnTo>
                <a:lnTo>
                  <a:pt x="1692783" y="1395638"/>
                </a:lnTo>
                <a:lnTo>
                  <a:pt x="1690821" y="1397032"/>
                </a:lnTo>
                <a:lnTo>
                  <a:pt x="1689892" y="1402299"/>
                </a:lnTo>
                <a:cubicBezTo>
                  <a:pt x="1689066" y="1404312"/>
                  <a:pt x="1687620" y="1406171"/>
                  <a:pt x="1685451" y="1407410"/>
                </a:cubicBezTo>
                <a:cubicBezTo>
                  <a:pt x="1681528" y="1407410"/>
                  <a:pt x="1678843" y="1404622"/>
                  <a:pt x="1677294" y="1401215"/>
                </a:cubicBezTo>
                <a:lnTo>
                  <a:pt x="1677191" y="1400904"/>
                </a:lnTo>
                <a:lnTo>
                  <a:pt x="1675952" y="1400595"/>
                </a:lnTo>
                <a:cubicBezTo>
                  <a:pt x="1674300" y="1400285"/>
                  <a:pt x="1673474" y="1399355"/>
                  <a:pt x="1672751" y="1398426"/>
                </a:cubicBezTo>
                <a:lnTo>
                  <a:pt x="1670996" y="1396722"/>
                </a:lnTo>
                <a:lnTo>
                  <a:pt x="1664594" y="1394244"/>
                </a:lnTo>
                <a:cubicBezTo>
                  <a:pt x="1662012" y="1392385"/>
                  <a:pt x="1660257" y="1389907"/>
                  <a:pt x="1660050" y="1386964"/>
                </a:cubicBezTo>
                <a:cubicBezTo>
                  <a:pt x="1665523" y="1390371"/>
                  <a:pt x="1670996" y="1390217"/>
                  <a:pt x="1676468" y="1390371"/>
                </a:cubicBezTo>
                <a:lnTo>
                  <a:pt x="1676881" y="1390526"/>
                </a:lnTo>
                <a:lnTo>
                  <a:pt x="1680702" y="1388203"/>
                </a:lnTo>
                <a:cubicBezTo>
                  <a:pt x="1682147" y="1387583"/>
                  <a:pt x="1683490" y="1387583"/>
                  <a:pt x="1684729" y="1387893"/>
                </a:cubicBezTo>
                <a:lnTo>
                  <a:pt x="1685038" y="1388048"/>
                </a:lnTo>
                <a:lnTo>
                  <a:pt x="1684832" y="1387428"/>
                </a:lnTo>
                <a:cubicBezTo>
                  <a:pt x="1684626" y="1386809"/>
                  <a:pt x="1684316" y="1386190"/>
                  <a:pt x="1684522" y="1385570"/>
                </a:cubicBezTo>
                <a:cubicBezTo>
                  <a:pt x="1684522" y="1385570"/>
                  <a:pt x="1686484" y="1383866"/>
                  <a:pt x="1686484" y="1383866"/>
                </a:cubicBezTo>
                <a:close/>
                <a:moveTo>
                  <a:pt x="4053908" y="1383565"/>
                </a:moveTo>
                <a:cubicBezTo>
                  <a:pt x="4058817" y="1383707"/>
                  <a:pt x="4061805" y="1385557"/>
                  <a:pt x="4064152" y="1386410"/>
                </a:cubicBezTo>
                <a:lnTo>
                  <a:pt x="4063939" y="1394662"/>
                </a:lnTo>
                <a:lnTo>
                  <a:pt x="4070341" y="1399215"/>
                </a:lnTo>
                <a:cubicBezTo>
                  <a:pt x="4069914" y="1407608"/>
                  <a:pt x="4057323" y="1416287"/>
                  <a:pt x="4050493" y="1415718"/>
                </a:cubicBezTo>
                <a:lnTo>
                  <a:pt x="4048146" y="1412303"/>
                </a:lnTo>
                <a:lnTo>
                  <a:pt x="4047079" y="1413015"/>
                </a:lnTo>
                <a:lnTo>
                  <a:pt x="4041957" y="1414580"/>
                </a:lnTo>
                <a:lnTo>
                  <a:pt x="4042170" y="1415148"/>
                </a:lnTo>
                <a:cubicBezTo>
                  <a:pt x="4042383" y="1416145"/>
                  <a:pt x="4042170" y="1417425"/>
                  <a:pt x="4041103" y="1418563"/>
                </a:cubicBezTo>
                <a:cubicBezTo>
                  <a:pt x="4038756" y="1421978"/>
                  <a:pt x="4035341" y="1421693"/>
                  <a:pt x="4031712" y="1420412"/>
                </a:cubicBezTo>
                <a:cubicBezTo>
                  <a:pt x="4029578" y="1421409"/>
                  <a:pt x="4028297" y="1423827"/>
                  <a:pt x="4025950" y="1422547"/>
                </a:cubicBezTo>
                <a:cubicBezTo>
                  <a:pt x="4029365" y="1420412"/>
                  <a:pt x="4030645" y="1419132"/>
                  <a:pt x="4032780" y="1418137"/>
                </a:cubicBezTo>
                <a:cubicBezTo>
                  <a:pt x="4032780" y="1416856"/>
                  <a:pt x="4032780" y="1415718"/>
                  <a:pt x="4033846" y="1414580"/>
                </a:cubicBezTo>
                <a:lnTo>
                  <a:pt x="4036194" y="1413583"/>
                </a:lnTo>
                <a:lnTo>
                  <a:pt x="4035768" y="1412161"/>
                </a:lnTo>
                <a:cubicBezTo>
                  <a:pt x="4035341" y="1411165"/>
                  <a:pt x="4034701" y="1410027"/>
                  <a:pt x="4034060" y="1408889"/>
                </a:cubicBezTo>
                <a:cubicBezTo>
                  <a:pt x="4037475" y="1408320"/>
                  <a:pt x="4040249" y="1407039"/>
                  <a:pt x="4042383" y="1406044"/>
                </a:cubicBezTo>
                <a:lnTo>
                  <a:pt x="4046225" y="1405474"/>
                </a:lnTo>
                <a:lnTo>
                  <a:pt x="4046225" y="1405047"/>
                </a:lnTo>
                <a:cubicBezTo>
                  <a:pt x="4046439" y="1402629"/>
                  <a:pt x="4047719" y="1400495"/>
                  <a:pt x="4049639" y="1398645"/>
                </a:cubicBezTo>
                <a:lnTo>
                  <a:pt x="4051560" y="1397507"/>
                </a:lnTo>
                <a:cubicBezTo>
                  <a:pt x="4048999" y="1394093"/>
                  <a:pt x="4048999" y="1387975"/>
                  <a:pt x="4053908" y="1383565"/>
                </a:cubicBezTo>
                <a:close/>
                <a:moveTo>
                  <a:pt x="3722894" y="1383423"/>
                </a:moveTo>
                <a:cubicBezTo>
                  <a:pt x="3724388" y="1384561"/>
                  <a:pt x="3727163" y="1387833"/>
                  <a:pt x="3725242" y="1391532"/>
                </a:cubicBezTo>
                <a:cubicBezTo>
                  <a:pt x="3724388" y="1393381"/>
                  <a:pt x="3724388" y="1395089"/>
                  <a:pt x="3724388" y="1396796"/>
                </a:cubicBezTo>
                <a:lnTo>
                  <a:pt x="3723747" y="1398930"/>
                </a:lnTo>
                <a:lnTo>
                  <a:pt x="3725455" y="1397792"/>
                </a:lnTo>
                <a:cubicBezTo>
                  <a:pt x="3735059" y="1390963"/>
                  <a:pt x="3746370" y="1386553"/>
                  <a:pt x="3757681" y="1387975"/>
                </a:cubicBezTo>
                <a:cubicBezTo>
                  <a:pt x="3776462" y="1390251"/>
                  <a:pt x="3779877" y="1405474"/>
                  <a:pt x="3793109" y="1416856"/>
                </a:cubicBezTo>
                <a:cubicBezTo>
                  <a:pt x="3789481" y="1423827"/>
                  <a:pt x="3789268" y="1428806"/>
                  <a:pt x="3790121" y="1433074"/>
                </a:cubicBezTo>
                <a:lnTo>
                  <a:pt x="3790975" y="1435920"/>
                </a:lnTo>
                <a:lnTo>
                  <a:pt x="3797377" y="1438196"/>
                </a:lnTo>
                <a:cubicBezTo>
                  <a:pt x="3797377" y="1442322"/>
                  <a:pt x="3796737" y="1445168"/>
                  <a:pt x="3795884" y="1447017"/>
                </a:cubicBezTo>
                <a:lnTo>
                  <a:pt x="3792682" y="1450005"/>
                </a:lnTo>
                <a:lnTo>
                  <a:pt x="3793963" y="1451996"/>
                </a:lnTo>
                <a:cubicBezTo>
                  <a:pt x="3795457" y="1460248"/>
                  <a:pt x="3787987" y="1468215"/>
                  <a:pt x="3782652" y="1473763"/>
                </a:cubicBezTo>
                <a:cubicBezTo>
                  <a:pt x="3779023" y="1477747"/>
                  <a:pt x="3774755" y="1481731"/>
                  <a:pt x="3770914" y="1481589"/>
                </a:cubicBezTo>
                <a:cubicBezTo>
                  <a:pt x="3769633" y="1481589"/>
                  <a:pt x="3768352" y="1481161"/>
                  <a:pt x="3767285" y="1480166"/>
                </a:cubicBezTo>
                <a:lnTo>
                  <a:pt x="3766218" y="1478601"/>
                </a:lnTo>
                <a:lnTo>
                  <a:pt x="3764298" y="1478032"/>
                </a:lnTo>
                <a:lnTo>
                  <a:pt x="3752560" y="1480877"/>
                </a:lnTo>
                <a:lnTo>
                  <a:pt x="3757041" y="1481589"/>
                </a:lnTo>
                <a:cubicBezTo>
                  <a:pt x="3755974" y="1481446"/>
                  <a:pt x="3755974" y="1481446"/>
                  <a:pt x="3755974" y="1481446"/>
                </a:cubicBezTo>
                <a:cubicBezTo>
                  <a:pt x="3754907" y="1482584"/>
                  <a:pt x="3755974" y="1482726"/>
                  <a:pt x="3755974" y="1484007"/>
                </a:cubicBezTo>
                <a:cubicBezTo>
                  <a:pt x="3755974" y="1484007"/>
                  <a:pt x="3755974" y="1482726"/>
                  <a:pt x="3757255" y="1484007"/>
                </a:cubicBezTo>
                <a:cubicBezTo>
                  <a:pt x="3755974" y="1483865"/>
                  <a:pt x="3755974" y="1485145"/>
                  <a:pt x="3756187" y="1486425"/>
                </a:cubicBezTo>
                <a:cubicBezTo>
                  <a:pt x="3753840" y="1488702"/>
                  <a:pt x="3750425" y="1490835"/>
                  <a:pt x="3748077" y="1489555"/>
                </a:cubicBezTo>
                <a:cubicBezTo>
                  <a:pt x="3746797" y="1488275"/>
                  <a:pt x="3746584" y="1487137"/>
                  <a:pt x="3746584" y="1486141"/>
                </a:cubicBezTo>
                <a:lnTo>
                  <a:pt x="3747437" y="1484433"/>
                </a:lnTo>
                <a:lnTo>
                  <a:pt x="3745516" y="1482584"/>
                </a:lnTo>
                <a:lnTo>
                  <a:pt x="3731858" y="1485856"/>
                </a:lnTo>
                <a:cubicBezTo>
                  <a:pt x="3729723" y="1482869"/>
                  <a:pt x="3726522" y="1480308"/>
                  <a:pt x="3723107" y="1478032"/>
                </a:cubicBezTo>
                <a:lnTo>
                  <a:pt x="3720333" y="1476467"/>
                </a:lnTo>
                <a:lnTo>
                  <a:pt x="3717985" y="1475897"/>
                </a:lnTo>
                <a:lnTo>
                  <a:pt x="3715211" y="1473336"/>
                </a:lnTo>
                <a:lnTo>
                  <a:pt x="3712009" y="1471630"/>
                </a:lnTo>
                <a:cubicBezTo>
                  <a:pt x="3704753" y="1467219"/>
                  <a:pt x="3698351" y="1461955"/>
                  <a:pt x="3697284" y="1452850"/>
                </a:cubicBezTo>
                <a:lnTo>
                  <a:pt x="3697924" y="1451285"/>
                </a:lnTo>
                <a:lnTo>
                  <a:pt x="3696430" y="1449862"/>
                </a:lnTo>
                <a:cubicBezTo>
                  <a:pt x="3694936" y="1447443"/>
                  <a:pt x="3694296" y="1444456"/>
                  <a:pt x="3694509" y="1441326"/>
                </a:cubicBezTo>
                <a:cubicBezTo>
                  <a:pt x="3695790" y="1439904"/>
                  <a:pt x="3697710" y="1439050"/>
                  <a:pt x="3699845" y="1438765"/>
                </a:cubicBezTo>
                <a:lnTo>
                  <a:pt x="3701125" y="1438765"/>
                </a:lnTo>
                <a:lnTo>
                  <a:pt x="3701338" y="1436205"/>
                </a:lnTo>
                <a:cubicBezTo>
                  <a:pt x="3701125" y="1431652"/>
                  <a:pt x="3700272" y="1427526"/>
                  <a:pt x="3700912" y="1422689"/>
                </a:cubicBezTo>
                <a:cubicBezTo>
                  <a:pt x="3703900" y="1418279"/>
                  <a:pt x="3707741" y="1413726"/>
                  <a:pt x="3711796" y="1409458"/>
                </a:cubicBezTo>
                <a:lnTo>
                  <a:pt x="3721827" y="1400637"/>
                </a:lnTo>
                <a:lnTo>
                  <a:pt x="3722040" y="1392243"/>
                </a:lnTo>
                <a:cubicBezTo>
                  <a:pt x="3721614" y="1389398"/>
                  <a:pt x="3721614" y="1386410"/>
                  <a:pt x="3722894" y="1383423"/>
                </a:cubicBezTo>
                <a:close/>
                <a:moveTo>
                  <a:pt x="5658611" y="1383280"/>
                </a:moveTo>
                <a:cubicBezTo>
                  <a:pt x="5664800" y="1384134"/>
                  <a:pt x="5668002" y="1390251"/>
                  <a:pt x="5670349" y="1396654"/>
                </a:cubicBezTo>
                <a:cubicBezTo>
                  <a:pt x="5671203" y="1399499"/>
                  <a:pt x="5671843" y="1402487"/>
                  <a:pt x="5672484" y="1405047"/>
                </a:cubicBezTo>
                <a:cubicBezTo>
                  <a:pt x="5673977" y="1410454"/>
                  <a:pt x="5675045" y="1416429"/>
                  <a:pt x="5673337" y="1419986"/>
                </a:cubicBezTo>
                <a:cubicBezTo>
                  <a:pt x="5672697" y="1421266"/>
                  <a:pt x="5671630" y="1422262"/>
                  <a:pt x="5670349" y="1422831"/>
                </a:cubicBezTo>
                <a:cubicBezTo>
                  <a:pt x="5662666" y="1426673"/>
                  <a:pt x="5653276" y="1420697"/>
                  <a:pt x="5650928" y="1410311"/>
                </a:cubicBezTo>
                <a:cubicBezTo>
                  <a:pt x="5646660" y="1394377"/>
                  <a:pt x="5651568" y="1384419"/>
                  <a:pt x="5651568" y="1384419"/>
                </a:cubicBezTo>
                <a:cubicBezTo>
                  <a:pt x="5654343" y="1383280"/>
                  <a:pt x="5656691" y="1382996"/>
                  <a:pt x="5658611" y="1383280"/>
                </a:cubicBezTo>
                <a:close/>
                <a:moveTo>
                  <a:pt x="1786952" y="1382627"/>
                </a:moveTo>
                <a:cubicBezTo>
                  <a:pt x="1787675" y="1384176"/>
                  <a:pt x="1791186" y="1393005"/>
                  <a:pt x="1790773" y="1395948"/>
                </a:cubicBezTo>
                <a:cubicBezTo>
                  <a:pt x="1789637" y="1391766"/>
                  <a:pt x="1786230" y="1386654"/>
                  <a:pt x="1786952" y="1382627"/>
                </a:cubicBezTo>
                <a:close/>
                <a:moveTo>
                  <a:pt x="3605086" y="1382142"/>
                </a:moveTo>
                <a:cubicBezTo>
                  <a:pt x="3606367" y="1382142"/>
                  <a:pt x="3607647" y="1382284"/>
                  <a:pt x="3608501" y="1382854"/>
                </a:cubicBezTo>
                <a:cubicBezTo>
                  <a:pt x="3607647" y="1385130"/>
                  <a:pt x="3606794" y="1387549"/>
                  <a:pt x="3606154" y="1389967"/>
                </a:cubicBezTo>
                <a:cubicBezTo>
                  <a:pt x="3605940" y="1388829"/>
                  <a:pt x="3595909" y="1391816"/>
                  <a:pt x="3595909" y="1391816"/>
                </a:cubicBezTo>
                <a:cubicBezTo>
                  <a:pt x="3593135" y="1389540"/>
                  <a:pt x="3593135" y="1389540"/>
                  <a:pt x="3595055" y="1385841"/>
                </a:cubicBezTo>
                <a:cubicBezTo>
                  <a:pt x="3596123" y="1384703"/>
                  <a:pt x="3598470" y="1383423"/>
                  <a:pt x="3601245" y="1382569"/>
                </a:cubicBezTo>
                <a:cubicBezTo>
                  <a:pt x="3602525" y="1382284"/>
                  <a:pt x="3603806" y="1382142"/>
                  <a:pt x="3605086" y="1382142"/>
                </a:cubicBezTo>
                <a:close/>
                <a:moveTo>
                  <a:pt x="1097924" y="1381697"/>
                </a:moveTo>
                <a:cubicBezTo>
                  <a:pt x="1100918" y="1383711"/>
                  <a:pt x="1101641" y="1384640"/>
                  <a:pt x="1102570" y="1388203"/>
                </a:cubicBezTo>
                <a:cubicBezTo>
                  <a:pt x="1098853" y="1392695"/>
                  <a:pt x="1094206" y="1393779"/>
                  <a:pt x="1089457" y="1394864"/>
                </a:cubicBezTo>
                <a:cubicBezTo>
                  <a:pt x="1087185" y="1393315"/>
                  <a:pt x="1086153" y="1391921"/>
                  <a:pt x="1086153" y="1390682"/>
                </a:cubicBezTo>
                <a:cubicBezTo>
                  <a:pt x="1085946" y="1386964"/>
                  <a:pt x="1093897" y="1384331"/>
                  <a:pt x="1097924" y="1381697"/>
                </a:cubicBezTo>
                <a:close/>
                <a:moveTo>
                  <a:pt x="5318633" y="1381573"/>
                </a:moveTo>
                <a:cubicBezTo>
                  <a:pt x="5319914" y="1381573"/>
                  <a:pt x="5321621" y="1381715"/>
                  <a:pt x="5323329" y="1382284"/>
                </a:cubicBezTo>
                <a:cubicBezTo>
                  <a:pt x="5323969" y="1384845"/>
                  <a:pt x="5325676" y="1386837"/>
                  <a:pt x="5326957" y="1390536"/>
                </a:cubicBezTo>
                <a:cubicBezTo>
                  <a:pt x="5324396" y="1392670"/>
                  <a:pt x="5316926" y="1393950"/>
                  <a:pt x="5312231" y="1389825"/>
                </a:cubicBezTo>
                <a:cubicBezTo>
                  <a:pt x="5312017" y="1383992"/>
                  <a:pt x="5314365" y="1381573"/>
                  <a:pt x="5318633" y="1381573"/>
                </a:cubicBezTo>
                <a:close/>
                <a:moveTo>
                  <a:pt x="3983693" y="1380008"/>
                </a:moveTo>
                <a:cubicBezTo>
                  <a:pt x="3983906" y="1381289"/>
                  <a:pt x="3984974" y="1381289"/>
                  <a:pt x="3984974" y="1382569"/>
                </a:cubicBezTo>
                <a:cubicBezTo>
                  <a:pt x="3986254" y="1384988"/>
                  <a:pt x="3986254" y="1385130"/>
                  <a:pt x="3985187" y="1386268"/>
                </a:cubicBezTo>
                <a:cubicBezTo>
                  <a:pt x="3984120" y="1387406"/>
                  <a:pt x="3980491" y="1386126"/>
                  <a:pt x="3979425" y="1387264"/>
                </a:cubicBezTo>
                <a:cubicBezTo>
                  <a:pt x="3979425" y="1387264"/>
                  <a:pt x="3979211" y="1387121"/>
                  <a:pt x="3977931" y="1384703"/>
                </a:cubicBezTo>
                <a:cubicBezTo>
                  <a:pt x="3977931" y="1383423"/>
                  <a:pt x="3977931" y="1382142"/>
                  <a:pt x="3978998" y="1381004"/>
                </a:cubicBezTo>
                <a:cubicBezTo>
                  <a:pt x="3980278" y="1379866"/>
                  <a:pt x="3982626" y="1380008"/>
                  <a:pt x="3983693" y="1380008"/>
                </a:cubicBezTo>
                <a:close/>
                <a:moveTo>
                  <a:pt x="4560353" y="1379439"/>
                </a:moveTo>
                <a:cubicBezTo>
                  <a:pt x="4560780" y="1383992"/>
                  <a:pt x="4560140" y="1385984"/>
                  <a:pt x="4559073" y="1386553"/>
                </a:cubicBezTo>
                <a:cubicBezTo>
                  <a:pt x="4555871" y="1388260"/>
                  <a:pt x="4548828" y="1376878"/>
                  <a:pt x="4560353" y="1379439"/>
                </a:cubicBezTo>
                <a:close/>
                <a:moveTo>
                  <a:pt x="4307878" y="1378017"/>
                </a:moveTo>
                <a:cubicBezTo>
                  <a:pt x="4308731" y="1378301"/>
                  <a:pt x="4309585" y="1379297"/>
                  <a:pt x="4310225" y="1380720"/>
                </a:cubicBezTo>
                <a:cubicBezTo>
                  <a:pt x="4311933" y="1384845"/>
                  <a:pt x="4311078" y="1392386"/>
                  <a:pt x="4304463" y="1391532"/>
                </a:cubicBezTo>
                <a:cubicBezTo>
                  <a:pt x="4303395" y="1391532"/>
                  <a:pt x="4302542" y="1390678"/>
                  <a:pt x="4302115" y="1389398"/>
                </a:cubicBezTo>
                <a:cubicBezTo>
                  <a:pt x="4300835" y="1385414"/>
                  <a:pt x="4302969" y="1377874"/>
                  <a:pt x="4307878" y="1378017"/>
                </a:cubicBezTo>
                <a:close/>
                <a:moveTo>
                  <a:pt x="1533562" y="1376741"/>
                </a:moveTo>
                <a:cubicBezTo>
                  <a:pt x="1533562" y="1376741"/>
                  <a:pt x="1534284" y="1377205"/>
                  <a:pt x="1534904" y="1379374"/>
                </a:cubicBezTo>
                <a:cubicBezTo>
                  <a:pt x="1534181" y="1379064"/>
                  <a:pt x="1533768" y="1379839"/>
                  <a:pt x="1533768" y="1379839"/>
                </a:cubicBezTo>
                <a:cubicBezTo>
                  <a:pt x="1533768" y="1379839"/>
                  <a:pt x="1533768" y="1379839"/>
                  <a:pt x="1534491" y="1380148"/>
                </a:cubicBezTo>
                <a:cubicBezTo>
                  <a:pt x="1533871" y="1380303"/>
                  <a:pt x="1533562" y="1380148"/>
                  <a:pt x="1533355" y="1379993"/>
                </a:cubicBezTo>
                <a:cubicBezTo>
                  <a:pt x="1533045" y="1379684"/>
                  <a:pt x="1533045" y="1379374"/>
                  <a:pt x="1533045" y="1379374"/>
                </a:cubicBezTo>
                <a:cubicBezTo>
                  <a:pt x="1532839" y="1378909"/>
                  <a:pt x="1532632" y="1378290"/>
                  <a:pt x="1532632" y="1377825"/>
                </a:cubicBezTo>
                <a:cubicBezTo>
                  <a:pt x="1532735" y="1377360"/>
                  <a:pt x="1532942" y="1377050"/>
                  <a:pt x="1533562" y="1376741"/>
                </a:cubicBezTo>
                <a:close/>
                <a:moveTo>
                  <a:pt x="4928289" y="1376594"/>
                </a:moveTo>
                <a:cubicBezTo>
                  <a:pt x="4929996" y="1376452"/>
                  <a:pt x="4932344" y="1376878"/>
                  <a:pt x="4934691" y="1378728"/>
                </a:cubicBezTo>
                <a:cubicBezTo>
                  <a:pt x="4935758" y="1380008"/>
                  <a:pt x="4938320" y="1383849"/>
                  <a:pt x="4937253" y="1383707"/>
                </a:cubicBezTo>
                <a:cubicBezTo>
                  <a:pt x="4936185" y="1384988"/>
                  <a:pt x="4937253" y="1384988"/>
                  <a:pt x="4937253" y="1386126"/>
                </a:cubicBezTo>
                <a:lnTo>
                  <a:pt x="4935758" y="1387121"/>
                </a:lnTo>
                <a:lnTo>
                  <a:pt x="4936399" y="1387975"/>
                </a:lnTo>
                <a:cubicBezTo>
                  <a:pt x="4937893" y="1390394"/>
                  <a:pt x="4937679" y="1390394"/>
                  <a:pt x="4936825" y="1391674"/>
                </a:cubicBezTo>
                <a:cubicBezTo>
                  <a:pt x="4935758" y="1392955"/>
                  <a:pt x="4932130" y="1391959"/>
                  <a:pt x="4931063" y="1393239"/>
                </a:cubicBezTo>
                <a:cubicBezTo>
                  <a:pt x="4931063" y="1393239"/>
                  <a:pt x="4931063" y="1393239"/>
                  <a:pt x="4929569" y="1390821"/>
                </a:cubicBezTo>
                <a:lnTo>
                  <a:pt x="4929996" y="1388686"/>
                </a:lnTo>
                <a:lnTo>
                  <a:pt x="4927008" y="1388118"/>
                </a:lnTo>
                <a:cubicBezTo>
                  <a:pt x="4924661" y="1385557"/>
                  <a:pt x="4921032" y="1381715"/>
                  <a:pt x="4923167" y="1378301"/>
                </a:cubicBezTo>
                <a:cubicBezTo>
                  <a:pt x="4924447" y="1378301"/>
                  <a:pt x="4924234" y="1377163"/>
                  <a:pt x="4925514" y="1377163"/>
                </a:cubicBezTo>
                <a:cubicBezTo>
                  <a:pt x="4925514" y="1377163"/>
                  <a:pt x="4926582" y="1376594"/>
                  <a:pt x="4928289" y="1376594"/>
                </a:cubicBezTo>
                <a:close/>
                <a:moveTo>
                  <a:pt x="4463247" y="1376025"/>
                </a:moveTo>
                <a:cubicBezTo>
                  <a:pt x="4472211" y="1376167"/>
                  <a:pt x="4479894" y="1383423"/>
                  <a:pt x="4482669" y="1390678"/>
                </a:cubicBezTo>
                <a:cubicBezTo>
                  <a:pt x="4483735" y="1393097"/>
                  <a:pt x="4484376" y="1395515"/>
                  <a:pt x="4484162" y="1397792"/>
                </a:cubicBezTo>
                <a:cubicBezTo>
                  <a:pt x="4472211" y="1397650"/>
                  <a:pt x="4464741" y="1384134"/>
                  <a:pt x="4463247" y="1376025"/>
                </a:cubicBezTo>
                <a:close/>
                <a:moveTo>
                  <a:pt x="1440941" y="1375811"/>
                </a:moveTo>
                <a:cubicBezTo>
                  <a:pt x="1440837" y="1377670"/>
                  <a:pt x="1440115" y="1384021"/>
                  <a:pt x="1438566" y="1385105"/>
                </a:cubicBezTo>
                <a:cubicBezTo>
                  <a:pt x="1438256" y="1382162"/>
                  <a:pt x="1439702" y="1376276"/>
                  <a:pt x="1440941" y="1375811"/>
                </a:cubicBezTo>
                <a:close/>
                <a:moveTo>
                  <a:pt x="1050942" y="1375502"/>
                </a:moveTo>
                <a:cubicBezTo>
                  <a:pt x="1055175" y="1379839"/>
                  <a:pt x="1053627" y="1384021"/>
                  <a:pt x="1049703" y="1386809"/>
                </a:cubicBezTo>
                <a:cubicBezTo>
                  <a:pt x="1043301" y="1391611"/>
                  <a:pt x="1030601" y="1393005"/>
                  <a:pt x="1027710" y="1385260"/>
                </a:cubicBezTo>
                <a:cubicBezTo>
                  <a:pt x="1030291" y="1382627"/>
                  <a:pt x="1033285" y="1380148"/>
                  <a:pt x="1037106" y="1378445"/>
                </a:cubicBezTo>
                <a:cubicBezTo>
                  <a:pt x="1040823" y="1376586"/>
                  <a:pt x="1045366" y="1375502"/>
                  <a:pt x="1050942" y="1375502"/>
                </a:cubicBezTo>
                <a:close/>
                <a:moveTo>
                  <a:pt x="3854787" y="1374033"/>
                </a:moveTo>
                <a:cubicBezTo>
                  <a:pt x="3859056" y="1374175"/>
                  <a:pt x="3863751" y="1376452"/>
                  <a:pt x="3865672" y="1380150"/>
                </a:cubicBezTo>
                <a:cubicBezTo>
                  <a:pt x="3859056" y="1385699"/>
                  <a:pt x="3853294" y="1387833"/>
                  <a:pt x="3846037" y="1380435"/>
                </a:cubicBezTo>
                <a:cubicBezTo>
                  <a:pt x="3846464" y="1375740"/>
                  <a:pt x="3850306" y="1373748"/>
                  <a:pt x="3854787" y="1374033"/>
                </a:cubicBezTo>
                <a:close/>
                <a:moveTo>
                  <a:pt x="1240521" y="1373643"/>
                </a:moveTo>
                <a:cubicBezTo>
                  <a:pt x="1241140" y="1374882"/>
                  <a:pt x="1242482" y="1376121"/>
                  <a:pt x="1243412" y="1377360"/>
                </a:cubicBezTo>
                <a:lnTo>
                  <a:pt x="1244031" y="1379219"/>
                </a:lnTo>
                <a:lnTo>
                  <a:pt x="1244754" y="1379684"/>
                </a:lnTo>
                <a:cubicBezTo>
                  <a:pt x="1245373" y="1380613"/>
                  <a:pt x="1245580" y="1381697"/>
                  <a:pt x="1245064" y="1383247"/>
                </a:cubicBezTo>
                <a:cubicBezTo>
                  <a:pt x="1244651" y="1383247"/>
                  <a:pt x="1244031" y="1382782"/>
                  <a:pt x="1243412" y="1382162"/>
                </a:cubicBezTo>
                <a:lnTo>
                  <a:pt x="1242689" y="1381543"/>
                </a:lnTo>
                <a:lnTo>
                  <a:pt x="1239385" y="1380613"/>
                </a:lnTo>
                <a:cubicBezTo>
                  <a:pt x="1230298" y="1379684"/>
                  <a:pt x="1222967" y="1388513"/>
                  <a:pt x="1215636" y="1382627"/>
                </a:cubicBezTo>
                <a:cubicBezTo>
                  <a:pt x="1219043" y="1380303"/>
                  <a:pt x="1222244" y="1377825"/>
                  <a:pt x="1226065" y="1375966"/>
                </a:cubicBezTo>
                <a:cubicBezTo>
                  <a:pt x="1229885" y="1374107"/>
                  <a:pt x="1234429" y="1373023"/>
                  <a:pt x="1240521" y="1373643"/>
                </a:cubicBezTo>
                <a:close/>
                <a:moveTo>
                  <a:pt x="1064675" y="1373488"/>
                </a:moveTo>
                <a:cubicBezTo>
                  <a:pt x="1066431" y="1375502"/>
                  <a:pt x="1064675" y="1377825"/>
                  <a:pt x="1063746" y="1377670"/>
                </a:cubicBezTo>
                <a:cubicBezTo>
                  <a:pt x="1062920" y="1376741"/>
                  <a:pt x="1062920" y="1375037"/>
                  <a:pt x="1061991" y="1374107"/>
                </a:cubicBezTo>
                <a:cubicBezTo>
                  <a:pt x="1062920" y="1374262"/>
                  <a:pt x="1063849" y="1373488"/>
                  <a:pt x="1064675" y="1373488"/>
                </a:cubicBezTo>
                <a:close/>
                <a:moveTo>
                  <a:pt x="3751492" y="1373037"/>
                </a:moveTo>
                <a:cubicBezTo>
                  <a:pt x="3751705" y="1373037"/>
                  <a:pt x="3752132" y="1373179"/>
                  <a:pt x="3752346" y="1373891"/>
                </a:cubicBezTo>
                <a:cubicBezTo>
                  <a:pt x="3752772" y="1375455"/>
                  <a:pt x="3752772" y="1375455"/>
                  <a:pt x="3751492" y="1378443"/>
                </a:cubicBezTo>
                <a:cubicBezTo>
                  <a:pt x="3750852" y="1376878"/>
                  <a:pt x="3750852" y="1376878"/>
                  <a:pt x="3749358" y="1377305"/>
                </a:cubicBezTo>
                <a:cubicBezTo>
                  <a:pt x="3749358" y="1377305"/>
                  <a:pt x="3749572" y="1377305"/>
                  <a:pt x="3748931" y="1378301"/>
                </a:cubicBezTo>
                <a:cubicBezTo>
                  <a:pt x="3748077" y="1377732"/>
                  <a:pt x="3748505" y="1376736"/>
                  <a:pt x="3747437" y="1376167"/>
                </a:cubicBezTo>
                <a:cubicBezTo>
                  <a:pt x="3747437" y="1376167"/>
                  <a:pt x="3747864" y="1375171"/>
                  <a:pt x="3747864" y="1375171"/>
                </a:cubicBezTo>
                <a:cubicBezTo>
                  <a:pt x="3747437" y="1374886"/>
                  <a:pt x="3747437" y="1374886"/>
                  <a:pt x="3747651" y="1374744"/>
                </a:cubicBezTo>
                <a:cubicBezTo>
                  <a:pt x="3748077" y="1374744"/>
                  <a:pt x="3748931" y="1374460"/>
                  <a:pt x="3749785" y="1373748"/>
                </a:cubicBezTo>
                <a:cubicBezTo>
                  <a:pt x="3750639" y="1373464"/>
                  <a:pt x="3751065" y="1373179"/>
                  <a:pt x="3751492" y="1373037"/>
                </a:cubicBezTo>
                <a:close/>
                <a:moveTo>
                  <a:pt x="1445897" y="1373023"/>
                </a:moveTo>
                <a:cubicBezTo>
                  <a:pt x="1448169" y="1372094"/>
                  <a:pt x="1451679" y="1374262"/>
                  <a:pt x="1452299" y="1376276"/>
                </a:cubicBezTo>
                <a:cubicBezTo>
                  <a:pt x="1451370" y="1381697"/>
                  <a:pt x="1444968" y="1377670"/>
                  <a:pt x="1444245" y="1375037"/>
                </a:cubicBezTo>
                <a:cubicBezTo>
                  <a:pt x="1444555" y="1373953"/>
                  <a:pt x="1445174" y="1373333"/>
                  <a:pt x="1445897" y="1373023"/>
                </a:cubicBezTo>
                <a:close/>
                <a:moveTo>
                  <a:pt x="3558134" y="1372895"/>
                </a:moveTo>
                <a:cubicBezTo>
                  <a:pt x="3565817" y="1387549"/>
                  <a:pt x="3586092" y="1382569"/>
                  <a:pt x="3589080" y="1396938"/>
                </a:cubicBezTo>
                <a:cubicBezTo>
                  <a:pt x="3577555" y="1395231"/>
                  <a:pt x="3566030" y="1395800"/>
                  <a:pt x="3554079" y="1383423"/>
                </a:cubicBezTo>
                <a:cubicBezTo>
                  <a:pt x="3554932" y="1379866"/>
                  <a:pt x="3552585" y="1373891"/>
                  <a:pt x="3558134" y="1372895"/>
                </a:cubicBezTo>
                <a:close/>
                <a:moveTo>
                  <a:pt x="1322803" y="1372752"/>
                </a:moveTo>
                <a:cubicBezTo>
                  <a:pt x="1324674" y="1373372"/>
                  <a:pt x="1326636" y="1374417"/>
                  <a:pt x="1328804" y="1375037"/>
                </a:cubicBezTo>
                <a:cubicBezTo>
                  <a:pt x="1328804" y="1375811"/>
                  <a:pt x="1329631" y="1376895"/>
                  <a:pt x="1330457" y="1376895"/>
                </a:cubicBezTo>
                <a:cubicBezTo>
                  <a:pt x="1331283" y="1377825"/>
                  <a:pt x="1332212" y="1378754"/>
                  <a:pt x="1332212" y="1377825"/>
                </a:cubicBezTo>
                <a:cubicBezTo>
                  <a:pt x="1334794" y="1380613"/>
                  <a:pt x="1335723" y="1380768"/>
                  <a:pt x="1334794" y="1383247"/>
                </a:cubicBezTo>
                <a:lnTo>
                  <a:pt x="1331902" y="1382162"/>
                </a:lnTo>
                <a:lnTo>
                  <a:pt x="1331902" y="1383092"/>
                </a:lnTo>
                <a:cubicBezTo>
                  <a:pt x="1330043" y="1384331"/>
                  <a:pt x="1328701" y="1384176"/>
                  <a:pt x="1327772" y="1383401"/>
                </a:cubicBezTo>
                <a:lnTo>
                  <a:pt x="1326739" y="1380458"/>
                </a:lnTo>
                <a:lnTo>
                  <a:pt x="1324571" y="1379684"/>
                </a:lnTo>
                <a:cubicBezTo>
                  <a:pt x="1321473" y="1378290"/>
                  <a:pt x="1319098" y="1376895"/>
                  <a:pt x="1318169" y="1376431"/>
                </a:cubicBezTo>
                <a:cubicBezTo>
                  <a:pt x="1317343" y="1375966"/>
                  <a:pt x="1316930" y="1375502"/>
                  <a:pt x="1316827" y="1375037"/>
                </a:cubicBezTo>
                <a:cubicBezTo>
                  <a:pt x="1316724" y="1374417"/>
                  <a:pt x="1316930" y="1373798"/>
                  <a:pt x="1317343" y="1373023"/>
                </a:cubicBezTo>
                <a:cubicBezTo>
                  <a:pt x="1319150" y="1371939"/>
                  <a:pt x="1320931" y="1372133"/>
                  <a:pt x="1322803" y="1372752"/>
                </a:cubicBezTo>
                <a:close/>
                <a:moveTo>
                  <a:pt x="3989029" y="1372610"/>
                </a:moveTo>
                <a:cubicBezTo>
                  <a:pt x="3990736" y="1372753"/>
                  <a:pt x="3992657" y="1373748"/>
                  <a:pt x="3994364" y="1375740"/>
                </a:cubicBezTo>
                <a:cubicBezTo>
                  <a:pt x="3997565" y="1378728"/>
                  <a:pt x="3997352" y="1383423"/>
                  <a:pt x="4000553" y="1387549"/>
                </a:cubicBezTo>
                <a:cubicBezTo>
                  <a:pt x="3996712" y="1391816"/>
                  <a:pt x="3995645" y="1392813"/>
                  <a:pt x="3990096" y="1389398"/>
                </a:cubicBezTo>
                <a:cubicBezTo>
                  <a:pt x="3990096" y="1389398"/>
                  <a:pt x="3989029" y="1388118"/>
                  <a:pt x="3989029" y="1388118"/>
                </a:cubicBezTo>
                <a:cubicBezTo>
                  <a:pt x="3984546" y="1383849"/>
                  <a:pt x="3982839" y="1376309"/>
                  <a:pt x="3984120" y="1374033"/>
                </a:cubicBezTo>
                <a:cubicBezTo>
                  <a:pt x="3985187" y="1373037"/>
                  <a:pt x="3987108" y="1372468"/>
                  <a:pt x="3989029" y="1372610"/>
                </a:cubicBezTo>
                <a:close/>
                <a:moveTo>
                  <a:pt x="4197753" y="1372326"/>
                </a:moveTo>
                <a:cubicBezTo>
                  <a:pt x="4198606" y="1372610"/>
                  <a:pt x="4199460" y="1373037"/>
                  <a:pt x="4199887" y="1373748"/>
                </a:cubicBezTo>
                <a:cubicBezTo>
                  <a:pt x="4200954" y="1375313"/>
                  <a:pt x="4201168" y="1377874"/>
                  <a:pt x="4200528" y="1380862"/>
                </a:cubicBezTo>
                <a:cubicBezTo>
                  <a:pt x="4197966" y="1381573"/>
                  <a:pt x="4195405" y="1382284"/>
                  <a:pt x="4193058" y="1381431"/>
                </a:cubicBezTo>
                <a:cubicBezTo>
                  <a:pt x="4193485" y="1378017"/>
                  <a:pt x="4193058" y="1375455"/>
                  <a:pt x="4194125" y="1372895"/>
                </a:cubicBezTo>
                <a:cubicBezTo>
                  <a:pt x="4195405" y="1372326"/>
                  <a:pt x="4196686" y="1372183"/>
                  <a:pt x="4197753" y="1372326"/>
                </a:cubicBezTo>
                <a:close/>
                <a:moveTo>
                  <a:pt x="4705265" y="1371756"/>
                </a:moveTo>
                <a:cubicBezTo>
                  <a:pt x="4713802" y="1372326"/>
                  <a:pt x="4721485" y="1377020"/>
                  <a:pt x="4724046" y="1386410"/>
                </a:cubicBezTo>
                <a:cubicBezTo>
                  <a:pt x="4724900" y="1389967"/>
                  <a:pt x="4724900" y="1394235"/>
                  <a:pt x="4724046" y="1399215"/>
                </a:cubicBezTo>
                <a:cubicBezTo>
                  <a:pt x="4721058" y="1412730"/>
                  <a:pt x="4708040" y="1419986"/>
                  <a:pt x="4698222" y="1434924"/>
                </a:cubicBezTo>
                <a:lnTo>
                  <a:pt x="4697155" y="1432078"/>
                </a:lnTo>
                <a:lnTo>
                  <a:pt x="4695875" y="1432790"/>
                </a:lnTo>
                <a:cubicBezTo>
                  <a:pt x="4691393" y="1431794"/>
                  <a:pt x="4688618" y="1428522"/>
                  <a:pt x="4688192" y="1424965"/>
                </a:cubicBezTo>
                <a:lnTo>
                  <a:pt x="4689472" y="1420128"/>
                </a:lnTo>
                <a:lnTo>
                  <a:pt x="4683283" y="1415433"/>
                </a:lnTo>
                <a:cubicBezTo>
                  <a:pt x="4681149" y="1413726"/>
                  <a:pt x="4679442" y="1412018"/>
                  <a:pt x="4677734" y="1410027"/>
                </a:cubicBezTo>
                <a:cubicBezTo>
                  <a:pt x="4675813" y="1407324"/>
                  <a:pt x="4674533" y="1404052"/>
                  <a:pt x="4674533" y="1399926"/>
                </a:cubicBezTo>
                <a:cubicBezTo>
                  <a:pt x="4673892" y="1381147"/>
                  <a:pt x="4690753" y="1370761"/>
                  <a:pt x="4705265" y="1371756"/>
                </a:cubicBezTo>
                <a:close/>
                <a:moveTo>
                  <a:pt x="3763657" y="1370761"/>
                </a:moveTo>
                <a:cubicBezTo>
                  <a:pt x="3761736" y="1372753"/>
                  <a:pt x="3755120" y="1379297"/>
                  <a:pt x="3752560" y="1379012"/>
                </a:cubicBezTo>
                <a:cubicBezTo>
                  <a:pt x="3755334" y="1375455"/>
                  <a:pt x="3762163" y="1370049"/>
                  <a:pt x="3763657" y="1370761"/>
                </a:cubicBezTo>
                <a:close/>
                <a:moveTo>
                  <a:pt x="3612770" y="1370618"/>
                </a:moveTo>
                <a:cubicBezTo>
                  <a:pt x="3615971" y="1369907"/>
                  <a:pt x="3621306" y="1373179"/>
                  <a:pt x="3628989" y="1384561"/>
                </a:cubicBezTo>
                <a:lnTo>
                  <a:pt x="3626855" y="1387406"/>
                </a:lnTo>
                <a:lnTo>
                  <a:pt x="3626641" y="1387549"/>
                </a:lnTo>
                <a:lnTo>
                  <a:pt x="3624081" y="1390821"/>
                </a:lnTo>
                <a:lnTo>
                  <a:pt x="3624721" y="1391390"/>
                </a:lnTo>
                <a:cubicBezTo>
                  <a:pt x="3623653" y="1394093"/>
                  <a:pt x="3621733" y="1395942"/>
                  <a:pt x="3620026" y="1396796"/>
                </a:cubicBezTo>
                <a:cubicBezTo>
                  <a:pt x="3618105" y="1397650"/>
                  <a:pt x="3615971" y="1397650"/>
                  <a:pt x="3614050" y="1396938"/>
                </a:cubicBezTo>
                <a:lnTo>
                  <a:pt x="3614477" y="1393239"/>
                </a:lnTo>
                <a:lnTo>
                  <a:pt x="3613837" y="1392955"/>
                </a:lnTo>
                <a:cubicBezTo>
                  <a:pt x="3608074" y="1387975"/>
                  <a:pt x="3606794" y="1372041"/>
                  <a:pt x="3612770" y="1370618"/>
                </a:cubicBezTo>
                <a:close/>
                <a:moveTo>
                  <a:pt x="5715168" y="1370191"/>
                </a:moveTo>
                <a:cubicBezTo>
                  <a:pt x="5716448" y="1370476"/>
                  <a:pt x="5717515" y="1371188"/>
                  <a:pt x="5717729" y="1371899"/>
                </a:cubicBezTo>
                <a:cubicBezTo>
                  <a:pt x="5717942" y="1374460"/>
                  <a:pt x="5718369" y="1376878"/>
                  <a:pt x="5716661" y="1378443"/>
                </a:cubicBezTo>
                <a:cubicBezTo>
                  <a:pt x="5716021" y="1379012"/>
                  <a:pt x="5715168" y="1379439"/>
                  <a:pt x="5713887" y="1379724"/>
                </a:cubicBezTo>
                <a:cubicBezTo>
                  <a:pt x="5713887" y="1379724"/>
                  <a:pt x="5713887" y="1379724"/>
                  <a:pt x="5713033" y="1379155"/>
                </a:cubicBezTo>
                <a:cubicBezTo>
                  <a:pt x="5711113" y="1378017"/>
                  <a:pt x="5710259" y="1377305"/>
                  <a:pt x="5709192" y="1376736"/>
                </a:cubicBezTo>
                <a:cubicBezTo>
                  <a:pt x="5708978" y="1375171"/>
                  <a:pt x="5709192" y="1370903"/>
                  <a:pt x="5710686" y="1370476"/>
                </a:cubicBezTo>
                <a:cubicBezTo>
                  <a:pt x="5712393" y="1370049"/>
                  <a:pt x="5713887" y="1369907"/>
                  <a:pt x="5715168" y="1370191"/>
                </a:cubicBezTo>
                <a:close/>
                <a:moveTo>
                  <a:pt x="1115684" y="1370080"/>
                </a:moveTo>
                <a:cubicBezTo>
                  <a:pt x="1115271" y="1370700"/>
                  <a:pt x="1115168" y="1372559"/>
                  <a:pt x="1113929" y="1372714"/>
                </a:cubicBezTo>
                <a:cubicBezTo>
                  <a:pt x="1112690" y="1373023"/>
                  <a:pt x="1112690" y="1373023"/>
                  <a:pt x="1111244" y="1371939"/>
                </a:cubicBezTo>
                <a:cubicBezTo>
                  <a:pt x="1112276" y="1371164"/>
                  <a:pt x="1112793" y="1370855"/>
                  <a:pt x="1113309" y="1370545"/>
                </a:cubicBezTo>
                <a:cubicBezTo>
                  <a:pt x="1113929" y="1370390"/>
                  <a:pt x="1114445" y="1370235"/>
                  <a:pt x="1115684" y="1370080"/>
                </a:cubicBezTo>
                <a:close/>
                <a:moveTo>
                  <a:pt x="4020401" y="1370049"/>
                </a:moveTo>
                <a:cubicBezTo>
                  <a:pt x="4022535" y="1371188"/>
                  <a:pt x="4023816" y="1370191"/>
                  <a:pt x="4026163" y="1373748"/>
                </a:cubicBezTo>
                <a:cubicBezTo>
                  <a:pt x="4025097" y="1374886"/>
                  <a:pt x="4024030" y="1376025"/>
                  <a:pt x="4022962" y="1377163"/>
                </a:cubicBezTo>
                <a:cubicBezTo>
                  <a:pt x="4020614" y="1374744"/>
                  <a:pt x="4018054" y="1372183"/>
                  <a:pt x="4020401" y="1370049"/>
                </a:cubicBezTo>
                <a:close/>
                <a:moveTo>
                  <a:pt x="4328366" y="1369623"/>
                </a:moveTo>
                <a:cubicBezTo>
                  <a:pt x="4328366" y="1369623"/>
                  <a:pt x="4328792" y="1370618"/>
                  <a:pt x="4328792" y="1370618"/>
                </a:cubicBezTo>
                <a:cubicBezTo>
                  <a:pt x="4329433" y="1370334"/>
                  <a:pt x="4329433" y="1370334"/>
                  <a:pt x="4329220" y="1370761"/>
                </a:cubicBezTo>
                <a:cubicBezTo>
                  <a:pt x="4329220" y="1371045"/>
                  <a:pt x="4328792" y="1371899"/>
                  <a:pt x="4328792" y="1373179"/>
                </a:cubicBezTo>
                <a:cubicBezTo>
                  <a:pt x="4328366" y="1374744"/>
                  <a:pt x="4329006" y="1375740"/>
                  <a:pt x="4327512" y="1375313"/>
                </a:cubicBezTo>
                <a:cubicBezTo>
                  <a:pt x="4326018" y="1374886"/>
                  <a:pt x="4326018" y="1375029"/>
                  <a:pt x="4324524" y="1372041"/>
                </a:cubicBezTo>
                <a:cubicBezTo>
                  <a:pt x="4325805" y="1372468"/>
                  <a:pt x="4326018" y="1372326"/>
                  <a:pt x="4326445" y="1370761"/>
                </a:cubicBezTo>
                <a:cubicBezTo>
                  <a:pt x="4326445" y="1370761"/>
                  <a:pt x="4326445" y="1370761"/>
                  <a:pt x="4326018" y="1369765"/>
                </a:cubicBezTo>
                <a:cubicBezTo>
                  <a:pt x="4326872" y="1369196"/>
                  <a:pt x="4327299" y="1370191"/>
                  <a:pt x="4328366" y="1369623"/>
                </a:cubicBezTo>
                <a:close/>
                <a:moveTo>
                  <a:pt x="3600604" y="1369623"/>
                </a:moveTo>
                <a:cubicBezTo>
                  <a:pt x="3600604" y="1369623"/>
                  <a:pt x="3601671" y="1369765"/>
                  <a:pt x="3604019" y="1372468"/>
                </a:cubicBezTo>
                <a:cubicBezTo>
                  <a:pt x="3602952" y="1372326"/>
                  <a:pt x="3602739" y="1373464"/>
                  <a:pt x="3602739" y="1373464"/>
                </a:cubicBezTo>
                <a:cubicBezTo>
                  <a:pt x="3602739" y="1373464"/>
                  <a:pt x="3602739" y="1373464"/>
                  <a:pt x="3604019" y="1373606"/>
                </a:cubicBezTo>
                <a:cubicBezTo>
                  <a:pt x="3603379" y="1374175"/>
                  <a:pt x="3602739" y="1374175"/>
                  <a:pt x="3602311" y="1373891"/>
                </a:cubicBezTo>
                <a:cubicBezTo>
                  <a:pt x="3601885" y="1373748"/>
                  <a:pt x="3601671" y="1373322"/>
                  <a:pt x="3601671" y="1373322"/>
                </a:cubicBezTo>
                <a:cubicBezTo>
                  <a:pt x="3600391" y="1372041"/>
                  <a:pt x="3599324" y="1370618"/>
                  <a:pt x="3600604" y="1369623"/>
                </a:cubicBezTo>
                <a:close/>
                <a:moveTo>
                  <a:pt x="3931191" y="1369053"/>
                </a:moveTo>
                <a:lnTo>
                  <a:pt x="3925856" y="1380435"/>
                </a:lnTo>
                <a:lnTo>
                  <a:pt x="3927991" y="1382000"/>
                </a:lnTo>
                <a:cubicBezTo>
                  <a:pt x="3929058" y="1383423"/>
                  <a:pt x="3929911" y="1386126"/>
                  <a:pt x="3930338" y="1389113"/>
                </a:cubicBezTo>
                <a:cubicBezTo>
                  <a:pt x="3930765" y="1392101"/>
                  <a:pt x="3930551" y="1395089"/>
                  <a:pt x="3929271" y="1396654"/>
                </a:cubicBezTo>
                <a:cubicBezTo>
                  <a:pt x="3927137" y="1395089"/>
                  <a:pt x="3925003" y="1393666"/>
                  <a:pt x="3922868" y="1392101"/>
                </a:cubicBezTo>
                <a:cubicBezTo>
                  <a:pt x="3923295" y="1392101"/>
                  <a:pt x="3923295" y="1389398"/>
                  <a:pt x="3923082" y="1386553"/>
                </a:cubicBezTo>
                <a:lnTo>
                  <a:pt x="3920308" y="1392243"/>
                </a:lnTo>
                <a:cubicBezTo>
                  <a:pt x="3916252" y="1398787"/>
                  <a:pt x="3910917" y="1401633"/>
                  <a:pt x="3902166" y="1392955"/>
                </a:cubicBezTo>
                <a:cubicBezTo>
                  <a:pt x="3914545" y="1386837"/>
                  <a:pt x="3919880" y="1369196"/>
                  <a:pt x="3931191" y="1369053"/>
                </a:cubicBezTo>
                <a:close/>
                <a:moveTo>
                  <a:pt x="1716325" y="1368996"/>
                </a:moveTo>
                <a:cubicBezTo>
                  <a:pt x="1717977" y="1370855"/>
                  <a:pt x="1719526" y="1372714"/>
                  <a:pt x="1717667" y="1374107"/>
                </a:cubicBezTo>
                <a:cubicBezTo>
                  <a:pt x="1716015" y="1373023"/>
                  <a:pt x="1715086" y="1373643"/>
                  <a:pt x="1713537" y="1371010"/>
                </a:cubicBezTo>
                <a:cubicBezTo>
                  <a:pt x="1714466" y="1370390"/>
                  <a:pt x="1715396" y="1369770"/>
                  <a:pt x="1716325" y="1368996"/>
                </a:cubicBezTo>
                <a:close/>
                <a:moveTo>
                  <a:pt x="1560925" y="1368531"/>
                </a:moveTo>
                <a:cubicBezTo>
                  <a:pt x="1562576" y="1367602"/>
                  <a:pt x="1565055" y="1368841"/>
                  <a:pt x="1565571" y="1370390"/>
                </a:cubicBezTo>
                <a:cubicBezTo>
                  <a:pt x="1565777" y="1371164"/>
                  <a:pt x="1565674" y="1372094"/>
                  <a:pt x="1564848" y="1372869"/>
                </a:cubicBezTo>
                <a:cubicBezTo>
                  <a:pt x="1562886" y="1372403"/>
                  <a:pt x="1561854" y="1371629"/>
                  <a:pt x="1559685" y="1370390"/>
                </a:cubicBezTo>
                <a:cubicBezTo>
                  <a:pt x="1559892" y="1369460"/>
                  <a:pt x="1560408" y="1368841"/>
                  <a:pt x="1560925" y="1368531"/>
                </a:cubicBezTo>
                <a:close/>
                <a:moveTo>
                  <a:pt x="5841939" y="1368342"/>
                </a:moveTo>
                <a:cubicBezTo>
                  <a:pt x="5842793" y="1367916"/>
                  <a:pt x="5843860" y="1367916"/>
                  <a:pt x="5844500" y="1368484"/>
                </a:cubicBezTo>
                <a:cubicBezTo>
                  <a:pt x="5845567" y="1369623"/>
                  <a:pt x="5844286" y="1370903"/>
                  <a:pt x="5844286" y="1372041"/>
                </a:cubicBezTo>
                <a:cubicBezTo>
                  <a:pt x="5842793" y="1374318"/>
                  <a:pt x="5834682" y="1377732"/>
                  <a:pt x="5833615" y="1376594"/>
                </a:cubicBezTo>
                <a:cubicBezTo>
                  <a:pt x="5835536" y="1373891"/>
                  <a:pt x="5838951" y="1369481"/>
                  <a:pt x="5841939" y="1368342"/>
                </a:cubicBezTo>
                <a:close/>
                <a:moveTo>
                  <a:pt x="1116097" y="1368066"/>
                </a:moveTo>
                <a:cubicBezTo>
                  <a:pt x="1116406" y="1367912"/>
                  <a:pt x="1116716" y="1367912"/>
                  <a:pt x="1117026" y="1368066"/>
                </a:cubicBezTo>
                <a:cubicBezTo>
                  <a:pt x="1117749" y="1368531"/>
                  <a:pt x="1117232" y="1369306"/>
                  <a:pt x="1116097" y="1369615"/>
                </a:cubicBezTo>
                <a:cubicBezTo>
                  <a:pt x="1116097" y="1369615"/>
                  <a:pt x="1115374" y="1369151"/>
                  <a:pt x="1115374" y="1369151"/>
                </a:cubicBezTo>
                <a:cubicBezTo>
                  <a:pt x="1115684" y="1368686"/>
                  <a:pt x="1115890" y="1368376"/>
                  <a:pt x="1116097" y="1368066"/>
                </a:cubicBezTo>
                <a:close/>
                <a:moveTo>
                  <a:pt x="5087714" y="1368058"/>
                </a:moveTo>
                <a:cubicBezTo>
                  <a:pt x="5090914" y="1368627"/>
                  <a:pt x="5093476" y="1368200"/>
                  <a:pt x="5096677" y="1368627"/>
                </a:cubicBezTo>
                <a:cubicBezTo>
                  <a:pt x="5102226" y="1373748"/>
                  <a:pt x="5101159" y="1378870"/>
                  <a:pt x="5097744" y="1381431"/>
                </a:cubicBezTo>
                <a:cubicBezTo>
                  <a:pt x="5094543" y="1383992"/>
                  <a:pt x="5088780" y="1383992"/>
                  <a:pt x="5084512" y="1378585"/>
                </a:cubicBezTo>
                <a:cubicBezTo>
                  <a:pt x="5084726" y="1373606"/>
                  <a:pt x="5086646" y="1370476"/>
                  <a:pt x="5087714" y="1368058"/>
                </a:cubicBezTo>
                <a:close/>
                <a:moveTo>
                  <a:pt x="3776462" y="1367062"/>
                </a:moveTo>
                <a:cubicBezTo>
                  <a:pt x="3778383" y="1366493"/>
                  <a:pt x="3780304" y="1366635"/>
                  <a:pt x="3782225" y="1367631"/>
                </a:cubicBezTo>
                <a:cubicBezTo>
                  <a:pt x="3784786" y="1368911"/>
                  <a:pt x="3787133" y="1371614"/>
                  <a:pt x="3788201" y="1376452"/>
                </a:cubicBezTo>
                <a:cubicBezTo>
                  <a:pt x="3784999" y="1381004"/>
                  <a:pt x="3781371" y="1380862"/>
                  <a:pt x="3778170" y="1382996"/>
                </a:cubicBezTo>
                <a:cubicBezTo>
                  <a:pt x="3767926" y="1375883"/>
                  <a:pt x="3771127" y="1368627"/>
                  <a:pt x="3776462" y="1367062"/>
                </a:cubicBezTo>
                <a:close/>
                <a:moveTo>
                  <a:pt x="1171855" y="1366518"/>
                </a:moveTo>
                <a:cubicBezTo>
                  <a:pt x="1174230" y="1366827"/>
                  <a:pt x="1175159" y="1368222"/>
                  <a:pt x="1174850" y="1369306"/>
                </a:cubicBezTo>
                <a:cubicBezTo>
                  <a:pt x="1173610" y="1378754"/>
                  <a:pt x="1165247" y="1380458"/>
                  <a:pt x="1164214" y="1382162"/>
                </a:cubicBezTo>
                <a:cubicBezTo>
                  <a:pt x="1161530" y="1381697"/>
                  <a:pt x="1160910" y="1381697"/>
                  <a:pt x="1161116" y="1378909"/>
                </a:cubicBezTo>
                <a:cubicBezTo>
                  <a:pt x="1161220" y="1377980"/>
                  <a:pt x="1161426" y="1376741"/>
                  <a:pt x="1161633" y="1375037"/>
                </a:cubicBezTo>
                <a:cubicBezTo>
                  <a:pt x="1161942" y="1373953"/>
                  <a:pt x="1162562" y="1372869"/>
                  <a:pt x="1163388" y="1371939"/>
                </a:cubicBezTo>
                <a:cubicBezTo>
                  <a:pt x="1164317" y="1371010"/>
                  <a:pt x="1165350" y="1370235"/>
                  <a:pt x="1166692" y="1369926"/>
                </a:cubicBezTo>
                <a:cubicBezTo>
                  <a:pt x="1167725" y="1368222"/>
                  <a:pt x="1169996" y="1366827"/>
                  <a:pt x="1171855" y="1366518"/>
                </a:cubicBezTo>
                <a:close/>
                <a:moveTo>
                  <a:pt x="4139703" y="1366493"/>
                </a:moveTo>
                <a:cubicBezTo>
                  <a:pt x="4143758" y="1369196"/>
                  <a:pt x="4146532" y="1379155"/>
                  <a:pt x="4145892" y="1382854"/>
                </a:cubicBezTo>
                <a:cubicBezTo>
                  <a:pt x="4142691" y="1384845"/>
                  <a:pt x="4139916" y="1384845"/>
                  <a:pt x="4137568" y="1383707"/>
                </a:cubicBezTo>
                <a:cubicBezTo>
                  <a:pt x="4130739" y="1380292"/>
                  <a:pt x="4129245" y="1366777"/>
                  <a:pt x="4139703" y="1366493"/>
                </a:cubicBezTo>
                <a:close/>
                <a:moveTo>
                  <a:pt x="4793194" y="1365924"/>
                </a:moveTo>
                <a:cubicBezTo>
                  <a:pt x="4794475" y="1365639"/>
                  <a:pt x="4795542" y="1365924"/>
                  <a:pt x="4796182" y="1367204"/>
                </a:cubicBezTo>
                <a:cubicBezTo>
                  <a:pt x="4797676" y="1372183"/>
                  <a:pt x="4787859" y="1376167"/>
                  <a:pt x="4785724" y="1374744"/>
                </a:cubicBezTo>
                <a:cubicBezTo>
                  <a:pt x="4785084" y="1372895"/>
                  <a:pt x="4789779" y="1366777"/>
                  <a:pt x="4793194" y="1365924"/>
                </a:cubicBezTo>
                <a:close/>
                <a:moveTo>
                  <a:pt x="1119298" y="1364659"/>
                </a:moveTo>
                <a:cubicBezTo>
                  <a:pt x="1119298" y="1364659"/>
                  <a:pt x="1119504" y="1365743"/>
                  <a:pt x="1119504" y="1365743"/>
                </a:cubicBezTo>
                <a:cubicBezTo>
                  <a:pt x="1118368" y="1366053"/>
                  <a:pt x="1118988" y="1366518"/>
                  <a:pt x="1117646" y="1365588"/>
                </a:cubicBezTo>
                <a:cubicBezTo>
                  <a:pt x="1118781" y="1365279"/>
                  <a:pt x="1118781" y="1365279"/>
                  <a:pt x="1119298" y="1364659"/>
                </a:cubicBezTo>
                <a:close/>
                <a:moveTo>
                  <a:pt x="921149" y="1364504"/>
                </a:moveTo>
                <a:cubicBezTo>
                  <a:pt x="922698" y="1363884"/>
                  <a:pt x="924763" y="1364039"/>
                  <a:pt x="927448" y="1365743"/>
                </a:cubicBezTo>
                <a:cubicBezTo>
                  <a:pt x="927861" y="1370235"/>
                  <a:pt x="924969" y="1370390"/>
                  <a:pt x="922285" y="1370545"/>
                </a:cubicBezTo>
                <a:cubicBezTo>
                  <a:pt x="922595" y="1368222"/>
                  <a:pt x="920426" y="1367602"/>
                  <a:pt x="920426" y="1366208"/>
                </a:cubicBezTo>
                <a:cubicBezTo>
                  <a:pt x="920323" y="1365588"/>
                  <a:pt x="920529" y="1365124"/>
                  <a:pt x="921149" y="1364504"/>
                </a:cubicBezTo>
                <a:close/>
                <a:moveTo>
                  <a:pt x="4890086" y="1364359"/>
                </a:moveTo>
                <a:cubicBezTo>
                  <a:pt x="4891367" y="1369338"/>
                  <a:pt x="4892648" y="1374318"/>
                  <a:pt x="4887953" y="1375313"/>
                </a:cubicBezTo>
                <a:cubicBezTo>
                  <a:pt x="4882830" y="1372041"/>
                  <a:pt x="4882830" y="1365070"/>
                  <a:pt x="4890086" y="1364359"/>
                </a:cubicBezTo>
                <a:close/>
                <a:moveTo>
                  <a:pt x="4469863" y="1364359"/>
                </a:moveTo>
                <a:cubicBezTo>
                  <a:pt x="4475412" y="1364928"/>
                  <a:pt x="4481174" y="1367631"/>
                  <a:pt x="4485443" y="1370476"/>
                </a:cubicBezTo>
                <a:cubicBezTo>
                  <a:pt x="4474772" y="1379439"/>
                  <a:pt x="4465168" y="1374744"/>
                  <a:pt x="4455564" y="1370191"/>
                </a:cubicBezTo>
                <a:cubicBezTo>
                  <a:pt x="4458765" y="1364928"/>
                  <a:pt x="4464101" y="1363647"/>
                  <a:pt x="4469863" y="1364359"/>
                </a:cubicBezTo>
                <a:close/>
                <a:moveTo>
                  <a:pt x="4180679" y="1363932"/>
                </a:moveTo>
                <a:cubicBezTo>
                  <a:pt x="4180893" y="1365497"/>
                  <a:pt x="4180893" y="1365497"/>
                  <a:pt x="4182387" y="1365070"/>
                </a:cubicBezTo>
                <a:cubicBezTo>
                  <a:pt x="4182387" y="1365070"/>
                  <a:pt x="4182600" y="1365070"/>
                  <a:pt x="4183240" y="1364074"/>
                </a:cubicBezTo>
                <a:cubicBezTo>
                  <a:pt x="4184094" y="1364643"/>
                  <a:pt x="4183454" y="1365639"/>
                  <a:pt x="4184307" y="1366208"/>
                </a:cubicBezTo>
                <a:cubicBezTo>
                  <a:pt x="4184307" y="1366208"/>
                  <a:pt x="4183667" y="1367204"/>
                  <a:pt x="4183667" y="1367204"/>
                </a:cubicBezTo>
                <a:cubicBezTo>
                  <a:pt x="4184094" y="1367489"/>
                  <a:pt x="4184094" y="1367489"/>
                  <a:pt x="4183667" y="1367631"/>
                </a:cubicBezTo>
                <a:lnTo>
                  <a:pt x="4183454" y="1367773"/>
                </a:lnTo>
                <a:lnTo>
                  <a:pt x="4183667" y="1378017"/>
                </a:lnTo>
                <a:cubicBezTo>
                  <a:pt x="4183667" y="1382284"/>
                  <a:pt x="4183454" y="1386410"/>
                  <a:pt x="4181960" y="1390251"/>
                </a:cubicBezTo>
                <a:cubicBezTo>
                  <a:pt x="4177478" y="1385272"/>
                  <a:pt x="4174277" y="1375171"/>
                  <a:pt x="4177691" y="1369338"/>
                </a:cubicBezTo>
                <a:lnTo>
                  <a:pt x="4178972" y="1368342"/>
                </a:lnTo>
                <a:lnTo>
                  <a:pt x="4179186" y="1366777"/>
                </a:lnTo>
                <a:cubicBezTo>
                  <a:pt x="4179399" y="1366208"/>
                  <a:pt x="4179826" y="1365497"/>
                  <a:pt x="4180679" y="1363932"/>
                </a:cubicBezTo>
                <a:close/>
                <a:moveTo>
                  <a:pt x="1682147" y="1362955"/>
                </a:moveTo>
                <a:cubicBezTo>
                  <a:pt x="1684316" y="1361561"/>
                  <a:pt x="1688963" y="1362025"/>
                  <a:pt x="1689892" y="1363110"/>
                </a:cubicBezTo>
                <a:cubicBezTo>
                  <a:pt x="1689892" y="1364969"/>
                  <a:pt x="1681941" y="1369151"/>
                  <a:pt x="1681011" y="1364969"/>
                </a:cubicBezTo>
                <a:cubicBezTo>
                  <a:pt x="1681011" y="1364039"/>
                  <a:pt x="1681425" y="1363420"/>
                  <a:pt x="1682147" y="1362955"/>
                </a:cubicBezTo>
                <a:close/>
                <a:moveTo>
                  <a:pt x="3994577" y="1362652"/>
                </a:moveTo>
                <a:cubicBezTo>
                  <a:pt x="4003755" y="1363078"/>
                  <a:pt x="4018694" y="1382996"/>
                  <a:pt x="4010797" y="1392101"/>
                </a:cubicBezTo>
                <a:cubicBezTo>
                  <a:pt x="4005888" y="1384703"/>
                  <a:pt x="4002047" y="1377447"/>
                  <a:pt x="3992443" y="1369765"/>
                </a:cubicBezTo>
                <a:lnTo>
                  <a:pt x="3992657" y="1368769"/>
                </a:lnTo>
                <a:lnTo>
                  <a:pt x="3992016" y="1367773"/>
                </a:lnTo>
                <a:cubicBezTo>
                  <a:pt x="3991803" y="1366493"/>
                  <a:pt x="3992230" y="1365212"/>
                  <a:pt x="3992657" y="1364928"/>
                </a:cubicBezTo>
                <a:lnTo>
                  <a:pt x="3993297" y="1365497"/>
                </a:lnTo>
                <a:close/>
                <a:moveTo>
                  <a:pt x="1320467" y="1360961"/>
                </a:moveTo>
                <a:cubicBezTo>
                  <a:pt x="1325165" y="1359005"/>
                  <a:pt x="1329682" y="1358463"/>
                  <a:pt x="1331799" y="1362645"/>
                </a:cubicBezTo>
                <a:cubicBezTo>
                  <a:pt x="1326533" y="1364814"/>
                  <a:pt x="1310631" y="1374107"/>
                  <a:pt x="1308050" y="1367757"/>
                </a:cubicBezTo>
                <a:cubicBezTo>
                  <a:pt x="1310890" y="1366285"/>
                  <a:pt x="1315768" y="1362916"/>
                  <a:pt x="1320467" y="1360961"/>
                </a:cubicBezTo>
                <a:close/>
                <a:moveTo>
                  <a:pt x="3540420" y="1360944"/>
                </a:moveTo>
                <a:cubicBezTo>
                  <a:pt x="3546396" y="1360944"/>
                  <a:pt x="3551732" y="1361798"/>
                  <a:pt x="3553652" y="1365781"/>
                </a:cubicBezTo>
                <a:cubicBezTo>
                  <a:pt x="3554719" y="1368484"/>
                  <a:pt x="3554506" y="1372610"/>
                  <a:pt x="3551732" y="1378728"/>
                </a:cubicBezTo>
                <a:cubicBezTo>
                  <a:pt x="3542981" y="1369338"/>
                  <a:pt x="3525481" y="1372041"/>
                  <a:pt x="3522279" y="1361087"/>
                </a:cubicBezTo>
                <a:cubicBezTo>
                  <a:pt x="3527188" y="1361798"/>
                  <a:pt x="3534231" y="1360944"/>
                  <a:pt x="3540420" y="1360944"/>
                </a:cubicBezTo>
                <a:close/>
                <a:moveTo>
                  <a:pt x="4335835" y="1360517"/>
                </a:moveTo>
                <a:cubicBezTo>
                  <a:pt x="4352482" y="1362082"/>
                  <a:pt x="4368702" y="1376878"/>
                  <a:pt x="4384709" y="1386837"/>
                </a:cubicBezTo>
                <a:cubicBezTo>
                  <a:pt x="4381934" y="1389825"/>
                  <a:pt x="4382788" y="1393524"/>
                  <a:pt x="4377666" y="1397223"/>
                </a:cubicBezTo>
                <a:lnTo>
                  <a:pt x="4373824" y="1394377"/>
                </a:lnTo>
                <a:lnTo>
                  <a:pt x="4373397" y="1395373"/>
                </a:lnTo>
                <a:cubicBezTo>
                  <a:pt x="4370409" y="1397507"/>
                  <a:pt x="4364220" y="1393950"/>
                  <a:pt x="4361873" y="1389967"/>
                </a:cubicBezTo>
                <a:lnTo>
                  <a:pt x="4362086" y="1385699"/>
                </a:lnTo>
                <a:lnTo>
                  <a:pt x="4351842" y="1378159"/>
                </a:lnTo>
                <a:cubicBezTo>
                  <a:pt x="4343519" y="1372468"/>
                  <a:pt x="4335408" y="1367062"/>
                  <a:pt x="4328792" y="1360660"/>
                </a:cubicBezTo>
                <a:cubicBezTo>
                  <a:pt x="4331140" y="1360375"/>
                  <a:pt x="4333488" y="1360233"/>
                  <a:pt x="4335835" y="1360517"/>
                </a:cubicBezTo>
                <a:close/>
                <a:moveTo>
                  <a:pt x="3596123" y="1360375"/>
                </a:moveTo>
                <a:cubicBezTo>
                  <a:pt x="3598257" y="1361940"/>
                  <a:pt x="3601671" y="1367346"/>
                  <a:pt x="3600391" y="1369623"/>
                </a:cubicBezTo>
                <a:cubicBezTo>
                  <a:pt x="3598044" y="1368058"/>
                  <a:pt x="3596976" y="1366777"/>
                  <a:pt x="3595909" y="1365354"/>
                </a:cubicBezTo>
                <a:cubicBezTo>
                  <a:pt x="3593775" y="1363789"/>
                  <a:pt x="3593775" y="1362652"/>
                  <a:pt x="3596123" y="1360375"/>
                </a:cubicBezTo>
                <a:close/>
                <a:moveTo>
                  <a:pt x="1029155" y="1360167"/>
                </a:moveTo>
                <a:cubicBezTo>
                  <a:pt x="1031530" y="1358618"/>
                  <a:pt x="1035866" y="1360941"/>
                  <a:pt x="1036589" y="1363420"/>
                </a:cubicBezTo>
                <a:cubicBezTo>
                  <a:pt x="1035040" y="1367137"/>
                  <a:pt x="1029362" y="1366362"/>
                  <a:pt x="1027503" y="1363265"/>
                </a:cubicBezTo>
                <a:cubicBezTo>
                  <a:pt x="1027710" y="1361716"/>
                  <a:pt x="1028329" y="1360786"/>
                  <a:pt x="1029155" y="1360167"/>
                </a:cubicBezTo>
                <a:close/>
                <a:moveTo>
                  <a:pt x="1726857" y="1359857"/>
                </a:moveTo>
                <a:cubicBezTo>
                  <a:pt x="1729955" y="1365279"/>
                  <a:pt x="1732123" y="1370700"/>
                  <a:pt x="1738732" y="1376895"/>
                </a:cubicBezTo>
                <a:cubicBezTo>
                  <a:pt x="1736873" y="1378135"/>
                  <a:pt x="1739351" y="1380303"/>
                  <a:pt x="1736564" y="1381543"/>
                </a:cubicBezTo>
                <a:cubicBezTo>
                  <a:pt x="1731298" y="1380613"/>
                  <a:pt x="1724689" y="1372094"/>
                  <a:pt x="1724586" y="1365433"/>
                </a:cubicBezTo>
                <a:cubicBezTo>
                  <a:pt x="1724482" y="1363265"/>
                  <a:pt x="1725205" y="1361251"/>
                  <a:pt x="1726857" y="1359857"/>
                </a:cubicBezTo>
                <a:close/>
                <a:moveTo>
                  <a:pt x="5799895" y="1359806"/>
                </a:moveTo>
                <a:cubicBezTo>
                  <a:pt x="5802029" y="1361655"/>
                  <a:pt x="5803310" y="1364928"/>
                  <a:pt x="5803737" y="1368627"/>
                </a:cubicBezTo>
                <a:cubicBezTo>
                  <a:pt x="5805231" y="1380008"/>
                  <a:pt x="5800109" y="1396796"/>
                  <a:pt x="5790291" y="1397792"/>
                </a:cubicBezTo>
                <a:cubicBezTo>
                  <a:pt x="5794986" y="1384276"/>
                  <a:pt x="5791998" y="1374318"/>
                  <a:pt x="5799895" y="1359806"/>
                </a:cubicBezTo>
                <a:close/>
                <a:moveTo>
                  <a:pt x="5560225" y="1358668"/>
                </a:moveTo>
                <a:cubicBezTo>
                  <a:pt x="5568335" y="1357957"/>
                  <a:pt x="5571536" y="1359664"/>
                  <a:pt x="5572390" y="1362225"/>
                </a:cubicBezTo>
                <a:cubicBezTo>
                  <a:pt x="5574524" y="1369623"/>
                  <a:pt x="5552969" y="1383707"/>
                  <a:pt x="5560225" y="1358668"/>
                </a:cubicBezTo>
                <a:close/>
                <a:moveTo>
                  <a:pt x="5150885" y="1358668"/>
                </a:moveTo>
                <a:cubicBezTo>
                  <a:pt x="5154727" y="1359237"/>
                  <a:pt x="5156648" y="1360517"/>
                  <a:pt x="5157502" y="1362082"/>
                </a:cubicBezTo>
                <a:cubicBezTo>
                  <a:pt x="5159636" y="1366777"/>
                  <a:pt x="5151312" y="1374460"/>
                  <a:pt x="5147684" y="1380008"/>
                </a:cubicBezTo>
                <a:cubicBezTo>
                  <a:pt x="5142776" y="1379012"/>
                  <a:pt x="5141282" y="1378159"/>
                  <a:pt x="5138081" y="1374318"/>
                </a:cubicBezTo>
                <a:cubicBezTo>
                  <a:pt x="5140214" y="1366493"/>
                  <a:pt x="5145550" y="1362509"/>
                  <a:pt x="5150885" y="1358668"/>
                </a:cubicBezTo>
                <a:close/>
                <a:moveTo>
                  <a:pt x="4012931" y="1358383"/>
                </a:moveTo>
                <a:cubicBezTo>
                  <a:pt x="4013999" y="1358952"/>
                  <a:pt x="4014852" y="1360375"/>
                  <a:pt x="4015492" y="1363220"/>
                </a:cubicBezTo>
                <a:cubicBezTo>
                  <a:pt x="4011438" y="1365639"/>
                  <a:pt x="4009303" y="1365924"/>
                  <a:pt x="4008450" y="1365070"/>
                </a:cubicBezTo>
                <a:cubicBezTo>
                  <a:pt x="4006316" y="1363363"/>
                  <a:pt x="4009943" y="1356676"/>
                  <a:pt x="4012931" y="1358383"/>
                </a:cubicBezTo>
                <a:close/>
                <a:moveTo>
                  <a:pt x="5892519" y="1357957"/>
                </a:moveTo>
                <a:cubicBezTo>
                  <a:pt x="5894013" y="1357672"/>
                  <a:pt x="5895294" y="1357814"/>
                  <a:pt x="5896788" y="1358383"/>
                </a:cubicBezTo>
                <a:cubicBezTo>
                  <a:pt x="5896788" y="1358383"/>
                  <a:pt x="5896788" y="1358525"/>
                  <a:pt x="5895507" y="1358383"/>
                </a:cubicBezTo>
                <a:cubicBezTo>
                  <a:pt x="5895507" y="1358383"/>
                  <a:pt x="5896788" y="1358383"/>
                  <a:pt x="5896574" y="1359664"/>
                </a:cubicBezTo>
                <a:cubicBezTo>
                  <a:pt x="5890599" y="1362936"/>
                  <a:pt x="5881421" y="1361655"/>
                  <a:pt x="5880141" y="1361655"/>
                </a:cubicBezTo>
                <a:cubicBezTo>
                  <a:pt x="5880354" y="1360517"/>
                  <a:pt x="5880354" y="1360517"/>
                  <a:pt x="5880354" y="1360517"/>
                </a:cubicBezTo>
                <a:cubicBezTo>
                  <a:pt x="5883769" y="1361371"/>
                  <a:pt x="5888037" y="1358383"/>
                  <a:pt x="5892519" y="1357957"/>
                </a:cubicBezTo>
                <a:close/>
                <a:moveTo>
                  <a:pt x="5873525" y="1357957"/>
                </a:moveTo>
                <a:cubicBezTo>
                  <a:pt x="5873525" y="1357957"/>
                  <a:pt x="5873525" y="1357957"/>
                  <a:pt x="5874592" y="1359095"/>
                </a:cubicBezTo>
                <a:cubicBezTo>
                  <a:pt x="5872245" y="1359095"/>
                  <a:pt x="5870750" y="1363932"/>
                  <a:pt x="5868616" y="1361513"/>
                </a:cubicBezTo>
                <a:cubicBezTo>
                  <a:pt x="5869897" y="1360233"/>
                  <a:pt x="5872245" y="1359095"/>
                  <a:pt x="5873525" y="1357957"/>
                </a:cubicBezTo>
                <a:close/>
                <a:moveTo>
                  <a:pt x="4110464" y="1357672"/>
                </a:moveTo>
                <a:cubicBezTo>
                  <a:pt x="4110891" y="1357387"/>
                  <a:pt x="4111958" y="1357530"/>
                  <a:pt x="4113025" y="1357672"/>
                </a:cubicBezTo>
                <a:cubicBezTo>
                  <a:pt x="4114093" y="1357814"/>
                  <a:pt x="4115160" y="1358099"/>
                  <a:pt x="4116013" y="1358383"/>
                </a:cubicBezTo>
                <a:cubicBezTo>
                  <a:pt x="4117081" y="1357672"/>
                  <a:pt x="4118574" y="1358099"/>
                  <a:pt x="4119214" y="1359095"/>
                </a:cubicBezTo>
                <a:cubicBezTo>
                  <a:pt x="4119214" y="1359095"/>
                  <a:pt x="4120922" y="1359522"/>
                  <a:pt x="4121776" y="1358952"/>
                </a:cubicBezTo>
                <a:cubicBezTo>
                  <a:pt x="4124977" y="1359664"/>
                  <a:pt x="4125617" y="1360660"/>
                  <a:pt x="4126257" y="1361655"/>
                </a:cubicBezTo>
                <a:cubicBezTo>
                  <a:pt x="4126257" y="1361655"/>
                  <a:pt x="4124764" y="1361229"/>
                  <a:pt x="4123696" y="1361940"/>
                </a:cubicBezTo>
                <a:cubicBezTo>
                  <a:pt x="4123696" y="1361940"/>
                  <a:pt x="4122202" y="1361513"/>
                  <a:pt x="4120495" y="1361087"/>
                </a:cubicBezTo>
                <a:cubicBezTo>
                  <a:pt x="4120495" y="1361087"/>
                  <a:pt x="4119641" y="1361798"/>
                  <a:pt x="4118788" y="1362367"/>
                </a:cubicBezTo>
                <a:cubicBezTo>
                  <a:pt x="4114519" y="1362225"/>
                  <a:pt x="4112172" y="1362367"/>
                  <a:pt x="4110464" y="1357672"/>
                </a:cubicBezTo>
                <a:close/>
                <a:moveTo>
                  <a:pt x="1268503" y="1357224"/>
                </a:moveTo>
                <a:cubicBezTo>
                  <a:pt x="1268400" y="1365898"/>
                  <a:pt x="1258590" y="1371319"/>
                  <a:pt x="1252705" y="1372403"/>
                </a:cubicBezTo>
                <a:cubicBezTo>
                  <a:pt x="1252808" y="1365898"/>
                  <a:pt x="1258074" y="1360322"/>
                  <a:pt x="1263340" y="1358153"/>
                </a:cubicBezTo>
                <a:cubicBezTo>
                  <a:pt x="1265095" y="1357533"/>
                  <a:pt x="1266954" y="1357069"/>
                  <a:pt x="1268503" y="1357224"/>
                </a:cubicBezTo>
                <a:close/>
                <a:moveTo>
                  <a:pt x="1248678" y="1356294"/>
                </a:moveTo>
                <a:cubicBezTo>
                  <a:pt x="1255183" y="1364039"/>
                  <a:pt x="1251775" y="1371010"/>
                  <a:pt x="1248574" y="1377825"/>
                </a:cubicBezTo>
                <a:cubicBezTo>
                  <a:pt x="1244651" y="1375657"/>
                  <a:pt x="1243722" y="1371629"/>
                  <a:pt x="1244238" y="1367602"/>
                </a:cubicBezTo>
                <a:cubicBezTo>
                  <a:pt x="1244651" y="1363575"/>
                  <a:pt x="1246612" y="1359237"/>
                  <a:pt x="1248678" y="1356294"/>
                </a:cubicBezTo>
                <a:close/>
                <a:moveTo>
                  <a:pt x="4659167" y="1356250"/>
                </a:moveTo>
                <a:cubicBezTo>
                  <a:pt x="4667490" y="1356818"/>
                  <a:pt x="4676027" y="1362225"/>
                  <a:pt x="4680082" y="1375455"/>
                </a:cubicBezTo>
                <a:cubicBezTo>
                  <a:pt x="4670264" y="1388118"/>
                  <a:pt x="4652977" y="1392101"/>
                  <a:pt x="4643373" y="1382142"/>
                </a:cubicBezTo>
                <a:cubicBezTo>
                  <a:pt x="4640812" y="1378585"/>
                  <a:pt x="4639532" y="1375171"/>
                  <a:pt x="4639318" y="1372041"/>
                </a:cubicBezTo>
                <a:lnTo>
                  <a:pt x="4641453" y="1365497"/>
                </a:lnTo>
                <a:lnTo>
                  <a:pt x="4641239" y="1364501"/>
                </a:lnTo>
                <a:lnTo>
                  <a:pt x="4641879" y="1364359"/>
                </a:lnTo>
                <a:lnTo>
                  <a:pt x="4642093" y="1363647"/>
                </a:lnTo>
                <a:cubicBezTo>
                  <a:pt x="4645721" y="1358810"/>
                  <a:pt x="4652337" y="1355823"/>
                  <a:pt x="4659167" y="1356250"/>
                </a:cubicBezTo>
                <a:close/>
                <a:moveTo>
                  <a:pt x="5367934" y="1355965"/>
                </a:moveTo>
                <a:cubicBezTo>
                  <a:pt x="5372202" y="1355538"/>
                  <a:pt x="5376043" y="1356392"/>
                  <a:pt x="5376684" y="1359664"/>
                </a:cubicBezTo>
                <a:cubicBezTo>
                  <a:pt x="5376897" y="1360517"/>
                  <a:pt x="5376684" y="1361655"/>
                  <a:pt x="5376257" y="1362936"/>
                </a:cubicBezTo>
                <a:cubicBezTo>
                  <a:pt x="5369000" y="1362652"/>
                  <a:pt x="5362171" y="1366208"/>
                  <a:pt x="5358970" y="1363647"/>
                </a:cubicBezTo>
                <a:cubicBezTo>
                  <a:pt x="5357903" y="1362794"/>
                  <a:pt x="5357476" y="1361371"/>
                  <a:pt x="5357263" y="1358810"/>
                </a:cubicBezTo>
                <a:cubicBezTo>
                  <a:pt x="5359183" y="1357814"/>
                  <a:pt x="5363665" y="1356250"/>
                  <a:pt x="5367934" y="1355965"/>
                </a:cubicBezTo>
                <a:close/>
                <a:moveTo>
                  <a:pt x="5250126" y="1355823"/>
                </a:moveTo>
                <a:cubicBezTo>
                  <a:pt x="5258876" y="1356818"/>
                  <a:pt x="5253541" y="1369196"/>
                  <a:pt x="5252900" y="1376594"/>
                </a:cubicBezTo>
                <a:cubicBezTo>
                  <a:pt x="5247991" y="1377590"/>
                  <a:pt x="5246284" y="1377305"/>
                  <a:pt x="5241589" y="1375029"/>
                </a:cubicBezTo>
                <a:cubicBezTo>
                  <a:pt x="5239668" y="1367062"/>
                  <a:pt x="5242656" y="1361655"/>
                  <a:pt x="5245431" y="1356107"/>
                </a:cubicBezTo>
                <a:cubicBezTo>
                  <a:pt x="5247351" y="1355823"/>
                  <a:pt x="5249059" y="1355680"/>
                  <a:pt x="5250126" y="1355823"/>
                </a:cubicBezTo>
                <a:close/>
                <a:moveTo>
                  <a:pt x="4890514" y="1355680"/>
                </a:moveTo>
                <a:cubicBezTo>
                  <a:pt x="4890727" y="1355680"/>
                  <a:pt x="4890941" y="1355965"/>
                  <a:pt x="4890941" y="1356534"/>
                </a:cubicBezTo>
                <a:cubicBezTo>
                  <a:pt x="4893074" y="1357672"/>
                  <a:pt x="4890514" y="1359948"/>
                  <a:pt x="4889233" y="1361087"/>
                </a:cubicBezTo>
                <a:cubicBezTo>
                  <a:pt x="4889660" y="1357672"/>
                  <a:pt x="4888593" y="1356392"/>
                  <a:pt x="4889660" y="1356534"/>
                </a:cubicBezTo>
                <a:cubicBezTo>
                  <a:pt x="4889873" y="1355965"/>
                  <a:pt x="4890086" y="1355680"/>
                  <a:pt x="4890514" y="1355680"/>
                </a:cubicBezTo>
                <a:close/>
                <a:moveTo>
                  <a:pt x="4717003" y="1355396"/>
                </a:moveTo>
                <a:cubicBezTo>
                  <a:pt x="4718497" y="1356676"/>
                  <a:pt x="4719138" y="1357957"/>
                  <a:pt x="4719351" y="1359237"/>
                </a:cubicBezTo>
                <a:cubicBezTo>
                  <a:pt x="4719778" y="1362936"/>
                  <a:pt x="4715723" y="1366493"/>
                  <a:pt x="4713162" y="1370903"/>
                </a:cubicBezTo>
                <a:cubicBezTo>
                  <a:pt x="4710814" y="1368200"/>
                  <a:pt x="4709960" y="1365781"/>
                  <a:pt x="4710600" y="1363220"/>
                </a:cubicBezTo>
                <a:cubicBezTo>
                  <a:pt x="4711454" y="1360660"/>
                  <a:pt x="4713588" y="1358099"/>
                  <a:pt x="4717003" y="1355396"/>
                </a:cubicBezTo>
                <a:close/>
                <a:moveTo>
                  <a:pt x="3561122" y="1355396"/>
                </a:moveTo>
                <a:cubicBezTo>
                  <a:pt x="3561122" y="1358810"/>
                  <a:pt x="3560908" y="1363363"/>
                  <a:pt x="3559841" y="1365497"/>
                </a:cubicBezTo>
                <a:cubicBezTo>
                  <a:pt x="3558774" y="1363078"/>
                  <a:pt x="3557707" y="1358383"/>
                  <a:pt x="3560055" y="1356250"/>
                </a:cubicBezTo>
                <a:cubicBezTo>
                  <a:pt x="3560055" y="1356250"/>
                  <a:pt x="3560055" y="1356392"/>
                  <a:pt x="3561122" y="1355396"/>
                </a:cubicBezTo>
                <a:close/>
                <a:moveTo>
                  <a:pt x="1128591" y="1355210"/>
                </a:moveTo>
                <a:cubicBezTo>
                  <a:pt x="1127661" y="1356604"/>
                  <a:pt x="1122189" y="1363575"/>
                  <a:pt x="1119401" y="1364659"/>
                </a:cubicBezTo>
                <a:cubicBezTo>
                  <a:pt x="1122292" y="1361716"/>
                  <a:pt x="1124667" y="1356449"/>
                  <a:pt x="1128591" y="1355210"/>
                </a:cubicBezTo>
                <a:close/>
                <a:moveTo>
                  <a:pt x="1260575" y="1354747"/>
                </a:moveTo>
                <a:lnTo>
                  <a:pt x="1262307" y="1354901"/>
                </a:lnTo>
                <a:cubicBezTo>
                  <a:pt x="1263237" y="1355829"/>
                  <a:pt x="1263237" y="1355829"/>
                  <a:pt x="1263237" y="1357533"/>
                </a:cubicBezTo>
                <a:close/>
                <a:moveTo>
                  <a:pt x="1057137" y="1354281"/>
                </a:moveTo>
                <a:cubicBezTo>
                  <a:pt x="1054556" y="1357069"/>
                  <a:pt x="1052181" y="1359857"/>
                  <a:pt x="1049084" y="1362181"/>
                </a:cubicBezTo>
                <a:cubicBezTo>
                  <a:pt x="1046089" y="1364504"/>
                  <a:pt x="1042372" y="1366362"/>
                  <a:pt x="1037416" y="1366982"/>
                </a:cubicBezTo>
                <a:cubicBezTo>
                  <a:pt x="1037312" y="1361871"/>
                  <a:pt x="1040513" y="1358773"/>
                  <a:pt x="1044643" y="1356914"/>
                </a:cubicBezTo>
                <a:cubicBezTo>
                  <a:pt x="1048774" y="1354901"/>
                  <a:pt x="1053730" y="1354281"/>
                  <a:pt x="1057137" y="1354281"/>
                </a:cubicBezTo>
                <a:close/>
                <a:moveTo>
                  <a:pt x="4745815" y="1354115"/>
                </a:moveTo>
                <a:cubicBezTo>
                  <a:pt x="4748163" y="1354258"/>
                  <a:pt x="4750723" y="1355253"/>
                  <a:pt x="4753284" y="1357530"/>
                </a:cubicBezTo>
                <a:cubicBezTo>
                  <a:pt x="4759474" y="1362509"/>
                  <a:pt x="4764382" y="1369765"/>
                  <a:pt x="4756699" y="1379012"/>
                </a:cubicBezTo>
                <a:cubicBezTo>
                  <a:pt x="4755632" y="1381289"/>
                  <a:pt x="4755632" y="1380150"/>
                  <a:pt x="4754351" y="1381289"/>
                </a:cubicBezTo>
                <a:cubicBezTo>
                  <a:pt x="4753284" y="1382427"/>
                  <a:pt x="4752218" y="1384703"/>
                  <a:pt x="4752218" y="1385841"/>
                </a:cubicBezTo>
                <a:cubicBezTo>
                  <a:pt x="4747522" y="1382142"/>
                  <a:pt x="4745388" y="1385557"/>
                  <a:pt x="4738132" y="1379297"/>
                </a:cubicBezTo>
                <a:cubicBezTo>
                  <a:pt x="4728528" y="1371756"/>
                  <a:pt x="4730449" y="1363505"/>
                  <a:pt x="4733650" y="1358952"/>
                </a:cubicBezTo>
                <a:cubicBezTo>
                  <a:pt x="4734717" y="1359806"/>
                  <a:pt x="4739199" y="1353546"/>
                  <a:pt x="4745815" y="1354115"/>
                </a:cubicBezTo>
                <a:close/>
                <a:moveTo>
                  <a:pt x="1779621" y="1353971"/>
                </a:moveTo>
                <a:lnTo>
                  <a:pt x="1773013" y="1354901"/>
                </a:lnTo>
                <a:lnTo>
                  <a:pt x="1771670" y="1354746"/>
                </a:lnTo>
                <a:lnTo>
                  <a:pt x="1774252" y="1356759"/>
                </a:lnTo>
                <a:lnTo>
                  <a:pt x="1773219" y="1357998"/>
                </a:lnTo>
                <a:lnTo>
                  <a:pt x="1773219" y="1358153"/>
                </a:lnTo>
                <a:lnTo>
                  <a:pt x="1772703" y="1358463"/>
                </a:lnTo>
                <a:lnTo>
                  <a:pt x="1772394" y="1358773"/>
                </a:lnTo>
                <a:cubicBezTo>
                  <a:pt x="1771774" y="1359547"/>
                  <a:pt x="1771258" y="1360477"/>
                  <a:pt x="1771051" y="1362490"/>
                </a:cubicBezTo>
                <a:cubicBezTo>
                  <a:pt x="1773736" y="1364814"/>
                  <a:pt x="1774252" y="1369306"/>
                  <a:pt x="1775284" y="1372714"/>
                </a:cubicBezTo>
                <a:cubicBezTo>
                  <a:pt x="1775904" y="1376741"/>
                  <a:pt x="1777556" y="1380148"/>
                  <a:pt x="1781893" y="1381388"/>
                </a:cubicBezTo>
                <a:cubicBezTo>
                  <a:pt x="1782409" y="1384176"/>
                  <a:pt x="1780757" y="1385880"/>
                  <a:pt x="1781893" y="1388668"/>
                </a:cubicBezTo>
                <a:cubicBezTo>
                  <a:pt x="1783441" y="1391611"/>
                  <a:pt x="1784474" y="1386499"/>
                  <a:pt x="1782926" y="1384176"/>
                </a:cubicBezTo>
                <a:lnTo>
                  <a:pt x="1785610" y="1389442"/>
                </a:lnTo>
                <a:lnTo>
                  <a:pt x="1787159" y="1388668"/>
                </a:lnTo>
                <a:cubicBezTo>
                  <a:pt x="1789843" y="1392385"/>
                  <a:pt x="1789224" y="1394864"/>
                  <a:pt x="1786952" y="1397032"/>
                </a:cubicBezTo>
                <a:lnTo>
                  <a:pt x="1786126" y="1396722"/>
                </a:lnTo>
                <a:lnTo>
                  <a:pt x="1786126" y="1397342"/>
                </a:lnTo>
                <a:cubicBezTo>
                  <a:pt x="1786126" y="1402454"/>
                  <a:pt x="1786126" y="1406946"/>
                  <a:pt x="1789431" y="1409269"/>
                </a:cubicBezTo>
                <a:cubicBezTo>
                  <a:pt x="1789947" y="1413296"/>
                  <a:pt x="1786746" y="1408649"/>
                  <a:pt x="1785094" y="1410973"/>
                </a:cubicBezTo>
                <a:lnTo>
                  <a:pt x="1789224" y="1416859"/>
                </a:lnTo>
                <a:lnTo>
                  <a:pt x="1789740" y="1415000"/>
                </a:lnTo>
                <a:lnTo>
                  <a:pt x="1791496" y="1414536"/>
                </a:lnTo>
                <a:lnTo>
                  <a:pt x="1790463" y="1408649"/>
                </a:lnTo>
                <a:cubicBezTo>
                  <a:pt x="1791806" y="1409579"/>
                  <a:pt x="1792631" y="1410973"/>
                  <a:pt x="1793251" y="1412677"/>
                </a:cubicBezTo>
                <a:lnTo>
                  <a:pt x="1793561" y="1413916"/>
                </a:lnTo>
                <a:lnTo>
                  <a:pt x="1795109" y="1413606"/>
                </a:lnTo>
                <a:lnTo>
                  <a:pt x="1797794" y="1415465"/>
                </a:lnTo>
                <a:lnTo>
                  <a:pt x="1799756" y="1415929"/>
                </a:lnTo>
                <a:lnTo>
                  <a:pt x="1799963" y="1415775"/>
                </a:lnTo>
                <a:lnTo>
                  <a:pt x="1800066" y="1416084"/>
                </a:lnTo>
                <a:lnTo>
                  <a:pt x="1804093" y="1417169"/>
                </a:lnTo>
                <a:lnTo>
                  <a:pt x="1801615" y="1420576"/>
                </a:lnTo>
                <a:lnTo>
                  <a:pt x="1803164" y="1423674"/>
                </a:lnTo>
                <a:lnTo>
                  <a:pt x="1797485" y="1425843"/>
                </a:lnTo>
                <a:lnTo>
                  <a:pt x="1799653" y="1429250"/>
                </a:lnTo>
                <a:lnTo>
                  <a:pt x="1796452" y="1426307"/>
                </a:lnTo>
                <a:lnTo>
                  <a:pt x="1796142" y="1426462"/>
                </a:lnTo>
                <a:lnTo>
                  <a:pt x="1797485" y="1431109"/>
                </a:lnTo>
                <a:cubicBezTo>
                  <a:pt x="1798930" y="1434207"/>
                  <a:pt x="1799756" y="1432813"/>
                  <a:pt x="1796968" y="1440093"/>
                </a:cubicBezTo>
                <a:cubicBezTo>
                  <a:pt x="1797794" y="1442571"/>
                  <a:pt x="1798724" y="1443501"/>
                  <a:pt x="1799653" y="1444121"/>
                </a:cubicBezTo>
                <a:lnTo>
                  <a:pt x="1802028" y="1446134"/>
                </a:lnTo>
                <a:lnTo>
                  <a:pt x="1802544" y="1445515"/>
                </a:lnTo>
                <a:lnTo>
                  <a:pt x="1802751" y="1444121"/>
                </a:lnTo>
                <a:cubicBezTo>
                  <a:pt x="1802131" y="1441797"/>
                  <a:pt x="1798930" y="1439319"/>
                  <a:pt x="1798517" y="1437305"/>
                </a:cubicBezTo>
                <a:cubicBezTo>
                  <a:pt x="1800686" y="1439009"/>
                  <a:pt x="1803473" y="1440093"/>
                  <a:pt x="1806158" y="1440713"/>
                </a:cubicBezTo>
                <a:lnTo>
                  <a:pt x="1805642" y="1444740"/>
                </a:lnTo>
                <a:lnTo>
                  <a:pt x="1807810" y="1444585"/>
                </a:lnTo>
                <a:cubicBezTo>
                  <a:pt x="1808223" y="1445670"/>
                  <a:pt x="1808636" y="1446908"/>
                  <a:pt x="1809049" y="1447993"/>
                </a:cubicBezTo>
                <a:lnTo>
                  <a:pt x="1805229" y="1450472"/>
                </a:lnTo>
                <a:lnTo>
                  <a:pt x="1805642" y="1453724"/>
                </a:lnTo>
                <a:cubicBezTo>
                  <a:pt x="1805642" y="1454344"/>
                  <a:pt x="1805642" y="1454344"/>
                  <a:pt x="1806158" y="1454963"/>
                </a:cubicBezTo>
                <a:cubicBezTo>
                  <a:pt x="1806158" y="1454963"/>
                  <a:pt x="1806158" y="1454963"/>
                  <a:pt x="1806158" y="1455428"/>
                </a:cubicBezTo>
                <a:cubicBezTo>
                  <a:pt x="1806158" y="1455428"/>
                  <a:pt x="1806158" y="1456048"/>
                  <a:pt x="1806158" y="1456048"/>
                </a:cubicBezTo>
                <a:cubicBezTo>
                  <a:pt x="1806158" y="1456667"/>
                  <a:pt x="1806158" y="1457132"/>
                  <a:pt x="1806674" y="1457132"/>
                </a:cubicBezTo>
                <a:cubicBezTo>
                  <a:pt x="1807191" y="1458371"/>
                  <a:pt x="1809462" y="1456667"/>
                  <a:pt x="1810495" y="1456048"/>
                </a:cubicBezTo>
                <a:cubicBezTo>
                  <a:pt x="1812147" y="1457287"/>
                  <a:pt x="1809875" y="1457751"/>
                  <a:pt x="1808327" y="1458991"/>
                </a:cubicBezTo>
                <a:cubicBezTo>
                  <a:pt x="1811011" y="1460075"/>
                  <a:pt x="1812663" y="1462244"/>
                  <a:pt x="1814212" y="1463948"/>
                </a:cubicBezTo>
                <a:cubicBezTo>
                  <a:pt x="1814729" y="1464567"/>
                  <a:pt x="1814832" y="1465186"/>
                  <a:pt x="1815348" y="1465806"/>
                </a:cubicBezTo>
                <a:cubicBezTo>
                  <a:pt x="1815348" y="1465806"/>
                  <a:pt x="1815348" y="1465651"/>
                  <a:pt x="1815864" y="1466890"/>
                </a:cubicBezTo>
                <a:cubicBezTo>
                  <a:pt x="1815864" y="1466890"/>
                  <a:pt x="1815864" y="1466890"/>
                  <a:pt x="1816380" y="1466890"/>
                </a:cubicBezTo>
                <a:cubicBezTo>
                  <a:pt x="1816380" y="1466890"/>
                  <a:pt x="1816380" y="1466890"/>
                  <a:pt x="1816380" y="1467510"/>
                </a:cubicBezTo>
                <a:cubicBezTo>
                  <a:pt x="1816380" y="1467510"/>
                  <a:pt x="1816484" y="1467510"/>
                  <a:pt x="1819168" y="1473241"/>
                </a:cubicBezTo>
                <a:lnTo>
                  <a:pt x="1822472" y="1479282"/>
                </a:lnTo>
                <a:lnTo>
                  <a:pt x="1822369" y="1478353"/>
                </a:lnTo>
                <a:cubicBezTo>
                  <a:pt x="1822576" y="1476029"/>
                  <a:pt x="1822989" y="1474171"/>
                  <a:pt x="1822989" y="1473706"/>
                </a:cubicBezTo>
                <a:cubicBezTo>
                  <a:pt x="1823815" y="1473706"/>
                  <a:pt x="1823815" y="1473706"/>
                  <a:pt x="1823815" y="1473706"/>
                </a:cubicBezTo>
                <a:cubicBezTo>
                  <a:pt x="1822886" y="1476339"/>
                  <a:pt x="1824744" y="1479282"/>
                  <a:pt x="1824847" y="1482535"/>
                </a:cubicBezTo>
                <a:lnTo>
                  <a:pt x="1824641" y="1483154"/>
                </a:lnTo>
                <a:lnTo>
                  <a:pt x="1830423" y="1493687"/>
                </a:lnTo>
                <a:cubicBezTo>
                  <a:pt x="1833108" y="1498334"/>
                  <a:pt x="1836412" y="1502826"/>
                  <a:pt x="1839613" y="1506854"/>
                </a:cubicBezTo>
                <a:lnTo>
                  <a:pt x="1841059" y="1508712"/>
                </a:lnTo>
                <a:lnTo>
                  <a:pt x="1842298" y="1507008"/>
                </a:lnTo>
                <a:cubicBezTo>
                  <a:pt x="1843640" y="1507008"/>
                  <a:pt x="1844879" y="1506389"/>
                  <a:pt x="1846531" y="1506234"/>
                </a:cubicBezTo>
                <a:lnTo>
                  <a:pt x="1849939" y="1507318"/>
                </a:lnTo>
                <a:lnTo>
                  <a:pt x="1849216" y="1504530"/>
                </a:lnTo>
                <a:cubicBezTo>
                  <a:pt x="1848700" y="1503291"/>
                  <a:pt x="1847873" y="1502207"/>
                  <a:pt x="1846738" y="1501742"/>
                </a:cubicBezTo>
                <a:cubicBezTo>
                  <a:pt x="1847770" y="1502207"/>
                  <a:pt x="1848803" y="1502207"/>
                  <a:pt x="1849939" y="1501122"/>
                </a:cubicBezTo>
                <a:cubicBezTo>
                  <a:pt x="1849423" y="1499418"/>
                  <a:pt x="1848287" y="1498179"/>
                  <a:pt x="1847254" y="1496475"/>
                </a:cubicBezTo>
                <a:cubicBezTo>
                  <a:pt x="1846634" y="1497715"/>
                  <a:pt x="1846118" y="1498799"/>
                  <a:pt x="1847254" y="1499883"/>
                </a:cubicBezTo>
                <a:cubicBezTo>
                  <a:pt x="1842298" y="1490899"/>
                  <a:pt x="1836928" y="1481141"/>
                  <a:pt x="1831559" y="1471383"/>
                </a:cubicBezTo>
                <a:cubicBezTo>
                  <a:pt x="1830939" y="1469678"/>
                  <a:pt x="1829907" y="1468594"/>
                  <a:pt x="1829391" y="1467510"/>
                </a:cubicBezTo>
                <a:cubicBezTo>
                  <a:pt x="1829391" y="1467510"/>
                  <a:pt x="1829391" y="1467510"/>
                  <a:pt x="1826706" y="1461779"/>
                </a:cubicBezTo>
                <a:cubicBezTo>
                  <a:pt x="1826706" y="1461779"/>
                  <a:pt x="1826706" y="1461779"/>
                  <a:pt x="1826706" y="1461159"/>
                </a:cubicBezTo>
                <a:cubicBezTo>
                  <a:pt x="1826706" y="1461159"/>
                  <a:pt x="1826603" y="1461159"/>
                  <a:pt x="1826087" y="1461159"/>
                </a:cubicBezTo>
                <a:cubicBezTo>
                  <a:pt x="1826087" y="1461159"/>
                  <a:pt x="1826087" y="1461159"/>
                  <a:pt x="1825570" y="1460075"/>
                </a:cubicBezTo>
                <a:cubicBezTo>
                  <a:pt x="1825054" y="1458371"/>
                  <a:pt x="1824538" y="1457287"/>
                  <a:pt x="1824022" y="1455428"/>
                </a:cubicBezTo>
                <a:cubicBezTo>
                  <a:pt x="1823402" y="1454344"/>
                  <a:pt x="1823402" y="1452640"/>
                  <a:pt x="1822886" y="1451556"/>
                </a:cubicBezTo>
                <a:cubicBezTo>
                  <a:pt x="1822886" y="1450316"/>
                  <a:pt x="1822886" y="1449697"/>
                  <a:pt x="1822369" y="1449232"/>
                </a:cubicBezTo>
                <a:cubicBezTo>
                  <a:pt x="1822369" y="1448612"/>
                  <a:pt x="1822369" y="1448148"/>
                  <a:pt x="1822369" y="1448148"/>
                </a:cubicBezTo>
                <a:cubicBezTo>
                  <a:pt x="1822369" y="1447528"/>
                  <a:pt x="1822369" y="1447528"/>
                  <a:pt x="1822369" y="1446289"/>
                </a:cubicBezTo>
                <a:cubicBezTo>
                  <a:pt x="1821853" y="1445515"/>
                  <a:pt x="1821440" y="1445205"/>
                  <a:pt x="1821130" y="1445360"/>
                </a:cubicBezTo>
                <a:lnTo>
                  <a:pt x="1820924" y="1445825"/>
                </a:lnTo>
                <a:lnTo>
                  <a:pt x="1821130" y="1446134"/>
                </a:lnTo>
                <a:cubicBezTo>
                  <a:pt x="1821337" y="1446908"/>
                  <a:pt x="1821234" y="1447528"/>
                  <a:pt x="1820717" y="1448148"/>
                </a:cubicBezTo>
                <a:lnTo>
                  <a:pt x="1820717" y="1448612"/>
                </a:lnTo>
                <a:cubicBezTo>
                  <a:pt x="1820717" y="1448612"/>
                  <a:pt x="1820717" y="1449232"/>
                  <a:pt x="1821234" y="1449232"/>
                </a:cubicBezTo>
                <a:cubicBezTo>
                  <a:pt x="1820201" y="1449232"/>
                  <a:pt x="1820201" y="1449232"/>
                  <a:pt x="1819685" y="1448612"/>
                </a:cubicBezTo>
                <a:lnTo>
                  <a:pt x="1819478" y="1448458"/>
                </a:lnTo>
                <a:cubicBezTo>
                  <a:pt x="1819065" y="1448303"/>
                  <a:pt x="1818652" y="1448148"/>
                  <a:pt x="1818239" y="1448148"/>
                </a:cubicBezTo>
                <a:cubicBezTo>
                  <a:pt x="1817000" y="1447373"/>
                  <a:pt x="1815761" y="1443966"/>
                  <a:pt x="1815554" y="1441952"/>
                </a:cubicBezTo>
                <a:cubicBezTo>
                  <a:pt x="1815451" y="1441333"/>
                  <a:pt x="1815451" y="1440868"/>
                  <a:pt x="1815761" y="1440558"/>
                </a:cubicBezTo>
                <a:lnTo>
                  <a:pt x="1817413" y="1441952"/>
                </a:lnTo>
                <a:lnTo>
                  <a:pt x="1818033" y="1440093"/>
                </a:lnTo>
                <a:cubicBezTo>
                  <a:pt x="1813179" y="1435447"/>
                  <a:pt x="1811011" y="1430954"/>
                  <a:pt x="1809359" y="1426462"/>
                </a:cubicBezTo>
                <a:cubicBezTo>
                  <a:pt x="1808327" y="1424139"/>
                  <a:pt x="1807810" y="1421196"/>
                  <a:pt x="1806674" y="1419027"/>
                </a:cubicBezTo>
                <a:cubicBezTo>
                  <a:pt x="1806158" y="1418408"/>
                  <a:pt x="1806158" y="1417788"/>
                  <a:pt x="1805642" y="1417169"/>
                </a:cubicBezTo>
                <a:cubicBezTo>
                  <a:pt x="1805642" y="1416704"/>
                  <a:pt x="1805022" y="1416084"/>
                  <a:pt x="1804506" y="1415620"/>
                </a:cubicBezTo>
                <a:cubicBezTo>
                  <a:pt x="1803990" y="1414381"/>
                  <a:pt x="1803473" y="1413296"/>
                  <a:pt x="1802337" y="1412212"/>
                </a:cubicBezTo>
                <a:cubicBezTo>
                  <a:pt x="1805642" y="1409888"/>
                  <a:pt x="1803990" y="1405861"/>
                  <a:pt x="1802337" y="1402454"/>
                </a:cubicBezTo>
                <a:cubicBezTo>
                  <a:pt x="1800789" y="1399046"/>
                  <a:pt x="1799137" y="1395638"/>
                  <a:pt x="1801821" y="1395018"/>
                </a:cubicBezTo>
                <a:cubicBezTo>
                  <a:pt x="1800789" y="1388823"/>
                  <a:pt x="1797485" y="1397807"/>
                  <a:pt x="1796968" y="1394399"/>
                </a:cubicBezTo>
                <a:cubicBezTo>
                  <a:pt x="1796142" y="1392695"/>
                  <a:pt x="1794490" y="1388668"/>
                  <a:pt x="1792838" y="1384331"/>
                </a:cubicBezTo>
                <a:lnTo>
                  <a:pt x="1791186" y="1380148"/>
                </a:lnTo>
                <a:lnTo>
                  <a:pt x="1785507" y="1376121"/>
                </a:lnTo>
                <a:lnTo>
                  <a:pt x="1786023" y="1374417"/>
                </a:lnTo>
                <a:lnTo>
                  <a:pt x="1785300" y="1374727"/>
                </a:lnTo>
                <a:lnTo>
                  <a:pt x="1785507" y="1375811"/>
                </a:lnTo>
                <a:cubicBezTo>
                  <a:pt x="1785507" y="1375811"/>
                  <a:pt x="1785404" y="1375811"/>
                  <a:pt x="1785094" y="1376895"/>
                </a:cubicBezTo>
                <a:cubicBezTo>
                  <a:pt x="1783958" y="1374572"/>
                  <a:pt x="1782512" y="1371629"/>
                  <a:pt x="1782512" y="1369770"/>
                </a:cubicBezTo>
                <a:cubicBezTo>
                  <a:pt x="1783235" y="1370390"/>
                  <a:pt x="1784165" y="1371474"/>
                  <a:pt x="1784784" y="1372559"/>
                </a:cubicBezTo>
                <a:lnTo>
                  <a:pt x="1784887" y="1372714"/>
                </a:lnTo>
                <a:lnTo>
                  <a:pt x="1785817" y="1372714"/>
                </a:lnTo>
                <a:cubicBezTo>
                  <a:pt x="1786230" y="1372559"/>
                  <a:pt x="1786539" y="1372094"/>
                  <a:pt x="1786643" y="1371010"/>
                </a:cubicBezTo>
                <a:cubicBezTo>
                  <a:pt x="1785610" y="1371010"/>
                  <a:pt x="1785094" y="1369926"/>
                  <a:pt x="1784577" y="1368841"/>
                </a:cubicBezTo>
                <a:cubicBezTo>
                  <a:pt x="1784062" y="1367602"/>
                  <a:pt x="1783958" y="1366518"/>
                  <a:pt x="1783958" y="1365433"/>
                </a:cubicBezTo>
                <a:cubicBezTo>
                  <a:pt x="1783958" y="1362490"/>
                  <a:pt x="1783441" y="1360322"/>
                  <a:pt x="1779621" y="1359702"/>
                </a:cubicBezTo>
                <a:cubicBezTo>
                  <a:pt x="1779621" y="1356759"/>
                  <a:pt x="1780757" y="1356294"/>
                  <a:pt x="1782409" y="1357379"/>
                </a:cubicBezTo>
                <a:close/>
                <a:moveTo>
                  <a:pt x="5024541" y="1353546"/>
                </a:moveTo>
                <a:cubicBezTo>
                  <a:pt x="5026462" y="1355111"/>
                  <a:pt x="5027316" y="1357814"/>
                  <a:pt x="5027529" y="1361229"/>
                </a:cubicBezTo>
                <a:lnTo>
                  <a:pt x="5027956" y="1370476"/>
                </a:lnTo>
                <a:lnTo>
                  <a:pt x="5031157" y="1372468"/>
                </a:lnTo>
                <a:cubicBezTo>
                  <a:pt x="5029663" y="1373606"/>
                  <a:pt x="5030730" y="1374886"/>
                  <a:pt x="5031584" y="1376167"/>
                </a:cubicBezTo>
                <a:cubicBezTo>
                  <a:pt x="5028809" y="1386553"/>
                  <a:pt x="5008534" y="1388971"/>
                  <a:pt x="5007894" y="1380008"/>
                </a:cubicBezTo>
                <a:cubicBezTo>
                  <a:pt x="5007894" y="1378728"/>
                  <a:pt x="5008108" y="1377020"/>
                  <a:pt x="5008962" y="1375313"/>
                </a:cubicBezTo>
                <a:cubicBezTo>
                  <a:pt x="5011096" y="1373606"/>
                  <a:pt x="5013017" y="1372326"/>
                  <a:pt x="5014937" y="1371188"/>
                </a:cubicBezTo>
                <a:lnTo>
                  <a:pt x="5020486" y="1368911"/>
                </a:lnTo>
                <a:lnTo>
                  <a:pt x="5020059" y="1360375"/>
                </a:lnTo>
                <a:cubicBezTo>
                  <a:pt x="5019846" y="1357245"/>
                  <a:pt x="5020700" y="1355111"/>
                  <a:pt x="5024541" y="1353546"/>
                </a:cubicBezTo>
                <a:close/>
                <a:moveTo>
                  <a:pt x="3585238" y="1353262"/>
                </a:moveTo>
                <a:cubicBezTo>
                  <a:pt x="3586305" y="1353262"/>
                  <a:pt x="3587586" y="1353973"/>
                  <a:pt x="3588440" y="1355396"/>
                </a:cubicBezTo>
                <a:lnTo>
                  <a:pt x="3586305" y="1358241"/>
                </a:lnTo>
                <a:lnTo>
                  <a:pt x="3587373" y="1358241"/>
                </a:lnTo>
                <a:cubicBezTo>
                  <a:pt x="3591001" y="1361940"/>
                  <a:pt x="3588866" y="1364359"/>
                  <a:pt x="3586732" y="1369053"/>
                </a:cubicBezTo>
                <a:cubicBezTo>
                  <a:pt x="3585452" y="1367773"/>
                  <a:pt x="3582037" y="1371330"/>
                  <a:pt x="3580970" y="1372468"/>
                </a:cubicBezTo>
                <a:cubicBezTo>
                  <a:pt x="3578622" y="1369907"/>
                  <a:pt x="3574141" y="1373322"/>
                  <a:pt x="3570512" y="1369481"/>
                </a:cubicBezTo>
                <a:cubicBezTo>
                  <a:pt x="3570299" y="1367062"/>
                  <a:pt x="3570299" y="1365924"/>
                  <a:pt x="3571366" y="1363647"/>
                </a:cubicBezTo>
                <a:cubicBezTo>
                  <a:pt x="3573714" y="1361513"/>
                  <a:pt x="3575634" y="1360233"/>
                  <a:pt x="3577341" y="1359522"/>
                </a:cubicBezTo>
                <a:lnTo>
                  <a:pt x="3582037" y="1358383"/>
                </a:lnTo>
                <a:lnTo>
                  <a:pt x="3581824" y="1356107"/>
                </a:lnTo>
                <a:cubicBezTo>
                  <a:pt x="3582464" y="1354400"/>
                  <a:pt x="3583745" y="1353262"/>
                  <a:pt x="3585238" y="1353262"/>
                </a:cubicBezTo>
                <a:close/>
                <a:moveTo>
                  <a:pt x="1258797" y="1352887"/>
                </a:moveTo>
                <a:lnTo>
                  <a:pt x="1260575" y="1354747"/>
                </a:lnTo>
                <a:lnTo>
                  <a:pt x="1260552" y="1354746"/>
                </a:lnTo>
                <a:cubicBezTo>
                  <a:pt x="1259623" y="1353816"/>
                  <a:pt x="1258797" y="1352887"/>
                  <a:pt x="1258797" y="1352887"/>
                </a:cubicBezTo>
                <a:close/>
                <a:moveTo>
                  <a:pt x="3532737" y="1352693"/>
                </a:moveTo>
                <a:cubicBezTo>
                  <a:pt x="3534445" y="1353119"/>
                  <a:pt x="3535938" y="1355396"/>
                  <a:pt x="3536578" y="1356392"/>
                </a:cubicBezTo>
                <a:cubicBezTo>
                  <a:pt x="3535725" y="1356960"/>
                  <a:pt x="3536365" y="1358099"/>
                  <a:pt x="3535298" y="1358668"/>
                </a:cubicBezTo>
                <a:cubicBezTo>
                  <a:pt x="3534231" y="1361087"/>
                  <a:pt x="3534231" y="1361087"/>
                  <a:pt x="3532523" y="1360660"/>
                </a:cubicBezTo>
                <a:cubicBezTo>
                  <a:pt x="3530816" y="1360233"/>
                  <a:pt x="3529749" y="1356392"/>
                  <a:pt x="3528042" y="1355965"/>
                </a:cubicBezTo>
                <a:cubicBezTo>
                  <a:pt x="3528042" y="1355965"/>
                  <a:pt x="3528042" y="1355823"/>
                  <a:pt x="3529322" y="1353546"/>
                </a:cubicBezTo>
                <a:cubicBezTo>
                  <a:pt x="3530176" y="1352977"/>
                  <a:pt x="3531243" y="1352266"/>
                  <a:pt x="3532737" y="1352693"/>
                </a:cubicBezTo>
                <a:close/>
                <a:moveTo>
                  <a:pt x="4872159" y="1351981"/>
                </a:moveTo>
                <a:cubicBezTo>
                  <a:pt x="4875361" y="1351128"/>
                  <a:pt x="4877495" y="1353973"/>
                  <a:pt x="4878135" y="1357245"/>
                </a:cubicBezTo>
                <a:cubicBezTo>
                  <a:pt x="4878775" y="1358241"/>
                  <a:pt x="4878562" y="1359664"/>
                  <a:pt x="4877922" y="1360944"/>
                </a:cubicBezTo>
                <a:cubicBezTo>
                  <a:pt x="4877282" y="1362225"/>
                  <a:pt x="4876215" y="1363363"/>
                  <a:pt x="4875147" y="1364074"/>
                </a:cubicBezTo>
                <a:cubicBezTo>
                  <a:pt x="4873440" y="1364501"/>
                  <a:pt x="4873440" y="1364501"/>
                  <a:pt x="4871946" y="1364928"/>
                </a:cubicBezTo>
                <a:cubicBezTo>
                  <a:pt x="4870025" y="1363789"/>
                  <a:pt x="4867464" y="1363505"/>
                  <a:pt x="4866184" y="1361229"/>
                </a:cubicBezTo>
                <a:cubicBezTo>
                  <a:pt x="4865757" y="1357957"/>
                  <a:pt x="4870025" y="1353546"/>
                  <a:pt x="4872159" y="1351981"/>
                </a:cubicBezTo>
                <a:close/>
                <a:moveTo>
                  <a:pt x="4420350" y="1351981"/>
                </a:moveTo>
                <a:cubicBezTo>
                  <a:pt x="4421417" y="1351839"/>
                  <a:pt x="4422697" y="1351981"/>
                  <a:pt x="4424191" y="1351981"/>
                </a:cubicBezTo>
                <a:cubicBezTo>
                  <a:pt x="4425045" y="1357103"/>
                  <a:pt x="4419283" y="1358668"/>
                  <a:pt x="4417148" y="1356250"/>
                </a:cubicBezTo>
                <a:cubicBezTo>
                  <a:pt x="4416508" y="1355396"/>
                  <a:pt x="4416508" y="1354115"/>
                  <a:pt x="4416935" y="1352550"/>
                </a:cubicBezTo>
                <a:cubicBezTo>
                  <a:pt x="4418216" y="1352123"/>
                  <a:pt x="4419283" y="1351981"/>
                  <a:pt x="4420350" y="1351981"/>
                </a:cubicBezTo>
                <a:close/>
                <a:moveTo>
                  <a:pt x="4281840" y="1351555"/>
                </a:moveTo>
                <a:cubicBezTo>
                  <a:pt x="4282480" y="1351270"/>
                  <a:pt x="4283121" y="1351270"/>
                  <a:pt x="4283974" y="1351555"/>
                </a:cubicBezTo>
                <a:cubicBezTo>
                  <a:pt x="4285041" y="1351128"/>
                  <a:pt x="4285468" y="1352123"/>
                  <a:pt x="4286749" y="1352835"/>
                </a:cubicBezTo>
                <a:cubicBezTo>
                  <a:pt x="4287176" y="1353973"/>
                  <a:pt x="4286322" y="1355538"/>
                  <a:pt x="4286322" y="1355538"/>
                </a:cubicBezTo>
                <a:cubicBezTo>
                  <a:pt x="4285682" y="1357103"/>
                  <a:pt x="4285468" y="1357103"/>
                  <a:pt x="4286962" y="1357672"/>
                </a:cubicBezTo>
                <a:cubicBezTo>
                  <a:pt x="4286962" y="1357672"/>
                  <a:pt x="4285895" y="1358241"/>
                  <a:pt x="4285895" y="1358241"/>
                </a:cubicBezTo>
                <a:cubicBezTo>
                  <a:pt x="4285682" y="1357103"/>
                  <a:pt x="4285895" y="1358241"/>
                  <a:pt x="4285041" y="1359806"/>
                </a:cubicBezTo>
                <a:cubicBezTo>
                  <a:pt x="4282480" y="1359522"/>
                  <a:pt x="4281627" y="1360091"/>
                  <a:pt x="4280133" y="1359379"/>
                </a:cubicBezTo>
                <a:cubicBezTo>
                  <a:pt x="4279279" y="1359095"/>
                  <a:pt x="4278425" y="1358383"/>
                  <a:pt x="4277999" y="1357672"/>
                </a:cubicBezTo>
                <a:cubicBezTo>
                  <a:pt x="4277358" y="1356960"/>
                  <a:pt x="4277145" y="1356250"/>
                  <a:pt x="4277572" y="1355396"/>
                </a:cubicBezTo>
                <a:cubicBezTo>
                  <a:pt x="4278639" y="1354969"/>
                  <a:pt x="4278425" y="1353831"/>
                  <a:pt x="4279493" y="1353404"/>
                </a:cubicBezTo>
                <a:cubicBezTo>
                  <a:pt x="4280346" y="1352408"/>
                  <a:pt x="4281200" y="1351839"/>
                  <a:pt x="4281840" y="1351555"/>
                </a:cubicBezTo>
                <a:close/>
                <a:moveTo>
                  <a:pt x="1706309" y="1350563"/>
                </a:moveTo>
                <a:cubicBezTo>
                  <a:pt x="1707239" y="1350408"/>
                  <a:pt x="1708374" y="1351028"/>
                  <a:pt x="1709200" y="1350718"/>
                </a:cubicBezTo>
                <a:cubicBezTo>
                  <a:pt x="1709510" y="1351647"/>
                  <a:pt x="1710130" y="1353351"/>
                  <a:pt x="1709613" y="1354281"/>
                </a:cubicBezTo>
                <a:cubicBezTo>
                  <a:pt x="1709923" y="1355210"/>
                  <a:pt x="1707032" y="1354901"/>
                  <a:pt x="1707032" y="1354901"/>
                </a:cubicBezTo>
                <a:cubicBezTo>
                  <a:pt x="1705897" y="1354436"/>
                  <a:pt x="1706619" y="1351492"/>
                  <a:pt x="1706309" y="1350563"/>
                </a:cubicBezTo>
                <a:close/>
                <a:moveTo>
                  <a:pt x="1369281" y="1350254"/>
                </a:moveTo>
                <a:cubicBezTo>
                  <a:pt x="1384460" y="1349479"/>
                  <a:pt x="1404491" y="1353506"/>
                  <a:pt x="1411409" y="1368531"/>
                </a:cubicBezTo>
                <a:cubicBezTo>
                  <a:pt x="1417089" y="1380768"/>
                  <a:pt x="1409344" y="1389597"/>
                  <a:pt x="1407589" y="1402608"/>
                </a:cubicBezTo>
                <a:cubicBezTo>
                  <a:pt x="1396541" y="1404622"/>
                  <a:pt x="1395302" y="1410973"/>
                  <a:pt x="1391171" y="1415620"/>
                </a:cubicBezTo>
                <a:cubicBezTo>
                  <a:pt x="1383737" y="1413606"/>
                  <a:pt x="1373618" y="1417014"/>
                  <a:pt x="1364634" y="1417169"/>
                </a:cubicBezTo>
                <a:lnTo>
                  <a:pt x="1361950" y="1414536"/>
                </a:lnTo>
                <a:lnTo>
                  <a:pt x="1359162" y="1416239"/>
                </a:lnTo>
                <a:cubicBezTo>
                  <a:pt x="1358645" y="1415620"/>
                  <a:pt x="1358542" y="1414381"/>
                  <a:pt x="1358645" y="1413141"/>
                </a:cubicBezTo>
                <a:lnTo>
                  <a:pt x="1358852" y="1411747"/>
                </a:lnTo>
                <a:lnTo>
                  <a:pt x="1353999" y="1407255"/>
                </a:lnTo>
                <a:lnTo>
                  <a:pt x="1348423" y="1401989"/>
                </a:lnTo>
                <a:lnTo>
                  <a:pt x="1345738" y="1401679"/>
                </a:lnTo>
                <a:lnTo>
                  <a:pt x="1345532" y="1399355"/>
                </a:lnTo>
                <a:lnTo>
                  <a:pt x="1343260" y="1397342"/>
                </a:lnTo>
                <a:cubicBezTo>
                  <a:pt x="1347494" y="1386499"/>
                  <a:pt x="1339750" y="1371164"/>
                  <a:pt x="1349972" y="1361716"/>
                </a:cubicBezTo>
                <a:cubicBezTo>
                  <a:pt x="1361021" y="1359702"/>
                  <a:pt x="1362982" y="1353816"/>
                  <a:pt x="1369281" y="1350254"/>
                </a:cubicBezTo>
                <a:close/>
                <a:moveTo>
                  <a:pt x="3599324" y="1349847"/>
                </a:moveTo>
                <a:cubicBezTo>
                  <a:pt x="3600391" y="1349421"/>
                  <a:pt x="3601671" y="1349563"/>
                  <a:pt x="3602739" y="1349989"/>
                </a:cubicBezTo>
                <a:cubicBezTo>
                  <a:pt x="3604873" y="1350986"/>
                  <a:pt x="3606794" y="1353546"/>
                  <a:pt x="3607434" y="1357387"/>
                </a:cubicBezTo>
                <a:cubicBezTo>
                  <a:pt x="3604873" y="1358383"/>
                  <a:pt x="3602525" y="1358241"/>
                  <a:pt x="3600818" y="1357387"/>
                </a:cubicBezTo>
                <a:lnTo>
                  <a:pt x="3599537" y="1356250"/>
                </a:lnTo>
                <a:lnTo>
                  <a:pt x="3598684" y="1355253"/>
                </a:lnTo>
                <a:lnTo>
                  <a:pt x="3596549" y="1352835"/>
                </a:lnTo>
                <a:cubicBezTo>
                  <a:pt x="3597190" y="1351270"/>
                  <a:pt x="3598257" y="1350416"/>
                  <a:pt x="3599324" y="1349847"/>
                </a:cubicBezTo>
                <a:close/>
                <a:moveTo>
                  <a:pt x="4253028" y="1349705"/>
                </a:moveTo>
                <a:lnTo>
                  <a:pt x="4257511" y="1350701"/>
                </a:lnTo>
                <a:cubicBezTo>
                  <a:pt x="4259218" y="1351128"/>
                  <a:pt x="4260925" y="1351839"/>
                  <a:pt x="4261992" y="1352693"/>
                </a:cubicBezTo>
                <a:cubicBezTo>
                  <a:pt x="4262632" y="1353262"/>
                  <a:pt x="4263059" y="1353831"/>
                  <a:pt x="4262846" y="1354684"/>
                </a:cubicBezTo>
                <a:cubicBezTo>
                  <a:pt x="4261352" y="1354258"/>
                  <a:pt x="4259218" y="1354258"/>
                  <a:pt x="4257297" y="1353688"/>
                </a:cubicBezTo>
                <a:close/>
                <a:moveTo>
                  <a:pt x="4955820" y="1349421"/>
                </a:moveTo>
                <a:cubicBezTo>
                  <a:pt x="4955820" y="1353973"/>
                  <a:pt x="4954967" y="1355965"/>
                  <a:pt x="4953686" y="1356676"/>
                </a:cubicBezTo>
                <a:cubicBezTo>
                  <a:pt x="4950271" y="1358525"/>
                  <a:pt x="4944722" y="1347286"/>
                  <a:pt x="4955820" y="1349421"/>
                </a:cubicBezTo>
                <a:close/>
                <a:moveTo>
                  <a:pt x="4917404" y="1348709"/>
                </a:moveTo>
                <a:cubicBezTo>
                  <a:pt x="4927649" y="1365070"/>
                  <a:pt x="4919111" y="1389256"/>
                  <a:pt x="4916124" y="1410596"/>
                </a:cubicBezTo>
                <a:cubicBezTo>
                  <a:pt x="4912283" y="1409316"/>
                  <a:pt x="4909081" y="1411450"/>
                  <a:pt x="4903745" y="1408178"/>
                </a:cubicBezTo>
                <a:lnTo>
                  <a:pt x="4907160" y="1392528"/>
                </a:lnTo>
                <a:lnTo>
                  <a:pt x="4906733" y="1390394"/>
                </a:lnTo>
                <a:cubicBezTo>
                  <a:pt x="4906733" y="1388971"/>
                  <a:pt x="4906947" y="1387833"/>
                  <a:pt x="4907374" y="1387264"/>
                </a:cubicBezTo>
                <a:lnTo>
                  <a:pt x="4908654" y="1386837"/>
                </a:lnTo>
                <a:lnTo>
                  <a:pt x="4910788" y="1377163"/>
                </a:lnTo>
                <a:cubicBezTo>
                  <a:pt x="4912496" y="1367062"/>
                  <a:pt x="4914203" y="1357530"/>
                  <a:pt x="4917404" y="1348709"/>
                </a:cubicBezTo>
                <a:close/>
                <a:moveTo>
                  <a:pt x="981244" y="1348550"/>
                </a:moveTo>
                <a:cubicBezTo>
                  <a:pt x="984755" y="1350098"/>
                  <a:pt x="983929" y="1349324"/>
                  <a:pt x="986407" y="1352422"/>
                </a:cubicBezTo>
                <a:cubicBezTo>
                  <a:pt x="984549" y="1354126"/>
                  <a:pt x="982690" y="1355985"/>
                  <a:pt x="980934" y="1357689"/>
                </a:cubicBezTo>
                <a:cubicBezTo>
                  <a:pt x="980108" y="1356139"/>
                  <a:pt x="978353" y="1355365"/>
                  <a:pt x="977527" y="1354591"/>
                </a:cubicBezTo>
                <a:cubicBezTo>
                  <a:pt x="977630" y="1352112"/>
                  <a:pt x="978559" y="1350408"/>
                  <a:pt x="981244" y="1348550"/>
                </a:cubicBezTo>
                <a:close/>
                <a:moveTo>
                  <a:pt x="1353379" y="1348394"/>
                </a:moveTo>
                <a:cubicBezTo>
                  <a:pt x="1354309" y="1350563"/>
                  <a:pt x="1355445" y="1351183"/>
                  <a:pt x="1354619" y="1351338"/>
                </a:cubicBezTo>
                <a:cubicBezTo>
                  <a:pt x="1354928" y="1352112"/>
                  <a:pt x="1354102" y="1352422"/>
                  <a:pt x="1353793" y="1351647"/>
                </a:cubicBezTo>
                <a:cubicBezTo>
                  <a:pt x="1352760" y="1351492"/>
                  <a:pt x="1352554" y="1350873"/>
                  <a:pt x="1352657" y="1350254"/>
                </a:cubicBezTo>
                <a:cubicBezTo>
                  <a:pt x="1352760" y="1349634"/>
                  <a:pt x="1353173" y="1348859"/>
                  <a:pt x="1353379" y="1348394"/>
                </a:cubicBezTo>
                <a:close/>
                <a:moveTo>
                  <a:pt x="1716532" y="1347620"/>
                </a:moveTo>
                <a:cubicBezTo>
                  <a:pt x="1722830" y="1343903"/>
                  <a:pt x="1728096" y="1350254"/>
                  <a:pt x="1725928" y="1353971"/>
                </a:cubicBezTo>
                <a:cubicBezTo>
                  <a:pt x="1725205" y="1355210"/>
                  <a:pt x="1723656" y="1356139"/>
                  <a:pt x="1720972" y="1356449"/>
                </a:cubicBezTo>
                <a:cubicBezTo>
                  <a:pt x="1717048" y="1354281"/>
                  <a:pt x="1718184" y="1350254"/>
                  <a:pt x="1716532" y="1347620"/>
                </a:cubicBezTo>
                <a:close/>
                <a:moveTo>
                  <a:pt x="3997352" y="1347571"/>
                </a:moveTo>
                <a:cubicBezTo>
                  <a:pt x="3997352" y="1347571"/>
                  <a:pt x="3997992" y="1348140"/>
                  <a:pt x="3998419" y="1348994"/>
                </a:cubicBezTo>
                <a:cubicBezTo>
                  <a:pt x="3998846" y="1349847"/>
                  <a:pt x="3999486" y="1350986"/>
                  <a:pt x="3999059" y="1351839"/>
                </a:cubicBezTo>
                <a:cubicBezTo>
                  <a:pt x="3998846" y="1354400"/>
                  <a:pt x="3994364" y="1352835"/>
                  <a:pt x="3993297" y="1353404"/>
                </a:cubicBezTo>
                <a:cubicBezTo>
                  <a:pt x="3991803" y="1352835"/>
                  <a:pt x="3990309" y="1352266"/>
                  <a:pt x="3990949" y="1350701"/>
                </a:cubicBezTo>
                <a:cubicBezTo>
                  <a:pt x="3991589" y="1349136"/>
                  <a:pt x="3991162" y="1347998"/>
                  <a:pt x="3993724" y="1347998"/>
                </a:cubicBezTo>
                <a:cubicBezTo>
                  <a:pt x="3994791" y="1347571"/>
                  <a:pt x="3996285" y="1347998"/>
                  <a:pt x="3997352" y="1347571"/>
                </a:cubicBezTo>
                <a:close/>
                <a:moveTo>
                  <a:pt x="5130824" y="1347286"/>
                </a:moveTo>
                <a:cubicBezTo>
                  <a:pt x="5131038" y="1348994"/>
                  <a:pt x="5132745" y="1348424"/>
                  <a:pt x="5134239" y="1347998"/>
                </a:cubicBezTo>
                <a:cubicBezTo>
                  <a:pt x="5134666" y="1350416"/>
                  <a:pt x="5135946" y="1354258"/>
                  <a:pt x="5133598" y="1356676"/>
                </a:cubicBezTo>
                <a:cubicBezTo>
                  <a:pt x="5132958" y="1357530"/>
                  <a:pt x="5131891" y="1358099"/>
                  <a:pt x="5130184" y="1358525"/>
                </a:cubicBezTo>
                <a:cubicBezTo>
                  <a:pt x="5129543" y="1359522"/>
                  <a:pt x="5125062" y="1358241"/>
                  <a:pt x="5124848" y="1356534"/>
                </a:cubicBezTo>
                <a:cubicBezTo>
                  <a:pt x="5123355" y="1352693"/>
                  <a:pt x="5127196" y="1350843"/>
                  <a:pt x="5130824" y="1347286"/>
                </a:cubicBezTo>
                <a:close/>
                <a:moveTo>
                  <a:pt x="3606794" y="1347286"/>
                </a:moveTo>
                <a:cubicBezTo>
                  <a:pt x="3609568" y="1348994"/>
                  <a:pt x="3611062" y="1348567"/>
                  <a:pt x="3610422" y="1349563"/>
                </a:cubicBezTo>
                <a:cubicBezTo>
                  <a:pt x="3611275" y="1350132"/>
                  <a:pt x="3610635" y="1351128"/>
                  <a:pt x="3609782" y="1350558"/>
                </a:cubicBezTo>
                <a:cubicBezTo>
                  <a:pt x="3607434" y="1352123"/>
                  <a:pt x="3607007" y="1348994"/>
                  <a:pt x="3606794" y="1347286"/>
                </a:cubicBezTo>
                <a:close/>
                <a:moveTo>
                  <a:pt x="5466320" y="1346860"/>
                </a:moveTo>
                <a:cubicBezTo>
                  <a:pt x="5469735" y="1347002"/>
                  <a:pt x="5472082" y="1348282"/>
                  <a:pt x="5474644" y="1351981"/>
                </a:cubicBezTo>
                <a:cubicBezTo>
                  <a:pt x="5472509" y="1356818"/>
                  <a:pt x="5473576" y="1355680"/>
                  <a:pt x="5469308" y="1359095"/>
                </a:cubicBezTo>
                <a:cubicBezTo>
                  <a:pt x="5466961" y="1356534"/>
                  <a:pt x="5464399" y="1353973"/>
                  <a:pt x="5462051" y="1351555"/>
                </a:cubicBezTo>
                <a:cubicBezTo>
                  <a:pt x="5464186" y="1350416"/>
                  <a:pt x="5465253" y="1347998"/>
                  <a:pt x="5466320" y="1346860"/>
                </a:cubicBezTo>
                <a:close/>
                <a:moveTo>
                  <a:pt x="1136955" y="1345452"/>
                </a:moveTo>
                <a:cubicBezTo>
                  <a:pt x="1136851" y="1347311"/>
                  <a:pt x="1135819" y="1350408"/>
                  <a:pt x="1133547" y="1350718"/>
                </a:cubicBezTo>
                <a:cubicBezTo>
                  <a:pt x="1133547" y="1350718"/>
                  <a:pt x="1133650" y="1350718"/>
                  <a:pt x="1132411" y="1351028"/>
                </a:cubicBezTo>
                <a:cubicBezTo>
                  <a:pt x="1133754" y="1349014"/>
                  <a:pt x="1135405" y="1346381"/>
                  <a:pt x="1136955" y="1345452"/>
                </a:cubicBezTo>
                <a:close/>
                <a:moveTo>
                  <a:pt x="5899135" y="1345152"/>
                </a:moveTo>
                <a:cubicBezTo>
                  <a:pt x="5899989" y="1347713"/>
                  <a:pt x="5899989" y="1347713"/>
                  <a:pt x="5898495" y="1350132"/>
                </a:cubicBezTo>
                <a:cubicBezTo>
                  <a:pt x="5897428" y="1350132"/>
                  <a:pt x="5897215" y="1351270"/>
                  <a:pt x="5896147" y="1350132"/>
                </a:cubicBezTo>
                <a:cubicBezTo>
                  <a:pt x="5893587" y="1353688"/>
                  <a:pt x="5882702" y="1357103"/>
                  <a:pt x="5878220" y="1355823"/>
                </a:cubicBezTo>
                <a:cubicBezTo>
                  <a:pt x="5887397" y="1345010"/>
                  <a:pt x="5893800" y="1351270"/>
                  <a:pt x="5899135" y="1345152"/>
                </a:cubicBezTo>
                <a:close/>
                <a:moveTo>
                  <a:pt x="5308389" y="1344868"/>
                </a:moveTo>
                <a:cubicBezTo>
                  <a:pt x="5310310" y="1346433"/>
                  <a:pt x="5313085" y="1346291"/>
                  <a:pt x="5314579" y="1346860"/>
                </a:cubicBezTo>
                <a:cubicBezTo>
                  <a:pt x="5315645" y="1350132"/>
                  <a:pt x="5315432" y="1352693"/>
                  <a:pt x="5312871" y="1356534"/>
                </a:cubicBezTo>
                <a:cubicBezTo>
                  <a:pt x="5307749" y="1356534"/>
                  <a:pt x="5309243" y="1357103"/>
                  <a:pt x="5304334" y="1354400"/>
                </a:cubicBezTo>
                <a:cubicBezTo>
                  <a:pt x="5305615" y="1351270"/>
                  <a:pt x="5307109" y="1347998"/>
                  <a:pt x="5308389" y="1344868"/>
                </a:cubicBezTo>
                <a:close/>
                <a:moveTo>
                  <a:pt x="1412442" y="1344522"/>
                </a:moveTo>
                <a:cubicBezTo>
                  <a:pt x="1417192" y="1342664"/>
                  <a:pt x="1423387" y="1347465"/>
                  <a:pt x="1421322" y="1352887"/>
                </a:cubicBezTo>
                <a:cubicBezTo>
                  <a:pt x="1419361" y="1352732"/>
                  <a:pt x="1417708" y="1353351"/>
                  <a:pt x="1415746" y="1353196"/>
                </a:cubicBezTo>
                <a:cubicBezTo>
                  <a:pt x="1414610" y="1350873"/>
                  <a:pt x="1411926" y="1349789"/>
                  <a:pt x="1411719" y="1347311"/>
                </a:cubicBezTo>
                <a:cubicBezTo>
                  <a:pt x="1411616" y="1346536"/>
                  <a:pt x="1411823" y="1345607"/>
                  <a:pt x="1412442" y="1344522"/>
                </a:cubicBezTo>
                <a:close/>
                <a:moveTo>
                  <a:pt x="4095739" y="1344441"/>
                </a:moveTo>
                <a:cubicBezTo>
                  <a:pt x="4096805" y="1345152"/>
                  <a:pt x="4097232" y="1344014"/>
                  <a:pt x="4098299" y="1344726"/>
                </a:cubicBezTo>
                <a:cubicBezTo>
                  <a:pt x="4101074" y="1344868"/>
                  <a:pt x="4101074" y="1344726"/>
                  <a:pt x="4101714" y="1346433"/>
                </a:cubicBezTo>
                <a:cubicBezTo>
                  <a:pt x="4102141" y="1348140"/>
                  <a:pt x="4099580" y="1350843"/>
                  <a:pt x="4100220" y="1352550"/>
                </a:cubicBezTo>
                <a:cubicBezTo>
                  <a:pt x="4100220" y="1352550"/>
                  <a:pt x="4100220" y="1352408"/>
                  <a:pt x="4097659" y="1352266"/>
                </a:cubicBezTo>
                <a:cubicBezTo>
                  <a:pt x="4096592" y="1351697"/>
                  <a:pt x="4095311" y="1351128"/>
                  <a:pt x="4094884" y="1349421"/>
                </a:cubicBezTo>
                <a:cubicBezTo>
                  <a:pt x="4094244" y="1347713"/>
                  <a:pt x="4095098" y="1345579"/>
                  <a:pt x="4095739" y="1344441"/>
                </a:cubicBezTo>
                <a:close/>
                <a:moveTo>
                  <a:pt x="5829987" y="1344014"/>
                </a:moveTo>
                <a:cubicBezTo>
                  <a:pt x="5831054" y="1344726"/>
                  <a:pt x="5831694" y="1345294"/>
                  <a:pt x="5831694" y="1345864"/>
                </a:cubicBezTo>
                <a:cubicBezTo>
                  <a:pt x="5831694" y="1346575"/>
                  <a:pt x="5831481" y="1347144"/>
                  <a:pt x="5830841" y="1347713"/>
                </a:cubicBezTo>
                <a:cubicBezTo>
                  <a:pt x="5830841" y="1347713"/>
                  <a:pt x="5829561" y="1348851"/>
                  <a:pt x="5828280" y="1350132"/>
                </a:cubicBezTo>
                <a:cubicBezTo>
                  <a:pt x="5826999" y="1351270"/>
                  <a:pt x="5826786" y="1352408"/>
                  <a:pt x="5826786" y="1352408"/>
                </a:cubicBezTo>
                <a:cubicBezTo>
                  <a:pt x="5825506" y="1353546"/>
                  <a:pt x="5824225" y="1353546"/>
                  <a:pt x="5823158" y="1352408"/>
                </a:cubicBezTo>
                <a:cubicBezTo>
                  <a:pt x="5823158" y="1352408"/>
                  <a:pt x="5824652" y="1349989"/>
                  <a:pt x="5824652" y="1349989"/>
                </a:cubicBezTo>
                <a:cubicBezTo>
                  <a:pt x="5827213" y="1347571"/>
                  <a:pt x="5828494" y="1346433"/>
                  <a:pt x="5829987" y="1344014"/>
                </a:cubicBezTo>
                <a:close/>
                <a:moveTo>
                  <a:pt x="4615202" y="1343730"/>
                </a:moveTo>
                <a:cubicBezTo>
                  <a:pt x="4622885" y="1347429"/>
                  <a:pt x="4625660" y="1362652"/>
                  <a:pt x="4622458" y="1368627"/>
                </a:cubicBezTo>
                <a:cubicBezTo>
                  <a:pt x="4617549" y="1370476"/>
                  <a:pt x="4613708" y="1369907"/>
                  <a:pt x="4610933" y="1368200"/>
                </a:cubicBezTo>
                <a:cubicBezTo>
                  <a:pt x="4608799" y="1366919"/>
                  <a:pt x="4607305" y="1364928"/>
                  <a:pt x="4606452" y="1362509"/>
                </a:cubicBezTo>
                <a:lnTo>
                  <a:pt x="4606238" y="1360091"/>
                </a:lnTo>
                <a:lnTo>
                  <a:pt x="4606238" y="1360233"/>
                </a:lnTo>
                <a:cubicBezTo>
                  <a:pt x="4601970" y="1361229"/>
                  <a:pt x="4596634" y="1358810"/>
                  <a:pt x="4594500" y="1352408"/>
                </a:cubicBezTo>
                <a:cubicBezTo>
                  <a:pt x="4596421" y="1347998"/>
                  <a:pt x="4599409" y="1346006"/>
                  <a:pt x="4601116" y="1344157"/>
                </a:cubicBezTo>
                <a:lnTo>
                  <a:pt x="4608586" y="1347856"/>
                </a:lnTo>
                <a:close/>
                <a:moveTo>
                  <a:pt x="4941734" y="1343587"/>
                </a:moveTo>
                <a:cubicBezTo>
                  <a:pt x="4942801" y="1343445"/>
                  <a:pt x="4944082" y="1343587"/>
                  <a:pt x="4945149" y="1344157"/>
                </a:cubicBezTo>
                <a:cubicBezTo>
                  <a:pt x="4946429" y="1345294"/>
                  <a:pt x="4946856" y="1347571"/>
                  <a:pt x="4946216" y="1351270"/>
                </a:cubicBezTo>
                <a:cubicBezTo>
                  <a:pt x="4944082" y="1352550"/>
                  <a:pt x="4940240" y="1349136"/>
                  <a:pt x="4937679" y="1348140"/>
                </a:cubicBezTo>
                <a:cubicBezTo>
                  <a:pt x="4938746" y="1346860"/>
                  <a:pt x="4939600" y="1345721"/>
                  <a:pt x="4938533" y="1345721"/>
                </a:cubicBezTo>
                <a:cubicBezTo>
                  <a:pt x="4939600" y="1344441"/>
                  <a:pt x="4940453" y="1343872"/>
                  <a:pt x="4941734" y="1343587"/>
                </a:cubicBezTo>
                <a:close/>
                <a:moveTo>
                  <a:pt x="4774413" y="1343445"/>
                </a:moveTo>
                <a:cubicBezTo>
                  <a:pt x="4776974" y="1343303"/>
                  <a:pt x="4779962" y="1344299"/>
                  <a:pt x="4782950" y="1346860"/>
                </a:cubicBezTo>
                <a:cubicBezTo>
                  <a:pt x="4784231" y="1352693"/>
                  <a:pt x="4777614" y="1355965"/>
                  <a:pt x="4774200" y="1358241"/>
                </a:cubicBezTo>
                <a:lnTo>
                  <a:pt x="4772706" y="1356534"/>
                </a:lnTo>
                <a:lnTo>
                  <a:pt x="4771852" y="1358952"/>
                </a:lnTo>
                <a:cubicBezTo>
                  <a:pt x="4771212" y="1359806"/>
                  <a:pt x="4770358" y="1360802"/>
                  <a:pt x="4769718" y="1361940"/>
                </a:cubicBezTo>
                <a:cubicBezTo>
                  <a:pt x="4767370" y="1360660"/>
                  <a:pt x="4763955" y="1361798"/>
                  <a:pt x="4761394" y="1359237"/>
                </a:cubicBezTo>
                <a:cubicBezTo>
                  <a:pt x="4761394" y="1359237"/>
                  <a:pt x="4760327" y="1357957"/>
                  <a:pt x="4760114" y="1355538"/>
                </a:cubicBezTo>
                <a:cubicBezTo>
                  <a:pt x="4757766" y="1351839"/>
                  <a:pt x="4760967" y="1348424"/>
                  <a:pt x="4760967" y="1348424"/>
                </a:cubicBezTo>
                <a:cubicBezTo>
                  <a:pt x="4760967" y="1348424"/>
                  <a:pt x="4760967" y="1348424"/>
                  <a:pt x="4759901" y="1348424"/>
                </a:cubicBezTo>
                <a:cubicBezTo>
                  <a:pt x="4762248" y="1348567"/>
                  <a:pt x="4764382" y="1347429"/>
                  <a:pt x="4766730" y="1347571"/>
                </a:cubicBezTo>
                <a:lnTo>
                  <a:pt x="4767370" y="1348282"/>
                </a:lnTo>
                <a:lnTo>
                  <a:pt x="4766943" y="1347286"/>
                </a:lnTo>
                <a:cubicBezTo>
                  <a:pt x="4769078" y="1345010"/>
                  <a:pt x="4771638" y="1343587"/>
                  <a:pt x="4774413" y="1343445"/>
                </a:cubicBezTo>
                <a:close/>
                <a:moveTo>
                  <a:pt x="962658" y="1342973"/>
                </a:moveTo>
                <a:cubicBezTo>
                  <a:pt x="963691" y="1342973"/>
                  <a:pt x="964723" y="1342973"/>
                  <a:pt x="965136" y="1343438"/>
                </a:cubicBezTo>
                <a:cubicBezTo>
                  <a:pt x="967718" y="1345452"/>
                  <a:pt x="965962" y="1347775"/>
                  <a:pt x="965033" y="1350873"/>
                </a:cubicBezTo>
                <a:cubicBezTo>
                  <a:pt x="964207" y="1349944"/>
                  <a:pt x="963277" y="1350718"/>
                  <a:pt x="962452" y="1351492"/>
                </a:cubicBezTo>
                <a:cubicBezTo>
                  <a:pt x="961109" y="1350098"/>
                  <a:pt x="958941" y="1348240"/>
                  <a:pt x="959354" y="1346071"/>
                </a:cubicBezTo>
                <a:cubicBezTo>
                  <a:pt x="959457" y="1345297"/>
                  <a:pt x="959973" y="1344677"/>
                  <a:pt x="960799" y="1343903"/>
                </a:cubicBezTo>
                <a:cubicBezTo>
                  <a:pt x="960799" y="1343438"/>
                  <a:pt x="961729" y="1343128"/>
                  <a:pt x="962658" y="1342973"/>
                </a:cubicBezTo>
                <a:close/>
                <a:moveTo>
                  <a:pt x="1765578" y="1341425"/>
                </a:moveTo>
                <a:lnTo>
                  <a:pt x="1765785" y="1342199"/>
                </a:lnTo>
                <a:lnTo>
                  <a:pt x="1766198" y="1341425"/>
                </a:lnTo>
                <a:close/>
                <a:moveTo>
                  <a:pt x="1704761" y="1341425"/>
                </a:moveTo>
                <a:cubicBezTo>
                  <a:pt x="1705690" y="1341579"/>
                  <a:pt x="1706412" y="1341889"/>
                  <a:pt x="1706826" y="1342354"/>
                </a:cubicBezTo>
                <a:cubicBezTo>
                  <a:pt x="1707342" y="1342973"/>
                  <a:pt x="1707445" y="1343903"/>
                  <a:pt x="1707032" y="1345297"/>
                </a:cubicBezTo>
                <a:cubicBezTo>
                  <a:pt x="1707032" y="1345297"/>
                  <a:pt x="1706309" y="1345452"/>
                  <a:pt x="1706309" y="1345452"/>
                </a:cubicBezTo>
                <a:cubicBezTo>
                  <a:pt x="1704761" y="1344987"/>
                  <a:pt x="1704141" y="1344522"/>
                  <a:pt x="1704038" y="1343748"/>
                </a:cubicBezTo>
                <a:cubicBezTo>
                  <a:pt x="1703934" y="1343128"/>
                  <a:pt x="1704244" y="1342354"/>
                  <a:pt x="1704761" y="1341425"/>
                </a:cubicBezTo>
                <a:close/>
                <a:moveTo>
                  <a:pt x="1690511" y="1341425"/>
                </a:moveTo>
                <a:cubicBezTo>
                  <a:pt x="1687517" y="1349944"/>
                  <a:pt x="1676055" y="1355520"/>
                  <a:pt x="1670066" y="1354126"/>
                </a:cubicBezTo>
                <a:cubicBezTo>
                  <a:pt x="1673061" y="1345607"/>
                  <a:pt x="1684419" y="1341734"/>
                  <a:pt x="1690511" y="1341425"/>
                </a:cubicBezTo>
                <a:close/>
                <a:moveTo>
                  <a:pt x="4668557" y="1341169"/>
                </a:moveTo>
                <a:cubicBezTo>
                  <a:pt x="4670478" y="1341169"/>
                  <a:pt x="4671758" y="1342022"/>
                  <a:pt x="4672185" y="1343161"/>
                </a:cubicBezTo>
                <a:cubicBezTo>
                  <a:pt x="4672825" y="1344299"/>
                  <a:pt x="4672825" y="1345721"/>
                  <a:pt x="4672612" y="1347429"/>
                </a:cubicBezTo>
                <a:cubicBezTo>
                  <a:pt x="4672185" y="1350701"/>
                  <a:pt x="4669624" y="1350843"/>
                  <a:pt x="4669624" y="1350843"/>
                </a:cubicBezTo>
                <a:cubicBezTo>
                  <a:pt x="4665569" y="1350558"/>
                  <a:pt x="4662368" y="1348140"/>
                  <a:pt x="4662154" y="1343730"/>
                </a:cubicBezTo>
                <a:cubicBezTo>
                  <a:pt x="4663435" y="1341453"/>
                  <a:pt x="4665996" y="1341311"/>
                  <a:pt x="4668557" y="1341169"/>
                </a:cubicBezTo>
                <a:close/>
                <a:moveTo>
                  <a:pt x="1142737" y="1341114"/>
                </a:moveTo>
                <a:cubicBezTo>
                  <a:pt x="1145422" y="1340805"/>
                  <a:pt x="1148519" y="1341579"/>
                  <a:pt x="1151410" y="1342818"/>
                </a:cubicBezTo>
                <a:lnTo>
                  <a:pt x="1152856" y="1343748"/>
                </a:lnTo>
                <a:lnTo>
                  <a:pt x="1153579" y="1344058"/>
                </a:lnTo>
                <a:lnTo>
                  <a:pt x="1154405" y="1344987"/>
                </a:lnTo>
                <a:lnTo>
                  <a:pt x="1158225" y="1347465"/>
                </a:lnTo>
                <a:cubicBezTo>
                  <a:pt x="1158535" y="1351492"/>
                  <a:pt x="1157399" y="1353971"/>
                  <a:pt x="1155437" y="1355365"/>
                </a:cubicBezTo>
                <a:cubicBezTo>
                  <a:pt x="1149655" y="1359237"/>
                  <a:pt x="1137161" y="1352732"/>
                  <a:pt x="1137987" y="1343438"/>
                </a:cubicBezTo>
                <a:cubicBezTo>
                  <a:pt x="1139329" y="1342199"/>
                  <a:pt x="1140878" y="1341425"/>
                  <a:pt x="1142737" y="1341114"/>
                </a:cubicBezTo>
                <a:close/>
                <a:moveTo>
                  <a:pt x="4187935" y="1340457"/>
                </a:moveTo>
                <a:cubicBezTo>
                  <a:pt x="4195192" y="1340457"/>
                  <a:pt x="4201168" y="1343018"/>
                  <a:pt x="4206290" y="1341453"/>
                </a:cubicBezTo>
                <a:cubicBezTo>
                  <a:pt x="4206290" y="1341453"/>
                  <a:pt x="4206290" y="1341453"/>
                  <a:pt x="4208637" y="1344014"/>
                </a:cubicBezTo>
                <a:cubicBezTo>
                  <a:pt x="4209918" y="1344014"/>
                  <a:pt x="4209918" y="1344014"/>
                  <a:pt x="4209918" y="1344014"/>
                </a:cubicBezTo>
                <a:cubicBezTo>
                  <a:pt x="4210985" y="1344157"/>
                  <a:pt x="4210985" y="1346575"/>
                  <a:pt x="4210985" y="1346575"/>
                </a:cubicBezTo>
                <a:cubicBezTo>
                  <a:pt x="4210131" y="1348851"/>
                  <a:pt x="4206503" y="1347571"/>
                  <a:pt x="4204156" y="1347429"/>
                </a:cubicBezTo>
                <a:cubicBezTo>
                  <a:pt x="4203302" y="1349847"/>
                  <a:pt x="4199673" y="1344726"/>
                  <a:pt x="4198606" y="1347144"/>
                </a:cubicBezTo>
                <a:cubicBezTo>
                  <a:pt x="4193698" y="1342165"/>
                  <a:pt x="4188362" y="1347856"/>
                  <a:pt x="4180039" y="1341453"/>
                </a:cubicBezTo>
                <a:cubicBezTo>
                  <a:pt x="4182814" y="1340742"/>
                  <a:pt x="4185374" y="1340315"/>
                  <a:pt x="4187935" y="1340457"/>
                </a:cubicBezTo>
                <a:close/>
                <a:moveTo>
                  <a:pt x="1527470" y="1340030"/>
                </a:moveTo>
                <a:cubicBezTo>
                  <a:pt x="1527470" y="1340030"/>
                  <a:pt x="1527882" y="1340650"/>
                  <a:pt x="1527882" y="1340650"/>
                </a:cubicBezTo>
                <a:cubicBezTo>
                  <a:pt x="1527882" y="1340650"/>
                  <a:pt x="1527882" y="1340650"/>
                  <a:pt x="1530258" y="1341114"/>
                </a:cubicBezTo>
                <a:cubicBezTo>
                  <a:pt x="1533458" y="1340960"/>
                  <a:pt x="1534181" y="1340340"/>
                  <a:pt x="1536143" y="1340030"/>
                </a:cubicBezTo>
                <a:cubicBezTo>
                  <a:pt x="1538518" y="1340495"/>
                  <a:pt x="1539034" y="1341114"/>
                  <a:pt x="1541822" y="1342199"/>
                </a:cubicBezTo>
                <a:cubicBezTo>
                  <a:pt x="1541925" y="1343903"/>
                  <a:pt x="1541925" y="1343903"/>
                  <a:pt x="1541202" y="1344522"/>
                </a:cubicBezTo>
                <a:cubicBezTo>
                  <a:pt x="1541925" y="1343903"/>
                  <a:pt x="1542338" y="1344677"/>
                  <a:pt x="1543577" y="1344832"/>
                </a:cubicBezTo>
                <a:cubicBezTo>
                  <a:pt x="1548637" y="1344368"/>
                  <a:pt x="1549360" y="1348704"/>
                  <a:pt x="1548637" y="1353971"/>
                </a:cubicBezTo>
                <a:cubicBezTo>
                  <a:pt x="1547398" y="1353816"/>
                  <a:pt x="1547192" y="1356914"/>
                  <a:pt x="1546159" y="1358463"/>
                </a:cubicBezTo>
                <a:cubicBezTo>
                  <a:pt x="1545023" y="1359237"/>
                  <a:pt x="1544094" y="1360012"/>
                  <a:pt x="1543164" y="1360322"/>
                </a:cubicBezTo>
                <a:lnTo>
                  <a:pt x="1542958" y="1360322"/>
                </a:lnTo>
                <a:lnTo>
                  <a:pt x="1541099" y="1365743"/>
                </a:lnTo>
                <a:lnTo>
                  <a:pt x="1540686" y="1366208"/>
                </a:lnTo>
                <a:lnTo>
                  <a:pt x="1540583" y="1366518"/>
                </a:lnTo>
                <a:cubicBezTo>
                  <a:pt x="1540480" y="1371319"/>
                  <a:pt x="1540273" y="1375657"/>
                  <a:pt x="1535524" y="1377515"/>
                </a:cubicBezTo>
                <a:lnTo>
                  <a:pt x="1534181" y="1370390"/>
                </a:lnTo>
                <a:lnTo>
                  <a:pt x="1533665" y="1370390"/>
                </a:lnTo>
                <a:lnTo>
                  <a:pt x="1534491" y="1373333"/>
                </a:lnTo>
                <a:cubicBezTo>
                  <a:pt x="1534491" y="1374727"/>
                  <a:pt x="1534181" y="1376121"/>
                  <a:pt x="1533355" y="1376741"/>
                </a:cubicBezTo>
                <a:cubicBezTo>
                  <a:pt x="1532323" y="1375192"/>
                  <a:pt x="1532013" y="1374107"/>
                  <a:pt x="1531806" y="1373023"/>
                </a:cubicBezTo>
                <a:cubicBezTo>
                  <a:pt x="1531290" y="1372249"/>
                  <a:pt x="1531083" y="1371629"/>
                  <a:pt x="1531393" y="1371164"/>
                </a:cubicBezTo>
                <a:lnTo>
                  <a:pt x="1532632" y="1370390"/>
                </a:lnTo>
                <a:lnTo>
                  <a:pt x="1532323" y="1370390"/>
                </a:lnTo>
                <a:cubicBezTo>
                  <a:pt x="1530877" y="1369926"/>
                  <a:pt x="1529225" y="1369151"/>
                  <a:pt x="1527366" y="1367912"/>
                </a:cubicBezTo>
                <a:cubicBezTo>
                  <a:pt x="1529535" y="1366672"/>
                  <a:pt x="1531290" y="1364814"/>
                  <a:pt x="1532942" y="1362800"/>
                </a:cubicBezTo>
                <a:lnTo>
                  <a:pt x="1533458" y="1362181"/>
                </a:lnTo>
                <a:lnTo>
                  <a:pt x="1533665" y="1358463"/>
                </a:lnTo>
                <a:lnTo>
                  <a:pt x="1534181" y="1357224"/>
                </a:lnTo>
                <a:lnTo>
                  <a:pt x="1532942" y="1355520"/>
                </a:lnTo>
                <a:cubicBezTo>
                  <a:pt x="1532529" y="1354746"/>
                  <a:pt x="1532529" y="1353816"/>
                  <a:pt x="1532735" y="1352887"/>
                </a:cubicBezTo>
                <a:cubicBezTo>
                  <a:pt x="1533252" y="1348704"/>
                  <a:pt x="1535007" y="1346536"/>
                  <a:pt x="1537279" y="1345142"/>
                </a:cubicBezTo>
                <a:cubicBezTo>
                  <a:pt x="1537279" y="1345142"/>
                  <a:pt x="1537279" y="1345142"/>
                  <a:pt x="1536556" y="1345607"/>
                </a:cubicBezTo>
                <a:cubicBezTo>
                  <a:pt x="1532942" y="1345142"/>
                  <a:pt x="1527263" y="1344213"/>
                  <a:pt x="1524475" y="1342818"/>
                </a:cubicBezTo>
                <a:lnTo>
                  <a:pt x="1524268" y="1342509"/>
                </a:lnTo>
                <a:lnTo>
                  <a:pt x="1524062" y="1342664"/>
                </a:lnTo>
                <a:lnTo>
                  <a:pt x="1523959" y="1342354"/>
                </a:lnTo>
                <a:lnTo>
                  <a:pt x="1522823" y="1341114"/>
                </a:lnTo>
                <a:cubicBezTo>
                  <a:pt x="1523546" y="1340650"/>
                  <a:pt x="1524268" y="1340185"/>
                  <a:pt x="1525507" y="1340340"/>
                </a:cubicBezTo>
                <a:cubicBezTo>
                  <a:pt x="1526747" y="1340495"/>
                  <a:pt x="1525921" y="1340960"/>
                  <a:pt x="1526643" y="1340495"/>
                </a:cubicBezTo>
                <a:cubicBezTo>
                  <a:pt x="1527882" y="1340650"/>
                  <a:pt x="1527470" y="1340030"/>
                  <a:pt x="1527470" y="1340030"/>
                </a:cubicBezTo>
                <a:close/>
                <a:moveTo>
                  <a:pt x="1581886" y="1338326"/>
                </a:moveTo>
                <a:cubicBezTo>
                  <a:pt x="1580646" y="1341734"/>
                  <a:pt x="1579510" y="1345452"/>
                  <a:pt x="1577755" y="1348704"/>
                </a:cubicBezTo>
                <a:cubicBezTo>
                  <a:pt x="1575897" y="1352112"/>
                  <a:pt x="1573315" y="1355210"/>
                  <a:pt x="1569082" y="1357533"/>
                </a:cubicBezTo>
                <a:cubicBezTo>
                  <a:pt x="1568566" y="1356294"/>
                  <a:pt x="1568359" y="1355210"/>
                  <a:pt x="1568256" y="1354126"/>
                </a:cubicBezTo>
                <a:cubicBezTo>
                  <a:pt x="1568152" y="1352887"/>
                  <a:pt x="1568256" y="1351958"/>
                  <a:pt x="1568566" y="1350873"/>
                </a:cubicBezTo>
                <a:cubicBezTo>
                  <a:pt x="1570114" y="1344677"/>
                  <a:pt x="1577342" y="1340030"/>
                  <a:pt x="1581886" y="1338326"/>
                </a:cubicBezTo>
                <a:close/>
                <a:moveTo>
                  <a:pt x="5573670" y="1337897"/>
                </a:moveTo>
                <a:cubicBezTo>
                  <a:pt x="5574951" y="1337897"/>
                  <a:pt x="5576445" y="1338323"/>
                  <a:pt x="5577511" y="1338892"/>
                </a:cubicBezTo>
                <a:cubicBezTo>
                  <a:pt x="5578579" y="1340030"/>
                  <a:pt x="5579006" y="1341311"/>
                  <a:pt x="5579006" y="1342307"/>
                </a:cubicBezTo>
                <a:cubicBezTo>
                  <a:pt x="5579006" y="1343445"/>
                  <a:pt x="5578792" y="1344299"/>
                  <a:pt x="5578152" y="1344868"/>
                </a:cubicBezTo>
                <a:cubicBezTo>
                  <a:pt x="5568975" y="1355396"/>
                  <a:pt x="5559371" y="1350558"/>
                  <a:pt x="5556810" y="1351697"/>
                </a:cubicBezTo>
                <a:cubicBezTo>
                  <a:pt x="5553822" y="1347998"/>
                  <a:pt x="5553822" y="1347998"/>
                  <a:pt x="5560225" y="1340884"/>
                </a:cubicBezTo>
                <a:cubicBezTo>
                  <a:pt x="5561505" y="1339746"/>
                  <a:pt x="5562999" y="1338892"/>
                  <a:pt x="5564707" y="1338466"/>
                </a:cubicBezTo>
                <a:cubicBezTo>
                  <a:pt x="5566200" y="1338039"/>
                  <a:pt x="5567908" y="1338039"/>
                  <a:pt x="5569615" y="1338750"/>
                </a:cubicBezTo>
                <a:cubicBezTo>
                  <a:pt x="5570896" y="1338181"/>
                  <a:pt x="5572176" y="1337897"/>
                  <a:pt x="5573670" y="1337897"/>
                </a:cubicBezTo>
                <a:close/>
                <a:moveTo>
                  <a:pt x="1069322" y="1337861"/>
                </a:moveTo>
                <a:cubicBezTo>
                  <a:pt x="1071800" y="1338171"/>
                  <a:pt x="1076343" y="1341269"/>
                  <a:pt x="1076240" y="1345607"/>
                </a:cubicBezTo>
                <a:cubicBezTo>
                  <a:pt x="1071903" y="1349324"/>
                  <a:pt x="1068702" y="1348085"/>
                  <a:pt x="1066224" y="1343438"/>
                </a:cubicBezTo>
                <a:cubicBezTo>
                  <a:pt x="1067463" y="1341889"/>
                  <a:pt x="1067876" y="1340185"/>
                  <a:pt x="1069322" y="1337861"/>
                </a:cubicBezTo>
                <a:close/>
                <a:moveTo>
                  <a:pt x="1657779" y="1337552"/>
                </a:moveTo>
                <a:cubicBezTo>
                  <a:pt x="1658295" y="1337861"/>
                  <a:pt x="1658502" y="1338171"/>
                  <a:pt x="1658502" y="1338791"/>
                </a:cubicBezTo>
                <a:cubicBezTo>
                  <a:pt x="1658399" y="1339256"/>
                  <a:pt x="1658192" y="1339721"/>
                  <a:pt x="1657882" y="1340185"/>
                </a:cubicBezTo>
                <a:cubicBezTo>
                  <a:pt x="1657366" y="1341269"/>
                  <a:pt x="1656849" y="1342354"/>
                  <a:pt x="1656333" y="1343438"/>
                </a:cubicBezTo>
                <a:cubicBezTo>
                  <a:pt x="1656333" y="1343438"/>
                  <a:pt x="1656230" y="1343283"/>
                  <a:pt x="1657779" y="1337552"/>
                </a:cubicBezTo>
                <a:close/>
                <a:moveTo>
                  <a:pt x="1527160" y="1337242"/>
                </a:moveTo>
                <a:cubicBezTo>
                  <a:pt x="1527160" y="1337242"/>
                  <a:pt x="1527882" y="1337552"/>
                  <a:pt x="1527882" y="1337552"/>
                </a:cubicBezTo>
                <a:cubicBezTo>
                  <a:pt x="1527470" y="1338326"/>
                  <a:pt x="1526953" y="1339256"/>
                  <a:pt x="1526334" y="1338946"/>
                </a:cubicBezTo>
                <a:cubicBezTo>
                  <a:pt x="1525921" y="1338791"/>
                  <a:pt x="1525817" y="1338481"/>
                  <a:pt x="1526024" y="1338171"/>
                </a:cubicBezTo>
                <a:cubicBezTo>
                  <a:pt x="1526230" y="1337861"/>
                  <a:pt x="1526643" y="1337552"/>
                  <a:pt x="1527160" y="1337242"/>
                </a:cubicBezTo>
                <a:close/>
                <a:moveTo>
                  <a:pt x="4634410" y="1336901"/>
                </a:moveTo>
                <a:cubicBezTo>
                  <a:pt x="4637184" y="1337328"/>
                  <a:pt x="4640599" y="1339177"/>
                  <a:pt x="4644014" y="1342734"/>
                </a:cubicBezTo>
                <a:cubicBezTo>
                  <a:pt x="4645508" y="1348709"/>
                  <a:pt x="4638891" y="1356676"/>
                  <a:pt x="4634196" y="1355396"/>
                </a:cubicBezTo>
                <a:cubicBezTo>
                  <a:pt x="4620751" y="1345864"/>
                  <a:pt x="4625446" y="1335336"/>
                  <a:pt x="4634410" y="1336901"/>
                </a:cubicBezTo>
                <a:close/>
                <a:moveTo>
                  <a:pt x="1287193" y="1336003"/>
                </a:moveTo>
                <a:cubicBezTo>
                  <a:pt x="1287812" y="1336003"/>
                  <a:pt x="1288122" y="1336158"/>
                  <a:pt x="1288432" y="1336623"/>
                </a:cubicBezTo>
                <a:cubicBezTo>
                  <a:pt x="1288638" y="1337087"/>
                  <a:pt x="1288844" y="1337707"/>
                  <a:pt x="1289051" y="1338326"/>
                </a:cubicBezTo>
                <a:lnTo>
                  <a:pt x="1289258" y="1339101"/>
                </a:lnTo>
                <a:lnTo>
                  <a:pt x="1291013" y="1338326"/>
                </a:lnTo>
                <a:cubicBezTo>
                  <a:pt x="1294730" y="1340030"/>
                  <a:pt x="1296692" y="1342199"/>
                  <a:pt x="1297415" y="1344368"/>
                </a:cubicBezTo>
                <a:cubicBezTo>
                  <a:pt x="1299583" y="1351028"/>
                  <a:pt x="1290290" y="1357998"/>
                  <a:pt x="1282236" y="1353042"/>
                </a:cubicBezTo>
                <a:cubicBezTo>
                  <a:pt x="1281823" y="1351958"/>
                  <a:pt x="1281616" y="1350873"/>
                  <a:pt x="1281720" y="1349634"/>
                </a:cubicBezTo>
                <a:cubicBezTo>
                  <a:pt x="1281926" y="1346226"/>
                  <a:pt x="1284404" y="1342354"/>
                  <a:pt x="1287193" y="1340185"/>
                </a:cubicBezTo>
                <a:lnTo>
                  <a:pt x="1288741" y="1339411"/>
                </a:lnTo>
                <a:close/>
                <a:moveTo>
                  <a:pt x="1387144" y="1334609"/>
                </a:moveTo>
                <a:cubicBezTo>
                  <a:pt x="1387557" y="1335383"/>
                  <a:pt x="1388383" y="1334919"/>
                  <a:pt x="1388797" y="1335538"/>
                </a:cubicBezTo>
                <a:cubicBezTo>
                  <a:pt x="1390448" y="1336468"/>
                  <a:pt x="1390552" y="1336468"/>
                  <a:pt x="1390242" y="1337552"/>
                </a:cubicBezTo>
                <a:cubicBezTo>
                  <a:pt x="1389932" y="1338791"/>
                  <a:pt x="1387144" y="1339721"/>
                  <a:pt x="1386834" y="1340960"/>
                </a:cubicBezTo>
                <a:cubicBezTo>
                  <a:pt x="1386834" y="1340960"/>
                  <a:pt x="1386731" y="1340960"/>
                  <a:pt x="1385079" y="1340030"/>
                </a:cubicBezTo>
                <a:cubicBezTo>
                  <a:pt x="1384563" y="1339256"/>
                  <a:pt x="1384150" y="1338636"/>
                  <a:pt x="1384460" y="1337397"/>
                </a:cubicBezTo>
                <a:cubicBezTo>
                  <a:pt x="1384769" y="1336158"/>
                  <a:pt x="1386318" y="1335228"/>
                  <a:pt x="1387144" y="1334609"/>
                </a:cubicBezTo>
                <a:close/>
                <a:moveTo>
                  <a:pt x="5824011" y="1334340"/>
                </a:moveTo>
                <a:cubicBezTo>
                  <a:pt x="5825079" y="1335620"/>
                  <a:pt x="5825079" y="1334482"/>
                  <a:pt x="5826359" y="1334482"/>
                </a:cubicBezTo>
                <a:cubicBezTo>
                  <a:pt x="5825079" y="1335620"/>
                  <a:pt x="5824652" y="1339320"/>
                  <a:pt x="5823158" y="1341880"/>
                </a:cubicBezTo>
                <a:cubicBezTo>
                  <a:pt x="5822091" y="1341738"/>
                  <a:pt x="5820810" y="1343018"/>
                  <a:pt x="5819743" y="1343018"/>
                </a:cubicBezTo>
                <a:cubicBezTo>
                  <a:pt x="5819956" y="1341880"/>
                  <a:pt x="5819103" y="1339320"/>
                  <a:pt x="5820170" y="1339320"/>
                </a:cubicBezTo>
                <a:cubicBezTo>
                  <a:pt x="5820383" y="1338039"/>
                  <a:pt x="5822518" y="1338039"/>
                  <a:pt x="5822518" y="1338039"/>
                </a:cubicBezTo>
                <a:cubicBezTo>
                  <a:pt x="5822731" y="1336901"/>
                  <a:pt x="5822731" y="1335620"/>
                  <a:pt x="5824011" y="1334340"/>
                </a:cubicBezTo>
                <a:close/>
                <a:moveTo>
                  <a:pt x="1529431" y="1333680"/>
                </a:moveTo>
                <a:cubicBezTo>
                  <a:pt x="1530567" y="1333215"/>
                  <a:pt x="1530567" y="1333215"/>
                  <a:pt x="1532013" y="1333835"/>
                </a:cubicBezTo>
                <a:cubicBezTo>
                  <a:pt x="1529948" y="1335848"/>
                  <a:pt x="1529948" y="1335848"/>
                  <a:pt x="1527573" y="1336778"/>
                </a:cubicBezTo>
                <a:cubicBezTo>
                  <a:pt x="1527986" y="1336003"/>
                  <a:pt x="1528192" y="1333990"/>
                  <a:pt x="1529431" y="1333680"/>
                </a:cubicBezTo>
                <a:close/>
                <a:moveTo>
                  <a:pt x="5375830" y="1333202"/>
                </a:moveTo>
                <a:cubicBezTo>
                  <a:pt x="5376897" y="1336474"/>
                  <a:pt x="5376257" y="1344441"/>
                  <a:pt x="5371348" y="1348282"/>
                </a:cubicBezTo>
                <a:cubicBezTo>
                  <a:pt x="5364305" y="1346575"/>
                  <a:pt x="5363665" y="1341738"/>
                  <a:pt x="5367293" y="1334767"/>
                </a:cubicBezTo>
                <a:cubicBezTo>
                  <a:pt x="5369854" y="1334767"/>
                  <a:pt x="5371988" y="1333771"/>
                  <a:pt x="5375830" y="1333202"/>
                </a:cubicBezTo>
                <a:close/>
                <a:moveTo>
                  <a:pt x="5011522" y="1332348"/>
                </a:moveTo>
                <a:cubicBezTo>
                  <a:pt x="5013870" y="1332491"/>
                  <a:pt x="5015791" y="1332775"/>
                  <a:pt x="5016218" y="1332775"/>
                </a:cubicBezTo>
                <a:cubicBezTo>
                  <a:pt x="5016218" y="1332775"/>
                  <a:pt x="5017498" y="1332775"/>
                  <a:pt x="5018565" y="1332633"/>
                </a:cubicBezTo>
                <a:cubicBezTo>
                  <a:pt x="5019846" y="1333771"/>
                  <a:pt x="5020059" y="1334909"/>
                  <a:pt x="5021126" y="1334909"/>
                </a:cubicBezTo>
                <a:cubicBezTo>
                  <a:pt x="5018138" y="1338608"/>
                  <a:pt x="5014724" y="1337612"/>
                  <a:pt x="5011096" y="1336616"/>
                </a:cubicBezTo>
                <a:cubicBezTo>
                  <a:pt x="5008534" y="1335620"/>
                  <a:pt x="5007467" y="1335763"/>
                  <a:pt x="5005334" y="1337043"/>
                </a:cubicBezTo>
                <a:cubicBezTo>
                  <a:pt x="5005334" y="1337043"/>
                  <a:pt x="5005334" y="1337043"/>
                  <a:pt x="5002772" y="1334767"/>
                </a:cubicBezTo>
                <a:lnTo>
                  <a:pt x="5002559" y="1333486"/>
                </a:lnTo>
                <a:cubicBezTo>
                  <a:pt x="5002772" y="1332917"/>
                  <a:pt x="5003626" y="1332633"/>
                  <a:pt x="5004906" y="1332491"/>
                </a:cubicBezTo>
                <a:cubicBezTo>
                  <a:pt x="5006614" y="1332206"/>
                  <a:pt x="5009388" y="1332206"/>
                  <a:pt x="5011522" y="1332348"/>
                </a:cubicBezTo>
                <a:close/>
                <a:moveTo>
                  <a:pt x="4115373" y="1331779"/>
                </a:moveTo>
                <a:cubicBezTo>
                  <a:pt x="4118147" y="1331921"/>
                  <a:pt x="4120922" y="1332917"/>
                  <a:pt x="4122843" y="1333486"/>
                </a:cubicBezTo>
                <a:cubicBezTo>
                  <a:pt x="4122202" y="1338466"/>
                  <a:pt x="4121776" y="1343445"/>
                  <a:pt x="4119001" y="1345864"/>
                </a:cubicBezTo>
                <a:lnTo>
                  <a:pt x="4115586" y="1344726"/>
                </a:lnTo>
                <a:lnTo>
                  <a:pt x="4111531" y="1345864"/>
                </a:lnTo>
                <a:cubicBezTo>
                  <a:pt x="4106836" y="1346433"/>
                  <a:pt x="4106622" y="1342876"/>
                  <a:pt x="4105129" y="1338750"/>
                </a:cubicBezTo>
                <a:cubicBezTo>
                  <a:pt x="4106410" y="1338039"/>
                  <a:pt x="4107263" y="1336758"/>
                  <a:pt x="4108117" y="1335478"/>
                </a:cubicBezTo>
                <a:lnTo>
                  <a:pt x="4108330" y="1335336"/>
                </a:lnTo>
                <a:lnTo>
                  <a:pt x="4108117" y="1334625"/>
                </a:lnTo>
                <a:cubicBezTo>
                  <a:pt x="4110037" y="1332206"/>
                  <a:pt x="4112812" y="1331494"/>
                  <a:pt x="4115373" y="1331779"/>
                </a:cubicBezTo>
                <a:close/>
                <a:moveTo>
                  <a:pt x="3652466" y="1331779"/>
                </a:moveTo>
                <a:cubicBezTo>
                  <a:pt x="3654173" y="1332206"/>
                  <a:pt x="3656521" y="1333628"/>
                  <a:pt x="3658014" y="1334055"/>
                </a:cubicBezTo>
                <a:cubicBezTo>
                  <a:pt x="3658014" y="1334055"/>
                  <a:pt x="3658014" y="1334055"/>
                  <a:pt x="3657801" y="1335763"/>
                </a:cubicBezTo>
                <a:cubicBezTo>
                  <a:pt x="3656307" y="1333628"/>
                  <a:pt x="3652038" y="1335051"/>
                  <a:pt x="3652466" y="1331779"/>
                </a:cubicBezTo>
                <a:close/>
                <a:moveTo>
                  <a:pt x="4253242" y="1331494"/>
                </a:moveTo>
                <a:lnTo>
                  <a:pt x="4253242" y="1340173"/>
                </a:lnTo>
                <a:lnTo>
                  <a:pt x="4254949" y="1337185"/>
                </a:lnTo>
                <a:cubicBezTo>
                  <a:pt x="4256443" y="1335763"/>
                  <a:pt x="4258364" y="1334767"/>
                  <a:pt x="4260071" y="1334909"/>
                </a:cubicBezTo>
                <a:cubicBezTo>
                  <a:pt x="4262846" y="1337470"/>
                  <a:pt x="4261352" y="1339604"/>
                  <a:pt x="4263486" y="1341027"/>
                </a:cubicBezTo>
                <a:cubicBezTo>
                  <a:pt x="4261352" y="1343161"/>
                  <a:pt x="4259431" y="1344299"/>
                  <a:pt x="4257724" y="1344441"/>
                </a:cubicBezTo>
                <a:lnTo>
                  <a:pt x="4253242" y="1342734"/>
                </a:lnTo>
                <a:lnTo>
                  <a:pt x="4253242" y="1343872"/>
                </a:lnTo>
                <a:lnTo>
                  <a:pt x="4253028" y="1349705"/>
                </a:lnTo>
                <a:lnTo>
                  <a:pt x="4252602" y="1354542"/>
                </a:lnTo>
                <a:cubicBezTo>
                  <a:pt x="4251535" y="1354969"/>
                  <a:pt x="4251321" y="1353831"/>
                  <a:pt x="4250040" y="1354258"/>
                </a:cubicBezTo>
                <a:cubicBezTo>
                  <a:pt x="4249400" y="1353973"/>
                  <a:pt x="4248760" y="1352835"/>
                  <a:pt x="4248333" y="1351555"/>
                </a:cubicBezTo>
                <a:cubicBezTo>
                  <a:pt x="4247266" y="1347429"/>
                  <a:pt x="4247480" y="1340173"/>
                  <a:pt x="4248333" y="1339888"/>
                </a:cubicBezTo>
                <a:cubicBezTo>
                  <a:pt x="4247907" y="1338750"/>
                  <a:pt x="4248973" y="1338181"/>
                  <a:pt x="4248760" y="1337043"/>
                </a:cubicBezTo>
                <a:cubicBezTo>
                  <a:pt x="4248760" y="1337043"/>
                  <a:pt x="4248333" y="1336047"/>
                  <a:pt x="4249187" y="1334482"/>
                </a:cubicBezTo>
                <a:cubicBezTo>
                  <a:pt x="4249827" y="1332917"/>
                  <a:pt x="4250681" y="1331352"/>
                  <a:pt x="4253242" y="1331494"/>
                </a:cubicBezTo>
                <a:close/>
                <a:moveTo>
                  <a:pt x="3896404" y="1330641"/>
                </a:moveTo>
                <a:cubicBezTo>
                  <a:pt x="3895337" y="1334767"/>
                  <a:pt x="3900673" y="1335905"/>
                  <a:pt x="3897045" y="1339462"/>
                </a:cubicBezTo>
                <a:cubicBezTo>
                  <a:pt x="3894697" y="1340030"/>
                  <a:pt x="3892136" y="1339462"/>
                  <a:pt x="3888721" y="1336616"/>
                </a:cubicBezTo>
                <a:cubicBezTo>
                  <a:pt x="3888935" y="1330072"/>
                  <a:pt x="3892776" y="1330356"/>
                  <a:pt x="3896404" y="1330641"/>
                </a:cubicBezTo>
                <a:close/>
                <a:moveTo>
                  <a:pt x="1045263" y="1330272"/>
                </a:moveTo>
                <a:cubicBezTo>
                  <a:pt x="1053833" y="1326245"/>
                  <a:pt x="1067257" y="1333370"/>
                  <a:pt x="1062197" y="1340650"/>
                </a:cubicBezTo>
                <a:cubicBezTo>
                  <a:pt x="1061474" y="1341734"/>
                  <a:pt x="1060338" y="1342818"/>
                  <a:pt x="1058790" y="1343903"/>
                </a:cubicBezTo>
                <a:cubicBezTo>
                  <a:pt x="1054040" y="1342044"/>
                  <a:pt x="1045263" y="1340495"/>
                  <a:pt x="1044850" y="1333680"/>
                </a:cubicBezTo>
                <a:cubicBezTo>
                  <a:pt x="1044747" y="1332595"/>
                  <a:pt x="1044953" y="1331511"/>
                  <a:pt x="1045263" y="1330272"/>
                </a:cubicBezTo>
                <a:close/>
                <a:moveTo>
                  <a:pt x="4236382" y="1330214"/>
                </a:moveTo>
                <a:cubicBezTo>
                  <a:pt x="4238943" y="1331494"/>
                  <a:pt x="4242571" y="1333628"/>
                  <a:pt x="4244919" y="1336616"/>
                </a:cubicBezTo>
                <a:cubicBezTo>
                  <a:pt x="4247053" y="1339462"/>
                  <a:pt x="4247693" y="1343445"/>
                  <a:pt x="4244705" y="1348424"/>
                </a:cubicBezTo>
                <a:cubicBezTo>
                  <a:pt x="4243212" y="1348282"/>
                  <a:pt x="4241504" y="1348282"/>
                  <a:pt x="4240010" y="1348282"/>
                </a:cubicBezTo>
                <a:cubicBezTo>
                  <a:pt x="4240010" y="1340600"/>
                  <a:pt x="4236382" y="1336190"/>
                  <a:pt x="4236382" y="1330214"/>
                </a:cubicBezTo>
                <a:close/>
                <a:moveTo>
                  <a:pt x="3726522" y="1329076"/>
                </a:moveTo>
                <a:cubicBezTo>
                  <a:pt x="3726949" y="1329076"/>
                  <a:pt x="3727589" y="1329218"/>
                  <a:pt x="3728230" y="1329787"/>
                </a:cubicBezTo>
                <a:cubicBezTo>
                  <a:pt x="3730577" y="1330926"/>
                  <a:pt x="3729723" y="1333344"/>
                  <a:pt x="3732498" y="1335620"/>
                </a:cubicBezTo>
                <a:cubicBezTo>
                  <a:pt x="3737620" y="1338892"/>
                  <a:pt x="3743169" y="1328934"/>
                  <a:pt x="3753413" y="1335620"/>
                </a:cubicBezTo>
                <a:cubicBezTo>
                  <a:pt x="3751492" y="1338181"/>
                  <a:pt x="3757041" y="1343872"/>
                  <a:pt x="3754053" y="1347571"/>
                </a:cubicBezTo>
                <a:cubicBezTo>
                  <a:pt x="3746370" y="1360091"/>
                  <a:pt x="3742529" y="1357957"/>
                  <a:pt x="3733992" y="1354827"/>
                </a:cubicBezTo>
                <a:cubicBezTo>
                  <a:pt x="3735059" y="1354684"/>
                  <a:pt x="3733778" y="1353688"/>
                  <a:pt x="3733778" y="1353688"/>
                </a:cubicBezTo>
                <a:cubicBezTo>
                  <a:pt x="3731218" y="1351412"/>
                  <a:pt x="3731004" y="1358525"/>
                  <a:pt x="3727163" y="1356392"/>
                </a:cubicBezTo>
                <a:lnTo>
                  <a:pt x="3726522" y="1355396"/>
                </a:lnTo>
                <a:lnTo>
                  <a:pt x="3725882" y="1355396"/>
                </a:lnTo>
                <a:lnTo>
                  <a:pt x="3722254" y="1359664"/>
                </a:lnTo>
                <a:lnTo>
                  <a:pt x="3722680" y="1359522"/>
                </a:lnTo>
                <a:cubicBezTo>
                  <a:pt x="3731858" y="1361087"/>
                  <a:pt x="3731218" y="1370334"/>
                  <a:pt x="3732285" y="1369765"/>
                </a:cubicBezTo>
                <a:lnTo>
                  <a:pt x="3733138" y="1369907"/>
                </a:lnTo>
                <a:lnTo>
                  <a:pt x="3732925" y="1368484"/>
                </a:lnTo>
                <a:cubicBezTo>
                  <a:pt x="3732498" y="1367631"/>
                  <a:pt x="3732285" y="1367062"/>
                  <a:pt x="3732285" y="1367062"/>
                </a:cubicBezTo>
                <a:cubicBezTo>
                  <a:pt x="3733138" y="1364643"/>
                  <a:pt x="3734205" y="1364643"/>
                  <a:pt x="3733138" y="1364643"/>
                </a:cubicBezTo>
                <a:cubicBezTo>
                  <a:pt x="3735059" y="1362225"/>
                  <a:pt x="3736766" y="1358525"/>
                  <a:pt x="3739327" y="1359522"/>
                </a:cubicBezTo>
                <a:cubicBezTo>
                  <a:pt x="3745090" y="1363647"/>
                  <a:pt x="3742315" y="1372326"/>
                  <a:pt x="3740394" y="1377874"/>
                </a:cubicBezTo>
                <a:lnTo>
                  <a:pt x="3739114" y="1381715"/>
                </a:lnTo>
                <a:lnTo>
                  <a:pt x="3741889" y="1384419"/>
                </a:lnTo>
                <a:cubicBezTo>
                  <a:pt x="3742102" y="1386695"/>
                  <a:pt x="3739541" y="1388686"/>
                  <a:pt x="3737193" y="1388260"/>
                </a:cubicBezTo>
                <a:lnTo>
                  <a:pt x="3734845" y="1386268"/>
                </a:lnTo>
                <a:lnTo>
                  <a:pt x="3734205" y="1388402"/>
                </a:lnTo>
                <a:cubicBezTo>
                  <a:pt x="3732925" y="1387264"/>
                  <a:pt x="3728870" y="1383992"/>
                  <a:pt x="3728870" y="1383992"/>
                </a:cubicBezTo>
                <a:cubicBezTo>
                  <a:pt x="3727803" y="1383992"/>
                  <a:pt x="3727803" y="1383992"/>
                  <a:pt x="3726522" y="1382854"/>
                </a:cubicBezTo>
                <a:cubicBezTo>
                  <a:pt x="3727589" y="1381573"/>
                  <a:pt x="3727376" y="1381715"/>
                  <a:pt x="3728656" y="1381573"/>
                </a:cubicBezTo>
                <a:cubicBezTo>
                  <a:pt x="3729937" y="1382711"/>
                  <a:pt x="3730150" y="1383849"/>
                  <a:pt x="3731431" y="1384988"/>
                </a:cubicBezTo>
                <a:cubicBezTo>
                  <a:pt x="3733351" y="1382569"/>
                  <a:pt x="3732071" y="1382569"/>
                  <a:pt x="3733351" y="1383707"/>
                </a:cubicBezTo>
                <a:cubicBezTo>
                  <a:pt x="3733351" y="1383707"/>
                  <a:pt x="3733565" y="1383707"/>
                  <a:pt x="3734845" y="1384845"/>
                </a:cubicBezTo>
                <a:lnTo>
                  <a:pt x="3735059" y="1385130"/>
                </a:lnTo>
                <a:lnTo>
                  <a:pt x="3735272" y="1384988"/>
                </a:lnTo>
                <a:lnTo>
                  <a:pt x="3734845" y="1384845"/>
                </a:lnTo>
                <a:lnTo>
                  <a:pt x="3733992" y="1373037"/>
                </a:lnTo>
                <a:lnTo>
                  <a:pt x="3732711" y="1372326"/>
                </a:lnTo>
                <a:cubicBezTo>
                  <a:pt x="3733351" y="1373464"/>
                  <a:pt x="3731644" y="1373037"/>
                  <a:pt x="3731644" y="1373037"/>
                </a:cubicBezTo>
                <a:cubicBezTo>
                  <a:pt x="3731644" y="1373037"/>
                  <a:pt x="3731644" y="1373037"/>
                  <a:pt x="3731218" y="1376309"/>
                </a:cubicBezTo>
                <a:cubicBezTo>
                  <a:pt x="3731218" y="1376309"/>
                  <a:pt x="3729297" y="1383565"/>
                  <a:pt x="3721827" y="1382427"/>
                </a:cubicBezTo>
                <a:cubicBezTo>
                  <a:pt x="3722040" y="1381147"/>
                  <a:pt x="3716705" y="1379439"/>
                  <a:pt x="3713717" y="1376452"/>
                </a:cubicBezTo>
                <a:lnTo>
                  <a:pt x="3713076" y="1375455"/>
                </a:lnTo>
                <a:lnTo>
                  <a:pt x="3711796" y="1374744"/>
                </a:lnTo>
                <a:cubicBezTo>
                  <a:pt x="3709876" y="1373748"/>
                  <a:pt x="3708381" y="1372610"/>
                  <a:pt x="3707314" y="1372183"/>
                </a:cubicBezTo>
                <a:cubicBezTo>
                  <a:pt x="3707314" y="1370903"/>
                  <a:pt x="3707314" y="1370903"/>
                  <a:pt x="3707314" y="1370903"/>
                </a:cubicBezTo>
                <a:cubicBezTo>
                  <a:pt x="3707528" y="1369765"/>
                  <a:pt x="3708595" y="1369338"/>
                  <a:pt x="3709662" y="1369623"/>
                </a:cubicBezTo>
                <a:lnTo>
                  <a:pt x="3711369" y="1370334"/>
                </a:lnTo>
                <a:lnTo>
                  <a:pt x="3710943" y="1365781"/>
                </a:lnTo>
                <a:cubicBezTo>
                  <a:pt x="3712436" y="1364928"/>
                  <a:pt x="3713290" y="1363220"/>
                  <a:pt x="3714784" y="1361798"/>
                </a:cubicBezTo>
                <a:lnTo>
                  <a:pt x="3716491" y="1360802"/>
                </a:lnTo>
                <a:lnTo>
                  <a:pt x="3713930" y="1360802"/>
                </a:lnTo>
                <a:cubicBezTo>
                  <a:pt x="3712436" y="1360091"/>
                  <a:pt x="3711156" y="1358810"/>
                  <a:pt x="3709662" y="1356960"/>
                </a:cubicBezTo>
                <a:cubicBezTo>
                  <a:pt x="3712009" y="1350843"/>
                  <a:pt x="3714144" y="1340884"/>
                  <a:pt x="3720547" y="1336901"/>
                </a:cubicBezTo>
                <a:lnTo>
                  <a:pt x="3722040" y="1336474"/>
                </a:lnTo>
                <a:lnTo>
                  <a:pt x="3723107" y="1335194"/>
                </a:lnTo>
                <a:lnTo>
                  <a:pt x="3723107" y="1334909"/>
                </a:lnTo>
                <a:cubicBezTo>
                  <a:pt x="3724175" y="1334909"/>
                  <a:pt x="3723961" y="1333628"/>
                  <a:pt x="3722894" y="1333771"/>
                </a:cubicBezTo>
                <a:cubicBezTo>
                  <a:pt x="3723747" y="1331921"/>
                  <a:pt x="3724601" y="1330356"/>
                  <a:pt x="3725242" y="1329503"/>
                </a:cubicBezTo>
                <a:cubicBezTo>
                  <a:pt x="3725668" y="1329076"/>
                  <a:pt x="3726095" y="1328934"/>
                  <a:pt x="3726522" y="1329076"/>
                </a:cubicBezTo>
                <a:close/>
                <a:moveTo>
                  <a:pt x="1110108" y="1329033"/>
                </a:moveTo>
                <a:cubicBezTo>
                  <a:pt x="1111140" y="1330582"/>
                  <a:pt x="1111450" y="1331821"/>
                  <a:pt x="1111760" y="1333060"/>
                </a:cubicBezTo>
                <a:cubicBezTo>
                  <a:pt x="1112793" y="1334764"/>
                  <a:pt x="1112379" y="1335383"/>
                  <a:pt x="1109901" y="1335848"/>
                </a:cubicBezTo>
                <a:cubicBezTo>
                  <a:pt x="1109385" y="1334919"/>
                  <a:pt x="1109075" y="1333525"/>
                  <a:pt x="1109075" y="1332131"/>
                </a:cubicBezTo>
                <a:cubicBezTo>
                  <a:pt x="1108972" y="1330736"/>
                  <a:pt x="1109282" y="1329497"/>
                  <a:pt x="1110108" y="1329033"/>
                </a:cubicBezTo>
                <a:close/>
                <a:moveTo>
                  <a:pt x="1125570" y="1328800"/>
                </a:moveTo>
                <a:cubicBezTo>
                  <a:pt x="1127661" y="1327445"/>
                  <a:pt x="1130243" y="1327096"/>
                  <a:pt x="1132308" y="1329033"/>
                </a:cubicBezTo>
                <a:cubicBezTo>
                  <a:pt x="1133031" y="1331511"/>
                  <a:pt x="1133754" y="1333990"/>
                  <a:pt x="1131069" y="1337552"/>
                </a:cubicBezTo>
                <a:cubicBezTo>
                  <a:pt x="1127558" y="1338481"/>
                  <a:pt x="1124977" y="1337707"/>
                  <a:pt x="1121776" y="1334609"/>
                </a:cubicBezTo>
                <a:cubicBezTo>
                  <a:pt x="1121879" y="1332518"/>
                  <a:pt x="1123480" y="1330156"/>
                  <a:pt x="1125570" y="1328800"/>
                </a:cubicBezTo>
                <a:close/>
                <a:moveTo>
                  <a:pt x="3566458" y="1328649"/>
                </a:moveTo>
                <a:cubicBezTo>
                  <a:pt x="3565817" y="1331494"/>
                  <a:pt x="3565603" y="1335051"/>
                  <a:pt x="3565390" y="1338466"/>
                </a:cubicBezTo>
                <a:lnTo>
                  <a:pt x="3563470" y="1344299"/>
                </a:lnTo>
                <a:lnTo>
                  <a:pt x="3564750" y="1342592"/>
                </a:lnTo>
                <a:cubicBezTo>
                  <a:pt x="3567311" y="1342449"/>
                  <a:pt x="3569445" y="1343018"/>
                  <a:pt x="3571153" y="1344157"/>
                </a:cubicBezTo>
                <a:lnTo>
                  <a:pt x="3572006" y="1345152"/>
                </a:lnTo>
                <a:lnTo>
                  <a:pt x="3572433" y="1345152"/>
                </a:lnTo>
                <a:cubicBezTo>
                  <a:pt x="3572860" y="1345152"/>
                  <a:pt x="3573074" y="1345152"/>
                  <a:pt x="3572860" y="1344583"/>
                </a:cubicBezTo>
                <a:cubicBezTo>
                  <a:pt x="3574354" y="1345010"/>
                  <a:pt x="3575634" y="1345721"/>
                  <a:pt x="3576274" y="1346575"/>
                </a:cubicBezTo>
                <a:cubicBezTo>
                  <a:pt x="3577128" y="1347571"/>
                  <a:pt x="3577555" y="1348709"/>
                  <a:pt x="3577769" y="1350132"/>
                </a:cubicBezTo>
                <a:lnTo>
                  <a:pt x="3574141" y="1352550"/>
                </a:lnTo>
                <a:lnTo>
                  <a:pt x="3573500" y="1358241"/>
                </a:lnTo>
                <a:cubicBezTo>
                  <a:pt x="3572220" y="1359806"/>
                  <a:pt x="3570299" y="1360944"/>
                  <a:pt x="3567524" y="1360802"/>
                </a:cubicBezTo>
                <a:cubicBezTo>
                  <a:pt x="3564750" y="1355823"/>
                  <a:pt x="3561122" y="1350843"/>
                  <a:pt x="3561975" y="1346575"/>
                </a:cubicBezTo>
                <a:lnTo>
                  <a:pt x="3562829" y="1345437"/>
                </a:lnTo>
                <a:lnTo>
                  <a:pt x="3563043" y="1343730"/>
                </a:lnTo>
                <a:cubicBezTo>
                  <a:pt x="3563470" y="1339035"/>
                  <a:pt x="3564750" y="1331068"/>
                  <a:pt x="3566458" y="1328649"/>
                </a:cubicBezTo>
                <a:close/>
                <a:moveTo>
                  <a:pt x="5842793" y="1328080"/>
                </a:moveTo>
                <a:cubicBezTo>
                  <a:pt x="5843646" y="1327938"/>
                  <a:pt x="5844500" y="1328222"/>
                  <a:pt x="5845353" y="1328791"/>
                </a:cubicBezTo>
                <a:cubicBezTo>
                  <a:pt x="5847488" y="1330072"/>
                  <a:pt x="5846207" y="1332491"/>
                  <a:pt x="5843646" y="1334909"/>
                </a:cubicBezTo>
                <a:cubicBezTo>
                  <a:pt x="5839591" y="1340884"/>
                  <a:pt x="5835963" y="1342022"/>
                  <a:pt x="5832975" y="1338323"/>
                </a:cubicBezTo>
                <a:cubicBezTo>
                  <a:pt x="5832975" y="1337185"/>
                  <a:pt x="5834682" y="1333486"/>
                  <a:pt x="5833402" y="1333486"/>
                </a:cubicBezTo>
                <a:cubicBezTo>
                  <a:pt x="5836390" y="1330783"/>
                  <a:pt x="5839805" y="1328222"/>
                  <a:pt x="5842793" y="1328080"/>
                </a:cubicBezTo>
                <a:close/>
                <a:moveTo>
                  <a:pt x="3677009" y="1328080"/>
                </a:moveTo>
                <a:cubicBezTo>
                  <a:pt x="3680637" y="1328507"/>
                  <a:pt x="3684478" y="1329930"/>
                  <a:pt x="3688107" y="1332633"/>
                </a:cubicBezTo>
                <a:cubicBezTo>
                  <a:pt x="3690667" y="1334625"/>
                  <a:pt x="3692375" y="1337043"/>
                  <a:pt x="3693869" y="1339746"/>
                </a:cubicBezTo>
                <a:lnTo>
                  <a:pt x="3696217" y="1346291"/>
                </a:lnTo>
                <a:lnTo>
                  <a:pt x="3697924" y="1347429"/>
                </a:lnTo>
                <a:lnTo>
                  <a:pt x="3696857" y="1348424"/>
                </a:lnTo>
                <a:lnTo>
                  <a:pt x="3698778" y="1353973"/>
                </a:lnTo>
                <a:cubicBezTo>
                  <a:pt x="3700272" y="1359095"/>
                  <a:pt x="3701979" y="1364643"/>
                  <a:pt x="3704967" y="1370191"/>
                </a:cubicBezTo>
                <a:lnTo>
                  <a:pt x="3703046" y="1370049"/>
                </a:lnTo>
                <a:lnTo>
                  <a:pt x="3704113" y="1371472"/>
                </a:lnTo>
                <a:cubicBezTo>
                  <a:pt x="3705607" y="1373748"/>
                  <a:pt x="3706674" y="1375883"/>
                  <a:pt x="3706674" y="1377874"/>
                </a:cubicBezTo>
                <a:cubicBezTo>
                  <a:pt x="3706888" y="1379297"/>
                  <a:pt x="3706461" y="1380435"/>
                  <a:pt x="3705607" y="1381573"/>
                </a:cubicBezTo>
                <a:cubicBezTo>
                  <a:pt x="3701765" y="1386410"/>
                  <a:pt x="3694509" y="1386553"/>
                  <a:pt x="3687893" y="1382711"/>
                </a:cubicBezTo>
                <a:lnTo>
                  <a:pt x="3686826" y="1381858"/>
                </a:lnTo>
                <a:lnTo>
                  <a:pt x="3681277" y="1394946"/>
                </a:lnTo>
                <a:lnTo>
                  <a:pt x="3680210" y="1398787"/>
                </a:lnTo>
                <a:lnTo>
                  <a:pt x="3681064" y="1400068"/>
                </a:lnTo>
                <a:cubicBezTo>
                  <a:pt x="3681491" y="1401633"/>
                  <a:pt x="3681917" y="1403056"/>
                  <a:pt x="3683198" y="1404337"/>
                </a:cubicBezTo>
                <a:lnTo>
                  <a:pt x="3681064" y="1405047"/>
                </a:lnTo>
                <a:lnTo>
                  <a:pt x="3682131" y="1407608"/>
                </a:lnTo>
                <a:cubicBezTo>
                  <a:pt x="3682771" y="1408746"/>
                  <a:pt x="3682984" y="1410027"/>
                  <a:pt x="3682344" y="1412018"/>
                </a:cubicBezTo>
                <a:cubicBezTo>
                  <a:pt x="3679143" y="1411592"/>
                  <a:pt x="3676795" y="1410311"/>
                  <a:pt x="3673594" y="1409885"/>
                </a:cubicBezTo>
                <a:lnTo>
                  <a:pt x="3675088" y="1405332"/>
                </a:lnTo>
                <a:lnTo>
                  <a:pt x="3672527" y="1403909"/>
                </a:lnTo>
                <a:cubicBezTo>
                  <a:pt x="3671246" y="1402629"/>
                  <a:pt x="3671246" y="1402629"/>
                  <a:pt x="3671033" y="1401349"/>
                </a:cubicBezTo>
                <a:cubicBezTo>
                  <a:pt x="3670393" y="1400210"/>
                  <a:pt x="3669966" y="1399215"/>
                  <a:pt x="3669539" y="1398219"/>
                </a:cubicBezTo>
                <a:lnTo>
                  <a:pt x="3669539" y="1397650"/>
                </a:lnTo>
                <a:lnTo>
                  <a:pt x="3668045" y="1396511"/>
                </a:lnTo>
                <a:cubicBezTo>
                  <a:pt x="3664204" y="1394235"/>
                  <a:pt x="3659935" y="1392813"/>
                  <a:pt x="3656093" y="1391248"/>
                </a:cubicBezTo>
                <a:lnTo>
                  <a:pt x="3655026" y="1393381"/>
                </a:lnTo>
                <a:cubicBezTo>
                  <a:pt x="3653319" y="1394804"/>
                  <a:pt x="3651398" y="1395800"/>
                  <a:pt x="3650331" y="1397507"/>
                </a:cubicBezTo>
                <a:lnTo>
                  <a:pt x="3649904" y="1397223"/>
                </a:lnTo>
                <a:lnTo>
                  <a:pt x="3643075" y="1403340"/>
                </a:lnTo>
                <a:cubicBezTo>
                  <a:pt x="3640087" y="1404906"/>
                  <a:pt x="3636672" y="1405901"/>
                  <a:pt x="3633684" y="1405616"/>
                </a:cubicBezTo>
                <a:cubicBezTo>
                  <a:pt x="3625575" y="1398503"/>
                  <a:pt x="3627922" y="1387833"/>
                  <a:pt x="3634965" y="1382427"/>
                </a:cubicBezTo>
                <a:lnTo>
                  <a:pt x="3642221" y="1379439"/>
                </a:lnTo>
                <a:lnTo>
                  <a:pt x="3641795" y="1378585"/>
                </a:lnTo>
                <a:cubicBezTo>
                  <a:pt x="3640087" y="1374886"/>
                  <a:pt x="3639447" y="1371188"/>
                  <a:pt x="3639447" y="1367916"/>
                </a:cubicBezTo>
                <a:lnTo>
                  <a:pt x="3640514" y="1362367"/>
                </a:lnTo>
                <a:lnTo>
                  <a:pt x="3640300" y="1362225"/>
                </a:lnTo>
                <a:cubicBezTo>
                  <a:pt x="3639020" y="1360233"/>
                  <a:pt x="3639020" y="1357103"/>
                  <a:pt x="3640941" y="1353688"/>
                </a:cubicBezTo>
                <a:lnTo>
                  <a:pt x="3643715" y="1355396"/>
                </a:lnTo>
                <a:lnTo>
                  <a:pt x="3646703" y="1351270"/>
                </a:lnTo>
                <a:lnTo>
                  <a:pt x="3650758" y="1348709"/>
                </a:lnTo>
                <a:lnTo>
                  <a:pt x="3651826" y="1345437"/>
                </a:lnTo>
                <a:lnTo>
                  <a:pt x="3648837" y="1346148"/>
                </a:lnTo>
                <a:cubicBezTo>
                  <a:pt x="3647557" y="1345864"/>
                  <a:pt x="3646276" y="1345152"/>
                  <a:pt x="3644782" y="1344014"/>
                </a:cubicBezTo>
                <a:cubicBezTo>
                  <a:pt x="3644569" y="1340315"/>
                  <a:pt x="3648837" y="1334482"/>
                  <a:pt x="3652252" y="1334767"/>
                </a:cubicBezTo>
                <a:cubicBezTo>
                  <a:pt x="3653533" y="1335905"/>
                  <a:pt x="3654600" y="1337185"/>
                  <a:pt x="3655880" y="1338466"/>
                </a:cubicBezTo>
                <a:lnTo>
                  <a:pt x="3655026" y="1340173"/>
                </a:lnTo>
                <a:lnTo>
                  <a:pt x="3658654" y="1334909"/>
                </a:lnTo>
                <a:cubicBezTo>
                  <a:pt x="3663563" y="1329930"/>
                  <a:pt x="3669966" y="1327084"/>
                  <a:pt x="3677009" y="1328080"/>
                </a:cubicBezTo>
                <a:close/>
                <a:moveTo>
                  <a:pt x="4371050" y="1327938"/>
                </a:moveTo>
                <a:cubicBezTo>
                  <a:pt x="4375959" y="1326942"/>
                  <a:pt x="4380440" y="1329503"/>
                  <a:pt x="4380867" y="1334055"/>
                </a:cubicBezTo>
                <a:cubicBezTo>
                  <a:pt x="4381294" y="1335905"/>
                  <a:pt x="4380867" y="1338323"/>
                  <a:pt x="4379373" y="1340884"/>
                </a:cubicBezTo>
                <a:cubicBezTo>
                  <a:pt x="4375318" y="1343730"/>
                  <a:pt x="4370623" y="1344014"/>
                  <a:pt x="4367848" y="1342022"/>
                </a:cubicBezTo>
                <a:cubicBezTo>
                  <a:pt x="4364861" y="1340173"/>
                  <a:pt x="4363580" y="1336190"/>
                  <a:pt x="4365928" y="1330214"/>
                </a:cubicBezTo>
                <a:cubicBezTo>
                  <a:pt x="4367635" y="1329076"/>
                  <a:pt x="4369342" y="1328222"/>
                  <a:pt x="4371050" y="1327938"/>
                </a:cubicBezTo>
                <a:close/>
                <a:moveTo>
                  <a:pt x="4072049" y="1327796"/>
                </a:moveTo>
                <a:cubicBezTo>
                  <a:pt x="4081866" y="1328649"/>
                  <a:pt x="4091256" y="1332917"/>
                  <a:pt x="4092750" y="1341311"/>
                </a:cubicBezTo>
                <a:cubicBezTo>
                  <a:pt x="4089122" y="1339462"/>
                  <a:pt x="4085281" y="1338750"/>
                  <a:pt x="4081653" y="1338608"/>
                </a:cubicBezTo>
                <a:lnTo>
                  <a:pt x="4075250" y="1339035"/>
                </a:lnTo>
                <a:lnTo>
                  <a:pt x="4075463" y="1339035"/>
                </a:lnTo>
                <a:cubicBezTo>
                  <a:pt x="4072049" y="1342449"/>
                  <a:pt x="4068634" y="1341169"/>
                  <a:pt x="4065219" y="1339746"/>
                </a:cubicBezTo>
                <a:cubicBezTo>
                  <a:pt x="4062871" y="1338466"/>
                  <a:pt x="4061591" y="1338466"/>
                  <a:pt x="4059243" y="1339462"/>
                </a:cubicBezTo>
                <a:cubicBezTo>
                  <a:pt x="4059243" y="1339462"/>
                  <a:pt x="4059457" y="1339462"/>
                  <a:pt x="4059030" y="1339177"/>
                </a:cubicBezTo>
                <a:lnTo>
                  <a:pt x="4058603" y="1338750"/>
                </a:lnTo>
                <a:lnTo>
                  <a:pt x="4048572" y="1334482"/>
                </a:lnTo>
                <a:cubicBezTo>
                  <a:pt x="4051987" y="1329361"/>
                  <a:pt x="4062231" y="1326799"/>
                  <a:pt x="4072049" y="1327796"/>
                </a:cubicBezTo>
                <a:close/>
                <a:moveTo>
                  <a:pt x="1698565" y="1327484"/>
                </a:moveTo>
                <a:cubicBezTo>
                  <a:pt x="1701146" y="1329188"/>
                  <a:pt x="1701250" y="1331046"/>
                  <a:pt x="1701250" y="1334609"/>
                </a:cubicBezTo>
                <a:cubicBezTo>
                  <a:pt x="1699288" y="1333525"/>
                  <a:pt x="1698359" y="1332595"/>
                  <a:pt x="1698049" y="1331356"/>
                </a:cubicBezTo>
                <a:cubicBezTo>
                  <a:pt x="1697739" y="1330272"/>
                  <a:pt x="1697945" y="1329033"/>
                  <a:pt x="1698565" y="1327484"/>
                </a:cubicBezTo>
                <a:close/>
                <a:moveTo>
                  <a:pt x="3628776" y="1326373"/>
                </a:moveTo>
                <a:cubicBezTo>
                  <a:pt x="3632191" y="1325519"/>
                  <a:pt x="3636246" y="1327226"/>
                  <a:pt x="3639233" y="1332775"/>
                </a:cubicBezTo>
                <a:cubicBezTo>
                  <a:pt x="3638593" y="1343445"/>
                  <a:pt x="3626215" y="1346575"/>
                  <a:pt x="3622160" y="1335620"/>
                </a:cubicBezTo>
                <a:cubicBezTo>
                  <a:pt x="3622587" y="1330783"/>
                  <a:pt x="3625361" y="1327369"/>
                  <a:pt x="3628776" y="1326373"/>
                </a:cubicBezTo>
                <a:close/>
                <a:moveTo>
                  <a:pt x="3566458" y="1326231"/>
                </a:moveTo>
                <a:cubicBezTo>
                  <a:pt x="3566458" y="1326089"/>
                  <a:pt x="3566884" y="1326089"/>
                  <a:pt x="3567738" y="1326231"/>
                </a:cubicBezTo>
                <a:cubicBezTo>
                  <a:pt x="3566670" y="1327369"/>
                  <a:pt x="3566670" y="1327369"/>
                  <a:pt x="3566670" y="1328649"/>
                </a:cubicBezTo>
                <a:cubicBezTo>
                  <a:pt x="3566670" y="1328649"/>
                  <a:pt x="3565603" y="1327226"/>
                  <a:pt x="3565603" y="1327226"/>
                </a:cubicBezTo>
                <a:cubicBezTo>
                  <a:pt x="3566244" y="1326657"/>
                  <a:pt x="3566244" y="1326373"/>
                  <a:pt x="3566458" y="1326231"/>
                </a:cubicBezTo>
                <a:close/>
                <a:moveTo>
                  <a:pt x="4307878" y="1325946"/>
                </a:moveTo>
                <a:cubicBezTo>
                  <a:pt x="4318762" y="1326942"/>
                  <a:pt x="4327085" y="1340315"/>
                  <a:pt x="4330073" y="1348282"/>
                </a:cubicBezTo>
                <a:cubicBezTo>
                  <a:pt x="4325164" y="1345721"/>
                  <a:pt x="4320256" y="1343303"/>
                  <a:pt x="4315561" y="1340173"/>
                </a:cubicBezTo>
                <a:cubicBezTo>
                  <a:pt x="4310865" y="1336901"/>
                  <a:pt x="4306597" y="1332775"/>
                  <a:pt x="4303182" y="1326373"/>
                </a:cubicBezTo>
                <a:cubicBezTo>
                  <a:pt x="4304676" y="1325946"/>
                  <a:pt x="4306383" y="1325804"/>
                  <a:pt x="4307878" y="1325946"/>
                </a:cubicBezTo>
                <a:close/>
                <a:moveTo>
                  <a:pt x="4345012" y="1325662"/>
                </a:moveTo>
                <a:cubicBezTo>
                  <a:pt x="4349067" y="1327511"/>
                  <a:pt x="4350562" y="1329361"/>
                  <a:pt x="4350562" y="1330641"/>
                </a:cubicBezTo>
                <a:cubicBezTo>
                  <a:pt x="4350988" y="1334625"/>
                  <a:pt x="4338610" y="1335051"/>
                  <a:pt x="4345012" y="1325662"/>
                </a:cubicBezTo>
                <a:close/>
                <a:moveTo>
                  <a:pt x="1109075" y="1325470"/>
                </a:moveTo>
                <a:cubicBezTo>
                  <a:pt x="1109695" y="1325315"/>
                  <a:pt x="1110005" y="1325470"/>
                  <a:pt x="1110211" y="1325780"/>
                </a:cubicBezTo>
                <a:cubicBezTo>
                  <a:pt x="1110521" y="1326090"/>
                  <a:pt x="1110624" y="1326400"/>
                  <a:pt x="1110624" y="1326400"/>
                </a:cubicBezTo>
                <a:cubicBezTo>
                  <a:pt x="1110934" y="1327484"/>
                  <a:pt x="1111140" y="1328723"/>
                  <a:pt x="1110005" y="1328878"/>
                </a:cubicBezTo>
                <a:cubicBezTo>
                  <a:pt x="1110005" y="1328878"/>
                  <a:pt x="1109282" y="1328413"/>
                  <a:pt x="1108662" y="1326090"/>
                </a:cubicBezTo>
                <a:cubicBezTo>
                  <a:pt x="1109385" y="1326554"/>
                  <a:pt x="1109798" y="1325935"/>
                  <a:pt x="1109798" y="1325935"/>
                </a:cubicBezTo>
                <a:cubicBezTo>
                  <a:pt x="1109798" y="1325935"/>
                  <a:pt x="1109901" y="1325935"/>
                  <a:pt x="1109075" y="1325470"/>
                </a:cubicBezTo>
                <a:close/>
                <a:moveTo>
                  <a:pt x="4449161" y="1324950"/>
                </a:moveTo>
                <a:cubicBezTo>
                  <a:pt x="4452149" y="1329645"/>
                  <a:pt x="4455777" y="1334055"/>
                  <a:pt x="4458339" y="1339320"/>
                </a:cubicBezTo>
                <a:cubicBezTo>
                  <a:pt x="4460899" y="1344583"/>
                  <a:pt x="4462393" y="1350843"/>
                  <a:pt x="4461327" y="1359237"/>
                </a:cubicBezTo>
                <a:cubicBezTo>
                  <a:pt x="4459619" y="1360091"/>
                  <a:pt x="4458125" y="1361940"/>
                  <a:pt x="4456204" y="1363078"/>
                </a:cubicBezTo>
                <a:lnTo>
                  <a:pt x="4453856" y="1364074"/>
                </a:lnTo>
                <a:lnTo>
                  <a:pt x="4453003" y="1365070"/>
                </a:lnTo>
                <a:cubicBezTo>
                  <a:pt x="4451936" y="1365924"/>
                  <a:pt x="4450442" y="1366208"/>
                  <a:pt x="4448308" y="1365497"/>
                </a:cubicBezTo>
                <a:cubicBezTo>
                  <a:pt x="4448308" y="1364928"/>
                  <a:pt x="4448948" y="1364074"/>
                  <a:pt x="4449801" y="1363220"/>
                </a:cubicBezTo>
                <a:lnTo>
                  <a:pt x="4450656" y="1362225"/>
                </a:lnTo>
                <a:lnTo>
                  <a:pt x="4451936" y="1357672"/>
                </a:lnTo>
                <a:cubicBezTo>
                  <a:pt x="4453216" y="1345152"/>
                  <a:pt x="4440838" y="1335051"/>
                  <a:pt x="4449161" y="1324950"/>
                </a:cubicBezTo>
                <a:close/>
                <a:moveTo>
                  <a:pt x="4779322" y="1324808"/>
                </a:moveTo>
                <a:cubicBezTo>
                  <a:pt x="4780816" y="1325662"/>
                  <a:pt x="4783590" y="1326231"/>
                  <a:pt x="4785297" y="1328222"/>
                </a:cubicBezTo>
                <a:cubicBezTo>
                  <a:pt x="4786151" y="1334340"/>
                  <a:pt x="4783590" y="1337470"/>
                  <a:pt x="4779108" y="1338750"/>
                </a:cubicBezTo>
                <a:cubicBezTo>
                  <a:pt x="4773133" y="1335336"/>
                  <a:pt x="4773773" y="1326373"/>
                  <a:pt x="4779322" y="1324808"/>
                </a:cubicBezTo>
                <a:close/>
                <a:moveTo>
                  <a:pt x="1415850" y="1324386"/>
                </a:moveTo>
                <a:cubicBezTo>
                  <a:pt x="1417811" y="1324076"/>
                  <a:pt x="1418225" y="1324850"/>
                  <a:pt x="1418121" y="1327793"/>
                </a:cubicBezTo>
                <a:cubicBezTo>
                  <a:pt x="1417811" y="1329033"/>
                  <a:pt x="1417708" y="1329962"/>
                  <a:pt x="1417605" y="1330891"/>
                </a:cubicBezTo>
                <a:lnTo>
                  <a:pt x="1417192" y="1331821"/>
                </a:lnTo>
                <a:lnTo>
                  <a:pt x="1417398" y="1331821"/>
                </a:lnTo>
                <a:lnTo>
                  <a:pt x="1417295" y="1334299"/>
                </a:lnTo>
                <a:lnTo>
                  <a:pt x="1417502" y="1335074"/>
                </a:lnTo>
                <a:lnTo>
                  <a:pt x="1417295" y="1335228"/>
                </a:lnTo>
                <a:lnTo>
                  <a:pt x="1417295" y="1336158"/>
                </a:lnTo>
                <a:cubicBezTo>
                  <a:pt x="1416469" y="1335228"/>
                  <a:pt x="1414610" y="1335848"/>
                  <a:pt x="1413784" y="1334919"/>
                </a:cubicBezTo>
                <a:cubicBezTo>
                  <a:pt x="1413784" y="1334919"/>
                  <a:pt x="1412855" y="1332286"/>
                  <a:pt x="1412855" y="1332286"/>
                </a:cubicBezTo>
                <a:cubicBezTo>
                  <a:pt x="1413268" y="1331821"/>
                  <a:pt x="1413578" y="1331666"/>
                  <a:pt x="1413681" y="1331821"/>
                </a:cubicBezTo>
                <a:cubicBezTo>
                  <a:pt x="1413784" y="1331821"/>
                  <a:pt x="1413784" y="1331976"/>
                  <a:pt x="1413784" y="1332440"/>
                </a:cubicBezTo>
                <a:lnTo>
                  <a:pt x="1415024" y="1332131"/>
                </a:lnTo>
                <a:lnTo>
                  <a:pt x="1414301" y="1330891"/>
                </a:lnTo>
                <a:cubicBezTo>
                  <a:pt x="1413474" y="1329342"/>
                  <a:pt x="1412752" y="1327793"/>
                  <a:pt x="1412855" y="1326400"/>
                </a:cubicBezTo>
                <a:cubicBezTo>
                  <a:pt x="1412959" y="1325780"/>
                  <a:pt x="1413165" y="1325160"/>
                  <a:pt x="1413578" y="1324850"/>
                </a:cubicBezTo>
                <a:cubicBezTo>
                  <a:pt x="1413991" y="1324386"/>
                  <a:pt x="1414610" y="1324231"/>
                  <a:pt x="1415850" y="1324386"/>
                </a:cubicBezTo>
                <a:close/>
                <a:moveTo>
                  <a:pt x="4138849" y="1323812"/>
                </a:moveTo>
                <a:cubicBezTo>
                  <a:pt x="4141410" y="1323812"/>
                  <a:pt x="4144398" y="1324950"/>
                  <a:pt x="4147386" y="1326089"/>
                </a:cubicBezTo>
                <a:cubicBezTo>
                  <a:pt x="4146959" y="1335194"/>
                  <a:pt x="4133300" y="1329218"/>
                  <a:pt x="4138849" y="1323812"/>
                </a:cubicBezTo>
                <a:close/>
                <a:moveTo>
                  <a:pt x="4854019" y="1322816"/>
                </a:moveTo>
                <a:cubicBezTo>
                  <a:pt x="4857220" y="1321963"/>
                  <a:pt x="4858501" y="1324097"/>
                  <a:pt x="4858714" y="1325804"/>
                </a:cubicBezTo>
                <a:cubicBezTo>
                  <a:pt x="4859781" y="1327226"/>
                  <a:pt x="4859568" y="1329076"/>
                  <a:pt x="4858928" y="1330783"/>
                </a:cubicBezTo>
                <a:cubicBezTo>
                  <a:pt x="4858073" y="1332491"/>
                  <a:pt x="4856793" y="1334198"/>
                  <a:pt x="4855299" y="1335478"/>
                </a:cubicBezTo>
                <a:cubicBezTo>
                  <a:pt x="4855940" y="1334482"/>
                  <a:pt x="4855940" y="1334482"/>
                  <a:pt x="4855940" y="1334482"/>
                </a:cubicBezTo>
                <a:cubicBezTo>
                  <a:pt x="4855726" y="1332775"/>
                  <a:pt x="4854873" y="1333771"/>
                  <a:pt x="4854019" y="1333202"/>
                </a:cubicBezTo>
                <a:cubicBezTo>
                  <a:pt x="4854019" y="1333202"/>
                  <a:pt x="4855086" y="1333771"/>
                  <a:pt x="4853378" y="1334198"/>
                </a:cubicBezTo>
                <a:cubicBezTo>
                  <a:pt x="4854019" y="1333202"/>
                  <a:pt x="4853165" y="1332633"/>
                  <a:pt x="4852098" y="1332063"/>
                </a:cubicBezTo>
                <a:cubicBezTo>
                  <a:pt x="4851671" y="1328649"/>
                  <a:pt x="4851671" y="1324239"/>
                  <a:pt x="4854019" y="1322816"/>
                </a:cubicBezTo>
                <a:close/>
                <a:moveTo>
                  <a:pt x="1393959" y="1322372"/>
                </a:moveTo>
                <a:cubicBezTo>
                  <a:pt x="1395921" y="1321443"/>
                  <a:pt x="1398812" y="1321753"/>
                  <a:pt x="1403356" y="1323611"/>
                </a:cubicBezTo>
                <a:cubicBezTo>
                  <a:pt x="1396541" y="1330117"/>
                  <a:pt x="1398502" y="1342664"/>
                  <a:pt x="1390448" y="1345142"/>
                </a:cubicBezTo>
                <a:cubicBezTo>
                  <a:pt x="1391068" y="1341425"/>
                  <a:pt x="1390448" y="1336313"/>
                  <a:pt x="1390448" y="1331976"/>
                </a:cubicBezTo>
                <a:cubicBezTo>
                  <a:pt x="1390448" y="1327484"/>
                  <a:pt x="1391068" y="1323611"/>
                  <a:pt x="1393959" y="1322372"/>
                </a:cubicBezTo>
                <a:close/>
                <a:moveTo>
                  <a:pt x="5478058" y="1321820"/>
                </a:moveTo>
                <a:cubicBezTo>
                  <a:pt x="5479125" y="1321963"/>
                  <a:pt x="5479979" y="1322674"/>
                  <a:pt x="5481046" y="1323812"/>
                </a:cubicBezTo>
                <a:cubicBezTo>
                  <a:pt x="5481686" y="1323812"/>
                  <a:pt x="5482113" y="1325092"/>
                  <a:pt x="5482327" y="1326373"/>
                </a:cubicBezTo>
                <a:cubicBezTo>
                  <a:pt x="5482327" y="1327796"/>
                  <a:pt x="5482327" y="1329218"/>
                  <a:pt x="5481686" y="1329787"/>
                </a:cubicBezTo>
                <a:cubicBezTo>
                  <a:pt x="5478912" y="1333344"/>
                  <a:pt x="5475710" y="1330926"/>
                  <a:pt x="5471442" y="1329645"/>
                </a:cubicBezTo>
                <a:cubicBezTo>
                  <a:pt x="5472722" y="1328507"/>
                  <a:pt x="5471656" y="1327226"/>
                  <a:pt x="5470589" y="1326089"/>
                </a:cubicBezTo>
                <a:cubicBezTo>
                  <a:pt x="5472509" y="1324239"/>
                  <a:pt x="5475070" y="1321251"/>
                  <a:pt x="5478058" y="1321820"/>
                </a:cubicBezTo>
                <a:close/>
                <a:moveTo>
                  <a:pt x="1097717" y="1321443"/>
                </a:moveTo>
                <a:cubicBezTo>
                  <a:pt x="1098543" y="1323302"/>
                  <a:pt x="1100195" y="1326090"/>
                  <a:pt x="1097510" y="1329188"/>
                </a:cubicBezTo>
                <a:cubicBezTo>
                  <a:pt x="1096685" y="1329962"/>
                  <a:pt x="1096581" y="1329962"/>
                  <a:pt x="1095755" y="1329807"/>
                </a:cubicBezTo>
                <a:cubicBezTo>
                  <a:pt x="1094000" y="1330582"/>
                  <a:pt x="1093070" y="1331356"/>
                  <a:pt x="1091315" y="1330272"/>
                </a:cubicBezTo>
                <a:cubicBezTo>
                  <a:pt x="1090076" y="1329342"/>
                  <a:pt x="1089663" y="1328413"/>
                  <a:pt x="1089766" y="1327484"/>
                </a:cubicBezTo>
                <a:cubicBezTo>
                  <a:pt x="1089973" y="1326554"/>
                  <a:pt x="1090592" y="1325470"/>
                  <a:pt x="1091522" y="1324386"/>
                </a:cubicBezTo>
                <a:cubicBezTo>
                  <a:pt x="1092348" y="1323147"/>
                  <a:pt x="1093484" y="1322837"/>
                  <a:pt x="1094620" y="1322527"/>
                </a:cubicBezTo>
                <a:cubicBezTo>
                  <a:pt x="1095652" y="1322372"/>
                  <a:pt x="1096788" y="1322217"/>
                  <a:pt x="1097717" y="1321443"/>
                </a:cubicBezTo>
                <a:close/>
                <a:moveTo>
                  <a:pt x="3566884" y="1319971"/>
                </a:moveTo>
                <a:cubicBezTo>
                  <a:pt x="3566884" y="1319971"/>
                  <a:pt x="3567951" y="1320113"/>
                  <a:pt x="3567951" y="1320113"/>
                </a:cubicBezTo>
                <a:cubicBezTo>
                  <a:pt x="3567951" y="1321394"/>
                  <a:pt x="3567951" y="1322674"/>
                  <a:pt x="3566884" y="1322674"/>
                </a:cubicBezTo>
                <a:cubicBezTo>
                  <a:pt x="3565817" y="1322532"/>
                  <a:pt x="3565817" y="1321251"/>
                  <a:pt x="3566884" y="1319971"/>
                </a:cubicBezTo>
                <a:close/>
                <a:moveTo>
                  <a:pt x="5155368" y="1318975"/>
                </a:moveTo>
                <a:cubicBezTo>
                  <a:pt x="5156008" y="1319260"/>
                  <a:pt x="5156435" y="1319686"/>
                  <a:pt x="5156861" y="1320255"/>
                </a:cubicBezTo>
                <a:cubicBezTo>
                  <a:pt x="5158996" y="1323527"/>
                  <a:pt x="5158782" y="1330783"/>
                  <a:pt x="5154300" y="1330214"/>
                </a:cubicBezTo>
                <a:lnTo>
                  <a:pt x="5153447" y="1329503"/>
                </a:lnTo>
                <a:lnTo>
                  <a:pt x="5152806" y="1329930"/>
                </a:lnTo>
                <a:cubicBezTo>
                  <a:pt x="5151526" y="1329930"/>
                  <a:pt x="5150032" y="1329787"/>
                  <a:pt x="5148965" y="1329787"/>
                </a:cubicBezTo>
                <a:cubicBezTo>
                  <a:pt x="5148111" y="1332348"/>
                  <a:pt x="5144056" y="1327654"/>
                  <a:pt x="5143202" y="1330214"/>
                </a:cubicBezTo>
                <a:cubicBezTo>
                  <a:pt x="5138081" y="1325662"/>
                  <a:pt x="5133172" y="1331921"/>
                  <a:pt x="5124422" y="1326373"/>
                </a:cubicBezTo>
                <a:cubicBezTo>
                  <a:pt x="5127196" y="1325235"/>
                  <a:pt x="5129757" y="1324808"/>
                  <a:pt x="5132105" y="1324524"/>
                </a:cubicBezTo>
                <a:cubicBezTo>
                  <a:pt x="5135733" y="1324239"/>
                  <a:pt x="5139148" y="1324381"/>
                  <a:pt x="5142135" y="1324524"/>
                </a:cubicBezTo>
                <a:lnTo>
                  <a:pt x="5149819" y="1323670"/>
                </a:lnTo>
                <a:lnTo>
                  <a:pt x="5151099" y="1321394"/>
                </a:lnTo>
                <a:cubicBezTo>
                  <a:pt x="5151953" y="1320255"/>
                  <a:pt x="5152593" y="1319544"/>
                  <a:pt x="5153447" y="1319117"/>
                </a:cubicBezTo>
                <a:cubicBezTo>
                  <a:pt x="5154087" y="1318690"/>
                  <a:pt x="5154940" y="1318690"/>
                  <a:pt x="5155368" y="1318975"/>
                </a:cubicBezTo>
                <a:close/>
                <a:moveTo>
                  <a:pt x="5102226" y="1318548"/>
                </a:moveTo>
                <a:cubicBezTo>
                  <a:pt x="5103933" y="1330499"/>
                  <a:pt x="5082378" y="1347429"/>
                  <a:pt x="5072134" y="1338039"/>
                </a:cubicBezTo>
                <a:cubicBezTo>
                  <a:pt x="5083872" y="1332063"/>
                  <a:pt x="5087714" y="1322532"/>
                  <a:pt x="5102226" y="1318548"/>
                </a:cubicBezTo>
                <a:close/>
                <a:moveTo>
                  <a:pt x="6032736" y="1318406"/>
                </a:moveTo>
                <a:cubicBezTo>
                  <a:pt x="6033803" y="1318263"/>
                  <a:pt x="6035084" y="1318690"/>
                  <a:pt x="6035938" y="1319260"/>
                </a:cubicBezTo>
                <a:cubicBezTo>
                  <a:pt x="6038285" y="1327938"/>
                  <a:pt x="6028254" y="1329361"/>
                  <a:pt x="6025267" y="1325946"/>
                </a:cubicBezTo>
                <a:cubicBezTo>
                  <a:pt x="6025267" y="1321394"/>
                  <a:pt x="6029108" y="1318406"/>
                  <a:pt x="6032736" y="1318406"/>
                </a:cubicBezTo>
                <a:close/>
                <a:moveTo>
                  <a:pt x="1541616" y="1317725"/>
                </a:moveTo>
                <a:cubicBezTo>
                  <a:pt x="1541512" y="1318500"/>
                  <a:pt x="1542029" y="1320203"/>
                  <a:pt x="1541099" y="1320978"/>
                </a:cubicBezTo>
                <a:cubicBezTo>
                  <a:pt x="1540067" y="1321907"/>
                  <a:pt x="1540067" y="1321907"/>
                  <a:pt x="1538311" y="1321753"/>
                </a:cubicBezTo>
                <a:cubicBezTo>
                  <a:pt x="1539654" y="1319274"/>
                  <a:pt x="1539654" y="1319274"/>
                  <a:pt x="1541616" y="1317725"/>
                </a:cubicBezTo>
                <a:close/>
                <a:moveTo>
                  <a:pt x="3719479" y="1317268"/>
                </a:moveTo>
                <a:cubicBezTo>
                  <a:pt x="3720760" y="1316983"/>
                  <a:pt x="3722040" y="1317268"/>
                  <a:pt x="3722467" y="1317837"/>
                </a:cubicBezTo>
                <a:cubicBezTo>
                  <a:pt x="3724175" y="1319971"/>
                  <a:pt x="3725668" y="1322105"/>
                  <a:pt x="3724815" y="1324239"/>
                </a:cubicBezTo>
                <a:cubicBezTo>
                  <a:pt x="3724601" y="1324950"/>
                  <a:pt x="3723961" y="1325662"/>
                  <a:pt x="3723107" y="1326373"/>
                </a:cubicBezTo>
                <a:cubicBezTo>
                  <a:pt x="3723107" y="1326373"/>
                  <a:pt x="3723107" y="1326373"/>
                  <a:pt x="3722040" y="1326231"/>
                </a:cubicBezTo>
                <a:cubicBezTo>
                  <a:pt x="3719692" y="1325946"/>
                  <a:pt x="3718626" y="1325662"/>
                  <a:pt x="3717345" y="1325519"/>
                </a:cubicBezTo>
                <a:cubicBezTo>
                  <a:pt x="3716278" y="1324097"/>
                  <a:pt x="3714357" y="1320113"/>
                  <a:pt x="3715424" y="1319117"/>
                </a:cubicBezTo>
                <a:cubicBezTo>
                  <a:pt x="3716705" y="1318121"/>
                  <a:pt x="3718199" y="1317552"/>
                  <a:pt x="3719479" y="1317268"/>
                </a:cubicBezTo>
                <a:close/>
                <a:moveTo>
                  <a:pt x="1386318" y="1316796"/>
                </a:moveTo>
                <a:cubicBezTo>
                  <a:pt x="1388900" y="1316951"/>
                  <a:pt x="1392204" y="1316951"/>
                  <a:pt x="1393753" y="1317880"/>
                </a:cubicBezTo>
                <a:cubicBezTo>
                  <a:pt x="1391997" y="1318655"/>
                  <a:pt x="1388487" y="1319274"/>
                  <a:pt x="1387041" y="1317725"/>
                </a:cubicBezTo>
                <a:cubicBezTo>
                  <a:pt x="1387041" y="1317725"/>
                  <a:pt x="1387041" y="1317725"/>
                  <a:pt x="1386318" y="1316796"/>
                </a:cubicBezTo>
                <a:close/>
                <a:moveTo>
                  <a:pt x="1542132" y="1315247"/>
                </a:moveTo>
                <a:cubicBezTo>
                  <a:pt x="1542855" y="1315247"/>
                  <a:pt x="1542751" y="1316176"/>
                  <a:pt x="1541822" y="1317105"/>
                </a:cubicBezTo>
                <a:cubicBezTo>
                  <a:pt x="1541822" y="1317105"/>
                  <a:pt x="1541099" y="1317105"/>
                  <a:pt x="1541099" y="1317105"/>
                </a:cubicBezTo>
                <a:cubicBezTo>
                  <a:pt x="1541202" y="1316176"/>
                  <a:pt x="1541306" y="1315247"/>
                  <a:pt x="1542132" y="1315247"/>
                </a:cubicBezTo>
                <a:close/>
                <a:moveTo>
                  <a:pt x="4757553" y="1314422"/>
                </a:moveTo>
                <a:cubicBezTo>
                  <a:pt x="4758620" y="1314422"/>
                  <a:pt x="4759474" y="1315133"/>
                  <a:pt x="4759901" y="1316130"/>
                </a:cubicBezTo>
                <a:cubicBezTo>
                  <a:pt x="4760967" y="1318121"/>
                  <a:pt x="4760754" y="1321536"/>
                  <a:pt x="4757766" y="1322389"/>
                </a:cubicBezTo>
                <a:cubicBezTo>
                  <a:pt x="4756699" y="1321109"/>
                  <a:pt x="4754779" y="1319686"/>
                  <a:pt x="4753925" y="1317268"/>
                </a:cubicBezTo>
                <a:cubicBezTo>
                  <a:pt x="4755206" y="1315276"/>
                  <a:pt x="4756486" y="1314422"/>
                  <a:pt x="4757553" y="1314422"/>
                </a:cubicBezTo>
                <a:close/>
                <a:moveTo>
                  <a:pt x="1262617" y="1314318"/>
                </a:moveTo>
                <a:cubicBezTo>
                  <a:pt x="1263650" y="1312614"/>
                  <a:pt x="1266025" y="1314937"/>
                  <a:pt x="1266954" y="1314937"/>
                </a:cubicBezTo>
                <a:cubicBezTo>
                  <a:pt x="1267780" y="1315712"/>
                  <a:pt x="1268606" y="1316641"/>
                  <a:pt x="1267677" y="1317415"/>
                </a:cubicBezTo>
                <a:cubicBezTo>
                  <a:pt x="1266748" y="1318345"/>
                  <a:pt x="1266748" y="1319119"/>
                  <a:pt x="1264992" y="1318345"/>
                </a:cubicBezTo>
                <a:cubicBezTo>
                  <a:pt x="1264166" y="1318500"/>
                  <a:pt x="1263340" y="1317570"/>
                  <a:pt x="1262514" y="1317725"/>
                </a:cubicBezTo>
                <a:cubicBezTo>
                  <a:pt x="1262514" y="1317725"/>
                  <a:pt x="1262307" y="1317105"/>
                  <a:pt x="1262204" y="1316331"/>
                </a:cubicBezTo>
                <a:cubicBezTo>
                  <a:pt x="1262101" y="1315557"/>
                  <a:pt x="1262204" y="1314782"/>
                  <a:pt x="1262617" y="1314318"/>
                </a:cubicBezTo>
                <a:close/>
                <a:moveTo>
                  <a:pt x="4617336" y="1313996"/>
                </a:moveTo>
                <a:cubicBezTo>
                  <a:pt x="4618617" y="1320255"/>
                  <a:pt x="4620324" y="1331352"/>
                  <a:pt x="4609440" y="1334055"/>
                </a:cubicBezTo>
                <a:cubicBezTo>
                  <a:pt x="4608586" y="1332633"/>
                  <a:pt x="4607519" y="1331352"/>
                  <a:pt x="4606665" y="1330072"/>
                </a:cubicBezTo>
                <a:cubicBezTo>
                  <a:pt x="4612214" y="1324524"/>
                  <a:pt x="4613068" y="1318548"/>
                  <a:pt x="4617336" y="1313996"/>
                </a:cubicBezTo>
                <a:close/>
                <a:moveTo>
                  <a:pt x="3407673" y="1313853"/>
                </a:moveTo>
                <a:cubicBezTo>
                  <a:pt x="3408527" y="1314138"/>
                  <a:pt x="3409167" y="1314707"/>
                  <a:pt x="3410021" y="1315560"/>
                </a:cubicBezTo>
                <a:cubicBezTo>
                  <a:pt x="3410021" y="1315560"/>
                  <a:pt x="3409807" y="1315560"/>
                  <a:pt x="3409807" y="1316699"/>
                </a:cubicBezTo>
                <a:cubicBezTo>
                  <a:pt x="3409594" y="1319117"/>
                  <a:pt x="3409381" y="1320397"/>
                  <a:pt x="3409381" y="1321536"/>
                </a:cubicBezTo>
                <a:cubicBezTo>
                  <a:pt x="3408100" y="1322674"/>
                  <a:pt x="3404472" y="1324950"/>
                  <a:pt x="3403405" y="1323812"/>
                </a:cubicBezTo>
                <a:cubicBezTo>
                  <a:pt x="3401271" y="1321394"/>
                  <a:pt x="3400417" y="1317837"/>
                  <a:pt x="3401697" y="1316699"/>
                </a:cubicBezTo>
                <a:cubicBezTo>
                  <a:pt x="3403618" y="1314849"/>
                  <a:pt x="3405538" y="1313141"/>
                  <a:pt x="3407673" y="1313853"/>
                </a:cubicBezTo>
                <a:close/>
                <a:moveTo>
                  <a:pt x="3568591" y="1313426"/>
                </a:moveTo>
                <a:cubicBezTo>
                  <a:pt x="3569018" y="1313284"/>
                  <a:pt x="3569445" y="1313426"/>
                  <a:pt x="3570726" y="1313568"/>
                </a:cubicBezTo>
                <a:cubicBezTo>
                  <a:pt x="3569445" y="1316983"/>
                  <a:pt x="3569445" y="1316983"/>
                  <a:pt x="3567098" y="1319117"/>
                </a:cubicBezTo>
                <a:cubicBezTo>
                  <a:pt x="3567098" y="1317979"/>
                  <a:pt x="3566030" y="1315276"/>
                  <a:pt x="3567311" y="1314280"/>
                </a:cubicBezTo>
                <a:cubicBezTo>
                  <a:pt x="3567738" y="1313711"/>
                  <a:pt x="3568165" y="1313426"/>
                  <a:pt x="3568591" y="1313426"/>
                </a:cubicBezTo>
                <a:close/>
                <a:moveTo>
                  <a:pt x="1367009" y="1312924"/>
                </a:moveTo>
                <a:cubicBezTo>
                  <a:pt x="1371243" y="1313853"/>
                  <a:pt x="1377335" y="1313233"/>
                  <a:pt x="1380433" y="1315867"/>
                </a:cubicBezTo>
                <a:cubicBezTo>
                  <a:pt x="1378780" y="1315712"/>
                  <a:pt x="1369384" y="1314627"/>
                  <a:pt x="1367009" y="1312924"/>
                </a:cubicBezTo>
                <a:close/>
                <a:moveTo>
                  <a:pt x="5001919" y="1312715"/>
                </a:moveTo>
                <a:cubicBezTo>
                  <a:pt x="5004479" y="1314422"/>
                  <a:pt x="5007041" y="1314849"/>
                  <a:pt x="5009602" y="1316556"/>
                </a:cubicBezTo>
                <a:cubicBezTo>
                  <a:pt x="5012162" y="1323243"/>
                  <a:pt x="5008748" y="1327511"/>
                  <a:pt x="5004479" y="1328649"/>
                </a:cubicBezTo>
                <a:cubicBezTo>
                  <a:pt x="5000211" y="1329787"/>
                  <a:pt x="4995089" y="1327511"/>
                  <a:pt x="4993808" y="1321251"/>
                </a:cubicBezTo>
                <a:cubicBezTo>
                  <a:pt x="4996583" y="1316699"/>
                  <a:pt x="4999784" y="1314565"/>
                  <a:pt x="5001919" y="1312715"/>
                </a:cubicBezTo>
                <a:close/>
                <a:moveTo>
                  <a:pt x="1055485" y="1312459"/>
                </a:moveTo>
                <a:cubicBezTo>
                  <a:pt x="1059926" y="1310600"/>
                  <a:pt x="1066431" y="1316951"/>
                  <a:pt x="1065398" y="1321133"/>
                </a:cubicBezTo>
                <a:cubicBezTo>
                  <a:pt x="1063642" y="1322992"/>
                  <a:pt x="1061784" y="1324696"/>
                  <a:pt x="1060029" y="1326400"/>
                </a:cubicBezTo>
                <a:cubicBezTo>
                  <a:pt x="1055589" y="1327638"/>
                  <a:pt x="1051871" y="1325315"/>
                  <a:pt x="1051045" y="1321753"/>
                </a:cubicBezTo>
                <a:cubicBezTo>
                  <a:pt x="1050839" y="1320513"/>
                  <a:pt x="1050839" y="1319274"/>
                  <a:pt x="1051252" y="1317880"/>
                </a:cubicBezTo>
                <a:cubicBezTo>
                  <a:pt x="1051871" y="1316022"/>
                  <a:pt x="1053214" y="1314163"/>
                  <a:pt x="1055485" y="1312459"/>
                </a:cubicBezTo>
                <a:close/>
                <a:moveTo>
                  <a:pt x="4365501" y="1312431"/>
                </a:moveTo>
                <a:cubicBezTo>
                  <a:pt x="4367421" y="1312431"/>
                  <a:pt x="4369129" y="1313000"/>
                  <a:pt x="4370196" y="1314565"/>
                </a:cubicBezTo>
                <a:cubicBezTo>
                  <a:pt x="4370836" y="1315703"/>
                  <a:pt x="4371050" y="1317125"/>
                  <a:pt x="4371050" y="1318975"/>
                </a:cubicBezTo>
                <a:cubicBezTo>
                  <a:pt x="4368489" y="1321394"/>
                  <a:pt x="4361019" y="1322105"/>
                  <a:pt x="4359098" y="1319544"/>
                </a:cubicBezTo>
                <a:cubicBezTo>
                  <a:pt x="4359312" y="1317837"/>
                  <a:pt x="4359525" y="1316130"/>
                  <a:pt x="4359738" y="1314422"/>
                </a:cubicBezTo>
                <a:cubicBezTo>
                  <a:pt x="4361659" y="1313284"/>
                  <a:pt x="4363793" y="1312573"/>
                  <a:pt x="4365501" y="1312431"/>
                </a:cubicBezTo>
                <a:close/>
                <a:moveTo>
                  <a:pt x="1692989" y="1312304"/>
                </a:moveTo>
                <a:cubicBezTo>
                  <a:pt x="1695571" y="1311994"/>
                  <a:pt x="1698771" y="1314627"/>
                  <a:pt x="1702386" y="1322992"/>
                </a:cubicBezTo>
                <a:cubicBezTo>
                  <a:pt x="1693402" y="1331976"/>
                  <a:pt x="1689066" y="1329652"/>
                  <a:pt x="1688033" y="1324850"/>
                </a:cubicBezTo>
                <a:cubicBezTo>
                  <a:pt x="1687827" y="1323611"/>
                  <a:pt x="1687723" y="1322217"/>
                  <a:pt x="1687827" y="1320823"/>
                </a:cubicBezTo>
                <a:cubicBezTo>
                  <a:pt x="1688239" y="1316796"/>
                  <a:pt x="1690098" y="1312614"/>
                  <a:pt x="1692989" y="1312304"/>
                </a:cubicBezTo>
                <a:close/>
                <a:moveTo>
                  <a:pt x="1365151" y="1311994"/>
                </a:moveTo>
                <a:cubicBezTo>
                  <a:pt x="1365977" y="1312769"/>
                  <a:pt x="1366080" y="1312769"/>
                  <a:pt x="1367009" y="1312769"/>
                </a:cubicBezTo>
                <a:cubicBezTo>
                  <a:pt x="1367009" y="1312769"/>
                  <a:pt x="1365977" y="1313543"/>
                  <a:pt x="1365977" y="1313543"/>
                </a:cubicBezTo>
                <a:cubicBezTo>
                  <a:pt x="1365564" y="1313233"/>
                  <a:pt x="1365254" y="1313079"/>
                  <a:pt x="1365151" y="1313079"/>
                </a:cubicBezTo>
                <a:cubicBezTo>
                  <a:pt x="1365047" y="1312924"/>
                  <a:pt x="1365047" y="1312769"/>
                  <a:pt x="1365151" y="1311994"/>
                </a:cubicBezTo>
                <a:close/>
                <a:moveTo>
                  <a:pt x="1145422" y="1311994"/>
                </a:moveTo>
                <a:cubicBezTo>
                  <a:pt x="1147796" y="1314782"/>
                  <a:pt x="1150171" y="1317570"/>
                  <a:pt x="1149965" y="1320049"/>
                </a:cubicBezTo>
                <a:lnTo>
                  <a:pt x="1148106" y="1320668"/>
                </a:lnTo>
                <a:lnTo>
                  <a:pt x="1148623" y="1321133"/>
                </a:lnTo>
                <a:cubicBezTo>
                  <a:pt x="1149655" y="1322372"/>
                  <a:pt x="1150171" y="1323611"/>
                  <a:pt x="1149759" y="1325160"/>
                </a:cubicBezTo>
                <a:cubicBezTo>
                  <a:pt x="1149138" y="1324541"/>
                  <a:pt x="1148106" y="1323611"/>
                  <a:pt x="1147177" y="1322527"/>
                </a:cubicBezTo>
                <a:lnTo>
                  <a:pt x="1146248" y="1321288"/>
                </a:lnTo>
                <a:lnTo>
                  <a:pt x="1143976" y="1322062"/>
                </a:lnTo>
                <a:cubicBezTo>
                  <a:pt x="1141911" y="1321907"/>
                  <a:pt x="1139846" y="1320823"/>
                  <a:pt x="1137781" y="1318964"/>
                </a:cubicBezTo>
                <a:cubicBezTo>
                  <a:pt x="1137264" y="1314782"/>
                  <a:pt x="1142737" y="1313079"/>
                  <a:pt x="1145422" y="1311994"/>
                </a:cubicBezTo>
                <a:close/>
                <a:moveTo>
                  <a:pt x="1360814" y="1311839"/>
                </a:moveTo>
                <a:cubicBezTo>
                  <a:pt x="1361743" y="1311839"/>
                  <a:pt x="1362672" y="1311994"/>
                  <a:pt x="1362569" y="1312769"/>
                </a:cubicBezTo>
                <a:cubicBezTo>
                  <a:pt x="1362466" y="1313543"/>
                  <a:pt x="1361537" y="1313388"/>
                  <a:pt x="1360711" y="1312614"/>
                </a:cubicBezTo>
                <a:cubicBezTo>
                  <a:pt x="1360711" y="1312614"/>
                  <a:pt x="1360814" y="1311839"/>
                  <a:pt x="1360814" y="1311839"/>
                </a:cubicBezTo>
                <a:close/>
                <a:moveTo>
                  <a:pt x="4938320" y="1311435"/>
                </a:moveTo>
                <a:cubicBezTo>
                  <a:pt x="4946856" y="1321963"/>
                  <a:pt x="4936185" y="1338181"/>
                  <a:pt x="4929356" y="1345010"/>
                </a:cubicBezTo>
                <a:cubicBezTo>
                  <a:pt x="4929569" y="1339462"/>
                  <a:pt x="4929782" y="1333913"/>
                  <a:pt x="4930850" y="1328365"/>
                </a:cubicBezTo>
                <a:cubicBezTo>
                  <a:pt x="4931917" y="1322816"/>
                  <a:pt x="4933838" y="1317125"/>
                  <a:pt x="4938320" y="1311435"/>
                </a:cubicBezTo>
                <a:close/>
                <a:moveTo>
                  <a:pt x="4861275" y="1311435"/>
                </a:moveTo>
                <a:cubicBezTo>
                  <a:pt x="4862342" y="1311719"/>
                  <a:pt x="4863623" y="1312715"/>
                  <a:pt x="4864690" y="1313853"/>
                </a:cubicBezTo>
                <a:cubicBezTo>
                  <a:pt x="4867251" y="1316414"/>
                  <a:pt x="4866184" y="1318690"/>
                  <a:pt x="4866184" y="1318690"/>
                </a:cubicBezTo>
                <a:cubicBezTo>
                  <a:pt x="4864049" y="1322105"/>
                  <a:pt x="4860635" y="1323243"/>
                  <a:pt x="4857006" y="1320682"/>
                </a:cubicBezTo>
                <a:cubicBezTo>
                  <a:pt x="4855726" y="1318263"/>
                  <a:pt x="4856580" y="1315845"/>
                  <a:pt x="4857647" y="1313568"/>
                </a:cubicBezTo>
                <a:cubicBezTo>
                  <a:pt x="4858928" y="1311861"/>
                  <a:pt x="4859994" y="1311293"/>
                  <a:pt x="4861275" y="1311435"/>
                </a:cubicBezTo>
                <a:close/>
                <a:moveTo>
                  <a:pt x="1542751" y="1310910"/>
                </a:moveTo>
                <a:cubicBezTo>
                  <a:pt x="1542751" y="1310910"/>
                  <a:pt x="1543474" y="1311994"/>
                  <a:pt x="1543474" y="1311994"/>
                </a:cubicBezTo>
                <a:cubicBezTo>
                  <a:pt x="1542545" y="1312769"/>
                  <a:pt x="1543371" y="1312924"/>
                  <a:pt x="1541719" y="1312769"/>
                </a:cubicBezTo>
                <a:cubicBezTo>
                  <a:pt x="1542648" y="1311994"/>
                  <a:pt x="1542648" y="1311839"/>
                  <a:pt x="1542751" y="1310910"/>
                </a:cubicBezTo>
                <a:close/>
                <a:moveTo>
                  <a:pt x="3667618" y="1310866"/>
                </a:moveTo>
                <a:cubicBezTo>
                  <a:pt x="3667618" y="1310866"/>
                  <a:pt x="3667618" y="1310866"/>
                  <a:pt x="3665271" y="1319544"/>
                </a:cubicBezTo>
                <a:cubicBezTo>
                  <a:pt x="3664417" y="1319260"/>
                  <a:pt x="3664204" y="1318690"/>
                  <a:pt x="3664417" y="1317979"/>
                </a:cubicBezTo>
                <a:cubicBezTo>
                  <a:pt x="3664417" y="1317268"/>
                  <a:pt x="3664844" y="1316414"/>
                  <a:pt x="3665271" y="1315703"/>
                </a:cubicBezTo>
                <a:cubicBezTo>
                  <a:pt x="3665911" y="1314138"/>
                  <a:pt x="3666764" y="1312431"/>
                  <a:pt x="3667618" y="1310866"/>
                </a:cubicBezTo>
                <a:close/>
                <a:moveTo>
                  <a:pt x="5184606" y="1310581"/>
                </a:moveTo>
                <a:cubicBezTo>
                  <a:pt x="5185033" y="1310581"/>
                  <a:pt x="5185460" y="1310866"/>
                  <a:pt x="5186100" y="1312004"/>
                </a:cubicBezTo>
                <a:cubicBezTo>
                  <a:pt x="5186953" y="1312573"/>
                  <a:pt x="5187380" y="1314280"/>
                  <a:pt x="5188234" y="1314849"/>
                </a:cubicBezTo>
                <a:cubicBezTo>
                  <a:pt x="5188234" y="1314849"/>
                  <a:pt x="5188021" y="1315845"/>
                  <a:pt x="5187594" y="1316841"/>
                </a:cubicBezTo>
                <a:cubicBezTo>
                  <a:pt x="5187167" y="1317837"/>
                  <a:pt x="5186313" y="1318833"/>
                  <a:pt x="5185673" y="1319117"/>
                </a:cubicBezTo>
                <a:cubicBezTo>
                  <a:pt x="5183325" y="1320540"/>
                  <a:pt x="5182472" y="1315560"/>
                  <a:pt x="5181618" y="1314991"/>
                </a:cubicBezTo>
                <a:cubicBezTo>
                  <a:pt x="5181405" y="1313284"/>
                  <a:pt x="5180978" y="1311719"/>
                  <a:pt x="5182685" y="1311293"/>
                </a:cubicBezTo>
                <a:cubicBezTo>
                  <a:pt x="5183539" y="1311008"/>
                  <a:pt x="5183965" y="1310581"/>
                  <a:pt x="5184606" y="1310581"/>
                </a:cubicBezTo>
                <a:close/>
                <a:moveTo>
                  <a:pt x="1651790" y="1310445"/>
                </a:moveTo>
                <a:cubicBezTo>
                  <a:pt x="1654578" y="1320978"/>
                  <a:pt x="1670789" y="1318809"/>
                  <a:pt x="1670170" y="1328878"/>
                </a:cubicBezTo>
                <a:cubicBezTo>
                  <a:pt x="1661909" y="1327019"/>
                  <a:pt x="1653236" y="1326709"/>
                  <a:pt x="1646731" y="1317415"/>
                </a:cubicBezTo>
                <a:cubicBezTo>
                  <a:pt x="1648176" y="1314937"/>
                  <a:pt x="1647453" y="1310600"/>
                  <a:pt x="1651790" y="1310445"/>
                </a:cubicBezTo>
                <a:close/>
                <a:moveTo>
                  <a:pt x="1356064" y="1309980"/>
                </a:moveTo>
                <a:cubicBezTo>
                  <a:pt x="1358542" y="1310910"/>
                  <a:pt x="1358542" y="1310910"/>
                  <a:pt x="1360091" y="1312614"/>
                </a:cubicBezTo>
                <a:cubicBezTo>
                  <a:pt x="1359162" y="1312614"/>
                  <a:pt x="1357406" y="1313388"/>
                  <a:pt x="1356580" y="1312459"/>
                </a:cubicBezTo>
                <a:cubicBezTo>
                  <a:pt x="1356167" y="1311994"/>
                  <a:pt x="1355961" y="1311839"/>
                  <a:pt x="1355858" y="1311529"/>
                </a:cubicBezTo>
                <a:cubicBezTo>
                  <a:pt x="1355858" y="1311220"/>
                  <a:pt x="1355961" y="1310755"/>
                  <a:pt x="1356064" y="1309980"/>
                </a:cubicBezTo>
                <a:close/>
                <a:moveTo>
                  <a:pt x="4067140" y="1309585"/>
                </a:moveTo>
                <a:cubicBezTo>
                  <a:pt x="4068634" y="1309159"/>
                  <a:pt x="4070555" y="1310297"/>
                  <a:pt x="4073329" y="1313141"/>
                </a:cubicBezTo>
                <a:lnTo>
                  <a:pt x="4070981" y="1316272"/>
                </a:lnTo>
                <a:lnTo>
                  <a:pt x="4073329" y="1316699"/>
                </a:lnTo>
                <a:cubicBezTo>
                  <a:pt x="4074397" y="1317410"/>
                  <a:pt x="4075250" y="1318548"/>
                  <a:pt x="4076104" y="1320540"/>
                </a:cubicBezTo>
                <a:cubicBezTo>
                  <a:pt x="4073329" y="1324524"/>
                  <a:pt x="4065219" y="1324239"/>
                  <a:pt x="4057963" y="1324666"/>
                </a:cubicBezTo>
                <a:cubicBezTo>
                  <a:pt x="4058390" y="1321251"/>
                  <a:pt x="4058390" y="1319544"/>
                  <a:pt x="4057963" y="1316983"/>
                </a:cubicBezTo>
                <a:lnTo>
                  <a:pt x="4065219" y="1316414"/>
                </a:lnTo>
                <a:lnTo>
                  <a:pt x="4065006" y="1312289"/>
                </a:lnTo>
                <a:cubicBezTo>
                  <a:pt x="4065219" y="1311150"/>
                  <a:pt x="4066073" y="1310297"/>
                  <a:pt x="4067140" y="1309585"/>
                </a:cubicBezTo>
                <a:close/>
                <a:moveTo>
                  <a:pt x="1566500" y="1309206"/>
                </a:moveTo>
                <a:cubicBezTo>
                  <a:pt x="1572799" y="1308896"/>
                  <a:pt x="1579924" y="1319584"/>
                  <a:pt x="1578994" y="1323147"/>
                </a:cubicBezTo>
                <a:cubicBezTo>
                  <a:pt x="1575380" y="1322682"/>
                  <a:pt x="1574348" y="1319429"/>
                  <a:pt x="1570321" y="1318190"/>
                </a:cubicBezTo>
                <a:cubicBezTo>
                  <a:pt x="1570424" y="1315247"/>
                  <a:pt x="1565984" y="1313388"/>
                  <a:pt x="1566500" y="1309206"/>
                </a:cubicBezTo>
                <a:close/>
                <a:moveTo>
                  <a:pt x="1120537" y="1309051"/>
                </a:moveTo>
                <a:cubicBezTo>
                  <a:pt x="1122705" y="1307347"/>
                  <a:pt x="1129107" y="1308276"/>
                  <a:pt x="1131069" y="1311220"/>
                </a:cubicBezTo>
                <a:cubicBezTo>
                  <a:pt x="1131689" y="1312149"/>
                  <a:pt x="1131792" y="1313388"/>
                  <a:pt x="1131069" y="1314782"/>
                </a:cubicBezTo>
                <a:cubicBezTo>
                  <a:pt x="1128694" y="1318655"/>
                  <a:pt x="1124667" y="1316951"/>
                  <a:pt x="1120330" y="1314318"/>
                </a:cubicBezTo>
                <a:cubicBezTo>
                  <a:pt x="1120640" y="1312459"/>
                  <a:pt x="1120227" y="1310755"/>
                  <a:pt x="1120537" y="1309051"/>
                </a:cubicBezTo>
                <a:close/>
                <a:moveTo>
                  <a:pt x="5949929" y="1309016"/>
                </a:moveTo>
                <a:cubicBezTo>
                  <a:pt x="5949929" y="1310154"/>
                  <a:pt x="5949716" y="1311435"/>
                  <a:pt x="5950996" y="1311435"/>
                </a:cubicBezTo>
                <a:cubicBezTo>
                  <a:pt x="5948435" y="1313711"/>
                  <a:pt x="5947155" y="1313711"/>
                  <a:pt x="5945874" y="1314849"/>
                </a:cubicBezTo>
                <a:cubicBezTo>
                  <a:pt x="5947155" y="1314849"/>
                  <a:pt x="5945661" y="1316130"/>
                  <a:pt x="5945661" y="1316130"/>
                </a:cubicBezTo>
                <a:cubicBezTo>
                  <a:pt x="5945661" y="1316130"/>
                  <a:pt x="5945874" y="1316130"/>
                  <a:pt x="5947795" y="1318548"/>
                </a:cubicBezTo>
                <a:cubicBezTo>
                  <a:pt x="5947795" y="1318548"/>
                  <a:pt x="5951850" y="1324524"/>
                  <a:pt x="5946728" y="1330499"/>
                </a:cubicBezTo>
                <a:cubicBezTo>
                  <a:pt x="5945661" y="1329218"/>
                  <a:pt x="5937978" y="1336332"/>
                  <a:pt x="5933496" y="1333771"/>
                </a:cubicBezTo>
                <a:cubicBezTo>
                  <a:pt x="5931361" y="1332633"/>
                  <a:pt x="5930295" y="1331352"/>
                  <a:pt x="5928160" y="1330214"/>
                </a:cubicBezTo>
                <a:cubicBezTo>
                  <a:pt x="5928587" y="1326657"/>
                  <a:pt x="5925386" y="1322958"/>
                  <a:pt x="5930721" y="1315845"/>
                </a:cubicBezTo>
                <a:cubicBezTo>
                  <a:pt x="5937337" y="1308732"/>
                  <a:pt x="5943527" y="1314849"/>
                  <a:pt x="5943740" y="1313568"/>
                </a:cubicBezTo>
                <a:cubicBezTo>
                  <a:pt x="5945020" y="1312431"/>
                  <a:pt x="5945020" y="1312573"/>
                  <a:pt x="5945020" y="1311293"/>
                </a:cubicBezTo>
                <a:cubicBezTo>
                  <a:pt x="5946301" y="1311293"/>
                  <a:pt x="5948649" y="1310154"/>
                  <a:pt x="5949929" y="1309016"/>
                </a:cubicBezTo>
                <a:close/>
                <a:moveTo>
                  <a:pt x="3515023" y="1308874"/>
                </a:moveTo>
                <a:cubicBezTo>
                  <a:pt x="3516091" y="1309016"/>
                  <a:pt x="3517157" y="1309585"/>
                  <a:pt x="3517798" y="1309870"/>
                </a:cubicBezTo>
                <a:cubicBezTo>
                  <a:pt x="3514596" y="1311150"/>
                  <a:pt x="3513956" y="1312715"/>
                  <a:pt x="3513529" y="1311577"/>
                </a:cubicBezTo>
                <a:cubicBezTo>
                  <a:pt x="3512462" y="1312004"/>
                  <a:pt x="3512248" y="1310866"/>
                  <a:pt x="3513316" y="1310439"/>
                </a:cubicBezTo>
                <a:cubicBezTo>
                  <a:pt x="3513529" y="1309159"/>
                  <a:pt x="3514169" y="1308874"/>
                  <a:pt x="3515023" y="1308874"/>
                </a:cubicBezTo>
                <a:close/>
                <a:moveTo>
                  <a:pt x="1333438" y="1308780"/>
                </a:moveTo>
                <a:cubicBezTo>
                  <a:pt x="1335542" y="1309361"/>
                  <a:pt x="1337478" y="1311374"/>
                  <a:pt x="1339130" y="1315557"/>
                </a:cubicBezTo>
                <a:lnTo>
                  <a:pt x="1334277" y="1316641"/>
                </a:lnTo>
                <a:lnTo>
                  <a:pt x="1335206" y="1317880"/>
                </a:lnTo>
                <a:cubicBezTo>
                  <a:pt x="1335929" y="1318345"/>
                  <a:pt x="1333864" y="1320049"/>
                  <a:pt x="1333864" y="1320049"/>
                </a:cubicBezTo>
                <a:cubicBezTo>
                  <a:pt x="1333244" y="1320049"/>
                  <a:pt x="1332522" y="1319429"/>
                  <a:pt x="1331902" y="1318655"/>
                </a:cubicBezTo>
                <a:lnTo>
                  <a:pt x="1331076" y="1317570"/>
                </a:lnTo>
                <a:lnTo>
                  <a:pt x="1324984" y="1320513"/>
                </a:lnTo>
                <a:cubicBezTo>
                  <a:pt x="1320647" y="1322837"/>
                  <a:pt x="1316517" y="1324541"/>
                  <a:pt x="1312697" y="1322837"/>
                </a:cubicBezTo>
                <a:cubicBezTo>
                  <a:pt x="1314968" y="1321443"/>
                  <a:pt x="1317343" y="1319119"/>
                  <a:pt x="1319718" y="1316796"/>
                </a:cubicBezTo>
                <a:lnTo>
                  <a:pt x="1324468" y="1312614"/>
                </a:lnTo>
                <a:lnTo>
                  <a:pt x="1324158" y="1312614"/>
                </a:lnTo>
                <a:cubicBezTo>
                  <a:pt x="1323641" y="1312149"/>
                  <a:pt x="1323435" y="1311375"/>
                  <a:pt x="1323022" y="1310136"/>
                </a:cubicBezTo>
                <a:cubicBezTo>
                  <a:pt x="1323848" y="1309825"/>
                  <a:pt x="1324571" y="1309516"/>
                  <a:pt x="1325191" y="1309670"/>
                </a:cubicBezTo>
                <a:lnTo>
                  <a:pt x="1326430" y="1310910"/>
                </a:lnTo>
                <a:lnTo>
                  <a:pt x="1326739" y="1310600"/>
                </a:lnTo>
                <a:cubicBezTo>
                  <a:pt x="1329063" y="1309051"/>
                  <a:pt x="1331334" y="1308199"/>
                  <a:pt x="1333438" y="1308780"/>
                </a:cubicBezTo>
                <a:close/>
                <a:moveTo>
                  <a:pt x="3909209" y="1308589"/>
                </a:moveTo>
                <a:cubicBezTo>
                  <a:pt x="3910277" y="1308732"/>
                  <a:pt x="3911344" y="1309016"/>
                  <a:pt x="3912197" y="1309870"/>
                </a:cubicBezTo>
                <a:cubicBezTo>
                  <a:pt x="3906435" y="1316699"/>
                  <a:pt x="3894910" y="1337612"/>
                  <a:pt x="3885093" y="1329503"/>
                </a:cubicBezTo>
                <a:cubicBezTo>
                  <a:pt x="3889788" y="1324524"/>
                  <a:pt x="3901740" y="1308163"/>
                  <a:pt x="3909209" y="1308589"/>
                </a:cubicBezTo>
                <a:close/>
                <a:moveTo>
                  <a:pt x="1502069" y="1307792"/>
                </a:moveTo>
                <a:cubicBezTo>
                  <a:pt x="1503617" y="1308664"/>
                  <a:pt x="1504805" y="1310522"/>
                  <a:pt x="1504753" y="1311839"/>
                </a:cubicBezTo>
                <a:cubicBezTo>
                  <a:pt x="1501965" y="1316176"/>
                  <a:pt x="1497112" y="1312149"/>
                  <a:pt x="1497215" y="1309670"/>
                </a:cubicBezTo>
                <a:cubicBezTo>
                  <a:pt x="1498609" y="1307037"/>
                  <a:pt x="1500520" y="1306921"/>
                  <a:pt x="1502069" y="1307792"/>
                </a:cubicBezTo>
                <a:close/>
                <a:moveTo>
                  <a:pt x="4126684" y="1306740"/>
                </a:moveTo>
                <a:lnTo>
                  <a:pt x="4126897" y="1307024"/>
                </a:lnTo>
                <a:lnTo>
                  <a:pt x="4127751" y="1306740"/>
                </a:lnTo>
                <a:close/>
                <a:moveTo>
                  <a:pt x="1751639" y="1306728"/>
                </a:moveTo>
                <a:cubicBezTo>
                  <a:pt x="1753188" y="1311839"/>
                  <a:pt x="1755046" y="1318500"/>
                  <a:pt x="1757731" y="1320049"/>
                </a:cubicBezTo>
                <a:lnTo>
                  <a:pt x="1759796" y="1319894"/>
                </a:lnTo>
                <a:lnTo>
                  <a:pt x="1759176" y="1318500"/>
                </a:lnTo>
                <a:cubicBezTo>
                  <a:pt x="1762377" y="1316641"/>
                  <a:pt x="1764959" y="1320358"/>
                  <a:pt x="1763926" y="1322372"/>
                </a:cubicBezTo>
                <a:cubicBezTo>
                  <a:pt x="1763616" y="1322992"/>
                  <a:pt x="1762791" y="1323457"/>
                  <a:pt x="1761551" y="1323457"/>
                </a:cubicBezTo>
                <a:lnTo>
                  <a:pt x="1760312" y="1320668"/>
                </a:lnTo>
                <a:lnTo>
                  <a:pt x="1759486" y="1322372"/>
                </a:lnTo>
                <a:cubicBezTo>
                  <a:pt x="1758763" y="1322837"/>
                  <a:pt x="1758040" y="1323457"/>
                  <a:pt x="1758660" y="1324850"/>
                </a:cubicBezTo>
                <a:cubicBezTo>
                  <a:pt x="1761035" y="1329188"/>
                  <a:pt x="1764339" y="1332131"/>
                  <a:pt x="1767437" y="1338946"/>
                </a:cubicBezTo>
                <a:lnTo>
                  <a:pt x="1767747" y="1339565"/>
                </a:lnTo>
                <a:lnTo>
                  <a:pt x="1769915" y="1338017"/>
                </a:lnTo>
                <a:lnTo>
                  <a:pt x="1770741" y="1338017"/>
                </a:lnTo>
                <a:lnTo>
                  <a:pt x="1769915" y="1334609"/>
                </a:lnTo>
                <a:cubicBezTo>
                  <a:pt x="1768263" y="1328878"/>
                  <a:pt x="1767230" y="1323766"/>
                  <a:pt x="1765062" y="1319119"/>
                </a:cubicBezTo>
                <a:cubicBezTo>
                  <a:pt x="1767230" y="1320358"/>
                  <a:pt x="1768263" y="1319739"/>
                  <a:pt x="1768263" y="1316951"/>
                </a:cubicBezTo>
                <a:cubicBezTo>
                  <a:pt x="1765578" y="1317415"/>
                  <a:pt x="1762377" y="1309980"/>
                  <a:pt x="1760725" y="1314627"/>
                </a:cubicBezTo>
                <a:cubicBezTo>
                  <a:pt x="1759176" y="1312924"/>
                  <a:pt x="1757525" y="1308432"/>
                  <a:pt x="1758040" y="1306728"/>
                </a:cubicBezTo>
                <a:cubicBezTo>
                  <a:pt x="1757008" y="1305489"/>
                  <a:pt x="1755356" y="1306108"/>
                  <a:pt x="1751639" y="1306728"/>
                </a:cubicBezTo>
                <a:close/>
                <a:moveTo>
                  <a:pt x="4142904" y="1306455"/>
                </a:moveTo>
                <a:lnTo>
                  <a:pt x="4146746" y="1309159"/>
                </a:lnTo>
                <a:lnTo>
                  <a:pt x="4148026" y="1309159"/>
                </a:lnTo>
                <a:cubicBezTo>
                  <a:pt x="4149093" y="1309585"/>
                  <a:pt x="4149947" y="1310439"/>
                  <a:pt x="4150374" y="1312004"/>
                </a:cubicBezTo>
                <a:lnTo>
                  <a:pt x="4150587" y="1313568"/>
                </a:lnTo>
                <a:lnTo>
                  <a:pt x="4152935" y="1317837"/>
                </a:lnTo>
                <a:lnTo>
                  <a:pt x="4150801" y="1317837"/>
                </a:lnTo>
                <a:lnTo>
                  <a:pt x="4148666" y="1321678"/>
                </a:lnTo>
                <a:cubicBezTo>
                  <a:pt x="4148666" y="1324381"/>
                  <a:pt x="4150160" y="1326657"/>
                  <a:pt x="4148239" y="1328080"/>
                </a:cubicBezTo>
                <a:cubicBezTo>
                  <a:pt x="4147599" y="1323812"/>
                  <a:pt x="4146959" y="1322247"/>
                  <a:pt x="4146959" y="1319544"/>
                </a:cubicBezTo>
                <a:lnTo>
                  <a:pt x="4145892" y="1318263"/>
                </a:lnTo>
                <a:lnTo>
                  <a:pt x="4145678" y="1318263"/>
                </a:lnTo>
                <a:lnTo>
                  <a:pt x="4145251" y="1317695"/>
                </a:lnTo>
                <a:lnTo>
                  <a:pt x="4144398" y="1316699"/>
                </a:lnTo>
                <a:lnTo>
                  <a:pt x="4144398" y="1316130"/>
                </a:lnTo>
                <a:lnTo>
                  <a:pt x="4142477" y="1313568"/>
                </a:lnTo>
                <a:cubicBezTo>
                  <a:pt x="4140556" y="1311577"/>
                  <a:pt x="4138422" y="1309443"/>
                  <a:pt x="4138422" y="1309443"/>
                </a:cubicBezTo>
                <a:cubicBezTo>
                  <a:pt x="4138849" y="1306171"/>
                  <a:pt x="4138849" y="1306171"/>
                  <a:pt x="4142904" y="1306455"/>
                </a:cubicBezTo>
                <a:close/>
                <a:moveTo>
                  <a:pt x="3736980" y="1306029"/>
                </a:moveTo>
                <a:cubicBezTo>
                  <a:pt x="3738687" y="1305602"/>
                  <a:pt x="3740608" y="1305886"/>
                  <a:pt x="3742529" y="1306313"/>
                </a:cubicBezTo>
                <a:cubicBezTo>
                  <a:pt x="3741248" y="1306455"/>
                  <a:pt x="3741461" y="1306313"/>
                  <a:pt x="3741461" y="1306313"/>
                </a:cubicBezTo>
                <a:cubicBezTo>
                  <a:pt x="3740394" y="1307594"/>
                  <a:pt x="3741461" y="1307594"/>
                  <a:pt x="3741675" y="1308874"/>
                </a:cubicBezTo>
                <a:cubicBezTo>
                  <a:pt x="3741675" y="1308874"/>
                  <a:pt x="3741461" y="1307594"/>
                  <a:pt x="3742956" y="1308732"/>
                </a:cubicBezTo>
                <a:cubicBezTo>
                  <a:pt x="3741675" y="1308874"/>
                  <a:pt x="3741889" y="1310012"/>
                  <a:pt x="3741889" y="1311293"/>
                </a:cubicBezTo>
                <a:cubicBezTo>
                  <a:pt x="3739968" y="1313853"/>
                  <a:pt x="3736980" y="1316414"/>
                  <a:pt x="3734418" y="1315276"/>
                </a:cubicBezTo>
                <a:cubicBezTo>
                  <a:pt x="3731858" y="1313000"/>
                  <a:pt x="3732498" y="1310581"/>
                  <a:pt x="3733565" y="1309301"/>
                </a:cubicBezTo>
                <a:cubicBezTo>
                  <a:pt x="3733778" y="1307451"/>
                  <a:pt x="3735272" y="1306455"/>
                  <a:pt x="3736980" y="1306029"/>
                </a:cubicBezTo>
                <a:close/>
                <a:moveTo>
                  <a:pt x="1382498" y="1304714"/>
                </a:moveTo>
                <a:cubicBezTo>
                  <a:pt x="1383737" y="1305024"/>
                  <a:pt x="1384666" y="1306263"/>
                  <a:pt x="1385286" y="1308896"/>
                </a:cubicBezTo>
                <a:cubicBezTo>
                  <a:pt x="1384150" y="1310445"/>
                  <a:pt x="1380639" y="1309980"/>
                  <a:pt x="1378677" y="1310290"/>
                </a:cubicBezTo>
                <a:cubicBezTo>
                  <a:pt x="1378987" y="1309051"/>
                  <a:pt x="1379297" y="1307967"/>
                  <a:pt x="1378574" y="1308432"/>
                </a:cubicBezTo>
                <a:cubicBezTo>
                  <a:pt x="1378884" y="1307192"/>
                  <a:pt x="1379297" y="1306418"/>
                  <a:pt x="1380020" y="1305798"/>
                </a:cubicBezTo>
                <a:cubicBezTo>
                  <a:pt x="1380742" y="1305179"/>
                  <a:pt x="1381568" y="1304869"/>
                  <a:pt x="1382498" y="1304714"/>
                </a:cubicBezTo>
                <a:close/>
                <a:moveTo>
                  <a:pt x="1271394" y="1303165"/>
                </a:moveTo>
                <a:cubicBezTo>
                  <a:pt x="1273253" y="1304559"/>
                  <a:pt x="1271600" y="1307347"/>
                  <a:pt x="1270671" y="1307502"/>
                </a:cubicBezTo>
                <a:cubicBezTo>
                  <a:pt x="1269742" y="1306728"/>
                  <a:pt x="1269742" y="1305179"/>
                  <a:pt x="1268813" y="1304404"/>
                </a:cubicBezTo>
                <a:cubicBezTo>
                  <a:pt x="1269639" y="1304249"/>
                  <a:pt x="1270465" y="1303320"/>
                  <a:pt x="1271394" y="1303165"/>
                </a:cubicBezTo>
                <a:close/>
                <a:moveTo>
                  <a:pt x="1255183" y="1301926"/>
                </a:moveTo>
                <a:cubicBezTo>
                  <a:pt x="1258487" y="1301461"/>
                  <a:pt x="1259933" y="1301926"/>
                  <a:pt x="1260346" y="1302855"/>
                </a:cubicBezTo>
                <a:cubicBezTo>
                  <a:pt x="1261585" y="1305179"/>
                  <a:pt x="1253324" y="1310290"/>
                  <a:pt x="1255183" y="1301926"/>
                </a:cubicBezTo>
                <a:close/>
                <a:moveTo>
                  <a:pt x="3878477" y="1301191"/>
                </a:moveTo>
                <a:cubicBezTo>
                  <a:pt x="3879971" y="1301760"/>
                  <a:pt x="3881251" y="1303325"/>
                  <a:pt x="3882105" y="1305032"/>
                </a:cubicBezTo>
                <a:cubicBezTo>
                  <a:pt x="3882532" y="1306171"/>
                  <a:pt x="3882959" y="1307451"/>
                  <a:pt x="3882745" y="1308304"/>
                </a:cubicBezTo>
                <a:cubicBezTo>
                  <a:pt x="3878477" y="1313996"/>
                  <a:pt x="3872715" y="1307451"/>
                  <a:pt x="3873355" y="1303894"/>
                </a:cubicBezTo>
                <a:cubicBezTo>
                  <a:pt x="3875062" y="1301191"/>
                  <a:pt x="3876769" y="1300623"/>
                  <a:pt x="3878477" y="1301191"/>
                </a:cubicBezTo>
                <a:close/>
                <a:moveTo>
                  <a:pt x="3680210" y="1301049"/>
                </a:moveTo>
                <a:cubicBezTo>
                  <a:pt x="3681064" y="1300765"/>
                  <a:pt x="3681704" y="1300765"/>
                  <a:pt x="3682344" y="1301334"/>
                </a:cubicBezTo>
                <a:cubicBezTo>
                  <a:pt x="3680424" y="1303894"/>
                  <a:pt x="3678930" y="1308874"/>
                  <a:pt x="3674234" y="1307878"/>
                </a:cubicBezTo>
                <a:cubicBezTo>
                  <a:pt x="3675515" y="1306029"/>
                  <a:pt x="3678076" y="1302045"/>
                  <a:pt x="3680210" y="1301049"/>
                </a:cubicBezTo>
                <a:close/>
                <a:moveTo>
                  <a:pt x="3988388" y="1299627"/>
                </a:moveTo>
                <a:cubicBezTo>
                  <a:pt x="3993084" y="1300053"/>
                  <a:pt x="3995431" y="1302899"/>
                  <a:pt x="3996925" y="1306740"/>
                </a:cubicBezTo>
                <a:lnTo>
                  <a:pt x="3999486" y="1316272"/>
                </a:lnTo>
                <a:lnTo>
                  <a:pt x="4001193" y="1317695"/>
                </a:lnTo>
                <a:lnTo>
                  <a:pt x="4005462" y="1314138"/>
                </a:lnTo>
                <a:cubicBezTo>
                  <a:pt x="4010797" y="1309301"/>
                  <a:pt x="4016773" y="1304748"/>
                  <a:pt x="4021041" y="1309727"/>
                </a:cubicBezTo>
                <a:cubicBezTo>
                  <a:pt x="4020828" y="1314565"/>
                  <a:pt x="4017627" y="1317695"/>
                  <a:pt x="4013785" y="1320540"/>
                </a:cubicBezTo>
                <a:lnTo>
                  <a:pt x="4008236" y="1324950"/>
                </a:lnTo>
                <a:lnTo>
                  <a:pt x="4010371" y="1328080"/>
                </a:lnTo>
                <a:cubicBezTo>
                  <a:pt x="4011438" y="1330499"/>
                  <a:pt x="4011651" y="1333060"/>
                  <a:pt x="4010797" y="1335336"/>
                </a:cubicBezTo>
                <a:cubicBezTo>
                  <a:pt x="4008236" y="1332917"/>
                  <a:pt x="4005675" y="1331068"/>
                  <a:pt x="4002901" y="1329361"/>
                </a:cubicBezTo>
                <a:lnTo>
                  <a:pt x="4002687" y="1329076"/>
                </a:lnTo>
                <a:lnTo>
                  <a:pt x="4001833" y="1329787"/>
                </a:lnTo>
                <a:cubicBezTo>
                  <a:pt x="4000340" y="1333344"/>
                  <a:pt x="4002047" y="1336474"/>
                  <a:pt x="3999913" y="1340030"/>
                </a:cubicBezTo>
                <a:lnTo>
                  <a:pt x="3998419" y="1341596"/>
                </a:lnTo>
                <a:lnTo>
                  <a:pt x="3998632" y="1347429"/>
                </a:lnTo>
                <a:cubicBezTo>
                  <a:pt x="3996285" y="1348567"/>
                  <a:pt x="3992657" y="1344726"/>
                  <a:pt x="3990309" y="1343445"/>
                </a:cubicBezTo>
                <a:cubicBezTo>
                  <a:pt x="3991376" y="1342307"/>
                  <a:pt x="3992657" y="1341169"/>
                  <a:pt x="3991376" y="1341169"/>
                </a:cubicBezTo>
                <a:lnTo>
                  <a:pt x="3994150" y="1339746"/>
                </a:lnTo>
                <a:lnTo>
                  <a:pt x="3992870" y="1337043"/>
                </a:lnTo>
                <a:lnTo>
                  <a:pt x="3991589" y="1338466"/>
                </a:lnTo>
                <a:cubicBezTo>
                  <a:pt x="3988815" y="1340884"/>
                  <a:pt x="3985400" y="1342876"/>
                  <a:pt x="3981986" y="1344726"/>
                </a:cubicBezTo>
                <a:lnTo>
                  <a:pt x="3975796" y="1347571"/>
                </a:lnTo>
                <a:lnTo>
                  <a:pt x="3978571" y="1348851"/>
                </a:lnTo>
                <a:cubicBezTo>
                  <a:pt x="3983266" y="1352408"/>
                  <a:pt x="3983266" y="1356534"/>
                  <a:pt x="3984546" y="1356818"/>
                </a:cubicBezTo>
                <a:cubicBezTo>
                  <a:pt x="3982839" y="1361798"/>
                  <a:pt x="3979851" y="1360944"/>
                  <a:pt x="3974730" y="1361513"/>
                </a:cubicBezTo>
                <a:cubicBezTo>
                  <a:pt x="3975156" y="1359806"/>
                  <a:pt x="3970461" y="1358668"/>
                  <a:pt x="3968754" y="1358383"/>
                </a:cubicBezTo>
                <a:cubicBezTo>
                  <a:pt x="3969394" y="1356676"/>
                  <a:pt x="3968327" y="1355253"/>
                  <a:pt x="3967260" y="1353688"/>
                </a:cubicBezTo>
                <a:lnTo>
                  <a:pt x="3966406" y="1351555"/>
                </a:lnTo>
                <a:lnTo>
                  <a:pt x="3948052" y="1358952"/>
                </a:lnTo>
                <a:cubicBezTo>
                  <a:pt x="3947625" y="1354684"/>
                  <a:pt x="3944637" y="1352835"/>
                  <a:pt x="3945491" y="1346148"/>
                </a:cubicBezTo>
                <a:cubicBezTo>
                  <a:pt x="3955735" y="1343445"/>
                  <a:pt x="3965552" y="1339604"/>
                  <a:pt x="3974730" y="1335905"/>
                </a:cubicBezTo>
                <a:lnTo>
                  <a:pt x="3989882" y="1330926"/>
                </a:lnTo>
                <a:lnTo>
                  <a:pt x="3987961" y="1326799"/>
                </a:lnTo>
                <a:lnTo>
                  <a:pt x="3987108" y="1318833"/>
                </a:lnTo>
                <a:lnTo>
                  <a:pt x="3979851" y="1311293"/>
                </a:lnTo>
                <a:lnTo>
                  <a:pt x="3986467" y="1311293"/>
                </a:lnTo>
                <a:lnTo>
                  <a:pt x="3986254" y="1310297"/>
                </a:lnTo>
                <a:cubicBezTo>
                  <a:pt x="3986467" y="1306597"/>
                  <a:pt x="3987321" y="1303183"/>
                  <a:pt x="3988388" y="1299627"/>
                </a:cubicBezTo>
                <a:close/>
                <a:moveTo>
                  <a:pt x="1675849" y="1298518"/>
                </a:moveTo>
                <a:cubicBezTo>
                  <a:pt x="1676571" y="1298673"/>
                  <a:pt x="1677398" y="1299137"/>
                  <a:pt x="1677810" y="1300222"/>
                </a:cubicBezTo>
                <a:cubicBezTo>
                  <a:pt x="1676571" y="1301771"/>
                  <a:pt x="1675436" y="1302546"/>
                  <a:pt x="1673370" y="1303939"/>
                </a:cubicBezTo>
                <a:cubicBezTo>
                  <a:pt x="1672648" y="1303320"/>
                  <a:pt x="1672338" y="1302700"/>
                  <a:pt x="1672338" y="1302081"/>
                </a:cubicBezTo>
                <a:cubicBezTo>
                  <a:pt x="1672028" y="1300222"/>
                  <a:pt x="1674093" y="1298363"/>
                  <a:pt x="1675849" y="1298518"/>
                </a:cubicBezTo>
                <a:close/>
                <a:moveTo>
                  <a:pt x="1449304" y="1298518"/>
                </a:moveTo>
                <a:cubicBezTo>
                  <a:pt x="1459527" y="1301461"/>
                  <a:pt x="1469130" y="1300996"/>
                  <a:pt x="1479352" y="1303939"/>
                </a:cubicBezTo>
                <a:cubicBezTo>
                  <a:pt x="1479869" y="1306572"/>
                  <a:pt x="1481211" y="1309206"/>
                  <a:pt x="1482863" y="1311684"/>
                </a:cubicBezTo>
                <a:lnTo>
                  <a:pt x="1485238" y="1314937"/>
                </a:lnTo>
                <a:lnTo>
                  <a:pt x="1497422" y="1316951"/>
                </a:lnTo>
                <a:cubicBezTo>
                  <a:pt x="1500829" y="1318190"/>
                  <a:pt x="1503514" y="1319894"/>
                  <a:pt x="1505786" y="1321753"/>
                </a:cubicBezTo>
                <a:lnTo>
                  <a:pt x="1508883" y="1325470"/>
                </a:lnTo>
                <a:lnTo>
                  <a:pt x="1512084" y="1321133"/>
                </a:lnTo>
                <a:cubicBezTo>
                  <a:pt x="1516524" y="1315247"/>
                  <a:pt x="1522823" y="1307192"/>
                  <a:pt x="1527160" y="1310136"/>
                </a:cubicBezTo>
                <a:cubicBezTo>
                  <a:pt x="1523959" y="1314627"/>
                  <a:pt x="1518383" y="1327019"/>
                  <a:pt x="1511465" y="1326864"/>
                </a:cubicBezTo>
                <a:lnTo>
                  <a:pt x="1509813" y="1326400"/>
                </a:lnTo>
                <a:lnTo>
                  <a:pt x="1511362" y="1328258"/>
                </a:lnTo>
                <a:cubicBezTo>
                  <a:pt x="1514666" y="1332905"/>
                  <a:pt x="1517350" y="1338326"/>
                  <a:pt x="1521997" y="1343593"/>
                </a:cubicBezTo>
                <a:lnTo>
                  <a:pt x="1520861" y="1345607"/>
                </a:lnTo>
                <a:lnTo>
                  <a:pt x="1521481" y="1344987"/>
                </a:lnTo>
                <a:cubicBezTo>
                  <a:pt x="1522410" y="1343903"/>
                  <a:pt x="1523236" y="1343128"/>
                  <a:pt x="1523856" y="1342664"/>
                </a:cubicBezTo>
                <a:cubicBezTo>
                  <a:pt x="1522410" y="1344522"/>
                  <a:pt x="1521171" y="1346691"/>
                  <a:pt x="1519726" y="1348859"/>
                </a:cubicBezTo>
                <a:lnTo>
                  <a:pt x="1518899" y="1349634"/>
                </a:lnTo>
                <a:lnTo>
                  <a:pt x="1518590" y="1354126"/>
                </a:lnTo>
                <a:cubicBezTo>
                  <a:pt x="1518899" y="1357224"/>
                  <a:pt x="1520138" y="1360012"/>
                  <a:pt x="1520655" y="1362955"/>
                </a:cubicBezTo>
                <a:cubicBezTo>
                  <a:pt x="1513633" y="1366053"/>
                  <a:pt x="1509193" y="1374727"/>
                  <a:pt x="1502895" y="1380303"/>
                </a:cubicBezTo>
                <a:cubicBezTo>
                  <a:pt x="1491846" y="1378909"/>
                  <a:pt x="1482656" y="1380613"/>
                  <a:pt x="1471711" y="1379374"/>
                </a:cubicBezTo>
                <a:cubicBezTo>
                  <a:pt x="1468820" y="1374107"/>
                  <a:pt x="1463038" y="1370080"/>
                  <a:pt x="1457875" y="1365588"/>
                </a:cubicBezTo>
                <a:lnTo>
                  <a:pt x="1456636" y="1364349"/>
                </a:lnTo>
                <a:lnTo>
                  <a:pt x="1445071" y="1364969"/>
                </a:lnTo>
                <a:lnTo>
                  <a:pt x="1435778" y="1361871"/>
                </a:lnTo>
                <a:lnTo>
                  <a:pt x="1433919" y="1366982"/>
                </a:lnTo>
                <a:lnTo>
                  <a:pt x="1433197" y="1368841"/>
                </a:lnTo>
                <a:lnTo>
                  <a:pt x="1434126" y="1368686"/>
                </a:lnTo>
                <a:lnTo>
                  <a:pt x="1433093" y="1369151"/>
                </a:lnTo>
                <a:lnTo>
                  <a:pt x="1431132" y="1373798"/>
                </a:lnTo>
                <a:cubicBezTo>
                  <a:pt x="1429066" y="1378135"/>
                  <a:pt x="1426382" y="1381388"/>
                  <a:pt x="1422871" y="1379993"/>
                </a:cubicBezTo>
                <a:cubicBezTo>
                  <a:pt x="1423284" y="1378754"/>
                  <a:pt x="1423594" y="1377050"/>
                  <a:pt x="1424110" y="1375037"/>
                </a:cubicBezTo>
                <a:lnTo>
                  <a:pt x="1425246" y="1371164"/>
                </a:lnTo>
                <a:lnTo>
                  <a:pt x="1424420" y="1371010"/>
                </a:lnTo>
                <a:lnTo>
                  <a:pt x="1425349" y="1370700"/>
                </a:lnTo>
                <a:lnTo>
                  <a:pt x="1425762" y="1369151"/>
                </a:lnTo>
                <a:cubicBezTo>
                  <a:pt x="1427105" y="1365279"/>
                  <a:pt x="1429169" y="1361871"/>
                  <a:pt x="1432577" y="1361406"/>
                </a:cubicBezTo>
                <a:lnTo>
                  <a:pt x="1434849" y="1361716"/>
                </a:lnTo>
                <a:lnTo>
                  <a:pt x="1433506" y="1361251"/>
                </a:lnTo>
                <a:cubicBezTo>
                  <a:pt x="1421735" y="1354281"/>
                  <a:pt x="1423903" y="1343283"/>
                  <a:pt x="1418431" y="1331821"/>
                </a:cubicBezTo>
                <a:cubicBezTo>
                  <a:pt x="1427414" y="1324696"/>
                  <a:pt x="1425039" y="1318809"/>
                  <a:pt x="1426175" y="1312924"/>
                </a:cubicBezTo>
                <a:cubicBezTo>
                  <a:pt x="1434126" y="1310910"/>
                  <a:pt x="1441354" y="1303010"/>
                  <a:pt x="1449304" y="1298518"/>
                </a:cubicBezTo>
                <a:close/>
                <a:moveTo>
                  <a:pt x="4330287" y="1298488"/>
                </a:moveTo>
                <a:cubicBezTo>
                  <a:pt x="4331354" y="1301618"/>
                  <a:pt x="4329860" y="1307309"/>
                  <a:pt x="4326658" y="1308874"/>
                </a:cubicBezTo>
                <a:cubicBezTo>
                  <a:pt x="4322604" y="1308304"/>
                  <a:pt x="4323030" y="1305744"/>
                  <a:pt x="4320469" y="1305744"/>
                </a:cubicBezTo>
                <a:cubicBezTo>
                  <a:pt x="4321963" y="1300053"/>
                  <a:pt x="4325164" y="1298488"/>
                  <a:pt x="4330287" y="1298488"/>
                </a:cubicBezTo>
                <a:close/>
                <a:moveTo>
                  <a:pt x="1547604" y="1297744"/>
                </a:moveTo>
                <a:cubicBezTo>
                  <a:pt x="1547398" y="1299447"/>
                  <a:pt x="1545023" y="1308586"/>
                  <a:pt x="1542958" y="1310910"/>
                </a:cubicBezTo>
                <a:cubicBezTo>
                  <a:pt x="1544507" y="1306882"/>
                  <a:pt x="1544610" y="1300996"/>
                  <a:pt x="1547604" y="1297744"/>
                </a:cubicBezTo>
                <a:close/>
                <a:moveTo>
                  <a:pt x="1648692" y="1297589"/>
                </a:moveTo>
                <a:cubicBezTo>
                  <a:pt x="1650551" y="1299602"/>
                  <a:pt x="1651170" y="1302546"/>
                  <a:pt x="1650448" y="1305334"/>
                </a:cubicBezTo>
                <a:cubicBezTo>
                  <a:pt x="1645595" y="1304714"/>
                  <a:pt x="1643220" y="1302081"/>
                  <a:pt x="1641465" y="1297744"/>
                </a:cubicBezTo>
                <a:cubicBezTo>
                  <a:pt x="1642703" y="1296814"/>
                  <a:pt x="1646317" y="1297279"/>
                  <a:pt x="1648692" y="1297589"/>
                </a:cubicBezTo>
                <a:close/>
                <a:moveTo>
                  <a:pt x="3463376" y="1297208"/>
                </a:moveTo>
                <a:lnTo>
                  <a:pt x="3462736" y="1297919"/>
                </a:lnTo>
                <a:lnTo>
                  <a:pt x="3464869" y="1297777"/>
                </a:lnTo>
                <a:close/>
                <a:moveTo>
                  <a:pt x="1386422" y="1296969"/>
                </a:moveTo>
                <a:lnTo>
                  <a:pt x="1388487" y="1298518"/>
                </a:lnTo>
                <a:lnTo>
                  <a:pt x="1388487" y="1297744"/>
                </a:lnTo>
                <a:cubicBezTo>
                  <a:pt x="1391275" y="1295111"/>
                  <a:pt x="1392927" y="1296814"/>
                  <a:pt x="1396334" y="1298363"/>
                </a:cubicBezTo>
                <a:cubicBezTo>
                  <a:pt x="1395405" y="1299137"/>
                  <a:pt x="1397986" y="1301616"/>
                  <a:pt x="1398812" y="1302391"/>
                </a:cubicBezTo>
                <a:cubicBezTo>
                  <a:pt x="1396954" y="1304249"/>
                  <a:pt x="1399535" y="1307502"/>
                  <a:pt x="1396747" y="1310136"/>
                </a:cubicBezTo>
                <a:cubicBezTo>
                  <a:pt x="1394992" y="1310136"/>
                  <a:pt x="1394062" y="1310136"/>
                  <a:pt x="1392307" y="1309361"/>
                </a:cubicBezTo>
                <a:cubicBezTo>
                  <a:pt x="1390862" y="1307812"/>
                  <a:pt x="1389932" y="1306418"/>
                  <a:pt x="1389416" y="1305024"/>
                </a:cubicBezTo>
                <a:lnTo>
                  <a:pt x="1388487" y="1301771"/>
                </a:lnTo>
                <a:lnTo>
                  <a:pt x="1386834" y="1301771"/>
                </a:lnTo>
                <a:cubicBezTo>
                  <a:pt x="1385699" y="1301461"/>
                  <a:pt x="1384769" y="1300377"/>
                  <a:pt x="1384873" y="1299292"/>
                </a:cubicBezTo>
                <a:cubicBezTo>
                  <a:pt x="1384873" y="1298518"/>
                  <a:pt x="1385389" y="1297744"/>
                  <a:pt x="1386422" y="1296969"/>
                </a:cubicBezTo>
                <a:close/>
                <a:moveTo>
                  <a:pt x="1416572" y="1296659"/>
                </a:moveTo>
                <a:cubicBezTo>
                  <a:pt x="1415333" y="1305024"/>
                  <a:pt x="1415850" y="1313233"/>
                  <a:pt x="1406763" y="1322062"/>
                </a:cubicBezTo>
                <a:cubicBezTo>
                  <a:pt x="1404285" y="1321288"/>
                  <a:pt x="1399741" y="1323147"/>
                  <a:pt x="1399122" y="1318964"/>
                </a:cubicBezTo>
                <a:cubicBezTo>
                  <a:pt x="1409758" y="1313543"/>
                  <a:pt x="1406040" y="1298673"/>
                  <a:pt x="1416572" y="1296659"/>
                </a:cubicBezTo>
                <a:close/>
                <a:moveTo>
                  <a:pt x="1040849" y="1296078"/>
                </a:moveTo>
                <a:cubicBezTo>
                  <a:pt x="1043998" y="1295924"/>
                  <a:pt x="1047018" y="1297511"/>
                  <a:pt x="1047741" y="1300222"/>
                </a:cubicBezTo>
                <a:cubicBezTo>
                  <a:pt x="1048258" y="1302081"/>
                  <a:pt x="1047638" y="1304404"/>
                  <a:pt x="1045366" y="1307037"/>
                </a:cubicBezTo>
                <a:cubicBezTo>
                  <a:pt x="1040203" y="1304559"/>
                  <a:pt x="1036176" y="1306728"/>
                  <a:pt x="1033182" y="1302391"/>
                </a:cubicBezTo>
                <a:cubicBezTo>
                  <a:pt x="1034421" y="1298131"/>
                  <a:pt x="1037699" y="1296233"/>
                  <a:pt x="1040849" y="1296078"/>
                </a:cubicBezTo>
                <a:close/>
                <a:moveTo>
                  <a:pt x="1071594" y="1295730"/>
                </a:moveTo>
                <a:cubicBezTo>
                  <a:pt x="1078408" y="1298828"/>
                  <a:pt x="1089457" y="1304249"/>
                  <a:pt x="1092658" y="1310755"/>
                </a:cubicBezTo>
                <a:cubicBezTo>
                  <a:pt x="1084500" y="1316951"/>
                  <a:pt x="1073039" y="1301616"/>
                  <a:pt x="1071594" y="1295730"/>
                </a:cubicBezTo>
                <a:close/>
                <a:moveTo>
                  <a:pt x="5422355" y="1295216"/>
                </a:moveTo>
                <a:cubicBezTo>
                  <a:pt x="5423422" y="1295073"/>
                  <a:pt x="5424490" y="1295073"/>
                  <a:pt x="5425130" y="1295643"/>
                </a:cubicBezTo>
                <a:cubicBezTo>
                  <a:pt x="5425557" y="1295928"/>
                  <a:pt x="5425770" y="1296496"/>
                  <a:pt x="5425770" y="1297066"/>
                </a:cubicBezTo>
                <a:cubicBezTo>
                  <a:pt x="5425557" y="1298630"/>
                  <a:pt x="5423422" y="1300765"/>
                  <a:pt x="5423209" y="1301760"/>
                </a:cubicBezTo>
                <a:cubicBezTo>
                  <a:pt x="5421929" y="1302899"/>
                  <a:pt x="5420862" y="1304037"/>
                  <a:pt x="5419794" y="1302899"/>
                </a:cubicBezTo>
                <a:cubicBezTo>
                  <a:pt x="5418727" y="1301618"/>
                  <a:pt x="5417660" y="1301618"/>
                  <a:pt x="5418941" y="1299200"/>
                </a:cubicBezTo>
                <a:cubicBezTo>
                  <a:pt x="5419154" y="1298062"/>
                  <a:pt x="5420435" y="1296923"/>
                  <a:pt x="5420435" y="1295643"/>
                </a:cubicBezTo>
                <a:cubicBezTo>
                  <a:pt x="5420435" y="1295643"/>
                  <a:pt x="5421289" y="1295358"/>
                  <a:pt x="5422355" y="1295216"/>
                </a:cubicBezTo>
                <a:close/>
                <a:moveTo>
                  <a:pt x="1690305" y="1295111"/>
                </a:moveTo>
                <a:cubicBezTo>
                  <a:pt x="1698978" y="1293097"/>
                  <a:pt x="1703521" y="1302700"/>
                  <a:pt x="1695364" y="1307192"/>
                </a:cubicBezTo>
                <a:cubicBezTo>
                  <a:pt x="1692370" y="1305179"/>
                  <a:pt x="1690718" y="1303320"/>
                  <a:pt x="1689995" y="1301306"/>
                </a:cubicBezTo>
                <a:cubicBezTo>
                  <a:pt x="1689582" y="1300222"/>
                  <a:pt x="1689478" y="1299292"/>
                  <a:pt x="1689478" y="1298208"/>
                </a:cubicBezTo>
                <a:cubicBezTo>
                  <a:pt x="1689582" y="1297124"/>
                  <a:pt x="1689892" y="1296195"/>
                  <a:pt x="1690305" y="1295111"/>
                </a:cubicBezTo>
                <a:close/>
                <a:moveTo>
                  <a:pt x="1653236" y="1294801"/>
                </a:moveTo>
                <a:cubicBezTo>
                  <a:pt x="1657779" y="1292168"/>
                  <a:pt x="1665420" y="1293097"/>
                  <a:pt x="1669550" y="1295265"/>
                </a:cubicBezTo>
                <a:cubicBezTo>
                  <a:pt x="1671408" y="1298983"/>
                  <a:pt x="1671305" y="1301771"/>
                  <a:pt x="1670066" y="1303785"/>
                </a:cubicBezTo>
                <a:cubicBezTo>
                  <a:pt x="1666452" y="1309670"/>
                  <a:pt x="1652719" y="1307812"/>
                  <a:pt x="1649828" y="1298673"/>
                </a:cubicBezTo>
                <a:cubicBezTo>
                  <a:pt x="1650448" y="1296969"/>
                  <a:pt x="1651687" y="1295730"/>
                  <a:pt x="1653236" y="1294801"/>
                </a:cubicBezTo>
                <a:close/>
                <a:moveTo>
                  <a:pt x="4241504" y="1294647"/>
                </a:moveTo>
                <a:cubicBezTo>
                  <a:pt x="4241290" y="1298062"/>
                  <a:pt x="4243638" y="1299057"/>
                  <a:pt x="4243212" y="1302472"/>
                </a:cubicBezTo>
                <a:cubicBezTo>
                  <a:pt x="4240010" y="1302330"/>
                  <a:pt x="4237449" y="1303041"/>
                  <a:pt x="4235741" y="1302899"/>
                </a:cubicBezTo>
                <a:cubicBezTo>
                  <a:pt x="4234674" y="1297777"/>
                  <a:pt x="4236809" y="1294363"/>
                  <a:pt x="4241504" y="1294647"/>
                </a:cubicBezTo>
                <a:close/>
                <a:moveTo>
                  <a:pt x="4621178" y="1293509"/>
                </a:moveTo>
                <a:cubicBezTo>
                  <a:pt x="4625446" y="1298346"/>
                  <a:pt x="4627367" y="1304890"/>
                  <a:pt x="4627367" y="1311008"/>
                </a:cubicBezTo>
                <a:lnTo>
                  <a:pt x="4626513" y="1316841"/>
                </a:lnTo>
                <a:lnTo>
                  <a:pt x="4630782" y="1318121"/>
                </a:lnTo>
                <a:cubicBezTo>
                  <a:pt x="4633556" y="1319402"/>
                  <a:pt x="4636117" y="1320967"/>
                  <a:pt x="4638465" y="1322247"/>
                </a:cubicBezTo>
                <a:cubicBezTo>
                  <a:pt x="4633983" y="1324381"/>
                  <a:pt x="4629288" y="1321820"/>
                  <a:pt x="4625019" y="1329930"/>
                </a:cubicBezTo>
                <a:lnTo>
                  <a:pt x="4623099" y="1324950"/>
                </a:lnTo>
                <a:lnTo>
                  <a:pt x="4622672" y="1325662"/>
                </a:lnTo>
                <a:cubicBezTo>
                  <a:pt x="4614348" y="1315987"/>
                  <a:pt x="4617336" y="1300480"/>
                  <a:pt x="4621178" y="1293509"/>
                </a:cubicBezTo>
                <a:close/>
                <a:moveTo>
                  <a:pt x="1500997" y="1291838"/>
                </a:moveTo>
                <a:lnTo>
                  <a:pt x="1503825" y="1291848"/>
                </a:lnTo>
                <a:lnTo>
                  <a:pt x="1503824" y="1291857"/>
                </a:lnTo>
                <a:lnTo>
                  <a:pt x="1503833" y="1291848"/>
                </a:lnTo>
                <a:lnTo>
                  <a:pt x="1506302" y="1291857"/>
                </a:lnTo>
                <a:cubicBezTo>
                  <a:pt x="1504960" y="1294646"/>
                  <a:pt x="1496905" y="1295265"/>
                  <a:pt x="1493395" y="1294646"/>
                </a:cubicBezTo>
                <a:cubicBezTo>
                  <a:pt x="1493705" y="1294026"/>
                  <a:pt x="1494428" y="1293407"/>
                  <a:pt x="1495460" y="1293097"/>
                </a:cubicBezTo>
                <a:cubicBezTo>
                  <a:pt x="1496957" y="1292399"/>
                  <a:pt x="1498997" y="1292012"/>
                  <a:pt x="1500997" y="1291838"/>
                </a:cubicBezTo>
                <a:close/>
                <a:moveTo>
                  <a:pt x="1476977" y="1291548"/>
                </a:moveTo>
                <a:cubicBezTo>
                  <a:pt x="1476977" y="1291548"/>
                  <a:pt x="1477803" y="1292322"/>
                  <a:pt x="1477803" y="1292322"/>
                </a:cubicBezTo>
                <a:cubicBezTo>
                  <a:pt x="1481211" y="1294801"/>
                  <a:pt x="1482760" y="1299757"/>
                  <a:pt x="1481727" y="1301461"/>
                </a:cubicBezTo>
                <a:cubicBezTo>
                  <a:pt x="1479972" y="1303165"/>
                  <a:pt x="1476461" y="1304094"/>
                  <a:pt x="1473983" y="1301771"/>
                </a:cubicBezTo>
                <a:cubicBezTo>
                  <a:pt x="1471401" y="1300222"/>
                  <a:pt x="1471504" y="1296814"/>
                  <a:pt x="1469027" y="1294491"/>
                </a:cubicBezTo>
                <a:cubicBezTo>
                  <a:pt x="1471814" y="1290928"/>
                  <a:pt x="1472743" y="1289999"/>
                  <a:pt x="1476977" y="1291548"/>
                </a:cubicBezTo>
                <a:close/>
                <a:moveTo>
                  <a:pt x="4112598" y="1290806"/>
                </a:moveTo>
                <a:cubicBezTo>
                  <a:pt x="4113879" y="1290664"/>
                  <a:pt x="4114946" y="1290664"/>
                  <a:pt x="4116226" y="1291801"/>
                </a:cubicBezTo>
                <a:cubicBezTo>
                  <a:pt x="4117507" y="1292940"/>
                  <a:pt x="4116440" y="1292940"/>
                  <a:pt x="4117507" y="1292940"/>
                </a:cubicBezTo>
                <a:cubicBezTo>
                  <a:pt x="4118788" y="1294078"/>
                  <a:pt x="4118788" y="1292798"/>
                  <a:pt x="4118788" y="1292798"/>
                </a:cubicBezTo>
                <a:cubicBezTo>
                  <a:pt x="4118788" y="1292798"/>
                  <a:pt x="4119001" y="1294078"/>
                  <a:pt x="4119001" y="1294078"/>
                </a:cubicBezTo>
                <a:cubicBezTo>
                  <a:pt x="4119001" y="1294078"/>
                  <a:pt x="4119001" y="1294078"/>
                  <a:pt x="4121562" y="1296354"/>
                </a:cubicBezTo>
                <a:cubicBezTo>
                  <a:pt x="4125404" y="1298488"/>
                  <a:pt x="4126471" y="1298346"/>
                  <a:pt x="4129032" y="1299342"/>
                </a:cubicBezTo>
                <a:cubicBezTo>
                  <a:pt x="4131593" y="1301618"/>
                  <a:pt x="4131806" y="1302899"/>
                  <a:pt x="4134580" y="1306313"/>
                </a:cubicBezTo>
                <a:cubicBezTo>
                  <a:pt x="4133727" y="1308732"/>
                  <a:pt x="4133727" y="1308732"/>
                  <a:pt x="4132660" y="1308874"/>
                </a:cubicBezTo>
                <a:cubicBezTo>
                  <a:pt x="4133727" y="1308732"/>
                  <a:pt x="4133940" y="1309870"/>
                  <a:pt x="4135221" y="1311008"/>
                </a:cubicBezTo>
                <a:cubicBezTo>
                  <a:pt x="4141623" y="1314280"/>
                  <a:pt x="4139916" y="1320397"/>
                  <a:pt x="4136288" y="1326657"/>
                </a:cubicBezTo>
                <a:cubicBezTo>
                  <a:pt x="4135008" y="1325519"/>
                  <a:pt x="4133087" y="1329218"/>
                  <a:pt x="4130952" y="1330499"/>
                </a:cubicBezTo>
                <a:cubicBezTo>
                  <a:pt x="4127538" y="1330783"/>
                  <a:pt x="4125190" y="1330783"/>
                  <a:pt x="4122629" y="1328507"/>
                </a:cubicBezTo>
                <a:lnTo>
                  <a:pt x="4119855" y="1324381"/>
                </a:lnTo>
                <a:lnTo>
                  <a:pt x="4117507" y="1326231"/>
                </a:lnTo>
                <a:cubicBezTo>
                  <a:pt x="4110464" y="1329076"/>
                  <a:pt x="4102141" y="1329645"/>
                  <a:pt x="4099366" y="1317410"/>
                </a:cubicBezTo>
                <a:cubicBezTo>
                  <a:pt x="4098086" y="1315276"/>
                  <a:pt x="4099153" y="1315845"/>
                  <a:pt x="4098726" y="1314138"/>
                </a:cubicBezTo>
                <a:cubicBezTo>
                  <a:pt x="4098513" y="1312573"/>
                  <a:pt x="4097446" y="1310297"/>
                  <a:pt x="4096379" y="1309727"/>
                </a:cubicBezTo>
                <a:cubicBezTo>
                  <a:pt x="4101927" y="1307309"/>
                  <a:pt x="4100434" y="1303467"/>
                  <a:pt x="4109184" y="1300195"/>
                </a:cubicBezTo>
                <a:cubicBezTo>
                  <a:pt x="4111958" y="1299057"/>
                  <a:pt x="4114306" y="1298488"/>
                  <a:pt x="4116226" y="1298488"/>
                </a:cubicBezTo>
                <a:lnTo>
                  <a:pt x="4117934" y="1298915"/>
                </a:lnTo>
                <a:lnTo>
                  <a:pt x="4117293" y="1298488"/>
                </a:lnTo>
                <a:cubicBezTo>
                  <a:pt x="4114519" y="1295501"/>
                  <a:pt x="4112385" y="1292655"/>
                  <a:pt x="4112598" y="1290806"/>
                </a:cubicBezTo>
                <a:close/>
                <a:moveTo>
                  <a:pt x="4270529" y="1290521"/>
                </a:moveTo>
                <a:cubicBezTo>
                  <a:pt x="4269675" y="1292655"/>
                  <a:pt x="4270529" y="1293936"/>
                  <a:pt x="4271169" y="1295073"/>
                </a:cubicBezTo>
                <a:lnTo>
                  <a:pt x="4271382" y="1296781"/>
                </a:lnTo>
                <a:lnTo>
                  <a:pt x="4278852" y="1294789"/>
                </a:lnTo>
                <a:cubicBezTo>
                  <a:pt x="4286749" y="1294505"/>
                  <a:pt x="4295072" y="1296923"/>
                  <a:pt x="4301048" y="1302330"/>
                </a:cubicBezTo>
                <a:lnTo>
                  <a:pt x="4301688" y="1303325"/>
                </a:lnTo>
                <a:lnTo>
                  <a:pt x="4301048" y="1301334"/>
                </a:lnTo>
                <a:cubicBezTo>
                  <a:pt x="4301262" y="1299627"/>
                  <a:pt x="4301262" y="1299627"/>
                  <a:pt x="4302328" y="1299057"/>
                </a:cubicBezTo>
                <a:cubicBezTo>
                  <a:pt x="4303395" y="1296781"/>
                  <a:pt x="4303822" y="1295073"/>
                  <a:pt x="4306383" y="1294931"/>
                </a:cubicBezTo>
                <a:cubicBezTo>
                  <a:pt x="4308304" y="1295073"/>
                  <a:pt x="4309585" y="1295785"/>
                  <a:pt x="4310225" y="1297066"/>
                </a:cubicBezTo>
                <a:cubicBezTo>
                  <a:pt x="4310865" y="1298346"/>
                  <a:pt x="4311078" y="1300195"/>
                  <a:pt x="4311292" y="1302330"/>
                </a:cubicBezTo>
                <a:cubicBezTo>
                  <a:pt x="4311506" y="1306740"/>
                  <a:pt x="4307878" y="1307451"/>
                  <a:pt x="4307450" y="1310866"/>
                </a:cubicBezTo>
                <a:lnTo>
                  <a:pt x="4305530" y="1309585"/>
                </a:lnTo>
                <a:lnTo>
                  <a:pt x="4299767" y="1319544"/>
                </a:lnTo>
                <a:cubicBezTo>
                  <a:pt x="4296993" y="1322247"/>
                  <a:pt x="4293792" y="1324239"/>
                  <a:pt x="4290377" y="1325519"/>
                </a:cubicBezTo>
                <a:lnTo>
                  <a:pt x="4283761" y="1326657"/>
                </a:lnTo>
                <a:lnTo>
                  <a:pt x="4287816" y="1329645"/>
                </a:lnTo>
                <a:cubicBezTo>
                  <a:pt x="4292298" y="1334055"/>
                  <a:pt x="4296139" y="1339604"/>
                  <a:pt x="4298914" y="1346860"/>
                </a:cubicBezTo>
                <a:cubicBezTo>
                  <a:pt x="4295499" y="1353831"/>
                  <a:pt x="4289310" y="1353119"/>
                  <a:pt x="4283548" y="1348994"/>
                </a:cubicBezTo>
                <a:cubicBezTo>
                  <a:pt x="4279920" y="1346433"/>
                  <a:pt x="4276291" y="1342592"/>
                  <a:pt x="4273944" y="1338323"/>
                </a:cubicBezTo>
                <a:lnTo>
                  <a:pt x="4273303" y="1336758"/>
                </a:lnTo>
                <a:lnTo>
                  <a:pt x="4270956" y="1338750"/>
                </a:lnTo>
                <a:cubicBezTo>
                  <a:pt x="4269462" y="1339177"/>
                  <a:pt x="4267328" y="1339320"/>
                  <a:pt x="4264980" y="1338892"/>
                </a:cubicBezTo>
                <a:cubicBezTo>
                  <a:pt x="4263699" y="1335051"/>
                  <a:pt x="4261352" y="1330072"/>
                  <a:pt x="4260711" y="1324950"/>
                </a:cubicBezTo>
                <a:lnTo>
                  <a:pt x="4260925" y="1320255"/>
                </a:lnTo>
                <a:lnTo>
                  <a:pt x="4254096" y="1314138"/>
                </a:lnTo>
                <a:cubicBezTo>
                  <a:pt x="4254736" y="1312573"/>
                  <a:pt x="4255590" y="1311150"/>
                  <a:pt x="4254096" y="1310297"/>
                </a:cubicBezTo>
                <a:cubicBezTo>
                  <a:pt x="4256016" y="1305317"/>
                  <a:pt x="4259431" y="1301618"/>
                  <a:pt x="4263913" y="1298915"/>
                </a:cubicBezTo>
                <a:lnTo>
                  <a:pt x="4264980" y="1298630"/>
                </a:lnTo>
                <a:lnTo>
                  <a:pt x="4261992" y="1296781"/>
                </a:lnTo>
                <a:cubicBezTo>
                  <a:pt x="4263273" y="1290236"/>
                  <a:pt x="4266901" y="1290379"/>
                  <a:pt x="4270529" y="1290521"/>
                </a:cubicBezTo>
                <a:close/>
                <a:moveTo>
                  <a:pt x="4834598" y="1290379"/>
                </a:moveTo>
                <a:cubicBezTo>
                  <a:pt x="4839079" y="1291232"/>
                  <a:pt x="4842494" y="1295358"/>
                  <a:pt x="4844628" y="1297919"/>
                </a:cubicBezTo>
                <a:lnTo>
                  <a:pt x="4845269" y="1298488"/>
                </a:lnTo>
                <a:lnTo>
                  <a:pt x="4846549" y="1299200"/>
                </a:lnTo>
                <a:lnTo>
                  <a:pt x="4846976" y="1298773"/>
                </a:lnTo>
                <a:lnTo>
                  <a:pt x="4846976" y="1299200"/>
                </a:lnTo>
                <a:lnTo>
                  <a:pt x="4849537" y="1300338"/>
                </a:lnTo>
                <a:lnTo>
                  <a:pt x="4848683" y="1302330"/>
                </a:lnTo>
                <a:lnTo>
                  <a:pt x="4849750" y="1305886"/>
                </a:lnTo>
                <a:cubicBezTo>
                  <a:pt x="4849964" y="1307024"/>
                  <a:pt x="4849323" y="1307878"/>
                  <a:pt x="4847830" y="1308304"/>
                </a:cubicBezTo>
                <a:cubicBezTo>
                  <a:pt x="4845482" y="1309727"/>
                  <a:pt x="4844202" y="1307451"/>
                  <a:pt x="4841000" y="1308447"/>
                </a:cubicBezTo>
                <a:cubicBezTo>
                  <a:pt x="4838226" y="1309585"/>
                  <a:pt x="4837799" y="1313000"/>
                  <a:pt x="4836518" y="1316699"/>
                </a:cubicBezTo>
                <a:lnTo>
                  <a:pt x="4834598" y="1320825"/>
                </a:lnTo>
                <a:lnTo>
                  <a:pt x="4835878" y="1319686"/>
                </a:lnTo>
                <a:cubicBezTo>
                  <a:pt x="4840787" y="1316699"/>
                  <a:pt x="4848683" y="1315418"/>
                  <a:pt x="4852738" y="1321251"/>
                </a:cubicBezTo>
                <a:cubicBezTo>
                  <a:pt x="4848683" y="1325662"/>
                  <a:pt x="4845055" y="1326799"/>
                  <a:pt x="4841640" y="1326515"/>
                </a:cubicBezTo>
                <a:lnTo>
                  <a:pt x="4832677" y="1323101"/>
                </a:lnTo>
                <a:lnTo>
                  <a:pt x="4827981" y="1326657"/>
                </a:lnTo>
                <a:cubicBezTo>
                  <a:pt x="4827341" y="1323385"/>
                  <a:pt x="4820085" y="1324666"/>
                  <a:pt x="4819232" y="1319686"/>
                </a:cubicBezTo>
                <a:cubicBezTo>
                  <a:pt x="4815176" y="1305317"/>
                  <a:pt x="4819232" y="1303325"/>
                  <a:pt x="4826701" y="1297777"/>
                </a:cubicBezTo>
                <a:cubicBezTo>
                  <a:pt x="4826060" y="1298773"/>
                  <a:pt x="4827555" y="1298346"/>
                  <a:pt x="4827555" y="1298346"/>
                </a:cubicBezTo>
                <a:cubicBezTo>
                  <a:pt x="4830756" y="1297492"/>
                  <a:pt x="4825847" y="1292798"/>
                  <a:pt x="4829903" y="1290806"/>
                </a:cubicBezTo>
                <a:cubicBezTo>
                  <a:pt x="4831396" y="1290236"/>
                  <a:pt x="4833103" y="1290094"/>
                  <a:pt x="4834598" y="1290379"/>
                </a:cubicBezTo>
                <a:close/>
                <a:moveTo>
                  <a:pt x="4580201" y="1290236"/>
                </a:moveTo>
                <a:cubicBezTo>
                  <a:pt x="4586604" y="1296354"/>
                  <a:pt x="4576146" y="1309159"/>
                  <a:pt x="4574652" y="1312715"/>
                </a:cubicBezTo>
                <a:cubicBezTo>
                  <a:pt x="4574652" y="1312715"/>
                  <a:pt x="4574439" y="1313853"/>
                  <a:pt x="4573158" y="1314991"/>
                </a:cubicBezTo>
                <a:cubicBezTo>
                  <a:pt x="4571877" y="1317410"/>
                  <a:pt x="4571024" y="1313853"/>
                  <a:pt x="4569744" y="1314991"/>
                </a:cubicBezTo>
                <a:cubicBezTo>
                  <a:pt x="4572945" y="1305459"/>
                  <a:pt x="4571664" y="1297208"/>
                  <a:pt x="4571664" y="1297208"/>
                </a:cubicBezTo>
                <a:cubicBezTo>
                  <a:pt x="4572945" y="1294789"/>
                  <a:pt x="4574012" y="1294931"/>
                  <a:pt x="4572945" y="1294931"/>
                </a:cubicBezTo>
                <a:cubicBezTo>
                  <a:pt x="4575506" y="1292513"/>
                  <a:pt x="4578067" y="1289099"/>
                  <a:pt x="4580201" y="1290236"/>
                </a:cubicBezTo>
                <a:close/>
                <a:moveTo>
                  <a:pt x="3550664" y="1289952"/>
                </a:moveTo>
                <a:cubicBezTo>
                  <a:pt x="3553225" y="1290806"/>
                  <a:pt x="3555359" y="1294363"/>
                  <a:pt x="3560482" y="1302757"/>
                </a:cubicBezTo>
                <a:cubicBezTo>
                  <a:pt x="3561762" y="1305459"/>
                  <a:pt x="3562403" y="1308732"/>
                  <a:pt x="3562189" y="1312004"/>
                </a:cubicBezTo>
                <a:cubicBezTo>
                  <a:pt x="3561975" y="1315133"/>
                  <a:pt x="3560908" y="1318406"/>
                  <a:pt x="3558774" y="1321394"/>
                </a:cubicBezTo>
                <a:cubicBezTo>
                  <a:pt x="3559414" y="1326373"/>
                  <a:pt x="3557067" y="1332917"/>
                  <a:pt x="3553439" y="1336616"/>
                </a:cubicBezTo>
                <a:cubicBezTo>
                  <a:pt x="3547890" y="1339604"/>
                  <a:pt x="3543621" y="1338323"/>
                  <a:pt x="3542128" y="1335478"/>
                </a:cubicBezTo>
                <a:cubicBezTo>
                  <a:pt x="3535298" y="1324950"/>
                  <a:pt x="3535725" y="1315418"/>
                  <a:pt x="3537646" y="1307878"/>
                </a:cubicBezTo>
                <a:lnTo>
                  <a:pt x="3538286" y="1305886"/>
                </a:lnTo>
                <a:lnTo>
                  <a:pt x="3537859" y="1305175"/>
                </a:lnTo>
                <a:cubicBezTo>
                  <a:pt x="3536365" y="1302614"/>
                  <a:pt x="3534871" y="1299627"/>
                  <a:pt x="3535725" y="1294363"/>
                </a:cubicBezTo>
                <a:lnTo>
                  <a:pt x="3540207" y="1300480"/>
                </a:lnTo>
                <a:lnTo>
                  <a:pt x="3541061" y="1298346"/>
                </a:lnTo>
                <a:cubicBezTo>
                  <a:pt x="3542128" y="1295785"/>
                  <a:pt x="3542981" y="1293793"/>
                  <a:pt x="3542768" y="1292513"/>
                </a:cubicBezTo>
                <a:cubicBezTo>
                  <a:pt x="3544902" y="1291374"/>
                  <a:pt x="3546609" y="1290521"/>
                  <a:pt x="3548103" y="1290094"/>
                </a:cubicBezTo>
                <a:cubicBezTo>
                  <a:pt x="3548957" y="1289810"/>
                  <a:pt x="3549811" y="1289668"/>
                  <a:pt x="3550664" y="1289952"/>
                </a:cubicBezTo>
                <a:close/>
                <a:moveTo>
                  <a:pt x="4067994" y="1288956"/>
                </a:moveTo>
                <a:cubicBezTo>
                  <a:pt x="4072262" y="1288245"/>
                  <a:pt x="4076530" y="1289952"/>
                  <a:pt x="4077811" y="1293651"/>
                </a:cubicBezTo>
                <a:cubicBezTo>
                  <a:pt x="4078665" y="1296212"/>
                  <a:pt x="4078451" y="1299627"/>
                  <a:pt x="4075890" y="1303752"/>
                </a:cubicBezTo>
                <a:cubicBezTo>
                  <a:pt x="4068634" y="1301049"/>
                  <a:pt x="4063726" y="1304605"/>
                  <a:pt x="4059030" y="1299200"/>
                </a:cubicBezTo>
                <a:cubicBezTo>
                  <a:pt x="4059884" y="1292940"/>
                  <a:pt x="4063939" y="1289810"/>
                  <a:pt x="4067994" y="1288956"/>
                </a:cubicBezTo>
                <a:close/>
                <a:moveTo>
                  <a:pt x="1396747" y="1288450"/>
                </a:moveTo>
                <a:cubicBezTo>
                  <a:pt x="1395611" y="1289999"/>
                  <a:pt x="1394579" y="1290773"/>
                  <a:pt x="1393649" y="1291548"/>
                </a:cubicBezTo>
                <a:cubicBezTo>
                  <a:pt x="1392514" y="1293252"/>
                  <a:pt x="1391584" y="1293252"/>
                  <a:pt x="1390036" y="1291548"/>
                </a:cubicBezTo>
                <a:cubicBezTo>
                  <a:pt x="1391068" y="1289844"/>
                  <a:pt x="1394992" y="1287521"/>
                  <a:pt x="1396747" y="1288450"/>
                </a:cubicBezTo>
                <a:close/>
                <a:moveTo>
                  <a:pt x="1724379" y="1287985"/>
                </a:moveTo>
                <a:lnTo>
                  <a:pt x="1719733" y="1288295"/>
                </a:lnTo>
                <a:lnTo>
                  <a:pt x="1718906" y="1289534"/>
                </a:lnTo>
                <a:lnTo>
                  <a:pt x="1722521" y="1289844"/>
                </a:lnTo>
                <a:close/>
                <a:moveTo>
                  <a:pt x="1190441" y="1287366"/>
                </a:moveTo>
                <a:cubicBezTo>
                  <a:pt x="1194881" y="1282874"/>
                  <a:pt x="1204174" y="1290464"/>
                  <a:pt x="1206756" y="1291548"/>
                </a:cubicBezTo>
                <a:cubicBezTo>
                  <a:pt x="1206756" y="1291548"/>
                  <a:pt x="1207582" y="1291703"/>
                  <a:pt x="1208408" y="1292632"/>
                </a:cubicBezTo>
                <a:cubicBezTo>
                  <a:pt x="1210163" y="1293561"/>
                  <a:pt x="1207582" y="1294181"/>
                  <a:pt x="1208408" y="1295111"/>
                </a:cubicBezTo>
                <a:cubicBezTo>
                  <a:pt x="1201593" y="1292632"/>
                  <a:pt x="1195501" y="1293716"/>
                  <a:pt x="1195501" y="1293716"/>
                </a:cubicBezTo>
                <a:cubicBezTo>
                  <a:pt x="1193745" y="1292787"/>
                  <a:pt x="1193849" y="1292013"/>
                  <a:pt x="1193849" y="1292787"/>
                </a:cubicBezTo>
                <a:cubicBezTo>
                  <a:pt x="1192094" y="1290928"/>
                  <a:pt x="1189615" y="1289069"/>
                  <a:pt x="1190441" y="1287366"/>
                </a:cubicBezTo>
                <a:close/>
                <a:moveTo>
                  <a:pt x="5182898" y="1287249"/>
                </a:moveTo>
                <a:cubicBezTo>
                  <a:pt x="5184393" y="1287960"/>
                  <a:pt x="5186740" y="1288529"/>
                  <a:pt x="5188448" y="1290379"/>
                </a:cubicBezTo>
                <a:cubicBezTo>
                  <a:pt x="5188448" y="1296496"/>
                  <a:pt x="5185246" y="1299768"/>
                  <a:pt x="5180765" y="1301191"/>
                </a:cubicBezTo>
                <a:cubicBezTo>
                  <a:pt x="5175215" y="1298062"/>
                  <a:pt x="5177136" y="1288956"/>
                  <a:pt x="5182898" y="1287249"/>
                </a:cubicBezTo>
                <a:close/>
                <a:moveTo>
                  <a:pt x="4763315" y="1285969"/>
                </a:moveTo>
                <a:cubicBezTo>
                  <a:pt x="4763955" y="1288529"/>
                  <a:pt x="4765236" y="1290379"/>
                  <a:pt x="4765877" y="1292940"/>
                </a:cubicBezTo>
                <a:cubicBezTo>
                  <a:pt x="4762248" y="1296069"/>
                  <a:pt x="4762675" y="1302045"/>
                  <a:pt x="4755419" y="1300765"/>
                </a:cubicBezTo>
                <a:cubicBezTo>
                  <a:pt x="4751151" y="1295501"/>
                  <a:pt x="4755419" y="1285542"/>
                  <a:pt x="4763315" y="1285969"/>
                </a:cubicBezTo>
                <a:close/>
                <a:moveTo>
                  <a:pt x="3634111" y="1285969"/>
                </a:moveTo>
                <a:cubicBezTo>
                  <a:pt x="3637312" y="1286822"/>
                  <a:pt x="3639020" y="1287249"/>
                  <a:pt x="3641581" y="1287107"/>
                </a:cubicBezTo>
                <a:cubicBezTo>
                  <a:pt x="3642008" y="1289810"/>
                  <a:pt x="3641155" y="1290379"/>
                  <a:pt x="3639660" y="1289952"/>
                </a:cubicBezTo>
                <a:cubicBezTo>
                  <a:pt x="3639660" y="1289952"/>
                  <a:pt x="3637953" y="1289526"/>
                  <a:pt x="3636246" y="1289099"/>
                </a:cubicBezTo>
                <a:cubicBezTo>
                  <a:pt x="3634538" y="1288672"/>
                  <a:pt x="3633684" y="1289241"/>
                  <a:pt x="3633684" y="1289241"/>
                </a:cubicBezTo>
                <a:cubicBezTo>
                  <a:pt x="3631977" y="1288814"/>
                  <a:pt x="3631337" y="1287818"/>
                  <a:pt x="3631550" y="1286111"/>
                </a:cubicBezTo>
                <a:cubicBezTo>
                  <a:pt x="3631550" y="1286111"/>
                  <a:pt x="3634111" y="1285969"/>
                  <a:pt x="3634111" y="1285969"/>
                </a:cubicBezTo>
                <a:close/>
                <a:moveTo>
                  <a:pt x="1398812" y="1285817"/>
                </a:moveTo>
                <a:cubicBezTo>
                  <a:pt x="1398709" y="1286591"/>
                  <a:pt x="1399535" y="1286591"/>
                  <a:pt x="1399535" y="1286591"/>
                </a:cubicBezTo>
                <a:cubicBezTo>
                  <a:pt x="1399535" y="1286591"/>
                  <a:pt x="1399535" y="1286591"/>
                  <a:pt x="1399638" y="1285817"/>
                </a:cubicBezTo>
                <a:cubicBezTo>
                  <a:pt x="1400051" y="1286281"/>
                  <a:pt x="1399948" y="1286591"/>
                  <a:pt x="1399845" y="1286901"/>
                </a:cubicBezTo>
                <a:cubicBezTo>
                  <a:pt x="1399638" y="1287211"/>
                  <a:pt x="1399432" y="1287521"/>
                  <a:pt x="1399432" y="1287521"/>
                </a:cubicBezTo>
                <a:cubicBezTo>
                  <a:pt x="1398502" y="1288295"/>
                  <a:pt x="1397470" y="1289069"/>
                  <a:pt x="1396747" y="1288295"/>
                </a:cubicBezTo>
                <a:cubicBezTo>
                  <a:pt x="1396747" y="1288295"/>
                  <a:pt x="1396850" y="1287366"/>
                  <a:pt x="1398812" y="1285817"/>
                </a:cubicBezTo>
                <a:close/>
                <a:moveTo>
                  <a:pt x="5124848" y="1285542"/>
                </a:moveTo>
                <a:cubicBezTo>
                  <a:pt x="5127836" y="1286680"/>
                  <a:pt x="5129543" y="1284546"/>
                  <a:pt x="5132318" y="1285684"/>
                </a:cubicBezTo>
                <a:cubicBezTo>
                  <a:pt x="5128477" y="1295216"/>
                  <a:pt x="5125062" y="1305886"/>
                  <a:pt x="5117379" y="1305886"/>
                </a:cubicBezTo>
                <a:cubicBezTo>
                  <a:pt x="5113751" y="1300053"/>
                  <a:pt x="5120367" y="1290379"/>
                  <a:pt x="5124848" y="1285542"/>
                </a:cubicBezTo>
                <a:close/>
                <a:moveTo>
                  <a:pt x="1569495" y="1285042"/>
                </a:moveTo>
                <a:cubicBezTo>
                  <a:pt x="1570424" y="1285817"/>
                  <a:pt x="1572283" y="1287985"/>
                  <a:pt x="1571457" y="1288914"/>
                </a:cubicBezTo>
                <a:cubicBezTo>
                  <a:pt x="1569805" y="1290773"/>
                  <a:pt x="1567327" y="1292013"/>
                  <a:pt x="1566397" y="1291238"/>
                </a:cubicBezTo>
                <a:cubicBezTo>
                  <a:pt x="1565055" y="1290308"/>
                  <a:pt x="1563712" y="1289224"/>
                  <a:pt x="1564126" y="1287521"/>
                </a:cubicBezTo>
                <a:cubicBezTo>
                  <a:pt x="1564229" y="1287056"/>
                  <a:pt x="1564539" y="1286281"/>
                  <a:pt x="1565158" y="1285662"/>
                </a:cubicBezTo>
                <a:cubicBezTo>
                  <a:pt x="1565158" y="1285662"/>
                  <a:pt x="1565158" y="1285662"/>
                  <a:pt x="1565984" y="1285507"/>
                </a:cubicBezTo>
                <a:cubicBezTo>
                  <a:pt x="1567739" y="1285352"/>
                  <a:pt x="1568669" y="1285197"/>
                  <a:pt x="1569495" y="1285042"/>
                </a:cubicBezTo>
                <a:close/>
                <a:moveTo>
                  <a:pt x="3910490" y="1284973"/>
                </a:moveTo>
                <a:cubicBezTo>
                  <a:pt x="3912197" y="1285257"/>
                  <a:pt x="3913691" y="1286395"/>
                  <a:pt x="3914545" y="1288814"/>
                </a:cubicBezTo>
                <a:cubicBezTo>
                  <a:pt x="3914972" y="1290521"/>
                  <a:pt x="3915612" y="1292086"/>
                  <a:pt x="3914545" y="1291517"/>
                </a:cubicBezTo>
                <a:cubicBezTo>
                  <a:pt x="3914118" y="1292513"/>
                  <a:pt x="3913051" y="1291944"/>
                  <a:pt x="3911557" y="1292371"/>
                </a:cubicBezTo>
                <a:cubicBezTo>
                  <a:pt x="3908996" y="1292228"/>
                  <a:pt x="3905795" y="1290521"/>
                  <a:pt x="3905368" y="1288956"/>
                </a:cubicBezTo>
                <a:cubicBezTo>
                  <a:pt x="3904728" y="1287249"/>
                  <a:pt x="3905368" y="1286253"/>
                  <a:pt x="3905368" y="1286253"/>
                </a:cubicBezTo>
                <a:cubicBezTo>
                  <a:pt x="3907075" y="1285257"/>
                  <a:pt x="3908782" y="1284688"/>
                  <a:pt x="3910490" y="1284973"/>
                </a:cubicBezTo>
                <a:close/>
                <a:moveTo>
                  <a:pt x="1551528" y="1284887"/>
                </a:moveTo>
                <a:cubicBezTo>
                  <a:pt x="1552148" y="1286591"/>
                  <a:pt x="1552458" y="1289844"/>
                  <a:pt x="1550496" y="1291393"/>
                </a:cubicBezTo>
                <a:cubicBezTo>
                  <a:pt x="1550496" y="1291393"/>
                  <a:pt x="1550496" y="1291393"/>
                  <a:pt x="1549463" y="1292168"/>
                </a:cubicBezTo>
                <a:cubicBezTo>
                  <a:pt x="1549876" y="1289689"/>
                  <a:pt x="1550496" y="1286436"/>
                  <a:pt x="1551528" y="1284887"/>
                </a:cubicBezTo>
                <a:close/>
                <a:moveTo>
                  <a:pt x="3651398" y="1283835"/>
                </a:moveTo>
                <a:cubicBezTo>
                  <a:pt x="3655026" y="1284688"/>
                  <a:pt x="3658868" y="1286111"/>
                  <a:pt x="3660789" y="1288672"/>
                </a:cubicBezTo>
                <a:cubicBezTo>
                  <a:pt x="3661429" y="1289526"/>
                  <a:pt x="3661856" y="1290521"/>
                  <a:pt x="3661856" y="1291517"/>
                </a:cubicBezTo>
                <a:cubicBezTo>
                  <a:pt x="3662283" y="1294220"/>
                  <a:pt x="3659722" y="1294505"/>
                  <a:pt x="3656521" y="1293651"/>
                </a:cubicBezTo>
                <a:cubicBezTo>
                  <a:pt x="3649691" y="1293651"/>
                  <a:pt x="3646703" y="1291232"/>
                  <a:pt x="3647557" y="1286253"/>
                </a:cubicBezTo>
                <a:cubicBezTo>
                  <a:pt x="3648411" y="1285684"/>
                  <a:pt x="3652038" y="1284830"/>
                  <a:pt x="3651398" y="1283835"/>
                </a:cubicBezTo>
                <a:close/>
                <a:moveTo>
                  <a:pt x="1013150" y="1283493"/>
                </a:moveTo>
                <a:cubicBezTo>
                  <a:pt x="1019243" y="1279621"/>
                  <a:pt x="1031736" y="1289379"/>
                  <a:pt x="1028122" y="1294336"/>
                </a:cubicBezTo>
                <a:cubicBezTo>
                  <a:pt x="1027606" y="1294956"/>
                  <a:pt x="1026780" y="1295575"/>
                  <a:pt x="1025438" y="1296040"/>
                </a:cubicBezTo>
                <a:cubicBezTo>
                  <a:pt x="1018106" y="1295265"/>
                  <a:pt x="1012737" y="1292942"/>
                  <a:pt x="1011808" y="1285817"/>
                </a:cubicBezTo>
                <a:cubicBezTo>
                  <a:pt x="1013047" y="1285817"/>
                  <a:pt x="1013150" y="1284732"/>
                  <a:pt x="1013150" y="1283493"/>
                </a:cubicBezTo>
                <a:close/>
                <a:moveTo>
                  <a:pt x="1387867" y="1283183"/>
                </a:moveTo>
                <a:cubicBezTo>
                  <a:pt x="1388590" y="1285042"/>
                  <a:pt x="1388487" y="1286746"/>
                  <a:pt x="1387867" y="1288140"/>
                </a:cubicBezTo>
                <a:lnTo>
                  <a:pt x="1386938" y="1288914"/>
                </a:lnTo>
                <a:lnTo>
                  <a:pt x="1386318" y="1289689"/>
                </a:lnTo>
                <a:lnTo>
                  <a:pt x="1384563" y="1291238"/>
                </a:lnTo>
                <a:cubicBezTo>
                  <a:pt x="1383427" y="1290618"/>
                  <a:pt x="1382807" y="1289844"/>
                  <a:pt x="1382498" y="1289069"/>
                </a:cubicBezTo>
                <a:cubicBezTo>
                  <a:pt x="1382188" y="1288295"/>
                  <a:pt x="1382085" y="1287521"/>
                  <a:pt x="1382498" y="1286591"/>
                </a:cubicBezTo>
                <a:cubicBezTo>
                  <a:pt x="1383117" y="1285042"/>
                  <a:pt x="1385079" y="1283648"/>
                  <a:pt x="1387867" y="1283183"/>
                </a:cubicBezTo>
                <a:close/>
                <a:moveTo>
                  <a:pt x="4181106" y="1282838"/>
                </a:moveTo>
                <a:cubicBezTo>
                  <a:pt x="4188789" y="1287249"/>
                  <a:pt x="4191350" y="1306171"/>
                  <a:pt x="4188362" y="1310012"/>
                </a:cubicBezTo>
                <a:cubicBezTo>
                  <a:pt x="4184521" y="1306597"/>
                  <a:pt x="4184948" y="1301902"/>
                  <a:pt x="4180893" y="1297208"/>
                </a:cubicBezTo>
                <a:cubicBezTo>
                  <a:pt x="4182600" y="1293509"/>
                  <a:pt x="4178331" y="1287818"/>
                  <a:pt x="4181106" y="1282838"/>
                </a:cubicBezTo>
                <a:close/>
                <a:moveTo>
                  <a:pt x="1406247" y="1282409"/>
                </a:moveTo>
                <a:cubicBezTo>
                  <a:pt x="1408002" y="1283028"/>
                  <a:pt x="1409758" y="1283648"/>
                  <a:pt x="1411513" y="1284268"/>
                </a:cubicBezTo>
                <a:cubicBezTo>
                  <a:pt x="1410687" y="1284423"/>
                  <a:pt x="1412752" y="1291703"/>
                  <a:pt x="1412752" y="1291703"/>
                </a:cubicBezTo>
                <a:cubicBezTo>
                  <a:pt x="1411203" y="1293561"/>
                  <a:pt x="1411203" y="1293561"/>
                  <a:pt x="1408518" y="1292322"/>
                </a:cubicBezTo>
                <a:cubicBezTo>
                  <a:pt x="1407692" y="1291548"/>
                  <a:pt x="1406763" y="1289689"/>
                  <a:pt x="1406247" y="1287830"/>
                </a:cubicBezTo>
                <a:cubicBezTo>
                  <a:pt x="1405937" y="1286901"/>
                  <a:pt x="1405730" y="1285817"/>
                  <a:pt x="1405730" y="1284887"/>
                </a:cubicBezTo>
                <a:cubicBezTo>
                  <a:pt x="1405730" y="1283958"/>
                  <a:pt x="1405937" y="1283183"/>
                  <a:pt x="1406247" y="1282409"/>
                </a:cubicBezTo>
                <a:close/>
                <a:moveTo>
                  <a:pt x="5805871" y="1281985"/>
                </a:moveTo>
                <a:cubicBezTo>
                  <a:pt x="5806511" y="1282412"/>
                  <a:pt x="5807365" y="1283407"/>
                  <a:pt x="5808432" y="1283977"/>
                </a:cubicBezTo>
                <a:lnTo>
                  <a:pt x="5804590" y="1287249"/>
                </a:lnTo>
                <a:cubicBezTo>
                  <a:pt x="5803523" y="1286111"/>
                  <a:pt x="5802669" y="1283835"/>
                  <a:pt x="5803950" y="1282696"/>
                </a:cubicBezTo>
                <a:cubicBezTo>
                  <a:pt x="5804590" y="1281558"/>
                  <a:pt x="5805231" y="1281558"/>
                  <a:pt x="5805871" y="1281985"/>
                </a:cubicBezTo>
                <a:close/>
                <a:moveTo>
                  <a:pt x="5792425" y="1281416"/>
                </a:moveTo>
                <a:cubicBezTo>
                  <a:pt x="5794133" y="1282696"/>
                  <a:pt x="5795413" y="1284119"/>
                  <a:pt x="5795840" y="1285826"/>
                </a:cubicBezTo>
                <a:cubicBezTo>
                  <a:pt x="5796267" y="1287392"/>
                  <a:pt x="5795626" y="1289099"/>
                  <a:pt x="5793919" y="1290806"/>
                </a:cubicBezTo>
                <a:cubicBezTo>
                  <a:pt x="5792639" y="1292086"/>
                  <a:pt x="5791358" y="1293224"/>
                  <a:pt x="5791358" y="1292086"/>
                </a:cubicBezTo>
                <a:cubicBezTo>
                  <a:pt x="5790291" y="1291944"/>
                  <a:pt x="5790505" y="1290806"/>
                  <a:pt x="5789438" y="1289668"/>
                </a:cubicBezTo>
                <a:cubicBezTo>
                  <a:pt x="5788370" y="1287249"/>
                  <a:pt x="5788797" y="1283835"/>
                  <a:pt x="5790078" y="1282554"/>
                </a:cubicBezTo>
                <a:cubicBezTo>
                  <a:pt x="5791358" y="1281416"/>
                  <a:pt x="5792425" y="1281416"/>
                  <a:pt x="5792425" y="1281416"/>
                </a:cubicBezTo>
                <a:close/>
                <a:moveTo>
                  <a:pt x="1382188" y="1281170"/>
                </a:moveTo>
                <a:cubicBezTo>
                  <a:pt x="1382601" y="1280395"/>
                  <a:pt x="1383324" y="1281015"/>
                  <a:pt x="1382911" y="1281635"/>
                </a:cubicBezTo>
                <a:cubicBezTo>
                  <a:pt x="1384047" y="1283183"/>
                  <a:pt x="1381672" y="1283493"/>
                  <a:pt x="1380536" y="1283648"/>
                </a:cubicBezTo>
                <a:cubicBezTo>
                  <a:pt x="1381775" y="1281789"/>
                  <a:pt x="1381362" y="1280550"/>
                  <a:pt x="1382188" y="1281170"/>
                </a:cubicBezTo>
                <a:close/>
                <a:moveTo>
                  <a:pt x="1520138" y="1280550"/>
                </a:moveTo>
                <a:cubicBezTo>
                  <a:pt x="1520448" y="1280705"/>
                  <a:pt x="1520655" y="1280860"/>
                  <a:pt x="1520655" y="1280860"/>
                </a:cubicBezTo>
                <a:cubicBezTo>
                  <a:pt x="1521377" y="1281789"/>
                  <a:pt x="1522100" y="1282719"/>
                  <a:pt x="1521068" y="1283493"/>
                </a:cubicBezTo>
                <a:cubicBezTo>
                  <a:pt x="1521068" y="1283493"/>
                  <a:pt x="1520138" y="1283338"/>
                  <a:pt x="1518693" y="1281635"/>
                </a:cubicBezTo>
                <a:cubicBezTo>
                  <a:pt x="1519622" y="1281635"/>
                  <a:pt x="1519726" y="1280860"/>
                  <a:pt x="1519726" y="1280860"/>
                </a:cubicBezTo>
                <a:cubicBezTo>
                  <a:pt x="1519726" y="1280860"/>
                  <a:pt x="1519726" y="1280860"/>
                  <a:pt x="1518899" y="1280705"/>
                </a:cubicBezTo>
                <a:cubicBezTo>
                  <a:pt x="1519312" y="1280395"/>
                  <a:pt x="1519829" y="1280395"/>
                  <a:pt x="1520138" y="1280550"/>
                </a:cubicBezTo>
                <a:close/>
                <a:moveTo>
                  <a:pt x="1035247" y="1280085"/>
                </a:moveTo>
                <a:cubicBezTo>
                  <a:pt x="1043714" y="1279156"/>
                  <a:pt x="1044540" y="1285817"/>
                  <a:pt x="1040720" y="1288914"/>
                </a:cubicBezTo>
                <a:cubicBezTo>
                  <a:pt x="1039481" y="1289844"/>
                  <a:pt x="1037622" y="1290464"/>
                  <a:pt x="1035454" y="1290154"/>
                </a:cubicBezTo>
                <a:cubicBezTo>
                  <a:pt x="1034628" y="1289224"/>
                  <a:pt x="1034111" y="1287056"/>
                  <a:pt x="1034008" y="1285042"/>
                </a:cubicBezTo>
                <a:cubicBezTo>
                  <a:pt x="1033905" y="1282874"/>
                  <a:pt x="1034318" y="1280860"/>
                  <a:pt x="1035247" y="1280085"/>
                </a:cubicBezTo>
                <a:close/>
                <a:moveTo>
                  <a:pt x="5239882" y="1279851"/>
                </a:moveTo>
                <a:cubicBezTo>
                  <a:pt x="5240735" y="1279993"/>
                  <a:pt x="5241589" y="1279851"/>
                  <a:pt x="5242870" y="1279993"/>
                </a:cubicBezTo>
                <a:cubicBezTo>
                  <a:pt x="5243936" y="1279993"/>
                  <a:pt x="5245217" y="1280135"/>
                  <a:pt x="5246284" y="1280705"/>
                </a:cubicBezTo>
                <a:cubicBezTo>
                  <a:pt x="5249272" y="1286253"/>
                  <a:pt x="5248205" y="1290379"/>
                  <a:pt x="5244577" y="1293224"/>
                </a:cubicBezTo>
                <a:cubicBezTo>
                  <a:pt x="5237961" y="1292371"/>
                  <a:pt x="5235400" y="1283550"/>
                  <a:pt x="5239882" y="1279851"/>
                </a:cubicBezTo>
                <a:close/>
                <a:moveTo>
                  <a:pt x="4805146" y="1279567"/>
                </a:moveTo>
                <a:cubicBezTo>
                  <a:pt x="4811335" y="1286395"/>
                  <a:pt x="4819232" y="1288529"/>
                  <a:pt x="4819232" y="1288529"/>
                </a:cubicBezTo>
                <a:cubicBezTo>
                  <a:pt x="4820298" y="1290806"/>
                  <a:pt x="4819658" y="1291801"/>
                  <a:pt x="4820298" y="1290806"/>
                </a:cubicBezTo>
                <a:cubicBezTo>
                  <a:pt x="4820939" y="1294078"/>
                  <a:pt x="4822432" y="1297919"/>
                  <a:pt x="4820085" y="1299342"/>
                </a:cubicBezTo>
                <a:cubicBezTo>
                  <a:pt x="4811548" y="1302614"/>
                  <a:pt x="4806426" y="1287676"/>
                  <a:pt x="4804292" y="1284973"/>
                </a:cubicBezTo>
                <a:cubicBezTo>
                  <a:pt x="4804292" y="1284973"/>
                  <a:pt x="4803438" y="1284262"/>
                  <a:pt x="4803225" y="1282696"/>
                </a:cubicBezTo>
                <a:cubicBezTo>
                  <a:pt x="4801944" y="1280420"/>
                  <a:pt x="4805359" y="1281274"/>
                  <a:pt x="4805146" y="1279567"/>
                </a:cubicBezTo>
                <a:close/>
                <a:moveTo>
                  <a:pt x="4028938" y="1279282"/>
                </a:moveTo>
                <a:cubicBezTo>
                  <a:pt x="4031712" y="1282696"/>
                  <a:pt x="4030645" y="1285684"/>
                  <a:pt x="4028511" y="1287533"/>
                </a:cubicBezTo>
                <a:lnTo>
                  <a:pt x="4027230" y="1288245"/>
                </a:lnTo>
                <a:lnTo>
                  <a:pt x="4031072" y="1295785"/>
                </a:lnTo>
                <a:cubicBezTo>
                  <a:pt x="4031499" y="1298346"/>
                  <a:pt x="4031072" y="1301049"/>
                  <a:pt x="4030005" y="1304037"/>
                </a:cubicBezTo>
                <a:cubicBezTo>
                  <a:pt x="4027871" y="1303894"/>
                  <a:pt x="4024243" y="1300195"/>
                  <a:pt x="4022109" y="1297635"/>
                </a:cubicBezTo>
                <a:lnTo>
                  <a:pt x="4027017" y="1288245"/>
                </a:lnTo>
                <a:lnTo>
                  <a:pt x="4024883" y="1289526"/>
                </a:lnTo>
                <a:cubicBezTo>
                  <a:pt x="4023602" y="1289810"/>
                  <a:pt x="4022109" y="1289810"/>
                  <a:pt x="4021041" y="1289241"/>
                </a:cubicBezTo>
                <a:cubicBezTo>
                  <a:pt x="4018907" y="1283977"/>
                  <a:pt x="4024456" y="1278286"/>
                  <a:pt x="4028938" y="1279282"/>
                </a:cubicBezTo>
                <a:close/>
                <a:moveTo>
                  <a:pt x="3813170" y="1279282"/>
                </a:moveTo>
                <a:cubicBezTo>
                  <a:pt x="3819573" y="1282270"/>
                  <a:pt x="3825976" y="1283977"/>
                  <a:pt x="3832165" y="1285826"/>
                </a:cubicBezTo>
                <a:lnTo>
                  <a:pt x="3842409" y="1289383"/>
                </a:lnTo>
                <a:lnTo>
                  <a:pt x="3844756" y="1284830"/>
                </a:lnTo>
                <a:lnTo>
                  <a:pt x="3847531" y="1291091"/>
                </a:lnTo>
                <a:lnTo>
                  <a:pt x="3851159" y="1292371"/>
                </a:lnTo>
                <a:cubicBezTo>
                  <a:pt x="3851586" y="1300338"/>
                  <a:pt x="3856281" y="1308020"/>
                  <a:pt x="3860123" y="1315987"/>
                </a:cubicBezTo>
                <a:lnTo>
                  <a:pt x="3861403" y="1319829"/>
                </a:lnTo>
                <a:lnTo>
                  <a:pt x="3863324" y="1316983"/>
                </a:lnTo>
                <a:cubicBezTo>
                  <a:pt x="3875276" y="1321394"/>
                  <a:pt x="3882532" y="1342449"/>
                  <a:pt x="3871434" y="1345294"/>
                </a:cubicBezTo>
                <a:cubicBezTo>
                  <a:pt x="3869727" y="1345721"/>
                  <a:pt x="3868020" y="1345579"/>
                  <a:pt x="3865458" y="1345152"/>
                </a:cubicBezTo>
                <a:lnTo>
                  <a:pt x="3862897" y="1339320"/>
                </a:lnTo>
                <a:lnTo>
                  <a:pt x="3862684" y="1340884"/>
                </a:lnTo>
                <a:cubicBezTo>
                  <a:pt x="3849879" y="1349563"/>
                  <a:pt x="3850732" y="1358099"/>
                  <a:pt x="3844756" y="1366066"/>
                </a:cubicBezTo>
                <a:cubicBezTo>
                  <a:pt x="3825976" y="1375455"/>
                  <a:pt x="3798444" y="1381573"/>
                  <a:pt x="3781371" y="1366635"/>
                </a:cubicBezTo>
                <a:cubicBezTo>
                  <a:pt x="3767499" y="1354400"/>
                  <a:pt x="3772194" y="1339035"/>
                  <a:pt x="3767072" y="1321394"/>
                </a:cubicBezTo>
                <a:cubicBezTo>
                  <a:pt x="3780090" y="1312858"/>
                  <a:pt x="3777956" y="1304179"/>
                  <a:pt x="3780517" y="1295785"/>
                </a:cubicBezTo>
                <a:cubicBezTo>
                  <a:pt x="3791188" y="1294363"/>
                  <a:pt x="3802073" y="1284404"/>
                  <a:pt x="3813170" y="1279282"/>
                </a:cubicBezTo>
                <a:close/>
                <a:moveTo>
                  <a:pt x="4225498" y="1278001"/>
                </a:moveTo>
                <a:cubicBezTo>
                  <a:pt x="4226778" y="1277717"/>
                  <a:pt x="4228272" y="1277717"/>
                  <a:pt x="4229979" y="1278286"/>
                </a:cubicBezTo>
                <a:cubicBezTo>
                  <a:pt x="4236382" y="1289526"/>
                  <a:pt x="4224857" y="1297350"/>
                  <a:pt x="4218027" y="1292655"/>
                </a:cubicBezTo>
                <a:cubicBezTo>
                  <a:pt x="4215680" y="1291091"/>
                  <a:pt x="4213759" y="1288103"/>
                  <a:pt x="4213119" y="1283407"/>
                </a:cubicBezTo>
                <a:cubicBezTo>
                  <a:pt x="4219095" y="1282270"/>
                  <a:pt x="4221656" y="1278713"/>
                  <a:pt x="4225498" y="1278001"/>
                </a:cubicBezTo>
                <a:close/>
                <a:moveTo>
                  <a:pt x="1522513" y="1277607"/>
                </a:moveTo>
                <a:cubicBezTo>
                  <a:pt x="1524165" y="1278381"/>
                  <a:pt x="1525817" y="1279156"/>
                  <a:pt x="1527470" y="1279931"/>
                </a:cubicBezTo>
                <a:lnTo>
                  <a:pt x="1527366" y="1280550"/>
                </a:lnTo>
                <a:lnTo>
                  <a:pt x="1527470" y="1280705"/>
                </a:lnTo>
                <a:cubicBezTo>
                  <a:pt x="1527986" y="1281170"/>
                  <a:pt x="1528709" y="1281324"/>
                  <a:pt x="1529638" y="1281170"/>
                </a:cubicBezTo>
                <a:cubicBezTo>
                  <a:pt x="1529328" y="1282409"/>
                  <a:pt x="1529018" y="1283493"/>
                  <a:pt x="1528502" y="1284423"/>
                </a:cubicBezTo>
                <a:lnTo>
                  <a:pt x="1527573" y="1284732"/>
                </a:lnTo>
                <a:lnTo>
                  <a:pt x="1527676" y="1285197"/>
                </a:lnTo>
                <a:lnTo>
                  <a:pt x="1529122" y="1285971"/>
                </a:lnTo>
                <a:lnTo>
                  <a:pt x="1530773" y="1285352"/>
                </a:lnTo>
                <a:lnTo>
                  <a:pt x="1531393" y="1288450"/>
                </a:lnTo>
                <a:lnTo>
                  <a:pt x="1532323" y="1291083"/>
                </a:lnTo>
                <a:cubicBezTo>
                  <a:pt x="1532116" y="1291857"/>
                  <a:pt x="1531703" y="1292787"/>
                  <a:pt x="1530773" y="1293716"/>
                </a:cubicBezTo>
                <a:lnTo>
                  <a:pt x="1529741" y="1293716"/>
                </a:lnTo>
                <a:lnTo>
                  <a:pt x="1524062" y="1300067"/>
                </a:lnTo>
                <a:cubicBezTo>
                  <a:pt x="1529948" y="1302391"/>
                  <a:pt x="1539241" y="1304249"/>
                  <a:pt x="1537589" y="1310445"/>
                </a:cubicBezTo>
                <a:cubicBezTo>
                  <a:pt x="1531806" y="1313543"/>
                  <a:pt x="1525611" y="1306728"/>
                  <a:pt x="1518280" y="1305024"/>
                </a:cubicBezTo>
                <a:cubicBezTo>
                  <a:pt x="1514769" y="1305489"/>
                  <a:pt x="1513943" y="1309516"/>
                  <a:pt x="1507747" y="1306263"/>
                </a:cubicBezTo>
                <a:cubicBezTo>
                  <a:pt x="1509709" y="1301771"/>
                  <a:pt x="1511981" y="1298053"/>
                  <a:pt x="1514666" y="1294956"/>
                </a:cubicBezTo>
                <a:lnTo>
                  <a:pt x="1517660" y="1292632"/>
                </a:lnTo>
                <a:lnTo>
                  <a:pt x="1517557" y="1292477"/>
                </a:lnTo>
                <a:cubicBezTo>
                  <a:pt x="1516421" y="1291548"/>
                  <a:pt x="1515389" y="1290464"/>
                  <a:pt x="1514459" y="1288760"/>
                </a:cubicBezTo>
                <a:cubicBezTo>
                  <a:pt x="1515595" y="1288450"/>
                  <a:pt x="1515182" y="1287366"/>
                  <a:pt x="1514769" y="1286126"/>
                </a:cubicBezTo>
                <a:cubicBezTo>
                  <a:pt x="1515802" y="1284732"/>
                  <a:pt x="1517454" y="1283803"/>
                  <a:pt x="1519415" y="1283493"/>
                </a:cubicBezTo>
                <a:lnTo>
                  <a:pt x="1521171" y="1283648"/>
                </a:lnTo>
                <a:lnTo>
                  <a:pt x="1521171" y="1283493"/>
                </a:lnTo>
                <a:lnTo>
                  <a:pt x="1521481" y="1283803"/>
                </a:lnTo>
                <a:lnTo>
                  <a:pt x="1522204" y="1283803"/>
                </a:lnTo>
                <a:lnTo>
                  <a:pt x="1521894" y="1283028"/>
                </a:lnTo>
                <a:cubicBezTo>
                  <a:pt x="1521584" y="1281015"/>
                  <a:pt x="1521687" y="1278846"/>
                  <a:pt x="1522513" y="1277607"/>
                </a:cubicBezTo>
                <a:close/>
                <a:moveTo>
                  <a:pt x="988679" y="1277607"/>
                </a:moveTo>
                <a:cubicBezTo>
                  <a:pt x="994048" y="1276058"/>
                  <a:pt x="1004270" y="1291703"/>
                  <a:pt x="986097" y="1286436"/>
                </a:cubicBezTo>
                <a:cubicBezTo>
                  <a:pt x="985581" y="1280550"/>
                  <a:pt x="986820" y="1278227"/>
                  <a:pt x="988679" y="1277607"/>
                </a:cubicBezTo>
                <a:close/>
                <a:moveTo>
                  <a:pt x="3967260" y="1276863"/>
                </a:moveTo>
                <a:cubicBezTo>
                  <a:pt x="3967900" y="1278428"/>
                  <a:pt x="3971315" y="1280278"/>
                  <a:pt x="3973022" y="1282554"/>
                </a:cubicBezTo>
                <a:cubicBezTo>
                  <a:pt x="3972382" y="1283550"/>
                  <a:pt x="3973235" y="1285115"/>
                  <a:pt x="3972595" y="1286111"/>
                </a:cubicBezTo>
                <a:cubicBezTo>
                  <a:pt x="3971528" y="1285542"/>
                  <a:pt x="3968967" y="1285400"/>
                  <a:pt x="3969394" y="1284404"/>
                </a:cubicBezTo>
                <a:cubicBezTo>
                  <a:pt x="3968327" y="1283835"/>
                  <a:pt x="3969180" y="1281700"/>
                  <a:pt x="3969180" y="1281700"/>
                </a:cubicBezTo>
                <a:cubicBezTo>
                  <a:pt x="3968113" y="1281132"/>
                  <a:pt x="3967046" y="1280562"/>
                  <a:pt x="3966406" y="1278855"/>
                </a:cubicBezTo>
                <a:cubicBezTo>
                  <a:pt x="3967900" y="1278428"/>
                  <a:pt x="3966833" y="1277859"/>
                  <a:pt x="3967260" y="1276863"/>
                </a:cubicBezTo>
                <a:close/>
                <a:moveTo>
                  <a:pt x="3613623" y="1276721"/>
                </a:moveTo>
                <a:cubicBezTo>
                  <a:pt x="3611275" y="1290521"/>
                  <a:pt x="3622373" y="1297635"/>
                  <a:pt x="3625788" y="1307309"/>
                </a:cubicBezTo>
                <a:lnTo>
                  <a:pt x="3626428" y="1310581"/>
                </a:lnTo>
                <a:lnTo>
                  <a:pt x="3631550" y="1312289"/>
                </a:lnTo>
                <a:cubicBezTo>
                  <a:pt x="3632404" y="1313000"/>
                  <a:pt x="3633044" y="1313711"/>
                  <a:pt x="3633044" y="1314849"/>
                </a:cubicBezTo>
                <a:cubicBezTo>
                  <a:pt x="3632831" y="1316414"/>
                  <a:pt x="3631124" y="1315987"/>
                  <a:pt x="3630270" y="1316556"/>
                </a:cubicBezTo>
                <a:lnTo>
                  <a:pt x="3626428" y="1314849"/>
                </a:lnTo>
                <a:lnTo>
                  <a:pt x="3626001" y="1318406"/>
                </a:lnTo>
                <a:cubicBezTo>
                  <a:pt x="3620666" y="1339462"/>
                  <a:pt x="3596976" y="1343018"/>
                  <a:pt x="3584384" y="1333771"/>
                </a:cubicBezTo>
                <a:lnTo>
                  <a:pt x="3578409" y="1326799"/>
                </a:lnTo>
                <a:lnTo>
                  <a:pt x="3576488" y="1328649"/>
                </a:lnTo>
                <a:cubicBezTo>
                  <a:pt x="3574354" y="1329787"/>
                  <a:pt x="3572006" y="1330214"/>
                  <a:pt x="3570726" y="1329787"/>
                </a:cubicBezTo>
                <a:cubicBezTo>
                  <a:pt x="3568165" y="1327511"/>
                  <a:pt x="3566244" y="1322816"/>
                  <a:pt x="3569232" y="1318975"/>
                </a:cubicBezTo>
                <a:cubicBezTo>
                  <a:pt x="3570086" y="1317125"/>
                  <a:pt x="3571793" y="1316130"/>
                  <a:pt x="3573500" y="1315133"/>
                </a:cubicBezTo>
                <a:lnTo>
                  <a:pt x="3577555" y="1312004"/>
                </a:lnTo>
                <a:lnTo>
                  <a:pt x="3579689" y="1303894"/>
                </a:lnTo>
                <a:cubicBezTo>
                  <a:pt x="3586305" y="1291659"/>
                  <a:pt x="3600391" y="1288529"/>
                  <a:pt x="3613623" y="1276721"/>
                </a:cubicBezTo>
                <a:close/>
                <a:moveTo>
                  <a:pt x="3980065" y="1276437"/>
                </a:moveTo>
                <a:cubicBezTo>
                  <a:pt x="3980705" y="1276578"/>
                  <a:pt x="3981132" y="1277290"/>
                  <a:pt x="3981345" y="1278143"/>
                </a:cubicBezTo>
                <a:cubicBezTo>
                  <a:pt x="3981345" y="1278143"/>
                  <a:pt x="3981986" y="1279709"/>
                  <a:pt x="3982413" y="1281416"/>
                </a:cubicBezTo>
                <a:cubicBezTo>
                  <a:pt x="3983053" y="1282981"/>
                  <a:pt x="3984120" y="1283692"/>
                  <a:pt x="3984120" y="1283692"/>
                </a:cubicBezTo>
                <a:cubicBezTo>
                  <a:pt x="3984546" y="1285400"/>
                  <a:pt x="3984120" y="1286395"/>
                  <a:pt x="3982626" y="1286822"/>
                </a:cubicBezTo>
                <a:cubicBezTo>
                  <a:pt x="3982626" y="1286822"/>
                  <a:pt x="3980918" y="1284688"/>
                  <a:pt x="3980918" y="1284688"/>
                </a:cubicBezTo>
                <a:cubicBezTo>
                  <a:pt x="3979851" y="1281274"/>
                  <a:pt x="3979425" y="1279567"/>
                  <a:pt x="3977717" y="1277433"/>
                </a:cubicBezTo>
                <a:cubicBezTo>
                  <a:pt x="3978784" y="1276578"/>
                  <a:pt x="3979425" y="1276294"/>
                  <a:pt x="3980065" y="1276437"/>
                </a:cubicBezTo>
                <a:close/>
                <a:moveTo>
                  <a:pt x="1152340" y="1275903"/>
                </a:moveTo>
                <a:cubicBezTo>
                  <a:pt x="1152340" y="1276678"/>
                  <a:pt x="1152340" y="1276678"/>
                  <a:pt x="1152340" y="1276678"/>
                </a:cubicBezTo>
                <a:cubicBezTo>
                  <a:pt x="1153166" y="1277607"/>
                  <a:pt x="1153166" y="1276833"/>
                  <a:pt x="1154095" y="1276833"/>
                </a:cubicBezTo>
                <a:cubicBezTo>
                  <a:pt x="1154095" y="1276833"/>
                  <a:pt x="1153166" y="1276833"/>
                  <a:pt x="1154095" y="1276058"/>
                </a:cubicBezTo>
                <a:cubicBezTo>
                  <a:pt x="1154095" y="1276988"/>
                  <a:pt x="1154921" y="1276988"/>
                  <a:pt x="1155850" y="1276988"/>
                </a:cubicBezTo>
                <a:cubicBezTo>
                  <a:pt x="1157503" y="1278846"/>
                  <a:pt x="1159258" y="1281635"/>
                  <a:pt x="1158432" y="1283183"/>
                </a:cubicBezTo>
                <a:cubicBezTo>
                  <a:pt x="1156573" y="1284732"/>
                  <a:pt x="1154818" y="1283803"/>
                  <a:pt x="1153889" y="1282874"/>
                </a:cubicBezTo>
                <a:cubicBezTo>
                  <a:pt x="1152649" y="1282254"/>
                  <a:pt x="1152030" y="1281170"/>
                  <a:pt x="1151823" y="1279776"/>
                </a:cubicBezTo>
                <a:cubicBezTo>
                  <a:pt x="1151617" y="1278536"/>
                  <a:pt x="1151823" y="1277143"/>
                  <a:pt x="1152340" y="1275903"/>
                </a:cubicBezTo>
                <a:close/>
                <a:moveTo>
                  <a:pt x="3665057" y="1275868"/>
                </a:moveTo>
                <a:cubicBezTo>
                  <a:pt x="3668685" y="1276863"/>
                  <a:pt x="3671673" y="1276152"/>
                  <a:pt x="3673808" y="1276010"/>
                </a:cubicBezTo>
                <a:cubicBezTo>
                  <a:pt x="3675942" y="1275868"/>
                  <a:pt x="3677649" y="1276152"/>
                  <a:pt x="3679143" y="1278997"/>
                </a:cubicBezTo>
                <a:cubicBezTo>
                  <a:pt x="3676368" y="1282838"/>
                  <a:pt x="3667405" y="1280562"/>
                  <a:pt x="3665057" y="1275868"/>
                </a:cubicBezTo>
                <a:close/>
                <a:moveTo>
                  <a:pt x="1302784" y="1275748"/>
                </a:moveTo>
                <a:cubicBezTo>
                  <a:pt x="1305469" y="1272960"/>
                  <a:pt x="1307224" y="1273735"/>
                  <a:pt x="1309805" y="1276213"/>
                </a:cubicBezTo>
                <a:cubicBezTo>
                  <a:pt x="1306088" y="1280550"/>
                  <a:pt x="1305262" y="1279001"/>
                  <a:pt x="1302784" y="1275748"/>
                </a:cubicBezTo>
                <a:close/>
                <a:moveTo>
                  <a:pt x="3639020" y="1275441"/>
                </a:moveTo>
                <a:cubicBezTo>
                  <a:pt x="3640087" y="1274871"/>
                  <a:pt x="3641368" y="1276863"/>
                  <a:pt x="3641368" y="1276863"/>
                </a:cubicBezTo>
                <a:cubicBezTo>
                  <a:pt x="3642435" y="1276152"/>
                  <a:pt x="3643288" y="1275583"/>
                  <a:pt x="3644996" y="1276010"/>
                </a:cubicBezTo>
                <a:cubicBezTo>
                  <a:pt x="3644782" y="1277575"/>
                  <a:pt x="3645636" y="1277006"/>
                  <a:pt x="3646276" y="1278001"/>
                </a:cubicBezTo>
                <a:cubicBezTo>
                  <a:pt x="3644782" y="1277575"/>
                  <a:pt x="3641795" y="1279424"/>
                  <a:pt x="3639233" y="1279709"/>
                </a:cubicBezTo>
                <a:cubicBezTo>
                  <a:pt x="3638593" y="1278713"/>
                  <a:pt x="3636886" y="1278428"/>
                  <a:pt x="3636246" y="1277433"/>
                </a:cubicBezTo>
                <a:cubicBezTo>
                  <a:pt x="3637312" y="1276863"/>
                  <a:pt x="3638380" y="1274445"/>
                  <a:pt x="3639020" y="1275441"/>
                </a:cubicBezTo>
                <a:close/>
                <a:moveTo>
                  <a:pt x="4896703" y="1274871"/>
                </a:moveTo>
                <a:cubicBezTo>
                  <a:pt x="4897129" y="1277290"/>
                  <a:pt x="4898410" y="1281985"/>
                  <a:pt x="4897556" y="1284546"/>
                </a:cubicBezTo>
                <a:cubicBezTo>
                  <a:pt x="4897343" y="1285400"/>
                  <a:pt x="4896916" y="1285969"/>
                  <a:pt x="4896062" y="1286253"/>
                </a:cubicBezTo>
                <a:cubicBezTo>
                  <a:pt x="4895636" y="1282981"/>
                  <a:pt x="4893074" y="1278428"/>
                  <a:pt x="4896703" y="1274871"/>
                </a:cubicBezTo>
                <a:close/>
                <a:moveTo>
                  <a:pt x="4200741" y="1274871"/>
                </a:moveTo>
                <a:cubicBezTo>
                  <a:pt x="4202235" y="1274587"/>
                  <a:pt x="4203942" y="1274729"/>
                  <a:pt x="4205223" y="1275298"/>
                </a:cubicBezTo>
                <a:cubicBezTo>
                  <a:pt x="4206716" y="1276010"/>
                  <a:pt x="4207784" y="1277717"/>
                  <a:pt x="4207997" y="1280420"/>
                </a:cubicBezTo>
                <a:cubicBezTo>
                  <a:pt x="4200954" y="1281843"/>
                  <a:pt x="4195832" y="1286964"/>
                  <a:pt x="4191990" y="1285257"/>
                </a:cubicBezTo>
                <a:cubicBezTo>
                  <a:pt x="4190497" y="1284688"/>
                  <a:pt x="4189429" y="1283407"/>
                  <a:pt x="4188149" y="1280989"/>
                </a:cubicBezTo>
                <a:cubicBezTo>
                  <a:pt x="4190070" y="1278997"/>
                  <a:pt x="4195832" y="1275583"/>
                  <a:pt x="4200741" y="1274871"/>
                </a:cubicBezTo>
                <a:close/>
                <a:moveTo>
                  <a:pt x="1533252" y="1274819"/>
                </a:moveTo>
                <a:cubicBezTo>
                  <a:pt x="1540480" y="1270946"/>
                  <a:pt x="1543784" y="1277143"/>
                  <a:pt x="1541512" y="1281324"/>
                </a:cubicBezTo>
                <a:cubicBezTo>
                  <a:pt x="1540790" y="1282719"/>
                  <a:pt x="1539447" y="1283958"/>
                  <a:pt x="1537382" y="1284423"/>
                </a:cubicBezTo>
                <a:cubicBezTo>
                  <a:pt x="1535627" y="1283493"/>
                  <a:pt x="1533562" y="1279776"/>
                  <a:pt x="1533149" y="1277143"/>
                </a:cubicBezTo>
                <a:cubicBezTo>
                  <a:pt x="1532942" y="1276213"/>
                  <a:pt x="1532942" y="1275439"/>
                  <a:pt x="1533252" y="1274819"/>
                </a:cubicBezTo>
                <a:close/>
                <a:moveTo>
                  <a:pt x="1511568" y="1274664"/>
                </a:moveTo>
                <a:cubicBezTo>
                  <a:pt x="1512962" y="1277530"/>
                  <a:pt x="1511929" y="1281673"/>
                  <a:pt x="1510097" y="1285178"/>
                </a:cubicBezTo>
                <a:lnTo>
                  <a:pt x="1503833" y="1291848"/>
                </a:lnTo>
                <a:lnTo>
                  <a:pt x="1503825" y="1291848"/>
                </a:lnTo>
                <a:lnTo>
                  <a:pt x="1504185" y="1287133"/>
                </a:lnTo>
                <a:cubicBezTo>
                  <a:pt x="1504624" y="1285623"/>
                  <a:pt x="1505115" y="1284035"/>
                  <a:pt x="1504857" y="1281944"/>
                </a:cubicBezTo>
                <a:cubicBezTo>
                  <a:pt x="1507644" y="1280860"/>
                  <a:pt x="1507541" y="1275903"/>
                  <a:pt x="1511568" y="1274664"/>
                </a:cubicBezTo>
                <a:close/>
                <a:moveTo>
                  <a:pt x="4686057" y="1274160"/>
                </a:moveTo>
                <a:cubicBezTo>
                  <a:pt x="4696728" y="1273449"/>
                  <a:pt x="4706972" y="1277575"/>
                  <a:pt x="4711241" y="1287249"/>
                </a:cubicBezTo>
                <a:cubicBezTo>
                  <a:pt x="4707186" y="1296212"/>
                  <a:pt x="4700570" y="1301902"/>
                  <a:pt x="4693100" y="1304605"/>
                </a:cubicBezTo>
                <a:cubicBezTo>
                  <a:pt x="4680935" y="1309301"/>
                  <a:pt x="4666636" y="1305459"/>
                  <a:pt x="4658526" y="1294363"/>
                </a:cubicBezTo>
                <a:cubicBezTo>
                  <a:pt x="4659380" y="1292798"/>
                  <a:pt x="4660233" y="1291374"/>
                  <a:pt x="4658953" y="1290664"/>
                </a:cubicBezTo>
                <a:cubicBezTo>
                  <a:pt x="4664288" y="1280562"/>
                  <a:pt x="4675173" y="1274871"/>
                  <a:pt x="4686057" y="1274160"/>
                </a:cubicBezTo>
                <a:close/>
                <a:moveTo>
                  <a:pt x="4006102" y="1273876"/>
                </a:moveTo>
                <a:cubicBezTo>
                  <a:pt x="4007596" y="1273306"/>
                  <a:pt x="4008023" y="1275014"/>
                  <a:pt x="4009090" y="1275583"/>
                </a:cubicBezTo>
                <a:cubicBezTo>
                  <a:pt x="4010584" y="1277717"/>
                  <a:pt x="4010371" y="1286680"/>
                  <a:pt x="4008876" y="1287107"/>
                </a:cubicBezTo>
                <a:cubicBezTo>
                  <a:pt x="4007383" y="1284262"/>
                  <a:pt x="4004608" y="1279282"/>
                  <a:pt x="4004608" y="1276152"/>
                </a:cubicBezTo>
                <a:cubicBezTo>
                  <a:pt x="4004821" y="1275156"/>
                  <a:pt x="4005035" y="1274302"/>
                  <a:pt x="4006102" y="1273876"/>
                </a:cubicBezTo>
                <a:close/>
                <a:moveTo>
                  <a:pt x="4811761" y="1273591"/>
                </a:moveTo>
                <a:cubicBezTo>
                  <a:pt x="4811975" y="1275156"/>
                  <a:pt x="4811975" y="1275156"/>
                  <a:pt x="4811335" y="1276152"/>
                </a:cubicBezTo>
                <a:cubicBezTo>
                  <a:pt x="4809627" y="1276578"/>
                  <a:pt x="4808774" y="1276010"/>
                  <a:pt x="4807280" y="1276437"/>
                </a:cubicBezTo>
                <a:cubicBezTo>
                  <a:pt x="4807706" y="1279709"/>
                  <a:pt x="4808347" y="1278713"/>
                  <a:pt x="4806853" y="1279140"/>
                </a:cubicBezTo>
                <a:cubicBezTo>
                  <a:pt x="4806853" y="1279140"/>
                  <a:pt x="4806853" y="1279140"/>
                  <a:pt x="4805146" y="1279567"/>
                </a:cubicBezTo>
                <a:cubicBezTo>
                  <a:pt x="4805146" y="1279567"/>
                  <a:pt x="4804505" y="1280562"/>
                  <a:pt x="4803225" y="1276721"/>
                </a:cubicBezTo>
                <a:cubicBezTo>
                  <a:pt x="4804719" y="1276294"/>
                  <a:pt x="4809414" y="1275014"/>
                  <a:pt x="4809414" y="1275014"/>
                </a:cubicBezTo>
                <a:cubicBezTo>
                  <a:pt x="4810054" y="1274018"/>
                  <a:pt x="4810268" y="1274018"/>
                  <a:pt x="4811761" y="1273591"/>
                </a:cubicBezTo>
                <a:close/>
                <a:moveTo>
                  <a:pt x="1174024" y="1273115"/>
                </a:moveTo>
                <a:cubicBezTo>
                  <a:pt x="1175675" y="1274974"/>
                  <a:pt x="1180116" y="1272031"/>
                  <a:pt x="1182697" y="1274819"/>
                </a:cubicBezTo>
                <a:cubicBezTo>
                  <a:pt x="1189099" y="1280550"/>
                  <a:pt x="1189719" y="1283183"/>
                  <a:pt x="1188479" y="1286591"/>
                </a:cubicBezTo>
                <a:lnTo>
                  <a:pt x="1188376" y="1286901"/>
                </a:lnTo>
                <a:lnTo>
                  <a:pt x="1188376" y="1291857"/>
                </a:lnTo>
                <a:lnTo>
                  <a:pt x="1186724" y="1292632"/>
                </a:lnTo>
                <a:cubicBezTo>
                  <a:pt x="1187550" y="1293407"/>
                  <a:pt x="1188479" y="1294336"/>
                  <a:pt x="1187550" y="1295575"/>
                </a:cubicBezTo>
                <a:cubicBezTo>
                  <a:pt x="1185898" y="1297279"/>
                  <a:pt x="1183523" y="1297589"/>
                  <a:pt x="1181148" y="1297434"/>
                </a:cubicBezTo>
                <a:cubicBezTo>
                  <a:pt x="1184659" y="1298518"/>
                  <a:pt x="1187240" y="1301461"/>
                  <a:pt x="1186104" y="1307657"/>
                </a:cubicBezTo>
                <a:cubicBezTo>
                  <a:pt x="1186207" y="1309516"/>
                  <a:pt x="1185692" y="1308896"/>
                  <a:pt x="1185382" y="1309980"/>
                </a:cubicBezTo>
                <a:lnTo>
                  <a:pt x="1185382" y="1311220"/>
                </a:lnTo>
                <a:lnTo>
                  <a:pt x="1188273" y="1303010"/>
                </a:lnTo>
                <a:cubicBezTo>
                  <a:pt x="1189719" y="1300532"/>
                  <a:pt x="1191680" y="1298363"/>
                  <a:pt x="1194674" y="1297124"/>
                </a:cubicBezTo>
                <a:cubicBezTo>
                  <a:pt x="1200251" y="1298363"/>
                  <a:pt x="1203761" y="1297744"/>
                  <a:pt x="1206859" y="1296659"/>
                </a:cubicBezTo>
                <a:lnTo>
                  <a:pt x="1207272" y="1296504"/>
                </a:lnTo>
                <a:lnTo>
                  <a:pt x="1207065" y="1296195"/>
                </a:lnTo>
                <a:cubicBezTo>
                  <a:pt x="1206962" y="1296195"/>
                  <a:pt x="1207169" y="1296195"/>
                  <a:pt x="1207582" y="1295885"/>
                </a:cubicBezTo>
                <a:cubicBezTo>
                  <a:pt x="1207582" y="1295885"/>
                  <a:pt x="1207582" y="1295730"/>
                  <a:pt x="1208408" y="1295111"/>
                </a:cubicBezTo>
                <a:cubicBezTo>
                  <a:pt x="1208408" y="1295111"/>
                  <a:pt x="1208408" y="1294801"/>
                  <a:pt x="1208821" y="1294956"/>
                </a:cubicBezTo>
                <a:lnTo>
                  <a:pt x="1209854" y="1295420"/>
                </a:lnTo>
                <a:lnTo>
                  <a:pt x="1211196" y="1294956"/>
                </a:lnTo>
                <a:cubicBezTo>
                  <a:pt x="1212641" y="1294336"/>
                  <a:pt x="1214190" y="1293871"/>
                  <a:pt x="1215842" y="1293561"/>
                </a:cubicBezTo>
                <a:cubicBezTo>
                  <a:pt x="1219560" y="1294801"/>
                  <a:pt x="1223380" y="1296659"/>
                  <a:pt x="1227200" y="1298673"/>
                </a:cubicBezTo>
                <a:lnTo>
                  <a:pt x="1230504" y="1300841"/>
                </a:lnTo>
                <a:lnTo>
                  <a:pt x="1233499" y="1302391"/>
                </a:lnTo>
                <a:lnTo>
                  <a:pt x="1233809" y="1302546"/>
                </a:lnTo>
                <a:lnTo>
                  <a:pt x="1240934" y="1303630"/>
                </a:lnTo>
                <a:cubicBezTo>
                  <a:pt x="1243205" y="1304404"/>
                  <a:pt x="1245167" y="1305798"/>
                  <a:pt x="1246819" y="1307812"/>
                </a:cubicBezTo>
                <a:cubicBezTo>
                  <a:pt x="1248471" y="1310445"/>
                  <a:pt x="1249091" y="1312769"/>
                  <a:pt x="1248884" y="1314937"/>
                </a:cubicBezTo>
                <a:lnTo>
                  <a:pt x="1247645" y="1317415"/>
                </a:lnTo>
                <a:lnTo>
                  <a:pt x="1251672" y="1327174"/>
                </a:lnTo>
                <a:lnTo>
                  <a:pt x="1251672" y="1327484"/>
                </a:lnTo>
                <a:lnTo>
                  <a:pt x="1252705" y="1328723"/>
                </a:lnTo>
                <a:lnTo>
                  <a:pt x="1254357" y="1328103"/>
                </a:lnTo>
                <a:cubicBezTo>
                  <a:pt x="1257041" y="1325625"/>
                  <a:pt x="1255596" y="1321753"/>
                  <a:pt x="1262307" y="1320513"/>
                </a:cubicBezTo>
                <a:lnTo>
                  <a:pt x="1262514" y="1325935"/>
                </a:lnTo>
                <a:lnTo>
                  <a:pt x="1263650" y="1325315"/>
                </a:lnTo>
                <a:cubicBezTo>
                  <a:pt x="1266334" y="1324696"/>
                  <a:pt x="1269123" y="1324231"/>
                  <a:pt x="1271910" y="1324076"/>
                </a:cubicBezTo>
                <a:lnTo>
                  <a:pt x="1276763" y="1324076"/>
                </a:lnTo>
                <a:lnTo>
                  <a:pt x="1275421" y="1322372"/>
                </a:lnTo>
                <a:cubicBezTo>
                  <a:pt x="1273253" y="1318655"/>
                  <a:pt x="1274492" y="1315867"/>
                  <a:pt x="1273769" y="1315402"/>
                </a:cubicBezTo>
                <a:cubicBezTo>
                  <a:pt x="1276247" y="1312459"/>
                  <a:pt x="1278106" y="1313853"/>
                  <a:pt x="1281720" y="1315092"/>
                </a:cubicBezTo>
                <a:cubicBezTo>
                  <a:pt x="1280894" y="1316022"/>
                  <a:pt x="1283682" y="1318190"/>
                  <a:pt x="1284611" y="1318964"/>
                </a:cubicBezTo>
                <a:cubicBezTo>
                  <a:pt x="1283785" y="1319894"/>
                  <a:pt x="1284095" y="1320978"/>
                  <a:pt x="1284301" y="1322372"/>
                </a:cubicBezTo>
                <a:lnTo>
                  <a:pt x="1284301" y="1324076"/>
                </a:lnTo>
                <a:lnTo>
                  <a:pt x="1298550" y="1324696"/>
                </a:lnTo>
                <a:cubicBezTo>
                  <a:pt x="1297518" y="1327638"/>
                  <a:pt x="1298964" y="1329652"/>
                  <a:pt x="1296485" y="1333990"/>
                </a:cubicBezTo>
                <a:cubicBezTo>
                  <a:pt x="1288844" y="1332595"/>
                  <a:pt x="1281306" y="1332286"/>
                  <a:pt x="1274079" y="1331976"/>
                </a:cubicBezTo>
                <a:lnTo>
                  <a:pt x="1262617" y="1330891"/>
                </a:lnTo>
                <a:lnTo>
                  <a:pt x="1262617" y="1334144"/>
                </a:lnTo>
                <a:cubicBezTo>
                  <a:pt x="1262101" y="1338326"/>
                  <a:pt x="1260759" y="1342199"/>
                  <a:pt x="1258900" y="1345761"/>
                </a:cubicBezTo>
                <a:lnTo>
                  <a:pt x="1256835" y="1348704"/>
                </a:lnTo>
                <a:lnTo>
                  <a:pt x="1257145" y="1350254"/>
                </a:lnTo>
                <a:lnTo>
                  <a:pt x="1257145" y="1351492"/>
                </a:lnTo>
                <a:lnTo>
                  <a:pt x="1257351" y="1351803"/>
                </a:lnTo>
                <a:cubicBezTo>
                  <a:pt x="1257661" y="1352422"/>
                  <a:pt x="1257868" y="1352887"/>
                  <a:pt x="1257868" y="1352887"/>
                </a:cubicBezTo>
                <a:cubicBezTo>
                  <a:pt x="1257041" y="1353661"/>
                  <a:pt x="1257041" y="1353506"/>
                  <a:pt x="1257041" y="1352732"/>
                </a:cubicBezTo>
                <a:lnTo>
                  <a:pt x="1256938" y="1352577"/>
                </a:lnTo>
                <a:lnTo>
                  <a:pt x="1256628" y="1355210"/>
                </a:lnTo>
                <a:cubicBezTo>
                  <a:pt x="1254460" y="1354901"/>
                  <a:pt x="1252395" y="1353816"/>
                  <a:pt x="1250433" y="1352732"/>
                </a:cubicBezTo>
                <a:lnTo>
                  <a:pt x="1244961" y="1349169"/>
                </a:lnTo>
                <a:lnTo>
                  <a:pt x="1249297" y="1348704"/>
                </a:lnTo>
                <a:cubicBezTo>
                  <a:pt x="1249297" y="1347775"/>
                  <a:pt x="1248471" y="1346846"/>
                  <a:pt x="1248471" y="1346846"/>
                </a:cubicBezTo>
                <a:lnTo>
                  <a:pt x="1251053" y="1346381"/>
                </a:lnTo>
                <a:lnTo>
                  <a:pt x="1250846" y="1344987"/>
                </a:lnTo>
                <a:lnTo>
                  <a:pt x="1251672" y="1339565"/>
                </a:lnTo>
                <a:lnTo>
                  <a:pt x="1250227" y="1339565"/>
                </a:lnTo>
                <a:lnTo>
                  <a:pt x="1248678" y="1343438"/>
                </a:lnTo>
                <a:lnTo>
                  <a:pt x="1244961" y="1349169"/>
                </a:lnTo>
                <a:lnTo>
                  <a:pt x="1244238" y="1350254"/>
                </a:lnTo>
                <a:cubicBezTo>
                  <a:pt x="1242792" y="1352732"/>
                  <a:pt x="1241243" y="1355210"/>
                  <a:pt x="1240107" y="1358153"/>
                </a:cubicBezTo>
                <a:cubicBezTo>
                  <a:pt x="1229059" y="1355829"/>
                  <a:pt x="1226271" y="1361406"/>
                  <a:pt x="1221211" y="1364349"/>
                </a:cubicBezTo>
                <a:cubicBezTo>
                  <a:pt x="1214603" y="1359392"/>
                  <a:pt x="1204174" y="1358927"/>
                  <a:pt x="1195604" y="1355520"/>
                </a:cubicBezTo>
                <a:cubicBezTo>
                  <a:pt x="1191061" y="1345607"/>
                  <a:pt x="1184556" y="1338481"/>
                  <a:pt x="1179909" y="1328413"/>
                </a:cubicBezTo>
                <a:cubicBezTo>
                  <a:pt x="1181561" y="1326245"/>
                  <a:pt x="1182491" y="1323457"/>
                  <a:pt x="1183317" y="1320513"/>
                </a:cubicBezTo>
                <a:lnTo>
                  <a:pt x="1184762" y="1314008"/>
                </a:lnTo>
                <a:lnTo>
                  <a:pt x="1180941" y="1315092"/>
                </a:lnTo>
                <a:cubicBezTo>
                  <a:pt x="1179496" y="1315867"/>
                  <a:pt x="1177844" y="1316486"/>
                  <a:pt x="1174437" y="1316331"/>
                </a:cubicBezTo>
                <a:cubicBezTo>
                  <a:pt x="1165763" y="1316176"/>
                  <a:pt x="1164214" y="1310445"/>
                  <a:pt x="1164627" y="1306263"/>
                </a:cubicBezTo>
                <a:cubicBezTo>
                  <a:pt x="1164834" y="1306418"/>
                  <a:pt x="1165040" y="1305953"/>
                  <a:pt x="1165247" y="1305489"/>
                </a:cubicBezTo>
                <a:lnTo>
                  <a:pt x="1166072" y="1303785"/>
                </a:lnTo>
                <a:lnTo>
                  <a:pt x="1164937" y="1301151"/>
                </a:lnTo>
                <a:cubicBezTo>
                  <a:pt x="1165040" y="1300377"/>
                  <a:pt x="1165557" y="1299602"/>
                  <a:pt x="1166279" y="1298518"/>
                </a:cubicBezTo>
                <a:cubicBezTo>
                  <a:pt x="1166279" y="1297744"/>
                  <a:pt x="1169687" y="1296504"/>
                  <a:pt x="1170616" y="1297124"/>
                </a:cubicBezTo>
                <a:lnTo>
                  <a:pt x="1171339" y="1297744"/>
                </a:lnTo>
                <a:lnTo>
                  <a:pt x="1176501" y="1296504"/>
                </a:lnTo>
                <a:cubicBezTo>
                  <a:pt x="1177637" y="1296504"/>
                  <a:pt x="1178670" y="1296814"/>
                  <a:pt x="1179702" y="1296969"/>
                </a:cubicBezTo>
                <a:cubicBezTo>
                  <a:pt x="1177947" y="1296659"/>
                  <a:pt x="1175985" y="1296195"/>
                  <a:pt x="1174746" y="1295730"/>
                </a:cubicBezTo>
                <a:lnTo>
                  <a:pt x="1172991" y="1294956"/>
                </a:lnTo>
                <a:lnTo>
                  <a:pt x="1172991" y="1295885"/>
                </a:lnTo>
                <a:lnTo>
                  <a:pt x="1172062" y="1294801"/>
                </a:lnTo>
                <a:lnTo>
                  <a:pt x="1171855" y="1294801"/>
                </a:lnTo>
                <a:cubicBezTo>
                  <a:pt x="1171855" y="1293871"/>
                  <a:pt x="1171029" y="1293871"/>
                  <a:pt x="1171029" y="1294646"/>
                </a:cubicBezTo>
                <a:cubicBezTo>
                  <a:pt x="1169790" y="1293716"/>
                  <a:pt x="1168654" y="1292942"/>
                  <a:pt x="1168138" y="1292322"/>
                </a:cubicBezTo>
                <a:lnTo>
                  <a:pt x="1168241" y="1291548"/>
                </a:lnTo>
                <a:lnTo>
                  <a:pt x="1163388" y="1291548"/>
                </a:lnTo>
                <a:lnTo>
                  <a:pt x="1162046" y="1291393"/>
                </a:lnTo>
                <a:lnTo>
                  <a:pt x="1161633" y="1291857"/>
                </a:lnTo>
                <a:lnTo>
                  <a:pt x="1160910" y="1291238"/>
                </a:lnTo>
                <a:lnTo>
                  <a:pt x="1156573" y="1290464"/>
                </a:lnTo>
                <a:cubicBezTo>
                  <a:pt x="1154715" y="1289689"/>
                  <a:pt x="1153475" y="1288604"/>
                  <a:pt x="1153269" y="1286746"/>
                </a:cubicBezTo>
                <a:lnTo>
                  <a:pt x="1159051" y="1285971"/>
                </a:lnTo>
                <a:lnTo>
                  <a:pt x="1159464" y="1285662"/>
                </a:lnTo>
                <a:lnTo>
                  <a:pt x="1159774" y="1285817"/>
                </a:lnTo>
                <a:lnTo>
                  <a:pt x="1166692" y="1285197"/>
                </a:lnTo>
                <a:lnTo>
                  <a:pt x="1173197" y="1286281"/>
                </a:lnTo>
                <a:lnTo>
                  <a:pt x="1173404" y="1285352"/>
                </a:lnTo>
                <a:cubicBezTo>
                  <a:pt x="1172888" y="1282099"/>
                  <a:pt x="1169996" y="1277762"/>
                  <a:pt x="1174024" y="1273115"/>
                </a:cubicBezTo>
                <a:close/>
                <a:moveTo>
                  <a:pt x="974223" y="1272805"/>
                </a:moveTo>
                <a:cubicBezTo>
                  <a:pt x="975049" y="1272805"/>
                  <a:pt x="975668" y="1272960"/>
                  <a:pt x="976081" y="1273425"/>
                </a:cubicBezTo>
                <a:cubicBezTo>
                  <a:pt x="983722" y="1280085"/>
                  <a:pt x="980211" y="1287056"/>
                  <a:pt x="981037" y="1288914"/>
                </a:cubicBezTo>
                <a:cubicBezTo>
                  <a:pt x="978353" y="1291083"/>
                  <a:pt x="978353" y="1291083"/>
                  <a:pt x="973190" y="1286436"/>
                </a:cubicBezTo>
                <a:cubicBezTo>
                  <a:pt x="972364" y="1285507"/>
                  <a:pt x="971744" y="1284423"/>
                  <a:pt x="971435" y="1283183"/>
                </a:cubicBezTo>
                <a:cubicBezTo>
                  <a:pt x="971125" y="1282099"/>
                  <a:pt x="971125" y="1280860"/>
                  <a:pt x="971641" y="1279621"/>
                </a:cubicBezTo>
                <a:cubicBezTo>
                  <a:pt x="971228" y="1278691"/>
                  <a:pt x="971022" y="1277762"/>
                  <a:pt x="971022" y="1276678"/>
                </a:cubicBezTo>
                <a:cubicBezTo>
                  <a:pt x="971022" y="1275748"/>
                  <a:pt x="971332" y="1274664"/>
                  <a:pt x="971744" y="1273890"/>
                </a:cubicBezTo>
                <a:cubicBezTo>
                  <a:pt x="972571" y="1273115"/>
                  <a:pt x="973500" y="1272805"/>
                  <a:pt x="974223" y="1272805"/>
                </a:cubicBezTo>
                <a:close/>
                <a:moveTo>
                  <a:pt x="3913905" y="1272738"/>
                </a:moveTo>
                <a:lnTo>
                  <a:pt x="3915612" y="1277575"/>
                </a:lnTo>
                <a:cubicBezTo>
                  <a:pt x="3913905" y="1278143"/>
                  <a:pt x="3911557" y="1278001"/>
                  <a:pt x="3910917" y="1276437"/>
                </a:cubicBezTo>
                <a:cubicBezTo>
                  <a:pt x="3910277" y="1275298"/>
                  <a:pt x="3910490" y="1274729"/>
                  <a:pt x="3911130" y="1274302"/>
                </a:cubicBezTo>
                <a:cubicBezTo>
                  <a:pt x="3911770" y="1273876"/>
                  <a:pt x="3912837" y="1273449"/>
                  <a:pt x="3913905" y="1272738"/>
                </a:cubicBezTo>
                <a:close/>
                <a:moveTo>
                  <a:pt x="1316827" y="1272650"/>
                </a:moveTo>
                <a:cubicBezTo>
                  <a:pt x="1318169" y="1272186"/>
                  <a:pt x="1319615" y="1272031"/>
                  <a:pt x="1321886" y="1273735"/>
                </a:cubicBezTo>
                <a:cubicBezTo>
                  <a:pt x="1323332" y="1278846"/>
                  <a:pt x="1317860" y="1283338"/>
                  <a:pt x="1312490" y="1279931"/>
                </a:cubicBezTo>
                <a:cubicBezTo>
                  <a:pt x="1312903" y="1278227"/>
                  <a:pt x="1312284" y="1276523"/>
                  <a:pt x="1312697" y="1274664"/>
                </a:cubicBezTo>
                <a:cubicBezTo>
                  <a:pt x="1314245" y="1274354"/>
                  <a:pt x="1315485" y="1273270"/>
                  <a:pt x="1316827" y="1272650"/>
                </a:cubicBezTo>
                <a:close/>
                <a:moveTo>
                  <a:pt x="5812487" y="1271173"/>
                </a:moveTo>
                <a:cubicBezTo>
                  <a:pt x="5814194" y="1271173"/>
                  <a:pt x="5816542" y="1271457"/>
                  <a:pt x="5818463" y="1273306"/>
                </a:cubicBezTo>
                <a:cubicBezTo>
                  <a:pt x="5819103" y="1273876"/>
                  <a:pt x="5819743" y="1275156"/>
                  <a:pt x="5820170" y="1276152"/>
                </a:cubicBezTo>
                <a:cubicBezTo>
                  <a:pt x="5820597" y="1277290"/>
                  <a:pt x="5820810" y="1278143"/>
                  <a:pt x="5820383" y="1278143"/>
                </a:cubicBezTo>
                <a:cubicBezTo>
                  <a:pt x="5819103" y="1279282"/>
                  <a:pt x="5820170" y="1279424"/>
                  <a:pt x="5820170" y="1280562"/>
                </a:cubicBezTo>
                <a:cubicBezTo>
                  <a:pt x="5816328" y="1284119"/>
                  <a:pt x="5812914" y="1285257"/>
                  <a:pt x="5809712" y="1282838"/>
                </a:cubicBezTo>
                <a:cubicBezTo>
                  <a:pt x="5807578" y="1280278"/>
                  <a:pt x="5804590" y="1276721"/>
                  <a:pt x="5807152" y="1273164"/>
                </a:cubicBezTo>
                <a:cubicBezTo>
                  <a:pt x="5808219" y="1273164"/>
                  <a:pt x="5808432" y="1271884"/>
                  <a:pt x="5809499" y="1271884"/>
                </a:cubicBezTo>
                <a:cubicBezTo>
                  <a:pt x="5809499" y="1271884"/>
                  <a:pt x="5810780" y="1271315"/>
                  <a:pt x="5812487" y="1271173"/>
                </a:cubicBezTo>
                <a:close/>
                <a:moveTo>
                  <a:pt x="3770914" y="1270746"/>
                </a:moveTo>
                <a:cubicBezTo>
                  <a:pt x="3767926" y="1282554"/>
                  <a:pt x="3767072" y="1294505"/>
                  <a:pt x="3753627" y="1305317"/>
                </a:cubicBezTo>
                <a:cubicBezTo>
                  <a:pt x="3750425" y="1303894"/>
                  <a:pt x="3744449" y="1305886"/>
                  <a:pt x="3744449" y="1299768"/>
                </a:cubicBezTo>
                <a:cubicBezTo>
                  <a:pt x="3759176" y="1293793"/>
                  <a:pt x="3757041" y="1271884"/>
                  <a:pt x="3770914" y="1270746"/>
                </a:cubicBezTo>
                <a:close/>
                <a:moveTo>
                  <a:pt x="3746157" y="1270746"/>
                </a:moveTo>
                <a:cubicBezTo>
                  <a:pt x="3747224" y="1270461"/>
                  <a:pt x="3748717" y="1270746"/>
                  <a:pt x="3749998" y="1271173"/>
                </a:cubicBezTo>
                <a:cubicBezTo>
                  <a:pt x="3751279" y="1272311"/>
                  <a:pt x="3751279" y="1272311"/>
                  <a:pt x="3752560" y="1273449"/>
                </a:cubicBezTo>
                <a:cubicBezTo>
                  <a:pt x="3752986" y="1275868"/>
                  <a:pt x="3754480" y="1278143"/>
                  <a:pt x="3753627" y="1280562"/>
                </a:cubicBezTo>
                <a:cubicBezTo>
                  <a:pt x="3751705" y="1283123"/>
                  <a:pt x="3745730" y="1282270"/>
                  <a:pt x="3743382" y="1281132"/>
                </a:cubicBezTo>
                <a:cubicBezTo>
                  <a:pt x="3740608" y="1278997"/>
                  <a:pt x="3741461" y="1275298"/>
                  <a:pt x="3743382" y="1272879"/>
                </a:cubicBezTo>
                <a:cubicBezTo>
                  <a:pt x="3743809" y="1271599"/>
                  <a:pt x="3744876" y="1270888"/>
                  <a:pt x="3746157" y="1270746"/>
                </a:cubicBezTo>
                <a:close/>
                <a:moveTo>
                  <a:pt x="1653029" y="1270637"/>
                </a:moveTo>
                <a:cubicBezTo>
                  <a:pt x="1655714" y="1273270"/>
                  <a:pt x="1658605" y="1275593"/>
                  <a:pt x="1660980" y="1278691"/>
                </a:cubicBezTo>
                <a:cubicBezTo>
                  <a:pt x="1663251" y="1281635"/>
                  <a:pt x="1665007" y="1285197"/>
                  <a:pt x="1665523" y="1289999"/>
                </a:cubicBezTo>
                <a:cubicBezTo>
                  <a:pt x="1655094" y="1289999"/>
                  <a:pt x="1652719" y="1277143"/>
                  <a:pt x="1653029" y="1270637"/>
                </a:cubicBezTo>
                <a:close/>
                <a:moveTo>
                  <a:pt x="3993297" y="1269750"/>
                </a:moveTo>
                <a:cubicBezTo>
                  <a:pt x="3994150" y="1269323"/>
                  <a:pt x="3995217" y="1269466"/>
                  <a:pt x="3996071" y="1270034"/>
                </a:cubicBezTo>
                <a:cubicBezTo>
                  <a:pt x="3997138" y="1271315"/>
                  <a:pt x="3996071" y="1272453"/>
                  <a:pt x="3996285" y="1273591"/>
                </a:cubicBezTo>
                <a:cubicBezTo>
                  <a:pt x="3995217" y="1275868"/>
                  <a:pt x="3987534" y="1278997"/>
                  <a:pt x="3986254" y="1277859"/>
                </a:cubicBezTo>
                <a:cubicBezTo>
                  <a:pt x="3987748" y="1275298"/>
                  <a:pt x="3990522" y="1270746"/>
                  <a:pt x="3993297" y="1269750"/>
                </a:cubicBezTo>
                <a:close/>
                <a:moveTo>
                  <a:pt x="1288638" y="1269552"/>
                </a:moveTo>
                <a:cubicBezTo>
                  <a:pt x="1291219" y="1271101"/>
                  <a:pt x="1289258" y="1273735"/>
                  <a:pt x="1288225" y="1277143"/>
                </a:cubicBezTo>
                <a:cubicBezTo>
                  <a:pt x="1287399" y="1276368"/>
                  <a:pt x="1286573" y="1277143"/>
                  <a:pt x="1285643" y="1278072"/>
                </a:cubicBezTo>
                <a:cubicBezTo>
                  <a:pt x="1284404" y="1276833"/>
                  <a:pt x="1282236" y="1275284"/>
                  <a:pt x="1282752" y="1272960"/>
                </a:cubicBezTo>
                <a:cubicBezTo>
                  <a:pt x="1282856" y="1272341"/>
                  <a:pt x="1283372" y="1271566"/>
                  <a:pt x="1284301" y="1270637"/>
                </a:cubicBezTo>
                <a:cubicBezTo>
                  <a:pt x="1284301" y="1269862"/>
                  <a:pt x="1287812" y="1268778"/>
                  <a:pt x="1288638" y="1269552"/>
                </a:cubicBezTo>
                <a:close/>
                <a:moveTo>
                  <a:pt x="1067566" y="1269552"/>
                </a:moveTo>
                <a:cubicBezTo>
                  <a:pt x="1069322" y="1269862"/>
                  <a:pt x="1070870" y="1270946"/>
                  <a:pt x="1072006" y="1273580"/>
                </a:cubicBezTo>
                <a:cubicBezTo>
                  <a:pt x="1070664" y="1275593"/>
                  <a:pt x="1069322" y="1276213"/>
                  <a:pt x="1068083" y="1276368"/>
                </a:cubicBezTo>
                <a:lnTo>
                  <a:pt x="1064778" y="1275284"/>
                </a:lnTo>
                <a:lnTo>
                  <a:pt x="1064882" y="1275903"/>
                </a:lnTo>
                <a:cubicBezTo>
                  <a:pt x="1064882" y="1276058"/>
                  <a:pt x="1064675" y="1275903"/>
                  <a:pt x="1064262" y="1275748"/>
                </a:cubicBezTo>
                <a:cubicBezTo>
                  <a:pt x="1064159" y="1277607"/>
                  <a:pt x="1063642" y="1278227"/>
                  <a:pt x="1063229" y="1279001"/>
                </a:cubicBezTo>
                <a:cubicBezTo>
                  <a:pt x="1061991" y="1279156"/>
                  <a:pt x="1060441" y="1278227"/>
                  <a:pt x="1059306" y="1276523"/>
                </a:cubicBezTo>
                <a:cubicBezTo>
                  <a:pt x="1060545" y="1276368"/>
                  <a:pt x="1060752" y="1274354"/>
                  <a:pt x="1061887" y="1274200"/>
                </a:cubicBezTo>
                <a:cubicBezTo>
                  <a:pt x="1061887" y="1274200"/>
                  <a:pt x="1062713" y="1274354"/>
                  <a:pt x="1063333" y="1274509"/>
                </a:cubicBezTo>
                <a:lnTo>
                  <a:pt x="1064675" y="1274974"/>
                </a:lnTo>
                <a:lnTo>
                  <a:pt x="1065398" y="1273580"/>
                </a:lnTo>
                <a:cubicBezTo>
                  <a:pt x="1065708" y="1271876"/>
                  <a:pt x="1064675" y="1270482"/>
                  <a:pt x="1067566" y="1269552"/>
                </a:cubicBezTo>
                <a:close/>
                <a:moveTo>
                  <a:pt x="1606047" y="1268623"/>
                </a:moveTo>
                <a:cubicBezTo>
                  <a:pt x="1607596" y="1268003"/>
                  <a:pt x="1609455" y="1268003"/>
                  <a:pt x="1611520" y="1268778"/>
                </a:cubicBezTo>
                <a:cubicBezTo>
                  <a:pt x="1612346" y="1270482"/>
                  <a:pt x="1611727" y="1274509"/>
                  <a:pt x="1610281" y="1276678"/>
                </a:cubicBezTo>
                <a:lnTo>
                  <a:pt x="1610074" y="1276833"/>
                </a:lnTo>
                <a:lnTo>
                  <a:pt x="1610178" y="1276988"/>
                </a:lnTo>
                <a:cubicBezTo>
                  <a:pt x="1612966" y="1278846"/>
                  <a:pt x="1616373" y="1282874"/>
                  <a:pt x="1616064" y="1283338"/>
                </a:cubicBezTo>
                <a:cubicBezTo>
                  <a:pt x="1616786" y="1283803"/>
                  <a:pt x="1616373" y="1284578"/>
                  <a:pt x="1617096" y="1285042"/>
                </a:cubicBezTo>
                <a:cubicBezTo>
                  <a:pt x="1617096" y="1285042"/>
                  <a:pt x="1617922" y="1285507"/>
                  <a:pt x="1618232" y="1286746"/>
                </a:cubicBezTo>
                <a:cubicBezTo>
                  <a:pt x="1618541" y="1287830"/>
                  <a:pt x="1618851" y="1289069"/>
                  <a:pt x="1617199" y="1289999"/>
                </a:cubicBezTo>
                <a:lnTo>
                  <a:pt x="1617096" y="1289844"/>
                </a:lnTo>
                <a:lnTo>
                  <a:pt x="1616786" y="1292787"/>
                </a:lnTo>
                <a:cubicBezTo>
                  <a:pt x="1616270" y="1294801"/>
                  <a:pt x="1615031" y="1296814"/>
                  <a:pt x="1613482" y="1298828"/>
                </a:cubicBezTo>
                <a:lnTo>
                  <a:pt x="1608732" y="1303475"/>
                </a:lnTo>
                <a:lnTo>
                  <a:pt x="1608526" y="1304094"/>
                </a:lnTo>
                <a:lnTo>
                  <a:pt x="1605325" y="1307657"/>
                </a:lnTo>
                <a:lnTo>
                  <a:pt x="1605531" y="1307657"/>
                </a:lnTo>
                <a:cubicBezTo>
                  <a:pt x="1608835" y="1308432"/>
                  <a:pt x="1612553" y="1309516"/>
                  <a:pt x="1614101" y="1309980"/>
                </a:cubicBezTo>
                <a:cubicBezTo>
                  <a:pt x="1614411" y="1310755"/>
                  <a:pt x="1614411" y="1310910"/>
                  <a:pt x="1614411" y="1310910"/>
                </a:cubicBezTo>
                <a:cubicBezTo>
                  <a:pt x="1614308" y="1311839"/>
                  <a:pt x="1613792" y="1312149"/>
                  <a:pt x="1612966" y="1312149"/>
                </a:cubicBezTo>
                <a:cubicBezTo>
                  <a:pt x="1612036" y="1312304"/>
                  <a:pt x="1610798" y="1311994"/>
                  <a:pt x="1609145" y="1311529"/>
                </a:cubicBezTo>
                <a:cubicBezTo>
                  <a:pt x="1607596" y="1311065"/>
                  <a:pt x="1605944" y="1310290"/>
                  <a:pt x="1604396" y="1309361"/>
                </a:cubicBezTo>
                <a:lnTo>
                  <a:pt x="1603776" y="1309051"/>
                </a:lnTo>
                <a:lnTo>
                  <a:pt x="1596858" y="1315402"/>
                </a:lnTo>
                <a:lnTo>
                  <a:pt x="1596961" y="1317570"/>
                </a:lnTo>
                <a:lnTo>
                  <a:pt x="1597167" y="1317570"/>
                </a:lnTo>
                <a:cubicBezTo>
                  <a:pt x="1599130" y="1318655"/>
                  <a:pt x="1599955" y="1320203"/>
                  <a:pt x="1600369" y="1322062"/>
                </a:cubicBezTo>
                <a:lnTo>
                  <a:pt x="1600885" y="1324850"/>
                </a:lnTo>
                <a:lnTo>
                  <a:pt x="1600988" y="1324696"/>
                </a:lnTo>
                <a:cubicBezTo>
                  <a:pt x="1601401" y="1324386"/>
                  <a:pt x="1601814" y="1324231"/>
                  <a:pt x="1602640" y="1324386"/>
                </a:cubicBezTo>
                <a:lnTo>
                  <a:pt x="1605944" y="1327948"/>
                </a:lnTo>
                <a:lnTo>
                  <a:pt x="1607287" y="1324541"/>
                </a:lnTo>
                <a:lnTo>
                  <a:pt x="1613482" y="1331666"/>
                </a:lnTo>
                <a:lnTo>
                  <a:pt x="1615340" y="1331046"/>
                </a:lnTo>
                <a:cubicBezTo>
                  <a:pt x="1621020" y="1329962"/>
                  <a:pt x="1627008" y="1329652"/>
                  <a:pt x="1633617" y="1327484"/>
                </a:cubicBezTo>
                <a:cubicBezTo>
                  <a:pt x="1638573" y="1336778"/>
                  <a:pt x="1645078" y="1335074"/>
                  <a:pt x="1650758" y="1336623"/>
                </a:cubicBezTo>
                <a:cubicBezTo>
                  <a:pt x="1650758" y="1344368"/>
                  <a:pt x="1656953" y="1351958"/>
                  <a:pt x="1659431" y="1360012"/>
                </a:cubicBezTo>
                <a:cubicBezTo>
                  <a:pt x="1656643" y="1364659"/>
                  <a:pt x="1654681" y="1369306"/>
                  <a:pt x="1652719" y="1373953"/>
                </a:cubicBezTo>
                <a:lnTo>
                  <a:pt x="1650035" y="1379529"/>
                </a:lnTo>
                <a:lnTo>
                  <a:pt x="1653648" y="1381852"/>
                </a:lnTo>
                <a:cubicBezTo>
                  <a:pt x="1652719" y="1383401"/>
                  <a:pt x="1651893" y="1384021"/>
                  <a:pt x="1650758" y="1384021"/>
                </a:cubicBezTo>
                <a:lnTo>
                  <a:pt x="1648382" y="1382937"/>
                </a:lnTo>
                <a:lnTo>
                  <a:pt x="1646007" y="1388048"/>
                </a:lnTo>
                <a:lnTo>
                  <a:pt x="1644665" y="1388358"/>
                </a:lnTo>
                <a:lnTo>
                  <a:pt x="1647660" y="1390682"/>
                </a:lnTo>
                <a:lnTo>
                  <a:pt x="1647557" y="1391301"/>
                </a:lnTo>
                <a:lnTo>
                  <a:pt x="1647763" y="1391146"/>
                </a:lnTo>
                <a:cubicBezTo>
                  <a:pt x="1648796" y="1390836"/>
                  <a:pt x="1649931" y="1390991"/>
                  <a:pt x="1651377" y="1392075"/>
                </a:cubicBezTo>
                <a:cubicBezTo>
                  <a:pt x="1652203" y="1392540"/>
                  <a:pt x="1652513" y="1393470"/>
                  <a:pt x="1652513" y="1394399"/>
                </a:cubicBezTo>
                <a:cubicBezTo>
                  <a:pt x="1652306" y="1397342"/>
                  <a:pt x="1648796" y="1401215"/>
                  <a:pt x="1645492" y="1399355"/>
                </a:cubicBezTo>
                <a:lnTo>
                  <a:pt x="1645492" y="1399201"/>
                </a:lnTo>
                <a:lnTo>
                  <a:pt x="1645181" y="1400130"/>
                </a:lnTo>
                <a:cubicBezTo>
                  <a:pt x="1645181" y="1400130"/>
                  <a:pt x="1643839" y="1401369"/>
                  <a:pt x="1641361" y="1401369"/>
                </a:cubicBezTo>
                <a:cubicBezTo>
                  <a:pt x="1637540" y="1404003"/>
                  <a:pt x="1633720" y="1400130"/>
                  <a:pt x="1633720" y="1400130"/>
                </a:cubicBezTo>
                <a:cubicBezTo>
                  <a:pt x="1633720" y="1400130"/>
                  <a:pt x="1633720" y="1399975"/>
                  <a:pt x="1633720" y="1401369"/>
                </a:cubicBezTo>
                <a:cubicBezTo>
                  <a:pt x="1633720" y="1399975"/>
                  <a:pt x="1633410" y="1398736"/>
                  <a:pt x="1633101" y="1397342"/>
                </a:cubicBezTo>
                <a:lnTo>
                  <a:pt x="1632584" y="1394399"/>
                </a:lnTo>
                <a:lnTo>
                  <a:pt x="1631345" y="1393315"/>
                </a:lnTo>
                <a:lnTo>
                  <a:pt x="1627834" y="1395173"/>
                </a:lnTo>
                <a:cubicBezTo>
                  <a:pt x="1621639" y="1397961"/>
                  <a:pt x="1615444" y="1400130"/>
                  <a:pt x="1609455" y="1397651"/>
                </a:cubicBezTo>
                <a:lnTo>
                  <a:pt x="1609042" y="1397187"/>
                </a:lnTo>
                <a:lnTo>
                  <a:pt x="1604189" y="1394089"/>
                </a:lnTo>
                <a:lnTo>
                  <a:pt x="1602950" y="1390682"/>
                </a:lnTo>
                <a:lnTo>
                  <a:pt x="1601298" y="1389597"/>
                </a:lnTo>
                <a:cubicBezTo>
                  <a:pt x="1598510" y="1388203"/>
                  <a:pt x="1595619" y="1387274"/>
                  <a:pt x="1593037" y="1385260"/>
                </a:cubicBezTo>
                <a:cubicBezTo>
                  <a:pt x="1591798" y="1382007"/>
                  <a:pt x="1590766" y="1378135"/>
                  <a:pt x="1590146" y="1374262"/>
                </a:cubicBezTo>
                <a:lnTo>
                  <a:pt x="1590043" y="1371319"/>
                </a:lnTo>
                <a:lnTo>
                  <a:pt x="1588184" y="1375347"/>
                </a:lnTo>
                <a:cubicBezTo>
                  <a:pt x="1587152" y="1376586"/>
                  <a:pt x="1585912" y="1377515"/>
                  <a:pt x="1584673" y="1377980"/>
                </a:cubicBezTo>
                <a:lnTo>
                  <a:pt x="1582195" y="1378135"/>
                </a:lnTo>
                <a:lnTo>
                  <a:pt x="1581266" y="1378909"/>
                </a:lnTo>
                <a:cubicBezTo>
                  <a:pt x="1578478" y="1380613"/>
                  <a:pt x="1575380" y="1381697"/>
                  <a:pt x="1572593" y="1381233"/>
                </a:cubicBezTo>
                <a:lnTo>
                  <a:pt x="1568256" y="1378909"/>
                </a:lnTo>
                <a:lnTo>
                  <a:pt x="1567842" y="1379219"/>
                </a:lnTo>
                <a:cubicBezTo>
                  <a:pt x="1565468" y="1378290"/>
                  <a:pt x="1563609" y="1376121"/>
                  <a:pt x="1563919" y="1375037"/>
                </a:cubicBezTo>
                <a:cubicBezTo>
                  <a:pt x="1564539" y="1373488"/>
                  <a:pt x="1565158" y="1371939"/>
                  <a:pt x="1566913" y="1371784"/>
                </a:cubicBezTo>
                <a:cubicBezTo>
                  <a:pt x="1567430" y="1371784"/>
                  <a:pt x="1568152" y="1371939"/>
                  <a:pt x="1568978" y="1372249"/>
                </a:cubicBezTo>
                <a:cubicBezTo>
                  <a:pt x="1568978" y="1372249"/>
                  <a:pt x="1568978" y="1372249"/>
                  <a:pt x="1569392" y="1373023"/>
                </a:cubicBezTo>
                <a:lnTo>
                  <a:pt x="1570114" y="1374417"/>
                </a:lnTo>
                <a:lnTo>
                  <a:pt x="1572179" y="1370700"/>
                </a:lnTo>
                <a:lnTo>
                  <a:pt x="1571560" y="1368376"/>
                </a:lnTo>
                <a:cubicBezTo>
                  <a:pt x="1571560" y="1366208"/>
                  <a:pt x="1572386" y="1363729"/>
                  <a:pt x="1574348" y="1361561"/>
                </a:cubicBezTo>
                <a:cubicBezTo>
                  <a:pt x="1575587" y="1361251"/>
                  <a:pt x="1577136" y="1361406"/>
                  <a:pt x="1578685" y="1361871"/>
                </a:cubicBezTo>
                <a:lnTo>
                  <a:pt x="1580853" y="1362955"/>
                </a:lnTo>
                <a:lnTo>
                  <a:pt x="1584570" y="1360941"/>
                </a:lnTo>
                <a:cubicBezTo>
                  <a:pt x="1587255" y="1362181"/>
                  <a:pt x="1588700" y="1364039"/>
                  <a:pt x="1589113" y="1365898"/>
                </a:cubicBezTo>
                <a:lnTo>
                  <a:pt x="1588700" y="1368222"/>
                </a:lnTo>
                <a:lnTo>
                  <a:pt x="1589939" y="1369615"/>
                </a:lnTo>
                <a:lnTo>
                  <a:pt x="1589630" y="1362025"/>
                </a:lnTo>
                <a:cubicBezTo>
                  <a:pt x="1589939" y="1357998"/>
                  <a:pt x="1590766" y="1353816"/>
                  <a:pt x="1592314" y="1349944"/>
                </a:cubicBezTo>
                <a:lnTo>
                  <a:pt x="1598200" y="1341114"/>
                </a:lnTo>
                <a:lnTo>
                  <a:pt x="1596548" y="1342044"/>
                </a:lnTo>
                <a:cubicBezTo>
                  <a:pt x="1594379" y="1343593"/>
                  <a:pt x="1591695" y="1344832"/>
                  <a:pt x="1587461" y="1343438"/>
                </a:cubicBezTo>
                <a:cubicBezTo>
                  <a:pt x="1588391" y="1341269"/>
                  <a:pt x="1583537" y="1338326"/>
                  <a:pt x="1584983" y="1335228"/>
                </a:cubicBezTo>
                <a:cubicBezTo>
                  <a:pt x="1587461" y="1327638"/>
                  <a:pt x="1589836" y="1326245"/>
                  <a:pt x="1593657" y="1326400"/>
                </a:cubicBezTo>
                <a:lnTo>
                  <a:pt x="1594999" y="1326400"/>
                </a:lnTo>
                <a:lnTo>
                  <a:pt x="1594896" y="1326090"/>
                </a:lnTo>
                <a:lnTo>
                  <a:pt x="1594793" y="1324386"/>
                </a:lnTo>
                <a:lnTo>
                  <a:pt x="1593863" y="1325470"/>
                </a:lnTo>
                <a:lnTo>
                  <a:pt x="1592314" y="1323147"/>
                </a:lnTo>
                <a:lnTo>
                  <a:pt x="1590146" y="1321133"/>
                </a:lnTo>
                <a:lnTo>
                  <a:pt x="1589939" y="1319739"/>
                </a:lnTo>
                <a:lnTo>
                  <a:pt x="1586222" y="1314472"/>
                </a:lnTo>
                <a:lnTo>
                  <a:pt x="1585293" y="1310910"/>
                </a:lnTo>
                <a:lnTo>
                  <a:pt x="1585190" y="1310910"/>
                </a:lnTo>
                <a:cubicBezTo>
                  <a:pt x="1583847" y="1311529"/>
                  <a:pt x="1582299" y="1311994"/>
                  <a:pt x="1580440" y="1312149"/>
                </a:cubicBezTo>
                <a:cubicBezTo>
                  <a:pt x="1580646" y="1311065"/>
                  <a:pt x="1579407" y="1310910"/>
                  <a:pt x="1578271" y="1310910"/>
                </a:cubicBezTo>
                <a:cubicBezTo>
                  <a:pt x="1577239" y="1309361"/>
                  <a:pt x="1577239" y="1307502"/>
                  <a:pt x="1577755" y="1305643"/>
                </a:cubicBezTo>
                <a:cubicBezTo>
                  <a:pt x="1578168" y="1303785"/>
                  <a:pt x="1579304" y="1301771"/>
                  <a:pt x="1580646" y="1300222"/>
                </a:cubicBezTo>
                <a:lnTo>
                  <a:pt x="1583951" y="1297744"/>
                </a:lnTo>
                <a:lnTo>
                  <a:pt x="1584054" y="1295885"/>
                </a:lnTo>
                <a:lnTo>
                  <a:pt x="1587048" y="1296659"/>
                </a:lnTo>
                <a:lnTo>
                  <a:pt x="1589733" y="1296814"/>
                </a:lnTo>
                <a:cubicBezTo>
                  <a:pt x="1590456" y="1297279"/>
                  <a:pt x="1591075" y="1298208"/>
                  <a:pt x="1591488" y="1299292"/>
                </a:cubicBezTo>
                <a:lnTo>
                  <a:pt x="1591178" y="1300222"/>
                </a:lnTo>
                <a:lnTo>
                  <a:pt x="1592728" y="1303785"/>
                </a:lnTo>
                <a:lnTo>
                  <a:pt x="1594173" y="1304404"/>
                </a:lnTo>
                <a:lnTo>
                  <a:pt x="1596961" y="1303165"/>
                </a:lnTo>
                <a:lnTo>
                  <a:pt x="1598406" y="1301771"/>
                </a:lnTo>
                <a:lnTo>
                  <a:pt x="1597890" y="1299757"/>
                </a:lnTo>
                <a:cubicBezTo>
                  <a:pt x="1598613" y="1296969"/>
                  <a:pt x="1596858" y="1294801"/>
                  <a:pt x="1597477" y="1292013"/>
                </a:cubicBezTo>
                <a:cubicBezTo>
                  <a:pt x="1597477" y="1292013"/>
                  <a:pt x="1597477" y="1292013"/>
                  <a:pt x="1598716" y="1292477"/>
                </a:cubicBezTo>
                <a:cubicBezTo>
                  <a:pt x="1598613" y="1294801"/>
                  <a:pt x="1599439" y="1296659"/>
                  <a:pt x="1600162" y="1298673"/>
                </a:cubicBezTo>
                <a:lnTo>
                  <a:pt x="1600265" y="1299912"/>
                </a:lnTo>
                <a:lnTo>
                  <a:pt x="1601814" y="1298363"/>
                </a:lnTo>
                <a:cubicBezTo>
                  <a:pt x="1604911" y="1295111"/>
                  <a:pt x="1607803" y="1291548"/>
                  <a:pt x="1612553" y="1289999"/>
                </a:cubicBezTo>
                <a:lnTo>
                  <a:pt x="1616579" y="1289224"/>
                </a:lnTo>
                <a:lnTo>
                  <a:pt x="1613895" y="1286126"/>
                </a:lnTo>
                <a:cubicBezTo>
                  <a:pt x="1612862" y="1285042"/>
                  <a:pt x="1612036" y="1283958"/>
                  <a:pt x="1611107" y="1283028"/>
                </a:cubicBezTo>
                <a:lnTo>
                  <a:pt x="1606461" y="1277297"/>
                </a:lnTo>
                <a:lnTo>
                  <a:pt x="1603982" y="1276368"/>
                </a:lnTo>
                <a:lnTo>
                  <a:pt x="1603672" y="1275748"/>
                </a:lnTo>
                <a:lnTo>
                  <a:pt x="1602640" y="1275903"/>
                </a:lnTo>
                <a:cubicBezTo>
                  <a:pt x="1602640" y="1275903"/>
                  <a:pt x="1602743" y="1275903"/>
                  <a:pt x="1602433" y="1275129"/>
                </a:cubicBezTo>
                <a:lnTo>
                  <a:pt x="1603260" y="1275284"/>
                </a:lnTo>
                <a:lnTo>
                  <a:pt x="1602537" y="1274200"/>
                </a:lnTo>
                <a:cubicBezTo>
                  <a:pt x="1601917" y="1272031"/>
                  <a:pt x="1603466" y="1269552"/>
                  <a:pt x="1606047" y="1268623"/>
                </a:cubicBezTo>
                <a:close/>
                <a:moveTo>
                  <a:pt x="5450314" y="1268185"/>
                </a:moveTo>
                <a:cubicBezTo>
                  <a:pt x="5451167" y="1268042"/>
                  <a:pt x="5451807" y="1268327"/>
                  <a:pt x="5452661" y="1269181"/>
                </a:cubicBezTo>
                <a:cubicBezTo>
                  <a:pt x="5453515" y="1271315"/>
                  <a:pt x="5453302" y="1274160"/>
                  <a:pt x="5450954" y="1277859"/>
                </a:cubicBezTo>
                <a:cubicBezTo>
                  <a:pt x="5444764" y="1278428"/>
                  <a:pt x="5444551" y="1274445"/>
                  <a:pt x="5444338" y="1270746"/>
                </a:cubicBezTo>
                <a:cubicBezTo>
                  <a:pt x="5447539" y="1271173"/>
                  <a:pt x="5448393" y="1268185"/>
                  <a:pt x="5450314" y="1268185"/>
                </a:cubicBezTo>
                <a:close/>
                <a:moveTo>
                  <a:pt x="1427517" y="1268003"/>
                </a:moveTo>
                <a:cubicBezTo>
                  <a:pt x="1428963" y="1267539"/>
                  <a:pt x="1430408" y="1267848"/>
                  <a:pt x="1431648" y="1268623"/>
                </a:cubicBezTo>
                <a:lnTo>
                  <a:pt x="1434849" y="1271876"/>
                </a:lnTo>
                <a:lnTo>
                  <a:pt x="1435055" y="1271566"/>
                </a:lnTo>
                <a:cubicBezTo>
                  <a:pt x="1435468" y="1271411"/>
                  <a:pt x="1435985" y="1271566"/>
                  <a:pt x="1436398" y="1272031"/>
                </a:cubicBezTo>
                <a:cubicBezTo>
                  <a:pt x="1436398" y="1272031"/>
                  <a:pt x="1436398" y="1272186"/>
                  <a:pt x="1436191" y="1272650"/>
                </a:cubicBezTo>
                <a:lnTo>
                  <a:pt x="1435262" y="1273425"/>
                </a:lnTo>
                <a:lnTo>
                  <a:pt x="1435985" y="1276058"/>
                </a:lnTo>
                <a:cubicBezTo>
                  <a:pt x="1432577" y="1279621"/>
                  <a:pt x="1427621" y="1278536"/>
                  <a:pt x="1425039" y="1275439"/>
                </a:cubicBezTo>
                <a:lnTo>
                  <a:pt x="1424420" y="1274200"/>
                </a:lnTo>
                <a:lnTo>
                  <a:pt x="1422458" y="1274819"/>
                </a:lnTo>
                <a:cubicBezTo>
                  <a:pt x="1421838" y="1275284"/>
                  <a:pt x="1421425" y="1275748"/>
                  <a:pt x="1420909" y="1276523"/>
                </a:cubicBezTo>
                <a:cubicBezTo>
                  <a:pt x="1420909" y="1276523"/>
                  <a:pt x="1420909" y="1276678"/>
                  <a:pt x="1418534" y="1276213"/>
                </a:cubicBezTo>
                <a:lnTo>
                  <a:pt x="1418121" y="1275593"/>
                </a:lnTo>
                <a:cubicBezTo>
                  <a:pt x="1418018" y="1275129"/>
                  <a:pt x="1418534" y="1274509"/>
                  <a:pt x="1419361" y="1273890"/>
                </a:cubicBezTo>
                <a:cubicBezTo>
                  <a:pt x="1420496" y="1272960"/>
                  <a:pt x="1422251" y="1272031"/>
                  <a:pt x="1423800" y="1271256"/>
                </a:cubicBezTo>
                <a:lnTo>
                  <a:pt x="1424007" y="1271101"/>
                </a:lnTo>
                <a:close/>
                <a:moveTo>
                  <a:pt x="1407589" y="1267539"/>
                </a:moveTo>
                <a:lnTo>
                  <a:pt x="1412132" y="1271256"/>
                </a:lnTo>
                <a:lnTo>
                  <a:pt x="1412442" y="1270637"/>
                </a:lnTo>
                <a:cubicBezTo>
                  <a:pt x="1414507" y="1271566"/>
                  <a:pt x="1415746" y="1272805"/>
                  <a:pt x="1416366" y="1274200"/>
                </a:cubicBezTo>
                <a:cubicBezTo>
                  <a:pt x="1416985" y="1275593"/>
                  <a:pt x="1416985" y="1276988"/>
                  <a:pt x="1416572" y="1278381"/>
                </a:cubicBezTo>
                <a:lnTo>
                  <a:pt x="1413784" y="1278227"/>
                </a:lnTo>
                <a:lnTo>
                  <a:pt x="1413681" y="1278536"/>
                </a:lnTo>
                <a:cubicBezTo>
                  <a:pt x="1410067" y="1282874"/>
                  <a:pt x="1398502" y="1283648"/>
                  <a:pt x="1397470" y="1279311"/>
                </a:cubicBezTo>
                <a:cubicBezTo>
                  <a:pt x="1396850" y="1276988"/>
                  <a:pt x="1399329" y="1273270"/>
                  <a:pt x="1407589" y="1267539"/>
                </a:cubicBezTo>
                <a:close/>
                <a:moveTo>
                  <a:pt x="3882319" y="1267331"/>
                </a:moveTo>
                <a:cubicBezTo>
                  <a:pt x="3885733" y="1268185"/>
                  <a:pt x="3888935" y="1271173"/>
                  <a:pt x="3890855" y="1275014"/>
                </a:cubicBezTo>
                <a:cubicBezTo>
                  <a:pt x="3885520" y="1278570"/>
                  <a:pt x="3881038" y="1277433"/>
                  <a:pt x="3875489" y="1273876"/>
                </a:cubicBezTo>
                <a:cubicBezTo>
                  <a:pt x="3875916" y="1271599"/>
                  <a:pt x="3879757" y="1269039"/>
                  <a:pt x="3882319" y="1267331"/>
                </a:cubicBezTo>
                <a:close/>
                <a:moveTo>
                  <a:pt x="4281200" y="1266335"/>
                </a:moveTo>
                <a:cubicBezTo>
                  <a:pt x="4282908" y="1268612"/>
                  <a:pt x="4282694" y="1268612"/>
                  <a:pt x="4282267" y="1269607"/>
                </a:cubicBezTo>
                <a:cubicBezTo>
                  <a:pt x="4282694" y="1268612"/>
                  <a:pt x="4283974" y="1269181"/>
                  <a:pt x="4285468" y="1268754"/>
                </a:cubicBezTo>
                <a:cubicBezTo>
                  <a:pt x="4291017" y="1265197"/>
                  <a:pt x="4295072" y="1270319"/>
                  <a:pt x="4298487" y="1277433"/>
                </a:cubicBezTo>
                <a:cubicBezTo>
                  <a:pt x="4296779" y="1277859"/>
                  <a:pt x="4299127" y="1281843"/>
                  <a:pt x="4299127" y="1284546"/>
                </a:cubicBezTo>
                <a:lnTo>
                  <a:pt x="4298700" y="1285257"/>
                </a:lnTo>
                <a:lnTo>
                  <a:pt x="4303395" y="1286395"/>
                </a:lnTo>
                <a:cubicBezTo>
                  <a:pt x="4302115" y="1289526"/>
                  <a:pt x="4301475" y="1291091"/>
                  <a:pt x="4301262" y="1293793"/>
                </a:cubicBezTo>
                <a:cubicBezTo>
                  <a:pt x="4296993" y="1292086"/>
                  <a:pt x="4293151" y="1292086"/>
                  <a:pt x="4290377" y="1291374"/>
                </a:cubicBezTo>
                <a:lnTo>
                  <a:pt x="4288670" y="1290379"/>
                </a:lnTo>
                <a:lnTo>
                  <a:pt x="4285255" y="1290236"/>
                </a:lnTo>
                <a:cubicBezTo>
                  <a:pt x="4282480" y="1289241"/>
                  <a:pt x="4279920" y="1287533"/>
                  <a:pt x="4279066" y="1285115"/>
                </a:cubicBezTo>
                <a:cubicBezTo>
                  <a:pt x="4276291" y="1279567"/>
                  <a:pt x="4276932" y="1275868"/>
                  <a:pt x="4278212" y="1272596"/>
                </a:cubicBezTo>
                <a:cubicBezTo>
                  <a:pt x="4278212" y="1272596"/>
                  <a:pt x="4278212" y="1272738"/>
                  <a:pt x="4277785" y="1273733"/>
                </a:cubicBezTo>
                <a:cubicBezTo>
                  <a:pt x="4271596" y="1275583"/>
                  <a:pt x="4260925" y="1278713"/>
                  <a:pt x="4258364" y="1276010"/>
                </a:cubicBezTo>
                <a:cubicBezTo>
                  <a:pt x="4258791" y="1274871"/>
                  <a:pt x="4259431" y="1273876"/>
                  <a:pt x="4260925" y="1273306"/>
                </a:cubicBezTo>
                <a:cubicBezTo>
                  <a:pt x="4262419" y="1272879"/>
                  <a:pt x="4261992" y="1274018"/>
                  <a:pt x="4262419" y="1272879"/>
                </a:cubicBezTo>
                <a:cubicBezTo>
                  <a:pt x="4263913" y="1272453"/>
                  <a:pt x="4262846" y="1271884"/>
                  <a:pt x="4262846" y="1271884"/>
                </a:cubicBezTo>
                <a:cubicBezTo>
                  <a:pt x="4262846" y="1271884"/>
                  <a:pt x="4263913" y="1272453"/>
                  <a:pt x="4263913" y="1272453"/>
                </a:cubicBezTo>
                <a:cubicBezTo>
                  <a:pt x="4263913" y="1272453"/>
                  <a:pt x="4263913" y="1272453"/>
                  <a:pt x="4266901" y="1271457"/>
                </a:cubicBezTo>
                <a:cubicBezTo>
                  <a:pt x="4270529" y="1269466"/>
                  <a:pt x="4270956" y="1268469"/>
                  <a:pt x="4273090" y="1266904"/>
                </a:cubicBezTo>
                <a:cubicBezTo>
                  <a:pt x="4276078" y="1266051"/>
                  <a:pt x="4277145" y="1266620"/>
                  <a:pt x="4281200" y="1266335"/>
                </a:cubicBezTo>
                <a:close/>
                <a:moveTo>
                  <a:pt x="4396446" y="1266193"/>
                </a:moveTo>
                <a:cubicBezTo>
                  <a:pt x="4396874" y="1267901"/>
                  <a:pt x="4398367" y="1267616"/>
                  <a:pt x="4400075" y="1267331"/>
                </a:cubicBezTo>
                <a:cubicBezTo>
                  <a:pt x="4401996" y="1269039"/>
                  <a:pt x="4403276" y="1271457"/>
                  <a:pt x="4403917" y="1274160"/>
                </a:cubicBezTo>
                <a:lnTo>
                  <a:pt x="4403489" y="1279140"/>
                </a:lnTo>
                <a:lnTo>
                  <a:pt x="4409679" y="1279851"/>
                </a:lnTo>
                <a:cubicBezTo>
                  <a:pt x="4410105" y="1282412"/>
                  <a:pt x="4409679" y="1284546"/>
                  <a:pt x="4408825" y="1286253"/>
                </a:cubicBezTo>
                <a:lnTo>
                  <a:pt x="4408612" y="1286537"/>
                </a:lnTo>
                <a:lnTo>
                  <a:pt x="4415441" y="1285969"/>
                </a:lnTo>
                <a:cubicBezTo>
                  <a:pt x="4415014" y="1287960"/>
                  <a:pt x="4415228" y="1289810"/>
                  <a:pt x="4415441" y="1291801"/>
                </a:cubicBezTo>
                <a:lnTo>
                  <a:pt x="4415014" y="1295216"/>
                </a:lnTo>
                <a:lnTo>
                  <a:pt x="4416295" y="1295216"/>
                </a:lnTo>
                <a:cubicBezTo>
                  <a:pt x="4417575" y="1297919"/>
                  <a:pt x="4418216" y="1300195"/>
                  <a:pt x="4418216" y="1301902"/>
                </a:cubicBezTo>
                <a:lnTo>
                  <a:pt x="4417148" y="1303610"/>
                </a:lnTo>
                <a:lnTo>
                  <a:pt x="4423124" y="1303325"/>
                </a:lnTo>
                <a:cubicBezTo>
                  <a:pt x="4425472" y="1303610"/>
                  <a:pt x="4427393" y="1304464"/>
                  <a:pt x="4428459" y="1305459"/>
                </a:cubicBezTo>
                <a:lnTo>
                  <a:pt x="4429527" y="1308020"/>
                </a:lnTo>
                <a:lnTo>
                  <a:pt x="4431234" y="1305602"/>
                </a:lnTo>
                <a:cubicBezTo>
                  <a:pt x="4432515" y="1304464"/>
                  <a:pt x="4435076" y="1303325"/>
                  <a:pt x="4437850" y="1302757"/>
                </a:cubicBezTo>
                <a:cubicBezTo>
                  <a:pt x="4440838" y="1302187"/>
                  <a:pt x="4443613" y="1302330"/>
                  <a:pt x="4445320" y="1303467"/>
                </a:cubicBezTo>
                <a:cubicBezTo>
                  <a:pt x="4444039" y="1305744"/>
                  <a:pt x="4442545" y="1308163"/>
                  <a:pt x="4441051" y="1310439"/>
                </a:cubicBezTo>
                <a:cubicBezTo>
                  <a:pt x="4441265" y="1309301"/>
                  <a:pt x="4430594" y="1311435"/>
                  <a:pt x="4430594" y="1311435"/>
                </a:cubicBezTo>
                <a:lnTo>
                  <a:pt x="4429527" y="1309585"/>
                </a:lnTo>
                <a:lnTo>
                  <a:pt x="4428459" y="1314565"/>
                </a:lnTo>
                <a:cubicBezTo>
                  <a:pt x="4425045" y="1321109"/>
                  <a:pt x="4416935" y="1327511"/>
                  <a:pt x="4412880" y="1324808"/>
                </a:cubicBezTo>
                <a:cubicBezTo>
                  <a:pt x="4410960" y="1323385"/>
                  <a:pt x="4409892" y="1319686"/>
                  <a:pt x="4411386" y="1312431"/>
                </a:cubicBezTo>
                <a:lnTo>
                  <a:pt x="4412667" y="1306740"/>
                </a:lnTo>
                <a:lnTo>
                  <a:pt x="4412240" y="1306882"/>
                </a:lnTo>
                <a:cubicBezTo>
                  <a:pt x="4410746" y="1306740"/>
                  <a:pt x="4409038" y="1306171"/>
                  <a:pt x="4407545" y="1305175"/>
                </a:cubicBezTo>
                <a:lnTo>
                  <a:pt x="4403703" y="1299627"/>
                </a:lnTo>
                <a:lnTo>
                  <a:pt x="4384068" y="1300338"/>
                </a:lnTo>
                <a:cubicBezTo>
                  <a:pt x="4374464" y="1301191"/>
                  <a:pt x="4365288" y="1301902"/>
                  <a:pt x="4356537" y="1301049"/>
                </a:cubicBezTo>
                <a:lnTo>
                  <a:pt x="4364647" y="1295643"/>
                </a:lnTo>
                <a:lnTo>
                  <a:pt x="4363793" y="1294931"/>
                </a:lnTo>
                <a:cubicBezTo>
                  <a:pt x="4359525" y="1293793"/>
                  <a:pt x="4355043" y="1299484"/>
                  <a:pt x="4351629" y="1293793"/>
                </a:cubicBezTo>
                <a:cubicBezTo>
                  <a:pt x="4351415" y="1290236"/>
                  <a:pt x="4349921" y="1286395"/>
                  <a:pt x="4350988" y="1282412"/>
                </a:cubicBezTo>
                <a:cubicBezTo>
                  <a:pt x="4351202" y="1281132"/>
                  <a:pt x="4352055" y="1279709"/>
                  <a:pt x="4353122" y="1278286"/>
                </a:cubicBezTo>
                <a:cubicBezTo>
                  <a:pt x="4359952" y="1284830"/>
                  <a:pt x="4366568" y="1286680"/>
                  <a:pt x="4373824" y="1290948"/>
                </a:cubicBezTo>
                <a:lnTo>
                  <a:pt x="4373611" y="1291517"/>
                </a:lnTo>
                <a:lnTo>
                  <a:pt x="4383642" y="1288956"/>
                </a:lnTo>
                <a:lnTo>
                  <a:pt x="4390898" y="1288103"/>
                </a:lnTo>
                <a:lnTo>
                  <a:pt x="4390258" y="1287533"/>
                </a:lnTo>
                <a:cubicBezTo>
                  <a:pt x="4387270" y="1277717"/>
                  <a:pt x="4387483" y="1269750"/>
                  <a:pt x="4396446" y="1266193"/>
                </a:cubicBezTo>
                <a:close/>
                <a:moveTo>
                  <a:pt x="1623085" y="1266145"/>
                </a:moveTo>
                <a:cubicBezTo>
                  <a:pt x="1630106" y="1268933"/>
                  <a:pt x="1634753" y="1272650"/>
                  <a:pt x="1633513" y="1279466"/>
                </a:cubicBezTo>
                <a:cubicBezTo>
                  <a:pt x="1632378" y="1279001"/>
                  <a:pt x="1631965" y="1280085"/>
                  <a:pt x="1631552" y="1281170"/>
                </a:cubicBezTo>
                <a:cubicBezTo>
                  <a:pt x="1626079" y="1282719"/>
                  <a:pt x="1619471" y="1275903"/>
                  <a:pt x="1618645" y="1271101"/>
                </a:cubicBezTo>
                <a:cubicBezTo>
                  <a:pt x="1618438" y="1269398"/>
                  <a:pt x="1618748" y="1268003"/>
                  <a:pt x="1619987" y="1267074"/>
                </a:cubicBezTo>
                <a:cubicBezTo>
                  <a:pt x="1620710" y="1266610"/>
                  <a:pt x="1621742" y="1266300"/>
                  <a:pt x="1623085" y="1266145"/>
                </a:cubicBezTo>
                <a:close/>
                <a:moveTo>
                  <a:pt x="3731858" y="1265909"/>
                </a:moveTo>
                <a:cubicBezTo>
                  <a:pt x="3733778" y="1267331"/>
                  <a:pt x="3734632" y="1268612"/>
                  <a:pt x="3736553" y="1271173"/>
                </a:cubicBezTo>
                <a:cubicBezTo>
                  <a:pt x="3733351" y="1275583"/>
                  <a:pt x="3728870" y="1272169"/>
                  <a:pt x="3729297" y="1268896"/>
                </a:cubicBezTo>
                <a:cubicBezTo>
                  <a:pt x="3729510" y="1267758"/>
                  <a:pt x="3730150" y="1266620"/>
                  <a:pt x="3731858" y="1265909"/>
                </a:cubicBezTo>
                <a:close/>
                <a:moveTo>
                  <a:pt x="4755846" y="1264912"/>
                </a:moveTo>
                <a:cubicBezTo>
                  <a:pt x="4757766" y="1266904"/>
                  <a:pt x="4758407" y="1268896"/>
                  <a:pt x="4759047" y="1270746"/>
                </a:cubicBezTo>
                <a:cubicBezTo>
                  <a:pt x="4759687" y="1272738"/>
                  <a:pt x="4759901" y="1274445"/>
                  <a:pt x="4760754" y="1276437"/>
                </a:cubicBezTo>
                <a:cubicBezTo>
                  <a:pt x="4752644" y="1286111"/>
                  <a:pt x="4746242" y="1281985"/>
                  <a:pt x="4745388" y="1276010"/>
                </a:cubicBezTo>
                <a:cubicBezTo>
                  <a:pt x="4745175" y="1274018"/>
                  <a:pt x="4745601" y="1271884"/>
                  <a:pt x="4746668" y="1270034"/>
                </a:cubicBezTo>
                <a:cubicBezTo>
                  <a:pt x="4748163" y="1267474"/>
                  <a:pt x="4751151" y="1265482"/>
                  <a:pt x="4755846" y="1264912"/>
                </a:cubicBezTo>
                <a:close/>
                <a:moveTo>
                  <a:pt x="1356890" y="1264751"/>
                </a:moveTo>
                <a:cubicBezTo>
                  <a:pt x="1358129" y="1264906"/>
                  <a:pt x="1357820" y="1265990"/>
                  <a:pt x="1358232" y="1266764"/>
                </a:cubicBezTo>
                <a:lnTo>
                  <a:pt x="1357097" y="1269398"/>
                </a:lnTo>
                <a:lnTo>
                  <a:pt x="1359471" y="1269707"/>
                </a:lnTo>
                <a:cubicBezTo>
                  <a:pt x="1374857" y="1273580"/>
                  <a:pt x="1377438" y="1290773"/>
                  <a:pt x="1370624" y="1300067"/>
                </a:cubicBezTo>
                <a:lnTo>
                  <a:pt x="1365667" y="1304249"/>
                </a:lnTo>
                <a:lnTo>
                  <a:pt x="1367009" y="1305643"/>
                </a:lnTo>
                <a:cubicBezTo>
                  <a:pt x="1367835" y="1307347"/>
                  <a:pt x="1368145" y="1309051"/>
                  <a:pt x="1367732" y="1309825"/>
                </a:cubicBezTo>
                <a:cubicBezTo>
                  <a:pt x="1366080" y="1311839"/>
                  <a:pt x="1362672" y="1313079"/>
                  <a:pt x="1359988" y="1310910"/>
                </a:cubicBezTo>
                <a:cubicBezTo>
                  <a:pt x="1358645" y="1310290"/>
                  <a:pt x="1357923" y="1309206"/>
                  <a:pt x="1357200" y="1307967"/>
                </a:cubicBezTo>
                <a:lnTo>
                  <a:pt x="1354928" y="1305024"/>
                </a:lnTo>
                <a:lnTo>
                  <a:pt x="1349043" y="1303475"/>
                </a:lnTo>
                <a:cubicBezTo>
                  <a:pt x="1340060" y="1298518"/>
                  <a:pt x="1337891" y="1288295"/>
                  <a:pt x="1329321" y="1278691"/>
                </a:cubicBezTo>
                <a:cubicBezTo>
                  <a:pt x="1339233" y="1280395"/>
                  <a:pt x="1344396" y="1272496"/>
                  <a:pt x="1351521" y="1269862"/>
                </a:cubicBezTo>
                <a:lnTo>
                  <a:pt x="1353793" y="1269552"/>
                </a:lnTo>
                <a:lnTo>
                  <a:pt x="1355135" y="1265680"/>
                </a:lnTo>
                <a:cubicBezTo>
                  <a:pt x="1355548" y="1265060"/>
                  <a:pt x="1356167" y="1264751"/>
                  <a:pt x="1356890" y="1264751"/>
                </a:cubicBezTo>
                <a:close/>
                <a:moveTo>
                  <a:pt x="4660020" y="1263917"/>
                </a:moveTo>
                <a:cubicBezTo>
                  <a:pt x="4661514" y="1263917"/>
                  <a:pt x="4663008" y="1264059"/>
                  <a:pt x="4664288" y="1264628"/>
                </a:cubicBezTo>
                <a:cubicBezTo>
                  <a:pt x="4666850" y="1266762"/>
                  <a:pt x="4667063" y="1269323"/>
                  <a:pt x="4666209" y="1270461"/>
                </a:cubicBezTo>
                <a:lnTo>
                  <a:pt x="4660874" y="1276152"/>
                </a:lnTo>
                <a:lnTo>
                  <a:pt x="4661087" y="1277148"/>
                </a:lnTo>
                <a:cubicBezTo>
                  <a:pt x="4660233" y="1280847"/>
                  <a:pt x="4653617" y="1282127"/>
                  <a:pt x="4649562" y="1280420"/>
                </a:cubicBezTo>
                <a:lnTo>
                  <a:pt x="4647215" y="1278855"/>
                </a:lnTo>
                <a:lnTo>
                  <a:pt x="4646788" y="1278855"/>
                </a:lnTo>
                <a:cubicBezTo>
                  <a:pt x="4642946" y="1275441"/>
                  <a:pt x="4642946" y="1275441"/>
                  <a:pt x="4647642" y="1267901"/>
                </a:cubicBezTo>
                <a:cubicBezTo>
                  <a:pt x="4648496" y="1266620"/>
                  <a:pt x="4649776" y="1265766"/>
                  <a:pt x="4651270" y="1265197"/>
                </a:cubicBezTo>
                <a:cubicBezTo>
                  <a:pt x="4652764" y="1264628"/>
                  <a:pt x="4654471" y="1264628"/>
                  <a:pt x="4656392" y="1265055"/>
                </a:cubicBezTo>
                <a:cubicBezTo>
                  <a:pt x="4657245" y="1264486"/>
                  <a:pt x="4658740" y="1264059"/>
                  <a:pt x="4660020" y="1263917"/>
                </a:cubicBezTo>
                <a:close/>
                <a:moveTo>
                  <a:pt x="1530464" y="1263822"/>
                </a:moveTo>
                <a:cubicBezTo>
                  <a:pt x="1530980" y="1263667"/>
                  <a:pt x="1531600" y="1263667"/>
                  <a:pt x="1532529" y="1263976"/>
                </a:cubicBezTo>
                <a:cubicBezTo>
                  <a:pt x="1532529" y="1263976"/>
                  <a:pt x="1532529" y="1263976"/>
                  <a:pt x="1533045" y="1264751"/>
                </a:cubicBezTo>
                <a:cubicBezTo>
                  <a:pt x="1533871" y="1266300"/>
                  <a:pt x="1534388" y="1266919"/>
                  <a:pt x="1534904" y="1267694"/>
                </a:cubicBezTo>
                <a:cubicBezTo>
                  <a:pt x="1534594" y="1268778"/>
                  <a:pt x="1533252" y="1271411"/>
                  <a:pt x="1532116" y="1271101"/>
                </a:cubicBezTo>
                <a:cubicBezTo>
                  <a:pt x="1529741" y="1270327"/>
                  <a:pt x="1527573" y="1268468"/>
                  <a:pt x="1527882" y="1267384"/>
                </a:cubicBezTo>
                <a:cubicBezTo>
                  <a:pt x="1528296" y="1265680"/>
                  <a:pt x="1528709" y="1264131"/>
                  <a:pt x="1530464" y="1263822"/>
                </a:cubicBezTo>
                <a:close/>
                <a:moveTo>
                  <a:pt x="4831183" y="1263632"/>
                </a:moveTo>
                <a:cubicBezTo>
                  <a:pt x="4832036" y="1264343"/>
                  <a:pt x="4832036" y="1264343"/>
                  <a:pt x="4832036" y="1264343"/>
                </a:cubicBezTo>
                <a:cubicBezTo>
                  <a:pt x="4832677" y="1265482"/>
                  <a:pt x="4832463" y="1266335"/>
                  <a:pt x="4831610" y="1267189"/>
                </a:cubicBezTo>
                <a:cubicBezTo>
                  <a:pt x="4830543" y="1268185"/>
                  <a:pt x="4829048" y="1269039"/>
                  <a:pt x="4827128" y="1270034"/>
                </a:cubicBezTo>
                <a:cubicBezTo>
                  <a:pt x="4823073" y="1271884"/>
                  <a:pt x="4817310" y="1272596"/>
                  <a:pt x="4815817" y="1273164"/>
                </a:cubicBezTo>
                <a:cubicBezTo>
                  <a:pt x="4814109" y="1273591"/>
                  <a:pt x="4813469" y="1274587"/>
                  <a:pt x="4813469" y="1274587"/>
                </a:cubicBezTo>
                <a:cubicBezTo>
                  <a:pt x="4812189" y="1272311"/>
                  <a:pt x="4827128" y="1265624"/>
                  <a:pt x="4831183" y="1263632"/>
                </a:cubicBezTo>
                <a:close/>
                <a:moveTo>
                  <a:pt x="4336689" y="1263205"/>
                </a:moveTo>
                <a:cubicBezTo>
                  <a:pt x="4343732" y="1263632"/>
                  <a:pt x="4346293" y="1268469"/>
                  <a:pt x="4345653" y="1272879"/>
                </a:cubicBezTo>
                <a:lnTo>
                  <a:pt x="4342238" y="1278143"/>
                </a:lnTo>
                <a:lnTo>
                  <a:pt x="4343732" y="1278286"/>
                </a:lnTo>
                <a:cubicBezTo>
                  <a:pt x="4344799" y="1278997"/>
                  <a:pt x="4345439" y="1279993"/>
                  <a:pt x="4345866" y="1281132"/>
                </a:cubicBezTo>
                <a:cubicBezTo>
                  <a:pt x="4346506" y="1283692"/>
                  <a:pt x="4346720" y="1287107"/>
                  <a:pt x="4347574" y="1290094"/>
                </a:cubicBezTo>
                <a:cubicBezTo>
                  <a:pt x="4343946" y="1290379"/>
                  <a:pt x="4341598" y="1289526"/>
                  <a:pt x="4340317" y="1287392"/>
                </a:cubicBezTo>
                <a:lnTo>
                  <a:pt x="4339250" y="1278855"/>
                </a:lnTo>
                <a:lnTo>
                  <a:pt x="4334555" y="1279567"/>
                </a:lnTo>
                <a:cubicBezTo>
                  <a:pt x="4331567" y="1275298"/>
                  <a:pt x="4330927" y="1271457"/>
                  <a:pt x="4330073" y="1268896"/>
                </a:cubicBezTo>
                <a:cubicBezTo>
                  <a:pt x="4332634" y="1267047"/>
                  <a:pt x="4334128" y="1265055"/>
                  <a:pt x="4336689" y="1263205"/>
                </a:cubicBezTo>
                <a:close/>
                <a:moveTo>
                  <a:pt x="1129210" y="1262892"/>
                </a:moveTo>
                <a:cubicBezTo>
                  <a:pt x="1130966" y="1263047"/>
                  <a:pt x="1132721" y="1262427"/>
                  <a:pt x="1134373" y="1263356"/>
                </a:cubicBezTo>
                <a:cubicBezTo>
                  <a:pt x="1136128" y="1265215"/>
                  <a:pt x="1135199" y="1269398"/>
                  <a:pt x="1134270" y="1270946"/>
                </a:cubicBezTo>
                <a:cubicBezTo>
                  <a:pt x="1132514" y="1272341"/>
                  <a:pt x="1129933" y="1271256"/>
                  <a:pt x="1128281" y="1269398"/>
                </a:cubicBezTo>
                <a:cubicBezTo>
                  <a:pt x="1127455" y="1268933"/>
                  <a:pt x="1127042" y="1268003"/>
                  <a:pt x="1126939" y="1267074"/>
                </a:cubicBezTo>
                <a:cubicBezTo>
                  <a:pt x="1126835" y="1266145"/>
                  <a:pt x="1127042" y="1265215"/>
                  <a:pt x="1127455" y="1264441"/>
                </a:cubicBezTo>
                <a:cubicBezTo>
                  <a:pt x="1128384" y="1263667"/>
                  <a:pt x="1128384" y="1263667"/>
                  <a:pt x="1129210" y="1262892"/>
                </a:cubicBezTo>
                <a:close/>
                <a:moveTo>
                  <a:pt x="3442034" y="1262352"/>
                </a:moveTo>
                <a:cubicBezTo>
                  <a:pt x="3442034" y="1262352"/>
                  <a:pt x="3444381" y="1263917"/>
                  <a:pt x="3444381" y="1263917"/>
                </a:cubicBezTo>
                <a:cubicBezTo>
                  <a:pt x="3446515" y="1266762"/>
                  <a:pt x="3447582" y="1268185"/>
                  <a:pt x="3449717" y="1269750"/>
                </a:cubicBezTo>
                <a:cubicBezTo>
                  <a:pt x="3448436" y="1272026"/>
                  <a:pt x="3447369" y="1271884"/>
                  <a:pt x="3446302" y="1270461"/>
                </a:cubicBezTo>
                <a:cubicBezTo>
                  <a:pt x="3446302" y="1270461"/>
                  <a:pt x="3445235" y="1269039"/>
                  <a:pt x="3444168" y="1267616"/>
                </a:cubicBezTo>
                <a:cubicBezTo>
                  <a:pt x="3443101" y="1266193"/>
                  <a:pt x="3441820" y="1266051"/>
                  <a:pt x="3441820" y="1266051"/>
                </a:cubicBezTo>
                <a:cubicBezTo>
                  <a:pt x="3440753" y="1264628"/>
                  <a:pt x="3440967" y="1263348"/>
                  <a:pt x="3442034" y="1262352"/>
                </a:cubicBezTo>
                <a:close/>
                <a:moveTo>
                  <a:pt x="5234973" y="1261214"/>
                </a:moveTo>
                <a:cubicBezTo>
                  <a:pt x="5231985" y="1273022"/>
                  <a:pt x="5204881" y="1284119"/>
                  <a:pt x="5198905" y="1272879"/>
                </a:cubicBezTo>
                <a:cubicBezTo>
                  <a:pt x="5212137" y="1269892"/>
                  <a:pt x="5219606" y="1261640"/>
                  <a:pt x="5234973" y="1261214"/>
                </a:cubicBezTo>
                <a:close/>
                <a:moveTo>
                  <a:pt x="4962436" y="1261214"/>
                </a:moveTo>
                <a:cubicBezTo>
                  <a:pt x="4962436" y="1261214"/>
                  <a:pt x="4962436" y="1261214"/>
                  <a:pt x="4963716" y="1262352"/>
                </a:cubicBezTo>
                <a:cubicBezTo>
                  <a:pt x="4961369" y="1262495"/>
                  <a:pt x="4960942" y="1267474"/>
                  <a:pt x="4958167" y="1265197"/>
                </a:cubicBezTo>
                <a:cubicBezTo>
                  <a:pt x="4959235" y="1263917"/>
                  <a:pt x="4961369" y="1262495"/>
                  <a:pt x="4962436" y="1261214"/>
                </a:cubicBezTo>
                <a:close/>
                <a:moveTo>
                  <a:pt x="4042597" y="1260930"/>
                </a:moveTo>
                <a:cubicBezTo>
                  <a:pt x="4043877" y="1260787"/>
                  <a:pt x="4045371" y="1260930"/>
                  <a:pt x="4046865" y="1261498"/>
                </a:cubicBezTo>
                <a:cubicBezTo>
                  <a:pt x="4046865" y="1261498"/>
                  <a:pt x="4046865" y="1261498"/>
                  <a:pt x="4045798" y="1261498"/>
                </a:cubicBezTo>
                <a:cubicBezTo>
                  <a:pt x="4045798" y="1261498"/>
                  <a:pt x="4046865" y="1261498"/>
                  <a:pt x="4047079" y="1262637"/>
                </a:cubicBezTo>
                <a:cubicBezTo>
                  <a:pt x="4041316" y="1265909"/>
                  <a:pt x="4031926" y="1264343"/>
                  <a:pt x="4030645" y="1264343"/>
                </a:cubicBezTo>
                <a:cubicBezTo>
                  <a:pt x="4030645" y="1263205"/>
                  <a:pt x="4030645" y="1263205"/>
                  <a:pt x="4030645" y="1263205"/>
                </a:cubicBezTo>
                <a:cubicBezTo>
                  <a:pt x="4034273" y="1264202"/>
                  <a:pt x="4038328" y="1261356"/>
                  <a:pt x="4042597" y="1260930"/>
                </a:cubicBezTo>
                <a:close/>
                <a:moveTo>
                  <a:pt x="4358671" y="1260502"/>
                </a:moveTo>
                <a:cubicBezTo>
                  <a:pt x="4359738" y="1260645"/>
                  <a:pt x="4360592" y="1261071"/>
                  <a:pt x="4360806" y="1261498"/>
                </a:cubicBezTo>
                <a:cubicBezTo>
                  <a:pt x="4362940" y="1264628"/>
                  <a:pt x="4352696" y="1273306"/>
                  <a:pt x="4353763" y="1261214"/>
                </a:cubicBezTo>
                <a:cubicBezTo>
                  <a:pt x="4355897" y="1260645"/>
                  <a:pt x="4357605" y="1260502"/>
                  <a:pt x="4358671" y="1260502"/>
                </a:cubicBezTo>
                <a:close/>
                <a:moveTo>
                  <a:pt x="4023602" y="1260360"/>
                </a:moveTo>
                <a:cubicBezTo>
                  <a:pt x="4023602" y="1260360"/>
                  <a:pt x="4023602" y="1260360"/>
                  <a:pt x="4024670" y="1261640"/>
                </a:cubicBezTo>
                <a:cubicBezTo>
                  <a:pt x="4022322" y="1261498"/>
                  <a:pt x="4021468" y="1266335"/>
                  <a:pt x="4018907" y="1263775"/>
                </a:cubicBezTo>
                <a:cubicBezTo>
                  <a:pt x="4020188" y="1262637"/>
                  <a:pt x="4022322" y="1261498"/>
                  <a:pt x="4023602" y="1260360"/>
                </a:cubicBezTo>
                <a:close/>
                <a:moveTo>
                  <a:pt x="1215933" y="1260123"/>
                </a:moveTo>
                <a:cubicBezTo>
                  <a:pt x="1218759" y="1260685"/>
                  <a:pt x="1221263" y="1262350"/>
                  <a:pt x="1222244" y="1266300"/>
                </a:cubicBezTo>
                <a:cubicBezTo>
                  <a:pt x="1221211" y="1266919"/>
                  <a:pt x="1220282" y="1267539"/>
                  <a:pt x="1219353" y="1268313"/>
                </a:cubicBezTo>
                <a:cubicBezTo>
                  <a:pt x="1215326" y="1264286"/>
                  <a:pt x="1210989" y="1263512"/>
                  <a:pt x="1207685" y="1260568"/>
                </a:cubicBezTo>
                <a:cubicBezTo>
                  <a:pt x="1209957" y="1260104"/>
                  <a:pt x="1213106" y="1259562"/>
                  <a:pt x="1215933" y="1260123"/>
                </a:cubicBezTo>
                <a:close/>
                <a:moveTo>
                  <a:pt x="1370004" y="1260104"/>
                </a:moveTo>
                <a:cubicBezTo>
                  <a:pt x="1377748" y="1260568"/>
                  <a:pt x="1380020" y="1269707"/>
                  <a:pt x="1372069" y="1272496"/>
                </a:cubicBezTo>
                <a:cubicBezTo>
                  <a:pt x="1368558" y="1272186"/>
                  <a:pt x="1365977" y="1270327"/>
                  <a:pt x="1365357" y="1267848"/>
                </a:cubicBezTo>
                <a:cubicBezTo>
                  <a:pt x="1364738" y="1265370"/>
                  <a:pt x="1365977" y="1262427"/>
                  <a:pt x="1370004" y="1260104"/>
                </a:cubicBezTo>
                <a:close/>
                <a:moveTo>
                  <a:pt x="4933197" y="1260075"/>
                </a:moveTo>
                <a:cubicBezTo>
                  <a:pt x="4943655" y="1259648"/>
                  <a:pt x="4952832" y="1266904"/>
                  <a:pt x="4957314" y="1276437"/>
                </a:cubicBezTo>
                <a:cubicBezTo>
                  <a:pt x="4960942" y="1283692"/>
                  <a:pt x="4962009" y="1292086"/>
                  <a:pt x="4959448" y="1299768"/>
                </a:cubicBezTo>
                <a:lnTo>
                  <a:pt x="4958808" y="1300907"/>
                </a:lnTo>
                <a:lnTo>
                  <a:pt x="4960302" y="1299484"/>
                </a:lnTo>
                <a:cubicBezTo>
                  <a:pt x="4962009" y="1299057"/>
                  <a:pt x="4962009" y="1299057"/>
                  <a:pt x="4963076" y="1299627"/>
                </a:cubicBezTo>
                <a:cubicBezTo>
                  <a:pt x="4965637" y="1299768"/>
                  <a:pt x="4967131" y="1299342"/>
                  <a:pt x="4968412" y="1301618"/>
                </a:cubicBezTo>
                <a:cubicBezTo>
                  <a:pt x="4969052" y="1303610"/>
                  <a:pt x="4968838" y="1304890"/>
                  <a:pt x="4967985" y="1306029"/>
                </a:cubicBezTo>
                <a:cubicBezTo>
                  <a:pt x="4967131" y="1307167"/>
                  <a:pt x="4965637" y="1308163"/>
                  <a:pt x="4963503" y="1309159"/>
                </a:cubicBezTo>
                <a:cubicBezTo>
                  <a:pt x="4959662" y="1311150"/>
                  <a:pt x="4957527" y="1308163"/>
                  <a:pt x="4954112" y="1309159"/>
                </a:cubicBezTo>
                <a:lnTo>
                  <a:pt x="4954753" y="1307024"/>
                </a:lnTo>
                <a:lnTo>
                  <a:pt x="4943228" y="1305602"/>
                </a:lnTo>
                <a:cubicBezTo>
                  <a:pt x="4939600" y="1304321"/>
                  <a:pt x="4936399" y="1302187"/>
                  <a:pt x="4933838" y="1299484"/>
                </a:cubicBezTo>
                <a:lnTo>
                  <a:pt x="4930210" y="1293936"/>
                </a:lnTo>
                <a:lnTo>
                  <a:pt x="4929142" y="1298915"/>
                </a:lnTo>
                <a:cubicBezTo>
                  <a:pt x="4926795" y="1304605"/>
                  <a:pt x="4923380" y="1310439"/>
                  <a:pt x="4917831" y="1315987"/>
                </a:cubicBezTo>
                <a:cubicBezTo>
                  <a:pt x="4910148" y="1315703"/>
                  <a:pt x="4908227" y="1309727"/>
                  <a:pt x="4909721" y="1302757"/>
                </a:cubicBezTo>
                <a:cubicBezTo>
                  <a:pt x="4911428" y="1293936"/>
                  <a:pt x="4918258" y="1283692"/>
                  <a:pt x="4925514" y="1281416"/>
                </a:cubicBezTo>
                <a:lnTo>
                  <a:pt x="4926154" y="1281416"/>
                </a:lnTo>
                <a:lnTo>
                  <a:pt x="4926368" y="1272026"/>
                </a:lnTo>
                <a:cubicBezTo>
                  <a:pt x="4927008" y="1268612"/>
                  <a:pt x="4928075" y="1265055"/>
                  <a:pt x="4929782" y="1261640"/>
                </a:cubicBezTo>
                <a:cubicBezTo>
                  <a:pt x="4931277" y="1261640"/>
                  <a:pt x="4932984" y="1261783"/>
                  <a:pt x="4933197" y="1260075"/>
                </a:cubicBezTo>
                <a:close/>
                <a:moveTo>
                  <a:pt x="4637611" y="1259791"/>
                </a:moveTo>
                <a:cubicBezTo>
                  <a:pt x="4638465" y="1264059"/>
                  <a:pt x="4641026" y="1269039"/>
                  <a:pt x="4643160" y="1273876"/>
                </a:cubicBezTo>
                <a:cubicBezTo>
                  <a:pt x="4645294" y="1278570"/>
                  <a:pt x="4647001" y="1283407"/>
                  <a:pt x="4646788" y="1287249"/>
                </a:cubicBezTo>
                <a:lnTo>
                  <a:pt x="4645081" y="1291517"/>
                </a:lnTo>
                <a:lnTo>
                  <a:pt x="4645934" y="1291944"/>
                </a:lnTo>
                <a:cubicBezTo>
                  <a:pt x="4643373" y="1294220"/>
                  <a:pt x="4644014" y="1296639"/>
                  <a:pt x="4641453" y="1298915"/>
                </a:cubicBezTo>
                <a:lnTo>
                  <a:pt x="4638251" y="1295643"/>
                </a:lnTo>
                <a:lnTo>
                  <a:pt x="4636117" y="1296212"/>
                </a:lnTo>
                <a:lnTo>
                  <a:pt x="4635050" y="1304605"/>
                </a:lnTo>
                <a:cubicBezTo>
                  <a:pt x="4634410" y="1307451"/>
                  <a:pt x="4633343" y="1310297"/>
                  <a:pt x="4632275" y="1312573"/>
                </a:cubicBezTo>
                <a:cubicBezTo>
                  <a:pt x="4622458" y="1302614"/>
                  <a:pt x="4625446" y="1292086"/>
                  <a:pt x="4628647" y="1281558"/>
                </a:cubicBezTo>
                <a:cubicBezTo>
                  <a:pt x="4631208" y="1282838"/>
                  <a:pt x="4633129" y="1284830"/>
                  <a:pt x="4634410" y="1287249"/>
                </a:cubicBezTo>
                <a:lnTo>
                  <a:pt x="4634623" y="1288529"/>
                </a:lnTo>
                <a:lnTo>
                  <a:pt x="4634837" y="1286680"/>
                </a:lnTo>
                <a:cubicBezTo>
                  <a:pt x="4634623" y="1276437"/>
                  <a:pt x="4631422" y="1266478"/>
                  <a:pt x="4637611" y="1259791"/>
                </a:cubicBezTo>
                <a:close/>
                <a:moveTo>
                  <a:pt x="1311845" y="1259755"/>
                </a:moveTo>
                <a:cubicBezTo>
                  <a:pt x="1313497" y="1258865"/>
                  <a:pt x="1315330" y="1258632"/>
                  <a:pt x="1316620" y="1259794"/>
                </a:cubicBezTo>
                <a:cubicBezTo>
                  <a:pt x="1318272" y="1262272"/>
                  <a:pt x="1312593" y="1270946"/>
                  <a:pt x="1308360" y="1265990"/>
                </a:cubicBezTo>
                <a:cubicBezTo>
                  <a:pt x="1307740" y="1265525"/>
                  <a:pt x="1307740" y="1264596"/>
                  <a:pt x="1308153" y="1263667"/>
                </a:cubicBezTo>
                <a:cubicBezTo>
                  <a:pt x="1308721" y="1262195"/>
                  <a:pt x="1310193" y="1260646"/>
                  <a:pt x="1311845" y="1259755"/>
                </a:cubicBezTo>
                <a:close/>
                <a:moveTo>
                  <a:pt x="3481090" y="1259506"/>
                </a:moveTo>
                <a:cubicBezTo>
                  <a:pt x="3481730" y="1259365"/>
                  <a:pt x="3482583" y="1259648"/>
                  <a:pt x="3483651" y="1260360"/>
                </a:cubicBezTo>
                <a:cubicBezTo>
                  <a:pt x="3486638" y="1265197"/>
                  <a:pt x="3482797" y="1270034"/>
                  <a:pt x="3480876" y="1276010"/>
                </a:cubicBezTo>
                <a:lnTo>
                  <a:pt x="3479169" y="1277717"/>
                </a:lnTo>
                <a:lnTo>
                  <a:pt x="3482583" y="1277575"/>
                </a:lnTo>
                <a:cubicBezTo>
                  <a:pt x="3483437" y="1280847"/>
                  <a:pt x="3484931" y="1282981"/>
                  <a:pt x="3485785" y="1286111"/>
                </a:cubicBezTo>
                <a:cubicBezTo>
                  <a:pt x="3483223" y="1293224"/>
                  <a:pt x="3478102" y="1294363"/>
                  <a:pt x="3474473" y="1292371"/>
                </a:cubicBezTo>
                <a:cubicBezTo>
                  <a:pt x="3472552" y="1291374"/>
                  <a:pt x="3471272" y="1289526"/>
                  <a:pt x="3470632" y="1287249"/>
                </a:cubicBezTo>
                <a:lnTo>
                  <a:pt x="3471059" y="1284262"/>
                </a:lnTo>
                <a:lnTo>
                  <a:pt x="3469778" y="1284262"/>
                </a:lnTo>
                <a:lnTo>
                  <a:pt x="3471059" y="1280278"/>
                </a:lnTo>
                <a:lnTo>
                  <a:pt x="3469778" y="1280420"/>
                </a:lnTo>
                <a:cubicBezTo>
                  <a:pt x="3468071" y="1277717"/>
                  <a:pt x="3468284" y="1275868"/>
                  <a:pt x="3469565" y="1274729"/>
                </a:cubicBezTo>
                <a:lnTo>
                  <a:pt x="3473620" y="1273306"/>
                </a:lnTo>
                <a:lnTo>
                  <a:pt x="3474687" y="1270177"/>
                </a:lnTo>
                <a:cubicBezTo>
                  <a:pt x="3476607" y="1265909"/>
                  <a:pt x="3478315" y="1262637"/>
                  <a:pt x="3478955" y="1261498"/>
                </a:cubicBezTo>
                <a:cubicBezTo>
                  <a:pt x="3479809" y="1260218"/>
                  <a:pt x="3480236" y="1259648"/>
                  <a:pt x="3481090" y="1259506"/>
                </a:cubicBezTo>
                <a:close/>
                <a:moveTo>
                  <a:pt x="3451210" y="1259365"/>
                </a:moveTo>
                <a:cubicBezTo>
                  <a:pt x="3451851" y="1259506"/>
                  <a:pt x="3452918" y="1259365"/>
                  <a:pt x="3453558" y="1259365"/>
                </a:cubicBezTo>
                <a:cubicBezTo>
                  <a:pt x="3454412" y="1259365"/>
                  <a:pt x="3455052" y="1259365"/>
                  <a:pt x="3454839" y="1259933"/>
                </a:cubicBezTo>
                <a:cubicBezTo>
                  <a:pt x="3456119" y="1260075"/>
                  <a:pt x="3455906" y="1262495"/>
                  <a:pt x="3455906" y="1262495"/>
                </a:cubicBezTo>
                <a:cubicBezTo>
                  <a:pt x="3457186" y="1262637"/>
                  <a:pt x="3458253" y="1262921"/>
                  <a:pt x="3459534" y="1264202"/>
                </a:cubicBezTo>
                <a:cubicBezTo>
                  <a:pt x="3458253" y="1265197"/>
                  <a:pt x="3459321" y="1265340"/>
                  <a:pt x="3459321" y="1266478"/>
                </a:cubicBezTo>
                <a:cubicBezTo>
                  <a:pt x="3458253" y="1265055"/>
                  <a:pt x="3454625" y="1264486"/>
                  <a:pt x="3452278" y="1262921"/>
                </a:cubicBezTo>
                <a:cubicBezTo>
                  <a:pt x="3452278" y="1261783"/>
                  <a:pt x="3451210" y="1260502"/>
                  <a:pt x="3451210" y="1259365"/>
                </a:cubicBezTo>
                <a:close/>
                <a:moveTo>
                  <a:pt x="1483779" y="1258884"/>
                </a:moveTo>
                <a:cubicBezTo>
                  <a:pt x="1487896" y="1257432"/>
                  <a:pt x="1492672" y="1257703"/>
                  <a:pt x="1495770" y="1261033"/>
                </a:cubicBezTo>
                <a:cubicBezTo>
                  <a:pt x="1496286" y="1268623"/>
                  <a:pt x="1485651" y="1274200"/>
                  <a:pt x="1479662" y="1274354"/>
                </a:cubicBezTo>
                <a:cubicBezTo>
                  <a:pt x="1476564" y="1272031"/>
                  <a:pt x="1475532" y="1269552"/>
                  <a:pt x="1475738" y="1267074"/>
                </a:cubicBezTo>
                <a:cubicBezTo>
                  <a:pt x="1476203" y="1263511"/>
                  <a:pt x="1479662" y="1260336"/>
                  <a:pt x="1483779" y="1258884"/>
                </a:cubicBezTo>
                <a:close/>
                <a:moveTo>
                  <a:pt x="3911770" y="1258653"/>
                </a:moveTo>
                <a:cubicBezTo>
                  <a:pt x="3912837" y="1258653"/>
                  <a:pt x="3913691" y="1258938"/>
                  <a:pt x="3913478" y="1259365"/>
                </a:cubicBezTo>
                <a:cubicBezTo>
                  <a:pt x="3914118" y="1261071"/>
                  <a:pt x="3914545" y="1260075"/>
                  <a:pt x="3915612" y="1260645"/>
                </a:cubicBezTo>
                <a:cubicBezTo>
                  <a:pt x="3917320" y="1265482"/>
                  <a:pt x="3917106" y="1269181"/>
                  <a:pt x="3913478" y="1271173"/>
                </a:cubicBezTo>
                <a:cubicBezTo>
                  <a:pt x="3910490" y="1272026"/>
                  <a:pt x="3905795" y="1273306"/>
                  <a:pt x="3903661" y="1269466"/>
                </a:cubicBezTo>
                <a:cubicBezTo>
                  <a:pt x="3904087" y="1268469"/>
                  <a:pt x="3903020" y="1267758"/>
                  <a:pt x="3903447" y="1266762"/>
                </a:cubicBezTo>
                <a:cubicBezTo>
                  <a:pt x="3903447" y="1266762"/>
                  <a:pt x="3903447" y="1265482"/>
                  <a:pt x="3904087" y="1263917"/>
                </a:cubicBezTo>
                <a:cubicBezTo>
                  <a:pt x="3904728" y="1262210"/>
                  <a:pt x="3905795" y="1260360"/>
                  <a:pt x="3908356" y="1259080"/>
                </a:cubicBezTo>
                <a:cubicBezTo>
                  <a:pt x="3909209" y="1258938"/>
                  <a:pt x="3910490" y="1258653"/>
                  <a:pt x="3911770" y="1258653"/>
                </a:cubicBezTo>
                <a:close/>
                <a:moveTo>
                  <a:pt x="1336755" y="1258400"/>
                </a:moveTo>
                <a:cubicBezTo>
                  <a:pt x="1338821" y="1258090"/>
                  <a:pt x="1339233" y="1258710"/>
                  <a:pt x="1338924" y="1259949"/>
                </a:cubicBezTo>
                <a:cubicBezTo>
                  <a:pt x="1338924" y="1259949"/>
                  <a:pt x="1338614" y="1261188"/>
                  <a:pt x="1338304" y="1262272"/>
                </a:cubicBezTo>
                <a:cubicBezTo>
                  <a:pt x="1337994" y="1263512"/>
                  <a:pt x="1338407" y="1264131"/>
                  <a:pt x="1338407" y="1264131"/>
                </a:cubicBezTo>
                <a:cubicBezTo>
                  <a:pt x="1338098" y="1265370"/>
                  <a:pt x="1337272" y="1265835"/>
                  <a:pt x="1336033" y="1265680"/>
                </a:cubicBezTo>
                <a:cubicBezTo>
                  <a:pt x="1336033" y="1265680"/>
                  <a:pt x="1335929" y="1263822"/>
                  <a:pt x="1335929" y="1263822"/>
                </a:cubicBezTo>
                <a:cubicBezTo>
                  <a:pt x="1336652" y="1261498"/>
                  <a:pt x="1336859" y="1260259"/>
                  <a:pt x="1336755" y="1258400"/>
                </a:cubicBezTo>
                <a:close/>
                <a:moveTo>
                  <a:pt x="4801944" y="1258226"/>
                </a:moveTo>
                <a:cubicBezTo>
                  <a:pt x="4805146" y="1263205"/>
                  <a:pt x="4811121" y="1264059"/>
                  <a:pt x="4813682" y="1270177"/>
                </a:cubicBezTo>
                <a:cubicBezTo>
                  <a:pt x="4811975" y="1270604"/>
                  <a:pt x="4807920" y="1271031"/>
                  <a:pt x="4806426" y="1267189"/>
                </a:cubicBezTo>
                <a:cubicBezTo>
                  <a:pt x="4805146" y="1263205"/>
                  <a:pt x="4801731" y="1262495"/>
                  <a:pt x="4800237" y="1258653"/>
                </a:cubicBezTo>
                <a:cubicBezTo>
                  <a:pt x="4800237" y="1258653"/>
                  <a:pt x="4800237" y="1258653"/>
                  <a:pt x="4801944" y="1258226"/>
                </a:cubicBezTo>
                <a:close/>
                <a:moveTo>
                  <a:pt x="1121466" y="1257780"/>
                </a:moveTo>
                <a:cubicBezTo>
                  <a:pt x="1121569" y="1260723"/>
                  <a:pt x="1120021" y="1261653"/>
                  <a:pt x="1116923" y="1263356"/>
                </a:cubicBezTo>
                <a:cubicBezTo>
                  <a:pt x="1116613" y="1261343"/>
                  <a:pt x="1116923" y="1259949"/>
                  <a:pt x="1117646" y="1259175"/>
                </a:cubicBezTo>
                <a:cubicBezTo>
                  <a:pt x="1118472" y="1258400"/>
                  <a:pt x="1119711" y="1258090"/>
                  <a:pt x="1121466" y="1257780"/>
                </a:cubicBezTo>
                <a:close/>
                <a:moveTo>
                  <a:pt x="3970034" y="1257088"/>
                </a:moveTo>
                <a:cubicBezTo>
                  <a:pt x="3971955" y="1255665"/>
                  <a:pt x="3973662" y="1257942"/>
                  <a:pt x="3974730" y="1261214"/>
                </a:cubicBezTo>
                <a:cubicBezTo>
                  <a:pt x="3978571" y="1267331"/>
                  <a:pt x="3978358" y="1271031"/>
                  <a:pt x="3973662" y="1272311"/>
                </a:cubicBezTo>
                <a:cubicBezTo>
                  <a:pt x="3972595" y="1271741"/>
                  <a:pt x="3969821" y="1268896"/>
                  <a:pt x="3969394" y="1269892"/>
                </a:cubicBezTo>
                <a:cubicBezTo>
                  <a:pt x="3968113" y="1266193"/>
                  <a:pt x="3967046" y="1261925"/>
                  <a:pt x="3968113" y="1259222"/>
                </a:cubicBezTo>
                <a:cubicBezTo>
                  <a:pt x="3968540" y="1258368"/>
                  <a:pt x="3969180" y="1257515"/>
                  <a:pt x="3970034" y="1257088"/>
                </a:cubicBezTo>
                <a:close/>
                <a:moveTo>
                  <a:pt x="4183027" y="1256803"/>
                </a:moveTo>
                <a:cubicBezTo>
                  <a:pt x="4183881" y="1256519"/>
                  <a:pt x="4184948" y="1256661"/>
                  <a:pt x="4186228" y="1256946"/>
                </a:cubicBezTo>
                <a:cubicBezTo>
                  <a:pt x="4190283" y="1257088"/>
                  <a:pt x="4193058" y="1261214"/>
                  <a:pt x="4197966" y="1262495"/>
                </a:cubicBezTo>
                <a:cubicBezTo>
                  <a:pt x="4197966" y="1265482"/>
                  <a:pt x="4197966" y="1267331"/>
                  <a:pt x="4197113" y="1268612"/>
                </a:cubicBezTo>
                <a:lnTo>
                  <a:pt x="4196259" y="1269039"/>
                </a:lnTo>
                <a:lnTo>
                  <a:pt x="4186228" y="1277148"/>
                </a:lnTo>
                <a:cubicBezTo>
                  <a:pt x="4184734" y="1277575"/>
                  <a:pt x="4179612" y="1277290"/>
                  <a:pt x="4178972" y="1275726"/>
                </a:cubicBezTo>
                <a:cubicBezTo>
                  <a:pt x="4178331" y="1274018"/>
                  <a:pt x="4178972" y="1273022"/>
                  <a:pt x="4179399" y="1271884"/>
                </a:cubicBezTo>
                <a:lnTo>
                  <a:pt x="4184307" y="1268327"/>
                </a:lnTo>
                <a:lnTo>
                  <a:pt x="4181960" y="1267331"/>
                </a:lnTo>
                <a:cubicBezTo>
                  <a:pt x="4179612" y="1265624"/>
                  <a:pt x="4178118" y="1263775"/>
                  <a:pt x="4177905" y="1262495"/>
                </a:cubicBezTo>
                <a:cubicBezTo>
                  <a:pt x="4178118" y="1259933"/>
                  <a:pt x="4180039" y="1257373"/>
                  <a:pt x="4183027" y="1256803"/>
                </a:cubicBezTo>
                <a:close/>
                <a:moveTo>
                  <a:pt x="1237733" y="1256444"/>
                </a:moveTo>
                <a:cubicBezTo>
                  <a:pt x="1241347" y="1255573"/>
                  <a:pt x="1245167" y="1255689"/>
                  <a:pt x="1247335" y="1256851"/>
                </a:cubicBezTo>
                <a:cubicBezTo>
                  <a:pt x="1248678" y="1260413"/>
                  <a:pt x="1248265" y="1263202"/>
                  <a:pt x="1247026" y="1265215"/>
                </a:cubicBezTo>
                <a:cubicBezTo>
                  <a:pt x="1246097" y="1266610"/>
                  <a:pt x="1244651" y="1267694"/>
                  <a:pt x="1242895" y="1268313"/>
                </a:cubicBezTo>
                <a:lnTo>
                  <a:pt x="1241140" y="1268623"/>
                </a:lnTo>
                <a:lnTo>
                  <a:pt x="1241243" y="1268623"/>
                </a:lnTo>
                <a:cubicBezTo>
                  <a:pt x="1241966" y="1271566"/>
                  <a:pt x="1240211" y="1275593"/>
                  <a:pt x="1235564" y="1277143"/>
                </a:cubicBezTo>
                <a:cubicBezTo>
                  <a:pt x="1232363" y="1275593"/>
                  <a:pt x="1230918" y="1273580"/>
                  <a:pt x="1229575" y="1272186"/>
                </a:cubicBezTo>
                <a:lnTo>
                  <a:pt x="1232260" y="1266764"/>
                </a:lnTo>
                <a:lnTo>
                  <a:pt x="1229369" y="1261963"/>
                </a:lnTo>
                <a:cubicBezTo>
                  <a:pt x="1230711" y="1259174"/>
                  <a:pt x="1234119" y="1257316"/>
                  <a:pt x="1237733" y="1256444"/>
                </a:cubicBezTo>
                <a:close/>
                <a:moveTo>
                  <a:pt x="4222723" y="1256376"/>
                </a:moveTo>
                <a:cubicBezTo>
                  <a:pt x="4232327" y="1255096"/>
                  <a:pt x="4246199" y="1263632"/>
                  <a:pt x="4250040" y="1268612"/>
                </a:cubicBezTo>
                <a:cubicBezTo>
                  <a:pt x="4239797" y="1268469"/>
                  <a:pt x="4222936" y="1267901"/>
                  <a:pt x="4215253" y="1261356"/>
                </a:cubicBezTo>
                <a:cubicBezTo>
                  <a:pt x="4216961" y="1258226"/>
                  <a:pt x="4219735" y="1256803"/>
                  <a:pt x="4222723" y="1256376"/>
                </a:cubicBezTo>
                <a:close/>
                <a:moveTo>
                  <a:pt x="3745730" y="1255665"/>
                </a:moveTo>
                <a:cubicBezTo>
                  <a:pt x="3750639" y="1258226"/>
                  <a:pt x="3751919" y="1261925"/>
                  <a:pt x="3748505" y="1265340"/>
                </a:cubicBezTo>
                <a:cubicBezTo>
                  <a:pt x="3746157" y="1262921"/>
                  <a:pt x="3743809" y="1263917"/>
                  <a:pt x="3741461" y="1261498"/>
                </a:cubicBezTo>
                <a:cubicBezTo>
                  <a:pt x="3743596" y="1259222"/>
                  <a:pt x="3744663" y="1256803"/>
                  <a:pt x="3745730" y="1255665"/>
                </a:cubicBezTo>
                <a:close/>
                <a:moveTo>
                  <a:pt x="3398710" y="1255381"/>
                </a:moveTo>
                <a:lnTo>
                  <a:pt x="3395722" y="1263205"/>
                </a:lnTo>
                <a:lnTo>
                  <a:pt x="3394014" y="1265197"/>
                </a:lnTo>
                <a:lnTo>
                  <a:pt x="3396148" y="1266478"/>
                </a:lnTo>
                <a:cubicBezTo>
                  <a:pt x="3396788" y="1270177"/>
                  <a:pt x="3397215" y="1274018"/>
                  <a:pt x="3393160" y="1278428"/>
                </a:cubicBezTo>
                <a:cubicBezTo>
                  <a:pt x="3390813" y="1278855"/>
                  <a:pt x="3388679" y="1278570"/>
                  <a:pt x="3386971" y="1277717"/>
                </a:cubicBezTo>
                <a:lnTo>
                  <a:pt x="3385264" y="1276152"/>
                </a:lnTo>
                <a:lnTo>
                  <a:pt x="3383557" y="1277717"/>
                </a:lnTo>
                <a:lnTo>
                  <a:pt x="3385051" y="1286537"/>
                </a:lnTo>
                <a:cubicBezTo>
                  <a:pt x="3385051" y="1289668"/>
                  <a:pt x="3386117" y="1292086"/>
                  <a:pt x="3386544" y="1294220"/>
                </a:cubicBezTo>
                <a:cubicBezTo>
                  <a:pt x="3386544" y="1294220"/>
                  <a:pt x="3386544" y="1294220"/>
                  <a:pt x="3387825" y="1305032"/>
                </a:cubicBezTo>
                <a:cubicBezTo>
                  <a:pt x="3387825" y="1305032"/>
                  <a:pt x="3387825" y="1305032"/>
                  <a:pt x="3387398" y="1306029"/>
                </a:cubicBezTo>
                <a:cubicBezTo>
                  <a:pt x="3387398" y="1306029"/>
                  <a:pt x="3387611" y="1306029"/>
                  <a:pt x="3388465" y="1306313"/>
                </a:cubicBezTo>
                <a:cubicBezTo>
                  <a:pt x="3388465" y="1306313"/>
                  <a:pt x="3388465" y="1306171"/>
                  <a:pt x="3388679" y="1308447"/>
                </a:cubicBezTo>
                <a:cubicBezTo>
                  <a:pt x="3388679" y="1311435"/>
                  <a:pt x="3388892" y="1313711"/>
                  <a:pt x="3388892" y="1316699"/>
                </a:cubicBezTo>
                <a:cubicBezTo>
                  <a:pt x="3389105" y="1318833"/>
                  <a:pt x="3388039" y="1321678"/>
                  <a:pt x="3388252" y="1323812"/>
                </a:cubicBezTo>
                <a:cubicBezTo>
                  <a:pt x="3387611" y="1325804"/>
                  <a:pt x="3387398" y="1326657"/>
                  <a:pt x="3388039" y="1327938"/>
                </a:cubicBezTo>
                <a:cubicBezTo>
                  <a:pt x="3387611" y="1328934"/>
                  <a:pt x="3387398" y="1329787"/>
                  <a:pt x="3387398" y="1329787"/>
                </a:cubicBezTo>
                <a:cubicBezTo>
                  <a:pt x="3386971" y="1330783"/>
                  <a:pt x="3386971" y="1330641"/>
                  <a:pt x="3386331" y="1332633"/>
                </a:cubicBezTo>
                <a:cubicBezTo>
                  <a:pt x="3387184" y="1335905"/>
                  <a:pt x="3388465" y="1335336"/>
                  <a:pt x="3389105" y="1333486"/>
                </a:cubicBezTo>
                <a:cubicBezTo>
                  <a:pt x="3389532" y="1332491"/>
                  <a:pt x="3389532" y="1332491"/>
                  <a:pt x="3389746" y="1331637"/>
                </a:cubicBezTo>
                <a:cubicBezTo>
                  <a:pt x="3390172" y="1330641"/>
                  <a:pt x="3390172" y="1330641"/>
                  <a:pt x="3390386" y="1329787"/>
                </a:cubicBezTo>
                <a:cubicBezTo>
                  <a:pt x="3390386" y="1329787"/>
                  <a:pt x="3390600" y="1328791"/>
                  <a:pt x="3389746" y="1328507"/>
                </a:cubicBezTo>
                <a:cubicBezTo>
                  <a:pt x="3391667" y="1329076"/>
                  <a:pt x="3391667" y="1329076"/>
                  <a:pt x="3392093" y="1330214"/>
                </a:cubicBezTo>
                <a:cubicBezTo>
                  <a:pt x="3392734" y="1331494"/>
                  <a:pt x="3393160" y="1333628"/>
                  <a:pt x="3393374" y="1335763"/>
                </a:cubicBezTo>
                <a:cubicBezTo>
                  <a:pt x="3392520" y="1340742"/>
                  <a:pt x="3392307" y="1344868"/>
                  <a:pt x="3390172" y="1345152"/>
                </a:cubicBezTo>
                <a:cubicBezTo>
                  <a:pt x="3395722" y="1355253"/>
                  <a:pt x="3396788" y="1363789"/>
                  <a:pt x="3396788" y="1372183"/>
                </a:cubicBezTo>
                <a:cubicBezTo>
                  <a:pt x="3397429" y="1376452"/>
                  <a:pt x="3396788" y="1381431"/>
                  <a:pt x="3397215" y="1385699"/>
                </a:cubicBezTo>
                <a:cubicBezTo>
                  <a:pt x="3397856" y="1386979"/>
                  <a:pt x="3397429" y="1387833"/>
                  <a:pt x="3398069" y="1389113"/>
                </a:cubicBezTo>
                <a:cubicBezTo>
                  <a:pt x="3397642" y="1390109"/>
                  <a:pt x="3398282" y="1391248"/>
                  <a:pt x="3398923" y="1392528"/>
                </a:cubicBezTo>
                <a:lnTo>
                  <a:pt x="3402551" y="1391959"/>
                </a:lnTo>
                <a:lnTo>
                  <a:pt x="3399990" y="1397080"/>
                </a:lnTo>
                <a:lnTo>
                  <a:pt x="3400630" y="1399215"/>
                </a:lnTo>
                <a:cubicBezTo>
                  <a:pt x="3393801" y="1401349"/>
                  <a:pt x="3394441" y="1408746"/>
                  <a:pt x="3395295" y="1415291"/>
                </a:cubicBezTo>
                <a:cubicBezTo>
                  <a:pt x="3395935" y="1421693"/>
                  <a:pt x="3396788" y="1428095"/>
                  <a:pt x="3391880" y="1427668"/>
                </a:cubicBezTo>
                <a:cubicBezTo>
                  <a:pt x="3390172" y="1438623"/>
                  <a:pt x="3400843" y="1425250"/>
                  <a:pt x="3399776" y="1431225"/>
                </a:cubicBezTo>
                <a:cubicBezTo>
                  <a:pt x="3400203" y="1434355"/>
                  <a:pt x="3400417" y="1442037"/>
                  <a:pt x="3400843" y="1449862"/>
                </a:cubicBezTo>
                <a:lnTo>
                  <a:pt x="3401271" y="1457687"/>
                </a:lnTo>
                <a:lnTo>
                  <a:pt x="3408527" y="1467219"/>
                </a:lnTo>
                <a:lnTo>
                  <a:pt x="3406819" y="1469780"/>
                </a:lnTo>
                <a:lnTo>
                  <a:pt x="3409594" y="1469495"/>
                </a:lnTo>
                <a:cubicBezTo>
                  <a:pt x="3410234" y="1479027"/>
                  <a:pt x="3406819" y="1468641"/>
                  <a:pt x="3403618" y="1474902"/>
                </a:cubicBezTo>
                <a:cubicBezTo>
                  <a:pt x="3405538" y="1475471"/>
                  <a:pt x="3405752" y="1477605"/>
                  <a:pt x="3405966" y="1479739"/>
                </a:cubicBezTo>
                <a:cubicBezTo>
                  <a:pt x="3406393" y="1481872"/>
                  <a:pt x="3405752" y="1483865"/>
                  <a:pt x="3405112" y="1485714"/>
                </a:cubicBezTo>
                <a:cubicBezTo>
                  <a:pt x="3403405" y="1490408"/>
                  <a:pt x="3402978" y="1494392"/>
                  <a:pt x="3408953" y="1497238"/>
                </a:cubicBezTo>
                <a:cubicBezTo>
                  <a:pt x="3407459" y="1501933"/>
                  <a:pt x="3405326" y="1502359"/>
                  <a:pt x="3403191" y="1499656"/>
                </a:cubicBezTo>
                <a:lnTo>
                  <a:pt x="3405966" y="1506770"/>
                </a:lnTo>
                <a:lnTo>
                  <a:pt x="3417490" y="1508620"/>
                </a:lnTo>
                <a:lnTo>
                  <a:pt x="3419838" y="1509473"/>
                </a:lnTo>
                <a:lnTo>
                  <a:pt x="3416423" y="1504920"/>
                </a:lnTo>
                <a:cubicBezTo>
                  <a:pt x="3417917" y="1503782"/>
                  <a:pt x="3419198" y="1503356"/>
                  <a:pt x="3420692" y="1502502"/>
                </a:cubicBezTo>
                <a:lnTo>
                  <a:pt x="3420905" y="1502217"/>
                </a:lnTo>
                <a:lnTo>
                  <a:pt x="3416637" y="1498376"/>
                </a:lnTo>
                <a:cubicBezTo>
                  <a:pt x="3409807" y="1490125"/>
                  <a:pt x="3406819" y="1478743"/>
                  <a:pt x="3412368" y="1469638"/>
                </a:cubicBezTo>
                <a:lnTo>
                  <a:pt x="3419624" y="1462951"/>
                </a:lnTo>
                <a:lnTo>
                  <a:pt x="3417704" y="1460532"/>
                </a:lnTo>
                <a:cubicBezTo>
                  <a:pt x="3418344" y="1455553"/>
                  <a:pt x="3421972" y="1453561"/>
                  <a:pt x="3421759" y="1448298"/>
                </a:cubicBezTo>
                <a:cubicBezTo>
                  <a:pt x="3420692" y="1442749"/>
                  <a:pt x="3415997" y="1450716"/>
                  <a:pt x="3417490" y="1455268"/>
                </a:cubicBezTo>
                <a:cubicBezTo>
                  <a:pt x="3415143" y="1451427"/>
                  <a:pt x="3414929" y="1447443"/>
                  <a:pt x="3415356" y="1443460"/>
                </a:cubicBezTo>
                <a:lnTo>
                  <a:pt x="3416850" y="1439334"/>
                </a:lnTo>
                <a:lnTo>
                  <a:pt x="3414076" y="1439192"/>
                </a:lnTo>
                <a:cubicBezTo>
                  <a:pt x="3410234" y="1437627"/>
                  <a:pt x="3407673" y="1433786"/>
                  <a:pt x="3408527" y="1429660"/>
                </a:cubicBezTo>
                <a:cubicBezTo>
                  <a:pt x="3408953" y="1426815"/>
                  <a:pt x="3410874" y="1423969"/>
                  <a:pt x="3414929" y="1421551"/>
                </a:cubicBezTo>
                <a:cubicBezTo>
                  <a:pt x="3416637" y="1423969"/>
                  <a:pt x="3418557" y="1425534"/>
                  <a:pt x="3420265" y="1426673"/>
                </a:cubicBezTo>
                <a:lnTo>
                  <a:pt x="3420692" y="1427099"/>
                </a:lnTo>
                <a:lnTo>
                  <a:pt x="3422612" y="1420270"/>
                </a:lnTo>
                <a:cubicBezTo>
                  <a:pt x="3423039" y="1416571"/>
                  <a:pt x="3422826" y="1413299"/>
                  <a:pt x="3420692" y="1410596"/>
                </a:cubicBezTo>
                <a:cubicBezTo>
                  <a:pt x="3421972" y="1403767"/>
                  <a:pt x="3424960" y="1413015"/>
                  <a:pt x="3428801" y="1410027"/>
                </a:cubicBezTo>
                <a:cubicBezTo>
                  <a:pt x="3426454" y="1405190"/>
                  <a:pt x="3425600" y="1401775"/>
                  <a:pt x="3425173" y="1398219"/>
                </a:cubicBezTo>
                <a:lnTo>
                  <a:pt x="3422185" y="1400352"/>
                </a:lnTo>
                <a:lnTo>
                  <a:pt x="3420478" y="1400068"/>
                </a:lnTo>
                <a:lnTo>
                  <a:pt x="3418557" y="1411023"/>
                </a:lnTo>
                <a:cubicBezTo>
                  <a:pt x="3416850" y="1408889"/>
                  <a:pt x="3416209" y="1406044"/>
                  <a:pt x="3416209" y="1402914"/>
                </a:cubicBezTo>
                <a:lnTo>
                  <a:pt x="3416423" y="1399642"/>
                </a:lnTo>
                <a:lnTo>
                  <a:pt x="3415143" y="1399357"/>
                </a:lnTo>
                <a:lnTo>
                  <a:pt x="3407246" y="1394377"/>
                </a:lnTo>
                <a:lnTo>
                  <a:pt x="3406606" y="1394377"/>
                </a:lnTo>
                <a:lnTo>
                  <a:pt x="3406606" y="1393950"/>
                </a:lnTo>
                <a:lnTo>
                  <a:pt x="3400630" y="1390109"/>
                </a:lnTo>
                <a:lnTo>
                  <a:pt x="3406606" y="1385841"/>
                </a:lnTo>
                <a:lnTo>
                  <a:pt x="3405538" y="1379866"/>
                </a:lnTo>
                <a:lnTo>
                  <a:pt x="3406179" y="1379866"/>
                </a:lnTo>
                <a:lnTo>
                  <a:pt x="3404472" y="1377590"/>
                </a:lnTo>
                <a:cubicBezTo>
                  <a:pt x="3399776" y="1372326"/>
                  <a:pt x="3395722" y="1367204"/>
                  <a:pt x="3398069" y="1360660"/>
                </a:cubicBezTo>
                <a:cubicBezTo>
                  <a:pt x="3402764" y="1364501"/>
                  <a:pt x="3407886" y="1367631"/>
                  <a:pt x="3412155" y="1372183"/>
                </a:cubicBezTo>
                <a:lnTo>
                  <a:pt x="3415783" y="1376594"/>
                </a:lnTo>
                <a:lnTo>
                  <a:pt x="3414716" y="1372468"/>
                </a:lnTo>
                <a:lnTo>
                  <a:pt x="3418557" y="1379012"/>
                </a:lnTo>
                <a:lnTo>
                  <a:pt x="3419198" y="1378728"/>
                </a:lnTo>
                <a:lnTo>
                  <a:pt x="3419411" y="1370761"/>
                </a:lnTo>
                <a:cubicBezTo>
                  <a:pt x="3418771" y="1366208"/>
                  <a:pt x="3417490" y="1366066"/>
                  <a:pt x="3420692" y="1361940"/>
                </a:cubicBezTo>
                <a:lnTo>
                  <a:pt x="3424960" y="1356534"/>
                </a:lnTo>
                <a:lnTo>
                  <a:pt x="3424960" y="1353262"/>
                </a:lnTo>
                <a:lnTo>
                  <a:pt x="3424747" y="1350843"/>
                </a:lnTo>
                <a:cubicBezTo>
                  <a:pt x="3423466" y="1347144"/>
                  <a:pt x="3420692" y="1347144"/>
                  <a:pt x="3419838" y="1343018"/>
                </a:cubicBezTo>
                <a:cubicBezTo>
                  <a:pt x="3414502" y="1346575"/>
                  <a:pt x="3421759" y="1354827"/>
                  <a:pt x="3421118" y="1359806"/>
                </a:cubicBezTo>
                <a:cubicBezTo>
                  <a:pt x="3418344" y="1355965"/>
                  <a:pt x="3414502" y="1352693"/>
                  <a:pt x="3410234" y="1350416"/>
                </a:cubicBezTo>
                <a:cubicBezTo>
                  <a:pt x="3413435" y="1347144"/>
                  <a:pt x="3415997" y="1342734"/>
                  <a:pt x="3416637" y="1337755"/>
                </a:cubicBezTo>
                <a:cubicBezTo>
                  <a:pt x="3417490" y="1335051"/>
                  <a:pt x="3418557" y="1332063"/>
                  <a:pt x="3418557" y="1329076"/>
                </a:cubicBezTo>
                <a:cubicBezTo>
                  <a:pt x="3418984" y="1328080"/>
                  <a:pt x="3418984" y="1328080"/>
                  <a:pt x="3418344" y="1326942"/>
                </a:cubicBezTo>
                <a:cubicBezTo>
                  <a:pt x="3418344" y="1326942"/>
                  <a:pt x="3418344" y="1326942"/>
                  <a:pt x="3418557" y="1325946"/>
                </a:cubicBezTo>
                <a:cubicBezTo>
                  <a:pt x="3418557" y="1325946"/>
                  <a:pt x="3418984" y="1324950"/>
                  <a:pt x="3418984" y="1324950"/>
                </a:cubicBezTo>
                <a:cubicBezTo>
                  <a:pt x="3419411" y="1324097"/>
                  <a:pt x="3419624" y="1323101"/>
                  <a:pt x="3418771" y="1322816"/>
                </a:cubicBezTo>
                <a:cubicBezTo>
                  <a:pt x="3418557" y="1320682"/>
                  <a:pt x="3413862" y="1322389"/>
                  <a:pt x="3411728" y="1322816"/>
                </a:cubicBezTo>
                <a:cubicBezTo>
                  <a:pt x="3409594" y="1320113"/>
                  <a:pt x="3413649" y="1320255"/>
                  <a:pt x="3417064" y="1319260"/>
                </a:cubicBezTo>
                <a:cubicBezTo>
                  <a:pt x="3413009" y="1315987"/>
                  <a:pt x="3411514" y="1311293"/>
                  <a:pt x="3409807" y="1307736"/>
                </a:cubicBezTo>
                <a:cubicBezTo>
                  <a:pt x="3409381" y="1306455"/>
                  <a:pt x="3409594" y="1305459"/>
                  <a:pt x="3408953" y="1304321"/>
                </a:cubicBezTo>
                <a:cubicBezTo>
                  <a:pt x="3408953" y="1304321"/>
                  <a:pt x="3408953" y="1304321"/>
                  <a:pt x="3408740" y="1302187"/>
                </a:cubicBezTo>
                <a:cubicBezTo>
                  <a:pt x="3408740" y="1302187"/>
                  <a:pt x="3408740" y="1302187"/>
                  <a:pt x="3407886" y="1301902"/>
                </a:cubicBezTo>
                <a:cubicBezTo>
                  <a:pt x="3407886" y="1301902"/>
                  <a:pt x="3407886" y="1301902"/>
                  <a:pt x="3408100" y="1300907"/>
                </a:cubicBezTo>
                <a:cubicBezTo>
                  <a:pt x="3408100" y="1300907"/>
                  <a:pt x="3408313" y="1300907"/>
                  <a:pt x="3406819" y="1290094"/>
                </a:cubicBezTo>
                <a:lnTo>
                  <a:pt x="3406393" y="1287960"/>
                </a:lnTo>
                <a:lnTo>
                  <a:pt x="3403831" y="1285257"/>
                </a:lnTo>
                <a:cubicBezTo>
                  <a:pt x="3402978" y="1284119"/>
                  <a:pt x="3402551" y="1282838"/>
                  <a:pt x="3402551" y="1281558"/>
                </a:cubicBezTo>
                <a:lnTo>
                  <a:pt x="3402978" y="1279282"/>
                </a:lnTo>
                <a:lnTo>
                  <a:pt x="3401697" y="1281843"/>
                </a:lnTo>
                <a:cubicBezTo>
                  <a:pt x="3399563" y="1285400"/>
                  <a:pt x="3397429" y="1288245"/>
                  <a:pt x="3395508" y="1288387"/>
                </a:cubicBezTo>
                <a:cubicBezTo>
                  <a:pt x="3395295" y="1287249"/>
                  <a:pt x="3394867" y="1286111"/>
                  <a:pt x="3395722" y="1284546"/>
                </a:cubicBezTo>
                <a:cubicBezTo>
                  <a:pt x="3396362" y="1282981"/>
                  <a:pt x="3396788" y="1284119"/>
                  <a:pt x="3396362" y="1282981"/>
                </a:cubicBezTo>
                <a:cubicBezTo>
                  <a:pt x="3397002" y="1281416"/>
                  <a:pt x="3395935" y="1281843"/>
                  <a:pt x="3395935" y="1281843"/>
                </a:cubicBezTo>
                <a:cubicBezTo>
                  <a:pt x="3395935" y="1281843"/>
                  <a:pt x="3397002" y="1281416"/>
                  <a:pt x="3397002" y="1281416"/>
                </a:cubicBezTo>
                <a:cubicBezTo>
                  <a:pt x="3397002" y="1281416"/>
                  <a:pt x="3397002" y="1281416"/>
                  <a:pt x="3398496" y="1278286"/>
                </a:cubicBezTo>
                <a:cubicBezTo>
                  <a:pt x="3399776" y="1274018"/>
                  <a:pt x="3399350" y="1272879"/>
                  <a:pt x="3399776" y="1270177"/>
                </a:cubicBezTo>
                <a:lnTo>
                  <a:pt x="3400203" y="1269607"/>
                </a:lnTo>
                <a:lnTo>
                  <a:pt x="3397856" y="1266051"/>
                </a:lnTo>
                <a:close/>
                <a:moveTo>
                  <a:pt x="1293388" y="1255302"/>
                </a:moveTo>
                <a:lnTo>
                  <a:pt x="1294214" y="1255767"/>
                </a:lnTo>
                <a:lnTo>
                  <a:pt x="1296589" y="1255767"/>
                </a:lnTo>
                <a:cubicBezTo>
                  <a:pt x="1297518" y="1256386"/>
                  <a:pt x="1298034" y="1257471"/>
                  <a:pt x="1297931" y="1259019"/>
                </a:cubicBezTo>
                <a:cubicBezTo>
                  <a:pt x="1297518" y="1261343"/>
                  <a:pt x="1296279" y="1262737"/>
                  <a:pt x="1294524" y="1263356"/>
                </a:cubicBezTo>
                <a:lnTo>
                  <a:pt x="1290600" y="1263667"/>
                </a:lnTo>
                <a:lnTo>
                  <a:pt x="1291735" y="1265060"/>
                </a:lnTo>
                <a:cubicBezTo>
                  <a:pt x="1292768" y="1266919"/>
                  <a:pt x="1291013" y="1267694"/>
                  <a:pt x="1288225" y="1269088"/>
                </a:cubicBezTo>
                <a:cubicBezTo>
                  <a:pt x="1287089" y="1267539"/>
                  <a:pt x="1286779" y="1266455"/>
                  <a:pt x="1287089" y="1265525"/>
                </a:cubicBezTo>
                <a:lnTo>
                  <a:pt x="1288638" y="1263822"/>
                </a:lnTo>
                <a:lnTo>
                  <a:pt x="1287915" y="1263822"/>
                </a:lnTo>
                <a:cubicBezTo>
                  <a:pt x="1287605" y="1262118"/>
                  <a:pt x="1286676" y="1260879"/>
                  <a:pt x="1286366" y="1259019"/>
                </a:cubicBezTo>
                <a:lnTo>
                  <a:pt x="1284095" y="1257625"/>
                </a:lnTo>
                <a:cubicBezTo>
                  <a:pt x="1285850" y="1254682"/>
                  <a:pt x="1290290" y="1254063"/>
                  <a:pt x="1293388" y="1255302"/>
                </a:cubicBezTo>
                <a:close/>
                <a:moveTo>
                  <a:pt x="1330250" y="1254992"/>
                </a:moveTo>
                <a:cubicBezTo>
                  <a:pt x="1329940" y="1256232"/>
                  <a:pt x="1331283" y="1258245"/>
                  <a:pt x="1331489" y="1260259"/>
                </a:cubicBezTo>
                <a:cubicBezTo>
                  <a:pt x="1330767" y="1260723"/>
                  <a:pt x="1330560" y="1261808"/>
                  <a:pt x="1329837" y="1262272"/>
                </a:cubicBezTo>
                <a:cubicBezTo>
                  <a:pt x="1329321" y="1261653"/>
                  <a:pt x="1327669" y="1260723"/>
                  <a:pt x="1328392" y="1260259"/>
                </a:cubicBezTo>
                <a:cubicBezTo>
                  <a:pt x="1327978" y="1259484"/>
                  <a:pt x="1329424" y="1258555"/>
                  <a:pt x="1329424" y="1258555"/>
                </a:cubicBezTo>
                <a:cubicBezTo>
                  <a:pt x="1329011" y="1257935"/>
                  <a:pt x="1328495" y="1257161"/>
                  <a:pt x="1328701" y="1256077"/>
                </a:cubicBezTo>
                <a:cubicBezTo>
                  <a:pt x="1329940" y="1256232"/>
                  <a:pt x="1329528" y="1255457"/>
                  <a:pt x="1330250" y="1254992"/>
                </a:cubicBezTo>
                <a:close/>
                <a:moveTo>
                  <a:pt x="1494118" y="1254682"/>
                </a:moveTo>
                <a:cubicBezTo>
                  <a:pt x="1494944" y="1254373"/>
                  <a:pt x="1495873" y="1254218"/>
                  <a:pt x="1496183" y="1254837"/>
                </a:cubicBezTo>
                <a:cubicBezTo>
                  <a:pt x="1496390" y="1255612"/>
                  <a:pt x="1495460" y="1255922"/>
                  <a:pt x="1494324" y="1255302"/>
                </a:cubicBezTo>
                <a:cubicBezTo>
                  <a:pt x="1494324" y="1255302"/>
                  <a:pt x="1494118" y="1254682"/>
                  <a:pt x="1494118" y="1254682"/>
                </a:cubicBezTo>
                <a:close/>
                <a:moveTo>
                  <a:pt x="5015150" y="1254669"/>
                </a:moveTo>
                <a:cubicBezTo>
                  <a:pt x="5014724" y="1259648"/>
                  <a:pt x="5014083" y="1264912"/>
                  <a:pt x="5009175" y="1264770"/>
                </a:cubicBezTo>
                <a:cubicBezTo>
                  <a:pt x="5005547" y="1260360"/>
                  <a:pt x="5008108" y="1253531"/>
                  <a:pt x="5015150" y="1254669"/>
                </a:cubicBezTo>
                <a:close/>
                <a:moveTo>
                  <a:pt x="1573832" y="1254528"/>
                </a:moveTo>
                <a:cubicBezTo>
                  <a:pt x="1576929" y="1254837"/>
                  <a:pt x="1579717" y="1256851"/>
                  <a:pt x="1581472" y="1259794"/>
                </a:cubicBezTo>
                <a:lnTo>
                  <a:pt x="1582918" y="1263356"/>
                </a:lnTo>
                <a:lnTo>
                  <a:pt x="1583228" y="1261808"/>
                </a:lnTo>
                <a:cubicBezTo>
                  <a:pt x="1583537" y="1260568"/>
                  <a:pt x="1583847" y="1259484"/>
                  <a:pt x="1584467" y="1259639"/>
                </a:cubicBezTo>
                <a:cubicBezTo>
                  <a:pt x="1584467" y="1259639"/>
                  <a:pt x="1584054" y="1260879"/>
                  <a:pt x="1583744" y="1261963"/>
                </a:cubicBezTo>
                <a:cubicBezTo>
                  <a:pt x="1583331" y="1263047"/>
                  <a:pt x="1583331" y="1263047"/>
                  <a:pt x="1584467" y="1263512"/>
                </a:cubicBezTo>
                <a:cubicBezTo>
                  <a:pt x="1584261" y="1264131"/>
                  <a:pt x="1584261" y="1264441"/>
                  <a:pt x="1583951" y="1264596"/>
                </a:cubicBezTo>
                <a:lnTo>
                  <a:pt x="1583434" y="1264906"/>
                </a:lnTo>
                <a:lnTo>
                  <a:pt x="1583434" y="1270017"/>
                </a:lnTo>
                <a:lnTo>
                  <a:pt x="1582092" y="1275129"/>
                </a:lnTo>
                <a:lnTo>
                  <a:pt x="1582092" y="1275284"/>
                </a:lnTo>
                <a:lnTo>
                  <a:pt x="1581576" y="1277297"/>
                </a:lnTo>
                <a:lnTo>
                  <a:pt x="1578271" y="1282719"/>
                </a:lnTo>
                <a:lnTo>
                  <a:pt x="1578581" y="1282409"/>
                </a:lnTo>
                <a:cubicBezTo>
                  <a:pt x="1580646" y="1281789"/>
                  <a:pt x="1583125" y="1282564"/>
                  <a:pt x="1584570" y="1284423"/>
                </a:cubicBezTo>
                <a:lnTo>
                  <a:pt x="1585087" y="1286281"/>
                </a:lnTo>
                <a:lnTo>
                  <a:pt x="1587358" y="1285042"/>
                </a:lnTo>
                <a:lnTo>
                  <a:pt x="1588081" y="1277762"/>
                </a:lnTo>
                <a:lnTo>
                  <a:pt x="1589217" y="1276058"/>
                </a:lnTo>
                <a:lnTo>
                  <a:pt x="1589113" y="1274354"/>
                </a:lnTo>
                <a:cubicBezTo>
                  <a:pt x="1589836" y="1274200"/>
                  <a:pt x="1589836" y="1274200"/>
                  <a:pt x="1590146" y="1274974"/>
                </a:cubicBezTo>
                <a:cubicBezTo>
                  <a:pt x="1590146" y="1274819"/>
                  <a:pt x="1590146" y="1274819"/>
                  <a:pt x="1590249" y="1274664"/>
                </a:cubicBezTo>
                <a:lnTo>
                  <a:pt x="1590456" y="1274974"/>
                </a:lnTo>
                <a:lnTo>
                  <a:pt x="1590972" y="1274664"/>
                </a:lnTo>
                <a:cubicBezTo>
                  <a:pt x="1591592" y="1274509"/>
                  <a:pt x="1592211" y="1274354"/>
                  <a:pt x="1593037" y="1274509"/>
                </a:cubicBezTo>
                <a:cubicBezTo>
                  <a:pt x="1593450" y="1274354"/>
                  <a:pt x="1593967" y="1275129"/>
                  <a:pt x="1594276" y="1276058"/>
                </a:cubicBezTo>
                <a:lnTo>
                  <a:pt x="1594379" y="1276833"/>
                </a:lnTo>
                <a:lnTo>
                  <a:pt x="1595205" y="1276368"/>
                </a:lnTo>
                <a:cubicBezTo>
                  <a:pt x="1596238" y="1276368"/>
                  <a:pt x="1596754" y="1276678"/>
                  <a:pt x="1596754" y="1276678"/>
                </a:cubicBezTo>
                <a:cubicBezTo>
                  <a:pt x="1600575" y="1279311"/>
                  <a:pt x="1601917" y="1283493"/>
                  <a:pt x="1599336" y="1287521"/>
                </a:cubicBezTo>
                <a:cubicBezTo>
                  <a:pt x="1596858" y="1288914"/>
                  <a:pt x="1594276" y="1287521"/>
                  <a:pt x="1591798" y="1286126"/>
                </a:cubicBezTo>
                <a:lnTo>
                  <a:pt x="1590146" y="1284423"/>
                </a:lnTo>
                <a:lnTo>
                  <a:pt x="1589939" y="1284732"/>
                </a:lnTo>
                <a:lnTo>
                  <a:pt x="1587977" y="1285042"/>
                </a:lnTo>
                <a:lnTo>
                  <a:pt x="1589423" y="1285042"/>
                </a:lnTo>
                <a:cubicBezTo>
                  <a:pt x="1590043" y="1285352"/>
                  <a:pt x="1590559" y="1285662"/>
                  <a:pt x="1590766" y="1286281"/>
                </a:cubicBezTo>
                <a:cubicBezTo>
                  <a:pt x="1590249" y="1286901"/>
                  <a:pt x="1591075" y="1287366"/>
                  <a:pt x="1590662" y="1288140"/>
                </a:cubicBezTo>
                <a:cubicBezTo>
                  <a:pt x="1590456" y="1289999"/>
                  <a:pt x="1590043" y="1290618"/>
                  <a:pt x="1588907" y="1290773"/>
                </a:cubicBezTo>
                <a:cubicBezTo>
                  <a:pt x="1588391" y="1291548"/>
                  <a:pt x="1587668" y="1291083"/>
                  <a:pt x="1586532" y="1291238"/>
                </a:cubicBezTo>
                <a:lnTo>
                  <a:pt x="1585809" y="1290464"/>
                </a:lnTo>
                <a:lnTo>
                  <a:pt x="1584983" y="1291238"/>
                </a:lnTo>
                <a:cubicBezTo>
                  <a:pt x="1583331" y="1292168"/>
                  <a:pt x="1581886" y="1292787"/>
                  <a:pt x="1581369" y="1292477"/>
                </a:cubicBezTo>
                <a:lnTo>
                  <a:pt x="1584776" y="1289689"/>
                </a:lnTo>
                <a:lnTo>
                  <a:pt x="1580440" y="1290773"/>
                </a:lnTo>
                <a:cubicBezTo>
                  <a:pt x="1578271" y="1290773"/>
                  <a:pt x="1576206" y="1290308"/>
                  <a:pt x="1575380" y="1289379"/>
                </a:cubicBezTo>
                <a:lnTo>
                  <a:pt x="1576000" y="1285352"/>
                </a:lnTo>
                <a:lnTo>
                  <a:pt x="1575690" y="1285662"/>
                </a:lnTo>
                <a:cubicBezTo>
                  <a:pt x="1567327" y="1284113"/>
                  <a:pt x="1566191" y="1277297"/>
                  <a:pt x="1566603" y="1270792"/>
                </a:cubicBezTo>
                <a:lnTo>
                  <a:pt x="1566913" y="1268468"/>
                </a:lnTo>
                <a:lnTo>
                  <a:pt x="1565984" y="1268003"/>
                </a:lnTo>
                <a:cubicBezTo>
                  <a:pt x="1565365" y="1267539"/>
                  <a:pt x="1564745" y="1266919"/>
                  <a:pt x="1564332" y="1266610"/>
                </a:cubicBezTo>
                <a:cubicBezTo>
                  <a:pt x="1563506" y="1266610"/>
                  <a:pt x="1562680" y="1265835"/>
                  <a:pt x="1562783" y="1265060"/>
                </a:cubicBezTo>
                <a:cubicBezTo>
                  <a:pt x="1562783" y="1265060"/>
                  <a:pt x="1561957" y="1264286"/>
                  <a:pt x="1561028" y="1264286"/>
                </a:cubicBezTo>
                <a:cubicBezTo>
                  <a:pt x="1559376" y="1262737"/>
                  <a:pt x="1559376" y="1261963"/>
                  <a:pt x="1559479" y="1261033"/>
                </a:cubicBezTo>
                <a:cubicBezTo>
                  <a:pt x="1559479" y="1261033"/>
                  <a:pt x="1560305" y="1261808"/>
                  <a:pt x="1561131" y="1261808"/>
                </a:cubicBezTo>
                <a:cubicBezTo>
                  <a:pt x="1561131" y="1261808"/>
                  <a:pt x="1561957" y="1262582"/>
                  <a:pt x="1562783" y="1263356"/>
                </a:cubicBezTo>
                <a:cubicBezTo>
                  <a:pt x="1562783" y="1263356"/>
                  <a:pt x="1563609" y="1263356"/>
                  <a:pt x="1564435" y="1263356"/>
                </a:cubicBezTo>
                <a:lnTo>
                  <a:pt x="1567327" y="1265370"/>
                </a:lnTo>
                <a:lnTo>
                  <a:pt x="1567430" y="1264596"/>
                </a:lnTo>
                <a:cubicBezTo>
                  <a:pt x="1567946" y="1260723"/>
                  <a:pt x="1568875" y="1256696"/>
                  <a:pt x="1571147" y="1255147"/>
                </a:cubicBezTo>
                <a:cubicBezTo>
                  <a:pt x="1571870" y="1254528"/>
                  <a:pt x="1572799" y="1254373"/>
                  <a:pt x="1573832" y="1254528"/>
                </a:cubicBezTo>
                <a:close/>
                <a:moveTo>
                  <a:pt x="5633214" y="1254101"/>
                </a:moveTo>
                <a:cubicBezTo>
                  <a:pt x="5635349" y="1254243"/>
                  <a:pt x="5637696" y="1255096"/>
                  <a:pt x="5640044" y="1257230"/>
                </a:cubicBezTo>
                <a:cubicBezTo>
                  <a:pt x="5641537" y="1258368"/>
                  <a:pt x="5642605" y="1259791"/>
                  <a:pt x="5643672" y="1261214"/>
                </a:cubicBezTo>
                <a:cubicBezTo>
                  <a:pt x="5646660" y="1265766"/>
                  <a:pt x="5647087" y="1271599"/>
                  <a:pt x="5640257" y="1278713"/>
                </a:cubicBezTo>
                <a:cubicBezTo>
                  <a:pt x="5638977" y="1281132"/>
                  <a:pt x="5638977" y="1279851"/>
                  <a:pt x="5637696" y="1281132"/>
                </a:cubicBezTo>
                <a:cubicBezTo>
                  <a:pt x="5636416" y="1282270"/>
                  <a:pt x="5635135" y="1284546"/>
                  <a:pt x="5634921" y="1285826"/>
                </a:cubicBezTo>
                <a:cubicBezTo>
                  <a:pt x="5630653" y="1282127"/>
                  <a:pt x="5628092" y="1285684"/>
                  <a:pt x="5621690" y="1279567"/>
                </a:cubicBezTo>
                <a:cubicBezTo>
                  <a:pt x="5613153" y="1272311"/>
                  <a:pt x="5616354" y="1263917"/>
                  <a:pt x="5620195" y="1259222"/>
                </a:cubicBezTo>
                <a:cubicBezTo>
                  <a:pt x="5621050" y="1260075"/>
                  <a:pt x="5626598" y="1253673"/>
                  <a:pt x="5633214" y="1254101"/>
                </a:cubicBezTo>
                <a:close/>
                <a:moveTo>
                  <a:pt x="1488645" y="1254063"/>
                </a:moveTo>
                <a:cubicBezTo>
                  <a:pt x="1491433" y="1254218"/>
                  <a:pt x="1491536" y="1254373"/>
                  <a:pt x="1493808" y="1255457"/>
                </a:cubicBezTo>
                <a:cubicBezTo>
                  <a:pt x="1492982" y="1255767"/>
                  <a:pt x="1491536" y="1256851"/>
                  <a:pt x="1490400" y="1256386"/>
                </a:cubicBezTo>
                <a:cubicBezTo>
                  <a:pt x="1489265" y="1255767"/>
                  <a:pt x="1489265" y="1255767"/>
                  <a:pt x="1488645" y="1254063"/>
                </a:cubicBezTo>
                <a:close/>
                <a:moveTo>
                  <a:pt x="1273459" y="1254063"/>
                </a:moveTo>
                <a:cubicBezTo>
                  <a:pt x="1276247" y="1252824"/>
                  <a:pt x="1284611" y="1259175"/>
                  <a:pt x="1278932" y="1262582"/>
                </a:cubicBezTo>
                <a:cubicBezTo>
                  <a:pt x="1278312" y="1263047"/>
                  <a:pt x="1277383" y="1262892"/>
                  <a:pt x="1276350" y="1262427"/>
                </a:cubicBezTo>
                <a:cubicBezTo>
                  <a:pt x="1274285" y="1261343"/>
                  <a:pt x="1272117" y="1258400"/>
                  <a:pt x="1272427" y="1256077"/>
                </a:cubicBezTo>
                <a:cubicBezTo>
                  <a:pt x="1272530" y="1255302"/>
                  <a:pt x="1272736" y="1254528"/>
                  <a:pt x="1273459" y="1254063"/>
                </a:cubicBezTo>
                <a:close/>
                <a:moveTo>
                  <a:pt x="5739497" y="1253958"/>
                </a:moveTo>
                <a:cubicBezTo>
                  <a:pt x="5741845" y="1253531"/>
                  <a:pt x="5744619" y="1253958"/>
                  <a:pt x="5747394" y="1255523"/>
                </a:cubicBezTo>
                <a:cubicBezTo>
                  <a:pt x="5748034" y="1268185"/>
                  <a:pt x="5731814" y="1283407"/>
                  <a:pt x="5724772" y="1274445"/>
                </a:cubicBezTo>
                <a:cubicBezTo>
                  <a:pt x="5723917" y="1273164"/>
                  <a:pt x="5723064" y="1271315"/>
                  <a:pt x="5722424" y="1269039"/>
                </a:cubicBezTo>
                <a:cubicBezTo>
                  <a:pt x="5726692" y="1264059"/>
                  <a:pt x="5732241" y="1255381"/>
                  <a:pt x="5739497" y="1253958"/>
                </a:cubicBezTo>
                <a:close/>
                <a:moveTo>
                  <a:pt x="3552799" y="1253958"/>
                </a:moveTo>
                <a:cubicBezTo>
                  <a:pt x="3554932" y="1256946"/>
                  <a:pt x="3557920" y="1260075"/>
                  <a:pt x="3561122" y="1263348"/>
                </a:cubicBezTo>
                <a:lnTo>
                  <a:pt x="3566884" y="1270034"/>
                </a:lnTo>
                <a:lnTo>
                  <a:pt x="3566884" y="1269750"/>
                </a:lnTo>
                <a:cubicBezTo>
                  <a:pt x="3567524" y="1269039"/>
                  <a:pt x="3568805" y="1268612"/>
                  <a:pt x="3570299" y="1268185"/>
                </a:cubicBezTo>
                <a:cubicBezTo>
                  <a:pt x="3570939" y="1269181"/>
                  <a:pt x="3571153" y="1270177"/>
                  <a:pt x="3570939" y="1271173"/>
                </a:cubicBezTo>
                <a:lnTo>
                  <a:pt x="3569232" y="1272738"/>
                </a:lnTo>
                <a:lnTo>
                  <a:pt x="3569659" y="1273164"/>
                </a:lnTo>
                <a:cubicBezTo>
                  <a:pt x="3574141" y="1279567"/>
                  <a:pt x="3574567" y="1285684"/>
                  <a:pt x="3563043" y="1290236"/>
                </a:cubicBezTo>
                <a:lnTo>
                  <a:pt x="3561335" y="1283550"/>
                </a:lnTo>
                <a:lnTo>
                  <a:pt x="3559841" y="1284830"/>
                </a:lnTo>
                <a:cubicBezTo>
                  <a:pt x="3558988" y="1285969"/>
                  <a:pt x="3556853" y="1282981"/>
                  <a:pt x="3556853" y="1282981"/>
                </a:cubicBezTo>
                <a:cubicBezTo>
                  <a:pt x="3556640" y="1282127"/>
                  <a:pt x="3557707" y="1281274"/>
                  <a:pt x="3558774" y="1280420"/>
                </a:cubicBezTo>
                <a:lnTo>
                  <a:pt x="3560055" y="1279282"/>
                </a:lnTo>
                <a:lnTo>
                  <a:pt x="3556000" y="1270746"/>
                </a:lnTo>
                <a:cubicBezTo>
                  <a:pt x="3553012" y="1264770"/>
                  <a:pt x="3550664" y="1259222"/>
                  <a:pt x="3552799" y="1253958"/>
                </a:cubicBezTo>
                <a:close/>
                <a:moveTo>
                  <a:pt x="3611916" y="1253673"/>
                </a:moveTo>
                <a:cubicBezTo>
                  <a:pt x="3614477" y="1254101"/>
                  <a:pt x="3616611" y="1253389"/>
                  <a:pt x="3619172" y="1253816"/>
                </a:cubicBezTo>
                <a:cubicBezTo>
                  <a:pt x="3619599" y="1256092"/>
                  <a:pt x="3621093" y="1257657"/>
                  <a:pt x="3621946" y="1259506"/>
                </a:cubicBezTo>
                <a:cubicBezTo>
                  <a:pt x="3622800" y="1261356"/>
                  <a:pt x="3622800" y="1263348"/>
                  <a:pt x="3620453" y="1266478"/>
                </a:cubicBezTo>
                <a:cubicBezTo>
                  <a:pt x="3613623" y="1268612"/>
                  <a:pt x="3607220" y="1260930"/>
                  <a:pt x="3611916" y="1253673"/>
                </a:cubicBezTo>
                <a:close/>
                <a:moveTo>
                  <a:pt x="1498248" y="1253598"/>
                </a:moveTo>
                <a:cubicBezTo>
                  <a:pt x="1499487" y="1254063"/>
                  <a:pt x="1499487" y="1254063"/>
                  <a:pt x="1500313" y="1253753"/>
                </a:cubicBezTo>
                <a:cubicBezTo>
                  <a:pt x="1500313" y="1253753"/>
                  <a:pt x="1499694" y="1254837"/>
                  <a:pt x="1499694" y="1254837"/>
                </a:cubicBezTo>
                <a:cubicBezTo>
                  <a:pt x="1498558" y="1254218"/>
                  <a:pt x="1498867" y="1254992"/>
                  <a:pt x="1498248" y="1253598"/>
                </a:cubicBezTo>
                <a:close/>
                <a:moveTo>
                  <a:pt x="1514356" y="1252979"/>
                </a:moveTo>
                <a:cubicBezTo>
                  <a:pt x="1512704" y="1253289"/>
                  <a:pt x="1503411" y="1254992"/>
                  <a:pt x="1500313" y="1254063"/>
                </a:cubicBezTo>
                <a:cubicBezTo>
                  <a:pt x="1504753" y="1253753"/>
                  <a:pt x="1510226" y="1251430"/>
                  <a:pt x="1514356" y="1252979"/>
                </a:cubicBezTo>
                <a:close/>
                <a:moveTo>
                  <a:pt x="1610591" y="1252669"/>
                </a:moveTo>
                <a:cubicBezTo>
                  <a:pt x="1613069" y="1252979"/>
                  <a:pt x="1615444" y="1253289"/>
                  <a:pt x="1615340" y="1255612"/>
                </a:cubicBezTo>
                <a:cubicBezTo>
                  <a:pt x="1613482" y="1255922"/>
                  <a:pt x="1613379" y="1257006"/>
                  <a:pt x="1610384" y="1256077"/>
                </a:cubicBezTo>
                <a:cubicBezTo>
                  <a:pt x="1610488" y="1254992"/>
                  <a:pt x="1610591" y="1253908"/>
                  <a:pt x="1610591" y="1252669"/>
                </a:cubicBezTo>
                <a:close/>
                <a:moveTo>
                  <a:pt x="1527676" y="1251275"/>
                </a:moveTo>
                <a:cubicBezTo>
                  <a:pt x="1526437" y="1252359"/>
                  <a:pt x="1523546" y="1254063"/>
                  <a:pt x="1521377" y="1252979"/>
                </a:cubicBezTo>
                <a:cubicBezTo>
                  <a:pt x="1521377" y="1252979"/>
                  <a:pt x="1521377" y="1252824"/>
                  <a:pt x="1520241" y="1252359"/>
                </a:cubicBezTo>
                <a:cubicBezTo>
                  <a:pt x="1522616" y="1251739"/>
                  <a:pt x="1525817" y="1250810"/>
                  <a:pt x="1527676" y="1251275"/>
                </a:cubicBezTo>
                <a:close/>
                <a:moveTo>
                  <a:pt x="4915911" y="1250829"/>
                </a:moveTo>
                <a:cubicBezTo>
                  <a:pt x="4918471" y="1251824"/>
                  <a:pt x="4918471" y="1253104"/>
                  <a:pt x="4917618" y="1254385"/>
                </a:cubicBezTo>
                <a:cubicBezTo>
                  <a:pt x="4917618" y="1254385"/>
                  <a:pt x="4916551" y="1255523"/>
                  <a:pt x="4915483" y="1256803"/>
                </a:cubicBezTo>
                <a:cubicBezTo>
                  <a:pt x="4914416" y="1258084"/>
                  <a:pt x="4914630" y="1259365"/>
                  <a:pt x="4914630" y="1259365"/>
                </a:cubicBezTo>
                <a:cubicBezTo>
                  <a:pt x="4913563" y="1260645"/>
                  <a:pt x="4912496" y="1260645"/>
                  <a:pt x="4911002" y="1259506"/>
                </a:cubicBezTo>
                <a:cubicBezTo>
                  <a:pt x="4911002" y="1259506"/>
                  <a:pt x="4911855" y="1257088"/>
                  <a:pt x="4911855" y="1257088"/>
                </a:cubicBezTo>
                <a:cubicBezTo>
                  <a:pt x="4913990" y="1254527"/>
                  <a:pt x="4915057" y="1253247"/>
                  <a:pt x="4915911" y="1250829"/>
                </a:cubicBezTo>
                <a:close/>
                <a:moveTo>
                  <a:pt x="1470678" y="1250345"/>
                </a:moveTo>
                <a:cubicBezTo>
                  <a:pt x="1471504" y="1250345"/>
                  <a:pt x="1473363" y="1249726"/>
                  <a:pt x="1474189" y="1250655"/>
                </a:cubicBezTo>
                <a:cubicBezTo>
                  <a:pt x="1475119" y="1251585"/>
                  <a:pt x="1475119" y="1251585"/>
                  <a:pt x="1475015" y="1253289"/>
                </a:cubicBezTo>
                <a:cubicBezTo>
                  <a:pt x="1472434" y="1252204"/>
                  <a:pt x="1472434" y="1252204"/>
                  <a:pt x="1470678" y="1250345"/>
                </a:cubicBezTo>
                <a:close/>
                <a:moveTo>
                  <a:pt x="4454284" y="1249832"/>
                </a:moveTo>
                <a:cubicBezTo>
                  <a:pt x="4455564" y="1249974"/>
                  <a:pt x="4457271" y="1250259"/>
                  <a:pt x="4459406" y="1250544"/>
                </a:cubicBezTo>
                <a:cubicBezTo>
                  <a:pt x="4461113" y="1250970"/>
                  <a:pt x="4462607" y="1251824"/>
                  <a:pt x="4463887" y="1252962"/>
                </a:cubicBezTo>
                <a:cubicBezTo>
                  <a:pt x="4465168" y="1254243"/>
                  <a:pt x="4466022" y="1255665"/>
                  <a:pt x="4466662" y="1257515"/>
                </a:cubicBezTo>
                <a:cubicBezTo>
                  <a:pt x="4469010" y="1258938"/>
                  <a:pt x="4470930" y="1262067"/>
                  <a:pt x="4471357" y="1264628"/>
                </a:cubicBezTo>
                <a:cubicBezTo>
                  <a:pt x="4470930" y="1267901"/>
                  <a:pt x="4469010" y="1269181"/>
                  <a:pt x="4467302" y="1268754"/>
                </a:cubicBezTo>
                <a:cubicBezTo>
                  <a:pt x="4454284" y="1267047"/>
                  <a:pt x="4452149" y="1255523"/>
                  <a:pt x="4449801" y="1254101"/>
                </a:cubicBezTo>
                <a:cubicBezTo>
                  <a:pt x="4450442" y="1250401"/>
                  <a:pt x="4450442" y="1249548"/>
                  <a:pt x="4454284" y="1249832"/>
                </a:cubicBezTo>
                <a:close/>
                <a:moveTo>
                  <a:pt x="1144802" y="1249571"/>
                </a:moveTo>
                <a:cubicBezTo>
                  <a:pt x="1145112" y="1249726"/>
                  <a:pt x="1145628" y="1249726"/>
                  <a:pt x="1146557" y="1249571"/>
                </a:cubicBezTo>
                <a:cubicBezTo>
                  <a:pt x="1147693" y="1249726"/>
                  <a:pt x="1148416" y="1249261"/>
                  <a:pt x="1148106" y="1250345"/>
                </a:cubicBezTo>
                <a:cubicBezTo>
                  <a:pt x="1147796" y="1251430"/>
                  <a:pt x="1147900" y="1251430"/>
                  <a:pt x="1145731" y="1252979"/>
                </a:cubicBezTo>
                <a:cubicBezTo>
                  <a:pt x="1145938" y="1251739"/>
                  <a:pt x="1145938" y="1251739"/>
                  <a:pt x="1144802" y="1251585"/>
                </a:cubicBezTo>
                <a:cubicBezTo>
                  <a:pt x="1144802" y="1251585"/>
                  <a:pt x="1144905" y="1251585"/>
                  <a:pt x="1144182" y="1252204"/>
                </a:cubicBezTo>
                <a:cubicBezTo>
                  <a:pt x="1143666" y="1251430"/>
                  <a:pt x="1144389" y="1250965"/>
                  <a:pt x="1143976" y="1250345"/>
                </a:cubicBezTo>
                <a:cubicBezTo>
                  <a:pt x="1143976" y="1250345"/>
                  <a:pt x="1144699" y="1249880"/>
                  <a:pt x="1144699" y="1249880"/>
                </a:cubicBezTo>
                <a:cubicBezTo>
                  <a:pt x="1144492" y="1249571"/>
                  <a:pt x="1144492" y="1249571"/>
                  <a:pt x="1144802" y="1249571"/>
                </a:cubicBezTo>
                <a:close/>
                <a:moveTo>
                  <a:pt x="1468717" y="1249416"/>
                </a:moveTo>
                <a:cubicBezTo>
                  <a:pt x="1469130" y="1249571"/>
                  <a:pt x="1469543" y="1249726"/>
                  <a:pt x="1470059" y="1250190"/>
                </a:cubicBezTo>
                <a:cubicBezTo>
                  <a:pt x="1470059" y="1250190"/>
                  <a:pt x="1470059" y="1250965"/>
                  <a:pt x="1470059" y="1250965"/>
                </a:cubicBezTo>
                <a:cubicBezTo>
                  <a:pt x="1469027" y="1250810"/>
                  <a:pt x="1468097" y="1250810"/>
                  <a:pt x="1468201" y="1250035"/>
                </a:cubicBezTo>
                <a:cubicBezTo>
                  <a:pt x="1468201" y="1249571"/>
                  <a:pt x="1468407" y="1249416"/>
                  <a:pt x="1468717" y="1249416"/>
                </a:cubicBezTo>
                <a:close/>
                <a:moveTo>
                  <a:pt x="3682984" y="1248979"/>
                </a:moveTo>
                <a:cubicBezTo>
                  <a:pt x="3684478" y="1251397"/>
                  <a:pt x="3686613" y="1252678"/>
                  <a:pt x="3688107" y="1254954"/>
                </a:cubicBezTo>
                <a:cubicBezTo>
                  <a:pt x="3685972" y="1258795"/>
                  <a:pt x="3688320" y="1264486"/>
                  <a:pt x="3681064" y="1265055"/>
                </a:cubicBezTo>
                <a:cubicBezTo>
                  <a:pt x="3674875" y="1260930"/>
                  <a:pt x="3675088" y="1250544"/>
                  <a:pt x="3682984" y="1248979"/>
                </a:cubicBezTo>
                <a:close/>
                <a:moveTo>
                  <a:pt x="3516944" y="1248836"/>
                </a:moveTo>
                <a:cubicBezTo>
                  <a:pt x="3517798" y="1248979"/>
                  <a:pt x="3518651" y="1249263"/>
                  <a:pt x="3519505" y="1249974"/>
                </a:cubicBezTo>
                <a:cubicBezTo>
                  <a:pt x="3519292" y="1251112"/>
                  <a:pt x="3520572" y="1251397"/>
                  <a:pt x="3520359" y="1252535"/>
                </a:cubicBezTo>
                <a:cubicBezTo>
                  <a:pt x="3520359" y="1252535"/>
                  <a:pt x="3520999" y="1253816"/>
                  <a:pt x="3520999" y="1255523"/>
                </a:cubicBezTo>
                <a:lnTo>
                  <a:pt x="3519292" y="1259933"/>
                </a:lnTo>
                <a:lnTo>
                  <a:pt x="3526548" y="1264059"/>
                </a:lnTo>
                <a:cubicBezTo>
                  <a:pt x="3529109" y="1265909"/>
                  <a:pt x="3531457" y="1268042"/>
                  <a:pt x="3533804" y="1271031"/>
                </a:cubicBezTo>
                <a:cubicBezTo>
                  <a:pt x="3523560" y="1277290"/>
                  <a:pt x="3499444" y="1264343"/>
                  <a:pt x="3503925" y="1251397"/>
                </a:cubicBezTo>
                <a:lnTo>
                  <a:pt x="3509261" y="1254811"/>
                </a:lnTo>
                <a:lnTo>
                  <a:pt x="3509901" y="1251966"/>
                </a:lnTo>
                <a:cubicBezTo>
                  <a:pt x="3511822" y="1250544"/>
                  <a:pt x="3514383" y="1248552"/>
                  <a:pt x="3516944" y="1248836"/>
                </a:cubicBezTo>
                <a:close/>
                <a:moveTo>
                  <a:pt x="4047292" y="1248409"/>
                </a:moveTo>
                <a:cubicBezTo>
                  <a:pt x="4048572" y="1250829"/>
                  <a:pt x="4048572" y="1250829"/>
                  <a:pt x="4047505" y="1253247"/>
                </a:cubicBezTo>
                <a:cubicBezTo>
                  <a:pt x="4046439" y="1253247"/>
                  <a:pt x="4046439" y="1254385"/>
                  <a:pt x="4045158" y="1253247"/>
                </a:cubicBezTo>
                <a:cubicBezTo>
                  <a:pt x="4043024" y="1256661"/>
                  <a:pt x="4032566" y="1259791"/>
                  <a:pt x="4027871" y="1258368"/>
                </a:cubicBezTo>
                <a:cubicBezTo>
                  <a:pt x="4035554" y="1247840"/>
                  <a:pt x="4042810" y="1254243"/>
                  <a:pt x="4047292" y="1248409"/>
                </a:cubicBezTo>
                <a:close/>
                <a:moveTo>
                  <a:pt x="1464587" y="1247712"/>
                </a:moveTo>
                <a:cubicBezTo>
                  <a:pt x="1465412" y="1248177"/>
                  <a:pt x="1466135" y="1248642"/>
                  <a:pt x="1466445" y="1249880"/>
                </a:cubicBezTo>
                <a:cubicBezTo>
                  <a:pt x="1466755" y="1250965"/>
                  <a:pt x="1466032" y="1250500"/>
                  <a:pt x="1466755" y="1250965"/>
                </a:cubicBezTo>
                <a:cubicBezTo>
                  <a:pt x="1467168" y="1252204"/>
                  <a:pt x="1467581" y="1251585"/>
                  <a:pt x="1467581" y="1251585"/>
                </a:cubicBezTo>
                <a:cubicBezTo>
                  <a:pt x="1467581" y="1251585"/>
                  <a:pt x="1467168" y="1252204"/>
                  <a:pt x="1467168" y="1252204"/>
                </a:cubicBezTo>
                <a:cubicBezTo>
                  <a:pt x="1467168" y="1252204"/>
                  <a:pt x="1467065" y="1252204"/>
                  <a:pt x="1467788" y="1254528"/>
                </a:cubicBezTo>
                <a:cubicBezTo>
                  <a:pt x="1469130" y="1257315"/>
                  <a:pt x="1469956" y="1257780"/>
                  <a:pt x="1471092" y="1259484"/>
                </a:cubicBezTo>
                <a:cubicBezTo>
                  <a:pt x="1471711" y="1261808"/>
                  <a:pt x="1471195" y="1262427"/>
                  <a:pt x="1471401" y="1265525"/>
                </a:cubicBezTo>
                <a:cubicBezTo>
                  <a:pt x="1469853" y="1266300"/>
                  <a:pt x="1469853" y="1266300"/>
                  <a:pt x="1469027" y="1265835"/>
                </a:cubicBezTo>
                <a:cubicBezTo>
                  <a:pt x="1469853" y="1266300"/>
                  <a:pt x="1469336" y="1267074"/>
                  <a:pt x="1469749" y="1268313"/>
                </a:cubicBezTo>
                <a:cubicBezTo>
                  <a:pt x="1472228" y="1272805"/>
                  <a:pt x="1468510" y="1275129"/>
                  <a:pt x="1463347" y="1276523"/>
                </a:cubicBezTo>
                <a:cubicBezTo>
                  <a:pt x="1463038" y="1275439"/>
                  <a:pt x="1460146" y="1276368"/>
                  <a:pt x="1458185" y="1276058"/>
                </a:cubicBezTo>
                <a:cubicBezTo>
                  <a:pt x="1457049" y="1275439"/>
                  <a:pt x="1456120" y="1274819"/>
                  <a:pt x="1455397" y="1274045"/>
                </a:cubicBezTo>
                <a:lnTo>
                  <a:pt x="1455294" y="1274045"/>
                </a:lnTo>
                <a:lnTo>
                  <a:pt x="1449614" y="1274354"/>
                </a:lnTo>
                <a:cubicBezTo>
                  <a:pt x="1446930" y="1274200"/>
                  <a:pt x="1444658" y="1273580"/>
                  <a:pt x="1443212" y="1271876"/>
                </a:cubicBezTo>
                <a:lnTo>
                  <a:pt x="1442283" y="1269552"/>
                </a:lnTo>
                <a:lnTo>
                  <a:pt x="1439908" y="1271411"/>
                </a:lnTo>
                <a:cubicBezTo>
                  <a:pt x="1438669" y="1272031"/>
                  <a:pt x="1437327" y="1272341"/>
                  <a:pt x="1436398" y="1271876"/>
                </a:cubicBezTo>
                <a:cubicBezTo>
                  <a:pt x="1437327" y="1270327"/>
                  <a:pt x="1438256" y="1269552"/>
                  <a:pt x="1439185" y="1268778"/>
                </a:cubicBezTo>
                <a:cubicBezTo>
                  <a:pt x="1439598" y="1268003"/>
                  <a:pt x="1440115" y="1267694"/>
                  <a:pt x="1440631" y="1267694"/>
                </a:cubicBezTo>
                <a:lnTo>
                  <a:pt x="1441870" y="1268623"/>
                </a:lnTo>
                <a:lnTo>
                  <a:pt x="1441767" y="1268313"/>
                </a:lnTo>
                <a:lnTo>
                  <a:pt x="1441973" y="1263976"/>
                </a:lnTo>
                <a:lnTo>
                  <a:pt x="1441870" y="1263822"/>
                </a:lnTo>
                <a:cubicBezTo>
                  <a:pt x="1441664" y="1263356"/>
                  <a:pt x="1441664" y="1263047"/>
                  <a:pt x="1441664" y="1262582"/>
                </a:cubicBezTo>
                <a:lnTo>
                  <a:pt x="1441973" y="1262737"/>
                </a:lnTo>
                <a:lnTo>
                  <a:pt x="1442076" y="1262737"/>
                </a:lnTo>
                <a:lnTo>
                  <a:pt x="1443419" y="1263202"/>
                </a:lnTo>
                <a:lnTo>
                  <a:pt x="1443935" y="1263512"/>
                </a:lnTo>
                <a:lnTo>
                  <a:pt x="1445897" y="1264441"/>
                </a:lnTo>
                <a:lnTo>
                  <a:pt x="1446930" y="1264286"/>
                </a:lnTo>
                <a:lnTo>
                  <a:pt x="1449718" y="1265990"/>
                </a:lnTo>
                <a:lnTo>
                  <a:pt x="1454054" y="1266764"/>
                </a:lnTo>
                <a:lnTo>
                  <a:pt x="1454054" y="1265370"/>
                </a:lnTo>
                <a:cubicBezTo>
                  <a:pt x="1454467" y="1264441"/>
                  <a:pt x="1454984" y="1263512"/>
                  <a:pt x="1455603" y="1262892"/>
                </a:cubicBezTo>
                <a:lnTo>
                  <a:pt x="1457462" y="1261808"/>
                </a:lnTo>
                <a:lnTo>
                  <a:pt x="1455809" y="1261808"/>
                </a:lnTo>
                <a:cubicBezTo>
                  <a:pt x="1456739" y="1260879"/>
                  <a:pt x="1456120" y="1259175"/>
                  <a:pt x="1457152" y="1258400"/>
                </a:cubicBezTo>
                <a:cubicBezTo>
                  <a:pt x="1457152" y="1258400"/>
                  <a:pt x="1459940" y="1257625"/>
                  <a:pt x="1459940" y="1257625"/>
                </a:cubicBezTo>
                <a:cubicBezTo>
                  <a:pt x="1460663" y="1258555"/>
                  <a:pt x="1460663" y="1258555"/>
                  <a:pt x="1459837" y="1258555"/>
                </a:cubicBezTo>
                <a:lnTo>
                  <a:pt x="1460043" y="1261343"/>
                </a:lnTo>
                <a:lnTo>
                  <a:pt x="1463038" y="1261033"/>
                </a:lnTo>
                <a:lnTo>
                  <a:pt x="1464587" y="1261653"/>
                </a:lnTo>
                <a:lnTo>
                  <a:pt x="1465929" y="1261188"/>
                </a:lnTo>
                <a:lnTo>
                  <a:pt x="1464587" y="1255922"/>
                </a:lnTo>
                <a:cubicBezTo>
                  <a:pt x="1464070" y="1253753"/>
                  <a:pt x="1463760" y="1251585"/>
                  <a:pt x="1463864" y="1249880"/>
                </a:cubicBezTo>
                <a:lnTo>
                  <a:pt x="1463967" y="1249571"/>
                </a:lnTo>
                <a:lnTo>
                  <a:pt x="1463657" y="1249571"/>
                </a:lnTo>
                <a:lnTo>
                  <a:pt x="1464070" y="1249261"/>
                </a:lnTo>
                <a:close/>
                <a:moveTo>
                  <a:pt x="3634538" y="1247556"/>
                </a:moveTo>
                <a:cubicBezTo>
                  <a:pt x="3638380" y="1249121"/>
                  <a:pt x="3643075" y="1255807"/>
                  <a:pt x="3639660" y="1259222"/>
                </a:cubicBezTo>
                <a:cubicBezTo>
                  <a:pt x="3636459" y="1261498"/>
                  <a:pt x="3624508" y="1253673"/>
                  <a:pt x="3631124" y="1247982"/>
                </a:cubicBezTo>
                <a:cubicBezTo>
                  <a:pt x="3631977" y="1247129"/>
                  <a:pt x="3633258" y="1246987"/>
                  <a:pt x="3634538" y="1247556"/>
                </a:cubicBezTo>
                <a:close/>
                <a:moveTo>
                  <a:pt x="3491120" y="1247414"/>
                </a:moveTo>
                <a:cubicBezTo>
                  <a:pt x="3494961" y="1255381"/>
                  <a:pt x="3509474" y="1274302"/>
                  <a:pt x="3497950" y="1280135"/>
                </a:cubicBezTo>
                <a:cubicBezTo>
                  <a:pt x="3494961" y="1272879"/>
                  <a:pt x="3482156" y="1250970"/>
                  <a:pt x="3491120" y="1247414"/>
                </a:cubicBezTo>
                <a:close/>
                <a:moveTo>
                  <a:pt x="5036066" y="1247271"/>
                </a:moveTo>
                <a:cubicBezTo>
                  <a:pt x="5037773" y="1248552"/>
                  <a:pt x="5038840" y="1250686"/>
                  <a:pt x="5039480" y="1253247"/>
                </a:cubicBezTo>
                <a:cubicBezTo>
                  <a:pt x="5041401" y="1260787"/>
                  <a:pt x="5039694" y="1272169"/>
                  <a:pt x="5036706" y="1274871"/>
                </a:cubicBezTo>
                <a:cubicBezTo>
                  <a:pt x="5033718" y="1271173"/>
                  <a:pt x="5035212" y="1266478"/>
                  <a:pt x="5032224" y="1261640"/>
                </a:cubicBezTo>
                <a:cubicBezTo>
                  <a:pt x="5034999" y="1258084"/>
                  <a:pt x="5032011" y="1251966"/>
                  <a:pt x="5036066" y="1247271"/>
                </a:cubicBezTo>
                <a:close/>
                <a:moveTo>
                  <a:pt x="4123483" y="1247271"/>
                </a:moveTo>
                <a:cubicBezTo>
                  <a:pt x="4123483" y="1247271"/>
                  <a:pt x="4124123" y="1247982"/>
                  <a:pt x="4124764" y="1248694"/>
                </a:cubicBezTo>
                <a:cubicBezTo>
                  <a:pt x="4125404" y="1249548"/>
                  <a:pt x="4125831" y="1250544"/>
                  <a:pt x="4125617" y="1251397"/>
                </a:cubicBezTo>
                <a:cubicBezTo>
                  <a:pt x="4125617" y="1254101"/>
                  <a:pt x="4120922" y="1252962"/>
                  <a:pt x="4120068" y="1253531"/>
                </a:cubicBezTo>
                <a:cubicBezTo>
                  <a:pt x="4118361" y="1253104"/>
                  <a:pt x="4116867" y="1252820"/>
                  <a:pt x="4117293" y="1251112"/>
                </a:cubicBezTo>
                <a:cubicBezTo>
                  <a:pt x="4117934" y="1249548"/>
                  <a:pt x="4117293" y="1248409"/>
                  <a:pt x="4120068" y="1248267"/>
                </a:cubicBezTo>
                <a:cubicBezTo>
                  <a:pt x="4120922" y="1247556"/>
                  <a:pt x="4122416" y="1247982"/>
                  <a:pt x="4123483" y="1247271"/>
                </a:cubicBezTo>
                <a:close/>
                <a:moveTo>
                  <a:pt x="5654983" y="1246845"/>
                </a:moveTo>
                <a:cubicBezTo>
                  <a:pt x="5657117" y="1248694"/>
                  <a:pt x="5658398" y="1250117"/>
                  <a:pt x="5659038" y="1251539"/>
                </a:cubicBezTo>
                <a:cubicBezTo>
                  <a:pt x="5661386" y="1255523"/>
                  <a:pt x="5658611" y="1257657"/>
                  <a:pt x="5655837" y="1261214"/>
                </a:cubicBezTo>
                <a:cubicBezTo>
                  <a:pt x="5653489" y="1260075"/>
                  <a:pt x="5650075" y="1261071"/>
                  <a:pt x="5647940" y="1258653"/>
                </a:cubicBezTo>
                <a:cubicBezTo>
                  <a:pt x="5647940" y="1258653"/>
                  <a:pt x="5647087" y="1257515"/>
                  <a:pt x="5647300" y="1255096"/>
                </a:cubicBezTo>
                <a:cubicBezTo>
                  <a:pt x="5645379" y="1251539"/>
                  <a:pt x="5649007" y="1247982"/>
                  <a:pt x="5649007" y="1247982"/>
                </a:cubicBezTo>
                <a:cubicBezTo>
                  <a:pt x="5649007" y="1247982"/>
                  <a:pt x="5649007" y="1247982"/>
                  <a:pt x="5647940" y="1247982"/>
                </a:cubicBezTo>
                <a:cubicBezTo>
                  <a:pt x="5650288" y="1247982"/>
                  <a:pt x="5652635" y="1246845"/>
                  <a:pt x="5654983" y="1246845"/>
                </a:cubicBezTo>
                <a:close/>
                <a:moveTo>
                  <a:pt x="4984632" y="1246845"/>
                </a:moveTo>
                <a:cubicBezTo>
                  <a:pt x="4986125" y="1249121"/>
                  <a:pt x="4986125" y="1249121"/>
                  <a:pt x="4985272" y="1251682"/>
                </a:cubicBezTo>
                <a:cubicBezTo>
                  <a:pt x="4984205" y="1251682"/>
                  <a:pt x="4984205" y="1252962"/>
                  <a:pt x="4982924" y="1251824"/>
                </a:cubicBezTo>
                <a:cubicBezTo>
                  <a:pt x="4982071" y="1253673"/>
                  <a:pt x="4979296" y="1255665"/>
                  <a:pt x="4975881" y="1257088"/>
                </a:cubicBezTo>
                <a:lnTo>
                  <a:pt x="4975454" y="1257230"/>
                </a:lnTo>
                <a:lnTo>
                  <a:pt x="4977589" y="1258511"/>
                </a:lnTo>
                <a:cubicBezTo>
                  <a:pt x="4978442" y="1258938"/>
                  <a:pt x="4979296" y="1259365"/>
                  <a:pt x="4980363" y="1259933"/>
                </a:cubicBezTo>
                <a:lnTo>
                  <a:pt x="4980577" y="1260075"/>
                </a:lnTo>
                <a:lnTo>
                  <a:pt x="4981217" y="1259791"/>
                </a:lnTo>
                <a:cubicBezTo>
                  <a:pt x="4982711" y="1259506"/>
                  <a:pt x="4983992" y="1259506"/>
                  <a:pt x="4985485" y="1260075"/>
                </a:cubicBezTo>
                <a:cubicBezTo>
                  <a:pt x="4985485" y="1260075"/>
                  <a:pt x="4985485" y="1260075"/>
                  <a:pt x="4984418" y="1260075"/>
                </a:cubicBezTo>
                <a:cubicBezTo>
                  <a:pt x="4984418" y="1260075"/>
                  <a:pt x="4985485" y="1260075"/>
                  <a:pt x="4985699" y="1261214"/>
                </a:cubicBezTo>
                <a:lnTo>
                  <a:pt x="4982071" y="1262352"/>
                </a:lnTo>
                <a:lnTo>
                  <a:pt x="4982497" y="1263063"/>
                </a:lnTo>
                <a:cubicBezTo>
                  <a:pt x="4982924" y="1264059"/>
                  <a:pt x="4983351" y="1265340"/>
                  <a:pt x="4984418" y="1267189"/>
                </a:cubicBezTo>
                <a:cubicBezTo>
                  <a:pt x="4982924" y="1269466"/>
                  <a:pt x="4982924" y="1269466"/>
                  <a:pt x="4981857" y="1269466"/>
                </a:cubicBezTo>
                <a:cubicBezTo>
                  <a:pt x="4982924" y="1269466"/>
                  <a:pt x="4982924" y="1270746"/>
                  <a:pt x="4983778" y="1271884"/>
                </a:cubicBezTo>
                <a:cubicBezTo>
                  <a:pt x="4989327" y="1275583"/>
                  <a:pt x="4986339" y="1281558"/>
                  <a:pt x="4981217" y="1287392"/>
                </a:cubicBezTo>
                <a:cubicBezTo>
                  <a:pt x="4980150" y="1286253"/>
                  <a:pt x="4977375" y="1289668"/>
                  <a:pt x="4975028" y="1290806"/>
                </a:cubicBezTo>
                <a:cubicBezTo>
                  <a:pt x="4971613" y="1290806"/>
                  <a:pt x="4969266" y="1290664"/>
                  <a:pt x="4967131" y="1288245"/>
                </a:cubicBezTo>
                <a:cubicBezTo>
                  <a:pt x="4964143" y="1284688"/>
                  <a:pt x="4962436" y="1276294"/>
                  <a:pt x="4966278" y="1272879"/>
                </a:cubicBezTo>
                <a:cubicBezTo>
                  <a:pt x="4970333" y="1268185"/>
                  <a:pt x="4973961" y="1267047"/>
                  <a:pt x="4977375" y="1267047"/>
                </a:cubicBezTo>
                <a:cubicBezTo>
                  <a:pt x="4977375" y="1267047"/>
                  <a:pt x="4977375" y="1267047"/>
                  <a:pt x="4976308" y="1266904"/>
                </a:cubicBezTo>
                <a:lnTo>
                  <a:pt x="4974174" y="1264343"/>
                </a:lnTo>
                <a:lnTo>
                  <a:pt x="4972040" y="1264486"/>
                </a:lnTo>
                <a:cubicBezTo>
                  <a:pt x="4970973" y="1264486"/>
                  <a:pt x="4970119" y="1264486"/>
                  <a:pt x="4969906" y="1264486"/>
                </a:cubicBezTo>
                <a:cubicBezTo>
                  <a:pt x="4969692" y="1263348"/>
                  <a:pt x="4969692" y="1263348"/>
                  <a:pt x="4969692" y="1263348"/>
                </a:cubicBezTo>
                <a:lnTo>
                  <a:pt x="4972680" y="1262637"/>
                </a:lnTo>
                <a:lnTo>
                  <a:pt x="4969479" y="1258368"/>
                </a:lnTo>
                <a:lnTo>
                  <a:pt x="4966704" y="1258938"/>
                </a:lnTo>
                <a:lnTo>
                  <a:pt x="4968412" y="1256803"/>
                </a:lnTo>
                <a:lnTo>
                  <a:pt x="4966704" y="1253531"/>
                </a:lnTo>
                <a:cubicBezTo>
                  <a:pt x="4966278" y="1252109"/>
                  <a:pt x="4966064" y="1250970"/>
                  <a:pt x="4966278" y="1250117"/>
                </a:cubicBezTo>
                <a:cubicBezTo>
                  <a:pt x="4967558" y="1250117"/>
                  <a:pt x="4968625" y="1250117"/>
                  <a:pt x="4969692" y="1251255"/>
                </a:cubicBezTo>
                <a:cubicBezTo>
                  <a:pt x="4970759" y="1252535"/>
                  <a:pt x="4969479" y="1252535"/>
                  <a:pt x="4970759" y="1252535"/>
                </a:cubicBezTo>
                <a:cubicBezTo>
                  <a:pt x="4971826" y="1253816"/>
                  <a:pt x="4971826" y="1252535"/>
                  <a:pt x="4971826" y="1252535"/>
                </a:cubicBezTo>
                <a:lnTo>
                  <a:pt x="4971826" y="1252962"/>
                </a:lnTo>
                <a:lnTo>
                  <a:pt x="4976735" y="1250970"/>
                </a:lnTo>
                <a:cubicBezTo>
                  <a:pt x="4979936" y="1250117"/>
                  <a:pt x="4982711" y="1249974"/>
                  <a:pt x="4984632" y="1246845"/>
                </a:cubicBezTo>
                <a:close/>
                <a:moveTo>
                  <a:pt x="1032562" y="1246628"/>
                </a:moveTo>
                <a:cubicBezTo>
                  <a:pt x="1035040" y="1248022"/>
                  <a:pt x="1034111" y="1249726"/>
                  <a:pt x="1035763" y="1250500"/>
                </a:cubicBezTo>
                <a:cubicBezTo>
                  <a:pt x="1033079" y="1253753"/>
                  <a:pt x="1030601" y="1253908"/>
                  <a:pt x="1027193" y="1252514"/>
                </a:cubicBezTo>
                <a:cubicBezTo>
                  <a:pt x="1027296" y="1250035"/>
                  <a:pt x="1029981" y="1246628"/>
                  <a:pt x="1032562" y="1246628"/>
                </a:cubicBezTo>
                <a:close/>
                <a:moveTo>
                  <a:pt x="1370933" y="1246473"/>
                </a:moveTo>
                <a:cubicBezTo>
                  <a:pt x="1370933" y="1246473"/>
                  <a:pt x="1370933" y="1246473"/>
                  <a:pt x="1372172" y="1246782"/>
                </a:cubicBezTo>
                <a:cubicBezTo>
                  <a:pt x="1370624" y="1247712"/>
                  <a:pt x="1371656" y="1250965"/>
                  <a:pt x="1369281" y="1250655"/>
                </a:cubicBezTo>
                <a:cubicBezTo>
                  <a:pt x="1369591" y="1249416"/>
                  <a:pt x="1370624" y="1247712"/>
                  <a:pt x="1370933" y="1246473"/>
                </a:cubicBezTo>
                <a:close/>
                <a:moveTo>
                  <a:pt x="4157844" y="1246417"/>
                </a:moveTo>
                <a:cubicBezTo>
                  <a:pt x="4159978" y="1246133"/>
                  <a:pt x="4162325" y="1246702"/>
                  <a:pt x="4165313" y="1247698"/>
                </a:cubicBezTo>
                <a:cubicBezTo>
                  <a:pt x="4167234" y="1253104"/>
                  <a:pt x="4162539" y="1263205"/>
                  <a:pt x="4155069" y="1260502"/>
                </a:cubicBezTo>
                <a:cubicBezTo>
                  <a:pt x="4152721" y="1257799"/>
                  <a:pt x="4150374" y="1255096"/>
                  <a:pt x="4151868" y="1249121"/>
                </a:cubicBezTo>
                <a:cubicBezTo>
                  <a:pt x="4153789" y="1247556"/>
                  <a:pt x="4155709" y="1246702"/>
                  <a:pt x="4157844" y="1246417"/>
                </a:cubicBezTo>
                <a:close/>
                <a:moveTo>
                  <a:pt x="1449821" y="1245544"/>
                </a:moveTo>
                <a:cubicBezTo>
                  <a:pt x="1451576" y="1245699"/>
                  <a:pt x="1461076" y="1247557"/>
                  <a:pt x="1463657" y="1249416"/>
                </a:cubicBezTo>
                <a:cubicBezTo>
                  <a:pt x="1459320" y="1248177"/>
                  <a:pt x="1453228" y="1248332"/>
                  <a:pt x="1449821" y="1245544"/>
                </a:cubicBezTo>
                <a:close/>
                <a:moveTo>
                  <a:pt x="3508194" y="1245422"/>
                </a:moveTo>
                <a:cubicBezTo>
                  <a:pt x="3509047" y="1245137"/>
                  <a:pt x="3509901" y="1245422"/>
                  <a:pt x="3510328" y="1246133"/>
                </a:cubicBezTo>
                <a:cubicBezTo>
                  <a:pt x="3511395" y="1246845"/>
                  <a:pt x="3511395" y="1247414"/>
                  <a:pt x="3510968" y="1248125"/>
                </a:cubicBezTo>
                <a:cubicBezTo>
                  <a:pt x="3510541" y="1248836"/>
                  <a:pt x="3509688" y="1249548"/>
                  <a:pt x="3509047" y="1250686"/>
                </a:cubicBezTo>
                <a:lnTo>
                  <a:pt x="3505846" y="1246560"/>
                </a:lnTo>
                <a:cubicBezTo>
                  <a:pt x="3506486" y="1245991"/>
                  <a:pt x="3507340" y="1245564"/>
                  <a:pt x="3508194" y="1245422"/>
                </a:cubicBezTo>
                <a:close/>
                <a:moveTo>
                  <a:pt x="1213674" y="1245234"/>
                </a:moveTo>
                <a:cubicBezTo>
                  <a:pt x="1215223" y="1248486"/>
                  <a:pt x="1213364" y="1251894"/>
                  <a:pt x="1219250" y="1254837"/>
                </a:cubicBezTo>
                <a:lnTo>
                  <a:pt x="1215636" y="1256386"/>
                </a:lnTo>
                <a:lnTo>
                  <a:pt x="1216152" y="1256541"/>
                </a:lnTo>
                <a:cubicBezTo>
                  <a:pt x="1209131" y="1262737"/>
                  <a:pt x="1197875" y="1260413"/>
                  <a:pt x="1192816" y="1257625"/>
                </a:cubicBezTo>
                <a:cubicBezTo>
                  <a:pt x="1196327" y="1254528"/>
                  <a:pt x="1201180" y="1253289"/>
                  <a:pt x="1205620" y="1253289"/>
                </a:cubicBezTo>
                <a:lnTo>
                  <a:pt x="1209750" y="1253753"/>
                </a:lnTo>
                <a:lnTo>
                  <a:pt x="1210679" y="1250810"/>
                </a:lnTo>
                <a:cubicBezTo>
                  <a:pt x="1211609" y="1248796"/>
                  <a:pt x="1212744" y="1246938"/>
                  <a:pt x="1213674" y="1245234"/>
                </a:cubicBezTo>
                <a:close/>
                <a:moveTo>
                  <a:pt x="3977717" y="1245137"/>
                </a:moveTo>
                <a:cubicBezTo>
                  <a:pt x="3980278" y="1246417"/>
                  <a:pt x="3980278" y="1247698"/>
                  <a:pt x="3979211" y="1248836"/>
                </a:cubicBezTo>
                <a:cubicBezTo>
                  <a:pt x="3979211" y="1248836"/>
                  <a:pt x="3977931" y="1249974"/>
                  <a:pt x="3976863" y="1251112"/>
                </a:cubicBezTo>
                <a:cubicBezTo>
                  <a:pt x="3975796" y="1252251"/>
                  <a:pt x="3975796" y="1253389"/>
                  <a:pt x="3975796" y="1253389"/>
                </a:cubicBezTo>
                <a:cubicBezTo>
                  <a:pt x="3974730" y="1254527"/>
                  <a:pt x="3973449" y="1254527"/>
                  <a:pt x="3972168" y="1253247"/>
                </a:cubicBezTo>
                <a:cubicBezTo>
                  <a:pt x="3972168" y="1253247"/>
                  <a:pt x="3973235" y="1250970"/>
                  <a:pt x="3973235" y="1250970"/>
                </a:cubicBezTo>
                <a:cubicBezTo>
                  <a:pt x="3975583" y="1248694"/>
                  <a:pt x="3976650" y="1247556"/>
                  <a:pt x="3977717" y="1245137"/>
                </a:cubicBezTo>
                <a:close/>
                <a:moveTo>
                  <a:pt x="1340060" y="1243840"/>
                </a:moveTo>
                <a:cubicBezTo>
                  <a:pt x="1342021" y="1243530"/>
                  <a:pt x="1342125" y="1245389"/>
                  <a:pt x="1341608" y="1247712"/>
                </a:cubicBezTo>
                <a:cubicBezTo>
                  <a:pt x="1341608" y="1252514"/>
                  <a:pt x="1339750" y="1254682"/>
                  <a:pt x="1336239" y="1254063"/>
                </a:cubicBezTo>
                <a:cubicBezTo>
                  <a:pt x="1335723" y="1253443"/>
                  <a:pt x="1335103" y="1250965"/>
                  <a:pt x="1334380" y="1251430"/>
                </a:cubicBezTo>
                <a:cubicBezTo>
                  <a:pt x="1335103" y="1248796"/>
                  <a:pt x="1336239" y="1245853"/>
                  <a:pt x="1337994" y="1244459"/>
                </a:cubicBezTo>
                <a:cubicBezTo>
                  <a:pt x="1338614" y="1243995"/>
                  <a:pt x="1339337" y="1243840"/>
                  <a:pt x="1340060" y="1243840"/>
                </a:cubicBezTo>
                <a:close/>
                <a:moveTo>
                  <a:pt x="1300099" y="1243685"/>
                </a:moveTo>
                <a:cubicBezTo>
                  <a:pt x="1301029" y="1245234"/>
                  <a:pt x="1302991" y="1247557"/>
                  <a:pt x="1300512" y="1251275"/>
                </a:cubicBezTo>
                <a:cubicBezTo>
                  <a:pt x="1299686" y="1252204"/>
                  <a:pt x="1299686" y="1252204"/>
                  <a:pt x="1298860" y="1252359"/>
                </a:cubicBezTo>
                <a:cubicBezTo>
                  <a:pt x="1297105" y="1253443"/>
                  <a:pt x="1296279" y="1254528"/>
                  <a:pt x="1294524" y="1253908"/>
                </a:cubicBezTo>
                <a:cubicBezTo>
                  <a:pt x="1293181" y="1253134"/>
                  <a:pt x="1292665" y="1252359"/>
                  <a:pt x="1292768" y="1251430"/>
                </a:cubicBezTo>
                <a:cubicBezTo>
                  <a:pt x="1292768" y="1250500"/>
                  <a:pt x="1293388" y="1249261"/>
                  <a:pt x="1294214" y="1247867"/>
                </a:cubicBezTo>
                <a:cubicBezTo>
                  <a:pt x="1295763" y="1245079"/>
                  <a:pt x="1298447" y="1245544"/>
                  <a:pt x="1300099" y="1243685"/>
                </a:cubicBezTo>
                <a:close/>
                <a:moveTo>
                  <a:pt x="4782523" y="1243003"/>
                </a:moveTo>
                <a:cubicBezTo>
                  <a:pt x="4783164" y="1241865"/>
                  <a:pt x="4787005" y="1244284"/>
                  <a:pt x="4787219" y="1245991"/>
                </a:cubicBezTo>
                <a:cubicBezTo>
                  <a:pt x="4787859" y="1249263"/>
                  <a:pt x="4787859" y="1250829"/>
                  <a:pt x="4786578" y="1252962"/>
                </a:cubicBezTo>
                <a:cubicBezTo>
                  <a:pt x="4786792" y="1254527"/>
                  <a:pt x="4787219" y="1256234"/>
                  <a:pt x="4787005" y="1257515"/>
                </a:cubicBezTo>
                <a:cubicBezTo>
                  <a:pt x="4786792" y="1258938"/>
                  <a:pt x="4786151" y="1259791"/>
                  <a:pt x="4784444" y="1260360"/>
                </a:cubicBezTo>
                <a:cubicBezTo>
                  <a:pt x="4782309" y="1257515"/>
                  <a:pt x="4781243" y="1255238"/>
                  <a:pt x="4779749" y="1251397"/>
                </a:cubicBezTo>
                <a:cubicBezTo>
                  <a:pt x="4779749" y="1251397"/>
                  <a:pt x="4778681" y="1244853"/>
                  <a:pt x="4782523" y="1243003"/>
                </a:cubicBezTo>
                <a:close/>
                <a:moveTo>
                  <a:pt x="4013358" y="1242576"/>
                </a:moveTo>
                <a:cubicBezTo>
                  <a:pt x="4013572" y="1242576"/>
                  <a:pt x="4013999" y="1242861"/>
                  <a:pt x="4014639" y="1243430"/>
                </a:cubicBezTo>
                <a:cubicBezTo>
                  <a:pt x="4013785" y="1244853"/>
                  <a:pt x="4013572" y="1243572"/>
                  <a:pt x="4012504" y="1243715"/>
                </a:cubicBezTo>
                <a:cubicBezTo>
                  <a:pt x="4012931" y="1243003"/>
                  <a:pt x="4013145" y="1242576"/>
                  <a:pt x="4013358" y="1242576"/>
                </a:cubicBezTo>
                <a:close/>
                <a:moveTo>
                  <a:pt x="4009517" y="1242576"/>
                </a:moveTo>
                <a:cubicBezTo>
                  <a:pt x="4008663" y="1244711"/>
                  <a:pt x="4012291" y="1248125"/>
                  <a:pt x="4009303" y="1249121"/>
                </a:cubicBezTo>
                <a:cubicBezTo>
                  <a:pt x="4008663" y="1247414"/>
                  <a:pt x="4008450" y="1244711"/>
                  <a:pt x="4008023" y="1243003"/>
                </a:cubicBezTo>
                <a:cubicBezTo>
                  <a:pt x="4008023" y="1243003"/>
                  <a:pt x="4008023" y="1243003"/>
                  <a:pt x="4009517" y="1242576"/>
                </a:cubicBezTo>
                <a:close/>
                <a:moveTo>
                  <a:pt x="1285334" y="1242291"/>
                </a:moveTo>
                <a:cubicBezTo>
                  <a:pt x="1288432" y="1242136"/>
                  <a:pt x="1291219" y="1243220"/>
                  <a:pt x="1290290" y="1246628"/>
                </a:cubicBezTo>
                <a:cubicBezTo>
                  <a:pt x="1289980" y="1247867"/>
                  <a:pt x="1289670" y="1248951"/>
                  <a:pt x="1289258" y="1248332"/>
                </a:cubicBezTo>
                <a:cubicBezTo>
                  <a:pt x="1288535" y="1248796"/>
                  <a:pt x="1288018" y="1248177"/>
                  <a:pt x="1286883" y="1247867"/>
                </a:cubicBezTo>
                <a:cubicBezTo>
                  <a:pt x="1285230" y="1247092"/>
                  <a:pt x="1283888" y="1245234"/>
                  <a:pt x="1284198" y="1243995"/>
                </a:cubicBezTo>
                <a:cubicBezTo>
                  <a:pt x="1284507" y="1242911"/>
                  <a:pt x="1285334" y="1242291"/>
                  <a:pt x="1285334" y="1242291"/>
                </a:cubicBezTo>
                <a:close/>
                <a:moveTo>
                  <a:pt x="4396446" y="1242007"/>
                </a:moveTo>
                <a:cubicBezTo>
                  <a:pt x="4397941" y="1242292"/>
                  <a:pt x="4399221" y="1243288"/>
                  <a:pt x="4400289" y="1244568"/>
                </a:cubicBezTo>
                <a:cubicBezTo>
                  <a:pt x="4402209" y="1247129"/>
                  <a:pt x="4402209" y="1251112"/>
                  <a:pt x="4397087" y="1253104"/>
                </a:cubicBezTo>
                <a:cubicBezTo>
                  <a:pt x="4394313" y="1249121"/>
                  <a:pt x="4392392" y="1246560"/>
                  <a:pt x="4391538" y="1243999"/>
                </a:cubicBezTo>
                <a:cubicBezTo>
                  <a:pt x="4393032" y="1242292"/>
                  <a:pt x="4394739" y="1241865"/>
                  <a:pt x="4396446" y="1242007"/>
                </a:cubicBezTo>
                <a:close/>
                <a:moveTo>
                  <a:pt x="4907587" y="1241580"/>
                </a:moveTo>
                <a:cubicBezTo>
                  <a:pt x="4908868" y="1242861"/>
                  <a:pt x="4908654" y="1241580"/>
                  <a:pt x="4909721" y="1241580"/>
                </a:cubicBezTo>
                <a:cubicBezTo>
                  <a:pt x="4908868" y="1242861"/>
                  <a:pt x="4909508" y="1246560"/>
                  <a:pt x="4908654" y="1249121"/>
                </a:cubicBezTo>
                <a:cubicBezTo>
                  <a:pt x="4907587" y="1249121"/>
                  <a:pt x="4906733" y="1250401"/>
                  <a:pt x="4905453" y="1250544"/>
                </a:cubicBezTo>
                <a:cubicBezTo>
                  <a:pt x="4905453" y="1249263"/>
                  <a:pt x="4903959" y="1246845"/>
                  <a:pt x="4905026" y="1246845"/>
                </a:cubicBezTo>
                <a:cubicBezTo>
                  <a:pt x="4904812" y="1245564"/>
                  <a:pt x="4907160" y="1245422"/>
                  <a:pt x="4907160" y="1245422"/>
                </a:cubicBezTo>
                <a:cubicBezTo>
                  <a:pt x="4906947" y="1244142"/>
                  <a:pt x="4906733" y="1243003"/>
                  <a:pt x="4907587" y="1241580"/>
                </a:cubicBezTo>
                <a:close/>
                <a:moveTo>
                  <a:pt x="1532839" y="1241361"/>
                </a:moveTo>
                <a:cubicBezTo>
                  <a:pt x="1532942" y="1242136"/>
                  <a:pt x="1533871" y="1242911"/>
                  <a:pt x="1534697" y="1242756"/>
                </a:cubicBezTo>
                <a:cubicBezTo>
                  <a:pt x="1535627" y="1243530"/>
                  <a:pt x="1536556" y="1244149"/>
                  <a:pt x="1536556" y="1243375"/>
                </a:cubicBezTo>
                <a:cubicBezTo>
                  <a:pt x="1539344" y="1245544"/>
                  <a:pt x="1540170" y="1245389"/>
                  <a:pt x="1539447" y="1248022"/>
                </a:cubicBezTo>
                <a:cubicBezTo>
                  <a:pt x="1532426" y="1248177"/>
                  <a:pt x="1524372" y="1246008"/>
                  <a:pt x="1522513" y="1245389"/>
                </a:cubicBezTo>
                <a:cubicBezTo>
                  <a:pt x="1521687" y="1245079"/>
                  <a:pt x="1521171" y="1244769"/>
                  <a:pt x="1521068" y="1244149"/>
                </a:cubicBezTo>
                <a:cubicBezTo>
                  <a:pt x="1520965" y="1243685"/>
                  <a:pt x="1521068" y="1243065"/>
                  <a:pt x="1521481" y="1242136"/>
                </a:cubicBezTo>
                <a:cubicBezTo>
                  <a:pt x="1524785" y="1239193"/>
                  <a:pt x="1528399" y="1241207"/>
                  <a:pt x="1532839" y="1241361"/>
                </a:cubicBezTo>
                <a:close/>
                <a:moveTo>
                  <a:pt x="1228543" y="1241207"/>
                </a:moveTo>
                <a:cubicBezTo>
                  <a:pt x="1232879" y="1240122"/>
                  <a:pt x="1238662" y="1244924"/>
                  <a:pt x="1237732" y="1248332"/>
                </a:cubicBezTo>
                <a:cubicBezTo>
                  <a:pt x="1230814" y="1258090"/>
                  <a:pt x="1223173" y="1254528"/>
                  <a:pt x="1224309" y="1248177"/>
                </a:cubicBezTo>
                <a:cubicBezTo>
                  <a:pt x="1224619" y="1246008"/>
                  <a:pt x="1225961" y="1243530"/>
                  <a:pt x="1228543" y="1241207"/>
                </a:cubicBezTo>
                <a:close/>
                <a:moveTo>
                  <a:pt x="4654685" y="1241012"/>
                </a:moveTo>
                <a:cubicBezTo>
                  <a:pt x="4655538" y="1242292"/>
                  <a:pt x="4656392" y="1243572"/>
                  <a:pt x="4656605" y="1244853"/>
                </a:cubicBezTo>
                <a:cubicBezTo>
                  <a:pt x="4657032" y="1246275"/>
                  <a:pt x="4656605" y="1247840"/>
                  <a:pt x="4655965" y="1249690"/>
                </a:cubicBezTo>
                <a:cubicBezTo>
                  <a:pt x="4654044" y="1245991"/>
                  <a:pt x="4652977" y="1244711"/>
                  <a:pt x="4654685" y="1241012"/>
                </a:cubicBezTo>
                <a:close/>
                <a:moveTo>
                  <a:pt x="1625666" y="1240587"/>
                </a:moveTo>
                <a:lnTo>
                  <a:pt x="1625460" y="1241361"/>
                </a:lnTo>
                <a:lnTo>
                  <a:pt x="1625150" y="1241826"/>
                </a:lnTo>
                <a:lnTo>
                  <a:pt x="1626905" y="1242136"/>
                </a:lnTo>
                <a:lnTo>
                  <a:pt x="1626389" y="1240742"/>
                </a:lnTo>
                <a:close/>
                <a:moveTo>
                  <a:pt x="3617891" y="1240158"/>
                </a:moveTo>
                <a:cubicBezTo>
                  <a:pt x="3621520" y="1243999"/>
                  <a:pt x="3620453" y="1246275"/>
                  <a:pt x="3617251" y="1249690"/>
                </a:cubicBezTo>
                <a:cubicBezTo>
                  <a:pt x="3611062" y="1244711"/>
                  <a:pt x="3613410" y="1243572"/>
                  <a:pt x="3617891" y="1240158"/>
                </a:cubicBezTo>
                <a:close/>
                <a:moveTo>
                  <a:pt x="1354102" y="1239657"/>
                </a:moveTo>
                <a:cubicBezTo>
                  <a:pt x="1354102" y="1239657"/>
                  <a:pt x="1354102" y="1239657"/>
                  <a:pt x="1360401" y="1241361"/>
                </a:cubicBezTo>
                <a:cubicBezTo>
                  <a:pt x="1360194" y="1241826"/>
                  <a:pt x="1359781" y="1241981"/>
                  <a:pt x="1359265" y="1241981"/>
                </a:cubicBezTo>
                <a:cubicBezTo>
                  <a:pt x="1358749" y="1241826"/>
                  <a:pt x="1358129" y="1241671"/>
                  <a:pt x="1357613" y="1241361"/>
                </a:cubicBezTo>
                <a:cubicBezTo>
                  <a:pt x="1356374" y="1240742"/>
                  <a:pt x="1355238" y="1240122"/>
                  <a:pt x="1354102" y="1239657"/>
                </a:cubicBezTo>
                <a:close/>
                <a:moveTo>
                  <a:pt x="1188376" y="1239193"/>
                </a:moveTo>
                <a:lnTo>
                  <a:pt x="1191370" y="1240277"/>
                </a:lnTo>
                <a:lnTo>
                  <a:pt x="1191680" y="1239812"/>
                </a:lnTo>
                <a:cubicBezTo>
                  <a:pt x="1193333" y="1241671"/>
                  <a:pt x="1195088" y="1241051"/>
                  <a:pt x="1196740" y="1243065"/>
                </a:cubicBezTo>
                <a:lnTo>
                  <a:pt x="1194365" y="1245234"/>
                </a:lnTo>
                <a:lnTo>
                  <a:pt x="1194778" y="1246938"/>
                </a:lnTo>
                <a:lnTo>
                  <a:pt x="1200870" y="1247712"/>
                </a:lnTo>
                <a:cubicBezTo>
                  <a:pt x="1202935" y="1248177"/>
                  <a:pt x="1205000" y="1248951"/>
                  <a:pt x="1206653" y="1249726"/>
                </a:cubicBezTo>
                <a:cubicBezTo>
                  <a:pt x="1199425" y="1256851"/>
                  <a:pt x="1191784" y="1254528"/>
                  <a:pt x="1184142" y="1252359"/>
                </a:cubicBezTo>
                <a:cubicBezTo>
                  <a:pt x="1185072" y="1250500"/>
                  <a:pt x="1186518" y="1249106"/>
                  <a:pt x="1188376" y="1248177"/>
                </a:cubicBezTo>
                <a:lnTo>
                  <a:pt x="1189202" y="1248022"/>
                </a:lnTo>
                <a:lnTo>
                  <a:pt x="1187860" y="1247867"/>
                </a:lnTo>
                <a:cubicBezTo>
                  <a:pt x="1180425" y="1247867"/>
                  <a:pt x="1173197" y="1250345"/>
                  <a:pt x="1168344" y="1245853"/>
                </a:cubicBezTo>
                <a:cubicBezTo>
                  <a:pt x="1171442" y="1245079"/>
                  <a:pt x="1175056" y="1243375"/>
                  <a:pt x="1178567" y="1241826"/>
                </a:cubicBezTo>
                <a:cubicBezTo>
                  <a:pt x="1181974" y="1240277"/>
                  <a:pt x="1185485" y="1239038"/>
                  <a:pt x="1188376" y="1239193"/>
                </a:cubicBezTo>
                <a:close/>
                <a:moveTo>
                  <a:pt x="4581268" y="1239020"/>
                </a:moveTo>
                <a:lnTo>
                  <a:pt x="4582335" y="1246987"/>
                </a:lnTo>
                <a:lnTo>
                  <a:pt x="4582762" y="1247556"/>
                </a:lnTo>
                <a:lnTo>
                  <a:pt x="4582548" y="1247982"/>
                </a:lnTo>
                <a:lnTo>
                  <a:pt x="4583403" y="1257515"/>
                </a:lnTo>
                <a:lnTo>
                  <a:pt x="4581908" y="1266478"/>
                </a:lnTo>
                <a:lnTo>
                  <a:pt x="4583189" y="1266762"/>
                </a:lnTo>
                <a:cubicBezTo>
                  <a:pt x="4587457" y="1266051"/>
                  <a:pt x="4593647" y="1262067"/>
                  <a:pt x="4600049" y="1267616"/>
                </a:cubicBezTo>
                <a:cubicBezTo>
                  <a:pt x="4597488" y="1269892"/>
                  <a:pt x="4601543" y="1276010"/>
                  <a:pt x="4597702" y="1279567"/>
                </a:cubicBezTo>
                <a:cubicBezTo>
                  <a:pt x="4589805" y="1288387"/>
                  <a:pt x="4585963" y="1289241"/>
                  <a:pt x="4581268" y="1287533"/>
                </a:cubicBezTo>
                <a:lnTo>
                  <a:pt x="4581055" y="1287392"/>
                </a:lnTo>
                <a:lnTo>
                  <a:pt x="4574225" y="1287392"/>
                </a:lnTo>
                <a:lnTo>
                  <a:pt x="4573158" y="1285115"/>
                </a:lnTo>
                <a:cubicBezTo>
                  <a:pt x="4572091" y="1286253"/>
                  <a:pt x="4570597" y="1287533"/>
                  <a:pt x="4569103" y="1286253"/>
                </a:cubicBezTo>
                <a:cubicBezTo>
                  <a:pt x="4566756" y="1283977"/>
                  <a:pt x="4566329" y="1280705"/>
                  <a:pt x="4566542" y="1277433"/>
                </a:cubicBezTo>
                <a:cubicBezTo>
                  <a:pt x="4564835" y="1282270"/>
                  <a:pt x="4560993" y="1285826"/>
                  <a:pt x="4552457" y="1284119"/>
                </a:cubicBezTo>
                <a:cubicBezTo>
                  <a:pt x="4549895" y="1284262"/>
                  <a:pt x="4550749" y="1283692"/>
                  <a:pt x="4549255" y="1283265"/>
                </a:cubicBezTo>
                <a:lnTo>
                  <a:pt x="4547548" y="1283265"/>
                </a:lnTo>
                <a:lnTo>
                  <a:pt x="4558859" y="1287249"/>
                </a:lnTo>
                <a:cubicBezTo>
                  <a:pt x="4562274" y="1289241"/>
                  <a:pt x="4565262" y="1291944"/>
                  <a:pt x="4566969" y="1296069"/>
                </a:cubicBezTo>
                <a:cubicBezTo>
                  <a:pt x="4565262" y="1303610"/>
                  <a:pt x="4566115" y="1308589"/>
                  <a:pt x="4567609" y="1312858"/>
                </a:cubicBezTo>
                <a:lnTo>
                  <a:pt x="4567823" y="1313426"/>
                </a:lnTo>
                <a:lnTo>
                  <a:pt x="4568036" y="1313000"/>
                </a:lnTo>
                <a:cubicBezTo>
                  <a:pt x="4568249" y="1312858"/>
                  <a:pt x="4568249" y="1313141"/>
                  <a:pt x="4568677" y="1313853"/>
                </a:cubicBezTo>
                <a:cubicBezTo>
                  <a:pt x="4568677" y="1313853"/>
                  <a:pt x="4568677" y="1313711"/>
                  <a:pt x="4569744" y="1314991"/>
                </a:cubicBezTo>
                <a:cubicBezTo>
                  <a:pt x="4569744" y="1314991"/>
                  <a:pt x="4569957" y="1314991"/>
                  <a:pt x="4569957" y="1315418"/>
                </a:cubicBezTo>
                <a:lnTo>
                  <a:pt x="4569103" y="1316841"/>
                </a:lnTo>
                <a:lnTo>
                  <a:pt x="4569957" y="1318833"/>
                </a:lnTo>
                <a:cubicBezTo>
                  <a:pt x="4570811" y="1320825"/>
                  <a:pt x="4571451" y="1322816"/>
                  <a:pt x="4571877" y="1325235"/>
                </a:cubicBezTo>
                <a:cubicBezTo>
                  <a:pt x="4569957" y="1330214"/>
                  <a:pt x="4567609" y="1335620"/>
                  <a:pt x="4564835" y="1340884"/>
                </a:cubicBezTo>
                <a:lnTo>
                  <a:pt x="4561847" y="1345437"/>
                </a:lnTo>
                <a:lnTo>
                  <a:pt x="4559713" y="1349563"/>
                </a:lnTo>
                <a:lnTo>
                  <a:pt x="4559499" y="1349989"/>
                </a:lnTo>
                <a:lnTo>
                  <a:pt x="4558006" y="1359806"/>
                </a:lnTo>
                <a:cubicBezTo>
                  <a:pt x="4556938" y="1362936"/>
                  <a:pt x="4555018" y="1365639"/>
                  <a:pt x="4552243" y="1367916"/>
                </a:cubicBezTo>
                <a:cubicBezTo>
                  <a:pt x="4548615" y="1370191"/>
                  <a:pt x="4545200" y="1371045"/>
                  <a:pt x="4542426" y="1370761"/>
                </a:cubicBezTo>
                <a:lnTo>
                  <a:pt x="4539011" y="1369053"/>
                </a:lnTo>
                <a:lnTo>
                  <a:pt x="4525566" y="1374602"/>
                </a:lnTo>
                <a:lnTo>
                  <a:pt x="4525139" y="1374602"/>
                </a:lnTo>
                <a:lnTo>
                  <a:pt x="4523432" y="1376025"/>
                </a:lnTo>
                <a:lnTo>
                  <a:pt x="4524285" y="1378301"/>
                </a:lnTo>
                <a:cubicBezTo>
                  <a:pt x="4527700" y="1382000"/>
                  <a:pt x="4532822" y="1380008"/>
                  <a:pt x="4534743" y="1389256"/>
                </a:cubicBezTo>
                <a:lnTo>
                  <a:pt x="4527273" y="1389398"/>
                </a:lnTo>
                <a:lnTo>
                  <a:pt x="4527913" y="1391106"/>
                </a:lnTo>
                <a:cubicBezTo>
                  <a:pt x="4528980" y="1394804"/>
                  <a:pt x="4529407" y="1398503"/>
                  <a:pt x="4529834" y="1402487"/>
                </a:cubicBezTo>
                <a:lnTo>
                  <a:pt x="4529834" y="1409173"/>
                </a:lnTo>
                <a:lnTo>
                  <a:pt x="4532181" y="1407181"/>
                </a:lnTo>
                <a:cubicBezTo>
                  <a:pt x="4537304" y="1404337"/>
                  <a:pt x="4541145" y="1406044"/>
                  <a:pt x="4541786" y="1405047"/>
                </a:cubicBezTo>
                <a:cubicBezTo>
                  <a:pt x="4545840" y="1408462"/>
                  <a:pt x="4543707" y="1411023"/>
                  <a:pt x="4542212" y="1416002"/>
                </a:cubicBezTo>
                <a:cubicBezTo>
                  <a:pt x="4540719" y="1414864"/>
                  <a:pt x="4537944" y="1418705"/>
                  <a:pt x="4536877" y="1419986"/>
                </a:cubicBezTo>
                <a:cubicBezTo>
                  <a:pt x="4535596" y="1418847"/>
                  <a:pt x="4533889" y="1419274"/>
                  <a:pt x="4532181" y="1419559"/>
                </a:cubicBezTo>
                <a:lnTo>
                  <a:pt x="4529621" y="1419559"/>
                </a:lnTo>
                <a:lnTo>
                  <a:pt x="4528980" y="1439192"/>
                </a:lnTo>
                <a:cubicBezTo>
                  <a:pt x="4524925" y="1437769"/>
                  <a:pt x="4521938" y="1439761"/>
                  <a:pt x="4516175" y="1436347"/>
                </a:cubicBezTo>
                <a:cubicBezTo>
                  <a:pt x="4518096" y="1425819"/>
                  <a:pt x="4518523" y="1415433"/>
                  <a:pt x="4518950" y="1405474"/>
                </a:cubicBezTo>
                <a:lnTo>
                  <a:pt x="4520444" y="1389683"/>
                </a:lnTo>
                <a:lnTo>
                  <a:pt x="4515748" y="1389683"/>
                </a:lnTo>
                <a:cubicBezTo>
                  <a:pt x="4509986" y="1388971"/>
                  <a:pt x="4504864" y="1387121"/>
                  <a:pt x="4499955" y="1384561"/>
                </a:cubicBezTo>
                <a:lnTo>
                  <a:pt x="4495900" y="1381573"/>
                </a:lnTo>
                <a:lnTo>
                  <a:pt x="4493766" y="1382142"/>
                </a:lnTo>
                <a:lnTo>
                  <a:pt x="4492059" y="1382000"/>
                </a:lnTo>
                <a:lnTo>
                  <a:pt x="4491632" y="1382427"/>
                </a:lnTo>
                <a:cubicBezTo>
                  <a:pt x="4490778" y="1382854"/>
                  <a:pt x="4490138" y="1383138"/>
                  <a:pt x="4490138" y="1383138"/>
                </a:cubicBezTo>
                <a:cubicBezTo>
                  <a:pt x="4489071" y="1382000"/>
                  <a:pt x="4489071" y="1382000"/>
                  <a:pt x="4490352" y="1382000"/>
                </a:cubicBezTo>
                <a:lnTo>
                  <a:pt x="4490352" y="1381858"/>
                </a:lnTo>
                <a:lnTo>
                  <a:pt x="4486937" y="1381431"/>
                </a:lnTo>
                <a:cubicBezTo>
                  <a:pt x="4487364" y="1378443"/>
                  <a:pt x="4488644" y="1375598"/>
                  <a:pt x="4490352" y="1372895"/>
                </a:cubicBezTo>
                <a:lnTo>
                  <a:pt x="4495260" y="1365354"/>
                </a:lnTo>
                <a:lnTo>
                  <a:pt x="4495900" y="1371330"/>
                </a:lnTo>
                <a:cubicBezTo>
                  <a:pt x="4496968" y="1371330"/>
                  <a:pt x="4498248" y="1370191"/>
                  <a:pt x="4498248" y="1370191"/>
                </a:cubicBezTo>
                <a:lnTo>
                  <a:pt x="4499102" y="1373748"/>
                </a:lnTo>
                <a:lnTo>
                  <a:pt x="4501023" y="1373464"/>
                </a:lnTo>
                <a:lnTo>
                  <a:pt x="4508492" y="1374602"/>
                </a:lnTo>
                <a:lnTo>
                  <a:pt x="4508492" y="1372610"/>
                </a:lnTo>
                <a:lnTo>
                  <a:pt x="4503156" y="1370476"/>
                </a:lnTo>
                <a:lnTo>
                  <a:pt x="4495260" y="1365354"/>
                </a:lnTo>
                <a:lnTo>
                  <a:pt x="4493766" y="1364359"/>
                </a:lnTo>
                <a:cubicBezTo>
                  <a:pt x="4490352" y="1362367"/>
                  <a:pt x="4486937" y="1360233"/>
                  <a:pt x="4482669" y="1358525"/>
                </a:cubicBezTo>
                <a:cubicBezTo>
                  <a:pt x="4486083" y="1343303"/>
                  <a:pt x="4478400" y="1339604"/>
                  <a:pt x="4474345" y="1332633"/>
                </a:cubicBezTo>
                <a:cubicBezTo>
                  <a:pt x="4480961" y="1323527"/>
                  <a:pt x="4481814" y="1309159"/>
                  <a:pt x="4486510" y="1297350"/>
                </a:cubicBezTo>
                <a:cubicBezTo>
                  <a:pt x="4500168" y="1291091"/>
                  <a:pt x="4509986" y="1281985"/>
                  <a:pt x="4523645" y="1275726"/>
                </a:cubicBezTo>
                <a:cubicBezTo>
                  <a:pt x="4526846" y="1277859"/>
                  <a:pt x="4530474" y="1279282"/>
                  <a:pt x="4534529" y="1280420"/>
                </a:cubicBezTo>
                <a:lnTo>
                  <a:pt x="4543707" y="1282412"/>
                </a:lnTo>
                <a:lnTo>
                  <a:pt x="4542212" y="1277148"/>
                </a:lnTo>
                <a:cubicBezTo>
                  <a:pt x="4541145" y="1275156"/>
                  <a:pt x="4540292" y="1272879"/>
                  <a:pt x="4540505" y="1268185"/>
                </a:cubicBezTo>
                <a:cubicBezTo>
                  <a:pt x="4540719" y="1256234"/>
                  <a:pt x="4548402" y="1254101"/>
                  <a:pt x="4554164" y="1254669"/>
                </a:cubicBezTo>
                <a:cubicBezTo>
                  <a:pt x="4554164" y="1254954"/>
                  <a:pt x="4554804" y="1255238"/>
                  <a:pt x="4555444" y="1255523"/>
                </a:cubicBezTo>
                <a:lnTo>
                  <a:pt x="4557792" y="1256661"/>
                </a:lnTo>
                <a:lnTo>
                  <a:pt x="4561420" y="1255096"/>
                </a:lnTo>
                <a:cubicBezTo>
                  <a:pt x="4562487" y="1255238"/>
                  <a:pt x="4563554" y="1255807"/>
                  <a:pt x="4564835" y="1256946"/>
                </a:cubicBezTo>
                <a:cubicBezTo>
                  <a:pt x="4566115" y="1256946"/>
                  <a:pt x="4567823" y="1261640"/>
                  <a:pt x="4566756" y="1262921"/>
                </a:cubicBezTo>
                <a:lnTo>
                  <a:pt x="4565902" y="1263917"/>
                </a:lnTo>
                <a:lnTo>
                  <a:pt x="4567823" y="1271031"/>
                </a:lnTo>
                <a:cubicBezTo>
                  <a:pt x="4567609" y="1272596"/>
                  <a:pt x="4567396" y="1274018"/>
                  <a:pt x="4567182" y="1275441"/>
                </a:cubicBezTo>
                <a:cubicBezTo>
                  <a:pt x="4567609" y="1273022"/>
                  <a:pt x="4568249" y="1270319"/>
                  <a:pt x="4568890" y="1268612"/>
                </a:cubicBezTo>
                <a:lnTo>
                  <a:pt x="4569957" y="1266193"/>
                </a:lnTo>
                <a:lnTo>
                  <a:pt x="4568677" y="1266193"/>
                </a:lnTo>
                <a:lnTo>
                  <a:pt x="4569957" y="1264912"/>
                </a:lnTo>
                <a:lnTo>
                  <a:pt x="4570170" y="1264628"/>
                </a:lnTo>
                <a:cubicBezTo>
                  <a:pt x="4571237" y="1264628"/>
                  <a:pt x="4571451" y="1263490"/>
                  <a:pt x="4570170" y="1263490"/>
                </a:cubicBezTo>
                <a:cubicBezTo>
                  <a:pt x="4571664" y="1261783"/>
                  <a:pt x="4572518" y="1260218"/>
                  <a:pt x="4573585" y="1259506"/>
                </a:cubicBezTo>
                <a:lnTo>
                  <a:pt x="4574652" y="1259648"/>
                </a:lnTo>
                <a:lnTo>
                  <a:pt x="4574439" y="1252962"/>
                </a:lnTo>
                <a:lnTo>
                  <a:pt x="4574865" y="1251112"/>
                </a:lnTo>
                <a:lnTo>
                  <a:pt x="4574225" y="1250544"/>
                </a:lnTo>
                <a:lnTo>
                  <a:pt x="4575079" y="1249548"/>
                </a:lnTo>
                <a:lnTo>
                  <a:pt x="4576146" y="1243572"/>
                </a:lnTo>
                <a:cubicBezTo>
                  <a:pt x="4577213" y="1241012"/>
                  <a:pt x="4578707" y="1239304"/>
                  <a:pt x="4581268" y="1239020"/>
                </a:cubicBezTo>
                <a:close/>
                <a:moveTo>
                  <a:pt x="4095311" y="1237455"/>
                </a:moveTo>
                <a:cubicBezTo>
                  <a:pt x="4097019" y="1242292"/>
                  <a:pt x="4094458" y="1244853"/>
                  <a:pt x="4091896" y="1247271"/>
                </a:cubicBezTo>
                <a:cubicBezTo>
                  <a:pt x="4089976" y="1248836"/>
                  <a:pt x="4089336" y="1249832"/>
                  <a:pt x="4089549" y="1252535"/>
                </a:cubicBezTo>
                <a:cubicBezTo>
                  <a:pt x="4089549" y="1252535"/>
                  <a:pt x="4089549" y="1252535"/>
                  <a:pt x="4086561" y="1253389"/>
                </a:cubicBezTo>
                <a:lnTo>
                  <a:pt x="4085494" y="1252820"/>
                </a:lnTo>
                <a:cubicBezTo>
                  <a:pt x="4085068" y="1252251"/>
                  <a:pt x="4085281" y="1251397"/>
                  <a:pt x="4085708" y="1250117"/>
                </a:cubicBezTo>
                <a:cubicBezTo>
                  <a:pt x="4086988" y="1246560"/>
                  <a:pt x="4090830" y="1241154"/>
                  <a:pt x="4091256" y="1240443"/>
                </a:cubicBezTo>
                <a:cubicBezTo>
                  <a:pt x="4091256" y="1240443"/>
                  <a:pt x="4091683" y="1239446"/>
                  <a:pt x="4092324" y="1238308"/>
                </a:cubicBezTo>
                <a:cubicBezTo>
                  <a:pt x="4093818" y="1237881"/>
                  <a:pt x="4094671" y="1238451"/>
                  <a:pt x="4095311" y="1237455"/>
                </a:cubicBezTo>
                <a:close/>
                <a:moveTo>
                  <a:pt x="4590872" y="1237028"/>
                </a:moveTo>
                <a:cubicBezTo>
                  <a:pt x="4592579" y="1236743"/>
                  <a:pt x="4594500" y="1237028"/>
                  <a:pt x="4596207" y="1237739"/>
                </a:cubicBezTo>
                <a:cubicBezTo>
                  <a:pt x="4594927" y="1237739"/>
                  <a:pt x="4595141" y="1237739"/>
                  <a:pt x="4595141" y="1237739"/>
                </a:cubicBezTo>
                <a:cubicBezTo>
                  <a:pt x="4593647" y="1238878"/>
                  <a:pt x="4594927" y="1238878"/>
                  <a:pt x="4594714" y="1240158"/>
                </a:cubicBezTo>
                <a:cubicBezTo>
                  <a:pt x="4594714" y="1240158"/>
                  <a:pt x="4594927" y="1238878"/>
                  <a:pt x="4595994" y="1240158"/>
                </a:cubicBezTo>
                <a:cubicBezTo>
                  <a:pt x="4594714" y="1240158"/>
                  <a:pt x="4594714" y="1241296"/>
                  <a:pt x="4594500" y="1242576"/>
                </a:cubicBezTo>
                <a:cubicBezTo>
                  <a:pt x="4591939" y="1244853"/>
                  <a:pt x="4588311" y="1247271"/>
                  <a:pt x="4585963" y="1245991"/>
                </a:cubicBezTo>
                <a:cubicBezTo>
                  <a:pt x="4584043" y="1243572"/>
                  <a:pt x="4585323" y="1241154"/>
                  <a:pt x="4586604" y="1239873"/>
                </a:cubicBezTo>
                <a:cubicBezTo>
                  <a:pt x="4587457" y="1238166"/>
                  <a:pt x="4588951" y="1237313"/>
                  <a:pt x="4590872" y="1237028"/>
                </a:cubicBezTo>
                <a:close/>
                <a:moveTo>
                  <a:pt x="1294110" y="1236714"/>
                </a:moveTo>
                <a:cubicBezTo>
                  <a:pt x="1294730" y="1236714"/>
                  <a:pt x="1295659" y="1236869"/>
                  <a:pt x="1296589" y="1236714"/>
                </a:cubicBezTo>
                <a:lnTo>
                  <a:pt x="1295659" y="1240122"/>
                </a:lnTo>
                <a:cubicBezTo>
                  <a:pt x="1294420" y="1239967"/>
                  <a:pt x="1292768" y="1239038"/>
                  <a:pt x="1293078" y="1237954"/>
                </a:cubicBezTo>
                <a:cubicBezTo>
                  <a:pt x="1293078" y="1237024"/>
                  <a:pt x="1293491" y="1236714"/>
                  <a:pt x="1294110" y="1236714"/>
                </a:cubicBezTo>
                <a:close/>
                <a:moveTo>
                  <a:pt x="1462005" y="1236095"/>
                </a:moveTo>
                <a:cubicBezTo>
                  <a:pt x="1462005" y="1236095"/>
                  <a:pt x="1462934" y="1236869"/>
                  <a:pt x="1463864" y="1237489"/>
                </a:cubicBezTo>
                <a:cubicBezTo>
                  <a:pt x="1464793" y="1238263"/>
                  <a:pt x="1464793" y="1238263"/>
                  <a:pt x="1465619" y="1237334"/>
                </a:cubicBezTo>
                <a:cubicBezTo>
                  <a:pt x="1466548" y="1237954"/>
                  <a:pt x="1466548" y="1237954"/>
                  <a:pt x="1466652" y="1239657"/>
                </a:cubicBezTo>
                <a:cubicBezTo>
                  <a:pt x="1465722" y="1239038"/>
                  <a:pt x="1461076" y="1237024"/>
                  <a:pt x="1462005" y="1236095"/>
                </a:cubicBezTo>
                <a:close/>
                <a:moveTo>
                  <a:pt x="1585603" y="1235475"/>
                </a:moveTo>
                <a:cubicBezTo>
                  <a:pt x="1589630" y="1233926"/>
                  <a:pt x="1598097" y="1238263"/>
                  <a:pt x="1599026" y="1243375"/>
                </a:cubicBezTo>
                <a:cubicBezTo>
                  <a:pt x="1599233" y="1244304"/>
                  <a:pt x="1599130" y="1245234"/>
                  <a:pt x="1598820" y="1246008"/>
                </a:cubicBezTo>
                <a:lnTo>
                  <a:pt x="1597994" y="1247402"/>
                </a:lnTo>
                <a:lnTo>
                  <a:pt x="1601504" y="1252359"/>
                </a:lnTo>
                <a:cubicBezTo>
                  <a:pt x="1602227" y="1254063"/>
                  <a:pt x="1602433" y="1254992"/>
                  <a:pt x="1602433" y="1254992"/>
                </a:cubicBezTo>
                <a:cubicBezTo>
                  <a:pt x="1597684" y="1261963"/>
                  <a:pt x="1590972" y="1260259"/>
                  <a:pt x="1585190" y="1257161"/>
                </a:cubicBezTo>
                <a:lnTo>
                  <a:pt x="1584673" y="1258090"/>
                </a:lnTo>
                <a:cubicBezTo>
                  <a:pt x="1584364" y="1258555"/>
                  <a:pt x="1584054" y="1258865"/>
                  <a:pt x="1584054" y="1258865"/>
                </a:cubicBezTo>
                <a:cubicBezTo>
                  <a:pt x="1582918" y="1258400"/>
                  <a:pt x="1582815" y="1258400"/>
                  <a:pt x="1583641" y="1258090"/>
                </a:cubicBezTo>
                <a:cubicBezTo>
                  <a:pt x="1583641" y="1257161"/>
                  <a:pt x="1583744" y="1257006"/>
                  <a:pt x="1583951" y="1256851"/>
                </a:cubicBezTo>
                <a:lnTo>
                  <a:pt x="1584054" y="1256541"/>
                </a:lnTo>
                <a:lnTo>
                  <a:pt x="1579924" y="1254063"/>
                </a:lnTo>
                <a:cubicBezTo>
                  <a:pt x="1576516" y="1251894"/>
                  <a:pt x="1573109" y="1249416"/>
                  <a:pt x="1572593" y="1246782"/>
                </a:cubicBezTo>
                <a:cubicBezTo>
                  <a:pt x="1572489" y="1245853"/>
                  <a:pt x="1572696" y="1244924"/>
                  <a:pt x="1573212" y="1243995"/>
                </a:cubicBezTo>
                <a:cubicBezTo>
                  <a:pt x="1574864" y="1241361"/>
                  <a:pt x="1577755" y="1239657"/>
                  <a:pt x="1581060" y="1239193"/>
                </a:cubicBezTo>
                <a:lnTo>
                  <a:pt x="1583951" y="1239347"/>
                </a:lnTo>
                <a:lnTo>
                  <a:pt x="1583951" y="1239193"/>
                </a:lnTo>
                <a:lnTo>
                  <a:pt x="1584157" y="1238728"/>
                </a:lnTo>
                <a:lnTo>
                  <a:pt x="1583744" y="1238418"/>
                </a:lnTo>
                <a:cubicBezTo>
                  <a:pt x="1582712" y="1237644"/>
                  <a:pt x="1581782" y="1236869"/>
                  <a:pt x="1582299" y="1236405"/>
                </a:cubicBezTo>
                <a:cubicBezTo>
                  <a:pt x="1582299" y="1236405"/>
                  <a:pt x="1583125" y="1237179"/>
                  <a:pt x="1583951" y="1238109"/>
                </a:cubicBezTo>
                <a:lnTo>
                  <a:pt x="1584467" y="1237954"/>
                </a:lnTo>
                <a:close/>
                <a:moveTo>
                  <a:pt x="3970461" y="1235321"/>
                </a:moveTo>
                <a:cubicBezTo>
                  <a:pt x="3971528" y="1236601"/>
                  <a:pt x="3971528" y="1235321"/>
                  <a:pt x="3972595" y="1235463"/>
                </a:cubicBezTo>
                <a:cubicBezTo>
                  <a:pt x="3971528" y="1236601"/>
                  <a:pt x="3971742" y="1240300"/>
                  <a:pt x="3970675" y="1242719"/>
                </a:cubicBezTo>
                <a:cubicBezTo>
                  <a:pt x="3969607" y="1242719"/>
                  <a:pt x="3968540" y="1243857"/>
                  <a:pt x="3967473" y="1243857"/>
                </a:cubicBezTo>
                <a:cubicBezTo>
                  <a:pt x="3967473" y="1242576"/>
                  <a:pt x="3966192" y="1240016"/>
                  <a:pt x="3967260" y="1240158"/>
                </a:cubicBezTo>
                <a:cubicBezTo>
                  <a:pt x="3967260" y="1238878"/>
                  <a:pt x="3969394" y="1239020"/>
                  <a:pt x="3969394" y="1239020"/>
                </a:cubicBezTo>
                <a:cubicBezTo>
                  <a:pt x="3969394" y="1237739"/>
                  <a:pt x="3969394" y="1236459"/>
                  <a:pt x="3970461" y="1235321"/>
                </a:cubicBezTo>
                <a:close/>
                <a:moveTo>
                  <a:pt x="4924661" y="1234040"/>
                </a:moveTo>
                <a:cubicBezTo>
                  <a:pt x="4925514" y="1233898"/>
                  <a:pt x="4926582" y="1234040"/>
                  <a:pt x="4927435" y="1234609"/>
                </a:cubicBezTo>
                <a:cubicBezTo>
                  <a:pt x="4929782" y="1235606"/>
                  <a:pt x="4929142" y="1238166"/>
                  <a:pt x="4927222" y="1240585"/>
                </a:cubicBezTo>
                <a:cubicBezTo>
                  <a:pt x="4924661" y="1246845"/>
                  <a:pt x="4921246" y="1248267"/>
                  <a:pt x="4917404" y="1244853"/>
                </a:cubicBezTo>
                <a:cubicBezTo>
                  <a:pt x="4917191" y="1243715"/>
                  <a:pt x="4917831" y="1240016"/>
                  <a:pt x="4916764" y="1240158"/>
                </a:cubicBezTo>
                <a:cubicBezTo>
                  <a:pt x="4918898" y="1237313"/>
                  <a:pt x="4921673" y="1234325"/>
                  <a:pt x="4924661" y="1234040"/>
                </a:cubicBezTo>
                <a:close/>
                <a:moveTo>
                  <a:pt x="4282267" y="1233044"/>
                </a:moveTo>
                <a:cubicBezTo>
                  <a:pt x="4284401" y="1234467"/>
                  <a:pt x="4286749" y="1235748"/>
                  <a:pt x="4288029" y="1237313"/>
                </a:cubicBezTo>
                <a:lnTo>
                  <a:pt x="4288243" y="1237881"/>
                </a:lnTo>
                <a:lnTo>
                  <a:pt x="4290377" y="1237455"/>
                </a:lnTo>
                <a:cubicBezTo>
                  <a:pt x="4291871" y="1237455"/>
                  <a:pt x="4293151" y="1237881"/>
                  <a:pt x="4294645" y="1238735"/>
                </a:cubicBezTo>
                <a:cubicBezTo>
                  <a:pt x="4296353" y="1250970"/>
                  <a:pt x="4282480" y="1255807"/>
                  <a:pt x="4277572" y="1249690"/>
                </a:cubicBezTo>
                <a:cubicBezTo>
                  <a:pt x="4276078" y="1247556"/>
                  <a:pt x="4275438" y="1244284"/>
                  <a:pt x="4276718" y="1239731"/>
                </a:cubicBezTo>
                <a:lnTo>
                  <a:pt x="4281413" y="1239020"/>
                </a:lnTo>
                <a:lnTo>
                  <a:pt x="4280986" y="1237313"/>
                </a:lnTo>
                <a:cubicBezTo>
                  <a:pt x="4280986" y="1236032"/>
                  <a:pt x="4281413" y="1234609"/>
                  <a:pt x="4282267" y="1233044"/>
                </a:cubicBezTo>
                <a:close/>
                <a:moveTo>
                  <a:pt x="1652719" y="1232378"/>
                </a:moveTo>
                <a:cubicBezTo>
                  <a:pt x="1657056" y="1230518"/>
                  <a:pt x="1661496" y="1230054"/>
                  <a:pt x="1664284" y="1234236"/>
                </a:cubicBezTo>
                <a:cubicBezTo>
                  <a:pt x="1659328" y="1236250"/>
                  <a:pt x="1644975" y="1245234"/>
                  <a:pt x="1641361" y="1238728"/>
                </a:cubicBezTo>
                <a:cubicBezTo>
                  <a:pt x="1643942" y="1237334"/>
                  <a:pt x="1648279" y="1234081"/>
                  <a:pt x="1652719" y="1232378"/>
                </a:cubicBezTo>
                <a:close/>
                <a:moveTo>
                  <a:pt x="1157503" y="1232067"/>
                </a:moveTo>
                <a:cubicBezTo>
                  <a:pt x="1158535" y="1231758"/>
                  <a:pt x="1159671" y="1231913"/>
                  <a:pt x="1161013" y="1232532"/>
                </a:cubicBezTo>
                <a:cubicBezTo>
                  <a:pt x="1158329" y="1233926"/>
                  <a:pt x="1157399" y="1234546"/>
                  <a:pt x="1154715" y="1233462"/>
                </a:cubicBezTo>
                <a:cubicBezTo>
                  <a:pt x="1155644" y="1232687"/>
                  <a:pt x="1156573" y="1232223"/>
                  <a:pt x="1157503" y="1232067"/>
                </a:cubicBezTo>
                <a:close/>
                <a:moveTo>
                  <a:pt x="1453848" y="1231448"/>
                </a:moveTo>
                <a:cubicBezTo>
                  <a:pt x="1454777" y="1232223"/>
                  <a:pt x="1454777" y="1232997"/>
                  <a:pt x="1455706" y="1233771"/>
                </a:cubicBezTo>
                <a:cubicBezTo>
                  <a:pt x="1456532" y="1233617"/>
                  <a:pt x="1458288" y="1233307"/>
                  <a:pt x="1459217" y="1234081"/>
                </a:cubicBezTo>
                <a:cubicBezTo>
                  <a:pt x="1460043" y="1234701"/>
                  <a:pt x="1461076" y="1236250"/>
                  <a:pt x="1461076" y="1236250"/>
                </a:cubicBezTo>
                <a:cubicBezTo>
                  <a:pt x="1460250" y="1237334"/>
                  <a:pt x="1460250" y="1237334"/>
                  <a:pt x="1460250" y="1236405"/>
                </a:cubicBezTo>
                <a:cubicBezTo>
                  <a:pt x="1458494" y="1235940"/>
                  <a:pt x="1459320" y="1235785"/>
                  <a:pt x="1458391" y="1235011"/>
                </a:cubicBezTo>
                <a:cubicBezTo>
                  <a:pt x="1457462" y="1234391"/>
                  <a:pt x="1453125" y="1233307"/>
                  <a:pt x="1452299" y="1234236"/>
                </a:cubicBezTo>
                <a:cubicBezTo>
                  <a:pt x="1452196" y="1233307"/>
                  <a:pt x="1451266" y="1232687"/>
                  <a:pt x="1451266" y="1232687"/>
                </a:cubicBezTo>
                <a:cubicBezTo>
                  <a:pt x="1452093" y="1231758"/>
                  <a:pt x="1452919" y="1231603"/>
                  <a:pt x="1453848" y="1231448"/>
                </a:cubicBezTo>
                <a:close/>
                <a:moveTo>
                  <a:pt x="1574761" y="1230983"/>
                </a:moveTo>
                <a:cubicBezTo>
                  <a:pt x="1575587" y="1231758"/>
                  <a:pt x="1575484" y="1232687"/>
                  <a:pt x="1576310" y="1233462"/>
                </a:cubicBezTo>
                <a:cubicBezTo>
                  <a:pt x="1577239" y="1233307"/>
                  <a:pt x="1578994" y="1233307"/>
                  <a:pt x="1579820" y="1234081"/>
                </a:cubicBezTo>
                <a:cubicBezTo>
                  <a:pt x="1580543" y="1234856"/>
                  <a:pt x="1581369" y="1236560"/>
                  <a:pt x="1581369" y="1236560"/>
                </a:cubicBezTo>
                <a:cubicBezTo>
                  <a:pt x="1580440" y="1237334"/>
                  <a:pt x="1580543" y="1237489"/>
                  <a:pt x="1580543" y="1236560"/>
                </a:cubicBezTo>
                <a:cubicBezTo>
                  <a:pt x="1578891" y="1235785"/>
                  <a:pt x="1579717" y="1235785"/>
                  <a:pt x="1578891" y="1235011"/>
                </a:cubicBezTo>
                <a:cubicBezTo>
                  <a:pt x="1578065" y="1234236"/>
                  <a:pt x="1573832" y="1232687"/>
                  <a:pt x="1572902" y="1233617"/>
                </a:cubicBezTo>
                <a:cubicBezTo>
                  <a:pt x="1573005" y="1232687"/>
                  <a:pt x="1572179" y="1231913"/>
                  <a:pt x="1572179" y="1231913"/>
                </a:cubicBezTo>
                <a:cubicBezTo>
                  <a:pt x="1573109" y="1231138"/>
                  <a:pt x="1573832" y="1230983"/>
                  <a:pt x="1574761" y="1230983"/>
                </a:cubicBezTo>
                <a:close/>
                <a:moveTo>
                  <a:pt x="1437843" y="1230674"/>
                </a:moveTo>
                <a:cubicBezTo>
                  <a:pt x="1438669" y="1232687"/>
                  <a:pt x="1438772" y="1234701"/>
                  <a:pt x="1438463" y="1236869"/>
                </a:cubicBezTo>
                <a:lnTo>
                  <a:pt x="1436604" y="1242445"/>
                </a:lnTo>
                <a:lnTo>
                  <a:pt x="1439598" y="1241981"/>
                </a:lnTo>
                <a:cubicBezTo>
                  <a:pt x="1440941" y="1241981"/>
                  <a:pt x="1442180" y="1242291"/>
                  <a:pt x="1443006" y="1243220"/>
                </a:cubicBezTo>
                <a:cubicBezTo>
                  <a:pt x="1443006" y="1243220"/>
                  <a:pt x="1443006" y="1243220"/>
                  <a:pt x="1443832" y="1243995"/>
                </a:cubicBezTo>
                <a:cubicBezTo>
                  <a:pt x="1442593" y="1243995"/>
                  <a:pt x="1441044" y="1243840"/>
                  <a:pt x="1439702" y="1243530"/>
                </a:cubicBezTo>
                <a:lnTo>
                  <a:pt x="1436501" y="1242601"/>
                </a:lnTo>
                <a:lnTo>
                  <a:pt x="1436398" y="1242911"/>
                </a:lnTo>
                <a:cubicBezTo>
                  <a:pt x="1434436" y="1246782"/>
                  <a:pt x="1431441" y="1250190"/>
                  <a:pt x="1428963" y="1252204"/>
                </a:cubicBezTo>
                <a:cubicBezTo>
                  <a:pt x="1428240" y="1250190"/>
                  <a:pt x="1428034" y="1248022"/>
                  <a:pt x="1428240" y="1245853"/>
                </a:cubicBezTo>
                <a:cubicBezTo>
                  <a:pt x="1428963" y="1239193"/>
                  <a:pt x="1433506" y="1232687"/>
                  <a:pt x="1437843" y="1230674"/>
                </a:cubicBezTo>
                <a:close/>
                <a:moveTo>
                  <a:pt x="3508194" y="1230484"/>
                </a:moveTo>
                <a:cubicBezTo>
                  <a:pt x="3509474" y="1230626"/>
                  <a:pt x="3510755" y="1231195"/>
                  <a:pt x="3511182" y="1231906"/>
                </a:cubicBezTo>
                <a:cubicBezTo>
                  <a:pt x="3512248" y="1233187"/>
                  <a:pt x="3512248" y="1234325"/>
                  <a:pt x="3512248" y="1234325"/>
                </a:cubicBezTo>
                <a:cubicBezTo>
                  <a:pt x="3509688" y="1237455"/>
                  <a:pt x="3506060" y="1239304"/>
                  <a:pt x="3502858" y="1235178"/>
                </a:cubicBezTo>
                <a:cubicBezTo>
                  <a:pt x="3501791" y="1233898"/>
                  <a:pt x="3500724" y="1232618"/>
                  <a:pt x="3502005" y="1232760"/>
                </a:cubicBezTo>
                <a:cubicBezTo>
                  <a:pt x="3502005" y="1231622"/>
                  <a:pt x="3503072" y="1231622"/>
                  <a:pt x="3504352" y="1230626"/>
                </a:cubicBezTo>
                <a:cubicBezTo>
                  <a:pt x="3505420" y="1230341"/>
                  <a:pt x="3506913" y="1230199"/>
                  <a:pt x="3508194" y="1230484"/>
                </a:cubicBezTo>
                <a:close/>
                <a:moveTo>
                  <a:pt x="4432728" y="1230199"/>
                </a:moveTo>
                <a:cubicBezTo>
                  <a:pt x="4434862" y="1232049"/>
                  <a:pt x="4436143" y="1233329"/>
                  <a:pt x="4436570" y="1234894"/>
                </a:cubicBezTo>
                <a:cubicBezTo>
                  <a:pt x="4436997" y="1236316"/>
                  <a:pt x="4436570" y="1238166"/>
                  <a:pt x="4435076" y="1241154"/>
                </a:cubicBezTo>
                <a:cubicBezTo>
                  <a:pt x="4435076" y="1241154"/>
                  <a:pt x="4433795" y="1242292"/>
                  <a:pt x="4433795" y="1242292"/>
                </a:cubicBezTo>
                <a:lnTo>
                  <a:pt x="4427819" y="1246560"/>
                </a:lnTo>
                <a:lnTo>
                  <a:pt x="4427393" y="1249690"/>
                </a:lnTo>
                <a:cubicBezTo>
                  <a:pt x="4425685" y="1250401"/>
                  <a:pt x="4424191" y="1250544"/>
                  <a:pt x="4422697" y="1250259"/>
                </a:cubicBezTo>
                <a:lnTo>
                  <a:pt x="4420350" y="1249121"/>
                </a:lnTo>
                <a:lnTo>
                  <a:pt x="4418216" y="1248694"/>
                </a:lnTo>
                <a:lnTo>
                  <a:pt x="4418216" y="1247698"/>
                </a:lnTo>
                <a:lnTo>
                  <a:pt x="4414374" y="1239873"/>
                </a:lnTo>
                <a:cubicBezTo>
                  <a:pt x="4414374" y="1237881"/>
                  <a:pt x="4414801" y="1235748"/>
                  <a:pt x="4416295" y="1234040"/>
                </a:cubicBezTo>
                <a:cubicBezTo>
                  <a:pt x="4418429" y="1233044"/>
                  <a:pt x="4420350" y="1233044"/>
                  <a:pt x="4422057" y="1233756"/>
                </a:cubicBezTo>
                <a:lnTo>
                  <a:pt x="4424191" y="1235606"/>
                </a:lnTo>
                <a:lnTo>
                  <a:pt x="4426752" y="1233756"/>
                </a:lnTo>
                <a:cubicBezTo>
                  <a:pt x="4428673" y="1232902"/>
                  <a:pt x="4430807" y="1232049"/>
                  <a:pt x="4432728" y="1230199"/>
                </a:cubicBezTo>
                <a:close/>
                <a:moveTo>
                  <a:pt x="1561547" y="1229998"/>
                </a:moveTo>
                <a:cubicBezTo>
                  <a:pt x="1563332" y="1229260"/>
                  <a:pt x="1565313" y="1229667"/>
                  <a:pt x="1567430" y="1231913"/>
                </a:cubicBezTo>
                <a:cubicBezTo>
                  <a:pt x="1562886" y="1239038"/>
                  <a:pt x="1562370" y="1247557"/>
                  <a:pt x="1558137" y="1249416"/>
                </a:cubicBezTo>
                <a:lnTo>
                  <a:pt x="1552664" y="1248951"/>
                </a:lnTo>
                <a:lnTo>
                  <a:pt x="1552664" y="1250655"/>
                </a:lnTo>
                <a:cubicBezTo>
                  <a:pt x="1552664" y="1250655"/>
                  <a:pt x="1552354" y="1251739"/>
                  <a:pt x="1551941" y="1252824"/>
                </a:cubicBezTo>
                <a:cubicBezTo>
                  <a:pt x="1551941" y="1252824"/>
                  <a:pt x="1552251" y="1253598"/>
                  <a:pt x="1552664" y="1254373"/>
                </a:cubicBezTo>
                <a:cubicBezTo>
                  <a:pt x="1552251" y="1257161"/>
                  <a:pt x="1552354" y="1259175"/>
                  <a:pt x="1548843" y="1259484"/>
                </a:cubicBezTo>
                <a:cubicBezTo>
                  <a:pt x="1548534" y="1258710"/>
                  <a:pt x="1549257" y="1256696"/>
                  <a:pt x="1549669" y="1255612"/>
                </a:cubicBezTo>
                <a:cubicBezTo>
                  <a:pt x="1549257" y="1254837"/>
                  <a:pt x="1549669" y="1253753"/>
                  <a:pt x="1550393" y="1253443"/>
                </a:cubicBezTo>
                <a:cubicBezTo>
                  <a:pt x="1550393" y="1253443"/>
                  <a:pt x="1550805" y="1252359"/>
                  <a:pt x="1550393" y="1251585"/>
                </a:cubicBezTo>
                <a:cubicBezTo>
                  <a:pt x="1550805" y="1250500"/>
                  <a:pt x="1551218" y="1249880"/>
                  <a:pt x="1551528" y="1249416"/>
                </a:cubicBezTo>
                <a:lnTo>
                  <a:pt x="1552561" y="1248951"/>
                </a:lnTo>
                <a:lnTo>
                  <a:pt x="1552458" y="1248796"/>
                </a:lnTo>
                <a:cubicBezTo>
                  <a:pt x="1552612" y="1244730"/>
                  <a:pt x="1556194" y="1232213"/>
                  <a:pt x="1561547" y="1229998"/>
                </a:cubicBezTo>
                <a:close/>
                <a:moveTo>
                  <a:pt x="3988175" y="1229488"/>
                </a:moveTo>
                <a:cubicBezTo>
                  <a:pt x="3989242" y="1229488"/>
                  <a:pt x="3990096" y="1229772"/>
                  <a:pt x="3991162" y="1230484"/>
                </a:cubicBezTo>
                <a:cubicBezTo>
                  <a:pt x="3993510" y="1231764"/>
                  <a:pt x="3992443" y="1234040"/>
                  <a:pt x="3990096" y="1236316"/>
                </a:cubicBezTo>
                <a:cubicBezTo>
                  <a:pt x="3986894" y="1242292"/>
                  <a:pt x="3983479" y="1243288"/>
                  <a:pt x="3979851" y="1239446"/>
                </a:cubicBezTo>
                <a:cubicBezTo>
                  <a:pt x="3979851" y="1238308"/>
                  <a:pt x="3980918" y="1234751"/>
                  <a:pt x="3979638" y="1234751"/>
                </a:cubicBezTo>
                <a:cubicBezTo>
                  <a:pt x="3982199" y="1232049"/>
                  <a:pt x="3985400" y="1229630"/>
                  <a:pt x="3988175" y="1229488"/>
                </a:cubicBezTo>
                <a:close/>
                <a:moveTo>
                  <a:pt x="3707528" y="1229203"/>
                </a:moveTo>
                <a:lnTo>
                  <a:pt x="3712223" y="1231906"/>
                </a:lnTo>
                <a:lnTo>
                  <a:pt x="3715851" y="1232191"/>
                </a:lnTo>
                <a:cubicBezTo>
                  <a:pt x="3717985" y="1231053"/>
                  <a:pt x="3721400" y="1231195"/>
                  <a:pt x="3723747" y="1232618"/>
                </a:cubicBezTo>
                <a:cubicBezTo>
                  <a:pt x="3726095" y="1235036"/>
                  <a:pt x="3726309" y="1237313"/>
                  <a:pt x="3725242" y="1238451"/>
                </a:cubicBezTo>
                <a:cubicBezTo>
                  <a:pt x="3717559" y="1248836"/>
                  <a:pt x="3707314" y="1243715"/>
                  <a:pt x="3704967" y="1244711"/>
                </a:cubicBezTo>
                <a:cubicBezTo>
                  <a:pt x="3702405" y="1242007"/>
                  <a:pt x="3701552" y="1241296"/>
                  <a:pt x="3703686" y="1238166"/>
                </a:cubicBezTo>
                <a:lnTo>
                  <a:pt x="3706034" y="1235178"/>
                </a:lnTo>
                <a:lnTo>
                  <a:pt x="3704113" y="1232618"/>
                </a:lnTo>
                <a:cubicBezTo>
                  <a:pt x="3705394" y="1231480"/>
                  <a:pt x="3706461" y="1230341"/>
                  <a:pt x="3707528" y="1229203"/>
                </a:cubicBezTo>
                <a:close/>
                <a:moveTo>
                  <a:pt x="1347184" y="1228814"/>
                </a:moveTo>
                <a:cubicBezTo>
                  <a:pt x="1349043" y="1230209"/>
                  <a:pt x="1352657" y="1231448"/>
                  <a:pt x="1351934" y="1234856"/>
                </a:cubicBezTo>
                <a:cubicBezTo>
                  <a:pt x="1350592" y="1233771"/>
                  <a:pt x="1347701" y="1232067"/>
                  <a:pt x="1346977" y="1230364"/>
                </a:cubicBezTo>
                <a:cubicBezTo>
                  <a:pt x="1346771" y="1229899"/>
                  <a:pt x="1346771" y="1229279"/>
                  <a:pt x="1347184" y="1228814"/>
                </a:cubicBezTo>
                <a:close/>
                <a:moveTo>
                  <a:pt x="1472640" y="1228505"/>
                </a:moveTo>
                <a:cubicBezTo>
                  <a:pt x="1478113" y="1230054"/>
                  <a:pt x="1495976" y="1232223"/>
                  <a:pt x="1494737" y="1239193"/>
                </a:cubicBezTo>
                <a:cubicBezTo>
                  <a:pt x="1488542" y="1237954"/>
                  <a:pt x="1471814" y="1237954"/>
                  <a:pt x="1472640" y="1228505"/>
                </a:cubicBezTo>
                <a:close/>
                <a:moveTo>
                  <a:pt x="4790633" y="1227639"/>
                </a:moveTo>
                <a:cubicBezTo>
                  <a:pt x="4792127" y="1229914"/>
                  <a:pt x="4794261" y="1231195"/>
                  <a:pt x="4795755" y="1233471"/>
                </a:cubicBezTo>
                <a:cubicBezTo>
                  <a:pt x="4795542" y="1237597"/>
                  <a:pt x="4789139" y="1242861"/>
                  <a:pt x="4784657" y="1241438"/>
                </a:cubicBezTo>
                <a:cubicBezTo>
                  <a:pt x="4783164" y="1241012"/>
                  <a:pt x="4781883" y="1239873"/>
                  <a:pt x="4781029" y="1237597"/>
                </a:cubicBezTo>
                <a:cubicBezTo>
                  <a:pt x="4779322" y="1230910"/>
                  <a:pt x="4784444" y="1228919"/>
                  <a:pt x="4790633" y="1227639"/>
                </a:cubicBezTo>
                <a:close/>
                <a:moveTo>
                  <a:pt x="4154002" y="1227639"/>
                </a:moveTo>
                <a:cubicBezTo>
                  <a:pt x="4160191" y="1228492"/>
                  <a:pt x="4163392" y="1238024"/>
                  <a:pt x="4160831" y="1242576"/>
                </a:cubicBezTo>
                <a:cubicBezTo>
                  <a:pt x="4159978" y="1244142"/>
                  <a:pt x="4158484" y="1245137"/>
                  <a:pt x="4156136" y="1244995"/>
                </a:cubicBezTo>
                <a:cubicBezTo>
                  <a:pt x="4149947" y="1240585"/>
                  <a:pt x="4154429" y="1235321"/>
                  <a:pt x="4154002" y="1227639"/>
                </a:cubicBezTo>
                <a:close/>
                <a:moveTo>
                  <a:pt x="3764511" y="1227354"/>
                </a:moveTo>
                <a:cubicBezTo>
                  <a:pt x="3767499" y="1229914"/>
                  <a:pt x="3769419" y="1232333"/>
                  <a:pt x="3770700" y="1234467"/>
                </a:cubicBezTo>
                <a:cubicBezTo>
                  <a:pt x="3779450" y="1249406"/>
                  <a:pt x="3749998" y="1251539"/>
                  <a:pt x="3749145" y="1242434"/>
                </a:cubicBezTo>
                <a:cubicBezTo>
                  <a:pt x="3748931" y="1239020"/>
                  <a:pt x="3752772" y="1233898"/>
                  <a:pt x="3764511" y="1227354"/>
                </a:cubicBezTo>
                <a:close/>
                <a:moveTo>
                  <a:pt x="1522204" y="1227266"/>
                </a:moveTo>
                <a:lnTo>
                  <a:pt x="1521791" y="1227421"/>
                </a:lnTo>
                <a:lnTo>
                  <a:pt x="1521997" y="1228970"/>
                </a:lnTo>
                <a:close/>
                <a:moveTo>
                  <a:pt x="3669966" y="1226927"/>
                </a:moveTo>
                <a:cubicBezTo>
                  <a:pt x="3671033" y="1226785"/>
                  <a:pt x="3671460" y="1227354"/>
                  <a:pt x="3671673" y="1228207"/>
                </a:cubicBezTo>
                <a:cubicBezTo>
                  <a:pt x="3671673" y="1229061"/>
                  <a:pt x="3671460" y="1230341"/>
                  <a:pt x="3671673" y="1231622"/>
                </a:cubicBezTo>
                <a:lnTo>
                  <a:pt x="3666978" y="1230341"/>
                </a:lnTo>
                <a:cubicBezTo>
                  <a:pt x="3667192" y="1228634"/>
                  <a:pt x="3668259" y="1226358"/>
                  <a:pt x="3669966" y="1226927"/>
                </a:cubicBezTo>
                <a:close/>
                <a:moveTo>
                  <a:pt x="1298550" y="1226646"/>
                </a:moveTo>
                <a:cubicBezTo>
                  <a:pt x="1299686" y="1226801"/>
                  <a:pt x="1302577" y="1227885"/>
                  <a:pt x="1301855" y="1228350"/>
                </a:cubicBezTo>
                <a:cubicBezTo>
                  <a:pt x="1301545" y="1229589"/>
                  <a:pt x="1302164" y="1229124"/>
                  <a:pt x="1302681" y="1229744"/>
                </a:cubicBezTo>
                <a:cubicBezTo>
                  <a:pt x="1301751" y="1233307"/>
                  <a:pt x="1299996" y="1235321"/>
                  <a:pt x="1296898" y="1235475"/>
                </a:cubicBezTo>
                <a:cubicBezTo>
                  <a:pt x="1294524" y="1235166"/>
                  <a:pt x="1291013" y="1234546"/>
                  <a:pt x="1291116" y="1231603"/>
                </a:cubicBezTo>
                <a:cubicBezTo>
                  <a:pt x="1291839" y="1230983"/>
                  <a:pt x="1291426" y="1230364"/>
                  <a:pt x="1292149" y="1229899"/>
                </a:cubicBezTo>
                <a:cubicBezTo>
                  <a:pt x="1292149" y="1229899"/>
                  <a:pt x="1292665" y="1229124"/>
                  <a:pt x="1293698" y="1228195"/>
                </a:cubicBezTo>
                <a:cubicBezTo>
                  <a:pt x="1294730" y="1227421"/>
                  <a:pt x="1296382" y="1226646"/>
                  <a:pt x="1298550" y="1226646"/>
                </a:cubicBezTo>
                <a:close/>
                <a:moveTo>
                  <a:pt x="3651398" y="1226358"/>
                </a:moveTo>
                <a:cubicBezTo>
                  <a:pt x="3652679" y="1226358"/>
                  <a:pt x="3654173" y="1227212"/>
                  <a:pt x="3656093" y="1228350"/>
                </a:cubicBezTo>
                <a:cubicBezTo>
                  <a:pt x="3660149" y="1230484"/>
                  <a:pt x="3659295" y="1234183"/>
                  <a:pt x="3662069" y="1236459"/>
                </a:cubicBezTo>
                <a:cubicBezTo>
                  <a:pt x="3659935" y="1237881"/>
                  <a:pt x="3656734" y="1240443"/>
                  <a:pt x="3651398" y="1237028"/>
                </a:cubicBezTo>
                <a:cubicBezTo>
                  <a:pt x="3650118" y="1235890"/>
                  <a:pt x="3650118" y="1236032"/>
                  <a:pt x="3649904" y="1234751"/>
                </a:cubicBezTo>
                <a:cubicBezTo>
                  <a:pt x="3648411" y="1232476"/>
                  <a:pt x="3647130" y="1231337"/>
                  <a:pt x="3647983" y="1228777"/>
                </a:cubicBezTo>
                <a:cubicBezTo>
                  <a:pt x="3648837" y="1226927"/>
                  <a:pt x="3649904" y="1226215"/>
                  <a:pt x="3651398" y="1226358"/>
                </a:cubicBezTo>
                <a:close/>
                <a:moveTo>
                  <a:pt x="4631208" y="1226215"/>
                </a:moveTo>
                <a:cubicBezTo>
                  <a:pt x="4631208" y="1226215"/>
                  <a:pt x="4632062" y="1227212"/>
                  <a:pt x="4632062" y="1227212"/>
                </a:cubicBezTo>
                <a:cubicBezTo>
                  <a:pt x="4632489" y="1226927"/>
                  <a:pt x="4632489" y="1226927"/>
                  <a:pt x="4632275" y="1227354"/>
                </a:cubicBezTo>
                <a:cubicBezTo>
                  <a:pt x="4632275" y="1227639"/>
                  <a:pt x="4632275" y="1228492"/>
                  <a:pt x="4632489" y="1229772"/>
                </a:cubicBezTo>
                <a:cubicBezTo>
                  <a:pt x="4632275" y="1231337"/>
                  <a:pt x="4632916" y="1232333"/>
                  <a:pt x="4631208" y="1231906"/>
                </a:cubicBezTo>
                <a:cubicBezTo>
                  <a:pt x="4629715" y="1231480"/>
                  <a:pt x="4629715" y="1231480"/>
                  <a:pt x="4627794" y="1228492"/>
                </a:cubicBezTo>
                <a:cubicBezTo>
                  <a:pt x="4629288" y="1228919"/>
                  <a:pt x="4629501" y="1228919"/>
                  <a:pt x="4629715" y="1227354"/>
                </a:cubicBezTo>
                <a:cubicBezTo>
                  <a:pt x="4629715" y="1227354"/>
                  <a:pt x="4629501" y="1227354"/>
                  <a:pt x="4628861" y="1226358"/>
                </a:cubicBezTo>
                <a:cubicBezTo>
                  <a:pt x="4629715" y="1225789"/>
                  <a:pt x="4630355" y="1226785"/>
                  <a:pt x="4631208" y="1226215"/>
                </a:cubicBezTo>
                <a:close/>
                <a:moveTo>
                  <a:pt x="4049853" y="1226215"/>
                </a:moveTo>
                <a:cubicBezTo>
                  <a:pt x="4067140" y="1237313"/>
                  <a:pt x="4071195" y="1262210"/>
                  <a:pt x="4078878" y="1282838"/>
                </a:cubicBezTo>
                <a:cubicBezTo>
                  <a:pt x="4074823" y="1282981"/>
                  <a:pt x="4072902" y="1286111"/>
                  <a:pt x="4066500" y="1285115"/>
                </a:cubicBezTo>
                <a:cubicBezTo>
                  <a:pt x="4062018" y="1263490"/>
                  <a:pt x="4052841" y="1244284"/>
                  <a:pt x="4049853" y="1226215"/>
                </a:cubicBezTo>
                <a:close/>
                <a:moveTo>
                  <a:pt x="1176089" y="1225097"/>
                </a:moveTo>
                <a:lnTo>
                  <a:pt x="1180219" y="1228970"/>
                </a:lnTo>
                <a:lnTo>
                  <a:pt x="1180941" y="1228814"/>
                </a:lnTo>
                <a:cubicBezTo>
                  <a:pt x="1183626" y="1229434"/>
                  <a:pt x="1184556" y="1234236"/>
                  <a:pt x="1183317" y="1237179"/>
                </a:cubicBezTo>
                <a:lnTo>
                  <a:pt x="1182181" y="1238883"/>
                </a:lnTo>
                <a:lnTo>
                  <a:pt x="1182181" y="1239193"/>
                </a:lnTo>
                <a:cubicBezTo>
                  <a:pt x="1179702" y="1241981"/>
                  <a:pt x="1179702" y="1241981"/>
                  <a:pt x="1174230" y="1238573"/>
                </a:cubicBezTo>
                <a:cubicBezTo>
                  <a:pt x="1173404" y="1237954"/>
                  <a:pt x="1172681" y="1237024"/>
                  <a:pt x="1172268" y="1235940"/>
                </a:cubicBezTo>
                <a:cubicBezTo>
                  <a:pt x="1171855" y="1234856"/>
                  <a:pt x="1171855" y="1233617"/>
                  <a:pt x="1172165" y="1232223"/>
                </a:cubicBezTo>
                <a:cubicBezTo>
                  <a:pt x="1171752" y="1231448"/>
                  <a:pt x="1171442" y="1230518"/>
                  <a:pt x="1171339" y="1229434"/>
                </a:cubicBezTo>
                <a:cubicBezTo>
                  <a:pt x="1171339" y="1228505"/>
                  <a:pt x="1171442" y="1227421"/>
                  <a:pt x="1171855" y="1226491"/>
                </a:cubicBezTo>
                <a:cubicBezTo>
                  <a:pt x="1173507" y="1224633"/>
                  <a:pt x="1175263" y="1224323"/>
                  <a:pt x="1176089" y="1225097"/>
                </a:cubicBezTo>
                <a:close/>
                <a:moveTo>
                  <a:pt x="1313523" y="1224633"/>
                </a:moveTo>
                <a:cubicBezTo>
                  <a:pt x="1316310" y="1226336"/>
                  <a:pt x="1320441" y="1224478"/>
                  <a:pt x="1320854" y="1229744"/>
                </a:cubicBezTo>
                <a:cubicBezTo>
                  <a:pt x="1317860" y="1234236"/>
                  <a:pt x="1310218" y="1234081"/>
                  <a:pt x="1309186" y="1228505"/>
                </a:cubicBezTo>
                <a:cubicBezTo>
                  <a:pt x="1310838" y="1227421"/>
                  <a:pt x="1311767" y="1225872"/>
                  <a:pt x="1313523" y="1224633"/>
                </a:cubicBezTo>
                <a:close/>
                <a:moveTo>
                  <a:pt x="921020" y="1224439"/>
                </a:moveTo>
                <a:cubicBezTo>
                  <a:pt x="923137" y="1224710"/>
                  <a:pt x="925486" y="1225872"/>
                  <a:pt x="928067" y="1228350"/>
                </a:cubicBezTo>
                <a:cubicBezTo>
                  <a:pt x="929823" y="1229279"/>
                  <a:pt x="928893" y="1229279"/>
                  <a:pt x="929823" y="1230209"/>
                </a:cubicBezTo>
                <a:cubicBezTo>
                  <a:pt x="930649" y="1231138"/>
                  <a:pt x="932300" y="1232067"/>
                  <a:pt x="933230" y="1232223"/>
                </a:cubicBezTo>
                <a:cubicBezTo>
                  <a:pt x="930545" y="1235321"/>
                  <a:pt x="933127" y="1237179"/>
                  <a:pt x="928687" y="1241826"/>
                </a:cubicBezTo>
                <a:cubicBezTo>
                  <a:pt x="923421" y="1248022"/>
                  <a:pt x="917329" y="1245699"/>
                  <a:pt x="913921" y="1242911"/>
                </a:cubicBezTo>
                <a:cubicBezTo>
                  <a:pt x="914540" y="1242291"/>
                  <a:pt x="909894" y="1238263"/>
                  <a:pt x="910204" y="1233462"/>
                </a:cubicBezTo>
                <a:cubicBezTo>
                  <a:pt x="910307" y="1231913"/>
                  <a:pt x="910927" y="1230209"/>
                  <a:pt x="912475" y="1228505"/>
                </a:cubicBezTo>
                <a:cubicBezTo>
                  <a:pt x="913301" y="1227421"/>
                  <a:pt x="914334" y="1226646"/>
                  <a:pt x="915366" y="1225872"/>
                </a:cubicBezTo>
                <a:cubicBezTo>
                  <a:pt x="917019" y="1224787"/>
                  <a:pt x="918903" y="1224168"/>
                  <a:pt x="921020" y="1224439"/>
                </a:cubicBezTo>
                <a:close/>
                <a:moveTo>
                  <a:pt x="1120846" y="1224323"/>
                </a:moveTo>
                <a:cubicBezTo>
                  <a:pt x="1120021" y="1234391"/>
                  <a:pt x="1116820" y="1241826"/>
                  <a:pt x="1111657" y="1246938"/>
                </a:cubicBezTo>
                <a:cubicBezTo>
                  <a:pt x="1109901" y="1248642"/>
                  <a:pt x="1107836" y="1250190"/>
                  <a:pt x="1105668" y="1251430"/>
                </a:cubicBezTo>
                <a:cubicBezTo>
                  <a:pt x="1100918" y="1246163"/>
                  <a:pt x="1105461" y="1240277"/>
                  <a:pt x="1107527" y="1235166"/>
                </a:cubicBezTo>
                <a:cubicBezTo>
                  <a:pt x="1101331" y="1234546"/>
                  <a:pt x="1092141" y="1235166"/>
                  <a:pt x="1091728" y="1228660"/>
                </a:cubicBezTo>
                <a:cubicBezTo>
                  <a:pt x="1092864" y="1227576"/>
                  <a:pt x="1094206" y="1226956"/>
                  <a:pt x="1095652" y="1226646"/>
                </a:cubicBezTo>
                <a:cubicBezTo>
                  <a:pt x="1100092" y="1226027"/>
                  <a:pt x="1105874" y="1228814"/>
                  <a:pt x="1111450" y="1228505"/>
                </a:cubicBezTo>
                <a:cubicBezTo>
                  <a:pt x="1114548" y="1227111"/>
                  <a:pt x="1114135" y="1222929"/>
                  <a:pt x="1120846" y="1224323"/>
                </a:cubicBezTo>
                <a:close/>
                <a:moveTo>
                  <a:pt x="3678716" y="1224082"/>
                </a:moveTo>
                <a:cubicBezTo>
                  <a:pt x="3679356" y="1225077"/>
                  <a:pt x="3680424" y="1224508"/>
                  <a:pt x="3681064" y="1225504"/>
                </a:cubicBezTo>
                <a:cubicBezTo>
                  <a:pt x="3681064" y="1225504"/>
                  <a:pt x="3682131" y="1226215"/>
                  <a:pt x="3683198" y="1227639"/>
                </a:cubicBezTo>
                <a:cubicBezTo>
                  <a:pt x="3684265" y="1229061"/>
                  <a:pt x="3685546" y="1231337"/>
                  <a:pt x="3685546" y="1234325"/>
                </a:cubicBezTo>
                <a:cubicBezTo>
                  <a:pt x="3685119" y="1236032"/>
                  <a:pt x="3683625" y="1239873"/>
                  <a:pt x="3682984" y="1238735"/>
                </a:cubicBezTo>
                <a:cubicBezTo>
                  <a:pt x="3681491" y="1238308"/>
                  <a:pt x="3682131" y="1239446"/>
                  <a:pt x="3681277" y="1240016"/>
                </a:cubicBezTo>
                <a:cubicBezTo>
                  <a:pt x="3676368" y="1238878"/>
                  <a:pt x="3673380" y="1236459"/>
                  <a:pt x="3673167" y="1232049"/>
                </a:cubicBezTo>
                <a:cubicBezTo>
                  <a:pt x="3673808" y="1228777"/>
                  <a:pt x="3674448" y="1223940"/>
                  <a:pt x="3678716" y="1224082"/>
                </a:cubicBezTo>
                <a:close/>
                <a:moveTo>
                  <a:pt x="5041828" y="1223797"/>
                </a:moveTo>
                <a:cubicBezTo>
                  <a:pt x="5043749" y="1225077"/>
                  <a:pt x="5044603" y="1225647"/>
                  <a:pt x="5045883" y="1227923"/>
                </a:cubicBezTo>
                <a:cubicBezTo>
                  <a:pt x="5047163" y="1240585"/>
                  <a:pt x="5040975" y="1243999"/>
                  <a:pt x="5041401" y="1245564"/>
                </a:cubicBezTo>
                <a:cubicBezTo>
                  <a:pt x="5036492" y="1246987"/>
                  <a:pt x="5035852" y="1243572"/>
                  <a:pt x="5033291" y="1239020"/>
                </a:cubicBezTo>
                <a:cubicBezTo>
                  <a:pt x="5034999" y="1238593"/>
                  <a:pt x="5034145" y="1233756"/>
                  <a:pt x="5033932" y="1232049"/>
                </a:cubicBezTo>
                <a:cubicBezTo>
                  <a:pt x="5037133" y="1231195"/>
                  <a:pt x="5036919" y="1225077"/>
                  <a:pt x="5041828" y="1223797"/>
                </a:cubicBezTo>
                <a:close/>
                <a:moveTo>
                  <a:pt x="4406051" y="1223512"/>
                </a:moveTo>
                <a:cubicBezTo>
                  <a:pt x="4407117" y="1223940"/>
                  <a:pt x="4407758" y="1224793"/>
                  <a:pt x="4407972" y="1226073"/>
                </a:cubicBezTo>
                <a:cubicBezTo>
                  <a:pt x="4408612" y="1229772"/>
                  <a:pt x="4405624" y="1235606"/>
                  <a:pt x="4403703" y="1236175"/>
                </a:cubicBezTo>
                <a:cubicBezTo>
                  <a:pt x="4401355" y="1235178"/>
                  <a:pt x="4400502" y="1222374"/>
                  <a:pt x="4406051" y="1223512"/>
                </a:cubicBezTo>
                <a:close/>
                <a:moveTo>
                  <a:pt x="4200741" y="1223370"/>
                </a:moveTo>
                <a:cubicBezTo>
                  <a:pt x="4201381" y="1227639"/>
                  <a:pt x="4192417" y="1232902"/>
                  <a:pt x="4187935" y="1234183"/>
                </a:cubicBezTo>
                <a:cubicBezTo>
                  <a:pt x="4187722" y="1233187"/>
                  <a:pt x="4188149" y="1232049"/>
                  <a:pt x="4189002" y="1230910"/>
                </a:cubicBezTo>
                <a:cubicBezTo>
                  <a:pt x="4191350" y="1227639"/>
                  <a:pt x="4197326" y="1224366"/>
                  <a:pt x="4200741" y="1223370"/>
                </a:cubicBezTo>
                <a:close/>
                <a:moveTo>
                  <a:pt x="1422664" y="1222464"/>
                </a:moveTo>
                <a:cubicBezTo>
                  <a:pt x="1423491" y="1223239"/>
                  <a:pt x="1425349" y="1222464"/>
                  <a:pt x="1426175" y="1223239"/>
                </a:cubicBezTo>
                <a:cubicBezTo>
                  <a:pt x="1426175" y="1223239"/>
                  <a:pt x="1426692" y="1225872"/>
                  <a:pt x="1426692" y="1225872"/>
                </a:cubicBezTo>
                <a:cubicBezTo>
                  <a:pt x="1425762" y="1226646"/>
                  <a:pt x="1425762" y="1226646"/>
                  <a:pt x="1425866" y="1225872"/>
                </a:cubicBezTo>
                <a:cubicBezTo>
                  <a:pt x="1423903" y="1226646"/>
                  <a:pt x="1423077" y="1226646"/>
                  <a:pt x="1422148" y="1226646"/>
                </a:cubicBezTo>
                <a:cubicBezTo>
                  <a:pt x="1421735" y="1226181"/>
                  <a:pt x="1421632" y="1225562"/>
                  <a:pt x="1421735" y="1224788"/>
                </a:cubicBezTo>
                <a:cubicBezTo>
                  <a:pt x="1421838" y="1224013"/>
                  <a:pt x="1422148" y="1223239"/>
                  <a:pt x="1422664" y="1222464"/>
                </a:cubicBezTo>
                <a:close/>
                <a:moveTo>
                  <a:pt x="4017840" y="1222090"/>
                </a:moveTo>
                <a:cubicBezTo>
                  <a:pt x="4017840" y="1222090"/>
                  <a:pt x="4017840" y="1222090"/>
                  <a:pt x="4017414" y="1223085"/>
                </a:cubicBezTo>
                <a:cubicBezTo>
                  <a:pt x="4017414" y="1223085"/>
                  <a:pt x="4017840" y="1222090"/>
                  <a:pt x="4018907" y="1222659"/>
                </a:cubicBezTo>
                <a:cubicBezTo>
                  <a:pt x="4019547" y="1229630"/>
                  <a:pt x="4014639" y="1237455"/>
                  <a:pt x="4013999" y="1238451"/>
                </a:cubicBezTo>
                <a:cubicBezTo>
                  <a:pt x="4013145" y="1237881"/>
                  <a:pt x="4013145" y="1238024"/>
                  <a:pt x="4013145" y="1238024"/>
                </a:cubicBezTo>
                <a:cubicBezTo>
                  <a:pt x="4015279" y="1235321"/>
                  <a:pt x="4014426" y="1230057"/>
                  <a:pt x="4015706" y="1225789"/>
                </a:cubicBezTo>
                <a:cubicBezTo>
                  <a:pt x="4016133" y="1224366"/>
                  <a:pt x="4016773" y="1223085"/>
                  <a:pt x="4017840" y="1222090"/>
                </a:cubicBezTo>
                <a:close/>
                <a:moveTo>
                  <a:pt x="4746028" y="1221663"/>
                </a:moveTo>
                <a:cubicBezTo>
                  <a:pt x="4747949" y="1221378"/>
                  <a:pt x="4750083" y="1221663"/>
                  <a:pt x="4751791" y="1222801"/>
                </a:cubicBezTo>
                <a:cubicBezTo>
                  <a:pt x="4756913" y="1231337"/>
                  <a:pt x="4745601" y="1239162"/>
                  <a:pt x="4738559" y="1236459"/>
                </a:cubicBezTo>
                <a:cubicBezTo>
                  <a:pt x="4734930" y="1230057"/>
                  <a:pt x="4740266" y="1222801"/>
                  <a:pt x="4746028" y="1221663"/>
                </a:cubicBezTo>
                <a:close/>
                <a:moveTo>
                  <a:pt x="4255376" y="1220952"/>
                </a:moveTo>
                <a:cubicBezTo>
                  <a:pt x="4257724" y="1221236"/>
                  <a:pt x="4260071" y="1222517"/>
                  <a:pt x="4261566" y="1224508"/>
                </a:cubicBezTo>
                <a:cubicBezTo>
                  <a:pt x="4262419" y="1225789"/>
                  <a:pt x="4263273" y="1227496"/>
                  <a:pt x="4263273" y="1229488"/>
                </a:cubicBezTo>
                <a:lnTo>
                  <a:pt x="4263273" y="1229772"/>
                </a:lnTo>
                <a:lnTo>
                  <a:pt x="4264980" y="1228492"/>
                </a:lnTo>
                <a:cubicBezTo>
                  <a:pt x="4265834" y="1228065"/>
                  <a:pt x="4266687" y="1227923"/>
                  <a:pt x="4267328" y="1228492"/>
                </a:cubicBezTo>
                <a:cubicBezTo>
                  <a:pt x="4267541" y="1229772"/>
                  <a:pt x="4268608" y="1229772"/>
                  <a:pt x="4268608" y="1230910"/>
                </a:cubicBezTo>
                <a:cubicBezTo>
                  <a:pt x="4270102" y="1233329"/>
                  <a:pt x="4270315" y="1234467"/>
                  <a:pt x="4269462" y="1235748"/>
                </a:cubicBezTo>
                <a:cubicBezTo>
                  <a:pt x="4269675" y="1237028"/>
                  <a:pt x="4268395" y="1237028"/>
                  <a:pt x="4267541" y="1238308"/>
                </a:cubicBezTo>
                <a:cubicBezTo>
                  <a:pt x="4266261" y="1238451"/>
                  <a:pt x="4264980" y="1237313"/>
                  <a:pt x="4264980" y="1237313"/>
                </a:cubicBezTo>
                <a:cubicBezTo>
                  <a:pt x="4263699" y="1236175"/>
                  <a:pt x="4263699" y="1236032"/>
                  <a:pt x="4262846" y="1237313"/>
                </a:cubicBezTo>
                <a:cubicBezTo>
                  <a:pt x="4262846" y="1237313"/>
                  <a:pt x="4262632" y="1236175"/>
                  <a:pt x="4262632" y="1236175"/>
                </a:cubicBezTo>
                <a:cubicBezTo>
                  <a:pt x="4263059" y="1236175"/>
                  <a:pt x="4263059" y="1236175"/>
                  <a:pt x="4262846" y="1236032"/>
                </a:cubicBezTo>
                <a:lnTo>
                  <a:pt x="4261992" y="1235463"/>
                </a:lnTo>
                <a:lnTo>
                  <a:pt x="4261139" y="1238735"/>
                </a:lnTo>
                <a:cubicBezTo>
                  <a:pt x="4256657" y="1243572"/>
                  <a:pt x="4244705" y="1239162"/>
                  <a:pt x="4243638" y="1233187"/>
                </a:cubicBezTo>
                <a:cubicBezTo>
                  <a:pt x="4244919" y="1229914"/>
                  <a:pt x="4246412" y="1226642"/>
                  <a:pt x="4247693" y="1223512"/>
                </a:cubicBezTo>
                <a:cubicBezTo>
                  <a:pt x="4250040" y="1221521"/>
                  <a:pt x="4252815" y="1220809"/>
                  <a:pt x="4255376" y="1220952"/>
                </a:cubicBezTo>
                <a:close/>
                <a:moveTo>
                  <a:pt x="4340958" y="1220809"/>
                </a:moveTo>
                <a:cubicBezTo>
                  <a:pt x="4342665" y="1220383"/>
                  <a:pt x="4344586" y="1221094"/>
                  <a:pt x="4345653" y="1222517"/>
                </a:cubicBezTo>
                <a:cubicBezTo>
                  <a:pt x="4346293" y="1223512"/>
                  <a:pt x="4346293" y="1224793"/>
                  <a:pt x="4345653" y="1226215"/>
                </a:cubicBezTo>
                <a:cubicBezTo>
                  <a:pt x="4343946" y="1226215"/>
                  <a:pt x="4341384" y="1226927"/>
                  <a:pt x="4339037" y="1226073"/>
                </a:cubicBezTo>
                <a:cubicBezTo>
                  <a:pt x="4338183" y="1222801"/>
                  <a:pt x="4339463" y="1221236"/>
                  <a:pt x="4340958" y="1220809"/>
                </a:cubicBezTo>
                <a:close/>
                <a:moveTo>
                  <a:pt x="853516" y="1220760"/>
                </a:moveTo>
                <a:cubicBezTo>
                  <a:pt x="853723" y="1220605"/>
                  <a:pt x="853929" y="1220450"/>
                  <a:pt x="854342" y="1220915"/>
                </a:cubicBezTo>
                <a:cubicBezTo>
                  <a:pt x="855168" y="1221845"/>
                  <a:pt x="855168" y="1221845"/>
                  <a:pt x="855065" y="1224323"/>
                </a:cubicBezTo>
                <a:cubicBezTo>
                  <a:pt x="854239" y="1223393"/>
                  <a:pt x="854239" y="1223393"/>
                  <a:pt x="853413" y="1224168"/>
                </a:cubicBezTo>
                <a:cubicBezTo>
                  <a:pt x="853413" y="1224168"/>
                  <a:pt x="853413" y="1224168"/>
                  <a:pt x="853413" y="1224943"/>
                </a:cubicBezTo>
                <a:cubicBezTo>
                  <a:pt x="852587" y="1224788"/>
                  <a:pt x="852587" y="1224013"/>
                  <a:pt x="851761" y="1223858"/>
                </a:cubicBezTo>
                <a:cubicBezTo>
                  <a:pt x="851761" y="1223858"/>
                  <a:pt x="851761" y="1223239"/>
                  <a:pt x="851761" y="1223239"/>
                </a:cubicBezTo>
                <a:cubicBezTo>
                  <a:pt x="851348" y="1223084"/>
                  <a:pt x="851348" y="1223084"/>
                  <a:pt x="851554" y="1222929"/>
                </a:cubicBezTo>
                <a:cubicBezTo>
                  <a:pt x="851761" y="1222774"/>
                  <a:pt x="852174" y="1222309"/>
                  <a:pt x="852587" y="1221689"/>
                </a:cubicBezTo>
                <a:cubicBezTo>
                  <a:pt x="853000" y="1221225"/>
                  <a:pt x="853310" y="1220915"/>
                  <a:pt x="853516" y="1220760"/>
                </a:cubicBezTo>
                <a:close/>
                <a:moveTo>
                  <a:pt x="1231950" y="1220450"/>
                </a:moveTo>
                <a:cubicBezTo>
                  <a:pt x="1234325" y="1220760"/>
                  <a:pt x="1234429" y="1222619"/>
                  <a:pt x="1234429" y="1222619"/>
                </a:cubicBezTo>
                <a:cubicBezTo>
                  <a:pt x="1234222" y="1225562"/>
                  <a:pt x="1232466" y="1227731"/>
                  <a:pt x="1229265" y="1227885"/>
                </a:cubicBezTo>
                <a:cubicBezTo>
                  <a:pt x="1227613" y="1227111"/>
                  <a:pt x="1227510" y="1225252"/>
                  <a:pt x="1227407" y="1223393"/>
                </a:cubicBezTo>
                <a:cubicBezTo>
                  <a:pt x="1227510" y="1221845"/>
                  <a:pt x="1228027" y="1221070"/>
                  <a:pt x="1228853" y="1220605"/>
                </a:cubicBezTo>
                <a:cubicBezTo>
                  <a:pt x="1229678" y="1220295"/>
                  <a:pt x="1230711" y="1220141"/>
                  <a:pt x="1231950" y="1220450"/>
                </a:cubicBezTo>
                <a:close/>
                <a:moveTo>
                  <a:pt x="1518176" y="1219676"/>
                </a:moveTo>
                <a:cubicBezTo>
                  <a:pt x="1518796" y="1219986"/>
                  <a:pt x="1518899" y="1220450"/>
                  <a:pt x="1518899" y="1220760"/>
                </a:cubicBezTo>
                <a:cubicBezTo>
                  <a:pt x="1518899" y="1221070"/>
                  <a:pt x="1518796" y="1221380"/>
                  <a:pt x="1518796" y="1221380"/>
                </a:cubicBezTo>
                <a:cubicBezTo>
                  <a:pt x="1518280" y="1222309"/>
                  <a:pt x="1517763" y="1223393"/>
                  <a:pt x="1516628" y="1222774"/>
                </a:cubicBezTo>
                <a:cubicBezTo>
                  <a:pt x="1516628" y="1222774"/>
                  <a:pt x="1516628" y="1222619"/>
                  <a:pt x="1516628" y="1222154"/>
                </a:cubicBezTo>
                <a:cubicBezTo>
                  <a:pt x="1516731" y="1221689"/>
                  <a:pt x="1516937" y="1220915"/>
                  <a:pt x="1517454" y="1219986"/>
                </a:cubicBezTo>
                <a:cubicBezTo>
                  <a:pt x="1517763" y="1220760"/>
                  <a:pt x="1518590" y="1220450"/>
                  <a:pt x="1518590" y="1220450"/>
                </a:cubicBezTo>
                <a:cubicBezTo>
                  <a:pt x="1518590" y="1220450"/>
                  <a:pt x="1518486" y="1220605"/>
                  <a:pt x="1518176" y="1219676"/>
                </a:cubicBezTo>
                <a:close/>
                <a:moveTo>
                  <a:pt x="1469853" y="1218127"/>
                </a:moveTo>
                <a:cubicBezTo>
                  <a:pt x="1471504" y="1219676"/>
                  <a:pt x="1475015" y="1221070"/>
                  <a:pt x="1473983" y="1224478"/>
                </a:cubicBezTo>
                <a:cubicBezTo>
                  <a:pt x="1472743" y="1223393"/>
                  <a:pt x="1469956" y="1221225"/>
                  <a:pt x="1469543" y="1219521"/>
                </a:cubicBezTo>
                <a:cubicBezTo>
                  <a:pt x="1469336" y="1219056"/>
                  <a:pt x="1469440" y="1218437"/>
                  <a:pt x="1469853" y="1218127"/>
                </a:cubicBezTo>
                <a:close/>
                <a:moveTo>
                  <a:pt x="1441767" y="1218127"/>
                </a:moveTo>
                <a:cubicBezTo>
                  <a:pt x="1443316" y="1221535"/>
                  <a:pt x="1436295" y="1225097"/>
                  <a:pt x="1434642" y="1224323"/>
                </a:cubicBezTo>
                <a:cubicBezTo>
                  <a:pt x="1433816" y="1222619"/>
                  <a:pt x="1439289" y="1215029"/>
                  <a:pt x="1441767" y="1218127"/>
                </a:cubicBezTo>
                <a:close/>
                <a:moveTo>
                  <a:pt x="4502943" y="1217964"/>
                </a:moveTo>
                <a:cubicBezTo>
                  <a:pt x="4504864" y="1219814"/>
                  <a:pt x="4505931" y="1221948"/>
                  <a:pt x="4506144" y="1224508"/>
                </a:cubicBezTo>
                <a:cubicBezTo>
                  <a:pt x="4506785" y="1228207"/>
                  <a:pt x="4505718" y="1232476"/>
                  <a:pt x="4504011" y="1236316"/>
                </a:cubicBezTo>
                <a:lnTo>
                  <a:pt x="4502516" y="1238451"/>
                </a:lnTo>
                <a:lnTo>
                  <a:pt x="4502303" y="1239446"/>
                </a:lnTo>
                <a:lnTo>
                  <a:pt x="4501023" y="1240585"/>
                </a:lnTo>
                <a:lnTo>
                  <a:pt x="4497608" y="1245849"/>
                </a:lnTo>
                <a:cubicBezTo>
                  <a:pt x="4492059" y="1246275"/>
                  <a:pt x="4488644" y="1244568"/>
                  <a:pt x="4486723" y="1242007"/>
                </a:cubicBezTo>
                <a:cubicBezTo>
                  <a:pt x="4481174" y="1234040"/>
                  <a:pt x="4490352" y="1216826"/>
                  <a:pt x="4502943" y="1217964"/>
                </a:cubicBezTo>
                <a:close/>
                <a:moveTo>
                  <a:pt x="4536877" y="1217679"/>
                </a:moveTo>
                <a:cubicBezTo>
                  <a:pt x="4542639" y="1216968"/>
                  <a:pt x="4544773" y="1224508"/>
                  <a:pt x="4546481" y="1228207"/>
                </a:cubicBezTo>
                <a:cubicBezTo>
                  <a:pt x="4542639" y="1231480"/>
                  <a:pt x="4538584" y="1234751"/>
                  <a:pt x="4535383" y="1234467"/>
                </a:cubicBezTo>
                <a:lnTo>
                  <a:pt x="4534529" y="1231906"/>
                </a:lnTo>
                <a:lnTo>
                  <a:pt x="4533889" y="1232618"/>
                </a:lnTo>
                <a:cubicBezTo>
                  <a:pt x="4532181" y="1233898"/>
                  <a:pt x="4530474" y="1234751"/>
                  <a:pt x="4528127" y="1234183"/>
                </a:cubicBezTo>
                <a:cubicBezTo>
                  <a:pt x="4529194" y="1233329"/>
                  <a:pt x="4530474" y="1231906"/>
                  <a:pt x="4531755" y="1230626"/>
                </a:cubicBezTo>
                <a:lnTo>
                  <a:pt x="4533676" y="1229345"/>
                </a:lnTo>
                <a:lnTo>
                  <a:pt x="4532609" y="1226215"/>
                </a:lnTo>
                <a:cubicBezTo>
                  <a:pt x="4532822" y="1223370"/>
                  <a:pt x="4534102" y="1220525"/>
                  <a:pt x="4536877" y="1217679"/>
                </a:cubicBezTo>
                <a:close/>
                <a:moveTo>
                  <a:pt x="3388892" y="1215830"/>
                </a:moveTo>
                <a:lnTo>
                  <a:pt x="3385264" y="1219387"/>
                </a:lnTo>
                <a:cubicBezTo>
                  <a:pt x="3382276" y="1218675"/>
                  <a:pt x="3379075" y="1221805"/>
                  <a:pt x="3375446" y="1222659"/>
                </a:cubicBezTo>
                <a:lnTo>
                  <a:pt x="3374166" y="1222659"/>
                </a:lnTo>
                <a:lnTo>
                  <a:pt x="3374166" y="1222943"/>
                </a:lnTo>
                <a:cubicBezTo>
                  <a:pt x="3374380" y="1225362"/>
                  <a:pt x="3375020" y="1227496"/>
                  <a:pt x="3376727" y="1229061"/>
                </a:cubicBezTo>
                <a:cubicBezTo>
                  <a:pt x="3375233" y="1227496"/>
                  <a:pt x="3373526" y="1226927"/>
                  <a:pt x="3371178" y="1228350"/>
                </a:cubicBezTo>
                <a:lnTo>
                  <a:pt x="3372886" y="1236316"/>
                </a:lnTo>
                <a:lnTo>
                  <a:pt x="3373313" y="1236886"/>
                </a:lnTo>
                <a:lnTo>
                  <a:pt x="3375020" y="1234751"/>
                </a:lnTo>
                <a:cubicBezTo>
                  <a:pt x="3375446" y="1233756"/>
                  <a:pt x="3375446" y="1232760"/>
                  <a:pt x="3375020" y="1231480"/>
                </a:cubicBezTo>
                <a:lnTo>
                  <a:pt x="3379288" y="1255381"/>
                </a:lnTo>
                <a:lnTo>
                  <a:pt x="3379715" y="1255523"/>
                </a:lnTo>
                <a:lnTo>
                  <a:pt x="3379501" y="1255950"/>
                </a:lnTo>
                <a:lnTo>
                  <a:pt x="3381209" y="1265197"/>
                </a:lnTo>
                <a:lnTo>
                  <a:pt x="3389746" y="1257515"/>
                </a:lnTo>
                <a:lnTo>
                  <a:pt x="3399350" y="1250259"/>
                </a:lnTo>
                <a:lnTo>
                  <a:pt x="3391453" y="1224224"/>
                </a:lnTo>
                <a:close/>
                <a:moveTo>
                  <a:pt x="1601504" y="1215339"/>
                </a:moveTo>
                <a:cubicBezTo>
                  <a:pt x="1602537" y="1215339"/>
                  <a:pt x="1603776" y="1215958"/>
                  <a:pt x="1605015" y="1216733"/>
                </a:cubicBezTo>
                <a:lnTo>
                  <a:pt x="1607803" y="1219211"/>
                </a:lnTo>
                <a:lnTo>
                  <a:pt x="1612966" y="1215803"/>
                </a:lnTo>
                <a:lnTo>
                  <a:pt x="1614824" y="1216268"/>
                </a:lnTo>
                <a:lnTo>
                  <a:pt x="1615031" y="1215803"/>
                </a:lnTo>
                <a:cubicBezTo>
                  <a:pt x="1615547" y="1215184"/>
                  <a:pt x="1616373" y="1214874"/>
                  <a:pt x="1617612" y="1215339"/>
                </a:cubicBezTo>
                <a:lnTo>
                  <a:pt x="1617509" y="1216733"/>
                </a:lnTo>
                <a:lnTo>
                  <a:pt x="1618129" y="1216888"/>
                </a:lnTo>
                <a:lnTo>
                  <a:pt x="1618645" y="1216888"/>
                </a:lnTo>
                <a:cubicBezTo>
                  <a:pt x="1618645" y="1216888"/>
                  <a:pt x="1619367" y="1216268"/>
                  <a:pt x="1620606" y="1216578"/>
                </a:cubicBezTo>
                <a:cubicBezTo>
                  <a:pt x="1621845" y="1216733"/>
                  <a:pt x="1623085" y="1216888"/>
                  <a:pt x="1623188" y="1218746"/>
                </a:cubicBezTo>
                <a:lnTo>
                  <a:pt x="1622981" y="1218901"/>
                </a:lnTo>
                <a:lnTo>
                  <a:pt x="1625666" y="1220295"/>
                </a:lnTo>
                <a:cubicBezTo>
                  <a:pt x="1628764" y="1222929"/>
                  <a:pt x="1631242" y="1227885"/>
                  <a:pt x="1632378" y="1232997"/>
                </a:cubicBezTo>
                <a:lnTo>
                  <a:pt x="1632481" y="1239812"/>
                </a:lnTo>
                <a:lnTo>
                  <a:pt x="1634649" y="1236560"/>
                </a:lnTo>
                <a:cubicBezTo>
                  <a:pt x="1636714" y="1233926"/>
                  <a:pt x="1639296" y="1230983"/>
                  <a:pt x="1640329" y="1229744"/>
                </a:cubicBezTo>
                <a:cubicBezTo>
                  <a:pt x="1641155" y="1229744"/>
                  <a:pt x="1641155" y="1229744"/>
                  <a:pt x="1641155" y="1229744"/>
                </a:cubicBezTo>
                <a:cubicBezTo>
                  <a:pt x="1641980" y="1230209"/>
                  <a:pt x="1642084" y="1230828"/>
                  <a:pt x="1641774" y="1231603"/>
                </a:cubicBezTo>
                <a:cubicBezTo>
                  <a:pt x="1641465" y="1232532"/>
                  <a:pt x="1640638" y="1233617"/>
                  <a:pt x="1639606" y="1234856"/>
                </a:cubicBezTo>
                <a:cubicBezTo>
                  <a:pt x="1637644" y="1237334"/>
                  <a:pt x="1633824" y="1239812"/>
                  <a:pt x="1632791" y="1240587"/>
                </a:cubicBezTo>
                <a:lnTo>
                  <a:pt x="1632481" y="1241207"/>
                </a:lnTo>
                <a:lnTo>
                  <a:pt x="1632481" y="1242911"/>
                </a:lnTo>
                <a:lnTo>
                  <a:pt x="1631552" y="1244924"/>
                </a:lnTo>
                <a:lnTo>
                  <a:pt x="1632378" y="1247402"/>
                </a:lnTo>
                <a:lnTo>
                  <a:pt x="1629590" y="1248332"/>
                </a:lnTo>
                <a:lnTo>
                  <a:pt x="1636714" y="1248951"/>
                </a:lnTo>
                <a:cubicBezTo>
                  <a:pt x="1637850" y="1248796"/>
                  <a:pt x="1638883" y="1248642"/>
                  <a:pt x="1639502" y="1248642"/>
                </a:cubicBezTo>
                <a:lnTo>
                  <a:pt x="1640225" y="1248486"/>
                </a:lnTo>
                <a:lnTo>
                  <a:pt x="1640329" y="1248177"/>
                </a:lnTo>
                <a:cubicBezTo>
                  <a:pt x="1642187" y="1246782"/>
                  <a:pt x="1643839" y="1246782"/>
                  <a:pt x="1645698" y="1247092"/>
                </a:cubicBezTo>
                <a:lnTo>
                  <a:pt x="1648382" y="1247712"/>
                </a:lnTo>
                <a:lnTo>
                  <a:pt x="1648382" y="1247557"/>
                </a:lnTo>
                <a:cubicBezTo>
                  <a:pt x="1648176" y="1247092"/>
                  <a:pt x="1648279" y="1246628"/>
                  <a:pt x="1648692" y="1246008"/>
                </a:cubicBezTo>
                <a:cubicBezTo>
                  <a:pt x="1652409" y="1242291"/>
                  <a:pt x="1658502" y="1243840"/>
                  <a:pt x="1661599" y="1244924"/>
                </a:cubicBezTo>
                <a:lnTo>
                  <a:pt x="1663355" y="1245544"/>
                </a:lnTo>
                <a:lnTo>
                  <a:pt x="1663355" y="1244614"/>
                </a:lnTo>
                <a:lnTo>
                  <a:pt x="1664181" y="1245544"/>
                </a:lnTo>
                <a:lnTo>
                  <a:pt x="1664387" y="1245544"/>
                </a:lnTo>
                <a:cubicBezTo>
                  <a:pt x="1664284" y="1246473"/>
                  <a:pt x="1665110" y="1246473"/>
                  <a:pt x="1665213" y="1245544"/>
                </a:cubicBezTo>
                <a:cubicBezTo>
                  <a:pt x="1666452" y="1246473"/>
                  <a:pt x="1667485" y="1247092"/>
                  <a:pt x="1667898" y="1247867"/>
                </a:cubicBezTo>
                <a:cubicBezTo>
                  <a:pt x="1668414" y="1248486"/>
                  <a:pt x="1668311" y="1249106"/>
                  <a:pt x="1667278" y="1249880"/>
                </a:cubicBezTo>
                <a:lnTo>
                  <a:pt x="1666865" y="1250190"/>
                </a:lnTo>
                <a:lnTo>
                  <a:pt x="1667795" y="1254682"/>
                </a:lnTo>
                <a:cubicBezTo>
                  <a:pt x="1665523" y="1256232"/>
                  <a:pt x="1663871" y="1255457"/>
                  <a:pt x="1662838" y="1253753"/>
                </a:cubicBezTo>
                <a:lnTo>
                  <a:pt x="1662529" y="1252979"/>
                </a:lnTo>
                <a:lnTo>
                  <a:pt x="1661806" y="1255147"/>
                </a:lnTo>
                <a:cubicBezTo>
                  <a:pt x="1662012" y="1258400"/>
                  <a:pt x="1664491" y="1262582"/>
                  <a:pt x="1659947" y="1267539"/>
                </a:cubicBezTo>
                <a:cubicBezTo>
                  <a:pt x="1658811" y="1266300"/>
                  <a:pt x="1655920" y="1267848"/>
                  <a:pt x="1653545" y="1267539"/>
                </a:cubicBezTo>
                <a:lnTo>
                  <a:pt x="1651893" y="1266764"/>
                </a:lnTo>
                <a:lnTo>
                  <a:pt x="1652719" y="1267848"/>
                </a:lnTo>
                <a:cubicBezTo>
                  <a:pt x="1652513" y="1269088"/>
                  <a:pt x="1650964" y="1269707"/>
                  <a:pt x="1649002" y="1269707"/>
                </a:cubicBezTo>
                <a:cubicBezTo>
                  <a:pt x="1649312" y="1268623"/>
                  <a:pt x="1647557" y="1267539"/>
                  <a:pt x="1647866" y="1266300"/>
                </a:cubicBezTo>
                <a:cubicBezTo>
                  <a:pt x="1647866" y="1266300"/>
                  <a:pt x="1648279" y="1265835"/>
                  <a:pt x="1648692" y="1265370"/>
                </a:cubicBezTo>
                <a:lnTo>
                  <a:pt x="1649518" y="1264596"/>
                </a:lnTo>
                <a:lnTo>
                  <a:pt x="1648073" y="1263047"/>
                </a:lnTo>
                <a:cubicBezTo>
                  <a:pt x="1645595" y="1259794"/>
                  <a:pt x="1645698" y="1257625"/>
                  <a:pt x="1646834" y="1254992"/>
                </a:cubicBezTo>
                <a:lnTo>
                  <a:pt x="1647557" y="1253753"/>
                </a:lnTo>
                <a:lnTo>
                  <a:pt x="1647247" y="1253753"/>
                </a:lnTo>
                <a:lnTo>
                  <a:pt x="1644768" y="1252979"/>
                </a:lnTo>
                <a:lnTo>
                  <a:pt x="1644975" y="1254373"/>
                </a:lnTo>
                <a:cubicBezTo>
                  <a:pt x="1640122" y="1259329"/>
                  <a:pt x="1631552" y="1252359"/>
                  <a:pt x="1629073" y="1251430"/>
                </a:cubicBezTo>
                <a:cubicBezTo>
                  <a:pt x="1629073" y="1251430"/>
                  <a:pt x="1628247" y="1251430"/>
                  <a:pt x="1627422" y="1250655"/>
                </a:cubicBezTo>
                <a:cubicBezTo>
                  <a:pt x="1627008" y="1250345"/>
                  <a:pt x="1626905" y="1250190"/>
                  <a:pt x="1626905" y="1249880"/>
                </a:cubicBezTo>
                <a:lnTo>
                  <a:pt x="1627215" y="1249416"/>
                </a:lnTo>
                <a:lnTo>
                  <a:pt x="1627215" y="1248951"/>
                </a:lnTo>
                <a:lnTo>
                  <a:pt x="1626699" y="1249106"/>
                </a:lnTo>
                <a:lnTo>
                  <a:pt x="1623601" y="1248486"/>
                </a:lnTo>
                <a:lnTo>
                  <a:pt x="1623498" y="1250345"/>
                </a:lnTo>
                <a:cubicBezTo>
                  <a:pt x="1623601" y="1251585"/>
                  <a:pt x="1623808" y="1252824"/>
                  <a:pt x="1624427" y="1253134"/>
                </a:cubicBezTo>
                <a:cubicBezTo>
                  <a:pt x="1623601" y="1253443"/>
                  <a:pt x="1623085" y="1254528"/>
                  <a:pt x="1623085" y="1254528"/>
                </a:cubicBezTo>
                <a:cubicBezTo>
                  <a:pt x="1621949" y="1253908"/>
                  <a:pt x="1621742" y="1253134"/>
                  <a:pt x="1621433" y="1252359"/>
                </a:cubicBezTo>
                <a:cubicBezTo>
                  <a:pt x="1621845" y="1251275"/>
                  <a:pt x="1622672" y="1250965"/>
                  <a:pt x="1623085" y="1250035"/>
                </a:cubicBezTo>
                <a:lnTo>
                  <a:pt x="1622878" y="1248332"/>
                </a:lnTo>
                <a:lnTo>
                  <a:pt x="1619264" y="1247867"/>
                </a:lnTo>
                <a:cubicBezTo>
                  <a:pt x="1616579" y="1246938"/>
                  <a:pt x="1614101" y="1245544"/>
                  <a:pt x="1612346" y="1243685"/>
                </a:cubicBezTo>
                <a:cubicBezTo>
                  <a:pt x="1612553" y="1244149"/>
                  <a:pt x="1612656" y="1244459"/>
                  <a:pt x="1612553" y="1245079"/>
                </a:cubicBezTo>
                <a:cubicBezTo>
                  <a:pt x="1612966" y="1245699"/>
                  <a:pt x="1612243" y="1246163"/>
                  <a:pt x="1611933" y="1247402"/>
                </a:cubicBezTo>
                <a:lnTo>
                  <a:pt x="1611004" y="1247557"/>
                </a:lnTo>
                <a:lnTo>
                  <a:pt x="1611210" y="1248642"/>
                </a:lnTo>
                <a:cubicBezTo>
                  <a:pt x="1611520" y="1250500"/>
                  <a:pt x="1611520" y="1252204"/>
                  <a:pt x="1611004" y="1252669"/>
                </a:cubicBezTo>
                <a:cubicBezTo>
                  <a:pt x="1610694" y="1251739"/>
                  <a:pt x="1610074" y="1249880"/>
                  <a:pt x="1609765" y="1247867"/>
                </a:cubicBezTo>
                <a:lnTo>
                  <a:pt x="1609765" y="1247712"/>
                </a:lnTo>
                <a:lnTo>
                  <a:pt x="1608939" y="1247712"/>
                </a:lnTo>
                <a:cubicBezTo>
                  <a:pt x="1608732" y="1247867"/>
                  <a:pt x="1608629" y="1248022"/>
                  <a:pt x="1608526" y="1248642"/>
                </a:cubicBezTo>
                <a:cubicBezTo>
                  <a:pt x="1608526" y="1248642"/>
                  <a:pt x="1608009" y="1248022"/>
                  <a:pt x="1608009" y="1248022"/>
                </a:cubicBezTo>
                <a:cubicBezTo>
                  <a:pt x="1608732" y="1247557"/>
                  <a:pt x="1608113" y="1248022"/>
                  <a:pt x="1606874" y="1247867"/>
                </a:cubicBezTo>
                <a:cubicBezTo>
                  <a:pt x="1606667" y="1246008"/>
                  <a:pt x="1606254" y="1245234"/>
                  <a:pt x="1606564" y="1243995"/>
                </a:cubicBezTo>
                <a:lnTo>
                  <a:pt x="1600265" y="1240587"/>
                </a:lnTo>
                <a:lnTo>
                  <a:pt x="1599233" y="1238728"/>
                </a:lnTo>
                <a:lnTo>
                  <a:pt x="1597477" y="1238263"/>
                </a:lnTo>
                <a:cubicBezTo>
                  <a:pt x="1597684" y="1237334"/>
                  <a:pt x="1597580" y="1237334"/>
                  <a:pt x="1598510" y="1237489"/>
                </a:cubicBezTo>
                <a:cubicBezTo>
                  <a:pt x="1598406" y="1237334"/>
                  <a:pt x="1598406" y="1237334"/>
                  <a:pt x="1598303" y="1237179"/>
                </a:cubicBezTo>
                <a:lnTo>
                  <a:pt x="1598716" y="1237024"/>
                </a:lnTo>
                <a:lnTo>
                  <a:pt x="1598613" y="1236560"/>
                </a:lnTo>
                <a:cubicBezTo>
                  <a:pt x="1598613" y="1235940"/>
                  <a:pt x="1598716" y="1235321"/>
                  <a:pt x="1599233" y="1234701"/>
                </a:cubicBezTo>
                <a:cubicBezTo>
                  <a:pt x="1599336" y="1233771"/>
                  <a:pt x="1602743" y="1233926"/>
                  <a:pt x="1603466" y="1234701"/>
                </a:cubicBezTo>
                <a:cubicBezTo>
                  <a:pt x="1605015" y="1236560"/>
                  <a:pt x="1605738" y="1237334"/>
                  <a:pt x="1605531" y="1239038"/>
                </a:cubicBezTo>
                <a:cubicBezTo>
                  <a:pt x="1606357" y="1239967"/>
                  <a:pt x="1607080" y="1240742"/>
                  <a:pt x="1607390" y="1241516"/>
                </a:cubicBezTo>
                <a:lnTo>
                  <a:pt x="1606874" y="1243530"/>
                </a:lnTo>
                <a:lnTo>
                  <a:pt x="1607493" y="1242291"/>
                </a:lnTo>
                <a:cubicBezTo>
                  <a:pt x="1607906" y="1241671"/>
                  <a:pt x="1608422" y="1241361"/>
                  <a:pt x="1609042" y="1241361"/>
                </a:cubicBezTo>
                <a:cubicBezTo>
                  <a:pt x="1609558" y="1242136"/>
                  <a:pt x="1610281" y="1241671"/>
                  <a:pt x="1610694" y="1242291"/>
                </a:cubicBezTo>
                <a:cubicBezTo>
                  <a:pt x="1611417" y="1242601"/>
                  <a:pt x="1611727" y="1242911"/>
                  <a:pt x="1612036" y="1243220"/>
                </a:cubicBezTo>
                <a:cubicBezTo>
                  <a:pt x="1610798" y="1241826"/>
                  <a:pt x="1609868" y="1240277"/>
                  <a:pt x="1609765" y="1238418"/>
                </a:cubicBezTo>
                <a:cubicBezTo>
                  <a:pt x="1612862" y="1239347"/>
                  <a:pt x="1615754" y="1240432"/>
                  <a:pt x="1618955" y="1241207"/>
                </a:cubicBezTo>
                <a:lnTo>
                  <a:pt x="1624634" y="1241826"/>
                </a:lnTo>
                <a:lnTo>
                  <a:pt x="1624943" y="1241361"/>
                </a:lnTo>
                <a:lnTo>
                  <a:pt x="1624530" y="1240432"/>
                </a:lnTo>
                <a:lnTo>
                  <a:pt x="1624324" y="1240432"/>
                </a:lnTo>
                <a:cubicBezTo>
                  <a:pt x="1621949" y="1238573"/>
                  <a:pt x="1619367" y="1239347"/>
                  <a:pt x="1617096" y="1237489"/>
                </a:cubicBezTo>
                <a:cubicBezTo>
                  <a:pt x="1617096" y="1237489"/>
                  <a:pt x="1616993" y="1237489"/>
                  <a:pt x="1617922" y="1236714"/>
                </a:cubicBezTo>
                <a:cubicBezTo>
                  <a:pt x="1619987" y="1237644"/>
                  <a:pt x="1622156" y="1237644"/>
                  <a:pt x="1624221" y="1237799"/>
                </a:cubicBezTo>
                <a:lnTo>
                  <a:pt x="1625460" y="1238263"/>
                </a:lnTo>
                <a:lnTo>
                  <a:pt x="1624634" y="1236250"/>
                </a:lnTo>
                <a:cubicBezTo>
                  <a:pt x="1622878" y="1232067"/>
                  <a:pt x="1620916" y="1228040"/>
                  <a:pt x="1621433" y="1223084"/>
                </a:cubicBezTo>
                <a:lnTo>
                  <a:pt x="1622259" y="1219056"/>
                </a:lnTo>
                <a:lnTo>
                  <a:pt x="1619884" y="1219676"/>
                </a:lnTo>
                <a:lnTo>
                  <a:pt x="1619884" y="1222464"/>
                </a:lnTo>
                <a:cubicBezTo>
                  <a:pt x="1618335" y="1227111"/>
                  <a:pt x="1612862" y="1229899"/>
                  <a:pt x="1608629" y="1227421"/>
                </a:cubicBezTo>
                <a:cubicBezTo>
                  <a:pt x="1608319" y="1226491"/>
                  <a:pt x="1607700" y="1225407"/>
                  <a:pt x="1607287" y="1224168"/>
                </a:cubicBezTo>
                <a:lnTo>
                  <a:pt x="1607183" y="1223548"/>
                </a:lnTo>
                <a:lnTo>
                  <a:pt x="1605428" y="1225252"/>
                </a:lnTo>
                <a:lnTo>
                  <a:pt x="1604705" y="1225407"/>
                </a:lnTo>
                <a:lnTo>
                  <a:pt x="1604396" y="1226336"/>
                </a:lnTo>
                <a:cubicBezTo>
                  <a:pt x="1604396" y="1226336"/>
                  <a:pt x="1604396" y="1226336"/>
                  <a:pt x="1603672" y="1226336"/>
                </a:cubicBezTo>
                <a:lnTo>
                  <a:pt x="1604086" y="1225562"/>
                </a:lnTo>
                <a:lnTo>
                  <a:pt x="1603156" y="1225717"/>
                </a:lnTo>
                <a:lnTo>
                  <a:pt x="1603466" y="1226336"/>
                </a:lnTo>
                <a:cubicBezTo>
                  <a:pt x="1603466" y="1226336"/>
                  <a:pt x="1602743" y="1226646"/>
                  <a:pt x="1601607" y="1226181"/>
                </a:cubicBezTo>
                <a:cubicBezTo>
                  <a:pt x="1601607" y="1226181"/>
                  <a:pt x="1601710" y="1226027"/>
                  <a:pt x="1601917" y="1225872"/>
                </a:cubicBezTo>
                <a:lnTo>
                  <a:pt x="1602743" y="1225717"/>
                </a:lnTo>
                <a:lnTo>
                  <a:pt x="1600059" y="1224013"/>
                </a:lnTo>
                <a:cubicBezTo>
                  <a:pt x="1599336" y="1223084"/>
                  <a:pt x="1599026" y="1221689"/>
                  <a:pt x="1599130" y="1220295"/>
                </a:cubicBezTo>
                <a:cubicBezTo>
                  <a:pt x="1599233" y="1218746"/>
                  <a:pt x="1599955" y="1216888"/>
                  <a:pt x="1601504" y="1215339"/>
                </a:cubicBezTo>
                <a:close/>
                <a:moveTo>
                  <a:pt x="1252292" y="1215029"/>
                </a:moveTo>
                <a:cubicBezTo>
                  <a:pt x="1261481" y="1222154"/>
                  <a:pt x="1264373" y="1234546"/>
                  <a:pt x="1257145" y="1241671"/>
                </a:cubicBezTo>
                <a:cubicBezTo>
                  <a:pt x="1254563" y="1243530"/>
                  <a:pt x="1252085" y="1244459"/>
                  <a:pt x="1249813" y="1244459"/>
                </a:cubicBezTo>
                <a:lnTo>
                  <a:pt x="1245064" y="1242911"/>
                </a:lnTo>
                <a:lnTo>
                  <a:pt x="1244444" y="1243220"/>
                </a:lnTo>
                <a:lnTo>
                  <a:pt x="1244238" y="1242756"/>
                </a:lnTo>
                <a:lnTo>
                  <a:pt x="1243722" y="1242445"/>
                </a:lnTo>
                <a:cubicBezTo>
                  <a:pt x="1240211" y="1239967"/>
                  <a:pt x="1238042" y="1235166"/>
                  <a:pt x="1238352" y="1230054"/>
                </a:cubicBezTo>
                <a:cubicBezTo>
                  <a:pt x="1238765" y="1224168"/>
                  <a:pt x="1242689" y="1217972"/>
                  <a:pt x="1252292" y="1215029"/>
                </a:cubicBezTo>
                <a:close/>
                <a:moveTo>
                  <a:pt x="4149520" y="1214976"/>
                </a:moveTo>
                <a:cubicBezTo>
                  <a:pt x="4149733" y="1216257"/>
                  <a:pt x="4150160" y="1218675"/>
                  <a:pt x="4152508" y="1219671"/>
                </a:cubicBezTo>
                <a:cubicBezTo>
                  <a:pt x="4150587" y="1222232"/>
                  <a:pt x="4148666" y="1224650"/>
                  <a:pt x="4146106" y="1222374"/>
                </a:cubicBezTo>
                <a:cubicBezTo>
                  <a:pt x="4144611" y="1221236"/>
                  <a:pt x="4143331" y="1220240"/>
                  <a:pt x="4143118" y="1217822"/>
                </a:cubicBezTo>
                <a:cubicBezTo>
                  <a:pt x="4145038" y="1215261"/>
                  <a:pt x="4148666" y="1216257"/>
                  <a:pt x="4149520" y="1214976"/>
                </a:cubicBezTo>
                <a:close/>
                <a:moveTo>
                  <a:pt x="908345" y="1214719"/>
                </a:moveTo>
                <a:cubicBezTo>
                  <a:pt x="911236" y="1213015"/>
                  <a:pt x="912785" y="1215029"/>
                  <a:pt x="915366" y="1217043"/>
                </a:cubicBezTo>
                <a:cubicBezTo>
                  <a:pt x="914540" y="1218746"/>
                  <a:pt x="915263" y="1221225"/>
                  <a:pt x="913508" y="1222774"/>
                </a:cubicBezTo>
                <a:cubicBezTo>
                  <a:pt x="913508" y="1222774"/>
                  <a:pt x="912682" y="1223393"/>
                  <a:pt x="910927" y="1223239"/>
                </a:cubicBezTo>
                <a:cubicBezTo>
                  <a:pt x="908345" y="1224633"/>
                  <a:pt x="905764" y="1221999"/>
                  <a:pt x="905764" y="1221999"/>
                </a:cubicBezTo>
                <a:cubicBezTo>
                  <a:pt x="905764" y="1221999"/>
                  <a:pt x="905764" y="1221999"/>
                  <a:pt x="905764" y="1222774"/>
                </a:cubicBezTo>
                <a:cubicBezTo>
                  <a:pt x="905764" y="1221070"/>
                  <a:pt x="904938" y="1219366"/>
                  <a:pt x="904938" y="1217662"/>
                </a:cubicBezTo>
                <a:cubicBezTo>
                  <a:pt x="906280" y="1216113"/>
                  <a:pt x="907313" y="1215184"/>
                  <a:pt x="908345" y="1214719"/>
                </a:cubicBezTo>
                <a:close/>
                <a:moveTo>
                  <a:pt x="3661429" y="1214549"/>
                </a:moveTo>
                <a:cubicBezTo>
                  <a:pt x="3663137" y="1214976"/>
                  <a:pt x="3663777" y="1216114"/>
                  <a:pt x="3663777" y="1216114"/>
                </a:cubicBezTo>
                <a:cubicBezTo>
                  <a:pt x="3663990" y="1220383"/>
                  <a:pt x="3662709" y="1224224"/>
                  <a:pt x="3657801" y="1222943"/>
                </a:cubicBezTo>
                <a:cubicBezTo>
                  <a:pt x="3656307" y="1222517"/>
                  <a:pt x="3654600" y="1222090"/>
                  <a:pt x="3655667" y="1221521"/>
                </a:cubicBezTo>
                <a:cubicBezTo>
                  <a:pt x="3654813" y="1220525"/>
                  <a:pt x="3655880" y="1219814"/>
                  <a:pt x="3656093" y="1218249"/>
                </a:cubicBezTo>
                <a:cubicBezTo>
                  <a:pt x="3657161" y="1215972"/>
                  <a:pt x="3659935" y="1214123"/>
                  <a:pt x="3661429" y="1214549"/>
                </a:cubicBezTo>
                <a:close/>
                <a:moveTo>
                  <a:pt x="3642648" y="1214407"/>
                </a:moveTo>
                <a:cubicBezTo>
                  <a:pt x="3646917" y="1216826"/>
                  <a:pt x="3647557" y="1223085"/>
                  <a:pt x="3646063" y="1227212"/>
                </a:cubicBezTo>
                <a:lnTo>
                  <a:pt x="3645209" y="1228350"/>
                </a:lnTo>
                <a:lnTo>
                  <a:pt x="3645209" y="1231622"/>
                </a:lnTo>
                <a:cubicBezTo>
                  <a:pt x="3644355" y="1232902"/>
                  <a:pt x="3643075" y="1233756"/>
                  <a:pt x="3640727" y="1233471"/>
                </a:cubicBezTo>
                <a:cubicBezTo>
                  <a:pt x="3637526" y="1233044"/>
                  <a:pt x="3635819" y="1231195"/>
                  <a:pt x="3634965" y="1228777"/>
                </a:cubicBezTo>
                <a:lnTo>
                  <a:pt x="3634538" y="1223370"/>
                </a:lnTo>
                <a:lnTo>
                  <a:pt x="3632617" y="1224935"/>
                </a:lnTo>
                <a:cubicBezTo>
                  <a:pt x="3629843" y="1226500"/>
                  <a:pt x="3628989" y="1224082"/>
                  <a:pt x="3627068" y="1220240"/>
                </a:cubicBezTo>
                <a:cubicBezTo>
                  <a:pt x="3628989" y="1218533"/>
                  <a:pt x="3630484" y="1218106"/>
                  <a:pt x="3631977" y="1218533"/>
                </a:cubicBezTo>
                <a:lnTo>
                  <a:pt x="3634324" y="1220667"/>
                </a:lnTo>
                <a:lnTo>
                  <a:pt x="3634111" y="1219814"/>
                </a:lnTo>
                <a:cubicBezTo>
                  <a:pt x="3636672" y="1219387"/>
                  <a:pt x="3638380" y="1217964"/>
                  <a:pt x="3640941" y="1217537"/>
                </a:cubicBezTo>
                <a:close/>
                <a:moveTo>
                  <a:pt x="4848257" y="1214123"/>
                </a:moveTo>
                <a:cubicBezTo>
                  <a:pt x="4850390" y="1214407"/>
                  <a:pt x="4852525" y="1215403"/>
                  <a:pt x="4854019" y="1217679"/>
                </a:cubicBezTo>
                <a:cubicBezTo>
                  <a:pt x="4846762" y="1220667"/>
                  <a:pt x="4839079" y="1226073"/>
                  <a:pt x="4830969" y="1226642"/>
                </a:cubicBezTo>
                <a:cubicBezTo>
                  <a:pt x="4833531" y="1220525"/>
                  <a:pt x="4841640" y="1213411"/>
                  <a:pt x="4848257" y="1214123"/>
                </a:cubicBezTo>
                <a:close/>
                <a:moveTo>
                  <a:pt x="1689892" y="1213325"/>
                </a:moveTo>
                <a:cubicBezTo>
                  <a:pt x="1691027" y="1214719"/>
                  <a:pt x="1693402" y="1216888"/>
                  <a:pt x="1693815" y="1218591"/>
                </a:cubicBezTo>
                <a:cubicBezTo>
                  <a:pt x="1693918" y="1219211"/>
                  <a:pt x="1693815" y="1219676"/>
                  <a:pt x="1693299" y="1220141"/>
                </a:cubicBezTo>
                <a:cubicBezTo>
                  <a:pt x="1692163" y="1218901"/>
                  <a:pt x="1690098" y="1217507"/>
                  <a:pt x="1689685" y="1215494"/>
                </a:cubicBezTo>
                <a:cubicBezTo>
                  <a:pt x="1689478" y="1214874"/>
                  <a:pt x="1689478" y="1214255"/>
                  <a:pt x="1689892" y="1213325"/>
                </a:cubicBezTo>
                <a:close/>
                <a:moveTo>
                  <a:pt x="4321963" y="1212558"/>
                </a:moveTo>
                <a:cubicBezTo>
                  <a:pt x="4323244" y="1212273"/>
                  <a:pt x="4324311" y="1212273"/>
                  <a:pt x="4325378" y="1212558"/>
                </a:cubicBezTo>
                <a:cubicBezTo>
                  <a:pt x="4327512" y="1213127"/>
                  <a:pt x="4329006" y="1214692"/>
                  <a:pt x="4329646" y="1216683"/>
                </a:cubicBezTo>
                <a:cubicBezTo>
                  <a:pt x="4331140" y="1220809"/>
                  <a:pt x="4329646" y="1226642"/>
                  <a:pt x="4323670" y="1229630"/>
                </a:cubicBezTo>
                <a:cubicBezTo>
                  <a:pt x="4319189" y="1228065"/>
                  <a:pt x="4316841" y="1225362"/>
                  <a:pt x="4314921" y="1223797"/>
                </a:cubicBezTo>
                <a:cubicBezTo>
                  <a:pt x="4316201" y="1220525"/>
                  <a:pt x="4316414" y="1217822"/>
                  <a:pt x="4317695" y="1214549"/>
                </a:cubicBezTo>
                <a:cubicBezTo>
                  <a:pt x="4319189" y="1213554"/>
                  <a:pt x="4320683" y="1212842"/>
                  <a:pt x="4321963" y="1212558"/>
                </a:cubicBezTo>
                <a:close/>
                <a:moveTo>
                  <a:pt x="3621520" y="1212558"/>
                </a:moveTo>
                <a:cubicBezTo>
                  <a:pt x="3622587" y="1212842"/>
                  <a:pt x="3623653" y="1213411"/>
                  <a:pt x="3624721" y="1214692"/>
                </a:cubicBezTo>
                <a:cubicBezTo>
                  <a:pt x="3626001" y="1214692"/>
                  <a:pt x="3627282" y="1219529"/>
                  <a:pt x="3626215" y="1220667"/>
                </a:cubicBezTo>
                <a:cubicBezTo>
                  <a:pt x="3624081" y="1224224"/>
                  <a:pt x="3620453" y="1221663"/>
                  <a:pt x="3615971" y="1220240"/>
                </a:cubicBezTo>
                <a:cubicBezTo>
                  <a:pt x="3617038" y="1219103"/>
                  <a:pt x="3615971" y="1217822"/>
                  <a:pt x="3614690" y="1216541"/>
                </a:cubicBezTo>
                <a:cubicBezTo>
                  <a:pt x="3616397" y="1214834"/>
                  <a:pt x="3618532" y="1211846"/>
                  <a:pt x="3621520" y="1212558"/>
                </a:cubicBezTo>
                <a:close/>
                <a:moveTo>
                  <a:pt x="4698222" y="1212131"/>
                </a:moveTo>
                <a:cubicBezTo>
                  <a:pt x="4701210" y="1213981"/>
                  <a:pt x="4704198" y="1215830"/>
                  <a:pt x="4704412" y="1218533"/>
                </a:cubicBezTo>
                <a:cubicBezTo>
                  <a:pt x="4704412" y="1219529"/>
                  <a:pt x="4704198" y="1220525"/>
                  <a:pt x="4703558" y="1221663"/>
                </a:cubicBezTo>
                <a:cubicBezTo>
                  <a:pt x="4697796" y="1223228"/>
                  <a:pt x="4693527" y="1218391"/>
                  <a:pt x="4698222" y="1212131"/>
                </a:cubicBezTo>
                <a:close/>
                <a:moveTo>
                  <a:pt x="3466364" y="1211704"/>
                </a:moveTo>
                <a:cubicBezTo>
                  <a:pt x="3467644" y="1211846"/>
                  <a:pt x="3468924" y="1212558"/>
                  <a:pt x="3470419" y="1213981"/>
                </a:cubicBezTo>
                <a:cubicBezTo>
                  <a:pt x="3469138" y="1218675"/>
                  <a:pt x="3461241" y="1221521"/>
                  <a:pt x="3454412" y="1224793"/>
                </a:cubicBezTo>
                <a:cubicBezTo>
                  <a:pt x="3453558" y="1221663"/>
                  <a:pt x="3453131" y="1220098"/>
                  <a:pt x="3451638" y="1217964"/>
                </a:cubicBezTo>
                <a:cubicBezTo>
                  <a:pt x="3458680" y="1215546"/>
                  <a:pt x="3462309" y="1211277"/>
                  <a:pt x="3466364" y="1211704"/>
                </a:cubicBezTo>
                <a:close/>
                <a:moveTo>
                  <a:pt x="1483069" y="1211621"/>
                </a:moveTo>
                <a:cubicBezTo>
                  <a:pt x="1488955" y="1212086"/>
                  <a:pt x="1486477" y="1218437"/>
                  <a:pt x="1484102" y="1219366"/>
                </a:cubicBezTo>
                <a:cubicBezTo>
                  <a:pt x="1481521" y="1219056"/>
                  <a:pt x="1480694" y="1217198"/>
                  <a:pt x="1480798" y="1215494"/>
                </a:cubicBezTo>
                <a:cubicBezTo>
                  <a:pt x="1480901" y="1213790"/>
                  <a:pt x="1481933" y="1212086"/>
                  <a:pt x="1483069" y="1211621"/>
                </a:cubicBezTo>
                <a:close/>
                <a:moveTo>
                  <a:pt x="1402736" y="1211156"/>
                </a:moveTo>
                <a:cubicBezTo>
                  <a:pt x="1403665" y="1211156"/>
                  <a:pt x="1404595" y="1211311"/>
                  <a:pt x="1405421" y="1212086"/>
                </a:cubicBezTo>
                <a:cubicBezTo>
                  <a:pt x="1408828" y="1214874"/>
                  <a:pt x="1408931" y="1220141"/>
                  <a:pt x="1406247" y="1224943"/>
                </a:cubicBezTo>
                <a:lnTo>
                  <a:pt x="1405524" y="1225717"/>
                </a:lnTo>
                <a:lnTo>
                  <a:pt x="1415127" y="1229589"/>
                </a:lnTo>
                <a:lnTo>
                  <a:pt x="1417915" y="1230518"/>
                </a:lnTo>
                <a:lnTo>
                  <a:pt x="1418844" y="1229899"/>
                </a:lnTo>
                <a:cubicBezTo>
                  <a:pt x="1419876" y="1229434"/>
                  <a:pt x="1421012" y="1229279"/>
                  <a:pt x="1421942" y="1228350"/>
                </a:cubicBezTo>
                <a:cubicBezTo>
                  <a:pt x="1422251" y="1229124"/>
                  <a:pt x="1422871" y="1230209"/>
                  <a:pt x="1423077" y="1231448"/>
                </a:cubicBezTo>
                <a:lnTo>
                  <a:pt x="1422974" y="1232067"/>
                </a:lnTo>
                <a:lnTo>
                  <a:pt x="1423284" y="1232223"/>
                </a:lnTo>
                <a:lnTo>
                  <a:pt x="1422974" y="1232378"/>
                </a:lnTo>
                <a:lnTo>
                  <a:pt x="1422974" y="1233617"/>
                </a:lnTo>
                <a:cubicBezTo>
                  <a:pt x="1422664" y="1234391"/>
                  <a:pt x="1422251" y="1235166"/>
                  <a:pt x="1421529" y="1236095"/>
                </a:cubicBezTo>
                <a:cubicBezTo>
                  <a:pt x="1420703" y="1237024"/>
                  <a:pt x="1420599" y="1237024"/>
                  <a:pt x="1419773" y="1237024"/>
                </a:cubicBezTo>
                <a:cubicBezTo>
                  <a:pt x="1418844" y="1237489"/>
                  <a:pt x="1418121" y="1237954"/>
                  <a:pt x="1417502" y="1238263"/>
                </a:cubicBezTo>
                <a:lnTo>
                  <a:pt x="1417089" y="1238263"/>
                </a:lnTo>
                <a:lnTo>
                  <a:pt x="1416263" y="1239347"/>
                </a:lnTo>
                <a:cubicBezTo>
                  <a:pt x="1414610" y="1241981"/>
                  <a:pt x="1413578" y="1245079"/>
                  <a:pt x="1412442" y="1247867"/>
                </a:cubicBezTo>
                <a:lnTo>
                  <a:pt x="1413991" y="1248642"/>
                </a:lnTo>
                <a:cubicBezTo>
                  <a:pt x="1415024" y="1249880"/>
                  <a:pt x="1415746" y="1251275"/>
                  <a:pt x="1416985" y="1252204"/>
                </a:cubicBezTo>
                <a:cubicBezTo>
                  <a:pt x="1414920" y="1255302"/>
                  <a:pt x="1412029" y="1256232"/>
                  <a:pt x="1409861" y="1255767"/>
                </a:cubicBezTo>
                <a:lnTo>
                  <a:pt x="1408208" y="1254837"/>
                </a:lnTo>
                <a:lnTo>
                  <a:pt x="1406969" y="1256232"/>
                </a:lnTo>
                <a:cubicBezTo>
                  <a:pt x="1405937" y="1257006"/>
                  <a:pt x="1404698" y="1257780"/>
                  <a:pt x="1403252" y="1258400"/>
                </a:cubicBezTo>
                <a:cubicBezTo>
                  <a:pt x="1400464" y="1259484"/>
                  <a:pt x="1397883" y="1260104"/>
                  <a:pt x="1395405" y="1260104"/>
                </a:cubicBezTo>
                <a:lnTo>
                  <a:pt x="1391481" y="1259175"/>
                </a:lnTo>
                <a:lnTo>
                  <a:pt x="1391275" y="1259484"/>
                </a:lnTo>
                <a:cubicBezTo>
                  <a:pt x="1389932" y="1260259"/>
                  <a:pt x="1387661" y="1260259"/>
                  <a:pt x="1385079" y="1258865"/>
                </a:cubicBezTo>
                <a:lnTo>
                  <a:pt x="1386318" y="1256851"/>
                </a:lnTo>
                <a:lnTo>
                  <a:pt x="1383324" y="1254682"/>
                </a:lnTo>
                <a:lnTo>
                  <a:pt x="1381465" y="1251739"/>
                </a:lnTo>
                <a:lnTo>
                  <a:pt x="1379090" y="1250965"/>
                </a:lnTo>
                <a:lnTo>
                  <a:pt x="1379607" y="1253289"/>
                </a:lnTo>
                <a:cubicBezTo>
                  <a:pt x="1379503" y="1254063"/>
                  <a:pt x="1378987" y="1255147"/>
                  <a:pt x="1378058" y="1256232"/>
                </a:cubicBezTo>
                <a:cubicBezTo>
                  <a:pt x="1375476" y="1256386"/>
                  <a:pt x="1371243" y="1253134"/>
                  <a:pt x="1371346" y="1250655"/>
                </a:cubicBezTo>
                <a:cubicBezTo>
                  <a:pt x="1372275" y="1249880"/>
                  <a:pt x="1373205" y="1248951"/>
                  <a:pt x="1374031" y="1248177"/>
                </a:cubicBezTo>
                <a:lnTo>
                  <a:pt x="1375270" y="1248796"/>
                </a:lnTo>
                <a:lnTo>
                  <a:pt x="1371553" y="1246008"/>
                </a:lnTo>
                <a:cubicBezTo>
                  <a:pt x="1367938" y="1242445"/>
                  <a:pt x="1365873" y="1237799"/>
                  <a:pt x="1366493" y="1232687"/>
                </a:cubicBezTo>
                <a:cubicBezTo>
                  <a:pt x="1366906" y="1230209"/>
                  <a:pt x="1367938" y="1227421"/>
                  <a:pt x="1369900" y="1224633"/>
                </a:cubicBezTo>
                <a:cubicBezTo>
                  <a:pt x="1371346" y="1222774"/>
                  <a:pt x="1373102" y="1221535"/>
                  <a:pt x="1375063" y="1220450"/>
                </a:cubicBezTo>
                <a:lnTo>
                  <a:pt x="1379710" y="1218901"/>
                </a:lnTo>
                <a:lnTo>
                  <a:pt x="1380639" y="1217507"/>
                </a:lnTo>
                <a:lnTo>
                  <a:pt x="1381259" y="1218282"/>
                </a:lnTo>
                <a:lnTo>
                  <a:pt x="1385286" y="1216888"/>
                </a:lnTo>
                <a:cubicBezTo>
                  <a:pt x="1389106" y="1215803"/>
                  <a:pt x="1393133" y="1214564"/>
                  <a:pt x="1397160" y="1212551"/>
                </a:cubicBezTo>
                <a:lnTo>
                  <a:pt x="1397057" y="1213945"/>
                </a:lnTo>
                <a:lnTo>
                  <a:pt x="1397986" y="1213170"/>
                </a:lnTo>
                <a:cubicBezTo>
                  <a:pt x="1399638" y="1211931"/>
                  <a:pt x="1401291" y="1211156"/>
                  <a:pt x="1402736" y="1211156"/>
                </a:cubicBezTo>
                <a:close/>
                <a:moveTo>
                  <a:pt x="3515877" y="1211135"/>
                </a:moveTo>
                <a:cubicBezTo>
                  <a:pt x="3520786" y="1211419"/>
                  <a:pt x="3525907" y="1214834"/>
                  <a:pt x="3528895" y="1218675"/>
                </a:cubicBezTo>
                <a:lnTo>
                  <a:pt x="3529962" y="1220952"/>
                </a:lnTo>
                <a:lnTo>
                  <a:pt x="3534658" y="1218675"/>
                </a:lnTo>
                <a:cubicBezTo>
                  <a:pt x="3534871" y="1219529"/>
                  <a:pt x="3534445" y="1219956"/>
                  <a:pt x="3533804" y="1220383"/>
                </a:cubicBezTo>
                <a:cubicBezTo>
                  <a:pt x="3533377" y="1220809"/>
                  <a:pt x="3532523" y="1221094"/>
                  <a:pt x="3531670" y="1221236"/>
                </a:cubicBezTo>
                <a:lnTo>
                  <a:pt x="3530390" y="1221663"/>
                </a:lnTo>
                <a:lnTo>
                  <a:pt x="3531457" y="1223940"/>
                </a:lnTo>
                <a:cubicBezTo>
                  <a:pt x="3529322" y="1229061"/>
                  <a:pt x="3526334" y="1231764"/>
                  <a:pt x="3523133" y="1232760"/>
                </a:cubicBezTo>
                <a:cubicBezTo>
                  <a:pt x="3513956" y="1235748"/>
                  <a:pt x="3504352" y="1222943"/>
                  <a:pt x="3511395" y="1211989"/>
                </a:cubicBezTo>
                <a:cubicBezTo>
                  <a:pt x="3512676" y="1211277"/>
                  <a:pt x="3514383" y="1210993"/>
                  <a:pt x="3515877" y="1211135"/>
                </a:cubicBezTo>
                <a:close/>
                <a:moveTo>
                  <a:pt x="4089122" y="1210993"/>
                </a:moveTo>
                <a:cubicBezTo>
                  <a:pt x="4089763" y="1211277"/>
                  <a:pt x="4090403" y="1212131"/>
                  <a:pt x="4090830" y="1213838"/>
                </a:cubicBezTo>
                <a:lnTo>
                  <a:pt x="4091043" y="1214549"/>
                </a:lnTo>
                <a:lnTo>
                  <a:pt x="4093177" y="1213554"/>
                </a:lnTo>
                <a:cubicBezTo>
                  <a:pt x="4093177" y="1214692"/>
                  <a:pt x="4093177" y="1215972"/>
                  <a:pt x="4094458" y="1215972"/>
                </a:cubicBezTo>
                <a:lnTo>
                  <a:pt x="4092110" y="1217822"/>
                </a:lnTo>
                <a:lnTo>
                  <a:pt x="4092324" y="1218818"/>
                </a:lnTo>
                <a:lnTo>
                  <a:pt x="4092110" y="1222659"/>
                </a:lnTo>
                <a:lnTo>
                  <a:pt x="4092324" y="1223085"/>
                </a:lnTo>
                <a:cubicBezTo>
                  <a:pt x="4092324" y="1223085"/>
                  <a:pt x="4097232" y="1229203"/>
                  <a:pt x="4092750" y="1234894"/>
                </a:cubicBezTo>
                <a:cubicBezTo>
                  <a:pt x="4091683" y="1233756"/>
                  <a:pt x="4085068" y="1240585"/>
                  <a:pt x="4080159" y="1238024"/>
                </a:cubicBezTo>
                <a:cubicBezTo>
                  <a:pt x="4077811" y="1236743"/>
                  <a:pt x="4076744" y="1235463"/>
                  <a:pt x="4074183" y="1234183"/>
                </a:cubicBezTo>
                <a:lnTo>
                  <a:pt x="4073542" y="1230910"/>
                </a:lnTo>
                <a:lnTo>
                  <a:pt x="4066926" y="1228350"/>
                </a:lnTo>
                <a:cubicBezTo>
                  <a:pt x="4065646" y="1227212"/>
                  <a:pt x="4062658" y="1222517"/>
                  <a:pt x="4063512" y="1221236"/>
                </a:cubicBezTo>
                <a:cubicBezTo>
                  <a:pt x="4064579" y="1219956"/>
                  <a:pt x="4065646" y="1219956"/>
                  <a:pt x="4066713" y="1219814"/>
                </a:cubicBezTo>
                <a:lnTo>
                  <a:pt x="4073542" y="1222801"/>
                </a:lnTo>
                <a:lnTo>
                  <a:pt x="4074823" y="1219814"/>
                </a:lnTo>
                <a:cubicBezTo>
                  <a:pt x="4076104" y="1218106"/>
                  <a:pt x="4077597" y="1217253"/>
                  <a:pt x="4079092" y="1216826"/>
                </a:cubicBezTo>
                <a:lnTo>
                  <a:pt x="4080585" y="1216826"/>
                </a:lnTo>
                <a:lnTo>
                  <a:pt x="4080372" y="1215546"/>
                </a:lnTo>
                <a:lnTo>
                  <a:pt x="4084000" y="1213554"/>
                </a:lnTo>
                <a:lnTo>
                  <a:pt x="4085281" y="1211419"/>
                </a:lnTo>
                <a:cubicBezTo>
                  <a:pt x="4086988" y="1210993"/>
                  <a:pt x="4088268" y="1210708"/>
                  <a:pt x="4089122" y="1210993"/>
                </a:cubicBezTo>
                <a:close/>
                <a:moveTo>
                  <a:pt x="1517557" y="1210847"/>
                </a:moveTo>
                <a:cubicBezTo>
                  <a:pt x="1518280" y="1210382"/>
                  <a:pt x="1519209" y="1211776"/>
                  <a:pt x="1519209" y="1211776"/>
                </a:cubicBezTo>
                <a:cubicBezTo>
                  <a:pt x="1519312" y="1213635"/>
                  <a:pt x="1516628" y="1214410"/>
                  <a:pt x="1515182" y="1215339"/>
                </a:cubicBezTo>
                <a:cubicBezTo>
                  <a:pt x="1515389" y="1217198"/>
                  <a:pt x="1511362" y="1215958"/>
                  <a:pt x="1511465" y="1217817"/>
                </a:cubicBezTo>
                <a:cubicBezTo>
                  <a:pt x="1506715" y="1217043"/>
                  <a:pt x="1505269" y="1222929"/>
                  <a:pt x="1497732" y="1222929"/>
                </a:cubicBezTo>
                <a:lnTo>
                  <a:pt x="1502172" y="1219056"/>
                </a:lnTo>
                <a:lnTo>
                  <a:pt x="1501656" y="1216888"/>
                </a:lnTo>
                <a:cubicBezTo>
                  <a:pt x="1502068" y="1215803"/>
                  <a:pt x="1503101" y="1214874"/>
                  <a:pt x="1504546" y="1213635"/>
                </a:cubicBezTo>
                <a:cubicBezTo>
                  <a:pt x="1505166" y="1214874"/>
                  <a:pt x="1505269" y="1215958"/>
                  <a:pt x="1504857" y="1217043"/>
                </a:cubicBezTo>
                <a:lnTo>
                  <a:pt x="1504650" y="1217507"/>
                </a:lnTo>
                <a:lnTo>
                  <a:pt x="1509193" y="1214874"/>
                </a:lnTo>
                <a:cubicBezTo>
                  <a:pt x="1511258" y="1213790"/>
                  <a:pt x="1513117" y="1212551"/>
                  <a:pt x="1514459" y="1211002"/>
                </a:cubicBezTo>
                <a:cubicBezTo>
                  <a:pt x="1514459" y="1211002"/>
                  <a:pt x="1514459" y="1211002"/>
                  <a:pt x="1516834" y="1211311"/>
                </a:cubicBezTo>
                <a:cubicBezTo>
                  <a:pt x="1517557" y="1210847"/>
                  <a:pt x="1517557" y="1210847"/>
                  <a:pt x="1517557" y="1210847"/>
                </a:cubicBezTo>
                <a:close/>
                <a:moveTo>
                  <a:pt x="4492699" y="1210282"/>
                </a:moveTo>
                <a:cubicBezTo>
                  <a:pt x="4495473" y="1212131"/>
                  <a:pt x="4499102" y="1214407"/>
                  <a:pt x="4500168" y="1216541"/>
                </a:cubicBezTo>
                <a:cubicBezTo>
                  <a:pt x="4497821" y="1216399"/>
                  <a:pt x="4493553" y="1214976"/>
                  <a:pt x="4492912" y="1211846"/>
                </a:cubicBezTo>
                <a:cubicBezTo>
                  <a:pt x="4492912" y="1211846"/>
                  <a:pt x="4492912" y="1211989"/>
                  <a:pt x="4492699" y="1210282"/>
                </a:cubicBezTo>
                <a:close/>
                <a:moveTo>
                  <a:pt x="4290804" y="1210282"/>
                </a:moveTo>
                <a:cubicBezTo>
                  <a:pt x="4298487" y="1211562"/>
                  <a:pt x="4308304" y="1217822"/>
                  <a:pt x="4309585" y="1221521"/>
                </a:cubicBezTo>
                <a:cubicBezTo>
                  <a:pt x="4304890" y="1222943"/>
                  <a:pt x="4301262" y="1219529"/>
                  <a:pt x="4295712" y="1220240"/>
                </a:cubicBezTo>
                <a:cubicBezTo>
                  <a:pt x="4293579" y="1216399"/>
                  <a:pt x="4286749" y="1216541"/>
                  <a:pt x="4283974" y="1210993"/>
                </a:cubicBezTo>
                <a:cubicBezTo>
                  <a:pt x="4285895" y="1209997"/>
                  <a:pt x="4288243" y="1209855"/>
                  <a:pt x="4290804" y="1210282"/>
                </a:cubicBezTo>
                <a:close/>
                <a:moveTo>
                  <a:pt x="4124337" y="1209286"/>
                </a:moveTo>
                <a:cubicBezTo>
                  <a:pt x="4126897" y="1209855"/>
                  <a:pt x="4129032" y="1209286"/>
                  <a:pt x="4131593" y="1209855"/>
                </a:cubicBezTo>
                <a:cubicBezTo>
                  <a:pt x="4134367" y="1212842"/>
                  <a:pt x="4134367" y="1221663"/>
                  <a:pt x="4130739" y="1224224"/>
                </a:cubicBezTo>
                <a:cubicBezTo>
                  <a:pt x="4129459" y="1225077"/>
                  <a:pt x="4127751" y="1225077"/>
                  <a:pt x="4125831" y="1224082"/>
                </a:cubicBezTo>
                <a:cubicBezTo>
                  <a:pt x="4119855" y="1220667"/>
                  <a:pt x="4121562" y="1215119"/>
                  <a:pt x="4124337" y="1209286"/>
                </a:cubicBezTo>
                <a:close/>
                <a:moveTo>
                  <a:pt x="4105982" y="1209001"/>
                </a:moveTo>
                <a:cubicBezTo>
                  <a:pt x="4110251" y="1209570"/>
                  <a:pt x="4116440" y="1213269"/>
                  <a:pt x="4119428" y="1215688"/>
                </a:cubicBezTo>
                <a:cubicBezTo>
                  <a:pt x="4116226" y="1218249"/>
                  <a:pt x="4106410" y="1212984"/>
                  <a:pt x="4102567" y="1209570"/>
                </a:cubicBezTo>
                <a:cubicBezTo>
                  <a:pt x="4103421" y="1209001"/>
                  <a:pt x="4104702" y="1208859"/>
                  <a:pt x="4105982" y="1209001"/>
                </a:cubicBezTo>
                <a:close/>
                <a:moveTo>
                  <a:pt x="3439046" y="1209001"/>
                </a:moveTo>
                <a:cubicBezTo>
                  <a:pt x="3440540" y="1209143"/>
                  <a:pt x="3441607" y="1209997"/>
                  <a:pt x="3442674" y="1211277"/>
                </a:cubicBezTo>
                <a:cubicBezTo>
                  <a:pt x="3444381" y="1213696"/>
                  <a:pt x="3444594" y="1217253"/>
                  <a:pt x="3440967" y="1218106"/>
                </a:cubicBezTo>
                <a:cubicBezTo>
                  <a:pt x="3438832" y="1216826"/>
                  <a:pt x="3437125" y="1214123"/>
                  <a:pt x="3435204" y="1211562"/>
                </a:cubicBezTo>
                <a:cubicBezTo>
                  <a:pt x="3436485" y="1209570"/>
                  <a:pt x="3437765" y="1208859"/>
                  <a:pt x="3439046" y="1209001"/>
                </a:cubicBezTo>
                <a:close/>
                <a:moveTo>
                  <a:pt x="5754650" y="1208005"/>
                </a:moveTo>
                <a:cubicBezTo>
                  <a:pt x="5755930" y="1208147"/>
                  <a:pt x="5756998" y="1209001"/>
                  <a:pt x="5758065" y="1210282"/>
                </a:cubicBezTo>
                <a:cubicBezTo>
                  <a:pt x="5759985" y="1212700"/>
                  <a:pt x="5758705" y="1214976"/>
                  <a:pt x="5758705" y="1214976"/>
                </a:cubicBezTo>
                <a:cubicBezTo>
                  <a:pt x="5755930" y="1218533"/>
                  <a:pt x="5752302" y="1219671"/>
                  <a:pt x="5749101" y="1217111"/>
                </a:cubicBezTo>
                <a:cubicBezTo>
                  <a:pt x="5748247" y="1214834"/>
                  <a:pt x="5749742" y="1212416"/>
                  <a:pt x="5751022" y="1210139"/>
                </a:cubicBezTo>
                <a:cubicBezTo>
                  <a:pt x="5752302" y="1208290"/>
                  <a:pt x="5753583" y="1207720"/>
                  <a:pt x="5754650" y="1208005"/>
                </a:cubicBezTo>
                <a:close/>
                <a:moveTo>
                  <a:pt x="4015492" y="1207436"/>
                </a:moveTo>
                <a:cubicBezTo>
                  <a:pt x="4016773" y="1208574"/>
                  <a:pt x="4018480" y="1210851"/>
                  <a:pt x="4016346" y="1213411"/>
                </a:cubicBezTo>
                <a:cubicBezTo>
                  <a:pt x="4015492" y="1215119"/>
                  <a:pt x="4014212" y="1216114"/>
                  <a:pt x="4012504" y="1216541"/>
                </a:cubicBezTo>
                <a:lnTo>
                  <a:pt x="4010371" y="1216399"/>
                </a:lnTo>
                <a:lnTo>
                  <a:pt x="4011011" y="1217111"/>
                </a:lnTo>
                <a:cubicBezTo>
                  <a:pt x="4010584" y="1218106"/>
                  <a:pt x="4011651" y="1218675"/>
                  <a:pt x="4009943" y="1219103"/>
                </a:cubicBezTo>
                <a:cubicBezTo>
                  <a:pt x="4012291" y="1223085"/>
                  <a:pt x="4011011" y="1234325"/>
                  <a:pt x="4008023" y="1238024"/>
                </a:cubicBezTo>
                <a:cubicBezTo>
                  <a:pt x="4003327" y="1228350"/>
                  <a:pt x="4006956" y="1224082"/>
                  <a:pt x="4007596" y="1219529"/>
                </a:cubicBezTo>
                <a:lnTo>
                  <a:pt x="4007169" y="1216683"/>
                </a:lnTo>
                <a:lnTo>
                  <a:pt x="4004821" y="1218533"/>
                </a:lnTo>
                <a:cubicBezTo>
                  <a:pt x="4003968" y="1219103"/>
                  <a:pt x="4003114" y="1219529"/>
                  <a:pt x="4001833" y="1218960"/>
                </a:cubicBezTo>
                <a:lnTo>
                  <a:pt x="4006743" y="1214976"/>
                </a:lnTo>
                <a:lnTo>
                  <a:pt x="4006743" y="1214692"/>
                </a:lnTo>
                <a:lnTo>
                  <a:pt x="4007169" y="1214692"/>
                </a:lnTo>
                <a:lnTo>
                  <a:pt x="4008236" y="1213838"/>
                </a:lnTo>
                <a:cubicBezTo>
                  <a:pt x="4008023" y="1212700"/>
                  <a:pt x="4008023" y="1211419"/>
                  <a:pt x="4008876" y="1210282"/>
                </a:cubicBezTo>
                <a:cubicBezTo>
                  <a:pt x="4011011" y="1207720"/>
                  <a:pt x="4013358" y="1208859"/>
                  <a:pt x="4015492" y="1207436"/>
                </a:cubicBezTo>
                <a:close/>
                <a:moveTo>
                  <a:pt x="5026462" y="1207009"/>
                </a:moveTo>
                <a:cubicBezTo>
                  <a:pt x="5026676" y="1208290"/>
                  <a:pt x="5026889" y="1209428"/>
                  <a:pt x="5027956" y="1209428"/>
                </a:cubicBezTo>
                <a:cubicBezTo>
                  <a:pt x="5026035" y="1211846"/>
                  <a:pt x="5024968" y="1211989"/>
                  <a:pt x="5023901" y="1213127"/>
                </a:cubicBezTo>
                <a:cubicBezTo>
                  <a:pt x="5024968" y="1213127"/>
                  <a:pt x="5024114" y="1214407"/>
                  <a:pt x="5024114" y="1214407"/>
                </a:cubicBezTo>
                <a:cubicBezTo>
                  <a:pt x="5024114" y="1214407"/>
                  <a:pt x="5023901" y="1214407"/>
                  <a:pt x="5026676" y="1216683"/>
                </a:cubicBezTo>
                <a:cubicBezTo>
                  <a:pt x="5026676" y="1216683"/>
                  <a:pt x="5032011" y="1222374"/>
                  <a:pt x="5028383" y="1228492"/>
                </a:cubicBezTo>
                <a:cubicBezTo>
                  <a:pt x="5027102" y="1227496"/>
                  <a:pt x="5021126" y="1235036"/>
                  <a:pt x="5016218" y="1232902"/>
                </a:cubicBezTo>
                <a:cubicBezTo>
                  <a:pt x="5013657" y="1231906"/>
                  <a:pt x="5012376" y="1230626"/>
                  <a:pt x="5010029" y="1229630"/>
                </a:cubicBezTo>
                <a:cubicBezTo>
                  <a:pt x="5009388" y="1226073"/>
                  <a:pt x="5005334" y="1222659"/>
                  <a:pt x="5008962" y="1215261"/>
                </a:cubicBezTo>
                <a:cubicBezTo>
                  <a:pt x="5013870" y="1207863"/>
                  <a:pt x="5021553" y="1213411"/>
                  <a:pt x="5021340" y="1212131"/>
                </a:cubicBezTo>
                <a:cubicBezTo>
                  <a:pt x="5022407" y="1210993"/>
                  <a:pt x="5022407" y="1210851"/>
                  <a:pt x="5022193" y="1209712"/>
                </a:cubicBezTo>
                <a:cubicBezTo>
                  <a:pt x="5023261" y="1209712"/>
                  <a:pt x="5025395" y="1208290"/>
                  <a:pt x="5026462" y="1207009"/>
                </a:cubicBezTo>
                <a:close/>
                <a:moveTo>
                  <a:pt x="1554626" y="1206355"/>
                </a:moveTo>
                <a:cubicBezTo>
                  <a:pt x="1558756" y="1208213"/>
                  <a:pt x="1558343" y="1212396"/>
                  <a:pt x="1559995" y="1216578"/>
                </a:cubicBezTo>
                <a:cubicBezTo>
                  <a:pt x="1559272" y="1216888"/>
                  <a:pt x="1558963" y="1217972"/>
                  <a:pt x="1559479" y="1218746"/>
                </a:cubicBezTo>
                <a:cubicBezTo>
                  <a:pt x="1559169" y="1219831"/>
                  <a:pt x="1558859" y="1221070"/>
                  <a:pt x="1559685" y="1220760"/>
                </a:cubicBezTo>
                <a:cubicBezTo>
                  <a:pt x="1558859" y="1224168"/>
                  <a:pt x="1559272" y="1224788"/>
                  <a:pt x="1556588" y="1225252"/>
                </a:cubicBezTo>
                <a:cubicBezTo>
                  <a:pt x="1553593" y="1218901"/>
                  <a:pt x="1552354" y="1210537"/>
                  <a:pt x="1552148" y="1208678"/>
                </a:cubicBezTo>
                <a:cubicBezTo>
                  <a:pt x="1552044" y="1207749"/>
                  <a:pt x="1552251" y="1207129"/>
                  <a:pt x="1552561" y="1206820"/>
                </a:cubicBezTo>
                <a:cubicBezTo>
                  <a:pt x="1552974" y="1206510"/>
                  <a:pt x="1553697" y="1206355"/>
                  <a:pt x="1554626" y="1206355"/>
                </a:cubicBezTo>
                <a:close/>
                <a:moveTo>
                  <a:pt x="1558653" y="1205580"/>
                </a:moveTo>
                <a:cubicBezTo>
                  <a:pt x="1558653" y="1205580"/>
                  <a:pt x="1558756" y="1205580"/>
                  <a:pt x="1559479" y="1205580"/>
                </a:cubicBezTo>
                <a:cubicBezTo>
                  <a:pt x="1559479" y="1205580"/>
                  <a:pt x="1559479" y="1206355"/>
                  <a:pt x="1558653" y="1207129"/>
                </a:cubicBezTo>
                <a:cubicBezTo>
                  <a:pt x="1558653" y="1207129"/>
                  <a:pt x="1558446" y="1206975"/>
                  <a:pt x="1558343" y="1206665"/>
                </a:cubicBezTo>
                <a:cubicBezTo>
                  <a:pt x="1558240" y="1206355"/>
                  <a:pt x="1558240" y="1206045"/>
                  <a:pt x="1558653" y="1205580"/>
                </a:cubicBezTo>
                <a:close/>
                <a:moveTo>
                  <a:pt x="1520345" y="1205271"/>
                </a:moveTo>
                <a:cubicBezTo>
                  <a:pt x="1530670" y="1206355"/>
                  <a:pt x="1538311" y="1209608"/>
                  <a:pt x="1543474" y="1214874"/>
                </a:cubicBezTo>
                <a:cubicBezTo>
                  <a:pt x="1545230" y="1216578"/>
                  <a:pt x="1546675" y="1218591"/>
                  <a:pt x="1547811" y="1220760"/>
                </a:cubicBezTo>
                <a:cubicBezTo>
                  <a:pt x="1542235" y="1225097"/>
                  <a:pt x="1536246" y="1220605"/>
                  <a:pt x="1531083" y="1218437"/>
                </a:cubicBezTo>
                <a:cubicBezTo>
                  <a:pt x="1530258" y="1224323"/>
                  <a:pt x="1530670" y="1233307"/>
                  <a:pt x="1523856" y="1233462"/>
                </a:cubicBezTo>
                <a:lnTo>
                  <a:pt x="1522100" y="1229744"/>
                </a:lnTo>
                <a:lnTo>
                  <a:pt x="1518899" y="1230054"/>
                </a:lnTo>
                <a:lnTo>
                  <a:pt x="1518073" y="1229279"/>
                </a:lnTo>
                <a:lnTo>
                  <a:pt x="1516834" y="1230054"/>
                </a:lnTo>
                <a:cubicBezTo>
                  <a:pt x="1516214" y="1230518"/>
                  <a:pt x="1515802" y="1230828"/>
                  <a:pt x="1515802" y="1230828"/>
                </a:cubicBezTo>
                <a:cubicBezTo>
                  <a:pt x="1514666" y="1230364"/>
                  <a:pt x="1514046" y="1230054"/>
                  <a:pt x="1513839" y="1229589"/>
                </a:cubicBezTo>
                <a:lnTo>
                  <a:pt x="1513943" y="1228195"/>
                </a:lnTo>
                <a:lnTo>
                  <a:pt x="1511981" y="1227731"/>
                </a:lnTo>
                <a:cubicBezTo>
                  <a:pt x="1512188" y="1225872"/>
                  <a:pt x="1514769" y="1222619"/>
                  <a:pt x="1516731" y="1222929"/>
                </a:cubicBezTo>
                <a:lnTo>
                  <a:pt x="1516008" y="1224788"/>
                </a:lnTo>
                <a:lnTo>
                  <a:pt x="1517454" y="1223393"/>
                </a:lnTo>
                <a:cubicBezTo>
                  <a:pt x="1519106" y="1222309"/>
                  <a:pt x="1521068" y="1221535"/>
                  <a:pt x="1522720" y="1221845"/>
                </a:cubicBezTo>
                <a:lnTo>
                  <a:pt x="1522720" y="1223858"/>
                </a:lnTo>
                <a:lnTo>
                  <a:pt x="1523752" y="1219676"/>
                </a:lnTo>
                <a:cubicBezTo>
                  <a:pt x="1524165" y="1217972"/>
                  <a:pt x="1524475" y="1216268"/>
                  <a:pt x="1524372" y="1214410"/>
                </a:cubicBezTo>
                <a:cubicBezTo>
                  <a:pt x="1523442" y="1212086"/>
                  <a:pt x="1520655" y="1211776"/>
                  <a:pt x="1520138" y="1208988"/>
                </a:cubicBezTo>
                <a:cubicBezTo>
                  <a:pt x="1519932" y="1208058"/>
                  <a:pt x="1519932" y="1206820"/>
                  <a:pt x="1520345" y="1205271"/>
                </a:cubicBezTo>
                <a:close/>
                <a:moveTo>
                  <a:pt x="1030601" y="1204341"/>
                </a:moveTo>
                <a:cubicBezTo>
                  <a:pt x="1031530" y="1204806"/>
                  <a:pt x="1032253" y="1205580"/>
                  <a:pt x="1032666" y="1206510"/>
                </a:cubicBezTo>
                <a:cubicBezTo>
                  <a:pt x="1035454" y="1212086"/>
                  <a:pt x="1031117" y="1218901"/>
                  <a:pt x="1023579" y="1220605"/>
                </a:cubicBezTo>
                <a:cubicBezTo>
                  <a:pt x="1012014" y="1223703"/>
                  <a:pt x="1004787" y="1220141"/>
                  <a:pt x="1004787" y="1220141"/>
                </a:cubicBezTo>
                <a:cubicBezTo>
                  <a:pt x="1003960" y="1218127"/>
                  <a:pt x="1003754" y="1216423"/>
                  <a:pt x="1003960" y="1215029"/>
                </a:cubicBezTo>
                <a:cubicBezTo>
                  <a:pt x="1004580" y="1210537"/>
                  <a:pt x="1009020" y="1208213"/>
                  <a:pt x="1013667" y="1206510"/>
                </a:cubicBezTo>
                <a:cubicBezTo>
                  <a:pt x="1015732" y="1205890"/>
                  <a:pt x="1017900" y="1205425"/>
                  <a:pt x="1019759" y="1204961"/>
                </a:cubicBezTo>
                <a:cubicBezTo>
                  <a:pt x="1023683" y="1203877"/>
                  <a:pt x="1028019" y="1203102"/>
                  <a:pt x="1030601" y="1204341"/>
                </a:cubicBezTo>
                <a:close/>
                <a:moveTo>
                  <a:pt x="4608373" y="1202741"/>
                </a:moveTo>
                <a:cubicBezTo>
                  <a:pt x="4609653" y="1202599"/>
                  <a:pt x="4610933" y="1202883"/>
                  <a:pt x="4612001" y="1203453"/>
                </a:cubicBezTo>
                <a:cubicBezTo>
                  <a:pt x="4613068" y="1204733"/>
                  <a:pt x="4613068" y="1204733"/>
                  <a:pt x="4614135" y="1205871"/>
                </a:cubicBezTo>
                <a:cubicBezTo>
                  <a:pt x="4613921" y="1208290"/>
                  <a:pt x="4614775" y="1210708"/>
                  <a:pt x="4613281" y="1212984"/>
                </a:cubicBezTo>
                <a:cubicBezTo>
                  <a:pt x="4610720" y="1215403"/>
                  <a:pt x="4605171" y="1213981"/>
                  <a:pt x="4603037" y="1212842"/>
                </a:cubicBezTo>
                <a:cubicBezTo>
                  <a:pt x="4600903" y="1210424"/>
                  <a:pt x="4602610" y="1206867"/>
                  <a:pt x="4605171" y="1204591"/>
                </a:cubicBezTo>
                <a:cubicBezTo>
                  <a:pt x="4605812" y="1203310"/>
                  <a:pt x="4606878" y="1202883"/>
                  <a:pt x="4608373" y="1202741"/>
                </a:cubicBezTo>
                <a:close/>
                <a:moveTo>
                  <a:pt x="4222510" y="1202599"/>
                </a:moveTo>
                <a:cubicBezTo>
                  <a:pt x="4224857" y="1202172"/>
                  <a:pt x="4227418" y="1203310"/>
                  <a:pt x="4230193" y="1205587"/>
                </a:cubicBezTo>
                <a:cubicBezTo>
                  <a:pt x="4229553" y="1208147"/>
                  <a:pt x="4229979" y="1210566"/>
                  <a:pt x="4229553" y="1214265"/>
                </a:cubicBezTo>
                <a:cubicBezTo>
                  <a:pt x="4226138" y="1215403"/>
                  <a:pt x="4218668" y="1213838"/>
                  <a:pt x="4216320" y="1208432"/>
                </a:cubicBezTo>
                <a:cubicBezTo>
                  <a:pt x="4218027" y="1204875"/>
                  <a:pt x="4220162" y="1203026"/>
                  <a:pt x="4222510" y="1202599"/>
                </a:cubicBezTo>
                <a:close/>
                <a:moveTo>
                  <a:pt x="1051562" y="1202173"/>
                </a:moveTo>
                <a:cubicBezTo>
                  <a:pt x="1052491" y="1202947"/>
                  <a:pt x="1052491" y="1202947"/>
                  <a:pt x="1052594" y="1205271"/>
                </a:cubicBezTo>
                <a:cubicBezTo>
                  <a:pt x="1051768" y="1204651"/>
                  <a:pt x="1051768" y="1204496"/>
                  <a:pt x="1051045" y="1205425"/>
                </a:cubicBezTo>
                <a:cubicBezTo>
                  <a:pt x="1051045" y="1205425"/>
                  <a:pt x="1050942" y="1205580"/>
                  <a:pt x="1051045" y="1206355"/>
                </a:cubicBezTo>
                <a:cubicBezTo>
                  <a:pt x="1050219" y="1206510"/>
                  <a:pt x="1050219" y="1205580"/>
                  <a:pt x="1049393" y="1205735"/>
                </a:cubicBezTo>
                <a:cubicBezTo>
                  <a:pt x="1049393" y="1205735"/>
                  <a:pt x="1049393" y="1204961"/>
                  <a:pt x="1049393" y="1204961"/>
                </a:cubicBezTo>
                <a:cubicBezTo>
                  <a:pt x="1048980" y="1204961"/>
                  <a:pt x="1048877" y="1204961"/>
                  <a:pt x="1049084" y="1204806"/>
                </a:cubicBezTo>
                <a:cubicBezTo>
                  <a:pt x="1049290" y="1204496"/>
                  <a:pt x="1049703" y="1204032"/>
                  <a:pt x="1050013" y="1203257"/>
                </a:cubicBezTo>
                <a:cubicBezTo>
                  <a:pt x="1050839" y="1202328"/>
                  <a:pt x="1050735" y="1201553"/>
                  <a:pt x="1051562" y="1202173"/>
                </a:cubicBezTo>
                <a:close/>
                <a:moveTo>
                  <a:pt x="1495150" y="1202018"/>
                </a:moveTo>
                <a:cubicBezTo>
                  <a:pt x="1495976" y="1202018"/>
                  <a:pt x="1496802" y="1202482"/>
                  <a:pt x="1497525" y="1203257"/>
                </a:cubicBezTo>
                <a:cubicBezTo>
                  <a:pt x="1500003" y="1205425"/>
                  <a:pt x="1502275" y="1210072"/>
                  <a:pt x="1502998" y="1212706"/>
                </a:cubicBezTo>
                <a:cubicBezTo>
                  <a:pt x="1499900" y="1212551"/>
                  <a:pt x="1496079" y="1205425"/>
                  <a:pt x="1495150" y="1202018"/>
                </a:cubicBezTo>
                <a:close/>
                <a:moveTo>
                  <a:pt x="1684522" y="1200778"/>
                </a:moveTo>
                <a:cubicBezTo>
                  <a:pt x="1684935" y="1201089"/>
                  <a:pt x="1685245" y="1201553"/>
                  <a:pt x="1685658" y="1201863"/>
                </a:cubicBezTo>
                <a:cubicBezTo>
                  <a:pt x="1686381" y="1202792"/>
                  <a:pt x="1687104" y="1203722"/>
                  <a:pt x="1687827" y="1204651"/>
                </a:cubicBezTo>
                <a:cubicBezTo>
                  <a:pt x="1687827" y="1204651"/>
                  <a:pt x="1687930" y="1204651"/>
                  <a:pt x="1683180" y="1200933"/>
                </a:cubicBezTo>
                <a:cubicBezTo>
                  <a:pt x="1683593" y="1200469"/>
                  <a:pt x="1684109" y="1200469"/>
                  <a:pt x="1684522" y="1200778"/>
                </a:cubicBezTo>
                <a:close/>
                <a:moveTo>
                  <a:pt x="4246199" y="1200180"/>
                </a:moveTo>
                <a:cubicBezTo>
                  <a:pt x="4248120" y="1200038"/>
                  <a:pt x="4250254" y="1200038"/>
                  <a:pt x="4252175" y="1200180"/>
                </a:cubicBezTo>
                <a:cubicBezTo>
                  <a:pt x="4257724" y="1200465"/>
                  <a:pt x="4262846" y="1202741"/>
                  <a:pt x="4264126" y="1210282"/>
                </a:cubicBezTo>
                <a:cubicBezTo>
                  <a:pt x="4255376" y="1220240"/>
                  <a:pt x="4234674" y="1218818"/>
                  <a:pt x="4236809" y="1206725"/>
                </a:cubicBezTo>
                <a:cubicBezTo>
                  <a:pt x="4237236" y="1205017"/>
                  <a:pt x="4238089" y="1203026"/>
                  <a:pt x="4239369" y="1200892"/>
                </a:cubicBezTo>
                <a:cubicBezTo>
                  <a:pt x="4241290" y="1200750"/>
                  <a:pt x="4243852" y="1200465"/>
                  <a:pt x="4246199" y="1200180"/>
                </a:cubicBezTo>
                <a:close/>
                <a:moveTo>
                  <a:pt x="5132105" y="1199611"/>
                </a:moveTo>
                <a:cubicBezTo>
                  <a:pt x="5132958" y="1199327"/>
                  <a:pt x="5133812" y="1199469"/>
                  <a:pt x="5134239" y="1200038"/>
                </a:cubicBezTo>
                <a:cubicBezTo>
                  <a:pt x="5134239" y="1201176"/>
                  <a:pt x="5135306" y="1201176"/>
                  <a:pt x="5135093" y="1202457"/>
                </a:cubicBezTo>
                <a:cubicBezTo>
                  <a:pt x="5136160" y="1204875"/>
                  <a:pt x="5135946" y="1206155"/>
                  <a:pt x="5134666" y="1207294"/>
                </a:cubicBezTo>
                <a:cubicBezTo>
                  <a:pt x="5134666" y="1208574"/>
                  <a:pt x="5133385" y="1208432"/>
                  <a:pt x="5132105" y="1209570"/>
                </a:cubicBezTo>
                <a:cubicBezTo>
                  <a:pt x="5131038" y="1209570"/>
                  <a:pt x="5129970" y="1208432"/>
                  <a:pt x="5129970" y="1208432"/>
                </a:cubicBezTo>
                <a:cubicBezTo>
                  <a:pt x="5128903" y="1207152"/>
                  <a:pt x="5128903" y="1207152"/>
                  <a:pt x="5127623" y="1208432"/>
                </a:cubicBezTo>
                <a:cubicBezTo>
                  <a:pt x="5127623" y="1208432"/>
                  <a:pt x="5127836" y="1207152"/>
                  <a:pt x="5127836" y="1207152"/>
                </a:cubicBezTo>
                <a:cubicBezTo>
                  <a:pt x="5129117" y="1207152"/>
                  <a:pt x="5127836" y="1207152"/>
                  <a:pt x="5126769" y="1205871"/>
                </a:cubicBezTo>
                <a:cubicBezTo>
                  <a:pt x="5128263" y="1203453"/>
                  <a:pt x="5128263" y="1202314"/>
                  <a:pt x="5129543" y="1201034"/>
                </a:cubicBezTo>
                <a:cubicBezTo>
                  <a:pt x="5130184" y="1200465"/>
                  <a:pt x="5131251" y="1199896"/>
                  <a:pt x="5132105" y="1199611"/>
                </a:cubicBezTo>
                <a:close/>
                <a:moveTo>
                  <a:pt x="4739199" y="1198473"/>
                </a:moveTo>
                <a:cubicBezTo>
                  <a:pt x="4746455" y="1203737"/>
                  <a:pt x="4736424" y="1215261"/>
                  <a:pt x="4731302" y="1205302"/>
                </a:cubicBezTo>
                <a:cubicBezTo>
                  <a:pt x="4734717" y="1201888"/>
                  <a:pt x="4737065" y="1199611"/>
                  <a:pt x="4739199" y="1198473"/>
                </a:cubicBezTo>
                <a:close/>
                <a:moveTo>
                  <a:pt x="3367337" y="1198473"/>
                </a:moveTo>
                <a:lnTo>
                  <a:pt x="3368404" y="1199184"/>
                </a:lnTo>
                <a:lnTo>
                  <a:pt x="3370751" y="1198900"/>
                </a:lnTo>
                <a:lnTo>
                  <a:pt x="3367550" y="1198473"/>
                </a:lnTo>
                <a:close/>
                <a:moveTo>
                  <a:pt x="3644996" y="1198331"/>
                </a:moveTo>
                <a:cubicBezTo>
                  <a:pt x="3646063" y="1198473"/>
                  <a:pt x="3647130" y="1198900"/>
                  <a:pt x="3647770" y="1199896"/>
                </a:cubicBezTo>
                <a:cubicBezTo>
                  <a:pt x="3649478" y="1203595"/>
                  <a:pt x="3640514" y="1215119"/>
                  <a:pt x="3636032" y="1207436"/>
                </a:cubicBezTo>
                <a:cubicBezTo>
                  <a:pt x="3635392" y="1206440"/>
                  <a:pt x="3635392" y="1205160"/>
                  <a:pt x="3636032" y="1203880"/>
                </a:cubicBezTo>
                <a:cubicBezTo>
                  <a:pt x="3637526" y="1200892"/>
                  <a:pt x="3641795" y="1198046"/>
                  <a:pt x="3644996" y="1198331"/>
                </a:cubicBezTo>
                <a:close/>
                <a:moveTo>
                  <a:pt x="1363808" y="1197990"/>
                </a:moveTo>
                <a:cubicBezTo>
                  <a:pt x="1364325" y="1198300"/>
                  <a:pt x="1364841" y="1198610"/>
                  <a:pt x="1365357" y="1199229"/>
                </a:cubicBezTo>
                <a:cubicBezTo>
                  <a:pt x="1365357" y="1199229"/>
                  <a:pt x="1365357" y="1199229"/>
                  <a:pt x="1365254" y="1200159"/>
                </a:cubicBezTo>
                <a:cubicBezTo>
                  <a:pt x="1364944" y="1201708"/>
                  <a:pt x="1364841" y="1202637"/>
                  <a:pt x="1364634" y="1203412"/>
                </a:cubicBezTo>
                <a:cubicBezTo>
                  <a:pt x="1363705" y="1204186"/>
                  <a:pt x="1360917" y="1205735"/>
                  <a:pt x="1360194" y="1204806"/>
                </a:cubicBezTo>
                <a:cubicBezTo>
                  <a:pt x="1359471" y="1203877"/>
                  <a:pt x="1358852" y="1202947"/>
                  <a:pt x="1358749" y="1201863"/>
                </a:cubicBezTo>
                <a:cubicBezTo>
                  <a:pt x="1358542" y="1200933"/>
                  <a:pt x="1358749" y="1200159"/>
                  <a:pt x="1359265" y="1199694"/>
                </a:cubicBezTo>
                <a:cubicBezTo>
                  <a:pt x="1360711" y="1198610"/>
                  <a:pt x="1362156" y="1197525"/>
                  <a:pt x="1363808" y="1197990"/>
                </a:cubicBezTo>
                <a:close/>
                <a:moveTo>
                  <a:pt x="1301545" y="1197835"/>
                </a:moveTo>
                <a:cubicBezTo>
                  <a:pt x="1309083" y="1203257"/>
                  <a:pt x="1305262" y="1210847"/>
                  <a:pt x="1306088" y="1212396"/>
                </a:cubicBezTo>
                <a:cubicBezTo>
                  <a:pt x="1304023" y="1214410"/>
                  <a:pt x="1303507" y="1214874"/>
                  <a:pt x="1301338" y="1213480"/>
                </a:cubicBezTo>
                <a:lnTo>
                  <a:pt x="1299170" y="1211776"/>
                </a:lnTo>
                <a:lnTo>
                  <a:pt x="1297208" y="1213015"/>
                </a:lnTo>
                <a:cubicBezTo>
                  <a:pt x="1296382" y="1212241"/>
                  <a:pt x="1295659" y="1211466"/>
                  <a:pt x="1294833" y="1210692"/>
                </a:cubicBezTo>
                <a:lnTo>
                  <a:pt x="1296795" y="1207129"/>
                </a:lnTo>
                <a:lnTo>
                  <a:pt x="1297001" y="1204651"/>
                </a:lnTo>
                <a:cubicBezTo>
                  <a:pt x="1296176" y="1203102"/>
                  <a:pt x="1296279" y="1200469"/>
                  <a:pt x="1297208" y="1198765"/>
                </a:cubicBezTo>
                <a:cubicBezTo>
                  <a:pt x="1299067" y="1197061"/>
                  <a:pt x="1300719" y="1197061"/>
                  <a:pt x="1301545" y="1197835"/>
                </a:cubicBezTo>
                <a:close/>
                <a:moveTo>
                  <a:pt x="1662632" y="1197681"/>
                </a:moveTo>
                <a:cubicBezTo>
                  <a:pt x="1663974" y="1199075"/>
                  <a:pt x="1663871" y="1197681"/>
                  <a:pt x="1665213" y="1197681"/>
                </a:cubicBezTo>
                <a:cubicBezTo>
                  <a:pt x="1667072" y="1199694"/>
                  <a:pt x="1668414" y="1201708"/>
                  <a:pt x="1668827" y="1203722"/>
                </a:cubicBezTo>
                <a:lnTo>
                  <a:pt x="1668104" y="1207904"/>
                </a:lnTo>
                <a:lnTo>
                  <a:pt x="1673164" y="1208523"/>
                </a:lnTo>
                <a:cubicBezTo>
                  <a:pt x="1676571" y="1209453"/>
                  <a:pt x="1680082" y="1210847"/>
                  <a:pt x="1683696" y="1212706"/>
                </a:cubicBezTo>
                <a:cubicBezTo>
                  <a:pt x="1684832" y="1217043"/>
                  <a:pt x="1684109" y="1220295"/>
                  <a:pt x="1682147" y="1222774"/>
                </a:cubicBezTo>
                <a:lnTo>
                  <a:pt x="1675436" y="1226181"/>
                </a:lnTo>
                <a:lnTo>
                  <a:pt x="1676571" y="1226956"/>
                </a:lnTo>
                <a:cubicBezTo>
                  <a:pt x="1677914" y="1228350"/>
                  <a:pt x="1679153" y="1229744"/>
                  <a:pt x="1677914" y="1229744"/>
                </a:cubicBezTo>
                <a:cubicBezTo>
                  <a:pt x="1677914" y="1231138"/>
                  <a:pt x="1676675" y="1230983"/>
                  <a:pt x="1675436" y="1232378"/>
                </a:cubicBezTo>
                <a:cubicBezTo>
                  <a:pt x="1672854" y="1233771"/>
                  <a:pt x="1669137" y="1233771"/>
                  <a:pt x="1667898" y="1232378"/>
                </a:cubicBezTo>
                <a:cubicBezTo>
                  <a:pt x="1666659" y="1230983"/>
                  <a:pt x="1666659" y="1229744"/>
                  <a:pt x="1666659" y="1229744"/>
                </a:cubicBezTo>
                <a:lnTo>
                  <a:pt x="1669137" y="1227421"/>
                </a:lnTo>
                <a:lnTo>
                  <a:pt x="1663458" y="1227421"/>
                </a:lnTo>
                <a:cubicBezTo>
                  <a:pt x="1653339" y="1225872"/>
                  <a:pt x="1643736" y="1219676"/>
                  <a:pt x="1645492" y="1210382"/>
                </a:cubicBezTo>
                <a:lnTo>
                  <a:pt x="1655610" y="1208678"/>
                </a:lnTo>
                <a:lnTo>
                  <a:pt x="1655610" y="1208213"/>
                </a:lnTo>
                <a:lnTo>
                  <a:pt x="1655404" y="1207749"/>
                </a:lnTo>
                <a:cubicBezTo>
                  <a:pt x="1655301" y="1205735"/>
                  <a:pt x="1655610" y="1203102"/>
                  <a:pt x="1657469" y="1200314"/>
                </a:cubicBezTo>
                <a:cubicBezTo>
                  <a:pt x="1658811" y="1199075"/>
                  <a:pt x="1662632" y="1196442"/>
                  <a:pt x="1662632" y="1197681"/>
                </a:cubicBezTo>
                <a:close/>
                <a:moveTo>
                  <a:pt x="1138503" y="1197371"/>
                </a:moveTo>
                <a:cubicBezTo>
                  <a:pt x="1139123" y="1197371"/>
                  <a:pt x="1139846" y="1197525"/>
                  <a:pt x="1140671" y="1197990"/>
                </a:cubicBezTo>
                <a:cubicBezTo>
                  <a:pt x="1141807" y="1202018"/>
                  <a:pt x="1138297" y="1205271"/>
                  <a:pt x="1133754" y="1201863"/>
                </a:cubicBezTo>
                <a:cubicBezTo>
                  <a:pt x="1135096" y="1199694"/>
                  <a:pt x="1136438" y="1197525"/>
                  <a:pt x="1138503" y="1197371"/>
                </a:cubicBezTo>
                <a:close/>
                <a:moveTo>
                  <a:pt x="4214186" y="1196624"/>
                </a:moveTo>
                <a:cubicBezTo>
                  <a:pt x="4215253" y="1197193"/>
                  <a:pt x="4217387" y="1198331"/>
                  <a:pt x="4219522" y="1196766"/>
                </a:cubicBezTo>
                <a:cubicBezTo>
                  <a:pt x="4220589" y="1200038"/>
                  <a:pt x="4221656" y="1203453"/>
                  <a:pt x="4218668" y="1204306"/>
                </a:cubicBezTo>
                <a:cubicBezTo>
                  <a:pt x="4217174" y="1204733"/>
                  <a:pt x="4215680" y="1205160"/>
                  <a:pt x="4213546" y="1204022"/>
                </a:cubicBezTo>
                <a:cubicBezTo>
                  <a:pt x="4212265" y="1200750"/>
                  <a:pt x="4214827" y="1198188"/>
                  <a:pt x="4214186" y="1196624"/>
                </a:cubicBezTo>
                <a:close/>
                <a:moveTo>
                  <a:pt x="1602537" y="1196287"/>
                </a:moveTo>
                <a:cubicBezTo>
                  <a:pt x="1603776" y="1196751"/>
                  <a:pt x="1606461" y="1198455"/>
                  <a:pt x="1605944" y="1201398"/>
                </a:cubicBezTo>
                <a:lnTo>
                  <a:pt x="1606047" y="1201863"/>
                </a:lnTo>
                <a:lnTo>
                  <a:pt x="1607803" y="1200314"/>
                </a:lnTo>
                <a:cubicBezTo>
                  <a:pt x="1610488" y="1198455"/>
                  <a:pt x="1613172" y="1197371"/>
                  <a:pt x="1615960" y="1197835"/>
                </a:cubicBezTo>
                <a:lnTo>
                  <a:pt x="1618129" y="1198765"/>
                </a:lnTo>
                <a:lnTo>
                  <a:pt x="1619987" y="1197990"/>
                </a:lnTo>
                <a:cubicBezTo>
                  <a:pt x="1623704" y="1196596"/>
                  <a:pt x="1627731" y="1195977"/>
                  <a:pt x="1632894" y="1196751"/>
                </a:cubicBezTo>
                <a:cubicBezTo>
                  <a:pt x="1631448" y="1201398"/>
                  <a:pt x="1627318" y="1203412"/>
                  <a:pt x="1622672" y="1204186"/>
                </a:cubicBezTo>
                <a:lnTo>
                  <a:pt x="1619677" y="1204186"/>
                </a:lnTo>
                <a:lnTo>
                  <a:pt x="1617922" y="1206820"/>
                </a:lnTo>
                <a:cubicBezTo>
                  <a:pt x="1613172" y="1210692"/>
                  <a:pt x="1604292" y="1211466"/>
                  <a:pt x="1603363" y="1206975"/>
                </a:cubicBezTo>
                <a:cubicBezTo>
                  <a:pt x="1603260" y="1206045"/>
                  <a:pt x="1603363" y="1204961"/>
                  <a:pt x="1603879" y="1203722"/>
                </a:cubicBezTo>
                <a:lnTo>
                  <a:pt x="1604189" y="1203412"/>
                </a:lnTo>
                <a:lnTo>
                  <a:pt x="1603879" y="1202637"/>
                </a:lnTo>
                <a:cubicBezTo>
                  <a:pt x="1603053" y="1200778"/>
                  <a:pt x="1602330" y="1198765"/>
                  <a:pt x="1602537" y="1196287"/>
                </a:cubicBezTo>
                <a:close/>
                <a:moveTo>
                  <a:pt x="4515322" y="1195628"/>
                </a:moveTo>
                <a:cubicBezTo>
                  <a:pt x="4521084" y="1195912"/>
                  <a:pt x="4528340" y="1204448"/>
                  <a:pt x="4522791" y="1210139"/>
                </a:cubicBezTo>
                <a:cubicBezTo>
                  <a:pt x="4519377" y="1211135"/>
                  <a:pt x="4515962" y="1212131"/>
                  <a:pt x="4511267" y="1208432"/>
                </a:cubicBezTo>
                <a:cubicBezTo>
                  <a:pt x="4509986" y="1203595"/>
                  <a:pt x="4510839" y="1200038"/>
                  <a:pt x="4515322" y="1195628"/>
                </a:cubicBezTo>
                <a:close/>
                <a:moveTo>
                  <a:pt x="4879629" y="1194916"/>
                </a:moveTo>
                <a:cubicBezTo>
                  <a:pt x="4879843" y="1194916"/>
                  <a:pt x="4880056" y="1195201"/>
                  <a:pt x="4880483" y="1195912"/>
                </a:cubicBezTo>
                <a:cubicBezTo>
                  <a:pt x="4879415" y="1197193"/>
                  <a:pt x="4879629" y="1195912"/>
                  <a:pt x="4878562" y="1195912"/>
                </a:cubicBezTo>
                <a:cubicBezTo>
                  <a:pt x="4879202" y="1195201"/>
                  <a:pt x="4879415" y="1194916"/>
                  <a:pt x="4879629" y="1194916"/>
                </a:cubicBezTo>
                <a:close/>
                <a:moveTo>
                  <a:pt x="4270315" y="1194205"/>
                </a:moveTo>
                <a:cubicBezTo>
                  <a:pt x="4273303" y="1195201"/>
                  <a:pt x="4275651" y="1196339"/>
                  <a:pt x="4277358" y="1197477"/>
                </a:cubicBezTo>
                <a:lnTo>
                  <a:pt x="4281413" y="1201176"/>
                </a:lnTo>
                <a:lnTo>
                  <a:pt x="4285041" y="1201603"/>
                </a:lnTo>
                <a:cubicBezTo>
                  <a:pt x="4287389" y="1202172"/>
                  <a:pt x="4289096" y="1202883"/>
                  <a:pt x="4289096" y="1203453"/>
                </a:cubicBezTo>
                <a:cubicBezTo>
                  <a:pt x="4290377" y="1203310"/>
                  <a:pt x="4290377" y="1204591"/>
                  <a:pt x="4291657" y="1204448"/>
                </a:cubicBezTo>
                <a:cubicBezTo>
                  <a:pt x="4291657" y="1204448"/>
                  <a:pt x="4292724" y="1204448"/>
                  <a:pt x="4294219" y="1205587"/>
                </a:cubicBezTo>
                <a:cubicBezTo>
                  <a:pt x="4295499" y="1206725"/>
                  <a:pt x="4296779" y="1207863"/>
                  <a:pt x="4295926" y="1210282"/>
                </a:cubicBezTo>
                <a:cubicBezTo>
                  <a:pt x="4291017" y="1208717"/>
                  <a:pt x="4287389" y="1208147"/>
                  <a:pt x="4284188" y="1207436"/>
                </a:cubicBezTo>
                <a:lnTo>
                  <a:pt x="4283548" y="1207152"/>
                </a:lnTo>
                <a:lnTo>
                  <a:pt x="4281627" y="1209570"/>
                </a:lnTo>
                <a:cubicBezTo>
                  <a:pt x="4280133" y="1210139"/>
                  <a:pt x="4277999" y="1209997"/>
                  <a:pt x="4275438" y="1210139"/>
                </a:cubicBezTo>
                <a:cubicBezTo>
                  <a:pt x="4275651" y="1208432"/>
                  <a:pt x="4270742" y="1207294"/>
                  <a:pt x="4269035" y="1206867"/>
                </a:cubicBezTo>
                <a:cubicBezTo>
                  <a:pt x="4269675" y="1203595"/>
                  <a:pt x="4264126" y="1201318"/>
                  <a:pt x="4264767" y="1196339"/>
                </a:cubicBezTo>
                <a:cubicBezTo>
                  <a:pt x="4266687" y="1195059"/>
                  <a:pt x="4267754" y="1194347"/>
                  <a:pt x="4270315" y="1194205"/>
                </a:cubicBezTo>
                <a:close/>
                <a:moveTo>
                  <a:pt x="1606047" y="1193808"/>
                </a:moveTo>
                <a:cubicBezTo>
                  <a:pt x="1607183" y="1194273"/>
                  <a:pt x="1607596" y="1195047"/>
                  <a:pt x="1608732" y="1195512"/>
                </a:cubicBezTo>
                <a:cubicBezTo>
                  <a:pt x="1609558" y="1193344"/>
                  <a:pt x="1608732" y="1193653"/>
                  <a:pt x="1609868" y="1194118"/>
                </a:cubicBezTo>
                <a:cubicBezTo>
                  <a:pt x="1609868" y="1194118"/>
                  <a:pt x="1609868" y="1194118"/>
                  <a:pt x="1611107" y="1194583"/>
                </a:cubicBezTo>
                <a:cubicBezTo>
                  <a:pt x="1611107" y="1194583"/>
                  <a:pt x="1611830" y="1194273"/>
                  <a:pt x="1611417" y="1197216"/>
                </a:cubicBezTo>
                <a:cubicBezTo>
                  <a:pt x="1610281" y="1196751"/>
                  <a:pt x="1606770" y="1195357"/>
                  <a:pt x="1606770" y="1195357"/>
                </a:cubicBezTo>
                <a:cubicBezTo>
                  <a:pt x="1606047" y="1195667"/>
                  <a:pt x="1606047" y="1195667"/>
                  <a:pt x="1604911" y="1195202"/>
                </a:cubicBezTo>
                <a:cubicBezTo>
                  <a:pt x="1605222" y="1194118"/>
                  <a:pt x="1605222" y="1194118"/>
                  <a:pt x="1606047" y="1193808"/>
                </a:cubicBezTo>
                <a:close/>
                <a:moveTo>
                  <a:pt x="4543279" y="1193636"/>
                </a:moveTo>
                <a:cubicBezTo>
                  <a:pt x="4545840" y="1194063"/>
                  <a:pt x="4547975" y="1193494"/>
                  <a:pt x="4550536" y="1193921"/>
                </a:cubicBezTo>
                <a:cubicBezTo>
                  <a:pt x="4552883" y="1196909"/>
                  <a:pt x="4551603" y="1205729"/>
                  <a:pt x="4547548" y="1208432"/>
                </a:cubicBezTo>
                <a:cubicBezTo>
                  <a:pt x="4546267" y="1209286"/>
                  <a:pt x="4544560" y="1209428"/>
                  <a:pt x="4542639" y="1208432"/>
                </a:cubicBezTo>
                <a:cubicBezTo>
                  <a:pt x="4537304" y="1205160"/>
                  <a:pt x="4539651" y="1199611"/>
                  <a:pt x="4543279" y="1193636"/>
                </a:cubicBezTo>
                <a:close/>
                <a:moveTo>
                  <a:pt x="4302969" y="1193067"/>
                </a:moveTo>
                <a:cubicBezTo>
                  <a:pt x="4308731" y="1192498"/>
                  <a:pt x="4310865" y="1195201"/>
                  <a:pt x="4314921" y="1196197"/>
                </a:cubicBezTo>
                <a:cubicBezTo>
                  <a:pt x="4315987" y="1208290"/>
                  <a:pt x="4308091" y="1210708"/>
                  <a:pt x="4303395" y="1207720"/>
                </a:cubicBezTo>
                <a:cubicBezTo>
                  <a:pt x="4301688" y="1206725"/>
                  <a:pt x="4300408" y="1205302"/>
                  <a:pt x="4299981" y="1203168"/>
                </a:cubicBezTo>
                <a:cubicBezTo>
                  <a:pt x="4299341" y="1200465"/>
                  <a:pt x="4299981" y="1197051"/>
                  <a:pt x="4302969" y="1193067"/>
                </a:cubicBezTo>
                <a:close/>
                <a:moveTo>
                  <a:pt x="3576274" y="1193067"/>
                </a:moveTo>
                <a:cubicBezTo>
                  <a:pt x="3578622" y="1192214"/>
                  <a:pt x="3580970" y="1193778"/>
                  <a:pt x="3583104" y="1195343"/>
                </a:cubicBezTo>
                <a:cubicBezTo>
                  <a:pt x="3584812" y="1196766"/>
                  <a:pt x="3585238" y="1198046"/>
                  <a:pt x="3585025" y="1199184"/>
                </a:cubicBezTo>
                <a:cubicBezTo>
                  <a:pt x="3584812" y="1200465"/>
                  <a:pt x="3583957" y="1201461"/>
                  <a:pt x="3582677" y="1202457"/>
                </a:cubicBezTo>
                <a:cubicBezTo>
                  <a:pt x="3580330" y="1204591"/>
                  <a:pt x="3577982" y="1203026"/>
                  <a:pt x="3577982" y="1203026"/>
                </a:cubicBezTo>
                <a:cubicBezTo>
                  <a:pt x="3576274" y="1201461"/>
                  <a:pt x="3575421" y="1199753"/>
                  <a:pt x="3574994" y="1198046"/>
                </a:cubicBezTo>
                <a:lnTo>
                  <a:pt x="3575207" y="1197051"/>
                </a:lnTo>
                <a:lnTo>
                  <a:pt x="3574141" y="1196055"/>
                </a:lnTo>
                <a:lnTo>
                  <a:pt x="3575848" y="1194916"/>
                </a:lnTo>
                <a:close/>
                <a:moveTo>
                  <a:pt x="1537589" y="1193034"/>
                </a:moveTo>
                <a:cubicBezTo>
                  <a:pt x="1540067" y="1194738"/>
                  <a:pt x="1542648" y="1193808"/>
                  <a:pt x="1545127" y="1195357"/>
                </a:cubicBezTo>
                <a:cubicBezTo>
                  <a:pt x="1545127" y="1195357"/>
                  <a:pt x="1545127" y="1195357"/>
                  <a:pt x="1544300" y="1196287"/>
                </a:cubicBezTo>
                <a:cubicBezTo>
                  <a:pt x="1540170" y="1194738"/>
                  <a:pt x="1535730" y="1196596"/>
                  <a:pt x="1531600" y="1194273"/>
                </a:cubicBezTo>
                <a:cubicBezTo>
                  <a:pt x="1532529" y="1193344"/>
                  <a:pt x="1535214" y="1191485"/>
                  <a:pt x="1537589" y="1193034"/>
                </a:cubicBezTo>
                <a:close/>
                <a:moveTo>
                  <a:pt x="4473918" y="1192356"/>
                </a:moveTo>
                <a:cubicBezTo>
                  <a:pt x="4477973" y="1196339"/>
                  <a:pt x="4485016" y="1199611"/>
                  <a:pt x="4486937" y="1205017"/>
                </a:cubicBezTo>
                <a:cubicBezTo>
                  <a:pt x="4485016" y="1203737"/>
                  <a:pt x="4475412" y="1196197"/>
                  <a:pt x="4473918" y="1192356"/>
                </a:cubicBezTo>
                <a:close/>
                <a:moveTo>
                  <a:pt x="1188273" y="1192259"/>
                </a:moveTo>
                <a:cubicBezTo>
                  <a:pt x="1194778" y="1195357"/>
                  <a:pt x="1198908" y="1200159"/>
                  <a:pt x="1200870" y="1205425"/>
                </a:cubicBezTo>
                <a:cubicBezTo>
                  <a:pt x="1204277" y="1214410"/>
                  <a:pt x="1201593" y="1224788"/>
                  <a:pt x="1193436" y="1230674"/>
                </a:cubicBezTo>
                <a:cubicBezTo>
                  <a:pt x="1192403" y="1230054"/>
                  <a:pt x="1191267" y="1229279"/>
                  <a:pt x="1190751" y="1230364"/>
                </a:cubicBezTo>
                <a:cubicBezTo>
                  <a:pt x="1183420" y="1226491"/>
                  <a:pt x="1179290" y="1218437"/>
                  <a:pt x="1178773" y="1210692"/>
                </a:cubicBezTo>
                <a:cubicBezTo>
                  <a:pt x="1178257" y="1202947"/>
                  <a:pt x="1181251" y="1195357"/>
                  <a:pt x="1188273" y="1192259"/>
                </a:cubicBezTo>
                <a:close/>
                <a:moveTo>
                  <a:pt x="1530051" y="1191795"/>
                </a:moveTo>
                <a:cubicBezTo>
                  <a:pt x="1531703" y="1192569"/>
                  <a:pt x="1524268" y="1202173"/>
                  <a:pt x="1522410" y="1204806"/>
                </a:cubicBezTo>
                <a:cubicBezTo>
                  <a:pt x="1521584" y="1204806"/>
                  <a:pt x="1521584" y="1204806"/>
                  <a:pt x="1521584" y="1204806"/>
                </a:cubicBezTo>
                <a:cubicBezTo>
                  <a:pt x="1520758" y="1204496"/>
                  <a:pt x="1520551" y="1203877"/>
                  <a:pt x="1520758" y="1202947"/>
                </a:cubicBezTo>
                <a:cubicBezTo>
                  <a:pt x="1521068" y="1202173"/>
                  <a:pt x="1521791" y="1200933"/>
                  <a:pt x="1522720" y="1199694"/>
                </a:cubicBezTo>
                <a:cubicBezTo>
                  <a:pt x="1524578" y="1197061"/>
                  <a:pt x="1528192" y="1194428"/>
                  <a:pt x="1529018" y="1193499"/>
                </a:cubicBezTo>
                <a:cubicBezTo>
                  <a:pt x="1529948" y="1192569"/>
                  <a:pt x="1530051" y="1191795"/>
                  <a:pt x="1530051" y="1191795"/>
                </a:cubicBezTo>
                <a:close/>
                <a:moveTo>
                  <a:pt x="4863623" y="1191644"/>
                </a:moveTo>
                <a:cubicBezTo>
                  <a:pt x="4867464" y="1193778"/>
                  <a:pt x="4870239" y="1197193"/>
                  <a:pt x="4867251" y="1200892"/>
                </a:cubicBezTo>
                <a:cubicBezTo>
                  <a:pt x="4866184" y="1202172"/>
                  <a:pt x="4865330" y="1203453"/>
                  <a:pt x="4865116" y="1202314"/>
                </a:cubicBezTo>
                <a:cubicBezTo>
                  <a:pt x="4864049" y="1202314"/>
                  <a:pt x="4863836" y="1201176"/>
                  <a:pt x="4862556" y="1200038"/>
                </a:cubicBezTo>
                <a:cubicBezTo>
                  <a:pt x="4861061" y="1197762"/>
                  <a:pt x="4860635" y="1194205"/>
                  <a:pt x="4861488" y="1192924"/>
                </a:cubicBezTo>
                <a:cubicBezTo>
                  <a:pt x="4862556" y="1191644"/>
                  <a:pt x="4863623" y="1191644"/>
                  <a:pt x="4863623" y="1191644"/>
                </a:cubicBezTo>
                <a:close/>
                <a:moveTo>
                  <a:pt x="4877068" y="1191075"/>
                </a:moveTo>
                <a:cubicBezTo>
                  <a:pt x="4877708" y="1191502"/>
                  <a:pt x="4878775" y="1192356"/>
                  <a:pt x="4880056" y="1192782"/>
                </a:cubicBezTo>
                <a:lnTo>
                  <a:pt x="4877068" y="1196624"/>
                </a:lnTo>
                <a:cubicBezTo>
                  <a:pt x="4875787" y="1195486"/>
                  <a:pt x="4874294" y="1193209"/>
                  <a:pt x="4875147" y="1192071"/>
                </a:cubicBezTo>
                <a:cubicBezTo>
                  <a:pt x="4875574" y="1190791"/>
                  <a:pt x="4876215" y="1190791"/>
                  <a:pt x="4877068" y="1191075"/>
                </a:cubicBezTo>
                <a:close/>
                <a:moveTo>
                  <a:pt x="3778597" y="1190364"/>
                </a:moveTo>
                <a:cubicBezTo>
                  <a:pt x="3794176" y="1193636"/>
                  <a:pt x="3782011" y="1204306"/>
                  <a:pt x="3778383" y="1211562"/>
                </a:cubicBezTo>
                <a:lnTo>
                  <a:pt x="3774755" y="1210424"/>
                </a:lnTo>
                <a:lnTo>
                  <a:pt x="3774328" y="1210708"/>
                </a:lnTo>
                <a:cubicBezTo>
                  <a:pt x="3768993" y="1212558"/>
                  <a:pt x="3764511" y="1208432"/>
                  <a:pt x="3765364" y="1203737"/>
                </a:cubicBezTo>
                <a:cubicBezTo>
                  <a:pt x="3766005" y="1201603"/>
                  <a:pt x="3767499" y="1199327"/>
                  <a:pt x="3770700" y="1197477"/>
                </a:cubicBezTo>
                <a:lnTo>
                  <a:pt x="3771340" y="1198046"/>
                </a:lnTo>
                <a:lnTo>
                  <a:pt x="3771981" y="1196624"/>
                </a:lnTo>
                <a:cubicBezTo>
                  <a:pt x="3773901" y="1194205"/>
                  <a:pt x="3776249" y="1192214"/>
                  <a:pt x="3778597" y="1190364"/>
                </a:cubicBezTo>
                <a:close/>
                <a:moveTo>
                  <a:pt x="1115968" y="1190188"/>
                </a:moveTo>
                <a:cubicBezTo>
                  <a:pt x="1118523" y="1189200"/>
                  <a:pt x="1121569" y="1189394"/>
                  <a:pt x="1125183" y="1191795"/>
                </a:cubicBezTo>
                <a:cubicBezTo>
                  <a:pt x="1127042" y="1192414"/>
                  <a:pt x="1126113" y="1192569"/>
                  <a:pt x="1127042" y="1193188"/>
                </a:cubicBezTo>
                <a:cubicBezTo>
                  <a:pt x="1127971" y="1193963"/>
                  <a:pt x="1129727" y="1194583"/>
                  <a:pt x="1130553" y="1194428"/>
                </a:cubicBezTo>
                <a:cubicBezTo>
                  <a:pt x="1128178" y="1198145"/>
                  <a:pt x="1130862" y="1199385"/>
                  <a:pt x="1126835" y="1204961"/>
                </a:cubicBezTo>
                <a:cubicBezTo>
                  <a:pt x="1123222" y="1210537"/>
                  <a:pt x="1118885" y="1211466"/>
                  <a:pt x="1115374" y="1210847"/>
                </a:cubicBezTo>
                <a:lnTo>
                  <a:pt x="1112793" y="1209762"/>
                </a:lnTo>
                <a:lnTo>
                  <a:pt x="1111037" y="1211776"/>
                </a:lnTo>
                <a:cubicBezTo>
                  <a:pt x="1106184" y="1205425"/>
                  <a:pt x="1102261" y="1214719"/>
                  <a:pt x="1098233" y="1209917"/>
                </a:cubicBezTo>
                <a:cubicBezTo>
                  <a:pt x="1097614" y="1207439"/>
                  <a:pt x="1096168" y="1204961"/>
                  <a:pt x="1096581" y="1202173"/>
                </a:cubicBezTo>
                <a:cubicBezTo>
                  <a:pt x="1096685" y="1201243"/>
                  <a:pt x="1097098" y="1200159"/>
                  <a:pt x="1097821" y="1199075"/>
                </a:cubicBezTo>
                <a:cubicBezTo>
                  <a:pt x="1100711" y="1201089"/>
                  <a:pt x="1103500" y="1202173"/>
                  <a:pt x="1106288" y="1203102"/>
                </a:cubicBezTo>
                <a:lnTo>
                  <a:pt x="1108559" y="1203877"/>
                </a:lnTo>
                <a:lnTo>
                  <a:pt x="1107836" y="1201243"/>
                </a:lnTo>
                <a:cubicBezTo>
                  <a:pt x="1107836" y="1199539"/>
                  <a:pt x="1108353" y="1197835"/>
                  <a:pt x="1109695" y="1195667"/>
                </a:cubicBezTo>
                <a:cubicBezTo>
                  <a:pt x="1111347" y="1193344"/>
                  <a:pt x="1113412" y="1191175"/>
                  <a:pt x="1115968" y="1190188"/>
                </a:cubicBezTo>
                <a:close/>
                <a:moveTo>
                  <a:pt x="5050365" y="1189937"/>
                </a:moveTo>
                <a:cubicBezTo>
                  <a:pt x="5053780" y="1189368"/>
                  <a:pt x="5057408" y="1190791"/>
                  <a:pt x="5059115" y="1193494"/>
                </a:cubicBezTo>
                <a:cubicBezTo>
                  <a:pt x="5060396" y="1195201"/>
                  <a:pt x="5060822" y="1197619"/>
                  <a:pt x="5059969" y="1200323"/>
                </a:cubicBezTo>
                <a:cubicBezTo>
                  <a:pt x="5053139" y="1202457"/>
                  <a:pt x="5045670" y="1206155"/>
                  <a:pt x="5042682" y="1198473"/>
                </a:cubicBezTo>
                <a:cubicBezTo>
                  <a:pt x="5043962" y="1193067"/>
                  <a:pt x="5047163" y="1190506"/>
                  <a:pt x="5050365" y="1189937"/>
                </a:cubicBezTo>
                <a:close/>
                <a:moveTo>
                  <a:pt x="4472638" y="1189937"/>
                </a:moveTo>
                <a:cubicBezTo>
                  <a:pt x="4472851" y="1191502"/>
                  <a:pt x="4472851" y="1191502"/>
                  <a:pt x="4473918" y="1192071"/>
                </a:cubicBezTo>
                <a:cubicBezTo>
                  <a:pt x="4473918" y="1192071"/>
                  <a:pt x="4472424" y="1192498"/>
                  <a:pt x="4472424" y="1192498"/>
                </a:cubicBezTo>
                <a:cubicBezTo>
                  <a:pt x="4471998" y="1190933"/>
                  <a:pt x="4471357" y="1191787"/>
                  <a:pt x="4472638" y="1189937"/>
                </a:cubicBezTo>
                <a:close/>
                <a:moveTo>
                  <a:pt x="1325294" y="1189471"/>
                </a:moveTo>
                <a:cubicBezTo>
                  <a:pt x="1328392" y="1191949"/>
                  <a:pt x="1325913" y="1195202"/>
                  <a:pt x="1323538" y="1194738"/>
                </a:cubicBezTo>
                <a:cubicBezTo>
                  <a:pt x="1322816" y="1194583"/>
                  <a:pt x="1321990" y="1194118"/>
                  <a:pt x="1321473" y="1193034"/>
                </a:cubicBezTo>
                <a:cubicBezTo>
                  <a:pt x="1322403" y="1191485"/>
                  <a:pt x="1323435" y="1190865"/>
                  <a:pt x="1325294" y="1189471"/>
                </a:cubicBezTo>
                <a:close/>
                <a:moveTo>
                  <a:pt x="4613495" y="1188941"/>
                </a:moveTo>
                <a:cubicBezTo>
                  <a:pt x="4616269" y="1188514"/>
                  <a:pt x="4617976" y="1188941"/>
                  <a:pt x="4619044" y="1189937"/>
                </a:cubicBezTo>
                <a:cubicBezTo>
                  <a:pt x="4620324" y="1191075"/>
                  <a:pt x="4620751" y="1192782"/>
                  <a:pt x="4621178" y="1195201"/>
                </a:cubicBezTo>
                <a:cubicBezTo>
                  <a:pt x="4617123" y="1195343"/>
                  <a:pt x="4615842" y="1193209"/>
                  <a:pt x="4613495" y="1188941"/>
                </a:cubicBezTo>
                <a:close/>
                <a:moveTo>
                  <a:pt x="4392178" y="1188799"/>
                </a:moveTo>
                <a:cubicBezTo>
                  <a:pt x="4395380" y="1188372"/>
                  <a:pt x="4398581" y="1189083"/>
                  <a:pt x="4400289" y="1191075"/>
                </a:cubicBezTo>
                <a:cubicBezTo>
                  <a:pt x="4401355" y="1192356"/>
                  <a:pt x="4401782" y="1194205"/>
                  <a:pt x="4401142" y="1196481"/>
                </a:cubicBezTo>
                <a:cubicBezTo>
                  <a:pt x="4395593" y="1201888"/>
                  <a:pt x="4391965" y="1195912"/>
                  <a:pt x="4384709" y="1194205"/>
                </a:cubicBezTo>
                <a:cubicBezTo>
                  <a:pt x="4385989" y="1191075"/>
                  <a:pt x="4388977" y="1189368"/>
                  <a:pt x="4392178" y="1188799"/>
                </a:cubicBezTo>
                <a:close/>
                <a:moveTo>
                  <a:pt x="1555039" y="1188232"/>
                </a:moveTo>
                <a:cubicBezTo>
                  <a:pt x="1557620" y="1188852"/>
                  <a:pt x="1559272" y="1189626"/>
                  <a:pt x="1561751" y="1191175"/>
                </a:cubicBezTo>
                <a:cubicBezTo>
                  <a:pt x="1561751" y="1191175"/>
                  <a:pt x="1565055" y="1194428"/>
                  <a:pt x="1563196" y="1197061"/>
                </a:cubicBezTo>
                <a:cubicBezTo>
                  <a:pt x="1563196" y="1197835"/>
                  <a:pt x="1559789" y="1197990"/>
                  <a:pt x="1558963" y="1197216"/>
                </a:cubicBezTo>
                <a:cubicBezTo>
                  <a:pt x="1557310" y="1195667"/>
                  <a:pt x="1556484" y="1194892"/>
                  <a:pt x="1556588" y="1193188"/>
                </a:cubicBezTo>
                <a:cubicBezTo>
                  <a:pt x="1555762" y="1192414"/>
                  <a:pt x="1554936" y="1191485"/>
                  <a:pt x="1554523" y="1190710"/>
                </a:cubicBezTo>
                <a:cubicBezTo>
                  <a:pt x="1554316" y="1190245"/>
                  <a:pt x="1554213" y="1189936"/>
                  <a:pt x="1554316" y="1189471"/>
                </a:cubicBezTo>
                <a:cubicBezTo>
                  <a:pt x="1554316" y="1189006"/>
                  <a:pt x="1554626" y="1188697"/>
                  <a:pt x="1555039" y="1188232"/>
                </a:cubicBezTo>
                <a:close/>
                <a:moveTo>
                  <a:pt x="4933197" y="1188087"/>
                </a:moveTo>
                <a:cubicBezTo>
                  <a:pt x="4935758" y="1188941"/>
                  <a:pt x="4941308" y="1192782"/>
                  <a:pt x="4943868" y="1197051"/>
                </a:cubicBezTo>
                <a:cubicBezTo>
                  <a:pt x="4944936" y="1198331"/>
                  <a:pt x="4945362" y="1199896"/>
                  <a:pt x="4945362" y="1201176"/>
                </a:cubicBezTo>
                <a:cubicBezTo>
                  <a:pt x="4945362" y="1203026"/>
                  <a:pt x="4944296" y="1204733"/>
                  <a:pt x="4941734" y="1206013"/>
                </a:cubicBezTo>
                <a:cubicBezTo>
                  <a:pt x="4937679" y="1200038"/>
                  <a:pt x="4931063" y="1197477"/>
                  <a:pt x="4930850" y="1193067"/>
                </a:cubicBezTo>
                <a:cubicBezTo>
                  <a:pt x="4930850" y="1191644"/>
                  <a:pt x="4931490" y="1190079"/>
                  <a:pt x="4933197" y="1188087"/>
                </a:cubicBezTo>
                <a:close/>
                <a:moveTo>
                  <a:pt x="3992657" y="1188087"/>
                </a:moveTo>
                <a:cubicBezTo>
                  <a:pt x="3993297" y="1187803"/>
                  <a:pt x="3994150" y="1188087"/>
                  <a:pt x="3995431" y="1189226"/>
                </a:cubicBezTo>
                <a:cubicBezTo>
                  <a:pt x="3997992" y="1190364"/>
                  <a:pt x="3997992" y="1191502"/>
                  <a:pt x="3996285" y="1195343"/>
                </a:cubicBezTo>
                <a:cubicBezTo>
                  <a:pt x="3994364" y="1197904"/>
                  <a:pt x="3993510" y="1200323"/>
                  <a:pt x="3992443" y="1200323"/>
                </a:cubicBezTo>
                <a:cubicBezTo>
                  <a:pt x="3992657" y="1201603"/>
                  <a:pt x="3991589" y="1202883"/>
                  <a:pt x="3991803" y="1204164"/>
                </a:cubicBezTo>
                <a:cubicBezTo>
                  <a:pt x="3991803" y="1204164"/>
                  <a:pt x="3991803" y="1204164"/>
                  <a:pt x="3990522" y="1204164"/>
                </a:cubicBezTo>
                <a:cubicBezTo>
                  <a:pt x="3991162" y="1199327"/>
                  <a:pt x="3989029" y="1193352"/>
                  <a:pt x="3990949" y="1189510"/>
                </a:cubicBezTo>
                <a:cubicBezTo>
                  <a:pt x="3991376" y="1188941"/>
                  <a:pt x="3991803" y="1188230"/>
                  <a:pt x="3992657" y="1188087"/>
                </a:cubicBezTo>
                <a:close/>
                <a:moveTo>
                  <a:pt x="4467729" y="1186807"/>
                </a:moveTo>
                <a:cubicBezTo>
                  <a:pt x="4468155" y="1187092"/>
                  <a:pt x="4468796" y="1187519"/>
                  <a:pt x="4469010" y="1187803"/>
                </a:cubicBezTo>
                <a:cubicBezTo>
                  <a:pt x="4469436" y="1188230"/>
                  <a:pt x="4469436" y="1188657"/>
                  <a:pt x="4469223" y="1189083"/>
                </a:cubicBezTo>
                <a:cubicBezTo>
                  <a:pt x="4468583" y="1190079"/>
                  <a:pt x="4467515" y="1189368"/>
                  <a:pt x="4467089" y="1187803"/>
                </a:cubicBezTo>
                <a:cubicBezTo>
                  <a:pt x="4467089" y="1187803"/>
                  <a:pt x="4467729" y="1186807"/>
                  <a:pt x="4467729" y="1186807"/>
                </a:cubicBezTo>
                <a:close/>
                <a:moveTo>
                  <a:pt x="1240521" y="1186528"/>
                </a:moveTo>
                <a:cubicBezTo>
                  <a:pt x="1243308" y="1186064"/>
                  <a:pt x="1245787" y="1189161"/>
                  <a:pt x="1248988" y="1191020"/>
                </a:cubicBezTo>
                <a:cubicBezTo>
                  <a:pt x="1247026" y="1192724"/>
                  <a:pt x="1245270" y="1193344"/>
                  <a:pt x="1243412" y="1192724"/>
                </a:cubicBezTo>
                <a:cubicBezTo>
                  <a:pt x="1241553" y="1192259"/>
                  <a:pt x="1239798" y="1190710"/>
                  <a:pt x="1237732" y="1188232"/>
                </a:cubicBezTo>
                <a:cubicBezTo>
                  <a:pt x="1238765" y="1187148"/>
                  <a:pt x="1239591" y="1186683"/>
                  <a:pt x="1240521" y="1186528"/>
                </a:cubicBezTo>
                <a:close/>
                <a:moveTo>
                  <a:pt x="3479809" y="1185953"/>
                </a:moveTo>
                <a:cubicBezTo>
                  <a:pt x="3480449" y="1185811"/>
                  <a:pt x="3481090" y="1186522"/>
                  <a:pt x="3481730" y="1187519"/>
                </a:cubicBezTo>
                <a:cubicBezTo>
                  <a:pt x="3483651" y="1190791"/>
                  <a:pt x="3485571" y="1197335"/>
                  <a:pt x="3485998" y="1198046"/>
                </a:cubicBezTo>
                <a:cubicBezTo>
                  <a:pt x="3485998" y="1198046"/>
                  <a:pt x="3486425" y="1199042"/>
                  <a:pt x="3487065" y="1200180"/>
                </a:cubicBezTo>
                <a:cubicBezTo>
                  <a:pt x="3486425" y="1201745"/>
                  <a:pt x="3485571" y="1202457"/>
                  <a:pt x="3485998" y="1203453"/>
                </a:cubicBezTo>
                <a:cubicBezTo>
                  <a:pt x="3481516" y="1202172"/>
                  <a:pt x="3480876" y="1198473"/>
                  <a:pt x="3480449" y="1194916"/>
                </a:cubicBezTo>
                <a:cubicBezTo>
                  <a:pt x="3480236" y="1192214"/>
                  <a:pt x="3479809" y="1191217"/>
                  <a:pt x="3477675" y="1189795"/>
                </a:cubicBezTo>
                <a:cubicBezTo>
                  <a:pt x="3477675" y="1189795"/>
                  <a:pt x="3477675" y="1189795"/>
                  <a:pt x="3478742" y="1186522"/>
                </a:cubicBezTo>
                <a:close/>
                <a:moveTo>
                  <a:pt x="1533562" y="1185754"/>
                </a:moveTo>
                <a:cubicBezTo>
                  <a:pt x="1533562" y="1185754"/>
                  <a:pt x="1533562" y="1184824"/>
                  <a:pt x="1536143" y="1186373"/>
                </a:cubicBezTo>
                <a:cubicBezTo>
                  <a:pt x="1535214" y="1187303"/>
                  <a:pt x="1532529" y="1189936"/>
                  <a:pt x="1532529" y="1189936"/>
                </a:cubicBezTo>
                <a:cubicBezTo>
                  <a:pt x="1532426" y="1190710"/>
                  <a:pt x="1532426" y="1190865"/>
                  <a:pt x="1531600" y="1191640"/>
                </a:cubicBezTo>
                <a:cubicBezTo>
                  <a:pt x="1530773" y="1190865"/>
                  <a:pt x="1530773" y="1190865"/>
                  <a:pt x="1530773" y="1190090"/>
                </a:cubicBezTo>
                <a:cubicBezTo>
                  <a:pt x="1531703" y="1189161"/>
                  <a:pt x="1532529" y="1189161"/>
                  <a:pt x="1533458" y="1188232"/>
                </a:cubicBezTo>
                <a:cubicBezTo>
                  <a:pt x="1531806" y="1186683"/>
                  <a:pt x="1531806" y="1187457"/>
                  <a:pt x="1532632" y="1186683"/>
                </a:cubicBezTo>
                <a:cubicBezTo>
                  <a:pt x="1532632" y="1186683"/>
                  <a:pt x="1532632" y="1186683"/>
                  <a:pt x="1533562" y="1185754"/>
                </a:cubicBezTo>
                <a:close/>
                <a:moveTo>
                  <a:pt x="1352554" y="1184979"/>
                </a:moveTo>
                <a:cubicBezTo>
                  <a:pt x="1352554" y="1185909"/>
                  <a:pt x="1353483" y="1185754"/>
                  <a:pt x="1354309" y="1185599"/>
                </a:cubicBezTo>
                <a:cubicBezTo>
                  <a:pt x="1356167" y="1186993"/>
                  <a:pt x="1358129" y="1189316"/>
                  <a:pt x="1357303" y="1191020"/>
                </a:cubicBezTo>
                <a:cubicBezTo>
                  <a:pt x="1355651" y="1193034"/>
                  <a:pt x="1353896" y="1192414"/>
                  <a:pt x="1352966" y="1191795"/>
                </a:cubicBezTo>
                <a:cubicBezTo>
                  <a:pt x="1351624" y="1191485"/>
                  <a:pt x="1350901" y="1190555"/>
                  <a:pt x="1350592" y="1189316"/>
                </a:cubicBezTo>
                <a:cubicBezTo>
                  <a:pt x="1350282" y="1188077"/>
                  <a:pt x="1350385" y="1186528"/>
                  <a:pt x="1350798" y="1185289"/>
                </a:cubicBezTo>
                <a:cubicBezTo>
                  <a:pt x="1350798" y="1186064"/>
                  <a:pt x="1350901" y="1186064"/>
                  <a:pt x="1350901" y="1186064"/>
                </a:cubicBezTo>
                <a:cubicBezTo>
                  <a:pt x="1351831" y="1186838"/>
                  <a:pt x="1351727" y="1186064"/>
                  <a:pt x="1352554" y="1185909"/>
                </a:cubicBezTo>
                <a:cubicBezTo>
                  <a:pt x="1352554" y="1185909"/>
                  <a:pt x="1351727" y="1186064"/>
                  <a:pt x="1352554" y="1184979"/>
                </a:cubicBezTo>
                <a:close/>
                <a:moveTo>
                  <a:pt x="4769291" y="1184531"/>
                </a:moveTo>
                <a:cubicBezTo>
                  <a:pt x="4770358" y="1186522"/>
                  <a:pt x="4771212" y="1188230"/>
                  <a:pt x="4771852" y="1190079"/>
                </a:cubicBezTo>
                <a:cubicBezTo>
                  <a:pt x="4773773" y="1195343"/>
                  <a:pt x="4772919" y="1200180"/>
                  <a:pt x="4766943" y="1205160"/>
                </a:cubicBezTo>
                <a:cubicBezTo>
                  <a:pt x="4762675" y="1204164"/>
                  <a:pt x="4761394" y="1199753"/>
                  <a:pt x="4762035" y="1195201"/>
                </a:cubicBezTo>
                <a:cubicBezTo>
                  <a:pt x="4762889" y="1190648"/>
                  <a:pt x="4765450" y="1186096"/>
                  <a:pt x="4769291" y="1184531"/>
                </a:cubicBezTo>
                <a:close/>
                <a:moveTo>
                  <a:pt x="3561975" y="1184246"/>
                </a:moveTo>
                <a:cubicBezTo>
                  <a:pt x="3562829" y="1184246"/>
                  <a:pt x="3564110" y="1184246"/>
                  <a:pt x="3564536" y="1184958"/>
                </a:cubicBezTo>
                <a:cubicBezTo>
                  <a:pt x="3566884" y="1186238"/>
                  <a:pt x="3563683" y="1189510"/>
                  <a:pt x="3563683" y="1190791"/>
                </a:cubicBezTo>
                <a:cubicBezTo>
                  <a:pt x="3562615" y="1191929"/>
                  <a:pt x="3561549" y="1193067"/>
                  <a:pt x="3560268" y="1191787"/>
                </a:cubicBezTo>
                <a:cubicBezTo>
                  <a:pt x="3558988" y="1190648"/>
                  <a:pt x="3557920" y="1190506"/>
                  <a:pt x="3558988" y="1188230"/>
                </a:cubicBezTo>
                <a:cubicBezTo>
                  <a:pt x="3558988" y="1186949"/>
                  <a:pt x="3560055" y="1185811"/>
                  <a:pt x="3560055" y="1184673"/>
                </a:cubicBezTo>
                <a:cubicBezTo>
                  <a:pt x="3560055" y="1184673"/>
                  <a:pt x="3560908" y="1184388"/>
                  <a:pt x="3561975" y="1184246"/>
                </a:cubicBezTo>
                <a:close/>
                <a:moveTo>
                  <a:pt x="3842836" y="1183250"/>
                </a:moveTo>
                <a:cubicBezTo>
                  <a:pt x="3860977" y="1184388"/>
                  <a:pt x="3879544" y="1205587"/>
                  <a:pt x="3874636" y="1223512"/>
                </a:cubicBezTo>
                <a:cubicBezTo>
                  <a:pt x="3870367" y="1225077"/>
                  <a:pt x="3866312" y="1225504"/>
                  <a:pt x="3862257" y="1225077"/>
                </a:cubicBezTo>
                <a:lnTo>
                  <a:pt x="3862044" y="1224935"/>
                </a:lnTo>
                <a:lnTo>
                  <a:pt x="3861617" y="1227780"/>
                </a:lnTo>
                <a:lnTo>
                  <a:pt x="3862044" y="1229914"/>
                </a:lnTo>
                <a:lnTo>
                  <a:pt x="3864818" y="1228492"/>
                </a:lnTo>
                <a:cubicBezTo>
                  <a:pt x="3870367" y="1227212"/>
                  <a:pt x="3876556" y="1228492"/>
                  <a:pt x="3879971" y="1233756"/>
                </a:cubicBezTo>
                <a:cubicBezTo>
                  <a:pt x="3879331" y="1244711"/>
                  <a:pt x="3864605" y="1250829"/>
                  <a:pt x="3856708" y="1250117"/>
                </a:cubicBezTo>
                <a:lnTo>
                  <a:pt x="3853294" y="1244284"/>
                </a:lnTo>
                <a:lnTo>
                  <a:pt x="3848385" y="1246845"/>
                </a:lnTo>
                <a:lnTo>
                  <a:pt x="3844330" y="1247414"/>
                </a:lnTo>
                <a:lnTo>
                  <a:pt x="3844543" y="1252962"/>
                </a:lnTo>
                <a:cubicBezTo>
                  <a:pt x="3842836" y="1253389"/>
                  <a:pt x="3840275" y="1253247"/>
                  <a:pt x="3837500" y="1252251"/>
                </a:cubicBezTo>
                <a:lnTo>
                  <a:pt x="3832165" y="1247698"/>
                </a:lnTo>
                <a:lnTo>
                  <a:pt x="3830885" y="1257230"/>
                </a:lnTo>
                <a:cubicBezTo>
                  <a:pt x="3829390" y="1260930"/>
                  <a:pt x="3827257" y="1264059"/>
                  <a:pt x="3824482" y="1266762"/>
                </a:cubicBezTo>
                <a:cubicBezTo>
                  <a:pt x="3815731" y="1275298"/>
                  <a:pt x="3800792" y="1277006"/>
                  <a:pt x="3787987" y="1269750"/>
                </a:cubicBezTo>
                <a:cubicBezTo>
                  <a:pt x="3787987" y="1268185"/>
                  <a:pt x="3788201" y="1266478"/>
                  <a:pt x="3786493" y="1266193"/>
                </a:cubicBezTo>
                <a:cubicBezTo>
                  <a:pt x="3786493" y="1249690"/>
                  <a:pt x="3802713" y="1237597"/>
                  <a:pt x="3818079" y="1238593"/>
                </a:cubicBezTo>
                <a:cubicBezTo>
                  <a:pt x="3820640" y="1238735"/>
                  <a:pt x="3823201" y="1239304"/>
                  <a:pt x="3825549" y="1240300"/>
                </a:cubicBezTo>
                <a:lnTo>
                  <a:pt x="3830244" y="1243003"/>
                </a:lnTo>
                <a:lnTo>
                  <a:pt x="3828964" y="1240443"/>
                </a:lnTo>
                <a:lnTo>
                  <a:pt x="3828110" y="1240158"/>
                </a:lnTo>
                <a:lnTo>
                  <a:pt x="3816372" y="1230199"/>
                </a:lnTo>
                <a:lnTo>
                  <a:pt x="3810823" y="1233614"/>
                </a:lnTo>
                <a:cubicBezTo>
                  <a:pt x="3804634" y="1236032"/>
                  <a:pt x="3797377" y="1235890"/>
                  <a:pt x="3793536" y="1230626"/>
                </a:cubicBezTo>
                <a:cubicBezTo>
                  <a:pt x="3797164" y="1229061"/>
                  <a:pt x="3800792" y="1227780"/>
                  <a:pt x="3804634" y="1225931"/>
                </a:cubicBezTo>
                <a:lnTo>
                  <a:pt x="3815091" y="1218533"/>
                </a:lnTo>
                <a:lnTo>
                  <a:pt x="3815945" y="1215261"/>
                </a:lnTo>
                <a:cubicBezTo>
                  <a:pt x="3817439" y="1212273"/>
                  <a:pt x="3819786" y="1209286"/>
                  <a:pt x="3823414" y="1206013"/>
                </a:cubicBezTo>
                <a:cubicBezTo>
                  <a:pt x="3827257" y="1207152"/>
                  <a:pt x="3831952" y="1208005"/>
                  <a:pt x="3836647" y="1209286"/>
                </a:cubicBezTo>
                <a:lnTo>
                  <a:pt x="3839421" y="1210282"/>
                </a:lnTo>
                <a:lnTo>
                  <a:pt x="3836860" y="1206867"/>
                </a:lnTo>
                <a:cubicBezTo>
                  <a:pt x="3833659" y="1200750"/>
                  <a:pt x="3831952" y="1193636"/>
                  <a:pt x="3832378" y="1186380"/>
                </a:cubicBezTo>
                <a:cubicBezTo>
                  <a:pt x="3834085" y="1186096"/>
                  <a:pt x="3835580" y="1185811"/>
                  <a:pt x="3835153" y="1184104"/>
                </a:cubicBezTo>
                <a:cubicBezTo>
                  <a:pt x="3837714" y="1183393"/>
                  <a:pt x="3840275" y="1183108"/>
                  <a:pt x="3842836" y="1183250"/>
                </a:cubicBezTo>
                <a:close/>
                <a:moveTo>
                  <a:pt x="1269535" y="1182966"/>
                </a:moveTo>
                <a:cubicBezTo>
                  <a:pt x="1279345" y="1185289"/>
                  <a:pt x="1284611" y="1194738"/>
                  <a:pt x="1295453" y="1201863"/>
                </a:cubicBezTo>
                <a:lnTo>
                  <a:pt x="1293388" y="1202637"/>
                </a:lnTo>
                <a:lnTo>
                  <a:pt x="1293904" y="1203412"/>
                </a:lnTo>
                <a:cubicBezTo>
                  <a:pt x="1293181" y="1206665"/>
                  <a:pt x="1290806" y="1208833"/>
                  <a:pt x="1288225" y="1209143"/>
                </a:cubicBezTo>
                <a:lnTo>
                  <a:pt x="1284714" y="1208213"/>
                </a:lnTo>
                <a:lnTo>
                  <a:pt x="1281306" y="1212706"/>
                </a:lnTo>
                <a:cubicBezTo>
                  <a:pt x="1280067" y="1214100"/>
                  <a:pt x="1278829" y="1215494"/>
                  <a:pt x="1277383" y="1216578"/>
                </a:cubicBezTo>
                <a:cubicBezTo>
                  <a:pt x="1275421" y="1218127"/>
                  <a:pt x="1273149" y="1219056"/>
                  <a:pt x="1270052" y="1219056"/>
                </a:cubicBezTo>
                <a:cubicBezTo>
                  <a:pt x="1256422" y="1219521"/>
                  <a:pt x="1248988" y="1207129"/>
                  <a:pt x="1249710" y="1196751"/>
                </a:cubicBezTo>
                <a:cubicBezTo>
                  <a:pt x="1250124" y="1190555"/>
                  <a:pt x="1253428" y="1184824"/>
                  <a:pt x="1260242" y="1183121"/>
                </a:cubicBezTo>
                <a:cubicBezTo>
                  <a:pt x="1262824" y="1182501"/>
                  <a:pt x="1265922" y="1182346"/>
                  <a:pt x="1269535" y="1182966"/>
                </a:cubicBezTo>
                <a:close/>
                <a:moveTo>
                  <a:pt x="4032780" y="1182539"/>
                </a:moveTo>
                <a:cubicBezTo>
                  <a:pt x="4034060" y="1183393"/>
                  <a:pt x="4034914" y="1184531"/>
                  <a:pt x="4035341" y="1185953"/>
                </a:cubicBezTo>
                <a:cubicBezTo>
                  <a:pt x="4035981" y="1188087"/>
                  <a:pt x="4035981" y="1190648"/>
                  <a:pt x="4035341" y="1193067"/>
                </a:cubicBezTo>
                <a:lnTo>
                  <a:pt x="4033420" y="1195912"/>
                </a:lnTo>
                <a:lnTo>
                  <a:pt x="4034060" y="1197477"/>
                </a:lnTo>
                <a:cubicBezTo>
                  <a:pt x="4026377" y="1207009"/>
                  <a:pt x="4020188" y="1200607"/>
                  <a:pt x="4021468" y="1193636"/>
                </a:cubicBezTo>
                <a:cubicBezTo>
                  <a:pt x="4021895" y="1191217"/>
                  <a:pt x="4023175" y="1188941"/>
                  <a:pt x="4025523" y="1186949"/>
                </a:cubicBezTo>
                <a:cubicBezTo>
                  <a:pt x="4026377" y="1187092"/>
                  <a:pt x="4027230" y="1187519"/>
                  <a:pt x="4028297" y="1188230"/>
                </a:cubicBezTo>
                <a:lnTo>
                  <a:pt x="4028725" y="1188514"/>
                </a:lnTo>
                <a:close/>
                <a:moveTo>
                  <a:pt x="3944637" y="1182397"/>
                </a:moveTo>
                <a:cubicBezTo>
                  <a:pt x="3945278" y="1182824"/>
                  <a:pt x="3946131" y="1183677"/>
                  <a:pt x="3947412" y="1184246"/>
                </a:cubicBezTo>
                <a:lnTo>
                  <a:pt x="3943997" y="1187661"/>
                </a:lnTo>
                <a:cubicBezTo>
                  <a:pt x="3942717" y="1186522"/>
                  <a:pt x="3941649" y="1184104"/>
                  <a:pt x="3942717" y="1182966"/>
                </a:cubicBezTo>
                <a:cubicBezTo>
                  <a:pt x="3943143" y="1181828"/>
                  <a:pt x="3943783" y="1181828"/>
                  <a:pt x="3944637" y="1182397"/>
                </a:cubicBezTo>
                <a:close/>
                <a:moveTo>
                  <a:pt x="1719629" y="1182036"/>
                </a:moveTo>
                <a:cubicBezTo>
                  <a:pt x="1721281" y="1182656"/>
                  <a:pt x="1721695" y="1191640"/>
                  <a:pt x="1717564" y="1190710"/>
                </a:cubicBezTo>
                <a:cubicBezTo>
                  <a:pt x="1716738" y="1190400"/>
                  <a:pt x="1716325" y="1189781"/>
                  <a:pt x="1716119" y="1188852"/>
                </a:cubicBezTo>
                <a:cubicBezTo>
                  <a:pt x="1715809" y="1186373"/>
                  <a:pt x="1718184" y="1182346"/>
                  <a:pt x="1719629" y="1182036"/>
                </a:cubicBezTo>
                <a:close/>
                <a:moveTo>
                  <a:pt x="1107062" y="1181804"/>
                </a:moveTo>
                <a:cubicBezTo>
                  <a:pt x="1108585" y="1181688"/>
                  <a:pt x="1109953" y="1182733"/>
                  <a:pt x="1111760" y="1183740"/>
                </a:cubicBezTo>
                <a:cubicBezTo>
                  <a:pt x="1111037" y="1185444"/>
                  <a:pt x="1112070" y="1187767"/>
                  <a:pt x="1110418" y="1189781"/>
                </a:cubicBezTo>
                <a:cubicBezTo>
                  <a:pt x="1110418" y="1189781"/>
                  <a:pt x="1109592" y="1190710"/>
                  <a:pt x="1107836" y="1190865"/>
                </a:cubicBezTo>
                <a:cubicBezTo>
                  <a:pt x="1105358" y="1192879"/>
                  <a:pt x="1102673" y="1190865"/>
                  <a:pt x="1102673" y="1190865"/>
                </a:cubicBezTo>
                <a:cubicBezTo>
                  <a:pt x="1102673" y="1190865"/>
                  <a:pt x="1102570" y="1190865"/>
                  <a:pt x="1102673" y="1191640"/>
                </a:cubicBezTo>
                <a:cubicBezTo>
                  <a:pt x="1102570" y="1190090"/>
                  <a:pt x="1101537" y="1188542"/>
                  <a:pt x="1101434" y="1186838"/>
                </a:cubicBezTo>
                <a:cubicBezTo>
                  <a:pt x="1103861" y="1183198"/>
                  <a:pt x="1105539" y="1181920"/>
                  <a:pt x="1107062" y="1181804"/>
                </a:cubicBezTo>
                <a:close/>
                <a:moveTo>
                  <a:pt x="4463674" y="1181116"/>
                </a:moveTo>
                <a:cubicBezTo>
                  <a:pt x="4464741" y="1182539"/>
                  <a:pt x="4465381" y="1183250"/>
                  <a:pt x="4465595" y="1183962"/>
                </a:cubicBezTo>
                <a:cubicBezTo>
                  <a:pt x="4466022" y="1184815"/>
                  <a:pt x="4466235" y="1185527"/>
                  <a:pt x="4466448" y="1187234"/>
                </a:cubicBezTo>
                <a:cubicBezTo>
                  <a:pt x="4465595" y="1186665"/>
                  <a:pt x="4463034" y="1186380"/>
                  <a:pt x="4462607" y="1184673"/>
                </a:cubicBezTo>
                <a:cubicBezTo>
                  <a:pt x="4462393" y="1183108"/>
                  <a:pt x="4462393" y="1183108"/>
                  <a:pt x="4463674" y="1181116"/>
                </a:cubicBezTo>
                <a:close/>
                <a:moveTo>
                  <a:pt x="3783932" y="1180974"/>
                </a:moveTo>
                <a:cubicBezTo>
                  <a:pt x="3788627" y="1181828"/>
                  <a:pt x="3793536" y="1182681"/>
                  <a:pt x="3793323" y="1187661"/>
                </a:cubicBezTo>
                <a:cubicBezTo>
                  <a:pt x="3789054" y="1191217"/>
                  <a:pt x="3782652" y="1188372"/>
                  <a:pt x="3783932" y="1180974"/>
                </a:cubicBezTo>
                <a:close/>
                <a:moveTo>
                  <a:pt x="1321060" y="1180797"/>
                </a:moveTo>
                <a:cubicBezTo>
                  <a:pt x="1319202" y="1182656"/>
                  <a:pt x="1320028" y="1184360"/>
                  <a:pt x="1318169" y="1186064"/>
                </a:cubicBezTo>
                <a:cubicBezTo>
                  <a:pt x="1316517" y="1184514"/>
                  <a:pt x="1314865" y="1183585"/>
                  <a:pt x="1314039" y="1182810"/>
                </a:cubicBezTo>
                <a:cubicBezTo>
                  <a:pt x="1315897" y="1179403"/>
                  <a:pt x="1318582" y="1178473"/>
                  <a:pt x="1321060" y="1180797"/>
                </a:cubicBezTo>
                <a:close/>
                <a:moveTo>
                  <a:pt x="3832592" y="1180263"/>
                </a:moveTo>
                <a:cubicBezTo>
                  <a:pt x="3834726" y="1180121"/>
                  <a:pt x="3836220" y="1179978"/>
                  <a:pt x="3837500" y="1180263"/>
                </a:cubicBezTo>
                <a:cubicBezTo>
                  <a:pt x="3838781" y="1180405"/>
                  <a:pt x="3839635" y="1181116"/>
                  <a:pt x="3840915" y="1182539"/>
                </a:cubicBezTo>
                <a:cubicBezTo>
                  <a:pt x="3837500" y="1183393"/>
                  <a:pt x="3834939" y="1183250"/>
                  <a:pt x="3832592" y="1180263"/>
                </a:cubicBezTo>
                <a:close/>
                <a:moveTo>
                  <a:pt x="4881123" y="1179978"/>
                </a:moveTo>
                <a:cubicBezTo>
                  <a:pt x="4881763" y="1179836"/>
                  <a:pt x="4882830" y="1179836"/>
                  <a:pt x="4883898" y="1180121"/>
                </a:cubicBezTo>
                <a:cubicBezTo>
                  <a:pt x="4884965" y="1180263"/>
                  <a:pt x="4886245" y="1180832"/>
                  <a:pt x="4887526" y="1181685"/>
                </a:cubicBezTo>
                <a:cubicBezTo>
                  <a:pt x="4888806" y="1182824"/>
                  <a:pt x="4891581" y="1186238"/>
                  <a:pt x="4890514" y="1186238"/>
                </a:cubicBezTo>
                <a:cubicBezTo>
                  <a:pt x="4889660" y="1187519"/>
                  <a:pt x="4890727" y="1187519"/>
                  <a:pt x="4890727" y="1188799"/>
                </a:cubicBezTo>
                <a:cubicBezTo>
                  <a:pt x="4887953" y="1192498"/>
                  <a:pt x="4884751" y="1193921"/>
                  <a:pt x="4880910" y="1191644"/>
                </a:cubicBezTo>
                <a:cubicBezTo>
                  <a:pt x="4878348" y="1189368"/>
                  <a:pt x="4874507" y="1185953"/>
                  <a:pt x="4876215" y="1182255"/>
                </a:cubicBezTo>
                <a:cubicBezTo>
                  <a:pt x="4877282" y="1182112"/>
                  <a:pt x="4877282" y="1180974"/>
                  <a:pt x="4878348" y="1180974"/>
                </a:cubicBezTo>
                <a:cubicBezTo>
                  <a:pt x="4878348" y="1180974"/>
                  <a:pt x="4879415" y="1180263"/>
                  <a:pt x="4881123" y="1179978"/>
                </a:cubicBezTo>
                <a:close/>
                <a:moveTo>
                  <a:pt x="1485651" y="1179713"/>
                </a:moveTo>
                <a:cubicBezTo>
                  <a:pt x="1489884" y="1180797"/>
                  <a:pt x="1491123" y="1181261"/>
                  <a:pt x="1491433" y="1185754"/>
                </a:cubicBezTo>
                <a:cubicBezTo>
                  <a:pt x="1491433" y="1185754"/>
                  <a:pt x="1491020" y="1186838"/>
                  <a:pt x="1491020" y="1186838"/>
                </a:cubicBezTo>
                <a:cubicBezTo>
                  <a:pt x="1490297" y="1190865"/>
                  <a:pt x="1486270" y="1194273"/>
                  <a:pt x="1484308" y="1194118"/>
                </a:cubicBezTo>
                <a:cubicBezTo>
                  <a:pt x="1482553" y="1193344"/>
                  <a:pt x="1480901" y="1191640"/>
                  <a:pt x="1480591" y="1189471"/>
                </a:cubicBezTo>
                <a:cubicBezTo>
                  <a:pt x="1480488" y="1188697"/>
                  <a:pt x="1480591" y="1187922"/>
                  <a:pt x="1480901" y="1187148"/>
                </a:cubicBezTo>
                <a:cubicBezTo>
                  <a:pt x="1481314" y="1184205"/>
                  <a:pt x="1484411" y="1182966"/>
                  <a:pt x="1485651" y="1179713"/>
                </a:cubicBezTo>
                <a:close/>
                <a:moveTo>
                  <a:pt x="1477803" y="1179248"/>
                </a:moveTo>
                <a:lnTo>
                  <a:pt x="1478010" y="1180332"/>
                </a:lnTo>
                <a:lnTo>
                  <a:pt x="1478836" y="1180642"/>
                </a:lnTo>
                <a:close/>
                <a:moveTo>
                  <a:pt x="4794261" y="1178698"/>
                </a:moveTo>
                <a:cubicBezTo>
                  <a:pt x="4794475" y="1178698"/>
                  <a:pt x="4794261" y="1179125"/>
                  <a:pt x="4794048" y="1179551"/>
                </a:cubicBezTo>
                <a:cubicBezTo>
                  <a:pt x="4795115" y="1181828"/>
                  <a:pt x="4794261" y="1181116"/>
                  <a:pt x="4794475" y="1182824"/>
                </a:cubicBezTo>
                <a:cubicBezTo>
                  <a:pt x="4794688" y="1184388"/>
                  <a:pt x="4798103" y="1189510"/>
                  <a:pt x="4799597" y="1189083"/>
                </a:cubicBezTo>
                <a:cubicBezTo>
                  <a:pt x="4798956" y="1190079"/>
                  <a:pt x="4799383" y="1191787"/>
                  <a:pt x="4799383" y="1191787"/>
                </a:cubicBezTo>
                <a:cubicBezTo>
                  <a:pt x="4797676" y="1192214"/>
                  <a:pt x="4796822" y="1191502"/>
                  <a:pt x="4795755" y="1190933"/>
                </a:cubicBezTo>
                <a:cubicBezTo>
                  <a:pt x="4795542" y="1189368"/>
                  <a:pt x="4796182" y="1188372"/>
                  <a:pt x="4795968" y="1186665"/>
                </a:cubicBezTo>
                <a:cubicBezTo>
                  <a:pt x="4795115" y="1186096"/>
                  <a:pt x="4793194" y="1184815"/>
                  <a:pt x="4792980" y="1183250"/>
                </a:cubicBezTo>
                <a:cubicBezTo>
                  <a:pt x="4792554" y="1181543"/>
                  <a:pt x="4792980" y="1178982"/>
                  <a:pt x="4792980" y="1178982"/>
                </a:cubicBezTo>
                <a:cubicBezTo>
                  <a:pt x="4793834" y="1178698"/>
                  <a:pt x="4794261" y="1178556"/>
                  <a:pt x="4794261" y="1178698"/>
                </a:cubicBezTo>
                <a:close/>
                <a:moveTo>
                  <a:pt x="4518736" y="1178129"/>
                </a:moveTo>
                <a:cubicBezTo>
                  <a:pt x="4520657" y="1177986"/>
                  <a:pt x="4522365" y="1178413"/>
                  <a:pt x="4523005" y="1179551"/>
                </a:cubicBezTo>
                <a:cubicBezTo>
                  <a:pt x="4520657" y="1180974"/>
                  <a:pt x="4519163" y="1181401"/>
                  <a:pt x="4517456" y="1181828"/>
                </a:cubicBezTo>
                <a:cubicBezTo>
                  <a:pt x="4515108" y="1183250"/>
                  <a:pt x="4514254" y="1182539"/>
                  <a:pt x="4513614" y="1179267"/>
                </a:cubicBezTo>
                <a:cubicBezTo>
                  <a:pt x="4514681" y="1178556"/>
                  <a:pt x="4516815" y="1178129"/>
                  <a:pt x="4518736" y="1178129"/>
                </a:cubicBezTo>
                <a:close/>
                <a:moveTo>
                  <a:pt x="5021126" y="1177702"/>
                </a:moveTo>
                <a:cubicBezTo>
                  <a:pt x="5020913" y="1178840"/>
                  <a:pt x="5020700" y="1181258"/>
                  <a:pt x="5022833" y="1182539"/>
                </a:cubicBezTo>
                <a:cubicBezTo>
                  <a:pt x="5020273" y="1184815"/>
                  <a:pt x="5017925" y="1187234"/>
                  <a:pt x="5015791" y="1184815"/>
                </a:cubicBezTo>
                <a:cubicBezTo>
                  <a:pt x="5014724" y="1183535"/>
                  <a:pt x="5013657" y="1182397"/>
                  <a:pt x="5013870" y="1179978"/>
                </a:cubicBezTo>
                <a:cubicBezTo>
                  <a:pt x="5016431" y="1177560"/>
                  <a:pt x="5019846" y="1178840"/>
                  <a:pt x="5021126" y="1177702"/>
                </a:cubicBezTo>
                <a:close/>
                <a:moveTo>
                  <a:pt x="4527060" y="1177560"/>
                </a:moveTo>
                <a:cubicBezTo>
                  <a:pt x="4526419" y="1178556"/>
                  <a:pt x="4527273" y="1179125"/>
                  <a:pt x="4527273" y="1179125"/>
                </a:cubicBezTo>
                <a:cubicBezTo>
                  <a:pt x="4527273" y="1179125"/>
                  <a:pt x="4527273" y="1179125"/>
                  <a:pt x="4527913" y="1178129"/>
                </a:cubicBezTo>
                <a:cubicBezTo>
                  <a:pt x="4528127" y="1178982"/>
                  <a:pt x="4527700" y="1179409"/>
                  <a:pt x="4527486" y="1179694"/>
                </a:cubicBezTo>
                <a:cubicBezTo>
                  <a:pt x="4527060" y="1180121"/>
                  <a:pt x="4526633" y="1180263"/>
                  <a:pt x="4526633" y="1180263"/>
                </a:cubicBezTo>
                <a:cubicBezTo>
                  <a:pt x="4524925" y="1180690"/>
                  <a:pt x="4523432" y="1180974"/>
                  <a:pt x="4523218" y="1179409"/>
                </a:cubicBezTo>
                <a:cubicBezTo>
                  <a:pt x="4523218" y="1179409"/>
                  <a:pt x="4523858" y="1178413"/>
                  <a:pt x="4527060" y="1177560"/>
                </a:cubicBezTo>
                <a:close/>
                <a:moveTo>
                  <a:pt x="1699701" y="1177234"/>
                </a:moveTo>
                <a:cubicBezTo>
                  <a:pt x="1701353" y="1179713"/>
                  <a:pt x="1702282" y="1181417"/>
                  <a:pt x="1702799" y="1183275"/>
                </a:cubicBezTo>
                <a:lnTo>
                  <a:pt x="1703005" y="1185444"/>
                </a:lnTo>
                <a:lnTo>
                  <a:pt x="1708787" y="1187767"/>
                </a:lnTo>
                <a:lnTo>
                  <a:pt x="1703315" y="1189471"/>
                </a:lnTo>
                <a:lnTo>
                  <a:pt x="1703418" y="1189936"/>
                </a:lnTo>
                <a:cubicBezTo>
                  <a:pt x="1699907" y="1192259"/>
                  <a:pt x="1696397" y="1193344"/>
                  <a:pt x="1692989" y="1193499"/>
                </a:cubicBezTo>
                <a:lnTo>
                  <a:pt x="1689685" y="1193344"/>
                </a:lnTo>
                <a:lnTo>
                  <a:pt x="1682767" y="1193808"/>
                </a:lnTo>
                <a:cubicBezTo>
                  <a:pt x="1679669" y="1193653"/>
                  <a:pt x="1676262" y="1193034"/>
                  <a:pt x="1672751" y="1191795"/>
                </a:cubicBezTo>
                <a:lnTo>
                  <a:pt x="1679875" y="1185134"/>
                </a:lnTo>
                <a:lnTo>
                  <a:pt x="1679875" y="1184514"/>
                </a:lnTo>
                <a:cubicBezTo>
                  <a:pt x="1681218" y="1178628"/>
                  <a:pt x="1693196" y="1179093"/>
                  <a:pt x="1699701" y="1177234"/>
                </a:cubicBezTo>
                <a:close/>
                <a:moveTo>
                  <a:pt x="1332109" y="1177234"/>
                </a:moveTo>
                <a:cubicBezTo>
                  <a:pt x="1333864" y="1178628"/>
                  <a:pt x="1333244" y="1182810"/>
                  <a:pt x="1332522" y="1184669"/>
                </a:cubicBezTo>
                <a:cubicBezTo>
                  <a:pt x="1330870" y="1186528"/>
                  <a:pt x="1328288" y="1186064"/>
                  <a:pt x="1326430" y="1184669"/>
                </a:cubicBezTo>
                <a:cubicBezTo>
                  <a:pt x="1325603" y="1184360"/>
                  <a:pt x="1325087" y="1183585"/>
                  <a:pt x="1324881" y="1182656"/>
                </a:cubicBezTo>
                <a:cubicBezTo>
                  <a:pt x="1324777" y="1181726"/>
                  <a:pt x="1324881" y="1180642"/>
                  <a:pt x="1325294" y="1179867"/>
                </a:cubicBezTo>
                <a:cubicBezTo>
                  <a:pt x="1326120" y="1178783"/>
                  <a:pt x="1326120" y="1178783"/>
                  <a:pt x="1326946" y="1177854"/>
                </a:cubicBezTo>
                <a:cubicBezTo>
                  <a:pt x="1328598" y="1177699"/>
                  <a:pt x="1330353" y="1176615"/>
                  <a:pt x="1332109" y="1177234"/>
                </a:cubicBezTo>
                <a:close/>
                <a:moveTo>
                  <a:pt x="1562576" y="1176924"/>
                </a:moveTo>
                <a:lnTo>
                  <a:pt x="1567946" y="1179403"/>
                </a:lnTo>
                <a:lnTo>
                  <a:pt x="1569701" y="1178164"/>
                </a:lnTo>
                <a:cubicBezTo>
                  <a:pt x="1570837" y="1178009"/>
                  <a:pt x="1572179" y="1178628"/>
                  <a:pt x="1573728" y="1179403"/>
                </a:cubicBezTo>
                <a:cubicBezTo>
                  <a:pt x="1572902" y="1180487"/>
                  <a:pt x="1571973" y="1180952"/>
                  <a:pt x="1570837" y="1181107"/>
                </a:cubicBezTo>
                <a:lnTo>
                  <a:pt x="1570321" y="1181107"/>
                </a:lnTo>
                <a:lnTo>
                  <a:pt x="1574658" y="1184050"/>
                </a:lnTo>
                <a:cubicBezTo>
                  <a:pt x="1576516" y="1185599"/>
                  <a:pt x="1578271" y="1186838"/>
                  <a:pt x="1580337" y="1187303"/>
                </a:cubicBezTo>
                <a:cubicBezTo>
                  <a:pt x="1580337" y="1187303"/>
                  <a:pt x="1580337" y="1187457"/>
                  <a:pt x="1580956" y="1189781"/>
                </a:cubicBezTo>
                <a:cubicBezTo>
                  <a:pt x="1581679" y="1190245"/>
                  <a:pt x="1581679" y="1190245"/>
                  <a:pt x="1581679" y="1190245"/>
                </a:cubicBezTo>
                <a:cubicBezTo>
                  <a:pt x="1581989" y="1190400"/>
                  <a:pt x="1581989" y="1190865"/>
                  <a:pt x="1581886" y="1191330"/>
                </a:cubicBezTo>
                <a:lnTo>
                  <a:pt x="1582092" y="1191485"/>
                </a:lnTo>
                <a:lnTo>
                  <a:pt x="1582505" y="1191949"/>
                </a:lnTo>
                <a:lnTo>
                  <a:pt x="1584983" y="1187612"/>
                </a:lnTo>
                <a:cubicBezTo>
                  <a:pt x="1587152" y="1188697"/>
                  <a:pt x="1588184" y="1185754"/>
                  <a:pt x="1590456" y="1187612"/>
                </a:cubicBezTo>
                <a:lnTo>
                  <a:pt x="1590146" y="1189936"/>
                </a:lnTo>
                <a:cubicBezTo>
                  <a:pt x="1591075" y="1189781"/>
                  <a:pt x="1592314" y="1189936"/>
                  <a:pt x="1593863" y="1190245"/>
                </a:cubicBezTo>
                <a:cubicBezTo>
                  <a:pt x="1597064" y="1191020"/>
                  <a:pt x="1601091" y="1193188"/>
                  <a:pt x="1602227" y="1193653"/>
                </a:cubicBezTo>
                <a:cubicBezTo>
                  <a:pt x="1603363" y="1194118"/>
                  <a:pt x="1604189" y="1193808"/>
                  <a:pt x="1604189" y="1193808"/>
                </a:cubicBezTo>
                <a:cubicBezTo>
                  <a:pt x="1604189" y="1195202"/>
                  <a:pt x="1597580" y="1193963"/>
                  <a:pt x="1592831" y="1193034"/>
                </a:cubicBezTo>
                <a:lnTo>
                  <a:pt x="1589733" y="1192259"/>
                </a:lnTo>
                <a:lnTo>
                  <a:pt x="1589630" y="1193344"/>
                </a:lnTo>
                <a:lnTo>
                  <a:pt x="1588700" y="1194892"/>
                </a:lnTo>
                <a:lnTo>
                  <a:pt x="1589113" y="1196751"/>
                </a:lnTo>
                <a:lnTo>
                  <a:pt x="1589423" y="1196906"/>
                </a:lnTo>
                <a:cubicBezTo>
                  <a:pt x="1590662" y="1197371"/>
                  <a:pt x="1592004" y="1197681"/>
                  <a:pt x="1592521" y="1197216"/>
                </a:cubicBezTo>
                <a:cubicBezTo>
                  <a:pt x="1592418" y="1197990"/>
                  <a:pt x="1593140" y="1198920"/>
                  <a:pt x="1593140" y="1198920"/>
                </a:cubicBezTo>
                <a:cubicBezTo>
                  <a:pt x="1592211" y="1199849"/>
                  <a:pt x="1591282" y="1199694"/>
                  <a:pt x="1590456" y="1199694"/>
                </a:cubicBezTo>
                <a:lnTo>
                  <a:pt x="1589113" y="1197371"/>
                </a:lnTo>
                <a:lnTo>
                  <a:pt x="1590353" y="1204186"/>
                </a:lnTo>
                <a:lnTo>
                  <a:pt x="1589939" y="1206665"/>
                </a:lnTo>
                <a:lnTo>
                  <a:pt x="1590972" y="1206510"/>
                </a:lnTo>
                <a:cubicBezTo>
                  <a:pt x="1590559" y="1208368"/>
                  <a:pt x="1591592" y="1208833"/>
                  <a:pt x="1589527" y="1211156"/>
                </a:cubicBezTo>
                <a:lnTo>
                  <a:pt x="1589217" y="1211156"/>
                </a:lnTo>
                <a:lnTo>
                  <a:pt x="1588494" y="1215494"/>
                </a:lnTo>
                <a:cubicBezTo>
                  <a:pt x="1587565" y="1217817"/>
                  <a:pt x="1586429" y="1219831"/>
                  <a:pt x="1584983" y="1221845"/>
                </a:cubicBezTo>
                <a:cubicBezTo>
                  <a:pt x="1578685" y="1218591"/>
                  <a:pt x="1580337" y="1211156"/>
                  <a:pt x="1580233" y="1205580"/>
                </a:cubicBezTo>
                <a:cubicBezTo>
                  <a:pt x="1574451" y="1207129"/>
                  <a:pt x="1566500" y="1211156"/>
                  <a:pt x="1563609" y="1205116"/>
                </a:cubicBezTo>
                <a:cubicBezTo>
                  <a:pt x="1565261" y="1200469"/>
                  <a:pt x="1570631" y="1200469"/>
                  <a:pt x="1576000" y="1199385"/>
                </a:cubicBezTo>
                <a:lnTo>
                  <a:pt x="1578168" y="1198765"/>
                </a:lnTo>
                <a:lnTo>
                  <a:pt x="1579304" y="1197371"/>
                </a:lnTo>
                <a:lnTo>
                  <a:pt x="1582195" y="1192414"/>
                </a:lnTo>
                <a:lnTo>
                  <a:pt x="1581886" y="1191949"/>
                </a:lnTo>
                <a:lnTo>
                  <a:pt x="1581576" y="1191949"/>
                </a:lnTo>
                <a:lnTo>
                  <a:pt x="1581472" y="1192104"/>
                </a:lnTo>
                <a:lnTo>
                  <a:pt x="1580853" y="1191949"/>
                </a:lnTo>
                <a:lnTo>
                  <a:pt x="1580027" y="1191949"/>
                </a:lnTo>
                <a:lnTo>
                  <a:pt x="1579924" y="1191795"/>
                </a:lnTo>
                <a:lnTo>
                  <a:pt x="1578994" y="1191640"/>
                </a:lnTo>
                <a:cubicBezTo>
                  <a:pt x="1578168" y="1191175"/>
                  <a:pt x="1577342" y="1190400"/>
                  <a:pt x="1576619" y="1189936"/>
                </a:cubicBezTo>
                <a:cubicBezTo>
                  <a:pt x="1574968" y="1190710"/>
                  <a:pt x="1574451" y="1186528"/>
                  <a:pt x="1572799" y="1187457"/>
                </a:cubicBezTo>
                <a:cubicBezTo>
                  <a:pt x="1571560" y="1182810"/>
                  <a:pt x="1565674" y="1183740"/>
                  <a:pt x="1562576" y="1176924"/>
                </a:cubicBezTo>
                <a:close/>
                <a:moveTo>
                  <a:pt x="1376018" y="1176847"/>
                </a:moveTo>
                <a:cubicBezTo>
                  <a:pt x="1377619" y="1176305"/>
                  <a:pt x="1379348" y="1175840"/>
                  <a:pt x="1380742" y="1176924"/>
                </a:cubicBezTo>
                <a:cubicBezTo>
                  <a:pt x="1389829" y="1182346"/>
                  <a:pt x="1388177" y="1185134"/>
                  <a:pt x="1385905" y="1191485"/>
                </a:cubicBezTo>
                <a:cubicBezTo>
                  <a:pt x="1385905" y="1190555"/>
                  <a:pt x="1385079" y="1191485"/>
                  <a:pt x="1385079" y="1191485"/>
                </a:cubicBezTo>
                <a:cubicBezTo>
                  <a:pt x="1383427" y="1193499"/>
                  <a:pt x="1388693" y="1193499"/>
                  <a:pt x="1387144" y="1196287"/>
                </a:cubicBezTo>
                <a:lnTo>
                  <a:pt x="1386422" y="1196906"/>
                </a:lnTo>
                <a:lnTo>
                  <a:pt x="1386422" y="1197216"/>
                </a:lnTo>
                <a:lnTo>
                  <a:pt x="1389416" y="1200004"/>
                </a:lnTo>
                <a:lnTo>
                  <a:pt x="1389416" y="1199539"/>
                </a:lnTo>
                <a:cubicBezTo>
                  <a:pt x="1390448" y="1193034"/>
                  <a:pt x="1397263" y="1193344"/>
                  <a:pt x="1396747" y="1192724"/>
                </a:cubicBezTo>
                <a:lnTo>
                  <a:pt x="1396954" y="1191949"/>
                </a:lnTo>
                <a:lnTo>
                  <a:pt x="1395921" y="1192259"/>
                </a:lnTo>
                <a:cubicBezTo>
                  <a:pt x="1395198" y="1192414"/>
                  <a:pt x="1394889" y="1192569"/>
                  <a:pt x="1394889" y="1192569"/>
                </a:cubicBezTo>
                <a:cubicBezTo>
                  <a:pt x="1393133" y="1192104"/>
                  <a:pt x="1393030" y="1191175"/>
                  <a:pt x="1393133" y="1192104"/>
                </a:cubicBezTo>
                <a:cubicBezTo>
                  <a:pt x="1391275" y="1190710"/>
                  <a:pt x="1388590" y="1189316"/>
                  <a:pt x="1389416" y="1187612"/>
                </a:cubicBezTo>
                <a:cubicBezTo>
                  <a:pt x="1392410" y="1183430"/>
                  <a:pt x="1398709" y="1185289"/>
                  <a:pt x="1402736" y="1186838"/>
                </a:cubicBezTo>
                <a:lnTo>
                  <a:pt x="1405524" y="1187612"/>
                </a:lnTo>
                <a:lnTo>
                  <a:pt x="1407486" y="1185754"/>
                </a:lnTo>
                <a:cubicBezTo>
                  <a:pt x="1409138" y="1185444"/>
                  <a:pt x="1410480" y="1187303"/>
                  <a:pt x="1410273" y="1189006"/>
                </a:cubicBezTo>
                <a:lnTo>
                  <a:pt x="1408828" y="1190865"/>
                </a:lnTo>
                <a:lnTo>
                  <a:pt x="1410377" y="1191330"/>
                </a:lnTo>
                <a:cubicBezTo>
                  <a:pt x="1409551" y="1192259"/>
                  <a:pt x="1407073" y="1195047"/>
                  <a:pt x="1407073" y="1195047"/>
                </a:cubicBezTo>
                <a:cubicBezTo>
                  <a:pt x="1407176" y="1195977"/>
                  <a:pt x="1407176" y="1195822"/>
                  <a:pt x="1406453" y="1196906"/>
                </a:cubicBezTo>
                <a:cubicBezTo>
                  <a:pt x="1405524" y="1196132"/>
                  <a:pt x="1405524" y="1196132"/>
                  <a:pt x="1405421" y="1195357"/>
                </a:cubicBezTo>
                <a:cubicBezTo>
                  <a:pt x="1406247" y="1194428"/>
                  <a:pt x="1407073" y="1194273"/>
                  <a:pt x="1407899" y="1193344"/>
                </a:cubicBezTo>
                <a:cubicBezTo>
                  <a:pt x="1406040" y="1191949"/>
                  <a:pt x="1406143" y="1192724"/>
                  <a:pt x="1406969" y="1191795"/>
                </a:cubicBezTo>
                <a:cubicBezTo>
                  <a:pt x="1406969" y="1191795"/>
                  <a:pt x="1406969" y="1191795"/>
                  <a:pt x="1407796" y="1190865"/>
                </a:cubicBezTo>
                <a:lnTo>
                  <a:pt x="1408002" y="1190710"/>
                </a:lnTo>
                <a:lnTo>
                  <a:pt x="1407796" y="1190555"/>
                </a:lnTo>
                <a:lnTo>
                  <a:pt x="1407796" y="1190865"/>
                </a:lnTo>
                <a:lnTo>
                  <a:pt x="1399225" y="1191485"/>
                </a:lnTo>
                <a:lnTo>
                  <a:pt x="1398709" y="1192414"/>
                </a:lnTo>
                <a:cubicBezTo>
                  <a:pt x="1399432" y="1191949"/>
                  <a:pt x="1399225" y="1193034"/>
                  <a:pt x="1399225" y="1193034"/>
                </a:cubicBezTo>
                <a:cubicBezTo>
                  <a:pt x="1399225" y="1193034"/>
                  <a:pt x="1399122" y="1193034"/>
                  <a:pt x="1401600" y="1193344"/>
                </a:cubicBezTo>
                <a:cubicBezTo>
                  <a:pt x="1401600" y="1193344"/>
                  <a:pt x="1406866" y="1194892"/>
                  <a:pt x="1406040" y="1200159"/>
                </a:cubicBezTo>
                <a:cubicBezTo>
                  <a:pt x="1405111" y="1200004"/>
                  <a:pt x="1403872" y="1203877"/>
                  <a:pt x="1401600" y="1206200"/>
                </a:cubicBezTo>
                <a:lnTo>
                  <a:pt x="1400981" y="1206510"/>
                </a:lnTo>
                <a:lnTo>
                  <a:pt x="1400464" y="1207439"/>
                </a:lnTo>
                <a:cubicBezTo>
                  <a:pt x="1399638" y="1208833"/>
                  <a:pt x="1399019" y="1210072"/>
                  <a:pt x="1398606" y="1210692"/>
                </a:cubicBezTo>
                <a:cubicBezTo>
                  <a:pt x="1397676" y="1210847"/>
                  <a:pt x="1397676" y="1210847"/>
                  <a:pt x="1397676" y="1210847"/>
                </a:cubicBezTo>
                <a:cubicBezTo>
                  <a:pt x="1396747" y="1210537"/>
                  <a:pt x="1396541" y="1209917"/>
                  <a:pt x="1396747" y="1208988"/>
                </a:cubicBezTo>
                <a:lnTo>
                  <a:pt x="1397263" y="1207749"/>
                </a:lnTo>
                <a:lnTo>
                  <a:pt x="1393959" y="1208058"/>
                </a:lnTo>
                <a:cubicBezTo>
                  <a:pt x="1393236" y="1207129"/>
                  <a:pt x="1392101" y="1206510"/>
                  <a:pt x="1391068" y="1205425"/>
                </a:cubicBezTo>
                <a:lnTo>
                  <a:pt x="1390242" y="1204032"/>
                </a:lnTo>
                <a:lnTo>
                  <a:pt x="1390345" y="1206045"/>
                </a:lnTo>
                <a:cubicBezTo>
                  <a:pt x="1389829" y="1206975"/>
                  <a:pt x="1388900" y="1208058"/>
                  <a:pt x="1387454" y="1208988"/>
                </a:cubicBezTo>
                <a:cubicBezTo>
                  <a:pt x="1383117" y="1207439"/>
                  <a:pt x="1375890" y="1205890"/>
                  <a:pt x="1372895" y="1201089"/>
                </a:cubicBezTo>
                <a:lnTo>
                  <a:pt x="1372689" y="1200004"/>
                </a:lnTo>
                <a:lnTo>
                  <a:pt x="1371759" y="1199229"/>
                </a:lnTo>
                <a:lnTo>
                  <a:pt x="1371553" y="1199385"/>
                </a:lnTo>
                <a:cubicBezTo>
                  <a:pt x="1371553" y="1198455"/>
                  <a:pt x="1370624" y="1198610"/>
                  <a:pt x="1370624" y="1199539"/>
                </a:cubicBezTo>
                <a:cubicBezTo>
                  <a:pt x="1369281" y="1198765"/>
                  <a:pt x="1368248" y="1198300"/>
                  <a:pt x="1367629" y="1197835"/>
                </a:cubicBezTo>
                <a:cubicBezTo>
                  <a:pt x="1367319" y="1197525"/>
                  <a:pt x="1367216" y="1197216"/>
                  <a:pt x="1367216" y="1196906"/>
                </a:cubicBezTo>
                <a:cubicBezTo>
                  <a:pt x="1367216" y="1196442"/>
                  <a:pt x="1367423" y="1196132"/>
                  <a:pt x="1367835" y="1195667"/>
                </a:cubicBezTo>
                <a:cubicBezTo>
                  <a:pt x="1368558" y="1193808"/>
                  <a:pt x="1370417" y="1194428"/>
                  <a:pt x="1372069" y="1192569"/>
                </a:cubicBezTo>
                <a:cubicBezTo>
                  <a:pt x="1374444" y="1188852"/>
                  <a:pt x="1367216" y="1184669"/>
                  <a:pt x="1372069" y="1177234"/>
                </a:cubicBezTo>
                <a:cubicBezTo>
                  <a:pt x="1372946" y="1178009"/>
                  <a:pt x="1374418" y="1177389"/>
                  <a:pt x="1376018" y="1176847"/>
                </a:cubicBezTo>
                <a:close/>
                <a:moveTo>
                  <a:pt x="4339891" y="1176706"/>
                </a:moveTo>
                <a:cubicBezTo>
                  <a:pt x="4341384" y="1176706"/>
                  <a:pt x="4342878" y="1176991"/>
                  <a:pt x="4344799" y="1177417"/>
                </a:cubicBezTo>
                <a:cubicBezTo>
                  <a:pt x="4345439" y="1180121"/>
                  <a:pt x="4346933" y="1182112"/>
                  <a:pt x="4348427" y="1185669"/>
                </a:cubicBezTo>
                <a:cubicBezTo>
                  <a:pt x="4345866" y="1187803"/>
                  <a:pt x="4338396" y="1189083"/>
                  <a:pt x="4333701" y="1184958"/>
                </a:cubicBezTo>
                <a:cubicBezTo>
                  <a:pt x="4333488" y="1179267"/>
                  <a:pt x="4335835" y="1176706"/>
                  <a:pt x="4339891" y="1176706"/>
                </a:cubicBezTo>
                <a:close/>
                <a:moveTo>
                  <a:pt x="1608526" y="1176305"/>
                </a:moveTo>
                <a:cubicBezTo>
                  <a:pt x="1615134" y="1178319"/>
                  <a:pt x="1613069" y="1189316"/>
                  <a:pt x="1613482" y="1191795"/>
                </a:cubicBezTo>
                <a:cubicBezTo>
                  <a:pt x="1613482" y="1191795"/>
                  <a:pt x="1613895" y="1192724"/>
                  <a:pt x="1613482" y="1193808"/>
                </a:cubicBezTo>
                <a:cubicBezTo>
                  <a:pt x="1613482" y="1195512"/>
                  <a:pt x="1611417" y="1193499"/>
                  <a:pt x="1611107" y="1194583"/>
                </a:cubicBezTo>
                <a:cubicBezTo>
                  <a:pt x="1609558" y="1187922"/>
                  <a:pt x="1605428" y="1183121"/>
                  <a:pt x="1605428" y="1183121"/>
                </a:cubicBezTo>
                <a:cubicBezTo>
                  <a:pt x="1605428" y="1181261"/>
                  <a:pt x="1606151" y="1180952"/>
                  <a:pt x="1605428" y="1181261"/>
                </a:cubicBezTo>
                <a:cubicBezTo>
                  <a:pt x="1606151" y="1179093"/>
                  <a:pt x="1606564" y="1176150"/>
                  <a:pt x="1608526" y="1176305"/>
                </a:cubicBezTo>
                <a:close/>
                <a:moveTo>
                  <a:pt x="3581610" y="1174572"/>
                </a:moveTo>
                <a:cubicBezTo>
                  <a:pt x="3582250" y="1179125"/>
                  <a:pt x="3581610" y="1181116"/>
                  <a:pt x="3580543" y="1181685"/>
                </a:cubicBezTo>
                <a:cubicBezTo>
                  <a:pt x="3577341" y="1183535"/>
                  <a:pt x="3570299" y="1172154"/>
                  <a:pt x="3581610" y="1174572"/>
                </a:cubicBezTo>
                <a:close/>
                <a:moveTo>
                  <a:pt x="4826915" y="1174003"/>
                </a:moveTo>
                <a:cubicBezTo>
                  <a:pt x="4828408" y="1173576"/>
                  <a:pt x="4829689" y="1173576"/>
                  <a:pt x="4830969" y="1174003"/>
                </a:cubicBezTo>
                <a:cubicBezTo>
                  <a:pt x="4832890" y="1174572"/>
                  <a:pt x="4834384" y="1175995"/>
                  <a:pt x="4835451" y="1178271"/>
                </a:cubicBezTo>
                <a:cubicBezTo>
                  <a:pt x="4834811" y="1183108"/>
                  <a:pt x="4826701" y="1189795"/>
                  <a:pt x="4823073" y="1190648"/>
                </a:cubicBezTo>
                <a:cubicBezTo>
                  <a:pt x="4819872" y="1188657"/>
                  <a:pt x="4818804" y="1185953"/>
                  <a:pt x="4818804" y="1183393"/>
                </a:cubicBezTo>
                <a:cubicBezTo>
                  <a:pt x="4819018" y="1179125"/>
                  <a:pt x="4822860" y="1174999"/>
                  <a:pt x="4826915" y="1174003"/>
                </a:cubicBezTo>
                <a:close/>
                <a:moveTo>
                  <a:pt x="1513220" y="1173981"/>
                </a:moveTo>
                <a:lnTo>
                  <a:pt x="1513530" y="1174756"/>
                </a:lnTo>
                <a:lnTo>
                  <a:pt x="1513943" y="1174756"/>
                </a:lnTo>
                <a:close/>
                <a:moveTo>
                  <a:pt x="5647727" y="1173291"/>
                </a:moveTo>
                <a:cubicBezTo>
                  <a:pt x="5647940" y="1173576"/>
                  <a:pt x="5648580" y="1174145"/>
                  <a:pt x="5649434" y="1174714"/>
                </a:cubicBezTo>
                <a:cubicBezTo>
                  <a:pt x="5650075" y="1175283"/>
                  <a:pt x="5650501" y="1175710"/>
                  <a:pt x="5650715" y="1175995"/>
                </a:cubicBezTo>
                <a:cubicBezTo>
                  <a:pt x="5650928" y="1176279"/>
                  <a:pt x="5651142" y="1176564"/>
                  <a:pt x="5650501" y="1177133"/>
                </a:cubicBezTo>
                <a:cubicBezTo>
                  <a:pt x="5649220" y="1178271"/>
                  <a:pt x="5649220" y="1178271"/>
                  <a:pt x="5645806" y="1178129"/>
                </a:cubicBezTo>
                <a:cubicBezTo>
                  <a:pt x="5647087" y="1176991"/>
                  <a:pt x="5647087" y="1176991"/>
                  <a:pt x="5646020" y="1175852"/>
                </a:cubicBezTo>
                <a:cubicBezTo>
                  <a:pt x="5646020" y="1175852"/>
                  <a:pt x="5646020" y="1175852"/>
                  <a:pt x="5644952" y="1175852"/>
                </a:cubicBezTo>
                <a:cubicBezTo>
                  <a:pt x="5645166" y="1174714"/>
                  <a:pt x="5646233" y="1174714"/>
                  <a:pt x="5646446" y="1173576"/>
                </a:cubicBezTo>
                <a:cubicBezTo>
                  <a:pt x="5646446" y="1173576"/>
                  <a:pt x="5647300" y="1173576"/>
                  <a:pt x="5647300" y="1173576"/>
                </a:cubicBezTo>
                <a:cubicBezTo>
                  <a:pt x="5647513" y="1173007"/>
                  <a:pt x="5647513" y="1173007"/>
                  <a:pt x="5647727" y="1173291"/>
                </a:cubicBezTo>
                <a:close/>
                <a:moveTo>
                  <a:pt x="5151526" y="1173149"/>
                </a:moveTo>
                <a:cubicBezTo>
                  <a:pt x="5155794" y="1173291"/>
                  <a:pt x="5162197" y="1175710"/>
                  <a:pt x="5161983" y="1176706"/>
                </a:cubicBezTo>
                <a:cubicBezTo>
                  <a:pt x="5163264" y="1176706"/>
                  <a:pt x="5163051" y="1177844"/>
                  <a:pt x="5164118" y="1177844"/>
                </a:cubicBezTo>
                <a:cubicBezTo>
                  <a:pt x="5164118" y="1177844"/>
                  <a:pt x="5165398" y="1177844"/>
                  <a:pt x="5166465" y="1179125"/>
                </a:cubicBezTo>
                <a:cubicBezTo>
                  <a:pt x="5166892" y="1179694"/>
                  <a:pt x="5167319" y="1180405"/>
                  <a:pt x="5167532" y="1181116"/>
                </a:cubicBezTo>
                <a:cubicBezTo>
                  <a:pt x="5167746" y="1181970"/>
                  <a:pt x="5167746" y="1182824"/>
                  <a:pt x="5167106" y="1183962"/>
                </a:cubicBezTo>
                <a:cubicBezTo>
                  <a:pt x="5158142" y="1180263"/>
                  <a:pt x="5153447" y="1180121"/>
                  <a:pt x="5146831" y="1176421"/>
                </a:cubicBezTo>
                <a:cubicBezTo>
                  <a:pt x="5147044" y="1175141"/>
                  <a:pt x="5148111" y="1175141"/>
                  <a:pt x="5148325" y="1174003"/>
                </a:cubicBezTo>
                <a:cubicBezTo>
                  <a:pt x="5148965" y="1173434"/>
                  <a:pt x="5150032" y="1173149"/>
                  <a:pt x="5151526" y="1173149"/>
                </a:cubicBezTo>
                <a:close/>
                <a:moveTo>
                  <a:pt x="1649209" y="1173052"/>
                </a:moveTo>
                <a:cubicBezTo>
                  <a:pt x="1653339" y="1172897"/>
                  <a:pt x="1655920" y="1174136"/>
                  <a:pt x="1657159" y="1175995"/>
                </a:cubicBezTo>
                <a:lnTo>
                  <a:pt x="1658192" y="1180952"/>
                </a:lnTo>
                <a:lnTo>
                  <a:pt x="1658915" y="1181107"/>
                </a:lnTo>
                <a:cubicBezTo>
                  <a:pt x="1660567" y="1182036"/>
                  <a:pt x="1662322" y="1184050"/>
                  <a:pt x="1664077" y="1187148"/>
                </a:cubicBezTo>
                <a:cubicBezTo>
                  <a:pt x="1659018" y="1187303"/>
                  <a:pt x="1654784" y="1189781"/>
                  <a:pt x="1650758" y="1191949"/>
                </a:cubicBezTo>
                <a:lnTo>
                  <a:pt x="1647660" y="1193188"/>
                </a:lnTo>
                <a:lnTo>
                  <a:pt x="1650758" y="1194583"/>
                </a:lnTo>
                <a:cubicBezTo>
                  <a:pt x="1648176" y="1198765"/>
                  <a:pt x="1644768" y="1199849"/>
                  <a:pt x="1640122" y="1199694"/>
                </a:cubicBezTo>
                <a:cubicBezTo>
                  <a:pt x="1639915" y="1198920"/>
                  <a:pt x="1640329" y="1197835"/>
                  <a:pt x="1640948" y="1196596"/>
                </a:cubicBezTo>
                <a:lnTo>
                  <a:pt x="1642187" y="1194118"/>
                </a:lnTo>
                <a:lnTo>
                  <a:pt x="1638780" y="1193963"/>
                </a:lnTo>
                <a:cubicBezTo>
                  <a:pt x="1640019" y="1193034"/>
                  <a:pt x="1641258" y="1191795"/>
                  <a:pt x="1642600" y="1190555"/>
                </a:cubicBezTo>
                <a:lnTo>
                  <a:pt x="1643116" y="1189936"/>
                </a:lnTo>
                <a:lnTo>
                  <a:pt x="1642187" y="1187767"/>
                </a:lnTo>
                <a:lnTo>
                  <a:pt x="1643116" y="1184050"/>
                </a:lnTo>
                <a:lnTo>
                  <a:pt x="1636714" y="1186218"/>
                </a:lnTo>
                <a:cubicBezTo>
                  <a:pt x="1632481" y="1186838"/>
                  <a:pt x="1627628" y="1186528"/>
                  <a:pt x="1622259" y="1184979"/>
                </a:cubicBezTo>
                <a:cubicBezTo>
                  <a:pt x="1621536" y="1183740"/>
                  <a:pt x="1621123" y="1182501"/>
                  <a:pt x="1621020" y="1181417"/>
                </a:cubicBezTo>
                <a:cubicBezTo>
                  <a:pt x="1620813" y="1178164"/>
                  <a:pt x="1623291" y="1175995"/>
                  <a:pt x="1626699" y="1174756"/>
                </a:cubicBezTo>
                <a:cubicBezTo>
                  <a:pt x="1632584" y="1172742"/>
                  <a:pt x="1641361" y="1173672"/>
                  <a:pt x="1645492" y="1177544"/>
                </a:cubicBezTo>
                <a:lnTo>
                  <a:pt x="1645595" y="1177544"/>
                </a:lnTo>
                <a:close/>
                <a:moveTo>
                  <a:pt x="995700" y="1172123"/>
                </a:moveTo>
                <a:cubicBezTo>
                  <a:pt x="997559" y="1171968"/>
                  <a:pt x="999314" y="1171658"/>
                  <a:pt x="1000450" y="1172897"/>
                </a:cubicBezTo>
                <a:cubicBezTo>
                  <a:pt x="1000863" y="1173362"/>
                  <a:pt x="1001173" y="1173981"/>
                  <a:pt x="1001379" y="1174911"/>
                </a:cubicBezTo>
                <a:cubicBezTo>
                  <a:pt x="1001379" y="1174911"/>
                  <a:pt x="1001379" y="1174911"/>
                  <a:pt x="1000966" y="1175531"/>
                </a:cubicBezTo>
                <a:cubicBezTo>
                  <a:pt x="1000140" y="1176924"/>
                  <a:pt x="999624" y="1177544"/>
                  <a:pt x="999211" y="1178319"/>
                </a:cubicBezTo>
                <a:cubicBezTo>
                  <a:pt x="998075" y="1178473"/>
                  <a:pt x="994977" y="1178319"/>
                  <a:pt x="994668" y="1177234"/>
                </a:cubicBezTo>
                <a:cubicBezTo>
                  <a:pt x="994358" y="1175995"/>
                  <a:pt x="994254" y="1174911"/>
                  <a:pt x="994461" y="1173981"/>
                </a:cubicBezTo>
                <a:cubicBezTo>
                  <a:pt x="994668" y="1173052"/>
                  <a:pt x="995184" y="1172277"/>
                  <a:pt x="995700" y="1172123"/>
                </a:cubicBezTo>
                <a:close/>
                <a:moveTo>
                  <a:pt x="3949759" y="1171727"/>
                </a:moveTo>
                <a:cubicBezTo>
                  <a:pt x="3951466" y="1171727"/>
                  <a:pt x="3953601" y="1172011"/>
                  <a:pt x="3955949" y="1174003"/>
                </a:cubicBezTo>
                <a:cubicBezTo>
                  <a:pt x="3957229" y="1175283"/>
                  <a:pt x="3959790" y="1178982"/>
                  <a:pt x="3958723" y="1178982"/>
                </a:cubicBezTo>
                <a:cubicBezTo>
                  <a:pt x="3957442" y="1180121"/>
                  <a:pt x="3958723" y="1180121"/>
                  <a:pt x="3958723" y="1181401"/>
                </a:cubicBezTo>
                <a:lnTo>
                  <a:pt x="3957016" y="1182397"/>
                </a:lnTo>
                <a:lnTo>
                  <a:pt x="3957656" y="1183108"/>
                </a:lnTo>
                <a:cubicBezTo>
                  <a:pt x="3959363" y="1185527"/>
                  <a:pt x="3959150" y="1185527"/>
                  <a:pt x="3958083" y="1186807"/>
                </a:cubicBezTo>
                <a:cubicBezTo>
                  <a:pt x="3957229" y="1188230"/>
                  <a:pt x="3953601" y="1187234"/>
                  <a:pt x="3952534" y="1188514"/>
                </a:cubicBezTo>
                <a:cubicBezTo>
                  <a:pt x="3952534" y="1188514"/>
                  <a:pt x="3952320" y="1188514"/>
                  <a:pt x="3950826" y="1186096"/>
                </a:cubicBezTo>
                <a:lnTo>
                  <a:pt x="3951253" y="1183962"/>
                </a:lnTo>
                <a:lnTo>
                  <a:pt x="3948479" y="1183250"/>
                </a:lnTo>
                <a:cubicBezTo>
                  <a:pt x="3946131" y="1180832"/>
                  <a:pt x="3942503" y="1176991"/>
                  <a:pt x="3944637" y="1173434"/>
                </a:cubicBezTo>
                <a:cubicBezTo>
                  <a:pt x="3945704" y="1173434"/>
                  <a:pt x="3945704" y="1172296"/>
                  <a:pt x="3946985" y="1172438"/>
                </a:cubicBezTo>
                <a:cubicBezTo>
                  <a:pt x="3946985" y="1172438"/>
                  <a:pt x="3948052" y="1171869"/>
                  <a:pt x="3949759" y="1171727"/>
                </a:cubicBezTo>
                <a:close/>
                <a:moveTo>
                  <a:pt x="1130514" y="1171600"/>
                </a:moveTo>
                <a:cubicBezTo>
                  <a:pt x="1132205" y="1173207"/>
                  <a:pt x="1132514" y="1175918"/>
                  <a:pt x="1128900" y="1177699"/>
                </a:cubicBezTo>
                <a:cubicBezTo>
                  <a:pt x="1126422" y="1175376"/>
                  <a:pt x="1124667" y="1173672"/>
                  <a:pt x="1123841" y="1172123"/>
                </a:cubicBezTo>
                <a:cubicBezTo>
                  <a:pt x="1125751" y="1169489"/>
                  <a:pt x="1128823" y="1169993"/>
                  <a:pt x="1130514" y="1171600"/>
                </a:cubicBezTo>
                <a:close/>
                <a:moveTo>
                  <a:pt x="4946003" y="1171015"/>
                </a:moveTo>
                <a:cubicBezTo>
                  <a:pt x="4949204" y="1170162"/>
                  <a:pt x="4953686" y="1171584"/>
                  <a:pt x="4954539" y="1176421"/>
                </a:cubicBezTo>
                <a:cubicBezTo>
                  <a:pt x="4956033" y="1180405"/>
                  <a:pt x="4953472" y="1184531"/>
                  <a:pt x="4954112" y="1189510"/>
                </a:cubicBezTo>
                <a:cubicBezTo>
                  <a:pt x="4951338" y="1190648"/>
                  <a:pt x="4949631" y="1191360"/>
                  <a:pt x="4948137" y="1191075"/>
                </a:cubicBezTo>
                <a:lnTo>
                  <a:pt x="4947710" y="1190648"/>
                </a:lnTo>
                <a:lnTo>
                  <a:pt x="4935972" y="1184673"/>
                </a:lnTo>
                <a:cubicBezTo>
                  <a:pt x="4935118" y="1183393"/>
                  <a:pt x="4933197" y="1178556"/>
                  <a:pt x="4934478" y="1177417"/>
                </a:cubicBezTo>
                <a:cubicBezTo>
                  <a:pt x="4935758" y="1176279"/>
                  <a:pt x="4936825" y="1176279"/>
                  <a:pt x="4938106" y="1176279"/>
                </a:cubicBezTo>
                <a:lnTo>
                  <a:pt x="4943228" y="1179267"/>
                </a:lnTo>
                <a:lnTo>
                  <a:pt x="4943228" y="1176706"/>
                </a:lnTo>
                <a:cubicBezTo>
                  <a:pt x="4943868" y="1174003"/>
                  <a:pt x="4944936" y="1171727"/>
                  <a:pt x="4946003" y="1171015"/>
                </a:cubicBezTo>
                <a:close/>
                <a:moveTo>
                  <a:pt x="3486852" y="1170446"/>
                </a:moveTo>
                <a:lnTo>
                  <a:pt x="3488773" y="1172154"/>
                </a:lnTo>
                <a:lnTo>
                  <a:pt x="3491120" y="1172580"/>
                </a:lnTo>
                <a:cubicBezTo>
                  <a:pt x="3493041" y="1173291"/>
                  <a:pt x="3494961" y="1174430"/>
                  <a:pt x="3496669" y="1175852"/>
                </a:cubicBezTo>
                <a:lnTo>
                  <a:pt x="3499017" y="1178982"/>
                </a:lnTo>
                <a:lnTo>
                  <a:pt x="3502218" y="1180690"/>
                </a:lnTo>
                <a:lnTo>
                  <a:pt x="3507127" y="1183108"/>
                </a:lnTo>
                <a:lnTo>
                  <a:pt x="3508407" y="1181685"/>
                </a:lnTo>
                <a:cubicBezTo>
                  <a:pt x="3509688" y="1180121"/>
                  <a:pt x="3510968" y="1178982"/>
                  <a:pt x="3511608" y="1179551"/>
                </a:cubicBezTo>
                <a:cubicBezTo>
                  <a:pt x="3511608" y="1179551"/>
                  <a:pt x="3510328" y="1180832"/>
                  <a:pt x="3509047" y="1181970"/>
                </a:cubicBezTo>
                <a:lnTo>
                  <a:pt x="3508834" y="1183962"/>
                </a:lnTo>
                <a:lnTo>
                  <a:pt x="3509688" y="1184388"/>
                </a:lnTo>
                <a:cubicBezTo>
                  <a:pt x="3512035" y="1185669"/>
                  <a:pt x="3514383" y="1187234"/>
                  <a:pt x="3516303" y="1189083"/>
                </a:cubicBezTo>
                <a:cubicBezTo>
                  <a:pt x="3513316" y="1189937"/>
                  <a:pt x="3509901" y="1190933"/>
                  <a:pt x="3506060" y="1191644"/>
                </a:cubicBezTo>
                <a:lnTo>
                  <a:pt x="3505206" y="1191644"/>
                </a:lnTo>
                <a:lnTo>
                  <a:pt x="3505420" y="1192924"/>
                </a:lnTo>
                <a:lnTo>
                  <a:pt x="3501578" y="1191787"/>
                </a:lnTo>
                <a:lnTo>
                  <a:pt x="3494961" y="1192214"/>
                </a:lnTo>
                <a:cubicBezTo>
                  <a:pt x="3487705" y="1191360"/>
                  <a:pt x="3481303" y="1187376"/>
                  <a:pt x="3479169" y="1176848"/>
                </a:cubicBezTo>
                <a:lnTo>
                  <a:pt x="3484931" y="1172011"/>
                </a:lnTo>
                <a:lnTo>
                  <a:pt x="3484718" y="1171157"/>
                </a:lnTo>
                <a:lnTo>
                  <a:pt x="3485785" y="1171442"/>
                </a:lnTo>
                <a:close/>
                <a:moveTo>
                  <a:pt x="4790633" y="1170019"/>
                </a:moveTo>
                <a:cubicBezTo>
                  <a:pt x="4790847" y="1171727"/>
                  <a:pt x="4793621" y="1177986"/>
                  <a:pt x="4792127" y="1178413"/>
                </a:cubicBezTo>
                <a:cubicBezTo>
                  <a:pt x="4792127" y="1178413"/>
                  <a:pt x="4791700" y="1176706"/>
                  <a:pt x="4791487" y="1174999"/>
                </a:cubicBezTo>
                <a:cubicBezTo>
                  <a:pt x="4791060" y="1173434"/>
                  <a:pt x="4791273" y="1173434"/>
                  <a:pt x="4789566" y="1173861"/>
                </a:cubicBezTo>
                <a:cubicBezTo>
                  <a:pt x="4789352" y="1172154"/>
                  <a:pt x="4789352" y="1172154"/>
                  <a:pt x="4790633" y="1170019"/>
                </a:cubicBezTo>
                <a:close/>
                <a:moveTo>
                  <a:pt x="4761394" y="1170019"/>
                </a:moveTo>
                <a:cubicBezTo>
                  <a:pt x="4762889" y="1171300"/>
                  <a:pt x="4763742" y="1173291"/>
                  <a:pt x="4764169" y="1175426"/>
                </a:cubicBezTo>
                <a:cubicBezTo>
                  <a:pt x="4765450" y="1182255"/>
                  <a:pt x="4762675" y="1191644"/>
                  <a:pt x="4758620" y="1195343"/>
                </a:cubicBezTo>
                <a:cubicBezTo>
                  <a:pt x="4753498" y="1195912"/>
                  <a:pt x="4749870" y="1194632"/>
                  <a:pt x="4747949" y="1192356"/>
                </a:cubicBezTo>
                <a:cubicBezTo>
                  <a:pt x="4741973" y="1185385"/>
                  <a:pt x="4749443" y="1169450"/>
                  <a:pt x="4761394" y="1170019"/>
                </a:cubicBezTo>
                <a:close/>
                <a:moveTo>
                  <a:pt x="1065192" y="1169954"/>
                </a:moveTo>
                <a:cubicBezTo>
                  <a:pt x="1065708" y="1170109"/>
                  <a:pt x="1066224" y="1170729"/>
                  <a:pt x="1066740" y="1171503"/>
                </a:cubicBezTo>
                <a:cubicBezTo>
                  <a:pt x="1067257" y="1175685"/>
                  <a:pt x="1063229" y="1177079"/>
                  <a:pt x="1060235" y="1180022"/>
                </a:cubicBezTo>
                <a:cubicBezTo>
                  <a:pt x="1059512" y="1179557"/>
                  <a:pt x="1058273" y="1179713"/>
                  <a:pt x="1057860" y="1180332"/>
                </a:cubicBezTo>
                <a:cubicBezTo>
                  <a:pt x="1056621" y="1180642"/>
                  <a:pt x="1055485" y="1180797"/>
                  <a:pt x="1056208" y="1181261"/>
                </a:cubicBezTo>
                <a:cubicBezTo>
                  <a:pt x="1052697" y="1181881"/>
                  <a:pt x="1052181" y="1182656"/>
                  <a:pt x="1050426" y="1180487"/>
                </a:cubicBezTo>
                <a:cubicBezTo>
                  <a:pt x="1054660" y="1175376"/>
                  <a:pt x="1061681" y="1171193"/>
                  <a:pt x="1063333" y="1170264"/>
                </a:cubicBezTo>
                <a:cubicBezTo>
                  <a:pt x="1064159" y="1169799"/>
                  <a:pt x="1064675" y="1169644"/>
                  <a:pt x="1065192" y="1169954"/>
                </a:cubicBezTo>
                <a:close/>
                <a:moveTo>
                  <a:pt x="1503721" y="1168599"/>
                </a:moveTo>
                <a:cubicBezTo>
                  <a:pt x="1505373" y="1168212"/>
                  <a:pt x="1507128" y="1167940"/>
                  <a:pt x="1508367" y="1169180"/>
                </a:cubicBezTo>
                <a:lnTo>
                  <a:pt x="1510123" y="1170884"/>
                </a:lnTo>
                <a:lnTo>
                  <a:pt x="1510432" y="1168870"/>
                </a:lnTo>
                <a:cubicBezTo>
                  <a:pt x="1517247" y="1169954"/>
                  <a:pt x="1524681" y="1173517"/>
                  <a:pt x="1526334" y="1174446"/>
                </a:cubicBezTo>
                <a:cubicBezTo>
                  <a:pt x="1527160" y="1174756"/>
                  <a:pt x="1527573" y="1175221"/>
                  <a:pt x="1527573" y="1175840"/>
                </a:cubicBezTo>
                <a:cubicBezTo>
                  <a:pt x="1527573" y="1176305"/>
                  <a:pt x="1527366" y="1176924"/>
                  <a:pt x="1526850" y="1177854"/>
                </a:cubicBezTo>
                <a:cubicBezTo>
                  <a:pt x="1525817" y="1178473"/>
                  <a:pt x="1524888" y="1178628"/>
                  <a:pt x="1524062" y="1178783"/>
                </a:cubicBezTo>
                <a:lnTo>
                  <a:pt x="1524372" y="1179403"/>
                </a:lnTo>
                <a:lnTo>
                  <a:pt x="1524681" y="1179403"/>
                </a:lnTo>
                <a:cubicBezTo>
                  <a:pt x="1527882" y="1180332"/>
                  <a:pt x="1530773" y="1182036"/>
                  <a:pt x="1532013" y="1182501"/>
                </a:cubicBezTo>
                <a:cubicBezTo>
                  <a:pt x="1532013" y="1182501"/>
                  <a:pt x="1532839" y="1182501"/>
                  <a:pt x="1533665" y="1183275"/>
                </a:cubicBezTo>
                <a:cubicBezTo>
                  <a:pt x="1535420" y="1184050"/>
                  <a:pt x="1532735" y="1184979"/>
                  <a:pt x="1533562" y="1185754"/>
                </a:cubicBezTo>
                <a:lnTo>
                  <a:pt x="1527160" y="1185599"/>
                </a:lnTo>
                <a:lnTo>
                  <a:pt x="1526850" y="1190710"/>
                </a:lnTo>
                <a:cubicBezTo>
                  <a:pt x="1521894" y="1193344"/>
                  <a:pt x="1515389" y="1189626"/>
                  <a:pt x="1511362" y="1185444"/>
                </a:cubicBezTo>
                <a:lnTo>
                  <a:pt x="1510948" y="1184979"/>
                </a:lnTo>
                <a:lnTo>
                  <a:pt x="1510845" y="1185444"/>
                </a:lnTo>
                <a:cubicBezTo>
                  <a:pt x="1511465" y="1186528"/>
                  <a:pt x="1514046" y="1187303"/>
                  <a:pt x="1512704" y="1189161"/>
                </a:cubicBezTo>
                <a:cubicBezTo>
                  <a:pt x="1509193" y="1193188"/>
                  <a:pt x="1503101" y="1192104"/>
                  <a:pt x="1499900" y="1191175"/>
                </a:cubicBezTo>
                <a:lnTo>
                  <a:pt x="1498041" y="1190710"/>
                </a:lnTo>
                <a:lnTo>
                  <a:pt x="1498041" y="1191640"/>
                </a:lnTo>
                <a:lnTo>
                  <a:pt x="1497215" y="1190710"/>
                </a:lnTo>
                <a:lnTo>
                  <a:pt x="1497009" y="1190710"/>
                </a:lnTo>
                <a:cubicBezTo>
                  <a:pt x="1497009" y="1189936"/>
                  <a:pt x="1496079" y="1189936"/>
                  <a:pt x="1496079" y="1190865"/>
                </a:cubicBezTo>
                <a:cubicBezTo>
                  <a:pt x="1494840" y="1190090"/>
                  <a:pt x="1493808" y="1189471"/>
                  <a:pt x="1493292" y="1188852"/>
                </a:cubicBezTo>
                <a:cubicBezTo>
                  <a:pt x="1493085" y="1188542"/>
                  <a:pt x="1492982" y="1188232"/>
                  <a:pt x="1492982" y="1187922"/>
                </a:cubicBezTo>
                <a:cubicBezTo>
                  <a:pt x="1493085" y="1187457"/>
                  <a:pt x="1493292" y="1187148"/>
                  <a:pt x="1493705" y="1186683"/>
                </a:cubicBezTo>
                <a:cubicBezTo>
                  <a:pt x="1494634" y="1184979"/>
                  <a:pt x="1496390" y="1185754"/>
                  <a:pt x="1498145" y="1184050"/>
                </a:cubicBezTo>
                <a:cubicBezTo>
                  <a:pt x="1500933" y="1180487"/>
                  <a:pt x="1494221" y="1175685"/>
                  <a:pt x="1499694" y="1168715"/>
                </a:cubicBezTo>
                <a:cubicBezTo>
                  <a:pt x="1500520" y="1169490"/>
                  <a:pt x="1502068" y="1168986"/>
                  <a:pt x="1503721" y="1168599"/>
                </a:cubicBezTo>
                <a:close/>
                <a:moveTo>
                  <a:pt x="4979296" y="1168455"/>
                </a:moveTo>
                <a:cubicBezTo>
                  <a:pt x="4983351" y="1169308"/>
                  <a:pt x="4988687" y="1173434"/>
                  <a:pt x="4991034" y="1176137"/>
                </a:cubicBezTo>
                <a:cubicBezTo>
                  <a:pt x="4987406" y="1178413"/>
                  <a:pt x="4978869" y="1172438"/>
                  <a:pt x="4975881" y="1168881"/>
                </a:cubicBezTo>
                <a:cubicBezTo>
                  <a:pt x="4976735" y="1168312"/>
                  <a:pt x="4978016" y="1168170"/>
                  <a:pt x="4979296" y="1168455"/>
                </a:cubicBezTo>
                <a:close/>
                <a:moveTo>
                  <a:pt x="4244065" y="1168170"/>
                </a:moveTo>
                <a:cubicBezTo>
                  <a:pt x="4246199" y="1167743"/>
                  <a:pt x="4248547" y="1168312"/>
                  <a:pt x="4250681" y="1170162"/>
                </a:cubicBezTo>
                <a:cubicBezTo>
                  <a:pt x="4249827" y="1177275"/>
                  <a:pt x="4250254" y="1185669"/>
                  <a:pt x="4242144" y="1185242"/>
                </a:cubicBezTo>
                <a:cubicBezTo>
                  <a:pt x="4233181" y="1178556"/>
                  <a:pt x="4237662" y="1169166"/>
                  <a:pt x="4244065" y="1168170"/>
                </a:cubicBezTo>
                <a:close/>
                <a:moveTo>
                  <a:pt x="4718924" y="1167601"/>
                </a:moveTo>
                <a:cubicBezTo>
                  <a:pt x="4728954" y="1174287"/>
                  <a:pt x="4725967" y="1176848"/>
                  <a:pt x="4723193" y="1181828"/>
                </a:cubicBezTo>
                <a:cubicBezTo>
                  <a:pt x="4720845" y="1180832"/>
                  <a:pt x="4717430" y="1182255"/>
                  <a:pt x="4714869" y="1179978"/>
                </a:cubicBezTo>
                <a:cubicBezTo>
                  <a:pt x="4714869" y="1179978"/>
                  <a:pt x="4713588" y="1178840"/>
                  <a:pt x="4713375" y="1176421"/>
                </a:cubicBezTo>
                <a:cubicBezTo>
                  <a:pt x="4710387" y="1173007"/>
                  <a:pt x="4713375" y="1169308"/>
                  <a:pt x="4713375" y="1169308"/>
                </a:cubicBezTo>
                <a:cubicBezTo>
                  <a:pt x="4713375" y="1169308"/>
                  <a:pt x="4713375" y="1169166"/>
                  <a:pt x="4712308" y="1169308"/>
                </a:cubicBezTo>
                <a:cubicBezTo>
                  <a:pt x="4714442" y="1169166"/>
                  <a:pt x="4716576" y="1167743"/>
                  <a:pt x="4718924" y="1167601"/>
                </a:cubicBezTo>
                <a:close/>
                <a:moveTo>
                  <a:pt x="3726522" y="1166890"/>
                </a:moveTo>
                <a:cubicBezTo>
                  <a:pt x="3735272" y="1167459"/>
                  <a:pt x="3742956" y="1172296"/>
                  <a:pt x="3745303" y="1181685"/>
                </a:cubicBezTo>
                <a:cubicBezTo>
                  <a:pt x="3746370" y="1185242"/>
                  <a:pt x="3746370" y="1189510"/>
                  <a:pt x="3745516" y="1194489"/>
                </a:cubicBezTo>
                <a:cubicBezTo>
                  <a:pt x="3742315" y="1208005"/>
                  <a:pt x="3729297" y="1215119"/>
                  <a:pt x="3719479" y="1230057"/>
                </a:cubicBezTo>
                <a:lnTo>
                  <a:pt x="3718626" y="1227212"/>
                </a:lnTo>
                <a:lnTo>
                  <a:pt x="3717345" y="1228065"/>
                </a:lnTo>
                <a:cubicBezTo>
                  <a:pt x="3712864" y="1227069"/>
                  <a:pt x="3710089" y="1223797"/>
                  <a:pt x="3709662" y="1220098"/>
                </a:cubicBezTo>
                <a:lnTo>
                  <a:pt x="3710943" y="1215261"/>
                </a:lnTo>
                <a:lnTo>
                  <a:pt x="3704753" y="1210566"/>
                </a:lnTo>
                <a:cubicBezTo>
                  <a:pt x="3702619" y="1209001"/>
                  <a:pt x="3700698" y="1207152"/>
                  <a:pt x="3699205" y="1205160"/>
                </a:cubicBezTo>
                <a:cubicBezTo>
                  <a:pt x="3697070" y="1202457"/>
                  <a:pt x="3695790" y="1199327"/>
                  <a:pt x="3696003" y="1195059"/>
                </a:cubicBezTo>
                <a:cubicBezTo>
                  <a:pt x="3695363" y="1176421"/>
                  <a:pt x="3712223" y="1166036"/>
                  <a:pt x="3726522" y="1166890"/>
                </a:cubicBezTo>
                <a:close/>
                <a:moveTo>
                  <a:pt x="1544300" y="1166701"/>
                </a:moveTo>
                <a:cubicBezTo>
                  <a:pt x="1551735" y="1173052"/>
                  <a:pt x="1545127" y="1185134"/>
                  <a:pt x="1540583" y="1190400"/>
                </a:cubicBezTo>
                <a:cubicBezTo>
                  <a:pt x="1540376" y="1186683"/>
                  <a:pt x="1539860" y="1182810"/>
                  <a:pt x="1540170" y="1178938"/>
                </a:cubicBezTo>
                <a:cubicBezTo>
                  <a:pt x="1540480" y="1175066"/>
                  <a:pt x="1541512" y="1171038"/>
                  <a:pt x="1544300" y="1166701"/>
                </a:cubicBezTo>
                <a:close/>
                <a:moveTo>
                  <a:pt x="1324881" y="1164533"/>
                </a:moveTo>
                <a:cubicBezTo>
                  <a:pt x="1333451" y="1166856"/>
                  <a:pt x="1342228" y="1167476"/>
                  <a:pt x="1350178" y="1177079"/>
                </a:cubicBezTo>
                <a:cubicBezTo>
                  <a:pt x="1349043" y="1179403"/>
                  <a:pt x="1350385" y="1183740"/>
                  <a:pt x="1346048" y="1183895"/>
                </a:cubicBezTo>
                <a:cubicBezTo>
                  <a:pt x="1341711" y="1173207"/>
                  <a:pt x="1325810" y="1174756"/>
                  <a:pt x="1324881" y="1164533"/>
                </a:cubicBezTo>
                <a:close/>
                <a:moveTo>
                  <a:pt x="1305046" y="1164518"/>
                </a:moveTo>
                <a:cubicBezTo>
                  <a:pt x="1309722" y="1167873"/>
                  <a:pt x="1309315" y="1179984"/>
                  <a:pt x="1304436" y="1180332"/>
                </a:cubicBezTo>
                <a:cubicBezTo>
                  <a:pt x="1301855" y="1180642"/>
                  <a:pt x="1298240" y="1177699"/>
                  <a:pt x="1293388" y="1169334"/>
                </a:cubicBezTo>
                <a:cubicBezTo>
                  <a:pt x="1295350" y="1167166"/>
                  <a:pt x="1297105" y="1165617"/>
                  <a:pt x="1298654" y="1164843"/>
                </a:cubicBezTo>
                <a:cubicBezTo>
                  <a:pt x="1301364" y="1163255"/>
                  <a:pt x="1303487" y="1163400"/>
                  <a:pt x="1305046" y="1164518"/>
                </a:cubicBezTo>
                <a:close/>
                <a:moveTo>
                  <a:pt x="1141601" y="1162829"/>
                </a:moveTo>
                <a:cubicBezTo>
                  <a:pt x="1147796" y="1159266"/>
                  <a:pt x="1153372" y="1167476"/>
                  <a:pt x="1151410" y="1172588"/>
                </a:cubicBezTo>
                <a:cubicBezTo>
                  <a:pt x="1146764" y="1175221"/>
                  <a:pt x="1141498" y="1171348"/>
                  <a:pt x="1140671" y="1167166"/>
                </a:cubicBezTo>
                <a:cubicBezTo>
                  <a:pt x="1140465" y="1165617"/>
                  <a:pt x="1140671" y="1164223"/>
                  <a:pt x="1141601" y="1162829"/>
                </a:cubicBezTo>
                <a:close/>
                <a:moveTo>
                  <a:pt x="1591488" y="1162519"/>
                </a:moveTo>
                <a:lnTo>
                  <a:pt x="1591488" y="1164223"/>
                </a:lnTo>
                <a:lnTo>
                  <a:pt x="1591798" y="1163449"/>
                </a:lnTo>
                <a:lnTo>
                  <a:pt x="1591695" y="1163294"/>
                </a:lnTo>
                <a:cubicBezTo>
                  <a:pt x="1592004" y="1163139"/>
                  <a:pt x="1592211" y="1162829"/>
                  <a:pt x="1592108" y="1162674"/>
                </a:cubicBezTo>
                <a:close/>
                <a:moveTo>
                  <a:pt x="4415868" y="1162053"/>
                </a:moveTo>
                <a:cubicBezTo>
                  <a:pt x="4418216" y="1162621"/>
                  <a:pt x="4422057" y="1163048"/>
                  <a:pt x="4423551" y="1166036"/>
                </a:cubicBezTo>
                <a:cubicBezTo>
                  <a:pt x="4423978" y="1167032"/>
                  <a:pt x="4423978" y="1168312"/>
                  <a:pt x="4423764" y="1170019"/>
                </a:cubicBezTo>
                <a:cubicBezTo>
                  <a:pt x="4424405" y="1171015"/>
                  <a:pt x="4421417" y="1174430"/>
                  <a:pt x="4419923" y="1174003"/>
                </a:cubicBezTo>
                <a:cubicBezTo>
                  <a:pt x="4415655" y="1173861"/>
                  <a:pt x="4415441" y="1169592"/>
                  <a:pt x="4413734" y="1164898"/>
                </a:cubicBezTo>
                <a:cubicBezTo>
                  <a:pt x="4415441" y="1165325"/>
                  <a:pt x="4415655" y="1163760"/>
                  <a:pt x="4415868" y="1162053"/>
                </a:cubicBezTo>
                <a:close/>
                <a:moveTo>
                  <a:pt x="1724069" y="1161745"/>
                </a:moveTo>
                <a:lnTo>
                  <a:pt x="1721798" y="1163758"/>
                </a:lnTo>
                <a:lnTo>
                  <a:pt x="1722314" y="1164068"/>
                </a:lnTo>
                <a:lnTo>
                  <a:pt x="1722830" y="1164688"/>
                </a:lnTo>
                <a:close/>
                <a:moveTo>
                  <a:pt x="3814665" y="1161056"/>
                </a:moveTo>
                <a:cubicBezTo>
                  <a:pt x="3815945" y="1160772"/>
                  <a:pt x="3816799" y="1161199"/>
                  <a:pt x="3817439" y="1162479"/>
                </a:cubicBezTo>
                <a:cubicBezTo>
                  <a:pt x="3818933" y="1167459"/>
                  <a:pt x="3809115" y="1171300"/>
                  <a:pt x="3807195" y="1170019"/>
                </a:cubicBezTo>
                <a:cubicBezTo>
                  <a:pt x="3806555" y="1168170"/>
                  <a:pt x="3811250" y="1161910"/>
                  <a:pt x="3814665" y="1161056"/>
                </a:cubicBezTo>
                <a:close/>
                <a:moveTo>
                  <a:pt x="1512601" y="1160970"/>
                </a:moveTo>
                <a:cubicBezTo>
                  <a:pt x="1516214" y="1163294"/>
                  <a:pt x="1516008" y="1165153"/>
                  <a:pt x="1514666" y="1168250"/>
                </a:cubicBezTo>
                <a:cubicBezTo>
                  <a:pt x="1513427" y="1167321"/>
                  <a:pt x="1512807" y="1166392"/>
                  <a:pt x="1512601" y="1165153"/>
                </a:cubicBezTo>
                <a:cubicBezTo>
                  <a:pt x="1512394" y="1164068"/>
                  <a:pt x="1512497" y="1162674"/>
                  <a:pt x="1512601" y="1160970"/>
                </a:cubicBezTo>
                <a:close/>
                <a:moveTo>
                  <a:pt x="4697796" y="1160914"/>
                </a:moveTo>
                <a:cubicBezTo>
                  <a:pt x="4699076" y="1161056"/>
                  <a:pt x="4700570" y="1161626"/>
                  <a:pt x="4702064" y="1162621"/>
                </a:cubicBezTo>
                <a:cubicBezTo>
                  <a:pt x="4699289" y="1166605"/>
                  <a:pt x="4697796" y="1170446"/>
                  <a:pt x="4696515" y="1174287"/>
                </a:cubicBezTo>
                <a:lnTo>
                  <a:pt x="4695448" y="1177417"/>
                </a:lnTo>
                <a:lnTo>
                  <a:pt x="4699076" y="1176421"/>
                </a:lnTo>
                <a:cubicBezTo>
                  <a:pt x="4701210" y="1176421"/>
                  <a:pt x="4703771" y="1177133"/>
                  <a:pt x="4706759" y="1178982"/>
                </a:cubicBezTo>
                <a:cubicBezTo>
                  <a:pt x="4713162" y="1183535"/>
                  <a:pt x="4718710" y="1190364"/>
                  <a:pt x="4712095" y="1200323"/>
                </a:cubicBezTo>
                <a:cubicBezTo>
                  <a:pt x="4711241" y="1202883"/>
                  <a:pt x="4711027" y="1201603"/>
                  <a:pt x="4710174" y="1202883"/>
                </a:cubicBezTo>
                <a:cubicBezTo>
                  <a:pt x="4709107" y="1204164"/>
                  <a:pt x="4708253" y="1206583"/>
                  <a:pt x="4708467" y="1207720"/>
                </a:cubicBezTo>
                <a:cubicBezTo>
                  <a:pt x="4703344" y="1204448"/>
                  <a:pt x="4701637" y="1208147"/>
                  <a:pt x="4693741" y="1202599"/>
                </a:cubicBezTo>
                <a:cubicBezTo>
                  <a:pt x="4686057" y="1197619"/>
                  <a:pt x="4684777" y="1191644"/>
                  <a:pt x="4685844" y="1186807"/>
                </a:cubicBezTo>
                <a:lnTo>
                  <a:pt x="4687125" y="1183250"/>
                </a:lnTo>
                <a:lnTo>
                  <a:pt x="4684563" y="1180832"/>
                </a:lnTo>
                <a:cubicBezTo>
                  <a:pt x="4693313" y="1174145"/>
                  <a:pt x="4680509" y="1168739"/>
                  <a:pt x="4687125" y="1163190"/>
                </a:cubicBezTo>
                <a:cubicBezTo>
                  <a:pt x="4690539" y="1162337"/>
                  <a:pt x="4693954" y="1160345"/>
                  <a:pt x="4697796" y="1160914"/>
                </a:cubicBezTo>
                <a:close/>
                <a:moveTo>
                  <a:pt x="3911344" y="1159491"/>
                </a:moveTo>
                <a:cubicBezTo>
                  <a:pt x="3912837" y="1164471"/>
                  <a:pt x="3914118" y="1169450"/>
                  <a:pt x="3909423" y="1170446"/>
                </a:cubicBezTo>
                <a:cubicBezTo>
                  <a:pt x="3904301" y="1167174"/>
                  <a:pt x="3904087" y="1160203"/>
                  <a:pt x="3911344" y="1159491"/>
                </a:cubicBezTo>
                <a:close/>
                <a:moveTo>
                  <a:pt x="3491120" y="1159491"/>
                </a:moveTo>
                <a:cubicBezTo>
                  <a:pt x="3496882" y="1160203"/>
                  <a:pt x="3502645" y="1162764"/>
                  <a:pt x="3506700" y="1165609"/>
                </a:cubicBezTo>
                <a:cubicBezTo>
                  <a:pt x="3496242" y="1174572"/>
                  <a:pt x="3486638" y="1170019"/>
                  <a:pt x="3477034" y="1165467"/>
                </a:cubicBezTo>
                <a:cubicBezTo>
                  <a:pt x="3480236" y="1160203"/>
                  <a:pt x="3485571" y="1158780"/>
                  <a:pt x="3491120" y="1159491"/>
                </a:cubicBezTo>
                <a:close/>
                <a:moveTo>
                  <a:pt x="4087628" y="1159065"/>
                </a:moveTo>
                <a:cubicBezTo>
                  <a:pt x="4094244" y="1158069"/>
                  <a:pt x="4100860" y="1164471"/>
                  <a:pt x="4099793" y="1170589"/>
                </a:cubicBezTo>
                <a:cubicBezTo>
                  <a:pt x="4099580" y="1173291"/>
                  <a:pt x="4097659" y="1175852"/>
                  <a:pt x="4093604" y="1177702"/>
                </a:cubicBezTo>
                <a:cubicBezTo>
                  <a:pt x="4088695" y="1170446"/>
                  <a:pt x="4082933" y="1170304"/>
                  <a:pt x="4081653" y="1162764"/>
                </a:cubicBezTo>
                <a:cubicBezTo>
                  <a:pt x="4083360" y="1160488"/>
                  <a:pt x="4085494" y="1159349"/>
                  <a:pt x="4087628" y="1159065"/>
                </a:cubicBezTo>
                <a:close/>
                <a:moveTo>
                  <a:pt x="4775693" y="1158211"/>
                </a:moveTo>
                <a:cubicBezTo>
                  <a:pt x="4787005" y="1161626"/>
                  <a:pt x="4796822" y="1190079"/>
                  <a:pt x="4785724" y="1195912"/>
                </a:cubicBezTo>
                <a:cubicBezTo>
                  <a:pt x="4783377" y="1182112"/>
                  <a:pt x="4775480" y="1174145"/>
                  <a:pt x="4775693" y="1158211"/>
                </a:cubicBezTo>
                <a:close/>
                <a:moveTo>
                  <a:pt x="1209234" y="1157098"/>
                </a:moveTo>
                <a:cubicBezTo>
                  <a:pt x="1210679" y="1156168"/>
                  <a:pt x="1213158" y="1156478"/>
                  <a:pt x="1213777" y="1158647"/>
                </a:cubicBezTo>
                <a:cubicBezTo>
                  <a:pt x="1212848" y="1159266"/>
                  <a:pt x="1211815" y="1160815"/>
                  <a:pt x="1210060" y="1161280"/>
                </a:cubicBezTo>
                <a:cubicBezTo>
                  <a:pt x="1208614" y="1160505"/>
                  <a:pt x="1207995" y="1159576"/>
                  <a:pt x="1207995" y="1158801"/>
                </a:cubicBezTo>
                <a:cubicBezTo>
                  <a:pt x="1207995" y="1158027"/>
                  <a:pt x="1208511" y="1157408"/>
                  <a:pt x="1209234" y="1157098"/>
                </a:cubicBezTo>
                <a:close/>
                <a:moveTo>
                  <a:pt x="1245916" y="1156865"/>
                </a:moveTo>
                <a:cubicBezTo>
                  <a:pt x="1248523" y="1156130"/>
                  <a:pt x="1251517" y="1156633"/>
                  <a:pt x="1254873" y="1159421"/>
                </a:cubicBezTo>
                <a:cubicBezTo>
                  <a:pt x="1256525" y="1160196"/>
                  <a:pt x="1255699" y="1160196"/>
                  <a:pt x="1256525" y="1160970"/>
                </a:cubicBezTo>
                <a:cubicBezTo>
                  <a:pt x="1257351" y="1161899"/>
                  <a:pt x="1259003" y="1162674"/>
                  <a:pt x="1259933" y="1162519"/>
                </a:cubicBezTo>
                <a:cubicBezTo>
                  <a:pt x="1257145" y="1166082"/>
                  <a:pt x="1259623" y="1167631"/>
                  <a:pt x="1255080" y="1172897"/>
                </a:cubicBezTo>
                <a:cubicBezTo>
                  <a:pt x="1249607" y="1179867"/>
                  <a:pt x="1243618" y="1178473"/>
                  <a:pt x="1240314" y="1175995"/>
                </a:cubicBezTo>
                <a:cubicBezTo>
                  <a:pt x="1240934" y="1175376"/>
                  <a:pt x="1236390" y="1172123"/>
                  <a:pt x="1236803" y="1167166"/>
                </a:cubicBezTo>
                <a:cubicBezTo>
                  <a:pt x="1236906" y="1165617"/>
                  <a:pt x="1237629" y="1163758"/>
                  <a:pt x="1239281" y="1161745"/>
                </a:cubicBezTo>
                <a:cubicBezTo>
                  <a:pt x="1241088" y="1159576"/>
                  <a:pt x="1243308" y="1157601"/>
                  <a:pt x="1245916" y="1156865"/>
                </a:cubicBezTo>
                <a:close/>
                <a:moveTo>
                  <a:pt x="4107903" y="1156504"/>
                </a:moveTo>
                <a:cubicBezTo>
                  <a:pt x="4110251" y="1155935"/>
                  <a:pt x="4113025" y="1157500"/>
                  <a:pt x="4114946" y="1159918"/>
                </a:cubicBezTo>
                <a:lnTo>
                  <a:pt x="4116440" y="1163760"/>
                </a:lnTo>
                <a:lnTo>
                  <a:pt x="4118147" y="1163902"/>
                </a:lnTo>
                <a:cubicBezTo>
                  <a:pt x="4123483" y="1169024"/>
                  <a:pt x="4122629" y="1174145"/>
                  <a:pt x="4119214" y="1176706"/>
                </a:cubicBezTo>
                <a:cubicBezTo>
                  <a:pt x="4116013" y="1179125"/>
                  <a:pt x="4110037" y="1179125"/>
                  <a:pt x="4105982" y="1173861"/>
                </a:cubicBezTo>
                <a:cubicBezTo>
                  <a:pt x="4106196" y="1168739"/>
                  <a:pt x="4108117" y="1165609"/>
                  <a:pt x="4108970" y="1163190"/>
                </a:cubicBezTo>
                <a:lnTo>
                  <a:pt x="4113025" y="1163475"/>
                </a:lnTo>
                <a:lnTo>
                  <a:pt x="4110677" y="1162053"/>
                </a:lnTo>
                <a:cubicBezTo>
                  <a:pt x="4108757" y="1160772"/>
                  <a:pt x="4107476" y="1159491"/>
                  <a:pt x="4107903" y="1156504"/>
                </a:cubicBezTo>
                <a:close/>
                <a:moveTo>
                  <a:pt x="1180425" y="1156478"/>
                </a:moveTo>
                <a:cubicBezTo>
                  <a:pt x="1187447" y="1162209"/>
                  <a:pt x="1184452" y="1167011"/>
                  <a:pt x="1180116" y="1167476"/>
                </a:cubicBezTo>
                <a:cubicBezTo>
                  <a:pt x="1178670" y="1167786"/>
                  <a:pt x="1177121" y="1167476"/>
                  <a:pt x="1175779" y="1166701"/>
                </a:cubicBezTo>
                <a:cubicBezTo>
                  <a:pt x="1173920" y="1165462"/>
                  <a:pt x="1172474" y="1163449"/>
                  <a:pt x="1172062" y="1160041"/>
                </a:cubicBezTo>
                <a:cubicBezTo>
                  <a:pt x="1173507" y="1158647"/>
                  <a:pt x="1174953" y="1158027"/>
                  <a:pt x="1176295" y="1157717"/>
                </a:cubicBezTo>
                <a:cubicBezTo>
                  <a:pt x="1177740" y="1157253"/>
                  <a:pt x="1179083" y="1157098"/>
                  <a:pt x="1180425" y="1156478"/>
                </a:cubicBezTo>
                <a:close/>
                <a:moveTo>
                  <a:pt x="1707755" y="1156013"/>
                </a:moveTo>
                <a:lnTo>
                  <a:pt x="1708065" y="1158182"/>
                </a:lnTo>
                <a:lnTo>
                  <a:pt x="1710130" y="1158956"/>
                </a:lnTo>
                <a:cubicBezTo>
                  <a:pt x="1710130" y="1158956"/>
                  <a:pt x="1710027" y="1159731"/>
                  <a:pt x="1710027" y="1159731"/>
                </a:cubicBezTo>
                <a:lnTo>
                  <a:pt x="1708478" y="1160660"/>
                </a:lnTo>
                <a:lnTo>
                  <a:pt x="1708581" y="1160970"/>
                </a:lnTo>
                <a:cubicBezTo>
                  <a:pt x="1708168" y="1162364"/>
                  <a:pt x="1707135" y="1163294"/>
                  <a:pt x="1705793" y="1164068"/>
                </a:cubicBezTo>
                <a:cubicBezTo>
                  <a:pt x="1703934" y="1162984"/>
                  <a:pt x="1703005" y="1161745"/>
                  <a:pt x="1702902" y="1160505"/>
                </a:cubicBezTo>
                <a:cubicBezTo>
                  <a:pt x="1702695" y="1159266"/>
                  <a:pt x="1703315" y="1158027"/>
                  <a:pt x="1704451" y="1157253"/>
                </a:cubicBezTo>
                <a:cubicBezTo>
                  <a:pt x="1705276" y="1156633"/>
                  <a:pt x="1706309" y="1156168"/>
                  <a:pt x="1707755" y="1156013"/>
                </a:cubicBezTo>
                <a:close/>
                <a:moveTo>
                  <a:pt x="1510123" y="1154310"/>
                </a:moveTo>
                <a:cubicBezTo>
                  <a:pt x="1511258" y="1154929"/>
                  <a:pt x="1512601" y="1153690"/>
                  <a:pt x="1513736" y="1154310"/>
                </a:cubicBezTo>
                <a:cubicBezTo>
                  <a:pt x="1513736" y="1154310"/>
                  <a:pt x="1515492" y="1156478"/>
                  <a:pt x="1515492" y="1156478"/>
                </a:cubicBezTo>
                <a:cubicBezTo>
                  <a:pt x="1514975" y="1157563"/>
                  <a:pt x="1514975" y="1157563"/>
                  <a:pt x="1514666" y="1156633"/>
                </a:cubicBezTo>
                <a:cubicBezTo>
                  <a:pt x="1513324" y="1158027"/>
                  <a:pt x="1512497" y="1158182"/>
                  <a:pt x="1511671" y="1158337"/>
                </a:cubicBezTo>
                <a:cubicBezTo>
                  <a:pt x="1510536" y="1157717"/>
                  <a:pt x="1509813" y="1156168"/>
                  <a:pt x="1510123" y="1154310"/>
                </a:cubicBezTo>
                <a:close/>
                <a:moveTo>
                  <a:pt x="4661087" y="1154227"/>
                </a:moveTo>
                <a:cubicBezTo>
                  <a:pt x="4662795" y="1155793"/>
                  <a:pt x="4663648" y="1157642"/>
                  <a:pt x="4663862" y="1159634"/>
                </a:cubicBezTo>
                <a:cubicBezTo>
                  <a:pt x="4664715" y="1165751"/>
                  <a:pt x="4661087" y="1173719"/>
                  <a:pt x="4661300" y="1181401"/>
                </a:cubicBezTo>
                <a:cubicBezTo>
                  <a:pt x="4663221" y="1185669"/>
                  <a:pt x="4668984" y="1185100"/>
                  <a:pt x="4667276" y="1194347"/>
                </a:cubicBezTo>
                <a:cubicBezTo>
                  <a:pt x="4653404" y="1193209"/>
                  <a:pt x="4643160" y="1188799"/>
                  <a:pt x="4636117" y="1181685"/>
                </a:cubicBezTo>
                <a:cubicBezTo>
                  <a:pt x="4633556" y="1179267"/>
                  <a:pt x="4631635" y="1176421"/>
                  <a:pt x="4629928" y="1173434"/>
                </a:cubicBezTo>
                <a:cubicBezTo>
                  <a:pt x="4637184" y="1166890"/>
                  <a:pt x="4645294" y="1173149"/>
                  <a:pt x="4652337" y="1175995"/>
                </a:cubicBezTo>
                <a:cubicBezTo>
                  <a:pt x="4653191" y="1167459"/>
                  <a:pt x="4652337" y="1154797"/>
                  <a:pt x="4661087" y="1154227"/>
                </a:cubicBezTo>
                <a:close/>
                <a:moveTo>
                  <a:pt x="1107113" y="1154000"/>
                </a:moveTo>
                <a:cubicBezTo>
                  <a:pt x="1112070" y="1152916"/>
                  <a:pt x="1118885" y="1155084"/>
                  <a:pt x="1121569" y="1157872"/>
                </a:cubicBezTo>
                <a:cubicBezTo>
                  <a:pt x="1121982" y="1161745"/>
                  <a:pt x="1121053" y="1164223"/>
                  <a:pt x="1119401" y="1165772"/>
                </a:cubicBezTo>
                <a:cubicBezTo>
                  <a:pt x="1114341" y="1170109"/>
                  <a:pt x="1102777" y="1164688"/>
                  <a:pt x="1103190" y="1155859"/>
                </a:cubicBezTo>
                <a:cubicBezTo>
                  <a:pt x="1104119" y="1154929"/>
                  <a:pt x="1105565" y="1154310"/>
                  <a:pt x="1107113" y="1154000"/>
                </a:cubicBezTo>
                <a:close/>
                <a:moveTo>
                  <a:pt x="1273253" y="1153806"/>
                </a:moveTo>
                <a:cubicBezTo>
                  <a:pt x="1276144" y="1154929"/>
                  <a:pt x="1279397" y="1157795"/>
                  <a:pt x="1282030" y="1159111"/>
                </a:cubicBezTo>
                <a:lnTo>
                  <a:pt x="1281203" y="1161745"/>
                </a:lnTo>
                <a:lnTo>
                  <a:pt x="1281410" y="1162209"/>
                </a:lnTo>
                <a:cubicBezTo>
                  <a:pt x="1282752" y="1165927"/>
                  <a:pt x="1279758" y="1169334"/>
                  <a:pt x="1276247" y="1168560"/>
                </a:cubicBezTo>
                <a:cubicBezTo>
                  <a:pt x="1274698" y="1168250"/>
                  <a:pt x="1273149" y="1167011"/>
                  <a:pt x="1271704" y="1164843"/>
                </a:cubicBezTo>
                <a:lnTo>
                  <a:pt x="1272117" y="1164223"/>
                </a:lnTo>
                <a:lnTo>
                  <a:pt x="1271084" y="1163758"/>
                </a:lnTo>
                <a:cubicBezTo>
                  <a:pt x="1269329" y="1162364"/>
                  <a:pt x="1267987" y="1160660"/>
                  <a:pt x="1266644" y="1158956"/>
                </a:cubicBezTo>
                <a:cubicBezTo>
                  <a:pt x="1267832" y="1153303"/>
                  <a:pt x="1270362" y="1152683"/>
                  <a:pt x="1273253" y="1153806"/>
                </a:cubicBezTo>
                <a:close/>
                <a:moveTo>
                  <a:pt x="4890086" y="1153801"/>
                </a:moveTo>
                <a:cubicBezTo>
                  <a:pt x="4890727" y="1154227"/>
                  <a:pt x="4890941" y="1155081"/>
                  <a:pt x="4891794" y="1156931"/>
                </a:cubicBezTo>
                <a:lnTo>
                  <a:pt x="4890727" y="1161483"/>
                </a:lnTo>
                <a:lnTo>
                  <a:pt x="4891154" y="1162621"/>
                </a:lnTo>
                <a:cubicBezTo>
                  <a:pt x="4891367" y="1163760"/>
                  <a:pt x="4890941" y="1164898"/>
                  <a:pt x="4889660" y="1166036"/>
                </a:cubicBezTo>
                <a:lnTo>
                  <a:pt x="4888379" y="1166890"/>
                </a:lnTo>
                <a:lnTo>
                  <a:pt x="4885391" y="1170731"/>
                </a:lnTo>
                <a:lnTo>
                  <a:pt x="4884324" y="1168881"/>
                </a:lnTo>
                <a:lnTo>
                  <a:pt x="4880056" y="1168312"/>
                </a:lnTo>
                <a:cubicBezTo>
                  <a:pt x="4877495" y="1169450"/>
                  <a:pt x="4876215" y="1171727"/>
                  <a:pt x="4874080" y="1170446"/>
                </a:cubicBezTo>
                <a:cubicBezTo>
                  <a:pt x="4877708" y="1168170"/>
                  <a:pt x="4878989" y="1167174"/>
                  <a:pt x="4881550" y="1166036"/>
                </a:cubicBezTo>
                <a:lnTo>
                  <a:pt x="4882190" y="1164329"/>
                </a:lnTo>
                <a:lnTo>
                  <a:pt x="4881977" y="1164044"/>
                </a:lnTo>
                <a:lnTo>
                  <a:pt x="4882403" y="1163617"/>
                </a:lnTo>
                <a:lnTo>
                  <a:pt x="4883044" y="1162479"/>
                </a:lnTo>
                <a:lnTo>
                  <a:pt x="4883471" y="1162195"/>
                </a:lnTo>
                <a:lnTo>
                  <a:pt x="4884965" y="1159349"/>
                </a:lnTo>
                <a:cubicBezTo>
                  <a:pt x="4886032" y="1156789"/>
                  <a:pt x="4887099" y="1154085"/>
                  <a:pt x="4887099" y="1154085"/>
                </a:cubicBezTo>
                <a:cubicBezTo>
                  <a:pt x="4888806" y="1153659"/>
                  <a:pt x="4889446" y="1153374"/>
                  <a:pt x="4890086" y="1153801"/>
                </a:cubicBezTo>
                <a:close/>
                <a:moveTo>
                  <a:pt x="4172356" y="1153801"/>
                </a:moveTo>
                <a:cubicBezTo>
                  <a:pt x="4176198" y="1154512"/>
                  <a:pt x="4178118" y="1155650"/>
                  <a:pt x="4178759" y="1157215"/>
                </a:cubicBezTo>
                <a:cubicBezTo>
                  <a:pt x="4181106" y="1161910"/>
                  <a:pt x="4172569" y="1169592"/>
                  <a:pt x="4169155" y="1175141"/>
                </a:cubicBezTo>
                <a:cubicBezTo>
                  <a:pt x="4164033" y="1174287"/>
                  <a:pt x="4162752" y="1173434"/>
                  <a:pt x="4159551" y="1169592"/>
                </a:cubicBezTo>
                <a:cubicBezTo>
                  <a:pt x="4161685" y="1161768"/>
                  <a:pt x="4167020" y="1157784"/>
                  <a:pt x="4172356" y="1153801"/>
                </a:cubicBezTo>
                <a:close/>
                <a:moveTo>
                  <a:pt x="3994150" y="1153374"/>
                </a:moveTo>
                <a:cubicBezTo>
                  <a:pt x="3995217" y="1153943"/>
                  <a:pt x="3996285" y="1154512"/>
                  <a:pt x="3996712" y="1153516"/>
                </a:cubicBezTo>
                <a:cubicBezTo>
                  <a:pt x="3997779" y="1156789"/>
                  <a:pt x="3997352" y="1157784"/>
                  <a:pt x="3997992" y="1159491"/>
                </a:cubicBezTo>
                <a:cubicBezTo>
                  <a:pt x="3998419" y="1158496"/>
                  <a:pt x="3999059" y="1160061"/>
                  <a:pt x="3999059" y="1160061"/>
                </a:cubicBezTo>
                <a:cubicBezTo>
                  <a:pt x="3999059" y="1160061"/>
                  <a:pt x="3999059" y="1160203"/>
                  <a:pt x="4002047" y="1159207"/>
                </a:cubicBezTo>
                <a:cubicBezTo>
                  <a:pt x="4002047" y="1159207"/>
                  <a:pt x="4009303" y="1157926"/>
                  <a:pt x="4012504" y="1165040"/>
                </a:cubicBezTo>
                <a:cubicBezTo>
                  <a:pt x="4011011" y="1165609"/>
                  <a:pt x="4014212" y="1175426"/>
                  <a:pt x="4010371" y="1178413"/>
                </a:cubicBezTo>
                <a:cubicBezTo>
                  <a:pt x="4008236" y="1179978"/>
                  <a:pt x="4006743" y="1180405"/>
                  <a:pt x="4004608" y="1181970"/>
                </a:cubicBezTo>
                <a:cubicBezTo>
                  <a:pt x="4001620" y="1180263"/>
                  <a:pt x="3996925" y="1181543"/>
                  <a:pt x="3992657" y="1173861"/>
                </a:cubicBezTo>
                <a:cubicBezTo>
                  <a:pt x="3988815" y="1165040"/>
                  <a:pt x="3996925" y="1161626"/>
                  <a:pt x="3995858" y="1161056"/>
                </a:cubicBezTo>
                <a:cubicBezTo>
                  <a:pt x="3995431" y="1159349"/>
                  <a:pt x="3995431" y="1159349"/>
                  <a:pt x="3994364" y="1158780"/>
                </a:cubicBezTo>
                <a:cubicBezTo>
                  <a:pt x="3994791" y="1157784"/>
                  <a:pt x="3994791" y="1154939"/>
                  <a:pt x="3994150" y="1153374"/>
                </a:cubicBezTo>
                <a:close/>
                <a:moveTo>
                  <a:pt x="1591282" y="1153225"/>
                </a:moveTo>
                <a:cubicBezTo>
                  <a:pt x="1591282" y="1154465"/>
                  <a:pt x="1591385" y="1156633"/>
                  <a:pt x="1591488" y="1158956"/>
                </a:cubicBezTo>
                <a:lnTo>
                  <a:pt x="1591488" y="1161590"/>
                </a:lnTo>
                <a:lnTo>
                  <a:pt x="1592004" y="1159111"/>
                </a:lnTo>
                <a:cubicBezTo>
                  <a:pt x="1592314" y="1158337"/>
                  <a:pt x="1592934" y="1158182"/>
                  <a:pt x="1594070" y="1158647"/>
                </a:cubicBezTo>
                <a:cubicBezTo>
                  <a:pt x="1596032" y="1158801"/>
                  <a:pt x="1596032" y="1160660"/>
                  <a:pt x="1598303" y="1161590"/>
                </a:cubicBezTo>
                <a:cubicBezTo>
                  <a:pt x="1600472" y="1162054"/>
                  <a:pt x="1602021" y="1160351"/>
                  <a:pt x="1603982" y="1158801"/>
                </a:cubicBezTo>
                <a:lnTo>
                  <a:pt x="1604499" y="1158492"/>
                </a:lnTo>
                <a:cubicBezTo>
                  <a:pt x="1605015" y="1157872"/>
                  <a:pt x="1605944" y="1157408"/>
                  <a:pt x="1606770" y="1157253"/>
                </a:cubicBezTo>
                <a:lnTo>
                  <a:pt x="1606977" y="1157253"/>
                </a:lnTo>
                <a:lnTo>
                  <a:pt x="1607596" y="1156788"/>
                </a:lnTo>
                <a:cubicBezTo>
                  <a:pt x="1609042" y="1156323"/>
                  <a:pt x="1610798" y="1156323"/>
                  <a:pt x="1612966" y="1156788"/>
                </a:cubicBezTo>
                <a:cubicBezTo>
                  <a:pt x="1612243" y="1158956"/>
                  <a:pt x="1617303" y="1161590"/>
                  <a:pt x="1616064" y="1164843"/>
                </a:cubicBezTo>
                <a:lnTo>
                  <a:pt x="1615237" y="1167166"/>
                </a:lnTo>
                <a:lnTo>
                  <a:pt x="1617096" y="1166701"/>
                </a:lnTo>
                <a:cubicBezTo>
                  <a:pt x="1618955" y="1173362"/>
                  <a:pt x="1618748" y="1181571"/>
                  <a:pt x="1618541" y="1183430"/>
                </a:cubicBezTo>
                <a:cubicBezTo>
                  <a:pt x="1618438" y="1184360"/>
                  <a:pt x="1618232" y="1184979"/>
                  <a:pt x="1617819" y="1185134"/>
                </a:cubicBezTo>
                <a:cubicBezTo>
                  <a:pt x="1617303" y="1185444"/>
                  <a:pt x="1616579" y="1185444"/>
                  <a:pt x="1615650" y="1185289"/>
                </a:cubicBezTo>
                <a:cubicBezTo>
                  <a:pt x="1611933" y="1182810"/>
                  <a:pt x="1612966" y="1178783"/>
                  <a:pt x="1612140" y="1174446"/>
                </a:cubicBezTo>
                <a:cubicBezTo>
                  <a:pt x="1612966" y="1174291"/>
                  <a:pt x="1613482" y="1173207"/>
                  <a:pt x="1613172" y="1172432"/>
                </a:cubicBezTo>
                <a:lnTo>
                  <a:pt x="1613585" y="1171348"/>
                </a:lnTo>
                <a:lnTo>
                  <a:pt x="1611520" y="1173517"/>
                </a:lnTo>
                <a:cubicBezTo>
                  <a:pt x="1609558" y="1174601"/>
                  <a:pt x="1607080" y="1174446"/>
                  <a:pt x="1603776" y="1174291"/>
                </a:cubicBezTo>
                <a:cubicBezTo>
                  <a:pt x="1604602" y="1173981"/>
                  <a:pt x="1603363" y="1173517"/>
                  <a:pt x="1603363" y="1173517"/>
                </a:cubicBezTo>
                <a:cubicBezTo>
                  <a:pt x="1600988" y="1172588"/>
                  <a:pt x="1602640" y="1177544"/>
                  <a:pt x="1599439" y="1176924"/>
                </a:cubicBezTo>
                <a:cubicBezTo>
                  <a:pt x="1594483" y="1175376"/>
                  <a:pt x="1592934" y="1169334"/>
                  <a:pt x="1592418" y="1166082"/>
                </a:cubicBezTo>
                <a:lnTo>
                  <a:pt x="1592108" y="1164223"/>
                </a:lnTo>
                <a:lnTo>
                  <a:pt x="1591488" y="1164533"/>
                </a:lnTo>
                <a:lnTo>
                  <a:pt x="1591488" y="1166392"/>
                </a:lnTo>
                <a:cubicBezTo>
                  <a:pt x="1591075" y="1171193"/>
                  <a:pt x="1589836" y="1175531"/>
                  <a:pt x="1586119" y="1175995"/>
                </a:cubicBezTo>
                <a:cubicBezTo>
                  <a:pt x="1585912" y="1172897"/>
                  <a:pt x="1584776" y="1167631"/>
                  <a:pt x="1584880" y="1162984"/>
                </a:cubicBezTo>
                <a:cubicBezTo>
                  <a:pt x="1584983" y="1158182"/>
                  <a:pt x="1586326" y="1154000"/>
                  <a:pt x="1591282" y="1153225"/>
                </a:cubicBezTo>
                <a:close/>
                <a:moveTo>
                  <a:pt x="1192403" y="1152761"/>
                </a:moveTo>
                <a:cubicBezTo>
                  <a:pt x="1194674" y="1155239"/>
                  <a:pt x="1199011" y="1155084"/>
                  <a:pt x="1198186" y="1160196"/>
                </a:cubicBezTo>
                <a:cubicBezTo>
                  <a:pt x="1194262" y="1163449"/>
                  <a:pt x="1187034" y="1160351"/>
                  <a:pt x="1187343" y="1154465"/>
                </a:cubicBezTo>
                <a:cubicBezTo>
                  <a:pt x="1189202" y="1154155"/>
                  <a:pt x="1190544" y="1153071"/>
                  <a:pt x="1192403" y="1152761"/>
                </a:cubicBezTo>
                <a:close/>
                <a:moveTo>
                  <a:pt x="1401600" y="1151986"/>
                </a:moveTo>
                <a:cubicBezTo>
                  <a:pt x="1405007" y="1154465"/>
                  <a:pt x="1404904" y="1156943"/>
                  <a:pt x="1406453" y="1159421"/>
                </a:cubicBezTo>
                <a:cubicBezTo>
                  <a:pt x="1401291" y="1166856"/>
                  <a:pt x="1396024" y="1164533"/>
                  <a:pt x="1394889" y="1160505"/>
                </a:cubicBezTo>
                <a:cubicBezTo>
                  <a:pt x="1394475" y="1159266"/>
                  <a:pt x="1394579" y="1157717"/>
                  <a:pt x="1395198" y="1156323"/>
                </a:cubicBezTo>
                <a:cubicBezTo>
                  <a:pt x="1396128" y="1154465"/>
                  <a:pt x="1398193" y="1152916"/>
                  <a:pt x="1401600" y="1151986"/>
                </a:cubicBezTo>
                <a:close/>
                <a:moveTo>
                  <a:pt x="4414801" y="1151667"/>
                </a:moveTo>
                <a:cubicBezTo>
                  <a:pt x="4415014" y="1163475"/>
                  <a:pt x="4407545" y="1165609"/>
                  <a:pt x="4400715" y="1168881"/>
                </a:cubicBezTo>
                <a:cubicBezTo>
                  <a:pt x="4399648" y="1163760"/>
                  <a:pt x="4405197" y="1151382"/>
                  <a:pt x="4414801" y="1151667"/>
                </a:cubicBezTo>
                <a:close/>
                <a:moveTo>
                  <a:pt x="4525139" y="1151524"/>
                </a:moveTo>
                <a:cubicBezTo>
                  <a:pt x="4526419" y="1151667"/>
                  <a:pt x="4527700" y="1152663"/>
                  <a:pt x="4529407" y="1153943"/>
                </a:cubicBezTo>
                <a:cubicBezTo>
                  <a:pt x="4531115" y="1155081"/>
                  <a:pt x="4531541" y="1156646"/>
                  <a:pt x="4531755" y="1158211"/>
                </a:cubicBezTo>
                <a:cubicBezTo>
                  <a:pt x="4532181" y="1159634"/>
                  <a:pt x="4532181" y="1161199"/>
                  <a:pt x="4533249" y="1162479"/>
                </a:cubicBezTo>
                <a:cubicBezTo>
                  <a:pt x="4530901" y="1163617"/>
                  <a:pt x="4527060" y="1165894"/>
                  <a:pt x="4522578" y="1162195"/>
                </a:cubicBezTo>
                <a:cubicBezTo>
                  <a:pt x="4521724" y="1161056"/>
                  <a:pt x="4521724" y="1160914"/>
                  <a:pt x="4521724" y="1159776"/>
                </a:cubicBezTo>
                <a:cubicBezTo>
                  <a:pt x="4520870" y="1157358"/>
                  <a:pt x="4519803" y="1156077"/>
                  <a:pt x="4521084" y="1153659"/>
                </a:cubicBezTo>
                <a:cubicBezTo>
                  <a:pt x="4522578" y="1151951"/>
                  <a:pt x="4523858" y="1151382"/>
                  <a:pt x="4525139" y="1151524"/>
                </a:cubicBezTo>
                <a:close/>
                <a:moveTo>
                  <a:pt x="3680637" y="1151382"/>
                </a:moveTo>
                <a:cubicBezTo>
                  <a:pt x="3688960" y="1151951"/>
                  <a:pt x="3697497" y="1157358"/>
                  <a:pt x="3701338" y="1170589"/>
                </a:cubicBezTo>
                <a:cubicBezTo>
                  <a:pt x="3691522" y="1183250"/>
                  <a:pt x="3674448" y="1187234"/>
                  <a:pt x="3664844" y="1177275"/>
                </a:cubicBezTo>
                <a:cubicBezTo>
                  <a:pt x="3662069" y="1173719"/>
                  <a:pt x="3661002" y="1170304"/>
                  <a:pt x="3660789" y="1167174"/>
                </a:cubicBezTo>
                <a:lnTo>
                  <a:pt x="3662923" y="1160630"/>
                </a:lnTo>
                <a:lnTo>
                  <a:pt x="3662497" y="1159776"/>
                </a:lnTo>
                <a:lnTo>
                  <a:pt x="3663350" y="1159491"/>
                </a:lnTo>
                <a:lnTo>
                  <a:pt x="3663563" y="1158780"/>
                </a:lnTo>
                <a:cubicBezTo>
                  <a:pt x="3667192" y="1153943"/>
                  <a:pt x="3673808" y="1150955"/>
                  <a:pt x="3680637" y="1151382"/>
                </a:cubicBezTo>
                <a:close/>
                <a:moveTo>
                  <a:pt x="4271596" y="1150955"/>
                </a:moveTo>
                <a:cubicBezTo>
                  <a:pt x="4280346" y="1151951"/>
                  <a:pt x="4275011" y="1164471"/>
                  <a:pt x="4274370" y="1171727"/>
                </a:cubicBezTo>
                <a:cubicBezTo>
                  <a:pt x="4269462" y="1172722"/>
                  <a:pt x="4267754" y="1172580"/>
                  <a:pt x="4263059" y="1170162"/>
                </a:cubicBezTo>
                <a:cubicBezTo>
                  <a:pt x="4261139" y="1162337"/>
                  <a:pt x="4263913" y="1156789"/>
                  <a:pt x="4266901" y="1151240"/>
                </a:cubicBezTo>
                <a:cubicBezTo>
                  <a:pt x="4268822" y="1150955"/>
                  <a:pt x="4270315" y="1150813"/>
                  <a:pt x="4271596" y="1150955"/>
                </a:cubicBezTo>
                <a:close/>
                <a:moveTo>
                  <a:pt x="3911770" y="1150813"/>
                </a:moveTo>
                <a:cubicBezTo>
                  <a:pt x="3912197" y="1150813"/>
                  <a:pt x="3912411" y="1151098"/>
                  <a:pt x="3912411" y="1151667"/>
                </a:cubicBezTo>
                <a:cubicBezTo>
                  <a:pt x="3914545" y="1152805"/>
                  <a:pt x="3911984" y="1155081"/>
                  <a:pt x="3910704" y="1156219"/>
                </a:cubicBezTo>
                <a:cubicBezTo>
                  <a:pt x="3911130" y="1152805"/>
                  <a:pt x="3910063" y="1151667"/>
                  <a:pt x="3911130" y="1151667"/>
                </a:cubicBezTo>
                <a:cubicBezTo>
                  <a:pt x="3911130" y="1151098"/>
                  <a:pt x="3911557" y="1150813"/>
                  <a:pt x="3911770" y="1150813"/>
                </a:cubicBezTo>
                <a:close/>
                <a:moveTo>
                  <a:pt x="911236" y="1150592"/>
                </a:moveTo>
                <a:cubicBezTo>
                  <a:pt x="920426" y="1150128"/>
                  <a:pt x="931475" y="1161899"/>
                  <a:pt x="924969" y="1167011"/>
                </a:cubicBezTo>
                <a:cubicBezTo>
                  <a:pt x="924040" y="1167631"/>
                  <a:pt x="922698" y="1168250"/>
                  <a:pt x="921046" y="1168715"/>
                </a:cubicBezTo>
                <a:cubicBezTo>
                  <a:pt x="917432" y="1165617"/>
                  <a:pt x="911133" y="1161590"/>
                  <a:pt x="910100" y="1156323"/>
                </a:cubicBezTo>
                <a:cubicBezTo>
                  <a:pt x="909791" y="1154620"/>
                  <a:pt x="910100" y="1152606"/>
                  <a:pt x="911236" y="1150592"/>
                </a:cubicBezTo>
                <a:close/>
                <a:moveTo>
                  <a:pt x="3738260" y="1150529"/>
                </a:moveTo>
                <a:cubicBezTo>
                  <a:pt x="3739754" y="1151809"/>
                  <a:pt x="3740608" y="1153232"/>
                  <a:pt x="3740821" y="1154370"/>
                </a:cubicBezTo>
                <a:cubicBezTo>
                  <a:pt x="3741248" y="1158211"/>
                  <a:pt x="3736980" y="1161768"/>
                  <a:pt x="3734632" y="1166036"/>
                </a:cubicBezTo>
                <a:cubicBezTo>
                  <a:pt x="3732071" y="1163475"/>
                  <a:pt x="3731431" y="1160914"/>
                  <a:pt x="3732071" y="1158353"/>
                </a:cubicBezTo>
                <a:cubicBezTo>
                  <a:pt x="3732711" y="1155935"/>
                  <a:pt x="3735059" y="1153232"/>
                  <a:pt x="3738260" y="1150529"/>
                </a:cubicBezTo>
                <a:close/>
                <a:moveTo>
                  <a:pt x="1555762" y="1149508"/>
                </a:moveTo>
                <a:cubicBezTo>
                  <a:pt x="1554936" y="1151676"/>
                  <a:pt x="1555039" y="1155394"/>
                  <a:pt x="1551528" y="1155859"/>
                </a:cubicBezTo>
                <a:cubicBezTo>
                  <a:pt x="1552148" y="1154155"/>
                  <a:pt x="1552871" y="1150902"/>
                  <a:pt x="1554213" y="1149818"/>
                </a:cubicBezTo>
                <a:cubicBezTo>
                  <a:pt x="1554626" y="1149353"/>
                  <a:pt x="1555142" y="1149353"/>
                  <a:pt x="1555762" y="1149508"/>
                </a:cubicBezTo>
                <a:close/>
                <a:moveTo>
                  <a:pt x="3767285" y="1149248"/>
                </a:moveTo>
                <a:cubicBezTo>
                  <a:pt x="3769633" y="1149390"/>
                  <a:pt x="3771981" y="1150386"/>
                  <a:pt x="3774755" y="1152663"/>
                </a:cubicBezTo>
                <a:cubicBezTo>
                  <a:pt x="3780730" y="1157642"/>
                  <a:pt x="3785853" y="1165040"/>
                  <a:pt x="3778170" y="1174145"/>
                </a:cubicBezTo>
                <a:cubicBezTo>
                  <a:pt x="3777103" y="1176421"/>
                  <a:pt x="3776889" y="1175283"/>
                  <a:pt x="3775822" y="1176421"/>
                </a:cubicBezTo>
                <a:cubicBezTo>
                  <a:pt x="3774755" y="1177560"/>
                  <a:pt x="3773688" y="1179836"/>
                  <a:pt x="3773688" y="1181116"/>
                </a:cubicBezTo>
                <a:cubicBezTo>
                  <a:pt x="3768993" y="1177275"/>
                  <a:pt x="3766645" y="1180832"/>
                  <a:pt x="3759388" y="1174572"/>
                </a:cubicBezTo>
                <a:cubicBezTo>
                  <a:pt x="3749785" y="1166890"/>
                  <a:pt x="3751919" y="1158638"/>
                  <a:pt x="3755120" y="1154085"/>
                </a:cubicBezTo>
                <a:cubicBezTo>
                  <a:pt x="3755974" y="1154939"/>
                  <a:pt x="3760456" y="1148679"/>
                  <a:pt x="3767285" y="1149248"/>
                </a:cubicBezTo>
                <a:close/>
                <a:moveTo>
                  <a:pt x="1703418" y="1148733"/>
                </a:moveTo>
                <a:cubicBezTo>
                  <a:pt x="1704141" y="1152141"/>
                  <a:pt x="1703212" y="1165462"/>
                  <a:pt x="1696190" y="1160815"/>
                </a:cubicBezTo>
                <a:lnTo>
                  <a:pt x="1693815" y="1161745"/>
                </a:lnTo>
                <a:cubicBezTo>
                  <a:pt x="1692679" y="1161590"/>
                  <a:pt x="1691647" y="1160815"/>
                  <a:pt x="1690511" y="1159576"/>
                </a:cubicBezTo>
                <a:cubicBezTo>
                  <a:pt x="1691750" y="1158801"/>
                  <a:pt x="1692783" y="1158492"/>
                  <a:pt x="1694022" y="1158647"/>
                </a:cubicBezTo>
                <a:lnTo>
                  <a:pt x="1696500" y="1159421"/>
                </a:lnTo>
                <a:lnTo>
                  <a:pt x="1697636" y="1153690"/>
                </a:lnTo>
                <a:cubicBezTo>
                  <a:pt x="1697842" y="1151521"/>
                  <a:pt x="1698255" y="1149818"/>
                  <a:pt x="1699495" y="1148888"/>
                </a:cubicBezTo>
                <a:cubicBezTo>
                  <a:pt x="1700320" y="1148424"/>
                  <a:pt x="1701560" y="1148268"/>
                  <a:pt x="1703418" y="1148733"/>
                </a:cubicBezTo>
                <a:close/>
                <a:moveTo>
                  <a:pt x="4046012" y="1148679"/>
                </a:moveTo>
                <a:cubicBezTo>
                  <a:pt x="4047932" y="1150244"/>
                  <a:pt x="4048786" y="1153089"/>
                  <a:pt x="4048999" y="1156504"/>
                </a:cubicBezTo>
                <a:lnTo>
                  <a:pt x="4049213" y="1165609"/>
                </a:lnTo>
                <a:lnTo>
                  <a:pt x="4052414" y="1167601"/>
                </a:lnTo>
                <a:cubicBezTo>
                  <a:pt x="4051134" y="1168739"/>
                  <a:pt x="4052201" y="1170019"/>
                  <a:pt x="4053054" y="1171300"/>
                </a:cubicBezTo>
                <a:cubicBezTo>
                  <a:pt x="4050280" y="1181685"/>
                  <a:pt x="4029792" y="1184104"/>
                  <a:pt x="4029365" y="1175141"/>
                </a:cubicBezTo>
                <a:cubicBezTo>
                  <a:pt x="4029365" y="1173861"/>
                  <a:pt x="4029578" y="1172296"/>
                  <a:pt x="4030432" y="1170446"/>
                </a:cubicBezTo>
                <a:cubicBezTo>
                  <a:pt x="4032353" y="1168881"/>
                  <a:pt x="4034487" y="1167459"/>
                  <a:pt x="4036408" y="1166320"/>
                </a:cubicBezTo>
                <a:lnTo>
                  <a:pt x="4041743" y="1164044"/>
                </a:lnTo>
                <a:lnTo>
                  <a:pt x="4041316" y="1155508"/>
                </a:lnTo>
                <a:cubicBezTo>
                  <a:pt x="4041316" y="1152378"/>
                  <a:pt x="4042170" y="1150244"/>
                  <a:pt x="4046012" y="1148679"/>
                </a:cubicBezTo>
                <a:close/>
                <a:moveTo>
                  <a:pt x="1117749" y="1148424"/>
                </a:moveTo>
                <a:cubicBezTo>
                  <a:pt x="1121569" y="1147030"/>
                  <a:pt x="1125080" y="1147649"/>
                  <a:pt x="1128694" y="1151986"/>
                </a:cubicBezTo>
                <a:cubicBezTo>
                  <a:pt x="1127971" y="1155084"/>
                  <a:pt x="1124770" y="1156013"/>
                  <a:pt x="1121466" y="1155549"/>
                </a:cubicBezTo>
                <a:cubicBezTo>
                  <a:pt x="1118265" y="1154929"/>
                  <a:pt x="1114858" y="1152916"/>
                  <a:pt x="1113722" y="1150282"/>
                </a:cubicBezTo>
                <a:cubicBezTo>
                  <a:pt x="1115168" y="1149508"/>
                  <a:pt x="1116510" y="1148888"/>
                  <a:pt x="1117749" y="1148424"/>
                </a:cubicBezTo>
                <a:close/>
                <a:moveTo>
                  <a:pt x="1264682" y="1148268"/>
                </a:moveTo>
                <a:cubicBezTo>
                  <a:pt x="1267161" y="1151366"/>
                  <a:pt x="1265199" y="1156168"/>
                  <a:pt x="1259829" y="1155239"/>
                </a:cubicBezTo>
                <a:cubicBezTo>
                  <a:pt x="1260449" y="1151676"/>
                  <a:pt x="1260965" y="1148114"/>
                  <a:pt x="1264682" y="1148268"/>
                </a:cubicBezTo>
                <a:close/>
                <a:moveTo>
                  <a:pt x="4831610" y="1147968"/>
                </a:moveTo>
                <a:cubicBezTo>
                  <a:pt x="4832036" y="1148252"/>
                  <a:pt x="4832463" y="1149248"/>
                  <a:pt x="4832677" y="1150386"/>
                </a:cubicBezTo>
                <a:cubicBezTo>
                  <a:pt x="4833103" y="1151382"/>
                  <a:pt x="4833317" y="1152663"/>
                  <a:pt x="4833317" y="1153374"/>
                </a:cubicBezTo>
                <a:cubicBezTo>
                  <a:pt x="4834384" y="1154085"/>
                  <a:pt x="4834598" y="1155650"/>
                  <a:pt x="4833957" y="1156646"/>
                </a:cubicBezTo>
                <a:cubicBezTo>
                  <a:pt x="4833957" y="1156646"/>
                  <a:pt x="4834171" y="1158211"/>
                  <a:pt x="4835238" y="1158922"/>
                </a:cubicBezTo>
                <a:cubicBezTo>
                  <a:pt x="4835664" y="1162053"/>
                  <a:pt x="4835024" y="1163048"/>
                  <a:pt x="4834384" y="1164044"/>
                </a:cubicBezTo>
                <a:cubicBezTo>
                  <a:pt x="4834384" y="1164044"/>
                  <a:pt x="4834171" y="1162479"/>
                  <a:pt x="4833103" y="1161910"/>
                </a:cubicBezTo>
                <a:cubicBezTo>
                  <a:pt x="4833103" y="1161910"/>
                  <a:pt x="4832890" y="1160345"/>
                  <a:pt x="4832677" y="1158638"/>
                </a:cubicBezTo>
                <a:cubicBezTo>
                  <a:pt x="4832677" y="1158638"/>
                  <a:pt x="4831823" y="1158069"/>
                  <a:pt x="4830756" y="1157500"/>
                </a:cubicBezTo>
                <a:cubicBezTo>
                  <a:pt x="4829262" y="1153659"/>
                  <a:pt x="4827981" y="1151524"/>
                  <a:pt x="4831610" y="1147968"/>
                </a:cubicBezTo>
                <a:close/>
                <a:moveTo>
                  <a:pt x="3893630" y="1147257"/>
                </a:moveTo>
                <a:cubicBezTo>
                  <a:pt x="3896831" y="1146403"/>
                  <a:pt x="3898966" y="1149105"/>
                  <a:pt x="3899606" y="1152378"/>
                </a:cubicBezTo>
                <a:cubicBezTo>
                  <a:pt x="3900033" y="1153516"/>
                  <a:pt x="3900033" y="1154797"/>
                  <a:pt x="3899392" y="1156077"/>
                </a:cubicBezTo>
                <a:cubicBezTo>
                  <a:pt x="3898752" y="1157358"/>
                  <a:pt x="3897685" y="1158496"/>
                  <a:pt x="3896404" y="1159207"/>
                </a:cubicBezTo>
                <a:cubicBezTo>
                  <a:pt x="3894910" y="1159634"/>
                  <a:pt x="3894910" y="1159634"/>
                  <a:pt x="3893203" y="1160061"/>
                </a:cubicBezTo>
                <a:cubicBezTo>
                  <a:pt x="3891496" y="1158922"/>
                  <a:pt x="3888935" y="1158638"/>
                  <a:pt x="3887654" y="1156504"/>
                </a:cubicBezTo>
                <a:cubicBezTo>
                  <a:pt x="3887227" y="1153232"/>
                  <a:pt x="3891282" y="1148679"/>
                  <a:pt x="3893630" y="1147257"/>
                </a:cubicBezTo>
                <a:close/>
                <a:moveTo>
                  <a:pt x="3441820" y="1147114"/>
                </a:moveTo>
                <a:cubicBezTo>
                  <a:pt x="3442887" y="1147114"/>
                  <a:pt x="3444168" y="1147114"/>
                  <a:pt x="3445662" y="1147257"/>
                </a:cubicBezTo>
                <a:cubicBezTo>
                  <a:pt x="3446302" y="1152378"/>
                  <a:pt x="3440540" y="1153801"/>
                  <a:pt x="3438619" y="1151382"/>
                </a:cubicBezTo>
                <a:cubicBezTo>
                  <a:pt x="3437979" y="1150529"/>
                  <a:pt x="3437765" y="1149390"/>
                  <a:pt x="3438406" y="1147683"/>
                </a:cubicBezTo>
                <a:cubicBezTo>
                  <a:pt x="3439686" y="1147257"/>
                  <a:pt x="3440753" y="1147114"/>
                  <a:pt x="3441820" y="1147114"/>
                </a:cubicBezTo>
                <a:close/>
                <a:moveTo>
                  <a:pt x="4438064" y="1146545"/>
                </a:moveTo>
                <a:cubicBezTo>
                  <a:pt x="4443186" y="1146260"/>
                  <a:pt x="4446814" y="1157215"/>
                  <a:pt x="4450442" y="1162621"/>
                </a:cubicBezTo>
                <a:cubicBezTo>
                  <a:pt x="4447668" y="1166890"/>
                  <a:pt x="4446387" y="1167885"/>
                  <a:pt x="4441478" y="1169166"/>
                </a:cubicBezTo>
                <a:cubicBezTo>
                  <a:pt x="4435289" y="1164044"/>
                  <a:pt x="4433795" y="1157642"/>
                  <a:pt x="4432301" y="1151098"/>
                </a:cubicBezTo>
                <a:cubicBezTo>
                  <a:pt x="4434435" y="1147968"/>
                  <a:pt x="4436356" y="1146545"/>
                  <a:pt x="4438064" y="1146545"/>
                </a:cubicBezTo>
                <a:close/>
                <a:moveTo>
                  <a:pt x="1446517" y="1145326"/>
                </a:moveTo>
                <a:cubicBezTo>
                  <a:pt x="1449511" y="1145481"/>
                  <a:pt x="1451576" y="1145790"/>
                  <a:pt x="1452919" y="1146410"/>
                </a:cubicBezTo>
                <a:lnTo>
                  <a:pt x="1455087" y="1148733"/>
                </a:lnTo>
                <a:lnTo>
                  <a:pt x="1456532" y="1147804"/>
                </a:lnTo>
                <a:cubicBezTo>
                  <a:pt x="1462521" y="1146875"/>
                  <a:pt x="1468304" y="1152296"/>
                  <a:pt x="1472331" y="1156168"/>
                </a:cubicBezTo>
                <a:cubicBezTo>
                  <a:pt x="1475222" y="1158801"/>
                  <a:pt x="1478010" y="1161745"/>
                  <a:pt x="1478010" y="1164533"/>
                </a:cubicBezTo>
                <a:cubicBezTo>
                  <a:pt x="1478010" y="1165462"/>
                  <a:pt x="1477700" y="1166392"/>
                  <a:pt x="1476977" y="1167166"/>
                </a:cubicBezTo>
                <a:lnTo>
                  <a:pt x="1475841" y="1168096"/>
                </a:lnTo>
                <a:lnTo>
                  <a:pt x="1475428" y="1169334"/>
                </a:lnTo>
                <a:lnTo>
                  <a:pt x="1477494" y="1178009"/>
                </a:lnTo>
                <a:lnTo>
                  <a:pt x="1478010" y="1174601"/>
                </a:lnTo>
                <a:cubicBezTo>
                  <a:pt x="1477906" y="1175531"/>
                  <a:pt x="1477906" y="1175531"/>
                  <a:pt x="1477906" y="1175531"/>
                </a:cubicBezTo>
                <a:cubicBezTo>
                  <a:pt x="1478733" y="1176305"/>
                  <a:pt x="1478836" y="1175531"/>
                  <a:pt x="1479662" y="1175376"/>
                </a:cubicBezTo>
                <a:cubicBezTo>
                  <a:pt x="1479662" y="1175376"/>
                  <a:pt x="1478836" y="1175531"/>
                  <a:pt x="1479662" y="1174601"/>
                </a:cubicBezTo>
                <a:cubicBezTo>
                  <a:pt x="1479662" y="1175376"/>
                  <a:pt x="1480591" y="1175376"/>
                  <a:pt x="1481417" y="1175376"/>
                </a:cubicBezTo>
                <a:cubicBezTo>
                  <a:pt x="1483069" y="1176924"/>
                  <a:pt x="1484722" y="1179403"/>
                  <a:pt x="1483792" y="1181107"/>
                </a:cubicBezTo>
                <a:cubicBezTo>
                  <a:pt x="1482863" y="1182036"/>
                  <a:pt x="1482037" y="1182346"/>
                  <a:pt x="1481211" y="1182191"/>
                </a:cubicBezTo>
                <a:lnTo>
                  <a:pt x="1480075" y="1181726"/>
                </a:lnTo>
                <a:lnTo>
                  <a:pt x="1478630" y="1182966"/>
                </a:lnTo>
                <a:lnTo>
                  <a:pt x="1481107" y="1192879"/>
                </a:lnTo>
                <a:cubicBezTo>
                  <a:pt x="1472124" y="1199229"/>
                  <a:pt x="1470369" y="1216578"/>
                  <a:pt x="1457152" y="1217972"/>
                </a:cubicBezTo>
                <a:lnTo>
                  <a:pt x="1456120" y="1217662"/>
                </a:lnTo>
                <a:lnTo>
                  <a:pt x="1454880" y="1218746"/>
                </a:lnTo>
                <a:cubicBezTo>
                  <a:pt x="1453125" y="1219676"/>
                  <a:pt x="1451163" y="1220295"/>
                  <a:pt x="1448892" y="1220141"/>
                </a:cubicBezTo>
                <a:cubicBezTo>
                  <a:pt x="1447756" y="1219211"/>
                  <a:pt x="1447136" y="1217817"/>
                  <a:pt x="1446826" y="1216268"/>
                </a:cubicBezTo>
                <a:lnTo>
                  <a:pt x="1446826" y="1215184"/>
                </a:lnTo>
                <a:lnTo>
                  <a:pt x="1445071" y="1215029"/>
                </a:lnTo>
                <a:cubicBezTo>
                  <a:pt x="1441767" y="1215184"/>
                  <a:pt x="1438772" y="1215958"/>
                  <a:pt x="1435262" y="1215494"/>
                </a:cubicBezTo>
                <a:cubicBezTo>
                  <a:pt x="1432061" y="1213170"/>
                  <a:pt x="1428757" y="1210537"/>
                  <a:pt x="1425659" y="1207594"/>
                </a:cubicBezTo>
                <a:lnTo>
                  <a:pt x="1419257" y="1200159"/>
                </a:lnTo>
                <a:lnTo>
                  <a:pt x="1413165" y="1200159"/>
                </a:lnTo>
                <a:cubicBezTo>
                  <a:pt x="1411100" y="1200314"/>
                  <a:pt x="1408931" y="1200469"/>
                  <a:pt x="1406763" y="1199385"/>
                </a:cubicBezTo>
                <a:cubicBezTo>
                  <a:pt x="1407486" y="1198455"/>
                  <a:pt x="1409964" y="1196442"/>
                  <a:pt x="1412649" y="1197681"/>
                </a:cubicBezTo>
                <a:cubicBezTo>
                  <a:pt x="1413888" y="1198455"/>
                  <a:pt x="1415230" y="1198455"/>
                  <a:pt x="1416469" y="1198455"/>
                </a:cubicBezTo>
                <a:lnTo>
                  <a:pt x="1418018" y="1198765"/>
                </a:lnTo>
                <a:lnTo>
                  <a:pt x="1417089" y="1197681"/>
                </a:lnTo>
                <a:cubicBezTo>
                  <a:pt x="1412132" y="1190555"/>
                  <a:pt x="1409035" y="1182501"/>
                  <a:pt x="1410067" y="1174136"/>
                </a:cubicBezTo>
                <a:cubicBezTo>
                  <a:pt x="1411719" y="1160505"/>
                  <a:pt x="1422768" y="1158182"/>
                  <a:pt x="1431028" y="1148424"/>
                </a:cubicBezTo>
                <a:cubicBezTo>
                  <a:pt x="1436088" y="1151057"/>
                  <a:pt x="1439598" y="1151366"/>
                  <a:pt x="1442696" y="1150747"/>
                </a:cubicBezTo>
                <a:lnTo>
                  <a:pt x="1444865" y="1150128"/>
                </a:lnTo>
                <a:close/>
                <a:moveTo>
                  <a:pt x="3977290" y="1144695"/>
                </a:moveTo>
                <a:cubicBezTo>
                  <a:pt x="3977290" y="1149105"/>
                  <a:pt x="3976223" y="1151240"/>
                  <a:pt x="3975156" y="1151809"/>
                </a:cubicBezTo>
                <a:cubicBezTo>
                  <a:pt x="3971742" y="1153659"/>
                  <a:pt x="3966192" y="1142562"/>
                  <a:pt x="3977290" y="1144695"/>
                </a:cubicBezTo>
                <a:close/>
                <a:moveTo>
                  <a:pt x="3938874" y="1143984"/>
                </a:moveTo>
                <a:cubicBezTo>
                  <a:pt x="3949119" y="1160203"/>
                  <a:pt x="3940582" y="1184388"/>
                  <a:pt x="3937594" y="1205871"/>
                </a:cubicBezTo>
                <a:cubicBezTo>
                  <a:pt x="3933753" y="1204448"/>
                  <a:pt x="3930551" y="1206583"/>
                  <a:pt x="3925216" y="1203453"/>
                </a:cubicBezTo>
                <a:lnTo>
                  <a:pt x="3928631" y="1187661"/>
                </a:lnTo>
                <a:lnTo>
                  <a:pt x="3928204" y="1185527"/>
                </a:lnTo>
                <a:cubicBezTo>
                  <a:pt x="3927991" y="1184246"/>
                  <a:pt x="3928204" y="1183108"/>
                  <a:pt x="3928844" y="1182539"/>
                </a:cubicBezTo>
                <a:lnTo>
                  <a:pt x="3929911" y="1181970"/>
                </a:lnTo>
                <a:lnTo>
                  <a:pt x="3932046" y="1172296"/>
                </a:lnTo>
                <a:cubicBezTo>
                  <a:pt x="3933966" y="1162195"/>
                  <a:pt x="3935674" y="1152663"/>
                  <a:pt x="3938874" y="1143984"/>
                </a:cubicBezTo>
                <a:close/>
                <a:moveTo>
                  <a:pt x="4152294" y="1142562"/>
                </a:moveTo>
                <a:cubicBezTo>
                  <a:pt x="4152508" y="1144127"/>
                  <a:pt x="4154215" y="1143700"/>
                  <a:pt x="4155709" y="1143273"/>
                </a:cubicBezTo>
                <a:cubicBezTo>
                  <a:pt x="4156136" y="1145691"/>
                  <a:pt x="4157203" y="1149390"/>
                  <a:pt x="4155069" y="1151809"/>
                </a:cubicBezTo>
                <a:cubicBezTo>
                  <a:pt x="4154429" y="1152663"/>
                  <a:pt x="4153148" y="1153232"/>
                  <a:pt x="4151654" y="1153659"/>
                </a:cubicBezTo>
                <a:cubicBezTo>
                  <a:pt x="4151014" y="1154797"/>
                  <a:pt x="4146532" y="1153374"/>
                  <a:pt x="4146318" y="1151809"/>
                </a:cubicBezTo>
                <a:cubicBezTo>
                  <a:pt x="4144825" y="1147825"/>
                  <a:pt x="4148666" y="1145976"/>
                  <a:pt x="4152294" y="1142562"/>
                </a:cubicBezTo>
                <a:close/>
                <a:moveTo>
                  <a:pt x="1011704" y="1142383"/>
                </a:moveTo>
                <a:cubicBezTo>
                  <a:pt x="1018003" y="1139904"/>
                  <a:pt x="1033698" y="1148733"/>
                  <a:pt x="1031323" y="1157098"/>
                </a:cubicBezTo>
                <a:cubicBezTo>
                  <a:pt x="1025851" y="1153690"/>
                  <a:pt x="1021101" y="1149818"/>
                  <a:pt x="1012531" y="1147649"/>
                </a:cubicBezTo>
                <a:cubicBezTo>
                  <a:pt x="1013150" y="1146100"/>
                  <a:pt x="1011498" y="1145326"/>
                  <a:pt x="1011395" y="1143932"/>
                </a:cubicBezTo>
                <a:cubicBezTo>
                  <a:pt x="1011292" y="1143467"/>
                  <a:pt x="1011292" y="1143002"/>
                  <a:pt x="1011704" y="1142383"/>
                </a:cubicBezTo>
                <a:close/>
                <a:moveTo>
                  <a:pt x="881808" y="1142383"/>
                </a:moveTo>
                <a:cubicBezTo>
                  <a:pt x="884390" y="1144396"/>
                  <a:pt x="885216" y="1147030"/>
                  <a:pt x="883357" y="1149353"/>
                </a:cubicBezTo>
                <a:cubicBezTo>
                  <a:pt x="881705" y="1149972"/>
                  <a:pt x="879950" y="1148888"/>
                  <a:pt x="878297" y="1147959"/>
                </a:cubicBezTo>
                <a:cubicBezTo>
                  <a:pt x="876955" y="1147030"/>
                  <a:pt x="876542" y="1146100"/>
                  <a:pt x="876749" y="1145326"/>
                </a:cubicBezTo>
                <a:cubicBezTo>
                  <a:pt x="876852" y="1144396"/>
                  <a:pt x="877471" y="1143622"/>
                  <a:pt x="878401" y="1142847"/>
                </a:cubicBezTo>
                <a:cubicBezTo>
                  <a:pt x="880157" y="1141453"/>
                  <a:pt x="881808" y="1142383"/>
                  <a:pt x="881808" y="1142383"/>
                </a:cubicBezTo>
                <a:close/>
                <a:moveTo>
                  <a:pt x="1503617" y="1141608"/>
                </a:moveTo>
                <a:cubicBezTo>
                  <a:pt x="1503617" y="1141608"/>
                  <a:pt x="1503307" y="1142847"/>
                  <a:pt x="1503721" y="1143467"/>
                </a:cubicBezTo>
                <a:cubicBezTo>
                  <a:pt x="1503721" y="1143467"/>
                  <a:pt x="1503514" y="1144551"/>
                  <a:pt x="1503204" y="1145790"/>
                </a:cubicBezTo>
                <a:cubicBezTo>
                  <a:pt x="1503204" y="1145790"/>
                  <a:pt x="1503721" y="1146410"/>
                  <a:pt x="1504134" y="1147185"/>
                </a:cubicBezTo>
                <a:cubicBezTo>
                  <a:pt x="1504134" y="1150128"/>
                  <a:pt x="1504237" y="1152141"/>
                  <a:pt x="1500933" y="1152761"/>
                </a:cubicBezTo>
                <a:cubicBezTo>
                  <a:pt x="1500726" y="1152451"/>
                  <a:pt x="1500726" y="1151676"/>
                  <a:pt x="1500829" y="1150902"/>
                </a:cubicBezTo>
                <a:cubicBezTo>
                  <a:pt x="1500933" y="1150128"/>
                  <a:pt x="1501139" y="1149198"/>
                  <a:pt x="1501242" y="1148733"/>
                </a:cubicBezTo>
                <a:cubicBezTo>
                  <a:pt x="1500829" y="1147959"/>
                  <a:pt x="1501036" y="1146875"/>
                  <a:pt x="1501759" y="1146565"/>
                </a:cubicBezTo>
                <a:cubicBezTo>
                  <a:pt x="1501759" y="1146565"/>
                  <a:pt x="1502068" y="1145326"/>
                  <a:pt x="1501552" y="1144706"/>
                </a:cubicBezTo>
                <a:cubicBezTo>
                  <a:pt x="1502068" y="1142383"/>
                  <a:pt x="1502895" y="1142073"/>
                  <a:pt x="1503617" y="1141608"/>
                </a:cubicBezTo>
                <a:close/>
                <a:moveTo>
                  <a:pt x="4397514" y="1141566"/>
                </a:moveTo>
                <a:cubicBezTo>
                  <a:pt x="4398581" y="1142988"/>
                  <a:pt x="4399221" y="1144695"/>
                  <a:pt x="4399221" y="1146260"/>
                </a:cubicBezTo>
                <a:cubicBezTo>
                  <a:pt x="4399434" y="1150955"/>
                  <a:pt x="4394953" y="1154654"/>
                  <a:pt x="4390044" y="1151240"/>
                </a:cubicBezTo>
                <a:cubicBezTo>
                  <a:pt x="4390684" y="1144553"/>
                  <a:pt x="4393246" y="1142277"/>
                  <a:pt x="4397514" y="1141566"/>
                </a:cubicBezTo>
                <a:close/>
                <a:moveTo>
                  <a:pt x="1433610" y="1141143"/>
                </a:moveTo>
                <a:cubicBezTo>
                  <a:pt x="1434229" y="1141143"/>
                  <a:pt x="1434849" y="1140988"/>
                  <a:pt x="1435365" y="1141143"/>
                </a:cubicBezTo>
                <a:cubicBezTo>
                  <a:pt x="1435881" y="1141453"/>
                  <a:pt x="1436398" y="1141918"/>
                  <a:pt x="1436707" y="1143157"/>
                </a:cubicBezTo>
                <a:cubicBezTo>
                  <a:pt x="1437740" y="1144861"/>
                  <a:pt x="1437224" y="1145481"/>
                  <a:pt x="1434436" y="1146565"/>
                </a:cubicBezTo>
                <a:cubicBezTo>
                  <a:pt x="1432061" y="1147030"/>
                  <a:pt x="1430408" y="1147959"/>
                  <a:pt x="1429583" y="1147339"/>
                </a:cubicBezTo>
                <a:cubicBezTo>
                  <a:pt x="1429169" y="1148114"/>
                  <a:pt x="1428034" y="1148268"/>
                  <a:pt x="1427517" y="1149043"/>
                </a:cubicBezTo>
                <a:cubicBezTo>
                  <a:pt x="1427517" y="1149043"/>
                  <a:pt x="1427517" y="1149043"/>
                  <a:pt x="1426795" y="1148578"/>
                </a:cubicBezTo>
                <a:cubicBezTo>
                  <a:pt x="1429273" y="1146255"/>
                  <a:pt x="1430822" y="1142383"/>
                  <a:pt x="1433610" y="1141143"/>
                </a:cubicBezTo>
                <a:close/>
                <a:moveTo>
                  <a:pt x="1231537" y="1140369"/>
                </a:moveTo>
                <a:cubicBezTo>
                  <a:pt x="1235771" y="1139439"/>
                  <a:pt x="1238145" y="1144242"/>
                  <a:pt x="1239798" y="1146565"/>
                </a:cubicBezTo>
                <a:lnTo>
                  <a:pt x="1238559" y="1147804"/>
                </a:lnTo>
                <a:lnTo>
                  <a:pt x="1240314" y="1148424"/>
                </a:lnTo>
                <a:cubicBezTo>
                  <a:pt x="1240934" y="1148888"/>
                  <a:pt x="1241656" y="1149353"/>
                  <a:pt x="1242482" y="1149972"/>
                </a:cubicBezTo>
                <a:cubicBezTo>
                  <a:pt x="1241553" y="1151676"/>
                  <a:pt x="1242379" y="1154155"/>
                  <a:pt x="1240521" y="1155859"/>
                </a:cubicBezTo>
                <a:cubicBezTo>
                  <a:pt x="1240521" y="1155859"/>
                  <a:pt x="1239591" y="1156788"/>
                  <a:pt x="1237836" y="1156943"/>
                </a:cubicBezTo>
                <a:cubicBezTo>
                  <a:pt x="1235151" y="1158647"/>
                  <a:pt x="1232673" y="1156323"/>
                  <a:pt x="1232673" y="1156323"/>
                </a:cubicBezTo>
                <a:cubicBezTo>
                  <a:pt x="1232673" y="1156323"/>
                  <a:pt x="1232673" y="1156323"/>
                  <a:pt x="1232673" y="1157098"/>
                </a:cubicBezTo>
                <a:cubicBezTo>
                  <a:pt x="1232776" y="1155394"/>
                  <a:pt x="1231950" y="1153845"/>
                  <a:pt x="1232054" y="1152141"/>
                </a:cubicBezTo>
                <a:lnTo>
                  <a:pt x="1232570" y="1151676"/>
                </a:lnTo>
                <a:lnTo>
                  <a:pt x="1231847" y="1151986"/>
                </a:lnTo>
                <a:cubicBezTo>
                  <a:pt x="1230195" y="1150282"/>
                  <a:pt x="1229162" y="1148578"/>
                  <a:pt x="1229059" y="1146565"/>
                </a:cubicBezTo>
                <a:cubicBezTo>
                  <a:pt x="1228956" y="1144551"/>
                  <a:pt x="1229678" y="1142538"/>
                  <a:pt x="1231537" y="1140369"/>
                </a:cubicBezTo>
                <a:close/>
                <a:moveTo>
                  <a:pt x="4329860" y="1140001"/>
                </a:moveTo>
                <a:cubicBezTo>
                  <a:pt x="4331780" y="1141566"/>
                  <a:pt x="4334341" y="1141566"/>
                  <a:pt x="4335835" y="1141993"/>
                </a:cubicBezTo>
                <a:cubicBezTo>
                  <a:pt x="4337116" y="1145265"/>
                  <a:pt x="4336903" y="1147968"/>
                  <a:pt x="4334341" y="1151667"/>
                </a:cubicBezTo>
                <a:cubicBezTo>
                  <a:pt x="4329220" y="1151667"/>
                  <a:pt x="4330713" y="1152236"/>
                  <a:pt x="4325805" y="1149675"/>
                </a:cubicBezTo>
                <a:cubicBezTo>
                  <a:pt x="4327085" y="1146403"/>
                  <a:pt x="4328579" y="1143273"/>
                  <a:pt x="4329860" y="1140001"/>
                </a:cubicBezTo>
                <a:close/>
                <a:moveTo>
                  <a:pt x="1031014" y="1139595"/>
                </a:moveTo>
                <a:cubicBezTo>
                  <a:pt x="1032975" y="1139749"/>
                  <a:pt x="1033285" y="1138665"/>
                  <a:pt x="1035970" y="1140369"/>
                </a:cubicBezTo>
                <a:cubicBezTo>
                  <a:pt x="1035557" y="1141453"/>
                  <a:pt x="1035247" y="1142538"/>
                  <a:pt x="1034834" y="1143467"/>
                </a:cubicBezTo>
                <a:cubicBezTo>
                  <a:pt x="1032562" y="1142692"/>
                  <a:pt x="1030291" y="1141763"/>
                  <a:pt x="1031014" y="1139595"/>
                </a:cubicBezTo>
                <a:close/>
                <a:moveTo>
                  <a:pt x="4872159" y="1139147"/>
                </a:moveTo>
                <a:cubicBezTo>
                  <a:pt x="4872800" y="1139005"/>
                  <a:pt x="4873653" y="1139289"/>
                  <a:pt x="4874720" y="1140569"/>
                </a:cubicBezTo>
                <a:cubicBezTo>
                  <a:pt x="4875787" y="1141139"/>
                  <a:pt x="4876215" y="1141708"/>
                  <a:pt x="4876215" y="1142704"/>
                </a:cubicBezTo>
                <a:cubicBezTo>
                  <a:pt x="4876215" y="1143558"/>
                  <a:pt x="4875361" y="1144838"/>
                  <a:pt x="4874080" y="1146545"/>
                </a:cubicBezTo>
                <a:cubicBezTo>
                  <a:pt x="4871519" y="1148964"/>
                  <a:pt x="4870239" y="1151382"/>
                  <a:pt x="4868958" y="1151382"/>
                </a:cubicBezTo>
                <a:cubicBezTo>
                  <a:pt x="4868958" y="1152663"/>
                  <a:pt x="4867677" y="1153801"/>
                  <a:pt x="4867464" y="1155081"/>
                </a:cubicBezTo>
                <a:cubicBezTo>
                  <a:pt x="4867464" y="1155081"/>
                  <a:pt x="4867464" y="1155081"/>
                  <a:pt x="4866397" y="1155081"/>
                </a:cubicBezTo>
                <a:cubicBezTo>
                  <a:pt x="4867891" y="1150244"/>
                  <a:pt x="4867464" y="1144127"/>
                  <a:pt x="4870025" y="1140428"/>
                </a:cubicBezTo>
                <a:cubicBezTo>
                  <a:pt x="4870665" y="1139858"/>
                  <a:pt x="4871306" y="1139289"/>
                  <a:pt x="4872159" y="1139147"/>
                </a:cubicBezTo>
                <a:close/>
                <a:moveTo>
                  <a:pt x="3962991" y="1138721"/>
                </a:moveTo>
                <a:cubicBezTo>
                  <a:pt x="3964272" y="1138578"/>
                  <a:pt x="3965339" y="1138721"/>
                  <a:pt x="3966619" y="1139289"/>
                </a:cubicBezTo>
                <a:cubicBezTo>
                  <a:pt x="3967900" y="1140428"/>
                  <a:pt x="3968327" y="1142704"/>
                  <a:pt x="3967687" y="1146403"/>
                </a:cubicBezTo>
                <a:cubicBezTo>
                  <a:pt x="3965552" y="1147683"/>
                  <a:pt x="3961497" y="1144411"/>
                  <a:pt x="3959150" y="1143273"/>
                </a:cubicBezTo>
                <a:cubicBezTo>
                  <a:pt x="3960216" y="1141993"/>
                  <a:pt x="3961071" y="1140854"/>
                  <a:pt x="3960004" y="1140854"/>
                </a:cubicBezTo>
                <a:cubicBezTo>
                  <a:pt x="3960857" y="1139574"/>
                  <a:pt x="3961924" y="1139005"/>
                  <a:pt x="3962991" y="1138721"/>
                </a:cubicBezTo>
                <a:close/>
                <a:moveTo>
                  <a:pt x="3795670" y="1138578"/>
                </a:moveTo>
                <a:cubicBezTo>
                  <a:pt x="3798444" y="1138436"/>
                  <a:pt x="3801432" y="1139431"/>
                  <a:pt x="3804207" y="1141993"/>
                </a:cubicBezTo>
                <a:cubicBezTo>
                  <a:pt x="3805701" y="1147968"/>
                  <a:pt x="3799085" y="1151098"/>
                  <a:pt x="3795670" y="1153374"/>
                </a:cubicBezTo>
                <a:lnTo>
                  <a:pt x="3794176" y="1151667"/>
                </a:lnTo>
                <a:lnTo>
                  <a:pt x="3793323" y="1154085"/>
                </a:lnTo>
                <a:cubicBezTo>
                  <a:pt x="3792682" y="1155081"/>
                  <a:pt x="3791828" y="1156077"/>
                  <a:pt x="3790975" y="1157215"/>
                </a:cubicBezTo>
                <a:cubicBezTo>
                  <a:pt x="3788627" y="1155935"/>
                  <a:pt x="3785213" y="1156931"/>
                  <a:pt x="3782865" y="1154370"/>
                </a:cubicBezTo>
                <a:cubicBezTo>
                  <a:pt x="3782865" y="1154370"/>
                  <a:pt x="3781585" y="1153232"/>
                  <a:pt x="3781585" y="1150813"/>
                </a:cubicBezTo>
                <a:cubicBezTo>
                  <a:pt x="3779023" y="1147114"/>
                  <a:pt x="3782438" y="1143700"/>
                  <a:pt x="3782438" y="1143700"/>
                </a:cubicBezTo>
                <a:cubicBezTo>
                  <a:pt x="3782438" y="1143700"/>
                  <a:pt x="3782438" y="1143558"/>
                  <a:pt x="3781371" y="1143558"/>
                </a:cubicBezTo>
                <a:cubicBezTo>
                  <a:pt x="3783505" y="1143700"/>
                  <a:pt x="3785853" y="1142562"/>
                  <a:pt x="3788201" y="1142704"/>
                </a:cubicBezTo>
                <a:lnTo>
                  <a:pt x="3788841" y="1143415"/>
                </a:lnTo>
                <a:lnTo>
                  <a:pt x="3788414" y="1142419"/>
                </a:lnTo>
                <a:cubicBezTo>
                  <a:pt x="3790548" y="1140143"/>
                  <a:pt x="3793109" y="1138721"/>
                  <a:pt x="3795670" y="1138578"/>
                </a:cubicBezTo>
                <a:close/>
                <a:moveTo>
                  <a:pt x="1534904" y="1138510"/>
                </a:moveTo>
                <a:cubicBezTo>
                  <a:pt x="1536040" y="1138820"/>
                  <a:pt x="1536556" y="1139439"/>
                  <a:pt x="1536969" y="1140214"/>
                </a:cubicBezTo>
                <a:cubicBezTo>
                  <a:pt x="1536763" y="1141299"/>
                  <a:pt x="1535936" y="1141763"/>
                  <a:pt x="1535730" y="1142847"/>
                </a:cubicBezTo>
                <a:cubicBezTo>
                  <a:pt x="1536143" y="1143622"/>
                  <a:pt x="1537072" y="1145016"/>
                  <a:pt x="1536763" y="1146255"/>
                </a:cubicBezTo>
                <a:lnTo>
                  <a:pt x="1536453" y="1147185"/>
                </a:lnTo>
                <a:lnTo>
                  <a:pt x="1537279" y="1147030"/>
                </a:lnTo>
                <a:cubicBezTo>
                  <a:pt x="1537795" y="1154620"/>
                  <a:pt x="1536453" y="1162984"/>
                  <a:pt x="1529225" y="1171658"/>
                </a:cubicBezTo>
                <a:cubicBezTo>
                  <a:pt x="1523339" y="1172277"/>
                  <a:pt x="1521377" y="1168250"/>
                  <a:pt x="1521791" y="1163294"/>
                </a:cubicBezTo>
                <a:cubicBezTo>
                  <a:pt x="1522307" y="1157253"/>
                  <a:pt x="1526540" y="1149663"/>
                  <a:pt x="1531806" y="1147339"/>
                </a:cubicBezTo>
                <a:lnTo>
                  <a:pt x="1535110" y="1147185"/>
                </a:lnTo>
                <a:lnTo>
                  <a:pt x="1535110" y="1146720"/>
                </a:lnTo>
                <a:cubicBezTo>
                  <a:pt x="1535214" y="1146565"/>
                  <a:pt x="1535420" y="1146410"/>
                  <a:pt x="1535627" y="1145790"/>
                </a:cubicBezTo>
                <a:cubicBezTo>
                  <a:pt x="1535833" y="1144706"/>
                  <a:pt x="1535007" y="1140214"/>
                  <a:pt x="1533871" y="1139904"/>
                </a:cubicBezTo>
                <a:cubicBezTo>
                  <a:pt x="1534594" y="1139595"/>
                  <a:pt x="1534904" y="1138510"/>
                  <a:pt x="1534904" y="1138510"/>
                </a:cubicBezTo>
                <a:close/>
                <a:moveTo>
                  <a:pt x="1218011" y="1138510"/>
                </a:moveTo>
                <a:cubicBezTo>
                  <a:pt x="1222451" y="1138045"/>
                  <a:pt x="1224722" y="1139904"/>
                  <a:pt x="1225652" y="1143157"/>
                </a:cubicBezTo>
                <a:cubicBezTo>
                  <a:pt x="1223173" y="1147494"/>
                  <a:pt x="1216668" y="1147030"/>
                  <a:pt x="1215532" y="1142847"/>
                </a:cubicBezTo>
                <a:cubicBezTo>
                  <a:pt x="1216152" y="1141763"/>
                  <a:pt x="1216565" y="1139904"/>
                  <a:pt x="1218011" y="1138510"/>
                </a:cubicBezTo>
                <a:close/>
                <a:moveTo>
                  <a:pt x="4358031" y="1138436"/>
                </a:moveTo>
                <a:cubicBezTo>
                  <a:pt x="4365288" y="1145976"/>
                  <a:pt x="4373611" y="1153516"/>
                  <a:pt x="4370409" y="1160488"/>
                </a:cubicBezTo>
                <a:cubicBezTo>
                  <a:pt x="4363580" y="1161341"/>
                  <a:pt x="4357391" y="1151524"/>
                  <a:pt x="4354830" y="1145407"/>
                </a:cubicBezTo>
                <a:cubicBezTo>
                  <a:pt x="4357177" y="1143131"/>
                  <a:pt x="4355897" y="1140712"/>
                  <a:pt x="4358031" y="1138436"/>
                </a:cubicBezTo>
                <a:close/>
                <a:moveTo>
                  <a:pt x="1069322" y="1137891"/>
                </a:moveTo>
                <a:cubicBezTo>
                  <a:pt x="1077479" y="1134638"/>
                  <a:pt x="1088940" y="1140059"/>
                  <a:pt x="1091831" y="1145790"/>
                </a:cubicBezTo>
                <a:cubicBezTo>
                  <a:pt x="1083777" y="1148888"/>
                  <a:pt x="1073555" y="1142383"/>
                  <a:pt x="1069322" y="1137891"/>
                </a:cubicBezTo>
                <a:close/>
                <a:moveTo>
                  <a:pt x="3396362" y="1137724"/>
                </a:moveTo>
                <a:lnTo>
                  <a:pt x="3395081" y="1138294"/>
                </a:lnTo>
                <a:lnTo>
                  <a:pt x="3395295" y="1138294"/>
                </a:lnTo>
                <a:lnTo>
                  <a:pt x="3397002" y="1143273"/>
                </a:lnTo>
                <a:lnTo>
                  <a:pt x="3397856" y="1142277"/>
                </a:lnTo>
                <a:lnTo>
                  <a:pt x="3399776" y="1141850"/>
                </a:lnTo>
                <a:lnTo>
                  <a:pt x="3399350" y="1139858"/>
                </a:lnTo>
                <a:lnTo>
                  <a:pt x="3398069" y="1137724"/>
                </a:lnTo>
                <a:lnTo>
                  <a:pt x="3397856" y="1138436"/>
                </a:lnTo>
                <a:close/>
                <a:moveTo>
                  <a:pt x="1158329" y="1137271"/>
                </a:moveTo>
                <a:cubicBezTo>
                  <a:pt x="1160703" y="1136806"/>
                  <a:pt x="1161839" y="1136652"/>
                  <a:pt x="1163388" y="1137735"/>
                </a:cubicBezTo>
                <a:cubicBezTo>
                  <a:pt x="1164524" y="1137426"/>
                  <a:pt x="1165763" y="1137271"/>
                  <a:pt x="1166692" y="1137426"/>
                </a:cubicBezTo>
                <a:cubicBezTo>
                  <a:pt x="1167725" y="1137581"/>
                  <a:pt x="1168344" y="1138045"/>
                  <a:pt x="1168757" y="1139285"/>
                </a:cubicBezTo>
                <a:cubicBezTo>
                  <a:pt x="1166692" y="1140833"/>
                  <a:pt x="1165040" y="1141608"/>
                  <a:pt x="1162252" y="1142692"/>
                </a:cubicBezTo>
                <a:cubicBezTo>
                  <a:pt x="1162252" y="1142692"/>
                  <a:pt x="1157503" y="1143467"/>
                  <a:pt x="1156160" y="1140679"/>
                </a:cubicBezTo>
                <a:cubicBezTo>
                  <a:pt x="1155334" y="1140214"/>
                  <a:pt x="1157193" y="1137426"/>
                  <a:pt x="1158329" y="1137271"/>
                </a:cubicBezTo>
                <a:close/>
                <a:moveTo>
                  <a:pt x="3689814" y="1136302"/>
                </a:moveTo>
                <a:cubicBezTo>
                  <a:pt x="3691948" y="1136444"/>
                  <a:pt x="3693229" y="1137155"/>
                  <a:pt x="3693655" y="1138294"/>
                </a:cubicBezTo>
                <a:cubicBezTo>
                  <a:pt x="3694296" y="1139431"/>
                  <a:pt x="3694296" y="1140996"/>
                  <a:pt x="3694082" y="1142562"/>
                </a:cubicBezTo>
                <a:cubicBezTo>
                  <a:pt x="3693655" y="1145976"/>
                  <a:pt x="3691095" y="1146118"/>
                  <a:pt x="3691095" y="1146118"/>
                </a:cubicBezTo>
                <a:cubicBezTo>
                  <a:pt x="3686826" y="1145834"/>
                  <a:pt x="3683838" y="1143273"/>
                  <a:pt x="3683625" y="1139005"/>
                </a:cubicBezTo>
                <a:cubicBezTo>
                  <a:pt x="3684905" y="1136729"/>
                  <a:pt x="3687253" y="1136444"/>
                  <a:pt x="3689814" y="1136302"/>
                </a:cubicBezTo>
                <a:close/>
                <a:moveTo>
                  <a:pt x="1107643" y="1135877"/>
                </a:moveTo>
                <a:cubicBezTo>
                  <a:pt x="1113644" y="1134095"/>
                  <a:pt x="1119865" y="1134328"/>
                  <a:pt x="1121982" y="1138355"/>
                </a:cubicBezTo>
                <a:cubicBezTo>
                  <a:pt x="1111966" y="1140059"/>
                  <a:pt x="1106184" y="1145635"/>
                  <a:pt x="1094620" y="1145481"/>
                </a:cubicBezTo>
                <a:cubicBezTo>
                  <a:pt x="1095859" y="1141453"/>
                  <a:pt x="1101641" y="1137658"/>
                  <a:pt x="1107643" y="1135877"/>
                </a:cubicBezTo>
                <a:close/>
                <a:moveTo>
                  <a:pt x="3643715" y="1135875"/>
                </a:moveTo>
                <a:cubicBezTo>
                  <a:pt x="3645850" y="1140143"/>
                  <a:pt x="3649904" y="1146403"/>
                  <a:pt x="3646917" y="1151809"/>
                </a:cubicBezTo>
                <a:lnTo>
                  <a:pt x="3644782" y="1153659"/>
                </a:lnTo>
                <a:lnTo>
                  <a:pt x="3645209" y="1157926"/>
                </a:lnTo>
                <a:cubicBezTo>
                  <a:pt x="3644996" y="1160203"/>
                  <a:pt x="3644569" y="1162337"/>
                  <a:pt x="3643929" y="1163760"/>
                </a:cubicBezTo>
                <a:cubicBezTo>
                  <a:pt x="3639020" y="1165609"/>
                  <a:pt x="3635179" y="1165182"/>
                  <a:pt x="3632404" y="1163333"/>
                </a:cubicBezTo>
                <a:cubicBezTo>
                  <a:pt x="3630270" y="1162053"/>
                  <a:pt x="3628776" y="1160061"/>
                  <a:pt x="3627922" y="1157642"/>
                </a:cubicBezTo>
                <a:lnTo>
                  <a:pt x="3627709" y="1155366"/>
                </a:lnTo>
                <a:lnTo>
                  <a:pt x="3627495" y="1155366"/>
                </a:lnTo>
                <a:cubicBezTo>
                  <a:pt x="3623441" y="1156362"/>
                  <a:pt x="3617891" y="1153943"/>
                  <a:pt x="3615757" y="1147541"/>
                </a:cubicBezTo>
                <a:cubicBezTo>
                  <a:pt x="3617891" y="1143131"/>
                  <a:pt x="3620879" y="1141139"/>
                  <a:pt x="3622587" y="1139431"/>
                </a:cubicBezTo>
                <a:lnTo>
                  <a:pt x="3630056" y="1142988"/>
                </a:lnTo>
                <a:lnTo>
                  <a:pt x="3633258" y="1141139"/>
                </a:lnTo>
                <a:lnTo>
                  <a:pt x="3636672" y="1136159"/>
                </a:lnTo>
                <a:cubicBezTo>
                  <a:pt x="3637953" y="1139005"/>
                  <a:pt x="3640941" y="1137440"/>
                  <a:pt x="3643715" y="1135875"/>
                </a:cubicBezTo>
                <a:close/>
                <a:moveTo>
                  <a:pt x="4255376" y="1134168"/>
                </a:moveTo>
                <a:cubicBezTo>
                  <a:pt x="4261992" y="1135021"/>
                  <a:pt x="4266687" y="1136871"/>
                  <a:pt x="4267968" y="1141993"/>
                </a:cubicBezTo>
                <a:cubicBezTo>
                  <a:pt x="4268608" y="1143700"/>
                  <a:pt x="4268608" y="1145691"/>
                  <a:pt x="4268395" y="1148252"/>
                </a:cubicBezTo>
                <a:cubicBezTo>
                  <a:pt x="4264553" y="1151098"/>
                  <a:pt x="4260498" y="1149390"/>
                  <a:pt x="4257724" y="1146118"/>
                </a:cubicBezTo>
                <a:cubicBezTo>
                  <a:pt x="4255163" y="1142846"/>
                  <a:pt x="4253669" y="1137867"/>
                  <a:pt x="4255376" y="1134168"/>
                </a:cubicBezTo>
                <a:close/>
                <a:moveTo>
                  <a:pt x="1109282" y="1133709"/>
                </a:moveTo>
                <a:cubicBezTo>
                  <a:pt x="1109282" y="1133709"/>
                  <a:pt x="1108043" y="1134018"/>
                  <a:pt x="1106803" y="1134173"/>
                </a:cubicBezTo>
                <a:cubicBezTo>
                  <a:pt x="1105668" y="1134328"/>
                  <a:pt x="1105668" y="1134328"/>
                  <a:pt x="1105978" y="1135567"/>
                </a:cubicBezTo>
                <a:cubicBezTo>
                  <a:pt x="1104738" y="1135722"/>
                  <a:pt x="1104738" y="1135722"/>
                  <a:pt x="1103190" y="1134793"/>
                </a:cubicBezTo>
                <a:cubicBezTo>
                  <a:pt x="1104429" y="1134483"/>
                  <a:pt x="1108972" y="1132469"/>
                  <a:pt x="1109282" y="1133709"/>
                </a:cubicBezTo>
                <a:close/>
                <a:moveTo>
                  <a:pt x="3442674" y="1132318"/>
                </a:moveTo>
                <a:cubicBezTo>
                  <a:pt x="3444381" y="1132603"/>
                  <a:pt x="3445235" y="1133314"/>
                  <a:pt x="3445875" y="1134310"/>
                </a:cubicBezTo>
                <a:cubicBezTo>
                  <a:pt x="3446515" y="1135164"/>
                  <a:pt x="3446942" y="1136302"/>
                  <a:pt x="3446942" y="1137724"/>
                </a:cubicBezTo>
                <a:cubicBezTo>
                  <a:pt x="3446515" y="1139289"/>
                  <a:pt x="3444381" y="1140569"/>
                  <a:pt x="3440753" y="1141566"/>
                </a:cubicBezTo>
                <a:cubicBezTo>
                  <a:pt x="3438619" y="1140143"/>
                  <a:pt x="3440113" y="1135164"/>
                  <a:pt x="3440113" y="1132603"/>
                </a:cubicBezTo>
                <a:cubicBezTo>
                  <a:pt x="3441820" y="1132887"/>
                  <a:pt x="3443314" y="1133314"/>
                  <a:pt x="3442674" y="1132318"/>
                </a:cubicBezTo>
                <a:close/>
                <a:moveTo>
                  <a:pt x="3655667" y="1132033"/>
                </a:moveTo>
                <a:cubicBezTo>
                  <a:pt x="3658654" y="1132460"/>
                  <a:pt x="3662069" y="1134310"/>
                  <a:pt x="3665484" y="1138009"/>
                </a:cubicBezTo>
                <a:cubicBezTo>
                  <a:pt x="3666764" y="1143984"/>
                  <a:pt x="3660149" y="1151951"/>
                  <a:pt x="3655667" y="1150529"/>
                </a:cubicBezTo>
                <a:cubicBezTo>
                  <a:pt x="3642221" y="1141139"/>
                  <a:pt x="3646917" y="1130469"/>
                  <a:pt x="3655667" y="1132033"/>
                </a:cubicBezTo>
                <a:close/>
                <a:moveTo>
                  <a:pt x="1584364" y="1131385"/>
                </a:moveTo>
                <a:cubicBezTo>
                  <a:pt x="1587255" y="1131540"/>
                  <a:pt x="1592314" y="1135102"/>
                  <a:pt x="1593657" y="1139595"/>
                </a:cubicBezTo>
                <a:lnTo>
                  <a:pt x="1593554" y="1142538"/>
                </a:lnTo>
                <a:lnTo>
                  <a:pt x="1594793" y="1140369"/>
                </a:lnTo>
                <a:cubicBezTo>
                  <a:pt x="1595928" y="1139749"/>
                  <a:pt x="1597374" y="1139285"/>
                  <a:pt x="1598716" y="1139285"/>
                </a:cubicBezTo>
                <a:cubicBezTo>
                  <a:pt x="1597994" y="1139595"/>
                  <a:pt x="1597994" y="1139595"/>
                  <a:pt x="1597994" y="1139595"/>
                </a:cubicBezTo>
                <a:cubicBezTo>
                  <a:pt x="1597580" y="1140679"/>
                  <a:pt x="1598303" y="1140369"/>
                  <a:pt x="1598716" y="1141143"/>
                </a:cubicBezTo>
                <a:cubicBezTo>
                  <a:pt x="1598716" y="1141143"/>
                  <a:pt x="1598303" y="1140369"/>
                  <a:pt x="1599542" y="1140833"/>
                </a:cubicBezTo>
                <a:cubicBezTo>
                  <a:pt x="1598716" y="1141143"/>
                  <a:pt x="1599130" y="1141918"/>
                  <a:pt x="1599542" y="1142692"/>
                </a:cubicBezTo>
                <a:cubicBezTo>
                  <a:pt x="1598716" y="1145016"/>
                  <a:pt x="1597064" y="1147494"/>
                  <a:pt x="1595102" y="1147339"/>
                </a:cubicBezTo>
                <a:cubicBezTo>
                  <a:pt x="1593967" y="1146875"/>
                  <a:pt x="1593347" y="1146100"/>
                  <a:pt x="1593140" y="1145326"/>
                </a:cubicBezTo>
                <a:lnTo>
                  <a:pt x="1593140" y="1144087"/>
                </a:lnTo>
                <a:lnTo>
                  <a:pt x="1588700" y="1142073"/>
                </a:lnTo>
                <a:cubicBezTo>
                  <a:pt x="1585087" y="1139285"/>
                  <a:pt x="1584880" y="1135257"/>
                  <a:pt x="1584364" y="1131385"/>
                </a:cubicBezTo>
                <a:close/>
                <a:moveTo>
                  <a:pt x="1149345" y="1131075"/>
                </a:moveTo>
                <a:cubicBezTo>
                  <a:pt x="1152236" y="1131230"/>
                  <a:pt x="1156057" y="1135877"/>
                  <a:pt x="1155025" y="1139130"/>
                </a:cubicBezTo>
                <a:cubicBezTo>
                  <a:pt x="1154715" y="1140214"/>
                  <a:pt x="1153889" y="1141143"/>
                  <a:pt x="1152236" y="1141608"/>
                </a:cubicBezTo>
                <a:cubicBezTo>
                  <a:pt x="1147487" y="1143002"/>
                  <a:pt x="1145938" y="1139285"/>
                  <a:pt x="1145008" y="1134638"/>
                </a:cubicBezTo>
                <a:cubicBezTo>
                  <a:pt x="1146661" y="1133709"/>
                  <a:pt x="1147590" y="1132160"/>
                  <a:pt x="1149345" y="1131075"/>
                </a:cubicBezTo>
                <a:close/>
                <a:moveTo>
                  <a:pt x="1246303" y="1130765"/>
                </a:moveTo>
                <a:cubicBezTo>
                  <a:pt x="1249917" y="1129681"/>
                  <a:pt x="1252808" y="1136806"/>
                  <a:pt x="1251775" y="1138355"/>
                </a:cubicBezTo>
                <a:cubicBezTo>
                  <a:pt x="1250433" y="1138665"/>
                  <a:pt x="1245993" y="1135412"/>
                  <a:pt x="1245373" y="1132779"/>
                </a:cubicBezTo>
                <a:cubicBezTo>
                  <a:pt x="1245167" y="1132005"/>
                  <a:pt x="1245373" y="1131230"/>
                  <a:pt x="1246303" y="1130765"/>
                </a:cubicBezTo>
                <a:close/>
                <a:moveTo>
                  <a:pt x="4399648" y="1130042"/>
                </a:moveTo>
                <a:cubicBezTo>
                  <a:pt x="4404770" y="1129188"/>
                  <a:pt x="4414801" y="1135164"/>
                  <a:pt x="4401782" y="1140428"/>
                </a:cubicBezTo>
                <a:cubicBezTo>
                  <a:pt x="4395380" y="1133457"/>
                  <a:pt x="4396660" y="1130611"/>
                  <a:pt x="4399648" y="1130042"/>
                </a:cubicBezTo>
                <a:close/>
                <a:moveTo>
                  <a:pt x="4837799" y="1129188"/>
                </a:moveTo>
                <a:cubicBezTo>
                  <a:pt x="4837799" y="1130469"/>
                  <a:pt x="4838866" y="1130469"/>
                  <a:pt x="4838652" y="1131607"/>
                </a:cubicBezTo>
                <a:cubicBezTo>
                  <a:pt x="4839719" y="1134168"/>
                  <a:pt x="4839719" y="1134168"/>
                  <a:pt x="4838439" y="1135448"/>
                </a:cubicBezTo>
                <a:cubicBezTo>
                  <a:pt x="4836945" y="1136586"/>
                  <a:pt x="4833531" y="1135306"/>
                  <a:pt x="4832250" y="1136586"/>
                </a:cubicBezTo>
                <a:cubicBezTo>
                  <a:pt x="4832250" y="1136586"/>
                  <a:pt x="4832250" y="1136586"/>
                  <a:pt x="4831396" y="1134026"/>
                </a:cubicBezTo>
                <a:cubicBezTo>
                  <a:pt x="4831396" y="1132887"/>
                  <a:pt x="4831610" y="1131607"/>
                  <a:pt x="4832890" y="1130327"/>
                </a:cubicBezTo>
                <a:cubicBezTo>
                  <a:pt x="4834171" y="1129046"/>
                  <a:pt x="4836731" y="1129188"/>
                  <a:pt x="4837799" y="1129188"/>
                </a:cubicBezTo>
                <a:close/>
                <a:moveTo>
                  <a:pt x="1117026" y="1128132"/>
                </a:moveTo>
                <a:cubicBezTo>
                  <a:pt x="1117749" y="1128597"/>
                  <a:pt x="1118988" y="1128442"/>
                  <a:pt x="1118988" y="1128442"/>
                </a:cubicBezTo>
                <a:cubicBezTo>
                  <a:pt x="1119298" y="1129681"/>
                  <a:pt x="1118781" y="1130300"/>
                  <a:pt x="1118368" y="1130920"/>
                </a:cubicBezTo>
                <a:cubicBezTo>
                  <a:pt x="1117232" y="1131230"/>
                  <a:pt x="1116510" y="1130765"/>
                  <a:pt x="1115271" y="1130920"/>
                </a:cubicBezTo>
                <a:cubicBezTo>
                  <a:pt x="1114858" y="1131540"/>
                  <a:pt x="1113929" y="1132934"/>
                  <a:pt x="1112793" y="1133089"/>
                </a:cubicBezTo>
                <a:cubicBezTo>
                  <a:pt x="1111554" y="1133244"/>
                  <a:pt x="1109695" y="1133089"/>
                  <a:pt x="1109695" y="1133089"/>
                </a:cubicBezTo>
                <a:cubicBezTo>
                  <a:pt x="1109488" y="1132469"/>
                  <a:pt x="1109385" y="1132160"/>
                  <a:pt x="1109488" y="1132005"/>
                </a:cubicBezTo>
                <a:cubicBezTo>
                  <a:pt x="1109592" y="1132005"/>
                  <a:pt x="1109798" y="1132005"/>
                  <a:pt x="1110108" y="1132314"/>
                </a:cubicBezTo>
                <a:cubicBezTo>
                  <a:pt x="1111760" y="1131385"/>
                  <a:pt x="1111347" y="1132160"/>
                  <a:pt x="1112483" y="1132005"/>
                </a:cubicBezTo>
                <a:cubicBezTo>
                  <a:pt x="1113722" y="1131695"/>
                  <a:pt x="1117336" y="1129371"/>
                  <a:pt x="1117026" y="1128132"/>
                </a:cubicBezTo>
                <a:close/>
                <a:moveTo>
                  <a:pt x="4026377" y="1127623"/>
                </a:moveTo>
                <a:cubicBezTo>
                  <a:pt x="4028085" y="1127338"/>
                  <a:pt x="4030859" y="1127481"/>
                  <a:pt x="4032993" y="1127623"/>
                </a:cubicBezTo>
                <a:cubicBezTo>
                  <a:pt x="4035341" y="1127765"/>
                  <a:pt x="4037261" y="1127908"/>
                  <a:pt x="4037688" y="1127908"/>
                </a:cubicBezTo>
                <a:cubicBezTo>
                  <a:pt x="4037688" y="1127908"/>
                  <a:pt x="4038756" y="1127908"/>
                  <a:pt x="4040036" y="1127908"/>
                </a:cubicBezTo>
                <a:cubicBezTo>
                  <a:pt x="4041316" y="1128904"/>
                  <a:pt x="4041316" y="1130184"/>
                  <a:pt x="4042597" y="1130042"/>
                </a:cubicBezTo>
                <a:cubicBezTo>
                  <a:pt x="4039609" y="1133741"/>
                  <a:pt x="4035981" y="1132887"/>
                  <a:pt x="4032566" y="1131892"/>
                </a:cubicBezTo>
                <a:cubicBezTo>
                  <a:pt x="4030005" y="1130753"/>
                  <a:pt x="4028938" y="1130895"/>
                  <a:pt x="4026804" y="1132176"/>
                </a:cubicBezTo>
                <a:cubicBezTo>
                  <a:pt x="4026804" y="1132176"/>
                  <a:pt x="4026804" y="1132176"/>
                  <a:pt x="4024243" y="1130042"/>
                </a:cubicBezTo>
                <a:lnTo>
                  <a:pt x="4024030" y="1128762"/>
                </a:lnTo>
                <a:cubicBezTo>
                  <a:pt x="4024243" y="1128050"/>
                  <a:pt x="4025097" y="1127908"/>
                  <a:pt x="4026377" y="1127623"/>
                </a:cubicBezTo>
                <a:close/>
                <a:moveTo>
                  <a:pt x="1289361" y="1126893"/>
                </a:moveTo>
                <a:cubicBezTo>
                  <a:pt x="1296279" y="1127822"/>
                  <a:pt x="1303403" y="1142383"/>
                  <a:pt x="1295866" y="1148268"/>
                </a:cubicBezTo>
                <a:cubicBezTo>
                  <a:pt x="1293594" y="1142847"/>
                  <a:pt x="1292149" y="1137426"/>
                  <a:pt x="1286469" y="1131540"/>
                </a:cubicBezTo>
                <a:cubicBezTo>
                  <a:pt x="1288535" y="1130146"/>
                  <a:pt x="1286366" y="1128287"/>
                  <a:pt x="1289361" y="1126893"/>
                </a:cubicBezTo>
                <a:close/>
                <a:moveTo>
                  <a:pt x="4568890" y="1126485"/>
                </a:moveTo>
                <a:cubicBezTo>
                  <a:pt x="4564621" y="1135875"/>
                  <a:pt x="4557152" y="1150955"/>
                  <a:pt x="4548188" y="1155366"/>
                </a:cubicBezTo>
                <a:cubicBezTo>
                  <a:pt x="4539438" y="1144268"/>
                  <a:pt x="4560780" y="1128477"/>
                  <a:pt x="4568890" y="1126485"/>
                </a:cubicBezTo>
                <a:close/>
                <a:moveTo>
                  <a:pt x="1552871" y="1125809"/>
                </a:moveTo>
                <a:cubicBezTo>
                  <a:pt x="1556381" y="1124879"/>
                  <a:pt x="1560202" y="1125189"/>
                  <a:pt x="1562576" y="1126428"/>
                </a:cubicBezTo>
                <a:cubicBezTo>
                  <a:pt x="1564435" y="1129991"/>
                  <a:pt x="1564539" y="1132624"/>
                  <a:pt x="1563609" y="1134638"/>
                </a:cubicBezTo>
                <a:cubicBezTo>
                  <a:pt x="1561544" y="1139130"/>
                  <a:pt x="1554006" y="1139749"/>
                  <a:pt x="1549153" y="1136187"/>
                </a:cubicBezTo>
                <a:lnTo>
                  <a:pt x="1548121" y="1134793"/>
                </a:lnTo>
                <a:lnTo>
                  <a:pt x="1546778" y="1141299"/>
                </a:lnTo>
                <a:cubicBezTo>
                  <a:pt x="1546675" y="1148424"/>
                  <a:pt x="1548947" y="1155549"/>
                  <a:pt x="1544197" y="1160196"/>
                </a:cubicBezTo>
                <a:cubicBezTo>
                  <a:pt x="1542855" y="1154155"/>
                  <a:pt x="1537175" y="1146255"/>
                  <a:pt x="1537898" y="1140679"/>
                </a:cubicBezTo>
                <a:cubicBezTo>
                  <a:pt x="1538105" y="1138975"/>
                  <a:pt x="1538931" y="1137581"/>
                  <a:pt x="1540583" y="1136497"/>
                </a:cubicBezTo>
                <a:lnTo>
                  <a:pt x="1547811" y="1134328"/>
                </a:lnTo>
                <a:lnTo>
                  <a:pt x="1545333" y="1131075"/>
                </a:lnTo>
                <a:cubicBezTo>
                  <a:pt x="1546262" y="1128287"/>
                  <a:pt x="1549360" y="1126583"/>
                  <a:pt x="1552871" y="1125809"/>
                </a:cubicBezTo>
                <a:close/>
                <a:moveTo>
                  <a:pt x="1434745" y="1125654"/>
                </a:moveTo>
                <a:cubicBezTo>
                  <a:pt x="1439392" y="1129371"/>
                  <a:pt x="1444865" y="1129062"/>
                  <a:pt x="1449718" y="1128752"/>
                </a:cubicBezTo>
                <a:lnTo>
                  <a:pt x="1454777" y="1128907"/>
                </a:lnTo>
                <a:lnTo>
                  <a:pt x="1456326" y="1128752"/>
                </a:lnTo>
                <a:lnTo>
                  <a:pt x="1456429" y="1128907"/>
                </a:lnTo>
                <a:lnTo>
                  <a:pt x="1456739" y="1128907"/>
                </a:lnTo>
                <a:cubicBezTo>
                  <a:pt x="1458907" y="1129371"/>
                  <a:pt x="1460766" y="1130456"/>
                  <a:pt x="1462315" y="1132624"/>
                </a:cubicBezTo>
                <a:lnTo>
                  <a:pt x="1457049" y="1133864"/>
                </a:lnTo>
                <a:lnTo>
                  <a:pt x="1456636" y="1135412"/>
                </a:lnTo>
                <a:cubicBezTo>
                  <a:pt x="1455500" y="1137581"/>
                  <a:pt x="1453125" y="1139285"/>
                  <a:pt x="1450131" y="1138975"/>
                </a:cubicBezTo>
                <a:lnTo>
                  <a:pt x="1448892" y="1135877"/>
                </a:lnTo>
                <a:lnTo>
                  <a:pt x="1443212" y="1136032"/>
                </a:lnTo>
                <a:cubicBezTo>
                  <a:pt x="1440734" y="1135722"/>
                  <a:pt x="1438050" y="1135102"/>
                  <a:pt x="1435159" y="1133864"/>
                </a:cubicBezTo>
                <a:cubicBezTo>
                  <a:pt x="1434849" y="1131850"/>
                  <a:pt x="1432887" y="1129526"/>
                  <a:pt x="1433403" y="1127513"/>
                </a:cubicBezTo>
                <a:cubicBezTo>
                  <a:pt x="1433506" y="1126893"/>
                  <a:pt x="1433919" y="1126274"/>
                  <a:pt x="1434745" y="1125654"/>
                </a:cubicBezTo>
                <a:close/>
                <a:moveTo>
                  <a:pt x="1482243" y="1125344"/>
                </a:moveTo>
                <a:cubicBezTo>
                  <a:pt x="1482656" y="1125189"/>
                  <a:pt x="1483276" y="1125344"/>
                  <a:pt x="1484102" y="1125809"/>
                </a:cubicBezTo>
                <a:cubicBezTo>
                  <a:pt x="1486787" y="1127203"/>
                  <a:pt x="1490710" y="1130920"/>
                  <a:pt x="1491227" y="1131230"/>
                </a:cubicBezTo>
                <a:cubicBezTo>
                  <a:pt x="1491227" y="1131230"/>
                  <a:pt x="1491949" y="1131695"/>
                  <a:pt x="1492775" y="1132160"/>
                </a:cubicBezTo>
                <a:cubicBezTo>
                  <a:pt x="1493085" y="1133398"/>
                  <a:pt x="1492672" y="1134018"/>
                  <a:pt x="1493395" y="1134483"/>
                </a:cubicBezTo>
                <a:cubicBezTo>
                  <a:pt x="1491639" y="1134793"/>
                  <a:pt x="1490297" y="1134328"/>
                  <a:pt x="1489161" y="1133709"/>
                </a:cubicBezTo>
                <a:lnTo>
                  <a:pt x="1486167" y="1130920"/>
                </a:lnTo>
                <a:lnTo>
                  <a:pt x="1484722" y="1131695"/>
                </a:lnTo>
                <a:cubicBezTo>
                  <a:pt x="1483792" y="1132160"/>
                  <a:pt x="1482863" y="1132160"/>
                  <a:pt x="1481624" y="1131850"/>
                </a:cubicBezTo>
                <a:cubicBezTo>
                  <a:pt x="1482553" y="1130920"/>
                  <a:pt x="1483482" y="1130146"/>
                  <a:pt x="1484515" y="1129836"/>
                </a:cubicBezTo>
                <a:lnTo>
                  <a:pt x="1485341" y="1129836"/>
                </a:lnTo>
                <a:lnTo>
                  <a:pt x="1484618" y="1129062"/>
                </a:lnTo>
                <a:cubicBezTo>
                  <a:pt x="1483999" y="1128752"/>
                  <a:pt x="1483379" y="1128597"/>
                  <a:pt x="1482450" y="1128442"/>
                </a:cubicBezTo>
                <a:cubicBezTo>
                  <a:pt x="1482450" y="1128442"/>
                  <a:pt x="1482450" y="1128442"/>
                  <a:pt x="1481727" y="1126119"/>
                </a:cubicBezTo>
                <a:close/>
                <a:moveTo>
                  <a:pt x="4952619" y="1124351"/>
                </a:moveTo>
                <a:cubicBezTo>
                  <a:pt x="4964357" y="1122928"/>
                  <a:pt x="4968625" y="1137440"/>
                  <a:pt x="4962436" y="1142277"/>
                </a:cubicBezTo>
                <a:cubicBezTo>
                  <a:pt x="4960515" y="1143842"/>
                  <a:pt x="4957314" y="1144411"/>
                  <a:pt x="4952832" y="1142846"/>
                </a:cubicBezTo>
                <a:cubicBezTo>
                  <a:pt x="4953472" y="1134452"/>
                  <a:pt x="4948777" y="1130469"/>
                  <a:pt x="4952619" y="1124351"/>
                </a:cubicBezTo>
                <a:close/>
                <a:moveTo>
                  <a:pt x="4786364" y="1123355"/>
                </a:moveTo>
                <a:cubicBezTo>
                  <a:pt x="4790633" y="1134594"/>
                  <a:pt x="4783164" y="1150386"/>
                  <a:pt x="4775480" y="1154370"/>
                </a:cubicBezTo>
                <a:cubicBezTo>
                  <a:pt x="4771212" y="1143273"/>
                  <a:pt x="4779962" y="1129046"/>
                  <a:pt x="4786364" y="1123355"/>
                </a:cubicBezTo>
                <a:close/>
                <a:moveTo>
                  <a:pt x="1513530" y="1122711"/>
                </a:moveTo>
                <a:cubicBezTo>
                  <a:pt x="1519829" y="1120697"/>
                  <a:pt x="1527676" y="1122091"/>
                  <a:pt x="1531290" y="1125344"/>
                </a:cubicBezTo>
                <a:cubicBezTo>
                  <a:pt x="1525198" y="1131385"/>
                  <a:pt x="1513530" y="1128907"/>
                  <a:pt x="1508058" y="1125964"/>
                </a:cubicBezTo>
                <a:cubicBezTo>
                  <a:pt x="1509503" y="1124415"/>
                  <a:pt x="1511465" y="1123331"/>
                  <a:pt x="1513530" y="1122711"/>
                </a:cubicBezTo>
                <a:close/>
                <a:moveTo>
                  <a:pt x="4808561" y="1121648"/>
                </a:moveTo>
                <a:cubicBezTo>
                  <a:pt x="4809841" y="1121791"/>
                  <a:pt x="4811121" y="1122644"/>
                  <a:pt x="4812402" y="1123782"/>
                </a:cubicBezTo>
                <a:cubicBezTo>
                  <a:pt x="4814963" y="1125916"/>
                  <a:pt x="4814322" y="1128335"/>
                  <a:pt x="4814322" y="1128335"/>
                </a:cubicBezTo>
                <a:cubicBezTo>
                  <a:pt x="4812402" y="1132033"/>
                  <a:pt x="4809201" y="1133457"/>
                  <a:pt x="4805359" y="1131322"/>
                </a:cubicBezTo>
                <a:cubicBezTo>
                  <a:pt x="4803865" y="1129046"/>
                  <a:pt x="4804719" y="1126485"/>
                  <a:pt x="4805359" y="1124067"/>
                </a:cubicBezTo>
                <a:cubicBezTo>
                  <a:pt x="4806426" y="1122217"/>
                  <a:pt x="4807493" y="1121648"/>
                  <a:pt x="4808561" y="1121648"/>
                </a:cubicBezTo>
                <a:close/>
                <a:moveTo>
                  <a:pt x="3308433" y="1121363"/>
                </a:moveTo>
                <a:lnTo>
                  <a:pt x="3305232" y="1121933"/>
                </a:lnTo>
                <a:lnTo>
                  <a:pt x="3309287" y="1124778"/>
                </a:lnTo>
                <a:close/>
                <a:moveTo>
                  <a:pt x="1492053" y="1121007"/>
                </a:moveTo>
                <a:cubicBezTo>
                  <a:pt x="1493189" y="1122246"/>
                  <a:pt x="1494324" y="1123640"/>
                  <a:pt x="1493601" y="1125189"/>
                </a:cubicBezTo>
                <a:cubicBezTo>
                  <a:pt x="1493395" y="1125809"/>
                  <a:pt x="1492982" y="1126428"/>
                  <a:pt x="1492259" y="1126893"/>
                </a:cubicBezTo>
                <a:cubicBezTo>
                  <a:pt x="1492259" y="1126893"/>
                  <a:pt x="1492259" y="1126893"/>
                  <a:pt x="1491330" y="1126893"/>
                </a:cubicBezTo>
                <a:cubicBezTo>
                  <a:pt x="1489678" y="1126893"/>
                  <a:pt x="1488852" y="1126893"/>
                  <a:pt x="1487923" y="1126893"/>
                </a:cubicBezTo>
                <a:cubicBezTo>
                  <a:pt x="1487612" y="1126428"/>
                  <a:pt x="1487096" y="1125499"/>
                  <a:pt x="1486683" y="1124724"/>
                </a:cubicBezTo>
                <a:cubicBezTo>
                  <a:pt x="1486374" y="1123795"/>
                  <a:pt x="1486270" y="1123020"/>
                  <a:pt x="1486787" y="1122556"/>
                </a:cubicBezTo>
                <a:cubicBezTo>
                  <a:pt x="1488748" y="1121007"/>
                  <a:pt x="1491330" y="1120232"/>
                  <a:pt x="1492053" y="1121007"/>
                </a:cubicBezTo>
                <a:close/>
                <a:moveTo>
                  <a:pt x="3800792" y="1120083"/>
                </a:moveTo>
                <a:cubicBezTo>
                  <a:pt x="3802286" y="1120794"/>
                  <a:pt x="3804847" y="1121363"/>
                  <a:pt x="3806768" y="1123355"/>
                </a:cubicBezTo>
                <a:cubicBezTo>
                  <a:pt x="3807622" y="1129473"/>
                  <a:pt x="3804847" y="1132603"/>
                  <a:pt x="3800579" y="1133883"/>
                </a:cubicBezTo>
                <a:cubicBezTo>
                  <a:pt x="3794389" y="1130469"/>
                  <a:pt x="3795243" y="1121506"/>
                  <a:pt x="3800792" y="1120083"/>
                </a:cubicBezTo>
                <a:close/>
                <a:moveTo>
                  <a:pt x="3470632" y="1120083"/>
                </a:moveTo>
                <a:cubicBezTo>
                  <a:pt x="3473620" y="1124920"/>
                  <a:pt x="3477248" y="1129188"/>
                  <a:pt x="3479809" y="1134452"/>
                </a:cubicBezTo>
                <a:cubicBezTo>
                  <a:pt x="3482156" y="1139716"/>
                  <a:pt x="3483864" y="1145976"/>
                  <a:pt x="3482797" y="1154370"/>
                </a:cubicBezTo>
                <a:cubicBezTo>
                  <a:pt x="3481090" y="1155224"/>
                  <a:pt x="3479382" y="1157073"/>
                  <a:pt x="3477675" y="1158353"/>
                </a:cubicBezTo>
                <a:lnTo>
                  <a:pt x="3475327" y="1159349"/>
                </a:lnTo>
                <a:lnTo>
                  <a:pt x="3474473" y="1160203"/>
                </a:lnTo>
                <a:cubicBezTo>
                  <a:pt x="3473193" y="1161056"/>
                  <a:pt x="3471912" y="1161341"/>
                  <a:pt x="3469778" y="1160772"/>
                </a:cubicBezTo>
                <a:cubicBezTo>
                  <a:pt x="3469778" y="1160203"/>
                  <a:pt x="3470419" y="1159349"/>
                  <a:pt x="3471272" y="1158353"/>
                </a:cubicBezTo>
                <a:lnTo>
                  <a:pt x="3472126" y="1157500"/>
                </a:lnTo>
                <a:lnTo>
                  <a:pt x="3473407" y="1152805"/>
                </a:lnTo>
                <a:cubicBezTo>
                  <a:pt x="3474473" y="1140428"/>
                  <a:pt x="3462309" y="1130184"/>
                  <a:pt x="3470632" y="1120083"/>
                </a:cubicBezTo>
                <a:close/>
                <a:moveTo>
                  <a:pt x="1535730" y="1119767"/>
                </a:moveTo>
                <a:cubicBezTo>
                  <a:pt x="1536866" y="1118374"/>
                  <a:pt x="1546159" y="1120232"/>
                  <a:pt x="1544197" y="1123795"/>
                </a:cubicBezTo>
                <a:cubicBezTo>
                  <a:pt x="1541822" y="1126583"/>
                  <a:pt x="1535730" y="1121627"/>
                  <a:pt x="1535730" y="1119767"/>
                </a:cubicBezTo>
                <a:close/>
                <a:moveTo>
                  <a:pt x="1412029" y="1119767"/>
                </a:moveTo>
                <a:cubicBezTo>
                  <a:pt x="1413268" y="1119458"/>
                  <a:pt x="1414817" y="1120542"/>
                  <a:pt x="1415643" y="1121007"/>
                </a:cubicBezTo>
                <a:cubicBezTo>
                  <a:pt x="1415230" y="1121781"/>
                  <a:pt x="1415953" y="1122246"/>
                  <a:pt x="1415540" y="1123020"/>
                </a:cubicBezTo>
                <a:cubicBezTo>
                  <a:pt x="1415333" y="1124879"/>
                  <a:pt x="1415333" y="1124879"/>
                  <a:pt x="1414198" y="1125034"/>
                </a:cubicBezTo>
                <a:cubicBezTo>
                  <a:pt x="1412959" y="1125344"/>
                  <a:pt x="1410996" y="1123020"/>
                  <a:pt x="1409758" y="1123331"/>
                </a:cubicBezTo>
                <a:cubicBezTo>
                  <a:pt x="1409758" y="1123331"/>
                  <a:pt x="1409758" y="1123331"/>
                  <a:pt x="1409861" y="1121317"/>
                </a:cubicBezTo>
                <a:cubicBezTo>
                  <a:pt x="1410377" y="1120697"/>
                  <a:pt x="1410790" y="1119923"/>
                  <a:pt x="1412029" y="1119767"/>
                </a:cubicBezTo>
                <a:close/>
                <a:moveTo>
                  <a:pt x="1178360" y="1119458"/>
                </a:moveTo>
                <a:cubicBezTo>
                  <a:pt x="1179496" y="1119148"/>
                  <a:pt x="1179496" y="1119303"/>
                  <a:pt x="1180219" y="1119767"/>
                </a:cubicBezTo>
                <a:cubicBezTo>
                  <a:pt x="1180632" y="1120852"/>
                  <a:pt x="1180116" y="1121471"/>
                  <a:pt x="1180425" y="1122711"/>
                </a:cubicBezTo>
                <a:cubicBezTo>
                  <a:pt x="1182800" y="1122246"/>
                  <a:pt x="1182077" y="1121936"/>
                  <a:pt x="1182387" y="1123020"/>
                </a:cubicBezTo>
                <a:cubicBezTo>
                  <a:pt x="1182387" y="1123020"/>
                  <a:pt x="1182387" y="1123020"/>
                  <a:pt x="1182697" y="1124260"/>
                </a:cubicBezTo>
                <a:cubicBezTo>
                  <a:pt x="1182697" y="1124260"/>
                  <a:pt x="1183420" y="1124570"/>
                  <a:pt x="1180632" y="1125654"/>
                </a:cubicBezTo>
                <a:cubicBezTo>
                  <a:pt x="1180322" y="1124570"/>
                  <a:pt x="1179393" y="1121162"/>
                  <a:pt x="1179393" y="1121162"/>
                </a:cubicBezTo>
                <a:cubicBezTo>
                  <a:pt x="1178670" y="1120542"/>
                  <a:pt x="1178670" y="1120542"/>
                  <a:pt x="1178360" y="1119458"/>
                </a:cubicBezTo>
                <a:close/>
                <a:moveTo>
                  <a:pt x="4503156" y="1119087"/>
                </a:moveTo>
                <a:cubicBezTo>
                  <a:pt x="4505291" y="1120794"/>
                  <a:pt x="4507639" y="1121363"/>
                  <a:pt x="4510839" y="1123355"/>
                </a:cubicBezTo>
                <a:cubicBezTo>
                  <a:pt x="4510413" y="1126770"/>
                  <a:pt x="4505931" y="1133029"/>
                  <a:pt x="4500168" y="1132887"/>
                </a:cubicBezTo>
                <a:cubicBezTo>
                  <a:pt x="4495047" y="1126912"/>
                  <a:pt x="4496754" y="1122501"/>
                  <a:pt x="4503156" y="1119087"/>
                </a:cubicBezTo>
                <a:close/>
                <a:moveTo>
                  <a:pt x="4444253" y="1118945"/>
                </a:moveTo>
                <a:cubicBezTo>
                  <a:pt x="4447241" y="1122644"/>
                  <a:pt x="4444680" y="1125063"/>
                  <a:pt x="4441905" y="1129900"/>
                </a:cubicBezTo>
                <a:cubicBezTo>
                  <a:pt x="4440838" y="1128619"/>
                  <a:pt x="4436997" y="1132176"/>
                  <a:pt x="4435716" y="1133457"/>
                </a:cubicBezTo>
                <a:cubicBezTo>
                  <a:pt x="4433582" y="1130895"/>
                  <a:pt x="4428673" y="1134594"/>
                  <a:pt x="4425685" y="1130895"/>
                </a:cubicBezTo>
                <a:cubicBezTo>
                  <a:pt x="4425899" y="1128477"/>
                  <a:pt x="4425899" y="1127196"/>
                  <a:pt x="4427393" y="1124778"/>
                </a:cubicBezTo>
                <a:cubicBezTo>
                  <a:pt x="4437423" y="1116384"/>
                  <a:pt x="4442972" y="1120083"/>
                  <a:pt x="4444253" y="1118945"/>
                </a:cubicBezTo>
                <a:close/>
                <a:moveTo>
                  <a:pt x="1175882" y="1118064"/>
                </a:moveTo>
                <a:cubicBezTo>
                  <a:pt x="1176192" y="1119148"/>
                  <a:pt x="1176501" y="1122246"/>
                  <a:pt x="1173714" y="1123176"/>
                </a:cubicBezTo>
                <a:cubicBezTo>
                  <a:pt x="1170823" y="1124260"/>
                  <a:pt x="1170306" y="1126738"/>
                  <a:pt x="1167518" y="1127667"/>
                </a:cubicBezTo>
                <a:cubicBezTo>
                  <a:pt x="1167518" y="1127667"/>
                  <a:pt x="1167518" y="1127667"/>
                  <a:pt x="1167208" y="1126583"/>
                </a:cubicBezTo>
                <a:cubicBezTo>
                  <a:pt x="1170823" y="1124260"/>
                  <a:pt x="1171442" y="1119923"/>
                  <a:pt x="1175882" y="1118064"/>
                </a:cubicBezTo>
                <a:close/>
                <a:moveTo>
                  <a:pt x="3875489" y="1117949"/>
                </a:moveTo>
                <a:cubicBezTo>
                  <a:pt x="3878691" y="1117096"/>
                  <a:pt x="3879971" y="1119372"/>
                  <a:pt x="3880184" y="1120937"/>
                </a:cubicBezTo>
                <a:cubicBezTo>
                  <a:pt x="3881251" y="1122501"/>
                  <a:pt x="3881038" y="1124209"/>
                  <a:pt x="3880398" y="1125916"/>
                </a:cubicBezTo>
                <a:cubicBezTo>
                  <a:pt x="3879544" y="1127765"/>
                  <a:pt x="3878050" y="1129473"/>
                  <a:pt x="3876556" y="1130753"/>
                </a:cubicBezTo>
                <a:cubicBezTo>
                  <a:pt x="3877410" y="1129615"/>
                  <a:pt x="3877410" y="1129615"/>
                  <a:pt x="3877410" y="1129615"/>
                </a:cubicBezTo>
                <a:cubicBezTo>
                  <a:pt x="3877197" y="1127908"/>
                  <a:pt x="3876343" y="1129046"/>
                  <a:pt x="3875489" y="1128335"/>
                </a:cubicBezTo>
                <a:cubicBezTo>
                  <a:pt x="3875489" y="1128335"/>
                  <a:pt x="3876343" y="1129046"/>
                  <a:pt x="3874849" y="1129473"/>
                </a:cubicBezTo>
                <a:cubicBezTo>
                  <a:pt x="3875489" y="1128335"/>
                  <a:pt x="3874422" y="1127765"/>
                  <a:pt x="3873568" y="1127196"/>
                </a:cubicBezTo>
                <a:cubicBezTo>
                  <a:pt x="3872928" y="1123924"/>
                  <a:pt x="3873141" y="1119514"/>
                  <a:pt x="3875489" y="1117949"/>
                </a:cubicBezTo>
                <a:close/>
                <a:moveTo>
                  <a:pt x="1072936" y="1117599"/>
                </a:moveTo>
                <a:cubicBezTo>
                  <a:pt x="1075620" y="1118993"/>
                  <a:pt x="1076653" y="1121317"/>
                  <a:pt x="1075104" y="1124105"/>
                </a:cubicBezTo>
                <a:cubicBezTo>
                  <a:pt x="1073452" y="1125189"/>
                  <a:pt x="1071594" y="1124570"/>
                  <a:pt x="1069838" y="1123950"/>
                </a:cubicBezTo>
                <a:cubicBezTo>
                  <a:pt x="1068496" y="1123331"/>
                  <a:pt x="1068083" y="1122556"/>
                  <a:pt x="1068083" y="1121781"/>
                </a:cubicBezTo>
                <a:cubicBezTo>
                  <a:pt x="1068186" y="1120852"/>
                  <a:pt x="1068805" y="1119923"/>
                  <a:pt x="1069631" y="1118993"/>
                </a:cubicBezTo>
                <a:cubicBezTo>
                  <a:pt x="1071284" y="1116980"/>
                  <a:pt x="1072936" y="1117599"/>
                  <a:pt x="1072936" y="1117599"/>
                </a:cubicBezTo>
                <a:close/>
                <a:moveTo>
                  <a:pt x="1471092" y="1117444"/>
                </a:moveTo>
                <a:cubicBezTo>
                  <a:pt x="1471298" y="1119303"/>
                  <a:pt x="1471401" y="1121007"/>
                  <a:pt x="1471608" y="1122866"/>
                </a:cubicBezTo>
                <a:cubicBezTo>
                  <a:pt x="1471092" y="1122246"/>
                  <a:pt x="1465309" y="1127048"/>
                  <a:pt x="1465309" y="1127048"/>
                </a:cubicBezTo>
                <a:cubicBezTo>
                  <a:pt x="1462934" y="1126428"/>
                  <a:pt x="1462934" y="1126428"/>
                  <a:pt x="1463141" y="1123485"/>
                </a:cubicBezTo>
                <a:cubicBezTo>
                  <a:pt x="1463451" y="1122401"/>
                  <a:pt x="1464587" y="1120852"/>
                  <a:pt x="1466135" y="1119613"/>
                </a:cubicBezTo>
                <a:cubicBezTo>
                  <a:pt x="1467684" y="1118219"/>
                  <a:pt x="1469543" y="1117289"/>
                  <a:pt x="1471092" y="1117444"/>
                </a:cubicBezTo>
                <a:close/>
                <a:moveTo>
                  <a:pt x="933230" y="1115431"/>
                </a:moveTo>
                <a:cubicBezTo>
                  <a:pt x="934366" y="1115121"/>
                  <a:pt x="935605" y="1115586"/>
                  <a:pt x="936844" y="1116825"/>
                </a:cubicBezTo>
                <a:cubicBezTo>
                  <a:pt x="937773" y="1117754"/>
                  <a:pt x="938599" y="1118683"/>
                  <a:pt x="937773" y="1118683"/>
                </a:cubicBezTo>
                <a:cubicBezTo>
                  <a:pt x="937670" y="1119458"/>
                  <a:pt x="936844" y="1119303"/>
                  <a:pt x="936018" y="1120077"/>
                </a:cubicBezTo>
                <a:cubicBezTo>
                  <a:pt x="934263" y="1120852"/>
                  <a:pt x="931785" y="1120542"/>
                  <a:pt x="930855" y="1119613"/>
                </a:cubicBezTo>
                <a:cubicBezTo>
                  <a:pt x="930029" y="1118683"/>
                  <a:pt x="930029" y="1117909"/>
                  <a:pt x="930029" y="1117909"/>
                </a:cubicBezTo>
                <a:cubicBezTo>
                  <a:pt x="930958" y="1116670"/>
                  <a:pt x="931991" y="1115741"/>
                  <a:pt x="933230" y="1115431"/>
                </a:cubicBezTo>
                <a:close/>
                <a:moveTo>
                  <a:pt x="4176838" y="1114107"/>
                </a:moveTo>
                <a:cubicBezTo>
                  <a:pt x="4177478" y="1114392"/>
                  <a:pt x="4177905" y="1114819"/>
                  <a:pt x="4178331" y="1115531"/>
                </a:cubicBezTo>
                <a:cubicBezTo>
                  <a:pt x="4180466" y="1118661"/>
                  <a:pt x="4180252" y="1125916"/>
                  <a:pt x="4175771" y="1125347"/>
                </a:cubicBezTo>
                <a:lnTo>
                  <a:pt x="4174917" y="1124778"/>
                </a:lnTo>
                <a:lnTo>
                  <a:pt x="4174277" y="1125063"/>
                </a:lnTo>
                <a:cubicBezTo>
                  <a:pt x="4172996" y="1125205"/>
                  <a:pt x="4171502" y="1124920"/>
                  <a:pt x="4170435" y="1125063"/>
                </a:cubicBezTo>
                <a:cubicBezTo>
                  <a:pt x="4169581" y="1127481"/>
                  <a:pt x="4165527" y="1122928"/>
                  <a:pt x="4164673" y="1125347"/>
                </a:cubicBezTo>
                <a:cubicBezTo>
                  <a:pt x="4160831" y="1121933"/>
                  <a:pt x="4157203" y="1124636"/>
                  <a:pt x="4151868" y="1123782"/>
                </a:cubicBezTo>
                <a:lnTo>
                  <a:pt x="4150801" y="1123355"/>
                </a:lnTo>
                <a:lnTo>
                  <a:pt x="4149947" y="1125063"/>
                </a:lnTo>
                <a:cubicBezTo>
                  <a:pt x="4148880" y="1125774"/>
                  <a:pt x="4148026" y="1126485"/>
                  <a:pt x="4148666" y="1127623"/>
                </a:cubicBezTo>
                <a:cubicBezTo>
                  <a:pt x="4142691" y="1129330"/>
                  <a:pt x="4145465" y="1137582"/>
                  <a:pt x="4136928" y="1141850"/>
                </a:cubicBezTo>
                <a:cubicBezTo>
                  <a:pt x="4137355" y="1138721"/>
                  <a:pt x="4137995" y="1136159"/>
                  <a:pt x="4139062" y="1133883"/>
                </a:cubicBezTo>
                <a:cubicBezTo>
                  <a:pt x="4141837" y="1127054"/>
                  <a:pt x="4146318" y="1122928"/>
                  <a:pt x="4146746" y="1117379"/>
                </a:cubicBezTo>
                <a:cubicBezTo>
                  <a:pt x="4146746" y="1117379"/>
                  <a:pt x="4146959" y="1117379"/>
                  <a:pt x="4149947" y="1116526"/>
                </a:cubicBezTo>
                <a:cubicBezTo>
                  <a:pt x="4150374" y="1115388"/>
                  <a:pt x="4150374" y="1115531"/>
                  <a:pt x="4150374" y="1115531"/>
                </a:cubicBezTo>
                <a:cubicBezTo>
                  <a:pt x="4150587" y="1114961"/>
                  <a:pt x="4151227" y="1114961"/>
                  <a:pt x="4151868" y="1115104"/>
                </a:cubicBezTo>
                <a:cubicBezTo>
                  <a:pt x="4152508" y="1115246"/>
                  <a:pt x="4152935" y="1115673"/>
                  <a:pt x="4152935" y="1115673"/>
                </a:cubicBezTo>
                <a:cubicBezTo>
                  <a:pt x="4153789" y="1116811"/>
                  <a:pt x="4153575" y="1117949"/>
                  <a:pt x="4152935" y="1119087"/>
                </a:cubicBezTo>
                <a:lnTo>
                  <a:pt x="4152508" y="1119941"/>
                </a:lnTo>
                <a:lnTo>
                  <a:pt x="4153575" y="1119799"/>
                </a:lnTo>
                <a:cubicBezTo>
                  <a:pt x="4157203" y="1119372"/>
                  <a:pt x="4160618" y="1119656"/>
                  <a:pt x="4163606" y="1119799"/>
                </a:cubicBezTo>
                <a:lnTo>
                  <a:pt x="4171289" y="1118802"/>
                </a:lnTo>
                <a:lnTo>
                  <a:pt x="4172356" y="1116669"/>
                </a:lnTo>
                <a:cubicBezTo>
                  <a:pt x="4173210" y="1115388"/>
                  <a:pt x="4174063" y="1114677"/>
                  <a:pt x="4174917" y="1114392"/>
                </a:cubicBezTo>
                <a:cubicBezTo>
                  <a:pt x="4175557" y="1113966"/>
                  <a:pt x="4176198" y="1113966"/>
                  <a:pt x="4176838" y="1114107"/>
                </a:cubicBezTo>
                <a:close/>
                <a:moveTo>
                  <a:pt x="1260965" y="1113882"/>
                </a:moveTo>
                <a:cubicBezTo>
                  <a:pt x="1261585" y="1116205"/>
                  <a:pt x="1261378" y="1118219"/>
                  <a:pt x="1259313" y="1119767"/>
                </a:cubicBezTo>
                <a:cubicBezTo>
                  <a:pt x="1259210" y="1118219"/>
                  <a:pt x="1259107" y="1117134"/>
                  <a:pt x="1259313" y="1116205"/>
                </a:cubicBezTo>
                <a:cubicBezTo>
                  <a:pt x="1259520" y="1115431"/>
                  <a:pt x="1259933" y="1114656"/>
                  <a:pt x="1260965" y="1113882"/>
                </a:cubicBezTo>
                <a:close/>
                <a:moveTo>
                  <a:pt x="4123696" y="1113681"/>
                </a:moveTo>
                <a:cubicBezTo>
                  <a:pt x="4125404" y="1125632"/>
                  <a:pt x="4103635" y="1142562"/>
                  <a:pt x="4093604" y="1133314"/>
                </a:cubicBezTo>
                <a:cubicBezTo>
                  <a:pt x="4105129" y="1127338"/>
                  <a:pt x="4109184" y="1117664"/>
                  <a:pt x="4123696" y="1113681"/>
                </a:cubicBezTo>
                <a:close/>
                <a:moveTo>
                  <a:pt x="1550908" y="1113572"/>
                </a:moveTo>
                <a:cubicBezTo>
                  <a:pt x="1550908" y="1113572"/>
                  <a:pt x="1550805" y="1113572"/>
                  <a:pt x="1551218" y="1114192"/>
                </a:cubicBezTo>
                <a:cubicBezTo>
                  <a:pt x="1551218" y="1114192"/>
                  <a:pt x="1550599" y="1114656"/>
                  <a:pt x="1549463" y="1114346"/>
                </a:cubicBezTo>
                <a:cubicBezTo>
                  <a:pt x="1549463" y="1114346"/>
                  <a:pt x="1549566" y="1114037"/>
                  <a:pt x="1549773" y="1113727"/>
                </a:cubicBezTo>
                <a:cubicBezTo>
                  <a:pt x="1549979" y="1113572"/>
                  <a:pt x="1550289" y="1113417"/>
                  <a:pt x="1550908" y="1113572"/>
                </a:cubicBezTo>
                <a:close/>
                <a:moveTo>
                  <a:pt x="4460899" y="1113254"/>
                </a:moveTo>
                <a:cubicBezTo>
                  <a:pt x="4460686" y="1114534"/>
                  <a:pt x="4461753" y="1115815"/>
                  <a:pt x="4461540" y="1116953"/>
                </a:cubicBezTo>
                <a:cubicBezTo>
                  <a:pt x="4458979" y="1119372"/>
                  <a:pt x="4455777" y="1116811"/>
                  <a:pt x="4455991" y="1115673"/>
                </a:cubicBezTo>
                <a:cubicBezTo>
                  <a:pt x="4457271" y="1114392"/>
                  <a:pt x="4459619" y="1114392"/>
                  <a:pt x="4460899" y="1113254"/>
                </a:cubicBezTo>
                <a:close/>
                <a:moveTo>
                  <a:pt x="1431544" y="1113107"/>
                </a:moveTo>
                <a:cubicBezTo>
                  <a:pt x="1432474" y="1115431"/>
                  <a:pt x="1433816" y="1118529"/>
                  <a:pt x="1433713" y="1120387"/>
                </a:cubicBezTo>
                <a:cubicBezTo>
                  <a:pt x="1432267" y="1118993"/>
                  <a:pt x="1430202" y="1116205"/>
                  <a:pt x="1431132" y="1114192"/>
                </a:cubicBezTo>
                <a:cubicBezTo>
                  <a:pt x="1431132" y="1114192"/>
                  <a:pt x="1431132" y="1114037"/>
                  <a:pt x="1431544" y="1113107"/>
                </a:cubicBezTo>
                <a:close/>
                <a:moveTo>
                  <a:pt x="1190854" y="1113107"/>
                </a:moveTo>
                <a:cubicBezTo>
                  <a:pt x="1193229" y="1112798"/>
                  <a:pt x="1196017" y="1111713"/>
                  <a:pt x="1197153" y="1113417"/>
                </a:cubicBezTo>
                <a:cubicBezTo>
                  <a:pt x="1199425" y="1119613"/>
                  <a:pt x="1188686" y="1123176"/>
                  <a:pt x="1186621" y="1124724"/>
                </a:cubicBezTo>
                <a:cubicBezTo>
                  <a:pt x="1186621" y="1124724"/>
                  <a:pt x="1186207" y="1125344"/>
                  <a:pt x="1184968" y="1125654"/>
                </a:cubicBezTo>
                <a:cubicBezTo>
                  <a:pt x="1183317" y="1126428"/>
                  <a:pt x="1183936" y="1123950"/>
                  <a:pt x="1182697" y="1124260"/>
                </a:cubicBezTo>
                <a:cubicBezTo>
                  <a:pt x="1187653" y="1119767"/>
                  <a:pt x="1189202" y="1114037"/>
                  <a:pt x="1189202" y="1114037"/>
                </a:cubicBezTo>
                <a:cubicBezTo>
                  <a:pt x="1190854" y="1113262"/>
                  <a:pt x="1191577" y="1113572"/>
                  <a:pt x="1190854" y="1113107"/>
                </a:cubicBezTo>
                <a:close/>
                <a:moveTo>
                  <a:pt x="1039687" y="1112642"/>
                </a:moveTo>
                <a:cubicBezTo>
                  <a:pt x="1045263" y="1108770"/>
                  <a:pt x="1048051" y="1115276"/>
                  <a:pt x="1046089" y="1118219"/>
                </a:cubicBezTo>
                <a:cubicBezTo>
                  <a:pt x="1042991" y="1119613"/>
                  <a:pt x="1040306" y="1117754"/>
                  <a:pt x="1039584" y="1115276"/>
                </a:cubicBezTo>
                <a:cubicBezTo>
                  <a:pt x="1039377" y="1114501"/>
                  <a:pt x="1039377" y="1113572"/>
                  <a:pt x="1039687" y="1112642"/>
                </a:cubicBezTo>
                <a:close/>
                <a:moveTo>
                  <a:pt x="1311974" y="1111094"/>
                </a:moveTo>
                <a:cubicBezTo>
                  <a:pt x="1312284" y="1112333"/>
                  <a:pt x="1312284" y="1114346"/>
                  <a:pt x="1311458" y="1116205"/>
                </a:cubicBezTo>
                <a:lnTo>
                  <a:pt x="1308257" y="1120232"/>
                </a:lnTo>
                <a:lnTo>
                  <a:pt x="1315071" y="1121162"/>
                </a:lnTo>
                <a:cubicBezTo>
                  <a:pt x="1317860" y="1122246"/>
                  <a:pt x="1320131" y="1123795"/>
                  <a:pt x="1321990" y="1125654"/>
                </a:cubicBezTo>
                <a:cubicBezTo>
                  <a:pt x="1328288" y="1132160"/>
                  <a:pt x="1329528" y="1142847"/>
                  <a:pt x="1324262" y="1152296"/>
                </a:cubicBezTo>
                <a:cubicBezTo>
                  <a:pt x="1323022" y="1152141"/>
                  <a:pt x="1321886" y="1152141"/>
                  <a:pt x="1321680" y="1153225"/>
                </a:cubicBezTo>
                <a:cubicBezTo>
                  <a:pt x="1309702" y="1153380"/>
                  <a:pt x="1300925" y="1141453"/>
                  <a:pt x="1301648" y="1130300"/>
                </a:cubicBezTo>
                <a:cubicBezTo>
                  <a:pt x="1301751" y="1128442"/>
                  <a:pt x="1302164" y="1126738"/>
                  <a:pt x="1302887" y="1124879"/>
                </a:cubicBezTo>
                <a:lnTo>
                  <a:pt x="1305675" y="1120232"/>
                </a:lnTo>
                <a:lnTo>
                  <a:pt x="1304539" y="1119613"/>
                </a:lnTo>
                <a:cubicBezTo>
                  <a:pt x="1302577" y="1117754"/>
                  <a:pt x="1303197" y="1114966"/>
                  <a:pt x="1305675" y="1111403"/>
                </a:cubicBezTo>
                <a:cubicBezTo>
                  <a:pt x="1307637" y="1111713"/>
                  <a:pt x="1309289" y="1111248"/>
                  <a:pt x="1311974" y="1111094"/>
                </a:cubicBezTo>
                <a:close/>
                <a:moveTo>
                  <a:pt x="993325" y="1109699"/>
                </a:moveTo>
                <a:cubicBezTo>
                  <a:pt x="1001586" y="1108615"/>
                  <a:pt x="1013770" y="1112333"/>
                  <a:pt x="1014493" y="1119458"/>
                </a:cubicBezTo>
                <a:cubicBezTo>
                  <a:pt x="1004683" y="1116050"/>
                  <a:pt x="997455" y="1118219"/>
                  <a:pt x="986923" y="1112488"/>
                </a:cubicBezTo>
                <a:cubicBezTo>
                  <a:pt x="988266" y="1110939"/>
                  <a:pt x="990640" y="1110009"/>
                  <a:pt x="993325" y="1109699"/>
                </a:cubicBezTo>
                <a:close/>
                <a:moveTo>
                  <a:pt x="4595354" y="1109555"/>
                </a:moveTo>
                <a:cubicBezTo>
                  <a:pt x="4595567" y="1111262"/>
                  <a:pt x="4598128" y="1111547"/>
                  <a:pt x="4598555" y="1113112"/>
                </a:cubicBezTo>
                <a:cubicBezTo>
                  <a:pt x="4598555" y="1113112"/>
                  <a:pt x="4598342" y="1114107"/>
                  <a:pt x="4597915" y="1115104"/>
                </a:cubicBezTo>
                <a:lnTo>
                  <a:pt x="4597488" y="1116953"/>
                </a:lnTo>
                <a:lnTo>
                  <a:pt x="4599409" y="1117949"/>
                </a:lnTo>
                <a:cubicBezTo>
                  <a:pt x="4601543" y="1118376"/>
                  <a:pt x="4603464" y="1116953"/>
                  <a:pt x="4604745" y="1120937"/>
                </a:cubicBezTo>
                <a:cubicBezTo>
                  <a:pt x="4604531" y="1123213"/>
                  <a:pt x="4603037" y="1125490"/>
                  <a:pt x="4599409" y="1127054"/>
                </a:cubicBezTo>
                <a:cubicBezTo>
                  <a:pt x="4596634" y="1125205"/>
                  <a:pt x="4595567" y="1123355"/>
                  <a:pt x="4595567" y="1121648"/>
                </a:cubicBezTo>
                <a:lnTo>
                  <a:pt x="4597062" y="1117096"/>
                </a:lnTo>
                <a:lnTo>
                  <a:pt x="4596207" y="1117238"/>
                </a:lnTo>
                <a:cubicBezTo>
                  <a:pt x="4595994" y="1117238"/>
                  <a:pt x="4596207" y="1116953"/>
                  <a:pt x="4596421" y="1116384"/>
                </a:cubicBezTo>
                <a:cubicBezTo>
                  <a:pt x="4593860" y="1116242"/>
                  <a:pt x="4592793" y="1115531"/>
                  <a:pt x="4591939" y="1114961"/>
                </a:cubicBezTo>
                <a:cubicBezTo>
                  <a:pt x="4591726" y="1113254"/>
                  <a:pt x="4593006" y="1111120"/>
                  <a:pt x="4595354" y="1109555"/>
                </a:cubicBezTo>
                <a:close/>
                <a:moveTo>
                  <a:pt x="3778810" y="1109555"/>
                </a:moveTo>
                <a:cubicBezTo>
                  <a:pt x="3779877" y="1109555"/>
                  <a:pt x="3780730" y="1110266"/>
                  <a:pt x="3781371" y="1111262"/>
                </a:cubicBezTo>
                <a:cubicBezTo>
                  <a:pt x="3782438" y="1113397"/>
                  <a:pt x="3782225" y="1116669"/>
                  <a:pt x="3779237" y="1117664"/>
                </a:cubicBezTo>
                <a:cubicBezTo>
                  <a:pt x="3778170" y="1116384"/>
                  <a:pt x="3776249" y="1114961"/>
                  <a:pt x="3775395" y="1112401"/>
                </a:cubicBezTo>
                <a:cubicBezTo>
                  <a:pt x="3776676" y="1110409"/>
                  <a:pt x="3777743" y="1109697"/>
                  <a:pt x="3778810" y="1109555"/>
                </a:cubicBezTo>
                <a:close/>
                <a:moveTo>
                  <a:pt x="3638807" y="1109128"/>
                </a:moveTo>
                <a:cubicBezTo>
                  <a:pt x="3640087" y="1115388"/>
                  <a:pt x="3641581" y="1126485"/>
                  <a:pt x="3630910" y="1129188"/>
                </a:cubicBezTo>
                <a:cubicBezTo>
                  <a:pt x="3629843" y="1127908"/>
                  <a:pt x="3628989" y="1126628"/>
                  <a:pt x="3628136" y="1125205"/>
                </a:cubicBezTo>
                <a:cubicBezTo>
                  <a:pt x="3633684" y="1119656"/>
                  <a:pt x="3634538" y="1113681"/>
                  <a:pt x="3638807" y="1109128"/>
                </a:cubicBezTo>
                <a:close/>
                <a:moveTo>
                  <a:pt x="1446103" y="1108615"/>
                </a:moveTo>
                <a:lnTo>
                  <a:pt x="1444865" y="1109544"/>
                </a:lnTo>
                <a:lnTo>
                  <a:pt x="1444761" y="1110319"/>
                </a:lnTo>
                <a:lnTo>
                  <a:pt x="1446310" y="1109080"/>
                </a:lnTo>
                <a:close/>
                <a:moveTo>
                  <a:pt x="1532632" y="1107996"/>
                </a:moveTo>
                <a:cubicBezTo>
                  <a:pt x="1532219" y="1109080"/>
                  <a:pt x="1533768" y="1110474"/>
                  <a:pt x="1533252" y="1111558"/>
                </a:cubicBezTo>
                <a:cubicBezTo>
                  <a:pt x="1533252" y="1111558"/>
                  <a:pt x="1531083" y="1113262"/>
                  <a:pt x="1531083" y="1113262"/>
                </a:cubicBezTo>
                <a:cubicBezTo>
                  <a:pt x="1529948" y="1112642"/>
                  <a:pt x="1529948" y="1112642"/>
                  <a:pt x="1530773" y="1112333"/>
                </a:cubicBezTo>
                <a:cubicBezTo>
                  <a:pt x="1529328" y="1110939"/>
                  <a:pt x="1528915" y="1110164"/>
                  <a:pt x="1528605" y="1109390"/>
                </a:cubicBezTo>
                <a:cubicBezTo>
                  <a:pt x="1529122" y="1108306"/>
                  <a:pt x="1530670" y="1107686"/>
                  <a:pt x="1532632" y="1107996"/>
                </a:cubicBezTo>
                <a:close/>
                <a:moveTo>
                  <a:pt x="4023175" y="1107990"/>
                </a:moveTo>
                <a:cubicBezTo>
                  <a:pt x="4025950" y="1109555"/>
                  <a:pt x="4028297" y="1110124"/>
                  <a:pt x="4031072" y="1111689"/>
                </a:cubicBezTo>
                <a:cubicBezTo>
                  <a:pt x="4033633" y="1118376"/>
                  <a:pt x="4030218" y="1122786"/>
                  <a:pt x="4025950" y="1123782"/>
                </a:cubicBezTo>
                <a:cubicBezTo>
                  <a:pt x="4021682" y="1124920"/>
                  <a:pt x="4016559" y="1122786"/>
                  <a:pt x="4015279" y="1116384"/>
                </a:cubicBezTo>
                <a:cubicBezTo>
                  <a:pt x="4018054" y="1111832"/>
                  <a:pt x="4021255" y="1109697"/>
                  <a:pt x="4023175" y="1107990"/>
                </a:cubicBezTo>
                <a:close/>
                <a:moveTo>
                  <a:pt x="3882532" y="1106710"/>
                </a:moveTo>
                <a:cubicBezTo>
                  <a:pt x="3883812" y="1106852"/>
                  <a:pt x="3884880" y="1107848"/>
                  <a:pt x="3886160" y="1109128"/>
                </a:cubicBezTo>
                <a:cubicBezTo>
                  <a:pt x="3888721" y="1111547"/>
                  <a:pt x="3887654" y="1113823"/>
                  <a:pt x="3887654" y="1113823"/>
                </a:cubicBezTo>
                <a:cubicBezTo>
                  <a:pt x="3885307" y="1117379"/>
                  <a:pt x="3881892" y="1118376"/>
                  <a:pt x="3878264" y="1115815"/>
                </a:cubicBezTo>
                <a:cubicBezTo>
                  <a:pt x="3876983" y="1113397"/>
                  <a:pt x="3878050" y="1110978"/>
                  <a:pt x="3879117" y="1108702"/>
                </a:cubicBezTo>
                <a:cubicBezTo>
                  <a:pt x="3880184" y="1106995"/>
                  <a:pt x="3881465" y="1106425"/>
                  <a:pt x="3882532" y="1106710"/>
                </a:cubicBezTo>
                <a:close/>
                <a:moveTo>
                  <a:pt x="3959790" y="1106568"/>
                </a:moveTo>
                <a:cubicBezTo>
                  <a:pt x="3968327" y="1117238"/>
                  <a:pt x="3957442" y="1133457"/>
                  <a:pt x="3950613" y="1140143"/>
                </a:cubicBezTo>
                <a:cubicBezTo>
                  <a:pt x="3951040" y="1134737"/>
                  <a:pt x="3951253" y="1129188"/>
                  <a:pt x="3952320" y="1123640"/>
                </a:cubicBezTo>
                <a:cubicBezTo>
                  <a:pt x="3953388" y="1117949"/>
                  <a:pt x="3955308" y="1112401"/>
                  <a:pt x="3959790" y="1106568"/>
                </a:cubicBezTo>
                <a:close/>
                <a:moveTo>
                  <a:pt x="1456326" y="1106292"/>
                </a:moveTo>
                <a:cubicBezTo>
                  <a:pt x="1457255" y="1106447"/>
                  <a:pt x="1458701" y="1107221"/>
                  <a:pt x="1459837" y="1108150"/>
                </a:cubicBezTo>
                <a:lnTo>
                  <a:pt x="1461592" y="1110629"/>
                </a:lnTo>
                <a:lnTo>
                  <a:pt x="1461902" y="1110319"/>
                </a:lnTo>
                <a:cubicBezTo>
                  <a:pt x="1463554" y="1109235"/>
                  <a:pt x="1465206" y="1108615"/>
                  <a:pt x="1466962" y="1108615"/>
                </a:cubicBezTo>
                <a:lnTo>
                  <a:pt x="1469646" y="1109699"/>
                </a:lnTo>
                <a:lnTo>
                  <a:pt x="1470369" y="1108150"/>
                </a:lnTo>
                <a:cubicBezTo>
                  <a:pt x="1472331" y="1106602"/>
                  <a:pt x="1476771" y="1107376"/>
                  <a:pt x="1485238" y="1112642"/>
                </a:cubicBezTo>
                <a:cubicBezTo>
                  <a:pt x="1482966" y="1130146"/>
                  <a:pt x="1472537" y="1121317"/>
                  <a:pt x="1469853" y="1113882"/>
                </a:cubicBezTo>
                <a:lnTo>
                  <a:pt x="1469543" y="1111868"/>
                </a:lnTo>
                <a:lnTo>
                  <a:pt x="1463657" y="1115276"/>
                </a:lnTo>
                <a:cubicBezTo>
                  <a:pt x="1460869" y="1116825"/>
                  <a:pt x="1458081" y="1118219"/>
                  <a:pt x="1454984" y="1118838"/>
                </a:cubicBezTo>
                <a:cubicBezTo>
                  <a:pt x="1455500" y="1117289"/>
                  <a:pt x="1456429" y="1115741"/>
                  <a:pt x="1457668" y="1114192"/>
                </a:cubicBezTo>
                <a:lnTo>
                  <a:pt x="1461282" y="1110939"/>
                </a:lnTo>
                <a:lnTo>
                  <a:pt x="1457668" y="1109544"/>
                </a:lnTo>
                <a:cubicBezTo>
                  <a:pt x="1455706" y="1109235"/>
                  <a:pt x="1455397" y="1108460"/>
                  <a:pt x="1456326" y="1106292"/>
                </a:cubicBezTo>
                <a:close/>
                <a:moveTo>
                  <a:pt x="931888" y="1106292"/>
                </a:moveTo>
                <a:lnTo>
                  <a:pt x="934263" y="1109080"/>
                </a:lnTo>
                <a:cubicBezTo>
                  <a:pt x="933436" y="1109854"/>
                  <a:pt x="931785" y="1110474"/>
                  <a:pt x="930958" y="1109544"/>
                </a:cubicBezTo>
                <a:cubicBezTo>
                  <a:pt x="930132" y="1109080"/>
                  <a:pt x="930132" y="1108615"/>
                  <a:pt x="930442" y="1108150"/>
                </a:cubicBezTo>
                <a:cubicBezTo>
                  <a:pt x="930752" y="1107686"/>
                  <a:pt x="931475" y="1107066"/>
                  <a:pt x="931888" y="1106292"/>
                </a:cubicBezTo>
                <a:close/>
                <a:moveTo>
                  <a:pt x="4205863" y="1105856"/>
                </a:moveTo>
                <a:cubicBezTo>
                  <a:pt x="4206503" y="1105714"/>
                  <a:pt x="4206930" y="1106140"/>
                  <a:pt x="4207570" y="1107279"/>
                </a:cubicBezTo>
                <a:cubicBezTo>
                  <a:pt x="4208424" y="1107848"/>
                  <a:pt x="4208637" y="1109413"/>
                  <a:pt x="4209704" y="1110124"/>
                </a:cubicBezTo>
                <a:cubicBezTo>
                  <a:pt x="4209704" y="1110124"/>
                  <a:pt x="4209491" y="1110978"/>
                  <a:pt x="4208851" y="1111974"/>
                </a:cubicBezTo>
                <a:cubicBezTo>
                  <a:pt x="4208424" y="1112970"/>
                  <a:pt x="4207784" y="1113966"/>
                  <a:pt x="4206930" y="1114250"/>
                </a:cubicBezTo>
                <a:cubicBezTo>
                  <a:pt x="4204796" y="1115673"/>
                  <a:pt x="4203942" y="1110693"/>
                  <a:pt x="4203088" y="1110124"/>
                </a:cubicBezTo>
                <a:cubicBezTo>
                  <a:pt x="4202661" y="1108560"/>
                  <a:pt x="4202448" y="1106852"/>
                  <a:pt x="4204156" y="1106425"/>
                </a:cubicBezTo>
                <a:cubicBezTo>
                  <a:pt x="4204796" y="1106140"/>
                  <a:pt x="4205436" y="1105856"/>
                  <a:pt x="4205863" y="1105856"/>
                </a:cubicBezTo>
                <a:close/>
                <a:moveTo>
                  <a:pt x="1171649" y="1104588"/>
                </a:moveTo>
                <a:cubicBezTo>
                  <a:pt x="1172474" y="1104123"/>
                  <a:pt x="1173094" y="1104433"/>
                  <a:pt x="1173714" y="1105053"/>
                </a:cubicBezTo>
                <a:cubicBezTo>
                  <a:pt x="1174437" y="1105827"/>
                  <a:pt x="1175056" y="1106911"/>
                  <a:pt x="1175779" y="1108306"/>
                </a:cubicBezTo>
                <a:cubicBezTo>
                  <a:pt x="1177121" y="1111094"/>
                  <a:pt x="1177637" y="1115276"/>
                  <a:pt x="1178051" y="1116515"/>
                </a:cubicBezTo>
                <a:cubicBezTo>
                  <a:pt x="1178360" y="1117754"/>
                  <a:pt x="1179083" y="1118219"/>
                  <a:pt x="1179083" y="1118219"/>
                </a:cubicBezTo>
                <a:cubicBezTo>
                  <a:pt x="1177431" y="1118993"/>
                  <a:pt x="1172578" y="1108150"/>
                  <a:pt x="1171132" y="1105363"/>
                </a:cubicBezTo>
                <a:cubicBezTo>
                  <a:pt x="1171649" y="1104588"/>
                  <a:pt x="1171649" y="1104588"/>
                  <a:pt x="1171649" y="1104588"/>
                </a:cubicBezTo>
                <a:close/>
                <a:moveTo>
                  <a:pt x="1436191" y="1102574"/>
                </a:moveTo>
                <a:cubicBezTo>
                  <a:pt x="1437327" y="1102419"/>
                  <a:pt x="1438359" y="1102574"/>
                  <a:pt x="1439082" y="1102884"/>
                </a:cubicBezTo>
                <a:cubicBezTo>
                  <a:pt x="1439908" y="1103349"/>
                  <a:pt x="1440631" y="1103968"/>
                  <a:pt x="1441147" y="1104743"/>
                </a:cubicBezTo>
                <a:cubicBezTo>
                  <a:pt x="1441457" y="1105982"/>
                  <a:pt x="1440528" y="1107221"/>
                  <a:pt x="1438463" y="1108770"/>
                </a:cubicBezTo>
                <a:cubicBezTo>
                  <a:pt x="1436501" y="1108615"/>
                  <a:pt x="1435571" y="1105053"/>
                  <a:pt x="1434539" y="1103349"/>
                </a:cubicBezTo>
                <a:cubicBezTo>
                  <a:pt x="1435778" y="1103194"/>
                  <a:pt x="1436914" y="1103039"/>
                  <a:pt x="1436191" y="1102574"/>
                </a:cubicBezTo>
                <a:close/>
                <a:moveTo>
                  <a:pt x="1095136" y="1102419"/>
                </a:moveTo>
                <a:cubicBezTo>
                  <a:pt x="1097407" y="1102109"/>
                  <a:pt x="1098130" y="1102419"/>
                  <a:pt x="1098853" y="1102884"/>
                </a:cubicBezTo>
                <a:cubicBezTo>
                  <a:pt x="1098853" y="1102884"/>
                  <a:pt x="1097717" y="1103194"/>
                  <a:pt x="1097304" y="1103813"/>
                </a:cubicBezTo>
                <a:cubicBezTo>
                  <a:pt x="1097304" y="1103813"/>
                  <a:pt x="1096168" y="1104123"/>
                  <a:pt x="1094929" y="1104278"/>
                </a:cubicBezTo>
                <a:cubicBezTo>
                  <a:pt x="1094929" y="1104278"/>
                  <a:pt x="1094516" y="1104898"/>
                  <a:pt x="1094103" y="1105672"/>
                </a:cubicBezTo>
                <a:cubicBezTo>
                  <a:pt x="1091315" y="1106756"/>
                  <a:pt x="1089766" y="1107531"/>
                  <a:pt x="1087185" y="1105053"/>
                </a:cubicBezTo>
                <a:cubicBezTo>
                  <a:pt x="1087495" y="1104743"/>
                  <a:pt x="1088114" y="1104433"/>
                  <a:pt x="1088940" y="1104123"/>
                </a:cubicBezTo>
                <a:cubicBezTo>
                  <a:pt x="1089663" y="1103968"/>
                  <a:pt x="1090592" y="1103813"/>
                  <a:pt x="1091212" y="1103659"/>
                </a:cubicBezTo>
                <a:cubicBezTo>
                  <a:pt x="1091625" y="1103039"/>
                  <a:pt x="1092761" y="1102884"/>
                  <a:pt x="1093484" y="1103349"/>
                </a:cubicBezTo>
                <a:cubicBezTo>
                  <a:pt x="1093484" y="1103349"/>
                  <a:pt x="1094620" y="1103194"/>
                  <a:pt x="1095136" y="1102419"/>
                </a:cubicBezTo>
                <a:close/>
                <a:moveTo>
                  <a:pt x="1109178" y="1102109"/>
                </a:moveTo>
                <a:cubicBezTo>
                  <a:pt x="1112690" y="1102729"/>
                  <a:pt x="1117542" y="1108615"/>
                  <a:pt x="1118162" y="1111248"/>
                </a:cubicBezTo>
                <a:cubicBezTo>
                  <a:pt x="1116716" y="1113417"/>
                  <a:pt x="1114755" y="1114346"/>
                  <a:pt x="1112896" y="1114192"/>
                </a:cubicBezTo>
                <a:cubicBezTo>
                  <a:pt x="1109798" y="1114037"/>
                  <a:pt x="1106803" y="1111403"/>
                  <a:pt x="1106081" y="1108306"/>
                </a:cubicBezTo>
                <a:cubicBezTo>
                  <a:pt x="1105771" y="1107376"/>
                  <a:pt x="1105771" y="1106292"/>
                  <a:pt x="1106081" y="1105363"/>
                </a:cubicBezTo>
                <a:cubicBezTo>
                  <a:pt x="1106494" y="1104123"/>
                  <a:pt x="1107527" y="1103039"/>
                  <a:pt x="1109178" y="1102109"/>
                </a:cubicBezTo>
                <a:close/>
                <a:moveTo>
                  <a:pt x="4280560" y="1102015"/>
                </a:moveTo>
                <a:cubicBezTo>
                  <a:pt x="4281627" y="1102726"/>
                  <a:pt x="4282053" y="1101588"/>
                  <a:pt x="4283121" y="1102300"/>
                </a:cubicBezTo>
                <a:cubicBezTo>
                  <a:pt x="4285682" y="1102441"/>
                  <a:pt x="4286749" y="1103011"/>
                  <a:pt x="4287389" y="1104576"/>
                </a:cubicBezTo>
                <a:cubicBezTo>
                  <a:pt x="4288456" y="1105287"/>
                  <a:pt x="4288029" y="1106283"/>
                  <a:pt x="4288456" y="1107990"/>
                </a:cubicBezTo>
                <a:cubicBezTo>
                  <a:pt x="4288029" y="1108986"/>
                  <a:pt x="4286536" y="1109413"/>
                  <a:pt x="4286536" y="1109413"/>
                </a:cubicBezTo>
                <a:cubicBezTo>
                  <a:pt x="4285041" y="1109840"/>
                  <a:pt x="4284828" y="1109840"/>
                  <a:pt x="4285468" y="1111547"/>
                </a:cubicBezTo>
                <a:cubicBezTo>
                  <a:pt x="4285468" y="1111547"/>
                  <a:pt x="4284615" y="1110836"/>
                  <a:pt x="4284615" y="1110836"/>
                </a:cubicBezTo>
                <a:cubicBezTo>
                  <a:pt x="4285041" y="1109840"/>
                  <a:pt x="4284401" y="1110836"/>
                  <a:pt x="4282908" y="1111262"/>
                </a:cubicBezTo>
                <a:cubicBezTo>
                  <a:pt x="4281200" y="1109128"/>
                  <a:pt x="4280133" y="1108417"/>
                  <a:pt x="4279706" y="1106710"/>
                </a:cubicBezTo>
                <a:cubicBezTo>
                  <a:pt x="4279279" y="1105998"/>
                  <a:pt x="4279279" y="1105003"/>
                  <a:pt x="4279279" y="1104006"/>
                </a:cubicBezTo>
                <a:cubicBezTo>
                  <a:pt x="4279279" y="1103153"/>
                  <a:pt x="4279706" y="1102300"/>
                  <a:pt x="4280560" y="1102015"/>
                </a:cubicBezTo>
                <a:close/>
                <a:moveTo>
                  <a:pt x="1564022" y="1101800"/>
                </a:moveTo>
                <a:cubicBezTo>
                  <a:pt x="1564642" y="1104433"/>
                  <a:pt x="1564848" y="1106137"/>
                  <a:pt x="1564745" y="1109080"/>
                </a:cubicBezTo>
                <a:cubicBezTo>
                  <a:pt x="1564745" y="1109080"/>
                  <a:pt x="1563609" y="1113572"/>
                  <a:pt x="1560511" y="1113262"/>
                </a:cubicBezTo>
                <a:cubicBezTo>
                  <a:pt x="1559789" y="1113727"/>
                  <a:pt x="1557930" y="1110784"/>
                  <a:pt x="1558240" y="1109544"/>
                </a:cubicBezTo>
                <a:cubicBezTo>
                  <a:pt x="1558756" y="1107376"/>
                  <a:pt x="1558963" y="1106292"/>
                  <a:pt x="1560511" y="1105517"/>
                </a:cubicBezTo>
                <a:cubicBezTo>
                  <a:pt x="1560718" y="1104433"/>
                  <a:pt x="1561028" y="1103349"/>
                  <a:pt x="1561544" y="1102574"/>
                </a:cubicBezTo>
                <a:cubicBezTo>
                  <a:pt x="1562061" y="1101800"/>
                  <a:pt x="1562886" y="1101490"/>
                  <a:pt x="1564022" y="1101800"/>
                </a:cubicBezTo>
                <a:close/>
                <a:moveTo>
                  <a:pt x="4973107" y="1100592"/>
                </a:moveTo>
                <a:cubicBezTo>
                  <a:pt x="4973534" y="1103153"/>
                  <a:pt x="4975028" y="1104860"/>
                  <a:pt x="4975454" y="1107421"/>
                </a:cubicBezTo>
                <a:cubicBezTo>
                  <a:pt x="4973747" y="1111262"/>
                  <a:pt x="4965637" y="1114819"/>
                  <a:pt x="4962009" y="1112401"/>
                </a:cubicBezTo>
                <a:cubicBezTo>
                  <a:pt x="4960729" y="1111689"/>
                  <a:pt x="4959875" y="1110266"/>
                  <a:pt x="4959875" y="1107990"/>
                </a:cubicBezTo>
                <a:cubicBezTo>
                  <a:pt x="4960729" y="1101161"/>
                  <a:pt x="4966491" y="1100450"/>
                  <a:pt x="4973107" y="1100592"/>
                </a:cubicBezTo>
                <a:close/>
                <a:moveTo>
                  <a:pt x="1075311" y="1099786"/>
                </a:moveTo>
                <a:cubicBezTo>
                  <a:pt x="1077169" y="1099166"/>
                  <a:pt x="1077169" y="1099166"/>
                  <a:pt x="1078099" y="1100096"/>
                </a:cubicBezTo>
                <a:cubicBezTo>
                  <a:pt x="1078925" y="1101025"/>
                  <a:pt x="1077995" y="1103504"/>
                  <a:pt x="1078925" y="1104433"/>
                </a:cubicBezTo>
                <a:cubicBezTo>
                  <a:pt x="1078925" y="1104433"/>
                  <a:pt x="1078925" y="1104588"/>
                  <a:pt x="1077066" y="1105208"/>
                </a:cubicBezTo>
                <a:cubicBezTo>
                  <a:pt x="1076240" y="1105053"/>
                  <a:pt x="1075311" y="1105053"/>
                  <a:pt x="1074381" y="1104123"/>
                </a:cubicBezTo>
                <a:cubicBezTo>
                  <a:pt x="1073555" y="1103039"/>
                  <a:pt x="1073555" y="1101335"/>
                  <a:pt x="1073555" y="1100561"/>
                </a:cubicBezTo>
                <a:cubicBezTo>
                  <a:pt x="1074485" y="1100561"/>
                  <a:pt x="1074485" y="1099786"/>
                  <a:pt x="1075311" y="1099786"/>
                </a:cubicBezTo>
                <a:close/>
                <a:moveTo>
                  <a:pt x="4407545" y="1099169"/>
                </a:moveTo>
                <a:cubicBezTo>
                  <a:pt x="4407545" y="1099169"/>
                  <a:pt x="4408185" y="1099881"/>
                  <a:pt x="4408825" y="1100734"/>
                </a:cubicBezTo>
                <a:cubicBezTo>
                  <a:pt x="4409679" y="1101588"/>
                  <a:pt x="4410319" y="1102584"/>
                  <a:pt x="4410105" y="1103438"/>
                </a:cubicBezTo>
                <a:cubicBezTo>
                  <a:pt x="4410532" y="1105998"/>
                  <a:pt x="4405624" y="1104860"/>
                  <a:pt x="4404770" y="1105430"/>
                </a:cubicBezTo>
                <a:cubicBezTo>
                  <a:pt x="4403276" y="1105003"/>
                  <a:pt x="4401569" y="1104576"/>
                  <a:pt x="4401782" y="1103011"/>
                </a:cubicBezTo>
                <a:cubicBezTo>
                  <a:pt x="4402209" y="1101304"/>
                  <a:pt x="4401355" y="1100307"/>
                  <a:pt x="4403917" y="1100166"/>
                </a:cubicBezTo>
                <a:cubicBezTo>
                  <a:pt x="4404984" y="1099454"/>
                  <a:pt x="4406477" y="1099881"/>
                  <a:pt x="4407545" y="1099169"/>
                </a:cubicBezTo>
                <a:close/>
                <a:moveTo>
                  <a:pt x="1453538" y="1098392"/>
                </a:moveTo>
                <a:cubicBezTo>
                  <a:pt x="1454261" y="1099321"/>
                  <a:pt x="1454158" y="1100096"/>
                  <a:pt x="1454054" y="1100870"/>
                </a:cubicBezTo>
                <a:cubicBezTo>
                  <a:pt x="1453022" y="1101645"/>
                  <a:pt x="1452196" y="1101645"/>
                  <a:pt x="1451163" y="1102419"/>
                </a:cubicBezTo>
                <a:cubicBezTo>
                  <a:pt x="1451060" y="1103194"/>
                  <a:pt x="1450750" y="1104898"/>
                  <a:pt x="1449718" y="1105672"/>
                </a:cubicBezTo>
                <a:lnTo>
                  <a:pt x="1449614" y="1105672"/>
                </a:lnTo>
                <a:lnTo>
                  <a:pt x="1449098" y="1107686"/>
                </a:lnTo>
                <a:lnTo>
                  <a:pt x="1449821" y="1107376"/>
                </a:lnTo>
                <a:cubicBezTo>
                  <a:pt x="1453332" y="1108770"/>
                  <a:pt x="1452608" y="1110939"/>
                  <a:pt x="1452608" y="1114811"/>
                </a:cubicBezTo>
                <a:cubicBezTo>
                  <a:pt x="1451473" y="1114346"/>
                  <a:pt x="1450234" y="1117599"/>
                  <a:pt x="1449821" y="1118683"/>
                </a:cubicBezTo>
                <a:cubicBezTo>
                  <a:pt x="1447446" y="1117754"/>
                  <a:pt x="1445484" y="1121317"/>
                  <a:pt x="1441973" y="1119923"/>
                </a:cubicBezTo>
                <a:cubicBezTo>
                  <a:pt x="1441147" y="1118219"/>
                  <a:pt x="1440837" y="1117444"/>
                  <a:pt x="1440837" y="1115586"/>
                </a:cubicBezTo>
                <a:lnTo>
                  <a:pt x="1443006" y="1112023"/>
                </a:lnTo>
                <a:lnTo>
                  <a:pt x="1441870" y="1112023"/>
                </a:lnTo>
                <a:cubicBezTo>
                  <a:pt x="1442386" y="1111558"/>
                  <a:pt x="1443419" y="1110319"/>
                  <a:pt x="1444452" y="1109390"/>
                </a:cubicBezTo>
                <a:lnTo>
                  <a:pt x="1445794" y="1108150"/>
                </a:lnTo>
                <a:lnTo>
                  <a:pt x="1445587" y="1107531"/>
                </a:lnTo>
                <a:cubicBezTo>
                  <a:pt x="1445381" y="1106292"/>
                  <a:pt x="1446000" y="1105053"/>
                  <a:pt x="1447033" y="1104588"/>
                </a:cubicBezTo>
                <a:lnTo>
                  <a:pt x="1448582" y="1104898"/>
                </a:lnTo>
                <a:lnTo>
                  <a:pt x="1449098" y="1104743"/>
                </a:lnTo>
                <a:cubicBezTo>
                  <a:pt x="1450027" y="1103968"/>
                  <a:pt x="1452505" y="1099941"/>
                  <a:pt x="1451783" y="1099011"/>
                </a:cubicBezTo>
                <a:cubicBezTo>
                  <a:pt x="1452608" y="1099166"/>
                  <a:pt x="1453538" y="1098392"/>
                  <a:pt x="1453538" y="1098392"/>
                </a:cubicBezTo>
                <a:close/>
                <a:moveTo>
                  <a:pt x="4533036" y="1098174"/>
                </a:moveTo>
                <a:cubicBezTo>
                  <a:pt x="4534529" y="1097889"/>
                  <a:pt x="4536450" y="1097889"/>
                  <a:pt x="4538371" y="1098458"/>
                </a:cubicBezTo>
                <a:cubicBezTo>
                  <a:pt x="4540719" y="1099312"/>
                  <a:pt x="4543493" y="1101161"/>
                  <a:pt x="4545840" y="1104291"/>
                </a:cubicBezTo>
                <a:cubicBezTo>
                  <a:pt x="4548402" y="1110409"/>
                  <a:pt x="4539651" y="1119372"/>
                  <a:pt x="4533889" y="1117949"/>
                </a:cubicBezTo>
                <a:cubicBezTo>
                  <a:pt x="4531328" y="1115531"/>
                  <a:pt x="4528980" y="1112970"/>
                  <a:pt x="4526419" y="1110551"/>
                </a:cubicBezTo>
                <a:cubicBezTo>
                  <a:pt x="4524925" y="1104433"/>
                  <a:pt x="4528127" y="1099312"/>
                  <a:pt x="4533036" y="1098174"/>
                </a:cubicBezTo>
                <a:close/>
                <a:moveTo>
                  <a:pt x="1375890" y="1097928"/>
                </a:moveTo>
                <a:cubicBezTo>
                  <a:pt x="1382188" y="1107376"/>
                  <a:pt x="1388383" y="1106756"/>
                  <a:pt x="1394166" y="1111094"/>
                </a:cubicBezTo>
                <a:cubicBezTo>
                  <a:pt x="1400877" y="1124570"/>
                  <a:pt x="1405317" y="1144551"/>
                  <a:pt x="1394579" y="1156943"/>
                </a:cubicBezTo>
                <a:cubicBezTo>
                  <a:pt x="1385699" y="1167166"/>
                  <a:pt x="1374444" y="1163603"/>
                  <a:pt x="1361743" y="1167321"/>
                </a:cubicBezTo>
                <a:cubicBezTo>
                  <a:pt x="1355548" y="1158027"/>
                  <a:pt x="1349249" y="1159421"/>
                  <a:pt x="1343157" y="1157563"/>
                </a:cubicBezTo>
                <a:cubicBezTo>
                  <a:pt x="1342125" y="1149972"/>
                  <a:pt x="1334794" y="1142073"/>
                  <a:pt x="1331076" y="1133864"/>
                </a:cubicBezTo>
                <a:cubicBezTo>
                  <a:pt x="1333244" y="1129216"/>
                  <a:pt x="1334587" y="1124724"/>
                  <a:pt x="1335929" y="1120232"/>
                </a:cubicBezTo>
                <a:lnTo>
                  <a:pt x="1338511" y="1112642"/>
                </a:lnTo>
                <a:lnTo>
                  <a:pt x="1335206" y="1110939"/>
                </a:lnTo>
                <a:lnTo>
                  <a:pt x="1339646" y="1109080"/>
                </a:lnTo>
                <a:lnTo>
                  <a:pt x="1340679" y="1106447"/>
                </a:lnTo>
                <a:cubicBezTo>
                  <a:pt x="1352244" y="1105827"/>
                  <a:pt x="1363086" y="1092506"/>
                  <a:pt x="1375890" y="1097928"/>
                </a:cubicBezTo>
                <a:close/>
                <a:moveTo>
                  <a:pt x="927654" y="1097618"/>
                </a:moveTo>
                <a:cubicBezTo>
                  <a:pt x="928480" y="1098547"/>
                  <a:pt x="928584" y="1097773"/>
                  <a:pt x="929409" y="1097773"/>
                </a:cubicBezTo>
                <a:cubicBezTo>
                  <a:pt x="931991" y="1100561"/>
                  <a:pt x="932817" y="1103039"/>
                  <a:pt x="931061" y="1105363"/>
                </a:cubicBezTo>
                <a:cubicBezTo>
                  <a:pt x="929203" y="1106911"/>
                  <a:pt x="926622" y="1109080"/>
                  <a:pt x="924040" y="1107221"/>
                </a:cubicBezTo>
                <a:cubicBezTo>
                  <a:pt x="924040" y="1106447"/>
                  <a:pt x="923111" y="1106292"/>
                  <a:pt x="923111" y="1105517"/>
                </a:cubicBezTo>
                <a:cubicBezTo>
                  <a:pt x="923111" y="1105517"/>
                  <a:pt x="922698" y="1104588"/>
                  <a:pt x="922595" y="1103349"/>
                </a:cubicBezTo>
                <a:cubicBezTo>
                  <a:pt x="922595" y="1102109"/>
                  <a:pt x="922801" y="1100406"/>
                  <a:pt x="924143" y="1099011"/>
                </a:cubicBezTo>
                <a:cubicBezTo>
                  <a:pt x="924556" y="1098547"/>
                  <a:pt x="925486" y="1098082"/>
                  <a:pt x="926208" y="1097773"/>
                </a:cubicBezTo>
                <a:cubicBezTo>
                  <a:pt x="927034" y="1097463"/>
                  <a:pt x="927654" y="1097308"/>
                  <a:pt x="927654" y="1097618"/>
                </a:cubicBezTo>
                <a:close/>
                <a:moveTo>
                  <a:pt x="4727674" y="1097320"/>
                </a:moveTo>
                <a:cubicBezTo>
                  <a:pt x="4734504" y="1103153"/>
                  <a:pt x="4740480" y="1112827"/>
                  <a:pt x="4741760" y="1115104"/>
                </a:cubicBezTo>
                <a:cubicBezTo>
                  <a:pt x="4742400" y="1116099"/>
                  <a:pt x="4742400" y="1116953"/>
                  <a:pt x="4742187" y="1117664"/>
                </a:cubicBezTo>
                <a:cubicBezTo>
                  <a:pt x="4741760" y="1118376"/>
                  <a:pt x="4741120" y="1119087"/>
                  <a:pt x="4739839" y="1119799"/>
                </a:cubicBezTo>
                <a:cubicBezTo>
                  <a:pt x="4734077" y="1120510"/>
                  <a:pt x="4732369" y="1114961"/>
                  <a:pt x="4728314" y="1110836"/>
                </a:cubicBezTo>
                <a:cubicBezTo>
                  <a:pt x="4728954" y="1109840"/>
                  <a:pt x="4728741" y="1108133"/>
                  <a:pt x="4727674" y="1107563"/>
                </a:cubicBezTo>
                <a:cubicBezTo>
                  <a:pt x="4727461" y="1105856"/>
                  <a:pt x="4727247" y="1104291"/>
                  <a:pt x="4726607" y="1105287"/>
                </a:cubicBezTo>
                <a:cubicBezTo>
                  <a:pt x="4725753" y="1100450"/>
                  <a:pt x="4724686" y="1099739"/>
                  <a:pt x="4727674" y="1097320"/>
                </a:cubicBezTo>
                <a:close/>
                <a:moveTo>
                  <a:pt x="1457668" y="1097308"/>
                </a:moveTo>
                <a:cubicBezTo>
                  <a:pt x="1459320" y="1097308"/>
                  <a:pt x="1461489" y="1098547"/>
                  <a:pt x="1463038" y="1100870"/>
                </a:cubicBezTo>
                <a:cubicBezTo>
                  <a:pt x="1461592" y="1102419"/>
                  <a:pt x="1459940" y="1102884"/>
                  <a:pt x="1458494" y="1102884"/>
                </a:cubicBezTo>
                <a:lnTo>
                  <a:pt x="1457359" y="1102419"/>
                </a:lnTo>
                <a:lnTo>
                  <a:pt x="1456429" y="1102109"/>
                </a:lnTo>
                <a:lnTo>
                  <a:pt x="1454261" y="1101180"/>
                </a:lnTo>
                <a:cubicBezTo>
                  <a:pt x="1454467" y="1098702"/>
                  <a:pt x="1455913" y="1097308"/>
                  <a:pt x="1457668" y="1097308"/>
                </a:cubicBezTo>
                <a:close/>
                <a:moveTo>
                  <a:pt x="1053007" y="1096378"/>
                </a:moveTo>
                <a:cubicBezTo>
                  <a:pt x="1059719" y="1094055"/>
                  <a:pt x="1067257" y="1094210"/>
                  <a:pt x="1070664" y="1099321"/>
                </a:cubicBezTo>
                <a:cubicBezTo>
                  <a:pt x="1058170" y="1098547"/>
                  <a:pt x="1053110" y="1110784"/>
                  <a:pt x="1039377" y="1107686"/>
                </a:cubicBezTo>
                <a:cubicBezTo>
                  <a:pt x="1039997" y="1103349"/>
                  <a:pt x="1046192" y="1098702"/>
                  <a:pt x="1053007" y="1096378"/>
                </a:cubicBezTo>
                <a:close/>
                <a:moveTo>
                  <a:pt x="1404388" y="1095914"/>
                </a:moveTo>
                <a:cubicBezTo>
                  <a:pt x="1408415" y="1100715"/>
                  <a:pt x="1409861" y="1104743"/>
                  <a:pt x="1404491" y="1110009"/>
                </a:cubicBezTo>
                <a:cubicBezTo>
                  <a:pt x="1401084" y="1109854"/>
                  <a:pt x="1399741" y="1106911"/>
                  <a:pt x="1399845" y="1103813"/>
                </a:cubicBezTo>
                <a:cubicBezTo>
                  <a:pt x="1400051" y="1100715"/>
                  <a:pt x="1401703" y="1097308"/>
                  <a:pt x="1404388" y="1095914"/>
                </a:cubicBezTo>
                <a:close/>
                <a:moveTo>
                  <a:pt x="4694167" y="1095470"/>
                </a:moveTo>
                <a:cubicBezTo>
                  <a:pt x="4694381" y="1095755"/>
                  <a:pt x="4695021" y="1096324"/>
                  <a:pt x="4696301" y="1096751"/>
                </a:cubicBezTo>
                <a:cubicBezTo>
                  <a:pt x="4697582" y="1097889"/>
                  <a:pt x="4698649" y="1097747"/>
                  <a:pt x="4697796" y="1098885"/>
                </a:cubicBezTo>
                <a:cubicBezTo>
                  <a:pt x="4696728" y="1100166"/>
                  <a:pt x="4696728" y="1100166"/>
                  <a:pt x="4693527" y="1100307"/>
                </a:cubicBezTo>
                <a:cubicBezTo>
                  <a:pt x="4694381" y="1099169"/>
                  <a:pt x="4694381" y="1099169"/>
                  <a:pt x="4693100" y="1098174"/>
                </a:cubicBezTo>
                <a:cubicBezTo>
                  <a:pt x="4693100" y="1098174"/>
                  <a:pt x="4693100" y="1098031"/>
                  <a:pt x="4692033" y="1098174"/>
                </a:cubicBezTo>
                <a:cubicBezTo>
                  <a:pt x="4691820" y="1097035"/>
                  <a:pt x="4692887" y="1097035"/>
                  <a:pt x="4692887" y="1095897"/>
                </a:cubicBezTo>
                <a:cubicBezTo>
                  <a:pt x="4692887" y="1095897"/>
                  <a:pt x="4693954" y="1095755"/>
                  <a:pt x="4693954" y="1095755"/>
                </a:cubicBezTo>
                <a:cubicBezTo>
                  <a:pt x="4693741" y="1095186"/>
                  <a:pt x="4693741" y="1095186"/>
                  <a:pt x="4694167" y="1095470"/>
                </a:cubicBezTo>
                <a:close/>
                <a:moveTo>
                  <a:pt x="5132105" y="1094617"/>
                </a:moveTo>
                <a:cubicBezTo>
                  <a:pt x="5133172" y="1094332"/>
                  <a:pt x="5134452" y="1094332"/>
                  <a:pt x="5136160" y="1095470"/>
                </a:cubicBezTo>
                <a:cubicBezTo>
                  <a:pt x="5134879" y="1098743"/>
                  <a:pt x="5133172" y="1100876"/>
                  <a:pt x="5131891" y="1104006"/>
                </a:cubicBezTo>
                <a:cubicBezTo>
                  <a:pt x="5126769" y="1104006"/>
                  <a:pt x="5127623" y="1099596"/>
                  <a:pt x="5128477" y="1095329"/>
                </a:cubicBezTo>
                <a:cubicBezTo>
                  <a:pt x="5129757" y="1095470"/>
                  <a:pt x="5130824" y="1094902"/>
                  <a:pt x="5132105" y="1094617"/>
                </a:cubicBezTo>
                <a:close/>
                <a:moveTo>
                  <a:pt x="1427311" y="1093900"/>
                </a:moveTo>
                <a:cubicBezTo>
                  <a:pt x="1428137" y="1098082"/>
                  <a:pt x="1431235" y="1103504"/>
                  <a:pt x="1430202" y="1107376"/>
                </a:cubicBezTo>
                <a:cubicBezTo>
                  <a:pt x="1429583" y="1105827"/>
                  <a:pt x="1426692" y="1096688"/>
                  <a:pt x="1427311" y="1093900"/>
                </a:cubicBezTo>
                <a:close/>
                <a:moveTo>
                  <a:pt x="968544" y="1093281"/>
                </a:moveTo>
                <a:cubicBezTo>
                  <a:pt x="969369" y="1094210"/>
                  <a:pt x="972054" y="1094520"/>
                  <a:pt x="973913" y="1095604"/>
                </a:cubicBezTo>
                <a:cubicBezTo>
                  <a:pt x="973810" y="1096378"/>
                  <a:pt x="974739" y="1097308"/>
                  <a:pt x="974739" y="1098082"/>
                </a:cubicBezTo>
                <a:cubicBezTo>
                  <a:pt x="973913" y="1097928"/>
                  <a:pt x="972054" y="1098547"/>
                  <a:pt x="972054" y="1097773"/>
                </a:cubicBezTo>
                <a:cubicBezTo>
                  <a:pt x="971125" y="1097618"/>
                  <a:pt x="971125" y="1096069"/>
                  <a:pt x="971125" y="1096069"/>
                </a:cubicBezTo>
                <a:cubicBezTo>
                  <a:pt x="970299" y="1095914"/>
                  <a:pt x="969369" y="1095914"/>
                  <a:pt x="968440" y="1094985"/>
                </a:cubicBezTo>
                <a:cubicBezTo>
                  <a:pt x="969369" y="1094210"/>
                  <a:pt x="968544" y="1094210"/>
                  <a:pt x="968544" y="1093281"/>
                </a:cubicBezTo>
                <a:close/>
                <a:moveTo>
                  <a:pt x="1427414" y="1091886"/>
                </a:moveTo>
                <a:cubicBezTo>
                  <a:pt x="1427105" y="1092971"/>
                  <a:pt x="1427105" y="1092971"/>
                  <a:pt x="1427414" y="1093745"/>
                </a:cubicBezTo>
                <a:cubicBezTo>
                  <a:pt x="1427414" y="1093745"/>
                  <a:pt x="1426382" y="1093126"/>
                  <a:pt x="1426382" y="1093126"/>
                </a:cubicBezTo>
                <a:cubicBezTo>
                  <a:pt x="1426692" y="1092042"/>
                  <a:pt x="1425969" y="1092351"/>
                  <a:pt x="1427414" y="1091886"/>
                </a:cubicBezTo>
                <a:close/>
                <a:moveTo>
                  <a:pt x="3385264" y="1090065"/>
                </a:moveTo>
                <a:cubicBezTo>
                  <a:pt x="3383130" y="1089495"/>
                  <a:pt x="3380782" y="1090775"/>
                  <a:pt x="3378648" y="1091345"/>
                </a:cubicBezTo>
                <a:lnTo>
                  <a:pt x="3377794" y="1091345"/>
                </a:lnTo>
                <a:lnTo>
                  <a:pt x="3379928" y="1092483"/>
                </a:lnTo>
                <a:lnTo>
                  <a:pt x="3380996" y="1094190"/>
                </a:lnTo>
                <a:lnTo>
                  <a:pt x="3386117" y="1090918"/>
                </a:lnTo>
                <a:close/>
                <a:moveTo>
                  <a:pt x="4516602" y="1089638"/>
                </a:moveTo>
                <a:cubicBezTo>
                  <a:pt x="4517882" y="1089495"/>
                  <a:pt x="4519590" y="1089638"/>
                  <a:pt x="4521084" y="1090065"/>
                </a:cubicBezTo>
                <a:cubicBezTo>
                  <a:pt x="4526633" y="1102015"/>
                  <a:pt x="4517029" y="1120510"/>
                  <a:pt x="4506785" y="1113539"/>
                </a:cubicBezTo>
                <a:cubicBezTo>
                  <a:pt x="4505504" y="1112543"/>
                  <a:pt x="4504011" y="1110978"/>
                  <a:pt x="4502516" y="1108843"/>
                </a:cubicBezTo>
                <a:cubicBezTo>
                  <a:pt x="4504864" y="1102300"/>
                  <a:pt x="4507211" y="1090207"/>
                  <a:pt x="4516602" y="1089638"/>
                </a:cubicBezTo>
                <a:close/>
                <a:moveTo>
                  <a:pt x="3295414" y="1089638"/>
                </a:moveTo>
                <a:lnTo>
                  <a:pt x="3294134" y="1091629"/>
                </a:lnTo>
                <a:lnTo>
                  <a:pt x="3296054" y="1091060"/>
                </a:lnTo>
                <a:close/>
                <a:moveTo>
                  <a:pt x="1212951" y="1089563"/>
                </a:moveTo>
                <a:cubicBezTo>
                  <a:pt x="1216152" y="1092661"/>
                  <a:pt x="1216978" y="1095294"/>
                  <a:pt x="1216772" y="1097618"/>
                </a:cubicBezTo>
                <a:lnTo>
                  <a:pt x="1214293" y="1104278"/>
                </a:lnTo>
                <a:lnTo>
                  <a:pt x="1216875" y="1107686"/>
                </a:lnTo>
                <a:cubicBezTo>
                  <a:pt x="1214500" y="1107996"/>
                  <a:pt x="1215429" y="1113417"/>
                  <a:pt x="1211815" y="1114037"/>
                </a:cubicBezTo>
                <a:cubicBezTo>
                  <a:pt x="1201386" y="1116825"/>
                  <a:pt x="1199941" y="1114037"/>
                  <a:pt x="1195914" y="1108615"/>
                </a:cubicBezTo>
                <a:cubicBezTo>
                  <a:pt x="1196636" y="1109080"/>
                  <a:pt x="1196327" y="1107996"/>
                  <a:pt x="1196327" y="1107996"/>
                </a:cubicBezTo>
                <a:cubicBezTo>
                  <a:pt x="1195707" y="1105517"/>
                  <a:pt x="1192300" y="1109080"/>
                  <a:pt x="1190854" y="1106292"/>
                </a:cubicBezTo>
                <a:cubicBezTo>
                  <a:pt x="1190441" y="1105053"/>
                  <a:pt x="1190338" y="1103968"/>
                  <a:pt x="1190544" y="1102884"/>
                </a:cubicBezTo>
                <a:cubicBezTo>
                  <a:pt x="1191164" y="1099631"/>
                  <a:pt x="1194158" y="1096998"/>
                  <a:pt x="1196017" y="1095604"/>
                </a:cubicBezTo>
                <a:lnTo>
                  <a:pt x="1196430" y="1095139"/>
                </a:lnTo>
                <a:lnTo>
                  <a:pt x="1196946" y="1094055"/>
                </a:lnTo>
                <a:lnTo>
                  <a:pt x="1196636" y="1093900"/>
                </a:lnTo>
                <a:lnTo>
                  <a:pt x="1196946" y="1093900"/>
                </a:lnTo>
                <a:lnTo>
                  <a:pt x="1197772" y="1091886"/>
                </a:lnTo>
                <a:lnTo>
                  <a:pt x="1199218" y="1092661"/>
                </a:lnTo>
                <a:lnTo>
                  <a:pt x="1201799" y="1091731"/>
                </a:lnTo>
                <a:cubicBezTo>
                  <a:pt x="1202626" y="1091731"/>
                  <a:pt x="1203245" y="1092042"/>
                  <a:pt x="1203555" y="1093281"/>
                </a:cubicBezTo>
                <a:cubicBezTo>
                  <a:pt x="1204691" y="1094985"/>
                  <a:pt x="1202935" y="1095914"/>
                  <a:pt x="1203658" y="1098237"/>
                </a:cubicBezTo>
                <a:cubicBezTo>
                  <a:pt x="1204484" y="1100251"/>
                  <a:pt x="1206962" y="1100561"/>
                  <a:pt x="1209647" y="1101335"/>
                </a:cubicBezTo>
                <a:lnTo>
                  <a:pt x="1212641" y="1102884"/>
                </a:lnTo>
                <a:lnTo>
                  <a:pt x="1211815" y="1101955"/>
                </a:lnTo>
                <a:cubicBezTo>
                  <a:pt x="1209647" y="1098392"/>
                  <a:pt x="1208718" y="1092661"/>
                  <a:pt x="1212951" y="1089563"/>
                </a:cubicBezTo>
                <a:close/>
                <a:moveTo>
                  <a:pt x="1290703" y="1089408"/>
                </a:moveTo>
                <a:cubicBezTo>
                  <a:pt x="1292871" y="1095449"/>
                  <a:pt x="1292045" y="1101490"/>
                  <a:pt x="1289154" y="1106447"/>
                </a:cubicBezTo>
                <a:cubicBezTo>
                  <a:pt x="1284404" y="1114966"/>
                  <a:pt x="1274285" y="1120697"/>
                  <a:pt x="1263753" y="1119923"/>
                </a:cubicBezTo>
                <a:cubicBezTo>
                  <a:pt x="1263547" y="1118838"/>
                  <a:pt x="1263237" y="1117599"/>
                  <a:pt x="1262101" y="1118064"/>
                </a:cubicBezTo>
                <a:cubicBezTo>
                  <a:pt x="1261585" y="1116205"/>
                  <a:pt x="1261378" y="1114346"/>
                  <a:pt x="1261481" y="1112488"/>
                </a:cubicBezTo>
                <a:cubicBezTo>
                  <a:pt x="1262307" y="1099321"/>
                  <a:pt x="1277590" y="1085691"/>
                  <a:pt x="1290703" y="1089408"/>
                </a:cubicBezTo>
                <a:close/>
                <a:moveTo>
                  <a:pt x="976804" y="1089408"/>
                </a:moveTo>
                <a:cubicBezTo>
                  <a:pt x="977320" y="1089408"/>
                  <a:pt x="977734" y="1089563"/>
                  <a:pt x="978146" y="1090028"/>
                </a:cubicBezTo>
                <a:cubicBezTo>
                  <a:pt x="978146" y="1090028"/>
                  <a:pt x="978972" y="1090957"/>
                  <a:pt x="979902" y="1091886"/>
                </a:cubicBezTo>
                <a:cubicBezTo>
                  <a:pt x="980728" y="1092816"/>
                  <a:pt x="981554" y="1092971"/>
                  <a:pt x="981554" y="1092971"/>
                </a:cubicBezTo>
                <a:cubicBezTo>
                  <a:pt x="982380" y="1093900"/>
                  <a:pt x="982380" y="1094830"/>
                  <a:pt x="981554" y="1095604"/>
                </a:cubicBezTo>
                <a:cubicBezTo>
                  <a:pt x="981554" y="1095604"/>
                  <a:pt x="979798" y="1094520"/>
                  <a:pt x="979798" y="1094520"/>
                </a:cubicBezTo>
                <a:cubicBezTo>
                  <a:pt x="978043" y="1092661"/>
                  <a:pt x="977217" y="1091731"/>
                  <a:pt x="975462" y="1090647"/>
                </a:cubicBezTo>
                <a:cubicBezTo>
                  <a:pt x="975978" y="1089873"/>
                  <a:pt x="976391" y="1089408"/>
                  <a:pt x="976804" y="1089408"/>
                </a:cubicBezTo>
                <a:close/>
                <a:moveTo>
                  <a:pt x="4385135" y="1089210"/>
                </a:moveTo>
                <a:cubicBezTo>
                  <a:pt x="4390684" y="1091629"/>
                  <a:pt x="4392392" y="1095755"/>
                  <a:pt x="4391751" y="1100592"/>
                </a:cubicBezTo>
                <a:cubicBezTo>
                  <a:pt x="4386630" y="1104433"/>
                  <a:pt x="4379160" y="1098885"/>
                  <a:pt x="4380013" y="1092910"/>
                </a:cubicBezTo>
                <a:cubicBezTo>
                  <a:pt x="4381294" y="1091914"/>
                  <a:pt x="4382788" y="1089780"/>
                  <a:pt x="4385135" y="1089210"/>
                </a:cubicBezTo>
                <a:close/>
                <a:moveTo>
                  <a:pt x="1137781" y="1088634"/>
                </a:moveTo>
                <a:cubicBezTo>
                  <a:pt x="1139949" y="1094055"/>
                  <a:pt x="1143872" y="1099631"/>
                  <a:pt x="1144286" y="1105517"/>
                </a:cubicBezTo>
                <a:cubicBezTo>
                  <a:pt x="1139846" y="1103504"/>
                  <a:pt x="1134683" y="1097773"/>
                  <a:pt x="1135199" y="1092971"/>
                </a:cubicBezTo>
                <a:cubicBezTo>
                  <a:pt x="1135405" y="1091422"/>
                  <a:pt x="1136128" y="1089873"/>
                  <a:pt x="1137781" y="1088634"/>
                </a:cubicBezTo>
                <a:close/>
                <a:moveTo>
                  <a:pt x="4341598" y="1088215"/>
                </a:moveTo>
                <a:cubicBezTo>
                  <a:pt x="4338396" y="1095755"/>
                  <a:pt x="4336476" y="1105003"/>
                  <a:pt x="4330927" y="1111689"/>
                </a:cubicBezTo>
                <a:cubicBezTo>
                  <a:pt x="4327725" y="1103865"/>
                  <a:pt x="4330287" y="1087930"/>
                  <a:pt x="4341598" y="1088215"/>
                </a:cubicBezTo>
                <a:close/>
                <a:moveTo>
                  <a:pt x="4854659" y="1088073"/>
                </a:moveTo>
                <a:cubicBezTo>
                  <a:pt x="4855940" y="1087930"/>
                  <a:pt x="4857006" y="1088215"/>
                  <a:pt x="4858073" y="1088784"/>
                </a:cubicBezTo>
                <a:cubicBezTo>
                  <a:pt x="4859141" y="1090065"/>
                  <a:pt x="4858928" y="1092483"/>
                  <a:pt x="4857433" y="1096039"/>
                </a:cubicBezTo>
                <a:cubicBezTo>
                  <a:pt x="4854873" y="1097178"/>
                  <a:pt x="4851885" y="1093479"/>
                  <a:pt x="4849750" y="1092340"/>
                </a:cubicBezTo>
                <a:cubicBezTo>
                  <a:pt x="4851031" y="1091060"/>
                  <a:pt x="4852311" y="1089922"/>
                  <a:pt x="4851244" y="1089922"/>
                </a:cubicBezTo>
                <a:cubicBezTo>
                  <a:pt x="4852311" y="1088642"/>
                  <a:pt x="4853592" y="1088073"/>
                  <a:pt x="4854659" y="1088073"/>
                </a:cubicBezTo>
                <a:close/>
                <a:moveTo>
                  <a:pt x="1425762" y="1087859"/>
                </a:moveTo>
                <a:cubicBezTo>
                  <a:pt x="1426072" y="1088634"/>
                  <a:pt x="1426485" y="1089563"/>
                  <a:pt x="1425762" y="1089718"/>
                </a:cubicBezTo>
                <a:cubicBezTo>
                  <a:pt x="1425349" y="1089873"/>
                  <a:pt x="1425142" y="1089718"/>
                  <a:pt x="1425039" y="1089408"/>
                </a:cubicBezTo>
                <a:cubicBezTo>
                  <a:pt x="1424833" y="1088943"/>
                  <a:pt x="1424833" y="1088478"/>
                  <a:pt x="1425039" y="1088014"/>
                </a:cubicBezTo>
                <a:cubicBezTo>
                  <a:pt x="1425039" y="1088014"/>
                  <a:pt x="1425762" y="1087859"/>
                  <a:pt x="1425762" y="1087859"/>
                </a:cubicBezTo>
                <a:close/>
                <a:moveTo>
                  <a:pt x="3621733" y="1087503"/>
                </a:moveTo>
                <a:cubicBezTo>
                  <a:pt x="3622800" y="1087646"/>
                  <a:pt x="3622587" y="1088784"/>
                  <a:pt x="3623653" y="1088926"/>
                </a:cubicBezTo>
                <a:cubicBezTo>
                  <a:pt x="3623653" y="1088926"/>
                  <a:pt x="3623653" y="1090207"/>
                  <a:pt x="3623653" y="1090207"/>
                </a:cubicBezTo>
                <a:cubicBezTo>
                  <a:pt x="3624294" y="1090207"/>
                  <a:pt x="3624294" y="1090207"/>
                  <a:pt x="3623867" y="1090349"/>
                </a:cubicBezTo>
                <a:cubicBezTo>
                  <a:pt x="3623653" y="1090633"/>
                  <a:pt x="3623013" y="1091202"/>
                  <a:pt x="3622587" y="1092198"/>
                </a:cubicBezTo>
                <a:cubicBezTo>
                  <a:pt x="3621306" y="1093194"/>
                  <a:pt x="3621093" y="1094332"/>
                  <a:pt x="3620239" y="1093052"/>
                </a:cubicBezTo>
                <a:cubicBezTo>
                  <a:pt x="3619172" y="1091629"/>
                  <a:pt x="3619172" y="1091771"/>
                  <a:pt x="3619385" y="1088215"/>
                </a:cubicBezTo>
                <a:cubicBezTo>
                  <a:pt x="3620453" y="1089638"/>
                  <a:pt x="3620453" y="1089638"/>
                  <a:pt x="3621520" y="1088642"/>
                </a:cubicBezTo>
                <a:cubicBezTo>
                  <a:pt x="3621520" y="1088642"/>
                  <a:pt x="3621520" y="1088642"/>
                  <a:pt x="3621733" y="1087503"/>
                </a:cubicBezTo>
                <a:close/>
                <a:moveTo>
                  <a:pt x="1044230" y="1085845"/>
                </a:moveTo>
                <a:cubicBezTo>
                  <a:pt x="1045160" y="1085071"/>
                  <a:pt x="1046915" y="1085226"/>
                  <a:pt x="1049496" y="1086310"/>
                </a:cubicBezTo>
                <a:cubicBezTo>
                  <a:pt x="1050323" y="1088014"/>
                  <a:pt x="1047638" y="1090338"/>
                  <a:pt x="1046812" y="1091886"/>
                </a:cubicBezTo>
                <a:cubicBezTo>
                  <a:pt x="1045883" y="1090957"/>
                  <a:pt x="1045056" y="1090028"/>
                  <a:pt x="1045056" y="1090802"/>
                </a:cubicBezTo>
                <a:cubicBezTo>
                  <a:pt x="1044127" y="1089873"/>
                  <a:pt x="1043817" y="1089098"/>
                  <a:pt x="1043714" y="1088324"/>
                </a:cubicBezTo>
                <a:cubicBezTo>
                  <a:pt x="1043611" y="1087395"/>
                  <a:pt x="1043817" y="1086620"/>
                  <a:pt x="1044230" y="1085845"/>
                </a:cubicBezTo>
                <a:close/>
                <a:moveTo>
                  <a:pt x="1482553" y="1085691"/>
                </a:moveTo>
                <a:cubicBezTo>
                  <a:pt x="1482863" y="1085691"/>
                  <a:pt x="1483276" y="1085691"/>
                  <a:pt x="1483586" y="1086000"/>
                </a:cubicBezTo>
                <a:cubicBezTo>
                  <a:pt x="1483586" y="1086000"/>
                  <a:pt x="1483586" y="1086000"/>
                  <a:pt x="1483482" y="1086775"/>
                </a:cubicBezTo>
                <a:cubicBezTo>
                  <a:pt x="1483482" y="1086775"/>
                  <a:pt x="1482656" y="1086775"/>
                  <a:pt x="1482037" y="1086000"/>
                </a:cubicBezTo>
                <a:cubicBezTo>
                  <a:pt x="1482037" y="1086000"/>
                  <a:pt x="1482346" y="1085845"/>
                  <a:pt x="1482553" y="1085691"/>
                </a:cubicBezTo>
                <a:close/>
                <a:moveTo>
                  <a:pt x="3855855" y="1085654"/>
                </a:moveTo>
                <a:cubicBezTo>
                  <a:pt x="3860336" y="1086508"/>
                  <a:pt x="3863965" y="1090491"/>
                  <a:pt x="3866098" y="1093052"/>
                </a:cubicBezTo>
                <a:lnTo>
                  <a:pt x="3866526" y="1093764"/>
                </a:lnTo>
                <a:lnTo>
                  <a:pt x="3868020" y="1094332"/>
                </a:lnTo>
                <a:lnTo>
                  <a:pt x="3868233" y="1093905"/>
                </a:lnTo>
                <a:lnTo>
                  <a:pt x="3868446" y="1094474"/>
                </a:lnTo>
                <a:lnTo>
                  <a:pt x="3871007" y="1095470"/>
                </a:lnTo>
                <a:lnTo>
                  <a:pt x="3870153" y="1097462"/>
                </a:lnTo>
                <a:lnTo>
                  <a:pt x="3871221" y="1101019"/>
                </a:lnTo>
                <a:cubicBezTo>
                  <a:pt x="3871221" y="1102300"/>
                  <a:pt x="3870794" y="1103011"/>
                  <a:pt x="3869086" y="1103438"/>
                </a:cubicBezTo>
                <a:cubicBezTo>
                  <a:pt x="3866953" y="1105003"/>
                  <a:pt x="3865672" y="1102726"/>
                  <a:pt x="3862470" y="1103580"/>
                </a:cubicBezTo>
                <a:cubicBezTo>
                  <a:pt x="3859696" y="1104718"/>
                  <a:pt x="3859269" y="1108133"/>
                  <a:pt x="3857989" y="1111832"/>
                </a:cubicBezTo>
                <a:lnTo>
                  <a:pt x="3855855" y="1115957"/>
                </a:lnTo>
                <a:lnTo>
                  <a:pt x="3857135" y="1114819"/>
                </a:lnTo>
                <a:cubicBezTo>
                  <a:pt x="3862257" y="1111974"/>
                  <a:pt x="3870153" y="1110551"/>
                  <a:pt x="3874209" y="1116384"/>
                </a:cubicBezTo>
                <a:cubicBezTo>
                  <a:pt x="3870153" y="1120794"/>
                  <a:pt x="3866526" y="1121933"/>
                  <a:pt x="3863111" y="1121648"/>
                </a:cubicBezTo>
                <a:lnTo>
                  <a:pt x="3853934" y="1118376"/>
                </a:lnTo>
                <a:lnTo>
                  <a:pt x="3849452" y="1121933"/>
                </a:lnTo>
                <a:cubicBezTo>
                  <a:pt x="3848811" y="1118518"/>
                  <a:pt x="3841555" y="1119799"/>
                  <a:pt x="3840702" y="1114819"/>
                </a:cubicBezTo>
                <a:cubicBezTo>
                  <a:pt x="3836647" y="1100450"/>
                  <a:pt x="3840488" y="1098458"/>
                  <a:pt x="3848171" y="1092910"/>
                </a:cubicBezTo>
                <a:cubicBezTo>
                  <a:pt x="3847531" y="1093905"/>
                  <a:pt x="3849025" y="1093479"/>
                  <a:pt x="3849025" y="1093479"/>
                </a:cubicBezTo>
                <a:cubicBezTo>
                  <a:pt x="3852226" y="1092625"/>
                  <a:pt x="3847318" y="1087930"/>
                  <a:pt x="3851159" y="1085938"/>
                </a:cubicBezTo>
                <a:cubicBezTo>
                  <a:pt x="3852866" y="1085369"/>
                  <a:pt x="3854361" y="1085369"/>
                  <a:pt x="3855855" y="1085654"/>
                </a:cubicBezTo>
                <a:close/>
                <a:moveTo>
                  <a:pt x="1298137" y="1085381"/>
                </a:moveTo>
                <a:cubicBezTo>
                  <a:pt x="1306088" y="1085845"/>
                  <a:pt x="1310425" y="1096533"/>
                  <a:pt x="1309908" y="1102264"/>
                </a:cubicBezTo>
                <a:cubicBezTo>
                  <a:pt x="1307018" y="1104898"/>
                  <a:pt x="1304230" y="1105672"/>
                  <a:pt x="1301751" y="1105053"/>
                </a:cubicBezTo>
                <a:cubicBezTo>
                  <a:pt x="1298034" y="1104123"/>
                  <a:pt x="1295246" y="1100561"/>
                  <a:pt x="1294317" y="1096378"/>
                </a:cubicBezTo>
                <a:cubicBezTo>
                  <a:pt x="1293284" y="1092351"/>
                  <a:pt x="1294317" y="1087859"/>
                  <a:pt x="1298137" y="1085381"/>
                </a:cubicBezTo>
                <a:close/>
                <a:moveTo>
                  <a:pt x="1216255" y="1085226"/>
                </a:moveTo>
                <a:cubicBezTo>
                  <a:pt x="1217288" y="1084452"/>
                  <a:pt x="1218630" y="1084606"/>
                  <a:pt x="1219869" y="1085226"/>
                </a:cubicBezTo>
                <a:cubicBezTo>
                  <a:pt x="1221108" y="1085845"/>
                  <a:pt x="1222347" y="1086775"/>
                  <a:pt x="1223277" y="1087859"/>
                </a:cubicBezTo>
                <a:cubicBezTo>
                  <a:pt x="1222554" y="1087395"/>
                  <a:pt x="1222554" y="1087395"/>
                  <a:pt x="1222554" y="1087395"/>
                </a:cubicBezTo>
                <a:cubicBezTo>
                  <a:pt x="1221315" y="1087549"/>
                  <a:pt x="1222037" y="1088014"/>
                  <a:pt x="1221625" y="1088788"/>
                </a:cubicBezTo>
                <a:cubicBezTo>
                  <a:pt x="1221625" y="1088788"/>
                  <a:pt x="1222037" y="1088014"/>
                  <a:pt x="1222347" y="1089253"/>
                </a:cubicBezTo>
                <a:cubicBezTo>
                  <a:pt x="1221625" y="1088788"/>
                  <a:pt x="1221211" y="1089408"/>
                  <a:pt x="1220798" y="1090182"/>
                </a:cubicBezTo>
                <a:cubicBezTo>
                  <a:pt x="1218321" y="1090492"/>
                  <a:pt x="1215120" y="1090492"/>
                  <a:pt x="1214087" y="1088788"/>
                </a:cubicBezTo>
                <a:cubicBezTo>
                  <a:pt x="1213467" y="1086465"/>
                  <a:pt x="1215016" y="1085536"/>
                  <a:pt x="1216255" y="1085226"/>
                </a:cubicBezTo>
                <a:close/>
                <a:moveTo>
                  <a:pt x="1547295" y="1084142"/>
                </a:moveTo>
                <a:cubicBezTo>
                  <a:pt x="1548431" y="1084452"/>
                  <a:pt x="1551322" y="1086000"/>
                  <a:pt x="1551218" y="1088943"/>
                </a:cubicBezTo>
                <a:cubicBezTo>
                  <a:pt x="1551012" y="1091886"/>
                  <a:pt x="1553077" y="1093745"/>
                  <a:pt x="1552974" y="1096688"/>
                </a:cubicBezTo>
                <a:cubicBezTo>
                  <a:pt x="1552974" y="1096688"/>
                  <a:pt x="1552974" y="1096533"/>
                  <a:pt x="1551735" y="1096224"/>
                </a:cubicBezTo>
                <a:cubicBezTo>
                  <a:pt x="1551012" y="1091886"/>
                  <a:pt x="1547192" y="1088943"/>
                  <a:pt x="1547295" y="1084142"/>
                </a:cubicBezTo>
                <a:close/>
                <a:moveTo>
                  <a:pt x="1446168" y="1083561"/>
                </a:moveTo>
                <a:cubicBezTo>
                  <a:pt x="1448711" y="1082205"/>
                  <a:pt x="1451834" y="1082283"/>
                  <a:pt x="1453951" y="1085381"/>
                </a:cubicBezTo>
                <a:cubicBezTo>
                  <a:pt x="1453848" y="1088634"/>
                  <a:pt x="1448375" y="1093900"/>
                  <a:pt x="1445691" y="1094830"/>
                </a:cubicBezTo>
                <a:cubicBezTo>
                  <a:pt x="1443109" y="1093745"/>
                  <a:pt x="1442076" y="1092196"/>
                  <a:pt x="1441870" y="1090338"/>
                </a:cubicBezTo>
                <a:cubicBezTo>
                  <a:pt x="1441664" y="1087704"/>
                  <a:pt x="1443626" y="1084916"/>
                  <a:pt x="1446168" y="1083561"/>
                </a:cubicBezTo>
                <a:close/>
                <a:moveTo>
                  <a:pt x="1352244" y="1083522"/>
                </a:moveTo>
                <a:cubicBezTo>
                  <a:pt x="1356374" y="1086620"/>
                  <a:pt x="1351624" y="1090647"/>
                  <a:pt x="1348940" y="1090182"/>
                </a:cubicBezTo>
                <a:cubicBezTo>
                  <a:pt x="1347081" y="1089098"/>
                  <a:pt x="1346668" y="1087704"/>
                  <a:pt x="1347081" y="1086620"/>
                </a:cubicBezTo>
                <a:cubicBezTo>
                  <a:pt x="1347494" y="1085381"/>
                  <a:pt x="1348630" y="1084452"/>
                  <a:pt x="1349869" y="1083987"/>
                </a:cubicBezTo>
                <a:cubicBezTo>
                  <a:pt x="1350695" y="1083522"/>
                  <a:pt x="1351521" y="1083367"/>
                  <a:pt x="1352244" y="1083522"/>
                </a:cubicBezTo>
                <a:close/>
                <a:moveTo>
                  <a:pt x="5047804" y="1083520"/>
                </a:moveTo>
                <a:cubicBezTo>
                  <a:pt x="5055274" y="1083378"/>
                  <a:pt x="5060822" y="1085654"/>
                  <a:pt x="5066158" y="1083947"/>
                </a:cubicBezTo>
                <a:cubicBezTo>
                  <a:pt x="5066158" y="1083947"/>
                  <a:pt x="5066158" y="1083947"/>
                  <a:pt x="5068079" y="1086365"/>
                </a:cubicBezTo>
                <a:cubicBezTo>
                  <a:pt x="5069359" y="1086365"/>
                  <a:pt x="5069359" y="1086365"/>
                  <a:pt x="5069359" y="1086365"/>
                </a:cubicBezTo>
                <a:cubicBezTo>
                  <a:pt x="5069786" y="1086365"/>
                  <a:pt x="5070213" y="1087076"/>
                  <a:pt x="5070213" y="1087646"/>
                </a:cubicBezTo>
                <a:cubicBezTo>
                  <a:pt x="5070213" y="1088215"/>
                  <a:pt x="5070213" y="1088784"/>
                  <a:pt x="5070213" y="1088784"/>
                </a:cubicBezTo>
                <a:cubicBezTo>
                  <a:pt x="5068719" y="1091202"/>
                  <a:pt x="5065517" y="1090065"/>
                  <a:pt x="5063170" y="1089922"/>
                </a:cubicBezTo>
                <a:cubicBezTo>
                  <a:pt x="5061889" y="1092340"/>
                  <a:pt x="5058902" y="1087503"/>
                  <a:pt x="5057621" y="1089922"/>
                </a:cubicBezTo>
                <a:cubicBezTo>
                  <a:pt x="5053566" y="1084943"/>
                  <a:pt x="5047163" y="1090918"/>
                  <a:pt x="5039694" y="1084658"/>
                </a:cubicBezTo>
                <a:cubicBezTo>
                  <a:pt x="5042682" y="1083804"/>
                  <a:pt x="5045456" y="1083520"/>
                  <a:pt x="5047804" y="1083520"/>
                </a:cubicBezTo>
                <a:close/>
                <a:moveTo>
                  <a:pt x="1011498" y="1083367"/>
                </a:moveTo>
                <a:cubicBezTo>
                  <a:pt x="1016145" y="1085381"/>
                  <a:pt x="1017694" y="1088478"/>
                  <a:pt x="1018106" y="1092971"/>
                </a:cubicBezTo>
                <a:cubicBezTo>
                  <a:pt x="1016661" y="1093590"/>
                  <a:pt x="1013150" y="1092042"/>
                  <a:pt x="1010879" y="1091112"/>
                </a:cubicBezTo>
                <a:cubicBezTo>
                  <a:pt x="1010259" y="1089873"/>
                  <a:pt x="1010053" y="1088634"/>
                  <a:pt x="1010156" y="1087240"/>
                </a:cubicBezTo>
                <a:cubicBezTo>
                  <a:pt x="1010362" y="1086000"/>
                  <a:pt x="1010775" y="1084606"/>
                  <a:pt x="1011498" y="1083367"/>
                </a:cubicBezTo>
                <a:close/>
                <a:moveTo>
                  <a:pt x="1425659" y="1082593"/>
                </a:moveTo>
                <a:cubicBezTo>
                  <a:pt x="1425762" y="1083987"/>
                  <a:pt x="1425762" y="1084606"/>
                  <a:pt x="1425659" y="1085226"/>
                </a:cubicBezTo>
                <a:lnTo>
                  <a:pt x="1425556" y="1085536"/>
                </a:lnTo>
                <a:lnTo>
                  <a:pt x="1425969" y="1085536"/>
                </a:lnTo>
                <a:lnTo>
                  <a:pt x="1425142" y="1086775"/>
                </a:lnTo>
                <a:lnTo>
                  <a:pt x="1424833" y="1087395"/>
                </a:lnTo>
                <a:lnTo>
                  <a:pt x="1424730" y="1087085"/>
                </a:lnTo>
                <a:lnTo>
                  <a:pt x="1422974" y="1088634"/>
                </a:lnTo>
                <a:cubicBezTo>
                  <a:pt x="1422974" y="1088634"/>
                  <a:pt x="1422768" y="1089563"/>
                  <a:pt x="1422561" y="1090338"/>
                </a:cubicBezTo>
                <a:cubicBezTo>
                  <a:pt x="1420496" y="1092661"/>
                  <a:pt x="1419464" y="1094210"/>
                  <a:pt x="1416263" y="1093281"/>
                </a:cubicBezTo>
                <a:cubicBezTo>
                  <a:pt x="1416366" y="1092351"/>
                  <a:pt x="1418225" y="1090802"/>
                  <a:pt x="1419257" y="1090028"/>
                </a:cubicBezTo>
                <a:cubicBezTo>
                  <a:pt x="1419361" y="1089253"/>
                  <a:pt x="1420290" y="1088478"/>
                  <a:pt x="1421219" y="1088478"/>
                </a:cubicBezTo>
                <a:cubicBezTo>
                  <a:pt x="1421219" y="1088478"/>
                  <a:pt x="1422251" y="1087704"/>
                  <a:pt x="1422355" y="1086930"/>
                </a:cubicBezTo>
                <a:lnTo>
                  <a:pt x="1424007" y="1086000"/>
                </a:lnTo>
                <a:lnTo>
                  <a:pt x="1423903" y="1085845"/>
                </a:lnTo>
                <a:cubicBezTo>
                  <a:pt x="1423491" y="1085226"/>
                  <a:pt x="1423284" y="1084606"/>
                  <a:pt x="1423594" y="1084142"/>
                </a:cubicBezTo>
                <a:cubicBezTo>
                  <a:pt x="1423800" y="1083522"/>
                  <a:pt x="1423903" y="1083367"/>
                  <a:pt x="1424110" y="1083212"/>
                </a:cubicBezTo>
                <a:cubicBezTo>
                  <a:pt x="1424420" y="1082902"/>
                  <a:pt x="1424833" y="1082748"/>
                  <a:pt x="1425659" y="1082593"/>
                </a:cubicBezTo>
                <a:close/>
                <a:moveTo>
                  <a:pt x="4817524" y="1082381"/>
                </a:moveTo>
                <a:cubicBezTo>
                  <a:pt x="4818591" y="1082097"/>
                  <a:pt x="4819872" y="1082097"/>
                  <a:pt x="4820939" y="1082524"/>
                </a:cubicBezTo>
                <a:cubicBezTo>
                  <a:pt x="4826488" y="1090207"/>
                  <a:pt x="4817524" y="1094048"/>
                  <a:pt x="4813469" y="1091345"/>
                </a:cubicBezTo>
                <a:cubicBezTo>
                  <a:pt x="4811548" y="1087076"/>
                  <a:pt x="4814109" y="1083378"/>
                  <a:pt x="4817524" y="1082381"/>
                </a:cubicBezTo>
                <a:close/>
                <a:moveTo>
                  <a:pt x="4204369" y="1082381"/>
                </a:moveTo>
                <a:cubicBezTo>
                  <a:pt x="4205649" y="1083235"/>
                  <a:pt x="4208211" y="1083662"/>
                  <a:pt x="4209918" y="1085654"/>
                </a:cubicBezTo>
                <a:cubicBezTo>
                  <a:pt x="4209704" y="1091629"/>
                  <a:pt x="4206716" y="1095044"/>
                  <a:pt x="4202021" y="1096324"/>
                </a:cubicBezTo>
                <a:cubicBezTo>
                  <a:pt x="4196686" y="1093194"/>
                  <a:pt x="4198606" y="1084089"/>
                  <a:pt x="4204369" y="1082381"/>
                </a:cubicBezTo>
                <a:close/>
                <a:moveTo>
                  <a:pt x="4827768" y="1082097"/>
                </a:moveTo>
                <a:cubicBezTo>
                  <a:pt x="4833957" y="1082951"/>
                  <a:pt x="4840360" y="1091345"/>
                  <a:pt x="4843561" y="1100734"/>
                </a:cubicBezTo>
                <a:cubicBezTo>
                  <a:pt x="4846762" y="1110124"/>
                  <a:pt x="4846549" y="1120510"/>
                  <a:pt x="4839506" y="1125205"/>
                </a:cubicBezTo>
                <a:cubicBezTo>
                  <a:pt x="4840360" y="1107990"/>
                  <a:pt x="4823713" y="1100876"/>
                  <a:pt x="4827768" y="1082097"/>
                </a:cubicBezTo>
                <a:close/>
                <a:moveTo>
                  <a:pt x="1537589" y="1081818"/>
                </a:moveTo>
                <a:lnTo>
                  <a:pt x="1538621" y="1082128"/>
                </a:lnTo>
                <a:lnTo>
                  <a:pt x="1538311" y="1081818"/>
                </a:lnTo>
                <a:close/>
                <a:moveTo>
                  <a:pt x="4919966" y="1081671"/>
                </a:moveTo>
                <a:cubicBezTo>
                  <a:pt x="4923807" y="1081386"/>
                  <a:pt x="4930210" y="1082951"/>
                  <a:pt x="4931063" y="1082951"/>
                </a:cubicBezTo>
                <a:cubicBezTo>
                  <a:pt x="4931063" y="1082951"/>
                  <a:pt x="4932344" y="1082951"/>
                  <a:pt x="4933411" y="1082951"/>
                </a:cubicBezTo>
                <a:cubicBezTo>
                  <a:pt x="4934478" y="1084089"/>
                  <a:pt x="4934265" y="1085369"/>
                  <a:pt x="4935545" y="1085369"/>
                </a:cubicBezTo>
                <a:cubicBezTo>
                  <a:pt x="4931703" y="1088784"/>
                  <a:pt x="4928289" y="1087646"/>
                  <a:pt x="4925087" y="1086365"/>
                </a:cubicBezTo>
                <a:cubicBezTo>
                  <a:pt x="4922954" y="1085228"/>
                  <a:pt x="4921673" y="1085228"/>
                  <a:pt x="4919325" y="1086365"/>
                </a:cubicBezTo>
                <a:cubicBezTo>
                  <a:pt x="4919325" y="1086365"/>
                  <a:pt x="4919325" y="1086223"/>
                  <a:pt x="4917191" y="1083804"/>
                </a:cubicBezTo>
                <a:lnTo>
                  <a:pt x="4917404" y="1082666"/>
                </a:lnTo>
                <a:cubicBezTo>
                  <a:pt x="4917831" y="1082097"/>
                  <a:pt x="4918685" y="1081813"/>
                  <a:pt x="4919966" y="1081671"/>
                </a:cubicBezTo>
                <a:close/>
                <a:moveTo>
                  <a:pt x="3784786" y="1081101"/>
                </a:moveTo>
                <a:cubicBezTo>
                  <a:pt x="3785426" y="1083804"/>
                  <a:pt x="3786706" y="1085512"/>
                  <a:pt x="3787347" y="1088073"/>
                </a:cubicBezTo>
                <a:cubicBezTo>
                  <a:pt x="3783718" y="1091345"/>
                  <a:pt x="3784145" y="1097320"/>
                  <a:pt x="3776889" y="1096039"/>
                </a:cubicBezTo>
                <a:cubicBezTo>
                  <a:pt x="3772621" y="1090633"/>
                  <a:pt x="3776676" y="1080674"/>
                  <a:pt x="3784786" y="1081101"/>
                </a:cubicBezTo>
                <a:close/>
                <a:moveTo>
                  <a:pt x="4146106" y="1080674"/>
                </a:moveTo>
                <a:cubicBezTo>
                  <a:pt x="4149093" y="1081813"/>
                  <a:pt x="4150801" y="1079679"/>
                  <a:pt x="4153789" y="1080817"/>
                </a:cubicBezTo>
                <a:cubicBezTo>
                  <a:pt x="4149947" y="1090491"/>
                  <a:pt x="4146532" y="1101161"/>
                  <a:pt x="4138849" y="1101019"/>
                </a:cubicBezTo>
                <a:cubicBezTo>
                  <a:pt x="4135221" y="1095186"/>
                  <a:pt x="4141623" y="1085512"/>
                  <a:pt x="4146106" y="1080674"/>
                </a:cubicBezTo>
                <a:close/>
                <a:moveTo>
                  <a:pt x="993222" y="1080114"/>
                </a:moveTo>
                <a:cubicBezTo>
                  <a:pt x="994048" y="1079340"/>
                  <a:pt x="994977" y="1080269"/>
                  <a:pt x="995803" y="1080269"/>
                </a:cubicBezTo>
                <a:cubicBezTo>
                  <a:pt x="997455" y="1081353"/>
                  <a:pt x="999933" y="1087240"/>
                  <a:pt x="999107" y="1088014"/>
                </a:cubicBezTo>
                <a:cubicBezTo>
                  <a:pt x="997146" y="1086620"/>
                  <a:pt x="993945" y="1084142"/>
                  <a:pt x="993119" y="1081973"/>
                </a:cubicBezTo>
                <a:cubicBezTo>
                  <a:pt x="992809" y="1081353"/>
                  <a:pt x="992809" y="1080579"/>
                  <a:pt x="993222" y="1080114"/>
                </a:cubicBezTo>
                <a:close/>
                <a:moveTo>
                  <a:pt x="1211093" y="1079959"/>
                </a:moveTo>
                <a:cubicBezTo>
                  <a:pt x="1213570" y="1081508"/>
                  <a:pt x="1214397" y="1083987"/>
                  <a:pt x="1212538" y="1086620"/>
                </a:cubicBezTo>
                <a:cubicBezTo>
                  <a:pt x="1210783" y="1087549"/>
                  <a:pt x="1209131" y="1086775"/>
                  <a:pt x="1207478" y="1086000"/>
                </a:cubicBezTo>
                <a:cubicBezTo>
                  <a:pt x="1206136" y="1085226"/>
                  <a:pt x="1205723" y="1084452"/>
                  <a:pt x="1205930" y="1083522"/>
                </a:cubicBezTo>
                <a:cubicBezTo>
                  <a:pt x="1206033" y="1082748"/>
                  <a:pt x="1206756" y="1081818"/>
                  <a:pt x="1207582" y="1080889"/>
                </a:cubicBezTo>
                <a:cubicBezTo>
                  <a:pt x="1209440" y="1079185"/>
                  <a:pt x="1211093" y="1079959"/>
                  <a:pt x="1211093" y="1079959"/>
                </a:cubicBezTo>
                <a:close/>
                <a:moveTo>
                  <a:pt x="964413" y="1079495"/>
                </a:moveTo>
                <a:cubicBezTo>
                  <a:pt x="965343" y="1077946"/>
                  <a:pt x="967098" y="1078875"/>
                  <a:pt x="968854" y="1080734"/>
                </a:cubicBezTo>
                <a:cubicBezTo>
                  <a:pt x="973190" y="1083677"/>
                  <a:pt x="974016" y="1086310"/>
                  <a:pt x="971332" y="1088478"/>
                </a:cubicBezTo>
                <a:cubicBezTo>
                  <a:pt x="970505" y="1088478"/>
                  <a:pt x="967821" y="1087240"/>
                  <a:pt x="967821" y="1088169"/>
                </a:cubicBezTo>
                <a:cubicBezTo>
                  <a:pt x="965859" y="1086000"/>
                  <a:pt x="964000" y="1083522"/>
                  <a:pt x="963897" y="1081353"/>
                </a:cubicBezTo>
                <a:cubicBezTo>
                  <a:pt x="963794" y="1080734"/>
                  <a:pt x="964000" y="1080114"/>
                  <a:pt x="964413" y="1079495"/>
                </a:cubicBezTo>
                <a:close/>
                <a:moveTo>
                  <a:pt x="4470717" y="1079394"/>
                </a:moveTo>
                <a:cubicBezTo>
                  <a:pt x="4477546" y="1079252"/>
                  <a:pt x="4482028" y="1083662"/>
                  <a:pt x="4484589" y="1089353"/>
                </a:cubicBezTo>
                <a:cubicBezTo>
                  <a:pt x="4487364" y="1095044"/>
                  <a:pt x="4488217" y="1101873"/>
                  <a:pt x="4488004" y="1106568"/>
                </a:cubicBezTo>
                <a:cubicBezTo>
                  <a:pt x="4484376" y="1103011"/>
                  <a:pt x="4480534" y="1099739"/>
                  <a:pt x="4477333" y="1095470"/>
                </a:cubicBezTo>
                <a:cubicBezTo>
                  <a:pt x="4474131" y="1091345"/>
                  <a:pt x="4471570" y="1086223"/>
                  <a:pt x="4470717" y="1079394"/>
                </a:cubicBezTo>
                <a:close/>
                <a:moveTo>
                  <a:pt x="1125596" y="1079185"/>
                </a:moveTo>
                <a:cubicBezTo>
                  <a:pt x="1126526" y="1079805"/>
                  <a:pt x="1127455" y="1080579"/>
                  <a:pt x="1126629" y="1080734"/>
                </a:cubicBezTo>
                <a:cubicBezTo>
                  <a:pt x="1126629" y="1081508"/>
                  <a:pt x="1125803" y="1081663"/>
                  <a:pt x="1124977" y="1082593"/>
                </a:cubicBezTo>
                <a:cubicBezTo>
                  <a:pt x="1123325" y="1083677"/>
                  <a:pt x="1120743" y="1083987"/>
                  <a:pt x="1119814" y="1083212"/>
                </a:cubicBezTo>
                <a:cubicBezTo>
                  <a:pt x="1118885" y="1082593"/>
                  <a:pt x="1118885" y="1081663"/>
                  <a:pt x="1118885" y="1081663"/>
                </a:cubicBezTo>
                <a:cubicBezTo>
                  <a:pt x="1120434" y="1079030"/>
                  <a:pt x="1122912" y="1077017"/>
                  <a:pt x="1125596" y="1079185"/>
                </a:cubicBezTo>
                <a:close/>
                <a:moveTo>
                  <a:pt x="4299767" y="1078967"/>
                </a:moveTo>
                <a:cubicBezTo>
                  <a:pt x="4300408" y="1079821"/>
                  <a:pt x="4300835" y="1081101"/>
                  <a:pt x="4301048" y="1082524"/>
                </a:cubicBezTo>
                <a:cubicBezTo>
                  <a:pt x="4301902" y="1087076"/>
                  <a:pt x="4300835" y="1093479"/>
                  <a:pt x="4299341" y="1096039"/>
                </a:cubicBezTo>
                <a:cubicBezTo>
                  <a:pt x="4295499" y="1097178"/>
                  <a:pt x="4292938" y="1096466"/>
                  <a:pt x="4291017" y="1094902"/>
                </a:cubicBezTo>
                <a:cubicBezTo>
                  <a:pt x="4285895" y="1090065"/>
                  <a:pt x="4289523" y="1076691"/>
                  <a:pt x="4299767" y="1078967"/>
                </a:cubicBezTo>
                <a:close/>
                <a:moveTo>
                  <a:pt x="4038542" y="1078967"/>
                </a:moveTo>
                <a:cubicBezTo>
                  <a:pt x="4047292" y="1080390"/>
                  <a:pt x="4044517" y="1090207"/>
                  <a:pt x="4040249" y="1091345"/>
                </a:cubicBezTo>
                <a:cubicBezTo>
                  <a:pt x="4034701" y="1089068"/>
                  <a:pt x="4034487" y="1081386"/>
                  <a:pt x="4038542" y="1078967"/>
                </a:cubicBezTo>
                <a:close/>
                <a:moveTo>
                  <a:pt x="1430202" y="1078720"/>
                </a:moveTo>
                <a:cubicBezTo>
                  <a:pt x="1434539" y="1079495"/>
                  <a:pt x="1435778" y="1079805"/>
                  <a:pt x="1436604" y="1084297"/>
                </a:cubicBezTo>
                <a:cubicBezTo>
                  <a:pt x="1436604" y="1084297"/>
                  <a:pt x="1436295" y="1085381"/>
                  <a:pt x="1436295" y="1085381"/>
                </a:cubicBezTo>
                <a:cubicBezTo>
                  <a:pt x="1435881" y="1089563"/>
                  <a:pt x="1432371" y="1093281"/>
                  <a:pt x="1430512" y="1093281"/>
                </a:cubicBezTo>
                <a:cubicBezTo>
                  <a:pt x="1428653" y="1092816"/>
                  <a:pt x="1426795" y="1091267"/>
                  <a:pt x="1426278" y="1089098"/>
                </a:cubicBezTo>
                <a:cubicBezTo>
                  <a:pt x="1426072" y="1088324"/>
                  <a:pt x="1426072" y="1087549"/>
                  <a:pt x="1426278" y="1086620"/>
                </a:cubicBezTo>
                <a:cubicBezTo>
                  <a:pt x="1426382" y="1083677"/>
                  <a:pt x="1429376" y="1082128"/>
                  <a:pt x="1430202" y="1078720"/>
                </a:cubicBezTo>
                <a:close/>
                <a:moveTo>
                  <a:pt x="1328082" y="1077636"/>
                </a:moveTo>
                <a:cubicBezTo>
                  <a:pt x="1330560" y="1081353"/>
                  <a:pt x="1329837" y="1084606"/>
                  <a:pt x="1327256" y="1088634"/>
                </a:cubicBezTo>
                <a:cubicBezTo>
                  <a:pt x="1325603" y="1088478"/>
                  <a:pt x="1323745" y="1085691"/>
                  <a:pt x="1322506" y="1083677"/>
                </a:cubicBezTo>
                <a:cubicBezTo>
                  <a:pt x="1323022" y="1081198"/>
                  <a:pt x="1325191" y="1078875"/>
                  <a:pt x="1328082" y="1077636"/>
                </a:cubicBezTo>
                <a:close/>
                <a:moveTo>
                  <a:pt x="4583616" y="1074699"/>
                </a:moveTo>
                <a:cubicBezTo>
                  <a:pt x="4586604" y="1074557"/>
                  <a:pt x="4589378" y="1075126"/>
                  <a:pt x="4590445" y="1076407"/>
                </a:cubicBezTo>
                <a:cubicBezTo>
                  <a:pt x="4591512" y="1088073"/>
                  <a:pt x="4582335" y="1089210"/>
                  <a:pt x="4578280" y="1083947"/>
                </a:cubicBezTo>
                <a:cubicBezTo>
                  <a:pt x="4577000" y="1082239"/>
                  <a:pt x="4576146" y="1079679"/>
                  <a:pt x="4576360" y="1076691"/>
                </a:cubicBezTo>
                <a:cubicBezTo>
                  <a:pt x="4577853" y="1075553"/>
                  <a:pt x="4580841" y="1074842"/>
                  <a:pt x="4583616" y="1074699"/>
                </a:cubicBezTo>
                <a:close/>
                <a:moveTo>
                  <a:pt x="3826616" y="1074699"/>
                </a:moveTo>
                <a:cubicBezTo>
                  <a:pt x="3832805" y="1081671"/>
                  <a:pt x="3840488" y="1083804"/>
                  <a:pt x="3840488" y="1083804"/>
                </a:cubicBezTo>
                <a:cubicBezTo>
                  <a:pt x="3841769" y="1085938"/>
                  <a:pt x="3841128" y="1086934"/>
                  <a:pt x="3841769" y="1085938"/>
                </a:cubicBezTo>
                <a:cubicBezTo>
                  <a:pt x="3842409" y="1089210"/>
                  <a:pt x="3843903" y="1093052"/>
                  <a:pt x="3841555" y="1094617"/>
                </a:cubicBezTo>
                <a:cubicBezTo>
                  <a:pt x="3832805" y="1097889"/>
                  <a:pt x="3827897" y="1082951"/>
                  <a:pt x="3825762" y="1080106"/>
                </a:cubicBezTo>
                <a:cubicBezTo>
                  <a:pt x="3825762" y="1080106"/>
                  <a:pt x="3824909" y="1079536"/>
                  <a:pt x="3824695" y="1077829"/>
                </a:cubicBezTo>
                <a:cubicBezTo>
                  <a:pt x="3823414" y="1075695"/>
                  <a:pt x="3826829" y="1076407"/>
                  <a:pt x="3826616" y="1074699"/>
                </a:cubicBezTo>
                <a:close/>
                <a:moveTo>
                  <a:pt x="1467994" y="1074074"/>
                </a:moveTo>
                <a:cubicBezTo>
                  <a:pt x="1469956" y="1072524"/>
                  <a:pt x="1473157" y="1072524"/>
                  <a:pt x="1476771" y="1075158"/>
                </a:cubicBezTo>
                <a:cubicBezTo>
                  <a:pt x="1479559" y="1082593"/>
                  <a:pt x="1472124" y="1088169"/>
                  <a:pt x="1466342" y="1082128"/>
                </a:cubicBezTo>
                <a:cubicBezTo>
                  <a:pt x="1465722" y="1080424"/>
                  <a:pt x="1465619" y="1078875"/>
                  <a:pt x="1465929" y="1077481"/>
                </a:cubicBezTo>
                <a:cubicBezTo>
                  <a:pt x="1466238" y="1076087"/>
                  <a:pt x="1466962" y="1074848"/>
                  <a:pt x="1467994" y="1074074"/>
                </a:cubicBezTo>
                <a:close/>
                <a:moveTo>
                  <a:pt x="4559499" y="1073561"/>
                </a:moveTo>
                <a:cubicBezTo>
                  <a:pt x="4571451" y="1076976"/>
                  <a:pt x="4570170" y="1091629"/>
                  <a:pt x="4562487" y="1093479"/>
                </a:cubicBezTo>
                <a:cubicBezTo>
                  <a:pt x="4560140" y="1094190"/>
                  <a:pt x="4556938" y="1093479"/>
                  <a:pt x="4553097" y="1090349"/>
                </a:cubicBezTo>
                <a:cubicBezTo>
                  <a:pt x="4556725" y="1083235"/>
                  <a:pt x="4553737" y="1077687"/>
                  <a:pt x="4559499" y="1073561"/>
                </a:cubicBezTo>
                <a:close/>
                <a:moveTo>
                  <a:pt x="3424960" y="1073277"/>
                </a:moveTo>
                <a:lnTo>
                  <a:pt x="3424960" y="1074272"/>
                </a:lnTo>
                <a:lnTo>
                  <a:pt x="3426454" y="1074557"/>
                </a:lnTo>
                <a:close/>
                <a:moveTo>
                  <a:pt x="1083364" y="1072679"/>
                </a:moveTo>
                <a:cubicBezTo>
                  <a:pt x="1083984" y="1072679"/>
                  <a:pt x="1084914" y="1073144"/>
                  <a:pt x="1086153" y="1074228"/>
                </a:cubicBezTo>
                <a:cubicBezTo>
                  <a:pt x="1087908" y="1076087"/>
                  <a:pt x="1089663" y="1077017"/>
                  <a:pt x="1089663" y="1077791"/>
                </a:cubicBezTo>
                <a:cubicBezTo>
                  <a:pt x="1090592" y="1077946"/>
                  <a:pt x="1091419" y="1078875"/>
                  <a:pt x="1092348" y="1079030"/>
                </a:cubicBezTo>
                <a:cubicBezTo>
                  <a:pt x="1092348" y="1079030"/>
                  <a:pt x="1092348" y="1079030"/>
                  <a:pt x="1092348" y="1079805"/>
                </a:cubicBezTo>
                <a:cubicBezTo>
                  <a:pt x="1088837" y="1078565"/>
                  <a:pt x="1084397" y="1079030"/>
                  <a:pt x="1081712" y="1077017"/>
                </a:cubicBezTo>
                <a:cubicBezTo>
                  <a:pt x="1081299" y="1076552"/>
                  <a:pt x="1080887" y="1076087"/>
                  <a:pt x="1080783" y="1075622"/>
                </a:cubicBezTo>
                <a:cubicBezTo>
                  <a:pt x="1080680" y="1075003"/>
                  <a:pt x="1080887" y="1074538"/>
                  <a:pt x="1081816" y="1073764"/>
                </a:cubicBezTo>
                <a:cubicBezTo>
                  <a:pt x="1082229" y="1072989"/>
                  <a:pt x="1082745" y="1072524"/>
                  <a:pt x="1083364" y="1072679"/>
                </a:cubicBezTo>
                <a:close/>
                <a:moveTo>
                  <a:pt x="1371721" y="1072602"/>
                </a:moveTo>
                <a:cubicBezTo>
                  <a:pt x="1372611" y="1072098"/>
                  <a:pt x="1373463" y="1071827"/>
                  <a:pt x="1374754" y="1073144"/>
                </a:cubicBezTo>
                <a:cubicBezTo>
                  <a:pt x="1375270" y="1074693"/>
                  <a:pt x="1374857" y="1076707"/>
                  <a:pt x="1372689" y="1079030"/>
                </a:cubicBezTo>
                <a:cubicBezTo>
                  <a:pt x="1368042" y="1078875"/>
                  <a:pt x="1368248" y="1076087"/>
                  <a:pt x="1368455" y="1073454"/>
                </a:cubicBezTo>
                <a:cubicBezTo>
                  <a:pt x="1369901" y="1073841"/>
                  <a:pt x="1370830" y="1073105"/>
                  <a:pt x="1371721" y="1072602"/>
                </a:cubicBezTo>
                <a:close/>
                <a:moveTo>
                  <a:pt x="1239075" y="1071285"/>
                </a:moveTo>
                <a:cubicBezTo>
                  <a:pt x="1239901" y="1070820"/>
                  <a:pt x="1240830" y="1070975"/>
                  <a:pt x="1241760" y="1071440"/>
                </a:cubicBezTo>
                <a:cubicBezTo>
                  <a:pt x="1242689" y="1071905"/>
                  <a:pt x="1243515" y="1072679"/>
                  <a:pt x="1244031" y="1073454"/>
                </a:cubicBezTo>
                <a:cubicBezTo>
                  <a:pt x="1244341" y="1074693"/>
                  <a:pt x="1244341" y="1074693"/>
                  <a:pt x="1244651" y="1075777"/>
                </a:cubicBezTo>
                <a:cubicBezTo>
                  <a:pt x="1243825" y="1077171"/>
                  <a:pt x="1243722" y="1079030"/>
                  <a:pt x="1242069" y="1079805"/>
                </a:cubicBezTo>
                <a:cubicBezTo>
                  <a:pt x="1239695" y="1080269"/>
                  <a:pt x="1236390" y="1077171"/>
                  <a:pt x="1235255" y="1075467"/>
                </a:cubicBezTo>
                <a:cubicBezTo>
                  <a:pt x="1234635" y="1073144"/>
                  <a:pt x="1236700" y="1071595"/>
                  <a:pt x="1239075" y="1071285"/>
                </a:cubicBezTo>
                <a:close/>
                <a:moveTo>
                  <a:pt x="4784017" y="1070574"/>
                </a:moveTo>
                <a:cubicBezTo>
                  <a:pt x="4783804" y="1073277"/>
                  <a:pt x="4785084" y="1073703"/>
                  <a:pt x="4782950" y="1077402"/>
                </a:cubicBezTo>
                <a:cubicBezTo>
                  <a:pt x="4781456" y="1076833"/>
                  <a:pt x="4779962" y="1076407"/>
                  <a:pt x="4778468" y="1075837"/>
                </a:cubicBezTo>
                <a:cubicBezTo>
                  <a:pt x="4779749" y="1072707"/>
                  <a:pt x="4781029" y="1069435"/>
                  <a:pt x="4784017" y="1070574"/>
                </a:cubicBezTo>
                <a:close/>
                <a:moveTo>
                  <a:pt x="3918173" y="1070004"/>
                </a:moveTo>
                <a:cubicBezTo>
                  <a:pt x="3918600" y="1072565"/>
                  <a:pt x="3919880" y="1077260"/>
                  <a:pt x="3919027" y="1079679"/>
                </a:cubicBezTo>
                <a:cubicBezTo>
                  <a:pt x="3918813" y="1080532"/>
                  <a:pt x="3918387" y="1081244"/>
                  <a:pt x="3917533" y="1081386"/>
                </a:cubicBezTo>
                <a:cubicBezTo>
                  <a:pt x="3917106" y="1078114"/>
                  <a:pt x="3914545" y="1073561"/>
                  <a:pt x="3918173" y="1070004"/>
                </a:cubicBezTo>
                <a:close/>
                <a:moveTo>
                  <a:pt x="1119814" y="1069891"/>
                </a:moveTo>
                <a:lnTo>
                  <a:pt x="1122499" y="1072060"/>
                </a:lnTo>
                <a:cubicBezTo>
                  <a:pt x="1121673" y="1072989"/>
                  <a:pt x="1120021" y="1074074"/>
                  <a:pt x="1119195" y="1073299"/>
                </a:cubicBezTo>
                <a:cubicBezTo>
                  <a:pt x="1118265" y="1072989"/>
                  <a:pt x="1118265" y="1072679"/>
                  <a:pt x="1118472" y="1072060"/>
                </a:cubicBezTo>
                <a:cubicBezTo>
                  <a:pt x="1118781" y="1071440"/>
                  <a:pt x="1119401" y="1070820"/>
                  <a:pt x="1119814" y="1069891"/>
                </a:cubicBezTo>
                <a:close/>
                <a:moveTo>
                  <a:pt x="1121982" y="1069426"/>
                </a:moveTo>
                <a:cubicBezTo>
                  <a:pt x="1122912" y="1070356"/>
                  <a:pt x="1121982" y="1070201"/>
                  <a:pt x="1121982" y="1070975"/>
                </a:cubicBezTo>
                <a:cubicBezTo>
                  <a:pt x="1121466" y="1070510"/>
                  <a:pt x="1121260" y="1070356"/>
                  <a:pt x="1121260" y="1070046"/>
                </a:cubicBezTo>
                <a:cubicBezTo>
                  <a:pt x="1121260" y="1069891"/>
                  <a:pt x="1121466" y="1069736"/>
                  <a:pt x="1121982" y="1069426"/>
                </a:cubicBezTo>
                <a:close/>
                <a:moveTo>
                  <a:pt x="3707314" y="1069293"/>
                </a:moveTo>
                <a:cubicBezTo>
                  <a:pt x="3718199" y="1068582"/>
                  <a:pt x="3728443" y="1072850"/>
                  <a:pt x="3732711" y="1082381"/>
                </a:cubicBezTo>
                <a:cubicBezTo>
                  <a:pt x="3728656" y="1091345"/>
                  <a:pt x="3722040" y="1097035"/>
                  <a:pt x="3714571" y="1099881"/>
                </a:cubicBezTo>
                <a:cubicBezTo>
                  <a:pt x="3702405" y="1104433"/>
                  <a:pt x="3688107" y="1100734"/>
                  <a:pt x="3679783" y="1089495"/>
                </a:cubicBezTo>
                <a:cubicBezTo>
                  <a:pt x="3680851" y="1088073"/>
                  <a:pt x="3681704" y="1086650"/>
                  <a:pt x="3680424" y="1085796"/>
                </a:cubicBezTo>
                <a:cubicBezTo>
                  <a:pt x="3685759" y="1075695"/>
                  <a:pt x="3696643" y="1070147"/>
                  <a:pt x="3707314" y="1069293"/>
                </a:cubicBezTo>
                <a:close/>
                <a:moveTo>
                  <a:pt x="3833232" y="1068724"/>
                </a:moveTo>
                <a:cubicBezTo>
                  <a:pt x="3833445" y="1070289"/>
                  <a:pt x="3833445" y="1070289"/>
                  <a:pt x="3832805" y="1071427"/>
                </a:cubicBezTo>
                <a:cubicBezTo>
                  <a:pt x="3831098" y="1071854"/>
                  <a:pt x="3830244" y="1071285"/>
                  <a:pt x="3828750" y="1071712"/>
                </a:cubicBezTo>
                <a:cubicBezTo>
                  <a:pt x="3829177" y="1074984"/>
                  <a:pt x="3829817" y="1073845"/>
                  <a:pt x="3828110" y="1074272"/>
                </a:cubicBezTo>
                <a:cubicBezTo>
                  <a:pt x="3828110" y="1074272"/>
                  <a:pt x="3828110" y="1074272"/>
                  <a:pt x="3826616" y="1074699"/>
                </a:cubicBezTo>
                <a:cubicBezTo>
                  <a:pt x="3826616" y="1074699"/>
                  <a:pt x="3825976" y="1075837"/>
                  <a:pt x="3824482" y="1071854"/>
                </a:cubicBezTo>
                <a:cubicBezTo>
                  <a:pt x="3826189" y="1071427"/>
                  <a:pt x="3830885" y="1070289"/>
                  <a:pt x="3830885" y="1070289"/>
                </a:cubicBezTo>
                <a:cubicBezTo>
                  <a:pt x="3831524" y="1069151"/>
                  <a:pt x="3831524" y="1069151"/>
                  <a:pt x="3833232" y="1068724"/>
                </a:cubicBezTo>
                <a:close/>
                <a:moveTo>
                  <a:pt x="4445320" y="1066021"/>
                </a:moveTo>
                <a:cubicBezTo>
                  <a:pt x="4449161" y="1069578"/>
                  <a:pt x="4452576" y="1073703"/>
                  <a:pt x="4454924" y="1078825"/>
                </a:cubicBezTo>
                <a:cubicBezTo>
                  <a:pt x="4457485" y="1084089"/>
                  <a:pt x="4458979" y="1090349"/>
                  <a:pt x="4458765" y="1098031"/>
                </a:cubicBezTo>
                <a:cubicBezTo>
                  <a:pt x="4453003" y="1103865"/>
                  <a:pt x="4447241" y="1101730"/>
                  <a:pt x="4443186" y="1096324"/>
                </a:cubicBezTo>
                <a:cubicBezTo>
                  <a:pt x="4436570" y="1087503"/>
                  <a:pt x="4434862" y="1069862"/>
                  <a:pt x="4445320" y="1066021"/>
                </a:cubicBezTo>
                <a:close/>
                <a:moveTo>
                  <a:pt x="4475839" y="1065736"/>
                </a:moveTo>
                <a:cubicBezTo>
                  <a:pt x="4477973" y="1066021"/>
                  <a:pt x="4479254" y="1066875"/>
                  <a:pt x="4480107" y="1068013"/>
                </a:cubicBezTo>
                <a:cubicBezTo>
                  <a:pt x="4482241" y="1071285"/>
                  <a:pt x="4479040" y="1077260"/>
                  <a:pt x="4475626" y="1078256"/>
                </a:cubicBezTo>
                <a:cubicBezTo>
                  <a:pt x="4470503" y="1076122"/>
                  <a:pt x="4471357" y="1068297"/>
                  <a:pt x="4475839" y="1065736"/>
                </a:cubicBezTo>
                <a:close/>
                <a:moveTo>
                  <a:pt x="4628434" y="1065309"/>
                </a:moveTo>
                <a:cubicBezTo>
                  <a:pt x="4631849" y="1065452"/>
                  <a:pt x="4636330" y="1069151"/>
                  <a:pt x="4636544" y="1072707"/>
                </a:cubicBezTo>
                <a:cubicBezTo>
                  <a:pt x="4634410" y="1076122"/>
                  <a:pt x="4632275" y="1074842"/>
                  <a:pt x="4631208" y="1077118"/>
                </a:cubicBezTo>
                <a:cubicBezTo>
                  <a:pt x="4626513" y="1073419"/>
                  <a:pt x="4626513" y="1070004"/>
                  <a:pt x="4628434" y="1065309"/>
                </a:cubicBezTo>
                <a:close/>
                <a:moveTo>
                  <a:pt x="5014724" y="1064314"/>
                </a:moveTo>
                <a:cubicBezTo>
                  <a:pt x="5017498" y="1068155"/>
                  <a:pt x="5013017" y="1076833"/>
                  <a:pt x="5008321" y="1077829"/>
                </a:cubicBezTo>
                <a:cubicBezTo>
                  <a:pt x="5012162" y="1070858"/>
                  <a:pt x="5008748" y="1065878"/>
                  <a:pt x="5014724" y="1064314"/>
                </a:cubicBezTo>
                <a:close/>
                <a:moveTo>
                  <a:pt x="4276718" y="1063887"/>
                </a:moveTo>
                <a:cubicBezTo>
                  <a:pt x="4277572" y="1064029"/>
                  <a:pt x="4278425" y="1064456"/>
                  <a:pt x="4279279" y="1065594"/>
                </a:cubicBezTo>
                <a:cubicBezTo>
                  <a:pt x="4275651" y="1068866"/>
                  <a:pt x="4273517" y="1071712"/>
                  <a:pt x="4271169" y="1074130"/>
                </a:cubicBezTo>
                <a:lnTo>
                  <a:pt x="4267968" y="1077118"/>
                </a:lnTo>
                <a:lnTo>
                  <a:pt x="4269249" y="1083235"/>
                </a:lnTo>
                <a:cubicBezTo>
                  <a:pt x="4269035" y="1085228"/>
                  <a:pt x="4267754" y="1086934"/>
                  <a:pt x="4266047" y="1088499"/>
                </a:cubicBezTo>
                <a:cubicBezTo>
                  <a:pt x="4259431" y="1087503"/>
                  <a:pt x="4256870" y="1078683"/>
                  <a:pt x="4261139" y="1074984"/>
                </a:cubicBezTo>
                <a:lnTo>
                  <a:pt x="4263273" y="1075126"/>
                </a:lnTo>
                <a:lnTo>
                  <a:pt x="4267114" y="1069720"/>
                </a:lnTo>
                <a:cubicBezTo>
                  <a:pt x="4268608" y="1068155"/>
                  <a:pt x="4269889" y="1067017"/>
                  <a:pt x="4270315" y="1067301"/>
                </a:cubicBezTo>
                <a:cubicBezTo>
                  <a:pt x="4270956" y="1066306"/>
                  <a:pt x="4272023" y="1066875"/>
                  <a:pt x="4272450" y="1065736"/>
                </a:cubicBezTo>
                <a:cubicBezTo>
                  <a:pt x="4272450" y="1065736"/>
                  <a:pt x="4272877" y="1064741"/>
                  <a:pt x="4274370" y="1064314"/>
                </a:cubicBezTo>
                <a:cubicBezTo>
                  <a:pt x="4275224" y="1064029"/>
                  <a:pt x="4276078" y="1063744"/>
                  <a:pt x="4276718" y="1063887"/>
                </a:cubicBezTo>
                <a:close/>
                <a:moveTo>
                  <a:pt x="1465619" y="1063850"/>
                </a:moveTo>
                <a:cubicBezTo>
                  <a:pt x="1466342" y="1064005"/>
                  <a:pt x="1466962" y="1064470"/>
                  <a:pt x="1467271" y="1065089"/>
                </a:cubicBezTo>
                <a:cubicBezTo>
                  <a:pt x="1467581" y="1066329"/>
                  <a:pt x="1466548" y="1066484"/>
                  <a:pt x="1466135" y="1067103"/>
                </a:cubicBezTo>
                <a:cubicBezTo>
                  <a:pt x="1464483" y="1068032"/>
                  <a:pt x="1457978" y="1066638"/>
                  <a:pt x="1457668" y="1065554"/>
                </a:cubicBezTo>
                <a:cubicBezTo>
                  <a:pt x="1459733" y="1064780"/>
                  <a:pt x="1463347" y="1063386"/>
                  <a:pt x="1465619" y="1063850"/>
                </a:cubicBezTo>
                <a:close/>
                <a:moveTo>
                  <a:pt x="1551012" y="1063541"/>
                </a:moveTo>
                <a:cubicBezTo>
                  <a:pt x="1556071" y="1064625"/>
                  <a:pt x="1556898" y="1071130"/>
                  <a:pt x="1557207" y="1075467"/>
                </a:cubicBezTo>
                <a:lnTo>
                  <a:pt x="1557517" y="1078255"/>
                </a:lnTo>
                <a:lnTo>
                  <a:pt x="1560098" y="1079340"/>
                </a:lnTo>
                <a:cubicBezTo>
                  <a:pt x="1560925" y="1080734"/>
                  <a:pt x="1559789" y="1082748"/>
                  <a:pt x="1558137" y="1083212"/>
                </a:cubicBezTo>
                <a:lnTo>
                  <a:pt x="1555968" y="1082593"/>
                </a:lnTo>
                <a:lnTo>
                  <a:pt x="1556175" y="1084297"/>
                </a:lnTo>
                <a:cubicBezTo>
                  <a:pt x="1554936" y="1083832"/>
                  <a:pt x="1551322" y="1082902"/>
                  <a:pt x="1551322" y="1082902"/>
                </a:cubicBezTo>
                <a:cubicBezTo>
                  <a:pt x="1550599" y="1083212"/>
                  <a:pt x="1550599" y="1083212"/>
                  <a:pt x="1549463" y="1082902"/>
                </a:cubicBezTo>
                <a:cubicBezTo>
                  <a:pt x="1549773" y="1081663"/>
                  <a:pt x="1549669" y="1081663"/>
                  <a:pt x="1550393" y="1081353"/>
                </a:cubicBezTo>
                <a:cubicBezTo>
                  <a:pt x="1551632" y="1081663"/>
                  <a:pt x="1552044" y="1082438"/>
                  <a:pt x="1553284" y="1082902"/>
                </a:cubicBezTo>
                <a:cubicBezTo>
                  <a:pt x="1553800" y="1080579"/>
                  <a:pt x="1553077" y="1081043"/>
                  <a:pt x="1554316" y="1081353"/>
                </a:cubicBezTo>
                <a:cubicBezTo>
                  <a:pt x="1554316" y="1081353"/>
                  <a:pt x="1554316" y="1081353"/>
                  <a:pt x="1555555" y="1081663"/>
                </a:cubicBezTo>
                <a:lnTo>
                  <a:pt x="1555762" y="1081818"/>
                </a:lnTo>
                <a:lnTo>
                  <a:pt x="1555865" y="1081663"/>
                </a:lnTo>
                <a:lnTo>
                  <a:pt x="1555555" y="1081663"/>
                </a:lnTo>
                <a:lnTo>
                  <a:pt x="1551425" y="1074074"/>
                </a:lnTo>
                <a:lnTo>
                  <a:pt x="1550393" y="1074074"/>
                </a:lnTo>
                <a:cubicBezTo>
                  <a:pt x="1551218" y="1074538"/>
                  <a:pt x="1549979" y="1074693"/>
                  <a:pt x="1549979" y="1074693"/>
                </a:cubicBezTo>
                <a:cubicBezTo>
                  <a:pt x="1549979" y="1074693"/>
                  <a:pt x="1549979" y="1074693"/>
                  <a:pt x="1550599" y="1077017"/>
                </a:cubicBezTo>
                <a:cubicBezTo>
                  <a:pt x="1550599" y="1077017"/>
                  <a:pt x="1551528" y="1082438"/>
                  <a:pt x="1546262" y="1083832"/>
                </a:cubicBezTo>
                <a:cubicBezTo>
                  <a:pt x="1546159" y="1083367"/>
                  <a:pt x="1545023" y="1083367"/>
                  <a:pt x="1543681" y="1083212"/>
                </a:cubicBezTo>
                <a:lnTo>
                  <a:pt x="1541099" y="1082748"/>
                </a:lnTo>
                <a:lnTo>
                  <a:pt x="1542235" y="1083057"/>
                </a:lnTo>
                <a:cubicBezTo>
                  <a:pt x="1543268" y="1083987"/>
                  <a:pt x="1543784" y="1085226"/>
                  <a:pt x="1543784" y="1086775"/>
                </a:cubicBezTo>
                <a:cubicBezTo>
                  <a:pt x="1540686" y="1089253"/>
                  <a:pt x="1537795" y="1088169"/>
                  <a:pt x="1537175" y="1085226"/>
                </a:cubicBezTo>
                <a:lnTo>
                  <a:pt x="1537382" y="1081818"/>
                </a:lnTo>
                <a:lnTo>
                  <a:pt x="1537279" y="1081663"/>
                </a:lnTo>
                <a:cubicBezTo>
                  <a:pt x="1535730" y="1081508"/>
                  <a:pt x="1534388" y="1081353"/>
                  <a:pt x="1533562" y="1081353"/>
                </a:cubicBezTo>
                <a:cubicBezTo>
                  <a:pt x="1533149" y="1080579"/>
                  <a:pt x="1533149" y="1080579"/>
                  <a:pt x="1533149" y="1080579"/>
                </a:cubicBezTo>
                <a:cubicBezTo>
                  <a:pt x="1533045" y="1079650"/>
                  <a:pt x="1533458" y="1079185"/>
                  <a:pt x="1534388" y="1079030"/>
                </a:cubicBezTo>
                <a:lnTo>
                  <a:pt x="1535730" y="1079030"/>
                </a:lnTo>
                <a:lnTo>
                  <a:pt x="1534078" y="1076087"/>
                </a:lnTo>
                <a:cubicBezTo>
                  <a:pt x="1535420" y="1074074"/>
                  <a:pt x="1534388" y="1070510"/>
                  <a:pt x="1540067" y="1068342"/>
                </a:cubicBezTo>
                <a:cubicBezTo>
                  <a:pt x="1546469" y="1066793"/>
                  <a:pt x="1548843" y="1073144"/>
                  <a:pt x="1549360" y="1072370"/>
                </a:cubicBezTo>
                <a:lnTo>
                  <a:pt x="1550083" y="1072215"/>
                </a:lnTo>
                <a:lnTo>
                  <a:pt x="1549360" y="1071440"/>
                </a:lnTo>
                <a:cubicBezTo>
                  <a:pt x="1548947" y="1070820"/>
                  <a:pt x="1548637" y="1070666"/>
                  <a:pt x="1548637" y="1070666"/>
                </a:cubicBezTo>
                <a:cubicBezTo>
                  <a:pt x="1548431" y="1068807"/>
                  <a:pt x="1549257" y="1068342"/>
                  <a:pt x="1548431" y="1068807"/>
                </a:cubicBezTo>
                <a:cubicBezTo>
                  <a:pt x="1549050" y="1066484"/>
                  <a:pt x="1549153" y="1063541"/>
                  <a:pt x="1551012" y="1063541"/>
                </a:cubicBezTo>
                <a:close/>
                <a:moveTo>
                  <a:pt x="1244238" y="1062611"/>
                </a:moveTo>
                <a:cubicBezTo>
                  <a:pt x="1247852" y="1061682"/>
                  <a:pt x="1251466" y="1060753"/>
                  <a:pt x="1252189" y="1064160"/>
                </a:cubicBezTo>
                <a:cubicBezTo>
                  <a:pt x="1249813" y="1067723"/>
                  <a:pt x="1244754" y="1067877"/>
                  <a:pt x="1244238" y="1062611"/>
                </a:cubicBezTo>
                <a:close/>
                <a:moveTo>
                  <a:pt x="1353379" y="1062146"/>
                </a:moveTo>
                <a:cubicBezTo>
                  <a:pt x="1358336" y="1066174"/>
                  <a:pt x="1373514" y="1074538"/>
                  <a:pt x="1367526" y="1081818"/>
                </a:cubicBezTo>
                <a:cubicBezTo>
                  <a:pt x="1364015" y="1078255"/>
                  <a:pt x="1352140" y="1069736"/>
                  <a:pt x="1352450" y="1064315"/>
                </a:cubicBezTo>
                <a:cubicBezTo>
                  <a:pt x="1352554" y="1063541"/>
                  <a:pt x="1352760" y="1062766"/>
                  <a:pt x="1353379" y="1062146"/>
                </a:cubicBezTo>
                <a:close/>
                <a:moveTo>
                  <a:pt x="1238559" y="1061991"/>
                </a:moveTo>
                <a:cubicBezTo>
                  <a:pt x="1239385" y="1060442"/>
                  <a:pt x="1241037" y="1062301"/>
                  <a:pt x="1241863" y="1063076"/>
                </a:cubicBezTo>
                <a:cubicBezTo>
                  <a:pt x="1239385" y="1062921"/>
                  <a:pt x="1238559" y="1063696"/>
                  <a:pt x="1238559" y="1062766"/>
                </a:cubicBezTo>
                <a:cubicBezTo>
                  <a:pt x="1238145" y="1062766"/>
                  <a:pt x="1237939" y="1062456"/>
                  <a:pt x="1237939" y="1062301"/>
                </a:cubicBezTo>
                <a:cubicBezTo>
                  <a:pt x="1237939" y="1062146"/>
                  <a:pt x="1238145" y="1061991"/>
                  <a:pt x="1238559" y="1061991"/>
                </a:cubicBezTo>
                <a:close/>
                <a:moveTo>
                  <a:pt x="1116820" y="1061991"/>
                </a:moveTo>
                <a:cubicBezTo>
                  <a:pt x="1119504" y="1064160"/>
                  <a:pt x="1120537" y="1066484"/>
                  <a:pt x="1118885" y="1069272"/>
                </a:cubicBezTo>
                <a:cubicBezTo>
                  <a:pt x="1117232" y="1071130"/>
                  <a:pt x="1114755" y="1073919"/>
                  <a:pt x="1112070" y="1072679"/>
                </a:cubicBezTo>
                <a:cubicBezTo>
                  <a:pt x="1112070" y="1071750"/>
                  <a:pt x="1111140" y="1071905"/>
                  <a:pt x="1111140" y="1071130"/>
                </a:cubicBezTo>
                <a:cubicBezTo>
                  <a:pt x="1111140" y="1071130"/>
                  <a:pt x="1110624" y="1070356"/>
                  <a:pt x="1110418" y="1069117"/>
                </a:cubicBezTo>
                <a:cubicBezTo>
                  <a:pt x="1110314" y="1068497"/>
                  <a:pt x="1110314" y="1067877"/>
                  <a:pt x="1110521" y="1066948"/>
                </a:cubicBezTo>
                <a:cubicBezTo>
                  <a:pt x="1110727" y="1066174"/>
                  <a:pt x="1111037" y="1065244"/>
                  <a:pt x="1111657" y="1064315"/>
                </a:cubicBezTo>
                <a:cubicBezTo>
                  <a:pt x="1112483" y="1063386"/>
                  <a:pt x="1114961" y="1061372"/>
                  <a:pt x="1115064" y="1062301"/>
                </a:cubicBezTo>
                <a:cubicBezTo>
                  <a:pt x="1115993" y="1062921"/>
                  <a:pt x="1115890" y="1062146"/>
                  <a:pt x="1116820" y="1061991"/>
                </a:cubicBezTo>
                <a:close/>
                <a:moveTo>
                  <a:pt x="1093793" y="1061372"/>
                </a:moveTo>
                <a:lnTo>
                  <a:pt x="1096994" y="1062146"/>
                </a:lnTo>
                <a:lnTo>
                  <a:pt x="1097924" y="1061682"/>
                </a:lnTo>
                <a:cubicBezTo>
                  <a:pt x="1098646" y="1061682"/>
                  <a:pt x="1099472" y="1061991"/>
                  <a:pt x="1100298" y="1062921"/>
                </a:cubicBezTo>
                <a:lnTo>
                  <a:pt x="1100918" y="1063850"/>
                </a:lnTo>
                <a:lnTo>
                  <a:pt x="1103706" y="1066019"/>
                </a:lnTo>
                <a:lnTo>
                  <a:pt x="1102364" y="1066638"/>
                </a:lnTo>
                <a:lnTo>
                  <a:pt x="1101951" y="1069891"/>
                </a:lnTo>
                <a:cubicBezTo>
                  <a:pt x="1102777" y="1071595"/>
                  <a:pt x="1104429" y="1072679"/>
                  <a:pt x="1103500" y="1074228"/>
                </a:cubicBezTo>
                <a:cubicBezTo>
                  <a:pt x="1101847" y="1071595"/>
                  <a:pt x="1101125" y="1070666"/>
                  <a:pt x="1100298" y="1068807"/>
                </a:cubicBezTo>
                <a:lnTo>
                  <a:pt x="1099059" y="1068342"/>
                </a:lnTo>
                <a:lnTo>
                  <a:pt x="1098956" y="1068497"/>
                </a:lnTo>
                <a:lnTo>
                  <a:pt x="1098543" y="1068187"/>
                </a:lnTo>
                <a:lnTo>
                  <a:pt x="1097717" y="1067723"/>
                </a:lnTo>
                <a:lnTo>
                  <a:pt x="1097510" y="1067413"/>
                </a:lnTo>
                <a:lnTo>
                  <a:pt x="1095445" y="1066329"/>
                </a:lnTo>
                <a:cubicBezTo>
                  <a:pt x="1093587" y="1065399"/>
                  <a:pt x="1091728" y="1064625"/>
                  <a:pt x="1091728" y="1064625"/>
                </a:cubicBezTo>
                <a:cubicBezTo>
                  <a:pt x="1091315" y="1063541"/>
                  <a:pt x="1091109" y="1062921"/>
                  <a:pt x="1091419" y="1062611"/>
                </a:cubicBezTo>
                <a:cubicBezTo>
                  <a:pt x="1091728" y="1062146"/>
                  <a:pt x="1092451" y="1061837"/>
                  <a:pt x="1093793" y="1061372"/>
                </a:cubicBezTo>
                <a:close/>
                <a:moveTo>
                  <a:pt x="3777103" y="1060046"/>
                </a:moveTo>
                <a:cubicBezTo>
                  <a:pt x="3779023" y="1062179"/>
                  <a:pt x="3779877" y="1064029"/>
                  <a:pt x="3780517" y="1066021"/>
                </a:cubicBezTo>
                <a:cubicBezTo>
                  <a:pt x="3780944" y="1067870"/>
                  <a:pt x="3781371" y="1069578"/>
                  <a:pt x="3782225" y="1071569"/>
                </a:cubicBezTo>
                <a:cubicBezTo>
                  <a:pt x="3774114" y="1081244"/>
                  <a:pt x="3767712" y="1077118"/>
                  <a:pt x="3766858" y="1071143"/>
                </a:cubicBezTo>
                <a:cubicBezTo>
                  <a:pt x="3766645" y="1069293"/>
                  <a:pt x="3767072" y="1067017"/>
                  <a:pt x="3768139" y="1065167"/>
                </a:cubicBezTo>
                <a:cubicBezTo>
                  <a:pt x="3769633" y="1062606"/>
                  <a:pt x="3772621" y="1060614"/>
                  <a:pt x="3777103" y="1060046"/>
                </a:cubicBezTo>
                <a:close/>
                <a:moveTo>
                  <a:pt x="3681491" y="1059049"/>
                </a:moveTo>
                <a:cubicBezTo>
                  <a:pt x="3682984" y="1059049"/>
                  <a:pt x="3684478" y="1059192"/>
                  <a:pt x="3685546" y="1059761"/>
                </a:cubicBezTo>
                <a:cubicBezTo>
                  <a:pt x="3688107" y="1062038"/>
                  <a:pt x="3688534" y="1064456"/>
                  <a:pt x="3687466" y="1065736"/>
                </a:cubicBezTo>
                <a:lnTo>
                  <a:pt x="3682344" y="1071427"/>
                </a:lnTo>
                <a:lnTo>
                  <a:pt x="3682558" y="1072280"/>
                </a:lnTo>
                <a:cubicBezTo>
                  <a:pt x="3681704" y="1076122"/>
                  <a:pt x="3675088" y="1077260"/>
                  <a:pt x="3671033" y="1075695"/>
                </a:cubicBezTo>
                <a:lnTo>
                  <a:pt x="3668472" y="1073988"/>
                </a:lnTo>
                <a:lnTo>
                  <a:pt x="3668259" y="1073988"/>
                </a:lnTo>
                <a:cubicBezTo>
                  <a:pt x="3664204" y="1070574"/>
                  <a:pt x="3664417" y="1070574"/>
                  <a:pt x="3668899" y="1063176"/>
                </a:cubicBezTo>
                <a:cubicBezTo>
                  <a:pt x="3669966" y="1061895"/>
                  <a:pt x="3671246" y="1060899"/>
                  <a:pt x="3672740" y="1060330"/>
                </a:cubicBezTo>
                <a:cubicBezTo>
                  <a:pt x="3674234" y="1059761"/>
                  <a:pt x="3675942" y="1059761"/>
                  <a:pt x="3677649" y="1060330"/>
                </a:cubicBezTo>
                <a:cubicBezTo>
                  <a:pt x="3678716" y="1059619"/>
                  <a:pt x="3680210" y="1059192"/>
                  <a:pt x="3681491" y="1059049"/>
                </a:cubicBezTo>
                <a:close/>
                <a:moveTo>
                  <a:pt x="3852653" y="1058907"/>
                </a:moveTo>
                <a:cubicBezTo>
                  <a:pt x="3853507" y="1059477"/>
                  <a:pt x="3853507" y="1059477"/>
                  <a:pt x="3853507" y="1059477"/>
                </a:cubicBezTo>
                <a:cubicBezTo>
                  <a:pt x="3854147" y="1060614"/>
                  <a:pt x="3853934" y="1061468"/>
                  <a:pt x="3852866" y="1062464"/>
                </a:cubicBezTo>
                <a:cubicBezTo>
                  <a:pt x="3852013" y="1063318"/>
                  <a:pt x="3850519" y="1064171"/>
                  <a:pt x="3848385" y="1065167"/>
                </a:cubicBezTo>
                <a:cubicBezTo>
                  <a:pt x="3844543" y="1067159"/>
                  <a:pt x="3838781" y="1067870"/>
                  <a:pt x="3837287" y="1068297"/>
                </a:cubicBezTo>
                <a:cubicBezTo>
                  <a:pt x="3835580" y="1068724"/>
                  <a:pt x="3834939" y="1069720"/>
                  <a:pt x="3834939" y="1069720"/>
                </a:cubicBezTo>
                <a:cubicBezTo>
                  <a:pt x="3833659" y="1067586"/>
                  <a:pt x="3848599" y="1060757"/>
                  <a:pt x="3852653" y="1058907"/>
                </a:cubicBezTo>
                <a:close/>
                <a:moveTo>
                  <a:pt x="3293280" y="1058623"/>
                </a:moveTo>
                <a:lnTo>
                  <a:pt x="3287091" y="1060330"/>
                </a:lnTo>
                <a:lnTo>
                  <a:pt x="3289012" y="1062464"/>
                </a:lnTo>
                <a:lnTo>
                  <a:pt x="3290078" y="1065594"/>
                </a:lnTo>
                <a:lnTo>
                  <a:pt x="3291573" y="1064456"/>
                </a:lnTo>
                <a:close/>
                <a:moveTo>
                  <a:pt x="986407" y="1058274"/>
                </a:moveTo>
                <a:cubicBezTo>
                  <a:pt x="986407" y="1059978"/>
                  <a:pt x="989918" y="1061062"/>
                  <a:pt x="988162" y="1062611"/>
                </a:cubicBezTo>
                <a:cubicBezTo>
                  <a:pt x="987233" y="1061682"/>
                  <a:pt x="986407" y="1059978"/>
                  <a:pt x="985581" y="1059049"/>
                </a:cubicBezTo>
                <a:cubicBezTo>
                  <a:pt x="985581" y="1059049"/>
                  <a:pt x="985581" y="1059049"/>
                  <a:pt x="986407" y="1058274"/>
                </a:cubicBezTo>
                <a:close/>
                <a:moveTo>
                  <a:pt x="4185801" y="1058054"/>
                </a:moveTo>
                <a:cubicBezTo>
                  <a:pt x="4188149" y="1060472"/>
                  <a:pt x="4189429" y="1062891"/>
                  <a:pt x="4191777" y="1065309"/>
                </a:cubicBezTo>
                <a:cubicBezTo>
                  <a:pt x="4189643" y="1070004"/>
                  <a:pt x="4186015" y="1067443"/>
                  <a:pt x="4182600" y="1065025"/>
                </a:cubicBezTo>
                <a:cubicBezTo>
                  <a:pt x="4183667" y="1062749"/>
                  <a:pt x="4182387" y="1060188"/>
                  <a:pt x="4185801" y="1058054"/>
                </a:cubicBezTo>
                <a:close/>
                <a:moveTo>
                  <a:pt x="1186311" y="1057035"/>
                </a:moveTo>
                <a:cubicBezTo>
                  <a:pt x="1186931" y="1057345"/>
                  <a:pt x="1187447" y="1057654"/>
                  <a:pt x="1187550" y="1058119"/>
                </a:cubicBezTo>
                <a:cubicBezTo>
                  <a:pt x="1185175" y="1058584"/>
                  <a:pt x="1181974" y="1060287"/>
                  <a:pt x="1179393" y="1057654"/>
                </a:cubicBezTo>
                <a:cubicBezTo>
                  <a:pt x="1181148" y="1057499"/>
                  <a:pt x="1184452" y="1056570"/>
                  <a:pt x="1186311" y="1057035"/>
                </a:cubicBezTo>
                <a:close/>
                <a:moveTo>
                  <a:pt x="4256443" y="1056489"/>
                </a:moveTo>
                <a:cubicBezTo>
                  <a:pt x="4253455" y="1068297"/>
                  <a:pt x="4226351" y="1079252"/>
                  <a:pt x="4220375" y="1068013"/>
                </a:cubicBezTo>
                <a:cubicBezTo>
                  <a:pt x="4233607" y="1065025"/>
                  <a:pt x="4241077" y="1056773"/>
                  <a:pt x="4256443" y="1056489"/>
                </a:cubicBezTo>
                <a:close/>
                <a:moveTo>
                  <a:pt x="3983906" y="1056489"/>
                </a:moveTo>
                <a:cubicBezTo>
                  <a:pt x="3983906" y="1056489"/>
                  <a:pt x="3983906" y="1056347"/>
                  <a:pt x="3985187" y="1057485"/>
                </a:cubicBezTo>
                <a:cubicBezTo>
                  <a:pt x="3982839" y="1057627"/>
                  <a:pt x="3982413" y="1062606"/>
                  <a:pt x="3979638" y="1060330"/>
                </a:cubicBezTo>
                <a:cubicBezTo>
                  <a:pt x="3980705" y="1059049"/>
                  <a:pt x="3982839" y="1057769"/>
                  <a:pt x="3983906" y="1056489"/>
                </a:cubicBezTo>
                <a:close/>
                <a:moveTo>
                  <a:pt x="3650758" y="1055351"/>
                </a:moveTo>
                <a:cubicBezTo>
                  <a:pt x="3656947" y="1065594"/>
                  <a:pt x="3645209" y="1075411"/>
                  <a:pt x="3638380" y="1071712"/>
                </a:cubicBezTo>
                <a:cubicBezTo>
                  <a:pt x="3636032" y="1070574"/>
                  <a:pt x="3634324" y="1067870"/>
                  <a:pt x="3633898" y="1063176"/>
                </a:cubicBezTo>
                <a:cubicBezTo>
                  <a:pt x="3641795" y="1060330"/>
                  <a:pt x="3643715" y="1054497"/>
                  <a:pt x="3650758" y="1055351"/>
                </a:cubicBezTo>
                <a:close/>
                <a:moveTo>
                  <a:pt x="3954454" y="1055208"/>
                </a:moveTo>
                <a:cubicBezTo>
                  <a:pt x="3965125" y="1054782"/>
                  <a:pt x="3974089" y="1062038"/>
                  <a:pt x="3978784" y="1071712"/>
                </a:cubicBezTo>
                <a:cubicBezTo>
                  <a:pt x="3982199" y="1078825"/>
                  <a:pt x="3983266" y="1087361"/>
                  <a:pt x="3980918" y="1094902"/>
                </a:cubicBezTo>
                <a:lnTo>
                  <a:pt x="3980278" y="1096039"/>
                </a:lnTo>
                <a:lnTo>
                  <a:pt x="3981772" y="1094617"/>
                </a:lnTo>
                <a:cubicBezTo>
                  <a:pt x="3983479" y="1094190"/>
                  <a:pt x="3983479" y="1094190"/>
                  <a:pt x="3984333" y="1094902"/>
                </a:cubicBezTo>
                <a:cubicBezTo>
                  <a:pt x="3986894" y="1095044"/>
                  <a:pt x="3988601" y="1094474"/>
                  <a:pt x="3989882" y="1096751"/>
                </a:cubicBezTo>
                <a:cubicBezTo>
                  <a:pt x="3990522" y="1098743"/>
                  <a:pt x="3990309" y="1100166"/>
                  <a:pt x="3989455" y="1101304"/>
                </a:cubicBezTo>
                <a:cubicBezTo>
                  <a:pt x="3988388" y="1102441"/>
                  <a:pt x="3986894" y="1103296"/>
                  <a:pt x="3984974" y="1104291"/>
                </a:cubicBezTo>
                <a:cubicBezTo>
                  <a:pt x="3981132" y="1106283"/>
                  <a:pt x="3978784" y="1103296"/>
                  <a:pt x="3975583" y="1104291"/>
                </a:cubicBezTo>
                <a:lnTo>
                  <a:pt x="3976223" y="1102157"/>
                </a:lnTo>
                <a:lnTo>
                  <a:pt x="3964699" y="1100876"/>
                </a:lnTo>
                <a:cubicBezTo>
                  <a:pt x="3961071" y="1099454"/>
                  <a:pt x="3957869" y="1097320"/>
                  <a:pt x="3955308" y="1094617"/>
                </a:cubicBezTo>
                <a:lnTo>
                  <a:pt x="3951680" y="1089068"/>
                </a:lnTo>
                <a:lnTo>
                  <a:pt x="3950613" y="1094048"/>
                </a:lnTo>
                <a:cubicBezTo>
                  <a:pt x="3948265" y="1099739"/>
                  <a:pt x="3944850" y="1105571"/>
                  <a:pt x="3939302" y="1111120"/>
                </a:cubicBezTo>
                <a:cubicBezTo>
                  <a:pt x="3931618" y="1110836"/>
                  <a:pt x="3929698" y="1104860"/>
                  <a:pt x="3930978" y="1097889"/>
                </a:cubicBezTo>
                <a:cubicBezTo>
                  <a:pt x="3932899" y="1089210"/>
                  <a:pt x="3939729" y="1078825"/>
                  <a:pt x="3946985" y="1076549"/>
                </a:cubicBezTo>
                <a:lnTo>
                  <a:pt x="3947625" y="1076691"/>
                </a:lnTo>
                <a:lnTo>
                  <a:pt x="3947838" y="1067159"/>
                </a:lnTo>
                <a:cubicBezTo>
                  <a:pt x="3948479" y="1063744"/>
                  <a:pt x="3949545" y="1060188"/>
                  <a:pt x="3951253" y="1056773"/>
                </a:cubicBezTo>
                <a:cubicBezTo>
                  <a:pt x="3952747" y="1056916"/>
                  <a:pt x="3954454" y="1056916"/>
                  <a:pt x="3954454" y="1055208"/>
                </a:cubicBezTo>
                <a:close/>
                <a:moveTo>
                  <a:pt x="3658868" y="1054924"/>
                </a:moveTo>
                <a:cubicBezTo>
                  <a:pt x="3659935" y="1059192"/>
                  <a:pt x="3662497" y="1064171"/>
                  <a:pt x="3664630" y="1069008"/>
                </a:cubicBezTo>
                <a:cubicBezTo>
                  <a:pt x="3666764" y="1073845"/>
                  <a:pt x="3668472" y="1078540"/>
                  <a:pt x="3668045" y="1082524"/>
                </a:cubicBezTo>
                <a:lnTo>
                  <a:pt x="3666551" y="1086650"/>
                </a:lnTo>
                <a:lnTo>
                  <a:pt x="3667405" y="1087076"/>
                </a:lnTo>
                <a:cubicBezTo>
                  <a:pt x="3664630" y="1089353"/>
                  <a:pt x="3665484" y="1091914"/>
                  <a:pt x="3662923" y="1094048"/>
                </a:cubicBezTo>
                <a:lnTo>
                  <a:pt x="3659722" y="1090775"/>
                </a:lnTo>
                <a:lnTo>
                  <a:pt x="3657374" y="1091345"/>
                </a:lnTo>
                <a:lnTo>
                  <a:pt x="3656521" y="1099739"/>
                </a:lnTo>
                <a:lnTo>
                  <a:pt x="3654813" y="1104576"/>
                </a:lnTo>
                <a:lnTo>
                  <a:pt x="3655880" y="1104718"/>
                </a:lnTo>
                <a:cubicBezTo>
                  <a:pt x="3658228" y="1107705"/>
                  <a:pt x="3658868" y="1111974"/>
                  <a:pt x="3657801" y="1115957"/>
                </a:cubicBezTo>
                <a:cubicBezTo>
                  <a:pt x="3654600" y="1115388"/>
                  <a:pt x="3652252" y="1114107"/>
                  <a:pt x="3650331" y="1112258"/>
                </a:cubicBezTo>
                <a:lnTo>
                  <a:pt x="3648411" y="1108702"/>
                </a:lnTo>
                <a:lnTo>
                  <a:pt x="3647983" y="1111974"/>
                </a:lnTo>
                <a:lnTo>
                  <a:pt x="3652038" y="1113254"/>
                </a:lnTo>
                <a:cubicBezTo>
                  <a:pt x="3654813" y="1114534"/>
                  <a:pt x="3657588" y="1116099"/>
                  <a:pt x="3659935" y="1117379"/>
                </a:cubicBezTo>
                <a:cubicBezTo>
                  <a:pt x="3655453" y="1119656"/>
                  <a:pt x="3650758" y="1116953"/>
                  <a:pt x="3646490" y="1125205"/>
                </a:cubicBezTo>
                <a:lnTo>
                  <a:pt x="3644569" y="1120226"/>
                </a:lnTo>
                <a:lnTo>
                  <a:pt x="3644142" y="1120794"/>
                </a:lnTo>
                <a:cubicBezTo>
                  <a:pt x="3635819" y="1111262"/>
                  <a:pt x="3638807" y="1095612"/>
                  <a:pt x="3642648" y="1088784"/>
                </a:cubicBezTo>
                <a:cubicBezTo>
                  <a:pt x="3644782" y="1091060"/>
                  <a:pt x="3646276" y="1093905"/>
                  <a:pt x="3647343" y="1097035"/>
                </a:cubicBezTo>
                <a:lnTo>
                  <a:pt x="3648411" y="1104291"/>
                </a:lnTo>
                <a:lnTo>
                  <a:pt x="3650331" y="1103865"/>
                </a:lnTo>
                <a:lnTo>
                  <a:pt x="3651185" y="1104006"/>
                </a:lnTo>
                <a:lnTo>
                  <a:pt x="3648624" y="1100166"/>
                </a:lnTo>
                <a:cubicBezTo>
                  <a:pt x="3645422" y="1092483"/>
                  <a:pt x="3647770" y="1084658"/>
                  <a:pt x="3649904" y="1076691"/>
                </a:cubicBezTo>
                <a:cubicBezTo>
                  <a:pt x="3652679" y="1077972"/>
                  <a:pt x="3654600" y="1080106"/>
                  <a:pt x="3655667" y="1082524"/>
                </a:cubicBezTo>
                <a:lnTo>
                  <a:pt x="3656093" y="1083662"/>
                </a:lnTo>
                <a:lnTo>
                  <a:pt x="3656093" y="1081813"/>
                </a:lnTo>
                <a:cubicBezTo>
                  <a:pt x="3656093" y="1071712"/>
                  <a:pt x="3652679" y="1061753"/>
                  <a:pt x="3658868" y="1054924"/>
                </a:cubicBezTo>
                <a:close/>
                <a:moveTo>
                  <a:pt x="3823414" y="1053359"/>
                </a:moveTo>
                <a:cubicBezTo>
                  <a:pt x="3826616" y="1058481"/>
                  <a:pt x="3832592" y="1059192"/>
                  <a:pt x="3835153" y="1065309"/>
                </a:cubicBezTo>
                <a:cubicBezTo>
                  <a:pt x="3833445" y="1065878"/>
                  <a:pt x="3829390" y="1066163"/>
                  <a:pt x="3827897" y="1062322"/>
                </a:cubicBezTo>
                <a:cubicBezTo>
                  <a:pt x="3826616" y="1058481"/>
                  <a:pt x="3823201" y="1057627"/>
                  <a:pt x="3821707" y="1053786"/>
                </a:cubicBezTo>
                <a:cubicBezTo>
                  <a:pt x="3821707" y="1053786"/>
                  <a:pt x="3821707" y="1053786"/>
                  <a:pt x="3823414" y="1053359"/>
                </a:cubicBezTo>
                <a:close/>
                <a:moveTo>
                  <a:pt x="4036621" y="1049802"/>
                </a:moveTo>
                <a:cubicBezTo>
                  <a:pt x="4035981" y="1054924"/>
                  <a:pt x="4035341" y="1060046"/>
                  <a:pt x="4030645" y="1059903"/>
                </a:cubicBezTo>
                <a:cubicBezTo>
                  <a:pt x="4027017" y="1055635"/>
                  <a:pt x="4029578" y="1048806"/>
                  <a:pt x="4036621" y="1049802"/>
                </a:cubicBezTo>
                <a:close/>
                <a:moveTo>
                  <a:pt x="4349921" y="1049518"/>
                </a:moveTo>
                <a:cubicBezTo>
                  <a:pt x="4350775" y="1049375"/>
                  <a:pt x="4351842" y="1049518"/>
                  <a:pt x="4352696" y="1049802"/>
                </a:cubicBezTo>
                <a:cubicBezTo>
                  <a:pt x="4356750" y="1050940"/>
                  <a:pt x="4361659" y="1054355"/>
                  <a:pt x="4365501" y="1055777"/>
                </a:cubicBezTo>
                <a:cubicBezTo>
                  <a:pt x="4365074" y="1061184"/>
                  <a:pt x="4364434" y="1062891"/>
                  <a:pt x="4361019" y="1067159"/>
                </a:cubicBezTo>
                <a:cubicBezTo>
                  <a:pt x="4353336" y="1067017"/>
                  <a:pt x="4349067" y="1062606"/>
                  <a:pt x="4344799" y="1058196"/>
                </a:cubicBezTo>
                <a:cubicBezTo>
                  <a:pt x="4345439" y="1052078"/>
                  <a:pt x="4347360" y="1049802"/>
                  <a:pt x="4349921" y="1049518"/>
                </a:cubicBezTo>
                <a:close/>
                <a:moveTo>
                  <a:pt x="1396231" y="1048206"/>
                </a:moveTo>
                <a:lnTo>
                  <a:pt x="1404491" y="1052078"/>
                </a:lnTo>
                <a:lnTo>
                  <a:pt x="1405730" y="1050684"/>
                </a:lnTo>
                <a:cubicBezTo>
                  <a:pt x="1406660" y="1049909"/>
                  <a:pt x="1408828" y="1049135"/>
                  <a:pt x="1410893" y="1048825"/>
                </a:cubicBezTo>
                <a:cubicBezTo>
                  <a:pt x="1413062" y="1048670"/>
                  <a:pt x="1415127" y="1048825"/>
                  <a:pt x="1416366" y="1049600"/>
                </a:cubicBezTo>
                <a:cubicBezTo>
                  <a:pt x="1415230" y="1051304"/>
                  <a:pt x="1414094" y="1052852"/>
                  <a:pt x="1412959" y="1054402"/>
                </a:cubicBezTo>
                <a:cubicBezTo>
                  <a:pt x="1413062" y="1053937"/>
                  <a:pt x="1411100" y="1053937"/>
                  <a:pt x="1409035" y="1054247"/>
                </a:cubicBezTo>
                <a:lnTo>
                  <a:pt x="1413165" y="1056106"/>
                </a:lnTo>
                <a:cubicBezTo>
                  <a:pt x="1417915" y="1059049"/>
                  <a:pt x="1419980" y="1062921"/>
                  <a:pt x="1413681" y="1069272"/>
                </a:cubicBezTo>
                <a:cubicBezTo>
                  <a:pt x="1409241" y="1060287"/>
                  <a:pt x="1396437" y="1056570"/>
                  <a:pt x="1396231" y="1048206"/>
                </a:cubicBezTo>
                <a:close/>
                <a:moveTo>
                  <a:pt x="1155128" y="1048206"/>
                </a:moveTo>
                <a:cubicBezTo>
                  <a:pt x="1156057" y="1048980"/>
                  <a:pt x="1158741" y="1048516"/>
                  <a:pt x="1160600" y="1049135"/>
                </a:cubicBezTo>
                <a:cubicBezTo>
                  <a:pt x="1160600" y="1049909"/>
                  <a:pt x="1161530" y="1050529"/>
                  <a:pt x="1161633" y="1051304"/>
                </a:cubicBezTo>
                <a:cubicBezTo>
                  <a:pt x="1160703" y="1051458"/>
                  <a:pt x="1158948" y="1052543"/>
                  <a:pt x="1158948" y="1051768"/>
                </a:cubicBezTo>
                <a:cubicBezTo>
                  <a:pt x="1158019" y="1051923"/>
                  <a:pt x="1157916" y="1050219"/>
                  <a:pt x="1157916" y="1050219"/>
                </a:cubicBezTo>
                <a:cubicBezTo>
                  <a:pt x="1157090" y="1050374"/>
                  <a:pt x="1156160" y="1050529"/>
                  <a:pt x="1155128" y="1049909"/>
                </a:cubicBezTo>
                <a:cubicBezTo>
                  <a:pt x="1156057" y="1048980"/>
                  <a:pt x="1155128" y="1048980"/>
                  <a:pt x="1155128" y="1048206"/>
                </a:cubicBezTo>
                <a:close/>
                <a:moveTo>
                  <a:pt x="3937381" y="1045961"/>
                </a:moveTo>
                <a:cubicBezTo>
                  <a:pt x="3939729" y="1046957"/>
                  <a:pt x="3939942" y="1048237"/>
                  <a:pt x="3938874" y="1049518"/>
                </a:cubicBezTo>
                <a:cubicBezTo>
                  <a:pt x="3938874" y="1049518"/>
                  <a:pt x="3938021" y="1050798"/>
                  <a:pt x="3936954" y="1052078"/>
                </a:cubicBezTo>
                <a:cubicBezTo>
                  <a:pt x="3935887" y="1053217"/>
                  <a:pt x="3936100" y="1054497"/>
                  <a:pt x="3936100" y="1054497"/>
                </a:cubicBezTo>
                <a:cubicBezTo>
                  <a:pt x="3935033" y="1055777"/>
                  <a:pt x="3933753" y="1055777"/>
                  <a:pt x="3932472" y="1054639"/>
                </a:cubicBezTo>
                <a:cubicBezTo>
                  <a:pt x="3932472" y="1054639"/>
                  <a:pt x="3933326" y="1052221"/>
                  <a:pt x="3933326" y="1052221"/>
                </a:cubicBezTo>
                <a:cubicBezTo>
                  <a:pt x="3935460" y="1049802"/>
                  <a:pt x="3936527" y="1048380"/>
                  <a:pt x="3937381" y="1045961"/>
                </a:cubicBezTo>
                <a:close/>
                <a:moveTo>
                  <a:pt x="3312701" y="1045107"/>
                </a:moveTo>
                <a:cubicBezTo>
                  <a:pt x="3312915" y="1045107"/>
                  <a:pt x="3313342" y="1045392"/>
                  <a:pt x="3313342" y="1045961"/>
                </a:cubicBezTo>
                <a:cubicBezTo>
                  <a:pt x="3315689" y="1047241"/>
                  <a:pt x="3313342" y="1049375"/>
                  <a:pt x="3312274" y="1050371"/>
                </a:cubicBezTo>
                <a:cubicBezTo>
                  <a:pt x="3312274" y="1046957"/>
                  <a:pt x="3310994" y="1045819"/>
                  <a:pt x="3312061" y="1045819"/>
                </a:cubicBezTo>
                <a:cubicBezTo>
                  <a:pt x="3312061" y="1045250"/>
                  <a:pt x="3312488" y="1045107"/>
                  <a:pt x="3312701" y="1045107"/>
                </a:cubicBezTo>
                <a:close/>
                <a:moveTo>
                  <a:pt x="3721400" y="1044681"/>
                </a:moveTo>
                <a:cubicBezTo>
                  <a:pt x="3722467" y="1044396"/>
                  <a:pt x="3723535" y="1044681"/>
                  <a:pt x="3725242" y="1046388"/>
                </a:cubicBezTo>
                <a:cubicBezTo>
                  <a:pt x="3727376" y="1047099"/>
                  <a:pt x="3728656" y="1049945"/>
                  <a:pt x="3730791" y="1050656"/>
                </a:cubicBezTo>
                <a:cubicBezTo>
                  <a:pt x="3730791" y="1050656"/>
                  <a:pt x="3730791" y="1052363"/>
                  <a:pt x="3730363" y="1054355"/>
                </a:cubicBezTo>
                <a:cubicBezTo>
                  <a:pt x="3729937" y="1056347"/>
                  <a:pt x="3729297" y="1058481"/>
                  <a:pt x="3728016" y="1059334"/>
                </a:cubicBezTo>
                <a:cubicBezTo>
                  <a:pt x="3724388" y="1063033"/>
                  <a:pt x="3720120" y="1054497"/>
                  <a:pt x="3717985" y="1053928"/>
                </a:cubicBezTo>
                <a:cubicBezTo>
                  <a:pt x="3716491" y="1051083"/>
                  <a:pt x="3715211" y="1048095"/>
                  <a:pt x="3717985" y="1046530"/>
                </a:cubicBezTo>
                <a:cubicBezTo>
                  <a:pt x="3719479" y="1045819"/>
                  <a:pt x="3720547" y="1044965"/>
                  <a:pt x="3721400" y="1044681"/>
                </a:cubicBezTo>
                <a:close/>
                <a:moveTo>
                  <a:pt x="1464896" y="1044178"/>
                </a:moveTo>
                <a:cubicBezTo>
                  <a:pt x="1466032" y="1045882"/>
                  <a:pt x="1465619" y="1046657"/>
                  <a:pt x="1464380" y="1046812"/>
                </a:cubicBezTo>
                <a:cubicBezTo>
                  <a:pt x="1464380" y="1046812"/>
                  <a:pt x="1463141" y="1046966"/>
                  <a:pt x="1462005" y="1047121"/>
                </a:cubicBezTo>
                <a:cubicBezTo>
                  <a:pt x="1460766" y="1047276"/>
                  <a:pt x="1460353" y="1048051"/>
                  <a:pt x="1460353" y="1048051"/>
                </a:cubicBezTo>
                <a:cubicBezTo>
                  <a:pt x="1459114" y="1048206"/>
                  <a:pt x="1458288" y="1047586"/>
                  <a:pt x="1457978" y="1046502"/>
                </a:cubicBezTo>
                <a:cubicBezTo>
                  <a:pt x="1457978" y="1046502"/>
                  <a:pt x="1459630" y="1045573"/>
                  <a:pt x="1459630" y="1045573"/>
                </a:cubicBezTo>
                <a:cubicBezTo>
                  <a:pt x="1462108" y="1045263"/>
                  <a:pt x="1463244" y="1045108"/>
                  <a:pt x="1464896" y="1044178"/>
                </a:cubicBezTo>
                <a:close/>
                <a:moveTo>
                  <a:pt x="4582548" y="1044111"/>
                </a:moveTo>
                <a:cubicBezTo>
                  <a:pt x="4582335" y="1045819"/>
                  <a:pt x="4584043" y="1045961"/>
                  <a:pt x="4585536" y="1045961"/>
                </a:cubicBezTo>
                <a:cubicBezTo>
                  <a:pt x="4591086" y="1054355"/>
                  <a:pt x="4577640" y="1071569"/>
                  <a:pt x="4570811" y="1066590"/>
                </a:cubicBezTo>
                <a:cubicBezTo>
                  <a:pt x="4569957" y="1065878"/>
                  <a:pt x="4569103" y="1064598"/>
                  <a:pt x="4568463" y="1062891"/>
                </a:cubicBezTo>
                <a:cubicBezTo>
                  <a:pt x="4569530" y="1052790"/>
                  <a:pt x="4572732" y="1045392"/>
                  <a:pt x="4582548" y="1044111"/>
                </a:cubicBezTo>
                <a:close/>
                <a:moveTo>
                  <a:pt x="4778041" y="1043400"/>
                </a:moveTo>
                <a:cubicBezTo>
                  <a:pt x="4778681" y="1043258"/>
                  <a:pt x="4779322" y="1043400"/>
                  <a:pt x="4780176" y="1043969"/>
                </a:cubicBezTo>
                <a:cubicBezTo>
                  <a:pt x="4783590" y="1052648"/>
                  <a:pt x="4771425" y="1074272"/>
                  <a:pt x="4759901" y="1071000"/>
                </a:cubicBezTo>
                <a:cubicBezTo>
                  <a:pt x="4764596" y="1063460"/>
                  <a:pt x="4769718" y="1056916"/>
                  <a:pt x="4772919" y="1045107"/>
                </a:cubicBezTo>
                <a:cubicBezTo>
                  <a:pt x="4775053" y="1045961"/>
                  <a:pt x="4776121" y="1043684"/>
                  <a:pt x="4778041" y="1043400"/>
                </a:cubicBezTo>
                <a:close/>
                <a:moveTo>
                  <a:pt x="4998291" y="1042689"/>
                </a:moveTo>
                <a:cubicBezTo>
                  <a:pt x="5001065" y="1043400"/>
                  <a:pt x="5002986" y="1044823"/>
                  <a:pt x="5004053" y="1046672"/>
                </a:cubicBezTo>
                <a:cubicBezTo>
                  <a:pt x="5007681" y="1052221"/>
                  <a:pt x="5004266" y="1060899"/>
                  <a:pt x="4998504" y="1062606"/>
                </a:cubicBezTo>
                <a:cubicBezTo>
                  <a:pt x="4995729" y="1063318"/>
                  <a:pt x="4992741" y="1062606"/>
                  <a:pt x="4989327" y="1059619"/>
                </a:cubicBezTo>
                <a:cubicBezTo>
                  <a:pt x="4994022" y="1052221"/>
                  <a:pt x="4991888" y="1046957"/>
                  <a:pt x="4998291" y="1042689"/>
                </a:cubicBezTo>
                <a:close/>
                <a:moveTo>
                  <a:pt x="1164421" y="1042629"/>
                </a:moveTo>
                <a:cubicBezTo>
                  <a:pt x="1164421" y="1042629"/>
                  <a:pt x="1165247" y="1043404"/>
                  <a:pt x="1166176" y="1044178"/>
                </a:cubicBezTo>
                <a:cubicBezTo>
                  <a:pt x="1167105" y="1044798"/>
                  <a:pt x="1168035" y="1044798"/>
                  <a:pt x="1168035" y="1044798"/>
                </a:cubicBezTo>
                <a:cubicBezTo>
                  <a:pt x="1168964" y="1045573"/>
                  <a:pt x="1169067" y="1046347"/>
                  <a:pt x="1168241" y="1047276"/>
                </a:cubicBezTo>
                <a:cubicBezTo>
                  <a:pt x="1168241" y="1047276"/>
                  <a:pt x="1166383" y="1046657"/>
                  <a:pt x="1166383" y="1046657"/>
                </a:cubicBezTo>
                <a:cubicBezTo>
                  <a:pt x="1164524" y="1045263"/>
                  <a:pt x="1163595" y="1044488"/>
                  <a:pt x="1161839" y="1043869"/>
                </a:cubicBezTo>
                <a:cubicBezTo>
                  <a:pt x="1162562" y="1042010"/>
                  <a:pt x="1163491" y="1041855"/>
                  <a:pt x="1164421" y="1042629"/>
                </a:cubicBezTo>
                <a:close/>
                <a:moveTo>
                  <a:pt x="4057536" y="1042546"/>
                </a:moveTo>
                <a:cubicBezTo>
                  <a:pt x="4059030" y="1043684"/>
                  <a:pt x="4060097" y="1045819"/>
                  <a:pt x="4060951" y="1048380"/>
                </a:cubicBezTo>
                <a:cubicBezTo>
                  <a:pt x="4062871" y="1055920"/>
                  <a:pt x="4060951" y="1067443"/>
                  <a:pt x="4058176" y="1070004"/>
                </a:cubicBezTo>
                <a:cubicBezTo>
                  <a:pt x="4054975" y="1066448"/>
                  <a:pt x="4056683" y="1061611"/>
                  <a:pt x="4053695" y="1056773"/>
                </a:cubicBezTo>
                <a:cubicBezTo>
                  <a:pt x="4056469" y="1053217"/>
                  <a:pt x="4053481" y="1047241"/>
                  <a:pt x="4057536" y="1042546"/>
                </a:cubicBezTo>
                <a:close/>
                <a:moveTo>
                  <a:pt x="985891" y="1042165"/>
                </a:moveTo>
                <a:cubicBezTo>
                  <a:pt x="985891" y="1042165"/>
                  <a:pt x="985994" y="1042165"/>
                  <a:pt x="985891" y="1043094"/>
                </a:cubicBezTo>
                <a:cubicBezTo>
                  <a:pt x="985891" y="1043094"/>
                  <a:pt x="985891" y="1042165"/>
                  <a:pt x="986820" y="1042319"/>
                </a:cubicBezTo>
                <a:cubicBezTo>
                  <a:pt x="989195" y="1046657"/>
                  <a:pt x="988266" y="1053317"/>
                  <a:pt x="988266" y="1054247"/>
                </a:cubicBezTo>
                <a:cubicBezTo>
                  <a:pt x="987439" y="1054092"/>
                  <a:pt x="987439" y="1054092"/>
                  <a:pt x="987439" y="1054092"/>
                </a:cubicBezTo>
                <a:cubicBezTo>
                  <a:pt x="988059" y="1051613"/>
                  <a:pt x="985891" y="1048516"/>
                  <a:pt x="985581" y="1045263"/>
                </a:cubicBezTo>
                <a:cubicBezTo>
                  <a:pt x="985374" y="1044178"/>
                  <a:pt x="985478" y="1043249"/>
                  <a:pt x="985891" y="1042165"/>
                </a:cubicBezTo>
                <a:close/>
                <a:moveTo>
                  <a:pt x="4006102" y="1041977"/>
                </a:moveTo>
                <a:cubicBezTo>
                  <a:pt x="4007596" y="1044396"/>
                  <a:pt x="4007596" y="1044396"/>
                  <a:pt x="4006743" y="1046815"/>
                </a:cubicBezTo>
                <a:cubicBezTo>
                  <a:pt x="4005462" y="1046957"/>
                  <a:pt x="4005675" y="1048095"/>
                  <a:pt x="4004395" y="1046957"/>
                </a:cubicBezTo>
                <a:cubicBezTo>
                  <a:pt x="4003541" y="1048806"/>
                  <a:pt x="4000767" y="1050798"/>
                  <a:pt x="3997352" y="1052221"/>
                </a:cubicBezTo>
                <a:lnTo>
                  <a:pt x="3996925" y="1052363"/>
                </a:lnTo>
                <a:lnTo>
                  <a:pt x="3999059" y="1053643"/>
                </a:lnTo>
                <a:cubicBezTo>
                  <a:pt x="3999913" y="1054212"/>
                  <a:pt x="4000767" y="1054497"/>
                  <a:pt x="4001833" y="1055067"/>
                </a:cubicBezTo>
                <a:lnTo>
                  <a:pt x="4002047" y="1055208"/>
                </a:lnTo>
                <a:lnTo>
                  <a:pt x="4002687" y="1055067"/>
                </a:lnTo>
                <a:cubicBezTo>
                  <a:pt x="4003968" y="1054782"/>
                  <a:pt x="4005462" y="1054782"/>
                  <a:pt x="4006956" y="1055208"/>
                </a:cubicBezTo>
                <a:cubicBezTo>
                  <a:pt x="4006956" y="1055208"/>
                  <a:pt x="4006956" y="1055208"/>
                  <a:pt x="4005888" y="1055351"/>
                </a:cubicBezTo>
                <a:cubicBezTo>
                  <a:pt x="4005888" y="1055351"/>
                  <a:pt x="4006956" y="1055208"/>
                  <a:pt x="4007169" y="1056347"/>
                </a:cubicBezTo>
                <a:lnTo>
                  <a:pt x="4003327" y="1057485"/>
                </a:lnTo>
                <a:lnTo>
                  <a:pt x="4003968" y="1058196"/>
                </a:lnTo>
                <a:cubicBezTo>
                  <a:pt x="4004395" y="1059334"/>
                  <a:pt x="4004821" y="1060472"/>
                  <a:pt x="4005888" y="1062322"/>
                </a:cubicBezTo>
                <a:cubicBezTo>
                  <a:pt x="4004395" y="1064741"/>
                  <a:pt x="4004395" y="1064598"/>
                  <a:pt x="4003327" y="1064598"/>
                </a:cubicBezTo>
                <a:cubicBezTo>
                  <a:pt x="4004395" y="1064598"/>
                  <a:pt x="4004181" y="1065878"/>
                  <a:pt x="4005248" y="1067159"/>
                </a:cubicBezTo>
                <a:cubicBezTo>
                  <a:pt x="4010797" y="1070858"/>
                  <a:pt x="4007809" y="1076691"/>
                  <a:pt x="4002687" y="1082524"/>
                </a:cubicBezTo>
                <a:cubicBezTo>
                  <a:pt x="4001620" y="1081386"/>
                  <a:pt x="3998846" y="1084943"/>
                  <a:pt x="3996498" y="1086081"/>
                </a:cubicBezTo>
                <a:cubicBezTo>
                  <a:pt x="3992870" y="1085938"/>
                  <a:pt x="3990736" y="1085938"/>
                  <a:pt x="3988601" y="1083520"/>
                </a:cubicBezTo>
                <a:cubicBezTo>
                  <a:pt x="3985400" y="1079821"/>
                  <a:pt x="3983906" y="1071569"/>
                  <a:pt x="3987748" y="1068013"/>
                </a:cubicBezTo>
                <a:cubicBezTo>
                  <a:pt x="3991803" y="1063318"/>
                  <a:pt x="3995431" y="1062179"/>
                  <a:pt x="3998846" y="1062179"/>
                </a:cubicBezTo>
                <a:cubicBezTo>
                  <a:pt x="3998846" y="1062179"/>
                  <a:pt x="3998846" y="1062179"/>
                  <a:pt x="3997565" y="1062179"/>
                </a:cubicBezTo>
                <a:lnTo>
                  <a:pt x="3995645" y="1059477"/>
                </a:lnTo>
                <a:lnTo>
                  <a:pt x="3993510" y="1059619"/>
                </a:lnTo>
                <a:cubicBezTo>
                  <a:pt x="3992443" y="1059619"/>
                  <a:pt x="3991589" y="1059619"/>
                  <a:pt x="3991376" y="1059619"/>
                </a:cubicBezTo>
                <a:cubicBezTo>
                  <a:pt x="3991162" y="1058481"/>
                  <a:pt x="3991162" y="1058481"/>
                  <a:pt x="3991162" y="1058481"/>
                </a:cubicBezTo>
                <a:lnTo>
                  <a:pt x="3994150" y="1057769"/>
                </a:lnTo>
                <a:lnTo>
                  <a:pt x="3990736" y="1053502"/>
                </a:lnTo>
                <a:lnTo>
                  <a:pt x="3987961" y="1054070"/>
                </a:lnTo>
                <a:lnTo>
                  <a:pt x="3989882" y="1051936"/>
                </a:lnTo>
                <a:lnTo>
                  <a:pt x="3988175" y="1048664"/>
                </a:lnTo>
                <a:cubicBezTo>
                  <a:pt x="3987534" y="1047383"/>
                  <a:pt x="3987321" y="1046103"/>
                  <a:pt x="3987748" y="1045250"/>
                </a:cubicBezTo>
                <a:cubicBezTo>
                  <a:pt x="3989029" y="1045250"/>
                  <a:pt x="3990096" y="1045250"/>
                  <a:pt x="3991162" y="1046530"/>
                </a:cubicBezTo>
                <a:cubicBezTo>
                  <a:pt x="3992230" y="1047668"/>
                  <a:pt x="3990949" y="1047668"/>
                  <a:pt x="3992230" y="1047811"/>
                </a:cubicBezTo>
                <a:cubicBezTo>
                  <a:pt x="3993084" y="1048948"/>
                  <a:pt x="3993297" y="1047811"/>
                  <a:pt x="3993297" y="1047811"/>
                </a:cubicBezTo>
                <a:lnTo>
                  <a:pt x="3993297" y="1048237"/>
                </a:lnTo>
                <a:lnTo>
                  <a:pt x="3997992" y="1046103"/>
                </a:lnTo>
                <a:cubicBezTo>
                  <a:pt x="4001407" y="1045392"/>
                  <a:pt x="4004181" y="1045107"/>
                  <a:pt x="4006102" y="1041977"/>
                </a:cubicBezTo>
                <a:close/>
                <a:moveTo>
                  <a:pt x="4855940" y="1041836"/>
                </a:moveTo>
                <a:cubicBezTo>
                  <a:pt x="4857860" y="1041977"/>
                  <a:pt x="4859781" y="1042689"/>
                  <a:pt x="4861488" y="1043684"/>
                </a:cubicBezTo>
                <a:cubicBezTo>
                  <a:pt x="4858714" y="1050087"/>
                  <a:pt x="4854445" y="1052221"/>
                  <a:pt x="4848257" y="1052790"/>
                </a:cubicBezTo>
                <a:cubicBezTo>
                  <a:pt x="4847402" y="1050798"/>
                  <a:pt x="4849537" y="1045961"/>
                  <a:pt x="4850817" y="1042831"/>
                </a:cubicBezTo>
                <a:cubicBezTo>
                  <a:pt x="4852311" y="1041977"/>
                  <a:pt x="4854232" y="1041693"/>
                  <a:pt x="4855940" y="1041836"/>
                </a:cubicBezTo>
                <a:close/>
                <a:moveTo>
                  <a:pt x="976288" y="1040461"/>
                </a:moveTo>
                <a:cubicBezTo>
                  <a:pt x="978146" y="1039841"/>
                  <a:pt x="978146" y="1039841"/>
                  <a:pt x="979901" y="1040925"/>
                </a:cubicBezTo>
                <a:cubicBezTo>
                  <a:pt x="979901" y="1041700"/>
                  <a:pt x="980728" y="1041855"/>
                  <a:pt x="979901" y="1042629"/>
                </a:cubicBezTo>
                <a:cubicBezTo>
                  <a:pt x="982483" y="1044488"/>
                  <a:pt x="984961" y="1052388"/>
                  <a:pt x="984032" y="1055641"/>
                </a:cubicBezTo>
                <a:cubicBezTo>
                  <a:pt x="976185" y="1048980"/>
                  <a:pt x="980728" y="1044333"/>
                  <a:pt x="976288" y="1040461"/>
                </a:cubicBezTo>
                <a:close/>
                <a:moveTo>
                  <a:pt x="1253982" y="1039590"/>
                </a:moveTo>
                <a:cubicBezTo>
                  <a:pt x="1261791" y="1040461"/>
                  <a:pt x="1270052" y="1042552"/>
                  <a:pt x="1277796" y="1043714"/>
                </a:cubicBezTo>
                <a:cubicBezTo>
                  <a:pt x="1276867" y="1046502"/>
                  <a:pt x="1278415" y="1048670"/>
                  <a:pt x="1276040" y="1052698"/>
                </a:cubicBezTo>
                <a:lnTo>
                  <a:pt x="1264682" y="1050064"/>
                </a:lnTo>
                <a:lnTo>
                  <a:pt x="1263133" y="1050529"/>
                </a:lnTo>
                <a:cubicBezTo>
                  <a:pt x="1262101" y="1050529"/>
                  <a:pt x="1261275" y="1050374"/>
                  <a:pt x="1260965" y="1050064"/>
                </a:cubicBezTo>
                <a:lnTo>
                  <a:pt x="1260552" y="1049135"/>
                </a:lnTo>
                <a:lnTo>
                  <a:pt x="1253531" y="1047586"/>
                </a:lnTo>
                <a:cubicBezTo>
                  <a:pt x="1246200" y="1046347"/>
                  <a:pt x="1239281" y="1044953"/>
                  <a:pt x="1232879" y="1042785"/>
                </a:cubicBezTo>
                <a:cubicBezTo>
                  <a:pt x="1238817" y="1039067"/>
                  <a:pt x="1246174" y="1038718"/>
                  <a:pt x="1253982" y="1039590"/>
                </a:cubicBezTo>
                <a:close/>
                <a:moveTo>
                  <a:pt x="3803994" y="1038136"/>
                </a:moveTo>
                <a:cubicBezTo>
                  <a:pt x="3804634" y="1037140"/>
                  <a:pt x="3808475" y="1039559"/>
                  <a:pt x="3808689" y="1041124"/>
                </a:cubicBezTo>
                <a:cubicBezTo>
                  <a:pt x="3809115" y="1044396"/>
                  <a:pt x="3809329" y="1045961"/>
                  <a:pt x="3808048" y="1048095"/>
                </a:cubicBezTo>
                <a:cubicBezTo>
                  <a:pt x="3808262" y="1049660"/>
                  <a:pt x="3808689" y="1051367"/>
                  <a:pt x="3808475" y="1052790"/>
                </a:cubicBezTo>
                <a:cubicBezTo>
                  <a:pt x="3808262" y="1054070"/>
                  <a:pt x="3807408" y="1055067"/>
                  <a:pt x="3805914" y="1055493"/>
                </a:cubicBezTo>
                <a:cubicBezTo>
                  <a:pt x="3803780" y="1052648"/>
                  <a:pt x="3802713" y="1050513"/>
                  <a:pt x="3801219" y="1046530"/>
                </a:cubicBezTo>
                <a:cubicBezTo>
                  <a:pt x="3801219" y="1046530"/>
                  <a:pt x="3800152" y="1040128"/>
                  <a:pt x="3803994" y="1038136"/>
                </a:cubicBezTo>
                <a:close/>
                <a:moveTo>
                  <a:pt x="4276932" y="1037567"/>
                </a:moveTo>
                <a:cubicBezTo>
                  <a:pt x="4282694" y="1036002"/>
                  <a:pt x="4285895" y="1038279"/>
                  <a:pt x="4287816" y="1042831"/>
                </a:cubicBezTo>
                <a:cubicBezTo>
                  <a:pt x="4285255" y="1049233"/>
                  <a:pt x="4276505" y="1049660"/>
                  <a:pt x="4274370" y="1044111"/>
                </a:cubicBezTo>
                <a:cubicBezTo>
                  <a:pt x="4275011" y="1042404"/>
                  <a:pt x="4275224" y="1039701"/>
                  <a:pt x="4276932" y="1037567"/>
                </a:cubicBezTo>
                <a:close/>
                <a:moveTo>
                  <a:pt x="3931191" y="1036714"/>
                </a:moveTo>
                <a:cubicBezTo>
                  <a:pt x="3930338" y="1037994"/>
                  <a:pt x="3930765" y="1041693"/>
                  <a:pt x="3930124" y="1044254"/>
                </a:cubicBezTo>
                <a:cubicBezTo>
                  <a:pt x="3929058" y="1044396"/>
                  <a:pt x="3927991" y="1045676"/>
                  <a:pt x="3926923" y="1045676"/>
                </a:cubicBezTo>
                <a:cubicBezTo>
                  <a:pt x="3926710" y="1044396"/>
                  <a:pt x="3925429" y="1041977"/>
                  <a:pt x="3926496" y="1041977"/>
                </a:cubicBezTo>
                <a:cubicBezTo>
                  <a:pt x="3926283" y="1040697"/>
                  <a:pt x="3928417" y="1040697"/>
                  <a:pt x="3928417" y="1040697"/>
                </a:cubicBezTo>
                <a:cubicBezTo>
                  <a:pt x="3928417" y="1039417"/>
                  <a:pt x="3927991" y="1038136"/>
                  <a:pt x="3929058" y="1036856"/>
                </a:cubicBezTo>
                <a:cubicBezTo>
                  <a:pt x="3930338" y="1037994"/>
                  <a:pt x="3930124" y="1036714"/>
                  <a:pt x="3931191" y="1036714"/>
                </a:cubicBezTo>
                <a:close/>
                <a:moveTo>
                  <a:pt x="1262204" y="1036434"/>
                </a:moveTo>
                <a:lnTo>
                  <a:pt x="1264682" y="1038912"/>
                </a:lnTo>
                <a:cubicBezTo>
                  <a:pt x="1263753" y="1039841"/>
                  <a:pt x="1261998" y="1040771"/>
                  <a:pt x="1261275" y="1039996"/>
                </a:cubicBezTo>
                <a:cubicBezTo>
                  <a:pt x="1260449" y="1039531"/>
                  <a:pt x="1260449" y="1039067"/>
                  <a:pt x="1260759" y="1038602"/>
                </a:cubicBezTo>
                <a:cubicBezTo>
                  <a:pt x="1261172" y="1037983"/>
                  <a:pt x="1261791" y="1037363"/>
                  <a:pt x="1262204" y="1036434"/>
                </a:cubicBezTo>
                <a:close/>
                <a:moveTo>
                  <a:pt x="1502585" y="1036279"/>
                </a:moveTo>
                <a:cubicBezTo>
                  <a:pt x="1502998" y="1041081"/>
                  <a:pt x="1505579" y="1044024"/>
                  <a:pt x="1508573" y="1046657"/>
                </a:cubicBezTo>
                <a:lnTo>
                  <a:pt x="1511981" y="1049290"/>
                </a:lnTo>
                <a:lnTo>
                  <a:pt x="1512704" y="1048670"/>
                </a:lnTo>
                <a:cubicBezTo>
                  <a:pt x="1512910" y="1048516"/>
                  <a:pt x="1512910" y="1048516"/>
                  <a:pt x="1512497" y="1048516"/>
                </a:cubicBezTo>
                <a:cubicBezTo>
                  <a:pt x="1514459" y="1046966"/>
                  <a:pt x="1516524" y="1044488"/>
                  <a:pt x="1518176" y="1045418"/>
                </a:cubicBezTo>
                <a:cubicBezTo>
                  <a:pt x="1520345" y="1047741"/>
                  <a:pt x="1519415" y="1050994"/>
                  <a:pt x="1517763" y="1054092"/>
                </a:cubicBezTo>
                <a:lnTo>
                  <a:pt x="1517557" y="1054402"/>
                </a:lnTo>
                <a:lnTo>
                  <a:pt x="1519106" y="1057345"/>
                </a:lnTo>
                <a:cubicBezTo>
                  <a:pt x="1519519" y="1058584"/>
                  <a:pt x="1519726" y="1059823"/>
                  <a:pt x="1519622" y="1061372"/>
                </a:cubicBezTo>
                <a:lnTo>
                  <a:pt x="1518176" y="1067413"/>
                </a:lnTo>
                <a:lnTo>
                  <a:pt x="1520138" y="1067723"/>
                </a:lnTo>
                <a:cubicBezTo>
                  <a:pt x="1519726" y="1070666"/>
                  <a:pt x="1518176" y="1071440"/>
                  <a:pt x="1516214" y="1071595"/>
                </a:cubicBezTo>
                <a:lnTo>
                  <a:pt x="1516008" y="1071440"/>
                </a:lnTo>
                <a:lnTo>
                  <a:pt x="1513220" y="1074848"/>
                </a:lnTo>
                <a:lnTo>
                  <a:pt x="1519415" y="1076397"/>
                </a:lnTo>
                <a:cubicBezTo>
                  <a:pt x="1521584" y="1077171"/>
                  <a:pt x="1523752" y="1078101"/>
                  <a:pt x="1525611" y="1079030"/>
                </a:cubicBezTo>
                <a:cubicBezTo>
                  <a:pt x="1529535" y="1080734"/>
                  <a:pt x="1533562" y="1082748"/>
                  <a:pt x="1534904" y="1085381"/>
                </a:cubicBezTo>
                <a:lnTo>
                  <a:pt x="1534904" y="1085691"/>
                </a:lnTo>
                <a:lnTo>
                  <a:pt x="1536969" y="1087085"/>
                </a:lnTo>
                <a:cubicBezTo>
                  <a:pt x="1539447" y="1089253"/>
                  <a:pt x="1540686" y="1091886"/>
                  <a:pt x="1537175" y="1094210"/>
                </a:cubicBezTo>
                <a:lnTo>
                  <a:pt x="1532529" y="1091112"/>
                </a:lnTo>
                <a:lnTo>
                  <a:pt x="1531083" y="1092971"/>
                </a:lnTo>
                <a:cubicBezTo>
                  <a:pt x="1529018" y="1093900"/>
                  <a:pt x="1526437" y="1094365"/>
                  <a:pt x="1523752" y="1094055"/>
                </a:cubicBezTo>
                <a:lnTo>
                  <a:pt x="1522720" y="1093745"/>
                </a:lnTo>
                <a:lnTo>
                  <a:pt x="1523030" y="1104123"/>
                </a:lnTo>
                <a:lnTo>
                  <a:pt x="1523339" y="1107066"/>
                </a:lnTo>
                <a:lnTo>
                  <a:pt x="1524268" y="1107531"/>
                </a:lnTo>
                <a:cubicBezTo>
                  <a:pt x="1525095" y="1108460"/>
                  <a:pt x="1525714" y="1109390"/>
                  <a:pt x="1526953" y="1109854"/>
                </a:cubicBezTo>
                <a:cubicBezTo>
                  <a:pt x="1526334" y="1110474"/>
                  <a:pt x="1525611" y="1111403"/>
                  <a:pt x="1524475" y="1112178"/>
                </a:cubicBezTo>
                <a:lnTo>
                  <a:pt x="1523959" y="1112333"/>
                </a:lnTo>
                <a:lnTo>
                  <a:pt x="1523959" y="1112642"/>
                </a:lnTo>
                <a:lnTo>
                  <a:pt x="1523546" y="1112488"/>
                </a:lnTo>
                <a:lnTo>
                  <a:pt x="1522513" y="1112798"/>
                </a:lnTo>
                <a:cubicBezTo>
                  <a:pt x="1521687" y="1112952"/>
                  <a:pt x="1520758" y="1112952"/>
                  <a:pt x="1519726" y="1112642"/>
                </a:cubicBezTo>
                <a:cubicBezTo>
                  <a:pt x="1518486" y="1112178"/>
                  <a:pt x="1518486" y="1112178"/>
                  <a:pt x="1518073" y="1111403"/>
                </a:cubicBezTo>
                <a:cubicBezTo>
                  <a:pt x="1517350" y="1110784"/>
                  <a:pt x="1516628" y="1110319"/>
                  <a:pt x="1516111" y="1109854"/>
                </a:cubicBezTo>
                <a:lnTo>
                  <a:pt x="1516008" y="1109390"/>
                </a:lnTo>
                <a:lnTo>
                  <a:pt x="1514563" y="1109080"/>
                </a:lnTo>
                <a:cubicBezTo>
                  <a:pt x="1511465" y="1108615"/>
                  <a:pt x="1508264" y="1108925"/>
                  <a:pt x="1505166" y="1109080"/>
                </a:cubicBezTo>
                <a:lnTo>
                  <a:pt x="1505063" y="1110784"/>
                </a:lnTo>
                <a:cubicBezTo>
                  <a:pt x="1504340" y="1112178"/>
                  <a:pt x="1503411" y="1113417"/>
                  <a:pt x="1503204" y="1114966"/>
                </a:cubicBezTo>
                <a:cubicBezTo>
                  <a:pt x="1499384" y="1114346"/>
                  <a:pt x="1497422" y="1112178"/>
                  <a:pt x="1496905" y="1109854"/>
                </a:cubicBezTo>
                <a:lnTo>
                  <a:pt x="1497112" y="1107996"/>
                </a:lnTo>
                <a:lnTo>
                  <a:pt x="1495460" y="1107376"/>
                </a:lnTo>
                <a:cubicBezTo>
                  <a:pt x="1494221" y="1106756"/>
                  <a:pt x="1492982" y="1105982"/>
                  <a:pt x="1491846" y="1104898"/>
                </a:cubicBezTo>
                <a:cubicBezTo>
                  <a:pt x="1483069" y="1096843"/>
                  <a:pt x="1484825" y="1086155"/>
                  <a:pt x="1490813" y="1079805"/>
                </a:cubicBezTo>
                <a:lnTo>
                  <a:pt x="1491330" y="1079340"/>
                </a:lnTo>
                <a:lnTo>
                  <a:pt x="1489161" y="1078101"/>
                </a:lnTo>
                <a:lnTo>
                  <a:pt x="1489058" y="1079805"/>
                </a:lnTo>
                <a:cubicBezTo>
                  <a:pt x="1488129" y="1081198"/>
                  <a:pt x="1486477" y="1081818"/>
                  <a:pt x="1483792" y="1081043"/>
                </a:cubicBezTo>
                <a:cubicBezTo>
                  <a:pt x="1483172" y="1079805"/>
                  <a:pt x="1483172" y="1077946"/>
                  <a:pt x="1483586" y="1076242"/>
                </a:cubicBezTo>
                <a:lnTo>
                  <a:pt x="1484825" y="1074538"/>
                </a:lnTo>
                <a:lnTo>
                  <a:pt x="1482140" y="1069736"/>
                </a:lnTo>
                <a:cubicBezTo>
                  <a:pt x="1481830" y="1068342"/>
                  <a:pt x="1481727" y="1067103"/>
                  <a:pt x="1481727" y="1065554"/>
                </a:cubicBezTo>
                <a:cubicBezTo>
                  <a:pt x="1481727" y="1064005"/>
                  <a:pt x="1481933" y="1062456"/>
                  <a:pt x="1482243" y="1060753"/>
                </a:cubicBezTo>
                <a:cubicBezTo>
                  <a:pt x="1483586" y="1055951"/>
                  <a:pt x="1486787" y="1052388"/>
                  <a:pt x="1490504" y="1048825"/>
                </a:cubicBezTo>
                <a:lnTo>
                  <a:pt x="1493085" y="1046347"/>
                </a:lnTo>
                <a:lnTo>
                  <a:pt x="1493395" y="1045108"/>
                </a:lnTo>
                <a:cubicBezTo>
                  <a:pt x="1493705" y="1043869"/>
                  <a:pt x="1494118" y="1042785"/>
                  <a:pt x="1494737" y="1042165"/>
                </a:cubicBezTo>
                <a:cubicBezTo>
                  <a:pt x="1495150" y="1041700"/>
                  <a:pt x="1495667" y="1041545"/>
                  <a:pt x="1496183" y="1041700"/>
                </a:cubicBezTo>
                <a:lnTo>
                  <a:pt x="1495873" y="1043869"/>
                </a:lnTo>
                <a:lnTo>
                  <a:pt x="1496493" y="1043094"/>
                </a:lnTo>
                <a:cubicBezTo>
                  <a:pt x="1498558" y="1041081"/>
                  <a:pt x="1500726" y="1038912"/>
                  <a:pt x="1502585" y="1036279"/>
                </a:cubicBezTo>
                <a:close/>
                <a:moveTo>
                  <a:pt x="3675942" y="1036144"/>
                </a:moveTo>
                <a:cubicBezTo>
                  <a:pt x="3677009" y="1037425"/>
                  <a:pt x="3677863" y="1038705"/>
                  <a:pt x="3678076" y="1040128"/>
                </a:cubicBezTo>
                <a:cubicBezTo>
                  <a:pt x="3678289" y="1041551"/>
                  <a:pt x="3678076" y="1042973"/>
                  <a:pt x="3677436" y="1044965"/>
                </a:cubicBezTo>
                <a:cubicBezTo>
                  <a:pt x="3675515" y="1041124"/>
                  <a:pt x="3674448" y="1039844"/>
                  <a:pt x="3675942" y="1036144"/>
                </a:cubicBezTo>
                <a:close/>
                <a:moveTo>
                  <a:pt x="1150068" y="1035504"/>
                </a:moveTo>
                <a:cubicBezTo>
                  <a:pt x="1150894" y="1033645"/>
                  <a:pt x="1152649" y="1034265"/>
                  <a:pt x="1154405" y="1035659"/>
                </a:cubicBezTo>
                <a:cubicBezTo>
                  <a:pt x="1158948" y="1037518"/>
                  <a:pt x="1159981" y="1039841"/>
                  <a:pt x="1157503" y="1042785"/>
                </a:cubicBezTo>
                <a:cubicBezTo>
                  <a:pt x="1156676" y="1042939"/>
                  <a:pt x="1153992" y="1042319"/>
                  <a:pt x="1154095" y="1043249"/>
                </a:cubicBezTo>
                <a:cubicBezTo>
                  <a:pt x="1152030" y="1041700"/>
                  <a:pt x="1149862" y="1039686"/>
                  <a:pt x="1149655" y="1037518"/>
                </a:cubicBezTo>
                <a:cubicBezTo>
                  <a:pt x="1149552" y="1036898"/>
                  <a:pt x="1149655" y="1036124"/>
                  <a:pt x="1150068" y="1035504"/>
                </a:cubicBezTo>
                <a:close/>
                <a:moveTo>
                  <a:pt x="4377452" y="1034722"/>
                </a:moveTo>
                <a:cubicBezTo>
                  <a:pt x="4387056" y="1042262"/>
                  <a:pt x="4385989" y="1071569"/>
                  <a:pt x="4373184" y="1072423"/>
                </a:cubicBezTo>
                <a:cubicBezTo>
                  <a:pt x="4375959" y="1059049"/>
                  <a:pt x="4371476" y="1048948"/>
                  <a:pt x="4377452" y="1034722"/>
                </a:cubicBezTo>
                <a:close/>
                <a:moveTo>
                  <a:pt x="3602525" y="1034153"/>
                </a:moveTo>
                <a:lnTo>
                  <a:pt x="3603806" y="1042262"/>
                </a:lnTo>
                <a:lnTo>
                  <a:pt x="3604019" y="1042689"/>
                </a:lnTo>
                <a:lnTo>
                  <a:pt x="3604019" y="1043258"/>
                </a:lnTo>
                <a:lnTo>
                  <a:pt x="3604873" y="1052790"/>
                </a:lnTo>
                <a:lnTo>
                  <a:pt x="3603379" y="1061753"/>
                </a:lnTo>
                <a:lnTo>
                  <a:pt x="3604446" y="1061895"/>
                </a:lnTo>
                <a:cubicBezTo>
                  <a:pt x="3608928" y="1061184"/>
                  <a:pt x="3615117" y="1057200"/>
                  <a:pt x="3621520" y="1062749"/>
                </a:cubicBezTo>
                <a:cubicBezTo>
                  <a:pt x="3618958" y="1065167"/>
                  <a:pt x="3623013" y="1071143"/>
                  <a:pt x="3619172" y="1074699"/>
                </a:cubicBezTo>
                <a:cubicBezTo>
                  <a:pt x="3611275" y="1083520"/>
                  <a:pt x="3607434" y="1084373"/>
                  <a:pt x="3602739" y="1082666"/>
                </a:cubicBezTo>
                <a:lnTo>
                  <a:pt x="3602311" y="1082524"/>
                </a:lnTo>
                <a:lnTo>
                  <a:pt x="3595696" y="1082524"/>
                </a:lnTo>
                <a:lnTo>
                  <a:pt x="3594628" y="1080248"/>
                </a:lnTo>
                <a:cubicBezTo>
                  <a:pt x="3593348" y="1081528"/>
                  <a:pt x="3592068" y="1082666"/>
                  <a:pt x="3590574" y="1081386"/>
                </a:cubicBezTo>
                <a:cubicBezTo>
                  <a:pt x="3588013" y="1079110"/>
                  <a:pt x="3587586" y="1075837"/>
                  <a:pt x="3588013" y="1072565"/>
                </a:cubicBezTo>
                <a:cubicBezTo>
                  <a:pt x="3586305" y="1077544"/>
                  <a:pt x="3582464" y="1080959"/>
                  <a:pt x="3573714" y="1079252"/>
                </a:cubicBezTo>
                <a:cubicBezTo>
                  <a:pt x="3571153" y="1079536"/>
                  <a:pt x="3572220" y="1078967"/>
                  <a:pt x="3570512" y="1078540"/>
                </a:cubicBezTo>
                <a:lnTo>
                  <a:pt x="3568805" y="1078398"/>
                </a:lnTo>
                <a:lnTo>
                  <a:pt x="3580330" y="1082381"/>
                </a:lnTo>
                <a:cubicBezTo>
                  <a:pt x="3583745" y="1084373"/>
                  <a:pt x="3586519" y="1087076"/>
                  <a:pt x="3588440" y="1091202"/>
                </a:cubicBezTo>
                <a:cubicBezTo>
                  <a:pt x="3586732" y="1098885"/>
                  <a:pt x="3587586" y="1103865"/>
                  <a:pt x="3589080" y="1107990"/>
                </a:cubicBezTo>
                <a:lnTo>
                  <a:pt x="3589080" y="1108275"/>
                </a:lnTo>
                <a:lnTo>
                  <a:pt x="3592068" y="1105287"/>
                </a:lnTo>
                <a:lnTo>
                  <a:pt x="3593348" y="1097747"/>
                </a:lnTo>
                <a:cubicBezTo>
                  <a:pt x="3593348" y="1094474"/>
                  <a:pt x="3592921" y="1092340"/>
                  <a:pt x="3592921" y="1092340"/>
                </a:cubicBezTo>
                <a:cubicBezTo>
                  <a:pt x="3594415" y="1090065"/>
                  <a:pt x="3595483" y="1090065"/>
                  <a:pt x="3594415" y="1090065"/>
                </a:cubicBezTo>
                <a:cubicBezTo>
                  <a:pt x="3596763" y="1087788"/>
                  <a:pt x="3599537" y="1084231"/>
                  <a:pt x="3601671" y="1085369"/>
                </a:cubicBezTo>
                <a:cubicBezTo>
                  <a:pt x="3603166" y="1086934"/>
                  <a:pt x="3603806" y="1088784"/>
                  <a:pt x="3603592" y="1090918"/>
                </a:cubicBezTo>
                <a:lnTo>
                  <a:pt x="3602311" y="1095329"/>
                </a:lnTo>
                <a:lnTo>
                  <a:pt x="3603166" y="1094617"/>
                </a:lnTo>
                <a:cubicBezTo>
                  <a:pt x="3606154" y="1092767"/>
                  <a:pt x="3609782" y="1091487"/>
                  <a:pt x="3614263" y="1091345"/>
                </a:cubicBezTo>
                <a:cubicBezTo>
                  <a:pt x="3615117" y="1097747"/>
                  <a:pt x="3609141" y="1106568"/>
                  <a:pt x="3601458" y="1112258"/>
                </a:cubicBezTo>
                <a:lnTo>
                  <a:pt x="3592068" y="1116526"/>
                </a:lnTo>
                <a:lnTo>
                  <a:pt x="3593348" y="1120368"/>
                </a:lnTo>
                <a:cubicBezTo>
                  <a:pt x="3591428" y="1125490"/>
                  <a:pt x="3589080" y="1130753"/>
                  <a:pt x="3586305" y="1136017"/>
                </a:cubicBezTo>
                <a:lnTo>
                  <a:pt x="3583104" y="1140569"/>
                </a:lnTo>
                <a:lnTo>
                  <a:pt x="3581183" y="1144695"/>
                </a:lnTo>
                <a:lnTo>
                  <a:pt x="3580970" y="1145123"/>
                </a:lnTo>
                <a:lnTo>
                  <a:pt x="3580543" y="1147968"/>
                </a:lnTo>
                <a:lnTo>
                  <a:pt x="3582037" y="1146260"/>
                </a:lnTo>
                <a:cubicBezTo>
                  <a:pt x="3583957" y="1144838"/>
                  <a:pt x="3586305" y="1143842"/>
                  <a:pt x="3590574" y="1143984"/>
                </a:cubicBezTo>
                <a:cubicBezTo>
                  <a:pt x="3599324" y="1145265"/>
                  <a:pt x="3597403" y="1154654"/>
                  <a:pt x="3598470" y="1153943"/>
                </a:cubicBezTo>
                <a:cubicBezTo>
                  <a:pt x="3599964" y="1154370"/>
                  <a:pt x="3599964" y="1154370"/>
                  <a:pt x="3601031" y="1153659"/>
                </a:cubicBezTo>
                <a:cubicBezTo>
                  <a:pt x="3601458" y="1154797"/>
                  <a:pt x="3603592" y="1156219"/>
                  <a:pt x="3605086" y="1156504"/>
                </a:cubicBezTo>
                <a:cubicBezTo>
                  <a:pt x="3604019" y="1157215"/>
                  <a:pt x="3602952" y="1157784"/>
                  <a:pt x="3603592" y="1158922"/>
                </a:cubicBezTo>
                <a:cubicBezTo>
                  <a:pt x="3600391" y="1158069"/>
                  <a:pt x="3599964" y="1157073"/>
                  <a:pt x="3598470" y="1156646"/>
                </a:cubicBezTo>
                <a:cubicBezTo>
                  <a:pt x="3598897" y="1157642"/>
                  <a:pt x="3597403" y="1157215"/>
                  <a:pt x="3597403" y="1157215"/>
                </a:cubicBezTo>
                <a:cubicBezTo>
                  <a:pt x="3597403" y="1157215"/>
                  <a:pt x="3597403" y="1157215"/>
                  <a:pt x="3596336" y="1160488"/>
                </a:cubicBezTo>
                <a:cubicBezTo>
                  <a:pt x="3596336" y="1160488"/>
                  <a:pt x="3593348" y="1167885"/>
                  <a:pt x="3586305" y="1166890"/>
                </a:cubicBezTo>
                <a:cubicBezTo>
                  <a:pt x="3586519" y="1165751"/>
                  <a:pt x="3581397" y="1164044"/>
                  <a:pt x="3578836" y="1161056"/>
                </a:cubicBezTo>
                <a:lnTo>
                  <a:pt x="3577341" y="1157784"/>
                </a:lnTo>
                <a:lnTo>
                  <a:pt x="3573714" y="1163048"/>
                </a:lnTo>
                <a:cubicBezTo>
                  <a:pt x="3570086" y="1165325"/>
                  <a:pt x="3566670" y="1166178"/>
                  <a:pt x="3563683" y="1165894"/>
                </a:cubicBezTo>
                <a:lnTo>
                  <a:pt x="3560482" y="1164186"/>
                </a:lnTo>
                <a:lnTo>
                  <a:pt x="3547036" y="1169735"/>
                </a:lnTo>
                <a:lnTo>
                  <a:pt x="3546609" y="1169735"/>
                </a:lnTo>
                <a:lnTo>
                  <a:pt x="3544902" y="1171157"/>
                </a:lnTo>
                <a:lnTo>
                  <a:pt x="3545542" y="1173576"/>
                </a:lnTo>
                <a:cubicBezTo>
                  <a:pt x="3549170" y="1177133"/>
                  <a:pt x="3554292" y="1175283"/>
                  <a:pt x="3556000" y="1184531"/>
                </a:cubicBezTo>
                <a:lnTo>
                  <a:pt x="3548530" y="1184673"/>
                </a:lnTo>
                <a:lnTo>
                  <a:pt x="3549384" y="1186238"/>
                </a:lnTo>
                <a:cubicBezTo>
                  <a:pt x="3550451" y="1189937"/>
                  <a:pt x="3550878" y="1193778"/>
                  <a:pt x="3551304" y="1197762"/>
                </a:cubicBezTo>
                <a:lnTo>
                  <a:pt x="3551304" y="1204448"/>
                </a:lnTo>
                <a:lnTo>
                  <a:pt x="3553652" y="1202457"/>
                </a:lnTo>
                <a:cubicBezTo>
                  <a:pt x="3558774" y="1199469"/>
                  <a:pt x="3562403" y="1201176"/>
                  <a:pt x="3563256" y="1200180"/>
                </a:cubicBezTo>
                <a:cubicBezTo>
                  <a:pt x="3567098" y="1203595"/>
                  <a:pt x="3565177" y="1206155"/>
                  <a:pt x="3563470" y="1211277"/>
                </a:cubicBezTo>
                <a:cubicBezTo>
                  <a:pt x="3562189" y="1210139"/>
                  <a:pt x="3559201" y="1213981"/>
                  <a:pt x="3558347" y="1215261"/>
                </a:cubicBezTo>
                <a:cubicBezTo>
                  <a:pt x="3557067" y="1214123"/>
                  <a:pt x="3555359" y="1214407"/>
                  <a:pt x="3553439" y="1214692"/>
                </a:cubicBezTo>
                <a:lnTo>
                  <a:pt x="3551091" y="1214834"/>
                </a:lnTo>
                <a:lnTo>
                  <a:pt x="3550664" y="1226358"/>
                </a:lnTo>
                <a:lnTo>
                  <a:pt x="3553225" y="1223655"/>
                </a:lnTo>
                <a:cubicBezTo>
                  <a:pt x="3557494" y="1226358"/>
                  <a:pt x="3559841" y="1229488"/>
                  <a:pt x="3560268" y="1232618"/>
                </a:cubicBezTo>
                <a:cubicBezTo>
                  <a:pt x="3560908" y="1235890"/>
                  <a:pt x="3559201" y="1239162"/>
                  <a:pt x="3555573" y="1242292"/>
                </a:cubicBezTo>
                <a:cubicBezTo>
                  <a:pt x="3551518" y="1237455"/>
                  <a:pt x="3546609" y="1239304"/>
                  <a:pt x="3542768" y="1234325"/>
                </a:cubicBezTo>
                <a:lnTo>
                  <a:pt x="3543621" y="1233471"/>
                </a:lnTo>
                <a:lnTo>
                  <a:pt x="3537646" y="1231622"/>
                </a:lnTo>
                <a:cubicBezTo>
                  <a:pt x="3539353" y="1221094"/>
                  <a:pt x="3539780" y="1210566"/>
                  <a:pt x="3540207" y="1200607"/>
                </a:cubicBezTo>
                <a:lnTo>
                  <a:pt x="3541701" y="1184815"/>
                </a:lnTo>
                <a:lnTo>
                  <a:pt x="3537219" y="1184958"/>
                </a:lnTo>
                <a:cubicBezTo>
                  <a:pt x="3531457" y="1184104"/>
                  <a:pt x="3526121" y="1182397"/>
                  <a:pt x="3521426" y="1179694"/>
                </a:cubicBezTo>
                <a:lnTo>
                  <a:pt x="3517371" y="1176848"/>
                </a:lnTo>
                <a:lnTo>
                  <a:pt x="3515023" y="1177417"/>
                </a:lnTo>
                <a:lnTo>
                  <a:pt x="3513529" y="1177133"/>
                </a:lnTo>
                <a:lnTo>
                  <a:pt x="3512889" y="1177560"/>
                </a:lnTo>
                <a:cubicBezTo>
                  <a:pt x="3512248" y="1177986"/>
                  <a:pt x="3511608" y="1178271"/>
                  <a:pt x="3511608" y="1178271"/>
                </a:cubicBezTo>
                <a:cubicBezTo>
                  <a:pt x="3510541" y="1177133"/>
                  <a:pt x="3510541" y="1177133"/>
                  <a:pt x="3511822" y="1177133"/>
                </a:cubicBezTo>
                <a:lnTo>
                  <a:pt x="3511822" y="1176991"/>
                </a:lnTo>
                <a:lnTo>
                  <a:pt x="3508194" y="1176706"/>
                </a:lnTo>
                <a:cubicBezTo>
                  <a:pt x="3508834" y="1173719"/>
                  <a:pt x="3510115" y="1170731"/>
                  <a:pt x="3511822" y="1168028"/>
                </a:cubicBezTo>
                <a:lnTo>
                  <a:pt x="3516731" y="1160488"/>
                </a:lnTo>
                <a:lnTo>
                  <a:pt x="3517371" y="1166463"/>
                </a:lnTo>
                <a:cubicBezTo>
                  <a:pt x="3518438" y="1166463"/>
                  <a:pt x="3519718" y="1165325"/>
                  <a:pt x="3519718" y="1165325"/>
                </a:cubicBezTo>
                <a:lnTo>
                  <a:pt x="3520572" y="1168881"/>
                </a:lnTo>
                <a:lnTo>
                  <a:pt x="3522493" y="1168597"/>
                </a:lnTo>
                <a:lnTo>
                  <a:pt x="3529962" y="1169735"/>
                </a:lnTo>
                <a:lnTo>
                  <a:pt x="3529962" y="1167743"/>
                </a:lnTo>
                <a:lnTo>
                  <a:pt x="3524627" y="1165609"/>
                </a:lnTo>
                <a:lnTo>
                  <a:pt x="3516731" y="1160488"/>
                </a:lnTo>
                <a:lnTo>
                  <a:pt x="3515023" y="1159634"/>
                </a:lnTo>
                <a:cubicBezTo>
                  <a:pt x="3511822" y="1157500"/>
                  <a:pt x="3508194" y="1155366"/>
                  <a:pt x="3504139" y="1153659"/>
                </a:cubicBezTo>
                <a:cubicBezTo>
                  <a:pt x="3507553" y="1138436"/>
                  <a:pt x="3499870" y="1134879"/>
                  <a:pt x="3495815" y="1127908"/>
                </a:cubicBezTo>
                <a:cubicBezTo>
                  <a:pt x="3499017" y="1123213"/>
                  <a:pt x="3500937" y="1117379"/>
                  <a:pt x="3502645" y="1111262"/>
                </a:cubicBezTo>
                <a:lnTo>
                  <a:pt x="3504992" y="1102726"/>
                </a:lnTo>
                <a:lnTo>
                  <a:pt x="3504352" y="1103011"/>
                </a:lnTo>
                <a:cubicBezTo>
                  <a:pt x="3502005" y="1103153"/>
                  <a:pt x="3495175" y="1098031"/>
                  <a:pt x="3495815" y="1096466"/>
                </a:cubicBezTo>
                <a:cubicBezTo>
                  <a:pt x="3497309" y="1096466"/>
                  <a:pt x="3499444" y="1096609"/>
                  <a:pt x="3501364" y="1096894"/>
                </a:cubicBezTo>
                <a:lnTo>
                  <a:pt x="3506060" y="1098458"/>
                </a:lnTo>
                <a:lnTo>
                  <a:pt x="3507767" y="1092483"/>
                </a:lnTo>
                <a:cubicBezTo>
                  <a:pt x="3514596" y="1089353"/>
                  <a:pt x="3520572" y="1085512"/>
                  <a:pt x="3526548" y="1081671"/>
                </a:cubicBezTo>
                <a:lnTo>
                  <a:pt x="3527615" y="1081101"/>
                </a:lnTo>
                <a:lnTo>
                  <a:pt x="3523133" y="1077544"/>
                </a:lnTo>
                <a:lnTo>
                  <a:pt x="3518865" y="1082524"/>
                </a:lnTo>
                <a:cubicBezTo>
                  <a:pt x="3513743" y="1085796"/>
                  <a:pt x="3507767" y="1082239"/>
                  <a:pt x="3503498" y="1075126"/>
                </a:cubicBezTo>
                <a:cubicBezTo>
                  <a:pt x="3506273" y="1070858"/>
                  <a:pt x="3509047" y="1066590"/>
                  <a:pt x="3513956" y="1064741"/>
                </a:cubicBezTo>
                <a:lnTo>
                  <a:pt x="3517584" y="1068724"/>
                </a:lnTo>
                <a:lnTo>
                  <a:pt x="3518011" y="1068297"/>
                </a:lnTo>
                <a:lnTo>
                  <a:pt x="3518651" y="1065452"/>
                </a:lnTo>
                <a:lnTo>
                  <a:pt x="3516303" y="1063602"/>
                </a:lnTo>
                <a:cubicBezTo>
                  <a:pt x="3517371" y="1062891"/>
                  <a:pt x="3519078" y="1060472"/>
                  <a:pt x="3519505" y="1061468"/>
                </a:cubicBezTo>
                <a:lnTo>
                  <a:pt x="3519932" y="1061753"/>
                </a:lnTo>
                <a:lnTo>
                  <a:pt x="3522919" y="1057912"/>
                </a:lnTo>
                <a:cubicBezTo>
                  <a:pt x="3526548" y="1053643"/>
                  <a:pt x="3530390" y="1052505"/>
                  <a:pt x="3533804" y="1052932"/>
                </a:cubicBezTo>
                <a:cubicBezTo>
                  <a:pt x="3537219" y="1053359"/>
                  <a:pt x="3540420" y="1055351"/>
                  <a:pt x="3542554" y="1057485"/>
                </a:cubicBezTo>
                <a:cubicBezTo>
                  <a:pt x="3541701" y="1058339"/>
                  <a:pt x="3547676" y="1064171"/>
                  <a:pt x="3547036" y="1071143"/>
                </a:cubicBezTo>
                <a:lnTo>
                  <a:pt x="3546609" y="1071569"/>
                </a:lnTo>
                <a:lnTo>
                  <a:pt x="3556000" y="1075553"/>
                </a:lnTo>
                <a:lnTo>
                  <a:pt x="3565177" y="1077544"/>
                </a:lnTo>
                <a:lnTo>
                  <a:pt x="3563470" y="1072423"/>
                </a:lnTo>
                <a:cubicBezTo>
                  <a:pt x="3562615" y="1070431"/>
                  <a:pt x="3561762" y="1068013"/>
                  <a:pt x="3561975" y="1063318"/>
                </a:cubicBezTo>
                <a:cubicBezTo>
                  <a:pt x="3561975" y="1051367"/>
                  <a:pt x="3569872" y="1049233"/>
                  <a:pt x="3575634" y="1049945"/>
                </a:cubicBezTo>
                <a:cubicBezTo>
                  <a:pt x="3575634" y="1050229"/>
                  <a:pt x="3576061" y="1050371"/>
                  <a:pt x="3576915" y="1050798"/>
                </a:cubicBezTo>
                <a:lnTo>
                  <a:pt x="3579262" y="1051794"/>
                </a:lnTo>
                <a:lnTo>
                  <a:pt x="3582891" y="1050371"/>
                </a:lnTo>
                <a:cubicBezTo>
                  <a:pt x="3583957" y="1050513"/>
                  <a:pt x="3585025" y="1051083"/>
                  <a:pt x="3586305" y="1052221"/>
                </a:cubicBezTo>
                <a:cubicBezTo>
                  <a:pt x="3587373" y="1052078"/>
                  <a:pt x="3589293" y="1056773"/>
                  <a:pt x="3588226" y="1058054"/>
                </a:cubicBezTo>
                <a:lnTo>
                  <a:pt x="3587373" y="1059049"/>
                </a:lnTo>
                <a:lnTo>
                  <a:pt x="3589080" y="1066163"/>
                </a:lnTo>
                <a:cubicBezTo>
                  <a:pt x="3589080" y="1067728"/>
                  <a:pt x="3588866" y="1069151"/>
                  <a:pt x="3588440" y="1070574"/>
                </a:cubicBezTo>
                <a:cubicBezTo>
                  <a:pt x="3589080" y="1068155"/>
                  <a:pt x="3589720" y="1065594"/>
                  <a:pt x="3590360" y="1063887"/>
                </a:cubicBezTo>
                <a:lnTo>
                  <a:pt x="3591214" y="1061326"/>
                </a:lnTo>
                <a:lnTo>
                  <a:pt x="3590147" y="1061326"/>
                </a:lnTo>
                <a:lnTo>
                  <a:pt x="3591428" y="1060046"/>
                </a:lnTo>
                <a:lnTo>
                  <a:pt x="3591641" y="1059761"/>
                </a:lnTo>
                <a:cubicBezTo>
                  <a:pt x="3592708" y="1059903"/>
                  <a:pt x="3592708" y="1058765"/>
                  <a:pt x="3591641" y="1058623"/>
                </a:cubicBezTo>
                <a:cubicBezTo>
                  <a:pt x="3592921" y="1056916"/>
                  <a:pt x="3593988" y="1055351"/>
                  <a:pt x="3594842" y="1054639"/>
                </a:cubicBezTo>
                <a:lnTo>
                  <a:pt x="3596123" y="1054924"/>
                </a:lnTo>
                <a:lnTo>
                  <a:pt x="3595909" y="1048237"/>
                </a:lnTo>
                <a:lnTo>
                  <a:pt x="3596336" y="1046388"/>
                </a:lnTo>
                <a:lnTo>
                  <a:pt x="3595696" y="1045819"/>
                </a:lnTo>
                <a:lnTo>
                  <a:pt x="3596549" y="1044681"/>
                </a:lnTo>
                <a:lnTo>
                  <a:pt x="3597616" y="1038705"/>
                </a:lnTo>
                <a:cubicBezTo>
                  <a:pt x="3598470" y="1036287"/>
                  <a:pt x="3600178" y="1034437"/>
                  <a:pt x="3602525" y="1034153"/>
                </a:cubicBezTo>
                <a:close/>
                <a:moveTo>
                  <a:pt x="4680082" y="1033299"/>
                </a:moveTo>
                <a:cubicBezTo>
                  <a:pt x="4686057" y="1034153"/>
                  <a:pt x="4689472" y="1040270"/>
                  <a:pt x="4691606" y="1046672"/>
                </a:cubicBezTo>
                <a:cubicBezTo>
                  <a:pt x="4692673" y="1049518"/>
                  <a:pt x="4693313" y="1052505"/>
                  <a:pt x="4693954" y="1055067"/>
                </a:cubicBezTo>
                <a:cubicBezTo>
                  <a:pt x="4695448" y="1060472"/>
                  <a:pt x="4696515" y="1066448"/>
                  <a:pt x="4694594" y="1070004"/>
                </a:cubicBezTo>
                <a:cubicBezTo>
                  <a:pt x="4694167" y="1071285"/>
                  <a:pt x="4693100" y="1072280"/>
                  <a:pt x="4691820" y="1072850"/>
                </a:cubicBezTo>
                <a:cubicBezTo>
                  <a:pt x="4683923" y="1076691"/>
                  <a:pt x="4674746" y="1070715"/>
                  <a:pt x="4672185" y="1060330"/>
                </a:cubicBezTo>
                <a:cubicBezTo>
                  <a:pt x="4668130" y="1044396"/>
                  <a:pt x="4673039" y="1034437"/>
                  <a:pt x="4673039" y="1034437"/>
                </a:cubicBezTo>
                <a:cubicBezTo>
                  <a:pt x="4675813" y="1033299"/>
                  <a:pt x="4678161" y="1033015"/>
                  <a:pt x="4680082" y="1033299"/>
                </a:cubicBezTo>
                <a:close/>
                <a:moveTo>
                  <a:pt x="3612129" y="1032161"/>
                </a:moveTo>
                <a:cubicBezTo>
                  <a:pt x="3614050" y="1031876"/>
                  <a:pt x="3615971" y="1032303"/>
                  <a:pt x="3617678" y="1032872"/>
                </a:cubicBezTo>
                <a:cubicBezTo>
                  <a:pt x="3616397" y="1032872"/>
                  <a:pt x="3616397" y="1032872"/>
                  <a:pt x="3616397" y="1032872"/>
                </a:cubicBezTo>
                <a:cubicBezTo>
                  <a:pt x="3615117" y="1034153"/>
                  <a:pt x="3616397" y="1034153"/>
                  <a:pt x="3616184" y="1035291"/>
                </a:cubicBezTo>
                <a:cubicBezTo>
                  <a:pt x="3616184" y="1035291"/>
                  <a:pt x="3616397" y="1034010"/>
                  <a:pt x="3617251" y="1035291"/>
                </a:cubicBezTo>
                <a:cubicBezTo>
                  <a:pt x="3616184" y="1035291"/>
                  <a:pt x="3616184" y="1036429"/>
                  <a:pt x="3615971" y="1037709"/>
                </a:cubicBezTo>
                <a:lnTo>
                  <a:pt x="3611916" y="1040697"/>
                </a:lnTo>
                <a:lnTo>
                  <a:pt x="3613196" y="1043116"/>
                </a:lnTo>
                <a:cubicBezTo>
                  <a:pt x="3610849" y="1043542"/>
                  <a:pt x="3610635" y="1045250"/>
                  <a:pt x="3606794" y="1043827"/>
                </a:cubicBezTo>
                <a:lnTo>
                  <a:pt x="3607007" y="1039844"/>
                </a:lnTo>
                <a:lnTo>
                  <a:pt x="3606580" y="1037709"/>
                </a:lnTo>
                <a:cubicBezTo>
                  <a:pt x="3606794" y="1036571"/>
                  <a:pt x="3607434" y="1035717"/>
                  <a:pt x="3608074" y="1035148"/>
                </a:cubicBezTo>
                <a:cubicBezTo>
                  <a:pt x="3608714" y="1033299"/>
                  <a:pt x="3610422" y="1032445"/>
                  <a:pt x="3612129" y="1032161"/>
                </a:cubicBezTo>
                <a:close/>
                <a:moveTo>
                  <a:pt x="1041752" y="1029618"/>
                </a:moveTo>
                <a:cubicBezTo>
                  <a:pt x="1044230" y="1032406"/>
                  <a:pt x="1043404" y="1034885"/>
                  <a:pt x="1042475" y="1037208"/>
                </a:cubicBezTo>
                <a:cubicBezTo>
                  <a:pt x="1041649" y="1038757"/>
                  <a:pt x="1041649" y="1039531"/>
                  <a:pt x="1042475" y="1041390"/>
                </a:cubicBezTo>
                <a:cubicBezTo>
                  <a:pt x="1042475" y="1041390"/>
                  <a:pt x="1042475" y="1041390"/>
                  <a:pt x="1040720" y="1042785"/>
                </a:cubicBezTo>
                <a:lnTo>
                  <a:pt x="1039790" y="1042785"/>
                </a:lnTo>
                <a:cubicBezTo>
                  <a:pt x="1039377" y="1042474"/>
                  <a:pt x="1039171" y="1041855"/>
                  <a:pt x="1039067" y="1040925"/>
                </a:cubicBezTo>
                <a:cubicBezTo>
                  <a:pt x="1038861" y="1038138"/>
                  <a:pt x="1039997" y="1033336"/>
                  <a:pt x="1039997" y="1032716"/>
                </a:cubicBezTo>
                <a:cubicBezTo>
                  <a:pt x="1039997" y="1032716"/>
                  <a:pt x="1039997" y="1031941"/>
                  <a:pt x="1039997" y="1031012"/>
                </a:cubicBezTo>
                <a:cubicBezTo>
                  <a:pt x="1040823" y="1030392"/>
                  <a:pt x="1041752" y="1030392"/>
                  <a:pt x="1041752" y="1029618"/>
                </a:cubicBezTo>
                <a:close/>
                <a:moveTo>
                  <a:pt x="3945918" y="1029173"/>
                </a:moveTo>
                <a:cubicBezTo>
                  <a:pt x="3946985" y="1029031"/>
                  <a:pt x="3947838" y="1029173"/>
                  <a:pt x="3948905" y="1029743"/>
                </a:cubicBezTo>
                <a:cubicBezTo>
                  <a:pt x="3951253" y="1030880"/>
                  <a:pt x="3950613" y="1033299"/>
                  <a:pt x="3948479" y="1035860"/>
                </a:cubicBezTo>
                <a:cubicBezTo>
                  <a:pt x="3945918" y="1042119"/>
                  <a:pt x="3942717" y="1043542"/>
                  <a:pt x="3938874" y="1040128"/>
                </a:cubicBezTo>
                <a:cubicBezTo>
                  <a:pt x="3938662" y="1038847"/>
                  <a:pt x="3939302" y="1035291"/>
                  <a:pt x="3938234" y="1035291"/>
                </a:cubicBezTo>
                <a:cubicBezTo>
                  <a:pt x="3940369" y="1032445"/>
                  <a:pt x="3943143" y="1029458"/>
                  <a:pt x="3945918" y="1029173"/>
                </a:cubicBezTo>
                <a:close/>
                <a:moveTo>
                  <a:pt x="1258384" y="1028379"/>
                </a:moveTo>
                <a:cubicBezTo>
                  <a:pt x="1259210" y="1029153"/>
                  <a:pt x="1259210" y="1028379"/>
                  <a:pt x="1260036" y="1028379"/>
                </a:cubicBezTo>
                <a:lnTo>
                  <a:pt x="1260759" y="1029463"/>
                </a:lnTo>
                <a:lnTo>
                  <a:pt x="1261378" y="1028998"/>
                </a:lnTo>
                <a:cubicBezTo>
                  <a:pt x="1263133" y="1027914"/>
                  <a:pt x="1263133" y="1027914"/>
                  <a:pt x="1264063" y="1028688"/>
                </a:cubicBezTo>
                <a:cubicBezTo>
                  <a:pt x="1264992" y="1029463"/>
                  <a:pt x="1264269" y="1032096"/>
                  <a:pt x="1265199" y="1032871"/>
                </a:cubicBezTo>
                <a:cubicBezTo>
                  <a:pt x="1265199" y="1032871"/>
                  <a:pt x="1265199" y="1032871"/>
                  <a:pt x="1263443" y="1033955"/>
                </a:cubicBezTo>
                <a:lnTo>
                  <a:pt x="1261998" y="1033645"/>
                </a:lnTo>
                <a:lnTo>
                  <a:pt x="1261481" y="1035659"/>
                </a:lnTo>
                <a:cubicBezTo>
                  <a:pt x="1259623" y="1037518"/>
                  <a:pt x="1256835" y="1039996"/>
                  <a:pt x="1254357" y="1038447"/>
                </a:cubicBezTo>
                <a:cubicBezTo>
                  <a:pt x="1254357" y="1037673"/>
                  <a:pt x="1253531" y="1037673"/>
                  <a:pt x="1253531" y="1036898"/>
                </a:cubicBezTo>
                <a:cubicBezTo>
                  <a:pt x="1253531" y="1036898"/>
                  <a:pt x="1253118" y="1036124"/>
                  <a:pt x="1253118" y="1034885"/>
                </a:cubicBezTo>
                <a:cubicBezTo>
                  <a:pt x="1253014" y="1033645"/>
                  <a:pt x="1253324" y="1031941"/>
                  <a:pt x="1254770" y="1030238"/>
                </a:cubicBezTo>
                <a:cubicBezTo>
                  <a:pt x="1255596" y="1029308"/>
                  <a:pt x="1258384" y="1027605"/>
                  <a:pt x="1258384" y="1028379"/>
                </a:cubicBezTo>
                <a:close/>
                <a:moveTo>
                  <a:pt x="1219056" y="1026675"/>
                </a:moveTo>
                <a:cubicBezTo>
                  <a:pt x="1223587" y="1028456"/>
                  <a:pt x="1227768" y="1031632"/>
                  <a:pt x="1230195" y="1034110"/>
                </a:cubicBezTo>
                <a:cubicBezTo>
                  <a:pt x="1226168" y="1033800"/>
                  <a:pt x="1222244" y="1033800"/>
                  <a:pt x="1218217" y="1033026"/>
                </a:cubicBezTo>
                <a:cubicBezTo>
                  <a:pt x="1214190" y="1032252"/>
                  <a:pt x="1209957" y="1030857"/>
                  <a:pt x="1205826" y="1027605"/>
                </a:cubicBezTo>
                <a:cubicBezTo>
                  <a:pt x="1209647" y="1024507"/>
                  <a:pt x="1214526" y="1024894"/>
                  <a:pt x="1219056" y="1026675"/>
                </a:cubicBezTo>
                <a:close/>
                <a:moveTo>
                  <a:pt x="1524888" y="1024971"/>
                </a:moveTo>
                <a:cubicBezTo>
                  <a:pt x="1523236" y="1025901"/>
                  <a:pt x="1521068" y="1026520"/>
                  <a:pt x="1518693" y="1026830"/>
                </a:cubicBezTo>
                <a:lnTo>
                  <a:pt x="1517763" y="1026830"/>
                </a:lnTo>
                <a:lnTo>
                  <a:pt x="1518383" y="1028534"/>
                </a:lnTo>
                <a:cubicBezTo>
                  <a:pt x="1519519" y="1029463"/>
                  <a:pt x="1521068" y="1029308"/>
                  <a:pt x="1523030" y="1028844"/>
                </a:cubicBezTo>
                <a:lnTo>
                  <a:pt x="1525817" y="1028534"/>
                </a:lnTo>
                <a:lnTo>
                  <a:pt x="1525817" y="1028069"/>
                </a:lnTo>
                <a:cubicBezTo>
                  <a:pt x="1525714" y="1026985"/>
                  <a:pt x="1525404" y="1026055"/>
                  <a:pt x="1524888" y="1024971"/>
                </a:cubicBezTo>
                <a:close/>
                <a:moveTo>
                  <a:pt x="3812103" y="1022771"/>
                </a:moveTo>
                <a:cubicBezTo>
                  <a:pt x="3813598" y="1025047"/>
                  <a:pt x="3815731" y="1026328"/>
                  <a:pt x="3817012" y="1028746"/>
                </a:cubicBezTo>
                <a:cubicBezTo>
                  <a:pt x="3817012" y="1032730"/>
                  <a:pt x="3810610" y="1037994"/>
                  <a:pt x="3806128" y="1036571"/>
                </a:cubicBezTo>
                <a:cubicBezTo>
                  <a:pt x="3804634" y="1036144"/>
                  <a:pt x="3803353" y="1035006"/>
                  <a:pt x="3802499" y="1032872"/>
                </a:cubicBezTo>
                <a:cubicBezTo>
                  <a:pt x="3800792" y="1026186"/>
                  <a:pt x="3805914" y="1024194"/>
                  <a:pt x="3812103" y="1022771"/>
                </a:cubicBezTo>
                <a:close/>
                <a:moveTo>
                  <a:pt x="1125803" y="1022493"/>
                </a:moveTo>
                <a:cubicBezTo>
                  <a:pt x="1127145" y="1022493"/>
                  <a:pt x="1128384" y="1023267"/>
                  <a:pt x="1129313" y="1024971"/>
                </a:cubicBezTo>
                <a:cubicBezTo>
                  <a:pt x="1124977" y="1028069"/>
                  <a:pt x="1123118" y="1032871"/>
                  <a:pt x="1119917" y="1033026"/>
                </a:cubicBezTo>
                <a:cubicBezTo>
                  <a:pt x="1118885" y="1033026"/>
                  <a:pt x="1117749" y="1032561"/>
                  <a:pt x="1116303" y="1031167"/>
                </a:cubicBezTo>
                <a:cubicBezTo>
                  <a:pt x="1116923" y="1029463"/>
                  <a:pt x="1119711" y="1025436"/>
                  <a:pt x="1122808" y="1023422"/>
                </a:cubicBezTo>
                <a:cubicBezTo>
                  <a:pt x="1123737" y="1022803"/>
                  <a:pt x="1124873" y="1022493"/>
                  <a:pt x="1125803" y="1022493"/>
                </a:cubicBezTo>
                <a:close/>
                <a:moveTo>
                  <a:pt x="1234738" y="1021873"/>
                </a:moveTo>
                <a:cubicBezTo>
                  <a:pt x="1235771" y="1023422"/>
                  <a:pt x="1233189" y="1026210"/>
                  <a:pt x="1232466" y="1027914"/>
                </a:cubicBezTo>
                <a:cubicBezTo>
                  <a:pt x="1231537" y="1027295"/>
                  <a:pt x="1230711" y="1026520"/>
                  <a:pt x="1230711" y="1027450"/>
                </a:cubicBezTo>
                <a:cubicBezTo>
                  <a:pt x="1229782" y="1026675"/>
                  <a:pt x="1229369" y="1025901"/>
                  <a:pt x="1229162" y="1025126"/>
                </a:cubicBezTo>
                <a:cubicBezTo>
                  <a:pt x="1229059" y="1024351"/>
                  <a:pt x="1229162" y="1023422"/>
                  <a:pt x="1229575" y="1022493"/>
                </a:cubicBezTo>
                <a:cubicBezTo>
                  <a:pt x="1230401" y="1021563"/>
                  <a:pt x="1232157" y="1021409"/>
                  <a:pt x="1234738" y="1021873"/>
                </a:cubicBezTo>
                <a:close/>
                <a:moveTo>
                  <a:pt x="3650331" y="1021491"/>
                </a:moveTo>
                <a:cubicBezTo>
                  <a:pt x="3651185" y="1020922"/>
                  <a:pt x="3651826" y="1022060"/>
                  <a:pt x="3652679" y="1021491"/>
                </a:cubicBezTo>
                <a:cubicBezTo>
                  <a:pt x="3652679" y="1021491"/>
                  <a:pt x="3653533" y="1022344"/>
                  <a:pt x="3653533" y="1022344"/>
                </a:cubicBezTo>
                <a:cubicBezTo>
                  <a:pt x="3653959" y="1022060"/>
                  <a:pt x="3653746" y="1022060"/>
                  <a:pt x="3653746" y="1022487"/>
                </a:cubicBezTo>
                <a:cubicBezTo>
                  <a:pt x="3653746" y="1022914"/>
                  <a:pt x="3653746" y="1023767"/>
                  <a:pt x="3653959" y="1025047"/>
                </a:cubicBezTo>
                <a:cubicBezTo>
                  <a:pt x="3653746" y="1026612"/>
                  <a:pt x="3654173" y="1027466"/>
                  <a:pt x="3652679" y="1027181"/>
                </a:cubicBezTo>
                <a:cubicBezTo>
                  <a:pt x="3651185" y="1026755"/>
                  <a:pt x="3651185" y="1026755"/>
                  <a:pt x="3649264" y="1023767"/>
                </a:cubicBezTo>
                <a:cubicBezTo>
                  <a:pt x="3650758" y="1024194"/>
                  <a:pt x="3650758" y="1024194"/>
                  <a:pt x="3650971" y="1022629"/>
                </a:cubicBezTo>
                <a:cubicBezTo>
                  <a:pt x="3650971" y="1022629"/>
                  <a:pt x="3650971" y="1022487"/>
                  <a:pt x="3650331" y="1021491"/>
                </a:cubicBezTo>
                <a:close/>
                <a:moveTo>
                  <a:pt x="4736638" y="1020210"/>
                </a:moveTo>
                <a:cubicBezTo>
                  <a:pt x="4737918" y="1020495"/>
                  <a:pt x="4738985" y="1021206"/>
                  <a:pt x="4738985" y="1021917"/>
                </a:cubicBezTo>
                <a:cubicBezTo>
                  <a:pt x="4739412" y="1024478"/>
                  <a:pt x="4739839" y="1026755"/>
                  <a:pt x="4737918" y="1028462"/>
                </a:cubicBezTo>
                <a:cubicBezTo>
                  <a:pt x="4737278" y="1029031"/>
                  <a:pt x="4736424" y="1029458"/>
                  <a:pt x="4735357" y="1029743"/>
                </a:cubicBezTo>
                <a:cubicBezTo>
                  <a:pt x="4735357" y="1029743"/>
                  <a:pt x="4735357" y="1029743"/>
                  <a:pt x="4734504" y="1029173"/>
                </a:cubicBezTo>
                <a:cubicBezTo>
                  <a:pt x="4732583" y="1028035"/>
                  <a:pt x="4731729" y="1027324"/>
                  <a:pt x="4730662" y="1026755"/>
                </a:cubicBezTo>
                <a:cubicBezTo>
                  <a:pt x="4730449" y="1025190"/>
                  <a:pt x="4730449" y="1020922"/>
                  <a:pt x="4732156" y="1020495"/>
                </a:cubicBezTo>
                <a:cubicBezTo>
                  <a:pt x="4733650" y="1020068"/>
                  <a:pt x="4735357" y="1019926"/>
                  <a:pt x="4736638" y="1020210"/>
                </a:cubicBezTo>
                <a:close/>
                <a:moveTo>
                  <a:pt x="1435468" y="1020015"/>
                </a:moveTo>
                <a:cubicBezTo>
                  <a:pt x="1438979" y="1021409"/>
                  <a:pt x="1438979" y="1023422"/>
                  <a:pt x="1437740" y="1026675"/>
                </a:cubicBezTo>
                <a:cubicBezTo>
                  <a:pt x="1435055" y="1025901"/>
                  <a:pt x="1433919" y="1025126"/>
                  <a:pt x="1433713" y="1024042"/>
                </a:cubicBezTo>
                <a:cubicBezTo>
                  <a:pt x="1433610" y="1023113"/>
                  <a:pt x="1434436" y="1021873"/>
                  <a:pt x="1435468" y="1020015"/>
                </a:cubicBezTo>
                <a:close/>
                <a:moveTo>
                  <a:pt x="4063085" y="1019072"/>
                </a:moveTo>
                <a:cubicBezTo>
                  <a:pt x="4065006" y="1020210"/>
                  <a:pt x="4066073" y="1020779"/>
                  <a:pt x="4067354" y="1023056"/>
                </a:cubicBezTo>
                <a:cubicBezTo>
                  <a:pt x="4068634" y="1035717"/>
                  <a:pt x="4062445" y="1039132"/>
                  <a:pt x="4062658" y="1040839"/>
                </a:cubicBezTo>
                <a:cubicBezTo>
                  <a:pt x="4057750" y="1042119"/>
                  <a:pt x="4057109" y="1038847"/>
                  <a:pt x="4054762" y="1034295"/>
                </a:cubicBezTo>
                <a:cubicBezTo>
                  <a:pt x="4056255" y="1033726"/>
                  <a:pt x="4055615" y="1028888"/>
                  <a:pt x="4055188" y="1027181"/>
                </a:cubicBezTo>
                <a:cubicBezTo>
                  <a:pt x="4058603" y="1026328"/>
                  <a:pt x="4058176" y="1020352"/>
                  <a:pt x="4063085" y="1019072"/>
                </a:cubicBezTo>
                <a:close/>
                <a:moveTo>
                  <a:pt x="3427308" y="1018645"/>
                </a:moveTo>
                <a:cubicBezTo>
                  <a:pt x="3428588" y="1019072"/>
                  <a:pt x="3429015" y="1020068"/>
                  <a:pt x="3429228" y="1021206"/>
                </a:cubicBezTo>
                <a:cubicBezTo>
                  <a:pt x="3429869" y="1024905"/>
                  <a:pt x="3427094" y="1030738"/>
                  <a:pt x="3425173" y="1031307"/>
                </a:cubicBezTo>
                <a:cubicBezTo>
                  <a:pt x="3422826" y="1030311"/>
                  <a:pt x="3421759" y="1017649"/>
                  <a:pt x="3427308" y="1018645"/>
                </a:cubicBezTo>
                <a:close/>
                <a:moveTo>
                  <a:pt x="3606580" y="1018503"/>
                </a:moveTo>
                <a:cubicBezTo>
                  <a:pt x="3614690" y="1021491"/>
                  <a:pt x="3621946" y="1025047"/>
                  <a:pt x="3633471" y="1025047"/>
                </a:cubicBezTo>
                <a:cubicBezTo>
                  <a:pt x="3633258" y="1028462"/>
                  <a:pt x="3637526" y="1028177"/>
                  <a:pt x="3636459" y="1032303"/>
                </a:cubicBezTo>
                <a:cubicBezTo>
                  <a:pt x="3629416" y="1037994"/>
                  <a:pt x="3606580" y="1031165"/>
                  <a:pt x="3606580" y="1018503"/>
                </a:cubicBezTo>
                <a:close/>
                <a:moveTo>
                  <a:pt x="4863409" y="1018219"/>
                </a:moveTo>
                <a:cubicBezTo>
                  <a:pt x="4864263" y="1017792"/>
                  <a:pt x="4865116" y="1017934"/>
                  <a:pt x="4865970" y="1018503"/>
                </a:cubicBezTo>
                <a:cubicBezTo>
                  <a:pt x="4867037" y="1019641"/>
                  <a:pt x="4865757" y="1020922"/>
                  <a:pt x="4865544" y="1022060"/>
                </a:cubicBezTo>
                <a:cubicBezTo>
                  <a:pt x="4864263" y="1024336"/>
                  <a:pt x="4856153" y="1027751"/>
                  <a:pt x="4855086" y="1026612"/>
                </a:cubicBezTo>
                <a:cubicBezTo>
                  <a:pt x="4857006" y="1023909"/>
                  <a:pt x="4860421" y="1019357"/>
                  <a:pt x="4863409" y="1018219"/>
                </a:cubicBezTo>
                <a:close/>
                <a:moveTo>
                  <a:pt x="1299273" y="1018156"/>
                </a:moveTo>
                <a:cubicBezTo>
                  <a:pt x="1300203" y="1018930"/>
                  <a:pt x="1302887" y="1018930"/>
                  <a:pt x="1304642" y="1019550"/>
                </a:cubicBezTo>
                <a:cubicBezTo>
                  <a:pt x="1304642" y="1020479"/>
                  <a:pt x="1305469" y="1021253"/>
                  <a:pt x="1305469" y="1022028"/>
                </a:cubicBezTo>
                <a:cubicBezTo>
                  <a:pt x="1304539" y="1022028"/>
                  <a:pt x="1302681" y="1022803"/>
                  <a:pt x="1302681" y="1022028"/>
                </a:cubicBezTo>
                <a:cubicBezTo>
                  <a:pt x="1301855" y="1022028"/>
                  <a:pt x="1301855" y="1020479"/>
                  <a:pt x="1301855" y="1020479"/>
                </a:cubicBezTo>
                <a:cubicBezTo>
                  <a:pt x="1301029" y="1020479"/>
                  <a:pt x="1300099" y="1020634"/>
                  <a:pt x="1299273" y="1019860"/>
                </a:cubicBezTo>
                <a:cubicBezTo>
                  <a:pt x="1300203" y="1018930"/>
                  <a:pt x="1299273" y="1018930"/>
                  <a:pt x="1299273" y="1018156"/>
                </a:cubicBezTo>
                <a:close/>
                <a:moveTo>
                  <a:pt x="3767499" y="1016938"/>
                </a:moveTo>
                <a:cubicBezTo>
                  <a:pt x="3769419" y="1016511"/>
                  <a:pt x="3771554" y="1016796"/>
                  <a:pt x="3773261" y="1018076"/>
                </a:cubicBezTo>
                <a:cubicBezTo>
                  <a:pt x="3778170" y="1026612"/>
                  <a:pt x="3767072" y="1034295"/>
                  <a:pt x="3760029" y="1031592"/>
                </a:cubicBezTo>
                <a:cubicBezTo>
                  <a:pt x="3756401" y="1025332"/>
                  <a:pt x="3761523" y="1018076"/>
                  <a:pt x="3767499" y="1016938"/>
                </a:cubicBezTo>
                <a:close/>
                <a:moveTo>
                  <a:pt x="3409594" y="1016938"/>
                </a:moveTo>
                <a:cubicBezTo>
                  <a:pt x="3410874" y="1019926"/>
                  <a:pt x="3409381" y="1024336"/>
                  <a:pt x="3410874" y="1027181"/>
                </a:cubicBezTo>
                <a:cubicBezTo>
                  <a:pt x="3408740" y="1026470"/>
                  <a:pt x="3405752" y="1028177"/>
                  <a:pt x="3403618" y="1027466"/>
                </a:cubicBezTo>
                <a:cubicBezTo>
                  <a:pt x="3400630" y="1021633"/>
                  <a:pt x="3407246" y="1016369"/>
                  <a:pt x="3409594" y="1016938"/>
                </a:cubicBezTo>
                <a:close/>
                <a:moveTo>
                  <a:pt x="3293066" y="1016511"/>
                </a:moveTo>
                <a:cubicBezTo>
                  <a:pt x="3299042" y="1022060"/>
                  <a:pt x="3303737" y="1027893"/>
                  <a:pt x="3314195" y="1032161"/>
                </a:cubicBezTo>
                <a:cubicBezTo>
                  <a:pt x="3312488" y="1035006"/>
                  <a:pt x="3316330" y="1036287"/>
                  <a:pt x="3313342" y="1039701"/>
                </a:cubicBezTo>
                <a:cubicBezTo>
                  <a:pt x="3304164" y="1042404"/>
                  <a:pt x="3286878" y="1028035"/>
                  <a:pt x="3293066" y="1016511"/>
                </a:cubicBezTo>
                <a:close/>
                <a:moveTo>
                  <a:pt x="3362428" y="1015942"/>
                </a:moveTo>
                <a:cubicBezTo>
                  <a:pt x="3364135" y="1015515"/>
                  <a:pt x="3366056" y="1016227"/>
                  <a:pt x="3367123" y="1017649"/>
                </a:cubicBezTo>
                <a:cubicBezTo>
                  <a:pt x="3367763" y="1018645"/>
                  <a:pt x="3367763" y="1019926"/>
                  <a:pt x="3366910" y="1021491"/>
                </a:cubicBezTo>
                <a:cubicBezTo>
                  <a:pt x="3365416" y="1021349"/>
                  <a:pt x="3362855" y="1022202"/>
                  <a:pt x="3360507" y="1021206"/>
                </a:cubicBezTo>
                <a:cubicBezTo>
                  <a:pt x="3359654" y="1018076"/>
                  <a:pt x="3360934" y="1016511"/>
                  <a:pt x="3362428" y="1015942"/>
                </a:cubicBezTo>
                <a:close/>
                <a:moveTo>
                  <a:pt x="1107836" y="1015832"/>
                </a:moveTo>
                <a:cubicBezTo>
                  <a:pt x="1110727" y="1014748"/>
                  <a:pt x="1113722" y="1016607"/>
                  <a:pt x="1117336" y="1015987"/>
                </a:cubicBezTo>
                <a:cubicBezTo>
                  <a:pt x="1118162" y="1018001"/>
                  <a:pt x="1118678" y="1019395"/>
                  <a:pt x="1118472" y="1020479"/>
                </a:cubicBezTo>
                <a:lnTo>
                  <a:pt x="1118162" y="1020789"/>
                </a:lnTo>
                <a:lnTo>
                  <a:pt x="1113825" y="1029153"/>
                </a:lnTo>
                <a:cubicBezTo>
                  <a:pt x="1112896" y="1029928"/>
                  <a:pt x="1109488" y="1031322"/>
                  <a:pt x="1108559" y="1030392"/>
                </a:cubicBezTo>
                <a:cubicBezTo>
                  <a:pt x="1107733" y="1029463"/>
                  <a:pt x="1107733" y="1028688"/>
                  <a:pt x="1107733" y="1027759"/>
                </a:cubicBezTo>
                <a:lnTo>
                  <a:pt x="1109901" y="1024042"/>
                </a:lnTo>
                <a:lnTo>
                  <a:pt x="1108043" y="1024042"/>
                </a:lnTo>
                <a:cubicBezTo>
                  <a:pt x="1106081" y="1023577"/>
                  <a:pt x="1104429" y="1022803"/>
                  <a:pt x="1103912" y="1021873"/>
                </a:cubicBezTo>
                <a:cubicBezTo>
                  <a:pt x="1103293" y="1019550"/>
                  <a:pt x="1104326" y="1016452"/>
                  <a:pt x="1107836" y="1015832"/>
                </a:cubicBezTo>
                <a:close/>
                <a:moveTo>
                  <a:pt x="1233396" y="1014748"/>
                </a:moveTo>
                <a:cubicBezTo>
                  <a:pt x="1236700" y="1014903"/>
                  <a:pt x="1238249" y="1015523"/>
                  <a:pt x="1238662" y="1016297"/>
                </a:cubicBezTo>
                <a:cubicBezTo>
                  <a:pt x="1240004" y="1018930"/>
                  <a:pt x="1231847" y="1022958"/>
                  <a:pt x="1233396" y="1014748"/>
                </a:cubicBezTo>
                <a:close/>
                <a:moveTo>
                  <a:pt x="1309083" y="1013509"/>
                </a:moveTo>
                <a:cubicBezTo>
                  <a:pt x="1309083" y="1013509"/>
                  <a:pt x="1309908" y="1014284"/>
                  <a:pt x="1310735" y="1015213"/>
                </a:cubicBezTo>
                <a:cubicBezTo>
                  <a:pt x="1311561" y="1015987"/>
                  <a:pt x="1312387" y="1015987"/>
                  <a:pt x="1312387" y="1015987"/>
                </a:cubicBezTo>
                <a:cubicBezTo>
                  <a:pt x="1313213" y="1016762"/>
                  <a:pt x="1313213" y="1017536"/>
                  <a:pt x="1312284" y="1018465"/>
                </a:cubicBezTo>
                <a:cubicBezTo>
                  <a:pt x="1312284" y="1018465"/>
                  <a:pt x="1310631" y="1017691"/>
                  <a:pt x="1310631" y="1017691"/>
                </a:cubicBezTo>
                <a:cubicBezTo>
                  <a:pt x="1308979" y="1016142"/>
                  <a:pt x="1308050" y="1015213"/>
                  <a:pt x="1306398" y="1014438"/>
                </a:cubicBezTo>
                <a:cubicBezTo>
                  <a:pt x="1307327" y="1012734"/>
                  <a:pt x="1308257" y="1012580"/>
                  <a:pt x="1309083" y="1013509"/>
                </a:cubicBezTo>
                <a:close/>
                <a:moveTo>
                  <a:pt x="3524414" y="1013097"/>
                </a:moveTo>
                <a:cubicBezTo>
                  <a:pt x="3526334" y="1014946"/>
                  <a:pt x="3527402" y="1017080"/>
                  <a:pt x="3527615" y="1019641"/>
                </a:cubicBezTo>
                <a:cubicBezTo>
                  <a:pt x="3528042" y="1023340"/>
                  <a:pt x="3527188" y="1027751"/>
                  <a:pt x="3525481" y="1031592"/>
                </a:cubicBezTo>
                <a:lnTo>
                  <a:pt x="3523987" y="1033583"/>
                </a:lnTo>
                <a:lnTo>
                  <a:pt x="3523774" y="1034580"/>
                </a:lnTo>
                <a:lnTo>
                  <a:pt x="3522493" y="1035860"/>
                </a:lnTo>
                <a:lnTo>
                  <a:pt x="3519078" y="1040982"/>
                </a:lnTo>
                <a:cubicBezTo>
                  <a:pt x="3513529" y="1041409"/>
                  <a:pt x="3510115" y="1039844"/>
                  <a:pt x="3508194" y="1037140"/>
                </a:cubicBezTo>
                <a:cubicBezTo>
                  <a:pt x="3502645" y="1029173"/>
                  <a:pt x="3511822" y="1011959"/>
                  <a:pt x="3524414" y="1013097"/>
                </a:cubicBezTo>
                <a:close/>
                <a:moveTo>
                  <a:pt x="1531806" y="1010101"/>
                </a:moveTo>
                <a:lnTo>
                  <a:pt x="1530877" y="1010411"/>
                </a:lnTo>
                <a:lnTo>
                  <a:pt x="1530980" y="1010720"/>
                </a:lnTo>
                <a:lnTo>
                  <a:pt x="1531393" y="1010411"/>
                </a:lnTo>
                <a:close/>
                <a:moveTo>
                  <a:pt x="1441870" y="1009946"/>
                </a:moveTo>
                <a:cubicBezTo>
                  <a:pt x="1456223" y="1011805"/>
                  <a:pt x="1463864" y="1026985"/>
                  <a:pt x="1473157" y="1038138"/>
                </a:cubicBezTo>
                <a:lnTo>
                  <a:pt x="1472124" y="1039067"/>
                </a:lnTo>
                <a:lnTo>
                  <a:pt x="1474499" y="1038757"/>
                </a:lnTo>
                <a:cubicBezTo>
                  <a:pt x="1475945" y="1038757"/>
                  <a:pt x="1477184" y="1039067"/>
                  <a:pt x="1478113" y="1039531"/>
                </a:cubicBezTo>
                <a:cubicBezTo>
                  <a:pt x="1478836" y="1039996"/>
                  <a:pt x="1479352" y="1040461"/>
                  <a:pt x="1479662" y="1041235"/>
                </a:cubicBezTo>
                <a:cubicBezTo>
                  <a:pt x="1480798" y="1042939"/>
                  <a:pt x="1479145" y="1043714"/>
                  <a:pt x="1476771" y="1044178"/>
                </a:cubicBezTo>
                <a:cubicBezTo>
                  <a:pt x="1472228" y="1046192"/>
                  <a:pt x="1469543" y="1045418"/>
                  <a:pt x="1468613" y="1041855"/>
                </a:cubicBezTo>
                <a:lnTo>
                  <a:pt x="1469440" y="1040925"/>
                </a:lnTo>
                <a:lnTo>
                  <a:pt x="1464690" y="1043559"/>
                </a:lnTo>
                <a:lnTo>
                  <a:pt x="1461902" y="1039531"/>
                </a:lnTo>
                <a:lnTo>
                  <a:pt x="1461179" y="1039996"/>
                </a:lnTo>
                <a:cubicBezTo>
                  <a:pt x="1460456" y="1039531"/>
                  <a:pt x="1459217" y="1039841"/>
                  <a:pt x="1458494" y="1039377"/>
                </a:cubicBezTo>
                <a:cubicBezTo>
                  <a:pt x="1459010" y="1038602"/>
                  <a:pt x="1459114" y="1036743"/>
                  <a:pt x="1459940" y="1037208"/>
                </a:cubicBezTo>
                <a:lnTo>
                  <a:pt x="1460353" y="1037208"/>
                </a:lnTo>
                <a:lnTo>
                  <a:pt x="1453435" y="1027140"/>
                </a:lnTo>
                <a:lnTo>
                  <a:pt x="1453022" y="1027295"/>
                </a:lnTo>
                <a:cubicBezTo>
                  <a:pt x="1449614" y="1027605"/>
                  <a:pt x="1444452" y="1025591"/>
                  <a:pt x="1446517" y="1021253"/>
                </a:cubicBezTo>
                <a:cubicBezTo>
                  <a:pt x="1446723" y="1020479"/>
                  <a:pt x="1447549" y="1020015"/>
                  <a:pt x="1448582" y="1020015"/>
                </a:cubicBezTo>
                <a:close/>
                <a:moveTo>
                  <a:pt x="4821365" y="1009825"/>
                </a:moveTo>
                <a:cubicBezTo>
                  <a:pt x="4823500" y="1011674"/>
                  <a:pt x="4824780" y="1014946"/>
                  <a:pt x="4825207" y="1018645"/>
                </a:cubicBezTo>
                <a:cubicBezTo>
                  <a:pt x="4826701" y="1030027"/>
                  <a:pt x="4821365" y="1046815"/>
                  <a:pt x="4811761" y="1047811"/>
                </a:cubicBezTo>
                <a:cubicBezTo>
                  <a:pt x="4816457" y="1034295"/>
                  <a:pt x="4813256" y="1024336"/>
                  <a:pt x="4821365" y="1009825"/>
                </a:cubicBezTo>
                <a:close/>
                <a:moveTo>
                  <a:pt x="3869727" y="1009398"/>
                </a:moveTo>
                <a:cubicBezTo>
                  <a:pt x="3871861" y="1009540"/>
                  <a:pt x="3873782" y="1010678"/>
                  <a:pt x="3875489" y="1012955"/>
                </a:cubicBezTo>
                <a:cubicBezTo>
                  <a:pt x="3868233" y="1015942"/>
                  <a:pt x="3860336" y="1021349"/>
                  <a:pt x="3852226" y="1021775"/>
                </a:cubicBezTo>
                <a:cubicBezTo>
                  <a:pt x="3855001" y="1015657"/>
                  <a:pt x="3863111" y="1008686"/>
                  <a:pt x="3869727" y="1009398"/>
                </a:cubicBezTo>
                <a:close/>
                <a:moveTo>
                  <a:pt x="3566884" y="1009113"/>
                </a:moveTo>
                <a:cubicBezTo>
                  <a:pt x="3567524" y="1010109"/>
                  <a:pt x="3568378" y="1009540"/>
                  <a:pt x="3569018" y="1010536"/>
                </a:cubicBezTo>
                <a:cubicBezTo>
                  <a:pt x="3569018" y="1010536"/>
                  <a:pt x="3570086" y="1011248"/>
                  <a:pt x="3570939" y="1012670"/>
                </a:cubicBezTo>
                <a:cubicBezTo>
                  <a:pt x="3571366" y="1013381"/>
                  <a:pt x="3571793" y="1014235"/>
                  <a:pt x="3572006" y="1015231"/>
                </a:cubicBezTo>
                <a:cubicBezTo>
                  <a:pt x="3572433" y="1016369"/>
                  <a:pt x="3572433" y="1017649"/>
                  <a:pt x="3572006" y="1019214"/>
                </a:cubicBezTo>
                <a:cubicBezTo>
                  <a:pt x="3571579" y="1020922"/>
                  <a:pt x="3569659" y="1024763"/>
                  <a:pt x="3569018" y="1023767"/>
                </a:cubicBezTo>
                <a:cubicBezTo>
                  <a:pt x="3567524" y="1023340"/>
                  <a:pt x="3567951" y="1024478"/>
                  <a:pt x="3566884" y="1025047"/>
                </a:cubicBezTo>
                <a:lnTo>
                  <a:pt x="3566244" y="1024763"/>
                </a:lnTo>
                <a:lnTo>
                  <a:pt x="3562189" y="1027893"/>
                </a:lnTo>
                <a:cubicBezTo>
                  <a:pt x="3560268" y="1029031"/>
                  <a:pt x="3558347" y="1029743"/>
                  <a:pt x="3556640" y="1029600"/>
                </a:cubicBezTo>
                <a:lnTo>
                  <a:pt x="3556000" y="1027039"/>
                </a:lnTo>
                <a:lnTo>
                  <a:pt x="3555146" y="1027751"/>
                </a:lnTo>
                <a:cubicBezTo>
                  <a:pt x="3553652" y="1029031"/>
                  <a:pt x="3551732" y="1030027"/>
                  <a:pt x="3549597" y="1029315"/>
                </a:cubicBezTo>
                <a:cubicBezTo>
                  <a:pt x="3550451" y="1028462"/>
                  <a:pt x="3551944" y="1027039"/>
                  <a:pt x="3553225" y="1025759"/>
                </a:cubicBezTo>
                <a:lnTo>
                  <a:pt x="3555146" y="1024478"/>
                </a:lnTo>
                <a:lnTo>
                  <a:pt x="3554079" y="1021491"/>
                </a:lnTo>
                <a:lnTo>
                  <a:pt x="3556640" y="1016227"/>
                </a:lnTo>
                <a:lnTo>
                  <a:pt x="3554292" y="1015657"/>
                </a:lnTo>
                <a:cubicBezTo>
                  <a:pt x="3554719" y="1013950"/>
                  <a:pt x="3556000" y="1011674"/>
                  <a:pt x="3557707" y="1012101"/>
                </a:cubicBezTo>
                <a:lnTo>
                  <a:pt x="3558561" y="1012955"/>
                </a:lnTo>
                <a:lnTo>
                  <a:pt x="3561762" y="1013666"/>
                </a:lnTo>
                <a:lnTo>
                  <a:pt x="3562403" y="1011959"/>
                </a:lnTo>
                <a:cubicBezTo>
                  <a:pt x="3563470" y="1010251"/>
                  <a:pt x="3564963" y="1008971"/>
                  <a:pt x="3566884" y="1009113"/>
                </a:cubicBezTo>
                <a:close/>
                <a:moveTo>
                  <a:pt x="1408828" y="1009017"/>
                </a:moveTo>
                <a:cubicBezTo>
                  <a:pt x="1409654" y="1009946"/>
                  <a:pt x="1408622" y="1012580"/>
                  <a:pt x="1409551" y="1013354"/>
                </a:cubicBezTo>
                <a:cubicBezTo>
                  <a:pt x="1409551" y="1013354"/>
                  <a:pt x="1409551" y="1013354"/>
                  <a:pt x="1407692" y="1014284"/>
                </a:cubicBezTo>
                <a:cubicBezTo>
                  <a:pt x="1406763" y="1014284"/>
                  <a:pt x="1405937" y="1014438"/>
                  <a:pt x="1405007" y="1013509"/>
                </a:cubicBezTo>
                <a:cubicBezTo>
                  <a:pt x="1404182" y="1012734"/>
                  <a:pt x="1404285" y="1011030"/>
                  <a:pt x="1404285" y="1010101"/>
                </a:cubicBezTo>
                <a:cubicBezTo>
                  <a:pt x="1405214" y="1010101"/>
                  <a:pt x="1405214" y="1009327"/>
                  <a:pt x="1406143" y="1009172"/>
                </a:cubicBezTo>
                <a:cubicBezTo>
                  <a:pt x="1408002" y="1008242"/>
                  <a:pt x="1407899" y="1008242"/>
                  <a:pt x="1408828" y="1009017"/>
                </a:cubicBezTo>
                <a:close/>
                <a:moveTo>
                  <a:pt x="1170306" y="1009017"/>
                </a:moveTo>
                <a:cubicBezTo>
                  <a:pt x="1170409" y="1010720"/>
                  <a:pt x="1173920" y="1011185"/>
                  <a:pt x="1172268" y="1013044"/>
                </a:cubicBezTo>
                <a:cubicBezTo>
                  <a:pt x="1171339" y="1012425"/>
                  <a:pt x="1170306" y="1010720"/>
                  <a:pt x="1169377" y="1010101"/>
                </a:cubicBezTo>
                <a:cubicBezTo>
                  <a:pt x="1169377" y="1010101"/>
                  <a:pt x="1169480" y="1010101"/>
                  <a:pt x="1170306" y="1009017"/>
                </a:cubicBezTo>
                <a:close/>
                <a:moveTo>
                  <a:pt x="1074846" y="1008784"/>
                </a:moveTo>
                <a:cubicBezTo>
                  <a:pt x="1077789" y="1007506"/>
                  <a:pt x="1081299" y="1007855"/>
                  <a:pt x="1083055" y="1010101"/>
                </a:cubicBezTo>
                <a:cubicBezTo>
                  <a:pt x="1084191" y="1011495"/>
                  <a:pt x="1084604" y="1013819"/>
                  <a:pt x="1083468" y="1017072"/>
                </a:cubicBezTo>
                <a:cubicBezTo>
                  <a:pt x="1077375" y="1016607"/>
                  <a:pt x="1074485" y="1019860"/>
                  <a:pt x="1070044" y="1017227"/>
                </a:cubicBezTo>
                <a:cubicBezTo>
                  <a:pt x="1069528" y="1012967"/>
                  <a:pt x="1071903" y="1010062"/>
                  <a:pt x="1074846" y="1008784"/>
                </a:cubicBezTo>
                <a:close/>
                <a:moveTo>
                  <a:pt x="1513014" y="1008707"/>
                </a:moveTo>
                <a:cubicBezTo>
                  <a:pt x="1514769" y="1008707"/>
                  <a:pt x="1516318" y="1009172"/>
                  <a:pt x="1517557" y="1010566"/>
                </a:cubicBezTo>
                <a:cubicBezTo>
                  <a:pt x="1515595" y="1015368"/>
                  <a:pt x="1514253" y="1021253"/>
                  <a:pt x="1508264" y="1020479"/>
                </a:cubicBezTo>
                <a:cubicBezTo>
                  <a:pt x="1506818" y="1019085"/>
                  <a:pt x="1506199" y="1017691"/>
                  <a:pt x="1505992" y="1016452"/>
                </a:cubicBezTo>
                <a:cubicBezTo>
                  <a:pt x="1505372" y="1012580"/>
                  <a:pt x="1509297" y="1009017"/>
                  <a:pt x="1513014" y="1008707"/>
                </a:cubicBezTo>
                <a:close/>
                <a:moveTo>
                  <a:pt x="4581695" y="1008686"/>
                </a:moveTo>
                <a:cubicBezTo>
                  <a:pt x="4589591" y="1007975"/>
                  <a:pt x="4593006" y="1009683"/>
                  <a:pt x="4593647" y="1012243"/>
                </a:cubicBezTo>
                <a:cubicBezTo>
                  <a:pt x="4595781" y="1019641"/>
                  <a:pt x="4574225" y="1033726"/>
                  <a:pt x="4581695" y="1008686"/>
                </a:cubicBezTo>
                <a:close/>
                <a:moveTo>
                  <a:pt x="4913990" y="1007975"/>
                </a:moveTo>
                <a:cubicBezTo>
                  <a:pt x="4915270" y="1007691"/>
                  <a:pt x="4916764" y="1007833"/>
                  <a:pt x="4918258" y="1008402"/>
                </a:cubicBezTo>
                <a:cubicBezTo>
                  <a:pt x="4918258" y="1008402"/>
                  <a:pt x="4918258" y="1008402"/>
                  <a:pt x="4916978" y="1008402"/>
                </a:cubicBezTo>
                <a:cubicBezTo>
                  <a:pt x="4916978" y="1008402"/>
                  <a:pt x="4918258" y="1008402"/>
                  <a:pt x="4918045" y="1009540"/>
                </a:cubicBezTo>
                <a:cubicBezTo>
                  <a:pt x="4911855" y="1012955"/>
                  <a:pt x="4902892" y="1011674"/>
                  <a:pt x="4901612" y="1011674"/>
                </a:cubicBezTo>
                <a:cubicBezTo>
                  <a:pt x="4901825" y="1010536"/>
                  <a:pt x="4901825" y="1010536"/>
                  <a:pt x="4901825" y="1010536"/>
                </a:cubicBezTo>
                <a:cubicBezTo>
                  <a:pt x="4905026" y="1011390"/>
                  <a:pt x="4909508" y="1008402"/>
                  <a:pt x="4913990" y="1007975"/>
                </a:cubicBezTo>
                <a:close/>
                <a:moveTo>
                  <a:pt x="4894995" y="1007975"/>
                </a:moveTo>
                <a:cubicBezTo>
                  <a:pt x="4894995" y="1007975"/>
                  <a:pt x="4894995" y="1007975"/>
                  <a:pt x="4896062" y="1009113"/>
                </a:cubicBezTo>
                <a:cubicBezTo>
                  <a:pt x="4893715" y="1009113"/>
                  <a:pt x="4892007" y="1013950"/>
                  <a:pt x="4890086" y="1011532"/>
                </a:cubicBezTo>
                <a:cubicBezTo>
                  <a:pt x="4891367" y="1010251"/>
                  <a:pt x="4893715" y="1009113"/>
                  <a:pt x="4894995" y="1007975"/>
                </a:cubicBezTo>
                <a:close/>
                <a:moveTo>
                  <a:pt x="3719479" y="1007264"/>
                </a:moveTo>
                <a:cubicBezTo>
                  <a:pt x="3722680" y="1009113"/>
                  <a:pt x="3725668" y="1011105"/>
                  <a:pt x="3725882" y="1013808"/>
                </a:cubicBezTo>
                <a:cubicBezTo>
                  <a:pt x="3725882" y="1014662"/>
                  <a:pt x="3725668" y="1015657"/>
                  <a:pt x="3724815" y="1016796"/>
                </a:cubicBezTo>
                <a:cubicBezTo>
                  <a:pt x="3719266" y="1018503"/>
                  <a:pt x="3714784" y="1013666"/>
                  <a:pt x="3719479" y="1007264"/>
                </a:cubicBezTo>
                <a:close/>
                <a:moveTo>
                  <a:pt x="1481211" y="1006694"/>
                </a:moveTo>
                <a:cubicBezTo>
                  <a:pt x="1482863" y="1007933"/>
                  <a:pt x="1484618" y="1008242"/>
                  <a:pt x="1486374" y="1009327"/>
                </a:cubicBezTo>
                <a:cubicBezTo>
                  <a:pt x="1486064" y="1012425"/>
                  <a:pt x="1489368" y="1015523"/>
                  <a:pt x="1484618" y="1018001"/>
                </a:cubicBezTo>
                <a:cubicBezTo>
                  <a:pt x="1481727" y="1017536"/>
                  <a:pt x="1479455" y="1015058"/>
                  <a:pt x="1478939" y="1012425"/>
                </a:cubicBezTo>
                <a:cubicBezTo>
                  <a:pt x="1478733" y="1011495"/>
                  <a:pt x="1478733" y="1010720"/>
                  <a:pt x="1479042" y="1009791"/>
                </a:cubicBezTo>
                <a:cubicBezTo>
                  <a:pt x="1479352" y="1008707"/>
                  <a:pt x="1479972" y="1007623"/>
                  <a:pt x="1481211" y="1006694"/>
                </a:cubicBezTo>
                <a:close/>
                <a:moveTo>
                  <a:pt x="4389404" y="1005983"/>
                </a:moveTo>
                <a:cubicBezTo>
                  <a:pt x="4393672" y="1005556"/>
                  <a:pt x="4397514" y="1006410"/>
                  <a:pt x="4398154" y="1009540"/>
                </a:cubicBezTo>
                <a:cubicBezTo>
                  <a:pt x="4398367" y="1010536"/>
                  <a:pt x="4398154" y="1011674"/>
                  <a:pt x="4397727" y="1012955"/>
                </a:cubicBezTo>
                <a:cubicBezTo>
                  <a:pt x="4390471" y="1012670"/>
                  <a:pt x="4383642" y="1016227"/>
                  <a:pt x="4380440" y="1013666"/>
                </a:cubicBezTo>
                <a:cubicBezTo>
                  <a:pt x="4379373" y="1012812"/>
                  <a:pt x="4378733" y="1011390"/>
                  <a:pt x="4378733" y="1008829"/>
                </a:cubicBezTo>
                <a:cubicBezTo>
                  <a:pt x="4380654" y="1007833"/>
                  <a:pt x="4385135" y="1006268"/>
                  <a:pt x="4389404" y="1005983"/>
                </a:cubicBezTo>
                <a:close/>
                <a:moveTo>
                  <a:pt x="1198702" y="1005764"/>
                </a:moveTo>
                <a:cubicBezTo>
                  <a:pt x="1200147" y="1005145"/>
                  <a:pt x="1201076" y="1005454"/>
                  <a:pt x="1201902" y="1006074"/>
                </a:cubicBezTo>
                <a:cubicBezTo>
                  <a:pt x="1202729" y="1006694"/>
                  <a:pt x="1203452" y="1007778"/>
                  <a:pt x="1204174" y="1009172"/>
                </a:cubicBezTo>
                <a:cubicBezTo>
                  <a:pt x="1205620" y="1012115"/>
                  <a:pt x="1203452" y="1013664"/>
                  <a:pt x="1204174" y="1015987"/>
                </a:cubicBezTo>
                <a:lnTo>
                  <a:pt x="1202626" y="1015677"/>
                </a:lnTo>
                <a:lnTo>
                  <a:pt x="1201593" y="1024042"/>
                </a:lnTo>
                <a:cubicBezTo>
                  <a:pt x="1200664" y="1026675"/>
                  <a:pt x="1199115" y="1028844"/>
                  <a:pt x="1197153" y="1030702"/>
                </a:cubicBezTo>
                <a:lnTo>
                  <a:pt x="1193126" y="1033491"/>
                </a:lnTo>
                <a:lnTo>
                  <a:pt x="1196740" y="1034265"/>
                </a:lnTo>
                <a:cubicBezTo>
                  <a:pt x="1200870" y="1035814"/>
                  <a:pt x="1205104" y="1038447"/>
                  <a:pt x="1209131" y="1042319"/>
                </a:cubicBezTo>
                <a:cubicBezTo>
                  <a:pt x="1208924" y="1047896"/>
                  <a:pt x="1204587" y="1049445"/>
                  <a:pt x="1199528" y="1048360"/>
                </a:cubicBezTo>
                <a:cubicBezTo>
                  <a:pt x="1193126" y="1047121"/>
                  <a:pt x="1185795" y="1042010"/>
                  <a:pt x="1184039" y="1036898"/>
                </a:cubicBezTo>
                <a:lnTo>
                  <a:pt x="1184039" y="1036434"/>
                </a:lnTo>
                <a:lnTo>
                  <a:pt x="1177224" y="1036124"/>
                </a:lnTo>
                <a:cubicBezTo>
                  <a:pt x="1174746" y="1035814"/>
                  <a:pt x="1172165" y="1035040"/>
                  <a:pt x="1169687" y="1033800"/>
                </a:cubicBezTo>
                <a:cubicBezTo>
                  <a:pt x="1169687" y="1032561"/>
                  <a:pt x="1169790" y="1031477"/>
                  <a:pt x="1168551" y="1031322"/>
                </a:cubicBezTo>
                <a:cubicBezTo>
                  <a:pt x="1168241" y="1023577"/>
                  <a:pt x="1173507" y="1017072"/>
                  <a:pt x="1180425" y="1013664"/>
                </a:cubicBezTo>
                <a:cubicBezTo>
                  <a:pt x="1185692" y="1011185"/>
                  <a:pt x="1191784" y="1010411"/>
                  <a:pt x="1197360" y="1012270"/>
                </a:cubicBezTo>
                <a:lnTo>
                  <a:pt x="1198186" y="1012580"/>
                </a:lnTo>
                <a:lnTo>
                  <a:pt x="1197153" y="1011495"/>
                </a:lnTo>
                <a:cubicBezTo>
                  <a:pt x="1196843" y="1010411"/>
                  <a:pt x="1196843" y="1010411"/>
                  <a:pt x="1197256" y="1009636"/>
                </a:cubicBezTo>
                <a:cubicBezTo>
                  <a:pt x="1197360" y="1007778"/>
                  <a:pt x="1197050" y="1006539"/>
                  <a:pt x="1198702" y="1005764"/>
                </a:cubicBezTo>
                <a:close/>
                <a:moveTo>
                  <a:pt x="3514169" y="1005556"/>
                </a:moveTo>
                <a:cubicBezTo>
                  <a:pt x="3516944" y="1007264"/>
                  <a:pt x="3520572" y="1009540"/>
                  <a:pt x="3521639" y="1011674"/>
                </a:cubicBezTo>
                <a:cubicBezTo>
                  <a:pt x="3519292" y="1011532"/>
                  <a:pt x="3515023" y="1010251"/>
                  <a:pt x="3514383" y="1006979"/>
                </a:cubicBezTo>
                <a:cubicBezTo>
                  <a:pt x="3514383" y="1006979"/>
                  <a:pt x="3514383" y="1007121"/>
                  <a:pt x="3514169" y="1005556"/>
                </a:cubicBezTo>
                <a:close/>
                <a:moveTo>
                  <a:pt x="1295659" y="1004835"/>
                </a:moveTo>
                <a:cubicBezTo>
                  <a:pt x="1296692" y="1003131"/>
                  <a:pt x="1298344" y="1003906"/>
                  <a:pt x="1299996" y="1005454"/>
                </a:cubicBezTo>
                <a:cubicBezTo>
                  <a:pt x="1304230" y="1007778"/>
                  <a:pt x="1305056" y="1010256"/>
                  <a:pt x="1302268" y="1012889"/>
                </a:cubicBezTo>
                <a:cubicBezTo>
                  <a:pt x="1301442" y="1012889"/>
                  <a:pt x="1298860" y="1012270"/>
                  <a:pt x="1298757" y="1013044"/>
                </a:cubicBezTo>
                <a:cubicBezTo>
                  <a:pt x="1296898" y="1011340"/>
                  <a:pt x="1295040" y="1009017"/>
                  <a:pt x="1295040" y="1006849"/>
                </a:cubicBezTo>
                <a:cubicBezTo>
                  <a:pt x="1295040" y="1006229"/>
                  <a:pt x="1295246" y="1005454"/>
                  <a:pt x="1295659" y="1004835"/>
                </a:cubicBezTo>
                <a:close/>
                <a:moveTo>
                  <a:pt x="3689174" y="1004561"/>
                </a:moveTo>
                <a:cubicBezTo>
                  <a:pt x="3694723" y="1004561"/>
                  <a:pt x="3699845" y="1006552"/>
                  <a:pt x="3704967" y="1011532"/>
                </a:cubicBezTo>
                <a:cubicBezTo>
                  <a:pt x="3705180" y="1014377"/>
                  <a:pt x="3704540" y="1016938"/>
                  <a:pt x="3703046" y="1019072"/>
                </a:cubicBezTo>
                <a:cubicBezTo>
                  <a:pt x="3699205" y="1025759"/>
                  <a:pt x="3689814" y="1029600"/>
                  <a:pt x="3684265" y="1032588"/>
                </a:cubicBezTo>
                <a:cubicBezTo>
                  <a:pt x="3678503" y="1025332"/>
                  <a:pt x="3672740" y="1018076"/>
                  <a:pt x="3673594" y="1011248"/>
                </a:cubicBezTo>
                <a:cubicBezTo>
                  <a:pt x="3678503" y="1007121"/>
                  <a:pt x="3683838" y="1004703"/>
                  <a:pt x="3689174" y="1004561"/>
                </a:cubicBezTo>
                <a:close/>
                <a:moveTo>
                  <a:pt x="951816" y="1002821"/>
                </a:moveTo>
                <a:cubicBezTo>
                  <a:pt x="953468" y="1004680"/>
                  <a:pt x="953468" y="1005609"/>
                  <a:pt x="954294" y="1006539"/>
                </a:cubicBezTo>
                <a:cubicBezTo>
                  <a:pt x="954294" y="1005609"/>
                  <a:pt x="955223" y="1006694"/>
                  <a:pt x="955223" y="1006694"/>
                </a:cubicBezTo>
                <a:cubicBezTo>
                  <a:pt x="955223" y="1006694"/>
                  <a:pt x="955223" y="1006539"/>
                  <a:pt x="956979" y="1005145"/>
                </a:cubicBezTo>
                <a:cubicBezTo>
                  <a:pt x="956979" y="1005145"/>
                  <a:pt x="961316" y="1002201"/>
                  <a:pt x="965652" y="1005919"/>
                </a:cubicBezTo>
                <a:cubicBezTo>
                  <a:pt x="964723" y="1006694"/>
                  <a:pt x="969886" y="1012270"/>
                  <a:pt x="968027" y="1015523"/>
                </a:cubicBezTo>
                <a:cubicBezTo>
                  <a:pt x="967201" y="1017072"/>
                  <a:pt x="966272" y="1017846"/>
                  <a:pt x="965446" y="1019395"/>
                </a:cubicBezTo>
                <a:cubicBezTo>
                  <a:pt x="962864" y="1019085"/>
                  <a:pt x="960180" y="1021409"/>
                  <a:pt x="955017" y="1017536"/>
                </a:cubicBezTo>
                <a:cubicBezTo>
                  <a:pt x="949854" y="1012734"/>
                  <a:pt x="954294" y="1008242"/>
                  <a:pt x="953365" y="1008087"/>
                </a:cubicBezTo>
                <a:cubicBezTo>
                  <a:pt x="952539" y="1007158"/>
                  <a:pt x="952642" y="1007158"/>
                  <a:pt x="951713" y="1007158"/>
                </a:cubicBezTo>
                <a:cubicBezTo>
                  <a:pt x="951713" y="1006229"/>
                  <a:pt x="950887" y="1004525"/>
                  <a:pt x="950061" y="1003595"/>
                </a:cubicBezTo>
                <a:cubicBezTo>
                  <a:pt x="950887" y="1003595"/>
                  <a:pt x="951816" y="1003751"/>
                  <a:pt x="951816" y="1002821"/>
                </a:cubicBezTo>
                <a:close/>
                <a:moveTo>
                  <a:pt x="4047932" y="1002284"/>
                </a:moveTo>
                <a:cubicBezTo>
                  <a:pt x="4048146" y="1003423"/>
                  <a:pt x="4048146" y="1004561"/>
                  <a:pt x="4049427" y="1004561"/>
                </a:cubicBezTo>
                <a:cubicBezTo>
                  <a:pt x="4047505" y="1007121"/>
                  <a:pt x="4046225" y="1007121"/>
                  <a:pt x="4045371" y="1008402"/>
                </a:cubicBezTo>
                <a:cubicBezTo>
                  <a:pt x="4046439" y="1008260"/>
                  <a:pt x="4045371" y="1009540"/>
                  <a:pt x="4045371" y="1009540"/>
                </a:cubicBezTo>
                <a:cubicBezTo>
                  <a:pt x="4045371" y="1009540"/>
                  <a:pt x="4045371" y="1009540"/>
                  <a:pt x="4048146" y="1011816"/>
                </a:cubicBezTo>
                <a:cubicBezTo>
                  <a:pt x="4048146" y="1011816"/>
                  <a:pt x="4053481" y="1017507"/>
                  <a:pt x="4049639" y="1023767"/>
                </a:cubicBezTo>
                <a:cubicBezTo>
                  <a:pt x="4048359" y="1022629"/>
                  <a:pt x="4042597" y="1030169"/>
                  <a:pt x="4037475" y="1028035"/>
                </a:cubicBezTo>
                <a:cubicBezTo>
                  <a:pt x="4035127" y="1027039"/>
                  <a:pt x="4033846" y="1025901"/>
                  <a:pt x="4031286" y="1024763"/>
                </a:cubicBezTo>
                <a:cubicBezTo>
                  <a:pt x="4030859" y="1021206"/>
                  <a:pt x="4026804" y="1017934"/>
                  <a:pt x="4030432" y="1010536"/>
                </a:cubicBezTo>
                <a:cubicBezTo>
                  <a:pt x="4035127" y="1002996"/>
                  <a:pt x="4043024" y="1008544"/>
                  <a:pt x="4042810" y="1007406"/>
                </a:cubicBezTo>
                <a:cubicBezTo>
                  <a:pt x="4043877" y="1006126"/>
                  <a:pt x="4043877" y="1006126"/>
                  <a:pt x="4043664" y="1004845"/>
                </a:cubicBezTo>
                <a:cubicBezTo>
                  <a:pt x="4044731" y="1004845"/>
                  <a:pt x="4046865" y="1003423"/>
                  <a:pt x="4047932" y="1002284"/>
                </a:cubicBezTo>
                <a:close/>
                <a:moveTo>
                  <a:pt x="1327049" y="1001117"/>
                </a:moveTo>
                <a:cubicBezTo>
                  <a:pt x="1328701" y="1001892"/>
                  <a:pt x="1330973" y="1007468"/>
                  <a:pt x="1330043" y="1008242"/>
                </a:cubicBezTo>
                <a:cubicBezTo>
                  <a:pt x="1328185" y="1007158"/>
                  <a:pt x="1324984" y="1005145"/>
                  <a:pt x="1324158" y="1003286"/>
                </a:cubicBezTo>
                <a:cubicBezTo>
                  <a:pt x="1323952" y="1002511"/>
                  <a:pt x="1324055" y="1001892"/>
                  <a:pt x="1324468" y="1001272"/>
                </a:cubicBezTo>
                <a:cubicBezTo>
                  <a:pt x="1325397" y="1000343"/>
                  <a:pt x="1326223" y="1001117"/>
                  <a:pt x="1327049" y="1001117"/>
                </a:cubicBezTo>
                <a:close/>
                <a:moveTo>
                  <a:pt x="1453538" y="1000962"/>
                </a:moveTo>
                <a:cubicBezTo>
                  <a:pt x="1454467" y="1000652"/>
                  <a:pt x="1455706" y="1000807"/>
                  <a:pt x="1457359" y="1000962"/>
                </a:cubicBezTo>
                <a:cubicBezTo>
                  <a:pt x="1460560" y="1001272"/>
                  <a:pt x="1461179" y="1003906"/>
                  <a:pt x="1463657" y="1004680"/>
                </a:cubicBezTo>
                <a:cubicBezTo>
                  <a:pt x="1462625" y="1006229"/>
                  <a:pt x="1461282" y="1008862"/>
                  <a:pt x="1456842" y="1008087"/>
                </a:cubicBezTo>
                <a:cubicBezTo>
                  <a:pt x="1455603" y="1007778"/>
                  <a:pt x="1455603" y="1007778"/>
                  <a:pt x="1455087" y="1007003"/>
                </a:cubicBezTo>
                <a:cubicBezTo>
                  <a:pt x="1453435" y="1005919"/>
                  <a:pt x="1452196" y="1005609"/>
                  <a:pt x="1451989" y="1003595"/>
                </a:cubicBezTo>
                <a:cubicBezTo>
                  <a:pt x="1452093" y="1002201"/>
                  <a:pt x="1452608" y="1001427"/>
                  <a:pt x="1453538" y="1000962"/>
                </a:cubicBezTo>
                <a:close/>
                <a:moveTo>
                  <a:pt x="1270155" y="1000962"/>
                </a:moveTo>
                <a:cubicBezTo>
                  <a:pt x="1272014" y="1002356"/>
                  <a:pt x="1273872" y="1002976"/>
                  <a:pt x="1273872" y="1003906"/>
                </a:cubicBezTo>
                <a:cubicBezTo>
                  <a:pt x="1274801" y="1003751"/>
                  <a:pt x="1275731" y="1004370"/>
                  <a:pt x="1276557" y="1004370"/>
                </a:cubicBezTo>
                <a:cubicBezTo>
                  <a:pt x="1276557" y="1004370"/>
                  <a:pt x="1276557" y="1004370"/>
                  <a:pt x="1276660" y="1005145"/>
                </a:cubicBezTo>
                <a:cubicBezTo>
                  <a:pt x="1273046" y="1004835"/>
                  <a:pt x="1268709" y="1006229"/>
                  <a:pt x="1266025" y="1004990"/>
                </a:cubicBezTo>
                <a:cubicBezTo>
                  <a:pt x="1265508" y="1004525"/>
                  <a:pt x="1265095" y="1004215"/>
                  <a:pt x="1264889" y="1003751"/>
                </a:cubicBezTo>
                <a:cubicBezTo>
                  <a:pt x="1264786" y="1003286"/>
                  <a:pt x="1264992" y="1002511"/>
                  <a:pt x="1265818" y="1001582"/>
                </a:cubicBezTo>
                <a:cubicBezTo>
                  <a:pt x="1266644" y="999878"/>
                  <a:pt x="1267470" y="999723"/>
                  <a:pt x="1270155" y="1000962"/>
                </a:cubicBezTo>
                <a:close/>
                <a:moveTo>
                  <a:pt x="3255932" y="1000862"/>
                </a:moveTo>
                <a:cubicBezTo>
                  <a:pt x="3257212" y="1001431"/>
                  <a:pt x="3258706" y="1002569"/>
                  <a:pt x="3259773" y="1003849"/>
                </a:cubicBezTo>
                <a:cubicBezTo>
                  <a:pt x="3260840" y="1004703"/>
                  <a:pt x="3261267" y="1005983"/>
                  <a:pt x="3261267" y="1007264"/>
                </a:cubicBezTo>
                <a:cubicBezTo>
                  <a:pt x="3261267" y="1008686"/>
                  <a:pt x="3261053" y="1010109"/>
                  <a:pt x="3260413" y="1011248"/>
                </a:cubicBezTo>
                <a:cubicBezTo>
                  <a:pt x="3259133" y="1012243"/>
                  <a:pt x="3259133" y="1012101"/>
                  <a:pt x="3257852" y="1013097"/>
                </a:cubicBezTo>
                <a:cubicBezTo>
                  <a:pt x="3255718" y="1012812"/>
                  <a:pt x="3253370" y="1013666"/>
                  <a:pt x="3251023" y="1012101"/>
                </a:cubicBezTo>
                <a:cubicBezTo>
                  <a:pt x="3248889" y="1009398"/>
                  <a:pt x="3250596" y="1003565"/>
                  <a:pt x="3251877" y="1001431"/>
                </a:cubicBezTo>
                <a:cubicBezTo>
                  <a:pt x="3252944" y="1000435"/>
                  <a:pt x="3254438" y="1000435"/>
                  <a:pt x="3255932" y="1000862"/>
                </a:cubicBezTo>
                <a:close/>
                <a:moveTo>
                  <a:pt x="1429686" y="1000652"/>
                </a:moveTo>
                <a:cubicBezTo>
                  <a:pt x="1430408" y="1000497"/>
                  <a:pt x="1431338" y="1000652"/>
                  <a:pt x="1432577" y="1001117"/>
                </a:cubicBezTo>
                <a:cubicBezTo>
                  <a:pt x="1433300" y="1000807"/>
                  <a:pt x="1435674" y="1003595"/>
                  <a:pt x="1435262" y="1004680"/>
                </a:cubicBezTo>
                <a:cubicBezTo>
                  <a:pt x="1434849" y="1007623"/>
                  <a:pt x="1431751" y="1007003"/>
                  <a:pt x="1428240" y="1007468"/>
                </a:cubicBezTo>
                <a:cubicBezTo>
                  <a:pt x="1428653" y="1006384"/>
                  <a:pt x="1427517" y="1005764"/>
                  <a:pt x="1426382" y="1005299"/>
                </a:cubicBezTo>
                <a:cubicBezTo>
                  <a:pt x="1426898" y="1003751"/>
                  <a:pt x="1427517" y="1001117"/>
                  <a:pt x="1429686" y="1000652"/>
                </a:cubicBezTo>
                <a:close/>
                <a:moveTo>
                  <a:pt x="1057757" y="1000652"/>
                </a:moveTo>
                <a:cubicBezTo>
                  <a:pt x="1060545" y="1001892"/>
                  <a:pt x="1063126" y="1007623"/>
                  <a:pt x="1061371" y="1010411"/>
                </a:cubicBezTo>
                <a:cubicBezTo>
                  <a:pt x="1060855" y="1011340"/>
                  <a:pt x="1059822" y="1011960"/>
                  <a:pt x="1058170" y="1011805"/>
                </a:cubicBezTo>
                <a:cubicBezTo>
                  <a:pt x="1053214" y="1011185"/>
                  <a:pt x="1052697" y="1007003"/>
                  <a:pt x="1052801" y="1002356"/>
                </a:cubicBezTo>
                <a:cubicBezTo>
                  <a:pt x="1054660" y="1002047"/>
                  <a:pt x="1055898" y="1000962"/>
                  <a:pt x="1057757" y="1000652"/>
                </a:cubicBezTo>
                <a:close/>
                <a:moveTo>
                  <a:pt x="1395405" y="1000497"/>
                </a:moveTo>
                <a:cubicBezTo>
                  <a:pt x="1395818" y="1001272"/>
                  <a:pt x="1397057" y="1001737"/>
                  <a:pt x="1397573" y="1002511"/>
                </a:cubicBezTo>
                <a:cubicBezTo>
                  <a:pt x="1397057" y="1004680"/>
                  <a:pt x="1393753" y="1004370"/>
                  <a:pt x="1393339" y="1003595"/>
                </a:cubicBezTo>
                <a:cubicBezTo>
                  <a:pt x="1393546" y="1002511"/>
                  <a:pt x="1395095" y="1001737"/>
                  <a:pt x="1395405" y="1000497"/>
                </a:cubicBezTo>
                <a:close/>
                <a:moveTo>
                  <a:pt x="1487200" y="1000188"/>
                </a:moveTo>
                <a:cubicBezTo>
                  <a:pt x="1487819" y="1000033"/>
                  <a:pt x="1488438" y="1000188"/>
                  <a:pt x="1488748" y="1000497"/>
                </a:cubicBezTo>
                <a:cubicBezTo>
                  <a:pt x="1486787" y="1002047"/>
                  <a:pt x="1484515" y="1005299"/>
                  <a:pt x="1481211" y="1004215"/>
                </a:cubicBezTo>
                <a:cubicBezTo>
                  <a:pt x="1482760" y="1003131"/>
                  <a:pt x="1485341" y="1000652"/>
                  <a:pt x="1487200" y="1000188"/>
                </a:cubicBezTo>
                <a:close/>
                <a:moveTo>
                  <a:pt x="3551304" y="1000008"/>
                </a:moveTo>
                <a:cubicBezTo>
                  <a:pt x="3552799" y="1000435"/>
                  <a:pt x="3553225" y="1001431"/>
                  <a:pt x="3553225" y="1001431"/>
                </a:cubicBezTo>
                <a:cubicBezTo>
                  <a:pt x="3552799" y="1005699"/>
                  <a:pt x="3550878" y="1009683"/>
                  <a:pt x="3546182" y="1008402"/>
                </a:cubicBezTo>
                <a:cubicBezTo>
                  <a:pt x="3544688" y="1008118"/>
                  <a:pt x="3543194" y="1007691"/>
                  <a:pt x="3544261" y="1006979"/>
                </a:cubicBezTo>
                <a:cubicBezTo>
                  <a:pt x="3543621" y="1005983"/>
                  <a:pt x="3544688" y="1005414"/>
                  <a:pt x="3545116" y="1003707"/>
                </a:cubicBezTo>
                <a:cubicBezTo>
                  <a:pt x="3546609" y="1001431"/>
                  <a:pt x="3549597" y="999582"/>
                  <a:pt x="3551304" y="1000008"/>
                </a:cubicBezTo>
                <a:close/>
                <a:moveTo>
                  <a:pt x="1383737" y="998949"/>
                </a:moveTo>
                <a:cubicBezTo>
                  <a:pt x="1385699" y="999259"/>
                  <a:pt x="1384563" y="1002356"/>
                  <a:pt x="1384873" y="1003286"/>
                </a:cubicBezTo>
                <a:cubicBezTo>
                  <a:pt x="1384563" y="1004370"/>
                  <a:pt x="1384150" y="1005299"/>
                  <a:pt x="1383014" y="1004835"/>
                </a:cubicBezTo>
                <a:cubicBezTo>
                  <a:pt x="1381775" y="1004370"/>
                  <a:pt x="1381052" y="1004680"/>
                  <a:pt x="1381052" y="1002821"/>
                </a:cubicBezTo>
                <a:cubicBezTo>
                  <a:pt x="1380639" y="1002047"/>
                  <a:pt x="1381052" y="1000962"/>
                  <a:pt x="1380639" y="1000188"/>
                </a:cubicBezTo>
                <a:cubicBezTo>
                  <a:pt x="1380639" y="1000188"/>
                  <a:pt x="1381156" y="999878"/>
                  <a:pt x="1381775" y="999413"/>
                </a:cubicBezTo>
                <a:cubicBezTo>
                  <a:pt x="1382395" y="999103"/>
                  <a:pt x="1383221" y="998794"/>
                  <a:pt x="1383737" y="998949"/>
                </a:cubicBezTo>
                <a:close/>
                <a:moveTo>
                  <a:pt x="3629629" y="997874"/>
                </a:moveTo>
                <a:cubicBezTo>
                  <a:pt x="3630910" y="997732"/>
                  <a:pt x="3632404" y="998016"/>
                  <a:pt x="3633471" y="998728"/>
                </a:cubicBezTo>
                <a:cubicBezTo>
                  <a:pt x="3634538" y="999866"/>
                  <a:pt x="3634538" y="999866"/>
                  <a:pt x="3635392" y="1001004"/>
                </a:cubicBezTo>
                <a:cubicBezTo>
                  <a:pt x="3635179" y="1003423"/>
                  <a:pt x="3636246" y="1005841"/>
                  <a:pt x="3634752" y="1008118"/>
                </a:cubicBezTo>
                <a:cubicBezTo>
                  <a:pt x="3632191" y="1010536"/>
                  <a:pt x="3626641" y="1009256"/>
                  <a:pt x="3624508" y="1007975"/>
                </a:cubicBezTo>
                <a:cubicBezTo>
                  <a:pt x="3622587" y="1005556"/>
                  <a:pt x="3623867" y="1002142"/>
                  <a:pt x="3626428" y="999724"/>
                </a:cubicBezTo>
                <a:cubicBezTo>
                  <a:pt x="3627282" y="998585"/>
                  <a:pt x="3628349" y="998016"/>
                  <a:pt x="3629629" y="997874"/>
                </a:cubicBezTo>
                <a:close/>
                <a:moveTo>
                  <a:pt x="1409758" y="997864"/>
                </a:moveTo>
                <a:cubicBezTo>
                  <a:pt x="1412752" y="1000652"/>
                  <a:pt x="1413474" y="1001582"/>
                  <a:pt x="1411100" y="1005609"/>
                </a:cubicBezTo>
                <a:cubicBezTo>
                  <a:pt x="1411100" y="1005609"/>
                  <a:pt x="1410170" y="1006384"/>
                  <a:pt x="1410170" y="1006384"/>
                </a:cubicBezTo>
                <a:cubicBezTo>
                  <a:pt x="1406969" y="1009482"/>
                  <a:pt x="1401497" y="1010876"/>
                  <a:pt x="1399948" y="1009946"/>
                </a:cubicBezTo>
                <a:cubicBezTo>
                  <a:pt x="1399225" y="1009017"/>
                  <a:pt x="1398812" y="1007778"/>
                  <a:pt x="1398915" y="1006384"/>
                </a:cubicBezTo>
                <a:cubicBezTo>
                  <a:pt x="1399019" y="1004990"/>
                  <a:pt x="1399638" y="1003595"/>
                  <a:pt x="1401187" y="1002511"/>
                </a:cubicBezTo>
                <a:cubicBezTo>
                  <a:pt x="1403356" y="1000033"/>
                  <a:pt x="1406763" y="1000188"/>
                  <a:pt x="1409758" y="997864"/>
                </a:cubicBezTo>
                <a:close/>
                <a:moveTo>
                  <a:pt x="4487790" y="996736"/>
                </a:moveTo>
                <a:cubicBezTo>
                  <a:pt x="4491205" y="997020"/>
                  <a:pt x="4493553" y="998301"/>
                  <a:pt x="4495900" y="1002000"/>
                </a:cubicBezTo>
                <a:cubicBezTo>
                  <a:pt x="4493980" y="1006837"/>
                  <a:pt x="4495047" y="1005556"/>
                  <a:pt x="4490778" y="1009113"/>
                </a:cubicBezTo>
                <a:cubicBezTo>
                  <a:pt x="4488217" y="1006552"/>
                  <a:pt x="4485869" y="1003991"/>
                  <a:pt x="4483522" y="1001573"/>
                </a:cubicBezTo>
                <a:cubicBezTo>
                  <a:pt x="4485656" y="1000435"/>
                  <a:pt x="4486723" y="998016"/>
                  <a:pt x="4487790" y="996736"/>
                </a:cubicBezTo>
                <a:close/>
                <a:moveTo>
                  <a:pt x="1465929" y="996006"/>
                </a:moveTo>
                <a:cubicBezTo>
                  <a:pt x="1466755" y="995541"/>
                  <a:pt x="1467168" y="995851"/>
                  <a:pt x="1467477" y="996316"/>
                </a:cubicBezTo>
                <a:cubicBezTo>
                  <a:pt x="1467788" y="996935"/>
                  <a:pt x="1468097" y="997709"/>
                  <a:pt x="1468613" y="998639"/>
                </a:cubicBezTo>
                <a:lnTo>
                  <a:pt x="1465103" y="999103"/>
                </a:lnTo>
                <a:cubicBezTo>
                  <a:pt x="1464896" y="998484"/>
                  <a:pt x="1464793" y="997709"/>
                  <a:pt x="1464896" y="997090"/>
                </a:cubicBezTo>
                <a:cubicBezTo>
                  <a:pt x="1465103" y="996470"/>
                  <a:pt x="1465412" y="996006"/>
                  <a:pt x="1465929" y="996006"/>
                </a:cubicBezTo>
                <a:close/>
                <a:moveTo>
                  <a:pt x="1444245" y="995696"/>
                </a:moveTo>
                <a:cubicBezTo>
                  <a:pt x="1447756" y="996006"/>
                  <a:pt x="1450131" y="999878"/>
                  <a:pt x="1450337" y="1003131"/>
                </a:cubicBezTo>
                <a:lnTo>
                  <a:pt x="1450131" y="1004215"/>
                </a:lnTo>
                <a:lnTo>
                  <a:pt x="1451060" y="1006384"/>
                </a:lnTo>
                <a:cubicBezTo>
                  <a:pt x="1450853" y="1007468"/>
                  <a:pt x="1450234" y="1008397"/>
                  <a:pt x="1448685" y="1008862"/>
                </a:cubicBezTo>
                <a:cubicBezTo>
                  <a:pt x="1444039" y="1010101"/>
                  <a:pt x="1441973" y="1006229"/>
                  <a:pt x="1440218" y="1001737"/>
                </a:cubicBezTo>
                <a:cubicBezTo>
                  <a:pt x="1441767" y="1000652"/>
                  <a:pt x="1442386" y="999259"/>
                  <a:pt x="1443935" y="998174"/>
                </a:cubicBezTo>
                <a:lnTo>
                  <a:pt x="1444039" y="998174"/>
                </a:lnTo>
                <a:close/>
                <a:moveTo>
                  <a:pt x="4920392" y="995171"/>
                </a:moveTo>
                <a:cubicBezTo>
                  <a:pt x="4921459" y="997732"/>
                  <a:pt x="4921459" y="997732"/>
                  <a:pt x="4919966" y="1000150"/>
                </a:cubicBezTo>
                <a:cubicBezTo>
                  <a:pt x="4918898" y="1000008"/>
                  <a:pt x="4918685" y="1001289"/>
                  <a:pt x="4917618" y="1000150"/>
                </a:cubicBezTo>
                <a:cubicBezTo>
                  <a:pt x="4915057" y="1003707"/>
                  <a:pt x="4904172" y="1007121"/>
                  <a:pt x="4899690" y="1005841"/>
                </a:cubicBezTo>
                <a:cubicBezTo>
                  <a:pt x="4908868" y="995029"/>
                  <a:pt x="4915270" y="1001289"/>
                  <a:pt x="4920392" y="995171"/>
                </a:cubicBezTo>
                <a:close/>
                <a:moveTo>
                  <a:pt x="4153575" y="994887"/>
                </a:moveTo>
                <a:cubicBezTo>
                  <a:pt x="4154429" y="994602"/>
                  <a:pt x="4155282" y="994602"/>
                  <a:pt x="4155709" y="995171"/>
                </a:cubicBezTo>
                <a:cubicBezTo>
                  <a:pt x="4155496" y="996452"/>
                  <a:pt x="4156777" y="996452"/>
                  <a:pt x="4156563" y="997590"/>
                </a:cubicBezTo>
                <a:cubicBezTo>
                  <a:pt x="4157417" y="1000008"/>
                  <a:pt x="4157417" y="1001289"/>
                  <a:pt x="4156136" y="1002426"/>
                </a:cubicBezTo>
                <a:cubicBezTo>
                  <a:pt x="4156136" y="1003707"/>
                  <a:pt x="4154856" y="1003565"/>
                  <a:pt x="4153575" y="1004845"/>
                </a:cubicBezTo>
                <a:cubicBezTo>
                  <a:pt x="4152508" y="1004845"/>
                  <a:pt x="4151441" y="1003565"/>
                  <a:pt x="4151441" y="1003565"/>
                </a:cubicBezTo>
                <a:cubicBezTo>
                  <a:pt x="4150374" y="1002284"/>
                  <a:pt x="4150374" y="1002426"/>
                  <a:pt x="4149093" y="1003565"/>
                </a:cubicBezTo>
                <a:cubicBezTo>
                  <a:pt x="4149093" y="1003565"/>
                  <a:pt x="4149307" y="1002284"/>
                  <a:pt x="4149307" y="1002284"/>
                </a:cubicBezTo>
                <a:cubicBezTo>
                  <a:pt x="4150374" y="1002284"/>
                  <a:pt x="4149307" y="1002284"/>
                  <a:pt x="4148239" y="1001004"/>
                </a:cubicBezTo>
                <a:cubicBezTo>
                  <a:pt x="4149733" y="998728"/>
                  <a:pt x="4149733" y="997447"/>
                  <a:pt x="4151014" y="996309"/>
                </a:cubicBezTo>
                <a:cubicBezTo>
                  <a:pt x="4151654" y="995740"/>
                  <a:pt x="4152508" y="995171"/>
                  <a:pt x="4153575" y="994887"/>
                </a:cubicBezTo>
                <a:close/>
                <a:moveTo>
                  <a:pt x="4851458" y="994033"/>
                </a:moveTo>
                <a:cubicBezTo>
                  <a:pt x="4852525" y="994602"/>
                  <a:pt x="4852952" y="995313"/>
                  <a:pt x="4853165" y="995882"/>
                </a:cubicBezTo>
                <a:cubicBezTo>
                  <a:pt x="4853165" y="996452"/>
                  <a:pt x="4852952" y="997163"/>
                  <a:pt x="4852311" y="997732"/>
                </a:cubicBezTo>
                <a:cubicBezTo>
                  <a:pt x="4852311" y="997732"/>
                  <a:pt x="4851031" y="998870"/>
                  <a:pt x="4849537" y="1000150"/>
                </a:cubicBezTo>
                <a:cubicBezTo>
                  <a:pt x="4848257" y="1001289"/>
                  <a:pt x="4848043" y="1002426"/>
                  <a:pt x="4848043" y="1002426"/>
                </a:cubicBezTo>
                <a:cubicBezTo>
                  <a:pt x="4846762" y="1003565"/>
                  <a:pt x="4845695" y="1003565"/>
                  <a:pt x="4844628" y="1002426"/>
                </a:cubicBezTo>
                <a:cubicBezTo>
                  <a:pt x="4844628" y="1002426"/>
                  <a:pt x="4845909" y="1000008"/>
                  <a:pt x="4845909" y="1000008"/>
                </a:cubicBezTo>
                <a:cubicBezTo>
                  <a:pt x="4848683" y="997590"/>
                  <a:pt x="4849964" y="996452"/>
                  <a:pt x="4851458" y="994033"/>
                </a:cubicBezTo>
                <a:close/>
                <a:moveTo>
                  <a:pt x="3760669" y="993748"/>
                </a:moveTo>
                <a:cubicBezTo>
                  <a:pt x="3767712" y="998870"/>
                  <a:pt x="3757895" y="1010394"/>
                  <a:pt x="3752772" y="1000577"/>
                </a:cubicBezTo>
                <a:cubicBezTo>
                  <a:pt x="3756187" y="997020"/>
                  <a:pt x="3758322" y="994744"/>
                  <a:pt x="3760669" y="993748"/>
                </a:cubicBezTo>
                <a:close/>
                <a:moveTo>
                  <a:pt x="1524785" y="992753"/>
                </a:moveTo>
                <a:cubicBezTo>
                  <a:pt x="1528709" y="993062"/>
                  <a:pt x="1530670" y="995076"/>
                  <a:pt x="1529535" y="998329"/>
                </a:cubicBezTo>
                <a:cubicBezTo>
                  <a:pt x="1527160" y="997400"/>
                  <a:pt x="1525921" y="998794"/>
                  <a:pt x="1523546" y="997864"/>
                </a:cubicBezTo>
                <a:cubicBezTo>
                  <a:pt x="1524372" y="995696"/>
                  <a:pt x="1524372" y="993837"/>
                  <a:pt x="1524785" y="992753"/>
                </a:cubicBezTo>
                <a:close/>
                <a:moveTo>
                  <a:pt x="1182168" y="992559"/>
                </a:moveTo>
                <a:cubicBezTo>
                  <a:pt x="1184117" y="993062"/>
                  <a:pt x="1186259" y="994534"/>
                  <a:pt x="1188376" y="996470"/>
                </a:cubicBezTo>
                <a:cubicBezTo>
                  <a:pt x="1187550" y="997245"/>
                  <a:pt x="1190028" y="999259"/>
                  <a:pt x="1190958" y="1000962"/>
                </a:cubicBezTo>
                <a:cubicBezTo>
                  <a:pt x="1190854" y="1003441"/>
                  <a:pt x="1190854" y="1005145"/>
                  <a:pt x="1189099" y="1006694"/>
                </a:cubicBezTo>
                <a:cubicBezTo>
                  <a:pt x="1186414" y="1008862"/>
                  <a:pt x="1180322" y="1009946"/>
                  <a:pt x="1177844" y="1007158"/>
                </a:cubicBezTo>
                <a:cubicBezTo>
                  <a:pt x="1174437" y="1004370"/>
                  <a:pt x="1173610" y="1001737"/>
                  <a:pt x="1173610" y="999259"/>
                </a:cubicBezTo>
                <a:cubicBezTo>
                  <a:pt x="1173610" y="999259"/>
                  <a:pt x="1173610" y="999259"/>
                  <a:pt x="1173507" y="1000033"/>
                </a:cubicBezTo>
                <a:lnTo>
                  <a:pt x="1171649" y="1001582"/>
                </a:lnTo>
                <a:lnTo>
                  <a:pt x="1171752" y="1002976"/>
                </a:lnTo>
                <a:cubicBezTo>
                  <a:pt x="1171752" y="1003906"/>
                  <a:pt x="1171752" y="1004370"/>
                  <a:pt x="1171752" y="1004680"/>
                </a:cubicBezTo>
                <a:cubicBezTo>
                  <a:pt x="1170926" y="1004680"/>
                  <a:pt x="1170926" y="1004835"/>
                  <a:pt x="1170926" y="1004835"/>
                </a:cubicBezTo>
                <a:lnTo>
                  <a:pt x="1170409" y="1002511"/>
                </a:lnTo>
                <a:lnTo>
                  <a:pt x="1167312" y="1004990"/>
                </a:lnTo>
                <a:lnTo>
                  <a:pt x="1167725" y="1007003"/>
                </a:lnTo>
                <a:lnTo>
                  <a:pt x="1166176" y="1005764"/>
                </a:lnTo>
                <a:lnTo>
                  <a:pt x="1163801" y="1007003"/>
                </a:lnTo>
                <a:cubicBezTo>
                  <a:pt x="1162769" y="1007313"/>
                  <a:pt x="1161942" y="1007468"/>
                  <a:pt x="1161323" y="1007158"/>
                </a:cubicBezTo>
                <a:cubicBezTo>
                  <a:pt x="1161323" y="1006384"/>
                  <a:pt x="1161426" y="1005454"/>
                  <a:pt x="1162252" y="1004835"/>
                </a:cubicBezTo>
                <a:cubicBezTo>
                  <a:pt x="1163182" y="1004060"/>
                  <a:pt x="1163078" y="1004835"/>
                  <a:pt x="1163078" y="1004060"/>
                </a:cubicBezTo>
                <a:cubicBezTo>
                  <a:pt x="1164008" y="1003286"/>
                  <a:pt x="1163078" y="1003286"/>
                  <a:pt x="1163078" y="1003286"/>
                </a:cubicBezTo>
                <a:lnTo>
                  <a:pt x="1163388" y="1003286"/>
                </a:lnTo>
                <a:lnTo>
                  <a:pt x="1161942" y="999723"/>
                </a:lnTo>
                <a:cubicBezTo>
                  <a:pt x="1161323" y="997400"/>
                  <a:pt x="1161220" y="995231"/>
                  <a:pt x="1158948" y="993992"/>
                </a:cubicBezTo>
                <a:cubicBezTo>
                  <a:pt x="1160600" y="992908"/>
                  <a:pt x="1160600" y="992908"/>
                  <a:pt x="1162459" y="993527"/>
                </a:cubicBezTo>
                <a:cubicBezTo>
                  <a:pt x="1162459" y="994302"/>
                  <a:pt x="1163388" y="994147"/>
                  <a:pt x="1162562" y="995076"/>
                </a:cubicBezTo>
                <a:cubicBezTo>
                  <a:pt x="1163904" y="995851"/>
                  <a:pt x="1165350" y="997864"/>
                  <a:pt x="1166383" y="1000188"/>
                </a:cubicBezTo>
                <a:lnTo>
                  <a:pt x="1166486" y="1000652"/>
                </a:lnTo>
                <a:lnTo>
                  <a:pt x="1167415" y="999103"/>
                </a:lnTo>
                <a:cubicBezTo>
                  <a:pt x="1167725" y="998329"/>
                  <a:pt x="1168035" y="997864"/>
                  <a:pt x="1168448" y="997090"/>
                </a:cubicBezTo>
                <a:lnTo>
                  <a:pt x="1168551" y="996935"/>
                </a:lnTo>
                <a:lnTo>
                  <a:pt x="1168344" y="996470"/>
                </a:lnTo>
                <a:cubicBezTo>
                  <a:pt x="1168138" y="995386"/>
                  <a:pt x="1168138" y="994457"/>
                  <a:pt x="1168551" y="993218"/>
                </a:cubicBezTo>
                <a:cubicBezTo>
                  <a:pt x="1168551" y="993218"/>
                  <a:pt x="1168551" y="993218"/>
                  <a:pt x="1168551" y="994147"/>
                </a:cubicBezTo>
                <a:cubicBezTo>
                  <a:pt x="1168551" y="994147"/>
                  <a:pt x="1168551" y="993218"/>
                  <a:pt x="1169377" y="993218"/>
                </a:cubicBezTo>
                <a:lnTo>
                  <a:pt x="1170203" y="995851"/>
                </a:lnTo>
                <a:lnTo>
                  <a:pt x="1170719" y="995541"/>
                </a:lnTo>
                <a:cubicBezTo>
                  <a:pt x="1171442" y="995231"/>
                  <a:pt x="1172371" y="994766"/>
                  <a:pt x="1173714" y="994147"/>
                </a:cubicBezTo>
                <a:cubicBezTo>
                  <a:pt x="1175366" y="995076"/>
                  <a:pt x="1175366" y="995076"/>
                  <a:pt x="1175366" y="996006"/>
                </a:cubicBezTo>
                <a:cubicBezTo>
                  <a:pt x="1175366" y="995076"/>
                  <a:pt x="1176295" y="995231"/>
                  <a:pt x="1177121" y="994457"/>
                </a:cubicBezTo>
                <a:cubicBezTo>
                  <a:pt x="1178463" y="992520"/>
                  <a:pt x="1180219" y="992056"/>
                  <a:pt x="1182168" y="992559"/>
                </a:cubicBezTo>
                <a:close/>
                <a:moveTo>
                  <a:pt x="1413888" y="991823"/>
                </a:moveTo>
                <a:cubicBezTo>
                  <a:pt x="1417502" y="991514"/>
                  <a:pt x="1420599" y="997090"/>
                  <a:pt x="1418947" y="1000343"/>
                </a:cubicBezTo>
                <a:cubicBezTo>
                  <a:pt x="1417089" y="996935"/>
                  <a:pt x="1414198" y="996161"/>
                  <a:pt x="1413578" y="994302"/>
                </a:cubicBezTo>
                <a:cubicBezTo>
                  <a:pt x="1413371" y="993682"/>
                  <a:pt x="1413474" y="992908"/>
                  <a:pt x="1413888" y="991823"/>
                </a:cubicBezTo>
                <a:close/>
                <a:moveTo>
                  <a:pt x="1471092" y="991514"/>
                </a:moveTo>
                <a:cubicBezTo>
                  <a:pt x="1471814" y="991978"/>
                  <a:pt x="1472228" y="991359"/>
                  <a:pt x="1472950" y="991823"/>
                </a:cubicBezTo>
                <a:cubicBezTo>
                  <a:pt x="1472950" y="991823"/>
                  <a:pt x="1473983" y="991978"/>
                  <a:pt x="1475119" y="992598"/>
                </a:cubicBezTo>
                <a:cubicBezTo>
                  <a:pt x="1476255" y="993218"/>
                  <a:pt x="1477597" y="994302"/>
                  <a:pt x="1478526" y="996316"/>
                </a:cubicBezTo>
                <a:cubicBezTo>
                  <a:pt x="1478733" y="997400"/>
                  <a:pt x="1478939" y="1000497"/>
                  <a:pt x="1478216" y="1000033"/>
                </a:cubicBezTo>
                <a:cubicBezTo>
                  <a:pt x="1477080" y="1000188"/>
                  <a:pt x="1477803" y="1000652"/>
                  <a:pt x="1477390" y="1001272"/>
                </a:cubicBezTo>
                <a:cubicBezTo>
                  <a:pt x="1473776" y="1001892"/>
                  <a:pt x="1471092" y="1001272"/>
                  <a:pt x="1469749" y="998484"/>
                </a:cubicBezTo>
                <a:cubicBezTo>
                  <a:pt x="1469440" y="997245"/>
                  <a:pt x="1469027" y="995851"/>
                  <a:pt x="1469130" y="994457"/>
                </a:cubicBezTo>
                <a:cubicBezTo>
                  <a:pt x="1469130" y="993218"/>
                  <a:pt x="1469646" y="991978"/>
                  <a:pt x="1471092" y="991514"/>
                </a:cubicBezTo>
                <a:close/>
                <a:moveTo>
                  <a:pt x="3536792" y="990760"/>
                </a:moveTo>
                <a:cubicBezTo>
                  <a:pt x="3542554" y="991045"/>
                  <a:pt x="3549811" y="999582"/>
                  <a:pt x="3544261" y="1005272"/>
                </a:cubicBezTo>
                <a:cubicBezTo>
                  <a:pt x="3540847" y="1006268"/>
                  <a:pt x="3537432" y="1007264"/>
                  <a:pt x="3532737" y="1003565"/>
                </a:cubicBezTo>
                <a:cubicBezTo>
                  <a:pt x="3531457" y="998728"/>
                  <a:pt x="3532310" y="995313"/>
                  <a:pt x="3536792" y="990760"/>
                </a:cubicBezTo>
                <a:close/>
                <a:moveTo>
                  <a:pt x="1464587" y="990274"/>
                </a:moveTo>
                <a:cubicBezTo>
                  <a:pt x="1466858" y="992288"/>
                  <a:pt x="1467374" y="993682"/>
                  <a:pt x="1467065" y="994612"/>
                </a:cubicBezTo>
                <a:cubicBezTo>
                  <a:pt x="1466238" y="996625"/>
                  <a:pt x="1460972" y="995851"/>
                  <a:pt x="1461592" y="993372"/>
                </a:cubicBezTo>
                <a:cubicBezTo>
                  <a:pt x="1461799" y="992443"/>
                  <a:pt x="1462625" y="991514"/>
                  <a:pt x="1464587" y="990274"/>
                </a:cubicBezTo>
                <a:close/>
                <a:moveTo>
                  <a:pt x="1456842" y="990274"/>
                </a:moveTo>
                <a:cubicBezTo>
                  <a:pt x="1458081" y="990119"/>
                  <a:pt x="1458804" y="990584"/>
                  <a:pt x="1458804" y="990584"/>
                </a:cubicBezTo>
                <a:cubicBezTo>
                  <a:pt x="1460146" y="993372"/>
                  <a:pt x="1460456" y="996316"/>
                  <a:pt x="1456842" y="996935"/>
                </a:cubicBezTo>
                <a:cubicBezTo>
                  <a:pt x="1455706" y="997090"/>
                  <a:pt x="1454467" y="997245"/>
                  <a:pt x="1454880" y="996625"/>
                </a:cubicBezTo>
                <a:cubicBezTo>
                  <a:pt x="1454158" y="996161"/>
                  <a:pt x="1454570" y="995386"/>
                  <a:pt x="1454261" y="994302"/>
                </a:cubicBezTo>
                <a:cubicBezTo>
                  <a:pt x="1454364" y="992443"/>
                  <a:pt x="1455706" y="990429"/>
                  <a:pt x="1456842" y="990274"/>
                </a:cubicBezTo>
                <a:close/>
                <a:moveTo>
                  <a:pt x="3901099" y="990049"/>
                </a:moveTo>
                <a:cubicBezTo>
                  <a:pt x="3901313" y="990049"/>
                  <a:pt x="3901526" y="990334"/>
                  <a:pt x="3901953" y="991045"/>
                </a:cubicBezTo>
                <a:cubicBezTo>
                  <a:pt x="3900886" y="992325"/>
                  <a:pt x="3900886" y="991045"/>
                  <a:pt x="3900033" y="991045"/>
                </a:cubicBezTo>
                <a:cubicBezTo>
                  <a:pt x="3900459" y="990334"/>
                  <a:pt x="3900886" y="990049"/>
                  <a:pt x="3901099" y="990049"/>
                </a:cubicBezTo>
                <a:close/>
                <a:moveTo>
                  <a:pt x="1107630" y="989345"/>
                </a:moveTo>
                <a:cubicBezTo>
                  <a:pt x="1109282" y="991978"/>
                  <a:pt x="1104945" y="998174"/>
                  <a:pt x="1102364" y="1000343"/>
                </a:cubicBezTo>
                <a:cubicBezTo>
                  <a:pt x="1101951" y="999723"/>
                  <a:pt x="1101847" y="998794"/>
                  <a:pt x="1102054" y="997864"/>
                </a:cubicBezTo>
                <a:cubicBezTo>
                  <a:pt x="1102673" y="994921"/>
                  <a:pt x="1105668" y="991049"/>
                  <a:pt x="1107630" y="989345"/>
                </a:cubicBezTo>
                <a:close/>
                <a:moveTo>
                  <a:pt x="3564750" y="988769"/>
                </a:moveTo>
                <a:cubicBezTo>
                  <a:pt x="3567098" y="989338"/>
                  <a:pt x="3569445" y="988626"/>
                  <a:pt x="3572006" y="989196"/>
                </a:cubicBezTo>
                <a:cubicBezTo>
                  <a:pt x="3574354" y="992183"/>
                  <a:pt x="3573074" y="1000862"/>
                  <a:pt x="3569018" y="1003565"/>
                </a:cubicBezTo>
                <a:cubicBezTo>
                  <a:pt x="3567738" y="1004419"/>
                  <a:pt x="3566030" y="1004561"/>
                  <a:pt x="3564110" y="1003707"/>
                </a:cubicBezTo>
                <a:cubicBezTo>
                  <a:pt x="3558561" y="1000293"/>
                  <a:pt x="3561122" y="994744"/>
                  <a:pt x="3564750" y="988769"/>
                </a:cubicBezTo>
                <a:close/>
                <a:moveTo>
                  <a:pt x="4595141" y="987916"/>
                </a:moveTo>
                <a:cubicBezTo>
                  <a:pt x="4596421" y="987916"/>
                  <a:pt x="4597915" y="988342"/>
                  <a:pt x="4598982" y="988911"/>
                </a:cubicBezTo>
                <a:cubicBezTo>
                  <a:pt x="4600049" y="990049"/>
                  <a:pt x="4600476" y="991330"/>
                  <a:pt x="4600476" y="992325"/>
                </a:cubicBezTo>
                <a:cubicBezTo>
                  <a:pt x="4600476" y="993464"/>
                  <a:pt x="4600049" y="994317"/>
                  <a:pt x="4599409" y="994887"/>
                </a:cubicBezTo>
                <a:cubicBezTo>
                  <a:pt x="4590445" y="1005414"/>
                  <a:pt x="4580628" y="1000577"/>
                  <a:pt x="4578280" y="1001715"/>
                </a:cubicBezTo>
                <a:cubicBezTo>
                  <a:pt x="4575292" y="998016"/>
                  <a:pt x="4575292" y="998016"/>
                  <a:pt x="4581695" y="990903"/>
                </a:cubicBezTo>
                <a:cubicBezTo>
                  <a:pt x="4582976" y="989765"/>
                  <a:pt x="4584470" y="988911"/>
                  <a:pt x="4585963" y="988484"/>
                </a:cubicBezTo>
                <a:cubicBezTo>
                  <a:pt x="4587671" y="988058"/>
                  <a:pt x="4589378" y="988058"/>
                  <a:pt x="4591086" y="988769"/>
                </a:cubicBezTo>
                <a:cubicBezTo>
                  <a:pt x="4592153" y="988200"/>
                  <a:pt x="4593647" y="987916"/>
                  <a:pt x="4595141" y="987916"/>
                </a:cubicBezTo>
                <a:close/>
                <a:moveTo>
                  <a:pt x="1305262" y="987796"/>
                </a:moveTo>
                <a:cubicBezTo>
                  <a:pt x="1306192" y="988416"/>
                  <a:pt x="1305262" y="988571"/>
                  <a:pt x="1305262" y="989345"/>
                </a:cubicBezTo>
                <a:cubicBezTo>
                  <a:pt x="1304849" y="989035"/>
                  <a:pt x="1304539" y="988881"/>
                  <a:pt x="1304539" y="988571"/>
                </a:cubicBezTo>
                <a:cubicBezTo>
                  <a:pt x="1304539" y="988416"/>
                  <a:pt x="1304746" y="988261"/>
                  <a:pt x="1305262" y="987796"/>
                </a:cubicBezTo>
                <a:close/>
                <a:moveTo>
                  <a:pt x="3495389" y="987488"/>
                </a:moveTo>
                <a:cubicBezTo>
                  <a:pt x="3499444" y="991614"/>
                  <a:pt x="3506486" y="994744"/>
                  <a:pt x="3508407" y="1000150"/>
                </a:cubicBezTo>
                <a:cubicBezTo>
                  <a:pt x="3506486" y="999012"/>
                  <a:pt x="3496882" y="991330"/>
                  <a:pt x="3495389" y="987488"/>
                </a:cubicBezTo>
                <a:close/>
                <a:moveTo>
                  <a:pt x="1392101" y="987177"/>
                </a:moveTo>
                <a:cubicBezTo>
                  <a:pt x="1393856" y="989964"/>
                  <a:pt x="1393959" y="991514"/>
                  <a:pt x="1393443" y="992288"/>
                </a:cubicBezTo>
                <a:cubicBezTo>
                  <a:pt x="1392204" y="993837"/>
                  <a:pt x="1387351" y="991049"/>
                  <a:pt x="1388487" y="988881"/>
                </a:cubicBezTo>
                <a:cubicBezTo>
                  <a:pt x="1388900" y="988261"/>
                  <a:pt x="1390036" y="987641"/>
                  <a:pt x="1392101" y="987177"/>
                </a:cubicBezTo>
                <a:close/>
                <a:moveTo>
                  <a:pt x="3885093" y="986777"/>
                </a:moveTo>
                <a:cubicBezTo>
                  <a:pt x="3888935" y="989053"/>
                  <a:pt x="3891496" y="992325"/>
                  <a:pt x="3888721" y="996025"/>
                </a:cubicBezTo>
                <a:cubicBezTo>
                  <a:pt x="3887654" y="997305"/>
                  <a:pt x="3886587" y="998585"/>
                  <a:pt x="3886587" y="997447"/>
                </a:cubicBezTo>
                <a:cubicBezTo>
                  <a:pt x="3885307" y="997447"/>
                  <a:pt x="3885307" y="996309"/>
                  <a:pt x="3884026" y="995171"/>
                </a:cubicBezTo>
                <a:cubicBezTo>
                  <a:pt x="3882532" y="992895"/>
                  <a:pt x="3881892" y="989338"/>
                  <a:pt x="3882959" y="988058"/>
                </a:cubicBezTo>
                <a:cubicBezTo>
                  <a:pt x="3884026" y="986919"/>
                  <a:pt x="3885093" y="986777"/>
                  <a:pt x="3885093" y="986777"/>
                </a:cubicBezTo>
                <a:close/>
                <a:moveTo>
                  <a:pt x="1283372" y="986402"/>
                </a:moveTo>
                <a:cubicBezTo>
                  <a:pt x="1286057" y="987796"/>
                  <a:pt x="1286160" y="990274"/>
                  <a:pt x="1285437" y="992908"/>
                </a:cubicBezTo>
                <a:cubicBezTo>
                  <a:pt x="1286366" y="994457"/>
                  <a:pt x="1288122" y="995076"/>
                  <a:pt x="1287399" y="996935"/>
                </a:cubicBezTo>
                <a:cubicBezTo>
                  <a:pt x="1285540" y="994612"/>
                  <a:pt x="1284611" y="993992"/>
                  <a:pt x="1283682" y="992443"/>
                </a:cubicBezTo>
                <a:cubicBezTo>
                  <a:pt x="1282856" y="992443"/>
                  <a:pt x="1282030" y="992598"/>
                  <a:pt x="1281100" y="991823"/>
                </a:cubicBezTo>
                <a:cubicBezTo>
                  <a:pt x="1279345" y="990429"/>
                  <a:pt x="1280067" y="988571"/>
                  <a:pt x="1279138" y="987022"/>
                </a:cubicBezTo>
                <a:cubicBezTo>
                  <a:pt x="1279861" y="986092"/>
                  <a:pt x="1281513" y="985008"/>
                  <a:pt x="1283372" y="986402"/>
                </a:cubicBezTo>
                <a:close/>
                <a:moveTo>
                  <a:pt x="3898538" y="986351"/>
                </a:moveTo>
                <a:cubicBezTo>
                  <a:pt x="3899178" y="986777"/>
                  <a:pt x="3900246" y="987488"/>
                  <a:pt x="3901526" y="988058"/>
                </a:cubicBezTo>
                <a:lnTo>
                  <a:pt x="3898538" y="991757"/>
                </a:lnTo>
                <a:cubicBezTo>
                  <a:pt x="3897045" y="990618"/>
                  <a:pt x="3895764" y="988484"/>
                  <a:pt x="3896618" y="987204"/>
                </a:cubicBezTo>
                <a:cubicBezTo>
                  <a:pt x="3897045" y="986066"/>
                  <a:pt x="3897685" y="985924"/>
                  <a:pt x="3898538" y="986351"/>
                </a:cubicBezTo>
                <a:close/>
                <a:moveTo>
                  <a:pt x="3263188" y="986066"/>
                </a:moveTo>
                <a:cubicBezTo>
                  <a:pt x="3263828" y="986351"/>
                  <a:pt x="3264468" y="986919"/>
                  <a:pt x="3265322" y="987488"/>
                </a:cubicBezTo>
                <a:cubicBezTo>
                  <a:pt x="3266603" y="988626"/>
                  <a:pt x="3267883" y="989765"/>
                  <a:pt x="3269163" y="990903"/>
                </a:cubicBezTo>
                <a:cubicBezTo>
                  <a:pt x="3269163" y="990903"/>
                  <a:pt x="3269163" y="990903"/>
                  <a:pt x="3261480" y="986351"/>
                </a:cubicBezTo>
                <a:cubicBezTo>
                  <a:pt x="3261907" y="985781"/>
                  <a:pt x="3262548" y="985781"/>
                  <a:pt x="3263188" y="986066"/>
                </a:cubicBezTo>
                <a:close/>
                <a:moveTo>
                  <a:pt x="3460814" y="985354"/>
                </a:moveTo>
                <a:cubicBezTo>
                  <a:pt x="3462095" y="985781"/>
                  <a:pt x="3463589" y="987631"/>
                  <a:pt x="3466790" y="991045"/>
                </a:cubicBezTo>
                <a:cubicBezTo>
                  <a:pt x="3467857" y="992468"/>
                  <a:pt x="3468711" y="994033"/>
                  <a:pt x="3469138" y="995740"/>
                </a:cubicBezTo>
                <a:cubicBezTo>
                  <a:pt x="3469351" y="997447"/>
                  <a:pt x="3469138" y="999297"/>
                  <a:pt x="3468498" y="1000862"/>
                </a:cubicBezTo>
                <a:cubicBezTo>
                  <a:pt x="3469565" y="1003423"/>
                  <a:pt x="3469351" y="1006979"/>
                  <a:pt x="3468071" y="1009113"/>
                </a:cubicBezTo>
                <a:cubicBezTo>
                  <a:pt x="3465510" y="1011105"/>
                  <a:pt x="3463376" y="1010678"/>
                  <a:pt x="3462309" y="1009398"/>
                </a:cubicBezTo>
                <a:cubicBezTo>
                  <a:pt x="3452491" y="999439"/>
                  <a:pt x="3457827" y="989623"/>
                  <a:pt x="3456760" y="987062"/>
                </a:cubicBezTo>
                <a:cubicBezTo>
                  <a:pt x="3458680" y="985497"/>
                  <a:pt x="3459534" y="984785"/>
                  <a:pt x="3460814" y="985354"/>
                </a:cubicBezTo>
                <a:close/>
                <a:moveTo>
                  <a:pt x="4071835" y="985070"/>
                </a:moveTo>
                <a:cubicBezTo>
                  <a:pt x="4075250" y="984501"/>
                  <a:pt x="4078878" y="985924"/>
                  <a:pt x="4080585" y="988626"/>
                </a:cubicBezTo>
                <a:cubicBezTo>
                  <a:pt x="4081866" y="990476"/>
                  <a:pt x="4082079" y="992752"/>
                  <a:pt x="4081226" y="995455"/>
                </a:cubicBezTo>
                <a:cubicBezTo>
                  <a:pt x="4074397" y="997590"/>
                  <a:pt x="4066926" y="1001289"/>
                  <a:pt x="4064152" y="993748"/>
                </a:cubicBezTo>
                <a:cubicBezTo>
                  <a:pt x="4065219" y="988200"/>
                  <a:pt x="4068421" y="985639"/>
                  <a:pt x="4071835" y="985070"/>
                </a:cubicBezTo>
                <a:close/>
                <a:moveTo>
                  <a:pt x="3493894" y="985070"/>
                </a:moveTo>
                <a:cubicBezTo>
                  <a:pt x="3494321" y="986635"/>
                  <a:pt x="3494321" y="986635"/>
                  <a:pt x="3495389" y="987346"/>
                </a:cubicBezTo>
                <a:cubicBezTo>
                  <a:pt x="3495389" y="987346"/>
                  <a:pt x="3493681" y="987631"/>
                  <a:pt x="3493681" y="987631"/>
                </a:cubicBezTo>
                <a:cubicBezTo>
                  <a:pt x="3493254" y="986066"/>
                  <a:pt x="3492827" y="986919"/>
                  <a:pt x="3493894" y="985070"/>
                </a:cubicBezTo>
                <a:close/>
                <a:moveTo>
                  <a:pt x="4845482" y="984359"/>
                </a:moveTo>
                <a:cubicBezTo>
                  <a:pt x="4846549" y="985639"/>
                  <a:pt x="4846549" y="984359"/>
                  <a:pt x="4847616" y="984501"/>
                </a:cubicBezTo>
                <a:cubicBezTo>
                  <a:pt x="4846549" y="985639"/>
                  <a:pt x="4846122" y="989338"/>
                  <a:pt x="4844628" y="991757"/>
                </a:cubicBezTo>
                <a:cubicBezTo>
                  <a:pt x="4843561" y="991757"/>
                  <a:pt x="4842281" y="993037"/>
                  <a:pt x="4841214" y="993037"/>
                </a:cubicBezTo>
                <a:cubicBezTo>
                  <a:pt x="4841427" y="991757"/>
                  <a:pt x="4840573" y="989338"/>
                  <a:pt x="4841640" y="989338"/>
                </a:cubicBezTo>
                <a:cubicBezTo>
                  <a:pt x="4841854" y="988058"/>
                  <a:pt x="4843988" y="988058"/>
                  <a:pt x="4843988" y="988058"/>
                </a:cubicBezTo>
                <a:cubicBezTo>
                  <a:pt x="4843988" y="986777"/>
                  <a:pt x="4844202" y="985639"/>
                  <a:pt x="4845482" y="984359"/>
                </a:cubicBezTo>
                <a:close/>
                <a:moveTo>
                  <a:pt x="3634965" y="984074"/>
                </a:moveTo>
                <a:cubicBezTo>
                  <a:pt x="3637740" y="983789"/>
                  <a:pt x="3639447" y="984074"/>
                  <a:pt x="3640514" y="985212"/>
                </a:cubicBezTo>
                <a:cubicBezTo>
                  <a:pt x="3641581" y="986208"/>
                  <a:pt x="3642008" y="987916"/>
                  <a:pt x="3642435" y="990334"/>
                </a:cubicBezTo>
                <a:cubicBezTo>
                  <a:pt x="3638380" y="990618"/>
                  <a:pt x="3637312" y="988484"/>
                  <a:pt x="3634965" y="984074"/>
                </a:cubicBezTo>
                <a:close/>
                <a:moveTo>
                  <a:pt x="1503411" y="983924"/>
                </a:moveTo>
                <a:cubicBezTo>
                  <a:pt x="1505786" y="984853"/>
                  <a:pt x="1506508" y="986402"/>
                  <a:pt x="1506199" y="987331"/>
                </a:cubicBezTo>
                <a:cubicBezTo>
                  <a:pt x="1504237" y="996470"/>
                  <a:pt x="1495667" y="996161"/>
                  <a:pt x="1494531" y="997400"/>
                </a:cubicBezTo>
                <a:cubicBezTo>
                  <a:pt x="1491949" y="996470"/>
                  <a:pt x="1491227" y="996161"/>
                  <a:pt x="1491743" y="993527"/>
                </a:cubicBezTo>
                <a:lnTo>
                  <a:pt x="1492362" y="990894"/>
                </a:lnTo>
                <a:lnTo>
                  <a:pt x="1490400" y="989655"/>
                </a:lnTo>
                <a:cubicBezTo>
                  <a:pt x="1490813" y="988571"/>
                  <a:pt x="1491227" y="987486"/>
                  <a:pt x="1491639" y="986402"/>
                </a:cubicBezTo>
                <a:lnTo>
                  <a:pt x="1495667" y="986867"/>
                </a:lnTo>
                <a:lnTo>
                  <a:pt x="1498041" y="985938"/>
                </a:lnTo>
                <a:cubicBezTo>
                  <a:pt x="1499177" y="984543"/>
                  <a:pt x="1501552" y="983614"/>
                  <a:pt x="1503411" y="983924"/>
                </a:cubicBezTo>
                <a:close/>
                <a:moveTo>
                  <a:pt x="4397087" y="983221"/>
                </a:moveTo>
                <a:cubicBezTo>
                  <a:pt x="4398367" y="986493"/>
                  <a:pt x="4397727" y="994460"/>
                  <a:pt x="4392605" y="998159"/>
                </a:cubicBezTo>
                <a:cubicBezTo>
                  <a:pt x="4385562" y="996594"/>
                  <a:pt x="4385135" y="991757"/>
                  <a:pt x="4388763" y="984785"/>
                </a:cubicBezTo>
                <a:cubicBezTo>
                  <a:pt x="4391325" y="984785"/>
                  <a:pt x="4393459" y="983789"/>
                  <a:pt x="4397087" y="983221"/>
                </a:cubicBezTo>
                <a:close/>
                <a:moveTo>
                  <a:pt x="3954668" y="983221"/>
                </a:moveTo>
                <a:cubicBezTo>
                  <a:pt x="3957229" y="984074"/>
                  <a:pt x="3962778" y="988058"/>
                  <a:pt x="3965339" y="992183"/>
                </a:cubicBezTo>
                <a:cubicBezTo>
                  <a:pt x="3966192" y="993606"/>
                  <a:pt x="3966833" y="995029"/>
                  <a:pt x="3966833" y="996309"/>
                </a:cubicBezTo>
                <a:cubicBezTo>
                  <a:pt x="3966833" y="998159"/>
                  <a:pt x="3965766" y="999866"/>
                  <a:pt x="3963205" y="1001146"/>
                </a:cubicBezTo>
                <a:cubicBezTo>
                  <a:pt x="3959150" y="995313"/>
                  <a:pt x="3952320" y="992610"/>
                  <a:pt x="3952320" y="988200"/>
                </a:cubicBezTo>
                <a:cubicBezTo>
                  <a:pt x="3952320" y="986777"/>
                  <a:pt x="3952960" y="985212"/>
                  <a:pt x="3954668" y="983221"/>
                </a:cubicBezTo>
                <a:close/>
                <a:moveTo>
                  <a:pt x="1353276" y="983149"/>
                </a:moveTo>
                <a:cubicBezTo>
                  <a:pt x="1360298" y="983459"/>
                  <a:pt x="1362156" y="991978"/>
                  <a:pt x="1367835" y="997090"/>
                </a:cubicBezTo>
                <a:cubicBezTo>
                  <a:pt x="1370417" y="998174"/>
                  <a:pt x="1372585" y="996780"/>
                  <a:pt x="1375270" y="998484"/>
                </a:cubicBezTo>
                <a:lnTo>
                  <a:pt x="1376302" y="999568"/>
                </a:lnTo>
                <a:lnTo>
                  <a:pt x="1380639" y="999413"/>
                </a:lnTo>
                <a:cubicBezTo>
                  <a:pt x="1381362" y="1000962"/>
                  <a:pt x="1378677" y="1003595"/>
                  <a:pt x="1377645" y="1005299"/>
                </a:cubicBezTo>
                <a:cubicBezTo>
                  <a:pt x="1376819" y="1004525"/>
                  <a:pt x="1376096" y="1003751"/>
                  <a:pt x="1375993" y="1004525"/>
                </a:cubicBezTo>
                <a:lnTo>
                  <a:pt x="1375063" y="1002666"/>
                </a:lnTo>
                <a:lnTo>
                  <a:pt x="1373102" y="1003595"/>
                </a:lnTo>
                <a:lnTo>
                  <a:pt x="1374031" y="1004370"/>
                </a:lnTo>
                <a:cubicBezTo>
                  <a:pt x="1375786" y="1006539"/>
                  <a:pt x="1377335" y="1008862"/>
                  <a:pt x="1378677" y="1011495"/>
                </a:cubicBezTo>
                <a:lnTo>
                  <a:pt x="1380639" y="1015832"/>
                </a:lnTo>
                <a:lnTo>
                  <a:pt x="1381672" y="1013973"/>
                </a:lnTo>
                <a:cubicBezTo>
                  <a:pt x="1384253" y="1010411"/>
                  <a:pt x="1387144" y="1010411"/>
                  <a:pt x="1387351" y="1009636"/>
                </a:cubicBezTo>
                <a:cubicBezTo>
                  <a:pt x="1391068" y="1010720"/>
                  <a:pt x="1390448" y="1012889"/>
                  <a:pt x="1390862" y="1016762"/>
                </a:cubicBezTo>
                <a:cubicBezTo>
                  <a:pt x="1389623" y="1016452"/>
                  <a:pt x="1388797" y="1019860"/>
                  <a:pt x="1388487" y="1020944"/>
                </a:cubicBezTo>
                <a:cubicBezTo>
                  <a:pt x="1387351" y="1020634"/>
                  <a:pt x="1386318" y="1021409"/>
                  <a:pt x="1385182" y="1022028"/>
                </a:cubicBezTo>
                <a:lnTo>
                  <a:pt x="1383634" y="1022803"/>
                </a:lnTo>
                <a:lnTo>
                  <a:pt x="1388900" y="1036124"/>
                </a:lnTo>
                <a:cubicBezTo>
                  <a:pt x="1385802" y="1036279"/>
                  <a:pt x="1384563" y="1038447"/>
                  <a:pt x="1379607" y="1037983"/>
                </a:cubicBezTo>
                <a:cubicBezTo>
                  <a:pt x="1377748" y="1030392"/>
                  <a:pt x="1374960" y="1023422"/>
                  <a:pt x="1372275" y="1016607"/>
                </a:cubicBezTo>
                <a:lnTo>
                  <a:pt x="1368558" y="1005609"/>
                </a:lnTo>
                <a:lnTo>
                  <a:pt x="1365667" y="1007003"/>
                </a:lnTo>
                <a:cubicBezTo>
                  <a:pt x="1361537" y="1008242"/>
                  <a:pt x="1357510" y="1008552"/>
                  <a:pt x="1353586" y="1008242"/>
                </a:cubicBezTo>
                <a:cubicBezTo>
                  <a:pt x="1351004" y="1008087"/>
                  <a:pt x="1348423" y="1007468"/>
                  <a:pt x="1345842" y="1006694"/>
                </a:cubicBezTo>
                <a:cubicBezTo>
                  <a:pt x="1346461" y="1000188"/>
                  <a:pt x="1354412" y="999878"/>
                  <a:pt x="1359781" y="998174"/>
                </a:cubicBezTo>
                <a:cubicBezTo>
                  <a:pt x="1355858" y="993372"/>
                  <a:pt x="1348423" y="987331"/>
                  <a:pt x="1353276" y="983149"/>
                </a:cubicBezTo>
                <a:close/>
                <a:moveTo>
                  <a:pt x="3489199" y="981940"/>
                </a:moveTo>
                <a:cubicBezTo>
                  <a:pt x="3489626" y="982224"/>
                  <a:pt x="3490266" y="982651"/>
                  <a:pt x="3490480" y="983078"/>
                </a:cubicBezTo>
                <a:cubicBezTo>
                  <a:pt x="3490694" y="983363"/>
                  <a:pt x="3490907" y="983789"/>
                  <a:pt x="3490480" y="984216"/>
                </a:cubicBezTo>
                <a:cubicBezTo>
                  <a:pt x="3490053" y="985212"/>
                  <a:pt x="3488986" y="984501"/>
                  <a:pt x="3488559" y="982936"/>
                </a:cubicBezTo>
                <a:cubicBezTo>
                  <a:pt x="3488559" y="982936"/>
                  <a:pt x="3489199" y="981940"/>
                  <a:pt x="3489199" y="981940"/>
                </a:cubicBezTo>
                <a:close/>
                <a:moveTo>
                  <a:pt x="1417708" y="981910"/>
                </a:moveTo>
                <a:cubicBezTo>
                  <a:pt x="1419361" y="983459"/>
                  <a:pt x="1421116" y="984234"/>
                  <a:pt x="1421012" y="985008"/>
                </a:cubicBezTo>
                <a:cubicBezTo>
                  <a:pt x="1421942" y="985008"/>
                  <a:pt x="1422768" y="985783"/>
                  <a:pt x="1423697" y="985783"/>
                </a:cubicBezTo>
                <a:cubicBezTo>
                  <a:pt x="1423697" y="985783"/>
                  <a:pt x="1423697" y="985783"/>
                  <a:pt x="1423594" y="986557"/>
                </a:cubicBezTo>
                <a:cubicBezTo>
                  <a:pt x="1420186" y="985938"/>
                  <a:pt x="1415746" y="987022"/>
                  <a:pt x="1413165" y="985473"/>
                </a:cubicBezTo>
                <a:cubicBezTo>
                  <a:pt x="1412752" y="985008"/>
                  <a:pt x="1412339" y="984698"/>
                  <a:pt x="1412235" y="984079"/>
                </a:cubicBezTo>
                <a:cubicBezTo>
                  <a:pt x="1412132" y="983614"/>
                  <a:pt x="1412442" y="982995"/>
                  <a:pt x="1413268" y="982065"/>
                </a:cubicBezTo>
                <a:cubicBezTo>
                  <a:pt x="1414301" y="980361"/>
                  <a:pt x="1415127" y="980361"/>
                  <a:pt x="1417708" y="981910"/>
                </a:cubicBezTo>
                <a:close/>
                <a:moveTo>
                  <a:pt x="3243980" y="981229"/>
                </a:moveTo>
                <a:cubicBezTo>
                  <a:pt x="3246968" y="982367"/>
                  <a:pt x="3249529" y="982367"/>
                  <a:pt x="3251023" y="982936"/>
                </a:cubicBezTo>
                <a:cubicBezTo>
                  <a:pt x="3250596" y="988342"/>
                  <a:pt x="3247821" y="991045"/>
                  <a:pt x="3243340" y="989338"/>
                </a:cubicBezTo>
                <a:cubicBezTo>
                  <a:pt x="3244620" y="986066"/>
                  <a:pt x="3242699" y="984501"/>
                  <a:pt x="3243980" y="981229"/>
                </a:cubicBezTo>
                <a:close/>
                <a:moveTo>
                  <a:pt x="3224132" y="981229"/>
                </a:moveTo>
                <a:cubicBezTo>
                  <a:pt x="3224986" y="981513"/>
                  <a:pt x="3225840" y="982367"/>
                  <a:pt x="3226480" y="983078"/>
                </a:cubicBezTo>
                <a:cubicBezTo>
                  <a:pt x="3228187" y="983932"/>
                  <a:pt x="3229040" y="985497"/>
                  <a:pt x="3229040" y="987346"/>
                </a:cubicBezTo>
                <a:lnTo>
                  <a:pt x="3228827" y="988769"/>
                </a:lnTo>
                <a:lnTo>
                  <a:pt x="3229681" y="987773"/>
                </a:lnTo>
                <a:cubicBezTo>
                  <a:pt x="3231175" y="987346"/>
                  <a:pt x="3232882" y="987204"/>
                  <a:pt x="3234376" y="987631"/>
                </a:cubicBezTo>
                <a:cubicBezTo>
                  <a:pt x="3235657" y="987488"/>
                  <a:pt x="3236723" y="988200"/>
                  <a:pt x="3237364" y="989196"/>
                </a:cubicBezTo>
                <a:lnTo>
                  <a:pt x="3238431" y="992468"/>
                </a:lnTo>
                <a:lnTo>
                  <a:pt x="3240779" y="992041"/>
                </a:lnTo>
                <a:cubicBezTo>
                  <a:pt x="3242059" y="995313"/>
                  <a:pt x="3243126" y="998585"/>
                  <a:pt x="3240138" y="999439"/>
                </a:cubicBezTo>
                <a:cubicBezTo>
                  <a:pt x="3238431" y="999866"/>
                  <a:pt x="3236937" y="1000435"/>
                  <a:pt x="3234803" y="999154"/>
                </a:cubicBezTo>
                <a:lnTo>
                  <a:pt x="3234803" y="998443"/>
                </a:lnTo>
                <a:lnTo>
                  <a:pt x="3234590" y="998728"/>
                </a:lnTo>
                <a:cubicBezTo>
                  <a:pt x="3233736" y="999439"/>
                  <a:pt x="3232669" y="1000008"/>
                  <a:pt x="3231388" y="1000150"/>
                </a:cubicBezTo>
                <a:cubicBezTo>
                  <a:pt x="3229894" y="999866"/>
                  <a:pt x="3228827" y="998159"/>
                  <a:pt x="3227974" y="996309"/>
                </a:cubicBezTo>
                <a:lnTo>
                  <a:pt x="3226693" y="991188"/>
                </a:lnTo>
                <a:lnTo>
                  <a:pt x="3225840" y="991330"/>
                </a:lnTo>
                <a:cubicBezTo>
                  <a:pt x="3225840" y="991330"/>
                  <a:pt x="3227120" y="991614"/>
                  <a:pt x="3225840" y="992610"/>
                </a:cubicBezTo>
                <a:cubicBezTo>
                  <a:pt x="3225840" y="991472"/>
                  <a:pt x="3224772" y="991188"/>
                  <a:pt x="3223705" y="991045"/>
                </a:cubicBezTo>
                <a:cubicBezTo>
                  <a:pt x="3221357" y="988200"/>
                  <a:pt x="3219436" y="984216"/>
                  <a:pt x="3220717" y="982082"/>
                </a:cubicBezTo>
                <a:cubicBezTo>
                  <a:pt x="3221998" y="981086"/>
                  <a:pt x="3223065" y="980944"/>
                  <a:pt x="3224132" y="981229"/>
                </a:cubicBezTo>
                <a:close/>
                <a:moveTo>
                  <a:pt x="1318375" y="980361"/>
                </a:moveTo>
                <a:cubicBezTo>
                  <a:pt x="1318272" y="982065"/>
                  <a:pt x="1321680" y="982839"/>
                  <a:pt x="1319925" y="984543"/>
                </a:cubicBezTo>
                <a:cubicBezTo>
                  <a:pt x="1318995" y="983769"/>
                  <a:pt x="1318169" y="982065"/>
                  <a:pt x="1317343" y="981291"/>
                </a:cubicBezTo>
                <a:cubicBezTo>
                  <a:pt x="1317343" y="981291"/>
                  <a:pt x="1317446" y="981291"/>
                  <a:pt x="1318375" y="980361"/>
                </a:cubicBezTo>
                <a:close/>
                <a:moveTo>
                  <a:pt x="3790548" y="979806"/>
                </a:moveTo>
                <a:cubicBezTo>
                  <a:pt x="3791615" y="981656"/>
                  <a:pt x="3792682" y="983505"/>
                  <a:pt x="3793323" y="985212"/>
                </a:cubicBezTo>
                <a:cubicBezTo>
                  <a:pt x="3795030" y="990618"/>
                  <a:pt x="3794389" y="995313"/>
                  <a:pt x="3788414" y="1000293"/>
                </a:cubicBezTo>
                <a:cubicBezTo>
                  <a:pt x="3783932" y="999297"/>
                  <a:pt x="3782652" y="994887"/>
                  <a:pt x="3783505" y="990334"/>
                </a:cubicBezTo>
                <a:cubicBezTo>
                  <a:pt x="3784145" y="985924"/>
                  <a:pt x="3786920" y="981229"/>
                  <a:pt x="3790548" y="979806"/>
                </a:cubicBezTo>
                <a:close/>
                <a:moveTo>
                  <a:pt x="1013770" y="979741"/>
                </a:moveTo>
                <a:cubicBezTo>
                  <a:pt x="1017694" y="977263"/>
                  <a:pt x="1023992" y="979587"/>
                  <a:pt x="1025231" y="983924"/>
                </a:cubicBezTo>
                <a:cubicBezTo>
                  <a:pt x="1025748" y="985783"/>
                  <a:pt x="1025335" y="988106"/>
                  <a:pt x="1023166" y="990429"/>
                </a:cubicBezTo>
                <a:cubicBezTo>
                  <a:pt x="1017797" y="987177"/>
                  <a:pt x="1013873" y="988726"/>
                  <a:pt x="1010775" y="984079"/>
                </a:cubicBezTo>
                <a:cubicBezTo>
                  <a:pt x="1011292" y="982065"/>
                  <a:pt x="1012428" y="980671"/>
                  <a:pt x="1013770" y="979741"/>
                </a:cubicBezTo>
                <a:close/>
                <a:moveTo>
                  <a:pt x="1530567" y="979587"/>
                </a:moveTo>
                <a:cubicBezTo>
                  <a:pt x="1530567" y="979587"/>
                  <a:pt x="1530567" y="979587"/>
                  <a:pt x="1527366" y="985163"/>
                </a:cubicBezTo>
                <a:cubicBezTo>
                  <a:pt x="1526953" y="984853"/>
                  <a:pt x="1526850" y="984388"/>
                  <a:pt x="1527057" y="983924"/>
                </a:cubicBezTo>
                <a:cubicBezTo>
                  <a:pt x="1527263" y="983459"/>
                  <a:pt x="1527676" y="982995"/>
                  <a:pt x="1528089" y="982375"/>
                </a:cubicBezTo>
                <a:cubicBezTo>
                  <a:pt x="1528915" y="981445"/>
                  <a:pt x="1529741" y="980516"/>
                  <a:pt x="1530567" y="979587"/>
                </a:cubicBezTo>
                <a:close/>
                <a:moveTo>
                  <a:pt x="3218796" y="979522"/>
                </a:moveTo>
                <a:cubicBezTo>
                  <a:pt x="3219224" y="979237"/>
                  <a:pt x="3219650" y="979379"/>
                  <a:pt x="3220291" y="979664"/>
                </a:cubicBezTo>
                <a:cubicBezTo>
                  <a:pt x="3219224" y="981940"/>
                  <a:pt x="3218156" y="983078"/>
                  <a:pt x="3215809" y="983078"/>
                </a:cubicBezTo>
                <a:cubicBezTo>
                  <a:pt x="3216662" y="982224"/>
                  <a:pt x="3217516" y="979948"/>
                  <a:pt x="3218796" y="979522"/>
                </a:cubicBezTo>
                <a:close/>
                <a:moveTo>
                  <a:pt x="1516318" y="978502"/>
                </a:moveTo>
                <a:cubicBezTo>
                  <a:pt x="1520861" y="977108"/>
                  <a:pt x="1524991" y="982530"/>
                  <a:pt x="1523959" y="986247"/>
                </a:cubicBezTo>
                <a:cubicBezTo>
                  <a:pt x="1523649" y="987641"/>
                  <a:pt x="1522720" y="988726"/>
                  <a:pt x="1521068" y="989345"/>
                </a:cubicBezTo>
                <a:cubicBezTo>
                  <a:pt x="1515698" y="988416"/>
                  <a:pt x="1517970" y="983459"/>
                  <a:pt x="1516318" y="978502"/>
                </a:cubicBezTo>
                <a:close/>
                <a:moveTo>
                  <a:pt x="4864049" y="978099"/>
                </a:moveTo>
                <a:cubicBezTo>
                  <a:pt x="4865116" y="977957"/>
                  <a:pt x="4865970" y="978241"/>
                  <a:pt x="4866824" y="978810"/>
                </a:cubicBezTo>
                <a:cubicBezTo>
                  <a:pt x="4868958" y="980090"/>
                  <a:pt x="4867464" y="982509"/>
                  <a:pt x="4865116" y="984928"/>
                </a:cubicBezTo>
                <a:cubicBezTo>
                  <a:pt x="4861061" y="990903"/>
                  <a:pt x="4857433" y="992041"/>
                  <a:pt x="4854445" y="988342"/>
                </a:cubicBezTo>
                <a:cubicBezTo>
                  <a:pt x="4854445" y="987204"/>
                  <a:pt x="4855940" y="983505"/>
                  <a:pt x="4854873" y="983505"/>
                </a:cubicBezTo>
                <a:cubicBezTo>
                  <a:pt x="4857647" y="980802"/>
                  <a:pt x="4861275" y="978099"/>
                  <a:pt x="4864049" y="978099"/>
                </a:cubicBezTo>
                <a:close/>
                <a:moveTo>
                  <a:pt x="1331076" y="977263"/>
                </a:moveTo>
                <a:cubicBezTo>
                  <a:pt x="1336136" y="973391"/>
                  <a:pt x="1339853" y="980051"/>
                  <a:pt x="1338407" y="982995"/>
                </a:cubicBezTo>
                <a:cubicBezTo>
                  <a:pt x="1334484" y="984698"/>
                  <a:pt x="1330457" y="980671"/>
                  <a:pt x="1331076" y="977263"/>
                </a:cubicBezTo>
                <a:close/>
                <a:moveTo>
                  <a:pt x="3485144" y="976249"/>
                </a:moveTo>
                <a:cubicBezTo>
                  <a:pt x="3486211" y="977672"/>
                  <a:pt x="3486852" y="978383"/>
                  <a:pt x="3487065" y="979237"/>
                </a:cubicBezTo>
                <a:cubicBezTo>
                  <a:pt x="3487492" y="979948"/>
                  <a:pt x="3487705" y="980802"/>
                  <a:pt x="3487919" y="982367"/>
                </a:cubicBezTo>
                <a:cubicBezTo>
                  <a:pt x="3486852" y="981798"/>
                  <a:pt x="3484291" y="981513"/>
                  <a:pt x="3484078" y="979948"/>
                </a:cubicBezTo>
                <a:cubicBezTo>
                  <a:pt x="3483864" y="978241"/>
                  <a:pt x="3483864" y="978383"/>
                  <a:pt x="3485144" y="976249"/>
                </a:cubicBezTo>
                <a:close/>
                <a:moveTo>
                  <a:pt x="1209543" y="975714"/>
                </a:moveTo>
                <a:cubicBezTo>
                  <a:pt x="1214397" y="974010"/>
                  <a:pt x="1217494" y="976489"/>
                  <a:pt x="1218321" y="979587"/>
                </a:cubicBezTo>
                <a:cubicBezTo>
                  <a:pt x="1219146" y="982684"/>
                  <a:pt x="1217598" y="986402"/>
                  <a:pt x="1212951" y="987331"/>
                </a:cubicBezTo>
                <a:cubicBezTo>
                  <a:pt x="1209750" y="985318"/>
                  <a:pt x="1208098" y="982995"/>
                  <a:pt x="1206756" y="981445"/>
                </a:cubicBezTo>
                <a:cubicBezTo>
                  <a:pt x="1207995" y="979431"/>
                  <a:pt x="1208408" y="977728"/>
                  <a:pt x="1209543" y="975714"/>
                </a:cubicBezTo>
                <a:close/>
                <a:moveTo>
                  <a:pt x="3902380" y="975253"/>
                </a:moveTo>
                <a:cubicBezTo>
                  <a:pt x="3903234" y="975111"/>
                  <a:pt x="3904301" y="975111"/>
                  <a:pt x="3905368" y="975253"/>
                </a:cubicBezTo>
                <a:cubicBezTo>
                  <a:pt x="3906435" y="975538"/>
                  <a:pt x="3907716" y="975965"/>
                  <a:pt x="3908996" y="976818"/>
                </a:cubicBezTo>
                <a:cubicBezTo>
                  <a:pt x="3910277" y="977957"/>
                  <a:pt x="3913051" y="981371"/>
                  <a:pt x="3911984" y="981371"/>
                </a:cubicBezTo>
                <a:cubicBezTo>
                  <a:pt x="3910917" y="982651"/>
                  <a:pt x="3911984" y="982651"/>
                  <a:pt x="3912197" y="983932"/>
                </a:cubicBezTo>
                <a:cubicBezTo>
                  <a:pt x="3909423" y="987773"/>
                  <a:pt x="3906222" y="989053"/>
                  <a:pt x="3902380" y="986777"/>
                </a:cubicBezTo>
                <a:cubicBezTo>
                  <a:pt x="3899819" y="984643"/>
                  <a:pt x="3895978" y="981229"/>
                  <a:pt x="3897685" y="977387"/>
                </a:cubicBezTo>
                <a:cubicBezTo>
                  <a:pt x="3898752" y="977387"/>
                  <a:pt x="3898538" y="976107"/>
                  <a:pt x="3899819" y="976107"/>
                </a:cubicBezTo>
                <a:cubicBezTo>
                  <a:pt x="3899819" y="976107"/>
                  <a:pt x="3900673" y="975395"/>
                  <a:pt x="3902380" y="975253"/>
                </a:cubicBezTo>
                <a:close/>
                <a:moveTo>
                  <a:pt x="3815731" y="973831"/>
                </a:moveTo>
                <a:cubicBezTo>
                  <a:pt x="3815945" y="973973"/>
                  <a:pt x="3815731" y="974258"/>
                  <a:pt x="3815305" y="974827"/>
                </a:cubicBezTo>
                <a:cubicBezTo>
                  <a:pt x="3816585" y="976961"/>
                  <a:pt x="3815731" y="976392"/>
                  <a:pt x="3815945" y="977957"/>
                </a:cubicBezTo>
                <a:cubicBezTo>
                  <a:pt x="3816158" y="979522"/>
                  <a:pt x="3819573" y="984643"/>
                  <a:pt x="3821067" y="984216"/>
                </a:cubicBezTo>
                <a:cubicBezTo>
                  <a:pt x="3820427" y="985354"/>
                  <a:pt x="3820640" y="986919"/>
                  <a:pt x="3820640" y="986919"/>
                </a:cubicBezTo>
                <a:cubicBezTo>
                  <a:pt x="3819146" y="987346"/>
                  <a:pt x="3818293" y="986777"/>
                  <a:pt x="3817226" y="986066"/>
                </a:cubicBezTo>
                <a:cubicBezTo>
                  <a:pt x="3817012" y="984501"/>
                  <a:pt x="3817652" y="983505"/>
                  <a:pt x="3817439" y="981940"/>
                </a:cubicBezTo>
                <a:cubicBezTo>
                  <a:pt x="3816372" y="981229"/>
                  <a:pt x="3814665" y="980090"/>
                  <a:pt x="3814238" y="978383"/>
                </a:cubicBezTo>
                <a:cubicBezTo>
                  <a:pt x="3814024" y="976818"/>
                  <a:pt x="3814451" y="974115"/>
                  <a:pt x="3814451" y="974115"/>
                </a:cubicBezTo>
                <a:cubicBezTo>
                  <a:pt x="3815305" y="973973"/>
                  <a:pt x="3815731" y="973831"/>
                  <a:pt x="3815731" y="973831"/>
                </a:cubicBezTo>
                <a:close/>
                <a:moveTo>
                  <a:pt x="3539993" y="973262"/>
                </a:moveTo>
                <a:cubicBezTo>
                  <a:pt x="3541914" y="973262"/>
                  <a:pt x="3543835" y="973688"/>
                  <a:pt x="3544475" y="974827"/>
                </a:cubicBezTo>
                <a:cubicBezTo>
                  <a:pt x="3542128" y="976107"/>
                  <a:pt x="3540420" y="976534"/>
                  <a:pt x="3538926" y="976961"/>
                </a:cubicBezTo>
                <a:cubicBezTo>
                  <a:pt x="3536578" y="978383"/>
                  <a:pt x="3535725" y="977814"/>
                  <a:pt x="3535085" y="974542"/>
                </a:cubicBezTo>
                <a:cubicBezTo>
                  <a:pt x="3536152" y="973831"/>
                  <a:pt x="3538073" y="973262"/>
                  <a:pt x="3539993" y="973262"/>
                </a:cubicBezTo>
                <a:close/>
                <a:moveTo>
                  <a:pt x="4042383" y="972835"/>
                </a:moveTo>
                <a:cubicBezTo>
                  <a:pt x="4042383" y="974115"/>
                  <a:pt x="4042170" y="976392"/>
                  <a:pt x="4044304" y="977672"/>
                </a:cubicBezTo>
                <a:cubicBezTo>
                  <a:pt x="4041743" y="980090"/>
                  <a:pt x="4039182" y="982367"/>
                  <a:pt x="4037261" y="979948"/>
                </a:cubicBezTo>
                <a:cubicBezTo>
                  <a:pt x="4036194" y="978810"/>
                  <a:pt x="4035127" y="977530"/>
                  <a:pt x="4035341" y="975111"/>
                </a:cubicBezTo>
                <a:cubicBezTo>
                  <a:pt x="4037901" y="972693"/>
                  <a:pt x="4041103" y="974115"/>
                  <a:pt x="4042383" y="972835"/>
                </a:cubicBezTo>
                <a:close/>
                <a:moveTo>
                  <a:pt x="1263443" y="972771"/>
                </a:moveTo>
                <a:cubicBezTo>
                  <a:pt x="1264992" y="972151"/>
                  <a:pt x="1266851" y="972306"/>
                  <a:pt x="1268606" y="972771"/>
                </a:cubicBezTo>
                <a:lnTo>
                  <a:pt x="1270671" y="974165"/>
                </a:lnTo>
                <a:lnTo>
                  <a:pt x="1271807" y="973701"/>
                </a:lnTo>
                <a:cubicBezTo>
                  <a:pt x="1278725" y="979122"/>
                  <a:pt x="1274079" y="983769"/>
                  <a:pt x="1269019" y="982839"/>
                </a:cubicBezTo>
                <a:cubicBezTo>
                  <a:pt x="1267264" y="982530"/>
                  <a:pt x="1265508" y="981600"/>
                  <a:pt x="1264166" y="979896"/>
                </a:cubicBezTo>
                <a:cubicBezTo>
                  <a:pt x="1264166" y="979277"/>
                  <a:pt x="1264476" y="978502"/>
                  <a:pt x="1264992" y="977728"/>
                </a:cubicBezTo>
                <a:lnTo>
                  <a:pt x="1265199" y="977573"/>
                </a:lnTo>
                <a:lnTo>
                  <a:pt x="1260965" y="974630"/>
                </a:lnTo>
                <a:cubicBezTo>
                  <a:pt x="1261585" y="973701"/>
                  <a:pt x="1262411" y="973081"/>
                  <a:pt x="1263443" y="972771"/>
                </a:cubicBezTo>
                <a:close/>
                <a:moveTo>
                  <a:pt x="3548530" y="972693"/>
                </a:moveTo>
                <a:cubicBezTo>
                  <a:pt x="3547890" y="973688"/>
                  <a:pt x="3548743" y="974258"/>
                  <a:pt x="3548743" y="974258"/>
                </a:cubicBezTo>
                <a:cubicBezTo>
                  <a:pt x="3548743" y="974258"/>
                  <a:pt x="3548743" y="974400"/>
                  <a:pt x="3549384" y="973404"/>
                </a:cubicBezTo>
                <a:cubicBezTo>
                  <a:pt x="3549384" y="974115"/>
                  <a:pt x="3549170" y="974685"/>
                  <a:pt x="3548743" y="974969"/>
                </a:cubicBezTo>
                <a:cubicBezTo>
                  <a:pt x="3548530" y="975253"/>
                  <a:pt x="3548103" y="975395"/>
                  <a:pt x="3548103" y="975395"/>
                </a:cubicBezTo>
                <a:cubicBezTo>
                  <a:pt x="3546396" y="975822"/>
                  <a:pt x="3544902" y="976249"/>
                  <a:pt x="3544475" y="974542"/>
                </a:cubicBezTo>
                <a:cubicBezTo>
                  <a:pt x="3544475" y="974542"/>
                  <a:pt x="3545329" y="973546"/>
                  <a:pt x="3548530" y="972693"/>
                </a:cubicBezTo>
                <a:close/>
                <a:moveTo>
                  <a:pt x="1026470" y="972151"/>
                </a:moveTo>
                <a:cubicBezTo>
                  <a:pt x="1029259" y="970138"/>
                  <a:pt x="1035557" y="973236"/>
                  <a:pt x="1036280" y="976798"/>
                </a:cubicBezTo>
                <a:cubicBezTo>
                  <a:pt x="1031220" y="974010"/>
                  <a:pt x="1027606" y="976334"/>
                  <a:pt x="1026470" y="972151"/>
                </a:cubicBezTo>
                <a:close/>
                <a:moveTo>
                  <a:pt x="1482140" y="971996"/>
                </a:moveTo>
                <a:cubicBezTo>
                  <a:pt x="1484825" y="973391"/>
                  <a:pt x="1483895" y="974320"/>
                  <a:pt x="1482346" y="976334"/>
                </a:cubicBezTo>
                <a:cubicBezTo>
                  <a:pt x="1481521" y="976024"/>
                  <a:pt x="1480901" y="975559"/>
                  <a:pt x="1480591" y="974940"/>
                </a:cubicBezTo>
                <a:cubicBezTo>
                  <a:pt x="1480385" y="974475"/>
                  <a:pt x="1480591" y="973546"/>
                  <a:pt x="1481314" y="972151"/>
                </a:cubicBezTo>
                <a:cubicBezTo>
                  <a:pt x="1481314" y="972151"/>
                  <a:pt x="1482140" y="971996"/>
                  <a:pt x="1482140" y="971996"/>
                </a:cubicBezTo>
                <a:close/>
                <a:moveTo>
                  <a:pt x="1453641" y="971996"/>
                </a:moveTo>
                <a:cubicBezTo>
                  <a:pt x="1454570" y="972771"/>
                  <a:pt x="1453641" y="972771"/>
                  <a:pt x="1453538" y="973391"/>
                </a:cubicBezTo>
                <a:cubicBezTo>
                  <a:pt x="1453125" y="973081"/>
                  <a:pt x="1452815" y="972926"/>
                  <a:pt x="1452815" y="972771"/>
                </a:cubicBezTo>
                <a:cubicBezTo>
                  <a:pt x="1452919" y="972616"/>
                  <a:pt x="1453125" y="972462"/>
                  <a:pt x="1453641" y="971996"/>
                </a:cubicBezTo>
                <a:close/>
                <a:moveTo>
                  <a:pt x="4499528" y="971839"/>
                </a:moveTo>
                <a:cubicBezTo>
                  <a:pt x="4500382" y="971981"/>
                  <a:pt x="4501449" y="972693"/>
                  <a:pt x="4502516" y="973831"/>
                </a:cubicBezTo>
                <a:cubicBezTo>
                  <a:pt x="4503156" y="973831"/>
                  <a:pt x="4503583" y="975111"/>
                  <a:pt x="4503583" y="976392"/>
                </a:cubicBezTo>
                <a:cubicBezTo>
                  <a:pt x="4503797" y="977814"/>
                  <a:pt x="4503583" y="979237"/>
                  <a:pt x="4502943" y="979806"/>
                </a:cubicBezTo>
                <a:cubicBezTo>
                  <a:pt x="4500382" y="983363"/>
                  <a:pt x="4497181" y="980944"/>
                  <a:pt x="4492912" y="979664"/>
                </a:cubicBezTo>
                <a:cubicBezTo>
                  <a:pt x="4493980" y="978526"/>
                  <a:pt x="4493126" y="977245"/>
                  <a:pt x="4492059" y="976107"/>
                </a:cubicBezTo>
                <a:cubicBezTo>
                  <a:pt x="4493980" y="974258"/>
                  <a:pt x="4496540" y="971270"/>
                  <a:pt x="4499528" y="971839"/>
                </a:cubicBezTo>
                <a:close/>
                <a:moveTo>
                  <a:pt x="3367977" y="969990"/>
                </a:moveTo>
                <a:cubicBezTo>
                  <a:pt x="3368830" y="972123"/>
                  <a:pt x="3370538" y="973688"/>
                  <a:pt x="3371392" y="975822"/>
                </a:cubicBezTo>
                <a:lnTo>
                  <a:pt x="3371178" y="976818"/>
                </a:lnTo>
                <a:lnTo>
                  <a:pt x="3371818" y="975965"/>
                </a:lnTo>
                <a:cubicBezTo>
                  <a:pt x="3374806" y="976961"/>
                  <a:pt x="3376941" y="978810"/>
                  <a:pt x="3378221" y="981229"/>
                </a:cubicBezTo>
                <a:cubicBezTo>
                  <a:pt x="3379501" y="983505"/>
                  <a:pt x="3379928" y="986635"/>
                  <a:pt x="3378648" y="990334"/>
                </a:cubicBezTo>
                <a:cubicBezTo>
                  <a:pt x="3373953" y="994033"/>
                  <a:pt x="3368190" y="989196"/>
                  <a:pt x="3364775" y="987062"/>
                </a:cubicBezTo>
                <a:lnTo>
                  <a:pt x="3365842" y="984928"/>
                </a:lnTo>
                <a:lnTo>
                  <a:pt x="3363282" y="985212"/>
                </a:lnTo>
                <a:cubicBezTo>
                  <a:pt x="3362001" y="984928"/>
                  <a:pt x="3360934" y="984785"/>
                  <a:pt x="3359440" y="984501"/>
                </a:cubicBezTo>
                <a:cubicBezTo>
                  <a:pt x="3359654" y="981798"/>
                  <a:pt x="3357306" y="979094"/>
                  <a:pt x="3358586" y="975822"/>
                </a:cubicBezTo>
                <a:cubicBezTo>
                  <a:pt x="3358586" y="975822"/>
                  <a:pt x="3359227" y="974258"/>
                  <a:pt x="3361361" y="973120"/>
                </a:cubicBezTo>
                <a:cubicBezTo>
                  <a:pt x="3363709" y="969420"/>
                  <a:pt x="3368190" y="970985"/>
                  <a:pt x="3368190" y="970985"/>
                </a:cubicBezTo>
                <a:cubicBezTo>
                  <a:pt x="3368190" y="970985"/>
                  <a:pt x="3368404" y="970985"/>
                  <a:pt x="3367977" y="969990"/>
                </a:cubicBezTo>
                <a:close/>
                <a:moveTo>
                  <a:pt x="3848385" y="969136"/>
                </a:moveTo>
                <a:cubicBezTo>
                  <a:pt x="3849665" y="968851"/>
                  <a:pt x="3851159" y="968851"/>
                  <a:pt x="3852440" y="969278"/>
                </a:cubicBezTo>
                <a:cubicBezTo>
                  <a:pt x="3854147" y="969847"/>
                  <a:pt x="3855855" y="971128"/>
                  <a:pt x="3856922" y="973546"/>
                </a:cubicBezTo>
                <a:cubicBezTo>
                  <a:pt x="3856068" y="978383"/>
                  <a:pt x="3848171" y="984928"/>
                  <a:pt x="3844543" y="985924"/>
                </a:cubicBezTo>
                <a:cubicBezTo>
                  <a:pt x="3841342" y="983789"/>
                  <a:pt x="3840275" y="981086"/>
                  <a:pt x="3840275" y="978526"/>
                </a:cubicBezTo>
                <a:cubicBezTo>
                  <a:pt x="3840488" y="974258"/>
                  <a:pt x="3844330" y="970274"/>
                  <a:pt x="3848385" y="969136"/>
                </a:cubicBezTo>
                <a:close/>
                <a:moveTo>
                  <a:pt x="5054206" y="968425"/>
                </a:moveTo>
                <a:cubicBezTo>
                  <a:pt x="5055274" y="968282"/>
                  <a:pt x="5056554" y="968709"/>
                  <a:pt x="5057408" y="969278"/>
                </a:cubicBezTo>
                <a:cubicBezTo>
                  <a:pt x="5059542" y="977957"/>
                  <a:pt x="5049511" y="979379"/>
                  <a:pt x="5046737" y="975965"/>
                </a:cubicBezTo>
                <a:cubicBezTo>
                  <a:pt x="5046737" y="971412"/>
                  <a:pt x="5050578" y="968425"/>
                  <a:pt x="5054206" y="968425"/>
                </a:cubicBezTo>
                <a:close/>
                <a:moveTo>
                  <a:pt x="4172996" y="968425"/>
                </a:moveTo>
                <a:cubicBezTo>
                  <a:pt x="4177264" y="968425"/>
                  <a:pt x="4183454" y="970843"/>
                  <a:pt x="4183454" y="971839"/>
                </a:cubicBezTo>
                <a:cubicBezTo>
                  <a:pt x="4184521" y="971839"/>
                  <a:pt x="4184521" y="973120"/>
                  <a:pt x="4185588" y="973120"/>
                </a:cubicBezTo>
                <a:cubicBezTo>
                  <a:pt x="4185588" y="973120"/>
                  <a:pt x="4186655" y="973120"/>
                  <a:pt x="4187722" y="974258"/>
                </a:cubicBezTo>
                <a:cubicBezTo>
                  <a:pt x="4188362" y="974969"/>
                  <a:pt x="4188789" y="975538"/>
                  <a:pt x="4189002" y="976392"/>
                </a:cubicBezTo>
                <a:cubicBezTo>
                  <a:pt x="4189216" y="977103"/>
                  <a:pt x="4189216" y="977957"/>
                  <a:pt x="4188576" y="979237"/>
                </a:cubicBezTo>
                <a:cubicBezTo>
                  <a:pt x="4179612" y="975395"/>
                  <a:pt x="4174917" y="975395"/>
                  <a:pt x="4168301" y="971554"/>
                </a:cubicBezTo>
                <a:cubicBezTo>
                  <a:pt x="4168515" y="970274"/>
                  <a:pt x="4169581" y="970416"/>
                  <a:pt x="4169795" y="969136"/>
                </a:cubicBezTo>
                <a:cubicBezTo>
                  <a:pt x="4170435" y="968567"/>
                  <a:pt x="4171502" y="968282"/>
                  <a:pt x="4172996" y="968425"/>
                </a:cubicBezTo>
                <a:close/>
                <a:moveTo>
                  <a:pt x="1222864" y="967505"/>
                </a:moveTo>
                <a:cubicBezTo>
                  <a:pt x="1225548" y="969518"/>
                  <a:pt x="1224826" y="972151"/>
                  <a:pt x="1224103" y="974785"/>
                </a:cubicBezTo>
                <a:cubicBezTo>
                  <a:pt x="1223380" y="976489"/>
                  <a:pt x="1223483" y="977418"/>
                  <a:pt x="1224412" y="978812"/>
                </a:cubicBezTo>
                <a:cubicBezTo>
                  <a:pt x="1224412" y="978812"/>
                  <a:pt x="1224412" y="978967"/>
                  <a:pt x="1222760" y="980826"/>
                </a:cubicBezTo>
                <a:lnTo>
                  <a:pt x="1221831" y="980981"/>
                </a:lnTo>
                <a:cubicBezTo>
                  <a:pt x="1221418" y="980826"/>
                  <a:pt x="1221211" y="980206"/>
                  <a:pt x="1221108" y="979277"/>
                </a:cubicBezTo>
                <a:cubicBezTo>
                  <a:pt x="1220902" y="977883"/>
                  <a:pt x="1220902" y="976024"/>
                  <a:pt x="1221005" y="974320"/>
                </a:cubicBezTo>
                <a:cubicBezTo>
                  <a:pt x="1221108" y="972771"/>
                  <a:pt x="1221315" y="971377"/>
                  <a:pt x="1221315" y="971067"/>
                </a:cubicBezTo>
                <a:cubicBezTo>
                  <a:pt x="1221315" y="971067"/>
                  <a:pt x="1221315" y="970138"/>
                  <a:pt x="1221211" y="969363"/>
                </a:cubicBezTo>
                <a:cubicBezTo>
                  <a:pt x="1222037" y="968434"/>
                  <a:pt x="1222864" y="968279"/>
                  <a:pt x="1222864" y="967505"/>
                </a:cubicBezTo>
                <a:close/>
                <a:moveTo>
                  <a:pt x="3967473" y="966291"/>
                </a:moveTo>
                <a:cubicBezTo>
                  <a:pt x="3970675" y="965295"/>
                  <a:pt x="3975156" y="966717"/>
                  <a:pt x="3976010" y="971696"/>
                </a:cubicBezTo>
                <a:cubicBezTo>
                  <a:pt x="3977504" y="975538"/>
                  <a:pt x="3974730" y="979664"/>
                  <a:pt x="3975583" y="984643"/>
                </a:cubicBezTo>
                <a:cubicBezTo>
                  <a:pt x="3972808" y="985781"/>
                  <a:pt x="3971101" y="986493"/>
                  <a:pt x="3969607" y="986351"/>
                </a:cubicBezTo>
                <a:lnTo>
                  <a:pt x="3968967" y="985781"/>
                </a:lnTo>
                <a:lnTo>
                  <a:pt x="3957442" y="979806"/>
                </a:lnTo>
                <a:cubicBezTo>
                  <a:pt x="3956375" y="978668"/>
                  <a:pt x="3954668" y="973831"/>
                  <a:pt x="3955949" y="972693"/>
                </a:cubicBezTo>
                <a:cubicBezTo>
                  <a:pt x="3957229" y="971412"/>
                  <a:pt x="3958296" y="971412"/>
                  <a:pt x="3959363" y="971412"/>
                </a:cubicBezTo>
                <a:lnTo>
                  <a:pt x="3964699" y="974542"/>
                </a:lnTo>
                <a:lnTo>
                  <a:pt x="3964699" y="971981"/>
                </a:lnTo>
                <a:cubicBezTo>
                  <a:pt x="3965339" y="969136"/>
                  <a:pt x="3966406" y="967001"/>
                  <a:pt x="3967473" y="966291"/>
                </a:cubicBezTo>
                <a:close/>
                <a:moveTo>
                  <a:pt x="1112276" y="966111"/>
                </a:moveTo>
                <a:cubicBezTo>
                  <a:pt x="1113929" y="967970"/>
                  <a:pt x="1115684" y="969828"/>
                  <a:pt x="1113929" y="971377"/>
                </a:cubicBezTo>
                <a:cubicBezTo>
                  <a:pt x="1113102" y="972151"/>
                  <a:pt x="1112173" y="972926"/>
                  <a:pt x="1110418" y="972771"/>
                </a:cubicBezTo>
                <a:cubicBezTo>
                  <a:pt x="1108662" y="970912"/>
                  <a:pt x="1109592" y="968434"/>
                  <a:pt x="1108766" y="967505"/>
                </a:cubicBezTo>
                <a:cubicBezTo>
                  <a:pt x="1109695" y="967660"/>
                  <a:pt x="1111347" y="967815"/>
                  <a:pt x="1112276" y="966111"/>
                </a:cubicBezTo>
                <a:close/>
                <a:moveTo>
                  <a:pt x="3812103" y="965295"/>
                </a:moveTo>
                <a:cubicBezTo>
                  <a:pt x="3812317" y="966859"/>
                  <a:pt x="3815091" y="973120"/>
                  <a:pt x="3813384" y="973546"/>
                </a:cubicBezTo>
                <a:cubicBezTo>
                  <a:pt x="3813384" y="973546"/>
                  <a:pt x="3813170" y="971839"/>
                  <a:pt x="3812743" y="970274"/>
                </a:cubicBezTo>
                <a:cubicBezTo>
                  <a:pt x="3812530" y="968567"/>
                  <a:pt x="3812530" y="968567"/>
                  <a:pt x="3811036" y="968993"/>
                </a:cubicBezTo>
                <a:cubicBezTo>
                  <a:pt x="3810610" y="967286"/>
                  <a:pt x="3810610" y="967286"/>
                  <a:pt x="3812103" y="965295"/>
                </a:cubicBezTo>
                <a:close/>
                <a:moveTo>
                  <a:pt x="3782865" y="965152"/>
                </a:moveTo>
                <a:cubicBezTo>
                  <a:pt x="3784359" y="966433"/>
                  <a:pt x="3785213" y="968425"/>
                  <a:pt x="3785640" y="970701"/>
                </a:cubicBezTo>
                <a:cubicBezTo>
                  <a:pt x="3786920" y="977387"/>
                  <a:pt x="3784145" y="986919"/>
                  <a:pt x="3780090" y="990476"/>
                </a:cubicBezTo>
                <a:cubicBezTo>
                  <a:pt x="3774755" y="991045"/>
                  <a:pt x="3771340" y="989765"/>
                  <a:pt x="3769419" y="987488"/>
                </a:cubicBezTo>
                <a:cubicBezTo>
                  <a:pt x="3763443" y="980517"/>
                  <a:pt x="3770914" y="964583"/>
                  <a:pt x="3782865" y="965152"/>
                </a:cubicBezTo>
                <a:close/>
                <a:moveTo>
                  <a:pt x="1318272" y="964252"/>
                </a:moveTo>
                <a:cubicBezTo>
                  <a:pt x="1318272" y="964252"/>
                  <a:pt x="1318272" y="964252"/>
                  <a:pt x="1318169" y="965181"/>
                </a:cubicBezTo>
                <a:cubicBezTo>
                  <a:pt x="1318169" y="965181"/>
                  <a:pt x="1318272" y="964252"/>
                  <a:pt x="1319098" y="964252"/>
                </a:cubicBezTo>
                <a:cubicBezTo>
                  <a:pt x="1321473" y="968434"/>
                  <a:pt x="1320337" y="975250"/>
                  <a:pt x="1320234" y="976024"/>
                </a:cubicBezTo>
                <a:cubicBezTo>
                  <a:pt x="1319408" y="976024"/>
                  <a:pt x="1319408" y="976024"/>
                  <a:pt x="1319408" y="976024"/>
                </a:cubicBezTo>
                <a:cubicBezTo>
                  <a:pt x="1320131" y="973546"/>
                  <a:pt x="1318066" y="970603"/>
                  <a:pt x="1317860" y="967505"/>
                </a:cubicBezTo>
                <a:cubicBezTo>
                  <a:pt x="1317756" y="966420"/>
                  <a:pt x="1317756" y="965336"/>
                  <a:pt x="1318272" y="964252"/>
                </a:cubicBezTo>
                <a:close/>
                <a:moveTo>
                  <a:pt x="1312284" y="963787"/>
                </a:moveTo>
                <a:cubicBezTo>
                  <a:pt x="1312284" y="964717"/>
                  <a:pt x="1313110" y="964717"/>
                  <a:pt x="1312180" y="965646"/>
                </a:cubicBezTo>
                <a:cubicBezTo>
                  <a:pt x="1314762" y="967195"/>
                  <a:pt x="1317033" y="974630"/>
                  <a:pt x="1316001" y="978038"/>
                </a:cubicBezTo>
                <a:cubicBezTo>
                  <a:pt x="1308360" y="972462"/>
                  <a:pt x="1313006" y="967195"/>
                  <a:pt x="1308773" y="964097"/>
                </a:cubicBezTo>
                <a:cubicBezTo>
                  <a:pt x="1310528" y="963168"/>
                  <a:pt x="1310528" y="963013"/>
                  <a:pt x="1312284" y="963787"/>
                </a:cubicBezTo>
                <a:close/>
                <a:moveTo>
                  <a:pt x="4000767" y="963587"/>
                </a:moveTo>
                <a:cubicBezTo>
                  <a:pt x="4004821" y="964583"/>
                  <a:pt x="4010157" y="968567"/>
                  <a:pt x="4012504" y="971270"/>
                </a:cubicBezTo>
                <a:cubicBezTo>
                  <a:pt x="4008876" y="973546"/>
                  <a:pt x="4000340" y="967571"/>
                  <a:pt x="3997352" y="964014"/>
                </a:cubicBezTo>
                <a:cubicBezTo>
                  <a:pt x="3998205" y="963445"/>
                  <a:pt x="3999486" y="963302"/>
                  <a:pt x="4000767" y="963587"/>
                </a:cubicBezTo>
                <a:close/>
                <a:moveTo>
                  <a:pt x="3265536" y="963302"/>
                </a:moveTo>
                <a:cubicBezTo>
                  <a:pt x="3267670" y="962876"/>
                  <a:pt x="3270017" y="963445"/>
                  <a:pt x="3272151" y="965295"/>
                </a:cubicBezTo>
                <a:cubicBezTo>
                  <a:pt x="3271511" y="970701"/>
                  <a:pt x="3271511" y="976676"/>
                  <a:pt x="3268096" y="979237"/>
                </a:cubicBezTo>
                <a:lnTo>
                  <a:pt x="3267883" y="979237"/>
                </a:lnTo>
                <a:cubicBezTo>
                  <a:pt x="3265749" y="981371"/>
                  <a:pt x="3262548" y="982367"/>
                  <a:pt x="3259987" y="981656"/>
                </a:cubicBezTo>
                <a:cubicBezTo>
                  <a:pt x="3258066" y="981229"/>
                  <a:pt x="3256572" y="979948"/>
                  <a:pt x="3255718" y="977672"/>
                </a:cubicBezTo>
                <a:cubicBezTo>
                  <a:pt x="3256145" y="975822"/>
                  <a:pt x="3256785" y="974685"/>
                  <a:pt x="3257639" y="973973"/>
                </a:cubicBezTo>
                <a:lnTo>
                  <a:pt x="3258920" y="973404"/>
                </a:lnTo>
                <a:lnTo>
                  <a:pt x="3258706" y="969847"/>
                </a:lnTo>
                <a:cubicBezTo>
                  <a:pt x="3259560" y="966433"/>
                  <a:pt x="3262334" y="963872"/>
                  <a:pt x="3265536" y="963302"/>
                </a:cubicBezTo>
                <a:close/>
                <a:moveTo>
                  <a:pt x="3740394" y="962876"/>
                </a:moveTo>
                <a:cubicBezTo>
                  <a:pt x="3750425" y="969420"/>
                  <a:pt x="3747437" y="972123"/>
                  <a:pt x="3744663" y="977103"/>
                </a:cubicBezTo>
                <a:cubicBezTo>
                  <a:pt x="3742102" y="975965"/>
                  <a:pt x="3738901" y="977530"/>
                  <a:pt x="3736339" y="975253"/>
                </a:cubicBezTo>
                <a:cubicBezTo>
                  <a:pt x="3736339" y="975253"/>
                  <a:pt x="3735059" y="973973"/>
                  <a:pt x="3734632" y="971696"/>
                </a:cubicBezTo>
                <a:cubicBezTo>
                  <a:pt x="3731858" y="968140"/>
                  <a:pt x="3734845" y="964441"/>
                  <a:pt x="3734845" y="964441"/>
                </a:cubicBezTo>
                <a:cubicBezTo>
                  <a:pt x="3734845" y="964441"/>
                  <a:pt x="3734845" y="964441"/>
                  <a:pt x="3733565" y="964441"/>
                </a:cubicBezTo>
                <a:cubicBezTo>
                  <a:pt x="3735913" y="964299"/>
                  <a:pt x="3738047" y="963018"/>
                  <a:pt x="3740394" y="962876"/>
                </a:cubicBezTo>
                <a:close/>
                <a:moveTo>
                  <a:pt x="1484102" y="962703"/>
                </a:moveTo>
                <a:cubicBezTo>
                  <a:pt x="1485135" y="963323"/>
                  <a:pt x="1483482" y="966111"/>
                  <a:pt x="1483586" y="967040"/>
                </a:cubicBezTo>
                <a:cubicBezTo>
                  <a:pt x="1482656" y="967195"/>
                  <a:pt x="1481727" y="966420"/>
                  <a:pt x="1480901" y="966575"/>
                </a:cubicBezTo>
                <a:cubicBezTo>
                  <a:pt x="1480798" y="965646"/>
                  <a:pt x="1480694" y="963942"/>
                  <a:pt x="1481521" y="963013"/>
                </a:cubicBezTo>
                <a:cubicBezTo>
                  <a:pt x="1481417" y="962238"/>
                  <a:pt x="1484102" y="962703"/>
                  <a:pt x="1484102" y="962703"/>
                </a:cubicBezTo>
                <a:close/>
                <a:moveTo>
                  <a:pt x="1139691" y="961812"/>
                </a:moveTo>
                <a:cubicBezTo>
                  <a:pt x="1141291" y="961154"/>
                  <a:pt x="1143459" y="960844"/>
                  <a:pt x="1145731" y="962238"/>
                </a:cubicBezTo>
                <a:cubicBezTo>
                  <a:pt x="1144905" y="963168"/>
                  <a:pt x="1150378" y="967505"/>
                  <a:pt x="1148829" y="971067"/>
                </a:cubicBezTo>
                <a:cubicBezTo>
                  <a:pt x="1148106" y="972926"/>
                  <a:pt x="1147177" y="973855"/>
                  <a:pt x="1146454" y="975559"/>
                </a:cubicBezTo>
                <a:cubicBezTo>
                  <a:pt x="1143872" y="976024"/>
                  <a:pt x="1141498" y="978812"/>
                  <a:pt x="1136025" y="976179"/>
                </a:cubicBezTo>
                <a:cubicBezTo>
                  <a:pt x="1130656" y="972771"/>
                  <a:pt x="1134683" y="967195"/>
                  <a:pt x="1133857" y="967350"/>
                </a:cubicBezTo>
                <a:cubicBezTo>
                  <a:pt x="1132928" y="966575"/>
                  <a:pt x="1132824" y="966575"/>
                  <a:pt x="1131998" y="966730"/>
                </a:cubicBezTo>
                <a:cubicBezTo>
                  <a:pt x="1131998" y="965801"/>
                  <a:pt x="1130966" y="964252"/>
                  <a:pt x="1130036" y="963632"/>
                </a:cubicBezTo>
                <a:cubicBezTo>
                  <a:pt x="1130966" y="963477"/>
                  <a:pt x="1131792" y="963323"/>
                  <a:pt x="1131792" y="962548"/>
                </a:cubicBezTo>
                <a:cubicBezTo>
                  <a:pt x="1133547" y="963942"/>
                  <a:pt x="1133650" y="964717"/>
                  <a:pt x="1134476" y="965491"/>
                </a:cubicBezTo>
                <a:cubicBezTo>
                  <a:pt x="1134476" y="964562"/>
                  <a:pt x="1135405" y="965336"/>
                  <a:pt x="1135405" y="965336"/>
                </a:cubicBezTo>
                <a:cubicBezTo>
                  <a:pt x="1135405" y="965336"/>
                  <a:pt x="1135405" y="965336"/>
                  <a:pt x="1137058" y="963477"/>
                </a:cubicBezTo>
                <a:cubicBezTo>
                  <a:pt x="1137058" y="963477"/>
                  <a:pt x="1138090" y="962471"/>
                  <a:pt x="1139691" y="961812"/>
                </a:cubicBezTo>
                <a:close/>
                <a:moveTo>
                  <a:pt x="1252808" y="959915"/>
                </a:moveTo>
                <a:cubicBezTo>
                  <a:pt x="1260346" y="961773"/>
                  <a:pt x="1262101" y="976644"/>
                  <a:pt x="1255596" y="976953"/>
                </a:cubicBezTo>
                <a:cubicBezTo>
                  <a:pt x="1254666" y="977108"/>
                  <a:pt x="1253531" y="976798"/>
                  <a:pt x="1252292" y="976179"/>
                </a:cubicBezTo>
                <a:cubicBezTo>
                  <a:pt x="1251053" y="974785"/>
                  <a:pt x="1250020" y="973391"/>
                  <a:pt x="1249194" y="971996"/>
                </a:cubicBezTo>
                <a:lnTo>
                  <a:pt x="1247542" y="967970"/>
                </a:lnTo>
                <a:lnTo>
                  <a:pt x="1241346" y="968279"/>
                </a:lnTo>
                <a:cubicBezTo>
                  <a:pt x="1239075" y="968279"/>
                  <a:pt x="1237526" y="967815"/>
                  <a:pt x="1236390" y="965027"/>
                </a:cubicBezTo>
                <a:cubicBezTo>
                  <a:pt x="1237526" y="963632"/>
                  <a:pt x="1239488" y="963013"/>
                  <a:pt x="1241966" y="962703"/>
                </a:cubicBezTo>
                <a:lnTo>
                  <a:pt x="1248678" y="962548"/>
                </a:lnTo>
                <a:lnTo>
                  <a:pt x="1250124" y="960225"/>
                </a:lnTo>
                <a:cubicBezTo>
                  <a:pt x="1250949" y="961154"/>
                  <a:pt x="1251879" y="960534"/>
                  <a:pt x="1252808" y="959915"/>
                </a:cubicBezTo>
                <a:close/>
                <a:moveTo>
                  <a:pt x="4971400" y="959035"/>
                </a:moveTo>
                <a:cubicBezTo>
                  <a:pt x="4971400" y="960173"/>
                  <a:pt x="4971186" y="961454"/>
                  <a:pt x="4972253" y="961454"/>
                </a:cubicBezTo>
                <a:cubicBezTo>
                  <a:pt x="4969692" y="963729"/>
                  <a:pt x="4968625" y="963729"/>
                  <a:pt x="4967345" y="964868"/>
                </a:cubicBezTo>
                <a:cubicBezTo>
                  <a:pt x="4968412" y="964868"/>
                  <a:pt x="4967345" y="966006"/>
                  <a:pt x="4967345" y="966006"/>
                </a:cubicBezTo>
                <a:cubicBezTo>
                  <a:pt x="4967345" y="966006"/>
                  <a:pt x="4967131" y="966148"/>
                  <a:pt x="4969266" y="968567"/>
                </a:cubicBezTo>
                <a:cubicBezTo>
                  <a:pt x="4969266" y="968567"/>
                  <a:pt x="4973321" y="974542"/>
                  <a:pt x="4967985" y="980517"/>
                </a:cubicBezTo>
                <a:cubicBezTo>
                  <a:pt x="4966918" y="979237"/>
                  <a:pt x="4959448" y="986351"/>
                  <a:pt x="4954967" y="983789"/>
                </a:cubicBezTo>
                <a:cubicBezTo>
                  <a:pt x="4952832" y="982651"/>
                  <a:pt x="4951765" y="981371"/>
                  <a:pt x="4949631" y="980232"/>
                </a:cubicBezTo>
                <a:cubicBezTo>
                  <a:pt x="4949844" y="976534"/>
                  <a:pt x="4946856" y="972977"/>
                  <a:pt x="4952192" y="965864"/>
                </a:cubicBezTo>
                <a:cubicBezTo>
                  <a:pt x="4958595" y="958750"/>
                  <a:pt x="4964997" y="964868"/>
                  <a:pt x="4965210" y="963587"/>
                </a:cubicBezTo>
                <a:cubicBezTo>
                  <a:pt x="4966491" y="962449"/>
                  <a:pt x="4966491" y="962449"/>
                  <a:pt x="4966491" y="961311"/>
                </a:cubicBezTo>
                <a:cubicBezTo>
                  <a:pt x="4967771" y="961311"/>
                  <a:pt x="4970119" y="960173"/>
                  <a:pt x="4971400" y="959035"/>
                </a:cubicBezTo>
                <a:close/>
                <a:moveTo>
                  <a:pt x="3719266" y="956047"/>
                </a:moveTo>
                <a:cubicBezTo>
                  <a:pt x="3720547" y="956332"/>
                  <a:pt x="3721827" y="956759"/>
                  <a:pt x="3723321" y="957754"/>
                </a:cubicBezTo>
                <a:cubicBezTo>
                  <a:pt x="3720760" y="961880"/>
                  <a:pt x="3719052" y="965579"/>
                  <a:pt x="3717985" y="969420"/>
                </a:cubicBezTo>
                <a:lnTo>
                  <a:pt x="3716918" y="972550"/>
                </a:lnTo>
                <a:lnTo>
                  <a:pt x="3720547" y="971696"/>
                </a:lnTo>
                <a:cubicBezTo>
                  <a:pt x="3722680" y="971554"/>
                  <a:pt x="3725242" y="972266"/>
                  <a:pt x="3728016" y="974258"/>
                </a:cubicBezTo>
                <a:cubicBezTo>
                  <a:pt x="3734632" y="978668"/>
                  <a:pt x="3740181" y="985497"/>
                  <a:pt x="3733351" y="995598"/>
                </a:cubicBezTo>
                <a:cubicBezTo>
                  <a:pt x="3732711" y="998016"/>
                  <a:pt x="3732498" y="996736"/>
                  <a:pt x="3731431" y="998016"/>
                </a:cubicBezTo>
                <a:cubicBezTo>
                  <a:pt x="3730577" y="999297"/>
                  <a:pt x="3729723" y="1001715"/>
                  <a:pt x="3729937" y="1002996"/>
                </a:cubicBezTo>
                <a:cubicBezTo>
                  <a:pt x="3724815" y="999582"/>
                  <a:pt x="3722894" y="1003280"/>
                  <a:pt x="3715211" y="997732"/>
                </a:cubicBezTo>
                <a:cubicBezTo>
                  <a:pt x="3707528" y="992752"/>
                  <a:pt x="3706247" y="986777"/>
                  <a:pt x="3707314" y="982082"/>
                </a:cubicBezTo>
                <a:lnTo>
                  <a:pt x="3708595" y="978383"/>
                </a:lnTo>
                <a:lnTo>
                  <a:pt x="3705820" y="975965"/>
                </a:lnTo>
                <a:cubicBezTo>
                  <a:pt x="3714784" y="969278"/>
                  <a:pt x="3701979" y="964014"/>
                  <a:pt x="3708595" y="958323"/>
                </a:cubicBezTo>
                <a:cubicBezTo>
                  <a:pt x="3712009" y="957612"/>
                  <a:pt x="3715211" y="955478"/>
                  <a:pt x="3719266" y="956047"/>
                </a:cubicBezTo>
                <a:close/>
                <a:moveTo>
                  <a:pt x="1172759" y="953835"/>
                </a:moveTo>
                <a:cubicBezTo>
                  <a:pt x="1175753" y="954222"/>
                  <a:pt x="1178309" y="955035"/>
                  <a:pt x="1179290" y="956042"/>
                </a:cubicBezTo>
                <a:cubicBezTo>
                  <a:pt x="1176605" y="958366"/>
                  <a:pt x="1173197" y="957127"/>
                  <a:pt x="1169687" y="959295"/>
                </a:cubicBezTo>
                <a:cubicBezTo>
                  <a:pt x="1167105" y="957437"/>
                  <a:pt x="1162769" y="959450"/>
                  <a:pt x="1159258" y="956662"/>
                </a:cubicBezTo>
                <a:cubicBezTo>
                  <a:pt x="1160187" y="955423"/>
                  <a:pt x="1161736" y="954649"/>
                  <a:pt x="1163595" y="954183"/>
                </a:cubicBezTo>
                <a:cubicBezTo>
                  <a:pt x="1166331" y="953486"/>
                  <a:pt x="1169764" y="953448"/>
                  <a:pt x="1172759" y="953835"/>
                </a:cubicBezTo>
                <a:close/>
                <a:moveTo>
                  <a:pt x="3797164" y="953344"/>
                </a:moveTo>
                <a:cubicBezTo>
                  <a:pt x="3808475" y="956759"/>
                  <a:pt x="3818079" y="985212"/>
                  <a:pt x="3807195" y="991045"/>
                </a:cubicBezTo>
                <a:cubicBezTo>
                  <a:pt x="3804634" y="977245"/>
                  <a:pt x="3796951" y="969278"/>
                  <a:pt x="3797164" y="953344"/>
                </a:cubicBezTo>
                <a:close/>
                <a:moveTo>
                  <a:pt x="3343220" y="950072"/>
                </a:moveTo>
                <a:cubicBezTo>
                  <a:pt x="3344714" y="949930"/>
                  <a:pt x="3346421" y="950072"/>
                  <a:pt x="3347702" y="950356"/>
                </a:cubicBezTo>
                <a:cubicBezTo>
                  <a:pt x="3347275" y="951495"/>
                  <a:pt x="3354745" y="953202"/>
                  <a:pt x="3357092" y="959604"/>
                </a:cubicBezTo>
                <a:cubicBezTo>
                  <a:pt x="3357733" y="961738"/>
                  <a:pt x="3357946" y="964299"/>
                  <a:pt x="3356879" y="967713"/>
                </a:cubicBezTo>
                <a:cubicBezTo>
                  <a:pt x="3354745" y="975253"/>
                  <a:pt x="3350050" y="982651"/>
                  <a:pt x="3338525" y="979379"/>
                </a:cubicBezTo>
                <a:cubicBezTo>
                  <a:pt x="3335964" y="979379"/>
                  <a:pt x="3337031" y="978810"/>
                  <a:pt x="3335537" y="978383"/>
                </a:cubicBezTo>
                <a:cubicBezTo>
                  <a:pt x="3334043" y="977814"/>
                  <a:pt x="3331482" y="977672"/>
                  <a:pt x="3330415" y="978241"/>
                </a:cubicBezTo>
                <a:cubicBezTo>
                  <a:pt x="3331909" y="972266"/>
                  <a:pt x="3328067" y="971696"/>
                  <a:pt x="3330842" y="962592"/>
                </a:cubicBezTo>
                <a:cubicBezTo>
                  <a:pt x="3333190" y="953628"/>
                  <a:pt x="3338312" y="950641"/>
                  <a:pt x="3343220" y="950072"/>
                </a:cubicBezTo>
                <a:close/>
                <a:moveTo>
                  <a:pt x="1145215" y="949537"/>
                </a:moveTo>
                <a:cubicBezTo>
                  <a:pt x="1154405" y="948452"/>
                  <a:pt x="1156883" y="953099"/>
                  <a:pt x="1158019" y="952790"/>
                </a:cubicBezTo>
                <a:cubicBezTo>
                  <a:pt x="1159051" y="956352"/>
                  <a:pt x="1156573" y="956817"/>
                  <a:pt x="1153269" y="958675"/>
                </a:cubicBezTo>
                <a:cubicBezTo>
                  <a:pt x="1152959" y="957437"/>
                  <a:pt x="1149448" y="958056"/>
                  <a:pt x="1148209" y="958211"/>
                </a:cubicBezTo>
                <a:cubicBezTo>
                  <a:pt x="1147590" y="955887"/>
                  <a:pt x="1143253" y="956042"/>
                  <a:pt x="1142221" y="952480"/>
                </a:cubicBezTo>
                <a:cubicBezTo>
                  <a:pt x="1143150" y="951086"/>
                  <a:pt x="1143563" y="950311"/>
                  <a:pt x="1145215" y="949537"/>
                </a:cubicBezTo>
                <a:close/>
                <a:moveTo>
                  <a:pt x="3682558" y="949361"/>
                </a:moveTo>
                <a:cubicBezTo>
                  <a:pt x="3684265" y="950926"/>
                  <a:pt x="3685119" y="952775"/>
                  <a:pt x="3685332" y="954909"/>
                </a:cubicBezTo>
                <a:cubicBezTo>
                  <a:pt x="3686186" y="960884"/>
                  <a:pt x="3682344" y="968851"/>
                  <a:pt x="3682771" y="976534"/>
                </a:cubicBezTo>
                <a:cubicBezTo>
                  <a:pt x="3684691" y="980802"/>
                  <a:pt x="3690454" y="980232"/>
                  <a:pt x="3688534" y="989480"/>
                </a:cubicBezTo>
                <a:cubicBezTo>
                  <a:pt x="3674875" y="988342"/>
                  <a:pt x="3664630" y="984074"/>
                  <a:pt x="3657374" y="976818"/>
                </a:cubicBezTo>
                <a:cubicBezTo>
                  <a:pt x="3655026" y="974400"/>
                  <a:pt x="3653106" y="971696"/>
                  <a:pt x="3651398" y="968567"/>
                </a:cubicBezTo>
                <a:cubicBezTo>
                  <a:pt x="3658654" y="962164"/>
                  <a:pt x="3666764" y="968282"/>
                  <a:pt x="3673808" y="971128"/>
                </a:cubicBezTo>
                <a:cubicBezTo>
                  <a:pt x="3674661" y="962734"/>
                  <a:pt x="3673594" y="949930"/>
                  <a:pt x="3682558" y="949361"/>
                </a:cubicBezTo>
                <a:close/>
                <a:moveTo>
                  <a:pt x="3911557" y="948934"/>
                </a:moveTo>
                <a:cubicBezTo>
                  <a:pt x="3911984" y="949361"/>
                  <a:pt x="3912411" y="950214"/>
                  <a:pt x="3913051" y="952206"/>
                </a:cubicBezTo>
                <a:lnTo>
                  <a:pt x="3912197" y="956759"/>
                </a:lnTo>
                <a:lnTo>
                  <a:pt x="3912624" y="957897"/>
                </a:lnTo>
                <a:cubicBezTo>
                  <a:pt x="3912624" y="958892"/>
                  <a:pt x="3912197" y="960031"/>
                  <a:pt x="3910917" y="961311"/>
                </a:cubicBezTo>
                <a:lnTo>
                  <a:pt x="3909637" y="962022"/>
                </a:lnTo>
                <a:lnTo>
                  <a:pt x="3906862" y="966006"/>
                </a:lnTo>
                <a:lnTo>
                  <a:pt x="3905795" y="964156"/>
                </a:lnTo>
                <a:lnTo>
                  <a:pt x="3901526" y="963445"/>
                </a:lnTo>
                <a:cubicBezTo>
                  <a:pt x="3898966" y="964583"/>
                  <a:pt x="3897685" y="966859"/>
                  <a:pt x="3895337" y="965721"/>
                </a:cubicBezTo>
                <a:cubicBezTo>
                  <a:pt x="3899178" y="963445"/>
                  <a:pt x="3900459" y="962307"/>
                  <a:pt x="3902807" y="961169"/>
                </a:cubicBezTo>
                <a:lnTo>
                  <a:pt x="3903447" y="959604"/>
                </a:lnTo>
                <a:lnTo>
                  <a:pt x="3903447" y="959319"/>
                </a:lnTo>
                <a:lnTo>
                  <a:pt x="3903874" y="958892"/>
                </a:lnTo>
                <a:lnTo>
                  <a:pt x="3904301" y="957612"/>
                </a:lnTo>
                <a:lnTo>
                  <a:pt x="3904941" y="957470"/>
                </a:lnTo>
                <a:lnTo>
                  <a:pt x="3906435" y="954482"/>
                </a:lnTo>
                <a:cubicBezTo>
                  <a:pt x="3907502" y="951921"/>
                  <a:pt x="3908569" y="949361"/>
                  <a:pt x="3908569" y="949361"/>
                </a:cubicBezTo>
                <a:cubicBezTo>
                  <a:pt x="3910063" y="948934"/>
                  <a:pt x="3910917" y="948649"/>
                  <a:pt x="3911557" y="948934"/>
                </a:cubicBezTo>
                <a:close/>
                <a:moveTo>
                  <a:pt x="1418121" y="947368"/>
                </a:moveTo>
                <a:cubicBezTo>
                  <a:pt x="1424317" y="947523"/>
                  <a:pt x="1430615" y="956817"/>
                  <a:pt x="1430099" y="961619"/>
                </a:cubicBezTo>
                <a:lnTo>
                  <a:pt x="1427724" y="963323"/>
                </a:lnTo>
                <a:lnTo>
                  <a:pt x="1428240" y="964252"/>
                </a:lnTo>
                <a:lnTo>
                  <a:pt x="1429376" y="967970"/>
                </a:lnTo>
                <a:lnTo>
                  <a:pt x="1429789" y="967660"/>
                </a:lnTo>
                <a:cubicBezTo>
                  <a:pt x="1430512" y="967505"/>
                  <a:pt x="1431441" y="967815"/>
                  <a:pt x="1432164" y="968589"/>
                </a:cubicBezTo>
                <a:cubicBezTo>
                  <a:pt x="1434745" y="970138"/>
                  <a:pt x="1434539" y="972616"/>
                  <a:pt x="1433610" y="975250"/>
                </a:cubicBezTo>
                <a:cubicBezTo>
                  <a:pt x="1434332" y="976953"/>
                  <a:pt x="1436088" y="977728"/>
                  <a:pt x="1435159" y="979431"/>
                </a:cubicBezTo>
                <a:cubicBezTo>
                  <a:pt x="1433506" y="976953"/>
                  <a:pt x="1432680" y="976179"/>
                  <a:pt x="1431854" y="974475"/>
                </a:cubicBezTo>
                <a:cubicBezTo>
                  <a:pt x="1431028" y="974475"/>
                  <a:pt x="1430202" y="974475"/>
                  <a:pt x="1429376" y="973701"/>
                </a:cubicBezTo>
                <a:lnTo>
                  <a:pt x="1428757" y="972151"/>
                </a:lnTo>
                <a:lnTo>
                  <a:pt x="1427621" y="972462"/>
                </a:lnTo>
                <a:cubicBezTo>
                  <a:pt x="1426795" y="972771"/>
                  <a:pt x="1426072" y="973081"/>
                  <a:pt x="1425246" y="973701"/>
                </a:cubicBezTo>
                <a:cubicBezTo>
                  <a:pt x="1424730" y="971067"/>
                  <a:pt x="1423903" y="969208"/>
                  <a:pt x="1423181" y="967505"/>
                </a:cubicBezTo>
                <a:lnTo>
                  <a:pt x="1422768" y="964872"/>
                </a:lnTo>
                <a:lnTo>
                  <a:pt x="1422458" y="964872"/>
                </a:lnTo>
                <a:cubicBezTo>
                  <a:pt x="1420703" y="964562"/>
                  <a:pt x="1419154" y="963787"/>
                  <a:pt x="1417811" y="962393"/>
                </a:cubicBezTo>
                <a:lnTo>
                  <a:pt x="1416882" y="960999"/>
                </a:lnTo>
                <a:cubicBezTo>
                  <a:pt x="1414507" y="962858"/>
                  <a:pt x="1410170" y="962858"/>
                  <a:pt x="1406866" y="959140"/>
                </a:cubicBezTo>
                <a:cubicBezTo>
                  <a:pt x="1406969" y="955733"/>
                  <a:pt x="1408208" y="953409"/>
                  <a:pt x="1408931" y="951860"/>
                </a:cubicBezTo>
                <a:lnTo>
                  <a:pt x="1414920" y="952015"/>
                </a:lnTo>
                <a:close/>
                <a:moveTo>
                  <a:pt x="3546396" y="946657"/>
                </a:moveTo>
                <a:cubicBezTo>
                  <a:pt x="3547890" y="946800"/>
                  <a:pt x="3549170" y="947796"/>
                  <a:pt x="3550878" y="949076"/>
                </a:cubicBezTo>
                <a:cubicBezTo>
                  <a:pt x="3552585" y="950356"/>
                  <a:pt x="3553012" y="951779"/>
                  <a:pt x="3553225" y="953344"/>
                </a:cubicBezTo>
                <a:cubicBezTo>
                  <a:pt x="3553439" y="954909"/>
                  <a:pt x="3553652" y="956332"/>
                  <a:pt x="3554719" y="957612"/>
                </a:cubicBezTo>
                <a:cubicBezTo>
                  <a:pt x="3552372" y="958750"/>
                  <a:pt x="3548530" y="961169"/>
                  <a:pt x="3544048" y="957470"/>
                </a:cubicBezTo>
                <a:cubicBezTo>
                  <a:pt x="3542981" y="956189"/>
                  <a:pt x="3542981" y="956189"/>
                  <a:pt x="3543194" y="954909"/>
                </a:cubicBezTo>
                <a:cubicBezTo>
                  <a:pt x="3542341" y="952490"/>
                  <a:pt x="3541061" y="951353"/>
                  <a:pt x="3542554" y="948934"/>
                </a:cubicBezTo>
                <a:cubicBezTo>
                  <a:pt x="3544048" y="947084"/>
                  <a:pt x="3545116" y="946515"/>
                  <a:pt x="3546396" y="946657"/>
                </a:cubicBezTo>
                <a:close/>
                <a:moveTo>
                  <a:pt x="1482140" y="946284"/>
                </a:moveTo>
                <a:cubicBezTo>
                  <a:pt x="1483069" y="946439"/>
                  <a:pt x="1484102" y="947213"/>
                  <a:pt x="1485238" y="948143"/>
                </a:cubicBezTo>
                <a:cubicBezTo>
                  <a:pt x="1487612" y="950002"/>
                  <a:pt x="1486374" y="952480"/>
                  <a:pt x="1487819" y="954183"/>
                </a:cubicBezTo>
                <a:cubicBezTo>
                  <a:pt x="1486890" y="954649"/>
                  <a:pt x="1485754" y="955113"/>
                  <a:pt x="1484308" y="955268"/>
                </a:cubicBezTo>
                <a:lnTo>
                  <a:pt x="1482243" y="954494"/>
                </a:lnTo>
                <a:lnTo>
                  <a:pt x="1481933" y="955733"/>
                </a:lnTo>
                <a:cubicBezTo>
                  <a:pt x="1480075" y="958366"/>
                  <a:pt x="1475945" y="960225"/>
                  <a:pt x="1471918" y="958056"/>
                </a:cubicBezTo>
                <a:cubicBezTo>
                  <a:pt x="1471608" y="956352"/>
                  <a:pt x="1471608" y="954803"/>
                  <a:pt x="1471711" y="953409"/>
                </a:cubicBezTo>
                <a:cubicBezTo>
                  <a:pt x="1471814" y="952170"/>
                  <a:pt x="1472124" y="951086"/>
                  <a:pt x="1472228" y="950156"/>
                </a:cubicBezTo>
                <a:cubicBezTo>
                  <a:pt x="1474602" y="949382"/>
                  <a:pt x="1476358" y="948298"/>
                  <a:pt x="1478733" y="947678"/>
                </a:cubicBezTo>
                <a:lnTo>
                  <a:pt x="1479042" y="947833"/>
                </a:lnTo>
                <a:lnTo>
                  <a:pt x="1479145" y="947678"/>
                </a:lnTo>
                <a:cubicBezTo>
                  <a:pt x="1480178" y="946594"/>
                  <a:pt x="1481107" y="946129"/>
                  <a:pt x="1482140" y="946284"/>
                </a:cubicBezTo>
                <a:close/>
                <a:moveTo>
                  <a:pt x="4443826" y="945235"/>
                </a:moveTo>
                <a:cubicBezTo>
                  <a:pt x="4444893" y="945092"/>
                  <a:pt x="4445960" y="945092"/>
                  <a:pt x="4446387" y="945661"/>
                </a:cubicBezTo>
                <a:cubicBezTo>
                  <a:pt x="4447027" y="945946"/>
                  <a:pt x="4447241" y="946515"/>
                  <a:pt x="4447241" y="947084"/>
                </a:cubicBezTo>
                <a:cubicBezTo>
                  <a:pt x="4447027" y="948649"/>
                  <a:pt x="4444893" y="950783"/>
                  <a:pt x="4444680" y="951779"/>
                </a:cubicBezTo>
                <a:cubicBezTo>
                  <a:pt x="4443399" y="952917"/>
                  <a:pt x="4442118" y="954055"/>
                  <a:pt x="4441051" y="952775"/>
                </a:cubicBezTo>
                <a:cubicBezTo>
                  <a:pt x="4440198" y="951636"/>
                  <a:pt x="4439130" y="951636"/>
                  <a:pt x="4440411" y="949218"/>
                </a:cubicBezTo>
                <a:cubicBezTo>
                  <a:pt x="4440625" y="948080"/>
                  <a:pt x="4441905" y="946942"/>
                  <a:pt x="4441905" y="945661"/>
                </a:cubicBezTo>
                <a:cubicBezTo>
                  <a:pt x="4441905" y="945661"/>
                  <a:pt x="4442759" y="945377"/>
                  <a:pt x="4443826" y="945235"/>
                </a:cubicBezTo>
                <a:close/>
                <a:moveTo>
                  <a:pt x="1374547" y="943651"/>
                </a:moveTo>
                <a:cubicBezTo>
                  <a:pt x="1377025" y="945974"/>
                  <a:pt x="1375993" y="948607"/>
                  <a:pt x="1375063" y="951086"/>
                </a:cubicBezTo>
                <a:cubicBezTo>
                  <a:pt x="1374134" y="952790"/>
                  <a:pt x="1374031" y="953564"/>
                  <a:pt x="1374857" y="955268"/>
                </a:cubicBezTo>
                <a:cubicBezTo>
                  <a:pt x="1374857" y="955268"/>
                  <a:pt x="1374857" y="955268"/>
                  <a:pt x="1372998" y="956972"/>
                </a:cubicBezTo>
                <a:lnTo>
                  <a:pt x="1372172" y="957127"/>
                </a:lnTo>
                <a:cubicBezTo>
                  <a:pt x="1371759" y="956817"/>
                  <a:pt x="1371656" y="956197"/>
                  <a:pt x="1371553" y="955268"/>
                </a:cubicBezTo>
                <a:cubicBezTo>
                  <a:pt x="1371449" y="952480"/>
                  <a:pt x="1372585" y="947678"/>
                  <a:pt x="1372689" y="947059"/>
                </a:cubicBezTo>
                <a:cubicBezTo>
                  <a:pt x="1372689" y="947059"/>
                  <a:pt x="1372689" y="946129"/>
                  <a:pt x="1372689" y="945355"/>
                </a:cubicBezTo>
                <a:cubicBezTo>
                  <a:pt x="1373618" y="944425"/>
                  <a:pt x="1374547" y="944425"/>
                  <a:pt x="1374547" y="943651"/>
                </a:cubicBezTo>
                <a:close/>
                <a:moveTo>
                  <a:pt x="3853080" y="943243"/>
                </a:moveTo>
                <a:cubicBezTo>
                  <a:pt x="3853507" y="943527"/>
                  <a:pt x="3853934" y="944381"/>
                  <a:pt x="3854147" y="945519"/>
                </a:cubicBezTo>
                <a:cubicBezTo>
                  <a:pt x="3854361" y="946657"/>
                  <a:pt x="3854574" y="947796"/>
                  <a:pt x="3854787" y="948649"/>
                </a:cubicBezTo>
                <a:cubicBezTo>
                  <a:pt x="3855641" y="949218"/>
                  <a:pt x="3856068" y="950783"/>
                  <a:pt x="3855427" y="951779"/>
                </a:cubicBezTo>
                <a:cubicBezTo>
                  <a:pt x="3855427" y="951779"/>
                  <a:pt x="3855641" y="953486"/>
                  <a:pt x="3856495" y="954055"/>
                </a:cubicBezTo>
                <a:cubicBezTo>
                  <a:pt x="3857135" y="957327"/>
                  <a:pt x="3856495" y="958323"/>
                  <a:pt x="3855855" y="959319"/>
                </a:cubicBezTo>
                <a:cubicBezTo>
                  <a:pt x="3855855" y="959319"/>
                  <a:pt x="3855641" y="957612"/>
                  <a:pt x="3854574" y="957043"/>
                </a:cubicBezTo>
                <a:cubicBezTo>
                  <a:pt x="3854574" y="957043"/>
                  <a:pt x="3854361" y="955478"/>
                  <a:pt x="3854147" y="953913"/>
                </a:cubicBezTo>
                <a:cubicBezTo>
                  <a:pt x="3854147" y="953913"/>
                  <a:pt x="3853080" y="953344"/>
                  <a:pt x="3852226" y="952775"/>
                </a:cubicBezTo>
                <a:cubicBezTo>
                  <a:pt x="3850732" y="948934"/>
                  <a:pt x="3849452" y="946657"/>
                  <a:pt x="3853080" y="943243"/>
                </a:cubicBezTo>
                <a:close/>
                <a:moveTo>
                  <a:pt x="1361021" y="943031"/>
                </a:moveTo>
                <a:cubicBezTo>
                  <a:pt x="1364015" y="945200"/>
                  <a:pt x="1363705" y="950931"/>
                  <a:pt x="1364118" y="956197"/>
                </a:cubicBezTo>
                <a:cubicBezTo>
                  <a:pt x="1361640" y="956042"/>
                  <a:pt x="1360401" y="955887"/>
                  <a:pt x="1358542" y="956352"/>
                </a:cubicBezTo>
                <a:cubicBezTo>
                  <a:pt x="1358749" y="952790"/>
                  <a:pt x="1357923" y="950002"/>
                  <a:pt x="1357820" y="947988"/>
                </a:cubicBezTo>
                <a:cubicBezTo>
                  <a:pt x="1357716" y="945819"/>
                  <a:pt x="1358232" y="944270"/>
                  <a:pt x="1361021" y="943031"/>
                </a:cubicBezTo>
                <a:close/>
                <a:moveTo>
                  <a:pt x="3481516" y="942674"/>
                </a:moveTo>
                <a:cubicBezTo>
                  <a:pt x="3485144" y="942247"/>
                  <a:pt x="3488132" y="945377"/>
                  <a:pt x="3490907" y="949218"/>
                </a:cubicBezTo>
                <a:cubicBezTo>
                  <a:pt x="3489413" y="951495"/>
                  <a:pt x="3488986" y="953913"/>
                  <a:pt x="3487492" y="956189"/>
                </a:cubicBezTo>
                <a:cubicBezTo>
                  <a:pt x="3483651" y="957612"/>
                  <a:pt x="3476394" y="954055"/>
                  <a:pt x="3475754" y="949361"/>
                </a:cubicBezTo>
                <a:cubicBezTo>
                  <a:pt x="3475540" y="947796"/>
                  <a:pt x="3475967" y="946088"/>
                  <a:pt x="3477675" y="944381"/>
                </a:cubicBezTo>
                <a:cubicBezTo>
                  <a:pt x="3479169" y="943385"/>
                  <a:pt x="3480449" y="942816"/>
                  <a:pt x="3481516" y="942674"/>
                </a:cubicBezTo>
                <a:close/>
                <a:moveTo>
                  <a:pt x="1460314" y="942450"/>
                </a:moveTo>
                <a:cubicBezTo>
                  <a:pt x="1463657" y="943418"/>
                  <a:pt x="1467116" y="945587"/>
                  <a:pt x="1470369" y="949382"/>
                </a:cubicBezTo>
                <a:cubicBezTo>
                  <a:pt x="1467581" y="960689"/>
                  <a:pt x="1457462" y="968279"/>
                  <a:pt x="1448065" y="964562"/>
                </a:cubicBezTo>
                <a:cubicBezTo>
                  <a:pt x="1443935" y="962238"/>
                  <a:pt x="1441870" y="959140"/>
                  <a:pt x="1441560" y="955887"/>
                </a:cubicBezTo>
                <a:cubicBezTo>
                  <a:pt x="1441457" y="954803"/>
                  <a:pt x="1441560" y="953719"/>
                  <a:pt x="1441767" y="952635"/>
                </a:cubicBezTo>
                <a:cubicBezTo>
                  <a:pt x="1442696" y="948298"/>
                  <a:pt x="1446207" y="944425"/>
                  <a:pt x="1450957" y="942721"/>
                </a:cubicBezTo>
                <a:cubicBezTo>
                  <a:pt x="1453745" y="941714"/>
                  <a:pt x="1456971" y="941482"/>
                  <a:pt x="1460314" y="942450"/>
                </a:cubicBezTo>
                <a:close/>
                <a:moveTo>
                  <a:pt x="3459534" y="941678"/>
                </a:moveTo>
                <a:cubicBezTo>
                  <a:pt x="3464656" y="941394"/>
                  <a:pt x="3468284" y="952490"/>
                  <a:pt x="3471912" y="957897"/>
                </a:cubicBezTo>
                <a:cubicBezTo>
                  <a:pt x="3469138" y="962164"/>
                  <a:pt x="3467644" y="963018"/>
                  <a:pt x="3462949" y="964299"/>
                </a:cubicBezTo>
                <a:cubicBezTo>
                  <a:pt x="3456546" y="959177"/>
                  <a:pt x="3455052" y="952775"/>
                  <a:pt x="3453772" y="946373"/>
                </a:cubicBezTo>
                <a:cubicBezTo>
                  <a:pt x="3455906" y="943101"/>
                  <a:pt x="3457827" y="941820"/>
                  <a:pt x="3459534" y="941678"/>
                </a:cubicBezTo>
                <a:close/>
                <a:moveTo>
                  <a:pt x="957495" y="941172"/>
                </a:moveTo>
                <a:cubicBezTo>
                  <a:pt x="963794" y="939469"/>
                  <a:pt x="964827" y="946749"/>
                  <a:pt x="962348" y="948917"/>
                </a:cubicBezTo>
                <a:cubicBezTo>
                  <a:pt x="959044" y="948917"/>
                  <a:pt x="956876" y="946129"/>
                  <a:pt x="956876" y="943496"/>
                </a:cubicBezTo>
                <a:cubicBezTo>
                  <a:pt x="956772" y="942721"/>
                  <a:pt x="957082" y="941792"/>
                  <a:pt x="957495" y="941172"/>
                </a:cubicBezTo>
                <a:close/>
                <a:moveTo>
                  <a:pt x="1333658" y="941017"/>
                </a:moveTo>
                <a:cubicBezTo>
                  <a:pt x="1333864" y="944116"/>
                  <a:pt x="1336136" y="945355"/>
                  <a:pt x="1335413" y="950156"/>
                </a:cubicBezTo>
                <a:cubicBezTo>
                  <a:pt x="1319615" y="953254"/>
                  <a:pt x="1305778" y="960070"/>
                  <a:pt x="1292665" y="962238"/>
                </a:cubicBezTo>
                <a:cubicBezTo>
                  <a:pt x="1300719" y="949692"/>
                  <a:pt x="1318789" y="946594"/>
                  <a:pt x="1333658" y="941017"/>
                </a:cubicBezTo>
                <a:close/>
                <a:moveTo>
                  <a:pt x="3443101" y="940824"/>
                </a:moveTo>
                <a:cubicBezTo>
                  <a:pt x="3450357" y="945946"/>
                  <a:pt x="3451210" y="965152"/>
                  <a:pt x="3447796" y="968567"/>
                </a:cubicBezTo>
                <a:lnTo>
                  <a:pt x="3445022" y="963160"/>
                </a:lnTo>
                <a:lnTo>
                  <a:pt x="3445235" y="965152"/>
                </a:lnTo>
                <a:cubicBezTo>
                  <a:pt x="3445875" y="966148"/>
                  <a:pt x="3442887" y="969705"/>
                  <a:pt x="3441180" y="969278"/>
                </a:cubicBezTo>
                <a:cubicBezTo>
                  <a:pt x="3437125" y="968993"/>
                  <a:pt x="3436911" y="964726"/>
                  <a:pt x="3435204" y="960031"/>
                </a:cubicBezTo>
                <a:cubicBezTo>
                  <a:pt x="3436698" y="960457"/>
                  <a:pt x="3437125" y="958892"/>
                  <a:pt x="3437338" y="957185"/>
                </a:cubicBezTo>
                <a:cubicBezTo>
                  <a:pt x="3438619" y="957612"/>
                  <a:pt x="3440113" y="957897"/>
                  <a:pt x="3441607" y="958466"/>
                </a:cubicBezTo>
                <a:lnTo>
                  <a:pt x="3443741" y="960315"/>
                </a:lnTo>
                <a:lnTo>
                  <a:pt x="3441393" y="955051"/>
                </a:lnTo>
                <a:cubicBezTo>
                  <a:pt x="3443527" y="951636"/>
                  <a:pt x="3439899" y="945519"/>
                  <a:pt x="3443101" y="940824"/>
                </a:cubicBezTo>
                <a:close/>
                <a:moveTo>
                  <a:pt x="1527470" y="939778"/>
                </a:moveTo>
                <a:cubicBezTo>
                  <a:pt x="1538725" y="937300"/>
                  <a:pt x="1533871" y="947988"/>
                  <a:pt x="1533562" y="953874"/>
                </a:cubicBezTo>
                <a:cubicBezTo>
                  <a:pt x="1529844" y="954649"/>
                  <a:pt x="1528605" y="954494"/>
                  <a:pt x="1524888" y="952944"/>
                </a:cubicBezTo>
                <a:cubicBezTo>
                  <a:pt x="1524578" y="951706"/>
                  <a:pt x="1524372" y="950466"/>
                  <a:pt x="1524372" y="949227"/>
                </a:cubicBezTo>
                <a:cubicBezTo>
                  <a:pt x="1524372" y="947988"/>
                  <a:pt x="1524578" y="946904"/>
                  <a:pt x="1524888" y="945819"/>
                </a:cubicBezTo>
                <a:cubicBezTo>
                  <a:pt x="1525404" y="943651"/>
                  <a:pt x="1526437" y="941637"/>
                  <a:pt x="1527470" y="939778"/>
                </a:cubicBezTo>
                <a:close/>
                <a:moveTo>
                  <a:pt x="1125183" y="939313"/>
                </a:moveTo>
                <a:cubicBezTo>
                  <a:pt x="1126732" y="944270"/>
                  <a:pt x="1129417" y="949692"/>
                  <a:pt x="1123841" y="951860"/>
                </a:cubicBezTo>
                <a:cubicBezTo>
                  <a:pt x="1119917" y="950931"/>
                  <a:pt x="1118059" y="948607"/>
                  <a:pt x="1117646" y="946129"/>
                </a:cubicBezTo>
                <a:cubicBezTo>
                  <a:pt x="1117232" y="943805"/>
                  <a:pt x="1118265" y="941172"/>
                  <a:pt x="1120227" y="939778"/>
                </a:cubicBezTo>
                <a:cubicBezTo>
                  <a:pt x="1121466" y="939004"/>
                  <a:pt x="1123222" y="938694"/>
                  <a:pt x="1125183" y="939313"/>
                </a:cubicBezTo>
                <a:close/>
                <a:moveTo>
                  <a:pt x="1428757" y="937145"/>
                </a:moveTo>
                <a:cubicBezTo>
                  <a:pt x="1430822" y="936681"/>
                  <a:pt x="1433610" y="936835"/>
                  <a:pt x="1436914" y="938229"/>
                </a:cubicBezTo>
                <a:cubicBezTo>
                  <a:pt x="1439598" y="941792"/>
                  <a:pt x="1437637" y="949072"/>
                  <a:pt x="1434126" y="949537"/>
                </a:cubicBezTo>
                <a:cubicBezTo>
                  <a:pt x="1428240" y="948298"/>
                  <a:pt x="1425349" y="945664"/>
                  <a:pt x="1424627" y="943031"/>
                </a:cubicBezTo>
                <a:cubicBezTo>
                  <a:pt x="1424007" y="940398"/>
                  <a:pt x="1425556" y="937919"/>
                  <a:pt x="1428757" y="937145"/>
                </a:cubicBezTo>
                <a:close/>
                <a:moveTo>
                  <a:pt x="3893630" y="934280"/>
                </a:moveTo>
                <a:cubicBezTo>
                  <a:pt x="3894270" y="934138"/>
                  <a:pt x="3895124" y="934565"/>
                  <a:pt x="3896191" y="935703"/>
                </a:cubicBezTo>
                <a:cubicBezTo>
                  <a:pt x="3897258" y="936414"/>
                  <a:pt x="3897685" y="936983"/>
                  <a:pt x="3897685" y="937837"/>
                </a:cubicBezTo>
                <a:cubicBezTo>
                  <a:pt x="3897471" y="938832"/>
                  <a:pt x="3896831" y="939970"/>
                  <a:pt x="3895551" y="941820"/>
                </a:cubicBezTo>
                <a:cubicBezTo>
                  <a:pt x="3892990" y="944097"/>
                  <a:pt x="3891496" y="946657"/>
                  <a:pt x="3890428" y="946515"/>
                </a:cubicBezTo>
                <a:cubicBezTo>
                  <a:pt x="3890215" y="947796"/>
                  <a:pt x="3889148" y="949076"/>
                  <a:pt x="3888935" y="950214"/>
                </a:cubicBezTo>
                <a:cubicBezTo>
                  <a:pt x="3888935" y="950214"/>
                  <a:pt x="3888935" y="950214"/>
                  <a:pt x="3887867" y="950214"/>
                </a:cubicBezTo>
                <a:cubicBezTo>
                  <a:pt x="3889362" y="945377"/>
                  <a:pt x="3888935" y="939259"/>
                  <a:pt x="3891496" y="935703"/>
                </a:cubicBezTo>
                <a:cubicBezTo>
                  <a:pt x="3892136" y="934991"/>
                  <a:pt x="3892776" y="934422"/>
                  <a:pt x="3893630" y="934280"/>
                </a:cubicBezTo>
                <a:close/>
                <a:moveTo>
                  <a:pt x="3379501" y="933711"/>
                </a:moveTo>
                <a:cubicBezTo>
                  <a:pt x="3386758" y="941109"/>
                  <a:pt x="3395081" y="948649"/>
                  <a:pt x="3391880" y="955620"/>
                </a:cubicBezTo>
                <a:lnTo>
                  <a:pt x="3394228" y="959177"/>
                </a:lnTo>
                <a:cubicBezTo>
                  <a:pt x="3393160" y="961596"/>
                  <a:pt x="3393160" y="961596"/>
                  <a:pt x="3391880" y="961454"/>
                </a:cubicBezTo>
                <a:lnTo>
                  <a:pt x="3393801" y="963587"/>
                </a:lnTo>
                <a:lnTo>
                  <a:pt x="3395722" y="957897"/>
                </a:lnTo>
                <a:lnTo>
                  <a:pt x="3398282" y="955478"/>
                </a:lnTo>
                <a:lnTo>
                  <a:pt x="3398069" y="954340"/>
                </a:lnTo>
                <a:cubicBezTo>
                  <a:pt x="3397856" y="949645"/>
                  <a:pt x="3398496" y="945092"/>
                  <a:pt x="3399990" y="940682"/>
                </a:cubicBezTo>
                <a:cubicBezTo>
                  <a:pt x="3402764" y="940824"/>
                  <a:pt x="3405538" y="941536"/>
                  <a:pt x="3408100" y="942532"/>
                </a:cubicBezTo>
                <a:lnTo>
                  <a:pt x="3412155" y="944239"/>
                </a:lnTo>
                <a:lnTo>
                  <a:pt x="3413862" y="939402"/>
                </a:lnTo>
                <a:cubicBezTo>
                  <a:pt x="3415143" y="937837"/>
                  <a:pt x="3416850" y="936983"/>
                  <a:pt x="3418771" y="936699"/>
                </a:cubicBezTo>
                <a:cubicBezTo>
                  <a:pt x="3420052" y="938264"/>
                  <a:pt x="3420692" y="939829"/>
                  <a:pt x="3420692" y="941394"/>
                </a:cubicBezTo>
                <a:cubicBezTo>
                  <a:pt x="3420692" y="943812"/>
                  <a:pt x="3419624" y="945804"/>
                  <a:pt x="3417917" y="946942"/>
                </a:cubicBezTo>
                <a:lnTo>
                  <a:pt x="3417490" y="947084"/>
                </a:lnTo>
                <a:lnTo>
                  <a:pt x="3426240" y="952348"/>
                </a:lnTo>
                <a:lnTo>
                  <a:pt x="3429869" y="948649"/>
                </a:lnTo>
                <a:cubicBezTo>
                  <a:pt x="3431576" y="947369"/>
                  <a:pt x="3433710" y="946800"/>
                  <a:pt x="3436271" y="946800"/>
                </a:cubicBezTo>
                <a:cubicBezTo>
                  <a:pt x="3436485" y="958608"/>
                  <a:pt x="3428801" y="960884"/>
                  <a:pt x="3422185" y="964014"/>
                </a:cubicBezTo>
                <a:cubicBezTo>
                  <a:pt x="3421972" y="962734"/>
                  <a:pt x="3421972" y="961027"/>
                  <a:pt x="3422612" y="959177"/>
                </a:cubicBezTo>
                <a:lnTo>
                  <a:pt x="3423893" y="955905"/>
                </a:lnTo>
                <a:lnTo>
                  <a:pt x="3422826" y="956332"/>
                </a:lnTo>
                <a:cubicBezTo>
                  <a:pt x="3420478" y="956616"/>
                  <a:pt x="3418344" y="956759"/>
                  <a:pt x="3415997" y="957185"/>
                </a:cubicBezTo>
                <a:lnTo>
                  <a:pt x="3410661" y="959604"/>
                </a:lnTo>
                <a:lnTo>
                  <a:pt x="3414289" y="973404"/>
                </a:lnTo>
                <a:lnTo>
                  <a:pt x="3413649" y="982367"/>
                </a:lnTo>
                <a:lnTo>
                  <a:pt x="3417064" y="981940"/>
                </a:lnTo>
                <a:cubicBezTo>
                  <a:pt x="3422612" y="983078"/>
                  <a:pt x="3428801" y="986919"/>
                  <a:pt x="3434137" y="994175"/>
                </a:cubicBezTo>
                <a:cubicBezTo>
                  <a:pt x="3434351" y="997020"/>
                  <a:pt x="3433497" y="1000008"/>
                  <a:pt x="3432003" y="1002996"/>
                </a:cubicBezTo>
                <a:cubicBezTo>
                  <a:pt x="3427521" y="1011674"/>
                  <a:pt x="3417277" y="1019357"/>
                  <a:pt x="3410661" y="1017222"/>
                </a:cubicBezTo>
                <a:cubicBezTo>
                  <a:pt x="3404898" y="1012385"/>
                  <a:pt x="3401271" y="1007691"/>
                  <a:pt x="3399563" y="1003138"/>
                </a:cubicBezTo>
                <a:lnTo>
                  <a:pt x="3398923" y="991757"/>
                </a:lnTo>
                <a:lnTo>
                  <a:pt x="3393160" y="986066"/>
                </a:lnTo>
                <a:lnTo>
                  <a:pt x="3389746" y="986919"/>
                </a:lnTo>
                <a:cubicBezTo>
                  <a:pt x="3387825" y="986635"/>
                  <a:pt x="3385904" y="985497"/>
                  <a:pt x="3384624" y="983647"/>
                </a:cubicBezTo>
                <a:lnTo>
                  <a:pt x="3385051" y="982367"/>
                </a:lnTo>
                <a:lnTo>
                  <a:pt x="3383557" y="982224"/>
                </a:lnTo>
                <a:cubicBezTo>
                  <a:pt x="3382276" y="981798"/>
                  <a:pt x="3381209" y="981086"/>
                  <a:pt x="3379928" y="979948"/>
                </a:cubicBezTo>
                <a:cubicBezTo>
                  <a:pt x="3376301" y="976249"/>
                  <a:pt x="3373526" y="967713"/>
                  <a:pt x="3376941" y="964299"/>
                </a:cubicBezTo>
                <a:cubicBezTo>
                  <a:pt x="3380142" y="959746"/>
                  <a:pt x="3383557" y="958750"/>
                  <a:pt x="3387184" y="958892"/>
                </a:cubicBezTo>
                <a:cubicBezTo>
                  <a:pt x="3387184" y="958892"/>
                  <a:pt x="3387184" y="958892"/>
                  <a:pt x="3385904" y="958892"/>
                </a:cubicBezTo>
                <a:cubicBezTo>
                  <a:pt x="3380996" y="953913"/>
                  <a:pt x="3372672" y="945235"/>
                  <a:pt x="3373526" y="941678"/>
                </a:cubicBezTo>
                <a:cubicBezTo>
                  <a:pt x="3374806" y="941678"/>
                  <a:pt x="3375873" y="941820"/>
                  <a:pt x="3377154" y="942959"/>
                </a:cubicBezTo>
                <a:cubicBezTo>
                  <a:pt x="3378434" y="944239"/>
                  <a:pt x="3377154" y="944239"/>
                  <a:pt x="3378221" y="944239"/>
                </a:cubicBezTo>
                <a:lnTo>
                  <a:pt x="3378648" y="944381"/>
                </a:lnTo>
                <a:lnTo>
                  <a:pt x="3376301" y="940682"/>
                </a:lnTo>
                <a:cubicBezTo>
                  <a:pt x="3378434" y="938405"/>
                  <a:pt x="3377154" y="935987"/>
                  <a:pt x="3379501" y="933711"/>
                </a:cubicBezTo>
                <a:close/>
                <a:moveTo>
                  <a:pt x="4827341" y="932003"/>
                </a:moveTo>
                <a:cubicBezTo>
                  <a:pt x="4827981" y="932431"/>
                  <a:pt x="4828622" y="933284"/>
                  <a:pt x="4829903" y="933853"/>
                </a:cubicBezTo>
                <a:lnTo>
                  <a:pt x="4826060" y="937268"/>
                </a:lnTo>
                <a:cubicBezTo>
                  <a:pt x="4824993" y="936130"/>
                  <a:pt x="4823927" y="933853"/>
                  <a:pt x="4825207" y="932715"/>
                </a:cubicBezTo>
                <a:cubicBezTo>
                  <a:pt x="4826060" y="931577"/>
                  <a:pt x="4826488" y="931577"/>
                  <a:pt x="4827341" y="932003"/>
                </a:cubicBezTo>
                <a:close/>
                <a:moveTo>
                  <a:pt x="1043404" y="931878"/>
                </a:moveTo>
                <a:cubicBezTo>
                  <a:pt x="1043817" y="931724"/>
                  <a:pt x="1044230" y="931878"/>
                  <a:pt x="1044230" y="931878"/>
                </a:cubicBezTo>
                <a:cubicBezTo>
                  <a:pt x="1045986" y="932808"/>
                  <a:pt x="1045160" y="935286"/>
                  <a:pt x="1045056" y="936835"/>
                </a:cubicBezTo>
                <a:cubicBezTo>
                  <a:pt x="1046812" y="937919"/>
                  <a:pt x="1043301" y="939933"/>
                  <a:pt x="1045056" y="941017"/>
                </a:cubicBezTo>
                <a:cubicBezTo>
                  <a:pt x="1041442" y="943961"/>
                  <a:pt x="1045779" y="948607"/>
                  <a:pt x="1041339" y="953874"/>
                </a:cubicBezTo>
                <a:cubicBezTo>
                  <a:pt x="1040617" y="951706"/>
                  <a:pt x="1040410" y="949846"/>
                  <a:pt x="1040410" y="947988"/>
                </a:cubicBezTo>
                <a:cubicBezTo>
                  <a:pt x="1040306" y="942721"/>
                  <a:pt x="1041959" y="938694"/>
                  <a:pt x="1040720" y="934822"/>
                </a:cubicBezTo>
                <a:cubicBezTo>
                  <a:pt x="1040720" y="934822"/>
                  <a:pt x="1040720" y="934822"/>
                  <a:pt x="1042475" y="933272"/>
                </a:cubicBezTo>
                <a:cubicBezTo>
                  <a:pt x="1042578" y="932498"/>
                  <a:pt x="1042475" y="932498"/>
                  <a:pt x="1042475" y="932498"/>
                </a:cubicBezTo>
                <a:cubicBezTo>
                  <a:pt x="1042475" y="932034"/>
                  <a:pt x="1042991" y="931878"/>
                  <a:pt x="1043404" y="931878"/>
                </a:cubicBezTo>
                <a:close/>
                <a:moveTo>
                  <a:pt x="4813896" y="931434"/>
                </a:moveTo>
                <a:cubicBezTo>
                  <a:pt x="4815603" y="932715"/>
                  <a:pt x="4816884" y="934138"/>
                  <a:pt x="4817097" y="935845"/>
                </a:cubicBezTo>
                <a:cubicBezTo>
                  <a:pt x="4817524" y="937410"/>
                  <a:pt x="4817097" y="939117"/>
                  <a:pt x="4815176" y="940824"/>
                </a:cubicBezTo>
                <a:cubicBezTo>
                  <a:pt x="4813896" y="942105"/>
                  <a:pt x="4812615" y="943243"/>
                  <a:pt x="4812829" y="942105"/>
                </a:cubicBezTo>
                <a:cubicBezTo>
                  <a:pt x="4811761" y="941962"/>
                  <a:pt x="4811761" y="940824"/>
                  <a:pt x="4810694" y="939687"/>
                </a:cubicBezTo>
                <a:cubicBezTo>
                  <a:pt x="4809841" y="937268"/>
                  <a:pt x="4810268" y="933711"/>
                  <a:pt x="4811548" y="932573"/>
                </a:cubicBezTo>
                <a:cubicBezTo>
                  <a:pt x="4812829" y="931434"/>
                  <a:pt x="4813896" y="931434"/>
                  <a:pt x="4813896" y="931434"/>
                </a:cubicBezTo>
                <a:close/>
                <a:moveTo>
                  <a:pt x="3332549" y="931008"/>
                </a:moveTo>
                <a:cubicBezTo>
                  <a:pt x="3334684" y="932715"/>
                  <a:pt x="3337031" y="932003"/>
                  <a:pt x="3338738" y="936130"/>
                </a:cubicBezTo>
                <a:cubicBezTo>
                  <a:pt x="3336177" y="937837"/>
                  <a:pt x="3333830" y="938548"/>
                  <a:pt x="3331269" y="940397"/>
                </a:cubicBezTo>
                <a:cubicBezTo>
                  <a:pt x="3327214" y="936983"/>
                  <a:pt x="3329988" y="933995"/>
                  <a:pt x="3332549" y="931008"/>
                </a:cubicBezTo>
                <a:close/>
                <a:moveTo>
                  <a:pt x="1452712" y="930020"/>
                </a:moveTo>
                <a:cubicBezTo>
                  <a:pt x="1454054" y="929400"/>
                  <a:pt x="1455087" y="929555"/>
                  <a:pt x="1455809" y="930174"/>
                </a:cubicBezTo>
                <a:cubicBezTo>
                  <a:pt x="1456429" y="930794"/>
                  <a:pt x="1456945" y="931724"/>
                  <a:pt x="1457255" y="932808"/>
                </a:cubicBezTo>
                <a:cubicBezTo>
                  <a:pt x="1457875" y="935286"/>
                  <a:pt x="1456326" y="936061"/>
                  <a:pt x="1456326" y="936061"/>
                </a:cubicBezTo>
                <a:cubicBezTo>
                  <a:pt x="1453435" y="937145"/>
                  <a:pt x="1450750" y="936371"/>
                  <a:pt x="1449304" y="933582"/>
                </a:cubicBezTo>
                <a:cubicBezTo>
                  <a:pt x="1449408" y="931724"/>
                  <a:pt x="1451060" y="930794"/>
                  <a:pt x="1452712" y="930020"/>
                </a:cubicBezTo>
                <a:close/>
                <a:moveTo>
                  <a:pt x="1285230" y="929865"/>
                </a:moveTo>
                <a:lnTo>
                  <a:pt x="1286573" y="931569"/>
                </a:lnTo>
                <a:lnTo>
                  <a:pt x="1287296" y="931259"/>
                </a:lnTo>
                <a:lnTo>
                  <a:pt x="1290083" y="931569"/>
                </a:lnTo>
                <a:lnTo>
                  <a:pt x="1290290" y="931259"/>
                </a:lnTo>
                <a:cubicBezTo>
                  <a:pt x="1290290" y="931259"/>
                  <a:pt x="1294833" y="927696"/>
                  <a:pt x="1298964" y="930949"/>
                </a:cubicBezTo>
                <a:cubicBezTo>
                  <a:pt x="1298034" y="931878"/>
                  <a:pt x="1303094" y="936681"/>
                  <a:pt x="1301132" y="940088"/>
                </a:cubicBezTo>
                <a:cubicBezTo>
                  <a:pt x="1300203" y="941792"/>
                  <a:pt x="1299376" y="942721"/>
                  <a:pt x="1298447" y="944425"/>
                </a:cubicBezTo>
                <a:lnTo>
                  <a:pt x="1295969" y="945045"/>
                </a:lnTo>
                <a:lnTo>
                  <a:pt x="1294110" y="949846"/>
                </a:lnTo>
                <a:cubicBezTo>
                  <a:pt x="1293284" y="950776"/>
                  <a:pt x="1289980" y="952944"/>
                  <a:pt x="1289051" y="952170"/>
                </a:cubicBezTo>
                <a:cubicBezTo>
                  <a:pt x="1288122" y="951395"/>
                  <a:pt x="1288018" y="950621"/>
                  <a:pt x="1288018" y="949846"/>
                </a:cubicBezTo>
                <a:lnTo>
                  <a:pt x="1290187" y="944890"/>
                </a:lnTo>
                <a:lnTo>
                  <a:pt x="1288018" y="944116"/>
                </a:lnTo>
                <a:cubicBezTo>
                  <a:pt x="1286779" y="943031"/>
                  <a:pt x="1286057" y="941947"/>
                  <a:pt x="1285850" y="941017"/>
                </a:cubicBezTo>
                <a:lnTo>
                  <a:pt x="1285850" y="939778"/>
                </a:lnTo>
                <a:lnTo>
                  <a:pt x="1284817" y="939933"/>
                </a:lnTo>
                <a:lnTo>
                  <a:pt x="1283578" y="937455"/>
                </a:lnTo>
                <a:lnTo>
                  <a:pt x="1281926" y="936371"/>
                </a:lnTo>
                <a:cubicBezTo>
                  <a:pt x="1281616" y="935131"/>
                  <a:pt x="1281410" y="934357"/>
                  <a:pt x="1281513" y="933738"/>
                </a:cubicBezTo>
                <a:cubicBezTo>
                  <a:pt x="1281720" y="933118"/>
                  <a:pt x="1282339" y="932808"/>
                  <a:pt x="1283682" y="932343"/>
                </a:cubicBezTo>
                <a:lnTo>
                  <a:pt x="1284095" y="932188"/>
                </a:lnTo>
                <a:lnTo>
                  <a:pt x="1283475" y="930794"/>
                </a:lnTo>
                <a:cubicBezTo>
                  <a:pt x="1284404" y="930794"/>
                  <a:pt x="1285230" y="930639"/>
                  <a:pt x="1285230" y="929865"/>
                </a:cubicBezTo>
                <a:close/>
                <a:moveTo>
                  <a:pt x="1490813" y="929091"/>
                </a:moveTo>
                <a:cubicBezTo>
                  <a:pt x="1492156" y="930794"/>
                  <a:pt x="1492672" y="932653"/>
                  <a:pt x="1493911" y="934357"/>
                </a:cubicBezTo>
                <a:cubicBezTo>
                  <a:pt x="1491536" y="937455"/>
                  <a:pt x="1489368" y="935441"/>
                  <a:pt x="1487200" y="933582"/>
                </a:cubicBezTo>
                <a:cubicBezTo>
                  <a:pt x="1488438" y="932034"/>
                  <a:pt x="1487923" y="930330"/>
                  <a:pt x="1490813" y="929091"/>
                </a:cubicBezTo>
                <a:close/>
                <a:moveTo>
                  <a:pt x="3859269" y="924321"/>
                </a:moveTo>
                <a:cubicBezTo>
                  <a:pt x="3859056" y="925602"/>
                  <a:pt x="3860336" y="925602"/>
                  <a:pt x="3860123" y="926882"/>
                </a:cubicBezTo>
                <a:cubicBezTo>
                  <a:pt x="3860977" y="929301"/>
                  <a:pt x="3860977" y="929301"/>
                  <a:pt x="3859696" y="930581"/>
                </a:cubicBezTo>
                <a:cubicBezTo>
                  <a:pt x="3858415" y="931861"/>
                  <a:pt x="3855001" y="930581"/>
                  <a:pt x="3853720" y="931719"/>
                </a:cubicBezTo>
                <a:cubicBezTo>
                  <a:pt x="3853720" y="931719"/>
                  <a:pt x="3853720" y="931719"/>
                  <a:pt x="3852653" y="929301"/>
                </a:cubicBezTo>
                <a:cubicBezTo>
                  <a:pt x="3852866" y="928020"/>
                  <a:pt x="3853080" y="926739"/>
                  <a:pt x="3854361" y="925459"/>
                </a:cubicBezTo>
                <a:cubicBezTo>
                  <a:pt x="3855641" y="924321"/>
                  <a:pt x="3857989" y="924321"/>
                  <a:pt x="3859269" y="924321"/>
                </a:cubicBezTo>
                <a:close/>
                <a:moveTo>
                  <a:pt x="1451473" y="923359"/>
                </a:moveTo>
                <a:cubicBezTo>
                  <a:pt x="1449511" y="926767"/>
                  <a:pt x="1448582" y="929400"/>
                  <a:pt x="1446620" y="932808"/>
                </a:cubicBezTo>
                <a:cubicBezTo>
                  <a:pt x="1445794" y="933582"/>
                  <a:pt x="1442180" y="935441"/>
                  <a:pt x="1441354" y="934667"/>
                </a:cubicBezTo>
                <a:cubicBezTo>
                  <a:pt x="1440528" y="933892"/>
                  <a:pt x="1440528" y="933118"/>
                  <a:pt x="1440631" y="932188"/>
                </a:cubicBezTo>
                <a:cubicBezTo>
                  <a:pt x="1441560" y="930484"/>
                  <a:pt x="1442490" y="928781"/>
                  <a:pt x="1443419" y="927077"/>
                </a:cubicBezTo>
                <a:cubicBezTo>
                  <a:pt x="1446207" y="924444"/>
                  <a:pt x="1448892" y="921810"/>
                  <a:pt x="1451473" y="923359"/>
                </a:cubicBezTo>
                <a:close/>
                <a:moveTo>
                  <a:pt x="3235230" y="922898"/>
                </a:moveTo>
                <a:cubicBezTo>
                  <a:pt x="3236723" y="924890"/>
                  <a:pt x="3240138" y="928589"/>
                  <a:pt x="3240779" y="931150"/>
                </a:cubicBezTo>
                <a:cubicBezTo>
                  <a:pt x="3240992" y="932003"/>
                  <a:pt x="3240779" y="932715"/>
                  <a:pt x="3240138" y="933284"/>
                </a:cubicBezTo>
                <a:cubicBezTo>
                  <a:pt x="3238004" y="930439"/>
                  <a:pt x="3233736" y="927451"/>
                  <a:pt x="3235230" y="922898"/>
                </a:cubicBezTo>
                <a:close/>
                <a:moveTo>
                  <a:pt x="4833957" y="921192"/>
                </a:moveTo>
                <a:cubicBezTo>
                  <a:pt x="4835664" y="921049"/>
                  <a:pt x="4837799" y="921476"/>
                  <a:pt x="4839933" y="923325"/>
                </a:cubicBezTo>
                <a:cubicBezTo>
                  <a:pt x="4840360" y="923894"/>
                  <a:pt x="4841214" y="925174"/>
                  <a:pt x="4841640" y="926171"/>
                </a:cubicBezTo>
                <a:cubicBezTo>
                  <a:pt x="4842067" y="927309"/>
                  <a:pt x="4842281" y="928163"/>
                  <a:pt x="4841640" y="928163"/>
                </a:cubicBezTo>
                <a:cubicBezTo>
                  <a:pt x="4840573" y="929301"/>
                  <a:pt x="4841640" y="929301"/>
                  <a:pt x="4841640" y="930581"/>
                </a:cubicBezTo>
                <a:cubicBezTo>
                  <a:pt x="4837799" y="934138"/>
                  <a:pt x="4834171" y="935276"/>
                  <a:pt x="4830969" y="932857"/>
                </a:cubicBezTo>
                <a:cubicBezTo>
                  <a:pt x="4829048" y="930296"/>
                  <a:pt x="4825847" y="926739"/>
                  <a:pt x="4828622" y="923041"/>
                </a:cubicBezTo>
                <a:cubicBezTo>
                  <a:pt x="4829689" y="923183"/>
                  <a:pt x="4829903" y="921902"/>
                  <a:pt x="4830969" y="921902"/>
                </a:cubicBezTo>
                <a:cubicBezTo>
                  <a:pt x="4830969" y="921902"/>
                  <a:pt x="4832250" y="921333"/>
                  <a:pt x="4833957" y="921192"/>
                </a:cubicBezTo>
                <a:close/>
                <a:moveTo>
                  <a:pt x="3591428" y="920764"/>
                </a:moveTo>
                <a:cubicBezTo>
                  <a:pt x="3593348" y="920907"/>
                  <a:pt x="3594628" y="921618"/>
                  <a:pt x="3594842" y="922756"/>
                </a:cubicBezTo>
                <a:cubicBezTo>
                  <a:pt x="3595269" y="923894"/>
                  <a:pt x="3595055" y="925317"/>
                  <a:pt x="3594628" y="927024"/>
                </a:cubicBezTo>
                <a:cubicBezTo>
                  <a:pt x="3593562" y="930296"/>
                  <a:pt x="3591001" y="930581"/>
                  <a:pt x="3591001" y="930581"/>
                </a:cubicBezTo>
                <a:lnTo>
                  <a:pt x="3586519" y="928731"/>
                </a:lnTo>
                <a:lnTo>
                  <a:pt x="3581610" y="937979"/>
                </a:lnTo>
                <a:cubicBezTo>
                  <a:pt x="3578195" y="943527"/>
                  <a:pt x="3574141" y="948365"/>
                  <a:pt x="3569445" y="950641"/>
                </a:cubicBezTo>
                <a:cubicBezTo>
                  <a:pt x="3563043" y="942247"/>
                  <a:pt x="3573500" y="931293"/>
                  <a:pt x="3582464" y="925459"/>
                </a:cubicBezTo>
                <a:lnTo>
                  <a:pt x="3585025" y="924179"/>
                </a:lnTo>
                <a:lnTo>
                  <a:pt x="3584812" y="923610"/>
                </a:lnTo>
                <a:cubicBezTo>
                  <a:pt x="3586305" y="921192"/>
                  <a:pt x="3588866" y="921049"/>
                  <a:pt x="3591428" y="920764"/>
                </a:cubicBezTo>
                <a:close/>
                <a:moveTo>
                  <a:pt x="3974089" y="919484"/>
                </a:moveTo>
                <a:cubicBezTo>
                  <a:pt x="3985827" y="918062"/>
                  <a:pt x="3989882" y="932573"/>
                  <a:pt x="3983906" y="937410"/>
                </a:cubicBezTo>
                <a:cubicBezTo>
                  <a:pt x="3981772" y="938975"/>
                  <a:pt x="3978571" y="939544"/>
                  <a:pt x="3974303" y="937979"/>
                </a:cubicBezTo>
                <a:cubicBezTo>
                  <a:pt x="3974943" y="929728"/>
                  <a:pt x="3970247" y="925602"/>
                  <a:pt x="3974089" y="919484"/>
                </a:cubicBezTo>
                <a:close/>
                <a:moveTo>
                  <a:pt x="3807835" y="918630"/>
                </a:moveTo>
                <a:cubicBezTo>
                  <a:pt x="3812103" y="929728"/>
                  <a:pt x="3804634" y="945661"/>
                  <a:pt x="3796951" y="949645"/>
                </a:cubicBezTo>
                <a:cubicBezTo>
                  <a:pt x="3792469" y="938405"/>
                  <a:pt x="3801432" y="924321"/>
                  <a:pt x="3807835" y="918630"/>
                </a:cubicBezTo>
                <a:close/>
                <a:moveTo>
                  <a:pt x="4471784" y="918062"/>
                </a:moveTo>
                <a:cubicBezTo>
                  <a:pt x="4472424" y="918062"/>
                  <a:pt x="4473064" y="918345"/>
                  <a:pt x="4474131" y="919200"/>
                </a:cubicBezTo>
                <a:cubicBezTo>
                  <a:pt x="4474985" y="921333"/>
                  <a:pt x="4474772" y="924037"/>
                  <a:pt x="4472424" y="927878"/>
                </a:cubicBezTo>
                <a:cubicBezTo>
                  <a:pt x="4466022" y="928447"/>
                  <a:pt x="4466022" y="924464"/>
                  <a:pt x="4465808" y="920764"/>
                </a:cubicBezTo>
                <a:cubicBezTo>
                  <a:pt x="4468796" y="921192"/>
                  <a:pt x="4469863" y="918203"/>
                  <a:pt x="4471784" y="918062"/>
                </a:cubicBezTo>
                <a:close/>
                <a:moveTo>
                  <a:pt x="1435262" y="917008"/>
                </a:moveTo>
                <a:cubicBezTo>
                  <a:pt x="1435159" y="917938"/>
                  <a:pt x="1435881" y="918867"/>
                  <a:pt x="1435778" y="919797"/>
                </a:cubicBezTo>
                <a:cubicBezTo>
                  <a:pt x="1433713" y="921345"/>
                  <a:pt x="1431441" y="919487"/>
                  <a:pt x="1431544" y="918558"/>
                </a:cubicBezTo>
                <a:cubicBezTo>
                  <a:pt x="1432577" y="917783"/>
                  <a:pt x="1434332" y="917938"/>
                  <a:pt x="1435262" y="917008"/>
                </a:cubicBezTo>
                <a:close/>
                <a:moveTo>
                  <a:pt x="3830031" y="916923"/>
                </a:moveTo>
                <a:cubicBezTo>
                  <a:pt x="3831098" y="916923"/>
                  <a:pt x="3832378" y="917777"/>
                  <a:pt x="3833872" y="918915"/>
                </a:cubicBezTo>
                <a:cubicBezTo>
                  <a:pt x="3836433" y="921192"/>
                  <a:pt x="3835580" y="923610"/>
                  <a:pt x="3835580" y="923610"/>
                </a:cubicBezTo>
                <a:cubicBezTo>
                  <a:pt x="3833872" y="927309"/>
                  <a:pt x="3830457" y="928589"/>
                  <a:pt x="3826616" y="926455"/>
                </a:cubicBezTo>
                <a:cubicBezTo>
                  <a:pt x="3825122" y="924179"/>
                  <a:pt x="3825976" y="921760"/>
                  <a:pt x="3826829" y="919342"/>
                </a:cubicBezTo>
                <a:cubicBezTo>
                  <a:pt x="3827683" y="917492"/>
                  <a:pt x="3828750" y="916781"/>
                  <a:pt x="3830031" y="916923"/>
                </a:cubicBezTo>
                <a:close/>
                <a:moveTo>
                  <a:pt x="1507851" y="915770"/>
                </a:moveTo>
                <a:cubicBezTo>
                  <a:pt x="1509400" y="915305"/>
                  <a:pt x="1511362" y="915150"/>
                  <a:pt x="1513736" y="915924"/>
                </a:cubicBezTo>
                <a:cubicBezTo>
                  <a:pt x="1519209" y="917473"/>
                  <a:pt x="1524681" y="920881"/>
                  <a:pt x="1522307" y="929245"/>
                </a:cubicBezTo>
                <a:cubicBezTo>
                  <a:pt x="1522307" y="931104"/>
                  <a:pt x="1521894" y="930330"/>
                  <a:pt x="1521481" y="931259"/>
                </a:cubicBezTo>
                <a:cubicBezTo>
                  <a:pt x="1521068" y="932343"/>
                  <a:pt x="1521068" y="934357"/>
                  <a:pt x="1521481" y="935131"/>
                </a:cubicBezTo>
                <a:cubicBezTo>
                  <a:pt x="1517144" y="934047"/>
                  <a:pt x="1516731" y="936835"/>
                  <a:pt x="1510123" y="934822"/>
                </a:cubicBezTo>
                <a:cubicBezTo>
                  <a:pt x="1503617" y="933118"/>
                  <a:pt x="1501346" y="929400"/>
                  <a:pt x="1501036" y="925838"/>
                </a:cubicBezTo>
                <a:cubicBezTo>
                  <a:pt x="1500829" y="924753"/>
                  <a:pt x="1500933" y="923514"/>
                  <a:pt x="1501139" y="922585"/>
                </a:cubicBezTo>
                <a:cubicBezTo>
                  <a:pt x="1502068" y="922894"/>
                  <a:pt x="1503204" y="917473"/>
                  <a:pt x="1507851" y="915770"/>
                </a:cubicBezTo>
                <a:close/>
                <a:moveTo>
                  <a:pt x="3465510" y="914078"/>
                </a:moveTo>
                <a:cubicBezTo>
                  <a:pt x="3468711" y="917919"/>
                  <a:pt x="3466150" y="920195"/>
                  <a:pt x="3463376" y="925033"/>
                </a:cubicBezTo>
                <a:cubicBezTo>
                  <a:pt x="3462309" y="923894"/>
                  <a:pt x="3458467" y="927451"/>
                  <a:pt x="3457186" y="928589"/>
                </a:cubicBezTo>
                <a:cubicBezTo>
                  <a:pt x="3455052" y="926171"/>
                  <a:pt x="3450143" y="929728"/>
                  <a:pt x="3446942" y="926029"/>
                </a:cubicBezTo>
                <a:cubicBezTo>
                  <a:pt x="3447156" y="923610"/>
                  <a:pt x="3447369" y="922472"/>
                  <a:pt x="3448863" y="920053"/>
                </a:cubicBezTo>
                <a:cubicBezTo>
                  <a:pt x="3458894" y="911659"/>
                  <a:pt x="3464229" y="915358"/>
                  <a:pt x="3465510" y="914078"/>
                </a:cubicBezTo>
                <a:close/>
                <a:moveTo>
                  <a:pt x="1285024" y="911742"/>
                </a:moveTo>
                <a:cubicBezTo>
                  <a:pt x="1286883" y="913911"/>
                  <a:pt x="1282959" y="921036"/>
                  <a:pt x="1280584" y="923824"/>
                </a:cubicBezTo>
                <a:cubicBezTo>
                  <a:pt x="1280171" y="923359"/>
                  <a:pt x="1279964" y="922430"/>
                  <a:pt x="1280171" y="921345"/>
                </a:cubicBezTo>
                <a:cubicBezTo>
                  <a:pt x="1280584" y="918403"/>
                  <a:pt x="1283269" y="913756"/>
                  <a:pt x="1285024" y="911742"/>
                </a:cubicBezTo>
                <a:close/>
                <a:moveTo>
                  <a:pt x="1256628" y="911742"/>
                </a:moveTo>
                <a:cubicBezTo>
                  <a:pt x="1258487" y="914220"/>
                  <a:pt x="1258487" y="918403"/>
                  <a:pt x="1254563" y="921501"/>
                </a:cubicBezTo>
                <a:cubicBezTo>
                  <a:pt x="1250949" y="921191"/>
                  <a:pt x="1248678" y="919951"/>
                  <a:pt x="1247026" y="919177"/>
                </a:cubicBezTo>
                <a:cubicBezTo>
                  <a:pt x="1247335" y="916854"/>
                  <a:pt x="1247026" y="914995"/>
                  <a:pt x="1247335" y="912671"/>
                </a:cubicBezTo>
                <a:cubicBezTo>
                  <a:pt x="1251053" y="908799"/>
                  <a:pt x="1254770" y="909418"/>
                  <a:pt x="1256628" y="911742"/>
                </a:cubicBezTo>
                <a:close/>
                <a:moveTo>
                  <a:pt x="1373102" y="910658"/>
                </a:moveTo>
                <a:cubicBezTo>
                  <a:pt x="1374650" y="911587"/>
                  <a:pt x="1376612" y="911897"/>
                  <a:pt x="1378058" y="912826"/>
                </a:cubicBezTo>
                <a:cubicBezTo>
                  <a:pt x="1381465" y="920726"/>
                  <a:pt x="1378368" y="920726"/>
                  <a:pt x="1374340" y="921965"/>
                </a:cubicBezTo>
                <a:cubicBezTo>
                  <a:pt x="1373308" y="920261"/>
                  <a:pt x="1370624" y="919641"/>
                  <a:pt x="1370004" y="917318"/>
                </a:cubicBezTo>
                <a:cubicBezTo>
                  <a:pt x="1370004" y="917318"/>
                  <a:pt x="1369900" y="917008"/>
                  <a:pt x="1369900" y="916544"/>
                </a:cubicBezTo>
                <a:cubicBezTo>
                  <a:pt x="1369900" y="916079"/>
                  <a:pt x="1370107" y="915305"/>
                  <a:pt x="1370520" y="914685"/>
                </a:cubicBezTo>
                <a:cubicBezTo>
                  <a:pt x="1370313" y="911742"/>
                  <a:pt x="1373928" y="911122"/>
                  <a:pt x="1373928" y="911122"/>
                </a:cubicBezTo>
                <a:cubicBezTo>
                  <a:pt x="1373928" y="911122"/>
                  <a:pt x="1373824" y="911122"/>
                  <a:pt x="1373102" y="910658"/>
                </a:cubicBezTo>
                <a:close/>
                <a:moveTo>
                  <a:pt x="3305232" y="909809"/>
                </a:moveTo>
                <a:cubicBezTo>
                  <a:pt x="3306939" y="909952"/>
                  <a:pt x="3308433" y="910236"/>
                  <a:pt x="3309713" y="910379"/>
                </a:cubicBezTo>
                <a:cubicBezTo>
                  <a:pt x="3310780" y="913793"/>
                  <a:pt x="3312274" y="916070"/>
                  <a:pt x="3313128" y="919342"/>
                </a:cubicBezTo>
                <a:lnTo>
                  <a:pt x="3312915" y="919769"/>
                </a:lnTo>
                <a:lnTo>
                  <a:pt x="3313128" y="919910"/>
                </a:lnTo>
                <a:cubicBezTo>
                  <a:pt x="3314622" y="921476"/>
                  <a:pt x="3315263" y="922756"/>
                  <a:pt x="3315049" y="924037"/>
                </a:cubicBezTo>
                <a:cubicBezTo>
                  <a:pt x="3314835" y="925459"/>
                  <a:pt x="3313768" y="926739"/>
                  <a:pt x="3312488" y="928447"/>
                </a:cubicBezTo>
                <a:cubicBezTo>
                  <a:pt x="3309927" y="931719"/>
                  <a:pt x="3306512" y="929869"/>
                  <a:pt x="3304164" y="932003"/>
                </a:cubicBezTo>
                <a:cubicBezTo>
                  <a:pt x="3303524" y="930723"/>
                  <a:pt x="3302884" y="929016"/>
                  <a:pt x="3302671" y="927166"/>
                </a:cubicBezTo>
                <a:lnTo>
                  <a:pt x="3303737" y="924179"/>
                </a:lnTo>
                <a:lnTo>
                  <a:pt x="3302030" y="923894"/>
                </a:lnTo>
                <a:cubicBezTo>
                  <a:pt x="3298402" y="921333"/>
                  <a:pt x="3295841" y="915500"/>
                  <a:pt x="3298829" y="910094"/>
                </a:cubicBezTo>
                <a:cubicBezTo>
                  <a:pt x="3301177" y="909526"/>
                  <a:pt x="3303311" y="909667"/>
                  <a:pt x="3305232" y="909809"/>
                </a:cubicBezTo>
                <a:close/>
                <a:moveTo>
                  <a:pt x="1210989" y="908489"/>
                </a:moveTo>
                <a:cubicBezTo>
                  <a:pt x="1219663" y="907405"/>
                  <a:pt x="1231950" y="923049"/>
                  <a:pt x="1225135" y="930330"/>
                </a:cubicBezTo>
                <a:cubicBezTo>
                  <a:pt x="1220902" y="921965"/>
                  <a:pt x="1213880" y="919177"/>
                  <a:pt x="1210989" y="908489"/>
                </a:cubicBezTo>
                <a:close/>
                <a:moveTo>
                  <a:pt x="3139831" y="907676"/>
                </a:moveTo>
                <a:lnTo>
                  <a:pt x="3140471" y="909809"/>
                </a:lnTo>
                <a:lnTo>
                  <a:pt x="3139191" y="912655"/>
                </a:lnTo>
                <a:lnTo>
                  <a:pt x="3141752" y="913651"/>
                </a:lnTo>
                <a:cubicBezTo>
                  <a:pt x="3142606" y="912371"/>
                  <a:pt x="3142179" y="911233"/>
                  <a:pt x="3141539" y="910094"/>
                </a:cubicBezTo>
                <a:close/>
                <a:moveTo>
                  <a:pt x="3548317" y="907534"/>
                </a:moveTo>
                <a:cubicBezTo>
                  <a:pt x="3549811" y="919200"/>
                  <a:pt x="3527615" y="939544"/>
                  <a:pt x="3517798" y="931861"/>
                </a:cubicBezTo>
                <a:lnTo>
                  <a:pt x="3522066" y="927878"/>
                </a:lnTo>
                <a:lnTo>
                  <a:pt x="3521426" y="928020"/>
                </a:lnTo>
                <a:cubicBezTo>
                  <a:pt x="3516303" y="922045"/>
                  <a:pt x="3518224" y="917635"/>
                  <a:pt x="3524627" y="914362"/>
                </a:cubicBezTo>
                <a:cubicBezTo>
                  <a:pt x="3526761" y="916070"/>
                  <a:pt x="3528895" y="916497"/>
                  <a:pt x="3532310" y="918488"/>
                </a:cubicBezTo>
                <a:lnTo>
                  <a:pt x="3531883" y="919057"/>
                </a:lnTo>
                <a:lnTo>
                  <a:pt x="3538926" y="912797"/>
                </a:lnTo>
                <a:cubicBezTo>
                  <a:pt x="3541701" y="910806"/>
                  <a:pt x="3544688" y="909098"/>
                  <a:pt x="3548317" y="907534"/>
                </a:cubicBezTo>
                <a:close/>
                <a:moveTo>
                  <a:pt x="1310941" y="907095"/>
                </a:moveTo>
                <a:cubicBezTo>
                  <a:pt x="1312903" y="907095"/>
                  <a:pt x="1311974" y="910503"/>
                  <a:pt x="1312490" y="911277"/>
                </a:cubicBezTo>
                <a:cubicBezTo>
                  <a:pt x="1312180" y="912362"/>
                  <a:pt x="1311974" y="913446"/>
                  <a:pt x="1310735" y="913136"/>
                </a:cubicBezTo>
                <a:cubicBezTo>
                  <a:pt x="1309496" y="912826"/>
                  <a:pt x="1308773" y="913136"/>
                  <a:pt x="1308566" y="911277"/>
                </a:cubicBezTo>
                <a:cubicBezTo>
                  <a:pt x="1308153" y="910503"/>
                  <a:pt x="1308463" y="909418"/>
                  <a:pt x="1307947" y="908644"/>
                </a:cubicBezTo>
                <a:cubicBezTo>
                  <a:pt x="1307947" y="908644"/>
                  <a:pt x="1308360" y="908180"/>
                  <a:pt x="1308979" y="907715"/>
                </a:cubicBezTo>
                <a:cubicBezTo>
                  <a:pt x="1309599" y="907405"/>
                  <a:pt x="1310322" y="906940"/>
                  <a:pt x="1310941" y="907095"/>
                </a:cubicBezTo>
                <a:close/>
                <a:moveTo>
                  <a:pt x="1351004" y="905701"/>
                </a:moveTo>
                <a:lnTo>
                  <a:pt x="1351108" y="906321"/>
                </a:lnTo>
                <a:lnTo>
                  <a:pt x="1351211" y="906321"/>
                </a:lnTo>
                <a:close/>
                <a:moveTo>
                  <a:pt x="3616825" y="904830"/>
                </a:moveTo>
                <a:cubicBezTo>
                  <a:pt x="3617038" y="906538"/>
                  <a:pt x="3619599" y="906679"/>
                  <a:pt x="3620026" y="908387"/>
                </a:cubicBezTo>
                <a:cubicBezTo>
                  <a:pt x="3620026" y="908387"/>
                  <a:pt x="3619599" y="909241"/>
                  <a:pt x="3619385" y="910236"/>
                </a:cubicBezTo>
                <a:lnTo>
                  <a:pt x="3618958" y="912086"/>
                </a:lnTo>
                <a:lnTo>
                  <a:pt x="3620879" y="913082"/>
                </a:lnTo>
                <a:cubicBezTo>
                  <a:pt x="3621946" y="913366"/>
                  <a:pt x="3623013" y="913082"/>
                  <a:pt x="3623867" y="913366"/>
                </a:cubicBezTo>
                <a:lnTo>
                  <a:pt x="3624934" y="914504"/>
                </a:lnTo>
                <a:lnTo>
                  <a:pt x="3628136" y="912655"/>
                </a:lnTo>
                <a:cubicBezTo>
                  <a:pt x="3631764" y="911943"/>
                  <a:pt x="3635392" y="914504"/>
                  <a:pt x="3635819" y="918203"/>
                </a:cubicBezTo>
                <a:cubicBezTo>
                  <a:pt x="3632191" y="924321"/>
                  <a:pt x="3627282" y="922045"/>
                  <a:pt x="3625361" y="918488"/>
                </a:cubicBezTo>
                <a:lnTo>
                  <a:pt x="3625361" y="918345"/>
                </a:lnTo>
                <a:lnTo>
                  <a:pt x="3624721" y="919484"/>
                </a:lnTo>
                <a:cubicBezTo>
                  <a:pt x="3623867" y="920480"/>
                  <a:pt x="3622587" y="921476"/>
                  <a:pt x="3620666" y="922187"/>
                </a:cubicBezTo>
                <a:cubicBezTo>
                  <a:pt x="3617891" y="920337"/>
                  <a:pt x="3617038" y="918630"/>
                  <a:pt x="3617038" y="916923"/>
                </a:cubicBezTo>
                <a:lnTo>
                  <a:pt x="3618318" y="912228"/>
                </a:lnTo>
                <a:lnTo>
                  <a:pt x="3617465" y="912371"/>
                </a:lnTo>
                <a:cubicBezTo>
                  <a:pt x="3617465" y="912371"/>
                  <a:pt x="3617465" y="912086"/>
                  <a:pt x="3617891" y="911517"/>
                </a:cubicBezTo>
                <a:cubicBezTo>
                  <a:pt x="3615330" y="911374"/>
                  <a:pt x="3614263" y="910806"/>
                  <a:pt x="3613410" y="910094"/>
                </a:cubicBezTo>
                <a:cubicBezTo>
                  <a:pt x="3612982" y="908387"/>
                  <a:pt x="3614477" y="906253"/>
                  <a:pt x="3616825" y="904830"/>
                </a:cubicBezTo>
                <a:close/>
                <a:moveTo>
                  <a:pt x="4654685" y="904119"/>
                </a:moveTo>
                <a:cubicBezTo>
                  <a:pt x="4656819" y="904261"/>
                  <a:pt x="4659167" y="905115"/>
                  <a:pt x="4661514" y="907249"/>
                </a:cubicBezTo>
                <a:cubicBezTo>
                  <a:pt x="4662795" y="908387"/>
                  <a:pt x="4664075" y="909809"/>
                  <a:pt x="4665142" y="911233"/>
                </a:cubicBezTo>
                <a:cubicBezTo>
                  <a:pt x="4667916" y="915785"/>
                  <a:pt x="4668557" y="921618"/>
                  <a:pt x="4661728" y="928731"/>
                </a:cubicBezTo>
                <a:cubicBezTo>
                  <a:pt x="4660233" y="931150"/>
                  <a:pt x="4660447" y="929869"/>
                  <a:pt x="4659167" y="931150"/>
                </a:cubicBezTo>
                <a:cubicBezTo>
                  <a:pt x="4657886" y="932288"/>
                  <a:pt x="4656392" y="934565"/>
                  <a:pt x="4656392" y="935845"/>
                </a:cubicBezTo>
                <a:cubicBezTo>
                  <a:pt x="4652124" y="932146"/>
                  <a:pt x="4649562" y="935703"/>
                  <a:pt x="4643160" y="929585"/>
                </a:cubicBezTo>
                <a:cubicBezTo>
                  <a:pt x="4634623" y="922329"/>
                  <a:pt x="4637825" y="913936"/>
                  <a:pt x="4641666" y="909241"/>
                </a:cubicBezTo>
                <a:cubicBezTo>
                  <a:pt x="4642520" y="910094"/>
                  <a:pt x="4647855" y="903692"/>
                  <a:pt x="4654685" y="904119"/>
                </a:cubicBezTo>
                <a:close/>
                <a:moveTo>
                  <a:pt x="4760967" y="903977"/>
                </a:moveTo>
                <a:cubicBezTo>
                  <a:pt x="4763315" y="903550"/>
                  <a:pt x="4765877" y="903977"/>
                  <a:pt x="4768864" y="905542"/>
                </a:cubicBezTo>
                <a:cubicBezTo>
                  <a:pt x="4769505" y="918203"/>
                  <a:pt x="4753284" y="933426"/>
                  <a:pt x="4746242" y="924464"/>
                </a:cubicBezTo>
                <a:cubicBezTo>
                  <a:pt x="4745175" y="923183"/>
                  <a:pt x="4744321" y="921333"/>
                  <a:pt x="4743894" y="919057"/>
                </a:cubicBezTo>
                <a:cubicBezTo>
                  <a:pt x="4747949" y="914078"/>
                  <a:pt x="4753498" y="905399"/>
                  <a:pt x="4760967" y="903977"/>
                </a:cubicBezTo>
                <a:close/>
                <a:moveTo>
                  <a:pt x="1408622" y="902138"/>
                </a:moveTo>
                <a:cubicBezTo>
                  <a:pt x="1412959" y="902293"/>
                  <a:pt x="1415953" y="905237"/>
                  <a:pt x="1417811" y="909264"/>
                </a:cubicBezTo>
                <a:lnTo>
                  <a:pt x="1419980" y="920416"/>
                </a:lnTo>
                <a:lnTo>
                  <a:pt x="1422561" y="920416"/>
                </a:lnTo>
                <a:cubicBezTo>
                  <a:pt x="1423697" y="921810"/>
                  <a:pt x="1423800" y="922894"/>
                  <a:pt x="1423284" y="923979"/>
                </a:cubicBezTo>
                <a:lnTo>
                  <a:pt x="1421942" y="925838"/>
                </a:lnTo>
                <a:lnTo>
                  <a:pt x="1427208" y="926302"/>
                </a:lnTo>
                <a:cubicBezTo>
                  <a:pt x="1424833" y="929091"/>
                  <a:pt x="1421012" y="928626"/>
                  <a:pt x="1420599" y="935286"/>
                </a:cubicBezTo>
                <a:lnTo>
                  <a:pt x="1417811" y="932498"/>
                </a:lnTo>
                <a:lnTo>
                  <a:pt x="1417811" y="933118"/>
                </a:lnTo>
                <a:lnTo>
                  <a:pt x="1413474" y="929865"/>
                </a:lnTo>
                <a:lnTo>
                  <a:pt x="1412235" y="929555"/>
                </a:lnTo>
                <a:cubicBezTo>
                  <a:pt x="1410893" y="929555"/>
                  <a:pt x="1409344" y="929400"/>
                  <a:pt x="1408208" y="928006"/>
                </a:cubicBezTo>
                <a:lnTo>
                  <a:pt x="1409654" y="924134"/>
                </a:lnTo>
                <a:lnTo>
                  <a:pt x="1409138" y="923359"/>
                </a:lnTo>
                <a:cubicBezTo>
                  <a:pt x="1407589" y="919332"/>
                  <a:pt x="1407073" y="915150"/>
                  <a:pt x="1407279" y="912206"/>
                </a:cubicBezTo>
                <a:cubicBezTo>
                  <a:pt x="1409448" y="913136"/>
                  <a:pt x="1411306" y="914685"/>
                  <a:pt x="1412855" y="916389"/>
                </a:cubicBezTo>
                <a:lnTo>
                  <a:pt x="1415850" y="920881"/>
                </a:lnTo>
                <a:lnTo>
                  <a:pt x="1418431" y="920571"/>
                </a:lnTo>
                <a:lnTo>
                  <a:pt x="1414610" y="918093"/>
                </a:lnTo>
                <a:cubicBezTo>
                  <a:pt x="1410273" y="913911"/>
                  <a:pt x="1409448" y="908025"/>
                  <a:pt x="1408622" y="902138"/>
                </a:cubicBezTo>
                <a:close/>
                <a:moveTo>
                  <a:pt x="1530258" y="899970"/>
                </a:moveTo>
                <a:cubicBezTo>
                  <a:pt x="1532942" y="903533"/>
                  <a:pt x="1529431" y="907715"/>
                  <a:pt x="1527882" y="910193"/>
                </a:cubicBezTo>
                <a:lnTo>
                  <a:pt x="1526334" y="909418"/>
                </a:lnTo>
                <a:lnTo>
                  <a:pt x="1526437" y="911277"/>
                </a:lnTo>
                <a:cubicBezTo>
                  <a:pt x="1526334" y="912206"/>
                  <a:pt x="1526127" y="912981"/>
                  <a:pt x="1525921" y="914066"/>
                </a:cubicBezTo>
                <a:cubicBezTo>
                  <a:pt x="1523959" y="913911"/>
                  <a:pt x="1521997" y="915615"/>
                  <a:pt x="1519726" y="914685"/>
                </a:cubicBezTo>
                <a:cubicBezTo>
                  <a:pt x="1519726" y="914685"/>
                  <a:pt x="1518590" y="914220"/>
                  <a:pt x="1517763" y="912671"/>
                </a:cubicBezTo>
                <a:cubicBezTo>
                  <a:pt x="1515079" y="910968"/>
                  <a:pt x="1516214" y="907715"/>
                  <a:pt x="1516214" y="907715"/>
                </a:cubicBezTo>
                <a:cubicBezTo>
                  <a:pt x="1516214" y="907715"/>
                  <a:pt x="1516214" y="907560"/>
                  <a:pt x="1515492" y="907870"/>
                </a:cubicBezTo>
                <a:cubicBezTo>
                  <a:pt x="1517041" y="907250"/>
                  <a:pt x="1518176" y="906011"/>
                  <a:pt x="1519726" y="905391"/>
                </a:cubicBezTo>
                <a:lnTo>
                  <a:pt x="1520345" y="905546"/>
                </a:lnTo>
                <a:lnTo>
                  <a:pt x="1519726" y="905082"/>
                </a:lnTo>
                <a:cubicBezTo>
                  <a:pt x="1520551" y="902913"/>
                  <a:pt x="1521791" y="901209"/>
                  <a:pt x="1523546" y="900435"/>
                </a:cubicBezTo>
                <a:cubicBezTo>
                  <a:pt x="1525301" y="899505"/>
                  <a:pt x="1527470" y="899195"/>
                  <a:pt x="1530258" y="899970"/>
                </a:cubicBezTo>
                <a:close/>
                <a:moveTo>
                  <a:pt x="3485998" y="899140"/>
                </a:moveTo>
                <a:cubicBezTo>
                  <a:pt x="3487492" y="901273"/>
                  <a:pt x="3490480" y="904119"/>
                  <a:pt x="3489626" y="907107"/>
                </a:cubicBezTo>
                <a:cubicBezTo>
                  <a:pt x="3489413" y="908102"/>
                  <a:pt x="3488773" y="909098"/>
                  <a:pt x="3487492" y="910094"/>
                </a:cubicBezTo>
                <a:cubicBezTo>
                  <a:pt x="3487492" y="910663"/>
                  <a:pt x="3486211" y="911090"/>
                  <a:pt x="3484931" y="911233"/>
                </a:cubicBezTo>
                <a:lnTo>
                  <a:pt x="3482583" y="910521"/>
                </a:lnTo>
                <a:lnTo>
                  <a:pt x="3483010" y="912228"/>
                </a:lnTo>
                <a:cubicBezTo>
                  <a:pt x="3481730" y="913366"/>
                  <a:pt x="3480236" y="913366"/>
                  <a:pt x="3479169" y="912940"/>
                </a:cubicBezTo>
                <a:lnTo>
                  <a:pt x="3478742" y="912228"/>
                </a:lnTo>
                <a:lnTo>
                  <a:pt x="3474260" y="915216"/>
                </a:lnTo>
                <a:cubicBezTo>
                  <a:pt x="3468498" y="916212"/>
                  <a:pt x="3461881" y="910806"/>
                  <a:pt x="3461668" y="905257"/>
                </a:cubicBezTo>
                <a:cubicBezTo>
                  <a:pt x="3463802" y="902269"/>
                  <a:pt x="3467004" y="901273"/>
                  <a:pt x="3470205" y="901558"/>
                </a:cubicBezTo>
                <a:cubicBezTo>
                  <a:pt x="3473407" y="901985"/>
                  <a:pt x="3476394" y="903550"/>
                  <a:pt x="3478102" y="906111"/>
                </a:cubicBezTo>
                <a:lnTo>
                  <a:pt x="3478955" y="910094"/>
                </a:lnTo>
                <a:lnTo>
                  <a:pt x="3481303" y="908814"/>
                </a:lnTo>
                <a:lnTo>
                  <a:pt x="3480236" y="905684"/>
                </a:lnTo>
                <a:cubicBezTo>
                  <a:pt x="3480663" y="903977"/>
                  <a:pt x="3481730" y="902127"/>
                  <a:pt x="3482370" y="899851"/>
                </a:cubicBezTo>
                <a:cubicBezTo>
                  <a:pt x="3483437" y="901131"/>
                  <a:pt x="3484718" y="900135"/>
                  <a:pt x="3485998" y="899140"/>
                </a:cubicBezTo>
                <a:close/>
                <a:moveTo>
                  <a:pt x="1359059" y="897085"/>
                </a:moveTo>
                <a:cubicBezTo>
                  <a:pt x="1361021" y="897143"/>
                  <a:pt x="1363241" y="898111"/>
                  <a:pt x="1365461" y="899505"/>
                </a:cubicBezTo>
                <a:cubicBezTo>
                  <a:pt x="1364738" y="900435"/>
                  <a:pt x="1367423" y="901673"/>
                  <a:pt x="1368352" y="903223"/>
                </a:cubicBezTo>
                <a:cubicBezTo>
                  <a:pt x="1368455" y="905856"/>
                  <a:pt x="1368558" y="907405"/>
                  <a:pt x="1366906" y="909264"/>
                </a:cubicBezTo>
                <a:lnTo>
                  <a:pt x="1363912" y="911277"/>
                </a:lnTo>
                <a:lnTo>
                  <a:pt x="1365254" y="913136"/>
                </a:lnTo>
                <a:cubicBezTo>
                  <a:pt x="1367319" y="918248"/>
                  <a:pt x="1367732" y="924134"/>
                  <a:pt x="1358956" y="926302"/>
                </a:cubicBezTo>
                <a:cubicBezTo>
                  <a:pt x="1357303" y="927077"/>
                  <a:pt x="1357716" y="926457"/>
                  <a:pt x="1356580" y="926612"/>
                </a:cubicBezTo>
                <a:cubicBezTo>
                  <a:pt x="1355341" y="926767"/>
                  <a:pt x="1353689" y="927696"/>
                  <a:pt x="1353276" y="928316"/>
                </a:cubicBezTo>
                <a:cubicBezTo>
                  <a:pt x="1351521" y="924444"/>
                  <a:pt x="1348733" y="925528"/>
                  <a:pt x="1346358" y="919177"/>
                </a:cubicBezTo>
                <a:cubicBezTo>
                  <a:pt x="1345429" y="917163"/>
                  <a:pt x="1345119" y="915460"/>
                  <a:pt x="1345119" y="913911"/>
                </a:cubicBezTo>
                <a:lnTo>
                  <a:pt x="1345326" y="912826"/>
                </a:lnTo>
                <a:lnTo>
                  <a:pt x="1345119" y="913136"/>
                </a:lnTo>
                <a:cubicBezTo>
                  <a:pt x="1342951" y="915305"/>
                  <a:pt x="1340782" y="916854"/>
                  <a:pt x="1339543" y="916544"/>
                </a:cubicBezTo>
                <a:cubicBezTo>
                  <a:pt x="1339440" y="915770"/>
                  <a:pt x="1339440" y="914995"/>
                  <a:pt x="1340163" y="913911"/>
                </a:cubicBezTo>
                <a:cubicBezTo>
                  <a:pt x="1340989" y="912981"/>
                  <a:pt x="1341092" y="913911"/>
                  <a:pt x="1341092" y="912981"/>
                </a:cubicBezTo>
                <a:cubicBezTo>
                  <a:pt x="1341815" y="912052"/>
                  <a:pt x="1340989" y="912206"/>
                  <a:pt x="1340989" y="912206"/>
                </a:cubicBezTo>
                <a:cubicBezTo>
                  <a:pt x="1340989" y="912206"/>
                  <a:pt x="1341918" y="912052"/>
                  <a:pt x="1341918" y="912052"/>
                </a:cubicBezTo>
                <a:cubicBezTo>
                  <a:pt x="1341918" y="912052"/>
                  <a:pt x="1341918" y="912052"/>
                  <a:pt x="1343467" y="910038"/>
                </a:cubicBezTo>
                <a:cubicBezTo>
                  <a:pt x="1345119" y="907405"/>
                  <a:pt x="1345016" y="906476"/>
                  <a:pt x="1345738" y="904772"/>
                </a:cubicBezTo>
                <a:cubicBezTo>
                  <a:pt x="1347391" y="902913"/>
                  <a:pt x="1348320" y="902603"/>
                  <a:pt x="1350798" y="900589"/>
                </a:cubicBezTo>
                <a:cubicBezTo>
                  <a:pt x="1352554" y="901209"/>
                  <a:pt x="1352554" y="901209"/>
                  <a:pt x="1352554" y="902138"/>
                </a:cubicBezTo>
                <a:cubicBezTo>
                  <a:pt x="1352554" y="901209"/>
                  <a:pt x="1353379" y="901209"/>
                  <a:pt x="1354206" y="900125"/>
                </a:cubicBezTo>
                <a:cubicBezTo>
                  <a:pt x="1355393" y="897879"/>
                  <a:pt x="1357097" y="897027"/>
                  <a:pt x="1359059" y="897085"/>
                </a:cubicBezTo>
                <a:close/>
                <a:moveTo>
                  <a:pt x="4676454" y="896863"/>
                </a:moveTo>
                <a:cubicBezTo>
                  <a:pt x="4678587" y="898713"/>
                  <a:pt x="4679868" y="900135"/>
                  <a:pt x="4680509" y="901558"/>
                </a:cubicBezTo>
                <a:cubicBezTo>
                  <a:pt x="4682856" y="905542"/>
                  <a:pt x="4680082" y="907676"/>
                  <a:pt x="4677094" y="911233"/>
                </a:cubicBezTo>
                <a:cubicBezTo>
                  <a:pt x="4674959" y="910094"/>
                  <a:pt x="4671545" y="911090"/>
                  <a:pt x="4669411" y="908671"/>
                </a:cubicBezTo>
                <a:cubicBezTo>
                  <a:pt x="4669411" y="908671"/>
                  <a:pt x="4668343" y="907534"/>
                  <a:pt x="4668557" y="905115"/>
                </a:cubicBezTo>
                <a:cubicBezTo>
                  <a:pt x="4666636" y="901558"/>
                  <a:pt x="4670478" y="898002"/>
                  <a:pt x="4670478" y="898002"/>
                </a:cubicBezTo>
                <a:cubicBezTo>
                  <a:pt x="4670478" y="898002"/>
                  <a:pt x="4670478" y="898002"/>
                  <a:pt x="4669411" y="898002"/>
                </a:cubicBezTo>
                <a:cubicBezTo>
                  <a:pt x="4671545" y="898002"/>
                  <a:pt x="4674106" y="896863"/>
                  <a:pt x="4676454" y="896863"/>
                </a:cubicBezTo>
                <a:close/>
                <a:moveTo>
                  <a:pt x="3994364" y="895868"/>
                </a:moveTo>
                <a:cubicBezTo>
                  <a:pt x="3995004" y="898428"/>
                  <a:pt x="3996285" y="900135"/>
                  <a:pt x="3996925" y="902697"/>
                </a:cubicBezTo>
                <a:cubicBezTo>
                  <a:pt x="3995217" y="906395"/>
                  <a:pt x="3987108" y="909952"/>
                  <a:pt x="3983266" y="907676"/>
                </a:cubicBezTo>
                <a:cubicBezTo>
                  <a:pt x="3981986" y="906822"/>
                  <a:pt x="3981345" y="905399"/>
                  <a:pt x="3981345" y="903123"/>
                </a:cubicBezTo>
                <a:cubicBezTo>
                  <a:pt x="3982199" y="896294"/>
                  <a:pt x="3987961" y="895583"/>
                  <a:pt x="3994364" y="895868"/>
                </a:cubicBezTo>
                <a:close/>
                <a:moveTo>
                  <a:pt x="1441664" y="893619"/>
                </a:moveTo>
                <a:cubicBezTo>
                  <a:pt x="1443212" y="896098"/>
                  <a:pt x="1438669" y="902758"/>
                  <a:pt x="1435985" y="905391"/>
                </a:cubicBezTo>
                <a:cubicBezTo>
                  <a:pt x="1435674" y="904772"/>
                  <a:pt x="1435571" y="903997"/>
                  <a:pt x="1435778" y="902913"/>
                </a:cubicBezTo>
                <a:cubicBezTo>
                  <a:pt x="1436604" y="899970"/>
                  <a:pt x="1439598" y="895633"/>
                  <a:pt x="1441664" y="893619"/>
                </a:cubicBezTo>
                <a:close/>
                <a:moveTo>
                  <a:pt x="3554506" y="893449"/>
                </a:moveTo>
                <a:cubicBezTo>
                  <a:pt x="3556000" y="893022"/>
                  <a:pt x="3557920" y="893022"/>
                  <a:pt x="3559841" y="893733"/>
                </a:cubicBezTo>
                <a:cubicBezTo>
                  <a:pt x="3562189" y="894587"/>
                  <a:pt x="3564750" y="896436"/>
                  <a:pt x="3567311" y="899424"/>
                </a:cubicBezTo>
                <a:cubicBezTo>
                  <a:pt x="3569872" y="905542"/>
                  <a:pt x="3561122" y="914647"/>
                  <a:pt x="3555146" y="913082"/>
                </a:cubicBezTo>
                <a:cubicBezTo>
                  <a:pt x="3552799" y="910663"/>
                  <a:pt x="3550237" y="908102"/>
                  <a:pt x="3547890" y="905684"/>
                </a:cubicBezTo>
                <a:cubicBezTo>
                  <a:pt x="3546396" y="899566"/>
                  <a:pt x="3549597" y="894587"/>
                  <a:pt x="3554506" y="893449"/>
                </a:cubicBezTo>
                <a:close/>
                <a:moveTo>
                  <a:pt x="1365151" y="891450"/>
                </a:moveTo>
                <a:cubicBezTo>
                  <a:pt x="1371759" y="891605"/>
                  <a:pt x="1367423" y="901673"/>
                  <a:pt x="1363602" y="897647"/>
                </a:cubicBezTo>
                <a:cubicBezTo>
                  <a:pt x="1363602" y="895788"/>
                  <a:pt x="1364325" y="893619"/>
                  <a:pt x="1365151" y="891450"/>
                </a:cubicBezTo>
                <a:close/>
                <a:moveTo>
                  <a:pt x="3150715" y="890461"/>
                </a:moveTo>
                <a:cubicBezTo>
                  <a:pt x="3151783" y="893307"/>
                  <a:pt x="3153703" y="898286"/>
                  <a:pt x="3153063" y="901416"/>
                </a:cubicBezTo>
                <a:cubicBezTo>
                  <a:pt x="3152850" y="902412"/>
                  <a:pt x="3152210" y="903265"/>
                  <a:pt x="3151356" y="903692"/>
                </a:cubicBezTo>
                <a:cubicBezTo>
                  <a:pt x="3149648" y="904119"/>
                  <a:pt x="3149435" y="902554"/>
                  <a:pt x="3148581" y="901985"/>
                </a:cubicBezTo>
                <a:cubicBezTo>
                  <a:pt x="3147301" y="899708"/>
                  <a:pt x="3149222" y="890888"/>
                  <a:pt x="3150715" y="890461"/>
                </a:cubicBezTo>
                <a:close/>
                <a:moveTo>
                  <a:pt x="4153575" y="889750"/>
                </a:moveTo>
                <a:cubicBezTo>
                  <a:pt x="4154642" y="889466"/>
                  <a:pt x="4155922" y="889607"/>
                  <a:pt x="4157630" y="890603"/>
                </a:cubicBezTo>
                <a:cubicBezTo>
                  <a:pt x="4156349" y="893876"/>
                  <a:pt x="4154642" y="896010"/>
                  <a:pt x="4153362" y="899140"/>
                </a:cubicBezTo>
                <a:cubicBezTo>
                  <a:pt x="4148239" y="899140"/>
                  <a:pt x="4149093" y="894871"/>
                  <a:pt x="4149947" y="890603"/>
                </a:cubicBezTo>
                <a:cubicBezTo>
                  <a:pt x="4151227" y="890603"/>
                  <a:pt x="4152294" y="890034"/>
                  <a:pt x="4153575" y="889750"/>
                </a:cubicBezTo>
                <a:close/>
                <a:moveTo>
                  <a:pt x="1287915" y="887733"/>
                </a:moveTo>
                <a:cubicBezTo>
                  <a:pt x="1289670" y="889127"/>
                  <a:pt x="1291529" y="890521"/>
                  <a:pt x="1289877" y="892380"/>
                </a:cubicBezTo>
                <a:cubicBezTo>
                  <a:pt x="1289051" y="893309"/>
                  <a:pt x="1288225" y="894239"/>
                  <a:pt x="1286573" y="894549"/>
                </a:cubicBezTo>
                <a:cubicBezTo>
                  <a:pt x="1284714" y="893154"/>
                  <a:pt x="1285437" y="890521"/>
                  <a:pt x="1284507" y="889747"/>
                </a:cubicBezTo>
                <a:cubicBezTo>
                  <a:pt x="1285437" y="889592"/>
                  <a:pt x="1287089" y="889437"/>
                  <a:pt x="1287915" y="887733"/>
                </a:cubicBezTo>
                <a:close/>
                <a:moveTo>
                  <a:pt x="1187137" y="886649"/>
                </a:moveTo>
                <a:cubicBezTo>
                  <a:pt x="1194055" y="889592"/>
                  <a:pt x="1201799" y="892070"/>
                  <a:pt x="1201799" y="897647"/>
                </a:cubicBezTo>
                <a:cubicBezTo>
                  <a:pt x="1197566" y="900125"/>
                  <a:pt x="1190544" y="895478"/>
                  <a:pt x="1187034" y="892225"/>
                </a:cubicBezTo>
                <a:cubicBezTo>
                  <a:pt x="1187860" y="890056"/>
                  <a:pt x="1186311" y="888817"/>
                  <a:pt x="1187137" y="886649"/>
                </a:cubicBezTo>
                <a:close/>
                <a:moveTo>
                  <a:pt x="3487065" y="886051"/>
                </a:moveTo>
                <a:cubicBezTo>
                  <a:pt x="3491547" y="887616"/>
                  <a:pt x="3494749" y="888754"/>
                  <a:pt x="3496669" y="890461"/>
                </a:cubicBezTo>
                <a:cubicBezTo>
                  <a:pt x="3494749" y="898997"/>
                  <a:pt x="3480023" y="894729"/>
                  <a:pt x="3487065" y="886051"/>
                </a:cubicBezTo>
                <a:close/>
                <a:moveTo>
                  <a:pt x="3219010" y="885624"/>
                </a:moveTo>
                <a:lnTo>
                  <a:pt x="3212607" y="892737"/>
                </a:lnTo>
                <a:lnTo>
                  <a:pt x="3205778" y="898002"/>
                </a:lnTo>
                <a:lnTo>
                  <a:pt x="3211967" y="903265"/>
                </a:lnTo>
                <a:cubicBezTo>
                  <a:pt x="3215381" y="907107"/>
                  <a:pt x="3218583" y="911233"/>
                  <a:pt x="3221144" y="915785"/>
                </a:cubicBezTo>
                <a:lnTo>
                  <a:pt x="3223278" y="920622"/>
                </a:lnTo>
                <a:lnTo>
                  <a:pt x="3227547" y="919769"/>
                </a:lnTo>
                <a:cubicBezTo>
                  <a:pt x="3229040" y="920195"/>
                  <a:pt x="3230535" y="921049"/>
                  <a:pt x="3231602" y="922756"/>
                </a:cubicBezTo>
                <a:cubicBezTo>
                  <a:pt x="3230107" y="925033"/>
                  <a:pt x="3229894" y="927593"/>
                  <a:pt x="3228400" y="929869"/>
                </a:cubicBezTo>
                <a:lnTo>
                  <a:pt x="3227333" y="930012"/>
                </a:lnTo>
                <a:lnTo>
                  <a:pt x="3229681" y="945092"/>
                </a:lnTo>
                <a:cubicBezTo>
                  <a:pt x="3229894" y="950214"/>
                  <a:pt x="3229254" y="955336"/>
                  <a:pt x="3227974" y="960173"/>
                </a:cubicBezTo>
                <a:lnTo>
                  <a:pt x="3226907" y="962307"/>
                </a:lnTo>
                <a:lnTo>
                  <a:pt x="3229040" y="966717"/>
                </a:lnTo>
                <a:cubicBezTo>
                  <a:pt x="3229040" y="968993"/>
                  <a:pt x="3228400" y="971270"/>
                  <a:pt x="3226480" y="972835"/>
                </a:cubicBezTo>
                <a:lnTo>
                  <a:pt x="3222638" y="971270"/>
                </a:lnTo>
                <a:lnTo>
                  <a:pt x="3221357" y="974115"/>
                </a:lnTo>
                <a:lnTo>
                  <a:pt x="3205351" y="972693"/>
                </a:lnTo>
                <a:lnTo>
                  <a:pt x="3205138" y="972693"/>
                </a:lnTo>
                <a:lnTo>
                  <a:pt x="3205138" y="975253"/>
                </a:lnTo>
                <a:cubicBezTo>
                  <a:pt x="3205138" y="978383"/>
                  <a:pt x="3205351" y="980517"/>
                  <a:pt x="3210260" y="979379"/>
                </a:cubicBezTo>
                <a:cubicBezTo>
                  <a:pt x="3208339" y="981940"/>
                  <a:pt x="3208765" y="986208"/>
                  <a:pt x="3209620" y="989623"/>
                </a:cubicBezTo>
                <a:cubicBezTo>
                  <a:pt x="3211113" y="994175"/>
                  <a:pt x="3213674" y="998159"/>
                  <a:pt x="3216022" y="1002996"/>
                </a:cubicBezTo>
                <a:cubicBezTo>
                  <a:pt x="3218583" y="1001715"/>
                  <a:pt x="3218369" y="999439"/>
                  <a:pt x="3217089" y="997020"/>
                </a:cubicBezTo>
                <a:cubicBezTo>
                  <a:pt x="3221357" y="996309"/>
                  <a:pt x="3220931" y="1003423"/>
                  <a:pt x="3221784" y="1009967"/>
                </a:cubicBezTo>
                <a:cubicBezTo>
                  <a:pt x="3222638" y="1016369"/>
                  <a:pt x="3224559" y="1022202"/>
                  <a:pt x="3231815" y="1021349"/>
                </a:cubicBezTo>
                <a:cubicBezTo>
                  <a:pt x="3230321" y="1022914"/>
                  <a:pt x="3229040" y="1023625"/>
                  <a:pt x="3229254" y="1025759"/>
                </a:cubicBezTo>
                <a:cubicBezTo>
                  <a:pt x="3232882" y="1026897"/>
                  <a:pt x="3232455" y="1022629"/>
                  <a:pt x="3237151" y="1026186"/>
                </a:cubicBezTo>
                <a:cubicBezTo>
                  <a:pt x="3238431" y="1031734"/>
                  <a:pt x="3235870" y="1029885"/>
                  <a:pt x="3231388" y="1031592"/>
                </a:cubicBezTo>
                <a:cubicBezTo>
                  <a:pt x="3238858" y="1032872"/>
                  <a:pt x="3245474" y="1036998"/>
                  <a:pt x="3252090" y="1041124"/>
                </a:cubicBezTo>
                <a:cubicBezTo>
                  <a:pt x="3249529" y="1042404"/>
                  <a:pt x="3246328" y="1046530"/>
                  <a:pt x="3250596" y="1054212"/>
                </a:cubicBezTo>
                <a:cubicBezTo>
                  <a:pt x="3252517" y="1040128"/>
                  <a:pt x="3265536" y="1057627"/>
                  <a:pt x="3256785" y="1062179"/>
                </a:cubicBezTo>
                <a:cubicBezTo>
                  <a:pt x="3259346" y="1064029"/>
                  <a:pt x="3267029" y="1067443"/>
                  <a:pt x="3265962" y="1061895"/>
                </a:cubicBezTo>
                <a:cubicBezTo>
                  <a:pt x="3267029" y="1064456"/>
                  <a:pt x="3262548" y="1080674"/>
                  <a:pt x="3275566" y="1080532"/>
                </a:cubicBezTo>
                <a:cubicBezTo>
                  <a:pt x="3274712" y="1084943"/>
                  <a:pt x="3275139" y="1089210"/>
                  <a:pt x="3276420" y="1093194"/>
                </a:cubicBezTo>
                <a:lnTo>
                  <a:pt x="3280261" y="1100166"/>
                </a:lnTo>
                <a:lnTo>
                  <a:pt x="3282182" y="1097747"/>
                </a:lnTo>
                <a:lnTo>
                  <a:pt x="3280475" y="1096894"/>
                </a:lnTo>
                <a:cubicBezTo>
                  <a:pt x="3279407" y="1095897"/>
                  <a:pt x="3278341" y="1094332"/>
                  <a:pt x="3277914" y="1091629"/>
                </a:cubicBezTo>
                <a:cubicBezTo>
                  <a:pt x="3280261" y="1090207"/>
                  <a:pt x="3281115" y="1093621"/>
                  <a:pt x="3282395" y="1096039"/>
                </a:cubicBezTo>
                <a:cubicBezTo>
                  <a:pt x="3286450" y="1091060"/>
                  <a:pt x="3287945" y="1085085"/>
                  <a:pt x="3287945" y="1078540"/>
                </a:cubicBezTo>
                <a:lnTo>
                  <a:pt x="3286450" y="1071854"/>
                </a:lnTo>
                <a:lnTo>
                  <a:pt x="3283036" y="1072138"/>
                </a:lnTo>
                <a:cubicBezTo>
                  <a:pt x="3281542" y="1072138"/>
                  <a:pt x="3280475" y="1071854"/>
                  <a:pt x="3279834" y="1071143"/>
                </a:cubicBezTo>
                <a:cubicBezTo>
                  <a:pt x="3280261" y="1070004"/>
                  <a:pt x="3280688" y="1069008"/>
                  <a:pt x="3282395" y="1068582"/>
                </a:cubicBezTo>
                <a:cubicBezTo>
                  <a:pt x="3283890" y="1068155"/>
                  <a:pt x="3283250" y="1069151"/>
                  <a:pt x="3283890" y="1068155"/>
                </a:cubicBezTo>
                <a:cubicBezTo>
                  <a:pt x="3285383" y="1067586"/>
                  <a:pt x="3284317" y="1067017"/>
                  <a:pt x="3284317" y="1067017"/>
                </a:cubicBezTo>
                <a:cubicBezTo>
                  <a:pt x="3284317" y="1067017"/>
                  <a:pt x="3285383" y="1067586"/>
                  <a:pt x="3285383" y="1067586"/>
                </a:cubicBezTo>
                <a:cubicBezTo>
                  <a:pt x="3285383" y="1067586"/>
                  <a:pt x="3285383" y="1067586"/>
                  <a:pt x="3285597" y="1067443"/>
                </a:cubicBezTo>
                <a:lnTo>
                  <a:pt x="3284317" y="1061184"/>
                </a:lnTo>
                <a:lnTo>
                  <a:pt x="3284103" y="1061184"/>
                </a:lnTo>
                <a:cubicBezTo>
                  <a:pt x="3280048" y="1061468"/>
                  <a:pt x="3276207" y="1060757"/>
                  <a:pt x="3272792" y="1059334"/>
                </a:cubicBezTo>
                <a:cubicBezTo>
                  <a:pt x="3261480" y="1054782"/>
                  <a:pt x="3253797" y="1041977"/>
                  <a:pt x="3255078" y="1027181"/>
                </a:cubicBezTo>
                <a:cubicBezTo>
                  <a:pt x="3256785" y="1026612"/>
                  <a:pt x="3258279" y="1026043"/>
                  <a:pt x="3257852" y="1024478"/>
                </a:cubicBezTo>
                <a:cubicBezTo>
                  <a:pt x="3261694" y="1022771"/>
                  <a:pt x="3265536" y="1022060"/>
                  <a:pt x="3269377" y="1022344"/>
                </a:cubicBezTo>
                <a:cubicBezTo>
                  <a:pt x="3280902" y="1022914"/>
                  <a:pt x="3292000" y="1031307"/>
                  <a:pt x="3295841" y="1042119"/>
                </a:cubicBezTo>
                <a:cubicBezTo>
                  <a:pt x="3296695" y="1044538"/>
                  <a:pt x="3297335" y="1047099"/>
                  <a:pt x="3297548" y="1049660"/>
                </a:cubicBezTo>
                <a:lnTo>
                  <a:pt x="3296695" y="1057058"/>
                </a:lnTo>
                <a:lnTo>
                  <a:pt x="3298188" y="1057200"/>
                </a:lnTo>
                <a:cubicBezTo>
                  <a:pt x="3300109" y="1057912"/>
                  <a:pt x="3301177" y="1059192"/>
                  <a:pt x="3301603" y="1061041"/>
                </a:cubicBezTo>
                <a:lnTo>
                  <a:pt x="3301603" y="1061468"/>
                </a:lnTo>
                <a:lnTo>
                  <a:pt x="3302671" y="1061468"/>
                </a:lnTo>
                <a:cubicBezTo>
                  <a:pt x="3304164" y="1063744"/>
                  <a:pt x="3304164" y="1063744"/>
                  <a:pt x="3303737" y="1064741"/>
                </a:cubicBezTo>
                <a:cubicBezTo>
                  <a:pt x="3304164" y="1063744"/>
                  <a:pt x="3305232" y="1064314"/>
                  <a:pt x="3306725" y="1063887"/>
                </a:cubicBezTo>
                <a:cubicBezTo>
                  <a:pt x="3312488" y="1060472"/>
                  <a:pt x="3316543" y="1065452"/>
                  <a:pt x="3319744" y="1072565"/>
                </a:cubicBezTo>
                <a:cubicBezTo>
                  <a:pt x="3318250" y="1073134"/>
                  <a:pt x="3320384" y="1076976"/>
                  <a:pt x="3320598" y="1079679"/>
                </a:cubicBezTo>
                <a:lnTo>
                  <a:pt x="3320171" y="1080390"/>
                </a:lnTo>
                <a:lnTo>
                  <a:pt x="3324866" y="1081528"/>
                </a:lnTo>
                <a:cubicBezTo>
                  <a:pt x="3323586" y="1084800"/>
                  <a:pt x="3322946" y="1086223"/>
                  <a:pt x="3322732" y="1088926"/>
                </a:cubicBezTo>
                <a:cubicBezTo>
                  <a:pt x="3318250" y="1087219"/>
                  <a:pt x="3314622" y="1087219"/>
                  <a:pt x="3311848" y="1086508"/>
                </a:cubicBezTo>
                <a:lnTo>
                  <a:pt x="3309927" y="1085654"/>
                </a:lnTo>
                <a:lnTo>
                  <a:pt x="3306725" y="1085369"/>
                </a:lnTo>
                <a:cubicBezTo>
                  <a:pt x="3303737" y="1084516"/>
                  <a:pt x="3301390" y="1082808"/>
                  <a:pt x="3300536" y="1080248"/>
                </a:cubicBezTo>
                <a:cubicBezTo>
                  <a:pt x="3299256" y="1077544"/>
                  <a:pt x="3298616" y="1075126"/>
                  <a:pt x="3298616" y="1073134"/>
                </a:cubicBezTo>
                <a:lnTo>
                  <a:pt x="3299469" y="1069151"/>
                </a:lnTo>
                <a:lnTo>
                  <a:pt x="3293493" y="1072138"/>
                </a:lnTo>
                <a:lnTo>
                  <a:pt x="3293066" y="1070431"/>
                </a:lnTo>
                <a:lnTo>
                  <a:pt x="3291573" y="1070858"/>
                </a:lnTo>
                <a:lnTo>
                  <a:pt x="3292640" y="1073988"/>
                </a:lnTo>
                <a:cubicBezTo>
                  <a:pt x="3293066" y="1077829"/>
                  <a:pt x="3292853" y="1081386"/>
                  <a:pt x="3292426" y="1083662"/>
                </a:cubicBezTo>
                <a:cubicBezTo>
                  <a:pt x="3294134" y="1084231"/>
                  <a:pt x="3295414" y="1085228"/>
                  <a:pt x="3296695" y="1086508"/>
                </a:cubicBezTo>
                <a:lnTo>
                  <a:pt x="3299683" y="1090207"/>
                </a:lnTo>
                <a:lnTo>
                  <a:pt x="3300323" y="1089922"/>
                </a:lnTo>
                <a:cubicBezTo>
                  <a:pt x="3308219" y="1089638"/>
                  <a:pt x="3316330" y="1092198"/>
                  <a:pt x="3322305" y="1097462"/>
                </a:cubicBezTo>
                <a:lnTo>
                  <a:pt x="3323159" y="1098458"/>
                </a:lnTo>
                <a:lnTo>
                  <a:pt x="3322519" y="1096609"/>
                </a:lnTo>
                <a:cubicBezTo>
                  <a:pt x="3322732" y="1094902"/>
                  <a:pt x="3322732" y="1094902"/>
                  <a:pt x="3323799" y="1094190"/>
                </a:cubicBezTo>
                <a:cubicBezTo>
                  <a:pt x="3324866" y="1091914"/>
                  <a:pt x="3325079" y="1090349"/>
                  <a:pt x="3327641" y="1090207"/>
                </a:cubicBezTo>
                <a:cubicBezTo>
                  <a:pt x="3329775" y="1090207"/>
                  <a:pt x="3331055" y="1091060"/>
                  <a:pt x="3331696" y="1092340"/>
                </a:cubicBezTo>
                <a:cubicBezTo>
                  <a:pt x="3332336" y="1093479"/>
                  <a:pt x="3332549" y="1095329"/>
                  <a:pt x="3332549" y="1097462"/>
                </a:cubicBezTo>
                <a:cubicBezTo>
                  <a:pt x="3332762" y="1101873"/>
                  <a:pt x="3329348" y="1102726"/>
                  <a:pt x="3328708" y="1105998"/>
                </a:cubicBezTo>
                <a:lnTo>
                  <a:pt x="3327001" y="1104718"/>
                </a:lnTo>
                <a:lnTo>
                  <a:pt x="3324866" y="1108275"/>
                </a:lnTo>
                <a:lnTo>
                  <a:pt x="3325079" y="1108133"/>
                </a:lnTo>
                <a:cubicBezTo>
                  <a:pt x="3324439" y="1112116"/>
                  <a:pt x="3324866" y="1115246"/>
                  <a:pt x="3326146" y="1117664"/>
                </a:cubicBezTo>
                <a:lnTo>
                  <a:pt x="3329775" y="1121933"/>
                </a:lnTo>
                <a:lnTo>
                  <a:pt x="3333830" y="1122217"/>
                </a:lnTo>
                <a:cubicBezTo>
                  <a:pt x="3342367" y="1125774"/>
                  <a:pt x="3348983" y="1136586"/>
                  <a:pt x="3351544" y="1143415"/>
                </a:cubicBezTo>
                <a:cubicBezTo>
                  <a:pt x="3346635" y="1140854"/>
                  <a:pt x="3341726" y="1138578"/>
                  <a:pt x="3337031" y="1135306"/>
                </a:cubicBezTo>
                <a:cubicBezTo>
                  <a:pt x="3334684" y="1133741"/>
                  <a:pt x="3332336" y="1131892"/>
                  <a:pt x="3330201" y="1129615"/>
                </a:cubicBezTo>
                <a:lnTo>
                  <a:pt x="3329134" y="1128050"/>
                </a:lnTo>
                <a:lnTo>
                  <a:pt x="3328281" y="1130184"/>
                </a:lnTo>
                <a:cubicBezTo>
                  <a:pt x="3329988" y="1133883"/>
                  <a:pt x="3340019" y="1137155"/>
                  <a:pt x="3336817" y="1143984"/>
                </a:cubicBezTo>
                <a:cubicBezTo>
                  <a:pt x="3341940" y="1149675"/>
                  <a:pt x="3339805" y="1135590"/>
                  <a:pt x="3345995" y="1140569"/>
                </a:cubicBezTo>
                <a:cubicBezTo>
                  <a:pt x="3348983" y="1149817"/>
                  <a:pt x="3350903" y="1161768"/>
                  <a:pt x="3352611" y="1173861"/>
                </a:cubicBezTo>
                <a:lnTo>
                  <a:pt x="3353891" y="1179267"/>
                </a:lnTo>
                <a:lnTo>
                  <a:pt x="3354959" y="1179125"/>
                </a:lnTo>
                <a:cubicBezTo>
                  <a:pt x="3356026" y="1178556"/>
                  <a:pt x="3356879" y="1180690"/>
                  <a:pt x="3356879" y="1180690"/>
                </a:cubicBezTo>
                <a:cubicBezTo>
                  <a:pt x="3357946" y="1180121"/>
                  <a:pt x="3359013" y="1179551"/>
                  <a:pt x="3360507" y="1180121"/>
                </a:cubicBezTo>
                <a:cubicBezTo>
                  <a:pt x="3359867" y="1181685"/>
                  <a:pt x="3360934" y="1181116"/>
                  <a:pt x="3361361" y="1182112"/>
                </a:cubicBezTo>
                <a:cubicBezTo>
                  <a:pt x="3360721" y="1181970"/>
                  <a:pt x="3359440" y="1182255"/>
                  <a:pt x="3358159" y="1182539"/>
                </a:cubicBezTo>
                <a:lnTo>
                  <a:pt x="3354959" y="1183250"/>
                </a:lnTo>
                <a:lnTo>
                  <a:pt x="3356666" y="1190933"/>
                </a:lnTo>
                <a:cubicBezTo>
                  <a:pt x="3358586" y="1196055"/>
                  <a:pt x="3360934" y="1200750"/>
                  <a:pt x="3364349" y="1204448"/>
                </a:cubicBezTo>
                <a:cubicBezTo>
                  <a:pt x="3365416" y="1203737"/>
                  <a:pt x="3365416" y="1202172"/>
                  <a:pt x="3365202" y="1200323"/>
                </a:cubicBezTo>
                <a:lnTo>
                  <a:pt x="3364775" y="1197477"/>
                </a:lnTo>
                <a:lnTo>
                  <a:pt x="3360934" y="1196055"/>
                </a:lnTo>
                <a:cubicBezTo>
                  <a:pt x="3359654" y="1194774"/>
                  <a:pt x="3359654" y="1192924"/>
                  <a:pt x="3360507" y="1190506"/>
                </a:cubicBezTo>
                <a:cubicBezTo>
                  <a:pt x="3361788" y="1189937"/>
                  <a:pt x="3365416" y="1189368"/>
                  <a:pt x="3364989" y="1188230"/>
                </a:cubicBezTo>
                <a:cubicBezTo>
                  <a:pt x="3368404" y="1189510"/>
                  <a:pt x="3372032" y="1191360"/>
                  <a:pt x="3373099" y="1193921"/>
                </a:cubicBezTo>
                <a:cubicBezTo>
                  <a:pt x="3373526" y="1194916"/>
                  <a:pt x="3373739" y="1195770"/>
                  <a:pt x="3373526" y="1196909"/>
                </a:cubicBezTo>
                <a:lnTo>
                  <a:pt x="3371818" y="1198900"/>
                </a:lnTo>
                <a:lnTo>
                  <a:pt x="3373099" y="1198758"/>
                </a:lnTo>
                <a:cubicBezTo>
                  <a:pt x="3371605" y="1200323"/>
                  <a:pt x="3374166" y="1210566"/>
                  <a:pt x="3374593" y="1203453"/>
                </a:cubicBezTo>
                <a:cubicBezTo>
                  <a:pt x="3376727" y="1205587"/>
                  <a:pt x="3375660" y="1210424"/>
                  <a:pt x="3374806" y="1215546"/>
                </a:cubicBezTo>
                <a:lnTo>
                  <a:pt x="3374593" y="1218106"/>
                </a:lnTo>
                <a:lnTo>
                  <a:pt x="3375660" y="1216541"/>
                </a:lnTo>
                <a:cubicBezTo>
                  <a:pt x="3377581" y="1214692"/>
                  <a:pt x="3380142" y="1213127"/>
                  <a:pt x="3382916" y="1211704"/>
                </a:cubicBezTo>
                <a:lnTo>
                  <a:pt x="3387184" y="1210139"/>
                </a:lnTo>
                <a:lnTo>
                  <a:pt x="3386331" y="1207009"/>
                </a:lnTo>
                <a:cubicBezTo>
                  <a:pt x="3385051" y="1204591"/>
                  <a:pt x="3383984" y="1202172"/>
                  <a:pt x="3383130" y="1198758"/>
                </a:cubicBezTo>
                <a:cubicBezTo>
                  <a:pt x="3381849" y="1196339"/>
                  <a:pt x="3380782" y="1193921"/>
                  <a:pt x="3379928" y="1190506"/>
                </a:cubicBezTo>
                <a:cubicBezTo>
                  <a:pt x="3377794" y="1185100"/>
                  <a:pt x="3375660" y="1180121"/>
                  <a:pt x="3374166" y="1175426"/>
                </a:cubicBezTo>
                <a:lnTo>
                  <a:pt x="3373739" y="1173576"/>
                </a:lnTo>
                <a:lnTo>
                  <a:pt x="3373313" y="1173291"/>
                </a:lnTo>
                <a:cubicBezTo>
                  <a:pt x="3364775" y="1167601"/>
                  <a:pt x="3356879" y="1162195"/>
                  <a:pt x="3350050" y="1155793"/>
                </a:cubicBezTo>
                <a:cubicBezTo>
                  <a:pt x="3354959" y="1155081"/>
                  <a:pt x="3359654" y="1155793"/>
                  <a:pt x="3364349" y="1157215"/>
                </a:cubicBezTo>
                <a:lnTo>
                  <a:pt x="3369898" y="1159776"/>
                </a:lnTo>
                <a:lnTo>
                  <a:pt x="3366270" y="1151382"/>
                </a:lnTo>
                <a:cubicBezTo>
                  <a:pt x="3364135" y="1147541"/>
                  <a:pt x="3361574" y="1143415"/>
                  <a:pt x="3359440" y="1139574"/>
                </a:cubicBezTo>
                <a:cubicBezTo>
                  <a:pt x="3355171" y="1131037"/>
                  <a:pt x="3351757" y="1123640"/>
                  <a:pt x="3355171" y="1119514"/>
                </a:cubicBezTo>
                <a:cubicBezTo>
                  <a:pt x="3351757" y="1109128"/>
                  <a:pt x="3347915" y="1099739"/>
                  <a:pt x="3345141" y="1090633"/>
                </a:cubicBezTo>
                <a:lnTo>
                  <a:pt x="3341940" y="1083378"/>
                </a:lnTo>
                <a:lnTo>
                  <a:pt x="3332549" y="1087788"/>
                </a:lnTo>
                <a:cubicBezTo>
                  <a:pt x="3326360" y="1081244"/>
                  <a:pt x="3324226" y="1073134"/>
                  <a:pt x="3324866" y="1065167"/>
                </a:cubicBezTo>
                <a:lnTo>
                  <a:pt x="3328708" y="1055920"/>
                </a:lnTo>
                <a:lnTo>
                  <a:pt x="3320811" y="1041551"/>
                </a:lnTo>
                <a:cubicBezTo>
                  <a:pt x="3317396" y="1034153"/>
                  <a:pt x="3312915" y="1026755"/>
                  <a:pt x="3309500" y="1019357"/>
                </a:cubicBezTo>
                <a:cubicBezTo>
                  <a:pt x="3311848" y="1018076"/>
                  <a:pt x="3313982" y="1020779"/>
                  <a:pt x="3316330" y="1019499"/>
                </a:cubicBezTo>
                <a:cubicBezTo>
                  <a:pt x="3317610" y="1019072"/>
                  <a:pt x="3318037" y="1018361"/>
                  <a:pt x="3318037" y="1017649"/>
                </a:cubicBezTo>
                <a:lnTo>
                  <a:pt x="3316970" y="1015515"/>
                </a:lnTo>
                <a:cubicBezTo>
                  <a:pt x="3315903" y="1013524"/>
                  <a:pt x="3313768" y="1012670"/>
                  <a:pt x="3311420" y="1011532"/>
                </a:cubicBezTo>
                <a:lnTo>
                  <a:pt x="3310354" y="1010536"/>
                </a:lnTo>
                <a:lnTo>
                  <a:pt x="3310140" y="1010536"/>
                </a:lnTo>
                <a:cubicBezTo>
                  <a:pt x="3309500" y="1012670"/>
                  <a:pt x="3313768" y="1016227"/>
                  <a:pt x="3308433" y="1016938"/>
                </a:cubicBezTo>
                <a:lnTo>
                  <a:pt x="3299683" y="1005130"/>
                </a:lnTo>
                <a:lnTo>
                  <a:pt x="3296695" y="1005272"/>
                </a:lnTo>
                <a:cubicBezTo>
                  <a:pt x="3297121" y="1003707"/>
                  <a:pt x="3292213" y="1002426"/>
                  <a:pt x="3290506" y="1002000"/>
                </a:cubicBezTo>
                <a:cubicBezTo>
                  <a:pt x="3291146" y="998728"/>
                  <a:pt x="3285597" y="996452"/>
                  <a:pt x="3286237" y="991472"/>
                </a:cubicBezTo>
                <a:lnTo>
                  <a:pt x="3290719" y="989623"/>
                </a:lnTo>
                <a:lnTo>
                  <a:pt x="3290078" y="988484"/>
                </a:lnTo>
                <a:cubicBezTo>
                  <a:pt x="3283890" y="977245"/>
                  <a:pt x="3277700" y="966006"/>
                  <a:pt x="3271084" y="958750"/>
                </a:cubicBezTo>
                <a:cubicBezTo>
                  <a:pt x="3274926" y="956759"/>
                  <a:pt x="3276633" y="963587"/>
                  <a:pt x="3279621" y="960315"/>
                </a:cubicBezTo>
                <a:cubicBezTo>
                  <a:pt x="3275779" y="950926"/>
                  <a:pt x="3264468" y="960884"/>
                  <a:pt x="3265749" y="948791"/>
                </a:cubicBezTo>
                <a:cubicBezTo>
                  <a:pt x="3268950" y="947796"/>
                  <a:pt x="3271298" y="949503"/>
                  <a:pt x="3273646" y="954340"/>
                </a:cubicBezTo>
                <a:cubicBezTo>
                  <a:pt x="3275353" y="943527"/>
                  <a:pt x="3257425" y="937979"/>
                  <a:pt x="3258279" y="932003"/>
                </a:cubicBezTo>
                <a:lnTo>
                  <a:pt x="3256999" y="936130"/>
                </a:lnTo>
                <a:lnTo>
                  <a:pt x="3259773" y="937125"/>
                </a:lnTo>
                <a:lnTo>
                  <a:pt x="3259133" y="942674"/>
                </a:lnTo>
                <a:lnTo>
                  <a:pt x="3260413" y="945946"/>
                </a:lnTo>
                <a:cubicBezTo>
                  <a:pt x="3262121" y="947511"/>
                  <a:pt x="3263401" y="950783"/>
                  <a:pt x="3263188" y="953486"/>
                </a:cubicBezTo>
                <a:cubicBezTo>
                  <a:pt x="3261907" y="956616"/>
                  <a:pt x="3259773" y="957754"/>
                  <a:pt x="3258279" y="957185"/>
                </a:cubicBezTo>
                <a:cubicBezTo>
                  <a:pt x="3245901" y="954482"/>
                  <a:pt x="3246328" y="942816"/>
                  <a:pt x="3244407" y="941109"/>
                </a:cubicBezTo>
                <a:cubicBezTo>
                  <a:pt x="3245901" y="937552"/>
                  <a:pt x="3246328" y="936699"/>
                  <a:pt x="3249956" y="937268"/>
                </a:cubicBezTo>
                <a:lnTo>
                  <a:pt x="3253584" y="938264"/>
                </a:lnTo>
                <a:lnTo>
                  <a:pt x="3255291" y="935560"/>
                </a:lnTo>
                <a:lnTo>
                  <a:pt x="3256358" y="935845"/>
                </a:lnTo>
                <a:lnTo>
                  <a:pt x="3254011" y="931008"/>
                </a:lnTo>
                <a:cubicBezTo>
                  <a:pt x="3252944" y="929016"/>
                  <a:pt x="3251663" y="926882"/>
                  <a:pt x="3249956" y="924321"/>
                </a:cubicBezTo>
                <a:lnTo>
                  <a:pt x="3246754" y="918488"/>
                </a:lnTo>
                <a:lnTo>
                  <a:pt x="3246114" y="919057"/>
                </a:lnTo>
                <a:cubicBezTo>
                  <a:pt x="3244407" y="919484"/>
                  <a:pt x="3240352" y="919769"/>
                  <a:pt x="3240992" y="918773"/>
                </a:cubicBezTo>
                <a:cubicBezTo>
                  <a:pt x="3240779" y="917065"/>
                  <a:pt x="3240138" y="918062"/>
                  <a:pt x="3239071" y="917492"/>
                </a:cubicBezTo>
                <a:cubicBezTo>
                  <a:pt x="3238645" y="915074"/>
                  <a:pt x="3238645" y="912940"/>
                  <a:pt x="3239285" y="911090"/>
                </a:cubicBezTo>
                <a:lnTo>
                  <a:pt x="3240992" y="909383"/>
                </a:lnTo>
                <a:lnTo>
                  <a:pt x="3231388" y="898713"/>
                </a:lnTo>
                <a:cubicBezTo>
                  <a:pt x="3227974" y="895868"/>
                  <a:pt x="3224559" y="894587"/>
                  <a:pt x="3221784" y="895868"/>
                </a:cubicBezTo>
                <a:cubicBezTo>
                  <a:pt x="3219010" y="891884"/>
                  <a:pt x="3224559" y="890461"/>
                  <a:pt x="3220077" y="885909"/>
                </a:cubicBezTo>
                <a:close/>
                <a:moveTo>
                  <a:pt x="1232363" y="885410"/>
                </a:moveTo>
                <a:cubicBezTo>
                  <a:pt x="1234222" y="885100"/>
                  <a:pt x="1236906" y="884171"/>
                  <a:pt x="1238662" y="885719"/>
                </a:cubicBezTo>
                <a:cubicBezTo>
                  <a:pt x="1239281" y="886339"/>
                  <a:pt x="1239695" y="887114"/>
                  <a:pt x="1240004" y="888353"/>
                </a:cubicBezTo>
                <a:cubicBezTo>
                  <a:pt x="1240727" y="888817"/>
                  <a:pt x="1239798" y="891916"/>
                  <a:pt x="1238559" y="892225"/>
                </a:cubicBezTo>
                <a:cubicBezTo>
                  <a:pt x="1235771" y="893309"/>
                  <a:pt x="1234429" y="890521"/>
                  <a:pt x="1231847" y="887888"/>
                </a:cubicBezTo>
                <a:cubicBezTo>
                  <a:pt x="1233086" y="887578"/>
                  <a:pt x="1232673" y="886494"/>
                  <a:pt x="1232363" y="885410"/>
                </a:cubicBezTo>
                <a:close/>
                <a:moveTo>
                  <a:pt x="3538073" y="884771"/>
                </a:moveTo>
                <a:cubicBezTo>
                  <a:pt x="3539353" y="884771"/>
                  <a:pt x="3540847" y="884771"/>
                  <a:pt x="3542554" y="885197"/>
                </a:cubicBezTo>
                <a:cubicBezTo>
                  <a:pt x="3548103" y="897148"/>
                  <a:pt x="3538499" y="915643"/>
                  <a:pt x="3528255" y="908671"/>
                </a:cubicBezTo>
                <a:cubicBezTo>
                  <a:pt x="3526761" y="907676"/>
                  <a:pt x="3525267" y="906253"/>
                  <a:pt x="3523987" y="904119"/>
                </a:cubicBezTo>
                <a:cubicBezTo>
                  <a:pt x="3526334" y="897432"/>
                  <a:pt x="3528469" y="885482"/>
                  <a:pt x="3538073" y="884771"/>
                </a:cubicBezTo>
                <a:close/>
                <a:moveTo>
                  <a:pt x="1126732" y="884635"/>
                </a:moveTo>
                <a:cubicBezTo>
                  <a:pt x="1128488" y="884015"/>
                  <a:pt x="1129417" y="884015"/>
                  <a:pt x="1130243" y="884945"/>
                </a:cubicBezTo>
                <a:cubicBezTo>
                  <a:pt x="1131172" y="885100"/>
                  <a:pt x="1131069" y="886029"/>
                  <a:pt x="1131895" y="886959"/>
                </a:cubicBezTo>
                <a:cubicBezTo>
                  <a:pt x="1131895" y="887733"/>
                  <a:pt x="1131069" y="888508"/>
                  <a:pt x="1131069" y="888508"/>
                </a:cubicBezTo>
                <a:cubicBezTo>
                  <a:pt x="1130139" y="889127"/>
                  <a:pt x="1130139" y="889127"/>
                  <a:pt x="1131069" y="890056"/>
                </a:cubicBezTo>
                <a:cubicBezTo>
                  <a:pt x="1131069" y="890056"/>
                  <a:pt x="1130139" y="890056"/>
                  <a:pt x="1130139" y="890056"/>
                </a:cubicBezTo>
                <a:cubicBezTo>
                  <a:pt x="1130139" y="889282"/>
                  <a:pt x="1130139" y="890056"/>
                  <a:pt x="1129313" y="890676"/>
                </a:cubicBezTo>
                <a:cubicBezTo>
                  <a:pt x="1127558" y="889747"/>
                  <a:pt x="1126629" y="889747"/>
                  <a:pt x="1125699" y="888817"/>
                </a:cubicBezTo>
                <a:cubicBezTo>
                  <a:pt x="1125287" y="888353"/>
                  <a:pt x="1124873" y="887578"/>
                  <a:pt x="1124667" y="886959"/>
                </a:cubicBezTo>
                <a:cubicBezTo>
                  <a:pt x="1124460" y="886339"/>
                  <a:pt x="1124564" y="885719"/>
                  <a:pt x="1124977" y="885410"/>
                </a:cubicBezTo>
                <a:cubicBezTo>
                  <a:pt x="1125803" y="885410"/>
                  <a:pt x="1125803" y="884635"/>
                  <a:pt x="1126732" y="884635"/>
                </a:cubicBezTo>
                <a:close/>
                <a:moveTo>
                  <a:pt x="1821956" y="884480"/>
                </a:moveTo>
                <a:cubicBezTo>
                  <a:pt x="1821543" y="885565"/>
                  <a:pt x="1820924" y="886649"/>
                  <a:pt x="1820717" y="887733"/>
                </a:cubicBezTo>
                <a:cubicBezTo>
                  <a:pt x="1820510" y="888662"/>
                  <a:pt x="1820614" y="889437"/>
                  <a:pt x="1821234" y="889747"/>
                </a:cubicBezTo>
                <a:lnTo>
                  <a:pt x="1823711" y="888198"/>
                </a:lnTo>
                <a:lnTo>
                  <a:pt x="1823608" y="888043"/>
                </a:lnTo>
                <a:cubicBezTo>
                  <a:pt x="1823092" y="887269"/>
                  <a:pt x="1822576" y="886494"/>
                  <a:pt x="1822266" y="885719"/>
                </a:cubicBezTo>
                <a:close/>
                <a:moveTo>
                  <a:pt x="3406606" y="884344"/>
                </a:moveTo>
                <a:cubicBezTo>
                  <a:pt x="3412155" y="886904"/>
                  <a:pt x="3413862" y="891030"/>
                  <a:pt x="3413222" y="895868"/>
                </a:cubicBezTo>
                <a:cubicBezTo>
                  <a:pt x="3408100" y="899566"/>
                  <a:pt x="3400630" y="894160"/>
                  <a:pt x="3401484" y="888042"/>
                </a:cubicBezTo>
                <a:cubicBezTo>
                  <a:pt x="3402764" y="887189"/>
                  <a:pt x="3404045" y="885055"/>
                  <a:pt x="3406606" y="884344"/>
                </a:cubicBezTo>
                <a:close/>
                <a:moveTo>
                  <a:pt x="1049084" y="884015"/>
                </a:moveTo>
                <a:cubicBezTo>
                  <a:pt x="1051458" y="884945"/>
                  <a:pt x="1053007" y="886184"/>
                  <a:pt x="1055279" y="887114"/>
                </a:cubicBezTo>
                <a:cubicBezTo>
                  <a:pt x="1055279" y="890676"/>
                  <a:pt x="1052078" y="890212"/>
                  <a:pt x="1048980" y="889592"/>
                </a:cubicBezTo>
                <a:cubicBezTo>
                  <a:pt x="1049084" y="888662"/>
                  <a:pt x="1048670" y="887733"/>
                  <a:pt x="1048464" y="886959"/>
                </a:cubicBezTo>
                <a:cubicBezTo>
                  <a:pt x="1048258" y="886029"/>
                  <a:pt x="1048258" y="885255"/>
                  <a:pt x="1049084" y="884015"/>
                </a:cubicBezTo>
                <a:close/>
                <a:moveTo>
                  <a:pt x="3278554" y="883774"/>
                </a:moveTo>
                <a:cubicBezTo>
                  <a:pt x="3278767" y="883774"/>
                  <a:pt x="3278981" y="884059"/>
                  <a:pt x="3279621" y="884771"/>
                </a:cubicBezTo>
                <a:cubicBezTo>
                  <a:pt x="3278554" y="886051"/>
                  <a:pt x="3278554" y="884771"/>
                  <a:pt x="3277487" y="884771"/>
                </a:cubicBezTo>
                <a:cubicBezTo>
                  <a:pt x="3278127" y="884059"/>
                  <a:pt x="3278341" y="883774"/>
                  <a:pt x="3278554" y="883774"/>
                </a:cubicBezTo>
                <a:close/>
                <a:moveTo>
                  <a:pt x="3363068" y="883490"/>
                </a:moveTo>
                <a:cubicBezTo>
                  <a:pt x="3359654" y="891030"/>
                  <a:pt x="3357946" y="900277"/>
                  <a:pt x="3352184" y="906822"/>
                </a:cubicBezTo>
                <a:cubicBezTo>
                  <a:pt x="3348983" y="899140"/>
                  <a:pt x="3351757" y="883063"/>
                  <a:pt x="3363068" y="883490"/>
                </a:cubicBezTo>
                <a:close/>
                <a:moveTo>
                  <a:pt x="3876129" y="883205"/>
                </a:moveTo>
                <a:cubicBezTo>
                  <a:pt x="3877197" y="883063"/>
                  <a:pt x="3878477" y="883347"/>
                  <a:pt x="3879544" y="884059"/>
                </a:cubicBezTo>
                <a:cubicBezTo>
                  <a:pt x="3880611" y="885197"/>
                  <a:pt x="3880398" y="887616"/>
                  <a:pt x="3878691" y="891172"/>
                </a:cubicBezTo>
                <a:cubicBezTo>
                  <a:pt x="3876343" y="892311"/>
                  <a:pt x="3873355" y="888754"/>
                  <a:pt x="3871221" y="887474"/>
                </a:cubicBezTo>
                <a:cubicBezTo>
                  <a:pt x="3872501" y="886335"/>
                  <a:pt x="3873782" y="885055"/>
                  <a:pt x="3872501" y="885055"/>
                </a:cubicBezTo>
                <a:cubicBezTo>
                  <a:pt x="3873782" y="883917"/>
                  <a:pt x="3875062" y="883347"/>
                  <a:pt x="3876129" y="883205"/>
                </a:cubicBezTo>
                <a:close/>
                <a:moveTo>
                  <a:pt x="1304539" y="881537"/>
                </a:moveTo>
                <a:cubicBezTo>
                  <a:pt x="1305675" y="882157"/>
                  <a:pt x="1306398" y="883241"/>
                  <a:pt x="1306295" y="884945"/>
                </a:cubicBezTo>
                <a:cubicBezTo>
                  <a:pt x="1303094" y="889592"/>
                  <a:pt x="1299273" y="886339"/>
                  <a:pt x="1293594" y="886494"/>
                </a:cubicBezTo>
                <a:cubicBezTo>
                  <a:pt x="1294317" y="882002"/>
                  <a:pt x="1301235" y="879679"/>
                  <a:pt x="1304539" y="881537"/>
                </a:cubicBezTo>
                <a:close/>
                <a:moveTo>
                  <a:pt x="1427311" y="880453"/>
                </a:moveTo>
                <a:cubicBezTo>
                  <a:pt x="1429686" y="881227"/>
                  <a:pt x="1430615" y="882621"/>
                  <a:pt x="1430305" y="883861"/>
                </a:cubicBezTo>
                <a:lnTo>
                  <a:pt x="1428447" y="889127"/>
                </a:lnTo>
                <a:lnTo>
                  <a:pt x="1428963" y="889592"/>
                </a:lnTo>
                <a:cubicBezTo>
                  <a:pt x="1429479" y="892380"/>
                  <a:pt x="1425556" y="895168"/>
                  <a:pt x="1422251" y="895323"/>
                </a:cubicBezTo>
                <a:lnTo>
                  <a:pt x="1420186" y="894859"/>
                </a:lnTo>
                <a:lnTo>
                  <a:pt x="1419980" y="895013"/>
                </a:lnTo>
                <a:cubicBezTo>
                  <a:pt x="1417295" y="894084"/>
                  <a:pt x="1416572" y="893929"/>
                  <a:pt x="1416779" y="891141"/>
                </a:cubicBezTo>
                <a:cubicBezTo>
                  <a:pt x="1416882" y="890366"/>
                  <a:pt x="1416985" y="889127"/>
                  <a:pt x="1417295" y="887578"/>
                </a:cubicBezTo>
                <a:cubicBezTo>
                  <a:pt x="1417502" y="886494"/>
                  <a:pt x="1418121" y="885410"/>
                  <a:pt x="1418947" y="884635"/>
                </a:cubicBezTo>
                <a:cubicBezTo>
                  <a:pt x="1419773" y="883861"/>
                  <a:pt x="1420909" y="883241"/>
                  <a:pt x="1422251" y="883086"/>
                </a:cubicBezTo>
                <a:cubicBezTo>
                  <a:pt x="1423181" y="881537"/>
                  <a:pt x="1425349" y="880453"/>
                  <a:pt x="1427311" y="880453"/>
                </a:cubicBezTo>
                <a:close/>
                <a:moveTo>
                  <a:pt x="4069274" y="878653"/>
                </a:moveTo>
                <a:cubicBezTo>
                  <a:pt x="4076744" y="878510"/>
                  <a:pt x="4082293" y="880787"/>
                  <a:pt x="4087628" y="879080"/>
                </a:cubicBezTo>
                <a:cubicBezTo>
                  <a:pt x="4087628" y="879080"/>
                  <a:pt x="4087628" y="879080"/>
                  <a:pt x="4089549" y="881640"/>
                </a:cubicBezTo>
                <a:cubicBezTo>
                  <a:pt x="4090616" y="881640"/>
                  <a:pt x="4090616" y="881640"/>
                  <a:pt x="4090616" y="881640"/>
                </a:cubicBezTo>
                <a:cubicBezTo>
                  <a:pt x="4091256" y="881640"/>
                  <a:pt x="4091470" y="882210"/>
                  <a:pt x="4091683" y="882779"/>
                </a:cubicBezTo>
                <a:cubicBezTo>
                  <a:pt x="4091683" y="883490"/>
                  <a:pt x="4091683" y="884059"/>
                  <a:pt x="4091683" y="884059"/>
                </a:cubicBezTo>
                <a:cubicBezTo>
                  <a:pt x="4090189" y="886335"/>
                  <a:pt x="4086988" y="885197"/>
                  <a:pt x="4084640" y="885197"/>
                </a:cubicBezTo>
                <a:cubicBezTo>
                  <a:pt x="4083360" y="887616"/>
                  <a:pt x="4080372" y="882636"/>
                  <a:pt x="4079092" y="885055"/>
                </a:cubicBezTo>
                <a:cubicBezTo>
                  <a:pt x="4074823" y="880075"/>
                  <a:pt x="4068634" y="886051"/>
                  <a:pt x="4061164" y="879933"/>
                </a:cubicBezTo>
                <a:cubicBezTo>
                  <a:pt x="4064152" y="879080"/>
                  <a:pt x="4066926" y="878653"/>
                  <a:pt x="4069274" y="878653"/>
                </a:cubicBezTo>
                <a:close/>
                <a:moveTo>
                  <a:pt x="1308257" y="878439"/>
                </a:moveTo>
                <a:cubicBezTo>
                  <a:pt x="1312180" y="876891"/>
                  <a:pt x="1319511" y="880453"/>
                  <a:pt x="1317550" y="885719"/>
                </a:cubicBezTo>
                <a:cubicBezTo>
                  <a:pt x="1315588" y="887423"/>
                  <a:pt x="1313626" y="889127"/>
                  <a:pt x="1309392" y="888043"/>
                </a:cubicBezTo>
                <a:cubicBezTo>
                  <a:pt x="1308257" y="886649"/>
                  <a:pt x="1307534" y="885255"/>
                  <a:pt x="1307327" y="883861"/>
                </a:cubicBezTo>
                <a:cubicBezTo>
                  <a:pt x="1307224" y="882312"/>
                  <a:pt x="1307430" y="880608"/>
                  <a:pt x="1308257" y="878439"/>
                </a:cubicBezTo>
                <a:close/>
                <a:moveTo>
                  <a:pt x="3838781" y="877657"/>
                </a:moveTo>
                <a:cubicBezTo>
                  <a:pt x="3840061" y="877230"/>
                  <a:pt x="3841342" y="877230"/>
                  <a:pt x="3842409" y="877657"/>
                </a:cubicBezTo>
                <a:cubicBezTo>
                  <a:pt x="3847958" y="885339"/>
                  <a:pt x="3838781" y="889181"/>
                  <a:pt x="3834726" y="886477"/>
                </a:cubicBezTo>
                <a:cubicBezTo>
                  <a:pt x="3833019" y="882210"/>
                  <a:pt x="3835580" y="878510"/>
                  <a:pt x="3838781" y="877657"/>
                </a:cubicBezTo>
                <a:close/>
                <a:moveTo>
                  <a:pt x="3849239" y="877372"/>
                </a:moveTo>
                <a:cubicBezTo>
                  <a:pt x="3855427" y="878226"/>
                  <a:pt x="3861830" y="886477"/>
                  <a:pt x="3864818" y="895868"/>
                </a:cubicBezTo>
                <a:cubicBezTo>
                  <a:pt x="3868020" y="905257"/>
                  <a:pt x="3868020" y="915643"/>
                  <a:pt x="3860977" y="920480"/>
                </a:cubicBezTo>
                <a:cubicBezTo>
                  <a:pt x="3861830" y="903265"/>
                  <a:pt x="3845184" y="896152"/>
                  <a:pt x="3849239" y="877372"/>
                </a:cubicBezTo>
                <a:close/>
                <a:moveTo>
                  <a:pt x="3941436" y="876945"/>
                </a:moveTo>
                <a:cubicBezTo>
                  <a:pt x="3945064" y="876661"/>
                  <a:pt x="3951680" y="878083"/>
                  <a:pt x="3952534" y="878083"/>
                </a:cubicBezTo>
                <a:cubicBezTo>
                  <a:pt x="3952534" y="878083"/>
                  <a:pt x="3953814" y="878083"/>
                  <a:pt x="3954881" y="878083"/>
                </a:cubicBezTo>
                <a:cubicBezTo>
                  <a:pt x="3955949" y="879364"/>
                  <a:pt x="3955735" y="880502"/>
                  <a:pt x="3957016" y="880502"/>
                </a:cubicBezTo>
                <a:cubicBezTo>
                  <a:pt x="3953174" y="884059"/>
                  <a:pt x="3949759" y="882779"/>
                  <a:pt x="3946345" y="881640"/>
                </a:cubicBezTo>
                <a:cubicBezTo>
                  <a:pt x="3944210" y="880360"/>
                  <a:pt x="3943143" y="880360"/>
                  <a:pt x="3940795" y="881498"/>
                </a:cubicBezTo>
                <a:cubicBezTo>
                  <a:pt x="3940795" y="881498"/>
                  <a:pt x="3940795" y="881356"/>
                  <a:pt x="3938662" y="879080"/>
                </a:cubicBezTo>
                <a:lnTo>
                  <a:pt x="3938874" y="877799"/>
                </a:lnTo>
                <a:cubicBezTo>
                  <a:pt x="3939088" y="877230"/>
                  <a:pt x="3940155" y="876945"/>
                  <a:pt x="3941436" y="876945"/>
                </a:cubicBezTo>
                <a:close/>
                <a:moveTo>
                  <a:pt x="3423893" y="876376"/>
                </a:moveTo>
                <a:cubicBezTo>
                  <a:pt x="3438406" y="884486"/>
                  <a:pt x="3435844" y="903977"/>
                  <a:pt x="3428801" y="920622"/>
                </a:cubicBezTo>
                <a:lnTo>
                  <a:pt x="3426027" y="926171"/>
                </a:lnTo>
                <a:lnTo>
                  <a:pt x="3429015" y="928020"/>
                </a:lnTo>
                <a:lnTo>
                  <a:pt x="3429015" y="928447"/>
                </a:lnTo>
                <a:lnTo>
                  <a:pt x="3429655" y="928447"/>
                </a:lnTo>
                <a:cubicBezTo>
                  <a:pt x="3430082" y="928589"/>
                  <a:pt x="3430509" y="928731"/>
                  <a:pt x="3430936" y="928447"/>
                </a:cubicBezTo>
                <a:cubicBezTo>
                  <a:pt x="3430936" y="928447"/>
                  <a:pt x="3431363" y="929443"/>
                  <a:pt x="3431363" y="929443"/>
                </a:cubicBezTo>
                <a:cubicBezTo>
                  <a:pt x="3431789" y="929301"/>
                  <a:pt x="3431789" y="929158"/>
                  <a:pt x="3431576" y="929585"/>
                </a:cubicBezTo>
                <a:cubicBezTo>
                  <a:pt x="3431576" y="930012"/>
                  <a:pt x="3431149" y="930723"/>
                  <a:pt x="3431149" y="932146"/>
                </a:cubicBezTo>
                <a:cubicBezTo>
                  <a:pt x="3430509" y="933569"/>
                  <a:pt x="3430936" y="934707"/>
                  <a:pt x="3429442" y="934138"/>
                </a:cubicBezTo>
                <a:cubicBezTo>
                  <a:pt x="3428801" y="933853"/>
                  <a:pt x="3428375" y="933711"/>
                  <a:pt x="3428161" y="933284"/>
                </a:cubicBezTo>
                <a:lnTo>
                  <a:pt x="3427735" y="932573"/>
                </a:lnTo>
                <a:lnTo>
                  <a:pt x="3423253" y="935703"/>
                </a:lnTo>
                <a:lnTo>
                  <a:pt x="3421972" y="933569"/>
                </a:lnTo>
                <a:lnTo>
                  <a:pt x="3420905" y="935703"/>
                </a:lnTo>
                <a:cubicBezTo>
                  <a:pt x="3404898" y="916070"/>
                  <a:pt x="3414502" y="896294"/>
                  <a:pt x="3423893" y="876376"/>
                </a:cubicBezTo>
                <a:close/>
                <a:moveTo>
                  <a:pt x="3765791" y="876092"/>
                </a:moveTo>
                <a:cubicBezTo>
                  <a:pt x="3764511" y="881783"/>
                  <a:pt x="3760456" y="887331"/>
                  <a:pt x="3754693" y="892311"/>
                </a:cubicBezTo>
                <a:lnTo>
                  <a:pt x="3750852" y="894445"/>
                </a:lnTo>
                <a:lnTo>
                  <a:pt x="3758322" y="902697"/>
                </a:lnTo>
                <a:cubicBezTo>
                  <a:pt x="3760669" y="906111"/>
                  <a:pt x="3762590" y="909098"/>
                  <a:pt x="3763231" y="910236"/>
                </a:cubicBezTo>
                <a:cubicBezTo>
                  <a:pt x="3763657" y="911374"/>
                  <a:pt x="3763871" y="912086"/>
                  <a:pt x="3763657" y="912940"/>
                </a:cubicBezTo>
                <a:cubicBezTo>
                  <a:pt x="3763231" y="913651"/>
                  <a:pt x="3762590" y="914220"/>
                  <a:pt x="3761310" y="915074"/>
                </a:cubicBezTo>
                <a:cubicBezTo>
                  <a:pt x="3755547" y="915785"/>
                  <a:pt x="3753840" y="910094"/>
                  <a:pt x="3749785" y="906111"/>
                </a:cubicBezTo>
                <a:cubicBezTo>
                  <a:pt x="3750425" y="904972"/>
                  <a:pt x="3750212" y="903407"/>
                  <a:pt x="3749145" y="902697"/>
                </a:cubicBezTo>
                <a:cubicBezTo>
                  <a:pt x="3748931" y="901131"/>
                  <a:pt x="3748505" y="899424"/>
                  <a:pt x="3747864" y="900562"/>
                </a:cubicBezTo>
                <a:lnTo>
                  <a:pt x="3747224" y="896578"/>
                </a:lnTo>
                <a:lnTo>
                  <a:pt x="3734205" y="904119"/>
                </a:lnTo>
                <a:cubicBezTo>
                  <a:pt x="3718839" y="909809"/>
                  <a:pt x="3702619" y="909952"/>
                  <a:pt x="3696003" y="899424"/>
                </a:cubicBezTo>
                <a:lnTo>
                  <a:pt x="3713504" y="893307"/>
                </a:lnTo>
                <a:cubicBezTo>
                  <a:pt x="3713290" y="892168"/>
                  <a:pt x="3714357" y="892168"/>
                  <a:pt x="3714144" y="891030"/>
                </a:cubicBezTo>
                <a:cubicBezTo>
                  <a:pt x="3714144" y="891030"/>
                  <a:pt x="3715211" y="890888"/>
                  <a:pt x="3715211" y="890888"/>
                </a:cubicBezTo>
                <a:cubicBezTo>
                  <a:pt x="3715211" y="890319"/>
                  <a:pt x="3715211" y="890461"/>
                  <a:pt x="3715638" y="890603"/>
                </a:cubicBezTo>
                <a:lnTo>
                  <a:pt x="3717132" y="891599"/>
                </a:lnTo>
                <a:lnTo>
                  <a:pt x="3729083" y="885909"/>
                </a:lnTo>
                <a:cubicBezTo>
                  <a:pt x="3739541" y="881071"/>
                  <a:pt x="3750639" y="876661"/>
                  <a:pt x="3765791" y="876092"/>
                </a:cubicBezTo>
                <a:close/>
                <a:moveTo>
                  <a:pt x="3492187" y="874527"/>
                </a:moveTo>
                <a:cubicBezTo>
                  <a:pt x="3499017" y="874385"/>
                  <a:pt x="3503498" y="878795"/>
                  <a:pt x="3506060" y="884486"/>
                </a:cubicBezTo>
                <a:cubicBezTo>
                  <a:pt x="3508621" y="890176"/>
                  <a:pt x="3509688" y="897148"/>
                  <a:pt x="3509474" y="901843"/>
                </a:cubicBezTo>
                <a:cubicBezTo>
                  <a:pt x="3505846" y="898143"/>
                  <a:pt x="3501791" y="894871"/>
                  <a:pt x="3498590" y="890603"/>
                </a:cubicBezTo>
                <a:cubicBezTo>
                  <a:pt x="3495389" y="886477"/>
                  <a:pt x="3493041" y="881498"/>
                  <a:pt x="3492187" y="874527"/>
                </a:cubicBezTo>
                <a:close/>
                <a:moveTo>
                  <a:pt x="3332336" y="872820"/>
                </a:moveTo>
                <a:lnTo>
                  <a:pt x="3331055" y="880502"/>
                </a:lnTo>
                <a:lnTo>
                  <a:pt x="3332549" y="878795"/>
                </a:lnTo>
                <a:cubicBezTo>
                  <a:pt x="3333830" y="878937"/>
                  <a:pt x="3334684" y="879506"/>
                  <a:pt x="3335537" y="880360"/>
                </a:cubicBezTo>
                <a:lnTo>
                  <a:pt x="3336604" y="881925"/>
                </a:lnTo>
                <a:lnTo>
                  <a:pt x="3337672" y="878937"/>
                </a:lnTo>
                <a:lnTo>
                  <a:pt x="3338525" y="877657"/>
                </a:lnTo>
                <a:lnTo>
                  <a:pt x="3333617" y="875238"/>
                </a:lnTo>
                <a:close/>
                <a:moveTo>
                  <a:pt x="3417917" y="870686"/>
                </a:moveTo>
                <a:cubicBezTo>
                  <a:pt x="3417917" y="871966"/>
                  <a:pt x="3418130" y="874385"/>
                  <a:pt x="3420478" y="875665"/>
                </a:cubicBezTo>
                <a:cubicBezTo>
                  <a:pt x="3418344" y="877941"/>
                  <a:pt x="3415997" y="880218"/>
                  <a:pt x="3413649" y="877657"/>
                </a:cubicBezTo>
                <a:cubicBezTo>
                  <a:pt x="3412582" y="876376"/>
                  <a:pt x="3411301" y="875238"/>
                  <a:pt x="3411088" y="872820"/>
                </a:cubicBezTo>
                <a:cubicBezTo>
                  <a:pt x="3413222" y="870544"/>
                  <a:pt x="3416850" y="871824"/>
                  <a:pt x="3417917" y="870686"/>
                </a:cubicBezTo>
                <a:close/>
                <a:moveTo>
                  <a:pt x="3548103" y="870117"/>
                </a:moveTo>
                <a:cubicBezTo>
                  <a:pt x="3552372" y="870401"/>
                  <a:pt x="3559201" y="872962"/>
                  <a:pt x="3559201" y="873816"/>
                </a:cubicBezTo>
                <a:cubicBezTo>
                  <a:pt x="3560268" y="873958"/>
                  <a:pt x="3560268" y="875096"/>
                  <a:pt x="3561549" y="875238"/>
                </a:cubicBezTo>
                <a:cubicBezTo>
                  <a:pt x="3561549" y="875238"/>
                  <a:pt x="3562615" y="875238"/>
                  <a:pt x="3563896" y="876519"/>
                </a:cubicBezTo>
                <a:cubicBezTo>
                  <a:pt x="3565177" y="877799"/>
                  <a:pt x="3566458" y="879080"/>
                  <a:pt x="3565390" y="881356"/>
                </a:cubicBezTo>
                <a:cubicBezTo>
                  <a:pt x="3555787" y="877372"/>
                  <a:pt x="3551091" y="877088"/>
                  <a:pt x="3544048" y="873104"/>
                </a:cubicBezTo>
                <a:cubicBezTo>
                  <a:pt x="3544048" y="871966"/>
                  <a:pt x="3545116" y="871966"/>
                  <a:pt x="3545116" y="870686"/>
                </a:cubicBezTo>
                <a:cubicBezTo>
                  <a:pt x="3545542" y="870117"/>
                  <a:pt x="3546823" y="869974"/>
                  <a:pt x="3548103" y="870117"/>
                </a:cubicBezTo>
                <a:close/>
                <a:moveTo>
                  <a:pt x="3605086" y="869832"/>
                </a:moveTo>
                <a:cubicBezTo>
                  <a:pt x="3607861" y="869832"/>
                  <a:pt x="3610849" y="870259"/>
                  <a:pt x="3611916" y="871681"/>
                </a:cubicBezTo>
                <a:cubicBezTo>
                  <a:pt x="3612982" y="883205"/>
                  <a:pt x="3603806" y="884344"/>
                  <a:pt x="3599751" y="879080"/>
                </a:cubicBezTo>
                <a:cubicBezTo>
                  <a:pt x="3598470" y="877372"/>
                  <a:pt x="3597616" y="874954"/>
                  <a:pt x="3597830" y="871966"/>
                </a:cubicBezTo>
                <a:cubicBezTo>
                  <a:pt x="3599324" y="870686"/>
                  <a:pt x="3602311" y="869974"/>
                  <a:pt x="3605086" y="869832"/>
                </a:cubicBezTo>
                <a:close/>
                <a:moveTo>
                  <a:pt x="1447033" y="869765"/>
                </a:moveTo>
                <a:cubicBezTo>
                  <a:pt x="1448685" y="871314"/>
                  <a:pt x="1450337" y="872863"/>
                  <a:pt x="1448478" y="874722"/>
                </a:cubicBezTo>
                <a:cubicBezTo>
                  <a:pt x="1447549" y="875496"/>
                  <a:pt x="1446620" y="876426"/>
                  <a:pt x="1444968" y="876581"/>
                </a:cubicBezTo>
                <a:cubicBezTo>
                  <a:pt x="1443316" y="875032"/>
                  <a:pt x="1444245" y="872398"/>
                  <a:pt x="1443419" y="871624"/>
                </a:cubicBezTo>
                <a:cubicBezTo>
                  <a:pt x="1444348" y="871624"/>
                  <a:pt x="1446000" y="871469"/>
                  <a:pt x="1447033" y="869765"/>
                </a:cubicBezTo>
                <a:close/>
                <a:moveTo>
                  <a:pt x="3580970" y="868836"/>
                </a:moveTo>
                <a:cubicBezTo>
                  <a:pt x="3592921" y="872108"/>
                  <a:pt x="3591641" y="886762"/>
                  <a:pt x="3583957" y="888754"/>
                </a:cubicBezTo>
                <a:cubicBezTo>
                  <a:pt x="3581397" y="889323"/>
                  <a:pt x="3578195" y="888611"/>
                  <a:pt x="3574567" y="885624"/>
                </a:cubicBezTo>
                <a:cubicBezTo>
                  <a:pt x="3578195" y="878368"/>
                  <a:pt x="3575207" y="872820"/>
                  <a:pt x="3580970" y="868836"/>
                </a:cubicBezTo>
                <a:close/>
                <a:moveTo>
                  <a:pt x="1212228" y="868836"/>
                </a:moveTo>
                <a:cubicBezTo>
                  <a:pt x="1214603" y="867287"/>
                  <a:pt x="1219869" y="867597"/>
                  <a:pt x="1219456" y="870849"/>
                </a:cubicBezTo>
                <a:lnTo>
                  <a:pt x="1218940" y="871469"/>
                </a:lnTo>
                <a:lnTo>
                  <a:pt x="1219250" y="871779"/>
                </a:lnTo>
                <a:cubicBezTo>
                  <a:pt x="1219250" y="872708"/>
                  <a:pt x="1219146" y="873792"/>
                  <a:pt x="1219146" y="874722"/>
                </a:cubicBezTo>
                <a:cubicBezTo>
                  <a:pt x="1221005" y="875341"/>
                  <a:pt x="1217598" y="878284"/>
                  <a:pt x="1219456" y="878749"/>
                </a:cubicBezTo>
                <a:cubicBezTo>
                  <a:pt x="1216152" y="882621"/>
                  <a:pt x="1220695" y="886184"/>
                  <a:pt x="1216668" y="892535"/>
                </a:cubicBezTo>
                <a:cubicBezTo>
                  <a:pt x="1215842" y="890521"/>
                  <a:pt x="1215532" y="888662"/>
                  <a:pt x="1215326" y="886959"/>
                </a:cubicBezTo>
                <a:cubicBezTo>
                  <a:pt x="1215120" y="884171"/>
                  <a:pt x="1215326" y="881847"/>
                  <a:pt x="1215429" y="879524"/>
                </a:cubicBezTo>
                <a:lnTo>
                  <a:pt x="1214706" y="874102"/>
                </a:lnTo>
                <a:lnTo>
                  <a:pt x="1213054" y="873173"/>
                </a:lnTo>
                <a:cubicBezTo>
                  <a:pt x="1212228" y="872553"/>
                  <a:pt x="1211815" y="871934"/>
                  <a:pt x="1211505" y="871469"/>
                </a:cubicBezTo>
                <a:cubicBezTo>
                  <a:pt x="1211196" y="870849"/>
                  <a:pt x="1211093" y="870384"/>
                  <a:pt x="1211299" y="869920"/>
                </a:cubicBezTo>
                <a:cubicBezTo>
                  <a:pt x="1211505" y="869610"/>
                  <a:pt x="1211815" y="869146"/>
                  <a:pt x="1212228" y="868836"/>
                </a:cubicBezTo>
                <a:close/>
                <a:moveTo>
                  <a:pt x="1242586" y="868526"/>
                </a:moveTo>
                <a:cubicBezTo>
                  <a:pt x="1245993" y="866822"/>
                  <a:pt x="1251569" y="873018"/>
                  <a:pt x="1255596" y="875651"/>
                </a:cubicBezTo>
                <a:cubicBezTo>
                  <a:pt x="1254873" y="879214"/>
                  <a:pt x="1254254" y="880298"/>
                  <a:pt x="1251466" y="882621"/>
                </a:cubicBezTo>
                <a:cubicBezTo>
                  <a:pt x="1245787" y="881072"/>
                  <a:pt x="1242999" y="877200"/>
                  <a:pt x="1240107" y="873328"/>
                </a:cubicBezTo>
                <a:cubicBezTo>
                  <a:pt x="1240521" y="870540"/>
                  <a:pt x="1241450" y="869146"/>
                  <a:pt x="1242586" y="868526"/>
                </a:cubicBezTo>
                <a:close/>
                <a:moveTo>
                  <a:pt x="3805274" y="865706"/>
                </a:moveTo>
                <a:cubicBezTo>
                  <a:pt x="3805060" y="868409"/>
                  <a:pt x="3806555" y="868979"/>
                  <a:pt x="3804207" y="872678"/>
                </a:cubicBezTo>
                <a:cubicBezTo>
                  <a:pt x="3802927" y="872108"/>
                  <a:pt x="3801432" y="871539"/>
                  <a:pt x="3799939" y="870970"/>
                </a:cubicBezTo>
                <a:cubicBezTo>
                  <a:pt x="3801219" y="867840"/>
                  <a:pt x="3802499" y="864710"/>
                  <a:pt x="3805274" y="865706"/>
                </a:cubicBezTo>
                <a:close/>
                <a:moveTo>
                  <a:pt x="1394269" y="864654"/>
                </a:moveTo>
                <a:cubicBezTo>
                  <a:pt x="1394269" y="864654"/>
                  <a:pt x="1394992" y="865118"/>
                  <a:pt x="1394992" y="865118"/>
                </a:cubicBezTo>
                <a:cubicBezTo>
                  <a:pt x="1395198" y="864808"/>
                  <a:pt x="1395198" y="864808"/>
                  <a:pt x="1395198" y="864963"/>
                </a:cubicBezTo>
                <a:cubicBezTo>
                  <a:pt x="1395302" y="865273"/>
                  <a:pt x="1395508" y="865893"/>
                  <a:pt x="1396024" y="866667"/>
                </a:cubicBezTo>
                <a:cubicBezTo>
                  <a:pt x="1396334" y="867751"/>
                  <a:pt x="1397057" y="868216"/>
                  <a:pt x="1395921" y="868371"/>
                </a:cubicBezTo>
                <a:cubicBezTo>
                  <a:pt x="1394785" y="868681"/>
                  <a:pt x="1394785" y="868681"/>
                  <a:pt x="1392617" y="867132"/>
                </a:cubicBezTo>
                <a:cubicBezTo>
                  <a:pt x="1393753" y="866977"/>
                  <a:pt x="1393753" y="866977"/>
                  <a:pt x="1393443" y="865893"/>
                </a:cubicBezTo>
                <a:cubicBezTo>
                  <a:pt x="1393443" y="865893"/>
                  <a:pt x="1393443" y="865893"/>
                  <a:pt x="1392617" y="865428"/>
                </a:cubicBezTo>
                <a:cubicBezTo>
                  <a:pt x="1393030" y="864808"/>
                  <a:pt x="1393856" y="865273"/>
                  <a:pt x="1394269" y="864654"/>
                </a:cubicBezTo>
                <a:close/>
                <a:moveTo>
                  <a:pt x="1486167" y="861711"/>
                </a:moveTo>
                <a:cubicBezTo>
                  <a:pt x="1486477" y="861711"/>
                  <a:pt x="1486993" y="862020"/>
                  <a:pt x="1487923" y="862020"/>
                </a:cubicBezTo>
                <a:cubicBezTo>
                  <a:pt x="1489058" y="862485"/>
                  <a:pt x="1489884" y="862175"/>
                  <a:pt x="1489471" y="863259"/>
                </a:cubicBezTo>
                <a:cubicBezTo>
                  <a:pt x="1489058" y="864189"/>
                  <a:pt x="1489058" y="864189"/>
                  <a:pt x="1486787" y="865118"/>
                </a:cubicBezTo>
                <a:cubicBezTo>
                  <a:pt x="1487200" y="864034"/>
                  <a:pt x="1487096" y="864034"/>
                  <a:pt x="1486064" y="863724"/>
                </a:cubicBezTo>
                <a:cubicBezTo>
                  <a:pt x="1486064" y="863724"/>
                  <a:pt x="1486064" y="863724"/>
                  <a:pt x="1485341" y="864034"/>
                </a:cubicBezTo>
                <a:cubicBezTo>
                  <a:pt x="1484928" y="863259"/>
                  <a:pt x="1485651" y="862950"/>
                  <a:pt x="1485341" y="862175"/>
                </a:cubicBezTo>
                <a:cubicBezTo>
                  <a:pt x="1485341" y="862175"/>
                  <a:pt x="1486064" y="861865"/>
                  <a:pt x="1486064" y="861865"/>
                </a:cubicBezTo>
                <a:cubicBezTo>
                  <a:pt x="1485857" y="861556"/>
                  <a:pt x="1485857" y="861556"/>
                  <a:pt x="1486167" y="861711"/>
                </a:cubicBezTo>
                <a:close/>
                <a:moveTo>
                  <a:pt x="1343815" y="861343"/>
                </a:moveTo>
                <a:cubicBezTo>
                  <a:pt x="1348010" y="860433"/>
                  <a:pt x="1352141" y="860471"/>
                  <a:pt x="1353483" y="861556"/>
                </a:cubicBezTo>
                <a:cubicBezTo>
                  <a:pt x="1351004" y="864499"/>
                  <a:pt x="1347494" y="864034"/>
                  <a:pt x="1344190" y="867132"/>
                </a:cubicBezTo>
                <a:cubicBezTo>
                  <a:pt x="1341505" y="865738"/>
                  <a:pt x="1337375" y="868836"/>
                  <a:pt x="1333761" y="866822"/>
                </a:cubicBezTo>
                <a:cubicBezTo>
                  <a:pt x="1335361" y="864111"/>
                  <a:pt x="1339621" y="862253"/>
                  <a:pt x="1343815" y="861343"/>
                </a:cubicBezTo>
                <a:close/>
                <a:moveTo>
                  <a:pt x="3466790" y="861296"/>
                </a:moveTo>
                <a:cubicBezTo>
                  <a:pt x="3470419" y="864710"/>
                  <a:pt x="3473833" y="868836"/>
                  <a:pt x="3476394" y="874100"/>
                </a:cubicBezTo>
                <a:cubicBezTo>
                  <a:pt x="3478742" y="879222"/>
                  <a:pt x="3480236" y="885482"/>
                  <a:pt x="3480236" y="893164"/>
                </a:cubicBezTo>
                <a:cubicBezTo>
                  <a:pt x="3474473" y="898997"/>
                  <a:pt x="3468711" y="896863"/>
                  <a:pt x="3464656" y="891599"/>
                </a:cubicBezTo>
                <a:cubicBezTo>
                  <a:pt x="3458040" y="882779"/>
                  <a:pt x="3456333" y="865137"/>
                  <a:pt x="3466790" y="861296"/>
                </a:cubicBezTo>
                <a:close/>
                <a:moveTo>
                  <a:pt x="1111244" y="861091"/>
                </a:moveTo>
                <a:cubicBezTo>
                  <a:pt x="1111863" y="860936"/>
                  <a:pt x="1112483" y="861091"/>
                  <a:pt x="1113309" y="861556"/>
                </a:cubicBezTo>
                <a:cubicBezTo>
                  <a:pt x="1110624" y="868061"/>
                  <a:pt x="1110521" y="871314"/>
                  <a:pt x="1107836" y="876116"/>
                </a:cubicBezTo>
                <a:cubicBezTo>
                  <a:pt x="1106907" y="876116"/>
                  <a:pt x="1106907" y="875187"/>
                  <a:pt x="1106081" y="875187"/>
                </a:cubicBezTo>
                <a:cubicBezTo>
                  <a:pt x="1105668" y="874722"/>
                  <a:pt x="1105461" y="873792"/>
                  <a:pt x="1105461" y="872863"/>
                </a:cubicBezTo>
                <a:cubicBezTo>
                  <a:pt x="1105565" y="869765"/>
                  <a:pt x="1107320" y="865118"/>
                  <a:pt x="1108043" y="865273"/>
                </a:cubicBezTo>
                <a:cubicBezTo>
                  <a:pt x="1108043" y="864344"/>
                  <a:pt x="1108869" y="864499"/>
                  <a:pt x="1108869" y="863724"/>
                </a:cubicBezTo>
                <a:cubicBezTo>
                  <a:pt x="1108869" y="863724"/>
                  <a:pt x="1108869" y="862795"/>
                  <a:pt x="1109798" y="862020"/>
                </a:cubicBezTo>
                <a:cubicBezTo>
                  <a:pt x="1110211" y="861711"/>
                  <a:pt x="1110727" y="861246"/>
                  <a:pt x="1111244" y="861091"/>
                </a:cubicBezTo>
                <a:close/>
                <a:moveTo>
                  <a:pt x="1781790" y="860936"/>
                </a:moveTo>
                <a:cubicBezTo>
                  <a:pt x="1782616" y="861091"/>
                  <a:pt x="1782616" y="861091"/>
                  <a:pt x="1782616" y="861091"/>
                </a:cubicBezTo>
                <a:lnTo>
                  <a:pt x="1781820" y="860976"/>
                </a:lnTo>
                <a:close/>
                <a:moveTo>
                  <a:pt x="3649904" y="860585"/>
                </a:moveTo>
                <a:cubicBezTo>
                  <a:pt x="3653319" y="860727"/>
                  <a:pt x="3657801" y="864426"/>
                  <a:pt x="3658014" y="867840"/>
                </a:cubicBezTo>
                <a:cubicBezTo>
                  <a:pt x="3655880" y="871255"/>
                  <a:pt x="3653746" y="870117"/>
                  <a:pt x="3652679" y="872393"/>
                </a:cubicBezTo>
                <a:cubicBezTo>
                  <a:pt x="3647983" y="868552"/>
                  <a:pt x="3647770" y="865137"/>
                  <a:pt x="3649904" y="860585"/>
                </a:cubicBezTo>
                <a:close/>
                <a:moveTo>
                  <a:pt x="3374806" y="860300"/>
                </a:moveTo>
                <a:cubicBezTo>
                  <a:pt x="3378861" y="861296"/>
                  <a:pt x="3384837" y="865564"/>
                  <a:pt x="3387611" y="868409"/>
                </a:cubicBezTo>
                <a:cubicBezTo>
                  <a:pt x="3384197" y="870544"/>
                  <a:pt x="3375020" y="864142"/>
                  <a:pt x="3371392" y="860585"/>
                </a:cubicBezTo>
                <a:cubicBezTo>
                  <a:pt x="3372245" y="860015"/>
                  <a:pt x="3373313" y="860015"/>
                  <a:pt x="3374806" y="860300"/>
                </a:cubicBezTo>
                <a:close/>
                <a:moveTo>
                  <a:pt x="4036194" y="859446"/>
                </a:moveTo>
                <a:cubicBezTo>
                  <a:pt x="4038968" y="863288"/>
                  <a:pt x="4034487" y="871966"/>
                  <a:pt x="4029792" y="873104"/>
                </a:cubicBezTo>
                <a:cubicBezTo>
                  <a:pt x="4033420" y="865991"/>
                  <a:pt x="4030218" y="861011"/>
                  <a:pt x="4036194" y="859446"/>
                </a:cubicBezTo>
                <a:close/>
                <a:moveTo>
                  <a:pt x="3298188" y="859162"/>
                </a:moveTo>
                <a:cubicBezTo>
                  <a:pt x="3299042" y="859162"/>
                  <a:pt x="3299683" y="859588"/>
                  <a:pt x="3300536" y="860727"/>
                </a:cubicBezTo>
                <a:cubicBezTo>
                  <a:pt x="3293493" y="867414"/>
                  <a:pt x="3291573" y="871681"/>
                  <a:pt x="3285383" y="876235"/>
                </a:cubicBezTo>
                <a:cubicBezTo>
                  <a:pt x="3284530" y="875523"/>
                  <a:pt x="3284957" y="874527"/>
                  <a:pt x="3283890" y="873816"/>
                </a:cubicBezTo>
                <a:cubicBezTo>
                  <a:pt x="3283463" y="872962"/>
                  <a:pt x="3283890" y="871966"/>
                  <a:pt x="3284317" y="870686"/>
                </a:cubicBezTo>
                <a:cubicBezTo>
                  <a:pt x="3286237" y="866844"/>
                  <a:pt x="3290932" y="862007"/>
                  <a:pt x="3291786" y="862434"/>
                </a:cubicBezTo>
                <a:cubicBezTo>
                  <a:pt x="3292213" y="861438"/>
                  <a:pt x="3293280" y="862007"/>
                  <a:pt x="3293921" y="861011"/>
                </a:cubicBezTo>
                <a:cubicBezTo>
                  <a:pt x="3293921" y="861011"/>
                  <a:pt x="3294347" y="859873"/>
                  <a:pt x="3295841" y="859446"/>
                </a:cubicBezTo>
                <a:cubicBezTo>
                  <a:pt x="3296695" y="859304"/>
                  <a:pt x="3297335" y="859020"/>
                  <a:pt x="3298188" y="859162"/>
                </a:cubicBezTo>
                <a:close/>
                <a:moveTo>
                  <a:pt x="4776121" y="857881"/>
                </a:moveTo>
                <a:cubicBezTo>
                  <a:pt x="4777188" y="858166"/>
                  <a:pt x="4778468" y="859020"/>
                  <a:pt x="4779322" y="860300"/>
                </a:cubicBezTo>
                <a:cubicBezTo>
                  <a:pt x="4781456" y="862719"/>
                  <a:pt x="4780176" y="864995"/>
                  <a:pt x="4780176" y="864995"/>
                </a:cubicBezTo>
                <a:cubicBezTo>
                  <a:pt x="4777401" y="868552"/>
                  <a:pt x="4773773" y="869690"/>
                  <a:pt x="4770572" y="867129"/>
                </a:cubicBezTo>
                <a:cubicBezTo>
                  <a:pt x="4769505" y="864852"/>
                  <a:pt x="4770998" y="862434"/>
                  <a:pt x="4772493" y="860015"/>
                </a:cubicBezTo>
                <a:cubicBezTo>
                  <a:pt x="4773773" y="858308"/>
                  <a:pt x="4775053" y="857739"/>
                  <a:pt x="4776121" y="857881"/>
                </a:cubicBezTo>
                <a:close/>
                <a:moveTo>
                  <a:pt x="1787572" y="853966"/>
                </a:moveTo>
                <a:cubicBezTo>
                  <a:pt x="1791909" y="852881"/>
                  <a:pt x="1796865" y="858303"/>
                  <a:pt x="1796452" y="862175"/>
                </a:cubicBezTo>
                <a:cubicBezTo>
                  <a:pt x="1796349" y="863415"/>
                  <a:pt x="1795626" y="864499"/>
                  <a:pt x="1794077" y="864963"/>
                </a:cubicBezTo>
                <a:cubicBezTo>
                  <a:pt x="1788501" y="864034"/>
                  <a:pt x="1790050" y="859077"/>
                  <a:pt x="1787572" y="853966"/>
                </a:cubicBezTo>
                <a:close/>
                <a:moveTo>
                  <a:pt x="3512462" y="853898"/>
                </a:moveTo>
                <a:cubicBezTo>
                  <a:pt x="3513316" y="856032"/>
                  <a:pt x="3515450" y="857313"/>
                  <a:pt x="3516517" y="859304"/>
                </a:cubicBezTo>
                <a:cubicBezTo>
                  <a:pt x="3514596" y="871255"/>
                  <a:pt x="3510968" y="869547"/>
                  <a:pt x="3505206" y="869121"/>
                </a:cubicBezTo>
                <a:cubicBezTo>
                  <a:pt x="3505206" y="866417"/>
                  <a:pt x="3502645" y="863999"/>
                  <a:pt x="3503712" y="860727"/>
                </a:cubicBezTo>
                <a:cubicBezTo>
                  <a:pt x="3503712" y="860727"/>
                  <a:pt x="3504139" y="859020"/>
                  <a:pt x="3506273" y="857739"/>
                </a:cubicBezTo>
                <a:cubicBezTo>
                  <a:pt x="3508194" y="853756"/>
                  <a:pt x="3512889" y="854894"/>
                  <a:pt x="3512889" y="854894"/>
                </a:cubicBezTo>
                <a:cubicBezTo>
                  <a:pt x="3512889" y="854894"/>
                  <a:pt x="3512889" y="854894"/>
                  <a:pt x="3512462" y="853898"/>
                </a:cubicBezTo>
                <a:close/>
                <a:moveTo>
                  <a:pt x="1571870" y="853656"/>
                </a:moveTo>
                <a:cubicBezTo>
                  <a:pt x="1572696" y="853501"/>
                  <a:pt x="1573728" y="853656"/>
                  <a:pt x="1574968" y="854121"/>
                </a:cubicBezTo>
                <a:cubicBezTo>
                  <a:pt x="1577239" y="855050"/>
                  <a:pt x="1577239" y="856909"/>
                  <a:pt x="1577239" y="856909"/>
                </a:cubicBezTo>
                <a:cubicBezTo>
                  <a:pt x="1576826" y="859852"/>
                  <a:pt x="1574864" y="861556"/>
                  <a:pt x="1571663" y="860936"/>
                </a:cubicBezTo>
                <a:cubicBezTo>
                  <a:pt x="1570114" y="859697"/>
                  <a:pt x="1570114" y="857838"/>
                  <a:pt x="1570114" y="855980"/>
                </a:cubicBezTo>
                <a:cubicBezTo>
                  <a:pt x="1570424" y="854585"/>
                  <a:pt x="1571044" y="853811"/>
                  <a:pt x="1571870" y="853656"/>
                </a:cubicBezTo>
                <a:close/>
                <a:moveTo>
                  <a:pt x="3360507" y="852049"/>
                </a:moveTo>
                <a:cubicBezTo>
                  <a:pt x="3363068" y="858308"/>
                  <a:pt x="3363068" y="864568"/>
                  <a:pt x="3361574" y="870401"/>
                </a:cubicBezTo>
                <a:cubicBezTo>
                  <a:pt x="3357306" y="888042"/>
                  <a:pt x="3338312" y="902697"/>
                  <a:pt x="3326360" y="908814"/>
                </a:cubicBezTo>
                <a:lnTo>
                  <a:pt x="3333403" y="889892"/>
                </a:lnTo>
                <a:cubicBezTo>
                  <a:pt x="3330201" y="890746"/>
                  <a:pt x="3329134" y="888469"/>
                  <a:pt x="3329134" y="888469"/>
                </a:cubicBezTo>
                <a:lnTo>
                  <a:pt x="3329134" y="887189"/>
                </a:lnTo>
                <a:lnTo>
                  <a:pt x="3327214" y="889750"/>
                </a:lnTo>
                <a:cubicBezTo>
                  <a:pt x="3325720" y="890888"/>
                  <a:pt x="3323799" y="891315"/>
                  <a:pt x="3321451" y="891315"/>
                </a:cubicBezTo>
                <a:lnTo>
                  <a:pt x="3321025" y="890461"/>
                </a:lnTo>
                <a:lnTo>
                  <a:pt x="3320811" y="891172"/>
                </a:lnTo>
                <a:lnTo>
                  <a:pt x="3320384" y="891172"/>
                </a:lnTo>
                <a:lnTo>
                  <a:pt x="3320384" y="894018"/>
                </a:lnTo>
                <a:cubicBezTo>
                  <a:pt x="3319104" y="898713"/>
                  <a:pt x="3316116" y="903407"/>
                  <a:pt x="3310780" y="907961"/>
                </a:cubicBezTo>
                <a:lnTo>
                  <a:pt x="3306725" y="906253"/>
                </a:lnTo>
                <a:lnTo>
                  <a:pt x="3306939" y="906679"/>
                </a:lnTo>
                <a:cubicBezTo>
                  <a:pt x="3306939" y="906679"/>
                  <a:pt x="3305872" y="906111"/>
                  <a:pt x="3305872" y="906111"/>
                </a:cubicBezTo>
                <a:lnTo>
                  <a:pt x="3305872" y="905826"/>
                </a:lnTo>
                <a:lnTo>
                  <a:pt x="3304378" y="906538"/>
                </a:lnTo>
                <a:lnTo>
                  <a:pt x="3302457" y="904261"/>
                </a:lnTo>
                <a:lnTo>
                  <a:pt x="3300323" y="903265"/>
                </a:lnTo>
                <a:cubicBezTo>
                  <a:pt x="3290932" y="897148"/>
                  <a:pt x="3286024" y="886762"/>
                  <a:pt x="3289865" y="877088"/>
                </a:cubicBezTo>
                <a:cubicBezTo>
                  <a:pt x="3294134" y="869405"/>
                  <a:pt x="3300323" y="867271"/>
                  <a:pt x="3306299" y="868552"/>
                </a:cubicBezTo>
                <a:cubicBezTo>
                  <a:pt x="3309287" y="869121"/>
                  <a:pt x="3312061" y="870686"/>
                  <a:pt x="3314408" y="872820"/>
                </a:cubicBezTo>
                <a:lnTo>
                  <a:pt x="3315903" y="874811"/>
                </a:lnTo>
                <a:lnTo>
                  <a:pt x="3321238" y="874100"/>
                </a:lnTo>
                <a:lnTo>
                  <a:pt x="3321665" y="875238"/>
                </a:lnTo>
                <a:lnTo>
                  <a:pt x="3323586" y="873246"/>
                </a:lnTo>
                <a:lnTo>
                  <a:pt x="3331909" y="872108"/>
                </a:lnTo>
                <a:lnTo>
                  <a:pt x="3331482" y="871539"/>
                </a:lnTo>
                <a:cubicBezTo>
                  <a:pt x="3330842" y="869974"/>
                  <a:pt x="3330415" y="868552"/>
                  <a:pt x="3331055" y="867982"/>
                </a:cubicBezTo>
                <a:cubicBezTo>
                  <a:pt x="3332122" y="866844"/>
                  <a:pt x="3333190" y="866844"/>
                  <a:pt x="3334470" y="866987"/>
                </a:cubicBezTo>
                <a:cubicBezTo>
                  <a:pt x="3336817" y="868267"/>
                  <a:pt x="3339165" y="869547"/>
                  <a:pt x="3341513" y="870828"/>
                </a:cubicBezTo>
                <a:lnTo>
                  <a:pt x="3342367" y="871824"/>
                </a:lnTo>
                <a:lnTo>
                  <a:pt x="3346848" y="864852"/>
                </a:lnTo>
                <a:lnTo>
                  <a:pt x="3351544" y="860300"/>
                </a:lnTo>
                <a:cubicBezTo>
                  <a:pt x="3349409" y="857455"/>
                  <a:pt x="3351971" y="854183"/>
                  <a:pt x="3353251" y="854325"/>
                </a:cubicBezTo>
                <a:lnTo>
                  <a:pt x="3354531" y="857739"/>
                </a:lnTo>
                <a:close/>
                <a:moveTo>
                  <a:pt x="1504805" y="848738"/>
                </a:moveTo>
                <a:cubicBezTo>
                  <a:pt x="1509038" y="848234"/>
                  <a:pt x="1513117" y="848699"/>
                  <a:pt x="1514356" y="849938"/>
                </a:cubicBezTo>
                <a:cubicBezTo>
                  <a:pt x="1511671" y="852572"/>
                  <a:pt x="1508264" y="851797"/>
                  <a:pt x="1504650" y="854585"/>
                </a:cubicBezTo>
                <a:cubicBezTo>
                  <a:pt x="1502172" y="853036"/>
                  <a:pt x="1497732" y="855670"/>
                  <a:pt x="1494324" y="853346"/>
                </a:cubicBezTo>
                <a:cubicBezTo>
                  <a:pt x="1496183" y="850713"/>
                  <a:pt x="1500571" y="849241"/>
                  <a:pt x="1504805" y="848738"/>
                </a:cubicBezTo>
                <a:close/>
                <a:moveTo>
                  <a:pt x="3111659" y="848492"/>
                </a:moveTo>
                <a:cubicBezTo>
                  <a:pt x="3105897" y="849772"/>
                  <a:pt x="3098428" y="853898"/>
                  <a:pt x="3093092" y="852475"/>
                </a:cubicBezTo>
                <a:cubicBezTo>
                  <a:pt x="3095226" y="851622"/>
                  <a:pt x="3107818" y="847780"/>
                  <a:pt x="3111659" y="848492"/>
                </a:cubicBezTo>
                <a:close/>
                <a:moveTo>
                  <a:pt x="3233736" y="847212"/>
                </a:moveTo>
                <a:cubicBezTo>
                  <a:pt x="3235870" y="847923"/>
                  <a:pt x="3239498" y="848776"/>
                  <a:pt x="3240138" y="851764"/>
                </a:cubicBezTo>
                <a:cubicBezTo>
                  <a:pt x="3240352" y="852760"/>
                  <a:pt x="3240138" y="854183"/>
                  <a:pt x="3239498" y="855748"/>
                </a:cubicBezTo>
                <a:cubicBezTo>
                  <a:pt x="3239925" y="856743"/>
                  <a:pt x="3236083" y="860015"/>
                  <a:pt x="3234590" y="859446"/>
                </a:cubicBezTo>
                <a:cubicBezTo>
                  <a:pt x="3230535" y="858878"/>
                  <a:pt x="3231388" y="854609"/>
                  <a:pt x="3230748" y="849914"/>
                </a:cubicBezTo>
                <a:cubicBezTo>
                  <a:pt x="3232242" y="850341"/>
                  <a:pt x="3233096" y="848776"/>
                  <a:pt x="3233736" y="847212"/>
                </a:cubicBezTo>
                <a:close/>
                <a:moveTo>
                  <a:pt x="3112727" y="847212"/>
                </a:moveTo>
                <a:cubicBezTo>
                  <a:pt x="3114221" y="847638"/>
                  <a:pt x="3113794" y="846784"/>
                  <a:pt x="3114434" y="848776"/>
                </a:cubicBezTo>
                <a:cubicBezTo>
                  <a:pt x="3112940" y="848207"/>
                  <a:pt x="3112940" y="848207"/>
                  <a:pt x="3111873" y="848634"/>
                </a:cubicBezTo>
                <a:cubicBezTo>
                  <a:pt x="3111873" y="848634"/>
                  <a:pt x="3112727" y="847212"/>
                  <a:pt x="3112727" y="847212"/>
                </a:cubicBezTo>
                <a:close/>
                <a:moveTo>
                  <a:pt x="1780860" y="847150"/>
                </a:moveTo>
                <a:cubicBezTo>
                  <a:pt x="1781273" y="847770"/>
                  <a:pt x="1782203" y="849319"/>
                  <a:pt x="1784165" y="849319"/>
                </a:cubicBezTo>
                <a:cubicBezTo>
                  <a:pt x="1783648" y="851487"/>
                  <a:pt x="1783029" y="853811"/>
                  <a:pt x="1780654" y="853036"/>
                </a:cubicBezTo>
                <a:cubicBezTo>
                  <a:pt x="1779415" y="852726"/>
                  <a:pt x="1778279" y="852262"/>
                  <a:pt x="1777350" y="850868"/>
                </a:cubicBezTo>
                <a:cubicBezTo>
                  <a:pt x="1777866" y="848544"/>
                  <a:pt x="1780551" y="848235"/>
                  <a:pt x="1780860" y="847150"/>
                </a:cubicBezTo>
                <a:close/>
                <a:moveTo>
                  <a:pt x="3118276" y="847069"/>
                </a:moveTo>
                <a:cubicBezTo>
                  <a:pt x="3119343" y="846927"/>
                  <a:pt x="3120410" y="846927"/>
                  <a:pt x="3121690" y="847212"/>
                </a:cubicBezTo>
                <a:cubicBezTo>
                  <a:pt x="3125745" y="847354"/>
                  <a:pt x="3127880" y="851337"/>
                  <a:pt x="3132575" y="852475"/>
                </a:cubicBezTo>
                <a:cubicBezTo>
                  <a:pt x="3131508" y="858450"/>
                  <a:pt x="3131081" y="860158"/>
                  <a:pt x="3124892" y="861296"/>
                </a:cubicBezTo>
                <a:cubicBezTo>
                  <a:pt x="3124892" y="861296"/>
                  <a:pt x="3123398" y="861011"/>
                  <a:pt x="3123398" y="861011"/>
                </a:cubicBezTo>
                <a:cubicBezTo>
                  <a:pt x="3117635" y="860442"/>
                  <a:pt x="3112514" y="855605"/>
                  <a:pt x="3112300" y="852902"/>
                </a:cubicBezTo>
                <a:cubicBezTo>
                  <a:pt x="3113154" y="850341"/>
                  <a:pt x="3115288" y="847780"/>
                  <a:pt x="3118276" y="847069"/>
                </a:cubicBezTo>
                <a:close/>
                <a:moveTo>
                  <a:pt x="3512462" y="846500"/>
                </a:moveTo>
                <a:cubicBezTo>
                  <a:pt x="3512889" y="846357"/>
                  <a:pt x="3513316" y="846500"/>
                  <a:pt x="3514383" y="847212"/>
                </a:cubicBezTo>
                <a:cubicBezTo>
                  <a:pt x="3515663" y="847496"/>
                  <a:pt x="3516731" y="848776"/>
                  <a:pt x="3517798" y="848919"/>
                </a:cubicBezTo>
                <a:cubicBezTo>
                  <a:pt x="3517798" y="848919"/>
                  <a:pt x="3518224" y="849914"/>
                  <a:pt x="3518224" y="851052"/>
                </a:cubicBezTo>
                <a:cubicBezTo>
                  <a:pt x="3518224" y="852049"/>
                  <a:pt x="3518224" y="853186"/>
                  <a:pt x="3517584" y="853613"/>
                </a:cubicBezTo>
                <a:cubicBezTo>
                  <a:pt x="3516303" y="855890"/>
                  <a:pt x="3513103" y="851764"/>
                  <a:pt x="3511822" y="851622"/>
                </a:cubicBezTo>
                <a:cubicBezTo>
                  <a:pt x="3510755" y="850199"/>
                  <a:pt x="3509901" y="848919"/>
                  <a:pt x="3510968" y="847923"/>
                </a:cubicBezTo>
                <a:cubicBezTo>
                  <a:pt x="3511608" y="847354"/>
                  <a:pt x="3511822" y="846784"/>
                  <a:pt x="3512462" y="846500"/>
                </a:cubicBezTo>
                <a:close/>
                <a:moveTo>
                  <a:pt x="1208304" y="846221"/>
                </a:moveTo>
                <a:cubicBezTo>
                  <a:pt x="1208304" y="846221"/>
                  <a:pt x="1209028" y="846376"/>
                  <a:pt x="1209750" y="846686"/>
                </a:cubicBezTo>
                <a:cubicBezTo>
                  <a:pt x="1210473" y="846995"/>
                  <a:pt x="1211196" y="847460"/>
                  <a:pt x="1211402" y="848080"/>
                </a:cubicBezTo>
                <a:cubicBezTo>
                  <a:pt x="1212435" y="849783"/>
                  <a:pt x="1208821" y="850403"/>
                  <a:pt x="1208408" y="851023"/>
                </a:cubicBezTo>
                <a:cubicBezTo>
                  <a:pt x="1207169" y="851178"/>
                  <a:pt x="1206033" y="851332"/>
                  <a:pt x="1205723" y="850248"/>
                </a:cubicBezTo>
                <a:cubicBezTo>
                  <a:pt x="1205517" y="849628"/>
                  <a:pt x="1205207" y="849319"/>
                  <a:pt x="1205207" y="848854"/>
                </a:cubicBezTo>
                <a:cubicBezTo>
                  <a:pt x="1205207" y="848544"/>
                  <a:pt x="1205413" y="848235"/>
                  <a:pt x="1206239" y="847770"/>
                </a:cubicBezTo>
                <a:cubicBezTo>
                  <a:pt x="1206653" y="846995"/>
                  <a:pt x="1207892" y="846840"/>
                  <a:pt x="1208304" y="846221"/>
                </a:cubicBezTo>
                <a:close/>
                <a:moveTo>
                  <a:pt x="1190544" y="846066"/>
                </a:moveTo>
                <a:cubicBezTo>
                  <a:pt x="1194985" y="846066"/>
                  <a:pt x="1197360" y="848235"/>
                  <a:pt x="1198392" y="851642"/>
                </a:cubicBezTo>
                <a:cubicBezTo>
                  <a:pt x="1196120" y="855670"/>
                  <a:pt x="1189512" y="854276"/>
                  <a:pt x="1188273" y="850093"/>
                </a:cubicBezTo>
                <a:cubicBezTo>
                  <a:pt x="1188892" y="849009"/>
                  <a:pt x="1189202" y="847150"/>
                  <a:pt x="1190544" y="846066"/>
                </a:cubicBezTo>
                <a:close/>
                <a:moveTo>
                  <a:pt x="3117849" y="845362"/>
                </a:moveTo>
                <a:cubicBezTo>
                  <a:pt x="3118276" y="845077"/>
                  <a:pt x="3119130" y="845220"/>
                  <a:pt x="3119770" y="845362"/>
                </a:cubicBezTo>
                <a:cubicBezTo>
                  <a:pt x="3119770" y="845362"/>
                  <a:pt x="3119983" y="846500"/>
                  <a:pt x="3119983" y="846500"/>
                </a:cubicBezTo>
                <a:cubicBezTo>
                  <a:pt x="3118916" y="846927"/>
                  <a:pt x="3117635" y="847354"/>
                  <a:pt x="3117422" y="846357"/>
                </a:cubicBezTo>
                <a:cubicBezTo>
                  <a:pt x="3117209" y="845931"/>
                  <a:pt x="3117422" y="845504"/>
                  <a:pt x="3117849" y="845362"/>
                </a:cubicBezTo>
                <a:close/>
                <a:moveTo>
                  <a:pt x="1379916" y="845136"/>
                </a:moveTo>
                <a:cubicBezTo>
                  <a:pt x="1381672" y="845911"/>
                  <a:pt x="1380639" y="848390"/>
                  <a:pt x="1380639" y="850093"/>
                </a:cubicBezTo>
                <a:cubicBezTo>
                  <a:pt x="1382291" y="850868"/>
                  <a:pt x="1378677" y="853501"/>
                  <a:pt x="1380433" y="854276"/>
                </a:cubicBezTo>
                <a:cubicBezTo>
                  <a:pt x="1376715" y="857683"/>
                  <a:pt x="1380949" y="861711"/>
                  <a:pt x="1376302" y="867751"/>
                </a:cubicBezTo>
                <a:cubicBezTo>
                  <a:pt x="1375683" y="865738"/>
                  <a:pt x="1375476" y="863724"/>
                  <a:pt x="1375476" y="862020"/>
                </a:cubicBezTo>
                <a:cubicBezTo>
                  <a:pt x="1375579" y="856599"/>
                  <a:pt x="1377438" y="852262"/>
                  <a:pt x="1376302" y="848544"/>
                </a:cubicBezTo>
                <a:cubicBezTo>
                  <a:pt x="1376302" y="848544"/>
                  <a:pt x="1376302" y="848699"/>
                  <a:pt x="1378058" y="846840"/>
                </a:cubicBezTo>
                <a:cubicBezTo>
                  <a:pt x="1378161" y="846066"/>
                  <a:pt x="1378161" y="846066"/>
                  <a:pt x="1378161" y="846066"/>
                </a:cubicBezTo>
                <a:cubicBezTo>
                  <a:pt x="1378161" y="845136"/>
                  <a:pt x="1379916" y="845136"/>
                  <a:pt x="1379916" y="845136"/>
                </a:cubicBezTo>
                <a:close/>
                <a:moveTo>
                  <a:pt x="3371392" y="844650"/>
                </a:moveTo>
                <a:cubicBezTo>
                  <a:pt x="3372245" y="844650"/>
                  <a:pt x="3373099" y="844650"/>
                  <a:pt x="3374166" y="844935"/>
                </a:cubicBezTo>
                <a:cubicBezTo>
                  <a:pt x="3378221" y="846073"/>
                  <a:pt x="3383130" y="849488"/>
                  <a:pt x="3386758" y="850910"/>
                </a:cubicBezTo>
                <a:cubicBezTo>
                  <a:pt x="3386331" y="856316"/>
                  <a:pt x="3385691" y="858024"/>
                  <a:pt x="3382489" y="862292"/>
                </a:cubicBezTo>
                <a:cubicBezTo>
                  <a:pt x="3374806" y="862150"/>
                  <a:pt x="3370538" y="857739"/>
                  <a:pt x="3366270" y="853329"/>
                </a:cubicBezTo>
                <a:cubicBezTo>
                  <a:pt x="3366697" y="847212"/>
                  <a:pt x="3368617" y="844935"/>
                  <a:pt x="3371392" y="844650"/>
                </a:cubicBezTo>
                <a:close/>
                <a:moveTo>
                  <a:pt x="1568772" y="843278"/>
                </a:moveTo>
                <a:cubicBezTo>
                  <a:pt x="1571870" y="846066"/>
                  <a:pt x="1571870" y="849009"/>
                  <a:pt x="1569805" y="852107"/>
                </a:cubicBezTo>
                <a:cubicBezTo>
                  <a:pt x="1566191" y="853191"/>
                  <a:pt x="1563300" y="850558"/>
                  <a:pt x="1563093" y="847615"/>
                </a:cubicBezTo>
                <a:cubicBezTo>
                  <a:pt x="1563093" y="846686"/>
                  <a:pt x="1563300" y="845756"/>
                  <a:pt x="1563919" y="844827"/>
                </a:cubicBezTo>
                <a:cubicBezTo>
                  <a:pt x="1565158" y="844362"/>
                  <a:pt x="1566913" y="843278"/>
                  <a:pt x="1568772" y="843278"/>
                </a:cubicBezTo>
                <a:close/>
                <a:moveTo>
                  <a:pt x="3604019" y="839244"/>
                </a:moveTo>
                <a:cubicBezTo>
                  <a:pt x="3603806" y="840952"/>
                  <a:pt x="3605513" y="841094"/>
                  <a:pt x="3607007" y="841094"/>
                </a:cubicBezTo>
                <a:cubicBezTo>
                  <a:pt x="3612556" y="849488"/>
                  <a:pt x="3599111" y="866844"/>
                  <a:pt x="3592281" y="861723"/>
                </a:cubicBezTo>
                <a:cubicBezTo>
                  <a:pt x="3591214" y="861011"/>
                  <a:pt x="3590574" y="859873"/>
                  <a:pt x="3589933" y="858166"/>
                </a:cubicBezTo>
                <a:cubicBezTo>
                  <a:pt x="3591001" y="848065"/>
                  <a:pt x="3594202" y="840525"/>
                  <a:pt x="3604019" y="839244"/>
                </a:cubicBezTo>
                <a:close/>
                <a:moveTo>
                  <a:pt x="3799512" y="838533"/>
                </a:moveTo>
                <a:cubicBezTo>
                  <a:pt x="3799939" y="838533"/>
                  <a:pt x="3800792" y="838675"/>
                  <a:pt x="3801646" y="839244"/>
                </a:cubicBezTo>
                <a:cubicBezTo>
                  <a:pt x="3804847" y="847923"/>
                  <a:pt x="3792896" y="869405"/>
                  <a:pt x="3781371" y="866133"/>
                </a:cubicBezTo>
                <a:cubicBezTo>
                  <a:pt x="3786066" y="858593"/>
                  <a:pt x="3791188" y="852191"/>
                  <a:pt x="3794176" y="840240"/>
                </a:cubicBezTo>
                <a:cubicBezTo>
                  <a:pt x="3796524" y="841094"/>
                  <a:pt x="3797591" y="838818"/>
                  <a:pt x="3799512" y="838533"/>
                </a:cubicBezTo>
                <a:close/>
                <a:moveTo>
                  <a:pt x="4019547" y="837821"/>
                </a:moveTo>
                <a:cubicBezTo>
                  <a:pt x="4022535" y="838533"/>
                  <a:pt x="4024456" y="839955"/>
                  <a:pt x="4025523" y="841805"/>
                </a:cubicBezTo>
                <a:cubicBezTo>
                  <a:pt x="4029151" y="847354"/>
                  <a:pt x="4025737" y="856174"/>
                  <a:pt x="4019974" y="857739"/>
                </a:cubicBezTo>
                <a:cubicBezTo>
                  <a:pt x="4017200" y="858450"/>
                  <a:pt x="4013999" y="857739"/>
                  <a:pt x="4010797" y="854894"/>
                </a:cubicBezTo>
                <a:cubicBezTo>
                  <a:pt x="4015492" y="847496"/>
                  <a:pt x="4013145" y="842090"/>
                  <a:pt x="4019547" y="837821"/>
                </a:cubicBezTo>
                <a:close/>
                <a:moveTo>
                  <a:pt x="1743172" y="837702"/>
                </a:moveTo>
                <a:cubicBezTo>
                  <a:pt x="1743895" y="837702"/>
                  <a:pt x="1744617" y="838012"/>
                  <a:pt x="1745237" y="838476"/>
                </a:cubicBezTo>
                <a:cubicBezTo>
                  <a:pt x="1746786" y="839405"/>
                  <a:pt x="1745650" y="840955"/>
                  <a:pt x="1743688" y="842503"/>
                </a:cubicBezTo>
                <a:cubicBezTo>
                  <a:pt x="1740384" y="846531"/>
                  <a:pt x="1737699" y="847305"/>
                  <a:pt x="1735531" y="844517"/>
                </a:cubicBezTo>
                <a:cubicBezTo>
                  <a:pt x="1735634" y="843743"/>
                  <a:pt x="1736873" y="841264"/>
                  <a:pt x="1736047" y="841264"/>
                </a:cubicBezTo>
                <a:cubicBezTo>
                  <a:pt x="1738319" y="839405"/>
                  <a:pt x="1741003" y="837702"/>
                  <a:pt x="1743172" y="837702"/>
                </a:cubicBezTo>
                <a:close/>
                <a:moveTo>
                  <a:pt x="3877410" y="837110"/>
                </a:moveTo>
                <a:cubicBezTo>
                  <a:pt x="3879331" y="837253"/>
                  <a:pt x="3881251" y="837964"/>
                  <a:pt x="3882959" y="838960"/>
                </a:cubicBezTo>
                <a:cubicBezTo>
                  <a:pt x="3880184" y="845220"/>
                  <a:pt x="3875916" y="847354"/>
                  <a:pt x="3869727" y="847923"/>
                </a:cubicBezTo>
                <a:cubicBezTo>
                  <a:pt x="3868873" y="845931"/>
                  <a:pt x="3870794" y="841094"/>
                  <a:pt x="3872288" y="837964"/>
                </a:cubicBezTo>
                <a:cubicBezTo>
                  <a:pt x="3873782" y="837110"/>
                  <a:pt x="3875703" y="836826"/>
                  <a:pt x="3877410" y="837110"/>
                </a:cubicBezTo>
                <a:close/>
                <a:moveTo>
                  <a:pt x="1534181" y="834449"/>
                </a:moveTo>
                <a:cubicBezTo>
                  <a:pt x="1535420" y="834294"/>
                  <a:pt x="1536659" y="834449"/>
                  <a:pt x="1537795" y="834914"/>
                </a:cubicBezTo>
                <a:cubicBezTo>
                  <a:pt x="1539654" y="834139"/>
                  <a:pt x="1542235" y="834294"/>
                  <a:pt x="1543784" y="835223"/>
                </a:cubicBezTo>
                <a:cubicBezTo>
                  <a:pt x="1545230" y="837082"/>
                  <a:pt x="1544920" y="838631"/>
                  <a:pt x="1543991" y="839405"/>
                </a:cubicBezTo>
                <a:cubicBezTo>
                  <a:pt x="1536763" y="846531"/>
                  <a:pt x="1529638" y="842659"/>
                  <a:pt x="1527882" y="843433"/>
                </a:cubicBezTo>
                <a:cubicBezTo>
                  <a:pt x="1526747" y="842039"/>
                  <a:pt x="1526230" y="841419"/>
                  <a:pt x="1526643" y="840490"/>
                </a:cubicBezTo>
                <a:cubicBezTo>
                  <a:pt x="1526953" y="839560"/>
                  <a:pt x="1528192" y="838476"/>
                  <a:pt x="1530773" y="836153"/>
                </a:cubicBezTo>
                <a:cubicBezTo>
                  <a:pt x="1531703" y="835378"/>
                  <a:pt x="1532942" y="834759"/>
                  <a:pt x="1534181" y="834449"/>
                </a:cubicBezTo>
                <a:close/>
                <a:moveTo>
                  <a:pt x="3112514" y="833269"/>
                </a:moveTo>
                <a:cubicBezTo>
                  <a:pt x="3113794" y="833411"/>
                  <a:pt x="3115928" y="836114"/>
                  <a:pt x="3116995" y="837395"/>
                </a:cubicBezTo>
                <a:cubicBezTo>
                  <a:pt x="3118062" y="837537"/>
                  <a:pt x="3119130" y="838960"/>
                  <a:pt x="3119130" y="840098"/>
                </a:cubicBezTo>
                <a:cubicBezTo>
                  <a:pt x="3119130" y="840098"/>
                  <a:pt x="3120197" y="841520"/>
                  <a:pt x="3121264" y="841663"/>
                </a:cubicBezTo>
                <a:lnTo>
                  <a:pt x="3122544" y="843939"/>
                </a:lnTo>
                <a:lnTo>
                  <a:pt x="3122758" y="843939"/>
                </a:lnTo>
                <a:cubicBezTo>
                  <a:pt x="3123611" y="843370"/>
                  <a:pt x="3124465" y="843085"/>
                  <a:pt x="3125105" y="843370"/>
                </a:cubicBezTo>
                <a:cubicBezTo>
                  <a:pt x="3125745" y="843655"/>
                  <a:pt x="3126172" y="843797"/>
                  <a:pt x="3126386" y="844224"/>
                </a:cubicBezTo>
                <a:cubicBezTo>
                  <a:pt x="3126813" y="844508"/>
                  <a:pt x="3126813" y="845077"/>
                  <a:pt x="3127239" y="846215"/>
                </a:cubicBezTo>
                <a:cubicBezTo>
                  <a:pt x="3125318" y="846357"/>
                  <a:pt x="3124465" y="846500"/>
                  <a:pt x="3123611" y="846357"/>
                </a:cubicBezTo>
                <a:lnTo>
                  <a:pt x="3123185" y="846073"/>
                </a:lnTo>
                <a:lnTo>
                  <a:pt x="3123185" y="846784"/>
                </a:lnTo>
                <a:lnTo>
                  <a:pt x="3121477" y="845647"/>
                </a:lnTo>
                <a:lnTo>
                  <a:pt x="3120623" y="845220"/>
                </a:lnTo>
                <a:lnTo>
                  <a:pt x="3120837" y="845077"/>
                </a:lnTo>
                <a:lnTo>
                  <a:pt x="3118916" y="842516"/>
                </a:lnTo>
                <a:cubicBezTo>
                  <a:pt x="3118916" y="842516"/>
                  <a:pt x="3117635" y="842374"/>
                  <a:pt x="3116568" y="842090"/>
                </a:cubicBezTo>
                <a:cubicBezTo>
                  <a:pt x="3113367" y="839244"/>
                  <a:pt x="3111233" y="837679"/>
                  <a:pt x="3112514" y="833269"/>
                </a:cubicBezTo>
                <a:close/>
                <a:moveTo>
                  <a:pt x="1330457" y="831351"/>
                </a:moveTo>
                <a:cubicBezTo>
                  <a:pt x="1338614" y="826859"/>
                  <a:pt x="1344293" y="835069"/>
                  <a:pt x="1340886" y="840180"/>
                </a:cubicBezTo>
                <a:cubicBezTo>
                  <a:pt x="1339750" y="841884"/>
                  <a:pt x="1337581" y="843278"/>
                  <a:pt x="1334174" y="843588"/>
                </a:cubicBezTo>
                <a:cubicBezTo>
                  <a:pt x="1333244" y="839405"/>
                  <a:pt x="1330767" y="837547"/>
                  <a:pt x="1330250" y="834759"/>
                </a:cubicBezTo>
                <a:cubicBezTo>
                  <a:pt x="1330043" y="833674"/>
                  <a:pt x="1330043" y="832745"/>
                  <a:pt x="1330457" y="831351"/>
                </a:cubicBezTo>
                <a:close/>
                <a:moveTo>
                  <a:pt x="1277590" y="831196"/>
                </a:moveTo>
                <a:cubicBezTo>
                  <a:pt x="1279551" y="831815"/>
                  <a:pt x="1281203" y="831506"/>
                  <a:pt x="1283991" y="831815"/>
                </a:cubicBezTo>
                <a:cubicBezTo>
                  <a:pt x="1284714" y="834294"/>
                  <a:pt x="1283682" y="839715"/>
                  <a:pt x="1279655" y="841264"/>
                </a:cubicBezTo>
                <a:cubicBezTo>
                  <a:pt x="1277073" y="840025"/>
                  <a:pt x="1275731" y="838631"/>
                  <a:pt x="1275525" y="836927"/>
                </a:cubicBezTo>
                <a:cubicBezTo>
                  <a:pt x="1275215" y="835223"/>
                  <a:pt x="1276040" y="833364"/>
                  <a:pt x="1277590" y="831196"/>
                </a:cubicBezTo>
                <a:close/>
                <a:moveTo>
                  <a:pt x="3398923" y="829997"/>
                </a:moveTo>
                <a:cubicBezTo>
                  <a:pt x="3401271" y="831846"/>
                  <a:pt x="3402978" y="835118"/>
                  <a:pt x="3404045" y="838960"/>
                </a:cubicBezTo>
                <a:lnTo>
                  <a:pt x="3404472" y="844224"/>
                </a:lnTo>
                <a:lnTo>
                  <a:pt x="3404685" y="844508"/>
                </a:lnTo>
                <a:cubicBezTo>
                  <a:pt x="3405326" y="845789"/>
                  <a:pt x="3405752" y="847212"/>
                  <a:pt x="3405752" y="848492"/>
                </a:cubicBezTo>
                <a:lnTo>
                  <a:pt x="3404898" y="849914"/>
                </a:lnTo>
                <a:lnTo>
                  <a:pt x="3405112" y="851337"/>
                </a:lnTo>
                <a:cubicBezTo>
                  <a:pt x="3404472" y="859588"/>
                  <a:pt x="3401057" y="867129"/>
                  <a:pt x="3394655" y="867698"/>
                </a:cubicBezTo>
                <a:lnTo>
                  <a:pt x="3395508" y="850768"/>
                </a:lnTo>
                <a:lnTo>
                  <a:pt x="3393801" y="850057"/>
                </a:lnTo>
                <a:lnTo>
                  <a:pt x="3393160" y="850768"/>
                </a:lnTo>
                <a:cubicBezTo>
                  <a:pt x="3389319" y="851479"/>
                  <a:pt x="3385477" y="846073"/>
                  <a:pt x="3385264" y="841520"/>
                </a:cubicBezTo>
                <a:lnTo>
                  <a:pt x="3385904" y="838675"/>
                </a:lnTo>
                <a:lnTo>
                  <a:pt x="3385691" y="838391"/>
                </a:lnTo>
                <a:cubicBezTo>
                  <a:pt x="3386971" y="834692"/>
                  <a:pt x="3387184" y="833838"/>
                  <a:pt x="3391026" y="834123"/>
                </a:cubicBezTo>
                <a:cubicBezTo>
                  <a:pt x="3392093" y="834265"/>
                  <a:pt x="3393801" y="834407"/>
                  <a:pt x="3395935" y="834692"/>
                </a:cubicBezTo>
                <a:lnTo>
                  <a:pt x="3397429" y="835403"/>
                </a:lnTo>
                <a:close/>
                <a:moveTo>
                  <a:pt x="3248889" y="829570"/>
                </a:moveTo>
                <a:cubicBezTo>
                  <a:pt x="3249742" y="829285"/>
                  <a:pt x="3250809" y="829428"/>
                  <a:pt x="3252304" y="829997"/>
                </a:cubicBezTo>
                <a:cubicBezTo>
                  <a:pt x="3252730" y="835118"/>
                  <a:pt x="3245047" y="839387"/>
                  <a:pt x="3240565" y="837110"/>
                </a:cubicBezTo>
                <a:cubicBezTo>
                  <a:pt x="3245261" y="834549"/>
                  <a:pt x="3246328" y="830424"/>
                  <a:pt x="3248889" y="829570"/>
                </a:cubicBezTo>
                <a:close/>
                <a:moveTo>
                  <a:pt x="1671408" y="829337"/>
                </a:moveTo>
                <a:lnTo>
                  <a:pt x="1670893" y="831041"/>
                </a:lnTo>
                <a:cubicBezTo>
                  <a:pt x="1670686" y="832280"/>
                  <a:pt x="1670686" y="833364"/>
                  <a:pt x="1670893" y="834294"/>
                </a:cubicBezTo>
                <a:cubicBezTo>
                  <a:pt x="1671099" y="835378"/>
                  <a:pt x="1671512" y="836153"/>
                  <a:pt x="1672338" y="836927"/>
                </a:cubicBezTo>
                <a:lnTo>
                  <a:pt x="1674506" y="838786"/>
                </a:lnTo>
                <a:lnTo>
                  <a:pt x="1672854" y="834449"/>
                </a:lnTo>
                <a:close/>
                <a:moveTo>
                  <a:pt x="3701552" y="828574"/>
                </a:moveTo>
                <a:cubicBezTo>
                  <a:pt x="3707528" y="829428"/>
                  <a:pt x="3710943" y="835403"/>
                  <a:pt x="3713076" y="841805"/>
                </a:cubicBezTo>
                <a:cubicBezTo>
                  <a:pt x="3714144" y="844793"/>
                  <a:pt x="3714784" y="847638"/>
                  <a:pt x="3715424" y="850341"/>
                </a:cubicBezTo>
                <a:cubicBezTo>
                  <a:pt x="3716918" y="855605"/>
                  <a:pt x="3717985" y="861580"/>
                  <a:pt x="3716064" y="865279"/>
                </a:cubicBezTo>
                <a:cubicBezTo>
                  <a:pt x="3715424" y="866417"/>
                  <a:pt x="3714571" y="867414"/>
                  <a:pt x="3713076" y="867982"/>
                </a:cubicBezTo>
                <a:cubicBezTo>
                  <a:pt x="3705394" y="871824"/>
                  <a:pt x="3696217" y="865849"/>
                  <a:pt x="3693655" y="855463"/>
                </a:cubicBezTo>
                <a:cubicBezTo>
                  <a:pt x="3689387" y="839529"/>
                  <a:pt x="3694509" y="829570"/>
                  <a:pt x="3694509" y="829570"/>
                </a:cubicBezTo>
                <a:cubicBezTo>
                  <a:pt x="3697070" y="828574"/>
                  <a:pt x="3699418" y="828289"/>
                  <a:pt x="3701552" y="828574"/>
                </a:cubicBezTo>
                <a:close/>
                <a:moveTo>
                  <a:pt x="3503285" y="828289"/>
                </a:moveTo>
                <a:cubicBezTo>
                  <a:pt x="3504352" y="827721"/>
                  <a:pt x="3505846" y="827436"/>
                  <a:pt x="3507767" y="828432"/>
                </a:cubicBezTo>
                <a:cubicBezTo>
                  <a:pt x="3509901" y="831277"/>
                  <a:pt x="3513103" y="833411"/>
                  <a:pt x="3514169" y="837253"/>
                </a:cubicBezTo>
                <a:cubicBezTo>
                  <a:pt x="3514596" y="838675"/>
                  <a:pt x="3514596" y="840098"/>
                  <a:pt x="3514383" y="841805"/>
                </a:cubicBezTo>
                <a:cubicBezTo>
                  <a:pt x="3509474" y="840952"/>
                  <a:pt x="3505420" y="841094"/>
                  <a:pt x="3501578" y="841520"/>
                </a:cubicBezTo>
                <a:lnTo>
                  <a:pt x="3498163" y="841805"/>
                </a:lnTo>
                <a:lnTo>
                  <a:pt x="3500511" y="844793"/>
                </a:lnTo>
                <a:cubicBezTo>
                  <a:pt x="3501364" y="846784"/>
                  <a:pt x="3501791" y="849345"/>
                  <a:pt x="3501151" y="852760"/>
                </a:cubicBezTo>
                <a:lnTo>
                  <a:pt x="3497523" y="861154"/>
                </a:lnTo>
                <a:lnTo>
                  <a:pt x="3501364" y="863145"/>
                </a:lnTo>
                <a:cubicBezTo>
                  <a:pt x="3503712" y="866560"/>
                  <a:pt x="3500511" y="872393"/>
                  <a:pt x="3497096" y="873389"/>
                </a:cubicBezTo>
                <a:cubicBezTo>
                  <a:pt x="3494535" y="872393"/>
                  <a:pt x="3493468" y="869832"/>
                  <a:pt x="3493468" y="867271"/>
                </a:cubicBezTo>
                <a:lnTo>
                  <a:pt x="3495602" y="863714"/>
                </a:lnTo>
                <a:lnTo>
                  <a:pt x="3491334" y="866133"/>
                </a:lnTo>
                <a:cubicBezTo>
                  <a:pt x="3489413" y="866702"/>
                  <a:pt x="3486852" y="866844"/>
                  <a:pt x="3483864" y="866275"/>
                </a:cubicBezTo>
                <a:cubicBezTo>
                  <a:pt x="3481303" y="866560"/>
                  <a:pt x="3482370" y="865849"/>
                  <a:pt x="3480876" y="865564"/>
                </a:cubicBezTo>
                <a:cubicBezTo>
                  <a:pt x="3479169" y="865137"/>
                  <a:pt x="3476607" y="865422"/>
                  <a:pt x="3475540" y="865991"/>
                </a:cubicBezTo>
                <a:cubicBezTo>
                  <a:pt x="3476607" y="860015"/>
                  <a:pt x="3472552" y="859873"/>
                  <a:pt x="3474473" y="850626"/>
                </a:cubicBezTo>
                <a:cubicBezTo>
                  <a:pt x="3475754" y="841520"/>
                  <a:pt x="3480876" y="837821"/>
                  <a:pt x="3485571" y="836826"/>
                </a:cubicBezTo>
                <a:lnTo>
                  <a:pt x="3489413" y="836683"/>
                </a:lnTo>
                <a:lnTo>
                  <a:pt x="3490480" y="833126"/>
                </a:lnTo>
                <a:cubicBezTo>
                  <a:pt x="3497950" y="837110"/>
                  <a:pt x="3499444" y="830424"/>
                  <a:pt x="3503285" y="828289"/>
                </a:cubicBezTo>
                <a:close/>
                <a:moveTo>
                  <a:pt x="3262975" y="827863"/>
                </a:moveTo>
                <a:cubicBezTo>
                  <a:pt x="3263615" y="827721"/>
                  <a:pt x="3264468" y="828005"/>
                  <a:pt x="3265749" y="829285"/>
                </a:cubicBezTo>
                <a:cubicBezTo>
                  <a:pt x="3268096" y="830708"/>
                  <a:pt x="3268096" y="831846"/>
                  <a:pt x="3265962" y="835403"/>
                </a:cubicBezTo>
                <a:cubicBezTo>
                  <a:pt x="3263828" y="837679"/>
                  <a:pt x="3262761" y="840098"/>
                  <a:pt x="3261480" y="839955"/>
                </a:cubicBezTo>
                <a:cubicBezTo>
                  <a:pt x="3261694" y="841236"/>
                  <a:pt x="3260627" y="842374"/>
                  <a:pt x="3260627" y="843512"/>
                </a:cubicBezTo>
                <a:cubicBezTo>
                  <a:pt x="3260627" y="843512"/>
                  <a:pt x="3260627" y="843655"/>
                  <a:pt x="3259346" y="843512"/>
                </a:cubicBezTo>
                <a:cubicBezTo>
                  <a:pt x="3260413" y="838818"/>
                  <a:pt x="3258920" y="832558"/>
                  <a:pt x="3261053" y="829001"/>
                </a:cubicBezTo>
                <a:cubicBezTo>
                  <a:pt x="3261694" y="828432"/>
                  <a:pt x="3262121" y="827863"/>
                  <a:pt x="3262975" y="827863"/>
                </a:cubicBezTo>
                <a:close/>
                <a:moveTo>
                  <a:pt x="1473260" y="827014"/>
                </a:moveTo>
                <a:cubicBezTo>
                  <a:pt x="1479042" y="831196"/>
                  <a:pt x="1473879" y="839560"/>
                  <a:pt x="1468510" y="839870"/>
                </a:cubicBezTo>
                <a:cubicBezTo>
                  <a:pt x="1466342" y="838321"/>
                  <a:pt x="1465516" y="835998"/>
                  <a:pt x="1465722" y="833674"/>
                </a:cubicBezTo>
                <a:cubicBezTo>
                  <a:pt x="1466032" y="831351"/>
                  <a:pt x="1467271" y="829182"/>
                  <a:pt x="1469027" y="827943"/>
                </a:cubicBezTo>
                <a:cubicBezTo>
                  <a:pt x="1470266" y="827014"/>
                  <a:pt x="1471711" y="826704"/>
                  <a:pt x="1473260" y="827014"/>
                </a:cubicBezTo>
                <a:close/>
                <a:moveTo>
                  <a:pt x="3071110" y="824448"/>
                </a:moveTo>
                <a:cubicBezTo>
                  <a:pt x="3071110" y="824448"/>
                  <a:pt x="3071110" y="824448"/>
                  <a:pt x="3073884" y="824590"/>
                </a:cubicBezTo>
                <a:cubicBezTo>
                  <a:pt x="3074738" y="825302"/>
                  <a:pt x="3075805" y="825871"/>
                  <a:pt x="3076018" y="827578"/>
                </a:cubicBezTo>
                <a:cubicBezTo>
                  <a:pt x="3076232" y="829285"/>
                  <a:pt x="3074951" y="831419"/>
                  <a:pt x="3074311" y="832416"/>
                </a:cubicBezTo>
                <a:cubicBezTo>
                  <a:pt x="3073244" y="831846"/>
                  <a:pt x="3072604" y="832842"/>
                  <a:pt x="3071537" y="832273"/>
                </a:cubicBezTo>
                <a:cubicBezTo>
                  <a:pt x="3068976" y="832131"/>
                  <a:pt x="3068976" y="832131"/>
                  <a:pt x="3068762" y="830424"/>
                </a:cubicBezTo>
                <a:cubicBezTo>
                  <a:pt x="3068335" y="828717"/>
                  <a:pt x="3071537" y="826156"/>
                  <a:pt x="3071110" y="824448"/>
                </a:cubicBezTo>
                <a:close/>
                <a:moveTo>
                  <a:pt x="4669197" y="823310"/>
                </a:moveTo>
                <a:cubicBezTo>
                  <a:pt x="4669411" y="823595"/>
                  <a:pt x="4669838" y="824164"/>
                  <a:pt x="4670904" y="824733"/>
                </a:cubicBezTo>
                <a:cubicBezTo>
                  <a:pt x="4671545" y="825302"/>
                  <a:pt x="4671971" y="825587"/>
                  <a:pt x="4672185" y="826013"/>
                </a:cubicBezTo>
                <a:cubicBezTo>
                  <a:pt x="4672399" y="826298"/>
                  <a:pt x="4672399" y="826582"/>
                  <a:pt x="4671758" y="827152"/>
                </a:cubicBezTo>
                <a:cubicBezTo>
                  <a:pt x="4670691" y="828147"/>
                  <a:pt x="4670691" y="828289"/>
                  <a:pt x="4667276" y="828147"/>
                </a:cubicBezTo>
                <a:cubicBezTo>
                  <a:pt x="4668557" y="827009"/>
                  <a:pt x="4668557" y="827009"/>
                  <a:pt x="4667490" y="825871"/>
                </a:cubicBezTo>
                <a:cubicBezTo>
                  <a:pt x="4667490" y="825871"/>
                  <a:pt x="4667490" y="825871"/>
                  <a:pt x="4666423" y="825871"/>
                </a:cubicBezTo>
                <a:cubicBezTo>
                  <a:pt x="4666636" y="824733"/>
                  <a:pt x="4667703" y="824733"/>
                  <a:pt x="4667703" y="823595"/>
                </a:cubicBezTo>
                <a:cubicBezTo>
                  <a:pt x="4667703" y="823595"/>
                  <a:pt x="4668771" y="823595"/>
                  <a:pt x="4668771" y="823595"/>
                </a:cubicBezTo>
                <a:cubicBezTo>
                  <a:pt x="4668984" y="823026"/>
                  <a:pt x="4668984" y="823026"/>
                  <a:pt x="4669197" y="823310"/>
                </a:cubicBezTo>
                <a:close/>
                <a:moveTo>
                  <a:pt x="1744927" y="822367"/>
                </a:moveTo>
                <a:cubicBezTo>
                  <a:pt x="1749987" y="824225"/>
                  <a:pt x="1750916" y="827943"/>
                  <a:pt x="1749470" y="830576"/>
                </a:cubicBezTo>
                <a:cubicBezTo>
                  <a:pt x="1748025" y="833210"/>
                  <a:pt x="1744101" y="834914"/>
                  <a:pt x="1739764" y="832590"/>
                </a:cubicBezTo>
                <a:cubicBezTo>
                  <a:pt x="1738525" y="829182"/>
                  <a:pt x="1738835" y="826549"/>
                  <a:pt x="1738732" y="824691"/>
                </a:cubicBezTo>
                <a:cubicBezTo>
                  <a:pt x="1741106" y="824071"/>
                  <a:pt x="1742552" y="822987"/>
                  <a:pt x="1744927" y="822367"/>
                </a:cubicBezTo>
                <a:close/>
                <a:moveTo>
                  <a:pt x="1862846" y="821592"/>
                </a:moveTo>
                <a:cubicBezTo>
                  <a:pt x="1863362" y="822212"/>
                  <a:pt x="1864085" y="821902"/>
                  <a:pt x="1864601" y="822677"/>
                </a:cubicBezTo>
                <a:cubicBezTo>
                  <a:pt x="1866253" y="823761"/>
                  <a:pt x="1866666" y="824536"/>
                  <a:pt x="1866460" y="825620"/>
                </a:cubicBezTo>
                <a:cubicBezTo>
                  <a:pt x="1866873" y="826394"/>
                  <a:pt x="1866150" y="826704"/>
                  <a:pt x="1865943" y="827943"/>
                </a:cubicBezTo>
                <a:cubicBezTo>
                  <a:pt x="1865221" y="828253"/>
                  <a:pt x="1863981" y="827943"/>
                  <a:pt x="1863981" y="827943"/>
                </a:cubicBezTo>
                <a:cubicBezTo>
                  <a:pt x="1862742" y="827479"/>
                  <a:pt x="1862742" y="827479"/>
                  <a:pt x="1862536" y="828718"/>
                </a:cubicBezTo>
                <a:cubicBezTo>
                  <a:pt x="1862536" y="828718"/>
                  <a:pt x="1862020" y="827943"/>
                  <a:pt x="1862020" y="827943"/>
                </a:cubicBezTo>
                <a:cubicBezTo>
                  <a:pt x="1862742" y="827479"/>
                  <a:pt x="1862020" y="827943"/>
                  <a:pt x="1860780" y="827479"/>
                </a:cubicBezTo>
                <a:cubicBezTo>
                  <a:pt x="1860574" y="825620"/>
                  <a:pt x="1860161" y="824845"/>
                  <a:pt x="1860471" y="823761"/>
                </a:cubicBezTo>
                <a:cubicBezTo>
                  <a:pt x="1860574" y="823141"/>
                  <a:pt x="1860884" y="822522"/>
                  <a:pt x="1861297" y="822057"/>
                </a:cubicBezTo>
                <a:cubicBezTo>
                  <a:pt x="1861813" y="821592"/>
                  <a:pt x="1862330" y="821283"/>
                  <a:pt x="1862846" y="821592"/>
                </a:cubicBezTo>
                <a:close/>
                <a:moveTo>
                  <a:pt x="1780654" y="819734"/>
                </a:moveTo>
                <a:cubicBezTo>
                  <a:pt x="1788398" y="823761"/>
                  <a:pt x="1799550" y="830112"/>
                  <a:pt x="1806881" y="837392"/>
                </a:cubicBezTo>
                <a:lnTo>
                  <a:pt x="1807191" y="837857"/>
                </a:lnTo>
                <a:lnTo>
                  <a:pt x="1807604" y="835688"/>
                </a:lnTo>
                <a:cubicBezTo>
                  <a:pt x="1808017" y="834759"/>
                  <a:pt x="1808739" y="833674"/>
                  <a:pt x="1809772" y="832590"/>
                </a:cubicBezTo>
                <a:cubicBezTo>
                  <a:pt x="1814935" y="827788"/>
                  <a:pt x="1819478" y="832280"/>
                  <a:pt x="1819581" y="831506"/>
                </a:cubicBezTo>
                <a:cubicBezTo>
                  <a:pt x="1820614" y="830731"/>
                  <a:pt x="1820614" y="830731"/>
                  <a:pt x="1820717" y="829957"/>
                </a:cubicBezTo>
                <a:cubicBezTo>
                  <a:pt x="1821646" y="829957"/>
                  <a:pt x="1823505" y="829337"/>
                  <a:pt x="1824538" y="828563"/>
                </a:cubicBezTo>
                <a:cubicBezTo>
                  <a:pt x="1824331" y="829337"/>
                  <a:pt x="1824228" y="830112"/>
                  <a:pt x="1825054" y="830112"/>
                </a:cubicBezTo>
                <a:cubicBezTo>
                  <a:pt x="1823092" y="831660"/>
                  <a:pt x="1822163" y="831660"/>
                  <a:pt x="1821234" y="832435"/>
                </a:cubicBezTo>
                <a:cubicBezTo>
                  <a:pt x="1822060" y="832435"/>
                  <a:pt x="1821027" y="833210"/>
                  <a:pt x="1821027" y="833210"/>
                </a:cubicBezTo>
                <a:cubicBezTo>
                  <a:pt x="1821027" y="833210"/>
                  <a:pt x="1821027" y="833364"/>
                  <a:pt x="1822472" y="835069"/>
                </a:cubicBezTo>
                <a:cubicBezTo>
                  <a:pt x="1822472" y="835069"/>
                  <a:pt x="1825261" y="839405"/>
                  <a:pt x="1821130" y="843433"/>
                </a:cubicBezTo>
                <a:cubicBezTo>
                  <a:pt x="1820614" y="842659"/>
                  <a:pt x="1817103" y="845136"/>
                  <a:pt x="1814005" y="845602"/>
                </a:cubicBezTo>
                <a:lnTo>
                  <a:pt x="1812250" y="845447"/>
                </a:lnTo>
                <a:lnTo>
                  <a:pt x="1808017" y="847150"/>
                </a:lnTo>
                <a:cubicBezTo>
                  <a:pt x="1796865" y="848544"/>
                  <a:pt x="1782926" y="827943"/>
                  <a:pt x="1780654" y="819734"/>
                </a:cubicBezTo>
                <a:close/>
                <a:moveTo>
                  <a:pt x="1469853" y="819579"/>
                </a:moveTo>
                <a:cubicBezTo>
                  <a:pt x="1470575" y="819734"/>
                  <a:pt x="1471195" y="820198"/>
                  <a:pt x="1471918" y="821127"/>
                </a:cubicBezTo>
                <a:cubicBezTo>
                  <a:pt x="1472847" y="821127"/>
                  <a:pt x="1473157" y="824536"/>
                  <a:pt x="1472124" y="825310"/>
                </a:cubicBezTo>
                <a:cubicBezTo>
                  <a:pt x="1470059" y="827788"/>
                  <a:pt x="1467788" y="825929"/>
                  <a:pt x="1464483" y="824845"/>
                </a:cubicBezTo>
                <a:cubicBezTo>
                  <a:pt x="1465412" y="824071"/>
                  <a:pt x="1464690" y="823141"/>
                  <a:pt x="1464070" y="822212"/>
                </a:cubicBezTo>
                <a:cubicBezTo>
                  <a:pt x="1465516" y="821127"/>
                  <a:pt x="1467684" y="818959"/>
                  <a:pt x="1469853" y="819579"/>
                </a:cubicBezTo>
                <a:close/>
                <a:moveTo>
                  <a:pt x="3616611" y="818900"/>
                </a:moveTo>
                <a:cubicBezTo>
                  <a:pt x="3619385" y="826867"/>
                  <a:pt x="3618745" y="830851"/>
                  <a:pt x="3616825" y="832273"/>
                </a:cubicBezTo>
                <a:cubicBezTo>
                  <a:pt x="3610635" y="836399"/>
                  <a:pt x="3592068" y="817762"/>
                  <a:pt x="3616611" y="818900"/>
                </a:cubicBezTo>
                <a:close/>
                <a:moveTo>
                  <a:pt x="1500416" y="818649"/>
                </a:moveTo>
                <a:cubicBezTo>
                  <a:pt x="1502068" y="819734"/>
                  <a:pt x="1503824" y="820044"/>
                  <a:pt x="1505476" y="821127"/>
                </a:cubicBezTo>
                <a:cubicBezTo>
                  <a:pt x="1506508" y="823761"/>
                  <a:pt x="1503824" y="829182"/>
                  <a:pt x="1500520" y="829647"/>
                </a:cubicBezTo>
                <a:cubicBezTo>
                  <a:pt x="1499384" y="829802"/>
                  <a:pt x="1498145" y="829492"/>
                  <a:pt x="1496905" y="828098"/>
                </a:cubicBezTo>
                <a:cubicBezTo>
                  <a:pt x="1496183" y="827169"/>
                  <a:pt x="1495770" y="826239"/>
                  <a:pt x="1495667" y="825465"/>
                </a:cubicBezTo>
                <a:cubicBezTo>
                  <a:pt x="1495254" y="822831"/>
                  <a:pt x="1497629" y="820663"/>
                  <a:pt x="1500416" y="818649"/>
                </a:cubicBezTo>
                <a:close/>
                <a:moveTo>
                  <a:pt x="3227120" y="816908"/>
                </a:moveTo>
                <a:cubicBezTo>
                  <a:pt x="3227120" y="818046"/>
                  <a:pt x="3228187" y="818188"/>
                  <a:pt x="3228400" y="819327"/>
                </a:cubicBezTo>
                <a:cubicBezTo>
                  <a:pt x="3229681" y="821888"/>
                  <a:pt x="3229681" y="821888"/>
                  <a:pt x="3228400" y="823168"/>
                </a:cubicBezTo>
                <a:cubicBezTo>
                  <a:pt x="3227333" y="824306"/>
                  <a:pt x="3223705" y="822741"/>
                  <a:pt x="3222638" y="824022"/>
                </a:cubicBezTo>
                <a:cubicBezTo>
                  <a:pt x="3222638" y="824022"/>
                  <a:pt x="3222638" y="824022"/>
                  <a:pt x="3221357" y="821461"/>
                </a:cubicBezTo>
                <a:cubicBezTo>
                  <a:pt x="3221357" y="820323"/>
                  <a:pt x="3221144" y="819042"/>
                  <a:pt x="3222425" y="817904"/>
                </a:cubicBezTo>
                <a:cubicBezTo>
                  <a:pt x="3223492" y="816623"/>
                  <a:pt x="3225840" y="816766"/>
                  <a:pt x="3227120" y="816908"/>
                </a:cubicBezTo>
                <a:close/>
                <a:moveTo>
                  <a:pt x="1323332" y="816791"/>
                </a:moveTo>
                <a:cubicBezTo>
                  <a:pt x="1323332" y="824225"/>
                  <a:pt x="1322919" y="836462"/>
                  <a:pt x="1318169" y="842039"/>
                </a:cubicBezTo>
                <a:cubicBezTo>
                  <a:pt x="1316001" y="840955"/>
                  <a:pt x="1314865" y="838941"/>
                  <a:pt x="1314555" y="836617"/>
                </a:cubicBezTo>
                <a:cubicBezTo>
                  <a:pt x="1313626" y="829647"/>
                  <a:pt x="1319821" y="819579"/>
                  <a:pt x="1323332" y="816791"/>
                </a:cubicBezTo>
                <a:close/>
                <a:moveTo>
                  <a:pt x="2815112" y="816431"/>
                </a:moveTo>
                <a:lnTo>
                  <a:pt x="2815585" y="818817"/>
                </a:lnTo>
                <a:lnTo>
                  <a:pt x="2816039" y="820825"/>
                </a:lnTo>
                <a:lnTo>
                  <a:pt x="2827385" y="826013"/>
                </a:lnTo>
                <a:lnTo>
                  <a:pt x="2828665" y="828147"/>
                </a:lnTo>
                <a:lnTo>
                  <a:pt x="2827171" y="823026"/>
                </a:lnTo>
                <a:lnTo>
                  <a:pt x="2826744" y="823737"/>
                </a:lnTo>
                <a:lnTo>
                  <a:pt x="2819488" y="817620"/>
                </a:lnTo>
                <a:close/>
                <a:moveTo>
                  <a:pt x="3758108" y="815486"/>
                </a:moveTo>
                <a:cubicBezTo>
                  <a:pt x="3759388" y="815770"/>
                  <a:pt x="3760243" y="816339"/>
                  <a:pt x="3760456" y="817193"/>
                </a:cubicBezTo>
                <a:cubicBezTo>
                  <a:pt x="3760883" y="819611"/>
                  <a:pt x="3761310" y="822030"/>
                  <a:pt x="3759388" y="823595"/>
                </a:cubicBezTo>
                <a:cubicBezTo>
                  <a:pt x="3758748" y="824164"/>
                  <a:pt x="3757895" y="824590"/>
                  <a:pt x="3756828" y="825017"/>
                </a:cubicBezTo>
                <a:cubicBezTo>
                  <a:pt x="3756828" y="825017"/>
                  <a:pt x="3756828" y="824875"/>
                  <a:pt x="3755761" y="824306"/>
                </a:cubicBezTo>
                <a:cubicBezTo>
                  <a:pt x="3754053" y="823168"/>
                  <a:pt x="3752986" y="822599"/>
                  <a:pt x="3752132" y="821888"/>
                </a:cubicBezTo>
                <a:cubicBezTo>
                  <a:pt x="3751919" y="820323"/>
                  <a:pt x="3751919" y="816054"/>
                  <a:pt x="3753627" y="815628"/>
                </a:cubicBezTo>
                <a:cubicBezTo>
                  <a:pt x="3755120" y="815201"/>
                  <a:pt x="3756828" y="815201"/>
                  <a:pt x="3758108" y="815486"/>
                </a:cubicBezTo>
                <a:close/>
                <a:moveTo>
                  <a:pt x="1457668" y="814467"/>
                </a:moveTo>
                <a:cubicBezTo>
                  <a:pt x="1463967" y="815861"/>
                  <a:pt x="1460766" y="826549"/>
                  <a:pt x="1454570" y="821437"/>
                </a:cubicBezTo>
                <a:cubicBezTo>
                  <a:pt x="1455706" y="818185"/>
                  <a:pt x="1456532" y="815861"/>
                  <a:pt x="1457668" y="814467"/>
                </a:cubicBezTo>
                <a:close/>
                <a:moveTo>
                  <a:pt x="3884666" y="813351"/>
                </a:moveTo>
                <a:cubicBezTo>
                  <a:pt x="3885733" y="813067"/>
                  <a:pt x="3886587" y="813067"/>
                  <a:pt x="3887440" y="813636"/>
                </a:cubicBezTo>
                <a:cubicBezTo>
                  <a:pt x="3888507" y="814916"/>
                  <a:pt x="3887227" y="816054"/>
                  <a:pt x="3887014" y="817193"/>
                </a:cubicBezTo>
                <a:cubicBezTo>
                  <a:pt x="3885733" y="819611"/>
                  <a:pt x="3877410" y="823026"/>
                  <a:pt x="3876556" y="821745"/>
                </a:cubicBezTo>
                <a:cubicBezTo>
                  <a:pt x="3878477" y="819185"/>
                  <a:pt x="3881892" y="814490"/>
                  <a:pt x="3884666" y="813351"/>
                </a:cubicBezTo>
                <a:close/>
                <a:moveTo>
                  <a:pt x="1169377" y="812298"/>
                </a:moveTo>
                <a:cubicBezTo>
                  <a:pt x="1177947" y="814312"/>
                  <a:pt x="1186001" y="834139"/>
                  <a:pt x="1177844" y="838476"/>
                </a:cubicBezTo>
                <a:cubicBezTo>
                  <a:pt x="1175675" y="828718"/>
                  <a:pt x="1169687" y="823451"/>
                  <a:pt x="1169377" y="812298"/>
                </a:cubicBezTo>
                <a:close/>
                <a:moveTo>
                  <a:pt x="3098001" y="810791"/>
                </a:moveTo>
                <a:cubicBezTo>
                  <a:pt x="3102269" y="811075"/>
                  <a:pt x="3106964" y="813209"/>
                  <a:pt x="3108885" y="816908"/>
                </a:cubicBezTo>
                <a:cubicBezTo>
                  <a:pt x="3102269" y="822457"/>
                  <a:pt x="3096720" y="824590"/>
                  <a:pt x="3089464" y="817193"/>
                </a:cubicBezTo>
                <a:cubicBezTo>
                  <a:pt x="3089677" y="812498"/>
                  <a:pt x="3093732" y="810649"/>
                  <a:pt x="3098001" y="810791"/>
                </a:cubicBezTo>
                <a:close/>
                <a:moveTo>
                  <a:pt x="3232242" y="809368"/>
                </a:moveTo>
                <a:cubicBezTo>
                  <a:pt x="3234163" y="809510"/>
                  <a:pt x="3236083" y="810506"/>
                  <a:pt x="3237578" y="812498"/>
                </a:cubicBezTo>
                <a:cubicBezTo>
                  <a:pt x="3240992" y="815486"/>
                  <a:pt x="3240779" y="820180"/>
                  <a:pt x="3243980" y="824306"/>
                </a:cubicBezTo>
                <a:cubicBezTo>
                  <a:pt x="3240138" y="828574"/>
                  <a:pt x="3238858" y="829570"/>
                  <a:pt x="3233309" y="826156"/>
                </a:cubicBezTo>
                <a:cubicBezTo>
                  <a:pt x="3233309" y="826156"/>
                  <a:pt x="3232242" y="824875"/>
                  <a:pt x="3232242" y="824875"/>
                </a:cubicBezTo>
                <a:cubicBezTo>
                  <a:pt x="3227974" y="820607"/>
                  <a:pt x="3226052" y="813067"/>
                  <a:pt x="3227333" y="810791"/>
                </a:cubicBezTo>
                <a:cubicBezTo>
                  <a:pt x="3228614" y="809795"/>
                  <a:pt x="3230321" y="809226"/>
                  <a:pt x="3232242" y="809368"/>
                </a:cubicBezTo>
                <a:close/>
                <a:moveTo>
                  <a:pt x="3006871" y="807518"/>
                </a:moveTo>
                <a:cubicBezTo>
                  <a:pt x="3005163" y="809510"/>
                  <a:pt x="2998547" y="816054"/>
                  <a:pt x="2995986" y="815770"/>
                </a:cubicBezTo>
                <a:cubicBezTo>
                  <a:pt x="2998547" y="812213"/>
                  <a:pt x="3005590" y="806807"/>
                  <a:pt x="3006871" y="807518"/>
                </a:cubicBezTo>
                <a:close/>
                <a:moveTo>
                  <a:pt x="1281100" y="806723"/>
                </a:moveTo>
                <a:cubicBezTo>
                  <a:pt x="1288328" y="812918"/>
                  <a:pt x="1287296" y="828098"/>
                  <a:pt x="1278415" y="826394"/>
                </a:cubicBezTo>
                <a:cubicBezTo>
                  <a:pt x="1277176" y="826239"/>
                  <a:pt x="1275834" y="825620"/>
                  <a:pt x="1274285" y="824691"/>
                </a:cubicBezTo>
                <a:cubicBezTo>
                  <a:pt x="1274182" y="823141"/>
                  <a:pt x="1273872" y="821437"/>
                  <a:pt x="1273769" y="819579"/>
                </a:cubicBezTo>
                <a:cubicBezTo>
                  <a:pt x="1273666" y="818185"/>
                  <a:pt x="1273562" y="816791"/>
                  <a:pt x="1273666" y="815397"/>
                </a:cubicBezTo>
                <a:cubicBezTo>
                  <a:pt x="1273975" y="811214"/>
                  <a:pt x="1275525" y="807652"/>
                  <a:pt x="1281100" y="806723"/>
                </a:cubicBezTo>
                <a:close/>
                <a:moveTo>
                  <a:pt x="1610591" y="806568"/>
                </a:moveTo>
                <a:cubicBezTo>
                  <a:pt x="1611830" y="807032"/>
                  <a:pt x="1611520" y="808116"/>
                  <a:pt x="1611933" y="808736"/>
                </a:cubicBezTo>
                <a:cubicBezTo>
                  <a:pt x="1612140" y="810594"/>
                  <a:pt x="1608422" y="815551"/>
                  <a:pt x="1607287" y="815087"/>
                </a:cubicBezTo>
                <a:cubicBezTo>
                  <a:pt x="1607287" y="812918"/>
                  <a:pt x="1607493" y="809046"/>
                  <a:pt x="1608835" y="807342"/>
                </a:cubicBezTo>
                <a:cubicBezTo>
                  <a:pt x="1609248" y="806877"/>
                  <a:pt x="1609868" y="806568"/>
                  <a:pt x="1610591" y="806568"/>
                </a:cubicBezTo>
                <a:close/>
                <a:moveTo>
                  <a:pt x="3571579" y="806380"/>
                </a:moveTo>
                <a:cubicBezTo>
                  <a:pt x="3571579" y="806380"/>
                  <a:pt x="3572220" y="807376"/>
                  <a:pt x="3572220" y="807376"/>
                </a:cubicBezTo>
                <a:cubicBezTo>
                  <a:pt x="3572646" y="807092"/>
                  <a:pt x="3572646" y="807092"/>
                  <a:pt x="3572433" y="807518"/>
                </a:cubicBezTo>
                <a:cubicBezTo>
                  <a:pt x="3572433" y="807803"/>
                  <a:pt x="3572220" y="808657"/>
                  <a:pt x="3572220" y="809937"/>
                </a:cubicBezTo>
                <a:cubicBezTo>
                  <a:pt x="3571793" y="811502"/>
                  <a:pt x="3572220" y="812498"/>
                  <a:pt x="3570726" y="812213"/>
                </a:cubicBezTo>
                <a:cubicBezTo>
                  <a:pt x="3569232" y="811786"/>
                  <a:pt x="3569232" y="811786"/>
                  <a:pt x="3567738" y="808799"/>
                </a:cubicBezTo>
                <a:cubicBezTo>
                  <a:pt x="3569232" y="809226"/>
                  <a:pt x="3569232" y="809226"/>
                  <a:pt x="3569659" y="807660"/>
                </a:cubicBezTo>
                <a:cubicBezTo>
                  <a:pt x="3569659" y="807660"/>
                  <a:pt x="3569659" y="807660"/>
                  <a:pt x="3569232" y="806665"/>
                </a:cubicBezTo>
                <a:cubicBezTo>
                  <a:pt x="3570299" y="806095"/>
                  <a:pt x="3570726" y="806949"/>
                  <a:pt x="3571579" y="806380"/>
                </a:cubicBezTo>
                <a:close/>
                <a:moveTo>
                  <a:pt x="1869144" y="805328"/>
                </a:moveTo>
                <a:cubicBezTo>
                  <a:pt x="1868008" y="812454"/>
                  <a:pt x="1867492" y="820044"/>
                  <a:pt x="1861710" y="821592"/>
                </a:cubicBezTo>
                <a:cubicBezTo>
                  <a:pt x="1860780" y="820663"/>
                  <a:pt x="1860264" y="819579"/>
                  <a:pt x="1860058" y="818494"/>
                </a:cubicBezTo>
                <a:cubicBezTo>
                  <a:pt x="1859851" y="817255"/>
                  <a:pt x="1859955" y="815861"/>
                  <a:pt x="1860264" y="814467"/>
                </a:cubicBezTo>
                <a:cubicBezTo>
                  <a:pt x="1860780" y="811679"/>
                  <a:pt x="1862226" y="808891"/>
                  <a:pt x="1863465" y="806877"/>
                </a:cubicBezTo>
                <a:cubicBezTo>
                  <a:pt x="1865840" y="807032"/>
                  <a:pt x="1866769" y="805173"/>
                  <a:pt x="1869144" y="805328"/>
                </a:cubicBezTo>
                <a:close/>
                <a:moveTo>
                  <a:pt x="3842623" y="805100"/>
                </a:moveTo>
                <a:cubicBezTo>
                  <a:pt x="3844756" y="806807"/>
                  <a:pt x="3846037" y="810079"/>
                  <a:pt x="3846678" y="813921"/>
                </a:cubicBezTo>
                <a:cubicBezTo>
                  <a:pt x="3848171" y="825160"/>
                  <a:pt x="3842836" y="841947"/>
                  <a:pt x="3833232" y="842943"/>
                </a:cubicBezTo>
                <a:cubicBezTo>
                  <a:pt x="3837714" y="829570"/>
                  <a:pt x="3834726" y="819469"/>
                  <a:pt x="3842623" y="805100"/>
                </a:cubicBezTo>
                <a:close/>
                <a:moveTo>
                  <a:pt x="1717358" y="804089"/>
                </a:moveTo>
                <a:cubicBezTo>
                  <a:pt x="1717874" y="804399"/>
                  <a:pt x="1718390" y="805019"/>
                  <a:pt x="1719216" y="805483"/>
                </a:cubicBezTo>
                <a:lnTo>
                  <a:pt x="1716119" y="807807"/>
                </a:lnTo>
                <a:cubicBezTo>
                  <a:pt x="1715809" y="807342"/>
                  <a:pt x="1715396" y="806723"/>
                  <a:pt x="1715293" y="806103"/>
                </a:cubicBezTo>
                <a:cubicBezTo>
                  <a:pt x="1715189" y="805483"/>
                  <a:pt x="1715293" y="804864"/>
                  <a:pt x="1715809" y="804554"/>
                </a:cubicBezTo>
                <a:cubicBezTo>
                  <a:pt x="1716428" y="803779"/>
                  <a:pt x="1716841" y="803779"/>
                  <a:pt x="1717358" y="804089"/>
                </a:cubicBezTo>
                <a:close/>
                <a:moveTo>
                  <a:pt x="3603166" y="803962"/>
                </a:moveTo>
                <a:cubicBezTo>
                  <a:pt x="3611062" y="803108"/>
                  <a:pt x="3614477" y="804957"/>
                  <a:pt x="3615117" y="807376"/>
                </a:cubicBezTo>
                <a:cubicBezTo>
                  <a:pt x="3617251" y="814774"/>
                  <a:pt x="3595696" y="828859"/>
                  <a:pt x="3603166" y="803962"/>
                </a:cubicBezTo>
                <a:close/>
                <a:moveTo>
                  <a:pt x="1183523" y="803934"/>
                </a:moveTo>
                <a:cubicBezTo>
                  <a:pt x="1187550" y="801921"/>
                  <a:pt x="1190544" y="802695"/>
                  <a:pt x="1192609" y="805328"/>
                </a:cubicBezTo>
                <a:cubicBezTo>
                  <a:pt x="1191990" y="809975"/>
                  <a:pt x="1185588" y="811989"/>
                  <a:pt x="1182903" y="808736"/>
                </a:cubicBezTo>
                <a:cubicBezTo>
                  <a:pt x="1183007" y="808116"/>
                  <a:pt x="1182903" y="807342"/>
                  <a:pt x="1183007" y="806568"/>
                </a:cubicBezTo>
                <a:cubicBezTo>
                  <a:pt x="1183007" y="805793"/>
                  <a:pt x="1183110" y="804864"/>
                  <a:pt x="1183523" y="803934"/>
                </a:cubicBezTo>
                <a:close/>
                <a:moveTo>
                  <a:pt x="3019676" y="803820"/>
                </a:moveTo>
                <a:cubicBezTo>
                  <a:pt x="3021596" y="803250"/>
                  <a:pt x="3023731" y="803393"/>
                  <a:pt x="3025651" y="804389"/>
                </a:cubicBezTo>
                <a:cubicBezTo>
                  <a:pt x="3028213" y="805669"/>
                  <a:pt x="3030347" y="808514"/>
                  <a:pt x="3031414" y="813209"/>
                </a:cubicBezTo>
                <a:cubicBezTo>
                  <a:pt x="3028213" y="817762"/>
                  <a:pt x="3024798" y="817620"/>
                  <a:pt x="3021383" y="819753"/>
                </a:cubicBezTo>
                <a:cubicBezTo>
                  <a:pt x="3011139" y="812640"/>
                  <a:pt x="3014340" y="805384"/>
                  <a:pt x="3019676" y="803820"/>
                </a:cubicBezTo>
                <a:close/>
                <a:moveTo>
                  <a:pt x="1707342" y="803160"/>
                </a:moveTo>
                <a:cubicBezTo>
                  <a:pt x="1709613" y="805019"/>
                  <a:pt x="1710956" y="807652"/>
                  <a:pt x="1707961" y="809975"/>
                </a:cubicBezTo>
                <a:cubicBezTo>
                  <a:pt x="1706929" y="810594"/>
                  <a:pt x="1706000" y="811369"/>
                  <a:pt x="1706103" y="810594"/>
                </a:cubicBezTo>
                <a:cubicBezTo>
                  <a:pt x="1705276" y="810594"/>
                  <a:pt x="1705380" y="809820"/>
                  <a:pt x="1704657" y="808891"/>
                </a:cubicBezTo>
                <a:cubicBezTo>
                  <a:pt x="1704347" y="807961"/>
                  <a:pt x="1704347" y="807032"/>
                  <a:pt x="1704451" y="806103"/>
                </a:cubicBezTo>
                <a:cubicBezTo>
                  <a:pt x="1704657" y="805173"/>
                  <a:pt x="1704967" y="804244"/>
                  <a:pt x="1705483" y="803934"/>
                </a:cubicBezTo>
                <a:cubicBezTo>
                  <a:pt x="1706412" y="803160"/>
                  <a:pt x="1707342" y="803160"/>
                  <a:pt x="1707342" y="803160"/>
                </a:cubicBezTo>
                <a:close/>
                <a:moveTo>
                  <a:pt x="3935247" y="803108"/>
                </a:moveTo>
                <a:cubicBezTo>
                  <a:pt x="3936741" y="802965"/>
                  <a:pt x="3938234" y="802965"/>
                  <a:pt x="3939515" y="803677"/>
                </a:cubicBezTo>
                <a:cubicBezTo>
                  <a:pt x="3939515" y="803677"/>
                  <a:pt x="3939515" y="803677"/>
                  <a:pt x="3938448" y="803677"/>
                </a:cubicBezTo>
                <a:cubicBezTo>
                  <a:pt x="3938448" y="803677"/>
                  <a:pt x="3939729" y="803677"/>
                  <a:pt x="3939515" y="804815"/>
                </a:cubicBezTo>
                <a:cubicBezTo>
                  <a:pt x="3933326" y="808230"/>
                  <a:pt x="3924149" y="806807"/>
                  <a:pt x="3923082" y="806807"/>
                </a:cubicBezTo>
                <a:cubicBezTo>
                  <a:pt x="3923082" y="805669"/>
                  <a:pt x="3923082" y="805669"/>
                  <a:pt x="3923082" y="805669"/>
                </a:cubicBezTo>
                <a:cubicBezTo>
                  <a:pt x="3926496" y="806665"/>
                  <a:pt x="3930978" y="803677"/>
                  <a:pt x="3935247" y="803108"/>
                </a:cubicBezTo>
                <a:close/>
                <a:moveTo>
                  <a:pt x="3916466" y="803108"/>
                </a:moveTo>
                <a:cubicBezTo>
                  <a:pt x="3916466" y="803108"/>
                  <a:pt x="3916466" y="803108"/>
                  <a:pt x="3917533" y="804389"/>
                </a:cubicBezTo>
                <a:cubicBezTo>
                  <a:pt x="3915185" y="804246"/>
                  <a:pt x="3913478" y="809084"/>
                  <a:pt x="3911344" y="806665"/>
                </a:cubicBezTo>
                <a:cubicBezTo>
                  <a:pt x="3912624" y="805384"/>
                  <a:pt x="3915185" y="804246"/>
                  <a:pt x="3916466" y="803108"/>
                </a:cubicBezTo>
                <a:close/>
                <a:moveTo>
                  <a:pt x="1299583" y="802850"/>
                </a:moveTo>
                <a:cubicBezTo>
                  <a:pt x="1300409" y="802695"/>
                  <a:pt x="1300512" y="803469"/>
                  <a:pt x="1301442" y="804244"/>
                </a:cubicBezTo>
                <a:cubicBezTo>
                  <a:pt x="1301442" y="805019"/>
                  <a:pt x="1300616" y="805948"/>
                  <a:pt x="1300616" y="805948"/>
                </a:cubicBezTo>
                <a:cubicBezTo>
                  <a:pt x="1299790" y="806877"/>
                  <a:pt x="1299790" y="806877"/>
                  <a:pt x="1300719" y="807652"/>
                </a:cubicBezTo>
                <a:cubicBezTo>
                  <a:pt x="1300719" y="807652"/>
                  <a:pt x="1299893" y="807807"/>
                  <a:pt x="1299893" y="807807"/>
                </a:cubicBezTo>
                <a:cubicBezTo>
                  <a:pt x="1299893" y="807342"/>
                  <a:pt x="1299893" y="807342"/>
                  <a:pt x="1299790" y="807652"/>
                </a:cubicBezTo>
                <a:lnTo>
                  <a:pt x="1299273" y="808271"/>
                </a:lnTo>
                <a:lnTo>
                  <a:pt x="1301648" y="808736"/>
                </a:lnTo>
                <a:cubicBezTo>
                  <a:pt x="1305159" y="812144"/>
                  <a:pt x="1301958" y="820663"/>
                  <a:pt x="1297725" y="821437"/>
                </a:cubicBezTo>
                <a:cubicBezTo>
                  <a:pt x="1295350" y="820508"/>
                  <a:pt x="1292974" y="819579"/>
                  <a:pt x="1290703" y="818649"/>
                </a:cubicBezTo>
                <a:cubicBezTo>
                  <a:pt x="1289258" y="816791"/>
                  <a:pt x="1288638" y="814932"/>
                  <a:pt x="1288844" y="813073"/>
                </a:cubicBezTo>
                <a:cubicBezTo>
                  <a:pt x="1289051" y="811214"/>
                  <a:pt x="1289877" y="809665"/>
                  <a:pt x="1291323" y="808581"/>
                </a:cubicBezTo>
                <a:cubicBezTo>
                  <a:pt x="1292355" y="807807"/>
                  <a:pt x="1293594" y="807342"/>
                  <a:pt x="1294937" y="807187"/>
                </a:cubicBezTo>
                <a:lnTo>
                  <a:pt x="1295143" y="807187"/>
                </a:lnTo>
                <a:lnTo>
                  <a:pt x="1294317" y="806103"/>
                </a:lnTo>
                <a:cubicBezTo>
                  <a:pt x="1294007" y="805483"/>
                  <a:pt x="1294007" y="804864"/>
                  <a:pt x="1294420" y="804399"/>
                </a:cubicBezTo>
                <a:cubicBezTo>
                  <a:pt x="1295246" y="804244"/>
                  <a:pt x="1295246" y="803469"/>
                  <a:pt x="1296072" y="803315"/>
                </a:cubicBezTo>
                <a:cubicBezTo>
                  <a:pt x="1297828" y="802230"/>
                  <a:pt x="1298654" y="802075"/>
                  <a:pt x="1299583" y="802850"/>
                </a:cubicBezTo>
                <a:close/>
                <a:moveTo>
                  <a:pt x="3235870" y="801828"/>
                </a:moveTo>
                <a:cubicBezTo>
                  <a:pt x="3237578" y="802112"/>
                  <a:pt x="3238645" y="804246"/>
                  <a:pt x="3240138" y="804673"/>
                </a:cubicBezTo>
                <a:cubicBezTo>
                  <a:pt x="3239285" y="805242"/>
                  <a:pt x="3238645" y="806949"/>
                  <a:pt x="3237578" y="807518"/>
                </a:cubicBezTo>
                <a:cubicBezTo>
                  <a:pt x="3234590" y="806807"/>
                  <a:pt x="3235016" y="802397"/>
                  <a:pt x="3235870" y="801828"/>
                </a:cubicBezTo>
                <a:close/>
                <a:moveTo>
                  <a:pt x="1422458" y="801611"/>
                </a:moveTo>
                <a:cubicBezTo>
                  <a:pt x="1421838" y="805173"/>
                  <a:pt x="1421838" y="808116"/>
                  <a:pt x="1422148" y="810904"/>
                </a:cubicBezTo>
                <a:lnTo>
                  <a:pt x="1422458" y="813383"/>
                </a:lnTo>
                <a:lnTo>
                  <a:pt x="1424523" y="811679"/>
                </a:lnTo>
                <a:cubicBezTo>
                  <a:pt x="1425969" y="811059"/>
                  <a:pt x="1427930" y="810750"/>
                  <a:pt x="1430408" y="811059"/>
                </a:cubicBezTo>
                <a:cubicBezTo>
                  <a:pt x="1435985" y="812144"/>
                  <a:pt x="1441664" y="815087"/>
                  <a:pt x="1440115" y="823761"/>
                </a:cubicBezTo>
                <a:cubicBezTo>
                  <a:pt x="1440321" y="825620"/>
                  <a:pt x="1439908" y="824845"/>
                  <a:pt x="1439598" y="825929"/>
                </a:cubicBezTo>
                <a:cubicBezTo>
                  <a:pt x="1439392" y="827169"/>
                  <a:pt x="1439495" y="829027"/>
                  <a:pt x="1439908" y="829647"/>
                </a:cubicBezTo>
                <a:cubicBezTo>
                  <a:pt x="1435571" y="829027"/>
                  <a:pt x="1435468" y="831970"/>
                  <a:pt x="1428757" y="830576"/>
                </a:cubicBezTo>
                <a:cubicBezTo>
                  <a:pt x="1422148" y="829647"/>
                  <a:pt x="1419567" y="825929"/>
                  <a:pt x="1418844" y="822522"/>
                </a:cubicBezTo>
                <a:lnTo>
                  <a:pt x="1418740" y="819579"/>
                </a:lnTo>
                <a:lnTo>
                  <a:pt x="1416159" y="818804"/>
                </a:lnTo>
                <a:cubicBezTo>
                  <a:pt x="1419050" y="813538"/>
                  <a:pt x="1414198" y="812454"/>
                  <a:pt x="1412649" y="809665"/>
                </a:cubicBezTo>
                <a:cubicBezTo>
                  <a:pt x="1412132" y="808891"/>
                  <a:pt x="1412029" y="807807"/>
                  <a:pt x="1412752" y="806413"/>
                </a:cubicBezTo>
                <a:cubicBezTo>
                  <a:pt x="1414817" y="804864"/>
                  <a:pt x="1416366" y="802385"/>
                  <a:pt x="1419154" y="801766"/>
                </a:cubicBezTo>
                <a:cubicBezTo>
                  <a:pt x="1420083" y="801456"/>
                  <a:pt x="1421116" y="801456"/>
                  <a:pt x="1422458" y="801611"/>
                </a:cubicBezTo>
                <a:close/>
                <a:moveTo>
                  <a:pt x="1342654" y="801591"/>
                </a:moveTo>
                <a:cubicBezTo>
                  <a:pt x="1343544" y="801223"/>
                  <a:pt x="1344396" y="801069"/>
                  <a:pt x="1345738" y="802540"/>
                </a:cubicBezTo>
                <a:cubicBezTo>
                  <a:pt x="1346152" y="804244"/>
                  <a:pt x="1345842" y="805948"/>
                  <a:pt x="1343777" y="808116"/>
                </a:cubicBezTo>
                <a:cubicBezTo>
                  <a:pt x="1339130" y="807342"/>
                  <a:pt x="1339233" y="804709"/>
                  <a:pt x="1339337" y="801921"/>
                </a:cubicBezTo>
                <a:cubicBezTo>
                  <a:pt x="1340834" y="802540"/>
                  <a:pt x="1341763" y="801959"/>
                  <a:pt x="1342654" y="801591"/>
                </a:cubicBezTo>
                <a:close/>
                <a:moveTo>
                  <a:pt x="3410661" y="801116"/>
                </a:moveTo>
                <a:cubicBezTo>
                  <a:pt x="3414929" y="800832"/>
                  <a:pt x="3418984" y="801543"/>
                  <a:pt x="3419624" y="804815"/>
                </a:cubicBezTo>
                <a:cubicBezTo>
                  <a:pt x="3419624" y="805669"/>
                  <a:pt x="3419624" y="806807"/>
                  <a:pt x="3419198" y="808230"/>
                </a:cubicBezTo>
                <a:cubicBezTo>
                  <a:pt x="3411728" y="807803"/>
                  <a:pt x="3405112" y="811359"/>
                  <a:pt x="3401911" y="808941"/>
                </a:cubicBezTo>
                <a:cubicBezTo>
                  <a:pt x="3400843" y="808087"/>
                  <a:pt x="3400203" y="806522"/>
                  <a:pt x="3399990" y="803962"/>
                </a:cubicBezTo>
                <a:cubicBezTo>
                  <a:pt x="3401911" y="802965"/>
                  <a:pt x="3406393" y="801543"/>
                  <a:pt x="3410661" y="801116"/>
                </a:cubicBezTo>
                <a:close/>
                <a:moveTo>
                  <a:pt x="3423893" y="800690"/>
                </a:moveTo>
                <a:cubicBezTo>
                  <a:pt x="3424320" y="802255"/>
                  <a:pt x="3424320" y="802255"/>
                  <a:pt x="3425814" y="801828"/>
                </a:cubicBezTo>
                <a:cubicBezTo>
                  <a:pt x="3425814" y="801828"/>
                  <a:pt x="3425814" y="801828"/>
                  <a:pt x="3426454" y="800832"/>
                </a:cubicBezTo>
                <a:cubicBezTo>
                  <a:pt x="3427308" y="801401"/>
                  <a:pt x="3426668" y="802397"/>
                  <a:pt x="3427521" y="802965"/>
                </a:cubicBezTo>
                <a:cubicBezTo>
                  <a:pt x="3427521" y="802965"/>
                  <a:pt x="3426880" y="803962"/>
                  <a:pt x="3426880" y="803962"/>
                </a:cubicBezTo>
                <a:cubicBezTo>
                  <a:pt x="3427308" y="804246"/>
                  <a:pt x="3427308" y="804389"/>
                  <a:pt x="3427094" y="804389"/>
                </a:cubicBezTo>
                <a:cubicBezTo>
                  <a:pt x="3426668" y="804531"/>
                  <a:pt x="3425814" y="804673"/>
                  <a:pt x="3424747" y="805384"/>
                </a:cubicBezTo>
                <a:cubicBezTo>
                  <a:pt x="3423253" y="805811"/>
                  <a:pt x="3422612" y="806949"/>
                  <a:pt x="3422399" y="805384"/>
                </a:cubicBezTo>
                <a:cubicBezTo>
                  <a:pt x="3421972" y="803677"/>
                  <a:pt x="3421972" y="803677"/>
                  <a:pt x="3423893" y="800690"/>
                </a:cubicBezTo>
                <a:close/>
                <a:moveTo>
                  <a:pt x="1435159" y="800062"/>
                </a:moveTo>
                <a:cubicBezTo>
                  <a:pt x="1443832" y="801456"/>
                  <a:pt x="1442490" y="804089"/>
                  <a:pt x="1442180" y="808271"/>
                </a:cubicBezTo>
                <a:cubicBezTo>
                  <a:pt x="1440218" y="808271"/>
                  <a:pt x="1438463" y="810130"/>
                  <a:pt x="1436088" y="809356"/>
                </a:cubicBezTo>
                <a:cubicBezTo>
                  <a:pt x="1436088" y="809356"/>
                  <a:pt x="1434849" y="809046"/>
                  <a:pt x="1433919" y="807497"/>
                </a:cubicBezTo>
                <a:cubicBezTo>
                  <a:pt x="1431132" y="806103"/>
                  <a:pt x="1431958" y="802695"/>
                  <a:pt x="1431958" y="802695"/>
                </a:cubicBezTo>
                <a:cubicBezTo>
                  <a:pt x="1431958" y="802695"/>
                  <a:pt x="1431958" y="802695"/>
                  <a:pt x="1431132" y="803005"/>
                </a:cubicBezTo>
                <a:cubicBezTo>
                  <a:pt x="1432680" y="802385"/>
                  <a:pt x="1433713" y="800836"/>
                  <a:pt x="1435159" y="800062"/>
                </a:cubicBezTo>
                <a:close/>
                <a:moveTo>
                  <a:pt x="1429066" y="798823"/>
                </a:moveTo>
                <a:cubicBezTo>
                  <a:pt x="1429789" y="798823"/>
                  <a:pt x="1430718" y="798823"/>
                  <a:pt x="1431028" y="799287"/>
                </a:cubicBezTo>
                <a:cubicBezTo>
                  <a:pt x="1432680" y="800217"/>
                  <a:pt x="1429686" y="802540"/>
                  <a:pt x="1429479" y="803469"/>
                </a:cubicBezTo>
                <a:cubicBezTo>
                  <a:pt x="1428550" y="804244"/>
                  <a:pt x="1427517" y="804864"/>
                  <a:pt x="1426795" y="804089"/>
                </a:cubicBezTo>
                <a:cubicBezTo>
                  <a:pt x="1426485" y="803625"/>
                  <a:pt x="1426072" y="803469"/>
                  <a:pt x="1425866" y="803005"/>
                </a:cubicBezTo>
                <a:cubicBezTo>
                  <a:pt x="1425762" y="802695"/>
                  <a:pt x="1425762" y="802385"/>
                  <a:pt x="1426382" y="801456"/>
                </a:cubicBezTo>
                <a:cubicBezTo>
                  <a:pt x="1426485" y="800681"/>
                  <a:pt x="1427517" y="799907"/>
                  <a:pt x="1427621" y="799133"/>
                </a:cubicBezTo>
                <a:cubicBezTo>
                  <a:pt x="1427621" y="799133"/>
                  <a:pt x="1428240" y="798823"/>
                  <a:pt x="1429066" y="798823"/>
                </a:cubicBezTo>
                <a:close/>
                <a:moveTo>
                  <a:pt x="1870074" y="798358"/>
                </a:moveTo>
                <a:cubicBezTo>
                  <a:pt x="1870797" y="798048"/>
                  <a:pt x="1871209" y="798668"/>
                  <a:pt x="1871932" y="798358"/>
                </a:cubicBezTo>
                <a:cubicBezTo>
                  <a:pt x="1871932" y="798358"/>
                  <a:pt x="1872655" y="797893"/>
                  <a:pt x="1873894" y="798358"/>
                </a:cubicBezTo>
                <a:cubicBezTo>
                  <a:pt x="1875133" y="798668"/>
                  <a:pt x="1876372" y="798978"/>
                  <a:pt x="1876579" y="800991"/>
                </a:cubicBezTo>
                <a:cubicBezTo>
                  <a:pt x="1869144" y="801766"/>
                  <a:pt x="1866253" y="803315"/>
                  <a:pt x="1860264" y="803315"/>
                </a:cubicBezTo>
                <a:cubicBezTo>
                  <a:pt x="1859851" y="802540"/>
                  <a:pt x="1860574" y="802230"/>
                  <a:pt x="1860161" y="801456"/>
                </a:cubicBezTo>
                <a:cubicBezTo>
                  <a:pt x="1860264" y="800836"/>
                  <a:pt x="1860884" y="800371"/>
                  <a:pt x="1861813" y="799907"/>
                </a:cubicBezTo>
                <a:cubicBezTo>
                  <a:pt x="1864601" y="798513"/>
                  <a:pt x="1869661" y="797738"/>
                  <a:pt x="1870074" y="798358"/>
                </a:cubicBezTo>
                <a:close/>
                <a:moveTo>
                  <a:pt x="1243876" y="797642"/>
                </a:moveTo>
                <a:cubicBezTo>
                  <a:pt x="1246897" y="797893"/>
                  <a:pt x="1250485" y="798978"/>
                  <a:pt x="1253118" y="799133"/>
                </a:cubicBezTo>
                <a:cubicBezTo>
                  <a:pt x="1253840" y="802850"/>
                  <a:pt x="1253634" y="803934"/>
                  <a:pt x="1251982" y="807497"/>
                </a:cubicBezTo>
                <a:cubicBezTo>
                  <a:pt x="1246200" y="808736"/>
                  <a:pt x="1242276" y="806723"/>
                  <a:pt x="1238249" y="804554"/>
                </a:cubicBezTo>
                <a:cubicBezTo>
                  <a:pt x="1238042" y="803315"/>
                  <a:pt x="1237939" y="802075"/>
                  <a:pt x="1238042" y="801146"/>
                </a:cubicBezTo>
                <a:cubicBezTo>
                  <a:pt x="1238404" y="797971"/>
                  <a:pt x="1240856" y="797390"/>
                  <a:pt x="1243876" y="797642"/>
                </a:cubicBezTo>
                <a:close/>
                <a:moveTo>
                  <a:pt x="3256145" y="795141"/>
                </a:moveTo>
                <a:cubicBezTo>
                  <a:pt x="3257212" y="795568"/>
                  <a:pt x="3258066" y="797133"/>
                  <a:pt x="3258706" y="799978"/>
                </a:cubicBezTo>
                <a:cubicBezTo>
                  <a:pt x="3254865" y="802397"/>
                  <a:pt x="3252730" y="802539"/>
                  <a:pt x="3251663" y="801828"/>
                </a:cubicBezTo>
                <a:cubicBezTo>
                  <a:pt x="3249529" y="800120"/>
                  <a:pt x="3253157" y="793434"/>
                  <a:pt x="3256145" y="795141"/>
                </a:cubicBezTo>
                <a:close/>
                <a:moveTo>
                  <a:pt x="3509261" y="792011"/>
                </a:moveTo>
                <a:cubicBezTo>
                  <a:pt x="3512676" y="792154"/>
                  <a:pt x="3515023" y="793434"/>
                  <a:pt x="3517371" y="797275"/>
                </a:cubicBezTo>
                <a:cubicBezTo>
                  <a:pt x="3515450" y="801970"/>
                  <a:pt x="3516517" y="800832"/>
                  <a:pt x="3512035" y="804246"/>
                </a:cubicBezTo>
                <a:cubicBezTo>
                  <a:pt x="3509688" y="801685"/>
                  <a:pt x="3507340" y="799267"/>
                  <a:pt x="3504992" y="796706"/>
                </a:cubicBezTo>
                <a:cubicBezTo>
                  <a:pt x="3507127" y="795568"/>
                  <a:pt x="3508194" y="793149"/>
                  <a:pt x="3509261" y="792011"/>
                </a:cubicBezTo>
                <a:close/>
                <a:moveTo>
                  <a:pt x="1624221" y="790613"/>
                </a:moveTo>
                <a:cubicBezTo>
                  <a:pt x="1624221" y="790613"/>
                  <a:pt x="1624221" y="790458"/>
                  <a:pt x="1625460" y="790923"/>
                </a:cubicBezTo>
                <a:cubicBezTo>
                  <a:pt x="1623911" y="791697"/>
                  <a:pt x="1625150" y="795105"/>
                  <a:pt x="1622672" y="794331"/>
                </a:cubicBezTo>
                <a:cubicBezTo>
                  <a:pt x="1622981" y="793246"/>
                  <a:pt x="1623911" y="791697"/>
                  <a:pt x="1624221" y="790613"/>
                </a:cubicBezTo>
                <a:close/>
                <a:moveTo>
                  <a:pt x="3941863" y="790446"/>
                </a:moveTo>
                <a:cubicBezTo>
                  <a:pt x="3942717" y="792864"/>
                  <a:pt x="3942717" y="792864"/>
                  <a:pt x="3941436" y="795283"/>
                </a:cubicBezTo>
                <a:cubicBezTo>
                  <a:pt x="3940155" y="795283"/>
                  <a:pt x="3940155" y="796563"/>
                  <a:pt x="3939088" y="795283"/>
                </a:cubicBezTo>
                <a:cubicBezTo>
                  <a:pt x="3936314" y="798840"/>
                  <a:pt x="3925643" y="802397"/>
                  <a:pt x="3921161" y="801116"/>
                </a:cubicBezTo>
                <a:cubicBezTo>
                  <a:pt x="3930338" y="790162"/>
                  <a:pt x="3936741" y="796421"/>
                  <a:pt x="3941863" y="790446"/>
                </a:cubicBezTo>
                <a:close/>
                <a:moveTo>
                  <a:pt x="3872928" y="789166"/>
                </a:moveTo>
                <a:cubicBezTo>
                  <a:pt x="3873995" y="789877"/>
                  <a:pt x="3874422" y="790446"/>
                  <a:pt x="3874422" y="791158"/>
                </a:cubicBezTo>
                <a:cubicBezTo>
                  <a:pt x="3874636" y="791727"/>
                  <a:pt x="3874209" y="792296"/>
                  <a:pt x="3873568" y="792864"/>
                </a:cubicBezTo>
                <a:cubicBezTo>
                  <a:pt x="3873568" y="792864"/>
                  <a:pt x="3872288" y="794145"/>
                  <a:pt x="3871007" y="795283"/>
                </a:cubicBezTo>
                <a:cubicBezTo>
                  <a:pt x="3869727" y="796421"/>
                  <a:pt x="3869513" y="797559"/>
                  <a:pt x="3869513" y="797559"/>
                </a:cubicBezTo>
                <a:cubicBezTo>
                  <a:pt x="3868233" y="798698"/>
                  <a:pt x="3866953" y="798840"/>
                  <a:pt x="3865885" y="797559"/>
                </a:cubicBezTo>
                <a:cubicBezTo>
                  <a:pt x="3865885" y="797559"/>
                  <a:pt x="3867379" y="795141"/>
                  <a:pt x="3867379" y="795141"/>
                </a:cubicBezTo>
                <a:cubicBezTo>
                  <a:pt x="3869940" y="792864"/>
                  <a:pt x="3871434" y="791584"/>
                  <a:pt x="3872928" y="789166"/>
                </a:cubicBezTo>
                <a:close/>
                <a:moveTo>
                  <a:pt x="3353038" y="788027"/>
                </a:moveTo>
                <a:cubicBezTo>
                  <a:pt x="3357733" y="788027"/>
                  <a:pt x="3362215" y="789877"/>
                  <a:pt x="3365630" y="793861"/>
                </a:cubicBezTo>
                <a:cubicBezTo>
                  <a:pt x="3363922" y="798840"/>
                  <a:pt x="3361788" y="803677"/>
                  <a:pt x="3359440" y="808657"/>
                </a:cubicBezTo>
                <a:lnTo>
                  <a:pt x="3350476" y="822457"/>
                </a:lnTo>
                <a:lnTo>
                  <a:pt x="3354745" y="821318"/>
                </a:lnTo>
                <a:cubicBezTo>
                  <a:pt x="3357519" y="820892"/>
                  <a:pt x="3359867" y="820892"/>
                  <a:pt x="3362001" y="821034"/>
                </a:cubicBezTo>
                <a:cubicBezTo>
                  <a:pt x="3360507" y="824022"/>
                  <a:pt x="3358586" y="826440"/>
                  <a:pt x="3356239" y="828574"/>
                </a:cubicBezTo>
                <a:lnTo>
                  <a:pt x="3349836" y="832700"/>
                </a:lnTo>
                <a:lnTo>
                  <a:pt x="3350476" y="836257"/>
                </a:lnTo>
                <a:lnTo>
                  <a:pt x="3353891" y="831135"/>
                </a:lnTo>
                <a:cubicBezTo>
                  <a:pt x="3359654" y="825160"/>
                  <a:pt x="3367763" y="824022"/>
                  <a:pt x="3375873" y="822883"/>
                </a:cubicBezTo>
                <a:cubicBezTo>
                  <a:pt x="3375660" y="828859"/>
                  <a:pt x="3371392" y="832842"/>
                  <a:pt x="3366056" y="835403"/>
                </a:cubicBezTo>
                <a:lnTo>
                  <a:pt x="3350690" y="838533"/>
                </a:lnTo>
                <a:lnTo>
                  <a:pt x="3350690" y="842090"/>
                </a:lnTo>
                <a:cubicBezTo>
                  <a:pt x="3348769" y="843655"/>
                  <a:pt x="3347275" y="843655"/>
                  <a:pt x="3345568" y="842943"/>
                </a:cubicBezTo>
                <a:lnTo>
                  <a:pt x="3343220" y="841236"/>
                </a:lnTo>
                <a:lnTo>
                  <a:pt x="3342580" y="848349"/>
                </a:lnTo>
                <a:cubicBezTo>
                  <a:pt x="3339805" y="845931"/>
                  <a:pt x="3339165" y="842374"/>
                  <a:pt x="3335324" y="840383"/>
                </a:cubicBezTo>
                <a:lnTo>
                  <a:pt x="3332122" y="839671"/>
                </a:lnTo>
                <a:lnTo>
                  <a:pt x="3323372" y="845647"/>
                </a:lnTo>
                <a:lnTo>
                  <a:pt x="3324439" y="845789"/>
                </a:lnTo>
                <a:cubicBezTo>
                  <a:pt x="3325933" y="846784"/>
                  <a:pt x="3327001" y="848349"/>
                  <a:pt x="3327641" y="850484"/>
                </a:cubicBezTo>
                <a:cubicBezTo>
                  <a:pt x="3328281" y="853329"/>
                  <a:pt x="3328067" y="857170"/>
                  <a:pt x="3326146" y="861723"/>
                </a:cubicBezTo>
                <a:cubicBezTo>
                  <a:pt x="3321238" y="865422"/>
                  <a:pt x="3311207" y="862719"/>
                  <a:pt x="3310567" y="857881"/>
                </a:cubicBezTo>
                <a:cubicBezTo>
                  <a:pt x="3311420" y="853898"/>
                  <a:pt x="3312915" y="850768"/>
                  <a:pt x="3314408" y="848634"/>
                </a:cubicBezTo>
                <a:lnTo>
                  <a:pt x="3318250" y="845789"/>
                </a:lnTo>
                <a:lnTo>
                  <a:pt x="3312701" y="842232"/>
                </a:lnTo>
                <a:lnTo>
                  <a:pt x="3311848" y="840667"/>
                </a:lnTo>
                <a:lnTo>
                  <a:pt x="3311207" y="842232"/>
                </a:lnTo>
                <a:cubicBezTo>
                  <a:pt x="3307152" y="848207"/>
                  <a:pt x="3298829" y="852902"/>
                  <a:pt x="3293921" y="852475"/>
                </a:cubicBezTo>
                <a:lnTo>
                  <a:pt x="3291573" y="849061"/>
                </a:lnTo>
                <a:lnTo>
                  <a:pt x="3290292" y="849772"/>
                </a:lnTo>
                <a:lnTo>
                  <a:pt x="3285170" y="851337"/>
                </a:lnTo>
                <a:lnTo>
                  <a:pt x="3285597" y="852049"/>
                </a:lnTo>
                <a:cubicBezTo>
                  <a:pt x="3285810" y="853044"/>
                  <a:pt x="3285383" y="854183"/>
                  <a:pt x="3284317" y="855321"/>
                </a:cubicBezTo>
                <a:cubicBezTo>
                  <a:pt x="3282182" y="858735"/>
                  <a:pt x="3278554" y="858593"/>
                  <a:pt x="3275139" y="857170"/>
                </a:cubicBezTo>
                <a:cubicBezTo>
                  <a:pt x="3272792" y="858308"/>
                  <a:pt x="3271724" y="860585"/>
                  <a:pt x="3269377" y="859304"/>
                </a:cubicBezTo>
                <a:cubicBezTo>
                  <a:pt x="3272792" y="857028"/>
                  <a:pt x="3273859" y="856032"/>
                  <a:pt x="3276207" y="854894"/>
                </a:cubicBezTo>
                <a:cubicBezTo>
                  <a:pt x="3276207" y="853756"/>
                  <a:pt x="3276207" y="852618"/>
                  <a:pt x="3277274" y="851479"/>
                </a:cubicBezTo>
                <a:lnTo>
                  <a:pt x="3279407" y="850484"/>
                </a:lnTo>
                <a:lnTo>
                  <a:pt x="3278981" y="848919"/>
                </a:lnTo>
                <a:cubicBezTo>
                  <a:pt x="3278554" y="847923"/>
                  <a:pt x="3278127" y="846927"/>
                  <a:pt x="3277274" y="845789"/>
                </a:cubicBezTo>
                <a:cubicBezTo>
                  <a:pt x="3280902" y="845077"/>
                  <a:pt x="3283463" y="843797"/>
                  <a:pt x="3285810" y="842801"/>
                </a:cubicBezTo>
                <a:lnTo>
                  <a:pt x="3289438" y="842232"/>
                </a:lnTo>
                <a:lnTo>
                  <a:pt x="3289438" y="841805"/>
                </a:lnTo>
                <a:cubicBezTo>
                  <a:pt x="3289865" y="839387"/>
                  <a:pt x="3291146" y="837253"/>
                  <a:pt x="3292853" y="835403"/>
                </a:cubicBezTo>
                <a:lnTo>
                  <a:pt x="3294774" y="834265"/>
                </a:lnTo>
                <a:cubicBezTo>
                  <a:pt x="3292213" y="830851"/>
                  <a:pt x="3292213" y="824875"/>
                  <a:pt x="3297121" y="820323"/>
                </a:cubicBezTo>
                <a:cubicBezTo>
                  <a:pt x="3302030" y="820465"/>
                  <a:pt x="3305018" y="822315"/>
                  <a:pt x="3307366" y="823168"/>
                </a:cubicBezTo>
                <a:lnTo>
                  <a:pt x="3307152" y="831419"/>
                </a:lnTo>
                <a:lnTo>
                  <a:pt x="3309073" y="832842"/>
                </a:lnTo>
                <a:lnTo>
                  <a:pt x="3309287" y="826582"/>
                </a:lnTo>
                <a:cubicBezTo>
                  <a:pt x="3309927" y="823595"/>
                  <a:pt x="3310994" y="820465"/>
                  <a:pt x="3312701" y="817477"/>
                </a:cubicBezTo>
                <a:cubicBezTo>
                  <a:pt x="3320384" y="802397"/>
                  <a:pt x="3338525" y="787743"/>
                  <a:pt x="3353038" y="788027"/>
                </a:cubicBezTo>
                <a:close/>
                <a:moveTo>
                  <a:pt x="1733878" y="787515"/>
                </a:moveTo>
                <a:cubicBezTo>
                  <a:pt x="1738525" y="794950"/>
                  <a:pt x="1729026" y="812454"/>
                  <a:pt x="1719629" y="809201"/>
                </a:cubicBezTo>
                <a:lnTo>
                  <a:pt x="1722210" y="805328"/>
                </a:lnTo>
                <a:lnTo>
                  <a:pt x="1720146" y="804864"/>
                </a:lnTo>
                <a:cubicBezTo>
                  <a:pt x="1719113" y="803469"/>
                  <a:pt x="1717564" y="801611"/>
                  <a:pt x="1717771" y="799752"/>
                </a:cubicBezTo>
                <a:cubicBezTo>
                  <a:pt x="1717874" y="799133"/>
                  <a:pt x="1718184" y="798513"/>
                  <a:pt x="1718700" y="797893"/>
                </a:cubicBezTo>
                <a:cubicBezTo>
                  <a:pt x="1719526" y="797893"/>
                  <a:pt x="1719733" y="797119"/>
                  <a:pt x="1720559" y="797274"/>
                </a:cubicBezTo>
                <a:cubicBezTo>
                  <a:pt x="1720559" y="797274"/>
                  <a:pt x="1721488" y="796809"/>
                  <a:pt x="1722727" y="796809"/>
                </a:cubicBezTo>
                <a:lnTo>
                  <a:pt x="1725928" y="798048"/>
                </a:lnTo>
                <a:lnTo>
                  <a:pt x="1728922" y="792782"/>
                </a:lnTo>
                <a:cubicBezTo>
                  <a:pt x="1730265" y="790923"/>
                  <a:pt x="1731813" y="789219"/>
                  <a:pt x="1733878" y="787515"/>
                </a:cubicBezTo>
                <a:close/>
                <a:moveTo>
                  <a:pt x="1467374" y="785657"/>
                </a:moveTo>
                <a:cubicBezTo>
                  <a:pt x="1468304" y="785657"/>
                  <a:pt x="1468201" y="786586"/>
                  <a:pt x="1469027" y="787360"/>
                </a:cubicBezTo>
                <a:cubicBezTo>
                  <a:pt x="1469027" y="788135"/>
                  <a:pt x="1468097" y="789064"/>
                  <a:pt x="1468097" y="789064"/>
                </a:cubicBezTo>
                <a:cubicBezTo>
                  <a:pt x="1467168" y="789838"/>
                  <a:pt x="1467168" y="789838"/>
                  <a:pt x="1467994" y="790613"/>
                </a:cubicBezTo>
                <a:cubicBezTo>
                  <a:pt x="1467994" y="790613"/>
                  <a:pt x="1467168" y="790768"/>
                  <a:pt x="1467168" y="790768"/>
                </a:cubicBezTo>
                <a:cubicBezTo>
                  <a:pt x="1467168" y="789838"/>
                  <a:pt x="1467168" y="790768"/>
                  <a:pt x="1466238" y="791542"/>
                </a:cubicBezTo>
                <a:cubicBezTo>
                  <a:pt x="1464483" y="790768"/>
                  <a:pt x="1463657" y="790923"/>
                  <a:pt x="1462831" y="790148"/>
                </a:cubicBezTo>
                <a:cubicBezTo>
                  <a:pt x="1462418" y="789684"/>
                  <a:pt x="1462005" y="789064"/>
                  <a:pt x="1461799" y="788445"/>
                </a:cubicBezTo>
                <a:cubicBezTo>
                  <a:pt x="1461592" y="787825"/>
                  <a:pt x="1461592" y="787205"/>
                  <a:pt x="1462005" y="786741"/>
                </a:cubicBezTo>
                <a:cubicBezTo>
                  <a:pt x="1462934" y="786741"/>
                  <a:pt x="1462934" y="785966"/>
                  <a:pt x="1463864" y="785966"/>
                </a:cubicBezTo>
                <a:cubicBezTo>
                  <a:pt x="1465619" y="785037"/>
                  <a:pt x="1466548" y="784882"/>
                  <a:pt x="1467374" y="785657"/>
                </a:cubicBezTo>
                <a:close/>
                <a:moveTo>
                  <a:pt x="1301751" y="784417"/>
                </a:moveTo>
                <a:cubicBezTo>
                  <a:pt x="1310631" y="783178"/>
                  <a:pt x="1314039" y="793246"/>
                  <a:pt x="1309599" y="796809"/>
                </a:cubicBezTo>
                <a:cubicBezTo>
                  <a:pt x="1308153" y="798048"/>
                  <a:pt x="1305778" y="798358"/>
                  <a:pt x="1302371" y="797429"/>
                </a:cubicBezTo>
                <a:cubicBezTo>
                  <a:pt x="1302577" y="793091"/>
                  <a:pt x="1300616" y="790458"/>
                  <a:pt x="1300822" y="787515"/>
                </a:cubicBezTo>
                <a:cubicBezTo>
                  <a:pt x="1300822" y="786586"/>
                  <a:pt x="1301132" y="785657"/>
                  <a:pt x="1301751" y="784417"/>
                </a:cubicBezTo>
                <a:close/>
                <a:moveTo>
                  <a:pt x="3240779" y="784186"/>
                </a:moveTo>
                <a:cubicBezTo>
                  <a:pt x="3240779" y="784186"/>
                  <a:pt x="3241206" y="785040"/>
                  <a:pt x="3241846" y="785893"/>
                </a:cubicBezTo>
                <a:cubicBezTo>
                  <a:pt x="3242273" y="786747"/>
                  <a:pt x="3242699" y="787743"/>
                  <a:pt x="3242273" y="788597"/>
                </a:cubicBezTo>
                <a:cubicBezTo>
                  <a:pt x="3242059" y="791300"/>
                  <a:pt x="3237578" y="789735"/>
                  <a:pt x="3236510" y="790162"/>
                </a:cubicBezTo>
                <a:cubicBezTo>
                  <a:pt x="3235016" y="789735"/>
                  <a:pt x="3233523" y="789023"/>
                  <a:pt x="3234376" y="787459"/>
                </a:cubicBezTo>
                <a:cubicBezTo>
                  <a:pt x="3235016" y="785893"/>
                  <a:pt x="3234376" y="784755"/>
                  <a:pt x="3236937" y="784755"/>
                </a:cubicBezTo>
                <a:cubicBezTo>
                  <a:pt x="3238218" y="784186"/>
                  <a:pt x="3239711" y="784755"/>
                  <a:pt x="3240779" y="784186"/>
                </a:cubicBezTo>
                <a:close/>
                <a:moveTo>
                  <a:pt x="1281100" y="783643"/>
                </a:moveTo>
                <a:cubicBezTo>
                  <a:pt x="1278829" y="790613"/>
                  <a:pt x="1279035" y="794021"/>
                  <a:pt x="1276763" y="799442"/>
                </a:cubicBezTo>
                <a:cubicBezTo>
                  <a:pt x="1275834" y="799442"/>
                  <a:pt x="1275834" y="798668"/>
                  <a:pt x="1274905" y="798823"/>
                </a:cubicBezTo>
                <a:cubicBezTo>
                  <a:pt x="1274492" y="798513"/>
                  <a:pt x="1274182" y="797583"/>
                  <a:pt x="1274182" y="796654"/>
                </a:cubicBezTo>
                <a:cubicBezTo>
                  <a:pt x="1273975" y="793556"/>
                  <a:pt x="1275421" y="788600"/>
                  <a:pt x="1276040" y="788445"/>
                </a:cubicBezTo>
                <a:cubicBezTo>
                  <a:pt x="1276040" y="787670"/>
                  <a:pt x="1276867" y="787515"/>
                  <a:pt x="1276867" y="786741"/>
                </a:cubicBezTo>
                <a:cubicBezTo>
                  <a:pt x="1276867" y="786741"/>
                  <a:pt x="1276763" y="785812"/>
                  <a:pt x="1277590" y="784882"/>
                </a:cubicBezTo>
                <a:cubicBezTo>
                  <a:pt x="1278415" y="783953"/>
                  <a:pt x="1279241" y="783023"/>
                  <a:pt x="1281100" y="783643"/>
                </a:cubicBezTo>
                <a:close/>
                <a:moveTo>
                  <a:pt x="3616397" y="783048"/>
                </a:moveTo>
                <a:cubicBezTo>
                  <a:pt x="3617891" y="783048"/>
                  <a:pt x="3619385" y="783475"/>
                  <a:pt x="3620453" y="784044"/>
                </a:cubicBezTo>
                <a:cubicBezTo>
                  <a:pt x="3621306" y="785325"/>
                  <a:pt x="3621946" y="786462"/>
                  <a:pt x="3621946" y="787601"/>
                </a:cubicBezTo>
                <a:cubicBezTo>
                  <a:pt x="3621946" y="788597"/>
                  <a:pt x="3621520" y="789450"/>
                  <a:pt x="3620879" y="790019"/>
                </a:cubicBezTo>
                <a:cubicBezTo>
                  <a:pt x="3611916" y="800690"/>
                  <a:pt x="3602099" y="795710"/>
                  <a:pt x="3599751" y="796848"/>
                </a:cubicBezTo>
                <a:cubicBezTo>
                  <a:pt x="3596763" y="793291"/>
                  <a:pt x="3596763" y="793149"/>
                  <a:pt x="3603166" y="786178"/>
                </a:cubicBezTo>
                <a:cubicBezTo>
                  <a:pt x="3604446" y="784897"/>
                  <a:pt x="3605940" y="784186"/>
                  <a:pt x="3607434" y="783760"/>
                </a:cubicBezTo>
                <a:cubicBezTo>
                  <a:pt x="3609141" y="783333"/>
                  <a:pt x="3610849" y="783333"/>
                  <a:pt x="3612556" y="783902"/>
                </a:cubicBezTo>
                <a:cubicBezTo>
                  <a:pt x="3613623" y="783333"/>
                  <a:pt x="3615117" y="783048"/>
                  <a:pt x="3616397" y="783048"/>
                </a:cubicBezTo>
                <a:close/>
                <a:moveTo>
                  <a:pt x="1639296" y="782869"/>
                </a:moveTo>
                <a:cubicBezTo>
                  <a:pt x="1639296" y="782869"/>
                  <a:pt x="1639193" y="782869"/>
                  <a:pt x="1638470" y="783333"/>
                </a:cubicBezTo>
                <a:cubicBezTo>
                  <a:pt x="1638470" y="783333"/>
                  <a:pt x="1639296" y="782869"/>
                  <a:pt x="1639709" y="783643"/>
                </a:cubicBezTo>
                <a:cubicBezTo>
                  <a:pt x="1637334" y="787670"/>
                  <a:pt x="1630932" y="790148"/>
                  <a:pt x="1630209" y="790458"/>
                </a:cubicBezTo>
                <a:cubicBezTo>
                  <a:pt x="1629693" y="789838"/>
                  <a:pt x="1629693" y="789838"/>
                  <a:pt x="1629693" y="789838"/>
                </a:cubicBezTo>
                <a:cubicBezTo>
                  <a:pt x="1632274" y="789219"/>
                  <a:pt x="1633720" y="785966"/>
                  <a:pt x="1636301" y="784108"/>
                </a:cubicBezTo>
                <a:cubicBezTo>
                  <a:pt x="1637128" y="783488"/>
                  <a:pt x="1638057" y="783023"/>
                  <a:pt x="1639296" y="782869"/>
                </a:cubicBezTo>
                <a:close/>
                <a:moveTo>
                  <a:pt x="3866953" y="779491"/>
                </a:moveTo>
                <a:cubicBezTo>
                  <a:pt x="3867806" y="780772"/>
                  <a:pt x="3868020" y="779633"/>
                  <a:pt x="3869086" y="779633"/>
                </a:cubicBezTo>
                <a:cubicBezTo>
                  <a:pt x="3867806" y="780914"/>
                  <a:pt x="3867379" y="784470"/>
                  <a:pt x="3866098" y="787032"/>
                </a:cubicBezTo>
                <a:cubicBezTo>
                  <a:pt x="3865032" y="787032"/>
                  <a:pt x="3863751" y="788312"/>
                  <a:pt x="3862684" y="788312"/>
                </a:cubicBezTo>
                <a:cubicBezTo>
                  <a:pt x="3862684" y="787032"/>
                  <a:pt x="3862044" y="784470"/>
                  <a:pt x="3863111" y="784470"/>
                </a:cubicBezTo>
                <a:cubicBezTo>
                  <a:pt x="3863111" y="783333"/>
                  <a:pt x="3865458" y="783333"/>
                  <a:pt x="3865458" y="783333"/>
                </a:cubicBezTo>
                <a:cubicBezTo>
                  <a:pt x="3865458" y="782052"/>
                  <a:pt x="3865672" y="780772"/>
                  <a:pt x="3866953" y="779491"/>
                </a:cubicBezTo>
                <a:close/>
                <a:moveTo>
                  <a:pt x="3418557" y="778353"/>
                </a:moveTo>
                <a:cubicBezTo>
                  <a:pt x="3419838" y="781625"/>
                  <a:pt x="3419198" y="789592"/>
                  <a:pt x="3414076" y="793434"/>
                </a:cubicBezTo>
                <a:cubicBezTo>
                  <a:pt x="3407033" y="791727"/>
                  <a:pt x="3406393" y="787032"/>
                  <a:pt x="3410234" y="779918"/>
                </a:cubicBezTo>
                <a:cubicBezTo>
                  <a:pt x="3412795" y="779918"/>
                  <a:pt x="3414929" y="778923"/>
                  <a:pt x="3418557" y="778353"/>
                </a:cubicBezTo>
                <a:close/>
                <a:moveTo>
                  <a:pt x="1588804" y="777912"/>
                </a:moveTo>
                <a:cubicBezTo>
                  <a:pt x="1590456" y="778067"/>
                  <a:pt x="1592211" y="778841"/>
                  <a:pt x="1593967" y="780390"/>
                </a:cubicBezTo>
                <a:cubicBezTo>
                  <a:pt x="1597787" y="784108"/>
                  <a:pt x="1600369" y="789219"/>
                  <a:pt x="1593243" y="795570"/>
                </a:cubicBezTo>
                <a:cubicBezTo>
                  <a:pt x="1592108" y="797119"/>
                  <a:pt x="1592211" y="796344"/>
                  <a:pt x="1591178" y="797119"/>
                </a:cubicBezTo>
                <a:lnTo>
                  <a:pt x="1590972" y="797429"/>
                </a:lnTo>
                <a:lnTo>
                  <a:pt x="1592211" y="797738"/>
                </a:lnTo>
                <a:cubicBezTo>
                  <a:pt x="1592521" y="798048"/>
                  <a:pt x="1592521" y="798513"/>
                  <a:pt x="1592418" y="799133"/>
                </a:cubicBezTo>
                <a:cubicBezTo>
                  <a:pt x="1592418" y="799133"/>
                  <a:pt x="1592108" y="800371"/>
                  <a:pt x="1591798" y="801456"/>
                </a:cubicBezTo>
                <a:cubicBezTo>
                  <a:pt x="1591488" y="802540"/>
                  <a:pt x="1592004" y="803315"/>
                  <a:pt x="1592004" y="803315"/>
                </a:cubicBezTo>
                <a:cubicBezTo>
                  <a:pt x="1591695" y="804399"/>
                  <a:pt x="1590972" y="804864"/>
                  <a:pt x="1589733" y="804554"/>
                </a:cubicBezTo>
                <a:cubicBezTo>
                  <a:pt x="1589733" y="804554"/>
                  <a:pt x="1589527" y="802695"/>
                  <a:pt x="1589527" y="802695"/>
                </a:cubicBezTo>
                <a:cubicBezTo>
                  <a:pt x="1589836" y="801456"/>
                  <a:pt x="1590043" y="800681"/>
                  <a:pt x="1590146" y="799907"/>
                </a:cubicBezTo>
                <a:lnTo>
                  <a:pt x="1590249" y="798513"/>
                </a:lnTo>
                <a:lnTo>
                  <a:pt x="1588907" y="800371"/>
                </a:lnTo>
                <a:cubicBezTo>
                  <a:pt x="1588184" y="799597"/>
                  <a:pt x="1587461" y="799287"/>
                  <a:pt x="1586842" y="798978"/>
                </a:cubicBezTo>
                <a:lnTo>
                  <a:pt x="1584776" y="798513"/>
                </a:lnTo>
                <a:lnTo>
                  <a:pt x="1583331" y="800217"/>
                </a:lnTo>
                <a:cubicBezTo>
                  <a:pt x="1582815" y="799442"/>
                  <a:pt x="1581163" y="798203"/>
                  <a:pt x="1581886" y="797893"/>
                </a:cubicBezTo>
                <a:lnTo>
                  <a:pt x="1581989" y="797583"/>
                </a:lnTo>
                <a:lnTo>
                  <a:pt x="1579304" y="795415"/>
                </a:lnTo>
                <a:cubicBezTo>
                  <a:pt x="1576206" y="792782"/>
                  <a:pt x="1575380" y="789993"/>
                  <a:pt x="1575690" y="787515"/>
                </a:cubicBezTo>
                <a:cubicBezTo>
                  <a:pt x="1575897" y="784882"/>
                  <a:pt x="1577342" y="782713"/>
                  <a:pt x="1578891" y="781165"/>
                </a:cubicBezTo>
                <a:cubicBezTo>
                  <a:pt x="1579510" y="781784"/>
                  <a:pt x="1583847" y="777447"/>
                  <a:pt x="1588804" y="777912"/>
                </a:cubicBezTo>
                <a:close/>
                <a:moveTo>
                  <a:pt x="3431149" y="777215"/>
                </a:moveTo>
                <a:cubicBezTo>
                  <a:pt x="3438619" y="777215"/>
                  <a:pt x="3444594" y="779776"/>
                  <a:pt x="3449503" y="778211"/>
                </a:cubicBezTo>
                <a:cubicBezTo>
                  <a:pt x="3449503" y="778211"/>
                  <a:pt x="3449503" y="778211"/>
                  <a:pt x="3452064" y="780772"/>
                </a:cubicBezTo>
                <a:cubicBezTo>
                  <a:pt x="3453131" y="780772"/>
                  <a:pt x="3453131" y="780772"/>
                  <a:pt x="3453131" y="780772"/>
                </a:cubicBezTo>
                <a:cubicBezTo>
                  <a:pt x="3454198" y="780772"/>
                  <a:pt x="3454412" y="783333"/>
                  <a:pt x="3454412" y="783333"/>
                </a:cubicBezTo>
                <a:cubicBezTo>
                  <a:pt x="3453345" y="785609"/>
                  <a:pt x="3449930" y="784328"/>
                  <a:pt x="3447582" y="784186"/>
                </a:cubicBezTo>
                <a:cubicBezTo>
                  <a:pt x="3446515" y="786462"/>
                  <a:pt x="3442887" y="781483"/>
                  <a:pt x="3441820" y="783902"/>
                </a:cubicBezTo>
                <a:cubicBezTo>
                  <a:pt x="3437125" y="778780"/>
                  <a:pt x="3431576" y="784613"/>
                  <a:pt x="3423253" y="778211"/>
                </a:cubicBezTo>
                <a:cubicBezTo>
                  <a:pt x="3426027" y="777500"/>
                  <a:pt x="3428801" y="777215"/>
                  <a:pt x="3431149" y="777215"/>
                </a:cubicBezTo>
                <a:close/>
                <a:moveTo>
                  <a:pt x="1470059" y="776982"/>
                </a:moveTo>
                <a:cubicBezTo>
                  <a:pt x="1478526" y="775898"/>
                  <a:pt x="1493395" y="792007"/>
                  <a:pt x="1487716" y="799133"/>
                </a:cubicBezTo>
                <a:cubicBezTo>
                  <a:pt x="1482037" y="790613"/>
                  <a:pt x="1474602" y="787670"/>
                  <a:pt x="1470059" y="776982"/>
                </a:cubicBezTo>
                <a:close/>
                <a:moveTo>
                  <a:pt x="1767334" y="776672"/>
                </a:moveTo>
                <a:cubicBezTo>
                  <a:pt x="1767334" y="776672"/>
                  <a:pt x="1767334" y="776672"/>
                  <a:pt x="1769708" y="777447"/>
                </a:cubicBezTo>
                <a:cubicBezTo>
                  <a:pt x="1770431" y="777137"/>
                  <a:pt x="1770535" y="777137"/>
                  <a:pt x="1770535" y="777137"/>
                </a:cubicBezTo>
                <a:cubicBezTo>
                  <a:pt x="1771258" y="776672"/>
                  <a:pt x="1772187" y="778222"/>
                  <a:pt x="1772187" y="778222"/>
                </a:cubicBezTo>
                <a:cubicBezTo>
                  <a:pt x="1772394" y="780080"/>
                  <a:pt x="1769605" y="780390"/>
                  <a:pt x="1768160" y="781165"/>
                </a:cubicBezTo>
                <a:cubicBezTo>
                  <a:pt x="1768366" y="783023"/>
                  <a:pt x="1764339" y="781165"/>
                  <a:pt x="1764546" y="783023"/>
                </a:cubicBezTo>
                <a:cubicBezTo>
                  <a:pt x="1759796" y="781629"/>
                  <a:pt x="1758350" y="787205"/>
                  <a:pt x="1750916" y="786121"/>
                </a:cubicBezTo>
                <a:cubicBezTo>
                  <a:pt x="1752362" y="784727"/>
                  <a:pt x="1754014" y="783488"/>
                  <a:pt x="1755563" y="782713"/>
                </a:cubicBezTo>
                <a:cubicBezTo>
                  <a:pt x="1760209" y="780080"/>
                  <a:pt x="1764752" y="779461"/>
                  <a:pt x="1767334" y="776672"/>
                </a:cubicBezTo>
                <a:close/>
                <a:moveTo>
                  <a:pt x="1634753" y="774349"/>
                </a:moveTo>
                <a:cubicBezTo>
                  <a:pt x="1636405" y="775588"/>
                  <a:pt x="1636405" y="775588"/>
                  <a:pt x="1636611" y="777447"/>
                </a:cubicBezTo>
                <a:cubicBezTo>
                  <a:pt x="1635889" y="777912"/>
                  <a:pt x="1636301" y="778531"/>
                  <a:pt x="1635166" y="778222"/>
                </a:cubicBezTo>
                <a:cubicBezTo>
                  <a:pt x="1635063" y="781319"/>
                  <a:pt x="1629693" y="787051"/>
                  <a:pt x="1626286" y="787825"/>
                </a:cubicBezTo>
                <a:cubicBezTo>
                  <a:pt x="1627215" y="778222"/>
                  <a:pt x="1634133" y="779770"/>
                  <a:pt x="1634753" y="774349"/>
                </a:cubicBezTo>
                <a:close/>
                <a:moveTo>
                  <a:pt x="1605428" y="773729"/>
                </a:moveTo>
                <a:cubicBezTo>
                  <a:pt x="1611520" y="779306"/>
                  <a:pt x="1608629" y="780700"/>
                  <a:pt x="1605531" y="783953"/>
                </a:cubicBezTo>
                <a:cubicBezTo>
                  <a:pt x="1603982" y="783023"/>
                  <a:pt x="1601195" y="783643"/>
                  <a:pt x="1599749" y="781784"/>
                </a:cubicBezTo>
                <a:cubicBezTo>
                  <a:pt x="1599749" y="781784"/>
                  <a:pt x="1599026" y="780855"/>
                  <a:pt x="1599336" y="779306"/>
                </a:cubicBezTo>
                <a:cubicBezTo>
                  <a:pt x="1599026" y="778531"/>
                  <a:pt x="1598923" y="777912"/>
                  <a:pt x="1599026" y="777447"/>
                </a:cubicBezTo>
                <a:cubicBezTo>
                  <a:pt x="1599336" y="775588"/>
                  <a:pt x="1600988" y="774349"/>
                  <a:pt x="1600988" y="774349"/>
                </a:cubicBezTo>
                <a:cubicBezTo>
                  <a:pt x="1600988" y="774349"/>
                  <a:pt x="1600988" y="774349"/>
                  <a:pt x="1600162" y="774349"/>
                </a:cubicBezTo>
                <a:cubicBezTo>
                  <a:pt x="1601917" y="774349"/>
                  <a:pt x="1603776" y="773729"/>
                  <a:pt x="1605428" y="773729"/>
                </a:cubicBezTo>
                <a:close/>
                <a:moveTo>
                  <a:pt x="1538208" y="773420"/>
                </a:moveTo>
                <a:cubicBezTo>
                  <a:pt x="1541306" y="773729"/>
                  <a:pt x="1544197" y="775124"/>
                  <a:pt x="1543268" y="778531"/>
                </a:cubicBezTo>
                <a:cubicBezTo>
                  <a:pt x="1543061" y="779615"/>
                  <a:pt x="1542855" y="780700"/>
                  <a:pt x="1542338" y="779925"/>
                </a:cubicBezTo>
                <a:cubicBezTo>
                  <a:pt x="1541616" y="780390"/>
                  <a:pt x="1541202" y="779615"/>
                  <a:pt x="1539964" y="779306"/>
                </a:cubicBezTo>
                <a:cubicBezTo>
                  <a:pt x="1538311" y="778222"/>
                  <a:pt x="1536866" y="776053"/>
                  <a:pt x="1537175" y="774814"/>
                </a:cubicBezTo>
                <a:cubicBezTo>
                  <a:pt x="1537485" y="773729"/>
                  <a:pt x="1538208" y="773420"/>
                  <a:pt x="1538208" y="773420"/>
                </a:cubicBezTo>
                <a:close/>
                <a:moveTo>
                  <a:pt x="3885520" y="773232"/>
                </a:moveTo>
                <a:cubicBezTo>
                  <a:pt x="3886587" y="773232"/>
                  <a:pt x="3887440" y="773374"/>
                  <a:pt x="3888295" y="774085"/>
                </a:cubicBezTo>
                <a:cubicBezTo>
                  <a:pt x="3890428" y="775223"/>
                  <a:pt x="3888935" y="777642"/>
                  <a:pt x="3886374" y="780061"/>
                </a:cubicBezTo>
                <a:cubicBezTo>
                  <a:pt x="3882319" y="786036"/>
                  <a:pt x="3878904" y="787174"/>
                  <a:pt x="3875703" y="783475"/>
                </a:cubicBezTo>
                <a:cubicBezTo>
                  <a:pt x="3875916" y="782337"/>
                  <a:pt x="3877410" y="778638"/>
                  <a:pt x="3876343" y="778638"/>
                </a:cubicBezTo>
                <a:cubicBezTo>
                  <a:pt x="3879117" y="775934"/>
                  <a:pt x="3882532" y="773374"/>
                  <a:pt x="3885520" y="773232"/>
                </a:cubicBezTo>
                <a:close/>
                <a:moveTo>
                  <a:pt x="3302671" y="771666"/>
                </a:moveTo>
                <a:cubicBezTo>
                  <a:pt x="3306512" y="771524"/>
                  <a:pt x="3313128" y="773232"/>
                  <a:pt x="3313982" y="773232"/>
                </a:cubicBezTo>
                <a:cubicBezTo>
                  <a:pt x="3313982" y="773232"/>
                  <a:pt x="3315263" y="773374"/>
                  <a:pt x="3316330" y="773374"/>
                </a:cubicBezTo>
                <a:cubicBezTo>
                  <a:pt x="3317610" y="774654"/>
                  <a:pt x="3317610" y="775792"/>
                  <a:pt x="3318677" y="775792"/>
                </a:cubicBezTo>
                <a:cubicBezTo>
                  <a:pt x="3315475" y="779207"/>
                  <a:pt x="3311848" y="777926"/>
                  <a:pt x="3308433" y="776504"/>
                </a:cubicBezTo>
                <a:cubicBezTo>
                  <a:pt x="3306085" y="775223"/>
                  <a:pt x="3304804" y="775223"/>
                  <a:pt x="3302671" y="776219"/>
                </a:cubicBezTo>
                <a:cubicBezTo>
                  <a:pt x="3302671" y="776219"/>
                  <a:pt x="3302671" y="776219"/>
                  <a:pt x="3300323" y="773801"/>
                </a:cubicBezTo>
                <a:lnTo>
                  <a:pt x="3300109" y="772662"/>
                </a:lnTo>
                <a:cubicBezTo>
                  <a:pt x="3300323" y="772094"/>
                  <a:pt x="3301390" y="771809"/>
                  <a:pt x="3302671" y="771666"/>
                </a:cubicBezTo>
                <a:close/>
                <a:moveTo>
                  <a:pt x="3673380" y="771097"/>
                </a:moveTo>
                <a:cubicBezTo>
                  <a:pt x="3677436" y="770529"/>
                  <a:pt x="3681277" y="771240"/>
                  <a:pt x="3684478" y="773801"/>
                </a:cubicBezTo>
                <a:cubicBezTo>
                  <a:pt x="3686186" y="777926"/>
                  <a:pt x="3685972" y="781910"/>
                  <a:pt x="3684478" y="785467"/>
                </a:cubicBezTo>
                <a:cubicBezTo>
                  <a:pt x="3679783" y="795995"/>
                  <a:pt x="3663777" y="802823"/>
                  <a:pt x="3654173" y="798698"/>
                </a:cubicBezTo>
                <a:cubicBezTo>
                  <a:pt x="3648837" y="786320"/>
                  <a:pt x="3661642" y="772805"/>
                  <a:pt x="3673380" y="771097"/>
                </a:cubicBezTo>
                <a:close/>
                <a:moveTo>
                  <a:pt x="1840026" y="770322"/>
                </a:moveTo>
                <a:cubicBezTo>
                  <a:pt x="1849113" y="763971"/>
                  <a:pt x="1848906" y="775898"/>
                  <a:pt x="1850971" y="781629"/>
                </a:cubicBezTo>
                <a:cubicBezTo>
                  <a:pt x="1847873" y="783798"/>
                  <a:pt x="1846841" y="784108"/>
                  <a:pt x="1842917" y="783953"/>
                </a:cubicBezTo>
                <a:cubicBezTo>
                  <a:pt x="1839407" y="779306"/>
                  <a:pt x="1839716" y="774814"/>
                  <a:pt x="1840026" y="770322"/>
                </a:cubicBezTo>
                <a:close/>
                <a:moveTo>
                  <a:pt x="3354959" y="769532"/>
                </a:moveTo>
                <a:cubicBezTo>
                  <a:pt x="3354959" y="769532"/>
                  <a:pt x="3355385" y="769390"/>
                  <a:pt x="3356026" y="769532"/>
                </a:cubicBezTo>
                <a:cubicBezTo>
                  <a:pt x="3356666" y="769532"/>
                  <a:pt x="3357519" y="769675"/>
                  <a:pt x="3358586" y="770244"/>
                </a:cubicBezTo>
                <a:cubicBezTo>
                  <a:pt x="3362641" y="770102"/>
                  <a:pt x="3363495" y="774939"/>
                  <a:pt x="3363495" y="774939"/>
                </a:cubicBezTo>
                <a:cubicBezTo>
                  <a:pt x="3363495" y="774939"/>
                  <a:pt x="3363495" y="774939"/>
                  <a:pt x="3364135" y="773943"/>
                </a:cubicBezTo>
                <a:cubicBezTo>
                  <a:pt x="3362855" y="776077"/>
                  <a:pt x="3362428" y="778780"/>
                  <a:pt x="3361147" y="780772"/>
                </a:cubicBezTo>
                <a:cubicBezTo>
                  <a:pt x="3350263" y="785467"/>
                  <a:pt x="3350263" y="781056"/>
                  <a:pt x="3348556" y="775508"/>
                </a:cubicBezTo>
                <a:cubicBezTo>
                  <a:pt x="3350690" y="774085"/>
                  <a:pt x="3351757" y="770386"/>
                  <a:pt x="3354959" y="769532"/>
                </a:cubicBezTo>
                <a:close/>
                <a:moveTo>
                  <a:pt x="1546882" y="769083"/>
                </a:moveTo>
                <a:cubicBezTo>
                  <a:pt x="1547604" y="769237"/>
                  <a:pt x="1548431" y="769392"/>
                  <a:pt x="1549463" y="769392"/>
                </a:cubicBezTo>
                <a:lnTo>
                  <a:pt x="1548534" y="772645"/>
                </a:lnTo>
                <a:cubicBezTo>
                  <a:pt x="1547295" y="772335"/>
                  <a:pt x="1545746" y="771406"/>
                  <a:pt x="1546056" y="770167"/>
                </a:cubicBezTo>
                <a:cubicBezTo>
                  <a:pt x="1545952" y="769237"/>
                  <a:pt x="1546262" y="769083"/>
                  <a:pt x="1546882" y="769083"/>
                </a:cubicBezTo>
                <a:close/>
                <a:moveTo>
                  <a:pt x="3520786" y="766972"/>
                </a:moveTo>
                <a:cubicBezTo>
                  <a:pt x="3521852" y="767256"/>
                  <a:pt x="3522919" y="767825"/>
                  <a:pt x="3523987" y="769106"/>
                </a:cubicBezTo>
                <a:cubicBezTo>
                  <a:pt x="3524414" y="769106"/>
                  <a:pt x="3524840" y="770244"/>
                  <a:pt x="3525054" y="771666"/>
                </a:cubicBezTo>
                <a:cubicBezTo>
                  <a:pt x="3525267" y="772947"/>
                  <a:pt x="3525054" y="774370"/>
                  <a:pt x="3524414" y="774939"/>
                </a:cubicBezTo>
                <a:cubicBezTo>
                  <a:pt x="3521852" y="778496"/>
                  <a:pt x="3518651" y="776077"/>
                  <a:pt x="3514169" y="774796"/>
                </a:cubicBezTo>
                <a:cubicBezTo>
                  <a:pt x="3515450" y="773658"/>
                  <a:pt x="3514383" y="772520"/>
                  <a:pt x="3513529" y="771240"/>
                </a:cubicBezTo>
                <a:cubicBezTo>
                  <a:pt x="3515236" y="769532"/>
                  <a:pt x="3518011" y="766403"/>
                  <a:pt x="3520786" y="766972"/>
                </a:cubicBezTo>
                <a:close/>
                <a:moveTo>
                  <a:pt x="2057912" y="765649"/>
                </a:moveTo>
                <a:lnTo>
                  <a:pt x="2055832" y="767689"/>
                </a:lnTo>
                <a:lnTo>
                  <a:pt x="2055966" y="768384"/>
                </a:lnTo>
                <a:close/>
                <a:moveTo>
                  <a:pt x="1899295" y="764746"/>
                </a:moveTo>
                <a:cubicBezTo>
                  <a:pt x="1900534" y="766294"/>
                  <a:pt x="1902186" y="767224"/>
                  <a:pt x="1904148" y="769083"/>
                </a:cubicBezTo>
                <a:cubicBezTo>
                  <a:pt x="1903116" y="771251"/>
                  <a:pt x="1898469" y="774349"/>
                  <a:pt x="1894132" y="772955"/>
                </a:cubicBezTo>
                <a:cubicBezTo>
                  <a:pt x="1893513" y="771716"/>
                  <a:pt x="1893203" y="770632"/>
                  <a:pt x="1893100" y="769702"/>
                </a:cubicBezTo>
                <a:cubicBezTo>
                  <a:pt x="1893100" y="768773"/>
                  <a:pt x="1893306" y="767998"/>
                  <a:pt x="1893823" y="767379"/>
                </a:cubicBezTo>
                <a:cubicBezTo>
                  <a:pt x="1894752" y="765985"/>
                  <a:pt x="1896610" y="765210"/>
                  <a:pt x="1899295" y="764746"/>
                </a:cubicBezTo>
                <a:close/>
                <a:moveTo>
                  <a:pt x="1451163" y="764590"/>
                </a:moveTo>
                <a:cubicBezTo>
                  <a:pt x="1448169" y="771561"/>
                  <a:pt x="1448065" y="774968"/>
                  <a:pt x="1445174" y="780080"/>
                </a:cubicBezTo>
                <a:cubicBezTo>
                  <a:pt x="1444348" y="780080"/>
                  <a:pt x="1444348" y="779306"/>
                  <a:pt x="1443419" y="779306"/>
                </a:cubicBezTo>
                <a:cubicBezTo>
                  <a:pt x="1443006" y="778996"/>
                  <a:pt x="1442903" y="778067"/>
                  <a:pt x="1442903" y="777137"/>
                </a:cubicBezTo>
                <a:cubicBezTo>
                  <a:pt x="1443109" y="774039"/>
                  <a:pt x="1444968" y="769083"/>
                  <a:pt x="1445587" y="769083"/>
                </a:cubicBezTo>
                <a:cubicBezTo>
                  <a:pt x="1445691" y="768153"/>
                  <a:pt x="1446517" y="768308"/>
                  <a:pt x="1446620" y="767379"/>
                </a:cubicBezTo>
                <a:cubicBezTo>
                  <a:pt x="1446620" y="767379"/>
                  <a:pt x="1446620" y="766604"/>
                  <a:pt x="1447549" y="765675"/>
                </a:cubicBezTo>
                <a:cubicBezTo>
                  <a:pt x="1448478" y="764746"/>
                  <a:pt x="1449408" y="763816"/>
                  <a:pt x="1451163" y="764590"/>
                </a:cubicBezTo>
                <a:close/>
                <a:moveTo>
                  <a:pt x="4075463" y="763557"/>
                </a:moveTo>
                <a:cubicBezTo>
                  <a:pt x="4076744" y="763557"/>
                  <a:pt x="4077811" y="763842"/>
                  <a:pt x="4078878" y="764553"/>
                </a:cubicBezTo>
                <a:cubicBezTo>
                  <a:pt x="4081012" y="773232"/>
                  <a:pt x="4070981" y="774654"/>
                  <a:pt x="4068207" y="771097"/>
                </a:cubicBezTo>
                <a:cubicBezTo>
                  <a:pt x="4067994" y="766545"/>
                  <a:pt x="4072049" y="763557"/>
                  <a:pt x="4075463" y="763557"/>
                </a:cubicBezTo>
                <a:close/>
                <a:moveTo>
                  <a:pt x="3382063" y="760712"/>
                </a:moveTo>
                <a:cubicBezTo>
                  <a:pt x="3384624" y="760712"/>
                  <a:pt x="3387611" y="761708"/>
                  <a:pt x="3390600" y="762846"/>
                </a:cubicBezTo>
                <a:cubicBezTo>
                  <a:pt x="3390386" y="771951"/>
                  <a:pt x="3376513" y="765976"/>
                  <a:pt x="3382063" y="760712"/>
                </a:cubicBezTo>
                <a:close/>
                <a:moveTo>
                  <a:pt x="1548327" y="759789"/>
                </a:moveTo>
                <a:cubicBezTo>
                  <a:pt x="1549153" y="759479"/>
                  <a:pt x="1550083" y="759479"/>
                  <a:pt x="1551115" y="759789"/>
                </a:cubicBezTo>
                <a:cubicBezTo>
                  <a:pt x="1552354" y="760099"/>
                  <a:pt x="1555245" y="761647"/>
                  <a:pt x="1554523" y="761957"/>
                </a:cubicBezTo>
                <a:cubicBezTo>
                  <a:pt x="1554213" y="763042"/>
                  <a:pt x="1554936" y="762732"/>
                  <a:pt x="1555349" y="763506"/>
                </a:cubicBezTo>
                <a:cubicBezTo>
                  <a:pt x="1554626" y="766759"/>
                  <a:pt x="1552871" y="768773"/>
                  <a:pt x="1549773" y="768308"/>
                </a:cubicBezTo>
                <a:cubicBezTo>
                  <a:pt x="1547398" y="767689"/>
                  <a:pt x="1543784" y="766449"/>
                  <a:pt x="1543784" y="763506"/>
                </a:cubicBezTo>
                <a:cubicBezTo>
                  <a:pt x="1544610" y="763042"/>
                  <a:pt x="1544094" y="762422"/>
                  <a:pt x="1544816" y="761957"/>
                </a:cubicBezTo>
                <a:cubicBezTo>
                  <a:pt x="1544816" y="761957"/>
                  <a:pt x="1545333" y="761183"/>
                  <a:pt x="1546365" y="760563"/>
                </a:cubicBezTo>
                <a:cubicBezTo>
                  <a:pt x="1546882" y="760254"/>
                  <a:pt x="1547604" y="759944"/>
                  <a:pt x="1548327" y="759789"/>
                </a:cubicBezTo>
                <a:close/>
                <a:moveTo>
                  <a:pt x="1397470" y="759324"/>
                </a:moveTo>
                <a:cubicBezTo>
                  <a:pt x="1397780" y="759479"/>
                  <a:pt x="1398399" y="759634"/>
                  <a:pt x="1399329" y="759634"/>
                </a:cubicBezTo>
                <a:cubicBezTo>
                  <a:pt x="1400464" y="759944"/>
                  <a:pt x="1401187" y="759634"/>
                  <a:pt x="1400877" y="760718"/>
                </a:cubicBezTo>
                <a:cubicBezTo>
                  <a:pt x="1400671" y="761802"/>
                  <a:pt x="1400568" y="761802"/>
                  <a:pt x="1398502" y="762887"/>
                </a:cubicBezTo>
                <a:cubicBezTo>
                  <a:pt x="1398709" y="761802"/>
                  <a:pt x="1398709" y="761802"/>
                  <a:pt x="1397573" y="761493"/>
                </a:cubicBezTo>
                <a:cubicBezTo>
                  <a:pt x="1397573" y="761493"/>
                  <a:pt x="1397573" y="761338"/>
                  <a:pt x="1396850" y="761802"/>
                </a:cubicBezTo>
                <a:cubicBezTo>
                  <a:pt x="1396437" y="761028"/>
                  <a:pt x="1397160" y="760718"/>
                  <a:pt x="1396747" y="760099"/>
                </a:cubicBezTo>
                <a:cubicBezTo>
                  <a:pt x="1396747" y="760099"/>
                  <a:pt x="1397470" y="759634"/>
                  <a:pt x="1397470" y="759634"/>
                </a:cubicBezTo>
                <a:cubicBezTo>
                  <a:pt x="1397263" y="759324"/>
                  <a:pt x="1397263" y="759324"/>
                  <a:pt x="1397470" y="759324"/>
                </a:cubicBezTo>
                <a:close/>
                <a:moveTo>
                  <a:pt x="1345016" y="758704"/>
                </a:moveTo>
                <a:cubicBezTo>
                  <a:pt x="1347288" y="757775"/>
                  <a:pt x="1351418" y="759014"/>
                  <a:pt x="1352554" y="761338"/>
                </a:cubicBezTo>
                <a:cubicBezTo>
                  <a:pt x="1352244" y="764126"/>
                  <a:pt x="1350385" y="763971"/>
                  <a:pt x="1350385" y="765830"/>
                </a:cubicBezTo>
                <a:cubicBezTo>
                  <a:pt x="1346152" y="764590"/>
                  <a:pt x="1345016" y="762267"/>
                  <a:pt x="1345016" y="758704"/>
                </a:cubicBezTo>
                <a:close/>
                <a:moveTo>
                  <a:pt x="1789986" y="757911"/>
                </a:moveTo>
                <a:cubicBezTo>
                  <a:pt x="1792399" y="756884"/>
                  <a:pt x="1795316" y="757155"/>
                  <a:pt x="1797175" y="758550"/>
                </a:cubicBezTo>
                <a:cubicBezTo>
                  <a:pt x="1798414" y="759634"/>
                  <a:pt x="1799137" y="761028"/>
                  <a:pt x="1799033" y="763042"/>
                </a:cubicBezTo>
                <a:cubicBezTo>
                  <a:pt x="1794284" y="765675"/>
                  <a:pt x="1789431" y="769547"/>
                  <a:pt x="1785817" y="765055"/>
                </a:cubicBezTo>
                <a:cubicBezTo>
                  <a:pt x="1785662" y="761260"/>
                  <a:pt x="1787572" y="758937"/>
                  <a:pt x="1789986" y="757911"/>
                </a:cubicBezTo>
                <a:close/>
                <a:moveTo>
                  <a:pt x="1231537" y="754523"/>
                </a:moveTo>
                <a:cubicBezTo>
                  <a:pt x="1233912" y="753593"/>
                  <a:pt x="1235771" y="753903"/>
                  <a:pt x="1238559" y="755607"/>
                </a:cubicBezTo>
                <a:cubicBezTo>
                  <a:pt x="1238559" y="759479"/>
                  <a:pt x="1238971" y="758395"/>
                  <a:pt x="1237010" y="761957"/>
                </a:cubicBezTo>
                <a:cubicBezTo>
                  <a:pt x="1234738" y="760873"/>
                  <a:pt x="1232363" y="759944"/>
                  <a:pt x="1230092" y="759014"/>
                </a:cubicBezTo>
                <a:cubicBezTo>
                  <a:pt x="1231227" y="757620"/>
                  <a:pt x="1231227" y="755607"/>
                  <a:pt x="1231537" y="754523"/>
                </a:cubicBezTo>
                <a:close/>
                <a:moveTo>
                  <a:pt x="3992870" y="754167"/>
                </a:moveTo>
                <a:cubicBezTo>
                  <a:pt x="3992657" y="755448"/>
                  <a:pt x="3992657" y="756586"/>
                  <a:pt x="3993724" y="756586"/>
                </a:cubicBezTo>
                <a:cubicBezTo>
                  <a:pt x="3991162" y="759005"/>
                  <a:pt x="3990096" y="758862"/>
                  <a:pt x="3988815" y="760000"/>
                </a:cubicBezTo>
                <a:cubicBezTo>
                  <a:pt x="3989882" y="760143"/>
                  <a:pt x="3988601" y="761281"/>
                  <a:pt x="3988601" y="761281"/>
                </a:cubicBezTo>
                <a:cubicBezTo>
                  <a:pt x="3988601" y="761281"/>
                  <a:pt x="3988601" y="761281"/>
                  <a:pt x="3990736" y="763700"/>
                </a:cubicBezTo>
                <a:cubicBezTo>
                  <a:pt x="3990736" y="763700"/>
                  <a:pt x="3994791" y="769675"/>
                  <a:pt x="3989455" y="775650"/>
                </a:cubicBezTo>
                <a:cubicBezTo>
                  <a:pt x="3988388" y="774370"/>
                  <a:pt x="3980705" y="781483"/>
                  <a:pt x="3976437" y="779065"/>
                </a:cubicBezTo>
                <a:cubicBezTo>
                  <a:pt x="3974303" y="777784"/>
                  <a:pt x="3973235" y="776646"/>
                  <a:pt x="3970887" y="775366"/>
                </a:cubicBezTo>
                <a:cubicBezTo>
                  <a:pt x="3971315" y="771809"/>
                  <a:pt x="3968113" y="768110"/>
                  <a:pt x="3973662" y="760996"/>
                </a:cubicBezTo>
                <a:cubicBezTo>
                  <a:pt x="3980065" y="754025"/>
                  <a:pt x="3986467" y="760000"/>
                  <a:pt x="3986467" y="758862"/>
                </a:cubicBezTo>
                <a:cubicBezTo>
                  <a:pt x="3987748" y="757582"/>
                  <a:pt x="3987748" y="757582"/>
                  <a:pt x="3987961" y="756444"/>
                </a:cubicBezTo>
                <a:cubicBezTo>
                  <a:pt x="3989029" y="756444"/>
                  <a:pt x="3991589" y="755448"/>
                  <a:pt x="3992870" y="754167"/>
                </a:cubicBezTo>
                <a:close/>
                <a:moveTo>
                  <a:pt x="2962693" y="754167"/>
                </a:moveTo>
                <a:cubicBezTo>
                  <a:pt x="2964187" y="753883"/>
                  <a:pt x="2965254" y="754025"/>
                  <a:pt x="2965894" y="754737"/>
                </a:cubicBezTo>
                <a:cubicBezTo>
                  <a:pt x="2967388" y="756728"/>
                  <a:pt x="2968882" y="758862"/>
                  <a:pt x="2968028" y="760996"/>
                </a:cubicBezTo>
                <a:cubicBezTo>
                  <a:pt x="2967815" y="761708"/>
                  <a:pt x="2967388" y="762419"/>
                  <a:pt x="2966534" y="763130"/>
                </a:cubicBezTo>
                <a:cubicBezTo>
                  <a:pt x="2966534" y="763130"/>
                  <a:pt x="2966321" y="763130"/>
                  <a:pt x="2965254" y="762988"/>
                </a:cubicBezTo>
                <a:cubicBezTo>
                  <a:pt x="2962906" y="762561"/>
                  <a:pt x="2961839" y="762419"/>
                  <a:pt x="2960772" y="762277"/>
                </a:cubicBezTo>
                <a:cubicBezTo>
                  <a:pt x="2959705" y="760854"/>
                  <a:pt x="2957570" y="757013"/>
                  <a:pt x="2958851" y="756017"/>
                </a:cubicBezTo>
                <a:cubicBezTo>
                  <a:pt x="2959918" y="755021"/>
                  <a:pt x="2961412" y="754310"/>
                  <a:pt x="2962693" y="754167"/>
                </a:cubicBezTo>
                <a:close/>
                <a:moveTo>
                  <a:pt x="3312701" y="752745"/>
                </a:moveTo>
                <a:cubicBezTo>
                  <a:pt x="3315689" y="752602"/>
                  <a:pt x="3317823" y="753456"/>
                  <a:pt x="3319530" y="757298"/>
                </a:cubicBezTo>
                <a:cubicBezTo>
                  <a:pt x="3316543" y="761423"/>
                  <a:pt x="3308646" y="760996"/>
                  <a:pt x="3301390" y="761423"/>
                </a:cubicBezTo>
                <a:cubicBezTo>
                  <a:pt x="3301603" y="758009"/>
                  <a:pt x="3301817" y="756301"/>
                  <a:pt x="3301177" y="753741"/>
                </a:cubicBezTo>
                <a:cubicBezTo>
                  <a:pt x="3306085" y="754025"/>
                  <a:pt x="3309927" y="752887"/>
                  <a:pt x="3312701" y="752745"/>
                </a:cubicBezTo>
                <a:close/>
                <a:moveTo>
                  <a:pt x="1681837" y="750340"/>
                </a:moveTo>
                <a:cubicBezTo>
                  <a:pt x="1682664" y="750495"/>
                  <a:pt x="1683490" y="751115"/>
                  <a:pt x="1684212" y="752044"/>
                </a:cubicBezTo>
                <a:cubicBezTo>
                  <a:pt x="1685658" y="753748"/>
                  <a:pt x="1684522" y="755452"/>
                  <a:pt x="1684522" y="755452"/>
                </a:cubicBezTo>
                <a:cubicBezTo>
                  <a:pt x="1682354" y="757775"/>
                  <a:pt x="1679566" y="758395"/>
                  <a:pt x="1677294" y="756691"/>
                </a:cubicBezTo>
                <a:cubicBezTo>
                  <a:pt x="1676675" y="754832"/>
                  <a:pt x="1677810" y="753283"/>
                  <a:pt x="1678946" y="751734"/>
                </a:cubicBezTo>
                <a:cubicBezTo>
                  <a:pt x="1679979" y="750495"/>
                  <a:pt x="1681011" y="750185"/>
                  <a:pt x="1681837" y="750340"/>
                </a:cubicBezTo>
                <a:close/>
                <a:moveTo>
                  <a:pt x="2080097" y="748326"/>
                </a:moveTo>
                <a:cubicBezTo>
                  <a:pt x="2076896" y="750650"/>
                  <a:pt x="2074211" y="752819"/>
                  <a:pt x="2071527" y="754523"/>
                </a:cubicBezTo>
                <a:cubicBezTo>
                  <a:pt x="2069874" y="755761"/>
                  <a:pt x="2068739" y="756846"/>
                  <a:pt x="2067190" y="757465"/>
                </a:cubicBezTo>
                <a:cubicBezTo>
                  <a:pt x="2067190" y="757465"/>
                  <a:pt x="2067190" y="757465"/>
                  <a:pt x="2066054" y="758550"/>
                </a:cubicBezTo>
                <a:cubicBezTo>
                  <a:pt x="2066054" y="758550"/>
                  <a:pt x="2066054" y="758550"/>
                  <a:pt x="2065435" y="758550"/>
                </a:cubicBezTo>
                <a:cubicBezTo>
                  <a:pt x="2065435" y="759169"/>
                  <a:pt x="2064918" y="759169"/>
                  <a:pt x="2064918" y="759169"/>
                </a:cubicBezTo>
                <a:cubicBezTo>
                  <a:pt x="2064918" y="759169"/>
                  <a:pt x="2064918" y="759169"/>
                  <a:pt x="2063886" y="759789"/>
                </a:cubicBezTo>
                <a:lnTo>
                  <a:pt x="2061334" y="762291"/>
                </a:lnTo>
                <a:lnTo>
                  <a:pt x="2083984" y="748417"/>
                </a:lnTo>
                <a:close/>
                <a:moveTo>
                  <a:pt x="2910832" y="747623"/>
                </a:moveTo>
                <a:cubicBezTo>
                  <a:pt x="2910832" y="747623"/>
                  <a:pt x="2910832" y="747623"/>
                  <a:pt x="2908484" y="756301"/>
                </a:cubicBezTo>
                <a:cubicBezTo>
                  <a:pt x="2907844" y="756017"/>
                  <a:pt x="2907630" y="755448"/>
                  <a:pt x="2907630" y="754737"/>
                </a:cubicBezTo>
                <a:cubicBezTo>
                  <a:pt x="2907844" y="754025"/>
                  <a:pt x="2908058" y="753172"/>
                  <a:pt x="2908484" y="752460"/>
                </a:cubicBezTo>
                <a:cubicBezTo>
                  <a:pt x="2909338" y="750753"/>
                  <a:pt x="2910191" y="749188"/>
                  <a:pt x="2910832" y="747623"/>
                </a:cubicBezTo>
                <a:close/>
                <a:moveTo>
                  <a:pt x="1263237" y="745383"/>
                </a:moveTo>
                <a:cubicBezTo>
                  <a:pt x="1264786" y="747397"/>
                  <a:pt x="1265715" y="752819"/>
                  <a:pt x="1262721" y="756226"/>
                </a:cubicBezTo>
                <a:cubicBezTo>
                  <a:pt x="1258487" y="756381"/>
                  <a:pt x="1256732" y="754677"/>
                  <a:pt x="1256732" y="751579"/>
                </a:cubicBezTo>
                <a:cubicBezTo>
                  <a:pt x="1256732" y="750495"/>
                  <a:pt x="1256835" y="749411"/>
                  <a:pt x="1257248" y="748172"/>
                </a:cubicBezTo>
                <a:cubicBezTo>
                  <a:pt x="1259210" y="747552"/>
                  <a:pt x="1260656" y="746468"/>
                  <a:pt x="1263237" y="745383"/>
                </a:cubicBezTo>
                <a:close/>
                <a:moveTo>
                  <a:pt x="3370111" y="743498"/>
                </a:moveTo>
                <a:lnTo>
                  <a:pt x="3370111" y="743782"/>
                </a:lnTo>
                <a:lnTo>
                  <a:pt x="3370965" y="743498"/>
                </a:lnTo>
                <a:close/>
                <a:moveTo>
                  <a:pt x="1481107" y="743060"/>
                </a:moveTo>
                <a:cubicBezTo>
                  <a:pt x="1481933" y="742905"/>
                  <a:pt x="1483069" y="743060"/>
                  <a:pt x="1484308" y="743370"/>
                </a:cubicBezTo>
                <a:cubicBezTo>
                  <a:pt x="1486683" y="744144"/>
                  <a:pt x="1486890" y="746003"/>
                  <a:pt x="1486890" y="746003"/>
                </a:cubicBezTo>
                <a:cubicBezTo>
                  <a:pt x="1486787" y="748946"/>
                  <a:pt x="1484928" y="750805"/>
                  <a:pt x="1481727" y="750495"/>
                </a:cubicBezTo>
                <a:cubicBezTo>
                  <a:pt x="1480075" y="749411"/>
                  <a:pt x="1479972" y="747552"/>
                  <a:pt x="1479765" y="745693"/>
                </a:cubicBezTo>
                <a:cubicBezTo>
                  <a:pt x="1479869" y="744144"/>
                  <a:pt x="1480281" y="743370"/>
                  <a:pt x="1481107" y="743060"/>
                </a:cubicBezTo>
                <a:close/>
                <a:moveTo>
                  <a:pt x="2980193" y="742786"/>
                </a:moveTo>
                <a:cubicBezTo>
                  <a:pt x="2981900" y="742359"/>
                  <a:pt x="2984035" y="742643"/>
                  <a:pt x="2985742" y="743070"/>
                </a:cubicBezTo>
                <a:cubicBezTo>
                  <a:pt x="2984675" y="743213"/>
                  <a:pt x="2984675" y="743213"/>
                  <a:pt x="2984675" y="743213"/>
                </a:cubicBezTo>
                <a:cubicBezTo>
                  <a:pt x="2983608" y="744493"/>
                  <a:pt x="2984675" y="744351"/>
                  <a:pt x="2984888" y="745631"/>
                </a:cubicBezTo>
                <a:cubicBezTo>
                  <a:pt x="2984888" y="745631"/>
                  <a:pt x="2984675" y="744351"/>
                  <a:pt x="2986169" y="745489"/>
                </a:cubicBezTo>
                <a:cubicBezTo>
                  <a:pt x="2984888" y="745489"/>
                  <a:pt x="2985102" y="746770"/>
                  <a:pt x="2985315" y="748050"/>
                </a:cubicBezTo>
                <a:cubicBezTo>
                  <a:pt x="2983395" y="750469"/>
                  <a:pt x="2980193" y="753172"/>
                  <a:pt x="2977632" y="752034"/>
                </a:cubicBezTo>
                <a:cubicBezTo>
                  <a:pt x="2975071" y="749757"/>
                  <a:pt x="2975925" y="747339"/>
                  <a:pt x="2976779" y="746058"/>
                </a:cubicBezTo>
                <a:cubicBezTo>
                  <a:pt x="2977205" y="744208"/>
                  <a:pt x="2978486" y="743213"/>
                  <a:pt x="2980193" y="742786"/>
                </a:cubicBezTo>
                <a:close/>
                <a:moveTo>
                  <a:pt x="3465296" y="740368"/>
                </a:moveTo>
                <a:cubicBezTo>
                  <a:pt x="3466150" y="740225"/>
                  <a:pt x="3467431" y="740225"/>
                  <a:pt x="3467857" y="740936"/>
                </a:cubicBezTo>
                <a:cubicBezTo>
                  <a:pt x="3468498" y="741221"/>
                  <a:pt x="3468711" y="741648"/>
                  <a:pt x="3468711" y="742217"/>
                </a:cubicBezTo>
                <a:cubicBezTo>
                  <a:pt x="3468498" y="743782"/>
                  <a:pt x="3466150" y="746058"/>
                  <a:pt x="3466150" y="746912"/>
                </a:cubicBezTo>
                <a:cubicBezTo>
                  <a:pt x="3464869" y="748050"/>
                  <a:pt x="3463589" y="749188"/>
                  <a:pt x="3462522" y="748050"/>
                </a:cubicBezTo>
                <a:cubicBezTo>
                  <a:pt x="3461455" y="746770"/>
                  <a:pt x="3460388" y="746770"/>
                  <a:pt x="3461881" y="744493"/>
                </a:cubicBezTo>
                <a:cubicBezTo>
                  <a:pt x="3461881" y="743213"/>
                  <a:pt x="3463162" y="742075"/>
                  <a:pt x="3463376" y="740936"/>
                </a:cubicBezTo>
                <a:cubicBezTo>
                  <a:pt x="3463376" y="740936"/>
                  <a:pt x="3464229" y="740510"/>
                  <a:pt x="3465296" y="740368"/>
                </a:cubicBezTo>
                <a:close/>
                <a:moveTo>
                  <a:pt x="1720146" y="738413"/>
                </a:moveTo>
                <a:cubicBezTo>
                  <a:pt x="1723863" y="741046"/>
                  <a:pt x="1722727" y="743525"/>
                  <a:pt x="1725205" y="744919"/>
                </a:cubicBezTo>
                <a:cubicBezTo>
                  <a:pt x="1721488" y="750030"/>
                  <a:pt x="1717667" y="750030"/>
                  <a:pt x="1712711" y="747397"/>
                </a:cubicBezTo>
                <a:cubicBezTo>
                  <a:pt x="1712711" y="743525"/>
                  <a:pt x="1716428" y="738413"/>
                  <a:pt x="1720146" y="738413"/>
                </a:cubicBezTo>
                <a:close/>
                <a:moveTo>
                  <a:pt x="3121690" y="738091"/>
                </a:moveTo>
                <a:cubicBezTo>
                  <a:pt x="3123398" y="738518"/>
                  <a:pt x="3124678" y="740225"/>
                  <a:pt x="3125318" y="741933"/>
                </a:cubicBezTo>
                <a:cubicBezTo>
                  <a:pt x="3125959" y="743070"/>
                  <a:pt x="3126172" y="744208"/>
                  <a:pt x="3125959" y="745205"/>
                </a:cubicBezTo>
                <a:cubicBezTo>
                  <a:pt x="3121690" y="750895"/>
                  <a:pt x="3116142" y="744208"/>
                  <a:pt x="3116568" y="740652"/>
                </a:cubicBezTo>
                <a:cubicBezTo>
                  <a:pt x="3118276" y="737949"/>
                  <a:pt x="3120197" y="737522"/>
                  <a:pt x="3121690" y="738091"/>
                </a:cubicBezTo>
                <a:close/>
                <a:moveTo>
                  <a:pt x="2923637" y="737949"/>
                </a:moveTo>
                <a:cubicBezTo>
                  <a:pt x="2924277" y="737664"/>
                  <a:pt x="2925131" y="737664"/>
                  <a:pt x="2925771" y="738233"/>
                </a:cubicBezTo>
                <a:cubicBezTo>
                  <a:pt x="2923850" y="740794"/>
                  <a:pt x="2922143" y="745631"/>
                  <a:pt x="2917448" y="744635"/>
                </a:cubicBezTo>
                <a:cubicBezTo>
                  <a:pt x="2918942" y="742786"/>
                  <a:pt x="2921289" y="738803"/>
                  <a:pt x="2923637" y="737949"/>
                </a:cubicBezTo>
                <a:close/>
                <a:moveTo>
                  <a:pt x="3231815" y="736384"/>
                </a:moveTo>
                <a:cubicBezTo>
                  <a:pt x="3240779" y="737095"/>
                  <a:pt x="3241206" y="748050"/>
                  <a:pt x="3243340" y="755590"/>
                </a:cubicBezTo>
                <a:cubicBezTo>
                  <a:pt x="3249956" y="750042"/>
                  <a:pt x="3258492" y="739941"/>
                  <a:pt x="3264255" y="746485"/>
                </a:cubicBezTo>
                <a:cubicBezTo>
                  <a:pt x="3263828" y="756159"/>
                  <a:pt x="3252090" y="758720"/>
                  <a:pt x="3245047" y="766687"/>
                </a:cubicBezTo>
                <a:cubicBezTo>
                  <a:pt x="3243553" y="770102"/>
                  <a:pt x="3245474" y="773232"/>
                  <a:pt x="3243126" y="776931"/>
                </a:cubicBezTo>
                <a:lnTo>
                  <a:pt x="3241633" y="778353"/>
                </a:lnTo>
                <a:lnTo>
                  <a:pt x="3241846" y="784186"/>
                </a:lnTo>
                <a:cubicBezTo>
                  <a:pt x="3239711" y="785182"/>
                  <a:pt x="3236083" y="781483"/>
                  <a:pt x="3233736" y="780203"/>
                </a:cubicBezTo>
                <a:cubicBezTo>
                  <a:pt x="3234803" y="779065"/>
                  <a:pt x="3235870" y="777926"/>
                  <a:pt x="3234803" y="777926"/>
                </a:cubicBezTo>
                <a:lnTo>
                  <a:pt x="3237364" y="776504"/>
                </a:lnTo>
                <a:lnTo>
                  <a:pt x="3236083" y="773943"/>
                </a:lnTo>
                <a:lnTo>
                  <a:pt x="3235016" y="775223"/>
                </a:lnTo>
                <a:cubicBezTo>
                  <a:pt x="3232028" y="777642"/>
                  <a:pt x="3228827" y="779633"/>
                  <a:pt x="3225199" y="781483"/>
                </a:cubicBezTo>
                <a:lnTo>
                  <a:pt x="3219224" y="784328"/>
                </a:lnTo>
                <a:lnTo>
                  <a:pt x="3221784" y="785609"/>
                </a:lnTo>
                <a:cubicBezTo>
                  <a:pt x="3226693" y="789166"/>
                  <a:pt x="3226693" y="793149"/>
                  <a:pt x="3227760" y="793434"/>
                </a:cubicBezTo>
                <a:cubicBezTo>
                  <a:pt x="3226266" y="798555"/>
                  <a:pt x="3223065" y="797702"/>
                  <a:pt x="3217943" y="798271"/>
                </a:cubicBezTo>
                <a:cubicBezTo>
                  <a:pt x="3218369" y="796563"/>
                  <a:pt x="3213674" y="795426"/>
                  <a:pt x="3212180" y="795141"/>
                </a:cubicBezTo>
                <a:cubicBezTo>
                  <a:pt x="3212607" y="793434"/>
                  <a:pt x="3211540" y="792011"/>
                  <a:pt x="3210686" y="790446"/>
                </a:cubicBezTo>
                <a:lnTo>
                  <a:pt x="3209620" y="788454"/>
                </a:lnTo>
                <a:lnTo>
                  <a:pt x="3191265" y="795568"/>
                </a:lnTo>
                <a:cubicBezTo>
                  <a:pt x="3191265" y="793576"/>
                  <a:pt x="3190411" y="792011"/>
                  <a:pt x="3189558" y="790162"/>
                </a:cubicBezTo>
                <a:lnTo>
                  <a:pt x="3188918" y="783760"/>
                </a:lnTo>
                <a:lnTo>
                  <a:pt x="3183156" y="779633"/>
                </a:lnTo>
                <a:cubicBezTo>
                  <a:pt x="3181661" y="777215"/>
                  <a:pt x="3181235" y="774085"/>
                  <a:pt x="3181875" y="769959"/>
                </a:cubicBezTo>
                <a:cubicBezTo>
                  <a:pt x="3184863" y="768821"/>
                  <a:pt x="3187424" y="767967"/>
                  <a:pt x="3189771" y="767683"/>
                </a:cubicBezTo>
                <a:cubicBezTo>
                  <a:pt x="3192119" y="767398"/>
                  <a:pt x="3194040" y="767541"/>
                  <a:pt x="3195747" y="767967"/>
                </a:cubicBezTo>
                <a:cubicBezTo>
                  <a:pt x="3199375" y="768964"/>
                  <a:pt x="3201723" y="771382"/>
                  <a:pt x="3203857" y="774796"/>
                </a:cubicBezTo>
                <a:lnTo>
                  <a:pt x="3200015" y="778923"/>
                </a:lnTo>
                <a:lnTo>
                  <a:pt x="3218156" y="772662"/>
                </a:lnTo>
                <a:lnTo>
                  <a:pt x="3233309" y="767683"/>
                </a:lnTo>
                <a:lnTo>
                  <a:pt x="3231388" y="763557"/>
                </a:lnTo>
                <a:cubicBezTo>
                  <a:pt x="3229681" y="758009"/>
                  <a:pt x="3229040" y="752460"/>
                  <a:pt x="3229467" y="747054"/>
                </a:cubicBezTo>
                <a:cubicBezTo>
                  <a:pt x="3229894" y="743498"/>
                  <a:pt x="3230535" y="739798"/>
                  <a:pt x="3231815" y="736384"/>
                </a:cubicBezTo>
                <a:close/>
                <a:moveTo>
                  <a:pt x="1650758" y="735780"/>
                </a:moveTo>
                <a:cubicBezTo>
                  <a:pt x="1651274" y="736555"/>
                  <a:pt x="1651790" y="737329"/>
                  <a:pt x="1652513" y="736864"/>
                </a:cubicBezTo>
                <a:cubicBezTo>
                  <a:pt x="1651893" y="739188"/>
                  <a:pt x="1651170" y="739497"/>
                  <a:pt x="1650861" y="740582"/>
                </a:cubicBezTo>
                <a:cubicBezTo>
                  <a:pt x="1651583" y="740272"/>
                  <a:pt x="1651377" y="741356"/>
                  <a:pt x="1651377" y="741356"/>
                </a:cubicBezTo>
                <a:cubicBezTo>
                  <a:pt x="1651377" y="741356"/>
                  <a:pt x="1651377" y="741356"/>
                  <a:pt x="1653752" y="742131"/>
                </a:cubicBezTo>
                <a:cubicBezTo>
                  <a:pt x="1653752" y="742131"/>
                  <a:pt x="1659018" y="744144"/>
                  <a:pt x="1658399" y="749411"/>
                </a:cubicBezTo>
                <a:cubicBezTo>
                  <a:pt x="1657159" y="749101"/>
                  <a:pt x="1655507" y="755916"/>
                  <a:pt x="1651583" y="755916"/>
                </a:cubicBezTo>
                <a:cubicBezTo>
                  <a:pt x="1649622" y="755916"/>
                  <a:pt x="1648382" y="755607"/>
                  <a:pt x="1646421" y="755607"/>
                </a:cubicBezTo>
                <a:cubicBezTo>
                  <a:pt x="1645078" y="753438"/>
                  <a:pt x="1641465" y="752354"/>
                  <a:pt x="1641671" y="746313"/>
                </a:cubicBezTo>
                <a:cubicBezTo>
                  <a:pt x="1642600" y="739962"/>
                  <a:pt x="1649415" y="741356"/>
                  <a:pt x="1648899" y="740582"/>
                </a:cubicBezTo>
                <a:cubicBezTo>
                  <a:pt x="1649209" y="739497"/>
                  <a:pt x="1649209" y="739497"/>
                  <a:pt x="1648692" y="738723"/>
                </a:cubicBezTo>
                <a:cubicBezTo>
                  <a:pt x="1649518" y="738413"/>
                  <a:pt x="1650551" y="736864"/>
                  <a:pt x="1650758" y="735780"/>
                </a:cubicBezTo>
                <a:close/>
                <a:moveTo>
                  <a:pt x="3573500" y="735246"/>
                </a:moveTo>
                <a:cubicBezTo>
                  <a:pt x="3574781" y="738233"/>
                  <a:pt x="3573074" y="744066"/>
                  <a:pt x="3569872" y="745631"/>
                </a:cubicBezTo>
                <a:cubicBezTo>
                  <a:pt x="3566030" y="745205"/>
                  <a:pt x="3566244" y="742501"/>
                  <a:pt x="3563683" y="742501"/>
                </a:cubicBezTo>
                <a:cubicBezTo>
                  <a:pt x="3565177" y="736811"/>
                  <a:pt x="3568591" y="735246"/>
                  <a:pt x="3573500" y="735246"/>
                </a:cubicBezTo>
                <a:close/>
                <a:moveTo>
                  <a:pt x="1568566" y="729894"/>
                </a:moveTo>
                <a:cubicBezTo>
                  <a:pt x="1568875" y="731598"/>
                  <a:pt x="1570011" y="731753"/>
                  <a:pt x="1568978" y="734541"/>
                </a:cubicBezTo>
                <a:cubicBezTo>
                  <a:pt x="1567842" y="734541"/>
                  <a:pt x="1566603" y="734386"/>
                  <a:pt x="1565468" y="734231"/>
                </a:cubicBezTo>
                <a:cubicBezTo>
                  <a:pt x="1565777" y="731908"/>
                  <a:pt x="1566191" y="729739"/>
                  <a:pt x="1568566" y="729894"/>
                </a:cubicBezTo>
                <a:close/>
                <a:moveTo>
                  <a:pt x="1603466" y="729119"/>
                </a:moveTo>
                <a:cubicBezTo>
                  <a:pt x="1608113" y="728500"/>
                  <a:pt x="1614514" y="732837"/>
                  <a:pt x="1618645" y="738413"/>
                </a:cubicBezTo>
                <a:cubicBezTo>
                  <a:pt x="1622775" y="743990"/>
                  <a:pt x="1624634" y="750805"/>
                  <a:pt x="1620297" y="755297"/>
                </a:cubicBezTo>
                <a:cubicBezTo>
                  <a:pt x="1617715" y="743834"/>
                  <a:pt x="1603879" y="742286"/>
                  <a:pt x="1603466" y="729119"/>
                </a:cubicBezTo>
                <a:close/>
                <a:moveTo>
                  <a:pt x="3356026" y="727563"/>
                </a:moveTo>
                <a:cubicBezTo>
                  <a:pt x="3357092" y="727563"/>
                  <a:pt x="3358159" y="727421"/>
                  <a:pt x="3359440" y="728559"/>
                </a:cubicBezTo>
                <a:cubicBezTo>
                  <a:pt x="3360934" y="729697"/>
                  <a:pt x="3359654" y="729697"/>
                  <a:pt x="3360934" y="729697"/>
                </a:cubicBezTo>
                <a:cubicBezTo>
                  <a:pt x="3362215" y="730835"/>
                  <a:pt x="3362001" y="729697"/>
                  <a:pt x="3362001" y="729697"/>
                </a:cubicBezTo>
                <a:cubicBezTo>
                  <a:pt x="3362001" y="729697"/>
                  <a:pt x="3362215" y="730835"/>
                  <a:pt x="3362215" y="730835"/>
                </a:cubicBezTo>
                <a:cubicBezTo>
                  <a:pt x="3362215" y="730835"/>
                  <a:pt x="3362215" y="730835"/>
                  <a:pt x="3364775" y="733112"/>
                </a:cubicBezTo>
                <a:cubicBezTo>
                  <a:pt x="3368617" y="735246"/>
                  <a:pt x="3369684" y="735246"/>
                  <a:pt x="3372245" y="736242"/>
                </a:cubicBezTo>
                <a:cubicBezTo>
                  <a:pt x="3374806" y="738518"/>
                  <a:pt x="3375233" y="739656"/>
                  <a:pt x="3378008" y="743070"/>
                </a:cubicBezTo>
                <a:cubicBezTo>
                  <a:pt x="3377154" y="745489"/>
                  <a:pt x="3377154" y="745489"/>
                  <a:pt x="3375873" y="745631"/>
                </a:cubicBezTo>
                <a:cubicBezTo>
                  <a:pt x="3377154" y="745489"/>
                  <a:pt x="3377154" y="746770"/>
                  <a:pt x="3378648" y="747908"/>
                </a:cubicBezTo>
                <a:cubicBezTo>
                  <a:pt x="3384837" y="751180"/>
                  <a:pt x="3383343" y="757155"/>
                  <a:pt x="3379501" y="763415"/>
                </a:cubicBezTo>
                <a:cubicBezTo>
                  <a:pt x="3378221" y="762277"/>
                  <a:pt x="3376513" y="765976"/>
                  <a:pt x="3374380" y="767256"/>
                </a:cubicBezTo>
                <a:cubicBezTo>
                  <a:pt x="3370751" y="767541"/>
                  <a:pt x="3368617" y="767683"/>
                  <a:pt x="3365842" y="765407"/>
                </a:cubicBezTo>
                <a:lnTo>
                  <a:pt x="3363282" y="761138"/>
                </a:lnTo>
                <a:lnTo>
                  <a:pt x="3360721" y="762988"/>
                </a:lnTo>
                <a:cubicBezTo>
                  <a:pt x="3353678" y="765834"/>
                  <a:pt x="3345355" y="766403"/>
                  <a:pt x="3342580" y="754310"/>
                </a:cubicBezTo>
                <a:cubicBezTo>
                  <a:pt x="3341513" y="752034"/>
                  <a:pt x="3342367" y="752602"/>
                  <a:pt x="3342153" y="751037"/>
                </a:cubicBezTo>
                <a:cubicBezTo>
                  <a:pt x="3341940" y="749330"/>
                  <a:pt x="3340659" y="747054"/>
                  <a:pt x="3339805" y="746485"/>
                </a:cubicBezTo>
                <a:cubicBezTo>
                  <a:pt x="3345141" y="744066"/>
                  <a:pt x="3343647" y="740225"/>
                  <a:pt x="3352397" y="736953"/>
                </a:cubicBezTo>
                <a:cubicBezTo>
                  <a:pt x="3355171" y="735815"/>
                  <a:pt x="3357519" y="735246"/>
                  <a:pt x="3359654" y="735246"/>
                </a:cubicBezTo>
                <a:lnTo>
                  <a:pt x="3361147" y="735672"/>
                </a:lnTo>
                <a:lnTo>
                  <a:pt x="3360721" y="735246"/>
                </a:lnTo>
                <a:cubicBezTo>
                  <a:pt x="3357733" y="732258"/>
                  <a:pt x="3355599" y="729413"/>
                  <a:pt x="3356026" y="727563"/>
                </a:cubicBezTo>
                <a:close/>
                <a:moveTo>
                  <a:pt x="3513956" y="727421"/>
                </a:moveTo>
                <a:cubicBezTo>
                  <a:pt x="3512248" y="731547"/>
                  <a:pt x="3517157" y="732543"/>
                  <a:pt x="3513103" y="736099"/>
                </a:cubicBezTo>
                <a:cubicBezTo>
                  <a:pt x="3510755" y="736811"/>
                  <a:pt x="3508407" y="736242"/>
                  <a:pt x="3505420" y="733539"/>
                </a:cubicBezTo>
                <a:cubicBezTo>
                  <a:pt x="3506486" y="726994"/>
                  <a:pt x="3510115" y="727279"/>
                  <a:pt x="3513956" y="727421"/>
                </a:cubicBezTo>
                <a:close/>
                <a:moveTo>
                  <a:pt x="1415539" y="727261"/>
                </a:moveTo>
                <a:cubicBezTo>
                  <a:pt x="1418534" y="731753"/>
                  <a:pt x="1405007" y="745229"/>
                  <a:pt x="1405833" y="727415"/>
                </a:cubicBezTo>
                <a:cubicBezTo>
                  <a:pt x="1411616" y="725402"/>
                  <a:pt x="1414507" y="725867"/>
                  <a:pt x="1415539" y="727261"/>
                </a:cubicBezTo>
                <a:close/>
                <a:moveTo>
                  <a:pt x="3848599" y="727136"/>
                </a:moveTo>
                <a:cubicBezTo>
                  <a:pt x="3849239" y="727563"/>
                  <a:pt x="3850092" y="728417"/>
                  <a:pt x="3851159" y="728986"/>
                </a:cubicBezTo>
                <a:lnTo>
                  <a:pt x="3847318" y="732543"/>
                </a:lnTo>
                <a:cubicBezTo>
                  <a:pt x="3846464" y="731262"/>
                  <a:pt x="3845397" y="728986"/>
                  <a:pt x="3846678" y="727848"/>
                </a:cubicBezTo>
                <a:cubicBezTo>
                  <a:pt x="3847318" y="726710"/>
                  <a:pt x="3847958" y="726710"/>
                  <a:pt x="3848599" y="727136"/>
                </a:cubicBezTo>
                <a:close/>
                <a:moveTo>
                  <a:pt x="3835366" y="726710"/>
                </a:moveTo>
                <a:cubicBezTo>
                  <a:pt x="3836860" y="727848"/>
                  <a:pt x="3838141" y="729413"/>
                  <a:pt x="3838568" y="730977"/>
                </a:cubicBezTo>
                <a:cubicBezTo>
                  <a:pt x="3838994" y="732685"/>
                  <a:pt x="3838568" y="734392"/>
                  <a:pt x="3836647" y="736099"/>
                </a:cubicBezTo>
                <a:cubicBezTo>
                  <a:pt x="3835366" y="737238"/>
                  <a:pt x="3834085" y="738376"/>
                  <a:pt x="3834299" y="737238"/>
                </a:cubicBezTo>
                <a:cubicBezTo>
                  <a:pt x="3833019" y="737238"/>
                  <a:pt x="3833232" y="735957"/>
                  <a:pt x="3832165" y="734819"/>
                </a:cubicBezTo>
                <a:cubicBezTo>
                  <a:pt x="3831311" y="732400"/>
                  <a:pt x="3831738" y="728986"/>
                  <a:pt x="3833019" y="727848"/>
                </a:cubicBezTo>
                <a:cubicBezTo>
                  <a:pt x="3834085" y="726710"/>
                  <a:pt x="3835366" y="726710"/>
                  <a:pt x="3835366" y="726710"/>
                </a:cubicBezTo>
                <a:close/>
                <a:moveTo>
                  <a:pt x="2877538" y="722584"/>
                </a:moveTo>
                <a:cubicBezTo>
                  <a:pt x="2880740" y="723580"/>
                  <a:pt x="2882447" y="724007"/>
                  <a:pt x="2885008" y="723864"/>
                </a:cubicBezTo>
                <a:cubicBezTo>
                  <a:pt x="2885435" y="726710"/>
                  <a:pt x="2884581" y="727279"/>
                  <a:pt x="2882874" y="726852"/>
                </a:cubicBezTo>
                <a:cubicBezTo>
                  <a:pt x="2882874" y="726852"/>
                  <a:pt x="2881166" y="726283"/>
                  <a:pt x="2879673" y="725856"/>
                </a:cubicBezTo>
                <a:cubicBezTo>
                  <a:pt x="2877965" y="725429"/>
                  <a:pt x="2877111" y="725998"/>
                  <a:pt x="2877111" y="725998"/>
                </a:cubicBezTo>
                <a:cubicBezTo>
                  <a:pt x="2875404" y="725572"/>
                  <a:pt x="2874550" y="724575"/>
                  <a:pt x="2874977" y="722868"/>
                </a:cubicBezTo>
                <a:cubicBezTo>
                  <a:pt x="2874977" y="722868"/>
                  <a:pt x="2877538" y="722584"/>
                  <a:pt x="2877538" y="722584"/>
                </a:cubicBezTo>
                <a:close/>
                <a:moveTo>
                  <a:pt x="1601814" y="722149"/>
                </a:moveTo>
                <a:cubicBezTo>
                  <a:pt x="1601814" y="722149"/>
                  <a:pt x="1602640" y="722304"/>
                  <a:pt x="1602640" y="722149"/>
                </a:cubicBezTo>
                <a:cubicBezTo>
                  <a:pt x="1602640" y="721839"/>
                  <a:pt x="1602743" y="721839"/>
                  <a:pt x="1602846" y="722149"/>
                </a:cubicBezTo>
                <a:cubicBezTo>
                  <a:pt x="1603053" y="722304"/>
                  <a:pt x="1603363" y="722614"/>
                  <a:pt x="1604189" y="723079"/>
                </a:cubicBezTo>
                <a:cubicBezTo>
                  <a:pt x="1604911" y="724008"/>
                  <a:pt x="1605738" y="724008"/>
                  <a:pt x="1604705" y="724782"/>
                </a:cubicBezTo>
                <a:cubicBezTo>
                  <a:pt x="1603776" y="725557"/>
                  <a:pt x="1603776" y="725557"/>
                  <a:pt x="1601297" y="725402"/>
                </a:cubicBezTo>
                <a:cubicBezTo>
                  <a:pt x="1602227" y="724627"/>
                  <a:pt x="1602227" y="724627"/>
                  <a:pt x="1601504" y="723698"/>
                </a:cubicBezTo>
                <a:cubicBezTo>
                  <a:pt x="1601504" y="723698"/>
                  <a:pt x="1601607" y="723698"/>
                  <a:pt x="1600781" y="723698"/>
                </a:cubicBezTo>
                <a:cubicBezTo>
                  <a:pt x="1600885" y="722923"/>
                  <a:pt x="1601607" y="723079"/>
                  <a:pt x="1601814" y="722149"/>
                </a:cubicBezTo>
                <a:close/>
                <a:moveTo>
                  <a:pt x="2894612" y="720450"/>
                </a:moveTo>
                <a:cubicBezTo>
                  <a:pt x="2898240" y="721446"/>
                  <a:pt x="2902295" y="723011"/>
                  <a:pt x="2904215" y="725429"/>
                </a:cubicBezTo>
                <a:cubicBezTo>
                  <a:pt x="2904643" y="726283"/>
                  <a:pt x="2905070" y="727279"/>
                  <a:pt x="2905070" y="728275"/>
                </a:cubicBezTo>
                <a:cubicBezTo>
                  <a:pt x="2905496" y="730977"/>
                  <a:pt x="2902935" y="731262"/>
                  <a:pt x="2899734" y="730409"/>
                </a:cubicBezTo>
                <a:cubicBezTo>
                  <a:pt x="2893118" y="730409"/>
                  <a:pt x="2890130" y="727990"/>
                  <a:pt x="2890770" y="723011"/>
                </a:cubicBezTo>
                <a:cubicBezTo>
                  <a:pt x="2891837" y="722441"/>
                  <a:pt x="2895252" y="721588"/>
                  <a:pt x="2894612" y="720450"/>
                </a:cubicBezTo>
                <a:close/>
                <a:moveTo>
                  <a:pt x="1818445" y="719980"/>
                </a:moveTo>
                <a:cubicBezTo>
                  <a:pt x="1821956" y="722768"/>
                  <a:pt x="1822369" y="725867"/>
                  <a:pt x="1820924" y="728810"/>
                </a:cubicBezTo>
                <a:cubicBezTo>
                  <a:pt x="1817413" y="729894"/>
                  <a:pt x="1814109" y="727261"/>
                  <a:pt x="1813489" y="724318"/>
                </a:cubicBezTo>
                <a:cubicBezTo>
                  <a:pt x="1813283" y="723233"/>
                  <a:pt x="1813283" y="722304"/>
                  <a:pt x="1813799" y="721375"/>
                </a:cubicBezTo>
                <a:cubicBezTo>
                  <a:pt x="1814315" y="721220"/>
                  <a:pt x="1815038" y="720910"/>
                  <a:pt x="1815761" y="720600"/>
                </a:cubicBezTo>
                <a:cubicBezTo>
                  <a:pt x="1816587" y="720290"/>
                  <a:pt x="1817413" y="719980"/>
                  <a:pt x="1818445" y="719980"/>
                </a:cubicBezTo>
                <a:close/>
                <a:moveTo>
                  <a:pt x="3424533" y="719596"/>
                </a:moveTo>
                <a:cubicBezTo>
                  <a:pt x="3432003" y="724007"/>
                  <a:pt x="3434777" y="743070"/>
                  <a:pt x="3431789" y="746770"/>
                </a:cubicBezTo>
                <a:cubicBezTo>
                  <a:pt x="3427735" y="743498"/>
                  <a:pt x="3428375" y="738518"/>
                  <a:pt x="3424106" y="733965"/>
                </a:cubicBezTo>
                <a:cubicBezTo>
                  <a:pt x="3426027" y="730267"/>
                  <a:pt x="3421545" y="724575"/>
                  <a:pt x="3424533" y="719596"/>
                </a:cubicBezTo>
                <a:close/>
                <a:moveTo>
                  <a:pt x="3855427" y="716466"/>
                </a:moveTo>
                <a:cubicBezTo>
                  <a:pt x="3857135" y="716324"/>
                  <a:pt x="3859269" y="716609"/>
                  <a:pt x="3861403" y="718458"/>
                </a:cubicBezTo>
                <a:cubicBezTo>
                  <a:pt x="3861830" y="719027"/>
                  <a:pt x="3862684" y="720308"/>
                  <a:pt x="3863111" y="721446"/>
                </a:cubicBezTo>
                <a:cubicBezTo>
                  <a:pt x="3863537" y="722441"/>
                  <a:pt x="3863751" y="723295"/>
                  <a:pt x="3863111" y="723295"/>
                </a:cubicBezTo>
                <a:cubicBezTo>
                  <a:pt x="3861830" y="724575"/>
                  <a:pt x="3863111" y="724575"/>
                  <a:pt x="3862897" y="725714"/>
                </a:cubicBezTo>
                <a:cubicBezTo>
                  <a:pt x="3859269" y="729270"/>
                  <a:pt x="3855641" y="730409"/>
                  <a:pt x="3852440" y="727990"/>
                </a:cubicBezTo>
                <a:cubicBezTo>
                  <a:pt x="3850519" y="725572"/>
                  <a:pt x="3847318" y="721873"/>
                  <a:pt x="3850092" y="718316"/>
                </a:cubicBezTo>
                <a:cubicBezTo>
                  <a:pt x="3851159" y="718316"/>
                  <a:pt x="3851159" y="717178"/>
                  <a:pt x="3852440" y="717178"/>
                </a:cubicBezTo>
                <a:cubicBezTo>
                  <a:pt x="3852440" y="717178"/>
                  <a:pt x="3853507" y="716609"/>
                  <a:pt x="3855427" y="716466"/>
                </a:cubicBezTo>
                <a:close/>
                <a:moveTo>
                  <a:pt x="3272365" y="716039"/>
                </a:moveTo>
                <a:cubicBezTo>
                  <a:pt x="3277700" y="722868"/>
                  <a:pt x="3268523" y="727990"/>
                  <a:pt x="3264468" y="725998"/>
                </a:cubicBezTo>
                <a:cubicBezTo>
                  <a:pt x="3262121" y="720734"/>
                  <a:pt x="3267670" y="715044"/>
                  <a:pt x="3272365" y="716039"/>
                </a:cubicBezTo>
                <a:close/>
                <a:moveTo>
                  <a:pt x="2839336" y="715328"/>
                </a:moveTo>
                <a:cubicBezTo>
                  <a:pt x="2836349" y="715186"/>
                  <a:pt x="2833361" y="715471"/>
                  <a:pt x="2832293" y="716751"/>
                </a:cubicBezTo>
                <a:lnTo>
                  <a:pt x="2832080" y="717462"/>
                </a:lnTo>
                <a:lnTo>
                  <a:pt x="2841044" y="720308"/>
                </a:lnTo>
                <a:lnTo>
                  <a:pt x="2847446" y="720734"/>
                </a:lnTo>
                <a:lnTo>
                  <a:pt x="2848727" y="719738"/>
                </a:lnTo>
                <a:lnTo>
                  <a:pt x="2848300" y="719027"/>
                </a:lnTo>
                <a:cubicBezTo>
                  <a:pt x="2847660" y="718316"/>
                  <a:pt x="2847019" y="717320"/>
                  <a:pt x="2847660" y="716039"/>
                </a:cubicBezTo>
                <a:cubicBezTo>
                  <a:pt x="2845739" y="715755"/>
                  <a:pt x="2842537" y="715328"/>
                  <a:pt x="2839336" y="715328"/>
                </a:cubicBezTo>
                <a:close/>
                <a:moveTo>
                  <a:pt x="3468711" y="714759"/>
                </a:moveTo>
                <a:cubicBezTo>
                  <a:pt x="3469991" y="714617"/>
                  <a:pt x="3471485" y="714617"/>
                  <a:pt x="3473407" y="715044"/>
                </a:cubicBezTo>
                <a:cubicBezTo>
                  <a:pt x="3479595" y="726283"/>
                  <a:pt x="3468284" y="734250"/>
                  <a:pt x="3461241" y="729555"/>
                </a:cubicBezTo>
                <a:cubicBezTo>
                  <a:pt x="3458894" y="727990"/>
                  <a:pt x="3456973" y="725003"/>
                  <a:pt x="3456546" y="720308"/>
                </a:cubicBezTo>
                <a:cubicBezTo>
                  <a:pt x="3462309" y="719027"/>
                  <a:pt x="3464869" y="715613"/>
                  <a:pt x="3468711" y="714759"/>
                </a:cubicBezTo>
                <a:close/>
                <a:moveTo>
                  <a:pt x="1477803" y="713475"/>
                </a:moveTo>
                <a:cubicBezTo>
                  <a:pt x="1483689" y="717037"/>
                  <a:pt x="1478836" y="722149"/>
                  <a:pt x="1475428" y="721529"/>
                </a:cubicBezTo>
                <a:cubicBezTo>
                  <a:pt x="1474602" y="720755"/>
                  <a:pt x="1474086" y="719980"/>
                  <a:pt x="1473879" y="719051"/>
                </a:cubicBezTo>
                <a:cubicBezTo>
                  <a:pt x="1473260" y="716418"/>
                  <a:pt x="1475119" y="713785"/>
                  <a:pt x="1477803" y="713475"/>
                </a:cubicBezTo>
                <a:close/>
                <a:moveTo>
                  <a:pt x="3493254" y="713337"/>
                </a:moveTo>
                <a:cubicBezTo>
                  <a:pt x="3493894" y="713337"/>
                  <a:pt x="3494535" y="713621"/>
                  <a:pt x="3495602" y="714332"/>
                </a:cubicBezTo>
                <a:cubicBezTo>
                  <a:pt x="3496456" y="716609"/>
                  <a:pt x="3496242" y="719311"/>
                  <a:pt x="3493681" y="723153"/>
                </a:cubicBezTo>
                <a:cubicBezTo>
                  <a:pt x="3487492" y="723580"/>
                  <a:pt x="3487492" y="719738"/>
                  <a:pt x="3487278" y="715897"/>
                </a:cubicBezTo>
                <a:cubicBezTo>
                  <a:pt x="3490266" y="716324"/>
                  <a:pt x="3491334" y="713479"/>
                  <a:pt x="3493254" y="713337"/>
                </a:cubicBezTo>
                <a:close/>
                <a:moveTo>
                  <a:pt x="1560718" y="713010"/>
                </a:moveTo>
                <a:cubicBezTo>
                  <a:pt x="1564848" y="718122"/>
                  <a:pt x="1559892" y="734696"/>
                  <a:pt x="1550599" y="734541"/>
                </a:cubicBezTo>
                <a:cubicBezTo>
                  <a:pt x="1552767" y="728810"/>
                  <a:pt x="1555452" y="723543"/>
                  <a:pt x="1555452" y="715178"/>
                </a:cubicBezTo>
                <a:cubicBezTo>
                  <a:pt x="1557930" y="715334"/>
                  <a:pt x="1557724" y="712236"/>
                  <a:pt x="1560718" y="713010"/>
                </a:cubicBezTo>
                <a:close/>
                <a:moveTo>
                  <a:pt x="2882447" y="712340"/>
                </a:moveTo>
                <a:cubicBezTo>
                  <a:pt x="2883301" y="711629"/>
                  <a:pt x="2884795" y="713621"/>
                  <a:pt x="2884795" y="713621"/>
                </a:cubicBezTo>
                <a:cubicBezTo>
                  <a:pt x="2885648" y="713052"/>
                  <a:pt x="2886716" y="712483"/>
                  <a:pt x="2888209" y="712767"/>
                </a:cubicBezTo>
                <a:cubicBezTo>
                  <a:pt x="2887996" y="714474"/>
                  <a:pt x="2889063" y="713763"/>
                  <a:pt x="2889703" y="714759"/>
                </a:cubicBezTo>
                <a:cubicBezTo>
                  <a:pt x="2887996" y="714332"/>
                  <a:pt x="2885008" y="716324"/>
                  <a:pt x="2882447" y="716609"/>
                </a:cubicBezTo>
                <a:cubicBezTo>
                  <a:pt x="2881807" y="715613"/>
                  <a:pt x="2880313" y="715186"/>
                  <a:pt x="2879673" y="714190"/>
                </a:cubicBezTo>
                <a:cubicBezTo>
                  <a:pt x="2880526" y="713621"/>
                  <a:pt x="2881807" y="711345"/>
                  <a:pt x="2882447" y="712340"/>
                </a:cubicBezTo>
                <a:close/>
                <a:moveTo>
                  <a:pt x="2827385" y="710775"/>
                </a:moveTo>
                <a:lnTo>
                  <a:pt x="2822263" y="713621"/>
                </a:lnTo>
                <a:lnTo>
                  <a:pt x="2823543" y="713763"/>
                </a:lnTo>
                <a:lnTo>
                  <a:pt x="2828452" y="715897"/>
                </a:lnTo>
                <a:lnTo>
                  <a:pt x="2828452" y="714332"/>
                </a:lnTo>
                <a:cubicBezTo>
                  <a:pt x="2828452" y="713052"/>
                  <a:pt x="2828025" y="711772"/>
                  <a:pt x="2827385" y="710775"/>
                </a:cubicBezTo>
                <a:close/>
                <a:moveTo>
                  <a:pt x="2816500" y="710491"/>
                </a:moveTo>
                <a:lnTo>
                  <a:pt x="2813726" y="712198"/>
                </a:lnTo>
                <a:lnTo>
                  <a:pt x="2814793" y="716182"/>
                </a:lnTo>
                <a:lnTo>
                  <a:pt x="2816287" y="715755"/>
                </a:lnTo>
                <a:cubicBezTo>
                  <a:pt x="2817140" y="715186"/>
                  <a:pt x="2817354" y="714474"/>
                  <a:pt x="2816073" y="713621"/>
                </a:cubicBezTo>
                <a:lnTo>
                  <a:pt x="2820128" y="713621"/>
                </a:lnTo>
                <a:lnTo>
                  <a:pt x="2819275" y="713337"/>
                </a:lnTo>
                <a:cubicBezTo>
                  <a:pt x="2818421" y="712909"/>
                  <a:pt x="2817567" y="711914"/>
                  <a:pt x="2816500" y="710491"/>
                </a:cubicBezTo>
                <a:close/>
                <a:moveTo>
                  <a:pt x="3229681" y="704800"/>
                </a:moveTo>
                <a:cubicBezTo>
                  <a:pt x="3231815" y="704943"/>
                  <a:pt x="3233949" y="705654"/>
                  <a:pt x="3235870" y="706792"/>
                </a:cubicBezTo>
                <a:lnTo>
                  <a:pt x="3236083" y="706935"/>
                </a:lnTo>
                <a:lnTo>
                  <a:pt x="3236510" y="706508"/>
                </a:lnTo>
                <a:cubicBezTo>
                  <a:pt x="3237578" y="706223"/>
                  <a:pt x="3238431" y="706223"/>
                  <a:pt x="3239285" y="706935"/>
                </a:cubicBezTo>
                <a:cubicBezTo>
                  <a:pt x="3239925" y="707503"/>
                  <a:pt x="3239925" y="708072"/>
                  <a:pt x="3239925" y="708642"/>
                </a:cubicBezTo>
                <a:lnTo>
                  <a:pt x="3239711" y="710064"/>
                </a:lnTo>
                <a:lnTo>
                  <a:pt x="3241206" y="711345"/>
                </a:lnTo>
                <a:cubicBezTo>
                  <a:pt x="3244194" y="715044"/>
                  <a:pt x="3245901" y="719738"/>
                  <a:pt x="3245047" y="724291"/>
                </a:cubicBezTo>
                <a:cubicBezTo>
                  <a:pt x="3244620" y="727279"/>
                  <a:pt x="3242913" y="730267"/>
                  <a:pt x="3239711" y="732827"/>
                </a:cubicBezTo>
                <a:cubicBezTo>
                  <a:pt x="3232882" y="734534"/>
                  <a:pt x="3225840" y="736242"/>
                  <a:pt x="3217729" y="728844"/>
                </a:cubicBezTo>
                <a:cubicBezTo>
                  <a:pt x="3216449" y="719596"/>
                  <a:pt x="3219650" y="713052"/>
                  <a:pt x="3229681" y="704800"/>
                </a:cubicBezTo>
                <a:close/>
                <a:moveTo>
                  <a:pt x="3125745" y="704089"/>
                </a:moveTo>
                <a:cubicBezTo>
                  <a:pt x="3129160" y="704800"/>
                  <a:pt x="3132148" y="707930"/>
                  <a:pt x="3134069" y="711914"/>
                </a:cubicBezTo>
                <a:cubicBezTo>
                  <a:pt x="3128947" y="715328"/>
                  <a:pt x="3124252" y="714190"/>
                  <a:pt x="3118916" y="710633"/>
                </a:cubicBezTo>
                <a:cubicBezTo>
                  <a:pt x="3119130" y="708357"/>
                  <a:pt x="3122971" y="705796"/>
                  <a:pt x="3125745" y="704089"/>
                </a:cubicBezTo>
                <a:close/>
                <a:moveTo>
                  <a:pt x="1577445" y="702477"/>
                </a:moveTo>
                <a:cubicBezTo>
                  <a:pt x="1584880" y="698140"/>
                  <a:pt x="1591901" y="706659"/>
                  <a:pt x="1589320" y="711616"/>
                </a:cubicBezTo>
                <a:cubicBezTo>
                  <a:pt x="1588494" y="713320"/>
                  <a:pt x="1586532" y="714559"/>
                  <a:pt x="1583125" y="714869"/>
                </a:cubicBezTo>
                <a:cubicBezTo>
                  <a:pt x="1581059" y="709138"/>
                  <a:pt x="1576826" y="707744"/>
                  <a:pt x="1577445" y="702477"/>
                </a:cubicBezTo>
                <a:close/>
                <a:moveTo>
                  <a:pt x="1638935" y="700773"/>
                </a:moveTo>
                <a:cubicBezTo>
                  <a:pt x="1643168" y="702632"/>
                  <a:pt x="1646266" y="707047"/>
                  <a:pt x="1645698" y="711616"/>
                </a:cubicBezTo>
                <a:cubicBezTo>
                  <a:pt x="1645285" y="714714"/>
                  <a:pt x="1643323" y="717812"/>
                  <a:pt x="1638883" y="720290"/>
                </a:cubicBezTo>
                <a:cubicBezTo>
                  <a:pt x="1633410" y="712855"/>
                  <a:pt x="1627008" y="713475"/>
                  <a:pt x="1625356" y="705265"/>
                </a:cubicBezTo>
                <a:cubicBezTo>
                  <a:pt x="1629332" y="699612"/>
                  <a:pt x="1634701" y="698915"/>
                  <a:pt x="1638935" y="700773"/>
                </a:cubicBezTo>
                <a:close/>
                <a:moveTo>
                  <a:pt x="2112416" y="699379"/>
                </a:moveTo>
                <a:lnTo>
                  <a:pt x="2109731" y="701238"/>
                </a:lnTo>
                <a:lnTo>
                  <a:pt x="2110867" y="700928"/>
                </a:lnTo>
                <a:close/>
                <a:moveTo>
                  <a:pt x="3675942" y="699251"/>
                </a:moveTo>
                <a:cubicBezTo>
                  <a:pt x="3678289" y="699394"/>
                  <a:pt x="3680637" y="700248"/>
                  <a:pt x="3682984" y="702381"/>
                </a:cubicBezTo>
                <a:cubicBezTo>
                  <a:pt x="3684265" y="703662"/>
                  <a:pt x="3685546" y="704943"/>
                  <a:pt x="3686613" y="706508"/>
                </a:cubicBezTo>
                <a:cubicBezTo>
                  <a:pt x="3689387" y="711060"/>
                  <a:pt x="3689814" y="716751"/>
                  <a:pt x="3683198" y="723864"/>
                </a:cubicBezTo>
                <a:cubicBezTo>
                  <a:pt x="3681704" y="726283"/>
                  <a:pt x="3681917" y="725145"/>
                  <a:pt x="3680637" y="726283"/>
                </a:cubicBezTo>
                <a:cubicBezTo>
                  <a:pt x="3679356" y="727421"/>
                  <a:pt x="3677863" y="729840"/>
                  <a:pt x="3677863" y="730977"/>
                </a:cubicBezTo>
                <a:cubicBezTo>
                  <a:pt x="3674661" y="728275"/>
                  <a:pt x="3672313" y="729555"/>
                  <a:pt x="3668685" y="727848"/>
                </a:cubicBezTo>
                <a:lnTo>
                  <a:pt x="3667832" y="727279"/>
                </a:lnTo>
                <a:lnTo>
                  <a:pt x="3671033" y="735388"/>
                </a:lnTo>
                <a:cubicBezTo>
                  <a:pt x="3669325" y="744920"/>
                  <a:pt x="3655026" y="753456"/>
                  <a:pt x="3650118" y="738945"/>
                </a:cubicBezTo>
                <a:cubicBezTo>
                  <a:pt x="3653959" y="735815"/>
                  <a:pt x="3657161" y="733254"/>
                  <a:pt x="3659935" y="731120"/>
                </a:cubicBezTo>
                <a:lnTo>
                  <a:pt x="3667192" y="726710"/>
                </a:lnTo>
                <a:lnTo>
                  <a:pt x="3664630" y="724718"/>
                </a:lnTo>
                <a:cubicBezTo>
                  <a:pt x="3656093" y="717462"/>
                  <a:pt x="3659082" y="709210"/>
                  <a:pt x="3663137" y="704373"/>
                </a:cubicBezTo>
                <a:cubicBezTo>
                  <a:pt x="3663990" y="705369"/>
                  <a:pt x="3669325" y="698967"/>
                  <a:pt x="3675942" y="699251"/>
                </a:cubicBezTo>
                <a:close/>
                <a:moveTo>
                  <a:pt x="3782438" y="699109"/>
                </a:moveTo>
                <a:cubicBezTo>
                  <a:pt x="3784786" y="698683"/>
                  <a:pt x="3787347" y="699109"/>
                  <a:pt x="3790335" y="700674"/>
                </a:cubicBezTo>
                <a:cubicBezTo>
                  <a:pt x="3790975" y="713337"/>
                  <a:pt x="3774755" y="728702"/>
                  <a:pt x="3767712" y="719596"/>
                </a:cubicBezTo>
                <a:cubicBezTo>
                  <a:pt x="3766645" y="718316"/>
                  <a:pt x="3765791" y="716609"/>
                  <a:pt x="3765364" y="714190"/>
                </a:cubicBezTo>
                <a:cubicBezTo>
                  <a:pt x="3769419" y="709210"/>
                  <a:pt x="3774969" y="700532"/>
                  <a:pt x="3782438" y="699109"/>
                </a:cubicBezTo>
                <a:close/>
                <a:moveTo>
                  <a:pt x="3285810" y="697687"/>
                </a:moveTo>
                <a:cubicBezTo>
                  <a:pt x="3287304" y="697544"/>
                  <a:pt x="3288798" y="697687"/>
                  <a:pt x="3290292" y="698256"/>
                </a:cubicBezTo>
                <a:cubicBezTo>
                  <a:pt x="3290292" y="698256"/>
                  <a:pt x="3290292" y="698398"/>
                  <a:pt x="3289012" y="698256"/>
                </a:cubicBezTo>
                <a:cubicBezTo>
                  <a:pt x="3289012" y="698256"/>
                  <a:pt x="3290292" y="698256"/>
                  <a:pt x="3290292" y="699394"/>
                </a:cubicBezTo>
                <a:cubicBezTo>
                  <a:pt x="3284530" y="702666"/>
                  <a:pt x="3275139" y="701101"/>
                  <a:pt x="3274072" y="701101"/>
                </a:cubicBezTo>
                <a:cubicBezTo>
                  <a:pt x="3274072" y="699821"/>
                  <a:pt x="3274072" y="699821"/>
                  <a:pt x="3274072" y="699821"/>
                </a:cubicBezTo>
                <a:cubicBezTo>
                  <a:pt x="3277487" y="700959"/>
                  <a:pt x="3281542" y="698114"/>
                  <a:pt x="3285810" y="697687"/>
                </a:cubicBezTo>
                <a:close/>
                <a:moveTo>
                  <a:pt x="1621329" y="697521"/>
                </a:moveTo>
                <a:cubicBezTo>
                  <a:pt x="1620503" y="702167"/>
                  <a:pt x="1617715" y="704336"/>
                  <a:pt x="1613172" y="706040"/>
                </a:cubicBezTo>
                <a:cubicBezTo>
                  <a:pt x="1612656" y="705420"/>
                  <a:pt x="1612553" y="704181"/>
                  <a:pt x="1612656" y="702942"/>
                </a:cubicBezTo>
                <a:cubicBezTo>
                  <a:pt x="1612759" y="701548"/>
                  <a:pt x="1612965" y="700154"/>
                  <a:pt x="1613172" y="698914"/>
                </a:cubicBezTo>
                <a:cubicBezTo>
                  <a:pt x="1615340" y="697211"/>
                  <a:pt x="1618438" y="696746"/>
                  <a:pt x="1621329" y="697521"/>
                </a:cubicBezTo>
                <a:close/>
                <a:moveTo>
                  <a:pt x="3266816" y="697118"/>
                </a:moveTo>
                <a:cubicBezTo>
                  <a:pt x="3266816" y="697118"/>
                  <a:pt x="3266816" y="697118"/>
                  <a:pt x="3268096" y="698398"/>
                </a:cubicBezTo>
                <a:cubicBezTo>
                  <a:pt x="3265749" y="698256"/>
                  <a:pt x="3264682" y="703093"/>
                  <a:pt x="3262334" y="700532"/>
                </a:cubicBezTo>
                <a:cubicBezTo>
                  <a:pt x="3263401" y="699394"/>
                  <a:pt x="3265749" y="698256"/>
                  <a:pt x="3266816" y="697118"/>
                </a:cubicBezTo>
                <a:close/>
                <a:moveTo>
                  <a:pt x="2091086" y="695126"/>
                </a:moveTo>
                <a:lnTo>
                  <a:pt x="2080202" y="699394"/>
                </a:lnTo>
                <a:lnTo>
                  <a:pt x="2076974" y="697274"/>
                </a:lnTo>
                <a:lnTo>
                  <a:pt x="2072559" y="698605"/>
                </a:lnTo>
                <a:cubicBezTo>
                  <a:pt x="2068738" y="700618"/>
                  <a:pt x="2064918" y="702942"/>
                  <a:pt x="2060788" y="705575"/>
                </a:cubicBezTo>
                <a:lnTo>
                  <a:pt x="2048810" y="713320"/>
                </a:lnTo>
                <a:lnTo>
                  <a:pt x="2049326" y="713785"/>
                </a:lnTo>
                <a:lnTo>
                  <a:pt x="2050669" y="717347"/>
                </a:lnTo>
                <a:lnTo>
                  <a:pt x="2051495" y="715334"/>
                </a:lnTo>
                <a:cubicBezTo>
                  <a:pt x="2053250" y="714094"/>
                  <a:pt x="2056658" y="716263"/>
                  <a:pt x="2059549" y="715798"/>
                </a:cubicBezTo>
                <a:cubicBezTo>
                  <a:pt x="2060581" y="714559"/>
                  <a:pt x="2061717" y="713475"/>
                  <a:pt x="2063369" y="713010"/>
                </a:cubicBezTo>
                <a:cubicBezTo>
                  <a:pt x="2060065" y="711771"/>
                  <a:pt x="2054696" y="714559"/>
                  <a:pt x="2052528" y="711771"/>
                </a:cubicBezTo>
                <a:cubicBezTo>
                  <a:pt x="2056864" y="710067"/>
                  <a:pt x="2059033" y="712390"/>
                  <a:pt x="2064918" y="708363"/>
                </a:cubicBezTo>
                <a:cubicBezTo>
                  <a:pt x="2068222" y="711771"/>
                  <a:pt x="2065538" y="715178"/>
                  <a:pt x="2073075" y="710687"/>
                </a:cubicBezTo>
                <a:cubicBezTo>
                  <a:pt x="2069874" y="713010"/>
                  <a:pt x="2070907" y="716418"/>
                  <a:pt x="2066054" y="718122"/>
                </a:cubicBezTo>
                <a:cubicBezTo>
                  <a:pt x="2066570" y="719825"/>
                  <a:pt x="2069255" y="719825"/>
                  <a:pt x="2072043" y="719206"/>
                </a:cubicBezTo>
                <a:cubicBezTo>
                  <a:pt x="2073592" y="718586"/>
                  <a:pt x="2075243" y="718122"/>
                  <a:pt x="2076793" y="717502"/>
                </a:cubicBezTo>
                <a:cubicBezTo>
                  <a:pt x="2077412" y="716882"/>
                  <a:pt x="2078444" y="716882"/>
                  <a:pt x="2079064" y="716418"/>
                </a:cubicBezTo>
                <a:cubicBezTo>
                  <a:pt x="2079580" y="716418"/>
                  <a:pt x="2080097" y="716418"/>
                  <a:pt x="2080097" y="715798"/>
                </a:cubicBezTo>
                <a:cubicBezTo>
                  <a:pt x="2080613" y="715798"/>
                  <a:pt x="2080613" y="715798"/>
                  <a:pt x="2081129" y="715178"/>
                </a:cubicBezTo>
                <a:cubicBezTo>
                  <a:pt x="2085982" y="712855"/>
                  <a:pt x="2089287" y="710067"/>
                  <a:pt x="2082781" y="712390"/>
                </a:cubicBezTo>
                <a:cubicBezTo>
                  <a:pt x="2084434" y="708363"/>
                  <a:pt x="2097444" y="708363"/>
                  <a:pt x="2093107" y="704336"/>
                </a:cubicBezTo>
                <a:cubicBezTo>
                  <a:pt x="2096824" y="701548"/>
                  <a:pt x="2099509" y="701548"/>
                  <a:pt x="2102297" y="702167"/>
                </a:cubicBezTo>
                <a:lnTo>
                  <a:pt x="2105085" y="702167"/>
                </a:lnTo>
                <a:lnTo>
                  <a:pt x="2102607" y="699534"/>
                </a:lnTo>
                <a:lnTo>
                  <a:pt x="2102615" y="699517"/>
                </a:lnTo>
                <a:lnTo>
                  <a:pt x="2099143" y="701813"/>
                </a:lnTo>
                <a:cubicBezTo>
                  <a:pt x="2096422" y="702311"/>
                  <a:pt x="2093221" y="701742"/>
                  <a:pt x="2089806" y="699679"/>
                </a:cubicBezTo>
                <a:close/>
                <a:moveTo>
                  <a:pt x="3466150" y="693277"/>
                </a:moveTo>
                <a:cubicBezTo>
                  <a:pt x="3475754" y="691996"/>
                  <a:pt x="3489626" y="700532"/>
                  <a:pt x="3493468" y="705369"/>
                </a:cubicBezTo>
                <a:cubicBezTo>
                  <a:pt x="3483223" y="705369"/>
                  <a:pt x="3466150" y="704658"/>
                  <a:pt x="3458467" y="698256"/>
                </a:cubicBezTo>
                <a:cubicBezTo>
                  <a:pt x="3460174" y="695126"/>
                  <a:pt x="3462949" y="693703"/>
                  <a:pt x="3466150" y="693277"/>
                </a:cubicBezTo>
                <a:close/>
                <a:moveTo>
                  <a:pt x="2989157" y="692423"/>
                </a:moveTo>
                <a:cubicBezTo>
                  <a:pt x="2993852" y="694984"/>
                  <a:pt x="2995133" y="698683"/>
                  <a:pt x="2991931" y="702097"/>
                </a:cubicBezTo>
                <a:cubicBezTo>
                  <a:pt x="2989370" y="699679"/>
                  <a:pt x="2987023" y="700674"/>
                  <a:pt x="2984675" y="698256"/>
                </a:cubicBezTo>
                <a:cubicBezTo>
                  <a:pt x="2986809" y="695979"/>
                  <a:pt x="2988090" y="693561"/>
                  <a:pt x="2989157" y="692423"/>
                </a:cubicBezTo>
                <a:close/>
                <a:moveTo>
                  <a:pt x="3697710" y="691996"/>
                </a:moveTo>
                <a:cubicBezTo>
                  <a:pt x="3699845" y="693845"/>
                  <a:pt x="3701125" y="695411"/>
                  <a:pt x="3701979" y="696691"/>
                </a:cubicBezTo>
                <a:cubicBezTo>
                  <a:pt x="3704326" y="700674"/>
                  <a:pt x="3701552" y="702951"/>
                  <a:pt x="3698564" y="706508"/>
                </a:cubicBezTo>
                <a:cubicBezTo>
                  <a:pt x="3696430" y="705227"/>
                  <a:pt x="3693015" y="706365"/>
                  <a:pt x="3690881" y="703947"/>
                </a:cubicBezTo>
                <a:cubicBezTo>
                  <a:pt x="3690881" y="703947"/>
                  <a:pt x="3689814" y="702666"/>
                  <a:pt x="3690027" y="700390"/>
                </a:cubicBezTo>
                <a:cubicBezTo>
                  <a:pt x="3688107" y="696691"/>
                  <a:pt x="3691948" y="693134"/>
                  <a:pt x="3691948" y="693134"/>
                </a:cubicBezTo>
                <a:cubicBezTo>
                  <a:pt x="3691948" y="693134"/>
                  <a:pt x="3691948" y="693134"/>
                  <a:pt x="3690667" y="693134"/>
                </a:cubicBezTo>
                <a:cubicBezTo>
                  <a:pt x="3693015" y="693134"/>
                  <a:pt x="3695576" y="691996"/>
                  <a:pt x="3697710" y="691996"/>
                </a:cubicBezTo>
                <a:close/>
                <a:moveTo>
                  <a:pt x="1308773" y="688691"/>
                </a:moveTo>
                <a:cubicBezTo>
                  <a:pt x="1309805" y="690086"/>
                  <a:pt x="1310115" y="691789"/>
                  <a:pt x="1309083" y="694733"/>
                </a:cubicBezTo>
                <a:cubicBezTo>
                  <a:pt x="1304436" y="696281"/>
                  <a:pt x="1303610" y="693803"/>
                  <a:pt x="1302681" y="691325"/>
                </a:cubicBezTo>
                <a:cubicBezTo>
                  <a:pt x="1305882" y="691015"/>
                  <a:pt x="1305262" y="687297"/>
                  <a:pt x="1308773" y="688691"/>
                </a:cubicBezTo>
                <a:close/>
                <a:moveTo>
                  <a:pt x="2109112" y="686213"/>
                </a:moveTo>
                <a:lnTo>
                  <a:pt x="2104199" y="687529"/>
                </a:lnTo>
                <a:lnTo>
                  <a:pt x="2105171" y="694485"/>
                </a:lnTo>
                <a:lnTo>
                  <a:pt x="2107563" y="689776"/>
                </a:lnTo>
                <a:close/>
                <a:moveTo>
                  <a:pt x="3290506" y="685167"/>
                </a:moveTo>
                <a:cubicBezTo>
                  <a:pt x="3291786" y="687585"/>
                  <a:pt x="3291786" y="687585"/>
                  <a:pt x="3290719" y="690004"/>
                </a:cubicBezTo>
                <a:cubicBezTo>
                  <a:pt x="3289652" y="690004"/>
                  <a:pt x="3289652" y="691142"/>
                  <a:pt x="3288371" y="689862"/>
                </a:cubicBezTo>
                <a:cubicBezTo>
                  <a:pt x="3286237" y="693419"/>
                  <a:pt x="3275993" y="696691"/>
                  <a:pt x="3271298" y="695268"/>
                </a:cubicBezTo>
                <a:cubicBezTo>
                  <a:pt x="3278981" y="684740"/>
                  <a:pt x="3286237" y="691000"/>
                  <a:pt x="3290506" y="685167"/>
                </a:cubicBezTo>
                <a:close/>
                <a:moveTo>
                  <a:pt x="2877752" y="684456"/>
                </a:moveTo>
                <a:cubicBezTo>
                  <a:pt x="2881807" y="686021"/>
                  <a:pt x="2886288" y="692565"/>
                  <a:pt x="2883087" y="695979"/>
                </a:cubicBezTo>
                <a:cubicBezTo>
                  <a:pt x="2879673" y="698256"/>
                  <a:pt x="2867721" y="690573"/>
                  <a:pt x="2874337" y="684740"/>
                </a:cubicBezTo>
                <a:cubicBezTo>
                  <a:pt x="2875190" y="683887"/>
                  <a:pt x="2876471" y="683887"/>
                  <a:pt x="2877752" y="684456"/>
                </a:cubicBezTo>
                <a:close/>
                <a:moveTo>
                  <a:pt x="3366910" y="684029"/>
                </a:moveTo>
                <a:cubicBezTo>
                  <a:pt x="3366910" y="684029"/>
                  <a:pt x="3367550" y="684740"/>
                  <a:pt x="3367977" y="685452"/>
                </a:cubicBezTo>
                <a:cubicBezTo>
                  <a:pt x="3368617" y="686305"/>
                  <a:pt x="3369257" y="687301"/>
                  <a:pt x="3369044" y="688155"/>
                </a:cubicBezTo>
                <a:cubicBezTo>
                  <a:pt x="3369044" y="690858"/>
                  <a:pt x="3364349" y="689720"/>
                  <a:pt x="3363282" y="690431"/>
                </a:cubicBezTo>
                <a:cubicBezTo>
                  <a:pt x="3361788" y="690004"/>
                  <a:pt x="3360294" y="689577"/>
                  <a:pt x="3360721" y="688013"/>
                </a:cubicBezTo>
                <a:cubicBezTo>
                  <a:pt x="3361147" y="686305"/>
                  <a:pt x="3360721" y="685309"/>
                  <a:pt x="3363282" y="685025"/>
                </a:cubicBezTo>
                <a:cubicBezTo>
                  <a:pt x="3364349" y="684456"/>
                  <a:pt x="3365842" y="684740"/>
                  <a:pt x="3366910" y="684029"/>
                </a:cubicBezTo>
                <a:close/>
                <a:moveTo>
                  <a:pt x="3401057" y="683318"/>
                </a:moveTo>
                <a:cubicBezTo>
                  <a:pt x="3403191" y="683033"/>
                  <a:pt x="3405538" y="683460"/>
                  <a:pt x="3408527" y="684456"/>
                </a:cubicBezTo>
                <a:cubicBezTo>
                  <a:pt x="3410661" y="689862"/>
                  <a:pt x="3405752" y="700106"/>
                  <a:pt x="3398496" y="697260"/>
                </a:cubicBezTo>
                <a:cubicBezTo>
                  <a:pt x="3396148" y="694557"/>
                  <a:pt x="3393801" y="691854"/>
                  <a:pt x="3395295" y="686021"/>
                </a:cubicBezTo>
                <a:cubicBezTo>
                  <a:pt x="3397215" y="684456"/>
                  <a:pt x="3399136" y="683460"/>
                  <a:pt x="3401057" y="683318"/>
                </a:cubicBezTo>
                <a:close/>
                <a:moveTo>
                  <a:pt x="3221144" y="682037"/>
                </a:moveTo>
                <a:cubicBezTo>
                  <a:pt x="3223492" y="683318"/>
                  <a:pt x="3223705" y="684456"/>
                  <a:pt x="3222425" y="685594"/>
                </a:cubicBezTo>
                <a:cubicBezTo>
                  <a:pt x="3222425" y="685594"/>
                  <a:pt x="3221357" y="686732"/>
                  <a:pt x="3220077" y="687870"/>
                </a:cubicBezTo>
                <a:cubicBezTo>
                  <a:pt x="3219010" y="689008"/>
                  <a:pt x="3219010" y="690289"/>
                  <a:pt x="3219010" y="690289"/>
                </a:cubicBezTo>
                <a:cubicBezTo>
                  <a:pt x="3217943" y="691427"/>
                  <a:pt x="3216876" y="691427"/>
                  <a:pt x="3215595" y="690147"/>
                </a:cubicBezTo>
                <a:cubicBezTo>
                  <a:pt x="3215595" y="690147"/>
                  <a:pt x="3216662" y="687728"/>
                  <a:pt x="3216662" y="687728"/>
                </a:cubicBezTo>
                <a:cubicBezTo>
                  <a:pt x="3218796" y="685452"/>
                  <a:pt x="3220077" y="684313"/>
                  <a:pt x="3221144" y="682037"/>
                </a:cubicBezTo>
                <a:close/>
                <a:moveTo>
                  <a:pt x="1739764" y="682031"/>
                </a:moveTo>
                <a:cubicBezTo>
                  <a:pt x="1742552" y="684044"/>
                  <a:pt x="1740797" y="690550"/>
                  <a:pt x="1737493" y="692254"/>
                </a:cubicBezTo>
                <a:cubicBezTo>
                  <a:pt x="1738215" y="689466"/>
                  <a:pt x="1737699" y="687452"/>
                  <a:pt x="1737596" y="685903"/>
                </a:cubicBezTo>
                <a:cubicBezTo>
                  <a:pt x="1737493" y="684354"/>
                  <a:pt x="1737699" y="683115"/>
                  <a:pt x="1739764" y="682031"/>
                </a:cubicBezTo>
                <a:close/>
                <a:moveTo>
                  <a:pt x="3256785" y="679476"/>
                </a:moveTo>
                <a:cubicBezTo>
                  <a:pt x="3256999" y="679476"/>
                  <a:pt x="3257212" y="679761"/>
                  <a:pt x="3257852" y="680330"/>
                </a:cubicBezTo>
                <a:cubicBezTo>
                  <a:pt x="3256999" y="681753"/>
                  <a:pt x="3256785" y="680330"/>
                  <a:pt x="3255718" y="680472"/>
                </a:cubicBezTo>
                <a:cubicBezTo>
                  <a:pt x="3256145" y="679761"/>
                  <a:pt x="3256358" y="679476"/>
                  <a:pt x="3256785" y="679476"/>
                </a:cubicBezTo>
                <a:close/>
                <a:moveTo>
                  <a:pt x="2146779" y="677022"/>
                </a:moveTo>
                <a:lnTo>
                  <a:pt x="2133583" y="679862"/>
                </a:lnTo>
                <a:cubicBezTo>
                  <a:pt x="2133067" y="676919"/>
                  <a:pt x="2129247" y="679243"/>
                  <a:pt x="2128730" y="677539"/>
                </a:cubicBezTo>
                <a:cubicBezTo>
                  <a:pt x="2126252" y="679862"/>
                  <a:pt x="2123568" y="681411"/>
                  <a:pt x="2120780" y="682650"/>
                </a:cubicBezTo>
                <a:lnTo>
                  <a:pt x="2112932" y="685129"/>
                </a:lnTo>
                <a:lnTo>
                  <a:pt x="2113448" y="686678"/>
                </a:lnTo>
                <a:cubicBezTo>
                  <a:pt x="2114068" y="688846"/>
                  <a:pt x="2114378" y="691015"/>
                  <a:pt x="2114275" y="693183"/>
                </a:cubicBezTo>
                <a:lnTo>
                  <a:pt x="2112416" y="699224"/>
                </a:lnTo>
                <a:lnTo>
                  <a:pt x="2115720" y="695817"/>
                </a:lnTo>
                <a:cubicBezTo>
                  <a:pt x="2116959" y="693648"/>
                  <a:pt x="2118198" y="691479"/>
                  <a:pt x="2120677" y="690086"/>
                </a:cubicBezTo>
                <a:cubicBezTo>
                  <a:pt x="2120057" y="690086"/>
                  <a:pt x="2121193" y="692409"/>
                  <a:pt x="2121193" y="692409"/>
                </a:cubicBezTo>
                <a:cubicBezTo>
                  <a:pt x="2123877" y="690086"/>
                  <a:pt x="2129247" y="682186"/>
                  <a:pt x="2132551" y="689621"/>
                </a:cubicBezTo>
                <a:cubicBezTo>
                  <a:pt x="2130382" y="689001"/>
                  <a:pt x="2128214" y="689466"/>
                  <a:pt x="2126562" y="690705"/>
                </a:cubicBezTo>
                <a:cubicBezTo>
                  <a:pt x="2124910" y="691789"/>
                  <a:pt x="2123877" y="694113"/>
                  <a:pt x="2125013" y="695817"/>
                </a:cubicBezTo>
                <a:cubicBezTo>
                  <a:pt x="2127078" y="692409"/>
                  <a:pt x="2133583" y="691170"/>
                  <a:pt x="2141121" y="690086"/>
                </a:cubicBezTo>
                <a:cubicBezTo>
                  <a:pt x="2144426" y="689001"/>
                  <a:pt x="2148142" y="688382"/>
                  <a:pt x="2151963" y="687297"/>
                </a:cubicBezTo>
                <a:lnTo>
                  <a:pt x="2152580" y="687054"/>
                </a:lnTo>
                <a:close/>
                <a:moveTo>
                  <a:pt x="3666338" y="676916"/>
                </a:moveTo>
                <a:cubicBezTo>
                  <a:pt x="3666764" y="681183"/>
                  <a:pt x="3671887" y="680330"/>
                  <a:pt x="3669966" y="685167"/>
                </a:cubicBezTo>
                <a:cubicBezTo>
                  <a:pt x="3668045" y="686590"/>
                  <a:pt x="3665697" y="687017"/>
                  <a:pt x="3661429" y="685594"/>
                </a:cubicBezTo>
                <a:cubicBezTo>
                  <a:pt x="3659508" y="679192"/>
                  <a:pt x="3662923" y="678054"/>
                  <a:pt x="3666338" y="676916"/>
                </a:cubicBezTo>
                <a:close/>
                <a:moveTo>
                  <a:pt x="3533804" y="674212"/>
                </a:moveTo>
                <a:cubicBezTo>
                  <a:pt x="3535085" y="674212"/>
                  <a:pt x="3536365" y="674639"/>
                  <a:pt x="3537859" y="675493"/>
                </a:cubicBezTo>
                <a:cubicBezTo>
                  <a:pt x="3539780" y="687728"/>
                  <a:pt x="3525907" y="692565"/>
                  <a:pt x="3520999" y="686305"/>
                </a:cubicBezTo>
                <a:cubicBezTo>
                  <a:pt x="3519292" y="684313"/>
                  <a:pt x="3518865" y="681183"/>
                  <a:pt x="3520145" y="676489"/>
                </a:cubicBezTo>
                <a:cubicBezTo>
                  <a:pt x="3526121" y="676773"/>
                  <a:pt x="3529749" y="674070"/>
                  <a:pt x="3533804" y="674212"/>
                </a:cubicBezTo>
                <a:close/>
                <a:moveTo>
                  <a:pt x="3213674" y="672078"/>
                </a:moveTo>
                <a:cubicBezTo>
                  <a:pt x="3214955" y="673359"/>
                  <a:pt x="3214955" y="672078"/>
                  <a:pt x="3216022" y="672221"/>
                </a:cubicBezTo>
                <a:cubicBezTo>
                  <a:pt x="3214955" y="673359"/>
                  <a:pt x="3214955" y="677058"/>
                  <a:pt x="3214101" y="679476"/>
                </a:cubicBezTo>
                <a:cubicBezTo>
                  <a:pt x="3212821" y="679476"/>
                  <a:pt x="3211754" y="680614"/>
                  <a:pt x="3210686" y="680614"/>
                </a:cubicBezTo>
                <a:cubicBezTo>
                  <a:pt x="3210686" y="679334"/>
                  <a:pt x="3209620" y="676916"/>
                  <a:pt x="3210686" y="676916"/>
                </a:cubicBezTo>
                <a:cubicBezTo>
                  <a:pt x="3210686" y="675777"/>
                  <a:pt x="3212821" y="675777"/>
                  <a:pt x="3212821" y="675777"/>
                </a:cubicBezTo>
                <a:cubicBezTo>
                  <a:pt x="3212821" y="674497"/>
                  <a:pt x="3212607" y="673217"/>
                  <a:pt x="3213674" y="672078"/>
                </a:cubicBezTo>
                <a:close/>
                <a:moveTo>
                  <a:pt x="1812663" y="667316"/>
                </a:moveTo>
                <a:cubicBezTo>
                  <a:pt x="1821543" y="673976"/>
                  <a:pt x="1829184" y="675215"/>
                  <a:pt x="1838064" y="679243"/>
                </a:cubicBezTo>
                <a:cubicBezTo>
                  <a:pt x="1838064" y="681876"/>
                  <a:pt x="1836825" y="684509"/>
                  <a:pt x="1833005" y="688536"/>
                </a:cubicBezTo>
                <a:cubicBezTo>
                  <a:pt x="1825364" y="677849"/>
                  <a:pt x="1820304" y="692564"/>
                  <a:pt x="1814005" y="684509"/>
                </a:cubicBezTo>
                <a:cubicBezTo>
                  <a:pt x="1813076" y="680637"/>
                  <a:pt x="1810701" y="676610"/>
                  <a:pt x="1811114" y="671963"/>
                </a:cubicBezTo>
                <a:cubicBezTo>
                  <a:pt x="1811321" y="670568"/>
                  <a:pt x="1811734" y="669020"/>
                  <a:pt x="1812663" y="667316"/>
                </a:cubicBezTo>
                <a:close/>
                <a:moveTo>
                  <a:pt x="3231602" y="666245"/>
                </a:moveTo>
                <a:cubicBezTo>
                  <a:pt x="3232455" y="666245"/>
                  <a:pt x="3233523" y="666530"/>
                  <a:pt x="3234376" y="667241"/>
                </a:cubicBezTo>
                <a:cubicBezTo>
                  <a:pt x="3236723" y="668522"/>
                  <a:pt x="3235657" y="670798"/>
                  <a:pt x="3233523" y="673074"/>
                </a:cubicBezTo>
                <a:cubicBezTo>
                  <a:pt x="3230321" y="679049"/>
                  <a:pt x="3226907" y="680046"/>
                  <a:pt x="3223278" y="676347"/>
                </a:cubicBezTo>
                <a:cubicBezTo>
                  <a:pt x="3223278" y="675066"/>
                  <a:pt x="3224132" y="671509"/>
                  <a:pt x="3223065" y="671509"/>
                </a:cubicBezTo>
                <a:cubicBezTo>
                  <a:pt x="3225412" y="668806"/>
                  <a:pt x="3228614" y="666388"/>
                  <a:pt x="3231602" y="666245"/>
                </a:cubicBezTo>
                <a:close/>
                <a:moveTo>
                  <a:pt x="2950741" y="665961"/>
                </a:moveTo>
                <a:lnTo>
                  <a:pt x="2955650" y="668664"/>
                </a:lnTo>
                <a:lnTo>
                  <a:pt x="2959065" y="668948"/>
                </a:lnTo>
                <a:cubicBezTo>
                  <a:pt x="2961199" y="667810"/>
                  <a:pt x="2964827" y="667953"/>
                  <a:pt x="2966961" y="669375"/>
                </a:cubicBezTo>
                <a:cubicBezTo>
                  <a:pt x="2969522" y="671794"/>
                  <a:pt x="2969522" y="674212"/>
                  <a:pt x="2968455" y="675351"/>
                </a:cubicBezTo>
                <a:cubicBezTo>
                  <a:pt x="2960985" y="685736"/>
                  <a:pt x="2950528" y="680472"/>
                  <a:pt x="2948394" y="681468"/>
                </a:cubicBezTo>
                <a:cubicBezTo>
                  <a:pt x="2945619" y="678623"/>
                  <a:pt x="2944766" y="678054"/>
                  <a:pt x="2946899" y="675066"/>
                </a:cubicBezTo>
                <a:lnTo>
                  <a:pt x="2949247" y="671936"/>
                </a:lnTo>
                <a:lnTo>
                  <a:pt x="2947540" y="669375"/>
                </a:lnTo>
                <a:cubicBezTo>
                  <a:pt x="2948607" y="668237"/>
                  <a:pt x="2949674" y="667099"/>
                  <a:pt x="2950741" y="665961"/>
                </a:cubicBezTo>
                <a:close/>
                <a:moveTo>
                  <a:pt x="3108245" y="665250"/>
                </a:moveTo>
                <a:cubicBezTo>
                  <a:pt x="3113794" y="663969"/>
                  <a:pt x="3119983" y="665250"/>
                  <a:pt x="3123398" y="670513"/>
                </a:cubicBezTo>
                <a:cubicBezTo>
                  <a:pt x="3122758" y="681468"/>
                  <a:pt x="3108031" y="687585"/>
                  <a:pt x="3100135" y="686875"/>
                </a:cubicBezTo>
                <a:cubicBezTo>
                  <a:pt x="3096507" y="682891"/>
                  <a:pt x="3095440" y="678907"/>
                  <a:pt x="3096293" y="675493"/>
                </a:cubicBezTo>
                <a:cubicBezTo>
                  <a:pt x="3097574" y="670513"/>
                  <a:pt x="3102483" y="666672"/>
                  <a:pt x="3108245" y="665250"/>
                </a:cubicBezTo>
                <a:close/>
                <a:moveTo>
                  <a:pt x="3397429" y="664396"/>
                </a:moveTo>
                <a:cubicBezTo>
                  <a:pt x="3403618" y="665250"/>
                  <a:pt x="3406819" y="674924"/>
                  <a:pt x="3404258" y="679476"/>
                </a:cubicBezTo>
                <a:cubicBezTo>
                  <a:pt x="3403405" y="680899"/>
                  <a:pt x="3401911" y="681895"/>
                  <a:pt x="3399563" y="681753"/>
                </a:cubicBezTo>
                <a:cubicBezTo>
                  <a:pt x="3393160" y="677342"/>
                  <a:pt x="3397642" y="672078"/>
                  <a:pt x="3397429" y="664396"/>
                </a:cubicBezTo>
                <a:close/>
                <a:moveTo>
                  <a:pt x="3293066" y="662973"/>
                </a:moveTo>
                <a:cubicBezTo>
                  <a:pt x="3310354" y="674070"/>
                  <a:pt x="3314622" y="699109"/>
                  <a:pt x="3322305" y="719596"/>
                </a:cubicBezTo>
                <a:cubicBezTo>
                  <a:pt x="3318037" y="719881"/>
                  <a:pt x="3316330" y="722868"/>
                  <a:pt x="3309713" y="721873"/>
                </a:cubicBezTo>
                <a:cubicBezTo>
                  <a:pt x="3305445" y="700248"/>
                  <a:pt x="3296054" y="681041"/>
                  <a:pt x="3293066" y="662973"/>
                </a:cubicBezTo>
                <a:close/>
                <a:moveTo>
                  <a:pt x="2202145" y="659881"/>
                </a:moveTo>
                <a:cubicBezTo>
                  <a:pt x="2197912" y="660500"/>
                  <a:pt x="2193576" y="662204"/>
                  <a:pt x="2190374" y="662669"/>
                </a:cubicBezTo>
                <a:cubicBezTo>
                  <a:pt x="2190891" y="666232"/>
                  <a:pt x="2198428" y="659881"/>
                  <a:pt x="2197396" y="664992"/>
                </a:cubicBezTo>
                <a:cubicBezTo>
                  <a:pt x="2193059" y="665612"/>
                  <a:pt x="2190271" y="666696"/>
                  <a:pt x="2187587" y="667935"/>
                </a:cubicBezTo>
                <a:cubicBezTo>
                  <a:pt x="2190271" y="659416"/>
                  <a:pt x="2173028" y="666696"/>
                  <a:pt x="2168691" y="667316"/>
                </a:cubicBezTo>
                <a:cubicBezTo>
                  <a:pt x="2169207" y="669020"/>
                  <a:pt x="2170859" y="669020"/>
                  <a:pt x="2172511" y="669020"/>
                </a:cubicBezTo>
                <a:cubicBezTo>
                  <a:pt x="2174163" y="668400"/>
                  <a:pt x="2176332" y="667935"/>
                  <a:pt x="2178500" y="667935"/>
                </a:cubicBezTo>
                <a:cubicBezTo>
                  <a:pt x="2176848" y="669020"/>
                  <a:pt x="2175196" y="670104"/>
                  <a:pt x="2173543" y="670723"/>
                </a:cubicBezTo>
                <a:cubicBezTo>
                  <a:pt x="2171892" y="671808"/>
                  <a:pt x="2170342" y="672427"/>
                  <a:pt x="2168691" y="673047"/>
                </a:cubicBezTo>
                <a:lnTo>
                  <a:pt x="2163749" y="673788"/>
                </a:lnTo>
                <a:lnTo>
                  <a:pt x="2167757" y="685462"/>
                </a:lnTo>
                <a:lnTo>
                  <a:pt x="2175196" y="682805"/>
                </a:lnTo>
                <a:cubicBezTo>
                  <a:pt x="2179533" y="682186"/>
                  <a:pt x="2183250" y="681566"/>
                  <a:pt x="2187587" y="680946"/>
                </a:cubicBezTo>
                <a:cubicBezTo>
                  <a:pt x="2191407" y="680946"/>
                  <a:pt x="2195228" y="680482"/>
                  <a:pt x="2198945" y="679862"/>
                </a:cubicBezTo>
                <a:lnTo>
                  <a:pt x="2201096" y="679318"/>
                </a:lnTo>
                <a:lnTo>
                  <a:pt x="2204519" y="677111"/>
                </a:lnTo>
                <a:cubicBezTo>
                  <a:pt x="2209427" y="676026"/>
                  <a:pt x="2214870" y="674852"/>
                  <a:pt x="2219992" y="668664"/>
                </a:cubicBezTo>
                <a:lnTo>
                  <a:pt x="2221575" y="669512"/>
                </a:lnTo>
                <a:lnTo>
                  <a:pt x="2228041" y="660288"/>
                </a:lnTo>
                <a:lnTo>
                  <a:pt x="2222177" y="661120"/>
                </a:lnTo>
                <a:cubicBezTo>
                  <a:pt x="2219493" y="661585"/>
                  <a:pt x="2216808" y="662204"/>
                  <a:pt x="2214020" y="662669"/>
                </a:cubicBezTo>
                <a:cubicBezTo>
                  <a:pt x="2211335" y="659881"/>
                  <a:pt x="2207102" y="659261"/>
                  <a:pt x="2202145" y="659881"/>
                </a:cubicBezTo>
                <a:close/>
                <a:moveTo>
                  <a:pt x="3498590" y="657852"/>
                </a:moveTo>
                <a:cubicBezTo>
                  <a:pt x="3501151" y="658136"/>
                  <a:pt x="3503285" y="659274"/>
                  <a:pt x="3504779" y="661266"/>
                </a:cubicBezTo>
                <a:cubicBezTo>
                  <a:pt x="3505846" y="662546"/>
                  <a:pt x="3506486" y="664253"/>
                  <a:pt x="3506700" y="666245"/>
                </a:cubicBezTo>
                <a:lnTo>
                  <a:pt x="3506486" y="666530"/>
                </a:lnTo>
                <a:lnTo>
                  <a:pt x="3508194" y="665250"/>
                </a:lnTo>
                <a:cubicBezTo>
                  <a:pt x="3509047" y="664823"/>
                  <a:pt x="3509901" y="664823"/>
                  <a:pt x="3510541" y="665392"/>
                </a:cubicBezTo>
                <a:cubicBezTo>
                  <a:pt x="3510755" y="666672"/>
                  <a:pt x="3511822" y="666530"/>
                  <a:pt x="3512035" y="667668"/>
                </a:cubicBezTo>
                <a:cubicBezTo>
                  <a:pt x="3513529" y="670087"/>
                  <a:pt x="3513743" y="671367"/>
                  <a:pt x="3512676" y="672647"/>
                </a:cubicBezTo>
                <a:cubicBezTo>
                  <a:pt x="3512889" y="673786"/>
                  <a:pt x="3511822" y="673786"/>
                  <a:pt x="3510755" y="675066"/>
                </a:cubicBezTo>
                <a:cubicBezTo>
                  <a:pt x="3509688" y="675209"/>
                  <a:pt x="3508407" y="674070"/>
                  <a:pt x="3508407" y="674070"/>
                </a:cubicBezTo>
                <a:cubicBezTo>
                  <a:pt x="3507127" y="672932"/>
                  <a:pt x="3506913" y="672932"/>
                  <a:pt x="3506060" y="674212"/>
                </a:cubicBezTo>
                <a:cubicBezTo>
                  <a:pt x="3506060" y="674212"/>
                  <a:pt x="3505846" y="672932"/>
                  <a:pt x="3505846" y="672932"/>
                </a:cubicBezTo>
                <a:cubicBezTo>
                  <a:pt x="3506486" y="672932"/>
                  <a:pt x="3506486" y="672932"/>
                  <a:pt x="3506060" y="672790"/>
                </a:cubicBezTo>
                <a:lnTo>
                  <a:pt x="3505206" y="672221"/>
                </a:lnTo>
                <a:lnTo>
                  <a:pt x="3504352" y="675493"/>
                </a:lnTo>
                <a:cubicBezTo>
                  <a:pt x="3499870" y="680188"/>
                  <a:pt x="3488132" y="675919"/>
                  <a:pt x="3487065" y="669944"/>
                </a:cubicBezTo>
                <a:cubicBezTo>
                  <a:pt x="3488346" y="666672"/>
                  <a:pt x="3489626" y="663542"/>
                  <a:pt x="3490907" y="660270"/>
                </a:cubicBezTo>
                <a:cubicBezTo>
                  <a:pt x="3493468" y="658421"/>
                  <a:pt x="3496029" y="657567"/>
                  <a:pt x="3498590" y="657852"/>
                </a:cubicBezTo>
                <a:close/>
                <a:moveTo>
                  <a:pt x="3797591" y="653157"/>
                </a:moveTo>
                <a:cubicBezTo>
                  <a:pt x="3798658" y="653299"/>
                  <a:pt x="3799725" y="654295"/>
                  <a:pt x="3800792" y="655433"/>
                </a:cubicBezTo>
                <a:cubicBezTo>
                  <a:pt x="3802927" y="657852"/>
                  <a:pt x="3801646" y="660128"/>
                  <a:pt x="3801646" y="660128"/>
                </a:cubicBezTo>
                <a:cubicBezTo>
                  <a:pt x="3798872" y="663685"/>
                  <a:pt x="3795243" y="664823"/>
                  <a:pt x="3792042" y="662404"/>
                </a:cubicBezTo>
                <a:cubicBezTo>
                  <a:pt x="3790975" y="659986"/>
                  <a:pt x="3792469" y="657567"/>
                  <a:pt x="3793963" y="655291"/>
                </a:cubicBezTo>
                <a:cubicBezTo>
                  <a:pt x="3795243" y="653441"/>
                  <a:pt x="3796311" y="653014"/>
                  <a:pt x="3797591" y="653157"/>
                </a:cubicBezTo>
                <a:close/>
                <a:moveTo>
                  <a:pt x="3593135" y="651734"/>
                </a:moveTo>
                <a:cubicBezTo>
                  <a:pt x="3594842" y="651592"/>
                  <a:pt x="3596763" y="651592"/>
                  <a:pt x="3598684" y="652018"/>
                </a:cubicBezTo>
                <a:cubicBezTo>
                  <a:pt x="3601245" y="652445"/>
                  <a:pt x="3603592" y="653441"/>
                  <a:pt x="3606154" y="655433"/>
                </a:cubicBezTo>
                <a:cubicBezTo>
                  <a:pt x="3593135" y="670371"/>
                  <a:pt x="3589293" y="683887"/>
                  <a:pt x="3580543" y="699109"/>
                </a:cubicBezTo>
                <a:cubicBezTo>
                  <a:pt x="3576061" y="698825"/>
                  <a:pt x="3571793" y="696264"/>
                  <a:pt x="3566030" y="688866"/>
                </a:cubicBezTo>
                <a:cubicBezTo>
                  <a:pt x="3585665" y="676773"/>
                  <a:pt x="3562189" y="665676"/>
                  <a:pt x="3576915" y="655291"/>
                </a:cubicBezTo>
                <a:cubicBezTo>
                  <a:pt x="3582250" y="654437"/>
                  <a:pt x="3587586" y="652161"/>
                  <a:pt x="3593135" y="651734"/>
                </a:cubicBezTo>
                <a:close/>
                <a:moveTo>
                  <a:pt x="3392947" y="651734"/>
                </a:moveTo>
                <a:cubicBezTo>
                  <a:pt x="3392947" y="653014"/>
                  <a:pt x="3393374" y="655291"/>
                  <a:pt x="3395722" y="656429"/>
                </a:cubicBezTo>
                <a:cubicBezTo>
                  <a:pt x="3393801" y="658990"/>
                  <a:pt x="3391880" y="661551"/>
                  <a:pt x="3389319" y="659274"/>
                </a:cubicBezTo>
                <a:cubicBezTo>
                  <a:pt x="3388039" y="658136"/>
                  <a:pt x="3386758" y="656998"/>
                  <a:pt x="3386331" y="654579"/>
                </a:cubicBezTo>
                <a:cubicBezTo>
                  <a:pt x="3388252" y="652018"/>
                  <a:pt x="3391880" y="653014"/>
                  <a:pt x="3392947" y="651734"/>
                </a:cubicBezTo>
                <a:close/>
                <a:moveTo>
                  <a:pt x="3038884" y="648746"/>
                </a:moveTo>
                <a:cubicBezTo>
                  <a:pt x="3042085" y="648035"/>
                  <a:pt x="3045926" y="647893"/>
                  <a:pt x="3050408" y="648888"/>
                </a:cubicBezTo>
                <a:lnTo>
                  <a:pt x="3052756" y="659416"/>
                </a:lnTo>
                <a:lnTo>
                  <a:pt x="3059585" y="654579"/>
                </a:lnTo>
                <a:cubicBezTo>
                  <a:pt x="3061719" y="657424"/>
                  <a:pt x="3064280" y="654437"/>
                  <a:pt x="3066201" y="658421"/>
                </a:cubicBezTo>
                <a:cubicBezTo>
                  <a:pt x="3065561" y="663258"/>
                  <a:pt x="3060226" y="668095"/>
                  <a:pt x="3054036" y="670513"/>
                </a:cubicBezTo>
                <a:lnTo>
                  <a:pt x="3053183" y="670513"/>
                </a:lnTo>
                <a:lnTo>
                  <a:pt x="3053183" y="673643"/>
                </a:lnTo>
                <a:cubicBezTo>
                  <a:pt x="3033548" y="686448"/>
                  <a:pt x="3023944" y="674497"/>
                  <a:pt x="3025651" y="662973"/>
                </a:cubicBezTo>
                <a:cubicBezTo>
                  <a:pt x="3026079" y="659132"/>
                  <a:pt x="3027786" y="655433"/>
                  <a:pt x="3030987" y="652730"/>
                </a:cubicBezTo>
                <a:cubicBezTo>
                  <a:pt x="3033121" y="650880"/>
                  <a:pt x="3035682" y="649458"/>
                  <a:pt x="3038884" y="648746"/>
                </a:cubicBezTo>
                <a:close/>
                <a:moveTo>
                  <a:pt x="3332336" y="647750"/>
                </a:moveTo>
                <a:cubicBezTo>
                  <a:pt x="3333190" y="648035"/>
                  <a:pt x="3333617" y="648888"/>
                  <a:pt x="3334257" y="650596"/>
                </a:cubicBezTo>
                <a:lnTo>
                  <a:pt x="3334470" y="651307"/>
                </a:lnTo>
                <a:lnTo>
                  <a:pt x="3336391" y="650311"/>
                </a:lnTo>
                <a:cubicBezTo>
                  <a:pt x="3336391" y="651592"/>
                  <a:pt x="3336604" y="652730"/>
                  <a:pt x="3337672" y="652730"/>
                </a:cubicBezTo>
                <a:lnTo>
                  <a:pt x="3335324" y="654579"/>
                </a:lnTo>
                <a:lnTo>
                  <a:pt x="3335537" y="655717"/>
                </a:lnTo>
                <a:lnTo>
                  <a:pt x="3335324" y="659559"/>
                </a:lnTo>
                <a:lnTo>
                  <a:pt x="3335750" y="659843"/>
                </a:lnTo>
                <a:cubicBezTo>
                  <a:pt x="3335750" y="659843"/>
                  <a:pt x="3340659" y="666103"/>
                  <a:pt x="3336177" y="671794"/>
                </a:cubicBezTo>
                <a:cubicBezTo>
                  <a:pt x="3334897" y="670513"/>
                  <a:pt x="3328281" y="677342"/>
                  <a:pt x="3323586" y="674782"/>
                </a:cubicBezTo>
                <a:cubicBezTo>
                  <a:pt x="3321238" y="673501"/>
                  <a:pt x="3319958" y="672221"/>
                  <a:pt x="3317610" y="670940"/>
                </a:cubicBezTo>
                <a:lnTo>
                  <a:pt x="3316756" y="667668"/>
                </a:lnTo>
                <a:lnTo>
                  <a:pt x="3310140" y="665107"/>
                </a:lnTo>
                <a:cubicBezTo>
                  <a:pt x="3308859" y="663969"/>
                  <a:pt x="3305872" y="659274"/>
                  <a:pt x="3306939" y="657994"/>
                </a:cubicBezTo>
                <a:cubicBezTo>
                  <a:pt x="3307792" y="656714"/>
                  <a:pt x="3309073" y="656714"/>
                  <a:pt x="3310140" y="656714"/>
                </a:cubicBezTo>
                <a:lnTo>
                  <a:pt x="3316970" y="659559"/>
                </a:lnTo>
                <a:lnTo>
                  <a:pt x="3318037" y="656714"/>
                </a:lnTo>
                <a:cubicBezTo>
                  <a:pt x="3319530" y="655006"/>
                  <a:pt x="3321025" y="654010"/>
                  <a:pt x="3322305" y="653726"/>
                </a:cubicBezTo>
                <a:lnTo>
                  <a:pt x="3324013" y="653726"/>
                </a:lnTo>
                <a:lnTo>
                  <a:pt x="3323799" y="652303"/>
                </a:lnTo>
                <a:lnTo>
                  <a:pt x="3327214" y="650454"/>
                </a:lnTo>
                <a:lnTo>
                  <a:pt x="3328708" y="648177"/>
                </a:lnTo>
                <a:cubicBezTo>
                  <a:pt x="3330415" y="647750"/>
                  <a:pt x="3331482" y="647466"/>
                  <a:pt x="3332336" y="647750"/>
                </a:cubicBezTo>
                <a:close/>
                <a:moveTo>
                  <a:pt x="3349409" y="645901"/>
                </a:moveTo>
                <a:cubicBezTo>
                  <a:pt x="3353464" y="646470"/>
                  <a:pt x="3359654" y="650027"/>
                  <a:pt x="3362641" y="652445"/>
                </a:cubicBezTo>
                <a:cubicBezTo>
                  <a:pt x="3359654" y="655006"/>
                  <a:pt x="3349836" y="649742"/>
                  <a:pt x="3345995" y="646328"/>
                </a:cubicBezTo>
                <a:cubicBezTo>
                  <a:pt x="3346635" y="645758"/>
                  <a:pt x="3347915" y="645616"/>
                  <a:pt x="3349409" y="645901"/>
                </a:cubicBezTo>
                <a:close/>
                <a:moveTo>
                  <a:pt x="3258920" y="644336"/>
                </a:moveTo>
                <a:cubicBezTo>
                  <a:pt x="3260200" y="645474"/>
                  <a:pt x="3261694" y="647750"/>
                  <a:pt x="3259773" y="650169"/>
                </a:cubicBezTo>
                <a:cubicBezTo>
                  <a:pt x="3257852" y="653868"/>
                  <a:pt x="3254438" y="654152"/>
                  <a:pt x="3250809" y="653157"/>
                </a:cubicBezTo>
                <a:cubicBezTo>
                  <a:pt x="3248675" y="654437"/>
                  <a:pt x="3247608" y="656856"/>
                  <a:pt x="3245261" y="655860"/>
                </a:cubicBezTo>
                <a:cubicBezTo>
                  <a:pt x="3248462" y="653299"/>
                  <a:pt x="3249316" y="652018"/>
                  <a:pt x="3251450" y="650596"/>
                </a:cubicBezTo>
                <a:cubicBezTo>
                  <a:pt x="3251450" y="649458"/>
                  <a:pt x="3251236" y="648320"/>
                  <a:pt x="3252304" y="647039"/>
                </a:cubicBezTo>
                <a:cubicBezTo>
                  <a:pt x="3254224" y="644620"/>
                  <a:pt x="3256572" y="645616"/>
                  <a:pt x="3258920" y="644336"/>
                </a:cubicBezTo>
                <a:close/>
                <a:moveTo>
                  <a:pt x="2018114" y="643568"/>
                </a:moveTo>
                <a:cubicBezTo>
                  <a:pt x="2023816" y="642697"/>
                  <a:pt x="2027978" y="654459"/>
                  <a:pt x="2032083" y="660036"/>
                </a:cubicBezTo>
                <a:cubicBezTo>
                  <a:pt x="2028985" y="665147"/>
                  <a:pt x="2027539" y="666386"/>
                  <a:pt x="2022273" y="668400"/>
                </a:cubicBezTo>
                <a:cubicBezTo>
                  <a:pt x="2015252" y="663444"/>
                  <a:pt x="2013496" y="656473"/>
                  <a:pt x="2011844" y="649348"/>
                </a:cubicBezTo>
                <a:cubicBezTo>
                  <a:pt x="2014142" y="645553"/>
                  <a:pt x="2016213" y="643858"/>
                  <a:pt x="2018114" y="643568"/>
                </a:cubicBezTo>
                <a:close/>
                <a:moveTo>
                  <a:pt x="3465723" y="639499"/>
                </a:moveTo>
                <a:cubicBezTo>
                  <a:pt x="3468071" y="639072"/>
                  <a:pt x="3470632" y="640068"/>
                  <a:pt x="3473407" y="642344"/>
                </a:cubicBezTo>
                <a:cubicBezTo>
                  <a:pt x="3472766" y="645047"/>
                  <a:pt x="3473193" y="647323"/>
                  <a:pt x="3472766" y="651165"/>
                </a:cubicBezTo>
                <a:cubicBezTo>
                  <a:pt x="3469351" y="652161"/>
                  <a:pt x="3461881" y="650738"/>
                  <a:pt x="3459748" y="645190"/>
                </a:cubicBezTo>
                <a:cubicBezTo>
                  <a:pt x="3461455" y="641633"/>
                  <a:pt x="3463376" y="639784"/>
                  <a:pt x="3465723" y="639499"/>
                </a:cubicBezTo>
                <a:close/>
                <a:moveTo>
                  <a:pt x="3521212" y="637507"/>
                </a:moveTo>
                <a:cubicBezTo>
                  <a:pt x="3525481" y="637365"/>
                  <a:pt x="3532310" y="639214"/>
                  <a:pt x="3532523" y="640210"/>
                </a:cubicBezTo>
                <a:cubicBezTo>
                  <a:pt x="3533590" y="640068"/>
                  <a:pt x="3533804" y="641348"/>
                  <a:pt x="3534871" y="641206"/>
                </a:cubicBezTo>
                <a:cubicBezTo>
                  <a:pt x="3534871" y="641206"/>
                  <a:pt x="3536152" y="641206"/>
                  <a:pt x="3537432" y="642344"/>
                </a:cubicBezTo>
                <a:cubicBezTo>
                  <a:pt x="3538713" y="643482"/>
                  <a:pt x="3539993" y="644620"/>
                  <a:pt x="3539140" y="647181"/>
                </a:cubicBezTo>
                <a:cubicBezTo>
                  <a:pt x="3529536" y="644051"/>
                  <a:pt x="3524840" y="644336"/>
                  <a:pt x="3517371" y="641064"/>
                </a:cubicBezTo>
                <a:cubicBezTo>
                  <a:pt x="3517157" y="639784"/>
                  <a:pt x="3518438" y="639784"/>
                  <a:pt x="3518224" y="638503"/>
                </a:cubicBezTo>
                <a:cubicBezTo>
                  <a:pt x="3518651" y="637934"/>
                  <a:pt x="3519932" y="637649"/>
                  <a:pt x="3521212" y="637507"/>
                </a:cubicBezTo>
                <a:close/>
                <a:moveTo>
                  <a:pt x="3495389" y="636938"/>
                </a:moveTo>
                <a:cubicBezTo>
                  <a:pt x="3500937" y="637365"/>
                  <a:pt x="3506060" y="639499"/>
                  <a:pt x="3507340" y="647181"/>
                </a:cubicBezTo>
                <a:cubicBezTo>
                  <a:pt x="3498803" y="656998"/>
                  <a:pt x="3477888" y="655575"/>
                  <a:pt x="3480236" y="643482"/>
                </a:cubicBezTo>
                <a:cubicBezTo>
                  <a:pt x="3480449" y="641775"/>
                  <a:pt x="3481303" y="639784"/>
                  <a:pt x="3482583" y="637649"/>
                </a:cubicBezTo>
                <a:cubicBezTo>
                  <a:pt x="3484718" y="637507"/>
                  <a:pt x="3487065" y="637222"/>
                  <a:pt x="3489626" y="637080"/>
                </a:cubicBezTo>
                <a:cubicBezTo>
                  <a:pt x="3491547" y="636938"/>
                  <a:pt x="3493468" y="636796"/>
                  <a:pt x="3495389" y="636938"/>
                </a:cubicBezTo>
                <a:close/>
                <a:moveTo>
                  <a:pt x="2888209" y="635089"/>
                </a:moveTo>
                <a:cubicBezTo>
                  <a:pt x="2889276" y="635231"/>
                  <a:pt x="2890344" y="635657"/>
                  <a:pt x="2890984" y="636654"/>
                </a:cubicBezTo>
                <a:cubicBezTo>
                  <a:pt x="2892691" y="640495"/>
                  <a:pt x="2883941" y="651876"/>
                  <a:pt x="2879245" y="644194"/>
                </a:cubicBezTo>
                <a:cubicBezTo>
                  <a:pt x="2878605" y="643198"/>
                  <a:pt x="2878819" y="641918"/>
                  <a:pt x="2879459" y="640637"/>
                </a:cubicBezTo>
                <a:cubicBezTo>
                  <a:pt x="2880953" y="637649"/>
                  <a:pt x="2885008" y="634662"/>
                  <a:pt x="2888209" y="635089"/>
                </a:cubicBezTo>
                <a:close/>
                <a:moveTo>
                  <a:pt x="2756399" y="630128"/>
                </a:moveTo>
                <a:lnTo>
                  <a:pt x="2767578" y="650930"/>
                </a:lnTo>
                <a:lnTo>
                  <a:pt x="2767910" y="651726"/>
                </a:lnTo>
                <a:lnTo>
                  <a:pt x="2769335" y="653014"/>
                </a:lnTo>
                <a:lnTo>
                  <a:pt x="2770615" y="652018"/>
                </a:lnTo>
                <a:lnTo>
                  <a:pt x="2770402" y="653868"/>
                </a:lnTo>
                <a:lnTo>
                  <a:pt x="2772323" y="655433"/>
                </a:lnTo>
                <a:lnTo>
                  <a:pt x="2773389" y="657709"/>
                </a:lnTo>
                <a:lnTo>
                  <a:pt x="2777871" y="655433"/>
                </a:lnTo>
                <a:cubicBezTo>
                  <a:pt x="2778085" y="656287"/>
                  <a:pt x="2777658" y="656856"/>
                  <a:pt x="2777231" y="657282"/>
                </a:cubicBezTo>
                <a:cubicBezTo>
                  <a:pt x="2776591" y="657567"/>
                  <a:pt x="2775737" y="657852"/>
                  <a:pt x="2774883" y="657994"/>
                </a:cubicBezTo>
                <a:lnTo>
                  <a:pt x="2773603" y="658421"/>
                </a:lnTo>
                <a:lnTo>
                  <a:pt x="2774883" y="660697"/>
                </a:lnTo>
                <a:lnTo>
                  <a:pt x="2772917" y="663704"/>
                </a:lnTo>
                <a:lnTo>
                  <a:pt x="2774651" y="667854"/>
                </a:lnTo>
                <a:lnTo>
                  <a:pt x="2779365" y="670087"/>
                </a:lnTo>
                <a:lnTo>
                  <a:pt x="2775933" y="670920"/>
                </a:lnTo>
                <a:lnTo>
                  <a:pt x="2778709" y="677563"/>
                </a:lnTo>
                <a:lnTo>
                  <a:pt x="2778938" y="677627"/>
                </a:lnTo>
                <a:cubicBezTo>
                  <a:pt x="2784701" y="679192"/>
                  <a:pt x="2789823" y="681611"/>
                  <a:pt x="2793451" y="686875"/>
                </a:cubicBezTo>
                <a:cubicBezTo>
                  <a:pt x="2794518" y="684029"/>
                  <a:pt x="2795585" y="681326"/>
                  <a:pt x="2792810" y="680472"/>
                </a:cubicBezTo>
                <a:cubicBezTo>
                  <a:pt x="2796439" y="678481"/>
                  <a:pt x="2806683" y="686732"/>
                  <a:pt x="2810524" y="690004"/>
                </a:cubicBezTo>
                <a:cubicBezTo>
                  <a:pt x="2812872" y="688724"/>
                  <a:pt x="2826531" y="689720"/>
                  <a:pt x="2820555" y="683745"/>
                </a:cubicBezTo>
                <a:cubicBezTo>
                  <a:pt x="2828878" y="686305"/>
                  <a:pt x="2835921" y="688582"/>
                  <a:pt x="2844458" y="690147"/>
                </a:cubicBezTo>
                <a:lnTo>
                  <a:pt x="2854489" y="692707"/>
                </a:lnTo>
                <a:lnTo>
                  <a:pt x="2855129" y="690431"/>
                </a:lnTo>
                <a:cubicBezTo>
                  <a:pt x="2857690" y="690858"/>
                  <a:pt x="2860038" y="690147"/>
                  <a:pt x="2862599" y="690573"/>
                </a:cubicBezTo>
                <a:lnTo>
                  <a:pt x="2864946" y="695553"/>
                </a:lnTo>
                <a:lnTo>
                  <a:pt x="2869215" y="696691"/>
                </a:lnTo>
                <a:cubicBezTo>
                  <a:pt x="2868575" y="698541"/>
                  <a:pt x="2867507" y="699679"/>
                  <a:pt x="2866440" y="700532"/>
                </a:cubicBezTo>
                <a:lnTo>
                  <a:pt x="2864733" y="701243"/>
                </a:lnTo>
                <a:lnTo>
                  <a:pt x="2863666" y="703378"/>
                </a:lnTo>
                <a:lnTo>
                  <a:pt x="2861745" y="703235"/>
                </a:lnTo>
                <a:lnTo>
                  <a:pt x="2860678" y="704089"/>
                </a:lnTo>
                <a:cubicBezTo>
                  <a:pt x="2860251" y="705085"/>
                  <a:pt x="2860465" y="706508"/>
                  <a:pt x="2861105" y="708784"/>
                </a:cubicBezTo>
                <a:cubicBezTo>
                  <a:pt x="2852995" y="706223"/>
                  <a:pt x="2846379" y="702097"/>
                  <a:pt x="2839123" y="699821"/>
                </a:cubicBezTo>
                <a:cubicBezTo>
                  <a:pt x="2832720" y="697971"/>
                  <a:pt x="2826104" y="696976"/>
                  <a:pt x="2818421" y="701813"/>
                </a:cubicBezTo>
                <a:cubicBezTo>
                  <a:pt x="2815647" y="700959"/>
                  <a:pt x="2817567" y="698398"/>
                  <a:pt x="2817567" y="695411"/>
                </a:cubicBezTo>
                <a:cubicBezTo>
                  <a:pt x="2815433" y="695695"/>
                  <a:pt x="2815220" y="699679"/>
                  <a:pt x="2812445" y="698967"/>
                </a:cubicBezTo>
                <a:cubicBezTo>
                  <a:pt x="2814579" y="701671"/>
                  <a:pt x="2821195" y="705654"/>
                  <a:pt x="2827171" y="708642"/>
                </a:cubicBezTo>
                <a:cubicBezTo>
                  <a:pt x="2833361" y="710491"/>
                  <a:pt x="2840190" y="711629"/>
                  <a:pt x="2843818" y="706508"/>
                </a:cubicBezTo>
                <a:cubicBezTo>
                  <a:pt x="2846165" y="708784"/>
                  <a:pt x="2849367" y="710349"/>
                  <a:pt x="2852355" y="711772"/>
                </a:cubicBezTo>
                <a:lnTo>
                  <a:pt x="2856196" y="714190"/>
                </a:lnTo>
                <a:lnTo>
                  <a:pt x="2857050" y="713479"/>
                </a:lnTo>
                <a:lnTo>
                  <a:pt x="2857050" y="714759"/>
                </a:lnTo>
                <a:lnTo>
                  <a:pt x="2860251" y="716751"/>
                </a:lnTo>
                <a:cubicBezTo>
                  <a:pt x="2859184" y="719027"/>
                  <a:pt x="2858331" y="721161"/>
                  <a:pt x="2857477" y="722868"/>
                </a:cubicBezTo>
                <a:lnTo>
                  <a:pt x="2860891" y="730267"/>
                </a:lnTo>
                <a:lnTo>
                  <a:pt x="2863026" y="733823"/>
                </a:lnTo>
                <a:lnTo>
                  <a:pt x="2865800" y="735104"/>
                </a:lnTo>
                <a:cubicBezTo>
                  <a:pt x="2874337" y="736669"/>
                  <a:pt x="2882661" y="738233"/>
                  <a:pt x="2889703" y="741363"/>
                </a:cubicBezTo>
                <a:cubicBezTo>
                  <a:pt x="2891624" y="744066"/>
                  <a:pt x="2894825" y="746200"/>
                  <a:pt x="2897813" y="749188"/>
                </a:cubicBezTo>
                <a:cubicBezTo>
                  <a:pt x="2899307" y="750611"/>
                  <a:pt x="2901868" y="752460"/>
                  <a:pt x="2903575" y="753029"/>
                </a:cubicBezTo>
                <a:cubicBezTo>
                  <a:pt x="2905070" y="754452"/>
                  <a:pt x="2907417" y="756301"/>
                  <a:pt x="2908911" y="757724"/>
                </a:cubicBezTo>
                <a:lnTo>
                  <a:pt x="2919795" y="764838"/>
                </a:lnTo>
                <a:lnTo>
                  <a:pt x="2920436" y="764838"/>
                </a:lnTo>
                <a:cubicBezTo>
                  <a:pt x="2923850" y="765265"/>
                  <a:pt x="2927692" y="766687"/>
                  <a:pt x="2931533" y="769390"/>
                </a:cubicBezTo>
                <a:lnTo>
                  <a:pt x="2936656" y="775934"/>
                </a:lnTo>
                <a:lnTo>
                  <a:pt x="2954796" y="788454"/>
                </a:lnTo>
                <a:lnTo>
                  <a:pt x="2956930" y="782906"/>
                </a:lnTo>
                <a:cubicBezTo>
                  <a:pt x="2958425" y="779207"/>
                  <a:pt x="2960772" y="775650"/>
                  <a:pt x="2963973" y="773516"/>
                </a:cubicBezTo>
                <a:lnTo>
                  <a:pt x="2965467" y="773374"/>
                </a:lnTo>
                <a:lnTo>
                  <a:pt x="2966534" y="771951"/>
                </a:lnTo>
                <a:lnTo>
                  <a:pt x="2966321" y="771666"/>
                </a:lnTo>
                <a:cubicBezTo>
                  <a:pt x="2967601" y="771666"/>
                  <a:pt x="2967388" y="770529"/>
                  <a:pt x="2966108" y="770529"/>
                </a:cubicBezTo>
                <a:cubicBezTo>
                  <a:pt x="2967175" y="768679"/>
                  <a:pt x="2967815" y="767114"/>
                  <a:pt x="2968455" y="766403"/>
                </a:cubicBezTo>
                <a:cubicBezTo>
                  <a:pt x="2969309" y="765549"/>
                  <a:pt x="2970163" y="765549"/>
                  <a:pt x="2971443" y="766687"/>
                </a:cubicBezTo>
                <a:cubicBezTo>
                  <a:pt x="2974004" y="767683"/>
                  <a:pt x="2973150" y="770102"/>
                  <a:pt x="2975711" y="772378"/>
                </a:cubicBezTo>
                <a:cubicBezTo>
                  <a:pt x="2980834" y="775792"/>
                  <a:pt x="2986595" y="765691"/>
                  <a:pt x="2996840" y="772378"/>
                </a:cubicBezTo>
                <a:cubicBezTo>
                  <a:pt x="2994706" y="774796"/>
                  <a:pt x="3000254" y="780630"/>
                  <a:pt x="2997267" y="784470"/>
                </a:cubicBezTo>
                <a:cubicBezTo>
                  <a:pt x="2989797" y="796991"/>
                  <a:pt x="2985955" y="794714"/>
                  <a:pt x="2977205" y="791584"/>
                </a:cubicBezTo>
                <a:cubicBezTo>
                  <a:pt x="2978486" y="791584"/>
                  <a:pt x="2977205" y="790446"/>
                  <a:pt x="2977205" y="790446"/>
                </a:cubicBezTo>
                <a:cubicBezTo>
                  <a:pt x="2974431" y="788170"/>
                  <a:pt x="2974431" y="795426"/>
                  <a:pt x="2970589" y="793291"/>
                </a:cubicBezTo>
                <a:lnTo>
                  <a:pt x="2969736" y="792154"/>
                </a:lnTo>
                <a:lnTo>
                  <a:pt x="2969309" y="792154"/>
                </a:lnTo>
                <a:lnTo>
                  <a:pt x="2965467" y="796279"/>
                </a:lnTo>
                <a:lnTo>
                  <a:pt x="2965681" y="796279"/>
                </a:lnTo>
                <a:lnTo>
                  <a:pt x="2966108" y="796279"/>
                </a:lnTo>
                <a:cubicBezTo>
                  <a:pt x="2970589" y="796991"/>
                  <a:pt x="2972724" y="799836"/>
                  <a:pt x="2973791" y="802255"/>
                </a:cubicBezTo>
                <a:lnTo>
                  <a:pt x="2974644" y="804815"/>
                </a:lnTo>
                <a:lnTo>
                  <a:pt x="2976565" y="806522"/>
                </a:lnTo>
                <a:lnTo>
                  <a:pt x="2976138" y="805384"/>
                </a:lnTo>
                <a:cubicBezTo>
                  <a:pt x="2975925" y="804389"/>
                  <a:pt x="2975498" y="803962"/>
                  <a:pt x="2975498" y="803962"/>
                </a:cubicBezTo>
                <a:cubicBezTo>
                  <a:pt x="2976352" y="801401"/>
                  <a:pt x="2977632" y="801401"/>
                  <a:pt x="2976352" y="801401"/>
                </a:cubicBezTo>
                <a:cubicBezTo>
                  <a:pt x="2978272" y="798840"/>
                  <a:pt x="2980193" y="795283"/>
                  <a:pt x="2982541" y="796279"/>
                </a:cubicBezTo>
                <a:cubicBezTo>
                  <a:pt x="2985529" y="798413"/>
                  <a:pt x="2986382" y="801543"/>
                  <a:pt x="2986169" y="804957"/>
                </a:cubicBezTo>
                <a:lnTo>
                  <a:pt x="2984248" y="812498"/>
                </a:lnTo>
                <a:lnTo>
                  <a:pt x="2987450" y="811217"/>
                </a:lnTo>
                <a:cubicBezTo>
                  <a:pt x="2988730" y="811644"/>
                  <a:pt x="2990011" y="812925"/>
                  <a:pt x="2991505" y="814347"/>
                </a:cubicBezTo>
                <a:cubicBezTo>
                  <a:pt x="2992998" y="815912"/>
                  <a:pt x="2994919" y="816481"/>
                  <a:pt x="2997267" y="818188"/>
                </a:cubicBezTo>
                <a:cubicBezTo>
                  <a:pt x="3000041" y="819042"/>
                  <a:pt x="3002816" y="819896"/>
                  <a:pt x="3006657" y="820038"/>
                </a:cubicBezTo>
                <a:cubicBezTo>
                  <a:pt x="3004309" y="821461"/>
                  <a:pt x="3001535" y="820465"/>
                  <a:pt x="3000041" y="822172"/>
                </a:cubicBezTo>
                <a:cubicBezTo>
                  <a:pt x="3010712" y="825444"/>
                  <a:pt x="3020956" y="830708"/>
                  <a:pt x="3031201" y="835973"/>
                </a:cubicBezTo>
                <a:cubicBezTo>
                  <a:pt x="3041231" y="842090"/>
                  <a:pt x="3050408" y="847069"/>
                  <a:pt x="3062147" y="850768"/>
                </a:cubicBezTo>
                <a:cubicBezTo>
                  <a:pt x="3066842" y="845931"/>
                  <a:pt x="3049981" y="842801"/>
                  <a:pt x="3057451" y="837821"/>
                </a:cubicBezTo>
                <a:cubicBezTo>
                  <a:pt x="3062360" y="841378"/>
                  <a:pt x="3066201" y="844793"/>
                  <a:pt x="3069189" y="847780"/>
                </a:cubicBezTo>
                <a:lnTo>
                  <a:pt x="3076659" y="856316"/>
                </a:lnTo>
                <a:lnTo>
                  <a:pt x="3079220" y="854325"/>
                </a:lnTo>
                <a:cubicBezTo>
                  <a:pt x="3080714" y="853613"/>
                  <a:pt x="3082421" y="853186"/>
                  <a:pt x="3083702" y="853756"/>
                </a:cubicBezTo>
                <a:cubicBezTo>
                  <a:pt x="3083702" y="853756"/>
                  <a:pt x="3083915" y="853898"/>
                  <a:pt x="3085196" y="854467"/>
                </a:cubicBezTo>
                <a:cubicBezTo>
                  <a:pt x="3083702" y="855178"/>
                  <a:pt x="3081781" y="855890"/>
                  <a:pt x="3079860" y="856459"/>
                </a:cubicBezTo>
                <a:lnTo>
                  <a:pt x="3077299" y="857028"/>
                </a:lnTo>
                <a:lnTo>
                  <a:pt x="3077726" y="857597"/>
                </a:lnTo>
                <a:cubicBezTo>
                  <a:pt x="3080927" y="860158"/>
                  <a:pt x="3084129" y="862434"/>
                  <a:pt x="3087757" y="864284"/>
                </a:cubicBezTo>
                <a:lnTo>
                  <a:pt x="3093305" y="866275"/>
                </a:lnTo>
                <a:lnTo>
                  <a:pt x="3091172" y="863999"/>
                </a:lnTo>
                <a:cubicBezTo>
                  <a:pt x="3091385" y="861296"/>
                  <a:pt x="3096293" y="860015"/>
                  <a:pt x="3098641" y="858450"/>
                </a:cubicBezTo>
                <a:cubicBezTo>
                  <a:pt x="3098855" y="860158"/>
                  <a:pt x="3099068" y="861865"/>
                  <a:pt x="3099708" y="860727"/>
                </a:cubicBezTo>
                <a:cubicBezTo>
                  <a:pt x="3099922" y="862434"/>
                  <a:pt x="3099708" y="863714"/>
                  <a:pt x="3099281" y="864852"/>
                </a:cubicBezTo>
                <a:lnTo>
                  <a:pt x="3096720" y="867414"/>
                </a:lnTo>
                <a:lnTo>
                  <a:pt x="3100135" y="868552"/>
                </a:lnTo>
                <a:cubicBezTo>
                  <a:pt x="3098855" y="870828"/>
                  <a:pt x="3099068" y="872962"/>
                  <a:pt x="3099708" y="875096"/>
                </a:cubicBezTo>
                <a:lnTo>
                  <a:pt x="3101629" y="881498"/>
                </a:lnTo>
                <a:lnTo>
                  <a:pt x="3101843" y="881498"/>
                </a:lnTo>
                <a:lnTo>
                  <a:pt x="3104190" y="881356"/>
                </a:lnTo>
                <a:cubicBezTo>
                  <a:pt x="3106964" y="880075"/>
                  <a:pt x="3109952" y="876235"/>
                  <a:pt x="3112514" y="881783"/>
                </a:cubicBezTo>
                <a:cubicBezTo>
                  <a:pt x="3110806" y="885055"/>
                  <a:pt x="3108885" y="883205"/>
                  <a:pt x="3106751" y="883347"/>
                </a:cubicBezTo>
                <a:lnTo>
                  <a:pt x="3105257" y="884201"/>
                </a:lnTo>
                <a:lnTo>
                  <a:pt x="3105471" y="884771"/>
                </a:lnTo>
                <a:lnTo>
                  <a:pt x="3105044" y="884912"/>
                </a:lnTo>
                <a:lnTo>
                  <a:pt x="3114007" y="891172"/>
                </a:lnTo>
                <a:cubicBezTo>
                  <a:pt x="3116995" y="893733"/>
                  <a:pt x="3119770" y="897005"/>
                  <a:pt x="3123611" y="901843"/>
                </a:cubicBezTo>
                <a:cubicBezTo>
                  <a:pt x="3121904" y="895156"/>
                  <a:pt x="3127453" y="896721"/>
                  <a:pt x="3129587" y="890176"/>
                </a:cubicBezTo>
                <a:cubicBezTo>
                  <a:pt x="3125745" y="883917"/>
                  <a:pt x="3121050" y="891741"/>
                  <a:pt x="3116995" y="883205"/>
                </a:cubicBezTo>
                <a:lnTo>
                  <a:pt x="3118702" y="883347"/>
                </a:lnTo>
                <a:lnTo>
                  <a:pt x="3115501" y="880929"/>
                </a:lnTo>
                <a:cubicBezTo>
                  <a:pt x="3113154" y="878510"/>
                  <a:pt x="3111019" y="875665"/>
                  <a:pt x="3110379" y="873816"/>
                </a:cubicBezTo>
                <a:cubicBezTo>
                  <a:pt x="3111873" y="870401"/>
                  <a:pt x="3114007" y="868836"/>
                  <a:pt x="3116568" y="868552"/>
                </a:cubicBezTo>
                <a:cubicBezTo>
                  <a:pt x="3121904" y="868125"/>
                  <a:pt x="3127880" y="874385"/>
                  <a:pt x="3126813" y="880075"/>
                </a:cubicBezTo>
                <a:lnTo>
                  <a:pt x="3124252" y="884059"/>
                </a:lnTo>
                <a:lnTo>
                  <a:pt x="3128947" y="886193"/>
                </a:lnTo>
                <a:cubicBezTo>
                  <a:pt x="3133001" y="888327"/>
                  <a:pt x="3137057" y="890461"/>
                  <a:pt x="3141112" y="888611"/>
                </a:cubicBezTo>
                <a:cubicBezTo>
                  <a:pt x="3143886" y="889466"/>
                  <a:pt x="3134709" y="895868"/>
                  <a:pt x="3132361" y="891030"/>
                </a:cubicBezTo>
                <a:cubicBezTo>
                  <a:pt x="3130227" y="892880"/>
                  <a:pt x="3128947" y="895156"/>
                  <a:pt x="3128520" y="897575"/>
                </a:cubicBezTo>
                <a:lnTo>
                  <a:pt x="3129373" y="902269"/>
                </a:lnTo>
                <a:lnTo>
                  <a:pt x="3134282" y="901843"/>
                </a:lnTo>
                <a:cubicBezTo>
                  <a:pt x="3136203" y="902127"/>
                  <a:pt x="3137697" y="903123"/>
                  <a:pt x="3138977" y="904546"/>
                </a:cubicBezTo>
                <a:lnTo>
                  <a:pt x="3139618" y="906538"/>
                </a:lnTo>
                <a:lnTo>
                  <a:pt x="3146234" y="906538"/>
                </a:lnTo>
                <a:cubicBezTo>
                  <a:pt x="3148795" y="906253"/>
                  <a:pt x="3151142" y="906253"/>
                  <a:pt x="3153490" y="907961"/>
                </a:cubicBezTo>
                <a:cubicBezTo>
                  <a:pt x="3150715" y="910236"/>
                  <a:pt x="3149222" y="912513"/>
                  <a:pt x="3148368" y="915358"/>
                </a:cubicBezTo>
                <a:lnTo>
                  <a:pt x="3146874" y="924037"/>
                </a:lnTo>
                <a:lnTo>
                  <a:pt x="3157331" y="924321"/>
                </a:lnTo>
                <a:lnTo>
                  <a:pt x="3160319" y="925744"/>
                </a:lnTo>
                <a:lnTo>
                  <a:pt x="3159679" y="908529"/>
                </a:lnTo>
                <a:cubicBezTo>
                  <a:pt x="3160533" y="901843"/>
                  <a:pt x="3162240" y="895156"/>
                  <a:pt x="3165014" y="888611"/>
                </a:cubicBezTo>
                <a:cubicBezTo>
                  <a:pt x="3168216" y="888754"/>
                  <a:pt x="3171417" y="888754"/>
                  <a:pt x="3171417" y="885482"/>
                </a:cubicBezTo>
                <a:cubicBezTo>
                  <a:pt x="3176753" y="885197"/>
                  <a:pt x="3181875" y="885766"/>
                  <a:pt x="3186570" y="887189"/>
                </a:cubicBezTo>
                <a:lnTo>
                  <a:pt x="3194467" y="890888"/>
                </a:lnTo>
                <a:lnTo>
                  <a:pt x="3203644" y="884628"/>
                </a:lnTo>
                <a:lnTo>
                  <a:pt x="3203430" y="884059"/>
                </a:lnTo>
                <a:cubicBezTo>
                  <a:pt x="3203217" y="881640"/>
                  <a:pt x="3203644" y="878795"/>
                  <a:pt x="3205138" y="876661"/>
                </a:cubicBezTo>
                <a:lnTo>
                  <a:pt x="3206418" y="875665"/>
                </a:lnTo>
                <a:lnTo>
                  <a:pt x="3200229" y="867271"/>
                </a:lnTo>
                <a:cubicBezTo>
                  <a:pt x="3193399" y="859446"/>
                  <a:pt x="3185716" y="852049"/>
                  <a:pt x="3182942" y="848492"/>
                </a:cubicBezTo>
                <a:cubicBezTo>
                  <a:pt x="3189344" y="845077"/>
                  <a:pt x="3196387" y="856316"/>
                  <a:pt x="3203430" y="860727"/>
                </a:cubicBezTo>
                <a:lnTo>
                  <a:pt x="3204924" y="861438"/>
                </a:lnTo>
                <a:lnTo>
                  <a:pt x="3205138" y="860727"/>
                </a:lnTo>
                <a:lnTo>
                  <a:pt x="3204070" y="860158"/>
                </a:lnTo>
                <a:cubicBezTo>
                  <a:pt x="3204498" y="859020"/>
                  <a:pt x="3204498" y="857739"/>
                  <a:pt x="3204711" y="856601"/>
                </a:cubicBezTo>
                <a:lnTo>
                  <a:pt x="3204924" y="856459"/>
                </a:lnTo>
                <a:lnTo>
                  <a:pt x="3199162" y="850484"/>
                </a:lnTo>
                <a:cubicBezTo>
                  <a:pt x="3195320" y="847212"/>
                  <a:pt x="3191906" y="842943"/>
                  <a:pt x="3188064" y="839671"/>
                </a:cubicBezTo>
                <a:cubicBezTo>
                  <a:pt x="3184009" y="836399"/>
                  <a:pt x="3180168" y="833411"/>
                  <a:pt x="3176113" y="830993"/>
                </a:cubicBezTo>
                <a:lnTo>
                  <a:pt x="3173125" y="829712"/>
                </a:lnTo>
                <a:lnTo>
                  <a:pt x="3172484" y="833554"/>
                </a:lnTo>
                <a:cubicBezTo>
                  <a:pt x="3170350" y="831989"/>
                  <a:pt x="3168216" y="830281"/>
                  <a:pt x="3166082" y="828859"/>
                </a:cubicBezTo>
                <a:cubicBezTo>
                  <a:pt x="3166295" y="828859"/>
                  <a:pt x="3166509" y="828147"/>
                  <a:pt x="3166509" y="827152"/>
                </a:cubicBezTo>
                <a:lnTo>
                  <a:pt x="3165014" y="826440"/>
                </a:lnTo>
                <a:lnTo>
                  <a:pt x="3163734" y="829001"/>
                </a:lnTo>
                <a:cubicBezTo>
                  <a:pt x="3159679" y="835688"/>
                  <a:pt x="3154343" y="838533"/>
                  <a:pt x="3145380" y="829854"/>
                </a:cubicBezTo>
                <a:cubicBezTo>
                  <a:pt x="3148581" y="828289"/>
                  <a:pt x="3151142" y="826013"/>
                  <a:pt x="3153703" y="823452"/>
                </a:cubicBezTo>
                <a:lnTo>
                  <a:pt x="3159039" y="817051"/>
                </a:lnTo>
                <a:lnTo>
                  <a:pt x="3156265" y="812498"/>
                </a:lnTo>
                <a:cubicBezTo>
                  <a:pt x="3153277" y="808230"/>
                  <a:pt x="3149648" y="803962"/>
                  <a:pt x="3145594" y="799694"/>
                </a:cubicBezTo>
                <a:cubicBezTo>
                  <a:pt x="3138124" y="792154"/>
                  <a:pt x="3129587" y="785325"/>
                  <a:pt x="3119983" y="778211"/>
                </a:cubicBezTo>
                <a:lnTo>
                  <a:pt x="3106964" y="768821"/>
                </a:lnTo>
                <a:lnTo>
                  <a:pt x="3106111" y="777642"/>
                </a:lnTo>
                <a:cubicBezTo>
                  <a:pt x="3093092" y="786320"/>
                  <a:pt x="3093946" y="794856"/>
                  <a:pt x="3087970" y="802965"/>
                </a:cubicBezTo>
                <a:cubicBezTo>
                  <a:pt x="3069189" y="812213"/>
                  <a:pt x="3041872" y="818331"/>
                  <a:pt x="3024798" y="803393"/>
                </a:cubicBezTo>
                <a:cubicBezTo>
                  <a:pt x="3010712" y="791158"/>
                  <a:pt x="3015621" y="775792"/>
                  <a:pt x="3010499" y="758293"/>
                </a:cubicBezTo>
                <a:cubicBezTo>
                  <a:pt x="3013700" y="756159"/>
                  <a:pt x="3016048" y="754025"/>
                  <a:pt x="3017542" y="751749"/>
                </a:cubicBezTo>
                <a:lnTo>
                  <a:pt x="3019889" y="747481"/>
                </a:lnTo>
                <a:lnTo>
                  <a:pt x="3019249" y="745205"/>
                </a:lnTo>
                <a:lnTo>
                  <a:pt x="3021383" y="744208"/>
                </a:lnTo>
                <a:lnTo>
                  <a:pt x="3022877" y="736953"/>
                </a:lnTo>
                <a:lnTo>
                  <a:pt x="3022451" y="736811"/>
                </a:lnTo>
                <a:lnTo>
                  <a:pt x="3007937" y="728132"/>
                </a:lnTo>
                <a:lnTo>
                  <a:pt x="3004950" y="733823"/>
                </a:lnTo>
                <a:cubicBezTo>
                  <a:pt x="3003029" y="736669"/>
                  <a:pt x="3000254" y="739514"/>
                  <a:pt x="2997053" y="742217"/>
                </a:cubicBezTo>
                <a:cubicBezTo>
                  <a:pt x="2993852" y="740652"/>
                  <a:pt x="2987876" y="742501"/>
                  <a:pt x="2987663" y="736526"/>
                </a:cubicBezTo>
                <a:cubicBezTo>
                  <a:pt x="2991291" y="734961"/>
                  <a:pt x="2993852" y="732543"/>
                  <a:pt x="2995986" y="729697"/>
                </a:cubicBezTo>
                <a:lnTo>
                  <a:pt x="2999614" y="723153"/>
                </a:lnTo>
                <a:lnTo>
                  <a:pt x="2997480" y="721873"/>
                </a:lnTo>
                <a:lnTo>
                  <a:pt x="2992358" y="718885"/>
                </a:lnTo>
                <a:lnTo>
                  <a:pt x="2991931" y="719027"/>
                </a:lnTo>
                <a:cubicBezTo>
                  <a:pt x="2990011" y="719027"/>
                  <a:pt x="2987876" y="718458"/>
                  <a:pt x="2986595" y="717889"/>
                </a:cubicBezTo>
                <a:lnTo>
                  <a:pt x="2985529" y="715044"/>
                </a:lnTo>
                <a:lnTo>
                  <a:pt x="2975711" y="709780"/>
                </a:lnTo>
                <a:lnTo>
                  <a:pt x="2974858" y="709637"/>
                </a:lnTo>
                <a:lnTo>
                  <a:pt x="2974431" y="709068"/>
                </a:lnTo>
                <a:lnTo>
                  <a:pt x="2970803" y="707077"/>
                </a:lnTo>
                <a:cubicBezTo>
                  <a:pt x="2962053" y="702239"/>
                  <a:pt x="2953302" y="697829"/>
                  <a:pt x="2944979" y="694130"/>
                </a:cubicBezTo>
                <a:cubicBezTo>
                  <a:pt x="2943058" y="693277"/>
                  <a:pt x="2940284" y="692849"/>
                  <a:pt x="2937509" y="692565"/>
                </a:cubicBezTo>
                <a:lnTo>
                  <a:pt x="2930893" y="691285"/>
                </a:lnTo>
                <a:lnTo>
                  <a:pt x="2931320" y="691854"/>
                </a:lnTo>
                <a:cubicBezTo>
                  <a:pt x="2929186" y="695695"/>
                  <a:pt x="2931747" y="701386"/>
                  <a:pt x="2924491" y="701813"/>
                </a:cubicBezTo>
                <a:cubicBezTo>
                  <a:pt x="2919795" y="698825"/>
                  <a:pt x="2918729" y="692138"/>
                  <a:pt x="2921716" y="688297"/>
                </a:cubicBezTo>
                <a:lnTo>
                  <a:pt x="2923424" y="687443"/>
                </a:lnTo>
                <a:lnTo>
                  <a:pt x="2922997" y="687159"/>
                </a:lnTo>
                <a:cubicBezTo>
                  <a:pt x="2921716" y="685309"/>
                  <a:pt x="2921289" y="682606"/>
                  <a:pt x="2922357" y="678765"/>
                </a:cubicBezTo>
                <a:cubicBezTo>
                  <a:pt x="2915954" y="677627"/>
                  <a:pt x="2908484" y="674497"/>
                  <a:pt x="2903575" y="674497"/>
                </a:cubicBezTo>
                <a:lnTo>
                  <a:pt x="2901441" y="675209"/>
                </a:lnTo>
                <a:lnTo>
                  <a:pt x="2901228" y="675351"/>
                </a:lnTo>
                <a:lnTo>
                  <a:pt x="2901015" y="675351"/>
                </a:lnTo>
                <a:lnTo>
                  <a:pt x="2899307" y="675919"/>
                </a:lnTo>
                <a:lnTo>
                  <a:pt x="2898453" y="674782"/>
                </a:lnTo>
                <a:lnTo>
                  <a:pt x="2894825" y="673928"/>
                </a:lnTo>
                <a:cubicBezTo>
                  <a:pt x="2893544" y="672790"/>
                  <a:pt x="2893544" y="672790"/>
                  <a:pt x="2893331" y="671509"/>
                </a:cubicBezTo>
                <a:lnTo>
                  <a:pt x="2891837" y="667383"/>
                </a:lnTo>
                <a:lnTo>
                  <a:pt x="2888636" y="666388"/>
                </a:lnTo>
                <a:lnTo>
                  <a:pt x="2888636" y="668380"/>
                </a:lnTo>
                <a:cubicBezTo>
                  <a:pt x="2887782" y="669660"/>
                  <a:pt x="2886288" y="670513"/>
                  <a:pt x="2884154" y="670371"/>
                </a:cubicBezTo>
                <a:lnTo>
                  <a:pt x="2881807" y="668664"/>
                </a:lnTo>
                <a:lnTo>
                  <a:pt x="2881807" y="670798"/>
                </a:lnTo>
                <a:cubicBezTo>
                  <a:pt x="2881807" y="673074"/>
                  <a:pt x="2881380" y="675635"/>
                  <a:pt x="2878392" y="675777"/>
                </a:cubicBezTo>
                <a:cubicBezTo>
                  <a:pt x="2873483" y="675209"/>
                  <a:pt x="2875617" y="660270"/>
                  <a:pt x="2870709" y="669090"/>
                </a:cubicBezTo>
                <a:lnTo>
                  <a:pt x="2866440" y="666672"/>
                </a:lnTo>
                <a:lnTo>
                  <a:pt x="2861318" y="677200"/>
                </a:lnTo>
                <a:lnTo>
                  <a:pt x="2863453" y="681895"/>
                </a:lnTo>
                <a:cubicBezTo>
                  <a:pt x="2863239" y="683460"/>
                  <a:pt x="2862172" y="684883"/>
                  <a:pt x="2860465" y="686590"/>
                </a:cubicBezTo>
                <a:lnTo>
                  <a:pt x="2857690" y="682322"/>
                </a:lnTo>
                <a:lnTo>
                  <a:pt x="2848940" y="690573"/>
                </a:lnTo>
                <a:cubicBezTo>
                  <a:pt x="2846379" y="685309"/>
                  <a:pt x="2845525" y="679619"/>
                  <a:pt x="2845739" y="673928"/>
                </a:cubicBezTo>
                <a:lnTo>
                  <a:pt x="2849580" y="657282"/>
                </a:lnTo>
                <a:lnTo>
                  <a:pt x="2831013" y="650596"/>
                </a:lnTo>
                <a:lnTo>
                  <a:pt x="2807750" y="645332"/>
                </a:lnTo>
                <a:lnTo>
                  <a:pt x="2806896" y="648035"/>
                </a:lnTo>
                <a:cubicBezTo>
                  <a:pt x="2805616" y="646755"/>
                  <a:pt x="2802628" y="650738"/>
                  <a:pt x="2801561" y="652018"/>
                </a:cubicBezTo>
                <a:cubicBezTo>
                  <a:pt x="2800280" y="650880"/>
                  <a:pt x="2798573" y="651307"/>
                  <a:pt x="2796865" y="651592"/>
                </a:cubicBezTo>
                <a:lnTo>
                  <a:pt x="2794518" y="651592"/>
                </a:lnTo>
                <a:lnTo>
                  <a:pt x="2793665" y="671225"/>
                </a:lnTo>
                <a:cubicBezTo>
                  <a:pt x="2789609" y="669802"/>
                  <a:pt x="2786835" y="671794"/>
                  <a:pt x="2780859" y="668380"/>
                </a:cubicBezTo>
                <a:lnTo>
                  <a:pt x="2783207" y="641775"/>
                </a:lnTo>
                <a:lnTo>
                  <a:pt x="2776164" y="641064"/>
                </a:lnTo>
                <a:cubicBezTo>
                  <a:pt x="2773176" y="634946"/>
                  <a:pt x="2766347" y="631816"/>
                  <a:pt x="2758023" y="630251"/>
                </a:cubicBezTo>
                <a:close/>
                <a:moveTo>
                  <a:pt x="2088739" y="627975"/>
                </a:moveTo>
                <a:cubicBezTo>
                  <a:pt x="2093221" y="627406"/>
                  <a:pt x="2094074" y="630963"/>
                  <a:pt x="2096209" y="635089"/>
                </a:cubicBezTo>
                <a:cubicBezTo>
                  <a:pt x="2094074" y="636511"/>
                  <a:pt x="2093861" y="640210"/>
                  <a:pt x="2090659" y="641064"/>
                </a:cubicBezTo>
                <a:cubicBezTo>
                  <a:pt x="2090659" y="641064"/>
                  <a:pt x="2089166" y="641633"/>
                  <a:pt x="2087032" y="640352"/>
                </a:cubicBezTo>
                <a:cubicBezTo>
                  <a:pt x="2082977" y="640637"/>
                  <a:pt x="2081269" y="635800"/>
                  <a:pt x="2081269" y="635800"/>
                </a:cubicBezTo>
                <a:cubicBezTo>
                  <a:pt x="2081269" y="635800"/>
                  <a:pt x="2081269" y="635800"/>
                  <a:pt x="2080842" y="636796"/>
                </a:cubicBezTo>
                <a:cubicBezTo>
                  <a:pt x="2081696" y="634662"/>
                  <a:pt x="2081696" y="632101"/>
                  <a:pt x="2082550" y="629967"/>
                </a:cubicBezTo>
                <a:cubicBezTo>
                  <a:pt x="2085111" y="628828"/>
                  <a:pt x="2087032" y="628118"/>
                  <a:pt x="2088739" y="627975"/>
                </a:cubicBezTo>
                <a:close/>
                <a:moveTo>
                  <a:pt x="3022023" y="627121"/>
                </a:moveTo>
                <a:cubicBezTo>
                  <a:pt x="3037603" y="630393"/>
                  <a:pt x="3025438" y="641206"/>
                  <a:pt x="3021810" y="648462"/>
                </a:cubicBezTo>
                <a:lnTo>
                  <a:pt x="3018182" y="647181"/>
                </a:lnTo>
                <a:lnTo>
                  <a:pt x="3017542" y="647608"/>
                </a:lnTo>
                <a:cubicBezTo>
                  <a:pt x="3012420" y="649458"/>
                  <a:pt x="3007724" y="645190"/>
                  <a:pt x="3008792" y="640352"/>
                </a:cubicBezTo>
                <a:cubicBezTo>
                  <a:pt x="3009218" y="638361"/>
                  <a:pt x="3010925" y="636084"/>
                  <a:pt x="3013913" y="634235"/>
                </a:cubicBezTo>
                <a:lnTo>
                  <a:pt x="3014767" y="634804"/>
                </a:lnTo>
                <a:lnTo>
                  <a:pt x="3015408" y="633239"/>
                </a:lnTo>
                <a:cubicBezTo>
                  <a:pt x="3017328" y="630963"/>
                  <a:pt x="3019676" y="629113"/>
                  <a:pt x="3022023" y="627121"/>
                </a:cubicBezTo>
                <a:close/>
                <a:moveTo>
                  <a:pt x="2222340" y="623280"/>
                </a:moveTo>
                <a:cubicBezTo>
                  <a:pt x="2224687" y="623991"/>
                  <a:pt x="2227248" y="624561"/>
                  <a:pt x="2227888" y="626837"/>
                </a:cubicBezTo>
                <a:cubicBezTo>
                  <a:pt x="2228315" y="627690"/>
                  <a:pt x="2228315" y="628686"/>
                  <a:pt x="2228102" y="629967"/>
                </a:cubicBezTo>
                <a:cubicBezTo>
                  <a:pt x="2228102" y="629967"/>
                  <a:pt x="2228102" y="629967"/>
                  <a:pt x="2227248" y="630536"/>
                </a:cubicBezTo>
                <a:cubicBezTo>
                  <a:pt x="2225328" y="631816"/>
                  <a:pt x="2224261" y="632385"/>
                  <a:pt x="2223406" y="632955"/>
                </a:cubicBezTo>
                <a:cubicBezTo>
                  <a:pt x="2221913" y="632528"/>
                  <a:pt x="2217858" y="630678"/>
                  <a:pt x="2218285" y="628971"/>
                </a:cubicBezTo>
                <a:cubicBezTo>
                  <a:pt x="2218711" y="625699"/>
                  <a:pt x="2220845" y="622996"/>
                  <a:pt x="2222340" y="623280"/>
                </a:cubicBezTo>
                <a:close/>
                <a:moveTo>
                  <a:pt x="1853953" y="623274"/>
                </a:moveTo>
                <a:cubicBezTo>
                  <a:pt x="1859277" y="623529"/>
                  <a:pt x="1864601" y="631341"/>
                  <a:pt x="1856857" y="635407"/>
                </a:cubicBezTo>
                <a:cubicBezTo>
                  <a:pt x="1853036" y="631380"/>
                  <a:pt x="1850455" y="628592"/>
                  <a:pt x="1849113" y="625958"/>
                </a:cubicBezTo>
                <a:cubicBezTo>
                  <a:pt x="1850403" y="623945"/>
                  <a:pt x="1852178" y="623190"/>
                  <a:pt x="1853953" y="623274"/>
                </a:cubicBezTo>
                <a:close/>
                <a:moveTo>
                  <a:pt x="3086049" y="620008"/>
                </a:moveTo>
                <a:cubicBezTo>
                  <a:pt x="3104190" y="621146"/>
                  <a:pt x="3122971" y="642344"/>
                  <a:pt x="3117849" y="660270"/>
                </a:cubicBezTo>
                <a:cubicBezTo>
                  <a:pt x="3109526" y="663400"/>
                  <a:pt x="3101202" y="662119"/>
                  <a:pt x="3094373" y="658136"/>
                </a:cubicBezTo>
                <a:cubicBezTo>
                  <a:pt x="3082634" y="651734"/>
                  <a:pt x="3074738" y="637649"/>
                  <a:pt x="3075805" y="623138"/>
                </a:cubicBezTo>
                <a:cubicBezTo>
                  <a:pt x="3077299" y="622853"/>
                  <a:pt x="3079006" y="622569"/>
                  <a:pt x="3078366" y="620862"/>
                </a:cubicBezTo>
                <a:cubicBezTo>
                  <a:pt x="3080927" y="620150"/>
                  <a:pt x="3083489" y="619866"/>
                  <a:pt x="3086049" y="620008"/>
                </a:cubicBezTo>
                <a:close/>
                <a:moveTo>
                  <a:pt x="3275993" y="619297"/>
                </a:moveTo>
                <a:cubicBezTo>
                  <a:pt x="3277274" y="620150"/>
                  <a:pt x="3278127" y="621289"/>
                  <a:pt x="3278554" y="622711"/>
                </a:cubicBezTo>
                <a:cubicBezTo>
                  <a:pt x="3279407" y="624845"/>
                  <a:pt x="3279194" y="627406"/>
                  <a:pt x="3278554" y="629825"/>
                </a:cubicBezTo>
                <a:lnTo>
                  <a:pt x="3276633" y="632812"/>
                </a:lnTo>
                <a:lnTo>
                  <a:pt x="3277274" y="634235"/>
                </a:lnTo>
                <a:cubicBezTo>
                  <a:pt x="3269804" y="643767"/>
                  <a:pt x="3263401" y="637507"/>
                  <a:pt x="3264682" y="630393"/>
                </a:cubicBezTo>
                <a:cubicBezTo>
                  <a:pt x="3265108" y="628118"/>
                  <a:pt x="3266389" y="625699"/>
                  <a:pt x="3268737" y="623707"/>
                </a:cubicBezTo>
                <a:cubicBezTo>
                  <a:pt x="3269591" y="623707"/>
                  <a:pt x="3270658" y="624276"/>
                  <a:pt x="3271724" y="624988"/>
                </a:cubicBezTo>
                <a:lnTo>
                  <a:pt x="3271938" y="625272"/>
                </a:lnTo>
                <a:close/>
                <a:moveTo>
                  <a:pt x="3416637" y="619154"/>
                </a:moveTo>
                <a:cubicBezTo>
                  <a:pt x="3421972" y="623423"/>
                  <a:pt x="3434564" y="641348"/>
                  <a:pt x="3431576" y="651307"/>
                </a:cubicBezTo>
                <a:cubicBezTo>
                  <a:pt x="3430723" y="654722"/>
                  <a:pt x="3427948" y="657140"/>
                  <a:pt x="3422612" y="657994"/>
                </a:cubicBezTo>
                <a:cubicBezTo>
                  <a:pt x="3418130" y="644336"/>
                  <a:pt x="3407459" y="635231"/>
                  <a:pt x="3409594" y="627121"/>
                </a:cubicBezTo>
                <a:cubicBezTo>
                  <a:pt x="3410234" y="624418"/>
                  <a:pt x="3412368" y="621715"/>
                  <a:pt x="3416637" y="619154"/>
                </a:cubicBezTo>
                <a:close/>
                <a:moveTo>
                  <a:pt x="3187851" y="619012"/>
                </a:moveTo>
                <a:cubicBezTo>
                  <a:pt x="3188704" y="619581"/>
                  <a:pt x="3189558" y="620434"/>
                  <a:pt x="3190625" y="621146"/>
                </a:cubicBezTo>
                <a:lnTo>
                  <a:pt x="3187424" y="624418"/>
                </a:lnTo>
                <a:cubicBezTo>
                  <a:pt x="3186143" y="623138"/>
                  <a:pt x="3184863" y="620862"/>
                  <a:pt x="3185930" y="619724"/>
                </a:cubicBezTo>
                <a:cubicBezTo>
                  <a:pt x="3186570" y="618585"/>
                  <a:pt x="3187211" y="618585"/>
                  <a:pt x="3187851" y="619012"/>
                </a:cubicBezTo>
                <a:close/>
                <a:moveTo>
                  <a:pt x="3690667" y="618585"/>
                </a:moveTo>
                <a:cubicBezTo>
                  <a:pt x="3690881" y="618870"/>
                  <a:pt x="3691308" y="619439"/>
                  <a:pt x="3692375" y="620008"/>
                </a:cubicBezTo>
                <a:cubicBezTo>
                  <a:pt x="3692802" y="620577"/>
                  <a:pt x="3693442" y="620862"/>
                  <a:pt x="3693655" y="621146"/>
                </a:cubicBezTo>
                <a:cubicBezTo>
                  <a:pt x="3693869" y="621431"/>
                  <a:pt x="3693869" y="621715"/>
                  <a:pt x="3693229" y="622284"/>
                </a:cubicBezTo>
                <a:cubicBezTo>
                  <a:pt x="3691948" y="623423"/>
                  <a:pt x="3692162" y="623423"/>
                  <a:pt x="3688747" y="623280"/>
                </a:cubicBezTo>
                <a:cubicBezTo>
                  <a:pt x="3690027" y="622284"/>
                  <a:pt x="3689814" y="622142"/>
                  <a:pt x="3688960" y="621004"/>
                </a:cubicBezTo>
                <a:cubicBezTo>
                  <a:pt x="3688960" y="621004"/>
                  <a:pt x="3688960" y="621004"/>
                  <a:pt x="3687893" y="621004"/>
                </a:cubicBezTo>
                <a:cubicBezTo>
                  <a:pt x="3687893" y="619866"/>
                  <a:pt x="3688960" y="620008"/>
                  <a:pt x="3689174" y="618870"/>
                </a:cubicBezTo>
                <a:cubicBezTo>
                  <a:pt x="3689174" y="618870"/>
                  <a:pt x="3690241" y="618870"/>
                  <a:pt x="3690241" y="618870"/>
                </a:cubicBezTo>
                <a:cubicBezTo>
                  <a:pt x="3690241" y="618301"/>
                  <a:pt x="3690241" y="618301"/>
                  <a:pt x="3690667" y="618585"/>
                </a:cubicBezTo>
                <a:close/>
                <a:moveTo>
                  <a:pt x="3027146" y="617732"/>
                </a:moveTo>
                <a:cubicBezTo>
                  <a:pt x="3032054" y="618585"/>
                  <a:pt x="3036963" y="619439"/>
                  <a:pt x="3036749" y="624418"/>
                </a:cubicBezTo>
                <a:cubicBezTo>
                  <a:pt x="3032481" y="627975"/>
                  <a:pt x="3025865" y="625130"/>
                  <a:pt x="3027146" y="617732"/>
                </a:cubicBezTo>
                <a:close/>
                <a:moveTo>
                  <a:pt x="3076018" y="617020"/>
                </a:moveTo>
                <a:cubicBezTo>
                  <a:pt x="3078153" y="616878"/>
                  <a:pt x="3079646" y="616736"/>
                  <a:pt x="3080927" y="617020"/>
                </a:cubicBezTo>
                <a:cubicBezTo>
                  <a:pt x="3081994" y="617305"/>
                  <a:pt x="3083061" y="617874"/>
                  <a:pt x="3084129" y="619297"/>
                </a:cubicBezTo>
                <a:cubicBezTo>
                  <a:pt x="3080927" y="620150"/>
                  <a:pt x="3078153" y="620008"/>
                  <a:pt x="3076018" y="617020"/>
                </a:cubicBezTo>
                <a:close/>
                <a:moveTo>
                  <a:pt x="3583317" y="613464"/>
                </a:moveTo>
                <a:cubicBezTo>
                  <a:pt x="3584812" y="613464"/>
                  <a:pt x="3586305" y="613748"/>
                  <a:pt x="3588013" y="614317"/>
                </a:cubicBezTo>
                <a:cubicBezTo>
                  <a:pt x="3588866" y="616878"/>
                  <a:pt x="3590360" y="618870"/>
                  <a:pt x="3591641" y="622426"/>
                </a:cubicBezTo>
                <a:cubicBezTo>
                  <a:pt x="3589080" y="624561"/>
                  <a:pt x="3581610" y="625841"/>
                  <a:pt x="3576915" y="621715"/>
                </a:cubicBezTo>
                <a:cubicBezTo>
                  <a:pt x="3576701" y="616024"/>
                  <a:pt x="3579049" y="613464"/>
                  <a:pt x="3583317" y="613464"/>
                </a:cubicBezTo>
                <a:close/>
                <a:moveTo>
                  <a:pt x="1874514" y="612637"/>
                </a:moveTo>
                <a:cubicBezTo>
                  <a:pt x="1883394" y="607216"/>
                  <a:pt x="1892170" y="620692"/>
                  <a:pt x="1889692" y="628592"/>
                </a:cubicBezTo>
                <a:cubicBezTo>
                  <a:pt x="1883084" y="632619"/>
                  <a:pt x="1875030" y="626113"/>
                  <a:pt x="1873481" y="619298"/>
                </a:cubicBezTo>
                <a:cubicBezTo>
                  <a:pt x="1873274" y="618059"/>
                  <a:pt x="1873274" y="616975"/>
                  <a:pt x="1873378" y="615890"/>
                </a:cubicBezTo>
                <a:cubicBezTo>
                  <a:pt x="1873584" y="614651"/>
                  <a:pt x="1873894" y="613567"/>
                  <a:pt x="1874514" y="612637"/>
                </a:cubicBezTo>
                <a:close/>
                <a:moveTo>
                  <a:pt x="3240352" y="611756"/>
                </a:moveTo>
                <a:cubicBezTo>
                  <a:pt x="3247181" y="612468"/>
                  <a:pt x="3252944" y="616024"/>
                  <a:pt x="3255505" y="623849"/>
                </a:cubicBezTo>
                <a:lnTo>
                  <a:pt x="3238431" y="625983"/>
                </a:lnTo>
                <a:lnTo>
                  <a:pt x="3238858" y="625983"/>
                </a:lnTo>
                <a:cubicBezTo>
                  <a:pt x="3241206" y="627121"/>
                  <a:pt x="3241419" y="628260"/>
                  <a:pt x="3239711" y="632101"/>
                </a:cubicBezTo>
                <a:cubicBezTo>
                  <a:pt x="3237578" y="634662"/>
                  <a:pt x="3236937" y="637080"/>
                  <a:pt x="3235657" y="637222"/>
                </a:cubicBezTo>
                <a:cubicBezTo>
                  <a:pt x="3235870" y="638361"/>
                  <a:pt x="3235016" y="639641"/>
                  <a:pt x="3235016" y="640921"/>
                </a:cubicBezTo>
                <a:cubicBezTo>
                  <a:pt x="3235016" y="640921"/>
                  <a:pt x="3235016" y="640921"/>
                  <a:pt x="3233949" y="640921"/>
                </a:cubicBezTo>
                <a:cubicBezTo>
                  <a:pt x="3234163" y="638503"/>
                  <a:pt x="3233736" y="635800"/>
                  <a:pt x="3233523" y="633239"/>
                </a:cubicBezTo>
                <a:lnTo>
                  <a:pt x="3234163" y="626410"/>
                </a:lnTo>
                <a:lnTo>
                  <a:pt x="3232028" y="626695"/>
                </a:lnTo>
                <a:cubicBezTo>
                  <a:pt x="3223919" y="627548"/>
                  <a:pt x="3215809" y="627690"/>
                  <a:pt x="3208339" y="625556"/>
                </a:cubicBezTo>
                <a:cubicBezTo>
                  <a:pt x="3213888" y="619154"/>
                  <a:pt x="3223919" y="613464"/>
                  <a:pt x="3233309" y="611898"/>
                </a:cubicBezTo>
                <a:cubicBezTo>
                  <a:pt x="3235870" y="611614"/>
                  <a:pt x="3238004" y="611614"/>
                  <a:pt x="3240352" y="611756"/>
                </a:cubicBezTo>
                <a:close/>
                <a:moveTo>
                  <a:pt x="3192973" y="608484"/>
                </a:moveTo>
                <a:cubicBezTo>
                  <a:pt x="3194680" y="608484"/>
                  <a:pt x="3197027" y="608911"/>
                  <a:pt x="3199375" y="610760"/>
                </a:cubicBezTo>
                <a:cubicBezTo>
                  <a:pt x="3200442" y="612041"/>
                  <a:pt x="3203003" y="615740"/>
                  <a:pt x="3201936" y="615740"/>
                </a:cubicBezTo>
                <a:cubicBezTo>
                  <a:pt x="3200869" y="616878"/>
                  <a:pt x="3201936" y="616878"/>
                  <a:pt x="3201936" y="618159"/>
                </a:cubicBezTo>
                <a:lnTo>
                  <a:pt x="3200442" y="619012"/>
                </a:lnTo>
                <a:lnTo>
                  <a:pt x="3201083" y="620008"/>
                </a:lnTo>
                <a:cubicBezTo>
                  <a:pt x="3202577" y="622426"/>
                  <a:pt x="3202577" y="622284"/>
                  <a:pt x="3201509" y="623565"/>
                </a:cubicBezTo>
                <a:cubicBezTo>
                  <a:pt x="3200442" y="624845"/>
                  <a:pt x="3196814" y="623849"/>
                  <a:pt x="3195747" y="625272"/>
                </a:cubicBezTo>
                <a:cubicBezTo>
                  <a:pt x="3195747" y="625272"/>
                  <a:pt x="3195747" y="625272"/>
                  <a:pt x="3194253" y="622853"/>
                </a:cubicBezTo>
                <a:lnTo>
                  <a:pt x="3194680" y="620719"/>
                </a:lnTo>
                <a:lnTo>
                  <a:pt x="3191692" y="620008"/>
                </a:lnTo>
                <a:cubicBezTo>
                  <a:pt x="3189344" y="617589"/>
                  <a:pt x="3185930" y="613748"/>
                  <a:pt x="3188064" y="610334"/>
                </a:cubicBezTo>
                <a:cubicBezTo>
                  <a:pt x="3189131" y="610334"/>
                  <a:pt x="3189131" y="609053"/>
                  <a:pt x="3190198" y="609053"/>
                </a:cubicBezTo>
                <a:cubicBezTo>
                  <a:pt x="3190198" y="609053"/>
                  <a:pt x="3191265" y="608626"/>
                  <a:pt x="3192973" y="608484"/>
                </a:cubicBezTo>
                <a:close/>
                <a:moveTo>
                  <a:pt x="2016176" y="605070"/>
                </a:moveTo>
                <a:cubicBezTo>
                  <a:pt x="2016389" y="604928"/>
                  <a:pt x="2016816" y="605070"/>
                  <a:pt x="2017030" y="605781"/>
                </a:cubicBezTo>
                <a:cubicBezTo>
                  <a:pt x="2017457" y="607346"/>
                  <a:pt x="2017457" y="607488"/>
                  <a:pt x="2016176" y="610476"/>
                </a:cubicBezTo>
                <a:cubicBezTo>
                  <a:pt x="2015536" y="608911"/>
                  <a:pt x="2015536" y="608911"/>
                  <a:pt x="2014255" y="609338"/>
                </a:cubicBezTo>
                <a:cubicBezTo>
                  <a:pt x="2014255" y="609338"/>
                  <a:pt x="2014255" y="609338"/>
                  <a:pt x="2013829" y="610334"/>
                </a:cubicBezTo>
                <a:cubicBezTo>
                  <a:pt x="2012762" y="609765"/>
                  <a:pt x="2013188" y="608769"/>
                  <a:pt x="2012121" y="608200"/>
                </a:cubicBezTo>
                <a:cubicBezTo>
                  <a:pt x="2012121" y="608200"/>
                  <a:pt x="2012762" y="607204"/>
                  <a:pt x="2012762" y="607204"/>
                </a:cubicBezTo>
                <a:cubicBezTo>
                  <a:pt x="2012121" y="606919"/>
                  <a:pt x="2012121" y="606919"/>
                  <a:pt x="2012548" y="606777"/>
                </a:cubicBezTo>
                <a:cubicBezTo>
                  <a:pt x="2012762" y="606635"/>
                  <a:pt x="2013615" y="606493"/>
                  <a:pt x="2014682" y="605781"/>
                </a:cubicBezTo>
                <a:cubicBezTo>
                  <a:pt x="2015322" y="605496"/>
                  <a:pt x="2015749" y="605212"/>
                  <a:pt x="2016176" y="605070"/>
                </a:cubicBezTo>
                <a:close/>
                <a:moveTo>
                  <a:pt x="2089390" y="605047"/>
                </a:moveTo>
                <a:cubicBezTo>
                  <a:pt x="2091765" y="606751"/>
                  <a:pt x="2094243" y="607061"/>
                  <a:pt x="2097960" y="608920"/>
                </a:cubicBezTo>
                <a:cubicBezTo>
                  <a:pt x="2097444" y="612792"/>
                  <a:pt x="2092797" y="620227"/>
                  <a:pt x="2086292" y="620847"/>
                </a:cubicBezTo>
                <a:cubicBezTo>
                  <a:pt x="2083401" y="617749"/>
                  <a:pt x="2082368" y="614961"/>
                  <a:pt x="2082988" y="612328"/>
                </a:cubicBezTo>
                <a:cubicBezTo>
                  <a:pt x="2083607" y="609694"/>
                  <a:pt x="2085879" y="607371"/>
                  <a:pt x="2089390" y="605047"/>
                </a:cubicBezTo>
                <a:close/>
                <a:moveTo>
                  <a:pt x="3352397" y="600090"/>
                </a:moveTo>
                <a:cubicBezTo>
                  <a:pt x="3355599" y="600517"/>
                  <a:pt x="3358159" y="600090"/>
                  <a:pt x="3361361" y="600659"/>
                </a:cubicBezTo>
                <a:cubicBezTo>
                  <a:pt x="3366910" y="605781"/>
                  <a:pt x="3365842" y="610903"/>
                  <a:pt x="3362641" y="613464"/>
                </a:cubicBezTo>
                <a:cubicBezTo>
                  <a:pt x="3359227" y="616024"/>
                  <a:pt x="3353464" y="615882"/>
                  <a:pt x="3349196" y="610476"/>
                </a:cubicBezTo>
                <a:cubicBezTo>
                  <a:pt x="3349623" y="605496"/>
                  <a:pt x="3351330" y="602509"/>
                  <a:pt x="3352397" y="600090"/>
                </a:cubicBezTo>
                <a:close/>
                <a:moveTo>
                  <a:pt x="3058091" y="597814"/>
                </a:moveTo>
                <a:cubicBezTo>
                  <a:pt x="3059159" y="597529"/>
                  <a:pt x="3060226" y="597957"/>
                  <a:pt x="3060866" y="599237"/>
                </a:cubicBezTo>
                <a:cubicBezTo>
                  <a:pt x="3062360" y="604074"/>
                  <a:pt x="3052542" y="608058"/>
                  <a:pt x="3050408" y="606777"/>
                </a:cubicBezTo>
                <a:cubicBezTo>
                  <a:pt x="3049981" y="604928"/>
                  <a:pt x="3054463" y="598667"/>
                  <a:pt x="3058091" y="597814"/>
                </a:cubicBezTo>
                <a:close/>
                <a:moveTo>
                  <a:pt x="3154770" y="596249"/>
                </a:moveTo>
                <a:cubicBezTo>
                  <a:pt x="3156051" y="601229"/>
                  <a:pt x="3157331" y="606208"/>
                  <a:pt x="3152636" y="607204"/>
                </a:cubicBezTo>
                <a:cubicBezTo>
                  <a:pt x="3147728" y="603931"/>
                  <a:pt x="3147514" y="596960"/>
                  <a:pt x="3154770" y="596249"/>
                </a:cubicBezTo>
                <a:close/>
                <a:moveTo>
                  <a:pt x="3415569" y="590558"/>
                </a:moveTo>
                <a:cubicBezTo>
                  <a:pt x="3419411" y="591270"/>
                  <a:pt x="3421332" y="592408"/>
                  <a:pt x="3422185" y="593973"/>
                </a:cubicBezTo>
                <a:cubicBezTo>
                  <a:pt x="3424533" y="598667"/>
                  <a:pt x="3415997" y="606350"/>
                  <a:pt x="3412368" y="611898"/>
                </a:cubicBezTo>
                <a:cubicBezTo>
                  <a:pt x="3407459" y="610903"/>
                  <a:pt x="3405966" y="610191"/>
                  <a:pt x="3402764" y="606208"/>
                </a:cubicBezTo>
                <a:cubicBezTo>
                  <a:pt x="3404898" y="598525"/>
                  <a:pt x="3410234" y="594542"/>
                  <a:pt x="3415569" y="590558"/>
                </a:cubicBezTo>
                <a:close/>
                <a:moveTo>
                  <a:pt x="3515023" y="587855"/>
                </a:moveTo>
                <a:cubicBezTo>
                  <a:pt x="3523774" y="588851"/>
                  <a:pt x="3518224" y="601229"/>
                  <a:pt x="3517584" y="608626"/>
                </a:cubicBezTo>
                <a:cubicBezTo>
                  <a:pt x="3512676" y="609623"/>
                  <a:pt x="3510968" y="609338"/>
                  <a:pt x="3506273" y="606919"/>
                </a:cubicBezTo>
                <a:cubicBezTo>
                  <a:pt x="3504352" y="599094"/>
                  <a:pt x="3507340" y="593546"/>
                  <a:pt x="3510328" y="587998"/>
                </a:cubicBezTo>
                <a:cubicBezTo>
                  <a:pt x="3512035" y="587713"/>
                  <a:pt x="3513743" y="587713"/>
                  <a:pt x="3515023" y="587855"/>
                </a:cubicBezTo>
                <a:close/>
                <a:moveTo>
                  <a:pt x="3155198" y="587571"/>
                </a:moveTo>
                <a:cubicBezTo>
                  <a:pt x="3155411" y="587571"/>
                  <a:pt x="3155624" y="587998"/>
                  <a:pt x="3155624" y="588566"/>
                </a:cubicBezTo>
                <a:cubicBezTo>
                  <a:pt x="3157758" y="589705"/>
                  <a:pt x="3155198" y="591981"/>
                  <a:pt x="3153917" y="592977"/>
                </a:cubicBezTo>
                <a:cubicBezTo>
                  <a:pt x="3154343" y="589563"/>
                  <a:pt x="3153277" y="588424"/>
                  <a:pt x="3154557" y="588566"/>
                </a:cubicBezTo>
                <a:cubicBezTo>
                  <a:pt x="3154557" y="587998"/>
                  <a:pt x="3154984" y="587571"/>
                  <a:pt x="3155198" y="587571"/>
                </a:cubicBezTo>
                <a:close/>
                <a:moveTo>
                  <a:pt x="2981687" y="587286"/>
                </a:moveTo>
                <a:cubicBezTo>
                  <a:pt x="2983181" y="588709"/>
                  <a:pt x="2983821" y="589989"/>
                  <a:pt x="2984035" y="591270"/>
                </a:cubicBezTo>
                <a:cubicBezTo>
                  <a:pt x="2984675" y="594969"/>
                  <a:pt x="2980407" y="598525"/>
                  <a:pt x="2977846" y="602936"/>
                </a:cubicBezTo>
                <a:cubicBezTo>
                  <a:pt x="2975498" y="600233"/>
                  <a:pt x="2974644" y="597672"/>
                  <a:pt x="2975498" y="595111"/>
                </a:cubicBezTo>
                <a:cubicBezTo>
                  <a:pt x="2976138" y="592692"/>
                  <a:pt x="2978272" y="590131"/>
                  <a:pt x="2981687" y="587286"/>
                </a:cubicBezTo>
                <a:close/>
                <a:moveTo>
                  <a:pt x="3010712" y="586148"/>
                </a:moveTo>
                <a:cubicBezTo>
                  <a:pt x="3012846" y="586290"/>
                  <a:pt x="3015408" y="587144"/>
                  <a:pt x="3018182" y="589420"/>
                </a:cubicBezTo>
                <a:cubicBezTo>
                  <a:pt x="3024158" y="594400"/>
                  <a:pt x="3029066" y="601798"/>
                  <a:pt x="3021383" y="611045"/>
                </a:cubicBezTo>
                <a:cubicBezTo>
                  <a:pt x="3020316" y="613321"/>
                  <a:pt x="3020316" y="612041"/>
                  <a:pt x="3019249" y="613179"/>
                </a:cubicBezTo>
                <a:cubicBezTo>
                  <a:pt x="3017968" y="614317"/>
                  <a:pt x="3016901" y="616736"/>
                  <a:pt x="3017115" y="617874"/>
                </a:cubicBezTo>
                <a:cubicBezTo>
                  <a:pt x="3012206" y="614175"/>
                  <a:pt x="3010072" y="617589"/>
                  <a:pt x="3002816" y="611330"/>
                </a:cubicBezTo>
                <a:cubicBezTo>
                  <a:pt x="2993212" y="603789"/>
                  <a:pt x="2995133" y="595537"/>
                  <a:pt x="2998334" y="590843"/>
                </a:cubicBezTo>
                <a:cubicBezTo>
                  <a:pt x="2999401" y="591839"/>
                  <a:pt x="3003883" y="585579"/>
                  <a:pt x="3010712" y="586148"/>
                </a:cubicBezTo>
                <a:close/>
                <a:moveTo>
                  <a:pt x="1958874" y="585995"/>
                </a:moveTo>
                <a:cubicBezTo>
                  <a:pt x="1964966" y="588164"/>
                  <a:pt x="1967031" y="592656"/>
                  <a:pt x="1966412" y="598077"/>
                </a:cubicBezTo>
                <a:cubicBezTo>
                  <a:pt x="1960732" y="602879"/>
                  <a:pt x="1952472" y="597612"/>
                  <a:pt x="1953195" y="590797"/>
                </a:cubicBezTo>
                <a:cubicBezTo>
                  <a:pt x="1954640" y="589713"/>
                  <a:pt x="1956189" y="587079"/>
                  <a:pt x="1958874" y="585995"/>
                </a:cubicBezTo>
                <a:close/>
                <a:moveTo>
                  <a:pt x="3289225" y="585436"/>
                </a:moveTo>
                <a:cubicBezTo>
                  <a:pt x="3291146" y="587001"/>
                  <a:pt x="3292000" y="589847"/>
                  <a:pt x="3292426" y="593262"/>
                </a:cubicBezTo>
                <a:lnTo>
                  <a:pt x="3292640" y="602366"/>
                </a:lnTo>
                <a:lnTo>
                  <a:pt x="3295841" y="604358"/>
                </a:lnTo>
                <a:cubicBezTo>
                  <a:pt x="3294561" y="605496"/>
                  <a:pt x="3295414" y="606777"/>
                  <a:pt x="3296268" y="608200"/>
                </a:cubicBezTo>
                <a:cubicBezTo>
                  <a:pt x="3293707" y="618585"/>
                  <a:pt x="3273219" y="620862"/>
                  <a:pt x="3272792" y="611898"/>
                </a:cubicBezTo>
                <a:cubicBezTo>
                  <a:pt x="3272578" y="610618"/>
                  <a:pt x="3273005" y="609053"/>
                  <a:pt x="3273859" y="607346"/>
                </a:cubicBezTo>
                <a:cubicBezTo>
                  <a:pt x="3275779" y="605639"/>
                  <a:pt x="3277700" y="604216"/>
                  <a:pt x="3279621" y="603220"/>
                </a:cubicBezTo>
                <a:lnTo>
                  <a:pt x="3285170" y="600944"/>
                </a:lnTo>
                <a:lnTo>
                  <a:pt x="3284743" y="592265"/>
                </a:lnTo>
                <a:cubicBezTo>
                  <a:pt x="3284530" y="589278"/>
                  <a:pt x="3285383" y="587001"/>
                  <a:pt x="3289225" y="585436"/>
                </a:cubicBezTo>
                <a:close/>
                <a:moveTo>
                  <a:pt x="2940070" y="584726"/>
                </a:moveTo>
                <a:cubicBezTo>
                  <a:pt x="2943058" y="588424"/>
                  <a:pt x="2946046" y="592123"/>
                  <a:pt x="2948821" y="595822"/>
                </a:cubicBezTo>
                <a:lnTo>
                  <a:pt x="2956290" y="606635"/>
                </a:lnTo>
                <a:lnTo>
                  <a:pt x="2959065" y="605070"/>
                </a:lnTo>
                <a:cubicBezTo>
                  <a:pt x="2962479" y="603931"/>
                  <a:pt x="2966321" y="603505"/>
                  <a:pt x="2969949" y="603789"/>
                </a:cubicBezTo>
                <a:cubicBezTo>
                  <a:pt x="2978486" y="604358"/>
                  <a:pt x="2986169" y="609053"/>
                  <a:pt x="2988730" y="618301"/>
                </a:cubicBezTo>
                <a:cubicBezTo>
                  <a:pt x="2989583" y="622000"/>
                  <a:pt x="2989797" y="626126"/>
                  <a:pt x="2988943" y="631105"/>
                </a:cubicBezTo>
                <a:cubicBezTo>
                  <a:pt x="2985742" y="644620"/>
                  <a:pt x="2972724" y="651876"/>
                  <a:pt x="2962906" y="666815"/>
                </a:cubicBezTo>
                <a:lnTo>
                  <a:pt x="2961839" y="664111"/>
                </a:lnTo>
                <a:lnTo>
                  <a:pt x="2960558" y="664823"/>
                </a:lnTo>
                <a:cubicBezTo>
                  <a:pt x="2956290" y="663827"/>
                  <a:pt x="2953302" y="660554"/>
                  <a:pt x="2952875" y="656998"/>
                </a:cubicBezTo>
                <a:lnTo>
                  <a:pt x="2954156" y="652161"/>
                </a:lnTo>
                <a:lnTo>
                  <a:pt x="2947967" y="647323"/>
                </a:lnTo>
                <a:cubicBezTo>
                  <a:pt x="2946046" y="645758"/>
                  <a:pt x="2944125" y="644051"/>
                  <a:pt x="2942418" y="642060"/>
                </a:cubicBezTo>
                <a:cubicBezTo>
                  <a:pt x="2940497" y="639357"/>
                  <a:pt x="2939216" y="636084"/>
                  <a:pt x="2939216" y="631816"/>
                </a:cubicBezTo>
                <a:cubicBezTo>
                  <a:pt x="2939003" y="627263"/>
                  <a:pt x="2940070" y="622996"/>
                  <a:pt x="2941778" y="619439"/>
                </a:cubicBezTo>
                <a:lnTo>
                  <a:pt x="2941991" y="619012"/>
                </a:lnTo>
                <a:lnTo>
                  <a:pt x="2940497" y="617447"/>
                </a:lnTo>
                <a:lnTo>
                  <a:pt x="2938150" y="613321"/>
                </a:lnTo>
                <a:lnTo>
                  <a:pt x="2936228" y="615171"/>
                </a:lnTo>
                <a:cubicBezTo>
                  <a:pt x="2926838" y="621146"/>
                  <a:pt x="2915314" y="621573"/>
                  <a:pt x="2908058" y="614032"/>
                </a:cubicBezTo>
                <a:cubicBezTo>
                  <a:pt x="2905496" y="610618"/>
                  <a:pt x="2904215" y="607204"/>
                  <a:pt x="2904215" y="604074"/>
                </a:cubicBezTo>
                <a:lnTo>
                  <a:pt x="2906350" y="597387"/>
                </a:lnTo>
                <a:lnTo>
                  <a:pt x="2905923" y="596534"/>
                </a:lnTo>
                <a:lnTo>
                  <a:pt x="2906563" y="596392"/>
                </a:lnTo>
                <a:lnTo>
                  <a:pt x="2906777" y="595680"/>
                </a:lnTo>
                <a:cubicBezTo>
                  <a:pt x="2910405" y="590700"/>
                  <a:pt x="2917021" y="587713"/>
                  <a:pt x="2923850" y="588282"/>
                </a:cubicBezTo>
                <a:cubicBezTo>
                  <a:pt x="2925985" y="588424"/>
                  <a:pt x="2928119" y="588709"/>
                  <a:pt x="2930040" y="589563"/>
                </a:cubicBezTo>
                <a:lnTo>
                  <a:pt x="2935162" y="592550"/>
                </a:lnTo>
                <a:lnTo>
                  <a:pt x="2935802" y="591270"/>
                </a:lnTo>
                <a:cubicBezTo>
                  <a:pt x="2936656" y="588993"/>
                  <a:pt x="2937509" y="586859"/>
                  <a:pt x="2940070" y="584726"/>
                </a:cubicBezTo>
                <a:close/>
                <a:moveTo>
                  <a:pt x="3136843" y="584014"/>
                </a:moveTo>
                <a:cubicBezTo>
                  <a:pt x="3140044" y="583018"/>
                  <a:pt x="3142179" y="586006"/>
                  <a:pt x="3142819" y="589278"/>
                </a:cubicBezTo>
                <a:cubicBezTo>
                  <a:pt x="3143459" y="590274"/>
                  <a:pt x="3143246" y="591554"/>
                  <a:pt x="3142606" y="592835"/>
                </a:cubicBezTo>
                <a:cubicBezTo>
                  <a:pt x="3141965" y="594115"/>
                  <a:pt x="3140898" y="595253"/>
                  <a:pt x="3139831" y="595965"/>
                </a:cubicBezTo>
                <a:cubicBezTo>
                  <a:pt x="3138124" y="596392"/>
                  <a:pt x="3138124" y="596392"/>
                  <a:pt x="3136630" y="596818"/>
                </a:cubicBezTo>
                <a:cubicBezTo>
                  <a:pt x="3134709" y="595680"/>
                  <a:pt x="3132148" y="595537"/>
                  <a:pt x="3131081" y="593262"/>
                </a:cubicBezTo>
                <a:cubicBezTo>
                  <a:pt x="3130441" y="589989"/>
                  <a:pt x="3134709" y="585436"/>
                  <a:pt x="3136843" y="584014"/>
                </a:cubicBezTo>
                <a:close/>
                <a:moveTo>
                  <a:pt x="1987151" y="581453"/>
                </a:moveTo>
                <a:cubicBezTo>
                  <a:pt x="1984376" y="588709"/>
                  <a:pt x="1982456" y="596818"/>
                  <a:pt x="1979681" y="604643"/>
                </a:cubicBezTo>
                <a:cubicBezTo>
                  <a:pt x="1977120" y="612468"/>
                  <a:pt x="1973919" y="620008"/>
                  <a:pt x="1968797" y="626410"/>
                </a:cubicBezTo>
                <a:cubicBezTo>
                  <a:pt x="1961754" y="611756"/>
                  <a:pt x="1964955" y="581169"/>
                  <a:pt x="1987151" y="581453"/>
                </a:cubicBezTo>
                <a:close/>
                <a:moveTo>
                  <a:pt x="3182088" y="580742"/>
                </a:moveTo>
                <a:cubicBezTo>
                  <a:pt x="3192332" y="596960"/>
                  <a:pt x="3183796" y="621146"/>
                  <a:pt x="3180808" y="642486"/>
                </a:cubicBezTo>
                <a:cubicBezTo>
                  <a:pt x="3176966" y="641206"/>
                  <a:pt x="3173978" y="643340"/>
                  <a:pt x="3168429" y="640210"/>
                </a:cubicBezTo>
                <a:lnTo>
                  <a:pt x="3172057" y="624418"/>
                </a:lnTo>
                <a:lnTo>
                  <a:pt x="3171417" y="622284"/>
                </a:lnTo>
                <a:cubicBezTo>
                  <a:pt x="3171417" y="621004"/>
                  <a:pt x="3171631" y="619866"/>
                  <a:pt x="3172057" y="619297"/>
                </a:cubicBezTo>
                <a:lnTo>
                  <a:pt x="3173338" y="618727"/>
                </a:lnTo>
                <a:lnTo>
                  <a:pt x="3175472" y="609053"/>
                </a:lnTo>
                <a:cubicBezTo>
                  <a:pt x="3177180" y="598952"/>
                  <a:pt x="3179100" y="589420"/>
                  <a:pt x="3182088" y="580742"/>
                </a:cubicBezTo>
                <a:close/>
                <a:moveTo>
                  <a:pt x="3231388" y="580457"/>
                </a:moveTo>
                <a:cubicBezTo>
                  <a:pt x="3232669" y="585294"/>
                  <a:pt x="3235657" y="588566"/>
                  <a:pt x="3236937" y="593404"/>
                </a:cubicBezTo>
                <a:cubicBezTo>
                  <a:pt x="3233949" y="600659"/>
                  <a:pt x="3218583" y="607773"/>
                  <a:pt x="3210900" y="603505"/>
                </a:cubicBezTo>
                <a:cubicBezTo>
                  <a:pt x="3208339" y="601940"/>
                  <a:pt x="3206632" y="599237"/>
                  <a:pt x="3206632" y="594827"/>
                </a:cubicBezTo>
                <a:cubicBezTo>
                  <a:pt x="3207058" y="588282"/>
                  <a:pt x="3210046" y="584726"/>
                  <a:pt x="3214528" y="582734"/>
                </a:cubicBezTo>
                <a:lnTo>
                  <a:pt x="3214741" y="582591"/>
                </a:lnTo>
                <a:lnTo>
                  <a:pt x="3215169" y="581880"/>
                </a:lnTo>
                <a:lnTo>
                  <a:pt x="3219010" y="581595"/>
                </a:lnTo>
                <a:lnTo>
                  <a:pt x="3222211" y="580742"/>
                </a:lnTo>
                <a:cubicBezTo>
                  <a:pt x="3224986" y="580457"/>
                  <a:pt x="3228187" y="580457"/>
                  <a:pt x="3231388" y="580457"/>
                </a:cubicBezTo>
                <a:close/>
                <a:moveTo>
                  <a:pt x="3395508" y="579319"/>
                </a:moveTo>
                <a:cubicBezTo>
                  <a:pt x="3395722" y="580884"/>
                  <a:pt x="3397429" y="580457"/>
                  <a:pt x="3398923" y="580030"/>
                </a:cubicBezTo>
                <a:cubicBezTo>
                  <a:pt x="3399350" y="582449"/>
                  <a:pt x="3400630" y="586148"/>
                  <a:pt x="3398496" y="588566"/>
                </a:cubicBezTo>
                <a:cubicBezTo>
                  <a:pt x="3397642" y="589420"/>
                  <a:pt x="3396575" y="589989"/>
                  <a:pt x="3394867" y="590416"/>
                </a:cubicBezTo>
                <a:cubicBezTo>
                  <a:pt x="3394228" y="591412"/>
                  <a:pt x="3389959" y="590131"/>
                  <a:pt x="3389532" y="588566"/>
                </a:cubicBezTo>
                <a:cubicBezTo>
                  <a:pt x="3388039" y="584583"/>
                  <a:pt x="3391880" y="582734"/>
                  <a:pt x="3395508" y="579319"/>
                </a:cubicBezTo>
                <a:close/>
                <a:moveTo>
                  <a:pt x="3357092" y="577043"/>
                </a:moveTo>
                <a:cubicBezTo>
                  <a:pt x="3345781" y="594542"/>
                  <a:pt x="3326146" y="622996"/>
                  <a:pt x="3306939" y="630678"/>
                </a:cubicBezTo>
                <a:cubicBezTo>
                  <a:pt x="3293707" y="608911"/>
                  <a:pt x="3340659" y="580315"/>
                  <a:pt x="3357092" y="577043"/>
                </a:cubicBezTo>
                <a:close/>
                <a:moveTo>
                  <a:pt x="3573074" y="576758"/>
                </a:moveTo>
                <a:cubicBezTo>
                  <a:pt x="3574994" y="578323"/>
                  <a:pt x="3577769" y="578323"/>
                  <a:pt x="3579262" y="578892"/>
                </a:cubicBezTo>
                <a:cubicBezTo>
                  <a:pt x="3580543" y="582164"/>
                  <a:pt x="3580117" y="584726"/>
                  <a:pt x="3577769" y="588566"/>
                </a:cubicBezTo>
                <a:cubicBezTo>
                  <a:pt x="3572433" y="588566"/>
                  <a:pt x="3573927" y="589136"/>
                  <a:pt x="3569018" y="586433"/>
                </a:cubicBezTo>
                <a:cubicBezTo>
                  <a:pt x="3570512" y="583303"/>
                  <a:pt x="3571793" y="580030"/>
                  <a:pt x="3573074" y="576758"/>
                </a:cubicBezTo>
                <a:close/>
                <a:moveTo>
                  <a:pt x="2880099" y="575762"/>
                </a:moveTo>
                <a:cubicBezTo>
                  <a:pt x="2887782" y="579461"/>
                  <a:pt x="2890344" y="594542"/>
                  <a:pt x="2887142" y="600517"/>
                </a:cubicBezTo>
                <a:cubicBezTo>
                  <a:pt x="2882233" y="602366"/>
                  <a:pt x="2878392" y="601940"/>
                  <a:pt x="2875617" y="600233"/>
                </a:cubicBezTo>
                <a:cubicBezTo>
                  <a:pt x="2873483" y="598952"/>
                  <a:pt x="2872203" y="596960"/>
                  <a:pt x="2871136" y="594542"/>
                </a:cubicBezTo>
                <a:lnTo>
                  <a:pt x="2870922" y="592123"/>
                </a:lnTo>
                <a:cubicBezTo>
                  <a:pt x="2866654" y="593119"/>
                  <a:pt x="2861318" y="590843"/>
                  <a:pt x="2859184" y="584441"/>
                </a:cubicBezTo>
                <a:cubicBezTo>
                  <a:pt x="2861318" y="580030"/>
                  <a:pt x="2864093" y="578039"/>
                  <a:pt x="2865800" y="576189"/>
                </a:cubicBezTo>
                <a:lnTo>
                  <a:pt x="2873270" y="579746"/>
                </a:lnTo>
                <a:close/>
                <a:moveTo>
                  <a:pt x="3206418" y="575478"/>
                </a:moveTo>
                <a:cubicBezTo>
                  <a:pt x="3207485" y="575335"/>
                  <a:pt x="3208765" y="575478"/>
                  <a:pt x="3209833" y="576047"/>
                </a:cubicBezTo>
                <a:cubicBezTo>
                  <a:pt x="3211327" y="577185"/>
                  <a:pt x="3211540" y="579604"/>
                  <a:pt x="3210900" y="583303"/>
                </a:cubicBezTo>
                <a:cubicBezTo>
                  <a:pt x="3208765" y="584583"/>
                  <a:pt x="3204924" y="581169"/>
                  <a:pt x="3202363" y="580173"/>
                </a:cubicBezTo>
                <a:cubicBezTo>
                  <a:pt x="3203430" y="578892"/>
                  <a:pt x="3204498" y="577612"/>
                  <a:pt x="3203217" y="577612"/>
                </a:cubicBezTo>
                <a:cubicBezTo>
                  <a:pt x="3204284" y="576332"/>
                  <a:pt x="3205351" y="575762"/>
                  <a:pt x="3206418" y="575478"/>
                </a:cubicBezTo>
                <a:close/>
                <a:moveTo>
                  <a:pt x="2933241" y="573059"/>
                </a:moveTo>
                <a:cubicBezTo>
                  <a:pt x="2935162" y="573202"/>
                  <a:pt x="2936442" y="573913"/>
                  <a:pt x="2937083" y="575051"/>
                </a:cubicBezTo>
                <a:cubicBezTo>
                  <a:pt x="2937509" y="576189"/>
                  <a:pt x="2937509" y="577754"/>
                  <a:pt x="2937296" y="579319"/>
                </a:cubicBezTo>
                <a:cubicBezTo>
                  <a:pt x="2936869" y="582591"/>
                  <a:pt x="2934308" y="582876"/>
                  <a:pt x="2934308" y="582876"/>
                </a:cubicBezTo>
                <a:cubicBezTo>
                  <a:pt x="2930253" y="582591"/>
                  <a:pt x="2927265" y="580030"/>
                  <a:pt x="2927052" y="575762"/>
                </a:cubicBezTo>
                <a:cubicBezTo>
                  <a:pt x="2928119" y="573486"/>
                  <a:pt x="2930680" y="573344"/>
                  <a:pt x="2933241" y="573059"/>
                </a:cubicBezTo>
                <a:close/>
                <a:moveTo>
                  <a:pt x="3024584" y="571779"/>
                </a:moveTo>
                <a:cubicBezTo>
                  <a:pt x="3028426" y="571352"/>
                  <a:pt x="3033335" y="572633"/>
                  <a:pt x="3036322" y="575051"/>
                </a:cubicBezTo>
                <a:lnTo>
                  <a:pt x="3037390" y="576332"/>
                </a:lnTo>
                <a:lnTo>
                  <a:pt x="3039097" y="575335"/>
                </a:lnTo>
                <a:cubicBezTo>
                  <a:pt x="3041872" y="575193"/>
                  <a:pt x="3044646" y="576189"/>
                  <a:pt x="3047634" y="578750"/>
                </a:cubicBezTo>
                <a:cubicBezTo>
                  <a:pt x="3048914" y="584726"/>
                  <a:pt x="3042298" y="587855"/>
                  <a:pt x="3038884" y="590131"/>
                </a:cubicBezTo>
                <a:lnTo>
                  <a:pt x="3037390" y="588424"/>
                </a:lnTo>
                <a:lnTo>
                  <a:pt x="3036536" y="590843"/>
                </a:lnTo>
                <a:cubicBezTo>
                  <a:pt x="3035896" y="591839"/>
                  <a:pt x="3035255" y="592835"/>
                  <a:pt x="3034402" y="593973"/>
                </a:cubicBezTo>
                <a:cubicBezTo>
                  <a:pt x="3033121" y="593262"/>
                  <a:pt x="3031627" y="593262"/>
                  <a:pt x="3030347" y="592977"/>
                </a:cubicBezTo>
                <a:lnTo>
                  <a:pt x="3026292" y="591270"/>
                </a:lnTo>
                <a:lnTo>
                  <a:pt x="3025225" y="591697"/>
                </a:lnTo>
                <a:cubicBezTo>
                  <a:pt x="3014980" y="578039"/>
                  <a:pt x="3018395" y="572490"/>
                  <a:pt x="3024584" y="571779"/>
                </a:cubicBezTo>
                <a:close/>
                <a:moveTo>
                  <a:pt x="2899094" y="568791"/>
                </a:moveTo>
                <a:cubicBezTo>
                  <a:pt x="2902082" y="569218"/>
                  <a:pt x="2905496" y="571068"/>
                  <a:pt x="2908698" y="574767"/>
                </a:cubicBezTo>
                <a:cubicBezTo>
                  <a:pt x="2910191" y="580742"/>
                  <a:pt x="2903575" y="588709"/>
                  <a:pt x="2898880" y="587286"/>
                </a:cubicBezTo>
                <a:cubicBezTo>
                  <a:pt x="2885435" y="577754"/>
                  <a:pt x="2890130" y="567226"/>
                  <a:pt x="2899094" y="568791"/>
                </a:cubicBezTo>
                <a:close/>
                <a:moveTo>
                  <a:pt x="3269591" y="564381"/>
                </a:moveTo>
                <a:cubicBezTo>
                  <a:pt x="3271511" y="564096"/>
                  <a:pt x="3274072" y="564239"/>
                  <a:pt x="3276420" y="564381"/>
                </a:cubicBezTo>
                <a:cubicBezTo>
                  <a:pt x="3278554" y="564523"/>
                  <a:pt x="3280475" y="564808"/>
                  <a:pt x="3280902" y="564808"/>
                </a:cubicBezTo>
                <a:cubicBezTo>
                  <a:pt x="3280902" y="564808"/>
                  <a:pt x="3282182" y="564666"/>
                  <a:pt x="3283250" y="564523"/>
                </a:cubicBezTo>
                <a:cubicBezTo>
                  <a:pt x="3284530" y="565661"/>
                  <a:pt x="3284743" y="566942"/>
                  <a:pt x="3285810" y="566799"/>
                </a:cubicBezTo>
                <a:cubicBezTo>
                  <a:pt x="3282822" y="570498"/>
                  <a:pt x="3279407" y="569503"/>
                  <a:pt x="3275779" y="568649"/>
                </a:cubicBezTo>
                <a:cubicBezTo>
                  <a:pt x="3273432" y="567511"/>
                  <a:pt x="3272151" y="567653"/>
                  <a:pt x="3270017" y="568933"/>
                </a:cubicBezTo>
                <a:cubicBezTo>
                  <a:pt x="3270017" y="568933"/>
                  <a:pt x="3270017" y="568933"/>
                  <a:pt x="3267456" y="566657"/>
                </a:cubicBezTo>
                <a:lnTo>
                  <a:pt x="3267243" y="565519"/>
                </a:lnTo>
                <a:cubicBezTo>
                  <a:pt x="3267456" y="564950"/>
                  <a:pt x="3268310" y="564523"/>
                  <a:pt x="3269591" y="564381"/>
                </a:cubicBezTo>
                <a:close/>
                <a:moveTo>
                  <a:pt x="3044219" y="556698"/>
                </a:moveTo>
                <a:cubicBezTo>
                  <a:pt x="3045713" y="557552"/>
                  <a:pt x="3048274" y="558121"/>
                  <a:pt x="3050195" y="560113"/>
                </a:cubicBezTo>
                <a:cubicBezTo>
                  <a:pt x="3050835" y="566231"/>
                  <a:pt x="3048274" y="569360"/>
                  <a:pt x="3043792" y="570640"/>
                </a:cubicBezTo>
                <a:cubicBezTo>
                  <a:pt x="3037817" y="567226"/>
                  <a:pt x="3038457" y="558263"/>
                  <a:pt x="3044219" y="556698"/>
                </a:cubicBezTo>
                <a:close/>
                <a:moveTo>
                  <a:pt x="1903426" y="554861"/>
                </a:moveTo>
                <a:cubicBezTo>
                  <a:pt x="1913028" y="556875"/>
                  <a:pt x="1908692" y="567563"/>
                  <a:pt x="1903735" y="568647"/>
                </a:cubicBezTo>
                <a:cubicBezTo>
                  <a:pt x="1900844" y="567253"/>
                  <a:pt x="1899605" y="564464"/>
                  <a:pt x="1899708" y="561676"/>
                </a:cubicBezTo>
                <a:cubicBezTo>
                  <a:pt x="1899708" y="558888"/>
                  <a:pt x="1901051" y="556100"/>
                  <a:pt x="1903426" y="554861"/>
                </a:cubicBezTo>
                <a:close/>
                <a:moveTo>
                  <a:pt x="3118702" y="554707"/>
                </a:moveTo>
                <a:cubicBezTo>
                  <a:pt x="3121904" y="553853"/>
                  <a:pt x="3123185" y="556129"/>
                  <a:pt x="3123611" y="557837"/>
                </a:cubicBezTo>
                <a:cubicBezTo>
                  <a:pt x="3124678" y="559259"/>
                  <a:pt x="3124465" y="560966"/>
                  <a:pt x="3123611" y="562674"/>
                </a:cubicBezTo>
                <a:cubicBezTo>
                  <a:pt x="3122758" y="564523"/>
                  <a:pt x="3121477" y="566088"/>
                  <a:pt x="3119983" y="567368"/>
                </a:cubicBezTo>
                <a:cubicBezTo>
                  <a:pt x="3120623" y="566373"/>
                  <a:pt x="3120623" y="566373"/>
                  <a:pt x="3120623" y="566373"/>
                </a:cubicBezTo>
                <a:cubicBezTo>
                  <a:pt x="3120410" y="564666"/>
                  <a:pt x="3119770" y="565803"/>
                  <a:pt x="3118702" y="565234"/>
                </a:cubicBezTo>
                <a:cubicBezTo>
                  <a:pt x="3118702" y="565234"/>
                  <a:pt x="3119770" y="565803"/>
                  <a:pt x="3118062" y="566231"/>
                </a:cubicBezTo>
                <a:cubicBezTo>
                  <a:pt x="3118702" y="565234"/>
                  <a:pt x="3117849" y="564523"/>
                  <a:pt x="3116782" y="563954"/>
                </a:cubicBezTo>
                <a:cubicBezTo>
                  <a:pt x="3116355" y="560682"/>
                  <a:pt x="3116355" y="556272"/>
                  <a:pt x="3118702" y="554707"/>
                </a:cubicBezTo>
                <a:close/>
                <a:moveTo>
                  <a:pt x="3420265" y="551008"/>
                </a:moveTo>
                <a:cubicBezTo>
                  <a:pt x="3420692" y="551150"/>
                  <a:pt x="3421332" y="551719"/>
                  <a:pt x="3421759" y="552288"/>
                </a:cubicBezTo>
                <a:cubicBezTo>
                  <a:pt x="3423893" y="555560"/>
                  <a:pt x="3423466" y="562674"/>
                  <a:pt x="3418984" y="562104"/>
                </a:cubicBezTo>
                <a:lnTo>
                  <a:pt x="3418130" y="561536"/>
                </a:lnTo>
                <a:lnTo>
                  <a:pt x="3417490" y="561820"/>
                </a:lnTo>
                <a:cubicBezTo>
                  <a:pt x="3416209" y="561962"/>
                  <a:pt x="3414716" y="561678"/>
                  <a:pt x="3413649" y="561678"/>
                </a:cubicBezTo>
                <a:cubicBezTo>
                  <a:pt x="3412795" y="564239"/>
                  <a:pt x="3408740" y="559686"/>
                  <a:pt x="3407886" y="562104"/>
                </a:cubicBezTo>
                <a:cubicBezTo>
                  <a:pt x="3402764" y="557552"/>
                  <a:pt x="3397856" y="563954"/>
                  <a:pt x="3389105" y="558406"/>
                </a:cubicBezTo>
                <a:cubicBezTo>
                  <a:pt x="3391880" y="557267"/>
                  <a:pt x="3394441" y="556698"/>
                  <a:pt x="3396788" y="556556"/>
                </a:cubicBezTo>
                <a:cubicBezTo>
                  <a:pt x="3400630" y="556129"/>
                  <a:pt x="3403831" y="556414"/>
                  <a:pt x="3406819" y="556556"/>
                </a:cubicBezTo>
                <a:lnTo>
                  <a:pt x="3414502" y="555702"/>
                </a:lnTo>
                <a:lnTo>
                  <a:pt x="3415783" y="553426"/>
                </a:lnTo>
                <a:cubicBezTo>
                  <a:pt x="3416637" y="552288"/>
                  <a:pt x="3417277" y="551577"/>
                  <a:pt x="3418130" y="551150"/>
                </a:cubicBezTo>
                <a:cubicBezTo>
                  <a:pt x="3418771" y="550723"/>
                  <a:pt x="3419624" y="550723"/>
                  <a:pt x="3420265" y="551008"/>
                </a:cubicBezTo>
                <a:close/>
                <a:moveTo>
                  <a:pt x="3366910" y="550581"/>
                </a:moveTo>
                <a:cubicBezTo>
                  <a:pt x="3368617" y="562531"/>
                  <a:pt x="3347062" y="579319"/>
                  <a:pt x="3337031" y="570072"/>
                </a:cubicBezTo>
                <a:cubicBezTo>
                  <a:pt x="3348556" y="564096"/>
                  <a:pt x="3352397" y="554422"/>
                  <a:pt x="3366910" y="550581"/>
                </a:cubicBezTo>
                <a:close/>
                <a:moveTo>
                  <a:pt x="2128008" y="548873"/>
                </a:moveTo>
                <a:cubicBezTo>
                  <a:pt x="2139960" y="553426"/>
                  <a:pt x="2147216" y="574482"/>
                  <a:pt x="2136118" y="577185"/>
                </a:cubicBezTo>
                <a:cubicBezTo>
                  <a:pt x="2134624" y="577612"/>
                  <a:pt x="2132704" y="577612"/>
                  <a:pt x="2130355" y="577185"/>
                </a:cubicBezTo>
                <a:cubicBezTo>
                  <a:pt x="2126514" y="569360"/>
                  <a:pt x="2117551" y="556840"/>
                  <a:pt x="2128008" y="548873"/>
                </a:cubicBezTo>
                <a:close/>
                <a:moveTo>
                  <a:pt x="3022237" y="546313"/>
                </a:moveTo>
                <a:cubicBezTo>
                  <a:pt x="3023304" y="546313"/>
                  <a:pt x="3024158" y="547024"/>
                  <a:pt x="3024584" y="548020"/>
                </a:cubicBezTo>
                <a:cubicBezTo>
                  <a:pt x="3025865" y="550154"/>
                  <a:pt x="3025438" y="553426"/>
                  <a:pt x="3022451" y="554422"/>
                </a:cubicBezTo>
                <a:cubicBezTo>
                  <a:pt x="3021596" y="553142"/>
                  <a:pt x="3019463" y="551719"/>
                  <a:pt x="3018608" y="549158"/>
                </a:cubicBezTo>
                <a:cubicBezTo>
                  <a:pt x="3019889" y="547166"/>
                  <a:pt x="3021170" y="546455"/>
                  <a:pt x="3022237" y="546313"/>
                </a:cubicBezTo>
                <a:close/>
                <a:moveTo>
                  <a:pt x="2882020" y="545886"/>
                </a:moveTo>
                <a:cubicBezTo>
                  <a:pt x="2883301" y="552146"/>
                  <a:pt x="2885008" y="563243"/>
                  <a:pt x="2874124" y="565946"/>
                </a:cubicBezTo>
                <a:cubicBezTo>
                  <a:pt x="2873270" y="564666"/>
                  <a:pt x="2872416" y="563243"/>
                  <a:pt x="2871349" y="561962"/>
                </a:cubicBezTo>
                <a:cubicBezTo>
                  <a:pt x="2876898" y="556414"/>
                  <a:pt x="2877965" y="550438"/>
                  <a:pt x="2882020" y="545886"/>
                </a:cubicBezTo>
                <a:close/>
                <a:moveTo>
                  <a:pt x="3266603" y="544748"/>
                </a:moveTo>
                <a:cubicBezTo>
                  <a:pt x="3269163" y="546455"/>
                  <a:pt x="3271724" y="546881"/>
                  <a:pt x="3274286" y="548447"/>
                </a:cubicBezTo>
                <a:cubicBezTo>
                  <a:pt x="3276847" y="555133"/>
                  <a:pt x="3273432" y="559544"/>
                  <a:pt x="3269163" y="560539"/>
                </a:cubicBezTo>
                <a:cubicBezTo>
                  <a:pt x="3264895" y="561678"/>
                  <a:pt x="3259773" y="559544"/>
                  <a:pt x="3258492" y="553142"/>
                </a:cubicBezTo>
                <a:cubicBezTo>
                  <a:pt x="3261267" y="548731"/>
                  <a:pt x="3264468" y="546597"/>
                  <a:pt x="3266603" y="544748"/>
                </a:cubicBezTo>
                <a:close/>
                <a:moveTo>
                  <a:pt x="3203003" y="543467"/>
                </a:moveTo>
                <a:cubicBezTo>
                  <a:pt x="3211540" y="553995"/>
                  <a:pt x="3200869" y="570214"/>
                  <a:pt x="3194040" y="577043"/>
                </a:cubicBezTo>
                <a:cubicBezTo>
                  <a:pt x="3194253" y="571494"/>
                  <a:pt x="3194467" y="565946"/>
                  <a:pt x="3195534" y="560397"/>
                </a:cubicBezTo>
                <a:cubicBezTo>
                  <a:pt x="3196601" y="554849"/>
                  <a:pt x="3198522" y="549158"/>
                  <a:pt x="3203003" y="543467"/>
                </a:cubicBezTo>
                <a:close/>
                <a:moveTo>
                  <a:pt x="3125959" y="543467"/>
                </a:moveTo>
                <a:cubicBezTo>
                  <a:pt x="3127026" y="543752"/>
                  <a:pt x="3128306" y="544748"/>
                  <a:pt x="3129373" y="545886"/>
                </a:cubicBezTo>
                <a:cubicBezTo>
                  <a:pt x="3131935" y="548447"/>
                  <a:pt x="3130868" y="550723"/>
                  <a:pt x="3130868" y="550723"/>
                </a:cubicBezTo>
                <a:cubicBezTo>
                  <a:pt x="3128733" y="554138"/>
                  <a:pt x="3125318" y="555133"/>
                  <a:pt x="3121690" y="552573"/>
                </a:cubicBezTo>
                <a:cubicBezTo>
                  <a:pt x="3120410" y="550154"/>
                  <a:pt x="3121477" y="547878"/>
                  <a:pt x="3122544" y="545601"/>
                </a:cubicBezTo>
                <a:cubicBezTo>
                  <a:pt x="3123611" y="543894"/>
                  <a:pt x="3124678" y="543325"/>
                  <a:pt x="3125959" y="543467"/>
                </a:cubicBezTo>
                <a:close/>
                <a:moveTo>
                  <a:pt x="3449290" y="542614"/>
                </a:moveTo>
                <a:cubicBezTo>
                  <a:pt x="3449717" y="542614"/>
                  <a:pt x="3450143" y="542898"/>
                  <a:pt x="3450784" y="544036"/>
                </a:cubicBezTo>
                <a:cubicBezTo>
                  <a:pt x="3451851" y="544606"/>
                  <a:pt x="3452064" y="546313"/>
                  <a:pt x="3452918" y="546881"/>
                </a:cubicBezTo>
                <a:cubicBezTo>
                  <a:pt x="3452918" y="546881"/>
                  <a:pt x="3452705" y="547736"/>
                  <a:pt x="3452278" y="548731"/>
                </a:cubicBezTo>
                <a:cubicBezTo>
                  <a:pt x="3451851" y="549727"/>
                  <a:pt x="3451210" y="550723"/>
                  <a:pt x="3450357" y="551008"/>
                </a:cubicBezTo>
                <a:cubicBezTo>
                  <a:pt x="3448009" y="552430"/>
                  <a:pt x="3447156" y="547593"/>
                  <a:pt x="3446302" y="547024"/>
                </a:cubicBezTo>
                <a:cubicBezTo>
                  <a:pt x="3446089" y="545317"/>
                  <a:pt x="3445662" y="543752"/>
                  <a:pt x="3447369" y="543183"/>
                </a:cubicBezTo>
                <a:cubicBezTo>
                  <a:pt x="3448223" y="543041"/>
                  <a:pt x="3448650" y="542614"/>
                  <a:pt x="3449290" y="542614"/>
                </a:cubicBezTo>
                <a:close/>
                <a:moveTo>
                  <a:pt x="2249017" y="542329"/>
                </a:moveTo>
                <a:cubicBezTo>
                  <a:pt x="2250725" y="542329"/>
                  <a:pt x="2252431" y="542756"/>
                  <a:pt x="2254353" y="543183"/>
                </a:cubicBezTo>
                <a:cubicBezTo>
                  <a:pt x="2265237" y="546455"/>
                  <a:pt x="2278469" y="557979"/>
                  <a:pt x="2275481" y="567226"/>
                </a:cubicBezTo>
                <a:cubicBezTo>
                  <a:pt x="2265024" y="557552"/>
                  <a:pt x="2254779" y="556414"/>
                  <a:pt x="2244748" y="543183"/>
                </a:cubicBezTo>
                <a:cubicBezTo>
                  <a:pt x="2246029" y="542614"/>
                  <a:pt x="2247310" y="542329"/>
                  <a:pt x="2249017" y="542329"/>
                </a:cubicBezTo>
                <a:close/>
                <a:moveTo>
                  <a:pt x="2189046" y="535215"/>
                </a:moveTo>
                <a:cubicBezTo>
                  <a:pt x="2204199" y="548304"/>
                  <a:pt x="2217431" y="566231"/>
                  <a:pt x="2219138" y="595395"/>
                </a:cubicBezTo>
                <a:cubicBezTo>
                  <a:pt x="2213696" y="601015"/>
                  <a:pt x="2208094" y="602900"/>
                  <a:pt x="2202812" y="602135"/>
                </a:cubicBezTo>
                <a:lnTo>
                  <a:pt x="2197984" y="599066"/>
                </a:lnTo>
                <a:lnTo>
                  <a:pt x="2195537" y="602104"/>
                </a:lnTo>
                <a:cubicBezTo>
                  <a:pt x="2192543" y="600400"/>
                  <a:pt x="2191407" y="598697"/>
                  <a:pt x="2191304" y="596683"/>
                </a:cubicBezTo>
                <a:lnTo>
                  <a:pt x="2191758" y="595108"/>
                </a:lnTo>
                <a:lnTo>
                  <a:pt x="2188406" y="592977"/>
                </a:lnTo>
                <a:cubicBezTo>
                  <a:pt x="2174320" y="576332"/>
                  <a:pt x="2168771" y="542898"/>
                  <a:pt x="2189046" y="535215"/>
                </a:cubicBezTo>
                <a:close/>
                <a:moveTo>
                  <a:pt x="2886075" y="525541"/>
                </a:moveTo>
                <a:cubicBezTo>
                  <a:pt x="2890130" y="530236"/>
                  <a:pt x="2892051" y="536923"/>
                  <a:pt x="2892051" y="543041"/>
                </a:cubicBezTo>
                <a:lnTo>
                  <a:pt x="2891411" y="548873"/>
                </a:lnTo>
                <a:lnTo>
                  <a:pt x="2895466" y="550012"/>
                </a:lnTo>
                <a:cubicBezTo>
                  <a:pt x="2898240" y="551292"/>
                  <a:pt x="2900801" y="553000"/>
                  <a:pt x="2903149" y="554280"/>
                </a:cubicBezTo>
                <a:cubicBezTo>
                  <a:pt x="2898667" y="556414"/>
                  <a:pt x="2893972" y="553853"/>
                  <a:pt x="2889703" y="561962"/>
                </a:cubicBezTo>
                <a:lnTo>
                  <a:pt x="2887782" y="556983"/>
                </a:lnTo>
                <a:lnTo>
                  <a:pt x="2887569" y="557694"/>
                </a:lnTo>
                <a:cubicBezTo>
                  <a:pt x="2879032" y="548020"/>
                  <a:pt x="2882233" y="532370"/>
                  <a:pt x="2886075" y="525541"/>
                </a:cubicBezTo>
                <a:close/>
                <a:moveTo>
                  <a:pt x="2845098" y="522127"/>
                </a:moveTo>
                <a:cubicBezTo>
                  <a:pt x="2851288" y="528245"/>
                  <a:pt x="2840830" y="541191"/>
                  <a:pt x="2839336" y="544606"/>
                </a:cubicBezTo>
                <a:cubicBezTo>
                  <a:pt x="2839336" y="544606"/>
                  <a:pt x="2839123" y="545886"/>
                  <a:pt x="2837842" y="547024"/>
                </a:cubicBezTo>
                <a:cubicBezTo>
                  <a:pt x="2836562" y="549443"/>
                  <a:pt x="2835708" y="545886"/>
                  <a:pt x="2834427" y="547024"/>
                </a:cubicBezTo>
                <a:cubicBezTo>
                  <a:pt x="2837842" y="537492"/>
                  <a:pt x="2836349" y="529241"/>
                  <a:pt x="2836349" y="529241"/>
                </a:cubicBezTo>
                <a:cubicBezTo>
                  <a:pt x="2837629" y="526822"/>
                  <a:pt x="2838696" y="526822"/>
                  <a:pt x="2837629" y="526822"/>
                </a:cubicBezTo>
                <a:cubicBezTo>
                  <a:pt x="2840190" y="524403"/>
                  <a:pt x="2842751" y="520989"/>
                  <a:pt x="2845098" y="522127"/>
                </a:cubicBezTo>
                <a:close/>
                <a:moveTo>
                  <a:pt x="2332678" y="520989"/>
                </a:moveTo>
                <a:cubicBezTo>
                  <a:pt x="2336946" y="520135"/>
                  <a:pt x="2341214" y="521842"/>
                  <a:pt x="2342495" y="525684"/>
                </a:cubicBezTo>
                <a:cubicBezTo>
                  <a:pt x="2343562" y="528102"/>
                  <a:pt x="2343135" y="531517"/>
                  <a:pt x="2340788" y="535642"/>
                </a:cubicBezTo>
                <a:cubicBezTo>
                  <a:pt x="2333318" y="532940"/>
                  <a:pt x="2328409" y="536638"/>
                  <a:pt x="2323714" y="531232"/>
                </a:cubicBezTo>
                <a:cubicBezTo>
                  <a:pt x="2324567" y="524972"/>
                  <a:pt x="2328623" y="521700"/>
                  <a:pt x="2332678" y="520989"/>
                </a:cubicBezTo>
                <a:close/>
                <a:moveTo>
                  <a:pt x="3301177" y="520562"/>
                </a:moveTo>
                <a:cubicBezTo>
                  <a:pt x="3302884" y="520704"/>
                  <a:pt x="3304592" y="521131"/>
                  <a:pt x="3306299" y="521700"/>
                </a:cubicBezTo>
                <a:cubicBezTo>
                  <a:pt x="3310994" y="523549"/>
                  <a:pt x="3315475" y="527249"/>
                  <a:pt x="3319317" y="533224"/>
                </a:cubicBezTo>
                <a:cubicBezTo>
                  <a:pt x="3319958" y="536212"/>
                  <a:pt x="3319317" y="539484"/>
                  <a:pt x="3317823" y="542614"/>
                </a:cubicBezTo>
                <a:cubicBezTo>
                  <a:pt x="3312915" y="552146"/>
                  <a:pt x="3299469" y="560824"/>
                  <a:pt x="3291146" y="558406"/>
                </a:cubicBezTo>
                <a:cubicBezTo>
                  <a:pt x="3287304" y="553568"/>
                  <a:pt x="3283250" y="548731"/>
                  <a:pt x="3279407" y="543752"/>
                </a:cubicBezTo>
                <a:cubicBezTo>
                  <a:pt x="3278341" y="532086"/>
                  <a:pt x="3286237" y="522554"/>
                  <a:pt x="3296054" y="520704"/>
                </a:cubicBezTo>
                <a:cubicBezTo>
                  <a:pt x="3297762" y="520420"/>
                  <a:pt x="3299469" y="520420"/>
                  <a:pt x="3301177" y="520562"/>
                </a:cubicBezTo>
                <a:close/>
                <a:moveTo>
                  <a:pt x="2291914" y="520277"/>
                </a:moveTo>
                <a:cubicBezTo>
                  <a:pt x="2296610" y="525257"/>
                  <a:pt x="2296823" y="530094"/>
                  <a:pt x="2294902" y="535927"/>
                </a:cubicBezTo>
                <a:cubicBezTo>
                  <a:pt x="2292555" y="535927"/>
                  <a:pt x="2289140" y="532228"/>
                  <a:pt x="2286793" y="529667"/>
                </a:cubicBezTo>
                <a:cubicBezTo>
                  <a:pt x="2286579" y="525968"/>
                  <a:pt x="2288713" y="522412"/>
                  <a:pt x="2291914" y="520277"/>
                </a:cubicBezTo>
                <a:close/>
                <a:moveTo>
                  <a:pt x="3447582" y="519139"/>
                </a:moveTo>
                <a:cubicBezTo>
                  <a:pt x="3449077" y="519993"/>
                  <a:pt x="3451638" y="520420"/>
                  <a:pt x="3453131" y="522412"/>
                </a:cubicBezTo>
                <a:cubicBezTo>
                  <a:pt x="3453131" y="528387"/>
                  <a:pt x="3450143" y="531801"/>
                  <a:pt x="3445448" y="533082"/>
                </a:cubicBezTo>
                <a:cubicBezTo>
                  <a:pt x="3439899" y="529952"/>
                  <a:pt x="3441820" y="520847"/>
                  <a:pt x="3447582" y="519139"/>
                </a:cubicBezTo>
                <a:close/>
                <a:moveTo>
                  <a:pt x="3028213" y="517859"/>
                </a:moveTo>
                <a:cubicBezTo>
                  <a:pt x="3028639" y="520562"/>
                  <a:pt x="3030134" y="522269"/>
                  <a:pt x="3030560" y="524830"/>
                </a:cubicBezTo>
                <a:cubicBezTo>
                  <a:pt x="3027146" y="528102"/>
                  <a:pt x="3027359" y="534078"/>
                  <a:pt x="3020316" y="532797"/>
                </a:cubicBezTo>
                <a:cubicBezTo>
                  <a:pt x="3015834" y="527533"/>
                  <a:pt x="3020103" y="517432"/>
                  <a:pt x="3028213" y="517859"/>
                </a:cubicBezTo>
                <a:close/>
                <a:moveTo>
                  <a:pt x="3389532" y="517575"/>
                </a:moveTo>
                <a:cubicBezTo>
                  <a:pt x="3392520" y="518712"/>
                  <a:pt x="3394228" y="516436"/>
                  <a:pt x="3397215" y="517575"/>
                </a:cubicBezTo>
                <a:cubicBezTo>
                  <a:pt x="3393160" y="527249"/>
                  <a:pt x="3389746" y="537919"/>
                  <a:pt x="3382063" y="537777"/>
                </a:cubicBezTo>
                <a:cubicBezTo>
                  <a:pt x="3378648" y="531943"/>
                  <a:pt x="3385051" y="522412"/>
                  <a:pt x="3389532" y="517575"/>
                </a:cubicBezTo>
                <a:close/>
                <a:moveTo>
                  <a:pt x="2175174" y="517005"/>
                </a:moveTo>
                <a:cubicBezTo>
                  <a:pt x="2176881" y="517290"/>
                  <a:pt x="2178375" y="518428"/>
                  <a:pt x="2179229" y="520847"/>
                </a:cubicBezTo>
                <a:cubicBezTo>
                  <a:pt x="2179656" y="522412"/>
                  <a:pt x="2180296" y="524119"/>
                  <a:pt x="2179229" y="523549"/>
                </a:cubicBezTo>
                <a:cubicBezTo>
                  <a:pt x="2178802" y="524546"/>
                  <a:pt x="2177734" y="523976"/>
                  <a:pt x="2176241" y="524403"/>
                </a:cubicBezTo>
                <a:cubicBezTo>
                  <a:pt x="2173680" y="524261"/>
                  <a:pt x="2170478" y="522412"/>
                  <a:pt x="2170051" y="520847"/>
                </a:cubicBezTo>
                <a:cubicBezTo>
                  <a:pt x="2169411" y="519282"/>
                  <a:pt x="2170051" y="518143"/>
                  <a:pt x="2170051" y="518143"/>
                </a:cubicBezTo>
                <a:cubicBezTo>
                  <a:pt x="2171759" y="517148"/>
                  <a:pt x="2173680" y="516721"/>
                  <a:pt x="2175174" y="517005"/>
                </a:cubicBezTo>
                <a:close/>
                <a:moveTo>
                  <a:pt x="3504565" y="511741"/>
                </a:moveTo>
                <a:cubicBezTo>
                  <a:pt x="3505420" y="511883"/>
                  <a:pt x="3506486" y="511883"/>
                  <a:pt x="3507553" y="511883"/>
                </a:cubicBezTo>
                <a:cubicBezTo>
                  <a:pt x="3508621" y="511883"/>
                  <a:pt x="3509901" y="512168"/>
                  <a:pt x="3511182" y="512737"/>
                </a:cubicBezTo>
                <a:cubicBezTo>
                  <a:pt x="3513956" y="518286"/>
                  <a:pt x="3512889" y="522412"/>
                  <a:pt x="3509261" y="525257"/>
                </a:cubicBezTo>
                <a:cubicBezTo>
                  <a:pt x="3502645" y="524403"/>
                  <a:pt x="3500084" y="515440"/>
                  <a:pt x="3504565" y="511741"/>
                </a:cubicBezTo>
                <a:close/>
                <a:moveTo>
                  <a:pt x="3069830" y="511599"/>
                </a:moveTo>
                <a:cubicBezTo>
                  <a:pt x="3076018" y="518428"/>
                  <a:pt x="3083915" y="520562"/>
                  <a:pt x="3083915" y="520562"/>
                </a:cubicBezTo>
                <a:cubicBezTo>
                  <a:pt x="3084982" y="522696"/>
                  <a:pt x="3084555" y="523692"/>
                  <a:pt x="3085196" y="522696"/>
                </a:cubicBezTo>
                <a:cubicBezTo>
                  <a:pt x="3085622" y="525968"/>
                  <a:pt x="3087117" y="529809"/>
                  <a:pt x="3084769" y="531375"/>
                </a:cubicBezTo>
                <a:cubicBezTo>
                  <a:pt x="3076232" y="534505"/>
                  <a:pt x="3071323" y="519709"/>
                  <a:pt x="3069189" y="517005"/>
                </a:cubicBezTo>
                <a:cubicBezTo>
                  <a:pt x="3069189" y="517005"/>
                  <a:pt x="3068122" y="516294"/>
                  <a:pt x="3067909" y="514729"/>
                </a:cubicBezTo>
                <a:cubicBezTo>
                  <a:pt x="3066842" y="512453"/>
                  <a:pt x="3070256" y="513306"/>
                  <a:pt x="3069830" y="511599"/>
                </a:cubicBezTo>
                <a:close/>
                <a:moveTo>
                  <a:pt x="2736255" y="511599"/>
                </a:moveTo>
                <a:cubicBezTo>
                  <a:pt x="2741163" y="518001"/>
                  <a:pt x="2748633" y="510461"/>
                  <a:pt x="2749700" y="520704"/>
                </a:cubicBezTo>
                <a:cubicBezTo>
                  <a:pt x="2748206" y="525257"/>
                  <a:pt x="2744578" y="528956"/>
                  <a:pt x="2736468" y="531375"/>
                </a:cubicBezTo>
                <a:cubicBezTo>
                  <a:pt x="2727291" y="523692"/>
                  <a:pt x="2731772" y="517575"/>
                  <a:pt x="2736255" y="511599"/>
                </a:cubicBezTo>
                <a:close/>
                <a:moveTo>
                  <a:pt x="2232157" y="508754"/>
                </a:moveTo>
                <a:cubicBezTo>
                  <a:pt x="2232584" y="510318"/>
                  <a:pt x="2235999" y="512310"/>
                  <a:pt x="2237706" y="514587"/>
                </a:cubicBezTo>
                <a:cubicBezTo>
                  <a:pt x="2237279" y="515583"/>
                  <a:pt x="2237919" y="517148"/>
                  <a:pt x="2237492" y="518143"/>
                </a:cubicBezTo>
                <a:cubicBezTo>
                  <a:pt x="2236212" y="517575"/>
                  <a:pt x="2233651" y="517290"/>
                  <a:pt x="2234078" y="516294"/>
                </a:cubicBezTo>
                <a:cubicBezTo>
                  <a:pt x="2233011" y="515725"/>
                  <a:pt x="2233864" y="513591"/>
                  <a:pt x="2233864" y="513591"/>
                </a:cubicBezTo>
                <a:cubicBezTo>
                  <a:pt x="2232797" y="513022"/>
                  <a:pt x="2231730" y="512453"/>
                  <a:pt x="2231090" y="510746"/>
                </a:cubicBezTo>
                <a:cubicBezTo>
                  <a:pt x="2232797" y="510461"/>
                  <a:pt x="2231516" y="509750"/>
                  <a:pt x="2232157" y="508754"/>
                </a:cubicBezTo>
                <a:close/>
                <a:moveTo>
                  <a:pt x="2244748" y="508469"/>
                </a:moveTo>
                <a:cubicBezTo>
                  <a:pt x="2245389" y="508611"/>
                  <a:pt x="2245816" y="509181"/>
                  <a:pt x="2246029" y="510034"/>
                </a:cubicBezTo>
                <a:cubicBezTo>
                  <a:pt x="2246029" y="510034"/>
                  <a:pt x="2246669" y="511741"/>
                  <a:pt x="2247097" y="513448"/>
                </a:cubicBezTo>
                <a:cubicBezTo>
                  <a:pt x="2247737" y="515013"/>
                  <a:pt x="2248804" y="515583"/>
                  <a:pt x="2248804" y="515583"/>
                </a:cubicBezTo>
                <a:cubicBezTo>
                  <a:pt x="2249230" y="517290"/>
                  <a:pt x="2248804" y="518428"/>
                  <a:pt x="2247310" y="518855"/>
                </a:cubicBezTo>
                <a:cubicBezTo>
                  <a:pt x="2247310" y="518855"/>
                  <a:pt x="2245602" y="516578"/>
                  <a:pt x="2245602" y="516578"/>
                </a:cubicBezTo>
                <a:cubicBezTo>
                  <a:pt x="2244535" y="513164"/>
                  <a:pt x="2244108" y="511599"/>
                  <a:pt x="2242401" y="509323"/>
                </a:cubicBezTo>
                <a:cubicBezTo>
                  <a:pt x="2243468" y="508469"/>
                  <a:pt x="2244108" y="508185"/>
                  <a:pt x="2244748" y="508469"/>
                </a:cubicBezTo>
                <a:close/>
                <a:moveTo>
                  <a:pt x="3117422" y="507900"/>
                </a:moveTo>
                <a:cubicBezTo>
                  <a:pt x="3119556" y="516578"/>
                  <a:pt x="3120197" y="523834"/>
                  <a:pt x="3118276" y="529952"/>
                </a:cubicBezTo>
                <a:lnTo>
                  <a:pt x="3114007" y="536496"/>
                </a:lnTo>
                <a:lnTo>
                  <a:pt x="3114434" y="537777"/>
                </a:lnTo>
                <a:cubicBezTo>
                  <a:pt x="3114647" y="539057"/>
                  <a:pt x="3114007" y="539768"/>
                  <a:pt x="3112514" y="540195"/>
                </a:cubicBezTo>
                <a:cubicBezTo>
                  <a:pt x="3111446" y="540907"/>
                  <a:pt x="3110379" y="540907"/>
                  <a:pt x="3109526" y="540622"/>
                </a:cubicBezTo>
                <a:lnTo>
                  <a:pt x="3109312" y="540622"/>
                </a:lnTo>
                <a:lnTo>
                  <a:pt x="3102696" y="544606"/>
                </a:lnTo>
                <a:lnTo>
                  <a:pt x="3101202" y="548731"/>
                </a:lnTo>
                <a:lnTo>
                  <a:pt x="3099281" y="552715"/>
                </a:lnTo>
                <a:lnTo>
                  <a:pt x="3100562" y="551719"/>
                </a:lnTo>
                <a:cubicBezTo>
                  <a:pt x="3105471" y="548731"/>
                  <a:pt x="3113367" y="547451"/>
                  <a:pt x="3117635" y="553142"/>
                </a:cubicBezTo>
                <a:cubicBezTo>
                  <a:pt x="3113367" y="557694"/>
                  <a:pt x="3109739" y="558690"/>
                  <a:pt x="3106538" y="558406"/>
                </a:cubicBezTo>
                <a:lnTo>
                  <a:pt x="3097361" y="555133"/>
                </a:lnTo>
                <a:lnTo>
                  <a:pt x="3092665" y="558690"/>
                </a:lnTo>
                <a:cubicBezTo>
                  <a:pt x="3092239" y="555418"/>
                  <a:pt x="3084769" y="556556"/>
                  <a:pt x="3083915" y="551577"/>
                </a:cubicBezTo>
                <a:cubicBezTo>
                  <a:pt x="3079860" y="537207"/>
                  <a:pt x="3083915" y="535215"/>
                  <a:pt x="3091385" y="529667"/>
                </a:cubicBezTo>
                <a:cubicBezTo>
                  <a:pt x="3090745" y="530663"/>
                  <a:pt x="3092239" y="530236"/>
                  <a:pt x="3092239" y="530236"/>
                </a:cubicBezTo>
                <a:cubicBezTo>
                  <a:pt x="3095440" y="529383"/>
                  <a:pt x="3090531" y="524688"/>
                  <a:pt x="3094586" y="522839"/>
                </a:cubicBezTo>
                <a:cubicBezTo>
                  <a:pt x="3096080" y="522127"/>
                  <a:pt x="3097788" y="522127"/>
                  <a:pt x="3099281" y="522412"/>
                </a:cubicBezTo>
                <a:lnTo>
                  <a:pt x="3106538" y="512737"/>
                </a:lnTo>
                <a:cubicBezTo>
                  <a:pt x="3109952" y="510034"/>
                  <a:pt x="3113794" y="508185"/>
                  <a:pt x="3117422" y="507900"/>
                </a:cubicBezTo>
                <a:close/>
                <a:moveTo>
                  <a:pt x="3161387" y="506904"/>
                </a:moveTo>
                <a:cubicBezTo>
                  <a:pt x="3161813" y="509323"/>
                  <a:pt x="3163094" y="514018"/>
                  <a:pt x="3162454" y="516436"/>
                </a:cubicBezTo>
                <a:cubicBezTo>
                  <a:pt x="3162027" y="517290"/>
                  <a:pt x="3161600" y="518001"/>
                  <a:pt x="3160960" y="518143"/>
                </a:cubicBezTo>
                <a:cubicBezTo>
                  <a:pt x="3160319" y="514871"/>
                  <a:pt x="3157972" y="510461"/>
                  <a:pt x="3161387" y="506904"/>
                </a:cubicBezTo>
                <a:close/>
                <a:moveTo>
                  <a:pt x="2950741" y="506051"/>
                </a:moveTo>
                <a:cubicBezTo>
                  <a:pt x="2961412" y="505339"/>
                  <a:pt x="2971870" y="509607"/>
                  <a:pt x="2976138" y="519139"/>
                </a:cubicBezTo>
                <a:cubicBezTo>
                  <a:pt x="2971870" y="528102"/>
                  <a:pt x="2965254" y="533793"/>
                  <a:pt x="2957997" y="536638"/>
                </a:cubicBezTo>
                <a:cubicBezTo>
                  <a:pt x="2945619" y="541191"/>
                  <a:pt x="2931320" y="537492"/>
                  <a:pt x="2923210" y="526253"/>
                </a:cubicBezTo>
                <a:cubicBezTo>
                  <a:pt x="2924064" y="524830"/>
                  <a:pt x="2925131" y="523407"/>
                  <a:pt x="2923637" y="522554"/>
                </a:cubicBezTo>
                <a:cubicBezTo>
                  <a:pt x="2928972" y="512453"/>
                  <a:pt x="2940070" y="506762"/>
                  <a:pt x="2950741" y="506051"/>
                </a:cubicBezTo>
                <a:close/>
                <a:moveTo>
                  <a:pt x="2270786" y="505766"/>
                </a:moveTo>
                <a:cubicBezTo>
                  <a:pt x="2272280" y="505339"/>
                  <a:pt x="2272707" y="507046"/>
                  <a:pt x="2273773" y="507616"/>
                </a:cubicBezTo>
                <a:cubicBezTo>
                  <a:pt x="2275268" y="509750"/>
                  <a:pt x="2275055" y="518570"/>
                  <a:pt x="2273560" y="519139"/>
                </a:cubicBezTo>
                <a:cubicBezTo>
                  <a:pt x="2272066" y="516294"/>
                  <a:pt x="2269292" y="511315"/>
                  <a:pt x="2269292" y="508185"/>
                </a:cubicBezTo>
                <a:cubicBezTo>
                  <a:pt x="2269505" y="507046"/>
                  <a:pt x="2269932" y="506335"/>
                  <a:pt x="2270786" y="505766"/>
                </a:cubicBezTo>
                <a:close/>
                <a:moveTo>
                  <a:pt x="3076446" y="505481"/>
                </a:moveTo>
                <a:cubicBezTo>
                  <a:pt x="3076659" y="507046"/>
                  <a:pt x="3076659" y="507046"/>
                  <a:pt x="3076018" y="508185"/>
                </a:cubicBezTo>
                <a:cubicBezTo>
                  <a:pt x="3074525" y="508611"/>
                  <a:pt x="3073458" y="508042"/>
                  <a:pt x="3071963" y="508469"/>
                </a:cubicBezTo>
                <a:cubicBezTo>
                  <a:pt x="3072390" y="511741"/>
                  <a:pt x="3073031" y="510746"/>
                  <a:pt x="3071537" y="511173"/>
                </a:cubicBezTo>
                <a:cubicBezTo>
                  <a:pt x="3071537" y="511173"/>
                  <a:pt x="3071537" y="511173"/>
                  <a:pt x="3069830" y="511599"/>
                </a:cubicBezTo>
                <a:cubicBezTo>
                  <a:pt x="3069830" y="511599"/>
                  <a:pt x="3069403" y="512595"/>
                  <a:pt x="3067909" y="508754"/>
                </a:cubicBezTo>
                <a:cubicBezTo>
                  <a:pt x="3069403" y="508327"/>
                  <a:pt x="3074098" y="507046"/>
                  <a:pt x="3074098" y="507046"/>
                </a:cubicBezTo>
                <a:cubicBezTo>
                  <a:pt x="3074951" y="505909"/>
                  <a:pt x="3074951" y="505909"/>
                  <a:pt x="3076446" y="505481"/>
                </a:cubicBezTo>
                <a:close/>
                <a:moveTo>
                  <a:pt x="2178589" y="504628"/>
                </a:moveTo>
                <a:lnTo>
                  <a:pt x="2180296" y="509607"/>
                </a:lnTo>
                <a:cubicBezTo>
                  <a:pt x="2178802" y="510034"/>
                  <a:pt x="2176241" y="509892"/>
                  <a:pt x="2175601" y="508327"/>
                </a:cubicBezTo>
                <a:cubicBezTo>
                  <a:pt x="2174960" y="507189"/>
                  <a:pt x="2175174" y="506762"/>
                  <a:pt x="2175814" y="506335"/>
                </a:cubicBezTo>
                <a:cubicBezTo>
                  <a:pt x="2176454" y="505766"/>
                  <a:pt x="2177734" y="505481"/>
                  <a:pt x="2178589" y="504628"/>
                </a:cubicBezTo>
                <a:close/>
                <a:moveTo>
                  <a:pt x="3020530" y="496803"/>
                </a:moveTo>
                <a:cubicBezTo>
                  <a:pt x="3022451" y="498795"/>
                  <a:pt x="3023304" y="500787"/>
                  <a:pt x="3023731" y="502779"/>
                </a:cubicBezTo>
                <a:cubicBezTo>
                  <a:pt x="3024371" y="504628"/>
                  <a:pt x="3024584" y="506477"/>
                  <a:pt x="3025438" y="508469"/>
                </a:cubicBezTo>
                <a:cubicBezTo>
                  <a:pt x="3017542" y="518143"/>
                  <a:pt x="3010925" y="513875"/>
                  <a:pt x="3010072" y="507900"/>
                </a:cubicBezTo>
                <a:cubicBezTo>
                  <a:pt x="3009859" y="506051"/>
                  <a:pt x="3010285" y="503917"/>
                  <a:pt x="3011352" y="502067"/>
                </a:cubicBezTo>
                <a:cubicBezTo>
                  <a:pt x="3012846" y="499507"/>
                  <a:pt x="3015834" y="497372"/>
                  <a:pt x="3020530" y="496803"/>
                </a:cubicBezTo>
                <a:close/>
                <a:moveTo>
                  <a:pt x="2924917" y="495950"/>
                </a:moveTo>
                <a:cubicBezTo>
                  <a:pt x="2926198" y="495807"/>
                  <a:pt x="2927692" y="496092"/>
                  <a:pt x="2928972" y="496518"/>
                </a:cubicBezTo>
                <a:cubicBezTo>
                  <a:pt x="2931533" y="498795"/>
                  <a:pt x="2931747" y="501214"/>
                  <a:pt x="2930893" y="502494"/>
                </a:cubicBezTo>
                <a:lnTo>
                  <a:pt x="2925557" y="508185"/>
                </a:lnTo>
                <a:lnTo>
                  <a:pt x="2925771" y="509038"/>
                </a:lnTo>
                <a:cubicBezTo>
                  <a:pt x="2924917" y="512880"/>
                  <a:pt x="2918301" y="514018"/>
                  <a:pt x="2914246" y="512453"/>
                </a:cubicBezTo>
                <a:lnTo>
                  <a:pt x="2911899" y="510746"/>
                </a:lnTo>
                <a:lnTo>
                  <a:pt x="2911472" y="510746"/>
                </a:lnTo>
                <a:cubicBezTo>
                  <a:pt x="2907630" y="507473"/>
                  <a:pt x="2907630" y="507473"/>
                  <a:pt x="2912326" y="499933"/>
                </a:cubicBezTo>
                <a:cubicBezTo>
                  <a:pt x="2913179" y="498652"/>
                  <a:pt x="2914460" y="497799"/>
                  <a:pt x="2915954" y="497230"/>
                </a:cubicBezTo>
                <a:cubicBezTo>
                  <a:pt x="2917448" y="496661"/>
                  <a:pt x="2919155" y="496518"/>
                  <a:pt x="2921076" y="497088"/>
                </a:cubicBezTo>
                <a:cubicBezTo>
                  <a:pt x="2922143" y="496376"/>
                  <a:pt x="2923424" y="496092"/>
                  <a:pt x="2924917" y="495950"/>
                </a:cubicBezTo>
                <a:close/>
                <a:moveTo>
                  <a:pt x="3095867" y="495665"/>
                </a:moveTo>
                <a:cubicBezTo>
                  <a:pt x="3096720" y="496234"/>
                  <a:pt x="3096934" y="496234"/>
                  <a:pt x="3096934" y="496234"/>
                </a:cubicBezTo>
                <a:cubicBezTo>
                  <a:pt x="3097361" y="497372"/>
                  <a:pt x="3097147" y="498368"/>
                  <a:pt x="3096293" y="499222"/>
                </a:cubicBezTo>
                <a:cubicBezTo>
                  <a:pt x="3095226" y="500217"/>
                  <a:pt x="3093732" y="500929"/>
                  <a:pt x="3091812" y="501925"/>
                </a:cubicBezTo>
                <a:cubicBezTo>
                  <a:pt x="3087757" y="503917"/>
                  <a:pt x="3082208" y="504628"/>
                  <a:pt x="3080501" y="505054"/>
                </a:cubicBezTo>
                <a:cubicBezTo>
                  <a:pt x="3078793" y="505624"/>
                  <a:pt x="3078153" y="506619"/>
                  <a:pt x="3078153" y="506619"/>
                </a:cubicBezTo>
                <a:cubicBezTo>
                  <a:pt x="3076872" y="504344"/>
                  <a:pt x="3092025" y="497515"/>
                  <a:pt x="3095867" y="495665"/>
                </a:cubicBezTo>
                <a:close/>
                <a:moveTo>
                  <a:pt x="3499657" y="493246"/>
                </a:moveTo>
                <a:cubicBezTo>
                  <a:pt x="3496669" y="505054"/>
                  <a:pt x="3469565" y="516010"/>
                  <a:pt x="3463589" y="504770"/>
                </a:cubicBezTo>
                <a:cubicBezTo>
                  <a:pt x="3477034" y="501782"/>
                  <a:pt x="3484291" y="493531"/>
                  <a:pt x="3499657" y="493246"/>
                </a:cubicBezTo>
                <a:close/>
                <a:moveTo>
                  <a:pt x="3227120" y="493246"/>
                </a:moveTo>
                <a:cubicBezTo>
                  <a:pt x="3227120" y="493246"/>
                  <a:pt x="3227120" y="493246"/>
                  <a:pt x="3228400" y="494385"/>
                </a:cubicBezTo>
                <a:cubicBezTo>
                  <a:pt x="3226266" y="494527"/>
                  <a:pt x="3225626" y="499364"/>
                  <a:pt x="3223065" y="497088"/>
                </a:cubicBezTo>
                <a:cubicBezTo>
                  <a:pt x="3223919" y="495807"/>
                  <a:pt x="3226266" y="494527"/>
                  <a:pt x="3227120" y="493246"/>
                </a:cubicBezTo>
                <a:close/>
                <a:moveTo>
                  <a:pt x="3197882" y="492108"/>
                </a:moveTo>
                <a:cubicBezTo>
                  <a:pt x="3208339" y="491681"/>
                  <a:pt x="3217516" y="498795"/>
                  <a:pt x="3222211" y="508469"/>
                </a:cubicBezTo>
                <a:cubicBezTo>
                  <a:pt x="3223919" y="512026"/>
                  <a:pt x="3224986" y="515867"/>
                  <a:pt x="3225412" y="519851"/>
                </a:cubicBezTo>
                <a:lnTo>
                  <a:pt x="3224772" y="525684"/>
                </a:lnTo>
                <a:lnTo>
                  <a:pt x="3226266" y="525114"/>
                </a:lnTo>
                <a:cubicBezTo>
                  <a:pt x="3233523" y="524546"/>
                  <a:pt x="3240779" y="528387"/>
                  <a:pt x="3242273" y="538772"/>
                </a:cubicBezTo>
                <a:cubicBezTo>
                  <a:pt x="3238218" y="547166"/>
                  <a:pt x="3220077" y="554280"/>
                  <a:pt x="3213034" y="553710"/>
                </a:cubicBezTo>
                <a:cubicBezTo>
                  <a:pt x="3210686" y="550723"/>
                  <a:pt x="3209406" y="547878"/>
                  <a:pt x="3208765" y="545174"/>
                </a:cubicBezTo>
                <a:lnTo>
                  <a:pt x="3209193" y="537777"/>
                </a:lnTo>
                <a:lnTo>
                  <a:pt x="3207912" y="537492"/>
                </a:lnTo>
                <a:cubicBezTo>
                  <a:pt x="3204284" y="536212"/>
                  <a:pt x="3201296" y="534078"/>
                  <a:pt x="3198735" y="531375"/>
                </a:cubicBezTo>
                <a:lnTo>
                  <a:pt x="3194894" y="525826"/>
                </a:lnTo>
                <a:lnTo>
                  <a:pt x="3193827" y="530948"/>
                </a:lnTo>
                <a:cubicBezTo>
                  <a:pt x="3191692" y="536638"/>
                  <a:pt x="3188064" y="542329"/>
                  <a:pt x="3182728" y="547878"/>
                </a:cubicBezTo>
                <a:cubicBezTo>
                  <a:pt x="3174832" y="547593"/>
                  <a:pt x="3172911" y="541618"/>
                  <a:pt x="3174405" y="534647"/>
                </a:cubicBezTo>
                <a:cubicBezTo>
                  <a:pt x="3176113" y="525826"/>
                  <a:pt x="3183156" y="515725"/>
                  <a:pt x="3190198" y="513448"/>
                </a:cubicBezTo>
                <a:lnTo>
                  <a:pt x="3190838" y="513448"/>
                </a:lnTo>
                <a:lnTo>
                  <a:pt x="3191265" y="503917"/>
                </a:lnTo>
                <a:cubicBezTo>
                  <a:pt x="3191692" y="500502"/>
                  <a:pt x="3192759" y="496945"/>
                  <a:pt x="3194467" y="493531"/>
                </a:cubicBezTo>
                <a:cubicBezTo>
                  <a:pt x="3196174" y="493673"/>
                  <a:pt x="3197668" y="493673"/>
                  <a:pt x="3197882" y="492108"/>
                </a:cubicBezTo>
                <a:close/>
                <a:moveTo>
                  <a:pt x="2902295" y="491824"/>
                </a:moveTo>
                <a:cubicBezTo>
                  <a:pt x="2903362" y="496092"/>
                  <a:pt x="2905710" y="500929"/>
                  <a:pt x="2907844" y="505766"/>
                </a:cubicBezTo>
                <a:cubicBezTo>
                  <a:pt x="2909978" y="510603"/>
                  <a:pt x="2911686" y="515298"/>
                  <a:pt x="2911472" y="519282"/>
                </a:cubicBezTo>
                <a:lnTo>
                  <a:pt x="2909978" y="523549"/>
                </a:lnTo>
                <a:lnTo>
                  <a:pt x="2910618" y="523976"/>
                </a:lnTo>
                <a:cubicBezTo>
                  <a:pt x="2908058" y="526111"/>
                  <a:pt x="2908911" y="528671"/>
                  <a:pt x="2906137" y="530948"/>
                </a:cubicBezTo>
                <a:lnTo>
                  <a:pt x="2903149" y="527533"/>
                </a:lnTo>
                <a:lnTo>
                  <a:pt x="2900801" y="528102"/>
                </a:lnTo>
                <a:lnTo>
                  <a:pt x="2899734" y="536496"/>
                </a:lnTo>
                <a:cubicBezTo>
                  <a:pt x="2899094" y="539484"/>
                  <a:pt x="2898027" y="542187"/>
                  <a:pt x="2896959" y="544463"/>
                </a:cubicBezTo>
                <a:cubicBezTo>
                  <a:pt x="2887142" y="534505"/>
                  <a:pt x="2890130" y="524119"/>
                  <a:pt x="2893331" y="513591"/>
                </a:cubicBezTo>
                <a:cubicBezTo>
                  <a:pt x="2895892" y="514871"/>
                  <a:pt x="2897813" y="516863"/>
                  <a:pt x="2899094" y="519282"/>
                </a:cubicBezTo>
                <a:lnTo>
                  <a:pt x="2899307" y="520420"/>
                </a:lnTo>
                <a:lnTo>
                  <a:pt x="2899520" y="518712"/>
                </a:lnTo>
                <a:cubicBezTo>
                  <a:pt x="2899307" y="508469"/>
                  <a:pt x="2896106" y="498510"/>
                  <a:pt x="2902295" y="491824"/>
                </a:cubicBezTo>
                <a:close/>
                <a:moveTo>
                  <a:pt x="2176454" y="490686"/>
                </a:moveTo>
                <a:cubicBezTo>
                  <a:pt x="2177522" y="490686"/>
                  <a:pt x="2178589" y="490970"/>
                  <a:pt x="2178375" y="491397"/>
                </a:cubicBezTo>
                <a:cubicBezTo>
                  <a:pt x="2178802" y="493104"/>
                  <a:pt x="2179229" y="491966"/>
                  <a:pt x="2180296" y="492535"/>
                </a:cubicBezTo>
                <a:cubicBezTo>
                  <a:pt x="2182004" y="497515"/>
                  <a:pt x="2181790" y="501214"/>
                  <a:pt x="2178162" y="503063"/>
                </a:cubicBezTo>
                <a:cubicBezTo>
                  <a:pt x="2175174" y="503917"/>
                  <a:pt x="2170478" y="505197"/>
                  <a:pt x="2168345" y="501356"/>
                </a:cubicBezTo>
                <a:cubicBezTo>
                  <a:pt x="2168771" y="500360"/>
                  <a:pt x="2167704" y="499791"/>
                  <a:pt x="2168131" y="498652"/>
                </a:cubicBezTo>
                <a:cubicBezTo>
                  <a:pt x="2168131" y="498652"/>
                  <a:pt x="2168131" y="497372"/>
                  <a:pt x="2168771" y="495807"/>
                </a:cubicBezTo>
                <a:cubicBezTo>
                  <a:pt x="2169411" y="494100"/>
                  <a:pt x="2170478" y="492251"/>
                  <a:pt x="2173040" y="491113"/>
                </a:cubicBezTo>
                <a:cubicBezTo>
                  <a:pt x="2173893" y="490828"/>
                  <a:pt x="2175174" y="490686"/>
                  <a:pt x="2176454" y="490686"/>
                </a:cubicBezTo>
                <a:close/>
                <a:moveTo>
                  <a:pt x="3066628" y="490116"/>
                </a:moveTo>
                <a:cubicBezTo>
                  <a:pt x="3069830" y="495238"/>
                  <a:pt x="3075805" y="496092"/>
                  <a:pt x="3078366" y="502209"/>
                </a:cubicBezTo>
                <a:cubicBezTo>
                  <a:pt x="3076659" y="502636"/>
                  <a:pt x="3072604" y="502921"/>
                  <a:pt x="3071323" y="499079"/>
                </a:cubicBezTo>
                <a:cubicBezTo>
                  <a:pt x="3069830" y="495096"/>
                  <a:pt x="3066415" y="494527"/>
                  <a:pt x="3064921" y="490686"/>
                </a:cubicBezTo>
                <a:cubicBezTo>
                  <a:pt x="3064921" y="490686"/>
                  <a:pt x="3064921" y="490543"/>
                  <a:pt x="3066628" y="490116"/>
                </a:cubicBezTo>
                <a:close/>
                <a:moveTo>
                  <a:pt x="2234718" y="489121"/>
                </a:moveTo>
                <a:cubicBezTo>
                  <a:pt x="2236639" y="487698"/>
                  <a:pt x="2238346" y="489832"/>
                  <a:pt x="2239627" y="493104"/>
                </a:cubicBezTo>
                <a:cubicBezTo>
                  <a:pt x="2243255" y="499222"/>
                  <a:pt x="2243042" y="502921"/>
                  <a:pt x="2238346" y="504201"/>
                </a:cubicBezTo>
                <a:cubicBezTo>
                  <a:pt x="2237279" y="503632"/>
                  <a:pt x="2234504" y="500787"/>
                  <a:pt x="2234078" y="501782"/>
                </a:cubicBezTo>
                <a:cubicBezTo>
                  <a:pt x="2232797" y="498083"/>
                  <a:pt x="2231730" y="493815"/>
                  <a:pt x="2232797" y="491113"/>
                </a:cubicBezTo>
                <a:cubicBezTo>
                  <a:pt x="2233224" y="490259"/>
                  <a:pt x="2233864" y="489547"/>
                  <a:pt x="2234718" y="489121"/>
                </a:cubicBezTo>
                <a:close/>
                <a:moveTo>
                  <a:pt x="2040719" y="487556"/>
                </a:moveTo>
                <a:cubicBezTo>
                  <a:pt x="2060354" y="485706"/>
                  <a:pt x="2077641" y="497657"/>
                  <a:pt x="2086605" y="515298"/>
                </a:cubicBezTo>
                <a:lnTo>
                  <a:pt x="2088739" y="522269"/>
                </a:lnTo>
                <a:lnTo>
                  <a:pt x="2090873" y="520989"/>
                </a:lnTo>
                <a:cubicBezTo>
                  <a:pt x="2093861" y="519993"/>
                  <a:pt x="2095568" y="522127"/>
                  <a:pt x="2095568" y="522127"/>
                </a:cubicBezTo>
                <a:cubicBezTo>
                  <a:pt x="2097703" y="526111"/>
                  <a:pt x="2097276" y="529809"/>
                  <a:pt x="2093647" y="531801"/>
                </a:cubicBezTo>
                <a:lnTo>
                  <a:pt x="2091086" y="530663"/>
                </a:lnTo>
                <a:lnTo>
                  <a:pt x="2093434" y="538772"/>
                </a:lnTo>
                <a:cubicBezTo>
                  <a:pt x="2094074" y="547166"/>
                  <a:pt x="2093221" y="555987"/>
                  <a:pt x="2090233" y="564666"/>
                </a:cubicBezTo>
                <a:cubicBezTo>
                  <a:pt x="2066223" y="588460"/>
                  <a:pt x="2045215" y="588407"/>
                  <a:pt x="2023156" y="593195"/>
                </a:cubicBezTo>
                <a:lnTo>
                  <a:pt x="2013553" y="596372"/>
                </a:lnTo>
                <a:lnTo>
                  <a:pt x="2006269" y="601485"/>
                </a:lnTo>
                <a:lnTo>
                  <a:pt x="2005086" y="599174"/>
                </a:lnTo>
                <a:lnTo>
                  <a:pt x="2000596" y="600659"/>
                </a:lnTo>
                <a:cubicBezTo>
                  <a:pt x="1994834" y="571352"/>
                  <a:pt x="1987151" y="540053"/>
                  <a:pt x="1999956" y="515867"/>
                </a:cubicBezTo>
                <a:cubicBezTo>
                  <a:pt x="2004224" y="507758"/>
                  <a:pt x="2010841" y="500502"/>
                  <a:pt x="2020658" y="494385"/>
                </a:cubicBezTo>
                <a:cubicBezTo>
                  <a:pt x="2027487" y="490401"/>
                  <a:pt x="2034316" y="488267"/>
                  <a:pt x="2040719" y="487556"/>
                </a:cubicBezTo>
                <a:close/>
                <a:moveTo>
                  <a:pt x="3280048" y="486560"/>
                </a:moveTo>
                <a:cubicBezTo>
                  <a:pt x="3279407" y="491681"/>
                  <a:pt x="3278767" y="496803"/>
                  <a:pt x="3273859" y="496661"/>
                </a:cubicBezTo>
                <a:cubicBezTo>
                  <a:pt x="3270231" y="492393"/>
                  <a:pt x="3272792" y="485564"/>
                  <a:pt x="3280048" y="486560"/>
                </a:cubicBezTo>
                <a:close/>
                <a:moveTo>
                  <a:pt x="3180594" y="482861"/>
                </a:moveTo>
                <a:cubicBezTo>
                  <a:pt x="3183156" y="483857"/>
                  <a:pt x="3183369" y="484995"/>
                  <a:pt x="3182302" y="486276"/>
                </a:cubicBezTo>
                <a:cubicBezTo>
                  <a:pt x="3182302" y="486276"/>
                  <a:pt x="3181235" y="487556"/>
                  <a:pt x="3180168" y="488836"/>
                </a:cubicBezTo>
                <a:cubicBezTo>
                  <a:pt x="3179314" y="490116"/>
                  <a:pt x="3179314" y="491397"/>
                  <a:pt x="3179314" y="491397"/>
                </a:cubicBezTo>
                <a:cubicBezTo>
                  <a:pt x="3178247" y="492535"/>
                  <a:pt x="3177180" y="492678"/>
                  <a:pt x="3175685" y="491539"/>
                </a:cubicBezTo>
                <a:cubicBezTo>
                  <a:pt x="3175685" y="491539"/>
                  <a:pt x="3176753" y="488978"/>
                  <a:pt x="3176753" y="488978"/>
                </a:cubicBezTo>
                <a:cubicBezTo>
                  <a:pt x="3178673" y="486560"/>
                  <a:pt x="3179740" y="485279"/>
                  <a:pt x="3180594" y="482861"/>
                </a:cubicBezTo>
                <a:close/>
                <a:moveTo>
                  <a:pt x="2718968" y="481865"/>
                </a:moveTo>
                <a:cubicBezTo>
                  <a:pt x="2720248" y="482007"/>
                  <a:pt x="2721956" y="482149"/>
                  <a:pt x="2724089" y="482577"/>
                </a:cubicBezTo>
                <a:cubicBezTo>
                  <a:pt x="2725797" y="483003"/>
                  <a:pt x="2727291" y="483714"/>
                  <a:pt x="2728571" y="484995"/>
                </a:cubicBezTo>
                <a:cubicBezTo>
                  <a:pt x="2729852" y="486133"/>
                  <a:pt x="2730919" y="487698"/>
                  <a:pt x="2731346" y="489405"/>
                </a:cubicBezTo>
                <a:cubicBezTo>
                  <a:pt x="2733693" y="490828"/>
                  <a:pt x="2735614" y="493958"/>
                  <a:pt x="2736041" y="496661"/>
                </a:cubicBezTo>
                <a:cubicBezTo>
                  <a:pt x="2735614" y="499933"/>
                  <a:pt x="2733693" y="501071"/>
                  <a:pt x="2732199" y="500644"/>
                </a:cubicBezTo>
                <a:cubicBezTo>
                  <a:pt x="2718968" y="499079"/>
                  <a:pt x="2716833" y="487413"/>
                  <a:pt x="2714485" y="485991"/>
                </a:cubicBezTo>
                <a:cubicBezTo>
                  <a:pt x="2715126" y="482292"/>
                  <a:pt x="2715126" y="481438"/>
                  <a:pt x="2718968" y="481865"/>
                </a:cubicBezTo>
                <a:close/>
                <a:moveTo>
                  <a:pt x="3300749" y="479304"/>
                </a:moveTo>
                <a:cubicBezTo>
                  <a:pt x="3302457" y="480585"/>
                  <a:pt x="3303524" y="482719"/>
                  <a:pt x="3304164" y="485137"/>
                </a:cubicBezTo>
                <a:cubicBezTo>
                  <a:pt x="3306085" y="492820"/>
                  <a:pt x="3304378" y="504201"/>
                  <a:pt x="3301390" y="506762"/>
                </a:cubicBezTo>
                <a:cubicBezTo>
                  <a:pt x="3298402" y="503205"/>
                  <a:pt x="3300109" y="498510"/>
                  <a:pt x="3297121" y="493673"/>
                </a:cubicBezTo>
                <a:cubicBezTo>
                  <a:pt x="3299683" y="490116"/>
                  <a:pt x="3296908" y="483999"/>
                  <a:pt x="3300749" y="479304"/>
                </a:cubicBezTo>
                <a:close/>
                <a:moveTo>
                  <a:pt x="3249316" y="478735"/>
                </a:moveTo>
                <a:cubicBezTo>
                  <a:pt x="3250809" y="481011"/>
                  <a:pt x="3250809" y="481154"/>
                  <a:pt x="3249956" y="483572"/>
                </a:cubicBezTo>
                <a:cubicBezTo>
                  <a:pt x="3248889" y="483714"/>
                  <a:pt x="3249102" y="484995"/>
                  <a:pt x="3247608" y="483714"/>
                </a:cubicBezTo>
                <a:cubicBezTo>
                  <a:pt x="3246754" y="485706"/>
                  <a:pt x="3243980" y="487698"/>
                  <a:pt x="3240779" y="489121"/>
                </a:cubicBezTo>
                <a:lnTo>
                  <a:pt x="3240138" y="489263"/>
                </a:lnTo>
                <a:lnTo>
                  <a:pt x="3242273" y="490401"/>
                </a:lnTo>
                <a:cubicBezTo>
                  <a:pt x="3243340" y="490970"/>
                  <a:pt x="3243980" y="491255"/>
                  <a:pt x="3245047" y="491824"/>
                </a:cubicBezTo>
                <a:lnTo>
                  <a:pt x="3245261" y="492108"/>
                </a:lnTo>
                <a:lnTo>
                  <a:pt x="3245901" y="491824"/>
                </a:lnTo>
                <a:cubicBezTo>
                  <a:pt x="3247394" y="491539"/>
                  <a:pt x="3248675" y="491397"/>
                  <a:pt x="3250382" y="491966"/>
                </a:cubicBezTo>
                <a:cubicBezTo>
                  <a:pt x="3250382" y="491966"/>
                  <a:pt x="3250382" y="491966"/>
                  <a:pt x="3249102" y="492108"/>
                </a:cubicBezTo>
                <a:cubicBezTo>
                  <a:pt x="3249102" y="492108"/>
                  <a:pt x="3250382" y="491966"/>
                  <a:pt x="3250382" y="493104"/>
                </a:cubicBezTo>
                <a:lnTo>
                  <a:pt x="3246754" y="494385"/>
                </a:lnTo>
                <a:lnTo>
                  <a:pt x="3247181" y="495096"/>
                </a:lnTo>
                <a:cubicBezTo>
                  <a:pt x="3247608" y="496092"/>
                  <a:pt x="3248249" y="497230"/>
                  <a:pt x="3249102" y="499079"/>
                </a:cubicBezTo>
                <a:cubicBezTo>
                  <a:pt x="3247821" y="501498"/>
                  <a:pt x="3247608" y="501498"/>
                  <a:pt x="3246541" y="501498"/>
                </a:cubicBezTo>
                <a:cubicBezTo>
                  <a:pt x="3247608" y="501498"/>
                  <a:pt x="3247608" y="502636"/>
                  <a:pt x="3248675" y="503917"/>
                </a:cubicBezTo>
                <a:cubicBezTo>
                  <a:pt x="3254011" y="507473"/>
                  <a:pt x="3251236" y="513448"/>
                  <a:pt x="3245901" y="519282"/>
                </a:cubicBezTo>
                <a:cubicBezTo>
                  <a:pt x="3244834" y="518143"/>
                  <a:pt x="3242059" y="521700"/>
                  <a:pt x="3239711" y="522839"/>
                </a:cubicBezTo>
                <a:cubicBezTo>
                  <a:pt x="3236297" y="522696"/>
                  <a:pt x="3233949" y="522696"/>
                  <a:pt x="3231815" y="520277"/>
                </a:cubicBezTo>
                <a:cubicBezTo>
                  <a:pt x="3228827" y="516721"/>
                  <a:pt x="3227333" y="508327"/>
                  <a:pt x="3231175" y="504770"/>
                </a:cubicBezTo>
                <a:cubicBezTo>
                  <a:pt x="3235016" y="500075"/>
                  <a:pt x="3238645" y="498937"/>
                  <a:pt x="3242059" y="498937"/>
                </a:cubicBezTo>
                <a:cubicBezTo>
                  <a:pt x="3242059" y="498937"/>
                  <a:pt x="3242059" y="498937"/>
                  <a:pt x="3240992" y="498937"/>
                </a:cubicBezTo>
                <a:lnTo>
                  <a:pt x="3238858" y="496376"/>
                </a:lnTo>
                <a:lnTo>
                  <a:pt x="3236937" y="496376"/>
                </a:lnTo>
                <a:cubicBezTo>
                  <a:pt x="3235657" y="496376"/>
                  <a:pt x="3235016" y="496376"/>
                  <a:pt x="3234590" y="496376"/>
                </a:cubicBezTo>
                <a:cubicBezTo>
                  <a:pt x="3234376" y="495238"/>
                  <a:pt x="3234376" y="495238"/>
                  <a:pt x="3234376" y="495238"/>
                </a:cubicBezTo>
                <a:lnTo>
                  <a:pt x="3237578" y="494669"/>
                </a:lnTo>
                <a:lnTo>
                  <a:pt x="3234163" y="490401"/>
                </a:lnTo>
                <a:lnTo>
                  <a:pt x="3231388" y="490828"/>
                </a:lnTo>
                <a:lnTo>
                  <a:pt x="3233096" y="488694"/>
                </a:lnTo>
                <a:lnTo>
                  <a:pt x="3231388" y="485564"/>
                </a:lnTo>
                <a:cubicBezTo>
                  <a:pt x="3230962" y="484141"/>
                  <a:pt x="3230748" y="483003"/>
                  <a:pt x="3231175" y="482149"/>
                </a:cubicBezTo>
                <a:cubicBezTo>
                  <a:pt x="3232242" y="482149"/>
                  <a:pt x="3233523" y="482149"/>
                  <a:pt x="3234376" y="483287"/>
                </a:cubicBezTo>
                <a:cubicBezTo>
                  <a:pt x="3235443" y="484568"/>
                  <a:pt x="3234376" y="484568"/>
                  <a:pt x="3235443" y="484568"/>
                </a:cubicBezTo>
                <a:cubicBezTo>
                  <a:pt x="3236510" y="485849"/>
                  <a:pt x="3236510" y="484568"/>
                  <a:pt x="3236510" y="484568"/>
                </a:cubicBezTo>
                <a:lnTo>
                  <a:pt x="3236510" y="484995"/>
                </a:lnTo>
                <a:lnTo>
                  <a:pt x="3241419" y="482861"/>
                </a:lnTo>
                <a:cubicBezTo>
                  <a:pt x="3244620" y="482149"/>
                  <a:pt x="3247608" y="481865"/>
                  <a:pt x="3249316" y="478735"/>
                </a:cubicBezTo>
                <a:close/>
                <a:moveTo>
                  <a:pt x="3047207" y="475036"/>
                </a:moveTo>
                <a:cubicBezTo>
                  <a:pt x="3047847" y="473898"/>
                  <a:pt x="3051689" y="476316"/>
                  <a:pt x="3051902" y="477881"/>
                </a:cubicBezTo>
                <a:cubicBezTo>
                  <a:pt x="3052542" y="481154"/>
                  <a:pt x="3052756" y="482719"/>
                  <a:pt x="3051262" y="484852"/>
                </a:cubicBezTo>
                <a:cubicBezTo>
                  <a:pt x="3051689" y="486417"/>
                  <a:pt x="3051902" y="488125"/>
                  <a:pt x="3051689" y="489405"/>
                </a:cubicBezTo>
                <a:cubicBezTo>
                  <a:pt x="3051476" y="490828"/>
                  <a:pt x="3050835" y="491824"/>
                  <a:pt x="3049128" y="492251"/>
                </a:cubicBezTo>
                <a:cubicBezTo>
                  <a:pt x="3046993" y="489547"/>
                  <a:pt x="3045926" y="487271"/>
                  <a:pt x="3044433" y="483430"/>
                </a:cubicBezTo>
                <a:cubicBezTo>
                  <a:pt x="3044433" y="483430"/>
                  <a:pt x="3043365" y="476885"/>
                  <a:pt x="3047207" y="475036"/>
                </a:cubicBezTo>
                <a:close/>
                <a:moveTo>
                  <a:pt x="2274200" y="474609"/>
                </a:moveTo>
                <a:cubicBezTo>
                  <a:pt x="2273347" y="476743"/>
                  <a:pt x="2276975" y="480157"/>
                  <a:pt x="2273987" y="481154"/>
                </a:cubicBezTo>
                <a:cubicBezTo>
                  <a:pt x="2273347" y="479447"/>
                  <a:pt x="2273347" y="476743"/>
                  <a:pt x="2272707" y="475036"/>
                </a:cubicBezTo>
                <a:cubicBezTo>
                  <a:pt x="2272707" y="475036"/>
                  <a:pt x="2272707" y="475036"/>
                  <a:pt x="2274200" y="474609"/>
                </a:cubicBezTo>
                <a:close/>
                <a:moveTo>
                  <a:pt x="2661131" y="474040"/>
                </a:moveTo>
                <a:cubicBezTo>
                  <a:pt x="2662625" y="474183"/>
                  <a:pt x="2664118" y="475178"/>
                  <a:pt x="2664972" y="476459"/>
                </a:cubicBezTo>
                <a:cubicBezTo>
                  <a:pt x="2666893" y="479162"/>
                  <a:pt x="2666893" y="483003"/>
                  <a:pt x="2661771" y="484995"/>
                </a:cubicBezTo>
                <a:cubicBezTo>
                  <a:pt x="2658996" y="481154"/>
                  <a:pt x="2657075" y="478593"/>
                  <a:pt x="2656435" y="476032"/>
                </a:cubicBezTo>
                <a:cubicBezTo>
                  <a:pt x="2657716" y="474325"/>
                  <a:pt x="2659423" y="473756"/>
                  <a:pt x="2661131" y="474040"/>
                </a:cubicBezTo>
                <a:close/>
                <a:moveTo>
                  <a:pt x="3174619" y="473471"/>
                </a:moveTo>
                <a:cubicBezTo>
                  <a:pt x="3173552" y="474751"/>
                  <a:pt x="3174192" y="478593"/>
                  <a:pt x="3173338" y="481154"/>
                </a:cubicBezTo>
                <a:cubicBezTo>
                  <a:pt x="3172271" y="481154"/>
                  <a:pt x="3171417" y="482434"/>
                  <a:pt x="3170350" y="482577"/>
                </a:cubicBezTo>
                <a:cubicBezTo>
                  <a:pt x="3170137" y="481296"/>
                  <a:pt x="3168643" y="478877"/>
                  <a:pt x="3169710" y="478735"/>
                </a:cubicBezTo>
                <a:cubicBezTo>
                  <a:pt x="3169497" y="477597"/>
                  <a:pt x="3171844" y="477312"/>
                  <a:pt x="3171844" y="477312"/>
                </a:cubicBezTo>
                <a:cubicBezTo>
                  <a:pt x="3171631" y="476174"/>
                  <a:pt x="3171417" y="474893"/>
                  <a:pt x="3172271" y="473613"/>
                </a:cubicBezTo>
                <a:cubicBezTo>
                  <a:pt x="3173552" y="474751"/>
                  <a:pt x="3173338" y="473471"/>
                  <a:pt x="3174619" y="473471"/>
                </a:cubicBezTo>
                <a:close/>
                <a:moveTo>
                  <a:pt x="2919369" y="472902"/>
                </a:moveTo>
                <a:cubicBezTo>
                  <a:pt x="2920436" y="474183"/>
                  <a:pt x="2921076" y="475463"/>
                  <a:pt x="2921289" y="476885"/>
                </a:cubicBezTo>
                <a:cubicBezTo>
                  <a:pt x="2921716" y="478308"/>
                  <a:pt x="2921503" y="479731"/>
                  <a:pt x="2920649" y="481580"/>
                </a:cubicBezTo>
                <a:cubicBezTo>
                  <a:pt x="2918729" y="477881"/>
                  <a:pt x="2917874" y="476601"/>
                  <a:pt x="2919369" y="472902"/>
                </a:cubicBezTo>
                <a:close/>
                <a:moveTo>
                  <a:pt x="2359995" y="469345"/>
                </a:moveTo>
                <a:cubicBezTo>
                  <a:pt x="2361703" y="474325"/>
                  <a:pt x="2359142" y="476743"/>
                  <a:pt x="2356794" y="479304"/>
                </a:cubicBezTo>
                <a:cubicBezTo>
                  <a:pt x="2354660" y="480869"/>
                  <a:pt x="2354233" y="481865"/>
                  <a:pt x="2354233" y="484426"/>
                </a:cubicBezTo>
                <a:cubicBezTo>
                  <a:pt x="2354233" y="484426"/>
                  <a:pt x="2354233" y="484426"/>
                  <a:pt x="2351245" y="485422"/>
                </a:cubicBezTo>
                <a:lnTo>
                  <a:pt x="2350178" y="484852"/>
                </a:lnTo>
                <a:cubicBezTo>
                  <a:pt x="2349751" y="484284"/>
                  <a:pt x="2349965" y="483287"/>
                  <a:pt x="2350392" y="482149"/>
                </a:cubicBezTo>
                <a:cubicBezTo>
                  <a:pt x="2351672" y="478450"/>
                  <a:pt x="2355513" y="473186"/>
                  <a:pt x="2355940" y="472333"/>
                </a:cubicBezTo>
                <a:cubicBezTo>
                  <a:pt x="2355940" y="472333"/>
                  <a:pt x="2356580" y="471337"/>
                  <a:pt x="2357008" y="470199"/>
                </a:cubicBezTo>
                <a:cubicBezTo>
                  <a:pt x="2358501" y="469772"/>
                  <a:pt x="2359568" y="470483"/>
                  <a:pt x="2359995" y="469345"/>
                </a:cubicBezTo>
                <a:close/>
                <a:moveTo>
                  <a:pt x="2855556" y="469061"/>
                </a:moveTo>
                <a:cubicBezTo>
                  <a:pt x="2857263" y="468776"/>
                  <a:pt x="2859184" y="469061"/>
                  <a:pt x="2860891" y="469630"/>
                </a:cubicBezTo>
                <a:cubicBezTo>
                  <a:pt x="2859824" y="469630"/>
                  <a:pt x="2859824" y="469630"/>
                  <a:pt x="2859824" y="469630"/>
                </a:cubicBezTo>
                <a:cubicBezTo>
                  <a:pt x="2858544" y="470768"/>
                  <a:pt x="2859611" y="470768"/>
                  <a:pt x="2859398" y="472048"/>
                </a:cubicBezTo>
                <a:cubicBezTo>
                  <a:pt x="2859398" y="472048"/>
                  <a:pt x="2859611" y="470910"/>
                  <a:pt x="2860678" y="472191"/>
                </a:cubicBezTo>
                <a:cubicBezTo>
                  <a:pt x="2859398" y="472048"/>
                  <a:pt x="2859398" y="473329"/>
                  <a:pt x="2859398" y="474467"/>
                </a:cubicBezTo>
                <a:cubicBezTo>
                  <a:pt x="2856836" y="476885"/>
                  <a:pt x="2852995" y="479304"/>
                  <a:pt x="2850861" y="478024"/>
                </a:cubicBezTo>
                <a:cubicBezTo>
                  <a:pt x="2848727" y="475605"/>
                  <a:pt x="2850007" y="473186"/>
                  <a:pt x="2851288" y="471906"/>
                </a:cubicBezTo>
                <a:cubicBezTo>
                  <a:pt x="2852141" y="470199"/>
                  <a:pt x="2853635" y="469345"/>
                  <a:pt x="2855556" y="469061"/>
                </a:cubicBezTo>
                <a:close/>
                <a:moveTo>
                  <a:pt x="3189344" y="465931"/>
                </a:moveTo>
                <a:cubicBezTo>
                  <a:pt x="3190198" y="465789"/>
                  <a:pt x="3191265" y="465931"/>
                  <a:pt x="3192119" y="466500"/>
                </a:cubicBezTo>
                <a:cubicBezTo>
                  <a:pt x="3194680" y="467638"/>
                  <a:pt x="3193827" y="470056"/>
                  <a:pt x="3191906" y="472618"/>
                </a:cubicBezTo>
                <a:cubicBezTo>
                  <a:pt x="3189344" y="478877"/>
                  <a:pt x="3185930" y="480300"/>
                  <a:pt x="3182088" y="476885"/>
                </a:cubicBezTo>
                <a:cubicBezTo>
                  <a:pt x="3181875" y="475605"/>
                  <a:pt x="3182515" y="471906"/>
                  <a:pt x="3181448" y="472048"/>
                </a:cubicBezTo>
                <a:cubicBezTo>
                  <a:pt x="3183582" y="469203"/>
                  <a:pt x="3186356" y="466215"/>
                  <a:pt x="3189344" y="465931"/>
                </a:cubicBezTo>
                <a:close/>
                <a:moveTo>
                  <a:pt x="3493894" y="465219"/>
                </a:moveTo>
                <a:cubicBezTo>
                  <a:pt x="3500297" y="465789"/>
                  <a:pt x="3508194" y="473186"/>
                  <a:pt x="3507340" y="479873"/>
                </a:cubicBezTo>
                <a:cubicBezTo>
                  <a:pt x="3502218" y="486276"/>
                  <a:pt x="3498163" y="483714"/>
                  <a:pt x="3495389" y="487983"/>
                </a:cubicBezTo>
                <a:cubicBezTo>
                  <a:pt x="3487492" y="480585"/>
                  <a:pt x="3488346" y="473756"/>
                  <a:pt x="3493894" y="465219"/>
                </a:cubicBezTo>
                <a:close/>
                <a:moveTo>
                  <a:pt x="2546951" y="465077"/>
                </a:moveTo>
                <a:cubicBezTo>
                  <a:pt x="2551433" y="467638"/>
                  <a:pt x="2555701" y="470341"/>
                  <a:pt x="2553781" y="474751"/>
                </a:cubicBezTo>
                <a:cubicBezTo>
                  <a:pt x="2548232" y="476174"/>
                  <a:pt x="2543110" y="471195"/>
                  <a:pt x="2546951" y="465077"/>
                </a:cubicBezTo>
                <a:close/>
                <a:moveTo>
                  <a:pt x="2697412" y="462232"/>
                </a:moveTo>
                <a:cubicBezTo>
                  <a:pt x="2699546" y="464081"/>
                  <a:pt x="2700827" y="465362"/>
                  <a:pt x="2701254" y="466784"/>
                </a:cubicBezTo>
                <a:cubicBezTo>
                  <a:pt x="2701680" y="468349"/>
                  <a:pt x="2701254" y="470199"/>
                  <a:pt x="2699759" y="473044"/>
                </a:cubicBezTo>
                <a:cubicBezTo>
                  <a:pt x="2699759" y="473044"/>
                  <a:pt x="2698692" y="474325"/>
                  <a:pt x="2698692" y="474325"/>
                </a:cubicBezTo>
                <a:lnTo>
                  <a:pt x="2692503" y="478593"/>
                </a:lnTo>
                <a:lnTo>
                  <a:pt x="2692076" y="481580"/>
                </a:lnTo>
                <a:cubicBezTo>
                  <a:pt x="2685674" y="484568"/>
                  <a:pt x="2679485" y="478166"/>
                  <a:pt x="2679058" y="471906"/>
                </a:cubicBezTo>
                <a:cubicBezTo>
                  <a:pt x="2679058" y="469772"/>
                  <a:pt x="2679485" y="467638"/>
                  <a:pt x="2680979" y="465931"/>
                </a:cubicBezTo>
                <a:cubicBezTo>
                  <a:pt x="2683113" y="464935"/>
                  <a:pt x="2685034" y="465077"/>
                  <a:pt x="2686955" y="465789"/>
                </a:cubicBezTo>
                <a:lnTo>
                  <a:pt x="2688875" y="467638"/>
                </a:lnTo>
                <a:lnTo>
                  <a:pt x="2691436" y="465789"/>
                </a:lnTo>
                <a:cubicBezTo>
                  <a:pt x="2693357" y="464935"/>
                  <a:pt x="2695491" y="464081"/>
                  <a:pt x="2697412" y="462232"/>
                </a:cubicBezTo>
                <a:close/>
                <a:moveTo>
                  <a:pt x="2099197" y="462232"/>
                </a:moveTo>
                <a:cubicBezTo>
                  <a:pt x="2100904" y="461947"/>
                  <a:pt x="2102824" y="462089"/>
                  <a:pt x="2104318" y="462659"/>
                </a:cubicBezTo>
                <a:cubicBezTo>
                  <a:pt x="2108160" y="469488"/>
                  <a:pt x="2104318" y="472618"/>
                  <a:pt x="2107307" y="476459"/>
                </a:cubicBezTo>
                <a:cubicBezTo>
                  <a:pt x="2097489" y="482007"/>
                  <a:pt x="2091513" y="479304"/>
                  <a:pt x="2085538" y="471621"/>
                </a:cubicBezTo>
                <a:cubicBezTo>
                  <a:pt x="2087671" y="467069"/>
                  <a:pt x="2093647" y="462801"/>
                  <a:pt x="2099197" y="462232"/>
                </a:cubicBezTo>
                <a:close/>
                <a:moveTo>
                  <a:pt x="3055317" y="459529"/>
                </a:moveTo>
                <a:cubicBezTo>
                  <a:pt x="3056811" y="461805"/>
                  <a:pt x="3058945" y="463085"/>
                  <a:pt x="3060439" y="465504"/>
                </a:cubicBezTo>
                <a:cubicBezTo>
                  <a:pt x="3060226" y="469488"/>
                  <a:pt x="3053823" y="474893"/>
                  <a:pt x="3049341" y="473471"/>
                </a:cubicBezTo>
                <a:cubicBezTo>
                  <a:pt x="3047847" y="473044"/>
                  <a:pt x="3046567" y="471764"/>
                  <a:pt x="3045926" y="469488"/>
                </a:cubicBezTo>
                <a:cubicBezTo>
                  <a:pt x="3044006" y="462943"/>
                  <a:pt x="3049128" y="460809"/>
                  <a:pt x="3055317" y="459529"/>
                </a:cubicBezTo>
                <a:close/>
                <a:moveTo>
                  <a:pt x="2896106" y="458106"/>
                </a:moveTo>
                <a:cubicBezTo>
                  <a:pt x="2896106" y="458106"/>
                  <a:pt x="2896746" y="459102"/>
                  <a:pt x="2896746" y="459102"/>
                </a:cubicBezTo>
                <a:cubicBezTo>
                  <a:pt x="2897173" y="458817"/>
                  <a:pt x="2897173" y="458817"/>
                  <a:pt x="2897173" y="459244"/>
                </a:cubicBezTo>
                <a:cubicBezTo>
                  <a:pt x="2896959" y="459671"/>
                  <a:pt x="2896959" y="460382"/>
                  <a:pt x="2897173" y="461662"/>
                </a:cubicBezTo>
                <a:cubicBezTo>
                  <a:pt x="2896959" y="463370"/>
                  <a:pt x="2897600" y="464366"/>
                  <a:pt x="2896106" y="463939"/>
                </a:cubicBezTo>
                <a:cubicBezTo>
                  <a:pt x="2894399" y="463512"/>
                  <a:pt x="2894612" y="463512"/>
                  <a:pt x="2892478" y="460525"/>
                </a:cubicBezTo>
                <a:cubicBezTo>
                  <a:pt x="2894185" y="460952"/>
                  <a:pt x="2894185" y="460952"/>
                  <a:pt x="2894399" y="459387"/>
                </a:cubicBezTo>
                <a:cubicBezTo>
                  <a:pt x="2894399" y="459387"/>
                  <a:pt x="2894185" y="459387"/>
                  <a:pt x="2893544" y="458390"/>
                </a:cubicBezTo>
                <a:cubicBezTo>
                  <a:pt x="2894612" y="457821"/>
                  <a:pt x="2895252" y="458817"/>
                  <a:pt x="2896106" y="458106"/>
                </a:cubicBezTo>
                <a:close/>
                <a:moveTo>
                  <a:pt x="3306512" y="455830"/>
                </a:moveTo>
                <a:cubicBezTo>
                  <a:pt x="3308433" y="456968"/>
                  <a:pt x="3309500" y="457537"/>
                  <a:pt x="3310567" y="459813"/>
                </a:cubicBezTo>
                <a:cubicBezTo>
                  <a:pt x="3312061" y="472475"/>
                  <a:pt x="3305659" y="476032"/>
                  <a:pt x="3306085" y="477597"/>
                </a:cubicBezTo>
                <a:cubicBezTo>
                  <a:pt x="3301177" y="478877"/>
                  <a:pt x="3300536" y="475605"/>
                  <a:pt x="3297975" y="471053"/>
                </a:cubicBezTo>
                <a:cubicBezTo>
                  <a:pt x="3299683" y="470626"/>
                  <a:pt x="3298829" y="465646"/>
                  <a:pt x="3298616" y="463939"/>
                </a:cubicBezTo>
                <a:cubicBezTo>
                  <a:pt x="3301817" y="463085"/>
                  <a:pt x="3301603" y="457110"/>
                  <a:pt x="3306512" y="455830"/>
                </a:cubicBezTo>
                <a:close/>
                <a:moveTo>
                  <a:pt x="2670734" y="455403"/>
                </a:moveTo>
                <a:cubicBezTo>
                  <a:pt x="2671802" y="455830"/>
                  <a:pt x="2672442" y="456825"/>
                  <a:pt x="2672655" y="458106"/>
                </a:cubicBezTo>
                <a:cubicBezTo>
                  <a:pt x="2673296" y="461662"/>
                  <a:pt x="2670308" y="467496"/>
                  <a:pt x="2668387" y="468065"/>
                </a:cubicBezTo>
                <a:cubicBezTo>
                  <a:pt x="2666039" y="467069"/>
                  <a:pt x="2665186" y="454407"/>
                  <a:pt x="2670734" y="455403"/>
                </a:cubicBezTo>
                <a:close/>
                <a:moveTo>
                  <a:pt x="2465425" y="455403"/>
                </a:moveTo>
                <a:cubicBezTo>
                  <a:pt x="2465638" y="456541"/>
                  <a:pt x="2464998" y="457537"/>
                  <a:pt x="2464358" y="458675"/>
                </a:cubicBezTo>
                <a:lnTo>
                  <a:pt x="2462223" y="460525"/>
                </a:lnTo>
                <a:lnTo>
                  <a:pt x="2471187" y="462089"/>
                </a:lnTo>
                <a:cubicBezTo>
                  <a:pt x="2480791" y="465148"/>
                  <a:pt x="2490075" y="469985"/>
                  <a:pt x="2498852" y="476245"/>
                </a:cubicBezTo>
                <a:lnTo>
                  <a:pt x="2519096" y="494902"/>
                </a:lnTo>
                <a:lnTo>
                  <a:pt x="2569754" y="490743"/>
                </a:lnTo>
                <a:lnTo>
                  <a:pt x="2591274" y="490743"/>
                </a:lnTo>
                <a:lnTo>
                  <a:pt x="2607828" y="490743"/>
                </a:lnTo>
                <a:lnTo>
                  <a:pt x="2618690" y="494532"/>
                </a:lnTo>
                <a:lnTo>
                  <a:pt x="2618447" y="493246"/>
                </a:lnTo>
                <a:cubicBezTo>
                  <a:pt x="2620581" y="492678"/>
                  <a:pt x="2622288" y="492535"/>
                  <a:pt x="2623355" y="492535"/>
                </a:cubicBezTo>
                <a:cubicBezTo>
                  <a:pt x="2624422" y="492678"/>
                  <a:pt x="2625276" y="493104"/>
                  <a:pt x="2625703" y="493531"/>
                </a:cubicBezTo>
                <a:lnTo>
                  <a:pt x="2623682" y="496983"/>
                </a:lnTo>
                <a:lnTo>
                  <a:pt x="2631005" y="501525"/>
                </a:lnTo>
                <a:lnTo>
                  <a:pt x="2638454" y="513847"/>
                </a:lnTo>
                <a:lnTo>
                  <a:pt x="2641877" y="522604"/>
                </a:lnTo>
                <a:lnTo>
                  <a:pt x="2648539" y="520847"/>
                </a:lnTo>
                <a:lnTo>
                  <a:pt x="2655582" y="520135"/>
                </a:lnTo>
                <a:lnTo>
                  <a:pt x="2654942" y="519566"/>
                </a:lnTo>
                <a:cubicBezTo>
                  <a:pt x="2652167" y="509607"/>
                  <a:pt x="2652380" y="501782"/>
                  <a:pt x="2661131" y="498226"/>
                </a:cubicBezTo>
                <a:cubicBezTo>
                  <a:pt x="2661558" y="499933"/>
                  <a:pt x="2663265" y="499507"/>
                  <a:pt x="2664759" y="499222"/>
                </a:cubicBezTo>
                <a:cubicBezTo>
                  <a:pt x="2666893" y="500929"/>
                  <a:pt x="2667960" y="503490"/>
                  <a:pt x="2668601" y="506193"/>
                </a:cubicBezTo>
                <a:lnTo>
                  <a:pt x="2668174" y="511173"/>
                </a:lnTo>
                <a:lnTo>
                  <a:pt x="2674363" y="511741"/>
                </a:lnTo>
                <a:cubicBezTo>
                  <a:pt x="2674789" y="514302"/>
                  <a:pt x="2674363" y="516436"/>
                  <a:pt x="2673509" y="518143"/>
                </a:cubicBezTo>
                <a:lnTo>
                  <a:pt x="2673296" y="518428"/>
                </a:lnTo>
                <a:lnTo>
                  <a:pt x="2680125" y="517859"/>
                </a:lnTo>
                <a:cubicBezTo>
                  <a:pt x="2679698" y="519993"/>
                  <a:pt x="2680125" y="521842"/>
                  <a:pt x="2680125" y="523834"/>
                </a:cubicBezTo>
                <a:lnTo>
                  <a:pt x="2679698" y="527106"/>
                </a:lnTo>
                <a:lnTo>
                  <a:pt x="2680979" y="527249"/>
                </a:lnTo>
                <a:cubicBezTo>
                  <a:pt x="2682473" y="529952"/>
                  <a:pt x="2682900" y="532228"/>
                  <a:pt x="2682900" y="533935"/>
                </a:cubicBezTo>
                <a:lnTo>
                  <a:pt x="2682046" y="535642"/>
                </a:lnTo>
                <a:lnTo>
                  <a:pt x="2687808" y="535358"/>
                </a:lnTo>
                <a:cubicBezTo>
                  <a:pt x="2690369" y="535642"/>
                  <a:pt x="2692076" y="536354"/>
                  <a:pt x="2693144" y="537492"/>
                </a:cubicBezTo>
                <a:lnTo>
                  <a:pt x="2694424" y="540053"/>
                </a:lnTo>
                <a:lnTo>
                  <a:pt x="2695918" y="537492"/>
                </a:lnTo>
                <a:cubicBezTo>
                  <a:pt x="2697199" y="536354"/>
                  <a:pt x="2699759" y="535358"/>
                  <a:pt x="2702747" y="534789"/>
                </a:cubicBezTo>
                <a:cubicBezTo>
                  <a:pt x="2705522" y="534220"/>
                  <a:pt x="2708510" y="534362"/>
                  <a:pt x="2710004" y="535500"/>
                </a:cubicBezTo>
                <a:cubicBezTo>
                  <a:pt x="2708723" y="537777"/>
                  <a:pt x="2707229" y="540195"/>
                  <a:pt x="2705949" y="542471"/>
                </a:cubicBezTo>
                <a:cubicBezTo>
                  <a:pt x="2705949" y="541334"/>
                  <a:pt x="2695278" y="543467"/>
                  <a:pt x="2695278" y="543467"/>
                </a:cubicBezTo>
                <a:lnTo>
                  <a:pt x="2694211" y="541618"/>
                </a:lnTo>
                <a:lnTo>
                  <a:pt x="2693144" y="546597"/>
                </a:lnTo>
                <a:cubicBezTo>
                  <a:pt x="2689729" y="553142"/>
                  <a:pt x="2681619" y="559544"/>
                  <a:pt x="2677777" y="556698"/>
                </a:cubicBezTo>
                <a:cubicBezTo>
                  <a:pt x="2675643" y="555418"/>
                  <a:pt x="2674789" y="551577"/>
                  <a:pt x="2676070" y="544321"/>
                </a:cubicBezTo>
                <a:lnTo>
                  <a:pt x="2677350" y="538772"/>
                </a:lnTo>
                <a:lnTo>
                  <a:pt x="2676924" y="538772"/>
                </a:lnTo>
                <a:cubicBezTo>
                  <a:pt x="2675430" y="538772"/>
                  <a:pt x="2673936" y="538203"/>
                  <a:pt x="2672442" y="537207"/>
                </a:cubicBezTo>
                <a:lnTo>
                  <a:pt x="2668387" y="531659"/>
                </a:lnTo>
                <a:lnTo>
                  <a:pt x="2648752" y="532370"/>
                </a:lnTo>
                <a:lnTo>
                  <a:pt x="2645553" y="532453"/>
                </a:lnTo>
                <a:lnTo>
                  <a:pt x="2651697" y="553894"/>
                </a:lnTo>
                <a:lnTo>
                  <a:pt x="2655158" y="573213"/>
                </a:lnTo>
                <a:lnTo>
                  <a:pt x="2662018" y="575936"/>
                </a:lnTo>
                <a:cubicBezTo>
                  <a:pt x="2664559" y="577176"/>
                  <a:pt x="2666626" y="578465"/>
                  <a:pt x="2667320" y="579461"/>
                </a:cubicBezTo>
                <a:cubicBezTo>
                  <a:pt x="2671161" y="579604"/>
                  <a:pt x="2669454" y="572775"/>
                  <a:pt x="2672869" y="571779"/>
                </a:cubicBezTo>
                <a:cubicBezTo>
                  <a:pt x="2681405" y="573344"/>
                  <a:pt x="2669667" y="581169"/>
                  <a:pt x="2678844" y="584014"/>
                </a:cubicBezTo>
                <a:cubicBezTo>
                  <a:pt x="2685674" y="575762"/>
                  <a:pt x="2694851" y="580742"/>
                  <a:pt x="2708083" y="577469"/>
                </a:cubicBezTo>
                <a:cubicBezTo>
                  <a:pt x="2714059" y="580315"/>
                  <a:pt x="2698266" y="579604"/>
                  <a:pt x="2695918" y="580884"/>
                </a:cubicBezTo>
                <a:cubicBezTo>
                  <a:pt x="2693571" y="590558"/>
                  <a:pt x="2708723" y="587001"/>
                  <a:pt x="2716193" y="588282"/>
                </a:cubicBezTo>
                <a:lnTo>
                  <a:pt x="2716406" y="588282"/>
                </a:lnTo>
                <a:lnTo>
                  <a:pt x="2715553" y="580742"/>
                </a:lnTo>
                <a:cubicBezTo>
                  <a:pt x="2712992" y="572063"/>
                  <a:pt x="2707656" y="564523"/>
                  <a:pt x="2713845" y="556983"/>
                </a:cubicBezTo>
                <a:cubicBezTo>
                  <a:pt x="2717047" y="561678"/>
                  <a:pt x="2720461" y="566088"/>
                  <a:pt x="2723022" y="571352"/>
                </a:cubicBezTo>
                <a:cubicBezTo>
                  <a:pt x="2724303" y="573913"/>
                  <a:pt x="2725370" y="576758"/>
                  <a:pt x="2725797" y="580030"/>
                </a:cubicBezTo>
                <a:lnTo>
                  <a:pt x="2726010" y="582449"/>
                </a:lnTo>
                <a:lnTo>
                  <a:pt x="2728358" y="585152"/>
                </a:lnTo>
                <a:cubicBezTo>
                  <a:pt x="2730705" y="587571"/>
                  <a:pt x="2733907" y="589563"/>
                  <a:pt x="2741163" y="588709"/>
                </a:cubicBezTo>
                <a:cubicBezTo>
                  <a:pt x="2747566" y="587571"/>
                  <a:pt x="2737748" y="583587"/>
                  <a:pt x="2743724" y="581169"/>
                </a:cubicBezTo>
                <a:lnTo>
                  <a:pt x="2747993" y="584299"/>
                </a:lnTo>
                <a:lnTo>
                  <a:pt x="2748206" y="581026"/>
                </a:lnTo>
                <a:cubicBezTo>
                  <a:pt x="2747139" y="573202"/>
                  <a:pt x="2742017" y="569929"/>
                  <a:pt x="2739029" y="564666"/>
                </a:cubicBezTo>
                <a:cubicBezTo>
                  <a:pt x="2745645" y="555560"/>
                  <a:pt x="2746498" y="541049"/>
                  <a:pt x="2751194" y="529241"/>
                </a:cubicBezTo>
                <a:cubicBezTo>
                  <a:pt x="2764853" y="522981"/>
                  <a:pt x="2774670" y="514018"/>
                  <a:pt x="2788542" y="507758"/>
                </a:cubicBezTo>
                <a:cubicBezTo>
                  <a:pt x="2791530" y="509892"/>
                  <a:pt x="2795158" y="511315"/>
                  <a:pt x="2799213" y="512310"/>
                </a:cubicBezTo>
                <a:lnTo>
                  <a:pt x="2808390" y="514302"/>
                </a:lnTo>
                <a:lnTo>
                  <a:pt x="2806896" y="509181"/>
                </a:lnTo>
                <a:cubicBezTo>
                  <a:pt x="2805829" y="507189"/>
                  <a:pt x="2804976" y="504770"/>
                  <a:pt x="2805189" y="500075"/>
                </a:cubicBezTo>
                <a:cubicBezTo>
                  <a:pt x="2805402" y="488125"/>
                  <a:pt x="2813085" y="485991"/>
                  <a:pt x="2819061" y="486560"/>
                </a:cubicBezTo>
                <a:cubicBezTo>
                  <a:pt x="2818848" y="486986"/>
                  <a:pt x="2819488" y="487271"/>
                  <a:pt x="2820128" y="487556"/>
                </a:cubicBezTo>
                <a:lnTo>
                  <a:pt x="2822476" y="488551"/>
                </a:lnTo>
                <a:lnTo>
                  <a:pt x="2826104" y="487129"/>
                </a:lnTo>
                <a:cubicBezTo>
                  <a:pt x="2827171" y="487271"/>
                  <a:pt x="2828238" y="487840"/>
                  <a:pt x="2829519" y="488978"/>
                </a:cubicBezTo>
                <a:cubicBezTo>
                  <a:pt x="2830799" y="488836"/>
                  <a:pt x="2832506" y="493531"/>
                  <a:pt x="2831653" y="494812"/>
                </a:cubicBezTo>
                <a:lnTo>
                  <a:pt x="2830586" y="495807"/>
                </a:lnTo>
                <a:lnTo>
                  <a:pt x="2832506" y="502921"/>
                </a:lnTo>
                <a:cubicBezTo>
                  <a:pt x="2832506" y="504486"/>
                  <a:pt x="2832080" y="505909"/>
                  <a:pt x="2831866" y="507473"/>
                </a:cubicBezTo>
                <a:cubicBezTo>
                  <a:pt x="2832293" y="504912"/>
                  <a:pt x="2832934" y="502352"/>
                  <a:pt x="2833574" y="500644"/>
                </a:cubicBezTo>
                <a:lnTo>
                  <a:pt x="2834641" y="498226"/>
                </a:lnTo>
                <a:lnTo>
                  <a:pt x="2833361" y="498083"/>
                </a:lnTo>
                <a:lnTo>
                  <a:pt x="2834854" y="496803"/>
                </a:lnTo>
                <a:lnTo>
                  <a:pt x="2834854" y="496661"/>
                </a:lnTo>
                <a:cubicBezTo>
                  <a:pt x="2836135" y="496661"/>
                  <a:pt x="2836135" y="495380"/>
                  <a:pt x="2834854" y="495380"/>
                </a:cubicBezTo>
                <a:cubicBezTo>
                  <a:pt x="2836349" y="493673"/>
                  <a:pt x="2837202" y="492108"/>
                  <a:pt x="2838269" y="491397"/>
                </a:cubicBezTo>
                <a:lnTo>
                  <a:pt x="2839336" y="491539"/>
                </a:lnTo>
                <a:lnTo>
                  <a:pt x="2839123" y="484995"/>
                </a:lnTo>
                <a:lnTo>
                  <a:pt x="2839549" y="483003"/>
                </a:lnTo>
                <a:lnTo>
                  <a:pt x="2838909" y="482577"/>
                </a:lnTo>
                <a:lnTo>
                  <a:pt x="2839763" y="481580"/>
                </a:lnTo>
                <a:lnTo>
                  <a:pt x="2840830" y="475463"/>
                </a:lnTo>
                <a:cubicBezTo>
                  <a:pt x="2841897" y="472902"/>
                  <a:pt x="2843391" y="471337"/>
                  <a:pt x="2845952" y="470910"/>
                </a:cubicBezTo>
                <a:lnTo>
                  <a:pt x="2847019" y="479020"/>
                </a:lnTo>
                <a:lnTo>
                  <a:pt x="2847446" y="479447"/>
                </a:lnTo>
                <a:lnTo>
                  <a:pt x="2847233" y="480015"/>
                </a:lnTo>
                <a:lnTo>
                  <a:pt x="2848086" y="489405"/>
                </a:lnTo>
                <a:lnTo>
                  <a:pt x="2846592" y="498510"/>
                </a:lnTo>
                <a:lnTo>
                  <a:pt x="2847873" y="498652"/>
                </a:lnTo>
                <a:cubicBezTo>
                  <a:pt x="2852355" y="497941"/>
                  <a:pt x="2858331" y="493958"/>
                  <a:pt x="2864733" y="499507"/>
                </a:cubicBezTo>
                <a:cubicBezTo>
                  <a:pt x="2862172" y="501925"/>
                  <a:pt x="2866227" y="508042"/>
                  <a:pt x="2862386" y="511457"/>
                </a:cubicBezTo>
                <a:cubicBezTo>
                  <a:pt x="2854489" y="520420"/>
                  <a:pt x="2850647" y="521273"/>
                  <a:pt x="2846165" y="519566"/>
                </a:cubicBezTo>
                <a:lnTo>
                  <a:pt x="2845739" y="519282"/>
                </a:lnTo>
                <a:lnTo>
                  <a:pt x="2838909" y="519282"/>
                </a:lnTo>
                <a:lnTo>
                  <a:pt x="2837842" y="517148"/>
                </a:lnTo>
                <a:cubicBezTo>
                  <a:pt x="2836775" y="518286"/>
                  <a:pt x="2835494" y="519424"/>
                  <a:pt x="2833787" y="518143"/>
                </a:cubicBezTo>
                <a:cubicBezTo>
                  <a:pt x="2831440" y="515867"/>
                  <a:pt x="2831013" y="512595"/>
                  <a:pt x="2831226" y="509323"/>
                </a:cubicBezTo>
                <a:cubicBezTo>
                  <a:pt x="2829732" y="514302"/>
                  <a:pt x="2825678" y="517859"/>
                  <a:pt x="2817140" y="516152"/>
                </a:cubicBezTo>
                <a:cubicBezTo>
                  <a:pt x="2814579" y="516294"/>
                  <a:pt x="2815433" y="515725"/>
                  <a:pt x="2813939" y="515298"/>
                </a:cubicBezTo>
                <a:lnTo>
                  <a:pt x="2812232" y="515156"/>
                </a:lnTo>
                <a:lnTo>
                  <a:pt x="2823543" y="519139"/>
                </a:lnTo>
                <a:cubicBezTo>
                  <a:pt x="2826958" y="521131"/>
                  <a:pt x="2829946" y="523976"/>
                  <a:pt x="2831653" y="528102"/>
                </a:cubicBezTo>
                <a:cubicBezTo>
                  <a:pt x="2829946" y="535642"/>
                  <a:pt x="2830799" y="540622"/>
                  <a:pt x="2832293" y="544748"/>
                </a:cubicBezTo>
                <a:lnTo>
                  <a:pt x="2832506" y="545317"/>
                </a:lnTo>
                <a:lnTo>
                  <a:pt x="2832720" y="545032"/>
                </a:lnTo>
                <a:cubicBezTo>
                  <a:pt x="2832934" y="544890"/>
                  <a:pt x="2832934" y="545174"/>
                  <a:pt x="2833361" y="545744"/>
                </a:cubicBezTo>
                <a:cubicBezTo>
                  <a:pt x="2833361" y="545744"/>
                  <a:pt x="2833574" y="545744"/>
                  <a:pt x="2834427" y="547024"/>
                </a:cubicBezTo>
                <a:cubicBezTo>
                  <a:pt x="2834427" y="547024"/>
                  <a:pt x="2834641" y="547024"/>
                  <a:pt x="2834641" y="547451"/>
                </a:cubicBezTo>
                <a:lnTo>
                  <a:pt x="2833787" y="548873"/>
                </a:lnTo>
                <a:lnTo>
                  <a:pt x="2834641" y="550865"/>
                </a:lnTo>
                <a:cubicBezTo>
                  <a:pt x="2835494" y="552857"/>
                  <a:pt x="2836135" y="554849"/>
                  <a:pt x="2836562" y="557267"/>
                </a:cubicBezTo>
                <a:cubicBezTo>
                  <a:pt x="2834854" y="562247"/>
                  <a:pt x="2832293" y="567653"/>
                  <a:pt x="2829519" y="572917"/>
                </a:cubicBezTo>
                <a:lnTo>
                  <a:pt x="2826531" y="577327"/>
                </a:lnTo>
                <a:lnTo>
                  <a:pt x="2824397" y="581453"/>
                </a:lnTo>
                <a:lnTo>
                  <a:pt x="2824183" y="581880"/>
                </a:lnTo>
                <a:lnTo>
                  <a:pt x="2822690" y="591697"/>
                </a:lnTo>
                <a:cubicBezTo>
                  <a:pt x="2821622" y="594827"/>
                  <a:pt x="2819702" y="597672"/>
                  <a:pt x="2816927" y="599948"/>
                </a:cubicBezTo>
                <a:cubicBezTo>
                  <a:pt x="2815220" y="601086"/>
                  <a:pt x="2813512" y="601798"/>
                  <a:pt x="2811805" y="602224"/>
                </a:cubicBezTo>
                <a:lnTo>
                  <a:pt x="2807964" y="602651"/>
                </a:lnTo>
                <a:lnTo>
                  <a:pt x="2809884" y="603647"/>
                </a:lnTo>
                <a:cubicBezTo>
                  <a:pt x="2815433" y="608484"/>
                  <a:pt x="2801348" y="608342"/>
                  <a:pt x="2807110" y="615313"/>
                </a:cubicBezTo>
                <a:cubicBezTo>
                  <a:pt x="2808390" y="613321"/>
                  <a:pt x="2809884" y="607915"/>
                  <a:pt x="2814366" y="608769"/>
                </a:cubicBezTo>
                <a:lnTo>
                  <a:pt x="2819488" y="611756"/>
                </a:lnTo>
                <a:cubicBezTo>
                  <a:pt x="2820342" y="611045"/>
                  <a:pt x="2822049" y="610760"/>
                  <a:pt x="2825037" y="611330"/>
                </a:cubicBezTo>
                <a:cubicBezTo>
                  <a:pt x="2825678" y="615882"/>
                  <a:pt x="2824823" y="617874"/>
                  <a:pt x="2823756" y="618443"/>
                </a:cubicBezTo>
                <a:cubicBezTo>
                  <a:pt x="2822263" y="619297"/>
                  <a:pt x="2819702" y="617020"/>
                  <a:pt x="2818848" y="614602"/>
                </a:cubicBezTo>
                <a:lnTo>
                  <a:pt x="2819275" y="612468"/>
                </a:lnTo>
                <a:lnTo>
                  <a:pt x="2813726" y="615455"/>
                </a:lnTo>
                <a:cubicBezTo>
                  <a:pt x="2811592" y="616878"/>
                  <a:pt x="2809671" y="619297"/>
                  <a:pt x="2809884" y="624561"/>
                </a:cubicBezTo>
                <a:cubicBezTo>
                  <a:pt x="2812872" y="624418"/>
                  <a:pt x="2814366" y="625841"/>
                  <a:pt x="2814152" y="626837"/>
                </a:cubicBezTo>
                <a:lnTo>
                  <a:pt x="2816714" y="626410"/>
                </a:lnTo>
                <a:lnTo>
                  <a:pt x="2816500" y="626126"/>
                </a:lnTo>
                <a:lnTo>
                  <a:pt x="2818635" y="625414"/>
                </a:lnTo>
                <a:lnTo>
                  <a:pt x="2818848" y="623138"/>
                </a:lnTo>
                <a:cubicBezTo>
                  <a:pt x="2818635" y="620862"/>
                  <a:pt x="2818421" y="618727"/>
                  <a:pt x="2823330" y="620292"/>
                </a:cubicBezTo>
                <a:lnTo>
                  <a:pt x="2822476" y="623849"/>
                </a:lnTo>
                <a:lnTo>
                  <a:pt x="2827598" y="621857"/>
                </a:lnTo>
                <a:cubicBezTo>
                  <a:pt x="2830799" y="622284"/>
                  <a:pt x="2833147" y="624703"/>
                  <a:pt x="2834854" y="629255"/>
                </a:cubicBezTo>
                <a:lnTo>
                  <a:pt x="2830159" y="632955"/>
                </a:lnTo>
                <a:lnTo>
                  <a:pt x="2837842" y="636227"/>
                </a:lnTo>
                <a:cubicBezTo>
                  <a:pt x="2837202" y="638076"/>
                  <a:pt x="2834854" y="637792"/>
                  <a:pt x="2832080" y="637080"/>
                </a:cubicBezTo>
                <a:lnTo>
                  <a:pt x="2826958" y="635800"/>
                </a:lnTo>
                <a:lnTo>
                  <a:pt x="2825250" y="637222"/>
                </a:lnTo>
                <a:lnTo>
                  <a:pt x="2826958" y="641348"/>
                </a:lnTo>
                <a:cubicBezTo>
                  <a:pt x="2829519" y="642629"/>
                  <a:pt x="2832934" y="643482"/>
                  <a:pt x="2836135" y="643909"/>
                </a:cubicBezTo>
                <a:cubicBezTo>
                  <a:pt x="2841470" y="648746"/>
                  <a:pt x="2823330" y="641064"/>
                  <a:pt x="2822049" y="644763"/>
                </a:cubicBezTo>
                <a:cubicBezTo>
                  <a:pt x="2828025" y="647608"/>
                  <a:pt x="2838909" y="651023"/>
                  <a:pt x="2850434" y="652445"/>
                </a:cubicBezTo>
                <a:lnTo>
                  <a:pt x="2851928" y="652587"/>
                </a:lnTo>
                <a:lnTo>
                  <a:pt x="2857477" y="642060"/>
                </a:lnTo>
                <a:cubicBezTo>
                  <a:pt x="2860465" y="637649"/>
                  <a:pt x="2863666" y="633808"/>
                  <a:pt x="2866654" y="631105"/>
                </a:cubicBezTo>
                <a:cubicBezTo>
                  <a:pt x="2869002" y="636369"/>
                  <a:pt x="2870069" y="642344"/>
                  <a:pt x="2870069" y="648177"/>
                </a:cubicBezTo>
                <a:lnTo>
                  <a:pt x="2869428" y="651734"/>
                </a:lnTo>
                <a:lnTo>
                  <a:pt x="2877538" y="648462"/>
                </a:lnTo>
                <a:cubicBezTo>
                  <a:pt x="2878605" y="648746"/>
                  <a:pt x="2879886" y="649458"/>
                  <a:pt x="2881166" y="650169"/>
                </a:cubicBezTo>
                <a:lnTo>
                  <a:pt x="2885008" y="652730"/>
                </a:lnTo>
                <a:lnTo>
                  <a:pt x="2886075" y="651307"/>
                </a:lnTo>
                <a:lnTo>
                  <a:pt x="2887142" y="653014"/>
                </a:lnTo>
                <a:lnTo>
                  <a:pt x="2888423" y="653014"/>
                </a:lnTo>
                <a:cubicBezTo>
                  <a:pt x="2889490" y="652587"/>
                  <a:pt x="2890557" y="652018"/>
                  <a:pt x="2890984" y="650596"/>
                </a:cubicBezTo>
                <a:lnTo>
                  <a:pt x="2899094" y="657282"/>
                </a:lnTo>
                <a:lnTo>
                  <a:pt x="2899307" y="655149"/>
                </a:lnTo>
                <a:cubicBezTo>
                  <a:pt x="2900587" y="652872"/>
                  <a:pt x="2903149" y="651023"/>
                  <a:pt x="2904856" y="651450"/>
                </a:cubicBezTo>
                <a:cubicBezTo>
                  <a:pt x="2906350" y="651876"/>
                  <a:pt x="2907203" y="652872"/>
                  <a:pt x="2907203" y="652872"/>
                </a:cubicBezTo>
                <a:cubicBezTo>
                  <a:pt x="2907203" y="655006"/>
                  <a:pt x="2906990" y="656998"/>
                  <a:pt x="2906137" y="658421"/>
                </a:cubicBezTo>
                <a:lnTo>
                  <a:pt x="2902508" y="659416"/>
                </a:lnTo>
                <a:lnTo>
                  <a:pt x="2914673" y="662973"/>
                </a:lnTo>
                <a:lnTo>
                  <a:pt x="2918088" y="663542"/>
                </a:lnTo>
                <a:lnTo>
                  <a:pt x="2921929" y="660839"/>
                </a:lnTo>
                <a:cubicBezTo>
                  <a:pt x="2922570" y="661835"/>
                  <a:pt x="2923637" y="661266"/>
                  <a:pt x="2924277" y="662262"/>
                </a:cubicBezTo>
                <a:cubicBezTo>
                  <a:pt x="2924277" y="662262"/>
                  <a:pt x="2925344" y="663116"/>
                  <a:pt x="2926625" y="664538"/>
                </a:cubicBezTo>
                <a:lnTo>
                  <a:pt x="2926625" y="664681"/>
                </a:lnTo>
                <a:lnTo>
                  <a:pt x="2927052" y="664823"/>
                </a:lnTo>
                <a:cubicBezTo>
                  <a:pt x="2930680" y="665818"/>
                  <a:pt x="2934308" y="667099"/>
                  <a:pt x="2935588" y="669517"/>
                </a:cubicBezTo>
                <a:cubicBezTo>
                  <a:pt x="2933881" y="669944"/>
                  <a:pt x="2931533" y="669802"/>
                  <a:pt x="2929400" y="669802"/>
                </a:cubicBezTo>
                <a:lnTo>
                  <a:pt x="2928332" y="669944"/>
                </a:lnTo>
                <a:lnTo>
                  <a:pt x="2928759" y="671082"/>
                </a:lnTo>
                <a:cubicBezTo>
                  <a:pt x="2928545" y="672790"/>
                  <a:pt x="2927052" y="676631"/>
                  <a:pt x="2926412" y="675635"/>
                </a:cubicBezTo>
                <a:cubicBezTo>
                  <a:pt x="2924704" y="675209"/>
                  <a:pt x="2925344" y="676204"/>
                  <a:pt x="2924491" y="676916"/>
                </a:cubicBezTo>
                <a:lnTo>
                  <a:pt x="2923850" y="676631"/>
                </a:lnTo>
                <a:lnTo>
                  <a:pt x="2923210" y="682179"/>
                </a:lnTo>
                <a:cubicBezTo>
                  <a:pt x="2937936" y="685736"/>
                  <a:pt x="2951168" y="693988"/>
                  <a:pt x="2964613" y="701243"/>
                </a:cubicBezTo>
                <a:lnTo>
                  <a:pt x="2972937" y="705369"/>
                </a:lnTo>
                <a:lnTo>
                  <a:pt x="2975071" y="702666"/>
                </a:lnTo>
                <a:cubicBezTo>
                  <a:pt x="2976992" y="704089"/>
                  <a:pt x="2978059" y="705369"/>
                  <a:pt x="2979767" y="707930"/>
                </a:cubicBezTo>
                <a:lnTo>
                  <a:pt x="2979126" y="708642"/>
                </a:lnTo>
                <a:lnTo>
                  <a:pt x="2984888" y="711487"/>
                </a:lnTo>
                <a:lnTo>
                  <a:pt x="2985742" y="711772"/>
                </a:lnTo>
                <a:lnTo>
                  <a:pt x="2986595" y="709637"/>
                </a:lnTo>
                <a:cubicBezTo>
                  <a:pt x="2987023" y="708357"/>
                  <a:pt x="2988090" y="707788"/>
                  <a:pt x="2989370" y="707503"/>
                </a:cubicBezTo>
                <a:cubicBezTo>
                  <a:pt x="2990651" y="707361"/>
                  <a:pt x="2992145" y="707503"/>
                  <a:pt x="2993212" y="707930"/>
                </a:cubicBezTo>
                <a:cubicBezTo>
                  <a:pt x="2994492" y="709068"/>
                  <a:pt x="2994706" y="709210"/>
                  <a:pt x="2995986" y="710349"/>
                </a:cubicBezTo>
                <a:cubicBezTo>
                  <a:pt x="2996200" y="711487"/>
                  <a:pt x="2996626" y="712625"/>
                  <a:pt x="2996840" y="713763"/>
                </a:cubicBezTo>
                <a:lnTo>
                  <a:pt x="2996840" y="715328"/>
                </a:lnTo>
                <a:lnTo>
                  <a:pt x="3003029" y="717178"/>
                </a:lnTo>
                <a:lnTo>
                  <a:pt x="3006230" y="711629"/>
                </a:lnTo>
                <a:cubicBezTo>
                  <a:pt x="3008151" y="709353"/>
                  <a:pt x="3010712" y="707788"/>
                  <a:pt x="3014340" y="707503"/>
                </a:cubicBezTo>
                <a:lnTo>
                  <a:pt x="3010072" y="723153"/>
                </a:lnTo>
                <a:lnTo>
                  <a:pt x="3013913" y="727421"/>
                </a:lnTo>
                <a:cubicBezTo>
                  <a:pt x="3016901" y="729840"/>
                  <a:pt x="3019676" y="731689"/>
                  <a:pt x="3022451" y="733681"/>
                </a:cubicBezTo>
                <a:lnTo>
                  <a:pt x="3023517" y="734250"/>
                </a:lnTo>
                <a:lnTo>
                  <a:pt x="3023944" y="732685"/>
                </a:lnTo>
                <a:cubicBezTo>
                  <a:pt x="3029066" y="731974"/>
                  <a:pt x="3034615" y="728986"/>
                  <a:pt x="3039950" y="725714"/>
                </a:cubicBezTo>
                <a:lnTo>
                  <a:pt x="3050195" y="719738"/>
                </a:lnTo>
                <a:lnTo>
                  <a:pt x="3051262" y="718600"/>
                </a:lnTo>
                <a:cubicBezTo>
                  <a:pt x="3040805" y="711202"/>
                  <a:pt x="3031841" y="708500"/>
                  <a:pt x="3023091" y="704800"/>
                </a:cubicBezTo>
                <a:cubicBezTo>
                  <a:pt x="3014127" y="701955"/>
                  <a:pt x="3007511" y="697829"/>
                  <a:pt x="3001322" y="686590"/>
                </a:cubicBezTo>
                <a:cubicBezTo>
                  <a:pt x="3007511" y="683318"/>
                  <a:pt x="3005377" y="695126"/>
                  <a:pt x="3015621" y="697260"/>
                </a:cubicBezTo>
                <a:cubicBezTo>
                  <a:pt x="3015834" y="694272"/>
                  <a:pt x="3014980" y="691427"/>
                  <a:pt x="3013700" y="688724"/>
                </a:cubicBezTo>
                <a:lnTo>
                  <a:pt x="3009645" y="682748"/>
                </a:lnTo>
                <a:lnTo>
                  <a:pt x="3006871" y="684171"/>
                </a:lnTo>
                <a:cubicBezTo>
                  <a:pt x="3000468" y="685452"/>
                  <a:pt x="2992785" y="683745"/>
                  <a:pt x="2992571" y="679192"/>
                </a:cubicBezTo>
                <a:cubicBezTo>
                  <a:pt x="2992358" y="677484"/>
                  <a:pt x="2993212" y="675351"/>
                  <a:pt x="2995773" y="672932"/>
                </a:cubicBezTo>
                <a:lnTo>
                  <a:pt x="2996626" y="672221"/>
                </a:lnTo>
                <a:lnTo>
                  <a:pt x="2993212" y="669517"/>
                </a:lnTo>
                <a:cubicBezTo>
                  <a:pt x="2994706" y="667953"/>
                  <a:pt x="2996200" y="667383"/>
                  <a:pt x="2998121" y="667383"/>
                </a:cubicBezTo>
                <a:lnTo>
                  <a:pt x="3002816" y="667668"/>
                </a:lnTo>
                <a:lnTo>
                  <a:pt x="3007724" y="664111"/>
                </a:lnTo>
                <a:lnTo>
                  <a:pt x="3009645" y="666388"/>
                </a:lnTo>
                <a:lnTo>
                  <a:pt x="3011993" y="663969"/>
                </a:lnTo>
                <a:cubicBezTo>
                  <a:pt x="3017115" y="672790"/>
                  <a:pt x="3022451" y="677627"/>
                  <a:pt x="3027999" y="681326"/>
                </a:cubicBezTo>
                <a:lnTo>
                  <a:pt x="3036749" y="686590"/>
                </a:lnTo>
                <a:lnTo>
                  <a:pt x="3039950" y="682606"/>
                </a:lnTo>
                <a:cubicBezTo>
                  <a:pt x="3045926" y="677627"/>
                  <a:pt x="3053823" y="674924"/>
                  <a:pt x="3061506" y="675493"/>
                </a:cubicBezTo>
                <a:cubicBezTo>
                  <a:pt x="3064067" y="675635"/>
                  <a:pt x="3066415" y="676062"/>
                  <a:pt x="3068976" y="677058"/>
                </a:cubicBezTo>
                <a:lnTo>
                  <a:pt x="3075378" y="680899"/>
                </a:lnTo>
                <a:lnTo>
                  <a:pt x="3076232" y="679334"/>
                </a:lnTo>
                <a:cubicBezTo>
                  <a:pt x="3078793" y="676631"/>
                  <a:pt x="3082634" y="677484"/>
                  <a:pt x="3087330" y="680899"/>
                </a:cubicBezTo>
                <a:cubicBezTo>
                  <a:pt x="3087117" y="683602"/>
                  <a:pt x="3087757" y="686021"/>
                  <a:pt x="3087970" y="689720"/>
                </a:cubicBezTo>
                <a:cubicBezTo>
                  <a:pt x="3086263" y="690147"/>
                  <a:pt x="3083489" y="690004"/>
                  <a:pt x="3080927" y="689008"/>
                </a:cubicBezTo>
                <a:lnTo>
                  <a:pt x="3075378" y="684456"/>
                </a:lnTo>
                <a:lnTo>
                  <a:pt x="3074098" y="693988"/>
                </a:lnTo>
                <a:cubicBezTo>
                  <a:pt x="3072604" y="697829"/>
                  <a:pt x="3070470" y="700959"/>
                  <a:pt x="3067909" y="703520"/>
                </a:cubicBezTo>
                <a:lnTo>
                  <a:pt x="3064707" y="705512"/>
                </a:lnTo>
                <a:lnTo>
                  <a:pt x="3069403" y="708072"/>
                </a:lnTo>
                <a:cubicBezTo>
                  <a:pt x="3072177" y="709353"/>
                  <a:pt x="3075165" y="710349"/>
                  <a:pt x="3078793" y="711487"/>
                </a:cubicBezTo>
                <a:cubicBezTo>
                  <a:pt x="3080074" y="715044"/>
                  <a:pt x="3082208" y="718316"/>
                  <a:pt x="3084982" y="721446"/>
                </a:cubicBezTo>
                <a:lnTo>
                  <a:pt x="3087330" y="723295"/>
                </a:lnTo>
                <a:lnTo>
                  <a:pt x="3088184" y="721730"/>
                </a:lnTo>
                <a:lnTo>
                  <a:pt x="3089677" y="725429"/>
                </a:lnTo>
                <a:lnTo>
                  <a:pt x="3093946" y="728986"/>
                </a:lnTo>
                <a:lnTo>
                  <a:pt x="3094373" y="729128"/>
                </a:lnTo>
                <a:lnTo>
                  <a:pt x="3094586" y="729555"/>
                </a:lnTo>
                <a:lnTo>
                  <a:pt x="3095440" y="730267"/>
                </a:lnTo>
                <a:cubicBezTo>
                  <a:pt x="3099495" y="732543"/>
                  <a:pt x="3103550" y="735815"/>
                  <a:pt x="3108245" y="739371"/>
                </a:cubicBezTo>
                <a:cubicBezTo>
                  <a:pt x="3113367" y="741933"/>
                  <a:pt x="3116995" y="746200"/>
                  <a:pt x="3122330" y="750895"/>
                </a:cubicBezTo>
                <a:cubicBezTo>
                  <a:pt x="3130441" y="753456"/>
                  <a:pt x="3126813" y="740936"/>
                  <a:pt x="3135136" y="748762"/>
                </a:cubicBezTo>
                <a:cubicBezTo>
                  <a:pt x="3133215" y="751180"/>
                  <a:pt x="3132148" y="753456"/>
                  <a:pt x="3131935" y="755448"/>
                </a:cubicBezTo>
                <a:lnTo>
                  <a:pt x="3133215" y="760712"/>
                </a:lnTo>
                <a:lnTo>
                  <a:pt x="3139404" y="753741"/>
                </a:lnTo>
                <a:cubicBezTo>
                  <a:pt x="3143886" y="749046"/>
                  <a:pt x="3148795" y="745205"/>
                  <a:pt x="3152423" y="745347"/>
                </a:cubicBezTo>
                <a:cubicBezTo>
                  <a:pt x="3153490" y="745489"/>
                  <a:pt x="3154557" y="745916"/>
                  <a:pt x="3155411" y="746770"/>
                </a:cubicBezTo>
                <a:cubicBezTo>
                  <a:pt x="3152636" y="750184"/>
                  <a:pt x="3148368" y="757013"/>
                  <a:pt x="3143459" y="762135"/>
                </a:cubicBezTo>
                <a:lnTo>
                  <a:pt x="3138977" y="765265"/>
                </a:lnTo>
                <a:lnTo>
                  <a:pt x="3144099" y="769106"/>
                </a:lnTo>
                <a:cubicBezTo>
                  <a:pt x="3153917" y="775223"/>
                  <a:pt x="3165655" y="781910"/>
                  <a:pt x="3165655" y="793434"/>
                </a:cubicBezTo>
                <a:cubicBezTo>
                  <a:pt x="3168429" y="794287"/>
                  <a:pt x="3170350" y="794856"/>
                  <a:pt x="3173338" y="791584"/>
                </a:cubicBezTo>
                <a:lnTo>
                  <a:pt x="3180168" y="801828"/>
                </a:lnTo>
                <a:lnTo>
                  <a:pt x="3191052" y="805811"/>
                </a:lnTo>
                <a:cubicBezTo>
                  <a:pt x="3194467" y="808087"/>
                  <a:pt x="3197027" y="811217"/>
                  <a:pt x="3198735" y="815770"/>
                </a:cubicBezTo>
                <a:lnTo>
                  <a:pt x="3193186" y="817620"/>
                </a:lnTo>
                <a:lnTo>
                  <a:pt x="3195534" y="820323"/>
                </a:lnTo>
                <a:cubicBezTo>
                  <a:pt x="3199162" y="824448"/>
                  <a:pt x="3202577" y="828717"/>
                  <a:pt x="3206632" y="831989"/>
                </a:cubicBezTo>
                <a:cubicBezTo>
                  <a:pt x="3210046" y="836257"/>
                  <a:pt x="3213034" y="839244"/>
                  <a:pt x="3216876" y="842516"/>
                </a:cubicBezTo>
                <a:cubicBezTo>
                  <a:pt x="3224345" y="849914"/>
                  <a:pt x="3230962" y="857170"/>
                  <a:pt x="3237578" y="864284"/>
                </a:cubicBezTo>
                <a:lnTo>
                  <a:pt x="3243980" y="871681"/>
                </a:lnTo>
                <a:lnTo>
                  <a:pt x="3246968" y="871966"/>
                </a:lnTo>
                <a:lnTo>
                  <a:pt x="3245901" y="873816"/>
                </a:lnTo>
                <a:lnTo>
                  <a:pt x="3247181" y="875380"/>
                </a:lnTo>
                <a:cubicBezTo>
                  <a:pt x="3250382" y="879222"/>
                  <a:pt x="3253370" y="883205"/>
                  <a:pt x="3256358" y="887758"/>
                </a:cubicBezTo>
                <a:lnTo>
                  <a:pt x="3253584" y="888327"/>
                </a:lnTo>
                <a:lnTo>
                  <a:pt x="3254438" y="889323"/>
                </a:lnTo>
                <a:cubicBezTo>
                  <a:pt x="3254651" y="890888"/>
                  <a:pt x="3254011" y="892026"/>
                  <a:pt x="3254011" y="892026"/>
                </a:cubicBezTo>
                <a:lnTo>
                  <a:pt x="3253157" y="892168"/>
                </a:lnTo>
                <a:lnTo>
                  <a:pt x="3261053" y="896294"/>
                </a:lnTo>
                <a:cubicBezTo>
                  <a:pt x="3265536" y="898428"/>
                  <a:pt x="3270231" y="900420"/>
                  <a:pt x="3274712" y="901843"/>
                </a:cubicBezTo>
                <a:cubicBezTo>
                  <a:pt x="3272151" y="904830"/>
                  <a:pt x="3278554" y="918203"/>
                  <a:pt x="3286024" y="922187"/>
                </a:cubicBezTo>
                <a:lnTo>
                  <a:pt x="3287091" y="922472"/>
                </a:lnTo>
                <a:lnTo>
                  <a:pt x="3287091" y="922329"/>
                </a:lnTo>
                <a:lnTo>
                  <a:pt x="3290719" y="923041"/>
                </a:lnTo>
                <a:lnTo>
                  <a:pt x="3293707" y="922187"/>
                </a:lnTo>
                <a:cubicBezTo>
                  <a:pt x="3291146" y="932715"/>
                  <a:pt x="3304592" y="960742"/>
                  <a:pt x="3315475" y="961027"/>
                </a:cubicBezTo>
                <a:cubicBezTo>
                  <a:pt x="3312274" y="967286"/>
                  <a:pt x="3314195" y="973120"/>
                  <a:pt x="3317396" y="978241"/>
                </a:cubicBezTo>
                <a:lnTo>
                  <a:pt x="3322732" y="985924"/>
                </a:lnTo>
                <a:lnTo>
                  <a:pt x="3324013" y="986635"/>
                </a:lnTo>
                <a:lnTo>
                  <a:pt x="3323799" y="988769"/>
                </a:lnTo>
                <a:lnTo>
                  <a:pt x="3324013" y="989053"/>
                </a:lnTo>
                <a:lnTo>
                  <a:pt x="3324439" y="988200"/>
                </a:lnTo>
                <a:cubicBezTo>
                  <a:pt x="3327214" y="987916"/>
                  <a:pt x="3329348" y="988484"/>
                  <a:pt x="3331055" y="989196"/>
                </a:cubicBezTo>
                <a:lnTo>
                  <a:pt x="3332336" y="989765"/>
                </a:lnTo>
                <a:lnTo>
                  <a:pt x="3334684" y="987488"/>
                </a:lnTo>
                <a:lnTo>
                  <a:pt x="3335324" y="990903"/>
                </a:lnTo>
                <a:lnTo>
                  <a:pt x="3336391" y="991330"/>
                </a:lnTo>
                <a:cubicBezTo>
                  <a:pt x="3336604" y="994460"/>
                  <a:pt x="3336391" y="996736"/>
                  <a:pt x="3335537" y="998728"/>
                </a:cubicBezTo>
                <a:lnTo>
                  <a:pt x="3334470" y="1000293"/>
                </a:lnTo>
                <a:lnTo>
                  <a:pt x="3335537" y="1005272"/>
                </a:lnTo>
                <a:cubicBezTo>
                  <a:pt x="3336391" y="1006695"/>
                  <a:pt x="3337244" y="1007833"/>
                  <a:pt x="3338312" y="1008686"/>
                </a:cubicBezTo>
                <a:lnTo>
                  <a:pt x="3340446" y="1009256"/>
                </a:lnTo>
                <a:lnTo>
                  <a:pt x="3343433" y="1007691"/>
                </a:lnTo>
                <a:cubicBezTo>
                  <a:pt x="3344714" y="1007406"/>
                  <a:pt x="3345781" y="1007406"/>
                  <a:pt x="3346848" y="1007691"/>
                </a:cubicBezTo>
                <a:cubicBezTo>
                  <a:pt x="3348769" y="1008260"/>
                  <a:pt x="3350476" y="1009825"/>
                  <a:pt x="3351117" y="1011959"/>
                </a:cubicBezTo>
                <a:cubicBezTo>
                  <a:pt x="3351757" y="1013950"/>
                  <a:pt x="3351757" y="1016369"/>
                  <a:pt x="3350903" y="1018787"/>
                </a:cubicBezTo>
                <a:lnTo>
                  <a:pt x="3345355" y="1024336"/>
                </a:lnTo>
                <a:lnTo>
                  <a:pt x="3345568" y="1024478"/>
                </a:lnTo>
                <a:cubicBezTo>
                  <a:pt x="3345355" y="1026186"/>
                  <a:pt x="3344288" y="1027751"/>
                  <a:pt x="3341940" y="1029458"/>
                </a:cubicBezTo>
                <a:cubicBezTo>
                  <a:pt x="3345995" y="1029600"/>
                  <a:pt x="3348983" y="1032588"/>
                  <a:pt x="3342793" y="1035860"/>
                </a:cubicBezTo>
                <a:lnTo>
                  <a:pt x="3344501" y="1036856"/>
                </a:lnTo>
                <a:lnTo>
                  <a:pt x="3349409" y="1034153"/>
                </a:lnTo>
                <a:cubicBezTo>
                  <a:pt x="3350476" y="1035433"/>
                  <a:pt x="3351330" y="1036714"/>
                  <a:pt x="3352611" y="1035717"/>
                </a:cubicBezTo>
                <a:cubicBezTo>
                  <a:pt x="3354318" y="1037567"/>
                  <a:pt x="3355599" y="1039844"/>
                  <a:pt x="3356452" y="1042262"/>
                </a:cubicBezTo>
                <a:cubicBezTo>
                  <a:pt x="3358159" y="1046530"/>
                  <a:pt x="3358586" y="1051367"/>
                  <a:pt x="3357946" y="1056204"/>
                </a:cubicBezTo>
                <a:lnTo>
                  <a:pt x="3357092" y="1059192"/>
                </a:lnTo>
                <a:lnTo>
                  <a:pt x="3358159" y="1058481"/>
                </a:lnTo>
                <a:cubicBezTo>
                  <a:pt x="3365202" y="1058907"/>
                  <a:pt x="3367763" y="1063602"/>
                  <a:pt x="3366910" y="1068013"/>
                </a:cubicBezTo>
                <a:lnTo>
                  <a:pt x="3363709" y="1073277"/>
                </a:lnTo>
                <a:lnTo>
                  <a:pt x="3365202" y="1073561"/>
                </a:lnTo>
                <a:cubicBezTo>
                  <a:pt x="3366270" y="1074130"/>
                  <a:pt x="3366697" y="1075126"/>
                  <a:pt x="3367123" y="1076407"/>
                </a:cubicBezTo>
                <a:cubicBezTo>
                  <a:pt x="3367977" y="1078825"/>
                  <a:pt x="3367977" y="1082239"/>
                  <a:pt x="3369044" y="1085228"/>
                </a:cubicBezTo>
                <a:lnTo>
                  <a:pt x="3366910" y="1084516"/>
                </a:lnTo>
                <a:lnTo>
                  <a:pt x="3367977" y="1088215"/>
                </a:lnTo>
                <a:lnTo>
                  <a:pt x="3373953" y="1089922"/>
                </a:lnTo>
                <a:lnTo>
                  <a:pt x="3373099" y="1088926"/>
                </a:lnTo>
                <a:cubicBezTo>
                  <a:pt x="3372886" y="1085369"/>
                  <a:pt x="3371178" y="1081671"/>
                  <a:pt x="3372245" y="1077544"/>
                </a:cubicBezTo>
                <a:lnTo>
                  <a:pt x="3373953" y="1074557"/>
                </a:lnTo>
                <a:lnTo>
                  <a:pt x="3372886" y="1074699"/>
                </a:lnTo>
                <a:cubicBezTo>
                  <a:pt x="3369684" y="1070004"/>
                  <a:pt x="3369257" y="1068297"/>
                  <a:pt x="3369257" y="1063033"/>
                </a:cubicBezTo>
                <a:lnTo>
                  <a:pt x="3376087" y="1061326"/>
                </a:lnTo>
                <a:lnTo>
                  <a:pt x="3375233" y="1056489"/>
                </a:lnTo>
                <a:cubicBezTo>
                  <a:pt x="3377368" y="1055920"/>
                  <a:pt x="3378861" y="1055635"/>
                  <a:pt x="3380142" y="1055777"/>
                </a:cubicBezTo>
                <a:cubicBezTo>
                  <a:pt x="3381209" y="1055777"/>
                  <a:pt x="3381849" y="1056204"/>
                  <a:pt x="3382276" y="1056773"/>
                </a:cubicBezTo>
                <a:cubicBezTo>
                  <a:pt x="3382916" y="1057485"/>
                  <a:pt x="3382489" y="1058623"/>
                  <a:pt x="3381849" y="1059619"/>
                </a:cubicBezTo>
                <a:lnTo>
                  <a:pt x="3380569" y="1060899"/>
                </a:lnTo>
                <a:lnTo>
                  <a:pt x="3388252" y="1062038"/>
                </a:lnTo>
                <a:cubicBezTo>
                  <a:pt x="3395081" y="1072565"/>
                  <a:pt x="3387398" y="1073561"/>
                  <a:pt x="3379715" y="1073988"/>
                </a:cubicBezTo>
                <a:lnTo>
                  <a:pt x="3375660" y="1074415"/>
                </a:lnTo>
                <a:lnTo>
                  <a:pt x="3384624" y="1080674"/>
                </a:lnTo>
                <a:cubicBezTo>
                  <a:pt x="3388039" y="1082524"/>
                  <a:pt x="3391667" y="1083947"/>
                  <a:pt x="3395295" y="1086081"/>
                </a:cubicBezTo>
                <a:lnTo>
                  <a:pt x="3395081" y="1086792"/>
                </a:lnTo>
                <a:lnTo>
                  <a:pt x="3405112" y="1084089"/>
                </a:lnTo>
                <a:lnTo>
                  <a:pt x="3412368" y="1083235"/>
                </a:lnTo>
                <a:lnTo>
                  <a:pt x="3411728" y="1082808"/>
                </a:lnTo>
                <a:cubicBezTo>
                  <a:pt x="3410234" y="1077829"/>
                  <a:pt x="3409594" y="1073419"/>
                  <a:pt x="3410234" y="1069720"/>
                </a:cubicBezTo>
                <a:lnTo>
                  <a:pt x="3417704" y="1061468"/>
                </a:lnTo>
                <a:lnTo>
                  <a:pt x="3415356" y="1053928"/>
                </a:lnTo>
                <a:lnTo>
                  <a:pt x="3417064" y="1045961"/>
                </a:lnTo>
                <a:lnTo>
                  <a:pt x="3413009" y="1039274"/>
                </a:lnTo>
                <a:cubicBezTo>
                  <a:pt x="3414502" y="1037567"/>
                  <a:pt x="3416209" y="1036998"/>
                  <a:pt x="3417704" y="1037282"/>
                </a:cubicBezTo>
                <a:lnTo>
                  <a:pt x="3420052" y="1038705"/>
                </a:lnTo>
                <a:lnTo>
                  <a:pt x="3427094" y="1030311"/>
                </a:lnTo>
                <a:cubicBezTo>
                  <a:pt x="3430723" y="1027324"/>
                  <a:pt x="3434991" y="1024905"/>
                  <a:pt x="3439686" y="1023198"/>
                </a:cubicBezTo>
                <a:lnTo>
                  <a:pt x="3453558" y="1021491"/>
                </a:lnTo>
                <a:lnTo>
                  <a:pt x="3456546" y="1016227"/>
                </a:lnTo>
                <a:cubicBezTo>
                  <a:pt x="3465510" y="1012670"/>
                  <a:pt x="3473620" y="1010536"/>
                  <a:pt x="3480876" y="1011532"/>
                </a:cubicBezTo>
                <a:cubicBezTo>
                  <a:pt x="3487919" y="1012528"/>
                  <a:pt x="3493894" y="1016511"/>
                  <a:pt x="3498376" y="1024905"/>
                </a:cubicBezTo>
                <a:cubicBezTo>
                  <a:pt x="3495389" y="1026043"/>
                  <a:pt x="3496456" y="1029031"/>
                  <a:pt x="3497523" y="1032161"/>
                </a:cubicBezTo>
                <a:lnTo>
                  <a:pt x="3487278" y="1039274"/>
                </a:lnTo>
                <a:lnTo>
                  <a:pt x="3489413" y="1042262"/>
                </a:lnTo>
                <a:cubicBezTo>
                  <a:pt x="3491547" y="1046957"/>
                  <a:pt x="3493041" y="1052363"/>
                  <a:pt x="3494108" y="1058623"/>
                </a:cubicBezTo>
                <a:lnTo>
                  <a:pt x="3492614" y="1059619"/>
                </a:lnTo>
                <a:lnTo>
                  <a:pt x="3492827" y="1059761"/>
                </a:lnTo>
                <a:cubicBezTo>
                  <a:pt x="3492187" y="1063033"/>
                  <a:pt x="3490480" y="1064314"/>
                  <a:pt x="3488773" y="1063887"/>
                </a:cubicBezTo>
                <a:lnTo>
                  <a:pt x="3487492" y="1063460"/>
                </a:lnTo>
                <a:lnTo>
                  <a:pt x="3474900" y="1072850"/>
                </a:lnTo>
                <a:cubicBezTo>
                  <a:pt x="3461241" y="1080106"/>
                  <a:pt x="3446729" y="1082381"/>
                  <a:pt x="3434991" y="1078825"/>
                </a:cubicBezTo>
                <a:lnTo>
                  <a:pt x="3430936" y="1076833"/>
                </a:lnTo>
                <a:lnTo>
                  <a:pt x="3430296" y="1081386"/>
                </a:lnTo>
                <a:lnTo>
                  <a:pt x="3429869" y="1081671"/>
                </a:lnTo>
                <a:lnTo>
                  <a:pt x="3436698" y="1081101"/>
                </a:lnTo>
                <a:cubicBezTo>
                  <a:pt x="3436271" y="1083235"/>
                  <a:pt x="3436698" y="1084943"/>
                  <a:pt x="3436911" y="1086934"/>
                </a:cubicBezTo>
                <a:lnTo>
                  <a:pt x="3436271" y="1090349"/>
                </a:lnTo>
                <a:lnTo>
                  <a:pt x="3437765" y="1090349"/>
                </a:lnTo>
                <a:cubicBezTo>
                  <a:pt x="3439046" y="1093052"/>
                  <a:pt x="3439686" y="1095329"/>
                  <a:pt x="3439472" y="1097035"/>
                </a:cubicBezTo>
                <a:lnTo>
                  <a:pt x="3438619" y="1098885"/>
                </a:lnTo>
                <a:lnTo>
                  <a:pt x="3444594" y="1098458"/>
                </a:lnTo>
                <a:cubicBezTo>
                  <a:pt x="3446942" y="1098885"/>
                  <a:pt x="3448650" y="1099596"/>
                  <a:pt x="3449717" y="1100592"/>
                </a:cubicBezTo>
                <a:lnTo>
                  <a:pt x="3450997" y="1103153"/>
                </a:lnTo>
                <a:lnTo>
                  <a:pt x="3452705" y="1100876"/>
                </a:lnTo>
                <a:cubicBezTo>
                  <a:pt x="3453985" y="1099739"/>
                  <a:pt x="3456546" y="1098458"/>
                  <a:pt x="3459321" y="1098031"/>
                </a:cubicBezTo>
                <a:cubicBezTo>
                  <a:pt x="3462095" y="1097462"/>
                  <a:pt x="3465083" y="1097462"/>
                  <a:pt x="3466790" y="1098743"/>
                </a:cubicBezTo>
                <a:cubicBezTo>
                  <a:pt x="3465296" y="1101019"/>
                  <a:pt x="3464016" y="1103296"/>
                  <a:pt x="3462522" y="1105571"/>
                </a:cubicBezTo>
                <a:cubicBezTo>
                  <a:pt x="3462736" y="1104433"/>
                  <a:pt x="3452064" y="1106568"/>
                  <a:pt x="3452064" y="1106568"/>
                </a:cubicBezTo>
                <a:lnTo>
                  <a:pt x="3450997" y="1104718"/>
                </a:lnTo>
                <a:lnTo>
                  <a:pt x="3449717" y="1109697"/>
                </a:lnTo>
                <a:cubicBezTo>
                  <a:pt x="3446515" y="1116242"/>
                  <a:pt x="3438406" y="1122644"/>
                  <a:pt x="3434351" y="1119941"/>
                </a:cubicBezTo>
                <a:cubicBezTo>
                  <a:pt x="3432430" y="1118518"/>
                  <a:pt x="3431363" y="1114819"/>
                  <a:pt x="3432643" y="1107563"/>
                </a:cubicBezTo>
                <a:lnTo>
                  <a:pt x="3434137" y="1102015"/>
                </a:lnTo>
                <a:lnTo>
                  <a:pt x="3433710" y="1102015"/>
                </a:lnTo>
                <a:cubicBezTo>
                  <a:pt x="3432216" y="1102015"/>
                  <a:pt x="3430509" y="1101304"/>
                  <a:pt x="3429015" y="1100307"/>
                </a:cubicBezTo>
                <a:lnTo>
                  <a:pt x="3425173" y="1094902"/>
                </a:lnTo>
                <a:lnTo>
                  <a:pt x="3405752" y="1095612"/>
                </a:lnTo>
                <a:lnTo>
                  <a:pt x="3400203" y="1099454"/>
                </a:lnTo>
                <a:cubicBezTo>
                  <a:pt x="3398282" y="1100166"/>
                  <a:pt x="3396575" y="1099881"/>
                  <a:pt x="3395295" y="1098031"/>
                </a:cubicBezTo>
                <a:lnTo>
                  <a:pt x="3395935" y="1096182"/>
                </a:lnTo>
                <a:lnTo>
                  <a:pt x="3391453" y="1096609"/>
                </a:lnTo>
                <a:lnTo>
                  <a:pt x="3382489" y="1096324"/>
                </a:lnTo>
                <a:lnTo>
                  <a:pt x="3382916" y="1097035"/>
                </a:lnTo>
                <a:cubicBezTo>
                  <a:pt x="3382276" y="1101730"/>
                  <a:pt x="3382276" y="1105430"/>
                  <a:pt x="3382916" y="1108702"/>
                </a:cubicBezTo>
                <a:lnTo>
                  <a:pt x="3382916" y="1108986"/>
                </a:lnTo>
                <a:lnTo>
                  <a:pt x="3386971" y="1107705"/>
                </a:lnTo>
                <a:cubicBezTo>
                  <a:pt x="3388892" y="1107563"/>
                  <a:pt x="3390600" y="1108275"/>
                  <a:pt x="3391453" y="1109840"/>
                </a:cubicBezTo>
                <a:cubicBezTo>
                  <a:pt x="3392307" y="1110836"/>
                  <a:pt x="3392520" y="1112258"/>
                  <a:pt x="3392520" y="1114107"/>
                </a:cubicBezTo>
                <a:cubicBezTo>
                  <a:pt x="3391240" y="1115388"/>
                  <a:pt x="3388679" y="1116099"/>
                  <a:pt x="3386117" y="1116242"/>
                </a:cubicBezTo>
                <a:lnTo>
                  <a:pt x="3385477" y="1116099"/>
                </a:lnTo>
                <a:lnTo>
                  <a:pt x="3385904" y="1117238"/>
                </a:lnTo>
                <a:lnTo>
                  <a:pt x="3388892" y="1121363"/>
                </a:lnTo>
                <a:lnTo>
                  <a:pt x="3389105" y="1121221"/>
                </a:lnTo>
                <a:cubicBezTo>
                  <a:pt x="3390172" y="1120652"/>
                  <a:pt x="3391240" y="1120368"/>
                  <a:pt x="3392093" y="1120652"/>
                </a:cubicBezTo>
                <a:cubicBezTo>
                  <a:pt x="3393587" y="1121221"/>
                  <a:pt x="3394014" y="1122359"/>
                  <a:pt x="3394014" y="1122359"/>
                </a:cubicBezTo>
                <a:lnTo>
                  <a:pt x="3393587" y="1123355"/>
                </a:lnTo>
                <a:lnTo>
                  <a:pt x="3398923" y="1124067"/>
                </a:lnTo>
                <a:cubicBezTo>
                  <a:pt x="3400843" y="1125205"/>
                  <a:pt x="3402124" y="1126912"/>
                  <a:pt x="3402338" y="1129188"/>
                </a:cubicBezTo>
                <a:cubicBezTo>
                  <a:pt x="3402764" y="1131180"/>
                  <a:pt x="3402124" y="1133457"/>
                  <a:pt x="3400630" y="1136017"/>
                </a:cubicBezTo>
                <a:lnTo>
                  <a:pt x="3399350" y="1136586"/>
                </a:lnTo>
                <a:lnTo>
                  <a:pt x="3399990" y="1137582"/>
                </a:lnTo>
                <a:lnTo>
                  <a:pt x="3402124" y="1133741"/>
                </a:lnTo>
                <a:cubicBezTo>
                  <a:pt x="3403191" y="1132318"/>
                  <a:pt x="3404685" y="1131180"/>
                  <a:pt x="3406819" y="1131465"/>
                </a:cubicBezTo>
                <a:cubicBezTo>
                  <a:pt x="3407246" y="1132603"/>
                  <a:pt x="3408100" y="1132033"/>
                  <a:pt x="3408527" y="1133029"/>
                </a:cubicBezTo>
                <a:cubicBezTo>
                  <a:pt x="3408527" y="1133029"/>
                  <a:pt x="3409594" y="1133883"/>
                  <a:pt x="3410234" y="1135448"/>
                </a:cubicBezTo>
                <a:cubicBezTo>
                  <a:pt x="3411088" y="1136871"/>
                  <a:pt x="3411728" y="1139147"/>
                  <a:pt x="3410874" y="1142135"/>
                </a:cubicBezTo>
                <a:cubicBezTo>
                  <a:pt x="3410234" y="1143700"/>
                  <a:pt x="3407886" y="1147541"/>
                  <a:pt x="3407459" y="1146403"/>
                </a:cubicBezTo>
                <a:cubicBezTo>
                  <a:pt x="3405966" y="1145834"/>
                  <a:pt x="3406393" y="1146972"/>
                  <a:pt x="3405326" y="1147541"/>
                </a:cubicBezTo>
                <a:lnTo>
                  <a:pt x="3403618" y="1146545"/>
                </a:lnTo>
                <a:lnTo>
                  <a:pt x="3403191" y="1147257"/>
                </a:lnTo>
                <a:cubicBezTo>
                  <a:pt x="3401484" y="1149675"/>
                  <a:pt x="3401484" y="1149675"/>
                  <a:pt x="3399990" y="1149248"/>
                </a:cubicBezTo>
                <a:cubicBezTo>
                  <a:pt x="3399136" y="1149105"/>
                  <a:pt x="3398710" y="1147968"/>
                  <a:pt x="3398069" y="1146972"/>
                </a:cubicBezTo>
                <a:lnTo>
                  <a:pt x="3397429" y="1146118"/>
                </a:lnTo>
                <a:lnTo>
                  <a:pt x="3399136" y="1151809"/>
                </a:lnTo>
                <a:cubicBezTo>
                  <a:pt x="3402124" y="1157926"/>
                  <a:pt x="3403831" y="1164613"/>
                  <a:pt x="3406393" y="1171727"/>
                </a:cubicBezTo>
                <a:lnTo>
                  <a:pt x="3409381" y="1180690"/>
                </a:lnTo>
                <a:lnTo>
                  <a:pt x="3410874" y="1180263"/>
                </a:lnTo>
                <a:cubicBezTo>
                  <a:pt x="3411514" y="1180405"/>
                  <a:pt x="3412368" y="1180690"/>
                  <a:pt x="3412795" y="1181116"/>
                </a:cubicBezTo>
                <a:cubicBezTo>
                  <a:pt x="3413222" y="1181685"/>
                  <a:pt x="3413435" y="1182681"/>
                  <a:pt x="3412795" y="1184246"/>
                </a:cubicBezTo>
                <a:cubicBezTo>
                  <a:pt x="3412795" y="1185669"/>
                  <a:pt x="3412582" y="1186522"/>
                  <a:pt x="3411942" y="1186949"/>
                </a:cubicBezTo>
                <a:lnTo>
                  <a:pt x="3411301" y="1187092"/>
                </a:lnTo>
                <a:lnTo>
                  <a:pt x="3412795" y="1191360"/>
                </a:lnTo>
                <a:cubicBezTo>
                  <a:pt x="3414289" y="1198046"/>
                  <a:pt x="3417064" y="1205160"/>
                  <a:pt x="3418557" y="1211846"/>
                </a:cubicBezTo>
                <a:cubicBezTo>
                  <a:pt x="3420265" y="1218533"/>
                  <a:pt x="3423253" y="1224650"/>
                  <a:pt x="3425814" y="1231622"/>
                </a:cubicBezTo>
                <a:cubicBezTo>
                  <a:pt x="3427948" y="1237455"/>
                  <a:pt x="3430509" y="1244568"/>
                  <a:pt x="3433497" y="1250544"/>
                </a:cubicBezTo>
                <a:cubicBezTo>
                  <a:pt x="3436271" y="1256661"/>
                  <a:pt x="3439259" y="1262779"/>
                  <a:pt x="3442034" y="1268896"/>
                </a:cubicBezTo>
                <a:cubicBezTo>
                  <a:pt x="3443954" y="1272596"/>
                  <a:pt x="3446089" y="1275298"/>
                  <a:pt x="3448009" y="1278001"/>
                </a:cubicBezTo>
                <a:cubicBezTo>
                  <a:pt x="3448009" y="1278001"/>
                  <a:pt x="3448009" y="1278001"/>
                  <a:pt x="3449290" y="1280420"/>
                </a:cubicBezTo>
                <a:cubicBezTo>
                  <a:pt x="3450357" y="1285969"/>
                  <a:pt x="3448223" y="1268612"/>
                  <a:pt x="3451210" y="1292371"/>
                </a:cubicBezTo>
                <a:cubicBezTo>
                  <a:pt x="3451210" y="1292371"/>
                  <a:pt x="3450997" y="1292371"/>
                  <a:pt x="3452064" y="1292655"/>
                </a:cubicBezTo>
                <a:cubicBezTo>
                  <a:pt x="3452064" y="1292655"/>
                  <a:pt x="3452064" y="1292655"/>
                  <a:pt x="3452705" y="1293936"/>
                </a:cubicBezTo>
                <a:cubicBezTo>
                  <a:pt x="3453558" y="1294220"/>
                  <a:pt x="3454412" y="1294505"/>
                  <a:pt x="3455052" y="1295643"/>
                </a:cubicBezTo>
                <a:cubicBezTo>
                  <a:pt x="3458467" y="1294647"/>
                  <a:pt x="3458894" y="1292655"/>
                  <a:pt x="3459321" y="1291801"/>
                </a:cubicBezTo>
                <a:cubicBezTo>
                  <a:pt x="3459321" y="1291801"/>
                  <a:pt x="3459321" y="1291801"/>
                  <a:pt x="3458467" y="1291517"/>
                </a:cubicBezTo>
                <a:cubicBezTo>
                  <a:pt x="3458467" y="1291517"/>
                  <a:pt x="3458467" y="1291517"/>
                  <a:pt x="3458680" y="1290664"/>
                </a:cubicBezTo>
                <a:lnTo>
                  <a:pt x="3457613" y="1284119"/>
                </a:lnTo>
                <a:lnTo>
                  <a:pt x="3453131" y="1278286"/>
                </a:lnTo>
                <a:cubicBezTo>
                  <a:pt x="3452705" y="1276437"/>
                  <a:pt x="3453345" y="1274729"/>
                  <a:pt x="3455265" y="1273164"/>
                </a:cubicBezTo>
                <a:cubicBezTo>
                  <a:pt x="3456333" y="1273306"/>
                  <a:pt x="3459748" y="1275156"/>
                  <a:pt x="3459748" y="1274018"/>
                </a:cubicBezTo>
                <a:cubicBezTo>
                  <a:pt x="3462309" y="1277006"/>
                  <a:pt x="3464656" y="1280705"/>
                  <a:pt x="3464656" y="1283835"/>
                </a:cubicBezTo>
                <a:cubicBezTo>
                  <a:pt x="3464656" y="1284830"/>
                  <a:pt x="3464229" y="1285684"/>
                  <a:pt x="3463589" y="1286537"/>
                </a:cubicBezTo>
                <a:lnTo>
                  <a:pt x="3462522" y="1286822"/>
                </a:lnTo>
                <a:lnTo>
                  <a:pt x="3462949" y="1289810"/>
                </a:lnTo>
                <a:cubicBezTo>
                  <a:pt x="3462949" y="1289810"/>
                  <a:pt x="3462949" y="1289810"/>
                  <a:pt x="3462736" y="1290806"/>
                </a:cubicBezTo>
                <a:cubicBezTo>
                  <a:pt x="3462736" y="1290806"/>
                  <a:pt x="3462736" y="1290806"/>
                  <a:pt x="3463589" y="1291091"/>
                </a:cubicBezTo>
                <a:cubicBezTo>
                  <a:pt x="3463589" y="1291091"/>
                  <a:pt x="3464443" y="1291374"/>
                  <a:pt x="3464229" y="1292228"/>
                </a:cubicBezTo>
                <a:cubicBezTo>
                  <a:pt x="3465083" y="1292513"/>
                  <a:pt x="3464656" y="1293509"/>
                  <a:pt x="3465296" y="1294647"/>
                </a:cubicBezTo>
                <a:lnTo>
                  <a:pt x="3468284" y="1297777"/>
                </a:lnTo>
                <a:lnTo>
                  <a:pt x="3475540" y="1297492"/>
                </a:lnTo>
                <a:cubicBezTo>
                  <a:pt x="3484291" y="1297350"/>
                  <a:pt x="3492827" y="1298204"/>
                  <a:pt x="3499444" y="1305175"/>
                </a:cubicBezTo>
                <a:cubicBezTo>
                  <a:pt x="3502005" y="1320540"/>
                  <a:pt x="3510328" y="1323243"/>
                  <a:pt x="3515236" y="1331921"/>
                </a:cubicBezTo>
                <a:cubicBezTo>
                  <a:pt x="3516091" y="1352835"/>
                  <a:pt x="3510541" y="1380292"/>
                  <a:pt x="3490053" y="1389825"/>
                </a:cubicBezTo>
                <a:lnTo>
                  <a:pt x="3482370" y="1391674"/>
                </a:lnTo>
                <a:lnTo>
                  <a:pt x="3483437" y="1406328"/>
                </a:lnTo>
                <a:lnTo>
                  <a:pt x="3483437" y="1408035"/>
                </a:lnTo>
                <a:lnTo>
                  <a:pt x="3486425" y="1408889"/>
                </a:lnTo>
                <a:lnTo>
                  <a:pt x="3486638" y="1407751"/>
                </a:lnTo>
                <a:lnTo>
                  <a:pt x="3487065" y="1409173"/>
                </a:lnTo>
                <a:lnTo>
                  <a:pt x="3488986" y="1409600"/>
                </a:lnTo>
                <a:cubicBezTo>
                  <a:pt x="3494535" y="1411592"/>
                  <a:pt x="3499230" y="1414295"/>
                  <a:pt x="3499870" y="1418990"/>
                </a:cubicBezTo>
                <a:lnTo>
                  <a:pt x="3499444" y="1422120"/>
                </a:lnTo>
                <a:lnTo>
                  <a:pt x="3500084" y="1420270"/>
                </a:lnTo>
                <a:cubicBezTo>
                  <a:pt x="3509688" y="1404052"/>
                  <a:pt x="3524840" y="1407181"/>
                  <a:pt x="3540633" y="1399499"/>
                </a:cubicBezTo>
                <a:cubicBezTo>
                  <a:pt x="3550451" y="1411876"/>
                  <a:pt x="3558347" y="1408604"/>
                  <a:pt x="3566670" y="1410169"/>
                </a:cubicBezTo>
                <a:cubicBezTo>
                  <a:pt x="3567951" y="1415575"/>
                  <a:pt x="3571366" y="1420839"/>
                  <a:pt x="3575207" y="1426103"/>
                </a:cubicBezTo>
                <a:lnTo>
                  <a:pt x="3583317" y="1437627"/>
                </a:lnTo>
                <a:lnTo>
                  <a:pt x="3588440" y="1439192"/>
                </a:lnTo>
                <a:cubicBezTo>
                  <a:pt x="3592921" y="1441895"/>
                  <a:pt x="3596549" y="1447159"/>
                  <a:pt x="3597190" y="1456407"/>
                </a:cubicBezTo>
                <a:cubicBezTo>
                  <a:pt x="3593135" y="1460674"/>
                  <a:pt x="3589507" y="1462666"/>
                  <a:pt x="3585878" y="1464089"/>
                </a:cubicBezTo>
                <a:lnTo>
                  <a:pt x="3582250" y="1465512"/>
                </a:lnTo>
                <a:lnTo>
                  <a:pt x="3579049" y="1483438"/>
                </a:lnTo>
                <a:cubicBezTo>
                  <a:pt x="3575207" y="1484149"/>
                  <a:pt x="3571793" y="1485998"/>
                  <a:pt x="3568378" y="1488275"/>
                </a:cubicBezTo>
                <a:lnTo>
                  <a:pt x="3563683" y="1491547"/>
                </a:lnTo>
                <a:lnTo>
                  <a:pt x="3563256" y="1494820"/>
                </a:lnTo>
                <a:lnTo>
                  <a:pt x="3565177" y="1498945"/>
                </a:lnTo>
                <a:lnTo>
                  <a:pt x="3561975" y="1502502"/>
                </a:lnTo>
                <a:lnTo>
                  <a:pt x="3561122" y="1508335"/>
                </a:lnTo>
                <a:cubicBezTo>
                  <a:pt x="3559201" y="1513030"/>
                  <a:pt x="3557067" y="1516729"/>
                  <a:pt x="3554292" y="1519859"/>
                </a:cubicBezTo>
                <a:lnTo>
                  <a:pt x="3549384" y="1524269"/>
                </a:lnTo>
                <a:lnTo>
                  <a:pt x="3555146" y="1528537"/>
                </a:lnTo>
                <a:cubicBezTo>
                  <a:pt x="3563470" y="1534654"/>
                  <a:pt x="3574567" y="1543333"/>
                  <a:pt x="3570512" y="1549308"/>
                </a:cubicBezTo>
                <a:cubicBezTo>
                  <a:pt x="3564110" y="1544898"/>
                  <a:pt x="3547249" y="1537358"/>
                  <a:pt x="3547249" y="1527825"/>
                </a:cubicBezTo>
                <a:lnTo>
                  <a:pt x="3548103" y="1525407"/>
                </a:lnTo>
                <a:lnTo>
                  <a:pt x="3545329" y="1527541"/>
                </a:lnTo>
                <a:cubicBezTo>
                  <a:pt x="3538926" y="1532094"/>
                  <a:pt x="3531457" y="1535792"/>
                  <a:pt x="3524414" y="1542195"/>
                </a:cubicBezTo>
                <a:lnTo>
                  <a:pt x="3521426" y="1540630"/>
                </a:lnTo>
                <a:lnTo>
                  <a:pt x="3522493" y="1541483"/>
                </a:lnTo>
                <a:cubicBezTo>
                  <a:pt x="3523774" y="1542764"/>
                  <a:pt x="3525054" y="1543902"/>
                  <a:pt x="3525694" y="1544898"/>
                </a:cubicBezTo>
                <a:cubicBezTo>
                  <a:pt x="3523133" y="1542906"/>
                  <a:pt x="3520145" y="1541199"/>
                  <a:pt x="3517157" y="1539207"/>
                </a:cubicBezTo>
                <a:lnTo>
                  <a:pt x="3515877" y="1537927"/>
                </a:lnTo>
                <a:lnTo>
                  <a:pt x="3509688" y="1537500"/>
                </a:lnTo>
                <a:cubicBezTo>
                  <a:pt x="3505420" y="1537927"/>
                  <a:pt x="3501578" y="1539776"/>
                  <a:pt x="3497523" y="1540345"/>
                </a:cubicBezTo>
                <a:cubicBezTo>
                  <a:pt x="3495389" y="1535508"/>
                  <a:pt x="3491334" y="1531525"/>
                  <a:pt x="3486852" y="1527683"/>
                </a:cubicBezTo>
                <a:lnTo>
                  <a:pt x="3476394" y="1518294"/>
                </a:lnTo>
                <a:lnTo>
                  <a:pt x="3476607" y="1519147"/>
                </a:lnTo>
                <a:cubicBezTo>
                  <a:pt x="3470205" y="1517156"/>
                  <a:pt x="3467004" y="1523558"/>
                  <a:pt x="3465510" y="1531383"/>
                </a:cubicBezTo>
                <a:cubicBezTo>
                  <a:pt x="3464656" y="1539349"/>
                  <a:pt x="3466364" y="1549308"/>
                  <a:pt x="3469778" y="1553434"/>
                </a:cubicBezTo>
                <a:cubicBezTo>
                  <a:pt x="3472980" y="1550304"/>
                  <a:pt x="3475540" y="1545894"/>
                  <a:pt x="3476607" y="1539919"/>
                </a:cubicBezTo>
                <a:cubicBezTo>
                  <a:pt x="3477461" y="1534085"/>
                  <a:pt x="3476607" y="1527541"/>
                  <a:pt x="3475967" y="1520997"/>
                </a:cubicBezTo>
                <a:cubicBezTo>
                  <a:pt x="3482156" y="1529106"/>
                  <a:pt x="3481090" y="1541341"/>
                  <a:pt x="3478955" y="1553149"/>
                </a:cubicBezTo>
                <a:lnTo>
                  <a:pt x="3478742" y="1557986"/>
                </a:lnTo>
                <a:lnTo>
                  <a:pt x="3478528" y="1560690"/>
                </a:lnTo>
                <a:lnTo>
                  <a:pt x="3487278" y="1559125"/>
                </a:lnTo>
                <a:lnTo>
                  <a:pt x="3487278" y="1558414"/>
                </a:lnTo>
                <a:lnTo>
                  <a:pt x="3483223" y="1559409"/>
                </a:lnTo>
                <a:lnTo>
                  <a:pt x="3478742" y="1557986"/>
                </a:lnTo>
                <a:lnTo>
                  <a:pt x="3483864" y="1555710"/>
                </a:lnTo>
                <a:cubicBezTo>
                  <a:pt x="3484931" y="1554999"/>
                  <a:pt x="3485571" y="1554714"/>
                  <a:pt x="3486211" y="1555141"/>
                </a:cubicBezTo>
                <a:lnTo>
                  <a:pt x="3487278" y="1556991"/>
                </a:lnTo>
                <a:lnTo>
                  <a:pt x="3487278" y="1556422"/>
                </a:lnTo>
                <a:cubicBezTo>
                  <a:pt x="3487919" y="1554430"/>
                  <a:pt x="3488986" y="1552154"/>
                  <a:pt x="3490694" y="1549593"/>
                </a:cubicBezTo>
                <a:cubicBezTo>
                  <a:pt x="3492614" y="1552580"/>
                  <a:pt x="3495175" y="1555141"/>
                  <a:pt x="3497736" y="1557275"/>
                </a:cubicBezTo>
                <a:lnTo>
                  <a:pt x="3498803" y="1557986"/>
                </a:lnTo>
                <a:lnTo>
                  <a:pt x="3503925" y="1558414"/>
                </a:lnTo>
                <a:lnTo>
                  <a:pt x="3505420" y="1558983"/>
                </a:lnTo>
                <a:lnTo>
                  <a:pt x="3507767" y="1557275"/>
                </a:lnTo>
                <a:cubicBezTo>
                  <a:pt x="3509047" y="1556849"/>
                  <a:pt x="3510328" y="1556706"/>
                  <a:pt x="3511395" y="1556991"/>
                </a:cubicBezTo>
                <a:cubicBezTo>
                  <a:pt x="3517157" y="1557702"/>
                  <a:pt x="3520145" y="1560263"/>
                  <a:pt x="3522279" y="1563393"/>
                </a:cubicBezTo>
                <a:cubicBezTo>
                  <a:pt x="3522279" y="1563393"/>
                  <a:pt x="3522279" y="1563251"/>
                  <a:pt x="3521426" y="1562255"/>
                </a:cubicBezTo>
                <a:cubicBezTo>
                  <a:pt x="3522279" y="1557275"/>
                  <a:pt x="3523347" y="1549593"/>
                  <a:pt x="3525481" y="1545609"/>
                </a:cubicBezTo>
                <a:lnTo>
                  <a:pt x="3525694" y="1545325"/>
                </a:lnTo>
                <a:lnTo>
                  <a:pt x="3525481" y="1545040"/>
                </a:lnTo>
                <a:lnTo>
                  <a:pt x="3526121" y="1544898"/>
                </a:lnTo>
                <a:lnTo>
                  <a:pt x="3527615" y="1543333"/>
                </a:lnTo>
                <a:cubicBezTo>
                  <a:pt x="3528255" y="1544328"/>
                  <a:pt x="3529109" y="1545467"/>
                  <a:pt x="3528895" y="1547032"/>
                </a:cubicBezTo>
                <a:cubicBezTo>
                  <a:pt x="3528469" y="1548739"/>
                  <a:pt x="3527828" y="1547601"/>
                  <a:pt x="3528469" y="1548739"/>
                </a:cubicBezTo>
                <a:cubicBezTo>
                  <a:pt x="3528255" y="1550304"/>
                  <a:pt x="3529322" y="1549735"/>
                  <a:pt x="3529322" y="1549735"/>
                </a:cubicBezTo>
                <a:cubicBezTo>
                  <a:pt x="3529322" y="1549735"/>
                  <a:pt x="3528255" y="1550304"/>
                  <a:pt x="3528255" y="1550304"/>
                </a:cubicBezTo>
                <a:cubicBezTo>
                  <a:pt x="3528255" y="1550304"/>
                  <a:pt x="3528255" y="1550304"/>
                  <a:pt x="3527828" y="1553719"/>
                </a:cubicBezTo>
                <a:cubicBezTo>
                  <a:pt x="3528042" y="1557986"/>
                  <a:pt x="3528682" y="1559125"/>
                  <a:pt x="3529109" y="1561686"/>
                </a:cubicBezTo>
                <a:cubicBezTo>
                  <a:pt x="3528682" y="1565100"/>
                  <a:pt x="3527615" y="1565669"/>
                  <a:pt x="3526334" y="1569510"/>
                </a:cubicBezTo>
                <a:cubicBezTo>
                  <a:pt x="3523774" y="1569795"/>
                  <a:pt x="3523774" y="1569652"/>
                  <a:pt x="3523133" y="1568657"/>
                </a:cubicBezTo>
                <a:cubicBezTo>
                  <a:pt x="3523774" y="1569652"/>
                  <a:pt x="3522919" y="1570364"/>
                  <a:pt x="3522706" y="1571929"/>
                </a:cubicBezTo>
                <a:cubicBezTo>
                  <a:pt x="3523347" y="1579042"/>
                  <a:pt x="3517371" y="1580038"/>
                  <a:pt x="3509901" y="1578900"/>
                </a:cubicBezTo>
                <a:cubicBezTo>
                  <a:pt x="3510115" y="1577193"/>
                  <a:pt x="3506060" y="1577051"/>
                  <a:pt x="3503712" y="1575486"/>
                </a:cubicBezTo>
                <a:cubicBezTo>
                  <a:pt x="3502645" y="1573921"/>
                  <a:pt x="3501791" y="1572640"/>
                  <a:pt x="3501151" y="1571360"/>
                </a:cubicBezTo>
                <a:lnTo>
                  <a:pt x="3501151" y="1571217"/>
                </a:lnTo>
                <a:lnTo>
                  <a:pt x="3493894" y="1568515"/>
                </a:lnTo>
                <a:lnTo>
                  <a:pt x="3493041" y="1567945"/>
                </a:lnTo>
                <a:lnTo>
                  <a:pt x="3492614" y="1567945"/>
                </a:lnTo>
                <a:cubicBezTo>
                  <a:pt x="3487705" y="1567803"/>
                  <a:pt x="3483010" y="1567519"/>
                  <a:pt x="3480023" y="1564673"/>
                </a:cubicBezTo>
                <a:lnTo>
                  <a:pt x="3478528" y="1562397"/>
                </a:lnTo>
                <a:lnTo>
                  <a:pt x="3478102" y="1569795"/>
                </a:lnTo>
                <a:cubicBezTo>
                  <a:pt x="3478528" y="1574774"/>
                  <a:pt x="3480236" y="1578900"/>
                  <a:pt x="3484078" y="1581746"/>
                </a:cubicBezTo>
                <a:cubicBezTo>
                  <a:pt x="3483437" y="1588290"/>
                  <a:pt x="3482370" y="1593838"/>
                  <a:pt x="3480876" y="1598960"/>
                </a:cubicBezTo>
                <a:lnTo>
                  <a:pt x="3480449" y="1600098"/>
                </a:lnTo>
                <a:lnTo>
                  <a:pt x="3480876" y="1600098"/>
                </a:lnTo>
                <a:cubicBezTo>
                  <a:pt x="3483010" y="1600809"/>
                  <a:pt x="3485358" y="1601663"/>
                  <a:pt x="3485358" y="1604082"/>
                </a:cubicBezTo>
                <a:cubicBezTo>
                  <a:pt x="3485571" y="1604793"/>
                  <a:pt x="3485358" y="1605789"/>
                  <a:pt x="3484931" y="1606927"/>
                </a:cubicBezTo>
                <a:cubicBezTo>
                  <a:pt x="3484931" y="1606927"/>
                  <a:pt x="3484931" y="1607070"/>
                  <a:pt x="3483864" y="1607496"/>
                </a:cubicBezTo>
                <a:lnTo>
                  <a:pt x="3481943" y="1608492"/>
                </a:lnTo>
                <a:lnTo>
                  <a:pt x="3489840" y="1612902"/>
                </a:lnTo>
                <a:cubicBezTo>
                  <a:pt x="3493894" y="1616601"/>
                  <a:pt x="3497736" y="1621581"/>
                  <a:pt x="3500297" y="1628410"/>
                </a:cubicBezTo>
                <a:cubicBezTo>
                  <a:pt x="3498590" y="1632109"/>
                  <a:pt x="3496242" y="1634100"/>
                  <a:pt x="3493468" y="1634669"/>
                </a:cubicBezTo>
                <a:lnTo>
                  <a:pt x="3489626" y="1633958"/>
                </a:lnTo>
                <a:lnTo>
                  <a:pt x="3490053" y="1635808"/>
                </a:lnTo>
                <a:lnTo>
                  <a:pt x="3498803" y="1635381"/>
                </a:lnTo>
                <a:lnTo>
                  <a:pt x="3510115" y="1637941"/>
                </a:lnTo>
                <a:lnTo>
                  <a:pt x="3512035" y="1631824"/>
                </a:lnTo>
                <a:cubicBezTo>
                  <a:pt x="3513743" y="1629690"/>
                  <a:pt x="3516731" y="1627983"/>
                  <a:pt x="3520786" y="1627129"/>
                </a:cubicBezTo>
                <a:lnTo>
                  <a:pt x="3524414" y="1635239"/>
                </a:lnTo>
                <a:lnTo>
                  <a:pt x="3524627" y="1632394"/>
                </a:lnTo>
                <a:cubicBezTo>
                  <a:pt x="3527615" y="1633816"/>
                  <a:pt x="3531670" y="1626987"/>
                  <a:pt x="3535938" y="1628979"/>
                </a:cubicBezTo>
                <a:cubicBezTo>
                  <a:pt x="3546182" y="1632394"/>
                  <a:pt x="3548103" y="1635666"/>
                  <a:pt x="3548103" y="1640930"/>
                </a:cubicBezTo>
                <a:lnTo>
                  <a:pt x="3547890" y="1642779"/>
                </a:lnTo>
                <a:lnTo>
                  <a:pt x="3548317" y="1642779"/>
                </a:lnTo>
                <a:lnTo>
                  <a:pt x="3550664" y="1642494"/>
                </a:lnTo>
                <a:lnTo>
                  <a:pt x="3549170" y="1641213"/>
                </a:lnTo>
                <a:lnTo>
                  <a:pt x="3552372" y="1639080"/>
                </a:lnTo>
                <a:lnTo>
                  <a:pt x="3555146" y="1636092"/>
                </a:lnTo>
                <a:lnTo>
                  <a:pt x="3557067" y="1635808"/>
                </a:lnTo>
                <a:lnTo>
                  <a:pt x="3564323" y="1630686"/>
                </a:lnTo>
                <a:lnTo>
                  <a:pt x="3569445" y="1629405"/>
                </a:lnTo>
                <a:lnTo>
                  <a:pt x="3569445" y="1629263"/>
                </a:lnTo>
                <a:cubicBezTo>
                  <a:pt x="3568378" y="1627556"/>
                  <a:pt x="3567738" y="1625422"/>
                  <a:pt x="3567524" y="1622861"/>
                </a:cubicBezTo>
                <a:cubicBezTo>
                  <a:pt x="3569232" y="1623003"/>
                  <a:pt x="3569232" y="1621438"/>
                  <a:pt x="3569445" y="1619731"/>
                </a:cubicBezTo>
                <a:cubicBezTo>
                  <a:pt x="3571579" y="1618308"/>
                  <a:pt x="3573927" y="1618308"/>
                  <a:pt x="3576701" y="1619020"/>
                </a:cubicBezTo>
                <a:cubicBezTo>
                  <a:pt x="3579262" y="1619731"/>
                  <a:pt x="3581824" y="1621154"/>
                  <a:pt x="3584171" y="1623146"/>
                </a:cubicBezTo>
                <a:lnTo>
                  <a:pt x="3587586" y="1627556"/>
                </a:lnTo>
                <a:lnTo>
                  <a:pt x="3590147" y="1627698"/>
                </a:lnTo>
                <a:lnTo>
                  <a:pt x="3589080" y="1631824"/>
                </a:lnTo>
                <a:lnTo>
                  <a:pt x="3588866" y="1635666"/>
                </a:lnTo>
                <a:cubicBezTo>
                  <a:pt x="3588013" y="1636661"/>
                  <a:pt x="3586945" y="1637373"/>
                  <a:pt x="3585238" y="1638084"/>
                </a:cubicBezTo>
                <a:lnTo>
                  <a:pt x="3583957" y="1637515"/>
                </a:lnTo>
                <a:lnTo>
                  <a:pt x="3579262" y="1639649"/>
                </a:lnTo>
                <a:lnTo>
                  <a:pt x="3578195" y="1641783"/>
                </a:lnTo>
                <a:lnTo>
                  <a:pt x="3580117" y="1645624"/>
                </a:lnTo>
                <a:lnTo>
                  <a:pt x="3582037" y="1647474"/>
                </a:lnTo>
                <a:lnTo>
                  <a:pt x="3584812" y="1646762"/>
                </a:lnTo>
                <a:cubicBezTo>
                  <a:pt x="3588653" y="1647758"/>
                  <a:pt x="3591641" y="1645340"/>
                  <a:pt x="3595483" y="1646335"/>
                </a:cubicBezTo>
                <a:cubicBezTo>
                  <a:pt x="3595483" y="1646335"/>
                  <a:pt x="3595483" y="1646335"/>
                  <a:pt x="3594628" y="1647901"/>
                </a:cubicBezTo>
                <a:cubicBezTo>
                  <a:pt x="3591641" y="1647901"/>
                  <a:pt x="3588866" y="1648897"/>
                  <a:pt x="3586305" y="1649892"/>
                </a:cubicBezTo>
                <a:lnTo>
                  <a:pt x="3584598" y="1650177"/>
                </a:lnTo>
                <a:lnTo>
                  <a:pt x="3586519" y="1652311"/>
                </a:lnTo>
                <a:cubicBezTo>
                  <a:pt x="3591214" y="1656437"/>
                  <a:pt x="3595909" y="1660420"/>
                  <a:pt x="3598044" y="1666965"/>
                </a:cubicBezTo>
                <a:lnTo>
                  <a:pt x="3599111" y="1672656"/>
                </a:lnTo>
                <a:lnTo>
                  <a:pt x="3603379" y="1668814"/>
                </a:lnTo>
                <a:cubicBezTo>
                  <a:pt x="3605086" y="1667534"/>
                  <a:pt x="3606367" y="1666253"/>
                  <a:pt x="3607647" y="1664973"/>
                </a:cubicBezTo>
                <a:lnTo>
                  <a:pt x="3615757" y="1658571"/>
                </a:lnTo>
                <a:lnTo>
                  <a:pt x="3617038" y="1655298"/>
                </a:lnTo>
                <a:lnTo>
                  <a:pt x="3617678" y="1654729"/>
                </a:lnTo>
                <a:lnTo>
                  <a:pt x="3617678" y="1653449"/>
                </a:lnTo>
                <a:cubicBezTo>
                  <a:pt x="3617678" y="1653449"/>
                  <a:pt x="3617678" y="1653307"/>
                  <a:pt x="3618745" y="1653022"/>
                </a:cubicBezTo>
                <a:lnTo>
                  <a:pt x="3618532" y="1654161"/>
                </a:lnTo>
                <a:lnTo>
                  <a:pt x="3619813" y="1653164"/>
                </a:lnTo>
                <a:cubicBezTo>
                  <a:pt x="3623013" y="1652311"/>
                  <a:pt x="3626428" y="1654303"/>
                  <a:pt x="3627709" y="1658002"/>
                </a:cubicBezTo>
                <a:cubicBezTo>
                  <a:pt x="3628349" y="1659993"/>
                  <a:pt x="3628562" y="1662697"/>
                  <a:pt x="3627495" y="1665542"/>
                </a:cubicBezTo>
                <a:cubicBezTo>
                  <a:pt x="3624934" y="1666822"/>
                  <a:pt x="3619599" y="1665827"/>
                  <a:pt x="3616397" y="1663835"/>
                </a:cubicBezTo>
                <a:lnTo>
                  <a:pt x="3616184" y="1663550"/>
                </a:lnTo>
                <a:lnTo>
                  <a:pt x="3616184" y="1663692"/>
                </a:lnTo>
                <a:cubicBezTo>
                  <a:pt x="3613623" y="1667534"/>
                  <a:pt x="3608074" y="1672229"/>
                  <a:pt x="3607220" y="1671802"/>
                </a:cubicBezTo>
                <a:cubicBezTo>
                  <a:pt x="3606580" y="1672797"/>
                  <a:pt x="3605726" y="1672229"/>
                  <a:pt x="3605086" y="1673366"/>
                </a:cubicBezTo>
                <a:cubicBezTo>
                  <a:pt x="3605086" y="1673366"/>
                  <a:pt x="3604233" y="1674363"/>
                  <a:pt x="3602739" y="1674789"/>
                </a:cubicBezTo>
                <a:cubicBezTo>
                  <a:pt x="3601031" y="1675216"/>
                  <a:pt x="3599324" y="1675643"/>
                  <a:pt x="3598044" y="1673366"/>
                </a:cubicBezTo>
                <a:lnTo>
                  <a:pt x="3598470" y="1673224"/>
                </a:lnTo>
                <a:lnTo>
                  <a:pt x="3594202" y="1672797"/>
                </a:lnTo>
                <a:cubicBezTo>
                  <a:pt x="3591641" y="1672086"/>
                  <a:pt x="3588653" y="1670379"/>
                  <a:pt x="3586092" y="1668387"/>
                </a:cubicBezTo>
                <a:lnTo>
                  <a:pt x="3579689" y="1661700"/>
                </a:lnTo>
                <a:lnTo>
                  <a:pt x="3578622" y="1661558"/>
                </a:lnTo>
                <a:lnTo>
                  <a:pt x="3573927" y="1657006"/>
                </a:lnTo>
                <a:lnTo>
                  <a:pt x="3573927" y="1657290"/>
                </a:lnTo>
                <a:cubicBezTo>
                  <a:pt x="3572860" y="1661843"/>
                  <a:pt x="3571153" y="1666965"/>
                  <a:pt x="3570512" y="1669099"/>
                </a:cubicBezTo>
                <a:cubicBezTo>
                  <a:pt x="3569445" y="1669525"/>
                  <a:pt x="3569445" y="1669525"/>
                  <a:pt x="3569445" y="1669525"/>
                </a:cubicBezTo>
                <a:cubicBezTo>
                  <a:pt x="3568165" y="1669525"/>
                  <a:pt x="3567524" y="1668814"/>
                  <a:pt x="3567524" y="1667534"/>
                </a:cubicBezTo>
                <a:cubicBezTo>
                  <a:pt x="3567524" y="1666253"/>
                  <a:pt x="3567951" y="1664546"/>
                  <a:pt x="3568591" y="1662412"/>
                </a:cubicBezTo>
                <a:cubicBezTo>
                  <a:pt x="3569232" y="1660278"/>
                  <a:pt x="3570299" y="1657859"/>
                  <a:pt x="3571366" y="1655868"/>
                </a:cubicBezTo>
                <a:lnTo>
                  <a:pt x="3571793" y="1654871"/>
                </a:lnTo>
                <a:lnTo>
                  <a:pt x="3563256" y="1645340"/>
                </a:lnTo>
                <a:lnTo>
                  <a:pt x="3560268" y="1645482"/>
                </a:lnTo>
                <a:lnTo>
                  <a:pt x="3560268" y="1645908"/>
                </a:lnTo>
                <a:cubicBezTo>
                  <a:pt x="3558561" y="1648470"/>
                  <a:pt x="3556427" y="1649750"/>
                  <a:pt x="3553865" y="1650319"/>
                </a:cubicBezTo>
                <a:lnTo>
                  <a:pt x="3550237" y="1650888"/>
                </a:lnTo>
                <a:lnTo>
                  <a:pt x="3550451" y="1651030"/>
                </a:lnTo>
                <a:cubicBezTo>
                  <a:pt x="3550878" y="1651599"/>
                  <a:pt x="3551091" y="1652169"/>
                  <a:pt x="3550664" y="1653307"/>
                </a:cubicBezTo>
                <a:cubicBezTo>
                  <a:pt x="3549384" y="1656721"/>
                  <a:pt x="3546823" y="1658713"/>
                  <a:pt x="3543835" y="1659993"/>
                </a:cubicBezTo>
                <a:lnTo>
                  <a:pt x="3538499" y="1661132"/>
                </a:lnTo>
                <a:lnTo>
                  <a:pt x="3541701" y="1670948"/>
                </a:lnTo>
                <a:cubicBezTo>
                  <a:pt x="3542981" y="1678631"/>
                  <a:pt x="3543408" y="1686882"/>
                  <a:pt x="3546396" y="1696130"/>
                </a:cubicBezTo>
                <a:cubicBezTo>
                  <a:pt x="3533804" y="1702816"/>
                  <a:pt x="3536152" y="1711779"/>
                  <a:pt x="3533804" y="1719746"/>
                </a:cubicBezTo>
                <a:cubicBezTo>
                  <a:pt x="3523347" y="1719746"/>
                  <a:pt x="3512889" y="1728140"/>
                  <a:pt x="3501791" y="1731697"/>
                </a:cubicBezTo>
                <a:cubicBezTo>
                  <a:pt x="3495175" y="1727714"/>
                  <a:pt x="3488986" y="1725010"/>
                  <a:pt x="3482583" y="1722307"/>
                </a:cubicBezTo>
                <a:lnTo>
                  <a:pt x="3474900" y="1718608"/>
                </a:lnTo>
                <a:lnTo>
                  <a:pt x="3471485" y="1723587"/>
                </a:lnTo>
                <a:cubicBezTo>
                  <a:pt x="3469565" y="1722450"/>
                  <a:pt x="3468711" y="1721169"/>
                  <a:pt x="3468711" y="1719604"/>
                </a:cubicBezTo>
                <a:lnTo>
                  <a:pt x="3469991" y="1716332"/>
                </a:lnTo>
                <a:lnTo>
                  <a:pt x="3463162" y="1713059"/>
                </a:lnTo>
                <a:lnTo>
                  <a:pt x="3462309" y="1710356"/>
                </a:lnTo>
                <a:lnTo>
                  <a:pt x="3461241" y="1718893"/>
                </a:lnTo>
                <a:cubicBezTo>
                  <a:pt x="3461028" y="1723019"/>
                  <a:pt x="3459748" y="1726717"/>
                  <a:pt x="3458467" y="1730416"/>
                </a:cubicBezTo>
                <a:cubicBezTo>
                  <a:pt x="3457186" y="1734258"/>
                  <a:pt x="3454839" y="1737672"/>
                  <a:pt x="3452705" y="1741087"/>
                </a:cubicBezTo>
                <a:lnTo>
                  <a:pt x="3452918" y="1743078"/>
                </a:lnTo>
                <a:lnTo>
                  <a:pt x="3454625" y="1738810"/>
                </a:lnTo>
                <a:cubicBezTo>
                  <a:pt x="3457186" y="1735111"/>
                  <a:pt x="3460601" y="1732693"/>
                  <a:pt x="3464656" y="1732408"/>
                </a:cubicBezTo>
                <a:cubicBezTo>
                  <a:pt x="3459961" y="1739948"/>
                  <a:pt x="3460174" y="1747489"/>
                  <a:pt x="3459748" y="1755029"/>
                </a:cubicBezTo>
                <a:lnTo>
                  <a:pt x="3459748" y="1755598"/>
                </a:lnTo>
                <a:lnTo>
                  <a:pt x="3462949" y="1761004"/>
                </a:lnTo>
                <a:cubicBezTo>
                  <a:pt x="3463589" y="1762996"/>
                  <a:pt x="3463802" y="1764704"/>
                  <a:pt x="3463376" y="1766410"/>
                </a:cubicBezTo>
                <a:lnTo>
                  <a:pt x="3462949" y="1766979"/>
                </a:lnTo>
                <a:lnTo>
                  <a:pt x="3464016" y="1766695"/>
                </a:lnTo>
                <a:cubicBezTo>
                  <a:pt x="3464869" y="1766268"/>
                  <a:pt x="3465723" y="1765841"/>
                  <a:pt x="3466364" y="1766126"/>
                </a:cubicBezTo>
                <a:cubicBezTo>
                  <a:pt x="3466364" y="1766126"/>
                  <a:pt x="3468711" y="1768829"/>
                  <a:pt x="3468711" y="1768829"/>
                </a:cubicBezTo>
                <a:cubicBezTo>
                  <a:pt x="3468071" y="1770536"/>
                  <a:pt x="3468071" y="1770536"/>
                  <a:pt x="3467644" y="1769398"/>
                </a:cubicBezTo>
                <a:cubicBezTo>
                  <a:pt x="3465936" y="1771532"/>
                  <a:pt x="3464869" y="1772101"/>
                  <a:pt x="3463802" y="1772670"/>
                </a:cubicBezTo>
                <a:lnTo>
                  <a:pt x="3462095" y="1768402"/>
                </a:lnTo>
                <a:lnTo>
                  <a:pt x="3459321" y="1772386"/>
                </a:lnTo>
                <a:lnTo>
                  <a:pt x="3454412" y="1774093"/>
                </a:lnTo>
                <a:lnTo>
                  <a:pt x="3452491" y="1777650"/>
                </a:lnTo>
                <a:lnTo>
                  <a:pt x="3451210" y="1775373"/>
                </a:lnTo>
                <a:lnTo>
                  <a:pt x="3449930" y="1778645"/>
                </a:lnTo>
                <a:cubicBezTo>
                  <a:pt x="3447582" y="1785190"/>
                  <a:pt x="3444808" y="1790596"/>
                  <a:pt x="3445235" y="1797994"/>
                </a:cubicBezTo>
                <a:cubicBezTo>
                  <a:pt x="3442247" y="1798136"/>
                  <a:pt x="3439899" y="1799275"/>
                  <a:pt x="3437979" y="1801551"/>
                </a:cubicBezTo>
                <a:lnTo>
                  <a:pt x="3436911" y="1803401"/>
                </a:lnTo>
                <a:lnTo>
                  <a:pt x="3438406" y="1804823"/>
                </a:lnTo>
                <a:cubicBezTo>
                  <a:pt x="3439899" y="1807384"/>
                  <a:pt x="3440326" y="1810087"/>
                  <a:pt x="3440113" y="1812790"/>
                </a:cubicBezTo>
                <a:lnTo>
                  <a:pt x="3438875" y="1816642"/>
                </a:lnTo>
                <a:lnTo>
                  <a:pt x="3438931" y="1816774"/>
                </a:lnTo>
                <a:lnTo>
                  <a:pt x="3441180" y="1816774"/>
                </a:lnTo>
                <a:lnTo>
                  <a:pt x="3441393" y="1816205"/>
                </a:lnTo>
                <a:cubicBezTo>
                  <a:pt x="3445022" y="1815066"/>
                  <a:pt x="3448223" y="1814497"/>
                  <a:pt x="3451638" y="1814497"/>
                </a:cubicBezTo>
                <a:cubicBezTo>
                  <a:pt x="3454839" y="1814355"/>
                  <a:pt x="3457827" y="1814782"/>
                  <a:pt x="3460814" y="1815493"/>
                </a:cubicBezTo>
                <a:lnTo>
                  <a:pt x="3466150" y="1817627"/>
                </a:lnTo>
                <a:lnTo>
                  <a:pt x="3477888" y="1820188"/>
                </a:lnTo>
                <a:lnTo>
                  <a:pt x="3485144" y="1824029"/>
                </a:lnTo>
                <a:lnTo>
                  <a:pt x="3487065" y="1822891"/>
                </a:lnTo>
                <a:cubicBezTo>
                  <a:pt x="3489413" y="1821895"/>
                  <a:pt x="3491974" y="1821326"/>
                  <a:pt x="3494321" y="1821326"/>
                </a:cubicBezTo>
                <a:cubicBezTo>
                  <a:pt x="3497309" y="1821326"/>
                  <a:pt x="3500084" y="1822180"/>
                  <a:pt x="3502005" y="1824456"/>
                </a:cubicBezTo>
                <a:cubicBezTo>
                  <a:pt x="3494321" y="1828724"/>
                  <a:pt x="3486852" y="1831712"/>
                  <a:pt x="3478528" y="1840817"/>
                </a:cubicBezTo>
                <a:cubicBezTo>
                  <a:pt x="3477461" y="1839536"/>
                  <a:pt x="3476394" y="1839820"/>
                  <a:pt x="3475114" y="1839820"/>
                </a:cubicBezTo>
                <a:lnTo>
                  <a:pt x="3473833" y="1839536"/>
                </a:lnTo>
                <a:lnTo>
                  <a:pt x="3471059" y="1841386"/>
                </a:lnTo>
                <a:cubicBezTo>
                  <a:pt x="3468284" y="1841955"/>
                  <a:pt x="3465083" y="1841813"/>
                  <a:pt x="3461455" y="1841528"/>
                </a:cubicBezTo>
                <a:lnTo>
                  <a:pt x="3461241" y="1841528"/>
                </a:lnTo>
                <a:lnTo>
                  <a:pt x="3462736" y="1843662"/>
                </a:lnTo>
                <a:cubicBezTo>
                  <a:pt x="3459321" y="1845369"/>
                  <a:pt x="3456760" y="1845512"/>
                  <a:pt x="3454839" y="1844231"/>
                </a:cubicBezTo>
                <a:lnTo>
                  <a:pt x="3452705" y="1840675"/>
                </a:lnTo>
                <a:lnTo>
                  <a:pt x="3449930" y="1842097"/>
                </a:lnTo>
                <a:lnTo>
                  <a:pt x="3449631" y="1842018"/>
                </a:lnTo>
                <a:lnTo>
                  <a:pt x="3454080" y="1852627"/>
                </a:lnTo>
                <a:lnTo>
                  <a:pt x="3455052" y="1853194"/>
                </a:lnTo>
                <a:lnTo>
                  <a:pt x="3457400" y="1850918"/>
                </a:lnTo>
                <a:cubicBezTo>
                  <a:pt x="3458253" y="1849637"/>
                  <a:pt x="3459107" y="1847930"/>
                  <a:pt x="3459961" y="1845654"/>
                </a:cubicBezTo>
                <a:cubicBezTo>
                  <a:pt x="3461455" y="1847504"/>
                  <a:pt x="3462736" y="1849637"/>
                  <a:pt x="3463589" y="1851771"/>
                </a:cubicBezTo>
                <a:cubicBezTo>
                  <a:pt x="3464443" y="1854048"/>
                  <a:pt x="3464869" y="1856325"/>
                  <a:pt x="3464869" y="1858743"/>
                </a:cubicBezTo>
                <a:lnTo>
                  <a:pt x="3457400" y="1859170"/>
                </a:lnTo>
                <a:lnTo>
                  <a:pt x="3458040" y="1861730"/>
                </a:lnTo>
                <a:lnTo>
                  <a:pt x="3457995" y="1861964"/>
                </a:lnTo>
                <a:lnTo>
                  <a:pt x="3486251" y="1929348"/>
                </a:lnTo>
                <a:lnTo>
                  <a:pt x="3490780" y="1934034"/>
                </a:lnTo>
                <a:cubicBezTo>
                  <a:pt x="3493375" y="1936973"/>
                  <a:pt x="3495122" y="1939231"/>
                  <a:pt x="3495389" y="1939979"/>
                </a:cubicBezTo>
                <a:cubicBezTo>
                  <a:pt x="3498590" y="1943820"/>
                  <a:pt x="3509901" y="1945669"/>
                  <a:pt x="3515877" y="1942966"/>
                </a:cubicBezTo>
                <a:cubicBezTo>
                  <a:pt x="3519718" y="1939409"/>
                  <a:pt x="3523560" y="1935995"/>
                  <a:pt x="3529536" y="1933291"/>
                </a:cubicBezTo>
                <a:cubicBezTo>
                  <a:pt x="3533377" y="1929735"/>
                  <a:pt x="3538499" y="1929166"/>
                  <a:pt x="3539566" y="1932153"/>
                </a:cubicBezTo>
                <a:cubicBezTo>
                  <a:pt x="3541701" y="1933007"/>
                  <a:pt x="3542768" y="1935852"/>
                  <a:pt x="3541061" y="1940120"/>
                </a:cubicBezTo>
                <a:lnTo>
                  <a:pt x="3541701" y="1943535"/>
                </a:lnTo>
                <a:lnTo>
                  <a:pt x="3546396" y="1940120"/>
                </a:lnTo>
                <a:cubicBezTo>
                  <a:pt x="3548103" y="1939409"/>
                  <a:pt x="3549597" y="1939552"/>
                  <a:pt x="3551091" y="1939979"/>
                </a:cubicBezTo>
                <a:cubicBezTo>
                  <a:pt x="3553865" y="1940974"/>
                  <a:pt x="3555573" y="1943820"/>
                  <a:pt x="3556213" y="1946807"/>
                </a:cubicBezTo>
                <a:cubicBezTo>
                  <a:pt x="3556427" y="1948799"/>
                  <a:pt x="3556213" y="1950933"/>
                  <a:pt x="3555146" y="1952640"/>
                </a:cubicBezTo>
                <a:cubicBezTo>
                  <a:pt x="3553865" y="1954916"/>
                  <a:pt x="3550878" y="1956481"/>
                  <a:pt x="3546396" y="1956339"/>
                </a:cubicBezTo>
                <a:cubicBezTo>
                  <a:pt x="3544261" y="1954063"/>
                  <a:pt x="3543408" y="1952071"/>
                  <a:pt x="3542768" y="1950079"/>
                </a:cubicBezTo>
                <a:lnTo>
                  <a:pt x="3542768" y="1952213"/>
                </a:lnTo>
                <a:cubicBezTo>
                  <a:pt x="3542768" y="1952925"/>
                  <a:pt x="3542768" y="1953493"/>
                  <a:pt x="3542768" y="1953493"/>
                </a:cubicBezTo>
                <a:cubicBezTo>
                  <a:pt x="3542981" y="1958473"/>
                  <a:pt x="3548957" y="1955770"/>
                  <a:pt x="3550024" y="1958757"/>
                </a:cubicBezTo>
                <a:cubicBezTo>
                  <a:pt x="3555573" y="1968432"/>
                  <a:pt x="3539780" y="1977395"/>
                  <a:pt x="3541061" y="1980382"/>
                </a:cubicBezTo>
                <a:cubicBezTo>
                  <a:pt x="3541914" y="1982516"/>
                  <a:pt x="3549170" y="1985931"/>
                  <a:pt x="3553652" y="1989915"/>
                </a:cubicBezTo>
                <a:lnTo>
                  <a:pt x="3556853" y="1994040"/>
                </a:lnTo>
                <a:lnTo>
                  <a:pt x="3559628" y="1990484"/>
                </a:lnTo>
                <a:cubicBezTo>
                  <a:pt x="3560908" y="1991480"/>
                  <a:pt x="3561549" y="1992760"/>
                  <a:pt x="3561975" y="1994182"/>
                </a:cubicBezTo>
                <a:cubicBezTo>
                  <a:pt x="3562829" y="1996601"/>
                  <a:pt x="3562615" y="1999589"/>
                  <a:pt x="3561335" y="2002719"/>
                </a:cubicBezTo>
                <a:lnTo>
                  <a:pt x="3561122" y="2003288"/>
                </a:lnTo>
                <a:lnTo>
                  <a:pt x="3570299" y="2008409"/>
                </a:lnTo>
                <a:lnTo>
                  <a:pt x="3582464" y="2007698"/>
                </a:lnTo>
                <a:lnTo>
                  <a:pt x="3590787" y="2005421"/>
                </a:lnTo>
                <a:lnTo>
                  <a:pt x="3593775" y="2003146"/>
                </a:lnTo>
                <a:lnTo>
                  <a:pt x="3594842" y="2002292"/>
                </a:lnTo>
                <a:lnTo>
                  <a:pt x="3582037" y="2002861"/>
                </a:lnTo>
                <a:cubicBezTo>
                  <a:pt x="3577341" y="2002576"/>
                  <a:pt x="3572646" y="2001866"/>
                  <a:pt x="3567951" y="2001438"/>
                </a:cubicBezTo>
                <a:cubicBezTo>
                  <a:pt x="3570512" y="1992760"/>
                  <a:pt x="3585878" y="1980240"/>
                  <a:pt x="3602311" y="1979671"/>
                </a:cubicBezTo>
                <a:cubicBezTo>
                  <a:pt x="3607647" y="1979387"/>
                  <a:pt x="3613196" y="1980667"/>
                  <a:pt x="3618532" y="1983654"/>
                </a:cubicBezTo>
                <a:lnTo>
                  <a:pt x="3609782" y="1994609"/>
                </a:lnTo>
                <a:lnTo>
                  <a:pt x="3611489" y="1995320"/>
                </a:lnTo>
                <a:cubicBezTo>
                  <a:pt x="3611489" y="1995320"/>
                  <a:pt x="3611489" y="1995463"/>
                  <a:pt x="3625361" y="1985646"/>
                </a:cubicBezTo>
                <a:cubicBezTo>
                  <a:pt x="3628136" y="1984366"/>
                  <a:pt x="3630270" y="1985219"/>
                  <a:pt x="3630270" y="1985219"/>
                </a:cubicBezTo>
                <a:cubicBezTo>
                  <a:pt x="3630270" y="1985219"/>
                  <a:pt x="3630270" y="1985077"/>
                  <a:pt x="3626428" y="1988635"/>
                </a:cubicBezTo>
                <a:cubicBezTo>
                  <a:pt x="3626428" y="1988635"/>
                  <a:pt x="3623441" y="1989915"/>
                  <a:pt x="3620453" y="1991337"/>
                </a:cubicBezTo>
                <a:cubicBezTo>
                  <a:pt x="3620453" y="1991337"/>
                  <a:pt x="3619599" y="1993472"/>
                  <a:pt x="3618745" y="1995605"/>
                </a:cubicBezTo>
                <a:cubicBezTo>
                  <a:pt x="3615757" y="1997028"/>
                  <a:pt x="3617465" y="1992618"/>
                  <a:pt x="3613623" y="1996174"/>
                </a:cubicBezTo>
                <a:cubicBezTo>
                  <a:pt x="3613623" y="1996174"/>
                  <a:pt x="3607434" y="2011255"/>
                  <a:pt x="3608287" y="2009121"/>
                </a:cubicBezTo>
                <a:lnTo>
                  <a:pt x="3602952" y="2010685"/>
                </a:lnTo>
                <a:lnTo>
                  <a:pt x="3608287" y="2015807"/>
                </a:lnTo>
                <a:cubicBezTo>
                  <a:pt x="3625148" y="2012393"/>
                  <a:pt x="3610849" y="2007698"/>
                  <a:pt x="3616184" y="1999731"/>
                </a:cubicBezTo>
                <a:cubicBezTo>
                  <a:pt x="3624508" y="2000300"/>
                  <a:pt x="3633258" y="1999162"/>
                  <a:pt x="3642221" y="1997313"/>
                </a:cubicBezTo>
                <a:lnTo>
                  <a:pt x="3661856" y="1992618"/>
                </a:lnTo>
                <a:lnTo>
                  <a:pt x="3662709" y="1988349"/>
                </a:lnTo>
                <a:cubicBezTo>
                  <a:pt x="3663563" y="1988635"/>
                  <a:pt x="3663777" y="1989203"/>
                  <a:pt x="3663563" y="1989915"/>
                </a:cubicBezTo>
                <a:cubicBezTo>
                  <a:pt x="3663563" y="1990626"/>
                  <a:pt x="3663350" y="1991480"/>
                  <a:pt x="3662923" y="1992333"/>
                </a:cubicBezTo>
                <a:lnTo>
                  <a:pt x="3670180" y="1990626"/>
                </a:lnTo>
                <a:cubicBezTo>
                  <a:pt x="3679356" y="1988349"/>
                  <a:pt x="3689601" y="1986073"/>
                  <a:pt x="3699845" y="1984935"/>
                </a:cubicBezTo>
                <a:cubicBezTo>
                  <a:pt x="3705180" y="1983797"/>
                  <a:pt x="3710302" y="1983797"/>
                  <a:pt x="3715424" y="1983797"/>
                </a:cubicBezTo>
                <a:lnTo>
                  <a:pt x="3725242" y="1985219"/>
                </a:lnTo>
                <a:lnTo>
                  <a:pt x="3723961" y="1984508"/>
                </a:lnTo>
                <a:cubicBezTo>
                  <a:pt x="3723747" y="1983654"/>
                  <a:pt x="3724175" y="1982374"/>
                  <a:pt x="3724815" y="1980809"/>
                </a:cubicBezTo>
                <a:cubicBezTo>
                  <a:pt x="3726095" y="1980809"/>
                  <a:pt x="3727163" y="1980952"/>
                  <a:pt x="3727589" y="1981663"/>
                </a:cubicBezTo>
                <a:lnTo>
                  <a:pt x="3728016" y="1985646"/>
                </a:lnTo>
                <a:lnTo>
                  <a:pt x="3731004" y="1986073"/>
                </a:lnTo>
                <a:cubicBezTo>
                  <a:pt x="3742529" y="1983797"/>
                  <a:pt x="3731004" y="1980382"/>
                  <a:pt x="3737406" y="1976968"/>
                </a:cubicBezTo>
                <a:cubicBezTo>
                  <a:pt x="3755334" y="1973553"/>
                  <a:pt x="3768352" y="1974692"/>
                  <a:pt x="3778597" y="1974692"/>
                </a:cubicBezTo>
                <a:cubicBezTo>
                  <a:pt x="3787774" y="1974692"/>
                  <a:pt x="3795457" y="1975830"/>
                  <a:pt x="3804634" y="1972415"/>
                </a:cubicBezTo>
                <a:cubicBezTo>
                  <a:pt x="3807195" y="1979244"/>
                  <a:pt x="3813598" y="1981521"/>
                  <a:pt x="3827683" y="1980382"/>
                </a:cubicBezTo>
                <a:cubicBezTo>
                  <a:pt x="3827683" y="1982659"/>
                  <a:pt x="3821281" y="1981521"/>
                  <a:pt x="3817439" y="1982659"/>
                </a:cubicBezTo>
                <a:cubicBezTo>
                  <a:pt x="3816158" y="1988349"/>
                  <a:pt x="3825122" y="1987212"/>
                  <a:pt x="3827683" y="1989488"/>
                </a:cubicBezTo>
                <a:cubicBezTo>
                  <a:pt x="3830671" y="1987781"/>
                  <a:pt x="3828537" y="1984793"/>
                  <a:pt x="3833232" y="1984366"/>
                </a:cubicBezTo>
                <a:lnTo>
                  <a:pt x="3836647" y="1984651"/>
                </a:lnTo>
                <a:lnTo>
                  <a:pt x="3836647" y="1984224"/>
                </a:lnTo>
                <a:cubicBezTo>
                  <a:pt x="3838568" y="1982232"/>
                  <a:pt x="3840915" y="1980524"/>
                  <a:pt x="3843690" y="1980524"/>
                </a:cubicBezTo>
                <a:cubicBezTo>
                  <a:pt x="3845610" y="1980524"/>
                  <a:pt x="3847744" y="1981236"/>
                  <a:pt x="3850092" y="1982801"/>
                </a:cubicBezTo>
                <a:cubicBezTo>
                  <a:pt x="3850092" y="1984508"/>
                  <a:pt x="3850092" y="1986216"/>
                  <a:pt x="3849879" y="1987781"/>
                </a:cubicBezTo>
                <a:cubicBezTo>
                  <a:pt x="3846251" y="1987638"/>
                  <a:pt x="3843263" y="1988492"/>
                  <a:pt x="3840488" y="1989345"/>
                </a:cubicBezTo>
                <a:lnTo>
                  <a:pt x="3833445" y="1990910"/>
                </a:lnTo>
                <a:lnTo>
                  <a:pt x="3834085" y="1994040"/>
                </a:lnTo>
                <a:cubicBezTo>
                  <a:pt x="3820000" y="1997455"/>
                  <a:pt x="3808475" y="1989488"/>
                  <a:pt x="3808475" y="2003146"/>
                </a:cubicBezTo>
                <a:cubicBezTo>
                  <a:pt x="3800579" y="1994040"/>
                  <a:pt x="3791615" y="1996317"/>
                  <a:pt x="3782652" y="2000869"/>
                </a:cubicBezTo>
                <a:cubicBezTo>
                  <a:pt x="3773474" y="2004284"/>
                  <a:pt x="3761950" y="2009974"/>
                  <a:pt x="3748931" y="2006560"/>
                </a:cubicBezTo>
                <a:cubicBezTo>
                  <a:pt x="3751492" y="2014527"/>
                  <a:pt x="3759388" y="2013531"/>
                  <a:pt x="3767072" y="2010117"/>
                </a:cubicBezTo>
                <a:cubicBezTo>
                  <a:pt x="3774755" y="2007840"/>
                  <a:pt x="3782652" y="2005421"/>
                  <a:pt x="3785213" y="2012250"/>
                </a:cubicBezTo>
                <a:cubicBezTo>
                  <a:pt x="3796737" y="2011113"/>
                  <a:pt x="3800579" y="2003146"/>
                  <a:pt x="3811036" y="2007698"/>
                </a:cubicBezTo>
                <a:cubicBezTo>
                  <a:pt x="3811036" y="2012250"/>
                  <a:pt x="3800579" y="2008836"/>
                  <a:pt x="3798018" y="2012250"/>
                </a:cubicBezTo>
                <a:cubicBezTo>
                  <a:pt x="3803140" y="2017942"/>
                  <a:pt x="3821281" y="2013389"/>
                  <a:pt x="3827683" y="2012250"/>
                </a:cubicBezTo>
                <a:cubicBezTo>
                  <a:pt x="3827683" y="2009974"/>
                  <a:pt x="3823841" y="2011255"/>
                  <a:pt x="3821281" y="2010117"/>
                </a:cubicBezTo>
                <a:cubicBezTo>
                  <a:pt x="3825122" y="2008979"/>
                  <a:pt x="3849665" y="2006560"/>
                  <a:pt x="3840702" y="2012250"/>
                </a:cubicBezTo>
                <a:cubicBezTo>
                  <a:pt x="3847104" y="2011113"/>
                  <a:pt x="3853507" y="2009974"/>
                  <a:pt x="3857562" y="2006560"/>
                </a:cubicBezTo>
                <a:lnTo>
                  <a:pt x="3859910" y="2007271"/>
                </a:lnTo>
                <a:cubicBezTo>
                  <a:pt x="3866526" y="2001154"/>
                  <a:pt x="3875062" y="1995036"/>
                  <a:pt x="3882745" y="1994609"/>
                </a:cubicBezTo>
                <a:cubicBezTo>
                  <a:pt x="3885307" y="1994609"/>
                  <a:pt x="3887654" y="1995036"/>
                  <a:pt x="3890002" y="1996317"/>
                </a:cubicBezTo>
                <a:cubicBezTo>
                  <a:pt x="3892990" y="1997739"/>
                  <a:pt x="3893630" y="1999731"/>
                  <a:pt x="3892990" y="2002149"/>
                </a:cubicBezTo>
                <a:lnTo>
                  <a:pt x="3888081" y="2008409"/>
                </a:lnTo>
                <a:lnTo>
                  <a:pt x="3894910" y="2010117"/>
                </a:lnTo>
                <a:lnTo>
                  <a:pt x="3896404" y="2010544"/>
                </a:lnTo>
                <a:lnTo>
                  <a:pt x="3899178" y="2007271"/>
                </a:lnTo>
                <a:cubicBezTo>
                  <a:pt x="3902807" y="2004141"/>
                  <a:pt x="3907289" y="2002576"/>
                  <a:pt x="3912197" y="2003430"/>
                </a:cubicBezTo>
                <a:lnTo>
                  <a:pt x="3920734" y="2008979"/>
                </a:lnTo>
                <a:lnTo>
                  <a:pt x="3920520" y="2006133"/>
                </a:lnTo>
                <a:cubicBezTo>
                  <a:pt x="3920734" y="2004284"/>
                  <a:pt x="3921801" y="2002292"/>
                  <a:pt x="3923508" y="1999589"/>
                </a:cubicBezTo>
                <a:cubicBezTo>
                  <a:pt x="3926710" y="1997171"/>
                  <a:pt x="3930551" y="1995463"/>
                  <a:pt x="3934607" y="1993898"/>
                </a:cubicBezTo>
                <a:lnTo>
                  <a:pt x="3939088" y="1992476"/>
                </a:lnTo>
                <a:lnTo>
                  <a:pt x="3928844" y="1985646"/>
                </a:lnTo>
                <a:cubicBezTo>
                  <a:pt x="3929058" y="1983370"/>
                  <a:pt x="3930551" y="1981379"/>
                  <a:pt x="3934393" y="1978675"/>
                </a:cubicBezTo>
                <a:cubicBezTo>
                  <a:pt x="3938662" y="1986784"/>
                  <a:pt x="3943143" y="1982232"/>
                  <a:pt x="3947198" y="1982943"/>
                </a:cubicBezTo>
                <a:lnTo>
                  <a:pt x="3948052" y="1983797"/>
                </a:lnTo>
                <a:lnTo>
                  <a:pt x="3949545" y="1979671"/>
                </a:lnTo>
                <a:cubicBezTo>
                  <a:pt x="3950400" y="1970993"/>
                  <a:pt x="3947838" y="1960038"/>
                  <a:pt x="3944637" y="1952498"/>
                </a:cubicBezTo>
                <a:lnTo>
                  <a:pt x="3943997" y="1951218"/>
                </a:lnTo>
                <a:lnTo>
                  <a:pt x="3943357" y="1952356"/>
                </a:lnTo>
                <a:cubicBezTo>
                  <a:pt x="3941009" y="1954347"/>
                  <a:pt x="3939729" y="1954205"/>
                  <a:pt x="3936314" y="1956055"/>
                </a:cubicBezTo>
                <a:cubicBezTo>
                  <a:pt x="3933966" y="1954490"/>
                  <a:pt x="3933966" y="1954490"/>
                  <a:pt x="3934179" y="1953210"/>
                </a:cubicBezTo>
                <a:cubicBezTo>
                  <a:pt x="3933966" y="1954490"/>
                  <a:pt x="3932899" y="1954347"/>
                  <a:pt x="3931618" y="1955343"/>
                </a:cubicBezTo>
                <a:lnTo>
                  <a:pt x="3928631" y="1957619"/>
                </a:lnTo>
                <a:lnTo>
                  <a:pt x="3928417" y="1960465"/>
                </a:lnTo>
                <a:cubicBezTo>
                  <a:pt x="3928417" y="1961603"/>
                  <a:pt x="3927991" y="1962884"/>
                  <a:pt x="3926710" y="1964591"/>
                </a:cubicBezTo>
                <a:cubicBezTo>
                  <a:pt x="3923936" y="1962884"/>
                  <a:pt x="3922441" y="1961034"/>
                  <a:pt x="3919667" y="1959469"/>
                </a:cubicBezTo>
                <a:lnTo>
                  <a:pt x="3922868" y="1956197"/>
                </a:lnTo>
                <a:lnTo>
                  <a:pt x="3916893" y="1951645"/>
                </a:lnTo>
                <a:cubicBezTo>
                  <a:pt x="3917960" y="1950648"/>
                  <a:pt x="3914758" y="1947661"/>
                  <a:pt x="3913905" y="1945100"/>
                </a:cubicBezTo>
                <a:cubicBezTo>
                  <a:pt x="3913905" y="1943250"/>
                  <a:pt x="3914118" y="1941827"/>
                  <a:pt x="3914545" y="1940547"/>
                </a:cubicBezTo>
                <a:lnTo>
                  <a:pt x="3916252" y="1937702"/>
                </a:lnTo>
                <a:lnTo>
                  <a:pt x="3910917" y="1938414"/>
                </a:lnTo>
                <a:cubicBezTo>
                  <a:pt x="3908569" y="1938555"/>
                  <a:pt x="3906222" y="1938129"/>
                  <a:pt x="3904087" y="1936706"/>
                </a:cubicBezTo>
                <a:cubicBezTo>
                  <a:pt x="3895551" y="1930873"/>
                  <a:pt x="3902380" y="1920488"/>
                  <a:pt x="3902380" y="1920488"/>
                </a:cubicBezTo>
                <a:lnTo>
                  <a:pt x="3906008" y="1919065"/>
                </a:lnTo>
                <a:lnTo>
                  <a:pt x="3903234" y="1917357"/>
                </a:lnTo>
                <a:cubicBezTo>
                  <a:pt x="3902593" y="1916077"/>
                  <a:pt x="3902593" y="1914228"/>
                  <a:pt x="3902807" y="1911666"/>
                </a:cubicBezTo>
                <a:cubicBezTo>
                  <a:pt x="3906435" y="1911809"/>
                  <a:pt x="3908142" y="1912378"/>
                  <a:pt x="3908569" y="1913800"/>
                </a:cubicBezTo>
                <a:lnTo>
                  <a:pt x="3908142" y="1918211"/>
                </a:lnTo>
                <a:lnTo>
                  <a:pt x="3914758" y="1917927"/>
                </a:lnTo>
                <a:lnTo>
                  <a:pt x="3916039" y="1918069"/>
                </a:lnTo>
                <a:lnTo>
                  <a:pt x="3914972" y="1915792"/>
                </a:lnTo>
                <a:cubicBezTo>
                  <a:pt x="3914758" y="1914512"/>
                  <a:pt x="3914972" y="1913090"/>
                  <a:pt x="3914545" y="1912663"/>
                </a:cubicBezTo>
                <a:cubicBezTo>
                  <a:pt x="3915612" y="1911952"/>
                  <a:pt x="3917320" y="1912378"/>
                  <a:pt x="3918173" y="1911666"/>
                </a:cubicBezTo>
                <a:cubicBezTo>
                  <a:pt x="3918813" y="1912805"/>
                  <a:pt x="3919880" y="1914796"/>
                  <a:pt x="3919240" y="1916504"/>
                </a:cubicBezTo>
                <a:cubicBezTo>
                  <a:pt x="3919667" y="1917073"/>
                  <a:pt x="3918813" y="1917642"/>
                  <a:pt x="3917960" y="1917927"/>
                </a:cubicBezTo>
                <a:lnTo>
                  <a:pt x="3917106" y="1918211"/>
                </a:lnTo>
                <a:lnTo>
                  <a:pt x="3926710" y="1919349"/>
                </a:lnTo>
                <a:cubicBezTo>
                  <a:pt x="3933112" y="1917073"/>
                  <a:pt x="3936527" y="1911952"/>
                  <a:pt x="3939729" y="1909391"/>
                </a:cubicBezTo>
                <a:cubicBezTo>
                  <a:pt x="3934179" y="1900997"/>
                  <a:pt x="3958723" y="1862442"/>
                  <a:pt x="3961924" y="1859880"/>
                </a:cubicBezTo>
                <a:lnTo>
                  <a:pt x="3963418" y="1854759"/>
                </a:lnTo>
                <a:lnTo>
                  <a:pt x="3963205" y="1854617"/>
                </a:lnTo>
                <a:lnTo>
                  <a:pt x="3963418" y="1853478"/>
                </a:lnTo>
                <a:lnTo>
                  <a:pt x="3963205" y="1847930"/>
                </a:lnTo>
                <a:cubicBezTo>
                  <a:pt x="3962351" y="1843094"/>
                  <a:pt x="3960644" y="1838256"/>
                  <a:pt x="3957656" y="1835411"/>
                </a:cubicBezTo>
                <a:lnTo>
                  <a:pt x="3948692" y="1829293"/>
                </a:lnTo>
                <a:lnTo>
                  <a:pt x="3946985" y="1830147"/>
                </a:lnTo>
                <a:cubicBezTo>
                  <a:pt x="3944210" y="1830147"/>
                  <a:pt x="3942076" y="1828866"/>
                  <a:pt x="3940155" y="1826875"/>
                </a:cubicBezTo>
                <a:lnTo>
                  <a:pt x="3936954" y="1820472"/>
                </a:lnTo>
                <a:lnTo>
                  <a:pt x="3934393" y="1817912"/>
                </a:lnTo>
                <a:cubicBezTo>
                  <a:pt x="3933326" y="1815920"/>
                  <a:pt x="3933539" y="1813786"/>
                  <a:pt x="3935247" y="1812648"/>
                </a:cubicBezTo>
                <a:cubicBezTo>
                  <a:pt x="3935460" y="1809945"/>
                  <a:pt x="3938662" y="1807384"/>
                  <a:pt x="3944637" y="1807811"/>
                </a:cubicBezTo>
                <a:cubicBezTo>
                  <a:pt x="3951040" y="1802831"/>
                  <a:pt x="3960430" y="1800840"/>
                  <a:pt x="3960430" y="1800840"/>
                </a:cubicBezTo>
                <a:cubicBezTo>
                  <a:pt x="3966833" y="1798563"/>
                  <a:pt x="3961071" y="1792730"/>
                  <a:pt x="3964272" y="1790312"/>
                </a:cubicBezTo>
                <a:lnTo>
                  <a:pt x="3966833" y="1788604"/>
                </a:lnTo>
                <a:lnTo>
                  <a:pt x="3966833" y="1784763"/>
                </a:lnTo>
                <a:cubicBezTo>
                  <a:pt x="3967046" y="1783198"/>
                  <a:pt x="3967687" y="1781633"/>
                  <a:pt x="3968327" y="1780495"/>
                </a:cubicBezTo>
                <a:lnTo>
                  <a:pt x="3970461" y="1778930"/>
                </a:lnTo>
                <a:lnTo>
                  <a:pt x="3969821" y="1776085"/>
                </a:lnTo>
                <a:cubicBezTo>
                  <a:pt x="3970675" y="1772955"/>
                  <a:pt x="3972595" y="1770394"/>
                  <a:pt x="3975156" y="1769541"/>
                </a:cubicBezTo>
                <a:cubicBezTo>
                  <a:pt x="3976650" y="1769114"/>
                  <a:pt x="3978571" y="1769398"/>
                  <a:pt x="3980491" y="1770963"/>
                </a:cubicBezTo>
                <a:cubicBezTo>
                  <a:pt x="3981772" y="1774662"/>
                  <a:pt x="3980705" y="1776654"/>
                  <a:pt x="3978784" y="1778503"/>
                </a:cubicBezTo>
                <a:lnTo>
                  <a:pt x="3976010" y="1780922"/>
                </a:lnTo>
                <a:lnTo>
                  <a:pt x="3978144" y="1783482"/>
                </a:lnTo>
                <a:lnTo>
                  <a:pt x="3980278" y="1788035"/>
                </a:lnTo>
                <a:lnTo>
                  <a:pt x="3981986" y="1788320"/>
                </a:lnTo>
                <a:cubicBezTo>
                  <a:pt x="3987961" y="1790454"/>
                  <a:pt x="3993084" y="1793441"/>
                  <a:pt x="3994577" y="1792161"/>
                </a:cubicBezTo>
                <a:cubicBezTo>
                  <a:pt x="3997779" y="1789743"/>
                  <a:pt x="3999059" y="1773666"/>
                  <a:pt x="4005462" y="1768687"/>
                </a:cubicBezTo>
                <a:cubicBezTo>
                  <a:pt x="4005675" y="1765984"/>
                  <a:pt x="4012078" y="1763707"/>
                  <a:pt x="4015279" y="1761289"/>
                </a:cubicBezTo>
                <a:lnTo>
                  <a:pt x="4017627" y="1755313"/>
                </a:lnTo>
                <a:lnTo>
                  <a:pt x="4018907" y="1752041"/>
                </a:lnTo>
                <a:cubicBezTo>
                  <a:pt x="4020828" y="1743078"/>
                  <a:pt x="4018054" y="1735253"/>
                  <a:pt x="4011864" y="1728851"/>
                </a:cubicBezTo>
                <a:cubicBezTo>
                  <a:pt x="4008876" y="1726006"/>
                  <a:pt x="4006102" y="1724441"/>
                  <a:pt x="4002687" y="1722876"/>
                </a:cubicBezTo>
                <a:lnTo>
                  <a:pt x="3994364" y="1718466"/>
                </a:lnTo>
                <a:lnTo>
                  <a:pt x="3992443" y="1718324"/>
                </a:lnTo>
                <a:lnTo>
                  <a:pt x="3991803" y="1717185"/>
                </a:lnTo>
                <a:lnTo>
                  <a:pt x="3991376" y="1716901"/>
                </a:lnTo>
                <a:cubicBezTo>
                  <a:pt x="3985827" y="1711210"/>
                  <a:pt x="3982839" y="1708222"/>
                  <a:pt x="3986254" y="1705804"/>
                </a:cubicBezTo>
                <a:cubicBezTo>
                  <a:pt x="3986254" y="1705804"/>
                  <a:pt x="3986254" y="1705804"/>
                  <a:pt x="3968754" y="1693996"/>
                </a:cubicBezTo>
                <a:cubicBezTo>
                  <a:pt x="3965979" y="1691150"/>
                  <a:pt x="3966192" y="1688447"/>
                  <a:pt x="3966192" y="1688447"/>
                </a:cubicBezTo>
                <a:cubicBezTo>
                  <a:pt x="3966192" y="1688447"/>
                  <a:pt x="3966192" y="1688447"/>
                  <a:pt x="3972168" y="1691577"/>
                </a:cubicBezTo>
                <a:cubicBezTo>
                  <a:pt x="3972168" y="1691577"/>
                  <a:pt x="3974943" y="1694423"/>
                  <a:pt x="3977717" y="1697268"/>
                </a:cubicBezTo>
                <a:cubicBezTo>
                  <a:pt x="3977717" y="1697268"/>
                  <a:pt x="3980705" y="1697410"/>
                  <a:pt x="3983693" y="1697553"/>
                </a:cubicBezTo>
                <a:cubicBezTo>
                  <a:pt x="3986681" y="1700398"/>
                  <a:pt x="3980705" y="1700113"/>
                  <a:pt x="3986467" y="1703101"/>
                </a:cubicBezTo>
                <a:cubicBezTo>
                  <a:pt x="3986467" y="1703101"/>
                  <a:pt x="3991589" y="1703527"/>
                  <a:pt x="3996498" y="1703812"/>
                </a:cubicBezTo>
                <a:lnTo>
                  <a:pt x="4000126" y="1703955"/>
                </a:lnTo>
                <a:lnTo>
                  <a:pt x="3997992" y="1699117"/>
                </a:lnTo>
                <a:cubicBezTo>
                  <a:pt x="4001407" y="1696841"/>
                  <a:pt x="4003968" y="1696130"/>
                  <a:pt x="4005462" y="1696556"/>
                </a:cubicBezTo>
                <a:cubicBezTo>
                  <a:pt x="4007169" y="1696841"/>
                  <a:pt x="4007809" y="1698264"/>
                  <a:pt x="4008023" y="1699828"/>
                </a:cubicBezTo>
                <a:lnTo>
                  <a:pt x="4007596" y="1701963"/>
                </a:lnTo>
                <a:lnTo>
                  <a:pt x="4014426" y="1698406"/>
                </a:lnTo>
                <a:cubicBezTo>
                  <a:pt x="4017200" y="1696841"/>
                  <a:pt x="4020188" y="1695703"/>
                  <a:pt x="4022962" y="1695987"/>
                </a:cubicBezTo>
                <a:cubicBezTo>
                  <a:pt x="4022109" y="1696556"/>
                  <a:pt x="4018907" y="1698264"/>
                  <a:pt x="4015279" y="1699828"/>
                </a:cubicBezTo>
                <a:lnTo>
                  <a:pt x="4007383" y="1702390"/>
                </a:lnTo>
                <a:lnTo>
                  <a:pt x="4007169" y="1704097"/>
                </a:lnTo>
                <a:lnTo>
                  <a:pt x="4005675" y="1705804"/>
                </a:lnTo>
                <a:lnTo>
                  <a:pt x="4011438" y="1713771"/>
                </a:lnTo>
                <a:cubicBezTo>
                  <a:pt x="4013358" y="1716901"/>
                  <a:pt x="4015492" y="1719746"/>
                  <a:pt x="4018480" y="1721169"/>
                </a:cubicBezTo>
                <a:cubicBezTo>
                  <a:pt x="4026804" y="1729847"/>
                  <a:pt x="4038968" y="1730559"/>
                  <a:pt x="4051774" y="1723303"/>
                </a:cubicBezTo>
                <a:cubicBezTo>
                  <a:pt x="4054335" y="1720173"/>
                  <a:pt x="4056469" y="1716047"/>
                  <a:pt x="4058176" y="1711779"/>
                </a:cubicBezTo>
                <a:lnTo>
                  <a:pt x="4058817" y="1710072"/>
                </a:lnTo>
                <a:lnTo>
                  <a:pt x="4056683" y="1711210"/>
                </a:lnTo>
                <a:cubicBezTo>
                  <a:pt x="4047079" y="1713059"/>
                  <a:pt x="4035127" y="1697553"/>
                  <a:pt x="4041316" y="1686455"/>
                </a:cubicBezTo>
                <a:lnTo>
                  <a:pt x="4048572" y="1686313"/>
                </a:lnTo>
                <a:lnTo>
                  <a:pt x="4043877" y="1680480"/>
                </a:lnTo>
                <a:cubicBezTo>
                  <a:pt x="4043024" y="1678061"/>
                  <a:pt x="4043024" y="1675358"/>
                  <a:pt x="4043664" y="1672086"/>
                </a:cubicBezTo>
                <a:cubicBezTo>
                  <a:pt x="4045798" y="1671517"/>
                  <a:pt x="4049853" y="1674078"/>
                  <a:pt x="4052414" y="1675643"/>
                </a:cubicBezTo>
                <a:lnTo>
                  <a:pt x="4048786" y="1686313"/>
                </a:lnTo>
                <a:lnTo>
                  <a:pt x="4053908" y="1689016"/>
                </a:lnTo>
                <a:cubicBezTo>
                  <a:pt x="4055615" y="1690154"/>
                  <a:pt x="4057109" y="1691434"/>
                  <a:pt x="4058603" y="1693000"/>
                </a:cubicBezTo>
                <a:lnTo>
                  <a:pt x="4062018" y="1698548"/>
                </a:lnTo>
                <a:lnTo>
                  <a:pt x="4062018" y="1698121"/>
                </a:lnTo>
                <a:cubicBezTo>
                  <a:pt x="4063512" y="1689159"/>
                  <a:pt x="4062658" y="1681049"/>
                  <a:pt x="4058390" y="1678061"/>
                </a:cubicBezTo>
                <a:lnTo>
                  <a:pt x="4072689" y="1673509"/>
                </a:lnTo>
                <a:lnTo>
                  <a:pt x="4072262" y="1665969"/>
                </a:lnTo>
                <a:cubicBezTo>
                  <a:pt x="4073969" y="1662981"/>
                  <a:pt x="4077811" y="1661700"/>
                  <a:pt x="4081866" y="1661700"/>
                </a:cubicBezTo>
                <a:cubicBezTo>
                  <a:pt x="4085708" y="1661843"/>
                  <a:pt x="4089763" y="1663123"/>
                  <a:pt x="4091043" y="1665684"/>
                </a:cubicBezTo>
                <a:lnTo>
                  <a:pt x="4090403" y="1670948"/>
                </a:lnTo>
                <a:lnTo>
                  <a:pt x="4095525" y="1670379"/>
                </a:lnTo>
                <a:cubicBezTo>
                  <a:pt x="4109184" y="1669241"/>
                  <a:pt x="4121349" y="1668672"/>
                  <a:pt x="4123269" y="1666111"/>
                </a:cubicBezTo>
                <a:cubicBezTo>
                  <a:pt x="4124123" y="1664830"/>
                  <a:pt x="4124550" y="1662839"/>
                  <a:pt x="4124977" y="1660563"/>
                </a:cubicBezTo>
                <a:lnTo>
                  <a:pt x="4125831" y="1654161"/>
                </a:lnTo>
                <a:lnTo>
                  <a:pt x="4121349" y="1652453"/>
                </a:lnTo>
                <a:cubicBezTo>
                  <a:pt x="4118574" y="1650888"/>
                  <a:pt x="4116013" y="1648470"/>
                  <a:pt x="4114306" y="1646762"/>
                </a:cubicBezTo>
                <a:lnTo>
                  <a:pt x="4112598" y="1644913"/>
                </a:lnTo>
                <a:lnTo>
                  <a:pt x="4111958" y="1645908"/>
                </a:lnTo>
                <a:lnTo>
                  <a:pt x="4111531" y="1644202"/>
                </a:lnTo>
                <a:lnTo>
                  <a:pt x="4111105" y="1644060"/>
                </a:lnTo>
                <a:cubicBezTo>
                  <a:pt x="4111745" y="1643063"/>
                  <a:pt x="4110677" y="1642494"/>
                  <a:pt x="4110037" y="1643490"/>
                </a:cubicBezTo>
                <a:cubicBezTo>
                  <a:pt x="4108970" y="1641641"/>
                  <a:pt x="4108117" y="1639933"/>
                  <a:pt x="4107690" y="1638795"/>
                </a:cubicBezTo>
                <a:lnTo>
                  <a:pt x="4108330" y="1637941"/>
                </a:lnTo>
                <a:lnTo>
                  <a:pt x="4107476" y="1637515"/>
                </a:lnTo>
                <a:lnTo>
                  <a:pt x="4101714" y="1645197"/>
                </a:lnTo>
                <a:cubicBezTo>
                  <a:pt x="4098086" y="1648185"/>
                  <a:pt x="4093818" y="1650177"/>
                  <a:pt x="4089336" y="1650888"/>
                </a:cubicBezTo>
                <a:cubicBezTo>
                  <a:pt x="4086134" y="1647616"/>
                  <a:pt x="4084000" y="1644060"/>
                  <a:pt x="4082720" y="1640218"/>
                </a:cubicBezTo>
                <a:lnTo>
                  <a:pt x="4082720" y="1637799"/>
                </a:lnTo>
                <a:lnTo>
                  <a:pt x="4080372" y="1637231"/>
                </a:lnTo>
                <a:cubicBezTo>
                  <a:pt x="4078024" y="1636519"/>
                  <a:pt x="4076104" y="1635523"/>
                  <a:pt x="4074823" y="1634669"/>
                </a:cubicBezTo>
                <a:lnTo>
                  <a:pt x="4082079" y="1632962"/>
                </a:lnTo>
                <a:lnTo>
                  <a:pt x="4081653" y="1628410"/>
                </a:lnTo>
                <a:cubicBezTo>
                  <a:pt x="4082933" y="1615179"/>
                  <a:pt x="4092537" y="1602232"/>
                  <a:pt x="4106196" y="1597253"/>
                </a:cubicBezTo>
                <a:cubicBezTo>
                  <a:pt x="4107050" y="1598676"/>
                  <a:pt x="4108117" y="1599956"/>
                  <a:pt x="4109397" y="1598818"/>
                </a:cubicBezTo>
                <a:cubicBezTo>
                  <a:pt x="4111105" y="1600809"/>
                  <a:pt x="4112385" y="1603086"/>
                  <a:pt x="4113238" y="1605505"/>
                </a:cubicBezTo>
                <a:cubicBezTo>
                  <a:pt x="4114733" y="1609772"/>
                  <a:pt x="4115160" y="1614609"/>
                  <a:pt x="4114733" y="1619446"/>
                </a:cubicBezTo>
                <a:lnTo>
                  <a:pt x="4111531" y="1630117"/>
                </a:lnTo>
                <a:lnTo>
                  <a:pt x="4117721" y="1634100"/>
                </a:lnTo>
                <a:lnTo>
                  <a:pt x="4118361" y="1633104"/>
                </a:lnTo>
                <a:lnTo>
                  <a:pt x="4119001" y="1630117"/>
                </a:lnTo>
                <a:lnTo>
                  <a:pt x="4117934" y="1629975"/>
                </a:lnTo>
                <a:cubicBezTo>
                  <a:pt x="4117507" y="1628837"/>
                  <a:pt x="4115800" y="1626987"/>
                  <a:pt x="4114306" y="1626418"/>
                </a:cubicBezTo>
                <a:cubicBezTo>
                  <a:pt x="4115373" y="1625991"/>
                  <a:pt x="4116653" y="1625422"/>
                  <a:pt x="4116226" y="1624284"/>
                </a:cubicBezTo>
                <a:cubicBezTo>
                  <a:pt x="4117721" y="1624995"/>
                  <a:pt x="4118361" y="1625707"/>
                  <a:pt x="4119001" y="1626133"/>
                </a:cubicBezTo>
                <a:lnTo>
                  <a:pt x="4119428" y="1626418"/>
                </a:lnTo>
                <a:lnTo>
                  <a:pt x="4119641" y="1625280"/>
                </a:lnTo>
                <a:cubicBezTo>
                  <a:pt x="4120495" y="1622435"/>
                  <a:pt x="4122202" y="1619731"/>
                  <a:pt x="4125831" y="1617881"/>
                </a:cubicBezTo>
                <a:cubicBezTo>
                  <a:pt x="4126257" y="1618736"/>
                  <a:pt x="4126897" y="1619304"/>
                  <a:pt x="4127751" y="1619731"/>
                </a:cubicBezTo>
                <a:lnTo>
                  <a:pt x="4128391" y="1619873"/>
                </a:lnTo>
                <a:lnTo>
                  <a:pt x="4129885" y="1619162"/>
                </a:lnTo>
                <a:cubicBezTo>
                  <a:pt x="4131166" y="1618878"/>
                  <a:pt x="4132660" y="1618878"/>
                  <a:pt x="4134367" y="1619446"/>
                </a:cubicBezTo>
                <a:cubicBezTo>
                  <a:pt x="4134154" y="1620016"/>
                  <a:pt x="4135221" y="1621012"/>
                  <a:pt x="4136502" y="1622150"/>
                </a:cubicBezTo>
                <a:lnTo>
                  <a:pt x="4138636" y="1624284"/>
                </a:lnTo>
                <a:lnTo>
                  <a:pt x="4144825" y="1625280"/>
                </a:lnTo>
                <a:cubicBezTo>
                  <a:pt x="4149520" y="1632251"/>
                  <a:pt x="4147599" y="1635096"/>
                  <a:pt x="4143544" y="1636234"/>
                </a:cubicBezTo>
                <a:lnTo>
                  <a:pt x="4140130" y="1636803"/>
                </a:lnTo>
                <a:lnTo>
                  <a:pt x="4140130" y="1636946"/>
                </a:lnTo>
                <a:lnTo>
                  <a:pt x="4145251" y="1637373"/>
                </a:lnTo>
                <a:cubicBezTo>
                  <a:pt x="4151227" y="1638368"/>
                  <a:pt x="4157203" y="1640076"/>
                  <a:pt x="4158697" y="1638795"/>
                </a:cubicBezTo>
                <a:cubicBezTo>
                  <a:pt x="4158910" y="1636092"/>
                  <a:pt x="4146959" y="1632820"/>
                  <a:pt x="4153789" y="1625137"/>
                </a:cubicBezTo>
                <a:cubicBezTo>
                  <a:pt x="4156989" y="1622719"/>
                  <a:pt x="4159337" y="1622008"/>
                  <a:pt x="4161258" y="1622150"/>
                </a:cubicBezTo>
                <a:lnTo>
                  <a:pt x="4162539" y="1622435"/>
                </a:lnTo>
                <a:lnTo>
                  <a:pt x="4162965" y="1619304"/>
                </a:lnTo>
                <a:cubicBezTo>
                  <a:pt x="4164033" y="1616032"/>
                  <a:pt x="4166380" y="1613471"/>
                  <a:pt x="4170435" y="1613614"/>
                </a:cubicBezTo>
                <a:cubicBezTo>
                  <a:pt x="4171929" y="1614467"/>
                  <a:pt x="4173423" y="1615321"/>
                  <a:pt x="4174703" y="1616744"/>
                </a:cubicBezTo>
                <a:lnTo>
                  <a:pt x="4175984" y="1621154"/>
                </a:lnTo>
                <a:lnTo>
                  <a:pt x="4186015" y="1624853"/>
                </a:lnTo>
                <a:cubicBezTo>
                  <a:pt x="4189216" y="1627129"/>
                  <a:pt x="4191350" y="1630686"/>
                  <a:pt x="4190497" y="1636092"/>
                </a:cubicBezTo>
                <a:cubicBezTo>
                  <a:pt x="4189002" y="1636519"/>
                  <a:pt x="4187509" y="1636803"/>
                  <a:pt x="4185801" y="1637088"/>
                </a:cubicBezTo>
                <a:cubicBezTo>
                  <a:pt x="4184307" y="1633531"/>
                  <a:pt x="4182387" y="1630829"/>
                  <a:pt x="4180466" y="1628410"/>
                </a:cubicBezTo>
                <a:lnTo>
                  <a:pt x="4176411" y="1622435"/>
                </a:lnTo>
                <a:lnTo>
                  <a:pt x="4176624" y="1623146"/>
                </a:lnTo>
                <a:cubicBezTo>
                  <a:pt x="4175344" y="1625137"/>
                  <a:pt x="4173636" y="1626560"/>
                  <a:pt x="4171716" y="1627414"/>
                </a:cubicBezTo>
                <a:lnTo>
                  <a:pt x="4170008" y="1627698"/>
                </a:lnTo>
                <a:lnTo>
                  <a:pt x="4171289" y="1629121"/>
                </a:lnTo>
                <a:cubicBezTo>
                  <a:pt x="4173636" y="1634385"/>
                  <a:pt x="4169368" y="1638226"/>
                  <a:pt x="4173636" y="1642494"/>
                </a:cubicBezTo>
                <a:cubicBezTo>
                  <a:pt x="4186442" y="1635239"/>
                  <a:pt x="4204582" y="1636376"/>
                  <a:pt x="4210985" y="1631397"/>
                </a:cubicBezTo>
                <a:cubicBezTo>
                  <a:pt x="4212692" y="1628837"/>
                  <a:pt x="4212479" y="1622008"/>
                  <a:pt x="4211625" y="1615606"/>
                </a:cubicBezTo>
                <a:lnTo>
                  <a:pt x="4209918" y="1608777"/>
                </a:lnTo>
                <a:lnTo>
                  <a:pt x="4207784" y="1610057"/>
                </a:lnTo>
                <a:cubicBezTo>
                  <a:pt x="4205649" y="1610199"/>
                  <a:pt x="4203515" y="1609488"/>
                  <a:pt x="4201594" y="1608207"/>
                </a:cubicBezTo>
                <a:cubicBezTo>
                  <a:pt x="4200741" y="1605646"/>
                  <a:pt x="4201168" y="1603370"/>
                  <a:pt x="4202448" y="1601805"/>
                </a:cubicBezTo>
                <a:lnTo>
                  <a:pt x="4204369" y="1600668"/>
                </a:lnTo>
                <a:lnTo>
                  <a:pt x="4201381" y="1599671"/>
                </a:lnTo>
                <a:cubicBezTo>
                  <a:pt x="4194125" y="1599813"/>
                  <a:pt x="4183454" y="1604082"/>
                  <a:pt x="4177051" y="1599671"/>
                </a:cubicBezTo>
                <a:cubicBezTo>
                  <a:pt x="4183667" y="1592131"/>
                  <a:pt x="4192417" y="1597964"/>
                  <a:pt x="4201808" y="1593269"/>
                </a:cubicBezTo>
                <a:cubicBezTo>
                  <a:pt x="4193911" y="1579327"/>
                  <a:pt x="4196472" y="1547316"/>
                  <a:pt x="4199673" y="1544756"/>
                </a:cubicBezTo>
                <a:cubicBezTo>
                  <a:pt x="4213546" y="1569795"/>
                  <a:pt x="4224430" y="1591562"/>
                  <a:pt x="4234888" y="1606927"/>
                </a:cubicBezTo>
                <a:lnTo>
                  <a:pt x="4237449" y="1610057"/>
                </a:lnTo>
                <a:lnTo>
                  <a:pt x="4237022" y="1607923"/>
                </a:lnTo>
                <a:cubicBezTo>
                  <a:pt x="4237022" y="1607212"/>
                  <a:pt x="4236809" y="1606642"/>
                  <a:pt x="4236809" y="1606358"/>
                </a:cubicBezTo>
                <a:cubicBezTo>
                  <a:pt x="4236809" y="1606358"/>
                  <a:pt x="4236382" y="1605220"/>
                  <a:pt x="4236169" y="1604082"/>
                </a:cubicBezTo>
                <a:cubicBezTo>
                  <a:pt x="4236809" y="1602659"/>
                  <a:pt x="4237876" y="1602090"/>
                  <a:pt x="4237662" y="1601094"/>
                </a:cubicBezTo>
                <a:cubicBezTo>
                  <a:pt x="4239797" y="1602090"/>
                  <a:pt x="4240864" y="1603513"/>
                  <a:pt x="4241290" y="1605078"/>
                </a:cubicBezTo>
                <a:cubicBezTo>
                  <a:pt x="4241717" y="1606785"/>
                  <a:pt x="4241717" y="1608634"/>
                  <a:pt x="4241717" y="1610484"/>
                </a:cubicBezTo>
                <a:cubicBezTo>
                  <a:pt x="4241290" y="1613187"/>
                  <a:pt x="4241717" y="1614325"/>
                  <a:pt x="4243425" y="1616032"/>
                </a:cubicBezTo>
                <a:cubicBezTo>
                  <a:pt x="4243425" y="1616032"/>
                  <a:pt x="4243425" y="1616174"/>
                  <a:pt x="4243212" y="1616459"/>
                </a:cubicBezTo>
                <a:lnTo>
                  <a:pt x="4242998" y="1617028"/>
                </a:lnTo>
                <a:lnTo>
                  <a:pt x="4245345" y="1620158"/>
                </a:lnTo>
                <a:cubicBezTo>
                  <a:pt x="4254096" y="1625991"/>
                  <a:pt x="4254309" y="1623288"/>
                  <a:pt x="4263699" y="1618593"/>
                </a:cubicBezTo>
                <a:cubicBezTo>
                  <a:pt x="4263699" y="1618593"/>
                  <a:pt x="4263699" y="1618593"/>
                  <a:pt x="4272877" y="1618024"/>
                </a:cubicBezTo>
                <a:lnTo>
                  <a:pt x="4284615" y="1617313"/>
                </a:lnTo>
                <a:lnTo>
                  <a:pt x="4285255" y="1616886"/>
                </a:lnTo>
                <a:cubicBezTo>
                  <a:pt x="4287176" y="1616032"/>
                  <a:pt x="4288883" y="1615890"/>
                  <a:pt x="4290591" y="1616174"/>
                </a:cubicBezTo>
                <a:cubicBezTo>
                  <a:pt x="4292298" y="1616317"/>
                  <a:pt x="4294005" y="1616886"/>
                  <a:pt x="4295499" y="1617740"/>
                </a:cubicBezTo>
                <a:lnTo>
                  <a:pt x="4296566" y="1618593"/>
                </a:lnTo>
                <a:lnTo>
                  <a:pt x="4301262" y="1619304"/>
                </a:lnTo>
                <a:cubicBezTo>
                  <a:pt x="4306170" y="1619304"/>
                  <a:pt x="4310865" y="1618878"/>
                  <a:pt x="4315347" y="1619162"/>
                </a:cubicBezTo>
                <a:cubicBezTo>
                  <a:pt x="4315347" y="1619162"/>
                  <a:pt x="4315347" y="1619162"/>
                  <a:pt x="4317481" y="1617171"/>
                </a:cubicBezTo>
                <a:lnTo>
                  <a:pt x="4321109" y="1613899"/>
                </a:lnTo>
                <a:lnTo>
                  <a:pt x="4319829" y="1612191"/>
                </a:lnTo>
                <a:cubicBezTo>
                  <a:pt x="4319189" y="1611195"/>
                  <a:pt x="4318975" y="1610057"/>
                  <a:pt x="4318121" y="1609061"/>
                </a:cubicBezTo>
                <a:cubicBezTo>
                  <a:pt x="4318762" y="1607496"/>
                  <a:pt x="4320683" y="1605505"/>
                  <a:pt x="4323457" y="1606927"/>
                </a:cubicBezTo>
                <a:lnTo>
                  <a:pt x="4326232" y="1609061"/>
                </a:lnTo>
                <a:lnTo>
                  <a:pt x="4331780" y="1604082"/>
                </a:lnTo>
                <a:cubicBezTo>
                  <a:pt x="4336049" y="1599671"/>
                  <a:pt x="4338823" y="1594407"/>
                  <a:pt x="4340744" y="1589143"/>
                </a:cubicBezTo>
                <a:lnTo>
                  <a:pt x="4344372" y="1573636"/>
                </a:lnTo>
                <a:lnTo>
                  <a:pt x="4342025" y="1573779"/>
                </a:lnTo>
                <a:cubicBezTo>
                  <a:pt x="4340317" y="1573209"/>
                  <a:pt x="4338823" y="1571644"/>
                  <a:pt x="4337329" y="1568372"/>
                </a:cubicBezTo>
                <a:lnTo>
                  <a:pt x="4336476" y="1565527"/>
                </a:lnTo>
                <a:lnTo>
                  <a:pt x="4334341" y="1572640"/>
                </a:lnTo>
                <a:lnTo>
                  <a:pt x="4328792" y="1581176"/>
                </a:lnTo>
                <a:lnTo>
                  <a:pt x="4328792" y="1582315"/>
                </a:lnTo>
                <a:cubicBezTo>
                  <a:pt x="4328366" y="1584022"/>
                  <a:pt x="4326232" y="1588005"/>
                  <a:pt x="4325592" y="1587010"/>
                </a:cubicBezTo>
                <a:cubicBezTo>
                  <a:pt x="4324097" y="1586583"/>
                  <a:pt x="4324737" y="1587578"/>
                  <a:pt x="4323670" y="1588290"/>
                </a:cubicBezTo>
                <a:cubicBezTo>
                  <a:pt x="4318975" y="1587152"/>
                  <a:pt x="4316414" y="1584875"/>
                  <a:pt x="4316841" y="1580465"/>
                </a:cubicBezTo>
                <a:lnTo>
                  <a:pt x="4317695" y="1578331"/>
                </a:lnTo>
                <a:lnTo>
                  <a:pt x="4315774" y="1577051"/>
                </a:lnTo>
                <a:lnTo>
                  <a:pt x="4315561" y="1580038"/>
                </a:lnTo>
                <a:lnTo>
                  <a:pt x="4310865" y="1578758"/>
                </a:lnTo>
                <a:cubicBezTo>
                  <a:pt x="4311078" y="1578046"/>
                  <a:pt x="4311506" y="1577051"/>
                  <a:pt x="4312146" y="1576339"/>
                </a:cubicBezTo>
                <a:lnTo>
                  <a:pt x="4314280" y="1575343"/>
                </a:lnTo>
                <a:lnTo>
                  <a:pt x="4309158" y="1567234"/>
                </a:lnTo>
                <a:lnTo>
                  <a:pt x="4308091" y="1570222"/>
                </a:lnTo>
                <a:lnTo>
                  <a:pt x="4306170" y="1570791"/>
                </a:lnTo>
                <a:lnTo>
                  <a:pt x="4308091" y="1574347"/>
                </a:lnTo>
                <a:cubicBezTo>
                  <a:pt x="4311078" y="1581034"/>
                  <a:pt x="4313853" y="1588432"/>
                  <a:pt x="4318762" y="1595830"/>
                </a:cubicBezTo>
                <a:lnTo>
                  <a:pt x="4315774" y="1595688"/>
                </a:lnTo>
                <a:lnTo>
                  <a:pt x="4315987" y="1597110"/>
                </a:lnTo>
                <a:cubicBezTo>
                  <a:pt x="4313213" y="1600809"/>
                  <a:pt x="4309158" y="1602090"/>
                  <a:pt x="4305530" y="1601094"/>
                </a:cubicBezTo>
                <a:lnTo>
                  <a:pt x="4301688" y="1597964"/>
                </a:lnTo>
                <a:lnTo>
                  <a:pt x="4294859" y="1601521"/>
                </a:lnTo>
                <a:cubicBezTo>
                  <a:pt x="4292511" y="1602801"/>
                  <a:pt x="4290164" y="1603940"/>
                  <a:pt x="4287816" y="1604508"/>
                </a:cubicBezTo>
                <a:cubicBezTo>
                  <a:pt x="4284401" y="1605362"/>
                  <a:pt x="4280986" y="1605220"/>
                  <a:pt x="4277145" y="1603370"/>
                </a:cubicBezTo>
                <a:cubicBezTo>
                  <a:pt x="4249400" y="1592131"/>
                  <a:pt x="4259431" y="1548455"/>
                  <a:pt x="4284828" y="1552722"/>
                </a:cubicBezTo>
                <a:cubicBezTo>
                  <a:pt x="4288456" y="1553434"/>
                  <a:pt x="4292511" y="1554999"/>
                  <a:pt x="4296566" y="1557702"/>
                </a:cubicBezTo>
                <a:cubicBezTo>
                  <a:pt x="4299341" y="1559836"/>
                  <a:pt x="4301475" y="1562397"/>
                  <a:pt x="4303395" y="1565100"/>
                </a:cubicBezTo>
                <a:lnTo>
                  <a:pt x="4303395" y="1565385"/>
                </a:lnTo>
                <a:lnTo>
                  <a:pt x="4304890" y="1564104"/>
                </a:lnTo>
                <a:cubicBezTo>
                  <a:pt x="4305957" y="1563393"/>
                  <a:pt x="4307237" y="1562966"/>
                  <a:pt x="4307878" y="1563108"/>
                </a:cubicBezTo>
                <a:lnTo>
                  <a:pt x="4308091" y="1563393"/>
                </a:lnTo>
                <a:lnTo>
                  <a:pt x="4306383" y="1554857"/>
                </a:lnTo>
                <a:cubicBezTo>
                  <a:pt x="4306170" y="1550731"/>
                  <a:pt x="4306597" y="1546605"/>
                  <a:pt x="4307878" y="1542764"/>
                </a:cubicBezTo>
                <a:lnTo>
                  <a:pt x="4310652" y="1538496"/>
                </a:lnTo>
                <a:lnTo>
                  <a:pt x="4309585" y="1536077"/>
                </a:lnTo>
                <a:cubicBezTo>
                  <a:pt x="4310225" y="1534797"/>
                  <a:pt x="4311078" y="1534085"/>
                  <a:pt x="4312146" y="1533517"/>
                </a:cubicBezTo>
                <a:lnTo>
                  <a:pt x="4314493" y="1532805"/>
                </a:lnTo>
                <a:lnTo>
                  <a:pt x="4316841" y="1529391"/>
                </a:lnTo>
                <a:cubicBezTo>
                  <a:pt x="4325592" y="1531240"/>
                  <a:pt x="4331780" y="1536646"/>
                  <a:pt x="4334982" y="1543475"/>
                </a:cubicBezTo>
                <a:cubicBezTo>
                  <a:pt x="4336476" y="1546320"/>
                  <a:pt x="4337329" y="1549450"/>
                  <a:pt x="4337756" y="1552722"/>
                </a:cubicBezTo>
                <a:lnTo>
                  <a:pt x="4343519" y="1551015"/>
                </a:lnTo>
                <a:lnTo>
                  <a:pt x="4345653" y="1551300"/>
                </a:lnTo>
                <a:lnTo>
                  <a:pt x="4346720" y="1544898"/>
                </a:lnTo>
                <a:cubicBezTo>
                  <a:pt x="4347574" y="1539919"/>
                  <a:pt x="4348000" y="1535366"/>
                  <a:pt x="4346293" y="1535224"/>
                </a:cubicBezTo>
                <a:cubicBezTo>
                  <a:pt x="4352696" y="1532947"/>
                  <a:pt x="4356110" y="1527825"/>
                  <a:pt x="4362300" y="1525407"/>
                </a:cubicBezTo>
                <a:cubicBezTo>
                  <a:pt x="4376385" y="1539776"/>
                  <a:pt x="4334555" y="1606927"/>
                  <a:pt x="4354830" y="1621581"/>
                </a:cubicBezTo>
                <a:cubicBezTo>
                  <a:pt x="4360379" y="1627272"/>
                  <a:pt x="4394526" y="1618736"/>
                  <a:pt x="4397301" y="1621581"/>
                </a:cubicBezTo>
                <a:cubicBezTo>
                  <a:pt x="4403917" y="1613899"/>
                  <a:pt x="4407545" y="1608777"/>
                  <a:pt x="4410960" y="1603655"/>
                </a:cubicBezTo>
                <a:cubicBezTo>
                  <a:pt x="4413734" y="1606500"/>
                  <a:pt x="4418002" y="1590709"/>
                  <a:pt x="4426539" y="1599245"/>
                </a:cubicBezTo>
                <a:cubicBezTo>
                  <a:pt x="4435076" y="1605220"/>
                  <a:pt x="4429954" y="1631682"/>
                  <a:pt x="4432728" y="1634527"/>
                </a:cubicBezTo>
                <a:cubicBezTo>
                  <a:pt x="4444039" y="1644344"/>
                  <a:pt x="4457271" y="1640645"/>
                  <a:pt x="4468155" y="1637088"/>
                </a:cubicBezTo>
                <a:lnTo>
                  <a:pt x="4475412" y="1634812"/>
                </a:lnTo>
                <a:lnTo>
                  <a:pt x="4477546" y="1628267"/>
                </a:lnTo>
                <a:lnTo>
                  <a:pt x="4470503" y="1625707"/>
                </a:lnTo>
                <a:lnTo>
                  <a:pt x="4468155" y="1624710"/>
                </a:lnTo>
                <a:lnTo>
                  <a:pt x="4468369" y="1625991"/>
                </a:lnTo>
                <a:lnTo>
                  <a:pt x="4467729" y="1624568"/>
                </a:lnTo>
                <a:lnTo>
                  <a:pt x="4461327" y="1621865"/>
                </a:lnTo>
                <a:cubicBezTo>
                  <a:pt x="4455351" y="1619020"/>
                  <a:pt x="4450656" y="1615321"/>
                  <a:pt x="4452789" y="1610484"/>
                </a:cubicBezTo>
                <a:cubicBezTo>
                  <a:pt x="4454497" y="1611053"/>
                  <a:pt x="4456844" y="1611480"/>
                  <a:pt x="4459406" y="1612191"/>
                </a:cubicBezTo>
                <a:lnTo>
                  <a:pt x="4464955" y="1613756"/>
                </a:lnTo>
                <a:lnTo>
                  <a:pt x="4465168" y="1612618"/>
                </a:lnTo>
                <a:lnTo>
                  <a:pt x="4465595" y="1613899"/>
                </a:lnTo>
                <a:lnTo>
                  <a:pt x="4467729" y="1614467"/>
                </a:lnTo>
                <a:cubicBezTo>
                  <a:pt x="4473064" y="1616317"/>
                  <a:pt x="4477760" y="1619162"/>
                  <a:pt x="4478400" y="1623857"/>
                </a:cubicBezTo>
                <a:lnTo>
                  <a:pt x="4477973" y="1626987"/>
                </a:lnTo>
                <a:lnTo>
                  <a:pt x="4478613" y="1625137"/>
                </a:lnTo>
                <a:cubicBezTo>
                  <a:pt x="4480961" y="1621012"/>
                  <a:pt x="4483735" y="1618166"/>
                  <a:pt x="4486723" y="1616032"/>
                </a:cubicBezTo>
                <a:lnTo>
                  <a:pt x="4491419" y="1613899"/>
                </a:lnTo>
                <a:lnTo>
                  <a:pt x="4494406" y="1608350"/>
                </a:lnTo>
                <a:lnTo>
                  <a:pt x="4490138" y="1608207"/>
                </a:lnTo>
                <a:cubicBezTo>
                  <a:pt x="4490352" y="1605505"/>
                  <a:pt x="4489497" y="1603370"/>
                  <a:pt x="4489711" y="1600668"/>
                </a:cubicBezTo>
                <a:cubicBezTo>
                  <a:pt x="4492912" y="1599102"/>
                  <a:pt x="4494406" y="1595404"/>
                  <a:pt x="4497608" y="1595119"/>
                </a:cubicBezTo>
                <a:cubicBezTo>
                  <a:pt x="4498888" y="1594976"/>
                  <a:pt x="4499955" y="1595261"/>
                  <a:pt x="4501663" y="1596114"/>
                </a:cubicBezTo>
                <a:lnTo>
                  <a:pt x="4501663" y="1596684"/>
                </a:lnTo>
                <a:lnTo>
                  <a:pt x="4508492" y="1587436"/>
                </a:lnTo>
                <a:lnTo>
                  <a:pt x="4519377" y="1577335"/>
                </a:lnTo>
                <a:lnTo>
                  <a:pt x="4513614" y="1575343"/>
                </a:lnTo>
                <a:cubicBezTo>
                  <a:pt x="4507639" y="1573494"/>
                  <a:pt x="4502516" y="1571360"/>
                  <a:pt x="4500809" y="1565811"/>
                </a:cubicBezTo>
                <a:cubicBezTo>
                  <a:pt x="4505931" y="1566665"/>
                  <a:pt x="4512761" y="1565669"/>
                  <a:pt x="4518950" y="1565811"/>
                </a:cubicBezTo>
                <a:cubicBezTo>
                  <a:pt x="4525139" y="1565811"/>
                  <a:pt x="4530261" y="1566665"/>
                  <a:pt x="4532181" y="1570648"/>
                </a:cubicBezTo>
                <a:cubicBezTo>
                  <a:pt x="4533462" y="1573352"/>
                  <a:pt x="4533036" y="1577335"/>
                  <a:pt x="4530474" y="1583595"/>
                </a:cubicBezTo>
                <a:lnTo>
                  <a:pt x="4523858" y="1579327"/>
                </a:lnTo>
                <a:lnTo>
                  <a:pt x="4526419" y="1590139"/>
                </a:lnTo>
                <a:lnTo>
                  <a:pt x="4524498" y="1597395"/>
                </a:lnTo>
                <a:lnTo>
                  <a:pt x="4526633" y="1596684"/>
                </a:lnTo>
                <a:cubicBezTo>
                  <a:pt x="4527486" y="1596826"/>
                  <a:pt x="4528340" y="1597110"/>
                  <a:pt x="4528767" y="1597679"/>
                </a:cubicBezTo>
                <a:cubicBezTo>
                  <a:pt x="4529407" y="1598249"/>
                  <a:pt x="4529621" y="1599102"/>
                  <a:pt x="4529407" y="1600809"/>
                </a:cubicBezTo>
                <a:cubicBezTo>
                  <a:pt x="4529834" y="1603513"/>
                  <a:pt x="4528767" y="1604082"/>
                  <a:pt x="4524712" y="1603940"/>
                </a:cubicBezTo>
                <a:lnTo>
                  <a:pt x="4523005" y="1603655"/>
                </a:lnTo>
                <a:lnTo>
                  <a:pt x="4522151" y="1606927"/>
                </a:lnTo>
                <a:lnTo>
                  <a:pt x="4526419" y="1611053"/>
                </a:lnTo>
                <a:cubicBezTo>
                  <a:pt x="4533036" y="1615321"/>
                  <a:pt x="4539011" y="1613756"/>
                  <a:pt x="4545200" y="1615036"/>
                </a:cubicBezTo>
                <a:cubicBezTo>
                  <a:pt x="4547975" y="1625849"/>
                  <a:pt x="4558646" y="1635950"/>
                  <a:pt x="4565049" y="1646905"/>
                </a:cubicBezTo>
                <a:cubicBezTo>
                  <a:pt x="4560993" y="1660989"/>
                  <a:pt x="4561634" y="1674078"/>
                  <a:pt x="4557578" y="1688305"/>
                </a:cubicBezTo>
                <a:cubicBezTo>
                  <a:pt x="4553950" y="1689016"/>
                  <a:pt x="4550322" y="1690866"/>
                  <a:pt x="4546907" y="1693142"/>
                </a:cubicBezTo>
                <a:lnTo>
                  <a:pt x="4542426" y="1696414"/>
                </a:lnTo>
                <a:lnTo>
                  <a:pt x="4539865" y="1711637"/>
                </a:lnTo>
                <a:lnTo>
                  <a:pt x="4544987" y="1716190"/>
                </a:lnTo>
                <a:lnTo>
                  <a:pt x="4546907" y="1713913"/>
                </a:lnTo>
                <a:cubicBezTo>
                  <a:pt x="4547761" y="1713344"/>
                  <a:pt x="4548828" y="1712917"/>
                  <a:pt x="4549682" y="1712917"/>
                </a:cubicBezTo>
                <a:cubicBezTo>
                  <a:pt x="4555018" y="1715763"/>
                  <a:pt x="4552670" y="1720173"/>
                  <a:pt x="4549682" y="1722165"/>
                </a:cubicBezTo>
                <a:lnTo>
                  <a:pt x="4548188" y="1722592"/>
                </a:lnTo>
                <a:lnTo>
                  <a:pt x="4554591" y="1726433"/>
                </a:lnTo>
                <a:cubicBezTo>
                  <a:pt x="4559499" y="1728851"/>
                  <a:pt x="4564835" y="1730132"/>
                  <a:pt x="4570170" y="1727856"/>
                </a:cubicBezTo>
                <a:lnTo>
                  <a:pt x="4573799" y="1724868"/>
                </a:lnTo>
                <a:lnTo>
                  <a:pt x="4571877" y="1722592"/>
                </a:lnTo>
                <a:cubicBezTo>
                  <a:pt x="4569957" y="1718466"/>
                  <a:pt x="4569744" y="1711210"/>
                  <a:pt x="4570170" y="1707654"/>
                </a:cubicBezTo>
                <a:cubicBezTo>
                  <a:pt x="4571237" y="1708080"/>
                  <a:pt x="4571877" y="1709076"/>
                  <a:pt x="4572518" y="1710499"/>
                </a:cubicBezTo>
                <a:cubicBezTo>
                  <a:pt x="4573372" y="1712491"/>
                  <a:pt x="4574012" y="1715336"/>
                  <a:pt x="4574225" y="1718181"/>
                </a:cubicBezTo>
                <a:lnTo>
                  <a:pt x="4574225" y="1722022"/>
                </a:lnTo>
                <a:lnTo>
                  <a:pt x="4574225" y="1724583"/>
                </a:lnTo>
                <a:lnTo>
                  <a:pt x="4575292" y="1723587"/>
                </a:lnTo>
                <a:lnTo>
                  <a:pt x="4574225" y="1722022"/>
                </a:lnTo>
                <a:lnTo>
                  <a:pt x="4577000" y="1722307"/>
                </a:lnTo>
                <a:lnTo>
                  <a:pt x="4578067" y="1721453"/>
                </a:lnTo>
                <a:cubicBezTo>
                  <a:pt x="4581055" y="1721595"/>
                  <a:pt x="4581482" y="1716190"/>
                  <a:pt x="4581482" y="1716190"/>
                </a:cubicBezTo>
                <a:cubicBezTo>
                  <a:pt x="4587244" y="1719320"/>
                  <a:pt x="4590872" y="1711495"/>
                  <a:pt x="4594074" y="1709076"/>
                </a:cubicBezTo>
                <a:cubicBezTo>
                  <a:pt x="4594074" y="1709076"/>
                  <a:pt x="4594287" y="1709076"/>
                  <a:pt x="4602824" y="1714909"/>
                </a:cubicBezTo>
                <a:cubicBezTo>
                  <a:pt x="4596207" y="1722592"/>
                  <a:pt x="4605385" y="1720458"/>
                  <a:pt x="4598769" y="1728140"/>
                </a:cubicBezTo>
                <a:cubicBezTo>
                  <a:pt x="4598769" y="1728140"/>
                  <a:pt x="4598769" y="1728140"/>
                  <a:pt x="4597488" y="1728994"/>
                </a:cubicBezTo>
                <a:lnTo>
                  <a:pt x="4595567" y="1730416"/>
                </a:lnTo>
                <a:lnTo>
                  <a:pt x="4597702" y="1732693"/>
                </a:lnTo>
                <a:lnTo>
                  <a:pt x="4591939" y="1733262"/>
                </a:lnTo>
                <a:lnTo>
                  <a:pt x="4589165" y="1735538"/>
                </a:lnTo>
                <a:cubicBezTo>
                  <a:pt x="4585963" y="1735396"/>
                  <a:pt x="4585963" y="1735396"/>
                  <a:pt x="4582762" y="1737815"/>
                </a:cubicBezTo>
                <a:lnTo>
                  <a:pt x="4582548" y="1738099"/>
                </a:lnTo>
                <a:lnTo>
                  <a:pt x="4585536" y="1743505"/>
                </a:lnTo>
                <a:lnTo>
                  <a:pt x="4585536" y="1745924"/>
                </a:lnTo>
                <a:lnTo>
                  <a:pt x="4585750" y="1745924"/>
                </a:lnTo>
                <a:lnTo>
                  <a:pt x="4585323" y="1746351"/>
                </a:lnTo>
                <a:lnTo>
                  <a:pt x="4585323" y="1747346"/>
                </a:lnTo>
                <a:lnTo>
                  <a:pt x="4586391" y="1746919"/>
                </a:lnTo>
                <a:cubicBezTo>
                  <a:pt x="4589165" y="1746493"/>
                  <a:pt x="4592153" y="1746635"/>
                  <a:pt x="4593860" y="1747773"/>
                </a:cubicBezTo>
                <a:cubicBezTo>
                  <a:pt x="4592793" y="1750050"/>
                  <a:pt x="4591726" y="1752326"/>
                  <a:pt x="4590659" y="1754602"/>
                </a:cubicBezTo>
                <a:lnTo>
                  <a:pt x="4589805" y="1754318"/>
                </a:lnTo>
                <a:lnTo>
                  <a:pt x="4589591" y="1754602"/>
                </a:lnTo>
                <a:cubicBezTo>
                  <a:pt x="4588951" y="1755313"/>
                  <a:pt x="4588524" y="1756309"/>
                  <a:pt x="4588738" y="1757590"/>
                </a:cubicBezTo>
                <a:cubicBezTo>
                  <a:pt x="4587244" y="1757163"/>
                  <a:pt x="4585536" y="1756736"/>
                  <a:pt x="4584470" y="1756025"/>
                </a:cubicBezTo>
                <a:lnTo>
                  <a:pt x="4583829" y="1754745"/>
                </a:lnTo>
                <a:lnTo>
                  <a:pt x="4583403" y="1754887"/>
                </a:lnTo>
                <a:lnTo>
                  <a:pt x="4582335" y="1756878"/>
                </a:lnTo>
                <a:lnTo>
                  <a:pt x="4582976" y="1759155"/>
                </a:lnTo>
                <a:lnTo>
                  <a:pt x="4580841" y="1759582"/>
                </a:lnTo>
                <a:lnTo>
                  <a:pt x="4583829" y="1762000"/>
                </a:lnTo>
                <a:lnTo>
                  <a:pt x="4589378" y="1764561"/>
                </a:lnTo>
                <a:lnTo>
                  <a:pt x="4590445" y="1763565"/>
                </a:lnTo>
                <a:cubicBezTo>
                  <a:pt x="4593219" y="1762427"/>
                  <a:pt x="4595994" y="1761858"/>
                  <a:pt x="4597702" y="1762569"/>
                </a:cubicBezTo>
                <a:lnTo>
                  <a:pt x="4598769" y="1767406"/>
                </a:lnTo>
                <a:lnTo>
                  <a:pt x="4600903" y="1767833"/>
                </a:lnTo>
                <a:cubicBezTo>
                  <a:pt x="4606878" y="1768829"/>
                  <a:pt x="4612214" y="1769256"/>
                  <a:pt x="4613708" y="1769256"/>
                </a:cubicBezTo>
                <a:cubicBezTo>
                  <a:pt x="4613068" y="1777365"/>
                  <a:pt x="4603677" y="1789316"/>
                  <a:pt x="4604745" y="1800840"/>
                </a:cubicBezTo>
                <a:lnTo>
                  <a:pt x="4607946" y="1806815"/>
                </a:lnTo>
                <a:lnTo>
                  <a:pt x="4609013" y="1805392"/>
                </a:lnTo>
                <a:cubicBezTo>
                  <a:pt x="4609013" y="1804254"/>
                  <a:pt x="4610080" y="1803116"/>
                  <a:pt x="4611147" y="1803258"/>
                </a:cubicBezTo>
                <a:cubicBezTo>
                  <a:pt x="4611147" y="1803258"/>
                  <a:pt x="4612214" y="1801977"/>
                  <a:pt x="4612214" y="1800840"/>
                </a:cubicBezTo>
                <a:cubicBezTo>
                  <a:pt x="4614348" y="1798563"/>
                  <a:pt x="4615416" y="1798563"/>
                  <a:pt x="4616483" y="1798705"/>
                </a:cubicBezTo>
                <a:cubicBezTo>
                  <a:pt x="4616483" y="1798705"/>
                  <a:pt x="4615416" y="1799844"/>
                  <a:pt x="4615629" y="1800982"/>
                </a:cubicBezTo>
                <a:cubicBezTo>
                  <a:pt x="4615629" y="1800982"/>
                  <a:pt x="4614561" y="1802120"/>
                  <a:pt x="4613495" y="1803258"/>
                </a:cubicBezTo>
                <a:cubicBezTo>
                  <a:pt x="4613495" y="1803258"/>
                  <a:pt x="4613495" y="1804396"/>
                  <a:pt x="4613495" y="1805534"/>
                </a:cubicBezTo>
                <a:lnTo>
                  <a:pt x="4610720" y="1809518"/>
                </a:lnTo>
                <a:lnTo>
                  <a:pt x="4611574" y="1809660"/>
                </a:lnTo>
                <a:lnTo>
                  <a:pt x="4619470" y="1811225"/>
                </a:lnTo>
                <a:lnTo>
                  <a:pt x="4629928" y="1805819"/>
                </a:lnTo>
                <a:cubicBezTo>
                  <a:pt x="4637825" y="1801693"/>
                  <a:pt x="4646574" y="1798136"/>
                  <a:pt x="4653617" y="1803969"/>
                </a:cubicBezTo>
                <a:cubicBezTo>
                  <a:pt x="4659380" y="1807099"/>
                  <a:pt x="4658953" y="1812363"/>
                  <a:pt x="4652764" y="1814640"/>
                </a:cubicBezTo>
                <a:lnTo>
                  <a:pt x="4644227" y="1821753"/>
                </a:lnTo>
                <a:lnTo>
                  <a:pt x="4644654" y="1822180"/>
                </a:lnTo>
                <a:cubicBezTo>
                  <a:pt x="4645721" y="1824029"/>
                  <a:pt x="4646361" y="1826164"/>
                  <a:pt x="4646788" y="1828440"/>
                </a:cubicBezTo>
                <a:lnTo>
                  <a:pt x="4646574" y="1833703"/>
                </a:lnTo>
                <a:lnTo>
                  <a:pt x="4647855" y="1832138"/>
                </a:lnTo>
                <a:cubicBezTo>
                  <a:pt x="4648922" y="1830716"/>
                  <a:pt x="4649989" y="1829436"/>
                  <a:pt x="4650416" y="1830147"/>
                </a:cubicBezTo>
                <a:cubicBezTo>
                  <a:pt x="4650416" y="1830147"/>
                  <a:pt x="4649349" y="1831285"/>
                  <a:pt x="4648282" y="1832423"/>
                </a:cubicBezTo>
                <a:cubicBezTo>
                  <a:pt x="4647215" y="1833561"/>
                  <a:pt x="4647215" y="1833703"/>
                  <a:pt x="4648496" y="1834984"/>
                </a:cubicBezTo>
                <a:cubicBezTo>
                  <a:pt x="4647855" y="1835553"/>
                  <a:pt x="4647642" y="1835838"/>
                  <a:pt x="4647215" y="1835838"/>
                </a:cubicBezTo>
                <a:lnTo>
                  <a:pt x="4646361" y="1835980"/>
                </a:lnTo>
                <a:lnTo>
                  <a:pt x="4643587" y="1842524"/>
                </a:lnTo>
                <a:lnTo>
                  <a:pt x="4638891" y="1848215"/>
                </a:lnTo>
                <a:lnTo>
                  <a:pt x="4638891" y="1848357"/>
                </a:lnTo>
                <a:lnTo>
                  <a:pt x="4636971" y="1850633"/>
                </a:lnTo>
                <a:cubicBezTo>
                  <a:pt x="4633770" y="1853763"/>
                  <a:pt x="4630782" y="1855613"/>
                  <a:pt x="4628647" y="1856608"/>
                </a:cubicBezTo>
                <a:lnTo>
                  <a:pt x="4625019" y="1857889"/>
                </a:lnTo>
                <a:lnTo>
                  <a:pt x="4626513" y="1862584"/>
                </a:lnTo>
                <a:lnTo>
                  <a:pt x="4632275" y="1868559"/>
                </a:lnTo>
                <a:lnTo>
                  <a:pt x="4634623" y="1867990"/>
                </a:lnTo>
                <a:lnTo>
                  <a:pt x="4635050" y="1867990"/>
                </a:lnTo>
                <a:lnTo>
                  <a:pt x="4635050" y="1866852"/>
                </a:lnTo>
                <a:cubicBezTo>
                  <a:pt x="4634837" y="1866567"/>
                  <a:pt x="4634623" y="1866425"/>
                  <a:pt x="4633770" y="1866283"/>
                </a:cubicBezTo>
                <a:cubicBezTo>
                  <a:pt x="4633770" y="1866283"/>
                  <a:pt x="4634623" y="1865572"/>
                  <a:pt x="4634623" y="1865572"/>
                </a:cubicBezTo>
                <a:cubicBezTo>
                  <a:pt x="4635263" y="1866567"/>
                  <a:pt x="4634623" y="1865714"/>
                  <a:pt x="4634837" y="1864007"/>
                </a:cubicBezTo>
                <a:cubicBezTo>
                  <a:pt x="4637398" y="1863722"/>
                  <a:pt x="4638465" y="1863154"/>
                  <a:pt x="4639958" y="1863580"/>
                </a:cubicBezTo>
                <a:lnTo>
                  <a:pt x="4640172" y="1863580"/>
                </a:lnTo>
                <a:lnTo>
                  <a:pt x="4644867" y="1854901"/>
                </a:lnTo>
                <a:lnTo>
                  <a:pt x="4647215" y="1853478"/>
                </a:lnTo>
                <a:lnTo>
                  <a:pt x="4648069" y="1851060"/>
                </a:lnTo>
                <a:cubicBezTo>
                  <a:pt x="4649136" y="1851344"/>
                  <a:pt x="4649349" y="1851203"/>
                  <a:pt x="4649136" y="1852483"/>
                </a:cubicBezTo>
                <a:cubicBezTo>
                  <a:pt x="4649349" y="1852341"/>
                  <a:pt x="4649349" y="1852341"/>
                  <a:pt x="4649349" y="1852198"/>
                </a:cubicBezTo>
                <a:lnTo>
                  <a:pt x="4649562" y="1852767"/>
                </a:lnTo>
                <a:lnTo>
                  <a:pt x="4650416" y="1852483"/>
                </a:lnTo>
                <a:cubicBezTo>
                  <a:pt x="4651270" y="1852483"/>
                  <a:pt x="4652124" y="1852767"/>
                  <a:pt x="4652977" y="1853478"/>
                </a:cubicBezTo>
                <a:cubicBezTo>
                  <a:pt x="4654258" y="1853621"/>
                  <a:pt x="4654044" y="1858315"/>
                  <a:pt x="4652764" y="1859312"/>
                </a:cubicBezTo>
                <a:cubicBezTo>
                  <a:pt x="4650416" y="1861446"/>
                  <a:pt x="4649349" y="1862442"/>
                  <a:pt x="4647001" y="1862157"/>
                </a:cubicBezTo>
                <a:cubicBezTo>
                  <a:pt x="4645721" y="1863295"/>
                  <a:pt x="4644654" y="1864291"/>
                  <a:pt x="4643587" y="1864718"/>
                </a:cubicBezTo>
                <a:lnTo>
                  <a:pt x="4640812" y="1863864"/>
                </a:lnTo>
                <a:lnTo>
                  <a:pt x="4642520" y="1864861"/>
                </a:lnTo>
                <a:cubicBezTo>
                  <a:pt x="4643160" y="1865429"/>
                  <a:pt x="4643800" y="1866141"/>
                  <a:pt x="4643587" y="1866994"/>
                </a:cubicBezTo>
                <a:cubicBezTo>
                  <a:pt x="4642733" y="1867706"/>
                  <a:pt x="4643373" y="1868702"/>
                  <a:pt x="4642520" y="1869271"/>
                </a:cubicBezTo>
                <a:cubicBezTo>
                  <a:pt x="4641879" y="1870266"/>
                  <a:pt x="4641453" y="1870693"/>
                  <a:pt x="4641026" y="1871120"/>
                </a:cubicBezTo>
                <a:cubicBezTo>
                  <a:pt x="4642946" y="1869413"/>
                  <a:pt x="4645294" y="1868132"/>
                  <a:pt x="4647855" y="1867990"/>
                </a:cubicBezTo>
                <a:lnTo>
                  <a:pt x="4644867" y="1877665"/>
                </a:lnTo>
                <a:lnTo>
                  <a:pt x="4648282" y="1879656"/>
                </a:lnTo>
                <a:lnTo>
                  <a:pt x="4648922" y="1878092"/>
                </a:lnTo>
                <a:cubicBezTo>
                  <a:pt x="4648922" y="1878092"/>
                  <a:pt x="4648922" y="1877949"/>
                  <a:pt x="4650203" y="1879230"/>
                </a:cubicBezTo>
                <a:lnTo>
                  <a:pt x="4649989" y="1880226"/>
                </a:lnTo>
                <a:lnTo>
                  <a:pt x="4659593" y="1882502"/>
                </a:lnTo>
                <a:cubicBezTo>
                  <a:pt x="4663008" y="1882928"/>
                  <a:pt x="4666423" y="1883070"/>
                  <a:pt x="4670264" y="1883497"/>
                </a:cubicBezTo>
                <a:lnTo>
                  <a:pt x="4674319" y="1884351"/>
                </a:lnTo>
                <a:lnTo>
                  <a:pt x="4672825" y="1879798"/>
                </a:lnTo>
                <a:lnTo>
                  <a:pt x="4672399" y="1878660"/>
                </a:lnTo>
                <a:lnTo>
                  <a:pt x="4669624" y="1878518"/>
                </a:lnTo>
                <a:cubicBezTo>
                  <a:pt x="4669624" y="1878518"/>
                  <a:pt x="4663648" y="1876384"/>
                  <a:pt x="4664502" y="1872116"/>
                </a:cubicBezTo>
                <a:cubicBezTo>
                  <a:pt x="4664288" y="1871690"/>
                  <a:pt x="4665142" y="1870836"/>
                  <a:pt x="4666423" y="1870266"/>
                </a:cubicBezTo>
                <a:lnTo>
                  <a:pt x="4669624" y="1869555"/>
                </a:lnTo>
                <a:lnTo>
                  <a:pt x="4668343" y="1864576"/>
                </a:lnTo>
                <a:lnTo>
                  <a:pt x="4665996" y="1862015"/>
                </a:lnTo>
                <a:lnTo>
                  <a:pt x="4665783" y="1861019"/>
                </a:lnTo>
                <a:lnTo>
                  <a:pt x="4664502" y="1860592"/>
                </a:lnTo>
                <a:cubicBezTo>
                  <a:pt x="4664502" y="1860592"/>
                  <a:pt x="4664502" y="1860592"/>
                  <a:pt x="4664502" y="1859596"/>
                </a:cubicBezTo>
                <a:lnTo>
                  <a:pt x="4665569" y="1860166"/>
                </a:lnTo>
                <a:lnTo>
                  <a:pt x="4665356" y="1858885"/>
                </a:lnTo>
                <a:lnTo>
                  <a:pt x="4664288" y="1859312"/>
                </a:lnTo>
                <a:cubicBezTo>
                  <a:pt x="4664288" y="1859312"/>
                  <a:pt x="4664075" y="1858315"/>
                  <a:pt x="4664715" y="1856751"/>
                </a:cubicBezTo>
                <a:cubicBezTo>
                  <a:pt x="4664715" y="1856751"/>
                  <a:pt x="4664929" y="1856893"/>
                  <a:pt x="4665142" y="1857178"/>
                </a:cubicBezTo>
                <a:lnTo>
                  <a:pt x="4665356" y="1858315"/>
                </a:lnTo>
                <a:lnTo>
                  <a:pt x="4667703" y="1854617"/>
                </a:lnTo>
                <a:cubicBezTo>
                  <a:pt x="4668984" y="1853621"/>
                  <a:pt x="4670904" y="1853194"/>
                  <a:pt x="4672825" y="1853336"/>
                </a:cubicBezTo>
                <a:cubicBezTo>
                  <a:pt x="4674959" y="1853478"/>
                  <a:pt x="4677521" y="1854474"/>
                  <a:pt x="4679655" y="1856608"/>
                </a:cubicBezTo>
                <a:cubicBezTo>
                  <a:pt x="4679655" y="1859312"/>
                  <a:pt x="4676454" y="1863864"/>
                  <a:pt x="4673466" y="1865998"/>
                </a:cubicBezTo>
                <a:lnTo>
                  <a:pt x="4673252" y="1865998"/>
                </a:lnTo>
                <a:lnTo>
                  <a:pt x="4673252" y="1866283"/>
                </a:lnTo>
                <a:cubicBezTo>
                  <a:pt x="4674533" y="1868132"/>
                  <a:pt x="4675600" y="1870836"/>
                  <a:pt x="4676454" y="1873112"/>
                </a:cubicBezTo>
                <a:lnTo>
                  <a:pt x="4676454" y="1874108"/>
                </a:lnTo>
                <a:lnTo>
                  <a:pt x="4679014" y="1875246"/>
                </a:lnTo>
                <a:cubicBezTo>
                  <a:pt x="4679868" y="1875957"/>
                  <a:pt x="4680295" y="1877095"/>
                  <a:pt x="4679655" y="1878660"/>
                </a:cubicBezTo>
                <a:lnTo>
                  <a:pt x="4677307" y="1878660"/>
                </a:lnTo>
                <a:lnTo>
                  <a:pt x="4677307" y="1878802"/>
                </a:lnTo>
                <a:cubicBezTo>
                  <a:pt x="4677307" y="1879230"/>
                  <a:pt x="4677094" y="1879798"/>
                  <a:pt x="4677521" y="1880226"/>
                </a:cubicBezTo>
                <a:cubicBezTo>
                  <a:pt x="4677521" y="1880226"/>
                  <a:pt x="4678161" y="1881221"/>
                  <a:pt x="4677947" y="1882928"/>
                </a:cubicBezTo>
                <a:lnTo>
                  <a:pt x="4677307" y="1884921"/>
                </a:lnTo>
                <a:lnTo>
                  <a:pt x="4683496" y="1886343"/>
                </a:lnTo>
                <a:cubicBezTo>
                  <a:pt x="4680295" y="1888761"/>
                  <a:pt x="4677094" y="1891323"/>
                  <a:pt x="4673892" y="1893741"/>
                </a:cubicBezTo>
                <a:cubicBezTo>
                  <a:pt x="4670691" y="1896302"/>
                  <a:pt x="4670691" y="1896302"/>
                  <a:pt x="4670478" y="1898862"/>
                </a:cubicBezTo>
                <a:cubicBezTo>
                  <a:pt x="4679014" y="1904838"/>
                  <a:pt x="4685630" y="1899859"/>
                  <a:pt x="4697369" y="1905976"/>
                </a:cubicBezTo>
                <a:lnTo>
                  <a:pt x="4681149" y="1909533"/>
                </a:lnTo>
                <a:lnTo>
                  <a:pt x="4687338" y="1914370"/>
                </a:lnTo>
                <a:cubicBezTo>
                  <a:pt x="4684137" y="1921057"/>
                  <a:pt x="4678587" y="1926605"/>
                  <a:pt x="4671758" y="1931015"/>
                </a:cubicBezTo>
                <a:lnTo>
                  <a:pt x="4659593" y="1935710"/>
                </a:lnTo>
                <a:lnTo>
                  <a:pt x="4657886" y="1941116"/>
                </a:lnTo>
                <a:lnTo>
                  <a:pt x="4653617" y="1942966"/>
                </a:lnTo>
                <a:lnTo>
                  <a:pt x="4653617" y="1943108"/>
                </a:lnTo>
                <a:lnTo>
                  <a:pt x="4653404" y="1942966"/>
                </a:lnTo>
                <a:lnTo>
                  <a:pt x="4652337" y="1943535"/>
                </a:lnTo>
                <a:cubicBezTo>
                  <a:pt x="4645934" y="1945100"/>
                  <a:pt x="4637825" y="1944531"/>
                  <a:pt x="4632916" y="1950221"/>
                </a:cubicBezTo>
                <a:cubicBezTo>
                  <a:pt x="4632916" y="1950221"/>
                  <a:pt x="4630995" y="1952071"/>
                  <a:pt x="4628434" y="1955058"/>
                </a:cubicBezTo>
                <a:lnTo>
                  <a:pt x="4623739" y="1961176"/>
                </a:lnTo>
                <a:lnTo>
                  <a:pt x="4624592" y="1963879"/>
                </a:lnTo>
                <a:lnTo>
                  <a:pt x="4623525" y="1965587"/>
                </a:lnTo>
                <a:lnTo>
                  <a:pt x="4630782" y="1964164"/>
                </a:lnTo>
                <a:cubicBezTo>
                  <a:pt x="4639532" y="1962599"/>
                  <a:pt x="4647855" y="1962029"/>
                  <a:pt x="4654258" y="1968005"/>
                </a:cubicBezTo>
                <a:cubicBezTo>
                  <a:pt x="4656605" y="1982943"/>
                  <a:pt x="4664715" y="1984366"/>
                  <a:pt x="4669624" y="1992190"/>
                </a:cubicBezTo>
                <a:lnTo>
                  <a:pt x="4668771" y="2002576"/>
                </a:lnTo>
                <a:lnTo>
                  <a:pt x="4671331" y="2003572"/>
                </a:lnTo>
                <a:cubicBezTo>
                  <a:pt x="4677094" y="2006560"/>
                  <a:pt x="4673679" y="2011824"/>
                  <a:pt x="4670478" y="2014385"/>
                </a:cubicBezTo>
                <a:cubicBezTo>
                  <a:pt x="4670478" y="2014385"/>
                  <a:pt x="4669838" y="2014243"/>
                  <a:pt x="4668557" y="2014100"/>
                </a:cubicBezTo>
                <a:lnTo>
                  <a:pt x="4667276" y="2013958"/>
                </a:lnTo>
                <a:lnTo>
                  <a:pt x="4666423" y="2017657"/>
                </a:lnTo>
                <a:lnTo>
                  <a:pt x="4669624" y="2022636"/>
                </a:lnTo>
                <a:lnTo>
                  <a:pt x="4664929" y="2023633"/>
                </a:lnTo>
                <a:lnTo>
                  <a:pt x="4664288" y="2026335"/>
                </a:lnTo>
                <a:lnTo>
                  <a:pt x="4660447" y="2033733"/>
                </a:lnTo>
                <a:lnTo>
                  <a:pt x="4661087" y="2034160"/>
                </a:lnTo>
                <a:cubicBezTo>
                  <a:pt x="4661728" y="2035156"/>
                  <a:pt x="4661728" y="2036437"/>
                  <a:pt x="4661087" y="2037717"/>
                </a:cubicBezTo>
                <a:lnTo>
                  <a:pt x="4656392" y="2041274"/>
                </a:lnTo>
                <a:lnTo>
                  <a:pt x="4655965" y="2042269"/>
                </a:lnTo>
                <a:cubicBezTo>
                  <a:pt x="4652337" y="2047106"/>
                  <a:pt x="4648282" y="2051232"/>
                  <a:pt x="4642946" y="2054362"/>
                </a:cubicBezTo>
                <a:cubicBezTo>
                  <a:pt x="4638678" y="2057065"/>
                  <a:pt x="4634837" y="2058488"/>
                  <a:pt x="4630995" y="2059199"/>
                </a:cubicBezTo>
                <a:lnTo>
                  <a:pt x="4626727" y="2059342"/>
                </a:lnTo>
                <a:lnTo>
                  <a:pt x="4623952" y="2060764"/>
                </a:lnTo>
                <a:cubicBezTo>
                  <a:pt x="4619684" y="2063041"/>
                  <a:pt x="4612214" y="2066455"/>
                  <a:pt x="4609226" y="2066455"/>
                </a:cubicBezTo>
                <a:cubicBezTo>
                  <a:pt x="4612001" y="2065317"/>
                  <a:pt x="4614989" y="2063325"/>
                  <a:pt x="4618190" y="2061760"/>
                </a:cubicBezTo>
                <a:lnTo>
                  <a:pt x="4626513" y="2059342"/>
                </a:lnTo>
                <a:lnTo>
                  <a:pt x="4619897" y="2059484"/>
                </a:lnTo>
                <a:cubicBezTo>
                  <a:pt x="4612428" y="2058631"/>
                  <a:pt x="4604958" y="2056496"/>
                  <a:pt x="4595994" y="2056781"/>
                </a:cubicBezTo>
                <a:cubicBezTo>
                  <a:pt x="4595354" y="2053082"/>
                  <a:pt x="4594500" y="2050237"/>
                  <a:pt x="4593219" y="2048103"/>
                </a:cubicBezTo>
                <a:lnTo>
                  <a:pt x="4591939" y="2046822"/>
                </a:lnTo>
                <a:lnTo>
                  <a:pt x="4588311" y="2047960"/>
                </a:lnTo>
                <a:cubicBezTo>
                  <a:pt x="4583189" y="2049667"/>
                  <a:pt x="4577853" y="2051375"/>
                  <a:pt x="4576360" y="2051232"/>
                </a:cubicBezTo>
                <a:cubicBezTo>
                  <a:pt x="4576360" y="2051232"/>
                  <a:pt x="4575292" y="2053936"/>
                  <a:pt x="4574225" y="2057492"/>
                </a:cubicBezTo>
                <a:lnTo>
                  <a:pt x="4574012" y="2061903"/>
                </a:lnTo>
                <a:lnTo>
                  <a:pt x="4575720" y="2065886"/>
                </a:lnTo>
                <a:lnTo>
                  <a:pt x="4573585" y="2069158"/>
                </a:lnTo>
                <a:lnTo>
                  <a:pt x="4573585" y="2069300"/>
                </a:lnTo>
                <a:lnTo>
                  <a:pt x="4575933" y="2073284"/>
                </a:lnTo>
                <a:lnTo>
                  <a:pt x="4589805" y="2073426"/>
                </a:lnTo>
                <a:cubicBezTo>
                  <a:pt x="4596207" y="2075134"/>
                  <a:pt x="4602824" y="2078975"/>
                  <a:pt x="4608799" y="2085662"/>
                </a:cubicBezTo>
                <a:cubicBezTo>
                  <a:pt x="4611787" y="2092348"/>
                  <a:pt x="4607305" y="2101026"/>
                  <a:pt x="4600262" y="2107713"/>
                </a:cubicBezTo>
                <a:lnTo>
                  <a:pt x="4588738" y="2115111"/>
                </a:lnTo>
                <a:lnTo>
                  <a:pt x="4588671" y="2115298"/>
                </a:lnTo>
                <a:lnTo>
                  <a:pt x="4588098" y="2115681"/>
                </a:lnTo>
                <a:cubicBezTo>
                  <a:pt x="4583616" y="2117529"/>
                  <a:pt x="4579348" y="2118383"/>
                  <a:pt x="4575506" y="2117672"/>
                </a:cubicBezTo>
                <a:cubicBezTo>
                  <a:pt x="4569530" y="2112408"/>
                  <a:pt x="4563554" y="2107002"/>
                  <a:pt x="4557365" y="2101596"/>
                </a:cubicBezTo>
                <a:lnTo>
                  <a:pt x="4559073" y="2092064"/>
                </a:lnTo>
                <a:lnTo>
                  <a:pt x="4557578" y="2091637"/>
                </a:lnTo>
                <a:cubicBezTo>
                  <a:pt x="4553523" y="2091637"/>
                  <a:pt x="4549469" y="2093202"/>
                  <a:pt x="4545200" y="2097612"/>
                </a:cubicBezTo>
                <a:lnTo>
                  <a:pt x="4543920" y="2098750"/>
                </a:lnTo>
                <a:lnTo>
                  <a:pt x="4544133" y="2099604"/>
                </a:lnTo>
                <a:cubicBezTo>
                  <a:pt x="4544347" y="2103018"/>
                  <a:pt x="4542426" y="2106575"/>
                  <a:pt x="4539651" y="2107998"/>
                </a:cubicBezTo>
                <a:lnTo>
                  <a:pt x="4538157" y="2107998"/>
                </a:lnTo>
                <a:lnTo>
                  <a:pt x="4535169" y="2109136"/>
                </a:lnTo>
                <a:cubicBezTo>
                  <a:pt x="4534316" y="2109705"/>
                  <a:pt x="4533676" y="2110274"/>
                  <a:pt x="4532181" y="2110274"/>
                </a:cubicBezTo>
                <a:cubicBezTo>
                  <a:pt x="4530688" y="2110132"/>
                  <a:pt x="4527913" y="2125355"/>
                  <a:pt x="4525566" y="2141004"/>
                </a:cubicBezTo>
                <a:lnTo>
                  <a:pt x="4524925" y="2144845"/>
                </a:lnTo>
                <a:cubicBezTo>
                  <a:pt x="4526633" y="2144277"/>
                  <a:pt x="4528340" y="2144277"/>
                  <a:pt x="4529621" y="2144845"/>
                </a:cubicBezTo>
                <a:cubicBezTo>
                  <a:pt x="4532395" y="2145841"/>
                  <a:pt x="4534316" y="2148544"/>
                  <a:pt x="4534743" y="2151532"/>
                </a:cubicBezTo>
                <a:cubicBezTo>
                  <a:pt x="4535169" y="2153524"/>
                  <a:pt x="4534956" y="2155658"/>
                  <a:pt x="4533889" y="2157508"/>
                </a:cubicBezTo>
                <a:cubicBezTo>
                  <a:pt x="4532395" y="2159784"/>
                  <a:pt x="4529621" y="2161349"/>
                  <a:pt x="4524925" y="2161206"/>
                </a:cubicBezTo>
                <a:lnTo>
                  <a:pt x="4523005" y="2157934"/>
                </a:lnTo>
                <a:lnTo>
                  <a:pt x="4522365" y="2162771"/>
                </a:lnTo>
                <a:cubicBezTo>
                  <a:pt x="4521510" y="2168889"/>
                  <a:pt x="4521084" y="2173157"/>
                  <a:pt x="4521084" y="2173868"/>
                </a:cubicBezTo>
                <a:cubicBezTo>
                  <a:pt x="4507852" y="2186530"/>
                  <a:pt x="4494620" y="2181551"/>
                  <a:pt x="4481174" y="2177141"/>
                </a:cubicBezTo>
                <a:lnTo>
                  <a:pt x="4470290" y="2174722"/>
                </a:lnTo>
                <a:lnTo>
                  <a:pt x="4468796" y="2184538"/>
                </a:lnTo>
                <a:cubicBezTo>
                  <a:pt x="4470503" y="2187669"/>
                  <a:pt x="4474345" y="2190229"/>
                  <a:pt x="4479467" y="2192506"/>
                </a:cubicBezTo>
                <a:cubicBezTo>
                  <a:pt x="4484802" y="2195920"/>
                  <a:pt x="4491205" y="2197058"/>
                  <a:pt x="4497608" y="2199334"/>
                </a:cubicBezTo>
                <a:cubicBezTo>
                  <a:pt x="4502943" y="2201610"/>
                  <a:pt x="4509346" y="2202749"/>
                  <a:pt x="4514468" y="2205025"/>
                </a:cubicBezTo>
                <a:cubicBezTo>
                  <a:pt x="4509346" y="2207302"/>
                  <a:pt x="4504011" y="2206163"/>
                  <a:pt x="4498888" y="2205025"/>
                </a:cubicBezTo>
                <a:cubicBezTo>
                  <a:pt x="4493766" y="2203887"/>
                  <a:pt x="4487364" y="2201468"/>
                  <a:pt x="4482241" y="2201468"/>
                </a:cubicBezTo>
                <a:cubicBezTo>
                  <a:pt x="4483522" y="2205025"/>
                  <a:pt x="4487364" y="2209578"/>
                  <a:pt x="4492485" y="2210716"/>
                </a:cubicBezTo>
                <a:cubicBezTo>
                  <a:pt x="4496327" y="2212992"/>
                  <a:pt x="4501449" y="2212992"/>
                  <a:pt x="4504011" y="2207302"/>
                </a:cubicBezTo>
                <a:cubicBezTo>
                  <a:pt x="4507425" y="2211285"/>
                  <a:pt x="4510199" y="2213277"/>
                  <a:pt x="4513614" y="2214841"/>
                </a:cubicBezTo>
                <a:lnTo>
                  <a:pt x="4525352" y="2219536"/>
                </a:lnTo>
                <a:lnTo>
                  <a:pt x="4528127" y="2211712"/>
                </a:lnTo>
                <a:cubicBezTo>
                  <a:pt x="4530688" y="2205167"/>
                  <a:pt x="4534102" y="2198908"/>
                  <a:pt x="4538157" y="2195351"/>
                </a:cubicBezTo>
                <a:cubicBezTo>
                  <a:pt x="4539438" y="2196347"/>
                  <a:pt x="4540292" y="2197627"/>
                  <a:pt x="4540719" y="2198908"/>
                </a:cubicBezTo>
                <a:cubicBezTo>
                  <a:pt x="4543707" y="2208724"/>
                  <a:pt x="4528767" y="2226508"/>
                  <a:pt x="4522151" y="2230634"/>
                </a:cubicBezTo>
                <a:lnTo>
                  <a:pt x="4524712" y="2221813"/>
                </a:lnTo>
                <a:lnTo>
                  <a:pt x="4520017" y="2220105"/>
                </a:lnTo>
                <a:cubicBezTo>
                  <a:pt x="4515108" y="2218114"/>
                  <a:pt x="4509346" y="2215838"/>
                  <a:pt x="4508065" y="2218683"/>
                </a:cubicBezTo>
                <a:lnTo>
                  <a:pt x="4511694" y="2224231"/>
                </a:lnTo>
                <a:lnTo>
                  <a:pt x="4511694" y="2223805"/>
                </a:lnTo>
                <a:cubicBezTo>
                  <a:pt x="4512547" y="2222240"/>
                  <a:pt x="4514041" y="2220817"/>
                  <a:pt x="4515962" y="2219536"/>
                </a:cubicBezTo>
                <a:cubicBezTo>
                  <a:pt x="4520444" y="2221101"/>
                  <a:pt x="4521724" y="2225654"/>
                  <a:pt x="4521297" y="2230064"/>
                </a:cubicBezTo>
                <a:lnTo>
                  <a:pt x="4520444" y="2232056"/>
                </a:lnTo>
                <a:lnTo>
                  <a:pt x="4524925" y="2235044"/>
                </a:lnTo>
                <a:cubicBezTo>
                  <a:pt x="4533036" y="2239739"/>
                  <a:pt x="4541572" y="2243153"/>
                  <a:pt x="4542852" y="2243722"/>
                </a:cubicBezTo>
                <a:cubicBezTo>
                  <a:pt x="4549255" y="2248275"/>
                  <a:pt x="4555658" y="2251689"/>
                  <a:pt x="4553097" y="2250551"/>
                </a:cubicBezTo>
                <a:lnTo>
                  <a:pt x="4561847" y="2255388"/>
                </a:lnTo>
                <a:lnTo>
                  <a:pt x="4562914" y="2254961"/>
                </a:lnTo>
                <a:lnTo>
                  <a:pt x="4562274" y="2255673"/>
                </a:lnTo>
                <a:lnTo>
                  <a:pt x="4562701" y="2255957"/>
                </a:lnTo>
                <a:cubicBezTo>
                  <a:pt x="4567396" y="2260083"/>
                  <a:pt x="4569317" y="2265062"/>
                  <a:pt x="4571877" y="2269188"/>
                </a:cubicBezTo>
                <a:lnTo>
                  <a:pt x="4572091" y="2268904"/>
                </a:lnTo>
                <a:cubicBezTo>
                  <a:pt x="4572305" y="2268761"/>
                  <a:pt x="4572732" y="2268761"/>
                  <a:pt x="4573158" y="2268334"/>
                </a:cubicBezTo>
                <a:cubicBezTo>
                  <a:pt x="4574439" y="2267197"/>
                  <a:pt x="4575720" y="2265062"/>
                  <a:pt x="4575720" y="2263924"/>
                </a:cubicBezTo>
                <a:cubicBezTo>
                  <a:pt x="4580201" y="2267908"/>
                  <a:pt x="4582762" y="2264778"/>
                  <a:pt x="4589591" y="2271464"/>
                </a:cubicBezTo>
                <a:cubicBezTo>
                  <a:pt x="4591726" y="2273598"/>
                  <a:pt x="4593433" y="2275590"/>
                  <a:pt x="4594287" y="2277582"/>
                </a:cubicBezTo>
                <a:lnTo>
                  <a:pt x="4594500" y="2278009"/>
                </a:lnTo>
                <a:lnTo>
                  <a:pt x="4597062" y="2280143"/>
                </a:lnTo>
                <a:lnTo>
                  <a:pt x="4601970" y="2275875"/>
                </a:lnTo>
                <a:cubicBezTo>
                  <a:pt x="4612214" y="2266058"/>
                  <a:pt x="4617123" y="2258660"/>
                  <a:pt x="4632489" y="2264351"/>
                </a:cubicBezTo>
                <a:cubicBezTo>
                  <a:pt x="4633343" y="2269615"/>
                  <a:pt x="4629501" y="2275163"/>
                  <a:pt x="4623739" y="2280855"/>
                </a:cubicBezTo>
                <a:lnTo>
                  <a:pt x="4610933" y="2291809"/>
                </a:lnTo>
                <a:lnTo>
                  <a:pt x="4630568" y="2306463"/>
                </a:lnTo>
                <a:lnTo>
                  <a:pt x="4641666" y="2314145"/>
                </a:lnTo>
                <a:lnTo>
                  <a:pt x="4641879" y="2314003"/>
                </a:lnTo>
                <a:lnTo>
                  <a:pt x="4642733" y="2314856"/>
                </a:lnTo>
                <a:lnTo>
                  <a:pt x="4653831" y="2321259"/>
                </a:lnTo>
                <a:cubicBezTo>
                  <a:pt x="4662795" y="2325811"/>
                  <a:pt x="4671971" y="2330364"/>
                  <a:pt x="4680935" y="2332640"/>
                </a:cubicBezTo>
                <a:cubicBezTo>
                  <a:pt x="4680935" y="2336055"/>
                  <a:pt x="4677094" y="2338331"/>
                  <a:pt x="4679655" y="2341887"/>
                </a:cubicBezTo>
                <a:cubicBezTo>
                  <a:pt x="4670691" y="2345302"/>
                  <a:pt x="4678374" y="2333921"/>
                  <a:pt x="4670691" y="2330506"/>
                </a:cubicBezTo>
                <a:cubicBezTo>
                  <a:pt x="4662795" y="2341887"/>
                  <a:pt x="4680935" y="2353269"/>
                  <a:pt x="4691393" y="2360098"/>
                </a:cubicBezTo>
                <a:cubicBezTo>
                  <a:pt x="4691393" y="2357822"/>
                  <a:pt x="4687338" y="2354407"/>
                  <a:pt x="4692460" y="2350993"/>
                </a:cubicBezTo>
                <a:cubicBezTo>
                  <a:pt x="4701637" y="2362374"/>
                  <a:pt x="4708040" y="2389690"/>
                  <a:pt x="4727461" y="2385137"/>
                </a:cubicBezTo>
                <a:cubicBezTo>
                  <a:pt x="4730022" y="2386845"/>
                  <a:pt x="4730449" y="2388267"/>
                  <a:pt x="4729809" y="2389690"/>
                </a:cubicBezTo>
                <a:lnTo>
                  <a:pt x="4729595" y="2389975"/>
                </a:lnTo>
                <a:lnTo>
                  <a:pt x="4742613" y="2402209"/>
                </a:lnTo>
                <a:lnTo>
                  <a:pt x="4741120" y="2405624"/>
                </a:lnTo>
                <a:lnTo>
                  <a:pt x="4742827" y="2406762"/>
                </a:lnTo>
                <a:cubicBezTo>
                  <a:pt x="4746668" y="2404486"/>
                  <a:pt x="4744108" y="2402209"/>
                  <a:pt x="4742827" y="2398795"/>
                </a:cubicBezTo>
                <a:cubicBezTo>
                  <a:pt x="4759687" y="2401072"/>
                  <a:pt x="4754565" y="2417148"/>
                  <a:pt x="4773986" y="2423977"/>
                </a:cubicBezTo>
                <a:cubicBezTo>
                  <a:pt x="4764809" y="2428529"/>
                  <a:pt x="4777828" y="2436497"/>
                  <a:pt x="4775053" y="2442187"/>
                </a:cubicBezTo>
                <a:cubicBezTo>
                  <a:pt x="4784231" y="2446740"/>
                  <a:pt x="4793194" y="2454707"/>
                  <a:pt x="4803651" y="2462674"/>
                </a:cubicBezTo>
                <a:cubicBezTo>
                  <a:pt x="4807493" y="2467226"/>
                  <a:pt x="4812615" y="2471780"/>
                  <a:pt x="4817737" y="2476474"/>
                </a:cubicBezTo>
                <a:cubicBezTo>
                  <a:pt x="4822860" y="2481027"/>
                  <a:pt x="4827981" y="2486575"/>
                  <a:pt x="4832036" y="2491128"/>
                </a:cubicBezTo>
                <a:cubicBezTo>
                  <a:pt x="4842281" y="2501371"/>
                  <a:pt x="4851244" y="2512752"/>
                  <a:pt x="4859141" y="2523138"/>
                </a:cubicBezTo>
                <a:cubicBezTo>
                  <a:pt x="4866824" y="2534520"/>
                  <a:pt x="4873227" y="2545901"/>
                  <a:pt x="4879629" y="2556144"/>
                </a:cubicBezTo>
                <a:lnTo>
                  <a:pt x="4893074" y="2564112"/>
                </a:lnTo>
                <a:lnTo>
                  <a:pt x="4893715" y="2554437"/>
                </a:lnTo>
                <a:cubicBezTo>
                  <a:pt x="4902892" y="2541776"/>
                  <a:pt x="4916764" y="2547324"/>
                  <a:pt x="4931063" y="2555576"/>
                </a:cubicBezTo>
                <a:cubicBezTo>
                  <a:pt x="4929356" y="2561266"/>
                  <a:pt x="4930637" y="2566388"/>
                  <a:pt x="4928929" y="2572221"/>
                </a:cubicBezTo>
                <a:cubicBezTo>
                  <a:pt x="4922954" y="2576489"/>
                  <a:pt x="4909081" y="2576204"/>
                  <a:pt x="4899904" y="2571794"/>
                </a:cubicBezTo>
                <a:lnTo>
                  <a:pt x="4898410" y="2570514"/>
                </a:lnTo>
                <a:lnTo>
                  <a:pt x="4904172" y="2580188"/>
                </a:lnTo>
                <a:cubicBezTo>
                  <a:pt x="4909295" y="2589293"/>
                  <a:pt x="4914630" y="2599537"/>
                  <a:pt x="4924874" y="2607504"/>
                </a:cubicBezTo>
                <a:cubicBezTo>
                  <a:pt x="4924874" y="2613194"/>
                  <a:pt x="4928716" y="2621161"/>
                  <a:pt x="4921032" y="2625714"/>
                </a:cubicBezTo>
                <a:cubicBezTo>
                  <a:pt x="4923594" y="2625714"/>
                  <a:pt x="4924874" y="2626852"/>
                  <a:pt x="4926154" y="2626852"/>
                </a:cubicBezTo>
                <a:cubicBezTo>
                  <a:pt x="4926154" y="2626852"/>
                  <a:pt x="4926154" y="2626852"/>
                  <a:pt x="4926154" y="2627990"/>
                </a:cubicBezTo>
                <a:cubicBezTo>
                  <a:pt x="4929996" y="2633681"/>
                  <a:pt x="4932557" y="2637096"/>
                  <a:pt x="4933838" y="2639514"/>
                </a:cubicBezTo>
                <a:cubicBezTo>
                  <a:pt x="4932557" y="2638234"/>
                  <a:pt x="4933838" y="2639514"/>
                  <a:pt x="4933838" y="2640653"/>
                </a:cubicBezTo>
                <a:cubicBezTo>
                  <a:pt x="4935118" y="2640653"/>
                  <a:pt x="4935332" y="2640653"/>
                  <a:pt x="4935332" y="2640653"/>
                </a:cubicBezTo>
                <a:cubicBezTo>
                  <a:pt x="4935332" y="2640653"/>
                  <a:pt x="4935118" y="2640653"/>
                  <a:pt x="4936399" y="2640653"/>
                </a:cubicBezTo>
                <a:cubicBezTo>
                  <a:pt x="4937679" y="2641790"/>
                  <a:pt x="4937893" y="2642928"/>
                  <a:pt x="4937893" y="2646343"/>
                </a:cubicBezTo>
                <a:cubicBezTo>
                  <a:pt x="4940453" y="2648619"/>
                  <a:pt x="4940453" y="2642787"/>
                  <a:pt x="4946856" y="2641648"/>
                </a:cubicBezTo>
                <a:cubicBezTo>
                  <a:pt x="4948137" y="2647339"/>
                  <a:pt x="4953259" y="2649616"/>
                  <a:pt x="4959875" y="2650754"/>
                </a:cubicBezTo>
                <a:cubicBezTo>
                  <a:pt x="4963716" y="2650754"/>
                  <a:pt x="4966278" y="2652034"/>
                  <a:pt x="4970119" y="2653172"/>
                </a:cubicBezTo>
                <a:cubicBezTo>
                  <a:pt x="4971400" y="2653172"/>
                  <a:pt x="4972680" y="2653029"/>
                  <a:pt x="4973961" y="2654168"/>
                </a:cubicBezTo>
                <a:cubicBezTo>
                  <a:pt x="4973961" y="2654168"/>
                  <a:pt x="4973961" y="2654168"/>
                  <a:pt x="4975241" y="2655306"/>
                </a:cubicBezTo>
                <a:cubicBezTo>
                  <a:pt x="4976522" y="2656444"/>
                  <a:pt x="4977802" y="2657725"/>
                  <a:pt x="4979083" y="2660001"/>
                </a:cubicBezTo>
                <a:cubicBezTo>
                  <a:pt x="4976522" y="2660001"/>
                  <a:pt x="4973961" y="2660001"/>
                  <a:pt x="4972680" y="2660001"/>
                </a:cubicBezTo>
                <a:cubicBezTo>
                  <a:pt x="4971400" y="2660001"/>
                  <a:pt x="4971400" y="2660001"/>
                  <a:pt x="4970119" y="2658863"/>
                </a:cubicBezTo>
                <a:cubicBezTo>
                  <a:pt x="4970119" y="2658863"/>
                  <a:pt x="4970119" y="2658863"/>
                  <a:pt x="4968838" y="2658863"/>
                </a:cubicBezTo>
                <a:cubicBezTo>
                  <a:pt x="4966278" y="2658863"/>
                  <a:pt x="4964997" y="2657582"/>
                  <a:pt x="4963503" y="2656444"/>
                </a:cubicBezTo>
                <a:cubicBezTo>
                  <a:pt x="4960942" y="2655306"/>
                  <a:pt x="4959662" y="2653172"/>
                  <a:pt x="4953259" y="2653172"/>
                </a:cubicBezTo>
                <a:cubicBezTo>
                  <a:pt x="4953259" y="2656587"/>
                  <a:pt x="4953259" y="2660001"/>
                  <a:pt x="4953259" y="2663415"/>
                </a:cubicBezTo>
                <a:cubicBezTo>
                  <a:pt x="4953259" y="2664554"/>
                  <a:pt x="4953259" y="2664554"/>
                  <a:pt x="4953259" y="2664554"/>
                </a:cubicBezTo>
                <a:cubicBezTo>
                  <a:pt x="4953259" y="2664554"/>
                  <a:pt x="4953259" y="2664554"/>
                  <a:pt x="4953259" y="2665692"/>
                </a:cubicBezTo>
                <a:lnTo>
                  <a:pt x="4953899" y="2666118"/>
                </a:lnTo>
                <a:lnTo>
                  <a:pt x="4962436" y="2667399"/>
                </a:lnTo>
                <a:cubicBezTo>
                  <a:pt x="4970973" y="2670387"/>
                  <a:pt x="4979509" y="2675366"/>
                  <a:pt x="4987833" y="2683333"/>
                </a:cubicBezTo>
                <a:cubicBezTo>
                  <a:pt x="4987406" y="2689166"/>
                  <a:pt x="4984845" y="2693008"/>
                  <a:pt x="4981217" y="2695141"/>
                </a:cubicBezTo>
                <a:lnTo>
                  <a:pt x="4970333" y="2696564"/>
                </a:lnTo>
                <a:lnTo>
                  <a:pt x="4972680" y="2698983"/>
                </a:lnTo>
                <a:cubicBezTo>
                  <a:pt x="4976522" y="2706381"/>
                  <a:pt x="4979083" y="2715343"/>
                  <a:pt x="4981644" y="2725017"/>
                </a:cubicBezTo>
                <a:cubicBezTo>
                  <a:pt x="4985485" y="2729570"/>
                  <a:pt x="4984418" y="2722599"/>
                  <a:pt x="4989540" y="2722599"/>
                </a:cubicBezTo>
                <a:cubicBezTo>
                  <a:pt x="4989540" y="2722599"/>
                  <a:pt x="4989327" y="2722599"/>
                  <a:pt x="4990821" y="2727152"/>
                </a:cubicBezTo>
                <a:cubicBezTo>
                  <a:pt x="4990821" y="2728290"/>
                  <a:pt x="4992101" y="2730709"/>
                  <a:pt x="4992101" y="2731847"/>
                </a:cubicBezTo>
                <a:cubicBezTo>
                  <a:pt x="4993382" y="2734123"/>
                  <a:pt x="4993382" y="2736399"/>
                  <a:pt x="4994663" y="2738675"/>
                </a:cubicBezTo>
                <a:cubicBezTo>
                  <a:pt x="4997223" y="2744367"/>
                  <a:pt x="4998504" y="2748919"/>
                  <a:pt x="5001065" y="2753471"/>
                </a:cubicBezTo>
                <a:lnTo>
                  <a:pt x="5006614" y="2764995"/>
                </a:lnTo>
                <a:lnTo>
                  <a:pt x="5008321" y="2761723"/>
                </a:lnTo>
                <a:cubicBezTo>
                  <a:pt x="5012162" y="2754325"/>
                  <a:pt x="5016218" y="2747639"/>
                  <a:pt x="5020059" y="2740952"/>
                </a:cubicBezTo>
                <a:cubicBezTo>
                  <a:pt x="5023901" y="2734265"/>
                  <a:pt x="5027956" y="2727436"/>
                  <a:pt x="5033291" y="2720750"/>
                </a:cubicBezTo>
                <a:cubicBezTo>
                  <a:pt x="5034999" y="2723026"/>
                  <a:pt x="5034999" y="2725302"/>
                  <a:pt x="5036492" y="2726725"/>
                </a:cubicBezTo>
                <a:cubicBezTo>
                  <a:pt x="5038200" y="2719327"/>
                  <a:pt x="5039694" y="2711218"/>
                  <a:pt x="5039694" y="2703677"/>
                </a:cubicBezTo>
                <a:cubicBezTo>
                  <a:pt x="5043535" y="2705242"/>
                  <a:pt x="5057834" y="2690304"/>
                  <a:pt x="5050792" y="2684329"/>
                </a:cubicBezTo>
                <a:cubicBezTo>
                  <a:pt x="5059329" y="2683617"/>
                  <a:pt x="5077469" y="2666545"/>
                  <a:pt x="5075122" y="2658293"/>
                </a:cubicBezTo>
                <a:cubicBezTo>
                  <a:pt x="5080671" y="2659005"/>
                  <a:pt x="5084512" y="2656018"/>
                  <a:pt x="5087714" y="2652319"/>
                </a:cubicBezTo>
                <a:cubicBezTo>
                  <a:pt x="5090701" y="2648619"/>
                  <a:pt x="5093902" y="2643355"/>
                  <a:pt x="5098598" y="2641080"/>
                </a:cubicBezTo>
                <a:cubicBezTo>
                  <a:pt x="5100945" y="2637380"/>
                  <a:pt x="5095610" y="2641221"/>
                  <a:pt x="5096250" y="2636669"/>
                </a:cubicBezTo>
                <a:cubicBezTo>
                  <a:pt x="5102653" y="2633681"/>
                  <a:pt x="5107348" y="2630836"/>
                  <a:pt x="5105854" y="2625572"/>
                </a:cubicBezTo>
                <a:cubicBezTo>
                  <a:pt x="5111189" y="2627137"/>
                  <a:pt x="5113537" y="2615898"/>
                  <a:pt x="5120793" y="2621020"/>
                </a:cubicBezTo>
                <a:cubicBezTo>
                  <a:pt x="5119940" y="2618031"/>
                  <a:pt x="5121434" y="2615044"/>
                  <a:pt x="5125489" y="2618885"/>
                </a:cubicBezTo>
                <a:cubicBezTo>
                  <a:pt x="5124635" y="2612056"/>
                  <a:pt x="5134666" y="2611345"/>
                  <a:pt x="5131678" y="2606223"/>
                </a:cubicBezTo>
                <a:cubicBezTo>
                  <a:pt x="5134666" y="2606935"/>
                  <a:pt x="5138081" y="2606223"/>
                  <a:pt x="5140428" y="2603947"/>
                </a:cubicBezTo>
                <a:cubicBezTo>
                  <a:pt x="5142776" y="2602524"/>
                  <a:pt x="5144910" y="2600248"/>
                  <a:pt x="5147257" y="2597971"/>
                </a:cubicBezTo>
                <a:cubicBezTo>
                  <a:pt x="5151312" y="2592850"/>
                  <a:pt x="5155154" y="2586875"/>
                  <a:pt x="5159209" y="2586875"/>
                </a:cubicBezTo>
                <a:cubicBezTo>
                  <a:pt x="5160063" y="2582322"/>
                  <a:pt x="5156861" y="2577912"/>
                  <a:pt x="5162197" y="2573359"/>
                </a:cubicBezTo>
                <a:cubicBezTo>
                  <a:pt x="5177136" y="2570372"/>
                  <a:pt x="5177350" y="2564538"/>
                  <a:pt x="5189088" y="2550312"/>
                </a:cubicBezTo>
                <a:cubicBezTo>
                  <a:pt x="5195277" y="2548178"/>
                  <a:pt x="5183539" y="2555576"/>
                  <a:pt x="5187380" y="2556998"/>
                </a:cubicBezTo>
                <a:cubicBezTo>
                  <a:pt x="5189728" y="2555576"/>
                  <a:pt x="5191436" y="2554011"/>
                  <a:pt x="5193783" y="2551734"/>
                </a:cubicBezTo>
                <a:cubicBezTo>
                  <a:pt x="5196131" y="2550312"/>
                  <a:pt x="5197624" y="2548889"/>
                  <a:pt x="5199972" y="2547324"/>
                </a:cubicBezTo>
                <a:lnTo>
                  <a:pt x="5211710" y="2538219"/>
                </a:lnTo>
                <a:lnTo>
                  <a:pt x="5206161" y="2532101"/>
                </a:lnTo>
                <a:cubicBezTo>
                  <a:pt x="5207869" y="2526126"/>
                  <a:pt x="5215552" y="2525983"/>
                  <a:pt x="5219820" y="2525273"/>
                </a:cubicBezTo>
                <a:lnTo>
                  <a:pt x="5221101" y="2531390"/>
                </a:lnTo>
                <a:lnTo>
                  <a:pt x="5226649" y="2527264"/>
                </a:lnTo>
                <a:cubicBezTo>
                  <a:pt x="5231558" y="2524277"/>
                  <a:pt x="5236253" y="2520578"/>
                  <a:pt x="5240948" y="2517589"/>
                </a:cubicBezTo>
                <a:lnTo>
                  <a:pt x="5249912" y="2510477"/>
                </a:lnTo>
                <a:lnTo>
                  <a:pt x="5249059" y="2510050"/>
                </a:lnTo>
                <a:cubicBezTo>
                  <a:pt x="5246711" y="2507773"/>
                  <a:pt x="5245217" y="2504359"/>
                  <a:pt x="5246924" y="2500802"/>
                </a:cubicBezTo>
                <a:cubicBezTo>
                  <a:pt x="5248419" y="2499806"/>
                  <a:pt x="5249699" y="2498811"/>
                  <a:pt x="5251619" y="2498241"/>
                </a:cubicBezTo>
                <a:cubicBezTo>
                  <a:pt x="5253327" y="2497814"/>
                  <a:pt x="5255461" y="2497814"/>
                  <a:pt x="5258236" y="2498952"/>
                </a:cubicBezTo>
                <a:lnTo>
                  <a:pt x="5259303" y="2502936"/>
                </a:lnTo>
                <a:lnTo>
                  <a:pt x="5266773" y="2496819"/>
                </a:lnTo>
                <a:cubicBezTo>
                  <a:pt x="5270828" y="2492977"/>
                  <a:pt x="5274669" y="2489278"/>
                  <a:pt x="5278511" y="2485580"/>
                </a:cubicBezTo>
                <a:cubicBezTo>
                  <a:pt x="5280858" y="2483303"/>
                  <a:pt x="5282566" y="2481169"/>
                  <a:pt x="5284059" y="2478892"/>
                </a:cubicBezTo>
                <a:cubicBezTo>
                  <a:pt x="5284059" y="2478892"/>
                  <a:pt x="5284059" y="2478892"/>
                  <a:pt x="5285767" y="2477327"/>
                </a:cubicBezTo>
                <a:cubicBezTo>
                  <a:pt x="5289608" y="2475194"/>
                  <a:pt x="5277016" y="2481169"/>
                  <a:pt x="5294303" y="2472917"/>
                </a:cubicBezTo>
                <a:cubicBezTo>
                  <a:pt x="5294303" y="2472917"/>
                  <a:pt x="5294303" y="2472917"/>
                  <a:pt x="5294303" y="2472206"/>
                </a:cubicBezTo>
                <a:cubicBezTo>
                  <a:pt x="5294303" y="2472206"/>
                  <a:pt x="5294303" y="2472206"/>
                  <a:pt x="5295158" y="2471495"/>
                </a:cubicBezTo>
                <a:cubicBezTo>
                  <a:pt x="5295158" y="2470641"/>
                  <a:pt x="5295158" y="2469930"/>
                  <a:pt x="5296011" y="2469218"/>
                </a:cubicBezTo>
                <a:cubicBezTo>
                  <a:pt x="5294303" y="2466942"/>
                  <a:pt x="5292810" y="2466942"/>
                  <a:pt x="5291956" y="2466942"/>
                </a:cubicBezTo>
                <a:cubicBezTo>
                  <a:pt x="5291956" y="2466942"/>
                  <a:pt x="5291956" y="2466942"/>
                  <a:pt x="5291956" y="2467653"/>
                </a:cubicBezTo>
                <a:cubicBezTo>
                  <a:pt x="5291956" y="2467653"/>
                  <a:pt x="5291956" y="2467653"/>
                  <a:pt x="5291102" y="2467653"/>
                </a:cubicBezTo>
                <a:cubicBezTo>
                  <a:pt x="5288755" y="2469218"/>
                  <a:pt x="5285554" y="2470641"/>
                  <a:pt x="5282566" y="2472206"/>
                </a:cubicBezTo>
                <a:cubicBezTo>
                  <a:pt x="5281712" y="2472206"/>
                  <a:pt x="5281712" y="2472206"/>
                  <a:pt x="5281712" y="2472206"/>
                </a:cubicBezTo>
                <a:cubicBezTo>
                  <a:pt x="5281072" y="2472206"/>
                  <a:pt x="5280218" y="2472206"/>
                  <a:pt x="5279364" y="2470784"/>
                </a:cubicBezTo>
                <a:cubicBezTo>
                  <a:pt x="5280218" y="2470784"/>
                  <a:pt x="5280218" y="2469930"/>
                  <a:pt x="5280218" y="2469930"/>
                </a:cubicBezTo>
                <a:cubicBezTo>
                  <a:pt x="5280858" y="2469218"/>
                  <a:pt x="5281072" y="2469218"/>
                  <a:pt x="5281072" y="2469218"/>
                </a:cubicBezTo>
                <a:cubicBezTo>
                  <a:pt x="5281285" y="2469076"/>
                  <a:pt x="5281285" y="2469076"/>
                  <a:pt x="5281499" y="2468934"/>
                </a:cubicBezTo>
                <a:lnTo>
                  <a:pt x="5281499" y="2468791"/>
                </a:lnTo>
                <a:cubicBezTo>
                  <a:pt x="5282779" y="2468223"/>
                  <a:pt x="5285340" y="2466942"/>
                  <a:pt x="5289608" y="2464808"/>
                </a:cubicBezTo>
                <a:cubicBezTo>
                  <a:pt x="5289608" y="2464808"/>
                  <a:pt x="5289608" y="2464808"/>
                  <a:pt x="5290462" y="2464808"/>
                </a:cubicBezTo>
                <a:cubicBezTo>
                  <a:pt x="5290462" y="2464808"/>
                  <a:pt x="5290462" y="2464666"/>
                  <a:pt x="5290462" y="2463954"/>
                </a:cubicBezTo>
                <a:cubicBezTo>
                  <a:pt x="5290462" y="2463954"/>
                  <a:pt x="5290462" y="2463243"/>
                  <a:pt x="5291102" y="2463243"/>
                </a:cubicBezTo>
                <a:cubicBezTo>
                  <a:pt x="5291102" y="2462532"/>
                  <a:pt x="5291956" y="2462532"/>
                  <a:pt x="5292810" y="2461678"/>
                </a:cubicBezTo>
                <a:cubicBezTo>
                  <a:pt x="5293450" y="2460967"/>
                  <a:pt x="5294303" y="2459544"/>
                  <a:pt x="5295158" y="2457267"/>
                </a:cubicBezTo>
                <a:cubicBezTo>
                  <a:pt x="5296651" y="2460255"/>
                  <a:pt x="5294303" y="2460255"/>
                  <a:pt x="5295158" y="2462390"/>
                </a:cubicBezTo>
                <a:cubicBezTo>
                  <a:pt x="5296651" y="2463954"/>
                  <a:pt x="5298999" y="2463954"/>
                  <a:pt x="5300706" y="2463243"/>
                </a:cubicBezTo>
                <a:cubicBezTo>
                  <a:pt x="5302200" y="2461820"/>
                  <a:pt x="5298145" y="2461820"/>
                  <a:pt x="5298999" y="2458833"/>
                </a:cubicBezTo>
                <a:cubicBezTo>
                  <a:pt x="5302200" y="2461109"/>
                  <a:pt x="5302841" y="2457979"/>
                  <a:pt x="5302841" y="2455134"/>
                </a:cubicBezTo>
                <a:cubicBezTo>
                  <a:pt x="5306042" y="2453569"/>
                  <a:pt x="5303694" y="2456557"/>
                  <a:pt x="5306042" y="2458833"/>
                </a:cubicBezTo>
                <a:cubicBezTo>
                  <a:pt x="5308389" y="2458122"/>
                  <a:pt x="5306042" y="2454280"/>
                  <a:pt x="5304548" y="2450581"/>
                </a:cubicBezTo>
                <a:cubicBezTo>
                  <a:pt x="5305401" y="2450581"/>
                  <a:pt x="5305401" y="2450581"/>
                  <a:pt x="5306042" y="2450581"/>
                </a:cubicBezTo>
                <a:cubicBezTo>
                  <a:pt x="5306042" y="2450581"/>
                  <a:pt x="5306896" y="2450581"/>
                  <a:pt x="5307536" y="2450581"/>
                </a:cubicBezTo>
                <a:cubicBezTo>
                  <a:pt x="5308389" y="2451293"/>
                  <a:pt x="5309243" y="2452857"/>
                  <a:pt x="5310097" y="2453569"/>
                </a:cubicBezTo>
                <a:lnTo>
                  <a:pt x="5316072" y="2449443"/>
                </a:lnTo>
                <a:lnTo>
                  <a:pt x="5315645" y="2448020"/>
                </a:lnTo>
                <a:cubicBezTo>
                  <a:pt x="5316072" y="2446313"/>
                  <a:pt x="5317353" y="2444891"/>
                  <a:pt x="5319914" y="2444037"/>
                </a:cubicBezTo>
                <a:lnTo>
                  <a:pt x="5321195" y="2446028"/>
                </a:lnTo>
                <a:lnTo>
                  <a:pt x="5329731" y="2440195"/>
                </a:lnTo>
                <a:lnTo>
                  <a:pt x="5340189" y="2434078"/>
                </a:lnTo>
                <a:lnTo>
                  <a:pt x="5340402" y="2431802"/>
                </a:lnTo>
                <a:lnTo>
                  <a:pt x="5342750" y="2432798"/>
                </a:lnTo>
                <a:lnTo>
                  <a:pt x="5347018" y="2430379"/>
                </a:lnTo>
                <a:cubicBezTo>
                  <a:pt x="5347018" y="2430379"/>
                  <a:pt x="5347018" y="2430521"/>
                  <a:pt x="5350220" y="2429668"/>
                </a:cubicBezTo>
                <a:cubicBezTo>
                  <a:pt x="5350220" y="2429668"/>
                  <a:pt x="5350006" y="2429810"/>
                  <a:pt x="5351713" y="2428956"/>
                </a:cubicBezTo>
                <a:cubicBezTo>
                  <a:pt x="5351713" y="2428956"/>
                  <a:pt x="5351713" y="2428956"/>
                  <a:pt x="5353208" y="2428245"/>
                </a:cubicBezTo>
                <a:cubicBezTo>
                  <a:pt x="5366653" y="2422269"/>
                  <a:pt x="5379885" y="2417006"/>
                  <a:pt x="5391837" y="2412595"/>
                </a:cubicBezTo>
                <a:cubicBezTo>
                  <a:pt x="5394184" y="2411457"/>
                  <a:pt x="5396532" y="2410888"/>
                  <a:pt x="5398452" y="2410746"/>
                </a:cubicBezTo>
                <a:lnTo>
                  <a:pt x="5399733" y="2411030"/>
                </a:lnTo>
                <a:lnTo>
                  <a:pt x="5399093" y="2409181"/>
                </a:lnTo>
                <a:cubicBezTo>
                  <a:pt x="5398880" y="2408327"/>
                  <a:pt x="5398666" y="2407901"/>
                  <a:pt x="5398239" y="2407758"/>
                </a:cubicBezTo>
                <a:cubicBezTo>
                  <a:pt x="5400587" y="2402921"/>
                  <a:pt x="5403575" y="2404201"/>
                  <a:pt x="5408910" y="2404628"/>
                </a:cubicBezTo>
                <a:lnTo>
                  <a:pt x="5409977" y="2406478"/>
                </a:lnTo>
                <a:lnTo>
                  <a:pt x="5410191" y="2406336"/>
                </a:lnTo>
                <a:lnTo>
                  <a:pt x="5415099" y="2404628"/>
                </a:lnTo>
                <a:lnTo>
                  <a:pt x="5417020" y="2400502"/>
                </a:lnTo>
                <a:lnTo>
                  <a:pt x="5416807" y="2399507"/>
                </a:lnTo>
                <a:lnTo>
                  <a:pt x="5415526" y="2399934"/>
                </a:lnTo>
                <a:cubicBezTo>
                  <a:pt x="5414246" y="2400076"/>
                  <a:pt x="5412965" y="2399649"/>
                  <a:pt x="5412111" y="2398937"/>
                </a:cubicBezTo>
                <a:lnTo>
                  <a:pt x="5409977" y="2395381"/>
                </a:lnTo>
                <a:lnTo>
                  <a:pt x="5407203" y="2396946"/>
                </a:lnTo>
                <a:cubicBezTo>
                  <a:pt x="5404215" y="2397372"/>
                  <a:pt x="5400587" y="2396803"/>
                  <a:pt x="5396745" y="2394243"/>
                </a:cubicBezTo>
                <a:cubicBezTo>
                  <a:pt x="5394611" y="2388978"/>
                  <a:pt x="5399947" y="2379020"/>
                  <a:pt x="5404642" y="2378735"/>
                </a:cubicBezTo>
                <a:cubicBezTo>
                  <a:pt x="5411898" y="2381154"/>
                  <a:pt x="5414672" y="2385422"/>
                  <a:pt x="5414672" y="2389121"/>
                </a:cubicBezTo>
                <a:lnTo>
                  <a:pt x="5414246" y="2390117"/>
                </a:lnTo>
                <a:lnTo>
                  <a:pt x="5415313" y="2389121"/>
                </a:lnTo>
                <a:lnTo>
                  <a:pt x="5416380" y="2389263"/>
                </a:lnTo>
                <a:lnTo>
                  <a:pt x="5416380" y="2387271"/>
                </a:lnTo>
                <a:cubicBezTo>
                  <a:pt x="5420862" y="2389121"/>
                  <a:pt x="5424490" y="2392108"/>
                  <a:pt x="5427691" y="2395523"/>
                </a:cubicBezTo>
                <a:lnTo>
                  <a:pt x="5431960" y="2402067"/>
                </a:lnTo>
                <a:lnTo>
                  <a:pt x="5438149" y="2405909"/>
                </a:lnTo>
                <a:cubicBezTo>
                  <a:pt x="5439002" y="2395523"/>
                  <a:pt x="5451381" y="2404344"/>
                  <a:pt x="5460131" y="2396235"/>
                </a:cubicBezTo>
                <a:lnTo>
                  <a:pt x="5461411" y="2398084"/>
                </a:lnTo>
                <a:lnTo>
                  <a:pt x="5466533" y="2396377"/>
                </a:lnTo>
                <a:cubicBezTo>
                  <a:pt x="5467601" y="2396235"/>
                  <a:pt x="5468668" y="2396377"/>
                  <a:pt x="5469094" y="2396803"/>
                </a:cubicBezTo>
                <a:cubicBezTo>
                  <a:pt x="5469308" y="2397372"/>
                  <a:pt x="5469094" y="2398511"/>
                  <a:pt x="5468454" y="2399649"/>
                </a:cubicBezTo>
                <a:lnTo>
                  <a:pt x="5466961" y="2401214"/>
                </a:lnTo>
                <a:lnTo>
                  <a:pt x="5471869" y="2401499"/>
                </a:lnTo>
                <a:cubicBezTo>
                  <a:pt x="5478272" y="2399934"/>
                  <a:pt x="5485315" y="2396235"/>
                  <a:pt x="5487662" y="2392535"/>
                </a:cubicBezTo>
                <a:cubicBezTo>
                  <a:pt x="5484460" y="2390970"/>
                  <a:pt x="5480619" y="2390259"/>
                  <a:pt x="5475924" y="2391113"/>
                </a:cubicBezTo>
                <a:cubicBezTo>
                  <a:pt x="5471015" y="2391824"/>
                  <a:pt x="5466320" y="2393958"/>
                  <a:pt x="5461625" y="2396235"/>
                </a:cubicBezTo>
                <a:cubicBezTo>
                  <a:pt x="5463973" y="2392820"/>
                  <a:pt x="5467601" y="2390686"/>
                  <a:pt x="5471656" y="2389121"/>
                </a:cubicBezTo>
                <a:lnTo>
                  <a:pt x="5483820" y="2386133"/>
                </a:lnTo>
                <a:lnTo>
                  <a:pt x="5482753" y="2383288"/>
                </a:lnTo>
                <a:cubicBezTo>
                  <a:pt x="5481473" y="2377170"/>
                  <a:pt x="5481046" y="2368492"/>
                  <a:pt x="5485741" y="2367781"/>
                </a:cubicBezTo>
                <a:cubicBezTo>
                  <a:pt x="5486595" y="2367638"/>
                  <a:pt x="5487662" y="2367781"/>
                  <a:pt x="5488943" y="2368350"/>
                </a:cubicBezTo>
                <a:cubicBezTo>
                  <a:pt x="5488729" y="2372049"/>
                  <a:pt x="5489369" y="2375748"/>
                  <a:pt x="5489796" y="2378877"/>
                </a:cubicBezTo>
                <a:lnTo>
                  <a:pt x="5489369" y="2384568"/>
                </a:lnTo>
                <a:lnTo>
                  <a:pt x="5495345" y="2381439"/>
                </a:lnTo>
                <a:lnTo>
                  <a:pt x="5499400" y="2380869"/>
                </a:lnTo>
                <a:lnTo>
                  <a:pt x="5505802" y="2374610"/>
                </a:lnTo>
                <a:cubicBezTo>
                  <a:pt x="5508150" y="2374040"/>
                  <a:pt x="5510285" y="2373898"/>
                  <a:pt x="5512632" y="2373614"/>
                </a:cubicBezTo>
                <a:cubicBezTo>
                  <a:pt x="5511778" y="2373614"/>
                  <a:pt x="5510925" y="2373614"/>
                  <a:pt x="5510285" y="2373187"/>
                </a:cubicBezTo>
                <a:lnTo>
                  <a:pt x="5508364" y="2371906"/>
                </a:lnTo>
                <a:lnTo>
                  <a:pt x="5508364" y="2372049"/>
                </a:lnTo>
                <a:cubicBezTo>
                  <a:pt x="5507510" y="2372902"/>
                  <a:pt x="5506230" y="2373898"/>
                  <a:pt x="5504735" y="2374467"/>
                </a:cubicBezTo>
                <a:cubicBezTo>
                  <a:pt x="5498974" y="2373187"/>
                  <a:pt x="5498760" y="2367069"/>
                  <a:pt x="5495559" y="2363939"/>
                </a:cubicBezTo>
                <a:cubicBezTo>
                  <a:pt x="5497266" y="2362090"/>
                  <a:pt x="5498974" y="2360952"/>
                  <a:pt x="5500681" y="2360667"/>
                </a:cubicBezTo>
                <a:lnTo>
                  <a:pt x="5502815" y="2361236"/>
                </a:lnTo>
                <a:lnTo>
                  <a:pt x="5503455" y="2359956"/>
                </a:lnTo>
                <a:cubicBezTo>
                  <a:pt x="5504735" y="2358818"/>
                  <a:pt x="5506443" y="2358391"/>
                  <a:pt x="5509431" y="2358391"/>
                </a:cubicBezTo>
                <a:cubicBezTo>
                  <a:pt x="5509431" y="2358391"/>
                  <a:pt x="5510925" y="2359102"/>
                  <a:pt x="5510925" y="2359102"/>
                </a:cubicBezTo>
                <a:cubicBezTo>
                  <a:pt x="5516473" y="2360667"/>
                  <a:pt x="5520529" y="2366358"/>
                  <a:pt x="5520102" y="2369061"/>
                </a:cubicBezTo>
                <a:cubicBezTo>
                  <a:pt x="5519248" y="2370626"/>
                  <a:pt x="5517968" y="2372191"/>
                  <a:pt x="5516260" y="2373045"/>
                </a:cubicBezTo>
                <a:cubicBezTo>
                  <a:pt x="5521596" y="2372618"/>
                  <a:pt x="5526718" y="2372333"/>
                  <a:pt x="5531627" y="2372333"/>
                </a:cubicBezTo>
                <a:cubicBezTo>
                  <a:pt x="5535682" y="2372333"/>
                  <a:pt x="5539523" y="2372475"/>
                  <a:pt x="5543365" y="2371622"/>
                </a:cubicBezTo>
                <a:lnTo>
                  <a:pt x="5555743" y="2368065"/>
                </a:lnTo>
                <a:lnTo>
                  <a:pt x="5554036" y="2366927"/>
                </a:lnTo>
                <a:lnTo>
                  <a:pt x="5551474" y="2368065"/>
                </a:lnTo>
                <a:cubicBezTo>
                  <a:pt x="5546139" y="2369203"/>
                  <a:pt x="5540377" y="2368208"/>
                  <a:pt x="5534614" y="2367638"/>
                </a:cubicBezTo>
                <a:cubicBezTo>
                  <a:pt x="5535682" y="2363370"/>
                  <a:pt x="5541230" y="2357680"/>
                  <a:pt x="5548060" y="2354977"/>
                </a:cubicBezTo>
                <a:lnTo>
                  <a:pt x="5552115" y="2354123"/>
                </a:lnTo>
                <a:lnTo>
                  <a:pt x="5556169" y="2352131"/>
                </a:lnTo>
                <a:lnTo>
                  <a:pt x="5555956" y="2350708"/>
                </a:lnTo>
                <a:cubicBezTo>
                  <a:pt x="5561505" y="2345160"/>
                  <a:pt x="5565774" y="2339469"/>
                  <a:pt x="5570042" y="2333778"/>
                </a:cubicBezTo>
                <a:lnTo>
                  <a:pt x="5571323" y="2332071"/>
                </a:lnTo>
                <a:lnTo>
                  <a:pt x="5567908" y="2331644"/>
                </a:lnTo>
                <a:lnTo>
                  <a:pt x="5563426" y="2326665"/>
                </a:lnTo>
                <a:lnTo>
                  <a:pt x="5558517" y="2328515"/>
                </a:lnTo>
                <a:cubicBezTo>
                  <a:pt x="5554249" y="2329226"/>
                  <a:pt x="5549554" y="2328656"/>
                  <a:pt x="5546353" y="2326665"/>
                </a:cubicBezTo>
                <a:lnTo>
                  <a:pt x="5542084" y="2321259"/>
                </a:lnTo>
                <a:lnTo>
                  <a:pt x="5541444" y="2321259"/>
                </a:lnTo>
                <a:cubicBezTo>
                  <a:pt x="5539096" y="2318840"/>
                  <a:pt x="5537815" y="2315284"/>
                  <a:pt x="5538883" y="2314145"/>
                </a:cubicBezTo>
                <a:cubicBezTo>
                  <a:pt x="5540590" y="2312438"/>
                  <a:pt x="5542084" y="2310731"/>
                  <a:pt x="5544432" y="2311443"/>
                </a:cubicBezTo>
                <a:cubicBezTo>
                  <a:pt x="5545072" y="2311726"/>
                  <a:pt x="5545926" y="2312296"/>
                  <a:pt x="5546779" y="2313149"/>
                </a:cubicBezTo>
                <a:cubicBezTo>
                  <a:pt x="5546779" y="2313149"/>
                  <a:pt x="5546993" y="2313291"/>
                  <a:pt x="5546993" y="2314430"/>
                </a:cubicBezTo>
                <a:lnTo>
                  <a:pt x="5546993" y="2316422"/>
                </a:lnTo>
                <a:lnTo>
                  <a:pt x="5554249" y="2311158"/>
                </a:lnTo>
                <a:cubicBezTo>
                  <a:pt x="5559371" y="2308739"/>
                  <a:pt x="5565347" y="2307316"/>
                  <a:pt x="5572816" y="2307743"/>
                </a:cubicBezTo>
                <a:cubicBezTo>
                  <a:pt x="5578152" y="2313861"/>
                  <a:pt x="5576018" y="2319836"/>
                  <a:pt x="5570683" y="2323820"/>
                </a:cubicBezTo>
                <a:lnTo>
                  <a:pt x="5570255" y="2323820"/>
                </a:lnTo>
                <a:lnTo>
                  <a:pt x="5570683" y="2324815"/>
                </a:lnTo>
                <a:cubicBezTo>
                  <a:pt x="5571963" y="2327092"/>
                  <a:pt x="5573243" y="2329511"/>
                  <a:pt x="5573243" y="2329511"/>
                </a:cubicBezTo>
                <a:lnTo>
                  <a:pt x="5571749" y="2331502"/>
                </a:lnTo>
                <a:lnTo>
                  <a:pt x="5584128" y="2316706"/>
                </a:lnTo>
                <a:lnTo>
                  <a:pt x="5593945" y="2316706"/>
                </a:lnTo>
                <a:lnTo>
                  <a:pt x="5593945" y="2316422"/>
                </a:lnTo>
                <a:cubicBezTo>
                  <a:pt x="5593945" y="2316137"/>
                  <a:pt x="5593518" y="2315853"/>
                  <a:pt x="5593518" y="2315284"/>
                </a:cubicBezTo>
                <a:cubicBezTo>
                  <a:pt x="5593518" y="2315284"/>
                  <a:pt x="5593518" y="2316422"/>
                  <a:pt x="5592451" y="2315141"/>
                </a:cubicBezTo>
                <a:cubicBezTo>
                  <a:pt x="5593518" y="2315284"/>
                  <a:pt x="5593518" y="2314003"/>
                  <a:pt x="5593518" y="2312865"/>
                </a:cubicBezTo>
                <a:cubicBezTo>
                  <a:pt x="5596079" y="2310731"/>
                  <a:pt x="5599494" y="2308739"/>
                  <a:pt x="5601841" y="2310304"/>
                </a:cubicBezTo>
                <a:cubicBezTo>
                  <a:pt x="5603122" y="2311585"/>
                  <a:pt x="5603336" y="2312865"/>
                  <a:pt x="5603122" y="2313861"/>
                </a:cubicBezTo>
                <a:lnTo>
                  <a:pt x="5602055" y="2315568"/>
                </a:lnTo>
                <a:lnTo>
                  <a:pt x="5609311" y="2314145"/>
                </a:lnTo>
                <a:cubicBezTo>
                  <a:pt x="5618062" y="2312580"/>
                  <a:pt x="5626598" y="2312011"/>
                  <a:pt x="5633001" y="2317987"/>
                </a:cubicBezTo>
                <a:cubicBezTo>
                  <a:pt x="5635135" y="2332925"/>
                  <a:pt x="5643458" y="2334348"/>
                  <a:pt x="5648154" y="2342172"/>
                </a:cubicBezTo>
                <a:lnTo>
                  <a:pt x="5647513" y="2350424"/>
                </a:lnTo>
                <a:lnTo>
                  <a:pt x="5651995" y="2349997"/>
                </a:lnTo>
                <a:cubicBezTo>
                  <a:pt x="5656050" y="2349855"/>
                  <a:pt x="5659678" y="2350139"/>
                  <a:pt x="5662879" y="2350139"/>
                </a:cubicBezTo>
                <a:cubicBezTo>
                  <a:pt x="5668429" y="2350139"/>
                  <a:pt x="5673124" y="2350851"/>
                  <a:pt x="5678459" y="2348574"/>
                </a:cubicBezTo>
                <a:cubicBezTo>
                  <a:pt x="5680167" y="2352985"/>
                  <a:pt x="5684008" y="2354550"/>
                  <a:pt x="5692759" y="2353838"/>
                </a:cubicBezTo>
                <a:cubicBezTo>
                  <a:pt x="5692759" y="2355261"/>
                  <a:pt x="5688704" y="2354550"/>
                  <a:pt x="5686356" y="2355261"/>
                </a:cubicBezTo>
                <a:cubicBezTo>
                  <a:pt x="5685716" y="2359102"/>
                  <a:pt x="5691264" y="2358249"/>
                  <a:pt x="5692759" y="2359814"/>
                </a:cubicBezTo>
                <a:cubicBezTo>
                  <a:pt x="5695106" y="2358249"/>
                  <a:pt x="5691904" y="2355261"/>
                  <a:pt x="5700655" y="2356684"/>
                </a:cubicBezTo>
                <a:cubicBezTo>
                  <a:pt x="5699801" y="2358960"/>
                  <a:pt x="5694252" y="2358249"/>
                  <a:pt x="5696600" y="2362659"/>
                </a:cubicBezTo>
                <a:cubicBezTo>
                  <a:pt x="5688063" y="2364936"/>
                  <a:pt x="5681020" y="2359672"/>
                  <a:pt x="5681020" y="2368634"/>
                </a:cubicBezTo>
                <a:cubicBezTo>
                  <a:pt x="5676112" y="2362659"/>
                  <a:pt x="5670776" y="2364224"/>
                  <a:pt x="5665227" y="2367211"/>
                </a:cubicBezTo>
                <a:cubicBezTo>
                  <a:pt x="5662453" y="2368350"/>
                  <a:pt x="5659251" y="2369773"/>
                  <a:pt x="5655837" y="2370768"/>
                </a:cubicBezTo>
                <a:lnTo>
                  <a:pt x="5646873" y="2370911"/>
                </a:lnTo>
                <a:lnTo>
                  <a:pt x="5648154" y="2372618"/>
                </a:lnTo>
                <a:lnTo>
                  <a:pt x="5646873" y="2372902"/>
                </a:lnTo>
                <a:lnTo>
                  <a:pt x="5649007" y="2374752"/>
                </a:lnTo>
                <a:cubicBezTo>
                  <a:pt x="5651142" y="2375036"/>
                  <a:pt x="5653489" y="2374325"/>
                  <a:pt x="5655837" y="2373187"/>
                </a:cubicBezTo>
                <a:cubicBezTo>
                  <a:pt x="5660532" y="2371764"/>
                  <a:pt x="5665227" y="2370199"/>
                  <a:pt x="5666721" y="2374610"/>
                </a:cubicBezTo>
                <a:cubicBezTo>
                  <a:pt x="5673764" y="2373898"/>
                  <a:pt x="5676325" y="2368777"/>
                  <a:pt x="5682514" y="2371622"/>
                </a:cubicBezTo>
                <a:cubicBezTo>
                  <a:pt x="5682514" y="2374610"/>
                  <a:pt x="5676112" y="2372333"/>
                  <a:pt x="5674618" y="2374610"/>
                </a:cubicBezTo>
                <a:cubicBezTo>
                  <a:pt x="5677819" y="2378309"/>
                  <a:pt x="5688917" y="2375321"/>
                  <a:pt x="5692759" y="2374610"/>
                </a:cubicBezTo>
                <a:cubicBezTo>
                  <a:pt x="5692759" y="2373187"/>
                  <a:pt x="5690411" y="2373898"/>
                  <a:pt x="5688704" y="2373187"/>
                </a:cubicBezTo>
                <a:cubicBezTo>
                  <a:pt x="5691051" y="2372475"/>
                  <a:pt x="5705990" y="2370911"/>
                  <a:pt x="5700655" y="2374610"/>
                </a:cubicBezTo>
                <a:cubicBezTo>
                  <a:pt x="5704497" y="2373898"/>
                  <a:pt x="5708338" y="2373187"/>
                  <a:pt x="5710686" y="2370911"/>
                </a:cubicBezTo>
                <a:lnTo>
                  <a:pt x="5712180" y="2371338"/>
                </a:lnTo>
                <a:cubicBezTo>
                  <a:pt x="5716234" y="2367354"/>
                  <a:pt x="5721570" y="2363370"/>
                  <a:pt x="5726265" y="2363086"/>
                </a:cubicBezTo>
                <a:cubicBezTo>
                  <a:pt x="5727759" y="2363086"/>
                  <a:pt x="5729253" y="2363370"/>
                  <a:pt x="5730534" y="2364224"/>
                </a:cubicBezTo>
                <a:lnTo>
                  <a:pt x="5730960" y="2365078"/>
                </a:lnTo>
                <a:lnTo>
                  <a:pt x="5732028" y="2362659"/>
                </a:lnTo>
                <a:cubicBezTo>
                  <a:pt x="5733095" y="2362801"/>
                  <a:pt x="5734162" y="2364224"/>
                  <a:pt x="5735443" y="2364366"/>
                </a:cubicBezTo>
                <a:cubicBezTo>
                  <a:pt x="5735229" y="2365646"/>
                  <a:pt x="5735229" y="2368065"/>
                  <a:pt x="5733948" y="2369061"/>
                </a:cubicBezTo>
                <a:cubicBezTo>
                  <a:pt x="5733948" y="2369773"/>
                  <a:pt x="5733095" y="2369630"/>
                  <a:pt x="5732028" y="2369346"/>
                </a:cubicBezTo>
                <a:lnTo>
                  <a:pt x="5731601" y="2369061"/>
                </a:lnTo>
                <a:lnTo>
                  <a:pt x="5729467" y="2372191"/>
                </a:lnTo>
                <a:lnTo>
                  <a:pt x="5733522" y="2373187"/>
                </a:lnTo>
                <a:cubicBezTo>
                  <a:pt x="5735869" y="2373898"/>
                  <a:pt x="5739071" y="2375321"/>
                  <a:pt x="5741418" y="2376175"/>
                </a:cubicBezTo>
                <a:lnTo>
                  <a:pt x="5746754" y="2376175"/>
                </a:lnTo>
                <a:lnTo>
                  <a:pt x="5745686" y="2371195"/>
                </a:lnTo>
                <a:cubicBezTo>
                  <a:pt x="5745900" y="2368919"/>
                  <a:pt x="5746754" y="2366642"/>
                  <a:pt x="5746540" y="2364509"/>
                </a:cubicBezTo>
                <a:lnTo>
                  <a:pt x="5752302" y="2365646"/>
                </a:lnTo>
                <a:lnTo>
                  <a:pt x="5757638" y="2362659"/>
                </a:lnTo>
                <a:cubicBezTo>
                  <a:pt x="5760199" y="2361805"/>
                  <a:pt x="5762547" y="2361094"/>
                  <a:pt x="5764468" y="2360241"/>
                </a:cubicBezTo>
                <a:cubicBezTo>
                  <a:pt x="5767456" y="2356968"/>
                  <a:pt x="5767456" y="2350424"/>
                  <a:pt x="5766175" y="2344164"/>
                </a:cubicBezTo>
                <a:lnTo>
                  <a:pt x="5764681" y="2338331"/>
                </a:lnTo>
                <a:lnTo>
                  <a:pt x="5762973" y="2339469"/>
                </a:lnTo>
                <a:cubicBezTo>
                  <a:pt x="5761053" y="2340038"/>
                  <a:pt x="5758918" y="2340749"/>
                  <a:pt x="5757211" y="2342314"/>
                </a:cubicBezTo>
                <a:cubicBezTo>
                  <a:pt x="5752516" y="2338189"/>
                  <a:pt x="5751449" y="2336766"/>
                  <a:pt x="5754010" y="2331218"/>
                </a:cubicBezTo>
                <a:cubicBezTo>
                  <a:pt x="5754010" y="2331218"/>
                  <a:pt x="5755077" y="2330080"/>
                  <a:pt x="5755077" y="2330080"/>
                </a:cubicBezTo>
                <a:lnTo>
                  <a:pt x="5757851" y="2328372"/>
                </a:lnTo>
                <a:lnTo>
                  <a:pt x="5754010" y="2326096"/>
                </a:lnTo>
                <a:cubicBezTo>
                  <a:pt x="5747607" y="2324246"/>
                  <a:pt x="5743126" y="2328230"/>
                  <a:pt x="5739071" y="2325242"/>
                </a:cubicBezTo>
                <a:cubicBezTo>
                  <a:pt x="5733948" y="2321401"/>
                  <a:pt x="5738003" y="2314714"/>
                  <a:pt x="5738003" y="2314714"/>
                </a:cubicBezTo>
                <a:cubicBezTo>
                  <a:pt x="5742058" y="2311443"/>
                  <a:pt x="5749314" y="2313718"/>
                  <a:pt x="5752942" y="2314003"/>
                </a:cubicBezTo>
                <a:cubicBezTo>
                  <a:pt x="5756785" y="2312438"/>
                  <a:pt x="5758918" y="2309166"/>
                  <a:pt x="5760839" y="2307459"/>
                </a:cubicBezTo>
                <a:cubicBezTo>
                  <a:pt x="5759132" y="2304755"/>
                  <a:pt x="5762120" y="2297073"/>
                  <a:pt x="5765535" y="2289959"/>
                </a:cubicBezTo>
                <a:lnTo>
                  <a:pt x="5767669" y="2286118"/>
                </a:lnTo>
                <a:lnTo>
                  <a:pt x="5765748" y="2285549"/>
                </a:lnTo>
                <a:cubicBezTo>
                  <a:pt x="5762973" y="2278293"/>
                  <a:pt x="5759345" y="2272034"/>
                  <a:pt x="5755930" y="2265774"/>
                </a:cubicBezTo>
                <a:lnTo>
                  <a:pt x="5754864" y="2263924"/>
                </a:lnTo>
                <a:lnTo>
                  <a:pt x="5753156" y="2266912"/>
                </a:lnTo>
                <a:cubicBezTo>
                  <a:pt x="5751876" y="2267908"/>
                  <a:pt x="5749314" y="2268761"/>
                  <a:pt x="5746540" y="2269046"/>
                </a:cubicBezTo>
                <a:cubicBezTo>
                  <a:pt x="5743552" y="2269188"/>
                  <a:pt x="5740778" y="2268904"/>
                  <a:pt x="5739071" y="2267481"/>
                </a:cubicBezTo>
                <a:cubicBezTo>
                  <a:pt x="5740351" y="2265347"/>
                  <a:pt x="5741418" y="2263213"/>
                  <a:pt x="5742699" y="2261079"/>
                </a:cubicBezTo>
                <a:cubicBezTo>
                  <a:pt x="5742699" y="2262217"/>
                  <a:pt x="5753370" y="2261079"/>
                  <a:pt x="5753370" y="2261079"/>
                </a:cubicBezTo>
                <a:lnTo>
                  <a:pt x="5754650" y="2263213"/>
                </a:lnTo>
                <a:lnTo>
                  <a:pt x="5745900" y="2246141"/>
                </a:lnTo>
                <a:cubicBezTo>
                  <a:pt x="5755077" y="2233906"/>
                  <a:pt x="5750809" y="2208724"/>
                  <a:pt x="5767028" y="2201895"/>
                </a:cubicBezTo>
                <a:lnTo>
                  <a:pt x="5770870" y="2202464"/>
                </a:lnTo>
                <a:lnTo>
                  <a:pt x="5771297" y="2202037"/>
                </a:lnTo>
                <a:cubicBezTo>
                  <a:pt x="5772364" y="2201184"/>
                  <a:pt x="5773644" y="2200615"/>
                  <a:pt x="5775139" y="2200757"/>
                </a:cubicBezTo>
                <a:lnTo>
                  <a:pt x="5777272" y="2202180"/>
                </a:lnTo>
                <a:lnTo>
                  <a:pt x="5783889" y="2200900"/>
                </a:lnTo>
                <a:lnTo>
                  <a:pt x="5785169" y="2201042"/>
                </a:lnTo>
                <a:lnTo>
                  <a:pt x="5787517" y="2200330"/>
                </a:lnTo>
                <a:lnTo>
                  <a:pt x="5786877" y="2195778"/>
                </a:lnTo>
                <a:cubicBezTo>
                  <a:pt x="5787517" y="2194213"/>
                  <a:pt x="5788797" y="2193359"/>
                  <a:pt x="5790078" y="2192932"/>
                </a:cubicBezTo>
                <a:cubicBezTo>
                  <a:pt x="5791572" y="2192506"/>
                  <a:pt x="5793279" y="2192648"/>
                  <a:pt x="5794773" y="2193217"/>
                </a:cubicBezTo>
                <a:cubicBezTo>
                  <a:pt x="5796054" y="2193217"/>
                  <a:pt x="5796907" y="2193928"/>
                  <a:pt x="5797548" y="2195066"/>
                </a:cubicBezTo>
                <a:cubicBezTo>
                  <a:pt x="5798188" y="2196347"/>
                  <a:pt x="5798401" y="2197769"/>
                  <a:pt x="5798188" y="2199050"/>
                </a:cubicBezTo>
                <a:lnTo>
                  <a:pt x="5798188" y="2199334"/>
                </a:lnTo>
                <a:lnTo>
                  <a:pt x="5808219" y="2204598"/>
                </a:lnTo>
                <a:lnTo>
                  <a:pt x="5809285" y="2199050"/>
                </a:lnTo>
                <a:cubicBezTo>
                  <a:pt x="5808859" y="2195493"/>
                  <a:pt x="5807365" y="2192363"/>
                  <a:pt x="5804804" y="2189660"/>
                </a:cubicBezTo>
                <a:cubicBezTo>
                  <a:pt x="5801389" y="2185961"/>
                  <a:pt x="5797548" y="2185534"/>
                  <a:pt x="5792212" y="2181693"/>
                </a:cubicBezTo>
                <a:cubicBezTo>
                  <a:pt x="5788797" y="2177994"/>
                  <a:pt x="5787303" y="2176144"/>
                  <a:pt x="5789224" y="2174580"/>
                </a:cubicBezTo>
                <a:cubicBezTo>
                  <a:pt x="5789224" y="2174580"/>
                  <a:pt x="5789224" y="2174438"/>
                  <a:pt x="5778553" y="2166755"/>
                </a:cubicBezTo>
                <a:cubicBezTo>
                  <a:pt x="5776846" y="2164905"/>
                  <a:pt x="5777059" y="2163198"/>
                  <a:pt x="5777059" y="2163198"/>
                </a:cubicBezTo>
                <a:cubicBezTo>
                  <a:pt x="5777059" y="2163198"/>
                  <a:pt x="5777059" y="2163198"/>
                  <a:pt x="5780474" y="2165190"/>
                </a:cubicBezTo>
                <a:cubicBezTo>
                  <a:pt x="5780474" y="2165190"/>
                  <a:pt x="5782395" y="2167039"/>
                  <a:pt x="5784102" y="2168889"/>
                </a:cubicBezTo>
                <a:cubicBezTo>
                  <a:pt x="5784102" y="2168889"/>
                  <a:pt x="5785810" y="2169031"/>
                  <a:pt x="5787730" y="2169174"/>
                </a:cubicBezTo>
                <a:cubicBezTo>
                  <a:pt x="5789438" y="2171023"/>
                  <a:pt x="5785810" y="2170880"/>
                  <a:pt x="5789224" y="2172872"/>
                </a:cubicBezTo>
                <a:cubicBezTo>
                  <a:pt x="5789224" y="2172872"/>
                  <a:pt x="5802243" y="2173726"/>
                  <a:pt x="5800322" y="2173584"/>
                </a:cubicBezTo>
                <a:cubicBezTo>
                  <a:pt x="5803737" y="2177283"/>
                  <a:pt x="5805231" y="2182547"/>
                  <a:pt x="5808859" y="2184538"/>
                </a:cubicBezTo>
                <a:cubicBezTo>
                  <a:pt x="5813981" y="2190229"/>
                  <a:pt x="5821237" y="2190656"/>
                  <a:pt x="5828920" y="2185961"/>
                </a:cubicBezTo>
                <a:cubicBezTo>
                  <a:pt x="5835109" y="2177567"/>
                  <a:pt x="5838310" y="2160353"/>
                  <a:pt x="5833189" y="2156511"/>
                </a:cubicBezTo>
                <a:cubicBezTo>
                  <a:pt x="5842793" y="2150109"/>
                  <a:pt x="5870323" y="2151959"/>
                  <a:pt x="5872458" y="2148687"/>
                </a:cubicBezTo>
                <a:cubicBezTo>
                  <a:pt x="5873098" y="2147833"/>
                  <a:pt x="5873311" y="2146410"/>
                  <a:pt x="5873738" y="2144845"/>
                </a:cubicBezTo>
                <a:lnTo>
                  <a:pt x="5873952" y="2142427"/>
                </a:lnTo>
                <a:lnTo>
                  <a:pt x="5871604" y="2140720"/>
                </a:lnTo>
                <a:cubicBezTo>
                  <a:pt x="5869897" y="2138301"/>
                  <a:pt x="5869897" y="2134886"/>
                  <a:pt x="5869470" y="2130334"/>
                </a:cubicBezTo>
                <a:cubicBezTo>
                  <a:pt x="5869897" y="2131330"/>
                  <a:pt x="5870537" y="2129765"/>
                  <a:pt x="5870537" y="2129765"/>
                </a:cubicBezTo>
                <a:cubicBezTo>
                  <a:pt x="5871604" y="2126350"/>
                  <a:pt x="5864775" y="2129196"/>
                  <a:pt x="5865202" y="2124785"/>
                </a:cubicBezTo>
                <a:cubicBezTo>
                  <a:pt x="5866695" y="2117814"/>
                  <a:pt x="5874806" y="2114969"/>
                  <a:pt x="5879287" y="2113689"/>
                </a:cubicBezTo>
                <a:lnTo>
                  <a:pt x="5881848" y="2112977"/>
                </a:lnTo>
                <a:lnTo>
                  <a:pt x="5881208" y="2111981"/>
                </a:lnTo>
                <a:lnTo>
                  <a:pt x="5882916" y="2112408"/>
                </a:lnTo>
                <a:lnTo>
                  <a:pt x="5883129" y="2112266"/>
                </a:lnTo>
                <a:cubicBezTo>
                  <a:pt x="5883769" y="2113262"/>
                  <a:pt x="5884836" y="2112692"/>
                  <a:pt x="5884196" y="2111697"/>
                </a:cubicBezTo>
                <a:cubicBezTo>
                  <a:pt x="5886330" y="2111697"/>
                  <a:pt x="5888037" y="2111697"/>
                  <a:pt x="5889105" y="2112124"/>
                </a:cubicBezTo>
                <a:cubicBezTo>
                  <a:pt x="5890172" y="2112551"/>
                  <a:pt x="5890385" y="2113262"/>
                  <a:pt x="5889958" y="2114827"/>
                </a:cubicBezTo>
                <a:cubicBezTo>
                  <a:pt x="5889958" y="2117529"/>
                  <a:pt x="5887397" y="2117814"/>
                  <a:pt x="5886544" y="2121228"/>
                </a:cubicBezTo>
                <a:cubicBezTo>
                  <a:pt x="5885903" y="2124217"/>
                  <a:pt x="5888678" y="2125923"/>
                  <a:pt x="5891025" y="2128484"/>
                </a:cubicBezTo>
                <a:lnTo>
                  <a:pt x="5892733" y="2130903"/>
                </a:lnTo>
                <a:lnTo>
                  <a:pt x="5894227" y="2130761"/>
                </a:lnTo>
                <a:cubicBezTo>
                  <a:pt x="5894227" y="2129053"/>
                  <a:pt x="5887184" y="2126777"/>
                  <a:pt x="5891239" y="2121798"/>
                </a:cubicBezTo>
                <a:cubicBezTo>
                  <a:pt x="5895080" y="2118526"/>
                  <a:pt x="5896788" y="2120375"/>
                  <a:pt x="5898708" y="2120517"/>
                </a:cubicBezTo>
                <a:cubicBezTo>
                  <a:pt x="5905538" y="2126208"/>
                  <a:pt x="5899775" y="2129480"/>
                  <a:pt x="5903190" y="2133179"/>
                </a:cubicBezTo>
                <a:cubicBezTo>
                  <a:pt x="5911087" y="2128484"/>
                  <a:pt x="5921971" y="2129053"/>
                  <a:pt x="5926026" y="2125923"/>
                </a:cubicBezTo>
                <a:cubicBezTo>
                  <a:pt x="5928160" y="2122509"/>
                  <a:pt x="5925600" y="2108425"/>
                  <a:pt x="5923892" y="2106575"/>
                </a:cubicBezTo>
                <a:cubicBezTo>
                  <a:pt x="5922825" y="2105579"/>
                  <a:pt x="5921545" y="2105295"/>
                  <a:pt x="5920050" y="2105295"/>
                </a:cubicBezTo>
                <a:lnTo>
                  <a:pt x="5915995" y="2105863"/>
                </a:lnTo>
                <a:lnTo>
                  <a:pt x="5915995" y="2107144"/>
                </a:lnTo>
                <a:lnTo>
                  <a:pt x="5913434" y="2112408"/>
                </a:lnTo>
                <a:lnTo>
                  <a:pt x="5915355" y="2113119"/>
                </a:lnTo>
                <a:cubicBezTo>
                  <a:pt x="5916209" y="2114542"/>
                  <a:pt x="5916849" y="2116534"/>
                  <a:pt x="5917276" y="2118383"/>
                </a:cubicBezTo>
                <a:cubicBezTo>
                  <a:pt x="5916636" y="2117387"/>
                  <a:pt x="5916636" y="2117387"/>
                  <a:pt x="5916636" y="2117387"/>
                </a:cubicBezTo>
                <a:cubicBezTo>
                  <a:pt x="5915142" y="2117103"/>
                  <a:pt x="5915569" y="2118099"/>
                  <a:pt x="5914715" y="2118668"/>
                </a:cubicBezTo>
                <a:cubicBezTo>
                  <a:pt x="5914715" y="2118668"/>
                  <a:pt x="5915569" y="2118099"/>
                  <a:pt x="5915142" y="2119806"/>
                </a:cubicBezTo>
                <a:cubicBezTo>
                  <a:pt x="5914715" y="2118668"/>
                  <a:pt x="5913648" y="2119379"/>
                  <a:pt x="5912581" y="2119948"/>
                </a:cubicBezTo>
                <a:cubicBezTo>
                  <a:pt x="5909379" y="2119237"/>
                  <a:pt x="5905751" y="2117387"/>
                  <a:pt x="5905751" y="2114684"/>
                </a:cubicBezTo>
                <a:lnTo>
                  <a:pt x="5907459" y="2112408"/>
                </a:lnTo>
                <a:lnTo>
                  <a:pt x="5904471" y="2112266"/>
                </a:lnTo>
                <a:cubicBezTo>
                  <a:pt x="5903404" y="2111981"/>
                  <a:pt x="5902550" y="2111412"/>
                  <a:pt x="5901696" y="2110274"/>
                </a:cubicBezTo>
                <a:lnTo>
                  <a:pt x="5898068" y="2105863"/>
                </a:lnTo>
                <a:lnTo>
                  <a:pt x="5896574" y="2107998"/>
                </a:lnTo>
                <a:cubicBezTo>
                  <a:pt x="5895934" y="2108851"/>
                  <a:pt x="5894867" y="2109420"/>
                  <a:pt x="5893800" y="2109562"/>
                </a:cubicBezTo>
                <a:cubicBezTo>
                  <a:pt x="5892946" y="2109562"/>
                  <a:pt x="5892092" y="2109420"/>
                  <a:pt x="5891025" y="2108851"/>
                </a:cubicBezTo>
                <a:cubicBezTo>
                  <a:pt x="5891025" y="2108851"/>
                  <a:pt x="5891025" y="2108851"/>
                  <a:pt x="5890812" y="2107713"/>
                </a:cubicBezTo>
                <a:cubicBezTo>
                  <a:pt x="5890172" y="2105579"/>
                  <a:pt x="5889958" y="2104441"/>
                  <a:pt x="5889532" y="2103303"/>
                </a:cubicBezTo>
                <a:cubicBezTo>
                  <a:pt x="5889958" y="2102591"/>
                  <a:pt x="5890812" y="2101311"/>
                  <a:pt x="5891879" y="2100315"/>
                </a:cubicBezTo>
                <a:lnTo>
                  <a:pt x="5894440" y="2099035"/>
                </a:lnTo>
                <a:lnTo>
                  <a:pt x="5894013" y="2097754"/>
                </a:lnTo>
                <a:cubicBezTo>
                  <a:pt x="5893800" y="2094482"/>
                  <a:pt x="5895294" y="2091779"/>
                  <a:pt x="5897215" y="2087795"/>
                </a:cubicBezTo>
                <a:cubicBezTo>
                  <a:pt x="5897215" y="2089076"/>
                  <a:pt x="5898495" y="2088080"/>
                  <a:pt x="5898495" y="2088080"/>
                </a:cubicBezTo>
                <a:cubicBezTo>
                  <a:pt x="5900843" y="2085946"/>
                  <a:pt x="5894013" y="2083670"/>
                  <a:pt x="5896574" y="2080398"/>
                </a:cubicBezTo>
                <a:cubicBezTo>
                  <a:pt x="5898922" y="2078121"/>
                  <a:pt x="5902123" y="2077694"/>
                  <a:pt x="5905324" y="2078264"/>
                </a:cubicBezTo>
                <a:cubicBezTo>
                  <a:pt x="5908526" y="2078690"/>
                  <a:pt x="5911514" y="2080113"/>
                  <a:pt x="5913648" y="2081109"/>
                </a:cubicBezTo>
                <a:lnTo>
                  <a:pt x="5915995" y="2082389"/>
                </a:lnTo>
                <a:lnTo>
                  <a:pt x="5915995" y="2081109"/>
                </a:lnTo>
                <a:lnTo>
                  <a:pt x="5917276" y="2082531"/>
                </a:lnTo>
                <a:lnTo>
                  <a:pt x="5917276" y="2082389"/>
                </a:lnTo>
                <a:cubicBezTo>
                  <a:pt x="5917276" y="2075845"/>
                  <a:pt x="5918130" y="2070296"/>
                  <a:pt x="5918983" y="2069443"/>
                </a:cubicBezTo>
                <a:cubicBezTo>
                  <a:pt x="5921971" y="2074849"/>
                  <a:pt x="5924532" y="2080113"/>
                  <a:pt x="5927093" y="2084950"/>
                </a:cubicBezTo>
                <a:lnTo>
                  <a:pt x="5933709" y="2097896"/>
                </a:lnTo>
                <a:lnTo>
                  <a:pt x="5934136" y="2097754"/>
                </a:lnTo>
                <a:lnTo>
                  <a:pt x="5933709" y="2098039"/>
                </a:lnTo>
                <a:lnTo>
                  <a:pt x="5934136" y="2098750"/>
                </a:lnTo>
                <a:lnTo>
                  <a:pt x="5934776" y="2100031"/>
                </a:lnTo>
                <a:lnTo>
                  <a:pt x="5937978" y="2099177"/>
                </a:lnTo>
                <a:cubicBezTo>
                  <a:pt x="5938831" y="2099604"/>
                  <a:pt x="5939685" y="2100315"/>
                  <a:pt x="5940325" y="2101026"/>
                </a:cubicBezTo>
                <a:cubicBezTo>
                  <a:pt x="5942032" y="2101880"/>
                  <a:pt x="5942887" y="2103588"/>
                  <a:pt x="5942887" y="2105437"/>
                </a:cubicBezTo>
                <a:lnTo>
                  <a:pt x="5942673" y="2106717"/>
                </a:lnTo>
                <a:lnTo>
                  <a:pt x="5943527" y="2105863"/>
                </a:lnTo>
                <a:cubicBezTo>
                  <a:pt x="5945020" y="2105295"/>
                  <a:pt x="5946728" y="2105295"/>
                  <a:pt x="5948222" y="2105579"/>
                </a:cubicBezTo>
                <a:cubicBezTo>
                  <a:pt x="5949502" y="2105437"/>
                  <a:pt x="5950570" y="2106290"/>
                  <a:pt x="5951210" y="2107286"/>
                </a:cubicBezTo>
                <a:cubicBezTo>
                  <a:pt x="5952063" y="2108425"/>
                  <a:pt x="5952490" y="2109847"/>
                  <a:pt x="5952490" y="2111127"/>
                </a:cubicBezTo>
                <a:cubicBezTo>
                  <a:pt x="5951850" y="2112835"/>
                  <a:pt x="5951850" y="2112835"/>
                  <a:pt x="5951423" y="2114399"/>
                </a:cubicBezTo>
                <a:cubicBezTo>
                  <a:pt x="5950356" y="2115111"/>
                  <a:pt x="5949502" y="2115822"/>
                  <a:pt x="5948435" y="2116676"/>
                </a:cubicBezTo>
                <a:lnTo>
                  <a:pt x="5946301" y="2117672"/>
                </a:lnTo>
                <a:lnTo>
                  <a:pt x="5946942" y="2118526"/>
                </a:lnTo>
                <a:cubicBezTo>
                  <a:pt x="5952277" y="2122509"/>
                  <a:pt x="5952277" y="2120660"/>
                  <a:pt x="5958039" y="2117529"/>
                </a:cubicBezTo>
                <a:cubicBezTo>
                  <a:pt x="5958039" y="2117529"/>
                  <a:pt x="5958253" y="2117672"/>
                  <a:pt x="5971271" y="2116676"/>
                </a:cubicBezTo>
                <a:cubicBezTo>
                  <a:pt x="5978314" y="2118952"/>
                  <a:pt x="5984076" y="2117672"/>
                  <a:pt x="5989626" y="2117956"/>
                </a:cubicBezTo>
                <a:cubicBezTo>
                  <a:pt x="5989626" y="2117956"/>
                  <a:pt x="5989626" y="2117956"/>
                  <a:pt x="5999442" y="2108140"/>
                </a:cubicBezTo>
                <a:cubicBezTo>
                  <a:pt x="6009687" y="2096474"/>
                  <a:pt x="6007339" y="2077126"/>
                  <a:pt x="6007339" y="2077126"/>
                </a:cubicBezTo>
                <a:cubicBezTo>
                  <a:pt x="6007553" y="2075276"/>
                  <a:pt x="6010327" y="2063183"/>
                  <a:pt x="6008406" y="2063183"/>
                </a:cubicBezTo>
                <a:cubicBezTo>
                  <a:pt x="6012248" y="2061618"/>
                  <a:pt x="6014382" y="2058346"/>
                  <a:pt x="6018010" y="2056781"/>
                </a:cubicBezTo>
                <a:cubicBezTo>
                  <a:pt x="6026760" y="2066170"/>
                  <a:pt x="6001150" y="2109989"/>
                  <a:pt x="6013528" y="2119522"/>
                </a:cubicBezTo>
                <a:cubicBezTo>
                  <a:pt x="6016943" y="2123363"/>
                  <a:pt x="6037645" y="2117672"/>
                  <a:pt x="6039352" y="2119522"/>
                </a:cubicBezTo>
                <a:lnTo>
                  <a:pt x="6044261" y="2113262"/>
                </a:lnTo>
                <a:lnTo>
                  <a:pt x="6042981" y="2110986"/>
                </a:lnTo>
                <a:cubicBezTo>
                  <a:pt x="6043194" y="2108709"/>
                  <a:pt x="6044901" y="2106433"/>
                  <a:pt x="6048529" y="2105579"/>
                </a:cubicBezTo>
                <a:lnTo>
                  <a:pt x="6048956" y="2107429"/>
                </a:lnTo>
                <a:lnTo>
                  <a:pt x="6049169" y="2107429"/>
                </a:lnTo>
                <a:cubicBezTo>
                  <a:pt x="6050877" y="2105579"/>
                  <a:pt x="6053224" y="2100742"/>
                  <a:pt x="6057066" y="2105010"/>
                </a:cubicBezTo>
                <a:cubicBezTo>
                  <a:pt x="6062401" y="2108851"/>
                  <a:pt x="6059413" y="2126208"/>
                  <a:pt x="6061121" y="2128057"/>
                </a:cubicBezTo>
                <a:cubicBezTo>
                  <a:pt x="6070084" y="2136451"/>
                  <a:pt x="6081396" y="2129338"/>
                  <a:pt x="6088652" y="2127631"/>
                </a:cubicBezTo>
                <a:lnTo>
                  <a:pt x="6089506" y="2127773"/>
                </a:lnTo>
                <a:lnTo>
                  <a:pt x="6092067" y="2123932"/>
                </a:lnTo>
                <a:cubicBezTo>
                  <a:pt x="6095268" y="2117956"/>
                  <a:pt x="6097616" y="2111981"/>
                  <a:pt x="6101031" y="2106006"/>
                </a:cubicBezTo>
                <a:lnTo>
                  <a:pt x="6102311" y="2104156"/>
                </a:lnTo>
                <a:lnTo>
                  <a:pt x="6098469" y="2101596"/>
                </a:lnTo>
                <a:lnTo>
                  <a:pt x="6098896" y="2100315"/>
                </a:lnTo>
                <a:lnTo>
                  <a:pt x="6097402" y="2100173"/>
                </a:lnTo>
                <a:cubicBezTo>
                  <a:pt x="6096122" y="2099888"/>
                  <a:pt x="6095055" y="2099177"/>
                  <a:pt x="6093774" y="2098039"/>
                </a:cubicBezTo>
                <a:cubicBezTo>
                  <a:pt x="6090146" y="2094198"/>
                  <a:pt x="6087372" y="2085803"/>
                  <a:pt x="6090786" y="2082389"/>
                </a:cubicBezTo>
                <a:cubicBezTo>
                  <a:pt x="6093988" y="2077837"/>
                  <a:pt x="6097402" y="2076699"/>
                  <a:pt x="6101031" y="2076841"/>
                </a:cubicBezTo>
                <a:cubicBezTo>
                  <a:pt x="6101031" y="2076841"/>
                  <a:pt x="6101031" y="2076983"/>
                  <a:pt x="6099750" y="2076841"/>
                </a:cubicBezTo>
                <a:cubicBezTo>
                  <a:pt x="6094841" y="2071862"/>
                  <a:pt x="6086518" y="2063183"/>
                  <a:pt x="6087372" y="2059626"/>
                </a:cubicBezTo>
                <a:cubicBezTo>
                  <a:pt x="6088652" y="2059769"/>
                  <a:pt x="6089719" y="2059769"/>
                  <a:pt x="6091000" y="2061049"/>
                </a:cubicBezTo>
                <a:cubicBezTo>
                  <a:pt x="6092280" y="2062187"/>
                  <a:pt x="6091000" y="2062187"/>
                  <a:pt x="6092067" y="2062187"/>
                </a:cubicBezTo>
                <a:cubicBezTo>
                  <a:pt x="6093348" y="2063468"/>
                  <a:pt x="6093348" y="2062329"/>
                  <a:pt x="6093348" y="2062329"/>
                </a:cubicBezTo>
                <a:cubicBezTo>
                  <a:pt x="6093348" y="2062329"/>
                  <a:pt x="6093348" y="2063468"/>
                  <a:pt x="6093348" y="2063468"/>
                </a:cubicBezTo>
                <a:cubicBezTo>
                  <a:pt x="6093348" y="2063468"/>
                  <a:pt x="6093348" y="2063468"/>
                  <a:pt x="6095908" y="2066028"/>
                </a:cubicBezTo>
                <a:cubicBezTo>
                  <a:pt x="6099323" y="2068447"/>
                  <a:pt x="6100604" y="2068589"/>
                  <a:pt x="6102951" y="2069870"/>
                </a:cubicBezTo>
                <a:cubicBezTo>
                  <a:pt x="6105512" y="2072431"/>
                  <a:pt x="6105512" y="2073569"/>
                  <a:pt x="6108073" y="2077267"/>
                </a:cubicBezTo>
                <a:cubicBezTo>
                  <a:pt x="6107006" y="2079544"/>
                  <a:pt x="6107006" y="2079544"/>
                  <a:pt x="6105726" y="2079544"/>
                </a:cubicBezTo>
                <a:cubicBezTo>
                  <a:pt x="6107006" y="2079544"/>
                  <a:pt x="6107006" y="2080683"/>
                  <a:pt x="6108073" y="2081962"/>
                </a:cubicBezTo>
                <a:cubicBezTo>
                  <a:pt x="6111061" y="2083954"/>
                  <a:pt x="6112128" y="2086373"/>
                  <a:pt x="6111702" y="2088934"/>
                </a:cubicBezTo>
                <a:lnTo>
                  <a:pt x="6108927" y="2094909"/>
                </a:lnTo>
                <a:lnTo>
                  <a:pt x="6109140" y="2095194"/>
                </a:lnTo>
                <a:lnTo>
                  <a:pt x="6115756" y="2088507"/>
                </a:lnTo>
                <a:cubicBezTo>
                  <a:pt x="6122799" y="2099888"/>
                  <a:pt x="6112342" y="2124074"/>
                  <a:pt x="6098469" y="2133037"/>
                </a:cubicBezTo>
                <a:lnTo>
                  <a:pt x="6096548" y="2134033"/>
                </a:lnTo>
                <a:lnTo>
                  <a:pt x="6097829" y="2141858"/>
                </a:lnTo>
                <a:cubicBezTo>
                  <a:pt x="6098469" y="2148118"/>
                  <a:pt x="6098896" y="2154235"/>
                  <a:pt x="6099750" y="2155089"/>
                </a:cubicBezTo>
                <a:cubicBezTo>
                  <a:pt x="6110207" y="2164620"/>
                  <a:pt x="6117037" y="2147549"/>
                  <a:pt x="6127708" y="2151817"/>
                </a:cubicBezTo>
                <a:cubicBezTo>
                  <a:pt x="6125787" y="2153381"/>
                  <a:pt x="6129415" y="2155373"/>
                  <a:pt x="6127281" y="2158646"/>
                </a:cubicBezTo>
                <a:cubicBezTo>
                  <a:pt x="6127068" y="2160495"/>
                  <a:pt x="6123439" y="2160210"/>
                  <a:pt x="6123226" y="2163625"/>
                </a:cubicBezTo>
                <a:cubicBezTo>
                  <a:pt x="6113195" y="2173441"/>
                  <a:pt x="6134964" y="2181978"/>
                  <a:pt x="6130909" y="2185250"/>
                </a:cubicBezTo>
                <a:cubicBezTo>
                  <a:pt x="6136245" y="2189091"/>
                  <a:pt x="6143288" y="2193074"/>
                  <a:pt x="6149477" y="2184680"/>
                </a:cubicBezTo>
                <a:cubicBezTo>
                  <a:pt x="6151184" y="2184823"/>
                  <a:pt x="6151611" y="2181408"/>
                  <a:pt x="6151611" y="2181408"/>
                </a:cubicBezTo>
                <a:cubicBezTo>
                  <a:pt x="6155026" y="2183400"/>
                  <a:pt x="6157373" y="2178278"/>
                  <a:pt x="6159294" y="2176713"/>
                </a:cubicBezTo>
                <a:cubicBezTo>
                  <a:pt x="6159294" y="2176713"/>
                  <a:pt x="6159294" y="2176571"/>
                  <a:pt x="6164629" y="2180413"/>
                </a:cubicBezTo>
                <a:cubicBezTo>
                  <a:pt x="6160361" y="2185392"/>
                  <a:pt x="6166124" y="2184112"/>
                  <a:pt x="6162069" y="2189091"/>
                </a:cubicBezTo>
                <a:cubicBezTo>
                  <a:pt x="6162069" y="2189091"/>
                  <a:pt x="6162069" y="2189091"/>
                  <a:pt x="6156093" y="2193928"/>
                </a:cubicBezTo>
                <a:cubicBezTo>
                  <a:pt x="6154386" y="2193928"/>
                  <a:pt x="6154386" y="2193786"/>
                  <a:pt x="6152251" y="2195351"/>
                </a:cubicBezTo>
                <a:cubicBezTo>
                  <a:pt x="6144355" y="2203602"/>
                  <a:pt x="6147769" y="2207302"/>
                  <a:pt x="6153105" y="2211285"/>
                </a:cubicBezTo>
                <a:cubicBezTo>
                  <a:pt x="6158227" y="2215126"/>
                  <a:pt x="6169325" y="2215838"/>
                  <a:pt x="6171245" y="2215980"/>
                </a:cubicBezTo>
                <a:cubicBezTo>
                  <a:pt x="6170605" y="2222951"/>
                  <a:pt x="6160574" y="2234475"/>
                  <a:pt x="6169112" y="2243864"/>
                </a:cubicBezTo>
                <a:cubicBezTo>
                  <a:pt x="6174447" y="2247706"/>
                  <a:pt x="6186825" y="2231060"/>
                  <a:pt x="6195362" y="2238600"/>
                </a:cubicBezTo>
                <a:cubicBezTo>
                  <a:pt x="6198990" y="2240592"/>
                  <a:pt x="6198777" y="2244149"/>
                  <a:pt x="6194935" y="2245572"/>
                </a:cubicBezTo>
                <a:cubicBezTo>
                  <a:pt x="6192801" y="2250693"/>
                  <a:pt x="6187039" y="2252116"/>
                  <a:pt x="6181703" y="2249982"/>
                </a:cubicBezTo>
                <a:cubicBezTo>
                  <a:pt x="6175087" y="2263497"/>
                  <a:pt x="6174233" y="2275733"/>
                  <a:pt x="6184691" y="2283415"/>
                </a:cubicBezTo>
                <a:cubicBezTo>
                  <a:pt x="6197070" y="2292947"/>
                  <a:pt x="6201125" y="2287968"/>
                  <a:pt x="6213716" y="2292378"/>
                </a:cubicBezTo>
                <a:cubicBezTo>
                  <a:pt x="6211796" y="2293943"/>
                  <a:pt x="6209875" y="2295650"/>
                  <a:pt x="6207741" y="2297215"/>
                </a:cubicBezTo>
                <a:cubicBezTo>
                  <a:pt x="6205820" y="2298922"/>
                  <a:pt x="6205820" y="2298922"/>
                  <a:pt x="6205606" y="2300630"/>
                </a:cubicBezTo>
                <a:cubicBezTo>
                  <a:pt x="6210941" y="2304471"/>
                  <a:pt x="6214997" y="2301199"/>
                  <a:pt x="6222040" y="2305182"/>
                </a:cubicBezTo>
                <a:lnTo>
                  <a:pt x="6212222" y="2307601"/>
                </a:lnTo>
                <a:lnTo>
                  <a:pt x="6216064" y="2310731"/>
                </a:lnTo>
                <a:cubicBezTo>
                  <a:pt x="6214143" y="2314999"/>
                  <a:pt x="6210728" y="2318840"/>
                  <a:pt x="6206460" y="2321685"/>
                </a:cubicBezTo>
                <a:lnTo>
                  <a:pt x="6199204" y="2324673"/>
                </a:lnTo>
                <a:lnTo>
                  <a:pt x="6198137" y="2328088"/>
                </a:lnTo>
                <a:cubicBezTo>
                  <a:pt x="6194082" y="2331360"/>
                  <a:pt x="6186825" y="2329083"/>
                  <a:pt x="6182771" y="2334063"/>
                </a:cubicBezTo>
                <a:cubicBezTo>
                  <a:pt x="6182771" y="2334063"/>
                  <a:pt x="6164843" y="2353838"/>
                  <a:pt x="6171672" y="2359529"/>
                </a:cubicBezTo>
                <a:cubicBezTo>
                  <a:pt x="6180423" y="2367211"/>
                  <a:pt x="6201125" y="2363370"/>
                  <a:pt x="6206246" y="2368919"/>
                </a:cubicBezTo>
                <a:cubicBezTo>
                  <a:pt x="6209875" y="2370911"/>
                  <a:pt x="6207741" y="2374325"/>
                  <a:pt x="6205606" y="2375890"/>
                </a:cubicBezTo>
                <a:cubicBezTo>
                  <a:pt x="6205606" y="2375890"/>
                  <a:pt x="6190240" y="2373898"/>
                  <a:pt x="6178288" y="2377028"/>
                </a:cubicBezTo>
                <a:lnTo>
                  <a:pt x="6170819" y="2380869"/>
                </a:lnTo>
                <a:lnTo>
                  <a:pt x="6173380" y="2382150"/>
                </a:lnTo>
                <a:cubicBezTo>
                  <a:pt x="6172100" y="2383146"/>
                  <a:pt x="6173166" y="2383288"/>
                  <a:pt x="6173166" y="2384426"/>
                </a:cubicBezTo>
                <a:cubicBezTo>
                  <a:pt x="6172526" y="2383857"/>
                  <a:pt x="6171459" y="2383288"/>
                  <a:pt x="6170179" y="2382861"/>
                </a:cubicBezTo>
                <a:lnTo>
                  <a:pt x="6168471" y="2382150"/>
                </a:lnTo>
                <a:lnTo>
                  <a:pt x="6168258" y="2382150"/>
                </a:lnTo>
                <a:cubicBezTo>
                  <a:pt x="6166124" y="2385564"/>
                  <a:pt x="6169752" y="2387556"/>
                  <a:pt x="6167617" y="2389121"/>
                </a:cubicBezTo>
                <a:cubicBezTo>
                  <a:pt x="6167617" y="2390828"/>
                  <a:pt x="6165697" y="2390686"/>
                  <a:pt x="6163989" y="2390686"/>
                </a:cubicBezTo>
                <a:cubicBezTo>
                  <a:pt x="6163776" y="2392393"/>
                  <a:pt x="6161855" y="2394100"/>
                  <a:pt x="6161642" y="2395808"/>
                </a:cubicBezTo>
                <a:cubicBezTo>
                  <a:pt x="6161642" y="2395808"/>
                  <a:pt x="6150330" y="2400218"/>
                  <a:pt x="6148410" y="2400076"/>
                </a:cubicBezTo>
                <a:cubicBezTo>
                  <a:pt x="6148410" y="2400076"/>
                  <a:pt x="6145848" y="2406762"/>
                  <a:pt x="6146702" y="2411742"/>
                </a:cubicBezTo>
                <a:lnTo>
                  <a:pt x="6148196" y="2414445"/>
                </a:lnTo>
                <a:lnTo>
                  <a:pt x="6150544" y="2414445"/>
                </a:lnTo>
                <a:lnTo>
                  <a:pt x="6150544" y="2413165"/>
                </a:lnTo>
                <a:cubicBezTo>
                  <a:pt x="6150757" y="2411315"/>
                  <a:pt x="6151184" y="2409750"/>
                  <a:pt x="6151611" y="2408612"/>
                </a:cubicBezTo>
                <a:cubicBezTo>
                  <a:pt x="6152465" y="2409038"/>
                  <a:pt x="6153105" y="2410035"/>
                  <a:pt x="6153318" y="2411457"/>
                </a:cubicBezTo>
                <a:lnTo>
                  <a:pt x="6153532" y="2414587"/>
                </a:lnTo>
                <a:lnTo>
                  <a:pt x="6156520" y="2414587"/>
                </a:lnTo>
                <a:cubicBezTo>
                  <a:pt x="6160574" y="2415583"/>
                  <a:pt x="6164629" y="2418144"/>
                  <a:pt x="6168258" y="2422554"/>
                </a:cubicBezTo>
                <a:cubicBezTo>
                  <a:pt x="6171032" y="2429098"/>
                  <a:pt x="6163349" y="2438630"/>
                  <a:pt x="6155453" y="2442187"/>
                </a:cubicBezTo>
                <a:lnTo>
                  <a:pt x="6153532" y="2442472"/>
                </a:lnTo>
                <a:lnTo>
                  <a:pt x="6154599" y="2444037"/>
                </a:lnTo>
                <a:cubicBezTo>
                  <a:pt x="6157160" y="2450297"/>
                  <a:pt x="6154812" y="2454849"/>
                  <a:pt x="6158867" y="2459117"/>
                </a:cubicBezTo>
                <a:cubicBezTo>
                  <a:pt x="6156520" y="2459971"/>
                  <a:pt x="6156520" y="2459971"/>
                  <a:pt x="6154172" y="2458406"/>
                </a:cubicBezTo>
                <a:cubicBezTo>
                  <a:pt x="6154386" y="2457267"/>
                  <a:pt x="6153105" y="2456983"/>
                  <a:pt x="6154386" y="2455987"/>
                </a:cubicBezTo>
                <a:cubicBezTo>
                  <a:pt x="6152678" y="2454565"/>
                  <a:pt x="6151184" y="2451008"/>
                  <a:pt x="6150117" y="2447309"/>
                </a:cubicBezTo>
                <a:lnTo>
                  <a:pt x="6149690" y="2443183"/>
                </a:lnTo>
                <a:lnTo>
                  <a:pt x="6147983" y="2443468"/>
                </a:lnTo>
                <a:lnTo>
                  <a:pt x="6145422" y="2440907"/>
                </a:lnTo>
                <a:lnTo>
                  <a:pt x="6145635" y="2445033"/>
                </a:lnTo>
                <a:cubicBezTo>
                  <a:pt x="6146062" y="2447166"/>
                  <a:pt x="6146916" y="2449585"/>
                  <a:pt x="6146916" y="2451719"/>
                </a:cubicBezTo>
                <a:lnTo>
                  <a:pt x="6146434" y="2455034"/>
                </a:lnTo>
                <a:lnTo>
                  <a:pt x="6145208" y="2455987"/>
                </a:lnTo>
                <a:cubicBezTo>
                  <a:pt x="6143074" y="2451008"/>
                  <a:pt x="6143501" y="2444606"/>
                  <a:pt x="6143715" y="2441049"/>
                </a:cubicBezTo>
                <a:lnTo>
                  <a:pt x="6143928" y="2439627"/>
                </a:lnTo>
                <a:lnTo>
                  <a:pt x="6136885" y="2432940"/>
                </a:lnTo>
                <a:lnTo>
                  <a:pt x="6137952" y="2426680"/>
                </a:lnTo>
                <a:lnTo>
                  <a:pt x="6136885" y="2426396"/>
                </a:lnTo>
                <a:cubicBezTo>
                  <a:pt x="6134537" y="2426538"/>
                  <a:pt x="6131976" y="2427533"/>
                  <a:pt x="6129415" y="2430379"/>
                </a:cubicBezTo>
                <a:cubicBezTo>
                  <a:pt x="6125574" y="2433651"/>
                  <a:pt x="6123653" y="2435216"/>
                  <a:pt x="6125361" y="2437065"/>
                </a:cubicBezTo>
                <a:cubicBezTo>
                  <a:pt x="6123439" y="2436923"/>
                  <a:pt x="6123439" y="2438773"/>
                  <a:pt x="6121518" y="2438630"/>
                </a:cubicBezTo>
                <a:cubicBezTo>
                  <a:pt x="6119598" y="2438488"/>
                  <a:pt x="6114903" y="2478466"/>
                  <a:pt x="6114690" y="2480173"/>
                </a:cubicBezTo>
                <a:cubicBezTo>
                  <a:pt x="6106793" y="2488425"/>
                  <a:pt x="6098683" y="2485295"/>
                  <a:pt x="6090573" y="2482307"/>
                </a:cubicBezTo>
                <a:lnTo>
                  <a:pt x="6083957" y="2480742"/>
                </a:lnTo>
                <a:lnTo>
                  <a:pt x="6082890" y="2487144"/>
                </a:lnTo>
                <a:cubicBezTo>
                  <a:pt x="6083957" y="2489136"/>
                  <a:pt x="6086305" y="2490701"/>
                  <a:pt x="6089506" y="2492266"/>
                </a:cubicBezTo>
                <a:cubicBezTo>
                  <a:pt x="6092707" y="2494400"/>
                  <a:pt x="6096548" y="2495254"/>
                  <a:pt x="6100604" y="2496819"/>
                </a:cubicBezTo>
                <a:cubicBezTo>
                  <a:pt x="6103591" y="2498241"/>
                  <a:pt x="6107647" y="2498952"/>
                  <a:pt x="6110634" y="2500517"/>
                </a:cubicBezTo>
                <a:cubicBezTo>
                  <a:pt x="6107647" y="2501941"/>
                  <a:pt x="6104445" y="2501229"/>
                  <a:pt x="6101244" y="2500517"/>
                </a:cubicBezTo>
                <a:cubicBezTo>
                  <a:pt x="6098256" y="2499806"/>
                  <a:pt x="6094201" y="2498241"/>
                  <a:pt x="6091000" y="2498241"/>
                </a:cubicBezTo>
                <a:cubicBezTo>
                  <a:pt x="6091853" y="2500375"/>
                  <a:pt x="6094201" y="2503363"/>
                  <a:pt x="6097402" y="2504074"/>
                </a:cubicBezTo>
                <a:cubicBezTo>
                  <a:pt x="6099750" y="2505639"/>
                  <a:pt x="6102951" y="2505639"/>
                  <a:pt x="6104445" y="2501941"/>
                </a:cubicBezTo>
                <a:cubicBezTo>
                  <a:pt x="6108287" y="2507062"/>
                  <a:pt x="6111488" y="2507062"/>
                  <a:pt x="6117890" y="2510050"/>
                </a:cubicBezTo>
                <a:lnTo>
                  <a:pt x="6117887" y="2510075"/>
                </a:lnTo>
                <a:lnTo>
                  <a:pt x="6154783" y="2508081"/>
                </a:lnTo>
                <a:lnTo>
                  <a:pt x="6132945" y="2529184"/>
                </a:lnTo>
                <a:lnTo>
                  <a:pt x="6133203" y="2529363"/>
                </a:lnTo>
                <a:cubicBezTo>
                  <a:pt x="6134484" y="2530216"/>
                  <a:pt x="6135071" y="2530608"/>
                  <a:pt x="6134324" y="2530252"/>
                </a:cubicBezTo>
                <a:cubicBezTo>
                  <a:pt x="6144568" y="2533951"/>
                  <a:pt x="6143715" y="2542060"/>
                  <a:pt x="6148410" y="2545901"/>
                </a:cubicBezTo>
                <a:cubicBezTo>
                  <a:pt x="6149903" y="2547324"/>
                  <a:pt x="6155453" y="2544478"/>
                  <a:pt x="6159508" y="2548178"/>
                </a:cubicBezTo>
                <a:lnTo>
                  <a:pt x="6161001" y="2549458"/>
                </a:lnTo>
                <a:lnTo>
                  <a:pt x="6163989" y="2546755"/>
                </a:lnTo>
                <a:cubicBezTo>
                  <a:pt x="6170179" y="2540353"/>
                  <a:pt x="6173380" y="2535516"/>
                  <a:pt x="6182557" y="2539214"/>
                </a:cubicBezTo>
                <a:cubicBezTo>
                  <a:pt x="6183197" y="2542629"/>
                  <a:pt x="6180850" y="2546328"/>
                  <a:pt x="6177221" y="2550027"/>
                </a:cubicBezTo>
                <a:lnTo>
                  <a:pt x="6169538" y="2557283"/>
                </a:lnTo>
                <a:lnTo>
                  <a:pt x="6181490" y="2566673"/>
                </a:lnTo>
                <a:cubicBezTo>
                  <a:pt x="6183837" y="2568237"/>
                  <a:pt x="6186185" y="2569802"/>
                  <a:pt x="6188533" y="2571937"/>
                </a:cubicBezTo>
                <a:cubicBezTo>
                  <a:pt x="6190880" y="2573502"/>
                  <a:pt x="6193228" y="2574924"/>
                  <a:pt x="6195575" y="2576347"/>
                </a:cubicBezTo>
                <a:cubicBezTo>
                  <a:pt x="6201125" y="2579334"/>
                  <a:pt x="6206673" y="2582464"/>
                  <a:pt x="6212009" y="2583887"/>
                </a:cubicBezTo>
                <a:lnTo>
                  <a:pt x="6211674" y="2587012"/>
                </a:lnTo>
                <a:lnTo>
                  <a:pt x="6228407" y="2581549"/>
                </a:lnTo>
                <a:lnTo>
                  <a:pt x="6227082" y="2573608"/>
                </a:lnTo>
                <a:cubicBezTo>
                  <a:pt x="6226415" y="2570300"/>
                  <a:pt x="6225881" y="2567242"/>
                  <a:pt x="6225881" y="2563116"/>
                </a:cubicBezTo>
                <a:cubicBezTo>
                  <a:pt x="6226948" y="2562547"/>
                  <a:pt x="6227375" y="2563543"/>
                  <a:pt x="6228442" y="2562973"/>
                </a:cubicBezTo>
                <a:cubicBezTo>
                  <a:pt x="6229296" y="2563116"/>
                  <a:pt x="6229936" y="2563970"/>
                  <a:pt x="6230576" y="2565250"/>
                </a:cubicBezTo>
                <a:cubicBezTo>
                  <a:pt x="6232497" y="2569091"/>
                  <a:pt x="6233564" y="2576062"/>
                  <a:pt x="6232711" y="2576631"/>
                </a:cubicBezTo>
                <a:cubicBezTo>
                  <a:pt x="6233138" y="2577627"/>
                  <a:pt x="6232283" y="2578196"/>
                  <a:pt x="6232711" y="2579192"/>
                </a:cubicBezTo>
                <a:lnTo>
                  <a:pt x="6232711" y="2580144"/>
                </a:lnTo>
                <a:lnTo>
                  <a:pt x="6282902" y="2563758"/>
                </a:lnTo>
                <a:lnTo>
                  <a:pt x="6279673" y="2621966"/>
                </a:lnTo>
                <a:lnTo>
                  <a:pt x="6277973" y="2661923"/>
                </a:lnTo>
                <a:lnTo>
                  <a:pt x="6286706" y="2668679"/>
                </a:lnTo>
                <a:cubicBezTo>
                  <a:pt x="6289053" y="2671667"/>
                  <a:pt x="6292255" y="2674654"/>
                  <a:pt x="6295456" y="2677642"/>
                </a:cubicBezTo>
                <a:cubicBezTo>
                  <a:pt x="6298444" y="2680630"/>
                  <a:pt x="6301645" y="2684329"/>
                  <a:pt x="6303992" y="2687317"/>
                </a:cubicBezTo>
                <a:cubicBezTo>
                  <a:pt x="6310395" y="2694003"/>
                  <a:pt x="6315731" y="2701401"/>
                  <a:pt x="6320639" y="2708230"/>
                </a:cubicBezTo>
                <a:lnTo>
                  <a:pt x="6325588" y="2716673"/>
                </a:lnTo>
                <a:lnTo>
                  <a:pt x="6343194" y="2713075"/>
                </a:lnTo>
                <a:lnTo>
                  <a:pt x="6372263" y="2708012"/>
                </a:lnTo>
                <a:lnTo>
                  <a:pt x="6360787" y="2765820"/>
                </a:lnTo>
                <a:lnTo>
                  <a:pt x="6361136" y="2769530"/>
                </a:lnTo>
                <a:lnTo>
                  <a:pt x="6359367" y="2772971"/>
                </a:lnTo>
                <a:lnTo>
                  <a:pt x="6358887" y="2775391"/>
                </a:lnTo>
                <a:lnTo>
                  <a:pt x="6361402" y="2775950"/>
                </a:lnTo>
                <a:cubicBezTo>
                  <a:pt x="6361402" y="2775950"/>
                  <a:pt x="6361402" y="2775950"/>
                  <a:pt x="6361402" y="2776661"/>
                </a:cubicBezTo>
                <a:cubicBezTo>
                  <a:pt x="6363750" y="2780361"/>
                  <a:pt x="6365458" y="2782637"/>
                  <a:pt x="6366098" y="2784059"/>
                </a:cubicBezTo>
                <a:cubicBezTo>
                  <a:pt x="6365458" y="2783348"/>
                  <a:pt x="6366098" y="2784202"/>
                  <a:pt x="6366098" y="2784913"/>
                </a:cubicBezTo>
                <a:cubicBezTo>
                  <a:pt x="6366952" y="2784913"/>
                  <a:pt x="6366952" y="2784913"/>
                  <a:pt x="6366952" y="2784913"/>
                </a:cubicBezTo>
                <a:cubicBezTo>
                  <a:pt x="6366952" y="2784913"/>
                  <a:pt x="6366952" y="2784913"/>
                  <a:pt x="6367592" y="2784913"/>
                </a:cubicBezTo>
                <a:lnTo>
                  <a:pt x="6367776" y="2785712"/>
                </a:lnTo>
                <a:lnTo>
                  <a:pt x="6373851" y="2785712"/>
                </a:lnTo>
                <a:lnTo>
                  <a:pt x="6373994" y="2785624"/>
                </a:lnTo>
                <a:lnTo>
                  <a:pt x="6374110" y="2785712"/>
                </a:lnTo>
                <a:lnTo>
                  <a:pt x="6378271" y="2785712"/>
                </a:lnTo>
                <a:lnTo>
                  <a:pt x="6378372" y="2788937"/>
                </a:lnTo>
                <a:lnTo>
                  <a:pt x="6381891" y="2791600"/>
                </a:lnTo>
                <a:cubicBezTo>
                  <a:pt x="6384239" y="2791600"/>
                  <a:pt x="6385732" y="2792311"/>
                  <a:pt x="6388080" y="2793022"/>
                </a:cubicBezTo>
                <a:cubicBezTo>
                  <a:pt x="6388934" y="2793022"/>
                  <a:pt x="6389787" y="2793022"/>
                  <a:pt x="6390428" y="2793733"/>
                </a:cubicBezTo>
                <a:cubicBezTo>
                  <a:pt x="6390428" y="2793733"/>
                  <a:pt x="6390428" y="2793876"/>
                  <a:pt x="6391282" y="2794587"/>
                </a:cubicBezTo>
                <a:cubicBezTo>
                  <a:pt x="6392135" y="2795298"/>
                  <a:pt x="6392775" y="2796010"/>
                  <a:pt x="6393629" y="2797575"/>
                </a:cubicBezTo>
                <a:cubicBezTo>
                  <a:pt x="6392135" y="2797575"/>
                  <a:pt x="6390428" y="2797575"/>
                  <a:pt x="6389787" y="2797575"/>
                </a:cubicBezTo>
                <a:cubicBezTo>
                  <a:pt x="6388934" y="2797575"/>
                  <a:pt x="6388934" y="2797575"/>
                  <a:pt x="6388080" y="2796863"/>
                </a:cubicBezTo>
                <a:cubicBezTo>
                  <a:pt x="6388080" y="2796863"/>
                  <a:pt x="6388080" y="2796863"/>
                  <a:pt x="6387227" y="2796863"/>
                </a:cubicBezTo>
                <a:cubicBezTo>
                  <a:pt x="6385732" y="2796863"/>
                  <a:pt x="6384879" y="2796010"/>
                  <a:pt x="6384239" y="2795298"/>
                </a:cubicBezTo>
                <a:lnTo>
                  <a:pt x="6378507" y="2793261"/>
                </a:lnTo>
                <a:lnTo>
                  <a:pt x="6378581" y="2795624"/>
                </a:lnTo>
                <a:lnTo>
                  <a:pt x="6377836" y="2795222"/>
                </a:lnTo>
                <a:lnTo>
                  <a:pt x="6377836" y="2799709"/>
                </a:lnTo>
                <a:cubicBezTo>
                  <a:pt x="6377836" y="2800420"/>
                  <a:pt x="6377836" y="2800562"/>
                  <a:pt x="6377836" y="2800562"/>
                </a:cubicBezTo>
                <a:cubicBezTo>
                  <a:pt x="6377836" y="2800562"/>
                  <a:pt x="6377836" y="2800562"/>
                  <a:pt x="6377836" y="2801274"/>
                </a:cubicBezTo>
                <a:cubicBezTo>
                  <a:pt x="6377836" y="2801274"/>
                  <a:pt x="6377836" y="2801274"/>
                  <a:pt x="6378689" y="2801985"/>
                </a:cubicBezTo>
                <a:cubicBezTo>
                  <a:pt x="6379544" y="2803408"/>
                  <a:pt x="6379544" y="2804262"/>
                  <a:pt x="6380184" y="2805684"/>
                </a:cubicBezTo>
                <a:cubicBezTo>
                  <a:pt x="6381891" y="2807961"/>
                  <a:pt x="6383385" y="2810094"/>
                  <a:pt x="6385092" y="2811660"/>
                </a:cubicBezTo>
                <a:cubicBezTo>
                  <a:pt x="6383385" y="2811660"/>
                  <a:pt x="6381037" y="2810948"/>
                  <a:pt x="6379544" y="2811660"/>
                </a:cubicBezTo>
                <a:cubicBezTo>
                  <a:pt x="6388934" y="2816781"/>
                  <a:pt x="6392135" y="2827309"/>
                  <a:pt x="6395123" y="2839971"/>
                </a:cubicBezTo>
                <a:cubicBezTo>
                  <a:pt x="6397471" y="2842816"/>
                  <a:pt x="6396830" y="2838548"/>
                  <a:pt x="6399818" y="2838548"/>
                </a:cubicBezTo>
                <a:cubicBezTo>
                  <a:pt x="6399818" y="2838548"/>
                  <a:pt x="6400031" y="2838406"/>
                  <a:pt x="6400672" y="2841394"/>
                </a:cubicBezTo>
                <a:lnTo>
                  <a:pt x="6400904" y="2842208"/>
                </a:lnTo>
                <a:lnTo>
                  <a:pt x="6402188" y="2837382"/>
                </a:lnTo>
                <a:cubicBezTo>
                  <a:pt x="6403519" y="2835746"/>
                  <a:pt x="6405804" y="2834655"/>
                  <a:pt x="6409560" y="2834449"/>
                </a:cubicBezTo>
                <a:cubicBezTo>
                  <a:pt x="6408631" y="2827014"/>
                  <a:pt x="6410490" y="2817102"/>
                  <a:pt x="6405843" y="2814624"/>
                </a:cubicBezTo>
                <a:cubicBezTo>
                  <a:pt x="6406772" y="2809667"/>
                  <a:pt x="6413278" y="2810493"/>
                  <a:pt x="6411419" y="2803059"/>
                </a:cubicBezTo>
                <a:cubicBezTo>
                  <a:pt x="6411419" y="2801407"/>
                  <a:pt x="6409560" y="2800581"/>
                  <a:pt x="6409560" y="2798929"/>
                </a:cubicBezTo>
                <a:cubicBezTo>
                  <a:pt x="6409560" y="2795521"/>
                  <a:pt x="6401970" y="2802233"/>
                  <a:pt x="6400112" y="2797277"/>
                </a:cubicBezTo>
                <a:cubicBezTo>
                  <a:pt x="6399182" y="2793146"/>
                  <a:pt x="6413278" y="2790565"/>
                  <a:pt x="6403984" y="2788913"/>
                </a:cubicBezTo>
                <a:lnTo>
                  <a:pt x="6404759" y="2785712"/>
                </a:lnTo>
                <a:lnTo>
                  <a:pt x="6412522" y="2785712"/>
                </a:lnTo>
                <a:lnTo>
                  <a:pt x="6423774" y="2776377"/>
                </a:lnTo>
                <a:cubicBezTo>
                  <a:pt x="6428256" y="2774278"/>
                  <a:pt x="6433111" y="2773105"/>
                  <a:pt x="6438020" y="2771966"/>
                </a:cubicBezTo>
                <a:cubicBezTo>
                  <a:pt x="6448478" y="2778298"/>
                  <a:pt x="6447358" y="2783384"/>
                  <a:pt x="6442342" y="2787830"/>
                </a:cubicBezTo>
                <a:lnTo>
                  <a:pt x="6424844" y="2798874"/>
                </a:lnTo>
                <a:lnTo>
                  <a:pt x="6426444" y="2800581"/>
                </a:lnTo>
                <a:cubicBezTo>
                  <a:pt x="6420868" y="2807189"/>
                  <a:pt x="6420713" y="2815450"/>
                  <a:pt x="6421797" y="2823710"/>
                </a:cubicBezTo>
                <a:cubicBezTo>
                  <a:pt x="6422727" y="2827840"/>
                  <a:pt x="6422727" y="2831144"/>
                  <a:pt x="6423656" y="2834449"/>
                </a:cubicBezTo>
                <a:cubicBezTo>
                  <a:pt x="6423656" y="2837856"/>
                  <a:pt x="6423656" y="2841057"/>
                  <a:pt x="6421797" y="2842709"/>
                </a:cubicBezTo>
                <a:cubicBezTo>
                  <a:pt x="6419784" y="2840231"/>
                  <a:pt x="6419784" y="2835275"/>
                  <a:pt x="6416995" y="2832797"/>
                </a:cubicBezTo>
                <a:cubicBezTo>
                  <a:pt x="6413278" y="2833623"/>
                  <a:pt x="6412348" y="2837030"/>
                  <a:pt x="6406772" y="2836204"/>
                </a:cubicBezTo>
                <a:lnTo>
                  <a:pt x="6404422" y="2852466"/>
                </a:lnTo>
                <a:lnTo>
                  <a:pt x="6406861" y="2858608"/>
                </a:lnTo>
                <a:cubicBezTo>
                  <a:pt x="6409209" y="2865295"/>
                  <a:pt x="6412410" y="2871270"/>
                  <a:pt x="6415611" y="2877957"/>
                </a:cubicBezTo>
                <a:cubicBezTo>
                  <a:pt x="6418813" y="2884643"/>
                  <a:pt x="6421160" y="2891330"/>
                  <a:pt x="6423508" y="2898017"/>
                </a:cubicBezTo>
                <a:cubicBezTo>
                  <a:pt x="6425002" y="2901716"/>
                  <a:pt x="6425855" y="2905415"/>
                  <a:pt x="6426496" y="2909113"/>
                </a:cubicBezTo>
                <a:lnTo>
                  <a:pt x="6426796" y="2910430"/>
                </a:lnTo>
                <a:lnTo>
                  <a:pt x="6431420" y="2906573"/>
                </a:lnTo>
                <a:cubicBezTo>
                  <a:pt x="6434344" y="2901695"/>
                  <a:pt x="6436203" y="2895887"/>
                  <a:pt x="6437597" y="2890517"/>
                </a:cubicBezTo>
                <a:cubicBezTo>
                  <a:pt x="6441469" y="2892169"/>
                  <a:pt x="6441314" y="2895473"/>
                  <a:pt x="6442243" y="2898777"/>
                </a:cubicBezTo>
                <a:cubicBezTo>
                  <a:pt x="6442243" y="2901256"/>
                  <a:pt x="6443173" y="2904560"/>
                  <a:pt x="6447975" y="2904560"/>
                </a:cubicBezTo>
                <a:cubicBezTo>
                  <a:pt x="6441314" y="2911168"/>
                  <a:pt x="6438526" y="2916951"/>
                  <a:pt x="6436667" y="2922733"/>
                </a:cubicBezTo>
                <a:lnTo>
                  <a:pt x="6436347" y="2923977"/>
                </a:lnTo>
                <a:lnTo>
                  <a:pt x="6438554" y="2931236"/>
                </a:lnTo>
                <a:cubicBezTo>
                  <a:pt x="6439247" y="2933940"/>
                  <a:pt x="6439621" y="2936358"/>
                  <a:pt x="6439941" y="2940413"/>
                </a:cubicBezTo>
                <a:cubicBezTo>
                  <a:pt x="6443996" y="2930027"/>
                  <a:pt x="6443142" y="2950940"/>
                  <a:pt x="6440795" y="2953928"/>
                </a:cubicBezTo>
                <a:cubicBezTo>
                  <a:pt x="6441649" y="2956916"/>
                  <a:pt x="6446344" y="2953928"/>
                  <a:pt x="6447838" y="2956062"/>
                </a:cubicBezTo>
                <a:cubicBezTo>
                  <a:pt x="6448691" y="2962749"/>
                  <a:pt x="6439941" y="2956062"/>
                  <a:pt x="6439941" y="2963603"/>
                </a:cubicBezTo>
                <a:cubicBezTo>
                  <a:pt x="6447838" y="2966590"/>
                  <a:pt x="6446344" y="2974700"/>
                  <a:pt x="6451679" y="2983663"/>
                </a:cubicBezTo>
                <a:cubicBezTo>
                  <a:pt x="6451039" y="2988927"/>
                  <a:pt x="6447838" y="2976976"/>
                  <a:pt x="6446344" y="2975411"/>
                </a:cubicBezTo>
                <a:cubicBezTo>
                  <a:pt x="6438447" y="2976264"/>
                  <a:pt x="6444637" y="2986650"/>
                  <a:pt x="6445490" y="2992483"/>
                </a:cubicBezTo>
                <a:cubicBezTo>
                  <a:pt x="6446344" y="2997036"/>
                  <a:pt x="6451039" y="2992625"/>
                  <a:pt x="6453386" y="2993337"/>
                </a:cubicBezTo>
                <a:cubicBezTo>
                  <a:pt x="6454240" y="3000023"/>
                  <a:pt x="6446130" y="3000735"/>
                  <a:pt x="6451039" y="3011262"/>
                </a:cubicBezTo>
                <a:cubicBezTo>
                  <a:pt x="6453386" y="3015673"/>
                  <a:pt x="6454027" y="3007421"/>
                  <a:pt x="6457228" y="3011262"/>
                </a:cubicBezTo>
                <a:cubicBezTo>
                  <a:pt x="6454027" y="3014962"/>
                  <a:pt x="6454881" y="3020937"/>
                  <a:pt x="6454881" y="3027624"/>
                </a:cubicBezTo>
                <a:cubicBezTo>
                  <a:pt x="6455734" y="3033457"/>
                  <a:pt x="6456588" y="3040143"/>
                  <a:pt x="6454881" y="3046118"/>
                </a:cubicBezTo>
                <a:cubicBezTo>
                  <a:pt x="6453386" y="3046118"/>
                  <a:pt x="6453386" y="3042420"/>
                  <a:pt x="6452533" y="3040997"/>
                </a:cubicBezTo>
                <a:cubicBezTo>
                  <a:pt x="6447838" y="3042420"/>
                  <a:pt x="6454240" y="3046118"/>
                  <a:pt x="6454240" y="3049817"/>
                </a:cubicBezTo>
                <a:cubicBezTo>
                  <a:pt x="6454881" y="3049106"/>
                  <a:pt x="6456374" y="3047683"/>
                  <a:pt x="6456374" y="3045407"/>
                </a:cubicBezTo>
                <a:cubicBezTo>
                  <a:pt x="6457228" y="3047683"/>
                  <a:pt x="6457228" y="3050671"/>
                  <a:pt x="6457228" y="3054370"/>
                </a:cubicBezTo>
                <a:cubicBezTo>
                  <a:pt x="6457228" y="3058069"/>
                  <a:pt x="6457228" y="3062480"/>
                  <a:pt x="6455734" y="3066178"/>
                </a:cubicBezTo>
                <a:cubicBezTo>
                  <a:pt x="6453386" y="3071442"/>
                  <a:pt x="6450185" y="3061057"/>
                  <a:pt x="6446344" y="3067032"/>
                </a:cubicBezTo>
                <a:cubicBezTo>
                  <a:pt x="6448051" y="3067601"/>
                  <a:pt x="6452533" y="3067317"/>
                  <a:pt x="6452960" y="3070873"/>
                </a:cubicBezTo>
                <a:lnTo>
                  <a:pt x="6452533" y="3072296"/>
                </a:lnTo>
                <a:lnTo>
                  <a:pt x="6447838" y="3072296"/>
                </a:lnTo>
                <a:lnTo>
                  <a:pt x="6447624" y="3072012"/>
                </a:lnTo>
                <a:cubicBezTo>
                  <a:pt x="6446130" y="3070731"/>
                  <a:pt x="6443996" y="3070020"/>
                  <a:pt x="6439941" y="3071442"/>
                </a:cubicBezTo>
                <a:lnTo>
                  <a:pt x="6439941" y="3072296"/>
                </a:lnTo>
                <a:lnTo>
                  <a:pt x="6423295" y="3072296"/>
                </a:lnTo>
                <a:lnTo>
                  <a:pt x="6421800" y="3061768"/>
                </a:lnTo>
                <a:cubicBezTo>
                  <a:pt x="6421160" y="3058069"/>
                  <a:pt x="6420307" y="3054370"/>
                  <a:pt x="6419666" y="3050529"/>
                </a:cubicBezTo>
                <a:cubicBezTo>
                  <a:pt x="6423508" y="3046830"/>
                  <a:pt x="6424361" y="3040997"/>
                  <a:pt x="6423508" y="3034168"/>
                </a:cubicBezTo>
                <a:cubicBezTo>
                  <a:pt x="6422654" y="3028335"/>
                  <a:pt x="6420307" y="3022360"/>
                  <a:pt x="6419666" y="3017949"/>
                </a:cubicBezTo>
                <a:cubicBezTo>
                  <a:pt x="6414757" y="3018661"/>
                  <a:pt x="6423508" y="3029046"/>
                  <a:pt x="6416465" y="3027624"/>
                </a:cubicBezTo>
                <a:cubicBezTo>
                  <a:pt x="6415611" y="3021648"/>
                  <a:pt x="6414117" y="3017807"/>
                  <a:pt x="6412410" y="3014108"/>
                </a:cubicBezTo>
                <a:cubicBezTo>
                  <a:pt x="6418279" y="3015958"/>
                  <a:pt x="6418706" y="3010943"/>
                  <a:pt x="6417559" y="3004718"/>
                </a:cubicBezTo>
                <a:lnTo>
                  <a:pt x="6413520" y="2989066"/>
                </a:lnTo>
                <a:lnTo>
                  <a:pt x="6411419" y="2992327"/>
                </a:lnTo>
                <a:lnTo>
                  <a:pt x="6410966" y="2993616"/>
                </a:lnTo>
                <a:lnTo>
                  <a:pt x="6412410" y="3001588"/>
                </a:lnTo>
                <a:lnTo>
                  <a:pt x="6409797" y="2996942"/>
                </a:lnTo>
                <a:lnTo>
                  <a:pt x="6406772" y="3005544"/>
                </a:lnTo>
                <a:cubicBezTo>
                  <a:pt x="6405843" y="3010500"/>
                  <a:pt x="6403055" y="3014631"/>
                  <a:pt x="6400112" y="3020413"/>
                </a:cubicBezTo>
                <a:cubicBezTo>
                  <a:pt x="6400112" y="3027848"/>
                  <a:pt x="6410490" y="3021239"/>
                  <a:pt x="6405843" y="3030429"/>
                </a:cubicBezTo>
                <a:lnTo>
                  <a:pt x="6396532" y="3031952"/>
                </a:lnTo>
                <a:lnTo>
                  <a:pt x="6399178" y="3042420"/>
                </a:lnTo>
                <a:cubicBezTo>
                  <a:pt x="6397471" y="3043131"/>
                  <a:pt x="6395977" y="3043273"/>
                  <a:pt x="6394483" y="3043273"/>
                </a:cubicBezTo>
                <a:cubicBezTo>
                  <a:pt x="6401526" y="3047683"/>
                  <a:pt x="6399818" y="3052805"/>
                  <a:pt x="6398324" y="3060346"/>
                </a:cubicBezTo>
                <a:cubicBezTo>
                  <a:pt x="6395977" y="3052805"/>
                  <a:pt x="6392775" y="3058069"/>
                  <a:pt x="6391922" y="3047683"/>
                </a:cubicBezTo>
                <a:cubicBezTo>
                  <a:pt x="6391495" y="3054939"/>
                  <a:pt x="6393415" y="3062195"/>
                  <a:pt x="6391922" y="3068882"/>
                </a:cubicBezTo>
                <a:lnTo>
                  <a:pt x="6390428" y="3072296"/>
                </a:lnTo>
                <a:lnTo>
                  <a:pt x="6376421" y="3072296"/>
                </a:lnTo>
                <a:lnTo>
                  <a:pt x="6377652" y="3074209"/>
                </a:lnTo>
                <a:lnTo>
                  <a:pt x="6370681" y="3082470"/>
                </a:lnTo>
                <a:lnTo>
                  <a:pt x="6370372" y="3084845"/>
                </a:lnTo>
                <a:lnTo>
                  <a:pt x="6369907" y="3092899"/>
                </a:lnTo>
                <a:lnTo>
                  <a:pt x="6366943" y="3096764"/>
                </a:lnTo>
                <a:lnTo>
                  <a:pt x="6371187" y="3115469"/>
                </a:lnTo>
                <a:lnTo>
                  <a:pt x="6270375" y="3269248"/>
                </a:lnTo>
                <a:lnTo>
                  <a:pt x="6278518" y="3265337"/>
                </a:lnTo>
                <a:cubicBezTo>
                  <a:pt x="6282081" y="3263375"/>
                  <a:pt x="6286263" y="3261723"/>
                  <a:pt x="6289516" y="3260484"/>
                </a:cubicBezTo>
                <a:cubicBezTo>
                  <a:pt x="6297416" y="3256870"/>
                  <a:pt x="6305470" y="3254082"/>
                  <a:pt x="6312750" y="3251810"/>
                </a:cubicBezTo>
                <a:lnTo>
                  <a:pt x="6334436" y="3247061"/>
                </a:lnTo>
                <a:lnTo>
                  <a:pt x="6333661" y="3246751"/>
                </a:lnTo>
                <a:cubicBezTo>
                  <a:pt x="6325762" y="3243033"/>
                  <a:pt x="6318946" y="3238180"/>
                  <a:pt x="6314454" y="3234050"/>
                </a:cubicBezTo>
                <a:lnTo>
                  <a:pt x="6335210" y="3234670"/>
                </a:lnTo>
                <a:lnTo>
                  <a:pt x="6334900" y="3233844"/>
                </a:lnTo>
                <a:lnTo>
                  <a:pt x="6335675" y="3230333"/>
                </a:lnTo>
                <a:lnTo>
                  <a:pt x="6331957" y="3229300"/>
                </a:lnTo>
                <a:cubicBezTo>
                  <a:pt x="6330563" y="3228371"/>
                  <a:pt x="6329479" y="3227132"/>
                  <a:pt x="6328859" y="3225067"/>
                </a:cubicBezTo>
                <a:cubicBezTo>
                  <a:pt x="6331493" y="3220833"/>
                  <a:pt x="6335985" y="3218665"/>
                  <a:pt x="6340167" y="3219078"/>
                </a:cubicBezTo>
                <a:lnTo>
                  <a:pt x="6343574" y="3220627"/>
                </a:lnTo>
                <a:lnTo>
                  <a:pt x="6344349" y="3219594"/>
                </a:lnTo>
                <a:cubicBezTo>
                  <a:pt x="6347447" y="3221453"/>
                  <a:pt x="6350700" y="3221763"/>
                  <a:pt x="6353643" y="3223725"/>
                </a:cubicBezTo>
                <a:cubicBezTo>
                  <a:pt x="6354417" y="3225583"/>
                  <a:pt x="6353952" y="3228371"/>
                  <a:pt x="6353023" y="3231262"/>
                </a:cubicBezTo>
                <a:lnTo>
                  <a:pt x="6349925" y="3236219"/>
                </a:lnTo>
                <a:lnTo>
                  <a:pt x="6356121" y="3237664"/>
                </a:lnTo>
                <a:lnTo>
                  <a:pt x="6363401" y="3236219"/>
                </a:lnTo>
                <a:cubicBezTo>
                  <a:pt x="6366809" y="3235289"/>
                  <a:pt x="6370062" y="3234050"/>
                  <a:pt x="6373315" y="3232089"/>
                </a:cubicBezTo>
                <a:cubicBezTo>
                  <a:pt x="6376567" y="3233121"/>
                  <a:pt x="6381834" y="3232501"/>
                  <a:pt x="6383073" y="3237355"/>
                </a:cubicBezTo>
                <a:cubicBezTo>
                  <a:pt x="6383538" y="3236012"/>
                  <a:pt x="6384467" y="3235496"/>
                  <a:pt x="6384622" y="3234876"/>
                </a:cubicBezTo>
                <a:cubicBezTo>
                  <a:pt x="6384622" y="3234876"/>
                  <a:pt x="6384622" y="3234876"/>
                  <a:pt x="6385397" y="3235083"/>
                </a:cubicBezTo>
                <a:cubicBezTo>
                  <a:pt x="6389269" y="3234050"/>
                  <a:pt x="6391747" y="3233224"/>
                  <a:pt x="6393296" y="3233018"/>
                </a:cubicBezTo>
                <a:cubicBezTo>
                  <a:pt x="6392367" y="3233431"/>
                  <a:pt x="6393296" y="3232914"/>
                  <a:pt x="6393916" y="3233121"/>
                </a:cubicBezTo>
                <a:cubicBezTo>
                  <a:pt x="6394071" y="3232501"/>
                  <a:pt x="6394226" y="3232501"/>
                  <a:pt x="6394226" y="3232501"/>
                </a:cubicBezTo>
                <a:cubicBezTo>
                  <a:pt x="6394226" y="3232501"/>
                  <a:pt x="6394226" y="3232501"/>
                  <a:pt x="6394380" y="3231779"/>
                </a:cubicBezTo>
                <a:cubicBezTo>
                  <a:pt x="6395310" y="3231366"/>
                  <a:pt x="6395930" y="3231572"/>
                  <a:pt x="6397943" y="3232089"/>
                </a:cubicBezTo>
                <a:cubicBezTo>
                  <a:pt x="6398873" y="3231675"/>
                  <a:pt x="6398408" y="3231159"/>
                  <a:pt x="6397943" y="3230333"/>
                </a:cubicBezTo>
                <a:lnTo>
                  <a:pt x="6397633" y="3228991"/>
                </a:lnTo>
                <a:lnTo>
                  <a:pt x="6383383" y="3222795"/>
                </a:lnTo>
                <a:cubicBezTo>
                  <a:pt x="6378271" y="3219904"/>
                  <a:pt x="6373315" y="3216393"/>
                  <a:pt x="6368358" y="3211954"/>
                </a:cubicBezTo>
                <a:cubicBezTo>
                  <a:pt x="6369287" y="3198840"/>
                  <a:pt x="6380440" y="3195123"/>
                  <a:pt x="6393141" y="3196878"/>
                </a:cubicBezTo>
                <a:cubicBezTo>
                  <a:pt x="6408941" y="3199046"/>
                  <a:pt x="6427219" y="3209888"/>
                  <a:pt x="6430936" y="3221866"/>
                </a:cubicBezTo>
                <a:lnTo>
                  <a:pt x="6431246" y="3224551"/>
                </a:lnTo>
                <a:lnTo>
                  <a:pt x="6434498" y="3223105"/>
                </a:lnTo>
                <a:cubicBezTo>
                  <a:pt x="6439455" y="3222382"/>
                  <a:pt x="6445032" y="3222589"/>
                  <a:pt x="6451073" y="3222899"/>
                </a:cubicBezTo>
                <a:cubicBezTo>
                  <a:pt x="6454480" y="3221660"/>
                  <a:pt x="6450298" y="3221143"/>
                  <a:pt x="6451227" y="3218459"/>
                </a:cubicBezTo>
                <a:cubicBezTo>
                  <a:pt x="6451227" y="3218459"/>
                  <a:pt x="6451227" y="3218459"/>
                  <a:pt x="6454016" y="3218562"/>
                </a:cubicBezTo>
                <a:cubicBezTo>
                  <a:pt x="6454635" y="3218768"/>
                  <a:pt x="6456339" y="3218459"/>
                  <a:pt x="6456959" y="3218665"/>
                </a:cubicBezTo>
                <a:cubicBezTo>
                  <a:pt x="6458508" y="3218459"/>
                  <a:pt x="6459747" y="3218871"/>
                  <a:pt x="6461296" y="3218562"/>
                </a:cubicBezTo>
                <a:cubicBezTo>
                  <a:pt x="6465013" y="3218252"/>
                  <a:pt x="6467956" y="3218355"/>
                  <a:pt x="6471054" y="3217839"/>
                </a:cubicBezTo>
                <a:cubicBezTo>
                  <a:pt x="6477560" y="3217632"/>
                  <a:pt x="6483755" y="3216497"/>
                  <a:pt x="6490571" y="3215567"/>
                </a:cubicBezTo>
                <a:cubicBezTo>
                  <a:pt x="6497541" y="3214638"/>
                  <a:pt x="6504047" y="3214431"/>
                  <a:pt x="6510707" y="3214225"/>
                </a:cubicBezTo>
                <a:cubicBezTo>
                  <a:pt x="6514425" y="3213812"/>
                  <a:pt x="6517988" y="3214225"/>
                  <a:pt x="6521395" y="3214535"/>
                </a:cubicBezTo>
                <a:cubicBezTo>
                  <a:pt x="6524338" y="3214638"/>
                  <a:pt x="6528521" y="3215155"/>
                  <a:pt x="6532083" y="3215464"/>
                </a:cubicBezTo>
                <a:cubicBezTo>
                  <a:pt x="6534252" y="3215464"/>
                  <a:pt x="6533167" y="3212160"/>
                  <a:pt x="6533787" y="3210095"/>
                </a:cubicBezTo>
                <a:cubicBezTo>
                  <a:pt x="6544010" y="3210198"/>
                  <a:pt x="6545559" y="3209888"/>
                  <a:pt x="6552994" y="3211437"/>
                </a:cubicBezTo>
                <a:cubicBezTo>
                  <a:pt x="6544939" y="3205138"/>
                  <a:pt x="6563217" y="3211540"/>
                  <a:pt x="6565076" y="3214431"/>
                </a:cubicBezTo>
                <a:cubicBezTo>
                  <a:pt x="6568019" y="3214535"/>
                  <a:pt x="6566780" y="3209682"/>
                  <a:pt x="6569103" y="3208856"/>
                </a:cubicBezTo>
                <a:cubicBezTo>
                  <a:pt x="6575299" y="3210095"/>
                  <a:pt x="6566780" y="3215670"/>
                  <a:pt x="6573285" y="3217736"/>
                </a:cubicBezTo>
                <a:cubicBezTo>
                  <a:pt x="6578242" y="3211747"/>
                  <a:pt x="6585057" y="3215258"/>
                  <a:pt x="6594506" y="3212986"/>
                </a:cubicBezTo>
                <a:cubicBezTo>
                  <a:pt x="6598998" y="3215051"/>
                  <a:pt x="6587536" y="3214535"/>
                  <a:pt x="6585677" y="3215464"/>
                </a:cubicBezTo>
                <a:cubicBezTo>
                  <a:pt x="6584128" y="3222486"/>
                  <a:pt x="6595126" y="3219904"/>
                  <a:pt x="6600547" y="3220833"/>
                </a:cubicBezTo>
                <a:cubicBezTo>
                  <a:pt x="6604729" y="3221350"/>
                  <a:pt x="6602251" y="3216084"/>
                  <a:pt x="6603490" y="3214225"/>
                </a:cubicBezTo>
                <a:cubicBezTo>
                  <a:pt x="6609686" y="3215361"/>
                  <a:pt x="6607982" y="3222382"/>
                  <a:pt x="6618670" y="3221143"/>
                </a:cubicBezTo>
                <a:cubicBezTo>
                  <a:pt x="6623317" y="3220317"/>
                  <a:pt x="6616346" y="3217426"/>
                  <a:pt x="6620529" y="3215670"/>
                </a:cubicBezTo>
                <a:cubicBezTo>
                  <a:pt x="6622852" y="3219388"/>
                  <a:pt x="6628274" y="3220421"/>
                  <a:pt x="6634314" y="3222176"/>
                </a:cubicBezTo>
                <a:cubicBezTo>
                  <a:pt x="6639736" y="3223105"/>
                  <a:pt x="6645777" y="3224344"/>
                  <a:pt x="6650579" y="3227338"/>
                </a:cubicBezTo>
                <a:cubicBezTo>
                  <a:pt x="6650114" y="3228681"/>
                  <a:pt x="6646861" y="3227648"/>
                  <a:pt x="6645312" y="3227855"/>
                </a:cubicBezTo>
                <a:cubicBezTo>
                  <a:pt x="6645312" y="3232398"/>
                  <a:pt x="6650424" y="3227958"/>
                  <a:pt x="6653677" y="3228991"/>
                </a:cubicBezTo>
                <a:cubicBezTo>
                  <a:pt x="6653212" y="3228061"/>
                  <a:pt x="6652437" y="3226306"/>
                  <a:pt x="6650424" y="3225687"/>
                </a:cubicBezTo>
                <a:cubicBezTo>
                  <a:pt x="6652592" y="3225583"/>
                  <a:pt x="6655225" y="3226409"/>
                  <a:pt x="6658633" y="3227442"/>
                </a:cubicBezTo>
                <a:cubicBezTo>
                  <a:pt x="6661886" y="3228474"/>
                  <a:pt x="6665758" y="3229713"/>
                  <a:pt x="6668547" y="3232089"/>
                </a:cubicBezTo>
                <a:cubicBezTo>
                  <a:pt x="6672419" y="3235496"/>
                  <a:pt x="6662351" y="3235393"/>
                  <a:pt x="6666378" y="3240452"/>
                </a:cubicBezTo>
                <a:cubicBezTo>
                  <a:pt x="6667772" y="3238594"/>
                  <a:pt x="6669166" y="3232192"/>
                  <a:pt x="6675982" y="3238077"/>
                </a:cubicBezTo>
                <a:cubicBezTo>
                  <a:pt x="6673658" y="3240349"/>
                  <a:pt x="6668237" y="3239523"/>
                  <a:pt x="6668547" y="3247061"/>
                </a:cubicBezTo>
                <a:cubicBezTo>
                  <a:pt x="6670715" y="3247061"/>
                  <a:pt x="6671800" y="3248093"/>
                  <a:pt x="6671645" y="3248816"/>
                </a:cubicBezTo>
                <a:cubicBezTo>
                  <a:pt x="6679080" y="3250365"/>
                  <a:pt x="6671025" y="3241794"/>
                  <a:pt x="6678305" y="3244066"/>
                </a:cubicBezTo>
                <a:cubicBezTo>
                  <a:pt x="6673039" y="3253049"/>
                  <a:pt x="6684346" y="3251914"/>
                  <a:pt x="6688838" y="3255631"/>
                </a:cubicBezTo>
                <a:cubicBezTo>
                  <a:pt x="6687909" y="3258315"/>
                  <a:pt x="6681868" y="3255011"/>
                  <a:pt x="6678925" y="3254805"/>
                </a:cubicBezTo>
                <a:cubicBezTo>
                  <a:pt x="6677531" y="3258935"/>
                  <a:pt x="6682797" y="3260587"/>
                  <a:pt x="6687599" y="3261310"/>
                </a:cubicBezTo>
                <a:cubicBezTo>
                  <a:pt x="6691471" y="3264717"/>
                  <a:pt x="6678150" y="3259141"/>
                  <a:pt x="6677221" y="3261826"/>
                </a:cubicBezTo>
                <a:cubicBezTo>
                  <a:pt x="6681713" y="3263995"/>
                  <a:pt x="6689458" y="3266369"/>
                  <a:pt x="6697822" y="3267402"/>
                </a:cubicBezTo>
                <a:cubicBezTo>
                  <a:pt x="6705257" y="3268951"/>
                  <a:pt x="6713467" y="3268434"/>
                  <a:pt x="6717804" y="3264511"/>
                </a:cubicBezTo>
                <a:cubicBezTo>
                  <a:pt x="6719043" y="3264924"/>
                  <a:pt x="6721366" y="3266472"/>
                  <a:pt x="6723225" y="3267712"/>
                </a:cubicBezTo>
                <a:cubicBezTo>
                  <a:pt x="6724464" y="3268125"/>
                  <a:pt x="6726633" y="3268022"/>
                  <a:pt x="6727407" y="3265957"/>
                </a:cubicBezTo>
                <a:cubicBezTo>
                  <a:pt x="6731280" y="3271739"/>
                  <a:pt x="6737785" y="3273804"/>
                  <a:pt x="6744601" y="3275146"/>
                </a:cubicBezTo>
                <a:cubicBezTo>
                  <a:pt x="6748163" y="3275456"/>
                  <a:pt x="6750797" y="3276179"/>
                  <a:pt x="6753585" y="3276282"/>
                </a:cubicBezTo>
                <a:cubicBezTo>
                  <a:pt x="6756218" y="3277108"/>
                  <a:pt x="6758851" y="3277934"/>
                  <a:pt x="6759626" y="3279793"/>
                </a:cubicBezTo>
                <a:cubicBezTo>
                  <a:pt x="6757302" y="3280516"/>
                  <a:pt x="6753275" y="3279276"/>
                  <a:pt x="6750642" y="3280722"/>
                </a:cubicBezTo>
                <a:lnTo>
                  <a:pt x="6750642" y="3287697"/>
                </a:lnTo>
                <a:lnTo>
                  <a:pt x="6750022" y="3286608"/>
                </a:lnTo>
                <a:cubicBezTo>
                  <a:pt x="6743981" y="3285472"/>
                  <a:pt x="6736546" y="3281652"/>
                  <a:pt x="6733448" y="3284439"/>
                </a:cubicBezTo>
                <a:cubicBezTo>
                  <a:pt x="6729731" y="3282581"/>
                  <a:pt x="6732054" y="3277934"/>
                  <a:pt x="6725549" y="3277521"/>
                </a:cubicBezTo>
                <a:cubicBezTo>
                  <a:pt x="6724309" y="3277108"/>
                  <a:pt x="6723225" y="3278244"/>
                  <a:pt x="6721831" y="3277831"/>
                </a:cubicBezTo>
                <a:cubicBezTo>
                  <a:pt x="6719198" y="3277108"/>
                  <a:pt x="6722605" y="3284130"/>
                  <a:pt x="6718269" y="3284233"/>
                </a:cubicBezTo>
                <a:cubicBezTo>
                  <a:pt x="6714706" y="3283923"/>
                  <a:pt x="6716255" y="3273081"/>
                  <a:pt x="6712537" y="3279483"/>
                </a:cubicBezTo>
                <a:cubicBezTo>
                  <a:pt x="6708510" y="3276695"/>
                  <a:pt x="6704328" y="3274010"/>
                  <a:pt x="6699216" y="3271635"/>
                </a:cubicBezTo>
                <a:cubicBezTo>
                  <a:pt x="6694260" y="3269364"/>
                  <a:pt x="6688993" y="3267712"/>
                  <a:pt x="6683726" y="3266163"/>
                </a:cubicBezTo>
                <a:cubicBezTo>
                  <a:pt x="6677686" y="3265027"/>
                  <a:pt x="6671800" y="3263168"/>
                  <a:pt x="6664984" y="3261826"/>
                </a:cubicBezTo>
                <a:cubicBezTo>
                  <a:pt x="6661422" y="3261516"/>
                  <a:pt x="6658788" y="3260690"/>
                  <a:pt x="6654606" y="3260174"/>
                </a:cubicBezTo>
                <a:cubicBezTo>
                  <a:pt x="6651198" y="3259761"/>
                  <a:pt x="6647636" y="3259451"/>
                  <a:pt x="6644073" y="3259141"/>
                </a:cubicBezTo>
                <a:cubicBezTo>
                  <a:pt x="6642059" y="3254701"/>
                  <a:pt x="6636948" y="3252430"/>
                  <a:pt x="6630907" y="3251294"/>
                </a:cubicBezTo>
                <a:cubicBezTo>
                  <a:pt x="6625331" y="3250365"/>
                  <a:pt x="6619445" y="3250778"/>
                  <a:pt x="6615262" y="3250158"/>
                </a:cubicBezTo>
                <a:cubicBezTo>
                  <a:pt x="6614488" y="3254495"/>
                  <a:pt x="6626260" y="3249848"/>
                  <a:pt x="6622852" y="3255528"/>
                </a:cubicBezTo>
                <a:cubicBezTo>
                  <a:pt x="6617276" y="3254598"/>
                  <a:pt x="6613558" y="3255011"/>
                  <a:pt x="6609841" y="3255321"/>
                </a:cubicBezTo>
                <a:cubicBezTo>
                  <a:pt x="6616657" y="3246131"/>
                  <a:pt x="6592493" y="3248506"/>
                  <a:pt x="6587071" y="3247577"/>
                </a:cubicBezTo>
                <a:cubicBezTo>
                  <a:pt x="6587071" y="3249848"/>
                  <a:pt x="6589085" y="3250468"/>
                  <a:pt x="6591099" y="3251088"/>
                </a:cubicBezTo>
                <a:cubicBezTo>
                  <a:pt x="6593267" y="3250984"/>
                  <a:pt x="6596055" y="3251088"/>
                  <a:pt x="6598689" y="3251914"/>
                </a:cubicBezTo>
                <a:cubicBezTo>
                  <a:pt x="6596210" y="3252636"/>
                  <a:pt x="6593732" y="3253462"/>
                  <a:pt x="6591563" y="3253462"/>
                </a:cubicBezTo>
                <a:cubicBezTo>
                  <a:pt x="6589240" y="3254289"/>
                  <a:pt x="6586916" y="3254289"/>
                  <a:pt x="6584748" y="3254392"/>
                </a:cubicBezTo>
                <a:cubicBezTo>
                  <a:pt x="6579636" y="3254289"/>
                  <a:pt x="6574835" y="3253566"/>
                  <a:pt x="6570343" y="3252223"/>
                </a:cubicBezTo>
                <a:cubicBezTo>
                  <a:pt x="6560274" y="3249848"/>
                  <a:pt x="6549432" y="3247267"/>
                  <a:pt x="6539363" y="3249435"/>
                </a:cubicBezTo>
                <a:cubicBezTo>
                  <a:pt x="6539828" y="3245822"/>
                  <a:pt x="6534252" y="3247061"/>
                  <a:pt x="6534252" y="3244892"/>
                </a:cubicBezTo>
                <a:cubicBezTo>
                  <a:pt x="6530379" y="3246647"/>
                  <a:pt x="6526507" y="3247473"/>
                  <a:pt x="6522634" y="3247887"/>
                </a:cubicBezTo>
                <a:lnTo>
                  <a:pt x="6512101" y="3248093"/>
                </a:lnTo>
                <a:lnTo>
                  <a:pt x="6512101" y="3250055"/>
                </a:lnTo>
                <a:cubicBezTo>
                  <a:pt x="6511792" y="3252739"/>
                  <a:pt x="6511327" y="3255528"/>
                  <a:pt x="6510398" y="3258109"/>
                </a:cubicBezTo>
                <a:lnTo>
                  <a:pt x="6505751" y="3264614"/>
                </a:lnTo>
                <a:lnTo>
                  <a:pt x="6511172" y="3261723"/>
                </a:lnTo>
                <a:cubicBezTo>
                  <a:pt x="6513496" y="3259658"/>
                  <a:pt x="6515819" y="3257593"/>
                  <a:pt x="6519381" y="3256767"/>
                </a:cubicBezTo>
                <a:cubicBezTo>
                  <a:pt x="6518607" y="3256560"/>
                  <a:pt x="6519072" y="3259761"/>
                  <a:pt x="6519072" y="3259761"/>
                </a:cubicBezTo>
                <a:cubicBezTo>
                  <a:pt x="6523254" y="3258005"/>
                  <a:pt x="6533167" y="3250468"/>
                  <a:pt x="6534097" y="3260587"/>
                </a:cubicBezTo>
                <a:cubicBezTo>
                  <a:pt x="6531618" y="3259141"/>
                  <a:pt x="6528830" y="3258935"/>
                  <a:pt x="6526352" y="3259658"/>
                </a:cubicBezTo>
                <a:cubicBezTo>
                  <a:pt x="6523874" y="3260484"/>
                  <a:pt x="6521705" y="3262756"/>
                  <a:pt x="6522324" y="3265234"/>
                </a:cubicBezTo>
                <a:cubicBezTo>
                  <a:pt x="6526352" y="3261929"/>
                  <a:pt x="6534716" y="3263065"/>
                  <a:pt x="6544320" y="3264511"/>
                </a:cubicBezTo>
                <a:cubicBezTo>
                  <a:pt x="6548657" y="3264407"/>
                  <a:pt x="6553613" y="3265130"/>
                  <a:pt x="6558570" y="3265130"/>
                </a:cubicBezTo>
                <a:cubicBezTo>
                  <a:pt x="6563527" y="3265853"/>
                  <a:pt x="6567864" y="3265750"/>
                  <a:pt x="6572666" y="3264201"/>
                </a:cubicBezTo>
                <a:cubicBezTo>
                  <a:pt x="6574060" y="3264614"/>
                  <a:pt x="6573905" y="3266886"/>
                  <a:pt x="6573905" y="3269054"/>
                </a:cubicBezTo>
                <a:cubicBezTo>
                  <a:pt x="6578552" y="3268228"/>
                  <a:pt x="6583818" y="3267608"/>
                  <a:pt x="6588775" y="3268434"/>
                </a:cubicBezTo>
                <a:cubicBezTo>
                  <a:pt x="6594197" y="3269364"/>
                  <a:pt x="6598998" y="3270087"/>
                  <a:pt x="6604575" y="3271016"/>
                </a:cubicBezTo>
                <a:cubicBezTo>
                  <a:pt x="6609067" y="3272462"/>
                  <a:pt x="6613868" y="3273184"/>
                  <a:pt x="6618825" y="3273907"/>
                </a:cubicBezTo>
                <a:cubicBezTo>
                  <a:pt x="6623007" y="3274424"/>
                  <a:pt x="6627035" y="3275043"/>
                  <a:pt x="6630907" y="3274630"/>
                </a:cubicBezTo>
                <a:cubicBezTo>
                  <a:pt x="6631062" y="3276179"/>
                  <a:pt x="6630597" y="3277521"/>
                  <a:pt x="6630133" y="3278863"/>
                </a:cubicBezTo>
                <a:cubicBezTo>
                  <a:pt x="6636018" y="3274010"/>
                  <a:pt x="6640201" y="3276798"/>
                  <a:pt x="6646242" y="3280102"/>
                </a:cubicBezTo>
                <a:cubicBezTo>
                  <a:pt x="6639116" y="3280206"/>
                  <a:pt x="6642834" y="3284336"/>
                  <a:pt x="6633385" y="3282168"/>
                </a:cubicBezTo>
                <a:cubicBezTo>
                  <a:pt x="6641595" y="3285472"/>
                  <a:pt x="6651353" y="3284749"/>
                  <a:pt x="6656775" y="3292390"/>
                </a:cubicBezTo>
                <a:cubicBezTo>
                  <a:pt x="6657394" y="3290325"/>
                  <a:pt x="6658169" y="3288260"/>
                  <a:pt x="6656155" y="3287640"/>
                </a:cubicBezTo>
                <a:cubicBezTo>
                  <a:pt x="6658788" y="3286298"/>
                  <a:pt x="6666069" y="3292287"/>
                  <a:pt x="6669011" y="3294662"/>
                </a:cubicBezTo>
                <a:cubicBezTo>
                  <a:pt x="6670715" y="3293732"/>
                  <a:pt x="6680629" y="3294455"/>
                  <a:pt x="6676292" y="3290119"/>
                </a:cubicBezTo>
                <a:cubicBezTo>
                  <a:pt x="6682178" y="3291977"/>
                  <a:pt x="6687444" y="3293526"/>
                  <a:pt x="6693640" y="3294765"/>
                </a:cubicBezTo>
                <a:cubicBezTo>
                  <a:pt x="6699526" y="3296520"/>
                  <a:pt x="6705567" y="3297759"/>
                  <a:pt x="6711608" y="3299515"/>
                </a:cubicBezTo>
                <a:cubicBezTo>
                  <a:pt x="6709749" y="3304987"/>
                  <a:pt x="6703553" y="3301580"/>
                  <a:pt x="6705722" y="3308292"/>
                </a:cubicBezTo>
                <a:cubicBezTo>
                  <a:pt x="6699836" y="3306433"/>
                  <a:pt x="6695034" y="3303438"/>
                  <a:pt x="6689768" y="3301787"/>
                </a:cubicBezTo>
                <a:cubicBezTo>
                  <a:pt x="6685121" y="3300444"/>
                  <a:pt x="6680319" y="3299721"/>
                  <a:pt x="6674743" y="3303232"/>
                </a:cubicBezTo>
                <a:cubicBezTo>
                  <a:pt x="6672729" y="3302612"/>
                  <a:pt x="6674123" y="3300754"/>
                  <a:pt x="6674123" y="3298482"/>
                </a:cubicBezTo>
                <a:cubicBezTo>
                  <a:pt x="6672574" y="3298792"/>
                  <a:pt x="6672419" y="3301787"/>
                  <a:pt x="6670405" y="3301167"/>
                </a:cubicBezTo>
                <a:cubicBezTo>
                  <a:pt x="6671954" y="3303129"/>
                  <a:pt x="6676601" y="3306123"/>
                  <a:pt x="6681093" y="3308188"/>
                </a:cubicBezTo>
                <a:cubicBezTo>
                  <a:pt x="6685585" y="3309634"/>
                  <a:pt x="6690387" y="3310357"/>
                  <a:pt x="6693175" y="3306639"/>
                </a:cubicBezTo>
                <a:cubicBezTo>
                  <a:pt x="6696428" y="3309944"/>
                  <a:pt x="6702469" y="3311079"/>
                  <a:pt x="6705102" y="3314177"/>
                </a:cubicBezTo>
                <a:cubicBezTo>
                  <a:pt x="6703553" y="3317481"/>
                  <a:pt x="6702779" y="3320166"/>
                  <a:pt x="6700920" y="3321715"/>
                </a:cubicBezTo>
                <a:lnTo>
                  <a:pt x="6699836" y="3322231"/>
                </a:lnTo>
                <a:lnTo>
                  <a:pt x="6701230" y="3323883"/>
                </a:lnTo>
                <a:cubicBezTo>
                  <a:pt x="6703398" y="3325432"/>
                  <a:pt x="6706186" y="3326465"/>
                  <a:pt x="6709129" y="3327394"/>
                </a:cubicBezTo>
                <a:cubicBezTo>
                  <a:pt x="6715171" y="3328530"/>
                  <a:pt x="6721366" y="3329665"/>
                  <a:pt x="6726323" y="3331937"/>
                </a:cubicBezTo>
                <a:cubicBezTo>
                  <a:pt x="6727872" y="3333899"/>
                  <a:pt x="6730350" y="3335448"/>
                  <a:pt x="6732519" y="3337616"/>
                </a:cubicBezTo>
                <a:cubicBezTo>
                  <a:pt x="6733603" y="3338752"/>
                  <a:pt x="6735307" y="3339991"/>
                  <a:pt x="6736546" y="3340404"/>
                </a:cubicBezTo>
                <a:cubicBezTo>
                  <a:pt x="6737630" y="3341437"/>
                  <a:pt x="6739334" y="3342779"/>
                  <a:pt x="6740418" y="3343915"/>
                </a:cubicBezTo>
                <a:cubicBezTo>
                  <a:pt x="6746305" y="3347942"/>
                  <a:pt x="6753430" y="3352382"/>
                  <a:pt x="6759936" y="3356615"/>
                </a:cubicBezTo>
                <a:cubicBezTo>
                  <a:pt x="6767216" y="3361159"/>
                  <a:pt x="6773721" y="3365392"/>
                  <a:pt x="6780072" y="3370349"/>
                </a:cubicBezTo>
                <a:cubicBezTo>
                  <a:pt x="6785803" y="3374375"/>
                  <a:pt x="6790605" y="3379641"/>
                  <a:pt x="6794322" y="3383772"/>
                </a:cubicBezTo>
                <a:cubicBezTo>
                  <a:pt x="6796491" y="3381500"/>
                  <a:pt x="6798350" y="3382842"/>
                  <a:pt x="6800518" y="3385011"/>
                </a:cubicBezTo>
                <a:cubicBezTo>
                  <a:pt x="6801603" y="3386043"/>
                  <a:pt x="6802842" y="3386457"/>
                  <a:pt x="6804546" y="3387799"/>
                </a:cubicBezTo>
                <a:cubicBezTo>
                  <a:pt x="6806559" y="3388315"/>
                  <a:pt x="6808573" y="3388934"/>
                  <a:pt x="6811361" y="3389038"/>
                </a:cubicBezTo>
                <a:cubicBezTo>
                  <a:pt x="6809657" y="3389967"/>
                  <a:pt x="6807644" y="3389451"/>
                  <a:pt x="6806405" y="3390587"/>
                </a:cubicBezTo>
                <a:cubicBezTo>
                  <a:pt x="6814304" y="3393065"/>
                  <a:pt x="6821739" y="3396782"/>
                  <a:pt x="6829174" y="3400602"/>
                </a:cubicBezTo>
                <a:cubicBezTo>
                  <a:pt x="6836299" y="3405042"/>
                  <a:pt x="6843115" y="3408657"/>
                  <a:pt x="6851634" y="3411341"/>
                </a:cubicBezTo>
                <a:cubicBezTo>
                  <a:pt x="6855042" y="3407830"/>
                  <a:pt x="6842805" y="3405456"/>
                  <a:pt x="6848381" y="3401945"/>
                </a:cubicBezTo>
                <a:cubicBezTo>
                  <a:pt x="6851789" y="3404526"/>
                  <a:pt x="6854577" y="3406901"/>
                  <a:pt x="6856746" y="3409069"/>
                </a:cubicBezTo>
                <a:cubicBezTo>
                  <a:pt x="6859379" y="3412167"/>
                  <a:pt x="6861548" y="3414335"/>
                  <a:pt x="6862941" y="3416297"/>
                </a:cubicBezTo>
                <a:cubicBezTo>
                  <a:pt x="6867588" y="3420015"/>
                  <a:pt x="6872235" y="3422906"/>
                  <a:pt x="6879051" y="3424248"/>
                </a:cubicBezTo>
                <a:cubicBezTo>
                  <a:pt x="6877347" y="3427449"/>
                  <a:pt x="6879825" y="3430547"/>
                  <a:pt x="6880290" y="3433644"/>
                </a:cubicBezTo>
                <a:cubicBezTo>
                  <a:pt x="6881529" y="3434470"/>
                  <a:pt x="6882768" y="3433128"/>
                  <a:pt x="6884163" y="3432302"/>
                </a:cubicBezTo>
                <a:lnTo>
                  <a:pt x="6884782" y="3432199"/>
                </a:lnTo>
                <a:lnTo>
                  <a:pt x="6884782" y="3435090"/>
                </a:lnTo>
                <a:lnTo>
                  <a:pt x="6884008" y="3435090"/>
                </a:lnTo>
                <a:cubicBezTo>
                  <a:pt x="6883543" y="3435090"/>
                  <a:pt x="6883078" y="3435297"/>
                  <a:pt x="6882459" y="3435916"/>
                </a:cubicBezTo>
                <a:lnTo>
                  <a:pt x="6884782" y="3437465"/>
                </a:lnTo>
                <a:lnTo>
                  <a:pt x="6884782" y="4413133"/>
                </a:lnTo>
                <a:lnTo>
                  <a:pt x="6884627" y="4413133"/>
                </a:lnTo>
                <a:cubicBezTo>
                  <a:pt x="6883543" y="4413856"/>
                  <a:pt x="6882304" y="4414888"/>
                  <a:pt x="6881219" y="4416024"/>
                </a:cubicBezTo>
                <a:cubicBezTo>
                  <a:pt x="6878276" y="4418193"/>
                  <a:pt x="6876573" y="4421394"/>
                  <a:pt x="6874094" y="4424388"/>
                </a:cubicBezTo>
                <a:cubicBezTo>
                  <a:pt x="6871771" y="4426763"/>
                  <a:pt x="6870067" y="4429861"/>
                  <a:pt x="6867743" y="4432235"/>
                </a:cubicBezTo>
                <a:cubicBezTo>
                  <a:pt x="6867433" y="4429034"/>
                  <a:pt x="6868983" y="4426556"/>
                  <a:pt x="6870531" y="4423975"/>
                </a:cubicBezTo>
                <a:cubicBezTo>
                  <a:pt x="6872080" y="4421497"/>
                  <a:pt x="6874559" y="4418502"/>
                  <a:pt x="6875488" y="4415817"/>
                </a:cubicBezTo>
                <a:cubicBezTo>
                  <a:pt x="6873319" y="4415921"/>
                  <a:pt x="6869912" y="4417057"/>
                  <a:pt x="6868363" y="4419638"/>
                </a:cubicBezTo>
                <a:cubicBezTo>
                  <a:pt x="6866349" y="4421290"/>
                  <a:pt x="6865420" y="4423975"/>
                  <a:pt x="6868208" y="4426350"/>
                </a:cubicBezTo>
                <a:cubicBezTo>
                  <a:pt x="6862477" y="4428311"/>
                  <a:pt x="6861548" y="4431100"/>
                  <a:pt x="6857055" y="4435643"/>
                </a:cubicBezTo>
                <a:cubicBezTo>
                  <a:pt x="6851634" y="4436985"/>
                  <a:pt x="6863871" y="4428725"/>
                  <a:pt x="6861083" y="4426350"/>
                </a:cubicBezTo>
                <a:cubicBezTo>
                  <a:pt x="6854267" y="4425007"/>
                  <a:pt x="6841411" y="4439153"/>
                  <a:pt x="6840327" y="4440289"/>
                </a:cubicBezTo>
                <a:cubicBezTo>
                  <a:pt x="6836609" y="4442974"/>
                  <a:pt x="6833356" y="4445659"/>
                  <a:pt x="6834596" y="4444523"/>
                </a:cubicBezTo>
                <a:cubicBezTo>
                  <a:pt x="6828245" y="4452370"/>
                  <a:pt x="6821274" y="4449479"/>
                  <a:pt x="6816473" y="4452577"/>
                </a:cubicBezTo>
                <a:cubicBezTo>
                  <a:pt x="6814769" y="4453506"/>
                  <a:pt x="6815698" y="4459082"/>
                  <a:pt x="6811361" y="4461457"/>
                </a:cubicBezTo>
                <a:cubicBezTo>
                  <a:pt x="6805940" y="4464348"/>
                  <a:pt x="6797111" y="4469098"/>
                  <a:pt x="6788437" y="4475500"/>
                </a:cubicBezTo>
                <a:cubicBezTo>
                  <a:pt x="6786423" y="4477152"/>
                  <a:pt x="6784409" y="4478804"/>
                  <a:pt x="6781621" y="4480249"/>
                </a:cubicBezTo>
                <a:cubicBezTo>
                  <a:pt x="6779607" y="4481798"/>
                  <a:pt x="6777594" y="4483450"/>
                  <a:pt x="6775580" y="4485103"/>
                </a:cubicBezTo>
                <a:lnTo>
                  <a:pt x="6772327" y="4488613"/>
                </a:lnTo>
                <a:lnTo>
                  <a:pt x="6772327" y="4490575"/>
                </a:lnTo>
                <a:cubicBezTo>
                  <a:pt x="6770623" y="4498319"/>
                  <a:pt x="6764272" y="4508026"/>
                  <a:pt x="6753895" y="4507922"/>
                </a:cubicBezTo>
                <a:cubicBezTo>
                  <a:pt x="6753275" y="4499868"/>
                  <a:pt x="6755598" y="4494912"/>
                  <a:pt x="6759161" y="4491504"/>
                </a:cubicBezTo>
                <a:lnTo>
                  <a:pt x="6761020" y="4490472"/>
                </a:lnTo>
                <a:lnTo>
                  <a:pt x="6757302" y="4491298"/>
                </a:lnTo>
                <a:cubicBezTo>
                  <a:pt x="6753430" y="4492950"/>
                  <a:pt x="6749403" y="4495944"/>
                  <a:pt x="6746615" y="4498009"/>
                </a:cubicBezTo>
                <a:cubicBezTo>
                  <a:pt x="6747854" y="4498423"/>
                  <a:pt x="6750642" y="4496977"/>
                  <a:pt x="6751571" y="4500281"/>
                </a:cubicBezTo>
                <a:cubicBezTo>
                  <a:pt x="6743361" y="4502966"/>
                  <a:pt x="6726478" y="4501520"/>
                  <a:pt x="6725549" y="4512569"/>
                </a:cubicBezTo>
                <a:cubicBezTo>
                  <a:pt x="6722760" y="4514737"/>
                  <a:pt x="6722141" y="4512259"/>
                  <a:pt x="6720592" y="4510297"/>
                </a:cubicBezTo>
                <a:cubicBezTo>
                  <a:pt x="6714086" y="4514324"/>
                  <a:pt x="6713467" y="4514118"/>
                  <a:pt x="6710369" y="4516905"/>
                </a:cubicBezTo>
                <a:cubicBezTo>
                  <a:pt x="6710988" y="4519383"/>
                  <a:pt x="6712692" y="4518454"/>
                  <a:pt x="6715016" y="4518351"/>
                </a:cubicBezTo>
                <a:cubicBezTo>
                  <a:pt x="6710679" y="4526818"/>
                  <a:pt x="6702314" y="4521242"/>
                  <a:pt x="6694879" y="4530226"/>
                </a:cubicBezTo>
                <a:cubicBezTo>
                  <a:pt x="6693950" y="4524649"/>
                  <a:pt x="6686979" y="4530019"/>
                  <a:pt x="6684191" y="4527644"/>
                </a:cubicBezTo>
                <a:cubicBezTo>
                  <a:pt x="6680009" y="4531671"/>
                  <a:pt x="6673658" y="4534975"/>
                  <a:pt x="6667153" y="4539002"/>
                </a:cubicBezTo>
                <a:cubicBezTo>
                  <a:pt x="6663900" y="4540241"/>
                  <a:pt x="6660337" y="4542203"/>
                  <a:pt x="6656775" y="4544062"/>
                </a:cubicBezTo>
                <a:cubicBezTo>
                  <a:pt x="6653212" y="4546024"/>
                  <a:pt x="6649030" y="4547779"/>
                  <a:pt x="6645777" y="4549018"/>
                </a:cubicBezTo>
                <a:cubicBezTo>
                  <a:pt x="6638032" y="4552632"/>
                  <a:pt x="6629823" y="4555317"/>
                  <a:pt x="6622388" y="4557588"/>
                </a:cubicBezTo>
                <a:lnTo>
                  <a:pt x="6609376" y="4560479"/>
                </a:lnTo>
                <a:lnTo>
                  <a:pt x="6611855" y="4564713"/>
                </a:lnTo>
                <a:cubicBezTo>
                  <a:pt x="6609686" y="4564610"/>
                  <a:pt x="6607518" y="4563887"/>
                  <a:pt x="6605504" y="4562855"/>
                </a:cubicBezTo>
                <a:lnTo>
                  <a:pt x="6603955" y="4561719"/>
                </a:lnTo>
                <a:lnTo>
                  <a:pt x="6599618" y="4562648"/>
                </a:lnTo>
                <a:cubicBezTo>
                  <a:pt x="6597139" y="4565642"/>
                  <a:pt x="6594351" y="4567707"/>
                  <a:pt x="6591718" y="4569153"/>
                </a:cubicBezTo>
                <a:lnTo>
                  <a:pt x="6589395" y="4569669"/>
                </a:lnTo>
                <a:lnTo>
                  <a:pt x="6595901" y="4583093"/>
                </a:lnTo>
                <a:lnTo>
                  <a:pt x="6598069" y="4600233"/>
                </a:lnTo>
                <a:lnTo>
                  <a:pt x="6603180" y="4601472"/>
                </a:lnTo>
                <a:cubicBezTo>
                  <a:pt x="6611080" y="4601679"/>
                  <a:pt x="6618670" y="4598168"/>
                  <a:pt x="6627035" y="4604364"/>
                </a:cubicBezTo>
                <a:cubicBezTo>
                  <a:pt x="6624711" y="4608080"/>
                  <a:pt x="6617276" y="4609939"/>
                  <a:pt x="6610151" y="4609320"/>
                </a:cubicBezTo>
                <a:cubicBezTo>
                  <a:pt x="6606588" y="4609010"/>
                  <a:pt x="6603025" y="4608080"/>
                  <a:pt x="6600237" y="4606429"/>
                </a:cubicBezTo>
                <a:lnTo>
                  <a:pt x="6598534" y="4604054"/>
                </a:lnTo>
                <a:lnTo>
                  <a:pt x="6598843" y="4605809"/>
                </a:lnTo>
                <a:cubicBezTo>
                  <a:pt x="6598689" y="4613553"/>
                  <a:pt x="6597294" y="4621194"/>
                  <a:pt x="6594971" y="4628526"/>
                </a:cubicBezTo>
                <a:cubicBezTo>
                  <a:pt x="6589550" y="4646182"/>
                  <a:pt x="6578242" y="4661877"/>
                  <a:pt x="6562753" y="4671686"/>
                </a:cubicBezTo>
                <a:cubicBezTo>
                  <a:pt x="6550825" y="4679947"/>
                  <a:pt x="6538744" y="4683251"/>
                  <a:pt x="6526971" y="4682632"/>
                </a:cubicBezTo>
                <a:lnTo>
                  <a:pt x="6522479" y="4681909"/>
                </a:lnTo>
                <a:lnTo>
                  <a:pt x="6521240" y="4682941"/>
                </a:lnTo>
                <a:cubicBezTo>
                  <a:pt x="6519691" y="4683871"/>
                  <a:pt x="6517988" y="4684594"/>
                  <a:pt x="6516748" y="4685007"/>
                </a:cubicBezTo>
                <a:cubicBezTo>
                  <a:pt x="6516593" y="4684180"/>
                  <a:pt x="6517058" y="4683458"/>
                  <a:pt x="6517523" y="4682632"/>
                </a:cubicBezTo>
                <a:lnTo>
                  <a:pt x="6519072" y="4681289"/>
                </a:lnTo>
                <a:lnTo>
                  <a:pt x="6512566" y="4680154"/>
                </a:lnTo>
                <a:cubicBezTo>
                  <a:pt x="6498625" y="4675713"/>
                  <a:pt x="6485614" y="4666111"/>
                  <a:pt x="6474617" y="4653410"/>
                </a:cubicBezTo>
                <a:lnTo>
                  <a:pt x="6471984" y="4649073"/>
                </a:lnTo>
                <a:lnTo>
                  <a:pt x="6471364" y="4649590"/>
                </a:lnTo>
                <a:cubicBezTo>
                  <a:pt x="6471519" y="4649796"/>
                  <a:pt x="6471674" y="4649900"/>
                  <a:pt x="6471674" y="4649900"/>
                </a:cubicBezTo>
                <a:cubicBezTo>
                  <a:pt x="6471674" y="4649900"/>
                  <a:pt x="6470899" y="4649486"/>
                  <a:pt x="6470899" y="4649486"/>
                </a:cubicBezTo>
                <a:cubicBezTo>
                  <a:pt x="6470899" y="4649486"/>
                  <a:pt x="6470899" y="4649383"/>
                  <a:pt x="6468576" y="4650106"/>
                </a:cubicBezTo>
                <a:cubicBezTo>
                  <a:pt x="6466098" y="4651551"/>
                  <a:pt x="6465633" y="4652274"/>
                  <a:pt x="6464239" y="4653410"/>
                </a:cubicBezTo>
                <a:cubicBezTo>
                  <a:pt x="6462070" y="4654030"/>
                  <a:pt x="6461296" y="4653617"/>
                  <a:pt x="6458353" y="4653927"/>
                </a:cubicBezTo>
                <a:cubicBezTo>
                  <a:pt x="6457113" y="4652274"/>
                  <a:pt x="6457113" y="4652274"/>
                  <a:pt x="6457578" y="4651551"/>
                </a:cubicBezTo>
                <a:cubicBezTo>
                  <a:pt x="6457113" y="4652274"/>
                  <a:pt x="6456339" y="4651862"/>
                  <a:pt x="6455255" y="4652171"/>
                </a:cubicBezTo>
                <a:cubicBezTo>
                  <a:pt x="6451227" y="4654649"/>
                  <a:pt x="6448284" y="4650932"/>
                  <a:pt x="6445806" y="4645769"/>
                </a:cubicBezTo>
                <a:lnTo>
                  <a:pt x="6445961" y="4644633"/>
                </a:lnTo>
                <a:lnTo>
                  <a:pt x="6444412" y="4643601"/>
                </a:lnTo>
                <a:lnTo>
                  <a:pt x="6445651" y="4641845"/>
                </a:lnTo>
                <a:lnTo>
                  <a:pt x="6445342" y="4640710"/>
                </a:lnTo>
                <a:lnTo>
                  <a:pt x="6445651" y="4640193"/>
                </a:lnTo>
                <a:lnTo>
                  <a:pt x="6442243" y="4639367"/>
                </a:lnTo>
                <a:cubicBezTo>
                  <a:pt x="6443173" y="4636993"/>
                  <a:pt x="6443638" y="4635857"/>
                  <a:pt x="6443792" y="4633895"/>
                </a:cubicBezTo>
                <a:cubicBezTo>
                  <a:pt x="6445342" y="4634514"/>
                  <a:pt x="6446890" y="4634824"/>
                  <a:pt x="6448130" y="4635031"/>
                </a:cubicBezTo>
                <a:lnTo>
                  <a:pt x="6451382" y="4635650"/>
                </a:lnTo>
                <a:lnTo>
                  <a:pt x="6455874" y="4632552"/>
                </a:lnTo>
                <a:lnTo>
                  <a:pt x="6451537" y="4632036"/>
                </a:lnTo>
                <a:cubicBezTo>
                  <a:pt x="6448749" y="4631107"/>
                  <a:pt x="6446116" y="4629661"/>
                  <a:pt x="6443947" y="4627699"/>
                </a:cubicBezTo>
                <a:lnTo>
                  <a:pt x="6443328" y="4626976"/>
                </a:lnTo>
                <a:lnTo>
                  <a:pt x="6443947" y="4628422"/>
                </a:lnTo>
                <a:cubicBezTo>
                  <a:pt x="6443792" y="4629661"/>
                  <a:pt x="6443638" y="4629661"/>
                  <a:pt x="6443018" y="4630074"/>
                </a:cubicBezTo>
                <a:cubicBezTo>
                  <a:pt x="6442088" y="4631726"/>
                  <a:pt x="6441934" y="4632966"/>
                  <a:pt x="6440075" y="4633069"/>
                </a:cubicBezTo>
                <a:cubicBezTo>
                  <a:pt x="6438526" y="4633069"/>
                  <a:pt x="6437752" y="4632449"/>
                  <a:pt x="6437287" y="4631520"/>
                </a:cubicBezTo>
                <a:cubicBezTo>
                  <a:pt x="6436822" y="4630694"/>
                  <a:pt x="6436667" y="4629351"/>
                  <a:pt x="6436512" y="4627803"/>
                </a:cubicBezTo>
                <a:cubicBezTo>
                  <a:pt x="6436357" y="4624602"/>
                  <a:pt x="6438991" y="4623982"/>
                  <a:pt x="6439300" y="4621504"/>
                </a:cubicBezTo>
                <a:lnTo>
                  <a:pt x="6440695" y="4622433"/>
                </a:lnTo>
                <a:lnTo>
                  <a:pt x="6444876" y="4615309"/>
                </a:lnTo>
                <a:cubicBezTo>
                  <a:pt x="6446890" y="4613243"/>
                  <a:pt x="6449214" y="4611798"/>
                  <a:pt x="6451692" y="4610869"/>
                </a:cubicBezTo>
                <a:lnTo>
                  <a:pt x="6456494" y="4610042"/>
                </a:lnTo>
                <a:lnTo>
                  <a:pt x="6453396" y="4607874"/>
                </a:lnTo>
                <a:cubicBezTo>
                  <a:pt x="6450298" y="4604776"/>
                  <a:pt x="6447510" y="4600749"/>
                  <a:pt x="6445496" y="4595483"/>
                </a:cubicBezTo>
                <a:lnTo>
                  <a:pt x="6446890" y="4593522"/>
                </a:lnTo>
                <a:lnTo>
                  <a:pt x="6444567" y="4593831"/>
                </a:lnTo>
                <a:cubicBezTo>
                  <a:pt x="6437752" y="4594761"/>
                  <a:pt x="6431091" y="4594967"/>
                  <a:pt x="6424585" y="4595174"/>
                </a:cubicBezTo>
                <a:lnTo>
                  <a:pt x="6424120" y="4595174"/>
                </a:lnTo>
                <a:lnTo>
                  <a:pt x="6433414" y="4600233"/>
                </a:lnTo>
                <a:cubicBezTo>
                  <a:pt x="6436822" y="4602608"/>
                  <a:pt x="6439920" y="4605706"/>
                  <a:pt x="6442399" y="4610249"/>
                </a:cubicBezTo>
                <a:cubicBezTo>
                  <a:pt x="6435273" y="4612211"/>
                  <a:pt x="6429232" y="4606015"/>
                  <a:pt x="6425515" y="4600027"/>
                </a:cubicBezTo>
                <a:lnTo>
                  <a:pt x="6423191" y="4595174"/>
                </a:lnTo>
                <a:lnTo>
                  <a:pt x="6413742" y="4594864"/>
                </a:lnTo>
                <a:cubicBezTo>
                  <a:pt x="6410954" y="4594761"/>
                  <a:pt x="6406772" y="4594244"/>
                  <a:pt x="6403209" y="4593935"/>
                </a:cubicBezTo>
                <a:cubicBezTo>
                  <a:pt x="6401041" y="4593935"/>
                  <a:pt x="6402125" y="4597239"/>
                  <a:pt x="6401351" y="4599304"/>
                </a:cubicBezTo>
                <a:lnTo>
                  <a:pt x="6395775" y="4599304"/>
                </a:lnTo>
                <a:lnTo>
                  <a:pt x="6397478" y="4602092"/>
                </a:lnTo>
                <a:cubicBezTo>
                  <a:pt x="6397788" y="4603537"/>
                  <a:pt x="6397633" y="4605293"/>
                  <a:pt x="6396859" y="4607461"/>
                </a:cubicBezTo>
                <a:cubicBezTo>
                  <a:pt x="6395620" y="4608287"/>
                  <a:pt x="6394380" y="4608907"/>
                  <a:pt x="6393141" y="4609113"/>
                </a:cubicBezTo>
                <a:cubicBezTo>
                  <a:pt x="6389579" y="4609836"/>
                  <a:pt x="6386326" y="4607977"/>
                  <a:pt x="6385861" y="4604776"/>
                </a:cubicBezTo>
                <a:cubicBezTo>
                  <a:pt x="6385706" y="4603331"/>
                  <a:pt x="6386016" y="4601679"/>
                  <a:pt x="6387100" y="4599820"/>
                </a:cubicBezTo>
                <a:lnTo>
                  <a:pt x="6389269" y="4598994"/>
                </a:lnTo>
                <a:lnTo>
                  <a:pt x="6382298" y="4597962"/>
                </a:lnTo>
                <a:cubicBezTo>
                  <a:pt x="6390198" y="4604157"/>
                  <a:pt x="6372230" y="4597858"/>
                  <a:pt x="6370217" y="4594967"/>
                </a:cubicBezTo>
                <a:cubicBezTo>
                  <a:pt x="6367429" y="4594864"/>
                  <a:pt x="6368668" y="4599820"/>
                  <a:pt x="6366189" y="4600543"/>
                </a:cubicBezTo>
                <a:cubicBezTo>
                  <a:pt x="6359994" y="4599407"/>
                  <a:pt x="6368513" y="4593728"/>
                  <a:pt x="6361852" y="4591663"/>
                </a:cubicBezTo>
                <a:cubicBezTo>
                  <a:pt x="6356896" y="4597652"/>
                  <a:pt x="6350235" y="4594038"/>
                  <a:pt x="6340631" y="4596413"/>
                </a:cubicBezTo>
                <a:cubicBezTo>
                  <a:pt x="6336294" y="4594347"/>
                  <a:pt x="6347757" y="4594864"/>
                  <a:pt x="6349461" y="4593935"/>
                </a:cubicBezTo>
                <a:cubicBezTo>
                  <a:pt x="6351164" y="4586913"/>
                  <a:pt x="6340167" y="4589495"/>
                  <a:pt x="6334745" y="4588565"/>
                </a:cubicBezTo>
                <a:lnTo>
                  <a:pt x="6334590" y="4588565"/>
                </a:lnTo>
                <a:lnTo>
                  <a:pt x="6335210" y="4594038"/>
                </a:lnTo>
                <a:cubicBezTo>
                  <a:pt x="6337069" y="4600336"/>
                  <a:pt x="6340941" y="4605809"/>
                  <a:pt x="6336449" y="4611281"/>
                </a:cubicBezTo>
                <a:cubicBezTo>
                  <a:pt x="6334126" y="4607874"/>
                  <a:pt x="6331648" y="4604673"/>
                  <a:pt x="6329789" y="4600853"/>
                </a:cubicBezTo>
                <a:cubicBezTo>
                  <a:pt x="6328859" y="4598994"/>
                  <a:pt x="6328085" y="4596929"/>
                  <a:pt x="6327775" y="4594554"/>
                </a:cubicBezTo>
                <a:lnTo>
                  <a:pt x="6327620" y="4592799"/>
                </a:lnTo>
                <a:lnTo>
                  <a:pt x="6325916" y="4590837"/>
                </a:lnTo>
                <a:cubicBezTo>
                  <a:pt x="6324212" y="4589081"/>
                  <a:pt x="6321889" y="4587636"/>
                  <a:pt x="6316622" y="4588255"/>
                </a:cubicBezTo>
                <a:cubicBezTo>
                  <a:pt x="6311976" y="4589081"/>
                  <a:pt x="6319101" y="4591973"/>
                  <a:pt x="6314764" y="4593728"/>
                </a:cubicBezTo>
                <a:lnTo>
                  <a:pt x="6311666" y="4591456"/>
                </a:lnTo>
                <a:lnTo>
                  <a:pt x="6311511" y="4593831"/>
                </a:lnTo>
                <a:cubicBezTo>
                  <a:pt x="6312285" y="4599510"/>
                  <a:pt x="6316003" y="4601885"/>
                  <a:pt x="6318172" y="4605706"/>
                </a:cubicBezTo>
                <a:cubicBezTo>
                  <a:pt x="6313370" y="4612314"/>
                  <a:pt x="6312750" y="4622846"/>
                  <a:pt x="6309342" y="4631416"/>
                </a:cubicBezTo>
                <a:cubicBezTo>
                  <a:pt x="6299429" y="4635960"/>
                  <a:pt x="6292304" y="4642465"/>
                  <a:pt x="6282236" y="4647008"/>
                </a:cubicBezTo>
                <a:cubicBezTo>
                  <a:pt x="6280067" y="4645460"/>
                  <a:pt x="6277434" y="4644427"/>
                  <a:pt x="6274491" y="4643704"/>
                </a:cubicBezTo>
                <a:lnTo>
                  <a:pt x="6267830" y="4642259"/>
                </a:lnTo>
                <a:lnTo>
                  <a:pt x="6268915" y="4645976"/>
                </a:lnTo>
                <a:cubicBezTo>
                  <a:pt x="6269689" y="4647421"/>
                  <a:pt x="6270308" y="4649177"/>
                  <a:pt x="6270154" y="4652584"/>
                </a:cubicBezTo>
                <a:cubicBezTo>
                  <a:pt x="6269999" y="4661258"/>
                  <a:pt x="6264422" y="4662806"/>
                  <a:pt x="6260085" y="4662394"/>
                </a:cubicBezTo>
                <a:cubicBezTo>
                  <a:pt x="6260240" y="4662084"/>
                  <a:pt x="6259775" y="4661877"/>
                  <a:pt x="6259311" y="4661671"/>
                </a:cubicBezTo>
                <a:lnTo>
                  <a:pt x="6257607" y="4660948"/>
                </a:lnTo>
                <a:lnTo>
                  <a:pt x="6254974" y="4661980"/>
                </a:lnTo>
                <a:cubicBezTo>
                  <a:pt x="6254199" y="4661877"/>
                  <a:pt x="6253425" y="4661464"/>
                  <a:pt x="6252495" y="4660638"/>
                </a:cubicBezTo>
                <a:cubicBezTo>
                  <a:pt x="6251566" y="4660741"/>
                  <a:pt x="6250327" y="4657334"/>
                  <a:pt x="6250947" y="4656405"/>
                </a:cubicBezTo>
                <a:lnTo>
                  <a:pt x="6251721" y="4655682"/>
                </a:lnTo>
                <a:lnTo>
                  <a:pt x="6250327" y="4650519"/>
                </a:lnTo>
                <a:cubicBezTo>
                  <a:pt x="6250327" y="4649383"/>
                  <a:pt x="6250637" y="4648350"/>
                  <a:pt x="6250792" y="4647215"/>
                </a:cubicBezTo>
                <a:cubicBezTo>
                  <a:pt x="6250482" y="4649073"/>
                  <a:pt x="6250017" y="4650932"/>
                  <a:pt x="6249552" y="4652171"/>
                </a:cubicBezTo>
                <a:lnTo>
                  <a:pt x="6248778" y="4653927"/>
                </a:lnTo>
                <a:lnTo>
                  <a:pt x="6249707" y="4654030"/>
                </a:lnTo>
                <a:lnTo>
                  <a:pt x="6248623" y="4654959"/>
                </a:lnTo>
                <a:lnTo>
                  <a:pt x="6248623" y="4655062"/>
                </a:lnTo>
                <a:cubicBezTo>
                  <a:pt x="6247694" y="4655062"/>
                  <a:pt x="6247694" y="4655992"/>
                  <a:pt x="6248623" y="4655992"/>
                </a:cubicBezTo>
                <a:cubicBezTo>
                  <a:pt x="6247539" y="4657231"/>
                  <a:pt x="6246919" y="4658367"/>
                  <a:pt x="6246145" y="4658883"/>
                </a:cubicBezTo>
                <a:lnTo>
                  <a:pt x="6245370" y="4658779"/>
                </a:lnTo>
                <a:lnTo>
                  <a:pt x="6245525" y="4663529"/>
                </a:lnTo>
                <a:lnTo>
                  <a:pt x="6245215" y="4664975"/>
                </a:lnTo>
                <a:lnTo>
                  <a:pt x="6245680" y="4665284"/>
                </a:lnTo>
                <a:lnTo>
                  <a:pt x="6245061" y="4666007"/>
                </a:lnTo>
                <a:lnTo>
                  <a:pt x="6244286" y="4670447"/>
                </a:lnTo>
                <a:cubicBezTo>
                  <a:pt x="6243511" y="4672306"/>
                  <a:pt x="6242427" y="4673442"/>
                  <a:pt x="6240569" y="4673752"/>
                </a:cubicBezTo>
                <a:lnTo>
                  <a:pt x="6239794" y="4667866"/>
                </a:lnTo>
                <a:lnTo>
                  <a:pt x="6239484" y="4667556"/>
                </a:lnTo>
                <a:lnTo>
                  <a:pt x="6239639" y="4667143"/>
                </a:lnTo>
                <a:lnTo>
                  <a:pt x="6239019" y="4660329"/>
                </a:lnTo>
                <a:lnTo>
                  <a:pt x="6240104" y="4653720"/>
                </a:lnTo>
                <a:lnTo>
                  <a:pt x="6239174" y="4653617"/>
                </a:lnTo>
                <a:cubicBezTo>
                  <a:pt x="6235922" y="4654133"/>
                  <a:pt x="6231584" y="4657024"/>
                  <a:pt x="6226938" y="4652997"/>
                </a:cubicBezTo>
                <a:cubicBezTo>
                  <a:pt x="6228796" y="4651242"/>
                  <a:pt x="6225853" y="4646802"/>
                  <a:pt x="6228641" y="4644324"/>
                </a:cubicBezTo>
                <a:cubicBezTo>
                  <a:pt x="6234372" y="4637818"/>
                  <a:pt x="6237161" y="4637199"/>
                  <a:pt x="6240414" y="4638438"/>
                </a:cubicBezTo>
                <a:lnTo>
                  <a:pt x="6240723" y="4638644"/>
                </a:lnTo>
                <a:lnTo>
                  <a:pt x="6245680" y="4638644"/>
                </a:lnTo>
                <a:lnTo>
                  <a:pt x="6246454" y="4640193"/>
                </a:lnTo>
                <a:cubicBezTo>
                  <a:pt x="6247229" y="4639367"/>
                  <a:pt x="6248158" y="4638541"/>
                  <a:pt x="6249397" y="4639471"/>
                </a:cubicBezTo>
                <a:cubicBezTo>
                  <a:pt x="6251101" y="4641123"/>
                  <a:pt x="6251411" y="4643498"/>
                  <a:pt x="6251256" y="4645872"/>
                </a:cubicBezTo>
                <a:cubicBezTo>
                  <a:pt x="6252340" y="4642259"/>
                  <a:pt x="6255283" y="4639677"/>
                  <a:pt x="6261480" y="4640916"/>
                </a:cubicBezTo>
                <a:cubicBezTo>
                  <a:pt x="6263338" y="4640813"/>
                  <a:pt x="6262718" y="4641226"/>
                  <a:pt x="6263803" y="4641536"/>
                </a:cubicBezTo>
                <a:lnTo>
                  <a:pt x="6265042" y="4641639"/>
                </a:lnTo>
                <a:lnTo>
                  <a:pt x="6256833" y="4638748"/>
                </a:lnTo>
                <a:cubicBezTo>
                  <a:pt x="6254354" y="4637302"/>
                  <a:pt x="6252186" y="4635237"/>
                  <a:pt x="6250947" y="4632243"/>
                </a:cubicBezTo>
                <a:cubicBezTo>
                  <a:pt x="6252186" y="4626770"/>
                  <a:pt x="6251566" y="4623156"/>
                  <a:pt x="6250482" y="4620162"/>
                </a:cubicBezTo>
                <a:lnTo>
                  <a:pt x="6250327" y="4619748"/>
                </a:lnTo>
                <a:lnTo>
                  <a:pt x="6250172" y="4619955"/>
                </a:lnTo>
                <a:cubicBezTo>
                  <a:pt x="6250017" y="4620059"/>
                  <a:pt x="6250017" y="4619852"/>
                  <a:pt x="6249707" y="4619439"/>
                </a:cubicBezTo>
                <a:cubicBezTo>
                  <a:pt x="6249707" y="4619439"/>
                  <a:pt x="6249552" y="4619439"/>
                  <a:pt x="6248933" y="4618509"/>
                </a:cubicBezTo>
                <a:cubicBezTo>
                  <a:pt x="6248933" y="4618509"/>
                  <a:pt x="6248778" y="4618509"/>
                  <a:pt x="6248778" y="4618200"/>
                </a:cubicBezTo>
                <a:lnTo>
                  <a:pt x="6249397" y="4617167"/>
                </a:lnTo>
                <a:lnTo>
                  <a:pt x="6248778" y="4615722"/>
                </a:lnTo>
                <a:cubicBezTo>
                  <a:pt x="6248158" y="4614276"/>
                  <a:pt x="6247694" y="4612831"/>
                  <a:pt x="6247384" y="4611075"/>
                </a:cubicBezTo>
                <a:cubicBezTo>
                  <a:pt x="6248623" y="4607461"/>
                  <a:pt x="6250482" y="4603537"/>
                  <a:pt x="6252495" y="4599717"/>
                </a:cubicBezTo>
                <a:lnTo>
                  <a:pt x="6254664" y="4596516"/>
                </a:lnTo>
                <a:lnTo>
                  <a:pt x="6256213" y="4593522"/>
                </a:lnTo>
                <a:lnTo>
                  <a:pt x="6256368" y="4593212"/>
                </a:lnTo>
                <a:lnTo>
                  <a:pt x="6257452" y="4586087"/>
                </a:lnTo>
                <a:cubicBezTo>
                  <a:pt x="6258227" y="4583815"/>
                  <a:pt x="6259621" y="4581750"/>
                  <a:pt x="6261634" y="4580098"/>
                </a:cubicBezTo>
                <a:cubicBezTo>
                  <a:pt x="6262873" y="4579272"/>
                  <a:pt x="6264113" y="4578756"/>
                  <a:pt x="6265352" y="4578446"/>
                </a:cubicBezTo>
                <a:lnTo>
                  <a:pt x="6268140" y="4578136"/>
                </a:lnTo>
                <a:lnTo>
                  <a:pt x="6266746" y="4577413"/>
                </a:lnTo>
                <a:cubicBezTo>
                  <a:pt x="6262718" y="4573903"/>
                  <a:pt x="6272942" y="4574006"/>
                  <a:pt x="6268760" y="4568946"/>
                </a:cubicBezTo>
                <a:cubicBezTo>
                  <a:pt x="6267830" y="4570392"/>
                  <a:pt x="6266746" y="4574316"/>
                  <a:pt x="6263493" y="4573697"/>
                </a:cubicBezTo>
                <a:lnTo>
                  <a:pt x="6259775" y="4571528"/>
                </a:lnTo>
                <a:cubicBezTo>
                  <a:pt x="6259156" y="4572044"/>
                  <a:pt x="6257917" y="4572251"/>
                  <a:pt x="6255748" y="4571838"/>
                </a:cubicBezTo>
                <a:cubicBezTo>
                  <a:pt x="6255283" y="4568534"/>
                  <a:pt x="6255903" y="4567088"/>
                  <a:pt x="6256678" y="4566675"/>
                </a:cubicBezTo>
                <a:cubicBezTo>
                  <a:pt x="6257762" y="4566055"/>
                  <a:pt x="6259621" y="4567707"/>
                  <a:pt x="6260240" y="4569463"/>
                </a:cubicBezTo>
                <a:lnTo>
                  <a:pt x="6259930" y="4571012"/>
                </a:lnTo>
                <a:lnTo>
                  <a:pt x="6263958" y="4568843"/>
                </a:lnTo>
                <a:cubicBezTo>
                  <a:pt x="6265507" y="4567811"/>
                  <a:pt x="6266901" y="4566055"/>
                  <a:pt x="6266746" y="4562235"/>
                </a:cubicBezTo>
                <a:cubicBezTo>
                  <a:pt x="6264577" y="4562338"/>
                  <a:pt x="6263493" y="4561306"/>
                  <a:pt x="6263648" y="4560583"/>
                </a:cubicBezTo>
                <a:lnTo>
                  <a:pt x="6261789" y="4560893"/>
                </a:lnTo>
                <a:lnTo>
                  <a:pt x="6261944" y="4561099"/>
                </a:lnTo>
                <a:lnTo>
                  <a:pt x="6260395" y="4561615"/>
                </a:lnTo>
                <a:lnTo>
                  <a:pt x="6260240" y="4563268"/>
                </a:lnTo>
                <a:cubicBezTo>
                  <a:pt x="6260395" y="4564919"/>
                  <a:pt x="6260550" y="4566468"/>
                  <a:pt x="6256987" y="4565333"/>
                </a:cubicBezTo>
                <a:lnTo>
                  <a:pt x="6257607" y="4562751"/>
                </a:lnTo>
                <a:lnTo>
                  <a:pt x="6253890" y="4564197"/>
                </a:lnTo>
                <a:cubicBezTo>
                  <a:pt x="6251566" y="4563887"/>
                  <a:pt x="6249862" y="4562132"/>
                  <a:pt x="6248623" y="4558828"/>
                </a:cubicBezTo>
                <a:lnTo>
                  <a:pt x="6252031" y="4556143"/>
                </a:lnTo>
                <a:lnTo>
                  <a:pt x="6246454" y="4553768"/>
                </a:lnTo>
                <a:cubicBezTo>
                  <a:pt x="6246919" y="4552426"/>
                  <a:pt x="6248623" y="4552632"/>
                  <a:pt x="6250637" y="4553148"/>
                </a:cubicBezTo>
                <a:lnTo>
                  <a:pt x="6254354" y="4554078"/>
                </a:lnTo>
                <a:lnTo>
                  <a:pt x="6255594" y="4553045"/>
                </a:lnTo>
                <a:lnTo>
                  <a:pt x="6254354" y="4550051"/>
                </a:lnTo>
                <a:cubicBezTo>
                  <a:pt x="6252495" y="4549121"/>
                  <a:pt x="6250017" y="4548502"/>
                  <a:pt x="6247694" y="4548192"/>
                </a:cubicBezTo>
                <a:cubicBezTo>
                  <a:pt x="6243821" y="4544681"/>
                  <a:pt x="6256987" y="4550257"/>
                  <a:pt x="6257917" y="4547572"/>
                </a:cubicBezTo>
                <a:cubicBezTo>
                  <a:pt x="6253580" y="4545507"/>
                  <a:pt x="6245680" y="4543029"/>
                  <a:pt x="6237316" y="4541997"/>
                </a:cubicBezTo>
                <a:lnTo>
                  <a:pt x="6236231" y="4541894"/>
                </a:lnTo>
                <a:lnTo>
                  <a:pt x="6232204" y="4549534"/>
                </a:lnTo>
                <a:cubicBezTo>
                  <a:pt x="6230036" y="4552735"/>
                  <a:pt x="6227712" y="4555523"/>
                  <a:pt x="6225543" y="4557485"/>
                </a:cubicBezTo>
                <a:cubicBezTo>
                  <a:pt x="6223839" y="4553665"/>
                  <a:pt x="6223065" y="4549328"/>
                  <a:pt x="6223065" y="4545095"/>
                </a:cubicBezTo>
                <a:lnTo>
                  <a:pt x="6223530" y="4542513"/>
                </a:lnTo>
                <a:lnTo>
                  <a:pt x="6217644" y="4544888"/>
                </a:lnTo>
                <a:cubicBezTo>
                  <a:pt x="6216869" y="4544681"/>
                  <a:pt x="6215940" y="4544165"/>
                  <a:pt x="6215011" y="4543649"/>
                </a:cubicBezTo>
                <a:lnTo>
                  <a:pt x="6212222" y="4541790"/>
                </a:lnTo>
                <a:lnTo>
                  <a:pt x="6211448" y="4542823"/>
                </a:lnTo>
                <a:lnTo>
                  <a:pt x="6210673" y="4541584"/>
                </a:lnTo>
                <a:lnTo>
                  <a:pt x="6209744" y="4541584"/>
                </a:lnTo>
                <a:cubicBezTo>
                  <a:pt x="6208970" y="4541894"/>
                  <a:pt x="6208195" y="4542306"/>
                  <a:pt x="6207885" y="4543339"/>
                </a:cubicBezTo>
                <a:lnTo>
                  <a:pt x="6201999" y="4538486"/>
                </a:lnTo>
                <a:lnTo>
                  <a:pt x="6201844" y="4540035"/>
                </a:lnTo>
                <a:cubicBezTo>
                  <a:pt x="6200915" y="4541687"/>
                  <a:pt x="6199056" y="4543029"/>
                  <a:pt x="6197817" y="4542719"/>
                </a:cubicBezTo>
                <a:cubicBezTo>
                  <a:pt x="6196733" y="4542410"/>
                  <a:pt x="6196113" y="4541687"/>
                  <a:pt x="6196113" y="4541687"/>
                </a:cubicBezTo>
                <a:cubicBezTo>
                  <a:pt x="6196113" y="4540138"/>
                  <a:pt x="6196268" y="4538693"/>
                  <a:pt x="6196888" y="4537660"/>
                </a:cubicBezTo>
                <a:lnTo>
                  <a:pt x="6199521" y="4536937"/>
                </a:lnTo>
                <a:lnTo>
                  <a:pt x="6190692" y="4534356"/>
                </a:lnTo>
                <a:lnTo>
                  <a:pt x="6188214" y="4533943"/>
                </a:lnTo>
                <a:lnTo>
                  <a:pt x="6185426" y="4535905"/>
                </a:lnTo>
                <a:cubicBezTo>
                  <a:pt x="6184961" y="4535182"/>
                  <a:pt x="6184186" y="4535595"/>
                  <a:pt x="6183722" y="4534872"/>
                </a:cubicBezTo>
                <a:cubicBezTo>
                  <a:pt x="6183722" y="4534872"/>
                  <a:pt x="6182947" y="4534252"/>
                  <a:pt x="6182018" y="4533220"/>
                </a:cubicBezTo>
                <a:lnTo>
                  <a:pt x="6182018" y="4533116"/>
                </a:lnTo>
                <a:lnTo>
                  <a:pt x="6181708" y="4533013"/>
                </a:lnTo>
                <a:cubicBezTo>
                  <a:pt x="6179075" y="4532291"/>
                  <a:pt x="6176441" y="4531361"/>
                  <a:pt x="6175512" y="4529606"/>
                </a:cubicBezTo>
                <a:cubicBezTo>
                  <a:pt x="6176751" y="4529296"/>
                  <a:pt x="6178455" y="4529400"/>
                  <a:pt x="6180004" y="4529400"/>
                </a:cubicBezTo>
                <a:lnTo>
                  <a:pt x="6180779" y="4529296"/>
                </a:lnTo>
                <a:lnTo>
                  <a:pt x="6180469" y="4528470"/>
                </a:lnTo>
                <a:cubicBezTo>
                  <a:pt x="6180624" y="4527231"/>
                  <a:pt x="6181708" y="4524443"/>
                  <a:pt x="6182172" y="4525166"/>
                </a:cubicBezTo>
                <a:cubicBezTo>
                  <a:pt x="6183412" y="4525476"/>
                  <a:pt x="6182947" y="4524753"/>
                  <a:pt x="6183567" y="4524237"/>
                </a:cubicBezTo>
                <a:lnTo>
                  <a:pt x="6184031" y="4524443"/>
                </a:lnTo>
                <a:lnTo>
                  <a:pt x="6184496" y="4520416"/>
                </a:lnTo>
                <a:cubicBezTo>
                  <a:pt x="6173808" y="4517835"/>
                  <a:pt x="6164204" y="4511846"/>
                  <a:pt x="6154446" y="4506580"/>
                </a:cubicBezTo>
                <a:lnTo>
                  <a:pt x="6148405" y="4503585"/>
                </a:lnTo>
                <a:lnTo>
                  <a:pt x="6146856" y="4505547"/>
                </a:lnTo>
                <a:cubicBezTo>
                  <a:pt x="6145462" y="4504515"/>
                  <a:pt x="6144688" y="4503585"/>
                  <a:pt x="6143448" y="4501727"/>
                </a:cubicBezTo>
                <a:lnTo>
                  <a:pt x="6143913" y="4501210"/>
                </a:lnTo>
                <a:lnTo>
                  <a:pt x="6139731" y="4499145"/>
                </a:lnTo>
                <a:lnTo>
                  <a:pt x="6139111" y="4498939"/>
                </a:lnTo>
                <a:lnTo>
                  <a:pt x="6138492" y="4500488"/>
                </a:lnTo>
                <a:cubicBezTo>
                  <a:pt x="6138182" y="4501417"/>
                  <a:pt x="6137407" y="4501830"/>
                  <a:pt x="6136478" y="4502037"/>
                </a:cubicBezTo>
                <a:cubicBezTo>
                  <a:pt x="6135549" y="4502140"/>
                  <a:pt x="6134464" y="4502037"/>
                  <a:pt x="6133690" y="4501727"/>
                </a:cubicBezTo>
                <a:cubicBezTo>
                  <a:pt x="6132760" y="4500901"/>
                  <a:pt x="6132606" y="4500798"/>
                  <a:pt x="6131676" y="4499971"/>
                </a:cubicBezTo>
                <a:cubicBezTo>
                  <a:pt x="6131522" y="4499145"/>
                  <a:pt x="6131212" y="4498319"/>
                  <a:pt x="6131057" y="4497493"/>
                </a:cubicBezTo>
                <a:lnTo>
                  <a:pt x="6131057" y="4496358"/>
                </a:lnTo>
                <a:lnTo>
                  <a:pt x="6126565" y="4495015"/>
                </a:lnTo>
                <a:lnTo>
                  <a:pt x="6124241" y="4499042"/>
                </a:lnTo>
                <a:cubicBezTo>
                  <a:pt x="6122847" y="4500694"/>
                  <a:pt x="6120989" y="4501830"/>
                  <a:pt x="6118355" y="4502037"/>
                </a:cubicBezTo>
                <a:lnTo>
                  <a:pt x="6121453" y="4490678"/>
                </a:lnTo>
                <a:lnTo>
                  <a:pt x="6118665" y="4487581"/>
                </a:lnTo>
                <a:cubicBezTo>
                  <a:pt x="6116496" y="4485825"/>
                  <a:pt x="6114483" y="4484483"/>
                  <a:pt x="6112469" y="4483037"/>
                </a:cubicBezTo>
                <a:lnTo>
                  <a:pt x="6111695" y="4482624"/>
                </a:lnTo>
                <a:lnTo>
                  <a:pt x="6111385" y="4483760"/>
                </a:lnTo>
                <a:cubicBezTo>
                  <a:pt x="6107668" y="4484276"/>
                  <a:pt x="6103640" y="4486445"/>
                  <a:pt x="6099768" y="4488820"/>
                </a:cubicBezTo>
                <a:lnTo>
                  <a:pt x="6092333" y="4493157"/>
                </a:lnTo>
                <a:lnTo>
                  <a:pt x="6091558" y="4493982"/>
                </a:lnTo>
                <a:cubicBezTo>
                  <a:pt x="6099148" y="4499352"/>
                  <a:pt x="6105654" y="4501314"/>
                  <a:pt x="6112004" y="4503999"/>
                </a:cubicBezTo>
                <a:cubicBezTo>
                  <a:pt x="6118510" y="4506064"/>
                  <a:pt x="6123312" y="4509058"/>
                  <a:pt x="6127804" y="4517215"/>
                </a:cubicBezTo>
                <a:cubicBezTo>
                  <a:pt x="6123312" y="4519590"/>
                  <a:pt x="6124861" y="4511020"/>
                  <a:pt x="6117426" y="4509471"/>
                </a:cubicBezTo>
                <a:cubicBezTo>
                  <a:pt x="6117271" y="4511639"/>
                  <a:pt x="6117891" y="4513704"/>
                  <a:pt x="6118820" y="4515666"/>
                </a:cubicBezTo>
                <a:lnTo>
                  <a:pt x="6121763" y="4520003"/>
                </a:lnTo>
                <a:lnTo>
                  <a:pt x="6123777" y="4518971"/>
                </a:lnTo>
                <a:cubicBezTo>
                  <a:pt x="6128424" y="4518041"/>
                  <a:pt x="6134000" y="4519280"/>
                  <a:pt x="6134155" y="4522584"/>
                </a:cubicBezTo>
                <a:cubicBezTo>
                  <a:pt x="6134310" y="4523824"/>
                  <a:pt x="6133690" y="4525372"/>
                  <a:pt x="6131831" y="4527128"/>
                </a:cubicBezTo>
                <a:lnTo>
                  <a:pt x="6131212" y="4527644"/>
                </a:lnTo>
                <a:lnTo>
                  <a:pt x="6133690" y="4529606"/>
                </a:lnTo>
                <a:cubicBezTo>
                  <a:pt x="6132606" y="4530742"/>
                  <a:pt x="6131522" y="4531155"/>
                  <a:pt x="6130127" y="4531155"/>
                </a:cubicBezTo>
                <a:lnTo>
                  <a:pt x="6126720" y="4530948"/>
                </a:lnTo>
                <a:lnTo>
                  <a:pt x="6123157" y="4533530"/>
                </a:lnTo>
                <a:lnTo>
                  <a:pt x="6121763" y="4531877"/>
                </a:lnTo>
                <a:lnTo>
                  <a:pt x="6120059" y="4533633"/>
                </a:lnTo>
                <a:cubicBezTo>
                  <a:pt x="6116342" y="4527231"/>
                  <a:pt x="6112469" y="4523720"/>
                  <a:pt x="6108442" y="4521036"/>
                </a:cubicBezTo>
                <a:lnTo>
                  <a:pt x="6102091" y="4517215"/>
                </a:lnTo>
                <a:lnTo>
                  <a:pt x="6099768" y="4520106"/>
                </a:lnTo>
                <a:cubicBezTo>
                  <a:pt x="6095431" y="4523720"/>
                  <a:pt x="6089700" y="4525682"/>
                  <a:pt x="6084123" y="4525269"/>
                </a:cubicBezTo>
                <a:cubicBezTo>
                  <a:pt x="6082264" y="4525166"/>
                  <a:pt x="6080560" y="4524856"/>
                  <a:pt x="6078702" y="4524133"/>
                </a:cubicBezTo>
                <a:lnTo>
                  <a:pt x="6074055" y="4521345"/>
                </a:lnTo>
                <a:lnTo>
                  <a:pt x="6073435" y="4522481"/>
                </a:lnTo>
                <a:cubicBezTo>
                  <a:pt x="6071577" y="4524443"/>
                  <a:pt x="6068789" y="4523824"/>
                  <a:pt x="6065381" y="4521345"/>
                </a:cubicBezTo>
                <a:cubicBezTo>
                  <a:pt x="6065535" y="4519383"/>
                  <a:pt x="6065071" y="4517628"/>
                  <a:pt x="6064916" y="4514943"/>
                </a:cubicBezTo>
                <a:cubicBezTo>
                  <a:pt x="6066155" y="4514634"/>
                  <a:pt x="6068169" y="4514737"/>
                  <a:pt x="6070028" y="4515460"/>
                </a:cubicBezTo>
                <a:lnTo>
                  <a:pt x="6074055" y="4518764"/>
                </a:lnTo>
                <a:lnTo>
                  <a:pt x="6074984" y="4511846"/>
                </a:lnTo>
                <a:cubicBezTo>
                  <a:pt x="6076068" y="4509058"/>
                  <a:pt x="6077618" y="4506786"/>
                  <a:pt x="6079476" y="4504928"/>
                </a:cubicBezTo>
                <a:lnTo>
                  <a:pt x="6081800" y="4503482"/>
                </a:lnTo>
                <a:lnTo>
                  <a:pt x="6078392" y="4501624"/>
                </a:lnTo>
                <a:cubicBezTo>
                  <a:pt x="6076378" y="4500694"/>
                  <a:pt x="6074210" y="4499971"/>
                  <a:pt x="6071577" y="4499145"/>
                </a:cubicBezTo>
                <a:cubicBezTo>
                  <a:pt x="6070647" y="4496564"/>
                  <a:pt x="6069098" y="4494189"/>
                  <a:pt x="6067085" y="4491917"/>
                </a:cubicBezTo>
                <a:lnTo>
                  <a:pt x="6065381" y="4490575"/>
                </a:lnTo>
                <a:lnTo>
                  <a:pt x="6064761" y="4491711"/>
                </a:lnTo>
                <a:lnTo>
                  <a:pt x="6063677" y="4489027"/>
                </a:lnTo>
                <a:lnTo>
                  <a:pt x="6060579" y="4486445"/>
                </a:lnTo>
                <a:lnTo>
                  <a:pt x="6060269" y="4486342"/>
                </a:lnTo>
                <a:lnTo>
                  <a:pt x="6060114" y="4486032"/>
                </a:lnTo>
                <a:lnTo>
                  <a:pt x="6059495" y="4485515"/>
                </a:lnTo>
                <a:cubicBezTo>
                  <a:pt x="6056552" y="4483864"/>
                  <a:pt x="6053609" y="4481489"/>
                  <a:pt x="6050201" y="4478907"/>
                </a:cubicBezTo>
                <a:cubicBezTo>
                  <a:pt x="6046483" y="4477048"/>
                  <a:pt x="6043850" y="4473951"/>
                  <a:pt x="6039978" y="4470543"/>
                </a:cubicBezTo>
                <a:cubicBezTo>
                  <a:pt x="6034092" y="4468685"/>
                  <a:pt x="6036725" y="4477771"/>
                  <a:pt x="6030684" y="4472092"/>
                </a:cubicBezTo>
                <a:cubicBezTo>
                  <a:pt x="6032078" y="4470337"/>
                  <a:pt x="6032853" y="4468685"/>
                  <a:pt x="6033007" y="4467239"/>
                </a:cubicBezTo>
                <a:lnTo>
                  <a:pt x="6032078" y="4463419"/>
                </a:lnTo>
                <a:lnTo>
                  <a:pt x="6027586" y="4468478"/>
                </a:lnTo>
                <a:cubicBezTo>
                  <a:pt x="6024333" y="4471886"/>
                  <a:pt x="6020771" y="4474674"/>
                  <a:pt x="6018137" y="4474570"/>
                </a:cubicBezTo>
                <a:cubicBezTo>
                  <a:pt x="6017363" y="4474467"/>
                  <a:pt x="6016589" y="4474157"/>
                  <a:pt x="6015969" y="4473538"/>
                </a:cubicBezTo>
                <a:cubicBezTo>
                  <a:pt x="6017982" y="4471060"/>
                  <a:pt x="6021080" y="4466103"/>
                  <a:pt x="6024643" y="4462386"/>
                </a:cubicBezTo>
                <a:lnTo>
                  <a:pt x="6027896" y="4460114"/>
                </a:lnTo>
                <a:lnTo>
                  <a:pt x="6024179" y="4457327"/>
                </a:lnTo>
                <a:cubicBezTo>
                  <a:pt x="6017053" y="4452887"/>
                  <a:pt x="6008534" y="4448034"/>
                  <a:pt x="6008534" y="4439670"/>
                </a:cubicBezTo>
                <a:cubicBezTo>
                  <a:pt x="6006520" y="4439050"/>
                  <a:pt x="6005126" y="4438637"/>
                  <a:pt x="6002957" y="4441012"/>
                </a:cubicBezTo>
                <a:lnTo>
                  <a:pt x="5998001" y="4433578"/>
                </a:lnTo>
                <a:lnTo>
                  <a:pt x="5990101" y="4430686"/>
                </a:lnTo>
                <a:cubicBezTo>
                  <a:pt x="5987623" y="4429034"/>
                  <a:pt x="5985764" y="4426763"/>
                  <a:pt x="5984525" y="4423459"/>
                </a:cubicBezTo>
                <a:lnTo>
                  <a:pt x="5988552" y="4422116"/>
                </a:lnTo>
                <a:lnTo>
                  <a:pt x="5986848" y="4420154"/>
                </a:lnTo>
                <a:cubicBezTo>
                  <a:pt x="5984215" y="4417160"/>
                  <a:pt x="5981737" y="4414062"/>
                  <a:pt x="5978794" y="4411687"/>
                </a:cubicBezTo>
                <a:cubicBezTo>
                  <a:pt x="5976315" y="4408590"/>
                  <a:pt x="5974147" y="4406421"/>
                  <a:pt x="5971359" y="4404046"/>
                </a:cubicBezTo>
                <a:cubicBezTo>
                  <a:pt x="5965937" y="4398677"/>
                  <a:pt x="5961135" y="4393411"/>
                  <a:pt x="5956334" y="4388248"/>
                </a:cubicBezTo>
                <a:lnTo>
                  <a:pt x="5951687" y="4382879"/>
                </a:lnTo>
                <a:lnTo>
                  <a:pt x="5949518" y="4382672"/>
                </a:lnTo>
                <a:lnTo>
                  <a:pt x="5950293" y="4381330"/>
                </a:lnTo>
                <a:lnTo>
                  <a:pt x="5949364" y="4380194"/>
                </a:lnTo>
                <a:cubicBezTo>
                  <a:pt x="5947040" y="4377406"/>
                  <a:pt x="5944871" y="4374515"/>
                  <a:pt x="5942703" y="4371211"/>
                </a:cubicBezTo>
                <a:lnTo>
                  <a:pt x="5944717" y="4370798"/>
                </a:lnTo>
                <a:lnTo>
                  <a:pt x="5944097" y="4370075"/>
                </a:lnTo>
                <a:cubicBezTo>
                  <a:pt x="5943942" y="4368939"/>
                  <a:pt x="5944407" y="4368113"/>
                  <a:pt x="5944407" y="4368113"/>
                </a:cubicBezTo>
                <a:lnTo>
                  <a:pt x="5945026" y="4368010"/>
                </a:lnTo>
                <a:lnTo>
                  <a:pt x="5939295" y="4365015"/>
                </a:lnTo>
                <a:cubicBezTo>
                  <a:pt x="5936042" y="4363467"/>
                  <a:pt x="5932634" y="4362021"/>
                  <a:pt x="5929382" y="4360989"/>
                </a:cubicBezTo>
                <a:cubicBezTo>
                  <a:pt x="5931241" y="4358820"/>
                  <a:pt x="5926594" y="4349114"/>
                  <a:pt x="5921172" y="4346223"/>
                </a:cubicBezTo>
                <a:lnTo>
                  <a:pt x="5920398" y="4346016"/>
                </a:lnTo>
                <a:lnTo>
                  <a:pt x="5920398" y="4346120"/>
                </a:lnTo>
                <a:lnTo>
                  <a:pt x="5917764" y="4345603"/>
                </a:lnTo>
                <a:lnTo>
                  <a:pt x="5915596" y="4346223"/>
                </a:lnTo>
                <a:cubicBezTo>
                  <a:pt x="5917455" y="4338582"/>
                  <a:pt x="5907696" y="4318240"/>
                  <a:pt x="5899797" y="4318034"/>
                </a:cubicBezTo>
                <a:cubicBezTo>
                  <a:pt x="5902120" y="4313491"/>
                  <a:pt x="5900726" y="4309257"/>
                  <a:pt x="5898402" y="4305540"/>
                </a:cubicBezTo>
                <a:lnTo>
                  <a:pt x="5894530" y="4299964"/>
                </a:lnTo>
                <a:lnTo>
                  <a:pt x="5893601" y="4299448"/>
                </a:lnTo>
                <a:lnTo>
                  <a:pt x="5893756" y="4297899"/>
                </a:lnTo>
                <a:lnTo>
                  <a:pt x="5893601" y="4297693"/>
                </a:lnTo>
                <a:lnTo>
                  <a:pt x="5893291" y="4298312"/>
                </a:lnTo>
                <a:cubicBezTo>
                  <a:pt x="5891277" y="4298518"/>
                  <a:pt x="5889728" y="4298105"/>
                  <a:pt x="5888489" y="4297589"/>
                </a:cubicBezTo>
                <a:lnTo>
                  <a:pt x="5887560" y="4297176"/>
                </a:lnTo>
                <a:lnTo>
                  <a:pt x="5885856" y="4298828"/>
                </a:lnTo>
                <a:lnTo>
                  <a:pt x="5885391" y="4296350"/>
                </a:lnTo>
                <a:lnTo>
                  <a:pt x="5884617" y="4296040"/>
                </a:lnTo>
                <a:cubicBezTo>
                  <a:pt x="5884462" y="4293769"/>
                  <a:pt x="5884617" y="4292117"/>
                  <a:pt x="5885236" y="4290671"/>
                </a:cubicBezTo>
                <a:lnTo>
                  <a:pt x="5886011" y="4289535"/>
                </a:lnTo>
                <a:lnTo>
                  <a:pt x="5885236" y="4285921"/>
                </a:lnTo>
                <a:cubicBezTo>
                  <a:pt x="5884617" y="4284889"/>
                  <a:pt x="5883997" y="4284063"/>
                  <a:pt x="5883223" y="4283443"/>
                </a:cubicBezTo>
                <a:lnTo>
                  <a:pt x="5881673" y="4283030"/>
                </a:lnTo>
                <a:lnTo>
                  <a:pt x="5879505" y="4284166"/>
                </a:lnTo>
                <a:cubicBezTo>
                  <a:pt x="5878576" y="4284372"/>
                  <a:pt x="5877801" y="4284372"/>
                  <a:pt x="5877027" y="4284166"/>
                </a:cubicBezTo>
                <a:cubicBezTo>
                  <a:pt x="5875633" y="4283753"/>
                  <a:pt x="5874394" y="4282617"/>
                  <a:pt x="5873929" y="4281068"/>
                </a:cubicBezTo>
                <a:cubicBezTo>
                  <a:pt x="5873464" y="4279623"/>
                  <a:pt x="5873464" y="4277867"/>
                  <a:pt x="5874084" y="4276112"/>
                </a:cubicBezTo>
                <a:lnTo>
                  <a:pt x="5878111" y="4272085"/>
                </a:lnTo>
                <a:lnTo>
                  <a:pt x="5877956" y="4271982"/>
                </a:lnTo>
                <a:cubicBezTo>
                  <a:pt x="5878111" y="4270742"/>
                  <a:pt x="5878885" y="4269607"/>
                  <a:pt x="5880589" y="4268368"/>
                </a:cubicBezTo>
                <a:cubicBezTo>
                  <a:pt x="5877646" y="4268265"/>
                  <a:pt x="5875478" y="4266096"/>
                  <a:pt x="5879970" y="4263721"/>
                </a:cubicBezTo>
                <a:lnTo>
                  <a:pt x="5878730" y="4262999"/>
                </a:lnTo>
                <a:lnTo>
                  <a:pt x="5875168" y="4264960"/>
                </a:lnTo>
                <a:cubicBezTo>
                  <a:pt x="5874394" y="4264031"/>
                  <a:pt x="5873774" y="4263102"/>
                  <a:pt x="5872845" y="4263825"/>
                </a:cubicBezTo>
                <a:cubicBezTo>
                  <a:pt x="5871606" y="4262482"/>
                  <a:pt x="5870676" y="4260830"/>
                  <a:pt x="5870056" y="4259075"/>
                </a:cubicBezTo>
                <a:cubicBezTo>
                  <a:pt x="5868817" y="4255977"/>
                  <a:pt x="5868508" y="4252466"/>
                  <a:pt x="5868972" y="4248956"/>
                </a:cubicBezTo>
                <a:lnTo>
                  <a:pt x="5869592" y="4246787"/>
                </a:lnTo>
                <a:lnTo>
                  <a:pt x="5868817" y="4247303"/>
                </a:lnTo>
                <a:cubicBezTo>
                  <a:pt x="5863706" y="4246994"/>
                  <a:pt x="5861847" y="4243586"/>
                  <a:pt x="5862466" y="4240385"/>
                </a:cubicBezTo>
                <a:lnTo>
                  <a:pt x="5864790" y="4236565"/>
                </a:lnTo>
                <a:lnTo>
                  <a:pt x="5863706" y="4236358"/>
                </a:lnTo>
                <a:cubicBezTo>
                  <a:pt x="5862931" y="4235945"/>
                  <a:pt x="5862621" y="4235223"/>
                  <a:pt x="5862312" y="4234293"/>
                </a:cubicBezTo>
                <a:cubicBezTo>
                  <a:pt x="5861692" y="4232538"/>
                  <a:pt x="5861692" y="4230060"/>
                  <a:pt x="5860917" y="4227891"/>
                </a:cubicBezTo>
                <a:lnTo>
                  <a:pt x="5862466" y="4228407"/>
                </a:lnTo>
                <a:lnTo>
                  <a:pt x="5861692" y="4225723"/>
                </a:lnTo>
                <a:lnTo>
                  <a:pt x="5857355" y="4224484"/>
                </a:lnTo>
                <a:lnTo>
                  <a:pt x="5857975" y="4225207"/>
                </a:lnTo>
                <a:cubicBezTo>
                  <a:pt x="5858129" y="4227788"/>
                  <a:pt x="5859369" y="4230473"/>
                  <a:pt x="5858594" y="4233467"/>
                </a:cubicBezTo>
                <a:lnTo>
                  <a:pt x="5857355" y="4235636"/>
                </a:lnTo>
                <a:lnTo>
                  <a:pt x="5858129" y="4235532"/>
                </a:lnTo>
                <a:cubicBezTo>
                  <a:pt x="5860453" y="4238940"/>
                  <a:pt x="5860763" y="4240179"/>
                  <a:pt x="5860763" y="4243999"/>
                </a:cubicBezTo>
                <a:lnTo>
                  <a:pt x="5855806" y="4245238"/>
                </a:lnTo>
                <a:lnTo>
                  <a:pt x="5856426" y="4248749"/>
                </a:lnTo>
                <a:cubicBezTo>
                  <a:pt x="5854877" y="4249162"/>
                  <a:pt x="5853792" y="4249369"/>
                  <a:pt x="5852863" y="4249265"/>
                </a:cubicBezTo>
                <a:cubicBezTo>
                  <a:pt x="5852088" y="4249265"/>
                  <a:pt x="5851624" y="4248956"/>
                  <a:pt x="5851314" y="4248542"/>
                </a:cubicBezTo>
                <a:cubicBezTo>
                  <a:pt x="5850849" y="4248026"/>
                  <a:pt x="5851159" y="4247200"/>
                  <a:pt x="5851624" y="4246477"/>
                </a:cubicBezTo>
                <a:lnTo>
                  <a:pt x="5852553" y="4245548"/>
                </a:lnTo>
                <a:lnTo>
                  <a:pt x="5846977" y="4244722"/>
                </a:lnTo>
                <a:cubicBezTo>
                  <a:pt x="5842020" y="4237081"/>
                  <a:pt x="5847596" y="4236358"/>
                  <a:pt x="5853173" y="4236048"/>
                </a:cubicBezTo>
                <a:lnTo>
                  <a:pt x="5856116" y="4235739"/>
                </a:lnTo>
                <a:lnTo>
                  <a:pt x="5849610" y="4231196"/>
                </a:lnTo>
                <a:cubicBezTo>
                  <a:pt x="5847132" y="4229853"/>
                  <a:pt x="5844498" y="4228821"/>
                  <a:pt x="5841865" y="4227272"/>
                </a:cubicBezTo>
                <a:lnTo>
                  <a:pt x="5842020" y="4226756"/>
                </a:lnTo>
                <a:lnTo>
                  <a:pt x="5834740" y="4228717"/>
                </a:lnTo>
                <a:lnTo>
                  <a:pt x="5829474" y="4229337"/>
                </a:lnTo>
                <a:lnTo>
                  <a:pt x="5829938" y="4229647"/>
                </a:lnTo>
                <a:cubicBezTo>
                  <a:pt x="5831023" y="4233261"/>
                  <a:pt x="5831487" y="4236462"/>
                  <a:pt x="5831023" y="4239146"/>
                </a:cubicBezTo>
                <a:lnTo>
                  <a:pt x="5825601" y="4245135"/>
                </a:lnTo>
                <a:lnTo>
                  <a:pt x="5827305" y="4250608"/>
                </a:lnTo>
                <a:lnTo>
                  <a:pt x="5826066" y="4256390"/>
                </a:lnTo>
                <a:lnTo>
                  <a:pt x="5829009" y="4261243"/>
                </a:lnTo>
                <a:cubicBezTo>
                  <a:pt x="5827925" y="4262482"/>
                  <a:pt x="5826686" y="4262895"/>
                  <a:pt x="5825601" y="4262689"/>
                </a:cubicBezTo>
                <a:lnTo>
                  <a:pt x="5823897" y="4261656"/>
                </a:lnTo>
                <a:lnTo>
                  <a:pt x="5818786" y="4267748"/>
                </a:lnTo>
                <a:cubicBezTo>
                  <a:pt x="5816152" y="4269917"/>
                  <a:pt x="5813055" y="4271672"/>
                  <a:pt x="5809647" y="4272911"/>
                </a:cubicBezTo>
                <a:lnTo>
                  <a:pt x="5799579" y="4274150"/>
                </a:lnTo>
                <a:lnTo>
                  <a:pt x="5797410" y="4277971"/>
                </a:lnTo>
                <a:cubicBezTo>
                  <a:pt x="5790905" y="4280552"/>
                  <a:pt x="5785018" y="4282101"/>
                  <a:pt x="5779752" y="4281378"/>
                </a:cubicBezTo>
                <a:cubicBezTo>
                  <a:pt x="5774640" y="4280655"/>
                  <a:pt x="5770303" y="4277764"/>
                  <a:pt x="5767051" y="4271672"/>
                </a:cubicBezTo>
                <a:cubicBezTo>
                  <a:pt x="5769219" y="4270846"/>
                  <a:pt x="5768444" y="4268677"/>
                  <a:pt x="5767670" y="4266406"/>
                </a:cubicBezTo>
                <a:lnTo>
                  <a:pt x="5775105" y="4261243"/>
                </a:lnTo>
                <a:lnTo>
                  <a:pt x="5773556" y="4259075"/>
                </a:lnTo>
                <a:cubicBezTo>
                  <a:pt x="5772007" y="4255667"/>
                  <a:pt x="5770923" y="4251743"/>
                  <a:pt x="5770148" y="4247200"/>
                </a:cubicBezTo>
                <a:lnTo>
                  <a:pt x="5771233" y="4246477"/>
                </a:lnTo>
                <a:lnTo>
                  <a:pt x="5771078" y="4246374"/>
                </a:lnTo>
                <a:cubicBezTo>
                  <a:pt x="5771542" y="4243999"/>
                  <a:pt x="5772782" y="4243070"/>
                  <a:pt x="5774021" y="4243380"/>
                </a:cubicBezTo>
                <a:lnTo>
                  <a:pt x="5774950" y="4243690"/>
                </a:lnTo>
                <a:lnTo>
                  <a:pt x="5784089" y="4236874"/>
                </a:lnTo>
                <a:cubicBezTo>
                  <a:pt x="5794002" y="4231608"/>
                  <a:pt x="5804535" y="4229957"/>
                  <a:pt x="5813055" y="4232538"/>
                </a:cubicBezTo>
                <a:lnTo>
                  <a:pt x="5815998" y="4233983"/>
                </a:lnTo>
                <a:lnTo>
                  <a:pt x="5816462" y="4230679"/>
                </a:lnTo>
                <a:lnTo>
                  <a:pt x="5816772" y="4230473"/>
                </a:lnTo>
                <a:lnTo>
                  <a:pt x="5811816" y="4230886"/>
                </a:lnTo>
                <a:cubicBezTo>
                  <a:pt x="5812125" y="4229337"/>
                  <a:pt x="5811816" y="4228098"/>
                  <a:pt x="5811661" y="4226652"/>
                </a:cubicBezTo>
                <a:lnTo>
                  <a:pt x="5812125" y="4224174"/>
                </a:lnTo>
                <a:lnTo>
                  <a:pt x="5811041" y="4224174"/>
                </a:lnTo>
                <a:cubicBezTo>
                  <a:pt x="5810112" y="4222212"/>
                  <a:pt x="5809647" y="4220560"/>
                  <a:pt x="5809802" y="4219321"/>
                </a:cubicBezTo>
                <a:lnTo>
                  <a:pt x="5810421" y="4217978"/>
                </a:lnTo>
                <a:lnTo>
                  <a:pt x="5806084" y="4218289"/>
                </a:lnTo>
                <a:cubicBezTo>
                  <a:pt x="5804380" y="4217978"/>
                  <a:pt x="5803141" y="4217463"/>
                  <a:pt x="5802367" y="4216740"/>
                </a:cubicBezTo>
                <a:lnTo>
                  <a:pt x="5801438" y="4214881"/>
                </a:lnTo>
                <a:lnTo>
                  <a:pt x="5800198" y="4216533"/>
                </a:lnTo>
                <a:cubicBezTo>
                  <a:pt x="5799269" y="4217359"/>
                  <a:pt x="5797410" y="4218289"/>
                  <a:pt x="5795396" y="4218598"/>
                </a:cubicBezTo>
                <a:cubicBezTo>
                  <a:pt x="5793383" y="4219011"/>
                  <a:pt x="5791214" y="4219011"/>
                  <a:pt x="5789975" y="4218082"/>
                </a:cubicBezTo>
                <a:cubicBezTo>
                  <a:pt x="5791059" y="4216430"/>
                  <a:pt x="5791989" y="4214778"/>
                  <a:pt x="5793073" y="4213126"/>
                </a:cubicBezTo>
                <a:cubicBezTo>
                  <a:pt x="5792918" y="4213952"/>
                  <a:pt x="5800663" y="4212403"/>
                  <a:pt x="5800663" y="4212403"/>
                </a:cubicBezTo>
                <a:lnTo>
                  <a:pt x="5801438" y="4213745"/>
                </a:lnTo>
                <a:lnTo>
                  <a:pt x="5802367" y="4210131"/>
                </a:lnTo>
                <a:cubicBezTo>
                  <a:pt x="5804690" y="4205381"/>
                  <a:pt x="5810576" y="4200735"/>
                  <a:pt x="5813519" y="4202697"/>
                </a:cubicBezTo>
                <a:cubicBezTo>
                  <a:pt x="5814913" y="4203729"/>
                  <a:pt x="5815688" y="4206414"/>
                  <a:pt x="5814759" y="4211680"/>
                </a:cubicBezTo>
                <a:lnTo>
                  <a:pt x="5813674" y="4215707"/>
                </a:lnTo>
                <a:lnTo>
                  <a:pt x="5813984" y="4215707"/>
                </a:lnTo>
                <a:cubicBezTo>
                  <a:pt x="5815068" y="4215707"/>
                  <a:pt x="5816307" y="4216223"/>
                  <a:pt x="5817392" y="4216946"/>
                </a:cubicBezTo>
                <a:lnTo>
                  <a:pt x="5820180" y="4220870"/>
                </a:lnTo>
                <a:lnTo>
                  <a:pt x="5834275" y="4220354"/>
                </a:lnTo>
                <a:lnTo>
                  <a:pt x="5838303" y="4217566"/>
                </a:lnTo>
                <a:cubicBezTo>
                  <a:pt x="5839697" y="4217049"/>
                  <a:pt x="5840936" y="4217256"/>
                  <a:pt x="5841865" y="4218598"/>
                </a:cubicBezTo>
                <a:lnTo>
                  <a:pt x="5841401" y="4219940"/>
                </a:lnTo>
                <a:lnTo>
                  <a:pt x="5844653" y="4219631"/>
                </a:lnTo>
                <a:lnTo>
                  <a:pt x="5851159" y="4219837"/>
                </a:lnTo>
                <a:lnTo>
                  <a:pt x="5850849" y="4219321"/>
                </a:lnTo>
                <a:cubicBezTo>
                  <a:pt x="5851314" y="4215913"/>
                  <a:pt x="5851314" y="4213229"/>
                  <a:pt x="5850849" y="4210854"/>
                </a:cubicBezTo>
                <a:lnTo>
                  <a:pt x="5850849" y="4210647"/>
                </a:lnTo>
                <a:lnTo>
                  <a:pt x="5847906" y="4211577"/>
                </a:lnTo>
                <a:cubicBezTo>
                  <a:pt x="5846512" y="4211680"/>
                  <a:pt x="5845273" y="4211164"/>
                  <a:pt x="5844653" y="4210028"/>
                </a:cubicBezTo>
                <a:cubicBezTo>
                  <a:pt x="5844034" y="4209305"/>
                  <a:pt x="5843879" y="4208273"/>
                  <a:pt x="5843879" y="4206930"/>
                </a:cubicBezTo>
                <a:cubicBezTo>
                  <a:pt x="5844808" y="4206001"/>
                  <a:pt x="5846667" y="4205485"/>
                  <a:pt x="5848526" y="4205381"/>
                </a:cubicBezTo>
                <a:lnTo>
                  <a:pt x="5848991" y="4205485"/>
                </a:lnTo>
                <a:lnTo>
                  <a:pt x="5848681" y="4204659"/>
                </a:lnTo>
                <a:lnTo>
                  <a:pt x="5846512" y="4201664"/>
                </a:lnTo>
                <a:lnTo>
                  <a:pt x="5846357" y="4201768"/>
                </a:lnTo>
                <a:cubicBezTo>
                  <a:pt x="5845583" y="4202180"/>
                  <a:pt x="5844808" y="4202387"/>
                  <a:pt x="5844189" y="4202180"/>
                </a:cubicBezTo>
                <a:cubicBezTo>
                  <a:pt x="5843105" y="4201768"/>
                  <a:pt x="5842794" y="4200941"/>
                  <a:pt x="5842794" y="4200941"/>
                </a:cubicBezTo>
                <a:lnTo>
                  <a:pt x="5843105" y="4200219"/>
                </a:lnTo>
                <a:lnTo>
                  <a:pt x="5839232" y="4199702"/>
                </a:lnTo>
                <a:cubicBezTo>
                  <a:pt x="5837838" y="4198876"/>
                  <a:pt x="5836909" y="4197637"/>
                  <a:pt x="5836754" y="4195985"/>
                </a:cubicBezTo>
                <a:cubicBezTo>
                  <a:pt x="5836444" y="4194539"/>
                  <a:pt x="5836909" y="4192887"/>
                  <a:pt x="5837993" y="4191029"/>
                </a:cubicBezTo>
                <a:lnTo>
                  <a:pt x="5838922" y="4190616"/>
                </a:lnTo>
                <a:lnTo>
                  <a:pt x="5838458" y="4189893"/>
                </a:lnTo>
                <a:lnTo>
                  <a:pt x="5836909" y="4192681"/>
                </a:lnTo>
                <a:cubicBezTo>
                  <a:pt x="5836134" y="4193713"/>
                  <a:pt x="5835050" y="4194539"/>
                  <a:pt x="5833501" y="4194333"/>
                </a:cubicBezTo>
                <a:cubicBezTo>
                  <a:pt x="5833191" y="4193507"/>
                  <a:pt x="5832572" y="4193920"/>
                  <a:pt x="5832262" y="4193197"/>
                </a:cubicBezTo>
                <a:cubicBezTo>
                  <a:pt x="5832262" y="4193197"/>
                  <a:pt x="5831487" y="4192577"/>
                  <a:pt x="5831023" y="4191442"/>
                </a:cubicBezTo>
                <a:cubicBezTo>
                  <a:pt x="5830403" y="4190409"/>
                  <a:pt x="5829938" y="4188757"/>
                  <a:pt x="5830558" y="4186589"/>
                </a:cubicBezTo>
                <a:cubicBezTo>
                  <a:pt x="5831023" y="4185453"/>
                  <a:pt x="5832727" y="4182665"/>
                  <a:pt x="5833036" y="4183491"/>
                </a:cubicBezTo>
                <a:cubicBezTo>
                  <a:pt x="5834120" y="4183904"/>
                  <a:pt x="5833811" y="4183078"/>
                  <a:pt x="5834585" y="4182665"/>
                </a:cubicBezTo>
                <a:lnTo>
                  <a:pt x="5835824" y="4183388"/>
                </a:lnTo>
                <a:lnTo>
                  <a:pt x="5836134" y="4182872"/>
                </a:lnTo>
                <a:cubicBezTo>
                  <a:pt x="5837373" y="4181116"/>
                  <a:pt x="5837373" y="4181116"/>
                  <a:pt x="5838458" y="4181426"/>
                </a:cubicBezTo>
                <a:cubicBezTo>
                  <a:pt x="5839077" y="4181529"/>
                  <a:pt x="5839387" y="4182355"/>
                  <a:pt x="5839851" y="4183078"/>
                </a:cubicBezTo>
                <a:lnTo>
                  <a:pt x="5840317" y="4183698"/>
                </a:lnTo>
                <a:lnTo>
                  <a:pt x="5839077" y="4179567"/>
                </a:lnTo>
                <a:cubicBezTo>
                  <a:pt x="5836909" y="4175128"/>
                  <a:pt x="5835670" y="4170274"/>
                  <a:pt x="5833811" y="4165111"/>
                </a:cubicBezTo>
                <a:lnTo>
                  <a:pt x="5831642" y="4158606"/>
                </a:lnTo>
                <a:lnTo>
                  <a:pt x="5830558" y="4158916"/>
                </a:lnTo>
                <a:cubicBezTo>
                  <a:pt x="5830093" y="4158813"/>
                  <a:pt x="5829474" y="4158606"/>
                  <a:pt x="5829164" y="4158297"/>
                </a:cubicBezTo>
                <a:cubicBezTo>
                  <a:pt x="5828854" y="4157884"/>
                  <a:pt x="5828699" y="4157161"/>
                  <a:pt x="5829164" y="4156025"/>
                </a:cubicBezTo>
                <a:cubicBezTo>
                  <a:pt x="5829164" y="4154993"/>
                  <a:pt x="5829319" y="4154373"/>
                  <a:pt x="5829783" y="4154063"/>
                </a:cubicBezTo>
                <a:lnTo>
                  <a:pt x="5830248" y="4153960"/>
                </a:lnTo>
                <a:lnTo>
                  <a:pt x="5829164" y="4150862"/>
                </a:lnTo>
                <a:cubicBezTo>
                  <a:pt x="5828080" y="4146009"/>
                  <a:pt x="5826066" y="4140846"/>
                  <a:pt x="5824982" y="4135993"/>
                </a:cubicBezTo>
                <a:cubicBezTo>
                  <a:pt x="5823742" y="4131140"/>
                  <a:pt x="5821574" y="4126700"/>
                  <a:pt x="5819715" y="4121641"/>
                </a:cubicBezTo>
                <a:cubicBezTo>
                  <a:pt x="5818166" y="4117407"/>
                  <a:pt x="5816307" y="4112244"/>
                  <a:pt x="5814139" y="4107907"/>
                </a:cubicBezTo>
                <a:cubicBezTo>
                  <a:pt x="5812125" y="4103468"/>
                  <a:pt x="5809957" y="4099028"/>
                  <a:pt x="5807943" y="4094588"/>
                </a:cubicBezTo>
                <a:cubicBezTo>
                  <a:pt x="5806549" y="4091903"/>
                  <a:pt x="5805000" y="4089941"/>
                  <a:pt x="5803606" y="4087979"/>
                </a:cubicBezTo>
                <a:cubicBezTo>
                  <a:pt x="5803606" y="4087979"/>
                  <a:pt x="5803606" y="4087979"/>
                  <a:pt x="5802676" y="4086224"/>
                </a:cubicBezTo>
                <a:cubicBezTo>
                  <a:pt x="5801902" y="4082197"/>
                  <a:pt x="5803451" y="4094794"/>
                  <a:pt x="5801283" y="4077550"/>
                </a:cubicBezTo>
                <a:cubicBezTo>
                  <a:pt x="5801283" y="4077550"/>
                  <a:pt x="5801438" y="4077550"/>
                  <a:pt x="5800663" y="4077344"/>
                </a:cubicBezTo>
                <a:cubicBezTo>
                  <a:pt x="5800663" y="4077344"/>
                  <a:pt x="5800663" y="4077344"/>
                  <a:pt x="5800198" y="4076414"/>
                </a:cubicBezTo>
                <a:cubicBezTo>
                  <a:pt x="5799579" y="4076208"/>
                  <a:pt x="5798959" y="4076001"/>
                  <a:pt x="5798494" y="4075175"/>
                </a:cubicBezTo>
                <a:cubicBezTo>
                  <a:pt x="5796016" y="4075898"/>
                  <a:pt x="5795706" y="4077344"/>
                  <a:pt x="5795396" y="4077963"/>
                </a:cubicBezTo>
                <a:cubicBezTo>
                  <a:pt x="5795396" y="4077963"/>
                  <a:pt x="5795396" y="4077963"/>
                  <a:pt x="5796016" y="4078170"/>
                </a:cubicBezTo>
                <a:cubicBezTo>
                  <a:pt x="5796016" y="4078170"/>
                  <a:pt x="5796016" y="4078170"/>
                  <a:pt x="5795861" y="4078789"/>
                </a:cubicBezTo>
                <a:lnTo>
                  <a:pt x="5796636" y="4083539"/>
                </a:lnTo>
                <a:lnTo>
                  <a:pt x="5799888" y="4087773"/>
                </a:lnTo>
                <a:cubicBezTo>
                  <a:pt x="5800198" y="4089115"/>
                  <a:pt x="5799734" y="4090354"/>
                  <a:pt x="5798340" y="4091490"/>
                </a:cubicBezTo>
                <a:cubicBezTo>
                  <a:pt x="5797565" y="4091387"/>
                  <a:pt x="5795087" y="4090044"/>
                  <a:pt x="5795087" y="4090870"/>
                </a:cubicBezTo>
                <a:cubicBezTo>
                  <a:pt x="5793228" y="4088702"/>
                  <a:pt x="5791524" y="4086017"/>
                  <a:pt x="5791524" y="4083745"/>
                </a:cubicBezTo>
                <a:cubicBezTo>
                  <a:pt x="5791524" y="4083023"/>
                  <a:pt x="5791834" y="4082403"/>
                  <a:pt x="5792298" y="4081784"/>
                </a:cubicBezTo>
                <a:lnTo>
                  <a:pt x="5793073" y="4081577"/>
                </a:lnTo>
                <a:lnTo>
                  <a:pt x="5792763" y="4079409"/>
                </a:lnTo>
                <a:cubicBezTo>
                  <a:pt x="5792763" y="4079409"/>
                  <a:pt x="5792763" y="4079409"/>
                  <a:pt x="5792918" y="4078686"/>
                </a:cubicBezTo>
                <a:cubicBezTo>
                  <a:pt x="5792918" y="4078686"/>
                  <a:pt x="5792918" y="4078686"/>
                  <a:pt x="5792298" y="4078479"/>
                </a:cubicBezTo>
                <a:cubicBezTo>
                  <a:pt x="5792298" y="4078479"/>
                  <a:pt x="5791679" y="4078273"/>
                  <a:pt x="5791834" y="4077654"/>
                </a:cubicBezTo>
                <a:cubicBezTo>
                  <a:pt x="5791214" y="4077447"/>
                  <a:pt x="5791524" y="4076724"/>
                  <a:pt x="5791059" y="4075898"/>
                </a:cubicBezTo>
                <a:lnTo>
                  <a:pt x="5788891" y="4073627"/>
                </a:lnTo>
                <a:lnTo>
                  <a:pt x="5783624" y="4073833"/>
                </a:lnTo>
                <a:cubicBezTo>
                  <a:pt x="5777273" y="4073936"/>
                  <a:pt x="5771078" y="4073317"/>
                  <a:pt x="5766276" y="4068257"/>
                </a:cubicBezTo>
                <a:cubicBezTo>
                  <a:pt x="5764417" y="4057105"/>
                  <a:pt x="5758376" y="4055143"/>
                  <a:pt x="5754814" y="4048845"/>
                </a:cubicBezTo>
                <a:cubicBezTo>
                  <a:pt x="5754194" y="4033666"/>
                  <a:pt x="5758221" y="4013738"/>
                  <a:pt x="5773091" y="4006820"/>
                </a:cubicBezTo>
                <a:lnTo>
                  <a:pt x="5778668" y="4005477"/>
                </a:lnTo>
                <a:lnTo>
                  <a:pt x="5777893" y="3994842"/>
                </a:lnTo>
                <a:lnTo>
                  <a:pt x="5777893" y="3993603"/>
                </a:lnTo>
                <a:lnTo>
                  <a:pt x="5775725" y="3992983"/>
                </a:lnTo>
                <a:lnTo>
                  <a:pt x="5775570" y="3993809"/>
                </a:lnTo>
                <a:lnTo>
                  <a:pt x="5775260" y="3992777"/>
                </a:lnTo>
                <a:lnTo>
                  <a:pt x="5773866" y="3992467"/>
                </a:lnTo>
                <a:cubicBezTo>
                  <a:pt x="5769839" y="3991022"/>
                  <a:pt x="5766431" y="3989060"/>
                  <a:pt x="5765966" y="3985652"/>
                </a:cubicBezTo>
                <a:lnTo>
                  <a:pt x="5766276" y="3983380"/>
                </a:lnTo>
                <a:lnTo>
                  <a:pt x="5765811" y="3984723"/>
                </a:lnTo>
                <a:cubicBezTo>
                  <a:pt x="5758841" y="3996494"/>
                  <a:pt x="5747843" y="3994223"/>
                  <a:pt x="5736381" y="3999798"/>
                </a:cubicBezTo>
                <a:cubicBezTo>
                  <a:pt x="5732819" y="3995307"/>
                  <a:pt x="5729604" y="3993654"/>
                  <a:pt x="5726526" y="3992983"/>
                </a:cubicBezTo>
                <a:lnTo>
                  <a:pt x="5720540" y="3992368"/>
                </a:lnTo>
                <a:lnTo>
                  <a:pt x="5718744" y="3993653"/>
                </a:lnTo>
                <a:lnTo>
                  <a:pt x="5702373" y="4001840"/>
                </a:lnTo>
                <a:lnTo>
                  <a:pt x="5713805" y="4003657"/>
                </a:lnTo>
                <a:cubicBezTo>
                  <a:pt x="5718026" y="4004832"/>
                  <a:pt x="5722285" y="4006975"/>
                  <a:pt x="5726623" y="4011466"/>
                </a:cubicBezTo>
                <a:cubicBezTo>
                  <a:pt x="5726003" y="4014048"/>
                  <a:pt x="5727707" y="4018384"/>
                  <a:pt x="5723680" y="4019107"/>
                </a:cubicBezTo>
                <a:cubicBezTo>
                  <a:pt x="5720891" y="4013789"/>
                  <a:pt x="5715819" y="4012034"/>
                  <a:pt x="5711172" y="4010305"/>
                </a:cubicBezTo>
                <a:lnTo>
                  <a:pt x="5701775" y="4002140"/>
                </a:lnTo>
                <a:lnTo>
                  <a:pt x="5694204" y="4005926"/>
                </a:lnTo>
                <a:lnTo>
                  <a:pt x="5696263" y="4005374"/>
                </a:lnTo>
                <a:cubicBezTo>
                  <a:pt x="5698276" y="4007026"/>
                  <a:pt x="5698276" y="4007026"/>
                  <a:pt x="5696883" y="4009711"/>
                </a:cubicBezTo>
                <a:cubicBezTo>
                  <a:pt x="5696108" y="4010537"/>
                  <a:pt x="5694404" y="4011466"/>
                  <a:pt x="5692391" y="4012086"/>
                </a:cubicBezTo>
                <a:cubicBezTo>
                  <a:pt x="5691461" y="4012292"/>
                  <a:pt x="5690532" y="4012396"/>
                  <a:pt x="5689602" y="4012396"/>
                </a:cubicBezTo>
                <a:cubicBezTo>
                  <a:pt x="5688673" y="4012396"/>
                  <a:pt x="5687744" y="4012292"/>
                  <a:pt x="5687124" y="4011879"/>
                </a:cubicBezTo>
                <a:lnTo>
                  <a:pt x="5688078" y="4008990"/>
                </a:lnTo>
                <a:lnTo>
                  <a:pt x="5685512" y="4010273"/>
                </a:lnTo>
                <a:lnTo>
                  <a:pt x="5686834" y="4013622"/>
                </a:lnTo>
                <a:cubicBezTo>
                  <a:pt x="5687047" y="4017094"/>
                  <a:pt x="5686195" y="4020243"/>
                  <a:pt x="5684026" y="4020759"/>
                </a:cubicBezTo>
                <a:cubicBezTo>
                  <a:pt x="5682864" y="4021017"/>
                  <a:pt x="5681315" y="4020553"/>
                  <a:pt x="5679360" y="4018991"/>
                </a:cubicBezTo>
                <a:lnTo>
                  <a:pt x="5675993" y="4015034"/>
                </a:lnTo>
                <a:lnTo>
                  <a:pt x="5668143" y="4018960"/>
                </a:lnTo>
                <a:lnTo>
                  <a:pt x="5664015" y="4019768"/>
                </a:lnTo>
                <a:lnTo>
                  <a:pt x="5664664" y="4022721"/>
                </a:lnTo>
                <a:lnTo>
                  <a:pt x="5663890" y="4026748"/>
                </a:lnTo>
                <a:lnTo>
                  <a:pt x="5664044" y="4026851"/>
                </a:lnTo>
                <a:cubicBezTo>
                  <a:pt x="5664974" y="4028297"/>
                  <a:pt x="5664974" y="4030569"/>
                  <a:pt x="5663580" y="4033047"/>
                </a:cubicBezTo>
                <a:lnTo>
                  <a:pt x="5661566" y="4031808"/>
                </a:lnTo>
                <a:lnTo>
                  <a:pt x="5659397" y="4034802"/>
                </a:lnTo>
                <a:lnTo>
                  <a:pt x="5656455" y="4036661"/>
                </a:lnTo>
                <a:lnTo>
                  <a:pt x="5655680" y="4039036"/>
                </a:lnTo>
                <a:lnTo>
                  <a:pt x="5657849" y="4038519"/>
                </a:lnTo>
                <a:cubicBezTo>
                  <a:pt x="5658778" y="4038726"/>
                  <a:pt x="5659707" y="4039242"/>
                  <a:pt x="5660792" y="4040068"/>
                </a:cubicBezTo>
                <a:cubicBezTo>
                  <a:pt x="5660946" y="4042753"/>
                  <a:pt x="5657849" y="4046986"/>
                  <a:pt x="5655370" y="4046780"/>
                </a:cubicBezTo>
                <a:cubicBezTo>
                  <a:pt x="5654441" y="4045954"/>
                  <a:pt x="5653666" y="4045025"/>
                  <a:pt x="5652737" y="4044095"/>
                </a:cubicBezTo>
                <a:lnTo>
                  <a:pt x="5653357" y="4042856"/>
                </a:lnTo>
                <a:lnTo>
                  <a:pt x="5650723" y="4046676"/>
                </a:lnTo>
                <a:cubicBezTo>
                  <a:pt x="5647161" y="4050291"/>
                  <a:pt x="5642514" y="4052356"/>
                  <a:pt x="5637402" y="4051633"/>
                </a:cubicBezTo>
                <a:cubicBezTo>
                  <a:pt x="5634769" y="4051323"/>
                  <a:pt x="5631981" y="4050291"/>
                  <a:pt x="5629347" y="4048329"/>
                </a:cubicBezTo>
                <a:cubicBezTo>
                  <a:pt x="5627489" y="4046883"/>
                  <a:pt x="5626250" y="4045128"/>
                  <a:pt x="5625165" y="4043166"/>
                </a:cubicBezTo>
                <a:lnTo>
                  <a:pt x="5623461" y="4038416"/>
                </a:lnTo>
                <a:lnTo>
                  <a:pt x="5622222" y="4037590"/>
                </a:lnTo>
                <a:lnTo>
                  <a:pt x="5622997" y="4036867"/>
                </a:lnTo>
                <a:lnTo>
                  <a:pt x="5621603" y="4032840"/>
                </a:lnTo>
                <a:lnTo>
                  <a:pt x="5619912" y="4028408"/>
                </a:lnTo>
                <a:lnTo>
                  <a:pt x="5616464" y="4029083"/>
                </a:lnTo>
                <a:lnTo>
                  <a:pt x="5611938" y="4029083"/>
                </a:lnTo>
                <a:lnTo>
                  <a:pt x="5613703" y="4030672"/>
                </a:lnTo>
                <a:cubicBezTo>
                  <a:pt x="5611999" y="4035112"/>
                  <a:pt x="5610450" y="4042340"/>
                  <a:pt x="5605803" y="4045231"/>
                </a:cubicBezTo>
                <a:lnTo>
                  <a:pt x="5604719" y="4045541"/>
                </a:lnTo>
                <a:lnTo>
                  <a:pt x="5603945" y="4046470"/>
                </a:lnTo>
                <a:lnTo>
                  <a:pt x="5603945" y="4046676"/>
                </a:lnTo>
                <a:cubicBezTo>
                  <a:pt x="5603170" y="4046676"/>
                  <a:pt x="5603325" y="4047606"/>
                  <a:pt x="5604100" y="4047503"/>
                </a:cubicBezTo>
                <a:cubicBezTo>
                  <a:pt x="5603480" y="4048845"/>
                  <a:pt x="5602860" y="4049981"/>
                  <a:pt x="5602396" y="4050600"/>
                </a:cubicBezTo>
                <a:cubicBezTo>
                  <a:pt x="5602086" y="4050910"/>
                  <a:pt x="5601776" y="4051013"/>
                  <a:pt x="5601466" y="4050910"/>
                </a:cubicBezTo>
                <a:cubicBezTo>
                  <a:pt x="5601157" y="4050910"/>
                  <a:pt x="5600692" y="4050807"/>
                  <a:pt x="5600227" y="4050394"/>
                </a:cubicBezTo>
                <a:cubicBezTo>
                  <a:pt x="5598523" y="4049568"/>
                  <a:pt x="5599143" y="4047812"/>
                  <a:pt x="5597129" y="4046161"/>
                </a:cubicBezTo>
                <a:cubicBezTo>
                  <a:pt x="5593412" y="4043786"/>
                  <a:pt x="5589384" y="4051013"/>
                  <a:pt x="5581949" y="4046161"/>
                </a:cubicBezTo>
                <a:cubicBezTo>
                  <a:pt x="5583344" y="4044302"/>
                  <a:pt x="5579316" y="4040171"/>
                  <a:pt x="5581485" y="4037487"/>
                </a:cubicBezTo>
                <a:cubicBezTo>
                  <a:pt x="5587061" y="4028400"/>
                  <a:pt x="5589849" y="4029949"/>
                  <a:pt x="5596045" y="4032221"/>
                </a:cubicBezTo>
                <a:cubicBezTo>
                  <a:pt x="5595270" y="4032324"/>
                  <a:pt x="5596200" y="4033047"/>
                  <a:pt x="5596200" y="4033047"/>
                </a:cubicBezTo>
                <a:cubicBezTo>
                  <a:pt x="5598058" y="4034699"/>
                  <a:pt x="5598214" y="4029536"/>
                  <a:pt x="5601001" y="4031085"/>
                </a:cubicBezTo>
                <a:lnTo>
                  <a:pt x="5601466" y="4031808"/>
                </a:lnTo>
                <a:lnTo>
                  <a:pt x="5601931" y="4031808"/>
                </a:lnTo>
                <a:lnTo>
                  <a:pt x="5604247" y="4029083"/>
                </a:lnTo>
                <a:lnTo>
                  <a:pt x="5564410" y="4029083"/>
                </a:lnTo>
                <a:lnTo>
                  <a:pt x="5569228" y="4038597"/>
                </a:lnTo>
                <a:cubicBezTo>
                  <a:pt x="5570100" y="4044095"/>
                  <a:pt x="5570177" y="4050084"/>
                  <a:pt x="5572036" y="4056486"/>
                </a:cubicBezTo>
                <a:cubicBezTo>
                  <a:pt x="5562587" y="4062681"/>
                  <a:pt x="5564136" y="4068980"/>
                  <a:pt x="5562278" y="4075072"/>
                </a:cubicBezTo>
                <a:cubicBezTo>
                  <a:pt x="5554533" y="4076105"/>
                  <a:pt x="5546633" y="4083333"/>
                  <a:pt x="5538579" y="4087050"/>
                </a:cubicBezTo>
                <a:cubicBezTo>
                  <a:pt x="5533932" y="4084881"/>
                  <a:pt x="5529285" y="4083642"/>
                  <a:pt x="5524793" y="4082300"/>
                </a:cubicBezTo>
                <a:lnTo>
                  <a:pt x="5517357" y="4079719"/>
                </a:lnTo>
                <a:lnTo>
                  <a:pt x="5515654" y="4083023"/>
                </a:lnTo>
                <a:lnTo>
                  <a:pt x="5513640" y="4078479"/>
                </a:lnTo>
                <a:lnTo>
                  <a:pt x="5511007" y="4077550"/>
                </a:lnTo>
                <a:cubicBezTo>
                  <a:pt x="5510697" y="4071768"/>
                  <a:pt x="5507290" y="4066192"/>
                  <a:pt x="5504501" y="4060410"/>
                </a:cubicBezTo>
                <a:lnTo>
                  <a:pt x="5503572" y="4057622"/>
                </a:lnTo>
                <a:lnTo>
                  <a:pt x="5502178" y="4059687"/>
                </a:lnTo>
                <a:cubicBezTo>
                  <a:pt x="5493503" y="4056486"/>
                  <a:pt x="5488237" y="4041204"/>
                  <a:pt x="5496292" y="4039139"/>
                </a:cubicBezTo>
                <a:cubicBezTo>
                  <a:pt x="5497531" y="4038829"/>
                  <a:pt x="5498770" y="4038932"/>
                  <a:pt x="5500629" y="4039242"/>
                </a:cubicBezTo>
                <a:lnTo>
                  <a:pt x="5502488" y="4043476"/>
                </a:lnTo>
                <a:lnTo>
                  <a:pt x="5502643" y="4042340"/>
                </a:lnTo>
                <a:cubicBezTo>
                  <a:pt x="5511936" y="4036041"/>
                  <a:pt x="5511317" y="4029846"/>
                  <a:pt x="5515654" y="4024064"/>
                </a:cubicBezTo>
                <a:lnTo>
                  <a:pt x="5530549" y="4019730"/>
                </a:lnTo>
                <a:lnTo>
                  <a:pt x="5513115" y="4014812"/>
                </a:lnTo>
                <a:lnTo>
                  <a:pt x="5508374" y="4018281"/>
                </a:lnTo>
                <a:cubicBezTo>
                  <a:pt x="5505276" y="4018178"/>
                  <a:pt x="5501868" y="4016526"/>
                  <a:pt x="5500474" y="4013841"/>
                </a:cubicBezTo>
                <a:lnTo>
                  <a:pt x="5505624" y="4011154"/>
                </a:lnTo>
                <a:lnTo>
                  <a:pt x="5454969" y="3978467"/>
                </a:lnTo>
                <a:lnTo>
                  <a:pt x="5431283" y="3970875"/>
                </a:lnTo>
                <a:lnTo>
                  <a:pt x="5427761" y="3971235"/>
                </a:lnTo>
                <a:lnTo>
                  <a:pt x="5425969" y="3971713"/>
                </a:lnTo>
                <a:lnTo>
                  <a:pt x="5425802" y="3971435"/>
                </a:lnTo>
                <a:lnTo>
                  <a:pt x="5421307" y="3971894"/>
                </a:lnTo>
                <a:lnTo>
                  <a:pt x="5414507" y="3976359"/>
                </a:lnTo>
                <a:lnTo>
                  <a:pt x="5416009" y="3972436"/>
                </a:lnTo>
                <a:lnTo>
                  <a:pt x="5410617" y="3972987"/>
                </a:lnTo>
                <a:lnTo>
                  <a:pt x="5406297" y="3978011"/>
                </a:lnTo>
                <a:lnTo>
                  <a:pt x="5403088" y="3974414"/>
                </a:lnTo>
                <a:lnTo>
                  <a:pt x="5380681" y="3980998"/>
                </a:lnTo>
                <a:lnTo>
                  <a:pt x="5366310" y="3988036"/>
                </a:lnTo>
                <a:lnTo>
                  <a:pt x="5366334" y="3988027"/>
                </a:lnTo>
                <a:lnTo>
                  <a:pt x="5368038" y="3990505"/>
                </a:lnTo>
                <a:lnTo>
                  <a:pt x="5368812" y="3989989"/>
                </a:lnTo>
                <a:lnTo>
                  <a:pt x="5372529" y="3988853"/>
                </a:lnTo>
                <a:lnTo>
                  <a:pt x="5372374" y="3988440"/>
                </a:lnTo>
                <a:cubicBezTo>
                  <a:pt x="5372220" y="3987717"/>
                  <a:pt x="5372374" y="3986788"/>
                  <a:pt x="5373149" y="3985962"/>
                </a:cubicBezTo>
                <a:cubicBezTo>
                  <a:pt x="5374853" y="3983484"/>
                  <a:pt x="5377331" y="3983691"/>
                  <a:pt x="5379965" y="3984620"/>
                </a:cubicBezTo>
                <a:cubicBezTo>
                  <a:pt x="5381514" y="3983897"/>
                  <a:pt x="5382443" y="3982141"/>
                  <a:pt x="5384147" y="3983071"/>
                </a:cubicBezTo>
                <a:cubicBezTo>
                  <a:pt x="5381668" y="3984620"/>
                  <a:pt x="5380739" y="3985549"/>
                  <a:pt x="5379190" y="3986272"/>
                </a:cubicBezTo>
                <a:cubicBezTo>
                  <a:pt x="5379190" y="3987201"/>
                  <a:pt x="5379190" y="3988027"/>
                  <a:pt x="5378416" y="3988853"/>
                </a:cubicBezTo>
                <a:lnTo>
                  <a:pt x="5376712" y="3989576"/>
                </a:lnTo>
                <a:lnTo>
                  <a:pt x="5377021" y="3990608"/>
                </a:lnTo>
                <a:cubicBezTo>
                  <a:pt x="5377331" y="3991331"/>
                  <a:pt x="5377796" y="3992158"/>
                  <a:pt x="5378261" y="3992983"/>
                </a:cubicBezTo>
                <a:cubicBezTo>
                  <a:pt x="5375782" y="3993397"/>
                  <a:pt x="5373769" y="3994326"/>
                  <a:pt x="5372220" y="3995048"/>
                </a:cubicBezTo>
                <a:lnTo>
                  <a:pt x="5369432" y="3995462"/>
                </a:lnTo>
                <a:lnTo>
                  <a:pt x="5369432" y="3995771"/>
                </a:lnTo>
                <a:cubicBezTo>
                  <a:pt x="5369277" y="3997527"/>
                  <a:pt x="5368347" y="3999075"/>
                  <a:pt x="5366954" y="4000418"/>
                </a:cubicBezTo>
                <a:lnTo>
                  <a:pt x="5365559" y="4001244"/>
                </a:lnTo>
                <a:cubicBezTo>
                  <a:pt x="5367418" y="4003722"/>
                  <a:pt x="5367418" y="4008162"/>
                  <a:pt x="5363855" y="4011363"/>
                </a:cubicBezTo>
                <a:cubicBezTo>
                  <a:pt x="5360293" y="4011260"/>
                  <a:pt x="5358124" y="4009917"/>
                  <a:pt x="5356421" y="4009298"/>
                </a:cubicBezTo>
                <a:lnTo>
                  <a:pt x="5356575" y="4003309"/>
                </a:lnTo>
                <a:lnTo>
                  <a:pt x="5351928" y="4000005"/>
                </a:lnTo>
                <a:lnTo>
                  <a:pt x="5356602" y="3992790"/>
                </a:lnTo>
                <a:lnTo>
                  <a:pt x="5354841" y="3993653"/>
                </a:lnTo>
                <a:lnTo>
                  <a:pt x="5346083" y="3996947"/>
                </a:lnTo>
                <a:lnTo>
                  <a:pt x="5346294" y="3997062"/>
                </a:lnTo>
                <a:cubicBezTo>
                  <a:pt x="5349334" y="4000366"/>
                  <a:pt x="5351541" y="4004342"/>
                  <a:pt x="5352548" y="4007233"/>
                </a:cubicBezTo>
                <a:cubicBezTo>
                  <a:pt x="5348056" y="4007130"/>
                  <a:pt x="5343874" y="4004548"/>
                  <a:pt x="5340621" y="4001347"/>
                </a:cubicBezTo>
                <a:lnTo>
                  <a:pt x="5339248" y="3999517"/>
                </a:lnTo>
                <a:lnTo>
                  <a:pt x="5337430" y="4000201"/>
                </a:lnTo>
                <a:lnTo>
                  <a:pt x="5337213" y="4000418"/>
                </a:lnTo>
                <a:lnTo>
                  <a:pt x="5337833" y="4000418"/>
                </a:lnTo>
                <a:lnTo>
                  <a:pt x="5334425" y="4004651"/>
                </a:lnTo>
                <a:lnTo>
                  <a:pt x="5334115" y="4005890"/>
                </a:lnTo>
                <a:cubicBezTo>
                  <a:pt x="5334115" y="4007336"/>
                  <a:pt x="5334115" y="4008885"/>
                  <a:pt x="5332721" y="4010021"/>
                </a:cubicBezTo>
                <a:lnTo>
                  <a:pt x="5328849" y="4008472"/>
                </a:lnTo>
                <a:lnTo>
                  <a:pt x="5328075" y="4008988"/>
                </a:lnTo>
                <a:cubicBezTo>
                  <a:pt x="5324047" y="4010640"/>
                  <a:pt x="5319710" y="4011157"/>
                  <a:pt x="5316922" y="4010847"/>
                </a:cubicBezTo>
                <a:lnTo>
                  <a:pt x="5319843" y="4006877"/>
                </a:lnTo>
                <a:lnTo>
                  <a:pt x="5304063" y="4012933"/>
                </a:lnTo>
                <a:lnTo>
                  <a:pt x="5307067" y="4018359"/>
                </a:lnTo>
                <a:cubicBezTo>
                  <a:pt x="5307009" y="4021147"/>
                  <a:pt x="5305382" y="4023651"/>
                  <a:pt x="5301587" y="4023754"/>
                </a:cubicBezTo>
                <a:cubicBezTo>
                  <a:pt x="5300116" y="4022773"/>
                  <a:pt x="5298876" y="4020475"/>
                  <a:pt x="5298063" y="4018087"/>
                </a:cubicBezTo>
                <a:lnTo>
                  <a:pt x="5297644" y="4015397"/>
                </a:lnTo>
                <a:lnTo>
                  <a:pt x="5272055" y="4025217"/>
                </a:lnTo>
                <a:lnTo>
                  <a:pt x="5271847" y="4025612"/>
                </a:lnTo>
                <a:lnTo>
                  <a:pt x="5271547" y="4025412"/>
                </a:lnTo>
                <a:lnTo>
                  <a:pt x="5229691" y="4041476"/>
                </a:lnTo>
                <a:lnTo>
                  <a:pt x="5231419" y="4050084"/>
                </a:lnTo>
                <a:cubicBezTo>
                  <a:pt x="5229560" y="4049155"/>
                  <a:pt x="5226927" y="4047606"/>
                  <a:pt x="5225223" y="4045437"/>
                </a:cubicBezTo>
                <a:lnTo>
                  <a:pt x="5225264" y="4043174"/>
                </a:lnTo>
                <a:lnTo>
                  <a:pt x="5222573" y="4044207"/>
                </a:lnTo>
                <a:lnTo>
                  <a:pt x="5222435" y="4045128"/>
                </a:lnTo>
                <a:cubicBezTo>
                  <a:pt x="5222435" y="4045128"/>
                  <a:pt x="5222745" y="4045851"/>
                  <a:pt x="5222125" y="4046986"/>
                </a:cubicBezTo>
                <a:cubicBezTo>
                  <a:pt x="5221661" y="4048122"/>
                  <a:pt x="5221041" y="4049258"/>
                  <a:pt x="5219182" y="4049155"/>
                </a:cubicBezTo>
                <a:lnTo>
                  <a:pt x="5219182" y="4045636"/>
                </a:lnTo>
                <a:lnTo>
                  <a:pt x="5212141" y="4048615"/>
                </a:lnTo>
                <a:lnTo>
                  <a:pt x="5213761" y="4053904"/>
                </a:lnTo>
                <a:lnTo>
                  <a:pt x="5213606" y="4057312"/>
                </a:lnTo>
                <a:lnTo>
                  <a:pt x="5218562" y="4061752"/>
                </a:lnTo>
                <a:cubicBezTo>
                  <a:pt x="5218098" y="4062888"/>
                  <a:pt x="5217478" y="4063921"/>
                  <a:pt x="5218562" y="4064540"/>
                </a:cubicBezTo>
                <a:cubicBezTo>
                  <a:pt x="5217169" y="4068154"/>
                  <a:pt x="5214690" y="4070839"/>
                  <a:pt x="5211438" y="4072800"/>
                </a:cubicBezTo>
                <a:lnTo>
                  <a:pt x="5210663" y="4073007"/>
                </a:lnTo>
                <a:lnTo>
                  <a:pt x="5212831" y="4074349"/>
                </a:lnTo>
                <a:cubicBezTo>
                  <a:pt x="5211902" y="4079099"/>
                  <a:pt x="5209269" y="4078996"/>
                  <a:pt x="5206636" y="4078893"/>
                </a:cubicBezTo>
                <a:cubicBezTo>
                  <a:pt x="5207255" y="4077344"/>
                  <a:pt x="5206636" y="4076414"/>
                  <a:pt x="5206171" y="4075589"/>
                </a:cubicBezTo>
                <a:lnTo>
                  <a:pt x="5206016" y="4074349"/>
                </a:lnTo>
                <a:lnTo>
                  <a:pt x="5200595" y="4075795"/>
                </a:lnTo>
                <a:cubicBezTo>
                  <a:pt x="5194863" y="4076001"/>
                  <a:pt x="5188823" y="4074246"/>
                  <a:pt x="5184485" y="4070322"/>
                </a:cubicBezTo>
                <a:lnTo>
                  <a:pt x="5184021" y="4069600"/>
                </a:lnTo>
                <a:lnTo>
                  <a:pt x="5184485" y="4071045"/>
                </a:lnTo>
                <a:cubicBezTo>
                  <a:pt x="5184330" y="4072284"/>
                  <a:pt x="5184330" y="4072284"/>
                  <a:pt x="5183556" y="4072697"/>
                </a:cubicBezTo>
                <a:cubicBezTo>
                  <a:pt x="5182782" y="4074349"/>
                  <a:pt x="5182472" y="4075589"/>
                  <a:pt x="5180613" y="4075692"/>
                </a:cubicBezTo>
                <a:cubicBezTo>
                  <a:pt x="5179219" y="4075589"/>
                  <a:pt x="5178290" y="4075072"/>
                  <a:pt x="5177825" y="4074143"/>
                </a:cubicBezTo>
                <a:cubicBezTo>
                  <a:pt x="5177360" y="4073213"/>
                  <a:pt x="5177206" y="4071871"/>
                  <a:pt x="5177050" y="4070322"/>
                </a:cubicBezTo>
                <a:cubicBezTo>
                  <a:pt x="5176895" y="4067121"/>
                  <a:pt x="5179529" y="4066605"/>
                  <a:pt x="5179839" y="4064127"/>
                </a:cubicBezTo>
                <a:lnTo>
                  <a:pt x="5181233" y="4065056"/>
                </a:lnTo>
                <a:lnTo>
                  <a:pt x="5183810" y="4060602"/>
                </a:lnTo>
                <a:lnTo>
                  <a:pt x="5168706" y="4066993"/>
                </a:lnTo>
                <a:lnTo>
                  <a:pt x="5170390" y="4067844"/>
                </a:lnTo>
                <a:cubicBezTo>
                  <a:pt x="5169305" y="4071974"/>
                  <a:pt x="5166982" y="4073110"/>
                  <a:pt x="5163265" y="4073110"/>
                </a:cubicBezTo>
                <a:lnTo>
                  <a:pt x="5164828" y="4068634"/>
                </a:lnTo>
                <a:lnTo>
                  <a:pt x="5146958" y="4076195"/>
                </a:lnTo>
                <a:lnTo>
                  <a:pt x="5147775" y="4076518"/>
                </a:lnTo>
                <a:cubicBezTo>
                  <a:pt x="5147930" y="4079099"/>
                  <a:pt x="5149014" y="4081887"/>
                  <a:pt x="5148240" y="4084778"/>
                </a:cubicBezTo>
                <a:cubicBezTo>
                  <a:pt x="5148085" y="4085707"/>
                  <a:pt x="5147465" y="4086740"/>
                  <a:pt x="5146691" y="4087773"/>
                </a:cubicBezTo>
                <a:lnTo>
                  <a:pt x="5135611" y="4080996"/>
                </a:lnTo>
                <a:lnTo>
                  <a:pt x="5120417" y="4087425"/>
                </a:lnTo>
                <a:lnTo>
                  <a:pt x="5120746" y="4090509"/>
                </a:lnTo>
                <a:cubicBezTo>
                  <a:pt x="5120165" y="4093168"/>
                  <a:pt x="5118500" y="4095259"/>
                  <a:pt x="5115247" y="4096549"/>
                </a:cubicBezTo>
                <a:cubicBezTo>
                  <a:pt x="5114937" y="4095310"/>
                  <a:pt x="5113853" y="4095517"/>
                  <a:pt x="5112614" y="4095724"/>
                </a:cubicBezTo>
                <a:lnTo>
                  <a:pt x="5110586" y="4092120"/>
                </a:lnTo>
                <a:lnTo>
                  <a:pt x="5027700" y="4137847"/>
                </a:lnTo>
                <a:lnTo>
                  <a:pt x="5031912" y="4138471"/>
                </a:lnTo>
                <a:cubicBezTo>
                  <a:pt x="5032842" y="4141982"/>
                  <a:pt x="5032223" y="4144564"/>
                  <a:pt x="5028969" y="4147765"/>
                </a:cubicBezTo>
                <a:cubicBezTo>
                  <a:pt x="5026878" y="4147661"/>
                  <a:pt x="5024516" y="4146061"/>
                  <a:pt x="5023180" y="4143970"/>
                </a:cubicBezTo>
                <a:lnTo>
                  <a:pt x="5023385" y="4140228"/>
                </a:lnTo>
                <a:lnTo>
                  <a:pt x="5009241" y="4148031"/>
                </a:lnTo>
                <a:lnTo>
                  <a:pt x="5079768" y="4178424"/>
                </a:lnTo>
                <a:lnTo>
                  <a:pt x="5076058" y="4171720"/>
                </a:lnTo>
                <a:cubicBezTo>
                  <a:pt x="5078072" y="4168622"/>
                  <a:pt x="5079001" y="4167899"/>
                  <a:pt x="5082564" y="4166970"/>
                </a:cubicBezTo>
                <a:cubicBezTo>
                  <a:pt x="5087056" y="4170687"/>
                  <a:pt x="5088140" y="4175334"/>
                  <a:pt x="5089224" y="4180084"/>
                </a:cubicBezTo>
                <a:lnTo>
                  <a:pt x="5087246" y="4181647"/>
                </a:lnTo>
                <a:lnTo>
                  <a:pt x="5108946" y="4190998"/>
                </a:lnTo>
                <a:lnTo>
                  <a:pt x="5111374" y="4187828"/>
                </a:lnTo>
                <a:cubicBezTo>
                  <a:pt x="5113698" y="4190357"/>
                  <a:pt x="5114627" y="4192139"/>
                  <a:pt x="5114705" y="4193339"/>
                </a:cubicBezTo>
                <a:lnTo>
                  <a:pt x="5114615" y="4193441"/>
                </a:lnTo>
                <a:lnTo>
                  <a:pt x="5160702" y="4213302"/>
                </a:lnTo>
                <a:lnTo>
                  <a:pt x="5162800" y="4208686"/>
                </a:lnTo>
                <a:lnTo>
                  <a:pt x="5162840" y="4214224"/>
                </a:lnTo>
                <a:lnTo>
                  <a:pt x="5185240" y="4223877"/>
                </a:lnTo>
                <a:lnTo>
                  <a:pt x="5185725" y="4220044"/>
                </a:lnTo>
                <a:cubicBezTo>
                  <a:pt x="5188513" y="4219218"/>
                  <a:pt x="5190372" y="4219734"/>
                  <a:pt x="5191766" y="4220870"/>
                </a:cubicBezTo>
                <a:lnTo>
                  <a:pt x="5192570" y="4227036"/>
                </a:lnTo>
                <a:lnTo>
                  <a:pt x="5203036" y="4231546"/>
                </a:lnTo>
                <a:lnTo>
                  <a:pt x="5202316" y="4240003"/>
                </a:lnTo>
                <a:lnTo>
                  <a:pt x="5206171" y="4235945"/>
                </a:lnTo>
                <a:lnTo>
                  <a:pt x="5208495" y="4233777"/>
                </a:lnTo>
                <a:lnTo>
                  <a:pt x="5207565" y="4229337"/>
                </a:lnTo>
                <a:cubicBezTo>
                  <a:pt x="5207720" y="4227891"/>
                  <a:pt x="5208649" y="4226652"/>
                  <a:pt x="5209888" y="4225516"/>
                </a:cubicBezTo>
                <a:cubicBezTo>
                  <a:pt x="5214690" y="4226239"/>
                  <a:pt x="5216549" y="4232641"/>
                  <a:pt x="5213451" y="4235326"/>
                </a:cubicBezTo>
                <a:lnTo>
                  <a:pt x="5211902" y="4235223"/>
                </a:lnTo>
                <a:lnTo>
                  <a:pt x="5209114" y="4239146"/>
                </a:lnTo>
                <a:cubicBezTo>
                  <a:pt x="5208030" y="4240282"/>
                  <a:pt x="5207100" y="4241108"/>
                  <a:pt x="5206791" y="4240902"/>
                </a:cubicBezTo>
                <a:cubicBezTo>
                  <a:pt x="5206326" y="4241624"/>
                  <a:pt x="5205551" y="4241211"/>
                  <a:pt x="5205241" y="4242037"/>
                </a:cubicBezTo>
                <a:cubicBezTo>
                  <a:pt x="5205241" y="4242037"/>
                  <a:pt x="5204932" y="4242760"/>
                  <a:pt x="5203848" y="4243070"/>
                </a:cubicBezTo>
                <a:cubicBezTo>
                  <a:pt x="5203228" y="4243276"/>
                  <a:pt x="5202608" y="4243483"/>
                  <a:pt x="5202144" y="4243380"/>
                </a:cubicBezTo>
                <a:lnTo>
                  <a:pt x="5202035" y="4243307"/>
                </a:lnTo>
                <a:lnTo>
                  <a:pt x="5200783" y="4258024"/>
                </a:lnTo>
                <a:lnTo>
                  <a:pt x="5203848" y="4257732"/>
                </a:lnTo>
                <a:cubicBezTo>
                  <a:pt x="5203383" y="4258971"/>
                  <a:pt x="5203228" y="4260933"/>
                  <a:pt x="5201989" y="4262482"/>
                </a:cubicBezTo>
                <a:lnTo>
                  <a:pt x="5200466" y="4261746"/>
                </a:lnTo>
                <a:lnTo>
                  <a:pt x="5198729" y="4282162"/>
                </a:lnTo>
                <a:lnTo>
                  <a:pt x="5129709" y="4260660"/>
                </a:lnTo>
                <a:lnTo>
                  <a:pt x="5129033" y="4264547"/>
                </a:lnTo>
                <a:lnTo>
                  <a:pt x="5127709" y="4260036"/>
                </a:lnTo>
                <a:lnTo>
                  <a:pt x="5109368" y="4254323"/>
                </a:lnTo>
                <a:lnTo>
                  <a:pt x="5057662" y="4239854"/>
                </a:lnTo>
                <a:lnTo>
                  <a:pt x="5057625" y="4242037"/>
                </a:lnTo>
                <a:cubicBezTo>
                  <a:pt x="5056077" y="4241831"/>
                  <a:pt x="5055147" y="4241211"/>
                  <a:pt x="5054527" y="4240385"/>
                </a:cubicBezTo>
                <a:lnTo>
                  <a:pt x="5055076" y="4239130"/>
                </a:lnTo>
                <a:lnTo>
                  <a:pt x="5018931" y="4229016"/>
                </a:lnTo>
                <a:lnTo>
                  <a:pt x="4925263" y="4196115"/>
                </a:lnTo>
                <a:lnTo>
                  <a:pt x="4839389" y="4171980"/>
                </a:lnTo>
                <a:lnTo>
                  <a:pt x="4839996" y="4174921"/>
                </a:lnTo>
                <a:lnTo>
                  <a:pt x="4837373" y="4171413"/>
                </a:lnTo>
                <a:lnTo>
                  <a:pt x="4826213" y="4168277"/>
                </a:lnTo>
                <a:lnTo>
                  <a:pt x="4832724" y="4191237"/>
                </a:lnTo>
                <a:lnTo>
                  <a:pt x="4832948" y="4186989"/>
                </a:lnTo>
                <a:cubicBezTo>
                  <a:pt x="4834613" y="4182742"/>
                  <a:pt x="4837363" y="4179154"/>
                  <a:pt x="4840151" y="4177709"/>
                </a:cubicBezTo>
                <a:cubicBezTo>
                  <a:pt x="4841700" y="4181736"/>
                  <a:pt x="4840887" y="4186331"/>
                  <a:pt x="4839106" y="4190435"/>
                </a:cubicBezTo>
                <a:lnTo>
                  <a:pt x="4834402" y="4197150"/>
                </a:lnTo>
                <a:lnTo>
                  <a:pt x="4841286" y="4221423"/>
                </a:lnTo>
                <a:lnTo>
                  <a:pt x="4846554" y="4241032"/>
                </a:lnTo>
                <a:lnTo>
                  <a:pt x="4851458" y="4238217"/>
                </a:lnTo>
                <a:lnTo>
                  <a:pt x="4847769" y="4245554"/>
                </a:lnTo>
                <a:lnTo>
                  <a:pt x="4854205" y="4269509"/>
                </a:lnTo>
                <a:lnTo>
                  <a:pt x="4866048" y="4312531"/>
                </a:lnTo>
                <a:lnTo>
                  <a:pt x="4876815" y="4355554"/>
                </a:lnTo>
                <a:lnTo>
                  <a:pt x="4860724" y="4351370"/>
                </a:lnTo>
                <a:lnTo>
                  <a:pt x="4857809" y="4354935"/>
                </a:lnTo>
                <a:cubicBezTo>
                  <a:pt x="4855757" y="4357091"/>
                  <a:pt x="4853395" y="4358924"/>
                  <a:pt x="4850684" y="4359440"/>
                </a:cubicBezTo>
                <a:cubicBezTo>
                  <a:pt x="4848980" y="4359749"/>
                  <a:pt x="4847121" y="4359440"/>
                  <a:pt x="4844953" y="4358304"/>
                </a:cubicBezTo>
                <a:lnTo>
                  <a:pt x="4849660" y="4348493"/>
                </a:lnTo>
                <a:lnTo>
                  <a:pt x="4813264" y="4339029"/>
                </a:lnTo>
                <a:lnTo>
                  <a:pt x="4812270" y="4339511"/>
                </a:lnTo>
                <a:lnTo>
                  <a:pt x="4811607" y="4338598"/>
                </a:lnTo>
                <a:lnTo>
                  <a:pt x="4803677" y="4336536"/>
                </a:lnTo>
                <a:lnTo>
                  <a:pt x="4804060" y="4338582"/>
                </a:lnTo>
                <a:cubicBezTo>
                  <a:pt x="4803441" y="4339408"/>
                  <a:pt x="4803131" y="4339408"/>
                  <a:pt x="4802511" y="4339098"/>
                </a:cubicBezTo>
                <a:cubicBezTo>
                  <a:pt x="4802046" y="4338788"/>
                  <a:pt x="4801582" y="4338169"/>
                  <a:pt x="4800652" y="4337756"/>
                </a:cubicBezTo>
                <a:lnTo>
                  <a:pt x="4802399" y="4336204"/>
                </a:lnTo>
                <a:lnTo>
                  <a:pt x="4712534" y="4312837"/>
                </a:lnTo>
                <a:lnTo>
                  <a:pt x="4711897" y="4314523"/>
                </a:lnTo>
                <a:cubicBezTo>
                  <a:pt x="4707250" y="4319686"/>
                  <a:pt x="4702603" y="4315246"/>
                  <a:pt x="4702448" y="4316175"/>
                </a:cubicBezTo>
                <a:cubicBezTo>
                  <a:pt x="4701519" y="4317001"/>
                  <a:pt x="4701519" y="4317001"/>
                  <a:pt x="4701519" y="4317828"/>
                </a:cubicBezTo>
                <a:cubicBezTo>
                  <a:pt x="4700589" y="4317828"/>
                  <a:pt x="4698885" y="4318653"/>
                  <a:pt x="4697956" y="4319479"/>
                </a:cubicBezTo>
                <a:cubicBezTo>
                  <a:pt x="4697956" y="4318653"/>
                  <a:pt x="4698111" y="4317724"/>
                  <a:pt x="4697337" y="4317724"/>
                </a:cubicBezTo>
                <a:cubicBezTo>
                  <a:pt x="4699195" y="4316072"/>
                  <a:pt x="4699970" y="4316072"/>
                  <a:pt x="4700899" y="4315246"/>
                </a:cubicBezTo>
                <a:cubicBezTo>
                  <a:pt x="4700125" y="4315246"/>
                  <a:pt x="4700899" y="4314420"/>
                  <a:pt x="4700899" y="4314420"/>
                </a:cubicBezTo>
                <a:cubicBezTo>
                  <a:pt x="4700899" y="4314420"/>
                  <a:pt x="4701054" y="4314317"/>
                  <a:pt x="4699505" y="4312562"/>
                </a:cubicBezTo>
                <a:cubicBezTo>
                  <a:pt x="4699505" y="4312562"/>
                  <a:pt x="4698769" y="4311477"/>
                  <a:pt x="4698518" y="4309851"/>
                </a:cubicBezTo>
                <a:lnTo>
                  <a:pt x="4698713" y="4309243"/>
                </a:lnTo>
                <a:lnTo>
                  <a:pt x="4633495" y="4292285"/>
                </a:lnTo>
                <a:lnTo>
                  <a:pt x="4574481" y="4277619"/>
                </a:lnTo>
                <a:lnTo>
                  <a:pt x="4574481" y="4384363"/>
                </a:lnTo>
                <a:lnTo>
                  <a:pt x="4762691" y="4461848"/>
                </a:lnTo>
                <a:lnTo>
                  <a:pt x="4957563" y="4547894"/>
                </a:lnTo>
                <a:lnTo>
                  <a:pt x="4939259" y="4565610"/>
                </a:lnTo>
                <a:lnTo>
                  <a:pt x="4925263" y="4578265"/>
                </a:lnTo>
                <a:lnTo>
                  <a:pt x="4912344" y="4593448"/>
                </a:lnTo>
                <a:lnTo>
                  <a:pt x="4917727" y="4628879"/>
                </a:lnTo>
                <a:lnTo>
                  <a:pt x="4943566" y="4603571"/>
                </a:lnTo>
                <a:lnTo>
                  <a:pt x="4970482" y="4578265"/>
                </a:lnTo>
                <a:lnTo>
                  <a:pt x="4999551" y="4550424"/>
                </a:lnTo>
                <a:lnTo>
                  <a:pt x="5014624" y="4590917"/>
                </a:lnTo>
                <a:lnTo>
                  <a:pt x="5028620" y="4623818"/>
                </a:lnTo>
                <a:lnTo>
                  <a:pt x="5042617" y="4651657"/>
                </a:lnTo>
                <a:lnTo>
                  <a:pt x="5059843" y="4671903"/>
                </a:lnTo>
                <a:lnTo>
                  <a:pt x="5075992" y="4684556"/>
                </a:lnTo>
                <a:lnTo>
                  <a:pt x="5093219" y="4679495"/>
                </a:lnTo>
                <a:lnTo>
                  <a:pt x="5111521" y="4664311"/>
                </a:lnTo>
                <a:lnTo>
                  <a:pt x="5130901" y="4631411"/>
                </a:lnTo>
                <a:lnTo>
                  <a:pt x="5151357" y="4580795"/>
                </a:lnTo>
                <a:lnTo>
                  <a:pt x="5172890" y="4631411"/>
                </a:lnTo>
                <a:lnTo>
                  <a:pt x="5195499" y="4669372"/>
                </a:lnTo>
                <a:lnTo>
                  <a:pt x="5219185" y="4694680"/>
                </a:lnTo>
                <a:lnTo>
                  <a:pt x="5243948" y="4709864"/>
                </a:lnTo>
                <a:lnTo>
                  <a:pt x="5268710" y="4714925"/>
                </a:lnTo>
                <a:lnTo>
                  <a:pt x="5294550" y="4714925"/>
                </a:lnTo>
                <a:lnTo>
                  <a:pt x="5320389" y="4709864"/>
                </a:lnTo>
                <a:lnTo>
                  <a:pt x="5347305" y="4702272"/>
                </a:lnTo>
                <a:lnTo>
                  <a:pt x="5373144" y="4694680"/>
                </a:lnTo>
                <a:lnTo>
                  <a:pt x="5398983" y="4689619"/>
                </a:lnTo>
                <a:lnTo>
                  <a:pt x="5424823" y="4689619"/>
                </a:lnTo>
                <a:lnTo>
                  <a:pt x="5450662" y="4692150"/>
                </a:lnTo>
                <a:lnTo>
                  <a:pt x="5556172" y="4719988"/>
                </a:lnTo>
                <a:lnTo>
                  <a:pt x="5662760" y="4737703"/>
                </a:lnTo>
                <a:lnTo>
                  <a:pt x="5770423" y="4750357"/>
                </a:lnTo>
                <a:lnTo>
                  <a:pt x="5877010" y="4765543"/>
                </a:lnTo>
                <a:lnTo>
                  <a:pt x="5877010" y="4823750"/>
                </a:lnTo>
                <a:lnTo>
                  <a:pt x="5407597" y="4823750"/>
                </a:lnTo>
                <a:lnTo>
                  <a:pt x="5407597" y="4884489"/>
                </a:lnTo>
                <a:lnTo>
                  <a:pt x="5727358" y="4884489"/>
                </a:lnTo>
                <a:lnTo>
                  <a:pt x="5729511" y="4940166"/>
                </a:lnTo>
                <a:lnTo>
                  <a:pt x="5659530" y="4968005"/>
                </a:lnTo>
                <a:lnTo>
                  <a:pt x="5588472" y="4998375"/>
                </a:lnTo>
                <a:lnTo>
                  <a:pt x="5514184" y="5026213"/>
                </a:lnTo>
                <a:lnTo>
                  <a:pt x="5522797" y="5048991"/>
                </a:lnTo>
                <a:lnTo>
                  <a:pt x="5531410" y="5071767"/>
                </a:lnTo>
                <a:lnTo>
                  <a:pt x="5542176" y="5099605"/>
                </a:lnTo>
                <a:lnTo>
                  <a:pt x="5555096" y="5132506"/>
                </a:lnTo>
                <a:lnTo>
                  <a:pt x="5572322" y="5175529"/>
                </a:lnTo>
                <a:lnTo>
                  <a:pt x="5412980" y="5193245"/>
                </a:lnTo>
                <a:lnTo>
                  <a:pt x="5255791" y="5203368"/>
                </a:lnTo>
                <a:lnTo>
                  <a:pt x="5099679" y="5213491"/>
                </a:lnTo>
                <a:lnTo>
                  <a:pt x="4944643" y="5213491"/>
                </a:lnTo>
                <a:lnTo>
                  <a:pt x="4789607" y="5203368"/>
                </a:lnTo>
                <a:lnTo>
                  <a:pt x="4635648" y="5183122"/>
                </a:lnTo>
                <a:lnTo>
                  <a:pt x="4482766" y="5152752"/>
                </a:lnTo>
                <a:lnTo>
                  <a:pt x="4372609" y="5119930"/>
                </a:lnTo>
                <a:lnTo>
                  <a:pt x="4370863" y="5125374"/>
                </a:lnTo>
                <a:lnTo>
                  <a:pt x="4339410" y="5227031"/>
                </a:lnTo>
                <a:lnTo>
                  <a:pt x="4327822" y="5183903"/>
                </a:lnTo>
                <a:lnTo>
                  <a:pt x="4317889" y="5148478"/>
                </a:lnTo>
                <a:lnTo>
                  <a:pt x="4310440" y="5117673"/>
                </a:lnTo>
                <a:lnTo>
                  <a:pt x="4304692" y="5097469"/>
                </a:lnTo>
                <a:lnTo>
                  <a:pt x="4179154" y="5048991"/>
                </a:lnTo>
                <a:lnTo>
                  <a:pt x="4028425" y="4975597"/>
                </a:lnTo>
                <a:lnTo>
                  <a:pt x="3878772" y="4881958"/>
                </a:lnTo>
                <a:lnTo>
                  <a:pt x="3865853" y="4947759"/>
                </a:lnTo>
                <a:lnTo>
                  <a:pt x="3905688" y="4998375"/>
                </a:lnTo>
                <a:lnTo>
                  <a:pt x="3945524" y="5048991"/>
                </a:lnTo>
                <a:lnTo>
                  <a:pt x="3985359" y="5094544"/>
                </a:lnTo>
                <a:lnTo>
                  <a:pt x="4019812" y="5127445"/>
                </a:lnTo>
                <a:lnTo>
                  <a:pt x="4055341" y="5160345"/>
                </a:lnTo>
                <a:lnTo>
                  <a:pt x="4088716" y="5203368"/>
                </a:lnTo>
                <a:lnTo>
                  <a:pt x="4122092" y="5256514"/>
                </a:lnTo>
                <a:lnTo>
                  <a:pt x="3912148" y="5172998"/>
                </a:lnTo>
                <a:lnTo>
                  <a:pt x="3905688" y="5226145"/>
                </a:lnTo>
                <a:lnTo>
                  <a:pt x="3954137" y="5261576"/>
                </a:lnTo>
                <a:lnTo>
                  <a:pt x="4003662" y="5299538"/>
                </a:lnTo>
                <a:lnTo>
                  <a:pt x="4055341" y="5340031"/>
                </a:lnTo>
                <a:lnTo>
                  <a:pt x="4045651" y="5360278"/>
                </a:lnTo>
                <a:lnTo>
                  <a:pt x="4033808" y="5372930"/>
                </a:lnTo>
                <a:lnTo>
                  <a:pt x="4019812" y="5380523"/>
                </a:lnTo>
                <a:lnTo>
                  <a:pt x="4006892" y="5383053"/>
                </a:lnTo>
                <a:lnTo>
                  <a:pt x="3993973" y="5380523"/>
                </a:lnTo>
                <a:lnTo>
                  <a:pt x="3981053" y="5372930"/>
                </a:lnTo>
                <a:lnTo>
                  <a:pt x="3965980" y="5370400"/>
                </a:lnTo>
                <a:lnTo>
                  <a:pt x="3953060" y="5367869"/>
                </a:lnTo>
                <a:lnTo>
                  <a:pt x="3941217" y="5367869"/>
                </a:lnTo>
                <a:lnTo>
                  <a:pt x="3930451" y="5375461"/>
                </a:lnTo>
                <a:lnTo>
                  <a:pt x="3919685" y="5390647"/>
                </a:lnTo>
                <a:lnTo>
                  <a:pt x="3911072" y="5413424"/>
                </a:lnTo>
                <a:lnTo>
                  <a:pt x="3903535" y="5446324"/>
                </a:lnTo>
                <a:lnTo>
                  <a:pt x="3899228" y="5494409"/>
                </a:lnTo>
                <a:lnTo>
                  <a:pt x="3920761" y="5527309"/>
                </a:lnTo>
                <a:lnTo>
                  <a:pt x="3944447" y="5557679"/>
                </a:lnTo>
                <a:lnTo>
                  <a:pt x="3971363" y="5595641"/>
                </a:lnTo>
                <a:lnTo>
                  <a:pt x="3935834" y="5610824"/>
                </a:lnTo>
                <a:lnTo>
                  <a:pt x="3902458" y="5631071"/>
                </a:lnTo>
                <a:lnTo>
                  <a:pt x="3870159" y="5646255"/>
                </a:lnTo>
                <a:lnTo>
                  <a:pt x="3838937" y="5653848"/>
                </a:lnTo>
                <a:lnTo>
                  <a:pt x="3808791" y="5648787"/>
                </a:lnTo>
                <a:lnTo>
                  <a:pt x="3733902" y="5617140"/>
                </a:lnTo>
                <a:lnTo>
                  <a:pt x="3728005" y="5619148"/>
                </a:lnTo>
                <a:cubicBezTo>
                  <a:pt x="3720879" y="5619819"/>
                  <a:pt x="3714180" y="5617986"/>
                  <a:pt x="3708449" y="5614385"/>
                </a:cubicBezTo>
                <a:lnTo>
                  <a:pt x="3695631" y="5600051"/>
                </a:lnTo>
                <a:lnTo>
                  <a:pt x="3628780" y="5568270"/>
                </a:lnTo>
                <a:lnTo>
                  <a:pt x="3620352" y="5584557"/>
                </a:lnTo>
                <a:cubicBezTo>
                  <a:pt x="3614853" y="5579807"/>
                  <a:pt x="3609703" y="5574179"/>
                  <a:pt x="3605772" y="5567093"/>
                </a:cubicBezTo>
                <a:lnTo>
                  <a:pt x="3602633" y="5555761"/>
                </a:lnTo>
                <a:lnTo>
                  <a:pt x="3569815" y="5539982"/>
                </a:lnTo>
                <a:lnTo>
                  <a:pt x="3569391" y="5541396"/>
                </a:lnTo>
                <a:lnTo>
                  <a:pt x="3568461" y="5540983"/>
                </a:lnTo>
                <a:lnTo>
                  <a:pt x="3572489" y="5544803"/>
                </a:lnTo>
                <a:cubicBezTo>
                  <a:pt x="3577446" y="5550585"/>
                  <a:pt x="3581473" y="5557400"/>
                  <a:pt x="3583332" y="5566900"/>
                </a:cubicBezTo>
                <a:cubicBezTo>
                  <a:pt x="3573418" y="5567261"/>
                  <a:pt x="3566719" y="5561221"/>
                  <a:pt x="3562440" y="5553464"/>
                </a:cubicBezTo>
                <a:lnTo>
                  <a:pt x="3557193" y="5533913"/>
                </a:lnTo>
                <a:lnTo>
                  <a:pt x="3522405" y="5517187"/>
                </a:lnTo>
                <a:lnTo>
                  <a:pt x="3520481" y="5516158"/>
                </a:lnTo>
                <a:lnTo>
                  <a:pt x="3512389" y="5517956"/>
                </a:lnTo>
                <a:lnTo>
                  <a:pt x="3514868" y="5522190"/>
                </a:lnTo>
                <a:cubicBezTo>
                  <a:pt x="3512699" y="5522087"/>
                  <a:pt x="3510530" y="5521364"/>
                  <a:pt x="3508517" y="5520332"/>
                </a:cubicBezTo>
                <a:lnTo>
                  <a:pt x="3506968" y="5519196"/>
                </a:lnTo>
                <a:lnTo>
                  <a:pt x="3502631" y="5520125"/>
                </a:lnTo>
                <a:cubicBezTo>
                  <a:pt x="3500152" y="5523119"/>
                  <a:pt x="3497364" y="5525184"/>
                  <a:pt x="3494731" y="5526630"/>
                </a:cubicBezTo>
                <a:lnTo>
                  <a:pt x="3492407" y="5527146"/>
                </a:lnTo>
                <a:lnTo>
                  <a:pt x="3498913" y="5540570"/>
                </a:lnTo>
                <a:lnTo>
                  <a:pt x="3501081" y="5557710"/>
                </a:lnTo>
                <a:lnTo>
                  <a:pt x="3506193" y="5558949"/>
                </a:lnTo>
                <a:cubicBezTo>
                  <a:pt x="3514093" y="5559156"/>
                  <a:pt x="3521683" y="5555645"/>
                  <a:pt x="3530047" y="5561841"/>
                </a:cubicBezTo>
                <a:cubicBezTo>
                  <a:pt x="3527724" y="5565557"/>
                  <a:pt x="3520289" y="5567416"/>
                  <a:pt x="3513164" y="5566797"/>
                </a:cubicBezTo>
                <a:cubicBezTo>
                  <a:pt x="3509601" y="5566487"/>
                  <a:pt x="3506038" y="5565557"/>
                  <a:pt x="3503250" y="5563906"/>
                </a:cubicBezTo>
                <a:lnTo>
                  <a:pt x="3501546" y="5561531"/>
                </a:lnTo>
                <a:lnTo>
                  <a:pt x="3501856" y="5563286"/>
                </a:lnTo>
                <a:cubicBezTo>
                  <a:pt x="3501701" y="5571030"/>
                  <a:pt x="3500307" y="5578671"/>
                  <a:pt x="3497984" y="5586003"/>
                </a:cubicBezTo>
                <a:cubicBezTo>
                  <a:pt x="3492562" y="5603659"/>
                  <a:pt x="3481255" y="5619354"/>
                  <a:pt x="3465765" y="5629163"/>
                </a:cubicBezTo>
                <a:cubicBezTo>
                  <a:pt x="3453838" y="5637424"/>
                  <a:pt x="3441757" y="5640728"/>
                  <a:pt x="3429984" y="5640109"/>
                </a:cubicBezTo>
                <a:lnTo>
                  <a:pt x="3425492" y="5639386"/>
                </a:lnTo>
                <a:lnTo>
                  <a:pt x="3424253" y="5640418"/>
                </a:lnTo>
                <a:cubicBezTo>
                  <a:pt x="3422704" y="5641348"/>
                  <a:pt x="3421000" y="5642071"/>
                  <a:pt x="3419761" y="5642484"/>
                </a:cubicBezTo>
                <a:cubicBezTo>
                  <a:pt x="3419606" y="5641657"/>
                  <a:pt x="3420071" y="5640935"/>
                  <a:pt x="3420535" y="5640109"/>
                </a:cubicBezTo>
                <a:lnTo>
                  <a:pt x="3422085" y="5638766"/>
                </a:lnTo>
                <a:lnTo>
                  <a:pt x="3415579" y="5637631"/>
                </a:lnTo>
                <a:cubicBezTo>
                  <a:pt x="3401638" y="5633190"/>
                  <a:pt x="3388627" y="5623588"/>
                  <a:pt x="3377629" y="5610887"/>
                </a:cubicBezTo>
                <a:lnTo>
                  <a:pt x="3374996" y="5606550"/>
                </a:lnTo>
                <a:lnTo>
                  <a:pt x="3374377" y="5607067"/>
                </a:lnTo>
                <a:cubicBezTo>
                  <a:pt x="3374531" y="5607273"/>
                  <a:pt x="3374686" y="5607377"/>
                  <a:pt x="3374686" y="5607377"/>
                </a:cubicBezTo>
                <a:cubicBezTo>
                  <a:pt x="3374686" y="5607377"/>
                  <a:pt x="3373912" y="5606963"/>
                  <a:pt x="3373912" y="5606963"/>
                </a:cubicBezTo>
                <a:cubicBezTo>
                  <a:pt x="3373912" y="5606963"/>
                  <a:pt x="3373912" y="5606860"/>
                  <a:pt x="3371589" y="5607583"/>
                </a:cubicBezTo>
                <a:cubicBezTo>
                  <a:pt x="3369110" y="5609028"/>
                  <a:pt x="3368645" y="5609751"/>
                  <a:pt x="3367251" y="5610887"/>
                </a:cubicBezTo>
                <a:cubicBezTo>
                  <a:pt x="3365083" y="5611507"/>
                  <a:pt x="3364308" y="5611094"/>
                  <a:pt x="3361365" y="5611404"/>
                </a:cubicBezTo>
                <a:cubicBezTo>
                  <a:pt x="3360126" y="5609751"/>
                  <a:pt x="3360126" y="5609751"/>
                  <a:pt x="3360591" y="5609028"/>
                </a:cubicBezTo>
                <a:cubicBezTo>
                  <a:pt x="3360126" y="5609751"/>
                  <a:pt x="3359352" y="5609339"/>
                  <a:pt x="3358267" y="5609648"/>
                </a:cubicBezTo>
                <a:cubicBezTo>
                  <a:pt x="3354240" y="5612126"/>
                  <a:pt x="3351297" y="5608409"/>
                  <a:pt x="3348819" y="5603246"/>
                </a:cubicBezTo>
                <a:lnTo>
                  <a:pt x="3348974" y="5602110"/>
                </a:lnTo>
                <a:lnTo>
                  <a:pt x="3347424" y="5601078"/>
                </a:lnTo>
                <a:lnTo>
                  <a:pt x="3348664" y="5599322"/>
                </a:lnTo>
                <a:lnTo>
                  <a:pt x="3348354" y="5598187"/>
                </a:lnTo>
                <a:lnTo>
                  <a:pt x="3348664" y="5597670"/>
                </a:lnTo>
                <a:lnTo>
                  <a:pt x="3345256" y="5596844"/>
                </a:lnTo>
                <a:cubicBezTo>
                  <a:pt x="3346185" y="5594470"/>
                  <a:pt x="3346650" y="5593334"/>
                  <a:pt x="3346805" y="5591372"/>
                </a:cubicBezTo>
                <a:cubicBezTo>
                  <a:pt x="3348354" y="5591991"/>
                  <a:pt x="3349903" y="5592301"/>
                  <a:pt x="3351142" y="5592508"/>
                </a:cubicBezTo>
                <a:lnTo>
                  <a:pt x="3354395" y="5593127"/>
                </a:lnTo>
                <a:lnTo>
                  <a:pt x="3358887" y="5590029"/>
                </a:lnTo>
                <a:lnTo>
                  <a:pt x="3354550" y="5589513"/>
                </a:lnTo>
                <a:cubicBezTo>
                  <a:pt x="3351762" y="5588584"/>
                  <a:pt x="3349128" y="5587138"/>
                  <a:pt x="3346960" y="5585176"/>
                </a:cubicBezTo>
                <a:lnTo>
                  <a:pt x="3346340" y="5584453"/>
                </a:lnTo>
                <a:lnTo>
                  <a:pt x="3346960" y="5585899"/>
                </a:lnTo>
                <a:cubicBezTo>
                  <a:pt x="3346805" y="5587138"/>
                  <a:pt x="3346650" y="5587138"/>
                  <a:pt x="3346031" y="5587551"/>
                </a:cubicBezTo>
                <a:cubicBezTo>
                  <a:pt x="3345101" y="5589203"/>
                  <a:pt x="3344946" y="5590443"/>
                  <a:pt x="3343088" y="5590546"/>
                </a:cubicBezTo>
                <a:cubicBezTo>
                  <a:pt x="3341538" y="5590546"/>
                  <a:pt x="3340764" y="5589926"/>
                  <a:pt x="3340299" y="5588997"/>
                </a:cubicBezTo>
                <a:cubicBezTo>
                  <a:pt x="3339834" y="5588171"/>
                  <a:pt x="3339680" y="5586828"/>
                  <a:pt x="3339525" y="5585280"/>
                </a:cubicBezTo>
                <a:cubicBezTo>
                  <a:pt x="3339370" y="5582079"/>
                  <a:pt x="3342003" y="5581459"/>
                  <a:pt x="3342313" y="5578981"/>
                </a:cubicBezTo>
                <a:lnTo>
                  <a:pt x="3343707" y="5579910"/>
                </a:lnTo>
                <a:lnTo>
                  <a:pt x="3347889" y="5572786"/>
                </a:lnTo>
                <a:cubicBezTo>
                  <a:pt x="3349903" y="5570720"/>
                  <a:pt x="3352226" y="5569275"/>
                  <a:pt x="3354705" y="5568346"/>
                </a:cubicBezTo>
                <a:lnTo>
                  <a:pt x="3359506" y="5567519"/>
                </a:lnTo>
                <a:lnTo>
                  <a:pt x="3356409" y="5565351"/>
                </a:lnTo>
                <a:cubicBezTo>
                  <a:pt x="3353311" y="5562253"/>
                  <a:pt x="3350522" y="5558226"/>
                  <a:pt x="3348509" y="5552960"/>
                </a:cubicBezTo>
                <a:lnTo>
                  <a:pt x="3349903" y="5550999"/>
                </a:lnTo>
                <a:lnTo>
                  <a:pt x="3347579" y="5551308"/>
                </a:lnTo>
                <a:cubicBezTo>
                  <a:pt x="3340764" y="5552238"/>
                  <a:pt x="3334103" y="5552444"/>
                  <a:pt x="3327598" y="5552651"/>
                </a:cubicBezTo>
                <a:lnTo>
                  <a:pt x="3327133" y="5552651"/>
                </a:lnTo>
                <a:lnTo>
                  <a:pt x="3336427" y="5557710"/>
                </a:lnTo>
                <a:cubicBezTo>
                  <a:pt x="3339834" y="5560085"/>
                  <a:pt x="3342932" y="5563183"/>
                  <a:pt x="3345411" y="5567726"/>
                </a:cubicBezTo>
                <a:cubicBezTo>
                  <a:pt x="3338286" y="5569688"/>
                  <a:pt x="3332244" y="5563492"/>
                  <a:pt x="3328527" y="5557504"/>
                </a:cubicBezTo>
                <a:lnTo>
                  <a:pt x="3326204" y="5552651"/>
                </a:lnTo>
                <a:lnTo>
                  <a:pt x="3316755" y="5552341"/>
                </a:lnTo>
                <a:cubicBezTo>
                  <a:pt x="3313967" y="5552238"/>
                  <a:pt x="3309785" y="5551721"/>
                  <a:pt x="3306222" y="5551412"/>
                </a:cubicBezTo>
                <a:cubicBezTo>
                  <a:pt x="3304054" y="5551412"/>
                  <a:pt x="3305138" y="5554716"/>
                  <a:pt x="3304363" y="5556781"/>
                </a:cubicBezTo>
                <a:lnTo>
                  <a:pt x="3298787" y="5556781"/>
                </a:lnTo>
                <a:lnTo>
                  <a:pt x="3300491" y="5559569"/>
                </a:lnTo>
                <a:cubicBezTo>
                  <a:pt x="3300801" y="5561014"/>
                  <a:pt x="3300646" y="5562770"/>
                  <a:pt x="3299871" y="5564938"/>
                </a:cubicBezTo>
                <a:cubicBezTo>
                  <a:pt x="3298632" y="5565764"/>
                  <a:pt x="3297393" y="5566384"/>
                  <a:pt x="3296154" y="5566590"/>
                </a:cubicBezTo>
                <a:cubicBezTo>
                  <a:pt x="3292591" y="5567313"/>
                  <a:pt x="3289338" y="5565454"/>
                  <a:pt x="3288874" y="5562253"/>
                </a:cubicBezTo>
                <a:cubicBezTo>
                  <a:pt x="3288719" y="5560808"/>
                  <a:pt x="3289029" y="5559156"/>
                  <a:pt x="3290113" y="5557297"/>
                </a:cubicBezTo>
                <a:lnTo>
                  <a:pt x="3292281" y="5556471"/>
                </a:lnTo>
                <a:lnTo>
                  <a:pt x="3285311" y="5555439"/>
                </a:lnTo>
                <a:cubicBezTo>
                  <a:pt x="3293211" y="5561634"/>
                  <a:pt x="3275243" y="5555335"/>
                  <a:pt x="3273229" y="5552444"/>
                </a:cubicBezTo>
                <a:cubicBezTo>
                  <a:pt x="3270441" y="5552341"/>
                  <a:pt x="3271680" y="5557297"/>
                  <a:pt x="3269202" y="5558020"/>
                </a:cubicBezTo>
                <a:cubicBezTo>
                  <a:pt x="3263006" y="5556884"/>
                  <a:pt x="3271525" y="5551205"/>
                  <a:pt x="3264865" y="5549140"/>
                </a:cubicBezTo>
                <a:cubicBezTo>
                  <a:pt x="3259908" y="5555129"/>
                  <a:pt x="3253248" y="5551515"/>
                  <a:pt x="3243644" y="5553890"/>
                </a:cubicBezTo>
                <a:cubicBezTo>
                  <a:pt x="3239307" y="5551824"/>
                  <a:pt x="3250769" y="5552341"/>
                  <a:pt x="3252473" y="5551412"/>
                </a:cubicBezTo>
                <a:cubicBezTo>
                  <a:pt x="3254177" y="5544390"/>
                  <a:pt x="3243179" y="5546972"/>
                  <a:pt x="3237758" y="5546042"/>
                </a:cubicBezTo>
                <a:lnTo>
                  <a:pt x="3237603" y="5546042"/>
                </a:lnTo>
                <a:lnTo>
                  <a:pt x="3238223" y="5551515"/>
                </a:lnTo>
                <a:cubicBezTo>
                  <a:pt x="3240081" y="5557813"/>
                  <a:pt x="3243954" y="5563286"/>
                  <a:pt x="3239462" y="5568758"/>
                </a:cubicBezTo>
                <a:cubicBezTo>
                  <a:pt x="3237138" y="5565351"/>
                  <a:pt x="3234660" y="5562150"/>
                  <a:pt x="3232801" y="5558330"/>
                </a:cubicBezTo>
                <a:cubicBezTo>
                  <a:pt x="3231872" y="5556471"/>
                  <a:pt x="3231098" y="5554406"/>
                  <a:pt x="3230787" y="5552031"/>
                </a:cubicBezTo>
                <a:lnTo>
                  <a:pt x="3230633" y="5550276"/>
                </a:lnTo>
                <a:lnTo>
                  <a:pt x="3228929" y="5548314"/>
                </a:lnTo>
                <a:cubicBezTo>
                  <a:pt x="3227225" y="5546558"/>
                  <a:pt x="3224902" y="5545113"/>
                  <a:pt x="3219635" y="5545732"/>
                </a:cubicBezTo>
                <a:cubicBezTo>
                  <a:pt x="3214988" y="5546558"/>
                  <a:pt x="3222113" y="5549450"/>
                  <a:pt x="3217776" y="5551205"/>
                </a:cubicBezTo>
                <a:lnTo>
                  <a:pt x="3214678" y="5548933"/>
                </a:lnTo>
                <a:lnTo>
                  <a:pt x="3214523" y="5551308"/>
                </a:lnTo>
                <a:cubicBezTo>
                  <a:pt x="3215298" y="5556987"/>
                  <a:pt x="3219016" y="5559362"/>
                  <a:pt x="3221184" y="5563183"/>
                </a:cubicBezTo>
                <a:cubicBezTo>
                  <a:pt x="3216382" y="5569791"/>
                  <a:pt x="3215763" y="5580323"/>
                  <a:pt x="3212355" y="5588893"/>
                </a:cubicBezTo>
                <a:cubicBezTo>
                  <a:pt x="3202441" y="5593437"/>
                  <a:pt x="3195316" y="5599942"/>
                  <a:pt x="3185248" y="5604485"/>
                </a:cubicBezTo>
                <a:cubicBezTo>
                  <a:pt x="3183080" y="5602937"/>
                  <a:pt x="3180446" y="5601904"/>
                  <a:pt x="3177503" y="5601181"/>
                </a:cubicBezTo>
                <a:lnTo>
                  <a:pt x="3170843" y="5599736"/>
                </a:lnTo>
                <a:lnTo>
                  <a:pt x="3171927" y="5603453"/>
                </a:lnTo>
                <a:cubicBezTo>
                  <a:pt x="3172702" y="5604898"/>
                  <a:pt x="3173321" y="5606654"/>
                  <a:pt x="3173166" y="5610061"/>
                </a:cubicBezTo>
                <a:cubicBezTo>
                  <a:pt x="3173011" y="5618735"/>
                  <a:pt x="3167435" y="5620283"/>
                  <a:pt x="3163098" y="5619871"/>
                </a:cubicBezTo>
                <a:cubicBezTo>
                  <a:pt x="3163253" y="5619561"/>
                  <a:pt x="3162788" y="5619354"/>
                  <a:pt x="3162323" y="5619148"/>
                </a:cubicBezTo>
                <a:lnTo>
                  <a:pt x="3160619" y="5618425"/>
                </a:lnTo>
                <a:lnTo>
                  <a:pt x="3157986" y="5619457"/>
                </a:lnTo>
                <a:cubicBezTo>
                  <a:pt x="3157212" y="5619354"/>
                  <a:pt x="3156437" y="5618941"/>
                  <a:pt x="3155508" y="5618115"/>
                </a:cubicBezTo>
                <a:cubicBezTo>
                  <a:pt x="3154579" y="5618218"/>
                  <a:pt x="3153340" y="5614811"/>
                  <a:pt x="3153959" y="5613882"/>
                </a:cubicBezTo>
                <a:lnTo>
                  <a:pt x="3154733" y="5613159"/>
                </a:lnTo>
                <a:lnTo>
                  <a:pt x="3153340" y="5607996"/>
                </a:lnTo>
                <a:cubicBezTo>
                  <a:pt x="3153340" y="5606860"/>
                  <a:pt x="3153649" y="5605827"/>
                  <a:pt x="3153804" y="5604692"/>
                </a:cubicBezTo>
                <a:cubicBezTo>
                  <a:pt x="3153495" y="5606550"/>
                  <a:pt x="3153029" y="5608409"/>
                  <a:pt x="3152565" y="5609648"/>
                </a:cubicBezTo>
                <a:lnTo>
                  <a:pt x="3151791" y="5611404"/>
                </a:lnTo>
                <a:lnTo>
                  <a:pt x="3152720" y="5611507"/>
                </a:lnTo>
                <a:lnTo>
                  <a:pt x="3151636" y="5612436"/>
                </a:lnTo>
                <a:lnTo>
                  <a:pt x="3151636" y="5612539"/>
                </a:lnTo>
                <a:cubicBezTo>
                  <a:pt x="3150706" y="5612539"/>
                  <a:pt x="3150706" y="5613469"/>
                  <a:pt x="3151636" y="5613469"/>
                </a:cubicBezTo>
                <a:cubicBezTo>
                  <a:pt x="3150551" y="5614708"/>
                  <a:pt x="3149932" y="5615844"/>
                  <a:pt x="3149157" y="5616360"/>
                </a:cubicBezTo>
                <a:lnTo>
                  <a:pt x="3148383" y="5616256"/>
                </a:lnTo>
                <a:lnTo>
                  <a:pt x="3148538" y="5621006"/>
                </a:lnTo>
                <a:lnTo>
                  <a:pt x="3148228" y="5622452"/>
                </a:lnTo>
                <a:lnTo>
                  <a:pt x="3148693" y="5622761"/>
                </a:lnTo>
                <a:lnTo>
                  <a:pt x="3148073" y="5623484"/>
                </a:lnTo>
                <a:lnTo>
                  <a:pt x="3147298" y="5627924"/>
                </a:lnTo>
                <a:cubicBezTo>
                  <a:pt x="3146524" y="5629783"/>
                  <a:pt x="3145440" y="5630919"/>
                  <a:pt x="3143581" y="5631229"/>
                </a:cubicBezTo>
                <a:lnTo>
                  <a:pt x="3142807" y="5625343"/>
                </a:lnTo>
                <a:lnTo>
                  <a:pt x="3142497" y="5625033"/>
                </a:lnTo>
                <a:lnTo>
                  <a:pt x="3142651" y="5624620"/>
                </a:lnTo>
                <a:lnTo>
                  <a:pt x="3142032" y="5617806"/>
                </a:lnTo>
                <a:lnTo>
                  <a:pt x="3143116" y="5611197"/>
                </a:lnTo>
                <a:lnTo>
                  <a:pt x="3142187" y="5611094"/>
                </a:lnTo>
                <a:cubicBezTo>
                  <a:pt x="3138934" y="5611610"/>
                  <a:pt x="3134597" y="5614501"/>
                  <a:pt x="3129950" y="5610474"/>
                </a:cubicBezTo>
                <a:cubicBezTo>
                  <a:pt x="3131809" y="5608719"/>
                  <a:pt x="3128866" y="5604279"/>
                  <a:pt x="3131654" y="5601801"/>
                </a:cubicBezTo>
                <a:cubicBezTo>
                  <a:pt x="3137385" y="5595295"/>
                  <a:pt x="3140173" y="5594676"/>
                  <a:pt x="3143426" y="5595915"/>
                </a:cubicBezTo>
                <a:lnTo>
                  <a:pt x="3143736" y="5596121"/>
                </a:lnTo>
                <a:lnTo>
                  <a:pt x="3148693" y="5596121"/>
                </a:lnTo>
                <a:lnTo>
                  <a:pt x="3149467" y="5597670"/>
                </a:lnTo>
                <a:cubicBezTo>
                  <a:pt x="3150241" y="5596844"/>
                  <a:pt x="3151171" y="5596018"/>
                  <a:pt x="3152410" y="5596948"/>
                </a:cubicBezTo>
                <a:cubicBezTo>
                  <a:pt x="3154114" y="5598600"/>
                  <a:pt x="3154424" y="5600975"/>
                  <a:pt x="3154269" y="5603349"/>
                </a:cubicBezTo>
                <a:cubicBezTo>
                  <a:pt x="3155353" y="5599736"/>
                  <a:pt x="3158296" y="5597154"/>
                  <a:pt x="3164492" y="5598393"/>
                </a:cubicBezTo>
                <a:cubicBezTo>
                  <a:pt x="3166351" y="5598290"/>
                  <a:pt x="3165731" y="5598703"/>
                  <a:pt x="3166816" y="5599013"/>
                </a:cubicBezTo>
                <a:lnTo>
                  <a:pt x="3168055" y="5599116"/>
                </a:lnTo>
                <a:lnTo>
                  <a:pt x="3159845" y="5596225"/>
                </a:lnTo>
                <a:cubicBezTo>
                  <a:pt x="3157367" y="5594779"/>
                  <a:pt x="3155198" y="5592714"/>
                  <a:pt x="3153959" y="5589720"/>
                </a:cubicBezTo>
                <a:cubicBezTo>
                  <a:pt x="3155198" y="5584247"/>
                  <a:pt x="3154579" y="5580633"/>
                  <a:pt x="3153495" y="5577639"/>
                </a:cubicBezTo>
                <a:lnTo>
                  <a:pt x="3153340" y="5577225"/>
                </a:lnTo>
                <a:lnTo>
                  <a:pt x="3153185" y="5577432"/>
                </a:lnTo>
                <a:cubicBezTo>
                  <a:pt x="3153029" y="5577536"/>
                  <a:pt x="3153029" y="5577329"/>
                  <a:pt x="3152720" y="5576916"/>
                </a:cubicBezTo>
                <a:cubicBezTo>
                  <a:pt x="3152720" y="5576916"/>
                  <a:pt x="3152565" y="5576916"/>
                  <a:pt x="3151945" y="5575986"/>
                </a:cubicBezTo>
                <a:cubicBezTo>
                  <a:pt x="3151945" y="5575986"/>
                  <a:pt x="3151791" y="5575986"/>
                  <a:pt x="3151791" y="5575677"/>
                </a:cubicBezTo>
                <a:lnTo>
                  <a:pt x="3152410" y="5574644"/>
                </a:lnTo>
                <a:lnTo>
                  <a:pt x="3151791" y="5573199"/>
                </a:lnTo>
                <a:cubicBezTo>
                  <a:pt x="3151171" y="5571753"/>
                  <a:pt x="3150706" y="5570308"/>
                  <a:pt x="3150396" y="5568552"/>
                </a:cubicBezTo>
                <a:cubicBezTo>
                  <a:pt x="3151636" y="5564938"/>
                  <a:pt x="3153495" y="5561014"/>
                  <a:pt x="3155508" y="5557194"/>
                </a:cubicBezTo>
                <a:lnTo>
                  <a:pt x="3157676" y="5553993"/>
                </a:lnTo>
                <a:lnTo>
                  <a:pt x="3159226" y="5550999"/>
                </a:lnTo>
                <a:lnTo>
                  <a:pt x="3159380" y="5550689"/>
                </a:lnTo>
                <a:lnTo>
                  <a:pt x="3160465" y="5543564"/>
                </a:lnTo>
                <a:cubicBezTo>
                  <a:pt x="3161239" y="5541292"/>
                  <a:pt x="3162633" y="5539227"/>
                  <a:pt x="3164647" y="5537575"/>
                </a:cubicBezTo>
                <a:cubicBezTo>
                  <a:pt x="3165886" y="5536749"/>
                  <a:pt x="3167125" y="5536233"/>
                  <a:pt x="3168364" y="5535923"/>
                </a:cubicBezTo>
                <a:lnTo>
                  <a:pt x="3171152" y="5535613"/>
                </a:lnTo>
                <a:lnTo>
                  <a:pt x="3169759" y="5534890"/>
                </a:lnTo>
                <a:cubicBezTo>
                  <a:pt x="3165731" y="5531380"/>
                  <a:pt x="3175954" y="5531483"/>
                  <a:pt x="3171772" y="5526423"/>
                </a:cubicBezTo>
                <a:cubicBezTo>
                  <a:pt x="3170843" y="5527869"/>
                  <a:pt x="3169759" y="5531793"/>
                  <a:pt x="3166506" y="5531174"/>
                </a:cubicBezTo>
                <a:lnTo>
                  <a:pt x="3162788" y="5529005"/>
                </a:lnTo>
                <a:cubicBezTo>
                  <a:pt x="3162169" y="5529521"/>
                  <a:pt x="3160929" y="5529728"/>
                  <a:pt x="3158761" y="5529315"/>
                </a:cubicBezTo>
                <a:cubicBezTo>
                  <a:pt x="3158296" y="5526011"/>
                  <a:pt x="3158916" y="5524565"/>
                  <a:pt x="3159690" y="5524152"/>
                </a:cubicBezTo>
                <a:cubicBezTo>
                  <a:pt x="3160774" y="5523532"/>
                  <a:pt x="3162633" y="5525184"/>
                  <a:pt x="3163253" y="5526940"/>
                </a:cubicBezTo>
                <a:lnTo>
                  <a:pt x="3162943" y="5528489"/>
                </a:lnTo>
                <a:lnTo>
                  <a:pt x="3166970" y="5526320"/>
                </a:lnTo>
                <a:cubicBezTo>
                  <a:pt x="3168519" y="5525288"/>
                  <a:pt x="3169913" y="5523532"/>
                  <a:pt x="3169759" y="5519712"/>
                </a:cubicBezTo>
                <a:cubicBezTo>
                  <a:pt x="3167590" y="5519815"/>
                  <a:pt x="3166506" y="5518783"/>
                  <a:pt x="3166661" y="5518060"/>
                </a:cubicBezTo>
                <a:lnTo>
                  <a:pt x="3164802" y="5518370"/>
                </a:lnTo>
                <a:lnTo>
                  <a:pt x="3164957" y="5518576"/>
                </a:lnTo>
                <a:lnTo>
                  <a:pt x="3163408" y="5519092"/>
                </a:lnTo>
                <a:lnTo>
                  <a:pt x="3163253" y="5520745"/>
                </a:lnTo>
                <a:cubicBezTo>
                  <a:pt x="3163408" y="5522396"/>
                  <a:pt x="3163563" y="5523945"/>
                  <a:pt x="3160000" y="5522810"/>
                </a:cubicBezTo>
                <a:lnTo>
                  <a:pt x="3160619" y="5520228"/>
                </a:lnTo>
                <a:lnTo>
                  <a:pt x="3156902" y="5521674"/>
                </a:lnTo>
                <a:cubicBezTo>
                  <a:pt x="3154579" y="5521364"/>
                  <a:pt x="3152875" y="5519609"/>
                  <a:pt x="3151636" y="5516305"/>
                </a:cubicBezTo>
                <a:lnTo>
                  <a:pt x="3155043" y="5513620"/>
                </a:lnTo>
                <a:lnTo>
                  <a:pt x="3149467" y="5511245"/>
                </a:lnTo>
                <a:cubicBezTo>
                  <a:pt x="3149932" y="5509903"/>
                  <a:pt x="3151636" y="5510109"/>
                  <a:pt x="3153649" y="5510625"/>
                </a:cubicBezTo>
                <a:lnTo>
                  <a:pt x="3157367" y="5511555"/>
                </a:lnTo>
                <a:lnTo>
                  <a:pt x="3158606" y="5510522"/>
                </a:lnTo>
                <a:lnTo>
                  <a:pt x="3157367" y="5507528"/>
                </a:lnTo>
                <a:cubicBezTo>
                  <a:pt x="3155508" y="5506598"/>
                  <a:pt x="3153029" y="5505979"/>
                  <a:pt x="3150706" y="5505669"/>
                </a:cubicBezTo>
                <a:cubicBezTo>
                  <a:pt x="3146834" y="5502158"/>
                  <a:pt x="3160000" y="5507734"/>
                  <a:pt x="3160929" y="5505049"/>
                </a:cubicBezTo>
                <a:cubicBezTo>
                  <a:pt x="3156592" y="5502984"/>
                  <a:pt x="3148693" y="5500506"/>
                  <a:pt x="3140328" y="5499474"/>
                </a:cubicBezTo>
                <a:lnTo>
                  <a:pt x="3139244" y="5499371"/>
                </a:lnTo>
                <a:lnTo>
                  <a:pt x="3135216" y="5507011"/>
                </a:lnTo>
                <a:cubicBezTo>
                  <a:pt x="3133048" y="5510212"/>
                  <a:pt x="3130725" y="5513000"/>
                  <a:pt x="3128556" y="5514962"/>
                </a:cubicBezTo>
                <a:cubicBezTo>
                  <a:pt x="3126852" y="5511142"/>
                  <a:pt x="3126078" y="5506805"/>
                  <a:pt x="3126078" y="5502572"/>
                </a:cubicBezTo>
                <a:lnTo>
                  <a:pt x="3126542" y="5499990"/>
                </a:lnTo>
                <a:lnTo>
                  <a:pt x="3120656" y="5502365"/>
                </a:lnTo>
                <a:cubicBezTo>
                  <a:pt x="3119882" y="5502158"/>
                  <a:pt x="3118952" y="5501642"/>
                  <a:pt x="3118023" y="5501126"/>
                </a:cubicBezTo>
                <a:lnTo>
                  <a:pt x="3115235" y="5499267"/>
                </a:lnTo>
                <a:lnTo>
                  <a:pt x="3114461" y="5500300"/>
                </a:lnTo>
                <a:lnTo>
                  <a:pt x="3113686" y="5499061"/>
                </a:lnTo>
                <a:lnTo>
                  <a:pt x="3112757" y="5499061"/>
                </a:lnTo>
                <a:cubicBezTo>
                  <a:pt x="3111982" y="5499371"/>
                  <a:pt x="3111208" y="5499783"/>
                  <a:pt x="3110898" y="5500816"/>
                </a:cubicBezTo>
                <a:lnTo>
                  <a:pt x="3105012" y="5495963"/>
                </a:lnTo>
                <a:lnTo>
                  <a:pt x="3104857" y="5497512"/>
                </a:lnTo>
                <a:cubicBezTo>
                  <a:pt x="3103928" y="5499164"/>
                  <a:pt x="3102069" y="5500506"/>
                  <a:pt x="3100829" y="5500196"/>
                </a:cubicBezTo>
                <a:cubicBezTo>
                  <a:pt x="3099745" y="5499887"/>
                  <a:pt x="3099126" y="5499164"/>
                  <a:pt x="3099126" y="5499164"/>
                </a:cubicBezTo>
                <a:cubicBezTo>
                  <a:pt x="3099126" y="5497615"/>
                  <a:pt x="3099281" y="5496170"/>
                  <a:pt x="3099900" y="5495137"/>
                </a:cubicBezTo>
                <a:lnTo>
                  <a:pt x="3102533" y="5494414"/>
                </a:lnTo>
                <a:lnTo>
                  <a:pt x="3093705" y="5491833"/>
                </a:lnTo>
                <a:lnTo>
                  <a:pt x="3091226" y="5491420"/>
                </a:lnTo>
                <a:lnTo>
                  <a:pt x="3088438" y="5493382"/>
                </a:lnTo>
                <a:cubicBezTo>
                  <a:pt x="3087973" y="5492659"/>
                  <a:pt x="3087199" y="5493072"/>
                  <a:pt x="3086734" y="5492349"/>
                </a:cubicBezTo>
                <a:cubicBezTo>
                  <a:pt x="3086734" y="5492349"/>
                  <a:pt x="3085960" y="5491729"/>
                  <a:pt x="3085030" y="5490697"/>
                </a:cubicBezTo>
                <a:lnTo>
                  <a:pt x="3085030" y="5490593"/>
                </a:lnTo>
                <a:lnTo>
                  <a:pt x="3084720" y="5490490"/>
                </a:lnTo>
                <a:cubicBezTo>
                  <a:pt x="3082087" y="5489768"/>
                  <a:pt x="3079454" y="5488838"/>
                  <a:pt x="3078525" y="5487083"/>
                </a:cubicBezTo>
                <a:cubicBezTo>
                  <a:pt x="3079764" y="5486773"/>
                  <a:pt x="3081468" y="5486877"/>
                  <a:pt x="3083016" y="5486877"/>
                </a:cubicBezTo>
                <a:lnTo>
                  <a:pt x="3083791" y="5486773"/>
                </a:lnTo>
                <a:lnTo>
                  <a:pt x="3083481" y="5485947"/>
                </a:lnTo>
                <a:cubicBezTo>
                  <a:pt x="3083636" y="5484708"/>
                  <a:pt x="3084720" y="5481920"/>
                  <a:pt x="3085185" y="5482643"/>
                </a:cubicBezTo>
                <a:cubicBezTo>
                  <a:pt x="3086424" y="5482953"/>
                  <a:pt x="3085960" y="5482230"/>
                  <a:pt x="3086579" y="5481714"/>
                </a:cubicBezTo>
                <a:lnTo>
                  <a:pt x="3087044" y="5481920"/>
                </a:lnTo>
                <a:lnTo>
                  <a:pt x="3087508" y="5477893"/>
                </a:lnTo>
                <a:cubicBezTo>
                  <a:pt x="3076821" y="5475312"/>
                  <a:pt x="3067217" y="5469323"/>
                  <a:pt x="3057459" y="5464057"/>
                </a:cubicBezTo>
                <a:lnTo>
                  <a:pt x="3051418" y="5461062"/>
                </a:lnTo>
                <a:lnTo>
                  <a:pt x="3049869" y="5463024"/>
                </a:lnTo>
                <a:cubicBezTo>
                  <a:pt x="3048475" y="5461992"/>
                  <a:pt x="3047700" y="5461062"/>
                  <a:pt x="3046461" y="5459204"/>
                </a:cubicBezTo>
                <a:lnTo>
                  <a:pt x="3046926" y="5458687"/>
                </a:lnTo>
                <a:lnTo>
                  <a:pt x="3042744" y="5456622"/>
                </a:lnTo>
                <a:lnTo>
                  <a:pt x="3042124" y="5456416"/>
                </a:lnTo>
                <a:lnTo>
                  <a:pt x="3041505" y="5457965"/>
                </a:lnTo>
                <a:cubicBezTo>
                  <a:pt x="3041194" y="5458894"/>
                  <a:pt x="3040420" y="5459307"/>
                  <a:pt x="3039491" y="5459514"/>
                </a:cubicBezTo>
                <a:cubicBezTo>
                  <a:pt x="3038561" y="5459617"/>
                  <a:pt x="3037477" y="5459514"/>
                  <a:pt x="3036703" y="5459204"/>
                </a:cubicBezTo>
                <a:cubicBezTo>
                  <a:pt x="3035773" y="5458378"/>
                  <a:pt x="3035618" y="5458275"/>
                  <a:pt x="3034689" y="5457448"/>
                </a:cubicBezTo>
                <a:cubicBezTo>
                  <a:pt x="3034534" y="5456622"/>
                  <a:pt x="3034224" y="5455796"/>
                  <a:pt x="3034069" y="5454970"/>
                </a:cubicBezTo>
                <a:lnTo>
                  <a:pt x="3034069" y="5453835"/>
                </a:lnTo>
                <a:lnTo>
                  <a:pt x="3029577" y="5452492"/>
                </a:lnTo>
                <a:lnTo>
                  <a:pt x="3027254" y="5456519"/>
                </a:lnTo>
                <a:cubicBezTo>
                  <a:pt x="3025860" y="5458171"/>
                  <a:pt x="3024001" y="5459307"/>
                  <a:pt x="3021368" y="5459514"/>
                </a:cubicBezTo>
                <a:lnTo>
                  <a:pt x="3024466" y="5448155"/>
                </a:lnTo>
                <a:lnTo>
                  <a:pt x="3021678" y="5445058"/>
                </a:lnTo>
                <a:cubicBezTo>
                  <a:pt x="3019509" y="5443302"/>
                  <a:pt x="3017495" y="5441960"/>
                  <a:pt x="3015482" y="5440514"/>
                </a:cubicBezTo>
                <a:lnTo>
                  <a:pt x="3014707" y="5440101"/>
                </a:lnTo>
                <a:lnTo>
                  <a:pt x="3014397" y="5441237"/>
                </a:lnTo>
                <a:cubicBezTo>
                  <a:pt x="3010680" y="5441753"/>
                  <a:pt x="3006653" y="5443922"/>
                  <a:pt x="3002780" y="5446297"/>
                </a:cubicBezTo>
                <a:lnTo>
                  <a:pt x="2995345" y="5450634"/>
                </a:lnTo>
                <a:lnTo>
                  <a:pt x="2994571" y="5451459"/>
                </a:lnTo>
                <a:cubicBezTo>
                  <a:pt x="3002161" y="5456829"/>
                  <a:pt x="3008666" y="5458791"/>
                  <a:pt x="3015017" y="5461476"/>
                </a:cubicBezTo>
                <a:cubicBezTo>
                  <a:pt x="3021523" y="5463541"/>
                  <a:pt x="3026325" y="5466535"/>
                  <a:pt x="3030816" y="5474692"/>
                </a:cubicBezTo>
                <a:cubicBezTo>
                  <a:pt x="3026325" y="5477067"/>
                  <a:pt x="3027873" y="5468497"/>
                  <a:pt x="3020438" y="5466948"/>
                </a:cubicBezTo>
                <a:cubicBezTo>
                  <a:pt x="3020283" y="5469116"/>
                  <a:pt x="3020903" y="5471181"/>
                  <a:pt x="3021833" y="5473143"/>
                </a:cubicBezTo>
                <a:lnTo>
                  <a:pt x="3024776" y="5477480"/>
                </a:lnTo>
                <a:lnTo>
                  <a:pt x="3026789" y="5476448"/>
                </a:lnTo>
                <a:cubicBezTo>
                  <a:pt x="3031436" y="5475518"/>
                  <a:pt x="3037012" y="5476757"/>
                  <a:pt x="3037167" y="5480061"/>
                </a:cubicBezTo>
                <a:cubicBezTo>
                  <a:pt x="3037322" y="5481301"/>
                  <a:pt x="3036703" y="5482849"/>
                  <a:pt x="3034844" y="5484605"/>
                </a:cubicBezTo>
                <a:lnTo>
                  <a:pt x="3034224" y="5485121"/>
                </a:lnTo>
                <a:lnTo>
                  <a:pt x="3036703" y="5487083"/>
                </a:lnTo>
                <a:cubicBezTo>
                  <a:pt x="3035618" y="5488219"/>
                  <a:pt x="3034534" y="5488632"/>
                  <a:pt x="3033140" y="5488632"/>
                </a:cubicBezTo>
                <a:lnTo>
                  <a:pt x="3029732" y="5488425"/>
                </a:lnTo>
                <a:lnTo>
                  <a:pt x="3026170" y="5491007"/>
                </a:lnTo>
                <a:lnTo>
                  <a:pt x="3024776" y="5489354"/>
                </a:lnTo>
                <a:lnTo>
                  <a:pt x="3023072" y="5491110"/>
                </a:lnTo>
                <a:cubicBezTo>
                  <a:pt x="3019354" y="5484708"/>
                  <a:pt x="3015482" y="5481197"/>
                  <a:pt x="3011454" y="5478513"/>
                </a:cubicBezTo>
                <a:lnTo>
                  <a:pt x="3005104" y="5474692"/>
                </a:lnTo>
                <a:lnTo>
                  <a:pt x="3002780" y="5477583"/>
                </a:lnTo>
                <a:cubicBezTo>
                  <a:pt x="2998443" y="5481197"/>
                  <a:pt x="2992712" y="5483159"/>
                  <a:pt x="2987136" y="5482746"/>
                </a:cubicBezTo>
                <a:cubicBezTo>
                  <a:pt x="2985277" y="5482643"/>
                  <a:pt x="2983573" y="5482333"/>
                  <a:pt x="2981714" y="5481610"/>
                </a:cubicBezTo>
                <a:lnTo>
                  <a:pt x="2977068" y="5478822"/>
                </a:lnTo>
                <a:lnTo>
                  <a:pt x="2976448" y="5479958"/>
                </a:lnTo>
                <a:cubicBezTo>
                  <a:pt x="2974589" y="5481920"/>
                  <a:pt x="2971801" y="5481301"/>
                  <a:pt x="2968393" y="5478822"/>
                </a:cubicBezTo>
                <a:cubicBezTo>
                  <a:pt x="2968548" y="5476860"/>
                  <a:pt x="2968083" y="5475105"/>
                  <a:pt x="2967929" y="5472420"/>
                </a:cubicBezTo>
                <a:cubicBezTo>
                  <a:pt x="2969168" y="5472111"/>
                  <a:pt x="2971181" y="5472214"/>
                  <a:pt x="2973040" y="5472937"/>
                </a:cubicBezTo>
                <a:lnTo>
                  <a:pt x="2977068" y="5476241"/>
                </a:lnTo>
                <a:lnTo>
                  <a:pt x="2977997" y="5469323"/>
                </a:lnTo>
                <a:cubicBezTo>
                  <a:pt x="2979081" y="5466535"/>
                  <a:pt x="2980630" y="5464263"/>
                  <a:pt x="2982489" y="5462405"/>
                </a:cubicBezTo>
                <a:lnTo>
                  <a:pt x="2984812" y="5460959"/>
                </a:lnTo>
                <a:lnTo>
                  <a:pt x="2981404" y="5459101"/>
                </a:lnTo>
                <a:cubicBezTo>
                  <a:pt x="2979391" y="5458171"/>
                  <a:pt x="2977222" y="5457448"/>
                  <a:pt x="2974589" y="5456622"/>
                </a:cubicBezTo>
                <a:cubicBezTo>
                  <a:pt x="2973660" y="5454041"/>
                  <a:pt x="2972111" y="5451666"/>
                  <a:pt x="2970097" y="5449394"/>
                </a:cubicBezTo>
                <a:lnTo>
                  <a:pt x="2968393" y="5448052"/>
                </a:lnTo>
                <a:lnTo>
                  <a:pt x="2967774" y="5449188"/>
                </a:lnTo>
                <a:lnTo>
                  <a:pt x="2966690" y="5446504"/>
                </a:lnTo>
                <a:lnTo>
                  <a:pt x="2963592" y="5443922"/>
                </a:lnTo>
                <a:lnTo>
                  <a:pt x="2963282" y="5443819"/>
                </a:lnTo>
                <a:lnTo>
                  <a:pt x="2963127" y="5443509"/>
                </a:lnTo>
                <a:lnTo>
                  <a:pt x="2962507" y="5442992"/>
                </a:lnTo>
                <a:cubicBezTo>
                  <a:pt x="2959564" y="5441341"/>
                  <a:pt x="2956621" y="5438966"/>
                  <a:pt x="2953214" y="5436384"/>
                </a:cubicBezTo>
                <a:cubicBezTo>
                  <a:pt x="2949496" y="5434525"/>
                  <a:pt x="2946863" y="5431428"/>
                  <a:pt x="2942990" y="5428020"/>
                </a:cubicBezTo>
                <a:cubicBezTo>
                  <a:pt x="2937104" y="5426162"/>
                  <a:pt x="2939737" y="5435248"/>
                  <a:pt x="2933697" y="5429569"/>
                </a:cubicBezTo>
                <a:cubicBezTo>
                  <a:pt x="2935091" y="5427814"/>
                  <a:pt x="2935865" y="5426162"/>
                  <a:pt x="2936020" y="5424716"/>
                </a:cubicBezTo>
                <a:lnTo>
                  <a:pt x="2935091" y="5420896"/>
                </a:lnTo>
                <a:lnTo>
                  <a:pt x="2930599" y="5425955"/>
                </a:lnTo>
                <a:cubicBezTo>
                  <a:pt x="2927346" y="5429363"/>
                  <a:pt x="2923783" y="5432151"/>
                  <a:pt x="2921150" y="5432047"/>
                </a:cubicBezTo>
                <a:cubicBezTo>
                  <a:pt x="2920375" y="5431944"/>
                  <a:pt x="2919601" y="5431634"/>
                  <a:pt x="2918981" y="5431015"/>
                </a:cubicBezTo>
                <a:cubicBezTo>
                  <a:pt x="2920995" y="5428537"/>
                  <a:pt x="2924093" y="5423580"/>
                  <a:pt x="2927656" y="5419863"/>
                </a:cubicBezTo>
                <a:lnTo>
                  <a:pt x="2930908" y="5417591"/>
                </a:lnTo>
                <a:lnTo>
                  <a:pt x="2927191" y="5414804"/>
                </a:lnTo>
                <a:cubicBezTo>
                  <a:pt x="2920066" y="5410364"/>
                  <a:pt x="2911547" y="5405511"/>
                  <a:pt x="2911547" y="5397147"/>
                </a:cubicBezTo>
                <a:cubicBezTo>
                  <a:pt x="2909533" y="5396527"/>
                  <a:pt x="2908139" y="5396114"/>
                  <a:pt x="2905970" y="5398489"/>
                </a:cubicBezTo>
                <a:lnTo>
                  <a:pt x="2901013" y="5391055"/>
                </a:lnTo>
                <a:lnTo>
                  <a:pt x="2893114" y="5388163"/>
                </a:lnTo>
                <a:cubicBezTo>
                  <a:pt x="2890635" y="5386511"/>
                  <a:pt x="2888777" y="5384240"/>
                  <a:pt x="2887537" y="5380936"/>
                </a:cubicBezTo>
                <a:lnTo>
                  <a:pt x="2891565" y="5379593"/>
                </a:lnTo>
                <a:lnTo>
                  <a:pt x="2889861" y="5377631"/>
                </a:lnTo>
                <a:cubicBezTo>
                  <a:pt x="2887228" y="5374637"/>
                  <a:pt x="2884749" y="5371539"/>
                  <a:pt x="2881806" y="5369164"/>
                </a:cubicBezTo>
                <a:cubicBezTo>
                  <a:pt x="2879328" y="5366067"/>
                  <a:pt x="2877159" y="5363898"/>
                  <a:pt x="2874371" y="5361523"/>
                </a:cubicBezTo>
                <a:cubicBezTo>
                  <a:pt x="2868950" y="5356154"/>
                  <a:pt x="2864148" y="5350888"/>
                  <a:pt x="2859346" y="5345725"/>
                </a:cubicBezTo>
                <a:lnTo>
                  <a:pt x="2854700" y="5340356"/>
                </a:lnTo>
                <a:lnTo>
                  <a:pt x="2852531" y="5340149"/>
                </a:lnTo>
                <a:lnTo>
                  <a:pt x="2853305" y="5338807"/>
                </a:lnTo>
                <a:lnTo>
                  <a:pt x="2852376" y="5337671"/>
                </a:lnTo>
                <a:cubicBezTo>
                  <a:pt x="2850053" y="5334883"/>
                  <a:pt x="2847884" y="5331992"/>
                  <a:pt x="2845715" y="5328688"/>
                </a:cubicBezTo>
                <a:lnTo>
                  <a:pt x="2847729" y="5328275"/>
                </a:lnTo>
                <a:lnTo>
                  <a:pt x="2847109" y="5327552"/>
                </a:lnTo>
                <a:cubicBezTo>
                  <a:pt x="2846955" y="5326416"/>
                  <a:pt x="2847419" y="5325590"/>
                  <a:pt x="2847419" y="5325590"/>
                </a:cubicBezTo>
                <a:lnTo>
                  <a:pt x="2848039" y="5325487"/>
                </a:lnTo>
                <a:lnTo>
                  <a:pt x="2842308" y="5322492"/>
                </a:lnTo>
                <a:cubicBezTo>
                  <a:pt x="2839055" y="5320944"/>
                  <a:pt x="2835647" y="5319498"/>
                  <a:pt x="2832394" y="5318466"/>
                </a:cubicBezTo>
                <a:cubicBezTo>
                  <a:pt x="2834253" y="5316297"/>
                  <a:pt x="2829606" y="5306591"/>
                  <a:pt x="2824185" y="5303700"/>
                </a:cubicBezTo>
                <a:lnTo>
                  <a:pt x="2823411" y="5303493"/>
                </a:lnTo>
                <a:lnTo>
                  <a:pt x="2823411" y="5303597"/>
                </a:lnTo>
                <a:lnTo>
                  <a:pt x="2820777" y="5303080"/>
                </a:lnTo>
                <a:lnTo>
                  <a:pt x="2818609" y="5303700"/>
                </a:lnTo>
                <a:cubicBezTo>
                  <a:pt x="2820467" y="5296059"/>
                  <a:pt x="2810709" y="5275717"/>
                  <a:pt x="2802809" y="5275511"/>
                </a:cubicBezTo>
                <a:cubicBezTo>
                  <a:pt x="2805133" y="5270968"/>
                  <a:pt x="2803739" y="5266734"/>
                  <a:pt x="2801415" y="5263017"/>
                </a:cubicBezTo>
                <a:lnTo>
                  <a:pt x="2797543" y="5257441"/>
                </a:lnTo>
                <a:lnTo>
                  <a:pt x="2796613" y="5256925"/>
                </a:lnTo>
                <a:lnTo>
                  <a:pt x="2796768" y="5255376"/>
                </a:lnTo>
                <a:lnTo>
                  <a:pt x="2796613" y="5255170"/>
                </a:lnTo>
                <a:lnTo>
                  <a:pt x="2796303" y="5255789"/>
                </a:lnTo>
                <a:cubicBezTo>
                  <a:pt x="2794290" y="5255995"/>
                  <a:pt x="2792741" y="5255582"/>
                  <a:pt x="2791502" y="5255066"/>
                </a:cubicBezTo>
                <a:lnTo>
                  <a:pt x="2790572" y="5254653"/>
                </a:lnTo>
                <a:lnTo>
                  <a:pt x="2788868" y="5256305"/>
                </a:lnTo>
                <a:lnTo>
                  <a:pt x="2788404" y="5253827"/>
                </a:lnTo>
                <a:lnTo>
                  <a:pt x="2787629" y="5253517"/>
                </a:lnTo>
                <a:cubicBezTo>
                  <a:pt x="2787475" y="5251246"/>
                  <a:pt x="2787629" y="5249594"/>
                  <a:pt x="2788249" y="5248148"/>
                </a:cubicBezTo>
                <a:lnTo>
                  <a:pt x="2789023" y="5247012"/>
                </a:lnTo>
                <a:lnTo>
                  <a:pt x="2788249" y="5243398"/>
                </a:lnTo>
                <a:cubicBezTo>
                  <a:pt x="2787629" y="5242366"/>
                  <a:pt x="2787010" y="5241540"/>
                  <a:pt x="2786235" y="5240920"/>
                </a:cubicBezTo>
                <a:lnTo>
                  <a:pt x="2784686" y="5240507"/>
                </a:lnTo>
                <a:lnTo>
                  <a:pt x="2782518" y="5241643"/>
                </a:lnTo>
                <a:cubicBezTo>
                  <a:pt x="2781589" y="5241849"/>
                  <a:pt x="2780814" y="5241849"/>
                  <a:pt x="2780039" y="5241643"/>
                </a:cubicBezTo>
                <a:cubicBezTo>
                  <a:pt x="2778645" y="5241230"/>
                  <a:pt x="2777406" y="5240094"/>
                  <a:pt x="2776941" y="5238545"/>
                </a:cubicBezTo>
                <a:cubicBezTo>
                  <a:pt x="2776477" y="5237100"/>
                  <a:pt x="2776477" y="5235344"/>
                  <a:pt x="2777096" y="5233589"/>
                </a:cubicBezTo>
                <a:lnTo>
                  <a:pt x="2781124" y="5229562"/>
                </a:lnTo>
                <a:lnTo>
                  <a:pt x="2780969" y="5229459"/>
                </a:lnTo>
                <a:cubicBezTo>
                  <a:pt x="2781124" y="5228219"/>
                  <a:pt x="2781898" y="5227084"/>
                  <a:pt x="2783602" y="5225845"/>
                </a:cubicBezTo>
                <a:cubicBezTo>
                  <a:pt x="2780659" y="5225742"/>
                  <a:pt x="2778490" y="5223573"/>
                  <a:pt x="2782982" y="5221198"/>
                </a:cubicBezTo>
                <a:lnTo>
                  <a:pt x="2781743" y="5220476"/>
                </a:lnTo>
                <a:lnTo>
                  <a:pt x="2778181" y="5222437"/>
                </a:lnTo>
                <a:cubicBezTo>
                  <a:pt x="2777406" y="5221508"/>
                  <a:pt x="2776787" y="5220579"/>
                  <a:pt x="2775857" y="5221302"/>
                </a:cubicBezTo>
                <a:cubicBezTo>
                  <a:pt x="2774618" y="5219959"/>
                  <a:pt x="2773688" y="5218307"/>
                  <a:pt x="2773069" y="5216552"/>
                </a:cubicBezTo>
                <a:cubicBezTo>
                  <a:pt x="2771830" y="5213454"/>
                  <a:pt x="2771520" y="5209943"/>
                  <a:pt x="2771985" y="5206433"/>
                </a:cubicBezTo>
                <a:lnTo>
                  <a:pt x="2772604" y="5204264"/>
                </a:lnTo>
                <a:lnTo>
                  <a:pt x="2771830" y="5204780"/>
                </a:lnTo>
                <a:cubicBezTo>
                  <a:pt x="2766718" y="5204471"/>
                  <a:pt x="2764860" y="5201063"/>
                  <a:pt x="2765479" y="5197862"/>
                </a:cubicBezTo>
                <a:lnTo>
                  <a:pt x="2767803" y="5194042"/>
                </a:lnTo>
                <a:lnTo>
                  <a:pt x="2766718" y="5193835"/>
                </a:lnTo>
                <a:cubicBezTo>
                  <a:pt x="2765944" y="5193422"/>
                  <a:pt x="2765634" y="5192700"/>
                  <a:pt x="2765324" y="5191770"/>
                </a:cubicBezTo>
                <a:cubicBezTo>
                  <a:pt x="2764705" y="5190015"/>
                  <a:pt x="2764705" y="5187537"/>
                  <a:pt x="2763930" y="5185368"/>
                </a:cubicBezTo>
                <a:lnTo>
                  <a:pt x="2765479" y="5185884"/>
                </a:lnTo>
                <a:lnTo>
                  <a:pt x="2764705" y="5183200"/>
                </a:lnTo>
                <a:lnTo>
                  <a:pt x="2760367" y="5181961"/>
                </a:lnTo>
                <a:lnTo>
                  <a:pt x="2760987" y="5182684"/>
                </a:lnTo>
                <a:cubicBezTo>
                  <a:pt x="2761142" y="5185265"/>
                  <a:pt x="2762381" y="5187950"/>
                  <a:pt x="2761607" y="5190944"/>
                </a:cubicBezTo>
                <a:lnTo>
                  <a:pt x="2760367" y="5193113"/>
                </a:lnTo>
                <a:lnTo>
                  <a:pt x="2761142" y="5193009"/>
                </a:lnTo>
                <a:cubicBezTo>
                  <a:pt x="2763466" y="5196417"/>
                  <a:pt x="2763775" y="5197656"/>
                  <a:pt x="2763775" y="5201476"/>
                </a:cubicBezTo>
                <a:lnTo>
                  <a:pt x="2758819" y="5202715"/>
                </a:lnTo>
                <a:lnTo>
                  <a:pt x="2759438" y="5206226"/>
                </a:lnTo>
                <a:cubicBezTo>
                  <a:pt x="2757889" y="5206639"/>
                  <a:pt x="2756805" y="5206846"/>
                  <a:pt x="2755875" y="5206742"/>
                </a:cubicBezTo>
                <a:cubicBezTo>
                  <a:pt x="2755101" y="5206742"/>
                  <a:pt x="2754636" y="5206433"/>
                  <a:pt x="2754327" y="5206019"/>
                </a:cubicBezTo>
                <a:cubicBezTo>
                  <a:pt x="2753862" y="5205503"/>
                  <a:pt x="2754172" y="5204677"/>
                  <a:pt x="2754636" y="5203954"/>
                </a:cubicBezTo>
                <a:lnTo>
                  <a:pt x="2755566" y="5203025"/>
                </a:lnTo>
                <a:lnTo>
                  <a:pt x="2749989" y="5202199"/>
                </a:lnTo>
                <a:cubicBezTo>
                  <a:pt x="2745033" y="5194558"/>
                  <a:pt x="2750609" y="5193835"/>
                  <a:pt x="2756186" y="5193525"/>
                </a:cubicBezTo>
                <a:lnTo>
                  <a:pt x="2759128" y="5193216"/>
                </a:lnTo>
                <a:lnTo>
                  <a:pt x="2752623" y="5188673"/>
                </a:lnTo>
                <a:cubicBezTo>
                  <a:pt x="2750144" y="5187330"/>
                  <a:pt x="2747511" y="5186298"/>
                  <a:pt x="2744878" y="5184749"/>
                </a:cubicBezTo>
                <a:lnTo>
                  <a:pt x="2745033" y="5184233"/>
                </a:lnTo>
                <a:lnTo>
                  <a:pt x="2737753" y="5186194"/>
                </a:lnTo>
                <a:lnTo>
                  <a:pt x="2732486" y="5186814"/>
                </a:lnTo>
                <a:lnTo>
                  <a:pt x="2732951" y="5187124"/>
                </a:lnTo>
                <a:cubicBezTo>
                  <a:pt x="2734035" y="5190738"/>
                  <a:pt x="2734500" y="5193939"/>
                  <a:pt x="2734035" y="5196623"/>
                </a:cubicBezTo>
                <a:lnTo>
                  <a:pt x="2728614" y="5202612"/>
                </a:lnTo>
                <a:lnTo>
                  <a:pt x="2730318" y="5208085"/>
                </a:lnTo>
                <a:lnTo>
                  <a:pt x="2729078" y="5213867"/>
                </a:lnTo>
                <a:lnTo>
                  <a:pt x="2732021" y="5218720"/>
                </a:lnTo>
                <a:cubicBezTo>
                  <a:pt x="2730937" y="5219959"/>
                  <a:pt x="2729698" y="5220372"/>
                  <a:pt x="2728614" y="5220166"/>
                </a:cubicBezTo>
                <a:lnTo>
                  <a:pt x="2726910" y="5219133"/>
                </a:lnTo>
                <a:lnTo>
                  <a:pt x="2721798" y="5225225"/>
                </a:lnTo>
                <a:cubicBezTo>
                  <a:pt x="2719165" y="5227394"/>
                  <a:pt x="2716067" y="5229149"/>
                  <a:pt x="2712660" y="5230388"/>
                </a:cubicBezTo>
                <a:lnTo>
                  <a:pt x="2702591" y="5231627"/>
                </a:lnTo>
                <a:lnTo>
                  <a:pt x="2700423" y="5235448"/>
                </a:lnTo>
                <a:cubicBezTo>
                  <a:pt x="2693917" y="5238029"/>
                  <a:pt x="2688031" y="5239578"/>
                  <a:pt x="2682764" y="5238855"/>
                </a:cubicBezTo>
                <a:cubicBezTo>
                  <a:pt x="2677653" y="5238132"/>
                  <a:pt x="2673316" y="5235241"/>
                  <a:pt x="2670063" y="5229149"/>
                </a:cubicBezTo>
                <a:cubicBezTo>
                  <a:pt x="2672231" y="5228323"/>
                  <a:pt x="2671457" y="5226154"/>
                  <a:pt x="2670683" y="5223883"/>
                </a:cubicBezTo>
                <a:lnTo>
                  <a:pt x="2678118" y="5218720"/>
                </a:lnTo>
                <a:lnTo>
                  <a:pt x="2676569" y="5216552"/>
                </a:lnTo>
                <a:cubicBezTo>
                  <a:pt x="2675020" y="5213144"/>
                  <a:pt x="2673935" y="5209220"/>
                  <a:pt x="2673161" y="5204677"/>
                </a:cubicBezTo>
                <a:lnTo>
                  <a:pt x="2674245" y="5203954"/>
                </a:lnTo>
                <a:lnTo>
                  <a:pt x="2674090" y="5203851"/>
                </a:lnTo>
                <a:cubicBezTo>
                  <a:pt x="2674555" y="5201476"/>
                  <a:pt x="2675794" y="5200547"/>
                  <a:pt x="2677033" y="5200857"/>
                </a:cubicBezTo>
                <a:lnTo>
                  <a:pt x="2677963" y="5201167"/>
                </a:lnTo>
                <a:lnTo>
                  <a:pt x="2687102" y="5194351"/>
                </a:lnTo>
                <a:cubicBezTo>
                  <a:pt x="2697015" y="5189085"/>
                  <a:pt x="2707548" y="5187434"/>
                  <a:pt x="2716067" y="5190015"/>
                </a:cubicBezTo>
                <a:lnTo>
                  <a:pt x="2719010" y="5191460"/>
                </a:lnTo>
                <a:lnTo>
                  <a:pt x="2719475" y="5188156"/>
                </a:lnTo>
                <a:lnTo>
                  <a:pt x="2719784" y="5187950"/>
                </a:lnTo>
                <a:lnTo>
                  <a:pt x="2714828" y="5188363"/>
                </a:lnTo>
                <a:cubicBezTo>
                  <a:pt x="2715138" y="5186814"/>
                  <a:pt x="2714828" y="5185575"/>
                  <a:pt x="2714673" y="5184129"/>
                </a:cubicBezTo>
                <a:lnTo>
                  <a:pt x="2715138" y="5181651"/>
                </a:lnTo>
                <a:lnTo>
                  <a:pt x="2714053" y="5181651"/>
                </a:lnTo>
                <a:cubicBezTo>
                  <a:pt x="2713124" y="5179689"/>
                  <a:pt x="2712660" y="5178037"/>
                  <a:pt x="2712814" y="5176798"/>
                </a:cubicBezTo>
                <a:lnTo>
                  <a:pt x="2713434" y="5175455"/>
                </a:lnTo>
                <a:lnTo>
                  <a:pt x="2709097" y="5175766"/>
                </a:lnTo>
                <a:cubicBezTo>
                  <a:pt x="2707393" y="5175455"/>
                  <a:pt x="2706154" y="5174940"/>
                  <a:pt x="2705379" y="5174217"/>
                </a:cubicBezTo>
                <a:lnTo>
                  <a:pt x="2704450" y="5172358"/>
                </a:lnTo>
                <a:lnTo>
                  <a:pt x="2703211" y="5174010"/>
                </a:lnTo>
                <a:cubicBezTo>
                  <a:pt x="2702282" y="5174836"/>
                  <a:pt x="2700423" y="5175766"/>
                  <a:pt x="2698409" y="5176075"/>
                </a:cubicBezTo>
                <a:cubicBezTo>
                  <a:pt x="2696396" y="5176488"/>
                  <a:pt x="2694227" y="5176488"/>
                  <a:pt x="2692988" y="5175559"/>
                </a:cubicBezTo>
                <a:cubicBezTo>
                  <a:pt x="2694072" y="5173907"/>
                  <a:pt x="2695001" y="5172255"/>
                  <a:pt x="2696086" y="5170603"/>
                </a:cubicBezTo>
                <a:cubicBezTo>
                  <a:pt x="2695931" y="5171429"/>
                  <a:pt x="2703676" y="5169880"/>
                  <a:pt x="2703676" y="5169880"/>
                </a:cubicBezTo>
                <a:lnTo>
                  <a:pt x="2704450" y="5171222"/>
                </a:lnTo>
                <a:lnTo>
                  <a:pt x="2705379" y="5167608"/>
                </a:lnTo>
                <a:cubicBezTo>
                  <a:pt x="2707703" y="5162858"/>
                  <a:pt x="2713589" y="5158212"/>
                  <a:pt x="2716532" y="5160174"/>
                </a:cubicBezTo>
                <a:cubicBezTo>
                  <a:pt x="2717926" y="5161206"/>
                  <a:pt x="2718700" y="5163891"/>
                  <a:pt x="2717771" y="5169157"/>
                </a:cubicBezTo>
                <a:lnTo>
                  <a:pt x="2716687" y="5173184"/>
                </a:lnTo>
                <a:lnTo>
                  <a:pt x="2716996" y="5173184"/>
                </a:lnTo>
                <a:cubicBezTo>
                  <a:pt x="2718081" y="5173184"/>
                  <a:pt x="2719320" y="5173700"/>
                  <a:pt x="2720404" y="5174423"/>
                </a:cubicBezTo>
                <a:lnTo>
                  <a:pt x="2723192" y="5178347"/>
                </a:lnTo>
                <a:lnTo>
                  <a:pt x="2737288" y="5177831"/>
                </a:lnTo>
                <a:lnTo>
                  <a:pt x="2741315" y="5175043"/>
                </a:lnTo>
                <a:cubicBezTo>
                  <a:pt x="2742710" y="5174526"/>
                  <a:pt x="2743949" y="5174733"/>
                  <a:pt x="2744878" y="5176075"/>
                </a:cubicBezTo>
                <a:lnTo>
                  <a:pt x="2744413" y="5177417"/>
                </a:lnTo>
                <a:lnTo>
                  <a:pt x="2747666" y="5177108"/>
                </a:lnTo>
                <a:lnTo>
                  <a:pt x="2754172" y="5177314"/>
                </a:lnTo>
                <a:lnTo>
                  <a:pt x="2753862" y="5176798"/>
                </a:lnTo>
                <a:cubicBezTo>
                  <a:pt x="2754327" y="5173390"/>
                  <a:pt x="2754327" y="5170706"/>
                  <a:pt x="2753862" y="5168331"/>
                </a:cubicBezTo>
                <a:lnTo>
                  <a:pt x="2753862" y="5168124"/>
                </a:lnTo>
                <a:lnTo>
                  <a:pt x="2750919" y="5169054"/>
                </a:lnTo>
                <a:cubicBezTo>
                  <a:pt x="2749525" y="5169157"/>
                  <a:pt x="2748285" y="5168641"/>
                  <a:pt x="2747666" y="5167505"/>
                </a:cubicBezTo>
                <a:cubicBezTo>
                  <a:pt x="2747046" y="5166782"/>
                  <a:pt x="2746892" y="5165750"/>
                  <a:pt x="2746892" y="5164407"/>
                </a:cubicBezTo>
                <a:cubicBezTo>
                  <a:pt x="2747821" y="5163478"/>
                  <a:pt x="2749680" y="5162962"/>
                  <a:pt x="2751539" y="5162858"/>
                </a:cubicBezTo>
                <a:lnTo>
                  <a:pt x="2752003" y="5162962"/>
                </a:lnTo>
                <a:lnTo>
                  <a:pt x="2751693" y="5162136"/>
                </a:lnTo>
                <a:lnTo>
                  <a:pt x="2749525" y="5159141"/>
                </a:lnTo>
                <a:lnTo>
                  <a:pt x="2749370" y="5159245"/>
                </a:lnTo>
                <a:cubicBezTo>
                  <a:pt x="2748596" y="5159657"/>
                  <a:pt x="2747821" y="5159864"/>
                  <a:pt x="2747201" y="5159657"/>
                </a:cubicBezTo>
                <a:cubicBezTo>
                  <a:pt x="2746117" y="5159245"/>
                  <a:pt x="2745807" y="5158418"/>
                  <a:pt x="2745807" y="5158418"/>
                </a:cubicBezTo>
                <a:lnTo>
                  <a:pt x="2746117" y="5157696"/>
                </a:lnTo>
                <a:lnTo>
                  <a:pt x="2742245" y="5157179"/>
                </a:lnTo>
                <a:cubicBezTo>
                  <a:pt x="2740851" y="5156353"/>
                  <a:pt x="2739921" y="5155114"/>
                  <a:pt x="2739766" y="5153462"/>
                </a:cubicBezTo>
                <a:cubicBezTo>
                  <a:pt x="2739456" y="5152016"/>
                  <a:pt x="2739921" y="5150364"/>
                  <a:pt x="2741006" y="5148506"/>
                </a:cubicBezTo>
                <a:lnTo>
                  <a:pt x="2741935" y="5148093"/>
                </a:lnTo>
                <a:lnTo>
                  <a:pt x="2741470" y="5147370"/>
                </a:lnTo>
                <a:lnTo>
                  <a:pt x="2739921" y="5150158"/>
                </a:lnTo>
                <a:cubicBezTo>
                  <a:pt x="2739147" y="5151190"/>
                  <a:pt x="2738063" y="5152016"/>
                  <a:pt x="2736514" y="5151810"/>
                </a:cubicBezTo>
                <a:cubicBezTo>
                  <a:pt x="2736204" y="5150984"/>
                  <a:pt x="2735584" y="5151397"/>
                  <a:pt x="2735274" y="5150674"/>
                </a:cubicBezTo>
                <a:cubicBezTo>
                  <a:pt x="2735274" y="5150674"/>
                  <a:pt x="2734500" y="5150054"/>
                  <a:pt x="2734035" y="5148919"/>
                </a:cubicBezTo>
                <a:cubicBezTo>
                  <a:pt x="2733416" y="5147886"/>
                  <a:pt x="2732951" y="5146234"/>
                  <a:pt x="2733571" y="5144066"/>
                </a:cubicBezTo>
                <a:cubicBezTo>
                  <a:pt x="2734035" y="5142930"/>
                  <a:pt x="2735739" y="5140142"/>
                  <a:pt x="2736049" y="5140968"/>
                </a:cubicBezTo>
                <a:cubicBezTo>
                  <a:pt x="2737133" y="5141381"/>
                  <a:pt x="2736823" y="5140555"/>
                  <a:pt x="2737598" y="5140142"/>
                </a:cubicBezTo>
                <a:lnTo>
                  <a:pt x="2738837" y="5140865"/>
                </a:lnTo>
                <a:lnTo>
                  <a:pt x="2739147" y="5140349"/>
                </a:lnTo>
                <a:cubicBezTo>
                  <a:pt x="2740386" y="5138593"/>
                  <a:pt x="2740386" y="5138593"/>
                  <a:pt x="2741470" y="5138903"/>
                </a:cubicBezTo>
                <a:cubicBezTo>
                  <a:pt x="2742090" y="5139006"/>
                  <a:pt x="2742399" y="5139832"/>
                  <a:pt x="2742864" y="5140555"/>
                </a:cubicBezTo>
                <a:lnTo>
                  <a:pt x="2743329" y="5141175"/>
                </a:lnTo>
                <a:lnTo>
                  <a:pt x="2742090" y="5137044"/>
                </a:lnTo>
                <a:lnTo>
                  <a:pt x="2740508" y="5132701"/>
                </a:lnTo>
                <a:lnTo>
                  <a:pt x="2734468" y="5137696"/>
                </a:lnTo>
                <a:lnTo>
                  <a:pt x="2712948" y="5145397"/>
                </a:lnTo>
                <a:lnTo>
                  <a:pt x="2711936" y="5145188"/>
                </a:lnTo>
                <a:lnTo>
                  <a:pt x="2712350" y="5150984"/>
                </a:lnTo>
                <a:cubicBezTo>
                  <a:pt x="2711110" y="5150777"/>
                  <a:pt x="2710026" y="5150468"/>
                  <a:pt x="2710491" y="5151190"/>
                </a:cubicBezTo>
                <a:cubicBezTo>
                  <a:pt x="2709252" y="5150984"/>
                  <a:pt x="2708632" y="5150468"/>
                  <a:pt x="2708167" y="5149745"/>
                </a:cubicBezTo>
                <a:cubicBezTo>
                  <a:pt x="2707703" y="5149125"/>
                  <a:pt x="2707393" y="5148299"/>
                  <a:pt x="2707393" y="5147267"/>
                </a:cubicBezTo>
                <a:lnTo>
                  <a:pt x="2711041" y="5145003"/>
                </a:lnTo>
                <a:lnTo>
                  <a:pt x="2690600" y="5140776"/>
                </a:lnTo>
                <a:lnTo>
                  <a:pt x="2689035" y="5139880"/>
                </a:lnTo>
                <a:lnTo>
                  <a:pt x="2691168" y="5148815"/>
                </a:lnTo>
                <a:cubicBezTo>
                  <a:pt x="2692523" y="5152713"/>
                  <a:pt x="2693220" y="5156405"/>
                  <a:pt x="2690199" y="5160071"/>
                </a:cubicBezTo>
                <a:cubicBezTo>
                  <a:pt x="2688031" y="5156560"/>
                  <a:pt x="2685398" y="5153462"/>
                  <a:pt x="2683539" y="5149642"/>
                </a:cubicBezTo>
                <a:lnTo>
                  <a:pt x="2681421" y="5135521"/>
                </a:lnTo>
                <a:lnTo>
                  <a:pt x="2672192" y="5130237"/>
                </a:lnTo>
                <a:lnTo>
                  <a:pt x="2664022" y="5127029"/>
                </a:lnTo>
                <a:lnTo>
                  <a:pt x="2666824" y="5126105"/>
                </a:lnTo>
                <a:lnTo>
                  <a:pt x="2662041" y="5121120"/>
                </a:lnTo>
                <a:lnTo>
                  <a:pt x="2660305" y="5125273"/>
                </a:lnTo>
                <a:lnTo>
                  <a:pt x="2656742" y="5130746"/>
                </a:lnTo>
                <a:lnTo>
                  <a:pt x="2656277" y="5126409"/>
                </a:lnTo>
                <a:cubicBezTo>
                  <a:pt x="2655503" y="5126409"/>
                  <a:pt x="2654574" y="5127235"/>
                  <a:pt x="2654574" y="5127235"/>
                </a:cubicBezTo>
                <a:lnTo>
                  <a:pt x="2653954" y="5124653"/>
                </a:lnTo>
                <a:lnTo>
                  <a:pt x="2652560" y="5124860"/>
                </a:lnTo>
                <a:lnTo>
                  <a:pt x="2647139" y="5124034"/>
                </a:lnTo>
                <a:lnTo>
                  <a:pt x="2647139" y="5125480"/>
                </a:lnTo>
                <a:lnTo>
                  <a:pt x="2651011" y="5127029"/>
                </a:lnTo>
                <a:lnTo>
                  <a:pt x="2656742" y="5130746"/>
                </a:lnTo>
                <a:lnTo>
                  <a:pt x="2657981" y="5131365"/>
                </a:lnTo>
                <a:cubicBezTo>
                  <a:pt x="2660305" y="5132914"/>
                  <a:pt x="2662938" y="5134463"/>
                  <a:pt x="2665881" y="5135702"/>
                </a:cubicBezTo>
                <a:cubicBezTo>
                  <a:pt x="2663403" y="5146750"/>
                  <a:pt x="2668979" y="5149332"/>
                  <a:pt x="2671922" y="5154391"/>
                </a:cubicBezTo>
                <a:cubicBezTo>
                  <a:pt x="2669598" y="5157799"/>
                  <a:pt x="2668204" y="5162033"/>
                  <a:pt x="2666965" y="5166473"/>
                </a:cubicBezTo>
                <a:lnTo>
                  <a:pt x="2665261" y="5172668"/>
                </a:lnTo>
                <a:lnTo>
                  <a:pt x="2665726" y="5172461"/>
                </a:lnTo>
                <a:cubicBezTo>
                  <a:pt x="2667430" y="5172358"/>
                  <a:pt x="2672386" y="5176075"/>
                  <a:pt x="2671922" y="5177211"/>
                </a:cubicBezTo>
                <a:cubicBezTo>
                  <a:pt x="2670838" y="5177211"/>
                  <a:pt x="2669288" y="5177108"/>
                  <a:pt x="2667895" y="5176901"/>
                </a:cubicBezTo>
                <a:lnTo>
                  <a:pt x="2664487" y="5175766"/>
                </a:lnTo>
                <a:lnTo>
                  <a:pt x="2663248" y="5180102"/>
                </a:lnTo>
                <a:cubicBezTo>
                  <a:pt x="2658291" y="5182374"/>
                  <a:pt x="2653954" y="5185162"/>
                  <a:pt x="2649616" y="5187950"/>
                </a:cubicBezTo>
                <a:lnTo>
                  <a:pt x="2648842" y="5188363"/>
                </a:lnTo>
                <a:lnTo>
                  <a:pt x="2652095" y="5190944"/>
                </a:lnTo>
                <a:lnTo>
                  <a:pt x="2655193" y="5187330"/>
                </a:lnTo>
                <a:cubicBezTo>
                  <a:pt x="2658910" y="5184955"/>
                  <a:pt x="2663248" y="5187537"/>
                  <a:pt x="2666346" y="5192700"/>
                </a:cubicBezTo>
                <a:cubicBezTo>
                  <a:pt x="2664332" y="5195797"/>
                  <a:pt x="2662318" y="5198895"/>
                  <a:pt x="2658756" y="5200237"/>
                </a:cubicBezTo>
                <a:lnTo>
                  <a:pt x="2656122" y="5197346"/>
                </a:lnTo>
                <a:lnTo>
                  <a:pt x="2655813" y="5197656"/>
                </a:lnTo>
                <a:lnTo>
                  <a:pt x="2655348" y="5199721"/>
                </a:lnTo>
                <a:lnTo>
                  <a:pt x="2657052" y="5201063"/>
                </a:lnTo>
                <a:cubicBezTo>
                  <a:pt x="2656277" y="5201580"/>
                  <a:pt x="2655038" y="5203335"/>
                  <a:pt x="2654728" y="5202612"/>
                </a:cubicBezTo>
                <a:lnTo>
                  <a:pt x="2654418" y="5202406"/>
                </a:lnTo>
                <a:lnTo>
                  <a:pt x="2652250" y="5205193"/>
                </a:lnTo>
                <a:cubicBezTo>
                  <a:pt x="2649616" y="5208291"/>
                  <a:pt x="2646828" y="5209117"/>
                  <a:pt x="2644350" y="5208808"/>
                </a:cubicBezTo>
                <a:cubicBezTo>
                  <a:pt x="2641872" y="5208498"/>
                  <a:pt x="2639549" y="5207052"/>
                  <a:pt x="2637999" y="5205503"/>
                </a:cubicBezTo>
                <a:cubicBezTo>
                  <a:pt x="2638619" y="5204884"/>
                  <a:pt x="2634282" y="5200650"/>
                  <a:pt x="2634747" y="5195590"/>
                </a:cubicBezTo>
                <a:lnTo>
                  <a:pt x="2635056" y="5195281"/>
                </a:lnTo>
                <a:lnTo>
                  <a:pt x="2628241" y="5192390"/>
                </a:lnTo>
                <a:lnTo>
                  <a:pt x="2621581" y="5190944"/>
                </a:lnTo>
                <a:lnTo>
                  <a:pt x="2622820" y="5194661"/>
                </a:lnTo>
                <a:cubicBezTo>
                  <a:pt x="2623439" y="5196107"/>
                  <a:pt x="2624059" y="5197862"/>
                  <a:pt x="2623904" y="5201270"/>
                </a:cubicBezTo>
                <a:cubicBezTo>
                  <a:pt x="2623904" y="5209943"/>
                  <a:pt x="2618173" y="5211492"/>
                  <a:pt x="2613991" y="5210976"/>
                </a:cubicBezTo>
                <a:cubicBezTo>
                  <a:pt x="2613991" y="5210770"/>
                  <a:pt x="2613681" y="5210666"/>
                  <a:pt x="2613061" y="5210356"/>
                </a:cubicBezTo>
                <a:lnTo>
                  <a:pt x="2611357" y="5209634"/>
                </a:lnTo>
                <a:lnTo>
                  <a:pt x="2608724" y="5210666"/>
                </a:lnTo>
                <a:cubicBezTo>
                  <a:pt x="2607950" y="5210563"/>
                  <a:pt x="2607175" y="5210150"/>
                  <a:pt x="2606246" y="5209324"/>
                </a:cubicBezTo>
                <a:cubicBezTo>
                  <a:pt x="2605471" y="5209427"/>
                  <a:pt x="2604077" y="5206019"/>
                  <a:pt x="2604852" y="5205090"/>
                </a:cubicBezTo>
                <a:lnTo>
                  <a:pt x="2605471" y="5204368"/>
                </a:lnTo>
                <a:lnTo>
                  <a:pt x="2604232" y="5199205"/>
                </a:lnTo>
                <a:cubicBezTo>
                  <a:pt x="2604232" y="5198069"/>
                  <a:pt x="2604387" y="5197036"/>
                  <a:pt x="2604697" y="5196004"/>
                </a:cubicBezTo>
                <a:cubicBezTo>
                  <a:pt x="2604232" y="5197759"/>
                  <a:pt x="2603767" y="5199618"/>
                  <a:pt x="2603303" y="5200857"/>
                </a:cubicBezTo>
                <a:lnTo>
                  <a:pt x="2602683" y="5202715"/>
                </a:lnTo>
                <a:lnTo>
                  <a:pt x="2603458" y="5202715"/>
                </a:lnTo>
                <a:lnTo>
                  <a:pt x="2602528" y="5203645"/>
                </a:lnTo>
                <a:lnTo>
                  <a:pt x="2602373" y="5203851"/>
                </a:lnTo>
                <a:cubicBezTo>
                  <a:pt x="2601599" y="5203748"/>
                  <a:pt x="2601599" y="5204574"/>
                  <a:pt x="2602373" y="5204677"/>
                </a:cubicBezTo>
                <a:cubicBezTo>
                  <a:pt x="2601444" y="5205916"/>
                  <a:pt x="2600670" y="5207052"/>
                  <a:pt x="2600050" y="5207569"/>
                </a:cubicBezTo>
                <a:lnTo>
                  <a:pt x="2599120" y="5207362"/>
                </a:lnTo>
                <a:lnTo>
                  <a:pt x="2599275" y="5212215"/>
                </a:lnTo>
                <a:lnTo>
                  <a:pt x="2598966" y="5213557"/>
                </a:lnTo>
                <a:lnTo>
                  <a:pt x="2599430" y="5213970"/>
                </a:lnTo>
                <a:lnTo>
                  <a:pt x="2598811" y="5214796"/>
                </a:lnTo>
                <a:lnTo>
                  <a:pt x="2598036" y="5219133"/>
                </a:lnTo>
                <a:cubicBezTo>
                  <a:pt x="2597417" y="5220888"/>
                  <a:pt x="2596177" y="5222231"/>
                  <a:pt x="2594473" y="5222437"/>
                </a:cubicBezTo>
                <a:lnTo>
                  <a:pt x="2593544" y="5216552"/>
                </a:lnTo>
                <a:lnTo>
                  <a:pt x="2593389" y="5216242"/>
                </a:lnTo>
                <a:lnTo>
                  <a:pt x="2593389" y="5215829"/>
                </a:lnTo>
                <a:lnTo>
                  <a:pt x="2592770" y="5208911"/>
                </a:lnTo>
                <a:lnTo>
                  <a:pt x="2593854" y="5202406"/>
                </a:lnTo>
                <a:lnTo>
                  <a:pt x="2593080" y="5202303"/>
                </a:lnTo>
                <a:cubicBezTo>
                  <a:pt x="2589827" y="5202818"/>
                  <a:pt x="2585335" y="5205710"/>
                  <a:pt x="2580688" y="5201683"/>
                </a:cubicBezTo>
                <a:cubicBezTo>
                  <a:pt x="2582547" y="5199927"/>
                  <a:pt x="2579604" y="5195590"/>
                  <a:pt x="2582392" y="5193009"/>
                </a:cubicBezTo>
                <a:cubicBezTo>
                  <a:pt x="2588123" y="5186607"/>
                  <a:pt x="2590911" y="5185988"/>
                  <a:pt x="2594319" y="5187227"/>
                </a:cubicBezTo>
                <a:lnTo>
                  <a:pt x="2594629" y="5187330"/>
                </a:lnTo>
                <a:lnTo>
                  <a:pt x="2599430" y="5187330"/>
                </a:lnTo>
                <a:lnTo>
                  <a:pt x="2600205" y="5188982"/>
                </a:lnTo>
                <a:cubicBezTo>
                  <a:pt x="2601134" y="5188053"/>
                  <a:pt x="2602063" y="5187227"/>
                  <a:pt x="2603148" y="5188156"/>
                </a:cubicBezTo>
                <a:cubicBezTo>
                  <a:pt x="2605006" y="5189808"/>
                  <a:pt x="2605316" y="5192183"/>
                  <a:pt x="2605006" y="5194558"/>
                </a:cubicBezTo>
                <a:cubicBezTo>
                  <a:pt x="2606246" y="5190944"/>
                  <a:pt x="2609034" y="5188466"/>
                  <a:pt x="2615384" y="5189705"/>
                </a:cubicBezTo>
                <a:cubicBezTo>
                  <a:pt x="2617243" y="5189499"/>
                  <a:pt x="2616469" y="5189912"/>
                  <a:pt x="2617708" y="5190221"/>
                </a:cubicBezTo>
                <a:lnTo>
                  <a:pt x="2618947" y="5190324"/>
                </a:lnTo>
                <a:lnTo>
                  <a:pt x="2610583" y="5187434"/>
                </a:lnTo>
                <a:cubicBezTo>
                  <a:pt x="2608104" y="5185988"/>
                  <a:pt x="2606091" y="5184026"/>
                  <a:pt x="2604697" y="5181032"/>
                </a:cubicBezTo>
                <a:cubicBezTo>
                  <a:pt x="2605936" y="5175455"/>
                  <a:pt x="2605316" y="5171842"/>
                  <a:pt x="2604232" y="5168847"/>
                </a:cubicBezTo>
                <a:lnTo>
                  <a:pt x="2604232" y="5168641"/>
                </a:lnTo>
                <a:lnTo>
                  <a:pt x="2602063" y="5170809"/>
                </a:lnTo>
                <a:lnTo>
                  <a:pt x="2601134" y="5176282"/>
                </a:lnTo>
                <a:cubicBezTo>
                  <a:pt x="2601134" y="5178657"/>
                  <a:pt x="2601444" y="5180206"/>
                  <a:pt x="2601444" y="5180206"/>
                </a:cubicBezTo>
                <a:cubicBezTo>
                  <a:pt x="2600360" y="5181857"/>
                  <a:pt x="2599585" y="5181857"/>
                  <a:pt x="2600360" y="5181857"/>
                </a:cubicBezTo>
                <a:cubicBezTo>
                  <a:pt x="2598656" y="5183510"/>
                  <a:pt x="2596642" y="5186091"/>
                  <a:pt x="2595093" y="5185265"/>
                </a:cubicBezTo>
                <a:cubicBezTo>
                  <a:pt x="2594009" y="5184129"/>
                  <a:pt x="2593544" y="5182787"/>
                  <a:pt x="2593699" y="5181238"/>
                </a:cubicBezTo>
                <a:lnTo>
                  <a:pt x="2594629" y="5178037"/>
                </a:lnTo>
                <a:lnTo>
                  <a:pt x="2594009" y="5178553"/>
                </a:lnTo>
                <a:cubicBezTo>
                  <a:pt x="2591840" y="5179896"/>
                  <a:pt x="2589207" y="5180825"/>
                  <a:pt x="2585954" y="5180928"/>
                </a:cubicBezTo>
                <a:cubicBezTo>
                  <a:pt x="2585335" y="5176282"/>
                  <a:pt x="2589672" y="5169880"/>
                  <a:pt x="2595248" y="5165750"/>
                </a:cubicBezTo>
                <a:lnTo>
                  <a:pt x="2602063" y="5162652"/>
                </a:lnTo>
                <a:lnTo>
                  <a:pt x="2601134" y="5159864"/>
                </a:lnTo>
                <a:cubicBezTo>
                  <a:pt x="2602528" y="5156147"/>
                  <a:pt x="2604232" y="5152326"/>
                  <a:pt x="2606246" y="5148506"/>
                </a:cubicBezTo>
                <a:lnTo>
                  <a:pt x="2608569" y="5145202"/>
                </a:lnTo>
                <a:lnTo>
                  <a:pt x="2609963" y="5142207"/>
                </a:lnTo>
                <a:lnTo>
                  <a:pt x="2610118" y="5141897"/>
                </a:lnTo>
                <a:lnTo>
                  <a:pt x="2610428" y="5139832"/>
                </a:lnTo>
                <a:lnTo>
                  <a:pt x="2609344" y="5141072"/>
                </a:lnTo>
                <a:cubicBezTo>
                  <a:pt x="2607950" y="5142104"/>
                  <a:pt x="2606246" y="5142827"/>
                  <a:pt x="2603148" y="5142723"/>
                </a:cubicBezTo>
                <a:cubicBezTo>
                  <a:pt x="2596797" y="5141794"/>
                  <a:pt x="2598191" y="5134979"/>
                  <a:pt x="2597417" y="5135496"/>
                </a:cubicBezTo>
                <a:cubicBezTo>
                  <a:pt x="2596332" y="5135186"/>
                  <a:pt x="2596332" y="5135186"/>
                  <a:pt x="2595558" y="5135702"/>
                </a:cubicBezTo>
                <a:cubicBezTo>
                  <a:pt x="2595248" y="5134876"/>
                  <a:pt x="2593699" y="5133843"/>
                  <a:pt x="2592615" y="5133637"/>
                </a:cubicBezTo>
                <a:cubicBezTo>
                  <a:pt x="2593389" y="5133120"/>
                  <a:pt x="2594164" y="5132708"/>
                  <a:pt x="2593699" y="5131882"/>
                </a:cubicBezTo>
                <a:cubicBezTo>
                  <a:pt x="2596023" y="5132501"/>
                  <a:pt x="2596332" y="5133224"/>
                  <a:pt x="2597417" y="5133534"/>
                </a:cubicBezTo>
                <a:cubicBezTo>
                  <a:pt x="2597107" y="5132811"/>
                  <a:pt x="2598191" y="5133120"/>
                  <a:pt x="2598191" y="5133120"/>
                </a:cubicBezTo>
                <a:cubicBezTo>
                  <a:pt x="2598191" y="5133120"/>
                  <a:pt x="2598191" y="5133120"/>
                  <a:pt x="2598966" y="5130746"/>
                </a:cubicBezTo>
                <a:cubicBezTo>
                  <a:pt x="2598966" y="5130746"/>
                  <a:pt x="2601134" y="5125376"/>
                  <a:pt x="2606246" y="5126099"/>
                </a:cubicBezTo>
                <a:cubicBezTo>
                  <a:pt x="2606091" y="5126925"/>
                  <a:pt x="2609808" y="5128164"/>
                  <a:pt x="2611667" y="5130333"/>
                </a:cubicBezTo>
                <a:lnTo>
                  <a:pt x="2612752" y="5132708"/>
                </a:lnTo>
                <a:lnTo>
                  <a:pt x="2615384" y="5128887"/>
                </a:lnTo>
                <a:cubicBezTo>
                  <a:pt x="2618018" y="5127235"/>
                  <a:pt x="2620496" y="5126615"/>
                  <a:pt x="2622665" y="5126822"/>
                </a:cubicBezTo>
                <a:lnTo>
                  <a:pt x="2624988" y="5128061"/>
                </a:lnTo>
                <a:lnTo>
                  <a:pt x="2634747" y="5124034"/>
                </a:lnTo>
                <a:lnTo>
                  <a:pt x="2635056" y="5124034"/>
                </a:lnTo>
                <a:lnTo>
                  <a:pt x="2636296" y="5123002"/>
                </a:lnTo>
                <a:lnTo>
                  <a:pt x="2635831" y="5121246"/>
                </a:lnTo>
                <a:cubicBezTo>
                  <a:pt x="2633198" y="5118665"/>
                  <a:pt x="2629480" y="5120007"/>
                  <a:pt x="2628241" y="5113295"/>
                </a:cubicBezTo>
                <a:lnTo>
                  <a:pt x="2633662" y="5113192"/>
                </a:lnTo>
                <a:lnTo>
                  <a:pt x="2633043" y="5112056"/>
                </a:lnTo>
                <a:cubicBezTo>
                  <a:pt x="2632268" y="5109372"/>
                  <a:pt x="2631959" y="5106584"/>
                  <a:pt x="2631649" y="5103693"/>
                </a:cubicBezTo>
                <a:lnTo>
                  <a:pt x="2631649" y="5098840"/>
                </a:lnTo>
                <a:lnTo>
                  <a:pt x="2629945" y="5100285"/>
                </a:lnTo>
                <a:cubicBezTo>
                  <a:pt x="2626228" y="5102453"/>
                  <a:pt x="2623594" y="5101214"/>
                  <a:pt x="2622974" y="5101937"/>
                </a:cubicBezTo>
                <a:cubicBezTo>
                  <a:pt x="2620186" y="5099459"/>
                  <a:pt x="2621581" y="5097601"/>
                  <a:pt x="2622820" y="5093883"/>
                </a:cubicBezTo>
                <a:cubicBezTo>
                  <a:pt x="2623749" y="5094709"/>
                  <a:pt x="2625918" y="5091921"/>
                  <a:pt x="2626537" y="5090992"/>
                </a:cubicBezTo>
                <a:cubicBezTo>
                  <a:pt x="2627467" y="5091818"/>
                  <a:pt x="2628706" y="5091612"/>
                  <a:pt x="2630100" y="5091405"/>
                </a:cubicBezTo>
                <a:lnTo>
                  <a:pt x="2631804" y="5091302"/>
                </a:lnTo>
                <a:lnTo>
                  <a:pt x="2632114" y="5082938"/>
                </a:lnTo>
                <a:lnTo>
                  <a:pt x="2630255" y="5084900"/>
                </a:lnTo>
                <a:cubicBezTo>
                  <a:pt x="2627157" y="5082938"/>
                  <a:pt x="2625453" y="5080667"/>
                  <a:pt x="2625143" y="5078395"/>
                </a:cubicBezTo>
                <a:lnTo>
                  <a:pt x="2627759" y="5073005"/>
                </a:lnTo>
                <a:lnTo>
                  <a:pt x="2609483" y="5036040"/>
                </a:lnTo>
                <a:lnTo>
                  <a:pt x="2606786" y="5030708"/>
                </a:lnTo>
                <a:lnTo>
                  <a:pt x="2600534" y="5036641"/>
                </a:lnTo>
                <a:cubicBezTo>
                  <a:pt x="2596178" y="5039390"/>
                  <a:pt x="2591221" y="5042100"/>
                  <a:pt x="2586419" y="5046385"/>
                </a:cubicBezTo>
                <a:cubicBezTo>
                  <a:pt x="2588123" y="5036370"/>
                  <a:pt x="2580068" y="5031207"/>
                  <a:pt x="2577590" y="5024185"/>
                </a:cubicBezTo>
                <a:lnTo>
                  <a:pt x="2577125" y="5021810"/>
                </a:lnTo>
                <a:lnTo>
                  <a:pt x="2573408" y="5020571"/>
                </a:lnTo>
                <a:cubicBezTo>
                  <a:pt x="2572788" y="5020055"/>
                  <a:pt x="2572324" y="5019539"/>
                  <a:pt x="2572324" y="5018713"/>
                </a:cubicBezTo>
                <a:cubicBezTo>
                  <a:pt x="2572478" y="5017577"/>
                  <a:pt x="2573717" y="5017887"/>
                  <a:pt x="2574337" y="5017474"/>
                </a:cubicBezTo>
                <a:lnTo>
                  <a:pt x="2577125" y="5018713"/>
                </a:lnTo>
                <a:lnTo>
                  <a:pt x="2577435" y="5016131"/>
                </a:lnTo>
                <a:lnTo>
                  <a:pt x="2589758" y="5003154"/>
                </a:lnTo>
                <a:lnTo>
                  <a:pt x="2581341" y="4994453"/>
                </a:lnTo>
                <a:lnTo>
                  <a:pt x="2567270" y="4986751"/>
                </a:lnTo>
                <a:lnTo>
                  <a:pt x="2566872" y="4986790"/>
                </a:lnTo>
                <a:lnTo>
                  <a:pt x="2566592" y="4990524"/>
                </a:lnTo>
                <a:lnTo>
                  <a:pt x="2564579" y="4989285"/>
                </a:lnTo>
                <a:lnTo>
                  <a:pt x="2562410" y="4992279"/>
                </a:lnTo>
                <a:lnTo>
                  <a:pt x="2559467" y="4994138"/>
                </a:lnTo>
                <a:lnTo>
                  <a:pt x="2558692" y="4996513"/>
                </a:lnTo>
                <a:lnTo>
                  <a:pt x="2560861" y="4995996"/>
                </a:lnTo>
                <a:cubicBezTo>
                  <a:pt x="2561791" y="4996203"/>
                  <a:pt x="2562720" y="4996719"/>
                  <a:pt x="2563804" y="4997545"/>
                </a:cubicBezTo>
                <a:cubicBezTo>
                  <a:pt x="2563959" y="5000230"/>
                  <a:pt x="2560861" y="5004463"/>
                  <a:pt x="2558383" y="5004257"/>
                </a:cubicBezTo>
                <a:cubicBezTo>
                  <a:pt x="2557453" y="5003431"/>
                  <a:pt x="2556679" y="5002502"/>
                  <a:pt x="2555749" y="5001572"/>
                </a:cubicBezTo>
                <a:lnTo>
                  <a:pt x="2556369" y="5000333"/>
                </a:lnTo>
                <a:lnTo>
                  <a:pt x="2553736" y="5004153"/>
                </a:lnTo>
                <a:cubicBezTo>
                  <a:pt x="2550173" y="5007768"/>
                  <a:pt x="2545527" y="5009833"/>
                  <a:pt x="2540415" y="5009110"/>
                </a:cubicBezTo>
                <a:cubicBezTo>
                  <a:pt x="2537782" y="5008800"/>
                  <a:pt x="2534994" y="5007768"/>
                  <a:pt x="2532360" y="5005806"/>
                </a:cubicBezTo>
                <a:cubicBezTo>
                  <a:pt x="2530502" y="5004360"/>
                  <a:pt x="2529262" y="5002605"/>
                  <a:pt x="2528178" y="5000643"/>
                </a:cubicBezTo>
                <a:lnTo>
                  <a:pt x="2528067" y="5000333"/>
                </a:lnTo>
                <a:lnTo>
                  <a:pt x="2520918" y="5005233"/>
                </a:lnTo>
                <a:lnTo>
                  <a:pt x="2511705" y="5012853"/>
                </a:lnTo>
                <a:lnTo>
                  <a:pt x="2512534" y="5015615"/>
                </a:lnTo>
                <a:cubicBezTo>
                  <a:pt x="2511604" y="5016338"/>
                  <a:pt x="2510520" y="5016751"/>
                  <a:pt x="2509591" y="5016957"/>
                </a:cubicBezTo>
                <a:cubicBezTo>
                  <a:pt x="2508661" y="5017164"/>
                  <a:pt x="2507732" y="5016957"/>
                  <a:pt x="2507422" y="5016544"/>
                </a:cubicBezTo>
                <a:lnTo>
                  <a:pt x="2507380" y="5016430"/>
                </a:lnTo>
                <a:lnTo>
                  <a:pt x="2506019" y="5017556"/>
                </a:lnTo>
                <a:lnTo>
                  <a:pt x="2490293" y="5032958"/>
                </a:lnTo>
                <a:lnTo>
                  <a:pt x="2478704" y="5048362"/>
                </a:lnTo>
                <a:lnTo>
                  <a:pt x="2467116" y="5068384"/>
                </a:lnTo>
                <a:lnTo>
                  <a:pt x="2455528" y="5088407"/>
                </a:lnTo>
                <a:lnTo>
                  <a:pt x="2443113" y="5113052"/>
                </a:lnTo>
                <a:lnTo>
                  <a:pt x="2437550" y="5093501"/>
                </a:lnTo>
                <a:lnTo>
                  <a:pt x="2434156" y="5097704"/>
                </a:lnTo>
                <a:cubicBezTo>
                  <a:pt x="2431368" y="5096878"/>
                  <a:pt x="2427960" y="5096258"/>
                  <a:pt x="2424552" y="5095329"/>
                </a:cubicBezTo>
                <a:lnTo>
                  <a:pt x="2422539" y="5094606"/>
                </a:lnTo>
                <a:lnTo>
                  <a:pt x="2424398" y="5097084"/>
                </a:lnTo>
                <a:cubicBezTo>
                  <a:pt x="2426721" y="5101524"/>
                  <a:pt x="2427960" y="5106687"/>
                  <a:pt x="2427650" y="5111953"/>
                </a:cubicBezTo>
                <a:cubicBezTo>
                  <a:pt x="2426411" y="5112160"/>
                  <a:pt x="2425327" y="5112366"/>
                  <a:pt x="2425637" y="5113605"/>
                </a:cubicBezTo>
                <a:cubicBezTo>
                  <a:pt x="2423778" y="5114121"/>
                  <a:pt x="2421919" y="5114328"/>
                  <a:pt x="2420060" y="5114225"/>
                </a:cubicBezTo>
                <a:cubicBezTo>
                  <a:pt x="2406894" y="5113399"/>
                  <a:pt x="2393418" y="5098014"/>
                  <a:pt x="2396981" y="5085003"/>
                </a:cubicBezTo>
                <a:cubicBezTo>
                  <a:pt x="2400079" y="5083868"/>
                  <a:pt x="2403022" y="5083558"/>
                  <a:pt x="2405965" y="5083868"/>
                </a:cubicBezTo>
                <a:lnTo>
                  <a:pt x="2406120" y="5083971"/>
                </a:lnTo>
                <a:lnTo>
                  <a:pt x="2406430" y="5081906"/>
                </a:lnTo>
                <a:lnTo>
                  <a:pt x="2406120" y="5080357"/>
                </a:lnTo>
                <a:lnTo>
                  <a:pt x="2404106" y="5081389"/>
                </a:lnTo>
                <a:cubicBezTo>
                  <a:pt x="2400079" y="5082318"/>
                  <a:pt x="2395587" y="5081389"/>
                  <a:pt x="2393109" y="5077569"/>
                </a:cubicBezTo>
                <a:cubicBezTo>
                  <a:pt x="2393573" y="5069618"/>
                  <a:pt x="2404261" y="5065178"/>
                  <a:pt x="2409992" y="5065694"/>
                </a:cubicBezTo>
                <a:lnTo>
                  <a:pt x="2412470" y="5069928"/>
                </a:lnTo>
                <a:lnTo>
                  <a:pt x="2416033" y="5068069"/>
                </a:lnTo>
                <a:lnTo>
                  <a:pt x="2418976" y="5067656"/>
                </a:lnTo>
                <a:lnTo>
                  <a:pt x="2418821" y="5063629"/>
                </a:lnTo>
                <a:cubicBezTo>
                  <a:pt x="2420060" y="5063319"/>
                  <a:pt x="2421919" y="5063423"/>
                  <a:pt x="2423933" y="5064145"/>
                </a:cubicBezTo>
                <a:lnTo>
                  <a:pt x="2427805" y="5067450"/>
                </a:lnTo>
                <a:lnTo>
                  <a:pt x="2428554" y="5061878"/>
                </a:lnTo>
                <a:lnTo>
                  <a:pt x="2428214" y="5060683"/>
                </a:lnTo>
                <a:lnTo>
                  <a:pt x="2421298" y="5037518"/>
                </a:lnTo>
                <a:lnTo>
                  <a:pt x="2420370" y="5037196"/>
                </a:lnTo>
                <a:lnTo>
                  <a:pt x="2418666" y="5040500"/>
                </a:lnTo>
                <a:lnTo>
                  <a:pt x="2417012" y="5036768"/>
                </a:lnTo>
                <a:lnTo>
                  <a:pt x="2395105" y="5065304"/>
                </a:lnTo>
                <a:lnTo>
                  <a:pt x="2371101" y="5099190"/>
                </a:lnTo>
                <a:lnTo>
                  <a:pt x="2365307" y="5094569"/>
                </a:lnTo>
                <a:lnTo>
                  <a:pt x="2359513" y="5091488"/>
                </a:lnTo>
                <a:lnTo>
                  <a:pt x="2355375" y="5083787"/>
                </a:lnTo>
                <a:lnTo>
                  <a:pt x="2336337" y="5043740"/>
                </a:lnTo>
                <a:lnTo>
                  <a:pt x="2315644" y="5006774"/>
                </a:lnTo>
                <a:lnTo>
                  <a:pt x="2315386" y="5006371"/>
                </a:lnTo>
                <a:lnTo>
                  <a:pt x="2313337" y="5007045"/>
                </a:lnTo>
                <a:lnTo>
                  <a:pt x="2314731" y="5010039"/>
                </a:lnTo>
                <a:lnTo>
                  <a:pt x="2315351" y="5015821"/>
                </a:lnTo>
                <a:lnTo>
                  <a:pt x="2320617" y="5021294"/>
                </a:lnTo>
                <a:lnTo>
                  <a:pt x="2315815" y="5021294"/>
                </a:lnTo>
                <a:lnTo>
                  <a:pt x="2315970" y="5022017"/>
                </a:lnTo>
                <a:cubicBezTo>
                  <a:pt x="2315815" y="5024702"/>
                  <a:pt x="2315196" y="5027180"/>
                  <a:pt x="2314421" y="5029761"/>
                </a:cubicBezTo>
                <a:cubicBezTo>
                  <a:pt x="2311013" y="5029451"/>
                  <a:pt x="2309310" y="5027386"/>
                  <a:pt x="2308225" y="5024598"/>
                </a:cubicBezTo>
                <a:lnTo>
                  <a:pt x="2306366" y="5017680"/>
                </a:lnTo>
                <a:lnTo>
                  <a:pt x="2305127" y="5016648"/>
                </a:lnTo>
                <a:lnTo>
                  <a:pt x="2302030" y="5019229"/>
                </a:lnTo>
                <a:cubicBezTo>
                  <a:pt x="2298157" y="5022740"/>
                  <a:pt x="2293820" y="5026044"/>
                  <a:pt x="2290723" y="5022430"/>
                </a:cubicBezTo>
                <a:cubicBezTo>
                  <a:pt x="2290877" y="5018919"/>
                  <a:pt x="2293201" y="5016648"/>
                  <a:pt x="2295989" y="5014582"/>
                </a:cubicBezTo>
                <a:lnTo>
                  <a:pt x="2300016" y="5011381"/>
                </a:lnTo>
                <a:lnTo>
                  <a:pt x="2298467" y="5009110"/>
                </a:lnTo>
                <a:cubicBezTo>
                  <a:pt x="2297693" y="5007354"/>
                  <a:pt x="2297538" y="5005496"/>
                  <a:pt x="2298157" y="5003844"/>
                </a:cubicBezTo>
                <a:cubicBezTo>
                  <a:pt x="2300016" y="5005599"/>
                  <a:pt x="2301875" y="5006942"/>
                  <a:pt x="2303888" y="5008181"/>
                </a:cubicBezTo>
                <a:lnTo>
                  <a:pt x="2304043" y="5008387"/>
                </a:lnTo>
                <a:lnTo>
                  <a:pt x="2304663" y="5007871"/>
                </a:lnTo>
                <a:cubicBezTo>
                  <a:pt x="2305747" y="5005289"/>
                  <a:pt x="2304508" y="5003018"/>
                  <a:pt x="2306057" y="5000437"/>
                </a:cubicBezTo>
                <a:lnTo>
                  <a:pt x="2307141" y="4999301"/>
                </a:lnTo>
                <a:lnTo>
                  <a:pt x="2306986" y="4995067"/>
                </a:lnTo>
                <a:lnTo>
                  <a:pt x="2308670" y="4995873"/>
                </a:lnTo>
                <a:lnTo>
                  <a:pt x="2308076" y="4994945"/>
                </a:lnTo>
                <a:lnTo>
                  <a:pt x="2307915" y="4994964"/>
                </a:lnTo>
                <a:cubicBezTo>
                  <a:pt x="2307915" y="4994964"/>
                  <a:pt x="2307451" y="4994551"/>
                  <a:pt x="2307141" y="4993931"/>
                </a:cubicBezTo>
                <a:lnTo>
                  <a:pt x="2306985" y="4993239"/>
                </a:lnTo>
                <a:lnTo>
                  <a:pt x="2294952" y="4974429"/>
                </a:lnTo>
                <a:lnTo>
                  <a:pt x="2274460" y="4952640"/>
                </a:lnTo>
                <a:lnTo>
                  <a:pt x="2272445" y="4952939"/>
                </a:lnTo>
                <a:lnTo>
                  <a:pt x="2272445" y="4953248"/>
                </a:lnTo>
                <a:cubicBezTo>
                  <a:pt x="2272290" y="4955004"/>
                  <a:pt x="2271360" y="4956552"/>
                  <a:pt x="2269967" y="4957895"/>
                </a:cubicBezTo>
                <a:lnTo>
                  <a:pt x="2268572" y="4958721"/>
                </a:lnTo>
                <a:cubicBezTo>
                  <a:pt x="2270431" y="4961199"/>
                  <a:pt x="2270431" y="4965639"/>
                  <a:pt x="2266868" y="4968840"/>
                </a:cubicBezTo>
                <a:cubicBezTo>
                  <a:pt x="2263306" y="4968737"/>
                  <a:pt x="2261137" y="4967394"/>
                  <a:pt x="2259434" y="4966775"/>
                </a:cubicBezTo>
                <a:lnTo>
                  <a:pt x="2259589" y="4960786"/>
                </a:lnTo>
                <a:lnTo>
                  <a:pt x="2254942" y="4957482"/>
                </a:lnTo>
                <a:cubicBezTo>
                  <a:pt x="2255097" y="4954436"/>
                  <a:pt x="2257458" y="4951338"/>
                  <a:pt x="2260401" y="4949054"/>
                </a:cubicBezTo>
                <a:lnTo>
                  <a:pt x="2267537" y="4946222"/>
                </a:lnTo>
                <a:lnTo>
                  <a:pt x="2246116" y="4928221"/>
                </a:lnTo>
                <a:lnTo>
                  <a:pt x="2241424" y="4925686"/>
                </a:lnTo>
                <a:lnTo>
                  <a:pt x="2241155" y="4926402"/>
                </a:lnTo>
                <a:lnTo>
                  <a:pt x="2239088" y="4924424"/>
                </a:lnTo>
                <a:lnTo>
                  <a:pt x="2220458" y="4914360"/>
                </a:lnTo>
                <a:lnTo>
                  <a:pt x="2192315" y="4905118"/>
                </a:lnTo>
                <a:lnTo>
                  <a:pt x="2181902" y="4905118"/>
                </a:lnTo>
                <a:lnTo>
                  <a:pt x="2175634" y="4908435"/>
                </a:lnTo>
                <a:lnTo>
                  <a:pt x="2176630" y="4905118"/>
                </a:lnTo>
                <a:lnTo>
                  <a:pt x="2169329" y="4905118"/>
                </a:lnTo>
                <a:lnTo>
                  <a:pt x="2173001" y="4916283"/>
                </a:lnTo>
                <a:cubicBezTo>
                  <a:pt x="2169594" y="4914940"/>
                  <a:pt x="2168819" y="4911223"/>
                  <a:pt x="2162158" y="4912875"/>
                </a:cubicBezTo>
                <a:lnTo>
                  <a:pt x="2168623" y="4905118"/>
                </a:lnTo>
                <a:lnTo>
                  <a:pt x="2162678" y="4905118"/>
                </a:lnTo>
                <a:lnTo>
                  <a:pt x="2161694" y="4906267"/>
                </a:lnTo>
                <a:cubicBezTo>
                  <a:pt x="2160765" y="4906267"/>
                  <a:pt x="2160300" y="4905544"/>
                  <a:pt x="2159990" y="4904615"/>
                </a:cubicBezTo>
                <a:lnTo>
                  <a:pt x="2159959" y="4904474"/>
                </a:lnTo>
                <a:lnTo>
                  <a:pt x="2152235" y="4901599"/>
                </a:lnTo>
                <a:lnTo>
                  <a:pt x="2148992" y="4901414"/>
                </a:lnTo>
                <a:lnTo>
                  <a:pt x="2147335" y="4898694"/>
                </a:lnTo>
                <a:lnTo>
                  <a:pt x="2137686" y="4889715"/>
                </a:lnTo>
                <a:lnTo>
                  <a:pt x="2136007" y="4887632"/>
                </a:lnTo>
                <a:lnTo>
                  <a:pt x="2135362" y="4890572"/>
                </a:lnTo>
                <a:cubicBezTo>
                  <a:pt x="2133658" y="4890778"/>
                  <a:pt x="2131489" y="4889643"/>
                  <a:pt x="2131799" y="4887371"/>
                </a:cubicBezTo>
                <a:lnTo>
                  <a:pt x="2135171" y="4886596"/>
                </a:lnTo>
                <a:lnTo>
                  <a:pt x="2125270" y="4874312"/>
                </a:lnTo>
                <a:lnTo>
                  <a:pt x="2113682" y="4855829"/>
                </a:lnTo>
                <a:lnTo>
                  <a:pt x="2105858" y="4844181"/>
                </a:lnTo>
                <a:lnTo>
                  <a:pt x="2099271" y="4846069"/>
                </a:lnTo>
                <a:cubicBezTo>
                  <a:pt x="2096637" y="4845552"/>
                  <a:pt x="2093695" y="4844416"/>
                  <a:pt x="2090752" y="4842454"/>
                </a:cubicBezTo>
                <a:cubicBezTo>
                  <a:pt x="2088738" y="4840906"/>
                  <a:pt x="2087189" y="4839047"/>
                  <a:pt x="2085795" y="4837085"/>
                </a:cubicBezTo>
                <a:lnTo>
                  <a:pt x="2085795" y="4836879"/>
                </a:lnTo>
                <a:lnTo>
                  <a:pt x="2084710" y="4837808"/>
                </a:lnTo>
                <a:cubicBezTo>
                  <a:pt x="2083936" y="4838324"/>
                  <a:pt x="2083007" y="4838634"/>
                  <a:pt x="2082542" y="4838531"/>
                </a:cubicBezTo>
                <a:lnTo>
                  <a:pt x="2082387" y="4838324"/>
                </a:lnTo>
                <a:lnTo>
                  <a:pt x="2083627" y="4844519"/>
                </a:lnTo>
                <a:cubicBezTo>
                  <a:pt x="2083781" y="4847514"/>
                  <a:pt x="2083471" y="4850508"/>
                  <a:pt x="2082542" y="4853296"/>
                </a:cubicBezTo>
                <a:lnTo>
                  <a:pt x="2080528" y="4856394"/>
                </a:lnTo>
                <a:lnTo>
                  <a:pt x="2081303" y="4858149"/>
                </a:lnTo>
                <a:cubicBezTo>
                  <a:pt x="2080838" y="4859079"/>
                  <a:pt x="2080219" y="4859595"/>
                  <a:pt x="2079444" y="4860008"/>
                </a:cubicBezTo>
                <a:lnTo>
                  <a:pt x="2077740" y="4860524"/>
                </a:lnTo>
                <a:lnTo>
                  <a:pt x="2076036" y="4863002"/>
                </a:lnTo>
                <a:cubicBezTo>
                  <a:pt x="2069685" y="4861660"/>
                  <a:pt x="2065194" y="4857737"/>
                  <a:pt x="2062870" y="4852780"/>
                </a:cubicBezTo>
                <a:cubicBezTo>
                  <a:pt x="2061786" y="4850715"/>
                  <a:pt x="2061166" y="4848443"/>
                  <a:pt x="2060856" y="4846069"/>
                </a:cubicBezTo>
                <a:lnTo>
                  <a:pt x="2056674" y="4847308"/>
                </a:lnTo>
                <a:lnTo>
                  <a:pt x="2055125" y="4847101"/>
                </a:lnTo>
                <a:lnTo>
                  <a:pt x="2054351" y="4851747"/>
                </a:lnTo>
                <a:cubicBezTo>
                  <a:pt x="2053731" y="4855361"/>
                  <a:pt x="2053421" y="4858666"/>
                  <a:pt x="2054661" y="4858769"/>
                </a:cubicBezTo>
                <a:cubicBezTo>
                  <a:pt x="2050014" y="4860421"/>
                  <a:pt x="2047536" y="4864138"/>
                  <a:pt x="2043043" y="4865894"/>
                </a:cubicBezTo>
                <a:cubicBezTo>
                  <a:pt x="2032820" y="4855465"/>
                  <a:pt x="2063180" y="4806728"/>
                  <a:pt x="2048465" y="4796092"/>
                </a:cubicBezTo>
                <a:cubicBezTo>
                  <a:pt x="2044437" y="4791962"/>
                  <a:pt x="2019654" y="4798157"/>
                  <a:pt x="2017640" y="4796092"/>
                </a:cubicBezTo>
                <a:cubicBezTo>
                  <a:pt x="2012838" y="4801668"/>
                  <a:pt x="2010205" y="4805385"/>
                  <a:pt x="2007727" y="4809103"/>
                </a:cubicBezTo>
                <a:cubicBezTo>
                  <a:pt x="2005713" y="4807038"/>
                  <a:pt x="2002616" y="4818499"/>
                  <a:pt x="1996419" y="4812304"/>
                </a:cubicBezTo>
                <a:cubicBezTo>
                  <a:pt x="1990224" y="4807967"/>
                  <a:pt x="1993942" y="4788761"/>
                  <a:pt x="1991927" y="4786696"/>
                </a:cubicBezTo>
                <a:cubicBezTo>
                  <a:pt x="1983718" y="4779572"/>
                  <a:pt x="1974115" y="4782256"/>
                  <a:pt x="1966215" y="4784838"/>
                </a:cubicBezTo>
                <a:lnTo>
                  <a:pt x="1960948" y="4786489"/>
                </a:lnTo>
                <a:lnTo>
                  <a:pt x="1959399" y="4791239"/>
                </a:lnTo>
                <a:lnTo>
                  <a:pt x="1964511" y="4793098"/>
                </a:lnTo>
                <a:lnTo>
                  <a:pt x="1966215" y="4793821"/>
                </a:lnTo>
                <a:lnTo>
                  <a:pt x="1966060" y="4792891"/>
                </a:lnTo>
                <a:lnTo>
                  <a:pt x="1966525" y="4793924"/>
                </a:lnTo>
                <a:lnTo>
                  <a:pt x="1971171" y="4795886"/>
                </a:lnTo>
                <a:cubicBezTo>
                  <a:pt x="1975508" y="4797951"/>
                  <a:pt x="1978916" y="4800636"/>
                  <a:pt x="1977367" y="4804146"/>
                </a:cubicBezTo>
                <a:cubicBezTo>
                  <a:pt x="1976128" y="4803734"/>
                  <a:pt x="1974424" y="4803423"/>
                  <a:pt x="1972565" y="4802907"/>
                </a:cubicBezTo>
                <a:lnTo>
                  <a:pt x="1968538" y="4801772"/>
                </a:lnTo>
                <a:lnTo>
                  <a:pt x="1968384" y="4802598"/>
                </a:lnTo>
                <a:lnTo>
                  <a:pt x="1968073" y="4801668"/>
                </a:lnTo>
                <a:lnTo>
                  <a:pt x="1966525" y="4801255"/>
                </a:lnTo>
                <a:cubicBezTo>
                  <a:pt x="1962652" y="4799913"/>
                  <a:pt x="1959245" y="4797848"/>
                  <a:pt x="1958780" y="4794440"/>
                </a:cubicBezTo>
                <a:lnTo>
                  <a:pt x="1959090" y="4792169"/>
                </a:lnTo>
                <a:lnTo>
                  <a:pt x="1958625" y="4793511"/>
                </a:lnTo>
                <a:cubicBezTo>
                  <a:pt x="1956922" y="4796506"/>
                  <a:pt x="1954907" y="4798571"/>
                  <a:pt x="1952739" y="4800119"/>
                </a:cubicBezTo>
                <a:lnTo>
                  <a:pt x="1949331" y="4801668"/>
                </a:lnTo>
                <a:lnTo>
                  <a:pt x="1947163" y="4805695"/>
                </a:lnTo>
                <a:lnTo>
                  <a:pt x="1950260" y="4805799"/>
                </a:lnTo>
                <a:cubicBezTo>
                  <a:pt x="1950105" y="4807760"/>
                  <a:pt x="1950725" y="4809309"/>
                  <a:pt x="1950570" y="4811271"/>
                </a:cubicBezTo>
                <a:cubicBezTo>
                  <a:pt x="1948247" y="4812407"/>
                  <a:pt x="1947163" y="4815091"/>
                  <a:pt x="1944839" y="4815298"/>
                </a:cubicBezTo>
                <a:cubicBezTo>
                  <a:pt x="1943910" y="4815402"/>
                  <a:pt x="1943135" y="4815195"/>
                  <a:pt x="1941896" y="4814575"/>
                </a:cubicBezTo>
                <a:lnTo>
                  <a:pt x="1941896" y="4814162"/>
                </a:lnTo>
                <a:lnTo>
                  <a:pt x="1936939" y="4820874"/>
                </a:lnTo>
                <a:lnTo>
                  <a:pt x="1929039" y="4828205"/>
                </a:lnTo>
                <a:lnTo>
                  <a:pt x="1933222" y="4829651"/>
                </a:lnTo>
                <a:cubicBezTo>
                  <a:pt x="1937559" y="4830993"/>
                  <a:pt x="1941276" y="4832542"/>
                  <a:pt x="1942515" y="4836569"/>
                </a:cubicBezTo>
                <a:cubicBezTo>
                  <a:pt x="1938798" y="4835949"/>
                  <a:pt x="1933841" y="4836672"/>
                  <a:pt x="1929349" y="4836569"/>
                </a:cubicBezTo>
                <a:cubicBezTo>
                  <a:pt x="1924858" y="4836569"/>
                  <a:pt x="1921140" y="4835949"/>
                  <a:pt x="1919746" y="4833058"/>
                </a:cubicBezTo>
                <a:cubicBezTo>
                  <a:pt x="1918816" y="4831096"/>
                  <a:pt x="1919126" y="4828205"/>
                  <a:pt x="1920985" y="4823662"/>
                </a:cubicBezTo>
                <a:lnTo>
                  <a:pt x="1925787" y="4826759"/>
                </a:lnTo>
                <a:lnTo>
                  <a:pt x="1923928" y="4818912"/>
                </a:lnTo>
                <a:lnTo>
                  <a:pt x="1925322" y="4813646"/>
                </a:lnTo>
                <a:lnTo>
                  <a:pt x="1923773" y="4814162"/>
                </a:lnTo>
                <a:cubicBezTo>
                  <a:pt x="1923153" y="4814059"/>
                  <a:pt x="1922534" y="4813852"/>
                  <a:pt x="1922224" y="4813440"/>
                </a:cubicBezTo>
                <a:cubicBezTo>
                  <a:pt x="1921759" y="4813026"/>
                  <a:pt x="1921604" y="4812407"/>
                  <a:pt x="1921759" y="4811168"/>
                </a:cubicBezTo>
                <a:cubicBezTo>
                  <a:pt x="1921449" y="4809206"/>
                  <a:pt x="1922224" y="4808793"/>
                  <a:pt x="1925167" y="4808896"/>
                </a:cubicBezTo>
                <a:lnTo>
                  <a:pt x="1926406" y="4809103"/>
                </a:lnTo>
                <a:lnTo>
                  <a:pt x="1927026" y="4806728"/>
                </a:lnTo>
                <a:lnTo>
                  <a:pt x="1923928" y="4803734"/>
                </a:lnTo>
                <a:cubicBezTo>
                  <a:pt x="1919126" y="4800636"/>
                  <a:pt x="1914789" y="4801772"/>
                  <a:pt x="1910297" y="4800842"/>
                </a:cubicBezTo>
                <a:cubicBezTo>
                  <a:pt x="1908283" y="4792995"/>
                  <a:pt x="1900539" y="4785664"/>
                  <a:pt x="1895892" y="4777713"/>
                </a:cubicBezTo>
                <a:cubicBezTo>
                  <a:pt x="1898835" y="4767490"/>
                  <a:pt x="1898370" y="4757991"/>
                  <a:pt x="1901313" y="4747665"/>
                </a:cubicBezTo>
                <a:cubicBezTo>
                  <a:pt x="1903947" y="4747149"/>
                  <a:pt x="1906580" y="4745807"/>
                  <a:pt x="1909058" y="4744154"/>
                </a:cubicBezTo>
                <a:lnTo>
                  <a:pt x="1912311" y="4741780"/>
                </a:lnTo>
                <a:lnTo>
                  <a:pt x="1914169" y="4730731"/>
                </a:lnTo>
                <a:lnTo>
                  <a:pt x="1910452" y="4727427"/>
                </a:lnTo>
                <a:lnTo>
                  <a:pt x="1909058" y="4729079"/>
                </a:lnTo>
                <a:cubicBezTo>
                  <a:pt x="1908439" y="4729492"/>
                  <a:pt x="1907664" y="4729802"/>
                  <a:pt x="1907044" y="4729802"/>
                </a:cubicBezTo>
                <a:cubicBezTo>
                  <a:pt x="1903172" y="4727737"/>
                  <a:pt x="1904876" y="4724536"/>
                  <a:pt x="1907044" y="4723090"/>
                </a:cubicBezTo>
                <a:lnTo>
                  <a:pt x="1908129" y="4722780"/>
                </a:lnTo>
                <a:lnTo>
                  <a:pt x="1903482" y="4719993"/>
                </a:lnTo>
                <a:cubicBezTo>
                  <a:pt x="1899919" y="4718237"/>
                  <a:pt x="1896046" y="4717308"/>
                  <a:pt x="1892174" y="4718960"/>
                </a:cubicBezTo>
                <a:lnTo>
                  <a:pt x="1889541" y="4721128"/>
                </a:lnTo>
                <a:lnTo>
                  <a:pt x="1890935" y="4722780"/>
                </a:lnTo>
                <a:cubicBezTo>
                  <a:pt x="1892329" y="4725775"/>
                  <a:pt x="1892484" y="4731041"/>
                  <a:pt x="1892174" y="4733622"/>
                </a:cubicBezTo>
                <a:cubicBezTo>
                  <a:pt x="1891400" y="4733313"/>
                  <a:pt x="1890935" y="4732590"/>
                  <a:pt x="1890470" y="4731557"/>
                </a:cubicBezTo>
                <a:cubicBezTo>
                  <a:pt x="1889851" y="4730112"/>
                  <a:pt x="1889386" y="4728046"/>
                  <a:pt x="1889231" y="4725981"/>
                </a:cubicBezTo>
                <a:lnTo>
                  <a:pt x="1889231" y="4723194"/>
                </a:lnTo>
                <a:lnTo>
                  <a:pt x="1889231" y="4721335"/>
                </a:lnTo>
                <a:lnTo>
                  <a:pt x="1888457" y="4722058"/>
                </a:lnTo>
                <a:lnTo>
                  <a:pt x="1889231" y="4723194"/>
                </a:lnTo>
                <a:lnTo>
                  <a:pt x="1887218" y="4722987"/>
                </a:lnTo>
                <a:lnTo>
                  <a:pt x="1886443" y="4723607"/>
                </a:lnTo>
                <a:cubicBezTo>
                  <a:pt x="1884275" y="4723503"/>
                  <a:pt x="1883965" y="4727427"/>
                  <a:pt x="1883965" y="4727427"/>
                </a:cubicBezTo>
                <a:cubicBezTo>
                  <a:pt x="1879783" y="4725155"/>
                  <a:pt x="1877149" y="4730835"/>
                  <a:pt x="1874826" y="4732590"/>
                </a:cubicBezTo>
                <a:cubicBezTo>
                  <a:pt x="1874826" y="4732590"/>
                  <a:pt x="1874671" y="4732590"/>
                  <a:pt x="1868476" y="4728356"/>
                </a:cubicBezTo>
                <a:cubicBezTo>
                  <a:pt x="1873277" y="4722780"/>
                  <a:pt x="1866616" y="4724329"/>
                  <a:pt x="1871418" y="4718753"/>
                </a:cubicBezTo>
                <a:cubicBezTo>
                  <a:pt x="1871418" y="4718753"/>
                  <a:pt x="1871418" y="4718753"/>
                  <a:pt x="1872348" y="4718134"/>
                </a:cubicBezTo>
                <a:lnTo>
                  <a:pt x="1873742" y="4717102"/>
                </a:lnTo>
                <a:lnTo>
                  <a:pt x="1872193" y="4715449"/>
                </a:lnTo>
                <a:lnTo>
                  <a:pt x="1876375" y="4715036"/>
                </a:lnTo>
                <a:lnTo>
                  <a:pt x="1878389" y="4713384"/>
                </a:lnTo>
                <a:cubicBezTo>
                  <a:pt x="1880713" y="4713487"/>
                  <a:pt x="1880713" y="4713487"/>
                  <a:pt x="1883035" y="4711732"/>
                </a:cubicBezTo>
                <a:lnTo>
                  <a:pt x="1883191" y="4711526"/>
                </a:lnTo>
                <a:lnTo>
                  <a:pt x="1881022" y="4707602"/>
                </a:lnTo>
                <a:lnTo>
                  <a:pt x="1881022" y="4705846"/>
                </a:lnTo>
                <a:lnTo>
                  <a:pt x="1880867" y="4705846"/>
                </a:lnTo>
                <a:lnTo>
                  <a:pt x="1881177" y="4705537"/>
                </a:lnTo>
                <a:lnTo>
                  <a:pt x="1881177" y="4704814"/>
                </a:lnTo>
                <a:lnTo>
                  <a:pt x="1880402" y="4705124"/>
                </a:lnTo>
                <a:cubicBezTo>
                  <a:pt x="1878389" y="4705434"/>
                  <a:pt x="1876220" y="4705330"/>
                  <a:pt x="1874981" y="4704504"/>
                </a:cubicBezTo>
                <a:cubicBezTo>
                  <a:pt x="1875755" y="4702852"/>
                  <a:pt x="1876530" y="4701200"/>
                  <a:pt x="1877304" y="4699548"/>
                </a:cubicBezTo>
                <a:lnTo>
                  <a:pt x="1877924" y="4699754"/>
                </a:lnTo>
                <a:lnTo>
                  <a:pt x="1878079" y="4699548"/>
                </a:lnTo>
                <a:cubicBezTo>
                  <a:pt x="1878543" y="4699032"/>
                  <a:pt x="1878853" y="4698309"/>
                  <a:pt x="1878698" y="4697379"/>
                </a:cubicBezTo>
                <a:cubicBezTo>
                  <a:pt x="1879783" y="4697689"/>
                  <a:pt x="1881022" y="4697999"/>
                  <a:pt x="1881796" y="4698515"/>
                </a:cubicBezTo>
                <a:lnTo>
                  <a:pt x="1882261" y="4699445"/>
                </a:lnTo>
                <a:lnTo>
                  <a:pt x="1882571" y="4699341"/>
                </a:lnTo>
                <a:lnTo>
                  <a:pt x="1883346" y="4697896"/>
                </a:lnTo>
                <a:lnTo>
                  <a:pt x="1882880" y="4696244"/>
                </a:lnTo>
                <a:lnTo>
                  <a:pt x="1884430" y="4695934"/>
                </a:lnTo>
                <a:lnTo>
                  <a:pt x="1882261" y="4694178"/>
                </a:lnTo>
                <a:lnTo>
                  <a:pt x="1878234" y="4692320"/>
                </a:lnTo>
                <a:lnTo>
                  <a:pt x="1877459" y="4693043"/>
                </a:lnTo>
                <a:cubicBezTo>
                  <a:pt x="1875446" y="4693869"/>
                  <a:pt x="1873432" y="4694282"/>
                  <a:pt x="1872193" y="4693766"/>
                </a:cubicBezTo>
                <a:lnTo>
                  <a:pt x="1871418" y="4690255"/>
                </a:lnTo>
                <a:lnTo>
                  <a:pt x="1869869" y="4689945"/>
                </a:lnTo>
                <a:cubicBezTo>
                  <a:pt x="1865533" y="4689222"/>
                  <a:pt x="1861660" y="4688912"/>
                  <a:pt x="1860576" y="4688912"/>
                </a:cubicBezTo>
                <a:cubicBezTo>
                  <a:pt x="1861040" y="4683027"/>
                  <a:pt x="1867856" y="4674353"/>
                  <a:pt x="1867081" y="4665989"/>
                </a:cubicBezTo>
                <a:lnTo>
                  <a:pt x="1864758" y="4661653"/>
                </a:lnTo>
                <a:lnTo>
                  <a:pt x="1863983" y="4662685"/>
                </a:lnTo>
                <a:cubicBezTo>
                  <a:pt x="1863983" y="4663511"/>
                  <a:pt x="1863209" y="4664338"/>
                  <a:pt x="1862434" y="4664234"/>
                </a:cubicBezTo>
                <a:cubicBezTo>
                  <a:pt x="1862434" y="4664234"/>
                  <a:pt x="1861660" y="4665164"/>
                  <a:pt x="1861660" y="4665989"/>
                </a:cubicBezTo>
                <a:cubicBezTo>
                  <a:pt x="1860111" y="4667642"/>
                  <a:pt x="1859336" y="4667642"/>
                  <a:pt x="1858562" y="4667538"/>
                </a:cubicBezTo>
                <a:cubicBezTo>
                  <a:pt x="1858562" y="4667538"/>
                  <a:pt x="1859336" y="4666712"/>
                  <a:pt x="1859181" y="4665886"/>
                </a:cubicBezTo>
                <a:cubicBezTo>
                  <a:pt x="1859181" y="4665886"/>
                  <a:pt x="1859956" y="4665060"/>
                  <a:pt x="1860731" y="4664234"/>
                </a:cubicBezTo>
                <a:cubicBezTo>
                  <a:pt x="1860731" y="4664234"/>
                  <a:pt x="1860731" y="4663408"/>
                  <a:pt x="1860731" y="4662582"/>
                </a:cubicBezTo>
                <a:lnTo>
                  <a:pt x="1862744" y="4659691"/>
                </a:lnTo>
                <a:lnTo>
                  <a:pt x="1862124" y="4659588"/>
                </a:lnTo>
                <a:lnTo>
                  <a:pt x="1856393" y="4658452"/>
                </a:lnTo>
                <a:lnTo>
                  <a:pt x="1848803" y="4662376"/>
                </a:lnTo>
                <a:cubicBezTo>
                  <a:pt x="1843072" y="4665370"/>
                  <a:pt x="1836722" y="4667951"/>
                  <a:pt x="1831610" y="4663718"/>
                </a:cubicBezTo>
                <a:cubicBezTo>
                  <a:pt x="1827428" y="4661446"/>
                  <a:pt x="1827737" y="4657626"/>
                  <a:pt x="1832229" y="4655974"/>
                </a:cubicBezTo>
                <a:lnTo>
                  <a:pt x="1838425" y="4650811"/>
                </a:lnTo>
                <a:lnTo>
                  <a:pt x="1838116" y="4650501"/>
                </a:lnTo>
                <a:cubicBezTo>
                  <a:pt x="1837341" y="4649159"/>
                  <a:pt x="1836876" y="4647610"/>
                  <a:pt x="1836567" y="4645958"/>
                </a:cubicBezTo>
                <a:lnTo>
                  <a:pt x="1836722" y="4642137"/>
                </a:lnTo>
                <a:lnTo>
                  <a:pt x="1835792" y="4643273"/>
                </a:lnTo>
                <a:cubicBezTo>
                  <a:pt x="1835017" y="4644306"/>
                  <a:pt x="1834244" y="4645235"/>
                  <a:pt x="1833933" y="4644719"/>
                </a:cubicBezTo>
                <a:cubicBezTo>
                  <a:pt x="1833933" y="4644719"/>
                  <a:pt x="1834708" y="4643893"/>
                  <a:pt x="1835483" y="4643067"/>
                </a:cubicBezTo>
                <a:cubicBezTo>
                  <a:pt x="1836256" y="4642241"/>
                  <a:pt x="1836256" y="4642137"/>
                  <a:pt x="1835327" y="4641208"/>
                </a:cubicBezTo>
                <a:cubicBezTo>
                  <a:pt x="1835792" y="4640795"/>
                  <a:pt x="1835947" y="4640588"/>
                  <a:pt x="1836256" y="4640588"/>
                </a:cubicBezTo>
                <a:lnTo>
                  <a:pt x="1836876" y="4640485"/>
                </a:lnTo>
                <a:lnTo>
                  <a:pt x="1838890" y="4635736"/>
                </a:lnTo>
                <a:lnTo>
                  <a:pt x="1842298" y="4631605"/>
                </a:lnTo>
                <a:lnTo>
                  <a:pt x="1842298" y="4631502"/>
                </a:lnTo>
                <a:lnTo>
                  <a:pt x="1843692" y="4629850"/>
                </a:lnTo>
                <a:cubicBezTo>
                  <a:pt x="1846015" y="4627578"/>
                  <a:pt x="1848184" y="4626236"/>
                  <a:pt x="1849733" y="4625513"/>
                </a:cubicBezTo>
                <a:lnTo>
                  <a:pt x="1852366" y="4624584"/>
                </a:lnTo>
                <a:lnTo>
                  <a:pt x="1851281" y="4621176"/>
                </a:lnTo>
                <a:lnTo>
                  <a:pt x="1847100" y="4616840"/>
                </a:lnTo>
                <a:lnTo>
                  <a:pt x="1845396" y="4617252"/>
                </a:lnTo>
                <a:lnTo>
                  <a:pt x="1845086" y="4617252"/>
                </a:lnTo>
                <a:lnTo>
                  <a:pt x="1845086" y="4618079"/>
                </a:lnTo>
                <a:cubicBezTo>
                  <a:pt x="1845241" y="4618285"/>
                  <a:pt x="1845396" y="4618388"/>
                  <a:pt x="1846015" y="4618492"/>
                </a:cubicBezTo>
                <a:cubicBezTo>
                  <a:pt x="1846015" y="4618492"/>
                  <a:pt x="1845396" y="4619008"/>
                  <a:pt x="1845396" y="4619008"/>
                </a:cubicBezTo>
                <a:cubicBezTo>
                  <a:pt x="1844931" y="4618285"/>
                  <a:pt x="1845396" y="4618905"/>
                  <a:pt x="1845241" y="4620144"/>
                </a:cubicBezTo>
                <a:cubicBezTo>
                  <a:pt x="1843382" y="4620350"/>
                  <a:pt x="1842607" y="4620763"/>
                  <a:pt x="1841523" y="4620453"/>
                </a:cubicBezTo>
                <a:lnTo>
                  <a:pt x="1841368" y="4620453"/>
                </a:lnTo>
                <a:lnTo>
                  <a:pt x="1837960" y="4626752"/>
                </a:lnTo>
                <a:lnTo>
                  <a:pt x="1836256" y="4627785"/>
                </a:lnTo>
                <a:lnTo>
                  <a:pt x="1835637" y="4629540"/>
                </a:lnTo>
                <a:cubicBezTo>
                  <a:pt x="1834863" y="4629334"/>
                  <a:pt x="1834708" y="4629437"/>
                  <a:pt x="1834863" y="4628508"/>
                </a:cubicBezTo>
                <a:cubicBezTo>
                  <a:pt x="1834708" y="4628611"/>
                  <a:pt x="1834708" y="4628611"/>
                  <a:pt x="1834708" y="4628714"/>
                </a:cubicBezTo>
                <a:lnTo>
                  <a:pt x="1834553" y="4628301"/>
                </a:lnTo>
                <a:lnTo>
                  <a:pt x="1833933" y="4628508"/>
                </a:lnTo>
                <a:cubicBezTo>
                  <a:pt x="1833314" y="4628508"/>
                  <a:pt x="1832694" y="4628301"/>
                  <a:pt x="1832075" y="4627785"/>
                </a:cubicBezTo>
                <a:cubicBezTo>
                  <a:pt x="1831145" y="4627681"/>
                  <a:pt x="1831300" y="4624274"/>
                  <a:pt x="1832229" y="4623551"/>
                </a:cubicBezTo>
                <a:cubicBezTo>
                  <a:pt x="1833933" y="4622003"/>
                  <a:pt x="1834708" y="4621280"/>
                  <a:pt x="1836412" y="4621486"/>
                </a:cubicBezTo>
                <a:cubicBezTo>
                  <a:pt x="1837341" y="4620660"/>
                  <a:pt x="1838116" y="4619937"/>
                  <a:pt x="1838890" y="4619628"/>
                </a:cubicBezTo>
                <a:lnTo>
                  <a:pt x="1840903" y="4620247"/>
                </a:lnTo>
                <a:lnTo>
                  <a:pt x="1839664" y="4619524"/>
                </a:lnTo>
                <a:cubicBezTo>
                  <a:pt x="1839200" y="4619111"/>
                  <a:pt x="1838735" y="4618595"/>
                  <a:pt x="1838890" y="4617975"/>
                </a:cubicBezTo>
                <a:cubicBezTo>
                  <a:pt x="1839510" y="4617459"/>
                  <a:pt x="1839045" y="4616736"/>
                  <a:pt x="1839664" y="4616323"/>
                </a:cubicBezTo>
                <a:cubicBezTo>
                  <a:pt x="1840129" y="4615601"/>
                  <a:pt x="1840439" y="4615291"/>
                  <a:pt x="1840749" y="4614981"/>
                </a:cubicBezTo>
                <a:cubicBezTo>
                  <a:pt x="1839355" y="4616220"/>
                  <a:pt x="1837651" y="4617149"/>
                  <a:pt x="1835792" y="4617252"/>
                </a:cubicBezTo>
                <a:lnTo>
                  <a:pt x="1837960" y="4610231"/>
                </a:lnTo>
                <a:lnTo>
                  <a:pt x="1835483" y="4608785"/>
                </a:lnTo>
                <a:lnTo>
                  <a:pt x="1835017" y="4609921"/>
                </a:lnTo>
                <a:cubicBezTo>
                  <a:pt x="1835017" y="4609921"/>
                  <a:pt x="1835017" y="4610025"/>
                  <a:pt x="1834088" y="4609095"/>
                </a:cubicBezTo>
                <a:lnTo>
                  <a:pt x="1834244" y="4608373"/>
                </a:lnTo>
                <a:lnTo>
                  <a:pt x="1827273" y="4606720"/>
                </a:lnTo>
                <a:cubicBezTo>
                  <a:pt x="1824794" y="4606411"/>
                  <a:pt x="1822316" y="4606307"/>
                  <a:pt x="1819528" y="4605998"/>
                </a:cubicBezTo>
                <a:lnTo>
                  <a:pt x="1816585" y="4605378"/>
                </a:lnTo>
                <a:lnTo>
                  <a:pt x="1817669" y="4608682"/>
                </a:lnTo>
                <a:lnTo>
                  <a:pt x="1817979" y="4609508"/>
                </a:lnTo>
                <a:lnTo>
                  <a:pt x="1819992" y="4609612"/>
                </a:lnTo>
                <a:cubicBezTo>
                  <a:pt x="1819992" y="4609612"/>
                  <a:pt x="1824330" y="4611161"/>
                  <a:pt x="1823710" y="4614258"/>
                </a:cubicBezTo>
                <a:cubicBezTo>
                  <a:pt x="1823865" y="4614568"/>
                  <a:pt x="1823246" y="4615187"/>
                  <a:pt x="1822316" y="4615601"/>
                </a:cubicBezTo>
                <a:lnTo>
                  <a:pt x="1819992" y="4616117"/>
                </a:lnTo>
                <a:lnTo>
                  <a:pt x="1820922" y="4619731"/>
                </a:lnTo>
                <a:lnTo>
                  <a:pt x="1822626" y="4621589"/>
                </a:lnTo>
                <a:lnTo>
                  <a:pt x="1822781" y="4622312"/>
                </a:lnTo>
                <a:lnTo>
                  <a:pt x="1823710" y="4622622"/>
                </a:lnTo>
                <a:cubicBezTo>
                  <a:pt x="1823710" y="4622622"/>
                  <a:pt x="1823710" y="4622622"/>
                  <a:pt x="1823710" y="4623345"/>
                </a:cubicBezTo>
                <a:lnTo>
                  <a:pt x="1822935" y="4622932"/>
                </a:lnTo>
                <a:lnTo>
                  <a:pt x="1823091" y="4623861"/>
                </a:lnTo>
                <a:lnTo>
                  <a:pt x="1823865" y="4623551"/>
                </a:lnTo>
                <a:cubicBezTo>
                  <a:pt x="1823865" y="4623551"/>
                  <a:pt x="1824020" y="4624274"/>
                  <a:pt x="1823555" y="4625410"/>
                </a:cubicBezTo>
                <a:cubicBezTo>
                  <a:pt x="1823555" y="4625410"/>
                  <a:pt x="1823401" y="4625307"/>
                  <a:pt x="1823246" y="4625100"/>
                </a:cubicBezTo>
                <a:lnTo>
                  <a:pt x="1823091" y="4624274"/>
                </a:lnTo>
                <a:lnTo>
                  <a:pt x="1821387" y="4626959"/>
                </a:lnTo>
                <a:cubicBezTo>
                  <a:pt x="1820457" y="4627681"/>
                  <a:pt x="1819063" y="4627991"/>
                  <a:pt x="1817669" y="4627888"/>
                </a:cubicBezTo>
                <a:cubicBezTo>
                  <a:pt x="1816120" y="4627785"/>
                  <a:pt x="1814261" y="4627062"/>
                  <a:pt x="1812712" y="4625513"/>
                </a:cubicBezTo>
                <a:cubicBezTo>
                  <a:pt x="1812712" y="4623551"/>
                  <a:pt x="1815036" y="4620247"/>
                  <a:pt x="1817204" y="4618698"/>
                </a:cubicBezTo>
                <a:lnTo>
                  <a:pt x="1817359" y="4618698"/>
                </a:lnTo>
                <a:lnTo>
                  <a:pt x="1817359" y="4618492"/>
                </a:lnTo>
                <a:cubicBezTo>
                  <a:pt x="1816430" y="4617149"/>
                  <a:pt x="1815656" y="4615187"/>
                  <a:pt x="1815036" y="4613536"/>
                </a:cubicBezTo>
                <a:lnTo>
                  <a:pt x="1815036" y="4612813"/>
                </a:lnTo>
                <a:lnTo>
                  <a:pt x="1813177" y="4611986"/>
                </a:lnTo>
                <a:cubicBezTo>
                  <a:pt x="1812557" y="4611470"/>
                  <a:pt x="1812248" y="4610644"/>
                  <a:pt x="1812712" y="4609508"/>
                </a:cubicBezTo>
                <a:lnTo>
                  <a:pt x="1814416" y="4609508"/>
                </a:lnTo>
                <a:lnTo>
                  <a:pt x="1814416" y="4609405"/>
                </a:lnTo>
                <a:cubicBezTo>
                  <a:pt x="1814416" y="4609095"/>
                  <a:pt x="1814571" y="4608682"/>
                  <a:pt x="1814261" y="4608373"/>
                </a:cubicBezTo>
                <a:cubicBezTo>
                  <a:pt x="1814261" y="4608373"/>
                  <a:pt x="1813797" y="4607650"/>
                  <a:pt x="1813952" y="4606411"/>
                </a:cubicBezTo>
                <a:lnTo>
                  <a:pt x="1814416" y="4604965"/>
                </a:lnTo>
                <a:lnTo>
                  <a:pt x="1809924" y="4603933"/>
                </a:lnTo>
                <a:cubicBezTo>
                  <a:pt x="1812248" y="4602177"/>
                  <a:pt x="1814571" y="4600318"/>
                  <a:pt x="1816895" y="4598563"/>
                </a:cubicBezTo>
                <a:cubicBezTo>
                  <a:pt x="1819218" y="4596705"/>
                  <a:pt x="1819218" y="4596705"/>
                  <a:pt x="1819373" y="4594846"/>
                </a:cubicBezTo>
                <a:cubicBezTo>
                  <a:pt x="1813177" y="4590509"/>
                  <a:pt x="1808375" y="4594123"/>
                  <a:pt x="1799856" y="4589683"/>
                </a:cubicBezTo>
                <a:lnTo>
                  <a:pt x="1811628" y="4587102"/>
                </a:lnTo>
                <a:lnTo>
                  <a:pt x="1807137" y="4583591"/>
                </a:lnTo>
                <a:cubicBezTo>
                  <a:pt x="1809460" y="4578738"/>
                  <a:pt x="1813487" y="4574711"/>
                  <a:pt x="1818444" y="4571510"/>
                </a:cubicBezTo>
                <a:lnTo>
                  <a:pt x="1827273" y="4568103"/>
                </a:lnTo>
                <a:lnTo>
                  <a:pt x="1828512" y="4564179"/>
                </a:lnTo>
                <a:lnTo>
                  <a:pt x="1831610" y="4562837"/>
                </a:lnTo>
                <a:lnTo>
                  <a:pt x="1831610" y="4562734"/>
                </a:lnTo>
                <a:lnTo>
                  <a:pt x="1831765" y="4562837"/>
                </a:lnTo>
                <a:lnTo>
                  <a:pt x="1832539" y="4562424"/>
                </a:lnTo>
                <a:cubicBezTo>
                  <a:pt x="1837186" y="4561288"/>
                  <a:pt x="1843072" y="4561701"/>
                  <a:pt x="1846635" y="4557571"/>
                </a:cubicBezTo>
                <a:cubicBezTo>
                  <a:pt x="1846635" y="4557571"/>
                  <a:pt x="1848029" y="4556228"/>
                  <a:pt x="1849888" y="4554060"/>
                </a:cubicBezTo>
                <a:lnTo>
                  <a:pt x="1853296" y="4549620"/>
                </a:lnTo>
                <a:lnTo>
                  <a:pt x="1852676" y="4547658"/>
                </a:lnTo>
                <a:lnTo>
                  <a:pt x="1853450" y="4546419"/>
                </a:lnTo>
                <a:lnTo>
                  <a:pt x="1848184" y="4547451"/>
                </a:lnTo>
                <a:cubicBezTo>
                  <a:pt x="1841833" y="4548587"/>
                  <a:pt x="1835792" y="4549000"/>
                  <a:pt x="1831145" y="4544664"/>
                </a:cubicBezTo>
                <a:cubicBezTo>
                  <a:pt x="1829441" y="4533822"/>
                  <a:pt x="1823555" y="4532789"/>
                  <a:pt x="1819992" y="4527110"/>
                </a:cubicBezTo>
                <a:lnTo>
                  <a:pt x="1820612" y="4519572"/>
                </a:lnTo>
                <a:lnTo>
                  <a:pt x="1818753" y="4518849"/>
                </a:lnTo>
                <a:cubicBezTo>
                  <a:pt x="1814571" y="4516681"/>
                  <a:pt x="1817050" y="4512861"/>
                  <a:pt x="1819373" y="4511002"/>
                </a:cubicBezTo>
                <a:cubicBezTo>
                  <a:pt x="1819373" y="4511002"/>
                  <a:pt x="1819838" y="4511105"/>
                  <a:pt x="1820768" y="4511208"/>
                </a:cubicBezTo>
                <a:lnTo>
                  <a:pt x="1821696" y="4511312"/>
                </a:lnTo>
                <a:lnTo>
                  <a:pt x="1822316" y="4508627"/>
                </a:lnTo>
                <a:lnTo>
                  <a:pt x="1819992" y="4505013"/>
                </a:lnTo>
                <a:lnTo>
                  <a:pt x="1823401" y="4504290"/>
                </a:lnTo>
                <a:lnTo>
                  <a:pt x="1823865" y="4502329"/>
                </a:lnTo>
                <a:lnTo>
                  <a:pt x="1826654" y="4496959"/>
                </a:lnTo>
                <a:lnTo>
                  <a:pt x="1826189" y="4496649"/>
                </a:lnTo>
                <a:cubicBezTo>
                  <a:pt x="1825724" y="4495927"/>
                  <a:pt x="1825724" y="4494997"/>
                  <a:pt x="1826189" y="4494068"/>
                </a:cubicBezTo>
                <a:lnTo>
                  <a:pt x="1829596" y="4491486"/>
                </a:lnTo>
                <a:lnTo>
                  <a:pt x="1829906" y="4490764"/>
                </a:lnTo>
                <a:cubicBezTo>
                  <a:pt x="1832539" y="4487253"/>
                  <a:pt x="1835483" y="4484259"/>
                  <a:pt x="1839355" y="4481987"/>
                </a:cubicBezTo>
                <a:cubicBezTo>
                  <a:pt x="1842453" y="4480025"/>
                  <a:pt x="1845241" y="4478993"/>
                  <a:pt x="1848029" y="4478476"/>
                </a:cubicBezTo>
                <a:lnTo>
                  <a:pt x="1851127" y="4478373"/>
                </a:lnTo>
                <a:lnTo>
                  <a:pt x="1851198" y="4478336"/>
                </a:lnTo>
                <a:lnTo>
                  <a:pt x="1831430" y="4444581"/>
                </a:lnTo>
                <a:lnTo>
                  <a:pt x="1826313" y="4433867"/>
                </a:lnTo>
                <a:lnTo>
                  <a:pt x="1820457" y="4439239"/>
                </a:lnTo>
                <a:cubicBezTo>
                  <a:pt x="1819683" y="4438206"/>
                  <a:pt x="1818908" y="4437174"/>
                  <a:pt x="1818134" y="4436141"/>
                </a:cubicBezTo>
                <a:lnTo>
                  <a:pt x="1823652" y="4428325"/>
                </a:lnTo>
                <a:lnTo>
                  <a:pt x="1817359" y="4415316"/>
                </a:lnTo>
                <a:lnTo>
                  <a:pt x="1810946" y="4403381"/>
                </a:lnTo>
                <a:lnTo>
                  <a:pt x="1810389" y="4404545"/>
                </a:lnTo>
                <a:cubicBezTo>
                  <a:pt x="1807756" y="4402789"/>
                  <a:pt x="1806671" y="4401344"/>
                  <a:pt x="1806362" y="4400208"/>
                </a:cubicBezTo>
                <a:lnTo>
                  <a:pt x="1807881" y="4397677"/>
                </a:lnTo>
                <a:lnTo>
                  <a:pt x="1802461" y="4387591"/>
                </a:lnTo>
                <a:lnTo>
                  <a:pt x="1795011" y="4376810"/>
                </a:lnTo>
                <a:lnTo>
                  <a:pt x="1793299" y="4375361"/>
                </a:lnTo>
                <a:lnTo>
                  <a:pt x="1793660" y="4377388"/>
                </a:lnTo>
                <a:cubicBezTo>
                  <a:pt x="1792886" y="4377802"/>
                  <a:pt x="1791802" y="4377388"/>
                  <a:pt x="1791027" y="4377802"/>
                </a:cubicBezTo>
                <a:cubicBezTo>
                  <a:pt x="1790717" y="4376975"/>
                  <a:pt x="1790098" y="4375427"/>
                  <a:pt x="1790562" y="4374187"/>
                </a:cubicBezTo>
                <a:lnTo>
                  <a:pt x="1791417" y="4373770"/>
                </a:lnTo>
                <a:lnTo>
                  <a:pt x="1785906" y="4369108"/>
                </a:lnTo>
                <a:lnTo>
                  <a:pt x="1775147" y="4366027"/>
                </a:lnTo>
                <a:lnTo>
                  <a:pt x="1764386" y="4369108"/>
                </a:lnTo>
                <a:lnTo>
                  <a:pt x="1750315" y="4378349"/>
                </a:lnTo>
                <a:lnTo>
                  <a:pt x="1744521" y="4379891"/>
                </a:lnTo>
                <a:lnTo>
                  <a:pt x="1737899" y="4378349"/>
                </a:lnTo>
                <a:lnTo>
                  <a:pt x="1730450" y="4370649"/>
                </a:lnTo>
                <a:lnTo>
                  <a:pt x="1722173" y="4364487"/>
                </a:lnTo>
                <a:lnTo>
                  <a:pt x="1714723" y="4358327"/>
                </a:lnTo>
                <a:lnTo>
                  <a:pt x="1707273" y="4353706"/>
                </a:lnTo>
                <a:lnTo>
                  <a:pt x="1699824" y="4346004"/>
                </a:lnTo>
                <a:lnTo>
                  <a:pt x="1691547" y="4338304"/>
                </a:lnTo>
                <a:lnTo>
                  <a:pt x="1684098" y="4332142"/>
                </a:lnTo>
                <a:lnTo>
                  <a:pt x="1677476" y="4330602"/>
                </a:lnTo>
                <a:lnTo>
                  <a:pt x="1672509" y="4332142"/>
                </a:lnTo>
                <a:lnTo>
                  <a:pt x="1660405" y="4345852"/>
                </a:lnTo>
                <a:lnTo>
                  <a:pt x="1664884" y="4344411"/>
                </a:lnTo>
                <a:cubicBezTo>
                  <a:pt x="1668156" y="4344527"/>
                  <a:pt x="1671834" y="4345844"/>
                  <a:pt x="1675784" y="4348890"/>
                </a:cubicBezTo>
                <a:lnTo>
                  <a:pt x="1675784" y="4350026"/>
                </a:lnTo>
                <a:lnTo>
                  <a:pt x="1676869" y="4346308"/>
                </a:lnTo>
                <a:cubicBezTo>
                  <a:pt x="1678417" y="4345792"/>
                  <a:pt x="1679811" y="4345999"/>
                  <a:pt x="1681051" y="4346618"/>
                </a:cubicBezTo>
                <a:lnTo>
                  <a:pt x="1682290" y="4347961"/>
                </a:lnTo>
                <a:lnTo>
                  <a:pt x="1682599" y="4345585"/>
                </a:lnTo>
                <a:cubicBezTo>
                  <a:pt x="1684923" y="4345895"/>
                  <a:pt x="1686782" y="4345585"/>
                  <a:pt x="1688486" y="4346411"/>
                </a:cubicBezTo>
                <a:cubicBezTo>
                  <a:pt x="1689260" y="4348683"/>
                  <a:pt x="1688795" y="4350129"/>
                  <a:pt x="1687711" y="4350955"/>
                </a:cubicBezTo>
                <a:lnTo>
                  <a:pt x="1684613" y="4351058"/>
                </a:lnTo>
                <a:lnTo>
                  <a:pt x="1685543" y="4353330"/>
                </a:lnTo>
                <a:cubicBezTo>
                  <a:pt x="1688486" y="4352504"/>
                  <a:pt x="1692203" y="4353020"/>
                  <a:pt x="1694217" y="4355188"/>
                </a:cubicBezTo>
                <a:cubicBezTo>
                  <a:pt x="1691584" y="4359318"/>
                  <a:pt x="1689105" y="4361900"/>
                  <a:pt x="1685233" y="4361384"/>
                </a:cubicBezTo>
                <a:cubicBezTo>
                  <a:pt x="1683994" y="4361177"/>
                  <a:pt x="1682599" y="4360558"/>
                  <a:pt x="1680896" y="4359732"/>
                </a:cubicBezTo>
                <a:lnTo>
                  <a:pt x="1681206" y="4358286"/>
                </a:lnTo>
                <a:lnTo>
                  <a:pt x="1678882" y="4356737"/>
                </a:lnTo>
                <a:lnTo>
                  <a:pt x="1675629" y="4350439"/>
                </a:lnTo>
                <a:lnTo>
                  <a:pt x="1674855" y="4357667"/>
                </a:lnTo>
                <a:cubicBezTo>
                  <a:pt x="1672531" y="4365824"/>
                  <a:pt x="1666645" y="4371400"/>
                  <a:pt x="1659520" y="4370367"/>
                </a:cubicBezTo>
                <a:cubicBezTo>
                  <a:pt x="1656577" y="4369438"/>
                  <a:pt x="1654563" y="4367992"/>
                  <a:pt x="1653014" y="4366134"/>
                </a:cubicBezTo>
                <a:lnTo>
                  <a:pt x="1651621" y="4362313"/>
                </a:lnTo>
                <a:lnTo>
                  <a:pt x="1649916" y="4359732"/>
                </a:lnTo>
                <a:cubicBezTo>
                  <a:pt x="1649916" y="4359732"/>
                  <a:pt x="1649916" y="4359732"/>
                  <a:pt x="1650226" y="4360558"/>
                </a:cubicBezTo>
                <a:lnTo>
                  <a:pt x="1648367" y="4364998"/>
                </a:lnTo>
                <a:lnTo>
                  <a:pt x="1649452" y="4365720"/>
                </a:lnTo>
                <a:lnTo>
                  <a:pt x="1647749" y="4366237"/>
                </a:lnTo>
                <a:lnTo>
                  <a:pt x="1646664" y="4368818"/>
                </a:lnTo>
                <a:cubicBezTo>
                  <a:pt x="1645270" y="4371503"/>
                  <a:pt x="1643876" y="4373671"/>
                  <a:pt x="1642482" y="4373774"/>
                </a:cubicBezTo>
                <a:cubicBezTo>
                  <a:pt x="1642172" y="4373052"/>
                  <a:pt x="1641862" y="4372226"/>
                  <a:pt x="1642327" y="4371090"/>
                </a:cubicBezTo>
                <a:cubicBezTo>
                  <a:pt x="1642791" y="4369851"/>
                  <a:pt x="1643101" y="4370677"/>
                  <a:pt x="1642791" y="4369851"/>
                </a:cubicBezTo>
                <a:cubicBezTo>
                  <a:pt x="1643256" y="4368715"/>
                  <a:pt x="1642482" y="4369128"/>
                  <a:pt x="1642482" y="4369128"/>
                </a:cubicBezTo>
                <a:cubicBezTo>
                  <a:pt x="1642482" y="4369128"/>
                  <a:pt x="1643256" y="4368715"/>
                  <a:pt x="1643256" y="4368715"/>
                </a:cubicBezTo>
                <a:cubicBezTo>
                  <a:pt x="1643256" y="4368715"/>
                  <a:pt x="1643256" y="4368715"/>
                  <a:pt x="1643411" y="4368508"/>
                </a:cubicBezTo>
                <a:lnTo>
                  <a:pt x="1643720" y="4367476"/>
                </a:lnTo>
                <a:lnTo>
                  <a:pt x="1640313" y="4368508"/>
                </a:lnTo>
                <a:lnTo>
                  <a:pt x="1641087" y="4369541"/>
                </a:lnTo>
                <a:cubicBezTo>
                  <a:pt x="1640468" y="4371503"/>
                  <a:pt x="1639539" y="4372639"/>
                  <a:pt x="1638454" y="4373671"/>
                </a:cubicBezTo>
                <a:lnTo>
                  <a:pt x="1636596" y="4375530"/>
                </a:lnTo>
                <a:lnTo>
                  <a:pt x="1639694" y="4378111"/>
                </a:lnTo>
                <a:cubicBezTo>
                  <a:pt x="1642172" y="4379764"/>
                  <a:pt x="1644805" y="4381209"/>
                  <a:pt x="1647438" y="4383171"/>
                </a:cubicBezTo>
                <a:cubicBezTo>
                  <a:pt x="1647283" y="4384823"/>
                  <a:pt x="1646199" y="4386269"/>
                  <a:pt x="1643411" y="4388231"/>
                </a:cubicBezTo>
                <a:cubicBezTo>
                  <a:pt x="1639384" y="4380383"/>
                  <a:pt x="1634737" y="4388953"/>
                  <a:pt x="1631329" y="4382861"/>
                </a:cubicBezTo>
                <a:cubicBezTo>
                  <a:pt x="1631019" y="4380279"/>
                  <a:pt x="1629935" y="4377388"/>
                  <a:pt x="1630554" y="4374497"/>
                </a:cubicBezTo>
                <a:lnTo>
                  <a:pt x="1630864" y="4373878"/>
                </a:lnTo>
                <a:cubicBezTo>
                  <a:pt x="1629780" y="4372845"/>
                  <a:pt x="1629315" y="4371812"/>
                  <a:pt x="1629006" y="4370780"/>
                </a:cubicBezTo>
                <a:lnTo>
                  <a:pt x="1630209" y="4367755"/>
                </a:lnTo>
                <a:lnTo>
                  <a:pt x="1620363" y="4370649"/>
                </a:lnTo>
                <a:lnTo>
                  <a:pt x="1619834" y="4370649"/>
                </a:lnTo>
                <a:lnTo>
                  <a:pt x="1622500" y="4372948"/>
                </a:lnTo>
                <a:cubicBezTo>
                  <a:pt x="1623430" y="4378214"/>
                  <a:pt x="1620641" y="4380486"/>
                  <a:pt x="1617544" y="4380279"/>
                </a:cubicBezTo>
                <a:cubicBezTo>
                  <a:pt x="1614445" y="4379970"/>
                  <a:pt x="1611037" y="4377285"/>
                  <a:pt x="1610728" y="4372432"/>
                </a:cubicBezTo>
                <a:lnTo>
                  <a:pt x="1613609" y="4370649"/>
                </a:lnTo>
                <a:lnTo>
                  <a:pt x="1606292" y="4370649"/>
                </a:lnTo>
                <a:lnTo>
                  <a:pt x="1603049" y="4369039"/>
                </a:lnTo>
                <a:lnTo>
                  <a:pt x="1600195" y="4373878"/>
                </a:lnTo>
                <a:cubicBezTo>
                  <a:pt x="1596942" y="4374601"/>
                  <a:pt x="1593689" y="4375943"/>
                  <a:pt x="1590282" y="4376872"/>
                </a:cubicBezTo>
                <a:lnTo>
                  <a:pt x="1585480" y="4378008"/>
                </a:lnTo>
                <a:lnTo>
                  <a:pt x="1582227" y="4379144"/>
                </a:lnTo>
                <a:lnTo>
                  <a:pt x="1581917" y="4378214"/>
                </a:lnTo>
                <a:lnTo>
                  <a:pt x="1579748" y="4378318"/>
                </a:lnTo>
                <a:cubicBezTo>
                  <a:pt x="1577270" y="4378008"/>
                  <a:pt x="1574637" y="4377285"/>
                  <a:pt x="1572004" y="4375840"/>
                </a:cubicBezTo>
                <a:cubicBezTo>
                  <a:pt x="1577425" y="4369025"/>
                  <a:pt x="1580678" y="4362726"/>
                  <a:pt x="1583389" y="4356428"/>
                </a:cubicBezTo>
                <a:lnTo>
                  <a:pt x="1583901" y="4355205"/>
                </a:lnTo>
                <a:lnTo>
                  <a:pt x="1580633" y="4352166"/>
                </a:lnTo>
                <a:lnTo>
                  <a:pt x="1570700" y="4336762"/>
                </a:lnTo>
                <a:lnTo>
                  <a:pt x="1559940" y="4316740"/>
                </a:lnTo>
                <a:lnTo>
                  <a:pt x="1549179" y="4298257"/>
                </a:lnTo>
                <a:lnTo>
                  <a:pt x="1543025" y="4284895"/>
                </a:lnTo>
                <a:lnTo>
                  <a:pt x="1541644" y="4284665"/>
                </a:lnTo>
                <a:cubicBezTo>
                  <a:pt x="1540327" y="4284045"/>
                  <a:pt x="1540676" y="4282806"/>
                  <a:pt x="1541354" y="4281554"/>
                </a:cubicBezTo>
                <a:lnTo>
                  <a:pt x="1541424" y="4281420"/>
                </a:lnTo>
                <a:lnTo>
                  <a:pt x="1539248" y="4276693"/>
                </a:lnTo>
                <a:lnTo>
                  <a:pt x="1530142" y="4256669"/>
                </a:lnTo>
                <a:lnTo>
                  <a:pt x="1528889" y="4253948"/>
                </a:lnTo>
                <a:lnTo>
                  <a:pt x="1523986" y="4256063"/>
                </a:lnTo>
                <a:cubicBezTo>
                  <a:pt x="1521817" y="4256166"/>
                  <a:pt x="1519494" y="4255649"/>
                  <a:pt x="1517325" y="4254410"/>
                </a:cubicBezTo>
                <a:cubicBezTo>
                  <a:pt x="1512291" y="4250590"/>
                  <a:pt x="1511284" y="4245685"/>
                  <a:pt x="1512717" y="4241439"/>
                </a:cubicBezTo>
                <a:lnTo>
                  <a:pt x="1520054" y="4234838"/>
                </a:lnTo>
                <a:lnTo>
                  <a:pt x="1509449" y="4216622"/>
                </a:lnTo>
                <a:lnTo>
                  <a:pt x="1499516" y="4201220"/>
                </a:lnTo>
                <a:lnTo>
                  <a:pt x="1495020" y="4197037"/>
                </a:lnTo>
                <a:lnTo>
                  <a:pt x="1495639" y="4207119"/>
                </a:lnTo>
                <a:lnTo>
                  <a:pt x="1491612" y="4203711"/>
                </a:lnTo>
                <a:lnTo>
                  <a:pt x="1490683" y="4204331"/>
                </a:lnTo>
                <a:cubicBezTo>
                  <a:pt x="1490064" y="4204538"/>
                  <a:pt x="1489134" y="4204538"/>
                  <a:pt x="1487121" y="4204744"/>
                </a:cubicBezTo>
                <a:cubicBezTo>
                  <a:pt x="1486501" y="4202266"/>
                  <a:pt x="1485881" y="4199891"/>
                  <a:pt x="1485261" y="4197413"/>
                </a:cubicBezTo>
                <a:cubicBezTo>
                  <a:pt x="1486191" y="4197516"/>
                  <a:pt x="1486966" y="4197310"/>
                  <a:pt x="1487740" y="4197103"/>
                </a:cubicBezTo>
                <a:lnTo>
                  <a:pt x="1488050" y="4197000"/>
                </a:lnTo>
                <a:lnTo>
                  <a:pt x="1487361" y="4189910"/>
                </a:lnTo>
                <a:lnTo>
                  <a:pt x="1463097" y="4167335"/>
                </a:lnTo>
                <a:lnTo>
                  <a:pt x="1455118" y="4156336"/>
                </a:lnTo>
                <a:lnTo>
                  <a:pt x="1446382" y="4160653"/>
                </a:lnTo>
                <a:cubicBezTo>
                  <a:pt x="1444369" y="4158485"/>
                  <a:pt x="1440187" y="4156110"/>
                  <a:pt x="1438483" y="4151980"/>
                </a:cubicBezTo>
                <a:lnTo>
                  <a:pt x="1445572" y="4143178"/>
                </a:lnTo>
                <a:lnTo>
                  <a:pt x="1440749" y="4136530"/>
                </a:lnTo>
                <a:lnTo>
                  <a:pt x="1433226" y="4125640"/>
                </a:lnTo>
                <a:lnTo>
                  <a:pt x="1426556" y="4130812"/>
                </a:lnTo>
                <a:lnTo>
                  <a:pt x="1430583" y="4135252"/>
                </a:lnTo>
                <a:cubicBezTo>
                  <a:pt x="1429344" y="4139589"/>
                  <a:pt x="1423768" y="4139693"/>
                  <a:pt x="1420670" y="4140209"/>
                </a:cubicBezTo>
                <a:lnTo>
                  <a:pt x="1419741" y="4135769"/>
                </a:lnTo>
                <a:lnTo>
                  <a:pt x="1415713" y="4138763"/>
                </a:lnTo>
                <a:cubicBezTo>
                  <a:pt x="1412150" y="4140932"/>
                  <a:pt x="1408743" y="4143616"/>
                  <a:pt x="1405335" y="4145785"/>
                </a:cubicBezTo>
                <a:lnTo>
                  <a:pt x="1398829" y="4150947"/>
                </a:lnTo>
                <a:lnTo>
                  <a:pt x="1399449" y="4151257"/>
                </a:lnTo>
                <a:cubicBezTo>
                  <a:pt x="1401153" y="4152909"/>
                  <a:pt x="1402237" y="4155387"/>
                  <a:pt x="1400998" y="4157969"/>
                </a:cubicBezTo>
                <a:cubicBezTo>
                  <a:pt x="1399914" y="4158692"/>
                  <a:pt x="1398985" y="4159414"/>
                  <a:pt x="1397590" y="4159828"/>
                </a:cubicBezTo>
                <a:cubicBezTo>
                  <a:pt x="1396351" y="4160137"/>
                  <a:pt x="1394803" y="4160137"/>
                  <a:pt x="1392789" y="4159311"/>
                </a:cubicBezTo>
                <a:lnTo>
                  <a:pt x="1392014" y="4156420"/>
                </a:lnTo>
                <a:lnTo>
                  <a:pt x="1386592" y="4160860"/>
                </a:lnTo>
                <a:cubicBezTo>
                  <a:pt x="1383650" y="4163648"/>
                  <a:pt x="1380862" y="4166333"/>
                  <a:pt x="1378074" y="4169017"/>
                </a:cubicBezTo>
                <a:cubicBezTo>
                  <a:pt x="1376370" y="4170670"/>
                  <a:pt x="1375130" y="4172218"/>
                  <a:pt x="1374047" y="4173870"/>
                </a:cubicBezTo>
                <a:cubicBezTo>
                  <a:pt x="1374047" y="4173870"/>
                  <a:pt x="1374047" y="4173870"/>
                  <a:pt x="1372807" y="4175006"/>
                </a:cubicBezTo>
                <a:cubicBezTo>
                  <a:pt x="1370019" y="4176555"/>
                  <a:pt x="1379158" y="4172218"/>
                  <a:pt x="1366611" y="4178207"/>
                </a:cubicBezTo>
                <a:cubicBezTo>
                  <a:pt x="1366611" y="4178207"/>
                  <a:pt x="1366611" y="4178207"/>
                  <a:pt x="1366611" y="4178723"/>
                </a:cubicBezTo>
                <a:cubicBezTo>
                  <a:pt x="1366611" y="4178723"/>
                  <a:pt x="1366611" y="4178723"/>
                  <a:pt x="1365992" y="4179240"/>
                </a:cubicBezTo>
                <a:cubicBezTo>
                  <a:pt x="1365992" y="4179859"/>
                  <a:pt x="1365992" y="4180376"/>
                  <a:pt x="1365372" y="4180892"/>
                </a:cubicBezTo>
                <a:cubicBezTo>
                  <a:pt x="1366611" y="4182544"/>
                  <a:pt x="1367695" y="4182544"/>
                  <a:pt x="1368315" y="4182544"/>
                </a:cubicBezTo>
                <a:cubicBezTo>
                  <a:pt x="1368315" y="4182544"/>
                  <a:pt x="1368315" y="4182544"/>
                  <a:pt x="1368315" y="4182028"/>
                </a:cubicBezTo>
                <a:cubicBezTo>
                  <a:pt x="1368315" y="4182028"/>
                  <a:pt x="1368315" y="4182028"/>
                  <a:pt x="1368935" y="4182028"/>
                </a:cubicBezTo>
                <a:cubicBezTo>
                  <a:pt x="1370638" y="4180892"/>
                  <a:pt x="1372962" y="4179859"/>
                  <a:pt x="1375130" y="4178723"/>
                </a:cubicBezTo>
                <a:cubicBezTo>
                  <a:pt x="1375750" y="4178723"/>
                  <a:pt x="1375750" y="4178723"/>
                  <a:pt x="1375750" y="4178723"/>
                </a:cubicBezTo>
                <a:cubicBezTo>
                  <a:pt x="1376214" y="4178723"/>
                  <a:pt x="1376835" y="4178723"/>
                  <a:pt x="1377454" y="4179756"/>
                </a:cubicBezTo>
                <a:cubicBezTo>
                  <a:pt x="1376835" y="4179756"/>
                  <a:pt x="1376835" y="4180376"/>
                  <a:pt x="1376835" y="4180376"/>
                </a:cubicBezTo>
                <a:cubicBezTo>
                  <a:pt x="1376370" y="4180892"/>
                  <a:pt x="1376214" y="4180892"/>
                  <a:pt x="1376214" y="4180892"/>
                </a:cubicBezTo>
                <a:cubicBezTo>
                  <a:pt x="1376060" y="4180995"/>
                  <a:pt x="1376060" y="4180995"/>
                  <a:pt x="1375905" y="4181099"/>
                </a:cubicBezTo>
                <a:lnTo>
                  <a:pt x="1375905" y="4181202"/>
                </a:lnTo>
                <a:cubicBezTo>
                  <a:pt x="1374975" y="4181614"/>
                  <a:pt x="1373117" y="4182544"/>
                  <a:pt x="1370019" y="4184093"/>
                </a:cubicBezTo>
                <a:cubicBezTo>
                  <a:pt x="1370019" y="4184093"/>
                  <a:pt x="1370019" y="4184093"/>
                  <a:pt x="1369399" y="4184093"/>
                </a:cubicBezTo>
                <a:cubicBezTo>
                  <a:pt x="1369399" y="4184093"/>
                  <a:pt x="1369399" y="4184196"/>
                  <a:pt x="1369399" y="4184712"/>
                </a:cubicBezTo>
                <a:cubicBezTo>
                  <a:pt x="1369399" y="4184712"/>
                  <a:pt x="1369399" y="4185229"/>
                  <a:pt x="1368935" y="4185229"/>
                </a:cubicBezTo>
                <a:cubicBezTo>
                  <a:pt x="1368935" y="4185745"/>
                  <a:pt x="1368315" y="4185745"/>
                  <a:pt x="1367695" y="4186365"/>
                </a:cubicBezTo>
                <a:cubicBezTo>
                  <a:pt x="1367231" y="4186881"/>
                  <a:pt x="1366611" y="4187913"/>
                  <a:pt x="1365992" y="4189566"/>
                </a:cubicBezTo>
                <a:cubicBezTo>
                  <a:pt x="1364907" y="4187397"/>
                  <a:pt x="1366611" y="4187397"/>
                  <a:pt x="1365992" y="4185848"/>
                </a:cubicBezTo>
                <a:cubicBezTo>
                  <a:pt x="1364907" y="4184712"/>
                  <a:pt x="1363203" y="4184712"/>
                  <a:pt x="1361965" y="4185229"/>
                </a:cubicBezTo>
                <a:cubicBezTo>
                  <a:pt x="1360880" y="4186261"/>
                  <a:pt x="1363823" y="4186261"/>
                  <a:pt x="1363203" y="4188430"/>
                </a:cubicBezTo>
                <a:cubicBezTo>
                  <a:pt x="1360880" y="4186777"/>
                  <a:pt x="1360415" y="4189049"/>
                  <a:pt x="1360415" y="4191114"/>
                </a:cubicBezTo>
                <a:cubicBezTo>
                  <a:pt x="1358092" y="4192250"/>
                  <a:pt x="1359796" y="4190081"/>
                  <a:pt x="1358092" y="4188430"/>
                </a:cubicBezTo>
                <a:cubicBezTo>
                  <a:pt x="1356388" y="4188946"/>
                  <a:pt x="1358092" y="4191734"/>
                  <a:pt x="1359176" y="4194418"/>
                </a:cubicBezTo>
                <a:cubicBezTo>
                  <a:pt x="1358557" y="4194418"/>
                  <a:pt x="1358557" y="4194418"/>
                  <a:pt x="1358092" y="4194418"/>
                </a:cubicBezTo>
                <a:cubicBezTo>
                  <a:pt x="1358092" y="4194418"/>
                  <a:pt x="1357472" y="4194418"/>
                  <a:pt x="1357007" y="4194418"/>
                </a:cubicBezTo>
                <a:cubicBezTo>
                  <a:pt x="1356388" y="4193902"/>
                  <a:pt x="1355769" y="4192766"/>
                  <a:pt x="1355149" y="4192250"/>
                </a:cubicBezTo>
                <a:lnTo>
                  <a:pt x="1350812" y="4195244"/>
                </a:lnTo>
                <a:lnTo>
                  <a:pt x="1351122" y="4196277"/>
                </a:lnTo>
                <a:cubicBezTo>
                  <a:pt x="1350812" y="4197516"/>
                  <a:pt x="1349882" y="4198548"/>
                  <a:pt x="1348024" y="4199168"/>
                </a:cubicBezTo>
                <a:lnTo>
                  <a:pt x="1347094" y="4197723"/>
                </a:lnTo>
                <a:lnTo>
                  <a:pt x="1340899" y="4201956"/>
                </a:lnTo>
                <a:lnTo>
                  <a:pt x="1333309" y="4206396"/>
                </a:lnTo>
                <a:lnTo>
                  <a:pt x="1333153" y="4208048"/>
                </a:lnTo>
                <a:lnTo>
                  <a:pt x="1331449" y="4207325"/>
                </a:lnTo>
                <a:lnTo>
                  <a:pt x="1328352" y="4209081"/>
                </a:lnTo>
                <a:cubicBezTo>
                  <a:pt x="1328352" y="4209081"/>
                  <a:pt x="1328352" y="4208977"/>
                  <a:pt x="1326028" y="4209597"/>
                </a:cubicBezTo>
                <a:cubicBezTo>
                  <a:pt x="1326028" y="4209597"/>
                  <a:pt x="1326184" y="4209494"/>
                  <a:pt x="1324944" y="4210113"/>
                </a:cubicBezTo>
                <a:cubicBezTo>
                  <a:pt x="1324944" y="4210113"/>
                  <a:pt x="1324944" y="4210113"/>
                  <a:pt x="1323860" y="4210630"/>
                </a:cubicBezTo>
                <a:cubicBezTo>
                  <a:pt x="1314101" y="4214967"/>
                  <a:pt x="1304498" y="4218787"/>
                  <a:pt x="1295824" y="4221988"/>
                </a:cubicBezTo>
                <a:cubicBezTo>
                  <a:pt x="1294120" y="4222814"/>
                  <a:pt x="1292416" y="4223227"/>
                  <a:pt x="1291022" y="4223330"/>
                </a:cubicBezTo>
                <a:lnTo>
                  <a:pt x="1290092" y="4223124"/>
                </a:lnTo>
                <a:lnTo>
                  <a:pt x="1290557" y="4224466"/>
                </a:lnTo>
                <a:cubicBezTo>
                  <a:pt x="1290712" y="4225085"/>
                  <a:pt x="1290867" y="4225395"/>
                  <a:pt x="1291177" y="4225499"/>
                </a:cubicBezTo>
                <a:cubicBezTo>
                  <a:pt x="1289473" y="4229009"/>
                  <a:pt x="1287304" y="4228080"/>
                  <a:pt x="1283432" y="4227770"/>
                </a:cubicBezTo>
                <a:lnTo>
                  <a:pt x="1282657" y="4226428"/>
                </a:lnTo>
                <a:lnTo>
                  <a:pt x="1282502" y="4226531"/>
                </a:lnTo>
                <a:lnTo>
                  <a:pt x="1278940" y="4227770"/>
                </a:lnTo>
                <a:lnTo>
                  <a:pt x="1277546" y="4230765"/>
                </a:lnTo>
                <a:lnTo>
                  <a:pt x="1277701" y="4231487"/>
                </a:lnTo>
                <a:lnTo>
                  <a:pt x="1278630" y="4231178"/>
                </a:lnTo>
                <a:cubicBezTo>
                  <a:pt x="1279560" y="4231074"/>
                  <a:pt x="1280489" y="4231384"/>
                  <a:pt x="1281108" y="4231901"/>
                </a:cubicBezTo>
                <a:lnTo>
                  <a:pt x="1282657" y="4234482"/>
                </a:lnTo>
                <a:lnTo>
                  <a:pt x="1284671" y="4233346"/>
                </a:lnTo>
                <a:cubicBezTo>
                  <a:pt x="1286839" y="4233036"/>
                  <a:pt x="1289473" y="4233449"/>
                  <a:pt x="1292261" y="4235308"/>
                </a:cubicBezTo>
                <a:cubicBezTo>
                  <a:pt x="1293810" y="4239129"/>
                  <a:pt x="1289937" y="4246356"/>
                  <a:pt x="1286530" y="4246563"/>
                </a:cubicBezTo>
                <a:cubicBezTo>
                  <a:pt x="1281263" y="4244807"/>
                  <a:pt x="1279249" y="4241710"/>
                  <a:pt x="1279249" y="4239025"/>
                </a:cubicBezTo>
                <a:lnTo>
                  <a:pt x="1279560" y="4238302"/>
                </a:lnTo>
                <a:lnTo>
                  <a:pt x="1278785" y="4239025"/>
                </a:lnTo>
                <a:lnTo>
                  <a:pt x="1278011" y="4238922"/>
                </a:lnTo>
                <a:lnTo>
                  <a:pt x="1278011" y="4240368"/>
                </a:lnTo>
                <a:cubicBezTo>
                  <a:pt x="1274758" y="4239025"/>
                  <a:pt x="1272124" y="4236857"/>
                  <a:pt x="1269801" y="4234378"/>
                </a:cubicBezTo>
                <a:lnTo>
                  <a:pt x="1266703" y="4229629"/>
                </a:lnTo>
                <a:lnTo>
                  <a:pt x="1262211" y="4226841"/>
                </a:lnTo>
                <a:cubicBezTo>
                  <a:pt x="1261591" y="4234378"/>
                  <a:pt x="1252607" y="4227977"/>
                  <a:pt x="1246257" y="4233862"/>
                </a:cubicBezTo>
                <a:lnTo>
                  <a:pt x="1245327" y="4232520"/>
                </a:lnTo>
                <a:lnTo>
                  <a:pt x="1241610" y="4233759"/>
                </a:lnTo>
                <a:cubicBezTo>
                  <a:pt x="1240835" y="4233862"/>
                  <a:pt x="1240061" y="4233759"/>
                  <a:pt x="1239751" y="4233449"/>
                </a:cubicBezTo>
                <a:cubicBezTo>
                  <a:pt x="1239596" y="4233036"/>
                  <a:pt x="1239751" y="4232210"/>
                  <a:pt x="1240216" y="4231384"/>
                </a:cubicBezTo>
                <a:lnTo>
                  <a:pt x="1241300" y="4230248"/>
                </a:lnTo>
                <a:lnTo>
                  <a:pt x="1237738" y="4230042"/>
                </a:lnTo>
                <a:cubicBezTo>
                  <a:pt x="1233091" y="4231178"/>
                  <a:pt x="1227979" y="4233862"/>
                  <a:pt x="1226275" y="4236547"/>
                </a:cubicBezTo>
                <a:cubicBezTo>
                  <a:pt x="1228599" y="4237683"/>
                  <a:pt x="1231387" y="4238199"/>
                  <a:pt x="1234795" y="4237579"/>
                </a:cubicBezTo>
                <a:cubicBezTo>
                  <a:pt x="1238357" y="4237063"/>
                  <a:pt x="1241765" y="4235514"/>
                  <a:pt x="1245172" y="4233862"/>
                </a:cubicBezTo>
                <a:cubicBezTo>
                  <a:pt x="1243469" y="4236340"/>
                  <a:pt x="1240835" y="4237889"/>
                  <a:pt x="1237892" y="4239025"/>
                </a:cubicBezTo>
                <a:lnTo>
                  <a:pt x="1229063" y="4241194"/>
                </a:lnTo>
                <a:lnTo>
                  <a:pt x="1229838" y="4243259"/>
                </a:lnTo>
                <a:cubicBezTo>
                  <a:pt x="1230767" y="4247699"/>
                  <a:pt x="1231077" y="4253997"/>
                  <a:pt x="1227669" y="4254513"/>
                </a:cubicBezTo>
                <a:cubicBezTo>
                  <a:pt x="1227050" y="4254617"/>
                  <a:pt x="1226275" y="4254513"/>
                  <a:pt x="1225345" y="4254101"/>
                </a:cubicBezTo>
                <a:cubicBezTo>
                  <a:pt x="1225501" y="4251416"/>
                  <a:pt x="1225036" y="4248731"/>
                  <a:pt x="1224726" y="4246460"/>
                </a:cubicBezTo>
                <a:lnTo>
                  <a:pt x="1225036" y="4242330"/>
                </a:lnTo>
                <a:lnTo>
                  <a:pt x="1220699" y="4244601"/>
                </a:lnTo>
                <a:lnTo>
                  <a:pt x="1217756" y="4245014"/>
                </a:lnTo>
                <a:lnTo>
                  <a:pt x="1213109" y="4249557"/>
                </a:lnTo>
                <a:cubicBezTo>
                  <a:pt x="1211405" y="4249970"/>
                  <a:pt x="1209856" y="4250074"/>
                  <a:pt x="1208152" y="4250280"/>
                </a:cubicBezTo>
                <a:cubicBezTo>
                  <a:pt x="1208772" y="4250280"/>
                  <a:pt x="1209392" y="4250280"/>
                  <a:pt x="1209856" y="4250590"/>
                </a:cubicBezTo>
                <a:lnTo>
                  <a:pt x="1211250" y="4251519"/>
                </a:lnTo>
                <a:lnTo>
                  <a:pt x="1211250" y="4251416"/>
                </a:lnTo>
                <a:cubicBezTo>
                  <a:pt x="1211870" y="4250797"/>
                  <a:pt x="1212799" y="4250074"/>
                  <a:pt x="1213883" y="4249661"/>
                </a:cubicBezTo>
                <a:cubicBezTo>
                  <a:pt x="1218066" y="4250590"/>
                  <a:pt x="1218221" y="4255030"/>
                  <a:pt x="1220544" y="4257302"/>
                </a:cubicBezTo>
                <a:cubicBezTo>
                  <a:pt x="1219305" y="4258644"/>
                  <a:pt x="1218066" y="4259470"/>
                  <a:pt x="1216827" y="4259676"/>
                </a:cubicBezTo>
                <a:lnTo>
                  <a:pt x="1215277" y="4259264"/>
                </a:lnTo>
                <a:lnTo>
                  <a:pt x="1214813" y="4260193"/>
                </a:lnTo>
                <a:cubicBezTo>
                  <a:pt x="1213883" y="4261019"/>
                  <a:pt x="1212644" y="4261329"/>
                  <a:pt x="1210476" y="4261329"/>
                </a:cubicBezTo>
                <a:cubicBezTo>
                  <a:pt x="1210476" y="4261329"/>
                  <a:pt x="1209392" y="4260812"/>
                  <a:pt x="1209392" y="4260812"/>
                </a:cubicBezTo>
                <a:cubicBezTo>
                  <a:pt x="1205365" y="4259676"/>
                  <a:pt x="1202421" y="4255546"/>
                  <a:pt x="1202731" y="4253584"/>
                </a:cubicBezTo>
                <a:cubicBezTo>
                  <a:pt x="1203350" y="4252448"/>
                  <a:pt x="1204280" y="4251312"/>
                  <a:pt x="1205519" y="4250693"/>
                </a:cubicBezTo>
                <a:cubicBezTo>
                  <a:pt x="1201646" y="4251003"/>
                  <a:pt x="1197929" y="4251209"/>
                  <a:pt x="1194366" y="4251209"/>
                </a:cubicBezTo>
                <a:cubicBezTo>
                  <a:pt x="1191423" y="4251209"/>
                  <a:pt x="1188635" y="4251106"/>
                  <a:pt x="1185847" y="4251726"/>
                </a:cubicBezTo>
                <a:lnTo>
                  <a:pt x="1176863" y="4254307"/>
                </a:lnTo>
                <a:lnTo>
                  <a:pt x="1178102" y="4255133"/>
                </a:lnTo>
                <a:lnTo>
                  <a:pt x="1179961" y="4254307"/>
                </a:lnTo>
                <a:cubicBezTo>
                  <a:pt x="1183833" y="4253481"/>
                  <a:pt x="1188016" y="4254204"/>
                  <a:pt x="1192198" y="4254617"/>
                </a:cubicBezTo>
                <a:cubicBezTo>
                  <a:pt x="1191423" y="4257714"/>
                  <a:pt x="1187396" y="4261845"/>
                  <a:pt x="1182439" y="4263807"/>
                </a:cubicBezTo>
                <a:lnTo>
                  <a:pt x="1179496" y="4264426"/>
                </a:lnTo>
                <a:lnTo>
                  <a:pt x="1176554" y="4265872"/>
                </a:lnTo>
                <a:lnTo>
                  <a:pt x="1176709" y="4266904"/>
                </a:lnTo>
                <a:cubicBezTo>
                  <a:pt x="1172681" y="4270931"/>
                  <a:pt x="1169583" y="4275062"/>
                  <a:pt x="1166486" y="4279192"/>
                </a:cubicBezTo>
                <a:lnTo>
                  <a:pt x="1165556" y="4280431"/>
                </a:lnTo>
                <a:lnTo>
                  <a:pt x="1168034" y="4280741"/>
                </a:lnTo>
                <a:lnTo>
                  <a:pt x="1171287" y="4284355"/>
                </a:lnTo>
                <a:lnTo>
                  <a:pt x="1174849" y="4283012"/>
                </a:lnTo>
                <a:cubicBezTo>
                  <a:pt x="1177948" y="4282496"/>
                  <a:pt x="1181355" y="4282909"/>
                  <a:pt x="1183678" y="4284355"/>
                </a:cubicBezTo>
                <a:lnTo>
                  <a:pt x="1186777" y="4288278"/>
                </a:lnTo>
                <a:lnTo>
                  <a:pt x="1187242" y="4288278"/>
                </a:lnTo>
                <a:cubicBezTo>
                  <a:pt x="1188945" y="4290034"/>
                  <a:pt x="1189875" y="4292615"/>
                  <a:pt x="1189100" y="4293441"/>
                </a:cubicBezTo>
                <a:cubicBezTo>
                  <a:pt x="1187861" y="4294680"/>
                  <a:pt x="1186777" y="4295919"/>
                  <a:pt x="1185073" y="4295403"/>
                </a:cubicBezTo>
                <a:cubicBezTo>
                  <a:pt x="1184608" y="4295197"/>
                  <a:pt x="1183988" y="4294783"/>
                  <a:pt x="1183369" y="4294164"/>
                </a:cubicBezTo>
                <a:cubicBezTo>
                  <a:pt x="1183369" y="4294164"/>
                  <a:pt x="1183214" y="4294061"/>
                  <a:pt x="1183214" y="4293235"/>
                </a:cubicBezTo>
                <a:lnTo>
                  <a:pt x="1183214" y="4291789"/>
                </a:lnTo>
                <a:lnTo>
                  <a:pt x="1177948" y="4295609"/>
                </a:lnTo>
                <a:cubicBezTo>
                  <a:pt x="1174230" y="4297365"/>
                  <a:pt x="1169893" y="4298398"/>
                  <a:pt x="1164472" y="4298088"/>
                </a:cubicBezTo>
                <a:cubicBezTo>
                  <a:pt x="1160599" y="4293647"/>
                  <a:pt x="1162148" y="4289311"/>
                  <a:pt x="1166020" y="4286420"/>
                </a:cubicBezTo>
                <a:lnTo>
                  <a:pt x="1166330" y="4286420"/>
                </a:lnTo>
                <a:lnTo>
                  <a:pt x="1166020" y="4285697"/>
                </a:lnTo>
                <a:cubicBezTo>
                  <a:pt x="1165091" y="4284045"/>
                  <a:pt x="1164162" y="4282289"/>
                  <a:pt x="1164162" y="4282289"/>
                </a:cubicBezTo>
                <a:lnTo>
                  <a:pt x="1165246" y="4280844"/>
                </a:lnTo>
                <a:lnTo>
                  <a:pt x="1156262" y="4291582"/>
                </a:lnTo>
                <a:lnTo>
                  <a:pt x="1149137" y="4291582"/>
                </a:lnTo>
                <a:lnTo>
                  <a:pt x="1149137" y="4291789"/>
                </a:lnTo>
                <a:cubicBezTo>
                  <a:pt x="1149137" y="4291996"/>
                  <a:pt x="1149446" y="4292202"/>
                  <a:pt x="1149446" y="4292615"/>
                </a:cubicBezTo>
                <a:cubicBezTo>
                  <a:pt x="1149446" y="4292615"/>
                  <a:pt x="1149446" y="4291789"/>
                  <a:pt x="1150221" y="4292718"/>
                </a:cubicBezTo>
                <a:cubicBezTo>
                  <a:pt x="1149446" y="4292615"/>
                  <a:pt x="1149446" y="4293544"/>
                  <a:pt x="1149446" y="4294370"/>
                </a:cubicBezTo>
                <a:cubicBezTo>
                  <a:pt x="1147588" y="4295919"/>
                  <a:pt x="1145109" y="4297365"/>
                  <a:pt x="1143406" y="4296229"/>
                </a:cubicBezTo>
                <a:cubicBezTo>
                  <a:pt x="1142476" y="4295300"/>
                  <a:pt x="1142321" y="4294370"/>
                  <a:pt x="1142476" y="4293647"/>
                </a:cubicBezTo>
                <a:lnTo>
                  <a:pt x="1143251" y="4292409"/>
                </a:lnTo>
                <a:lnTo>
                  <a:pt x="1137984" y="4293441"/>
                </a:lnTo>
                <a:cubicBezTo>
                  <a:pt x="1131634" y="4294577"/>
                  <a:pt x="1125438" y="4294990"/>
                  <a:pt x="1120791" y="4290653"/>
                </a:cubicBezTo>
                <a:cubicBezTo>
                  <a:pt x="1119242" y="4279811"/>
                  <a:pt x="1113201" y="4278779"/>
                  <a:pt x="1109793" y="4273100"/>
                </a:cubicBezTo>
                <a:lnTo>
                  <a:pt x="1110258" y="4267111"/>
                </a:lnTo>
                <a:lnTo>
                  <a:pt x="1107005" y="4267421"/>
                </a:lnTo>
                <a:cubicBezTo>
                  <a:pt x="1104062" y="4267524"/>
                  <a:pt x="1101429" y="4267317"/>
                  <a:pt x="1099105" y="4267317"/>
                </a:cubicBezTo>
                <a:cubicBezTo>
                  <a:pt x="1095078" y="4267317"/>
                  <a:pt x="1091671" y="4266801"/>
                  <a:pt x="1087798" y="4268453"/>
                </a:cubicBezTo>
                <a:cubicBezTo>
                  <a:pt x="1086559" y="4265252"/>
                  <a:pt x="1083771" y="4264116"/>
                  <a:pt x="1077419" y="4264633"/>
                </a:cubicBezTo>
                <a:cubicBezTo>
                  <a:pt x="1077419" y="4263600"/>
                  <a:pt x="1080363" y="4264116"/>
                  <a:pt x="1082066" y="4263600"/>
                </a:cubicBezTo>
                <a:cubicBezTo>
                  <a:pt x="1082531" y="4260812"/>
                  <a:pt x="1078504" y="4261432"/>
                  <a:pt x="1077419" y="4260296"/>
                </a:cubicBezTo>
                <a:cubicBezTo>
                  <a:pt x="1075716" y="4261432"/>
                  <a:pt x="1078039" y="4263600"/>
                  <a:pt x="1071689" y="4262568"/>
                </a:cubicBezTo>
                <a:cubicBezTo>
                  <a:pt x="1072308" y="4260915"/>
                  <a:pt x="1076335" y="4261432"/>
                  <a:pt x="1074631" y="4258231"/>
                </a:cubicBezTo>
                <a:cubicBezTo>
                  <a:pt x="1080827" y="4256579"/>
                  <a:pt x="1085939" y="4260399"/>
                  <a:pt x="1085939" y="4253894"/>
                </a:cubicBezTo>
                <a:cubicBezTo>
                  <a:pt x="1089502" y="4258231"/>
                  <a:pt x="1093374" y="4257095"/>
                  <a:pt x="1097401" y="4254927"/>
                </a:cubicBezTo>
                <a:cubicBezTo>
                  <a:pt x="1099415" y="4254101"/>
                  <a:pt x="1101739" y="4253068"/>
                  <a:pt x="1104217" y="4252345"/>
                </a:cubicBezTo>
                <a:lnTo>
                  <a:pt x="1110723" y="4252242"/>
                </a:lnTo>
                <a:lnTo>
                  <a:pt x="1109793" y="4251003"/>
                </a:lnTo>
                <a:lnTo>
                  <a:pt x="1110723" y="4250797"/>
                </a:lnTo>
                <a:lnTo>
                  <a:pt x="1109174" y="4249454"/>
                </a:lnTo>
                <a:cubicBezTo>
                  <a:pt x="1107625" y="4249247"/>
                  <a:pt x="1105920" y="4249764"/>
                  <a:pt x="1104217" y="4250590"/>
                </a:cubicBezTo>
                <a:cubicBezTo>
                  <a:pt x="1100809" y="4251622"/>
                  <a:pt x="1097401" y="4252758"/>
                  <a:pt x="1096317" y="4249557"/>
                </a:cubicBezTo>
                <a:cubicBezTo>
                  <a:pt x="1091206" y="4250074"/>
                  <a:pt x="1089347" y="4253791"/>
                  <a:pt x="1084855" y="4251726"/>
                </a:cubicBezTo>
                <a:cubicBezTo>
                  <a:pt x="1084855" y="4249557"/>
                  <a:pt x="1089502" y="4251209"/>
                  <a:pt x="1090586" y="4249557"/>
                </a:cubicBezTo>
                <a:cubicBezTo>
                  <a:pt x="1088263" y="4246873"/>
                  <a:pt x="1080208" y="4249041"/>
                  <a:pt x="1077419" y="4249557"/>
                </a:cubicBezTo>
                <a:cubicBezTo>
                  <a:pt x="1077419" y="4250590"/>
                  <a:pt x="1079124" y="4250074"/>
                  <a:pt x="1080363" y="4250590"/>
                </a:cubicBezTo>
                <a:cubicBezTo>
                  <a:pt x="1078659" y="4251106"/>
                  <a:pt x="1067816" y="4252242"/>
                  <a:pt x="1071689" y="4249557"/>
                </a:cubicBezTo>
                <a:cubicBezTo>
                  <a:pt x="1068901" y="4250074"/>
                  <a:pt x="1066112" y="4250590"/>
                  <a:pt x="1064408" y="4252242"/>
                </a:cubicBezTo>
                <a:lnTo>
                  <a:pt x="1063324" y="4251932"/>
                </a:lnTo>
                <a:cubicBezTo>
                  <a:pt x="1060381" y="4254823"/>
                  <a:pt x="1056509" y="4257714"/>
                  <a:pt x="1053101" y="4257921"/>
                </a:cubicBezTo>
                <a:cubicBezTo>
                  <a:pt x="1052017" y="4257921"/>
                  <a:pt x="1050932" y="4257714"/>
                  <a:pt x="1050003" y="4257095"/>
                </a:cubicBezTo>
                <a:lnTo>
                  <a:pt x="1049693" y="4256475"/>
                </a:lnTo>
                <a:lnTo>
                  <a:pt x="1048919" y="4258231"/>
                </a:lnTo>
                <a:cubicBezTo>
                  <a:pt x="1048144" y="4258128"/>
                  <a:pt x="1047370" y="4257095"/>
                  <a:pt x="1046441" y="4256992"/>
                </a:cubicBezTo>
                <a:cubicBezTo>
                  <a:pt x="1046595" y="4256063"/>
                  <a:pt x="1046595" y="4254307"/>
                  <a:pt x="1047525" y="4253584"/>
                </a:cubicBezTo>
                <a:cubicBezTo>
                  <a:pt x="1047525" y="4253068"/>
                  <a:pt x="1048144" y="4253171"/>
                  <a:pt x="1048919" y="4253378"/>
                </a:cubicBezTo>
                <a:lnTo>
                  <a:pt x="1049229" y="4253584"/>
                </a:lnTo>
                <a:lnTo>
                  <a:pt x="1050777" y="4251312"/>
                </a:lnTo>
                <a:lnTo>
                  <a:pt x="1047835" y="4250590"/>
                </a:lnTo>
                <a:cubicBezTo>
                  <a:pt x="1046130" y="4250074"/>
                  <a:pt x="1043807" y="4249041"/>
                  <a:pt x="1042103" y="4248421"/>
                </a:cubicBezTo>
                <a:lnTo>
                  <a:pt x="1038231" y="4248421"/>
                </a:lnTo>
                <a:lnTo>
                  <a:pt x="1039006" y="4252035"/>
                </a:lnTo>
                <a:cubicBezTo>
                  <a:pt x="1038851" y="4253687"/>
                  <a:pt x="1038231" y="4255340"/>
                  <a:pt x="1038386" y="4256888"/>
                </a:cubicBezTo>
                <a:lnTo>
                  <a:pt x="1034204" y="4256063"/>
                </a:lnTo>
                <a:lnTo>
                  <a:pt x="1030331" y="4258231"/>
                </a:lnTo>
                <a:cubicBezTo>
                  <a:pt x="1028473" y="4258850"/>
                  <a:pt x="1026769" y="4259367"/>
                  <a:pt x="1025375" y="4259986"/>
                </a:cubicBezTo>
                <a:cubicBezTo>
                  <a:pt x="1023206" y="4262361"/>
                  <a:pt x="1023206" y="4267111"/>
                  <a:pt x="1024135" y="4271654"/>
                </a:cubicBezTo>
                <a:lnTo>
                  <a:pt x="1025220" y="4275888"/>
                </a:lnTo>
                <a:lnTo>
                  <a:pt x="1026459" y="4275062"/>
                </a:lnTo>
                <a:cubicBezTo>
                  <a:pt x="1027853" y="4274648"/>
                  <a:pt x="1029402" y="4274132"/>
                  <a:pt x="1030641" y="4272997"/>
                </a:cubicBezTo>
                <a:cubicBezTo>
                  <a:pt x="1034049" y="4275991"/>
                  <a:pt x="1034823" y="4277023"/>
                  <a:pt x="1032964" y="4281050"/>
                </a:cubicBezTo>
                <a:cubicBezTo>
                  <a:pt x="1032964" y="4281050"/>
                  <a:pt x="1032190" y="4281876"/>
                  <a:pt x="1032190" y="4281876"/>
                </a:cubicBezTo>
                <a:lnTo>
                  <a:pt x="1030176" y="4283115"/>
                </a:lnTo>
                <a:lnTo>
                  <a:pt x="1032964" y="4284768"/>
                </a:lnTo>
                <a:cubicBezTo>
                  <a:pt x="1037612" y="4286110"/>
                  <a:pt x="1040864" y="4283219"/>
                  <a:pt x="1043807" y="4285387"/>
                </a:cubicBezTo>
                <a:cubicBezTo>
                  <a:pt x="1047525" y="4288175"/>
                  <a:pt x="1044582" y="4293028"/>
                  <a:pt x="1044582" y="4293028"/>
                </a:cubicBezTo>
                <a:cubicBezTo>
                  <a:pt x="1041639" y="4295403"/>
                  <a:pt x="1036373" y="4293751"/>
                  <a:pt x="1033739" y="4293544"/>
                </a:cubicBezTo>
                <a:cubicBezTo>
                  <a:pt x="1030951" y="4294680"/>
                  <a:pt x="1029402" y="4297055"/>
                  <a:pt x="1028008" y="4298294"/>
                </a:cubicBezTo>
                <a:cubicBezTo>
                  <a:pt x="1029247" y="4300256"/>
                  <a:pt x="1027078" y="4305832"/>
                  <a:pt x="1024600" y="4310995"/>
                </a:cubicBezTo>
                <a:lnTo>
                  <a:pt x="1023051" y="4313782"/>
                </a:lnTo>
                <a:lnTo>
                  <a:pt x="1024445" y="4314196"/>
                </a:lnTo>
                <a:cubicBezTo>
                  <a:pt x="1026459" y="4319462"/>
                  <a:pt x="1029092" y="4324005"/>
                  <a:pt x="1031571" y="4328548"/>
                </a:cubicBezTo>
                <a:lnTo>
                  <a:pt x="1032345" y="4329891"/>
                </a:lnTo>
                <a:lnTo>
                  <a:pt x="1033584" y="4327722"/>
                </a:lnTo>
                <a:cubicBezTo>
                  <a:pt x="1034513" y="4327000"/>
                  <a:pt x="1036373" y="4326380"/>
                  <a:pt x="1038386" y="4326173"/>
                </a:cubicBezTo>
                <a:cubicBezTo>
                  <a:pt x="1040554" y="4326070"/>
                  <a:pt x="1042568" y="4326277"/>
                  <a:pt x="1043807" y="4327309"/>
                </a:cubicBezTo>
                <a:cubicBezTo>
                  <a:pt x="1042878" y="4328858"/>
                  <a:pt x="1042103" y="4330407"/>
                  <a:pt x="1041174" y="4331956"/>
                </a:cubicBezTo>
                <a:cubicBezTo>
                  <a:pt x="1041174" y="4331130"/>
                  <a:pt x="1033429" y="4331956"/>
                  <a:pt x="1033429" y="4331956"/>
                </a:cubicBezTo>
                <a:lnTo>
                  <a:pt x="1032500" y="4330407"/>
                </a:lnTo>
                <a:lnTo>
                  <a:pt x="1038851" y="4342798"/>
                </a:lnTo>
                <a:cubicBezTo>
                  <a:pt x="1032190" y="4351678"/>
                  <a:pt x="1035288" y="4369954"/>
                  <a:pt x="1023516" y="4374910"/>
                </a:cubicBezTo>
                <a:lnTo>
                  <a:pt x="1020728" y="4374497"/>
                </a:lnTo>
                <a:lnTo>
                  <a:pt x="1020418" y="4374807"/>
                </a:lnTo>
                <a:cubicBezTo>
                  <a:pt x="1019643" y="4375427"/>
                  <a:pt x="1018714" y="4375840"/>
                  <a:pt x="1017630" y="4375736"/>
                </a:cubicBezTo>
                <a:lnTo>
                  <a:pt x="1016081" y="4374704"/>
                </a:lnTo>
                <a:lnTo>
                  <a:pt x="1011279" y="4375633"/>
                </a:lnTo>
                <a:lnTo>
                  <a:pt x="1010350" y="4375530"/>
                </a:lnTo>
                <a:lnTo>
                  <a:pt x="1008646" y="4376046"/>
                </a:lnTo>
                <a:lnTo>
                  <a:pt x="1009111" y="4379350"/>
                </a:lnTo>
                <a:cubicBezTo>
                  <a:pt x="1008646" y="4380486"/>
                  <a:pt x="1007717" y="4381106"/>
                  <a:pt x="1006787" y="4381415"/>
                </a:cubicBezTo>
                <a:cubicBezTo>
                  <a:pt x="1005703" y="4381725"/>
                  <a:pt x="1004464" y="4381622"/>
                  <a:pt x="1003379" y="4381209"/>
                </a:cubicBezTo>
                <a:cubicBezTo>
                  <a:pt x="1002450" y="4381209"/>
                  <a:pt x="1001830" y="4380693"/>
                  <a:pt x="1001366" y="4379867"/>
                </a:cubicBezTo>
                <a:cubicBezTo>
                  <a:pt x="1000901" y="4378937"/>
                  <a:pt x="1000746" y="4377905"/>
                  <a:pt x="1000901" y="4376975"/>
                </a:cubicBezTo>
                <a:lnTo>
                  <a:pt x="1000901" y="4376769"/>
                </a:lnTo>
                <a:lnTo>
                  <a:pt x="993621" y="4372948"/>
                </a:lnTo>
                <a:lnTo>
                  <a:pt x="992846" y="4376975"/>
                </a:lnTo>
                <a:cubicBezTo>
                  <a:pt x="993156" y="4379557"/>
                  <a:pt x="994240" y="4381829"/>
                  <a:pt x="996099" y="4383790"/>
                </a:cubicBezTo>
                <a:cubicBezTo>
                  <a:pt x="998577" y="4386475"/>
                  <a:pt x="1001366" y="4386785"/>
                  <a:pt x="1005238" y="4389573"/>
                </a:cubicBezTo>
                <a:cubicBezTo>
                  <a:pt x="1007717" y="4392257"/>
                  <a:pt x="1008801" y="4393600"/>
                  <a:pt x="1007407" y="4394736"/>
                </a:cubicBezTo>
                <a:cubicBezTo>
                  <a:pt x="1007407" y="4394736"/>
                  <a:pt x="1007407" y="4394839"/>
                  <a:pt x="1015152" y="4400414"/>
                </a:cubicBezTo>
                <a:cubicBezTo>
                  <a:pt x="1016391" y="4401757"/>
                  <a:pt x="1016236" y="4402996"/>
                  <a:pt x="1016236" y="4402996"/>
                </a:cubicBezTo>
                <a:cubicBezTo>
                  <a:pt x="1016236" y="4402996"/>
                  <a:pt x="1016236" y="4402996"/>
                  <a:pt x="1013758" y="4401550"/>
                </a:cubicBezTo>
                <a:cubicBezTo>
                  <a:pt x="1013758" y="4401550"/>
                  <a:pt x="1012364" y="4400208"/>
                  <a:pt x="1011124" y="4398866"/>
                </a:cubicBezTo>
                <a:cubicBezTo>
                  <a:pt x="1011124" y="4398866"/>
                  <a:pt x="1009885" y="4398763"/>
                  <a:pt x="1008491" y="4398659"/>
                </a:cubicBezTo>
                <a:cubicBezTo>
                  <a:pt x="1007252" y="4397317"/>
                  <a:pt x="1009885" y="4397420"/>
                  <a:pt x="1007407" y="4395975"/>
                </a:cubicBezTo>
                <a:cubicBezTo>
                  <a:pt x="1007407" y="4395975"/>
                  <a:pt x="997958" y="4395355"/>
                  <a:pt x="999352" y="4395458"/>
                </a:cubicBezTo>
                <a:cubicBezTo>
                  <a:pt x="996873" y="4392774"/>
                  <a:pt x="995790" y="4388953"/>
                  <a:pt x="993156" y="4387508"/>
                </a:cubicBezTo>
                <a:cubicBezTo>
                  <a:pt x="989438" y="4383377"/>
                  <a:pt x="984172" y="4383068"/>
                  <a:pt x="978596" y="4386475"/>
                </a:cubicBezTo>
                <a:cubicBezTo>
                  <a:pt x="974104" y="4392567"/>
                  <a:pt x="971780" y="4405061"/>
                  <a:pt x="975498" y="4407849"/>
                </a:cubicBezTo>
                <a:cubicBezTo>
                  <a:pt x="968528" y="4412496"/>
                  <a:pt x="948546" y="4411153"/>
                  <a:pt x="946997" y="4413528"/>
                </a:cubicBezTo>
                <a:cubicBezTo>
                  <a:pt x="946533" y="4414148"/>
                  <a:pt x="946378" y="4415180"/>
                  <a:pt x="946068" y="4416316"/>
                </a:cubicBezTo>
                <a:lnTo>
                  <a:pt x="945913" y="4418071"/>
                </a:lnTo>
                <a:lnTo>
                  <a:pt x="947617" y="4419310"/>
                </a:lnTo>
                <a:cubicBezTo>
                  <a:pt x="948856" y="4421066"/>
                  <a:pt x="948856" y="4423544"/>
                  <a:pt x="949166" y="4426848"/>
                </a:cubicBezTo>
                <a:cubicBezTo>
                  <a:pt x="948856" y="4426125"/>
                  <a:pt x="948391" y="4427261"/>
                  <a:pt x="948391" y="4427261"/>
                </a:cubicBezTo>
                <a:cubicBezTo>
                  <a:pt x="947617" y="4429739"/>
                  <a:pt x="952573" y="4427674"/>
                  <a:pt x="952264" y="4430875"/>
                </a:cubicBezTo>
                <a:cubicBezTo>
                  <a:pt x="951179" y="4435935"/>
                  <a:pt x="945293" y="4438000"/>
                  <a:pt x="942040" y="4438929"/>
                </a:cubicBezTo>
                <a:lnTo>
                  <a:pt x="940182" y="4439445"/>
                </a:lnTo>
                <a:lnTo>
                  <a:pt x="940646" y="4440168"/>
                </a:lnTo>
                <a:lnTo>
                  <a:pt x="939407" y="4439858"/>
                </a:lnTo>
                <a:lnTo>
                  <a:pt x="939252" y="4439962"/>
                </a:lnTo>
                <a:cubicBezTo>
                  <a:pt x="938788" y="4439239"/>
                  <a:pt x="938013" y="4439652"/>
                  <a:pt x="938478" y="4440375"/>
                </a:cubicBezTo>
                <a:cubicBezTo>
                  <a:pt x="936929" y="4440375"/>
                  <a:pt x="935690" y="4440375"/>
                  <a:pt x="934915" y="4440065"/>
                </a:cubicBezTo>
                <a:cubicBezTo>
                  <a:pt x="934140" y="4439755"/>
                  <a:pt x="933986" y="4439239"/>
                  <a:pt x="934296" y="4438103"/>
                </a:cubicBezTo>
                <a:cubicBezTo>
                  <a:pt x="934296" y="4436141"/>
                  <a:pt x="936155" y="4435935"/>
                  <a:pt x="936774" y="4433457"/>
                </a:cubicBezTo>
                <a:cubicBezTo>
                  <a:pt x="937238" y="4431288"/>
                  <a:pt x="935225" y="4430049"/>
                  <a:pt x="933521" y="4428191"/>
                </a:cubicBezTo>
                <a:lnTo>
                  <a:pt x="932282" y="4426435"/>
                </a:lnTo>
                <a:lnTo>
                  <a:pt x="931198" y="4426538"/>
                </a:lnTo>
                <a:cubicBezTo>
                  <a:pt x="931198" y="4427777"/>
                  <a:pt x="936309" y="4429430"/>
                  <a:pt x="933366" y="4433043"/>
                </a:cubicBezTo>
                <a:cubicBezTo>
                  <a:pt x="930578" y="4435418"/>
                  <a:pt x="929339" y="4434076"/>
                  <a:pt x="927945" y="4433973"/>
                </a:cubicBezTo>
                <a:cubicBezTo>
                  <a:pt x="922988" y="4429843"/>
                  <a:pt x="927170" y="4427468"/>
                  <a:pt x="924693" y="4424783"/>
                </a:cubicBezTo>
                <a:cubicBezTo>
                  <a:pt x="918961" y="4428191"/>
                  <a:pt x="911061" y="4427777"/>
                  <a:pt x="908118" y="4430049"/>
                </a:cubicBezTo>
                <a:cubicBezTo>
                  <a:pt x="906569" y="4432527"/>
                  <a:pt x="908428" y="4442749"/>
                  <a:pt x="909668" y="4444092"/>
                </a:cubicBezTo>
                <a:cubicBezTo>
                  <a:pt x="910441" y="4444815"/>
                  <a:pt x="911371" y="4445021"/>
                  <a:pt x="912455" y="4445021"/>
                </a:cubicBezTo>
                <a:lnTo>
                  <a:pt x="915398" y="4444608"/>
                </a:lnTo>
                <a:lnTo>
                  <a:pt x="915398" y="4443679"/>
                </a:lnTo>
                <a:lnTo>
                  <a:pt x="917257" y="4439858"/>
                </a:lnTo>
                <a:lnTo>
                  <a:pt x="915863" y="4439342"/>
                </a:lnTo>
                <a:cubicBezTo>
                  <a:pt x="915243" y="4438310"/>
                  <a:pt x="914779" y="4436864"/>
                  <a:pt x="914469" y="4435522"/>
                </a:cubicBezTo>
                <a:cubicBezTo>
                  <a:pt x="914934" y="4436244"/>
                  <a:pt x="914934" y="4436244"/>
                  <a:pt x="914934" y="4436244"/>
                </a:cubicBezTo>
                <a:cubicBezTo>
                  <a:pt x="916018" y="4436451"/>
                  <a:pt x="915708" y="4435728"/>
                  <a:pt x="916328" y="4435315"/>
                </a:cubicBezTo>
                <a:cubicBezTo>
                  <a:pt x="916328" y="4435315"/>
                  <a:pt x="915708" y="4435728"/>
                  <a:pt x="916018" y="4434489"/>
                </a:cubicBezTo>
                <a:cubicBezTo>
                  <a:pt x="916328" y="4435315"/>
                  <a:pt x="917102" y="4434799"/>
                  <a:pt x="917876" y="4434386"/>
                </a:cubicBezTo>
                <a:cubicBezTo>
                  <a:pt x="920200" y="4434902"/>
                  <a:pt x="922833" y="4436244"/>
                  <a:pt x="922833" y="4438206"/>
                </a:cubicBezTo>
                <a:lnTo>
                  <a:pt x="921594" y="4439858"/>
                </a:lnTo>
                <a:lnTo>
                  <a:pt x="923763" y="4439962"/>
                </a:lnTo>
                <a:cubicBezTo>
                  <a:pt x="924537" y="4440168"/>
                  <a:pt x="925157" y="4440581"/>
                  <a:pt x="925776" y="4441407"/>
                </a:cubicBezTo>
                <a:lnTo>
                  <a:pt x="928409" y="4444608"/>
                </a:lnTo>
                <a:lnTo>
                  <a:pt x="929494" y="4443059"/>
                </a:lnTo>
                <a:cubicBezTo>
                  <a:pt x="929959" y="4442440"/>
                  <a:pt x="930733" y="4442027"/>
                  <a:pt x="931507" y="4441924"/>
                </a:cubicBezTo>
                <a:cubicBezTo>
                  <a:pt x="932127" y="4441924"/>
                  <a:pt x="932747" y="4442027"/>
                  <a:pt x="933521" y="4442440"/>
                </a:cubicBezTo>
                <a:cubicBezTo>
                  <a:pt x="933521" y="4442440"/>
                  <a:pt x="933521" y="4442440"/>
                  <a:pt x="933676" y="4443266"/>
                </a:cubicBezTo>
                <a:cubicBezTo>
                  <a:pt x="934140" y="4444815"/>
                  <a:pt x="934296" y="4445641"/>
                  <a:pt x="934605" y="4446467"/>
                </a:cubicBezTo>
                <a:cubicBezTo>
                  <a:pt x="934296" y="4446983"/>
                  <a:pt x="933676" y="4447912"/>
                  <a:pt x="932902" y="4448635"/>
                </a:cubicBezTo>
                <a:lnTo>
                  <a:pt x="931043" y="4449565"/>
                </a:lnTo>
                <a:lnTo>
                  <a:pt x="931353" y="4450494"/>
                </a:lnTo>
                <a:cubicBezTo>
                  <a:pt x="931507" y="4452869"/>
                  <a:pt x="930423" y="4454831"/>
                  <a:pt x="929029" y="4457722"/>
                </a:cubicBezTo>
                <a:cubicBezTo>
                  <a:pt x="929029" y="4456793"/>
                  <a:pt x="928100" y="4457515"/>
                  <a:pt x="928100" y="4457515"/>
                </a:cubicBezTo>
                <a:cubicBezTo>
                  <a:pt x="926396" y="4459064"/>
                  <a:pt x="931353" y="4460716"/>
                  <a:pt x="929494" y="4463091"/>
                </a:cubicBezTo>
                <a:cubicBezTo>
                  <a:pt x="927790" y="4464743"/>
                  <a:pt x="925466" y="4465053"/>
                  <a:pt x="923143" y="4464640"/>
                </a:cubicBezTo>
                <a:cubicBezTo>
                  <a:pt x="920819" y="4464330"/>
                  <a:pt x="918651" y="4463298"/>
                  <a:pt x="917102" y="4462575"/>
                </a:cubicBezTo>
                <a:lnTo>
                  <a:pt x="915398" y="4461645"/>
                </a:lnTo>
                <a:lnTo>
                  <a:pt x="915398" y="4462575"/>
                </a:lnTo>
                <a:lnTo>
                  <a:pt x="914469" y="4461542"/>
                </a:lnTo>
                <a:lnTo>
                  <a:pt x="914469" y="4461645"/>
                </a:lnTo>
                <a:cubicBezTo>
                  <a:pt x="914469" y="4466395"/>
                  <a:pt x="913849" y="4470422"/>
                  <a:pt x="913229" y="4471042"/>
                </a:cubicBezTo>
                <a:cubicBezTo>
                  <a:pt x="911061" y="4467118"/>
                  <a:pt x="909202" y="4463298"/>
                  <a:pt x="907344" y="4459787"/>
                </a:cubicBezTo>
                <a:lnTo>
                  <a:pt x="902542" y="4450391"/>
                </a:lnTo>
                <a:lnTo>
                  <a:pt x="902232" y="4450494"/>
                </a:lnTo>
                <a:lnTo>
                  <a:pt x="902542" y="4450287"/>
                </a:lnTo>
                <a:lnTo>
                  <a:pt x="902232" y="4449771"/>
                </a:lnTo>
                <a:lnTo>
                  <a:pt x="901767" y="4448842"/>
                </a:lnTo>
                <a:lnTo>
                  <a:pt x="899444" y="4449461"/>
                </a:lnTo>
                <a:cubicBezTo>
                  <a:pt x="898825" y="4449151"/>
                  <a:pt x="898204" y="4448635"/>
                  <a:pt x="897740" y="4448119"/>
                </a:cubicBezTo>
                <a:cubicBezTo>
                  <a:pt x="896501" y="4447500"/>
                  <a:pt x="895881" y="4446260"/>
                  <a:pt x="895881" y="4444918"/>
                </a:cubicBezTo>
                <a:lnTo>
                  <a:pt x="896037" y="4443989"/>
                </a:lnTo>
                <a:lnTo>
                  <a:pt x="895417" y="4444608"/>
                </a:lnTo>
                <a:cubicBezTo>
                  <a:pt x="894332" y="4445021"/>
                  <a:pt x="893093" y="4445021"/>
                  <a:pt x="892009" y="4444815"/>
                </a:cubicBezTo>
                <a:cubicBezTo>
                  <a:pt x="891080" y="4444918"/>
                  <a:pt x="890305" y="4444299"/>
                  <a:pt x="889840" y="4443576"/>
                </a:cubicBezTo>
                <a:cubicBezTo>
                  <a:pt x="889221" y="4442749"/>
                  <a:pt x="888911" y="4441717"/>
                  <a:pt x="888911" y="4440788"/>
                </a:cubicBezTo>
                <a:cubicBezTo>
                  <a:pt x="889376" y="4439549"/>
                  <a:pt x="889376" y="4439549"/>
                  <a:pt x="889685" y="4438413"/>
                </a:cubicBezTo>
                <a:cubicBezTo>
                  <a:pt x="890460" y="4437897"/>
                  <a:pt x="891080" y="4437380"/>
                  <a:pt x="891854" y="4436761"/>
                </a:cubicBezTo>
                <a:lnTo>
                  <a:pt x="893404" y="4436038"/>
                </a:lnTo>
                <a:lnTo>
                  <a:pt x="892938" y="4435418"/>
                </a:lnTo>
                <a:cubicBezTo>
                  <a:pt x="889066" y="4432527"/>
                  <a:pt x="889066" y="4433870"/>
                  <a:pt x="884884" y="4436141"/>
                </a:cubicBezTo>
                <a:cubicBezTo>
                  <a:pt x="884884" y="4436141"/>
                  <a:pt x="884729" y="4436038"/>
                  <a:pt x="875280" y="4436761"/>
                </a:cubicBezTo>
                <a:cubicBezTo>
                  <a:pt x="870169" y="4435109"/>
                  <a:pt x="865987" y="4436038"/>
                  <a:pt x="861959" y="4435832"/>
                </a:cubicBezTo>
                <a:cubicBezTo>
                  <a:pt x="861959" y="4435832"/>
                  <a:pt x="861959" y="4435832"/>
                  <a:pt x="854834" y="4442956"/>
                </a:cubicBezTo>
                <a:cubicBezTo>
                  <a:pt x="847399" y="4451423"/>
                  <a:pt x="849102" y="4465466"/>
                  <a:pt x="849102" y="4465466"/>
                </a:cubicBezTo>
                <a:cubicBezTo>
                  <a:pt x="848947" y="4466808"/>
                  <a:pt x="846934" y="4475585"/>
                  <a:pt x="848328" y="4475585"/>
                </a:cubicBezTo>
                <a:cubicBezTo>
                  <a:pt x="845540" y="4476721"/>
                  <a:pt x="843991" y="4479096"/>
                  <a:pt x="841357" y="4480232"/>
                </a:cubicBezTo>
                <a:cubicBezTo>
                  <a:pt x="835007" y="4473417"/>
                  <a:pt x="853595" y="4441614"/>
                  <a:pt x="844611" y="4434696"/>
                </a:cubicBezTo>
                <a:cubicBezTo>
                  <a:pt x="842132" y="4431908"/>
                  <a:pt x="827108" y="4436038"/>
                  <a:pt x="825868" y="4434696"/>
                </a:cubicBezTo>
                <a:lnTo>
                  <a:pt x="822306" y="4439239"/>
                </a:lnTo>
                <a:lnTo>
                  <a:pt x="823235" y="4440891"/>
                </a:lnTo>
                <a:cubicBezTo>
                  <a:pt x="823080" y="4442543"/>
                  <a:pt x="821841" y="4444195"/>
                  <a:pt x="819208" y="4444815"/>
                </a:cubicBezTo>
                <a:lnTo>
                  <a:pt x="818898" y="4443472"/>
                </a:lnTo>
                <a:lnTo>
                  <a:pt x="818743" y="4443472"/>
                </a:lnTo>
                <a:cubicBezTo>
                  <a:pt x="817504" y="4444815"/>
                  <a:pt x="815800" y="4448326"/>
                  <a:pt x="813012" y="4445228"/>
                </a:cubicBezTo>
                <a:cubicBezTo>
                  <a:pt x="809139" y="4442440"/>
                  <a:pt x="811308" y="4429843"/>
                  <a:pt x="810068" y="4428500"/>
                </a:cubicBezTo>
                <a:cubicBezTo>
                  <a:pt x="803563" y="4422408"/>
                  <a:pt x="795354" y="4427571"/>
                  <a:pt x="790087" y="4428810"/>
                </a:cubicBezTo>
                <a:lnTo>
                  <a:pt x="789467" y="4428707"/>
                </a:lnTo>
                <a:lnTo>
                  <a:pt x="787609" y="4431495"/>
                </a:lnTo>
                <a:cubicBezTo>
                  <a:pt x="785286" y="4435832"/>
                  <a:pt x="783582" y="4440168"/>
                  <a:pt x="781103" y="4444505"/>
                </a:cubicBezTo>
                <a:lnTo>
                  <a:pt x="780174" y="4445847"/>
                </a:lnTo>
                <a:lnTo>
                  <a:pt x="782962" y="4447706"/>
                </a:lnTo>
                <a:lnTo>
                  <a:pt x="782652" y="4448635"/>
                </a:lnTo>
                <a:lnTo>
                  <a:pt x="783736" y="4448739"/>
                </a:lnTo>
                <a:cubicBezTo>
                  <a:pt x="784666" y="4448945"/>
                  <a:pt x="785440" y="4449461"/>
                  <a:pt x="786370" y="4450287"/>
                </a:cubicBezTo>
                <a:cubicBezTo>
                  <a:pt x="789003" y="4453075"/>
                  <a:pt x="791017" y="4459168"/>
                  <a:pt x="788538" y="4461645"/>
                </a:cubicBezTo>
                <a:cubicBezTo>
                  <a:pt x="786214" y="4464950"/>
                  <a:pt x="783736" y="4465776"/>
                  <a:pt x="781103" y="4465673"/>
                </a:cubicBezTo>
                <a:cubicBezTo>
                  <a:pt x="781103" y="4465673"/>
                  <a:pt x="781103" y="4465569"/>
                  <a:pt x="782033" y="4465673"/>
                </a:cubicBezTo>
                <a:cubicBezTo>
                  <a:pt x="785595" y="4469286"/>
                  <a:pt x="791636" y="4475585"/>
                  <a:pt x="791017" y="4478167"/>
                </a:cubicBezTo>
                <a:cubicBezTo>
                  <a:pt x="790087" y="4478063"/>
                  <a:pt x="789312" y="4478063"/>
                  <a:pt x="788383" y="4477134"/>
                </a:cubicBezTo>
                <a:cubicBezTo>
                  <a:pt x="787454" y="4476308"/>
                  <a:pt x="788383" y="4476308"/>
                  <a:pt x="787609" y="4476308"/>
                </a:cubicBezTo>
                <a:cubicBezTo>
                  <a:pt x="786680" y="4475379"/>
                  <a:pt x="786680" y="4476205"/>
                  <a:pt x="786680" y="4476205"/>
                </a:cubicBezTo>
                <a:cubicBezTo>
                  <a:pt x="786680" y="4476205"/>
                  <a:pt x="786680" y="4475379"/>
                  <a:pt x="786680" y="4475379"/>
                </a:cubicBezTo>
                <a:cubicBezTo>
                  <a:pt x="786680" y="4475379"/>
                  <a:pt x="786680" y="4475379"/>
                  <a:pt x="784821" y="4473520"/>
                </a:cubicBezTo>
                <a:cubicBezTo>
                  <a:pt x="782343" y="4471765"/>
                  <a:pt x="781413" y="4471661"/>
                  <a:pt x="779709" y="4470732"/>
                </a:cubicBezTo>
                <a:cubicBezTo>
                  <a:pt x="777850" y="4468873"/>
                  <a:pt x="777850" y="4468047"/>
                  <a:pt x="775992" y="4465363"/>
                </a:cubicBezTo>
                <a:cubicBezTo>
                  <a:pt x="776766" y="4463711"/>
                  <a:pt x="776766" y="4463711"/>
                  <a:pt x="777696" y="4463711"/>
                </a:cubicBezTo>
                <a:cubicBezTo>
                  <a:pt x="776766" y="4463711"/>
                  <a:pt x="776766" y="4462884"/>
                  <a:pt x="775992" y="4461955"/>
                </a:cubicBezTo>
                <a:cubicBezTo>
                  <a:pt x="773823" y="4460510"/>
                  <a:pt x="773048" y="4458754"/>
                  <a:pt x="773358" y="4456896"/>
                </a:cubicBezTo>
                <a:lnTo>
                  <a:pt x="775372" y="4452559"/>
                </a:lnTo>
                <a:lnTo>
                  <a:pt x="775217" y="4452352"/>
                </a:lnTo>
                <a:lnTo>
                  <a:pt x="770415" y="4457206"/>
                </a:lnTo>
                <a:cubicBezTo>
                  <a:pt x="765304" y="4448945"/>
                  <a:pt x="772893" y="4431391"/>
                  <a:pt x="782962" y="4424886"/>
                </a:cubicBezTo>
                <a:lnTo>
                  <a:pt x="784356" y="4424164"/>
                </a:lnTo>
                <a:lnTo>
                  <a:pt x="783427" y="4418484"/>
                </a:lnTo>
                <a:cubicBezTo>
                  <a:pt x="782962" y="4413941"/>
                  <a:pt x="782652" y="4409501"/>
                  <a:pt x="782033" y="4408881"/>
                </a:cubicBezTo>
                <a:cubicBezTo>
                  <a:pt x="774443" y="4401964"/>
                  <a:pt x="769486" y="4414354"/>
                  <a:pt x="761741" y="4411256"/>
                </a:cubicBezTo>
                <a:cubicBezTo>
                  <a:pt x="763135" y="4410121"/>
                  <a:pt x="760502" y="4408675"/>
                  <a:pt x="762051" y="4406300"/>
                </a:cubicBezTo>
                <a:cubicBezTo>
                  <a:pt x="762206" y="4404958"/>
                  <a:pt x="764839" y="4405165"/>
                  <a:pt x="764994" y="4402686"/>
                </a:cubicBezTo>
                <a:cubicBezTo>
                  <a:pt x="772274" y="4395562"/>
                  <a:pt x="756475" y="4389366"/>
                  <a:pt x="759418" y="4386991"/>
                </a:cubicBezTo>
                <a:cubicBezTo>
                  <a:pt x="755545" y="4384203"/>
                  <a:pt x="750433" y="4381312"/>
                  <a:pt x="745942" y="4387404"/>
                </a:cubicBezTo>
                <a:cubicBezTo>
                  <a:pt x="744703" y="4387301"/>
                  <a:pt x="744393" y="4389779"/>
                  <a:pt x="744393" y="4389779"/>
                </a:cubicBezTo>
                <a:cubicBezTo>
                  <a:pt x="741914" y="4388334"/>
                  <a:pt x="740211" y="4392051"/>
                  <a:pt x="738817" y="4393187"/>
                </a:cubicBezTo>
                <a:cubicBezTo>
                  <a:pt x="738817" y="4393187"/>
                  <a:pt x="738817" y="4393290"/>
                  <a:pt x="734944" y="4390502"/>
                </a:cubicBezTo>
                <a:cubicBezTo>
                  <a:pt x="738042" y="4386888"/>
                  <a:pt x="733860" y="4387817"/>
                  <a:pt x="736803" y="4384203"/>
                </a:cubicBezTo>
                <a:cubicBezTo>
                  <a:pt x="736803" y="4384203"/>
                  <a:pt x="736803" y="4384203"/>
                  <a:pt x="741140" y="4380693"/>
                </a:cubicBezTo>
                <a:cubicBezTo>
                  <a:pt x="742379" y="4380693"/>
                  <a:pt x="742379" y="4380796"/>
                  <a:pt x="743928" y="4379660"/>
                </a:cubicBezTo>
                <a:cubicBezTo>
                  <a:pt x="749659" y="4373671"/>
                  <a:pt x="747181" y="4370986"/>
                  <a:pt x="743309" y="4368096"/>
                </a:cubicBezTo>
                <a:cubicBezTo>
                  <a:pt x="739591" y="4365307"/>
                  <a:pt x="731536" y="4364791"/>
                  <a:pt x="730143" y="4364688"/>
                </a:cubicBezTo>
                <a:cubicBezTo>
                  <a:pt x="730607" y="4359629"/>
                  <a:pt x="737887" y="4351265"/>
                  <a:pt x="731691" y="4344450"/>
                </a:cubicBezTo>
                <a:cubicBezTo>
                  <a:pt x="727819" y="4341662"/>
                  <a:pt x="718835" y="4353743"/>
                  <a:pt x="712639" y="4348270"/>
                </a:cubicBezTo>
                <a:cubicBezTo>
                  <a:pt x="710006" y="4346825"/>
                  <a:pt x="710161" y="4344243"/>
                  <a:pt x="712949" y="4343211"/>
                </a:cubicBezTo>
                <a:cubicBezTo>
                  <a:pt x="714498" y="4339494"/>
                  <a:pt x="718680" y="4338461"/>
                  <a:pt x="722553" y="4340010"/>
                </a:cubicBezTo>
                <a:cubicBezTo>
                  <a:pt x="727354" y="4330200"/>
                  <a:pt x="727974" y="4321320"/>
                  <a:pt x="720384" y="4315744"/>
                </a:cubicBezTo>
                <a:cubicBezTo>
                  <a:pt x="711399" y="4308826"/>
                  <a:pt x="708457" y="4312440"/>
                  <a:pt x="699318" y="4309239"/>
                </a:cubicBezTo>
                <a:cubicBezTo>
                  <a:pt x="700712" y="4308104"/>
                  <a:pt x="702106" y="4306865"/>
                  <a:pt x="703655" y="4305729"/>
                </a:cubicBezTo>
                <a:cubicBezTo>
                  <a:pt x="705049" y="4304490"/>
                  <a:pt x="705049" y="4304490"/>
                  <a:pt x="705204" y="4303250"/>
                </a:cubicBezTo>
                <a:cubicBezTo>
                  <a:pt x="701332" y="4300463"/>
                  <a:pt x="698389" y="4302837"/>
                  <a:pt x="693277" y="4299946"/>
                </a:cubicBezTo>
                <a:lnTo>
                  <a:pt x="700402" y="4298191"/>
                </a:lnTo>
                <a:lnTo>
                  <a:pt x="697614" y="4295919"/>
                </a:lnTo>
                <a:cubicBezTo>
                  <a:pt x="699008" y="4292822"/>
                  <a:pt x="701486" y="4290034"/>
                  <a:pt x="704585" y="4287969"/>
                </a:cubicBezTo>
                <a:lnTo>
                  <a:pt x="709851" y="4285800"/>
                </a:lnTo>
                <a:lnTo>
                  <a:pt x="710625" y="4283322"/>
                </a:lnTo>
                <a:cubicBezTo>
                  <a:pt x="713568" y="4280947"/>
                  <a:pt x="718835" y="4282599"/>
                  <a:pt x="721778" y="4278985"/>
                </a:cubicBezTo>
                <a:cubicBezTo>
                  <a:pt x="721778" y="4278985"/>
                  <a:pt x="734789" y="4264633"/>
                  <a:pt x="729833" y="4260502"/>
                </a:cubicBezTo>
                <a:cubicBezTo>
                  <a:pt x="723482" y="4254927"/>
                  <a:pt x="708457" y="4257714"/>
                  <a:pt x="704739" y="4253687"/>
                </a:cubicBezTo>
                <a:cubicBezTo>
                  <a:pt x="702106" y="4252242"/>
                  <a:pt x="703655" y="4249764"/>
                  <a:pt x="705204" y="4248628"/>
                </a:cubicBezTo>
                <a:cubicBezTo>
                  <a:pt x="705204" y="4248628"/>
                  <a:pt x="716356" y="4250074"/>
                  <a:pt x="725031" y="4247802"/>
                </a:cubicBezTo>
                <a:lnTo>
                  <a:pt x="730452" y="4245014"/>
                </a:lnTo>
                <a:lnTo>
                  <a:pt x="728593" y="4244085"/>
                </a:lnTo>
                <a:cubicBezTo>
                  <a:pt x="729523" y="4243362"/>
                  <a:pt x="728748" y="4243259"/>
                  <a:pt x="728748" y="4242433"/>
                </a:cubicBezTo>
                <a:cubicBezTo>
                  <a:pt x="729213" y="4242845"/>
                  <a:pt x="729987" y="4243259"/>
                  <a:pt x="730917" y="4243568"/>
                </a:cubicBezTo>
                <a:lnTo>
                  <a:pt x="732156" y="4244085"/>
                </a:lnTo>
                <a:lnTo>
                  <a:pt x="732311" y="4244085"/>
                </a:lnTo>
                <a:cubicBezTo>
                  <a:pt x="733860" y="4241607"/>
                  <a:pt x="731227" y="4240161"/>
                  <a:pt x="732776" y="4239025"/>
                </a:cubicBezTo>
                <a:cubicBezTo>
                  <a:pt x="732776" y="4237786"/>
                  <a:pt x="734170" y="4237889"/>
                  <a:pt x="735409" y="4237889"/>
                </a:cubicBezTo>
                <a:cubicBezTo>
                  <a:pt x="735564" y="4236650"/>
                  <a:pt x="736957" y="4235411"/>
                  <a:pt x="737113" y="4234172"/>
                </a:cubicBezTo>
                <a:cubicBezTo>
                  <a:pt x="737113" y="4234172"/>
                  <a:pt x="745322" y="4230971"/>
                  <a:pt x="746716" y="4231074"/>
                </a:cubicBezTo>
                <a:cubicBezTo>
                  <a:pt x="746716" y="4231074"/>
                  <a:pt x="748575" y="4226221"/>
                  <a:pt x="747955" y="4222607"/>
                </a:cubicBezTo>
                <a:lnTo>
                  <a:pt x="746871" y="4220645"/>
                </a:lnTo>
                <a:lnTo>
                  <a:pt x="745167" y="4220645"/>
                </a:lnTo>
                <a:lnTo>
                  <a:pt x="745167" y="4221575"/>
                </a:lnTo>
                <a:cubicBezTo>
                  <a:pt x="745012" y="4222917"/>
                  <a:pt x="744703" y="4224053"/>
                  <a:pt x="744393" y="4224879"/>
                </a:cubicBezTo>
                <a:cubicBezTo>
                  <a:pt x="743774" y="4224569"/>
                  <a:pt x="743309" y="4223846"/>
                  <a:pt x="743154" y="4222814"/>
                </a:cubicBezTo>
                <a:lnTo>
                  <a:pt x="742999" y="4220542"/>
                </a:lnTo>
                <a:lnTo>
                  <a:pt x="740831" y="4220542"/>
                </a:lnTo>
                <a:cubicBezTo>
                  <a:pt x="737887" y="4219819"/>
                  <a:pt x="734944" y="4217961"/>
                  <a:pt x="732311" y="4214760"/>
                </a:cubicBezTo>
                <a:cubicBezTo>
                  <a:pt x="730297" y="4210010"/>
                  <a:pt x="735874" y="4203092"/>
                  <a:pt x="741604" y="4200510"/>
                </a:cubicBezTo>
                <a:lnTo>
                  <a:pt x="742999" y="4200304"/>
                </a:lnTo>
                <a:lnTo>
                  <a:pt x="742224" y="4199168"/>
                </a:lnTo>
                <a:cubicBezTo>
                  <a:pt x="740365" y="4194625"/>
                  <a:pt x="742069" y="4191321"/>
                  <a:pt x="739126" y="4188223"/>
                </a:cubicBezTo>
                <a:cubicBezTo>
                  <a:pt x="740831" y="4187604"/>
                  <a:pt x="740831" y="4187604"/>
                  <a:pt x="742534" y="4188739"/>
                </a:cubicBezTo>
                <a:cubicBezTo>
                  <a:pt x="742379" y="4189566"/>
                  <a:pt x="743309" y="4189772"/>
                  <a:pt x="742379" y="4190495"/>
                </a:cubicBezTo>
                <a:cubicBezTo>
                  <a:pt x="743618" y="4191527"/>
                  <a:pt x="744703" y="4194109"/>
                  <a:pt x="745477" y="4196793"/>
                </a:cubicBezTo>
                <a:lnTo>
                  <a:pt x="745787" y="4199788"/>
                </a:lnTo>
                <a:lnTo>
                  <a:pt x="747026" y="4199581"/>
                </a:lnTo>
                <a:lnTo>
                  <a:pt x="748885" y="4201440"/>
                </a:lnTo>
                <a:lnTo>
                  <a:pt x="748730" y="4198445"/>
                </a:lnTo>
                <a:cubicBezTo>
                  <a:pt x="748420" y="4196897"/>
                  <a:pt x="747800" y="4195141"/>
                  <a:pt x="747800" y="4193592"/>
                </a:cubicBezTo>
                <a:lnTo>
                  <a:pt x="748150" y="4191187"/>
                </a:lnTo>
                <a:lnTo>
                  <a:pt x="749040" y="4190495"/>
                </a:lnTo>
                <a:cubicBezTo>
                  <a:pt x="750589" y="4194109"/>
                  <a:pt x="750278" y="4198755"/>
                  <a:pt x="750124" y="4201337"/>
                </a:cubicBezTo>
                <a:lnTo>
                  <a:pt x="749969" y="4202369"/>
                </a:lnTo>
                <a:lnTo>
                  <a:pt x="755080" y="4207222"/>
                </a:lnTo>
                <a:lnTo>
                  <a:pt x="754306" y="4211766"/>
                </a:lnTo>
                <a:lnTo>
                  <a:pt x="755080" y="4211972"/>
                </a:lnTo>
                <a:cubicBezTo>
                  <a:pt x="756785" y="4211869"/>
                  <a:pt x="758643" y="4211146"/>
                  <a:pt x="760502" y="4209081"/>
                </a:cubicBezTo>
                <a:cubicBezTo>
                  <a:pt x="763290" y="4206706"/>
                  <a:pt x="764684" y="4205570"/>
                  <a:pt x="763445" y="4204228"/>
                </a:cubicBezTo>
                <a:cubicBezTo>
                  <a:pt x="764839" y="4204331"/>
                  <a:pt x="764839" y="4202989"/>
                  <a:pt x="766233" y="4203092"/>
                </a:cubicBezTo>
                <a:cubicBezTo>
                  <a:pt x="767627" y="4203195"/>
                  <a:pt x="771035" y="4174180"/>
                  <a:pt x="771190" y="4172941"/>
                </a:cubicBezTo>
                <a:cubicBezTo>
                  <a:pt x="776921" y="4166952"/>
                  <a:pt x="782807" y="4169224"/>
                  <a:pt x="788693" y="4171392"/>
                </a:cubicBezTo>
                <a:lnTo>
                  <a:pt x="793495" y="4172528"/>
                </a:lnTo>
                <a:lnTo>
                  <a:pt x="794269" y="4167881"/>
                </a:lnTo>
                <a:cubicBezTo>
                  <a:pt x="793495" y="4166436"/>
                  <a:pt x="791791" y="4165300"/>
                  <a:pt x="789467" y="4164165"/>
                </a:cubicBezTo>
                <a:cubicBezTo>
                  <a:pt x="787144" y="4162615"/>
                  <a:pt x="784356" y="4161996"/>
                  <a:pt x="781413" y="4160860"/>
                </a:cubicBezTo>
                <a:cubicBezTo>
                  <a:pt x="779244" y="4159828"/>
                  <a:pt x="776301" y="4159311"/>
                  <a:pt x="774133" y="4158175"/>
                </a:cubicBezTo>
                <a:cubicBezTo>
                  <a:pt x="776301" y="4157143"/>
                  <a:pt x="778625" y="4157659"/>
                  <a:pt x="780948" y="4158175"/>
                </a:cubicBezTo>
                <a:cubicBezTo>
                  <a:pt x="783117" y="4158692"/>
                  <a:pt x="786060" y="4159828"/>
                  <a:pt x="788383" y="4159828"/>
                </a:cubicBezTo>
                <a:cubicBezTo>
                  <a:pt x="787764" y="4158279"/>
                  <a:pt x="786060" y="4156110"/>
                  <a:pt x="783736" y="4155594"/>
                </a:cubicBezTo>
                <a:cubicBezTo>
                  <a:pt x="782033" y="4154458"/>
                  <a:pt x="779709" y="4154458"/>
                  <a:pt x="778625" y="4157143"/>
                </a:cubicBezTo>
                <a:cubicBezTo>
                  <a:pt x="775837" y="4153426"/>
                  <a:pt x="773513" y="4153426"/>
                  <a:pt x="768866" y="4151257"/>
                </a:cubicBezTo>
                <a:cubicBezTo>
                  <a:pt x="768402" y="4150225"/>
                  <a:pt x="768402" y="4150018"/>
                  <a:pt x="769021" y="4150018"/>
                </a:cubicBezTo>
                <a:lnTo>
                  <a:pt x="770260" y="4150535"/>
                </a:lnTo>
                <a:lnTo>
                  <a:pt x="772274" y="4146507"/>
                </a:lnTo>
                <a:lnTo>
                  <a:pt x="772584" y="4146301"/>
                </a:lnTo>
                <a:lnTo>
                  <a:pt x="769486" y="4144030"/>
                </a:lnTo>
                <a:cubicBezTo>
                  <a:pt x="765768" y="4141758"/>
                  <a:pt x="762051" y="4140106"/>
                  <a:pt x="761586" y="4139899"/>
                </a:cubicBezTo>
                <a:cubicBezTo>
                  <a:pt x="758643" y="4137731"/>
                  <a:pt x="755855" y="4136079"/>
                  <a:pt x="756940" y="4136595"/>
                </a:cubicBezTo>
                <a:cubicBezTo>
                  <a:pt x="749504" y="4133910"/>
                  <a:pt x="750124" y="4128025"/>
                  <a:pt x="746716" y="4125237"/>
                </a:cubicBezTo>
                <a:cubicBezTo>
                  <a:pt x="745632" y="4124204"/>
                  <a:pt x="741604" y="4126269"/>
                  <a:pt x="738661" y="4123584"/>
                </a:cubicBezTo>
                <a:lnTo>
                  <a:pt x="737577" y="4122655"/>
                </a:lnTo>
                <a:lnTo>
                  <a:pt x="735409" y="4124617"/>
                </a:lnTo>
                <a:cubicBezTo>
                  <a:pt x="730917" y="4129264"/>
                  <a:pt x="728593" y="4132774"/>
                  <a:pt x="721933" y="4130090"/>
                </a:cubicBezTo>
                <a:cubicBezTo>
                  <a:pt x="721468" y="4127612"/>
                  <a:pt x="723172" y="4124927"/>
                  <a:pt x="725805" y="4122242"/>
                </a:cubicBezTo>
                <a:lnTo>
                  <a:pt x="731381" y="4116976"/>
                </a:lnTo>
                <a:lnTo>
                  <a:pt x="722707" y="4110161"/>
                </a:lnTo>
                <a:cubicBezTo>
                  <a:pt x="721003" y="4109026"/>
                  <a:pt x="719299" y="4107890"/>
                  <a:pt x="717596" y="4106341"/>
                </a:cubicBezTo>
                <a:cubicBezTo>
                  <a:pt x="715892" y="4105205"/>
                  <a:pt x="714188" y="4104172"/>
                  <a:pt x="712484" y="4103140"/>
                </a:cubicBezTo>
                <a:cubicBezTo>
                  <a:pt x="708457" y="4100972"/>
                  <a:pt x="704430" y="4098700"/>
                  <a:pt x="700557" y="4097667"/>
                </a:cubicBezTo>
                <a:cubicBezTo>
                  <a:pt x="700557" y="4096015"/>
                  <a:pt x="702261" y="4094982"/>
                  <a:pt x="701022" y="4093331"/>
                </a:cubicBezTo>
                <a:cubicBezTo>
                  <a:pt x="705049" y="4091678"/>
                  <a:pt x="701641" y="4097151"/>
                  <a:pt x="705049" y="4098803"/>
                </a:cubicBezTo>
                <a:cubicBezTo>
                  <a:pt x="708457" y="4093331"/>
                  <a:pt x="700557" y="4087961"/>
                  <a:pt x="695910" y="4084657"/>
                </a:cubicBezTo>
                <a:cubicBezTo>
                  <a:pt x="695910" y="4085793"/>
                  <a:pt x="697614" y="4087445"/>
                  <a:pt x="695291" y="4088994"/>
                </a:cubicBezTo>
                <a:cubicBezTo>
                  <a:pt x="691418" y="4083624"/>
                  <a:pt x="688475" y="4070717"/>
                  <a:pt x="679956" y="4072782"/>
                </a:cubicBezTo>
                <a:cubicBezTo>
                  <a:pt x="678717" y="4072060"/>
                  <a:pt x="678717" y="4071337"/>
                  <a:pt x="679027" y="4070717"/>
                </a:cubicBezTo>
                <a:lnTo>
                  <a:pt x="679027" y="4070614"/>
                </a:lnTo>
                <a:lnTo>
                  <a:pt x="673296" y="4064729"/>
                </a:lnTo>
                <a:lnTo>
                  <a:pt x="673915" y="4063076"/>
                </a:lnTo>
                <a:lnTo>
                  <a:pt x="673141" y="4062560"/>
                </a:lnTo>
                <a:cubicBezTo>
                  <a:pt x="671436" y="4063696"/>
                  <a:pt x="672521" y="4064729"/>
                  <a:pt x="673141" y="4066381"/>
                </a:cubicBezTo>
                <a:cubicBezTo>
                  <a:pt x="665706" y="4065348"/>
                  <a:pt x="668029" y="4057707"/>
                  <a:pt x="659355" y="4054403"/>
                </a:cubicBezTo>
                <a:cubicBezTo>
                  <a:pt x="663382" y="4052235"/>
                  <a:pt x="657651" y="4048517"/>
                  <a:pt x="658890" y="4045833"/>
                </a:cubicBezTo>
                <a:cubicBezTo>
                  <a:pt x="654863" y="4043664"/>
                  <a:pt x="650835" y="4039947"/>
                  <a:pt x="646343" y="4036127"/>
                </a:cubicBezTo>
                <a:cubicBezTo>
                  <a:pt x="644639" y="4033958"/>
                  <a:pt x="642316" y="4031790"/>
                  <a:pt x="639993" y="4029621"/>
                </a:cubicBezTo>
                <a:cubicBezTo>
                  <a:pt x="637824" y="4027453"/>
                  <a:pt x="635501" y="4024769"/>
                  <a:pt x="633797" y="4022600"/>
                </a:cubicBezTo>
                <a:cubicBezTo>
                  <a:pt x="629150" y="4017747"/>
                  <a:pt x="625277" y="4012378"/>
                  <a:pt x="621715" y="4007421"/>
                </a:cubicBezTo>
                <a:cubicBezTo>
                  <a:pt x="618307" y="4002052"/>
                  <a:pt x="615520" y="3996683"/>
                  <a:pt x="612576" y="3991830"/>
                </a:cubicBezTo>
                <a:lnTo>
                  <a:pt x="606690" y="3988009"/>
                </a:lnTo>
                <a:lnTo>
                  <a:pt x="606535" y="3992656"/>
                </a:lnTo>
                <a:cubicBezTo>
                  <a:pt x="602352" y="3998644"/>
                  <a:pt x="596312" y="3995960"/>
                  <a:pt x="589961" y="3992139"/>
                </a:cubicBezTo>
                <a:cubicBezTo>
                  <a:pt x="590736" y="3989351"/>
                  <a:pt x="590271" y="3986873"/>
                  <a:pt x="590891" y="3984189"/>
                </a:cubicBezTo>
                <a:cubicBezTo>
                  <a:pt x="593524" y="3982227"/>
                  <a:pt x="599719" y="3982330"/>
                  <a:pt x="603747" y="3984395"/>
                </a:cubicBezTo>
                <a:lnTo>
                  <a:pt x="604366" y="3985015"/>
                </a:lnTo>
                <a:lnTo>
                  <a:pt x="601888" y="3980472"/>
                </a:lnTo>
                <a:cubicBezTo>
                  <a:pt x="599565" y="3976135"/>
                  <a:pt x="597241" y="3971281"/>
                  <a:pt x="592749" y="3967461"/>
                </a:cubicBezTo>
                <a:cubicBezTo>
                  <a:pt x="592749" y="3964776"/>
                  <a:pt x="591045" y="3960956"/>
                  <a:pt x="594453" y="3958788"/>
                </a:cubicBezTo>
                <a:cubicBezTo>
                  <a:pt x="593214" y="3958788"/>
                  <a:pt x="592749" y="3958271"/>
                  <a:pt x="592130" y="3958271"/>
                </a:cubicBezTo>
                <a:cubicBezTo>
                  <a:pt x="592130" y="3958271"/>
                  <a:pt x="592130" y="3958271"/>
                  <a:pt x="592130" y="3957755"/>
                </a:cubicBezTo>
                <a:cubicBezTo>
                  <a:pt x="590426" y="3955071"/>
                  <a:pt x="589187" y="3953418"/>
                  <a:pt x="588722" y="3952386"/>
                </a:cubicBezTo>
                <a:cubicBezTo>
                  <a:pt x="589187" y="3952902"/>
                  <a:pt x="588722" y="3952282"/>
                  <a:pt x="588722" y="3951766"/>
                </a:cubicBezTo>
                <a:cubicBezTo>
                  <a:pt x="588103" y="3951766"/>
                  <a:pt x="588103" y="3951766"/>
                  <a:pt x="588103" y="3951766"/>
                </a:cubicBezTo>
                <a:cubicBezTo>
                  <a:pt x="588103" y="3951766"/>
                  <a:pt x="588103" y="3951766"/>
                  <a:pt x="587638" y="3951766"/>
                </a:cubicBezTo>
                <a:cubicBezTo>
                  <a:pt x="587018" y="3951250"/>
                  <a:pt x="587018" y="3950734"/>
                  <a:pt x="587018" y="3949081"/>
                </a:cubicBezTo>
                <a:cubicBezTo>
                  <a:pt x="585934" y="3948049"/>
                  <a:pt x="585934" y="3950734"/>
                  <a:pt x="582991" y="3951250"/>
                </a:cubicBezTo>
                <a:cubicBezTo>
                  <a:pt x="582371" y="3948565"/>
                  <a:pt x="580048" y="3947533"/>
                  <a:pt x="577260" y="3946913"/>
                </a:cubicBezTo>
                <a:cubicBezTo>
                  <a:pt x="575556" y="3946913"/>
                  <a:pt x="574472" y="3946397"/>
                  <a:pt x="572767" y="3945880"/>
                </a:cubicBezTo>
                <a:cubicBezTo>
                  <a:pt x="572148" y="3945880"/>
                  <a:pt x="571528" y="3945880"/>
                  <a:pt x="571063" y="3945365"/>
                </a:cubicBezTo>
                <a:cubicBezTo>
                  <a:pt x="571063" y="3945365"/>
                  <a:pt x="571063" y="3945261"/>
                  <a:pt x="570444" y="3944745"/>
                </a:cubicBezTo>
                <a:cubicBezTo>
                  <a:pt x="569824" y="3944229"/>
                  <a:pt x="569360" y="3943712"/>
                  <a:pt x="568740" y="3942576"/>
                </a:cubicBezTo>
                <a:cubicBezTo>
                  <a:pt x="569824" y="3942576"/>
                  <a:pt x="571063" y="3942576"/>
                  <a:pt x="571528" y="3942576"/>
                </a:cubicBezTo>
                <a:cubicBezTo>
                  <a:pt x="572148" y="3942576"/>
                  <a:pt x="572148" y="3942576"/>
                  <a:pt x="572767" y="3943093"/>
                </a:cubicBezTo>
                <a:cubicBezTo>
                  <a:pt x="572767" y="3943093"/>
                  <a:pt x="572767" y="3943093"/>
                  <a:pt x="573387" y="3943093"/>
                </a:cubicBezTo>
                <a:cubicBezTo>
                  <a:pt x="574472" y="3943093"/>
                  <a:pt x="575091" y="3943712"/>
                  <a:pt x="575556" y="3944229"/>
                </a:cubicBezTo>
                <a:cubicBezTo>
                  <a:pt x="576795" y="3944745"/>
                  <a:pt x="577260" y="3945880"/>
                  <a:pt x="580203" y="3945880"/>
                </a:cubicBezTo>
                <a:cubicBezTo>
                  <a:pt x="580203" y="3944229"/>
                  <a:pt x="580203" y="3942680"/>
                  <a:pt x="580203" y="3941028"/>
                </a:cubicBezTo>
                <a:cubicBezTo>
                  <a:pt x="580203" y="3940511"/>
                  <a:pt x="580203" y="3940408"/>
                  <a:pt x="580203" y="3940408"/>
                </a:cubicBezTo>
                <a:cubicBezTo>
                  <a:pt x="580203" y="3940408"/>
                  <a:pt x="580203" y="3940408"/>
                  <a:pt x="580203" y="3939892"/>
                </a:cubicBezTo>
                <a:cubicBezTo>
                  <a:pt x="580203" y="3939892"/>
                  <a:pt x="580203" y="3939892"/>
                  <a:pt x="579584" y="3939375"/>
                </a:cubicBezTo>
                <a:cubicBezTo>
                  <a:pt x="578963" y="3938343"/>
                  <a:pt x="578963" y="3937723"/>
                  <a:pt x="578499" y="3936691"/>
                </a:cubicBezTo>
                <a:cubicBezTo>
                  <a:pt x="577260" y="3935039"/>
                  <a:pt x="576175" y="3933490"/>
                  <a:pt x="574936" y="3932354"/>
                </a:cubicBezTo>
                <a:cubicBezTo>
                  <a:pt x="576175" y="3932354"/>
                  <a:pt x="577879" y="3932870"/>
                  <a:pt x="578963" y="3932354"/>
                </a:cubicBezTo>
                <a:cubicBezTo>
                  <a:pt x="572148" y="3928637"/>
                  <a:pt x="569824" y="3920996"/>
                  <a:pt x="567656" y="3911806"/>
                </a:cubicBezTo>
                <a:cubicBezTo>
                  <a:pt x="565952" y="3909741"/>
                  <a:pt x="566417" y="3912839"/>
                  <a:pt x="564249" y="3912839"/>
                </a:cubicBezTo>
                <a:cubicBezTo>
                  <a:pt x="564249" y="3912839"/>
                  <a:pt x="564094" y="3912942"/>
                  <a:pt x="563629" y="3910774"/>
                </a:cubicBezTo>
                <a:cubicBezTo>
                  <a:pt x="563629" y="3910257"/>
                  <a:pt x="563009" y="3909121"/>
                  <a:pt x="563009" y="3908605"/>
                </a:cubicBezTo>
                <a:cubicBezTo>
                  <a:pt x="562389" y="3907470"/>
                  <a:pt x="562544" y="3906437"/>
                  <a:pt x="561925" y="3905301"/>
                </a:cubicBezTo>
                <a:cubicBezTo>
                  <a:pt x="560840" y="3902616"/>
                  <a:pt x="560221" y="3900448"/>
                  <a:pt x="559137" y="3898280"/>
                </a:cubicBezTo>
                <a:cubicBezTo>
                  <a:pt x="557433" y="3893427"/>
                  <a:pt x="555109" y="3889090"/>
                  <a:pt x="552786" y="3884237"/>
                </a:cubicBezTo>
                <a:cubicBezTo>
                  <a:pt x="550462" y="3879384"/>
                  <a:pt x="548759" y="3874531"/>
                  <a:pt x="547055" y="3869678"/>
                </a:cubicBezTo>
                <a:cubicBezTo>
                  <a:pt x="545971" y="3866993"/>
                  <a:pt x="545351" y="3864308"/>
                  <a:pt x="544886" y="3861624"/>
                </a:cubicBezTo>
                <a:cubicBezTo>
                  <a:pt x="544267" y="3859455"/>
                  <a:pt x="543647" y="3856151"/>
                  <a:pt x="543028" y="3853467"/>
                </a:cubicBezTo>
                <a:cubicBezTo>
                  <a:pt x="542563" y="3851814"/>
                  <a:pt x="540239" y="3853467"/>
                  <a:pt x="538535" y="3853467"/>
                </a:cubicBezTo>
                <a:cubicBezTo>
                  <a:pt x="536212" y="3845929"/>
                  <a:pt x="535593" y="3844793"/>
                  <a:pt x="535128" y="3838907"/>
                </a:cubicBezTo>
                <a:cubicBezTo>
                  <a:pt x="532184" y="3846445"/>
                  <a:pt x="532805" y="3831266"/>
                  <a:pt x="534508" y="3829098"/>
                </a:cubicBezTo>
                <a:cubicBezTo>
                  <a:pt x="533888" y="3826930"/>
                  <a:pt x="530481" y="3829098"/>
                  <a:pt x="529397" y="3827549"/>
                </a:cubicBezTo>
                <a:cubicBezTo>
                  <a:pt x="528777" y="3822696"/>
                  <a:pt x="535128" y="3827549"/>
                  <a:pt x="535128" y="3822076"/>
                </a:cubicBezTo>
                <a:cubicBezTo>
                  <a:pt x="529397" y="3819908"/>
                  <a:pt x="530481" y="3814023"/>
                  <a:pt x="526609" y="3807517"/>
                </a:cubicBezTo>
                <a:cubicBezTo>
                  <a:pt x="527073" y="3803697"/>
                  <a:pt x="529397" y="3812370"/>
                  <a:pt x="530481" y="3813506"/>
                </a:cubicBezTo>
                <a:cubicBezTo>
                  <a:pt x="536212" y="3812887"/>
                  <a:pt x="531720" y="3805349"/>
                  <a:pt x="531101" y="3801115"/>
                </a:cubicBezTo>
                <a:cubicBezTo>
                  <a:pt x="530481" y="3797811"/>
                  <a:pt x="527073" y="3801012"/>
                  <a:pt x="525370" y="3800496"/>
                </a:cubicBezTo>
                <a:cubicBezTo>
                  <a:pt x="525060" y="3798069"/>
                  <a:pt x="526376" y="3796727"/>
                  <a:pt x="527325" y="3795036"/>
                </a:cubicBezTo>
                <a:lnTo>
                  <a:pt x="527101" y="3788337"/>
                </a:lnTo>
                <a:lnTo>
                  <a:pt x="526917" y="3788166"/>
                </a:lnTo>
                <a:lnTo>
                  <a:pt x="524955" y="3788166"/>
                </a:lnTo>
                <a:lnTo>
                  <a:pt x="523515" y="3787427"/>
                </a:lnTo>
                <a:lnTo>
                  <a:pt x="522581" y="3787486"/>
                </a:lnTo>
                <a:lnTo>
                  <a:pt x="522653" y="3786985"/>
                </a:lnTo>
                <a:lnTo>
                  <a:pt x="513339" y="3782203"/>
                </a:lnTo>
                <a:cubicBezTo>
                  <a:pt x="509957" y="3779105"/>
                  <a:pt x="507556" y="3774922"/>
                  <a:pt x="507608" y="3769734"/>
                </a:cubicBezTo>
                <a:cubicBezTo>
                  <a:pt x="515662" y="3769114"/>
                  <a:pt x="520618" y="3771437"/>
                  <a:pt x="524025" y="3775000"/>
                </a:cubicBezTo>
                <a:lnTo>
                  <a:pt x="524285" y="3775467"/>
                </a:lnTo>
                <a:lnTo>
                  <a:pt x="524285" y="3773379"/>
                </a:lnTo>
                <a:lnTo>
                  <a:pt x="524232" y="3773141"/>
                </a:lnTo>
                <a:cubicBezTo>
                  <a:pt x="522580" y="3769269"/>
                  <a:pt x="519586" y="3765242"/>
                  <a:pt x="517520" y="3762453"/>
                </a:cubicBezTo>
                <a:cubicBezTo>
                  <a:pt x="517107" y="3763692"/>
                  <a:pt x="518553" y="3766481"/>
                  <a:pt x="515249" y="3767410"/>
                </a:cubicBezTo>
                <a:cubicBezTo>
                  <a:pt x="512564" y="3759200"/>
                  <a:pt x="514010" y="3742317"/>
                  <a:pt x="502961" y="3741388"/>
                </a:cubicBezTo>
                <a:cubicBezTo>
                  <a:pt x="500793" y="3738599"/>
                  <a:pt x="503271" y="3737980"/>
                  <a:pt x="505233" y="3736431"/>
                </a:cubicBezTo>
                <a:cubicBezTo>
                  <a:pt x="501206" y="3729925"/>
                  <a:pt x="501412" y="3729306"/>
                  <a:pt x="498624" y="3726208"/>
                </a:cubicBezTo>
                <a:cubicBezTo>
                  <a:pt x="496147" y="3726827"/>
                  <a:pt x="497076" y="3728531"/>
                  <a:pt x="497179" y="3730855"/>
                </a:cubicBezTo>
                <a:cubicBezTo>
                  <a:pt x="488712" y="3726517"/>
                  <a:pt x="494288" y="3718153"/>
                  <a:pt x="485304" y="3710718"/>
                </a:cubicBezTo>
                <a:cubicBezTo>
                  <a:pt x="490880" y="3709788"/>
                  <a:pt x="485511" y="3702818"/>
                  <a:pt x="487886" y="3700030"/>
                </a:cubicBezTo>
                <a:cubicBezTo>
                  <a:pt x="483859" y="3695848"/>
                  <a:pt x="480555" y="3689497"/>
                  <a:pt x="476528" y="3682991"/>
                </a:cubicBezTo>
                <a:cubicBezTo>
                  <a:pt x="475289" y="3679739"/>
                  <a:pt x="473327" y="3676176"/>
                  <a:pt x="471468" y="3672613"/>
                </a:cubicBezTo>
                <a:cubicBezTo>
                  <a:pt x="469506" y="3669051"/>
                  <a:pt x="467751" y="3664869"/>
                  <a:pt x="466512" y="3661616"/>
                </a:cubicBezTo>
                <a:cubicBezTo>
                  <a:pt x="462898" y="3653871"/>
                  <a:pt x="460213" y="3645662"/>
                  <a:pt x="457942" y="3638227"/>
                </a:cubicBezTo>
                <a:lnTo>
                  <a:pt x="455050" y="3625215"/>
                </a:lnTo>
                <a:lnTo>
                  <a:pt x="450817" y="3627694"/>
                </a:lnTo>
                <a:cubicBezTo>
                  <a:pt x="450920" y="3625525"/>
                  <a:pt x="451643" y="3623356"/>
                  <a:pt x="452675" y="3621343"/>
                </a:cubicBezTo>
                <a:lnTo>
                  <a:pt x="453811" y="3619794"/>
                </a:lnTo>
                <a:lnTo>
                  <a:pt x="452882" y="3615457"/>
                </a:lnTo>
                <a:cubicBezTo>
                  <a:pt x="449888" y="3612978"/>
                  <a:pt x="447822" y="3610190"/>
                  <a:pt x="446377" y="3607557"/>
                </a:cubicBezTo>
                <a:lnTo>
                  <a:pt x="445860" y="3605234"/>
                </a:lnTo>
                <a:lnTo>
                  <a:pt x="432437" y="3611739"/>
                </a:lnTo>
                <a:lnTo>
                  <a:pt x="415297" y="3613908"/>
                </a:lnTo>
                <a:lnTo>
                  <a:pt x="414058" y="3619019"/>
                </a:lnTo>
                <a:cubicBezTo>
                  <a:pt x="413851" y="3626919"/>
                  <a:pt x="417362" y="3634509"/>
                  <a:pt x="411166" y="3642874"/>
                </a:cubicBezTo>
                <a:cubicBezTo>
                  <a:pt x="407449" y="3640550"/>
                  <a:pt x="405591" y="3633115"/>
                  <a:pt x="406210" y="3625990"/>
                </a:cubicBezTo>
                <a:cubicBezTo>
                  <a:pt x="406520" y="3622427"/>
                  <a:pt x="407449" y="3618864"/>
                  <a:pt x="409101" y="3616076"/>
                </a:cubicBezTo>
                <a:lnTo>
                  <a:pt x="411476" y="3614373"/>
                </a:lnTo>
                <a:lnTo>
                  <a:pt x="409721" y="3614682"/>
                </a:lnTo>
                <a:cubicBezTo>
                  <a:pt x="401977" y="3614527"/>
                  <a:pt x="394336" y="3613133"/>
                  <a:pt x="387004" y="3610810"/>
                </a:cubicBezTo>
                <a:cubicBezTo>
                  <a:pt x="369348" y="3605388"/>
                  <a:pt x="353653" y="3594081"/>
                  <a:pt x="343844" y="3578591"/>
                </a:cubicBezTo>
                <a:cubicBezTo>
                  <a:pt x="335583" y="3566664"/>
                  <a:pt x="332279" y="3554583"/>
                  <a:pt x="332898" y="3542810"/>
                </a:cubicBezTo>
                <a:lnTo>
                  <a:pt x="333621" y="3538318"/>
                </a:lnTo>
                <a:lnTo>
                  <a:pt x="332588" y="3537079"/>
                </a:lnTo>
                <a:cubicBezTo>
                  <a:pt x="331659" y="3535530"/>
                  <a:pt x="330936" y="3533827"/>
                  <a:pt x="330523" y="3532587"/>
                </a:cubicBezTo>
                <a:cubicBezTo>
                  <a:pt x="331350" y="3532432"/>
                  <a:pt x="332072" y="3532897"/>
                  <a:pt x="332898" y="3533361"/>
                </a:cubicBezTo>
                <a:lnTo>
                  <a:pt x="334241" y="3534911"/>
                </a:lnTo>
                <a:lnTo>
                  <a:pt x="335376" y="3528405"/>
                </a:lnTo>
                <a:cubicBezTo>
                  <a:pt x="339817" y="3514464"/>
                  <a:pt x="349419" y="3501453"/>
                  <a:pt x="362120" y="3490455"/>
                </a:cubicBezTo>
                <a:lnTo>
                  <a:pt x="366456" y="3487822"/>
                </a:lnTo>
                <a:lnTo>
                  <a:pt x="365940" y="3487203"/>
                </a:lnTo>
                <a:cubicBezTo>
                  <a:pt x="365734" y="3487358"/>
                  <a:pt x="365630" y="3487512"/>
                  <a:pt x="365630" y="3487512"/>
                </a:cubicBezTo>
                <a:cubicBezTo>
                  <a:pt x="365630" y="3487512"/>
                  <a:pt x="366044" y="3486738"/>
                  <a:pt x="366044" y="3486738"/>
                </a:cubicBezTo>
                <a:cubicBezTo>
                  <a:pt x="366044" y="3486738"/>
                  <a:pt x="366147" y="3486738"/>
                  <a:pt x="365424" y="3484415"/>
                </a:cubicBezTo>
                <a:cubicBezTo>
                  <a:pt x="363979" y="3481936"/>
                  <a:pt x="363256" y="3481471"/>
                  <a:pt x="362120" y="3480077"/>
                </a:cubicBezTo>
                <a:cubicBezTo>
                  <a:pt x="361500" y="3477909"/>
                  <a:pt x="361913" y="3477134"/>
                  <a:pt x="361604" y="3474191"/>
                </a:cubicBezTo>
                <a:cubicBezTo>
                  <a:pt x="363256" y="3472952"/>
                  <a:pt x="363256" y="3472952"/>
                  <a:pt x="363979" y="3473417"/>
                </a:cubicBezTo>
                <a:cubicBezTo>
                  <a:pt x="363256" y="3472952"/>
                  <a:pt x="363668" y="3472178"/>
                  <a:pt x="363359" y="3471093"/>
                </a:cubicBezTo>
                <a:cubicBezTo>
                  <a:pt x="360881" y="3467066"/>
                  <a:pt x="364598" y="3464123"/>
                  <a:pt x="369761" y="3461645"/>
                </a:cubicBezTo>
                <a:lnTo>
                  <a:pt x="370896" y="3461800"/>
                </a:lnTo>
                <a:lnTo>
                  <a:pt x="371929" y="3460250"/>
                </a:lnTo>
                <a:lnTo>
                  <a:pt x="373685" y="3461490"/>
                </a:lnTo>
                <a:lnTo>
                  <a:pt x="374820" y="3461180"/>
                </a:lnTo>
                <a:lnTo>
                  <a:pt x="375337" y="3461490"/>
                </a:lnTo>
                <a:lnTo>
                  <a:pt x="376162" y="3458082"/>
                </a:lnTo>
                <a:cubicBezTo>
                  <a:pt x="378537" y="3459012"/>
                  <a:pt x="379673" y="3459476"/>
                  <a:pt x="381635" y="3459631"/>
                </a:cubicBezTo>
                <a:cubicBezTo>
                  <a:pt x="381016" y="3461180"/>
                  <a:pt x="380706" y="3462729"/>
                  <a:pt x="380499" y="3463968"/>
                </a:cubicBezTo>
                <a:lnTo>
                  <a:pt x="379880" y="3467221"/>
                </a:lnTo>
                <a:lnTo>
                  <a:pt x="382978" y="3471713"/>
                </a:lnTo>
                <a:lnTo>
                  <a:pt x="383494" y="3467376"/>
                </a:lnTo>
                <a:cubicBezTo>
                  <a:pt x="384423" y="3464588"/>
                  <a:pt x="385869" y="3461954"/>
                  <a:pt x="387830" y="3459786"/>
                </a:cubicBezTo>
                <a:lnTo>
                  <a:pt x="388554" y="3459166"/>
                </a:lnTo>
                <a:lnTo>
                  <a:pt x="387108" y="3459786"/>
                </a:lnTo>
                <a:cubicBezTo>
                  <a:pt x="385869" y="3459631"/>
                  <a:pt x="385869" y="3459476"/>
                  <a:pt x="385456" y="3458857"/>
                </a:cubicBezTo>
                <a:cubicBezTo>
                  <a:pt x="383804" y="3457927"/>
                  <a:pt x="382564" y="3457772"/>
                  <a:pt x="382461" y="3455914"/>
                </a:cubicBezTo>
                <a:cubicBezTo>
                  <a:pt x="382461" y="3454365"/>
                  <a:pt x="383081" y="3453590"/>
                  <a:pt x="384010" y="3453126"/>
                </a:cubicBezTo>
                <a:cubicBezTo>
                  <a:pt x="384836" y="3452661"/>
                  <a:pt x="386179" y="3452506"/>
                  <a:pt x="387727" y="3452351"/>
                </a:cubicBezTo>
                <a:cubicBezTo>
                  <a:pt x="390928" y="3452196"/>
                  <a:pt x="391548" y="3454829"/>
                  <a:pt x="394026" y="3455139"/>
                </a:cubicBezTo>
                <a:lnTo>
                  <a:pt x="393096" y="3456533"/>
                </a:lnTo>
                <a:lnTo>
                  <a:pt x="400221" y="3460715"/>
                </a:lnTo>
                <a:cubicBezTo>
                  <a:pt x="402286" y="3462729"/>
                  <a:pt x="403732" y="3465052"/>
                  <a:pt x="404661" y="3467531"/>
                </a:cubicBezTo>
                <a:lnTo>
                  <a:pt x="405487" y="3472333"/>
                </a:lnTo>
                <a:lnTo>
                  <a:pt x="407656" y="3469235"/>
                </a:lnTo>
                <a:cubicBezTo>
                  <a:pt x="410753" y="3466137"/>
                  <a:pt x="414781" y="3463348"/>
                  <a:pt x="420047" y="3461335"/>
                </a:cubicBezTo>
                <a:lnTo>
                  <a:pt x="422008" y="3462729"/>
                </a:lnTo>
                <a:lnTo>
                  <a:pt x="421698" y="3460405"/>
                </a:lnTo>
                <a:cubicBezTo>
                  <a:pt x="420769" y="3453590"/>
                  <a:pt x="420563" y="3446929"/>
                  <a:pt x="420356" y="3440424"/>
                </a:cubicBezTo>
                <a:lnTo>
                  <a:pt x="420356" y="3439959"/>
                </a:lnTo>
                <a:lnTo>
                  <a:pt x="415297" y="3449253"/>
                </a:lnTo>
                <a:cubicBezTo>
                  <a:pt x="412922" y="3452661"/>
                  <a:pt x="409824" y="3455758"/>
                  <a:pt x="405281" y="3458237"/>
                </a:cubicBezTo>
                <a:cubicBezTo>
                  <a:pt x="403319" y="3451112"/>
                  <a:pt x="409515" y="3445071"/>
                  <a:pt x="415503" y="3441353"/>
                </a:cubicBezTo>
                <a:lnTo>
                  <a:pt x="420356" y="3439030"/>
                </a:lnTo>
                <a:lnTo>
                  <a:pt x="420666" y="3429581"/>
                </a:lnTo>
                <a:cubicBezTo>
                  <a:pt x="420769" y="3426793"/>
                  <a:pt x="421286" y="3422611"/>
                  <a:pt x="421595" y="3419048"/>
                </a:cubicBezTo>
                <a:cubicBezTo>
                  <a:pt x="421595" y="3416880"/>
                  <a:pt x="418291" y="3417964"/>
                  <a:pt x="416226" y="3417190"/>
                </a:cubicBezTo>
                <a:lnTo>
                  <a:pt x="416226" y="3411613"/>
                </a:lnTo>
                <a:lnTo>
                  <a:pt x="413438" y="3413317"/>
                </a:lnTo>
                <a:cubicBezTo>
                  <a:pt x="411992" y="3413627"/>
                  <a:pt x="410237" y="3413472"/>
                  <a:pt x="408069" y="3412697"/>
                </a:cubicBezTo>
                <a:cubicBezTo>
                  <a:pt x="407243" y="3411458"/>
                  <a:pt x="406623" y="3410219"/>
                  <a:pt x="406417" y="3408980"/>
                </a:cubicBezTo>
                <a:cubicBezTo>
                  <a:pt x="405694" y="3405417"/>
                  <a:pt x="407553" y="3402165"/>
                  <a:pt x="410753" y="3401700"/>
                </a:cubicBezTo>
                <a:cubicBezTo>
                  <a:pt x="412199" y="3401545"/>
                  <a:pt x="413851" y="3401855"/>
                  <a:pt x="415710" y="3402939"/>
                </a:cubicBezTo>
                <a:lnTo>
                  <a:pt x="416536" y="3405108"/>
                </a:lnTo>
                <a:lnTo>
                  <a:pt x="417568" y="3398137"/>
                </a:lnTo>
                <a:cubicBezTo>
                  <a:pt x="411373" y="3406037"/>
                  <a:pt x="417672" y="3388069"/>
                  <a:pt x="420563" y="3386055"/>
                </a:cubicBezTo>
                <a:cubicBezTo>
                  <a:pt x="420666" y="3383267"/>
                  <a:pt x="415710" y="3384506"/>
                  <a:pt x="414987" y="3382028"/>
                </a:cubicBezTo>
                <a:cubicBezTo>
                  <a:pt x="416123" y="3375832"/>
                  <a:pt x="421802" y="3384351"/>
                  <a:pt x="423867" y="3377691"/>
                </a:cubicBezTo>
                <a:cubicBezTo>
                  <a:pt x="417878" y="3372734"/>
                  <a:pt x="421492" y="3366074"/>
                  <a:pt x="419117" y="3356470"/>
                </a:cubicBezTo>
                <a:cubicBezTo>
                  <a:pt x="421182" y="3352133"/>
                  <a:pt x="420666" y="3363595"/>
                  <a:pt x="421595" y="3365299"/>
                </a:cubicBezTo>
                <a:cubicBezTo>
                  <a:pt x="428617" y="3367003"/>
                  <a:pt x="426035" y="3356005"/>
                  <a:pt x="426965" y="3350584"/>
                </a:cubicBezTo>
                <a:lnTo>
                  <a:pt x="426965" y="3350429"/>
                </a:lnTo>
                <a:lnTo>
                  <a:pt x="421492" y="3351049"/>
                </a:lnTo>
                <a:cubicBezTo>
                  <a:pt x="415193" y="3352907"/>
                  <a:pt x="409721" y="3356780"/>
                  <a:pt x="404248" y="3352288"/>
                </a:cubicBezTo>
                <a:cubicBezTo>
                  <a:pt x="407656" y="3349965"/>
                  <a:pt x="410857" y="3347486"/>
                  <a:pt x="414677" y="3345627"/>
                </a:cubicBezTo>
                <a:cubicBezTo>
                  <a:pt x="416536" y="3344698"/>
                  <a:pt x="418601" y="3343924"/>
                  <a:pt x="420976" y="3343614"/>
                </a:cubicBezTo>
                <a:lnTo>
                  <a:pt x="422731" y="3343459"/>
                </a:lnTo>
                <a:lnTo>
                  <a:pt x="424693" y="3341755"/>
                </a:lnTo>
                <a:cubicBezTo>
                  <a:pt x="426449" y="3340051"/>
                  <a:pt x="427894" y="3337728"/>
                  <a:pt x="427275" y="3332461"/>
                </a:cubicBezTo>
                <a:cubicBezTo>
                  <a:pt x="426449" y="3327814"/>
                  <a:pt x="423557" y="3334939"/>
                  <a:pt x="421802" y="3330602"/>
                </a:cubicBezTo>
                <a:lnTo>
                  <a:pt x="424074" y="3327504"/>
                </a:lnTo>
                <a:lnTo>
                  <a:pt x="421698" y="3327350"/>
                </a:lnTo>
                <a:cubicBezTo>
                  <a:pt x="416020" y="3328124"/>
                  <a:pt x="413645" y="3331842"/>
                  <a:pt x="409824" y="3334010"/>
                </a:cubicBezTo>
                <a:cubicBezTo>
                  <a:pt x="403216" y="3329208"/>
                  <a:pt x="392684" y="3328589"/>
                  <a:pt x="384114" y="3325181"/>
                </a:cubicBezTo>
                <a:cubicBezTo>
                  <a:pt x="379570" y="3315267"/>
                  <a:pt x="373065" y="3308143"/>
                  <a:pt x="368522" y="3298074"/>
                </a:cubicBezTo>
                <a:cubicBezTo>
                  <a:pt x="370070" y="3295906"/>
                  <a:pt x="371103" y="3293272"/>
                  <a:pt x="371826" y="3290329"/>
                </a:cubicBezTo>
                <a:lnTo>
                  <a:pt x="373271" y="3283669"/>
                </a:lnTo>
                <a:lnTo>
                  <a:pt x="369554" y="3284753"/>
                </a:lnTo>
                <a:cubicBezTo>
                  <a:pt x="368109" y="3285528"/>
                  <a:pt x="366353" y="3286147"/>
                  <a:pt x="362946" y="3285992"/>
                </a:cubicBezTo>
                <a:cubicBezTo>
                  <a:pt x="354272" y="3285837"/>
                  <a:pt x="352724" y="3280261"/>
                  <a:pt x="353136" y="3275924"/>
                </a:cubicBezTo>
                <a:cubicBezTo>
                  <a:pt x="353446" y="3276079"/>
                  <a:pt x="353653" y="3275614"/>
                  <a:pt x="353860" y="3275150"/>
                </a:cubicBezTo>
                <a:lnTo>
                  <a:pt x="354582" y="3273446"/>
                </a:lnTo>
                <a:lnTo>
                  <a:pt x="353550" y="3270812"/>
                </a:lnTo>
                <a:cubicBezTo>
                  <a:pt x="353653" y="3270038"/>
                  <a:pt x="354066" y="3269264"/>
                  <a:pt x="354892" y="3268334"/>
                </a:cubicBezTo>
                <a:cubicBezTo>
                  <a:pt x="354789" y="3267405"/>
                  <a:pt x="358196" y="3266166"/>
                  <a:pt x="359125" y="3266785"/>
                </a:cubicBezTo>
                <a:lnTo>
                  <a:pt x="359848" y="3267560"/>
                </a:lnTo>
                <a:lnTo>
                  <a:pt x="365011" y="3266166"/>
                </a:lnTo>
                <a:cubicBezTo>
                  <a:pt x="366147" y="3266166"/>
                  <a:pt x="367179" y="3266475"/>
                  <a:pt x="368315" y="3266630"/>
                </a:cubicBezTo>
                <a:cubicBezTo>
                  <a:pt x="366456" y="3266321"/>
                  <a:pt x="364598" y="3265856"/>
                  <a:pt x="363359" y="3265391"/>
                </a:cubicBezTo>
                <a:lnTo>
                  <a:pt x="361604" y="3264617"/>
                </a:lnTo>
                <a:lnTo>
                  <a:pt x="361500" y="3265546"/>
                </a:lnTo>
                <a:lnTo>
                  <a:pt x="360571" y="3264462"/>
                </a:lnTo>
                <a:lnTo>
                  <a:pt x="360468" y="3264462"/>
                </a:lnTo>
                <a:cubicBezTo>
                  <a:pt x="360468" y="3263532"/>
                  <a:pt x="359538" y="3263532"/>
                  <a:pt x="359538" y="3264462"/>
                </a:cubicBezTo>
                <a:cubicBezTo>
                  <a:pt x="358299" y="3263377"/>
                  <a:pt x="357163" y="3262758"/>
                  <a:pt x="356647" y="3261983"/>
                </a:cubicBezTo>
                <a:lnTo>
                  <a:pt x="356751" y="3261209"/>
                </a:lnTo>
                <a:lnTo>
                  <a:pt x="352001" y="3261364"/>
                </a:lnTo>
                <a:lnTo>
                  <a:pt x="350555" y="3261054"/>
                </a:lnTo>
                <a:lnTo>
                  <a:pt x="350245" y="3261519"/>
                </a:lnTo>
                <a:lnTo>
                  <a:pt x="349522" y="3260899"/>
                </a:lnTo>
                <a:lnTo>
                  <a:pt x="345083" y="3260124"/>
                </a:lnTo>
                <a:cubicBezTo>
                  <a:pt x="343224" y="3259350"/>
                  <a:pt x="342088" y="3258266"/>
                  <a:pt x="341778" y="3256407"/>
                </a:cubicBezTo>
                <a:lnTo>
                  <a:pt x="347664" y="3255633"/>
                </a:lnTo>
                <a:lnTo>
                  <a:pt x="347974" y="3255323"/>
                </a:lnTo>
                <a:lnTo>
                  <a:pt x="348387" y="3255478"/>
                </a:lnTo>
                <a:lnTo>
                  <a:pt x="355202" y="3254858"/>
                </a:lnTo>
                <a:lnTo>
                  <a:pt x="361810" y="3255943"/>
                </a:lnTo>
                <a:lnTo>
                  <a:pt x="361913" y="3255013"/>
                </a:lnTo>
                <a:cubicBezTo>
                  <a:pt x="361397" y="3251760"/>
                  <a:pt x="358506" y="3247423"/>
                  <a:pt x="362533" y="3242776"/>
                </a:cubicBezTo>
                <a:cubicBezTo>
                  <a:pt x="364288" y="3244635"/>
                  <a:pt x="368728" y="3241692"/>
                  <a:pt x="371206" y="3244480"/>
                </a:cubicBezTo>
                <a:cubicBezTo>
                  <a:pt x="377712" y="3250211"/>
                  <a:pt x="378331" y="3253000"/>
                  <a:pt x="377092" y="3256252"/>
                </a:cubicBezTo>
                <a:lnTo>
                  <a:pt x="376886" y="3256562"/>
                </a:lnTo>
                <a:lnTo>
                  <a:pt x="376886" y="3261519"/>
                </a:lnTo>
                <a:lnTo>
                  <a:pt x="375337" y="3262293"/>
                </a:lnTo>
                <a:cubicBezTo>
                  <a:pt x="376162" y="3263067"/>
                  <a:pt x="376989" y="3263997"/>
                  <a:pt x="376059" y="3265236"/>
                </a:cubicBezTo>
                <a:cubicBezTo>
                  <a:pt x="374407" y="3266940"/>
                  <a:pt x="372032" y="3267250"/>
                  <a:pt x="369657" y="3267095"/>
                </a:cubicBezTo>
                <a:cubicBezTo>
                  <a:pt x="373271" y="3268179"/>
                  <a:pt x="375853" y="3271122"/>
                  <a:pt x="374614" y="3277318"/>
                </a:cubicBezTo>
                <a:cubicBezTo>
                  <a:pt x="374717" y="3279177"/>
                  <a:pt x="374304" y="3278557"/>
                  <a:pt x="373994" y="3279642"/>
                </a:cubicBezTo>
                <a:lnTo>
                  <a:pt x="373891" y="3280881"/>
                </a:lnTo>
                <a:lnTo>
                  <a:pt x="376782" y="3272671"/>
                </a:lnTo>
                <a:cubicBezTo>
                  <a:pt x="378228" y="3270193"/>
                  <a:pt x="380293" y="3268024"/>
                  <a:pt x="383288" y="3266785"/>
                </a:cubicBezTo>
                <a:cubicBezTo>
                  <a:pt x="388760" y="3268024"/>
                  <a:pt x="392374" y="3267405"/>
                  <a:pt x="395368" y="3266321"/>
                </a:cubicBezTo>
                <a:lnTo>
                  <a:pt x="395781" y="3266166"/>
                </a:lnTo>
                <a:lnTo>
                  <a:pt x="395575" y="3266011"/>
                </a:lnTo>
                <a:cubicBezTo>
                  <a:pt x="395471" y="3265856"/>
                  <a:pt x="395678" y="3265856"/>
                  <a:pt x="396091" y="3265546"/>
                </a:cubicBezTo>
                <a:cubicBezTo>
                  <a:pt x="396091" y="3265546"/>
                  <a:pt x="396091" y="3265391"/>
                  <a:pt x="397020" y="3264771"/>
                </a:cubicBezTo>
                <a:cubicBezTo>
                  <a:pt x="397020" y="3264771"/>
                  <a:pt x="397020" y="3264617"/>
                  <a:pt x="397330" y="3264617"/>
                </a:cubicBezTo>
                <a:lnTo>
                  <a:pt x="398363" y="3265236"/>
                </a:lnTo>
                <a:lnTo>
                  <a:pt x="399808" y="3264617"/>
                </a:lnTo>
                <a:cubicBezTo>
                  <a:pt x="401254" y="3263997"/>
                  <a:pt x="402700" y="3263532"/>
                  <a:pt x="404455" y="3263222"/>
                </a:cubicBezTo>
                <a:cubicBezTo>
                  <a:pt x="408069" y="3264462"/>
                  <a:pt x="411992" y="3266321"/>
                  <a:pt x="415813" y="3268334"/>
                </a:cubicBezTo>
                <a:lnTo>
                  <a:pt x="419014" y="3270503"/>
                </a:lnTo>
                <a:lnTo>
                  <a:pt x="422008" y="3272052"/>
                </a:lnTo>
                <a:lnTo>
                  <a:pt x="422318" y="3272207"/>
                </a:lnTo>
                <a:lnTo>
                  <a:pt x="429443" y="3273291"/>
                </a:lnTo>
                <a:cubicBezTo>
                  <a:pt x="431715" y="3274065"/>
                  <a:pt x="433780" y="3275459"/>
                  <a:pt x="435431" y="3277473"/>
                </a:cubicBezTo>
                <a:cubicBezTo>
                  <a:pt x="436258" y="3278712"/>
                  <a:pt x="436774" y="3279951"/>
                  <a:pt x="437084" y="3281190"/>
                </a:cubicBezTo>
                <a:lnTo>
                  <a:pt x="437394" y="3283978"/>
                </a:lnTo>
                <a:lnTo>
                  <a:pt x="438116" y="3282585"/>
                </a:lnTo>
                <a:cubicBezTo>
                  <a:pt x="441627" y="3278557"/>
                  <a:pt x="441524" y="3288780"/>
                  <a:pt x="446583" y="3284598"/>
                </a:cubicBezTo>
                <a:cubicBezTo>
                  <a:pt x="445138" y="3283669"/>
                  <a:pt x="441214" y="3282585"/>
                  <a:pt x="441833" y="3279332"/>
                </a:cubicBezTo>
                <a:lnTo>
                  <a:pt x="444002" y="3275614"/>
                </a:lnTo>
                <a:cubicBezTo>
                  <a:pt x="443486" y="3274995"/>
                  <a:pt x="443279" y="3273755"/>
                  <a:pt x="443692" y="3271587"/>
                </a:cubicBezTo>
                <a:cubicBezTo>
                  <a:pt x="446996" y="3271122"/>
                  <a:pt x="448442" y="3271742"/>
                  <a:pt x="448855" y="3272516"/>
                </a:cubicBezTo>
                <a:cubicBezTo>
                  <a:pt x="449475" y="3273600"/>
                  <a:pt x="447822" y="3275459"/>
                  <a:pt x="446067" y="3276079"/>
                </a:cubicBezTo>
                <a:lnTo>
                  <a:pt x="444518" y="3275769"/>
                </a:lnTo>
                <a:lnTo>
                  <a:pt x="446687" y="3279796"/>
                </a:lnTo>
                <a:cubicBezTo>
                  <a:pt x="447719" y="3281345"/>
                  <a:pt x="449475" y="3282739"/>
                  <a:pt x="453295" y="3282585"/>
                </a:cubicBezTo>
                <a:cubicBezTo>
                  <a:pt x="453192" y="3280416"/>
                  <a:pt x="454224" y="3279332"/>
                  <a:pt x="454947" y="3279487"/>
                </a:cubicBezTo>
                <a:lnTo>
                  <a:pt x="454637" y="3277628"/>
                </a:lnTo>
                <a:lnTo>
                  <a:pt x="454431" y="3277783"/>
                </a:lnTo>
                <a:lnTo>
                  <a:pt x="453915" y="3276234"/>
                </a:lnTo>
                <a:lnTo>
                  <a:pt x="452262" y="3276079"/>
                </a:lnTo>
                <a:cubicBezTo>
                  <a:pt x="450611" y="3276234"/>
                  <a:pt x="449061" y="3276389"/>
                  <a:pt x="450198" y="3272826"/>
                </a:cubicBezTo>
                <a:lnTo>
                  <a:pt x="452779" y="3273446"/>
                </a:lnTo>
                <a:lnTo>
                  <a:pt x="451333" y="3269728"/>
                </a:lnTo>
                <a:cubicBezTo>
                  <a:pt x="451643" y="3267405"/>
                  <a:pt x="453398" y="3265701"/>
                  <a:pt x="456703" y="3264462"/>
                </a:cubicBezTo>
                <a:lnTo>
                  <a:pt x="459387" y="3267869"/>
                </a:lnTo>
                <a:lnTo>
                  <a:pt x="461762" y="3262293"/>
                </a:lnTo>
                <a:cubicBezTo>
                  <a:pt x="463104" y="3262758"/>
                  <a:pt x="462898" y="3264462"/>
                  <a:pt x="462382" y="3266475"/>
                </a:cubicBezTo>
                <a:lnTo>
                  <a:pt x="461453" y="3270193"/>
                </a:lnTo>
                <a:lnTo>
                  <a:pt x="462485" y="3271432"/>
                </a:lnTo>
                <a:lnTo>
                  <a:pt x="465479" y="3270193"/>
                </a:lnTo>
                <a:cubicBezTo>
                  <a:pt x="466409" y="3268334"/>
                  <a:pt x="467028" y="3265856"/>
                  <a:pt x="467338" y="3263532"/>
                </a:cubicBezTo>
                <a:cubicBezTo>
                  <a:pt x="470849" y="3259660"/>
                  <a:pt x="465273" y="3272826"/>
                  <a:pt x="467958" y="3273755"/>
                </a:cubicBezTo>
                <a:cubicBezTo>
                  <a:pt x="470022" y="3269418"/>
                  <a:pt x="472501" y="3261519"/>
                  <a:pt x="473533" y="3253154"/>
                </a:cubicBezTo>
                <a:lnTo>
                  <a:pt x="473636" y="3252070"/>
                </a:lnTo>
                <a:lnTo>
                  <a:pt x="465995" y="3248042"/>
                </a:lnTo>
                <a:cubicBezTo>
                  <a:pt x="462794" y="3245874"/>
                  <a:pt x="460007" y="3243551"/>
                  <a:pt x="458045" y="3241382"/>
                </a:cubicBezTo>
                <a:cubicBezTo>
                  <a:pt x="461865" y="3239678"/>
                  <a:pt x="466202" y="3238904"/>
                  <a:pt x="470435" y="3238904"/>
                </a:cubicBezTo>
                <a:lnTo>
                  <a:pt x="473017" y="3239368"/>
                </a:lnTo>
                <a:lnTo>
                  <a:pt x="470642" y="3233482"/>
                </a:lnTo>
                <a:cubicBezTo>
                  <a:pt x="470849" y="3232708"/>
                  <a:pt x="471365" y="3231778"/>
                  <a:pt x="471881" y="3230849"/>
                </a:cubicBezTo>
                <a:lnTo>
                  <a:pt x="473740" y="3228061"/>
                </a:lnTo>
                <a:lnTo>
                  <a:pt x="472707" y="3227287"/>
                </a:lnTo>
                <a:lnTo>
                  <a:pt x="473946" y="3226512"/>
                </a:lnTo>
                <a:lnTo>
                  <a:pt x="473946" y="3225583"/>
                </a:lnTo>
                <a:cubicBezTo>
                  <a:pt x="473636" y="3224808"/>
                  <a:pt x="473224" y="3224034"/>
                  <a:pt x="472191" y="3223724"/>
                </a:cubicBezTo>
                <a:lnTo>
                  <a:pt x="477044" y="3217838"/>
                </a:lnTo>
                <a:lnTo>
                  <a:pt x="475495" y="3217683"/>
                </a:lnTo>
                <a:cubicBezTo>
                  <a:pt x="473843" y="3216754"/>
                  <a:pt x="472501" y="3214895"/>
                  <a:pt x="472811" y="3213656"/>
                </a:cubicBezTo>
                <a:cubicBezTo>
                  <a:pt x="473121" y="3212571"/>
                  <a:pt x="473843" y="3211952"/>
                  <a:pt x="473843" y="3211952"/>
                </a:cubicBezTo>
                <a:cubicBezTo>
                  <a:pt x="475392" y="3211952"/>
                  <a:pt x="476837" y="3212107"/>
                  <a:pt x="477870" y="3212726"/>
                </a:cubicBezTo>
                <a:lnTo>
                  <a:pt x="478593" y="3215360"/>
                </a:lnTo>
                <a:lnTo>
                  <a:pt x="481174" y="3206531"/>
                </a:lnTo>
                <a:lnTo>
                  <a:pt x="481587" y="3204052"/>
                </a:lnTo>
                <a:lnTo>
                  <a:pt x="479626" y="3201264"/>
                </a:lnTo>
                <a:cubicBezTo>
                  <a:pt x="480348" y="3200799"/>
                  <a:pt x="479935" y="3200025"/>
                  <a:pt x="480658" y="3199560"/>
                </a:cubicBezTo>
                <a:cubicBezTo>
                  <a:pt x="480658" y="3199560"/>
                  <a:pt x="481278" y="3198786"/>
                  <a:pt x="482310" y="3197856"/>
                </a:cubicBezTo>
                <a:lnTo>
                  <a:pt x="482413" y="3197856"/>
                </a:lnTo>
                <a:lnTo>
                  <a:pt x="482517" y="3197546"/>
                </a:lnTo>
                <a:cubicBezTo>
                  <a:pt x="483239" y="3194913"/>
                  <a:pt x="484169" y="3192280"/>
                  <a:pt x="485924" y="3191351"/>
                </a:cubicBezTo>
                <a:cubicBezTo>
                  <a:pt x="486234" y="3192590"/>
                  <a:pt x="486131" y="3194294"/>
                  <a:pt x="486131" y="3195842"/>
                </a:cubicBezTo>
                <a:lnTo>
                  <a:pt x="486234" y="3196617"/>
                </a:lnTo>
                <a:lnTo>
                  <a:pt x="487060" y="3196307"/>
                </a:lnTo>
                <a:cubicBezTo>
                  <a:pt x="488299" y="3196462"/>
                  <a:pt x="491087" y="3197546"/>
                  <a:pt x="490364" y="3198011"/>
                </a:cubicBezTo>
                <a:cubicBezTo>
                  <a:pt x="490054" y="3199250"/>
                  <a:pt x="490777" y="3198786"/>
                  <a:pt x="491294" y="3199405"/>
                </a:cubicBezTo>
                <a:lnTo>
                  <a:pt x="491087" y="3199870"/>
                </a:lnTo>
                <a:lnTo>
                  <a:pt x="495114" y="3200335"/>
                </a:lnTo>
                <a:cubicBezTo>
                  <a:pt x="497695" y="3189647"/>
                  <a:pt x="503684" y="3180043"/>
                  <a:pt x="508950" y="3170285"/>
                </a:cubicBezTo>
                <a:lnTo>
                  <a:pt x="511945" y="3164244"/>
                </a:lnTo>
                <a:lnTo>
                  <a:pt x="509983" y="3162695"/>
                </a:lnTo>
                <a:cubicBezTo>
                  <a:pt x="511015" y="3161301"/>
                  <a:pt x="511945" y="3160526"/>
                  <a:pt x="513803" y="3159287"/>
                </a:cubicBezTo>
                <a:lnTo>
                  <a:pt x="514320" y="3159752"/>
                </a:lnTo>
                <a:lnTo>
                  <a:pt x="516385" y="3155570"/>
                </a:lnTo>
                <a:lnTo>
                  <a:pt x="516591" y="3154950"/>
                </a:lnTo>
                <a:lnTo>
                  <a:pt x="515042" y="3154331"/>
                </a:lnTo>
                <a:cubicBezTo>
                  <a:pt x="514113" y="3154020"/>
                  <a:pt x="513700" y="3153246"/>
                  <a:pt x="513493" y="3152317"/>
                </a:cubicBezTo>
                <a:cubicBezTo>
                  <a:pt x="513390" y="3151387"/>
                  <a:pt x="513493" y="3150303"/>
                  <a:pt x="513803" y="3149529"/>
                </a:cubicBezTo>
                <a:cubicBezTo>
                  <a:pt x="514629" y="3148599"/>
                  <a:pt x="514732" y="3148444"/>
                  <a:pt x="515559" y="3147515"/>
                </a:cubicBezTo>
                <a:cubicBezTo>
                  <a:pt x="516385" y="3147360"/>
                  <a:pt x="517211" y="3147050"/>
                  <a:pt x="518037" y="3146896"/>
                </a:cubicBezTo>
                <a:lnTo>
                  <a:pt x="519172" y="3146896"/>
                </a:lnTo>
                <a:lnTo>
                  <a:pt x="520515" y="3142403"/>
                </a:lnTo>
                <a:lnTo>
                  <a:pt x="516488" y="3140080"/>
                </a:lnTo>
                <a:cubicBezTo>
                  <a:pt x="514836" y="3138686"/>
                  <a:pt x="513700" y="3136827"/>
                  <a:pt x="513493" y="3134194"/>
                </a:cubicBezTo>
                <a:lnTo>
                  <a:pt x="524852" y="3137292"/>
                </a:lnTo>
                <a:lnTo>
                  <a:pt x="527949" y="3134504"/>
                </a:lnTo>
                <a:cubicBezTo>
                  <a:pt x="529705" y="3132335"/>
                  <a:pt x="531047" y="3130321"/>
                  <a:pt x="532493" y="3128308"/>
                </a:cubicBezTo>
                <a:lnTo>
                  <a:pt x="532906" y="3127533"/>
                </a:lnTo>
                <a:lnTo>
                  <a:pt x="531770" y="3127224"/>
                </a:lnTo>
                <a:cubicBezTo>
                  <a:pt x="531254" y="3123506"/>
                  <a:pt x="529085" y="3119479"/>
                  <a:pt x="526710" y="3115606"/>
                </a:cubicBezTo>
                <a:lnTo>
                  <a:pt x="522373" y="3108171"/>
                </a:lnTo>
                <a:lnTo>
                  <a:pt x="521548" y="3107397"/>
                </a:lnTo>
                <a:cubicBezTo>
                  <a:pt x="516178" y="3114987"/>
                  <a:pt x="514217" y="3121492"/>
                  <a:pt x="511531" y="3127843"/>
                </a:cubicBezTo>
                <a:cubicBezTo>
                  <a:pt x="509466" y="3134349"/>
                  <a:pt x="506472" y="3139151"/>
                  <a:pt x="498315" y="3143642"/>
                </a:cubicBezTo>
                <a:cubicBezTo>
                  <a:pt x="495940" y="3139151"/>
                  <a:pt x="504510" y="3140699"/>
                  <a:pt x="506059" y="3133264"/>
                </a:cubicBezTo>
                <a:cubicBezTo>
                  <a:pt x="503891" y="3133109"/>
                  <a:pt x="501825" y="3133729"/>
                  <a:pt x="499863" y="3134659"/>
                </a:cubicBezTo>
                <a:lnTo>
                  <a:pt x="495527" y="3137602"/>
                </a:lnTo>
                <a:lnTo>
                  <a:pt x="496559" y="3139615"/>
                </a:lnTo>
                <a:cubicBezTo>
                  <a:pt x="497489" y="3144262"/>
                  <a:pt x="496250" y="3149839"/>
                  <a:pt x="492946" y="3149993"/>
                </a:cubicBezTo>
                <a:cubicBezTo>
                  <a:pt x="491706" y="3150148"/>
                  <a:pt x="490157" y="3149529"/>
                  <a:pt x="488402" y="3147670"/>
                </a:cubicBezTo>
                <a:lnTo>
                  <a:pt x="487886" y="3147050"/>
                </a:lnTo>
                <a:lnTo>
                  <a:pt x="485924" y="3149529"/>
                </a:lnTo>
                <a:cubicBezTo>
                  <a:pt x="484789" y="3148444"/>
                  <a:pt x="484375" y="3147360"/>
                  <a:pt x="484375" y="3145966"/>
                </a:cubicBezTo>
                <a:lnTo>
                  <a:pt x="484582" y="3142558"/>
                </a:lnTo>
                <a:lnTo>
                  <a:pt x="482000" y="3138996"/>
                </a:lnTo>
                <a:lnTo>
                  <a:pt x="483653" y="3137602"/>
                </a:lnTo>
                <a:lnTo>
                  <a:pt x="481897" y="3135898"/>
                </a:lnTo>
                <a:cubicBezTo>
                  <a:pt x="488299" y="3132180"/>
                  <a:pt x="491810" y="3128308"/>
                  <a:pt x="494494" y="3124281"/>
                </a:cubicBezTo>
                <a:lnTo>
                  <a:pt x="498315" y="3117930"/>
                </a:lnTo>
                <a:lnTo>
                  <a:pt x="495424" y="3115606"/>
                </a:lnTo>
                <a:cubicBezTo>
                  <a:pt x="491810" y="3111269"/>
                  <a:pt x="489848" y="3105538"/>
                  <a:pt x="490261" y="3099962"/>
                </a:cubicBezTo>
                <a:cubicBezTo>
                  <a:pt x="490364" y="3098103"/>
                  <a:pt x="490674" y="3096399"/>
                  <a:pt x="491397" y="3094540"/>
                </a:cubicBezTo>
                <a:lnTo>
                  <a:pt x="494185" y="3089894"/>
                </a:lnTo>
                <a:lnTo>
                  <a:pt x="493049" y="3089274"/>
                </a:lnTo>
                <a:cubicBezTo>
                  <a:pt x="491087" y="3087415"/>
                  <a:pt x="491706" y="3084627"/>
                  <a:pt x="494185" y="3081219"/>
                </a:cubicBezTo>
                <a:cubicBezTo>
                  <a:pt x="496147" y="3081374"/>
                  <a:pt x="497902" y="3080909"/>
                  <a:pt x="500586" y="3080755"/>
                </a:cubicBezTo>
                <a:cubicBezTo>
                  <a:pt x="500896" y="3081994"/>
                  <a:pt x="500793" y="3084007"/>
                  <a:pt x="500070" y="3085866"/>
                </a:cubicBezTo>
                <a:lnTo>
                  <a:pt x="496766" y="3089894"/>
                </a:lnTo>
                <a:lnTo>
                  <a:pt x="503684" y="3090823"/>
                </a:lnTo>
                <a:cubicBezTo>
                  <a:pt x="506472" y="3091907"/>
                  <a:pt x="508744" y="3093456"/>
                  <a:pt x="510602" y="3095315"/>
                </a:cubicBezTo>
                <a:lnTo>
                  <a:pt x="512048" y="3097638"/>
                </a:lnTo>
                <a:lnTo>
                  <a:pt x="513906" y="3094230"/>
                </a:lnTo>
                <a:cubicBezTo>
                  <a:pt x="514836" y="3092217"/>
                  <a:pt x="515559" y="3090049"/>
                  <a:pt x="516385" y="3087415"/>
                </a:cubicBezTo>
                <a:cubicBezTo>
                  <a:pt x="518966" y="3086486"/>
                  <a:pt x="521341" y="3084937"/>
                  <a:pt x="523613" y="3082923"/>
                </a:cubicBezTo>
                <a:lnTo>
                  <a:pt x="524955" y="3081219"/>
                </a:lnTo>
                <a:lnTo>
                  <a:pt x="523819" y="3080600"/>
                </a:lnTo>
                <a:lnTo>
                  <a:pt x="526503" y="3079516"/>
                </a:lnTo>
                <a:lnTo>
                  <a:pt x="529085" y="3076418"/>
                </a:lnTo>
                <a:lnTo>
                  <a:pt x="529188" y="3076108"/>
                </a:lnTo>
                <a:lnTo>
                  <a:pt x="529498" y="3075953"/>
                </a:lnTo>
                <a:lnTo>
                  <a:pt x="530015" y="3075333"/>
                </a:lnTo>
                <a:cubicBezTo>
                  <a:pt x="531666" y="3072390"/>
                  <a:pt x="534041" y="3069447"/>
                  <a:pt x="536623" y="3066040"/>
                </a:cubicBezTo>
                <a:cubicBezTo>
                  <a:pt x="538482" y="3062322"/>
                  <a:pt x="541579" y="3059689"/>
                  <a:pt x="544987" y="3055817"/>
                </a:cubicBezTo>
                <a:cubicBezTo>
                  <a:pt x="546845" y="3049930"/>
                  <a:pt x="537759" y="3052563"/>
                  <a:pt x="543438" y="3046523"/>
                </a:cubicBezTo>
                <a:cubicBezTo>
                  <a:pt x="545193" y="3047917"/>
                  <a:pt x="546845" y="3048691"/>
                  <a:pt x="548291" y="3048846"/>
                </a:cubicBezTo>
                <a:lnTo>
                  <a:pt x="552111" y="3047917"/>
                </a:lnTo>
                <a:lnTo>
                  <a:pt x="547052" y="3043425"/>
                </a:lnTo>
                <a:cubicBezTo>
                  <a:pt x="543644" y="3040172"/>
                  <a:pt x="540856" y="3036609"/>
                  <a:pt x="540959" y="3033976"/>
                </a:cubicBezTo>
                <a:cubicBezTo>
                  <a:pt x="541063" y="3033202"/>
                  <a:pt x="541373" y="3032427"/>
                  <a:pt x="541992" y="3031807"/>
                </a:cubicBezTo>
                <a:cubicBezTo>
                  <a:pt x="544470" y="3033821"/>
                  <a:pt x="549426" y="3036919"/>
                  <a:pt x="553144" y="3040482"/>
                </a:cubicBezTo>
                <a:lnTo>
                  <a:pt x="555416" y="3043734"/>
                </a:lnTo>
                <a:lnTo>
                  <a:pt x="558203" y="3040017"/>
                </a:lnTo>
                <a:cubicBezTo>
                  <a:pt x="562643" y="3032892"/>
                  <a:pt x="567496" y="3024373"/>
                  <a:pt x="575860" y="3024373"/>
                </a:cubicBezTo>
                <a:cubicBezTo>
                  <a:pt x="576480" y="3022359"/>
                  <a:pt x="576893" y="3020965"/>
                  <a:pt x="574518" y="3018796"/>
                </a:cubicBezTo>
                <a:lnTo>
                  <a:pt x="581952" y="3013839"/>
                </a:lnTo>
                <a:lnTo>
                  <a:pt x="584844" y="3005940"/>
                </a:lnTo>
                <a:cubicBezTo>
                  <a:pt x="586495" y="3003461"/>
                  <a:pt x="588767" y="3001603"/>
                  <a:pt x="592071" y="3000363"/>
                </a:cubicBezTo>
                <a:lnTo>
                  <a:pt x="593414" y="3004391"/>
                </a:lnTo>
                <a:lnTo>
                  <a:pt x="595376" y="3002687"/>
                </a:lnTo>
                <a:cubicBezTo>
                  <a:pt x="598370" y="3000054"/>
                  <a:pt x="601468" y="2997575"/>
                  <a:pt x="603843" y="2994632"/>
                </a:cubicBezTo>
                <a:cubicBezTo>
                  <a:pt x="606940" y="2992154"/>
                  <a:pt x="609109" y="2989985"/>
                  <a:pt x="611484" y="2987197"/>
                </a:cubicBezTo>
                <a:cubicBezTo>
                  <a:pt x="616853" y="2981776"/>
                  <a:pt x="622119" y="2976974"/>
                  <a:pt x="627282" y="2972172"/>
                </a:cubicBezTo>
                <a:lnTo>
                  <a:pt x="632651" y="2967526"/>
                </a:lnTo>
                <a:lnTo>
                  <a:pt x="632858" y="2965357"/>
                </a:lnTo>
                <a:lnTo>
                  <a:pt x="634200" y="2966131"/>
                </a:lnTo>
                <a:lnTo>
                  <a:pt x="635335" y="2965202"/>
                </a:lnTo>
                <a:cubicBezTo>
                  <a:pt x="638124" y="2962879"/>
                  <a:pt x="641015" y="2960710"/>
                  <a:pt x="644319" y="2958541"/>
                </a:cubicBezTo>
                <a:lnTo>
                  <a:pt x="644732" y="2960555"/>
                </a:lnTo>
                <a:lnTo>
                  <a:pt x="645455" y="2959935"/>
                </a:lnTo>
                <a:cubicBezTo>
                  <a:pt x="646591" y="2959781"/>
                  <a:pt x="647417" y="2960245"/>
                  <a:pt x="647417" y="2960245"/>
                </a:cubicBezTo>
                <a:lnTo>
                  <a:pt x="647520" y="2960865"/>
                </a:lnTo>
                <a:lnTo>
                  <a:pt x="650515" y="2955134"/>
                </a:lnTo>
                <a:cubicBezTo>
                  <a:pt x="652063" y="2951881"/>
                  <a:pt x="653509" y="2948473"/>
                  <a:pt x="654541" y="2945220"/>
                </a:cubicBezTo>
                <a:cubicBezTo>
                  <a:pt x="656710" y="2947079"/>
                  <a:pt x="666416" y="2942432"/>
                  <a:pt x="669307" y="2937011"/>
                </a:cubicBezTo>
                <a:lnTo>
                  <a:pt x="669514" y="2936237"/>
                </a:lnTo>
                <a:lnTo>
                  <a:pt x="669410" y="2936237"/>
                </a:lnTo>
                <a:lnTo>
                  <a:pt x="669927" y="2933603"/>
                </a:lnTo>
                <a:lnTo>
                  <a:pt x="669307" y="2931435"/>
                </a:lnTo>
                <a:cubicBezTo>
                  <a:pt x="676948" y="2933294"/>
                  <a:pt x="697289" y="2923535"/>
                  <a:pt x="697496" y="2915635"/>
                </a:cubicBezTo>
                <a:cubicBezTo>
                  <a:pt x="702039" y="2917959"/>
                  <a:pt x="706273" y="2916565"/>
                  <a:pt x="709990" y="2914241"/>
                </a:cubicBezTo>
                <a:lnTo>
                  <a:pt x="715566" y="2910369"/>
                </a:lnTo>
                <a:lnTo>
                  <a:pt x="716082" y="2909439"/>
                </a:lnTo>
                <a:lnTo>
                  <a:pt x="717631" y="2909594"/>
                </a:lnTo>
                <a:lnTo>
                  <a:pt x="717837" y="2909439"/>
                </a:lnTo>
                <a:lnTo>
                  <a:pt x="717218" y="2909130"/>
                </a:lnTo>
                <a:cubicBezTo>
                  <a:pt x="717012" y="2907116"/>
                  <a:pt x="717424" y="2905567"/>
                  <a:pt x="717941" y="2904328"/>
                </a:cubicBezTo>
                <a:lnTo>
                  <a:pt x="718354" y="2903399"/>
                </a:lnTo>
                <a:lnTo>
                  <a:pt x="716701" y="2901695"/>
                </a:lnTo>
                <a:lnTo>
                  <a:pt x="719180" y="2901230"/>
                </a:lnTo>
                <a:lnTo>
                  <a:pt x="719490" y="2900455"/>
                </a:lnTo>
                <a:cubicBezTo>
                  <a:pt x="721761" y="2900301"/>
                  <a:pt x="723413" y="2900455"/>
                  <a:pt x="724859" y="2901075"/>
                </a:cubicBezTo>
                <a:lnTo>
                  <a:pt x="725995" y="2901849"/>
                </a:lnTo>
                <a:lnTo>
                  <a:pt x="729609" y="2901075"/>
                </a:lnTo>
                <a:cubicBezTo>
                  <a:pt x="730641" y="2900455"/>
                  <a:pt x="731467" y="2899836"/>
                  <a:pt x="732087" y="2899061"/>
                </a:cubicBezTo>
                <a:lnTo>
                  <a:pt x="732500" y="2897512"/>
                </a:lnTo>
                <a:lnTo>
                  <a:pt x="731364" y="2895344"/>
                </a:lnTo>
                <a:cubicBezTo>
                  <a:pt x="731158" y="2894415"/>
                  <a:pt x="731158" y="2893640"/>
                  <a:pt x="731364" y="2892866"/>
                </a:cubicBezTo>
                <a:cubicBezTo>
                  <a:pt x="731777" y="2891471"/>
                  <a:pt x="732913" y="2890232"/>
                  <a:pt x="734462" y="2889767"/>
                </a:cubicBezTo>
                <a:cubicBezTo>
                  <a:pt x="735907" y="2889303"/>
                  <a:pt x="737663" y="2889303"/>
                  <a:pt x="739418" y="2889923"/>
                </a:cubicBezTo>
                <a:lnTo>
                  <a:pt x="743445" y="2893950"/>
                </a:lnTo>
                <a:lnTo>
                  <a:pt x="743548" y="2893795"/>
                </a:lnTo>
                <a:cubicBezTo>
                  <a:pt x="744787" y="2893950"/>
                  <a:pt x="745923" y="2894724"/>
                  <a:pt x="747162" y="2896428"/>
                </a:cubicBezTo>
                <a:cubicBezTo>
                  <a:pt x="747265" y="2893485"/>
                  <a:pt x="749434" y="2891316"/>
                  <a:pt x="751809" y="2895808"/>
                </a:cubicBezTo>
                <a:lnTo>
                  <a:pt x="752531" y="2894569"/>
                </a:lnTo>
                <a:lnTo>
                  <a:pt x="750570" y="2891007"/>
                </a:lnTo>
                <a:cubicBezTo>
                  <a:pt x="751499" y="2890232"/>
                  <a:pt x="752428" y="2889613"/>
                  <a:pt x="751706" y="2888683"/>
                </a:cubicBezTo>
                <a:cubicBezTo>
                  <a:pt x="753048" y="2887444"/>
                  <a:pt x="754700" y="2886515"/>
                  <a:pt x="756455" y="2885895"/>
                </a:cubicBezTo>
                <a:cubicBezTo>
                  <a:pt x="759553" y="2884656"/>
                  <a:pt x="763064" y="2884347"/>
                  <a:pt x="766574" y="2884811"/>
                </a:cubicBezTo>
                <a:lnTo>
                  <a:pt x="768743" y="2885430"/>
                </a:lnTo>
                <a:lnTo>
                  <a:pt x="768226" y="2884656"/>
                </a:lnTo>
                <a:cubicBezTo>
                  <a:pt x="768536" y="2879544"/>
                  <a:pt x="771944" y="2877686"/>
                  <a:pt x="775145" y="2878305"/>
                </a:cubicBezTo>
                <a:lnTo>
                  <a:pt x="778965" y="2880629"/>
                </a:lnTo>
                <a:lnTo>
                  <a:pt x="779172" y="2879544"/>
                </a:lnTo>
                <a:cubicBezTo>
                  <a:pt x="779585" y="2878770"/>
                  <a:pt x="780307" y="2878460"/>
                  <a:pt x="781237" y="2878150"/>
                </a:cubicBezTo>
                <a:cubicBezTo>
                  <a:pt x="782992" y="2877531"/>
                  <a:pt x="785470" y="2877531"/>
                  <a:pt x="787639" y="2876756"/>
                </a:cubicBezTo>
                <a:lnTo>
                  <a:pt x="787122" y="2878305"/>
                </a:lnTo>
                <a:lnTo>
                  <a:pt x="789807" y="2877531"/>
                </a:lnTo>
                <a:lnTo>
                  <a:pt x="791046" y="2873194"/>
                </a:lnTo>
                <a:lnTo>
                  <a:pt x="790324" y="2873814"/>
                </a:lnTo>
                <a:cubicBezTo>
                  <a:pt x="787742" y="2873968"/>
                  <a:pt x="785058" y="2875207"/>
                  <a:pt x="782063" y="2874433"/>
                </a:cubicBezTo>
                <a:lnTo>
                  <a:pt x="779894" y="2873194"/>
                </a:lnTo>
                <a:lnTo>
                  <a:pt x="779998" y="2873968"/>
                </a:lnTo>
                <a:cubicBezTo>
                  <a:pt x="776590" y="2876292"/>
                  <a:pt x="775351" y="2876602"/>
                  <a:pt x="771531" y="2876602"/>
                </a:cubicBezTo>
                <a:lnTo>
                  <a:pt x="770292" y="2871645"/>
                </a:lnTo>
                <a:lnTo>
                  <a:pt x="766781" y="2872264"/>
                </a:lnTo>
                <a:cubicBezTo>
                  <a:pt x="766368" y="2870715"/>
                  <a:pt x="766161" y="2869631"/>
                  <a:pt x="766264" y="2868701"/>
                </a:cubicBezTo>
                <a:cubicBezTo>
                  <a:pt x="766264" y="2867927"/>
                  <a:pt x="766574" y="2867462"/>
                  <a:pt x="766987" y="2867153"/>
                </a:cubicBezTo>
                <a:cubicBezTo>
                  <a:pt x="767504" y="2866688"/>
                  <a:pt x="768330" y="2866998"/>
                  <a:pt x="769053" y="2867462"/>
                </a:cubicBezTo>
                <a:lnTo>
                  <a:pt x="769982" y="2868392"/>
                </a:lnTo>
                <a:lnTo>
                  <a:pt x="770808" y="2862815"/>
                </a:lnTo>
                <a:cubicBezTo>
                  <a:pt x="778449" y="2857859"/>
                  <a:pt x="779172" y="2863435"/>
                  <a:pt x="779482" y="2869012"/>
                </a:cubicBezTo>
                <a:lnTo>
                  <a:pt x="779791" y="2871955"/>
                </a:lnTo>
                <a:lnTo>
                  <a:pt x="784334" y="2865449"/>
                </a:lnTo>
                <a:cubicBezTo>
                  <a:pt x="785677" y="2862971"/>
                  <a:pt x="786709" y="2860337"/>
                  <a:pt x="788258" y="2857704"/>
                </a:cubicBezTo>
                <a:lnTo>
                  <a:pt x="788774" y="2857859"/>
                </a:lnTo>
                <a:lnTo>
                  <a:pt x="786813" y="2850579"/>
                </a:lnTo>
                <a:lnTo>
                  <a:pt x="786193" y="2845312"/>
                </a:lnTo>
                <a:lnTo>
                  <a:pt x="785883" y="2845777"/>
                </a:lnTo>
                <a:cubicBezTo>
                  <a:pt x="782269" y="2846861"/>
                  <a:pt x="779068" y="2847326"/>
                  <a:pt x="776384" y="2846861"/>
                </a:cubicBezTo>
                <a:lnTo>
                  <a:pt x="770395" y="2841440"/>
                </a:lnTo>
                <a:lnTo>
                  <a:pt x="764922" y="2843144"/>
                </a:lnTo>
                <a:lnTo>
                  <a:pt x="759140" y="2841905"/>
                </a:lnTo>
                <a:lnTo>
                  <a:pt x="754287" y="2844847"/>
                </a:lnTo>
                <a:cubicBezTo>
                  <a:pt x="753048" y="2843763"/>
                  <a:pt x="752635" y="2842524"/>
                  <a:pt x="752841" y="2841440"/>
                </a:cubicBezTo>
                <a:lnTo>
                  <a:pt x="753874" y="2839736"/>
                </a:lnTo>
                <a:lnTo>
                  <a:pt x="747782" y="2834624"/>
                </a:lnTo>
                <a:cubicBezTo>
                  <a:pt x="745613" y="2831991"/>
                  <a:pt x="743858" y="2828893"/>
                  <a:pt x="742619" y="2825486"/>
                </a:cubicBezTo>
                <a:lnTo>
                  <a:pt x="741380" y="2815417"/>
                </a:lnTo>
                <a:lnTo>
                  <a:pt x="737560" y="2813249"/>
                </a:lnTo>
                <a:cubicBezTo>
                  <a:pt x="734978" y="2806743"/>
                  <a:pt x="733429" y="2800857"/>
                  <a:pt x="734152" y="2795590"/>
                </a:cubicBezTo>
                <a:cubicBezTo>
                  <a:pt x="734875" y="2790479"/>
                  <a:pt x="737766" y="2786142"/>
                  <a:pt x="743858" y="2782889"/>
                </a:cubicBezTo>
                <a:cubicBezTo>
                  <a:pt x="744684" y="2785057"/>
                  <a:pt x="746853" y="2784283"/>
                  <a:pt x="749124" y="2783509"/>
                </a:cubicBezTo>
                <a:lnTo>
                  <a:pt x="754287" y="2790944"/>
                </a:lnTo>
                <a:lnTo>
                  <a:pt x="756455" y="2789395"/>
                </a:lnTo>
                <a:cubicBezTo>
                  <a:pt x="759863" y="2787846"/>
                  <a:pt x="763787" y="2786761"/>
                  <a:pt x="768330" y="2785987"/>
                </a:cubicBezTo>
                <a:lnTo>
                  <a:pt x="769053" y="2787071"/>
                </a:lnTo>
                <a:lnTo>
                  <a:pt x="769156" y="2786916"/>
                </a:lnTo>
                <a:cubicBezTo>
                  <a:pt x="771531" y="2787381"/>
                  <a:pt x="772460" y="2788620"/>
                  <a:pt x="772150" y="2789859"/>
                </a:cubicBezTo>
                <a:lnTo>
                  <a:pt x="771840" y="2790789"/>
                </a:lnTo>
                <a:lnTo>
                  <a:pt x="778656" y="2799928"/>
                </a:lnTo>
                <a:cubicBezTo>
                  <a:pt x="783922" y="2809841"/>
                  <a:pt x="785573" y="2820374"/>
                  <a:pt x="782992" y="2828893"/>
                </a:cubicBezTo>
                <a:lnTo>
                  <a:pt x="781547" y="2831836"/>
                </a:lnTo>
                <a:lnTo>
                  <a:pt x="784851" y="2832301"/>
                </a:lnTo>
                <a:lnTo>
                  <a:pt x="785058" y="2832610"/>
                </a:lnTo>
                <a:lnTo>
                  <a:pt x="784644" y="2827654"/>
                </a:lnTo>
                <a:cubicBezTo>
                  <a:pt x="786193" y="2827964"/>
                  <a:pt x="787432" y="2827654"/>
                  <a:pt x="788878" y="2827499"/>
                </a:cubicBezTo>
                <a:lnTo>
                  <a:pt x="791356" y="2827964"/>
                </a:lnTo>
                <a:lnTo>
                  <a:pt x="791356" y="2826879"/>
                </a:lnTo>
                <a:cubicBezTo>
                  <a:pt x="793318" y="2825950"/>
                  <a:pt x="794970" y="2825486"/>
                  <a:pt x="796209" y="2825640"/>
                </a:cubicBezTo>
                <a:lnTo>
                  <a:pt x="797551" y="2826260"/>
                </a:lnTo>
                <a:lnTo>
                  <a:pt x="797241" y="2821923"/>
                </a:lnTo>
                <a:cubicBezTo>
                  <a:pt x="797551" y="2820219"/>
                  <a:pt x="798068" y="2818980"/>
                  <a:pt x="798790" y="2818205"/>
                </a:cubicBezTo>
                <a:lnTo>
                  <a:pt x="800649" y="2817276"/>
                </a:lnTo>
                <a:lnTo>
                  <a:pt x="798997" y="2816037"/>
                </a:lnTo>
                <a:cubicBezTo>
                  <a:pt x="798171" y="2815108"/>
                  <a:pt x="797241" y="2813249"/>
                  <a:pt x="796932" y="2811235"/>
                </a:cubicBezTo>
                <a:cubicBezTo>
                  <a:pt x="796519" y="2809222"/>
                  <a:pt x="796519" y="2807053"/>
                  <a:pt x="797448" y="2805814"/>
                </a:cubicBezTo>
                <a:cubicBezTo>
                  <a:pt x="799100" y="2806898"/>
                  <a:pt x="800752" y="2807827"/>
                  <a:pt x="802404" y="2808912"/>
                </a:cubicBezTo>
                <a:cubicBezTo>
                  <a:pt x="801578" y="2808757"/>
                  <a:pt x="803127" y="2816502"/>
                  <a:pt x="803127" y="2816502"/>
                </a:cubicBezTo>
                <a:lnTo>
                  <a:pt x="801785" y="2817276"/>
                </a:lnTo>
                <a:lnTo>
                  <a:pt x="805399" y="2818205"/>
                </a:lnTo>
                <a:cubicBezTo>
                  <a:pt x="810149" y="2820529"/>
                  <a:pt x="814795" y="2826415"/>
                  <a:pt x="812833" y="2829358"/>
                </a:cubicBezTo>
                <a:cubicBezTo>
                  <a:pt x="811800" y="2830752"/>
                  <a:pt x="809116" y="2831526"/>
                  <a:pt x="803850" y="2830597"/>
                </a:cubicBezTo>
                <a:lnTo>
                  <a:pt x="799823" y="2829513"/>
                </a:lnTo>
                <a:lnTo>
                  <a:pt x="799823" y="2829822"/>
                </a:lnTo>
                <a:cubicBezTo>
                  <a:pt x="799823" y="2830907"/>
                  <a:pt x="799307" y="2832146"/>
                  <a:pt x="798584" y="2833230"/>
                </a:cubicBezTo>
                <a:lnTo>
                  <a:pt x="794660" y="2836018"/>
                </a:lnTo>
                <a:lnTo>
                  <a:pt x="795176" y="2850114"/>
                </a:lnTo>
                <a:lnTo>
                  <a:pt x="797964" y="2854142"/>
                </a:lnTo>
                <a:cubicBezTo>
                  <a:pt x="798481" y="2855536"/>
                  <a:pt x="798274" y="2856775"/>
                  <a:pt x="796932" y="2857704"/>
                </a:cubicBezTo>
                <a:lnTo>
                  <a:pt x="795590" y="2857239"/>
                </a:lnTo>
                <a:lnTo>
                  <a:pt x="795899" y="2860492"/>
                </a:lnTo>
                <a:lnTo>
                  <a:pt x="795693" y="2866998"/>
                </a:lnTo>
                <a:lnTo>
                  <a:pt x="796209" y="2866688"/>
                </a:lnTo>
                <a:cubicBezTo>
                  <a:pt x="799617" y="2867153"/>
                  <a:pt x="802301" y="2867153"/>
                  <a:pt x="804676" y="2866688"/>
                </a:cubicBezTo>
                <a:lnTo>
                  <a:pt x="804883" y="2866688"/>
                </a:lnTo>
                <a:lnTo>
                  <a:pt x="803953" y="2863745"/>
                </a:lnTo>
                <a:cubicBezTo>
                  <a:pt x="803850" y="2862351"/>
                  <a:pt x="804366" y="2861111"/>
                  <a:pt x="805502" y="2860492"/>
                </a:cubicBezTo>
                <a:cubicBezTo>
                  <a:pt x="806225" y="2859872"/>
                  <a:pt x="807257" y="2859718"/>
                  <a:pt x="808600" y="2859718"/>
                </a:cubicBezTo>
                <a:cubicBezTo>
                  <a:pt x="809529" y="2860647"/>
                  <a:pt x="810045" y="2862506"/>
                  <a:pt x="810149" y="2864365"/>
                </a:cubicBezTo>
                <a:lnTo>
                  <a:pt x="810045" y="2864829"/>
                </a:lnTo>
                <a:lnTo>
                  <a:pt x="810871" y="2864519"/>
                </a:lnTo>
                <a:lnTo>
                  <a:pt x="813866" y="2862351"/>
                </a:lnTo>
                <a:lnTo>
                  <a:pt x="813762" y="2862196"/>
                </a:lnTo>
                <a:cubicBezTo>
                  <a:pt x="813350" y="2861422"/>
                  <a:pt x="813143" y="2860647"/>
                  <a:pt x="813350" y="2860027"/>
                </a:cubicBezTo>
                <a:cubicBezTo>
                  <a:pt x="813762" y="2858943"/>
                  <a:pt x="814589" y="2858633"/>
                  <a:pt x="814589" y="2858633"/>
                </a:cubicBezTo>
                <a:lnTo>
                  <a:pt x="815311" y="2858943"/>
                </a:lnTo>
                <a:lnTo>
                  <a:pt x="815828" y="2855071"/>
                </a:lnTo>
                <a:cubicBezTo>
                  <a:pt x="816654" y="2853677"/>
                  <a:pt x="817893" y="2852747"/>
                  <a:pt x="819545" y="2852592"/>
                </a:cubicBezTo>
                <a:cubicBezTo>
                  <a:pt x="820990" y="2852283"/>
                  <a:pt x="822643" y="2852747"/>
                  <a:pt x="824501" y="2853832"/>
                </a:cubicBezTo>
                <a:lnTo>
                  <a:pt x="824914" y="2854761"/>
                </a:lnTo>
                <a:lnTo>
                  <a:pt x="825637" y="2854296"/>
                </a:lnTo>
                <a:lnTo>
                  <a:pt x="822849" y="2852747"/>
                </a:lnTo>
                <a:cubicBezTo>
                  <a:pt x="821817" y="2851973"/>
                  <a:pt x="820990" y="2850889"/>
                  <a:pt x="821197" y="2849340"/>
                </a:cubicBezTo>
                <a:cubicBezTo>
                  <a:pt x="822023" y="2849030"/>
                  <a:pt x="821610" y="2848410"/>
                  <a:pt x="822333" y="2848100"/>
                </a:cubicBezTo>
                <a:cubicBezTo>
                  <a:pt x="822333" y="2848100"/>
                  <a:pt x="822952" y="2847326"/>
                  <a:pt x="824088" y="2846861"/>
                </a:cubicBezTo>
                <a:cubicBezTo>
                  <a:pt x="825121" y="2846242"/>
                  <a:pt x="826773" y="2845777"/>
                  <a:pt x="828941" y="2846397"/>
                </a:cubicBezTo>
                <a:cubicBezTo>
                  <a:pt x="830077" y="2846861"/>
                  <a:pt x="832865" y="2848565"/>
                  <a:pt x="832039" y="2848875"/>
                </a:cubicBezTo>
                <a:cubicBezTo>
                  <a:pt x="831626" y="2849959"/>
                  <a:pt x="832452" y="2849649"/>
                  <a:pt x="832865" y="2850424"/>
                </a:cubicBezTo>
                <a:lnTo>
                  <a:pt x="832142" y="2851663"/>
                </a:lnTo>
                <a:lnTo>
                  <a:pt x="832659" y="2851973"/>
                </a:lnTo>
                <a:cubicBezTo>
                  <a:pt x="834414" y="2853212"/>
                  <a:pt x="834414" y="2853212"/>
                  <a:pt x="834104" y="2854296"/>
                </a:cubicBezTo>
                <a:cubicBezTo>
                  <a:pt x="834001" y="2854916"/>
                  <a:pt x="833175" y="2855226"/>
                  <a:pt x="832452" y="2855690"/>
                </a:cubicBezTo>
                <a:lnTo>
                  <a:pt x="831832" y="2856155"/>
                </a:lnTo>
                <a:lnTo>
                  <a:pt x="835962" y="2854916"/>
                </a:lnTo>
                <a:cubicBezTo>
                  <a:pt x="840403" y="2852747"/>
                  <a:pt x="845256" y="2851508"/>
                  <a:pt x="850419" y="2849649"/>
                </a:cubicBezTo>
                <a:lnTo>
                  <a:pt x="856924" y="2847481"/>
                </a:lnTo>
                <a:lnTo>
                  <a:pt x="856614" y="2846397"/>
                </a:lnTo>
                <a:cubicBezTo>
                  <a:pt x="856717" y="2845932"/>
                  <a:pt x="856924" y="2845312"/>
                  <a:pt x="857233" y="2845002"/>
                </a:cubicBezTo>
                <a:cubicBezTo>
                  <a:pt x="857646" y="2844693"/>
                  <a:pt x="858369" y="2844538"/>
                  <a:pt x="859505" y="2845002"/>
                </a:cubicBezTo>
                <a:cubicBezTo>
                  <a:pt x="860537" y="2845002"/>
                  <a:pt x="861157" y="2845157"/>
                  <a:pt x="861467" y="2845622"/>
                </a:cubicBezTo>
                <a:lnTo>
                  <a:pt x="861570" y="2846087"/>
                </a:lnTo>
                <a:lnTo>
                  <a:pt x="864668" y="2845002"/>
                </a:lnTo>
                <a:cubicBezTo>
                  <a:pt x="869521" y="2843919"/>
                  <a:pt x="874684" y="2841905"/>
                  <a:pt x="879536" y="2840820"/>
                </a:cubicBezTo>
                <a:cubicBezTo>
                  <a:pt x="884390" y="2839581"/>
                  <a:pt x="888830" y="2837412"/>
                  <a:pt x="893889" y="2835554"/>
                </a:cubicBezTo>
                <a:cubicBezTo>
                  <a:pt x="898123" y="2834005"/>
                  <a:pt x="903286" y="2832146"/>
                  <a:pt x="907622" y="2829978"/>
                </a:cubicBezTo>
                <a:cubicBezTo>
                  <a:pt x="912062" y="2827964"/>
                  <a:pt x="916502" y="2825795"/>
                  <a:pt x="920942" y="2823782"/>
                </a:cubicBezTo>
                <a:cubicBezTo>
                  <a:pt x="923627" y="2822388"/>
                  <a:pt x="925589" y="2820839"/>
                  <a:pt x="927551" y="2819445"/>
                </a:cubicBezTo>
                <a:cubicBezTo>
                  <a:pt x="927551" y="2819445"/>
                  <a:pt x="927551" y="2819445"/>
                  <a:pt x="929306" y="2818515"/>
                </a:cubicBezTo>
                <a:cubicBezTo>
                  <a:pt x="933333" y="2817741"/>
                  <a:pt x="920736" y="2819289"/>
                  <a:pt x="937980" y="2817121"/>
                </a:cubicBezTo>
                <a:cubicBezTo>
                  <a:pt x="937980" y="2817121"/>
                  <a:pt x="937980" y="2817276"/>
                  <a:pt x="938186" y="2816502"/>
                </a:cubicBezTo>
                <a:cubicBezTo>
                  <a:pt x="938186" y="2816502"/>
                  <a:pt x="938186" y="2816502"/>
                  <a:pt x="939116" y="2816037"/>
                </a:cubicBezTo>
                <a:cubicBezTo>
                  <a:pt x="939322" y="2815417"/>
                  <a:pt x="939528" y="2814798"/>
                  <a:pt x="940355" y="2814333"/>
                </a:cubicBezTo>
                <a:cubicBezTo>
                  <a:pt x="939632" y="2811854"/>
                  <a:pt x="938186" y="2811545"/>
                  <a:pt x="937567" y="2811235"/>
                </a:cubicBezTo>
                <a:cubicBezTo>
                  <a:pt x="937567" y="2811235"/>
                  <a:pt x="937567" y="2811235"/>
                  <a:pt x="937360" y="2811854"/>
                </a:cubicBezTo>
                <a:cubicBezTo>
                  <a:pt x="937360" y="2811854"/>
                  <a:pt x="937360" y="2811854"/>
                  <a:pt x="936741" y="2811700"/>
                </a:cubicBezTo>
                <a:lnTo>
                  <a:pt x="931991" y="2812474"/>
                </a:lnTo>
                <a:lnTo>
                  <a:pt x="927758" y="2815727"/>
                </a:lnTo>
                <a:cubicBezTo>
                  <a:pt x="926415" y="2816037"/>
                  <a:pt x="925176" y="2815572"/>
                  <a:pt x="924040" y="2814178"/>
                </a:cubicBezTo>
                <a:cubicBezTo>
                  <a:pt x="924143" y="2813404"/>
                  <a:pt x="925486" y="2810925"/>
                  <a:pt x="924660" y="2810925"/>
                </a:cubicBezTo>
                <a:cubicBezTo>
                  <a:pt x="926828" y="2809066"/>
                  <a:pt x="929513" y="2807363"/>
                  <a:pt x="931785" y="2807363"/>
                </a:cubicBezTo>
                <a:cubicBezTo>
                  <a:pt x="932507" y="2807363"/>
                  <a:pt x="933127" y="2807672"/>
                  <a:pt x="933746" y="2808137"/>
                </a:cubicBezTo>
                <a:lnTo>
                  <a:pt x="933953" y="2808912"/>
                </a:lnTo>
                <a:lnTo>
                  <a:pt x="936121" y="2808602"/>
                </a:lnTo>
                <a:cubicBezTo>
                  <a:pt x="936121" y="2808602"/>
                  <a:pt x="936121" y="2808602"/>
                  <a:pt x="936844" y="2808757"/>
                </a:cubicBezTo>
                <a:cubicBezTo>
                  <a:pt x="936844" y="2808757"/>
                  <a:pt x="936844" y="2808757"/>
                  <a:pt x="937051" y="2808137"/>
                </a:cubicBezTo>
                <a:cubicBezTo>
                  <a:pt x="937051" y="2808137"/>
                  <a:pt x="937257" y="2807518"/>
                  <a:pt x="937876" y="2807672"/>
                </a:cubicBezTo>
                <a:cubicBezTo>
                  <a:pt x="938083" y="2807053"/>
                  <a:pt x="938806" y="2807363"/>
                  <a:pt x="939632" y="2806898"/>
                </a:cubicBezTo>
                <a:lnTo>
                  <a:pt x="941904" y="2804729"/>
                </a:lnTo>
                <a:lnTo>
                  <a:pt x="941697" y="2799463"/>
                </a:lnTo>
                <a:cubicBezTo>
                  <a:pt x="941594" y="2793112"/>
                  <a:pt x="942213" y="2786916"/>
                  <a:pt x="947273" y="2782115"/>
                </a:cubicBezTo>
                <a:cubicBezTo>
                  <a:pt x="958425" y="2780256"/>
                  <a:pt x="960386" y="2774215"/>
                  <a:pt x="966685" y="2770652"/>
                </a:cubicBezTo>
                <a:cubicBezTo>
                  <a:pt x="981864" y="2770032"/>
                  <a:pt x="1001792" y="2774060"/>
                  <a:pt x="1008710" y="2788930"/>
                </a:cubicBezTo>
                <a:lnTo>
                  <a:pt x="1010053" y="2794506"/>
                </a:lnTo>
                <a:lnTo>
                  <a:pt x="1020688" y="2793732"/>
                </a:lnTo>
                <a:lnTo>
                  <a:pt x="1021927" y="2793732"/>
                </a:lnTo>
                <a:lnTo>
                  <a:pt x="1022547" y="2791563"/>
                </a:lnTo>
                <a:lnTo>
                  <a:pt x="1021721" y="2791408"/>
                </a:lnTo>
                <a:lnTo>
                  <a:pt x="1022753" y="2791099"/>
                </a:lnTo>
                <a:lnTo>
                  <a:pt x="1023063" y="2789704"/>
                </a:lnTo>
                <a:cubicBezTo>
                  <a:pt x="1024508" y="2785677"/>
                  <a:pt x="1026470" y="2782269"/>
                  <a:pt x="1029878" y="2781805"/>
                </a:cubicBezTo>
                <a:lnTo>
                  <a:pt x="1032150" y="2782115"/>
                </a:lnTo>
                <a:lnTo>
                  <a:pt x="1030807" y="2781650"/>
                </a:lnTo>
                <a:cubicBezTo>
                  <a:pt x="1019036" y="2774679"/>
                  <a:pt x="1021307" y="2763682"/>
                  <a:pt x="1015732" y="2752220"/>
                </a:cubicBezTo>
                <a:cubicBezTo>
                  <a:pt x="1024715" y="2745094"/>
                  <a:pt x="1022340" y="2739363"/>
                  <a:pt x="1023476" y="2733322"/>
                </a:cubicBezTo>
                <a:cubicBezTo>
                  <a:pt x="1027399" y="2732393"/>
                  <a:pt x="1031220" y="2729914"/>
                  <a:pt x="1035040" y="2727126"/>
                </a:cubicBezTo>
                <a:lnTo>
                  <a:pt x="1043404" y="2721240"/>
                </a:lnTo>
                <a:lnTo>
                  <a:pt x="1044540" y="2717523"/>
                </a:lnTo>
                <a:cubicBezTo>
                  <a:pt x="1046502" y="2714270"/>
                  <a:pt x="1050323" y="2711637"/>
                  <a:pt x="1057034" y="2711172"/>
                </a:cubicBezTo>
                <a:cubicBezTo>
                  <a:pt x="1060132" y="2714115"/>
                  <a:pt x="1061577" y="2716748"/>
                  <a:pt x="1062610" y="2719382"/>
                </a:cubicBezTo>
                <a:lnTo>
                  <a:pt x="1063642" y="2722015"/>
                </a:lnTo>
                <a:lnTo>
                  <a:pt x="1076653" y="2724339"/>
                </a:lnTo>
                <a:cubicBezTo>
                  <a:pt x="1077169" y="2727126"/>
                  <a:pt x="1078511" y="2729605"/>
                  <a:pt x="1080164" y="2732083"/>
                </a:cubicBezTo>
                <a:lnTo>
                  <a:pt x="1082538" y="2735491"/>
                </a:lnTo>
                <a:lnTo>
                  <a:pt x="1084914" y="2735800"/>
                </a:lnTo>
                <a:lnTo>
                  <a:pt x="1087908" y="2734407"/>
                </a:lnTo>
                <a:lnTo>
                  <a:pt x="1090489" y="2736730"/>
                </a:lnTo>
                <a:lnTo>
                  <a:pt x="1094723" y="2737350"/>
                </a:lnTo>
                <a:cubicBezTo>
                  <a:pt x="1098130" y="2738744"/>
                  <a:pt x="1100815" y="2740293"/>
                  <a:pt x="1103087" y="2742306"/>
                </a:cubicBezTo>
                <a:lnTo>
                  <a:pt x="1106288" y="2745869"/>
                </a:lnTo>
                <a:lnTo>
                  <a:pt x="1109385" y="2741687"/>
                </a:lnTo>
                <a:cubicBezTo>
                  <a:pt x="1113825" y="2735646"/>
                  <a:pt x="1120124" y="2727591"/>
                  <a:pt x="1124460" y="2730534"/>
                </a:cubicBezTo>
                <a:cubicBezTo>
                  <a:pt x="1121260" y="2735181"/>
                  <a:pt x="1115787" y="2747418"/>
                  <a:pt x="1108869" y="2747418"/>
                </a:cubicBezTo>
                <a:lnTo>
                  <a:pt x="1107113" y="2746798"/>
                </a:lnTo>
                <a:lnTo>
                  <a:pt x="1108662" y="2748812"/>
                </a:lnTo>
                <a:cubicBezTo>
                  <a:pt x="1111966" y="2753459"/>
                  <a:pt x="1114651" y="2758880"/>
                  <a:pt x="1119298" y="2763992"/>
                </a:cubicBezTo>
                <a:lnTo>
                  <a:pt x="1118162" y="2766160"/>
                </a:lnTo>
                <a:lnTo>
                  <a:pt x="1118781" y="2765386"/>
                </a:lnTo>
                <a:cubicBezTo>
                  <a:pt x="1119711" y="2764457"/>
                  <a:pt x="1120537" y="2763527"/>
                  <a:pt x="1121260" y="2763063"/>
                </a:cubicBezTo>
                <a:cubicBezTo>
                  <a:pt x="1119814" y="2764921"/>
                  <a:pt x="1118575" y="2767090"/>
                  <a:pt x="1117129" y="2769258"/>
                </a:cubicBezTo>
                <a:lnTo>
                  <a:pt x="1116200" y="2770187"/>
                </a:lnTo>
                <a:lnTo>
                  <a:pt x="1115890" y="2774679"/>
                </a:lnTo>
                <a:cubicBezTo>
                  <a:pt x="1116200" y="2777777"/>
                  <a:pt x="1117542" y="2780565"/>
                  <a:pt x="1117955" y="2783509"/>
                </a:cubicBezTo>
                <a:cubicBezTo>
                  <a:pt x="1114445" y="2785057"/>
                  <a:pt x="1111554" y="2788000"/>
                  <a:pt x="1108766" y="2791254"/>
                </a:cubicBezTo>
                <a:lnTo>
                  <a:pt x="1101951" y="2798843"/>
                </a:lnTo>
                <a:lnTo>
                  <a:pt x="1102570" y="2798689"/>
                </a:lnTo>
                <a:cubicBezTo>
                  <a:pt x="1101125" y="2803335"/>
                  <a:pt x="1105771" y="2805659"/>
                  <a:pt x="1111450" y="2806743"/>
                </a:cubicBezTo>
                <a:cubicBezTo>
                  <a:pt x="1117232" y="2807363"/>
                  <a:pt x="1124460" y="2806123"/>
                  <a:pt x="1127455" y="2803645"/>
                </a:cubicBezTo>
                <a:cubicBezTo>
                  <a:pt x="1125183" y="2801321"/>
                  <a:pt x="1121982" y="2799463"/>
                  <a:pt x="1117646" y="2798689"/>
                </a:cubicBezTo>
                <a:cubicBezTo>
                  <a:pt x="1113412" y="2798069"/>
                  <a:pt x="1108662" y="2798689"/>
                  <a:pt x="1103912" y="2799153"/>
                </a:cubicBezTo>
                <a:cubicBezTo>
                  <a:pt x="1109798" y="2794662"/>
                  <a:pt x="1118678" y="2795436"/>
                  <a:pt x="1127248" y="2796985"/>
                </a:cubicBezTo>
                <a:lnTo>
                  <a:pt x="1130759" y="2797140"/>
                </a:lnTo>
                <a:lnTo>
                  <a:pt x="1132721" y="2797294"/>
                </a:lnTo>
                <a:lnTo>
                  <a:pt x="1131585" y="2790944"/>
                </a:lnTo>
                <a:lnTo>
                  <a:pt x="1131069" y="2790944"/>
                </a:lnTo>
                <a:lnTo>
                  <a:pt x="1131792" y="2793887"/>
                </a:lnTo>
                <a:lnTo>
                  <a:pt x="1130759" y="2797140"/>
                </a:lnTo>
                <a:lnTo>
                  <a:pt x="1129107" y="2793422"/>
                </a:lnTo>
                <a:cubicBezTo>
                  <a:pt x="1128591" y="2792648"/>
                  <a:pt x="1128384" y="2792183"/>
                  <a:pt x="1128694" y="2791718"/>
                </a:cubicBezTo>
                <a:lnTo>
                  <a:pt x="1130036" y="2790944"/>
                </a:lnTo>
                <a:lnTo>
                  <a:pt x="1129623" y="2790944"/>
                </a:lnTo>
                <a:cubicBezTo>
                  <a:pt x="1128178" y="2790479"/>
                  <a:pt x="1126526" y="2789704"/>
                  <a:pt x="1124667" y="2788465"/>
                </a:cubicBezTo>
                <a:cubicBezTo>
                  <a:pt x="1126835" y="2787071"/>
                  <a:pt x="1128694" y="2785212"/>
                  <a:pt x="1130243" y="2783354"/>
                </a:cubicBezTo>
                <a:lnTo>
                  <a:pt x="1130759" y="2782579"/>
                </a:lnTo>
                <a:lnTo>
                  <a:pt x="1131069" y="2778862"/>
                </a:lnTo>
                <a:lnTo>
                  <a:pt x="1131482" y="2777777"/>
                </a:lnTo>
                <a:lnTo>
                  <a:pt x="1130243" y="2776074"/>
                </a:lnTo>
                <a:cubicBezTo>
                  <a:pt x="1129933" y="2775144"/>
                  <a:pt x="1129830" y="2774215"/>
                  <a:pt x="1130036" y="2773440"/>
                </a:cubicBezTo>
                <a:cubicBezTo>
                  <a:pt x="1130553" y="2769258"/>
                  <a:pt x="1132411" y="2767090"/>
                  <a:pt x="1134683" y="2765541"/>
                </a:cubicBezTo>
                <a:cubicBezTo>
                  <a:pt x="1134683" y="2765541"/>
                  <a:pt x="1134580" y="2765541"/>
                  <a:pt x="1133857" y="2766160"/>
                </a:cubicBezTo>
                <a:cubicBezTo>
                  <a:pt x="1130243" y="2765541"/>
                  <a:pt x="1124667" y="2764766"/>
                  <a:pt x="1121776" y="2763217"/>
                </a:cubicBezTo>
                <a:lnTo>
                  <a:pt x="1121569" y="2763063"/>
                </a:lnTo>
                <a:lnTo>
                  <a:pt x="1121363" y="2763217"/>
                </a:lnTo>
                <a:lnTo>
                  <a:pt x="1121260" y="2762753"/>
                </a:lnTo>
                <a:lnTo>
                  <a:pt x="1120124" y="2761668"/>
                </a:lnTo>
                <a:cubicBezTo>
                  <a:pt x="1120846" y="2761204"/>
                  <a:pt x="1121673" y="2760584"/>
                  <a:pt x="1122808" y="2760739"/>
                </a:cubicBezTo>
                <a:cubicBezTo>
                  <a:pt x="1124047" y="2761049"/>
                  <a:pt x="1123222" y="2761513"/>
                  <a:pt x="1124047" y="2761049"/>
                </a:cubicBezTo>
                <a:cubicBezTo>
                  <a:pt x="1125183" y="2761204"/>
                  <a:pt x="1124770" y="2760429"/>
                  <a:pt x="1124770" y="2760429"/>
                </a:cubicBezTo>
                <a:cubicBezTo>
                  <a:pt x="1124770" y="2760429"/>
                  <a:pt x="1125183" y="2761204"/>
                  <a:pt x="1125183" y="2761204"/>
                </a:cubicBezTo>
                <a:cubicBezTo>
                  <a:pt x="1125183" y="2761204"/>
                  <a:pt x="1125183" y="2761204"/>
                  <a:pt x="1127661" y="2761513"/>
                </a:cubicBezTo>
                <a:cubicBezTo>
                  <a:pt x="1130759" y="2761358"/>
                  <a:pt x="1131585" y="2760894"/>
                  <a:pt x="1133444" y="2760584"/>
                </a:cubicBezTo>
                <a:cubicBezTo>
                  <a:pt x="1135922" y="2760894"/>
                  <a:pt x="1136335" y="2761668"/>
                  <a:pt x="1139123" y="2762598"/>
                </a:cubicBezTo>
                <a:cubicBezTo>
                  <a:pt x="1139329" y="2764457"/>
                  <a:pt x="1139226" y="2764457"/>
                  <a:pt x="1138503" y="2764921"/>
                </a:cubicBezTo>
                <a:cubicBezTo>
                  <a:pt x="1139226" y="2764457"/>
                  <a:pt x="1139742" y="2765076"/>
                  <a:pt x="1140878" y="2765231"/>
                </a:cubicBezTo>
                <a:cubicBezTo>
                  <a:pt x="1146041" y="2764766"/>
                  <a:pt x="1146764" y="2769103"/>
                  <a:pt x="1145938" y="2774525"/>
                </a:cubicBezTo>
                <a:cubicBezTo>
                  <a:pt x="1144699" y="2774370"/>
                  <a:pt x="1144596" y="2777313"/>
                  <a:pt x="1143460" y="2779017"/>
                </a:cubicBezTo>
                <a:cubicBezTo>
                  <a:pt x="1142324" y="2779791"/>
                  <a:pt x="1141395" y="2780411"/>
                  <a:pt x="1140465" y="2780876"/>
                </a:cubicBezTo>
                <a:lnTo>
                  <a:pt x="1140362" y="2780876"/>
                </a:lnTo>
                <a:lnTo>
                  <a:pt x="1138400" y="2786142"/>
                </a:lnTo>
                <a:lnTo>
                  <a:pt x="1137987" y="2786761"/>
                </a:lnTo>
                <a:lnTo>
                  <a:pt x="1137987" y="2787071"/>
                </a:lnTo>
                <a:cubicBezTo>
                  <a:pt x="1137884" y="2790634"/>
                  <a:pt x="1137677" y="2794042"/>
                  <a:pt x="1135612" y="2796210"/>
                </a:cubicBezTo>
                <a:lnTo>
                  <a:pt x="1133960" y="2797294"/>
                </a:lnTo>
                <a:lnTo>
                  <a:pt x="1139329" y="2797604"/>
                </a:lnTo>
                <a:cubicBezTo>
                  <a:pt x="1142943" y="2797294"/>
                  <a:pt x="1145938" y="2796055"/>
                  <a:pt x="1148003" y="2793267"/>
                </a:cubicBezTo>
                <a:cubicBezTo>
                  <a:pt x="1152753" y="2793732"/>
                  <a:pt x="1156780" y="2794506"/>
                  <a:pt x="1160497" y="2795590"/>
                </a:cubicBezTo>
                <a:lnTo>
                  <a:pt x="1161323" y="2795901"/>
                </a:lnTo>
                <a:lnTo>
                  <a:pt x="1161323" y="2795590"/>
                </a:lnTo>
                <a:cubicBezTo>
                  <a:pt x="1161839" y="2794042"/>
                  <a:pt x="1162459" y="2792338"/>
                  <a:pt x="1164214" y="2792338"/>
                </a:cubicBezTo>
                <a:cubicBezTo>
                  <a:pt x="1164730" y="2792183"/>
                  <a:pt x="1165453" y="2792338"/>
                  <a:pt x="1166279" y="2792648"/>
                </a:cubicBezTo>
                <a:cubicBezTo>
                  <a:pt x="1166279" y="2792648"/>
                  <a:pt x="1166383" y="2792648"/>
                  <a:pt x="1166692" y="2793422"/>
                </a:cubicBezTo>
                <a:lnTo>
                  <a:pt x="1167415" y="2794816"/>
                </a:lnTo>
                <a:lnTo>
                  <a:pt x="1170616" y="2789085"/>
                </a:lnTo>
                <a:cubicBezTo>
                  <a:pt x="1173301" y="2786142"/>
                  <a:pt x="1176915" y="2783354"/>
                  <a:pt x="1181871" y="2781495"/>
                </a:cubicBezTo>
                <a:cubicBezTo>
                  <a:pt x="1184556" y="2782734"/>
                  <a:pt x="1186001" y="2784438"/>
                  <a:pt x="1186414" y="2786452"/>
                </a:cubicBezTo>
                <a:lnTo>
                  <a:pt x="1185898" y="2789240"/>
                </a:lnTo>
                <a:lnTo>
                  <a:pt x="1187240" y="2788930"/>
                </a:lnTo>
                <a:lnTo>
                  <a:pt x="1186931" y="2782579"/>
                </a:lnTo>
                <a:lnTo>
                  <a:pt x="1188789" y="2774370"/>
                </a:lnTo>
                <a:lnTo>
                  <a:pt x="1184349" y="2772976"/>
                </a:lnTo>
                <a:cubicBezTo>
                  <a:pt x="1182800" y="2771736"/>
                  <a:pt x="1181561" y="2769568"/>
                  <a:pt x="1180941" y="2766625"/>
                </a:cubicBezTo>
                <a:lnTo>
                  <a:pt x="1186827" y="2763992"/>
                </a:lnTo>
                <a:lnTo>
                  <a:pt x="1184762" y="2763837"/>
                </a:lnTo>
                <a:cubicBezTo>
                  <a:pt x="1185795" y="2761668"/>
                  <a:pt x="1180838" y="2758725"/>
                  <a:pt x="1182284" y="2755627"/>
                </a:cubicBezTo>
                <a:cubicBezTo>
                  <a:pt x="1184762" y="2748192"/>
                  <a:pt x="1187137" y="2746798"/>
                  <a:pt x="1190958" y="2746798"/>
                </a:cubicBezTo>
                <a:lnTo>
                  <a:pt x="1192300" y="2746953"/>
                </a:lnTo>
                <a:lnTo>
                  <a:pt x="1192300" y="2746643"/>
                </a:lnTo>
                <a:lnTo>
                  <a:pt x="1192094" y="2744940"/>
                </a:lnTo>
                <a:lnTo>
                  <a:pt x="1191164" y="2746024"/>
                </a:lnTo>
                <a:lnTo>
                  <a:pt x="1189615" y="2743700"/>
                </a:lnTo>
                <a:lnTo>
                  <a:pt x="1187447" y="2741687"/>
                </a:lnTo>
                <a:lnTo>
                  <a:pt x="1187240" y="2740293"/>
                </a:lnTo>
                <a:lnTo>
                  <a:pt x="1183523" y="2735026"/>
                </a:lnTo>
                <a:lnTo>
                  <a:pt x="1182594" y="2731309"/>
                </a:lnTo>
                <a:lnTo>
                  <a:pt x="1182491" y="2731309"/>
                </a:lnTo>
                <a:cubicBezTo>
                  <a:pt x="1181251" y="2732083"/>
                  <a:pt x="1179702" y="2732548"/>
                  <a:pt x="1177844" y="2732703"/>
                </a:cubicBezTo>
                <a:cubicBezTo>
                  <a:pt x="1177947" y="2731464"/>
                  <a:pt x="1176811" y="2731464"/>
                  <a:pt x="1175572" y="2731309"/>
                </a:cubicBezTo>
                <a:cubicBezTo>
                  <a:pt x="1174540" y="2729760"/>
                  <a:pt x="1174540" y="2728056"/>
                  <a:pt x="1175056" y="2726043"/>
                </a:cubicBezTo>
                <a:cubicBezTo>
                  <a:pt x="1175572" y="2724183"/>
                  <a:pt x="1176605" y="2722325"/>
                  <a:pt x="1178051" y="2720621"/>
                </a:cubicBezTo>
                <a:lnTo>
                  <a:pt x="1181251" y="2718142"/>
                </a:lnTo>
                <a:lnTo>
                  <a:pt x="1181355" y="2716284"/>
                </a:lnTo>
                <a:lnTo>
                  <a:pt x="1184349" y="2717058"/>
                </a:lnTo>
                <a:lnTo>
                  <a:pt x="1187137" y="2717213"/>
                </a:lnTo>
                <a:cubicBezTo>
                  <a:pt x="1187860" y="2717832"/>
                  <a:pt x="1188376" y="2718607"/>
                  <a:pt x="1188892" y="2719846"/>
                </a:cubicBezTo>
                <a:lnTo>
                  <a:pt x="1188479" y="2720776"/>
                </a:lnTo>
                <a:lnTo>
                  <a:pt x="1190028" y="2724183"/>
                </a:lnTo>
                <a:lnTo>
                  <a:pt x="1191577" y="2724958"/>
                </a:lnTo>
                <a:lnTo>
                  <a:pt x="1194365" y="2723563"/>
                </a:lnTo>
                <a:lnTo>
                  <a:pt x="1195707" y="2722170"/>
                </a:lnTo>
                <a:lnTo>
                  <a:pt x="1195191" y="2720156"/>
                </a:lnTo>
                <a:cubicBezTo>
                  <a:pt x="1195914" y="2717368"/>
                  <a:pt x="1194158" y="2715199"/>
                  <a:pt x="1194881" y="2712411"/>
                </a:cubicBezTo>
                <a:cubicBezTo>
                  <a:pt x="1194881" y="2712411"/>
                  <a:pt x="1194881" y="2712411"/>
                  <a:pt x="1196017" y="2713031"/>
                </a:cubicBezTo>
                <a:cubicBezTo>
                  <a:pt x="1196017" y="2715199"/>
                  <a:pt x="1196740" y="2717213"/>
                  <a:pt x="1197463" y="2719072"/>
                </a:cubicBezTo>
                <a:lnTo>
                  <a:pt x="1197669" y="2720311"/>
                </a:lnTo>
                <a:lnTo>
                  <a:pt x="1199218" y="2718917"/>
                </a:lnTo>
                <a:cubicBezTo>
                  <a:pt x="1202212" y="2715510"/>
                  <a:pt x="1205104" y="2712101"/>
                  <a:pt x="1209854" y="2710552"/>
                </a:cubicBezTo>
                <a:lnTo>
                  <a:pt x="1213984" y="2709778"/>
                </a:lnTo>
                <a:lnTo>
                  <a:pt x="1211196" y="2706680"/>
                </a:lnTo>
                <a:cubicBezTo>
                  <a:pt x="1210267" y="2705441"/>
                  <a:pt x="1209337" y="2704511"/>
                  <a:pt x="1208408" y="2703582"/>
                </a:cubicBezTo>
                <a:lnTo>
                  <a:pt x="1203761" y="2697696"/>
                </a:lnTo>
                <a:lnTo>
                  <a:pt x="1201386" y="2696767"/>
                </a:lnTo>
                <a:lnTo>
                  <a:pt x="1200973" y="2696302"/>
                </a:lnTo>
                <a:lnTo>
                  <a:pt x="1200044" y="2696302"/>
                </a:lnTo>
                <a:cubicBezTo>
                  <a:pt x="1200044" y="2696302"/>
                  <a:pt x="1199941" y="2696302"/>
                  <a:pt x="1199734" y="2695528"/>
                </a:cubicBezTo>
                <a:lnTo>
                  <a:pt x="1200560" y="2695682"/>
                </a:lnTo>
                <a:lnTo>
                  <a:pt x="1199838" y="2694753"/>
                </a:lnTo>
                <a:cubicBezTo>
                  <a:pt x="1199218" y="2692430"/>
                  <a:pt x="1200664" y="2689951"/>
                  <a:pt x="1203348" y="2689022"/>
                </a:cubicBezTo>
                <a:cubicBezTo>
                  <a:pt x="1204794" y="2688557"/>
                  <a:pt x="1206756" y="2688402"/>
                  <a:pt x="1208821" y="2689177"/>
                </a:cubicBezTo>
                <a:cubicBezTo>
                  <a:pt x="1209750" y="2691035"/>
                  <a:pt x="1209028" y="2694908"/>
                  <a:pt x="1207582" y="2697232"/>
                </a:cubicBezTo>
                <a:lnTo>
                  <a:pt x="1207375" y="2697386"/>
                </a:lnTo>
                <a:lnTo>
                  <a:pt x="1207478" y="2697386"/>
                </a:lnTo>
                <a:cubicBezTo>
                  <a:pt x="1210267" y="2699245"/>
                  <a:pt x="1213674" y="2703273"/>
                  <a:pt x="1213364" y="2703892"/>
                </a:cubicBezTo>
                <a:cubicBezTo>
                  <a:pt x="1214087" y="2704357"/>
                  <a:pt x="1213674" y="2704977"/>
                  <a:pt x="1214500" y="2705441"/>
                </a:cubicBezTo>
                <a:cubicBezTo>
                  <a:pt x="1214500" y="2705441"/>
                  <a:pt x="1215223" y="2706061"/>
                  <a:pt x="1215532" y="2707145"/>
                </a:cubicBezTo>
                <a:cubicBezTo>
                  <a:pt x="1215842" y="2708384"/>
                  <a:pt x="1216152" y="2709623"/>
                  <a:pt x="1214500" y="2710552"/>
                </a:cubicBezTo>
                <a:lnTo>
                  <a:pt x="1214397" y="2710243"/>
                </a:lnTo>
                <a:lnTo>
                  <a:pt x="1214087" y="2713341"/>
                </a:lnTo>
                <a:cubicBezTo>
                  <a:pt x="1213570" y="2715199"/>
                  <a:pt x="1212331" y="2717368"/>
                  <a:pt x="1210886" y="2719227"/>
                </a:cubicBezTo>
                <a:lnTo>
                  <a:pt x="1206033" y="2723874"/>
                </a:lnTo>
                <a:lnTo>
                  <a:pt x="1205930" y="2724648"/>
                </a:lnTo>
                <a:lnTo>
                  <a:pt x="1202626" y="2728056"/>
                </a:lnTo>
                <a:lnTo>
                  <a:pt x="1202832" y="2728056"/>
                </a:lnTo>
                <a:cubicBezTo>
                  <a:pt x="1206136" y="2728830"/>
                  <a:pt x="1209854" y="2730069"/>
                  <a:pt x="1211402" y="2730534"/>
                </a:cubicBezTo>
                <a:cubicBezTo>
                  <a:pt x="1211712" y="2731309"/>
                  <a:pt x="1211712" y="2731309"/>
                  <a:pt x="1211712" y="2731309"/>
                </a:cubicBezTo>
                <a:cubicBezTo>
                  <a:pt x="1211712" y="2732238"/>
                  <a:pt x="1211196" y="2732703"/>
                  <a:pt x="1210267" y="2732703"/>
                </a:cubicBezTo>
                <a:cubicBezTo>
                  <a:pt x="1209337" y="2732703"/>
                  <a:pt x="1208098" y="2732393"/>
                  <a:pt x="1206549" y="2731928"/>
                </a:cubicBezTo>
                <a:cubicBezTo>
                  <a:pt x="1205000" y="2731464"/>
                  <a:pt x="1203245" y="2730689"/>
                  <a:pt x="1201799" y="2729914"/>
                </a:cubicBezTo>
                <a:lnTo>
                  <a:pt x="1201076" y="2729605"/>
                </a:lnTo>
                <a:lnTo>
                  <a:pt x="1194158" y="2735800"/>
                </a:lnTo>
                <a:lnTo>
                  <a:pt x="1194262" y="2737969"/>
                </a:lnTo>
                <a:lnTo>
                  <a:pt x="1194571" y="2737969"/>
                </a:lnTo>
                <a:cubicBezTo>
                  <a:pt x="1196430" y="2739208"/>
                  <a:pt x="1197360" y="2740757"/>
                  <a:pt x="1197772" y="2742616"/>
                </a:cubicBezTo>
                <a:lnTo>
                  <a:pt x="1198186" y="2745249"/>
                </a:lnTo>
                <a:lnTo>
                  <a:pt x="1198289" y="2745094"/>
                </a:lnTo>
                <a:cubicBezTo>
                  <a:pt x="1198702" y="2744785"/>
                  <a:pt x="1199115" y="2744630"/>
                  <a:pt x="1199941" y="2744940"/>
                </a:cubicBezTo>
                <a:cubicBezTo>
                  <a:pt x="1202419" y="2745869"/>
                  <a:pt x="1203865" y="2747728"/>
                  <a:pt x="1204794" y="2749896"/>
                </a:cubicBezTo>
                <a:lnTo>
                  <a:pt x="1205620" y="2753768"/>
                </a:lnTo>
                <a:lnTo>
                  <a:pt x="1212744" y="2751445"/>
                </a:lnTo>
                <a:cubicBezTo>
                  <a:pt x="1218321" y="2750516"/>
                  <a:pt x="1224309" y="2750206"/>
                  <a:pt x="1231021" y="2748037"/>
                </a:cubicBezTo>
                <a:cubicBezTo>
                  <a:pt x="1235874" y="2757176"/>
                  <a:pt x="1242379" y="2755472"/>
                  <a:pt x="1248161" y="2757176"/>
                </a:cubicBezTo>
                <a:cubicBezTo>
                  <a:pt x="1248161" y="2764766"/>
                  <a:pt x="1254254" y="2772356"/>
                  <a:pt x="1256835" y="2780411"/>
                </a:cubicBezTo>
                <a:cubicBezTo>
                  <a:pt x="1253944" y="2785212"/>
                  <a:pt x="1251982" y="2789704"/>
                  <a:pt x="1250020" y="2794352"/>
                </a:cubicBezTo>
                <a:lnTo>
                  <a:pt x="1247335" y="2799928"/>
                </a:lnTo>
                <a:lnTo>
                  <a:pt x="1250949" y="2802406"/>
                </a:lnTo>
                <a:cubicBezTo>
                  <a:pt x="1250124" y="2803800"/>
                  <a:pt x="1249194" y="2804420"/>
                  <a:pt x="1248058" y="2804420"/>
                </a:cubicBezTo>
                <a:lnTo>
                  <a:pt x="1245683" y="2803491"/>
                </a:lnTo>
                <a:lnTo>
                  <a:pt x="1243308" y="2808447"/>
                </a:lnTo>
                <a:lnTo>
                  <a:pt x="1241346" y="2809066"/>
                </a:lnTo>
                <a:lnTo>
                  <a:pt x="1247542" y="2809841"/>
                </a:lnTo>
                <a:cubicBezTo>
                  <a:pt x="1250536" y="2809996"/>
                  <a:pt x="1253221" y="2810925"/>
                  <a:pt x="1255905" y="2811854"/>
                </a:cubicBezTo>
                <a:cubicBezTo>
                  <a:pt x="1258694" y="2812784"/>
                  <a:pt x="1261172" y="2814488"/>
                  <a:pt x="1263650" y="2816037"/>
                </a:cubicBezTo>
                <a:lnTo>
                  <a:pt x="1265095" y="2815882"/>
                </a:lnTo>
                <a:lnTo>
                  <a:pt x="1261998" y="2814643"/>
                </a:lnTo>
                <a:cubicBezTo>
                  <a:pt x="1259313" y="2812784"/>
                  <a:pt x="1257558" y="2810306"/>
                  <a:pt x="1257351" y="2807363"/>
                </a:cubicBezTo>
                <a:cubicBezTo>
                  <a:pt x="1262824" y="2810770"/>
                  <a:pt x="1268296" y="2810615"/>
                  <a:pt x="1273769" y="2810925"/>
                </a:cubicBezTo>
                <a:lnTo>
                  <a:pt x="1274182" y="2810925"/>
                </a:lnTo>
                <a:lnTo>
                  <a:pt x="1278106" y="2808602"/>
                </a:lnTo>
                <a:cubicBezTo>
                  <a:pt x="1279551" y="2808137"/>
                  <a:pt x="1280791" y="2807982"/>
                  <a:pt x="1282030" y="2808292"/>
                </a:cubicBezTo>
                <a:lnTo>
                  <a:pt x="1282442" y="2808602"/>
                </a:lnTo>
                <a:lnTo>
                  <a:pt x="1282236" y="2807827"/>
                </a:lnTo>
                <a:cubicBezTo>
                  <a:pt x="1281926" y="2807208"/>
                  <a:pt x="1281616" y="2806588"/>
                  <a:pt x="1281823" y="2806123"/>
                </a:cubicBezTo>
                <a:cubicBezTo>
                  <a:pt x="1281823" y="2806123"/>
                  <a:pt x="1283785" y="2804420"/>
                  <a:pt x="1283785" y="2804420"/>
                </a:cubicBezTo>
                <a:cubicBezTo>
                  <a:pt x="1285024" y="2804884"/>
                  <a:pt x="1285024" y="2804884"/>
                  <a:pt x="1284198" y="2805194"/>
                </a:cubicBezTo>
                <a:cubicBezTo>
                  <a:pt x="1285747" y="2806433"/>
                  <a:pt x="1286160" y="2807208"/>
                  <a:pt x="1286573" y="2807982"/>
                </a:cubicBezTo>
                <a:lnTo>
                  <a:pt x="1283475" y="2809222"/>
                </a:lnTo>
                <a:lnTo>
                  <a:pt x="1286366" y="2811235"/>
                </a:lnTo>
                <a:lnTo>
                  <a:pt x="1287605" y="2814798"/>
                </a:lnTo>
                <a:lnTo>
                  <a:pt x="1290187" y="2816192"/>
                </a:lnTo>
                <a:lnTo>
                  <a:pt x="1288535" y="2817121"/>
                </a:lnTo>
                <a:lnTo>
                  <a:pt x="1290909" y="2818050"/>
                </a:lnTo>
                <a:cubicBezTo>
                  <a:pt x="1295659" y="2819754"/>
                  <a:pt x="1299583" y="2821768"/>
                  <a:pt x="1304952" y="2821458"/>
                </a:cubicBezTo>
                <a:cubicBezTo>
                  <a:pt x="1305056" y="2823627"/>
                  <a:pt x="1305882" y="2825331"/>
                  <a:pt x="1307534" y="2826725"/>
                </a:cubicBezTo>
                <a:lnTo>
                  <a:pt x="1308876" y="2827499"/>
                </a:lnTo>
                <a:lnTo>
                  <a:pt x="1309908" y="2826415"/>
                </a:lnTo>
                <a:cubicBezTo>
                  <a:pt x="1311767" y="2825331"/>
                  <a:pt x="1313729" y="2825021"/>
                  <a:pt x="1315691" y="2825176"/>
                </a:cubicBezTo>
                <a:lnTo>
                  <a:pt x="1318582" y="2826105"/>
                </a:lnTo>
                <a:lnTo>
                  <a:pt x="1318582" y="2824401"/>
                </a:lnTo>
                <a:lnTo>
                  <a:pt x="1318169" y="2824247"/>
                </a:lnTo>
                <a:cubicBezTo>
                  <a:pt x="1317343" y="2821613"/>
                  <a:pt x="1316930" y="2819289"/>
                  <a:pt x="1316930" y="2816811"/>
                </a:cubicBezTo>
                <a:cubicBezTo>
                  <a:pt x="1316827" y="2814488"/>
                  <a:pt x="1317136" y="2812319"/>
                  <a:pt x="1317653" y="2810151"/>
                </a:cubicBezTo>
                <a:lnTo>
                  <a:pt x="1319202" y="2806278"/>
                </a:lnTo>
                <a:lnTo>
                  <a:pt x="1321060" y="2797759"/>
                </a:lnTo>
                <a:lnTo>
                  <a:pt x="1323848" y="2792493"/>
                </a:lnTo>
                <a:lnTo>
                  <a:pt x="1323022" y="2791099"/>
                </a:lnTo>
                <a:cubicBezTo>
                  <a:pt x="1322299" y="2789395"/>
                  <a:pt x="1321886" y="2787536"/>
                  <a:pt x="1321886" y="2785833"/>
                </a:cubicBezTo>
                <a:cubicBezTo>
                  <a:pt x="1321886" y="2783664"/>
                  <a:pt x="1322506" y="2781650"/>
                  <a:pt x="1324158" y="2780256"/>
                </a:cubicBezTo>
                <a:cubicBezTo>
                  <a:pt x="1327256" y="2785833"/>
                  <a:pt x="1329424" y="2791254"/>
                  <a:pt x="1336033" y="2797294"/>
                </a:cubicBezTo>
                <a:cubicBezTo>
                  <a:pt x="1335103" y="2798069"/>
                  <a:pt x="1335309" y="2798843"/>
                  <a:pt x="1335309" y="2799773"/>
                </a:cubicBezTo>
                <a:lnTo>
                  <a:pt x="1335103" y="2800702"/>
                </a:lnTo>
                <a:lnTo>
                  <a:pt x="1336445" y="2802716"/>
                </a:lnTo>
                <a:cubicBezTo>
                  <a:pt x="1336859" y="2804729"/>
                  <a:pt x="1336755" y="2807053"/>
                  <a:pt x="1336549" y="2809686"/>
                </a:cubicBezTo>
                <a:lnTo>
                  <a:pt x="1336549" y="2809841"/>
                </a:lnTo>
                <a:lnTo>
                  <a:pt x="1338098" y="2808757"/>
                </a:lnTo>
                <a:cubicBezTo>
                  <a:pt x="1339337" y="2811235"/>
                  <a:pt x="1339440" y="2813094"/>
                  <a:pt x="1338511" y="2814488"/>
                </a:cubicBezTo>
                <a:lnTo>
                  <a:pt x="1335929" y="2816037"/>
                </a:lnTo>
                <a:lnTo>
                  <a:pt x="1336962" y="2818050"/>
                </a:lnTo>
                <a:cubicBezTo>
                  <a:pt x="1337375" y="2820219"/>
                  <a:pt x="1336859" y="2822852"/>
                  <a:pt x="1335000" y="2825486"/>
                </a:cubicBezTo>
                <a:lnTo>
                  <a:pt x="1333348" y="2825331"/>
                </a:lnTo>
                <a:lnTo>
                  <a:pt x="1330043" y="2826105"/>
                </a:lnTo>
                <a:cubicBezTo>
                  <a:pt x="1328701" y="2826260"/>
                  <a:pt x="1327462" y="2826415"/>
                  <a:pt x="1326326" y="2826415"/>
                </a:cubicBezTo>
                <a:lnTo>
                  <a:pt x="1323538" y="2825640"/>
                </a:lnTo>
                <a:lnTo>
                  <a:pt x="1321886" y="2827654"/>
                </a:lnTo>
                <a:lnTo>
                  <a:pt x="1326223" y="2831681"/>
                </a:lnTo>
                <a:cubicBezTo>
                  <a:pt x="1327565" y="2833386"/>
                  <a:pt x="1328701" y="2835554"/>
                  <a:pt x="1329218" y="2837723"/>
                </a:cubicBezTo>
                <a:cubicBezTo>
                  <a:pt x="1329837" y="2839891"/>
                  <a:pt x="1329966" y="2842176"/>
                  <a:pt x="1329437" y="2844422"/>
                </a:cubicBezTo>
                <a:lnTo>
                  <a:pt x="1325716" y="2850873"/>
                </a:lnTo>
                <a:lnTo>
                  <a:pt x="1325603" y="2850889"/>
                </a:lnTo>
                <a:lnTo>
                  <a:pt x="1325707" y="2850889"/>
                </a:lnTo>
                <a:lnTo>
                  <a:pt x="1325716" y="2850873"/>
                </a:lnTo>
                <a:lnTo>
                  <a:pt x="1326739" y="2850734"/>
                </a:lnTo>
                <a:lnTo>
                  <a:pt x="1327978" y="2851508"/>
                </a:lnTo>
                <a:lnTo>
                  <a:pt x="1327978" y="2851353"/>
                </a:lnTo>
                <a:cubicBezTo>
                  <a:pt x="1332625" y="2849185"/>
                  <a:pt x="1338201" y="2847171"/>
                  <a:pt x="1342228" y="2848255"/>
                </a:cubicBezTo>
                <a:cubicBezTo>
                  <a:pt x="1343673" y="2848720"/>
                  <a:pt x="1344809" y="2849494"/>
                  <a:pt x="1345738" y="2850579"/>
                </a:cubicBezTo>
                <a:cubicBezTo>
                  <a:pt x="1347081" y="2851973"/>
                  <a:pt x="1347184" y="2853212"/>
                  <a:pt x="1346358" y="2854451"/>
                </a:cubicBezTo>
                <a:lnTo>
                  <a:pt x="1342641" y="2857239"/>
                </a:lnTo>
                <a:lnTo>
                  <a:pt x="1345945" y="2859408"/>
                </a:lnTo>
                <a:cubicBezTo>
                  <a:pt x="1347804" y="2860802"/>
                  <a:pt x="1350075" y="2862971"/>
                  <a:pt x="1351934" y="2864365"/>
                </a:cubicBezTo>
                <a:cubicBezTo>
                  <a:pt x="1354515" y="2865913"/>
                  <a:pt x="1356580" y="2866533"/>
                  <a:pt x="1357406" y="2866223"/>
                </a:cubicBezTo>
                <a:cubicBezTo>
                  <a:pt x="1357200" y="2864674"/>
                  <a:pt x="1356684" y="2863745"/>
                  <a:pt x="1357200" y="2861731"/>
                </a:cubicBezTo>
                <a:cubicBezTo>
                  <a:pt x="1358852" y="2862661"/>
                  <a:pt x="1358852" y="2864055"/>
                  <a:pt x="1359059" y="2865449"/>
                </a:cubicBezTo>
                <a:lnTo>
                  <a:pt x="1360504" y="2866688"/>
                </a:lnTo>
                <a:lnTo>
                  <a:pt x="1359678" y="2864674"/>
                </a:lnTo>
                <a:cubicBezTo>
                  <a:pt x="1359471" y="2862815"/>
                  <a:pt x="1360194" y="2860957"/>
                  <a:pt x="1362879" y="2858478"/>
                </a:cubicBezTo>
                <a:cubicBezTo>
                  <a:pt x="1367216" y="2856930"/>
                  <a:pt x="1372482" y="2857394"/>
                  <a:pt x="1376199" y="2857084"/>
                </a:cubicBezTo>
                <a:cubicBezTo>
                  <a:pt x="1383221" y="2853057"/>
                  <a:pt x="1383427" y="2834005"/>
                  <a:pt x="1381465" y="2829668"/>
                </a:cubicBezTo>
                <a:cubicBezTo>
                  <a:pt x="1374960" y="2818360"/>
                  <a:pt x="1367423" y="2823782"/>
                  <a:pt x="1363912" y="2818825"/>
                </a:cubicBezTo>
                <a:cubicBezTo>
                  <a:pt x="1362982" y="2817586"/>
                  <a:pt x="1362672" y="2816346"/>
                  <a:pt x="1362672" y="2815262"/>
                </a:cubicBezTo>
                <a:lnTo>
                  <a:pt x="1362776" y="2814953"/>
                </a:lnTo>
                <a:lnTo>
                  <a:pt x="1359988" y="2815262"/>
                </a:lnTo>
                <a:lnTo>
                  <a:pt x="1353999" y="2814178"/>
                </a:lnTo>
                <a:lnTo>
                  <a:pt x="1354515" y="2816811"/>
                </a:lnTo>
                <a:cubicBezTo>
                  <a:pt x="1350282" y="2824556"/>
                  <a:pt x="1345222" y="2823317"/>
                  <a:pt x="1344809" y="2824401"/>
                </a:cubicBezTo>
                <a:cubicBezTo>
                  <a:pt x="1341299" y="2822697"/>
                  <a:pt x="1342331" y="2820529"/>
                  <a:pt x="1342641" y="2816811"/>
                </a:cubicBezTo>
                <a:cubicBezTo>
                  <a:pt x="1343157" y="2817121"/>
                  <a:pt x="1343777" y="2816502"/>
                  <a:pt x="1344293" y="2815572"/>
                </a:cubicBezTo>
                <a:lnTo>
                  <a:pt x="1345016" y="2814333"/>
                </a:lnTo>
                <a:lnTo>
                  <a:pt x="1343364" y="2812629"/>
                </a:lnTo>
                <a:cubicBezTo>
                  <a:pt x="1342434" y="2812010"/>
                  <a:pt x="1341196" y="2811390"/>
                  <a:pt x="1339543" y="2810770"/>
                </a:cubicBezTo>
                <a:cubicBezTo>
                  <a:pt x="1340886" y="2809686"/>
                  <a:pt x="1342434" y="2808757"/>
                  <a:pt x="1343983" y="2808137"/>
                </a:cubicBezTo>
                <a:cubicBezTo>
                  <a:pt x="1345635" y="2807518"/>
                  <a:pt x="1347288" y="2807208"/>
                  <a:pt x="1349043" y="2807208"/>
                </a:cubicBezTo>
                <a:lnTo>
                  <a:pt x="1349353" y="2812629"/>
                </a:lnTo>
                <a:lnTo>
                  <a:pt x="1351211" y="2812165"/>
                </a:lnTo>
                <a:cubicBezTo>
                  <a:pt x="1351934" y="2812010"/>
                  <a:pt x="1352760" y="2812165"/>
                  <a:pt x="1353586" y="2812629"/>
                </a:cubicBezTo>
                <a:lnTo>
                  <a:pt x="1353896" y="2813868"/>
                </a:lnTo>
                <a:lnTo>
                  <a:pt x="1357716" y="2809686"/>
                </a:lnTo>
                <a:cubicBezTo>
                  <a:pt x="1358956" y="2808912"/>
                  <a:pt x="1360194" y="2808447"/>
                  <a:pt x="1361537" y="2808137"/>
                </a:cubicBezTo>
                <a:cubicBezTo>
                  <a:pt x="1363602" y="2807672"/>
                  <a:pt x="1365667" y="2807518"/>
                  <a:pt x="1367938" y="2807672"/>
                </a:cubicBezTo>
                <a:lnTo>
                  <a:pt x="1368455" y="2807672"/>
                </a:lnTo>
                <a:lnTo>
                  <a:pt x="1369591" y="2805349"/>
                </a:lnTo>
                <a:cubicBezTo>
                  <a:pt x="1370417" y="2805814"/>
                  <a:pt x="1371139" y="2806743"/>
                  <a:pt x="1371656" y="2807982"/>
                </a:cubicBezTo>
                <a:lnTo>
                  <a:pt x="1374754" y="2808292"/>
                </a:lnTo>
                <a:lnTo>
                  <a:pt x="1373824" y="2810461"/>
                </a:lnTo>
                <a:lnTo>
                  <a:pt x="1378884" y="2812939"/>
                </a:lnTo>
                <a:lnTo>
                  <a:pt x="1380123" y="2812629"/>
                </a:lnTo>
                <a:lnTo>
                  <a:pt x="1380949" y="2810615"/>
                </a:lnTo>
                <a:cubicBezTo>
                  <a:pt x="1381775" y="2809841"/>
                  <a:pt x="1382911" y="2809376"/>
                  <a:pt x="1384460" y="2809066"/>
                </a:cubicBezTo>
                <a:lnTo>
                  <a:pt x="1385079" y="2810770"/>
                </a:lnTo>
                <a:lnTo>
                  <a:pt x="1385802" y="2810461"/>
                </a:lnTo>
                <a:lnTo>
                  <a:pt x="1385492" y="2809686"/>
                </a:lnTo>
                <a:cubicBezTo>
                  <a:pt x="1384563" y="2807363"/>
                  <a:pt x="1383943" y="2805194"/>
                  <a:pt x="1384253" y="2803181"/>
                </a:cubicBezTo>
                <a:cubicBezTo>
                  <a:pt x="1384666" y="2803955"/>
                  <a:pt x="1385699" y="2806433"/>
                  <a:pt x="1386628" y="2809222"/>
                </a:cubicBezTo>
                <a:lnTo>
                  <a:pt x="1386834" y="2809996"/>
                </a:lnTo>
                <a:lnTo>
                  <a:pt x="1387454" y="2809531"/>
                </a:lnTo>
                <a:cubicBezTo>
                  <a:pt x="1386112" y="2803800"/>
                  <a:pt x="1405834" y="2785833"/>
                  <a:pt x="1408002" y="2785057"/>
                </a:cubicBezTo>
                <a:cubicBezTo>
                  <a:pt x="1410790" y="2782734"/>
                  <a:pt x="1412132" y="2774525"/>
                  <a:pt x="1410170" y="2770187"/>
                </a:cubicBezTo>
                <a:cubicBezTo>
                  <a:pt x="1407589" y="2767400"/>
                  <a:pt x="1405111" y="2764612"/>
                  <a:pt x="1403149" y="2760274"/>
                </a:cubicBezTo>
                <a:cubicBezTo>
                  <a:pt x="1400568" y="2757486"/>
                  <a:pt x="1400155" y="2753768"/>
                  <a:pt x="1402323" y="2752994"/>
                </a:cubicBezTo>
                <a:cubicBezTo>
                  <a:pt x="1402942" y="2751445"/>
                  <a:pt x="1405007" y="2750671"/>
                  <a:pt x="1408105" y="2751910"/>
                </a:cubicBezTo>
                <a:lnTo>
                  <a:pt x="1410583" y="2751445"/>
                </a:lnTo>
                <a:lnTo>
                  <a:pt x="1408105" y="2748037"/>
                </a:lnTo>
                <a:cubicBezTo>
                  <a:pt x="1407589" y="2746798"/>
                  <a:pt x="1407692" y="2745714"/>
                  <a:pt x="1408002" y="2744630"/>
                </a:cubicBezTo>
                <a:cubicBezTo>
                  <a:pt x="1408725" y="2742616"/>
                  <a:pt x="1410790" y="2741377"/>
                  <a:pt x="1412959" y="2740912"/>
                </a:cubicBezTo>
                <a:cubicBezTo>
                  <a:pt x="1414404" y="2740757"/>
                  <a:pt x="1415953" y="2740912"/>
                  <a:pt x="1417192" y="2741687"/>
                </a:cubicBezTo>
                <a:lnTo>
                  <a:pt x="1419819" y="2747903"/>
                </a:lnTo>
                <a:lnTo>
                  <a:pt x="1419609" y="2748192"/>
                </a:lnTo>
                <a:lnTo>
                  <a:pt x="1415333" y="2750671"/>
                </a:lnTo>
                <a:lnTo>
                  <a:pt x="1416882" y="2750671"/>
                </a:lnTo>
                <a:cubicBezTo>
                  <a:pt x="1417398" y="2750671"/>
                  <a:pt x="1417811" y="2750671"/>
                  <a:pt x="1417811" y="2750671"/>
                </a:cubicBezTo>
                <a:lnTo>
                  <a:pt x="1419609" y="2748192"/>
                </a:lnTo>
                <a:lnTo>
                  <a:pt x="1419876" y="2748037"/>
                </a:lnTo>
                <a:lnTo>
                  <a:pt x="1419819" y="2747903"/>
                </a:lnTo>
                <a:lnTo>
                  <a:pt x="1421632" y="2745404"/>
                </a:lnTo>
                <a:cubicBezTo>
                  <a:pt x="1428653" y="2741377"/>
                  <a:pt x="1435159" y="2752839"/>
                  <a:pt x="1437327" y="2751910"/>
                </a:cubicBezTo>
                <a:cubicBezTo>
                  <a:pt x="1438876" y="2751290"/>
                  <a:pt x="1441354" y="2746024"/>
                  <a:pt x="1444245" y="2742771"/>
                </a:cubicBezTo>
                <a:lnTo>
                  <a:pt x="1447239" y="2740447"/>
                </a:lnTo>
                <a:lnTo>
                  <a:pt x="1444658" y="2738434"/>
                </a:lnTo>
                <a:cubicBezTo>
                  <a:pt x="1445381" y="2737504"/>
                  <a:pt x="1446310" y="2737040"/>
                  <a:pt x="1447342" y="2736730"/>
                </a:cubicBezTo>
                <a:cubicBezTo>
                  <a:pt x="1449098" y="2736110"/>
                  <a:pt x="1451266" y="2736265"/>
                  <a:pt x="1453538" y="2737195"/>
                </a:cubicBezTo>
                <a:lnTo>
                  <a:pt x="1453951" y="2737350"/>
                </a:lnTo>
                <a:lnTo>
                  <a:pt x="1457668" y="2730689"/>
                </a:lnTo>
                <a:lnTo>
                  <a:pt x="1457152" y="2721860"/>
                </a:lnTo>
                <a:lnTo>
                  <a:pt x="1455500" y="2715819"/>
                </a:lnTo>
                <a:lnTo>
                  <a:pt x="1453848" y="2713650"/>
                </a:lnTo>
                <a:lnTo>
                  <a:pt x="1453228" y="2712876"/>
                </a:lnTo>
                <a:lnTo>
                  <a:pt x="1453641" y="2722170"/>
                </a:lnTo>
                <a:cubicBezTo>
                  <a:pt x="1453435" y="2725578"/>
                  <a:pt x="1452919" y="2728985"/>
                  <a:pt x="1452608" y="2732393"/>
                </a:cubicBezTo>
                <a:cubicBezTo>
                  <a:pt x="1446310" y="2730534"/>
                  <a:pt x="1437224" y="2719382"/>
                  <a:pt x="1436810" y="2707455"/>
                </a:cubicBezTo>
                <a:cubicBezTo>
                  <a:pt x="1436604" y="2703582"/>
                  <a:pt x="1437533" y="2699555"/>
                  <a:pt x="1439702" y="2695682"/>
                </a:cubicBezTo>
                <a:lnTo>
                  <a:pt x="1447652" y="2702033"/>
                </a:lnTo>
                <a:lnTo>
                  <a:pt x="1448169" y="2700794"/>
                </a:lnTo>
                <a:cubicBezTo>
                  <a:pt x="1448169" y="2700794"/>
                  <a:pt x="1448272" y="2700794"/>
                  <a:pt x="1441147" y="2690726"/>
                </a:cubicBezTo>
                <a:cubicBezTo>
                  <a:pt x="1440218" y="2688712"/>
                  <a:pt x="1440837" y="2687163"/>
                  <a:pt x="1440837" y="2687163"/>
                </a:cubicBezTo>
                <a:cubicBezTo>
                  <a:pt x="1440837" y="2687163"/>
                  <a:pt x="1440734" y="2687163"/>
                  <a:pt x="1443316" y="2689951"/>
                </a:cubicBezTo>
                <a:cubicBezTo>
                  <a:pt x="1443316" y="2689951"/>
                  <a:pt x="1444245" y="2692120"/>
                  <a:pt x="1445277" y="2694288"/>
                </a:cubicBezTo>
                <a:cubicBezTo>
                  <a:pt x="1445277" y="2694288"/>
                  <a:pt x="1446826" y="2694908"/>
                  <a:pt x="1448375" y="2695528"/>
                </a:cubicBezTo>
                <a:cubicBezTo>
                  <a:pt x="1449408" y="2697696"/>
                  <a:pt x="1446207" y="2696457"/>
                  <a:pt x="1448788" y="2699245"/>
                </a:cubicBezTo>
                <a:cubicBezTo>
                  <a:pt x="1448788" y="2699245"/>
                  <a:pt x="1459733" y="2703737"/>
                  <a:pt x="1458185" y="2703118"/>
                </a:cubicBezTo>
                <a:lnTo>
                  <a:pt x="1459320" y="2706990"/>
                </a:lnTo>
                <a:lnTo>
                  <a:pt x="1463038" y="2703118"/>
                </a:lnTo>
                <a:cubicBezTo>
                  <a:pt x="1460560" y="2690881"/>
                  <a:pt x="1457152" y="2701259"/>
                  <a:pt x="1451370" y="2697386"/>
                </a:cubicBezTo>
                <a:cubicBezTo>
                  <a:pt x="1451783" y="2691345"/>
                  <a:pt x="1450957" y="2684995"/>
                  <a:pt x="1449614" y="2678489"/>
                </a:cubicBezTo>
                <a:lnTo>
                  <a:pt x="1446207" y="2664239"/>
                </a:lnTo>
                <a:lnTo>
                  <a:pt x="1443109" y="2663619"/>
                </a:lnTo>
                <a:cubicBezTo>
                  <a:pt x="1443316" y="2662999"/>
                  <a:pt x="1443729" y="2662844"/>
                  <a:pt x="1444245" y="2662999"/>
                </a:cubicBezTo>
                <a:cubicBezTo>
                  <a:pt x="1444761" y="2662999"/>
                  <a:pt x="1445381" y="2663154"/>
                  <a:pt x="1446000" y="2663464"/>
                </a:cubicBezTo>
                <a:lnTo>
                  <a:pt x="1444761" y="2658197"/>
                </a:lnTo>
                <a:cubicBezTo>
                  <a:pt x="1443109" y="2651537"/>
                  <a:pt x="1441457" y="2644102"/>
                  <a:pt x="1440631" y="2636667"/>
                </a:cubicBezTo>
                <a:cubicBezTo>
                  <a:pt x="1439805" y="2632795"/>
                  <a:pt x="1439805" y="2629077"/>
                  <a:pt x="1439805" y="2625360"/>
                </a:cubicBezTo>
                <a:lnTo>
                  <a:pt x="1440837" y="2618234"/>
                </a:lnTo>
                <a:lnTo>
                  <a:pt x="1440321" y="2619163"/>
                </a:lnTo>
                <a:cubicBezTo>
                  <a:pt x="1439702" y="2619319"/>
                  <a:pt x="1438772" y="2619009"/>
                  <a:pt x="1437637" y="2618544"/>
                </a:cubicBezTo>
                <a:cubicBezTo>
                  <a:pt x="1437637" y="2617615"/>
                  <a:pt x="1437740" y="2616840"/>
                  <a:pt x="1438256" y="2616531"/>
                </a:cubicBezTo>
                <a:lnTo>
                  <a:pt x="1441147" y="2616220"/>
                </a:lnTo>
                <a:lnTo>
                  <a:pt x="1441457" y="2614052"/>
                </a:lnTo>
                <a:cubicBezTo>
                  <a:pt x="1439805" y="2605688"/>
                  <a:pt x="1437327" y="2614052"/>
                  <a:pt x="1434849" y="2609405"/>
                </a:cubicBezTo>
                <a:cubicBezTo>
                  <a:pt x="1432371" y="2596394"/>
                  <a:pt x="1433197" y="2586945"/>
                  <a:pt x="1433197" y="2579510"/>
                </a:cubicBezTo>
                <a:cubicBezTo>
                  <a:pt x="1433197" y="2572850"/>
                  <a:pt x="1434023" y="2567273"/>
                  <a:pt x="1431544" y="2560613"/>
                </a:cubicBezTo>
                <a:cubicBezTo>
                  <a:pt x="1436501" y="2558754"/>
                  <a:pt x="1438153" y="2554107"/>
                  <a:pt x="1437327" y="2543884"/>
                </a:cubicBezTo>
                <a:cubicBezTo>
                  <a:pt x="1438979" y="2543884"/>
                  <a:pt x="1438153" y="2548531"/>
                  <a:pt x="1438979" y="2551319"/>
                </a:cubicBezTo>
                <a:cubicBezTo>
                  <a:pt x="1443109" y="2552249"/>
                  <a:pt x="1442283" y="2545743"/>
                  <a:pt x="1443935" y="2543884"/>
                </a:cubicBezTo>
                <a:cubicBezTo>
                  <a:pt x="1442696" y="2541715"/>
                  <a:pt x="1440528" y="2543264"/>
                  <a:pt x="1440218" y="2539857"/>
                </a:cubicBezTo>
                <a:lnTo>
                  <a:pt x="1440425" y="2537378"/>
                </a:lnTo>
                <a:lnTo>
                  <a:pt x="1440115" y="2537378"/>
                </a:lnTo>
                <a:cubicBezTo>
                  <a:pt x="1438669" y="2535984"/>
                  <a:pt x="1437430" y="2534281"/>
                  <a:pt x="1437430" y="2532267"/>
                </a:cubicBezTo>
                <a:cubicBezTo>
                  <a:pt x="1437430" y="2530873"/>
                  <a:pt x="1437946" y="2529324"/>
                  <a:pt x="1439082" y="2527620"/>
                </a:cubicBezTo>
                <a:cubicBezTo>
                  <a:pt x="1440321" y="2527620"/>
                  <a:pt x="1441560" y="2527620"/>
                  <a:pt x="1442696" y="2527775"/>
                </a:cubicBezTo>
                <a:cubicBezTo>
                  <a:pt x="1442593" y="2530408"/>
                  <a:pt x="1443212" y="2532577"/>
                  <a:pt x="1443832" y="2534590"/>
                </a:cubicBezTo>
                <a:lnTo>
                  <a:pt x="1444968" y="2539702"/>
                </a:lnTo>
                <a:lnTo>
                  <a:pt x="1447239" y="2539237"/>
                </a:lnTo>
                <a:cubicBezTo>
                  <a:pt x="1449718" y="2549460"/>
                  <a:pt x="1443935" y="2557825"/>
                  <a:pt x="1453848" y="2557825"/>
                </a:cubicBezTo>
                <a:cubicBezTo>
                  <a:pt x="1447239" y="2563556"/>
                  <a:pt x="1448892" y="2570061"/>
                  <a:pt x="1452196" y="2576568"/>
                </a:cubicBezTo>
                <a:cubicBezTo>
                  <a:pt x="1454674" y="2583228"/>
                  <a:pt x="1458804" y="2591592"/>
                  <a:pt x="1456326" y="2601041"/>
                </a:cubicBezTo>
                <a:cubicBezTo>
                  <a:pt x="1462108" y="2599182"/>
                  <a:pt x="1461386" y="2593451"/>
                  <a:pt x="1458907" y="2587874"/>
                </a:cubicBezTo>
                <a:cubicBezTo>
                  <a:pt x="1457255" y="2582298"/>
                  <a:pt x="1455500" y="2576568"/>
                  <a:pt x="1460456" y="2574708"/>
                </a:cubicBezTo>
                <a:cubicBezTo>
                  <a:pt x="1459630" y="2566344"/>
                  <a:pt x="1453848" y="2563556"/>
                  <a:pt x="1457152" y="2555966"/>
                </a:cubicBezTo>
                <a:cubicBezTo>
                  <a:pt x="1460456" y="2555966"/>
                  <a:pt x="1457978" y="2563556"/>
                  <a:pt x="1460456" y="2565415"/>
                </a:cubicBezTo>
                <a:cubicBezTo>
                  <a:pt x="1464587" y="2561697"/>
                  <a:pt x="1461282" y="2548531"/>
                  <a:pt x="1460456" y="2543884"/>
                </a:cubicBezTo>
                <a:cubicBezTo>
                  <a:pt x="1458804" y="2543884"/>
                  <a:pt x="1459733" y="2546673"/>
                  <a:pt x="1458907" y="2548531"/>
                </a:cubicBezTo>
                <a:cubicBezTo>
                  <a:pt x="1458081" y="2545743"/>
                  <a:pt x="1456326" y="2527930"/>
                  <a:pt x="1460456" y="2534436"/>
                </a:cubicBezTo>
                <a:cubicBezTo>
                  <a:pt x="1459630" y="2529788"/>
                  <a:pt x="1458804" y="2525141"/>
                  <a:pt x="1456326" y="2522199"/>
                </a:cubicBezTo>
                <a:lnTo>
                  <a:pt x="1456842" y="2520495"/>
                </a:lnTo>
                <a:cubicBezTo>
                  <a:pt x="1452402" y="2515693"/>
                  <a:pt x="1447962" y="2509497"/>
                  <a:pt x="1447652" y="2503921"/>
                </a:cubicBezTo>
                <a:cubicBezTo>
                  <a:pt x="1447652" y="2502062"/>
                  <a:pt x="1447962" y="2500358"/>
                  <a:pt x="1448892" y="2498654"/>
                </a:cubicBezTo>
                <a:cubicBezTo>
                  <a:pt x="1449924" y="2496486"/>
                  <a:pt x="1451370" y="2496021"/>
                  <a:pt x="1453125" y="2496486"/>
                </a:cubicBezTo>
                <a:lnTo>
                  <a:pt x="1457668" y="2500049"/>
                </a:lnTo>
                <a:lnTo>
                  <a:pt x="1458907" y="2495092"/>
                </a:lnTo>
                <a:lnTo>
                  <a:pt x="1459217" y="2494008"/>
                </a:lnTo>
                <a:lnTo>
                  <a:pt x="1456842" y="2491994"/>
                </a:lnTo>
                <a:cubicBezTo>
                  <a:pt x="1454570" y="2489360"/>
                  <a:pt x="1453435" y="2486108"/>
                  <a:pt x="1454054" y="2482545"/>
                </a:cubicBezTo>
                <a:lnTo>
                  <a:pt x="1458081" y="2476349"/>
                </a:lnTo>
                <a:lnTo>
                  <a:pt x="1456016" y="2476504"/>
                </a:lnTo>
                <a:cubicBezTo>
                  <a:pt x="1454674" y="2476349"/>
                  <a:pt x="1453228" y="2475575"/>
                  <a:pt x="1451266" y="2474336"/>
                </a:cubicBezTo>
                <a:cubicBezTo>
                  <a:pt x="1449511" y="2472012"/>
                  <a:pt x="1448272" y="2469224"/>
                  <a:pt x="1447136" y="2466281"/>
                </a:cubicBezTo>
                <a:lnTo>
                  <a:pt x="1446103" y="2463028"/>
                </a:lnTo>
                <a:lnTo>
                  <a:pt x="1441147" y="2470463"/>
                </a:lnTo>
                <a:cubicBezTo>
                  <a:pt x="1439495" y="2470308"/>
                  <a:pt x="1438050" y="2469224"/>
                  <a:pt x="1436088" y="2466436"/>
                </a:cubicBezTo>
                <a:cubicBezTo>
                  <a:pt x="1441973" y="2463338"/>
                  <a:pt x="1438669" y="2460085"/>
                  <a:pt x="1439185" y="2457142"/>
                </a:cubicBezTo>
                <a:lnTo>
                  <a:pt x="1439805" y="2456523"/>
                </a:lnTo>
                <a:lnTo>
                  <a:pt x="1436810" y="2455439"/>
                </a:lnTo>
                <a:cubicBezTo>
                  <a:pt x="1430512" y="2454819"/>
                  <a:pt x="1422561" y="2456677"/>
                  <a:pt x="1417089" y="2459001"/>
                </a:cubicBezTo>
                <a:lnTo>
                  <a:pt x="1416159" y="2459466"/>
                </a:lnTo>
                <a:lnTo>
                  <a:pt x="1416985" y="2459930"/>
                </a:lnTo>
                <a:cubicBezTo>
                  <a:pt x="1418431" y="2461634"/>
                  <a:pt x="1418328" y="2462563"/>
                  <a:pt x="1419670" y="2465042"/>
                </a:cubicBezTo>
                <a:cubicBezTo>
                  <a:pt x="1418534" y="2466746"/>
                  <a:pt x="1418534" y="2466746"/>
                  <a:pt x="1417605" y="2466591"/>
                </a:cubicBezTo>
                <a:cubicBezTo>
                  <a:pt x="1418534" y="2466746"/>
                  <a:pt x="1418431" y="2467520"/>
                  <a:pt x="1419154" y="2468450"/>
                </a:cubicBezTo>
                <a:lnTo>
                  <a:pt x="1420806" y="2470618"/>
                </a:lnTo>
                <a:lnTo>
                  <a:pt x="1422871" y="2470773"/>
                </a:lnTo>
                <a:cubicBezTo>
                  <a:pt x="1423697" y="2470773"/>
                  <a:pt x="1424627" y="2471083"/>
                  <a:pt x="1425866" y="2472012"/>
                </a:cubicBezTo>
                <a:cubicBezTo>
                  <a:pt x="1424627" y="2474026"/>
                  <a:pt x="1423284" y="2475110"/>
                  <a:pt x="1422148" y="2477124"/>
                </a:cubicBezTo>
                <a:lnTo>
                  <a:pt x="1419773" y="2474800"/>
                </a:lnTo>
                <a:lnTo>
                  <a:pt x="1416469" y="2479137"/>
                </a:lnTo>
                <a:cubicBezTo>
                  <a:pt x="1415746" y="2478363"/>
                  <a:pt x="1413578" y="2480686"/>
                  <a:pt x="1411719" y="2481306"/>
                </a:cubicBezTo>
                <a:cubicBezTo>
                  <a:pt x="1410377" y="2481306"/>
                  <a:pt x="1409344" y="2481151"/>
                  <a:pt x="1408415" y="2480841"/>
                </a:cubicBezTo>
                <a:lnTo>
                  <a:pt x="1406350" y="2479602"/>
                </a:lnTo>
                <a:lnTo>
                  <a:pt x="1406866" y="2483474"/>
                </a:lnTo>
                <a:cubicBezTo>
                  <a:pt x="1406969" y="2485179"/>
                  <a:pt x="1406660" y="2486882"/>
                  <a:pt x="1405627" y="2488431"/>
                </a:cubicBezTo>
                <a:cubicBezTo>
                  <a:pt x="1401394" y="2494627"/>
                  <a:pt x="1393856" y="2489670"/>
                  <a:pt x="1393856" y="2489670"/>
                </a:cubicBezTo>
                <a:lnTo>
                  <a:pt x="1392824" y="2487037"/>
                </a:lnTo>
                <a:lnTo>
                  <a:pt x="1391584" y="2489051"/>
                </a:lnTo>
                <a:cubicBezTo>
                  <a:pt x="1390655" y="2489516"/>
                  <a:pt x="1389313" y="2489516"/>
                  <a:pt x="1387454" y="2489360"/>
                </a:cubicBezTo>
                <a:cubicBezTo>
                  <a:pt x="1387557" y="2486728"/>
                  <a:pt x="1387970" y="2485489"/>
                  <a:pt x="1389003" y="2485179"/>
                </a:cubicBezTo>
                <a:lnTo>
                  <a:pt x="1392204" y="2485489"/>
                </a:lnTo>
                <a:lnTo>
                  <a:pt x="1391997" y="2480686"/>
                </a:lnTo>
                <a:lnTo>
                  <a:pt x="1392101" y="2479757"/>
                </a:lnTo>
                <a:lnTo>
                  <a:pt x="1390448" y="2480531"/>
                </a:lnTo>
                <a:cubicBezTo>
                  <a:pt x="1389519" y="2480686"/>
                  <a:pt x="1388487" y="2480531"/>
                  <a:pt x="1388177" y="2480841"/>
                </a:cubicBezTo>
                <a:cubicBezTo>
                  <a:pt x="1387661" y="2480067"/>
                  <a:pt x="1387970" y="2478827"/>
                  <a:pt x="1387454" y="2478208"/>
                </a:cubicBezTo>
                <a:cubicBezTo>
                  <a:pt x="1388280" y="2477743"/>
                  <a:pt x="1389726" y="2476969"/>
                  <a:pt x="1390965" y="2477434"/>
                </a:cubicBezTo>
                <a:cubicBezTo>
                  <a:pt x="1391378" y="2477124"/>
                  <a:pt x="1391791" y="2477743"/>
                  <a:pt x="1391997" y="2478363"/>
                </a:cubicBezTo>
                <a:lnTo>
                  <a:pt x="1392204" y="2478983"/>
                </a:lnTo>
                <a:lnTo>
                  <a:pt x="1393030" y="2472012"/>
                </a:lnTo>
                <a:cubicBezTo>
                  <a:pt x="1391378" y="2467365"/>
                  <a:pt x="1387661" y="2464887"/>
                  <a:pt x="1385802" y="2462563"/>
                </a:cubicBezTo>
                <a:cubicBezTo>
                  <a:pt x="1379710" y="2466591"/>
                  <a:pt x="1351727" y="2448778"/>
                  <a:pt x="1349869" y="2446455"/>
                </a:cubicBezTo>
                <a:lnTo>
                  <a:pt x="1346152" y="2445370"/>
                </a:lnTo>
                <a:lnTo>
                  <a:pt x="1346048" y="2445525"/>
                </a:lnTo>
                <a:lnTo>
                  <a:pt x="1345222" y="2445370"/>
                </a:lnTo>
                <a:lnTo>
                  <a:pt x="1341196" y="2445525"/>
                </a:lnTo>
                <a:cubicBezTo>
                  <a:pt x="1337685" y="2446145"/>
                  <a:pt x="1334174" y="2447384"/>
                  <a:pt x="1332109" y="2449552"/>
                </a:cubicBezTo>
                <a:lnTo>
                  <a:pt x="1327669" y="2456058"/>
                </a:lnTo>
                <a:lnTo>
                  <a:pt x="1328288" y="2457297"/>
                </a:lnTo>
                <a:cubicBezTo>
                  <a:pt x="1328288" y="2459311"/>
                  <a:pt x="1327359" y="2460859"/>
                  <a:pt x="1325913" y="2462254"/>
                </a:cubicBezTo>
                <a:lnTo>
                  <a:pt x="1321267" y="2464577"/>
                </a:lnTo>
                <a:lnTo>
                  <a:pt x="1319408" y="2466436"/>
                </a:lnTo>
                <a:cubicBezTo>
                  <a:pt x="1317963" y="2467210"/>
                  <a:pt x="1316414" y="2467056"/>
                  <a:pt x="1315588" y="2465817"/>
                </a:cubicBezTo>
                <a:cubicBezTo>
                  <a:pt x="1313626" y="2465661"/>
                  <a:pt x="1311767" y="2463338"/>
                  <a:pt x="1312077" y="2459001"/>
                </a:cubicBezTo>
                <a:cubicBezTo>
                  <a:pt x="1308463" y="2454354"/>
                  <a:pt x="1307018" y="2447538"/>
                  <a:pt x="1307018" y="2447538"/>
                </a:cubicBezTo>
                <a:cubicBezTo>
                  <a:pt x="1305366" y="2442892"/>
                  <a:pt x="1301132" y="2447074"/>
                  <a:pt x="1299376" y="2444751"/>
                </a:cubicBezTo>
                <a:lnTo>
                  <a:pt x="1298137" y="2442892"/>
                </a:lnTo>
                <a:lnTo>
                  <a:pt x="1295350" y="2442892"/>
                </a:lnTo>
                <a:cubicBezTo>
                  <a:pt x="1294214" y="2442737"/>
                  <a:pt x="1293078" y="2442272"/>
                  <a:pt x="1292252" y="2441807"/>
                </a:cubicBezTo>
                <a:lnTo>
                  <a:pt x="1291116" y="2440258"/>
                </a:lnTo>
                <a:lnTo>
                  <a:pt x="1289051" y="2440723"/>
                </a:lnTo>
                <a:cubicBezTo>
                  <a:pt x="1286779" y="2440103"/>
                  <a:pt x="1284921" y="2438709"/>
                  <a:pt x="1284301" y="2436851"/>
                </a:cubicBezTo>
                <a:cubicBezTo>
                  <a:pt x="1283991" y="2435767"/>
                  <a:pt x="1284198" y="2434372"/>
                  <a:pt x="1285334" y="2432978"/>
                </a:cubicBezTo>
                <a:cubicBezTo>
                  <a:pt x="1288018" y="2432049"/>
                  <a:pt x="1289464" y="2432824"/>
                  <a:pt x="1290806" y="2434218"/>
                </a:cubicBezTo>
                <a:lnTo>
                  <a:pt x="1292562" y="2436231"/>
                </a:lnTo>
                <a:lnTo>
                  <a:pt x="1294420" y="2434682"/>
                </a:lnTo>
                <a:lnTo>
                  <a:pt x="1297725" y="2433133"/>
                </a:lnTo>
                <a:lnTo>
                  <a:pt x="1297931" y="2431894"/>
                </a:lnTo>
                <a:cubicBezTo>
                  <a:pt x="1299480" y="2427557"/>
                  <a:pt x="1301648" y="2423839"/>
                  <a:pt x="1300719" y="2422755"/>
                </a:cubicBezTo>
                <a:cubicBezTo>
                  <a:pt x="1298964" y="2420432"/>
                  <a:pt x="1287296" y="2419502"/>
                  <a:pt x="1283682" y="2414856"/>
                </a:cubicBezTo>
                <a:cubicBezTo>
                  <a:pt x="1281720" y="2414701"/>
                  <a:pt x="1280067" y="2410054"/>
                  <a:pt x="1278312" y="2407730"/>
                </a:cubicBezTo>
                <a:lnTo>
                  <a:pt x="1273975" y="2406027"/>
                </a:lnTo>
                <a:lnTo>
                  <a:pt x="1271600" y="2405097"/>
                </a:lnTo>
                <a:cubicBezTo>
                  <a:pt x="1265095" y="2403703"/>
                  <a:pt x="1259416" y="2405716"/>
                  <a:pt x="1254770" y="2410209"/>
                </a:cubicBezTo>
                <a:cubicBezTo>
                  <a:pt x="1252705" y="2412377"/>
                  <a:pt x="1251569" y="2414391"/>
                  <a:pt x="1250433" y="2416870"/>
                </a:cubicBezTo>
                <a:lnTo>
                  <a:pt x="1247232" y="2422910"/>
                </a:lnTo>
                <a:lnTo>
                  <a:pt x="1247129" y="2424304"/>
                </a:lnTo>
                <a:lnTo>
                  <a:pt x="1246303" y="2424769"/>
                </a:lnTo>
                <a:lnTo>
                  <a:pt x="1246097" y="2425079"/>
                </a:lnTo>
                <a:cubicBezTo>
                  <a:pt x="1241966" y="2429106"/>
                  <a:pt x="1239798" y="2431274"/>
                  <a:pt x="1238042" y="2428796"/>
                </a:cubicBezTo>
                <a:cubicBezTo>
                  <a:pt x="1238042" y="2428796"/>
                  <a:pt x="1238042" y="2428796"/>
                  <a:pt x="1229472" y="2441498"/>
                </a:cubicBezTo>
                <a:cubicBezTo>
                  <a:pt x="1227407" y="2443511"/>
                  <a:pt x="1225445" y="2443356"/>
                  <a:pt x="1225445" y="2443356"/>
                </a:cubicBezTo>
                <a:cubicBezTo>
                  <a:pt x="1225445" y="2443356"/>
                  <a:pt x="1225445" y="2443356"/>
                  <a:pt x="1227717" y="2439019"/>
                </a:cubicBezTo>
                <a:cubicBezTo>
                  <a:pt x="1227717" y="2439019"/>
                  <a:pt x="1229782" y="2437005"/>
                  <a:pt x="1231847" y="2434992"/>
                </a:cubicBezTo>
                <a:cubicBezTo>
                  <a:pt x="1231847" y="2434992"/>
                  <a:pt x="1231950" y="2432824"/>
                  <a:pt x="1232054" y="2430655"/>
                </a:cubicBezTo>
                <a:cubicBezTo>
                  <a:pt x="1234119" y="2428486"/>
                  <a:pt x="1233912" y="2432824"/>
                  <a:pt x="1236080" y="2428641"/>
                </a:cubicBezTo>
                <a:cubicBezTo>
                  <a:pt x="1236080" y="2428641"/>
                  <a:pt x="1236390" y="2424924"/>
                  <a:pt x="1236597" y="2421361"/>
                </a:cubicBezTo>
                <a:lnTo>
                  <a:pt x="1236700" y="2418728"/>
                </a:lnTo>
                <a:lnTo>
                  <a:pt x="1233189" y="2420277"/>
                </a:lnTo>
                <a:cubicBezTo>
                  <a:pt x="1231537" y="2417798"/>
                  <a:pt x="1231021" y="2415940"/>
                  <a:pt x="1231331" y="2414856"/>
                </a:cubicBezTo>
                <a:cubicBezTo>
                  <a:pt x="1231537" y="2413616"/>
                  <a:pt x="1232570" y="2413152"/>
                  <a:pt x="1233705" y="2412997"/>
                </a:cubicBezTo>
                <a:lnTo>
                  <a:pt x="1235255" y="2413306"/>
                </a:lnTo>
                <a:lnTo>
                  <a:pt x="1232673" y="2408350"/>
                </a:lnTo>
                <a:cubicBezTo>
                  <a:pt x="1231537" y="2406337"/>
                  <a:pt x="1230711" y="2404168"/>
                  <a:pt x="1230918" y="2402154"/>
                </a:cubicBezTo>
                <a:cubicBezTo>
                  <a:pt x="1231331" y="2402773"/>
                  <a:pt x="1232570" y="2405097"/>
                  <a:pt x="1233705" y="2407730"/>
                </a:cubicBezTo>
                <a:lnTo>
                  <a:pt x="1235564" y="2413461"/>
                </a:lnTo>
                <a:lnTo>
                  <a:pt x="1236803" y="2413616"/>
                </a:lnTo>
                <a:lnTo>
                  <a:pt x="1238042" y="2414701"/>
                </a:lnTo>
                <a:lnTo>
                  <a:pt x="1243825" y="2410518"/>
                </a:lnTo>
                <a:cubicBezTo>
                  <a:pt x="1246097" y="2409124"/>
                  <a:pt x="1248161" y="2407575"/>
                  <a:pt x="1249194" y="2405407"/>
                </a:cubicBezTo>
                <a:cubicBezTo>
                  <a:pt x="1255493" y="2399366"/>
                  <a:pt x="1256009" y="2390537"/>
                  <a:pt x="1250743" y="2381243"/>
                </a:cubicBezTo>
                <a:cubicBezTo>
                  <a:pt x="1248471" y="2379384"/>
                  <a:pt x="1245477" y="2377835"/>
                  <a:pt x="1242379" y="2376596"/>
                </a:cubicBezTo>
                <a:lnTo>
                  <a:pt x="1241140" y="2376132"/>
                </a:lnTo>
                <a:lnTo>
                  <a:pt x="1241966" y="2377680"/>
                </a:lnTo>
                <a:cubicBezTo>
                  <a:pt x="1243308" y="2384651"/>
                  <a:pt x="1232054" y="2393325"/>
                  <a:pt x="1223999" y="2388833"/>
                </a:cubicBezTo>
                <a:lnTo>
                  <a:pt x="1223896" y="2383566"/>
                </a:lnTo>
                <a:lnTo>
                  <a:pt x="1219663" y="2386974"/>
                </a:lnTo>
                <a:cubicBezTo>
                  <a:pt x="1217907" y="2387594"/>
                  <a:pt x="1215945" y="2387594"/>
                  <a:pt x="1213570" y="2387129"/>
                </a:cubicBezTo>
                <a:cubicBezTo>
                  <a:pt x="1213158" y="2385580"/>
                  <a:pt x="1215016" y="2382637"/>
                  <a:pt x="1216152" y="2380778"/>
                </a:cubicBezTo>
                <a:lnTo>
                  <a:pt x="1223896" y="2383412"/>
                </a:lnTo>
                <a:lnTo>
                  <a:pt x="1225858" y="2379694"/>
                </a:lnTo>
                <a:cubicBezTo>
                  <a:pt x="1226684" y="2378455"/>
                  <a:pt x="1227613" y="2377370"/>
                  <a:pt x="1228749" y="2376286"/>
                </a:cubicBezTo>
                <a:lnTo>
                  <a:pt x="1232776" y="2373808"/>
                </a:lnTo>
                <a:lnTo>
                  <a:pt x="1232466" y="2373808"/>
                </a:lnTo>
                <a:cubicBezTo>
                  <a:pt x="1225961" y="2372724"/>
                  <a:pt x="1220076" y="2373343"/>
                  <a:pt x="1217907" y="2376442"/>
                </a:cubicBezTo>
                <a:lnTo>
                  <a:pt x="1214603" y="2366063"/>
                </a:lnTo>
                <a:lnTo>
                  <a:pt x="1209131" y="2366373"/>
                </a:lnTo>
                <a:cubicBezTo>
                  <a:pt x="1206962" y="2365134"/>
                  <a:pt x="1206033" y="2362345"/>
                  <a:pt x="1206033" y="2359402"/>
                </a:cubicBezTo>
                <a:cubicBezTo>
                  <a:pt x="1206136" y="2356614"/>
                  <a:pt x="1207065" y="2353671"/>
                  <a:pt x="1208924" y="2352742"/>
                </a:cubicBezTo>
                <a:lnTo>
                  <a:pt x="1212744" y="2353207"/>
                </a:lnTo>
                <a:lnTo>
                  <a:pt x="1212331" y="2349489"/>
                </a:lnTo>
                <a:cubicBezTo>
                  <a:pt x="1211505" y="2339576"/>
                  <a:pt x="1211093" y="2330747"/>
                  <a:pt x="1209234" y="2329353"/>
                </a:cubicBezTo>
                <a:cubicBezTo>
                  <a:pt x="1208304" y="2328733"/>
                  <a:pt x="1206859" y="2328424"/>
                  <a:pt x="1205207" y="2328113"/>
                </a:cubicBezTo>
                <a:lnTo>
                  <a:pt x="1200560" y="2327494"/>
                </a:lnTo>
                <a:lnTo>
                  <a:pt x="1199321" y="2330747"/>
                </a:lnTo>
                <a:cubicBezTo>
                  <a:pt x="1198186" y="2332760"/>
                  <a:pt x="1196430" y="2334619"/>
                  <a:pt x="1195191" y="2335858"/>
                </a:cubicBezTo>
                <a:lnTo>
                  <a:pt x="1193849" y="2337098"/>
                </a:lnTo>
                <a:lnTo>
                  <a:pt x="1194571" y="2337562"/>
                </a:lnTo>
                <a:lnTo>
                  <a:pt x="1193333" y="2337872"/>
                </a:lnTo>
                <a:lnTo>
                  <a:pt x="1193229" y="2338182"/>
                </a:lnTo>
                <a:cubicBezTo>
                  <a:pt x="1192506" y="2337717"/>
                  <a:pt x="1192094" y="2338492"/>
                  <a:pt x="1192816" y="2338956"/>
                </a:cubicBezTo>
                <a:cubicBezTo>
                  <a:pt x="1191474" y="2339731"/>
                  <a:pt x="1190235" y="2340350"/>
                  <a:pt x="1189408" y="2340660"/>
                </a:cubicBezTo>
                <a:lnTo>
                  <a:pt x="1188789" y="2340195"/>
                </a:lnTo>
                <a:lnTo>
                  <a:pt x="1188479" y="2340815"/>
                </a:lnTo>
                <a:lnTo>
                  <a:pt x="1194055" y="2344997"/>
                </a:lnTo>
                <a:cubicBezTo>
                  <a:pt x="1196224" y="2347630"/>
                  <a:pt x="1197669" y="2350728"/>
                  <a:pt x="1198186" y="2353981"/>
                </a:cubicBezTo>
                <a:cubicBezTo>
                  <a:pt x="1195810" y="2356305"/>
                  <a:pt x="1193229" y="2357854"/>
                  <a:pt x="1190441" y="2358783"/>
                </a:cubicBezTo>
                <a:lnTo>
                  <a:pt x="1188686" y="2358783"/>
                </a:lnTo>
                <a:lnTo>
                  <a:pt x="1188273" y="2360487"/>
                </a:lnTo>
                <a:cubicBezTo>
                  <a:pt x="1187757" y="2362191"/>
                  <a:pt x="1187034" y="2363585"/>
                  <a:pt x="1186414" y="2364514"/>
                </a:cubicBezTo>
                <a:lnTo>
                  <a:pt x="1185175" y="2359248"/>
                </a:lnTo>
                <a:lnTo>
                  <a:pt x="1181871" y="2359557"/>
                </a:lnTo>
                <a:cubicBezTo>
                  <a:pt x="1172268" y="2358628"/>
                  <a:pt x="1162872" y="2351658"/>
                  <a:pt x="1159258" y="2341745"/>
                </a:cubicBezTo>
                <a:cubicBezTo>
                  <a:pt x="1160291" y="2341125"/>
                  <a:pt x="1161220" y="2340350"/>
                  <a:pt x="1160394" y="2339421"/>
                </a:cubicBezTo>
                <a:cubicBezTo>
                  <a:pt x="1161839" y="2338182"/>
                  <a:pt x="1163491" y="2337252"/>
                  <a:pt x="1165247" y="2336633"/>
                </a:cubicBezTo>
                <a:cubicBezTo>
                  <a:pt x="1168344" y="2335548"/>
                  <a:pt x="1171855" y="2335239"/>
                  <a:pt x="1175366" y="2335548"/>
                </a:cubicBezTo>
                <a:lnTo>
                  <a:pt x="1183110" y="2337872"/>
                </a:lnTo>
                <a:lnTo>
                  <a:pt x="1186001" y="2333380"/>
                </a:lnTo>
                <a:lnTo>
                  <a:pt x="1185278" y="2332915"/>
                </a:lnTo>
                <a:lnTo>
                  <a:pt x="1183110" y="2332451"/>
                </a:lnTo>
                <a:lnTo>
                  <a:pt x="1183007" y="2333225"/>
                </a:lnTo>
                <a:cubicBezTo>
                  <a:pt x="1182181" y="2333535"/>
                  <a:pt x="1180838" y="2334774"/>
                  <a:pt x="1180425" y="2335858"/>
                </a:cubicBezTo>
                <a:cubicBezTo>
                  <a:pt x="1180116" y="2335084"/>
                  <a:pt x="1179702" y="2334155"/>
                  <a:pt x="1178876" y="2334464"/>
                </a:cubicBezTo>
                <a:cubicBezTo>
                  <a:pt x="1179393" y="2333380"/>
                  <a:pt x="1179909" y="2332915"/>
                  <a:pt x="1180219" y="2332451"/>
                </a:cubicBezTo>
                <a:lnTo>
                  <a:pt x="1180425" y="2332141"/>
                </a:lnTo>
                <a:lnTo>
                  <a:pt x="1179599" y="2331986"/>
                </a:lnTo>
                <a:cubicBezTo>
                  <a:pt x="1177534" y="2331366"/>
                  <a:pt x="1175572" y="2330127"/>
                  <a:pt x="1174230" y="2327494"/>
                </a:cubicBezTo>
                <a:cubicBezTo>
                  <a:pt x="1174850" y="2327184"/>
                  <a:pt x="1175263" y="2326720"/>
                  <a:pt x="1175572" y="2326100"/>
                </a:cubicBezTo>
                <a:lnTo>
                  <a:pt x="1175675" y="2325635"/>
                </a:lnTo>
                <a:lnTo>
                  <a:pt x="1175159" y="2324551"/>
                </a:lnTo>
                <a:cubicBezTo>
                  <a:pt x="1174953" y="2323622"/>
                  <a:pt x="1174953" y="2322537"/>
                  <a:pt x="1175366" y="2321298"/>
                </a:cubicBezTo>
                <a:cubicBezTo>
                  <a:pt x="1175779" y="2321453"/>
                  <a:pt x="1176501" y="2320679"/>
                  <a:pt x="1177328" y="2319749"/>
                </a:cubicBezTo>
                <a:lnTo>
                  <a:pt x="1178876" y="2318200"/>
                </a:lnTo>
                <a:lnTo>
                  <a:pt x="1179599" y="2313708"/>
                </a:lnTo>
                <a:cubicBezTo>
                  <a:pt x="1184659" y="2310300"/>
                  <a:pt x="1186724" y="2311694"/>
                  <a:pt x="1187550" y="2314638"/>
                </a:cubicBezTo>
                <a:lnTo>
                  <a:pt x="1187963" y="2317116"/>
                </a:lnTo>
                <a:lnTo>
                  <a:pt x="1188066" y="2317116"/>
                </a:lnTo>
                <a:lnTo>
                  <a:pt x="1188376" y="2313398"/>
                </a:lnTo>
                <a:cubicBezTo>
                  <a:pt x="1189099" y="2309061"/>
                  <a:pt x="1190338" y="2304724"/>
                  <a:pt x="1189408" y="2303640"/>
                </a:cubicBezTo>
                <a:cubicBezTo>
                  <a:pt x="1187447" y="2303485"/>
                  <a:pt x="1185072" y="2312159"/>
                  <a:pt x="1179496" y="2307202"/>
                </a:cubicBezTo>
                <a:cubicBezTo>
                  <a:pt x="1177740" y="2304879"/>
                  <a:pt x="1177224" y="2303175"/>
                  <a:pt x="1177328" y="2301781"/>
                </a:cubicBezTo>
                <a:lnTo>
                  <a:pt x="1177534" y="2300852"/>
                </a:lnTo>
                <a:lnTo>
                  <a:pt x="1175263" y="2300542"/>
                </a:lnTo>
                <a:cubicBezTo>
                  <a:pt x="1172888" y="2299767"/>
                  <a:pt x="1171029" y="2298064"/>
                  <a:pt x="1171132" y="2295121"/>
                </a:cubicBezTo>
                <a:cubicBezTo>
                  <a:pt x="1171752" y="2294036"/>
                  <a:pt x="1172371" y="2292952"/>
                  <a:pt x="1173404" y="2292023"/>
                </a:cubicBezTo>
                <a:lnTo>
                  <a:pt x="1176605" y="2291093"/>
                </a:lnTo>
                <a:lnTo>
                  <a:pt x="1179290" y="2283813"/>
                </a:lnTo>
                <a:cubicBezTo>
                  <a:pt x="1180941" y="2281490"/>
                  <a:pt x="1183523" y="2279941"/>
                  <a:pt x="1187447" y="2280560"/>
                </a:cubicBezTo>
                <a:cubicBezTo>
                  <a:pt x="1187757" y="2281645"/>
                  <a:pt x="1187963" y="2282729"/>
                  <a:pt x="1188169" y="2283968"/>
                </a:cubicBezTo>
                <a:cubicBezTo>
                  <a:pt x="1185588" y="2285052"/>
                  <a:pt x="1183626" y="2286447"/>
                  <a:pt x="1181871" y="2287841"/>
                </a:cubicBezTo>
                <a:lnTo>
                  <a:pt x="1177534" y="2290783"/>
                </a:lnTo>
                <a:lnTo>
                  <a:pt x="1178051" y="2290629"/>
                </a:lnTo>
                <a:cubicBezTo>
                  <a:pt x="1179496" y="2291558"/>
                  <a:pt x="1180529" y="2292797"/>
                  <a:pt x="1181148" y="2294191"/>
                </a:cubicBezTo>
                <a:lnTo>
                  <a:pt x="1181355" y="2295430"/>
                </a:lnTo>
                <a:lnTo>
                  <a:pt x="1182387" y="2294501"/>
                </a:lnTo>
                <a:cubicBezTo>
                  <a:pt x="1186207" y="2292797"/>
                  <a:pt x="1188996" y="2295895"/>
                  <a:pt x="1192094" y="2292797"/>
                </a:cubicBezTo>
                <a:cubicBezTo>
                  <a:pt x="1186827" y="2283503"/>
                  <a:pt x="1187653" y="2270337"/>
                  <a:pt x="1184039" y="2265690"/>
                </a:cubicBezTo>
                <a:cubicBezTo>
                  <a:pt x="1182181" y="2264451"/>
                  <a:pt x="1177224" y="2264606"/>
                  <a:pt x="1172578" y="2265226"/>
                </a:cubicBezTo>
                <a:lnTo>
                  <a:pt x="1167622" y="2266465"/>
                </a:lnTo>
                <a:lnTo>
                  <a:pt x="1168551" y="2268014"/>
                </a:lnTo>
                <a:cubicBezTo>
                  <a:pt x="1168654" y="2269563"/>
                  <a:pt x="1168138" y="2271112"/>
                  <a:pt x="1167208" y="2272506"/>
                </a:cubicBezTo>
                <a:cubicBezTo>
                  <a:pt x="1165350" y="2273125"/>
                  <a:pt x="1163698" y="2272815"/>
                  <a:pt x="1162562" y="2271886"/>
                </a:cubicBezTo>
                <a:lnTo>
                  <a:pt x="1161736" y="2270492"/>
                </a:lnTo>
                <a:lnTo>
                  <a:pt x="1161013" y="2272661"/>
                </a:lnTo>
                <a:cubicBezTo>
                  <a:pt x="1161116" y="2277927"/>
                  <a:pt x="1164214" y="2285672"/>
                  <a:pt x="1161013" y="2290319"/>
                </a:cubicBezTo>
                <a:cubicBezTo>
                  <a:pt x="1155540" y="2285517"/>
                  <a:pt x="1159774" y="2279166"/>
                  <a:pt x="1156367" y="2272351"/>
                </a:cubicBezTo>
                <a:cubicBezTo>
                  <a:pt x="1146248" y="2278082"/>
                  <a:pt x="1123015" y="2276224"/>
                  <a:pt x="1121156" y="2273900"/>
                </a:cubicBezTo>
                <a:cubicBezTo>
                  <a:pt x="1139329" y="2263832"/>
                  <a:pt x="1155128" y="2255932"/>
                  <a:pt x="1166279" y="2248342"/>
                </a:cubicBezTo>
                <a:lnTo>
                  <a:pt x="1168551" y="2246483"/>
                </a:lnTo>
                <a:lnTo>
                  <a:pt x="1167002" y="2246793"/>
                </a:lnTo>
                <a:cubicBezTo>
                  <a:pt x="1166486" y="2246793"/>
                  <a:pt x="1166072" y="2246948"/>
                  <a:pt x="1165866" y="2246948"/>
                </a:cubicBezTo>
                <a:cubicBezTo>
                  <a:pt x="1165866" y="2246948"/>
                  <a:pt x="1165040" y="2247258"/>
                  <a:pt x="1164214" y="2247412"/>
                </a:cubicBezTo>
                <a:cubicBezTo>
                  <a:pt x="1163182" y="2246948"/>
                  <a:pt x="1162769" y="2246173"/>
                  <a:pt x="1162046" y="2246329"/>
                </a:cubicBezTo>
                <a:cubicBezTo>
                  <a:pt x="1162769" y="2244779"/>
                  <a:pt x="1163801" y="2244005"/>
                  <a:pt x="1164937" y="2243695"/>
                </a:cubicBezTo>
                <a:cubicBezTo>
                  <a:pt x="1166176" y="2243385"/>
                  <a:pt x="1167518" y="2243385"/>
                  <a:pt x="1168861" y="2243385"/>
                </a:cubicBezTo>
                <a:cubicBezTo>
                  <a:pt x="1170823" y="2243695"/>
                  <a:pt x="1171649" y="2243385"/>
                  <a:pt x="1172888" y="2242146"/>
                </a:cubicBezTo>
                <a:cubicBezTo>
                  <a:pt x="1172888" y="2242146"/>
                  <a:pt x="1172991" y="2242146"/>
                  <a:pt x="1173197" y="2242301"/>
                </a:cubicBezTo>
                <a:lnTo>
                  <a:pt x="1173610" y="2242456"/>
                </a:lnTo>
                <a:lnTo>
                  <a:pt x="1175882" y="2240752"/>
                </a:lnTo>
                <a:cubicBezTo>
                  <a:pt x="1180116" y="2234401"/>
                  <a:pt x="1178154" y="2234246"/>
                  <a:pt x="1174746" y="2227431"/>
                </a:cubicBezTo>
                <a:cubicBezTo>
                  <a:pt x="1174746" y="2227431"/>
                  <a:pt x="1174746" y="2227431"/>
                  <a:pt x="1174333" y="2220770"/>
                </a:cubicBezTo>
                <a:lnTo>
                  <a:pt x="1173817" y="2212251"/>
                </a:lnTo>
                <a:lnTo>
                  <a:pt x="1173507" y="2211787"/>
                </a:lnTo>
                <a:cubicBezTo>
                  <a:pt x="1172888" y="2210392"/>
                  <a:pt x="1172784" y="2209153"/>
                  <a:pt x="1172991" y="2207914"/>
                </a:cubicBezTo>
                <a:cubicBezTo>
                  <a:pt x="1173094" y="2206675"/>
                  <a:pt x="1173507" y="2205436"/>
                  <a:pt x="1174127" y="2204351"/>
                </a:cubicBezTo>
                <a:lnTo>
                  <a:pt x="1174746" y="2203577"/>
                </a:lnTo>
                <a:lnTo>
                  <a:pt x="1175263" y="2200169"/>
                </a:lnTo>
                <a:cubicBezTo>
                  <a:pt x="1175263" y="2196607"/>
                  <a:pt x="1174953" y="2193199"/>
                  <a:pt x="1175159" y="2189946"/>
                </a:cubicBezTo>
                <a:cubicBezTo>
                  <a:pt x="1175159" y="2189946"/>
                  <a:pt x="1175159" y="2189946"/>
                  <a:pt x="1173714" y="2188397"/>
                </a:cubicBezTo>
                <a:lnTo>
                  <a:pt x="1171339" y="2185764"/>
                </a:lnTo>
                <a:lnTo>
                  <a:pt x="1170100" y="2186693"/>
                </a:lnTo>
                <a:cubicBezTo>
                  <a:pt x="1169377" y="2187158"/>
                  <a:pt x="1168551" y="2187313"/>
                  <a:pt x="1167828" y="2187933"/>
                </a:cubicBezTo>
                <a:cubicBezTo>
                  <a:pt x="1166692" y="2187468"/>
                  <a:pt x="1165247" y="2186074"/>
                  <a:pt x="1166279" y="2184060"/>
                </a:cubicBezTo>
                <a:lnTo>
                  <a:pt x="1167828" y="2182046"/>
                </a:lnTo>
                <a:lnTo>
                  <a:pt x="1164214" y="2178020"/>
                </a:lnTo>
                <a:cubicBezTo>
                  <a:pt x="1161013" y="2174921"/>
                  <a:pt x="1157193" y="2172908"/>
                  <a:pt x="1153372" y="2171513"/>
                </a:cubicBezTo>
                <a:lnTo>
                  <a:pt x="1142117" y="2168880"/>
                </a:lnTo>
                <a:lnTo>
                  <a:pt x="1142221" y="2170584"/>
                </a:lnTo>
                <a:cubicBezTo>
                  <a:pt x="1141807" y="2171823"/>
                  <a:pt x="1140671" y="2172908"/>
                  <a:pt x="1138297" y="2173992"/>
                </a:cubicBezTo>
                <a:lnTo>
                  <a:pt x="1136232" y="2174611"/>
                </a:lnTo>
                <a:lnTo>
                  <a:pt x="1141395" y="2176160"/>
                </a:lnTo>
                <a:lnTo>
                  <a:pt x="1147590" y="2180188"/>
                </a:lnTo>
                <a:lnTo>
                  <a:pt x="1148416" y="2180188"/>
                </a:lnTo>
                <a:cubicBezTo>
                  <a:pt x="1149655" y="2180498"/>
                  <a:pt x="1152546" y="2182046"/>
                  <a:pt x="1151823" y="2182511"/>
                </a:cubicBezTo>
                <a:cubicBezTo>
                  <a:pt x="1151514" y="2183595"/>
                  <a:pt x="1152236" y="2183131"/>
                  <a:pt x="1152753" y="2183905"/>
                </a:cubicBezTo>
                <a:cubicBezTo>
                  <a:pt x="1151927" y="2187313"/>
                  <a:pt x="1150274" y="2189172"/>
                  <a:pt x="1147073" y="2188862"/>
                </a:cubicBezTo>
                <a:lnTo>
                  <a:pt x="1145525" y="2188243"/>
                </a:lnTo>
                <a:lnTo>
                  <a:pt x="1144596" y="2189636"/>
                </a:lnTo>
                <a:lnTo>
                  <a:pt x="1146764" y="2189791"/>
                </a:lnTo>
                <a:lnTo>
                  <a:pt x="1145834" y="2193199"/>
                </a:lnTo>
                <a:cubicBezTo>
                  <a:pt x="1145318" y="2193044"/>
                  <a:pt x="1144596" y="2192734"/>
                  <a:pt x="1144079" y="2192269"/>
                </a:cubicBezTo>
                <a:lnTo>
                  <a:pt x="1143357" y="2190721"/>
                </a:lnTo>
                <a:lnTo>
                  <a:pt x="1137471" y="2194438"/>
                </a:lnTo>
                <a:lnTo>
                  <a:pt x="1139639" y="2195212"/>
                </a:lnTo>
                <a:lnTo>
                  <a:pt x="1140052" y="2196607"/>
                </a:lnTo>
                <a:lnTo>
                  <a:pt x="1142633" y="2195212"/>
                </a:lnTo>
                <a:cubicBezTo>
                  <a:pt x="1147487" y="2193044"/>
                  <a:pt x="1152856" y="2191030"/>
                  <a:pt x="1158225" y="2187468"/>
                </a:cubicBezTo>
                <a:lnTo>
                  <a:pt x="1158122" y="2189636"/>
                </a:lnTo>
                <a:lnTo>
                  <a:pt x="1159155" y="2189481"/>
                </a:lnTo>
                <a:cubicBezTo>
                  <a:pt x="1161839" y="2191495"/>
                  <a:pt x="1162769" y="2194438"/>
                  <a:pt x="1162046" y="2197072"/>
                </a:cubicBezTo>
                <a:lnTo>
                  <a:pt x="1159774" y="2199859"/>
                </a:lnTo>
                <a:lnTo>
                  <a:pt x="1162356" y="2204816"/>
                </a:lnTo>
                <a:cubicBezTo>
                  <a:pt x="1163285" y="2206520"/>
                  <a:pt x="1164111" y="2208224"/>
                  <a:pt x="1164524" y="2209928"/>
                </a:cubicBezTo>
                <a:cubicBezTo>
                  <a:pt x="1165143" y="2212406"/>
                  <a:pt x="1165040" y="2214884"/>
                  <a:pt x="1163698" y="2217673"/>
                </a:cubicBezTo>
                <a:cubicBezTo>
                  <a:pt x="1155540" y="2237809"/>
                  <a:pt x="1123841" y="2230529"/>
                  <a:pt x="1126939" y="2212096"/>
                </a:cubicBezTo>
                <a:cubicBezTo>
                  <a:pt x="1127455" y="2209463"/>
                  <a:pt x="1128591" y="2206520"/>
                  <a:pt x="1130553" y="2203577"/>
                </a:cubicBezTo>
                <a:cubicBezTo>
                  <a:pt x="1132101" y="2201563"/>
                  <a:pt x="1133960" y="2200014"/>
                  <a:pt x="1135922" y="2198620"/>
                </a:cubicBezTo>
                <a:lnTo>
                  <a:pt x="1136128" y="2198620"/>
                </a:lnTo>
                <a:lnTo>
                  <a:pt x="1135199" y="2197536"/>
                </a:lnTo>
                <a:cubicBezTo>
                  <a:pt x="1134683" y="2196762"/>
                  <a:pt x="1134373" y="2195832"/>
                  <a:pt x="1134476" y="2195367"/>
                </a:cubicBezTo>
                <a:lnTo>
                  <a:pt x="1134683" y="2195212"/>
                </a:lnTo>
                <a:lnTo>
                  <a:pt x="1128488" y="2196452"/>
                </a:lnTo>
                <a:cubicBezTo>
                  <a:pt x="1125493" y="2196607"/>
                  <a:pt x="1122499" y="2196297"/>
                  <a:pt x="1119711" y="2195367"/>
                </a:cubicBezTo>
                <a:lnTo>
                  <a:pt x="1116613" y="2193354"/>
                </a:lnTo>
                <a:lnTo>
                  <a:pt x="1114858" y="2194128"/>
                </a:lnTo>
                <a:cubicBezTo>
                  <a:pt x="1113929" y="2193664"/>
                  <a:pt x="1113412" y="2193044"/>
                  <a:pt x="1112999" y="2192269"/>
                </a:cubicBezTo>
                <a:lnTo>
                  <a:pt x="1112483" y="2190566"/>
                </a:lnTo>
                <a:lnTo>
                  <a:pt x="1110005" y="2188862"/>
                </a:lnTo>
                <a:cubicBezTo>
                  <a:pt x="1111347" y="2182511"/>
                  <a:pt x="1115271" y="2178020"/>
                  <a:pt x="1120227" y="2175696"/>
                </a:cubicBezTo>
                <a:cubicBezTo>
                  <a:pt x="1122292" y="2174611"/>
                  <a:pt x="1124564" y="2173992"/>
                  <a:pt x="1126939" y="2173682"/>
                </a:cubicBezTo>
                <a:lnTo>
                  <a:pt x="1125699" y="2169500"/>
                </a:lnTo>
                <a:lnTo>
                  <a:pt x="1125906" y="2167951"/>
                </a:lnTo>
                <a:lnTo>
                  <a:pt x="1121260" y="2167177"/>
                </a:lnTo>
                <a:cubicBezTo>
                  <a:pt x="1117646" y="2166557"/>
                  <a:pt x="1114341" y="2166247"/>
                  <a:pt x="1114238" y="2167486"/>
                </a:cubicBezTo>
                <a:cubicBezTo>
                  <a:pt x="1112586" y="2162839"/>
                  <a:pt x="1108869" y="2160361"/>
                  <a:pt x="1107113" y="2155869"/>
                </a:cubicBezTo>
                <a:cubicBezTo>
                  <a:pt x="1117542" y="2145646"/>
                  <a:pt x="1166279" y="2176005"/>
                  <a:pt x="1176915" y="2161290"/>
                </a:cubicBezTo>
                <a:cubicBezTo>
                  <a:pt x="1181045" y="2157263"/>
                  <a:pt x="1174850" y="2132479"/>
                  <a:pt x="1176915" y="2130466"/>
                </a:cubicBezTo>
                <a:cubicBezTo>
                  <a:pt x="1171339" y="2125664"/>
                  <a:pt x="1167622" y="2123031"/>
                  <a:pt x="1163904" y="2120552"/>
                </a:cubicBezTo>
                <a:cubicBezTo>
                  <a:pt x="1165969" y="2118539"/>
                  <a:pt x="1154508" y="2115441"/>
                  <a:pt x="1160703" y="2109245"/>
                </a:cubicBezTo>
                <a:cubicBezTo>
                  <a:pt x="1165040" y="2103049"/>
                  <a:pt x="1184246" y="2106767"/>
                  <a:pt x="1186311" y="2104753"/>
                </a:cubicBezTo>
                <a:cubicBezTo>
                  <a:pt x="1193436" y="2096544"/>
                  <a:pt x="1190751" y="2086940"/>
                  <a:pt x="1188169" y="2079040"/>
                </a:cubicBezTo>
                <a:lnTo>
                  <a:pt x="1186518" y="2073774"/>
                </a:lnTo>
                <a:lnTo>
                  <a:pt x="1181768" y="2072225"/>
                </a:lnTo>
                <a:lnTo>
                  <a:pt x="1179909" y="2077336"/>
                </a:lnTo>
                <a:lnTo>
                  <a:pt x="1179186" y="2079040"/>
                </a:lnTo>
                <a:lnTo>
                  <a:pt x="1180116" y="2078885"/>
                </a:lnTo>
                <a:lnTo>
                  <a:pt x="1179083" y="2079350"/>
                </a:lnTo>
                <a:lnTo>
                  <a:pt x="1177121" y="2083997"/>
                </a:lnTo>
                <a:cubicBezTo>
                  <a:pt x="1175056" y="2088334"/>
                  <a:pt x="1172371" y="2091742"/>
                  <a:pt x="1168861" y="2090193"/>
                </a:cubicBezTo>
                <a:cubicBezTo>
                  <a:pt x="1169274" y="2088953"/>
                  <a:pt x="1169584" y="2087250"/>
                  <a:pt x="1170100" y="2085391"/>
                </a:cubicBezTo>
                <a:lnTo>
                  <a:pt x="1171235" y="2081364"/>
                </a:lnTo>
                <a:lnTo>
                  <a:pt x="1170409" y="2081209"/>
                </a:lnTo>
                <a:lnTo>
                  <a:pt x="1171339" y="2080899"/>
                </a:lnTo>
                <a:lnTo>
                  <a:pt x="1171752" y="2079350"/>
                </a:lnTo>
                <a:cubicBezTo>
                  <a:pt x="1173094" y="2075478"/>
                  <a:pt x="1175159" y="2072070"/>
                  <a:pt x="1178567" y="2071605"/>
                </a:cubicBezTo>
                <a:lnTo>
                  <a:pt x="1180838" y="2071915"/>
                </a:lnTo>
                <a:lnTo>
                  <a:pt x="1179496" y="2071451"/>
                </a:lnTo>
                <a:cubicBezTo>
                  <a:pt x="1176501" y="2069747"/>
                  <a:pt x="1174437" y="2067733"/>
                  <a:pt x="1172888" y="2065564"/>
                </a:cubicBezTo>
                <a:lnTo>
                  <a:pt x="1171339" y="2062157"/>
                </a:lnTo>
                <a:lnTo>
                  <a:pt x="1167312" y="2059988"/>
                </a:lnTo>
                <a:lnTo>
                  <a:pt x="1167208" y="2063086"/>
                </a:lnTo>
                <a:cubicBezTo>
                  <a:pt x="1165247" y="2062931"/>
                  <a:pt x="1163698" y="2063551"/>
                  <a:pt x="1161736" y="2063396"/>
                </a:cubicBezTo>
                <a:cubicBezTo>
                  <a:pt x="1160600" y="2061072"/>
                  <a:pt x="1157916" y="2059988"/>
                  <a:pt x="1157709" y="2057664"/>
                </a:cubicBezTo>
                <a:cubicBezTo>
                  <a:pt x="1157606" y="2056735"/>
                  <a:pt x="1157812" y="2055961"/>
                  <a:pt x="1158432" y="2054721"/>
                </a:cubicBezTo>
                <a:lnTo>
                  <a:pt x="1158845" y="2054721"/>
                </a:lnTo>
                <a:lnTo>
                  <a:pt x="1152133" y="2049765"/>
                </a:lnTo>
                <a:lnTo>
                  <a:pt x="1144802" y="2041865"/>
                </a:lnTo>
                <a:lnTo>
                  <a:pt x="1143357" y="2046047"/>
                </a:lnTo>
                <a:cubicBezTo>
                  <a:pt x="1142014" y="2050384"/>
                  <a:pt x="1140465" y="2054102"/>
                  <a:pt x="1136438" y="2055341"/>
                </a:cubicBezTo>
                <a:cubicBezTo>
                  <a:pt x="1137058" y="2051624"/>
                  <a:pt x="1136335" y="2046667"/>
                  <a:pt x="1136438" y="2042175"/>
                </a:cubicBezTo>
                <a:cubicBezTo>
                  <a:pt x="1136438" y="2037683"/>
                  <a:pt x="1137058" y="2033965"/>
                  <a:pt x="1139949" y="2032572"/>
                </a:cubicBezTo>
                <a:cubicBezTo>
                  <a:pt x="1141911" y="2031642"/>
                  <a:pt x="1144802" y="2031952"/>
                  <a:pt x="1149345" y="2033811"/>
                </a:cubicBezTo>
                <a:lnTo>
                  <a:pt x="1146248" y="2038612"/>
                </a:lnTo>
                <a:lnTo>
                  <a:pt x="1154095" y="2036754"/>
                </a:lnTo>
                <a:lnTo>
                  <a:pt x="1159361" y="2038148"/>
                </a:lnTo>
                <a:lnTo>
                  <a:pt x="1158845" y="2036599"/>
                </a:lnTo>
                <a:cubicBezTo>
                  <a:pt x="1158948" y="2035979"/>
                  <a:pt x="1159155" y="2035360"/>
                  <a:pt x="1159567" y="2035050"/>
                </a:cubicBezTo>
                <a:cubicBezTo>
                  <a:pt x="1159981" y="2034585"/>
                  <a:pt x="1160600" y="2034430"/>
                  <a:pt x="1161839" y="2034585"/>
                </a:cubicBezTo>
                <a:cubicBezTo>
                  <a:pt x="1163801" y="2034275"/>
                  <a:pt x="1164214" y="2035050"/>
                  <a:pt x="1164111" y="2037993"/>
                </a:cubicBezTo>
                <a:lnTo>
                  <a:pt x="1163904" y="2039232"/>
                </a:lnTo>
                <a:lnTo>
                  <a:pt x="1166279" y="2039851"/>
                </a:lnTo>
                <a:lnTo>
                  <a:pt x="1169274" y="2036754"/>
                </a:lnTo>
                <a:cubicBezTo>
                  <a:pt x="1172371" y="2031952"/>
                  <a:pt x="1171235" y="2027615"/>
                  <a:pt x="1172165" y="2023123"/>
                </a:cubicBezTo>
                <a:cubicBezTo>
                  <a:pt x="1180012" y="2021109"/>
                  <a:pt x="1187343" y="2013364"/>
                  <a:pt x="1195294" y="2008717"/>
                </a:cubicBezTo>
                <a:cubicBezTo>
                  <a:pt x="1205517" y="2011661"/>
                  <a:pt x="1215016" y="2011196"/>
                  <a:pt x="1225342" y="2014139"/>
                </a:cubicBezTo>
                <a:cubicBezTo>
                  <a:pt x="1225858" y="2016772"/>
                  <a:pt x="1227200" y="2019406"/>
                  <a:pt x="1228853" y="2021884"/>
                </a:cubicBezTo>
                <a:lnTo>
                  <a:pt x="1231227" y="2025136"/>
                </a:lnTo>
                <a:lnTo>
                  <a:pt x="1242276" y="2026995"/>
                </a:lnTo>
                <a:lnTo>
                  <a:pt x="1245580" y="2023278"/>
                </a:lnTo>
                <a:lnTo>
                  <a:pt x="1243928" y="2021884"/>
                </a:lnTo>
                <a:cubicBezTo>
                  <a:pt x="1243515" y="2021264"/>
                  <a:pt x="1243205" y="2020489"/>
                  <a:pt x="1243205" y="2019870"/>
                </a:cubicBezTo>
                <a:cubicBezTo>
                  <a:pt x="1245270" y="2015997"/>
                  <a:pt x="1248471" y="2017702"/>
                  <a:pt x="1249917" y="2019870"/>
                </a:cubicBezTo>
                <a:lnTo>
                  <a:pt x="1250227" y="2020954"/>
                </a:lnTo>
                <a:lnTo>
                  <a:pt x="1253014" y="2016307"/>
                </a:lnTo>
                <a:cubicBezTo>
                  <a:pt x="1254770" y="2012745"/>
                  <a:pt x="1255699" y="2008872"/>
                  <a:pt x="1254047" y="2005000"/>
                </a:cubicBezTo>
                <a:lnTo>
                  <a:pt x="1251879" y="2002367"/>
                </a:lnTo>
                <a:lnTo>
                  <a:pt x="1250227" y="2003761"/>
                </a:lnTo>
                <a:cubicBezTo>
                  <a:pt x="1247232" y="2005155"/>
                  <a:pt x="1241966" y="2005310"/>
                  <a:pt x="1239385" y="2005000"/>
                </a:cubicBezTo>
                <a:cubicBezTo>
                  <a:pt x="1239695" y="2004225"/>
                  <a:pt x="1240417" y="2003761"/>
                  <a:pt x="1241450" y="2003296"/>
                </a:cubicBezTo>
                <a:cubicBezTo>
                  <a:pt x="1242895" y="2002676"/>
                  <a:pt x="1244961" y="2002212"/>
                  <a:pt x="1247026" y="2002057"/>
                </a:cubicBezTo>
                <a:lnTo>
                  <a:pt x="1249813" y="2002057"/>
                </a:lnTo>
                <a:lnTo>
                  <a:pt x="1251672" y="2002057"/>
                </a:lnTo>
                <a:lnTo>
                  <a:pt x="1250949" y="2001283"/>
                </a:lnTo>
                <a:lnTo>
                  <a:pt x="1249813" y="2002057"/>
                </a:lnTo>
                <a:lnTo>
                  <a:pt x="1250020" y="2000043"/>
                </a:lnTo>
                <a:lnTo>
                  <a:pt x="1249400" y="1999269"/>
                </a:lnTo>
                <a:cubicBezTo>
                  <a:pt x="1249504" y="1997100"/>
                  <a:pt x="1245580" y="1996790"/>
                  <a:pt x="1245580" y="1996790"/>
                </a:cubicBezTo>
                <a:cubicBezTo>
                  <a:pt x="1247852" y="1992608"/>
                  <a:pt x="1242173" y="1989975"/>
                  <a:pt x="1240417" y="1987651"/>
                </a:cubicBezTo>
                <a:cubicBezTo>
                  <a:pt x="1240417" y="1987651"/>
                  <a:pt x="1240417" y="1987497"/>
                  <a:pt x="1244651" y="1981301"/>
                </a:cubicBezTo>
                <a:cubicBezTo>
                  <a:pt x="1250227" y="1986103"/>
                  <a:pt x="1248678" y="1979442"/>
                  <a:pt x="1254254" y="1984244"/>
                </a:cubicBezTo>
                <a:cubicBezTo>
                  <a:pt x="1254254" y="1984244"/>
                  <a:pt x="1254254" y="1984244"/>
                  <a:pt x="1254873" y="1985173"/>
                </a:cubicBezTo>
                <a:lnTo>
                  <a:pt x="1255905" y="1986567"/>
                </a:lnTo>
                <a:lnTo>
                  <a:pt x="1257558" y="1985018"/>
                </a:lnTo>
                <a:lnTo>
                  <a:pt x="1257971" y="1989200"/>
                </a:lnTo>
                <a:lnTo>
                  <a:pt x="1259623" y="1991214"/>
                </a:lnTo>
                <a:cubicBezTo>
                  <a:pt x="1259520" y="1993538"/>
                  <a:pt x="1259520" y="1993538"/>
                  <a:pt x="1261275" y="1995861"/>
                </a:cubicBezTo>
                <a:lnTo>
                  <a:pt x="1261481" y="1996016"/>
                </a:lnTo>
                <a:lnTo>
                  <a:pt x="1265405" y="1993847"/>
                </a:lnTo>
                <a:lnTo>
                  <a:pt x="1267161" y="1993847"/>
                </a:lnTo>
                <a:lnTo>
                  <a:pt x="1267161" y="1993693"/>
                </a:lnTo>
                <a:lnTo>
                  <a:pt x="1267470" y="1994002"/>
                </a:lnTo>
                <a:lnTo>
                  <a:pt x="1268193" y="1994002"/>
                </a:lnTo>
                <a:lnTo>
                  <a:pt x="1267883" y="1993228"/>
                </a:lnTo>
                <a:cubicBezTo>
                  <a:pt x="1267573" y="1991214"/>
                  <a:pt x="1267677" y="1989046"/>
                  <a:pt x="1268503" y="1987807"/>
                </a:cubicBezTo>
                <a:cubicBezTo>
                  <a:pt x="1270155" y="1988581"/>
                  <a:pt x="1271807" y="1989355"/>
                  <a:pt x="1273459" y="1990130"/>
                </a:cubicBezTo>
                <a:lnTo>
                  <a:pt x="1273253" y="1990750"/>
                </a:lnTo>
                <a:lnTo>
                  <a:pt x="1273459" y="1990904"/>
                </a:lnTo>
                <a:cubicBezTo>
                  <a:pt x="1273975" y="1991369"/>
                  <a:pt x="1274698" y="1991679"/>
                  <a:pt x="1275628" y="1991524"/>
                </a:cubicBezTo>
                <a:cubicBezTo>
                  <a:pt x="1275318" y="1992608"/>
                  <a:pt x="1275008" y="1993847"/>
                  <a:pt x="1274492" y="1994622"/>
                </a:cubicBezTo>
                <a:lnTo>
                  <a:pt x="1273562" y="1995086"/>
                </a:lnTo>
                <a:lnTo>
                  <a:pt x="1273666" y="1995396"/>
                </a:lnTo>
                <a:lnTo>
                  <a:pt x="1275111" y="1996171"/>
                </a:lnTo>
                <a:lnTo>
                  <a:pt x="1276763" y="1995706"/>
                </a:lnTo>
                <a:lnTo>
                  <a:pt x="1277073" y="1997255"/>
                </a:lnTo>
                <a:lnTo>
                  <a:pt x="1278829" y="1995086"/>
                </a:lnTo>
                <a:lnTo>
                  <a:pt x="1280687" y="1991059"/>
                </a:lnTo>
                <a:lnTo>
                  <a:pt x="1279964" y="1990285"/>
                </a:lnTo>
                <a:cubicBezTo>
                  <a:pt x="1279138" y="1988271"/>
                  <a:pt x="1278725" y="1986257"/>
                  <a:pt x="1279241" y="1985018"/>
                </a:cubicBezTo>
                <a:lnTo>
                  <a:pt x="1282752" y="1984244"/>
                </a:lnTo>
                <a:lnTo>
                  <a:pt x="1283062" y="1982695"/>
                </a:lnTo>
                <a:cubicBezTo>
                  <a:pt x="1283785" y="1978358"/>
                  <a:pt x="1284095" y="1974485"/>
                  <a:pt x="1284095" y="1973401"/>
                </a:cubicBezTo>
                <a:cubicBezTo>
                  <a:pt x="1289980" y="1973866"/>
                  <a:pt x="1298654" y="1980681"/>
                  <a:pt x="1307018" y="1979906"/>
                </a:cubicBezTo>
                <a:lnTo>
                  <a:pt x="1311354" y="1977583"/>
                </a:lnTo>
                <a:lnTo>
                  <a:pt x="1310322" y="1976809"/>
                </a:lnTo>
                <a:cubicBezTo>
                  <a:pt x="1309496" y="1976809"/>
                  <a:pt x="1308669" y="1976034"/>
                  <a:pt x="1308773" y="1975260"/>
                </a:cubicBezTo>
                <a:cubicBezTo>
                  <a:pt x="1308773" y="1975260"/>
                  <a:pt x="1307843" y="1974485"/>
                  <a:pt x="1307018" y="1974485"/>
                </a:cubicBezTo>
                <a:cubicBezTo>
                  <a:pt x="1305366" y="1972936"/>
                  <a:pt x="1305366" y="1972162"/>
                  <a:pt x="1305469" y="1971387"/>
                </a:cubicBezTo>
                <a:cubicBezTo>
                  <a:pt x="1305469" y="1971387"/>
                  <a:pt x="1306295" y="1972162"/>
                  <a:pt x="1307121" y="1972007"/>
                </a:cubicBezTo>
                <a:cubicBezTo>
                  <a:pt x="1307121" y="1972007"/>
                  <a:pt x="1307947" y="1972782"/>
                  <a:pt x="1308773" y="1973556"/>
                </a:cubicBezTo>
                <a:cubicBezTo>
                  <a:pt x="1308773" y="1973556"/>
                  <a:pt x="1309599" y="1973556"/>
                  <a:pt x="1310425" y="1973556"/>
                </a:cubicBezTo>
                <a:lnTo>
                  <a:pt x="1313316" y="1975570"/>
                </a:lnTo>
                <a:lnTo>
                  <a:pt x="1313419" y="1974950"/>
                </a:lnTo>
                <a:lnTo>
                  <a:pt x="1314555" y="1969219"/>
                </a:lnTo>
                <a:lnTo>
                  <a:pt x="1310631" y="1961629"/>
                </a:lnTo>
                <a:cubicBezTo>
                  <a:pt x="1307637" y="1955898"/>
                  <a:pt x="1305056" y="1949547"/>
                  <a:pt x="1309289" y="1944436"/>
                </a:cubicBezTo>
                <a:cubicBezTo>
                  <a:pt x="1311561" y="1940253"/>
                  <a:pt x="1315381" y="1940563"/>
                  <a:pt x="1317033" y="1945055"/>
                </a:cubicBezTo>
                <a:lnTo>
                  <a:pt x="1322196" y="1951251"/>
                </a:lnTo>
                <a:lnTo>
                  <a:pt x="1322506" y="1950941"/>
                </a:lnTo>
                <a:cubicBezTo>
                  <a:pt x="1323848" y="1950167"/>
                  <a:pt x="1325397" y="1949702"/>
                  <a:pt x="1327049" y="1949393"/>
                </a:cubicBezTo>
                <a:lnTo>
                  <a:pt x="1330870" y="1949547"/>
                </a:lnTo>
                <a:lnTo>
                  <a:pt x="1329734" y="1948617"/>
                </a:lnTo>
                <a:cubicBezTo>
                  <a:pt x="1328701" y="1947843"/>
                  <a:pt x="1327772" y="1947069"/>
                  <a:pt x="1328288" y="1946759"/>
                </a:cubicBezTo>
                <a:cubicBezTo>
                  <a:pt x="1328288" y="1946759"/>
                  <a:pt x="1329114" y="1947533"/>
                  <a:pt x="1329940" y="1948308"/>
                </a:cubicBezTo>
                <a:cubicBezTo>
                  <a:pt x="1330767" y="1949082"/>
                  <a:pt x="1330870" y="1949082"/>
                  <a:pt x="1331799" y="1948153"/>
                </a:cubicBezTo>
                <a:cubicBezTo>
                  <a:pt x="1332212" y="1948617"/>
                  <a:pt x="1332419" y="1948772"/>
                  <a:pt x="1332419" y="1949082"/>
                </a:cubicBezTo>
                <a:lnTo>
                  <a:pt x="1332522" y="1949702"/>
                </a:lnTo>
                <a:lnTo>
                  <a:pt x="1337272" y="1951715"/>
                </a:lnTo>
                <a:lnTo>
                  <a:pt x="1341402" y="1955123"/>
                </a:lnTo>
                <a:lnTo>
                  <a:pt x="1341505" y="1955123"/>
                </a:lnTo>
                <a:lnTo>
                  <a:pt x="1343157" y="1956517"/>
                </a:lnTo>
                <a:cubicBezTo>
                  <a:pt x="1345429" y="1958841"/>
                  <a:pt x="1346771" y="1961009"/>
                  <a:pt x="1347494" y="1962558"/>
                </a:cubicBezTo>
                <a:lnTo>
                  <a:pt x="1348423" y="1965192"/>
                </a:lnTo>
                <a:lnTo>
                  <a:pt x="1351831" y="1964107"/>
                </a:lnTo>
                <a:lnTo>
                  <a:pt x="1356167" y="1959926"/>
                </a:lnTo>
                <a:lnTo>
                  <a:pt x="1355755" y="1958222"/>
                </a:lnTo>
                <a:lnTo>
                  <a:pt x="1355755" y="1957912"/>
                </a:lnTo>
                <a:lnTo>
                  <a:pt x="1354928" y="1957912"/>
                </a:lnTo>
                <a:cubicBezTo>
                  <a:pt x="1354722" y="1958066"/>
                  <a:pt x="1354619" y="1958222"/>
                  <a:pt x="1354515" y="1958841"/>
                </a:cubicBezTo>
                <a:cubicBezTo>
                  <a:pt x="1354515" y="1958841"/>
                  <a:pt x="1353999" y="1958222"/>
                  <a:pt x="1353999" y="1958222"/>
                </a:cubicBezTo>
                <a:cubicBezTo>
                  <a:pt x="1354722" y="1957757"/>
                  <a:pt x="1354102" y="1958222"/>
                  <a:pt x="1352863" y="1958066"/>
                </a:cubicBezTo>
                <a:cubicBezTo>
                  <a:pt x="1352657" y="1956207"/>
                  <a:pt x="1352244" y="1955433"/>
                  <a:pt x="1352554" y="1954349"/>
                </a:cubicBezTo>
                <a:lnTo>
                  <a:pt x="1352554" y="1954194"/>
                </a:lnTo>
                <a:lnTo>
                  <a:pt x="1346255" y="1950786"/>
                </a:lnTo>
                <a:lnTo>
                  <a:pt x="1345222" y="1949082"/>
                </a:lnTo>
                <a:lnTo>
                  <a:pt x="1343467" y="1948463"/>
                </a:lnTo>
                <a:cubicBezTo>
                  <a:pt x="1343673" y="1947688"/>
                  <a:pt x="1343570" y="1947533"/>
                  <a:pt x="1344499" y="1947688"/>
                </a:cubicBezTo>
                <a:cubicBezTo>
                  <a:pt x="1344396" y="1947533"/>
                  <a:pt x="1344396" y="1947533"/>
                  <a:pt x="1344293" y="1947533"/>
                </a:cubicBezTo>
                <a:lnTo>
                  <a:pt x="1344706" y="1947379"/>
                </a:lnTo>
                <a:lnTo>
                  <a:pt x="1344499" y="1946759"/>
                </a:lnTo>
                <a:cubicBezTo>
                  <a:pt x="1344499" y="1946139"/>
                  <a:pt x="1344706" y="1945520"/>
                  <a:pt x="1345222" y="1944900"/>
                </a:cubicBezTo>
                <a:cubicBezTo>
                  <a:pt x="1345326" y="1943971"/>
                  <a:pt x="1348733" y="1944126"/>
                  <a:pt x="1349456" y="1945055"/>
                </a:cubicBezTo>
                <a:cubicBezTo>
                  <a:pt x="1351004" y="1946759"/>
                  <a:pt x="1351727" y="1947533"/>
                  <a:pt x="1351521" y="1949237"/>
                </a:cubicBezTo>
                <a:cubicBezTo>
                  <a:pt x="1352347" y="1950167"/>
                  <a:pt x="1353070" y="1950941"/>
                  <a:pt x="1353379" y="1951715"/>
                </a:cubicBezTo>
                <a:lnTo>
                  <a:pt x="1352760" y="1953729"/>
                </a:lnTo>
                <a:lnTo>
                  <a:pt x="1353483" y="1952490"/>
                </a:lnTo>
                <a:cubicBezTo>
                  <a:pt x="1353896" y="1952025"/>
                  <a:pt x="1354412" y="1951560"/>
                  <a:pt x="1355032" y="1951715"/>
                </a:cubicBezTo>
                <a:cubicBezTo>
                  <a:pt x="1355548" y="1952335"/>
                  <a:pt x="1356271" y="1951871"/>
                  <a:pt x="1356684" y="1952490"/>
                </a:cubicBezTo>
                <a:cubicBezTo>
                  <a:pt x="1357406" y="1952955"/>
                  <a:pt x="1357716" y="1953264"/>
                  <a:pt x="1358026" y="1953574"/>
                </a:cubicBezTo>
                <a:cubicBezTo>
                  <a:pt x="1356787" y="1952180"/>
                  <a:pt x="1355858" y="1950476"/>
                  <a:pt x="1355755" y="1948617"/>
                </a:cubicBezTo>
                <a:lnTo>
                  <a:pt x="1362776" y="1950786"/>
                </a:lnTo>
                <a:lnTo>
                  <a:pt x="1364222" y="1948308"/>
                </a:lnTo>
                <a:lnTo>
                  <a:pt x="1363086" y="1947843"/>
                </a:lnTo>
                <a:cubicBezTo>
                  <a:pt x="1363086" y="1947843"/>
                  <a:pt x="1362982" y="1947843"/>
                  <a:pt x="1363912" y="1946914"/>
                </a:cubicBezTo>
                <a:lnTo>
                  <a:pt x="1364634" y="1947069"/>
                </a:lnTo>
                <a:lnTo>
                  <a:pt x="1366287" y="1940098"/>
                </a:lnTo>
                <a:cubicBezTo>
                  <a:pt x="1366596" y="1937620"/>
                  <a:pt x="1366700" y="1935142"/>
                  <a:pt x="1367009" y="1932353"/>
                </a:cubicBezTo>
                <a:lnTo>
                  <a:pt x="1367629" y="1929410"/>
                </a:lnTo>
                <a:lnTo>
                  <a:pt x="1364325" y="1930495"/>
                </a:lnTo>
                <a:lnTo>
                  <a:pt x="1363499" y="1930804"/>
                </a:lnTo>
                <a:lnTo>
                  <a:pt x="1363395" y="1932818"/>
                </a:lnTo>
                <a:cubicBezTo>
                  <a:pt x="1363395" y="1932818"/>
                  <a:pt x="1361846" y="1937155"/>
                  <a:pt x="1358749" y="1936536"/>
                </a:cubicBezTo>
                <a:cubicBezTo>
                  <a:pt x="1358439" y="1936691"/>
                  <a:pt x="1357820" y="1936071"/>
                  <a:pt x="1357406" y="1935142"/>
                </a:cubicBezTo>
                <a:lnTo>
                  <a:pt x="1356890" y="1932818"/>
                </a:lnTo>
                <a:lnTo>
                  <a:pt x="1353276" y="1933748"/>
                </a:lnTo>
                <a:lnTo>
                  <a:pt x="1351418" y="1935451"/>
                </a:lnTo>
                <a:lnTo>
                  <a:pt x="1350695" y="1935606"/>
                </a:lnTo>
                <a:lnTo>
                  <a:pt x="1350385" y="1936536"/>
                </a:lnTo>
                <a:cubicBezTo>
                  <a:pt x="1350385" y="1936536"/>
                  <a:pt x="1350385" y="1936536"/>
                  <a:pt x="1349662" y="1936536"/>
                </a:cubicBezTo>
                <a:lnTo>
                  <a:pt x="1350075" y="1935761"/>
                </a:lnTo>
                <a:lnTo>
                  <a:pt x="1349146" y="1935916"/>
                </a:lnTo>
                <a:lnTo>
                  <a:pt x="1349456" y="1936691"/>
                </a:lnTo>
                <a:cubicBezTo>
                  <a:pt x="1349456" y="1936691"/>
                  <a:pt x="1348733" y="1936846"/>
                  <a:pt x="1347597" y="1936381"/>
                </a:cubicBezTo>
                <a:cubicBezTo>
                  <a:pt x="1347597" y="1936381"/>
                  <a:pt x="1347701" y="1936226"/>
                  <a:pt x="1347907" y="1936071"/>
                </a:cubicBezTo>
                <a:lnTo>
                  <a:pt x="1348733" y="1935916"/>
                </a:lnTo>
                <a:lnTo>
                  <a:pt x="1346048" y="1934212"/>
                </a:lnTo>
                <a:cubicBezTo>
                  <a:pt x="1345326" y="1933283"/>
                  <a:pt x="1345016" y="1931889"/>
                  <a:pt x="1345119" y="1930495"/>
                </a:cubicBezTo>
                <a:cubicBezTo>
                  <a:pt x="1345222" y="1928946"/>
                  <a:pt x="1345945" y="1927087"/>
                  <a:pt x="1347494" y="1925538"/>
                </a:cubicBezTo>
                <a:cubicBezTo>
                  <a:pt x="1349456" y="1925538"/>
                  <a:pt x="1352760" y="1927861"/>
                  <a:pt x="1354309" y="1930030"/>
                </a:cubicBezTo>
                <a:lnTo>
                  <a:pt x="1354309" y="1930185"/>
                </a:lnTo>
                <a:lnTo>
                  <a:pt x="1354515" y="1930185"/>
                </a:lnTo>
                <a:cubicBezTo>
                  <a:pt x="1355858" y="1929256"/>
                  <a:pt x="1357820" y="1928481"/>
                  <a:pt x="1359471" y="1927861"/>
                </a:cubicBezTo>
                <a:lnTo>
                  <a:pt x="1360194" y="1927861"/>
                </a:lnTo>
                <a:lnTo>
                  <a:pt x="1361021" y="1926003"/>
                </a:lnTo>
                <a:cubicBezTo>
                  <a:pt x="1361537" y="1925383"/>
                  <a:pt x="1362363" y="1925073"/>
                  <a:pt x="1363499" y="1925538"/>
                </a:cubicBezTo>
                <a:lnTo>
                  <a:pt x="1363499" y="1927242"/>
                </a:lnTo>
                <a:lnTo>
                  <a:pt x="1363602" y="1927242"/>
                </a:lnTo>
                <a:cubicBezTo>
                  <a:pt x="1363912" y="1927242"/>
                  <a:pt x="1364325" y="1927397"/>
                  <a:pt x="1364634" y="1927087"/>
                </a:cubicBezTo>
                <a:cubicBezTo>
                  <a:pt x="1364634" y="1927087"/>
                  <a:pt x="1365357" y="1926622"/>
                  <a:pt x="1366596" y="1926777"/>
                </a:cubicBezTo>
                <a:lnTo>
                  <a:pt x="1368042" y="1927242"/>
                </a:lnTo>
                <a:lnTo>
                  <a:pt x="1369074" y="1922750"/>
                </a:lnTo>
                <a:cubicBezTo>
                  <a:pt x="1370830" y="1925073"/>
                  <a:pt x="1372689" y="1927397"/>
                  <a:pt x="1374444" y="1929721"/>
                </a:cubicBezTo>
                <a:cubicBezTo>
                  <a:pt x="1376302" y="1932044"/>
                  <a:pt x="1376302" y="1932044"/>
                  <a:pt x="1378161" y="1932199"/>
                </a:cubicBezTo>
                <a:cubicBezTo>
                  <a:pt x="1382498" y="1926003"/>
                  <a:pt x="1378884" y="1921201"/>
                  <a:pt x="1383324" y="1912681"/>
                </a:cubicBezTo>
                <a:lnTo>
                  <a:pt x="1385905" y="1924454"/>
                </a:lnTo>
                <a:lnTo>
                  <a:pt x="1389416" y="1919962"/>
                </a:lnTo>
                <a:cubicBezTo>
                  <a:pt x="1394269" y="1922285"/>
                  <a:pt x="1398296" y="1926313"/>
                  <a:pt x="1401497" y="1931269"/>
                </a:cubicBezTo>
                <a:lnTo>
                  <a:pt x="1404904" y="1940098"/>
                </a:lnTo>
                <a:lnTo>
                  <a:pt x="1408828" y="1941337"/>
                </a:lnTo>
                <a:lnTo>
                  <a:pt x="1410170" y="1944436"/>
                </a:lnTo>
                <a:lnTo>
                  <a:pt x="1410273" y="1944436"/>
                </a:lnTo>
                <a:lnTo>
                  <a:pt x="1410170" y="1944590"/>
                </a:lnTo>
                <a:lnTo>
                  <a:pt x="1410583" y="1945365"/>
                </a:lnTo>
                <a:cubicBezTo>
                  <a:pt x="1411719" y="1950012"/>
                  <a:pt x="1411306" y="1955898"/>
                  <a:pt x="1415436" y="1959460"/>
                </a:cubicBezTo>
                <a:cubicBezTo>
                  <a:pt x="1415436" y="1959460"/>
                  <a:pt x="1416779" y="1960854"/>
                  <a:pt x="1418947" y="1962713"/>
                </a:cubicBezTo>
                <a:lnTo>
                  <a:pt x="1423387" y="1966121"/>
                </a:lnTo>
                <a:lnTo>
                  <a:pt x="1425349" y="1965501"/>
                </a:lnTo>
                <a:lnTo>
                  <a:pt x="1426588" y="1966276"/>
                </a:lnTo>
                <a:lnTo>
                  <a:pt x="1425556" y="1961009"/>
                </a:lnTo>
                <a:cubicBezTo>
                  <a:pt x="1424420" y="1954659"/>
                  <a:pt x="1424007" y="1948617"/>
                  <a:pt x="1428343" y="1943971"/>
                </a:cubicBezTo>
                <a:cubicBezTo>
                  <a:pt x="1439185" y="1942267"/>
                  <a:pt x="1440218" y="1936381"/>
                  <a:pt x="1445897" y="1932818"/>
                </a:cubicBezTo>
                <a:lnTo>
                  <a:pt x="1453435" y="1933438"/>
                </a:lnTo>
                <a:lnTo>
                  <a:pt x="1454158" y="1931579"/>
                </a:lnTo>
                <a:cubicBezTo>
                  <a:pt x="1456326" y="1927397"/>
                  <a:pt x="1460146" y="1929875"/>
                  <a:pt x="1462005" y="1932199"/>
                </a:cubicBezTo>
                <a:cubicBezTo>
                  <a:pt x="1462005" y="1932199"/>
                  <a:pt x="1461902" y="1932663"/>
                  <a:pt x="1461799" y="1933593"/>
                </a:cubicBezTo>
                <a:lnTo>
                  <a:pt x="1461696" y="1934522"/>
                </a:lnTo>
                <a:lnTo>
                  <a:pt x="1464380" y="1935142"/>
                </a:lnTo>
                <a:lnTo>
                  <a:pt x="1467994" y="1932818"/>
                </a:lnTo>
                <a:lnTo>
                  <a:pt x="1468717" y="1936226"/>
                </a:lnTo>
                <a:lnTo>
                  <a:pt x="1470678" y="1936691"/>
                </a:lnTo>
                <a:lnTo>
                  <a:pt x="1476048" y="1939479"/>
                </a:lnTo>
                <a:lnTo>
                  <a:pt x="1476358" y="1939014"/>
                </a:lnTo>
                <a:cubicBezTo>
                  <a:pt x="1477080" y="1938550"/>
                  <a:pt x="1478010" y="1938550"/>
                  <a:pt x="1478939" y="1939014"/>
                </a:cubicBezTo>
                <a:lnTo>
                  <a:pt x="1481521" y="1942422"/>
                </a:lnTo>
                <a:lnTo>
                  <a:pt x="1482243" y="1942732"/>
                </a:lnTo>
                <a:cubicBezTo>
                  <a:pt x="1485754" y="1945365"/>
                  <a:pt x="1488748" y="1948308"/>
                  <a:pt x="1491020" y="1952180"/>
                </a:cubicBezTo>
                <a:cubicBezTo>
                  <a:pt x="1492982" y="1955278"/>
                  <a:pt x="1494014" y="1958066"/>
                  <a:pt x="1494531" y="1960854"/>
                </a:cubicBezTo>
                <a:lnTo>
                  <a:pt x="1494634" y="1963952"/>
                </a:lnTo>
                <a:lnTo>
                  <a:pt x="1495667" y="1965966"/>
                </a:lnTo>
                <a:cubicBezTo>
                  <a:pt x="1497319" y="1969064"/>
                  <a:pt x="1499797" y="1974485"/>
                  <a:pt x="1499797" y="1976654"/>
                </a:cubicBezTo>
                <a:cubicBezTo>
                  <a:pt x="1498971" y="1974640"/>
                  <a:pt x="1497525" y="1972471"/>
                  <a:pt x="1496390" y="1970148"/>
                </a:cubicBezTo>
                <a:lnTo>
                  <a:pt x="1494634" y="1964107"/>
                </a:lnTo>
                <a:lnTo>
                  <a:pt x="1494737" y="1968909"/>
                </a:lnTo>
                <a:cubicBezTo>
                  <a:pt x="1494118" y="1974330"/>
                  <a:pt x="1492569" y="1979752"/>
                  <a:pt x="1492775" y="1986257"/>
                </a:cubicBezTo>
                <a:cubicBezTo>
                  <a:pt x="1490091" y="1986722"/>
                  <a:pt x="1488026" y="1987342"/>
                  <a:pt x="1486477" y="1988271"/>
                </a:cubicBezTo>
                <a:lnTo>
                  <a:pt x="1485547" y="1989200"/>
                </a:lnTo>
                <a:lnTo>
                  <a:pt x="1486374" y="1991834"/>
                </a:lnTo>
                <a:cubicBezTo>
                  <a:pt x="1487612" y="1995551"/>
                  <a:pt x="1488852" y="1999424"/>
                  <a:pt x="1488748" y="2000508"/>
                </a:cubicBezTo>
                <a:cubicBezTo>
                  <a:pt x="1488748" y="2000508"/>
                  <a:pt x="1490710" y="2001283"/>
                  <a:pt x="1493292" y="2002057"/>
                </a:cubicBezTo>
                <a:lnTo>
                  <a:pt x="1496493" y="2002212"/>
                </a:lnTo>
                <a:lnTo>
                  <a:pt x="1499384" y="2000972"/>
                </a:lnTo>
                <a:lnTo>
                  <a:pt x="1501759" y="2002521"/>
                </a:lnTo>
                <a:lnTo>
                  <a:pt x="1501862" y="2002521"/>
                </a:lnTo>
                <a:lnTo>
                  <a:pt x="1504753" y="2000817"/>
                </a:lnTo>
                <a:lnTo>
                  <a:pt x="1504857" y="1990750"/>
                </a:lnTo>
                <a:cubicBezTo>
                  <a:pt x="1506096" y="1986103"/>
                  <a:pt x="1508883" y="1981301"/>
                  <a:pt x="1513736" y="1976964"/>
                </a:cubicBezTo>
                <a:cubicBezTo>
                  <a:pt x="1518590" y="1974795"/>
                  <a:pt x="1524888" y="1978048"/>
                  <a:pt x="1529741" y="1983160"/>
                </a:cubicBezTo>
                <a:lnTo>
                  <a:pt x="1535110" y="1991524"/>
                </a:lnTo>
                <a:lnTo>
                  <a:pt x="1535246" y="1991572"/>
                </a:lnTo>
                <a:lnTo>
                  <a:pt x="1535524" y="1991989"/>
                </a:lnTo>
                <a:cubicBezTo>
                  <a:pt x="1536866" y="1995241"/>
                  <a:pt x="1537485" y="1998339"/>
                  <a:pt x="1536969" y="2001128"/>
                </a:cubicBezTo>
                <a:cubicBezTo>
                  <a:pt x="1533149" y="2005464"/>
                  <a:pt x="1529225" y="2009802"/>
                  <a:pt x="1525301" y="2014294"/>
                </a:cubicBezTo>
                <a:lnTo>
                  <a:pt x="1518383" y="2013054"/>
                </a:lnTo>
                <a:lnTo>
                  <a:pt x="1518073" y="2014139"/>
                </a:lnTo>
                <a:cubicBezTo>
                  <a:pt x="1518073" y="2017082"/>
                  <a:pt x="1519209" y="2020025"/>
                  <a:pt x="1522410" y="2023123"/>
                </a:cubicBezTo>
                <a:lnTo>
                  <a:pt x="1523236" y="2024052"/>
                </a:lnTo>
                <a:lnTo>
                  <a:pt x="1523856" y="2023897"/>
                </a:lnTo>
                <a:cubicBezTo>
                  <a:pt x="1526334" y="2023742"/>
                  <a:pt x="1528915" y="2025136"/>
                  <a:pt x="1529948" y="2027150"/>
                </a:cubicBezTo>
                <a:lnTo>
                  <a:pt x="1529948" y="2028235"/>
                </a:lnTo>
                <a:lnTo>
                  <a:pt x="1530773" y="2030403"/>
                </a:lnTo>
                <a:cubicBezTo>
                  <a:pt x="1531187" y="2031022"/>
                  <a:pt x="1531600" y="2031487"/>
                  <a:pt x="1531600" y="2032572"/>
                </a:cubicBezTo>
                <a:cubicBezTo>
                  <a:pt x="1531497" y="2033656"/>
                  <a:pt x="1542545" y="2035669"/>
                  <a:pt x="1553903" y="2037373"/>
                </a:cubicBezTo>
                <a:lnTo>
                  <a:pt x="1556691" y="2037838"/>
                </a:lnTo>
                <a:cubicBezTo>
                  <a:pt x="1556278" y="2036599"/>
                  <a:pt x="1556278" y="2035360"/>
                  <a:pt x="1556691" y="2034430"/>
                </a:cubicBezTo>
                <a:cubicBezTo>
                  <a:pt x="1557414" y="2032417"/>
                  <a:pt x="1559376" y="2031022"/>
                  <a:pt x="1561544" y="2030713"/>
                </a:cubicBezTo>
                <a:cubicBezTo>
                  <a:pt x="1562990" y="2030403"/>
                  <a:pt x="1564539" y="2030558"/>
                  <a:pt x="1565881" y="2031332"/>
                </a:cubicBezTo>
                <a:cubicBezTo>
                  <a:pt x="1567533" y="2032417"/>
                  <a:pt x="1568669" y="2034430"/>
                  <a:pt x="1568566" y="2037838"/>
                </a:cubicBezTo>
                <a:lnTo>
                  <a:pt x="1566191" y="2039232"/>
                </a:lnTo>
                <a:lnTo>
                  <a:pt x="1569701" y="2039696"/>
                </a:lnTo>
                <a:cubicBezTo>
                  <a:pt x="1574141" y="2040316"/>
                  <a:pt x="1577239" y="2040626"/>
                  <a:pt x="1577755" y="2040626"/>
                </a:cubicBezTo>
                <a:cubicBezTo>
                  <a:pt x="1586945" y="2050229"/>
                  <a:pt x="1583331" y="2059833"/>
                  <a:pt x="1580130" y="2069592"/>
                </a:cubicBezTo>
                <a:lnTo>
                  <a:pt x="1578375" y="2077492"/>
                </a:lnTo>
                <a:lnTo>
                  <a:pt x="1585499" y="2078575"/>
                </a:lnTo>
                <a:cubicBezTo>
                  <a:pt x="1587771" y="2077336"/>
                  <a:pt x="1589630" y="2074548"/>
                  <a:pt x="1591282" y="2070831"/>
                </a:cubicBezTo>
                <a:cubicBezTo>
                  <a:pt x="1593760" y="2066959"/>
                  <a:pt x="1594586" y="2062311"/>
                  <a:pt x="1596238" y="2057664"/>
                </a:cubicBezTo>
                <a:cubicBezTo>
                  <a:pt x="1597890" y="2053792"/>
                  <a:pt x="1598716" y="2049145"/>
                  <a:pt x="1600369" y="2045428"/>
                </a:cubicBezTo>
                <a:cubicBezTo>
                  <a:pt x="1602021" y="2049145"/>
                  <a:pt x="1601195" y="2053017"/>
                  <a:pt x="1600369" y="2056735"/>
                </a:cubicBezTo>
                <a:cubicBezTo>
                  <a:pt x="1599542" y="2060453"/>
                  <a:pt x="1597787" y="2065100"/>
                  <a:pt x="1597787" y="2068817"/>
                </a:cubicBezTo>
                <a:cubicBezTo>
                  <a:pt x="1600369" y="2067888"/>
                  <a:pt x="1603672" y="2065100"/>
                  <a:pt x="1604499" y="2061382"/>
                </a:cubicBezTo>
                <a:cubicBezTo>
                  <a:pt x="1606151" y="2058594"/>
                  <a:pt x="1606151" y="2054876"/>
                  <a:pt x="1602021" y="2053017"/>
                </a:cubicBezTo>
                <a:cubicBezTo>
                  <a:pt x="1604911" y="2050540"/>
                  <a:pt x="1606357" y="2048526"/>
                  <a:pt x="1607493" y="2046047"/>
                </a:cubicBezTo>
                <a:lnTo>
                  <a:pt x="1610901" y="2037528"/>
                </a:lnTo>
                <a:lnTo>
                  <a:pt x="1605222" y="2035515"/>
                </a:lnTo>
                <a:cubicBezTo>
                  <a:pt x="1600472" y="2033656"/>
                  <a:pt x="1595928" y="2031177"/>
                  <a:pt x="1593347" y="2028235"/>
                </a:cubicBezTo>
                <a:cubicBezTo>
                  <a:pt x="1594070" y="2027305"/>
                  <a:pt x="1594999" y="2026685"/>
                  <a:pt x="1595928" y="2026375"/>
                </a:cubicBezTo>
                <a:cubicBezTo>
                  <a:pt x="1603053" y="2024207"/>
                  <a:pt x="1615960" y="2035050"/>
                  <a:pt x="1618955" y="2039851"/>
                </a:cubicBezTo>
                <a:lnTo>
                  <a:pt x="1612553" y="2037993"/>
                </a:lnTo>
                <a:lnTo>
                  <a:pt x="1611313" y="2041400"/>
                </a:lnTo>
                <a:lnTo>
                  <a:pt x="1610967" y="2044310"/>
                </a:lnTo>
                <a:lnTo>
                  <a:pt x="1610901" y="2044343"/>
                </a:lnTo>
                <a:lnTo>
                  <a:pt x="1610956" y="2044399"/>
                </a:lnTo>
                <a:lnTo>
                  <a:pt x="1610281" y="2050075"/>
                </a:lnTo>
                <a:lnTo>
                  <a:pt x="1614308" y="2047441"/>
                </a:lnTo>
                <a:lnTo>
                  <a:pt x="1613998" y="2047441"/>
                </a:lnTo>
                <a:lnTo>
                  <a:pt x="1610956" y="2044399"/>
                </a:lnTo>
                <a:lnTo>
                  <a:pt x="1610967" y="2044310"/>
                </a:lnTo>
                <a:lnTo>
                  <a:pt x="1618541" y="2040471"/>
                </a:lnTo>
                <a:lnTo>
                  <a:pt x="1619987" y="2041091"/>
                </a:lnTo>
                <a:lnTo>
                  <a:pt x="1622156" y="2037838"/>
                </a:lnTo>
                <a:cubicBezTo>
                  <a:pt x="1625563" y="2031952"/>
                  <a:pt x="1628041" y="2025756"/>
                  <a:pt x="1628454" y="2024827"/>
                </a:cubicBezTo>
                <a:cubicBezTo>
                  <a:pt x="1631758" y="2020180"/>
                  <a:pt x="1634236" y="2015533"/>
                  <a:pt x="1633410" y="2017392"/>
                </a:cubicBezTo>
                <a:lnTo>
                  <a:pt x="1636921" y="2011041"/>
                </a:lnTo>
                <a:lnTo>
                  <a:pt x="1636611" y="2010266"/>
                </a:lnTo>
                <a:lnTo>
                  <a:pt x="1637128" y="2010731"/>
                </a:lnTo>
                <a:lnTo>
                  <a:pt x="1637334" y="2010421"/>
                </a:lnTo>
                <a:cubicBezTo>
                  <a:pt x="1640329" y="2007014"/>
                  <a:pt x="1643942" y="2005619"/>
                  <a:pt x="1646937" y="2003761"/>
                </a:cubicBezTo>
                <a:lnTo>
                  <a:pt x="1646731" y="2003606"/>
                </a:lnTo>
                <a:cubicBezTo>
                  <a:pt x="1646627" y="2003451"/>
                  <a:pt x="1646627" y="2003141"/>
                  <a:pt x="1646317" y="2002831"/>
                </a:cubicBezTo>
                <a:cubicBezTo>
                  <a:pt x="1645492" y="2001902"/>
                  <a:pt x="1643942" y="2000972"/>
                  <a:pt x="1643116" y="2000972"/>
                </a:cubicBezTo>
                <a:cubicBezTo>
                  <a:pt x="1646007" y="1997720"/>
                  <a:pt x="1643736" y="1995861"/>
                  <a:pt x="1648589" y="1990904"/>
                </a:cubicBezTo>
                <a:cubicBezTo>
                  <a:pt x="1650138" y="1989355"/>
                  <a:pt x="1651583" y="1988116"/>
                  <a:pt x="1653029" y="1987497"/>
                </a:cubicBezTo>
                <a:lnTo>
                  <a:pt x="1653339" y="1987342"/>
                </a:lnTo>
                <a:lnTo>
                  <a:pt x="1654888" y="1985483"/>
                </a:lnTo>
                <a:lnTo>
                  <a:pt x="1651790" y="1981920"/>
                </a:lnTo>
                <a:cubicBezTo>
                  <a:pt x="1644665" y="1974485"/>
                  <a:pt x="1639296" y="1970923"/>
                  <a:pt x="1643426" y="1959770"/>
                </a:cubicBezTo>
                <a:cubicBezTo>
                  <a:pt x="1647247" y="1959150"/>
                  <a:pt x="1651274" y="1961938"/>
                  <a:pt x="1655404" y="1966121"/>
                </a:cubicBezTo>
                <a:lnTo>
                  <a:pt x="1663355" y="1975415"/>
                </a:lnTo>
                <a:lnTo>
                  <a:pt x="1673990" y="1961164"/>
                </a:lnTo>
                <a:lnTo>
                  <a:pt x="1679566" y="1953110"/>
                </a:lnTo>
                <a:lnTo>
                  <a:pt x="1679463" y="1952955"/>
                </a:lnTo>
                <a:lnTo>
                  <a:pt x="1680082" y="1952335"/>
                </a:lnTo>
                <a:lnTo>
                  <a:pt x="1684729" y="1944281"/>
                </a:lnTo>
                <a:cubicBezTo>
                  <a:pt x="1688033" y="1937775"/>
                  <a:pt x="1691337" y="1931114"/>
                  <a:pt x="1692989" y="1924609"/>
                </a:cubicBezTo>
                <a:cubicBezTo>
                  <a:pt x="1695468" y="1924609"/>
                  <a:pt x="1697119" y="1927397"/>
                  <a:pt x="1699701" y="1925538"/>
                </a:cubicBezTo>
                <a:cubicBezTo>
                  <a:pt x="1702179" y="1932044"/>
                  <a:pt x="1693918" y="1926468"/>
                  <a:pt x="1691440" y="1932044"/>
                </a:cubicBezTo>
                <a:cubicBezTo>
                  <a:pt x="1699701" y="1937775"/>
                  <a:pt x="1707961" y="1924609"/>
                  <a:pt x="1712918" y="1917019"/>
                </a:cubicBezTo>
                <a:cubicBezTo>
                  <a:pt x="1711266" y="1917019"/>
                  <a:pt x="1708787" y="1919962"/>
                  <a:pt x="1706309" y="1916244"/>
                </a:cubicBezTo>
                <a:cubicBezTo>
                  <a:pt x="1714570" y="1909584"/>
                  <a:pt x="1734395" y="1904937"/>
                  <a:pt x="1731091" y="1890841"/>
                </a:cubicBezTo>
                <a:cubicBezTo>
                  <a:pt x="1732330" y="1888982"/>
                  <a:pt x="1733362" y="1888673"/>
                  <a:pt x="1734395" y="1889137"/>
                </a:cubicBezTo>
                <a:lnTo>
                  <a:pt x="1734601" y="1889292"/>
                </a:lnTo>
                <a:lnTo>
                  <a:pt x="1743481" y="1879844"/>
                </a:lnTo>
                <a:lnTo>
                  <a:pt x="1745960" y="1880928"/>
                </a:lnTo>
                <a:lnTo>
                  <a:pt x="1746786" y="1879689"/>
                </a:lnTo>
                <a:cubicBezTo>
                  <a:pt x="1745134" y="1876901"/>
                  <a:pt x="1743481" y="1878760"/>
                  <a:pt x="1741003" y="1879689"/>
                </a:cubicBezTo>
                <a:cubicBezTo>
                  <a:pt x="1742656" y="1867452"/>
                  <a:pt x="1754324" y="1871169"/>
                  <a:pt x="1759280" y="1857074"/>
                </a:cubicBezTo>
                <a:cubicBezTo>
                  <a:pt x="1762584" y="1863735"/>
                  <a:pt x="1768366" y="1854286"/>
                  <a:pt x="1772497" y="1856299"/>
                </a:cubicBezTo>
                <a:cubicBezTo>
                  <a:pt x="1775801" y="1849639"/>
                  <a:pt x="1781583" y="1843133"/>
                  <a:pt x="1787365" y="1835543"/>
                </a:cubicBezTo>
                <a:cubicBezTo>
                  <a:pt x="1790670" y="1832756"/>
                  <a:pt x="1793974" y="1829038"/>
                  <a:pt x="1797381" y="1825320"/>
                </a:cubicBezTo>
                <a:cubicBezTo>
                  <a:pt x="1800686" y="1821603"/>
                  <a:pt x="1804712" y="1817885"/>
                  <a:pt x="1808017" y="1814942"/>
                </a:cubicBezTo>
                <a:cubicBezTo>
                  <a:pt x="1815451" y="1807507"/>
                  <a:pt x="1823711" y="1801002"/>
                  <a:pt x="1831249" y="1795270"/>
                </a:cubicBezTo>
                <a:cubicBezTo>
                  <a:pt x="1839510" y="1789694"/>
                  <a:pt x="1847770" y="1785047"/>
                  <a:pt x="1855205" y="1780401"/>
                </a:cubicBezTo>
                <a:lnTo>
                  <a:pt x="1860987" y="1770642"/>
                </a:lnTo>
                <a:lnTo>
                  <a:pt x="1853966" y="1770178"/>
                </a:lnTo>
                <a:cubicBezTo>
                  <a:pt x="1844776" y="1763517"/>
                  <a:pt x="1848803" y="1753448"/>
                  <a:pt x="1854792" y="1743070"/>
                </a:cubicBezTo>
                <a:cubicBezTo>
                  <a:pt x="1858922" y="1744310"/>
                  <a:pt x="1862639" y="1743380"/>
                  <a:pt x="1866873" y="1744620"/>
                </a:cubicBezTo>
                <a:cubicBezTo>
                  <a:pt x="1869971" y="1748956"/>
                  <a:pt x="1869764" y="1759025"/>
                  <a:pt x="1866563" y="1765685"/>
                </a:cubicBezTo>
                <a:lnTo>
                  <a:pt x="1865634" y="1766770"/>
                </a:lnTo>
                <a:lnTo>
                  <a:pt x="1872655" y="1762588"/>
                </a:lnTo>
                <a:cubicBezTo>
                  <a:pt x="1879264" y="1758870"/>
                  <a:pt x="1886698" y="1754997"/>
                  <a:pt x="1892480" y="1747562"/>
                </a:cubicBezTo>
                <a:cubicBezTo>
                  <a:pt x="1896610" y="1747562"/>
                  <a:pt x="1902393" y="1744774"/>
                  <a:pt x="1905697" y="1750351"/>
                </a:cubicBezTo>
                <a:cubicBezTo>
                  <a:pt x="1905697" y="1748492"/>
                  <a:pt x="1906523" y="1747562"/>
                  <a:pt x="1906523" y="1746633"/>
                </a:cubicBezTo>
                <a:cubicBezTo>
                  <a:pt x="1906523" y="1746633"/>
                  <a:pt x="1906523" y="1746633"/>
                  <a:pt x="1907349" y="1746633"/>
                </a:cubicBezTo>
                <a:cubicBezTo>
                  <a:pt x="1911479" y="1743845"/>
                  <a:pt x="1913958" y="1741986"/>
                  <a:pt x="1915713" y="1741057"/>
                </a:cubicBezTo>
                <a:cubicBezTo>
                  <a:pt x="1914784" y="1741986"/>
                  <a:pt x="1915713" y="1741057"/>
                  <a:pt x="1916539" y="1741057"/>
                </a:cubicBezTo>
                <a:cubicBezTo>
                  <a:pt x="1916539" y="1740127"/>
                  <a:pt x="1916539" y="1739973"/>
                  <a:pt x="1916539" y="1739973"/>
                </a:cubicBezTo>
                <a:cubicBezTo>
                  <a:pt x="1916539" y="1739973"/>
                  <a:pt x="1916539" y="1740127"/>
                  <a:pt x="1916539" y="1739198"/>
                </a:cubicBezTo>
                <a:cubicBezTo>
                  <a:pt x="1917365" y="1738269"/>
                  <a:pt x="1918191" y="1738114"/>
                  <a:pt x="1920669" y="1738114"/>
                </a:cubicBezTo>
                <a:cubicBezTo>
                  <a:pt x="1922321" y="1736255"/>
                  <a:pt x="1918088" y="1736255"/>
                  <a:pt x="1917262" y="1731608"/>
                </a:cubicBezTo>
                <a:cubicBezTo>
                  <a:pt x="1921392" y="1730679"/>
                  <a:pt x="1923044" y="1726961"/>
                  <a:pt x="1923870" y="1722159"/>
                </a:cubicBezTo>
                <a:cubicBezTo>
                  <a:pt x="1923870" y="1719371"/>
                  <a:pt x="1924799" y="1717512"/>
                  <a:pt x="1925626" y="1714724"/>
                </a:cubicBezTo>
                <a:cubicBezTo>
                  <a:pt x="1925626" y="1713795"/>
                  <a:pt x="1925522" y="1712866"/>
                  <a:pt x="1926348" y="1711936"/>
                </a:cubicBezTo>
                <a:cubicBezTo>
                  <a:pt x="1926348" y="1711936"/>
                  <a:pt x="1926348" y="1711936"/>
                  <a:pt x="1927174" y="1711007"/>
                </a:cubicBezTo>
                <a:cubicBezTo>
                  <a:pt x="1928001" y="1710077"/>
                  <a:pt x="1928930" y="1709148"/>
                  <a:pt x="1930582" y="1708219"/>
                </a:cubicBezTo>
                <a:cubicBezTo>
                  <a:pt x="1930582" y="1710077"/>
                  <a:pt x="1930582" y="1711936"/>
                  <a:pt x="1930582" y="1712866"/>
                </a:cubicBezTo>
                <a:cubicBezTo>
                  <a:pt x="1930582" y="1713795"/>
                  <a:pt x="1930582" y="1713795"/>
                  <a:pt x="1929756" y="1714724"/>
                </a:cubicBezTo>
                <a:cubicBezTo>
                  <a:pt x="1929756" y="1714724"/>
                  <a:pt x="1929756" y="1714724"/>
                  <a:pt x="1929756" y="1715654"/>
                </a:cubicBezTo>
                <a:cubicBezTo>
                  <a:pt x="1929756" y="1717512"/>
                  <a:pt x="1928827" y="1718442"/>
                  <a:pt x="1928001" y="1719526"/>
                </a:cubicBezTo>
                <a:cubicBezTo>
                  <a:pt x="1927174" y="1721385"/>
                  <a:pt x="1925626" y="1722314"/>
                  <a:pt x="1925626" y="1726961"/>
                </a:cubicBezTo>
                <a:cubicBezTo>
                  <a:pt x="1928104" y="1726961"/>
                  <a:pt x="1930582" y="1726961"/>
                  <a:pt x="1933060" y="1726961"/>
                </a:cubicBezTo>
                <a:cubicBezTo>
                  <a:pt x="1933886" y="1726961"/>
                  <a:pt x="1933886" y="1726961"/>
                  <a:pt x="1933886" y="1726961"/>
                </a:cubicBezTo>
                <a:cubicBezTo>
                  <a:pt x="1933886" y="1726961"/>
                  <a:pt x="1933886" y="1726961"/>
                  <a:pt x="1934712" y="1726961"/>
                </a:cubicBezTo>
                <a:lnTo>
                  <a:pt x="1935022" y="1726496"/>
                </a:lnTo>
                <a:lnTo>
                  <a:pt x="1935951" y="1720301"/>
                </a:lnTo>
                <a:cubicBezTo>
                  <a:pt x="1938120" y="1714105"/>
                  <a:pt x="1941733" y="1707909"/>
                  <a:pt x="1947516" y="1701868"/>
                </a:cubicBezTo>
                <a:cubicBezTo>
                  <a:pt x="1951749" y="1702178"/>
                  <a:pt x="1954537" y="1704037"/>
                  <a:pt x="1956086" y="1706670"/>
                </a:cubicBezTo>
                <a:lnTo>
                  <a:pt x="1957119" y="1714570"/>
                </a:lnTo>
                <a:lnTo>
                  <a:pt x="1958339" y="1713385"/>
                </a:lnTo>
                <a:lnTo>
                  <a:pt x="1958339" y="1658683"/>
                </a:lnTo>
                <a:lnTo>
                  <a:pt x="1957312" y="1657239"/>
                </a:lnTo>
                <a:cubicBezTo>
                  <a:pt x="1954202" y="1654935"/>
                  <a:pt x="1950407" y="1653618"/>
                  <a:pt x="1948238" y="1656174"/>
                </a:cubicBezTo>
                <a:cubicBezTo>
                  <a:pt x="1947722" y="1649978"/>
                  <a:pt x="1935332" y="1636811"/>
                  <a:pt x="1929343" y="1638515"/>
                </a:cubicBezTo>
                <a:cubicBezTo>
                  <a:pt x="1929859" y="1634488"/>
                  <a:pt x="1927691" y="1631700"/>
                  <a:pt x="1925006" y="1629376"/>
                </a:cubicBezTo>
                <a:cubicBezTo>
                  <a:pt x="1922321" y="1627208"/>
                  <a:pt x="1918501" y="1624885"/>
                  <a:pt x="1916849" y="1621477"/>
                </a:cubicBezTo>
                <a:cubicBezTo>
                  <a:pt x="1914164" y="1619773"/>
                  <a:pt x="1916952" y="1623645"/>
                  <a:pt x="1913648" y="1623181"/>
                </a:cubicBezTo>
                <a:cubicBezTo>
                  <a:pt x="1911479" y="1618534"/>
                  <a:pt x="1909414" y="1615126"/>
                  <a:pt x="1905594" y="1616210"/>
                </a:cubicBezTo>
                <a:cubicBezTo>
                  <a:pt x="1906730" y="1612338"/>
                  <a:pt x="1898572" y="1610634"/>
                  <a:pt x="1902290" y="1605368"/>
                </a:cubicBezTo>
                <a:cubicBezTo>
                  <a:pt x="1900121" y="1605987"/>
                  <a:pt x="1897953" y="1604903"/>
                  <a:pt x="1900741" y="1601960"/>
                </a:cubicBezTo>
                <a:cubicBezTo>
                  <a:pt x="1895784" y="1602580"/>
                  <a:pt x="1895268" y="1595299"/>
                  <a:pt x="1891551" y="1597468"/>
                </a:cubicBezTo>
                <a:cubicBezTo>
                  <a:pt x="1892067" y="1595299"/>
                  <a:pt x="1891551" y="1592821"/>
                  <a:pt x="1889899" y="1591117"/>
                </a:cubicBezTo>
                <a:cubicBezTo>
                  <a:pt x="1888866" y="1589413"/>
                  <a:pt x="1887214" y="1587864"/>
                  <a:pt x="1885562" y="1586160"/>
                </a:cubicBezTo>
                <a:cubicBezTo>
                  <a:pt x="1881845" y="1583218"/>
                  <a:pt x="1877508" y="1580429"/>
                  <a:pt x="1877508" y="1577486"/>
                </a:cubicBezTo>
                <a:cubicBezTo>
                  <a:pt x="1874204" y="1576867"/>
                  <a:pt x="1871003" y="1579190"/>
                  <a:pt x="1867699" y="1575318"/>
                </a:cubicBezTo>
                <a:cubicBezTo>
                  <a:pt x="1865530" y="1564475"/>
                  <a:pt x="1861297" y="1564320"/>
                  <a:pt x="1850971" y="1555801"/>
                </a:cubicBezTo>
                <a:cubicBezTo>
                  <a:pt x="1849423" y="1551309"/>
                  <a:pt x="1854792" y="1559828"/>
                  <a:pt x="1855825" y="1557040"/>
                </a:cubicBezTo>
                <a:cubicBezTo>
                  <a:pt x="1854792" y="1555336"/>
                  <a:pt x="1853656" y="1554097"/>
                  <a:pt x="1852004" y="1552393"/>
                </a:cubicBezTo>
                <a:cubicBezTo>
                  <a:pt x="1850971" y="1550689"/>
                  <a:pt x="1849939" y="1549605"/>
                  <a:pt x="1848803" y="1547901"/>
                </a:cubicBezTo>
                <a:lnTo>
                  <a:pt x="1842195" y="1539382"/>
                </a:lnTo>
                <a:lnTo>
                  <a:pt x="1837755" y="1543409"/>
                </a:lnTo>
                <a:cubicBezTo>
                  <a:pt x="1833418" y="1542170"/>
                  <a:pt x="1833314" y="1536594"/>
                  <a:pt x="1832798" y="1533496"/>
                </a:cubicBezTo>
                <a:lnTo>
                  <a:pt x="1837238" y="1532566"/>
                </a:lnTo>
                <a:lnTo>
                  <a:pt x="1834244" y="1528539"/>
                </a:lnTo>
                <a:cubicBezTo>
                  <a:pt x="1832075" y="1524976"/>
                  <a:pt x="1829391" y="1521569"/>
                  <a:pt x="1827222" y="1518161"/>
                </a:cubicBezTo>
                <a:lnTo>
                  <a:pt x="1822060" y="1511655"/>
                </a:lnTo>
                <a:lnTo>
                  <a:pt x="1821750" y="1512275"/>
                </a:lnTo>
                <a:cubicBezTo>
                  <a:pt x="1820098" y="1513979"/>
                  <a:pt x="1817620" y="1515063"/>
                  <a:pt x="1815038" y="1513824"/>
                </a:cubicBezTo>
                <a:cubicBezTo>
                  <a:pt x="1814315" y="1512740"/>
                  <a:pt x="1813593" y="1511810"/>
                  <a:pt x="1813179" y="1510416"/>
                </a:cubicBezTo>
                <a:cubicBezTo>
                  <a:pt x="1812870" y="1509177"/>
                  <a:pt x="1812870" y="1507628"/>
                  <a:pt x="1813696" y="1505615"/>
                </a:cubicBezTo>
                <a:lnTo>
                  <a:pt x="1816587" y="1504840"/>
                </a:lnTo>
                <a:lnTo>
                  <a:pt x="1812147" y="1499418"/>
                </a:lnTo>
                <a:cubicBezTo>
                  <a:pt x="1809359" y="1496475"/>
                  <a:pt x="1806674" y="1493687"/>
                  <a:pt x="1803990" y="1490899"/>
                </a:cubicBezTo>
                <a:cubicBezTo>
                  <a:pt x="1802337" y="1489195"/>
                  <a:pt x="1800789" y="1487956"/>
                  <a:pt x="1799137" y="1486872"/>
                </a:cubicBezTo>
                <a:cubicBezTo>
                  <a:pt x="1799137" y="1486872"/>
                  <a:pt x="1799137" y="1486872"/>
                  <a:pt x="1798001" y="1485633"/>
                </a:cubicBezTo>
                <a:cubicBezTo>
                  <a:pt x="1796452" y="1482845"/>
                  <a:pt x="1800789" y="1491984"/>
                  <a:pt x="1794800" y="1479437"/>
                </a:cubicBezTo>
                <a:cubicBezTo>
                  <a:pt x="1794800" y="1479437"/>
                  <a:pt x="1794800" y="1479437"/>
                  <a:pt x="1794284" y="1479437"/>
                </a:cubicBezTo>
                <a:cubicBezTo>
                  <a:pt x="1794284" y="1479437"/>
                  <a:pt x="1794284" y="1479437"/>
                  <a:pt x="1793767" y="1478817"/>
                </a:cubicBezTo>
                <a:cubicBezTo>
                  <a:pt x="1793148" y="1478817"/>
                  <a:pt x="1792631" y="1478817"/>
                  <a:pt x="1792115" y="1478198"/>
                </a:cubicBezTo>
                <a:cubicBezTo>
                  <a:pt x="1790463" y="1479437"/>
                  <a:pt x="1790463" y="1480521"/>
                  <a:pt x="1790463" y="1481141"/>
                </a:cubicBezTo>
                <a:cubicBezTo>
                  <a:pt x="1790463" y="1481141"/>
                  <a:pt x="1790463" y="1481141"/>
                  <a:pt x="1790979" y="1481141"/>
                </a:cubicBezTo>
                <a:cubicBezTo>
                  <a:pt x="1790979" y="1481141"/>
                  <a:pt x="1790979" y="1481141"/>
                  <a:pt x="1790979" y="1481761"/>
                </a:cubicBezTo>
                <a:cubicBezTo>
                  <a:pt x="1792115" y="1483464"/>
                  <a:pt x="1793148" y="1485788"/>
                  <a:pt x="1794284" y="1487956"/>
                </a:cubicBezTo>
                <a:cubicBezTo>
                  <a:pt x="1794284" y="1488576"/>
                  <a:pt x="1794284" y="1488576"/>
                  <a:pt x="1794284" y="1488576"/>
                </a:cubicBezTo>
                <a:cubicBezTo>
                  <a:pt x="1794284" y="1489040"/>
                  <a:pt x="1794284" y="1489660"/>
                  <a:pt x="1793251" y="1490280"/>
                </a:cubicBezTo>
                <a:cubicBezTo>
                  <a:pt x="1793251" y="1489660"/>
                  <a:pt x="1792631" y="1489660"/>
                  <a:pt x="1792631" y="1489660"/>
                </a:cubicBezTo>
                <a:cubicBezTo>
                  <a:pt x="1792115" y="1489195"/>
                  <a:pt x="1792115" y="1489040"/>
                  <a:pt x="1792115" y="1489040"/>
                </a:cubicBezTo>
                <a:cubicBezTo>
                  <a:pt x="1792012" y="1488886"/>
                  <a:pt x="1792012" y="1488886"/>
                  <a:pt x="1791909" y="1488730"/>
                </a:cubicBezTo>
                <a:lnTo>
                  <a:pt x="1791806" y="1488730"/>
                </a:lnTo>
                <a:cubicBezTo>
                  <a:pt x="1791393" y="1487801"/>
                  <a:pt x="1790463" y="1485942"/>
                  <a:pt x="1788914" y="1482845"/>
                </a:cubicBezTo>
                <a:cubicBezTo>
                  <a:pt x="1788914" y="1482845"/>
                  <a:pt x="1788914" y="1482845"/>
                  <a:pt x="1788914" y="1482225"/>
                </a:cubicBezTo>
                <a:cubicBezTo>
                  <a:pt x="1788914" y="1482225"/>
                  <a:pt x="1788811" y="1482225"/>
                  <a:pt x="1788295" y="1482225"/>
                </a:cubicBezTo>
                <a:cubicBezTo>
                  <a:pt x="1788295" y="1482225"/>
                  <a:pt x="1787778" y="1482225"/>
                  <a:pt x="1787778" y="1481761"/>
                </a:cubicBezTo>
                <a:cubicBezTo>
                  <a:pt x="1787262" y="1481761"/>
                  <a:pt x="1787262" y="1481141"/>
                  <a:pt x="1786643" y="1480521"/>
                </a:cubicBezTo>
                <a:cubicBezTo>
                  <a:pt x="1786126" y="1480057"/>
                  <a:pt x="1785094" y="1479437"/>
                  <a:pt x="1783441" y="1478817"/>
                </a:cubicBezTo>
                <a:cubicBezTo>
                  <a:pt x="1785610" y="1477733"/>
                  <a:pt x="1785610" y="1479437"/>
                  <a:pt x="1787159" y="1478817"/>
                </a:cubicBezTo>
                <a:cubicBezTo>
                  <a:pt x="1788295" y="1477733"/>
                  <a:pt x="1788295" y="1476029"/>
                  <a:pt x="1787778" y="1474790"/>
                </a:cubicBezTo>
                <a:cubicBezTo>
                  <a:pt x="1786746" y="1473706"/>
                  <a:pt x="1786746" y="1476649"/>
                  <a:pt x="1784577" y="1476029"/>
                </a:cubicBezTo>
                <a:cubicBezTo>
                  <a:pt x="1786230" y="1473706"/>
                  <a:pt x="1783958" y="1473241"/>
                  <a:pt x="1781893" y="1473241"/>
                </a:cubicBezTo>
                <a:cubicBezTo>
                  <a:pt x="1780757" y="1470918"/>
                  <a:pt x="1782926" y="1472622"/>
                  <a:pt x="1784577" y="1470918"/>
                </a:cubicBezTo>
                <a:cubicBezTo>
                  <a:pt x="1784062" y="1469214"/>
                  <a:pt x="1781273" y="1470918"/>
                  <a:pt x="1778589" y="1472002"/>
                </a:cubicBezTo>
                <a:cubicBezTo>
                  <a:pt x="1778589" y="1471383"/>
                  <a:pt x="1778589" y="1471383"/>
                  <a:pt x="1778589" y="1470918"/>
                </a:cubicBezTo>
                <a:cubicBezTo>
                  <a:pt x="1778589" y="1470918"/>
                  <a:pt x="1778589" y="1470298"/>
                  <a:pt x="1778589" y="1469833"/>
                </a:cubicBezTo>
                <a:cubicBezTo>
                  <a:pt x="1779105" y="1469214"/>
                  <a:pt x="1780241" y="1468594"/>
                  <a:pt x="1780757" y="1467974"/>
                </a:cubicBezTo>
                <a:lnTo>
                  <a:pt x="1777763" y="1463638"/>
                </a:lnTo>
                <a:lnTo>
                  <a:pt x="1776730" y="1463948"/>
                </a:lnTo>
                <a:cubicBezTo>
                  <a:pt x="1775491" y="1463638"/>
                  <a:pt x="1774459" y="1462708"/>
                  <a:pt x="1773839" y="1460849"/>
                </a:cubicBezTo>
                <a:lnTo>
                  <a:pt x="1775284" y="1459920"/>
                </a:lnTo>
                <a:lnTo>
                  <a:pt x="1771051" y="1453724"/>
                </a:lnTo>
                <a:lnTo>
                  <a:pt x="1766611" y="1446134"/>
                </a:lnTo>
                <a:lnTo>
                  <a:pt x="1764959" y="1445979"/>
                </a:lnTo>
                <a:lnTo>
                  <a:pt x="1765682" y="1444275"/>
                </a:lnTo>
                <a:lnTo>
                  <a:pt x="1763926" y="1441178"/>
                </a:lnTo>
                <a:cubicBezTo>
                  <a:pt x="1763926" y="1441178"/>
                  <a:pt x="1764030" y="1441178"/>
                  <a:pt x="1763410" y="1438854"/>
                </a:cubicBezTo>
                <a:cubicBezTo>
                  <a:pt x="1763410" y="1438854"/>
                  <a:pt x="1763513" y="1439009"/>
                  <a:pt x="1762894" y="1437770"/>
                </a:cubicBezTo>
                <a:cubicBezTo>
                  <a:pt x="1762894" y="1437770"/>
                  <a:pt x="1762894" y="1437770"/>
                  <a:pt x="1762377" y="1436685"/>
                </a:cubicBezTo>
                <a:cubicBezTo>
                  <a:pt x="1758040" y="1426927"/>
                  <a:pt x="1754220" y="1417323"/>
                  <a:pt x="1751019" y="1408649"/>
                </a:cubicBezTo>
                <a:cubicBezTo>
                  <a:pt x="1750193" y="1406946"/>
                  <a:pt x="1749780" y="1405242"/>
                  <a:pt x="1749677" y="1403848"/>
                </a:cubicBezTo>
                <a:lnTo>
                  <a:pt x="1749883" y="1402918"/>
                </a:lnTo>
                <a:lnTo>
                  <a:pt x="1748541" y="1403383"/>
                </a:lnTo>
                <a:cubicBezTo>
                  <a:pt x="1747922" y="1403538"/>
                  <a:pt x="1747612" y="1403693"/>
                  <a:pt x="1747508" y="1404003"/>
                </a:cubicBezTo>
                <a:cubicBezTo>
                  <a:pt x="1743998" y="1402299"/>
                  <a:pt x="1744927" y="1400130"/>
                  <a:pt x="1745237" y="1396258"/>
                </a:cubicBezTo>
                <a:lnTo>
                  <a:pt x="1746579" y="1395483"/>
                </a:lnTo>
                <a:lnTo>
                  <a:pt x="1746476" y="1395328"/>
                </a:lnTo>
                <a:lnTo>
                  <a:pt x="1745237" y="1391766"/>
                </a:lnTo>
                <a:lnTo>
                  <a:pt x="1742242" y="1390371"/>
                </a:lnTo>
                <a:lnTo>
                  <a:pt x="1741520" y="1390526"/>
                </a:lnTo>
                <a:lnTo>
                  <a:pt x="1741830" y="1391456"/>
                </a:lnTo>
                <a:cubicBezTo>
                  <a:pt x="1741933" y="1392385"/>
                  <a:pt x="1741623" y="1393315"/>
                  <a:pt x="1741106" y="1393934"/>
                </a:cubicBezTo>
                <a:lnTo>
                  <a:pt x="1738525" y="1395483"/>
                </a:lnTo>
                <a:lnTo>
                  <a:pt x="1739661" y="1397497"/>
                </a:lnTo>
                <a:cubicBezTo>
                  <a:pt x="1739971" y="1399665"/>
                  <a:pt x="1739558" y="1402299"/>
                  <a:pt x="1737699" y="1405087"/>
                </a:cubicBezTo>
                <a:cubicBezTo>
                  <a:pt x="1733878" y="1406636"/>
                  <a:pt x="1726651" y="1402763"/>
                  <a:pt x="1726444" y="1399355"/>
                </a:cubicBezTo>
                <a:cubicBezTo>
                  <a:pt x="1728200" y="1394089"/>
                  <a:pt x="1731298" y="1392075"/>
                  <a:pt x="1733982" y="1392075"/>
                </a:cubicBezTo>
                <a:lnTo>
                  <a:pt x="1734705" y="1392385"/>
                </a:lnTo>
                <a:lnTo>
                  <a:pt x="1733982" y="1391611"/>
                </a:lnTo>
                <a:lnTo>
                  <a:pt x="1734085" y="1390836"/>
                </a:lnTo>
                <a:lnTo>
                  <a:pt x="1732640" y="1390836"/>
                </a:lnTo>
                <a:cubicBezTo>
                  <a:pt x="1733982" y="1387583"/>
                  <a:pt x="1736150" y="1384950"/>
                  <a:pt x="1738629" y="1382627"/>
                </a:cubicBezTo>
                <a:lnTo>
                  <a:pt x="1743378" y="1379529"/>
                </a:lnTo>
                <a:lnTo>
                  <a:pt x="1746166" y="1375037"/>
                </a:lnTo>
                <a:cubicBezTo>
                  <a:pt x="1738629" y="1374417"/>
                  <a:pt x="1745030" y="1365433"/>
                  <a:pt x="1739145" y="1359082"/>
                </a:cubicBezTo>
                <a:lnTo>
                  <a:pt x="1740487" y="1358153"/>
                </a:lnTo>
                <a:lnTo>
                  <a:pt x="1739248" y="1354436"/>
                </a:lnTo>
                <a:cubicBezTo>
                  <a:pt x="1739145" y="1353661"/>
                  <a:pt x="1739248" y="1352887"/>
                  <a:pt x="1739558" y="1352577"/>
                </a:cubicBezTo>
                <a:cubicBezTo>
                  <a:pt x="1739971" y="1352422"/>
                  <a:pt x="1740797" y="1352577"/>
                  <a:pt x="1741623" y="1353042"/>
                </a:cubicBezTo>
                <a:lnTo>
                  <a:pt x="1742759" y="1354126"/>
                </a:lnTo>
                <a:lnTo>
                  <a:pt x="1742965" y="1350563"/>
                </a:lnTo>
                <a:cubicBezTo>
                  <a:pt x="1741830" y="1345916"/>
                  <a:pt x="1739145" y="1340805"/>
                  <a:pt x="1736460" y="1339101"/>
                </a:cubicBezTo>
                <a:cubicBezTo>
                  <a:pt x="1735324" y="1341425"/>
                  <a:pt x="1734808" y="1344213"/>
                  <a:pt x="1735428" y="1347620"/>
                </a:cubicBezTo>
                <a:cubicBezTo>
                  <a:pt x="1735944" y="1351183"/>
                  <a:pt x="1737493" y="1354591"/>
                  <a:pt x="1739145" y="1357998"/>
                </a:cubicBezTo>
                <a:cubicBezTo>
                  <a:pt x="1736667" y="1356294"/>
                  <a:pt x="1735118" y="1353661"/>
                  <a:pt x="1733982" y="1350718"/>
                </a:cubicBezTo>
                <a:lnTo>
                  <a:pt x="1731813" y="1341889"/>
                </a:lnTo>
                <a:lnTo>
                  <a:pt x="1729748" y="1342664"/>
                </a:lnTo>
                <a:cubicBezTo>
                  <a:pt x="1725308" y="1343593"/>
                  <a:pt x="1719010" y="1343903"/>
                  <a:pt x="1718494" y="1340495"/>
                </a:cubicBezTo>
                <a:cubicBezTo>
                  <a:pt x="1718390" y="1339875"/>
                  <a:pt x="1718494" y="1339101"/>
                  <a:pt x="1718906" y="1338171"/>
                </a:cubicBezTo>
                <a:cubicBezTo>
                  <a:pt x="1721591" y="1338326"/>
                  <a:pt x="1724276" y="1337861"/>
                  <a:pt x="1726547" y="1337552"/>
                </a:cubicBezTo>
                <a:lnTo>
                  <a:pt x="1730677" y="1337861"/>
                </a:lnTo>
                <a:lnTo>
                  <a:pt x="1728406" y="1333525"/>
                </a:lnTo>
                <a:lnTo>
                  <a:pt x="1727993" y="1330582"/>
                </a:lnTo>
                <a:lnTo>
                  <a:pt x="1723450" y="1325935"/>
                </a:lnTo>
                <a:cubicBezTo>
                  <a:pt x="1723037" y="1324231"/>
                  <a:pt x="1722933" y="1322682"/>
                  <a:pt x="1722727" y="1320978"/>
                </a:cubicBezTo>
                <a:cubicBezTo>
                  <a:pt x="1722727" y="1321598"/>
                  <a:pt x="1722727" y="1322217"/>
                  <a:pt x="1722417" y="1322682"/>
                </a:cubicBezTo>
                <a:lnTo>
                  <a:pt x="1721488" y="1324076"/>
                </a:lnTo>
                <a:lnTo>
                  <a:pt x="1721591" y="1324076"/>
                </a:lnTo>
                <a:cubicBezTo>
                  <a:pt x="1722210" y="1324696"/>
                  <a:pt x="1722933" y="1325625"/>
                  <a:pt x="1723346" y="1326709"/>
                </a:cubicBezTo>
                <a:cubicBezTo>
                  <a:pt x="1722417" y="1330891"/>
                  <a:pt x="1717977" y="1331046"/>
                  <a:pt x="1715705" y="1333370"/>
                </a:cubicBezTo>
                <a:cubicBezTo>
                  <a:pt x="1714363" y="1332131"/>
                  <a:pt x="1713537" y="1330891"/>
                  <a:pt x="1713331" y="1329652"/>
                </a:cubicBezTo>
                <a:lnTo>
                  <a:pt x="1713744" y="1328103"/>
                </a:lnTo>
                <a:lnTo>
                  <a:pt x="1712814" y="1327638"/>
                </a:lnTo>
                <a:cubicBezTo>
                  <a:pt x="1711988" y="1326709"/>
                  <a:pt x="1711678" y="1325470"/>
                  <a:pt x="1711678" y="1323302"/>
                </a:cubicBezTo>
                <a:cubicBezTo>
                  <a:pt x="1711678" y="1323302"/>
                  <a:pt x="1712195" y="1322217"/>
                  <a:pt x="1712195" y="1322217"/>
                </a:cubicBezTo>
                <a:cubicBezTo>
                  <a:pt x="1713331" y="1318190"/>
                  <a:pt x="1717461" y="1315247"/>
                  <a:pt x="1719423" y="1315557"/>
                </a:cubicBezTo>
                <a:cubicBezTo>
                  <a:pt x="1720559" y="1316176"/>
                  <a:pt x="1721695" y="1317105"/>
                  <a:pt x="1722314" y="1318345"/>
                </a:cubicBezTo>
                <a:cubicBezTo>
                  <a:pt x="1722004" y="1314472"/>
                  <a:pt x="1721798" y="1310755"/>
                  <a:pt x="1721798" y="1307192"/>
                </a:cubicBezTo>
                <a:cubicBezTo>
                  <a:pt x="1721798" y="1304249"/>
                  <a:pt x="1721901" y="1301461"/>
                  <a:pt x="1721281" y="1298673"/>
                </a:cubicBezTo>
                <a:lnTo>
                  <a:pt x="1718700" y="1289689"/>
                </a:lnTo>
                <a:lnTo>
                  <a:pt x="1717874" y="1290928"/>
                </a:lnTo>
                <a:lnTo>
                  <a:pt x="1718700" y="1292787"/>
                </a:lnTo>
                <a:cubicBezTo>
                  <a:pt x="1719526" y="1296659"/>
                  <a:pt x="1718803" y="1300841"/>
                  <a:pt x="1718390" y="1305024"/>
                </a:cubicBezTo>
                <a:cubicBezTo>
                  <a:pt x="1715293" y="1304249"/>
                  <a:pt x="1711162" y="1300222"/>
                  <a:pt x="1709200" y="1295265"/>
                </a:cubicBezTo>
                <a:lnTo>
                  <a:pt x="1708581" y="1292322"/>
                </a:lnTo>
                <a:lnTo>
                  <a:pt x="1707135" y="1289379"/>
                </a:lnTo>
                <a:lnTo>
                  <a:pt x="1706103" y="1289534"/>
                </a:lnTo>
                <a:cubicBezTo>
                  <a:pt x="1702076" y="1285507"/>
                  <a:pt x="1697945" y="1282409"/>
                  <a:pt x="1693815" y="1279311"/>
                </a:cubicBezTo>
                <a:lnTo>
                  <a:pt x="1692576" y="1278381"/>
                </a:lnTo>
                <a:lnTo>
                  <a:pt x="1692266" y="1280860"/>
                </a:lnTo>
                <a:lnTo>
                  <a:pt x="1688652" y="1284113"/>
                </a:lnTo>
                <a:lnTo>
                  <a:pt x="1689995" y="1287675"/>
                </a:lnTo>
                <a:cubicBezTo>
                  <a:pt x="1690511" y="1290773"/>
                  <a:pt x="1690098" y="1294181"/>
                  <a:pt x="1688652" y="1296504"/>
                </a:cubicBezTo>
                <a:lnTo>
                  <a:pt x="1684729" y="1299602"/>
                </a:lnTo>
                <a:lnTo>
                  <a:pt x="1684729" y="1300067"/>
                </a:lnTo>
                <a:cubicBezTo>
                  <a:pt x="1682973" y="1301771"/>
                  <a:pt x="1680392" y="1302700"/>
                  <a:pt x="1679566" y="1301926"/>
                </a:cubicBezTo>
                <a:cubicBezTo>
                  <a:pt x="1678327" y="1300687"/>
                  <a:pt x="1677088" y="1299602"/>
                  <a:pt x="1677604" y="1297899"/>
                </a:cubicBezTo>
                <a:cubicBezTo>
                  <a:pt x="1677810" y="1297434"/>
                  <a:pt x="1678224" y="1296814"/>
                  <a:pt x="1678843" y="1296195"/>
                </a:cubicBezTo>
                <a:cubicBezTo>
                  <a:pt x="1678843" y="1296195"/>
                  <a:pt x="1678946" y="1296040"/>
                  <a:pt x="1679772" y="1296040"/>
                </a:cubicBezTo>
                <a:lnTo>
                  <a:pt x="1681218" y="1296040"/>
                </a:lnTo>
                <a:lnTo>
                  <a:pt x="1677398" y="1290773"/>
                </a:lnTo>
                <a:cubicBezTo>
                  <a:pt x="1675642" y="1287056"/>
                  <a:pt x="1674609" y="1282719"/>
                  <a:pt x="1674919" y="1277297"/>
                </a:cubicBezTo>
                <a:cubicBezTo>
                  <a:pt x="1679360" y="1273425"/>
                  <a:pt x="1683696" y="1274974"/>
                  <a:pt x="1686587" y="1278846"/>
                </a:cubicBezTo>
                <a:lnTo>
                  <a:pt x="1686587" y="1279156"/>
                </a:lnTo>
                <a:lnTo>
                  <a:pt x="1687310" y="1278846"/>
                </a:lnTo>
                <a:cubicBezTo>
                  <a:pt x="1688963" y="1277917"/>
                  <a:pt x="1690718" y="1276988"/>
                  <a:pt x="1690718" y="1276988"/>
                </a:cubicBezTo>
                <a:lnTo>
                  <a:pt x="1692163" y="1278072"/>
                </a:lnTo>
                <a:lnTo>
                  <a:pt x="1681425" y="1269088"/>
                </a:lnTo>
                <a:lnTo>
                  <a:pt x="1681425" y="1261963"/>
                </a:lnTo>
                <a:lnTo>
                  <a:pt x="1681218" y="1261963"/>
                </a:lnTo>
                <a:cubicBezTo>
                  <a:pt x="1681011" y="1261963"/>
                  <a:pt x="1680805" y="1262272"/>
                  <a:pt x="1680392" y="1262272"/>
                </a:cubicBezTo>
                <a:cubicBezTo>
                  <a:pt x="1680392" y="1262272"/>
                  <a:pt x="1681218" y="1262272"/>
                  <a:pt x="1680289" y="1263047"/>
                </a:cubicBezTo>
                <a:cubicBezTo>
                  <a:pt x="1680392" y="1262272"/>
                  <a:pt x="1679463" y="1262272"/>
                  <a:pt x="1678637" y="1262272"/>
                </a:cubicBezTo>
                <a:cubicBezTo>
                  <a:pt x="1677088" y="1260413"/>
                  <a:pt x="1675642" y="1257935"/>
                  <a:pt x="1676778" y="1256232"/>
                </a:cubicBezTo>
                <a:cubicBezTo>
                  <a:pt x="1677707" y="1255302"/>
                  <a:pt x="1678637" y="1255147"/>
                  <a:pt x="1679360" y="1255302"/>
                </a:cubicBezTo>
                <a:lnTo>
                  <a:pt x="1680598" y="1256077"/>
                </a:lnTo>
                <a:lnTo>
                  <a:pt x="1679566" y="1250810"/>
                </a:lnTo>
                <a:cubicBezTo>
                  <a:pt x="1678430" y="1244459"/>
                  <a:pt x="1678017" y="1238263"/>
                  <a:pt x="1682354" y="1233617"/>
                </a:cubicBezTo>
                <a:cubicBezTo>
                  <a:pt x="1693196" y="1232067"/>
                  <a:pt x="1694229" y="1226027"/>
                  <a:pt x="1699907" y="1222619"/>
                </a:cubicBezTo>
                <a:lnTo>
                  <a:pt x="1705897" y="1223084"/>
                </a:lnTo>
                <a:lnTo>
                  <a:pt x="1705586" y="1219831"/>
                </a:lnTo>
                <a:cubicBezTo>
                  <a:pt x="1705483" y="1216888"/>
                  <a:pt x="1705690" y="1214255"/>
                  <a:pt x="1705690" y="1211931"/>
                </a:cubicBezTo>
                <a:cubicBezTo>
                  <a:pt x="1705690" y="1207904"/>
                  <a:pt x="1706206" y="1204496"/>
                  <a:pt x="1704554" y="1200623"/>
                </a:cubicBezTo>
                <a:cubicBezTo>
                  <a:pt x="1707755" y="1199385"/>
                  <a:pt x="1708891" y="1196596"/>
                  <a:pt x="1708374" y="1190245"/>
                </a:cubicBezTo>
                <a:cubicBezTo>
                  <a:pt x="1709407" y="1190245"/>
                  <a:pt x="1708891" y="1193188"/>
                  <a:pt x="1709407" y="1194892"/>
                </a:cubicBezTo>
                <a:cubicBezTo>
                  <a:pt x="1712195" y="1195357"/>
                  <a:pt x="1711575" y="1191330"/>
                  <a:pt x="1712711" y="1190245"/>
                </a:cubicBezTo>
                <a:cubicBezTo>
                  <a:pt x="1711575" y="1188542"/>
                  <a:pt x="1709407" y="1190865"/>
                  <a:pt x="1710439" y="1184514"/>
                </a:cubicBezTo>
                <a:cubicBezTo>
                  <a:pt x="1712092" y="1185134"/>
                  <a:pt x="1711575" y="1189161"/>
                  <a:pt x="1714776" y="1187457"/>
                </a:cubicBezTo>
                <a:cubicBezTo>
                  <a:pt x="1716428" y="1193653"/>
                  <a:pt x="1712608" y="1198765"/>
                  <a:pt x="1719113" y="1198765"/>
                </a:cubicBezTo>
                <a:cubicBezTo>
                  <a:pt x="1714776" y="1202328"/>
                  <a:pt x="1715912" y="1206200"/>
                  <a:pt x="1718080" y="1210227"/>
                </a:cubicBezTo>
                <a:cubicBezTo>
                  <a:pt x="1718906" y="1212241"/>
                  <a:pt x="1719939" y="1214564"/>
                  <a:pt x="1720662" y="1217043"/>
                </a:cubicBezTo>
                <a:lnTo>
                  <a:pt x="1720765" y="1223548"/>
                </a:lnTo>
                <a:lnTo>
                  <a:pt x="1722004" y="1222619"/>
                </a:lnTo>
                <a:lnTo>
                  <a:pt x="1722210" y="1223548"/>
                </a:lnTo>
                <a:lnTo>
                  <a:pt x="1723553" y="1221999"/>
                </a:lnTo>
                <a:cubicBezTo>
                  <a:pt x="1723760" y="1220450"/>
                  <a:pt x="1723243" y="1218746"/>
                  <a:pt x="1722417" y="1217043"/>
                </a:cubicBezTo>
                <a:cubicBezTo>
                  <a:pt x="1721385" y="1213635"/>
                  <a:pt x="1720249" y="1210227"/>
                  <a:pt x="1723450" y="1209143"/>
                </a:cubicBezTo>
                <a:cubicBezTo>
                  <a:pt x="1722933" y="1204032"/>
                  <a:pt x="1719216" y="1202173"/>
                  <a:pt x="1721281" y="1197681"/>
                </a:cubicBezTo>
                <a:cubicBezTo>
                  <a:pt x="1723450" y="1197681"/>
                  <a:pt x="1721798" y="1202328"/>
                  <a:pt x="1723450" y="1203412"/>
                </a:cubicBezTo>
                <a:cubicBezTo>
                  <a:pt x="1726134" y="1201089"/>
                  <a:pt x="1723966" y="1193034"/>
                  <a:pt x="1723450" y="1190245"/>
                </a:cubicBezTo>
                <a:cubicBezTo>
                  <a:pt x="1722417" y="1190245"/>
                  <a:pt x="1722933" y="1191949"/>
                  <a:pt x="1722417" y="1193188"/>
                </a:cubicBezTo>
                <a:cubicBezTo>
                  <a:pt x="1721901" y="1191485"/>
                  <a:pt x="1720765" y="1180642"/>
                  <a:pt x="1723450" y="1184514"/>
                </a:cubicBezTo>
                <a:cubicBezTo>
                  <a:pt x="1722933" y="1181726"/>
                  <a:pt x="1722417" y="1178938"/>
                  <a:pt x="1720765" y="1177234"/>
                </a:cubicBezTo>
                <a:lnTo>
                  <a:pt x="1721075" y="1176150"/>
                </a:lnTo>
                <a:cubicBezTo>
                  <a:pt x="1718184" y="1173207"/>
                  <a:pt x="1715293" y="1169334"/>
                  <a:pt x="1715086" y="1165927"/>
                </a:cubicBezTo>
                <a:cubicBezTo>
                  <a:pt x="1715086" y="1164843"/>
                  <a:pt x="1715293" y="1163758"/>
                  <a:pt x="1715912" y="1162829"/>
                </a:cubicBezTo>
                <a:lnTo>
                  <a:pt x="1716532" y="1162519"/>
                </a:lnTo>
                <a:lnTo>
                  <a:pt x="1714776" y="1161745"/>
                </a:lnTo>
                <a:cubicBezTo>
                  <a:pt x="1714879" y="1160970"/>
                  <a:pt x="1715912" y="1160196"/>
                  <a:pt x="1716015" y="1159266"/>
                </a:cubicBezTo>
                <a:cubicBezTo>
                  <a:pt x="1716944" y="1159421"/>
                  <a:pt x="1718700" y="1159421"/>
                  <a:pt x="1719423" y="1160351"/>
                </a:cubicBezTo>
                <a:cubicBezTo>
                  <a:pt x="1719939" y="1160351"/>
                  <a:pt x="1719836" y="1160970"/>
                  <a:pt x="1719629" y="1161745"/>
                </a:cubicBezTo>
                <a:lnTo>
                  <a:pt x="1719423" y="1162054"/>
                </a:lnTo>
                <a:lnTo>
                  <a:pt x="1721695" y="1163603"/>
                </a:lnTo>
                <a:lnTo>
                  <a:pt x="1722417" y="1160660"/>
                </a:lnTo>
                <a:cubicBezTo>
                  <a:pt x="1722933" y="1158956"/>
                  <a:pt x="1723966" y="1156633"/>
                  <a:pt x="1724586" y="1154929"/>
                </a:cubicBezTo>
                <a:lnTo>
                  <a:pt x="1724586" y="1151057"/>
                </a:lnTo>
                <a:lnTo>
                  <a:pt x="1720972" y="1151832"/>
                </a:lnTo>
                <a:cubicBezTo>
                  <a:pt x="1719320" y="1151676"/>
                  <a:pt x="1717667" y="1151057"/>
                  <a:pt x="1716119" y="1151212"/>
                </a:cubicBezTo>
                <a:lnTo>
                  <a:pt x="1716944" y="1147030"/>
                </a:lnTo>
                <a:lnTo>
                  <a:pt x="1714776" y="1143157"/>
                </a:lnTo>
                <a:cubicBezTo>
                  <a:pt x="1714157" y="1141299"/>
                  <a:pt x="1713641" y="1139595"/>
                  <a:pt x="1713021" y="1138200"/>
                </a:cubicBezTo>
                <a:cubicBezTo>
                  <a:pt x="1710646" y="1136032"/>
                  <a:pt x="1705897" y="1136032"/>
                  <a:pt x="1701353" y="1136961"/>
                </a:cubicBezTo>
                <a:lnTo>
                  <a:pt x="1697119" y="1138045"/>
                </a:lnTo>
                <a:lnTo>
                  <a:pt x="1697945" y="1139285"/>
                </a:lnTo>
                <a:cubicBezTo>
                  <a:pt x="1698359" y="1140679"/>
                  <a:pt x="1698875" y="1142228"/>
                  <a:pt x="1700010" y="1143467"/>
                </a:cubicBezTo>
                <a:cubicBezTo>
                  <a:pt x="1697016" y="1146875"/>
                  <a:pt x="1695984" y="1147649"/>
                  <a:pt x="1691957" y="1145790"/>
                </a:cubicBezTo>
                <a:cubicBezTo>
                  <a:pt x="1691957" y="1145790"/>
                  <a:pt x="1691131" y="1145016"/>
                  <a:pt x="1691131" y="1145016"/>
                </a:cubicBezTo>
                <a:lnTo>
                  <a:pt x="1689892" y="1143002"/>
                </a:lnTo>
                <a:lnTo>
                  <a:pt x="1688239" y="1145790"/>
                </a:lnTo>
                <a:cubicBezTo>
                  <a:pt x="1686897" y="1150437"/>
                  <a:pt x="1689788" y="1153690"/>
                  <a:pt x="1687620" y="1156633"/>
                </a:cubicBezTo>
                <a:cubicBezTo>
                  <a:pt x="1684832" y="1160351"/>
                  <a:pt x="1679979" y="1157408"/>
                  <a:pt x="1679979" y="1157408"/>
                </a:cubicBezTo>
                <a:cubicBezTo>
                  <a:pt x="1677604" y="1154465"/>
                  <a:pt x="1679256" y="1149198"/>
                  <a:pt x="1679463" y="1146565"/>
                </a:cubicBezTo>
                <a:cubicBezTo>
                  <a:pt x="1678327" y="1143777"/>
                  <a:pt x="1675952" y="1142228"/>
                  <a:pt x="1674713" y="1140833"/>
                </a:cubicBezTo>
                <a:cubicBezTo>
                  <a:pt x="1672751" y="1142073"/>
                  <a:pt x="1667175" y="1139904"/>
                  <a:pt x="1662012" y="1137426"/>
                </a:cubicBezTo>
                <a:lnTo>
                  <a:pt x="1659225" y="1135877"/>
                </a:lnTo>
                <a:lnTo>
                  <a:pt x="1658811" y="1137271"/>
                </a:lnTo>
                <a:cubicBezTo>
                  <a:pt x="1653545" y="1139285"/>
                  <a:pt x="1649002" y="1141918"/>
                  <a:pt x="1644459" y="1144396"/>
                </a:cubicBezTo>
                <a:lnTo>
                  <a:pt x="1643116" y="1145171"/>
                </a:lnTo>
                <a:lnTo>
                  <a:pt x="1645285" y="1146410"/>
                </a:lnTo>
                <a:cubicBezTo>
                  <a:pt x="1646007" y="1147339"/>
                  <a:pt x="1646627" y="1149198"/>
                  <a:pt x="1646834" y="1151212"/>
                </a:cubicBezTo>
                <a:cubicBezTo>
                  <a:pt x="1646937" y="1153380"/>
                  <a:pt x="1646731" y="1155394"/>
                  <a:pt x="1645698" y="1156633"/>
                </a:cubicBezTo>
                <a:cubicBezTo>
                  <a:pt x="1644149" y="1155704"/>
                  <a:pt x="1642600" y="1154929"/>
                  <a:pt x="1641051" y="1154000"/>
                </a:cubicBezTo>
                <a:cubicBezTo>
                  <a:pt x="1641877" y="1154000"/>
                  <a:pt x="1641051" y="1146255"/>
                  <a:pt x="1641051" y="1146255"/>
                </a:cubicBezTo>
                <a:lnTo>
                  <a:pt x="1642600" y="1145326"/>
                </a:lnTo>
                <a:lnTo>
                  <a:pt x="1630209" y="1151676"/>
                </a:lnTo>
                <a:cubicBezTo>
                  <a:pt x="1621329" y="1145016"/>
                  <a:pt x="1603053" y="1148114"/>
                  <a:pt x="1598097" y="1136342"/>
                </a:cubicBezTo>
                <a:lnTo>
                  <a:pt x="1598510" y="1133554"/>
                </a:lnTo>
                <a:lnTo>
                  <a:pt x="1598200" y="1133244"/>
                </a:lnTo>
                <a:cubicBezTo>
                  <a:pt x="1597580" y="1132469"/>
                  <a:pt x="1597167" y="1131540"/>
                  <a:pt x="1597271" y="1130456"/>
                </a:cubicBezTo>
                <a:lnTo>
                  <a:pt x="1598303" y="1128907"/>
                </a:lnTo>
                <a:lnTo>
                  <a:pt x="1597374" y="1124105"/>
                </a:lnTo>
                <a:lnTo>
                  <a:pt x="1597477" y="1123176"/>
                </a:lnTo>
                <a:lnTo>
                  <a:pt x="1596961" y="1121471"/>
                </a:lnTo>
                <a:lnTo>
                  <a:pt x="1593657" y="1121936"/>
                </a:lnTo>
                <a:cubicBezTo>
                  <a:pt x="1592521" y="1121471"/>
                  <a:pt x="1591901" y="1120542"/>
                  <a:pt x="1591592" y="1119613"/>
                </a:cubicBezTo>
                <a:cubicBezTo>
                  <a:pt x="1591282" y="1118529"/>
                  <a:pt x="1591385" y="1117289"/>
                  <a:pt x="1591798" y="1116205"/>
                </a:cubicBezTo>
                <a:cubicBezTo>
                  <a:pt x="1591798" y="1115276"/>
                  <a:pt x="1592314" y="1114656"/>
                  <a:pt x="1593140" y="1114192"/>
                </a:cubicBezTo>
                <a:cubicBezTo>
                  <a:pt x="1594070" y="1113727"/>
                  <a:pt x="1595102" y="1113572"/>
                  <a:pt x="1596032" y="1113727"/>
                </a:cubicBezTo>
                <a:lnTo>
                  <a:pt x="1596238" y="1113727"/>
                </a:lnTo>
                <a:lnTo>
                  <a:pt x="1600059" y="1106447"/>
                </a:lnTo>
                <a:lnTo>
                  <a:pt x="1596032" y="1105672"/>
                </a:lnTo>
                <a:cubicBezTo>
                  <a:pt x="1593450" y="1105982"/>
                  <a:pt x="1591178" y="1107066"/>
                  <a:pt x="1589217" y="1108925"/>
                </a:cubicBezTo>
                <a:cubicBezTo>
                  <a:pt x="1586532" y="1111403"/>
                  <a:pt x="1586222" y="1114192"/>
                  <a:pt x="1583434" y="1118064"/>
                </a:cubicBezTo>
                <a:cubicBezTo>
                  <a:pt x="1580750" y="1120542"/>
                  <a:pt x="1579407" y="1121627"/>
                  <a:pt x="1578271" y="1120232"/>
                </a:cubicBezTo>
                <a:cubicBezTo>
                  <a:pt x="1578271" y="1120232"/>
                  <a:pt x="1578168" y="1120232"/>
                  <a:pt x="1572593" y="1127977"/>
                </a:cubicBezTo>
                <a:cubicBezTo>
                  <a:pt x="1571250" y="1129216"/>
                  <a:pt x="1570011" y="1129062"/>
                  <a:pt x="1570011" y="1129062"/>
                </a:cubicBezTo>
                <a:cubicBezTo>
                  <a:pt x="1570011" y="1129062"/>
                  <a:pt x="1570011" y="1129062"/>
                  <a:pt x="1571457" y="1126583"/>
                </a:cubicBezTo>
                <a:cubicBezTo>
                  <a:pt x="1571457" y="1126583"/>
                  <a:pt x="1572799" y="1125189"/>
                  <a:pt x="1574141" y="1123950"/>
                </a:cubicBezTo>
                <a:cubicBezTo>
                  <a:pt x="1574141" y="1123950"/>
                  <a:pt x="1574244" y="1122711"/>
                  <a:pt x="1574348" y="1121317"/>
                </a:cubicBezTo>
                <a:cubicBezTo>
                  <a:pt x="1575690" y="1120077"/>
                  <a:pt x="1575587" y="1122711"/>
                  <a:pt x="1577032" y="1120232"/>
                </a:cubicBezTo>
                <a:cubicBezTo>
                  <a:pt x="1577032" y="1120232"/>
                  <a:pt x="1577652" y="1110784"/>
                  <a:pt x="1577549" y="1112178"/>
                </a:cubicBezTo>
                <a:cubicBezTo>
                  <a:pt x="1580233" y="1109699"/>
                  <a:pt x="1584054" y="1108615"/>
                  <a:pt x="1585499" y="1105982"/>
                </a:cubicBezTo>
                <a:cubicBezTo>
                  <a:pt x="1589630" y="1102264"/>
                  <a:pt x="1589939" y="1096998"/>
                  <a:pt x="1586532" y="1091422"/>
                </a:cubicBezTo>
                <a:cubicBezTo>
                  <a:pt x="1580440" y="1086930"/>
                  <a:pt x="1567946" y="1084606"/>
                  <a:pt x="1565158" y="1088324"/>
                </a:cubicBezTo>
                <a:cubicBezTo>
                  <a:pt x="1560511" y="1081353"/>
                  <a:pt x="1561854" y="1061372"/>
                  <a:pt x="1559479" y="1059823"/>
                </a:cubicBezTo>
                <a:cubicBezTo>
                  <a:pt x="1558859" y="1059358"/>
                  <a:pt x="1557827" y="1059203"/>
                  <a:pt x="1556691" y="1058893"/>
                </a:cubicBezTo>
                <a:lnTo>
                  <a:pt x="1554936" y="1058739"/>
                </a:lnTo>
                <a:lnTo>
                  <a:pt x="1553697" y="1060442"/>
                </a:lnTo>
                <a:cubicBezTo>
                  <a:pt x="1551941" y="1061682"/>
                  <a:pt x="1549463" y="1061682"/>
                  <a:pt x="1546159" y="1061991"/>
                </a:cubicBezTo>
                <a:cubicBezTo>
                  <a:pt x="1546882" y="1061682"/>
                  <a:pt x="1545746" y="1061217"/>
                  <a:pt x="1545746" y="1061217"/>
                </a:cubicBezTo>
                <a:cubicBezTo>
                  <a:pt x="1543268" y="1060442"/>
                  <a:pt x="1545333" y="1065399"/>
                  <a:pt x="1542132" y="1065089"/>
                </a:cubicBezTo>
                <a:cubicBezTo>
                  <a:pt x="1537072" y="1064005"/>
                  <a:pt x="1535007" y="1058119"/>
                  <a:pt x="1534078" y="1054866"/>
                </a:cubicBezTo>
                <a:lnTo>
                  <a:pt x="1533562" y="1053008"/>
                </a:lnTo>
                <a:lnTo>
                  <a:pt x="1532839" y="1053472"/>
                </a:lnTo>
                <a:lnTo>
                  <a:pt x="1533149" y="1052233"/>
                </a:lnTo>
                <a:lnTo>
                  <a:pt x="1533045" y="1052078"/>
                </a:lnTo>
                <a:cubicBezTo>
                  <a:pt x="1533768" y="1051613"/>
                  <a:pt x="1533355" y="1050839"/>
                  <a:pt x="1532632" y="1051304"/>
                </a:cubicBezTo>
                <a:cubicBezTo>
                  <a:pt x="1532632" y="1049754"/>
                  <a:pt x="1532632" y="1048516"/>
                  <a:pt x="1532942" y="1047741"/>
                </a:cubicBezTo>
                <a:cubicBezTo>
                  <a:pt x="1533252" y="1046966"/>
                  <a:pt x="1533768" y="1046812"/>
                  <a:pt x="1534904" y="1047121"/>
                </a:cubicBezTo>
                <a:cubicBezTo>
                  <a:pt x="1536866" y="1047121"/>
                  <a:pt x="1537072" y="1048980"/>
                  <a:pt x="1539550" y="1049600"/>
                </a:cubicBezTo>
                <a:cubicBezTo>
                  <a:pt x="1541719" y="1050064"/>
                  <a:pt x="1542958" y="1048051"/>
                  <a:pt x="1544816" y="1046347"/>
                </a:cubicBezTo>
                <a:lnTo>
                  <a:pt x="1546572" y="1045108"/>
                </a:lnTo>
                <a:lnTo>
                  <a:pt x="1546469" y="1044024"/>
                </a:lnTo>
                <a:cubicBezTo>
                  <a:pt x="1545230" y="1044024"/>
                  <a:pt x="1543577" y="1049135"/>
                  <a:pt x="1539964" y="1046192"/>
                </a:cubicBezTo>
                <a:cubicBezTo>
                  <a:pt x="1537589" y="1043404"/>
                  <a:pt x="1538931" y="1042165"/>
                  <a:pt x="1539034" y="1040771"/>
                </a:cubicBezTo>
                <a:cubicBezTo>
                  <a:pt x="1543164" y="1035814"/>
                  <a:pt x="1545539" y="1039996"/>
                  <a:pt x="1548224" y="1037518"/>
                </a:cubicBezTo>
                <a:cubicBezTo>
                  <a:pt x="1544816" y="1031786"/>
                  <a:pt x="1545230" y="1023887"/>
                  <a:pt x="1542958" y="1020944"/>
                </a:cubicBezTo>
                <a:cubicBezTo>
                  <a:pt x="1540480" y="1019395"/>
                  <a:pt x="1530258" y="1021253"/>
                  <a:pt x="1528915" y="1022493"/>
                </a:cubicBezTo>
                <a:cubicBezTo>
                  <a:pt x="1528192" y="1023267"/>
                  <a:pt x="1527986" y="1024197"/>
                  <a:pt x="1527986" y="1025281"/>
                </a:cubicBezTo>
                <a:lnTo>
                  <a:pt x="1528399" y="1028224"/>
                </a:lnTo>
                <a:lnTo>
                  <a:pt x="1529328" y="1028224"/>
                </a:lnTo>
                <a:lnTo>
                  <a:pt x="1533149" y="1030083"/>
                </a:lnTo>
                <a:lnTo>
                  <a:pt x="1533665" y="1028688"/>
                </a:lnTo>
                <a:cubicBezTo>
                  <a:pt x="1534697" y="1028069"/>
                  <a:pt x="1536143" y="1027605"/>
                  <a:pt x="1537485" y="1027295"/>
                </a:cubicBezTo>
                <a:cubicBezTo>
                  <a:pt x="1536763" y="1027759"/>
                  <a:pt x="1536763" y="1027759"/>
                  <a:pt x="1536763" y="1027759"/>
                </a:cubicBezTo>
                <a:cubicBezTo>
                  <a:pt x="1536556" y="1028844"/>
                  <a:pt x="1537279" y="1028534"/>
                  <a:pt x="1537692" y="1029153"/>
                </a:cubicBezTo>
                <a:cubicBezTo>
                  <a:pt x="1537692" y="1029153"/>
                  <a:pt x="1537279" y="1028534"/>
                  <a:pt x="1538518" y="1028844"/>
                </a:cubicBezTo>
                <a:cubicBezTo>
                  <a:pt x="1537692" y="1029153"/>
                  <a:pt x="1538208" y="1029928"/>
                  <a:pt x="1538621" y="1030702"/>
                </a:cubicBezTo>
                <a:cubicBezTo>
                  <a:pt x="1538105" y="1033026"/>
                  <a:pt x="1536763" y="1035659"/>
                  <a:pt x="1534801" y="1035659"/>
                </a:cubicBezTo>
                <a:lnTo>
                  <a:pt x="1533149" y="1034420"/>
                </a:lnTo>
                <a:lnTo>
                  <a:pt x="1533045" y="1036588"/>
                </a:lnTo>
                <a:cubicBezTo>
                  <a:pt x="1532839" y="1037363"/>
                  <a:pt x="1532426" y="1037983"/>
                  <a:pt x="1531600" y="1038602"/>
                </a:cubicBezTo>
                <a:lnTo>
                  <a:pt x="1528399" y="1041235"/>
                </a:lnTo>
                <a:lnTo>
                  <a:pt x="1529948" y="1042319"/>
                </a:lnTo>
                <a:cubicBezTo>
                  <a:pt x="1530567" y="1042785"/>
                  <a:pt x="1530980" y="1043559"/>
                  <a:pt x="1531083" y="1044333"/>
                </a:cubicBezTo>
                <a:cubicBezTo>
                  <a:pt x="1531083" y="1044953"/>
                  <a:pt x="1530980" y="1045573"/>
                  <a:pt x="1530567" y="1046347"/>
                </a:cubicBezTo>
                <a:cubicBezTo>
                  <a:pt x="1530567" y="1046347"/>
                  <a:pt x="1530567" y="1046347"/>
                  <a:pt x="1529741" y="1046502"/>
                </a:cubicBezTo>
                <a:cubicBezTo>
                  <a:pt x="1528192" y="1046966"/>
                  <a:pt x="1527366" y="1047121"/>
                  <a:pt x="1526540" y="1047431"/>
                </a:cubicBezTo>
                <a:cubicBezTo>
                  <a:pt x="1526024" y="1047121"/>
                  <a:pt x="1525095" y="1046502"/>
                  <a:pt x="1524372" y="1045728"/>
                </a:cubicBezTo>
                <a:lnTo>
                  <a:pt x="1523442" y="1043869"/>
                </a:lnTo>
                <a:lnTo>
                  <a:pt x="1522513" y="1044178"/>
                </a:lnTo>
                <a:cubicBezTo>
                  <a:pt x="1520138" y="1044333"/>
                  <a:pt x="1518176" y="1043249"/>
                  <a:pt x="1515285" y="1041855"/>
                </a:cubicBezTo>
                <a:cubicBezTo>
                  <a:pt x="1516214" y="1041855"/>
                  <a:pt x="1515492" y="1040925"/>
                  <a:pt x="1515492" y="1040925"/>
                </a:cubicBezTo>
                <a:cubicBezTo>
                  <a:pt x="1513943" y="1039221"/>
                  <a:pt x="1512291" y="1044178"/>
                  <a:pt x="1509916" y="1042319"/>
                </a:cubicBezTo>
                <a:cubicBezTo>
                  <a:pt x="1508264" y="1040616"/>
                  <a:pt x="1507954" y="1038292"/>
                  <a:pt x="1508367" y="1035969"/>
                </a:cubicBezTo>
                <a:cubicBezTo>
                  <a:pt x="1508677" y="1033645"/>
                  <a:pt x="1509709" y="1031477"/>
                  <a:pt x="1510432" y="1029928"/>
                </a:cubicBezTo>
                <a:lnTo>
                  <a:pt x="1511362" y="1028224"/>
                </a:lnTo>
                <a:lnTo>
                  <a:pt x="1510432" y="1028224"/>
                </a:lnTo>
                <a:lnTo>
                  <a:pt x="1511465" y="1027295"/>
                </a:lnTo>
                <a:lnTo>
                  <a:pt x="1511362" y="1027295"/>
                </a:lnTo>
                <a:cubicBezTo>
                  <a:pt x="1506612" y="1027295"/>
                  <a:pt x="1502585" y="1026675"/>
                  <a:pt x="1501965" y="1026055"/>
                </a:cubicBezTo>
                <a:cubicBezTo>
                  <a:pt x="1505889" y="1023887"/>
                  <a:pt x="1509709" y="1022028"/>
                  <a:pt x="1513220" y="1020169"/>
                </a:cubicBezTo>
                <a:lnTo>
                  <a:pt x="1522616" y="1015368"/>
                </a:lnTo>
                <a:lnTo>
                  <a:pt x="1522513" y="1015058"/>
                </a:lnTo>
                <a:lnTo>
                  <a:pt x="1522720" y="1015368"/>
                </a:lnTo>
                <a:lnTo>
                  <a:pt x="1523236" y="1015058"/>
                </a:lnTo>
                <a:lnTo>
                  <a:pt x="1524165" y="1014593"/>
                </a:lnTo>
                <a:lnTo>
                  <a:pt x="1523546" y="1012270"/>
                </a:lnTo>
                <a:cubicBezTo>
                  <a:pt x="1523856" y="1011650"/>
                  <a:pt x="1524372" y="1011030"/>
                  <a:pt x="1524888" y="1010566"/>
                </a:cubicBezTo>
                <a:cubicBezTo>
                  <a:pt x="1525507" y="1009327"/>
                  <a:pt x="1526747" y="1008707"/>
                  <a:pt x="1528089" y="1008707"/>
                </a:cubicBezTo>
                <a:lnTo>
                  <a:pt x="1529018" y="1008862"/>
                </a:lnTo>
                <a:lnTo>
                  <a:pt x="1528399" y="1008242"/>
                </a:lnTo>
                <a:cubicBezTo>
                  <a:pt x="1527986" y="1007158"/>
                  <a:pt x="1527986" y="1005919"/>
                  <a:pt x="1528192" y="1004835"/>
                </a:cubicBezTo>
                <a:cubicBezTo>
                  <a:pt x="1528089" y="1003906"/>
                  <a:pt x="1528709" y="1003131"/>
                  <a:pt x="1529431" y="1002666"/>
                </a:cubicBezTo>
                <a:cubicBezTo>
                  <a:pt x="1530258" y="1002047"/>
                  <a:pt x="1531290" y="1001737"/>
                  <a:pt x="1532219" y="1001737"/>
                </a:cubicBezTo>
                <a:cubicBezTo>
                  <a:pt x="1533458" y="1002201"/>
                  <a:pt x="1533458" y="1002201"/>
                  <a:pt x="1534594" y="1002511"/>
                </a:cubicBezTo>
                <a:cubicBezTo>
                  <a:pt x="1535110" y="1003286"/>
                  <a:pt x="1535627" y="1003906"/>
                  <a:pt x="1536246" y="1004680"/>
                </a:cubicBezTo>
                <a:lnTo>
                  <a:pt x="1536969" y="1006229"/>
                </a:lnTo>
                <a:lnTo>
                  <a:pt x="1537589" y="1005764"/>
                </a:lnTo>
                <a:cubicBezTo>
                  <a:pt x="1540480" y="1001892"/>
                  <a:pt x="1539137" y="1001892"/>
                  <a:pt x="1536866" y="997709"/>
                </a:cubicBezTo>
                <a:cubicBezTo>
                  <a:pt x="1536866" y="997709"/>
                  <a:pt x="1536969" y="997555"/>
                  <a:pt x="1536246" y="988106"/>
                </a:cubicBezTo>
                <a:cubicBezTo>
                  <a:pt x="1537898" y="982995"/>
                  <a:pt x="1536969" y="978812"/>
                  <a:pt x="1537175" y="974785"/>
                </a:cubicBezTo>
                <a:cubicBezTo>
                  <a:pt x="1537175" y="974785"/>
                  <a:pt x="1537175" y="974785"/>
                  <a:pt x="1530051" y="967660"/>
                </a:cubicBezTo>
                <a:cubicBezTo>
                  <a:pt x="1521584" y="960225"/>
                  <a:pt x="1507541" y="961928"/>
                  <a:pt x="1507541" y="961928"/>
                </a:cubicBezTo>
                <a:cubicBezTo>
                  <a:pt x="1506199" y="961773"/>
                  <a:pt x="1497422" y="959760"/>
                  <a:pt x="1497422" y="961154"/>
                </a:cubicBezTo>
                <a:cubicBezTo>
                  <a:pt x="1496286" y="958366"/>
                  <a:pt x="1493911" y="956817"/>
                  <a:pt x="1492775" y="954183"/>
                </a:cubicBezTo>
                <a:cubicBezTo>
                  <a:pt x="1499590" y="947833"/>
                  <a:pt x="1531393" y="966420"/>
                  <a:pt x="1538311" y="957437"/>
                </a:cubicBezTo>
                <a:cubicBezTo>
                  <a:pt x="1541099" y="954958"/>
                  <a:pt x="1536969" y="939933"/>
                  <a:pt x="1538311" y="938694"/>
                </a:cubicBezTo>
                <a:lnTo>
                  <a:pt x="1533768" y="935131"/>
                </a:lnTo>
                <a:lnTo>
                  <a:pt x="1532116" y="936061"/>
                </a:lnTo>
                <a:cubicBezTo>
                  <a:pt x="1530464" y="935906"/>
                  <a:pt x="1528812" y="934667"/>
                  <a:pt x="1528192" y="932034"/>
                </a:cubicBezTo>
                <a:lnTo>
                  <a:pt x="1529535" y="931724"/>
                </a:lnTo>
                <a:lnTo>
                  <a:pt x="1529535" y="931569"/>
                </a:lnTo>
                <a:cubicBezTo>
                  <a:pt x="1528192" y="930330"/>
                  <a:pt x="1524681" y="928626"/>
                  <a:pt x="1527779" y="925838"/>
                </a:cubicBezTo>
                <a:cubicBezTo>
                  <a:pt x="1530567" y="921965"/>
                  <a:pt x="1543164" y="924134"/>
                  <a:pt x="1544507" y="922894"/>
                </a:cubicBezTo>
                <a:cubicBezTo>
                  <a:pt x="1550599" y="916389"/>
                  <a:pt x="1545436" y="908180"/>
                  <a:pt x="1544197" y="902913"/>
                </a:cubicBezTo>
                <a:lnTo>
                  <a:pt x="1544300" y="902293"/>
                </a:lnTo>
                <a:lnTo>
                  <a:pt x="1541512" y="900435"/>
                </a:lnTo>
                <a:cubicBezTo>
                  <a:pt x="1537175" y="898111"/>
                  <a:pt x="1532839" y="896407"/>
                  <a:pt x="1528502" y="893929"/>
                </a:cubicBezTo>
                <a:lnTo>
                  <a:pt x="1527160" y="893000"/>
                </a:lnTo>
                <a:lnTo>
                  <a:pt x="1525301" y="895788"/>
                </a:lnTo>
                <a:lnTo>
                  <a:pt x="1524372" y="895478"/>
                </a:lnTo>
                <a:lnTo>
                  <a:pt x="1524268" y="896562"/>
                </a:lnTo>
                <a:cubicBezTo>
                  <a:pt x="1524062" y="897492"/>
                  <a:pt x="1523546" y="898266"/>
                  <a:pt x="1522720" y="899195"/>
                </a:cubicBezTo>
                <a:cubicBezTo>
                  <a:pt x="1519932" y="901829"/>
                  <a:pt x="1513839" y="903842"/>
                  <a:pt x="1511362" y="901364"/>
                </a:cubicBezTo>
                <a:cubicBezTo>
                  <a:pt x="1508058" y="899040"/>
                  <a:pt x="1507231" y="896562"/>
                  <a:pt x="1507334" y="893929"/>
                </a:cubicBezTo>
                <a:cubicBezTo>
                  <a:pt x="1507334" y="893929"/>
                  <a:pt x="1507438" y="893929"/>
                  <a:pt x="1507334" y="894859"/>
                </a:cubicBezTo>
                <a:cubicBezTo>
                  <a:pt x="1503721" y="898421"/>
                  <a:pt x="1497422" y="904462"/>
                  <a:pt x="1494840" y="903842"/>
                </a:cubicBezTo>
                <a:cubicBezTo>
                  <a:pt x="1494944" y="902913"/>
                  <a:pt x="1494944" y="902138"/>
                  <a:pt x="1495873" y="901209"/>
                </a:cubicBezTo>
                <a:cubicBezTo>
                  <a:pt x="1496699" y="900280"/>
                  <a:pt x="1496699" y="901209"/>
                  <a:pt x="1496699" y="900435"/>
                </a:cubicBezTo>
                <a:cubicBezTo>
                  <a:pt x="1497629" y="899505"/>
                  <a:pt x="1496802" y="899505"/>
                  <a:pt x="1496802" y="899505"/>
                </a:cubicBezTo>
                <a:cubicBezTo>
                  <a:pt x="1496802" y="899505"/>
                  <a:pt x="1497629" y="899505"/>
                  <a:pt x="1497629" y="899505"/>
                </a:cubicBezTo>
                <a:cubicBezTo>
                  <a:pt x="1497629" y="899505"/>
                  <a:pt x="1497629" y="899505"/>
                  <a:pt x="1499487" y="897647"/>
                </a:cubicBezTo>
                <a:cubicBezTo>
                  <a:pt x="1501242" y="895168"/>
                  <a:pt x="1501346" y="894239"/>
                  <a:pt x="1502275" y="892535"/>
                </a:cubicBezTo>
                <a:cubicBezTo>
                  <a:pt x="1504134" y="890676"/>
                  <a:pt x="1504960" y="890676"/>
                  <a:pt x="1507644" y="888817"/>
                </a:cubicBezTo>
                <a:cubicBezTo>
                  <a:pt x="1509297" y="889592"/>
                  <a:pt x="1509297" y="889592"/>
                  <a:pt x="1509297" y="890521"/>
                </a:cubicBezTo>
                <a:cubicBezTo>
                  <a:pt x="1509297" y="889592"/>
                  <a:pt x="1510123" y="889592"/>
                  <a:pt x="1511052" y="888817"/>
                </a:cubicBezTo>
                <a:cubicBezTo>
                  <a:pt x="1512497" y="886649"/>
                  <a:pt x="1514253" y="885874"/>
                  <a:pt x="1516111" y="886184"/>
                </a:cubicBezTo>
                <a:lnTo>
                  <a:pt x="1520448" y="888198"/>
                </a:lnTo>
                <a:lnTo>
                  <a:pt x="1520655" y="888043"/>
                </a:lnTo>
                <a:lnTo>
                  <a:pt x="1515802" y="883241"/>
                </a:lnTo>
                <a:cubicBezTo>
                  <a:pt x="1524062" y="878130"/>
                  <a:pt x="1541616" y="885719"/>
                  <a:pt x="1548121" y="895788"/>
                </a:cubicBezTo>
                <a:lnTo>
                  <a:pt x="1548843" y="897182"/>
                </a:lnTo>
                <a:lnTo>
                  <a:pt x="1554523" y="896252"/>
                </a:lnTo>
                <a:cubicBezTo>
                  <a:pt x="1559066" y="895788"/>
                  <a:pt x="1563506" y="895478"/>
                  <a:pt x="1564126" y="894859"/>
                </a:cubicBezTo>
                <a:cubicBezTo>
                  <a:pt x="1571044" y="887269"/>
                  <a:pt x="1558653" y="882312"/>
                  <a:pt x="1561751" y="874567"/>
                </a:cubicBezTo>
                <a:cubicBezTo>
                  <a:pt x="1562886" y="875961"/>
                  <a:pt x="1564332" y="873328"/>
                  <a:pt x="1566707" y="874877"/>
                </a:cubicBezTo>
                <a:cubicBezTo>
                  <a:pt x="1568049" y="875032"/>
                  <a:pt x="1567842" y="877665"/>
                  <a:pt x="1570321" y="877820"/>
                </a:cubicBezTo>
                <a:cubicBezTo>
                  <a:pt x="1577445" y="885100"/>
                  <a:pt x="1583641" y="869301"/>
                  <a:pt x="1586016" y="872244"/>
                </a:cubicBezTo>
                <a:cubicBezTo>
                  <a:pt x="1588804" y="868371"/>
                  <a:pt x="1591695" y="863259"/>
                  <a:pt x="1585603" y="858768"/>
                </a:cubicBezTo>
                <a:cubicBezTo>
                  <a:pt x="1585706" y="857528"/>
                  <a:pt x="1583228" y="857219"/>
                  <a:pt x="1583228" y="857219"/>
                </a:cubicBezTo>
                <a:cubicBezTo>
                  <a:pt x="1584673" y="854740"/>
                  <a:pt x="1580956" y="853036"/>
                  <a:pt x="1579820" y="851642"/>
                </a:cubicBezTo>
                <a:cubicBezTo>
                  <a:pt x="1579820" y="851642"/>
                  <a:pt x="1579717" y="851642"/>
                  <a:pt x="1582505" y="847770"/>
                </a:cubicBezTo>
                <a:cubicBezTo>
                  <a:pt x="1586119" y="850868"/>
                  <a:pt x="1585190" y="846686"/>
                  <a:pt x="1588804" y="849628"/>
                </a:cubicBezTo>
                <a:cubicBezTo>
                  <a:pt x="1588804" y="849628"/>
                  <a:pt x="1588804" y="849628"/>
                  <a:pt x="1592314" y="853966"/>
                </a:cubicBezTo>
                <a:cubicBezTo>
                  <a:pt x="1592314" y="855205"/>
                  <a:pt x="1592211" y="855205"/>
                  <a:pt x="1593347" y="856754"/>
                </a:cubicBezTo>
                <a:cubicBezTo>
                  <a:pt x="1599336" y="862485"/>
                  <a:pt x="1602021" y="860007"/>
                  <a:pt x="1604911" y="856134"/>
                </a:cubicBezTo>
                <a:cubicBezTo>
                  <a:pt x="1607700" y="852417"/>
                  <a:pt x="1608216" y="844362"/>
                  <a:pt x="1608319" y="842968"/>
                </a:cubicBezTo>
                <a:cubicBezTo>
                  <a:pt x="1613379" y="843433"/>
                  <a:pt x="1621742" y="850713"/>
                  <a:pt x="1628557" y="844517"/>
                </a:cubicBezTo>
                <a:cubicBezTo>
                  <a:pt x="1631345" y="840645"/>
                  <a:pt x="1619264" y="831660"/>
                  <a:pt x="1624737" y="825465"/>
                </a:cubicBezTo>
                <a:cubicBezTo>
                  <a:pt x="1626182" y="822831"/>
                  <a:pt x="1628764" y="822987"/>
                  <a:pt x="1629796" y="825775"/>
                </a:cubicBezTo>
                <a:cubicBezTo>
                  <a:pt x="1633513" y="827324"/>
                  <a:pt x="1634546" y="831506"/>
                  <a:pt x="1632997" y="835378"/>
                </a:cubicBezTo>
                <a:cubicBezTo>
                  <a:pt x="1642807" y="840180"/>
                  <a:pt x="1651687" y="840799"/>
                  <a:pt x="1657263" y="833210"/>
                </a:cubicBezTo>
                <a:cubicBezTo>
                  <a:pt x="1664181" y="824225"/>
                  <a:pt x="1660567" y="821283"/>
                  <a:pt x="1663768" y="812144"/>
                </a:cubicBezTo>
                <a:cubicBezTo>
                  <a:pt x="1664904" y="813538"/>
                  <a:pt x="1666143" y="814932"/>
                  <a:pt x="1667278" y="816481"/>
                </a:cubicBezTo>
                <a:cubicBezTo>
                  <a:pt x="1668517" y="817875"/>
                  <a:pt x="1668517" y="817875"/>
                  <a:pt x="1669757" y="818030"/>
                </a:cubicBezTo>
                <a:cubicBezTo>
                  <a:pt x="1672544" y="814158"/>
                  <a:pt x="1670170" y="811214"/>
                  <a:pt x="1673061" y="806103"/>
                </a:cubicBezTo>
                <a:lnTo>
                  <a:pt x="1674816" y="813228"/>
                </a:lnTo>
                <a:lnTo>
                  <a:pt x="1677088" y="810440"/>
                </a:lnTo>
                <a:cubicBezTo>
                  <a:pt x="1680185" y="811834"/>
                  <a:pt x="1682973" y="814312"/>
                  <a:pt x="1685038" y="817410"/>
                </a:cubicBezTo>
                <a:lnTo>
                  <a:pt x="1687207" y="822677"/>
                </a:lnTo>
                <a:lnTo>
                  <a:pt x="1689685" y="823451"/>
                </a:lnTo>
                <a:cubicBezTo>
                  <a:pt x="1692060" y="826394"/>
                  <a:pt x="1690408" y="831660"/>
                  <a:pt x="1694022" y="834604"/>
                </a:cubicBezTo>
                <a:cubicBezTo>
                  <a:pt x="1694022" y="834604"/>
                  <a:pt x="1708374" y="847615"/>
                  <a:pt x="1712505" y="842659"/>
                </a:cubicBezTo>
                <a:cubicBezTo>
                  <a:pt x="1718080" y="836308"/>
                  <a:pt x="1715293" y="821283"/>
                  <a:pt x="1719320" y="817565"/>
                </a:cubicBezTo>
                <a:cubicBezTo>
                  <a:pt x="1720765" y="814932"/>
                  <a:pt x="1723243" y="816481"/>
                  <a:pt x="1724379" y="818030"/>
                </a:cubicBezTo>
                <a:cubicBezTo>
                  <a:pt x="1724379" y="818030"/>
                  <a:pt x="1722933" y="829182"/>
                  <a:pt x="1725205" y="837857"/>
                </a:cubicBezTo>
                <a:lnTo>
                  <a:pt x="1727993" y="843278"/>
                </a:lnTo>
                <a:lnTo>
                  <a:pt x="1728922" y="841419"/>
                </a:lnTo>
                <a:cubicBezTo>
                  <a:pt x="1729645" y="842348"/>
                  <a:pt x="1729748" y="841574"/>
                  <a:pt x="1730574" y="841574"/>
                </a:cubicBezTo>
                <a:cubicBezTo>
                  <a:pt x="1730162" y="842039"/>
                  <a:pt x="1729748" y="842813"/>
                  <a:pt x="1729439" y="843743"/>
                </a:cubicBezTo>
                <a:lnTo>
                  <a:pt x="1728922" y="844982"/>
                </a:lnTo>
                <a:lnTo>
                  <a:pt x="1728922" y="845136"/>
                </a:lnTo>
                <a:cubicBezTo>
                  <a:pt x="1731401" y="846686"/>
                  <a:pt x="1732846" y="844052"/>
                  <a:pt x="1733982" y="845602"/>
                </a:cubicBezTo>
                <a:cubicBezTo>
                  <a:pt x="1735221" y="845602"/>
                  <a:pt x="1735118" y="846995"/>
                  <a:pt x="1735118" y="848235"/>
                </a:cubicBezTo>
                <a:cubicBezTo>
                  <a:pt x="1736357" y="848390"/>
                  <a:pt x="1737596" y="849783"/>
                  <a:pt x="1738835" y="849938"/>
                </a:cubicBezTo>
                <a:cubicBezTo>
                  <a:pt x="1738835" y="849938"/>
                  <a:pt x="1742036" y="858148"/>
                  <a:pt x="1741933" y="859542"/>
                </a:cubicBezTo>
                <a:cubicBezTo>
                  <a:pt x="1741933" y="859542"/>
                  <a:pt x="1746786" y="861401"/>
                  <a:pt x="1750400" y="860781"/>
                </a:cubicBezTo>
                <a:lnTo>
                  <a:pt x="1752362" y="859697"/>
                </a:lnTo>
                <a:lnTo>
                  <a:pt x="1752362" y="857993"/>
                </a:lnTo>
                <a:lnTo>
                  <a:pt x="1751432" y="857993"/>
                </a:lnTo>
                <a:cubicBezTo>
                  <a:pt x="1750090" y="857838"/>
                  <a:pt x="1748954" y="857528"/>
                  <a:pt x="1748128" y="857219"/>
                </a:cubicBezTo>
                <a:cubicBezTo>
                  <a:pt x="1748438" y="856599"/>
                  <a:pt x="1749161" y="856134"/>
                  <a:pt x="1750193" y="855980"/>
                </a:cubicBezTo>
                <a:lnTo>
                  <a:pt x="1752465" y="855825"/>
                </a:lnTo>
                <a:lnTo>
                  <a:pt x="1752465" y="853656"/>
                </a:lnTo>
                <a:cubicBezTo>
                  <a:pt x="1753188" y="850713"/>
                  <a:pt x="1755046" y="847770"/>
                  <a:pt x="1758247" y="845136"/>
                </a:cubicBezTo>
                <a:cubicBezTo>
                  <a:pt x="1762997" y="843123"/>
                  <a:pt x="1769915" y="848699"/>
                  <a:pt x="1772497" y="854430"/>
                </a:cubicBezTo>
                <a:lnTo>
                  <a:pt x="1772703" y="855825"/>
                </a:lnTo>
                <a:lnTo>
                  <a:pt x="1773839" y="855050"/>
                </a:lnTo>
                <a:cubicBezTo>
                  <a:pt x="1778382" y="853191"/>
                  <a:pt x="1781686" y="854895"/>
                  <a:pt x="1784784" y="851952"/>
                </a:cubicBezTo>
                <a:cubicBezTo>
                  <a:pt x="1785404" y="853656"/>
                  <a:pt x="1785404" y="853656"/>
                  <a:pt x="1784268" y="855360"/>
                </a:cubicBezTo>
                <a:cubicBezTo>
                  <a:pt x="1783441" y="855205"/>
                  <a:pt x="1783235" y="856134"/>
                  <a:pt x="1782512" y="855205"/>
                </a:cubicBezTo>
                <a:cubicBezTo>
                  <a:pt x="1781480" y="856444"/>
                  <a:pt x="1778899" y="857528"/>
                  <a:pt x="1776214" y="858303"/>
                </a:cubicBezTo>
                <a:lnTo>
                  <a:pt x="1773219" y="858613"/>
                </a:lnTo>
                <a:lnTo>
                  <a:pt x="1773426" y="859852"/>
                </a:lnTo>
                <a:lnTo>
                  <a:pt x="1771567" y="861711"/>
                </a:lnTo>
                <a:lnTo>
                  <a:pt x="1774562" y="861556"/>
                </a:lnTo>
                <a:cubicBezTo>
                  <a:pt x="1776110" y="861246"/>
                  <a:pt x="1777866" y="860626"/>
                  <a:pt x="1779415" y="860626"/>
                </a:cubicBezTo>
                <a:lnTo>
                  <a:pt x="1781820" y="860976"/>
                </a:lnTo>
                <a:lnTo>
                  <a:pt x="1782512" y="861865"/>
                </a:lnTo>
                <a:cubicBezTo>
                  <a:pt x="1778899" y="863415"/>
                  <a:pt x="1774252" y="863104"/>
                  <a:pt x="1771670" y="862950"/>
                </a:cubicBezTo>
                <a:lnTo>
                  <a:pt x="1770638" y="862795"/>
                </a:lnTo>
                <a:lnTo>
                  <a:pt x="1765785" y="867906"/>
                </a:lnTo>
                <a:lnTo>
                  <a:pt x="1761241" y="867132"/>
                </a:lnTo>
                <a:lnTo>
                  <a:pt x="1761035" y="867906"/>
                </a:lnTo>
                <a:cubicBezTo>
                  <a:pt x="1761138" y="869610"/>
                  <a:pt x="1761861" y="871469"/>
                  <a:pt x="1763926" y="873328"/>
                </a:cubicBezTo>
                <a:cubicBezTo>
                  <a:pt x="1766301" y="876116"/>
                  <a:pt x="1767437" y="877510"/>
                  <a:pt x="1768779" y="876271"/>
                </a:cubicBezTo>
                <a:cubicBezTo>
                  <a:pt x="1768676" y="877665"/>
                  <a:pt x="1770018" y="877665"/>
                  <a:pt x="1769915" y="879059"/>
                </a:cubicBezTo>
                <a:cubicBezTo>
                  <a:pt x="1769812" y="880453"/>
                  <a:pt x="1798827" y="883861"/>
                  <a:pt x="1800066" y="884015"/>
                </a:cubicBezTo>
                <a:cubicBezTo>
                  <a:pt x="1806055" y="889747"/>
                  <a:pt x="1803783" y="895633"/>
                  <a:pt x="1801615" y="901519"/>
                </a:cubicBezTo>
                <a:lnTo>
                  <a:pt x="1800479" y="906321"/>
                </a:lnTo>
                <a:lnTo>
                  <a:pt x="1805126" y="907095"/>
                </a:lnTo>
                <a:cubicBezTo>
                  <a:pt x="1806571" y="906321"/>
                  <a:pt x="1807707" y="904617"/>
                  <a:pt x="1808842" y="902293"/>
                </a:cubicBezTo>
                <a:cubicBezTo>
                  <a:pt x="1810392" y="899970"/>
                  <a:pt x="1811011" y="897182"/>
                  <a:pt x="1812147" y="894239"/>
                </a:cubicBezTo>
                <a:cubicBezTo>
                  <a:pt x="1813179" y="892070"/>
                  <a:pt x="1813696" y="889127"/>
                  <a:pt x="1814832" y="886959"/>
                </a:cubicBezTo>
                <a:cubicBezTo>
                  <a:pt x="1815864" y="889127"/>
                  <a:pt x="1815348" y="891450"/>
                  <a:pt x="1814832" y="893774"/>
                </a:cubicBezTo>
                <a:cubicBezTo>
                  <a:pt x="1814315" y="895943"/>
                  <a:pt x="1813179" y="898885"/>
                  <a:pt x="1813179" y="901209"/>
                </a:cubicBezTo>
                <a:cubicBezTo>
                  <a:pt x="1814729" y="900589"/>
                  <a:pt x="1816897" y="898885"/>
                  <a:pt x="1817413" y="896562"/>
                </a:cubicBezTo>
                <a:cubicBezTo>
                  <a:pt x="1818549" y="894859"/>
                  <a:pt x="1818549" y="892535"/>
                  <a:pt x="1815864" y="891450"/>
                </a:cubicBezTo>
                <a:cubicBezTo>
                  <a:pt x="1819581" y="888662"/>
                  <a:pt x="1819581" y="886339"/>
                  <a:pt x="1821750" y="881692"/>
                </a:cubicBezTo>
                <a:cubicBezTo>
                  <a:pt x="1822782" y="881227"/>
                  <a:pt x="1822989" y="881227"/>
                  <a:pt x="1822989" y="881847"/>
                </a:cubicBezTo>
                <a:lnTo>
                  <a:pt x="1822472" y="883086"/>
                </a:lnTo>
                <a:lnTo>
                  <a:pt x="1826500" y="885100"/>
                </a:lnTo>
                <a:lnTo>
                  <a:pt x="1826706" y="885410"/>
                </a:lnTo>
                <a:lnTo>
                  <a:pt x="1828978" y="882312"/>
                </a:lnTo>
                <a:cubicBezTo>
                  <a:pt x="1831249" y="878594"/>
                  <a:pt x="1832902" y="874877"/>
                  <a:pt x="1833108" y="874412"/>
                </a:cubicBezTo>
                <a:cubicBezTo>
                  <a:pt x="1835276" y="871469"/>
                  <a:pt x="1836928" y="868681"/>
                  <a:pt x="1836412" y="869765"/>
                </a:cubicBezTo>
                <a:cubicBezTo>
                  <a:pt x="1839097" y="862330"/>
                  <a:pt x="1844982" y="862950"/>
                  <a:pt x="1847770" y="859542"/>
                </a:cubicBezTo>
                <a:cubicBezTo>
                  <a:pt x="1848803" y="858458"/>
                  <a:pt x="1846738" y="854430"/>
                  <a:pt x="1849423" y="851487"/>
                </a:cubicBezTo>
                <a:lnTo>
                  <a:pt x="1850352" y="850403"/>
                </a:lnTo>
                <a:lnTo>
                  <a:pt x="1848390" y="848235"/>
                </a:lnTo>
                <a:cubicBezTo>
                  <a:pt x="1843743" y="843743"/>
                  <a:pt x="1840233" y="841419"/>
                  <a:pt x="1842917" y="834759"/>
                </a:cubicBezTo>
                <a:cubicBezTo>
                  <a:pt x="1845395" y="834294"/>
                  <a:pt x="1848080" y="835998"/>
                  <a:pt x="1850765" y="838631"/>
                </a:cubicBezTo>
                <a:lnTo>
                  <a:pt x="1856031" y="844207"/>
                </a:lnTo>
                <a:lnTo>
                  <a:pt x="1862846" y="835533"/>
                </a:lnTo>
                <a:cubicBezTo>
                  <a:pt x="1863981" y="833829"/>
                  <a:pt x="1865117" y="832125"/>
                  <a:pt x="1866666" y="830422"/>
                </a:cubicBezTo>
                <a:cubicBezTo>
                  <a:pt x="1867802" y="828718"/>
                  <a:pt x="1868835" y="827014"/>
                  <a:pt x="1869867" y="825310"/>
                </a:cubicBezTo>
                <a:cubicBezTo>
                  <a:pt x="1872035" y="821283"/>
                  <a:pt x="1874307" y="817255"/>
                  <a:pt x="1875340" y="813383"/>
                </a:cubicBezTo>
                <a:cubicBezTo>
                  <a:pt x="1876992" y="813383"/>
                  <a:pt x="1878025" y="815087"/>
                  <a:pt x="1879676" y="813847"/>
                </a:cubicBezTo>
                <a:cubicBezTo>
                  <a:pt x="1881329" y="817875"/>
                  <a:pt x="1875856" y="814467"/>
                  <a:pt x="1874204" y="817875"/>
                </a:cubicBezTo>
                <a:cubicBezTo>
                  <a:pt x="1879676" y="821283"/>
                  <a:pt x="1885046" y="813383"/>
                  <a:pt x="1888350" y="808736"/>
                </a:cubicBezTo>
                <a:cubicBezTo>
                  <a:pt x="1887214" y="808736"/>
                  <a:pt x="1885562" y="810440"/>
                  <a:pt x="1884013" y="808116"/>
                </a:cubicBezTo>
                <a:cubicBezTo>
                  <a:pt x="1889383" y="804244"/>
                  <a:pt x="1902290" y="801301"/>
                  <a:pt x="1900225" y="792782"/>
                </a:cubicBezTo>
                <a:cubicBezTo>
                  <a:pt x="1900947" y="791542"/>
                  <a:pt x="1901670" y="791542"/>
                  <a:pt x="1902290" y="791852"/>
                </a:cubicBezTo>
                <a:lnTo>
                  <a:pt x="1902393" y="791852"/>
                </a:lnTo>
                <a:lnTo>
                  <a:pt x="1908278" y="786121"/>
                </a:lnTo>
                <a:lnTo>
                  <a:pt x="1909931" y="786741"/>
                </a:lnTo>
                <a:lnTo>
                  <a:pt x="1910447" y="785966"/>
                </a:lnTo>
                <a:cubicBezTo>
                  <a:pt x="1909311" y="784262"/>
                  <a:pt x="1908278" y="785347"/>
                  <a:pt x="1906626" y="785966"/>
                </a:cubicBezTo>
                <a:cubicBezTo>
                  <a:pt x="1907659" y="778531"/>
                  <a:pt x="1915300" y="780855"/>
                  <a:pt x="1918604" y="772180"/>
                </a:cubicBezTo>
                <a:cubicBezTo>
                  <a:pt x="1920772" y="776208"/>
                  <a:pt x="1924490" y="770477"/>
                  <a:pt x="1927174" y="771716"/>
                </a:cubicBezTo>
                <a:cubicBezTo>
                  <a:pt x="1929343" y="767689"/>
                  <a:pt x="1933060" y="763661"/>
                  <a:pt x="1936880" y="759169"/>
                </a:cubicBezTo>
                <a:cubicBezTo>
                  <a:pt x="1939049" y="757465"/>
                  <a:pt x="1941217" y="755142"/>
                  <a:pt x="1943386" y="752819"/>
                </a:cubicBezTo>
                <a:cubicBezTo>
                  <a:pt x="1945554" y="750650"/>
                  <a:pt x="1948238" y="748326"/>
                  <a:pt x="1950407" y="746623"/>
                </a:cubicBezTo>
                <a:cubicBezTo>
                  <a:pt x="1955260" y="741976"/>
                  <a:pt x="1960629" y="738103"/>
                  <a:pt x="1965586" y="734541"/>
                </a:cubicBezTo>
                <a:cubicBezTo>
                  <a:pt x="1970955" y="731133"/>
                  <a:pt x="1976324" y="728345"/>
                  <a:pt x="1981177" y="725402"/>
                </a:cubicBezTo>
                <a:lnTo>
                  <a:pt x="1984998" y="719516"/>
                </a:lnTo>
                <a:lnTo>
                  <a:pt x="1980351" y="719361"/>
                </a:lnTo>
                <a:cubicBezTo>
                  <a:pt x="1974362" y="715178"/>
                  <a:pt x="1977047" y="709138"/>
                  <a:pt x="1980867" y="702787"/>
                </a:cubicBezTo>
                <a:cubicBezTo>
                  <a:pt x="1983656" y="703561"/>
                  <a:pt x="1986133" y="703097"/>
                  <a:pt x="1988818" y="703716"/>
                </a:cubicBezTo>
                <a:cubicBezTo>
                  <a:pt x="1990780" y="706350"/>
                  <a:pt x="1990677" y="712545"/>
                  <a:pt x="1988612" y="716573"/>
                </a:cubicBezTo>
                <a:lnTo>
                  <a:pt x="1987992" y="717192"/>
                </a:lnTo>
                <a:lnTo>
                  <a:pt x="1992535" y="714714"/>
                </a:lnTo>
                <a:cubicBezTo>
                  <a:pt x="1996872" y="712390"/>
                  <a:pt x="2001725" y="710067"/>
                  <a:pt x="2005546" y="705575"/>
                </a:cubicBezTo>
                <a:cubicBezTo>
                  <a:pt x="2008230" y="705575"/>
                  <a:pt x="2012051" y="703871"/>
                  <a:pt x="2014219" y="707279"/>
                </a:cubicBezTo>
                <a:cubicBezTo>
                  <a:pt x="2014219" y="706040"/>
                  <a:pt x="2014735" y="705575"/>
                  <a:pt x="2014735" y="704956"/>
                </a:cubicBezTo>
                <a:cubicBezTo>
                  <a:pt x="2014735" y="704956"/>
                  <a:pt x="2014735" y="704956"/>
                  <a:pt x="2015252" y="704956"/>
                </a:cubicBezTo>
                <a:cubicBezTo>
                  <a:pt x="2017937" y="703252"/>
                  <a:pt x="2019589" y="702012"/>
                  <a:pt x="2020621" y="701548"/>
                </a:cubicBezTo>
                <a:cubicBezTo>
                  <a:pt x="2020105" y="702012"/>
                  <a:pt x="2020724" y="701548"/>
                  <a:pt x="2021240" y="701548"/>
                </a:cubicBezTo>
                <a:cubicBezTo>
                  <a:pt x="2021240" y="700928"/>
                  <a:pt x="2021240" y="700928"/>
                  <a:pt x="2021240" y="700928"/>
                </a:cubicBezTo>
                <a:cubicBezTo>
                  <a:pt x="2021240" y="700928"/>
                  <a:pt x="2021240" y="700928"/>
                  <a:pt x="2021240" y="700464"/>
                </a:cubicBezTo>
                <a:cubicBezTo>
                  <a:pt x="2021757" y="699844"/>
                  <a:pt x="2022273" y="699844"/>
                  <a:pt x="2023925" y="699844"/>
                </a:cubicBezTo>
                <a:cubicBezTo>
                  <a:pt x="2024958" y="698760"/>
                  <a:pt x="2022273" y="698760"/>
                  <a:pt x="2021757" y="695817"/>
                </a:cubicBezTo>
                <a:cubicBezTo>
                  <a:pt x="2024442" y="695197"/>
                  <a:pt x="2025474" y="692874"/>
                  <a:pt x="2026094" y="690086"/>
                </a:cubicBezTo>
                <a:cubicBezTo>
                  <a:pt x="2026094" y="688382"/>
                  <a:pt x="2026610" y="687297"/>
                  <a:pt x="2027126" y="685593"/>
                </a:cubicBezTo>
                <a:cubicBezTo>
                  <a:pt x="2027126" y="684974"/>
                  <a:pt x="2027126" y="684354"/>
                  <a:pt x="2027642" y="683889"/>
                </a:cubicBezTo>
                <a:cubicBezTo>
                  <a:pt x="2027642" y="683889"/>
                  <a:pt x="2027746" y="683889"/>
                  <a:pt x="2028262" y="683270"/>
                </a:cubicBezTo>
                <a:cubicBezTo>
                  <a:pt x="2028778" y="682650"/>
                  <a:pt x="2029295" y="682186"/>
                  <a:pt x="2030430" y="681566"/>
                </a:cubicBezTo>
                <a:cubicBezTo>
                  <a:pt x="2030430" y="682650"/>
                  <a:pt x="2030430" y="683889"/>
                  <a:pt x="2030430" y="684354"/>
                </a:cubicBezTo>
                <a:cubicBezTo>
                  <a:pt x="2030430" y="684974"/>
                  <a:pt x="2030430" y="684974"/>
                  <a:pt x="2029914" y="685593"/>
                </a:cubicBezTo>
                <a:cubicBezTo>
                  <a:pt x="2029914" y="685593"/>
                  <a:pt x="2029914" y="685593"/>
                  <a:pt x="2029914" y="686213"/>
                </a:cubicBezTo>
                <a:cubicBezTo>
                  <a:pt x="2029914" y="687297"/>
                  <a:pt x="2029295" y="687917"/>
                  <a:pt x="2028778" y="688382"/>
                </a:cubicBezTo>
                <a:cubicBezTo>
                  <a:pt x="2028262" y="689621"/>
                  <a:pt x="2027126" y="690086"/>
                  <a:pt x="2027126" y="693029"/>
                </a:cubicBezTo>
                <a:cubicBezTo>
                  <a:pt x="2028778" y="693029"/>
                  <a:pt x="2030327" y="693029"/>
                  <a:pt x="2031979" y="693029"/>
                </a:cubicBezTo>
                <a:cubicBezTo>
                  <a:pt x="2032496" y="693029"/>
                  <a:pt x="2032599" y="693029"/>
                  <a:pt x="2032599" y="693029"/>
                </a:cubicBezTo>
                <a:cubicBezTo>
                  <a:pt x="2032599" y="693029"/>
                  <a:pt x="2032599" y="693029"/>
                  <a:pt x="2033115" y="693029"/>
                </a:cubicBezTo>
                <a:cubicBezTo>
                  <a:pt x="2033115" y="693029"/>
                  <a:pt x="2033115" y="693029"/>
                  <a:pt x="2033631" y="692409"/>
                </a:cubicBezTo>
                <a:cubicBezTo>
                  <a:pt x="2034664" y="691789"/>
                  <a:pt x="2035284" y="691789"/>
                  <a:pt x="2036316" y="691325"/>
                </a:cubicBezTo>
                <a:cubicBezTo>
                  <a:pt x="2037968" y="690086"/>
                  <a:pt x="2039517" y="689001"/>
                  <a:pt x="2040653" y="687762"/>
                </a:cubicBezTo>
                <a:cubicBezTo>
                  <a:pt x="2040653" y="689001"/>
                  <a:pt x="2040136" y="690705"/>
                  <a:pt x="2040653" y="691789"/>
                </a:cubicBezTo>
                <a:cubicBezTo>
                  <a:pt x="2044370" y="684974"/>
                  <a:pt x="2052011" y="682650"/>
                  <a:pt x="2061201" y="680482"/>
                </a:cubicBezTo>
                <a:cubicBezTo>
                  <a:pt x="2063266" y="678778"/>
                  <a:pt x="2060169" y="679243"/>
                  <a:pt x="2060169" y="677074"/>
                </a:cubicBezTo>
                <a:cubicBezTo>
                  <a:pt x="2060169" y="677074"/>
                  <a:pt x="2060065" y="676919"/>
                  <a:pt x="2062233" y="676455"/>
                </a:cubicBezTo>
                <a:cubicBezTo>
                  <a:pt x="2062750" y="676455"/>
                  <a:pt x="2063886" y="675835"/>
                  <a:pt x="2064402" y="675835"/>
                </a:cubicBezTo>
                <a:lnTo>
                  <a:pt x="2065554" y="675457"/>
                </a:lnTo>
                <a:lnTo>
                  <a:pt x="2069531" y="667383"/>
                </a:lnTo>
                <a:lnTo>
                  <a:pt x="2079562" y="661551"/>
                </a:lnTo>
                <a:lnTo>
                  <a:pt x="2080415" y="652730"/>
                </a:lnTo>
                <a:cubicBezTo>
                  <a:pt x="2081483" y="650738"/>
                  <a:pt x="2083190" y="649031"/>
                  <a:pt x="2086178" y="647750"/>
                </a:cubicBezTo>
                <a:cubicBezTo>
                  <a:pt x="2087671" y="647039"/>
                  <a:pt x="2089379" y="646328"/>
                  <a:pt x="2091300" y="646043"/>
                </a:cubicBezTo>
                <a:cubicBezTo>
                  <a:pt x="2096636" y="645332"/>
                  <a:pt x="2102184" y="647181"/>
                  <a:pt x="2105812" y="656287"/>
                </a:cubicBezTo>
                <a:lnTo>
                  <a:pt x="2106690" y="658976"/>
                </a:lnTo>
                <a:lnTo>
                  <a:pt x="2111383" y="657712"/>
                </a:lnTo>
                <a:cubicBezTo>
                  <a:pt x="2113552" y="657093"/>
                  <a:pt x="2116856" y="656473"/>
                  <a:pt x="2119540" y="655854"/>
                </a:cubicBezTo>
                <a:cubicBezTo>
                  <a:pt x="2121193" y="655389"/>
                  <a:pt x="2119540" y="653065"/>
                  <a:pt x="2119540" y="651361"/>
                </a:cubicBezTo>
                <a:cubicBezTo>
                  <a:pt x="2127078" y="649038"/>
                  <a:pt x="2128214" y="648418"/>
                  <a:pt x="2134100" y="647954"/>
                </a:cubicBezTo>
                <a:cubicBezTo>
                  <a:pt x="2130331" y="646482"/>
                  <a:pt x="2132241" y="645901"/>
                  <a:pt x="2135365" y="645901"/>
                </a:cubicBezTo>
                <a:lnTo>
                  <a:pt x="2140056" y="646688"/>
                </a:lnTo>
                <a:lnTo>
                  <a:pt x="2139960" y="634235"/>
                </a:lnTo>
                <a:lnTo>
                  <a:pt x="2145457" y="642226"/>
                </a:lnTo>
                <a:lnTo>
                  <a:pt x="2145458" y="642222"/>
                </a:lnTo>
                <a:cubicBezTo>
                  <a:pt x="2150311" y="641603"/>
                  <a:pt x="2145458" y="647954"/>
                  <a:pt x="2150931" y="647954"/>
                </a:cubicBezTo>
                <a:cubicBezTo>
                  <a:pt x="2153099" y="642222"/>
                  <a:pt x="2158985" y="643307"/>
                  <a:pt x="2165490" y="639434"/>
                </a:cubicBezTo>
                <a:cubicBezTo>
                  <a:pt x="2169310" y="639899"/>
                  <a:pt x="2160637" y="642222"/>
                  <a:pt x="2159501" y="643307"/>
                </a:cubicBezTo>
                <a:cubicBezTo>
                  <a:pt x="2160120" y="649038"/>
                  <a:pt x="2167658" y="644546"/>
                  <a:pt x="2171892" y="643926"/>
                </a:cubicBezTo>
                <a:cubicBezTo>
                  <a:pt x="2175196" y="643307"/>
                  <a:pt x="2171995" y="639899"/>
                  <a:pt x="2172511" y="638195"/>
                </a:cubicBezTo>
                <a:cubicBezTo>
                  <a:pt x="2177364" y="637576"/>
                  <a:pt x="2177880" y="643462"/>
                  <a:pt x="2185521" y="639899"/>
                </a:cubicBezTo>
                <a:cubicBezTo>
                  <a:pt x="2188722" y="638195"/>
                  <a:pt x="2182733" y="637731"/>
                  <a:pt x="2185521" y="635407"/>
                </a:cubicBezTo>
                <a:cubicBezTo>
                  <a:pt x="2188206" y="637731"/>
                  <a:pt x="2192543" y="637111"/>
                  <a:pt x="2197396" y="637111"/>
                </a:cubicBezTo>
                <a:cubicBezTo>
                  <a:pt x="2201629" y="636491"/>
                  <a:pt x="2206482" y="635872"/>
                  <a:pt x="2210819" y="637111"/>
                </a:cubicBezTo>
                <a:cubicBezTo>
                  <a:pt x="2210819" y="638195"/>
                  <a:pt x="2208134" y="638195"/>
                  <a:pt x="2207102" y="638815"/>
                </a:cubicBezTo>
                <a:cubicBezTo>
                  <a:pt x="2208134" y="642222"/>
                  <a:pt x="2210819" y="637576"/>
                  <a:pt x="2213504" y="637576"/>
                </a:cubicBezTo>
                <a:cubicBezTo>
                  <a:pt x="2212988" y="637111"/>
                  <a:pt x="2211955" y="636027"/>
                  <a:pt x="2210303" y="636027"/>
                </a:cubicBezTo>
                <a:cubicBezTo>
                  <a:pt x="2211955" y="635407"/>
                  <a:pt x="2214123" y="635407"/>
                  <a:pt x="2216808" y="635407"/>
                </a:cubicBezTo>
                <a:cubicBezTo>
                  <a:pt x="2219493" y="635407"/>
                  <a:pt x="2222694" y="635407"/>
                  <a:pt x="2225378" y="636491"/>
                </a:cubicBezTo>
                <a:cubicBezTo>
                  <a:pt x="2229199" y="638195"/>
                  <a:pt x="2221661" y="640519"/>
                  <a:pt x="2225998" y="643307"/>
                </a:cubicBezTo>
                <a:cubicBezTo>
                  <a:pt x="2226411" y="642068"/>
                  <a:pt x="2226204" y="638815"/>
                  <a:pt x="2228786" y="638505"/>
                </a:cubicBezTo>
                <a:lnTo>
                  <a:pt x="2229818" y="638815"/>
                </a:lnTo>
                <a:lnTo>
                  <a:pt x="2229818" y="642222"/>
                </a:lnTo>
                <a:lnTo>
                  <a:pt x="2229612" y="642377"/>
                </a:lnTo>
                <a:cubicBezTo>
                  <a:pt x="2228682" y="643462"/>
                  <a:pt x="2228167" y="645010"/>
                  <a:pt x="2229199" y="647954"/>
                </a:cubicBezTo>
                <a:lnTo>
                  <a:pt x="2229818" y="647954"/>
                </a:lnTo>
                <a:lnTo>
                  <a:pt x="2229818" y="657752"/>
                </a:lnTo>
                <a:lnTo>
                  <a:pt x="2237839" y="646310"/>
                </a:lnTo>
                <a:lnTo>
                  <a:pt x="2266626" y="611448"/>
                </a:lnTo>
                <a:lnTo>
                  <a:pt x="2257127" y="601798"/>
                </a:lnTo>
                <a:cubicBezTo>
                  <a:pt x="2259475" y="599521"/>
                  <a:pt x="2255846" y="596960"/>
                  <a:pt x="2259261" y="594684"/>
                </a:cubicBezTo>
                <a:lnTo>
                  <a:pt x="2260542" y="595253"/>
                </a:lnTo>
                <a:lnTo>
                  <a:pt x="2254993" y="589989"/>
                </a:lnTo>
                <a:cubicBezTo>
                  <a:pt x="2248163" y="582022"/>
                  <a:pt x="2242615" y="572633"/>
                  <a:pt x="2240053" y="559544"/>
                </a:cubicBezTo>
                <a:cubicBezTo>
                  <a:pt x="2253712" y="559046"/>
                  <a:pt x="2262943" y="567368"/>
                  <a:pt x="2268838" y="578056"/>
                </a:cubicBezTo>
                <a:lnTo>
                  <a:pt x="2275059" y="601235"/>
                </a:lnTo>
                <a:lnTo>
                  <a:pt x="2289985" y="583159"/>
                </a:lnTo>
                <a:lnTo>
                  <a:pt x="2314817" y="558514"/>
                </a:lnTo>
                <a:lnTo>
                  <a:pt x="2330283" y="548921"/>
                </a:lnTo>
                <a:lnTo>
                  <a:pt x="2329903" y="548447"/>
                </a:lnTo>
                <a:cubicBezTo>
                  <a:pt x="2329263" y="546739"/>
                  <a:pt x="2329263" y="545459"/>
                  <a:pt x="2329690" y="544321"/>
                </a:cubicBezTo>
                <a:cubicBezTo>
                  <a:pt x="2330117" y="543183"/>
                  <a:pt x="2330757" y="542329"/>
                  <a:pt x="2331824" y="541618"/>
                </a:cubicBezTo>
                <a:lnTo>
                  <a:pt x="2337136" y="544671"/>
                </a:lnTo>
                <a:lnTo>
                  <a:pt x="2342132" y="541572"/>
                </a:lnTo>
                <a:lnTo>
                  <a:pt x="2357476" y="534230"/>
                </a:lnTo>
                <a:lnTo>
                  <a:pt x="2357648" y="533224"/>
                </a:lnTo>
                <a:cubicBezTo>
                  <a:pt x="2365118" y="508896"/>
                  <a:pt x="2380697" y="487271"/>
                  <a:pt x="2402039" y="473756"/>
                </a:cubicBezTo>
                <a:cubicBezTo>
                  <a:pt x="2418473" y="462374"/>
                  <a:pt x="2435119" y="457821"/>
                  <a:pt x="2451339" y="458675"/>
                </a:cubicBezTo>
                <a:lnTo>
                  <a:pt x="2457528" y="459671"/>
                </a:lnTo>
                <a:lnTo>
                  <a:pt x="2459235" y="458248"/>
                </a:lnTo>
                <a:cubicBezTo>
                  <a:pt x="2461370" y="456968"/>
                  <a:pt x="2463717" y="455972"/>
                  <a:pt x="2465425" y="455403"/>
                </a:cubicBezTo>
                <a:close/>
                <a:moveTo>
                  <a:pt x="2282737" y="453980"/>
                </a:moveTo>
                <a:cubicBezTo>
                  <a:pt x="2282737" y="453980"/>
                  <a:pt x="2282524" y="453980"/>
                  <a:pt x="2282097" y="455118"/>
                </a:cubicBezTo>
                <a:cubicBezTo>
                  <a:pt x="2282097" y="455118"/>
                  <a:pt x="2282524" y="453980"/>
                  <a:pt x="2283591" y="454549"/>
                </a:cubicBezTo>
                <a:cubicBezTo>
                  <a:pt x="2284231" y="461662"/>
                  <a:pt x="2279323" y="469488"/>
                  <a:pt x="2278896" y="470483"/>
                </a:cubicBezTo>
                <a:cubicBezTo>
                  <a:pt x="2277829" y="469914"/>
                  <a:pt x="2277829" y="469914"/>
                  <a:pt x="2277829" y="469914"/>
                </a:cubicBezTo>
                <a:cubicBezTo>
                  <a:pt x="2279963" y="467211"/>
                  <a:pt x="2279109" y="461947"/>
                  <a:pt x="2280390" y="457679"/>
                </a:cubicBezTo>
                <a:cubicBezTo>
                  <a:pt x="2280816" y="456399"/>
                  <a:pt x="2281457" y="454976"/>
                  <a:pt x="2282737" y="453980"/>
                </a:cubicBezTo>
                <a:close/>
                <a:moveTo>
                  <a:pt x="3010712" y="453696"/>
                </a:moveTo>
                <a:cubicBezTo>
                  <a:pt x="3012846" y="453269"/>
                  <a:pt x="3014767" y="453553"/>
                  <a:pt x="3016475" y="454834"/>
                </a:cubicBezTo>
                <a:cubicBezTo>
                  <a:pt x="3021596" y="463370"/>
                  <a:pt x="3010285" y="471195"/>
                  <a:pt x="3003242" y="468491"/>
                </a:cubicBezTo>
                <a:cubicBezTo>
                  <a:pt x="2999614" y="462089"/>
                  <a:pt x="3004950" y="454691"/>
                  <a:pt x="3010712" y="453696"/>
                </a:cubicBezTo>
                <a:close/>
                <a:moveTo>
                  <a:pt x="2605855" y="452700"/>
                </a:moveTo>
                <a:cubicBezTo>
                  <a:pt x="2607349" y="452273"/>
                  <a:pt x="2609483" y="452984"/>
                  <a:pt x="2610337" y="454407"/>
                </a:cubicBezTo>
                <a:cubicBezTo>
                  <a:pt x="2610977" y="455403"/>
                  <a:pt x="2611191" y="456683"/>
                  <a:pt x="2610337" y="458106"/>
                </a:cubicBezTo>
                <a:cubicBezTo>
                  <a:pt x="2608629" y="458106"/>
                  <a:pt x="2606068" y="458960"/>
                  <a:pt x="2603721" y="457964"/>
                </a:cubicBezTo>
                <a:cubicBezTo>
                  <a:pt x="2603080" y="454834"/>
                  <a:pt x="2604148" y="453269"/>
                  <a:pt x="2605855" y="452700"/>
                </a:cubicBezTo>
                <a:close/>
                <a:moveTo>
                  <a:pt x="2767840" y="449854"/>
                </a:moveTo>
                <a:cubicBezTo>
                  <a:pt x="2769548" y="451704"/>
                  <a:pt x="2770615" y="453980"/>
                  <a:pt x="2771042" y="456541"/>
                </a:cubicBezTo>
                <a:cubicBezTo>
                  <a:pt x="2771468" y="460240"/>
                  <a:pt x="2770402" y="464508"/>
                  <a:pt x="2768694" y="468349"/>
                </a:cubicBezTo>
                <a:lnTo>
                  <a:pt x="2767200" y="470483"/>
                </a:lnTo>
                <a:lnTo>
                  <a:pt x="2766987" y="471337"/>
                </a:lnTo>
                <a:lnTo>
                  <a:pt x="2765706" y="472618"/>
                </a:lnTo>
                <a:lnTo>
                  <a:pt x="2762292" y="477881"/>
                </a:lnTo>
                <a:cubicBezTo>
                  <a:pt x="2756743" y="478308"/>
                  <a:pt x="2753328" y="476601"/>
                  <a:pt x="2751407" y="473898"/>
                </a:cubicBezTo>
                <a:cubicBezTo>
                  <a:pt x="2746072" y="465931"/>
                  <a:pt x="2755035" y="448716"/>
                  <a:pt x="2767840" y="449854"/>
                </a:cubicBezTo>
                <a:close/>
                <a:moveTo>
                  <a:pt x="2801561" y="449712"/>
                </a:moveTo>
                <a:cubicBezTo>
                  <a:pt x="2807323" y="449001"/>
                  <a:pt x="2809671" y="456399"/>
                  <a:pt x="2811164" y="460098"/>
                </a:cubicBezTo>
                <a:cubicBezTo>
                  <a:pt x="2807323" y="463370"/>
                  <a:pt x="2803481" y="466784"/>
                  <a:pt x="2800067" y="466500"/>
                </a:cubicBezTo>
                <a:lnTo>
                  <a:pt x="2799213" y="463797"/>
                </a:lnTo>
                <a:lnTo>
                  <a:pt x="2798573" y="464508"/>
                </a:lnTo>
                <a:cubicBezTo>
                  <a:pt x="2796865" y="465931"/>
                  <a:pt x="2795158" y="466784"/>
                  <a:pt x="2792810" y="466073"/>
                </a:cubicBezTo>
                <a:cubicBezTo>
                  <a:pt x="2793878" y="465219"/>
                  <a:pt x="2795158" y="463939"/>
                  <a:pt x="2796652" y="462659"/>
                </a:cubicBezTo>
                <a:lnTo>
                  <a:pt x="2798360" y="461378"/>
                </a:lnTo>
                <a:lnTo>
                  <a:pt x="2797293" y="458106"/>
                </a:lnTo>
                <a:cubicBezTo>
                  <a:pt x="2797506" y="455261"/>
                  <a:pt x="2798786" y="452415"/>
                  <a:pt x="2801561" y="449712"/>
                </a:cubicBezTo>
                <a:close/>
                <a:moveTo>
                  <a:pt x="2271426" y="446582"/>
                </a:moveTo>
                <a:cubicBezTo>
                  <a:pt x="2273987" y="446724"/>
                  <a:pt x="2273987" y="446724"/>
                  <a:pt x="2275695" y="449001"/>
                </a:cubicBezTo>
                <a:cubicBezTo>
                  <a:pt x="2275268" y="450139"/>
                  <a:pt x="2276335" y="450708"/>
                  <a:pt x="2274628" y="451135"/>
                </a:cubicBezTo>
                <a:cubicBezTo>
                  <a:pt x="2276975" y="455118"/>
                  <a:pt x="2275695" y="466357"/>
                  <a:pt x="2272707" y="469914"/>
                </a:cubicBezTo>
                <a:cubicBezTo>
                  <a:pt x="2266517" y="457110"/>
                  <a:pt x="2274841" y="453838"/>
                  <a:pt x="2271426" y="446582"/>
                </a:cubicBezTo>
                <a:close/>
                <a:moveTo>
                  <a:pt x="3112940" y="446155"/>
                </a:moveTo>
                <a:cubicBezTo>
                  <a:pt x="3115074" y="446298"/>
                  <a:pt x="3117209" y="447436"/>
                  <a:pt x="3118702" y="449712"/>
                </a:cubicBezTo>
                <a:cubicBezTo>
                  <a:pt x="3111446" y="452700"/>
                  <a:pt x="3103763" y="457964"/>
                  <a:pt x="3095653" y="458533"/>
                </a:cubicBezTo>
                <a:cubicBezTo>
                  <a:pt x="3098428" y="452415"/>
                  <a:pt x="3106324" y="445444"/>
                  <a:pt x="3112940" y="446155"/>
                </a:cubicBezTo>
                <a:close/>
                <a:moveTo>
                  <a:pt x="2590062" y="444448"/>
                </a:moveTo>
                <a:cubicBezTo>
                  <a:pt x="2592196" y="445017"/>
                  <a:pt x="2593690" y="446582"/>
                  <a:pt x="2594330" y="448716"/>
                </a:cubicBezTo>
                <a:cubicBezTo>
                  <a:pt x="2595824" y="452700"/>
                  <a:pt x="2594330" y="458675"/>
                  <a:pt x="2588354" y="461662"/>
                </a:cubicBezTo>
                <a:cubicBezTo>
                  <a:pt x="2583873" y="460098"/>
                  <a:pt x="2581525" y="457253"/>
                  <a:pt x="2579604" y="455688"/>
                </a:cubicBezTo>
                <a:cubicBezTo>
                  <a:pt x="2580885" y="452415"/>
                  <a:pt x="2581098" y="449854"/>
                  <a:pt x="2582592" y="446582"/>
                </a:cubicBezTo>
                <a:cubicBezTo>
                  <a:pt x="2585580" y="444448"/>
                  <a:pt x="2588141" y="443879"/>
                  <a:pt x="2590062" y="444448"/>
                </a:cubicBezTo>
                <a:close/>
                <a:moveTo>
                  <a:pt x="2962906" y="444022"/>
                </a:moveTo>
                <a:cubicBezTo>
                  <a:pt x="2965894" y="445871"/>
                  <a:pt x="2968882" y="447863"/>
                  <a:pt x="2969096" y="450566"/>
                </a:cubicBezTo>
                <a:cubicBezTo>
                  <a:pt x="2969096" y="451419"/>
                  <a:pt x="2968882" y="452415"/>
                  <a:pt x="2968241" y="453553"/>
                </a:cubicBezTo>
                <a:cubicBezTo>
                  <a:pt x="2962693" y="455261"/>
                  <a:pt x="2958211" y="450281"/>
                  <a:pt x="2962906" y="444022"/>
                </a:cubicBezTo>
                <a:close/>
                <a:moveTo>
                  <a:pt x="2757383" y="442314"/>
                </a:moveTo>
                <a:cubicBezTo>
                  <a:pt x="2760157" y="444022"/>
                  <a:pt x="2763785" y="446298"/>
                  <a:pt x="2765066" y="448432"/>
                </a:cubicBezTo>
                <a:cubicBezTo>
                  <a:pt x="2762505" y="448289"/>
                  <a:pt x="2758237" y="447009"/>
                  <a:pt x="2757810" y="443879"/>
                </a:cubicBezTo>
                <a:cubicBezTo>
                  <a:pt x="2757810" y="443879"/>
                  <a:pt x="2757810" y="443879"/>
                  <a:pt x="2757383" y="442314"/>
                </a:cubicBezTo>
                <a:close/>
                <a:moveTo>
                  <a:pt x="2555488" y="442314"/>
                </a:moveTo>
                <a:cubicBezTo>
                  <a:pt x="2563384" y="443452"/>
                  <a:pt x="2572988" y="449854"/>
                  <a:pt x="2574269" y="453553"/>
                </a:cubicBezTo>
                <a:cubicBezTo>
                  <a:pt x="2569574" y="454976"/>
                  <a:pt x="2565945" y="451419"/>
                  <a:pt x="2560396" y="452273"/>
                </a:cubicBezTo>
                <a:cubicBezTo>
                  <a:pt x="2558262" y="448289"/>
                  <a:pt x="2551433" y="448432"/>
                  <a:pt x="2548872" y="443025"/>
                </a:cubicBezTo>
                <a:cubicBezTo>
                  <a:pt x="2550579" y="442030"/>
                  <a:pt x="2552927" y="441887"/>
                  <a:pt x="2555488" y="442314"/>
                </a:cubicBezTo>
                <a:close/>
                <a:moveTo>
                  <a:pt x="2389020" y="441176"/>
                </a:moveTo>
                <a:cubicBezTo>
                  <a:pt x="2391581" y="441745"/>
                  <a:pt x="2393716" y="441176"/>
                  <a:pt x="2396277" y="441887"/>
                </a:cubicBezTo>
                <a:cubicBezTo>
                  <a:pt x="2399051" y="444875"/>
                  <a:pt x="2399051" y="453696"/>
                  <a:pt x="2395423" y="456114"/>
                </a:cubicBezTo>
                <a:cubicBezTo>
                  <a:pt x="2394143" y="456968"/>
                  <a:pt x="2392649" y="457110"/>
                  <a:pt x="2390514" y="456114"/>
                </a:cubicBezTo>
                <a:cubicBezTo>
                  <a:pt x="2384538" y="452700"/>
                  <a:pt x="2386246" y="447009"/>
                  <a:pt x="2389020" y="441176"/>
                </a:cubicBezTo>
                <a:close/>
                <a:moveTo>
                  <a:pt x="3291146" y="439042"/>
                </a:moveTo>
                <a:cubicBezTo>
                  <a:pt x="3291359" y="440322"/>
                  <a:pt x="3291573" y="441460"/>
                  <a:pt x="3292640" y="441318"/>
                </a:cubicBezTo>
                <a:cubicBezTo>
                  <a:pt x="3290719" y="443879"/>
                  <a:pt x="3289652" y="443879"/>
                  <a:pt x="3288585" y="445159"/>
                </a:cubicBezTo>
                <a:cubicBezTo>
                  <a:pt x="3289652" y="445159"/>
                  <a:pt x="3288798" y="446298"/>
                  <a:pt x="3288798" y="446298"/>
                </a:cubicBezTo>
                <a:cubicBezTo>
                  <a:pt x="3288798" y="446298"/>
                  <a:pt x="3288798" y="446440"/>
                  <a:pt x="3291359" y="448716"/>
                </a:cubicBezTo>
                <a:cubicBezTo>
                  <a:pt x="3291359" y="448716"/>
                  <a:pt x="3296908" y="454407"/>
                  <a:pt x="3293066" y="460525"/>
                </a:cubicBezTo>
                <a:cubicBezTo>
                  <a:pt x="3291786" y="459387"/>
                  <a:pt x="3285810" y="466927"/>
                  <a:pt x="3280902" y="464792"/>
                </a:cubicBezTo>
                <a:cubicBezTo>
                  <a:pt x="3278341" y="463797"/>
                  <a:pt x="3277060" y="462659"/>
                  <a:pt x="3274712" y="461662"/>
                </a:cubicBezTo>
                <a:cubicBezTo>
                  <a:pt x="3274072" y="458106"/>
                  <a:pt x="3270231" y="454691"/>
                  <a:pt x="3273859" y="447294"/>
                </a:cubicBezTo>
                <a:cubicBezTo>
                  <a:pt x="3278554" y="439753"/>
                  <a:pt x="3286237" y="445302"/>
                  <a:pt x="3286024" y="444164"/>
                </a:cubicBezTo>
                <a:cubicBezTo>
                  <a:pt x="3287091" y="442883"/>
                  <a:pt x="3287091" y="442883"/>
                  <a:pt x="3286878" y="441603"/>
                </a:cubicBezTo>
                <a:cubicBezTo>
                  <a:pt x="3288158" y="441603"/>
                  <a:pt x="3290292" y="440322"/>
                  <a:pt x="3291146" y="439042"/>
                </a:cubicBezTo>
                <a:close/>
                <a:moveTo>
                  <a:pt x="2873057" y="434631"/>
                </a:moveTo>
                <a:cubicBezTo>
                  <a:pt x="2874337" y="434489"/>
                  <a:pt x="2875617" y="434774"/>
                  <a:pt x="2876685" y="435485"/>
                </a:cubicBezTo>
                <a:cubicBezTo>
                  <a:pt x="2877752" y="436623"/>
                  <a:pt x="2877752" y="436623"/>
                  <a:pt x="2878819" y="437762"/>
                </a:cubicBezTo>
                <a:cubicBezTo>
                  <a:pt x="2878605" y="440180"/>
                  <a:pt x="2879459" y="442599"/>
                  <a:pt x="2878178" y="445017"/>
                </a:cubicBezTo>
                <a:cubicBezTo>
                  <a:pt x="2875617" y="447294"/>
                  <a:pt x="2870069" y="446013"/>
                  <a:pt x="2867934" y="444875"/>
                </a:cubicBezTo>
                <a:cubicBezTo>
                  <a:pt x="2865800" y="442457"/>
                  <a:pt x="2867294" y="438758"/>
                  <a:pt x="2869855" y="436481"/>
                </a:cubicBezTo>
                <a:cubicBezTo>
                  <a:pt x="2870495" y="435343"/>
                  <a:pt x="2871776" y="434774"/>
                  <a:pt x="2873057" y="434631"/>
                </a:cubicBezTo>
                <a:close/>
                <a:moveTo>
                  <a:pt x="3396788" y="431644"/>
                </a:moveTo>
                <a:cubicBezTo>
                  <a:pt x="3397642" y="431359"/>
                  <a:pt x="3398496" y="431359"/>
                  <a:pt x="3398923" y="431928"/>
                </a:cubicBezTo>
                <a:cubicBezTo>
                  <a:pt x="3398923" y="433209"/>
                  <a:pt x="3399990" y="433209"/>
                  <a:pt x="3399990" y="434489"/>
                </a:cubicBezTo>
                <a:cubicBezTo>
                  <a:pt x="3400843" y="436908"/>
                  <a:pt x="3400630" y="438046"/>
                  <a:pt x="3399350" y="439184"/>
                </a:cubicBezTo>
                <a:cubicBezTo>
                  <a:pt x="3399350" y="440465"/>
                  <a:pt x="3398069" y="440465"/>
                  <a:pt x="3396788" y="441603"/>
                </a:cubicBezTo>
                <a:cubicBezTo>
                  <a:pt x="3395722" y="441603"/>
                  <a:pt x="3394655" y="440465"/>
                  <a:pt x="3394655" y="440465"/>
                </a:cubicBezTo>
                <a:cubicBezTo>
                  <a:pt x="3393801" y="439184"/>
                  <a:pt x="3393801" y="439184"/>
                  <a:pt x="3392520" y="440322"/>
                </a:cubicBezTo>
                <a:cubicBezTo>
                  <a:pt x="3392520" y="440322"/>
                  <a:pt x="3392520" y="439184"/>
                  <a:pt x="3392520" y="439184"/>
                </a:cubicBezTo>
                <a:cubicBezTo>
                  <a:pt x="3393801" y="439184"/>
                  <a:pt x="3392520" y="439184"/>
                  <a:pt x="3391453" y="437904"/>
                </a:cubicBezTo>
                <a:cubicBezTo>
                  <a:pt x="3392947" y="435485"/>
                  <a:pt x="3392947" y="434347"/>
                  <a:pt x="3394228" y="433066"/>
                </a:cubicBezTo>
                <a:cubicBezTo>
                  <a:pt x="3394867" y="432498"/>
                  <a:pt x="3395935" y="431928"/>
                  <a:pt x="3396788" y="431644"/>
                </a:cubicBezTo>
                <a:close/>
                <a:moveTo>
                  <a:pt x="3003883" y="430506"/>
                </a:moveTo>
                <a:cubicBezTo>
                  <a:pt x="3011139" y="435628"/>
                  <a:pt x="3001109" y="447294"/>
                  <a:pt x="2996200" y="437335"/>
                </a:cubicBezTo>
                <a:cubicBezTo>
                  <a:pt x="2999401" y="433920"/>
                  <a:pt x="3001749" y="431501"/>
                  <a:pt x="3003883" y="430506"/>
                </a:cubicBezTo>
                <a:close/>
                <a:moveTo>
                  <a:pt x="2479084" y="428514"/>
                </a:moveTo>
                <a:cubicBezTo>
                  <a:pt x="2480151" y="429226"/>
                  <a:pt x="2482072" y="430364"/>
                  <a:pt x="2484206" y="428799"/>
                </a:cubicBezTo>
                <a:cubicBezTo>
                  <a:pt x="2485272" y="432071"/>
                  <a:pt x="2486340" y="435343"/>
                  <a:pt x="2483352" y="436197"/>
                </a:cubicBezTo>
                <a:cubicBezTo>
                  <a:pt x="2481858" y="436623"/>
                  <a:pt x="2480364" y="437193"/>
                  <a:pt x="2478230" y="435912"/>
                </a:cubicBezTo>
                <a:cubicBezTo>
                  <a:pt x="2477163" y="432640"/>
                  <a:pt x="2479511" y="430221"/>
                  <a:pt x="2479084" y="428514"/>
                </a:cubicBezTo>
                <a:close/>
                <a:moveTo>
                  <a:pt x="2780006" y="427661"/>
                </a:moveTo>
                <a:cubicBezTo>
                  <a:pt x="2785768" y="427803"/>
                  <a:pt x="2793024" y="436481"/>
                  <a:pt x="2787475" y="442030"/>
                </a:cubicBezTo>
                <a:cubicBezTo>
                  <a:pt x="2784274" y="443167"/>
                  <a:pt x="2780859" y="444164"/>
                  <a:pt x="2775951" y="440465"/>
                </a:cubicBezTo>
                <a:cubicBezTo>
                  <a:pt x="2774670" y="435628"/>
                  <a:pt x="2775524" y="432071"/>
                  <a:pt x="2780006" y="427661"/>
                </a:cubicBezTo>
                <a:close/>
                <a:moveTo>
                  <a:pt x="3144313" y="426807"/>
                </a:moveTo>
                <a:cubicBezTo>
                  <a:pt x="3144740" y="426807"/>
                  <a:pt x="3144740" y="427091"/>
                  <a:pt x="3145380" y="427803"/>
                </a:cubicBezTo>
                <a:cubicBezTo>
                  <a:pt x="3144099" y="429083"/>
                  <a:pt x="3144313" y="427803"/>
                  <a:pt x="3143246" y="427803"/>
                </a:cubicBezTo>
                <a:cubicBezTo>
                  <a:pt x="3143886" y="427091"/>
                  <a:pt x="3144099" y="426807"/>
                  <a:pt x="3144313" y="426807"/>
                </a:cubicBezTo>
                <a:close/>
                <a:moveTo>
                  <a:pt x="2534999" y="426238"/>
                </a:moveTo>
                <a:cubicBezTo>
                  <a:pt x="2547165" y="430079"/>
                  <a:pt x="2547591" y="437193"/>
                  <a:pt x="2549298" y="437619"/>
                </a:cubicBezTo>
                <a:cubicBezTo>
                  <a:pt x="2548445" y="442599"/>
                  <a:pt x="2545244" y="441745"/>
                  <a:pt x="2540122" y="442172"/>
                </a:cubicBezTo>
                <a:cubicBezTo>
                  <a:pt x="2540335" y="440465"/>
                  <a:pt x="2535426" y="439327"/>
                  <a:pt x="2533932" y="438900"/>
                </a:cubicBezTo>
                <a:cubicBezTo>
                  <a:pt x="2534359" y="435628"/>
                  <a:pt x="2528810" y="433209"/>
                  <a:pt x="2529664" y="428229"/>
                </a:cubicBezTo>
                <a:cubicBezTo>
                  <a:pt x="2531585" y="426949"/>
                  <a:pt x="2532439" y="426380"/>
                  <a:pt x="2534999" y="426238"/>
                </a:cubicBezTo>
                <a:close/>
                <a:moveTo>
                  <a:pt x="2807964" y="425527"/>
                </a:moveTo>
                <a:cubicBezTo>
                  <a:pt x="2810524" y="426095"/>
                  <a:pt x="2812659" y="425384"/>
                  <a:pt x="2815220" y="425953"/>
                </a:cubicBezTo>
                <a:cubicBezTo>
                  <a:pt x="2817567" y="428941"/>
                  <a:pt x="2816287" y="437619"/>
                  <a:pt x="2812232" y="440322"/>
                </a:cubicBezTo>
                <a:cubicBezTo>
                  <a:pt x="2810951" y="441176"/>
                  <a:pt x="2809244" y="441460"/>
                  <a:pt x="2807323" y="440465"/>
                </a:cubicBezTo>
                <a:cubicBezTo>
                  <a:pt x="2801988" y="437193"/>
                  <a:pt x="2804336" y="431501"/>
                  <a:pt x="2807964" y="425527"/>
                </a:cubicBezTo>
                <a:close/>
                <a:moveTo>
                  <a:pt x="2567653" y="424957"/>
                </a:moveTo>
                <a:cubicBezTo>
                  <a:pt x="2573415" y="424388"/>
                  <a:pt x="2575763" y="427091"/>
                  <a:pt x="2579604" y="428087"/>
                </a:cubicBezTo>
                <a:cubicBezTo>
                  <a:pt x="2580671" y="440180"/>
                  <a:pt x="2572988" y="442741"/>
                  <a:pt x="2568080" y="439753"/>
                </a:cubicBezTo>
                <a:cubicBezTo>
                  <a:pt x="2566586" y="438758"/>
                  <a:pt x="2565305" y="437193"/>
                  <a:pt x="2564665" y="435201"/>
                </a:cubicBezTo>
                <a:cubicBezTo>
                  <a:pt x="2564024" y="432498"/>
                  <a:pt x="2564665" y="428941"/>
                  <a:pt x="2567653" y="424957"/>
                </a:cubicBezTo>
                <a:close/>
                <a:moveTo>
                  <a:pt x="2738602" y="424246"/>
                </a:moveTo>
                <a:cubicBezTo>
                  <a:pt x="2742657" y="428372"/>
                  <a:pt x="2749913" y="431501"/>
                  <a:pt x="2751621" y="436908"/>
                </a:cubicBezTo>
                <a:cubicBezTo>
                  <a:pt x="2749700" y="435770"/>
                  <a:pt x="2740096" y="428087"/>
                  <a:pt x="2738602" y="424246"/>
                </a:cubicBezTo>
                <a:close/>
                <a:moveTo>
                  <a:pt x="3128306" y="423535"/>
                </a:moveTo>
                <a:cubicBezTo>
                  <a:pt x="3132148" y="425811"/>
                  <a:pt x="3134923" y="429083"/>
                  <a:pt x="3131935" y="432782"/>
                </a:cubicBezTo>
                <a:cubicBezTo>
                  <a:pt x="3131081" y="434063"/>
                  <a:pt x="3130014" y="435343"/>
                  <a:pt x="3129801" y="434205"/>
                </a:cubicBezTo>
                <a:cubicBezTo>
                  <a:pt x="3128733" y="434205"/>
                  <a:pt x="3128520" y="433066"/>
                  <a:pt x="3127239" y="431928"/>
                </a:cubicBezTo>
                <a:cubicBezTo>
                  <a:pt x="3125745" y="429652"/>
                  <a:pt x="3125318" y="426238"/>
                  <a:pt x="3126172" y="424957"/>
                </a:cubicBezTo>
                <a:cubicBezTo>
                  <a:pt x="3127239" y="423677"/>
                  <a:pt x="3128306" y="423535"/>
                  <a:pt x="3128306" y="423535"/>
                </a:cubicBezTo>
                <a:close/>
                <a:moveTo>
                  <a:pt x="3141752" y="423108"/>
                </a:moveTo>
                <a:cubicBezTo>
                  <a:pt x="3142606" y="423535"/>
                  <a:pt x="3143459" y="424388"/>
                  <a:pt x="3144740" y="424815"/>
                </a:cubicBezTo>
                <a:lnTo>
                  <a:pt x="3141752" y="428514"/>
                </a:lnTo>
                <a:cubicBezTo>
                  <a:pt x="3140471" y="427376"/>
                  <a:pt x="3138977" y="425242"/>
                  <a:pt x="3140044" y="423962"/>
                </a:cubicBezTo>
                <a:cubicBezTo>
                  <a:pt x="3140471" y="422823"/>
                  <a:pt x="3140898" y="422823"/>
                  <a:pt x="3141752" y="423108"/>
                </a:cubicBezTo>
                <a:close/>
                <a:moveTo>
                  <a:pt x="2075080" y="422823"/>
                </a:moveTo>
                <a:cubicBezTo>
                  <a:pt x="2084470" y="422539"/>
                  <a:pt x="2091940" y="425527"/>
                  <a:pt x="2088952" y="436054"/>
                </a:cubicBezTo>
                <a:cubicBezTo>
                  <a:pt x="2074440" y="435770"/>
                  <a:pt x="2061421" y="442741"/>
                  <a:pt x="2055018" y="438046"/>
                </a:cubicBezTo>
                <a:cubicBezTo>
                  <a:pt x="2052884" y="436481"/>
                  <a:pt x="2051390" y="433636"/>
                  <a:pt x="2050750" y="428799"/>
                </a:cubicBezTo>
                <a:cubicBezTo>
                  <a:pt x="2055018" y="426380"/>
                  <a:pt x="2065903" y="422965"/>
                  <a:pt x="2075080" y="422823"/>
                </a:cubicBezTo>
                <a:close/>
                <a:moveTo>
                  <a:pt x="3315263" y="421827"/>
                </a:moveTo>
                <a:cubicBezTo>
                  <a:pt x="3318463" y="421258"/>
                  <a:pt x="3322091" y="422681"/>
                  <a:pt x="3323799" y="425384"/>
                </a:cubicBezTo>
                <a:cubicBezTo>
                  <a:pt x="3325079" y="427234"/>
                  <a:pt x="3325506" y="429652"/>
                  <a:pt x="3324653" y="432356"/>
                </a:cubicBezTo>
                <a:cubicBezTo>
                  <a:pt x="3317823" y="434347"/>
                  <a:pt x="3310354" y="438188"/>
                  <a:pt x="3307366" y="430506"/>
                </a:cubicBezTo>
                <a:cubicBezTo>
                  <a:pt x="3308646" y="425100"/>
                  <a:pt x="3311848" y="422397"/>
                  <a:pt x="3315263" y="421827"/>
                </a:cubicBezTo>
                <a:close/>
                <a:moveTo>
                  <a:pt x="2737322" y="421827"/>
                </a:moveTo>
                <a:cubicBezTo>
                  <a:pt x="2737748" y="423392"/>
                  <a:pt x="2737748" y="423535"/>
                  <a:pt x="2738602" y="424104"/>
                </a:cubicBezTo>
                <a:cubicBezTo>
                  <a:pt x="2738602" y="424104"/>
                  <a:pt x="2737108" y="424388"/>
                  <a:pt x="2737108" y="424388"/>
                </a:cubicBezTo>
                <a:cubicBezTo>
                  <a:pt x="2736681" y="422823"/>
                  <a:pt x="2736041" y="423677"/>
                  <a:pt x="2737322" y="421827"/>
                </a:cubicBezTo>
                <a:close/>
                <a:moveTo>
                  <a:pt x="2878178" y="420832"/>
                </a:moveTo>
                <a:cubicBezTo>
                  <a:pt x="2880953" y="420547"/>
                  <a:pt x="2882661" y="420832"/>
                  <a:pt x="2883941" y="421970"/>
                </a:cubicBezTo>
                <a:cubicBezTo>
                  <a:pt x="2885008" y="422965"/>
                  <a:pt x="2885435" y="424815"/>
                  <a:pt x="2885861" y="427091"/>
                </a:cubicBezTo>
                <a:cubicBezTo>
                  <a:pt x="2881807" y="427376"/>
                  <a:pt x="2880526" y="425242"/>
                  <a:pt x="2878178" y="420832"/>
                </a:cubicBezTo>
                <a:close/>
                <a:moveTo>
                  <a:pt x="2656862" y="420832"/>
                </a:moveTo>
                <a:cubicBezTo>
                  <a:pt x="2660063" y="420405"/>
                  <a:pt x="2663265" y="421116"/>
                  <a:pt x="2664972" y="423108"/>
                </a:cubicBezTo>
                <a:lnTo>
                  <a:pt x="2665826" y="427803"/>
                </a:lnTo>
                <a:lnTo>
                  <a:pt x="2666039" y="427376"/>
                </a:lnTo>
                <a:cubicBezTo>
                  <a:pt x="2668174" y="425100"/>
                  <a:pt x="2670734" y="423108"/>
                  <a:pt x="2673936" y="421400"/>
                </a:cubicBezTo>
                <a:cubicBezTo>
                  <a:pt x="2685034" y="423819"/>
                  <a:pt x="2685034" y="439042"/>
                  <a:pt x="2686101" y="447009"/>
                </a:cubicBezTo>
                <a:cubicBezTo>
                  <a:pt x="2677137" y="450566"/>
                  <a:pt x="2668174" y="454265"/>
                  <a:pt x="2662198" y="451561"/>
                </a:cubicBezTo>
                <a:cubicBezTo>
                  <a:pt x="2660063" y="445586"/>
                  <a:pt x="2659850" y="439753"/>
                  <a:pt x="2661771" y="434489"/>
                </a:cubicBezTo>
                <a:lnTo>
                  <a:pt x="2665186" y="428799"/>
                </a:lnTo>
                <a:lnTo>
                  <a:pt x="2661984" y="430648"/>
                </a:lnTo>
                <a:cubicBezTo>
                  <a:pt x="2658143" y="431075"/>
                  <a:pt x="2654942" y="427376"/>
                  <a:pt x="2649606" y="426095"/>
                </a:cubicBezTo>
                <a:cubicBezTo>
                  <a:pt x="2650673" y="422965"/>
                  <a:pt x="2653875" y="421400"/>
                  <a:pt x="2656862" y="420832"/>
                </a:cubicBezTo>
                <a:close/>
                <a:moveTo>
                  <a:pt x="3198095" y="419978"/>
                </a:moveTo>
                <a:cubicBezTo>
                  <a:pt x="3200442" y="420974"/>
                  <a:pt x="3205991" y="424815"/>
                  <a:pt x="3208765" y="429083"/>
                </a:cubicBezTo>
                <a:cubicBezTo>
                  <a:pt x="3209620" y="430364"/>
                  <a:pt x="3210046" y="431786"/>
                  <a:pt x="3210046" y="433209"/>
                </a:cubicBezTo>
                <a:cubicBezTo>
                  <a:pt x="3210046" y="435058"/>
                  <a:pt x="3208979" y="436623"/>
                  <a:pt x="3206632" y="437904"/>
                </a:cubicBezTo>
                <a:cubicBezTo>
                  <a:pt x="3202363" y="432071"/>
                  <a:pt x="3195747" y="429368"/>
                  <a:pt x="3195534" y="425100"/>
                </a:cubicBezTo>
                <a:cubicBezTo>
                  <a:pt x="3195534" y="423677"/>
                  <a:pt x="3196174" y="421970"/>
                  <a:pt x="3198095" y="419978"/>
                </a:cubicBezTo>
                <a:close/>
                <a:moveTo>
                  <a:pt x="2628477" y="419267"/>
                </a:moveTo>
                <a:cubicBezTo>
                  <a:pt x="2632533" y="424104"/>
                  <a:pt x="2634240" y="428941"/>
                  <a:pt x="2638081" y="433778"/>
                </a:cubicBezTo>
                <a:cubicBezTo>
                  <a:pt x="2632533" y="442314"/>
                  <a:pt x="2626343" y="437193"/>
                  <a:pt x="2620154" y="432213"/>
                </a:cubicBezTo>
                <a:cubicBezTo>
                  <a:pt x="2622929" y="427945"/>
                  <a:pt x="2621221" y="423250"/>
                  <a:pt x="2628477" y="419267"/>
                </a:cubicBezTo>
                <a:close/>
                <a:moveTo>
                  <a:pt x="2732413" y="418840"/>
                </a:moveTo>
                <a:cubicBezTo>
                  <a:pt x="2733053" y="419125"/>
                  <a:pt x="2733480" y="419409"/>
                  <a:pt x="2733693" y="419835"/>
                </a:cubicBezTo>
                <a:cubicBezTo>
                  <a:pt x="2734120" y="420120"/>
                  <a:pt x="2734120" y="420547"/>
                  <a:pt x="2733907" y="420974"/>
                </a:cubicBezTo>
                <a:cubicBezTo>
                  <a:pt x="2733267" y="421970"/>
                  <a:pt x="2732199" y="421400"/>
                  <a:pt x="2731772" y="419835"/>
                </a:cubicBezTo>
                <a:cubicBezTo>
                  <a:pt x="2731772" y="419835"/>
                  <a:pt x="2732413" y="418840"/>
                  <a:pt x="2732413" y="418840"/>
                </a:cubicBezTo>
                <a:close/>
                <a:moveTo>
                  <a:pt x="2304720" y="416848"/>
                </a:moveTo>
                <a:cubicBezTo>
                  <a:pt x="2309201" y="425242"/>
                  <a:pt x="2314324" y="431217"/>
                  <a:pt x="2319659" y="436908"/>
                </a:cubicBezTo>
                <a:lnTo>
                  <a:pt x="2321367" y="438473"/>
                </a:lnTo>
                <a:lnTo>
                  <a:pt x="2321367" y="437050"/>
                </a:lnTo>
                <a:cubicBezTo>
                  <a:pt x="2324141" y="435485"/>
                  <a:pt x="2327769" y="431501"/>
                  <a:pt x="2332678" y="430648"/>
                </a:cubicBezTo>
                <a:cubicBezTo>
                  <a:pt x="2342495" y="436197"/>
                  <a:pt x="2344416" y="444306"/>
                  <a:pt x="2341428" y="453269"/>
                </a:cubicBezTo>
                <a:lnTo>
                  <a:pt x="2335452" y="454407"/>
                </a:lnTo>
                <a:lnTo>
                  <a:pt x="2331397" y="459387"/>
                </a:lnTo>
                <a:cubicBezTo>
                  <a:pt x="2329050" y="461236"/>
                  <a:pt x="2325635" y="462943"/>
                  <a:pt x="2321153" y="464650"/>
                </a:cubicBezTo>
                <a:cubicBezTo>
                  <a:pt x="2317098" y="442457"/>
                  <a:pt x="2297890" y="461947"/>
                  <a:pt x="2293835" y="444875"/>
                </a:cubicBezTo>
                <a:cubicBezTo>
                  <a:pt x="2295329" y="437904"/>
                  <a:pt x="2294475" y="429937"/>
                  <a:pt x="2298744" y="423108"/>
                </a:cubicBezTo>
                <a:cubicBezTo>
                  <a:pt x="2300025" y="420832"/>
                  <a:pt x="2301945" y="418698"/>
                  <a:pt x="2304720" y="416848"/>
                </a:cubicBezTo>
                <a:close/>
                <a:moveTo>
                  <a:pt x="3033975" y="416563"/>
                </a:moveTo>
                <a:cubicBezTo>
                  <a:pt x="3035042" y="418555"/>
                  <a:pt x="3035896" y="420262"/>
                  <a:pt x="3036536" y="422112"/>
                </a:cubicBezTo>
                <a:cubicBezTo>
                  <a:pt x="3038457" y="427376"/>
                  <a:pt x="3037603" y="432071"/>
                  <a:pt x="3031627" y="437050"/>
                </a:cubicBezTo>
                <a:cubicBezTo>
                  <a:pt x="3027359" y="436054"/>
                  <a:pt x="3026079" y="431644"/>
                  <a:pt x="3026719" y="427091"/>
                </a:cubicBezTo>
                <a:cubicBezTo>
                  <a:pt x="3027572" y="422681"/>
                  <a:pt x="3030347" y="418128"/>
                  <a:pt x="3033975" y="416563"/>
                </a:cubicBezTo>
                <a:close/>
                <a:moveTo>
                  <a:pt x="2728358" y="413007"/>
                </a:moveTo>
                <a:cubicBezTo>
                  <a:pt x="2729639" y="414429"/>
                  <a:pt x="2730065" y="415141"/>
                  <a:pt x="2730492" y="415994"/>
                </a:cubicBezTo>
                <a:cubicBezTo>
                  <a:pt x="2730705" y="416706"/>
                  <a:pt x="2730919" y="417559"/>
                  <a:pt x="2731132" y="419267"/>
                </a:cubicBezTo>
                <a:cubicBezTo>
                  <a:pt x="2730279" y="418555"/>
                  <a:pt x="2727718" y="418413"/>
                  <a:pt x="2727291" y="416706"/>
                </a:cubicBezTo>
                <a:cubicBezTo>
                  <a:pt x="2727077" y="415141"/>
                  <a:pt x="2727077" y="415141"/>
                  <a:pt x="2728358" y="413007"/>
                </a:cubicBezTo>
                <a:close/>
                <a:moveTo>
                  <a:pt x="3145807" y="412011"/>
                </a:moveTo>
                <a:cubicBezTo>
                  <a:pt x="3146660" y="411869"/>
                  <a:pt x="3147514" y="411869"/>
                  <a:pt x="3148581" y="412011"/>
                </a:cubicBezTo>
                <a:cubicBezTo>
                  <a:pt x="3149862" y="412296"/>
                  <a:pt x="3151142" y="412722"/>
                  <a:pt x="3152423" y="413576"/>
                </a:cubicBezTo>
                <a:cubicBezTo>
                  <a:pt x="3153703" y="414714"/>
                  <a:pt x="3156478" y="418128"/>
                  <a:pt x="3155198" y="418270"/>
                </a:cubicBezTo>
                <a:cubicBezTo>
                  <a:pt x="3154343" y="419551"/>
                  <a:pt x="3155411" y="419409"/>
                  <a:pt x="3155624" y="420690"/>
                </a:cubicBezTo>
                <a:cubicBezTo>
                  <a:pt x="3152636" y="424530"/>
                  <a:pt x="3149435" y="425953"/>
                  <a:pt x="3145807" y="423677"/>
                </a:cubicBezTo>
                <a:cubicBezTo>
                  <a:pt x="3143032" y="421400"/>
                  <a:pt x="3139191" y="417986"/>
                  <a:pt x="3140898" y="414287"/>
                </a:cubicBezTo>
                <a:cubicBezTo>
                  <a:pt x="3142179" y="414145"/>
                  <a:pt x="3141965" y="413007"/>
                  <a:pt x="3143032" y="412864"/>
                </a:cubicBezTo>
                <a:cubicBezTo>
                  <a:pt x="3143032" y="412864"/>
                  <a:pt x="3144099" y="412153"/>
                  <a:pt x="3145807" y="412011"/>
                </a:cubicBezTo>
                <a:close/>
                <a:moveTo>
                  <a:pt x="3059159" y="410731"/>
                </a:moveTo>
                <a:cubicBezTo>
                  <a:pt x="3059159" y="410731"/>
                  <a:pt x="3058945" y="411015"/>
                  <a:pt x="3058732" y="411442"/>
                </a:cubicBezTo>
                <a:cubicBezTo>
                  <a:pt x="3060012" y="413718"/>
                  <a:pt x="3058945" y="413149"/>
                  <a:pt x="3059159" y="414856"/>
                </a:cubicBezTo>
                <a:cubicBezTo>
                  <a:pt x="3059585" y="416421"/>
                  <a:pt x="3062787" y="421400"/>
                  <a:pt x="3064494" y="420974"/>
                </a:cubicBezTo>
                <a:cubicBezTo>
                  <a:pt x="3063640" y="422112"/>
                  <a:pt x="3064067" y="423677"/>
                  <a:pt x="3064067" y="423677"/>
                </a:cubicBezTo>
                <a:cubicBezTo>
                  <a:pt x="3062360" y="424104"/>
                  <a:pt x="3061506" y="423535"/>
                  <a:pt x="3060652" y="422965"/>
                </a:cubicBezTo>
                <a:cubicBezTo>
                  <a:pt x="3060226" y="421400"/>
                  <a:pt x="3060866" y="420262"/>
                  <a:pt x="3060652" y="418555"/>
                </a:cubicBezTo>
                <a:cubicBezTo>
                  <a:pt x="3059799" y="417986"/>
                  <a:pt x="3057878" y="416848"/>
                  <a:pt x="3057664" y="415283"/>
                </a:cubicBezTo>
                <a:cubicBezTo>
                  <a:pt x="3057451" y="413576"/>
                  <a:pt x="3057664" y="410873"/>
                  <a:pt x="3057664" y="410873"/>
                </a:cubicBezTo>
                <a:cubicBezTo>
                  <a:pt x="3058518" y="410731"/>
                  <a:pt x="3058945" y="410588"/>
                  <a:pt x="3059159" y="410731"/>
                </a:cubicBezTo>
                <a:close/>
                <a:moveTo>
                  <a:pt x="2783420" y="410019"/>
                </a:moveTo>
                <a:cubicBezTo>
                  <a:pt x="2785341" y="410019"/>
                  <a:pt x="2787048" y="410446"/>
                  <a:pt x="2787689" y="411584"/>
                </a:cubicBezTo>
                <a:cubicBezTo>
                  <a:pt x="2785554" y="413007"/>
                  <a:pt x="2783847" y="413434"/>
                  <a:pt x="2782139" y="413861"/>
                </a:cubicBezTo>
                <a:cubicBezTo>
                  <a:pt x="2779792" y="415283"/>
                  <a:pt x="2778938" y="414572"/>
                  <a:pt x="2778298" y="411299"/>
                </a:cubicBezTo>
                <a:cubicBezTo>
                  <a:pt x="2779579" y="410588"/>
                  <a:pt x="2781499" y="410019"/>
                  <a:pt x="2783420" y="410019"/>
                </a:cubicBezTo>
                <a:close/>
                <a:moveTo>
                  <a:pt x="3285810" y="409592"/>
                </a:moveTo>
                <a:cubicBezTo>
                  <a:pt x="3285597" y="410873"/>
                  <a:pt x="3285383" y="413149"/>
                  <a:pt x="3287517" y="414429"/>
                </a:cubicBezTo>
                <a:cubicBezTo>
                  <a:pt x="3285170" y="416848"/>
                  <a:pt x="3282609" y="419125"/>
                  <a:pt x="3280475" y="416706"/>
                </a:cubicBezTo>
                <a:cubicBezTo>
                  <a:pt x="3279407" y="415568"/>
                  <a:pt x="3278341" y="414287"/>
                  <a:pt x="3278554" y="412011"/>
                </a:cubicBezTo>
                <a:cubicBezTo>
                  <a:pt x="3281115" y="409592"/>
                  <a:pt x="3284530" y="410873"/>
                  <a:pt x="3285810" y="409592"/>
                </a:cubicBezTo>
                <a:close/>
                <a:moveTo>
                  <a:pt x="2791743" y="409450"/>
                </a:moveTo>
                <a:cubicBezTo>
                  <a:pt x="2791103" y="410446"/>
                  <a:pt x="2791957" y="411157"/>
                  <a:pt x="2791957" y="411157"/>
                </a:cubicBezTo>
                <a:cubicBezTo>
                  <a:pt x="2791957" y="411157"/>
                  <a:pt x="2791957" y="411157"/>
                  <a:pt x="2792597" y="410019"/>
                </a:cubicBezTo>
                <a:cubicBezTo>
                  <a:pt x="2792810" y="410873"/>
                  <a:pt x="2792384" y="411442"/>
                  <a:pt x="2792170" y="411726"/>
                </a:cubicBezTo>
                <a:cubicBezTo>
                  <a:pt x="2791743" y="412153"/>
                  <a:pt x="2791317" y="412153"/>
                  <a:pt x="2791317" y="412153"/>
                </a:cubicBezTo>
                <a:cubicBezTo>
                  <a:pt x="2789609" y="412580"/>
                  <a:pt x="2788115" y="413007"/>
                  <a:pt x="2787902" y="411442"/>
                </a:cubicBezTo>
                <a:cubicBezTo>
                  <a:pt x="2787902" y="411442"/>
                  <a:pt x="2788542" y="410304"/>
                  <a:pt x="2791743" y="409450"/>
                </a:cubicBezTo>
                <a:close/>
                <a:moveTo>
                  <a:pt x="3091598" y="406036"/>
                </a:moveTo>
                <a:cubicBezTo>
                  <a:pt x="3093092" y="405609"/>
                  <a:pt x="3094373" y="405609"/>
                  <a:pt x="3095867" y="406036"/>
                </a:cubicBezTo>
                <a:cubicBezTo>
                  <a:pt x="3097574" y="406604"/>
                  <a:pt x="3099068" y="408027"/>
                  <a:pt x="3100135" y="410304"/>
                </a:cubicBezTo>
                <a:cubicBezTo>
                  <a:pt x="3099495" y="415141"/>
                  <a:pt x="3091385" y="421685"/>
                  <a:pt x="3087757" y="422681"/>
                </a:cubicBezTo>
                <a:cubicBezTo>
                  <a:pt x="3084769" y="420547"/>
                  <a:pt x="3083489" y="417844"/>
                  <a:pt x="3083702" y="415283"/>
                </a:cubicBezTo>
                <a:cubicBezTo>
                  <a:pt x="3083702" y="411015"/>
                  <a:pt x="3087543" y="407032"/>
                  <a:pt x="3091598" y="406036"/>
                </a:cubicBezTo>
                <a:close/>
                <a:moveTo>
                  <a:pt x="3416209" y="405182"/>
                </a:moveTo>
                <a:cubicBezTo>
                  <a:pt x="3420478" y="405324"/>
                  <a:pt x="3426880" y="407601"/>
                  <a:pt x="3426668" y="408596"/>
                </a:cubicBezTo>
                <a:cubicBezTo>
                  <a:pt x="3427948" y="408596"/>
                  <a:pt x="3427735" y="409734"/>
                  <a:pt x="3428801" y="409877"/>
                </a:cubicBezTo>
                <a:cubicBezTo>
                  <a:pt x="3428801" y="409877"/>
                  <a:pt x="3430082" y="409877"/>
                  <a:pt x="3431149" y="411157"/>
                </a:cubicBezTo>
                <a:cubicBezTo>
                  <a:pt x="3431576" y="411726"/>
                  <a:pt x="3432216" y="412296"/>
                  <a:pt x="3432430" y="413149"/>
                </a:cubicBezTo>
                <a:cubicBezTo>
                  <a:pt x="3432643" y="413861"/>
                  <a:pt x="3432430" y="414856"/>
                  <a:pt x="3431789" y="415994"/>
                </a:cubicBezTo>
                <a:cubicBezTo>
                  <a:pt x="3422826" y="412153"/>
                  <a:pt x="3418130" y="412153"/>
                  <a:pt x="3411728" y="408312"/>
                </a:cubicBezTo>
                <a:cubicBezTo>
                  <a:pt x="3411728" y="407032"/>
                  <a:pt x="3413009" y="407174"/>
                  <a:pt x="3413009" y="405893"/>
                </a:cubicBezTo>
                <a:cubicBezTo>
                  <a:pt x="3413649" y="405324"/>
                  <a:pt x="3414929" y="405182"/>
                  <a:pt x="3416209" y="405182"/>
                </a:cubicBezTo>
                <a:close/>
                <a:moveTo>
                  <a:pt x="3210900" y="403048"/>
                </a:moveTo>
                <a:cubicBezTo>
                  <a:pt x="3214101" y="402195"/>
                  <a:pt x="3218369" y="403617"/>
                  <a:pt x="3219224" y="408454"/>
                </a:cubicBezTo>
                <a:cubicBezTo>
                  <a:pt x="3220717" y="412438"/>
                  <a:pt x="3218156" y="416563"/>
                  <a:pt x="3219010" y="421400"/>
                </a:cubicBezTo>
                <a:cubicBezTo>
                  <a:pt x="3216236" y="422681"/>
                  <a:pt x="3214315" y="423250"/>
                  <a:pt x="3212821" y="423108"/>
                </a:cubicBezTo>
                <a:lnTo>
                  <a:pt x="3212394" y="422681"/>
                </a:lnTo>
                <a:lnTo>
                  <a:pt x="3200869" y="416706"/>
                </a:lnTo>
                <a:cubicBezTo>
                  <a:pt x="3199802" y="415425"/>
                  <a:pt x="3197882" y="410588"/>
                  <a:pt x="3199162" y="409308"/>
                </a:cubicBezTo>
                <a:cubicBezTo>
                  <a:pt x="3200442" y="408169"/>
                  <a:pt x="3201509" y="408169"/>
                  <a:pt x="3202790" y="408169"/>
                </a:cubicBezTo>
                <a:lnTo>
                  <a:pt x="3207912" y="411299"/>
                </a:lnTo>
                <a:lnTo>
                  <a:pt x="3207912" y="408739"/>
                </a:lnTo>
                <a:cubicBezTo>
                  <a:pt x="3208553" y="406036"/>
                  <a:pt x="3209620" y="403759"/>
                  <a:pt x="3210900" y="403048"/>
                </a:cubicBezTo>
                <a:close/>
                <a:moveTo>
                  <a:pt x="3055317" y="402052"/>
                </a:moveTo>
                <a:cubicBezTo>
                  <a:pt x="3055530" y="403617"/>
                  <a:pt x="3058305" y="410019"/>
                  <a:pt x="3056811" y="410446"/>
                </a:cubicBezTo>
                <a:cubicBezTo>
                  <a:pt x="3056811" y="410446"/>
                  <a:pt x="3056384" y="408739"/>
                  <a:pt x="3056171" y="407032"/>
                </a:cubicBezTo>
                <a:cubicBezTo>
                  <a:pt x="3055744" y="405324"/>
                  <a:pt x="3055957" y="405324"/>
                  <a:pt x="3054250" y="405751"/>
                </a:cubicBezTo>
                <a:cubicBezTo>
                  <a:pt x="3054036" y="404186"/>
                  <a:pt x="3054036" y="404044"/>
                  <a:pt x="3055317" y="402052"/>
                </a:cubicBezTo>
                <a:close/>
                <a:moveTo>
                  <a:pt x="3026079" y="402052"/>
                </a:moveTo>
                <a:cubicBezTo>
                  <a:pt x="3027572" y="403332"/>
                  <a:pt x="3028426" y="405324"/>
                  <a:pt x="3028853" y="407458"/>
                </a:cubicBezTo>
                <a:cubicBezTo>
                  <a:pt x="3030347" y="414287"/>
                  <a:pt x="3027359" y="423535"/>
                  <a:pt x="3023517" y="427234"/>
                </a:cubicBezTo>
                <a:cubicBezTo>
                  <a:pt x="3018182" y="427803"/>
                  <a:pt x="3014554" y="426522"/>
                  <a:pt x="3012633" y="424246"/>
                </a:cubicBezTo>
                <a:cubicBezTo>
                  <a:pt x="3006657" y="417275"/>
                  <a:pt x="3014127" y="401483"/>
                  <a:pt x="3026079" y="402052"/>
                </a:cubicBezTo>
                <a:close/>
                <a:moveTo>
                  <a:pt x="3243980" y="400487"/>
                </a:moveTo>
                <a:cubicBezTo>
                  <a:pt x="3248035" y="401341"/>
                  <a:pt x="3253370" y="405467"/>
                  <a:pt x="3255718" y="408169"/>
                </a:cubicBezTo>
                <a:cubicBezTo>
                  <a:pt x="3252090" y="410446"/>
                  <a:pt x="3243553" y="404328"/>
                  <a:pt x="3240565" y="400772"/>
                </a:cubicBezTo>
                <a:cubicBezTo>
                  <a:pt x="3241419" y="400203"/>
                  <a:pt x="3242699" y="400203"/>
                  <a:pt x="3243980" y="400487"/>
                </a:cubicBezTo>
                <a:close/>
                <a:moveTo>
                  <a:pt x="2508749" y="400060"/>
                </a:moveTo>
                <a:cubicBezTo>
                  <a:pt x="2510883" y="399776"/>
                  <a:pt x="2513444" y="400345"/>
                  <a:pt x="2515365" y="402195"/>
                </a:cubicBezTo>
                <a:cubicBezTo>
                  <a:pt x="2514511" y="409308"/>
                  <a:pt x="2514938" y="417559"/>
                  <a:pt x="2506828" y="417133"/>
                </a:cubicBezTo>
                <a:cubicBezTo>
                  <a:pt x="2497865" y="410588"/>
                  <a:pt x="2502346" y="401198"/>
                  <a:pt x="2508749" y="400060"/>
                </a:cubicBezTo>
                <a:close/>
                <a:moveTo>
                  <a:pt x="2983608" y="399633"/>
                </a:moveTo>
                <a:cubicBezTo>
                  <a:pt x="2993852" y="406320"/>
                  <a:pt x="2990651" y="408881"/>
                  <a:pt x="2987876" y="413861"/>
                </a:cubicBezTo>
                <a:cubicBezTo>
                  <a:pt x="2985529" y="412864"/>
                  <a:pt x="2982114" y="414145"/>
                  <a:pt x="2979553" y="412011"/>
                </a:cubicBezTo>
                <a:cubicBezTo>
                  <a:pt x="2979553" y="412011"/>
                  <a:pt x="2978272" y="410873"/>
                  <a:pt x="2978059" y="408454"/>
                </a:cubicBezTo>
                <a:cubicBezTo>
                  <a:pt x="2975284" y="405040"/>
                  <a:pt x="2978059" y="401198"/>
                  <a:pt x="2978059" y="401198"/>
                </a:cubicBezTo>
                <a:cubicBezTo>
                  <a:pt x="2978059" y="401198"/>
                  <a:pt x="2978059" y="401198"/>
                  <a:pt x="2976992" y="401341"/>
                </a:cubicBezTo>
                <a:cubicBezTo>
                  <a:pt x="2979126" y="401198"/>
                  <a:pt x="2981474" y="399776"/>
                  <a:pt x="2983608" y="399633"/>
                </a:cubicBezTo>
                <a:close/>
                <a:moveTo>
                  <a:pt x="2680552" y="393943"/>
                </a:moveTo>
                <a:cubicBezTo>
                  <a:pt x="2683113" y="394654"/>
                  <a:pt x="2686955" y="395081"/>
                  <a:pt x="2688235" y="398068"/>
                </a:cubicBezTo>
                <a:cubicBezTo>
                  <a:pt x="2688662" y="399065"/>
                  <a:pt x="2688875" y="400345"/>
                  <a:pt x="2688448" y="402052"/>
                </a:cubicBezTo>
                <a:cubicBezTo>
                  <a:pt x="2689302" y="403048"/>
                  <a:pt x="2686101" y="406462"/>
                  <a:pt x="2684607" y="406036"/>
                </a:cubicBezTo>
                <a:cubicBezTo>
                  <a:pt x="2680338" y="405893"/>
                  <a:pt x="2680338" y="401483"/>
                  <a:pt x="2678417" y="396788"/>
                </a:cubicBezTo>
                <a:cubicBezTo>
                  <a:pt x="2680125" y="397215"/>
                  <a:pt x="2680338" y="395650"/>
                  <a:pt x="2680552" y="393943"/>
                </a:cubicBezTo>
                <a:close/>
                <a:moveTo>
                  <a:pt x="2962479" y="392947"/>
                </a:moveTo>
                <a:cubicBezTo>
                  <a:pt x="2963760" y="393089"/>
                  <a:pt x="2965254" y="393516"/>
                  <a:pt x="2966748" y="394512"/>
                </a:cubicBezTo>
                <a:cubicBezTo>
                  <a:pt x="2963973" y="398495"/>
                  <a:pt x="2962479" y="402337"/>
                  <a:pt x="2961199" y="406178"/>
                </a:cubicBezTo>
                <a:lnTo>
                  <a:pt x="2960132" y="409308"/>
                </a:lnTo>
                <a:lnTo>
                  <a:pt x="2963760" y="408454"/>
                </a:lnTo>
                <a:cubicBezTo>
                  <a:pt x="2966108" y="408312"/>
                  <a:pt x="2968455" y="409023"/>
                  <a:pt x="2971443" y="411015"/>
                </a:cubicBezTo>
                <a:cubicBezTo>
                  <a:pt x="2977846" y="415425"/>
                  <a:pt x="2983395" y="422254"/>
                  <a:pt x="2976779" y="432356"/>
                </a:cubicBezTo>
                <a:cubicBezTo>
                  <a:pt x="2975925" y="434774"/>
                  <a:pt x="2975711" y="433493"/>
                  <a:pt x="2974858" y="434774"/>
                </a:cubicBezTo>
                <a:cubicBezTo>
                  <a:pt x="2973791" y="436054"/>
                  <a:pt x="2972937" y="438615"/>
                  <a:pt x="2973150" y="439753"/>
                </a:cubicBezTo>
                <a:cubicBezTo>
                  <a:pt x="2968028" y="436481"/>
                  <a:pt x="2966321" y="440180"/>
                  <a:pt x="2958425" y="434631"/>
                </a:cubicBezTo>
                <a:cubicBezTo>
                  <a:pt x="2950955" y="429652"/>
                  <a:pt x="2949674" y="423535"/>
                  <a:pt x="2950528" y="418840"/>
                </a:cubicBezTo>
                <a:lnTo>
                  <a:pt x="2952022" y="415141"/>
                </a:lnTo>
                <a:lnTo>
                  <a:pt x="2949247" y="412722"/>
                </a:lnTo>
                <a:cubicBezTo>
                  <a:pt x="2957997" y="406036"/>
                  <a:pt x="2945192" y="400772"/>
                  <a:pt x="2951808" y="395081"/>
                </a:cubicBezTo>
                <a:cubicBezTo>
                  <a:pt x="2955223" y="394370"/>
                  <a:pt x="2958638" y="392236"/>
                  <a:pt x="2962479" y="392947"/>
                </a:cubicBezTo>
                <a:close/>
                <a:moveTo>
                  <a:pt x="2352525" y="390955"/>
                </a:moveTo>
                <a:cubicBezTo>
                  <a:pt x="2358928" y="389959"/>
                  <a:pt x="2365544" y="396503"/>
                  <a:pt x="2364691" y="402621"/>
                </a:cubicBezTo>
                <a:cubicBezTo>
                  <a:pt x="2364264" y="405324"/>
                  <a:pt x="2362343" y="407885"/>
                  <a:pt x="2358288" y="409734"/>
                </a:cubicBezTo>
                <a:cubicBezTo>
                  <a:pt x="2353380" y="402479"/>
                  <a:pt x="2347617" y="402337"/>
                  <a:pt x="2346337" y="394796"/>
                </a:cubicBezTo>
                <a:cubicBezTo>
                  <a:pt x="2348044" y="392520"/>
                  <a:pt x="2350178" y="391239"/>
                  <a:pt x="2352525" y="390955"/>
                </a:cubicBezTo>
                <a:close/>
                <a:moveTo>
                  <a:pt x="3040591" y="390101"/>
                </a:moveTo>
                <a:cubicBezTo>
                  <a:pt x="3051689" y="393516"/>
                  <a:pt x="3061506" y="422112"/>
                  <a:pt x="3050408" y="427945"/>
                </a:cubicBezTo>
                <a:cubicBezTo>
                  <a:pt x="3048061" y="414003"/>
                  <a:pt x="3040378" y="406036"/>
                  <a:pt x="3040591" y="390101"/>
                </a:cubicBezTo>
                <a:close/>
                <a:moveTo>
                  <a:pt x="2372587" y="388394"/>
                </a:moveTo>
                <a:cubicBezTo>
                  <a:pt x="2377282" y="387399"/>
                  <a:pt x="2383472" y="394938"/>
                  <a:pt x="2382618" y="399776"/>
                </a:cubicBezTo>
                <a:cubicBezTo>
                  <a:pt x="2377496" y="393516"/>
                  <a:pt x="2371734" y="394370"/>
                  <a:pt x="2372587" y="388394"/>
                </a:cubicBezTo>
                <a:close/>
                <a:moveTo>
                  <a:pt x="2925985" y="386260"/>
                </a:moveTo>
                <a:cubicBezTo>
                  <a:pt x="2927479" y="387825"/>
                  <a:pt x="2928332" y="389674"/>
                  <a:pt x="2928759" y="391666"/>
                </a:cubicBezTo>
                <a:cubicBezTo>
                  <a:pt x="2929613" y="397784"/>
                  <a:pt x="2925771" y="405751"/>
                  <a:pt x="2925985" y="413434"/>
                </a:cubicBezTo>
                <a:cubicBezTo>
                  <a:pt x="2928119" y="417702"/>
                  <a:pt x="2933881" y="416990"/>
                  <a:pt x="2931960" y="426238"/>
                </a:cubicBezTo>
                <a:cubicBezTo>
                  <a:pt x="2918088" y="425100"/>
                  <a:pt x="2907844" y="420832"/>
                  <a:pt x="2900801" y="413576"/>
                </a:cubicBezTo>
                <a:cubicBezTo>
                  <a:pt x="2898453" y="411157"/>
                  <a:pt x="2896319" y="408454"/>
                  <a:pt x="2894612" y="405324"/>
                </a:cubicBezTo>
                <a:cubicBezTo>
                  <a:pt x="2901868" y="398922"/>
                  <a:pt x="2909978" y="405182"/>
                  <a:pt x="2917021" y="407885"/>
                </a:cubicBezTo>
                <a:cubicBezTo>
                  <a:pt x="2917874" y="399491"/>
                  <a:pt x="2917021" y="386829"/>
                  <a:pt x="2925985" y="386260"/>
                </a:cubicBezTo>
                <a:close/>
                <a:moveTo>
                  <a:pt x="3154770" y="385691"/>
                </a:moveTo>
                <a:cubicBezTo>
                  <a:pt x="3155411" y="386118"/>
                  <a:pt x="3155624" y="387114"/>
                  <a:pt x="3156478" y="388964"/>
                </a:cubicBezTo>
                <a:lnTo>
                  <a:pt x="3155411" y="393516"/>
                </a:lnTo>
                <a:lnTo>
                  <a:pt x="3156051" y="394654"/>
                </a:lnTo>
                <a:cubicBezTo>
                  <a:pt x="3156051" y="395792"/>
                  <a:pt x="3155624" y="396930"/>
                  <a:pt x="3154343" y="398068"/>
                </a:cubicBezTo>
                <a:lnTo>
                  <a:pt x="3153063" y="398922"/>
                </a:lnTo>
                <a:lnTo>
                  <a:pt x="3150075" y="402763"/>
                </a:lnTo>
                <a:lnTo>
                  <a:pt x="3149222" y="400772"/>
                </a:lnTo>
                <a:lnTo>
                  <a:pt x="3144740" y="400203"/>
                </a:lnTo>
                <a:cubicBezTo>
                  <a:pt x="3142392" y="401341"/>
                  <a:pt x="3140898" y="403759"/>
                  <a:pt x="3138764" y="402479"/>
                </a:cubicBezTo>
                <a:cubicBezTo>
                  <a:pt x="3142392" y="400203"/>
                  <a:pt x="3143672" y="399065"/>
                  <a:pt x="3146234" y="397926"/>
                </a:cubicBezTo>
                <a:lnTo>
                  <a:pt x="3146874" y="396361"/>
                </a:lnTo>
                <a:lnTo>
                  <a:pt x="3146660" y="396077"/>
                </a:lnTo>
                <a:lnTo>
                  <a:pt x="3147087" y="395650"/>
                </a:lnTo>
                <a:lnTo>
                  <a:pt x="3147728" y="394370"/>
                </a:lnTo>
                <a:lnTo>
                  <a:pt x="3148155" y="394227"/>
                </a:lnTo>
                <a:lnTo>
                  <a:pt x="3149648" y="391382"/>
                </a:lnTo>
                <a:cubicBezTo>
                  <a:pt x="3150929" y="388679"/>
                  <a:pt x="3151783" y="386118"/>
                  <a:pt x="3151783" y="386118"/>
                </a:cubicBezTo>
                <a:cubicBezTo>
                  <a:pt x="3153490" y="385549"/>
                  <a:pt x="3154343" y="385407"/>
                  <a:pt x="3154770" y="385691"/>
                </a:cubicBezTo>
                <a:close/>
                <a:moveTo>
                  <a:pt x="2258834" y="385407"/>
                </a:moveTo>
                <a:cubicBezTo>
                  <a:pt x="2259901" y="385976"/>
                  <a:pt x="2260969" y="386545"/>
                  <a:pt x="2261396" y="385407"/>
                </a:cubicBezTo>
                <a:cubicBezTo>
                  <a:pt x="2262676" y="388679"/>
                  <a:pt x="2262249" y="389817"/>
                  <a:pt x="2262676" y="391524"/>
                </a:cubicBezTo>
                <a:cubicBezTo>
                  <a:pt x="2263316" y="390386"/>
                  <a:pt x="2263743" y="392093"/>
                  <a:pt x="2263743" y="392093"/>
                </a:cubicBezTo>
                <a:cubicBezTo>
                  <a:pt x="2263743" y="392093"/>
                  <a:pt x="2263743" y="392093"/>
                  <a:pt x="2266731" y="391097"/>
                </a:cubicBezTo>
                <a:cubicBezTo>
                  <a:pt x="2266731" y="391097"/>
                  <a:pt x="2273987" y="389959"/>
                  <a:pt x="2277188" y="397073"/>
                </a:cubicBezTo>
                <a:cubicBezTo>
                  <a:pt x="2275695" y="397500"/>
                  <a:pt x="2279109" y="407458"/>
                  <a:pt x="2275055" y="410446"/>
                </a:cubicBezTo>
                <a:cubicBezTo>
                  <a:pt x="2272920" y="412011"/>
                  <a:pt x="2271426" y="412438"/>
                  <a:pt x="2269292" y="413861"/>
                </a:cubicBezTo>
                <a:cubicBezTo>
                  <a:pt x="2266304" y="412153"/>
                  <a:pt x="2261609" y="413434"/>
                  <a:pt x="2257340" y="405751"/>
                </a:cubicBezTo>
                <a:cubicBezTo>
                  <a:pt x="2253499" y="396930"/>
                  <a:pt x="2261822" y="393658"/>
                  <a:pt x="2260755" y="392947"/>
                </a:cubicBezTo>
                <a:cubicBezTo>
                  <a:pt x="2260115" y="391382"/>
                  <a:pt x="2260115" y="391382"/>
                  <a:pt x="2259048" y="390813"/>
                </a:cubicBezTo>
                <a:cubicBezTo>
                  <a:pt x="2259475" y="389674"/>
                  <a:pt x="2259475" y="386972"/>
                  <a:pt x="2258834" y="385407"/>
                </a:cubicBezTo>
                <a:close/>
                <a:moveTo>
                  <a:pt x="2789823" y="383557"/>
                </a:moveTo>
                <a:cubicBezTo>
                  <a:pt x="2791103" y="383700"/>
                  <a:pt x="2792597" y="384553"/>
                  <a:pt x="2794091" y="385834"/>
                </a:cubicBezTo>
                <a:cubicBezTo>
                  <a:pt x="2795798" y="387114"/>
                  <a:pt x="2796225" y="388537"/>
                  <a:pt x="2796652" y="390101"/>
                </a:cubicBezTo>
                <a:cubicBezTo>
                  <a:pt x="2796865" y="391666"/>
                  <a:pt x="2797079" y="393089"/>
                  <a:pt x="2798146" y="394370"/>
                </a:cubicBezTo>
                <a:cubicBezTo>
                  <a:pt x="2795585" y="395508"/>
                  <a:pt x="2791743" y="397926"/>
                  <a:pt x="2787475" y="394227"/>
                </a:cubicBezTo>
                <a:cubicBezTo>
                  <a:pt x="2786408" y="392947"/>
                  <a:pt x="2786408" y="392947"/>
                  <a:pt x="2786408" y="391809"/>
                </a:cubicBezTo>
                <a:cubicBezTo>
                  <a:pt x="2785554" y="389390"/>
                  <a:pt x="2784487" y="388110"/>
                  <a:pt x="2785981" y="385691"/>
                </a:cubicBezTo>
                <a:cubicBezTo>
                  <a:pt x="2787262" y="383984"/>
                  <a:pt x="2788542" y="383272"/>
                  <a:pt x="2789823" y="383557"/>
                </a:cubicBezTo>
                <a:close/>
                <a:moveTo>
                  <a:pt x="2679485" y="383557"/>
                </a:moveTo>
                <a:cubicBezTo>
                  <a:pt x="2679698" y="395366"/>
                  <a:pt x="2672229" y="397642"/>
                  <a:pt x="2665399" y="400772"/>
                </a:cubicBezTo>
                <a:cubicBezTo>
                  <a:pt x="2664332" y="395792"/>
                  <a:pt x="2669881" y="383272"/>
                  <a:pt x="2679485" y="383557"/>
                </a:cubicBezTo>
                <a:close/>
                <a:moveTo>
                  <a:pt x="3096293" y="380000"/>
                </a:moveTo>
                <a:cubicBezTo>
                  <a:pt x="3096720" y="380285"/>
                  <a:pt x="3097147" y="381138"/>
                  <a:pt x="3097574" y="382277"/>
                </a:cubicBezTo>
                <a:cubicBezTo>
                  <a:pt x="3097788" y="383272"/>
                  <a:pt x="3098001" y="384553"/>
                  <a:pt x="3098001" y="385407"/>
                </a:cubicBezTo>
                <a:cubicBezTo>
                  <a:pt x="3099068" y="385976"/>
                  <a:pt x="3099281" y="387683"/>
                  <a:pt x="3098641" y="388679"/>
                </a:cubicBezTo>
                <a:cubicBezTo>
                  <a:pt x="3098641" y="388679"/>
                  <a:pt x="3098855" y="390244"/>
                  <a:pt x="3099922" y="390813"/>
                </a:cubicBezTo>
                <a:cubicBezTo>
                  <a:pt x="3100348" y="394085"/>
                  <a:pt x="3099708" y="395081"/>
                  <a:pt x="3099068" y="396077"/>
                </a:cubicBezTo>
                <a:cubicBezTo>
                  <a:pt x="3099068" y="396077"/>
                  <a:pt x="3098855" y="394512"/>
                  <a:pt x="3098001" y="393943"/>
                </a:cubicBezTo>
                <a:cubicBezTo>
                  <a:pt x="3098001" y="393943"/>
                  <a:pt x="3097574" y="392236"/>
                  <a:pt x="3097361" y="390671"/>
                </a:cubicBezTo>
                <a:cubicBezTo>
                  <a:pt x="3097361" y="390671"/>
                  <a:pt x="3096507" y="390101"/>
                  <a:pt x="3095440" y="389390"/>
                </a:cubicBezTo>
                <a:cubicBezTo>
                  <a:pt x="3093946" y="385691"/>
                  <a:pt x="3092665" y="383415"/>
                  <a:pt x="3096293" y="380000"/>
                </a:cubicBezTo>
                <a:close/>
                <a:moveTo>
                  <a:pt x="2702747" y="378578"/>
                </a:moveTo>
                <a:cubicBezTo>
                  <a:pt x="2707870" y="378293"/>
                  <a:pt x="2711498" y="389248"/>
                  <a:pt x="2715126" y="394654"/>
                </a:cubicBezTo>
                <a:cubicBezTo>
                  <a:pt x="2712351" y="398780"/>
                  <a:pt x="2711071" y="399776"/>
                  <a:pt x="2706162" y="401056"/>
                </a:cubicBezTo>
                <a:cubicBezTo>
                  <a:pt x="2699973" y="395935"/>
                  <a:pt x="2698479" y="389532"/>
                  <a:pt x="2696985" y="382988"/>
                </a:cubicBezTo>
                <a:cubicBezTo>
                  <a:pt x="2699119" y="379858"/>
                  <a:pt x="2701040" y="378578"/>
                  <a:pt x="2702747" y="378578"/>
                </a:cubicBezTo>
                <a:close/>
                <a:moveTo>
                  <a:pt x="2397557" y="376159"/>
                </a:moveTo>
                <a:cubicBezTo>
                  <a:pt x="2398838" y="375875"/>
                  <a:pt x="2399905" y="376017"/>
                  <a:pt x="2401185" y="376159"/>
                </a:cubicBezTo>
                <a:cubicBezTo>
                  <a:pt x="2408015" y="377724"/>
                  <a:pt x="2412283" y="387256"/>
                  <a:pt x="2408655" y="393231"/>
                </a:cubicBezTo>
                <a:cubicBezTo>
                  <a:pt x="2407161" y="395792"/>
                  <a:pt x="2403960" y="397784"/>
                  <a:pt x="2398838" y="398068"/>
                </a:cubicBezTo>
                <a:cubicBezTo>
                  <a:pt x="2395850" y="388964"/>
                  <a:pt x="2393716" y="382846"/>
                  <a:pt x="2393502" y="377724"/>
                </a:cubicBezTo>
                <a:cubicBezTo>
                  <a:pt x="2394996" y="376871"/>
                  <a:pt x="2396277" y="376301"/>
                  <a:pt x="2397557" y="376159"/>
                </a:cubicBezTo>
                <a:close/>
                <a:moveTo>
                  <a:pt x="2444083" y="374736"/>
                </a:moveTo>
                <a:cubicBezTo>
                  <a:pt x="2457528" y="373171"/>
                  <a:pt x="2463290" y="388252"/>
                  <a:pt x="2461157" y="400345"/>
                </a:cubicBezTo>
                <a:cubicBezTo>
                  <a:pt x="2460302" y="404471"/>
                  <a:pt x="2458595" y="408027"/>
                  <a:pt x="2456247" y="410731"/>
                </a:cubicBezTo>
                <a:cubicBezTo>
                  <a:pt x="2446003" y="412011"/>
                  <a:pt x="2438961" y="403332"/>
                  <a:pt x="2437253" y="393943"/>
                </a:cubicBezTo>
                <a:lnTo>
                  <a:pt x="2437467" y="385549"/>
                </a:lnTo>
                <a:lnTo>
                  <a:pt x="2438107" y="384411"/>
                </a:lnTo>
                <a:lnTo>
                  <a:pt x="2438961" y="382277"/>
                </a:lnTo>
                <a:close/>
                <a:moveTo>
                  <a:pt x="2662198" y="373456"/>
                </a:moveTo>
                <a:cubicBezTo>
                  <a:pt x="2663478" y="375021"/>
                  <a:pt x="2663905" y="376586"/>
                  <a:pt x="2663905" y="378151"/>
                </a:cubicBezTo>
                <a:cubicBezTo>
                  <a:pt x="2664118" y="382846"/>
                  <a:pt x="2659637" y="386545"/>
                  <a:pt x="2654728" y="383272"/>
                </a:cubicBezTo>
                <a:cubicBezTo>
                  <a:pt x="2655368" y="376586"/>
                  <a:pt x="2658143" y="374167"/>
                  <a:pt x="2662198" y="373456"/>
                </a:cubicBezTo>
                <a:close/>
                <a:moveTo>
                  <a:pt x="3136843" y="371180"/>
                </a:moveTo>
                <a:cubicBezTo>
                  <a:pt x="3137484" y="371038"/>
                  <a:pt x="3138337" y="371180"/>
                  <a:pt x="3139404" y="372460"/>
                </a:cubicBezTo>
                <a:cubicBezTo>
                  <a:pt x="3140471" y="373171"/>
                  <a:pt x="3141112" y="373741"/>
                  <a:pt x="3140898" y="374736"/>
                </a:cubicBezTo>
                <a:cubicBezTo>
                  <a:pt x="3140898" y="375590"/>
                  <a:pt x="3140044" y="376871"/>
                  <a:pt x="3138764" y="378578"/>
                </a:cubicBezTo>
                <a:cubicBezTo>
                  <a:pt x="3136203" y="380996"/>
                  <a:pt x="3134923" y="383272"/>
                  <a:pt x="3133642" y="383272"/>
                </a:cubicBezTo>
                <a:cubicBezTo>
                  <a:pt x="3133642" y="384553"/>
                  <a:pt x="3132361" y="385691"/>
                  <a:pt x="3132148" y="386972"/>
                </a:cubicBezTo>
                <a:cubicBezTo>
                  <a:pt x="3132148" y="386972"/>
                  <a:pt x="3132148" y="386972"/>
                  <a:pt x="3131081" y="386972"/>
                </a:cubicBezTo>
                <a:cubicBezTo>
                  <a:pt x="3132788" y="382135"/>
                  <a:pt x="3132148" y="376017"/>
                  <a:pt x="3134709" y="372460"/>
                </a:cubicBezTo>
                <a:cubicBezTo>
                  <a:pt x="3135349" y="371891"/>
                  <a:pt x="3136203" y="371322"/>
                  <a:pt x="3136843" y="371180"/>
                </a:cubicBezTo>
                <a:close/>
                <a:moveTo>
                  <a:pt x="2622715" y="370469"/>
                </a:moveTo>
                <a:cubicBezTo>
                  <a:pt x="2629971" y="377866"/>
                  <a:pt x="2638295" y="385407"/>
                  <a:pt x="2635307" y="392378"/>
                </a:cubicBezTo>
                <a:cubicBezTo>
                  <a:pt x="2628264" y="393231"/>
                  <a:pt x="2622288" y="383557"/>
                  <a:pt x="2619727" y="377440"/>
                </a:cubicBezTo>
                <a:cubicBezTo>
                  <a:pt x="2621862" y="375163"/>
                  <a:pt x="2620581" y="372745"/>
                  <a:pt x="2622715" y="370469"/>
                </a:cubicBezTo>
                <a:close/>
                <a:moveTo>
                  <a:pt x="2520060" y="366200"/>
                </a:moveTo>
                <a:cubicBezTo>
                  <a:pt x="2526676" y="367054"/>
                  <a:pt x="2531371" y="368904"/>
                  <a:pt x="2532866" y="374025"/>
                </a:cubicBezTo>
                <a:cubicBezTo>
                  <a:pt x="2533292" y="375733"/>
                  <a:pt x="2533506" y="377724"/>
                  <a:pt x="2533079" y="380285"/>
                </a:cubicBezTo>
                <a:cubicBezTo>
                  <a:pt x="2529237" y="383130"/>
                  <a:pt x="2525182" y="381423"/>
                  <a:pt x="2522408" y="378151"/>
                </a:cubicBezTo>
                <a:cubicBezTo>
                  <a:pt x="2519847" y="374736"/>
                  <a:pt x="2518566" y="369899"/>
                  <a:pt x="2520060" y="366200"/>
                </a:cubicBezTo>
                <a:close/>
                <a:moveTo>
                  <a:pt x="2664546" y="361932"/>
                </a:moveTo>
                <a:cubicBezTo>
                  <a:pt x="2669454" y="361079"/>
                  <a:pt x="2679485" y="367197"/>
                  <a:pt x="2666679" y="372460"/>
                </a:cubicBezTo>
                <a:cubicBezTo>
                  <a:pt x="2660277" y="365489"/>
                  <a:pt x="2661344" y="362502"/>
                  <a:pt x="2664546" y="361932"/>
                </a:cubicBezTo>
                <a:close/>
                <a:moveTo>
                  <a:pt x="3102483" y="361221"/>
                </a:moveTo>
                <a:cubicBezTo>
                  <a:pt x="3102483" y="362359"/>
                  <a:pt x="3103550" y="362502"/>
                  <a:pt x="3103336" y="363640"/>
                </a:cubicBezTo>
                <a:cubicBezTo>
                  <a:pt x="3104403" y="366200"/>
                  <a:pt x="3104403" y="366058"/>
                  <a:pt x="3103123" y="367339"/>
                </a:cubicBezTo>
                <a:cubicBezTo>
                  <a:pt x="3101843" y="368477"/>
                  <a:pt x="3098428" y="367197"/>
                  <a:pt x="3096934" y="368477"/>
                </a:cubicBezTo>
                <a:cubicBezTo>
                  <a:pt x="3096934" y="368477"/>
                  <a:pt x="3096934" y="368477"/>
                  <a:pt x="3096080" y="366058"/>
                </a:cubicBezTo>
                <a:cubicBezTo>
                  <a:pt x="3096080" y="364777"/>
                  <a:pt x="3096293" y="363497"/>
                  <a:pt x="3097574" y="362359"/>
                </a:cubicBezTo>
                <a:cubicBezTo>
                  <a:pt x="3099068" y="361079"/>
                  <a:pt x="3101416" y="361221"/>
                  <a:pt x="3102483" y="361221"/>
                </a:cubicBezTo>
                <a:close/>
                <a:moveTo>
                  <a:pt x="2443443" y="359513"/>
                </a:moveTo>
                <a:cubicBezTo>
                  <a:pt x="2444510" y="363497"/>
                  <a:pt x="2444083" y="368192"/>
                  <a:pt x="2442589" y="373171"/>
                </a:cubicBezTo>
                <a:lnTo>
                  <a:pt x="2438961" y="382277"/>
                </a:lnTo>
                <a:lnTo>
                  <a:pt x="2437467" y="384553"/>
                </a:lnTo>
                <a:lnTo>
                  <a:pt x="2437467" y="385549"/>
                </a:lnTo>
                <a:lnTo>
                  <a:pt x="2431491" y="394938"/>
                </a:lnTo>
                <a:cubicBezTo>
                  <a:pt x="2426796" y="401341"/>
                  <a:pt x="2421674" y="406320"/>
                  <a:pt x="2417405" y="407885"/>
                </a:cubicBezTo>
                <a:cubicBezTo>
                  <a:pt x="2417618" y="400487"/>
                  <a:pt x="2417832" y="389532"/>
                  <a:pt x="2421033" y="379858"/>
                </a:cubicBezTo>
                <a:cubicBezTo>
                  <a:pt x="2424448" y="370184"/>
                  <a:pt x="2430851" y="361648"/>
                  <a:pt x="2443443" y="359513"/>
                </a:cubicBezTo>
                <a:close/>
                <a:moveTo>
                  <a:pt x="2833574" y="358376"/>
                </a:moveTo>
                <a:cubicBezTo>
                  <a:pt x="2829306" y="367765"/>
                  <a:pt x="2821835" y="382988"/>
                  <a:pt x="2812872" y="387399"/>
                </a:cubicBezTo>
                <a:cubicBezTo>
                  <a:pt x="2804336" y="376301"/>
                  <a:pt x="2825464" y="360510"/>
                  <a:pt x="2833574" y="358376"/>
                </a:cubicBezTo>
                <a:close/>
                <a:moveTo>
                  <a:pt x="3217303" y="356241"/>
                </a:moveTo>
                <a:cubicBezTo>
                  <a:pt x="3229040" y="354961"/>
                  <a:pt x="3233309" y="369472"/>
                  <a:pt x="3227120" y="374310"/>
                </a:cubicBezTo>
                <a:cubicBezTo>
                  <a:pt x="3225199" y="375875"/>
                  <a:pt x="3221998" y="376443"/>
                  <a:pt x="3217516" y="374879"/>
                </a:cubicBezTo>
                <a:cubicBezTo>
                  <a:pt x="3218156" y="366485"/>
                  <a:pt x="3213674" y="362502"/>
                  <a:pt x="3217303" y="356241"/>
                </a:cubicBezTo>
                <a:close/>
                <a:moveTo>
                  <a:pt x="3051048" y="355388"/>
                </a:moveTo>
                <a:cubicBezTo>
                  <a:pt x="3055530" y="366627"/>
                  <a:pt x="3048061" y="382419"/>
                  <a:pt x="3040164" y="386402"/>
                </a:cubicBezTo>
                <a:cubicBezTo>
                  <a:pt x="3035896" y="375306"/>
                  <a:pt x="3044646" y="361079"/>
                  <a:pt x="3051048" y="355388"/>
                </a:cubicBezTo>
                <a:close/>
                <a:moveTo>
                  <a:pt x="2301945" y="354676"/>
                </a:moveTo>
                <a:cubicBezTo>
                  <a:pt x="2304079" y="356811"/>
                  <a:pt x="2305573" y="358945"/>
                  <a:pt x="2306213" y="360936"/>
                </a:cubicBezTo>
                <a:cubicBezTo>
                  <a:pt x="2307494" y="364493"/>
                  <a:pt x="2306640" y="367765"/>
                  <a:pt x="2304506" y="370611"/>
                </a:cubicBezTo>
                <a:cubicBezTo>
                  <a:pt x="2298530" y="379289"/>
                  <a:pt x="2281457" y="384553"/>
                  <a:pt x="2274841" y="385834"/>
                </a:cubicBezTo>
                <a:cubicBezTo>
                  <a:pt x="2273987" y="383130"/>
                  <a:pt x="2274628" y="379716"/>
                  <a:pt x="2276121" y="376159"/>
                </a:cubicBezTo>
                <a:cubicBezTo>
                  <a:pt x="2280603" y="365631"/>
                  <a:pt x="2293408" y="353823"/>
                  <a:pt x="2301945" y="354676"/>
                </a:cubicBezTo>
                <a:close/>
                <a:moveTo>
                  <a:pt x="3073244" y="353681"/>
                </a:moveTo>
                <a:cubicBezTo>
                  <a:pt x="3074525" y="353681"/>
                  <a:pt x="3075805" y="354534"/>
                  <a:pt x="3077086" y="355673"/>
                </a:cubicBezTo>
                <a:cubicBezTo>
                  <a:pt x="3079860" y="357949"/>
                  <a:pt x="3079006" y="360367"/>
                  <a:pt x="3079006" y="360367"/>
                </a:cubicBezTo>
                <a:cubicBezTo>
                  <a:pt x="3077086" y="364066"/>
                  <a:pt x="3073884" y="365347"/>
                  <a:pt x="3070043" y="363213"/>
                </a:cubicBezTo>
                <a:cubicBezTo>
                  <a:pt x="3068549" y="360936"/>
                  <a:pt x="3069403" y="358518"/>
                  <a:pt x="3070256" y="356099"/>
                </a:cubicBezTo>
                <a:cubicBezTo>
                  <a:pt x="3071110" y="354250"/>
                  <a:pt x="3072177" y="353539"/>
                  <a:pt x="3073244" y="353681"/>
                </a:cubicBezTo>
                <a:close/>
                <a:moveTo>
                  <a:pt x="2767840" y="351120"/>
                </a:moveTo>
                <a:cubicBezTo>
                  <a:pt x="2769975" y="352827"/>
                  <a:pt x="2772323" y="353396"/>
                  <a:pt x="2775524" y="355388"/>
                </a:cubicBezTo>
                <a:cubicBezTo>
                  <a:pt x="2775097" y="358803"/>
                  <a:pt x="2770615" y="365062"/>
                  <a:pt x="2764853" y="364777"/>
                </a:cubicBezTo>
                <a:cubicBezTo>
                  <a:pt x="2759731" y="358803"/>
                  <a:pt x="2761438" y="354392"/>
                  <a:pt x="2767840" y="351120"/>
                </a:cubicBezTo>
                <a:close/>
                <a:moveTo>
                  <a:pt x="2708937" y="350835"/>
                </a:moveTo>
                <a:cubicBezTo>
                  <a:pt x="2711925" y="354534"/>
                  <a:pt x="2709363" y="357095"/>
                  <a:pt x="2706589" y="361932"/>
                </a:cubicBezTo>
                <a:cubicBezTo>
                  <a:pt x="2705522" y="360652"/>
                  <a:pt x="2701680" y="364209"/>
                  <a:pt x="2700400" y="365489"/>
                </a:cubicBezTo>
                <a:cubicBezTo>
                  <a:pt x="2698479" y="362928"/>
                  <a:pt x="2693357" y="366485"/>
                  <a:pt x="2690369" y="362786"/>
                </a:cubicBezTo>
                <a:cubicBezTo>
                  <a:pt x="2690583" y="360367"/>
                  <a:pt x="2690796" y="359229"/>
                  <a:pt x="2692076" y="356811"/>
                </a:cubicBezTo>
                <a:cubicBezTo>
                  <a:pt x="2702107" y="348417"/>
                  <a:pt x="2707656" y="352116"/>
                  <a:pt x="2708937" y="350835"/>
                </a:cubicBezTo>
                <a:close/>
                <a:moveTo>
                  <a:pt x="2416551" y="347137"/>
                </a:moveTo>
                <a:cubicBezTo>
                  <a:pt x="2417192" y="347279"/>
                  <a:pt x="2417618" y="347563"/>
                  <a:pt x="2417618" y="347563"/>
                </a:cubicBezTo>
                <a:cubicBezTo>
                  <a:pt x="2419326" y="349839"/>
                  <a:pt x="2416765" y="352400"/>
                  <a:pt x="2415911" y="354392"/>
                </a:cubicBezTo>
                <a:cubicBezTo>
                  <a:pt x="2417618" y="356668"/>
                  <a:pt x="2411856" y="357380"/>
                  <a:pt x="2413563" y="359656"/>
                </a:cubicBezTo>
                <a:cubicBezTo>
                  <a:pt x="2407375" y="361363"/>
                  <a:pt x="2410149" y="369472"/>
                  <a:pt x="2401612" y="373741"/>
                </a:cubicBezTo>
                <a:cubicBezTo>
                  <a:pt x="2402039" y="370753"/>
                  <a:pt x="2402679" y="368050"/>
                  <a:pt x="2403747" y="365774"/>
                </a:cubicBezTo>
                <a:cubicBezTo>
                  <a:pt x="2406521" y="358945"/>
                  <a:pt x="2411003" y="354961"/>
                  <a:pt x="2411643" y="349412"/>
                </a:cubicBezTo>
                <a:cubicBezTo>
                  <a:pt x="2411643" y="349412"/>
                  <a:pt x="2411643" y="349412"/>
                  <a:pt x="2414631" y="348417"/>
                </a:cubicBezTo>
                <a:cubicBezTo>
                  <a:pt x="2415058" y="347421"/>
                  <a:pt x="2415058" y="347421"/>
                  <a:pt x="2415058" y="347421"/>
                </a:cubicBezTo>
                <a:cubicBezTo>
                  <a:pt x="2415271" y="346852"/>
                  <a:pt x="2415911" y="346994"/>
                  <a:pt x="2416551" y="347137"/>
                </a:cubicBezTo>
                <a:close/>
                <a:moveTo>
                  <a:pt x="2725584" y="345287"/>
                </a:moveTo>
                <a:cubicBezTo>
                  <a:pt x="2725370" y="346567"/>
                  <a:pt x="2726437" y="347705"/>
                  <a:pt x="2726224" y="348986"/>
                </a:cubicBezTo>
                <a:cubicBezTo>
                  <a:pt x="2723663" y="351262"/>
                  <a:pt x="2720461" y="348844"/>
                  <a:pt x="2720675" y="347563"/>
                </a:cubicBezTo>
                <a:cubicBezTo>
                  <a:pt x="2721956" y="346425"/>
                  <a:pt x="2724303" y="346425"/>
                  <a:pt x="2725584" y="345287"/>
                </a:cubicBezTo>
                <a:close/>
                <a:moveTo>
                  <a:pt x="2860038" y="341588"/>
                </a:moveTo>
                <a:cubicBezTo>
                  <a:pt x="2860251" y="343295"/>
                  <a:pt x="2863026" y="343580"/>
                  <a:pt x="2863239" y="345145"/>
                </a:cubicBezTo>
                <a:cubicBezTo>
                  <a:pt x="2863239" y="345145"/>
                  <a:pt x="2863026" y="346140"/>
                  <a:pt x="2862599" y="346994"/>
                </a:cubicBezTo>
                <a:lnTo>
                  <a:pt x="2862172" y="348844"/>
                </a:lnTo>
                <a:lnTo>
                  <a:pt x="2864093" y="349839"/>
                </a:lnTo>
                <a:cubicBezTo>
                  <a:pt x="2866440" y="350266"/>
                  <a:pt x="2868361" y="348986"/>
                  <a:pt x="2869642" y="352969"/>
                </a:cubicBezTo>
                <a:cubicBezTo>
                  <a:pt x="2869215" y="355246"/>
                  <a:pt x="2867721" y="357380"/>
                  <a:pt x="2864093" y="358945"/>
                </a:cubicBezTo>
                <a:cubicBezTo>
                  <a:pt x="2861318" y="357095"/>
                  <a:pt x="2860465" y="355388"/>
                  <a:pt x="2860251" y="353681"/>
                </a:cubicBezTo>
                <a:lnTo>
                  <a:pt x="2861745" y="348986"/>
                </a:lnTo>
                <a:lnTo>
                  <a:pt x="2860891" y="349128"/>
                </a:lnTo>
                <a:cubicBezTo>
                  <a:pt x="2860678" y="349128"/>
                  <a:pt x="2860891" y="348844"/>
                  <a:pt x="2861105" y="348274"/>
                </a:cubicBezTo>
                <a:cubicBezTo>
                  <a:pt x="2858544" y="348132"/>
                  <a:pt x="2857690" y="347563"/>
                  <a:pt x="2856623" y="346852"/>
                </a:cubicBezTo>
                <a:cubicBezTo>
                  <a:pt x="2856410" y="345145"/>
                  <a:pt x="2857690" y="343153"/>
                  <a:pt x="2860038" y="341588"/>
                </a:cubicBezTo>
                <a:close/>
                <a:moveTo>
                  <a:pt x="2545244" y="334048"/>
                </a:moveTo>
                <a:cubicBezTo>
                  <a:pt x="2546311" y="334616"/>
                  <a:pt x="2546737" y="333621"/>
                  <a:pt x="2547805" y="334190"/>
                </a:cubicBezTo>
                <a:cubicBezTo>
                  <a:pt x="2550366" y="334332"/>
                  <a:pt x="2551433" y="334901"/>
                  <a:pt x="2552073" y="336608"/>
                </a:cubicBezTo>
                <a:cubicBezTo>
                  <a:pt x="2553140" y="337178"/>
                  <a:pt x="2552713" y="338173"/>
                  <a:pt x="2553140" y="339881"/>
                </a:cubicBezTo>
                <a:cubicBezTo>
                  <a:pt x="2552713" y="340876"/>
                  <a:pt x="2551220" y="341303"/>
                  <a:pt x="2551220" y="341303"/>
                </a:cubicBezTo>
                <a:cubicBezTo>
                  <a:pt x="2549725" y="341872"/>
                  <a:pt x="2549725" y="341730"/>
                  <a:pt x="2550153" y="343437"/>
                </a:cubicBezTo>
                <a:cubicBezTo>
                  <a:pt x="2550153" y="343437"/>
                  <a:pt x="2549298" y="342726"/>
                  <a:pt x="2549298" y="342726"/>
                </a:cubicBezTo>
                <a:cubicBezTo>
                  <a:pt x="2549725" y="341730"/>
                  <a:pt x="2549085" y="342726"/>
                  <a:pt x="2547591" y="343295"/>
                </a:cubicBezTo>
                <a:cubicBezTo>
                  <a:pt x="2546097" y="341019"/>
                  <a:pt x="2545030" y="340450"/>
                  <a:pt x="2544390" y="338743"/>
                </a:cubicBezTo>
                <a:cubicBezTo>
                  <a:pt x="2543963" y="338031"/>
                  <a:pt x="2543963" y="336893"/>
                  <a:pt x="2543963" y="335897"/>
                </a:cubicBezTo>
                <a:cubicBezTo>
                  <a:pt x="2544177" y="335044"/>
                  <a:pt x="2544390" y="334190"/>
                  <a:pt x="2545244" y="334048"/>
                </a:cubicBezTo>
                <a:close/>
                <a:moveTo>
                  <a:pt x="2672229" y="331202"/>
                </a:moveTo>
                <a:cubicBezTo>
                  <a:pt x="2672229" y="331202"/>
                  <a:pt x="2672869" y="331771"/>
                  <a:pt x="2673509" y="332625"/>
                </a:cubicBezTo>
                <a:cubicBezTo>
                  <a:pt x="2674363" y="333479"/>
                  <a:pt x="2675003" y="334474"/>
                  <a:pt x="2674789" y="335328"/>
                </a:cubicBezTo>
                <a:cubicBezTo>
                  <a:pt x="2675216" y="338031"/>
                  <a:pt x="2670521" y="336751"/>
                  <a:pt x="2669454" y="337320"/>
                </a:cubicBezTo>
                <a:cubicBezTo>
                  <a:pt x="2667960" y="336893"/>
                  <a:pt x="2666253" y="336466"/>
                  <a:pt x="2666679" y="334901"/>
                </a:cubicBezTo>
                <a:cubicBezTo>
                  <a:pt x="2666893" y="333194"/>
                  <a:pt x="2666253" y="332198"/>
                  <a:pt x="2668814" y="332056"/>
                </a:cubicBezTo>
                <a:cubicBezTo>
                  <a:pt x="2669667" y="331487"/>
                  <a:pt x="2671161" y="331914"/>
                  <a:pt x="2672229" y="331202"/>
                </a:cubicBezTo>
                <a:close/>
                <a:moveTo>
                  <a:pt x="2797719" y="330206"/>
                </a:moveTo>
                <a:cubicBezTo>
                  <a:pt x="2799427" y="329779"/>
                  <a:pt x="2801134" y="329922"/>
                  <a:pt x="2803055" y="330491"/>
                </a:cubicBezTo>
                <a:cubicBezTo>
                  <a:pt x="2805616" y="331344"/>
                  <a:pt x="2808177" y="333194"/>
                  <a:pt x="2810524" y="336181"/>
                </a:cubicBezTo>
                <a:cubicBezTo>
                  <a:pt x="2813085" y="342299"/>
                  <a:pt x="2804336" y="351404"/>
                  <a:pt x="2798573" y="349982"/>
                </a:cubicBezTo>
                <a:cubicBezTo>
                  <a:pt x="2796012" y="347563"/>
                  <a:pt x="2793665" y="345002"/>
                  <a:pt x="2791317" y="342584"/>
                </a:cubicBezTo>
                <a:cubicBezTo>
                  <a:pt x="2789609" y="336466"/>
                  <a:pt x="2792810" y="331344"/>
                  <a:pt x="2797719" y="330206"/>
                </a:cubicBezTo>
                <a:close/>
                <a:moveTo>
                  <a:pt x="2992358" y="329210"/>
                </a:moveTo>
                <a:cubicBezTo>
                  <a:pt x="2999401" y="335044"/>
                  <a:pt x="3005163" y="344860"/>
                  <a:pt x="3006444" y="346994"/>
                </a:cubicBezTo>
                <a:cubicBezTo>
                  <a:pt x="3007084" y="348132"/>
                  <a:pt x="3007084" y="348986"/>
                  <a:pt x="3006871" y="349697"/>
                </a:cubicBezTo>
                <a:cubicBezTo>
                  <a:pt x="3006657" y="350409"/>
                  <a:pt x="3005804" y="350977"/>
                  <a:pt x="3004737" y="351831"/>
                </a:cubicBezTo>
                <a:cubicBezTo>
                  <a:pt x="2998761" y="352400"/>
                  <a:pt x="2997053" y="346994"/>
                  <a:pt x="2992998" y="342868"/>
                </a:cubicBezTo>
                <a:cubicBezTo>
                  <a:pt x="2993638" y="341872"/>
                  <a:pt x="2993425" y="340165"/>
                  <a:pt x="2992571" y="339596"/>
                </a:cubicBezTo>
                <a:cubicBezTo>
                  <a:pt x="2992145" y="337889"/>
                  <a:pt x="2991931" y="336181"/>
                  <a:pt x="2991291" y="337320"/>
                </a:cubicBezTo>
                <a:cubicBezTo>
                  <a:pt x="2990438" y="332340"/>
                  <a:pt x="2989370" y="331771"/>
                  <a:pt x="2992358" y="329210"/>
                </a:cubicBezTo>
                <a:close/>
                <a:moveTo>
                  <a:pt x="2958851" y="327503"/>
                </a:moveTo>
                <a:cubicBezTo>
                  <a:pt x="2959278" y="327787"/>
                  <a:pt x="2959918" y="328214"/>
                  <a:pt x="2960985" y="328784"/>
                </a:cubicBezTo>
                <a:cubicBezTo>
                  <a:pt x="2962266" y="329779"/>
                  <a:pt x="2963333" y="329779"/>
                  <a:pt x="2962479" y="330917"/>
                </a:cubicBezTo>
                <a:cubicBezTo>
                  <a:pt x="2961412" y="332198"/>
                  <a:pt x="2961412" y="332198"/>
                  <a:pt x="2958211" y="332340"/>
                </a:cubicBezTo>
                <a:cubicBezTo>
                  <a:pt x="2959065" y="331202"/>
                  <a:pt x="2959065" y="331202"/>
                  <a:pt x="2957997" y="330064"/>
                </a:cubicBezTo>
                <a:cubicBezTo>
                  <a:pt x="2957997" y="330064"/>
                  <a:pt x="2957784" y="330064"/>
                  <a:pt x="2956717" y="330206"/>
                </a:cubicBezTo>
                <a:cubicBezTo>
                  <a:pt x="2956504" y="329068"/>
                  <a:pt x="2957784" y="328926"/>
                  <a:pt x="2957570" y="327787"/>
                </a:cubicBezTo>
                <a:cubicBezTo>
                  <a:pt x="2957570" y="327787"/>
                  <a:pt x="2958638" y="327787"/>
                  <a:pt x="2958638" y="327787"/>
                </a:cubicBezTo>
                <a:cubicBezTo>
                  <a:pt x="2958638" y="327219"/>
                  <a:pt x="2958638" y="327219"/>
                  <a:pt x="2958851" y="327503"/>
                </a:cubicBezTo>
                <a:close/>
                <a:moveTo>
                  <a:pt x="3396788" y="326650"/>
                </a:moveTo>
                <a:cubicBezTo>
                  <a:pt x="3397856" y="326365"/>
                  <a:pt x="3399136" y="326365"/>
                  <a:pt x="3400843" y="327361"/>
                </a:cubicBezTo>
                <a:cubicBezTo>
                  <a:pt x="3399563" y="330633"/>
                  <a:pt x="3397856" y="332767"/>
                  <a:pt x="3396575" y="335897"/>
                </a:cubicBezTo>
                <a:cubicBezTo>
                  <a:pt x="3391667" y="335897"/>
                  <a:pt x="3392520" y="331629"/>
                  <a:pt x="3393374" y="327361"/>
                </a:cubicBezTo>
                <a:cubicBezTo>
                  <a:pt x="3394655" y="327361"/>
                  <a:pt x="3395722" y="326792"/>
                  <a:pt x="3396788" y="326650"/>
                </a:cubicBezTo>
                <a:close/>
                <a:moveTo>
                  <a:pt x="3375446" y="325512"/>
                </a:moveTo>
                <a:cubicBezTo>
                  <a:pt x="3377794" y="325512"/>
                  <a:pt x="3379928" y="325938"/>
                  <a:pt x="3381849" y="327219"/>
                </a:cubicBezTo>
                <a:cubicBezTo>
                  <a:pt x="3383343" y="331344"/>
                  <a:pt x="3383130" y="334616"/>
                  <a:pt x="3381849" y="337035"/>
                </a:cubicBezTo>
                <a:cubicBezTo>
                  <a:pt x="3378434" y="344575"/>
                  <a:pt x="3366270" y="345002"/>
                  <a:pt x="3361788" y="340165"/>
                </a:cubicBezTo>
                <a:cubicBezTo>
                  <a:pt x="3361147" y="331487"/>
                  <a:pt x="3368404" y="325796"/>
                  <a:pt x="3375446" y="325512"/>
                </a:cubicBezTo>
                <a:close/>
                <a:moveTo>
                  <a:pt x="3240565" y="324658"/>
                </a:moveTo>
                <a:cubicBezTo>
                  <a:pt x="3247181" y="325227"/>
                  <a:pt x="3251236" y="327930"/>
                  <a:pt x="3254865" y="335186"/>
                </a:cubicBezTo>
                <a:cubicBezTo>
                  <a:pt x="3249316" y="344149"/>
                  <a:pt x="3251877" y="342015"/>
                  <a:pt x="3242059" y="348274"/>
                </a:cubicBezTo>
                <a:lnTo>
                  <a:pt x="3237151" y="341872"/>
                </a:lnTo>
                <a:lnTo>
                  <a:pt x="3234163" y="344149"/>
                </a:lnTo>
                <a:cubicBezTo>
                  <a:pt x="3231602" y="345287"/>
                  <a:pt x="3228614" y="345714"/>
                  <a:pt x="3226693" y="344433"/>
                </a:cubicBezTo>
                <a:cubicBezTo>
                  <a:pt x="3225412" y="343722"/>
                  <a:pt x="3224559" y="342157"/>
                  <a:pt x="3224772" y="339881"/>
                </a:cubicBezTo>
                <a:cubicBezTo>
                  <a:pt x="3225199" y="336466"/>
                  <a:pt x="3226693" y="334616"/>
                  <a:pt x="3229040" y="333621"/>
                </a:cubicBezTo>
                <a:lnTo>
                  <a:pt x="3230535" y="333479"/>
                </a:lnTo>
                <a:lnTo>
                  <a:pt x="3230535" y="333194"/>
                </a:lnTo>
                <a:cubicBezTo>
                  <a:pt x="3235230" y="331202"/>
                  <a:pt x="3238004" y="326792"/>
                  <a:pt x="3240565" y="324658"/>
                </a:cubicBezTo>
                <a:close/>
                <a:moveTo>
                  <a:pt x="2781286" y="321670"/>
                </a:moveTo>
                <a:cubicBezTo>
                  <a:pt x="2782780" y="321528"/>
                  <a:pt x="2784274" y="321670"/>
                  <a:pt x="2785981" y="322097"/>
                </a:cubicBezTo>
                <a:cubicBezTo>
                  <a:pt x="2791530" y="334048"/>
                  <a:pt x="2781713" y="352400"/>
                  <a:pt x="2771468" y="345429"/>
                </a:cubicBezTo>
                <a:cubicBezTo>
                  <a:pt x="2770188" y="344433"/>
                  <a:pt x="2768694" y="343010"/>
                  <a:pt x="2767200" y="340876"/>
                </a:cubicBezTo>
                <a:cubicBezTo>
                  <a:pt x="2769761" y="334190"/>
                  <a:pt x="2771895" y="322240"/>
                  <a:pt x="2781286" y="321670"/>
                </a:cubicBezTo>
                <a:close/>
                <a:moveTo>
                  <a:pt x="2649819" y="321101"/>
                </a:moveTo>
                <a:cubicBezTo>
                  <a:pt x="2655368" y="323662"/>
                  <a:pt x="2657075" y="327787"/>
                  <a:pt x="2656435" y="332625"/>
                </a:cubicBezTo>
                <a:cubicBezTo>
                  <a:pt x="2651313" y="336324"/>
                  <a:pt x="2643844" y="330917"/>
                  <a:pt x="2644697" y="324942"/>
                </a:cubicBezTo>
                <a:cubicBezTo>
                  <a:pt x="2645978" y="323947"/>
                  <a:pt x="2647472" y="321813"/>
                  <a:pt x="2649819" y="321101"/>
                </a:cubicBezTo>
                <a:close/>
                <a:moveTo>
                  <a:pt x="2606282" y="320248"/>
                </a:moveTo>
                <a:cubicBezTo>
                  <a:pt x="2603080" y="327787"/>
                  <a:pt x="2601160" y="337035"/>
                  <a:pt x="2595611" y="343580"/>
                </a:cubicBezTo>
                <a:cubicBezTo>
                  <a:pt x="2592409" y="335897"/>
                  <a:pt x="2594970" y="319821"/>
                  <a:pt x="2606282" y="320248"/>
                </a:cubicBezTo>
                <a:close/>
                <a:moveTo>
                  <a:pt x="3119343" y="319963"/>
                </a:moveTo>
                <a:cubicBezTo>
                  <a:pt x="3120623" y="319963"/>
                  <a:pt x="3121690" y="320248"/>
                  <a:pt x="3122758" y="320816"/>
                </a:cubicBezTo>
                <a:cubicBezTo>
                  <a:pt x="3123825" y="322097"/>
                  <a:pt x="3123611" y="324515"/>
                  <a:pt x="3122117" y="328072"/>
                </a:cubicBezTo>
                <a:cubicBezTo>
                  <a:pt x="3119770" y="329210"/>
                  <a:pt x="3116568" y="325512"/>
                  <a:pt x="3114434" y="324231"/>
                </a:cubicBezTo>
                <a:cubicBezTo>
                  <a:pt x="3115715" y="323093"/>
                  <a:pt x="3116995" y="321955"/>
                  <a:pt x="3115928" y="321955"/>
                </a:cubicBezTo>
                <a:cubicBezTo>
                  <a:pt x="3117209" y="320674"/>
                  <a:pt x="3118276" y="320105"/>
                  <a:pt x="3119343" y="319963"/>
                </a:cubicBezTo>
                <a:close/>
                <a:moveTo>
                  <a:pt x="3312701" y="315411"/>
                </a:moveTo>
                <a:cubicBezTo>
                  <a:pt x="3319958" y="315268"/>
                  <a:pt x="3325506" y="317686"/>
                  <a:pt x="3330842" y="315979"/>
                </a:cubicBezTo>
                <a:cubicBezTo>
                  <a:pt x="3330842" y="315979"/>
                  <a:pt x="3330842" y="315837"/>
                  <a:pt x="3332976" y="318398"/>
                </a:cubicBezTo>
                <a:cubicBezTo>
                  <a:pt x="3334043" y="318398"/>
                  <a:pt x="3334043" y="318398"/>
                  <a:pt x="3334043" y="318398"/>
                </a:cubicBezTo>
                <a:cubicBezTo>
                  <a:pt x="3334684" y="318398"/>
                  <a:pt x="3334897" y="318967"/>
                  <a:pt x="3334897" y="319536"/>
                </a:cubicBezTo>
                <a:cubicBezTo>
                  <a:pt x="3334897" y="320248"/>
                  <a:pt x="3334897" y="320816"/>
                  <a:pt x="3334897" y="320816"/>
                </a:cubicBezTo>
                <a:cubicBezTo>
                  <a:pt x="3333617" y="323235"/>
                  <a:pt x="3330201" y="321955"/>
                  <a:pt x="3328067" y="321955"/>
                </a:cubicBezTo>
                <a:cubicBezTo>
                  <a:pt x="3326574" y="324231"/>
                  <a:pt x="3323586" y="319394"/>
                  <a:pt x="3322305" y="321813"/>
                </a:cubicBezTo>
                <a:cubicBezTo>
                  <a:pt x="3318250" y="316833"/>
                  <a:pt x="3311848" y="322808"/>
                  <a:pt x="3304592" y="316691"/>
                </a:cubicBezTo>
                <a:cubicBezTo>
                  <a:pt x="3307366" y="315837"/>
                  <a:pt x="3310140" y="315411"/>
                  <a:pt x="3312701" y="315411"/>
                </a:cubicBezTo>
                <a:close/>
                <a:moveTo>
                  <a:pt x="3082208" y="314272"/>
                </a:moveTo>
                <a:cubicBezTo>
                  <a:pt x="3083275" y="313988"/>
                  <a:pt x="3084555" y="314130"/>
                  <a:pt x="3085836" y="314557"/>
                </a:cubicBezTo>
                <a:cubicBezTo>
                  <a:pt x="3091172" y="322240"/>
                  <a:pt x="3082208" y="325938"/>
                  <a:pt x="3078153" y="323378"/>
                </a:cubicBezTo>
                <a:cubicBezTo>
                  <a:pt x="3076232" y="318967"/>
                  <a:pt x="3078793" y="315268"/>
                  <a:pt x="3082208" y="314272"/>
                </a:cubicBezTo>
                <a:close/>
                <a:moveTo>
                  <a:pt x="3092665" y="314130"/>
                </a:moveTo>
                <a:cubicBezTo>
                  <a:pt x="3098641" y="314984"/>
                  <a:pt x="3105044" y="323378"/>
                  <a:pt x="3108245" y="332767"/>
                </a:cubicBezTo>
                <a:cubicBezTo>
                  <a:pt x="3111446" y="342157"/>
                  <a:pt x="3111233" y="352543"/>
                  <a:pt x="3104190" y="357238"/>
                </a:cubicBezTo>
                <a:cubicBezTo>
                  <a:pt x="3105257" y="340023"/>
                  <a:pt x="3088397" y="332909"/>
                  <a:pt x="3092665" y="314130"/>
                </a:cubicBezTo>
                <a:close/>
                <a:moveTo>
                  <a:pt x="3184649" y="313703"/>
                </a:moveTo>
                <a:cubicBezTo>
                  <a:pt x="3188491" y="313419"/>
                  <a:pt x="3195107" y="314841"/>
                  <a:pt x="3195961" y="314841"/>
                </a:cubicBezTo>
                <a:cubicBezTo>
                  <a:pt x="3195961" y="314841"/>
                  <a:pt x="3197027" y="314984"/>
                  <a:pt x="3198095" y="314984"/>
                </a:cubicBezTo>
                <a:cubicBezTo>
                  <a:pt x="3199162" y="316121"/>
                  <a:pt x="3199162" y="317402"/>
                  <a:pt x="3200229" y="317402"/>
                </a:cubicBezTo>
                <a:cubicBezTo>
                  <a:pt x="3196387" y="320816"/>
                  <a:pt x="3192973" y="319536"/>
                  <a:pt x="3189771" y="318398"/>
                </a:cubicBezTo>
                <a:cubicBezTo>
                  <a:pt x="3187637" y="317118"/>
                  <a:pt x="3186570" y="317118"/>
                  <a:pt x="3184009" y="318256"/>
                </a:cubicBezTo>
                <a:cubicBezTo>
                  <a:pt x="3184009" y="318256"/>
                  <a:pt x="3184009" y="318256"/>
                  <a:pt x="3182088" y="315837"/>
                </a:cubicBezTo>
                <a:lnTo>
                  <a:pt x="3182088" y="314699"/>
                </a:lnTo>
                <a:cubicBezTo>
                  <a:pt x="3182515" y="314130"/>
                  <a:pt x="3183369" y="313846"/>
                  <a:pt x="3184649" y="313703"/>
                </a:cubicBezTo>
                <a:close/>
                <a:moveTo>
                  <a:pt x="2735401" y="311284"/>
                </a:moveTo>
                <a:cubicBezTo>
                  <a:pt x="2742230" y="311142"/>
                  <a:pt x="2746712" y="315695"/>
                  <a:pt x="2749273" y="321386"/>
                </a:cubicBezTo>
                <a:cubicBezTo>
                  <a:pt x="2752047" y="327077"/>
                  <a:pt x="2752901" y="333905"/>
                  <a:pt x="2752901" y="338600"/>
                </a:cubicBezTo>
                <a:cubicBezTo>
                  <a:pt x="2749060" y="335044"/>
                  <a:pt x="2745218" y="331629"/>
                  <a:pt x="2742017" y="327361"/>
                </a:cubicBezTo>
                <a:cubicBezTo>
                  <a:pt x="2738815" y="323235"/>
                  <a:pt x="2736255" y="318256"/>
                  <a:pt x="2735401" y="311284"/>
                </a:cubicBezTo>
                <a:close/>
                <a:moveTo>
                  <a:pt x="2303226" y="311000"/>
                </a:moveTo>
                <a:cubicBezTo>
                  <a:pt x="2311976" y="312423"/>
                  <a:pt x="2309415" y="322240"/>
                  <a:pt x="2304933" y="323378"/>
                </a:cubicBezTo>
                <a:cubicBezTo>
                  <a:pt x="2299384" y="321101"/>
                  <a:pt x="2299170" y="313276"/>
                  <a:pt x="2303226" y="311000"/>
                </a:cubicBezTo>
                <a:close/>
                <a:moveTo>
                  <a:pt x="2564452" y="310858"/>
                </a:moveTo>
                <a:cubicBezTo>
                  <a:pt x="2565092" y="311712"/>
                  <a:pt x="2565519" y="313134"/>
                  <a:pt x="2565945" y="314557"/>
                </a:cubicBezTo>
                <a:cubicBezTo>
                  <a:pt x="2566586" y="319109"/>
                  <a:pt x="2565519" y="325369"/>
                  <a:pt x="2564024" y="327930"/>
                </a:cubicBezTo>
                <a:cubicBezTo>
                  <a:pt x="2560183" y="329068"/>
                  <a:pt x="2557622" y="328357"/>
                  <a:pt x="2555915" y="326792"/>
                </a:cubicBezTo>
                <a:cubicBezTo>
                  <a:pt x="2550579" y="321955"/>
                  <a:pt x="2554421" y="308582"/>
                  <a:pt x="2564452" y="310858"/>
                </a:cubicBezTo>
                <a:close/>
                <a:moveTo>
                  <a:pt x="2848300" y="306732"/>
                </a:moveTo>
                <a:cubicBezTo>
                  <a:pt x="2851288" y="306590"/>
                  <a:pt x="2854062" y="307159"/>
                  <a:pt x="2855129" y="308439"/>
                </a:cubicBezTo>
                <a:cubicBezTo>
                  <a:pt x="2856410" y="320105"/>
                  <a:pt x="2847233" y="321101"/>
                  <a:pt x="2842964" y="315979"/>
                </a:cubicBezTo>
                <a:cubicBezTo>
                  <a:pt x="2841684" y="314130"/>
                  <a:pt x="2840830" y="311712"/>
                  <a:pt x="2841257" y="308724"/>
                </a:cubicBezTo>
                <a:cubicBezTo>
                  <a:pt x="2842537" y="307443"/>
                  <a:pt x="2845525" y="306732"/>
                  <a:pt x="2848300" y="306732"/>
                </a:cubicBezTo>
                <a:close/>
                <a:moveTo>
                  <a:pt x="2824183" y="305594"/>
                </a:moveTo>
                <a:cubicBezTo>
                  <a:pt x="2836135" y="309008"/>
                  <a:pt x="2834854" y="323662"/>
                  <a:pt x="2827385" y="325512"/>
                </a:cubicBezTo>
                <a:cubicBezTo>
                  <a:pt x="2824823" y="326223"/>
                  <a:pt x="2821622" y="325369"/>
                  <a:pt x="2817994" y="322382"/>
                </a:cubicBezTo>
                <a:cubicBezTo>
                  <a:pt x="2821409" y="315126"/>
                  <a:pt x="2818421" y="309720"/>
                  <a:pt x="2824183" y="305594"/>
                </a:cubicBezTo>
                <a:close/>
                <a:moveTo>
                  <a:pt x="3048701" y="302606"/>
                </a:moveTo>
                <a:cubicBezTo>
                  <a:pt x="3048488" y="305310"/>
                  <a:pt x="3049981" y="305736"/>
                  <a:pt x="3047634" y="309435"/>
                </a:cubicBezTo>
                <a:cubicBezTo>
                  <a:pt x="3046140" y="308866"/>
                  <a:pt x="3044646" y="308297"/>
                  <a:pt x="3043152" y="307728"/>
                </a:cubicBezTo>
                <a:cubicBezTo>
                  <a:pt x="3044433" y="304598"/>
                  <a:pt x="3045713" y="301468"/>
                  <a:pt x="3048701" y="302606"/>
                </a:cubicBezTo>
                <a:close/>
                <a:moveTo>
                  <a:pt x="2710217" y="298054"/>
                </a:moveTo>
                <a:cubicBezTo>
                  <a:pt x="2713845" y="301468"/>
                  <a:pt x="2717260" y="305736"/>
                  <a:pt x="2719608" y="310858"/>
                </a:cubicBezTo>
                <a:cubicBezTo>
                  <a:pt x="2722169" y="316121"/>
                  <a:pt x="2723663" y="322240"/>
                  <a:pt x="2723663" y="329922"/>
                </a:cubicBezTo>
                <a:cubicBezTo>
                  <a:pt x="2717687" y="335755"/>
                  <a:pt x="2711925" y="333621"/>
                  <a:pt x="2708083" y="328357"/>
                </a:cubicBezTo>
                <a:cubicBezTo>
                  <a:pt x="2701467" y="319394"/>
                  <a:pt x="2699546" y="301895"/>
                  <a:pt x="2710217" y="298054"/>
                </a:cubicBezTo>
                <a:close/>
                <a:moveTo>
                  <a:pt x="2740523" y="297769"/>
                </a:moveTo>
                <a:cubicBezTo>
                  <a:pt x="2742657" y="298054"/>
                  <a:pt x="2743938" y="298907"/>
                  <a:pt x="2744791" y="300045"/>
                </a:cubicBezTo>
                <a:cubicBezTo>
                  <a:pt x="2746926" y="303318"/>
                  <a:pt x="2743724" y="309150"/>
                  <a:pt x="2740310" y="310147"/>
                </a:cubicBezTo>
                <a:cubicBezTo>
                  <a:pt x="2735187" y="308012"/>
                  <a:pt x="2736041" y="300330"/>
                  <a:pt x="2740523" y="297769"/>
                </a:cubicBezTo>
                <a:close/>
                <a:moveTo>
                  <a:pt x="2893118" y="297342"/>
                </a:moveTo>
                <a:cubicBezTo>
                  <a:pt x="2896532" y="297484"/>
                  <a:pt x="2901015" y="301183"/>
                  <a:pt x="2901228" y="304740"/>
                </a:cubicBezTo>
                <a:cubicBezTo>
                  <a:pt x="2899094" y="308155"/>
                  <a:pt x="2896959" y="306874"/>
                  <a:pt x="2895892" y="309150"/>
                </a:cubicBezTo>
                <a:cubicBezTo>
                  <a:pt x="2891411" y="305452"/>
                  <a:pt x="2891197" y="301895"/>
                  <a:pt x="2893118" y="297342"/>
                </a:cubicBezTo>
                <a:close/>
                <a:moveTo>
                  <a:pt x="3279407" y="296204"/>
                </a:moveTo>
                <a:cubicBezTo>
                  <a:pt x="3282182" y="300045"/>
                  <a:pt x="3277914" y="308724"/>
                  <a:pt x="3273005" y="309862"/>
                </a:cubicBezTo>
                <a:cubicBezTo>
                  <a:pt x="3276847" y="302748"/>
                  <a:pt x="3273646" y="297769"/>
                  <a:pt x="3279407" y="296204"/>
                </a:cubicBezTo>
                <a:close/>
                <a:moveTo>
                  <a:pt x="2541402" y="295919"/>
                </a:moveTo>
                <a:cubicBezTo>
                  <a:pt x="2542256" y="296061"/>
                  <a:pt x="2543110" y="296489"/>
                  <a:pt x="2543963" y="297626"/>
                </a:cubicBezTo>
                <a:cubicBezTo>
                  <a:pt x="2536707" y="304171"/>
                  <a:pt x="2534999" y="308439"/>
                  <a:pt x="2528810" y="312849"/>
                </a:cubicBezTo>
                <a:cubicBezTo>
                  <a:pt x="2527743" y="312280"/>
                  <a:pt x="2528170" y="311284"/>
                  <a:pt x="2527103" y="310715"/>
                </a:cubicBezTo>
                <a:cubicBezTo>
                  <a:pt x="2526890" y="309862"/>
                  <a:pt x="2527103" y="308724"/>
                  <a:pt x="2527743" y="307443"/>
                </a:cubicBezTo>
                <a:cubicBezTo>
                  <a:pt x="2529664" y="303602"/>
                  <a:pt x="2534359" y="298765"/>
                  <a:pt x="2534999" y="299191"/>
                </a:cubicBezTo>
                <a:cubicBezTo>
                  <a:pt x="2535640" y="298196"/>
                  <a:pt x="2536707" y="298765"/>
                  <a:pt x="2537134" y="297769"/>
                </a:cubicBezTo>
                <a:cubicBezTo>
                  <a:pt x="2537134" y="297769"/>
                  <a:pt x="2537561" y="296631"/>
                  <a:pt x="2539268" y="296204"/>
                </a:cubicBezTo>
                <a:cubicBezTo>
                  <a:pt x="2539908" y="295919"/>
                  <a:pt x="2540762" y="295777"/>
                  <a:pt x="2541402" y="295919"/>
                </a:cubicBezTo>
                <a:close/>
                <a:moveTo>
                  <a:pt x="2450486" y="289944"/>
                </a:moveTo>
                <a:cubicBezTo>
                  <a:pt x="2452833" y="292505"/>
                  <a:pt x="2454114" y="294924"/>
                  <a:pt x="2456461" y="297342"/>
                </a:cubicBezTo>
                <a:cubicBezTo>
                  <a:pt x="2454327" y="301895"/>
                  <a:pt x="2450912" y="299476"/>
                  <a:pt x="2447284" y="296916"/>
                </a:cubicBezTo>
                <a:cubicBezTo>
                  <a:pt x="2448351" y="294639"/>
                  <a:pt x="2447071" y="292221"/>
                  <a:pt x="2450486" y="289944"/>
                </a:cubicBezTo>
                <a:close/>
                <a:moveTo>
                  <a:pt x="2614605" y="281408"/>
                </a:moveTo>
                <a:cubicBezTo>
                  <a:pt x="2615459" y="281408"/>
                  <a:pt x="2616526" y="281408"/>
                  <a:pt x="2617593" y="281693"/>
                </a:cubicBezTo>
                <a:cubicBezTo>
                  <a:pt x="2621648" y="282831"/>
                  <a:pt x="2626343" y="286387"/>
                  <a:pt x="2630185" y="287810"/>
                </a:cubicBezTo>
                <a:cubicBezTo>
                  <a:pt x="2629758" y="293216"/>
                  <a:pt x="2629118" y="294781"/>
                  <a:pt x="2625703" y="299049"/>
                </a:cubicBezTo>
                <a:cubicBezTo>
                  <a:pt x="2618020" y="298907"/>
                  <a:pt x="2613751" y="294497"/>
                  <a:pt x="2609696" y="290087"/>
                </a:cubicBezTo>
                <a:cubicBezTo>
                  <a:pt x="2610123" y="283969"/>
                  <a:pt x="2612044" y="281693"/>
                  <a:pt x="2614605" y="281408"/>
                </a:cubicBezTo>
                <a:close/>
                <a:moveTo>
                  <a:pt x="2847233" y="276144"/>
                </a:moveTo>
                <a:cubicBezTo>
                  <a:pt x="2847233" y="277851"/>
                  <a:pt x="2848727" y="277851"/>
                  <a:pt x="2850434" y="277851"/>
                </a:cubicBezTo>
                <a:cubicBezTo>
                  <a:pt x="2855769" y="286245"/>
                  <a:pt x="2842324" y="303602"/>
                  <a:pt x="2835494" y="298481"/>
                </a:cubicBezTo>
                <a:cubicBezTo>
                  <a:pt x="2834641" y="297769"/>
                  <a:pt x="2833787" y="296631"/>
                  <a:pt x="2833147" y="294924"/>
                </a:cubicBezTo>
                <a:cubicBezTo>
                  <a:pt x="2834214" y="284823"/>
                  <a:pt x="2837415" y="277424"/>
                  <a:pt x="2847233" y="276144"/>
                </a:cubicBezTo>
                <a:close/>
                <a:moveTo>
                  <a:pt x="3042725" y="275433"/>
                </a:moveTo>
                <a:cubicBezTo>
                  <a:pt x="3043365" y="275291"/>
                  <a:pt x="3044006" y="275433"/>
                  <a:pt x="3044859" y="276002"/>
                </a:cubicBezTo>
                <a:cubicBezTo>
                  <a:pt x="3048274" y="284680"/>
                  <a:pt x="3036109" y="306305"/>
                  <a:pt x="3024584" y="302891"/>
                </a:cubicBezTo>
                <a:cubicBezTo>
                  <a:pt x="3029279" y="295351"/>
                  <a:pt x="3034402" y="288948"/>
                  <a:pt x="3037603" y="276998"/>
                </a:cubicBezTo>
                <a:cubicBezTo>
                  <a:pt x="3039737" y="277851"/>
                  <a:pt x="3040805" y="275575"/>
                  <a:pt x="3042725" y="275433"/>
                </a:cubicBezTo>
                <a:close/>
                <a:moveTo>
                  <a:pt x="3262975" y="274579"/>
                </a:moveTo>
                <a:cubicBezTo>
                  <a:pt x="3265749" y="275291"/>
                  <a:pt x="3267670" y="276856"/>
                  <a:pt x="3268950" y="278705"/>
                </a:cubicBezTo>
                <a:cubicBezTo>
                  <a:pt x="3272365" y="284253"/>
                  <a:pt x="3269163" y="292932"/>
                  <a:pt x="3263188" y="294497"/>
                </a:cubicBezTo>
                <a:cubicBezTo>
                  <a:pt x="3260627" y="295208"/>
                  <a:pt x="3257425" y="294639"/>
                  <a:pt x="3254011" y="291652"/>
                </a:cubicBezTo>
                <a:cubicBezTo>
                  <a:pt x="3258706" y="284253"/>
                  <a:pt x="3256572" y="278847"/>
                  <a:pt x="3262975" y="274579"/>
                </a:cubicBezTo>
                <a:close/>
                <a:moveTo>
                  <a:pt x="3120837" y="273868"/>
                </a:moveTo>
                <a:cubicBezTo>
                  <a:pt x="3122544" y="274010"/>
                  <a:pt x="3124465" y="274579"/>
                  <a:pt x="3126172" y="275717"/>
                </a:cubicBezTo>
                <a:cubicBezTo>
                  <a:pt x="3123398" y="281977"/>
                  <a:pt x="3119130" y="284111"/>
                  <a:pt x="3112940" y="284680"/>
                </a:cubicBezTo>
                <a:cubicBezTo>
                  <a:pt x="3112087" y="282688"/>
                  <a:pt x="3114221" y="277994"/>
                  <a:pt x="3115501" y="274721"/>
                </a:cubicBezTo>
                <a:cubicBezTo>
                  <a:pt x="3117209" y="274010"/>
                  <a:pt x="3118916" y="273726"/>
                  <a:pt x="3120837" y="273868"/>
                </a:cubicBezTo>
                <a:close/>
                <a:moveTo>
                  <a:pt x="2541615" y="269600"/>
                </a:moveTo>
                <a:cubicBezTo>
                  <a:pt x="2547378" y="268035"/>
                  <a:pt x="2550793" y="270311"/>
                  <a:pt x="2552500" y="274721"/>
                </a:cubicBezTo>
                <a:cubicBezTo>
                  <a:pt x="2549939" y="281266"/>
                  <a:pt x="2541189" y="281693"/>
                  <a:pt x="2539054" y="276144"/>
                </a:cubicBezTo>
                <a:cubicBezTo>
                  <a:pt x="2539695" y="274437"/>
                  <a:pt x="2539908" y="271734"/>
                  <a:pt x="2541615" y="269600"/>
                </a:cubicBezTo>
                <a:close/>
                <a:moveTo>
                  <a:pt x="2642136" y="266755"/>
                </a:moveTo>
                <a:cubicBezTo>
                  <a:pt x="2651740" y="274294"/>
                  <a:pt x="2650673" y="303602"/>
                  <a:pt x="2637868" y="304455"/>
                </a:cubicBezTo>
                <a:cubicBezTo>
                  <a:pt x="2640642" y="291082"/>
                  <a:pt x="2636161" y="280981"/>
                  <a:pt x="2642136" y="266755"/>
                </a:cubicBezTo>
                <a:close/>
                <a:moveTo>
                  <a:pt x="2944766" y="265332"/>
                </a:moveTo>
                <a:cubicBezTo>
                  <a:pt x="2950955" y="266043"/>
                  <a:pt x="2954156" y="272161"/>
                  <a:pt x="2956290" y="278563"/>
                </a:cubicBezTo>
                <a:cubicBezTo>
                  <a:pt x="2957357" y="281408"/>
                  <a:pt x="2957997" y="284395"/>
                  <a:pt x="2958638" y="287099"/>
                </a:cubicBezTo>
                <a:cubicBezTo>
                  <a:pt x="2960132" y="292363"/>
                  <a:pt x="2961199" y="298338"/>
                  <a:pt x="2959492" y="302037"/>
                </a:cubicBezTo>
                <a:cubicBezTo>
                  <a:pt x="2958851" y="303175"/>
                  <a:pt x="2957784" y="304171"/>
                  <a:pt x="2956504" y="304882"/>
                </a:cubicBezTo>
                <a:cubicBezTo>
                  <a:pt x="2948821" y="308724"/>
                  <a:pt x="2939430" y="302748"/>
                  <a:pt x="2937083" y="292363"/>
                </a:cubicBezTo>
                <a:cubicBezTo>
                  <a:pt x="2932814" y="276286"/>
                  <a:pt x="2937723" y="266328"/>
                  <a:pt x="2937723" y="266328"/>
                </a:cubicBezTo>
                <a:cubicBezTo>
                  <a:pt x="2940497" y="265332"/>
                  <a:pt x="2942845" y="265047"/>
                  <a:pt x="2944766" y="265332"/>
                </a:cubicBezTo>
                <a:close/>
                <a:moveTo>
                  <a:pt x="3001322" y="252243"/>
                </a:moveTo>
                <a:cubicBezTo>
                  <a:pt x="3002602" y="252527"/>
                  <a:pt x="3003669" y="253097"/>
                  <a:pt x="3003669" y="253950"/>
                </a:cubicBezTo>
                <a:cubicBezTo>
                  <a:pt x="3004096" y="256369"/>
                  <a:pt x="3004523" y="258787"/>
                  <a:pt x="3002602" y="260495"/>
                </a:cubicBezTo>
                <a:cubicBezTo>
                  <a:pt x="3002176" y="261063"/>
                  <a:pt x="3001322" y="261348"/>
                  <a:pt x="3000041" y="261775"/>
                </a:cubicBezTo>
                <a:cubicBezTo>
                  <a:pt x="3000041" y="261775"/>
                  <a:pt x="3000041" y="261775"/>
                  <a:pt x="2999188" y="261206"/>
                </a:cubicBezTo>
                <a:cubicBezTo>
                  <a:pt x="2997267" y="259926"/>
                  <a:pt x="2996413" y="259356"/>
                  <a:pt x="2995346" y="258787"/>
                </a:cubicBezTo>
                <a:cubicBezTo>
                  <a:pt x="2995133" y="257080"/>
                  <a:pt x="2995346" y="252812"/>
                  <a:pt x="2996840" y="252385"/>
                </a:cubicBezTo>
                <a:cubicBezTo>
                  <a:pt x="2998334" y="251959"/>
                  <a:pt x="3000041" y="251959"/>
                  <a:pt x="3001322" y="252243"/>
                </a:cubicBezTo>
                <a:close/>
                <a:moveTo>
                  <a:pt x="3128093" y="250251"/>
                </a:moveTo>
                <a:cubicBezTo>
                  <a:pt x="3128947" y="249824"/>
                  <a:pt x="3130014" y="249967"/>
                  <a:pt x="3130654" y="250536"/>
                </a:cubicBezTo>
                <a:cubicBezTo>
                  <a:pt x="3131721" y="251674"/>
                  <a:pt x="3130441" y="252812"/>
                  <a:pt x="3130441" y="253950"/>
                </a:cubicBezTo>
                <a:cubicBezTo>
                  <a:pt x="3128947" y="256369"/>
                  <a:pt x="3120837" y="259641"/>
                  <a:pt x="3119770" y="258503"/>
                </a:cubicBezTo>
                <a:cubicBezTo>
                  <a:pt x="3121690" y="255942"/>
                  <a:pt x="3125105" y="251389"/>
                  <a:pt x="3128093" y="250251"/>
                </a:cubicBezTo>
                <a:close/>
                <a:moveTo>
                  <a:pt x="3086049" y="241858"/>
                </a:moveTo>
                <a:cubicBezTo>
                  <a:pt x="3088184" y="243707"/>
                  <a:pt x="3089464" y="246837"/>
                  <a:pt x="3089891" y="250678"/>
                </a:cubicBezTo>
                <a:cubicBezTo>
                  <a:pt x="3091385" y="262060"/>
                  <a:pt x="3086049" y="278847"/>
                  <a:pt x="3076446" y="279843"/>
                </a:cubicBezTo>
                <a:cubicBezTo>
                  <a:pt x="3081141" y="266328"/>
                  <a:pt x="3077939" y="256369"/>
                  <a:pt x="3086049" y="241858"/>
                </a:cubicBezTo>
                <a:close/>
                <a:moveTo>
                  <a:pt x="2846379" y="240719"/>
                </a:moveTo>
                <a:cubicBezTo>
                  <a:pt x="2854489" y="240008"/>
                  <a:pt x="2857690" y="241715"/>
                  <a:pt x="2858331" y="244133"/>
                </a:cubicBezTo>
                <a:cubicBezTo>
                  <a:pt x="2860678" y="251532"/>
                  <a:pt x="2839123" y="265758"/>
                  <a:pt x="2846379" y="240719"/>
                </a:cubicBezTo>
                <a:close/>
                <a:moveTo>
                  <a:pt x="3178673" y="239866"/>
                </a:moveTo>
                <a:cubicBezTo>
                  <a:pt x="3180168" y="239723"/>
                  <a:pt x="3181448" y="239723"/>
                  <a:pt x="3182942" y="240435"/>
                </a:cubicBezTo>
                <a:cubicBezTo>
                  <a:pt x="3182942" y="240435"/>
                  <a:pt x="3182942" y="240435"/>
                  <a:pt x="3181661" y="240435"/>
                </a:cubicBezTo>
                <a:cubicBezTo>
                  <a:pt x="3181661" y="240435"/>
                  <a:pt x="3182942" y="240435"/>
                  <a:pt x="3182728" y="241573"/>
                </a:cubicBezTo>
                <a:cubicBezTo>
                  <a:pt x="3176753" y="244987"/>
                  <a:pt x="3167576" y="243707"/>
                  <a:pt x="3166295" y="243707"/>
                </a:cubicBezTo>
                <a:cubicBezTo>
                  <a:pt x="3166509" y="242569"/>
                  <a:pt x="3166509" y="242426"/>
                  <a:pt x="3166509" y="242426"/>
                </a:cubicBezTo>
                <a:cubicBezTo>
                  <a:pt x="3169923" y="243423"/>
                  <a:pt x="3174192" y="240435"/>
                  <a:pt x="3178673" y="239866"/>
                </a:cubicBezTo>
                <a:close/>
                <a:moveTo>
                  <a:pt x="3159679" y="239866"/>
                </a:moveTo>
                <a:cubicBezTo>
                  <a:pt x="3159679" y="239866"/>
                  <a:pt x="3159679" y="239866"/>
                  <a:pt x="3160746" y="241146"/>
                </a:cubicBezTo>
                <a:cubicBezTo>
                  <a:pt x="3158398" y="241004"/>
                  <a:pt x="3156905" y="245983"/>
                  <a:pt x="3154770" y="243423"/>
                </a:cubicBezTo>
                <a:cubicBezTo>
                  <a:pt x="3156051" y="242284"/>
                  <a:pt x="3158398" y="241004"/>
                  <a:pt x="3159679" y="239866"/>
                </a:cubicBezTo>
                <a:close/>
                <a:moveTo>
                  <a:pt x="2654088" y="238016"/>
                </a:moveTo>
                <a:cubicBezTo>
                  <a:pt x="2658356" y="237589"/>
                  <a:pt x="2662198" y="238301"/>
                  <a:pt x="2662838" y="241573"/>
                </a:cubicBezTo>
                <a:cubicBezTo>
                  <a:pt x="2663051" y="242426"/>
                  <a:pt x="2662838" y="243565"/>
                  <a:pt x="2662411" y="244987"/>
                </a:cubicBezTo>
                <a:cubicBezTo>
                  <a:pt x="2655155" y="244703"/>
                  <a:pt x="2648325" y="248260"/>
                  <a:pt x="2645124" y="245698"/>
                </a:cubicBezTo>
                <a:cubicBezTo>
                  <a:pt x="2644057" y="244845"/>
                  <a:pt x="2643417" y="243280"/>
                  <a:pt x="2643417" y="240719"/>
                </a:cubicBezTo>
                <a:cubicBezTo>
                  <a:pt x="2645337" y="239723"/>
                  <a:pt x="2649819" y="238301"/>
                  <a:pt x="2654088" y="238016"/>
                </a:cubicBezTo>
                <a:close/>
                <a:moveTo>
                  <a:pt x="2752474" y="228769"/>
                </a:moveTo>
                <a:cubicBezTo>
                  <a:pt x="2755889" y="228911"/>
                  <a:pt x="2758237" y="230191"/>
                  <a:pt x="2760798" y="234032"/>
                </a:cubicBezTo>
                <a:cubicBezTo>
                  <a:pt x="2758664" y="238727"/>
                  <a:pt x="2759731" y="237589"/>
                  <a:pt x="2755462" y="241146"/>
                </a:cubicBezTo>
                <a:cubicBezTo>
                  <a:pt x="2752901" y="238585"/>
                  <a:pt x="2750554" y="236024"/>
                  <a:pt x="2748206" y="233464"/>
                </a:cubicBezTo>
                <a:cubicBezTo>
                  <a:pt x="2750340" y="232325"/>
                  <a:pt x="2751407" y="230049"/>
                  <a:pt x="2752474" y="228769"/>
                </a:cubicBezTo>
                <a:close/>
                <a:moveTo>
                  <a:pt x="3185290" y="227204"/>
                </a:moveTo>
                <a:cubicBezTo>
                  <a:pt x="3186143" y="229622"/>
                  <a:pt x="3186143" y="229622"/>
                  <a:pt x="3184649" y="232041"/>
                </a:cubicBezTo>
                <a:cubicBezTo>
                  <a:pt x="3183582" y="232041"/>
                  <a:pt x="3183369" y="233321"/>
                  <a:pt x="3182302" y="232041"/>
                </a:cubicBezTo>
                <a:cubicBezTo>
                  <a:pt x="3179740" y="235597"/>
                  <a:pt x="3168857" y="239154"/>
                  <a:pt x="3164374" y="237874"/>
                </a:cubicBezTo>
                <a:cubicBezTo>
                  <a:pt x="3173552" y="227061"/>
                  <a:pt x="3179954" y="233179"/>
                  <a:pt x="3185290" y="227204"/>
                </a:cubicBezTo>
                <a:close/>
                <a:moveTo>
                  <a:pt x="3116142" y="226065"/>
                </a:moveTo>
                <a:cubicBezTo>
                  <a:pt x="3117209" y="226635"/>
                  <a:pt x="3117635" y="227204"/>
                  <a:pt x="3117849" y="227773"/>
                </a:cubicBezTo>
                <a:cubicBezTo>
                  <a:pt x="3117849" y="228484"/>
                  <a:pt x="3117635" y="229053"/>
                  <a:pt x="3116995" y="229765"/>
                </a:cubicBezTo>
                <a:cubicBezTo>
                  <a:pt x="3116995" y="229765"/>
                  <a:pt x="3115715" y="230902"/>
                  <a:pt x="3114434" y="232041"/>
                </a:cubicBezTo>
                <a:cubicBezTo>
                  <a:pt x="3113154" y="233179"/>
                  <a:pt x="3112940" y="234459"/>
                  <a:pt x="3112940" y="234459"/>
                </a:cubicBezTo>
                <a:cubicBezTo>
                  <a:pt x="3111446" y="235597"/>
                  <a:pt x="3110379" y="235597"/>
                  <a:pt x="3109312" y="234317"/>
                </a:cubicBezTo>
                <a:cubicBezTo>
                  <a:pt x="3109312" y="234317"/>
                  <a:pt x="3110806" y="231899"/>
                  <a:pt x="3110806" y="231899"/>
                </a:cubicBezTo>
                <a:cubicBezTo>
                  <a:pt x="3113367" y="229622"/>
                  <a:pt x="3114647" y="228484"/>
                  <a:pt x="3116142" y="226065"/>
                </a:cubicBezTo>
                <a:close/>
                <a:moveTo>
                  <a:pt x="2859824" y="219806"/>
                </a:moveTo>
                <a:cubicBezTo>
                  <a:pt x="2861105" y="219806"/>
                  <a:pt x="2862599" y="220233"/>
                  <a:pt x="2863666" y="220801"/>
                </a:cubicBezTo>
                <a:cubicBezTo>
                  <a:pt x="2864733" y="222082"/>
                  <a:pt x="2865160" y="223220"/>
                  <a:pt x="2865160" y="224358"/>
                </a:cubicBezTo>
                <a:cubicBezTo>
                  <a:pt x="2865160" y="225354"/>
                  <a:pt x="2864733" y="226208"/>
                  <a:pt x="2864306" y="226777"/>
                </a:cubicBezTo>
                <a:cubicBezTo>
                  <a:pt x="2855129" y="237305"/>
                  <a:pt x="2845525" y="232467"/>
                  <a:pt x="2842964" y="233606"/>
                </a:cubicBezTo>
                <a:cubicBezTo>
                  <a:pt x="2839977" y="230049"/>
                  <a:pt x="2839977" y="230049"/>
                  <a:pt x="2846379" y="222936"/>
                </a:cubicBezTo>
                <a:cubicBezTo>
                  <a:pt x="2847660" y="221798"/>
                  <a:pt x="2849153" y="220944"/>
                  <a:pt x="2850861" y="220517"/>
                </a:cubicBezTo>
                <a:cubicBezTo>
                  <a:pt x="2852355" y="220090"/>
                  <a:pt x="2854062" y="220090"/>
                  <a:pt x="2855769" y="220801"/>
                </a:cubicBezTo>
                <a:cubicBezTo>
                  <a:pt x="2857050" y="220090"/>
                  <a:pt x="2858331" y="219806"/>
                  <a:pt x="2859824" y="219806"/>
                </a:cubicBezTo>
                <a:close/>
                <a:moveTo>
                  <a:pt x="3110166" y="216391"/>
                </a:moveTo>
                <a:cubicBezTo>
                  <a:pt x="3111233" y="217672"/>
                  <a:pt x="3111233" y="216391"/>
                  <a:pt x="3112300" y="216391"/>
                </a:cubicBezTo>
                <a:cubicBezTo>
                  <a:pt x="3111233" y="217672"/>
                  <a:pt x="3110806" y="221371"/>
                  <a:pt x="3109312" y="223789"/>
                </a:cubicBezTo>
                <a:cubicBezTo>
                  <a:pt x="3108245" y="223789"/>
                  <a:pt x="3106964" y="225070"/>
                  <a:pt x="3105897" y="225070"/>
                </a:cubicBezTo>
                <a:cubicBezTo>
                  <a:pt x="3106111" y="223789"/>
                  <a:pt x="3105257" y="221228"/>
                  <a:pt x="3106324" y="221228"/>
                </a:cubicBezTo>
                <a:cubicBezTo>
                  <a:pt x="3106538" y="220090"/>
                  <a:pt x="3108672" y="220090"/>
                  <a:pt x="3108672" y="220090"/>
                </a:cubicBezTo>
                <a:cubicBezTo>
                  <a:pt x="3108885" y="218810"/>
                  <a:pt x="3108885" y="217672"/>
                  <a:pt x="3110166" y="216391"/>
                </a:cubicBezTo>
                <a:close/>
                <a:moveTo>
                  <a:pt x="2661771" y="215111"/>
                </a:moveTo>
                <a:cubicBezTo>
                  <a:pt x="2663051" y="218383"/>
                  <a:pt x="2662411" y="226350"/>
                  <a:pt x="2657503" y="230191"/>
                </a:cubicBezTo>
                <a:cubicBezTo>
                  <a:pt x="2650460" y="228484"/>
                  <a:pt x="2649819" y="223647"/>
                  <a:pt x="2653448" y="216676"/>
                </a:cubicBezTo>
                <a:cubicBezTo>
                  <a:pt x="2656008" y="216676"/>
                  <a:pt x="2658143" y="215680"/>
                  <a:pt x="2661771" y="215111"/>
                </a:cubicBezTo>
                <a:close/>
                <a:moveTo>
                  <a:pt x="2791743" y="214257"/>
                </a:moveTo>
                <a:cubicBezTo>
                  <a:pt x="2793878" y="213972"/>
                  <a:pt x="2796012" y="213830"/>
                  <a:pt x="2798360" y="214257"/>
                </a:cubicBezTo>
                <a:cubicBezTo>
                  <a:pt x="2801134" y="214684"/>
                  <a:pt x="2803908" y="215538"/>
                  <a:pt x="2806683" y="216960"/>
                </a:cubicBezTo>
                <a:cubicBezTo>
                  <a:pt x="2807536" y="223078"/>
                  <a:pt x="2806256" y="229338"/>
                  <a:pt x="2803481" y="235313"/>
                </a:cubicBezTo>
                <a:cubicBezTo>
                  <a:pt x="2795585" y="253097"/>
                  <a:pt x="2775737" y="266612"/>
                  <a:pt x="2764426" y="253950"/>
                </a:cubicBezTo>
                <a:cubicBezTo>
                  <a:pt x="2762292" y="251532"/>
                  <a:pt x="2760584" y="248117"/>
                  <a:pt x="2759090" y="243565"/>
                </a:cubicBezTo>
                <a:cubicBezTo>
                  <a:pt x="2766987" y="233748"/>
                  <a:pt x="2777018" y="216534"/>
                  <a:pt x="2791743" y="214257"/>
                </a:cubicBezTo>
                <a:close/>
                <a:moveTo>
                  <a:pt x="3128947" y="209989"/>
                </a:moveTo>
                <a:cubicBezTo>
                  <a:pt x="3129801" y="209989"/>
                  <a:pt x="3130654" y="210274"/>
                  <a:pt x="3131508" y="210843"/>
                </a:cubicBezTo>
                <a:cubicBezTo>
                  <a:pt x="3133642" y="212123"/>
                  <a:pt x="3132361" y="214399"/>
                  <a:pt x="3129801" y="216818"/>
                </a:cubicBezTo>
                <a:cubicBezTo>
                  <a:pt x="3125745" y="222793"/>
                  <a:pt x="3122117" y="223931"/>
                  <a:pt x="3119130" y="220233"/>
                </a:cubicBezTo>
                <a:cubicBezTo>
                  <a:pt x="3119130" y="219094"/>
                  <a:pt x="3120837" y="215538"/>
                  <a:pt x="3119556" y="215538"/>
                </a:cubicBezTo>
                <a:cubicBezTo>
                  <a:pt x="3122544" y="212834"/>
                  <a:pt x="3125959" y="210132"/>
                  <a:pt x="3128947" y="209989"/>
                </a:cubicBezTo>
                <a:close/>
                <a:moveTo>
                  <a:pt x="3318890" y="200315"/>
                </a:moveTo>
                <a:cubicBezTo>
                  <a:pt x="3319958" y="200315"/>
                  <a:pt x="3321238" y="200741"/>
                  <a:pt x="3322091" y="201311"/>
                </a:cubicBezTo>
                <a:cubicBezTo>
                  <a:pt x="3324439" y="209989"/>
                  <a:pt x="3314408" y="211412"/>
                  <a:pt x="3311420" y="207998"/>
                </a:cubicBezTo>
                <a:cubicBezTo>
                  <a:pt x="3311420" y="203445"/>
                  <a:pt x="3315263" y="200457"/>
                  <a:pt x="3318890" y="200315"/>
                </a:cubicBezTo>
                <a:close/>
                <a:moveTo>
                  <a:pt x="3236083" y="190925"/>
                </a:moveTo>
                <a:cubicBezTo>
                  <a:pt x="3236083" y="192205"/>
                  <a:pt x="3235870" y="193344"/>
                  <a:pt x="3236937" y="193344"/>
                </a:cubicBezTo>
                <a:cubicBezTo>
                  <a:pt x="3234590" y="195762"/>
                  <a:pt x="3233309" y="195620"/>
                  <a:pt x="3232028" y="196758"/>
                </a:cubicBezTo>
                <a:cubicBezTo>
                  <a:pt x="3233309" y="196900"/>
                  <a:pt x="3232028" y="198039"/>
                  <a:pt x="3232028" y="198039"/>
                </a:cubicBezTo>
                <a:cubicBezTo>
                  <a:pt x="3232028" y="198039"/>
                  <a:pt x="3232028" y="198039"/>
                  <a:pt x="3233949" y="200457"/>
                </a:cubicBezTo>
                <a:cubicBezTo>
                  <a:pt x="3233949" y="200457"/>
                  <a:pt x="3238004" y="206433"/>
                  <a:pt x="3232669" y="212407"/>
                </a:cubicBezTo>
                <a:cubicBezTo>
                  <a:pt x="3231815" y="211127"/>
                  <a:pt x="3224132" y="218241"/>
                  <a:pt x="3219650" y="215822"/>
                </a:cubicBezTo>
                <a:cubicBezTo>
                  <a:pt x="3217516" y="214542"/>
                  <a:pt x="3216449" y="213404"/>
                  <a:pt x="3214315" y="212123"/>
                </a:cubicBezTo>
                <a:cubicBezTo>
                  <a:pt x="3214741" y="208566"/>
                  <a:pt x="3211540" y="204868"/>
                  <a:pt x="3216876" y="197754"/>
                </a:cubicBezTo>
                <a:cubicBezTo>
                  <a:pt x="3223278" y="190783"/>
                  <a:pt x="3229681" y="196900"/>
                  <a:pt x="3229894" y="195620"/>
                </a:cubicBezTo>
                <a:cubicBezTo>
                  <a:pt x="3231175" y="194482"/>
                  <a:pt x="3231175" y="194482"/>
                  <a:pt x="3231175" y="193202"/>
                </a:cubicBezTo>
                <a:cubicBezTo>
                  <a:pt x="3232455" y="193344"/>
                  <a:pt x="3234803" y="192063"/>
                  <a:pt x="3236083" y="190925"/>
                </a:cubicBezTo>
                <a:close/>
                <a:moveTo>
                  <a:pt x="2708510" y="177125"/>
                </a:moveTo>
                <a:cubicBezTo>
                  <a:pt x="2709577" y="176983"/>
                  <a:pt x="2710644" y="177125"/>
                  <a:pt x="2711285" y="177694"/>
                </a:cubicBezTo>
                <a:cubicBezTo>
                  <a:pt x="2711711" y="177979"/>
                  <a:pt x="2711925" y="178406"/>
                  <a:pt x="2711925" y="178974"/>
                </a:cubicBezTo>
                <a:cubicBezTo>
                  <a:pt x="2711711" y="180539"/>
                  <a:pt x="2709577" y="182816"/>
                  <a:pt x="2709363" y="183669"/>
                </a:cubicBezTo>
                <a:cubicBezTo>
                  <a:pt x="2708083" y="184808"/>
                  <a:pt x="2706802" y="186088"/>
                  <a:pt x="2705949" y="184808"/>
                </a:cubicBezTo>
                <a:cubicBezTo>
                  <a:pt x="2704882" y="183669"/>
                  <a:pt x="2703814" y="183527"/>
                  <a:pt x="2705095" y="181109"/>
                </a:cubicBezTo>
                <a:cubicBezTo>
                  <a:pt x="2705309" y="179971"/>
                  <a:pt x="2706589" y="178832"/>
                  <a:pt x="2706589" y="177552"/>
                </a:cubicBezTo>
                <a:cubicBezTo>
                  <a:pt x="2706589" y="177552"/>
                  <a:pt x="2707442" y="177267"/>
                  <a:pt x="2708510" y="177125"/>
                </a:cubicBezTo>
                <a:close/>
                <a:moveTo>
                  <a:pt x="2804549" y="167166"/>
                </a:moveTo>
                <a:cubicBezTo>
                  <a:pt x="2806896" y="172145"/>
                  <a:pt x="2806683" y="176983"/>
                  <a:pt x="2804976" y="181393"/>
                </a:cubicBezTo>
                <a:cubicBezTo>
                  <a:pt x="2800707" y="191494"/>
                  <a:pt x="2788115" y="199604"/>
                  <a:pt x="2777444" y="203871"/>
                </a:cubicBezTo>
                <a:lnTo>
                  <a:pt x="2767627" y="206859"/>
                </a:lnTo>
                <a:lnTo>
                  <a:pt x="2768267" y="208424"/>
                </a:lnTo>
                <a:cubicBezTo>
                  <a:pt x="2768481" y="209705"/>
                  <a:pt x="2768481" y="211270"/>
                  <a:pt x="2767840" y="211839"/>
                </a:cubicBezTo>
                <a:cubicBezTo>
                  <a:pt x="2765066" y="215395"/>
                  <a:pt x="2761865" y="212977"/>
                  <a:pt x="2757597" y="211697"/>
                </a:cubicBezTo>
                <a:cubicBezTo>
                  <a:pt x="2758877" y="210416"/>
                  <a:pt x="2757810" y="209278"/>
                  <a:pt x="2756743" y="207998"/>
                </a:cubicBezTo>
                <a:cubicBezTo>
                  <a:pt x="2758664" y="206290"/>
                  <a:pt x="2761225" y="203160"/>
                  <a:pt x="2764212" y="203729"/>
                </a:cubicBezTo>
                <a:lnTo>
                  <a:pt x="2766987" y="205721"/>
                </a:lnTo>
                <a:lnTo>
                  <a:pt x="2764212" y="200315"/>
                </a:lnTo>
                <a:cubicBezTo>
                  <a:pt x="2763785" y="198039"/>
                  <a:pt x="2764212" y="195904"/>
                  <a:pt x="2765066" y="193628"/>
                </a:cubicBezTo>
                <a:cubicBezTo>
                  <a:pt x="2769975" y="180255"/>
                  <a:pt x="2793878" y="167451"/>
                  <a:pt x="2804549" y="167166"/>
                </a:cubicBezTo>
                <a:close/>
                <a:moveTo>
                  <a:pt x="3092025" y="163894"/>
                </a:moveTo>
                <a:cubicBezTo>
                  <a:pt x="3092665" y="164321"/>
                  <a:pt x="3093519" y="165317"/>
                  <a:pt x="3094586" y="165886"/>
                </a:cubicBezTo>
                <a:lnTo>
                  <a:pt x="3090745" y="169300"/>
                </a:lnTo>
                <a:cubicBezTo>
                  <a:pt x="3089677" y="168162"/>
                  <a:pt x="3088824" y="165743"/>
                  <a:pt x="3090104" y="164606"/>
                </a:cubicBezTo>
                <a:cubicBezTo>
                  <a:pt x="3090745" y="163467"/>
                  <a:pt x="3091172" y="163467"/>
                  <a:pt x="3092025" y="163894"/>
                </a:cubicBezTo>
                <a:close/>
                <a:moveTo>
                  <a:pt x="3078580" y="163325"/>
                </a:moveTo>
                <a:cubicBezTo>
                  <a:pt x="3080287" y="164606"/>
                  <a:pt x="3081568" y="166170"/>
                  <a:pt x="3081994" y="167735"/>
                </a:cubicBezTo>
                <a:cubicBezTo>
                  <a:pt x="3082421" y="169443"/>
                  <a:pt x="3081781" y="171150"/>
                  <a:pt x="3079860" y="172857"/>
                </a:cubicBezTo>
                <a:cubicBezTo>
                  <a:pt x="3078793" y="173995"/>
                  <a:pt x="3077513" y="175276"/>
                  <a:pt x="3077513" y="173995"/>
                </a:cubicBezTo>
                <a:cubicBezTo>
                  <a:pt x="3076446" y="173995"/>
                  <a:pt x="3076446" y="172857"/>
                  <a:pt x="3075592" y="171719"/>
                </a:cubicBezTo>
                <a:cubicBezTo>
                  <a:pt x="3074525" y="169300"/>
                  <a:pt x="3074951" y="165743"/>
                  <a:pt x="3076232" y="164606"/>
                </a:cubicBezTo>
                <a:cubicBezTo>
                  <a:pt x="3077513" y="163325"/>
                  <a:pt x="3078580" y="163325"/>
                  <a:pt x="3078580" y="163325"/>
                </a:cubicBezTo>
                <a:close/>
                <a:moveTo>
                  <a:pt x="3098641" y="153224"/>
                </a:moveTo>
                <a:cubicBezTo>
                  <a:pt x="3100348" y="153082"/>
                  <a:pt x="3102483" y="153508"/>
                  <a:pt x="3104617" y="155358"/>
                </a:cubicBezTo>
                <a:cubicBezTo>
                  <a:pt x="3105257" y="155927"/>
                  <a:pt x="3105897" y="157065"/>
                  <a:pt x="3106324" y="158204"/>
                </a:cubicBezTo>
                <a:cubicBezTo>
                  <a:pt x="3106751" y="159199"/>
                  <a:pt x="3106964" y="160053"/>
                  <a:pt x="3106538" y="160053"/>
                </a:cubicBezTo>
                <a:cubicBezTo>
                  <a:pt x="3105257" y="161333"/>
                  <a:pt x="3106324" y="161333"/>
                  <a:pt x="3106324" y="162471"/>
                </a:cubicBezTo>
                <a:cubicBezTo>
                  <a:pt x="3102483" y="166028"/>
                  <a:pt x="3098855" y="167308"/>
                  <a:pt x="3095867" y="164748"/>
                </a:cubicBezTo>
                <a:cubicBezTo>
                  <a:pt x="3093732" y="162329"/>
                  <a:pt x="3090745" y="158630"/>
                  <a:pt x="3093305" y="155073"/>
                </a:cubicBezTo>
                <a:cubicBezTo>
                  <a:pt x="3094373" y="155073"/>
                  <a:pt x="3094586" y="153793"/>
                  <a:pt x="3095653" y="153935"/>
                </a:cubicBezTo>
                <a:cubicBezTo>
                  <a:pt x="3095653" y="153935"/>
                  <a:pt x="3096934" y="153224"/>
                  <a:pt x="3098641" y="153224"/>
                </a:cubicBezTo>
                <a:close/>
                <a:moveTo>
                  <a:pt x="2736468" y="150094"/>
                </a:moveTo>
                <a:cubicBezTo>
                  <a:pt x="2737108" y="149952"/>
                  <a:pt x="2737962" y="150236"/>
                  <a:pt x="2738815" y="151090"/>
                </a:cubicBezTo>
                <a:cubicBezTo>
                  <a:pt x="2739669" y="153366"/>
                  <a:pt x="2739455" y="156069"/>
                  <a:pt x="2737108" y="159768"/>
                </a:cubicBezTo>
                <a:cubicBezTo>
                  <a:pt x="2730919" y="160337"/>
                  <a:pt x="2730705" y="156496"/>
                  <a:pt x="2730492" y="152655"/>
                </a:cubicBezTo>
                <a:cubicBezTo>
                  <a:pt x="2733480" y="153224"/>
                  <a:pt x="2734547" y="150236"/>
                  <a:pt x="2736468" y="150094"/>
                </a:cubicBezTo>
                <a:close/>
                <a:moveTo>
                  <a:pt x="2384112" y="149240"/>
                </a:moveTo>
                <a:cubicBezTo>
                  <a:pt x="2382191" y="158346"/>
                  <a:pt x="2381124" y="171292"/>
                  <a:pt x="2378136" y="182673"/>
                </a:cubicBezTo>
                <a:cubicBezTo>
                  <a:pt x="2375148" y="194055"/>
                  <a:pt x="2370026" y="204014"/>
                  <a:pt x="2359782" y="206859"/>
                </a:cubicBezTo>
                <a:cubicBezTo>
                  <a:pt x="2353380" y="197754"/>
                  <a:pt x="2352952" y="184950"/>
                  <a:pt x="2357434" y="173568"/>
                </a:cubicBezTo>
                <a:cubicBezTo>
                  <a:pt x="2361916" y="162329"/>
                  <a:pt x="2371093" y="152512"/>
                  <a:pt x="2384112" y="149240"/>
                </a:cubicBezTo>
                <a:close/>
                <a:moveTo>
                  <a:pt x="3025651" y="136009"/>
                </a:moveTo>
                <a:cubicBezTo>
                  <a:pt x="3027999" y="135582"/>
                  <a:pt x="3030774" y="135867"/>
                  <a:pt x="3033548" y="137574"/>
                </a:cubicBezTo>
                <a:cubicBezTo>
                  <a:pt x="3034188" y="150236"/>
                  <a:pt x="3017968" y="165459"/>
                  <a:pt x="3010925" y="156496"/>
                </a:cubicBezTo>
                <a:cubicBezTo>
                  <a:pt x="3010072" y="155216"/>
                  <a:pt x="3009218" y="153366"/>
                  <a:pt x="3008578" y="150948"/>
                </a:cubicBezTo>
                <a:cubicBezTo>
                  <a:pt x="3012846" y="145968"/>
                  <a:pt x="3018395" y="137432"/>
                  <a:pt x="3025651" y="136009"/>
                </a:cubicBezTo>
                <a:close/>
                <a:moveTo>
                  <a:pt x="2919369" y="136009"/>
                </a:moveTo>
                <a:cubicBezTo>
                  <a:pt x="2921503" y="136152"/>
                  <a:pt x="2923850" y="137005"/>
                  <a:pt x="2926198" y="139139"/>
                </a:cubicBezTo>
                <a:cubicBezTo>
                  <a:pt x="2927479" y="140277"/>
                  <a:pt x="2928759" y="141700"/>
                  <a:pt x="2929826" y="143265"/>
                </a:cubicBezTo>
                <a:cubicBezTo>
                  <a:pt x="2932814" y="147818"/>
                  <a:pt x="2933241" y="153650"/>
                  <a:pt x="2926412" y="160764"/>
                </a:cubicBezTo>
                <a:cubicBezTo>
                  <a:pt x="2925131" y="163041"/>
                  <a:pt x="2925131" y="161902"/>
                  <a:pt x="2923850" y="163041"/>
                </a:cubicBezTo>
                <a:cubicBezTo>
                  <a:pt x="2922570" y="164178"/>
                  <a:pt x="2921289" y="166597"/>
                  <a:pt x="2921076" y="167735"/>
                </a:cubicBezTo>
                <a:cubicBezTo>
                  <a:pt x="2916808" y="164036"/>
                  <a:pt x="2914246" y="167735"/>
                  <a:pt x="2907844" y="161618"/>
                </a:cubicBezTo>
                <a:cubicBezTo>
                  <a:pt x="2899307" y="154220"/>
                  <a:pt x="2902508" y="145826"/>
                  <a:pt x="2906350" y="141131"/>
                </a:cubicBezTo>
                <a:cubicBezTo>
                  <a:pt x="2907203" y="142127"/>
                  <a:pt x="2912539" y="135725"/>
                  <a:pt x="2919369" y="136009"/>
                </a:cubicBezTo>
                <a:close/>
                <a:moveTo>
                  <a:pt x="2941137" y="128753"/>
                </a:moveTo>
                <a:cubicBezTo>
                  <a:pt x="2943271" y="130603"/>
                  <a:pt x="2944552" y="132168"/>
                  <a:pt x="2945192" y="133591"/>
                </a:cubicBezTo>
                <a:cubicBezTo>
                  <a:pt x="2947540" y="137432"/>
                  <a:pt x="2944766" y="139709"/>
                  <a:pt x="2941991" y="143265"/>
                </a:cubicBezTo>
                <a:cubicBezTo>
                  <a:pt x="2939643" y="141984"/>
                  <a:pt x="2936228" y="143123"/>
                  <a:pt x="2934095" y="140704"/>
                </a:cubicBezTo>
                <a:cubicBezTo>
                  <a:pt x="2934095" y="140704"/>
                  <a:pt x="2933028" y="139424"/>
                  <a:pt x="2933454" y="137147"/>
                </a:cubicBezTo>
                <a:cubicBezTo>
                  <a:pt x="2931533" y="133448"/>
                  <a:pt x="2935162" y="129892"/>
                  <a:pt x="2935162" y="129892"/>
                </a:cubicBezTo>
                <a:cubicBezTo>
                  <a:pt x="2935162" y="129892"/>
                  <a:pt x="2935162" y="129892"/>
                  <a:pt x="2934095" y="129892"/>
                </a:cubicBezTo>
                <a:cubicBezTo>
                  <a:pt x="2936442" y="129892"/>
                  <a:pt x="2938790" y="128753"/>
                  <a:pt x="2941137" y="128753"/>
                </a:cubicBezTo>
                <a:close/>
                <a:moveTo>
                  <a:pt x="2172826" y="104710"/>
                </a:moveTo>
                <a:cubicBezTo>
                  <a:pt x="2181790" y="105991"/>
                  <a:pt x="2190540" y="111539"/>
                  <a:pt x="2191394" y="119079"/>
                </a:cubicBezTo>
                <a:cubicBezTo>
                  <a:pt x="2191607" y="121214"/>
                  <a:pt x="2191394" y="123347"/>
                  <a:pt x="2190540" y="125624"/>
                </a:cubicBezTo>
                <a:cubicBezTo>
                  <a:pt x="2187552" y="132453"/>
                  <a:pt x="2178375" y="140277"/>
                  <a:pt x="2159594" y="147818"/>
                </a:cubicBezTo>
                <a:cubicBezTo>
                  <a:pt x="2148923" y="128611"/>
                  <a:pt x="2149350" y="116803"/>
                  <a:pt x="2154472" y="110543"/>
                </a:cubicBezTo>
                <a:cubicBezTo>
                  <a:pt x="2156820" y="107556"/>
                  <a:pt x="2160235" y="105706"/>
                  <a:pt x="2163863" y="104852"/>
                </a:cubicBezTo>
                <a:cubicBezTo>
                  <a:pt x="2166850" y="104284"/>
                  <a:pt x="2169838" y="104284"/>
                  <a:pt x="2172826" y="104710"/>
                </a:cubicBezTo>
                <a:close/>
                <a:moveTo>
                  <a:pt x="3040805" y="89914"/>
                </a:moveTo>
                <a:cubicBezTo>
                  <a:pt x="3042085" y="90056"/>
                  <a:pt x="3043152" y="90910"/>
                  <a:pt x="3044219" y="92190"/>
                </a:cubicBezTo>
                <a:cubicBezTo>
                  <a:pt x="3046140" y="94609"/>
                  <a:pt x="3044859" y="97027"/>
                  <a:pt x="3044859" y="97027"/>
                </a:cubicBezTo>
                <a:cubicBezTo>
                  <a:pt x="3042085" y="100584"/>
                  <a:pt x="3038457" y="101580"/>
                  <a:pt x="3035255" y="99162"/>
                </a:cubicBezTo>
                <a:cubicBezTo>
                  <a:pt x="3034402" y="96743"/>
                  <a:pt x="3035896" y="94467"/>
                  <a:pt x="3037176" y="92048"/>
                </a:cubicBezTo>
                <a:cubicBezTo>
                  <a:pt x="3038457" y="90341"/>
                  <a:pt x="3039737" y="89772"/>
                  <a:pt x="3040805" y="89914"/>
                </a:cubicBezTo>
                <a:close/>
                <a:moveTo>
                  <a:pt x="2603080" y="70708"/>
                </a:moveTo>
                <a:cubicBezTo>
                  <a:pt x="2607776" y="74549"/>
                  <a:pt x="2610550" y="77822"/>
                  <a:pt x="2612471" y="81094"/>
                </a:cubicBezTo>
                <a:cubicBezTo>
                  <a:pt x="2614178" y="84508"/>
                  <a:pt x="2614819" y="87780"/>
                  <a:pt x="2614819" y="91337"/>
                </a:cubicBezTo>
                <a:cubicBezTo>
                  <a:pt x="2605428" y="98308"/>
                  <a:pt x="2595397" y="100015"/>
                  <a:pt x="2587074" y="90056"/>
                </a:cubicBezTo>
                <a:cubicBezTo>
                  <a:pt x="2589208" y="83370"/>
                  <a:pt x="2593690" y="77537"/>
                  <a:pt x="2603080" y="70708"/>
                </a:cubicBezTo>
                <a:close/>
                <a:moveTo>
                  <a:pt x="2933881" y="55343"/>
                </a:moveTo>
                <a:cubicBezTo>
                  <a:pt x="2934095" y="55627"/>
                  <a:pt x="2934521" y="56197"/>
                  <a:pt x="2935588" y="56765"/>
                </a:cubicBezTo>
                <a:cubicBezTo>
                  <a:pt x="2936228" y="57335"/>
                  <a:pt x="2936656" y="57619"/>
                  <a:pt x="2936869" y="57904"/>
                </a:cubicBezTo>
                <a:cubicBezTo>
                  <a:pt x="2937083" y="58188"/>
                  <a:pt x="2937083" y="58473"/>
                  <a:pt x="2936656" y="59042"/>
                </a:cubicBezTo>
                <a:cubicBezTo>
                  <a:pt x="2935375" y="60180"/>
                  <a:pt x="2935375" y="60180"/>
                  <a:pt x="2931960" y="60038"/>
                </a:cubicBezTo>
                <a:cubicBezTo>
                  <a:pt x="2933241" y="59042"/>
                  <a:pt x="2933241" y="59042"/>
                  <a:pt x="2932174" y="57904"/>
                </a:cubicBezTo>
                <a:cubicBezTo>
                  <a:pt x="2932174" y="57904"/>
                  <a:pt x="2932174" y="57904"/>
                  <a:pt x="2931107" y="57904"/>
                </a:cubicBezTo>
                <a:cubicBezTo>
                  <a:pt x="2931320" y="56765"/>
                  <a:pt x="2932387" y="56623"/>
                  <a:pt x="2932387" y="55627"/>
                </a:cubicBezTo>
                <a:cubicBezTo>
                  <a:pt x="2932387" y="55627"/>
                  <a:pt x="2933454" y="55627"/>
                  <a:pt x="2933454" y="55627"/>
                </a:cubicBezTo>
                <a:cubicBezTo>
                  <a:pt x="2933668" y="55058"/>
                  <a:pt x="2933668" y="55058"/>
                  <a:pt x="2933881" y="55343"/>
                </a:cubicBezTo>
                <a:close/>
                <a:moveTo>
                  <a:pt x="2177308" y="0"/>
                </a:moveTo>
                <a:lnTo>
                  <a:pt x="2184137" y="14085"/>
                </a:lnTo>
                <a:cubicBezTo>
                  <a:pt x="2185632" y="20914"/>
                  <a:pt x="2184564" y="27601"/>
                  <a:pt x="2181790" y="34145"/>
                </a:cubicBezTo>
                <a:cubicBezTo>
                  <a:pt x="2178802" y="40689"/>
                  <a:pt x="2174107" y="47091"/>
                  <a:pt x="2168345" y="53635"/>
                </a:cubicBezTo>
                <a:cubicBezTo>
                  <a:pt x="2158527" y="44388"/>
                  <a:pt x="2155753" y="35568"/>
                  <a:pt x="2157887" y="26747"/>
                </a:cubicBezTo>
                <a:cubicBezTo>
                  <a:pt x="2158954" y="22337"/>
                  <a:pt x="2161088" y="17926"/>
                  <a:pt x="2164503" y="1351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7327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10C3767-0CFA-4915-8430-77E81CFA3D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7809" y="918429"/>
            <a:ext cx="6785952" cy="5217112"/>
          </a:xfrm>
          <a:custGeom>
            <a:avLst/>
            <a:gdLst>
              <a:gd name="connsiteX0" fmla="*/ 5308903 w 6785952"/>
              <a:gd name="connsiteY0" fmla="*/ 5195199 h 5217112"/>
              <a:gd name="connsiteX1" fmla="*/ 5315816 w 6785952"/>
              <a:gd name="connsiteY1" fmla="*/ 5201839 h 5217112"/>
              <a:gd name="connsiteX2" fmla="*/ 5307099 w 6785952"/>
              <a:gd name="connsiteY2" fmla="*/ 5208148 h 5217112"/>
              <a:gd name="connsiteX3" fmla="*/ 5304994 w 6785952"/>
              <a:gd name="connsiteY3" fmla="*/ 5196859 h 5217112"/>
              <a:gd name="connsiteX4" fmla="*/ 5308903 w 6785952"/>
              <a:gd name="connsiteY4" fmla="*/ 5195199 h 5217112"/>
              <a:gd name="connsiteX5" fmla="*/ 4053234 w 6785952"/>
              <a:gd name="connsiteY5" fmla="*/ 5195199 h 5217112"/>
              <a:gd name="connsiteX6" fmla="*/ 4060449 w 6785952"/>
              <a:gd name="connsiteY6" fmla="*/ 5201839 h 5217112"/>
              <a:gd name="connsiteX7" fmla="*/ 4051731 w 6785952"/>
              <a:gd name="connsiteY7" fmla="*/ 5208148 h 5217112"/>
              <a:gd name="connsiteX8" fmla="*/ 4049326 w 6785952"/>
              <a:gd name="connsiteY8" fmla="*/ 5196859 h 5217112"/>
              <a:gd name="connsiteX9" fmla="*/ 4053234 w 6785952"/>
              <a:gd name="connsiteY9" fmla="*/ 5195199 h 5217112"/>
              <a:gd name="connsiteX10" fmla="*/ 2544147 w 6785952"/>
              <a:gd name="connsiteY10" fmla="*/ 5195199 h 5217112"/>
              <a:gd name="connsiteX11" fmla="*/ 2551362 w 6785952"/>
              <a:gd name="connsiteY11" fmla="*/ 5201839 h 5217112"/>
              <a:gd name="connsiteX12" fmla="*/ 2542645 w 6785952"/>
              <a:gd name="connsiteY12" fmla="*/ 5208148 h 5217112"/>
              <a:gd name="connsiteX13" fmla="*/ 2540240 w 6785952"/>
              <a:gd name="connsiteY13" fmla="*/ 5196859 h 5217112"/>
              <a:gd name="connsiteX14" fmla="*/ 2544147 w 6785952"/>
              <a:gd name="connsiteY14" fmla="*/ 5195199 h 5217112"/>
              <a:gd name="connsiteX15" fmla="*/ 1515143 w 6785952"/>
              <a:gd name="connsiteY15" fmla="*/ 5195199 h 5217112"/>
              <a:gd name="connsiteX16" fmla="*/ 1522358 w 6785952"/>
              <a:gd name="connsiteY16" fmla="*/ 5201839 h 5217112"/>
              <a:gd name="connsiteX17" fmla="*/ 1513340 w 6785952"/>
              <a:gd name="connsiteY17" fmla="*/ 5208148 h 5217112"/>
              <a:gd name="connsiteX18" fmla="*/ 1511235 w 6785952"/>
              <a:gd name="connsiteY18" fmla="*/ 5196859 h 5217112"/>
              <a:gd name="connsiteX19" fmla="*/ 1515143 w 6785952"/>
              <a:gd name="connsiteY19" fmla="*/ 5195199 h 5217112"/>
              <a:gd name="connsiteX20" fmla="*/ 3910142 w 6785952"/>
              <a:gd name="connsiteY20" fmla="*/ 5181919 h 5217112"/>
              <a:gd name="connsiteX21" fmla="*/ 3914049 w 6785952"/>
              <a:gd name="connsiteY21" fmla="*/ 5203168 h 5217112"/>
              <a:gd name="connsiteX22" fmla="*/ 3899320 w 6785952"/>
              <a:gd name="connsiteY22" fmla="*/ 5217112 h 5217112"/>
              <a:gd name="connsiteX23" fmla="*/ 3910142 w 6785952"/>
              <a:gd name="connsiteY23" fmla="*/ 5181919 h 5217112"/>
              <a:gd name="connsiteX24" fmla="*/ 5469131 w 6785952"/>
              <a:gd name="connsiteY24" fmla="*/ 5118172 h 5217112"/>
              <a:gd name="connsiteX25" fmla="*/ 5473940 w 6785952"/>
              <a:gd name="connsiteY25" fmla="*/ 5128243 h 5217112"/>
              <a:gd name="connsiteX26" fmla="*/ 5473038 w 6785952"/>
              <a:gd name="connsiteY26" fmla="*/ 5135990 h 5217112"/>
              <a:gd name="connsiteX27" fmla="*/ 5469131 w 6785952"/>
              <a:gd name="connsiteY27" fmla="*/ 5118172 h 5217112"/>
              <a:gd name="connsiteX28" fmla="*/ 4213763 w 6785952"/>
              <a:gd name="connsiteY28" fmla="*/ 5118172 h 5217112"/>
              <a:gd name="connsiteX29" fmla="*/ 4218271 w 6785952"/>
              <a:gd name="connsiteY29" fmla="*/ 5128243 h 5217112"/>
              <a:gd name="connsiteX30" fmla="*/ 4217670 w 6785952"/>
              <a:gd name="connsiteY30" fmla="*/ 5135990 h 5217112"/>
              <a:gd name="connsiteX31" fmla="*/ 4213763 w 6785952"/>
              <a:gd name="connsiteY31" fmla="*/ 5118172 h 5217112"/>
              <a:gd name="connsiteX32" fmla="*/ 2704676 w 6785952"/>
              <a:gd name="connsiteY32" fmla="*/ 5118172 h 5217112"/>
              <a:gd name="connsiteX33" fmla="*/ 2709186 w 6785952"/>
              <a:gd name="connsiteY33" fmla="*/ 5128243 h 5217112"/>
              <a:gd name="connsiteX34" fmla="*/ 2708583 w 6785952"/>
              <a:gd name="connsiteY34" fmla="*/ 5135990 h 5217112"/>
              <a:gd name="connsiteX35" fmla="*/ 2704676 w 6785952"/>
              <a:gd name="connsiteY35" fmla="*/ 5118172 h 5217112"/>
              <a:gd name="connsiteX36" fmla="*/ 1675671 w 6785952"/>
              <a:gd name="connsiteY36" fmla="*/ 5118172 h 5217112"/>
              <a:gd name="connsiteX37" fmla="*/ 1680181 w 6785952"/>
              <a:gd name="connsiteY37" fmla="*/ 5128243 h 5217112"/>
              <a:gd name="connsiteX38" fmla="*/ 1679580 w 6785952"/>
              <a:gd name="connsiteY38" fmla="*/ 5135990 h 5217112"/>
              <a:gd name="connsiteX39" fmla="*/ 1675671 w 6785952"/>
              <a:gd name="connsiteY39" fmla="*/ 5118172 h 5217112"/>
              <a:gd name="connsiteX40" fmla="*/ 4897060 w 6785952"/>
              <a:gd name="connsiteY40" fmla="*/ 5110093 h 5217112"/>
              <a:gd name="connsiteX41" fmla="*/ 4900667 w 6785952"/>
              <a:gd name="connsiteY41" fmla="*/ 5122377 h 5217112"/>
              <a:gd name="connsiteX42" fmla="*/ 4891950 w 6785952"/>
              <a:gd name="connsiteY42" fmla="*/ 5125476 h 5217112"/>
              <a:gd name="connsiteX43" fmla="*/ 4885336 w 6785952"/>
              <a:gd name="connsiteY43" fmla="*/ 5115405 h 5217112"/>
              <a:gd name="connsiteX44" fmla="*/ 4897060 w 6785952"/>
              <a:gd name="connsiteY44" fmla="*/ 5110093 h 5217112"/>
              <a:gd name="connsiteX45" fmla="*/ 3641693 w 6785952"/>
              <a:gd name="connsiteY45" fmla="*/ 5110093 h 5217112"/>
              <a:gd name="connsiteX46" fmla="*/ 3644999 w 6785952"/>
              <a:gd name="connsiteY46" fmla="*/ 5122377 h 5217112"/>
              <a:gd name="connsiteX47" fmla="*/ 3636281 w 6785952"/>
              <a:gd name="connsiteY47" fmla="*/ 5125476 h 5217112"/>
              <a:gd name="connsiteX48" fmla="*/ 3629969 w 6785952"/>
              <a:gd name="connsiteY48" fmla="*/ 5115405 h 5217112"/>
              <a:gd name="connsiteX49" fmla="*/ 3641693 w 6785952"/>
              <a:gd name="connsiteY49" fmla="*/ 5110093 h 5217112"/>
              <a:gd name="connsiteX50" fmla="*/ 2132606 w 6785952"/>
              <a:gd name="connsiteY50" fmla="*/ 5110093 h 5217112"/>
              <a:gd name="connsiteX51" fmla="*/ 2135913 w 6785952"/>
              <a:gd name="connsiteY51" fmla="*/ 5122377 h 5217112"/>
              <a:gd name="connsiteX52" fmla="*/ 2127195 w 6785952"/>
              <a:gd name="connsiteY52" fmla="*/ 5125476 h 5217112"/>
              <a:gd name="connsiteX53" fmla="*/ 2120882 w 6785952"/>
              <a:gd name="connsiteY53" fmla="*/ 5115405 h 5217112"/>
              <a:gd name="connsiteX54" fmla="*/ 2132606 w 6785952"/>
              <a:gd name="connsiteY54" fmla="*/ 5110093 h 5217112"/>
              <a:gd name="connsiteX55" fmla="*/ 1103601 w 6785952"/>
              <a:gd name="connsiteY55" fmla="*/ 5110093 h 5217112"/>
              <a:gd name="connsiteX56" fmla="*/ 1106908 w 6785952"/>
              <a:gd name="connsiteY56" fmla="*/ 5122377 h 5217112"/>
              <a:gd name="connsiteX57" fmla="*/ 1098190 w 6785952"/>
              <a:gd name="connsiteY57" fmla="*/ 5125476 h 5217112"/>
              <a:gd name="connsiteX58" fmla="*/ 1091877 w 6785952"/>
              <a:gd name="connsiteY58" fmla="*/ 5115405 h 5217112"/>
              <a:gd name="connsiteX59" fmla="*/ 1103601 w 6785952"/>
              <a:gd name="connsiteY59" fmla="*/ 5110093 h 5217112"/>
              <a:gd name="connsiteX60" fmla="*/ 3790798 w 6785952"/>
              <a:gd name="connsiteY60" fmla="*/ 5055864 h 5217112"/>
              <a:gd name="connsiteX61" fmla="*/ 3796810 w 6785952"/>
              <a:gd name="connsiteY61" fmla="*/ 5056417 h 5217112"/>
              <a:gd name="connsiteX62" fmla="*/ 3810338 w 6785952"/>
              <a:gd name="connsiteY62" fmla="*/ 5086188 h 5217112"/>
              <a:gd name="connsiteX63" fmla="*/ 3792901 w 6785952"/>
              <a:gd name="connsiteY63" fmla="*/ 5094046 h 5217112"/>
              <a:gd name="connsiteX64" fmla="*/ 3784484 w 6785952"/>
              <a:gd name="connsiteY64" fmla="*/ 5057635 h 5217112"/>
              <a:gd name="connsiteX65" fmla="*/ 3790798 w 6785952"/>
              <a:gd name="connsiteY65" fmla="*/ 5055864 h 5217112"/>
              <a:gd name="connsiteX66" fmla="*/ 3997921 w 6785952"/>
              <a:gd name="connsiteY66" fmla="*/ 5040481 h 5217112"/>
              <a:gd name="connsiteX67" fmla="*/ 4021970 w 6785952"/>
              <a:gd name="connsiteY67" fmla="*/ 5077666 h 5217112"/>
              <a:gd name="connsiteX68" fmla="*/ 4014154 w 6785952"/>
              <a:gd name="connsiteY68" fmla="*/ 5093492 h 5217112"/>
              <a:gd name="connsiteX69" fmla="*/ 3991007 w 6785952"/>
              <a:gd name="connsiteY69" fmla="*/ 5041034 h 5217112"/>
              <a:gd name="connsiteX70" fmla="*/ 3997921 w 6785952"/>
              <a:gd name="connsiteY70" fmla="*/ 5040481 h 5217112"/>
              <a:gd name="connsiteX71" fmla="*/ 5322429 w 6785952"/>
              <a:gd name="connsiteY71" fmla="*/ 5034947 h 5217112"/>
              <a:gd name="connsiteX72" fmla="*/ 5329044 w 6785952"/>
              <a:gd name="connsiteY72" fmla="*/ 5035943 h 5217112"/>
              <a:gd name="connsiteX73" fmla="*/ 5314314 w 6785952"/>
              <a:gd name="connsiteY73" fmla="*/ 5054204 h 5217112"/>
              <a:gd name="connsiteX74" fmla="*/ 5307700 w 6785952"/>
              <a:gd name="connsiteY74" fmla="*/ 5048560 h 5217112"/>
              <a:gd name="connsiteX75" fmla="*/ 5322429 w 6785952"/>
              <a:gd name="connsiteY75" fmla="*/ 5034947 h 5217112"/>
              <a:gd name="connsiteX76" fmla="*/ 4067062 w 6785952"/>
              <a:gd name="connsiteY76" fmla="*/ 5034947 h 5217112"/>
              <a:gd name="connsiteX77" fmla="*/ 4073375 w 6785952"/>
              <a:gd name="connsiteY77" fmla="*/ 5035943 h 5217112"/>
              <a:gd name="connsiteX78" fmla="*/ 4071872 w 6785952"/>
              <a:gd name="connsiteY78" fmla="*/ 5050330 h 5217112"/>
              <a:gd name="connsiteX79" fmla="*/ 4067964 w 6785952"/>
              <a:gd name="connsiteY79" fmla="*/ 5052544 h 5217112"/>
              <a:gd name="connsiteX80" fmla="*/ 4074277 w 6785952"/>
              <a:gd name="connsiteY80" fmla="*/ 5049888 h 5217112"/>
              <a:gd name="connsiteX81" fmla="*/ 4085099 w 6785952"/>
              <a:gd name="connsiteY81" fmla="*/ 5079880 h 5217112"/>
              <a:gd name="connsiteX82" fmla="*/ 4061351 w 6785952"/>
              <a:gd name="connsiteY82" fmla="*/ 5059184 h 5217112"/>
              <a:gd name="connsiteX83" fmla="*/ 4065258 w 6785952"/>
              <a:gd name="connsiteY83" fmla="*/ 5053983 h 5217112"/>
              <a:gd name="connsiteX84" fmla="*/ 4058645 w 6785952"/>
              <a:gd name="connsiteY84" fmla="*/ 5054204 h 5217112"/>
              <a:gd name="connsiteX85" fmla="*/ 4052032 w 6785952"/>
              <a:gd name="connsiteY85" fmla="*/ 5048560 h 5217112"/>
              <a:gd name="connsiteX86" fmla="*/ 4067062 w 6785952"/>
              <a:gd name="connsiteY86" fmla="*/ 5034947 h 5217112"/>
              <a:gd name="connsiteX87" fmla="*/ 2557976 w 6785952"/>
              <a:gd name="connsiteY87" fmla="*/ 5034947 h 5217112"/>
              <a:gd name="connsiteX88" fmla="*/ 2564590 w 6785952"/>
              <a:gd name="connsiteY88" fmla="*/ 5035943 h 5217112"/>
              <a:gd name="connsiteX89" fmla="*/ 2549859 w 6785952"/>
              <a:gd name="connsiteY89" fmla="*/ 5054204 h 5217112"/>
              <a:gd name="connsiteX90" fmla="*/ 2542945 w 6785952"/>
              <a:gd name="connsiteY90" fmla="*/ 5048560 h 5217112"/>
              <a:gd name="connsiteX91" fmla="*/ 2557976 w 6785952"/>
              <a:gd name="connsiteY91" fmla="*/ 5034947 h 5217112"/>
              <a:gd name="connsiteX92" fmla="*/ 1528971 w 6785952"/>
              <a:gd name="connsiteY92" fmla="*/ 5034947 h 5217112"/>
              <a:gd name="connsiteX93" fmla="*/ 1535285 w 6785952"/>
              <a:gd name="connsiteY93" fmla="*/ 5035943 h 5217112"/>
              <a:gd name="connsiteX94" fmla="*/ 1520554 w 6785952"/>
              <a:gd name="connsiteY94" fmla="*/ 5054204 h 5217112"/>
              <a:gd name="connsiteX95" fmla="*/ 1513941 w 6785952"/>
              <a:gd name="connsiteY95" fmla="*/ 5048560 h 5217112"/>
              <a:gd name="connsiteX96" fmla="*/ 1528971 w 6785952"/>
              <a:gd name="connsiteY96" fmla="*/ 5034947 h 5217112"/>
              <a:gd name="connsiteX97" fmla="*/ 3685582 w 6785952"/>
              <a:gd name="connsiteY97" fmla="*/ 5016465 h 5217112"/>
              <a:gd name="connsiteX98" fmla="*/ 3692797 w 6785952"/>
              <a:gd name="connsiteY98" fmla="*/ 5017018 h 5217112"/>
              <a:gd name="connsiteX99" fmla="*/ 3696404 w 6785952"/>
              <a:gd name="connsiteY99" fmla="*/ 5042694 h 5217112"/>
              <a:gd name="connsiteX100" fmla="*/ 3681073 w 6785952"/>
              <a:gd name="connsiteY100" fmla="*/ 5064939 h 5217112"/>
              <a:gd name="connsiteX101" fmla="*/ 3659729 w 6785952"/>
              <a:gd name="connsiteY101" fmla="*/ 5028196 h 5217112"/>
              <a:gd name="connsiteX102" fmla="*/ 3685582 w 6785952"/>
              <a:gd name="connsiteY102" fmla="*/ 5016465 h 5217112"/>
              <a:gd name="connsiteX103" fmla="*/ 5674751 w 6785952"/>
              <a:gd name="connsiteY103" fmla="*/ 5008165 h 5217112"/>
              <a:gd name="connsiteX104" fmla="*/ 5678057 w 6785952"/>
              <a:gd name="connsiteY104" fmla="*/ 5012813 h 5217112"/>
              <a:gd name="connsiteX105" fmla="*/ 5680162 w 6785952"/>
              <a:gd name="connsiteY105" fmla="*/ 5019453 h 5217112"/>
              <a:gd name="connsiteX106" fmla="*/ 5667235 w 6785952"/>
              <a:gd name="connsiteY106" fmla="*/ 5027532 h 5217112"/>
              <a:gd name="connsiteX107" fmla="*/ 5674751 w 6785952"/>
              <a:gd name="connsiteY107" fmla="*/ 5008165 h 5217112"/>
              <a:gd name="connsiteX108" fmla="*/ 4419383 w 6785952"/>
              <a:gd name="connsiteY108" fmla="*/ 5008165 h 5217112"/>
              <a:gd name="connsiteX109" fmla="*/ 4422690 w 6785952"/>
              <a:gd name="connsiteY109" fmla="*/ 5012813 h 5217112"/>
              <a:gd name="connsiteX110" fmla="*/ 4424794 w 6785952"/>
              <a:gd name="connsiteY110" fmla="*/ 5019453 h 5217112"/>
              <a:gd name="connsiteX111" fmla="*/ 4411567 w 6785952"/>
              <a:gd name="connsiteY111" fmla="*/ 5027532 h 5217112"/>
              <a:gd name="connsiteX112" fmla="*/ 4419383 w 6785952"/>
              <a:gd name="connsiteY112" fmla="*/ 5008165 h 5217112"/>
              <a:gd name="connsiteX113" fmla="*/ 2910296 w 6785952"/>
              <a:gd name="connsiteY113" fmla="*/ 5008165 h 5217112"/>
              <a:gd name="connsiteX114" fmla="*/ 2913603 w 6785952"/>
              <a:gd name="connsiteY114" fmla="*/ 5012813 h 5217112"/>
              <a:gd name="connsiteX115" fmla="*/ 2915707 w 6785952"/>
              <a:gd name="connsiteY115" fmla="*/ 5019453 h 5217112"/>
              <a:gd name="connsiteX116" fmla="*/ 2902480 w 6785952"/>
              <a:gd name="connsiteY116" fmla="*/ 5027532 h 5217112"/>
              <a:gd name="connsiteX117" fmla="*/ 2910296 w 6785952"/>
              <a:gd name="connsiteY117" fmla="*/ 5008165 h 5217112"/>
              <a:gd name="connsiteX118" fmla="*/ 1881292 w 6785952"/>
              <a:gd name="connsiteY118" fmla="*/ 5008165 h 5217112"/>
              <a:gd name="connsiteX119" fmla="*/ 1884598 w 6785952"/>
              <a:gd name="connsiteY119" fmla="*/ 5012813 h 5217112"/>
              <a:gd name="connsiteX120" fmla="*/ 1886703 w 6785952"/>
              <a:gd name="connsiteY120" fmla="*/ 5019453 h 5217112"/>
              <a:gd name="connsiteX121" fmla="*/ 1873475 w 6785952"/>
              <a:gd name="connsiteY121" fmla="*/ 5027532 h 5217112"/>
              <a:gd name="connsiteX122" fmla="*/ 1881292 w 6785952"/>
              <a:gd name="connsiteY122" fmla="*/ 5008165 h 5217112"/>
              <a:gd name="connsiteX123" fmla="*/ 4659274 w 6785952"/>
              <a:gd name="connsiteY123" fmla="*/ 5007833 h 5217112"/>
              <a:gd name="connsiteX124" fmla="*/ 4679114 w 6785952"/>
              <a:gd name="connsiteY124" fmla="*/ 5057081 h 5217112"/>
              <a:gd name="connsiteX125" fmla="*/ 4636427 w 6785952"/>
              <a:gd name="connsiteY125" fmla="*/ 5024544 h 5217112"/>
              <a:gd name="connsiteX126" fmla="*/ 4659274 w 6785952"/>
              <a:gd name="connsiteY126" fmla="*/ 5007833 h 5217112"/>
              <a:gd name="connsiteX127" fmla="*/ 5100576 w 6785952"/>
              <a:gd name="connsiteY127" fmla="*/ 5006173 h 5217112"/>
              <a:gd name="connsiteX128" fmla="*/ 5095465 w 6785952"/>
              <a:gd name="connsiteY128" fmla="*/ 5019010 h 5217112"/>
              <a:gd name="connsiteX129" fmla="*/ 5100576 w 6785952"/>
              <a:gd name="connsiteY129" fmla="*/ 5006173 h 5217112"/>
              <a:gd name="connsiteX130" fmla="*/ 3845208 w 6785952"/>
              <a:gd name="connsiteY130" fmla="*/ 5006173 h 5217112"/>
              <a:gd name="connsiteX131" fmla="*/ 3840098 w 6785952"/>
              <a:gd name="connsiteY131" fmla="*/ 5019010 h 5217112"/>
              <a:gd name="connsiteX132" fmla="*/ 3845208 w 6785952"/>
              <a:gd name="connsiteY132" fmla="*/ 5006173 h 5217112"/>
              <a:gd name="connsiteX133" fmla="*/ 2336122 w 6785952"/>
              <a:gd name="connsiteY133" fmla="*/ 5006173 h 5217112"/>
              <a:gd name="connsiteX134" fmla="*/ 2331011 w 6785952"/>
              <a:gd name="connsiteY134" fmla="*/ 5019010 h 5217112"/>
              <a:gd name="connsiteX135" fmla="*/ 2336122 w 6785952"/>
              <a:gd name="connsiteY135" fmla="*/ 5006173 h 5217112"/>
              <a:gd name="connsiteX136" fmla="*/ 1306817 w 6785952"/>
              <a:gd name="connsiteY136" fmla="*/ 5006173 h 5217112"/>
              <a:gd name="connsiteX137" fmla="*/ 1302006 w 6785952"/>
              <a:gd name="connsiteY137" fmla="*/ 5019010 h 5217112"/>
              <a:gd name="connsiteX138" fmla="*/ 1306817 w 6785952"/>
              <a:gd name="connsiteY138" fmla="*/ 5006173 h 5217112"/>
              <a:gd name="connsiteX139" fmla="*/ 5153485 w 6785952"/>
              <a:gd name="connsiteY139" fmla="*/ 4999422 h 5217112"/>
              <a:gd name="connsiteX140" fmla="*/ 5161600 w 6785952"/>
              <a:gd name="connsiteY140" fmla="*/ 5009714 h 5217112"/>
              <a:gd name="connsiteX141" fmla="*/ 5161901 w 6785952"/>
              <a:gd name="connsiteY141" fmla="*/ 5024212 h 5217112"/>
              <a:gd name="connsiteX142" fmla="*/ 5152884 w 6785952"/>
              <a:gd name="connsiteY142" fmla="*/ 5030520 h 5217112"/>
              <a:gd name="connsiteX143" fmla="*/ 5153485 w 6785952"/>
              <a:gd name="connsiteY143" fmla="*/ 4999422 h 5217112"/>
              <a:gd name="connsiteX144" fmla="*/ 3897816 w 6785952"/>
              <a:gd name="connsiteY144" fmla="*/ 4999422 h 5217112"/>
              <a:gd name="connsiteX145" fmla="*/ 3905933 w 6785952"/>
              <a:gd name="connsiteY145" fmla="*/ 5009714 h 5217112"/>
              <a:gd name="connsiteX146" fmla="*/ 3906233 w 6785952"/>
              <a:gd name="connsiteY146" fmla="*/ 5024212 h 5217112"/>
              <a:gd name="connsiteX147" fmla="*/ 3897516 w 6785952"/>
              <a:gd name="connsiteY147" fmla="*/ 5030520 h 5217112"/>
              <a:gd name="connsiteX148" fmla="*/ 3897816 w 6785952"/>
              <a:gd name="connsiteY148" fmla="*/ 4999422 h 5217112"/>
              <a:gd name="connsiteX149" fmla="*/ 2389030 w 6785952"/>
              <a:gd name="connsiteY149" fmla="*/ 4999422 h 5217112"/>
              <a:gd name="connsiteX150" fmla="*/ 2396846 w 6785952"/>
              <a:gd name="connsiteY150" fmla="*/ 5009714 h 5217112"/>
              <a:gd name="connsiteX151" fmla="*/ 2397147 w 6785952"/>
              <a:gd name="connsiteY151" fmla="*/ 5024212 h 5217112"/>
              <a:gd name="connsiteX152" fmla="*/ 2388429 w 6785952"/>
              <a:gd name="connsiteY152" fmla="*/ 5030520 h 5217112"/>
              <a:gd name="connsiteX153" fmla="*/ 2389030 w 6785952"/>
              <a:gd name="connsiteY153" fmla="*/ 4999422 h 5217112"/>
              <a:gd name="connsiteX154" fmla="*/ 1359725 w 6785952"/>
              <a:gd name="connsiteY154" fmla="*/ 4999422 h 5217112"/>
              <a:gd name="connsiteX155" fmla="*/ 1367841 w 6785952"/>
              <a:gd name="connsiteY155" fmla="*/ 5009714 h 5217112"/>
              <a:gd name="connsiteX156" fmla="*/ 1368142 w 6785952"/>
              <a:gd name="connsiteY156" fmla="*/ 5024212 h 5217112"/>
              <a:gd name="connsiteX157" fmla="*/ 1359424 w 6785952"/>
              <a:gd name="connsiteY157" fmla="*/ 5030520 h 5217112"/>
              <a:gd name="connsiteX158" fmla="*/ 1359725 w 6785952"/>
              <a:gd name="connsiteY158" fmla="*/ 4999422 h 5217112"/>
              <a:gd name="connsiteX159" fmla="*/ 5524444 w 6785952"/>
              <a:gd name="connsiteY159" fmla="*/ 4972528 h 5217112"/>
              <a:gd name="connsiteX160" fmla="*/ 5525345 w 6785952"/>
              <a:gd name="connsiteY160" fmla="*/ 4981604 h 5217112"/>
              <a:gd name="connsiteX161" fmla="*/ 5521136 w 6785952"/>
              <a:gd name="connsiteY161" fmla="*/ 4985920 h 5217112"/>
              <a:gd name="connsiteX162" fmla="*/ 5515725 w 6785952"/>
              <a:gd name="connsiteY162" fmla="*/ 4984702 h 5217112"/>
              <a:gd name="connsiteX163" fmla="*/ 5512719 w 6785952"/>
              <a:gd name="connsiteY163" fmla="*/ 4979722 h 5217112"/>
              <a:gd name="connsiteX164" fmla="*/ 5524444 w 6785952"/>
              <a:gd name="connsiteY164" fmla="*/ 4972528 h 5217112"/>
              <a:gd name="connsiteX165" fmla="*/ 4268775 w 6785952"/>
              <a:gd name="connsiteY165" fmla="*/ 4972528 h 5217112"/>
              <a:gd name="connsiteX166" fmla="*/ 4269677 w 6785952"/>
              <a:gd name="connsiteY166" fmla="*/ 4981604 h 5217112"/>
              <a:gd name="connsiteX167" fmla="*/ 4265769 w 6785952"/>
              <a:gd name="connsiteY167" fmla="*/ 4985920 h 5217112"/>
              <a:gd name="connsiteX168" fmla="*/ 4260058 w 6785952"/>
              <a:gd name="connsiteY168" fmla="*/ 4984702 h 5217112"/>
              <a:gd name="connsiteX169" fmla="*/ 4257050 w 6785952"/>
              <a:gd name="connsiteY169" fmla="*/ 4979722 h 5217112"/>
              <a:gd name="connsiteX170" fmla="*/ 4268775 w 6785952"/>
              <a:gd name="connsiteY170" fmla="*/ 4972528 h 5217112"/>
              <a:gd name="connsiteX171" fmla="*/ 2759688 w 6785952"/>
              <a:gd name="connsiteY171" fmla="*/ 4972528 h 5217112"/>
              <a:gd name="connsiteX172" fmla="*/ 2760590 w 6785952"/>
              <a:gd name="connsiteY172" fmla="*/ 4981604 h 5217112"/>
              <a:gd name="connsiteX173" fmla="*/ 2756683 w 6785952"/>
              <a:gd name="connsiteY173" fmla="*/ 4985920 h 5217112"/>
              <a:gd name="connsiteX174" fmla="*/ 2751271 w 6785952"/>
              <a:gd name="connsiteY174" fmla="*/ 4984702 h 5217112"/>
              <a:gd name="connsiteX175" fmla="*/ 2747965 w 6785952"/>
              <a:gd name="connsiteY175" fmla="*/ 4979722 h 5217112"/>
              <a:gd name="connsiteX176" fmla="*/ 2759688 w 6785952"/>
              <a:gd name="connsiteY176" fmla="*/ 4972528 h 5217112"/>
              <a:gd name="connsiteX177" fmla="*/ 1730684 w 6785952"/>
              <a:gd name="connsiteY177" fmla="*/ 4972528 h 5217112"/>
              <a:gd name="connsiteX178" fmla="*/ 1731585 w 6785952"/>
              <a:gd name="connsiteY178" fmla="*/ 4981604 h 5217112"/>
              <a:gd name="connsiteX179" fmla="*/ 1727678 w 6785952"/>
              <a:gd name="connsiteY179" fmla="*/ 4985920 h 5217112"/>
              <a:gd name="connsiteX180" fmla="*/ 1722267 w 6785952"/>
              <a:gd name="connsiteY180" fmla="*/ 4984702 h 5217112"/>
              <a:gd name="connsiteX181" fmla="*/ 1718960 w 6785952"/>
              <a:gd name="connsiteY181" fmla="*/ 4979722 h 5217112"/>
              <a:gd name="connsiteX182" fmla="*/ 1730684 w 6785952"/>
              <a:gd name="connsiteY182" fmla="*/ 4972528 h 5217112"/>
              <a:gd name="connsiteX183" fmla="*/ 5680763 w 6785952"/>
              <a:gd name="connsiteY183" fmla="*/ 4968766 h 5217112"/>
              <a:gd name="connsiteX184" fmla="*/ 5681364 w 6785952"/>
              <a:gd name="connsiteY184" fmla="*/ 4971422 h 5217112"/>
              <a:gd name="connsiteX185" fmla="*/ 5682867 w 6785952"/>
              <a:gd name="connsiteY185" fmla="*/ 4970979 h 5217112"/>
              <a:gd name="connsiteX186" fmla="*/ 5681965 w 6785952"/>
              <a:gd name="connsiteY186" fmla="*/ 4974189 h 5217112"/>
              <a:gd name="connsiteX187" fmla="*/ 5680763 w 6785952"/>
              <a:gd name="connsiteY187" fmla="*/ 4974742 h 5217112"/>
              <a:gd name="connsiteX188" fmla="*/ 5680463 w 6785952"/>
              <a:gd name="connsiteY188" fmla="*/ 4975185 h 5217112"/>
              <a:gd name="connsiteX189" fmla="*/ 5677456 w 6785952"/>
              <a:gd name="connsiteY189" fmla="*/ 4974410 h 5217112"/>
              <a:gd name="connsiteX190" fmla="*/ 5675052 w 6785952"/>
              <a:gd name="connsiteY190" fmla="*/ 4972086 h 5217112"/>
              <a:gd name="connsiteX191" fmla="*/ 5680763 w 6785952"/>
              <a:gd name="connsiteY191" fmla="*/ 4968766 h 5217112"/>
              <a:gd name="connsiteX192" fmla="*/ 4425095 w 6785952"/>
              <a:gd name="connsiteY192" fmla="*/ 4968766 h 5217112"/>
              <a:gd name="connsiteX193" fmla="*/ 4425996 w 6785952"/>
              <a:gd name="connsiteY193" fmla="*/ 4971422 h 5217112"/>
              <a:gd name="connsiteX194" fmla="*/ 4427500 w 6785952"/>
              <a:gd name="connsiteY194" fmla="*/ 4970979 h 5217112"/>
              <a:gd name="connsiteX195" fmla="*/ 4426598 w 6785952"/>
              <a:gd name="connsiteY195" fmla="*/ 4974189 h 5217112"/>
              <a:gd name="connsiteX196" fmla="*/ 4425095 w 6785952"/>
              <a:gd name="connsiteY196" fmla="*/ 4974742 h 5217112"/>
              <a:gd name="connsiteX197" fmla="*/ 4424794 w 6785952"/>
              <a:gd name="connsiteY197" fmla="*/ 4975185 h 5217112"/>
              <a:gd name="connsiteX198" fmla="*/ 4421788 w 6785952"/>
              <a:gd name="connsiteY198" fmla="*/ 4974410 h 5217112"/>
              <a:gd name="connsiteX199" fmla="*/ 4419383 w 6785952"/>
              <a:gd name="connsiteY199" fmla="*/ 4972086 h 5217112"/>
              <a:gd name="connsiteX200" fmla="*/ 4425095 w 6785952"/>
              <a:gd name="connsiteY200" fmla="*/ 4968766 h 5217112"/>
              <a:gd name="connsiteX201" fmla="*/ 2916008 w 6785952"/>
              <a:gd name="connsiteY201" fmla="*/ 4968766 h 5217112"/>
              <a:gd name="connsiteX202" fmla="*/ 2916910 w 6785952"/>
              <a:gd name="connsiteY202" fmla="*/ 4971422 h 5217112"/>
              <a:gd name="connsiteX203" fmla="*/ 2918413 w 6785952"/>
              <a:gd name="connsiteY203" fmla="*/ 4970979 h 5217112"/>
              <a:gd name="connsiteX204" fmla="*/ 2917511 w 6785952"/>
              <a:gd name="connsiteY204" fmla="*/ 4974189 h 5217112"/>
              <a:gd name="connsiteX205" fmla="*/ 2916008 w 6785952"/>
              <a:gd name="connsiteY205" fmla="*/ 4974742 h 5217112"/>
              <a:gd name="connsiteX206" fmla="*/ 2916008 w 6785952"/>
              <a:gd name="connsiteY206" fmla="*/ 4975185 h 5217112"/>
              <a:gd name="connsiteX207" fmla="*/ 2912701 w 6785952"/>
              <a:gd name="connsiteY207" fmla="*/ 4974410 h 5217112"/>
              <a:gd name="connsiteX208" fmla="*/ 2910597 w 6785952"/>
              <a:gd name="connsiteY208" fmla="*/ 4972086 h 5217112"/>
              <a:gd name="connsiteX209" fmla="*/ 2916008 w 6785952"/>
              <a:gd name="connsiteY209" fmla="*/ 4968766 h 5217112"/>
              <a:gd name="connsiteX210" fmla="*/ 1887003 w 6785952"/>
              <a:gd name="connsiteY210" fmla="*/ 4968766 h 5217112"/>
              <a:gd name="connsiteX211" fmla="*/ 1887605 w 6785952"/>
              <a:gd name="connsiteY211" fmla="*/ 4971422 h 5217112"/>
              <a:gd name="connsiteX212" fmla="*/ 1889108 w 6785952"/>
              <a:gd name="connsiteY212" fmla="*/ 4970979 h 5217112"/>
              <a:gd name="connsiteX213" fmla="*/ 1888507 w 6785952"/>
              <a:gd name="connsiteY213" fmla="*/ 4974189 h 5217112"/>
              <a:gd name="connsiteX214" fmla="*/ 1887003 w 6785952"/>
              <a:gd name="connsiteY214" fmla="*/ 4974742 h 5217112"/>
              <a:gd name="connsiteX215" fmla="*/ 1886703 w 6785952"/>
              <a:gd name="connsiteY215" fmla="*/ 4975185 h 5217112"/>
              <a:gd name="connsiteX216" fmla="*/ 1883697 w 6785952"/>
              <a:gd name="connsiteY216" fmla="*/ 4974410 h 5217112"/>
              <a:gd name="connsiteX217" fmla="*/ 1881292 w 6785952"/>
              <a:gd name="connsiteY217" fmla="*/ 4972086 h 5217112"/>
              <a:gd name="connsiteX218" fmla="*/ 1887003 w 6785952"/>
              <a:gd name="connsiteY218" fmla="*/ 4968766 h 5217112"/>
              <a:gd name="connsiteX219" fmla="*/ 4915999 w 6785952"/>
              <a:gd name="connsiteY219" fmla="*/ 4963675 h 5217112"/>
              <a:gd name="connsiteX220" fmla="*/ 4922311 w 6785952"/>
              <a:gd name="connsiteY220" fmla="*/ 4965224 h 5217112"/>
              <a:gd name="connsiteX221" fmla="*/ 4925919 w 6785952"/>
              <a:gd name="connsiteY221" fmla="*/ 4977398 h 5217112"/>
              <a:gd name="connsiteX222" fmla="*/ 4908785 w 6785952"/>
              <a:gd name="connsiteY222" fmla="*/ 4988022 h 5217112"/>
              <a:gd name="connsiteX223" fmla="*/ 4902771 w 6785952"/>
              <a:gd name="connsiteY223" fmla="*/ 4984924 h 5217112"/>
              <a:gd name="connsiteX224" fmla="*/ 4897662 w 6785952"/>
              <a:gd name="connsiteY224" fmla="*/ 4974742 h 5217112"/>
              <a:gd name="connsiteX225" fmla="*/ 4915999 w 6785952"/>
              <a:gd name="connsiteY225" fmla="*/ 4963675 h 5217112"/>
              <a:gd name="connsiteX226" fmla="*/ 3660330 w 6785952"/>
              <a:gd name="connsiteY226" fmla="*/ 4963675 h 5217112"/>
              <a:gd name="connsiteX227" fmla="*/ 3666644 w 6785952"/>
              <a:gd name="connsiteY227" fmla="*/ 4965224 h 5217112"/>
              <a:gd name="connsiteX228" fmla="*/ 3670251 w 6785952"/>
              <a:gd name="connsiteY228" fmla="*/ 4977398 h 5217112"/>
              <a:gd name="connsiteX229" fmla="*/ 3653416 w 6785952"/>
              <a:gd name="connsiteY229" fmla="*/ 4988022 h 5217112"/>
              <a:gd name="connsiteX230" fmla="*/ 3647104 w 6785952"/>
              <a:gd name="connsiteY230" fmla="*/ 4984924 h 5217112"/>
              <a:gd name="connsiteX231" fmla="*/ 3641993 w 6785952"/>
              <a:gd name="connsiteY231" fmla="*/ 4974742 h 5217112"/>
              <a:gd name="connsiteX232" fmla="*/ 3660330 w 6785952"/>
              <a:gd name="connsiteY232" fmla="*/ 4963675 h 5217112"/>
              <a:gd name="connsiteX233" fmla="*/ 2151545 w 6785952"/>
              <a:gd name="connsiteY233" fmla="*/ 4963675 h 5217112"/>
              <a:gd name="connsiteX234" fmla="*/ 2157557 w 6785952"/>
              <a:gd name="connsiteY234" fmla="*/ 4965224 h 5217112"/>
              <a:gd name="connsiteX235" fmla="*/ 2161164 w 6785952"/>
              <a:gd name="connsiteY235" fmla="*/ 4977398 h 5217112"/>
              <a:gd name="connsiteX236" fmla="*/ 2144330 w 6785952"/>
              <a:gd name="connsiteY236" fmla="*/ 4988022 h 5217112"/>
              <a:gd name="connsiteX237" fmla="*/ 2138017 w 6785952"/>
              <a:gd name="connsiteY237" fmla="*/ 4984924 h 5217112"/>
              <a:gd name="connsiteX238" fmla="*/ 2132906 w 6785952"/>
              <a:gd name="connsiteY238" fmla="*/ 4974742 h 5217112"/>
              <a:gd name="connsiteX239" fmla="*/ 2151545 w 6785952"/>
              <a:gd name="connsiteY239" fmla="*/ 4963675 h 5217112"/>
              <a:gd name="connsiteX240" fmla="*/ 1122240 w 6785952"/>
              <a:gd name="connsiteY240" fmla="*/ 4963675 h 5217112"/>
              <a:gd name="connsiteX241" fmla="*/ 1128552 w 6785952"/>
              <a:gd name="connsiteY241" fmla="*/ 4965224 h 5217112"/>
              <a:gd name="connsiteX242" fmla="*/ 1132159 w 6785952"/>
              <a:gd name="connsiteY242" fmla="*/ 4977398 h 5217112"/>
              <a:gd name="connsiteX243" fmla="*/ 1115325 w 6785952"/>
              <a:gd name="connsiteY243" fmla="*/ 4988022 h 5217112"/>
              <a:gd name="connsiteX244" fmla="*/ 1109012 w 6785952"/>
              <a:gd name="connsiteY244" fmla="*/ 4984924 h 5217112"/>
              <a:gd name="connsiteX245" fmla="*/ 1103902 w 6785952"/>
              <a:gd name="connsiteY245" fmla="*/ 4974742 h 5217112"/>
              <a:gd name="connsiteX246" fmla="*/ 1122240 w 6785952"/>
              <a:gd name="connsiteY246" fmla="*/ 4963675 h 5217112"/>
              <a:gd name="connsiteX247" fmla="*/ 4773206 w 6785952"/>
              <a:gd name="connsiteY247" fmla="*/ 4962457 h 5217112"/>
              <a:gd name="connsiteX248" fmla="*/ 4768095 w 6785952"/>
              <a:gd name="connsiteY248" fmla="*/ 4977177 h 5217112"/>
              <a:gd name="connsiteX249" fmla="*/ 4763587 w 6785952"/>
              <a:gd name="connsiteY249" fmla="*/ 4964781 h 5217112"/>
              <a:gd name="connsiteX250" fmla="*/ 4773206 w 6785952"/>
              <a:gd name="connsiteY250" fmla="*/ 4962457 h 5217112"/>
              <a:gd name="connsiteX251" fmla="*/ 3517839 w 6785952"/>
              <a:gd name="connsiteY251" fmla="*/ 4962457 h 5217112"/>
              <a:gd name="connsiteX252" fmla="*/ 3512428 w 6785952"/>
              <a:gd name="connsiteY252" fmla="*/ 4977177 h 5217112"/>
              <a:gd name="connsiteX253" fmla="*/ 3507919 w 6785952"/>
              <a:gd name="connsiteY253" fmla="*/ 4964781 h 5217112"/>
              <a:gd name="connsiteX254" fmla="*/ 3517839 w 6785952"/>
              <a:gd name="connsiteY254" fmla="*/ 4962457 h 5217112"/>
              <a:gd name="connsiteX255" fmla="*/ 2008752 w 6785952"/>
              <a:gd name="connsiteY255" fmla="*/ 4962457 h 5217112"/>
              <a:gd name="connsiteX256" fmla="*/ 2003642 w 6785952"/>
              <a:gd name="connsiteY256" fmla="*/ 4977177 h 5217112"/>
              <a:gd name="connsiteX257" fmla="*/ 1998833 w 6785952"/>
              <a:gd name="connsiteY257" fmla="*/ 4964781 h 5217112"/>
              <a:gd name="connsiteX258" fmla="*/ 2008752 w 6785952"/>
              <a:gd name="connsiteY258" fmla="*/ 4962457 h 5217112"/>
              <a:gd name="connsiteX259" fmla="*/ 979447 w 6785952"/>
              <a:gd name="connsiteY259" fmla="*/ 4962457 h 5217112"/>
              <a:gd name="connsiteX260" fmla="*/ 974638 w 6785952"/>
              <a:gd name="connsiteY260" fmla="*/ 4977177 h 5217112"/>
              <a:gd name="connsiteX261" fmla="*/ 969828 w 6785952"/>
              <a:gd name="connsiteY261" fmla="*/ 4964781 h 5217112"/>
              <a:gd name="connsiteX262" fmla="*/ 979447 w 6785952"/>
              <a:gd name="connsiteY262" fmla="*/ 4962457 h 5217112"/>
              <a:gd name="connsiteX263" fmla="*/ 3053991 w 6785952"/>
              <a:gd name="connsiteY263" fmla="*/ 4956038 h 5217112"/>
              <a:gd name="connsiteX264" fmla="*/ 3063008 w 6785952"/>
              <a:gd name="connsiteY264" fmla="*/ 4988133 h 5217112"/>
              <a:gd name="connsiteX265" fmla="*/ 3038960 w 6785952"/>
              <a:gd name="connsiteY265" fmla="*/ 5014694 h 5217112"/>
              <a:gd name="connsiteX266" fmla="*/ 3053991 w 6785952"/>
              <a:gd name="connsiteY266" fmla="*/ 4956038 h 5217112"/>
              <a:gd name="connsiteX267" fmla="*/ 5624549 w 6785952"/>
              <a:gd name="connsiteY267" fmla="*/ 4934458 h 5217112"/>
              <a:gd name="connsiteX268" fmla="*/ 5673849 w 6785952"/>
              <a:gd name="connsiteY268" fmla="*/ 4964339 h 5217112"/>
              <a:gd name="connsiteX269" fmla="*/ 5640480 w 6785952"/>
              <a:gd name="connsiteY269" fmla="*/ 4960244 h 5217112"/>
              <a:gd name="connsiteX270" fmla="*/ 5624549 w 6785952"/>
              <a:gd name="connsiteY270" fmla="*/ 4934458 h 5217112"/>
              <a:gd name="connsiteX271" fmla="*/ 4368880 w 6785952"/>
              <a:gd name="connsiteY271" fmla="*/ 4934458 h 5217112"/>
              <a:gd name="connsiteX272" fmla="*/ 4418481 w 6785952"/>
              <a:gd name="connsiteY272" fmla="*/ 4964339 h 5217112"/>
              <a:gd name="connsiteX273" fmla="*/ 4384812 w 6785952"/>
              <a:gd name="connsiteY273" fmla="*/ 4960244 h 5217112"/>
              <a:gd name="connsiteX274" fmla="*/ 4368880 w 6785952"/>
              <a:gd name="connsiteY274" fmla="*/ 4934458 h 5217112"/>
              <a:gd name="connsiteX275" fmla="*/ 2859793 w 6785952"/>
              <a:gd name="connsiteY275" fmla="*/ 4934458 h 5217112"/>
              <a:gd name="connsiteX276" fmla="*/ 2909395 w 6785952"/>
              <a:gd name="connsiteY276" fmla="*/ 4964339 h 5217112"/>
              <a:gd name="connsiteX277" fmla="*/ 2897971 w 6785952"/>
              <a:gd name="connsiteY277" fmla="*/ 4965556 h 5217112"/>
              <a:gd name="connsiteX278" fmla="*/ 2903683 w 6785952"/>
              <a:gd name="connsiteY278" fmla="*/ 4974963 h 5217112"/>
              <a:gd name="connsiteX279" fmla="*/ 2904284 w 6785952"/>
              <a:gd name="connsiteY279" fmla="*/ 4986694 h 5217112"/>
              <a:gd name="connsiteX280" fmla="*/ 2857088 w 6785952"/>
              <a:gd name="connsiteY280" fmla="*/ 4990789 h 5217112"/>
              <a:gd name="connsiteX281" fmla="*/ 2886548 w 6785952"/>
              <a:gd name="connsiteY281" fmla="*/ 4965335 h 5217112"/>
              <a:gd name="connsiteX282" fmla="*/ 2889254 w 6785952"/>
              <a:gd name="connsiteY282" fmla="*/ 4964560 h 5217112"/>
              <a:gd name="connsiteX283" fmla="*/ 2875726 w 6785952"/>
              <a:gd name="connsiteY283" fmla="*/ 4960244 h 5217112"/>
              <a:gd name="connsiteX284" fmla="*/ 2859793 w 6785952"/>
              <a:gd name="connsiteY284" fmla="*/ 4934458 h 5217112"/>
              <a:gd name="connsiteX285" fmla="*/ 1830788 w 6785952"/>
              <a:gd name="connsiteY285" fmla="*/ 4934458 h 5217112"/>
              <a:gd name="connsiteX286" fmla="*/ 1880390 w 6785952"/>
              <a:gd name="connsiteY286" fmla="*/ 4964339 h 5217112"/>
              <a:gd name="connsiteX287" fmla="*/ 1846721 w 6785952"/>
              <a:gd name="connsiteY287" fmla="*/ 4960244 h 5217112"/>
              <a:gd name="connsiteX288" fmla="*/ 1830788 w 6785952"/>
              <a:gd name="connsiteY288" fmla="*/ 4934458 h 5217112"/>
              <a:gd name="connsiteX289" fmla="*/ 4173479 w 6785952"/>
              <a:gd name="connsiteY289" fmla="*/ 4934126 h 5217112"/>
              <a:gd name="connsiteX290" fmla="*/ 4215266 w 6785952"/>
              <a:gd name="connsiteY290" fmla="*/ 4959359 h 5217112"/>
              <a:gd name="connsiteX291" fmla="*/ 4211958 w 6785952"/>
              <a:gd name="connsiteY291" fmla="*/ 4993335 h 5217112"/>
              <a:gd name="connsiteX292" fmla="*/ 4204444 w 6785952"/>
              <a:gd name="connsiteY292" fmla="*/ 5004070 h 5217112"/>
              <a:gd name="connsiteX293" fmla="*/ 4153940 w 6785952"/>
              <a:gd name="connsiteY293" fmla="*/ 4953604 h 5217112"/>
              <a:gd name="connsiteX294" fmla="*/ 4173479 w 6785952"/>
              <a:gd name="connsiteY294" fmla="*/ 4934126 h 5217112"/>
              <a:gd name="connsiteX295" fmla="*/ 5736076 w 6785952"/>
              <a:gd name="connsiteY295" fmla="*/ 4929145 h 5217112"/>
              <a:gd name="connsiteX296" fmla="*/ 5734272 w 6785952"/>
              <a:gd name="connsiteY296" fmla="*/ 4938442 h 5217112"/>
              <a:gd name="connsiteX297" fmla="*/ 5729764 w 6785952"/>
              <a:gd name="connsiteY297" fmla="*/ 4931359 h 5217112"/>
              <a:gd name="connsiteX298" fmla="*/ 5736076 w 6785952"/>
              <a:gd name="connsiteY298" fmla="*/ 4929145 h 5217112"/>
              <a:gd name="connsiteX299" fmla="*/ 4480408 w 6785952"/>
              <a:gd name="connsiteY299" fmla="*/ 4929145 h 5217112"/>
              <a:gd name="connsiteX300" fmla="*/ 4478604 w 6785952"/>
              <a:gd name="connsiteY300" fmla="*/ 4938442 h 5217112"/>
              <a:gd name="connsiteX301" fmla="*/ 4474095 w 6785952"/>
              <a:gd name="connsiteY301" fmla="*/ 4931359 h 5217112"/>
              <a:gd name="connsiteX302" fmla="*/ 4480408 w 6785952"/>
              <a:gd name="connsiteY302" fmla="*/ 4929145 h 5217112"/>
              <a:gd name="connsiteX303" fmla="*/ 2971321 w 6785952"/>
              <a:gd name="connsiteY303" fmla="*/ 4929145 h 5217112"/>
              <a:gd name="connsiteX304" fmla="*/ 2969517 w 6785952"/>
              <a:gd name="connsiteY304" fmla="*/ 4938442 h 5217112"/>
              <a:gd name="connsiteX305" fmla="*/ 2965008 w 6785952"/>
              <a:gd name="connsiteY305" fmla="*/ 4931359 h 5217112"/>
              <a:gd name="connsiteX306" fmla="*/ 2971321 w 6785952"/>
              <a:gd name="connsiteY306" fmla="*/ 4929145 h 5217112"/>
              <a:gd name="connsiteX307" fmla="*/ 1942316 w 6785952"/>
              <a:gd name="connsiteY307" fmla="*/ 4929145 h 5217112"/>
              <a:gd name="connsiteX308" fmla="*/ 1940513 w 6785952"/>
              <a:gd name="connsiteY308" fmla="*/ 4938442 h 5217112"/>
              <a:gd name="connsiteX309" fmla="*/ 1936004 w 6785952"/>
              <a:gd name="connsiteY309" fmla="*/ 4931359 h 5217112"/>
              <a:gd name="connsiteX310" fmla="*/ 1942316 w 6785952"/>
              <a:gd name="connsiteY310" fmla="*/ 4929145 h 5217112"/>
              <a:gd name="connsiteX311" fmla="*/ 5962740 w 6785952"/>
              <a:gd name="connsiteY311" fmla="*/ 4927596 h 5217112"/>
              <a:gd name="connsiteX312" fmla="*/ 5975366 w 6785952"/>
              <a:gd name="connsiteY312" fmla="*/ 4937888 h 5217112"/>
              <a:gd name="connsiteX313" fmla="*/ 5961236 w 6785952"/>
              <a:gd name="connsiteY313" fmla="*/ 4936782 h 5217112"/>
              <a:gd name="connsiteX314" fmla="*/ 5962740 w 6785952"/>
              <a:gd name="connsiteY314" fmla="*/ 4927596 h 5217112"/>
              <a:gd name="connsiteX315" fmla="*/ 4707372 w 6785952"/>
              <a:gd name="connsiteY315" fmla="*/ 4927596 h 5217112"/>
              <a:gd name="connsiteX316" fmla="*/ 4719999 w 6785952"/>
              <a:gd name="connsiteY316" fmla="*/ 4937888 h 5217112"/>
              <a:gd name="connsiteX317" fmla="*/ 4705568 w 6785952"/>
              <a:gd name="connsiteY317" fmla="*/ 4936782 h 5217112"/>
              <a:gd name="connsiteX318" fmla="*/ 4707372 w 6785952"/>
              <a:gd name="connsiteY318" fmla="*/ 4927596 h 5217112"/>
              <a:gd name="connsiteX319" fmla="*/ 3198285 w 6785952"/>
              <a:gd name="connsiteY319" fmla="*/ 4927596 h 5217112"/>
              <a:gd name="connsiteX320" fmla="*/ 3210911 w 6785952"/>
              <a:gd name="connsiteY320" fmla="*/ 4937888 h 5217112"/>
              <a:gd name="connsiteX321" fmla="*/ 3196481 w 6785952"/>
              <a:gd name="connsiteY321" fmla="*/ 4936782 h 5217112"/>
              <a:gd name="connsiteX322" fmla="*/ 3198285 w 6785952"/>
              <a:gd name="connsiteY322" fmla="*/ 4927596 h 5217112"/>
              <a:gd name="connsiteX323" fmla="*/ 2168980 w 6785952"/>
              <a:gd name="connsiteY323" fmla="*/ 4927596 h 5217112"/>
              <a:gd name="connsiteX324" fmla="*/ 2181606 w 6785952"/>
              <a:gd name="connsiteY324" fmla="*/ 4937888 h 5217112"/>
              <a:gd name="connsiteX325" fmla="*/ 2167477 w 6785952"/>
              <a:gd name="connsiteY325" fmla="*/ 4936782 h 5217112"/>
              <a:gd name="connsiteX326" fmla="*/ 2168980 w 6785952"/>
              <a:gd name="connsiteY326" fmla="*/ 4927596 h 5217112"/>
              <a:gd name="connsiteX327" fmla="*/ 5412614 w 6785952"/>
              <a:gd name="connsiteY327" fmla="*/ 4925936 h 5217112"/>
              <a:gd name="connsiteX328" fmla="*/ 5420431 w 6785952"/>
              <a:gd name="connsiteY328" fmla="*/ 4932355 h 5217112"/>
              <a:gd name="connsiteX329" fmla="*/ 5420431 w 6785952"/>
              <a:gd name="connsiteY329" fmla="*/ 4935896 h 5217112"/>
              <a:gd name="connsiteX330" fmla="*/ 5417725 w 6785952"/>
              <a:gd name="connsiteY330" fmla="*/ 4938331 h 5217112"/>
              <a:gd name="connsiteX331" fmla="*/ 5414118 w 6785952"/>
              <a:gd name="connsiteY331" fmla="*/ 4940544 h 5217112"/>
              <a:gd name="connsiteX332" fmla="*/ 5405099 w 6785952"/>
              <a:gd name="connsiteY332" fmla="*/ 4940987 h 5217112"/>
              <a:gd name="connsiteX333" fmla="*/ 5400589 w 6785952"/>
              <a:gd name="connsiteY333" fmla="*/ 4936228 h 5217112"/>
              <a:gd name="connsiteX334" fmla="*/ 5399688 w 6785952"/>
              <a:gd name="connsiteY334" fmla="*/ 4933461 h 5217112"/>
              <a:gd name="connsiteX335" fmla="*/ 5412614 w 6785952"/>
              <a:gd name="connsiteY335" fmla="*/ 4925936 h 5217112"/>
              <a:gd name="connsiteX336" fmla="*/ 4156946 w 6785952"/>
              <a:gd name="connsiteY336" fmla="*/ 4925936 h 5217112"/>
              <a:gd name="connsiteX337" fmla="*/ 4165062 w 6785952"/>
              <a:gd name="connsiteY337" fmla="*/ 4932355 h 5217112"/>
              <a:gd name="connsiteX338" fmla="*/ 4165062 w 6785952"/>
              <a:gd name="connsiteY338" fmla="*/ 4935896 h 5217112"/>
              <a:gd name="connsiteX339" fmla="*/ 4162357 w 6785952"/>
              <a:gd name="connsiteY339" fmla="*/ 4938331 h 5217112"/>
              <a:gd name="connsiteX340" fmla="*/ 4158750 w 6785952"/>
              <a:gd name="connsiteY340" fmla="*/ 4940544 h 5217112"/>
              <a:gd name="connsiteX341" fmla="*/ 4149732 w 6785952"/>
              <a:gd name="connsiteY341" fmla="*/ 4940987 h 5217112"/>
              <a:gd name="connsiteX342" fmla="*/ 4144921 w 6785952"/>
              <a:gd name="connsiteY342" fmla="*/ 4936228 h 5217112"/>
              <a:gd name="connsiteX343" fmla="*/ 4144320 w 6785952"/>
              <a:gd name="connsiteY343" fmla="*/ 4933461 h 5217112"/>
              <a:gd name="connsiteX344" fmla="*/ 4156946 w 6785952"/>
              <a:gd name="connsiteY344" fmla="*/ 4925936 h 5217112"/>
              <a:gd name="connsiteX345" fmla="*/ 2648161 w 6785952"/>
              <a:gd name="connsiteY345" fmla="*/ 4925936 h 5217112"/>
              <a:gd name="connsiteX346" fmla="*/ 2655976 w 6785952"/>
              <a:gd name="connsiteY346" fmla="*/ 4932355 h 5217112"/>
              <a:gd name="connsiteX347" fmla="*/ 2655976 w 6785952"/>
              <a:gd name="connsiteY347" fmla="*/ 4935896 h 5217112"/>
              <a:gd name="connsiteX348" fmla="*/ 2653270 w 6785952"/>
              <a:gd name="connsiteY348" fmla="*/ 4938331 h 5217112"/>
              <a:gd name="connsiteX349" fmla="*/ 2649663 w 6785952"/>
              <a:gd name="connsiteY349" fmla="*/ 4940544 h 5217112"/>
              <a:gd name="connsiteX350" fmla="*/ 2640645 w 6785952"/>
              <a:gd name="connsiteY350" fmla="*/ 4940987 h 5217112"/>
              <a:gd name="connsiteX351" fmla="*/ 2636135 w 6785952"/>
              <a:gd name="connsiteY351" fmla="*/ 4936228 h 5217112"/>
              <a:gd name="connsiteX352" fmla="*/ 2635234 w 6785952"/>
              <a:gd name="connsiteY352" fmla="*/ 4933461 h 5217112"/>
              <a:gd name="connsiteX353" fmla="*/ 2648161 w 6785952"/>
              <a:gd name="connsiteY353" fmla="*/ 4925936 h 5217112"/>
              <a:gd name="connsiteX354" fmla="*/ 1619156 w 6785952"/>
              <a:gd name="connsiteY354" fmla="*/ 4925936 h 5217112"/>
              <a:gd name="connsiteX355" fmla="*/ 1626972 w 6785952"/>
              <a:gd name="connsiteY355" fmla="*/ 4932355 h 5217112"/>
              <a:gd name="connsiteX356" fmla="*/ 1626672 w 6785952"/>
              <a:gd name="connsiteY356" fmla="*/ 4935896 h 5217112"/>
              <a:gd name="connsiteX357" fmla="*/ 1624267 w 6785952"/>
              <a:gd name="connsiteY357" fmla="*/ 4938331 h 5217112"/>
              <a:gd name="connsiteX358" fmla="*/ 1620658 w 6785952"/>
              <a:gd name="connsiteY358" fmla="*/ 4940544 h 5217112"/>
              <a:gd name="connsiteX359" fmla="*/ 1611640 w 6785952"/>
              <a:gd name="connsiteY359" fmla="*/ 4940987 h 5217112"/>
              <a:gd name="connsiteX360" fmla="*/ 1606830 w 6785952"/>
              <a:gd name="connsiteY360" fmla="*/ 4936228 h 5217112"/>
              <a:gd name="connsiteX361" fmla="*/ 1605929 w 6785952"/>
              <a:gd name="connsiteY361" fmla="*/ 4933461 h 5217112"/>
              <a:gd name="connsiteX362" fmla="*/ 1619156 w 6785952"/>
              <a:gd name="connsiteY362" fmla="*/ 4925936 h 5217112"/>
              <a:gd name="connsiteX363" fmla="*/ 5223226 w 6785952"/>
              <a:gd name="connsiteY363" fmla="*/ 4925825 h 5217112"/>
              <a:gd name="connsiteX364" fmla="*/ 5232246 w 6785952"/>
              <a:gd name="connsiteY364" fmla="*/ 4927485 h 5217112"/>
              <a:gd name="connsiteX365" fmla="*/ 5235552 w 6785952"/>
              <a:gd name="connsiteY365" fmla="*/ 4933904 h 5217112"/>
              <a:gd name="connsiteX366" fmla="*/ 5235552 w 6785952"/>
              <a:gd name="connsiteY366" fmla="*/ 4945082 h 5217112"/>
              <a:gd name="connsiteX367" fmla="*/ 5219018 w 6785952"/>
              <a:gd name="connsiteY367" fmla="*/ 4953604 h 5217112"/>
              <a:gd name="connsiteX368" fmla="*/ 5218417 w 6785952"/>
              <a:gd name="connsiteY368" fmla="*/ 4957034 h 5217112"/>
              <a:gd name="connsiteX369" fmla="*/ 5213006 w 6785952"/>
              <a:gd name="connsiteY369" fmla="*/ 4962015 h 5217112"/>
              <a:gd name="connsiteX370" fmla="*/ 5210601 w 6785952"/>
              <a:gd name="connsiteY370" fmla="*/ 4959580 h 5217112"/>
              <a:gd name="connsiteX371" fmla="*/ 5215411 w 6785952"/>
              <a:gd name="connsiteY371" fmla="*/ 4953272 h 5217112"/>
              <a:gd name="connsiteX372" fmla="*/ 5215111 w 6785952"/>
              <a:gd name="connsiteY372" fmla="*/ 4951833 h 5217112"/>
              <a:gd name="connsiteX373" fmla="*/ 5211202 w 6785952"/>
              <a:gd name="connsiteY373" fmla="*/ 4950062 h 5217112"/>
              <a:gd name="connsiteX374" fmla="*/ 5207295 w 6785952"/>
              <a:gd name="connsiteY374" fmla="*/ 4935786 h 5217112"/>
              <a:gd name="connsiteX375" fmla="*/ 5223226 w 6785952"/>
              <a:gd name="connsiteY375" fmla="*/ 4925825 h 5217112"/>
              <a:gd name="connsiteX376" fmla="*/ 3967559 w 6785952"/>
              <a:gd name="connsiteY376" fmla="*/ 4925825 h 5217112"/>
              <a:gd name="connsiteX377" fmla="*/ 3976577 w 6785952"/>
              <a:gd name="connsiteY377" fmla="*/ 4927485 h 5217112"/>
              <a:gd name="connsiteX378" fmla="*/ 3980185 w 6785952"/>
              <a:gd name="connsiteY378" fmla="*/ 4933904 h 5217112"/>
              <a:gd name="connsiteX379" fmla="*/ 3979884 w 6785952"/>
              <a:gd name="connsiteY379" fmla="*/ 4945082 h 5217112"/>
              <a:gd name="connsiteX380" fmla="*/ 3963651 w 6785952"/>
              <a:gd name="connsiteY380" fmla="*/ 4953604 h 5217112"/>
              <a:gd name="connsiteX381" fmla="*/ 3962748 w 6785952"/>
              <a:gd name="connsiteY381" fmla="*/ 4957034 h 5217112"/>
              <a:gd name="connsiteX382" fmla="*/ 3957338 w 6785952"/>
              <a:gd name="connsiteY382" fmla="*/ 4962015 h 5217112"/>
              <a:gd name="connsiteX383" fmla="*/ 3954933 w 6785952"/>
              <a:gd name="connsiteY383" fmla="*/ 4959580 h 5217112"/>
              <a:gd name="connsiteX384" fmla="*/ 3960044 w 6785952"/>
              <a:gd name="connsiteY384" fmla="*/ 4953272 h 5217112"/>
              <a:gd name="connsiteX385" fmla="*/ 3959742 w 6785952"/>
              <a:gd name="connsiteY385" fmla="*/ 4951833 h 5217112"/>
              <a:gd name="connsiteX386" fmla="*/ 3955835 w 6785952"/>
              <a:gd name="connsiteY386" fmla="*/ 4950062 h 5217112"/>
              <a:gd name="connsiteX387" fmla="*/ 3951626 w 6785952"/>
              <a:gd name="connsiteY387" fmla="*/ 4935786 h 5217112"/>
              <a:gd name="connsiteX388" fmla="*/ 3967559 w 6785952"/>
              <a:gd name="connsiteY388" fmla="*/ 4925825 h 5217112"/>
              <a:gd name="connsiteX389" fmla="*/ 2458772 w 6785952"/>
              <a:gd name="connsiteY389" fmla="*/ 4925825 h 5217112"/>
              <a:gd name="connsiteX390" fmla="*/ 2467491 w 6785952"/>
              <a:gd name="connsiteY390" fmla="*/ 4927485 h 5217112"/>
              <a:gd name="connsiteX391" fmla="*/ 2471098 w 6785952"/>
              <a:gd name="connsiteY391" fmla="*/ 4933904 h 5217112"/>
              <a:gd name="connsiteX392" fmla="*/ 2470798 w 6785952"/>
              <a:gd name="connsiteY392" fmla="*/ 4945082 h 5217112"/>
              <a:gd name="connsiteX393" fmla="*/ 2454565 w 6785952"/>
              <a:gd name="connsiteY393" fmla="*/ 4953604 h 5217112"/>
              <a:gd name="connsiteX394" fmla="*/ 2453963 w 6785952"/>
              <a:gd name="connsiteY394" fmla="*/ 4957034 h 5217112"/>
              <a:gd name="connsiteX395" fmla="*/ 2448552 w 6785952"/>
              <a:gd name="connsiteY395" fmla="*/ 4962015 h 5217112"/>
              <a:gd name="connsiteX396" fmla="*/ 2445847 w 6785952"/>
              <a:gd name="connsiteY396" fmla="*/ 4959580 h 5217112"/>
              <a:gd name="connsiteX397" fmla="*/ 2450958 w 6785952"/>
              <a:gd name="connsiteY397" fmla="*/ 4953272 h 5217112"/>
              <a:gd name="connsiteX398" fmla="*/ 2450656 w 6785952"/>
              <a:gd name="connsiteY398" fmla="*/ 4951833 h 5217112"/>
              <a:gd name="connsiteX399" fmla="*/ 2446748 w 6785952"/>
              <a:gd name="connsiteY399" fmla="*/ 4950062 h 5217112"/>
              <a:gd name="connsiteX400" fmla="*/ 2442540 w 6785952"/>
              <a:gd name="connsiteY400" fmla="*/ 4935786 h 5217112"/>
              <a:gd name="connsiteX401" fmla="*/ 2458772 w 6785952"/>
              <a:gd name="connsiteY401" fmla="*/ 4925825 h 5217112"/>
              <a:gd name="connsiteX402" fmla="*/ 1429467 w 6785952"/>
              <a:gd name="connsiteY402" fmla="*/ 4925825 h 5217112"/>
              <a:gd name="connsiteX403" fmla="*/ 1438486 w 6785952"/>
              <a:gd name="connsiteY403" fmla="*/ 4927485 h 5217112"/>
              <a:gd name="connsiteX404" fmla="*/ 1441793 w 6785952"/>
              <a:gd name="connsiteY404" fmla="*/ 4933904 h 5217112"/>
              <a:gd name="connsiteX405" fmla="*/ 1441793 w 6785952"/>
              <a:gd name="connsiteY405" fmla="*/ 4945082 h 5217112"/>
              <a:gd name="connsiteX406" fmla="*/ 1425560 w 6785952"/>
              <a:gd name="connsiteY406" fmla="*/ 4953604 h 5217112"/>
              <a:gd name="connsiteX407" fmla="*/ 1424658 w 6785952"/>
              <a:gd name="connsiteY407" fmla="*/ 4957034 h 5217112"/>
              <a:gd name="connsiteX408" fmla="*/ 1419247 w 6785952"/>
              <a:gd name="connsiteY408" fmla="*/ 4962015 h 5217112"/>
              <a:gd name="connsiteX409" fmla="*/ 1416842 w 6785952"/>
              <a:gd name="connsiteY409" fmla="*/ 4959580 h 5217112"/>
              <a:gd name="connsiteX410" fmla="*/ 1421953 w 6785952"/>
              <a:gd name="connsiteY410" fmla="*/ 4953272 h 5217112"/>
              <a:gd name="connsiteX411" fmla="*/ 1421652 w 6785952"/>
              <a:gd name="connsiteY411" fmla="*/ 4951833 h 5217112"/>
              <a:gd name="connsiteX412" fmla="*/ 1417743 w 6785952"/>
              <a:gd name="connsiteY412" fmla="*/ 4950062 h 5217112"/>
              <a:gd name="connsiteX413" fmla="*/ 1413535 w 6785952"/>
              <a:gd name="connsiteY413" fmla="*/ 4935786 h 5217112"/>
              <a:gd name="connsiteX414" fmla="*/ 1429467 w 6785952"/>
              <a:gd name="connsiteY414" fmla="*/ 4925825 h 5217112"/>
              <a:gd name="connsiteX415" fmla="*/ 5417423 w 6785952"/>
              <a:gd name="connsiteY415" fmla="*/ 4918300 h 5217112"/>
              <a:gd name="connsiteX416" fmla="*/ 5420130 w 6785952"/>
              <a:gd name="connsiteY416" fmla="*/ 4920513 h 5217112"/>
              <a:gd name="connsiteX417" fmla="*/ 5420431 w 6785952"/>
              <a:gd name="connsiteY417" fmla="*/ 4923390 h 5217112"/>
              <a:gd name="connsiteX418" fmla="*/ 5418026 w 6785952"/>
              <a:gd name="connsiteY418" fmla="*/ 4925161 h 5217112"/>
              <a:gd name="connsiteX419" fmla="*/ 5413818 w 6785952"/>
              <a:gd name="connsiteY419" fmla="*/ 4924054 h 5217112"/>
              <a:gd name="connsiteX420" fmla="*/ 4161756 w 6785952"/>
              <a:gd name="connsiteY420" fmla="*/ 4918300 h 5217112"/>
              <a:gd name="connsiteX421" fmla="*/ 4164461 w 6785952"/>
              <a:gd name="connsiteY421" fmla="*/ 4920513 h 5217112"/>
              <a:gd name="connsiteX422" fmla="*/ 4164762 w 6785952"/>
              <a:gd name="connsiteY422" fmla="*/ 4923390 h 5217112"/>
              <a:gd name="connsiteX423" fmla="*/ 4162657 w 6785952"/>
              <a:gd name="connsiteY423" fmla="*/ 4925161 h 5217112"/>
              <a:gd name="connsiteX424" fmla="*/ 4158149 w 6785952"/>
              <a:gd name="connsiteY424" fmla="*/ 4924054 h 5217112"/>
              <a:gd name="connsiteX425" fmla="*/ 2652669 w 6785952"/>
              <a:gd name="connsiteY425" fmla="*/ 4918300 h 5217112"/>
              <a:gd name="connsiteX426" fmla="*/ 2655375 w 6785952"/>
              <a:gd name="connsiteY426" fmla="*/ 4920513 h 5217112"/>
              <a:gd name="connsiteX427" fmla="*/ 2655976 w 6785952"/>
              <a:gd name="connsiteY427" fmla="*/ 4923390 h 5217112"/>
              <a:gd name="connsiteX428" fmla="*/ 2653572 w 6785952"/>
              <a:gd name="connsiteY428" fmla="*/ 4925161 h 5217112"/>
              <a:gd name="connsiteX429" fmla="*/ 2649363 w 6785952"/>
              <a:gd name="connsiteY429" fmla="*/ 4924054 h 5217112"/>
              <a:gd name="connsiteX430" fmla="*/ 1623664 w 6785952"/>
              <a:gd name="connsiteY430" fmla="*/ 4918300 h 5217112"/>
              <a:gd name="connsiteX431" fmla="*/ 1626370 w 6785952"/>
              <a:gd name="connsiteY431" fmla="*/ 4920513 h 5217112"/>
              <a:gd name="connsiteX432" fmla="*/ 1626672 w 6785952"/>
              <a:gd name="connsiteY432" fmla="*/ 4923390 h 5217112"/>
              <a:gd name="connsiteX433" fmla="*/ 1624567 w 6785952"/>
              <a:gd name="connsiteY433" fmla="*/ 4925161 h 5217112"/>
              <a:gd name="connsiteX434" fmla="*/ 1620057 w 6785952"/>
              <a:gd name="connsiteY434" fmla="*/ 4924054 h 5217112"/>
              <a:gd name="connsiteX435" fmla="*/ 5761629 w 6785952"/>
              <a:gd name="connsiteY435" fmla="*/ 4918078 h 5217112"/>
              <a:gd name="connsiteX436" fmla="*/ 5768242 w 6785952"/>
              <a:gd name="connsiteY436" fmla="*/ 4952718 h 5217112"/>
              <a:gd name="connsiteX437" fmla="*/ 5760726 w 6785952"/>
              <a:gd name="connsiteY437" fmla="*/ 4959580 h 5217112"/>
              <a:gd name="connsiteX438" fmla="*/ 5761629 w 6785952"/>
              <a:gd name="connsiteY438" fmla="*/ 4918078 h 5217112"/>
              <a:gd name="connsiteX439" fmla="*/ 4505960 w 6785952"/>
              <a:gd name="connsiteY439" fmla="*/ 4918078 h 5217112"/>
              <a:gd name="connsiteX440" fmla="*/ 4512573 w 6785952"/>
              <a:gd name="connsiteY440" fmla="*/ 4952718 h 5217112"/>
              <a:gd name="connsiteX441" fmla="*/ 4505058 w 6785952"/>
              <a:gd name="connsiteY441" fmla="*/ 4959580 h 5217112"/>
              <a:gd name="connsiteX442" fmla="*/ 4505960 w 6785952"/>
              <a:gd name="connsiteY442" fmla="*/ 4918078 h 5217112"/>
              <a:gd name="connsiteX443" fmla="*/ 1967868 w 6785952"/>
              <a:gd name="connsiteY443" fmla="*/ 4918078 h 5217112"/>
              <a:gd name="connsiteX444" fmla="*/ 1974783 w 6785952"/>
              <a:gd name="connsiteY444" fmla="*/ 4952718 h 5217112"/>
              <a:gd name="connsiteX445" fmla="*/ 1966967 w 6785952"/>
              <a:gd name="connsiteY445" fmla="*/ 4959580 h 5217112"/>
              <a:gd name="connsiteX446" fmla="*/ 1967868 w 6785952"/>
              <a:gd name="connsiteY446" fmla="*/ 4918078 h 5217112"/>
              <a:gd name="connsiteX447" fmla="*/ 4931631 w 6785952"/>
              <a:gd name="connsiteY447" fmla="*/ 4915754 h 5217112"/>
              <a:gd name="connsiteX448" fmla="*/ 4885336 w 6785952"/>
              <a:gd name="connsiteY448" fmla="*/ 4938220 h 5217112"/>
              <a:gd name="connsiteX449" fmla="*/ 4931631 w 6785952"/>
              <a:gd name="connsiteY449" fmla="*/ 4915754 h 5217112"/>
              <a:gd name="connsiteX450" fmla="*/ 3675962 w 6785952"/>
              <a:gd name="connsiteY450" fmla="*/ 4915754 h 5217112"/>
              <a:gd name="connsiteX451" fmla="*/ 3629667 w 6785952"/>
              <a:gd name="connsiteY451" fmla="*/ 4938220 h 5217112"/>
              <a:gd name="connsiteX452" fmla="*/ 3675962 w 6785952"/>
              <a:gd name="connsiteY452" fmla="*/ 4915754 h 5217112"/>
              <a:gd name="connsiteX453" fmla="*/ 2166876 w 6785952"/>
              <a:gd name="connsiteY453" fmla="*/ 4915754 h 5217112"/>
              <a:gd name="connsiteX454" fmla="*/ 2120582 w 6785952"/>
              <a:gd name="connsiteY454" fmla="*/ 4938220 h 5217112"/>
              <a:gd name="connsiteX455" fmla="*/ 2166876 w 6785952"/>
              <a:gd name="connsiteY455" fmla="*/ 4915754 h 5217112"/>
              <a:gd name="connsiteX456" fmla="*/ 1137871 w 6785952"/>
              <a:gd name="connsiteY456" fmla="*/ 4915754 h 5217112"/>
              <a:gd name="connsiteX457" fmla="*/ 1091577 w 6785952"/>
              <a:gd name="connsiteY457" fmla="*/ 4938220 h 5217112"/>
              <a:gd name="connsiteX458" fmla="*/ 1137871 w 6785952"/>
              <a:gd name="connsiteY458" fmla="*/ 4915754 h 5217112"/>
              <a:gd name="connsiteX459" fmla="*/ 5431553 w 6785952"/>
              <a:gd name="connsiteY459" fmla="*/ 4906679 h 5217112"/>
              <a:gd name="connsiteX460" fmla="*/ 5432455 w 6785952"/>
              <a:gd name="connsiteY460" fmla="*/ 4906679 h 5217112"/>
              <a:gd name="connsiteX461" fmla="*/ 5436364 w 6785952"/>
              <a:gd name="connsiteY461" fmla="*/ 4908560 h 5217112"/>
              <a:gd name="connsiteX462" fmla="*/ 5439068 w 6785952"/>
              <a:gd name="connsiteY462" fmla="*/ 4912877 h 5217112"/>
              <a:gd name="connsiteX463" fmla="*/ 5438767 w 6785952"/>
              <a:gd name="connsiteY463" fmla="*/ 4916972 h 5217112"/>
              <a:gd name="connsiteX464" fmla="*/ 5436063 w 6785952"/>
              <a:gd name="connsiteY464" fmla="*/ 4919406 h 5217112"/>
              <a:gd name="connsiteX465" fmla="*/ 5429749 w 6785952"/>
              <a:gd name="connsiteY465" fmla="*/ 4909225 h 5217112"/>
              <a:gd name="connsiteX466" fmla="*/ 5431553 w 6785952"/>
              <a:gd name="connsiteY466" fmla="*/ 4906679 h 5217112"/>
              <a:gd name="connsiteX467" fmla="*/ 4175885 w 6785952"/>
              <a:gd name="connsiteY467" fmla="*/ 4906679 h 5217112"/>
              <a:gd name="connsiteX468" fmla="*/ 4177088 w 6785952"/>
              <a:gd name="connsiteY468" fmla="*/ 4906679 h 5217112"/>
              <a:gd name="connsiteX469" fmla="*/ 4180995 w 6785952"/>
              <a:gd name="connsiteY469" fmla="*/ 4908560 h 5217112"/>
              <a:gd name="connsiteX470" fmla="*/ 4183400 w 6785952"/>
              <a:gd name="connsiteY470" fmla="*/ 4912877 h 5217112"/>
              <a:gd name="connsiteX471" fmla="*/ 4183400 w 6785952"/>
              <a:gd name="connsiteY471" fmla="*/ 4916972 h 5217112"/>
              <a:gd name="connsiteX472" fmla="*/ 4180695 w 6785952"/>
              <a:gd name="connsiteY472" fmla="*/ 4919406 h 5217112"/>
              <a:gd name="connsiteX473" fmla="*/ 4174382 w 6785952"/>
              <a:gd name="connsiteY473" fmla="*/ 4909225 h 5217112"/>
              <a:gd name="connsiteX474" fmla="*/ 4175885 w 6785952"/>
              <a:gd name="connsiteY474" fmla="*/ 4906679 h 5217112"/>
              <a:gd name="connsiteX475" fmla="*/ 2666798 w 6785952"/>
              <a:gd name="connsiteY475" fmla="*/ 4906679 h 5217112"/>
              <a:gd name="connsiteX476" fmla="*/ 2668001 w 6785952"/>
              <a:gd name="connsiteY476" fmla="*/ 4906679 h 5217112"/>
              <a:gd name="connsiteX477" fmla="*/ 2671908 w 6785952"/>
              <a:gd name="connsiteY477" fmla="*/ 4908560 h 5217112"/>
              <a:gd name="connsiteX478" fmla="*/ 2674314 w 6785952"/>
              <a:gd name="connsiteY478" fmla="*/ 4912877 h 5217112"/>
              <a:gd name="connsiteX479" fmla="*/ 2674314 w 6785952"/>
              <a:gd name="connsiteY479" fmla="*/ 4916972 h 5217112"/>
              <a:gd name="connsiteX480" fmla="*/ 2671608 w 6785952"/>
              <a:gd name="connsiteY480" fmla="*/ 4919406 h 5217112"/>
              <a:gd name="connsiteX481" fmla="*/ 2665295 w 6785952"/>
              <a:gd name="connsiteY481" fmla="*/ 4909225 h 5217112"/>
              <a:gd name="connsiteX482" fmla="*/ 2666798 w 6785952"/>
              <a:gd name="connsiteY482" fmla="*/ 4906679 h 5217112"/>
              <a:gd name="connsiteX483" fmla="*/ 1637794 w 6785952"/>
              <a:gd name="connsiteY483" fmla="*/ 4906679 h 5217112"/>
              <a:gd name="connsiteX484" fmla="*/ 1638996 w 6785952"/>
              <a:gd name="connsiteY484" fmla="*/ 4906679 h 5217112"/>
              <a:gd name="connsiteX485" fmla="*/ 1642603 w 6785952"/>
              <a:gd name="connsiteY485" fmla="*/ 4908560 h 5217112"/>
              <a:gd name="connsiteX486" fmla="*/ 1645309 w 6785952"/>
              <a:gd name="connsiteY486" fmla="*/ 4912877 h 5217112"/>
              <a:gd name="connsiteX487" fmla="*/ 1645309 w 6785952"/>
              <a:gd name="connsiteY487" fmla="*/ 4916972 h 5217112"/>
              <a:gd name="connsiteX488" fmla="*/ 1642603 w 6785952"/>
              <a:gd name="connsiteY488" fmla="*/ 4919406 h 5217112"/>
              <a:gd name="connsiteX489" fmla="*/ 1636291 w 6785952"/>
              <a:gd name="connsiteY489" fmla="*/ 4909225 h 5217112"/>
              <a:gd name="connsiteX490" fmla="*/ 1637794 w 6785952"/>
              <a:gd name="connsiteY490" fmla="*/ 4906679 h 5217112"/>
              <a:gd name="connsiteX491" fmla="*/ 3518440 w 6785952"/>
              <a:gd name="connsiteY491" fmla="*/ 4904244 h 5217112"/>
              <a:gd name="connsiteX492" fmla="*/ 3519342 w 6785952"/>
              <a:gd name="connsiteY492" fmla="*/ 4928260 h 5217112"/>
              <a:gd name="connsiteX493" fmla="*/ 3498599 w 6785952"/>
              <a:gd name="connsiteY493" fmla="*/ 4941651 h 5217112"/>
              <a:gd name="connsiteX494" fmla="*/ 3481164 w 6785952"/>
              <a:gd name="connsiteY494" fmla="*/ 4925272 h 5217112"/>
              <a:gd name="connsiteX495" fmla="*/ 3518440 w 6785952"/>
              <a:gd name="connsiteY495" fmla="*/ 4904244 h 5217112"/>
              <a:gd name="connsiteX496" fmla="*/ 3017015 w 6785952"/>
              <a:gd name="connsiteY496" fmla="*/ 4901256 h 5217112"/>
              <a:gd name="connsiteX497" fmla="*/ 3023628 w 6785952"/>
              <a:gd name="connsiteY497" fmla="*/ 4902142 h 5217112"/>
              <a:gd name="connsiteX498" fmla="*/ 3009499 w 6785952"/>
              <a:gd name="connsiteY498" fmla="*/ 4926932 h 5217112"/>
              <a:gd name="connsiteX499" fmla="*/ 3001683 w 6785952"/>
              <a:gd name="connsiteY499" fmla="*/ 4945414 h 5217112"/>
              <a:gd name="connsiteX500" fmla="*/ 3003788 w 6785952"/>
              <a:gd name="connsiteY500" fmla="*/ 4952718 h 5217112"/>
              <a:gd name="connsiteX501" fmla="*/ 2996272 w 6785952"/>
              <a:gd name="connsiteY501" fmla="*/ 4959580 h 5217112"/>
              <a:gd name="connsiteX502" fmla="*/ 2995371 w 6785952"/>
              <a:gd name="connsiteY502" fmla="*/ 4958584 h 5217112"/>
              <a:gd name="connsiteX503" fmla="*/ 2986653 w 6785952"/>
              <a:gd name="connsiteY503" fmla="*/ 4975517 h 5217112"/>
              <a:gd name="connsiteX504" fmla="*/ 2967413 w 6785952"/>
              <a:gd name="connsiteY504" fmla="*/ 4999754 h 5217112"/>
              <a:gd name="connsiteX505" fmla="*/ 3017015 w 6785952"/>
              <a:gd name="connsiteY505" fmla="*/ 4901256 h 5217112"/>
              <a:gd name="connsiteX506" fmla="*/ 6159943 w 6785952"/>
              <a:gd name="connsiteY506" fmla="*/ 4883438 h 5217112"/>
              <a:gd name="connsiteX507" fmla="*/ 6173470 w 6785952"/>
              <a:gd name="connsiteY507" fmla="*/ 4885430 h 5217112"/>
              <a:gd name="connsiteX508" fmla="*/ 6173170 w 6785952"/>
              <a:gd name="connsiteY508" fmla="*/ 4893952 h 5217112"/>
              <a:gd name="connsiteX509" fmla="*/ 6160544 w 6785952"/>
              <a:gd name="connsiteY509" fmla="*/ 4895280 h 5217112"/>
              <a:gd name="connsiteX510" fmla="*/ 6159943 w 6785952"/>
              <a:gd name="connsiteY510" fmla="*/ 4883438 h 5217112"/>
              <a:gd name="connsiteX511" fmla="*/ 4904575 w 6785952"/>
              <a:gd name="connsiteY511" fmla="*/ 4883438 h 5217112"/>
              <a:gd name="connsiteX512" fmla="*/ 4918102 w 6785952"/>
              <a:gd name="connsiteY512" fmla="*/ 4885430 h 5217112"/>
              <a:gd name="connsiteX513" fmla="*/ 4917501 w 6785952"/>
              <a:gd name="connsiteY513" fmla="*/ 4893952 h 5217112"/>
              <a:gd name="connsiteX514" fmla="*/ 4904876 w 6785952"/>
              <a:gd name="connsiteY514" fmla="*/ 4895280 h 5217112"/>
              <a:gd name="connsiteX515" fmla="*/ 4904575 w 6785952"/>
              <a:gd name="connsiteY515" fmla="*/ 4883438 h 5217112"/>
              <a:gd name="connsiteX516" fmla="*/ 3395489 w 6785952"/>
              <a:gd name="connsiteY516" fmla="*/ 4883438 h 5217112"/>
              <a:gd name="connsiteX517" fmla="*/ 3409016 w 6785952"/>
              <a:gd name="connsiteY517" fmla="*/ 4885430 h 5217112"/>
              <a:gd name="connsiteX518" fmla="*/ 3408415 w 6785952"/>
              <a:gd name="connsiteY518" fmla="*/ 4893952 h 5217112"/>
              <a:gd name="connsiteX519" fmla="*/ 3395789 w 6785952"/>
              <a:gd name="connsiteY519" fmla="*/ 4895280 h 5217112"/>
              <a:gd name="connsiteX520" fmla="*/ 3395489 w 6785952"/>
              <a:gd name="connsiteY520" fmla="*/ 4883438 h 5217112"/>
              <a:gd name="connsiteX521" fmla="*/ 2366183 w 6785952"/>
              <a:gd name="connsiteY521" fmla="*/ 4883438 h 5217112"/>
              <a:gd name="connsiteX522" fmla="*/ 2379711 w 6785952"/>
              <a:gd name="connsiteY522" fmla="*/ 4885430 h 5217112"/>
              <a:gd name="connsiteX523" fmla="*/ 2379411 w 6785952"/>
              <a:gd name="connsiteY523" fmla="*/ 4893952 h 5217112"/>
              <a:gd name="connsiteX524" fmla="*/ 2366784 w 6785952"/>
              <a:gd name="connsiteY524" fmla="*/ 4895280 h 5217112"/>
              <a:gd name="connsiteX525" fmla="*/ 2366183 w 6785952"/>
              <a:gd name="connsiteY525" fmla="*/ 4883438 h 5217112"/>
              <a:gd name="connsiteX526" fmla="*/ 5633866 w 6785952"/>
              <a:gd name="connsiteY526" fmla="*/ 4877351 h 5217112"/>
              <a:gd name="connsiteX527" fmla="*/ 5639879 w 6785952"/>
              <a:gd name="connsiteY527" fmla="*/ 4877462 h 5217112"/>
              <a:gd name="connsiteX528" fmla="*/ 5642585 w 6785952"/>
              <a:gd name="connsiteY528" fmla="*/ 4881225 h 5217112"/>
              <a:gd name="connsiteX529" fmla="*/ 5644388 w 6785952"/>
              <a:gd name="connsiteY529" fmla="*/ 4884102 h 5217112"/>
              <a:gd name="connsiteX530" fmla="*/ 5643186 w 6785952"/>
              <a:gd name="connsiteY530" fmla="*/ 4890410 h 5217112"/>
              <a:gd name="connsiteX531" fmla="*/ 5644989 w 6785952"/>
              <a:gd name="connsiteY531" fmla="*/ 4889857 h 5217112"/>
              <a:gd name="connsiteX532" fmla="*/ 5635972 w 6785952"/>
              <a:gd name="connsiteY532" fmla="*/ 4894284 h 5217112"/>
              <a:gd name="connsiteX533" fmla="*/ 5628155 w 6785952"/>
              <a:gd name="connsiteY533" fmla="*/ 4878237 h 5217112"/>
              <a:gd name="connsiteX534" fmla="*/ 5633866 w 6785952"/>
              <a:gd name="connsiteY534" fmla="*/ 4877351 h 5217112"/>
              <a:gd name="connsiteX535" fmla="*/ 4378199 w 6785952"/>
              <a:gd name="connsiteY535" fmla="*/ 4877351 h 5217112"/>
              <a:gd name="connsiteX536" fmla="*/ 4384211 w 6785952"/>
              <a:gd name="connsiteY536" fmla="*/ 4877462 h 5217112"/>
              <a:gd name="connsiteX537" fmla="*/ 4386916 w 6785952"/>
              <a:gd name="connsiteY537" fmla="*/ 4881225 h 5217112"/>
              <a:gd name="connsiteX538" fmla="*/ 4388720 w 6785952"/>
              <a:gd name="connsiteY538" fmla="*/ 4884102 h 5217112"/>
              <a:gd name="connsiteX539" fmla="*/ 4387819 w 6785952"/>
              <a:gd name="connsiteY539" fmla="*/ 4890410 h 5217112"/>
              <a:gd name="connsiteX540" fmla="*/ 4389321 w 6785952"/>
              <a:gd name="connsiteY540" fmla="*/ 4889857 h 5217112"/>
              <a:gd name="connsiteX541" fmla="*/ 4380604 w 6785952"/>
              <a:gd name="connsiteY541" fmla="*/ 4894284 h 5217112"/>
              <a:gd name="connsiteX542" fmla="*/ 4372487 w 6785952"/>
              <a:gd name="connsiteY542" fmla="*/ 4878237 h 5217112"/>
              <a:gd name="connsiteX543" fmla="*/ 4378199 w 6785952"/>
              <a:gd name="connsiteY543" fmla="*/ 4877351 h 5217112"/>
              <a:gd name="connsiteX544" fmla="*/ 2869112 w 6785952"/>
              <a:gd name="connsiteY544" fmla="*/ 4877351 h 5217112"/>
              <a:gd name="connsiteX545" fmla="*/ 2875124 w 6785952"/>
              <a:gd name="connsiteY545" fmla="*/ 4877462 h 5217112"/>
              <a:gd name="connsiteX546" fmla="*/ 2877829 w 6785952"/>
              <a:gd name="connsiteY546" fmla="*/ 4881225 h 5217112"/>
              <a:gd name="connsiteX547" fmla="*/ 2879934 w 6785952"/>
              <a:gd name="connsiteY547" fmla="*/ 4884102 h 5217112"/>
              <a:gd name="connsiteX548" fmla="*/ 2878732 w 6785952"/>
              <a:gd name="connsiteY548" fmla="*/ 4890410 h 5217112"/>
              <a:gd name="connsiteX549" fmla="*/ 2880535 w 6785952"/>
              <a:gd name="connsiteY549" fmla="*/ 4889857 h 5217112"/>
              <a:gd name="connsiteX550" fmla="*/ 2871517 w 6785952"/>
              <a:gd name="connsiteY550" fmla="*/ 4894284 h 5217112"/>
              <a:gd name="connsiteX551" fmla="*/ 2863701 w 6785952"/>
              <a:gd name="connsiteY551" fmla="*/ 4878237 h 5217112"/>
              <a:gd name="connsiteX552" fmla="*/ 2869112 w 6785952"/>
              <a:gd name="connsiteY552" fmla="*/ 4877351 h 5217112"/>
              <a:gd name="connsiteX553" fmla="*/ 1840107 w 6785952"/>
              <a:gd name="connsiteY553" fmla="*/ 4877351 h 5217112"/>
              <a:gd name="connsiteX554" fmla="*/ 1846120 w 6785952"/>
              <a:gd name="connsiteY554" fmla="*/ 4877462 h 5217112"/>
              <a:gd name="connsiteX555" fmla="*/ 1848826 w 6785952"/>
              <a:gd name="connsiteY555" fmla="*/ 4881225 h 5217112"/>
              <a:gd name="connsiteX556" fmla="*/ 1850929 w 6785952"/>
              <a:gd name="connsiteY556" fmla="*/ 4884102 h 5217112"/>
              <a:gd name="connsiteX557" fmla="*/ 1849727 w 6785952"/>
              <a:gd name="connsiteY557" fmla="*/ 4890410 h 5217112"/>
              <a:gd name="connsiteX558" fmla="*/ 1851230 w 6785952"/>
              <a:gd name="connsiteY558" fmla="*/ 4889857 h 5217112"/>
              <a:gd name="connsiteX559" fmla="*/ 1842512 w 6785952"/>
              <a:gd name="connsiteY559" fmla="*/ 4894284 h 5217112"/>
              <a:gd name="connsiteX560" fmla="*/ 1834395 w 6785952"/>
              <a:gd name="connsiteY560" fmla="*/ 4878237 h 5217112"/>
              <a:gd name="connsiteX561" fmla="*/ 1840107 w 6785952"/>
              <a:gd name="connsiteY561" fmla="*/ 4877351 h 5217112"/>
              <a:gd name="connsiteX562" fmla="*/ 5286357 w 6785952"/>
              <a:gd name="connsiteY562" fmla="*/ 4874474 h 5217112"/>
              <a:gd name="connsiteX563" fmla="*/ 5263811 w 6785952"/>
              <a:gd name="connsiteY563" fmla="*/ 4896497 h 5217112"/>
              <a:gd name="connsiteX564" fmla="*/ 5262307 w 6785952"/>
              <a:gd name="connsiteY564" fmla="*/ 4890632 h 5217112"/>
              <a:gd name="connsiteX565" fmla="*/ 5265313 w 6785952"/>
              <a:gd name="connsiteY565" fmla="*/ 4889636 h 5217112"/>
              <a:gd name="connsiteX566" fmla="*/ 5286357 w 6785952"/>
              <a:gd name="connsiteY566" fmla="*/ 4874474 h 5217112"/>
              <a:gd name="connsiteX567" fmla="*/ 4030988 w 6785952"/>
              <a:gd name="connsiteY567" fmla="*/ 4874474 h 5217112"/>
              <a:gd name="connsiteX568" fmla="*/ 4008442 w 6785952"/>
              <a:gd name="connsiteY568" fmla="*/ 4896497 h 5217112"/>
              <a:gd name="connsiteX569" fmla="*/ 4006638 w 6785952"/>
              <a:gd name="connsiteY569" fmla="*/ 4890632 h 5217112"/>
              <a:gd name="connsiteX570" fmla="*/ 4009644 w 6785952"/>
              <a:gd name="connsiteY570" fmla="*/ 4889636 h 5217112"/>
              <a:gd name="connsiteX571" fmla="*/ 4030988 w 6785952"/>
              <a:gd name="connsiteY571" fmla="*/ 4874474 h 5217112"/>
              <a:gd name="connsiteX572" fmla="*/ 2521902 w 6785952"/>
              <a:gd name="connsiteY572" fmla="*/ 4874474 h 5217112"/>
              <a:gd name="connsiteX573" fmla="*/ 2499356 w 6785952"/>
              <a:gd name="connsiteY573" fmla="*/ 4896497 h 5217112"/>
              <a:gd name="connsiteX574" fmla="*/ 2497552 w 6785952"/>
              <a:gd name="connsiteY574" fmla="*/ 4890632 h 5217112"/>
              <a:gd name="connsiteX575" fmla="*/ 2500860 w 6785952"/>
              <a:gd name="connsiteY575" fmla="*/ 4889636 h 5217112"/>
              <a:gd name="connsiteX576" fmla="*/ 2521902 w 6785952"/>
              <a:gd name="connsiteY576" fmla="*/ 4874474 h 5217112"/>
              <a:gd name="connsiteX577" fmla="*/ 1492897 w 6785952"/>
              <a:gd name="connsiteY577" fmla="*/ 4874474 h 5217112"/>
              <a:gd name="connsiteX578" fmla="*/ 1470051 w 6785952"/>
              <a:gd name="connsiteY578" fmla="*/ 4896497 h 5217112"/>
              <a:gd name="connsiteX579" fmla="*/ 1468548 w 6785952"/>
              <a:gd name="connsiteY579" fmla="*/ 4890632 h 5217112"/>
              <a:gd name="connsiteX580" fmla="*/ 1471554 w 6785952"/>
              <a:gd name="connsiteY580" fmla="*/ 4889636 h 5217112"/>
              <a:gd name="connsiteX581" fmla="*/ 1492897 w 6785952"/>
              <a:gd name="connsiteY581" fmla="*/ 4874474 h 5217112"/>
              <a:gd name="connsiteX582" fmla="*/ 5751107 w 6785952"/>
              <a:gd name="connsiteY582" fmla="*/ 4873478 h 5217112"/>
              <a:gd name="connsiteX583" fmla="*/ 5755615 w 6785952"/>
              <a:gd name="connsiteY583" fmla="*/ 4874695 h 5217112"/>
              <a:gd name="connsiteX584" fmla="*/ 5753512 w 6785952"/>
              <a:gd name="connsiteY584" fmla="*/ 4888418 h 5217112"/>
              <a:gd name="connsiteX585" fmla="*/ 5748101 w 6785952"/>
              <a:gd name="connsiteY585" fmla="*/ 4874252 h 5217112"/>
              <a:gd name="connsiteX586" fmla="*/ 5751107 w 6785952"/>
              <a:gd name="connsiteY586" fmla="*/ 4873478 h 5217112"/>
              <a:gd name="connsiteX587" fmla="*/ 2986653 w 6785952"/>
              <a:gd name="connsiteY587" fmla="*/ 4873478 h 5217112"/>
              <a:gd name="connsiteX588" fmla="*/ 2990861 w 6785952"/>
              <a:gd name="connsiteY588" fmla="*/ 4874695 h 5217112"/>
              <a:gd name="connsiteX589" fmla="*/ 2989058 w 6785952"/>
              <a:gd name="connsiteY589" fmla="*/ 4888418 h 5217112"/>
              <a:gd name="connsiteX590" fmla="*/ 2983647 w 6785952"/>
              <a:gd name="connsiteY590" fmla="*/ 4874252 h 5217112"/>
              <a:gd name="connsiteX591" fmla="*/ 2986653 w 6785952"/>
              <a:gd name="connsiteY591" fmla="*/ 4873478 h 5217112"/>
              <a:gd name="connsiteX592" fmla="*/ 1957348 w 6785952"/>
              <a:gd name="connsiteY592" fmla="*/ 4873478 h 5217112"/>
              <a:gd name="connsiteX593" fmla="*/ 1961856 w 6785952"/>
              <a:gd name="connsiteY593" fmla="*/ 4874695 h 5217112"/>
              <a:gd name="connsiteX594" fmla="*/ 1960053 w 6785952"/>
              <a:gd name="connsiteY594" fmla="*/ 4888418 h 5217112"/>
              <a:gd name="connsiteX595" fmla="*/ 1954342 w 6785952"/>
              <a:gd name="connsiteY595" fmla="*/ 4874252 h 5217112"/>
              <a:gd name="connsiteX596" fmla="*/ 1957348 w 6785952"/>
              <a:gd name="connsiteY596" fmla="*/ 4873478 h 5217112"/>
              <a:gd name="connsiteX597" fmla="*/ 5351289 w 6785952"/>
              <a:gd name="connsiteY597" fmla="*/ 4872371 h 5217112"/>
              <a:gd name="connsiteX598" fmla="*/ 5355197 w 6785952"/>
              <a:gd name="connsiteY598" fmla="*/ 4873256 h 5217112"/>
              <a:gd name="connsiteX599" fmla="*/ 5357001 w 6785952"/>
              <a:gd name="connsiteY599" fmla="*/ 4879122 h 5217112"/>
              <a:gd name="connsiteX600" fmla="*/ 5347081 w 6785952"/>
              <a:gd name="connsiteY600" fmla="*/ 4889746 h 5217112"/>
              <a:gd name="connsiteX601" fmla="*/ 5343172 w 6785952"/>
              <a:gd name="connsiteY601" fmla="*/ 4889968 h 5217112"/>
              <a:gd name="connsiteX602" fmla="*/ 5342571 w 6785952"/>
              <a:gd name="connsiteY602" fmla="*/ 4882221 h 5217112"/>
              <a:gd name="connsiteX603" fmla="*/ 5351289 w 6785952"/>
              <a:gd name="connsiteY603" fmla="*/ 4872371 h 5217112"/>
              <a:gd name="connsiteX604" fmla="*/ 4095620 w 6785952"/>
              <a:gd name="connsiteY604" fmla="*/ 4872371 h 5217112"/>
              <a:gd name="connsiteX605" fmla="*/ 4099829 w 6785952"/>
              <a:gd name="connsiteY605" fmla="*/ 4873256 h 5217112"/>
              <a:gd name="connsiteX606" fmla="*/ 4101332 w 6785952"/>
              <a:gd name="connsiteY606" fmla="*/ 4879122 h 5217112"/>
              <a:gd name="connsiteX607" fmla="*/ 4091713 w 6785952"/>
              <a:gd name="connsiteY607" fmla="*/ 4889746 h 5217112"/>
              <a:gd name="connsiteX608" fmla="*/ 4087504 w 6785952"/>
              <a:gd name="connsiteY608" fmla="*/ 4889968 h 5217112"/>
              <a:gd name="connsiteX609" fmla="*/ 4087203 w 6785952"/>
              <a:gd name="connsiteY609" fmla="*/ 4882221 h 5217112"/>
              <a:gd name="connsiteX610" fmla="*/ 4095620 w 6785952"/>
              <a:gd name="connsiteY610" fmla="*/ 4872371 h 5217112"/>
              <a:gd name="connsiteX611" fmla="*/ 1557530 w 6785952"/>
              <a:gd name="connsiteY611" fmla="*/ 4872371 h 5217112"/>
              <a:gd name="connsiteX612" fmla="*/ 1561738 w 6785952"/>
              <a:gd name="connsiteY612" fmla="*/ 4873256 h 5217112"/>
              <a:gd name="connsiteX613" fmla="*/ 1563242 w 6785952"/>
              <a:gd name="connsiteY613" fmla="*/ 4879122 h 5217112"/>
              <a:gd name="connsiteX614" fmla="*/ 1553621 w 6785952"/>
              <a:gd name="connsiteY614" fmla="*/ 4889746 h 5217112"/>
              <a:gd name="connsiteX615" fmla="*/ 1549714 w 6785952"/>
              <a:gd name="connsiteY615" fmla="*/ 4889968 h 5217112"/>
              <a:gd name="connsiteX616" fmla="*/ 1549113 w 6785952"/>
              <a:gd name="connsiteY616" fmla="*/ 4882221 h 5217112"/>
              <a:gd name="connsiteX617" fmla="*/ 1557530 w 6785952"/>
              <a:gd name="connsiteY617" fmla="*/ 4872371 h 5217112"/>
              <a:gd name="connsiteX618" fmla="*/ 4491230 w 6785952"/>
              <a:gd name="connsiteY618" fmla="*/ 4870822 h 5217112"/>
              <a:gd name="connsiteX619" fmla="*/ 4498445 w 6785952"/>
              <a:gd name="connsiteY619" fmla="*/ 4873920 h 5217112"/>
              <a:gd name="connsiteX620" fmla="*/ 4499647 w 6785952"/>
              <a:gd name="connsiteY620" fmla="*/ 4874695 h 5217112"/>
              <a:gd name="connsiteX621" fmla="*/ 4499948 w 6785952"/>
              <a:gd name="connsiteY621" fmla="*/ 4874695 h 5217112"/>
              <a:gd name="connsiteX622" fmla="*/ 4499948 w 6785952"/>
              <a:gd name="connsiteY622" fmla="*/ 4875138 h 5217112"/>
              <a:gd name="connsiteX623" fmla="*/ 4505960 w 6785952"/>
              <a:gd name="connsiteY623" fmla="*/ 4880229 h 5217112"/>
              <a:gd name="connsiteX624" fmla="*/ 4481009 w 6785952"/>
              <a:gd name="connsiteY624" fmla="*/ 4897272 h 5217112"/>
              <a:gd name="connsiteX625" fmla="*/ 4474095 w 6785952"/>
              <a:gd name="connsiteY625" fmla="*/ 4876798 h 5217112"/>
              <a:gd name="connsiteX626" fmla="*/ 4491230 w 6785952"/>
              <a:gd name="connsiteY626" fmla="*/ 4870822 h 5217112"/>
              <a:gd name="connsiteX627" fmla="*/ 5281246 w 6785952"/>
              <a:gd name="connsiteY627" fmla="*/ 4868829 h 5217112"/>
              <a:gd name="connsiteX628" fmla="*/ 5281547 w 6785952"/>
              <a:gd name="connsiteY628" fmla="*/ 4870158 h 5217112"/>
              <a:gd name="connsiteX629" fmla="*/ 5266515 w 6785952"/>
              <a:gd name="connsiteY629" fmla="*/ 4878901 h 5217112"/>
              <a:gd name="connsiteX630" fmla="*/ 5260503 w 6785952"/>
              <a:gd name="connsiteY630" fmla="*/ 4880229 h 5217112"/>
              <a:gd name="connsiteX631" fmla="*/ 5262307 w 6785952"/>
              <a:gd name="connsiteY631" fmla="*/ 4879786 h 5217112"/>
              <a:gd name="connsiteX632" fmla="*/ 5260203 w 6785952"/>
              <a:gd name="connsiteY632" fmla="*/ 4878901 h 5217112"/>
              <a:gd name="connsiteX633" fmla="*/ 5281246 w 6785952"/>
              <a:gd name="connsiteY633" fmla="*/ 4868829 h 5217112"/>
              <a:gd name="connsiteX634" fmla="*/ 4025577 w 6785952"/>
              <a:gd name="connsiteY634" fmla="*/ 4868829 h 5217112"/>
              <a:gd name="connsiteX635" fmla="*/ 4026178 w 6785952"/>
              <a:gd name="connsiteY635" fmla="*/ 4870158 h 5217112"/>
              <a:gd name="connsiteX636" fmla="*/ 4011148 w 6785952"/>
              <a:gd name="connsiteY636" fmla="*/ 4878901 h 5217112"/>
              <a:gd name="connsiteX637" fmla="*/ 4005136 w 6785952"/>
              <a:gd name="connsiteY637" fmla="*/ 4880229 h 5217112"/>
              <a:gd name="connsiteX638" fmla="*/ 4006638 w 6785952"/>
              <a:gd name="connsiteY638" fmla="*/ 4879786 h 5217112"/>
              <a:gd name="connsiteX639" fmla="*/ 4004535 w 6785952"/>
              <a:gd name="connsiteY639" fmla="*/ 4878901 h 5217112"/>
              <a:gd name="connsiteX640" fmla="*/ 4025577 w 6785952"/>
              <a:gd name="connsiteY640" fmla="*/ 4868829 h 5217112"/>
              <a:gd name="connsiteX641" fmla="*/ 2516791 w 6785952"/>
              <a:gd name="connsiteY641" fmla="*/ 4868829 h 5217112"/>
              <a:gd name="connsiteX642" fmla="*/ 2517092 w 6785952"/>
              <a:gd name="connsiteY642" fmla="*/ 4870158 h 5217112"/>
              <a:gd name="connsiteX643" fmla="*/ 2502062 w 6785952"/>
              <a:gd name="connsiteY643" fmla="*/ 4878901 h 5217112"/>
              <a:gd name="connsiteX644" fmla="*/ 2496049 w 6785952"/>
              <a:gd name="connsiteY644" fmla="*/ 4880229 h 5217112"/>
              <a:gd name="connsiteX645" fmla="*/ 2497552 w 6785952"/>
              <a:gd name="connsiteY645" fmla="*/ 4879786 h 5217112"/>
              <a:gd name="connsiteX646" fmla="*/ 2495749 w 6785952"/>
              <a:gd name="connsiteY646" fmla="*/ 4878901 h 5217112"/>
              <a:gd name="connsiteX647" fmla="*/ 2516791 w 6785952"/>
              <a:gd name="connsiteY647" fmla="*/ 4868829 h 5217112"/>
              <a:gd name="connsiteX648" fmla="*/ 1487486 w 6785952"/>
              <a:gd name="connsiteY648" fmla="*/ 4868829 h 5217112"/>
              <a:gd name="connsiteX649" fmla="*/ 1488088 w 6785952"/>
              <a:gd name="connsiteY649" fmla="*/ 4870158 h 5217112"/>
              <a:gd name="connsiteX650" fmla="*/ 1472756 w 6785952"/>
              <a:gd name="connsiteY650" fmla="*/ 4878901 h 5217112"/>
              <a:gd name="connsiteX651" fmla="*/ 1467045 w 6785952"/>
              <a:gd name="connsiteY651" fmla="*/ 4880229 h 5217112"/>
              <a:gd name="connsiteX652" fmla="*/ 1468548 w 6785952"/>
              <a:gd name="connsiteY652" fmla="*/ 4879786 h 5217112"/>
              <a:gd name="connsiteX653" fmla="*/ 1466444 w 6785952"/>
              <a:gd name="connsiteY653" fmla="*/ 4878901 h 5217112"/>
              <a:gd name="connsiteX654" fmla="*/ 1487486 w 6785952"/>
              <a:gd name="connsiteY654" fmla="*/ 4868829 h 5217112"/>
              <a:gd name="connsiteX655" fmla="*/ 5001674 w 6785952"/>
              <a:gd name="connsiteY655" fmla="*/ 4866616 h 5217112"/>
              <a:gd name="connsiteX656" fmla="*/ 5014601 w 6785952"/>
              <a:gd name="connsiteY656" fmla="*/ 4874363 h 5217112"/>
              <a:gd name="connsiteX657" fmla="*/ 5000471 w 6785952"/>
              <a:gd name="connsiteY657" fmla="*/ 4886758 h 5217112"/>
              <a:gd name="connsiteX658" fmla="*/ 5001674 w 6785952"/>
              <a:gd name="connsiteY658" fmla="*/ 4866616 h 5217112"/>
              <a:gd name="connsiteX659" fmla="*/ 3746306 w 6785952"/>
              <a:gd name="connsiteY659" fmla="*/ 4866616 h 5217112"/>
              <a:gd name="connsiteX660" fmla="*/ 3759233 w 6785952"/>
              <a:gd name="connsiteY660" fmla="*/ 4874363 h 5217112"/>
              <a:gd name="connsiteX661" fmla="*/ 3745104 w 6785952"/>
              <a:gd name="connsiteY661" fmla="*/ 4886758 h 5217112"/>
              <a:gd name="connsiteX662" fmla="*/ 3746306 w 6785952"/>
              <a:gd name="connsiteY662" fmla="*/ 4866616 h 5217112"/>
              <a:gd name="connsiteX663" fmla="*/ 2237220 w 6785952"/>
              <a:gd name="connsiteY663" fmla="*/ 4866616 h 5217112"/>
              <a:gd name="connsiteX664" fmla="*/ 2250146 w 6785952"/>
              <a:gd name="connsiteY664" fmla="*/ 4874363 h 5217112"/>
              <a:gd name="connsiteX665" fmla="*/ 2236017 w 6785952"/>
              <a:gd name="connsiteY665" fmla="*/ 4886758 h 5217112"/>
              <a:gd name="connsiteX666" fmla="*/ 2237220 w 6785952"/>
              <a:gd name="connsiteY666" fmla="*/ 4866616 h 5217112"/>
              <a:gd name="connsiteX667" fmla="*/ 1208215 w 6785952"/>
              <a:gd name="connsiteY667" fmla="*/ 4866616 h 5217112"/>
              <a:gd name="connsiteX668" fmla="*/ 1221141 w 6785952"/>
              <a:gd name="connsiteY668" fmla="*/ 4874363 h 5217112"/>
              <a:gd name="connsiteX669" fmla="*/ 1207012 w 6785952"/>
              <a:gd name="connsiteY669" fmla="*/ 4886758 h 5217112"/>
              <a:gd name="connsiteX670" fmla="*/ 1208215 w 6785952"/>
              <a:gd name="connsiteY670" fmla="*/ 4866616 h 5217112"/>
              <a:gd name="connsiteX671" fmla="*/ 3244280 w 6785952"/>
              <a:gd name="connsiteY671" fmla="*/ 4864403 h 5217112"/>
              <a:gd name="connsiteX672" fmla="*/ 3249992 w 6785952"/>
              <a:gd name="connsiteY672" fmla="*/ 4881667 h 5217112"/>
              <a:gd name="connsiteX673" fmla="*/ 3241574 w 6785952"/>
              <a:gd name="connsiteY673" fmla="*/ 4895169 h 5217112"/>
              <a:gd name="connsiteX674" fmla="*/ 3223837 w 6785952"/>
              <a:gd name="connsiteY674" fmla="*/ 4878569 h 5217112"/>
              <a:gd name="connsiteX675" fmla="*/ 3244280 w 6785952"/>
              <a:gd name="connsiteY675" fmla="*/ 4864403 h 5217112"/>
              <a:gd name="connsiteX676" fmla="*/ 5294472 w 6785952"/>
              <a:gd name="connsiteY676" fmla="*/ 4863407 h 5217112"/>
              <a:gd name="connsiteX677" fmla="*/ 5296879 w 6785952"/>
              <a:gd name="connsiteY677" fmla="*/ 4863517 h 5217112"/>
              <a:gd name="connsiteX678" fmla="*/ 5291768 w 6785952"/>
              <a:gd name="connsiteY678" fmla="*/ 4869936 h 5217112"/>
              <a:gd name="connsiteX679" fmla="*/ 5289662 w 6785952"/>
              <a:gd name="connsiteY679" fmla="*/ 4869051 h 5217112"/>
              <a:gd name="connsiteX680" fmla="*/ 5294472 w 6785952"/>
              <a:gd name="connsiteY680" fmla="*/ 4863407 h 5217112"/>
              <a:gd name="connsiteX681" fmla="*/ 4039105 w 6785952"/>
              <a:gd name="connsiteY681" fmla="*/ 4863407 h 5217112"/>
              <a:gd name="connsiteX682" fmla="*/ 4041210 w 6785952"/>
              <a:gd name="connsiteY682" fmla="*/ 4863517 h 5217112"/>
              <a:gd name="connsiteX683" fmla="*/ 4036400 w 6785952"/>
              <a:gd name="connsiteY683" fmla="*/ 4869936 h 5217112"/>
              <a:gd name="connsiteX684" fmla="*/ 4034295 w 6785952"/>
              <a:gd name="connsiteY684" fmla="*/ 4869051 h 5217112"/>
              <a:gd name="connsiteX685" fmla="*/ 4039105 w 6785952"/>
              <a:gd name="connsiteY685" fmla="*/ 4863407 h 5217112"/>
              <a:gd name="connsiteX686" fmla="*/ 2530018 w 6785952"/>
              <a:gd name="connsiteY686" fmla="*/ 4863407 h 5217112"/>
              <a:gd name="connsiteX687" fmla="*/ 2532424 w 6785952"/>
              <a:gd name="connsiteY687" fmla="*/ 4863517 h 5217112"/>
              <a:gd name="connsiteX688" fmla="*/ 2527313 w 6785952"/>
              <a:gd name="connsiteY688" fmla="*/ 4869936 h 5217112"/>
              <a:gd name="connsiteX689" fmla="*/ 2525208 w 6785952"/>
              <a:gd name="connsiteY689" fmla="*/ 4869051 h 5217112"/>
              <a:gd name="connsiteX690" fmla="*/ 2530018 w 6785952"/>
              <a:gd name="connsiteY690" fmla="*/ 4863407 h 5217112"/>
              <a:gd name="connsiteX691" fmla="*/ 1500713 w 6785952"/>
              <a:gd name="connsiteY691" fmla="*/ 4863407 h 5217112"/>
              <a:gd name="connsiteX692" fmla="*/ 1503118 w 6785952"/>
              <a:gd name="connsiteY692" fmla="*/ 4863517 h 5217112"/>
              <a:gd name="connsiteX693" fmla="*/ 1498008 w 6785952"/>
              <a:gd name="connsiteY693" fmla="*/ 4869936 h 5217112"/>
              <a:gd name="connsiteX694" fmla="*/ 1496204 w 6785952"/>
              <a:gd name="connsiteY694" fmla="*/ 4869051 h 5217112"/>
              <a:gd name="connsiteX695" fmla="*/ 1500713 w 6785952"/>
              <a:gd name="connsiteY695" fmla="*/ 4863407 h 5217112"/>
              <a:gd name="connsiteX696" fmla="*/ 5370529 w 6785952"/>
              <a:gd name="connsiteY696" fmla="*/ 4861747 h 5217112"/>
              <a:gd name="connsiteX697" fmla="*/ 5372031 w 6785952"/>
              <a:gd name="connsiteY697" fmla="*/ 4864292 h 5217112"/>
              <a:gd name="connsiteX698" fmla="*/ 5371731 w 6785952"/>
              <a:gd name="connsiteY698" fmla="*/ 4866173 h 5217112"/>
              <a:gd name="connsiteX699" fmla="*/ 5369327 w 6785952"/>
              <a:gd name="connsiteY699" fmla="*/ 4868608 h 5217112"/>
              <a:gd name="connsiteX700" fmla="*/ 5369026 w 6785952"/>
              <a:gd name="connsiteY700" fmla="*/ 4873588 h 5217112"/>
              <a:gd name="connsiteX701" fmla="*/ 5366019 w 6785952"/>
              <a:gd name="connsiteY701" fmla="*/ 4874584 h 5217112"/>
              <a:gd name="connsiteX702" fmla="*/ 5366620 w 6785952"/>
              <a:gd name="connsiteY702" fmla="*/ 4864624 h 5217112"/>
              <a:gd name="connsiteX703" fmla="*/ 5370529 w 6785952"/>
              <a:gd name="connsiteY703" fmla="*/ 4861747 h 5217112"/>
              <a:gd name="connsiteX704" fmla="*/ 4115160 w 6785952"/>
              <a:gd name="connsiteY704" fmla="*/ 4861747 h 5217112"/>
              <a:gd name="connsiteX705" fmla="*/ 4116363 w 6785952"/>
              <a:gd name="connsiteY705" fmla="*/ 4864292 h 5217112"/>
              <a:gd name="connsiteX706" fmla="*/ 4116363 w 6785952"/>
              <a:gd name="connsiteY706" fmla="*/ 4866173 h 5217112"/>
              <a:gd name="connsiteX707" fmla="*/ 4113658 w 6785952"/>
              <a:gd name="connsiteY707" fmla="*/ 4868608 h 5217112"/>
              <a:gd name="connsiteX708" fmla="*/ 4113658 w 6785952"/>
              <a:gd name="connsiteY708" fmla="*/ 4873588 h 5217112"/>
              <a:gd name="connsiteX709" fmla="*/ 4110652 w 6785952"/>
              <a:gd name="connsiteY709" fmla="*/ 4874584 h 5217112"/>
              <a:gd name="connsiteX710" fmla="*/ 4110952 w 6785952"/>
              <a:gd name="connsiteY710" fmla="*/ 4864624 h 5217112"/>
              <a:gd name="connsiteX711" fmla="*/ 4115160 w 6785952"/>
              <a:gd name="connsiteY711" fmla="*/ 4861747 h 5217112"/>
              <a:gd name="connsiteX712" fmla="*/ 1577070 w 6785952"/>
              <a:gd name="connsiteY712" fmla="*/ 4861747 h 5217112"/>
              <a:gd name="connsiteX713" fmla="*/ 1578272 w 6785952"/>
              <a:gd name="connsiteY713" fmla="*/ 4864292 h 5217112"/>
              <a:gd name="connsiteX714" fmla="*/ 1578272 w 6785952"/>
              <a:gd name="connsiteY714" fmla="*/ 4866173 h 5217112"/>
              <a:gd name="connsiteX715" fmla="*/ 1575566 w 6785952"/>
              <a:gd name="connsiteY715" fmla="*/ 4868608 h 5217112"/>
              <a:gd name="connsiteX716" fmla="*/ 1575266 w 6785952"/>
              <a:gd name="connsiteY716" fmla="*/ 4873588 h 5217112"/>
              <a:gd name="connsiteX717" fmla="*/ 1572260 w 6785952"/>
              <a:gd name="connsiteY717" fmla="*/ 4874584 h 5217112"/>
              <a:gd name="connsiteX718" fmla="*/ 1572861 w 6785952"/>
              <a:gd name="connsiteY718" fmla="*/ 4864624 h 5217112"/>
              <a:gd name="connsiteX719" fmla="*/ 1577070 w 6785952"/>
              <a:gd name="connsiteY719" fmla="*/ 4861747 h 5217112"/>
              <a:gd name="connsiteX720" fmla="*/ 5815138 w 6785952"/>
              <a:gd name="connsiteY720" fmla="*/ 4861525 h 5217112"/>
              <a:gd name="connsiteX721" fmla="*/ 5822954 w 6785952"/>
              <a:gd name="connsiteY721" fmla="*/ 4861857 h 5217112"/>
              <a:gd name="connsiteX722" fmla="*/ 5835280 w 6785952"/>
              <a:gd name="connsiteY722" fmla="*/ 4882774 h 5217112"/>
              <a:gd name="connsiteX723" fmla="*/ 5826260 w 6785952"/>
              <a:gd name="connsiteY723" fmla="*/ 4893952 h 5217112"/>
              <a:gd name="connsiteX724" fmla="*/ 5820549 w 6785952"/>
              <a:gd name="connsiteY724" fmla="*/ 4895723 h 5217112"/>
              <a:gd name="connsiteX725" fmla="*/ 5810628 w 6785952"/>
              <a:gd name="connsiteY725" fmla="*/ 4863185 h 5217112"/>
              <a:gd name="connsiteX726" fmla="*/ 5815138 w 6785952"/>
              <a:gd name="connsiteY726" fmla="*/ 4861525 h 5217112"/>
              <a:gd name="connsiteX727" fmla="*/ 4559470 w 6785952"/>
              <a:gd name="connsiteY727" fmla="*/ 4861525 h 5217112"/>
              <a:gd name="connsiteX728" fmla="*/ 4567285 w 6785952"/>
              <a:gd name="connsiteY728" fmla="*/ 4861857 h 5217112"/>
              <a:gd name="connsiteX729" fmla="*/ 4579610 w 6785952"/>
              <a:gd name="connsiteY729" fmla="*/ 4882774 h 5217112"/>
              <a:gd name="connsiteX730" fmla="*/ 4570893 w 6785952"/>
              <a:gd name="connsiteY730" fmla="*/ 4893952 h 5217112"/>
              <a:gd name="connsiteX731" fmla="*/ 4565182 w 6785952"/>
              <a:gd name="connsiteY731" fmla="*/ 4895723 h 5217112"/>
              <a:gd name="connsiteX732" fmla="*/ 4554960 w 6785952"/>
              <a:gd name="connsiteY732" fmla="*/ 4863185 h 5217112"/>
              <a:gd name="connsiteX733" fmla="*/ 4559470 w 6785952"/>
              <a:gd name="connsiteY733" fmla="*/ 4861525 h 5217112"/>
              <a:gd name="connsiteX734" fmla="*/ 3050383 w 6785952"/>
              <a:gd name="connsiteY734" fmla="*/ 4861525 h 5217112"/>
              <a:gd name="connsiteX735" fmla="*/ 3058500 w 6785952"/>
              <a:gd name="connsiteY735" fmla="*/ 4861857 h 5217112"/>
              <a:gd name="connsiteX736" fmla="*/ 3070524 w 6785952"/>
              <a:gd name="connsiteY736" fmla="*/ 4882774 h 5217112"/>
              <a:gd name="connsiteX737" fmla="*/ 3061806 w 6785952"/>
              <a:gd name="connsiteY737" fmla="*/ 4893952 h 5217112"/>
              <a:gd name="connsiteX738" fmla="*/ 3056095 w 6785952"/>
              <a:gd name="connsiteY738" fmla="*/ 4895723 h 5217112"/>
              <a:gd name="connsiteX739" fmla="*/ 3045874 w 6785952"/>
              <a:gd name="connsiteY739" fmla="*/ 4863185 h 5217112"/>
              <a:gd name="connsiteX740" fmla="*/ 3050383 w 6785952"/>
              <a:gd name="connsiteY740" fmla="*/ 4861525 h 5217112"/>
              <a:gd name="connsiteX741" fmla="*/ 2021379 w 6785952"/>
              <a:gd name="connsiteY741" fmla="*/ 4861525 h 5217112"/>
              <a:gd name="connsiteX742" fmla="*/ 2029195 w 6785952"/>
              <a:gd name="connsiteY742" fmla="*/ 4861857 h 5217112"/>
              <a:gd name="connsiteX743" fmla="*/ 2041519 w 6785952"/>
              <a:gd name="connsiteY743" fmla="*/ 4882774 h 5217112"/>
              <a:gd name="connsiteX744" fmla="*/ 2032501 w 6785952"/>
              <a:gd name="connsiteY744" fmla="*/ 4893952 h 5217112"/>
              <a:gd name="connsiteX745" fmla="*/ 2027090 w 6785952"/>
              <a:gd name="connsiteY745" fmla="*/ 4895723 h 5217112"/>
              <a:gd name="connsiteX746" fmla="*/ 2016869 w 6785952"/>
              <a:gd name="connsiteY746" fmla="*/ 4863185 h 5217112"/>
              <a:gd name="connsiteX747" fmla="*/ 2021379 w 6785952"/>
              <a:gd name="connsiteY747" fmla="*/ 4861525 h 5217112"/>
              <a:gd name="connsiteX748" fmla="*/ 5591781 w 6785952"/>
              <a:gd name="connsiteY748" fmla="*/ 4857541 h 5217112"/>
              <a:gd name="connsiteX749" fmla="*/ 5593584 w 6785952"/>
              <a:gd name="connsiteY749" fmla="*/ 4859090 h 5217112"/>
              <a:gd name="connsiteX750" fmla="*/ 5590278 w 6785952"/>
              <a:gd name="connsiteY750" fmla="*/ 4858426 h 5217112"/>
              <a:gd name="connsiteX751" fmla="*/ 5591781 w 6785952"/>
              <a:gd name="connsiteY751" fmla="*/ 4857541 h 5217112"/>
              <a:gd name="connsiteX752" fmla="*/ 4336113 w 6785952"/>
              <a:gd name="connsiteY752" fmla="*/ 4857541 h 5217112"/>
              <a:gd name="connsiteX753" fmla="*/ 4338217 w 6785952"/>
              <a:gd name="connsiteY753" fmla="*/ 4859090 h 5217112"/>
              <a:gd name="connsiteX754" fmla="*/ 4334910 w 6785952"/>
              <a:gd name="connsiteY754" fmla="*/ 4858426 h 5217112"/>
              <a:gd name="connsiteX755" fmla="*/ 4336113 w 6785952"/>
              <a:gd name="connsiteY755" fmla="*/ 4857541 h 5217112"/>
              <a:gd name="connsiteX756" fmla="*/ 2827026 w 6785952"/>
              <a:gd name="connsiteY756" fmla="*/ 4857541 h 5217112"/>
              <a:gd name="connsiteX757" fmla="*/ 2829131 w 6785952"/>
              <a:gd name="connsiteY757" fmla="*/ 4859090 h 5217112"/>
              <a:gd name="connsiteX758" fmla="*/ 2825824 w 6785952"/>
              <a:gd name="connsiteY758" fmla="*/ 4858426 h 5217112"/>
              <a:gd name="connsiteX759" fmla="*/ 2827026 w 6785952"/>
              <a:gd name="connsiteY759" fmla="*/ 4857541 h 5217112"/>
              <a:gd name="connsiteX760" fmla="*/ 1798021 w 6785952"/>
              <a:gd name="connsiteY760" fmla="*/ 4857541 h 5217112"/>
              <a:gd name="connsiteX761" fmla="*/ 1799825 w 6785952"/>
              <a:gd name="connsiteY761" fmla="*/ 4859090 h 5217112"/>
              <a:gd name="connsiteX762" fmla="*/ 1796819 w 6785952"/>
              <a:gd name="connsiteY762" fmla="*/ 4858426 h 5217112"/>
              <a:gd name="connsiteX763" fmla="*/ 1798021 w 6785952"/>
              <a:gd name="connsiteY763" fmla="*/ 4857541 h 5217112"/>
              <a:gd name="connsiteX764" fmla="*/ 5359105 w 6785952"/>
              <a:gd name="connsiteY764" fmla="*/ 4852339 h 5217112"/>
              <a:gd name="connsiteX765" fmla="*/ 5361810 w 6785952"/>
              <a:gd name="connsiteY765" fmla="*/ 4852561 h 5217112"/>
              <a:gd name="connsiteX766" fmla="*/ 5360908 w 6785952"/>
              <a:gd name="connsiteY766" fmla="*/ 4855992 h 5217112"/>
              <a:gd name="connsiteX767" fmla="*/ 5356700 w 6785952"/>
              <a:gd name="connsiteY767" fmla="*/ 4865399 h 5217112"/>
              <a:gd name="connsiteX768" fmla="*/ 5353694 w 6785952"/>
              <a:gd name="connsiteY768" fmla="*/ 4861525 h 5217112"/>
              <a:gd name="connsiteX769" fmla="*/ 5356098 w 6785952"/>
              <a:gd name="connsiteY769" fmla="*/ 4857541 h 5217112"/>
              <a:gd name="connsiteX770" fmla="*/ 5357001 w 6785952"/>
              <a:gd name="connsiteY770" fmla="*/ 4854221 h 5217112"/>
              <a:gd name="connsiteX771" fmla="*/ 5359105 w 6785952"/>
              <a:gd name="connsiteY771" fmla="*/ 4852339 h 5217112"/>
              <a:gd name="connsiteX772" fmla="*/ 4103436 w 6785952"/>
              <a:gd name="connsiteY772" fmla="*/ 4852339 h 5217112"/>
              <a:gd name="connsiteX773" fmla="*/ 4106142 w 6785952"/>
              <a:gd name="connsiteY773" fmla="*/ 4852561 h 5217112"/>
              <a:gd name="connsiteX774" fmla="*/ 4105541 w 6785952"/>
              <a:gd name="connsiteY774" fmla="*/ 4855992 h 5217112"/>
              <a:gd name="connsiteX775" fmla="*/ 4101031 w 6785952"/>
              <a:gd name="connsiteY775" fmla="*/ 4865399 h 5217112"/>
              <a:gd name="connsiteX776" fmla="*/ 4098025 w 6785952"/>
              <a:gd name="connsiteY776" fmla="*/ 4861525 h 5217112"/>
              <a:gd name="connsiteX777" fmla="*/ 4100731 w 6785952"/>
              <a:gd name="connsiteY777" fmla="*/ 4857541 h 5217112"/>
              <a:gd name="connsiteX778" fmla="*/ 4101332 w 6785952"/>
              <a:gd name="connsiteY778" fmla="*/ 4854221 h 5217112"/>
              <a:gd name="connsiteX779" fmla="*/ 4103436 w 6785952"/>
              <a:gd name="connsiteY779" fmla="*/ 4852339 h 5217112"/>
              <a:gd name="connsiteX780" fmla="*/ 1565345 w 6785952"/>
              <a:gd name="connsiteY780" fmla="*/ 4852339 h 5217112"/>
              <a:gd name="connsiteX781" fmla="*/ 1568051 w 6785952"/>
              <a:gd name="connsiteY781" fmla="*/ 4852561 h 5217112"/>
              <a:gd name="connsiteX782" fmla="*/ 1567149 w 6785952"/>
              <a:gd name="connsiteY782" fmla="*/ 4855992 h 5217112"/>
              <a:gd name="connsiteX783" fmla="*/ 1562941 w 6785952"/>
              <a:gd name="connsiteY783" fmla="*/ 4865399 h 5217112"/>
              <a:gd name="connsiteX784" fmla="*/ 1560236 w 6785952"/>
              <a:gd name="connsiteY784" fmla="*/ 4861525 h 5217112"/>
              <a:gd name="connsiteX785" fmla="*/ 1562339 w 6785952"/>
              <a:gd name="connsiteY785" fmla="*/ 4857541 h 5217112"/>
              <a:gd name="connsiteX786" fmla="*/ 1563242 w 6785952"/>
              <a:gd name="connsiteY786" fmla="*/ 4854221 h 5217112"/>
              <a:gd name="connsiteX787" fmla="*/ 1565345 w 6785952"/>
              <a:gd name="connsiteY787" fmla="*/ 4852339 h 5217112"/>
              <a:gd name="connsiteX788" fmla="*/ 5053981 w 6785952"/>
              <a:gd name="connsiteY788" fmla="*/ 4849462 h 5217112"/>
              <a:gd name="connsiteX789" fmla="*/ 5062397 w 6785952"/>
              <a:gd name="connsiteY789" fmla="*/ 4850126 h 5217112"/>
              <a:gd name="connsiteX790" fmla="*/ 5052177 w 6785952"/>
              <a:gd name="connsiteY790" fmla="*/ 4855328 h 5217112"/>
              <a:gd name="connsiteX791" fmla="*/ 5027527 w 6785952"/>
              <a:gd name="connsiteY791" fmla="*/ 4863407 h 5217112"/>
              <a:gd name="connsiteX792" fmla="*/ 5023619 w 6785952"/>
              <a:gd name="connsiteY792" fmla="*/ 4861525 h 5217112"/>
              <a:gd name="connsiteX793" fmla="*/ 5022115 w 6785952"/>
              <a:gd name="connsiteY793" fmla="*/ 4862079 h 5217112"/>
              <a:gd name="connsiteX794" fmla="*/ 5019712 w 6785952"/>
              <a:gd name="connsiteY794" fmla="*/ 4859754 h 5217112"/>
              <a:gd name="connsiteX795" fmla="*/ 5028428 w 6785952"/>
              <a:gd name="connsiteY795" fmla="*/ 4855217 h 5217112"/>
              <a:gd name="connsiteX796" fmla="*/ 5036245 w 6785952"/>
              <a:gd name="connsiteY796" fmla="*/ 4852561 h 5217112"/>
              <a:gd name="connsiteX797" fmla="*/ 5053981 w 6785952"/>
              <a:gd name="connsiteY797" fmla="*/ 4849462 h 5217112"/>
              <a:gd name="connsiteX798" fmla="*/ 3798312 w 6785952"/>
              <a:gd name="connsiteY798" fmla="*/ 4849462 h 5217112"/>
              <a:gd name="connsiteX799" fmla="*/ 3806730 w 6785952"/>
              <a:gd name="connsiteY799" fmla="*/ 4850126 h 5217112"/>
              <a:gd name="connsiteX800" fmla="*/ 3796509 w 6785952"/>
              <a:gd name="connsiteY800" fmla="*/ 4855328 h 5217112"/>
              <a:gd name="connsiteX801" fmla="*/ 3771859 w 6785952"/>
              <a:gd name="connsiteY801" fmla="*/ 4863407 h 5217112"/>
              <a:gd name="connsiteX802" fmla="*/ 3767950 w 6785952"/>
              <a:gd name="connsiteY802" fmla="*/ 4861525 h 5217112"/>
              <a:gd name="connsiteX803" fmla="*/ 3766448 w 6785952"/>
              <a:gd name="connsiteY803" fmla="*/ 4862079 h 5217112"/>
              <a:gd name="connsiteX804" fmla="*/ 3764043 w 6785952"/>
              <a:gd name="connsiteY804" fmla="*/ 4859754 h 5217112"/>
              <a:gd name="connsiteX805" fmla="*/ 3773061 w 6785952"/>
              <a:gd name="connsiteY805" fmla="*/ 4855217 h 5217112"/>
              <a:gd name="connsiteX806" fmla="*/ 3780577 w 6785952"/>
              <a:gd name="connsiteY806" fmla="*/ 4852561 h 5217112"/>
              <a:gd name="connsiteX807" fmla="*/ 3798312 w 6785952"/>
              <a:gd name="connsiteY807" fmla="*/ 4849462 h 5217112"/>
              <a:gd name="connsiteX808" fmla="*/ 2289226 w 6785952"/>
              <a:gd name="connsiteY808" fmla="*/ 4849462 h 5217112"/>
              <a:gd name="connsiteX809" fmla="*/ 2297643 w 6785952"/>
              <a:gd name="connsiteY809" fmla="*/ 4850126 h 5217112"/>
              <a:gd name="connsiteX810" fmla="*/ 2287423 w 6785952"/>
              <a:gd name="connsiteY810" fmla="*/ 4855328 h 5217112"/>
              <a:gd name="connsiteX811" fmla="*/ 2263073 w 6785952"/>
              <a:gd name="connsiteY811" fmla="*/ 4863407 h 5217112"/>
              <a:gd name="connsiteX812" fmla="*/ 2259164 w 6785952"/>
              <a:gd name="connsiteY812" fmla="*/ 4861525 h 5217112"/>
              <a:gd name="connsiteX813" fmla="*/ 2257662 w 6785952"/>
              <a:gd name="connsiteY813" fmla="*/ 4862079 h 5217112"/>
              <a:gd name="connsiteX814" fmla="*/ 2255256 w 6785952"/>
              <a:gd name="connsiteY814" fmla="*/ 4859754 h 5217112"/>
              <a:gd name="connsiteX815" fmla="*/ 2263974 w 6785952"/>
              <a:gd name="connsiteY815" fmla="*/ 4855217 h 5217112"/>
              <a:gd name="connsiteX816" fmla="*/ 2271490 w 6785952"/>
              <a:gd name="connsiteY816" fmla="*/ 4852561 h 5217112"/>
              <a:gd name="connsiteX817" fmla="*/ 2289226 w 6785952"/>
              <a:gd name="connsiteY817" fmla="*/ 4849462 h 5217112"/>
              <a:gd name="connsiteX818" fmla="*/ 1260221 w 6785952"/>
              <a:gd name="connsiteY818" fmla="*/ 4849462 h 5217112"/>
              <a:gd name="connsiteX819" fmla="*/ 1268638 w 6785952"/>
              <a:gd name="connsiteY819" fmla="*/ 4850126 h 5217112"/>
              <a:gd name="connsiteX820" fmla="*/ 1258418 w 6785952"/>
              <a:gd name="connsiteY820" fmla="*/ 4855328 h 5217112"/>
              <a:gd name="connsiteX821" fmla="*/ 1233767 w 6785952"/>
              <a:gd name="connsiteY821" fmla="*/ 4863407 h 5217112"/>
              <a:gd name="connsiteX822" fmla="*/ 1229859 w 6785952"/>
              <a:gd name="connsiteY822" fmla="*/ 4861525 h 5217112"/>
              <a:gd name="connsiteX823" fmla="*/ 1228356 w 6785952"/>
              <a:gd name="connsiteY823" fmla="*/ 4862079 h 5217112"/>
              <a:gd name="connsiteX824" fmla="*/ 1226252 w 6785952"/>
              <a:gd name="connsiteY824" fmla="*/ 4859754 h 5217112"/>
              <a:gd name="connsiteX825" fmla="*/ 1234969 w 6785952"/>
              <a:gd name="connsiteY825" fmla="*/ 4855217 h 5217112"/>
              <a:gd name="connsiteX826" fmla="*/ 1242485 w 6785952"/>
              <a:gd name="connsiteY826" fmla="*/ 4852561 h 5217112"/>
              <a:gd name="connsiteX827" fmla="*/ 1260221 w 6785952"/>
              <a:gd name="connsiteY827" fmla="*/ 4849462 h 5217112"/>
              <a:gd name="connsiteX828" fmla="*/ 5722247 w 6785952"/>
              <a:gd name="connsiteY828" fmla="*/ 4847802 h 5217112"/>
              <a:gd name="connsiteX829" fmla="*/ 5727358 w 6785952"/>
              <a:gd name="connsiteY829" fmla="*/ 4869494 h 5217112"/>
              <a:gd name="connsiteX830" fmla="*/ 5720444 w 6785952"/>
              <a:gd name="connsiteY830" fmla="*/ 4873035 h 5217112"/>
              <a:gd name="connsiteX831" fmla="*/ 5722247 w 6785952"/>
              <a:gd name="connsiteY831" fmla="*/ 4847802 h 5217112"/>
              <a:gd name="connsiteX832" fmla="*/ 4466880 w 6785952"/>
              <a:gd name="connsiteY832" fmla="*/ 4847802 h 5217112"/>
              <a:gd name="connsiteX833" fmla="*/ 4471690 w 6785952"/>
              <a:gd name="connsiteY833" fmla="*/ 4869494 h 5217112"/>
              <a:gd name="connsiteX834" fmla="*/ 4465077 w 6785952"/>
              <a:gd name="connsiteY834" fmla="*/ 4873035 h 5217112"/>
              <a:gd name="connsiteX835" fmla="*/ 4466880 w 6785952"/>
              <a:gd name="connsiteY835" fmla="*/ 4847802 h 5217112"/>
              <a:gd name="connsiteX836" fmla="*/ 2957793 w 6785952"/>
              <a:gd name="connsiteY836" fmla="*/ 4847802 h 5217112"/>
              <a:gd name="connsiteX837" fmla="*/ 2962904 w 6785952"/>
              <a:gd name="connsiteY837" fmla="*/ 4869494 h 5217112"/>
              <a:gd name="connsiteX838" fmla="*/ 2955990 w 6785952"/>
              <a:gd name="connsiteY838" fmla="*/ 4873035 h 5217112"/>
              <a:gd name="connsiteX839" fmla="*/ 2957793 w 6785952"/>
              <a:gd name="connsiteY839" fmla="*/ 4847802 h 5217112"/>
              <a:gd name="connsiteX840" fmla="*/ 1928789 w 6785952"/>
              <a:gd name="connsiteY840" fmla="*/ 4847802 h 5217112"/>
              <a:gd name="connsiteX841" fmla="*/ 1933599 w 6785952"/>
              <a:gd name="connsiteY841" fmla="*/ 4869494 h 5217112"/>
              <a:gd name="connsiteX842" fmla="*/ 1926985 w 6785952"/>
              <a:gd name="connsiteY842" fmla="*/ 4873035 h 5217112"/>
              <a:gd name="connsiteX843" fmla="*/ 1928789 w 6785952"/>
              <a:gd name="connsiteY843" fmla="*/ 4847802 h 5217112"/>
              <a:gd name="connsiteX844" fmla="*/ 2582025 w 6785952"/>
              <a:gd name="connsiteY844" fmla="*/ 4842490 h 5217112"/>
              <a:gd name="connsiteX845" fmla="*/ 2589841 w 6785952"/>
              <a:gd name="connsiteY845" fmla="*/ 4855992 h 5217112"/>
              <a:gd name="connsiteX846" fmla="*/ 2591344 w 6785952"/>
              <a:gd name="connsiteY846" fmla="*/ 4858094 h 5217112"/>
              <a:gd name="connsiteX847" fmla="*/ 2591644 w 6785952"/>
              <a:gd name="connsiteY847" fmla="*/ 4857541 h 5217112"/>
              <a:gd name="connsiteX848" fmla="*/ 2592245 w 6785952"/>
              <a:gd name="connsiteY848" fmla="*/ 4854221 h 5217112"/>
              <a:gd name="connsiteX849" fmla="*/ 2597055 w 6785952"/>
              <a:gd name="connsiteY849" fmla="*/ 4852561 h 5217112"/>
              <a:gd name="connsiteX850" fmla="*/ 2596454 w 6785952"/>
              <a:gd name="connsiteY850" fmla="*/ 4855992 h 5217112"/>
              <a:gd name="connsiteX851" fmla="*/ 2593448 w 6785952"/>
              <a:gd name="connsiteY851" fmla="*/ 4860861 h 5217112"/>
              <a:gd name="connsiteX852" fmla="*/ 2593448 w 6785952"/>
              <a:gd name="connsiteY852" fmla="*/ 4861193 h 5217112"/>
              <a:gd name="connsiteX853" fmla="*/ 2597958 w 6785952"/>
              <a:gd name="connsiteY853" fmla="*/ 4867501 h 5217112"/>
              <a:gd name="connsiteX854" fmla="*/ 2601565 w 6785952"/>
              <a:gd name="connsiteY854" fmla="*/ 4873367 h 5217112"/>
              <a:gd name="connsiteX855" fmla="*/ 2601866 w 6785952"/>
              <a:gd name="connsiteY855" fmla="*/ 4864624 h 5217112"/>
              <a:gd name="connsiteX856" fmla="*/ 2606074 w 6785952"/>
              <a:gd name="connsiteY856" fmla="*/ 4861747 h 5217112"/>
              <a:gd name="connsiteX857" fmla="*/ 2607277 w 6785952"/>
              <a:gd name="connsiteY857" fmla="*/ 4864292 h 5217112"/>
              <a:gd name="connsiteX858" fmla="*/ 2607277 w 6785952"/>
              <a:gd name="connsiteY858" fmla="*/ 4866173 h 5217112"/>
              <a:gd name="connsiteX859" fmla="*/ 2604571 w 6785952"/>
              <a:gd name="connsiteY859" fmla="*/ 4868608 h 5217112"/>
              <a:gd name="connsiteX860" fmla="*/ 2604571 w 6785952"/>
              <a:gd name="connsiteY860" fmla="*/ 4873588 h 5217112"/>
              <a:gd name="connsiteX861" fmla="*/ 2602166 w 6785952"/>
              <a:gd name="connsiteY861" fmla="*/ 4874142 h 5217112"/>
              <a:gd name="connsiteX862" fmla="*/ 2606074 w 6785952"/>
              <a:gd name="connsiteY862" fmla="*/ 4887090 h 5217112"/>
              <a:gd name="connsiteX863" fmla="*/ 2597356 w 6785952"/>
              <a:gd name="connsiteY863" fmla="*/ 4900371 h 5217112"/>
              <a:gd name="connsiteX864" fmla="*/ 2585933 w 6785952"/>
              <a:gd name="connsiteY864" fmla="*/ 4889525 h 5217112"/>
              <a:gd name="connsiteX865" fmla="*/ 2585031 w 6785952"/>
              <a:gd name="connsiteY865" fmla="*/ 4887754 h 5217112"/>
              <a:gd name="connsiteX866" fmla="*/ 2582626 w 6785952"/>
              <a:gd name="connsiteY866" fmla="*/ 4889746 h 5217112"/>
              <a:gd name="connsiteX867" fmla="*/ 2578719 w 6785952"/>
              <a:gd name="connsiteY867" fmla="*/ 4889968 h 5217112"/>
              <a:gd name="connsiteX868" fmla="*/ 2578116 w 6785952"/>
              <a:gd name="connsiteY868" fmla="*/ 4882221 h 5217112"/>
              <a:gd name="connsiteX869" fmla="*/ 2579620 w 6785952"/>
              <a:gd name="connsiteY869" fmla="*/ 4879675 h 5217112"/>
              <a:gd name="connsiteX870" fmla="*/ 2574509 w 6785952"/>
              <a:gd name="connsiteY870" fmla="*/ 4872039 h 5217112"/>
              <a:gd name="connsiteX871" fmla="*/ 2582025 w 6785952"/>
              <a:gd name="connsiteY871" fmla="*/ 4842490 h 5217112"/>
              <a:gd name="connsiteX872" fmla="*/ 5657917 w 6785952"/>
              <a:gd name="connsiteY872" fmla="*/ 4839612 h 5217112"/>
              <a:gd name="connsiteX873" fmla="*/ 5664830 w 6785952"/>
              <a:gd name="connsiteY873" fmla="*/ 4841272 h 5217112"/>
              <a:gd name="connsiteX874" fmla="*/ 5677456 w 6785952"/>
              <a:gd name="connsiteY874" fmla="*/ 4851454 h 5217112"/>
              <a:gd name="connsiteX875" fmla="*/ 5676554 w 6785952"/>
              <a:gd name="connsiteY875" fmla="*/ 4863849 h 5217112"/>
              <a:gd name="connsiteX876" fmla="*/ 5661824 w 6785952"/>
              <a:gd name="connsiteY876" fmla="*/ 4875802 h 5217112"/>
              <a:gd name="connsiteX877" fmla="*/ 5651002 w 6785952"/>
              <a:gd name="connsiteY877" fmla="*/ 4875580 h 5217112"/>
              <a:gd name="connsiteX878" fmla="*/ 5640480 w 6785952"/>
              <a:gd name="connsiteY878" fmla="*/ 4850901 h 5217112"/>
              <a:gd name="connsiteX879" fmla="*/ 5642885 w 6785952"/>
              <a:gd name="connsiteY879" fmla="*/ 4847138 h 5217112"/>
              <a:gd name="connsiteX880" fmla="*/ 5644388 w 6785952"/>
              <a:gd name="connsiteY880" fmla="*/ 4840276 h 5217112"/>
              <a:gd name="connsiteX881" fmla="*/ 5657917 w 6785952"/>
              <a:gd name="connsiteY881" fmla="*/ 4839612 h 5217112"/>
              <a:gd name="connsiteX882" fmla="*/ 4402549 w 6785952"/>
              <a:gd name="connsiteY882" fmla="*/ 4839612 h 5217112"/>
              <a:gd name="connsiteX883" fmla="*/ 4409463 w 6785952"/>
              <a:gd name="connsiteY883" fmla="*/ 4841272 h 5217112"/>
              <a:gd name="connsiteX884" fmla="*/ 4421788 w 6785952"/>
              <a:gd name="connsiteY884" fmla="*/ 4851454 h 5217112"/>
              <a:gd name="connsiteX885" fmla="*/ 4420887 w 6785952"/>
              <a:gd name="connsiteY885" fmla="*/ 4863849 h 5217112"/>
              <a:gd name="connsiteX886" fmla="*/ 4406156 w 6785952"/>
              <a:gd name="connsiteY886" fmla="*/ 4875802 h 5217112"/>
              <a:gd name="connsiteX887" fmla="*/ 4395333 w 6785952"/>
              <a:gd name="connsiteY887" fmla="*/ 4875580 h 5217112"/>
              <a:gd name="connsiteX888" fmla="*/ 4385112 w 6785952"/>
              <a:gd name="connsiteY888" fmla="*/ 4850901 h 5217112"/>
              <a:gd name="connsiteX889" fmla="*/ 4387217 w 6785952"/>
              <a:gd name="connsiteY889" fmla="*/ 4847138 h 5217112"/>
              <a:gd name="connsiteX890" fmla="*/ 4388720 w 6785952"/>
              <a:gd name="connsiteY890" fmla="*/ 4840276 h 5217112"/>
              <a:gd name="connsiteX891" fmla="*/ 4402549 w 6785952"/>
              <a:gd name="connsiteY891" fmla="*/ 4839612 h 5217112"/>
              <a:gd name="connsiteX892" fmla="*/ 2893462 w 6785952"/>
              <a:gd name="connsiteY892" fmla="*/ 4839612 h 5217112"/>
              <a:gd name="connsiteX893" fmla="*/ 2900377 w 6785952"/>
              <a:gd name="connsiteY893" fmla="*/ 4841272 h 5217112"/>
              <a:gd name="connsiteX894" fmla="*/ 2913002 w 6785952"/>
              <a:gd name="connsiteY894" fmla="*/ 4851454 h 5217112"/>
              <a:gd name="connsiteX895" fmla="*/ 2911800 w 6785952"/>
              <a:gd name="connsiteY895" fmla="*/ 4863849 h 5217112"/>
              <a:gd name="connsiteX896" fmla="*/ 2897069 w 6785952"/>
              <a:gd name="connsiteY896" fmla="*/ 4875802 h 5217112"/>
              <a:gd name="connsiteX897" fmla="*/ 2886548 w 6785952"/>
              <a:gd name="connsiteY897" fmla="*/ 4875580 h 5217112"/>
              <a:gd name="connsiteX898" fmla="*/ 2875726 w 6785952"/>
              <a:gd name="connsiteY898" fmla="*/ 4868276 h 5217112"/>
              <a:gd name="connsiteX899" fmla="*/ 2857689 w 6785952"/>
              <a:gd name="connsiteY899" fmla="*/ 4877683 h 5217112"/>
              <a:gd name="connsiteX900" fmla="*/ 2824321 w 6785952"/>
              <a:gd name="connsiteY900" fmla="*/ 4863628 h 5217112"/>
              <a:gd name="connsiteX901" fmla="*/ 2874222 w 6785952"/>
              <a:gd name="connsiteY901" fmla="*/ 4852007 h 5217112"/>
              <a:gd name="connsiteX902" fmla="*/ 2875726 w 6785952"/>
              <a:gd name="connsiteY902" fmla="*/ 4852007 h 5217112"/>
              <a:gd name="connsiteX903" fmla="*/ 2876026 w 6785952"/>
              <a:gd name="connsiteY903" fmla="*/ 4850901 h 5217112"/>
              <a:gd name="connsiteX904" fmla="*/ 2878432 w 6785952"/>
              <a:gd name="connsiteY904" fmla="*/ 4847138 h 5217112"/>
              <a:gd name="connsiteX905" fmla="*/ 2879634 w 6785952"/>
              <a:gd name="connsiteY905" fmla="*/ 4840276 h 5217112"/>
              <a:gd name="connsiteX906" fmla="*/ 2893462 w 6785952"/>
              <a:gd name="connsiteY906" fmla="*/ 4839612 h 5217112"/>
              <a:gd name="connsiteX907" fmla="*/ 1864157 w 6785952"/>
              <a:gd name="connsiteY907" fmla="*/ 4839612 h 5217112"/>
              <a:gd name="connsiteX908" fmla="*/ 1871372 w 6785952"/>
              <a:gd name="connsiteY908" fmla="*/ 4841272 h 5217112"/>
              <a:gd name="connsiteX909" fmla="*/ 1883697 w 6785952"/>
              <a:gd name="connsiteY909" fmla="*/ 4851454 h 5217112"/>
              <a:gd name="connsiteX910" fmla="*/ 1882795 w 6785952"/>
              <a:gd name="connsiteY910" fmla="*/ 4863849 h 5217112"/>
              <a:gd name="connsiteX911" fmla="*/ 1868065 w 6785952"/>
              <a:gd name="connsiteY911" fmla="*/ 4875802 h 5217112"/>
              <a:gd name="connsiteX912" fmla="*/ 1857243 w 6785952"/>
              <a:gd name="connsiteY912" fmla="*/ 4875580 h 5217112"/>
              <a:gd name="connsiteX913" fmla="*/ 1846721 w 6785952"/>
              <a:gd name="connsiteY913" fmla="*/ 4850901 h 5217112"/>
              <a:gd name="connsiteX914" fmla="*/ 1849126 w 6785952"/>
              <a:gd name="connsiteY914" fmla="*/ 4847138 h 5217112"/>
              <a:gd name="connsiteX915" fmla="*/ 1850629 w 6785952"/>
              <a:gd name="connsiteY915" fmla="*/ 4840276 h 5217112"/>
              <a:gd name="connsiteX916" fmla="*/ 1864157 w 6785952"/>
              <a:gd name="connsiteY916" fmla="*/ 4839612 h 5217112"/>
              <a:gd name="connsiteX917" fmla="*/ 3708128 w 6785952"/>
              <a:gd name="connsiteY917" fmla="*/ 4834300 h 5217112"/>
              <a:gd name="connsiteX918" fmla="*/ 3717748 w 6785952"/>
              <a:gd name="connsiteY918" fmla="*/ 4890964 h 5217112"/>
              <a:gd name="connsiteX919" fmla="*/ 3678367 w 6785952"/>
              <a:gd name="connsiteY919" fmla="*/ 4847802 h 5217112"/>
              <a:gd name="connsiteX920" fmla="*/ 3708128 w 6785952"/>
              <a:gd name="connsiteY920" fmla="*/ 4834300 h 5217112"/>
              <a:gd name="connsiteX921" fmla="*/ 5336259 w 6785952"/>
              <a:gd name="connsiteY921" fmla="*/ 4829873 h 5217112"/>
              <a:gd name="connsiteX922" fmla="*/ 5329044 w 6785952"/>
              <a:gd name="connsiteY922" fmla="*/ 4843264 h 5217112"/>
              <a:gd name="connsiteX923" fmla="*/ 5325437 w 6785952"/>
              <a:gd name="connsiteY923" fmla="*/ 4844150 h 5217112"/>
              <a:gd name="connsiteX924" fmla="*/ 5324234 w 6785952"/>
              <a:gd name="connsiteY924" fmla="*/ 4839944 h 5217112"/>
              <a:gd name="connsiteX925" fmla="*/ 5336259 w 6785952"/>
              <a:gd name="connsiteY925" fmla="*/ 4829873 h 5217112"/>
              <a:gd name="connsiteX926" fmla="*/ 4080590 w 6785952"/>
              <a:gd name="connsiteY926" fmla="*/ 4829873 h 5217112"/>
              <a:gd name="connsiteX927" fmla="*/ 4073675 w 6785952"/>
              <a:gd name="connsiteY927" fmla="*/ 4843264 h 5217112"/>
              <a:gd name="connsiteX928" fmla="*/ 4070068 w 6785952"/>
              <a:gd name="connsiteY928" fmla="*/ 4844150 h 5217112"/>
              <a:gd name="connsiteX929" fmla="*/ 4068566 w 6785952"/>
              <a:gd name="connsiteY929" fmla="*/ 4839944 h 5217112"/>
              <a:gd name="connsiteX930" fmla="*/ 4080590 w 6785952"/>
              <a:gd name="connsiteY930" fmla="*/ 4829873 h 5217112"/>
              <a:gd name="connsiteX931" fmla="*/ 2571804 w 6785952"/>
              <a:gd name="connsiteY931" fmla="*/ 4829873 h 5217112"/>
              <a:gd name="connsiteX932" fmla="*/ 2564590 w 6785952"/>
              <a:gd name="connsiteY932" fmla="*/ 4843264 h 5217112"/>
              <a:gd name="connsiteX933" fmla="*/ 2560982 w 6785952"/>
              <a:gd name="connsiteY933" fmla="*/ 4844150 h 5217112"/>
              <a:gd name="connsiteX934" fmla="*/ 2559780 w 6785952"/>
              <a:gd name="connsiteY934" fmla="*/ 4839944 h 5217112"/>
              <a:gd name="connsiteX935" fmla="*/ 2571804 w 6785952"/>
              <a:gd name="connsiteY935" fmla="*/ 4829873 h 5217112"/>
              <a:gd name="connsiteX936" fmla="*/ 1542499 w 6785952"/>
              <a:gd name="connsiteY936" fmla="*/ 4829873 h 5217112"/>
              <a:gd name="connsiteX937" fmla="*/ 1535585 w 6785952"/>
              <a:gd name="connsiteY937" fmla="*/ 4843264 h 5217112"/>
              <a:gd name="connsiteX938" fmla="*/ 1531677 w 6785952"/>
              <a:gd name="connsiteY938" fmla="*/ 4844150 h 5217112"/>
              <a:gd name="connsiteX939" fmla="*/ 1530775 w 6785952"/>
              <a:gd name="connsiteY939" fmla="*/ 4839944 h 5217112"/>
              <a:gd name="connsiteX940" fmla="*/ 1542499 w 6785952"/>
              <a:gd name="connsiteY940" fmla="*/ 4829873 h 5217112"/>
              <a:gd name="connsiteX941" fmla="*/ 5252688 w 6785952"/>
              <a:gd name="connsiteY941" fmla="*/ 4820245 h 5217112"/>
              <a:gd name="connsiteX942" fmla="*/ 5256896 w 6785952"/>
              <a:gd name="connsiteY942" fmla="*/ 4820466 h 5217112"/>
              <a:gd name="connsiteX943" fmla="*/ 5256896 w 6785952"/>
              <a:gd name="connsiteY943" fmla="*/ 4823454 h 5217112"/>
              <a:gd name="connsiteX944" fmla="*/ 5258400 w 6785952"/>
              <a:gd name="connsiteY944" fmla="*/ 4823565 h 5217112"/>
              <a:gd name="connsiteX945" fmla="*/ 5256595 w 6785952"/>
              <a:gd name="connsiteY945" fmla="*/ 4826221 h 5217112"/>
              <a:gd name="connsiteX946" fmla="*/ 5255092 w 6785952"/>
              <a:gd name="connsiteY946" fmla="*/ 4826000 h 5217112"/>
              <a:gd name="connsiteX947" fmla="*/ 5254792 w 6785952"/>
              <a:gd name="connsiteY947" fmla="*/ 4826332 h 5217112"/>
              <a:gd name="connsiteX948" fmla="*/ 5252086 w 6785952"/>
              <a:gd name="connsiteY948" fmla="*/ 4824340 h 5217112"/>
              <a:gd name="connsiteX949" fmla="*/ 5250582 w 6785952"/>
              <a:gd name="connsiteY949" fmla="*/ 4821241 h 5217112"/>
              <a:gd name="connsiteX950" fmla="*/ 5252688 w 6785952"/>
              <a:gd name="connsiteY950" fmla="*/ 4820245 h 5217112"/>
              <a:gd name="connsiteX951" fmla="*/ 3997019 w 6785952"/>
              <a:gd name="connsiteY951" fmla="*/ 4820245 h 5217112"/>
              <a:gd name="connsiteX952" fmla="*/ 4001227 w 6785952"/>
              <a:gd name="connsiteY952" fmla="*/ 4820466 h 5217112"/>
              <a:gd name="connsiteX953" fmla="*/ 4001227 w 6785952"/>
              <a:gd name="connsiteY953" fmla="*/ 4823454 h 5217112"/>
              <a:gd name="connsiteX954" fmla="*/ 4002731 w 6785952"/>
              <a:gd name="connsiteY954" fmla="*/ 4823565 h 5217112"/>
              <a:gd name="connsiteX955" fmla="*/ 4001227 w 6785952"/>
              <a:gd name="connsiteY955" fmla="*/ 4826221 h 5217112"/>
              <a:gd name="connsiteX956" fmla="*/ 3999725 w 6785952"/>
              <a:gd name="connsiteY956" fmla="*/ 4826000 h 5217112"/>
              <a:gd name="connsiteX957" fmla="*/ 3999124 w 6785952"/>
              <a:gd name="connsiteY957" fmla="*/ 4826332 h 5217112"/>
              <a:gd name="connsiteX958" fmla="*/ 3996418 w 6785952"/>
              <a:gd name="connsiteY958" fmla="*/ 4824340 h 5217112"/>
              <a:gd name="connsiteX959" fmla="*/ 3995215 w 6785952"/>
              <a:gd name="connsiteY959" fmla="*/ 4821241 h 5217112"/>
              <a:gd name="connsiteX960" fmla="*/ 3997019 w 6785952"/>
              <a:gd name="connsiteY960" fmla="*/ 4820245 h 5217112"/>
              <a:gd name="connsiteX961" fmla="*/ 2488233 w 6785952"/>
              <a:gd name="connsiteY961" fmla="*/ 4820245 h 5217112"/>
              <a:gd name="connsiteX962" fmla="*/ 2492141 w 6785952"/>
              <a:gd name="connsiteY962" fmla="*/ 4820466 h 5217112"/>
              <a:gd name="connsiteX963" fmla="*/ 2492141 w 6785952"/>
              <a:gd name="connsiteY963" fmla="*/ 4823454 h 5217112"/>
              <a:gd name="connsiteX964" fmla="*/ 2493644 w 6785952"/>
              <a:gd name="connsiteY964" fmla="*/ 4823565 h 5217112"/>
              <a:gd name="connsiteX965" fmla="*/ 2492141 w 6785952"/>
              <a:gd name="connsiteY965" fmla="*/ 4826221 h 5217112"/>
              <a:gd name="connsiteX966" fmla="*/ 2490638 w 6785952"/>
              <a:gd name="connsiteY966" fmla="*/ 4826000 h 5217112"/>
              <a:gd name="connsiteX967" fmla="*/ 2490037 w 6785952"/>
              <a:gd name="connsiteY967" fmla="*/ 4826332 h 5217112"/>
              <a:gd name="connsiteX968" fmla="*/ 2487632 w 6785952"/>
              <a:gd name="connsiteY968" fmla="*/ 4824340 h 5217112"/>
              <a:gd name="connsiteX969" fmla="*/ 2486128 w 6785952"/>
              <a:gd name="connsiteY969" fmla="*/ 4821241 h 5217112"/>
              <a:gd name="connsiteX970" fmla="*/ 2488233 w 6785952"/>
              <a:gd name="connsiteY970" fmla="*/ 4820245 h 5217112"/>
              <a:gd name="connsiteX971" fmla="*/ 1458928 w 6785952"/>
              <a:gd name="connsiteY971" fmla="*/ 4820245 h 5217112"/>
              <a:gd name="connsiteX972" fmla="*/ 1463137 w 6785952"/>
              <a:gd name="connsiteY972" fmla="*/ 4820466 h 5217112"/>
              <a:gd name="connsiteX973" fmla="*/ 1463137 w 6785952"/>
              <a:gd name="connsiteY973" fmla="*/ 4823454 h 5217112"/>
              <a:gd name="connsiteX974" fmla="*/ 1464639 w 6785952"/>
              <a:gd name="connsiteY974" fmla="*/ 4823565 h 5217112"/>
              <a:gd name="connsiteX975" fmla="*/ 1463137 w 6785952"/>
              <a:gd name="connsiteY975" fmla="*/ 4826221 h 5217112"/>
              <a:gd name="connsiteX976" fmla="*/ 1461633 w 6785952"/>
              <a:gd name="connsiteY976" fmla="*/ 4826000 h 5217112"/>
              <a:gd name="connsiteX977" fmla="*/ 1461032 w 6785952"/>
              <a:gd name="connsiteY977" fmla="*/ 4826332 h 5217112"/>
              <a:gd name="connsiteX978" fmla="*/ 1458627 w 6785952"/>
              <a:gd name="connsiteY978" fmla="*/ 4824340 h 5217112"/>
              <a:gd name="connsiteX979" fmla="*/ 1457124 w 6785952"/>
              <a:gd name="connsiteY979" fmla="*/ 4821241 h 5217112"/>
              <a:gd name="connsiteX980" fmla="*/ 1458928 w 6785952"/>
              <a:gd name="connsiteY980" fmla="*/ 4820245 h 5217112"/>
              <a:gd name="connsiteX981" fmla="*/ 6009034 w 6785952"/>
              <a:gd name="connsiteY981" fmla="*/ 4815043 h 5217112"/>
              <a:gd name="connsiteX982" fmla="*/ 6018955 w 6785952"/>
              <a:gd name="connsiteY982" fmla="*/ 4827217 h 5217112"/>
              <a:gd name="connsiteX983" fmla="*/ 6002421 w 6785952"/>
              <a:gd name="connsiteY983" fmla="*/ 4834079 h 5217112"/>
              <a:gd name="connsiteX984" fmla="*/ 6006028 w 6785952"/>
              <a:gd name="connsiteY984" fmla="*/ 4815265 h 5217112"/>
              <a:gd name="connsiteX985" fmla="*/ 6009034 w 6785952"/>
              <a:gd name="connsiteY985" fmla="*/ 4815043 h 5217112"/>
              <a:gd name="connsiteX986" fmla="*/ 3244580 w 6785952"/>
              <a:gd name="connsiteY986" fmla="*/ 4815043 h 5217112"/>
              <a:gd name="connsiteX987" fmla="*/ 3254500 w 6785952"/>
              <a:gd name="connsiteY987" fmla="*/ 4827217 h 5217112"/>
              <a:gd name="connsiteX988" fmla="*/ 3237666 w 6785952"/>
              <a:gd name="connsiteY988" fmla="*/ 4834079 h 5217112"/>
              <a:gd name="connsiteX989" fmla="*/ 3241574 w 6785952"/>
              <a:gd name="connsiteY989" fmla="*/ 4815265 h 5217112"/>
              <a:gd name="connsiteX990" fmla="*/ 3244580 w 6785952"/>
              <a:gd name="connsiteY990" fmla="*/ 4815043 h 5217112"/>
              <a:gd name="connsiteX991" fmla="*/ 2215275 w 6785952"/>
              <a:gd name="connsiteY991" fmla="*/ 4815043 h 5217112"/>
              <a:gd name="connsiteX992" fmla="*/ 2225495 w 6785952"/>
              <a:gd name="connsiteY992" fmla="*/ 4827217 h 5217112"/>
              <a:gd name="connsiteX993" fmla="*/ 2208661 w 6785952"/>
              <a:gd name="connsiteY993" fmla="*/ 4834079 h 5217112"/>
              <a:gd name="connsiteX994" fmla="*/ 2212269 w 6785952"/>
              <a:gd name="connsiteY994" fmla="*/ 4815265 h 5217112"/>
              <a:gd name="connsiteX995" fmla="*/ 2215275 w 6785952"/>
              <a:gd name="connsiteY995" fmla="*/ 4815043 h 5217112"/>
              <a:gd name="connsiteX996" fmla="*/ 3520244 w 6785952"/>
              <a:gd name="connsiteY996" fmla="*/ 4808514 h 5217112"/>
              <a:gd name="connsiteX997" fmla="*/ 3523851 w 6785952"/>
              <a:gd name="connsiteY997" fmla="*/ 4811723 h 5217112"/>
              <a:gd name="connsiteX998" fmla="*/ 3526556 w 6785952"/>
              <a:gd name="connsiteY998" fmla="*/ 4818474 h 5217112"/>
              <a:gd name="connsiteX999" fmla="*/ 3510625 w 6785952"/>
              <a:gd name="connsiteY999" fmla="*/ 4837177 h 5217112"/>
              <a:gd name="connsiteX1000" fmla="*/ 3495894 w 6785952"/>
              <a:gd name="connsiteY1000" fmla="*/ 4834189 h 5217112"/>
              <a:gd name="connsiteX1001" fmla="*/ 3491986 w 6785952"/>
              <a:gd name="connsiteY1001" fmla="*/ 4830316 h 5217112"/>
              <a:gd name="connsiteX1002" fmla="*/ 3520244 w 6785952"/>
              <a:gd name="connsiteY1002" fmla="*/ 4808514 h 5217112"/>
              <a:gd name="connsiteX1003" fmla="*/ 2011157 w 6785952"/>
              <a:gd name="connsiteY1003" fmla="*/ 4808514 h 5217112"/>
              <a:gd name="connsiteX1004" fmla="*/ 2014764 w 6785952"/>
              <a:gd name="connsiteY1004" fmla="*/ 4811723 h 5217112"/>
              <a:gd name="connsiteX1005" fmla="*/ 2017470 w 6785952"/>
              <a:gd name="connsiteY1005" fmla="*/ 4818474 h 5217112"/>
              <a:gd name="connsiteX1006" fmla="*/ 2001538 w 6785952"/>
              <a:gd name="connsiteY1006" fmla="*/ 4837177 h 5217112"/>
              <a:gd name="connsiteX1007" fmla="*/ 1986807 w 6785952"/>
              <a:gd name="connsiteY1007" fmla="*/ 4834189 h 5217112"/>
              <a:gd name="connsiteX1008" fmla="*/ 1982900 w 6785952"/>
              <a:gd name="connsiteY1008" fmla="*/ 4830316 h 5217112"/>
              <a:gd name="connsiteX1009" fmla="*/ 2011157 w 6785952"/>
              <a:gd name="connsiteY1009" fmla="*/ 4808514 h 5217112"/>
              <a:gd name="connsiteX1010" fmla="*/ 981852 w 6785952"/>
              <a:gd name="connsiteY1010" fmla="*/ 4808514 h 5217112"/>
              <a:gd name="connsiteX1011" fmla="*/ 985459 w 6785952"/>
              <a:gd name="connsiteY1011" fmla="*/ 4811723 h 5217112"/>
              <a:gd name="connsiteX1012" fmla="*/ 988465 w 6785952"/>
              <a:gd name="connsiteY1012" fmla="*/ 4818474 h 5217112"/>
              <a:gd name="connsiteX1013" fmla="*/ 972533 w 6785952"/>
              <a:gd name="connsiteY1013" fmla="*/ 4837177 h 5217112"/>
              <a:gd name="connsiteX1014" fmla="*/ 957802 w 6785952"/>
              <a:gd name="connsiteY1014" fmla="*/ 4834189 h 5217112"/>
              <a:gd name="connsiteX1015" fmla="*/ 953895 w 6785952"/>
              <a:gd name="connsiteY1015" fmla="*/ 4830316 h 5217112"/>
              <a:gd name="connsiteX1016" fmla="*/ 981852 w 6785952"/>
              <a:gd name="connsiteY1016" fmla="*/ 4808514 h 5217112"/>
              <a:gd name="connsiteX1017" fmla="*/ 6220667 w 6785952"/>
              <a:gd name="connsiteY1017" fmla="*/ 4807850 h 5217112"/>
              <a:gd name="connsiteX1018" fmla="*/ 6226078 w 6785952"/>
              <a:gd name="connsiteY1018" fmla="*/ 4811723 h 5217112"/>
              <a:gd name="connsiteX1019" fmla="*/ 6217661 w 6785952"/>
              <a:gd name="connsiteY1019" fmla="*/ 4820134 h 5217112"/>
              <a:gd name="connsiteX1020" fmla="*/ 6212551 w 6785952"/>
              <a:gd name="connsiteY1020" fmla="*/ 4810727 h 5217112"/>
              <a:gd name="connsiteX1021" fmla="*/ 6220667 w 6785952"/>
              <a:gd name="connsiteY1021" fmla="*/ 4807850 h 5217112"/>
              <a:gd name="connsiteX1022" fmla="*/ 4964999 w 6785952"/>
              <a:gd name="connsiteY1022" fmla="*/ 4807850 h 5217112"/>
              <a:gd name="connsiteX1023" fmla="*/ 4970711 w 6785952"/>
              <a:gd name="connsiteY1023" fmla="*/ 4811723 h 5217112"/>
              <a:gd name="connsiteX1024" fmla="*/ 4962293 w 6785952"/>
              <a:gd name="connsiteY1024" fmla="*/ 4820134 h 5217112"/>
              <a:gd name="connsiteX1025" fmla="*/ 4956882 w 6785952"/>
              <a:gd name="connsiteY1025" fmla="*/ 4810727 h 5217112"/>
              <a:gd name="connsiteX1026" fmla="*/ 4964999 w 6785952"/>
              <a:gd name="connsiteY1026" fmla="*/ 4807850 h 5217112"/>
              <a:gd name="connsiteX1027" fmla="*/ 3456213 w 6785952"/>
              <a:gd name="connsiteY1027" fmla="*/ 4807850 h 5217112"/>
              <a:gd name="connsiteX1028" fmla="*/ 3461624 w 6785952"/>
              <a:gd name="connsiteY1028" fmla="*/ 4811723 h 5217112"/>
              <a:gd name="connsiteX1029" fmla="*/ 3453207 w 6785952"/>
              <a:gd name="connsiteY1029" fmla="*/ 4820134 h 5217112"/>
              <a:gd name="connsiteX1030" fmla="*/ 3448096 w 6785952"/>
              <a:gd name="connsiteY1030" fmla="*/ 4810727 h 5217112"/>
              <a:gd name="connsiteX1031" fmla="*/ 3456213 w 6785952"/>
              <a:gd name="connsiteY1031" fmla="*/ 4807850 h 5217112"/>
              <a:gd name="connsiteX1032" fmla="*/ 2426908 w 6785952"/>
              <a:gd name="connsiteY1032" fmla="*/ 4807850 h 5217112"/>
              <a:gd name="connsiteX1033" fmla="*/ 2432619 w 6785952"/>
              <a:gd name="connsiteY1033" fmla="*/ 4811723 h 5217112"/>
              <a:gd name="connsiteX1034" fmla="*/ 2423902 w 6785952"/>
              <a:gd name="connsiteY1034" fmla="*/ 4820134 h 5217112"/>
              <a:gd name="connsiteX1035" fmla="*/ 2418791 w 6785952"/>
              <a:gd name="connsiteY1035" fmla="*/ 4810727 h 5217112"/>
              <a:gd name="connsiteX1036" fmla="*/ 2426908 w 6785952"/>
              <a:gd name="connsiteY1036" fmla="*/ 4807850 h 5217112"/>
              <a:gd name="connsiteX1037" fmla="*/ 6025869 w 6785952"/>
              <a:gd name="connsiteY1037" fmla="*/ 4803533 h 5217112"/>
              <a:gd name="connsiteX1038" fmla="*/ 6039397 w 6785952"/>
              <a:gd name="connsiteY1038" fmla="*/ 4805525 h 5217112"/>
              <a:gd name="connsiteX1039" fmla="*/ 6043304 w 6785952"/>
              <a:gd name="connsiteY1039" fmla="*/ 4824008 h 5217112"/>
              <a:gd name="connsiteX1040" fmla="*/ 6037592 w 6785952"/>
              <a:gd name="connsiteY1040" fmla="*/ 4827992 h 5217112"/>
              <a:gd name="connsiteX1041" fmla="*/ 6025268 w 6785952"/>
              <a:gd name="connsiteY1041" fmla="*/ 4828102 h 5217112"/>
              <a:gd name="connsiteX1042" fmla="*/ 6025869 w 6785952"/>
              <a:gd name="connsiteY1042" fmla="*/ 4803533 h 5217112"/>
              <a:gd name="connsiteX1043" fmla="*/ 4770502 w 6785952"/>
              <a:gd name="connsiteY1043" fmla="*/ 4803533 h 5217112"/>
              <a:gd name="connsiteX1044" fmla="*/ 4783728 w 6785952"/>
              <a:gd name="connsiteY1044" fmla="*/ 4805525 h 5217112"/>
              <a:gd name="connsiteX1045" fmla="*/ 4787636 w 6785952"/>
              <a:gd name="connsiteY1045" fmla="*/ 4824008 h 5217112"/>
              <a:gd name="connsiteX1046" fmla="*/ 4782225 w 6785952"/>
              <a:gd name="connsiteY1046" fmla="*/ 4827992 h 5217112"/>
              <a:gd name="connsiteX1047" fmla="*/ 4772605 w 6785952"/>
              <a:gd name="connsiteY1047" fmla="*/ 4828102 h 5217112"/>
              <a:gd name="connsiteX1048" fmla="*/ 4771704 w 6785952"/>
              <a:gd name="connsiteY1048" fmla="*/ 4833304 h 5217112"/>
              <a:gd name="connsiteX1049" fmla="*/ 4766292 w 6785952"/>
              <a:gd name="connsiteY1049" fmla="*/ 4837177 h 5217112"/>
              <a:gd name="connsiteX1050" fmla="*/ 4751562 w 6785952"/>
              <a:gd name="connsiteY1050" fmla="*/ 4834189 h 5217112"/>
              <a:gd name="connsiteX1051" fmla="*/ 4751261 w 6785952"/>
              <a:gd name="connsiteY1051" fmla="*/ 4833968 h 5217112"/>
              <a:gd name="connsiteX1052" fmla="*/ 4746753 w 6785952"/>
              <a:gd name="connsiteY1052" fmla="*/ 4834079 h 5217112"/>
              <a:gd name="connsiteX1053" fmla="*/ 4750660 w 6785952"/>
              <a:gd name="connsiteY1053" fmla="*/ 4815265 h 5217112"/>
              <a:gd name="connsiteX1054" fmla="*/ 4760280 w 6785952"/>
              <a:gd name="connsiteY1054" fmla="*/ 4820577 h 5217112"/>
              <a:gd name="connsiteX1055" fmla="*/ 4760581 w 6785952"/>
              <a:gd name="connsiteY1055" fmla="*/ 4821241 h 5217112"/>
              <a:gd name="connsiteX1056" fmla="*/ 4762684 w 6785952"/>
              <a:gd name="connsiteY1056" fmla="*/ 4819802 h 5217112"/>
              <a:gd name="connsiteX1057" fmla="*/ 4764790 w 6785952"/>
              <a:gd name="connsiteY1057" fmla="*/ 4817810 h 5217112"/>
              <a:gd name="connsiteX1058" fmla="*/ 4764489 w 6785952"/>
              <a:gd name="connsiteY1058" fmla="*/ 4815486 h 5217112"/>
              <a:gd name="connsiteX1059" fmla="*/ 4770502 w 6785952"/>
              <a:gd name="connsiteY1059" fmla="*/ 4803533 h 5217112"/>
              <a:gd name="connsiteX1060" fmla="*/ 3261415 w 6785952"/>
              <a:gd name="connsiteY1060" fmla="*/ 4803533 h 5217112"/>
              <a:gd name="connsiteX1061" fmla="*/ 3274943 w 6785952"/>
              <a:gd name="connsiteY1061" fmla="*/ 4805525 h 5217112"/>
              <a:gd name="connsiteX1062" fmla="*/ 3278850 w 6785952"/>
              <a:gd name="connsiteY1062" fmla="*/ 4824008 h 5217112"/>
              <a:gd name="connsiteX1063" fmla="*/ 3273139 w 6785952"/>
              <a:gd name="connsiteY1063" fmla="*/ 4827992 h 5217112"/>
              <a:gd name="connsiteX1064" fmla="*/ 3260813 w 6785952"/>
              <a:gd name="connsiteY1064" fmla="*/ 4828102 h 5217112"/>
              <a:gd name="connsiteX1065" fmla="*/ 3261415 w 6785952"/>
              <a:gd name="connsiteY1065" fmla="*/ 4803533 h 5217112"/>
              <a:gd name="connsiteX1066" fmla="*/ 2232410 w 6785952"/>
              <a:gd name="connsiteY1066" fmla="*/ 4803533 h 5217112"/>
              <a:gd name="connsiteX1067" fmla="*/ 2245938 w 6785952"/>
              <a:gd name="connsiteY1067" fmla="*/ 4805525 h 5217112"/>
              <a:gd name="connsiteX1068" fmla="*/ 2249545 w 6785952"/>
              <a:gd name="connsiteY1068" fmla="*/ 4824008 h 5217112"/>
              <a:gd name="connsiteX1069" fmla="*/ 2243834 w 6785952"/>
              <a:gd name="connsiteY1069" fmla="*/ 4827992 h 5217112"/>
              <a:gd name="connsiteX1070" fmla="*/ 2231809 w 6785952"/>
              <a:gd name="connsiteY1070" fmla="*/ 4828102 h 5217112"/>
              <a:gd name="connsiteX1071" fmla="*/ 2232410 w 6785952"/>
              <a:gd name="connsiteY1071" fmla="*/ 4803533 h 5217112"/>
              <a:gd name="connsiteX1072" fmla="*/ 4861887 w 6785952"/>
              <a:gd name="connsiteY1072" fmla="*/ 4795454 h 5217112"/>
              <a:gd name="connsiteX1073" fmla="*/ 4876017 w 6785952"/>
              <a:gd name="connsiteY1073" fmla="*/ 4795454 h 5217112"/>
              <a:gd name="connsiteX1074" fmla="*/ 4875416 w 6785952"/>
              <a:gd name="connsiteY1074" fmla="*/ 4798996 h 5217112"/>
              <a:gd name="connsiteX1075" fmla="*/ 4871207 w 6785952"/>
              <a:gd name="connsiteY1075" fmla="*/ 4801320 h 5217112"/>
              <a:gd name="connsiteX1076" fmla="*/ 4855875 w 6785952"/>
              <a:gd name="connsiteY1076" fmla="*/ 4802316 h 5217112"/>
              <a:gd name="connsiteX1077" fmla="*/ 4852268 w 6785952"/>
              <a:gd name="connsiteY1077" fmla="*/ 4801873 h 5217112"/>
              <a:gd name="connsiteX1078" fmla="*/ 4848661 w 6785952"/>
              <a:gd name="connsiteY1078" fmla="*/ 4801541 h 5217112"/>
              <a:gd name="connsiteX1079" fmla="*/ 4845654 w 6785952"/>
              <a:gd name="connsiteY1079" fmla="*/ 4796229 h 5217112"/>
              <a:gd name="connsiteX1080" fmla="*/ 4861887 w 6785952"/>
              <a:gd name="connsiteY1080" fmla="*/ 4795454 h 5217112"/>
              <a:gd name="connsiteX1081" fmla="*/ 3606520 w 6785952"/>
              <a:gd name="connsiteY1081" fmla="*/ 4795454 h 5217112"/>
              <a:gd name="connsiteX1082" fmla="*/ 3620649 w 6785952"/>
              <a:gd name="connsiteY1082" fmla="*/ 4795454 h 5217112"/>
              <a:gd name="connsiteX1083" fmla="*/ 3619748 w 6785952"/>
              <a:gd name="connsiteY1083" fmla="*/ 4798996 h 5217112"/>
              <a:gd name="connsiteX1084" fmla="*/ 3615839 w 6785952"/>
              <a:gd name="connsiteY1084" fmla="*/ 4801320 h 5217112"/>
              <a:gd name="connsiteX1085" fmla="*/ 3600208 w 6785952"/>
              <a:gd name="connsiteY1085" fmla="*/ 4802316 h 5217112"/>
              <a:gd name="connsiteX1086" fmla="*/ 3596601 w 6785952"/>
              <a:gd name="connsiteY1086" fmla="*/ 4801873 h 5217112"/>
              <a:gd name="connsiteX1087" fmla="*/ 3593293 w 6785952"/>
              <a:gd name="connsiteY1087" fmla="*/ 4801541 h 5217112"/>
              <a:gd name="connsiteX1088" fmla="*/ 3589986 w 6785952"/>
              <a:gd name="connsiteY1088" fmla="*/ 4796229 h 5217112"/>
              <a:gd name="connsiteX1089" fmla="*/ 3606520 w 6785952"/>
              <a:gd name="connsiteY1089" fmla="*/ 4795454 h 5217112"/>
              <a:gd name="connsiteX1090" fmla="*/ 2097434 w 6785952"/>
              <a:gd name="connsiteY1090" fmla="*/ 4795454 h 5217112"/>
              <a:gd name="connsiteX1091" fmla="*/ 2111562 w 6785952"/>
              <a:gd name="connsiteY1091" fmla="*/ 4795454 h 5217112"/>
              <a:gd name="connsiteX1092" fmla="*/ 2110661 w 6785952"/>
              <a:gd name="connsiteY1092" fmla="*/ 4798996 h 5217112"/>
              <a:gd name="connsiteX1093" fmla="*/ 2106753 w 6785952"/>
              <a:gd name="connsiteY1093" fmla="*/ 4801320 h 5217112"/>
              <a:gd name="connsiteX1094" fmla="*/ 2091121 w 6785952"/>
              <a:gd name="connsiteY1094" fmla="*/ 4802316 h 5217112"/>
              <a:gd name="connsiteX1095" fmla="*/ 2087814 w 6785952"/>
              <a:gd name="connsiteY1095" fmla="*/ 4801873 h 5217112"/>
              <a:gd name="connsiteX1096" fmla="*/ 2084206 w 6785952"/>
              <a:gd name="connsiteY1096" fmla="*/ 4801541 h 5217112"/>
              <a:gd name="connsiteX1097" fmla="*/ 2080900 w 6785952"/>
              <a:gd name="connsiteY1097" fmla="*/ 4796229 h 5217112"/>
              <a:gd name="connsiteX1098" fmla="*/ 2097434 w 6785952"/>
              <a:gd name="connsiteY1098" fmla="*/ 4795454 h 5217112"/>
              <a:gd name="connsiteX1099" fmla="*/ 1068128 w 6785952"/>
              <a:gd name="connsiteY1099" fmla="*/ 4795454 h 5217112"/>
              <a:gd name="connsiteX1100" fmla="*/ 1082257 w 6785952"/>
              <a:gd name="connsiteY1100" fmla="*/ 4795454 h 5217112"/>
              <a:gd name="connsiteX1101" fmla="*/ 1081656 w 6785952"/>
              <a:gd name="connsiteY1101" fmla="*/ 4798996 h 5217112"/>
              <a:gd name="connsiteX1102" fmla="*/ 1077749 w 6785952"/>
              <a:gd name="connsiteY1102" fmla="*/ 4801320 h 5217112"/>
              <a:gd name="connsiteX1103" fmla="*/ 1062116 w 6785952"/>
              <a:gd name="connsiteY1103" fmla="*/ 4802316 h 5217112"/>
              <a:gd name="connsiteX1104" fmla="*/ 1058509 w 6785952"/>
              <a:gd name="connsiteY1104" fmla="*/ 4801873 h 5217112"/>
              <a:gd name="connsiteX1105" fmla="*/ 1055203 w 6785952"/>
              <a:gd name="connsiteY1105" fmla="*/ 4801541 h 5217112"/>
              <a:gd name="connsiteX1106" fmla="*/ 1051895 w 6785952"/>
              <a:gd name="connsiteY1106" fmla="*/ 4796229 h 5217112"/>
              <a:gd name="connsiteX1107" fmla="*/ 1068128 w 6785952"/>
              <a:gd name="connsiteY1107" fmla="*/ 4795454 h 5217112"/>
              <a:gd name="connsiteX1108" fmla="*/ 5222325 w 6785952"/>
              <a:gd name="connsiteY1108" fmla="*/ 4791581 h 5217112"/>
              <a:gd name="connsiteX1109" fmla="*/ 5226233 w 6785952"/>
              <a:gd name="connsiteY1109" fmla="*/ 4793462 h 5217112"/>
              <a:gd name="connsiteX1110" fmla="*/ 5226534 w 6785952"/>
              <a:gd name="connsiteY1110" fmla="*/ 4794901 h 5217112"/>
              <a:gd name="connsiteX1111" fmla="*/ 5223528 w 6785952"/>
              <a:gd name="connsiteY1111" fmla="*/ 4797114 h 5217112"/>
              <a:gd name="connsiteX1112" fmla="*/ 5208197 w 6785952"/>
              <a:gd name="connsiteY1112" fmla="*/ 4801099 h 5217112"/>
              <a:gd name="connsiteX1113" fmla="*/ 5205190 w 6785952"/>
              <a:gd name="connsiteY1113" fmla="*/ 4802095 h 5217112"/>
              <a:gd name="connsiteX1114" fmla="*/ 5201282 w 6785952"/>
              <a:gd name="connsiteY1114" fmla="*/ 4800324 h 5217112"/>
              <a:gd name="connsiteX1115" fmla="*/ 5214810 w 6785952"/>
              <a:gd name="connsiteY1115" fmla="*/ 4794237 h 5217112"/>
              <a:gd name="connsiteX1116" fmla="*/ 5222325 w 6785952"/>
              <a:gd name="connsiteY1116" fmla="*/ 4791581 h 5217112"/>
              <a:gd name="connsiteX1117" fmla="*/ 3966958 w 6785952"/>
              <a:gd name="connsiteY1117" fmla="*/ 4791581 h 5217112"/>
              <a:gd name="connsiteX1118" fmla="*/ 3970565 w 6785952"/>
              <a:gd name="connsiteY1118" fmla="*/ 4793462 h 5217112"/>
              <a:gd name="connsiteX1119" fmla="*/ 3970865 w 6785952"/>
              <a:gd name="connsiteY1119" fmla="*/ 4794901 h 5217112"/>
              <a:gd name="connsiteX1120" fmla="*/ 3968160 w 6785952"/>
              <a:gd name="connsiteY1120" fmla="*/ 4797114 h 5217112"/>
              <a:gd name="connsiteX1121" fmla="*/ 3952528 w 6785952"/>
              <a:gd name="connsiteY1121" fmla="*/ 4801099 h 5217112"/>
              <a:gd name="connsiteX1122" fmla="*/ 3949522 w 6785952"/>
              <a:gd name="connsiteY1122" fmla="*/ 4802095 h 5217112"/>
              <a:gd name="connsiteX1123" fmla="*/ 3945614 w 6785952"/>
              <a:gd name="connsiteY1123" fmla="*/ 4800324 h 5217112"/>
              <a:gd name="connsiteX1124" fmla="*/ 3959141 w 6785952"/>
              <a:gd name="connsiteY1124" fmla="*/ 4794237 h 5217112"/>
              <a:gd name="connsiteX1125" fmla="*/ 3966958 w 6785952"/>
              <a:gd name="connsiteY1125" fmla="*/ 4791581 h 5217112"/>
              <a:gd name="connsiteX1126" fmla="*/ 2457871 w 6785952"/>
              <a:gd name="connsiteY1126" fmla="*/ 4791581 h 5217112"/>
              <a:gd name="connsiteX1127" fmla="*/ 2461779 w 6785952"/>
              <a:gd name="connsiteY1127" fmla="*/ 4793462 h 5217112"/>
              <a:gd name="connsiteX1128" fmla="*/ 2462080 w 6785952"/>
              <a:gd name="connsiteY1128" fmla="*/ 4794901 h 5217112"/>
              <a:gd name="connsiteX1129" fmla="*/ 2459073 w 6785952"/>
              <a:gd name="connsiteY1129" fmla="*/ 4797114 h 5217112"/>
              <a:gd name="connsiteX1130" fmla="*/ 2443742 w 6785952"/>
              <a:gd name="connsiteY1130" fmla="*/ 4801099 h 5217112"/>
              <a:gd name="connsiteX1131" fmla="*/ 2440436 w 6785952"/>
              <a:gd name="connsiteY1131" fmla="*/ 4802095 h 5217112"/>
              <a:gd name="connsiteX1132" fmla="*/ 2436527 w 6785952"/>
              <a:gd name="connsiteY1132" fmla="*/ 4800324 h 5217112"/>
              <a:gd name="connsiteX1133" fmla="*/ 2450055 w 6785952"/>
              <a:gd name="connsiteY1133" fmla="*/ 4794237 h 5217112"/>
              <a:gd name="connsiteX1134" fmla="*/ 2457871 w 6785952"/>
              <a:gd name="connsiteY1134" fmla="*/ 4791581 h 5217112"/>
              <a:gd name="connsiteX1135" fmla="*/ 1428566 w 6785952"/>
              <a:gd name="connsiteY1135" fmla="*/ 4791581 h 5217112"/>
              <a:gd name="connsiteX1136" fmla="*/ 1432474 w 6785952"/>
              <a:gd name="connsiteY1136" fmla="*/ 4793462 h 5217112"/>
              <a:gd name="connsiteX1137" fmla="*/ 1433075 w 6785952"/>
              <a:gd name="connsiteY1137" fmla="*/ 4794901 h 5217112"/>
              <a:gd name="connsiteX1138" fmla="*/ 1430069 w 6785952"/>
              <a:gd name="connsiteY1138" fmla="*/ 4797114 h 5217112"/>
              <a:gd name="connsiteX1139" fmla="*/ 1414437 w 6785952"/>
              <a:gd name="connsiteY1139" fmla="*/ 4801099 h 5217112"/>
              <a:gd name="connsiteX1140" fmla="*/ 1411431 w 6785952"/>
              <a:gd name="connsiteY1140" fmla="*/ 4802095 h 5217112"/>
              <a:gd name="connsiteX1141" fmla="*/ 1407523 w 6785952"/>
              <a:gd name="connsiteY1141" fmla="*/ 4800324 h 5217112"/>
              <a:gd name="connsiteX1142" fmla="*/ 1421050 w 6785952"/>
              <a:gd name="connsiteY1142" fmla="*/ 4794237 h 5217112"/>
              <a:gd name="connsiteX1143" fmla="*/ 1428566 w 6785952"/>
              <a:gd name="connsiteY1143" fmla="*/ 4791581 h 5217112"/>
              <a:gd name="connsiteX1144" fmla="*/ 4955379 w 6785952"/>
              <a:gd name="connsiteY1144" fmla="*/ 4779960 h 5217112"/>
              <a:gd name="connsiteX1145" fmla="*/ 4967704 w 6785952"/>
              <a:gd name="connsiteY1145" fmla="*/ 4786822 h 5217112"/>
              <a:gd name="connsiteX1146" fmla="*/ 4965600 w 6785952"/>
              <a:gd name="connsiteY1146" fmla="*/ 4790474 h 5217112"/>
              <a:gd name="connsiteX1147" fmla="*/ 4967704 w 6785952"/>
              <a:gd name="connsiteY1147" fmla="*/ 4794901 h 5217112"/>
              <a:gd name="connsiteX1148" fmla="*/ 4955980 w 6785952"/>
              <a:gd name="connsiteY1148" fmla="*/ 4799992 h 5217112"/>
              <a:gd name="connsiteX1149" fmla="*/ 4955079 w 6785952"/>
              <a:gd name="connsiteY1149" fmla="*/ 4794237 h 5217112"/>
              <a:gd name="connsiteX1150" fmla="*/ 4955980 w 6785952"/>
              <a:gd name="connsiteY1150" fmla="*/ 4793573 h 5217112"/>
              <a:gd name="connsiteX1151" fmla="*/ 4951170 w 6785952"/>
              <a:gd name="connsiteY1151" fmla="*/ 4790806 h 5217112"/>
              <a:gd name="connsiteX1152" fmla="*/ 4955379 w 6785952"/>
              <a:gd name="connsiteY1152" fmla="*/ 4779960 h 5217112"/>
              <a:gd name="connsiteX1153" fmla="*/ 1161920 w 6785952"/>
              <a:gd name="connsiteY1153" fmla="*/ 4779960 h 5217112"/>
              <a:gd name="connsiteX1154" fmla="*/ 1173945 w 6785952"/>
              <a:gd name="connsiteY1154" fmla="*/ 4786822 h 5217112"/>
              <a:gd name="connsiteX1155" fmla="*/ 1172142 w 6785952"/>
              <a:gd name="connsiteY1155" fmla="*/ 4790474 h 5217112"/>
              <a:gd name="connsiteX1156" fmla="*/ 1173945 w 6785952"/>
              <a:gd name="connsiteY1156" fmla="*/ 4794901 h 5217112"/>
              <a:gd name="connsiteX1157" fmla="*/ 1162221 w 6785952"/>
              <a:gd name="connsiteY1157" fmla="*/ 4799992 h 5217112"/>
              <a:gd name="connsiteX1158" fmla="*/ 1161319 w 6785952"/>
              <a:gd name="connsiteY1158" fmla="*/ 4794237 h 5217112"/>
              <a:gd name="connsiteX1159" fmla="*/ 1162221 w 6785952"/>
              <a:gd name="connsiteY1159" fmla="*/ 4793573 h 5217112"/>
              <a:gd name="connsiteX1160" fmla="*/ 1157411 w 6785952"/>
              <a:gd name="connsiteY1160" fmla="*/ 4790806 h 5217112"/>
              <a:gd name="connsiteX1161" fmla="*/ 1161920 w 6785952"/>
              <a:gd name="connsiteY1161" fmla="*/ 4779960 h 5217112"/>
              <a:gd name="connsiteX1162" fmla="*/ 5980476 w 6785952"/>
              <a:gd name="connsiteY1162" fmla="*/ 4775755 h 5217112"/>
              <a:gd name="connsiteX1163" fmla="*/ 5983783 w 6785952"/>
              <a:gd name="connsiteY1163" fmla="*/ 4823676 h 5217112"/>
              <a:gd name="connsiteX1164" fmla="*/ 5980476 w 6785952"/>
              <a:gd name="connsiteY1164" fmla="*/ 4775755 h 5217112"/>
              <a:gd name="connsiteX1165" fmla="*/ 4724808 w 6785952"/>
              <a:gd name="connsiteY1165" fmla="*/ 4775755 h 5217112"/>
              <a:gd name="connsiteX1166" fmla="*/ 4728415 w 6785952"/>
              <a:gd name="connsiteY1166" fmla="*/ 4823676 h 5217112"/>
              <a:gd name="connsiteX1167" fmla="*/ 4724808 w 6785952"/>
              <a:gd name="connsiteY1167" fmla="*/ 4775755 h 5217112"/>
              <a:gd name="connsiteX1168" fmla="*/ 3215721 w 6785952"/>
              <a:gd name="connsiteY1168" fmla="*/ 4775755 h 5217112"/>
              <a:gd name="connsiteX1169" fmla="*/ 3219329 w 6785952"/>
              <a:gd name="connsiteY1169" fmla="*/ 4823676 h 5217112"/>
              <a:gd name="connsiteX1170" fmla="*/ 3215721 w 6785952"/>
              <a:gd name="connsiteY1170" fmla="*/ 4775755 h 5217112"/>
              <a:gd name="connsiteX1171" fmla="*/ 2186716 w 6785952"/>
              <a:gd name="connsiteY1171" fmla="*/ 4775755 h 5217112"/>
              <a:gd name="connsiteX1172" fmla="*/ 2192127 w 6785952"/>
              <a:gd name="connsiteY1172" fmla="*/ 4780624 h 5217112"/>
              <a:gd name="connsiteX1173" fmla="*/ 2202949 w 6785952"/>
              <a:gd name="connsiteY1173" fmla="*/ 4786822 h 5217112"/>
              <a:gd name="connsiteX1174" fmla="*/ 2201147 w 6785952"/>
              <a:gd name="connsiteY1174" fmla="*/ 4790474 h 5217112"/>
              <a:gd name="connsiteX1175" fmla="*/ 2202949 w 6785952"/>
              <a:gd name="connsiteY1175" fmla="*/ 4794901 h 5217112"/>
              <a:gd name="connsiteX1176" fmla="*/ 2197538 w 6785952"/>
              <a:gd name="connsiteY1176" fmla="*/ 4797336 h 5217112"/>
              <a:gd name="connsiteX1177" fmla="*/ 2197538 w 6785952"/>
              <a:gd name="connsiteY1177" fmla="*/ 4798110 h 5217112"/>
              <a:gd name="connsiteX1178" fmla="*/ 2190324 w 6785952"/>
              <a:gd name="connsiteY1178" fmla="*/ 4823676 h 5217112"/>
              <a:gd name="connsiteX1179" fmla="*/ 2186716 w 6785952"/>
              <a:gd name="connsiteY1179" fmla="*/ 4775755 h 5217112"/>
              <a:gd name="connsiteX1180" fmla="*/ 5838285 w 6785952"/>
              <a:gd name="connsiteY1180" fmla="*/ 4773541 h 5217112"/>
              <a:gd name="connsiteX1181" fmla="*/ 5841292 w 6785952"/>
              <a:gd name="connsiteY1181" fmla="*/ 4775644 h 5217112"/>
              <a:gd name="connsiteX1182" fmla="*/ 5842193 w 6785952"/>
              <a:gd name="connsiteY1182" fmla="*/ 4779850 h 5217112"/>
              <a:gd name="connsiteX1183" fmla="*/ 5836782 w 6785952"/>
              <a:gd name="connsiteY1183" fmla="*/ 4793462 h 5217112"/>
              <a:gd name="connsiteX1184" fmla="*/ 5834978 w 6785952"/>
              <a:gd name="connsiteY1184" fmla="*/ 4796229 h 5217112"/>
              <a:gd name="connsiteX1185" fmla="*/ 5833174 w 6785952"/>
              <a:gd name="connsiteY1185" fmla="*/ 4799107 h 5217112"/>
              <a:gd name="connsiteX1186" fmla="*/ 5826561 w 6785952"/>
              <a:gd name="connsiteY1186" fmla="*/ 4799549 h 5217112"/>
              <a:gd name="connsiteX1187" fmla="*/ 5838285 w 6785952"/>
              <a:gd name="connsiteY1187" fmla="*/ 4773541 h 5217112"/>
              <a:gd name="connsiteX1188" fmla="*/ 4582617 w 6785952"/>
              <a:gd name="connsiteY1188" fmla="*/ 4773541 h 5217112"/>
              <a:gd name="connsiteX1189" fmla="*/ 4585924 w 6785952"/>
              <a:gd name="connsiteY1189" fmla="*/ 4775644 h 5217112"/>
              <a:gd name="connsiteX1190" fmla="*/ 4586525 w 6785952"/>
              <a:gd name="connsiteY1190" fmla="*/ 4779850 h 5217112"/>
              <a:gd name="connsiteX1191" fmla="*/ 4581415 w 6785952"/>
              <a:gd name="connsiteY1191" fmla="*/ 4793462 h 5217112"/>
              <a:gd name="connsiteX1192" fmla="*/ 4579309 w 6785952"/>
              <a:gd name="connsiteY1192" fmla="*/ 4796229 h 5217112"/>
              <a:gd name="connsiteX1193" fmla="*/ 4577506 w 6785952"/>
              <a:gd name="connsiteY1193" fmla="*/ 4799107 h 5217112"/>
              <a:gd name="connsiteX1194" fmla="*/ 4570893 w 6785952"/>
              <a:gd name="connsiteY1194" fmla="*/ 4799549 h 5217112"/>
              <a:gd name="connsiteX1195" fmla="*/ 4582617 w 6785952"/>
              <a:gd name="connsiteY1195" fmla="*/ 4773541 h 5217112"/>
              <a:gd name="connsiteX1196" fmla="*/ 3073530 w 6785952"/>
              <a:gd name="connsiteY1196" fmla="*/ 4773541 h 5217112"/>
              <a:gd name="connsiteX1197" fmla="*/ 3076837 w 6785952"/>
              <a:gd name="connsiteY1197" fmla="*/ 4775644 h 5217112"/>
              <a:gd name="connsiteX1198" fmla="*/ 3077438 w 6785952"/>
              <a:gd name="connsiteY1198" fmla="*/ 4779850 h 5217112"/>
              <a:gd name="connsiteX1199" fmla="*/ 3072328 w 6785952"/>
              <a:gd name="connsiteY1199" fmla="*/ 4793462 h 5217112"/>
              <a:gd name="connsiteX1200" fmla="*/ 3070524 w 6785952"/>
              <a:gd name="connsiteY1200" fmla="*/ 4796229 h 5217112"/>
              <a:gd name="connsiteX1201" fmla="*/ 3068420 w 6785952"/>
              <a:gd name="connsiteY1201" fmla="*/ 4799107 h 5217112"/>
              <a:gd name="connsiteX1202" fmla="*/ 3061806 w 6785952"/>
              <a:gd name="connsiteY1202" fmla="*/ 4799549 h 5217112"/>
              <a:gd name="connsiteX1203" fmla="*/ 3073530 w 6785952"/>
              <a:gd name="connsiteY1203" fmla="*/ 4773541 h 5217112"/>
              <a:gd name="connsiteX1204" fmla="*/ 2044525 w 6785952"/>
              <a:gd name="connsiteY1204" fmla="*/ 4773541 h 5217112"/>
              <a:gd name="connsiteX1205" fmla="*/ 2047532 w 6785952"/>
              <a:gd name="connsiteY1205" fmla="*/ 4775644 h 5217112"/>
              <a:gd name="connsiteX1206" fmla="*/ 2048434 w 6785952"/>
              <a:gd name="connsiteY1206" fmla="*/ 4779850 h 5217112"/>
              <a:gd name="connsiteX1207" fmla="*/ 2043023 w 6785952"/>
              <a:gd name="connsiteY1207" fmla="*/ 4793462 h 5217112"/>
              <a:gd name="connsiteX1208" fmla="*/ 2041219 w 6785952"/>
              <a:gd name="connsiteY1208" fmla="*/ 4796229 h 5217112"/>
              <a:gd name="connsiteX1209" fmla="*/ 2039415 w 6785952"/>
              <a:gd name="connsiteY1209" fmla="*/ 4799107 h 5217112"/>
              <a:gd name="connsiteX1210" fmla="*/ 2032802 w 6785952"/>
              <a:gd name="connsiteY1210" fmla="*/ 4799549 h 5217112"/>
              <a:gd name="connsiteX1211" fmla="*/ 2044525 w 6785952"/>
              <a:gd name="connsiteY1211" fmla="*/ 4773541 h 5217112"/>
              <a:gd name="connsiteX1212" fmla="*/ 5910132 w 6785952"/>
              <a:gd name="connsiteY1212" fmla="*/ 4770775 h 5217112"/>
              <a:gd name="connsiteX1213" fmla="*/ 5913740 w 6785952"/>
              <a:gd name="connsiteY1213" fmla="*/ 4770775 h 5217112"/>
              <a:gd name="connsiteX1214" fmla="*/ 5916144 w 6785952"/>
              <a:gd name="connsiteY1214" fmla="*/ 4774095 h 5217112"/>
              <a:gd name="connsiteX1215" fmla="*/ 5917647 w 6785952"/>
              <a:gd name="connsiteY1215" fmla="*/ 4788814 h 5217112"/>
              <a:gd name="connsiteX1216" fmla="*/ 5917347 w 6785952"/>
              <a:gd name="connsiteY1216" fmla="*/ 4792134 h 5217112"/>
              <a:gd name="connsiteX1217" fmla="*/ 5917046 w 6785952"/>
              <a:gd name="connsiteY1217" fmla="*/ 4795676 h 5217112"/>
              <a:gd name="connsiteX1218" fmla="*/ 5911635 w 6785952"/>
              <a:gd name="connsiteY1218" fmla="*/ 4799881 h 5217112"/>
              <a:gd name="connsiteX1219" fmla="*/ 5910132 w 6785952"/>
              <a:gd name="connsiteY1219" fmla="*/ 4770775 h 5217112"/>
              <a:gd name="connsiteX1220" fmla="*/ 4654464 w 6785952"/>
              <a:gd name="connsiteY1220" fmla="*/ 4770775 h 5217112"/>
              <a:gd name="connsiteX1221" fmla="*/ 4658071 w 6785952"/>
              <a:gd name="connsiteY1221" fmla="*/ 4770775 h 5217112"/>
              <a:gd name="connsiteX1222" fmla="*/ 4660777 w 6785952"/>
              <a:gd name="connsiteY1222" fmla="*/ 4774095 h 5217112"/>
              <a:gd name="connsiteX1223" fmla="*/ 4661979 w 6785952"/>
              <a:gd name="connsiteY1223" fmla="*/ 4788814 h 5217112"/>
              <a:gd name="connsiteX1224" fmla="*/ 4661678 w 6785952"/>
              <a:gd name="connsiteY1224" fmla="*/ 4792134 h 5217112"/>
              <a:gd name="connsiteX1225" fmla="*/ 4661378 w 6785952"/>
              <a:gd name="connsiteY1225" fmla="*/ 4795676 h 5217112"/>
              <a:gd name="connsiteX1226" fmla="*/ 4655967 w 6785952"/>
              <a:gd name="connsiteY1226" fmla="*/ 4799881 h 5217112"/>
              <a:gd name="connsiteX1227" fmla="*/ 4654464 w 6785952"/>
              <a:gd name="connsiteY1227" fmla="*/ 4770775 h 5217112"/>
              <a:gd name="connsiteX1228" fmla="*/ 3145378 w 6785952"/>
              <a:gd name="connsiteY1228" fmla="*/ 4770775 h 5217112"/>
              <a:gd name="connsiteX1229" fmla="*/ 3148985 w 6785952"/>
              <a:gd name="connsiteY1229" fmla="*/ 4770775 h 5217112"/>
              <a:gd name="connsiteX1230" fmla="*/ 3151690 w 6785952"/>
              <a:gd name="connsiteY1230" fmla="*/ 4774095 h 5217112"/>
              <a:gd name="connsiteX1231" fmla="*/ 3152893 w 6785952"/>
              <a:gd name="connsiteY1231" fmla="*/ 4788814 h 5217112"/>
              <a:gd name="connsiteX1232" fmla="*/ 3152893 w 6785952"/>
              <a:gd name="connsiteY1232" fmla="*/ 4792134 h 5217112"/>
              <a:gd name="connsiteX1233" fmla="*/ 3152291 w 6785952"/>
              <a:gd name="connsiteY1233" fmla="*/ 4795676 h 5217112"/>
              <a:gd name="connsiteX1234" fmla="*/ 3146880 w 6785952"/>
              <a:gd name="connsiteY1234" fmla="*/ 4799881 h 5217112"/>
              <a:gd name="connsiteX1235" fmla="*/ 3145378 w 6785952"/>
              <a:gd name="connsiteY1235" fmla="*/ 4770775 h 5217112"/>
              <a:gd name="connsiteX1236" fmla="*/ 2116372 w 6785952"/>
              <a:gd name="connsiteY1236" fmla="*/ 4770775 h 5217112"/>
              <a:gd name="connsiteX1237" fmla="*/ 2119980 w 6785952"/>
              <a:gd name="connsiteY1237" fmla="*/ 4770775 h 5217112"/>
              <a:gd name="connsiteX1238" fmla="*/ 2122685 w 6785952"/>
              <a:gd name="connsiteY1238" fmla="*/ 4774095 h 5217112"/>
              <a:gd name="connsiteX1239" fmla="*/ 2123888 w 6785952"/>
              <a:gd name="connsiteY1239" fmla="*/ 4788814 h 5217112"/>
              <a:gd name="connsiteX1240" fmla="*/ 2123588 w 6785952"/>
              <a:gd name="connsiteY1240" fmla="*/ 4792134 h 5217112"/>
              <a:gd name="connsiteX1241" fmla="*/ 2123287 w 6785952"/>
              <a:gd name="connsiteY1241" fmla="*/ 4795676 h 5217112"/>
              <a:gd name="connsiteX1242" fmla="*/ 2117876 w 6785952"/>
              <a:gd name="connsiteY1242" fmla="*/ 4799881 h 5217112"/>
              <a:gd name="connsiteX1243" fmla="*/ 2116372 w 6785952"/>
              <a:gd name="connsiteY1243" fmla="*/ 4770775 h 5217112"/>
              <a:gd name="connsiteX1244" fmla="*/ 5868648 w 6785952"/>
              <a:gd name="connsiteY1244" fmla="*/ 4767012 h 5217112"/>
              <a:gd name="connsiteX1245" fmla="*/ 5871653 w 6785952"/>
              <a:gd name="connsiteY1245" fmla="*/ 4767233 h 5217112"/>
              <a:gd name="connsiteX1246" fmla="*/ 5874660 w 6785952"/>
              <a:gd name="connsiteY1246" fmla="*/ 4769225 h 5217112"/>
              <a:gd name="connsiteX1247" fmla="*/ 5875561 w 6785952"/>
              <a:gd name="connsiteY1247" fmla="*/ 4772103 h 5217112"/>
              <a:gd name="connsiteX1248" fmla="*/ 5873156 w 6785952"/>
              <a:gd name="connsiteY1248" fmla="*/ 4774870 h 5217112"/>
              <a:gd name="connsiteX1249" fmla="*/ 5867144 w 6785952"/>
              <a:gd name="connsiteY1249" fmla="*/ 4777526 h 5217112"/>
              <a:gd name="connsiteX1250" fmla="*/ 5862936 w 6785952"/>
              <a:gd name="connsiteY1250" fmla="*/ 4776198 h 5217112"/>
              <a:gd name="connsiteX1251" fmla="*/ 5863237 w 6785952"/>
              <a:gd name="connsiteY1251" fmla="*/ 4772767 h 5217112"/>
              <a:gd name="connsiteX1252" fmla="*/ 5862034 w 6785952"/>
              <a:gd name="connsiteY1252" fmla="*/ 4770111 h 5217112"/>
              <a:gd name="connsiteX1253" fmla="*/ 5863537 w 6785952"/>
              <a:gd name="connsiteY1253" fmla="*/ 4769447 h 5217112"/>
              <a:gd name="connsiteX1254" fmla="*/ 5864439 w 6785952"/>
              <a:gd name="connsiteY1254" fmla="*/ 4767344 h 5217112"/>
              <a:gd name="connsiteX1255" fmla="*/ 5868648 w 6785952"/>
              <a:gd name="connsiteY1255" fmla="*/ 4767012 h 5217112"/>
              <a:gd name="connsiteX1256" fmla="*/ 4612978 w 6785952"/>
              <a:gd name="connsiteY1256" fmla="*/ 4767012 h 5217112"/>
              <a:gd name="connsiteX1257" fmla="*/ 4616286 w 6785952"/>
              <a:gd name="connsiteY1257" fmla="*/ 4767233 h 5217112"/>
              <a:gd name="connsiteX1258" fmla="*/ 4619292 w 6785952"/>
              <a:gd name="connsiteY1258" fmla="*/ 4769225 h 5217112"/>
              <a:gd name="connsiteX1259" fmla="*/ 4619893 w 6785952"/>
              <a:gd name="connsiteY1259" fmla="*/ 4772103 h 5217112"/>
              <a:gd name="connsiteX1260" fmla="*/ 4617488 w 6785952"/>
              <a:gd name="connsiteY1260" fmla="*/ 4774870 h 5217112"/>
              <a:gd name="connsiteX1261" fmla="*/ 4611476 w 6785952"/>
              <a:gd name="connsiteY1261" fmla="*/ 4777526 h 5217112"/>
              <a:gd name="connsiteX1262" fmla="*/ 4607568 w 6785952"/>
              <a:gd name="connsiteY1262" fmla="*/ 4776198 h 5217112"/>
              <a:gd name="connsiteX1263" fmla="*/ 4607568 w 6785952"/>
              <a:gd name="connsiteY1263" fmla="*/ 4772767 h 5217112"/>
              <a:gd name="connsiteX1264" fmla="*/ 4606665 w 6785952"/>
              <a:gd name="connsiteY1264" fmla="*/ 4770111 h 5217112"/>
              <a:gd name="connsiteX1265" fmla="*/ 4608169 w 6785952"/>
              <a:gd name="connsiteY1265" fmla="*/ 4769447 h 5217112"/>
              <a:gd name="connsiteX1266" fmla="*/ 4609072 w 6785952"/>
              <a:gd name="connsiteY1266" fmla="*/ 4767344 h 5217112"/>
              <a:gd name="connsiteX1267" fmla="*/ 4612978 w 6785952"/>
              <a:gd name="connsiteY1267" fmla="*/ 4767012 h 5217112"/>
              <a:gd name="connsiteX1268" fmla="*/ 2075188 w 6785952"/>
              <a:gd name="connsiteY1268" fmla="*/ 4767012 h 5217112"/>
              <a:gd name="connsiteX1269" fmla="*/ 2077894 w 6785952"/>
              <a:gd name="connsiteY1269" fmla="*/ 4767233 h 5217112"/>
              <a:gd name="connsiteX1270" fmla="*/ 2081200 w 6785952"/>
              <a:gd name="connsiteY1270" fmla="*/ 4769225 h 5217112"/>
              <a:gd name="connsiteX1271" fmla="*/ 2081802 w 6785952"/>
              <a:gd name="connsiteY1271" fmla="*/ 4772103 h 5217112"/>
              <a:gd name="connsiteX1272" fmla="*/ 2079397 w 6785952"/>
              <a:gd name="connsiteY1272" fmla="*/ 4774870 h 5217112"/>
              <a:gd name="connsiteX1273" fmla="*/ 2073385 w 6785952"/>
              <a:gd name="connsiteY1273" fmla="*/ 4777526 h 5217112"/>
              <a:gd name="connsiteX1274" fmla="*/ 2069176 w 6785952"/>
              <a:gd name="connsiteY1274" fmla="*/ 4776198 h 5217112"/>
              <a:gd name="connsiteX1275" fmla="*/ 2069777 w 6785952"/>
              <a:gd name="connsiteY1275" fmla="*/ 4772767 h 5217112"/>
              <a:gd name="connsiteX1276" fmla="*/ 2068275 w 6785952"/>
              <a:gd name="connsiteY1276" fmla="*/ 4770111 h 5217112"/>
              <a:gd name="connsiteX1277" fmla="*/ 2070078 w 6785952"/>
              <a:gd name="connsiteY1277" fmla="*/ 4769447 h 5217112"/>
              <a:gd name="connsiteX1278" fmla="*/ 2070980 w 6785952"/>
              <a:gd name="connsiteY1278" fmla="*/ 4767344 h 5217112"/>
              <a:gd name="connsiteX1279" fmla="*/ 2075188 w 6785952"/>
              <a:gd name="connsiteY1279" fmla="*/ 4767012 h 5217112"/>
              <a:gd name="connsiteX1280" fmla="*/ 4734727 w 6785952"/>
              <a:gd name="connsiteY1280" fmla="*/ 4759818 h 5217112"/>
              <a:gd name="connsiteX1281" fmla="*/ 4739537 w 6785952"/>
              <a:gd name="connsiteY1281" fmla="*/ 4760482 h 5217112"/>
              <a:gd name="connsiteX1282" fmla="*/ 4741942 w 6785952"/>
              <a:gd name="connsiteY1282" fmla="*/ 4767012 h 5217112"/>
              <a:gd name="connsiteX1283" fmla="*/ 4727513 w 6785952"/>
              <a:gd name="connsiteY1283" fmla="*/ 4770885 h 5217112"/>
              <a:gd name="connsiteX1284" fmla="*/ 4734727 w 6785952"/>
              <a:gd name="connsiteY1284" fmla="*/ 4759818 h 5217112"/>
              <a:gd name="connsiteX1285" fmla="*/ 1970273 w 6785952"/>
              <a:gd name="connsiteY1285" fmla="*/ 4759818 h 5217112"/>
              <a:gd name="connsiteX1286" fmla="*/ 1974783 w 6785952"/>
              <a:gd name="connsiteY1286" fmla="*/ 4760482 h 5217112"/>
              <a:gd name="connsiteX1287" fmla="*/ 1977489 w 6785952"/>
              <a:gd name="connsiteY1287" fmla="*/ 4767012 h 5217112"/>
              <a:gd name="connsiteX1288" fmla="*/ 1962759 w 6785952"/>
              <a:gd name="connsiteY1288" fmla="*/ 4770885 h 5217112"/>
              <a:gd name="connsiteX1289" fmla="*/ 1970273 w 6785952"/>
              <a:gd name="connsiteY1289" fmla="*/ 4759818 h 5217112"/>
              <a:gd name="connsiteX1290" fmla="*/ 940968 w 6785952"/>
              <a:gd name="connsiteY1290" fmla="*/ 4759818 h 5217112"/>
              <a:gd name="connsiteX1291" fmla="*/ 945778 w 6785952"/>
              <a:gd name="connsiteY1291" fmla="*/ 4760482 h 5217112"/>
              <a:gd name="connsiteX1292" fmla="*/ 948484 w 6785952"/>
              <a:gd name="connsiteY1292" fmla="*/ 4767012 h 5217112"/>
              <a:gd name="connsiteX1293" fmla="*/ 933754 w 6785952"/>
              <a:gd name="connsiteY1293" fmla="*/ 4770885 h 5217112"/>
              <a:gd name="connsiteX1294" fmla="*/ 940968 w 6785952"/>
              <a:gd name="connsiteY1294" fmla="*/ 4759818 h 5217112"/>
              <a:gd name="connsiteX1295" fmla="*/ 5314915 w 6785952"/>
              <a:gd name="connsiteY1295" fmla="*/ 4755170 h 5217112"/>
              <a:gd name="connsiteX1296" fmla="*/ 5326038 w 6785952"/>
              <a:gd name="connsiteY1296" fmla="*/ 4761589 h 5217112"/>
              <a:gd name="connsiteX1297" fmla="*/ 5321227 w 6785952"/>
              <a:gd name="connsiteY1297" fmla="*/ 4769225 h 5217112"/>
              <a:gd name="connsiteX1298" fmla="*/ 5309203 w 6785952"/>
              <a:gd name="connsiteY1298" fmla="*/ 4766237 h 5217112"/>
              <a:gd name="connsiteX1299" fmla="*/ 5314915 w 6785952"/>
              <a:gd name="connsiteY1299" fmla="*/ 4755170 h 5217112"/>
              <a:gd name="connsiteX1300" fmla="*/ 4059246 w 6785952"/>
              <a:gd name="connsiteY1300" fmla="*/ 4755170 h 5217112"/>
              <a:gd name="connsiteX1301" fmla="*/ 4070669 w 6785952"/>
              <a:gd name="connsiteY1301" fmla="*/ 4761589 h 5217112"/>
              <a:gd name="connsiteX1302" fmla="*/ 4065560 w 6785952"/>
              <a:gd name="connsiteY1302" fmla="*/ 4769225 h 5217112"/>
              <a:gd name="connsiteX1303" fmla="*/ 4053534 w 6785952"/>
              <a:gd name="connsiteY1303" fmla="*/ 4766237 h 5217112"/>
              <a:gd name="connsiteX1304" fmla="*/ 4059246 w 6785952"/>
              <a:gd name="connsiteY1304" fmla="*/ 4755170 h 5217112"/>
              <a:gd name="connsiteX1305" fmla="*/ 2550460 w 6785952"/>
              <a:gd name="connsiteY1305" fmla="*/ 4755170 h 5217112"/>
              <a:gd name="connsiteX1306" fmla="*/ 2561583 w 6785952"/>
              <a:gd name="connsiteY1306" fmla="*/ 4761589 h 5217112"/>
              <a:gd name="connsiteX1307" fmla="*/ 2556473 w 6785952"/>
              <a:gd name="connsiteY1307" fmla="*/ 4769225 h 5217112"/>
              <a:gd name="connsiteX1308" fmla="*/ 2544448 w 6785952"/>
              <a:gd name="connsiteY1308" fmla="*/ 4766237 h 5217112"/>
              <a:gd name="connsiteX1309" fmla="*/ 2550460 w 6785952"/>
              <a:gd name="connsiteY1309" fmla="*/ 4755170 h 5217112"/>
              <a:gd name="connsiteX1310" fmla="*/ 1521155 w 6785952"/>
              <a:gd name="connsiteY1310" fmla="*/ 4755170 h 5217112"/>
              <a:gd name="connsiteX1311" fmla="*/ 1532277 w 6785952"/>
              <a:gd name="connsiteY1311" fmla="*/ 4761589 h 5217112"/>
              <a:gd name="connsiteX1312" fmla="*/ 1527468 w 6785952"/>
              <a:gd name="connsiteY1312" fmla="*/ 4769225 h 5217112"/>
              <a:gd name="connsiteX1313" fmla="*/ 1515443 w 6785952"/>
              <a:gd name="connsiteY1313" fmla="*/ 4766237 h 5217112"/>
              <a:gd name="connsiteX1314" fmla="*/ 1521155 w 6785952"/>
              <a:gd name="connsiteY1314" fmla="*/ 4755170 h 5217112"/>
              <a:gd name="connsiteX1315" fmla="*/ 5102380 w 6785952"/>
              <a:gd name="connsiteY1315" fmla="*/ 4754838 h 5217112"/>
              <a:gd name="connsiteX1316" fmla="*/ 5109595 w 6785952"/>
              <a:gd name="connsiteY1316" fmla="*/ 4756941 h 5217112"/>
              <a:gd name="connsiteX1317" fmla="*/ 5107490 w 6785952"/>
              <a:gd name="connsiteY1317" fmla="*/ 4765684 h 5217112"/>
              <a:gd name="connsiteX1318" fmla="*/ 5102681 w 6785952"/>
              <a:gd name="connsiteY1318" fmla="*/ 4767897 h 5217112"/>
              <a:gd name="connsiteX1319" fmla="*/ 5097871 w 6785952"/>
              <a:gd name="connsiteY1319" fmla="*/ 4764688 h 5217112"/>
              <a:gd name="connsiteX1320" fmla="*/ 5096368 w 6785952"/>
              <a:gd name="connsiteY1320" fmla="*/ 4758490 h 5217112"/>
              <a:gd name="connsiteX1321" fmla="*/ 5102380 w 6785952"/>
              <a:gd name="connsiteY1321" fmla="*/ 4754838 h 5217112"/>
              <a:gd name="connsiteX1322" fmla="*/ 2337926 w 6785952"/>
              <a:gd name="connsiteY1322" fmla="*/ 4754838 h 5217112"/>
              <a:gd name="connsiteX1323" fmla="*/ 2344839 w 6785952"/>
              <a:gd name="connsiteY1323" fmla="*/ 4756941 h 5217112"/>
              <a:gd name="connsiteX1324" fmla="*/ 2343036 w 6785952"/>
              <a:gd name="connsiteY1324" fmla="*/ 4765684 h 5217112"/>
              <a:gd name="connsiteX1325" fmla="*/ 2338226 w 6785952"/>
              <a:gd name="connsiteY1325" fmla="*/ 4767897 h 5217112"/>
              <a:gd name="connsiteX1326" fmla="*/ 2333416 w 6785952"/>
              <a:gd name="connsiteY1326" fmla="*/ 4764688 h 5217112"/>
              <a:gd name="connsiteX1327" fmla="*/ 2331914 w 6785952"/>
              <a:gd name="connsiteY1327" fmla="*/ 4758490 h 5217112"/>
              <a:gd name="connsiteX1328" fmla="*/ 2337926 w 6785952"/>
              <a:gd name="connsiteY1328" fmla="*/ 4754838 h 5217112"/>
              <a:gd name="connsiteX1329" fmla="*/ 1308921 w 6785952"/>
              <a:gd name="connsiteY1329" fmla="*/ 4754838 h 5217112"/>
              <a:gd name="connsiteX1330" fmla="*/ 1315835 w 6785952"/>
              <a:gd name="connsiteY1330" fmla="*/ 4756941 h 5217112"/>
              <a:gd name="connsiteX1331" fmla="*/ 1314032 w 6785952"/>
              <a:gd name="connsiteY1331" fmla="*/ 4765684 h 5217112"/>
              <a:gd name="connsiteX1332" fmla="*/ 1308921 w 6785952"/>
              <a:gd name="connsiteY1332" fmla="*/ 4767897 h 5217112"/>
              <a:gd name="connsiteX1333" fmla="*/ 1304411 w 6785952"/>
              <a:gd name="connsiteY1333" fmla="*/ 4764688 h 5217112"/>
              <a:gd name="connsiteX1334" fmla="*/ 1302909 w 6785952"/>
              <a:gd name="connsiteY1334" fmla="*/ 4758490 h 5217112"/>
              <a:gd name="connsiteX1335" fmla="*/ 1308921 w 6785952"/>
              <a:gd name="connsiteY1335" fmla="*/ 4754838 h 5217112"/>
              <a:gd name="connsiteX1336" fmla="*/ 5306196 w 6785952"/>
              <a:gd name="connsiteY1336" fmla="*/ 4750632 h 5217112"/>
              <a:gd name="connsiteX1337" fmla="*/ 5312510 w 6785952"/>
              <a:gd name="connsiteY1337" fmla="*/ 4752071 h 5217112"/>
              <a:gd name="connsiteX1338" fmla="*/ 5311607 w 6785952"/>
              <a:gd name="connsiteY1338" fmla="*/ 4755391 h 5217112"/>
              <a:gd name="connsiteX1339" fmla="*/ 5307700 w 6785952"/>
              <a:gd name="connsiteY1339" fmla="*/ 4759265 h 5217112"/>
              <a:gd name="connsiteX1340" fmla="*/ 5302891 w 6785952"/>
              <a:gd name="connsiteY1340" fmla="*/ 4759929 h 5217112"/>
              <a:gd name="connsiteX1341" fmla="*/ 5300484 w 6785952"/>
              <a:gd name="connsiteY1341" fmla="*/ 4751407 h 5217112"/>
              <a:gd name="connsiteX1342" fmla="*/ 5306196 w 6785952"/>
              <a:gd name="connsiteY1342" fmla="*/ 4750632 h 5217112"/>
              <a:gd name="connsiteX1343" fmla="*/ 4050528 w 6785952"/>
              <a:gd name="connsiteY1343" fmla="*/ 4750632 h 5217112"/>
              <a:gd name="connsiteX1344" fmla="*/ 4056841 w 6785952"/>
              <a:gd name="connsiteY1344" fmla="*/ 4752071 h 5217112"/>
              <a:gd name="connsiteX1345" fmla="*/ 4055939 w 6785952"/>
              <a:gd name="connsiteY1345" fmla="*/ 4755391 h 5217112"/>
              <a:gd name="connsiteX1346" fmla="*/ 4052032 w 6785952"/>
              <a:gd name="connsiteY1346" fmla="*/ 4759265 h 5217112"/>
              <a:gd name="connsiteX1347" fmla="*/ 4047222 w 6785952"/>
              <a:gd name="connsiteY1347" fmla="*/ 4759929 h 5217112"/>
              <a:gd name="connsiteX1348" fmla="*/ 4044817 w 6785952"/>
              <a:gd name="connsiteY1348" fmla="*/ 4751407 h 5217112"/>
              <a:gd name="connsiteX1349" fmla="*/ 4050528 w 6785952"/>
              <a:gd name="connsiteY1349" fmla="*/ 4750632 h 5217112"/>
              <a:gd name="connsiteX1350" fmla="*/ 2541442 w 6785952"/>
              <a:gd name="connsiteY1350" fmla="*/ 4750632 h 5217112"/>
              <a:gd name="connsiteX1351" fmla="*/ 2547754 w 6785952"/>
              <a:gd name="connsiteY1351" fmla="*/ 4752071 h 5217112"/>
              <a:gd name="connsiteX1352" fmla="*/ 2547154 w 6785952"/>
              <a:gd name="connsiteY1352" fmla="*/ 4755391 h 5217112"/>
              <a:gd name="connsiteX1353" fmla="*/ 2543246 w 6785952"/>
              <a:gd name="connsiteY1353" fmla="*/ 4759265 h 5217112"/>
              <a:gd name="connsiteX1354" fmla="*/ 2538436 w 6785952"/>
              <a:gd name="connsiteY1354" fmla="*/ 4759929 h 5217112"/>
              <a:gd name="connsiteX1355" fmla="*/ 2535730 w 6785952"/>
              <a:gd name="connsiteY1355" fmla="*/ 4751407 h 5217112"/>
              <a:gd name="connsiteX1356" fmla="*/ 2541442 w 6785952"/>
              <a:gd name="connsiteY1356" fmla="*/ 4750632 h 5217112"/>
              <a:gd name="connsiteX1357" fmla="*/ 1512437 w 6785952"/>
              <a:gd name="connsiteY1357" fmla="*/ 4750632 h 5217112"/>
              <a:gd name="connsiteX1358" fmla="*/ 1518751 w 6785952"/>
              <a:gd name="connsiteY1358" fmla="*/ 4752071 h 5217112"/>
              <a:gd name="connsiteX1359" fmla="*/ 1518149 w 6785952"/>
              <a:gd name="connsiteY1359" fmla="*/ 4755391 h 5217112"/>
              <a:gd name="connsiteX1360" fmla="*/ 1514241 w 6785952"/>
              <a:gd name="connsiteY1360" fmla="*/ 4759265 h 5217112"/>
              <a:gd name="connsiteX1361" fmla="*/ 1509131 w 6785952"/>
              <a:gd name="connsiteY1361" fmla="*/ 4759929 h 5217112"/>
              <a:gd name="connsiteX1362" fmla="*/ 1506725 w 6785952"/>
              <a:gd name="connsiteY1362" fmla="*/ 4751407 h 5217112"/>
              <a:gd name="connsiteX1363" fmla="*/ 1512437 w 6785952"/>
              <a:gd name="connsiteY1363" fmla="*/ 4750632 h 5217112"/>
              <a:gd name="connsiteX1364" fmla="*/ 4886539 w 6785952"/>
              <a:gd name="connsiteY1364" fmla="*/ 4749747 h 5217112"/>
              <a:gd name="connsiteX1365" fmla="*/ 4886840 w 6785952"/>
              <a:gd name="connsiteY1365" fmla="*/ 4751297 h 5217112"/>
              <a:gd name="connsiteX1366" fmla="*/ 4888943 w 6785952"/>
              <a:gd name="connsiteY1366" fmla="*/ 4752182 h 5217112"/>
              <a:gd name="connsiteX1367" fmla="*/ 4887441 w 6785952"/>
              <a:gd name="connsiteY1367" fmla="*/ 4759044 h 5217112"/>
              <a:gd name="connsiteX1368" fmla="*/ 4884734 w 6785952"/>
              <a:gd name="connsiteY1368" fmla="*/ 4761810 h 5217112"/>
              <a:gd name="connsiteX1369" fmla="*/ 4881729 w 6785952"/>
              <a:gd name="connsiteY1369" fmla="*/ 4762585 h 5217112"/>
              <a:gd name="connsiteX1370" fmla="*/ 4879323 w 6785952"/>
              <a:gd name="connsiteY1370" fmla="*/ 4760150 h 5217112"/>
              <a:gd name="connsiteX1371" fmla="*/ 4877820 w 6785952"/>
              <a:gd name="connsiteY1371" fmla="*/ 4754395 h 5217112"/>
              <a:gd name="connsiteX1372" fmla="*/ 4879925 w 6785952"/>
              <a:gd name="connsiteY1372" fmla="*/ 4750522 h 5217112"/>
              <a:gd name="connsiteX1373" fmla="*/ 4883532 w 6785952"/>
              <a:gd name="connsiteY1373" fmla="*/ 4750854 h 5217112"/>
              <a:gd name="connsiteX1374" fmla="*/ 4886539 w 6785952"/>
              <a:gd name="connsiteY1374" fmla="*/ 4749747 h 5217112"/>
              <a:gd name="connsiteX1375" fmla="*/ 2122084 w 6785952"/>
              <a:gd name="connsiteY1375" fmla="*/ 4749747 h 5217112"/>
              <a:gd name="connsiteX1376" fmla="*/ 2122385 w 6785952"/>
              <a:gd name="connsiteY1376" fmla="*/ 4751297 h 5217112"/>
              <a:gd name="connsiteX1377" fmla="*/ 2124489 w 6785952"/>
              <a:gd name="connsiteY1377" fmla="*/ 4752182 h 5217112"/>
              <a:gd name="connsiteX1378" fmla="*/ 2122986 w 6785952"/>
              <a:gd name="connsiteY1378" fmla="*/ 4759044 h 5217112"/>
              <a:gd name="connsiteX1379" fmla="*/ 2120280 w 6785952"/>
              <a:gd name="connsiteY1379" fmla="*/ 4761810 h 5217112"/>
              <a:gd name="connsiteX1380" fmla="*/ 2117274 w 6785952"/>
              <a:gd name="connsiteY1380" fmla="*/ 4762585 h 5217112"/>
              <a:gd name="connsiteX1381" fmla="*/ 2114869 w 6785952"/>
              <a:gd name="connsiteY1381" fmla="*/ 4760150 h 5217112"/>
              <a:gd name="connsiteX1382" fmla="*/ 2113367 w 6785952"/>
              <a:gd name="connsiteY1382" fmla="*/ 4754395 h 5217112"/>
              <a:gd name="connsiteX1383" fmla="*/ 2115471 w 6785952"/>
              <a:gd name="connsiteY1383" fmla="*/ 4750522 h 5217112"/>
              <a:gd name="connsiteX1384" fmla="*/ 2118778 w 6785952"/>
              <a:gd name="connsiteY1384" fmla="*/ 4750854 h 5217112"/>
              <a:gd name="connsiteX1385" fmla="*/ 2122084 w 6785952"/>
              <a:gd name="connsiteY1385" fmla="*/ 4749747 h 5217112"/>
              <a:gd name="connsiteX1386" fmla="*/ 1093079 w 6785952"/>
              <a:gd name="connsiteY1386" fmla="*/ 4749747 h 5217112"/>
              <a:gd name="connsiteX1387" fmla="*/ 1093380 w 6785952"/>
              <a:gd name="connsiteY1387" fmla="*/ 4751297 h 5217112"/>
              <a:gd name="connsiteX1388" fmla="*/ 1095184 w 6785952"/>
              <a:gd name="connsiteY1388" fmla="*/ 4752182 h 5217112"/>
              <a:gd name="connsiteX1389" fmla="*/ 1093680 w 6785952"/>
              <a:gd name="connsiteY1389" fmla="*/ 4759044 h 5217112"/>
              <a:gd name="connsiteX1390" fmla="*/ 1091276 w 6785952"/>
              <a:gd name="connsiteY1390" fmla="*/ 4761810 h 5217112"/>
              <a:gd name="connsiteX1391" fmla="*/ 1087969 w 6785952"/>
              <a:gd name="connsiteY1391" fmla="*/ 4762585 h 5217112"/>
              <a:gd name="connsiteX1392" fmla="*/ 1085564 w 6785952"/>
              <a:gd name="connsiteY1392" fmla="*/ 4760150 h 5217112"/>
              <a:gd name="connsiteX1393" fmla="*/ 1084061 w 6785952"/>
              <a:gd name="connsiteY1393" fmla="*/ 4754395 h 5217112"/>
              <a:gd name="connsiteX1394" fmla="*/ 1086466 w 6785952"/>
              <a:gd name="connsiteY1394" fmla="*/ 4750522 h 5217112"/>
              <a:gd name="connsiteX1395" fmla="*/ 1089773 w 6785952"/>
              <a:gd name="connsiteY1395" fmla="*/ 4750854 h 5217112"/>
              <a:gd name="connsiteX1396" fmla="*/ 1093079 w 6785952"/>
              <a:gd name="connsiteY1396" fmla="*/ 4749747 h 5217112"/>
              <a:gd name="connsiteX1397" fmla="*/ 4748256 w 6785952"/>
              <a:gd name="connsiteY1397" fmla="*/ 4748751 h 5217112"/>
              <a:gd name="connsiteX1398" fmla="*/ 4756372 w 6785952"/>
              <a:gd name="connsiteY1398" fmla="*/ 4762585 h 5217112"/>
              <a:gd name="connsiteX1399" fmla="*/ 4743145 w 6785952"/>
              <a:gd name="connsiteY1399" fmla="*/ 4756277 h 5217112"/>
              <a:gd name="connsiteX1400" fmla="*/ 4748256 w 6785952"/>
              <a:gd name="connsiteY1400" fmla="*/ 4748751 h 5217112"/>
              <a:gd name="connsiteX1401" fmla="*/ 1983801 w 6785952"/>
              <a:gd name="connsiteY1401" fmla="*/ 4748751 h 5217112"/>
              <a:gd name="connsiteX1402" fmla="*/ 1991918 w 6785952"/>
              <a:gd name="connsiteY1402" fmla="*/ 4762585 h 5217112"/>
              <a:gd name="connsiteX1403" fmla="*/ 1978691 w 6785952"/>
              <a:gd name="connsiteY1403" fmla="*/ 4756277 h 5217112"/>
              <a:gd name="connsiteX1404" fmla="*/ 1983801 w 6785952"/>
              <a:gd name="connsiteY1404" fmla="*/ 4748751 h 5217112"/>
              <a:gd name="connsiteX1405" fmla="*/ 954796 w 6785952"/>
              <a:gd name="connsiteY1405" fmla="*/ 4748751 h 5217112"/>
              <a:gd name="connsiteX1406" fmla="*/ 962913 w 6785952"/>
              <a:gd name="connsiteY1406" fmla="*/ 4762585 h 5217112"/>
              <a:gd name="connsiteX1407" fmla="*/ 949687 w 6785952"/>
              <a:gd name="connsiteY1407" fmla="*/ 4756277 h 5217112"/>
              <a:gd name="connsiteX1408" fmla="*/ 954796 w 6785952"/>
              <a:gd name="connsiteY1408" fmla="*/ 4748751 h 5217112"/>
              <a:gd name="connsiteX1409" fmla="*/ 5352191 w 6785952"/>
              <a:gd name="connsiteY1409" fmla="*/ 4748530 h 5217112"/>
              <a:gd name="connsiteX1410" fmla="*/ 5356098 w 6785952"/>
              <a:gd name="connsiteY1410" fmla="*/ 4751518 h 5217112"/>
              <a:gd name="connsiteX1411" fmla="*/ 5354596 w 6785952"/>
              <a:gd name="connsiteY1411" fmla="*/ 4761257 h 5217112"/>
              <a:gd name="connsiteX1412" fmla="*/ 5344074 w 6785952"/>
              <a:gd name="connsiteY1412" fmla="*/ 4757383 h 5217112"/>
              <a:gd name="connsiteX1413" fmla="*/ 5352191 w 6785952"/>
              <a:gd name="connsiteY1413" fmla="*/ 4748530 h 5217112"/>
              <a:gd name="connsiteX1414" fmla="*/ 4096522 w 6785952"/>
              <a:gd name="connsiteY1414" fmla="*/ 4748530 h 5217112"/>
              <a:gd name="connsiteX1415" fmla="*/ 4100430 w 6785952"/>
              <a:gd name="connsiteY1415" fmla="*/ 4751518 h 5217112"/>
              <a:gd name="connsiteX1416" fmla="*/ 4099228 w 6785952"/>
              <a:gd name="connsiteY1416" fmla="*/ 4761257 h 5217112"/>
              <a:gd name="connsiteX1417" fmla="*/ 4088707 w 6785952"/>
              <a:gd name="connsiteY1417" fmla="*/ 4757383 h 5217112"/>
              <a:gd name="connsiteX1418" fmla="*/ 4096522 w 6785952"/>
              <a:gd name="connsiteY1418" fmla="*/ 4748530 h 5217112"/>
              <a:gd name="connsiteX1419" fmla="*/ 2587737 w 6785952"/>
              <a:gd name="connsiteY1419" fmla="*/ 4748530 h 5217112"/>
              <a:gd name="connsiteX1420" fmla="*/ 2591344 w 6785952"/>
              <a:gd name="connsiteY1420" fmla="*/ 4751518 h 5217112"/>
              <a:gd name="connsiteX1421" fmla="*/ 2590142 w 6785952"/>
              <a:gd name="connsiteY1421" fmla="*/ 4761257 h 5217112"/>
              <a:gd name="connsiteX1422" fmla="*/ 2579620 w 6785952"/>
              <a:gd name="connsiteY1422" fmla="*/ 4757383 h 5217112"/>
              <a:gd name="connsiteX1423" fmla="*/ 2587737 w 6785952"/>
              <a:gd name="connsiteY1423" fmla="*/ 4748530 h 5217112"/>
              <a:gd name="connsiteX1424" fmla="*/ 1558431 w 6785952"/>
              <a:gd name="connsiteY1424" fmla="*/ 4748530 h 5217112"/>
              <a:gd name="connsiteX1425" fmla="*/ 1562339 w 6785952"/>
              <a:gd name="connsiteY1425" fmla="*/ 4751518 h 5217112"/>
              <a:gd name="connsiteX1426" fmla="*/ 1560837 w 6785952"/>
              <a:gd name="connsiteY1426" fmla="*/ 4761257 h 5217112"/>
              <a:gd name="connsiteX1427" fmla="*/ 1550315 w 6785952"/>
              <a:gd name="connsiteY1427" fmla="*/ 4757383 h 5217112"/>
              <a:gd name="connsiteX1428" fmla="*/ 1558431 w 6785952"/>
              <a:gd name="connsiteY1428" fmla="*/ 4748530 h 5217112"/>
              <a:gd name="connsiteX1429" fmla="*/ 5585167 w 6785952"/>
              <a:gd name="connsiteY1429" fmla="*/ 4748198 h 5217112"/>
              <a:gd name="connsiteX1430" fmla="*/ 5601701 w 6785952"/>
              <a:gd name="connsiteY1430" fmla="*/ 4753731 h 5217112"/>
              <a:gd name="connsiteX1431" fmla="*/ 5597493 w 6785952"/>
              <a:gd name="connsiteY1431" fmla="*/ 4763913 h 5217112"/>
              <a:gd name="connsiteX1432" fmla="*/ 5586070 w 6785952"/>
              <a:gd name="connsiteY1432" fmla="*/ 4767455 h 5217112"/>
              <a:gd name="connsiteX1433" fmla="*/ 5585167 w 6785952"/>
              <a:gd name="connsiteY1433" fmla="*/ 4748198 h 5217112"/>
              <a:gd name="connsiteX1434" fmla="*/ 4329800 w 6785952"/>
              <a:gd name="connsiteY1434" fmla="*/ 4748198 h 5217112"/>
              <a:gd name="connsiteX1435" fmla="*/ 4346032 w 6785952"/>
              <a:gd name="connsiteY1435" fmla="*/ 4753731 h 5217112"/>
              <a:gd name="connsiteX1436" fmla="*/ 4341824 w 6785952"/>
              <a:gd name="connsiteY1436" fmla="*/ 4763913 h 5217112"/>
              <a:gd name="connsiteX1437" fmla="*/ 4330401 w 6785952"/>
              <a:gd name="connsiteY1437" fmla="*/ 4767455 h 5217112"/>
              <a:gd name="connsiteX1438" fmla="*/ 4329800 w 6785952"/>
              <a:gd name="connsiteY1438" fmla="*/ 4748198 h 5217112"/>
              <a:gd name="connsiteX1439" fmla="*/ 2820714 w 6785952"/>
              <a:gd name="connsiteY1439" fmla="*/ 4748198 h 5217112"/>
              <a:gd name="connsiteX1440" fmla="*/ 2836947 w 6785952"/>
              <a:gd name="connsiteY1440" fmla="*/ 4753731 h 5217112"/>
              <a:gd name="connsiteX1441" fmla="*/ 2833038 w 6785952"/>
              <a:gd name="connsiteY1441" fmla="*/ 4763913 h 5217112"/>
              <a:gd name="connsiteX1442" fmla="*/ 2821615 w 6785952"/>
              <a:gd name="connsiteY1442" fmla="*/ 4767455 h 5217112"/>
              <a:gd name="connsiteX1443" fmla="*/ 2820714 w 6785952"/>
              <a:gd name="connsiteY1443" fmla="*/ 4748198 h 5217112"/>
              <a:gd name="connsiteX1444" fmla="*/ 1791408 w 6785952"/>
              <a:gd name="connsiteY1444" fmla="*/ 4748198 h 5217112"/>
              <a:gd name="connsiteX1445" fmla="*/ 1807942 w 6785952"/>
              <a:gd name="connsiteY1445" fmla="*/ 4753731 h 5217112"/>
              <a:gd name="connsiteX1446" fmla="*/ 1803733 w 6785952"/>
              <a:gd name="connsiteY1446" fmla="*/ 4763913 h 5217112"/>
              <a:gd name="connsiteX1447" fmla="*/ 1792310 w 6785952"/>
              <a:gd name="connsiteY1447" fmla="*/ 4767455 h 5217112"/>
              <a:gd name="connsiteX1448" fmla="*/ 1791408 w 6785952"/>
              <a:gd name="connsiteY1448" fmla="*/ 4748198 h 5217112"/>
              <a:gd name="connsiteX1449" fmla="*/ 5800408 w 6785952"/>
              <a:gd name="connsiteY1449" fmla="*/ 4745320 h 5217112"/>
              <a:gd name="connsiteX1450" fmla="*/ 5806420 w 6785952"/>
              <a:gd name="connsiteY1450" fmla="*/ 4749304 h 5217112"/>
              <a:gd name="connsiteX1451" fmla="*/ 5808224 w 6785952"/>
              <a:gd name="connsiteY1451" fmla="*/ 4752625 h 5217112"/>
              <a:gd name="connsiteX1452" fmla="*/ 5807623 w 6785952"/>
              <a:gd name="connsiteY1452" fmla="*/ 4755502 h 5217112"/>
              <a:gd name="connsiteX1453" fmla="*/ 5804315 w 6785952"/>
              <a:gd name="connsiteY1453" fmla="*/ 4756609 h 5217112"/>
              <a:gd name="connsiteX1454" fmla="*/ 5798003 w 6785952"/>
              <a:gd name="connsiteY1454" fmla="*/ 4755502 h 5217112"/>
              <a:gd name="connsiteX1455" fmla="*/ 5794997 w 6785952"/>
              <a:gd name="connsiteY1455" fmla="*/ 4752071 h 5217112"/>
              <a:gd name="connsiteX1456" fmla="*/ 5796801 w 6785952"/>
              <a:gd name="connsiteY1456" fmla="*/ 4749304 h 5217112"/>
              <a:gd name="connsiteX1457" fmla="*/ 5797101 w 6785952"/>
              <a:gd name="connsiteY1457" fmla="*/ 4746316 h 5217112"/>
              <a:gd name="connsiteX1458" fmla="*/ 5798604 w 6785952"/>
              <a:gd name="connsiteY1458" fmla="*/ 4746648 h 5217112"/>
              <a:gd name="connsiteX1459" fmla="*/ 5800408 w 6785952"/>
              <a:gd name="connsiteY1459" fmla="*/ 4745320 h 5217112"/>
              <a:gd name="connsiteX1460" fmla="*/ 4544739 w 6785952"/>
              <a:gd name="connsiteY1460" fmla="*/ 4745320 h 5217112"/>
              <a:gd name="connsiteX1461" fmla="*/ 4551052 w 6785952"/>
              <a:gd name="connsiteY1461" fmla="*/ 4749304 h 5217112"/>
              <a:gd name="connsiteX1462" fmla="*/ 4552555 w 6785952"/>
              <a:gd name="connsiteY1462" fmla="*/ 4752625 h 5217112"/>
              <a:gd name="connsiteX1463" fmla="*/ 4551954 w 6785952"/>
              <a:gd name="connsiteY1463" fmla="*/ 4755502 h 5217112"/>
              <a:gd name="connsiteX1464" fmla="*/ 4548648 w 6785952"/>
              <a:gd name="connsiteY1464" fmla="*/ 4756609 h 5217112"/>
              <a:gd name="connsiteX1465" fmla="*/ 4542334 w 6785952"/>
              <a:gd name="connsiteY1465" fmla="*/ 4755502 h 5217112"/>
              <a:gd name="connsiteX1466" fmla="*/ 4539328 w 6785952"/>
              <a:gd name="connsiteY1466" fmla="*/ 4752071 h 5217112"/>
              <a:gd name="connsiteX1467" fmla="*/ 4541433 w 6785952"/>
              <a:gd name="connsiteY1467" fmla="*/ 4749304 h 5217112"/>
              <a:gd name="connsiteX1468" fmla="*/ 4541433 w 6785952"/>
              <a:gd name="connsiteY1468" fmla="*/ 4746316 h 5217112"/>
              <a:gd name="connsiteX1469" fmla="*/ 4542936 w 6785952"/>
              <a:gd name="connsiteY1469" fmla="*/ 4746648 h 5217112"/>
              <a:gd name="connsiteX1470" fmla="*/ 4544739 w 6785952"/>
              <a:gd name="connsiteY1470" fmla="*/ 4745320 h 5217112"/>
              <a:gd name="connsiteX1471" fmla="*/ 3035652 w 6785952"/>
              <a:gd name="connsiteY1471" fmla="*/ 4745320 h 5217112"/>
              <a:gd name="connsiteX1472" fmla="*/ 3041966 w 6785952"/>
              <a:gd name="connsiteY1472" fmla="*/ 4749304 h 5217112"/>
              <a:gd name="connsiteX1473" fmla="*/ 3043769 w 6785952"/>
              <a:gd name="connsiteY1473" fmla="*/ 4752625 h 5217112"/>
              <a:gd name="connsiteX1474" fmla="*/ 3043168 w 6785952"/>
              <a:gd name="connsiteY1474" fmla="*/ 4755502 h 5217112"/>
              <a:gd name="connsiteX1475" fmla="*/ 3039862 w 6785952"/>
              <a:gd name="connsiteY1475" fmla="*/ 4756609 h 5217112"/>
              <a:gd name="connsiteX1476" fmla="*/ 3033247 w 6785952"/>
              <a:gd name="connsiteY1476" fmla="*/ 4755502 h 5217112"/>
              <a:gd name="connsiteX1477" fmla="*/ 3030241 w 6785952"/>
              <a:gd name="connsiteY1477" fmla="*/ 4752071 h 5217112"/>
              <a:gd name="connsiteX1478" fmla="*/ 3032346 w 6785952"/>
              <a:gd name="connsiteY1478" fmla="*/ 4749304 h 5217112"/>
              <a:gd name="connsiteX1479" fmla="*/ 3032346 w 6785952"/>
              <a:gd name="connsiteY1479" fmla="*/ 4746316 h 5217112"/>
              <a:gd name="connsiteX1480" fmla="*/ 3034150 w 6785952"/>
              <a:gd name="connsiteY1480" fmla="*/ 4746648 h 5217112"/>
              <a:gd name="connsiteX1481" fmla="*/ 3035652 w 6785952"/>
              <a:gd name="connsiteY1481" fmla="*/ 4745320 h 5217112"/>
              <a:gd name="connsiteX1482" fmla="*/ 2006648 w 6785952"/>
              <a:gd name="connsiteY1482" fmla="*/ 4745320 h 5217112"/>
              <a:gd name="connsiteX1483" fmla="*/ 2012961 w 6785952"/>
              <a:gd name="connsiteY1483" fmla="*/ 4749304 h 5217112"/>
              <a:gd name="connsiteX1484" fmla="*/ 2014764 w 6785952"/>
              <a:gd name="connsiteY1484" fmla="*/ 4752625 h 5217112"/>
              <a:gd name="connsiteX1485" fmla="*/ 2014163 w 6785952"/>
              <a:gd name="connsiteY1485" fmla="*/ 4755502 h 5217112"/>
              <a:gd name="connsiteX1486" fmla="*/ 2010857 w 6785952"/>
              <a:gd name="connsiteY1486" fmla="*/ 4756609 h 5217112"/>
              <a:gd name="connsiteX1487" fmla="*/ 2004244 w 6785952"/>
              <a:gd name="connsiteY1487" fmla="*/ 4755502 h 5217112"/>
              <a:gd name="connsiteX1488" fmla="*/ 2001238 w 6785952"/>
              <a:gd name="connsiteY1488" fmla="*/ 4752071 h 5217112"/>
              <a:gd name="connsiteX1489" fmla="*/ 2003041 w 6785952"/>
              <a:gd name="connsiteY1489" fmla="*/ 4749304 h 5217112"/>
              <a:gd name="connsiteX1490" fmla="*/ 2003341 w 6785952"/>
              <a:gd name="connsiteY1490" fmla="*/ 4746316 h 5217112"/>
              <a:gd name="connsiteX1491" fmla="*/ 2004845 w 6785952"/>
              <a:gd name="connsiteY1491" fmla="*/ 4746648 h 5217112"/>
              <a:gd name="connsiteX1492" fmla="*/ 2006648 w 6785952"/>
              <a:gd name="connsiteY1492" fmla="*/ 4745320 h 5217112"/>
              <a:gd name="connsiteX1493" fmla="*/ 5646192 w 6785952"/>
              <a:gd name="connsiteY1493" fmla="*/ 4741779 h 5217112"/>
              <a:gd name="connsiteX1494" fmla="*/ 5652806 w 6785952"/>
              <a:gd name="connsiteY1494" fmla="*/ 4746316 h 5217112"/>
              <a:gd name="connsiteX1495" fmla="*/ 5653708 w 6785952"/>
              <a:gd name="connsiteY1495" fmla="*/ 4751629 h 5217112"/>
              <a:gd name="connsiteX1496" fmla="*/ 5646192 w 6785952"/>
              <a:gd name="connsiteY1496" fmla="*/ 4757383 h 5217112"/>
              <a:gd name="connsiteX1497" fmla="*/ 5637775 w 6785952"/>
              <a:gd name="connsiteY1497" fmla="*/ 4743992 h 5217112"/>
              <a:gd name="connsiteX1498" fmla="*/ 5646192 w 6785952"/>
              <a:gd name="connsiteY1498" fmla="*/ 4741779 h 5217112"/>
              <a:gd name="connsiteX1499" fmla="*/ 4390825 w 6785952"/>
              <a:gd name="connsiteY1499" fmla="*/ 4741779 h 5217112"/>
              <a:gd name="connsiteX1500" fmla="*/ 4397137 w 6785952"/>
              <a:gd name="connsiteY1500" fmla="*/ 4746316 h 5217112"/>
              <a:gd name="connsiteX1501" fmla="*/ 4398039 w 6785952"/>
              <a:gd name="connsiteY1501" fmla="*/ 4751629 h 5217112"/>
              <a:gd name="connsiteX1502" fmla="*/ 4390825 w 6785952"/>
              <a:gd name="connsiteY1502" fmla="*/ 4757383 h 5217112"/>
              <a:gd name="connsiteX1503" fmla="*/ 4382107 w 6785952"/>
              <a:gd name="connsiteY1503" fmla="*/ 4743992 h 5217112"/>
              <a:gd name="connsiteX1504" fmla="*/ 4390825 w 6785952"/>
              <a:gd name="connsiteY1504" fmla="*/ 4741779 h 5217112"/>
              <a:gd name="connsiteX1505" fmla="*/ 2881738 w 6785952"/>
              <a:gd name="connsiteY1505" fmla="*/ 4741779 h 5217112"/>
              <a:gd name="connsiteX1506" fmla="*/ 2888351 w 6785952"/>
              <a:gd name="connsiteY1506" fmla="*/ 4746316 h 5217112"/>
              <a:gd name="connsiteX1507" fmla="*/ 2889254 w 6785952"/>
              <a:gd name="connsiteY1507" fmla="*/ 4751629 h 5217112"/>
              <a:gd name="connsiteX1508" fmla="*/ 2881738 w 6785952"/>
              <a:gd name="connsiteY1508" fmla="*/ 4757383 h 5217112"/>
              <a:gd name="connsiteX1509" fmla="*/ 2873020 w 6785952"/>
              <a:gd name="connsiteY1509" fmla="*/ 4743992 h 5217112"/>
              <a:gd name="connsiteX1510" fmla="*/ 2881738 w 6785952"/>
              <a:gd name="connsiteY1510" fmla="*/ 4741779 h 5217112"/>
              <a:gd name="connsiteX1511" fmla="*/ 1852733 w 6785952"/>
              <a:gd name="connsiteY1511" fmla="*/ 4741779 h 5217112"/>
              <a:gd name="connsiteX1512" fmla="*/ 1859046 w 6785952"/>
              <a:gd name="connsiteY1512" fmla="*/ 4746316 h 5217112"/>
              <a:gd name="connsiteX1513" fmla="*/ 1859949 w 6785952"/>
              <a:gd name="connsiteY1513" fmla="*/ 4751629 h 5217112"/>
              <a:gd name="connsiteX1514" fmla="*/ 1852733 w 6785952"/>
              <a:gd name="connsiteY1514" fmla="*/ 4757383 h 5217112"/>
              <a:gd name="connsiteX1515" fmla="*/ 1844016 w 6785952"/>
              <a:gd name="connsiteY1515" fmla="*/ 4743992 h 5217112"/>
              <a:gd name="connsiteX1516" fmla="*/ 1852733 w 6785952"/>
              <a:gd name="connsiteY1516" fmla="*/ 4741779 h 5217112"/>
              <a:gd name="connsiteX1517" fmla="*/ 3130046 w 6785952"/>
              <a:gd name="connsiteY1517" fmla="*/ 4739897 h 5217112"/>
              <a:gd name="connsiteX1518" fmla="*/ 3143573 w 6785952"/>
              <a:gd name="connsiteY1518" fmla="*/ 4761700 h 5217112"/>
              <a:gd name="connsiteX1519" fmla="*/ 3137561 w 6785952"/>
              <a:gd name="connsiteY1519" fmla="*/ 4778522 h 5217112"/>
              <a:gd name="connsiteX1520" fmla="*/ 3110806 w 6785952"/>
              <a:gd name="connsiteY1520" fmla="*/ 4787707 h 5217112"/>
              <a:gd name="connsiteX1521" fmla="*/ 3106898 w 6785952"/>
              <a:gd name="connsiteY1521" fmla="*/ 4776198 h 5217112"/>
              <a:gd name="connsiteX1522" fmla="*/ 3105395 w 6785952"/>
              <a:gd name="connsiteY1522" fmla="*/ 4777415 h 5217112"/>
              <a:gd name="connsiteX1523" fmla="*/ 3102690 w 6785952"/>
              <a:gd name="connsiteY1523" fmla="*/ 4777526 h 5217112"/>
              <a:gd name="connsiteX1524" fmla="*/ 3098481 w 6785952"/>
              <a:gd name="connsiteY1524" fmla="*/ 4776198 h 5217112"/>
              <a:gd name="connsiteX1525" fmla="*/ 3098782 w 6785952"/>
              <a:gd name="connsiteY1525" fmla="*/ 4772767 h 5217112"/>
              <a:gd name="connsiteX1526" fmla="*/ 3097580 w 6785952"/>
              <a:gd name="connsiteY1526" fmla="*/ 4770111 h 5217112"/>
              <a:gd name="connsiteX1527" fmla="*/ 3099082 w 6785952"/>
              <a:gd name="connsiteY1527" fmla="*/ 4769447 h 5217112"/>
              <a:gd name="connsiteX1528" fmla="*/ 3099985 w 6785952"/>
              <a:gd name="connsiteY1528" fmla="*/ 4767344 h 5217112"/>
              <a:gd name="connsiteX1529" fmla="*/ 3104193 w 6785952"/>
              <a:gd name="connsiteY1529" fmla="*/ 4767012 h 5217112"/>
              <a:gd name="connsiteX1530" fmla="*/ 3102389 w 6785952"/>
              <a:gd name="connsiteY1530" fmla="*/ 4750854 h 5217112"/>
              <a:gd name="connsiteX1531" fmla="*/ 3119825 w 6785952"/>
              <a:gd name="connsiteY1531" fmla="*/ 4740229 h 5217112"/>
              <a:gd name="connsiteX1532" fmla="*/ 3130046 w 6785952"/>
              <a:gd name="connsiteY1532" fmla="*/ 4739897 h 5217112"/>
              <a:gd name="connsiteX1533" fmla="*/ 5112299 w 6785952"/>
              <a:gd name="connsiteY1533" fmla="*/ 4730380 h 5217112"/>
              <a:gd name="connsiteX1534" fmla="*/ 5118613 w 6785952"/>
              <a:gd name="connsiteY1534" fmla="*/ 4735692 h 5217112"/>
              <a:gd name="connsiteX1535" fmla="*/ 5118313 w 6785952"/>
              <a:gd name="connsiteY1535" fmla="*/ 4743882 h 5217112"/>
              <a:gd name="connsiteX1536" fmla="*/ 5105987 w 6785952"/>
              <a:gd name="connsiteY1536" fmla="*/ 4738127 h 5217112"/>
              <a:gd name="connsiteX1537" fmla="*/ 5112299 w 6785952"/>
              <a:gd name="connsiteY1537" fmla="*/ 4730380 h 5217112"/>
              <a:gd name="connsiteX1538" fmla="*/ 3856932 w 6785952"/>
              <a:gd name="connsiteY1538" fmla="*/ 4730380 h 5217112"/>
              <a:gd name="connsiteX1539" fmla="*/ 3863246 w 6785952"/>
              <a:gd name="connsiteY1539" fmla="*/ 4735692 h 5217112"/>
              <a:gd name="connsiteX1540" fmla="*/ 3862945 w 6785952"/>
              <a:gd name="connsiteY1540" fmla="*/ 4743882 h 5217112"/>
              <a:gd name="connsiteX1541" fmla="*/ 3850319 w 6785952"/>
              <a:gd name="connsiteY1541" fmla="*/ 4738127 h 5217112"/>
              <a:gd name="connsiteX1542" fmla="*/ 3856932 w 6785952"/>
              <a:gd name="connsiteY1542" fmla="*/ 4730380 h 5217112"/>
              <a:gd name="connsiteX1543" fmla="*/ 2347845 w 6785952"/>
              <a:gd name="connsiteY1543" fmla="*/ 4730380 h 5217112"/>
              <a:gd name="connsiteX1544" fmla="*/ 2354159 w 6785952"/>
              <a:gd name="connsiteY1544" fmla="*/ 4735692 h 5217112"/>
              <a:gd name="connsiteX1545" fmla="*/ 2353859 w 6785952"/>
              <a:gd name="connsiteY1545" fmla="*/ 4743882 h 5217112"/>
              <a:gd name="connsiteX1546" fmla="*/ 2341533 w 6785952"/>
              <a:gd name="connsiteY1546" fmla="*/ 4738127 h 5217112"/>
              <a:gd name="connsiteX1547" fmla="*/ 2347845 w 6785952"/>
              <a:gd name="connsiteY1547" fmla="*/ 4730380 h 5217112"/>
              <a:gd name="connsiteX1548" fmla="*/ 1318842 w 6785952"/>
              <a:gd name="connsiteY1548" fmla="*/ 4730380 h 5217112"/>
              <a:gd name="connsiteX1549" fmla="*/ 1325154 w 6785952"/>
              <a:gd name="connsiteY1549" fmla="*/ 4735692 h 5217112"/>
              <a:gd name="connsiteX1550" fmla="*/ 1324854 w 6785952"/>
              <a:gd name="connsiteY1550" fmla="*/ 4743882 h 5217112"/>
              <a:gd name="connsiteX1551" fmla="*/ 1312528 w 6785952"/>
              <a:gd name="connsiteY1551" fmla="*/ 4738127 h 5217112"/>
              <a:gd name="connsiteX1552" fmla="*/ 1318842 w 6785952"/>
              <a:gd name="connsiteY1552" fmla="*/ 4730380 h 5217112"/>
              <a:gd name="connsiteX1553" fmla="*/ 5717438 w 6785952"/>
              <a:gd name="connsiteY1553" fmla="*/ 4728166 h 5217112"/>
              <a:gd name="connsiteX1554" fmla="*/ 5721947 w 6785952"/>
              <a:gd name="connsiteY1554" fmla="*/ 4731929 h 5217112"/>
              <a:gd name="connsiteX1555" fmla="*/ 5718039 w 6785952"/>
              <a:gd name="connsiteY1555" fmla="*/ 4742000 h 5217112"/>
              <a:gd name="connsiteX1556" fmla="*/ 5713230 w 6785952"/>
              <a:gd name="connsiteY1556" fmla="*/ 4746870 h 5217112"/>
              <a:gd name="connsiteX1557" fmla="*/ 5706616 w 6785952"/>
              <a:gd name="connsiteY1557" fmla="*/ 4748862 h 5217112"/>
              <a:gd name="connsiteX1558" fmla="*/ 5696094 w 6785952"/>
              <a:gd name="connsiteY1558" fmla="*/ 4752514 h 5217112"/>
              <a:gd name="connsiteX1559" fmla="*/ 5692487 w 6785952"/>
              <a:gd name="connsiteY1559" fmla="*/ 4745984 h 5217112"/>
              <a:gd name="connsiteX1560" fmla="*/ 5717438 w 6785952"/>
              <a:gd name="connsiteY1560" fmla="*/ 4728166 h 5217112"/>
              <a:gd name="connsiteX1561" fmla="*/ 4461769 w 6785952"/>
              <a:gd name="connsiteY1561" fmla="*/ 4728166 h 5217112"/>
              <a:gd name="connsiteX1562" fmla="*/ 4466279 w 6785952"/>
              <a:gd name="connsiteY1562" fmla="*/ 4731929 h 5217112"/>
              <a:gd name="connsiteX1563" fmla="*/ 4462370 w 6785952"/>
              <a:gd name="connsiteY1563" fmla="*/ 4742000 h 5217112"/>
              <a:gd name="connsiteX1564" fmla="*/ 4457862 w 6785952"/>
              <a:gd name="connsiteY1564" fmla="*/ 4746870 h 5217112"/>
              <a:gd name="connsiteX1565" fmla="*/ 4450947 w 6785952"/>
              <a:gd name="connsiteY1565" fmla="*/ 4748862 h 5217112"/>
              <a:gd name="connsiteX1566" fmla="*/ 4440425 w 6785952"/>
              <a:gd name="connsiteY1566" fmla="*/ 4752514 h 5217112"/>
              <a:gd name="connsiteX1567" fmla="*/ 4436818 w 6785952"/>
              <a:gd name="connsiteY1567" fmla="*/ 4745984 h 5217112"/>
              <a:gd name="connsiteX1568" fmla="*/ 4461769 w 6785952"/>
              <a:gd name="connsiteY1568" fmla="*/ 4728166 h 5217112"/>
              <a:gd name="connsiteX1569" fmla="*/ 2952683 w 6785952"/>
              <a:gd name="connsiteY1569" fmla="*/ 4728166 h 5217112"/>
              <a:gd name="connsiteX1570" fmla="*/ 2957192 w 6785952"/>
              <a:gd name="connsiteY1570" fmla="*/ 4731929 h 5217112"/>
              <a:gd name="connsiteX1571" fmla="*/ 2953285 w 6785952"/>
              <a:gd name="connsiteY1571" fmla="*/ 4742000 h 5217112"/>
              <a:gd name="connsiteX1572" fmla="*/ 2948775 w 6785952"/>
              <a:gd name="connsiteY1572" fmla="*/ 4746870 h 5217112"/>
              <a:gd name="connsiteX1573" fmla="*/ 2941861 w 6785952"/>
              <a:gd name="connsiteY1573" fmla="*/ 4748862 h 5217112"/>
              <a:gd name="connsiteX1574" fmla="*/ 2931340 w 6785952"/>
              <a:gd name="connsiteY1574" fmla="*/ 4752514 h 5217112"/>
              <a:gd name="connsiteX1575" fmla="*/ 2928033 w 6785952"/>
              <a:gd name="connsiteY1575" fmla="*/ 4745984 h 5217112"/>
              <a:gd name="connsiteX1576" fmla="*/ 2952683 w 6785952"/>
              <a:gd name="connsiteY1576" fmla="*/ 4728166 h 5217112"/>
              <a:gd name="connsiteX1577" fmla="*/ 1923679 w 6785952"/>
              <a:gd name="connsiteY1577" fmla="*/ 4728166 h 5217112"/>
              <a:gd name="connsiteX1578" fmla="*/ 1928187 w 6785952"/>
              <a:gd name="connsiteY1578" fmla="*/ 4731929 h 5217112"/>
              <a:gd name="connsiteX1579" fmla="*/ 1924280 w 6785952"/>
              <a:gd name="connsiteY1579" fmla="*/ 4742000 h 5217112"/>
              <a:gd name="connsiteX1580" fmla="*/ 1919770 w 6785952"/>
              <a:gd name="connsiteY1580" fmla="*/ 4746870 h 5217112"/>
              <a:gd name="connsiteX1581" fmla="*/ 1912857 w 6785952"/>
              <a:gd name="connsiteY1581" fmla="*/ 4748862 h 5217112"/>
              <a:gd name="connsiteX1582" fmla="*/ 1902335 w 6785952"/>
              <a:gd name="connsiteY1582" fmla="*/ 4752514 h 5217112"/>
              <a:gd name="connsiteX1583" fmla="*/ 1898728 w 6785952"/>
              <a:gd name="connsiteY1583" fmla="*/ 4745984 h 5217112"/>
              <a:gd name="connsiteX1584" fmla="*/ 1923679 w 6785952"/>
              <a:gd name="connsiteY1584" fmla="*/ 4728166 h 5217112"/>
              <a:gd name="connsiteX1585" fmla="*/ 4742244 w 6785952"/>
              <a:gd name="connsiteY1585" fmla="*/ 4725067 h 5217112"/>
              <a:gd name="connsiteX1586" fmla="*/ 4748557 w 6785952"/>
              <a:gd name="connsiteY1586" fmla="*/ 4725067 h 5217112"/>
              <a:gd name="connsiteX1587" fmla="*/ 4755470 w 6785952"/>
              <a:gd name="connsiteY1587" fmla="*/ 4728277 h 5217112"/>
              <a:gd name="connsiteX1588" fmla="*/ 4735630 w 6785952"/>
              <a:gd name="connsiteY1588" fmla="*/ 4741225 h 5217112"/>
              <a:gd name="connsiteX1589" fmla="*/ 4729316 w 6785952"/>
              <a:gd name="connsiteY1589" fmla="*/ 4736909 h 5217112"/>
              <a:gd name="connsiteX1590" fmla="*/ 4742244 w 6785952"/>
              <a:gd name="connsiteY1590" fmla="*/ 4725067 h 5217112"/>
              <a:gd name="connsiteX1591" fmla="*/ 1977489 w 6785952"/>
              <a:gd name="connsiteY1591" fmla="*/ 4725067 h 5217112"/>
              <a:gd name="connsiteX1592" fmla="*/ 1984102 w 6785952"/>
              <a:gd name="connsiteY1592" fmla="*/ 4725067 h 5217112"/>
              <a:gd name="connsiteX1593" fmla="*/ 1990716 w 6785952"/>
              <a:gd name="connsiteY1593" fmla="*/ 4728277 h 5217112"/>
              <a:gd name="connsiteX1594" fmla="*/ 1971176 w 6785952"/>
              <a:gd name="connsiteY1594" fmla="*/ 4741225 h 5217112"/>
              <a:gd name="connsiteX1595" fmla="*/ 1964862 w 6785952"/>
              <a:gd name="connsiteY1595" fmla="*/ 4736909 h 5217112"/>
              <a:gd name="connsiteX1596" fmla="*/ 1977489 w 6785952"/>
              <a:gd name="connsiteY1596" fmla="*/ 4725067 h 5217112"/>
              <a:gd name="connsiteX1597" fmla="*/ 948484 w 6785952"/>
              <a:gd name="connsiteY1597" fmla="*/ 4725067 h 5217112"/>
              <a:gd name="connsiteX1598" fmla="*/ 954796 w 6785952"/>
              <a:gd name="connsiteY1598" fmla="*/ 4725067 h 5217112"/>
              <a:gd name="connsiteX1599" fmla="*/ 961711 w 6785952"/>
              <a:gd name="connsiteY1599" fmla="*/ 4728277 h 5217112"/>
              <a:gd name="connsiteX1600" fmla="*/ 941871 w 6785952"/>
              <a:gd name="connsiteY1600" fmla="*/ 4741225 h 5217112"/>
              <a:gd name="connsiteX1601" fmla="*/ 935859 w 6785952"/>
              <a:gd name="connsiteY1601" fmla="*/ 4736909 h 5217112"/>
              <a:gd name="connsiteX1602" fmla="*/ 948484 w 6785952"/>
              <a:gd name="connsiteY1602" fmla="*/ 4725067 h 5217112"/>
              <a:gd name="connsiteX1603" fmla="*/ 5044661 w 6785952"/>
              <a:gd name="connsiteY1603" fmla="*/ 4723739 h 5217112"/>
              <a:gd name="connsiteX1604" fmla="*/ 5047067 w 6785952"/>
              <a:gd name="connsiteY1604" fmla="*/ 4724182 h 5217112"/>
              <a:gd name="connsiteX1605" fmla="*/ 5051877 w 6785952"/>
              <a:gd name="connsiteY1605" fmla="*/ 4728830 h 5217112"/>
              <a:gd name="connsiteX1606" fmla="*/ 5043459 w 6785952"/>
              <a:gd name="connsiteY1606" fmla="*/ 4734806 h 5217112"/>
              <a:gd name="connsiteX1607" fmla="*/ 5038649 w 6785952"/>
              <a:gd name="connsiteY1607" fmla="*/ 4730048 h 5217112"/>
              <a:gd name="connsiteX1608" fmla="*/ 5044661 w 6785952"/>
              <a:gd name="connsiteY1608" fmla="*/ 4723739 h 5217112"/>
              <a:gd name="connsiteX1609" fmla="*/ 2279907 w 6785952"/>
              <a:gd name="connsiteY1609" fmla="*/ 4723739 h 5217112"/>
              <a:gd name="connsiteX1610" fmla="*/ 2282613 w 6785952"/>
              <a:gd name="connsiteY1610" fmla="*/ 4724182 h 5217112"/>
              <a:gd name="connsiteX1611" fmla="*/ 2287423 w 6785952"/>
              <a:gd name="connsiteY1611" fmla="*/ 4728830 h 5217112"/>
              <a:gd name="connsiteX1612" fmla="*/ 2278705 w 6785952"/>
              <a:gd name="connsiteY1612" fmla="*/ 4734806 h 5217112"/>
              <a:gd name="connsiteX1613" fmla="*/ 2274195 w 6785952"/>
              <a:gd name="connsiteY1613" fmla="*/ 4730048 h 5217112"/>
              <a:gd name="connsiteX1614" fmla="*/ 2279907 w 6785952"/>
              <a:gd name="connsiteY1614" fmla="*/ 4723739 h 5217112"/>
              <a:gd name="connsiteX1615" fmla="*/ 1250902 w 6785952"/>
              <a:gd name="connsiteY1615" fmla="*/ 4723739 h 5217112"/>
              <a:gd name="connsiteX1616" fmla="*/ 1253608 w 6785952"/>
              <a:gd name="connsiteY1616" fmla="*/ 4724182 h 5217112"/>
              <a:gd name="connsiteX1617" fmla="*/ 1258118 w 6785952"/>
              <a:gd name="connsiteY1617" fmla="*/ 4728830 h 5217112"/>
              <a:gd name="connsiteX1618" fmla="*/ 1249700 w 6785952"/>
              <a:gd name="connsiteY1618" fmla="*/ 4734806 h 5217112"/>
              <a:gd name="connsiteX1619" fmla="*/ 1244890 w 6785952"/>
              <a:gd name="connsiteY1619" fmla="*/ 4730048 h 5217112"/>
              <a:gd name="connsiteX1620" fmla="*/ 1250902 w 6785952"/>
              <a:gd name="connsiteY1620" fmla="*/ 4723739 h 5217112"/>
              <a:gd name="connsiteX1621" fmla="*/ 5489571 w 6785952"/>
              <a:gd name="connsiteY1621" fmla="*/ 4722854 h 5217112"/>
              <a:gd name="connsiteX1622" fmla="*/ 5493179 w 6785952"/>
              <a:gd name="connsiteY1622" fmla="*/ 4727724 h 5217112"/>
              <a:gd name="connsiteX1623" fmla="*/ 5484762 w 6785952"/>
              <a:gd name="connsiteY1623" fmla="*/ 4740893 h 5217112"/>
              <a:gd name="connsiteX1624" fmla="*/ 5474240 w 6785952"/>
              <a:gd name="connsiteY1624" fmla="*/ 4736909 h 5217112"/>
              <a:gd name="connsiteX1625" fmla="*/ 5489571 w 6785952"/>
              <a:gd name="connsiteY1625" fmla="*/ 4722854 h 5217112"/>
              <a:gd name="connsiteX1626" fmla="*/ 4234204 w 6785952"/>
              <a:gd name="connsiteY1626" fmla="*/ 4722854 h 5217112"/>
              <a:gd name="connsiteX1627" fmla="*/ 4237512 w 6785952"/>
              <a:gd name="connsiteY1627" fmla="*/ 4727724 h 5217112"/>
              <a:gd name="connsiteX1628" fmla="*/ 4229394 w 6785952"/>
              <a:gd name="connsiteY1628" fmla="*/ 4740893 h 5217112"/>
              <a:gd name="connsiteX1629" fmla="*/ 4218873 w 6785952"/>
              <a:gd name="connsiteY1629" fmla="*/ 4736909 h 5217112"/>
              <a:gd name="connsiteX1630" fmla="*/ 4234204 w 6785952"/>
              <a:gd name="connsiteY1630" fmla="*/ 4722854 h 5217112"/>
              <a:gd name="connsiteX1631" fmla="*/ 2725117 w 6785952"/>
              <a:gd name="connsiteY1631" fmla="*/ 4722854 h 5217112"/>
              <a:gd name="connsiteX1632" fmla="*/ 2728425 w 6785952"/>
              <a:gd name="connsiteY1632" fmla="*/ 4727724 h 5217112"/>
              <a:gd name="connsiteX1633" fmla="*/ 2720308 w 6785952"/>
              <a:gd name="connsiteY1633" fmla="*/ 4740893 h 5217112"/>
              <a:gd name="connsiteX1634" fmla="*/ 2709786 w 6785952"/>
              <a:gd name="connsiteY1634" fmla="*/ 4736909 h 5217112"/>
              <a:gd name="connsiteX1635" fmla="*/ 2725117 w 6785952"/>
              <a:gd name="connsiteY1635" fmla="*/ 4722854 h 5217112"/>
              <a:gd name="connsiteX1636" fmla="*/ 1696114 w 6785952"/>
              <a:gd name="connsiteY1636" fmla="*/ 4722854 h 5217112"/>
              <a:gd name="connsiteX1637" fmla="*/ 1699420 w 6785952"/>
              <a:gd name="connsiteY1637" fmla="*/ 4727724 h 5217112"/>
              <a:gd name="connsiteX1638" fmla="*/ 1691003 w 6785952"/>
              <a:gd name="connsiteY1638" fmla="*/ 4740893 h 5217112"/>
              <a:gd name="connsiteX1639" fmla="*/ 1680782 w 6785952"/>
              <a:gd name="connsiteY1639" fmla="*/ 4736909 h 5217112"/>
              <a:gd name="connsiteX1640" fmla="*/ 1696114 w 6785952"/>
              <a:gd name="connsiteY1640" fmla="*/ 4722854 h 5217112"/>
              <a:gd name="connsiteX1641" fmla="*/ 5088852 w 6785952"/>
              <a:gd name="connsiteY1641" fmla="*/ 4720530 h 5217112"/>
              <a:gd name="connsiteX1642" fmla="*/ 5107791 w 6785952"/>
              <a:gd name="connsiteY1642" fmla="*/ 4723739 h 5217112"/>
              <a:gd name="connsiteX1643" fmla="*/ 5103583 w 6785952"/>
              <a:gd name="connsiteY1643" fmla="*/ 4725731 h 5217112"/>
              <a:gd name="connsiteX1644" fmla="*/ 5084342 w 6785952"/>
              <a:gd name="connsiteY1644" fmla="*/ 4722411 h 5217112"/>
              <a:gd name="connsiteX1645" fmla="*/ 5088852 w 6785952"/>
              <a:gd name="connsiteY1645" fmla="*/ 4720530 h 5217112"/>
              <a:gd name="connsiteX1646" fmla="*/ 2324098 w 6785952"/>
              <a:gd name="connsiteY1646" fmla="*/ 4720530 h 5217112"/>
              <a:gd name="connsiteX1647" fmla="*/ 2343337 w 6785952"/>
              <a:gd name="connsiteY1647" fmla="*/ 4723739 h 5217112"/>
              <a:gd name="connsiteX1648" fmla="*/ 2338827 w 6785952"/>
              <a:gd name="connsiteY1648" fmla="*/ 4725731 h 5217112"/>
              <a:gd name="connsiteX1649" fmla="*/ 2319588 w 6785952"/>
              <a:gd name="connsiteY1649" fmla="*/ 4722411 h 5217112"/>
              <a:gd name="connsiteX1650" fmla="*/ 2324098 w 6785952"/>
              <a:gd name="connsiteY1650" fmla="*/ 4720530 h 5217112"/>
              <a:gd name="connsiteX1651" fmla="*/ 1295093 w 6785952"/>
              <a:gd name="connsiteY1651" fmla="*/ 4720530 h 5217112"/>
              <a:gd name="connsiteX1652" fmla="*/ 1314332 w 6785952"/>
              <a:gd name="connsiteY1652" fmla="*/ 4723739 h 5217112"/>
              <a:gd name="connsiteX1653" fmla="*/ 1309823 w 6785952"/>
              <a:gd name="connsiteY1653" fmla="*/ 4725731 h 5217112"/>
              <a:gd name="connsiteX1654" fmla="*/ 1290583 w 6785952"/>
              <a:gd name="connsiteY1654" fmla="*/ 4722411 h 5217112"/>
              <a:gd name="connsiteX1655" fmla="*/ 1295093 w 6785952"/>
              <a:gd name="connsiteY1655" fmla="*/ 4720530 h 5217112"/>
              <a:gd name="connsiteX1656" fmla="*/ 5923659 w 6785952"/>
              <a:gd name="connsiteY1656" fmla="*/ 4719534 h 5217112"/>
              <a:gd name="connsiteX1657" fmla="*/ 5925764 w 6785952"/>
              <a:gd name="connsiteY1657" fmla="*/ 4720530 h 5217112"/>
              <a:gd name="connsiteX1658" fmla="*/ 5926365 w 6785952"/>
              <a:gd name="connsiteY1658" fmla="*/ 4723297 h 5217112"/>
              <a:gd name="connsiteX1659" fmla="*/ 5925764 w 6785952"/>
              <a:gd name="connsiteY1659" fmla="*/ 4728166 h 5217112"/>
              <a:gd name="connsiteX1660" fmla="*/ 5923659 w 6785952"/>
              <a:gd name="connsiteY1660" fmla="*/ 4729494 h 5217112"/>
              <a:gd name="connsiteX1661" fmla="*/ 5919752 w 6785952"/>
              <a:gd name="connsiteY1661" fmla="*/ 4730158 h 5217112"/>
              <a:gd name="connsiteX1662" fmla="*/ 5919151 w 6785952"/>
              <a:gd name="connsiteY1662" fmla="*/ 4722522 h 5217112"/>
              <a:gd name="connsiteX1663" fmla="*/ 5923659 w 6785952"/>
              <a:gd name="connsiteY1663" fmla="*/ 4719534 h 5217112"/>
              <a:gd name="connsiteX1664" fmla="*/ 3158905 w 6785952"/>
              <a:gd name="connsiteY1664" fmla="*/ 4719534 h 5217112"/>
              <a:gd name="connsiteX1665" fmla="*/ 3161310 w 6785952"/>
              <a:gd name="connsiteY1665" fmla="*/ 4720530 h 5217112"/>
              <a:gd name="connsiteX1666" fmla="*/ 3161611 w 6785952"/>
              <a:gd name="connsiteY1666" fmla="*/ 4723297 h 5217112"/>
              <a:gd name="connsiteX1667" fmla="*/ 3161310 w 6785952"/>
              <a:gd name="connsiteY1667" fmla="*/ 4728166 h 5217112"/>
              <a:gd name="connsiteX1668" fmla="*/ 3158905 w 6785952"/>
              <a:gd name="connsiteY1668" fmla="*/ 4729494 h 5217112"/>
              <a:gd name="connsiteX1669" fmla="*/ 3155297 w 6785952"/>
              <a:gd name="connsiteY1669" fmla="*/ 4730158 h 5217112"/>
              <a:gd name="connsiteX1670" fmla="*/ 3154696 w 6785952"/>
              <a:gd name="connsiteY1670" fmla="*/ 4722522 h 5217112"/>
              <a:gd name="connsiteX1671" fmla="*/ 3158905 w 6785952"/>
              <a:gd name="connsiteY1671" fmla="*/ 4719534 h 5217112"/>
              <a:gd name="connsiteX1672" fmla="*/ 2129901 w 6785952"/>
              <a:gd name="connsiteY1672" fmla="*/ 4719534 h 5217112"/>
              <a:gd name="connsiteX1673" fmla="*/ 2132306 w 6785952"/>
              <a:gd name="connsiteY1673" fmla="*/ 4720530 h 5217112"/>
              <a:gd name="connsiteX1674" fmla="*/ 2132606 w 6785952"/>
              <a:gd name="connsiteY1674" fmla="*/ 4723297 h 5217112"/>
              <a:gd name="connsiteX1675" fmla="*/ 2132306 w 6785952"/>
              <a:gd name="connsiteY1675" fmla="*/ 4728166 h 5217112"/>
              <a:gd name="connsiteX1676" fmla="*/ 2129901 w 6785952"/>
              <a:gd name="connsiteY1676" fmla="*/ 4729494 h 5217112"/>
              <a:gd name="connsiteX1677" fmla="*/ 2125992 w 6785952"/>
              <a:gd name="connsiteY1677" fmla="*/ 4730158 h 5217112"/>
              <a:gd name="connsiteX1678" fmla="*/ 2125691 w 6785952"/>
              <a:gd name="connsiteY1678" fmla="*/ 4722522 h 5217112"/>
              <a:gd name="connsiteX1679" fmla="*/ 2129901 w 6785952"/>
              <a:gd name="connsiteY1679" fmla="*/ 4719534 h 5217112"/>
              <a:gd name="connsiteX1680" fmla="*/ 5234651 w 6785952"/>
              <a:gd name="connsiteY1680" fmla="*/ 4713447 h 5217112"/>
              <a:gd name="connsiteX1681" fmla="*/ 5245472 w 6785952"/>
              <a:gd name="connsiteY1681" fmla="*/ 4717763 h 5217112"/>
              <a:gd name="connsiteX1682" fmla="*/ 5246976 w 6785952"/>
              <a:gd name="connsiteY1682" fmla="*/ 4722411 h 5217112"/>
              <a:gd name="connsiteX1683" fmla="*/ 5245171 w 6785952"/>
              <a:gd name="connsiteY1683" fmla="*/ 4731265 h 5217112"/>
              <a:gd name="connsiteX1684" fmla="*/ 5246976 w 6785952"/>
              <a:gd name="connsiteY1684" fmla="*/ 4731486 h 5217112"/>
              <a:gd name="connsiteX1685" fmla="*/ 5237356 w 6785952"/>
              <a:gd name="connsiteY1685" fmla="*/ 4731929 h 5217112"/>
              <a:gd name="connsiteX1686" fmla="*/ 5234651 w 6785952"/>
              <a:gd name="connsiteY1686" fmla="*/ 4713447 h 5217112"/>
              <a:gd name="connsiteX1687" fmla="*/ 3978982 w 6785952"/>
              <a:gd name="connsiteY1687" fmla="*/ 4713447 h 5217112"/>
              <a:gd name="connsiteX1688" fmla="*/ 3990105 w 6785952"/>
              <a:gd name="connsiteY1688" fmla="*/ 4717763 h 5217112"/>
              <a:gd name="connsiteX1689" fmla="*/ 3991608 w 6785952"/>
              <a:gd name="connsiteY1689" fmla="*/ 4722411 h 5217112"/>
              <a:gd name="connsiteX1690" fmla="*/ 3989804 w 6785952"/>
              <a:gd name="connsiteY1690" fmla="*/ 4731265 h 5217112"/>
              <a:gd name="connsiteX1691" fmla="*/ 3991308 w 6785952"/>
              <a:gd name="connsiteY1691" fmla="*/ 4731486 h 5217112"/>
              <a:gd name="connsiteX1692" fmla="*/ 3981687 w 6785952"/>
              <a:gd name="connsiteY1692" fmla="*/ 4731929 h 5217112"/>
              <a:gd name="connsiteX1693" fmla="*/ 3978982 w 6785952"/>
              <a:gd name="connsiteY1693" fmla="*/ 4713447 h 5217112"/>
              <a:gd name="connsiteX1694" fmla="*/ 2470196 w 6785952"/>
              <a:gd name="connsiteY1694" fmla="*/ 4713447 h 5217112"/>
              <a:gd name="connsiteX1695" fmla="*/ 2481018 w 6785952"/>
              <a:gd name="connsiteY1695" fmla="*/ 4717763 h 5217112"/>
              <a:gd name="connsiteX1696" fmla="*/ 2482521 w 6785952"/>
              <a:gd name="connsiteY1696" fmla="*/ 4722411 h 5217112"/>
              <a:gd name="connsiteX1697" fmla="*/ 2480718 w 6785952"/>
              <a:gd name="connsiteY1697" fmla="*/ 4731265 h 5217112"/>
              <a:gd name="connsiteX1698" fmla="*/ 2482221 w 6785952"/>
              <a:gd name="connsiteY1698" fmla="*/ 4731486 h 5217112"/>
              <a:gd name="connsiteX1699" fmla="*/ 2472601 w 6785952"/>
              <a:gd name="connsiteY1699" fmla="*/ 4731929 h 5217112"/>
              <a:gd name="connsiteX1700" fmla="*/ 2470196 w 6785952"/>
              <a:gd name="connsiteY1700" fmla="*/ 4713447 h 5217112"/>
              <a:gd name="connsiteX1701" fmla="*/ 1440891 w 6785952"/>
              <a:gd name="connsiteY1701" fmla="*/ 4713447 h 5217112"/>
              <a:gd name="connsiteX1702" fmla="*/ 1452014 w 6785952"/>
              <a:gd name="connsiteY1702" fmla="*/ 4717763 h 5217112"/>
              <a:gd name="connsiteX1703" fmla="*/ 1453517 w 6785952"/>
              <a:gd name="connsiteY1703" fmla="*/ 4722411 h 5217112"/>
              <a:gd name="connsiteX1704" fmla="*/ 1451412 w 6785952"/>
              <a:gd name="connsiteY1704" fmla="*/ 4731265 h 5217112"/>
              <a:gd name="connsiteX1705" fmla="*/ 1453216 w 6785952"/>
              <a:gd name="connsiteY1705" fmla="*/ 4731486 h 5217112"/>
              <a:gd name="connsiteX1706" fmla="*/ 1443597 w 6785952"/>
              <a:gd name="connsiteY1706" fmla="*/ 4731929 h 5217112"/>
              <a:gd name="connsiteX1707" fmla="*/ 1440891 w 6785952"/>
              <a:gd name="connsiteY1707" fmla="*/ 4713447 h 5217112"/>
              <a:gd name="connsiteX1708" fmla="*/ 5841893 w 6785952"/>
              <a:gd name="connsiteY1708" fmla="*/ 4713004 h 5217112"/>
              <a:gd name="connsiteX1709" fmla="*/ 5844597 w 6785952"/>
              <a:gd name="connsiteY1709" fmla="*/ 4716878 h 5217112"/>
              <a:gd name="connsiteX1710" fmla="*/ 5836782 w 6785952"/>
              <a:gd name="connsiteY1710" fmla="*/ 4725178 h 5217112"/>
              <a:gd name="connsiteX1711" fmla="*/ 5831672 w 6785952"/>
              <a:gd name="connsiteY1711" fmla="*/ 4724293 h 5217112"/>
              <a:gd name="connsiteX1712" fmla="*/ 5828365 w 6785952"/>
              <a:gd name="connsiteY1712" fmla="*/ 4717652 h 5217112"/>
              <a:gd name="connsiteX1713" fmla="*/ 5841893 w 6785952"/>
              <a:gd name="connsiteY1713" fmla="*/ 4713004 h 5217112"/>
              <a:gd name="connsiteX1714" fmla="*/ 4586525 w 6785952"/>
              <a:gd name="connsiteY1714" fmla="*/ 4713004 h 5217112"/>
              <a:gd name="connsiteX1715" fmla="*/ 4589230 w 6785952"/>
              <a:gd name="connsiteY1715" fmla="*/ 4716878 h 5217112"/>
              <a:gd name="connsiteX1716" fmla="*/ 4581115 w 6785952"/>
              <a:gd name="connsiteY1716" fmla="*/ 4725178 h 5217112"/>
              <a:gd name="connsiteX1717" fmla="*/ 4576304 w 6785952"/>
              <a:gd name="connsiteY1717" fmla="*/ 4724293 h 5217112"/>
              <a:gd name="connsiteX1718" fmla="*/ 4572696 w 6785952"/>
              <a:gd name="connsiteY1718" fmla="*/ 4717652 h 5217112"/>
              <a:gd name="connsiteX1719" fmla="*/ 4586525 w 6785952"/>
              <a:gd name="connsiteY1719" fmla="*/ 4713004 h 5217112"/>
              <a:gd name="connsiteX1720" fmla="*/ 3077438 w 6785952"/>
              <a:gd name="connsiteY1720" fmla="*/ 4713004 h 5217112"/>
              <a:gd name="connsiteX1721" fmla="*/ 3080144 w 6785952"/>
              <a:gd name="connsiteY1721" fmla="*/ 4716878 h 5217112"/>
              <a:gd name="connsiteX1722" fmla="*/ 3072328 w 6785952"/>
              <a:gd name="connsiteY1722" fmla="*/ 4725178 h 5217112"/>
              <a:gd name="connsiteX1723" fmla="*/ 3067218 w 6785952"/>
              <a:gd name="connsiteY1723" fmla="*/ 4724293 h 5217112"/>
              <a:gd name="connsiteX1724" fmla="*/ 3063610 w 6785952"/>
              <a:gd name="connsiteY1724" fmla="*/ 4717652 h 5217112"/>
              <a:gd name="connsiteX1725" fmla="*/ 3077438 w 6785952"/>
              <a:gd name="connsiteY1725" fmla="*/ 4713004 h 5217112"/>
              <a:gd name="connsiteX1726" fmla="*/ 2048434 w 6785952"/>
              <a:gd name="connsiteY1726" fmla="*/ 4713004 h 5217112"/>
              <a:gd name="connsiteX1727" fmla="*/ 2051140 w 6785952"/>
              <a:gd name="connsiteY1727" fmla="*/ 4716878 h 5217112"/>
              <a:gd name="connsiteX1728" fmla="*/ 2043023 w 6785952"/>
              <a:gd name="connsiteY1728" fmla="*/ 4725178 h 5217112"/>
              <a:gd name="connsiteX1729" fmla="*/ 2038213 w 6785952"/>
              <a:gd name="connsiteY1729" fmla="*/ 4724293 h 5217112"/>
              <a:gd name="connsiteX1730" fmla="*/ 2034606 w 6785952"/>
              <a:gd name="connsiteY1730" fmla="*/ 4717652 h 5217112"/>
              <a:gd name="connsiteX1731" fmla="*/ 2048434 w 6785952"/>
              <a:gd name="connsiteY1731" fmla="*/ 4713004 h 5217112"/>
              <a:gd name="connsiteX1732" fmla="*/ 4940649 w 6785952"/>
              <a:gd name="connsiteY1732" fmla="*/ 4695629 h 5217112"/>
              <a:gd name="connsiteX1733" fmla="*/ 4922912 w 6785952"/>
              <a:gd name="connsiteY1733" fmla="*/ 4732593 h 5217112"/>
              <a:gd name="connsiteX1734" fmla="*/ 4940649 w 6785952"/>
              <a:gd name="connsiteY1734" fmla="*/ 4695629 h 5217112"/>
              <a:gd name="connsiteX1735" fmla="*/ 1147190 w 6785952"/>
              <a:gd name="connsiteY1735" fmla="*/ 4695629 h 5217112"/>
              <a:gd name="connsiteX1736" fmla="*/ 1129454 w 6785952"/>
              <a:gd name="connsiteY1736" fmla="*/ 4732593 h 5217112"/>
              <a:gd name="connsiteX1737" fmla="*/ 1147190 w 6785952"/>
              <a:gd name="connsiteY1737" fmla="*/ 4695629 h 5217112"/>
              <a:gd name="connsiteX1738" fmla="*/ 5871653 w 6785952"/>
              <a:gd name="connsiteY1738" fmla="*/ 4695518 h 5217112"/>
              <a:gd name="connsiteX1739" fmla="*/ 5874660 w 6785952"/>
              <a:gd name="connsiteY1739" fmla="*/ 4696514 h 5217112"/>
              <a:gd name="connsiteX1740" fmla="*/ 5874960 w 6785952"/>
              <a:gd name="connsiteY1740" fmla="*/ 4708245 h 5217112"/>
              <a:gd name="connsiteX1741" fmla="*/ 5869549 w 6785952"/>
              <a:gd name="connsiteY1741" fmla="*/ 4696404 h 5217112"/>
              <a:gd name="connsiteX1742" fmla="*/ 5871653 w 6785952"/>
              <a:gd name="connsiteY1742" fmla="*/ 4695518 h 5217112"/>
              <a:gd name="connsiteX1743" fmla="*/ 4616286 w 6785952"/>
              <a:gd name="connsiteY1743" fmla="*/ 4695518 h 5217112"/>
              <a:gd name="connsiteX1744" fmla="*/ 4618991 w 6785952"/>
              <a:gd name="connsiteY1744" fmla="*/ 4696514 h 5217112"/>
              <a:gd name="connsiteX1745" fmla="*/ 4619592 w 6785952"/>
              <a:gd name="connsiteY1745" fmla="*/ 4708245 h 5217112"/>
              <a:gd name="connsiteX1746" fmla="*/ 4613881 w 6785952"/>
              <a:gd name="connsiteY1746" fmla="*/ 4696404 h 5217112"/>
              <a:gd name="connsiteX1747" fmla="*/ 4616286 w 6785952"/>
              <a:gd name="connsiteY1747" fmla="*/ 4695518 h 5217112"/>
              <a:gd name="connsiteX1748" fmla="*/ 3107199 w 6785952"/>
              <a:gd name="connsiteY1748" fmla="*/ 4695518 h 5217112"/>
              <a:gd name="connsiteX1749" fmla="*/ 3110205 w 6785952"/>
              <a:gd name="connsiteY1749" fmla="*/ 4696514 h 5217112"/>
              <a:gd name="connsiteX1750" fmla="*/ 3110505 w 6785952"/>
              <a:gd name="connsiteY1750" fmla="*/ 4708245 h 5217112"/>
              <a:gd name="connsiteX1751" fmla="*/ 3104794 w 6785952"/>
              <a:gd name="connsiteY1751" fmla="*/ 4696404 h 5217112"/>
              <a:gd name="connsiteX1752" fmla="*/ 3107199 w 6785952"/>
              <a:gd name="connsiteY1752" fmla="*/ 4695518 h 5217112"/>
              <a:gd name="connsiteX1753" fmla="*/ 2078194 w 6785952"/>
              <a:gd name="connsiteY1753" fmla="*/ 4695518 h 5217112"/>
              <a:gd name="connsiteX1754" fmla="*/ 2081200 w 6785952"/>
              <a:gd name="connsiteY1754" fmla="*/ 4696514 h 5217112"/>
              <a:gd name="connsiteX1755" fmla="*/ 2081200 w 6785952"/>
              <a:gd name="connsiteY1755" fmla="*/ 4708245 h 5217112"/>
              <a:gd name="connsiteX1756" fmla="*/ 2075789 w 6785952"/>
              <a:gd name="connsiteY1756" fmla="*/ 4696404 h 5217112"/>
              <a:gd name="connsiteX1757" fmla="*/ 2078194 w 6785952"/>
              <a:gd name="connsiteY1757" fmla="*/ 4695518 h 5217112"/>
              <a:gd name="connsiteX1758" fmla="*/ 5314614 w 6785952"/>
              <a:gd name="connsiteY1758" fmla="*/ 4693083 h 5217112"/>
              <a:gd name="connsiteX1759" fmla="*/ 5317319 w 6785952"/>
              <a:gd name="connsiteY1759" fmla="*/ 4695518 h 5217112"/>
              <a:gd name="connsiteX1760" fmla="*/ 5316718 w 6785952"/>
              <a:gd name="connsiteY1760" fmla="*/ 4700498 h 5217112"/>
              <a:gd name="connsiteX1761" fmla="*/ 5311006 w 6785952"/>
              <a:gd name="connsiteY1761" fmla="*/ 4704151 h 5217112"/>
              <a:gd name="connsiteX1762" fmla="*/ 5308602 w 6785952"/>
              <a:gd name="connsiteY1762" fmla="*/ 4701605 h 5217112"/>
              <a:gd name="connsiteX1763" fmla="*/ 5307099 w 6785952"/>
              <a:gd name="connsiteY1763" fmla="*/ 4697289 h 5217112"/>
              <a:gd name="connsiteX1764" fmla="*/ 5314614 w 6785952"/>
              <a:gd name="connsiteY1764" fmla="*/ 4693083 h 5217112"/>
              <a:gd name="connsiteX1765" fmla="*/ 4059246 w 6785952"/>
              <a:gd name="connsiteY1765" fmla="*/ 4693083 h 5217112"/>
              <a:gd name="connsiteX1766" fmla="*/ 4061651 w 6785952"/>
              <a:gd name="connsiteY1766" fmla="*/ 4695518 h 5217112"/>
              <a:gd name="connsiteX1767" fmla="*/ 4061351 w 6785952"/>
              <a:gd name="connsiteY1767" fmla="*/ 4700498 h 5217112"/>
              <a:gd name="connsiteX1768" fmla="*/ 4055338 w 6785952"/>
              <a:gd name="connsiteY1768" fmla="*/ 4704151 h 5217112"/>
              <a:gd name="connsiteX1769" fmla="*/ 4052933 w 6785952"/>
              <a:gd name="connsiteY1769" fmla="*/ 4701605 h 5217112"/>
              <a:gd name="connsiteX1770" fmla="*/ 4051731 w 6785952"/>
              <a:gd name="connsiteY1770" fmla="*/ 4697289 h 5217112"/>
              <a:gd name="connsiteX1771" fmla="*/ 4059246 w 6785952"/>
              <a:gd name="connsiteY1771" fmla="*/ 4693083 h 5217112"/>
              <a:gd name="connsiteX1772" fmla="*/ 1521155 w 6785952"/>
              <a:gd name="connsiteY1772" fmla="*/ 4693083 h 5217112"/>
              <a:gd name="connsiteX1773" fmla="*/ 1523560 w 6785952"/>
              <a:gd name="connsiteY1773" fmla="*/ 4695518 h 5217112"/>
              <a:gd name="connsiteX1774" fmla="*/ 1523259 w 6785952"/>
              <a:gd name="connsiteY1774" fmla="*/ 4700498 h 5217112"/>
              <a:gd name="connsiteX1775" fmla="*/ 1517247 w 6785952"/>
              <a:gd name="connsiteY1775" fmla="*/ 4704151 h 5217112"/>
              <a:gd name="connsiteX1776" fmla="*/ 1514842 w 6785952"/>
              <a:gd name="connsiteY1776" fmla="*/ 4701605 h 5217112"/>
              <a:gd name="connsiteX1777" fmla="*/ 1513340 w 6785952"/>
              <a:gd name="connsiteY1777" fmla="*/ 4697289 h 5217112"/>
              <a:gd name="connsiteX1778" fmla="*/ 1521155 w 6785952"/>
              <a:gd name="connsiteY1778" fmla="*/ 4693083 h 5217112"/>
              <a:gd name="connsiteX1779" fmla="*/ 5555406 w 6785952"/>
              <a:gd name="connsiteY1779" fmla="*/ 4691755 h 5217112"/>
              <a:gd name="connsiteX1780" fmla="*/ 5557812 w 6785952"/>
              <a:gd name="connsiteY1780" fmla="*/ 4692309 h 5217112"/>
              <a:gd name="connsiteX1781" fmla="*/ 5559315 w 6785952"/>
              <a:gd name="connsiteY1781" fmla="*/ 4697068 h 5217112"/>
              <a:gd name="connsiteX1782" fmla="*/ 5557511 w 6785952"/>
              <a:gd name="connsiteY1782" fmla="*/ 4701384 h 5217112"/>
              <a:gd name="connsiteX1783" fmla="*/ 5554805 w 6785952"/>
              <a:gd name="connsiteY1783" fmla="*/ 4701605 h 5217112"/>
              <a:gd name="connsiteX1784" fmla="*/ 5551198 w 6785952"/>
              <a:gd name="connsiteY1784" fmla="*/ 4700609 h 5217112"/>
              <a:gd name="connsiteX1785" fmla="*/ 5553002 w 6785952"/>
              <a:gd name="connsiteY1785" fmla="*/ 4693305 h 5217112"/>
              <a:gd name="connsiteX1786" fmla="*/ 5555406 w 6785952"/>
              <a:gd name="connsiteY1786" fmla="*/ 4691755 h 5217112"/>
              <a:gd name="connsiteX1787" fmla="*/ 4299738 w 6785952"/>
              <a:gd name="connsiteY1787" fmla="*/ 4691755 h 5217112"/>
              <a:gd name="connsiteX1788" fmla="*/ 4302444 w 6785952"/>
              <a:gd name="connsiteY1788" fmla="*/ 4692309 h 5217112"/>
              <a:gd name="connsiteX1789" fmla="*/ 4303646 w 6785952"/>
              <a:gd name="connsiteY1789" fmla="*/ 4697068 h 5217112"/>
              <a:gd name="connsiteX1790" fmla="*/ 4302143 w 6785952"/>
              <a:gd name="connsiteY1790" fmla="*/ 4701384 h 5217112"/>
              <a:gd name="connsiteX1791" fmla="*/ 4299438 w 6785952"/>
              <a:gd name="connsiteY1791" fmla="*/ 4701605 h 5217112"/>
              <a:gd name="connsiteX1792" fmla="*/ 4295529 w 6785952"/>
              <a:gd name="connsiteY1792" fmla="*/ 4700609 h 5217112"/>
              <a:gd name="connsiteX1793" fmla="*/ 4297634 w 6785952"/>
              <a:gd name="connsiteY1793" fmla="*/ 4693305 h 5217112"/>
              <a:gd name="connsiteX1794" fmla="*/ 4299738 w 6785952"/>
              <a:gd name="connsiteY1794" fmla="*/ 4691755 h 5217112"/>
              <a:gd name="connsiteX1795" fmla="*/ 2790952 w 6785952"/>
              <a:gd name="connsiteY1795" fmla="*/ 4691755 h 5217112"/>
              <a:gd name="connsiteX1796" fmla="*/ 2793357 w 6785952"/>
              <a:gd name="connsiteY1796" fmla="*/ 4692309 h 5217112"/>
              <a:gd name="connsiteX1797" fmla="*/ 2794861 w 6785952"/>
              <a:gd name="connsiteY1797" fmla="*/ 4697068 h 5217112"/>
              <a:gd name="connsiteX1798" fmla="*/ 2793057 w 6785952"/>
              <a:gd name="connsiteY1798" fmla="*/ 4701384 h 5217112"/>
              <a:gd name="connsiteX1799" fmla="*/ 2790351 w 6785952"/>
              <a:gd name="connsiteY1799" fmla="*/ 4701605 h 5217112"/>
              <a:gd name="connsiteX1800" fmla="*/ 2786744 w 6785952"/>
              <a:gd name="connsiteY1800" fmla="*/ 4700609 h 5217112"/>
              <a:gd name="connsiteX1801" fmla="*/ 2788547 w 6785952"/>
              <a:gd name="connsiteY1801" fmla="*/ 4693305 h 5217112"/>
              <a:gd name="connsiteX1802" fmla="*/ 2790952 w 6785952"/>
              <a:gd name="connsiteY1802" fmla="*/ 4691755 h 5217112"/>
              <a:gd name="connsiteX1803" fmla="*/ 1761647 w 6785952"/>
              <a:gd name="connsiteY1803" fmla="*/ 4691755 h 5217112"/>
              <a:gd name="connsiteX1804" fmla="*/ 1764052 w 6785952"/>
              <a:gd name="connsiteY1804" fmla="*/ 4692309 h 5217112"/>
              <a:gd name="connsiteX1805" fmla="*/ 1765556 w 6785952"/>
              <a:gd name="connsiteY1805" fmla="*/ 4697068 h 5217112"/>
              <a:gd name="connsiteX1806" fmla="*/ 1763751 w 6785952"/>
              <a:gd name="connsiteY1806" fmla="*/ 4701384 h 5217112"/>
              <a:gd name="connsiteX1807" fmla="*/ 1761346 w 6785952"/>
              <a:gd name="connsiteY1807" fmla="*/ 4701605 h 5217112"/>
              <a:gd name="connsiteX1808" fmla="*/ 1757439 w 6785952"/>
              <a:gd name="connsiteY1808" fmla="*/ 4700609 h 5217112"/>
              <a:gd name="connsiteX1809" fmla="*/ 1759242 w 6785952"/>
              <a:gd name="connsiteY1809" fmla="*/ 4693305 h 5217112"/>
              <a:gd name="connsiteX1810" fmla="*/ 1761647 w 6785952"/>
              <a:gd name="connsiteY1810" fmla="*/ 4691755 h 5217112"/>
              <a:gd name="connsiteX1811" fmla="*/ 5972961 w 6785952"/>
              <a:gd name="connsiteY1811" fmla="*/ 4689099 h 5217112"/>
              <a:gd name="connsiteX1812" fmla="*/ 5979575 w 6785952"/>
              <a:gd name="connsiteY1812" fmla="*/ 4706032 h 5217112"/>
              <a:gd name="connsiteX1813" fmla="*/ 5959733 w 6785952"/>
              <a:gd name="connsiteY1813" fmla="*/ 4696957 h 5217112"/>
              <a:gd name="connsiteX1814" fmla="*/ 5972961 w 6785952"/>
              <a:gd name="connsiteY1814" fmla="*/ 4689099 h 5217112"/>
              <a:gd name="connsiteX1815" fmla="*/ 2179201 w 6785952"/>
              <a:gd name="connsiteY1815" fmla="*/ 4689099 h 5217112"/>
              <a:gd name="connsiteX1816" fmla="*/ 2185815 w 6785952"/>
              <a:gd name="connsiteY1816" fmla="*/ 4706032 h 5217112"/>
              <a:gd name="connsiteX1817" fmla="*/ 2174692 w 6785952"/>
              <a:gd name="connsiteY1817" fmla="*/ 4706917 h 5217112"/>
              <a:gd name="connsiteX1818" fmla="*/ 2173490 w 6785952"/>
              <a:gd name="connsiteY1818" fmla="*/ 4716324 h 5217112"/>
              <a:gd name="connsiteX1819" fmla="*/ 2158459 w 6785952"/>
              <a:gd name="connsiteY1819" fmla="*/ 4732593 h 5217112"/>
              <a:gd name="connsiteX1820" fmla="*/ 2166876 w 6785952"/>
              <a:gd name="connsiteY1820" fmla="*/ 4703376 h 5217112"/>
              <a:gd name="connsiteX1821" fmla="*/ 2169581 w 6785952"/>
              <a:gd name="connsiteY1821" fmla="*/ 4701273 h 5217112"/>
              <a:gd name="connsiteX1822" fmla="*/ 2166275 w 6785952"/>
              <a:gd name="connsiteY1822" fmla="*/ 4696957 h 5217112"/>
              <a:gd name="connsiteX1823" fmla="*/ 2179201 w 6785952"/>
              <a:gd name="connsiteY1823" fmla="*/ 4689099 h 5217112"/>
              <a:gd name="connsiteX1824" fmla="*/ 5767941 w 6785952"/>
              <a:gd name="connsiteY1824" fmla="*/ 4688657 h 5217112"/>
              <a:gd name="connsiteX1825" fmla="*/ 5735776 w 6785952"/>
              <a:gd name="connsiteY1825" fmla="*/ 4708135 h 5217112"/>
              <a:gd name="connsiteX1826" fmla="*/ 5749002 w 6785952"/>
              <a:gd name="connsiteY1826" fmla="*/ 4693969 h 5217112"/>
              <a:gd name="connsiteX1827" fmla="*/ 5767941 w 6785952"/>
              <a:gd name="connsiteY1827" fmla="*/ 4688657 h 5217112"/>
              <a:gd name="connsiteX1828" fmla="*/ 4512573 w 6785952"/>
              <a:gd name="connsiteY1828" fmla="*/ 4688657 h 5217112"/>
              <a:gd name="connsiteX1829" fmla="*/ 4480408 w 6785952"/>
              <a:gd name="connsiteY1829" fmla="*/ 4708245 h 5217112"/>
              <a:gd name="connsiteX1830" fmla="*/ 4493635 w 6785952"/>
              <a:gd name="connsiteY1830" fmla="*/ 4693969 h 5217112"/>
              <a:gd name="connsiteX1831" fmla="*/ 4512573 w 6785952"/>
              <a:gd name="connsiteY1831" fmla="*/ 4688657 h 5217112"/>
              <a:gd name="connsiteX1832" fmla="*/ 3003487 w 6785952"/>
              <a:gd name="connsiteY1832" fmla="*/ 4688657 h 5217112"/>
              <a:gd name="connsiteX1833" fmla="*/ 2971321 w 6785952"/>
              <a:gd name="connsiteY1833" fmla="*/ 4708135 h 5217112"/>
              <a:gd name="connsiteX1834" fmla="*/ 2984548 w 6785952"/>
              <a:gd name="connsiteY1834" fmla="*/ 4693969 h 5217112"/>
              <a:gd name="connsiteX1835" fmla="*/ 3003487 w 6785952"/>
              <a:gd name="connsiteY1835" fmla="*/ 4688657 h 5217112"/>
              <a:gd name="connsiteX1836" fmla="*/ 1974483 w 6785952"/>
              <a:gd name="connsiteY1836" fmla="*/ 4688657 h 5217112"/>
              <a:gd name="connsiteX1837" fmla="*/ 1942316 w 6785952"/>
              <a:gd name="connsiteY1837" fmla="*/ 4708135 h 5217112"/>
              <a:gd name="connsiteX1838" fmla="*/ 1955544 w 6785952"/>
              <a:gd name="connsiteY1838" fmla="*/ 4693969 h 5217112"/>
              <a:gd name="connsiteX1839" fmla="*/ 1974483 w 6785952"/>
              <a:gd name="connsiteY1839" fmla="*/ 4688657 h 5217112"/>
              <a:gd name="connsiteX1840" fmla="*/ 5089453 w 6785952"/>
              <a:gd name="connsiteY1840" fmla="*/ 4687107 h 5217112"/>
              <a:gd name="connsiteX1841" fmla="*/ 5086748 w 6785952"/>
              <a:gd name="connsiteY1841" fmla="*/ 4702380 h 5217112"/>
              <a:gd name="connsiteX1842" fmla="*/ 5089453 w 6785952"/>
              <a:gd name="connsiteY1842" fmla="*/ 4687107 h 5217112"/>
              <a:gd name="connsiteX1843" fmla="*/ 2324698 w 6785952"/>
              <a:gd name="connsiteY1843" fmla="*/ 4687107 h 5217112"/>
              <a:gd name="connsiteX1844" fmla="*/ 2322293 w 6785952"/>
              <a:gd name="connsiteY1844" fmla="*/ 4702380 h 5217112"/>
              <a:gd name="connsiteX1845" fmla="*/ 2324698 w 6785952"/>
              <a:gd name="connsiteY1845" fmla="*/ 4687107 h 5217112"/>
              <a:gd name="connsiteX1846" fmla="*/ 1295694 w 6785952"/>
              <a:gd name="connsiteY1846" fmla="*/ 4687107 h 5217112"/>
              <a:gd name="connsiteX1847" fmla="*/ 1293289 w 6785952"/>
              <a:gd name="connsiteY1847" fmla="*/ 4702380 h 5217112"/>
              <a:gd name="connsiteX1848" fmla="*/ 1295694 w 6785952"/>
              <a:gd name="connsiteY1848" fmla="*/ 4687107 h 5217112"/>
              <a:gd name="connsiteX1849" fmla="*/ 5134545 w 6785952"/>
              <a:gd name="connsiteY1849" fmla="*/ 4685336 h 5217112"/>
              <a:gd name="connsiteX1850" fmla="*/ 5153485 w 6785952"/>
              <a:gd name="connsiteY1850" fmla="*/ 4686775 h 5217112"/>
              <a:gd name="connsiteX1851" fmla="*/ 5157392 w 6785952"/>
              <a:gd name="connsiteY1851" fmla="*/ 4690095 h 5217112"/>
              <a:gd name="connsiteX1852" fmla="*/ 5159196 w 6785952"/>
              <a:gd name="connsiteY1852" fmla="*/ 4694301 h 5217112"/>
              <a:gd name="connsiteX1853" fmla="*/ 5154987 w 6785952"/>
              <a:gd name="connsiteY1853" fmla="*/ 4697400 h 5217112"/>
              <a:gd name="connsiteX1854" fmla="*/ 5144466 w 6785952"/>
              <a:gd name="connsiteY1854" fmla="*/ 4696072 h 5217112"/>
              <a:gd name="connsiteX1855" fmla="*/ 5134545 w 6785952"/>
              <a:gd name="connsiteY1855" fmla="*/ 4685336 h 5217112"/>
              <a:gd name="connsiteX1856" fmla="*/ 2370091 w 6785952"/>
              <a:gd name="connsiteY1856" fmla="*/ 4685336 h 5217112"/>
              <a:gd name="connsiteX1857" fmla="*/ 2389030 w 6785952"/>
              <a:gd name="connsiteY1857" fmla="*/ 4686775 h 5217112"/>
              <a:gd name="connsiteX1858" fmla="*/ 2392939 w 6785952"/>
              <a:gd name="connsiteY1858" fmla="*/ 4690095 h 5217112"/>
              <a:gd name="connsiteX1859" fmla="*/ 2394441 w 6785952"/>
              <a:gd name="connsiteY1859" fmla="*/ 4694301 h 5217112"/>
              <a:gd name="connsiteX1860" fmla="*/ 2390534 w 6785952"/>
              <a:gd name="connsiteY1860" fmla="*/ 4697400 h 5217112"/>
              <a:gd name="connsiteX1861" fmla="*/ 2380012 w 6785952"/>
              <a:gd name="connsiteY1861" fmla="*/ 4696072 h 5217112"/>
              <a:gd name="connsiteX1862" fmla="*/ 2370091 w 6785952"/>
              <a:gd name="connsiteY1862" fmla="*/ 4685336 h 5217112"/>
              <a:gd name="connsiteX1863" fmla="*/ 1341087 w 6785952"/>
              <a:gd name="connsiteY1863" fmla="*/ 4685336 h 5217112"/>
              <a:gd name="connsiteX1864" fmla="*/ 1360025 w 6785952"/>
              <a:gd name="connsiteY1864" fmla="*/ 4686775 h 5217112"/>
              <a:gd name="connsiteX1865" fmla="*/ 1363934 w 6785952"/>
              <a:gd name="connsiteY1865" fmla="*/ 4690095 h 5217112"/>
              <a:gd name="connsiteX1866" fmla="*/ 1365436 w 6785952"/>
              <a:gd name="connsiteY1866" fmla="*/ 4694301 h 5217112"/>
              <a:gd name="connsiteX1867" fmla="*/ 1361228 w 6785952"/>
              <a:gd name="connsiteY1867" fmla="*/ 4697400 h 5217112"/>
              <a:gd name="connsiteX1868" fmla="*/ 1350706 w 6785952"/>
              <a:gd name="connsiteY1868" fmla="*/ 4696072 h 5217112"/>
              <a:gd name="connsiteX1869" fmla="*/ 1341087 w 6785952"/>
              <a:gd name="connsiteY1869" fmla="*/ 4685336 h 5217112"/>
              <a:gd name="connsiteX1870" fmla="*/ 5260804 w 6785952"/>
              <a:gd name="connsiteY1870" fmla="*/ 4685115 h 5217112"/>
              <a:gd name="connsiteX1871" fmla="*/ 5280043 w 6785952"/>
              <a:gd name="connsiteY1871" fmla="*/ 4694743 h 5217112"/>
              <a:gd name="connsiteX1872" fmla="*/ 5283951 w 6785952"/>
              <a:gd name="connsiteY1872" fmla="*/ 4720862 h 5217112"/>
              <a:gd name="connsiteX1873" fmla="*/ 5266816 w 6785952"/>
              <a:gd name="connsiteY1873" fmla="*/ 4725621 h 5217112"/>
              <a:gd name="connsiteX1874" fmla="*/ 5256595 w 6785952"/>
              <a:gd name="connsiteY1874" fmla="*/ 4720862 h 5217112"/>
              <a:gd name="connsiteX1875" fmla="*/ 5254191 w 6785952"/>
              <a:gd name="connsiteY1875" fmla="*/ 4693415 h 5217112"/>
              <a:gd name="connsiteX1876" fmla="*/ 5257497 w 6785952"/>
              <a:gd name="connsiteY1876" fmla="*/ 4690759 h 5217112"/>
              <a:gd name="connsiteX1877" fmla="*/ 5260804 w 6785952"/>
              <a:gd name="connsiteY1877" fmla="*/ 4685115 h 5217112"/>
              <a:gd name="connsiteX1878" fmla="*/ 4005436 w 6785952"/>
              <a:gd name="connsiteY1878" fmla="*/ 4685115 h 5217112"/>
              <a:gd name="connsiteX1879" fmla="*/ 4024375 w 6785952"/>
              <a:gd name="connsiteY1879" fmla="*/ 4694743 h 5217112"/>
              <a:gd name="connsiteX1880" fmla="*/ 4028583 w 6785952"/>
              <a:gd name="connsiteY1880" fmla="*/ 4720862 h 5217112"/>
              <a:gd name="connsiteX1881" fmla="*/ 4011148 w 6785952"/>
              <a:gd name="connsiteY1881" fmla="*/ 4725621 h 5217112"/>
              <a:gd name="connsiteX1882" fmla="*/ 4000927 w 6785952"/>
              <a:gd name="connsiteY1882" fmla="*/ 4720862 h 5217112"/>
              <a:gd name="connsiteX1883" fmla="*/ 3998822 w 6785952"/>
              <a:gd name="connsiteY1883" fmla="*/ 4693415 h 5217112"/>
              <a:gd name="connsiteX1884" fmla="*/ 4002130 w 6785952"/>
              <a:gd name="connsiteY1884" fmla="*/ 4690759 h 5217112"/>
              <a:gd name="connsiteX1885" fmla="*/ 4005436 w 6785952"/>
              <a:gd name="connsiteY1885" fmla="*/ 4685115 h 5217112"/>
              <a:gd name="connsiteX1886" fmla="*/ 1467345 w 6785952"/>
              <a:gd name="connsiteY1886" fmla="*/ 4685115 h 5217112"/>
              <a:gd name="connsiteX1887" fmla="*/ 1486284 w 6785952"/>
              <a:gd name="connsiteY1887" fmla="*/ 4694743 h 5217112"/>
              <a:gd name="connsiteX1888" fmla="*/ 1490492 w 6785952"/>
              <a:gd name="connsiteY1888" fmla="*/ 4720862 h 5217112"/>
              <a:gd name="connsiteX1889" fmla="*/ 1473057 w 6785952"/>
              <a:gd name="connsiteY1889" fmla="*/ 4725621 h 5217112"/>
              <a:gd name="connsiteX1890" fmla="*/ 1463137 w 6785952"/>
              <a:gd name="connsiteY1890" fmla="*/ 4720862 h 5217112"/>
              <a:gd name="connsiteX1891" fmla="*/ 1460431 w 6785952"/>
              <a:gd name="connsiteY1891" fmla="*/ 4693415 h 5217112"/>
              <a:gd name="connsiteX1892" fmla="*/ 1464038 w 6785952"/>
              <a:gd name="connsiteY1892" fmla="*/ 4690759 h 5217112"/>
              <a:gd name="connsiteX1893" fmla="*/ 1467345 w 6785952"/>
              <a:gd name="connsiteY1893" fmla="*/ 4685115 h 5217112"/>
              <a:gd name="connsiteX1894" fmla="*/ 3523851 w 6785952"/>
              <a:gd name="connsiteY1894" fmla="*/ 4681242 h 5217112"/>
              <a:gd name="connsiteX1895" fmla="*/ 3519042 w 6785952"/>
              <a:gd name="connsiteY1895" fmla="*/ 4684119 h 5217112"/>
              <a:gd name="connsiteX1896" fmla="*/ 3526857 w 6785952"/>
              <a:gd name="connsiteY1896" fmla="*/ 4681352 h 5217112"/>
              <a:gd name="connsiteX1897" fmla="*/ 4961992 w 6785952"/>
              <a:gd name="connsiteY1897" fmla="*/ 4679581 h 5217112"/>
              <a:gd name="connsiteX1898" fmla="*/ 4955379 w 6785952"/>
              <a:gd name="connsiteY1898" fmla="*/ 4697400 h 5217112"/>
              <a:gd name="connsiteX1899" fmla="*/ 4940047 w 6785952"/>
              <a:gd name="connsiteY1899" fmla="*/ 4681574 h 5217112"/>
              <a:gd name="connsiteX1900" fmla="*/ 4961992 w 6785952"/>
              <a:gd name="connsiteY1900" fmla="*/ 4679581 h 5217112"/>
              <a:gd name="connsiteX1901" fmla="*/ 2197538 w 6785952"/>
              <a:gd name="connsiteY1901" fmla="*/ 4679581 h 5217112"/>
              <a:gd name="connsiteX1902" fmla="*/ 2190925 w 6785952"/>
              <a:gd name="connsiteY1902" fmla="*/ 4697400 h 5217112"/>
              <a:gd name="connsiteX1903" fmla="*/ 2175593 w 6785952"/>
              <a:gd name="connsiteY1903" fmla="*/ 4681574 h 5217112"/>
              <a:gd name="connsiteX1904" fmla="*/ 2197538 w 6785952"/>
              <a:gd name="connsiteY1904" fmla="*/ 4679581 h 5217112"/>
              <a:gd name="connsiteX1905" fmla="*/ 1168534 w 6785952"/>
              <a:gd name="connsiteY1905" fmla="*/ 4679581 h 5217112"/>
              <a:gd name="connsiteX1906" fmla="*/ 1161620 w 6785952"/>
              <a:gd name="connsiteY1906" fmla="*/ 4697400 h 5217112"/>
              <a:gd name="connsiteX1907" fmla="*/ 1146589 w 6785952"/>
              <a:gd name="connsiteY1907" fmla="*/ 4681574 h 5217112"/>
              <a:gd name="connsiteX1908" fmla="*/ 1168534 w 6785952"/>
              <a:gd name="connsiteY1908" fmla="*/ 4679581 h 5217112"/>
              <a:gd name="connsiteX1909" fmla="*/ 4669194 w 6785952"/>
              <a:gd name="connsiteY1909" fmla="*/ 4679139 h 5217112"/>
              <a:gd name="connsiteX1910" fmla="*/ 4669795 w 6785952"/>
              <a:gd name="connsiteY1910" fmla="*/ 4691313 h 5217112"/>
              <a:gd name="connsiteX1911" fmla="*/ 4669194 w 6785952"/>
              <a:gd name="connsiteY1911" fmla="*/ 4705700 h 5217112"/>
              <a:gd name="connsiteX1912" fmla="*/ 4671899 w 6785952"/>
              <a:gd name="connsiteY1912" fmla="*/ 4701384 h 5217112"/>
              <a:gd name="connsiteX1913" fmla="*/ 4673101 w 6785952"/>
              <a:gd name="connsiteY1913" fmla="*/ 4685447 h 5217112"/>
              <a:gd name="connsiteX1914" fmla="*/ 5764935 w 6785952"/>
              <a:gd name="connsiteY1914" fmla="*/ 4679028 h 5217112"/>
              <a:gd name="connsiteX1915" fmla="*/ 5794395 w 6785952"/>
              <a:gd name="connsiteY1915" fmla="*/ 4708799 h 5217112"/>
              <a:gd name="connsiteX1916" fmla="*/ 5764935 w 6785952"/>
              <a:gd name="connsiteY1916" fmla="*/ 4679028 h 5217112"/>
              <a:gd name="connsiteX1917" fmla="*/ 4509568 w 6785952"/>
              <a:gd name="connsiteY1917" fmla="*/ 4679028 h 5217112"/>
              <a:gd name="connsiteX1918" fmla="*/ 4539028 w 6785952"/>
              <a:gd name="connsiteY1918" fmla="*/ 4708799 h 5217112"/>
              <a:gd name="connsiteX1919" fmla="*/ 4509568 w 6785952"/>
              <a:gd name="connsiteY1919" fmla="*/ 4679028 h 5217112"/>
              <a:gd name="connsiteX1920" fmla="*/ 3000481 w 6785952"/>
              <a:gd name="connsiteY1920" fmla="*/ 4679028 h 5217112"/>
              <a:gd name="connsiteX1921" fmla="*/ 3029941 w 6785952"/>
              <a:gd name="connsiteY1921" fmla="*/ 4708799 h 5217112"/>
              <a:gd name="connsiteX1922" fmla="*/ 3000481 w 6785952"/>
              <a:gd name="connsiteY1922" fmla="*/ 4679028 h 5217112"/>
              <a:gd name="connsiteX1923" fmla="*/ 1971476 w 6785952"/>
              <a:gd name="connsiteY1923" fmla="*/ 4679028 h 5217112"/>
              <a:gd name="connsiteX1924" fmla="*/ 2000936 w 6785952"/>
              <a:gd name="connsiteY1924" fmla="*/ 4708799 h 5217112"/>
              <a:gd name="connsiteX1925" fmla="*/ 1971476 w 6785952"/>
              <a:gd name="connsiteY1925" fmla="*/ 4679028 h 5217112"/>
              <a:gd name="connsiteX1926" fmla="*/ 5206692 w 6785952"/>
              <a:gd name="connsiteY1926" fmla="*/ 4678585 h 5217112"/>
              <a:gd name="connsiteX1927" fmla="*/ 5207896 w 6785952"/>
              <a:gd name="connsiteY1927" fmla="*/ 4680799 h 5217112"/>
              <a:gd name="connsiteX1928" fmla="*/ 5205190 w 6785952"/>
              <a:gd name="connsiteY1928" fmla="*/ 4678807 h 5217112"/>
              <a:gd name="connsiteX1929" fmla="*/ 5206692 w 6785952"/>
              <a:gd name="connsiteY1929" fmla="*/ 4678585 h 5217112"/>
              <a:gd name="connsiteX1930" fmla="*/ 2441938 w 6785952"/>
              <a:gd name="connsiteY1930" fmla="*/ 4678585 h 5217112"/>
              <a:gd name="connsiteX1931" fmla="*/ 2443442 w 6785952"/>
              <a:gd name="connsiteY1931" fmla="*/ 4680799 h 5217112"/>
              <a:gd name="connsiteX1932" fmla="*/ 2440736 w 6785952"/>
              <a:gd name="connsiteY1932" fmla="*/ 4678807 h 5217112"/>
              <a:gd name="connsiteX1933" fmla="*/ 2441938 w 6785952"/>
              <a:gd name="connsiteY1933" fmla="*/ 4678585 h 5217112"/>
              <a:gd name="connsiteX1934" fmla="*/ 1412933 w 6785952"/>
              <a:gd name="connsiteY1934" fmla="*/ 4678585 h 5217112"/>
              <a:gd name="connsiteX1935" fmla="*/ 1414437 w 6785952"/>
              <a:gd name="connsiteY1935" fmla="*/ 4680799 h 5217112"/>
              <a:gd name="connsiteX1936" fmla="*/ 1411431 w 6785952"/>
              <a:gd name="connsiteY1936" fmla="*/ 4678807 h 5217112"/>
              <a:gd name="connsiteX1937" fmla="*/ 1412933 w 6785952"/>
              <a:gd name="connsiteY1937" fmla="*/ 4678585 h 5217112"/>
              <a:gd name="connsiteX1938" fmla="*/ 6252232 w 6785952"/>
              <a:gd name="connsiteY1938" fmla="*/ 4678253 h 5217112"/>
              <a:gd name="connsiteX1939" fmla="*/ 6256741 w 6785952"/>
              <a:gd name="connsiteY1939" fmla="*/ 4679360 h 5217112"/>
              <a:gd name="connsiteX1940" fmla="*/ 6261551 w 6785952"/>
              <a:gd name="connsiteY1940" fmla="*/ 4688989 h 5217112"/>
              <a:gd name="connsiteX1941" fmla="*/ 6253134 w 6785952"/>
              <a:gd name="connsiteY1941" fmla="*/ 4697510 h 5217112"/>
              <a:gd name="connsiteX1942" fmla="*/ 6245920 w 6785952"/>
              <a:gd name="connsiteY1942" fmla="*/ 4680024 h 5217112"/>
              <a:gd name="connsiteX1943" fmla="*/ 6252232 w 6785952"/>
              <a:gd name="connsiteY1943" fmla="*/ 4678253 h 5217112"/>
              <a:gd name="connsiteX1944" fmla="*/ 4996563 w 6785952"/>
              <a:gd name="connsiteY1944" fmla="*/ 4678253 h 5217112"/>
              <a:gd name="connsiteX1945" fmla="*/ 5001072 w 6785952"/>
              <a:gd name="connsiteY1945" fmla="*/ 4679360 h 5217112"/>
              <a:gd name="connsiteX1946" fmla="*/ 5005882 w 6785952"/>
              <a:gd name="connsiteY1946" fmla="*/ 4688989 h 5217112"/>
              <a:gd name="connsiteX1947" fmla="*/ 4997767 w 6785952"/>
              <a:gd name="connsiteY1947" fmla="*/ 4697510 h 5217112"/>
              <a:gd name="connsiteX1948" fmla="*/ 4990250 w 6785952"/>
              <a:gd name="connsiteY1948" fmla="*/ 4680024 h 5217112"/>
              <a:gd name="connsiteX1949" fmla="*/ 4996563 w 6785952"/>
              <a:gd name="connsiteY1949" fmla="*/ 4678253 h 5217112"/>
              <a:gd name="connsiteX1950" fmla="*/ 2505969 w 6785952"/>
              <a:gd name="connsiteY1950" fmla="*/ 4676593 h 5217112"/>
              <a:gd name="connsiteX1951" fmla="*/ 2514688 w 6785952"/>
              <a:gd name="connsiteY1951" fmla="*/ 4677589 h 5217112"/>
              <a:gd name="connsiteX1952" fmla="*/ 2520700 w 6785952"/>
              <a:gd name="connsiteY1952" fmla="*/ 4686222 h 5217112"/>
              <a:gd name="connsiteX1953" fmla="*/ 2518595 w 6785952"/>
              <a:gd name="connsiteY1953" fmla="*/ 4691755 h 5217112"/>
              <a:gd name="connsiteX1954" fmla="*/ 2513184 w 6785952"/>
              <a:gd name="connsiteY1954" fmla="*/ 4693194 h 5217112"/>
              <a:gd name="connsiteX1955" fmla="*/ 2515589 w 6785952"/>
              <a:gd name="connsiteY1955" fmla="*/ 4694743 h 5217112"/>
              <a:gd name="connsiteX1956" fmla="*/ 2519497 w 6785952"/>
              <a:gd name="connsiteY1956" fmla="*/ 4720862 h 5217112"/>
              <a:gd name="connsiteX1957" fmla="*/ 2502062 w 6785952"/>
              <a:gd name="connsiteY1957" fmla="*/ 4725621 h 5217112"/>
              <a:gd name="connsiteX1958" fmla="*/ 2492141 w 6785952"/>
              <a:gd name="connsiteY1958" fmla="*/ 4720862 h 5217112"/>
              <a:gd name="connsiteX1959" fmla="*/ 2489737 w 6785952"/>
              <a:gd name="connsiteY1959" fmla="*/ 4693415 h 5217112"/>
              <a:gd name="connsiteX1960" fmla="*/ 2493043 w 6785952"/>
              <a:gd name="connsiteY1960" fmla="*/ 4690759 h 5217112"/>
              <a:gd name="connsiteX1961" fmla="*/ 2496350 w 6785952"/>
              <a:gd name="connsiteY1961" fmla="*/ 4685115 h 5217112"/>
              <a:gd name="connsiteX1962" fmla="*/ 2499657 w 6785952"/>
              <a:gd name="connsiteY1962" fmla="*/ 4686886 h 5217112"/>
              <a:gd name="connsiteX1963" fmla="*/ 2498455 w 6785952"/>
              <a:gd name="connsiteY1963" fmla="*/ 4680578 h 5217112"/>
              <a:gd name="connsiteX1964" fmla="*/ 2505969 w 6785952"/>
              <a:gd name="connsiteY1964" fmla="*/ 4676593 h 5217112"/>
              <a:gd name="connsiteX1965" fmla="*/ 5243068 w 6785952"/>
              <a:gd name="connsiteY1965" fmla="*/ 4673827 h 5217112"/>
              <a:gd name="connsiteX1966" fmla="*/ 5235252 w 6785952"/>
              <a:gd name="connsiteY1966" fmla="*/ 4682570 h 5217112"/>
              <a:gd name="connsiteX1967" fmla="*/ 5234951 w 6785952"/>
              <a:gd name="connsiteY1967" fmla="*/ 4687328 h 5217112"/>
              <a:gd name="connsiteX1968" fmla="*/ 5226233 w 6785952"/>
              <a:gd name="connsiteY1968" fmla="*/ 4693194 h 5217112"/>
              <a:gd name="connsiteX1969" fmla="*/ 5224429 w 6785952"/>
              <a:gd name="connsiteY1969" fmla="*/ 4686222 h 5217112"/>
              <a:gd name="connsiteX1970" fmla="*/ 5236154 w 6785952"/>
              <a:gd name="connsiteY1970" fmla="*/ 4679249 h 5217112"/>
              <a:gd name="connsiteX1971" fmla="*/ 5243068 w 6785952"/>
              <a:gd name="connsiteY1971" fmla="*/ 4673827 h 5217112"/>
              <a:gd name="connsiteX1972" fmla="*/ 3987699 w 6785952"/>
              <a:gd name="connsiteY1972" fmla="*/ 4673827 h 5217112"/>
              <a:gd name="connsiteX1973" fmla="*/ 3979584 w 6785952"/>
              <a:gd name="connsiteY1973" fmla="*/ 4682570 h 5217112"/>
              <a:gd name="connsiteX1974" fmla="*/ 3979282 w 6785952"/>
              <a:gd name="connsiteY1974" fmla="*/ 4687328 h 5217112"/>
              <a:gd name="connsiteX1975" fmla="*/ 3970865 w 6785952"/>
              <a:gd name="connsiteY1975" fmla="*/ 4693194 h 5217112"/>
              <a:gd name="connsiteX1976" fmla="*/ 3968762 w 6785952"/>
              <a:gd name="connsiteY1976" fmla="*/ 4686222 h 5217112"/>
              <a:gd name="connsiteX1977" fmla="*/ 3980485 w 6785952"/>
              <a:gd name="connsiteY1977" fmla="*/ 4679249 h 5217112"/>
              <a:gd name="connsiteX1978" fmla="*/ 3987699 w 6785952"/>
              <a:gd name="connsiteY1978" fmla="*/ 4673827 h 5217112"/>
              <a:gd name="connsiteX1979" fmla="*/ 2478614 w 6785952"/>
              <a:gd name="connsiteY1979" fmla="*/ 4673827 h 5217112"/>
              <a:gd name="connsiteX1980" fmla="*/ 2470798 w 6785952"/>
              <a:gd name="connsiteY1980" fmla="*/ 4682570 h 5217112"/>
              <a:gd name="connsiteX1981" fmla="*/ 2470497 w 6785952"/>
              <a:gd name="connsiteY1981" fmla="*/ 4687328 h 5217112"/>
              <a:gd name="connsiteX1982" fmla="*/ 2466288 w 6785952"/>
              <a:gd name="connsiteY1982" fmla="*/ 4690870 h 5217112"/>
              <a:gd name="connsiteX1983" fmla="*/ 2465988 w 6785952"/>
              <a:gd name="connsiteY1983" fmla="*/ 4690870 h 5217112"/>
              <a:gd name="connsiteX1984" fmla="*/ 2459375 w 6785952"/>
              <a:gd name="connsiteY1984" fmla="*/ 4697510 h 5217112"/>
              <a:gd name="connsiteX1985" fmla="*/ 2452160 w 6785952"/>
              <a:gd name="connsiteY1985" fmla="*/ 4680024 h 5217112"/>
              <a:gd name="connsiteX1986" fmla="*/ 2458472 w 6785952"/>
              <a:gd name="connsiteY1986" fmla="*/ 4678253 h 5217112"/>
              <a:gd name="connsiteX1987" fmla="*/ 2462982 w 6785952"/>
              <a:gd name="connsiteY1987" fmla="*/ 4679360 h 5217112"/>
              <a:gd name="connsiteX1988" fmla="*/ 2463883 w 6785952"/>
              <a:gd name="connsiteY1988" fmla="*/ 4681352 h 5217112"/>
              <a:gd name="connsiteX1989" fmla="*/ 2464484 w 6785952"/>
              <a:gd name="connsiteY1989" fmla="*/ 4680799 h 5217112"/>
              <a:gd name="connsiteX1990" fmla="*/ 2471399 w 6785952"/>
              <a:gd name="connsiteY1990" fmla="*/ 4679249 h 5217112"/>
              <a:gd name="connsiteX1991" fmla="*/ 2478614 w 6785952"/>
              <a:gd name="connsiteY1991" fmla="*/ 4673827 h 5217112"/>
              <a:gd name="connsiteX1992" fmla="*/ 1449309 w 6785952"/>
              <a:gd name="connsiteY1992" fmla="*/ 4673827 h 5217112"/>
              <a:gd name="connsiteX1993" fmla="*/ 1441793 w 6785952"/>
              <a:gd name="connsiteY1993" fmla="*/ 4682570 h 5217112"/>
              <a:gd name="connsiteX1994" fmla="*/ 1441192 w 6785952"/>
              <a:gd name="connsiteY1994" fmla="*/ 4687328 h 5217112"/>
              <a:gd name="connsiteX1995" fmla="*/ 1432775 w 6785952"/>
              <a:gd name="connsiteY1995" fmla="*/ 4693194 h 5217112"/>
              <a:gd name="connsiteX1996" fmla="*/ 1430670 w 6785952"/>
              <a:gd name="connsiteY1996" fmla="*/ 4686222 h 5217112"/>
              <a:gd name="connsiteX1997" fmla="*/ 1442394 w 6785952"/>
              <a:gd name="connsiteY1997" fmla="*/ 4679249 h 5217112"/>
              <a:gd name="connsiteX1998" fmla="*/ 1449309 w 6785952"/>
              <a:gd name="connsiteY1998" fmla="*/ 4673827 h 5217112"/>
              <a:gd name="connsiteX1999" fmla="*/ 6138900 w 6785952"/>
              <a:gd name="connsiteY1999" fmla="*/ 4670396 h 5217112"/>
              <a:gd name="connsiteX2000" fmla="*/ 6149721 w 6785952"/>
              <a:gd name="connsiteY2000" fmla="*/ 4679803 h 5217112"/>
              <a:gd name="connsiteX2001" fmla="*/ 6138900 w 6785952"/>
              <a:gd name="connsiteY2001" fmla="*/ 4670396 h 5217112"/>
              <a:gd name="connsiteX2002" fmla="*/ 2345140 w 6785952"/>
              <a:gd name="connsiteY2002" fmla="*/ 4670396 h 5217112"/>
              <a:gd name="connsiteX2003" fmla="*/ 2355962 w 6785952"/>
              <a:gd name="connsiteY2003" fmla="*/ 4679803 h 5217112"/>
              <a:gd name="connsiteX2004" fmla="*/ 2345140 w 6785952"/>
              <a:gd name="connsiteY2004" fmla="*/ 4670396 h 5217112"/>
              <a:gd name="connsiteX2005" fmla="*/ 5572541 w 6785952"/>
              <a:gd name="connsiteY2005" fmla="*/ 4665858 h 5217112"/>
              <a:gd name="connsiteX2006" fmla="*/ 5580959 w 6785952"/>
              <a:gd name="connsiteY2006" fmla="*/ 4675487 h 5217112"/>
              <a:gd name="connsiteX2007" fmla="*/ 5584266 w 6785952"/>
              <a:gd name="connsiteY2007" fmla="*/ 4687107 h 5217112"/>
              <a:gd name="connsiteX2008" fmla="*/ 5559916 w 6785952"/>
              <a:gd name="connsiteY2008" fmla="*/ 4675819 h 5217112"/>
              <a:gd name="connsiteX2009" fmla="*/ 5572541 w 6785952"/>
              <a:gd name="connsiteY2009" fmla="*/ 4665858 h 5217112"/>
              <a:gd name="connsiteX2010" fmla="*/ 4317174 w 6785952"/>
              <a:gd name="connsiteY2010" fmla="*/ 4665858 h 5217112"/>
              <a:gd name="connsiteX2011" fmla="*/ 4325591 w 6785952"/>
              <a:gd name="connsiteY2011" fmla="*/ 4675487 h 5217112"/>
              <a:gd name="connsiteX2012" fmla="*/ 4328897 w 6785952"/>
              <a:gd name="connsiteY2012" fmla="*/ 4687107 h 5217112"/>
              <a:gd name="connsiteX2013" fmla="*/ 4304248 w 6785952"/>
              <a:gd name="connsiteY2013" fmla="*/ 4675819 h 5217112"/>
              <a:gd name="connsiteX2014" fmla="*/ 4317174 w 6785952"/>
              <a:gd name="connsiteY2014" fmla="*/ 4665858 h 5217112"/>
              <a:gd name="connsiteX2015" fmla="*/ 3630870 w 6785952"/>
              <a:gd name="connsiteY2015" fmla="*/ 4665858 h 5217112"/>
              <a:gd name="connsiteX2016" fmla="*/ 3617943 w 6785952"/>
              <a:gd name="connsiteY2016" fmla="*/ 4666412 h 5217112"/>
              <a:gd name="connsiteX2017" fmla="*/ 3614336 w 6785952"/>
              <a:gd name="connsiteY2017" fmla="*/ 4667076 h 5217112"/>
              <a:gd name="connsiteX2018" fmla="*/ 3614637 w 6785952"/>
              <a:gd name="connsiteY2018" fmla="*/ 4667186 h 5217112"/>
              <a:gd name="connsiteX2019" fmla="*/ 3611030 w 6785952"/>
              <a:gd name="connsiteY2019" fmla="*/ 4685115 h 5217112"/>
              <a:gd name="connsiteX2020" fmla="*/ 3604115 w 6785952"/>
              <a:gd name="connsiteY2020" fmla="*/ 4686664 h 5217112"/>
              <a:gd name="connsiteX2021" fmla="*/ 3592091 w 6785952"/>
              <a:gd name="connsiteY2021" fmla="*/ 4682348 h 5217112"/>
              <a:gd name="connsiteX2022" fmla="*/ 3590888 w 6785952"/>
              <a:gd name="connsiteY2022" fmla="*/ 4678364 h 5217112"/>
              <a:gd name="connsiteX2023" fmla="*/ 3590888 w 6785952"/>
              <a:gd name="connsiteY2023" fmla="*/ 4678475 h 5217112"/>
              <a:gd name="connsiteX2024" fmla="*/ 3568944 w 6785952"/>
              <a:gd name="connsiteY2024" fmla="*/ 4686775 h 5217112"/>
              <a:gd name="connsiteX2025" fmla="*/ 3545195 w 6785952"/>
              <a:gd name="connsiteY2025" fmla="*/ 4685226 h 5217112"/>
              <a:gd name="connsiteX2026" fmla="*/ 3538582 w 6785952"/>
              <a:gd name="connsiteY2026" fmla="*/ 4682791 h 5217112"/>
              <a:gd name="connsiteX2027" fmla="*/ 3542189 w 6785952"/>
              <a:gd name="connsiteY2027" fmla="*/ 4691313 h 5217112"/>
              <a:gd name="connsiteX2028" fmla="*/ 3522649 w 6785952"/>
              <a:gd name="connsiteY2028" fmla="*/ 4712340 h 5217112"/>
              <a:gd name="connsiteX2029" fmla="*/ 3516336 w 6785952"/>
              <a:gd name="connsiteY2029" fmla="*/ 4719755 h 5217112"/>
              <a:gd name="connsiteX2030" fmla="*/ 3531367 w 6785952"/>
              <a:gd name="connsiteY2030" fmla="*/ 4720641 h 5217112"/>
              <a:gd name="connsiteX2031" fmla="*/ 3553913 w 6785952"/>
              <a:gd name="connsiteY2031" fmla="*/ 4716878 h 5217112"/>
              <a:gd name="connsiteX2032" fmla="*/ 3613133 w 6785952"/>
              <a:gd name="connsiteY2032" fmla="*/ 4717542 h 5217112"/>
              <a:gd name="connsiteX2033" fmla="*/ 3646502 w 6785952"/>
              <a:gd name="connsiteY2033" fmla="*/ 4709463 h 5217112"/>
              <a:gd name="connsiteX2034" fmla="*/ 3680472 w 6785952"/>
              <a:gd name="connsiteY2034" fmla="*/ 4699724 h 5217112"/>
              <a:gd name="connsiteX2035" fmla="*/ 3681073 w 6785952"/>
              <a:gd name="connsiteY2035" fmla="*/ 4699170 h 5217112"/>
              <a:gd name="connsiteX2036" fmla="*/ 3680472 w 6785952"/>
              <a:gd name="connsiteY2036" fmla="*/ 4697621 h 5217112"/>
              <a:gd name="connsiteX2037" fmla="*/ 3679871 w 6785952"/>
              <a:gd name="connsiteY2037" fmla="*/ 4687660 h 5217112"/>
              <a:gd name="connsiteX2038" fmla="*/ 3676263 w 6785952"/>
              <a:gd name="connsiteY2038" fmla="*/ 4691977 h 5217112"/>
              <a:gd name="connsiteX2039" fmla="*/ 3657625 w 6785952"/>
              <a:gd name="connsiteY2039" fmla="*/ 4684562 h 5217112"/>
              <a:gd name="connsiteX2040" fmla="*/ 3646201 w 6785952"/>
              <a:gd name="connsiteY2040" fmla="*/ 4688657 h 5217112"/>
              <a:gd name="connsiteX2041" fmla="*/ 3671152 w 6785952"/>
              <a:gd name="connsiteY2041" fmla="*/ 4700166 h 5217112"/>
              <a:gd name="connsiteX2042" fmla="*/ 3638686 w 6785952"/>
              <a:gd name="connsiteY2042" fmla="*/ 4699060 h 5217112"/>
              <a:gd name="connsiteX2043" fmla="*/ 3621250 w 6785952"/>
              <a:gd name="connsiteY2043" fmla="*/ 4686775 h 5217112"/>
              <a:gd name="connsiteX2044" fmla="*/ 3643797 w 6785952"/>
              <a:gd name="connsiteY2044" fmla="*/ 4673605 h 5217112"/>
              <a:gd name="connsiteX2045" fmla="*/ 3630870 w 6785952"/>
              <a:gd name="connsiteY2045" fmla="*/ 4665858 h 5217112"/>
              <a:gd name="connsiteX2046" fmla="*/ 2808087 w 6785952"/>
              <a:gd name="connsiteY2046" fmla="*/ 4665858 h 5217112"/>
              <a:gd name="connsiteX2047" fmla="*/ 2816504 w 6785952"/>
              <a:gd name="connsiteY2047" fmla="*/ 4675487 h 5217112"/>
              <a:gd name="connsiteX2048" fmla="*/ 2819812 w 6785952"/>
              <a:gd name="connsiteY2048" fmla="*/ 4687107 h 5217112"/>
              <a:gd name="connsiteX2049" fmla="*/ 2795462 w 6785952"/>
              <a:gd name="connsiteY2049" fmla="*/ 4675819 h 5217112"/>
              <a:gd name="connsiteX2050" fmla="*/ 2808087 w 6785952"/>
              <a:gd name="connsiteY2050" fmla="*/ 4665858 h 5217112"/>
              <a:gd name="connsiteX2051" fmla="*/ 1778782 w 6785952"/>
              <a:gd name="connsiteY2051" fmla="*/ 4665858 h 5217112"/>
              <a:gd name="connsiteX2052" fmla="*/ 1787199 w 6785952"/>
              <a:gd name="connsiteY2052" fmla="*/ 4675487 h 5217112"/>
              <a:gd name="connsiteX2053" fmla="*/ 1790807 w 6785952"/>
              <a:gd name="connsiteY2053" fmla="*/ 4687107 h 5217112"/>
              <a:gd name="connsiteX2054" fmla="*/ 1766156 w 6785952"/>
              <a:gd name="connsiteY2054" fmla="*/ 4675819 h 5217112"/>
              <a:gd name="connsiteX2055" fmla="*/ 1778782 w 6785952"/>
              <a:gd name="connsiteY2055" fmla="*/ 4665858 h 5217112"/>
              <a:gd name="connsiteX2056" fmla="*/ 5011894 w 6785952"/>
              <a:gd name="connsiteY2056" fmla="*/ 4663313 h 5217112"/>
              <a:gd name="connsiteX2057" fmla="*/ 5018809 w 6785952"/>
              <a:gd name="connsiteY2057" fmla="*/ 4665305 h 5217112"/>
              <a:gd name="connsiteX2058" fmla="*/ 5023317 w 6785952"/>
              <a:gd name="connsiteY2058" fmla="*/ 4678032 h 5217112"/>
              <a:gd name="connsiteX2059" fmla="*/ 5020012 w 6785952"/>
              <a:gd name="connsiteY2059" fmla="*/ 4679249 h 5217112"/>
              <a:gd name="connsiteX2060" fmla="*/ 5016103 w 6785952"/>
              <a:gd name="connsiteY2060" fmla="*/ 4679803 h 5217112"/>
              <a:gd name="connsiteX2061" fmla="*/ 5007386 w 6785952"/>
              <a:gd name="connsiteY2061" fmla="*/ 4676261 h 5217112"/>
              <a:gd name="connsiteX2062" fmla="*/ 5004380 w 6785952"/>
              <a:gd name="connsiteY2062" fmla="*/ 4669842 h 5217112"/>
              <a:gd name="connsiteX2063" fmla="*/ 5004680 w 6785952"/>
              <a:gd name="connsiteY2063" fmla="*/ 4666854 h 5217112"/>
              <a:gd name="connsiteX2064" fmla="*/ 5011894 w 6785952"/>
              <a:gd name="connsiteY2064" fmla="*/ 4663313 h 5217112"/>
              <a:gd name="connsiteX2065" fmla="*/ 2247140 w 6785952"/>
              <a:gd name="connsiteY2065" fmla="*/ 4663313 h 5217112"/>
              <a:gd name="connsiteX2066" fmla="*/ 2254355 w 6785952"/>
              <a:gd name="connsiteY2066" fmla="*/ 4665305 h 5217112"/>
              <a:gd name="connsiteX2067" fmla="*/ 2258563 w 6785952"/>
              <a:gd name="connsiteY2067" fmla="*/ 4678032 h 5217112"/>
              <a:gd name="connsiteX2068" fmla="*/ 2255557 w 6785952"/>
              <a:gd name="connsiteY2068" fmla="*/ 4679249 h 5217112"/>
              <a:gd name="connsiteX2069" fmla="*/ 2251649 w 6785952"/>
              <a:gd name="connsiteY2069" fmla="*/ 4679803 h 5217112"/>
              <a:gd name="connsiteX2070" fmla="*/ 2242932 w 6785952"/>
              <a:gd name="connsiteY2070" fmla="*/ 4676261 h 5217112"/>
              <a:gd name="connsiteX2071" fmla="*/ 2239926 w 6785952"/>
              <a:gd name="connsiteY2071" fmla="*/ 4669842 h 5217112"/>
              <a:gd name="connsiteX2072" fmla="*/ 2239926 w 6785952"/>
              <a:gd name="connsiteY2072" fmla="*/ 4666854 h 5217112"/>
              <a:gd name="connsiteX2073" fmla="*/ 2247140 w 6785952"/>
              <a:gd name="connsiteY2073" fmla="*/ 4663313 h 5217112"/>
              <a:gd name="connsiteX2074" fmla="*/ 1218135 w 6785952"/>
              <a:gd name="connsiteY2074" fmla="*/ 4663313 h 5217112"/>
              <a:gd name="connsiteX2075" fmla="*/ 1225050 w 6785952"/>
              <a:gd name="connsiteY2075" fmla="*/ 4665305 h 5217112"/>
              <a:gd name="connsiteX2076" fmla="*/ 1229558 w 6785952"/>
              <a:gd name="connsiteY2076" fmla="*/ 4678032 h 5217112"/>
              <a:gd name="connsiteX2077" fmla="*/ 1226252 w 6785952"/>
              <a:gd name="connsiteY2077" fmla="*/ 4679249 h 5217112"/>
              <a:gd name="connsiteX2078" fmla="*/ 1222344 w 6785952"/>
              <a:gd name="connsiteY2078" fmla="*/ 4679803 h 5217112"/>
              <a:gd name="connsiteX2079" fmla="*/ 1213626 w 6785952"/>
              <a:gd name="connsiteY2079" fmla="*/ 4676261 h 5217112"/>
              <a:gd name="connsiteX2080" fmla="*/ 1210921 w 6785952"/>
              <a:gd name="connsiteY2080" fmla="*/ 4669842 h 5217112"/>
              <a:gd name="connsiteX2081" fmla="*/ 1210921 w 6785952"/>
              <a:gd name="connsiteY2081" fmla="*/ 4666854 h 5217112"/>
              <a:gd name="connsiteX2082" fmla="*/ 1218135 w 6785952"/>
              <a:gd name="connsiteY2082" fmla="*/ 4663313 h 5217112"/>
              <a:gd name="connsiteX2083" fmla="*/ 2093526 w 6785952"/>
              <a:gd name="connsiteY2083" fmla="*/ 4660657 h 5217112"/>
              <a:gd name="connsiteX2084" fmla="*/ 2105550 w 6785952"/>
              <a:gd name="connsiteY2084" fmla="*/ 4667186 h 5217112"/>
              <a:gd name="connsiteX2085" fmla="*/ 2101943 w 6785952"/>
              <a:gd name="connsiteY2085" fmla="*/ 4685115 h 5217112"/>
              <a:gd name="connsiteX2086" fmla="*/ 2095029 w 6785952"/>
              <a:gd name="connsiteY2086" fmla="*/ 4686664 h 5217112"/>
              <a:gd name="connsiteX2087" fmla="*/ 2083004 w 6785952"/>
              <a:gd name="connsiteY2087" fmla="*/ 4682348 h 5217112"/>
              <a:gd name="connsiteX2088" fmla="*/ 2093526 w 6785952"/>
              <a:gd name="connsiteY2088" fmla="*/ 4660657 h 5217112"/>
              <a:gd name="connsiteX2089" fmla="*/ 1064221 w 6785952"/>
              <a:gd name="connsiteY2089" fmla="*/ 4660657 h 5217112"/>
              <a:gd name="connsiteX2090" fmla="*/ 1076546 w 6785952"/>
              <a:gd name="connsiteY2090" fmla="*/ 4667186 h 5217112"/>
              <a:gd name="connsiteX2091" fmla="*/ 1072938 w 6785952"/>
              <a:gd name="connsiteY2091" fmla="*/ 4685115 h 5217112"/>
              <a:gd name="connsiteX2092" fmla="*/ 1066024 w 6785952"/>
              <a:gd name="connsiteY2092" fmla="*/ 4686664 h 5217112"/>
              <a:gd name="connsiteX2093" fmla="*/ 1054000 w 6785952"/>
              <a:gd name="connsiteY2093" fmla="*/ 4682348 h 5217112"/>
              <a:gd name="connsiteX2094" fmla="*/ 1064221 w 6785952"/>
              <a:gd name="connsiteY2094" fmla="*/ 4660657 h 5217112"/>
              <a:gd name="connsiteX2095" fmla="*/ 5025423 w 6785952"/>
              <a:gd name="connsiteY2095" fmla="*/ 4660435 h 5217112"/>
              <a:gd name="connsiteX2096" fmla="*/ 5026926 w 6785952"/>
              <a:gd name="connsiteY2096" fmla="*/ 4666412 h 5217112"/>
              <a:gd name="connsiteX2097" fmla="*/ 5024220 w 6785952"/>
              <a:gd name="connsiteY2097" fmla="*/ 4667076 h 5217112"/>
              <a:gd name="connsiteX2098" fmla="*/ 5020613 w 6785952"/>
              <a:gd name="connsiteY2098" fmla="*/ 4664198 h 5217112"/>
              <a:gd name="connsiteX2099" fmla="*/ 2260968 w 6785952"/>
              <a:gd name="connsiteY2099" fmla="*/ 4660435 h 5217112"/>
              <a:gd name="connsiteX2100" fmla="*/ 2262472 w 6785952"/>
              <a:gd name="connsiteY2100" fmla="*/ 4666412 h 5217112"/>
              <a:gd name="connsiteX2101" fmla="*/ 2259766 w 6785952"/>
              <a:gd name="connsiteY2101" fmla="*/ 4667076 h 5217112"/>
              <a:gd name="connsiteX2102" fmla="*/ 2255857 w 6785952"/>
              <a:gd name="connsiteY2102" fmla="*/ 4664198 h 5217112"/>
              <a:gd name="connsiteX2103" fmla="*/ 1231663 w 6785952"/>
              <a:gd name="connsiteY2103" fmla="*/ 4660435 h 5217112"/>
              <a:gd name="connsiteX2104" fmla="*/ 1233166 w 6785952"/>
              <a:gd name="connsiteY2104" fmla="*/ 4666412 h 5217112"/>
              <a:gd name="connsiteX2105" fmla="*/ 1230461 w 6785952"/>
              <a:gd name="connsiteY2105" fmla="*/ 4667076 h 5217112"/>
              <a:gd name="connsiteX2106" fmla="*/ 1226853 w 6785952"/>
              <a:gd name="connsiteY2106" fmla="*/ 4664198 h 5217112"/>
              <a:gd name="connsiteX2107" fmla="*/ 2557675 w 6785952"/>
              <a:gd name="connsiteY2107" fmla="*/ 4657115 h 5217112"/>
              <a:gd name="connsiteX2108" fmla="*/ 2578418 w 6785952"/>
              <a:gd name="connsiteY2108" fmla="*/ 4675155 h 5217112"/>
              <a:gd name="connsiteX2109" fmla="*/ 2541742 w 6785952"/>
              <a:gd name="connsiteY2109" fmla="*/ 4713890 h 5217112"/>
              <a:gd name="connsiteX2110" fmla="*/ 2557675 w 6785952"/>
              <a:gd name="connsiteY2110" fmla="*/ 4657115 h 5217112"/>
              <a:gd name="connsiteX2111" fmla="*/ 2277502 w 6785952"/>
              <a:gd name="connsiteY2111" fmla="*/ 4655676 h 5217112"/>
              <a:gd name="connsiteX2112" fmla="*/ 2278705 w 6785952"/>
              <a:gd name="connsiteY2112" fmla="*/ 4656119 h 5217112"/>
              <a:gd name="connsiteX2113" fmla="*/ 2281711 w 6785952"/>
              <a:gd name="connsiteY2113" fmla="*/ 4659329 h 5217112"/>
              <a:gd name="connsiteX2114" fmla="*/ 2281411 w 6785952"/>
              <a:gd name="connsiteY2114" fmla="*/ 4668293 h 5217112"/>
              <a:gd name="connsiteX2115" fmla="*/ 2278103 w 6785952"/>
              <a:gd name="connsiteY2115" fmla="*/ 4669400 h 5217112"/>
              <a:gd name="connsiteX2116" fmla="*/ 2275397 w 6785952"/>
              <a:gd name="connsiteY2116" fmla="*/ 4657226 h 5217112"/>
              <a:gd name="connsiteX2117" fmla="*/ 2277502 w 6785952"/>
              <a:gd name="connsiteY2117" fmla="*/ 4655676 h 5217112"/>
              <a:gd name="connsiteX2118" fmla="*/ 1248497 w 6785952"/>
              <a:gd name="connsiteY2118" fmla="*/ 4655676 h 5217112"/>
              <a:gd name="connsiteX2119" fmla="*/ 1249400 w 6785952"/>
              <a:gd name="connsiteY2119" fmla="*/ 4656119 h 5217112"/>
              <a:gd name="connsiteX2120" fmla="*/ 1252706 w 6785952"/>
              <a:gd name="connsiteY2120" fmla="*/ 4659329 h 5217112"/>
              <a:gd name="connsiteX2121" fmla="*/ 1252406 w 6785952"/>
              <a:gd name="connsiteY2121" fmla="*/ 4668293 h 5217112"/>
              <a:gd name="connsiteX2122" fmla="*/ 1249098 w 6785952"/>
              <a:gd name="connsiteY2122" fmla="*/ 4669400 h 5217112"/>
              <a:gd name="connsiteX2123" fmla="*/ 1246393 w 6785952"/>
              <a:gd name="connsiteY2123" fmla="*/ 4657226 h 5217112"/>
              <a:gd name="connsiteX2124" fmla="*/ 1248497 w 6785952"/>
              <a:gd name="connsiteY2124" fmla="*/ 4655676 h 5217112"/>
              <a:gd name="connsiteX2125" fmla="*/ 5757721 w 6785952"/>
              <a:gd name="connsiteY2125" fmla="*/ 4654459 h 5217112"/>
              <a:gd name="connsiteX2126" fmla="*/ 5772751 w 6785952"/>
              <a:gd name="connsiteY2126" fmla="*/ 4667408 h 5217112"/>
              <a:gd name="connsiteX2127" fmla="*/ 5750806 w 6785952"/>
              <a:gd name="connsiteY2127" fmla="*/ 4673716 h 5217112"/>
              <a:gd name="connsiteX2128" fmla="*/ 5757721 w 6785952"/>
              <a:gd name="connsiteY2128" fmla="*/ 4654459 h 5217112"/>
              <a:gd name="connsiteX2129" fmla="*/ 4502052 w 6785952"/>
              <a:gd name="connsiteY2129" fmla="*/ 4654459 h 5217112"/>
              <a:gd name="connsiteX2130" fmla="*/ 4517083 w 6785952"/>
              <a:gd name="connsiteY2130" fmla="*/ 4667408 h 5217112"/>
              <a:gd name="connsiteX2131" fmla="*/ 4495138 w 6785952"/>
              <a:gd name="connsiteY2131" fmla="*/ 4673716 h 5217112"/>
              <a:gd name="connsiteX2132" fmla="*/ 4502052 w 6785952"/>
              <a:gd name="connsiteY2132" fmla="*/ 4654459 h 5217112"/>
              <a:gd name="connsiteX2133" fmla="*/ 2992965 w 6785952"/>
              <a:gd name="connsiteY2133" fmla="*/ 4654459 h 5217112"/>
              <a:gd name="connsiteX2134" fmla="*/ 3007996 w 6785952"/>
              <a:gd name="connsiteY2134" fmla="*/ 4667408 h 5217112"/>
              <a:gd name="connsiteX2135" fmla="*/ 2986051 w 6785952"/>
              <a:gd name="connsiteY2135" fmla="*/ 4673716 h 5217112"/>
              <a:gd name="connsiteX2136" fmla="*/ 2992965 w 6785952"/>
              <a:gd name="connsiteY2136" fmla="*/ 4654459 h 5217112"/>
              <a:gd name="connsiteX2137" fmla="*/ 1963961 w 6785952"/>
              <a:gd name="connsiteY2137" fmla="*/ 4654459 h 5217112"/>
              <a:gd name="connsiteX2138" fmla="*/ 1978992 w 6785952"/>
              <a:gd name="connsiteY2138" fmla="*/ 4667408 h 5217112"/>
              <a:gd name="connsiteX2139" fmla="*/ 1957047 w 6785952"/>
              <a:gd name="connsiteY2139" fmla="*/ 4673716 h 5217112"/>
              <a:gd name="connsiteX2140" fmla="*/ 1963961 w 6785952"/>
              <a:gd name="connsiteY2140" fmla="*/ 4654459 h 5217112"/>
              <a:gd name="connsiteX2141" fmla="*/ 5471835 w 6785952"/>
              <a:gd name="connsiteY2141" fmla="*/ 4647819 h 5217112"/>
              <a:gd name="connsiteX2142" fmla="*/ 5483258 w 6785952"/>
              <a:gd name="connsiteY2142" fmla="*/ 4651250 h 5217112"/>
              <a:gd name="connsiteX2143" fmla="*/ 5484762 w 6785952"/>
              <a:gd name="connsiteY2143" fmla="*/ 4656008 h 5217112"/>
              <a:gd name="connsiteX2144" fmla="*/ 5474842 w 6785952"/>
              <a:gd name="connsiteY2144" fmla="*/ 4660435 h 5217112"/>
              <a:gd name="connsiteX2145" fmla="*/ 5470633 w 6785952"/>
              <a:gd name="connsiteY2145" fmla="*/ 4657337 h 5217112"/>
              <a:gd name="connsiteX2146" fmla="*/ 5469131 w 6785952"/>
              <a:gd name="connsiteY2146" fmla="*/ 4649700 h 5217112"/>
              <a:gd name="connsiteX2147" fmla="*/ 5471835 w 6785952"/>
              <a:gd name="connsiteY2147" fmla="*/ 4647819 h 5217112"/>
              <a:gd name="connsiteX2148" fmla="*/ 4216468 w 6785952"/>
              <a:gd name="connsiteY2148" fmla="*/ 4647819 h 5217112"/>
              <a:gd name="connsiteX2149" fmla="*/ 4227891 w 6785952"/>
              <a:gd name="connsiteY2149" fmla="*/ 4651250 h 5217112"/>
              <a:gd name="connsiteX2150" fmla="*/ 4229394 w 6785952"/>
              <a:gd name="connsiteY2150" fmla="*/ 4656008 h 5217112"/>
              <a:gd name="connsiteX2151" fmla="*/ 4219474 w 6785952"/>
              <a:gd name="connsiteY2151" fmla="*/ 4660435 h 5217112"/>
              <a:gd name="connsiteX2152" fmla="*/ 4214965 w 6785952"/>
              <a:gd name="connsiteY2152" fmla="*/ 4657337 h 5217112"/>
              <a:gd name="connsiteX2153" fmla="*/ 4213763 w 6785952"/>
              <a:gd name="connsiteY2153" fmla="*/ 4649700 h 5217112"/>
              <a:gd name="connsiteX2154" fmla="*/ 4216468 w 6785952"/>
              <a:gd name="connsiteY2154" fmla="*/ 4647819 h 5217112"/>
              <a:gd name="connsiteX2155" fmla="*/ 2707381 w 6785952"/>
              <a:gd name="connsiteY2155" fmla="*/ 4647819 h 5217112"/>
              <a:gd name="connsiteX2156" fmla="*/ 2718805 w 6785952"/>
              <a:gd name="connsiteY2156" fmla="*/ 4651250 h 5217112"/>
              <a:gd name="connsiteX2157" fmla="*/ 2720308 w 6785952"/>
              <a:gd name="connsiteY2157" fmla="*/ 4656008 h 5217112"/>
              <a:gd name="connsiteX2158" fmla="*/ 2710387 w 6785952"/>
              <a:gd name="connsiteY2158" fmla="*/ 4660435 h 5217112"/>
              <a:gd name="connsiteX2159" fmla="*/ 2706179 w 6785952"/>
              <a:gd name="connsiteY2159" fmla="*/ 4657337 h 5217112"/>
              <a:gd name="connsiteX2160" fmla="*/ 2704676 w 6785952"/>
              <a:gd name="connsiteY2160" fmla="*/ 4649700 h 5217112"/>
              <a:gd name="connsiteX2161" fmla="*/ 2707381 w 6785952"/>
              <a:gd name="connsiteY2161" fmla="*/ 4647819 h 5217112"/>
              <a:gd name="connsiteX2162" fmla="*/ 1678377 w 6785952"/>
              <a:gd name="connsiteY2162" fmla="*/ 4647819 h 5217112"/>
              <a:gd name="connsiteX2163" fmla="*/ 1689800 w 6785952"/>
              <a:gd name="connsiteY2163" fmla="*/ 4651250 h 5217112"/>
              <a:gd name="connsiteX2164" fmla="*/ 1691303 w 6785952"/>
              <a:gd name="connsiteY2164" fmla="*/ 4656008 h 5217112"/>
              <a:gd name="connsiteX2165" fmla="*/ 1681383 w 6785952"/>
              <a:gd name="connsiteY2165" fmla="*/ 4660435 h 5217112"/>
              <a:gd name="connsiteX2166" fmla="*/ 1676874 w 6785952"/>
              <a:gd name="connsiteY2166" fmla="*/ 4657337 h 5217112"/>
              <a:gd name="connsiteX2167" fmla="*/ 1675671 w 6785952"/>
              <a:gd name="connsiteY2167" fmla="*/ 4649700 h 5217112"/>
              <a:gd name="connsiteX2168" fmla="*/ 1678377 w 6785952"/>
              <a:gd name="connsiteY2168" fmla="*/ 4647819 h 5217112"/>
              <a:gd name="connsiteX2169" fmla="*/ 2199643 w 6785952"/>
              <a:gd name="connsiteY2169" fmla="*/ 4645052 h 5217112"/>
              <a:gd name="connsiteX2170" fmla="*/ 2204453 w 6785952"/>
              <a:gd name="connsiteY2170" fmla="*/ 4646380 h 5217112"/>
              <a:gd name="connsiteX2171" fmla="*/ 2190925 w 6785952"/>
              <a:gd name="connsiteY2171" fmla="*/ 4667297 h 5217112"/>
              <a:gd name="connsiteX2172" fmla="*/ 2183410 w 6785952"/>
              <a:gd name="connsiteY2172" fmla="*/ 4655566 h 5217112"/>
              <a:gd name="connsiteX2173" fmla="*/ 2199643 w 6785952"/>
              <a:gd name="connsiteY2173" fmla="*/ 4645052 h 5217112"/>
              <a:gd name="connsiteX2174" fmla="*/ 1170338 w 6785952"/>
              <a:gd name="connsiteY2174" fmla="*/ 4645052 h 5217112"/>
              <a:gd name="connsiteX2175" fmla="*/ 1175448 w 6785952"/>
              <a:gd name="connsiteY2175" fmla="*/ 4646380 h 5217112"/>
              <a:gd name="connsiteX2176" fmla="*/ 1161920 w 6785952"/>
              <a:gd name="connsiteY2176" fmla="*/ 4667297 h 5217112"/>
              <a:gd name="connsiteX2177" fmla="*/ 1154405 w 6785952"/>
              <a:gd name="connsiteY2177" fmla="*/ 4655566 h 5217112"/>
              <a:gd name="connsiteX2178" fmla="*/ 1170338 w 6785952"/>
              <a:gd name="connsiteY2178" fmla="*/ 4645052 h 5217112"/>
              <a:gd name="connsiteX2179" fmla="*/ 5967850 w 6785952"/>
              <a:gd name="connsiteY2179" fmla="*/ 4639297 h 5217112"/>
              <a:gd name="connsiteX2180" fmla="*/ 5969053 w 6785952"/>
              <a:gd name="connsiteY2180" fmla="*/ 4650032 h 5217112"/>
              <a:gd name="connsiteX2181" fmla="*/ 5967249 w 6785952"/>
              <a:gd name="connsiteY2181" fmla="*/ 4674048 h 5217112"/>
              <a:gd name="connsiteX2182" fmla="*/ 5963642 w 6785952"/>
              <a:gd name="connsiteY2182" fmla="*/ 4676483 h 5217112"/>
              <a:gd name="connsiteX2183" fmla="*/ 5963642 w 6785952"/>
              <a:gd name="connsiteY2183" fmla="*/ 4677921 h 5217112"/>
              <a:gd name="connsiteX2184" fmla="*/ 5960334 w 6785952"/>
              <a:gd name="connsiteY2184" fmla="*/ 4679028 h 5217112"/>
              <a:gd name="connsiteX2185" fmla="*/ 5959433 w 6785952"/>
              <a:gd name="connsiteY2185" fmla="*/ 4669732 h 5217112"/>
              <a:gd name="connsiteX2186" fmla="*/ 5959733 w 6785952"/>
              <a:gd name="connsiteY2186" fmla="*/ 4662317 h 5217112"/>
              <a:gd name="connsiteX2187" fmla="*/ 5967850 w 6785952"/>
              <a:gd name="connsiteY2187" fmla="*/ 4639297 h 5217112"/>
              <a:gd name="connsiteX2188" fmla="*/ 3203396 w 6785952"/>
              <a:gd name="connsiteY2188" fmla="*/ 4639297 h 5217112"/>
              <a:gd name="connsiteX2189" fmla="*/ 3204598 w 6785952"/>
              <a:gd name="connsiteY2189" fmla="*/ 4650032 h 5217112"/>
              <a:gd name="connsiteX2190" fmla="*/ 3202493 w 6785952"/>
              <a:gd name="connsiteY2190" fmla="*/ 4674048 h 5217112"/>
              <a:gd name="connsiteX2191" fmla="*/ 3199187 w 6785952"/>
              <a:gd name="connsiteY2191" fmla="*/ 4676483 h 5217112"/>
              <a:gd name="connsiteX2192" fmla="*/ 3199187 w 6785952"/>
              <a:gd name="connsiteY2192" fmla="*/ 4677921 h 5217112"/>
              <a:gd name="connsiteX2193" fmla="*/ 3195580 w 6785952"/>
              <a:gd name="connsiteY2193" fmla="*/ 4679028 h 5217112"/>
              <a:gd name="connsiteX2194" fmla="*/ 3194678 w 6785952"/>
              <a:gd name="connsiteY2194" fmla="*/ 4669732 h 5217112"/>
              <a:gd name="connsiteX2195" fmla="*/ 3195279 w 6785952"/>
              <a:gd name="connsiteY2195" fmla="*/ 4662317 h 5217112"/>
              <a:gd name="connsiteX2196" fmla="*/ 3203396 w 6785952"/>
              <a:gd name="connsiteY2196" fmla="*/ 4639297 h 5217112"/>
              <a:gd name="connsiteX2197" fmla="*/ 2174391 w 6785952"/>
              <a:gd name="connsiteY2197" fmla="*/ 4639297 h 5217112"/>
              <a:gd name="connsiteX2198" fmla="*/ 2175593 w 6785952"/>
              <a:gd name="connsiteY2198" fmla="*/ 4650032 h 5217112"/>
              <a:gd name="connsiteX2199" fmla="*/ 2173490 w 6785952"/>
              <a:gd name="connsiteY2199" fmla="*/ 4674048 h 5217112"/>
              <a:gd name="connsiteX2200" fmla="*/ 2170182 w 6785952"/>
              <a:gd name="connsiteY2200" fmla="*/ 4676483 h 5217112"/>
              <a:gd name="connsiteX2201" fmla="*/ 2169882 w 6785952"/>
              <a:gd name="connsiteY2201" fmla="*/ 4677921 h 5217112"/>
              <a:gd name="connsiteX2202" fmla="*/ 2166575 w 6785952"/>
              <a:gd name="connsiteY2202" fmla="*/ 4679028 h 5217112"/>
              <a:gd name="connsiteX2203" fmla="*/ 2165674 w 6785952"/>
              <a:gd name="connsiteY2203" fmla="*/ 4669732 h 5217112"/>
              <a:gd name="connsiteX2204" fmla="*/ 2166275 w 6785952"/>
              <a:gd name="connsiteY2204" fmla="*/ 4662317 h 5217112"/>
              <a:gd name="connsiteX2205" fmla="*/ 2174391 w 6785952"/>
              <a:gd name="connsiteY2205" fmla="*/ 4639297 h 5217112"/>
              <a:gd name="connsiteX2206" fmla="*/ 5235552 w 6785952"/>
              <a:gd name="connsiteY2206" fmla="*/ 4638522 h 5217112"/>
              <a:gd name="connsiteX2207" fmla="*/ 5246976 w 6785952"/>
              <a:gd name="connsiteY2207" fmla="*/ 4644720 h 5217112"/>
              <a:gd name="connsiteX2208" fmla="*/ 5240362 w 6785952"/>
              <a:gd name="connsiteY2208" fmla="*/ 4662759 h 5217112"/>
              <a:gd name="connsiteX2209" fmla="*/ 5233448 w 6785952"/>
              <a:gd name="connsiteY2209" fmla="*/ 4664530 h 5217112"/>
              <a:gd name="connsiteX2210" fmla="*/ 5222024 w 6785952"/>
              <a:gd name="connsiteY2210" fmla="*/ 4660657 h 5217112"/>
              <a:gd name="connsiteX2211" fmla="*/ 5224129 w 6785952"/>
              <a:gd name="connsiteY2211" fmla="*/ 4647376 h 5217112"/>
              <a:gd name="connsiteX2212" fmla="*/ 5222325 w 6785952"/>
              <a:gd name="connsiteY2212" fmla="*/ 4647819 h 5217112"/>
              <a:gd name="connsiteX2213" fmla="*/ 5223528 w 6785952"/>
              <a:gd name="connsiteY2213" fmla="*/ 4646823 h 5217112"/>
              <a:gd name="connsiteX2214" fmla="*/ 5224429 w 6785952"/>
              <a:gd name="connsiteY2214" fmla="*/ 4646933 h 5217112"/>
              <a:gd name="connsiteX2215" fmla="*/ 5229540 w 6785952"/>
              <a:gd name="connsiteY2215" fmla="*/ 4641289 h 5217112"/>
              <a:gd name="connsiteX2216" fmla="*/ 5235552 w 6785952"/>
              <a:gd name="connsiteY2216" fmla="*/ 4638522 h 5217112"/>
              <a:gd name="connsiteX2217" fmla="*/ 2471098 w 6785952"/>
              <a:gd name="connsiteY2217" fmla="*/ 4638522 h 5217112"/>
              <a:gd name="connsiteX2218" fmla="*/ 2482221 w 6785952"/>
              <a:gd name="connsiteY2218" fmla="*/ 4644720 h 5217112"/>
              <a:gd name="connsiteX2219" fmla="*/ 2475909 w 6785952"/>
              <a:gd name="connsiteY2219" fmla="*/ 4662759 h 5217112"/>
              <a:gd name="connsiteX2220" fmla="*/ 2468693 w 6785952"/>
              <a:gd name="connsiteY2220" fmla="*/ 4664530 h 5217112"/>
              <a:gd name="connsiteX2221" fmla="*/ 2457570 w 6785952"/>
              <a:gd name="connsiteY2221" fmla="*/ 4660657 h 5217112"/>
              <a:gd name="connsiteX2222" fmla="*/ 2459375 w 6785952"/>
              <a:gd name="connsiteY2222" fmla="*/ 4647376 h 5217112"/>
              <a:gd name="connsiteX2223" fmla="*/ 2457871 w 6785952"/>
              <a:gd name="connsiteY2223" fmla="*/ 4647819 h 5217112"/>
              <a:gd name="connsiteX2224" fmla="*/ 2459073 w 6785952"/>
              <a:gd name="connsiteY2224" fmla="*/ 4646823 h 5217112"/>
              <a:gd name="connsiteX2225" fmla="*/ 2459975 w 6785952"/>
              <a:gd name="connsiteY2225" fmla="*/ 4646933 h 5217112"/>
              <a:gd name="connsiteX2226" fmla="*/ 2464786 w 6785952"/>
              <a:gd name="connsiteY2226" fmla="*/ 4641289 h 5217112"/>
              <a:gd name="connsiteX2227" fmla="*/ 2471098 w 6785952"/>
              <a:gd name="connsiteY2227" fmla="*/ 4638522 h 5217112"/>
              <a:gd name="connsiteX2228" fmla="*/ 1442093 w 6785952"/>
              <a:gd name="connsiteY2228" fmla="*/ 4638522 h 5217112"/>
              <a:gd name="connsiteX2229" fmla="*/ 1453216 w 6785952"/>
              <a:gd name="connsiteY2229" fmla="*/ 4644720 h 5217112"/>
              <a:gd name="connsiteX2230" fmla="*/ 1446903 w 6785952"/>
              <a:gd name="connsiteY2230" fmla="*/ 4662759 h 5217112"/>
              <a:gd name="connsiteX2231" fmla="*/ 1439688 w 6785952"/>
              <a:gd name="connsiteY2231" fmla="*/ 4664530 h 5217112"/>
              <a:gd name="connsiteX2232" fmla="*/ 1428265 w 6785952"/>
              <a:gd name="connsiteY2232" fmla="*/ 4660657 h 5217112"/>
              <a:gd name="connsiteX2233" fmla="*/ 1430370 w 6785952"/>
              <a:gd name="connsiteY2233" fmla="*/ 4647376 h 5217112"/>
              <a:gd name="connsiteX2234" fmla="*/ 1428566 w 6785952"/>
              <a:gd name="connsiteY2234" fmla="*/ 4647819 h 5217112"/>
              <a:gd name="connsiteX2235" fmla="*/ 1429769 w 6785952"/>
              <a:gd name="connsiteY2235" fmla="*/ 4646823 h 5217112"/>
              <a:gd name="connsiteX2236" fmla="*/ 1430971 w 6785952"/>
              <a:gd name="connsiteY2236" fmla="*/ 4646933 h 5217112"/>
              <a:gd name="connsiteX2237" fmla="*/ 1435781 w 6785952"/>
              <a:gd name="connsiteY2237" fmla="*/ 4641289 h 5217112"/>
              <a:gd name="connsiteX2238" fmla="*/ 1442093 w 6785952"/>
              <a:gd name="connsiteY2238" fmla="*/ 4638522 h 5217112"/>
              <a:gd name="connsiteX2239" fmla="*/ 5101177 w 6785952"/>
              <a:gd name="connsiteY2239" fmla="*/ 4636862 h 5217112"/>
              <a:gd name="connsiteX2240" fmla="*/ 5107490 w 6785952"/>
              <a:gd name="connsiteY2240" fmla="*/ 4646712 h 5217112"/>
              <a:gd name="connsiteX2241" fmla="*/ 5084644 w 6785952"/>
              <a:gd name="connsiteY2241" fmla="*/ 4650143 h 5217112"/>
              <a:gd name="connsiteX2242" fmla="*/ 5101177 w 6785952"/>
              <a:gd name="connsiteY2242" fmla="*/ 4636862 h 5217112"/>
              <a:gd name="connsiteX2243" fmla="*/ 2336723 w 6785952"/>
              <a:gd name="connsiteY2243" fmla="*/ 4636862 h 5217112"/>
              <a:gd name="connsiteX2244" fmla="*/ 2342736 w 6785952"/>
              <a:gd name="connsiteY2244" fmla="*/ 4646712 h 5217112"/>
              <a:gd name="connsiteX2245" fmla="*/ 2320189 w 6785952"/>
              <a:gd name="connsiteY2245" fmla="*/ 4650143 h 5217112"/>
              <a:gd name="connsiteX2246" fmla="*/ 2336723 w 6785952"/>
              <a:gd name="connsiteY2246" fmla="*/ 4636862 h 5217112"/>
              <a:gd name="connsiteX2247" fmla="*/ 1307719 w 6785952"/>
              <a:gd name="connsiteY2247" fmla="*/ 4636862 h 5217112"/>
              <a:gd name="connsiteX2248" fmla="*/ 1313731 w 6785952"/>
              <a:gd name="connsiteY2248" fmla="*/ 4646712 h 5217112"/>
              <a:gd name="connsiteX2249" fmla="*/ 1291185 w 6785952"/>
              <a:gd name="connsiteY2249" fmla="*/ 4650143 h 5217112"/>
              <a:gd name="connsiteX2250" fmla="*/ 1307719 w 6785952"/>
              <a:gd name="connsiteY2250" fmla="*/ 4636862 h 5217112"/>
              <a:gd name="connsiteX2251" fmla="*/ 833649 w 6785952"/>
              <a:gd name="connsiteY2251" fmla="*/ 4636752 h 5217112"/>
              <a:gd name="connsiteX2252" fmla="*/ 838760 w 6785952"/>
              <a:gd name="connsiteY2252" fmla="*/ 4636862 h 5217112"/>
              <a:gd name="connsiteX2253" fmla="*/ 846275 w 6785952"/>
              <a:gd name="connsiteY2253" fmla="*/ 4639850 h 5217112"/>
              <a:gd name="connsiteX2254" fmla="*/ 849883 w 6785952"/>
              <a:gd name="connsiteY2254" fmla="*/ 4662981 h 5217112"/>
              <a:gd name="connsiteX2255" fmla="*/ 836956 w 6785952"/>
              <a:gd name="connsiteY2255" fmla="*/ 4669842 h 5217112"/>
              <a:gd name="connsiteX2256" fmla="*/ 830944 w 6785952"/>
              <a:gd name="connsiteY2256" fmla="*/ 4669289 h 5217112"/>
              <a:gd name="connsiteX2257" fmla="*/ 833649 w 6785952"/>
              <a:gd name="connsiteY2257" fmla="*/ 4636752 h 5217112"/>
              <a:gd name="connsiteX2258" fmla="*/ 5727358 w 6785952"/>
              <a:gd name="connsiteY2258" fmla="*/ 4635092 h 5217112"/>
              <a:gd name="connsiteX2259" fmla="*/ 5742690 w 6785952"/>
              <a:gd name="connsiteY2259" fmla="*/ 4655012 h 5217112"/>
              <a:gd name="connsiteX2260" fmla="*/ 5727959 w 6785952"/>
              <a:gd name="connsiteY2260" fmla="*/ 4656562 h 5217112"/>
              <a:gd name="connsiteX2261" fmla="*/ 5727358 w 6785952"/>
              <a:gd name="connsiteY2261" fmla="*/ 4635092 h 5217112"/>
              <a:gd name="connsiteX2262" fmla="*/ 4471690 w 6785952"/>
              <a:gd name="connsiteY2262" fmla="*/ 4635092 h 5217112"/>
              <a:gd name="connsiteX2263" fmla="*/ 4487021 w 6785952"/>
              <a:gd name="connsiteY2263" fmla="*/ 4655012 h 5217112"/>
              <a:gd name="connsiteX2264" fmla="*/ 4472291 w 6785952"/>
              <a:gd name="connsiteY2264" fmla="*/ 4656562 h 5217112"/>
              <a:gd name="connsiteX2265" fmla="*/ 4471690 w 6785952"/>
              <a:gd name="connsiteY2265" fmla="*/ 4635092 h 5217112"/>
              <a:gd name="connsiteX2266" fmla="*/ 2962904 w 6785952"/>
              <a:gd name="connsiteY2266" fmla="*/ 4635092 h 5217112"/>
              <a:gd name="connsiteX2267" fmla="*/ 2978236 w 6785952"/>
              <a:gd name="connsiteY2267" fmla="*/ 4655012 h 5217112"/>
              <a:gd name="connsiteX2268" fmla="*/ 2963505 w 6785952"/>
              <a:gd name="connsiteY2268" fmla="*/ 4656562 h 5217112"/>
              <a:gd name="connsiteX2269" fmla="*/ 2962904 w 6785952"/>
              <a:gd name="connsiteY2269" fmla="*/ 4635092 h 5217112"/>
              <a:gd name="connsiteX2270" fmla="*/ 1933899 w 6785952"/>
              <a:gd name="connsiteY2270" fmla="*/ 4635092 h 5217112"/>
              <a:gd name="connsiteX2271" fmla="*/ 1948930 w 6785952"/>
              <a:gd name="connsiteY2271" fmla="*/ 4655012 h 5217112"/>
              <a:gd name="connsiteX2272" fmla="*/ 1934500 w 6785952"/>
              <a:gd name="connsiteY2272" fmla="*/ 4656562 h 5217112"/>
              <a:gd name="connsiteX2273" fmla="*/ 1933899 w 6785952"/>
              <a:gd name="connsiteY2273" fmla="*/ 4635092 h 5217112"/>
              <a:gd name="connsiteX2274" fmla="*/ 5497989 w 6785952"/>
              <a:gd name="connsiteY2274" fmla="*/ 4634096 h 5217112"/>
              <a:gd name="connsiteX2275" fmla="*/ 5501897 w 6785952"/>
              <a:gd name="connsiteY2275" fmla="*/ 4645052 h 5217112"/>
              <a:gd name="connsiteX2276" fmla="*/ 5496486 w 6785952"/>
              <a:gd name="connsiteY2276" fmla="*/ 4655123 h 5217112"/>
              <a:gd name="connsiteX2277" fmla="*/ 5482657 w 6785952"/>
              <a:gd name="connsiteY2277" fmla="*/ 4639961 h 5217112"/>
              <a:gd name="connsiteX2278" fmla="*/ 5497989 w 6785952"/>
              <a:gd name="connsiteY2278" fmla="*/ 4634096 h 5217112"/>
              <a:gd name="connsiteX2279" fmla="*/ 4242321 w 6785952"/>
              <a:gd name="connsiteY2279" fmla="*/ 4634096 h 5217112"/>
              <a:gd name="connsiteX2280" fmla="*/ 4246530 w 6785952"/>
              <a:gd name="connsiteY2280" fmla="*/ 4645052 h 5217112"/>
              <a:gd name="connsiteX2281" fmla="*/ 4241119 w 6785952"/>
              <a:gd name="connsiteY2281" fmla="*/ 4655123 h 5217112"/>
              <a:gd name="connsiteX2282" fmla="*/ 4226990 w 6785952"/>
              <a:gd name="connsiteY2282" fmla="*/ 4639961 h 5217112"/>
              <a:gd name="connsiteX2283" fmla="*/ 4242321 w 6785952"/>
              <a:gd name="connsiteY2283" fmla="*/ 4634096 h 5217112"/>
              <a:gd name="connsiteX2284" fmla="*/ 2733234 w 6785952"/>
              <a:gd name="connsiteY2284" fmla="*/ 4634096 h 5217112"/>
              <a:gd name="connsiteX2285" fmla="*/ 2737443 w 6785952"/>
              <a:gd name="connsiteY2285" fmla="*/ 4645052 h 5217112"/>
              <a:gd name="connsiteX2286" fmla="*/ 2732032 w 6785952"/>
              <a:gd name="connsiteY2286" fmla="*/ 4655123 h 5217112"/>
              <a:gd name="connsiteX2287" fmla="*/ 2718204 w 6785952"/>
              <a:gd name="connsiteY2287" fmla="*/ 4639961 h 5217112"/>
              <a:gd name="connsiteX2288" fmla="*/ 2733234 w 6785952"/>
              <a:gd name="connsiteY2288" fmla="*/ 4634096 h 5217112"/>
              <a:gd name="connsiteX2289" fmla="*/ 1704229 w 6785952"/>
              <a:gd name="connsiteY2289" fmla="*/ 4634096 h 5217112"/>
              <a:gd name="connsiteX2290" fmla="*/ 1708138 w 6785952"/>
              <a:gd name="connsiteY2290" fmla="*/ 4645052 h 5217112"/>
              <a:gd name="connsiteX2291" fmla="*/ 1703027 w 6785952"/>
              <a:gd name="connsiteY2291" fmla="*/ 4655123 h 5217112"/>
              <a:gd name="connsiteX2292" fmla="*/ 1688898 w 6785952"/>
              <a:gd name="connsiteY2292" fmla="*/ 4639961 h 5217112"/>
              <a:gd name="connsiteX2293" fmla="*/ 1704229 w 6785952"/>
              <a:gd name="connsiteY2293" fmla="*/ 4634096 h 5217112"/>
              <a:gd name="connsiteX2294" fmla="*/ 4976423 w 6785952"/>
              <a:gd name="connsiteY2294" fmla="*/ 4630886 h 5217112"/>
              <a:gd name="connsiteX2295" fmla="*/ 4988747 w 6785952"/>
              <a:gd name="connsiteY2295" fmla="*/ 4643945 h 5217112"/>
              <a:gd name="connsiteX2296" fmla="*/ 4990551 w 6785952"/>
              <a:gd name="connsiteY2296" fmla="*/ 4662095 h 5217112"/>
              <a:gd name="connsiteX2297" fmla="*/ 4976423 w 6785952"/>
              <a:gd name="connsiteY2297" fmla="*/ 4630886 h 5217112"/>
              <a:gd name="connsiteX2298" fmla="*/ 2211968 w 6785952"/>
              <a:gd name="connsiteY2298" fmla="*/ 4630886 h 5217112"/>
              <a:gd name="connsiteX2299" fmla="*/ 2224293 w 6785952"/>
              <a:gd name="connsiteY2299" fmla="*/ 4643945 h 5217112"/>
              <a:gd name="connsiteX2300" fmla="*/ 2225796 w 6785952"/>
              <a:gd name="connsiteY2300" fmla="*/ 4662095 h 5217112"/>
              <a:gd name="connsiteX2301" fmla="*/ 2211968 w 6785952"/>
              <a:gd name="connsiteY2301" fmla="*/ 4630886 h 5217112"/>
              <a:gd name="connsiteX2302" fmla="*/ 1182964 w 6785952"/>
              <a:gd name="connsiteY2302" fmla="*/ 4630886 h 5217112"/>
              <a:gd name="connsiteX2303" fmla="*/ 1194988 w 6785952"/>
              <a:gd name="connsiteY2303" fmla="*/ 4643945 h 5217112"/>
              <a:gd name="connsiteX2304" fmla="*/ 1196792 w 6785952"/>
              <a:gd name="connsiteY2304" fmla="*/ 4662095 h 5217112"/>
              <a:gd name="connsiteX2305" fmla="*/ 1182964 w 6785952"/>
              <a:gd name="connsiteY2305" fmla="*/ 4630886 h 5217112"/>
              <a:gd name="connsiteX2306" fmla="*/ 5178435 w 6785952"/>
              <a:gd name="connsiteY2306" fmla="*/ 4628783 h 5217112"/>
              <a:gd name="connsiteX2307" fmla="*/ 5185650 w 6785952"/>
              <a:gd name="connsiteY2307" fmla="*/ 4642285 h 5217112"/>
              <a:gd name="connsiteX2308" fmla="*/ 5176331 w 6785952"/>
              <a:gd name="connsiteY2308" fmla="*/ 4654459 h 5217112"/>
              <a:gd name="connsiteX2309" fmla="*/ 5178435 w 6785952"/>
              <a:gd name="connsiteY2309" fmla="*/ 4628783 h 5217112"/>
              <a:gd name="connsiteX2310" fmla="*/ 2413680 w 6785952"/>
              <a:gd name="connsiteY2310" fmla="*/ 4628783 h 5217112"/>
              <a:gd name="connsiteX2311" fmla="*/ 2421196 w 6785952"/>
              <a:gd name="connsiteY2311" fmla="*/ 4642285 h 5217112"/>
              <a:gd name="connsiteX2312" fmla="*/ 2411876 w 6785952"/>
              <a:gd name="connsiteY2312" fmla="*/ 4654459 h 5217112"/>
              <a:gd name="connsiteX2313" fmla="*/ 2413680 w 6785952"/>
              <a:gd name="connsiteY2313" fmla="*/ 4628783 h 5217112"/>
              <a:gd name="connsiteX2314" fmla="*/ 1384676 w 6785952"/>
              <a:gd name="connsiteY2314" fmla="*/ 4628783 h 5217112"/>
              <a:gd name="connsiteX2315" fmla="*/ 1391891 w 6785952"/>
              <a:gd name="connsiteY2315" fmla="*/ 4642285 h 5217112"/>
              <a:gd name="connsiteX2316" fmla="*/ 1382572 w 6785952"/>
              <a:gd name="connsiteY2316" fmla="*/ 4654459 h 5217112"/>
              <a:gd name="connsiteX2317" fmla="*/ 1384676 w 6785952"/>
              <a:gd name="connsiteY2317" fmla="*/ 4628783 h 5217112"/>
              <a:gd name="connsiteX2318" fmla="*/ 1798622 w 6785952"/>
              <a:gd name="connsiteY2318" fmla="*/ 4624135 h 5217112"/>
              <a:gd name="connsiteX2319" fmla="*/ 1805537 w 6785952"/>
              <a:gd name="connsiteY2319" fmla="*/ 4627234 h 5217112"/>
              <a:gd name="connsiteX2320" fmla="*/ 1798322 w 6785952"/>
              <a:gd name="connsiteY2320" fmla="*/ 4638744 h 5217112"/>
              <a:gd name="connsiteX2321" fmla="*/ 1798622 w 6785952"/>
              <a:gd name="connsiteY2321" fmla="*/ 4624135 h 5217112"/>
              <a:gd name="connsiteX2322" fmla="*/ 769318 w 6785952"/>
              <a:gd name="connsiteY2322" fmla="*/ 4624135 h 5217112"/>
              <a:gd name="connsiteX2323" fmla="*/ 776532 w 6785952"/>
              <a:gd name="connsiteY2323" fmla="*/ 4627234 h 5217112"/>
              <a:gd name="connsiteX2324" fmla="*/ 769016 w 6785952"/>
              <a:gd name="connsiteY2324" fmla="*/ 4638744 h 5217112"/>
              <a:gd name="connsiteX2325" fmla="*/ 769318 w 6785952"/>
              <a:gd name="connsiteY2325" fmla="*/ 4624135 h 5217112"/>
              <a:gd name="connsiteX2326" fmla="*/ 2243834 w 6785952"/>
              <a:gd name="connsiteY2326" fmla="*/ 4621590 h 5217112"/>
              <a:gd name="connsiteX2327" fmla="*/ 2248944 w 6785952"/>
              <a:gd name="connsiteY2327" fmla="*/ 4621590 h 5217112"/>
              <a:gd name="connsiteX2328" fmla="*/ 2255857 w 6785952"/>
              <a:gd name="connsiteY2328" fmla="*/ 4624578 h 5217112"/>
              <a:gd name="connsiteX2329" fmla="*/ 2255857 w 6785952"/>
              <a:gd name="connsiteY2329" fmla="*/ 4647597 h 5217112"/>
              <a:gd name="connsiteX2330" fmla="*/ 2242029 w 6785952"/>
              <a:gd name="connsiteY2330" fmla="*/ 4654902 h 5217112"/>
              <a:gd name="connsiteX2331" fmla="*/ 2236017 w 6785952"/>
              <a:gd name="connsiteY2331" fmla="*/ 4654570 h 5217112"/>
              <a:gd name="connsiteX2332" fmla="*/ 2243834 w 6785952"/>
              <a:gd name="connsiteY2332" fmla="*/ 4621590 h 5217112"/>
              <a:gd name="connsiteX2333" fmla="*/ 1214828 w 6785952"/>
              <a:gd name="connsiteY2333" fmla="*/ 4621590 h 5217112"/>
              <a:gd name="connsiteX2334" fmla="*/ 1219939 w 6785952"/>
              <a:gd name="connsiteY2334" fmla="*/ 4621590 h 5217112"/>
              <a:gd name="connsiteX2335" fmla="*/ 1226853 w 6785952"/>
              <a:gd name="connsiteY2335" fmla="*/ 4624578 h 5217112"/>
              <a:gd name="connsiteX2336" fmla="*/ 1226853 w 6785952"/>
              <a:gd name="connsiteY2336" fmla="*/ 4647597 h 5217112"/>
              <a:gd name="connsiteX2337" fmla="*/ 1212724 w 6785952"/>
              <a:gd name="connsiteY2337" fmla="*/ 4654902 h 5217112"/>
              <a:gd name="connsiteX2338" fmla="*/ 1206712 w 6785952"/>
              <a:gd name="connsiteY2338" fmla="*/ 4654570 h 5217112"/>
              <a:gd name="connsiteX2339" fmla="*/ 1214828 w 6785952"/>
              <a:gd name="connsiteY2339" fmla="*/ 4621590 h 5217112"/>
              <a:gd name="connsiteX2340" fmla="*/ 6149421 w 6785952"/>
              <a:gd name="connsiteY2340" fmla="*/ 4621036 h 5217112"/>
              <a:gd name="connsiteX2341" fmla="*/ 6152428 w 6785952"/>
              <a:gd name="connsiteY2341" fmla="*/ 4622475 h 5217112"/>
              <a:gd name="connsiteX2342" fmla="*/ 6153630 w 6785952"/>
              <a:gd name="connsiteY2342" fmla="*/ 4625353 h 5217112"/>
              <a:gd name="connsiteX2343" fmla="*/ 6151527 w 6785952"/>
              <a:gd name="connsiteY2343" fmla="*/ 4628230 h 5217112"/>
              <a:gd name="connsiteX2344" fmla="*/ 6145815 w 6785952"/>
              <a:gd name="connsiteY2344" fmla="*/ 4631550 h 5217112"/>
              <a:gd name="connsiteX2345" fmla="*/ 6141305 w 6785952"/>
              <a:gd name="connsiteY2345" fmla="*/ 4630665 h 5217112"/>
              <a:gd name="connsiteX2346" fmla="*/ 6141305 w 6785952"/>
              <a:gd name="connsiteY2346" fmla="*/ 4627123 h 5217112"/>
              <a:gd name="connsiteX2347" fmla="*/ 6139802 w 6785952"/>
              <a:gd name="connsiteY2347" fmla="*/ 4624688 h 5217112"/>
              <a:gd name="connsiteX2348" fmla="*/ 6141305 w 6785952"/>
              <a:gd name="connsiteY2348" fmla="*/ 4623692 h 5217112"/>
              <a:gd name="connsiteX2349" fmla="*/ 6142207 w 6785952"/>
              <a:gd name="connsiteY2349" fmla="*/ 4621700 h 5217112"/>
              <a:gd name="connsiteX2350" fmla="*/ 6149421 w 6785952"/>
              <a:gd name="connsiteY2350" fmla="*/ 4621036 h 5217112"/>
              <a:gd name="connsiteX2351" fmla="*/ 2355662 w 6785952"/>
              <a:gd name="connsiteY2351" fmla="*/ 4621036 h 5217112"/>
              <a:gd name="connsiteX2352" fmla="*/ 2358968 w 6785952"/>
              <a:gd name="connsiteY2352" fmla="*/ 4622475 h 5217112"/>
              <a:gd name="connsiteX2353" fmla="*/ 2359871 w 6785952"/>
              <a:gd name="connsiteY2353" fmla="*/ 4625353 h 5217112"/>
              <a:gd name="connsiteX2354" fmla="*/ 2357766 w 6785952"/>
              <a:gd name="connsiteY2354" fmla="*/ 4628230 h 5217112"/>
              <a:gd name="connsiteX2355" fmla="*/ 2352055 w 6785952"/>
              <a:gd name="connsiteY2355" fmla="*/ 4631550 h 5217112"/>
              <a:gd name="connsiteX2356" fmla="*/ 2347845 w 6785952"/>
              <a:gd name="connsiteY2356" fmla="*/ 4630665 h 5217112"/>
              <a:gd name="connsiteX2357" fmla="*/ 2347845 w 6785952"/>
              <a:gd name="connsiteY2357" fmla="*/ 4627123 h 5217112"/>
              <a:gd name="connsiteX2358" fmla="*/ 2346343 w 6785952"/>
              <a:gd name="connsiteY2358" fmla="*/ 4624688 h 5217112"/>
              <a:gd name="connsiteX2359" fmla="*/ 2347845 w 6785952"/>
              <a:gd name="connsiteY2359" fmla="*/ 4623692 h 5217112"/>
              <a:gd name="connsiteX2360" fmla="*/ 2348448 w 6785952"/>
              <a:gd name="connsiteY2360" fmla="*/ 4621700 h 5217112"/>
              <a:gd name="connsiteX2361" fmla="*/ 2355662 w 6785952"/>
              <a:gd name="connsiteY2361" fmla="*/ 4621036 h 5217112"/>
              <a:gd name="connsiteX2362" fmla="*/ 6191808 w 6785952"/>
              <a:gd name="connsiteY2362" fmla="*/ 4620372 h 5217112"/>
              <a:gd name="connsiteX2363" fmla="*/ 6194814 w 6785952"/>
              <a:gd name="connsiteY2363" fmla="*/ 4623360 h 5217112"/>
              <a:gd name="connsiteX2364" fmla="*/ 6197520 w 6785952"/>
              <a:gd name="connsiteY2364" fmla="*/ 4637748 h 5217112"/>
              <a:gd name="connsiteX2365" fmla="*/ 6197520 w 6785952"/>
              <a:gd name="connsiteY2365" fmla="*/ 4641179 h 5217112"/>
              <a:gd name="connsiteX2366" fmla="*/ 6197820 w 6785952"/>
              <a:gd name="connsiteY2366" fmla="*/ 4644609 h 5217112"/>
              <a:gd name="connsiteX2367" fmla="*/ 6192710 w 6785952"/>
              <a:gd name="connsiteY2367" fmla="*/ 4649258 h 5217112"/>
              <a:gd name="connsiteX2368" fmla="*/ 6188200 w 6785952"/>
              <a:gd name="connsiteY2368" fmla="*/ 4620704 h 5217112"/>
              <a:gd name="connsiteX2369" fmla="*/ 6191808 w 6785952"/>
              <a:gd name="connsiteY2369" fmla="*/ 4620372 h 5217112"/>
              <a:gd name="connsiteX2370" fmla="*/ 6159342 w 6785952"/>
              <a:gd name="connsiteY2370" fmla="*/ 4620372 h 5217112"/>
              <a:gd name="connsiteX2371" fmla="*/ 6166857 w 6785952"/>
              <a:gd name="connsiteY2371" fmla="*/ 4620704 h 5217112"/>
              <a:gd name="connsiteX2372" fmla="*/ 6181587 w 6785952"/>
              <a:gd name="connsiteY2372" fmla="*/ 4626238 h 5217112"/>
              <a:gd name="connsiteX2373" fmla="*/ 6184293 w 6785952"/>
              <a:gd name="connsiteY2373" fmla="*/ 4636309 h 5217112"/>
              <a:gd name="connsiteX2374" fmla="*/ 6153329 w 6785952"/>
              <a:gd name="connsiteY2374" fmla="*/ 4623250 h 5217112"/>
              <a:gd name="connsiteX2375" fmla="*/ 6159342 w 6785952"/>
              <a:gd name="connsiteY2375" fmla="*/ 4620372 h 5217112"/>
              <a:gd name="connsiteX2376" fmla="*/ 2398048 w 6785952"/>
              <a:gd name="connsiteY2376" fmla="*/ 4620372 h 5217112"/>
              <a:gd name="connsiteX2377" fmla="*/ 2401055 w 6785952"/>
              <a:gd name="connsiteY2377" fmla="*/ 4623360 h 5217112"/>
              <a:gd name="connsiteX2378" fmla="*/ 2404061 w 6785952"/>
              <a:gd name="connsiteY2378" fmla="*/ 4637748 h 5217112"/>
              <a:gd name="connsiteX2379" fmla="*/ 2404061 w 6785952"/>
              <a:gd name="connsiteY2379" fmla="*/ 4641179 h 5217112"/>
              <a:gd name="connsiteX2380" fmla="*/ 2404061 w 6785952"/>
              <a:gd name="connsiteY2380" fmla="*/ 4644609 h 5217112"/>
              <a:gd name="connsiteX2381" fmla="*/ 2398951 w 6785952"/>
              <a:gd name="connsiteY2381" fmla="*/ 4649258 h 5217112"/>
              <a:gd name="connsiteX2382" fmla="*/ 2394441 w 6785952"/>
              <a:gd name="connsiteY2382" fmla="*/ 4620704 h 5217112"/>
              <a:gd name="connsiteX2383" fmla="*/ 2398048 w 6785952"/>
              <a:gd name="connsiteY2383" fmla="*/ 4620372 h 5217112"/>
              <a:gd name="connsiteX2384" fmla="*/ 2365582 w 6785952"/>
              <a:gd name="connsiteY2384" fmla="*/ 4620372 h 5217112"/>
              <a:gd name="connsiteX2385" fmla="*/ 2373399 w 6785952"/>
              <a:gd name="connsiteY2385" fmla="*/ 4620704 h 5217112"/>
              <a:gd name="connsiteX2386" fmla="*/ 2387828 w 6785952"/>
              <a:gd name="connsiteY2386" fmla="*/ 4626238 h 5217112"/>
              <a:gd name="connsiteX2387" fmla="*/ 2390534 w 6785952"/>
              <a:gd name="connsiteY2387" fmla="*/ 4636309 h 5217112"/>
              <a:gd name="connsiteX2388" fmla="*/ 2359871 w 6785952"/>
              <a:gd name="connsiteY2388" fmla="*/ 4623250 h 5217112"/>
              <a:gd name="connsiteX2389" fmla="*/ 2365582 w 6785952"/>
              <a:gd name="connsiteY2389" fmla="*/ 4620372 h 5217112"/>
              <a:gd name="connsiteX2390" fmla="*/ 2060458 w 6785952"/>
              <a:gd name="connsiteY2390" fmla="*/ 4619487 h 5217112"/>
              <a:gd name="connsiteX2391" fmla="*/ 2045126 w 6785952"/>
              <a:gd name="connsiteY2391" fmla="*/ 4663534 h 5217112"/>
              <a:gd name="connsiteX2392" fmla="*/ 2060458 w 6785952"/>
              <a:gd name="connsiteY2392" fmla="*/ 4619487 h 5217112"/>
              <a:gd name="connsiteX2393" fmla="*/ 1031454 w 6785952"/>
              <a:gd name="connsiteY2393" fmla="*/ 4619487 h 5217112"/>
              <a:gd name="connsiteX2394" fmla="*/ 1016122 w 6785952"/>
              <a:gd name="connsiteY2394" fmla="*/ 4663534 h 5217112"/>
              <a:gd name="connsiteX2395" fmla="*/ 1031454 w 6785952"/>
              <a:gd name="connsiteY2395" fmla="*/ 4619487 h 5217112"/>
              <a:gd name="connsiteX2396" fmla="*/ 3130647 w 6785952"/>
              <a:gd name="connsiteY2396" fmla="*/ 4617827 h 5217112"/>
              <a:gd name="connsiteX2397" fmla="*/ 3138763 w 6785952"/>
              <a:gd name="connsiteY2397" fmla="*/ 4635424 h 5217112"/>
              <a:gd name="connsiteX2398" fmla="*/ 3130647 w 6785952"/>
              <a:gd name="connsiteY2398" fmla="*/ 4617827 h 5217112"/>
              <a:gd name="connsiteX2399" fmla="*/ 5836181 w 6785952"/>
              <a:gd name="connsiteY2399" fmla="*/ 4616499 h 5217112"/>
              <a:gd name="connsiteX2400" fmla="*/ 5842494 w 6785952"/>
              <a:gd name="connsiteY2400" fmla="*/ 4623360 h 5217112"/>
              <a:gd name="connsiteX2401" fmla="*/ 5837684 w 6785952"/>
              <a:gd name="connsiteY2401" fmla="*/ 4628783 h 5217112"/>
              <a:gd name="connsiteX2402" fmla="*/ 5831371 w 6785952"/>
              <a:gd name="connsiteY2402" fmla="*/ 4622032 h 5217112"/>
              <a:gd name="connsiteX2403" fmla="*/ 5836181 w 6785952"/>
              <a:gd name="connsiteY2403" fmla="*/ 4616499 h 5217112"/>
              <a:gd name="connsiteX2404" fmla="*/ 3071726 w 6785952"/>
              <a:gd name="connsiteY2404" fmla="*/ 4616499 h 5217112"/>
              <a:gd name="connsiteX2405" fmla="*/ 3078040 w 6785952"/>
              <a:gd name="connsiteY2405" fmla="*/ 4623360 h 5217112"/>
              <a:gd name="connsiteX2406" fmla="*/ 3073230 w 6785952"/>
              <a:gd name="connsiteY2406" fmla="*/ 4628783 h 5217112"/>
              <a:gd name="connsiteX2407" fmla="*/ 3066917 w 6785952"/>
              <a:gd name="connsiteY2407" fmla="*/ 4622032 h 5217112"/>
              <a:gd name="connsiteX2408" fmla="*/ 3071726 w 6785952"/>
              <a:gd name="connsiteY2408" fmla="*/ 4616499 h 5217112"/>
              <a:gd name="connsiteX2409" fmla="*/ 2042421 w 6785952"/>
              <a:gd name="connsiteY2409" fmla="*/ 4616499 h 5217112"/>
              <a:gd name="connsiteX2410" fmla="*/ 2049035 w 6785952"/>
              <a:gd name="connsiteY2410" fmla="*/ 4623360 h 5217112"/>
              <a:gd name="connsiteX2411" fmla="*/ 2044225 w 6785952"/>
              <a:gd name="connsiteY2411" fmla="*/ 4628783 h 5217112"/>
              <a:gd name="connsiteX2412" fmla="*/ 2037612 w 6785952"/>
              <a:gd name="connsiteY2412" fmla="*/ 4622032 h 5217112"/>
              <a:gd name="connsiteX2413" fmla="*/ 2042421 w 6785952"/>
              <a:gd name="connsiteY2413" fmla="*/ 4616499 h 5217112"/>
              <a:gd name="connsiteX2414" fmla="*/ 5351289 w 6785952"/>
              <a:gd name="connsiteY2414" fmla="*/ 4610523 h 5217112"/>
              <a:gd name="connsiteX2415" fmla="*/ 5362412 w 6785952"/>
              <a:gd name="connsiteY2415" fmla="*/ 4611740 h 5217112"/>
              <a:gd name="connsiteX2416" fmla="*/ 5358805 w 6785952"/>
              <a:gd name="connsiteY2416" fmla="*/ 4625021 h 5217112"/>
              <a:gd name="connsiteX2417" fmla="*/ 5353093 w 6785952"/>
              <a:gd name="connsiteY2417" fmla="*/ 4627455 h 5217112"/>
              <a:gd name="connsiteX2418" fmla="*/ 5346179 w 6785952"/>
              <a:gd name="connsiteY2418" fmla="*/ 4626570 h 5217112"/>
              <a:gd name="connsiteX2419" fmla="*/ 5335356 w 6785952"/>
              <a:gd name="connsiteY2419" fmla="*/ 4625353 h 5217112"/>
              <a:gd name="connsiteX2420" fmla="*/ 5333853 w 6785952"/>
              <a:gd name="connsiteY2420" fmla="*/ 4617606 h 5217112"/>
              <a:gd name="connsiteX2421" fmla="*/ 5351289 w 6785952"/>
              <a:gd name="connsiteY2421" fmla="*/ 4610523 h 5217112"/>
              <a:gd name="connsiteX2422" fmla="*/ 2586534 w 6785952"/>
              <a:gd name="connsiteY2422" fmla="*/ 4610523 h 5217112"/>
              <a:gd name="connsiteX2423" fmla="*/ 2597958 w 6785952"/>
              <a:gd name="connsiteY2423" fmla="*/ 4611740 h 5217112"/>
              <a:gd name="connsiteX2424" fmla="*/ 2594350 w 6785952"/>
              <a:gd name="connsiteY2424" fmla="*/ 4625021 h 5217112"/>
              <a:gd name="connsiteX2425" fmla="*/ 2588638 w 6785952"/>
              <a:gd name="connsiteY2425" fmla="*/ 4627455 h 5217112"/>
              <a:gd name="connsiteX2426" fmla="*/ 2581725 w 6785952"/>
              <a:gd name="connsiteY2426" fmla="*/ 4626570 h 5217112"/>
              <a:gd name="connsiteX2427" fmla="*/ 2570602 w 6785952"/>
              <a:gd name="connsiteY2427" fmla="*/ 4625353 h 5217112"/>
              <a:gd name="connsiteX2428" fmla="*/ 2569098 w 6785952"/>
              <a:gd name="connsiteY2428" fmla="*/ 4617606 h 5217112"/>
              <a:gd name="connsiteX2429" fmla="*/ 2586534 w 6785952"/>
              <a:gd name="connsiteY2429" fmla="*/ 4610523 h 5217112"/>
              <a:gd name="connsiteX2430" fmla="*/ 1557530 w 6785952"/>
              <a:gd name="connsiteY2430" fmla="*/ 4610523 h 5217112"/>
              <a:gd name="connsiteX2431" fmla="*/ 1568953 w 6785952"/>
              <a:gd name="connsiteY2431" fmla="*/ 4611740 h 5217112"/>
              <a:gd name="connsiteX2432" fmla="*/ 1565345 w 6785952"/>
              <a:gd name="connsiteY2432" fmla="*/ 4625021 h 5217112"/>
              <a:gd name="connsiteX2433" fmla="*/ 1559333 w 6785952"/>
              <a:gd name="connsiteY2433" fmla="*/ 4627455 h 5217112"/>
              <a:gd name="connsiteX2434" fmla="*/ 1552419 w 6785952"/>
              <a:gd name="connsiteY2434" fmla="*/ 4626570 h 5217112"/>
              <a:gd name="connsiteX2435" fmla="*/ 1541597 w 6785952"/>
              <a:gd name="connsiteY2435" fmla="*/ 4625353 h 5217112"/>
              <a:gd name="connsiteX2436" fmla="*/ 1540094 w 6785952"/>
              <a:gd name="connsiteY2436" fmla="*/ 4617606 h 5217112"/>
              <a:gd name="connsiteX2437" fmla="*/ 1557530 w 6785952"/>
              <a:gd name="connsiteY2437" fmla="*/ 4610523 h 5217112"/>
              <a:gd name="connsiteX2438" fmla="*/ 2909094 w 6785952"/>
              <a:gd name="connsiteY2438" fmla="*/ 4609305 h 5217112"/>
              <a:gd name="connsiteX2439" fmla="*/ 2913302 w 6785952"/>
              <a:gd name="connsiteY2439" fmla="*/ 4619598 h 5217112"/>
              <a:gd name="connsiteX2440" fmla="*/ 2913302 w 6785952"/>
              <a:gd name="connsiteY2440" fmla="*/ 4619487 h 5217112"/>
              <a:gd name="connsiteX2441" fmla="*/ 2918713 w 6785952"/>
              <a:gd name="connsiteY2441" fmla="*/ 4616499 h 5217112"/>
              <a:gd name="connsiteX2442" fmla="*/ 2917211 w 6785952"/>
              <a:gd name="connsiteY2442" fmla="*/ 4613953 h 5217112"/>
              <a:gd name="connsiteX2443" fmla="*/ 2909094 w 6785952"/>
              <a:gd name="connsiteY2443" fmla="*/ 4609305 h 5217112"/>
              <a:gd name="connsiteX2444" fmla="*/ 5728259 w 6785952"/>
              <a:gd name="connsiteY2444" fmla="*/ 4608420 h 5217112"/>
              <a:gd name="connsiteX2445" fmla="*/ 5728561 w 6785952"/>
              <a:gd name="connsiteY2445" fmla="*/ 4613179 h 5217112"/>
              <a:gd name="connsiteX2446" fmla="*/ 5727658 w 6785952"/>
              <a:gd name="connsiteY2446" fmla="*/ 4615171 h 5217112"/>
              <a:gd name="connsiteX2447" fmla="*/ 5728259 w 6785952"/>
              <a:gd name="connsiteY2447" fmla="*/ 4616609 h 5217112"/>
              <a:gd name="connsiteX2448" fmla="*/ 5726757 w 6785952"/>
              <a:gd name="connsiteY2448" fmla="*/ 4617274 h 5217112"/>
              <a:gd name="connsiteX2449" fmla="*/ 5726456 w 6785952"/>
              <a:gd name="connsiteY2449" fmla="*/ 4617716 h 5217112"/>
              <a:gd name="connsiteX2450" fmla="*/ 5725855 w 6785952"/>
              <a:gd name="connsiteY2450" fmla="*/ 4619487 h 5217112"/>
              <a:gd name="connsiteX2451" fmla="*/ 5732769 w 6785952"/>
              <a:gd name="connsiteY2451" fmla="*/ 4617606 h 5217112"/>
              <a:gd name="connsiteX2452" fmla="*/ 5751708 w 6785952"/>
              <a:gd name="connsiteY2452" fmla="*/ 4623471 h 5217112"/>
              <a:gd name="connsiteX2453" fmla="*/ 5732468 w 6785952"/>
              <a:gd name="connsiteY2453" fmla="*/ 4628009 h 5217112"/>
              <a:gd name="connsiteX2454" fmla="*/ 5724051 w 6785952"/>
              <a:gd name="connsiteY2454" fmla="*/ 4626570 h 5217112"/>
              <a:gd name="connsiteX2455" fmla="*/ 5724051 w 6785952"/>
              <a:gd name="connsiteY2455" fmla="*/ 4627234 h 5217112"/>
              <a:gd name="connsiteX2456" fmla="*/ 5724051 w 6785952"/>
              <a:gd name="connsiteY2456" fmla="*/ 4631661 h 5217112"/>
              <a:gd name="connsiteX2457" fmla="*/ 5717438 w 6785952"/>
              <a:gd name="connsiteY2457" fmla="*/ 4641179 h 5217112"/>
              <a:gd name="connsiteX2458" fmla="*/ 5713531 w 6785952"/>
              <a:gd name="connsiteY2458" fmla="*/ 4639740 h 5217112"/>
              <a:gd name="connsiteX2459" fmla="*/ 5711726 w 6785952"/>
              <a:gd name="connsiteY2459" fmla="*/ 4643945 h 5217112"/>
              <a:gd name="connsiteX2460" fmla="*/ 5704812 w 6785952"/>
              <a:gd name="connsiteY2460" fmla="*/ 4651692 h 5217112"/>
              <a:gd name="connsiteX2461" fmla="*/ 5704211 w 6785952"/>
              <a:gd name="connsiteY2461" fmla="*/ 4651692 h 5217112"/>
              <a:gd name="connsiteX2462" fmla="*/ 5701505 w 6785952"/>
              <a:gd name="connsiteY2462" fmla="*/ 4655012 h 5217112"/>
              <a:gd name="connsiteX2463" fmla="*/ 5664830 w 6785952"/>
              <a:gd name="connsiteY2463" fmla="*/ 4651803 h 5217112"/>
              <a:gd name="connsiteX2464" fmla="*/ 5665131 w 6785952"/>
              <a:gd name="connsiteY2464" fmla="*/ 4649922 h 5217112"/>
              <a:gd name="connsiteX2465" fmla="*/ 5663026 w 6785952"/>
              <a:gd name="connsiteY2465" fmla="*/ 4656562 h 5217112"/>
              <a:gd name="connsiteX2466" fmla="*/ 5654910 w 6785952"/>
              <a:gd name="connsiteY2466" fmla="*/ 4655787 h 5217112"/>
              <a:gd name="connsiteX2467" fmla="*/ 5652506 w 6785952"/>
              <a:gd name="connsiteY2467" fmla="*/ 4653574 h 5217112"/>
              <a:gd name="connsiteX2468" fmla="*/ 5651904 w 6785952"/>
              <a:gd name="connsiteY2468" fmla="*/ 4657669 h 5217112"/>
              <a:gd name="connsiteX2469" fmla="*/ 5640781 w 6785952"/>
              <a:gd name="connsiteY2469" fmla="*/ 4656230 h 5217112"/>
              <a:gd name="connsiteX2470" fmla="*/ 5642284 w 6785952"/>
              <a:gd name="connsiteY2470" fmla="*/ 4648483 h 5217112"/>
              <a:gd name="connsiteX2471" fmla="*/ 5647996 w 6785952"/>
              <a:gd name="connsiteY2471" fmla="*/ 4648261 h 5217112"/>
              <a:gd name="connsiteX2472" fmla="*/ 5645891 w 6785952"/>
              <a:gd name="connsiteY2472" fmla="*/ 4642175 h 5217112"/>
              <a:gd name="connsiteX2473" fmla="*/ 5646794 w 6785952"/>
              <a:gd name="connsiteY2473" fmla="*/ 4634760 h 5217112"/>
              <a:gd name="connsiteX2474" fmla="*/ 5659119 w 6785952"/>
              <a:gd name="connsiteY2474" fmla="*/ 4638080 h 5217112"/>
              <a:gd name="connsiteX2475" fmla="*/ 5665131 w 6785952"/>
              <a:gd name="connsiteY2475" fmla="*/ 4649368 h 5217112"/>
              <a:gd name="connsiteX2476" fmla="*/ 5666633 w 6785952"/>
              <a:gd name="connsiteY2476" fmla="*/ 4636530 h 5217112"/>
              <a:gd name="connsiteX2477" fmla="*/ 5695794 w 6785952"/>
              <a:gd name="connsiteY2477" fmla="*/ 4614396 h 5217112"/>
              <a:gd name="connsiteX2478" fmla="*/ 5708119 w 6785952"/>
              <a:gd name="connsiteY2478" fmla="*/ 4621700 h 5217112"/>
              <a:gd name="connsiteX2479" fmla="*/ 5710824 w 6785952"/>
              <a:gd name="connsiteY2479" fmla="*/ 4628562 h 5217112"/>
              <a:gd name="connsiteX2480" fmla="*/ 5714132 w 6785952"/>
              <a:gd name="connsiteY2480" fmla="*/ 4632878 h 5217112"/>
              <a:gd name="connsiteX2481" fmla="*/ 5713531 w 6785952"/>
              <a:gd name="connsiteY2481" fmla="*/ 4631550 h 5217112"/>
              <a:gd name="connsiteX2482" fmla="*/ 5717136 w 6785952"/>
              <a:gd name="connsiteY2482" fmla="*/ 4623692 h 5217112"/>
              <a:gd name="connsiteX2483" fmla="*/ 5715033 w 6785952"/>
              <a:gd name="connsiteY2483" fmla="*/ 4622586 h 5217112"/>
              <a:gd name="connsiteX2484" fmla="*/ 5718039 w 6785952"/>
              <a:gd name="connsiteY2484" fmla="*/ 4621590 h 5217112"/>
              <a:gd name="connsiteX2485" fmla="*/ 5720144 w 6785952"/>
              <a:gd name="connsiteY2485" fmla="*/ 4617052 h 5217112"/>
              <a:gd name="connsiteX2486" fmla="*/ 5728259 w 6785952"/>
              <a:gd name="connsiteY2486" fmla="*/ 4608420 h 5217112"/>
              <a:gd name="connsiteX2487" fmla="*/ 1934500 w 6785952"/>
              <a:gd name="connsiteY2487" fmla="*/ 4608420 h 5217112"/>
              <a:gd name="connsiteX2488" fmla="*/ 1934802 w 6785952"/>
              <a:gd name="connsiteY2488" fmla="*/ 4613179 h 5217112"/>
              <a:gd name="connsiteX2489" fmla="*/ 1933899 w 6785952"/>
              <a:gd name="connsiteY2489" fmla="*/ 4615171 h 5217112"/>
              <a:gd name="connsiteX2490" fmla="*/ 1934500 w 6785952"/>
              <a:gd name="connsiteY2490" fmla="*/ 4616609 h 5217112"/>
              <a:gd name="connsiteX2491" fmla="*/ 1932998 w 6785952"/>
              <a:gd name="connsiteY2491" fmla="*/ 4617274 h 5217112"/>
              <a:gd name="connsiteX2492" fmla="*/ 1932998 w 6785952"/>
              <a:gd name="connsiteY2492" fmla="*/ 4617716 h 5217112"/>
              <a:gd name="connsiteX2493" fmla="*/ 1932096 w 6785952"/>
              <a:gd name="connsiteY2493" fmla="*/ 4619487 h 5217112"/>
              <a:gd name="connsiteX2494" fmla="*/ 1939310 w 6785952"/>
              <a:gd name="connsiteY2494" fmla="*/ 4617606 h 5217112"/>
              <a:gd name="connsiteX2495" fmla="*/ 1957949 w 6785952"/>
              <a:gd name="connsiteY2495" fmla="*/ 4623471 h 5217112"/>
              <a:gd name="connsiteX2496" fmla="*/ 1938709 w 6785952"/>
              <a:gd name="connsiteY2496" fmla="*/ 4628009 h 5217112"/>
              <a:gd name="connsiteX2497" fmla="*/ 1930593 w 6785952"/>
              <a:gd name="connsiteY2497" fmla="*/ 4626570 h 5217112"/>
              <a:gd name="connsiteX2498" fmla="*/ 1930593 w 6785952"/>
              <a:gd name="connsiteY2498" fmla="*/ 4627234 h 5217112"/>
              <a:gd name="connsiteX2499" fmla="*/ 1930292 w 6785952"/>
              <a:gd name="connsiteY2499" fmla="*/ 4631661 h 5217112"/>
              <a:gd name="connsiteX2500" fmla="*/ 1923679 w 6785952"/>
              <a:gd name="connsiteY2500" fmla="*/ 4641179 h 5217112"/>
              <a:gd name="connsiteX2501" fmla="*/ 1919770 w 6785952"/>
              <a:gd name="connsiteY2501" fmla="*/ 4639740 h 5217112"/>
              <a:gd name="connsiteX2502" fmla="*/ 1917967 w 6785952"/>
              <a:gd name="connsiteY2502" fmla="*/ 4643945 h 5217112"/>
              <a:gd name="connsiteX2503" fmla="*/ 1911053 w 6785952"/>
              <a:gd name="connsiteY2503" fmla="*/ 4651692 h 5217112"/>
              <a:gd name="connsiteX2504" fmla="*/ 1910752 w 6785952"/>
              <a:gd name="connsiteY2504" fmla="*/ 4651692 h 5217112"/>
              <a:gd name="connsiteX2505" fmla="*/ 1908047 w 6785952"/>
              <a:gd name="connsiteY2505" fmla="*/ 4655012 h 5217112"/>
              <a:gd name="connsiteX2506" fmla="*/ 1882194 w 6785952"/>
              <a:gd name="connsiteY2506" fmla="*/ 4657669 h 5217112"/>
              <a:gd name="connsiteX2507" fmla="*/ 1878887 w 6785952"/>
              <a:gd name="connsiteY2507" fmla="*/ 4656119 h 5217112"/>
              <a:gd name="connsiteX2508" fmla="*/ 1879789 w 6785952"/>
              <a:gd name="connsiteY2508" fmla="*/ 4657005 h 5217112"/>
              <a:gd name="connsiteX2509" fmla="*/ 1878887 w 6785952"/>
              <a:gd name="connsiteY2509" fmla="*/ 4662981 h 5217112"/>
              <a:gd name="connsiteX2510" fmla="*/ 1865961 w 6785952"/>
              <a:gd name="connsiteY2510" fmla="*/ 4669842 h 5217112"/>
              <a:gd name="connsiteX2511" fmla="*/ 1859949 w 6785952"/>
              <a:gd name="connsiteY2511" fmla="*/ 4669289 h 5217112"/>
              <a:gd name="connsiteX2512" fmla="*/ 1862052 w 6785952"/>
              <a:gd name="connsiteY2512" fmla="*/ 4655898 h 5217112"/>
              <a:gd name="connsiteX2513" fmla="*/ 1861151 w 6785952"/>
              <a:gd name="connsiteY2513" fmla="*/ 4655787 h 5217112"/>
              <a:gd name="connsiteX2514" fmla="*/ 1858746 w 6785952"/>
              <a:gd name="connsiteY2514" fmla="*/ 4653574 h 5217112"/>
              <a:gd name="connsiteX2515" fmla="*/ 1858144 w 6785952"/>
              <a:gd name="connsiteY2515" fmla="*/ 4657669 h 5217112"/>
              <a:gd name="connsiteX2516" fmla="*/ 1847022 w 6785952"/>
              <a:gd name="connsiteY2516" fmla="*/ 4656230 h 5217112"/>
              <a:gd name="connsiteX2517" fmla="*/ 1848524 w 6785952"/>
              <a:gd name="connsiteY2517" fmla="*/ 4648483 h 5217112"/>
              <a:gd name="connsiteX2518" fmla="*/ 1854237 w 6785952"/>
              <a:gd name="connsiteY2518" fmla="*/ 4648261 h 5217112"/>
              <a:gd name="connsiteX2519" fmla="*/ 1852132 w 6785952"/>
              <a:gd name="connsiteY2519" fmla="*/ 4642175 h 5217112"/>
              <a:gd name="connsiteX2520" fmla="*/ 1853034 w 6785952"/>
              <a:gd name="connsiteY2520" fmla="*/ 4634760 h 5217112"/>
              <a:gd name="connsiteX2521" fmla="*/ 1859647 w 6785952"/>
              <a:gd name="connsiteY2521" fmla="*/ 4634760 h 5217112"/>
              <a:gd name="connsiteX2522" fmla="*/ 1862955 w 6785952"/>
              <a:gd name="connsiteY2522" fmla="*/ 4636752 h 5217112"/>
              <a:gd name="connsiteX2523" fmla="*/ 1868065 w 6785952"/>
              <a:gd name="connsiteY2523" fmla="*/ 4636862 h 5217112"/>
              <a:gd name="connsiteX2524" fmla="*/ 1872874 w 6785952"/>
              <a:gd name="connsiteY2524" fmla="*/ 4638854 h 5217112"/>
              <a:gd name="connsiteX2525" fmla="*/ 1873175 w 6785952"/>
              <a:gd name="connsiteY2525" fmla="*/ 4636530 h 5217112"/>
              <a:gd name="connsiteX2526" fmla="*/ 1902034 w 6785952"/>
              <a:gd name="connsiteY2526" fmla="*/ 4614396 h 5217112"/>
              <a:gd name="connsiteX2527" fmla="*/ 1914359 w 6785952"/>
              <a:gd name="connsiteY2527" fmla="*/ 4621700 h 5217112"/>
              <a:gd name="connsiteX2528" fmla="*/ 1917065 w 6785952"/>
              <a:gd name="connsiteY2528" fmla="*/ 4628562 h 5217112"/>
              <a:gd name="connsiteX2529" fmla="*/ 1920371 w 6785952"/>
              <a:gd name="connsiteY2529" fmla="*/ 4632878 h 5217112"/>
              <a:gd name="connsiteX2530" fmla="*/ 1919770 w 6785952"/>
              <a:gd name="connsiteY2530" fmla="*/ 4631550 h 5217112"/>
              <a:gd name="connsiteX2531" fmla="*/ 1923377 w 6785952"/>
              <a:gd name="connsiteY2531" fmla="*/ 4623692 h 5217112"/>
              <a:gd name="connsiteX2532" fmla="*/ 1921274 w 6785952"/>
              <a:gd name="connsiteY2532" fmla="*/ 4622586 h 5217112"/>
              <a:gd name="connsiteX2533" fmla="*/ 1924580 w 6785952"/>
              <a:gd name="connsiteY2533" fmla="*/ 4621590 h 5217112"/>
              <a:gd name="connsiteX2534" fmla="*/ 1926685 w 6785952"/>
              <a:gd name="connsiteY2534" fmla="*/ 4617052 h 5217112"/>
              <a:gd name="connsiteX2535" fmla="*/ 1934500 w 6785952"/>
              <a:gd name="connsiteY2535" fmla="*/ 4608420 h 5217112"/>
              <a:gd name="connsiteX2536" fmla="*/ 5087650 w 6785952"/>
              <a:gd name="connsiteY2536" fmla="*/ 4605874 h 5217112"/>
              <a:gd name="connsiteX2537" fmla="*/ 5094864 w 6785952"/>
              <a:gd name="connsiteY2537" fmla="*/ 4613732 h 5217112"/>
              <a:gd name="connsiteX2538" fmla="*/ 5086147 w 6785952"/>
              <a:gd name="connsiteY2538" fmla="*/ 4618712 h 5217112"/>
              <a:gd name="connsiteX2539" fmla="*/ 5083741 w 6785952"/>
              <a:gd name="connsiteY2539" fmla="*/ 4606981 h 5217112"/>
              <a:gd name="connsiteX2540" fmla="*/ 5087650 w 6785952"/>
              <a:gd name="connsiteY2540" fmla="*/ 4605874 h 5217112"/>
              <a:gd name="connsiteX2541" fmla="*/ 2322894 w 6785952"/>
              <a:gd name="connsiteY2541" fmla="*/ 4605874 h 5217112"/>
              <a:gd name="connsiteX2542" fmla="*/ 2330410 w 6785952"/>
              <a:gd name="connsiteY2542" fmla="*/ 4613732 h 5217112"/>
              <a:gd name="connsiteX2543" fmla="*/ 2321692 w 6785952"/>
              <a:gd name="connsiteY2543" fmla="*/ 4618712 h 5217112"/>
              <a:gd name="connsiteX2544" fmla="*/ 2319287 w 6785952"/>
              <a:gd name="connsiteY2544" fmla="*/ 4606981 h 5217112"/>
              <a:gd name="connsiteX2545" fmla="*/ 2322894 w 6785952"/>
              <a:gd name="connsiteY2545" fmla="*/ 4605874 h 5217112"/>
              <a:gd name="connsiteX2546" fmla="*/ 1293891 w 6785952"/>
              <a:gd name="connsiteY2546" fmla="*/ 4605874 h 5217112"/>
              <a:gd name="connsiteX2547" fmla="*/ 1301105 w 6785952"/>
              <a:gd name="connsiteY2547" fmla="*/ 4613732 h 5217112"/>
              <a:gd name="connsiteX2548" fmla="*/ 1292387 w 6785952"/>
              <a:gd name="connsiteY2548" fmla="*/ 4618712 h 5217112"/>
              <a:gd name="connsiteX2549" fmla="*/ 1289982 w 6785952"/>
              <a:gd name="connsiteY2549" fmla="*/ 4606981 h 5217112"/>
              <a:gd name="connsiteX2550" fmla="*/ 1293891 w 6785952"/>
              <a:gd name="connsiteY2550" fmla="*/ 4605874 h 5217112"/>
              <a:gd name="connsiteX2551" fmla="*/ 5445682 w 6785952"/>
              <a:gd name="connsiteY2551" fmla="*/ 4601337 h 5217112"/>
              <a:gd name="connsiteX2552" fmla="*/ 5446584 w 6785952"/>
              <a:gd name="connsiteY2552" fmla="*/ 4607645 h 5217112"/>
              <a:gd name="connsiteX2553" fmla="*/ 5442075 w 6785952"/>
              <a:gd name="connsiteY2553" fmla="*/ 4609748 h 5217112"/>
              <a:gd name="connsiteX2554" fmla="*/ 5440572 w 6785952"/>
              <a:gd name="connsiteY2554" fmla="*/ 4602001 h 5217112"/>
              <a:gd name="connsiteX2555" fmla="*/ 5445682 w 6785952"/>
              <a:gd name="connsiteY2555" fmla="*/ 4601337 h 5217112"/>
              <a:gd name="connsiteX2556" fmla="*/ 4190314 w 6785952"/>
              <a:gd name="connsiteY2556" fmla="*/ 4601337 h 5217112"/>
              <a:gd name="connsiteX2557" fmla="*/ 4191216 w 6785952"/>
              <a:gd name="connsiteY2557" fmla="*/ 4607645 h 5217112"/>
              <a:gd name="connsiteX2558" fmla="*/ 4186406 w 6785952"/>
              <a:gd name="connsiteY2558" fmla="*/ 4609748 h 5217112"/>
              <a:gd name="connsiteX2559" fmla="*/ 4185203 w 6785952"/>
              <a:gd name="connsiteY2559" fmla="*/ 4602001 h 5217112"/>
              <a:gd name="connsiteX2560" fmla="*/ 4190314 w 6785952"/>
              <a:gd name="connsiteY2560" fmla="*/ 4601337 h 5217112"/>
              <a:gd name="connsiteX2561" fmla="*/ 1651923 w 6785952"/>
              <a:gd name="connsiteY2561" fmla="*/ 4601337 h 5217112"/>
              <a:gd name="connsiteX2562" fmla="*/ 1652825 w 6785952"/>
              <a:gd name="connsiteY2562" fmla="*/ 4607645 h 5217112"/>
              <a:gd name="connsiteX2563" fmla="*/ 1648315 w 6785952"/>
              <a:gd name="connsiteY2563" fmla="*/ 4609748 h 5217112"/>
              <a:gd name="connsiteX2564" fmla="*/ 1647113 w 6785952"/>
              <a:gd name="connsiteY2564" fmla="*/ 4602001 h 5217112"/>
              <a:gd name="connsiteX2565" fmla="*/ 1651923 w 6785952"/>
              <a:gd name="connsiteY2565" fmla="*/ 4601337 h 5217112"/>
              <a:gd name="connsiteX2566" fmla="*/ 5843095 w 6785952"/>
              <a:gd name="connsiteY2566" fmla="*/ 4599013 h 5217112"/>
              <a:gd name="connsiteX2567" fmla="*/ 5845500 w 6785952"/>
              <a:gd name="connsiteY2567" fmla="*/ 4608530 h 5217112"/>
              <a:gd name="connsiteX2568" fmla="*/ 5838886 w 6785952"/>
              <a:gd name="connsiteY2568" fmla="*/ 4610523 h 5217112"/>
              <a:gd name="connsiteX2569" fmla="*/ 5836482 w 6785952"/>
              <a:gd name="connsiteY2569" fmla="*/ 4601115 h 5217112"/>
              <a:gd name="connsiteX2570" fmla="*/ 5843095 w 6785952"/>
              <a:gd name="connsiteY2570" fmla="*/ 4599013 h 5217112"/>
              <a:gd name="connsiteX2571" fmla="*/ 3078641 w 6785952"/>
              <a:gd name="connsiteY2571" fmla="*/ 4599013 h 5217112"/>
              <a:gd name="connsiteX2572" fmla="*/ 3081046 w 6785952"/>
              <a:gd name="connsiteY2572" fmla="*/ 4608530 h 5217112"/>
              <a:gd name="connsiteX2573" fmla="*/ 3074432 w 6785952"/>
              <a:gd name="connsiteY2573" fmla="*/ 4610523 h 5217112"/>
              <a:gd name="connsiteX2574" fmla="*/ 3072027 w 6785952"/>
              <a:gd name="connsiteY2574" fmla="*/ 4601115 h 5217112"/>
              <a:gd name="connsiteX2575" fmla="*/ 3078641 w 6785952"/>
              <a:gd name="connsiteY2575" fmla="*/ 4599013 h 5217112"/>
              <a:gd name="connsiteX2576" fmla="*/ 2049336 w 6785952"/>
              <a:gd name="connsiteY2576" fmla="*/ 4599013 h 5217112"/>
              <a:gd name="connsiteX2577" fmla="*/ 2051741 w 6785952"/>
              <a:gd name="connsiteY2577" fmla="*/ 4608530 h 5217112"/>
              <a:gd name="connsiteX2578" fmla="*/ 2045427 w 6785952"/>
              <a:gd name="connsiteY2578" fmla="*/ 4610523 h 5217112"/>
              <a:gd name="connsiteX2579" fmla="*/ 2042721 w 6785952"/>
              <a:gd name="connsiteY2579" fmla="*/ 4601115 h 5217112"/>
              <a:gd name="connsiteX2580" fmla="*/ 2049336 w 6785952"/>
              <a:gd name="connsiteY2580" fmla="*/ 4599013 h 5217112"/>
              <a:gd name="connsiteX2581" fmla="*/ 5209099 w 6785952"/>
              <a:gd name="connsiteY2581" fmla="*/ 4598127 h 5217112"/>
              <a:gd name="connsiteX2582" fmla="*/ 5212405 w 6785952"/>
              <a:gd name="connsiteY2582" fmla="*/ 4602776 h 5217112"/>
              <a:gd name="connsiteX2583" fmla="*/ 5186853 w 6785952"/>
              <a:gd name="connsiteY2583" fmla="*/ 4642949 h 5217112"/>
              <a:gd name="connsiteX2584" fmla="*/ 5209099 w 6785952"/>
              <a:gd name="connsiteY2584" fmla="*/ 4598127 h 5217112"/>
              <a:gd name="connsiteX2585" fmla="*/ 1415338 w 6785952"/>
              <a:gd name="connsiteY2585" fmla="*/ 4598127 h 5217112"/>
              <a:gd name="connsiteX2586" fmla="*/ 1418946 w 6785952"/>
              <a:gd name="connsiteY2586" fmla="*/ 4602776 h 5217112"/>
              <a:gd name="connsiteX2587" fmla="*/ 1393093 w 6785952"/>
              <a:gd name="connsiteY2587" fmla="*/ 4642949 h 5217112"/>
              <a:gd name="connsiteX2588" fmla="*/ 1415338 w 6785952"/>
              <a:gd name="connsiteY2588" fmla="*/ 4598127 h 5217112"/>
              <a:gd name="connsiteX2589" fmla="*/ 5351289 w 6785952"/>
              <a:gd name="connsiteY2589" fmla="*/ 4595471 h 5217112"/>
              <a:gd name="connsiteX2590" fmla="*/ 5352793 w 6785952"/>
              <a:gd name="connsiteY2590" fmla="*/ 4597353 h 5217112"/>
              <a:gd name="connsiteX2591" fmla="*/ 5351890 w 6785952"/>
              <a:gd name="connsiteY2591" fmla="*/ 4600341 h 5217112"/>
              <a:gd name="connsiteX2592" fmla="*/ 5348884 w 6785952"/>
              <a:gd name="connsiteY2592" fmla="*/ 4606649 h 5217112"/>
              <a:gd name="connsiteX2593" fmla="*/ 5351289 w 6785952"/>
              <a:gd name="connsiteY2593" fmla="*/ 4595471 h 5217112"/>
              <a:gd name="connsiteX2594" fmla="*/ 2586835 w 6785952"/>
              <a:gd name="connsiteY2594" fmla="*/ 4595471 h 5217112"/>
              <a:gd name="connsiteX2595" fmla="*/ 2588338 w 6785952"/>
              <a:gd name="connsiteY2595" fmla="*/ 4597353 h 5217112"/>
              <a:gd name="connsiteX2596" fmla="*/ 2587136 w 6785952"/>
              <a:gd name="connsiteY2596" fmla="*/ 4600341 h 5217112"/>
              <a:gd name="connsiteX2597" fmla="*/ 2584430 w 6785952"/>
              <a:gd name="connsiteY2597" fmla="*/ 4606649 h 5217112"/>
              <a:gd name="connsiteX2598" fmla="*/ 2586835 w 6785952"/>
              <a:gd name="connsiteY2598" fmla="*/ 4595471 h 5217112"/>
              <a:gd name="connsiteX2599" fmla="*/ 1557831 w 6785952"/>
              <a:gd name="connsiteY2599" fmla="*/ 4595471 h 5217112"/>
              <a:gd name="connsiteX2600" fmla="*/ 1559033 w 6785952"/>
              <a:gd name="connsiteY2600" fmla="*/ 4597353 h 5217112"/>
              <a:gd name="connsiteX2601" fmla="*/ 1558131 w 6785952"/>
              <a:gd name="connsiteY2601" fmla="*/ 4600341 h 5217112"/>
              <a:gd name="connsiteX2602" fmla="*/ 1555426 w 6785952"/>
              <a:gd name="connsiteY2602" fmla="*/ 4606649 h 5217112"/>
              <a:gd name="connsiteX2603" fmla="*/ 1557831 w 6785952"/>
              <a:gd name="connsiteY2603" fmla="*/ 4595471 h 5217112"/>
              <a:gd name="connsiteX2604" fmla="*/ 2169882 w 6785952"/>
              <a:gd name="connsiteY2604" fmla="*/ 4594697 h 5217112"/>
              <a:gd name="connsiteX2605" fmla="*/ 2165373 w 6785952"/>
              <a:gd name="connsiteY2605" fmla="*/ 4599787 h 5217112"/>
              <a:gd name="connsiteX2606" fmla="*/ 2167176 w 6785952"/>
              <a:gd name="connsiteY2606" fmla="*/ 4599234 h 5217112"/>
              <a:gd name="connsiteX2607" fmla="*/ 2167778 w 6785952"/>
              <a:gd name="connsiteY2607" fmla="*/ 4597685 h 5217112"/>
              <a:gd name="connsiteX2608" fmla="*/ 2170182 w 6785952"/>
              <a:gd name="connsiteY2608" fmla="*/ 4596025 h 5217112"/>
              <a:gd name="connsiteX2609" fmla="*/ 1784193 w 6785952"/>
              <a:gd name="connsiteY2609" fmla="*/ 4591155 h 5217112"/>
              <a:gd name="connsiteX2610" fmla="*/ 1780586 w 6785952"/>
              <a:gd name="connsiteY2610" fmla="*/ 4612515 h 5217112"/>
              <a:gd name="connsiteX2611" fmla="*/ 1772469 w 6785952"/>
              <a:gd name="connsiteY2611" fmla="*/ 4613179 h 5217112"/>
              <a:gd name="connsiteX2612" fmla="*/ 1784193 w 6785952"/>
              <a:gd name="connsiteY2612" fmla="*/ 4591155 h 5217112"/>
              <a:gd name="connsiteX2613" fmla="*/ 755188 w 6785952"/>
              <a:gd name="connsiteY2613" fmla="*/ 4591155 h 5217112"/>
              <a:gd name="connsiteX2614" fmla="*/ 751280 w 6785952"/>
              <a:gd name="connsiteY2614" fmla="*/ 4612515 h 5217112"/>
              <a:gd name="connsiteX2615" fmla="*/ 743464 w 6785952"/>
              <a:gd name="connsiteY2615" fmla="*/ 4613179 h 5217112"/>
              <a:gd name="connsiteX2616" fmla="*/ 755188 w 6785952"/>
              <a:gd name="connsiteY2616" fmla="*/ 4591155 h 5217112"/>
              <a:gd name="connsiteX2617" fmla="*/ 6054126 w 6785952"/>
              <a:gd name="connsiteY2617" fmla="*/ 4590934 h 5217112"/>
              <a:gd name="connsiteX2618" fmla="*/ 6067955 w 6785952"/>
              <a:gd name="connsiteY2618" fmla="*/ 4602222 h 5217112"/>
              <a:gd name="connsiteX2619" fmla="*/ 6070059 w 6785952"/>
              <a:gd name="connsiteY2619" fmla="*/ 4607645 h 5217112"/>
              <a:gd name="connsiteX2620" fmla="*/ 6045108 w 6785952"/>
              <a:gd name="connsiteY2620" fmla="*/ 4601115 h 5217112"/>
              <a:gd name="connsiteX2621" fmla="*/ 6054126 w 6785952"/>
              <a:gd name="connsiteY2621" fmla="*/ 4590934 h 5217112"/>
              <a:gd name="connsiteX2622" fmla="*/ 5322429 w 6785952"/>
              <a:gd name="connsiteY2622" fmla="*/ 4590934 h 5217112"/>
              <a:gd name="connsiteX2623" fmla="*/ 5329945 w 6785952"/>
              <a:gd name="connsiteY2623" fmla="*/ 4592483 h 5217112"/>
              <a:gd name="connsiteX2624" fmla="*/ 5328442 w 6785952"/>
              <a:gd name="connsiteY2624" fmla="*/ 4602333 h 5217112"/>
              <a:gd name="connsiteX2625" fmla="*/ 5317921 w 6785952"/>
              <a:gd name="connsiteY2625" fmla="*/ 4595582 h 5217112"/>
              <a:gd name="connsiteX2626" fmla="*/ 5322429 w 6785952"/>
              <a:gd name="connsiteY2626" fmla="*/ 4590934 h 5217112"/>
              <a:gd name="connsiteX2627" fmla="*/ 2557675 w 6785952"/>
              <a:gd name="connsiteY2627" fmla="*/ 4590934 h 5217112"/>
              <a:gd name="connsiteX2628" fmla="*/ 2565491 w 6785952"/>
              <a:gd name="connsiteY2628" fmla="*/ 4592483 h 5217112"/>
              <a:gd name="connsiteX2629" fmla="*/ 2563988 w 6785952"/>
              <a:gd name="connsiteY2629" fmla="*/ 4602333 h 5217112"/>
              <a:gd name="connsiteX2630" fmla="*/ 2553467 w 6785952"/>
              <a:gd name="connsiteY2630" fmla="*/ 4595582 h 5217112"/>
              <a:gd name="connsiteX2631" fmla="*/ 2557675 w 6785952"/>
              <a:gd name="connsiteY2631" fmla="*/ 4590934 h 5217112"/>
              <a:gd name="connsiteX2632" fmla="*/ 1528670 w 6785952"/>
              <a:gd name="connsiteY2632" fmla="*/ 4590934 h 5217112"/>
              <a:gd name="connsiteX2633" fmla="*/ 1536186 w 6785952"/>
              <a:gd name="connsiteY2633" fmla="*/ 4592483 h 5217112"/>
              <a:gd name="connsiteX2634" fmla="*/ 1534983 w 6785952"/>
              <a:gd name="connsiteY2634" fmla="*/ 4602333 h 5217112"/>
              <a:gd name="connsiteX2635" fmla="*/ 1524462 w 6785952"/>
              <a:gd name="connsiteY2635" fmla="*/ 4595582 h 5217112"/>
              <a:gd name="connsiteX2636" fmla="*/ 1528670 w 6785952"/>
              <a:gd name="connsiteY2636" fmla="*/ 4590934 h 5217112"/>
              <a:gd name="connsiteX2637" fmla="*/ 5560817 w 6785952"/>
              <a:gd name="connsiteY2637" fmla="*/ 4590712 h 5217112"/>
              <a:gd name="connsiteX2638" fmla="*/ 5562321 w 6785952"/>
              <a:gd name="connsiteY2638" fmla="*/ 4590712 h 5217112"/>
              <a:gd name="connsiteX2639" fmla="*/ 5562922 w 6785952"/>
              <a:gd name="connsiteY2639" fmla="*/ 4592040 h 5217112"/>
              <a:gd name="connsiteX2640" fmla="*/ 5556609 w 6785952"/>
              <a:gd name="connsiteY2640" fmla="*/ 4593147 h 5217112"/>
              <a:gd name="connsiteX2641" fmla="*/ 5560817 w 6785952"/>
              <a:gd name="connsiteY2641" fmla="*/ 4590712 h 5217112"/>
              <a:gd name="connsiteX2642" fmla="*/ 4305450 w 6785952"/>
              <a:gd name="connsiteY2642" fmla="*/ 4590712 h 5217112"/>
              <a:gd name="connsiteX2643" fmla="*/ 4306652 w 6785952"/>
              <a:gd name="connsiteY2643" fmla="*/ 4590712 h 5217112"/>
              <a:gd name="connsiteX2644" fmla="*/ 4307253 w 6785952"/>
              <a:gd name="connsiteY2644" fmla="*/ 4592040 h 5217112"/>
              <a:gd name="connsiteX2645" fmla="*/ 4301241 w 6785952"/>
              <a:gd name="connsiteY2645" fmla="*/ 4593147 h 5217112"/>
              <a:gd name="connsiteX2646" fmla="*/ 4305450 w 6785952"/>
              <a:gd name="connsiteY2646" fmla="*/ 4590712 h 5217112"/>
              <a:gd name="connsiteX2647" fmla="*/ 2796363 w 6785952"/>
              <a:gd name="connsiteY2647" fmla="*/ 4590712 h 5217112"/>
              <a:gd name="connsiteX2648" fmla="*/ 2797867 w 6785952"/>
              <a:gd name="connsiteY2648" fmla="*/ 4590712 h 5217112"/>
              <a:gd name="connsiteX2649" fmla="*/ 2798168 w 6785952"/>
              <a:gd name="connsiteY2649" fmla="*/ 4592040 h 5217112"/>
              <a:gd name="connsiteX2650" fmla="*/ 2792155 w 6785952"/>
              <a:gd name="connsiteY2650" fmla="*/ 4593147 h 5217112"/>
              <a:gd name="connsiteX2651" fmla="*/ 2796363 w 6785952"/>
              <a:gd name="connsiteY2651" fmla="*/ 4590712 h 5217112"/>
              <a:gd name="connsiteX2652" fmla="*/ 1767058 w 6785952"/>
              <a:gd name="connsiteY2652" fmla="*/ 4590712 h 5217112"/>
              <a:gd name="connsiteX2653" fmla="*/ 1768562 w 6785952"/>
              <a:gd name="connsiteY2653" fmla="*/ 4590712 h 5217112"/>
              <a:gd name="connsiteX2654" fmla="*/ 1769163 w 6785952"/>
              <a:gd name="connsiteY2654" fmla="*/ 4592040 h 5217112"/>
              <a:gd name="connsiteX2655" fmla="*/ 1763150 w 6785952"/>
              <a:gd name="connsiteY2655" fmla="*/ 4593147 h 5217112"/>
              <a:gd name="connsiteX2656" fmla="*/ 1767058 w 6785952"/>
              <a:gd name="connsiteY2656" fmla="*/ 4590712 h 5217112"/>
              <a:gd name="connsiteX2657" fmla="*/ 5943500 w 6785952"/>
              <a:gd name="connsiteY2657" fmla="*/ 4589606 h 5217112"/>
              <a:gd name="connsiteX2658" fmla="*/ 5938690 w 6785952"/>
              <a:gd name="connsiteY2658" fmla="*/ 4613289 h 5217112"/>
              <a:gd name="connsiteX2659" fmla="*/ 5943500 w 6785952"/>
              <a:gd name="connsiteY2659" fmla="*/ 4589606 h 5217112"/>
              <a:gd name="connsiteX2660" fmla="*/ 5549093 w 6785952"/>
              <a:gd name="connsiteY2660" fmla="*/ 4588610 h 5217112"/>
              <a:gd name="connsiteX2661" fmla="*/ 5549394 w 6785952"/>
              <a:gd name="connsiteY2661" fmla="*/ 4598349 h 5217112"/>
              <a:gd name="connsiteX2662" fmla="*/ 5538572 w 6785952"/>
              <a:gd name="connsiteY2662" fmla="*/ 4590380 h 5217112"/>
              <a:gd name="connsiteX2663" fmla="*/ 5549093 w 6785952"/>
              <a:gd name="connsiteY2663" fmla="*/ 4588610 h 5217112"/>
              <a:gd name="connsiteX2664" fmla="*/ 4293726 w 6785952"/>
              <a:gd name="connsiteY2664" fmla="*/ 4588610 h 5217112"/>
              <a:gd name="connsiteX2665" fmla="*/ 4294027 w 6785952"/>
              <a:gd name="connsiteY2665" fmla="*/ 4598349 h 5217112"/>
              <a:gd name="connsiteX2666" fmla="*/ 4283205 w 6785952"/>
              <a:gd name="connsiteY2666" fmla="*/ 4590380 h 5217112"/>
              <a:gd name="connsiteX2667" fmla="*/ 4293726 w 6785952"/>
              <a:gd name="connsiteY2667" fmla="*/ 4588610 h 5217112"/>
              <a:gd name="connsiteX2668" fmla="*/ 2784639 w 6785952"/>
              <a:gd name="connsiteY2668" fmla="*/ 4588610 h 5217112"/>
              <a:gd name="connsiteX2669" fmla="*/ 2784940 w 6785952"/>
              <a:gd name="connsiteY2669" fmla="*/ 4598349 h 5217112"/>
              <a:gd name="connsiteX2670" fmla="*/ 2774118 w 6785952"/>
              <a:gd name="connsiteY2670" fmla="*/ 4590380 h 5217112"/>
              <a:gd name="connsiteX2671" fmla="*/ 2784639 w 6785952"/>
              <a:gd name="connsiteY2671" fmla="*/ 4588610 h 5217112"/>
              <a:gd name="connsiteX2672" fmla="*/ 1755334 w 6785952"/>
              <a:gd name="connsiteY2672" fmla="*/ 4588610 h 5217112"/>
              <a:gd name="connsiteX2673" fmla="*/ 1755635 w 6785952"/>
              <a:gd name="connsiteY2673" fmla="*/ 4598349 h 5217112"/>
              <a:gd name="connsiteX2674" fmla="*/ 1745113 w 6785952"/>
              <a:gd name="connsiteY2674" fmla="*/ 4590380 h 5217112"/>
              <a:gd name="connsiteX2675" fmla="*/ 1755334 w 6785952"/>
              <a:gd name="connsiteY2675" fmla="*/ 4588610 h 5217112"/>
              <a:gd name="connsiteX2676" fmla="*/ 2233913 w 6785952"/>
              <a:gd name="connsiteY2676" fmla="*/ 4587392 h 5217112"/>
              <a:gd name="connsiteX2677" fmla="*/ 2233612 w 6785952"/>
              <a:gd name="connsiteY2677" fmla="*/ 4592151 h 5217112"/>
              <a:gd name="connsiteX2678" fmla="*/ 2230606 w 6785952"/>
              <a:gd name="connsiteY2678" fmla="*/ 4593369 h 5217112"/>
              <a:gd name="connsiteX2679" fmla="*/ 2229103 w 6785952"/>
              <a:gd name="connsiteY2679" fmla="*/ 4597906 h 5217112"/>
              <a:gd name="connsiteX2680" fmla="*/ 2225796 w 6785952"/>
              <a:gd name="connsiteY2680" fmla="*/ 4597574 h 5217112"/>
              <a:gd name="connsiteX2681" fmla="*/ 2229103 w 6785952"/>
              <a:gd name="connsiteY2681" fmla="*/ 4588499 h 5217112"/>
              <a:gd name="connsiteX2682" fmla="*/ 2233913 w 6785952"/>
              <a:gd name="connsiteY2682" fmla="*/ 4587392 h 5217112"/>
              <a:gd name="connsiteX2683" fmla="*/ 1204908 w 6785952"/>
              <a:gd name="connsiteY2683" fmla="*/ 4587392 h 5217112"/>
              <a:gd name="connsiteX2684" fmla="*/ 1204607 w 6785952"/>
              <a:gd name="connsiteY2684" fmla="*/ 4592151 h 5217112"/>
              <a:gd name="connsiteX2685" fmla="*/ 1201601 w 6785952"/>
              <a:gd name="connsiteY2685" fmla="*/ 4593369 h 5217112"/>
              <a:gd name="connsiteX2686" fmla="*/ 1199798 w 6785952"/>
              <a:gd name="connsiteY2686" fmla="*/ 4597906 h 5217112"/>
              <a:gd name="connsiteX2687" fmla="*/ 1196792 w 6785952"/>
              <a:gd name="connsiteY2687" fmla="*/ 4597574 h 5217112"/>
              <a:gd name="connsiteX2688" fmla="*/ 1200099 w 6785952"/>
              <a:gd name="connsiteY2688" fmla="*/ 4588499 h 5217112"/>
              <a:gd name="connsiteX2689" fmla="*/ 1204908 w 6785952"/>
              <a:gd name="connsiteY2689" fmla="*/ 4587392 h 5217112"/>
              <a:gd name="connsiteX2690" fmla="*/ 5437265 w 6785952"/>
              <a:gd name="connsiteY2690" fmla="*/ 4585843 h 5217112"/>
              <a:gd name="connsiteX2691" fmla="*/ 5441174 w 6785952"/>
              <a:gd name="connsiteY2691" fmla="*/ 4586950 h 5217112"/>
              <a:gd name="connsiteX2692" fmla="*/ 5441775 w 6785952"/>
              <a:gd name="connsiteY2692" fmla="*/ 4592040 h 5217112"/>
              <a:gd name="connsiteX2693" fmla="*/ 5440271 w 6785952"/>
              <a:gd name="connsiteY2693" fmla="*/ 4592704 h 5217112"/>
              <a:gd name="connsiteX2694" fmla="*/ 5437265 w 6785952"/>
              <a:gd name="connsiteY2694" fmla="*/ 4585843 h 5217112"/>
              <a:gd name="connsiteX2695" fmla="*/ 4181897 w 6785952"/>
              <a:gd name="connsiteY2695" fmla="*/ 4585843 h 5217112"/>
              <a:gd name="connsiteX2696" fmla="*/ 4185505 w 6785952"/>
              <a:gd name="connsiteY2696" fmla="*/ 4586950 h 5217112"/>
              <a:gd name="connsiteX2697" fmla="*/ 4186106 w 6785952"/>
              <a:gd name="connsiteY2697" fmla="*/ 4592040 h 5217112"/>
              <a:gd name="connsiteX2698" fmla="*/ 4184602 w 6785952"/>
              <a:gd name="connsiteY2698" fmla="*/ 4592704 h 5217112"/>
              <a:gd name="connsiteX2699" fmla="*/ 4181897 w 6785952"/>
              <a:gd name="connsiteY2699" fmla="*/ 4585843 h 5217112"/>
              <a:gd name="connsiteX2700" fmla="*/ 1643506 w 6785952"/>
              <a:gd name="connsiteY2700" fmla="*/ 4585843 h 5217112"/>
              <a:gd name="connsiteX2701" fmla="*/ 1647413 w 6785952"/>
              <a:gd name="connsiteY2701" fmla="*/ 4586950 h 5217112"/>
              <a:gd name="connsiteX2702" fmla="*/ 1648015 w 6785952"/>
              <a:gd name="connsiteY2702" fmla="*/ 4592040 h 5217112"/>
              <a:gd name="connsiteX2703" fmla="*/ 1646512 w 6785952"/>
              <a:gd name="connsiteY2703" fmla="*/ 4592704 h 5217112"/>
              <a:gd name="connsiteX2704" fmla="*/ 1643506 w 6785952"/>
              <a:gd name="connsiteY2704" fmla="*/ 4585843 h 5217112"/>
              <a:gd name="connsiteX2705" fmla="*/ 5601401 w 6785952"/>
              <a:gd name="connsiteY2705" fmla="*/ 4585511 h 5217112"/>
              <a:gd name="connsiteX2706" fmla="*/ 5610419 w 6785952"/>
              <a:gd name="connsiteY2706" fmla="*/ 4588388 h 5217112"/>
              <a:gd name="connsiteX2707" fmla="*/ 5609818 w 6785952"/>
              <a:gd name="connsiteY2707" fmla="*/ 4594807 h 5217112"/>
              <a:gd name="connsiteX2708" fmla="*/ 5585769 w 6785952"/>
              <a:gd name="connsiteY2708" fmla="*/ 4598791 h 5217112"/>
              <a:gd name="connsiteX2709" fmla="*/ 5601401 w 6785952"/>
              <a:gd name="connsiteY2709" fmla="*/ 4585511 h 5217112"/>
              <a:gd name="connsiteX2710" fmla="*/ 4346032 w 6785952"/>
              <a:gd name="connsiteY2710" fmla="*/ 4585511 h 5217112"/>
              <a:gd name="connsiteX2711" fmla="*/ 4354751 w 6785952"/>
              <a:gd name="connsiteY2711" fmla="*/ 4588388 h 5217112"/>
              <a:gd name="connsiteX2712" fmla="*/ 4354451 w 6785952"/>
              <a:gd name="connsiteY2712" fmla="*/ 4594807 h 5217112"/>
              <a:gd name="connsiteX2713" fmla="*/ 4330101 w 6785952"/>
              <a:gd name="connsiteY2713" fmla="*/ 4598791 h 5217112"/>
              <a:gd name="connsiteX2714" fmla="*/ 4346032 w 6785952"/>
              <a:gd name="connsiteY2714" fmla="*/ 4585511 h 5217112"/>
              <a:gd name="connsiteX2715" fmla="*/ 1807942 w 6785952"/>
              <a:gd name="connsiteY2715" fmla="*/ 4585511 h 5217112"/>
              <a:gd name="connsiteX2716" fmla="*/ 1816660 w 6785952"/>
              <a:gd name="connsiteY2716" fmla="*/ 4588388 h 5217112"/>
              <a:gd name="connsiteX2717" fmla="*/ 1816059 w 6785952"/>
              <a:gd name="connsiteY2717" fmla="*/ 4594807 h 5217112"/>
              <a:gd name="connsiteX2718" fmla="*/ 1792009 w 6785952"/>
              <a:gd name="connsiteY2718" fmla="*/ 4598791 h 5217112"/>
              <a:gd name="connsiteX2719" fmla="*/ 1807942 w 6785952"/>
              <a:gd name="connsiteY2719" fmla="*/ 4585511 h 5217112"/>
              <a:gd name="connsiteX2720" fmla="*/ 6238102 w 6785952"/>
              <a:gd name="connsiteY2720" fmla="*/ 4585289 h 5217112"/>
              <a:gd name="connsiteX2721" fmla="*/ 6251029 w 6785952"/>
              <a:gd name="connsiteY2721" fmla="*/ 4585289 h 5217112"/>
              <a:gd name="connsiteX2722" fmla="*/ 6229386 w 6785952"/>
              <a:gd name="connsiteY2722" fmla="*/ 4604436 h 5217112"/>
              <a:gd name="connsiteX2723" fmla="*/ 6224876 w 6785952"/>
              <a:gd name="connsiteY2723" fmla="*/ 4590380 h 5217112"/>
              <a:gd name="connsiteX2724" fmla="*/ 6238102 w 6785952"/>
              <a:gd name="connsiteY2724" fmla="*/ 4585289 h 5217112"/>
              <a:gd name="connsiteX2725" fmla="*/ 2444644 w 6785952"/>
              <a:gd name="connsiteY2725" fmla="*/ 4585289 h 5217112"/>
              <a:gd name="connsiteX2726" fmla="*/ 2457270 w 6785952"/>
              <a:gd name="connsiteY2726" fmla="*/ 4585289 h 5217112"/>
              <a:gd name="connsiteX2727" fmla="*/ 2455165 w 6785952"/>
              <a:gd name="connsiteY2727" fmla="*/ 4599455 h 5217112"/>
              <a:gd name="connsiteX2728" fmla="*/ 2447049 w 6785952"/>
              <a:gd name="connsiteY2728" fmla="*/ 4601558 h 5217112"/>
              <a:gd name="connsiteX2729" fmla="*/ 2447950 w 6785952"/>
              <a:gd name="connsiteY2729" fmla="*/ 4602776 h 5217112"/>
              <a:gd name="connsiteX2730" fmla="*/ 2422398 w 6785952"/>
              <a:gd name="connsiteY2730" fmla="*/ 4642949 h 5217112"/>
              <a:gd name="connsiteX2731" fmla="*/ 2436828 w 6785952"/>
              <a:gd name="connsiteY2731" fmla="*/ 4607202 h 5217112"/>
              <a:gd name="connsiteX2732" fmla="*/ 2440135 w 6785952"/>
              <a:gd name="connsiteY2732" fmla="*/ 4603329 h 5217112"/>
              <a:gd name="connsiteX2733" fmla="*/ 2435626 w 6785952"/>
              <a:gd name="connsiteY2733" fmla="*/ 4604436 h 5217112"/>
              <a:gd name="connsiteX2734" fmla="*/ 2431417 w 6785952"/>
              <a:gd name="connsiteY2734" fmla="*/ 4590380 h 5217112"/>
              <a:gd name="connsiteX2735" fmla="*/ 2444644 w 6785952"/>
              <a:gd name="connsiteY2735" fmla="*/ 4585289 h 5217112"/>
              <a:gd name="connsiteX2736" fmla="*/ 5726456 w 6785952"/>
              <a:gd name="connsiteY2736" fmla="*/ 4583076 h 5217112"/>
              <a:gd name="connsiteX2737" fmla="*/ 5749603 w 6785952"/>
              <a:gd name="connsiteY2737" fmla="*/ 4592483 h 5217112"/>
              <a:gd name="connsiteX2738" fmla="*/ 5751107 w 6785952"/>
              <a:gd name="connsiteY2738" fmla="*/ 4607202 h 5217112"/>
              <a:gd name="connsiteX2739" fmla="*/ 5748401 w 6785952"/>
              <a:gd name="connsiteY2739" fmla="*/ 4612072 h 5217112"/>
              <a:gd name="connsiteX2740" fmla="*/ 5718942 w 6785952"/>
              <a:gd name="connsiteY2740" fmla="*/ 4592040 h 5217112"/>
              <a:gd name="connsiteX2741" fmla="*/ 5726456 w 6785952"/>
              <a:gd name="connsiteY2741" fmla="*/ 4583076 h 5217112"/>
              <a:gd name="connsiteX2742" fmla="*/ 1932697 w 6785952"/>
              <a:gd name="connsiteY2742" fmla="*/ 4583076 h 5217112"/>
              <a:gd name="connsiteX2743" fmla="*/ 1955844 w 6785952"/>
              <a:gd name="connsiteY2743" fmla="*/ 4592483 h 5217112"/>
              <a:gd name="connsiteX2744" fmla="*/ 1957348 w 6785952"/>
              <a:gd name="connsiteY2744" fmla="*/ 4607202 h 5217112"/>
              <a:gd name="connsiteX2745" fmla="*/ 1954642 w 6785952"/>
              <a:gd name="connsiteY2745" fmla="*/ 4612072 h 5217112"/>
              <a:gd name="connsiteX2746" fmla="*/ 1925182 w 6785952"/>
              <a:gd name="connsiteY2746" fmla="*/ 4592040 h 5217112"/>
              <a:gd name="connsiteX2747" fmla="*/ 1932697 w 6785952"/>
              <a:gd name="connsiteY2747" fmla="*/ 4583076 h 5217112"/>
              <a:gd name="connsiteX2748" fmla="*/ 2071882 w 6785952"/>
              <a:gd name="connsiteY2748" fmla="*/ 4582965 h 5217112"/>
              <a:gd name="connsiteX2749" fmla="*/ 2076992 w 6785952"/>
              <a:gd name="connsiteY2749" fmla="*/ 4583851 h 5217112"/>
              <a:gd name="connsiteX2750" fmla="*/ 2085109 w 6785952"/>
              <a:gd name="connsiteY2750" fmla="*/ 4589274 h 5217112"/>
              <a:gd name="connsiteX2751" fmla="*/ 2082704 w 6785952"/>
              <a:gd name="connsiteY2751" fmla="*/ 4607202 h 5217112"/>
              <a:gd name="connsiteX2752" fmla="*/ 2064967 w 6785952"/>
              <a:gd name="connsiteY2752" fmla="*/ 4608198 h 5217112"/>
              <a:gd name="connsiteX2753" fmla="*/ 2063164 w 6785952"/>
              <a:gd name="connsiteY2753" fmla="*/ 4610965 h 5217112"/>
              <a:gd name="connsiteX2754" fmla="*/ 2056851 w 6785952"/>
              <a:gd name="connsiteY2754" fmla="*/ 4613289 h 5217112"/>
              <a:gd name="connsiteX2755" fmla="*/ 2055348 w 6785952"/>
              <a:gd name="connsiteY2755" fmla="*/ 4610080 h 5217112"/>
              <a:gd name="connsiteX2756" fmla="*/ 2061660 w 6785952"/>
              <a:gd name="connsiteY2756" fmla="*/ 4606317 h 5217112"/>
              <a:gd name="connsiteX2757" fmla="*/ 2061961 w 6785952"/>
              <a:gd name="connsiteY2757" fmla="*/ 4604768 h 5217112"/>
              <a:gd name="connsiteX2758" fmla="*/ 2058654 w 6785952"/>
              <a:gd name="connsiteY2758" fmla="*/ 4601448 h 5217112"/>
              <a:gd name="connsiteX2759" fmla="*/ 2059255 w 6785952"/>
              <a:gd name="connsiteY2759" fmla="*/ 4586396 h 5217112"/>
              <a:gd name="connsiteX2760" fmla="*/ 2071882 w 6785952"/>
              <a:gd name="connsiteY2760" fmla="*/ 4582965 h 5217112"/>
              <a:gd name="connsiteX2761" fmla="*/ 1042576 w 6785952"/>
              <a:gd name="connsiteY2761" fmla="*/ 4582965 h 5217112"/>
              <a:gd name="connsiteX2762" fmla="*/ 1047987 w 6785952"/>
              <a:gd name="connsiteY2762" fmla="*/ 4583851 h 5217112"/>
              <a:gd name="connsiteX2763" fmla="*/ 1055804 w 6785952"/>
              <a:gd name="connsiteY2763" fmla="*/ 4589274 h 5217112"/>
              <a:gd name="connsiteX2764" fmla="*/ 1053699 w 6785952"/>
              <a:gd name="connsiteY2764" fmla="*/ 4607202 h 5217112"/>
              <a:gd name="connsiteX2765" fmla="*/ 1035963 w 6785952"/>
              <a:gd name="connsiteY2765" fmla="*/ 4608198 h 5217112"/>
              <a:gd name="connsiteX2766" fmla="*/ 1034159 w 6785952"/>
              <a:gd name="connsiteY2766" fmla="*/ 4610965 h 5217112"/>
              <a:gd name="connsiteX2767" fmla="*/ 1027546 w 6785952"/>
              <a:gd name="connsiteY2767" fmla="*/ 4613289 h 5217112"/>
              <a:gd name="connsiteX2768" fmla="*/ 1026042 w 6785952"/>
              <a:gd name="connsiteY2768" fmla="*/ 4610080 h 5217112"/>
              <a:gd name="connsiteX2769" fmla="*/ 1032656 w 6785952"/>
              <a:gd name="connsiteY2769" fmla="*/ 4606317 h 5217112"/>
              <a:gd name="connsiteX2770" fmla="*/ 1032656 w 6785952"/>
              <a:gd name="connsiteY2770" fmla="*/ 4604768 h 5217112"/>
              <a:gd name="connsiteX2771" fmla="*/ 1029649 w 6785952"/>
              <a:gd name="connsiteY2771" fmla="*/ 4601448 h 5217112"/>
              <a:gd name="connsiteX2772" fmla="*/ 1029950 w 6785952"/>
              <a:gd name="connsiteY2772" fmla="*/ 4586396 h 5217112"/>
              <a:gd name="connsiteX2773" fmla="*/ 1042576 w 6785952"/>
              <a:gd name="connsiteY2773" fmla="*/ 4582965 h 5217112"/>
              <a:gd name="connsiteX2774" fmla="*/ 2254355 w 6785952"/>
              <a:gd name="connsiteY2774" fmla="*/ 4582191 h 5217112"/>
              <a:gd name="connsiteX2775" fmla="*/ 2263073 w 6785952"/>
              <a:gd name="connsiteY2775" fmla="*/ 4589938 h 5217112"/>
              <a:gd name="connsiteX2776" fmla="*/ 2262171 w 6785952"/>
              <a:gd name="connsiteY2776" fmla="*/ 4592262 h 5217112"/>
              <a:gd name="connsiteX2777" fmla="*/ 2267883 w 6785952"/>
              <a:gd name="connsiteY2777" fmla="*/ 4597353 h 5217112"/>
              <a:gd name="connsiteX2778" fmla="*/ 2274195 w 6785952"/>
              <a:gd name="connsiteY2778" fmla="*/ 4602222 h 5217112"/>
              <a:gd name="connsiteX2779" fmla="*/ 2276300 w 6785952"/>
              <a:gd name="connsiteY2779" fmla="*/ 4607645 h 5217112"/>
              <a:gd name="connsiteX2780" fmla="*/ 2251349 w 6785952"/>
              <a:gd name="connsiteY2780" fmla="*/ 4601115 h 5217112"/>
              <a:gd name="connsiteX2781" fmla="*/ 2257662 w 6785952"/>
              <a:gd name="connsiteY2781" fmla="*/ 4594254 h 5217112"/>
              <a:gd name="connsiteX2782" fmla="*/ 2249846 w 6785952"/>
              <a:gd name="connsiteY2782" fmla="*/ 4593701 h 5217112"/>
              <a:gd name="connsiteX2783" fmla="*/ 2254355 w 6785952"/>
              <a:gd name="connsiteY2783" fmla="*/ 4582191 h 5217112"/>
              <a:gd name="connsiteX2784" fmla="*/ 1225350 w 6785952"/>
              <a:gd name="connsiteY2784" fmla="*/ 4582191 h 5217112"/>
              <a:gd name="connsiteX2785" fmla="*/ 1231963 w 6785952"/>
              <a:gd name="connsiteY2785" fmla="*/ 4594475 h 5217112"/>
              <a:gd name="connsiteX2786" fmla="*/ 1225350 w 6785952"/>
              <a:gd name="connsiteY2786" fmla="*/ 4582191 h 5217112"/>
              <a:gd name="connsiteX2787" fmla="*/ 5962439 w 6785952"/>
              <a:gd name="connsiteY2787" fmla="*/ 4582080 h 5217112"/>
              <a:gd name="connsiteX2788" fmla="*/ 5968150 w 6785952"/>
              <a:gd name="connsiteY2788" fmla="*/ 4590712 h 5217112"/>
              <a:gd name="connsiteX2789" fmla="*/ 5977169 w 6785952"/>
              <a:gd name="connsiteY2789" fmla="*/ 4612625 h 5217112"/>
              <a:gd name="connsiteX2790" fmla="*/ 5975366 w 6785952"/>
              <a:gd name="connsiteY2790" fmla="*/ 4616609 h 5217112"/>
              <a:gd name="connsiteX2791" fmla="*/ 5975967 w 6785952"/>
              <a:gd name="connsiteY2791" fmla="*/ 4618048 h 5217112"/>
              <a:gd name="connsiteX2792" fmla="*/ 5973261 w 6785952"/>
              <a:gd name="connsiteY2792" fmla="*/ 4620704 h 5217112"/>
              <a:gd name="connsiteX2793" fmla="*/ 5968452 w 6785952"/>
              <a:gd name="connsiteY2793" fmla="*/ 4613289 h 5217112"/>
              <a:gd name="connsiteX2794" fmla="*/ 5965445 w 6785952"/>
              <a:gd name="connsiteY2794" fmla="*/ 4606538 h 5217112"/>
              <a:gd name="connsiteX2795" fmla="*/ 5962439 w 6785952"/>
              <a:gd name="connsiteY2795" fmla="*/ 4582080 h 5217112"/>
              <a:gd name="connsiteX2796" fmla="*/ 1865360 w 6785952"/>
              <a:gd name="connsiteY2796" fmla="*/ 4582080 h 5217112"/>
              <a:gd name="connsiteX2797" fmla="*/ 1862654 w 6785952"/>
              <a:gd name="connsiteY2797" fmla="*/ 4589052 h 5217112"/>
              <a:gd name="connsiteX2798" fmla="*/ 1870770 w 6785952"/>
              <a:gd name="connsiteY2798" fmla="*/ 4586507 h 5217112"/>
              <a:gd name="connsiteX2799" fmla="*/ 1874077 w 6785952"/>
              <a:gd name="connsiteY2799" fmla="*/ 4602554 h 5217112"/>
              <a:gd name="connsiteX2800" fmla="*/ 1862353 w 6785952"/>
              <a:gd name="connsiteY2800" fmla="*/ 4613289 h 5217112"/>
              <a:gd name="connsiteX2801" fmla="*/ 1855739 w 6785952"/>
              <a:gd name="connsiteY2801" fmla="*/ 4606096 h 5217112"/>
              <a:gd name="connsiteX2802" fmla="*/ 1845218 w 6785952"/>
              <a:gd name="connsiteY2802" fmla="*/ 4625021 h 5217112"/>
              <a:gd name="connsiteX2803" fmla="*/ 1865360 w 6785952"/>
              <a:gd name="connsiteY2803" fmla="*/ 4582080 h 5217112"/>
              <a:gd name="connsiteX2804" fmla="*/ 836054 w 6785952"/>
              <a:gd name="connsiteY2804" fmla="*/ 4582080 h 5217112"/>
              <a:gd name="connsiteX2805" fmla="*/ 815912 w 6785952"/>
              <a:gd name="connsiteY2805" fmla="*/ 4625021 h 5217112"/>
              <a:gd name="connsiteX2806" fmla="*/ 836054 w 6785952"/>
              <a:gd name="connsiteY2806" fmla="*/ 4582080 h 5217112"/>
              <a:gd name="connsiteX2807" fmla="*/ 5057588 w 6785952"/>
              <a:gd name="connsiteY2807" fmla="*/ 4581748 h 5217112"/>
              <a:gd name="connsiteX2808" fmla="*/ 5062999 w 6785952"/>
              <a:gd name="connsiteY2808" fmla="*/ 4582744 h 5217112"/>
              <a:gd name="connsiteX2809" fmla="*/ 5070816 w 6785952"/>
              <a:gd name="connsiteY2809" fmla="*/ 4590270 h 5217112"/>
              <a:gd name="connsiteX2810" fmla="*/ 5071417 w 6785952"/>
              <a:gd name="connsiteY2810" fmla="*/ 4592151 h 5217112"/>
              <a:gd name="connsiteX2811" fmla="*/ 5072318 w 6785952"/>
              <a:gd name="connsiteY2811" fmla="*/ 4591930 h 5217112"/>
              <a:gd name="connsiteX2812" fmla="*/ 5088551 w 6785952"/>
              <a:gd name="connsiteY2812" fmla="*/ 4589716 h 5217112"/>
              <a:gd name="connsiteX2813" fmla="*/ 5074723 w 6785952"/>
              <a:gd name="connsiteY2813" fmla="*/ 4601558 h 5217112"/>
              <a:gd name="connsiteX2814" fmla="*/ 5070215 w 6785952"/>
              <a:gd name="connsiteY2814" fmla="*/ 4601890 h 5217112"/>
              <a:gd name="connsiteX2815" fmla="*/ 5066005 w 6785952"/>
              <a:gd name="connsiteY2815" fmla="*/ 4608198 h 5217112"/>
              <a:gd name="connsiteX2816" fmla="*/ 5059392 w 6785952"/>
              <a:gd name="connsiteY2816" fmla="*/ 4611851 h 5217112"/>
              <a:gd name="connsiteX2817" fmla="*/ 5060895 w 6785952"/>
              <a:gd name="connsiteY2817" fmla="*/ 4611408 h 5217112"/>
              <a:gd name="connsiteX2818" fmla="*/ 5082239 w 6785952"/>
              <a:gd name="connsiteY2818" fmla="*/ 4626127 h 5217112"/>
              <a:gd name="connsiteX2819" fmla="*/ 5077128 w 6785952"/>
              <a:gd name="connsiteY2819" fmla="*/ 4626238 h 5217112"/>
              <a:gd name="connsiteX2820" fmla="*/ 5075325 w 6785952"/>
              <a:gd name="connsiteY2820" fmla="*/ 4625353 h 5217112"/>
              <a:gd name="connsiteX2821" fmla="*/ 5073520 w 6785952"/>
              <a:gd name="connsiteY2821" fmla="*/ 4625906 h 5217112"/>
              <a:gd name="connsiteX2822" fmla="*/ 5073220 w 6785952"/>
              <a:gd name="connsiteY2822" fmla="*/ 4624467 h 5217112"/>
              <a:gd name="connsiteX2823" fmla="*/ 5069312 w 6785952"/>
              <a:gd name="connsiteY2823" fmla="*/ 4622586 h 5217112"/>
              <a:gd name="connsiteX2824" fmla="*/ 5058791 w 6785952"/>
              <a:gd name="connsiteY2824" fmla="*/ 4621479 h 5217112"/>
              <a:gd name="connsiteX2825" fmla="*/ 5050073 w 6785952"/>
              <a:gd name="connsiteY2825" fmla="*/ 4615060 h 5217112"/>
              <a:gd name="connsiteX2826" fmla="*/ 5052478 w 6785952"/>
              <a:gd name="connsiteY2826" fmla="*/ 4611076 h 5217112"/>
              <a:gd name="connsiteX2827" fmla="*/ 5048570 w 6785952"/>
              <a:gd name="connsiteY2827" fmla="*/ 4609416 h 5217112"/>
              <a:gd name="connsiteX2828" fmla="*/ 5044661 w 6785952"/>
              <a:gd name="connsiteY2828" fmla="*/ 4590380 h 5217112"/>
              <a:gd name="connsiteX2829" fmla="*/ 5051275 w 6785952"/>
              <a:gd name="connsiteY2829" fmla="*/ 4583519 h 5217112"/>
              <a:gd name="connsiteX2830" fmla="*/ 5057588 w 6785952"/>
              <a:gd name="connsiteY2830" fmla="*/ 4581748 h 5217112"/>
              <a:gd name="connsiteX2831" fmla="*/ 2293134 w 6785952"/>
              <a:gd name="connsiteY2831" fmla="*/ 4581748 h 5217112"/>
              <a:gd name="connsiteX2832" fmla="*/ 2298545 w 6785952"/>
              <a:gd name="connsiteY2832" fmla="*/ 4582744 h 5217112"/>
              <a:gd name="connsiteX2833" fmla="*/ 2306060 w 6785952"/>
              <a:gd name="connsiteY2833" fmla="*/ 4590270 h 5217112"/>
              <a:gd name="connsiteX2834" fmla="*/ 2306963 w 6785952"/>
              <a:gd name="connsiteY2834" fmla="*/ 4592151 h 5217112"/>
              <a:gd name="connsiteX2835" fmla="*/ 2307864 w 6785952"/>
              <a:gd name="connsiteY2835" fmla="*/ 4591930 h 5217112"/>
              <a:gd name="connsiteX2836" fmla="*/ 2324098 w 6785952"/>
              <a:gd name="connsiteY2836" fmla="*/ 4589716 h 5217112"/>
              <a:gd name="connsiteX2837" fmla="*/ 2309969 w 6785952"/>
              <a:gd name="connsiteY2837" fmla="*/ 4601558 h 5217112"/>
              <a:gd name="connsiteX2838" fmla="*/ 2305760 w 6785952"/>
              <a:gd name="connsiteY2838" fmla="*/ 4601890 h 5217112"/>
              <a:gd name="connsiteX2839" fmla="*/ 2301552 w 6785952"/>
              <a:gd name="connsiteY2839" fmla="*/ 4608198 h 5217112"/>
              <a:gd name="connsiteX2840" fmla="*/ 2294937 w 6785952"/>
              <a:gd name="connsiteY2840" fmla="*/ 4611851 h 5217112"/>
              <a:gd name="connsiteX2841" fmla="*/ 2296441 w 6785952"/>
              <a:gd name="connsiteY2841" fmla="*/ 4611408 h 5217112"/>
              <a:gd name="connsiteX2842" fmla="*/ 2317785 w 6785952"/>
              <a:gd name="connsiteY2842" fmla="*/ 4626127 h 5217112"/>
              <a:gd name="connsiteX2843" fmla="*/ 2312674 w 6785952"/>
              <a:gd name="connsiteY2843" fmla="*/ 4626238 h 5217112"/>
              <a:gd name="connsiteX2844" fmla="*/ 2310570 w 6785952"/>
              <a:gd name="connsiteY2844" fmla="*/ 4625353 h 5217112"/>
              <a:gd name="connsiteX2845" fmla="*/ 2309066 w 6785952"/>
              <a:gd name="connsiteY2845" fmla="*/ 4625906 h 5217112"/>
              <a:gd name="connsiteX2846" fmla="*/ 2308766 w 6785952"/>
              <a:gd name="connsiteY2846" fmla="*/ 4624467 h 5217112"/>
              <a:gd name="connsiteX2847" fmla="*/ 2304558 w 6785952"/>
              <a:gd name="connsiteY2847" fmla="*/ 4622586 h 5217112"/>
              <a:gd name="connsiteX2848" fmla="*/ 2294336 w 6785952"/>
              <a:gd name="connsiteY2848" fmla="*/ 4621479 h 5217112"/>
              <a:gd name="connsiteX2849" fmla="*/ 2285619 w 6785952"/>
              <a:gd name="connsiteY2849" fmla="*/ 4615060 h 5217112"/>
              <a:gd name="connsiteX2850" fmla="*/ 2288024 w 6785952"/>
              <a:gd name="connsiteY2850" fmla="*/ 4611076 h 5217112"/>
              <a:gd name="connsiteX2851" fmla="*/ 2283815 w 6785952"/>
              <a:gd name="connsiteY2851" fmla="*/ 4609416 h 5217112"/>
              <a:gd name="connsiteX2852" fmla="*/ 2280208 w 6785952"/>
              <a:gd name="connsiteY2852" fmla="*/ 4590380 h 5217112"/>
              <a:gd name="connsiteX2853" fmla="*/ 2286821 w 6785952"/>
              <a:gd name="connsiteY2853" fmla="*/ 4583519 h 5217112"/>
              <a:gd name="connsiteX2854" fmla="*/ 2293134 w 6785952"/>
              <a:gd name="connsiteY2854" fmla="*/ 4581748 h 5217112"/>
              <a:gd name="connsiteX2855" fmla="*/ 1263829 w 6785952"/>
              <a:gd name="connsiteY2855" fmla="*/ 4581748 h 5217112"/>
              <a:gd name="connsiteX2856" fmla="*/ 1269541 w 6785952"/>
              <a:gd name="connsiteY2856" fmla="*/ 4582744 h 5217112"/>
              <a:gd name="connsiteX2857" fmla="*/ 1277055 w 6785952"/>
              <a:gd name="connsiteY2857" fmla="*/ 4590270 h 5217112"/>
              <a:gd name="connsiteX2858" fmla="*/ 1277657 w 6785952"/>
              <a:gd name="connsiteY2858" fmla="*/ 4592151 h 5217112"/>
              <a:gd name="connsiteX2859" fmla="*/ 1278559 w 6785952"/>
              <a:gd name="connsiteY2859" fmla="*/ 4591930 h 5217112"/>
              <a:gd name="connsiteX2860" fmla="*/ 1295093 w 6785952"/>
              <a:gd name="connsiteY2860" fmla="*/ 4589716 h 5217112"/>
              <a:gd name="connsiteX2861" fmla="*/ 1280964 w 6785952"/>
              <a:gd name="connsiteY2861" fmla="*/ 4601558 h 5217112"/>
              <a:gd name="connsiteX2862" fmla="*/ 1276454 w 6785952"/>
              <a:gd name="connsiteY2862" fmla="*/ 4601890 h 5217112"/>
              <a:gd name="connsiteX2863" fmla="*/ 1272547 w 6785952"/>
              <a:gd name="connsiteY2863" fmla="*/ 4608198 h 5217112"/>
              <a:gd name="connsiteX2864" fmla="*/ 1265632 w 6785952"/>
              <a:gd name="connsiteY2864" fmla="*/ 4611851 h 5217112"/>
              <a:gd name="connsiteX2865" fmla="*/ 1267436 w 6785952"/>
              <a:gd name="connsiteY2865" fmla="*/ 4611408 h 5217112"/>
              <a:gd name="connsiteX2866" fmla="*/ 1288480 w 6785952"/>
              <a:gd name="connsiteY2866" fmla="*/ 4626127 h 5217112"/>
              <a:gd name="connsiteX2867" fmla="*/ 1283369 w 6785952"/>
              <a:gd name="connsiteY2867" fmla="*/ 4626238 h 5217112"/>
              <a:gd name="connsiteX2868" fmla="*/ 1281565 w 6785952"/>
              <a:gd name="connsiteY2868" fmla="*/ 4625353 h 5217112"/>
              <a:gd name="connsiteX2869" fmla="*/ 1280062 w 6785952"/>
              <a:gd name="connsiteY2869" fmla="*/ 4625906 h 5217112"/>
              <a:gd name="connsiteX2870" fmla="*/ 1279460 w 6785952"/>
              <a:gd name="connsiteY2870" fmla="*/ 4624467 h 5217112"/>
              <a:gd name="connsiteX2871" fmla="*/ 1275553 w 6785952"/>
              <a:gd name="connsiteY2871" fmla="*/ 4622586 h 5217112"/>
              <a:gd name="connsiteX2872" fmla="*/ 1265031 w 6785952"/>
              <a:gd name="connsiteY2872" fmla="*/ 4621479 h 5217112"/>
              <a:gd name="connsiteX2873" fmla="*/ 1256313 w 6785952"/>
              <a:gd name="connsiteY2873" fmla="*/ 4615060 h 5217112"/>
              <a:gd name="connsiteX2874" fmla="*/ 1258719 w 6785952"/>
              <a:gd name="connsiteY2874" fmla="*/ 4611076 h 5217112"/>
              <a:gd name="connsiteX2875" fmla="*/ 1254810 w 6785952"/>
              <a:gd name="connsiteY2875" fmla="*/ 4609416 h 5217112"/>
              <a:gd name="connsiteX2876" fmla="*/ 1251203 w 6785952"/>
              <a:gd name="connsiteY2876" fmla="*/ 4590380 h 5217112"/>
              <a:gd name="connsiteX2877" fmla="*/ 1257817 w 6785952"/>
              <a:gd name="connsiteY2877" fmla="*/ 4583519 h 5217112"/>
              <a:gd name="connsiteX2878" fmla="*/ 1263829 w 6785952"/>
              <a:gd name="connsiteY2878" fmla="*/ 4581748 h 5217112"/>
              <a:gd name="connsiteX2879" fmla="*/ 3174236 w 6785952"/>
              <a:gd name="connsiteY2879" fmla="*/ 4580531 h 5217112"/>
              <a:gd name="connsiteX2880" fmla="*/ 3174536 w 6785952"/>
              <a:gd name="connsiteY2880" fmla="*/ 4583076 h 5217112"/>
              <a:gd name="connsiteX2881" fmla="*/ 3176040 w 6785952"/>
              <a:gd name="connsiteY2881" fmla="*/ 4588499 h 5217112"/>
              <a:gd name="connsiteX2882" fmla="*/ 3183255 w 6785952"/>
              <a:gd name="connsiteY2882" fmla="*/ 4584072 h 5217112"/>
              <a:gd name="connsiteX2883" fmla="*/ 3181451 w 6785952"/>
              <a:gd name="connsiteY2883" fmla="*/ 4583961 h 5217112"/>
              <a:gd name="connsiteX2884" fmla="*/ 3196481 w 6785952"/>
              <a:gd name="connsiteY2884" fmla="*/ 4579313 h 5217112"/>
              <a:gd name="connsiteX2885" fmla="*/ 3191973 w 6785952"/>
              <a:gd name="connsiteY2885" fmla="*/ 4584293 h 5217112"/>
              <a:gd name="connsiteX2886" fmla="*/ 3186261 w 6785952"/>
              <a:gd name="connsiteY2886" fmla="*/ 4584072 h 5217112"/>
              <a:gd name="connsiteX2887" fmla="*/ 3187764 w 6785952"/>
              <a:gd name="connsiteY2887" fmla="*/ 4584515 h 5217112"/>
              <a:gd name="connsiteX2888" fmla="*/ 3191371 w 6785952"/>
              <a:gd name="connsiteY2888" fmla="*/ 4588942 h 5217112"/>
              <a:gd name="connsiteX2889" fmla="*/ 3197384 w 6785952"/>
              <a:gd name="connsiteY2889" fmla="*/ 4585068 h 5217112"/>
              <a:gd name="connsiteX2890" fmla="*/ 3197684 w 6785952"/>
              <a:gd name="connsiteY2890" fmla="*/ 4584847 h 5217112"/>
              <a:gd name="connsiteX2891" fmla="*/ 3197684 w 6785952"/>
              <a:gd name="connsiteY2891" fmla="*/ 4582080 h 5217112"/>
              <a:gd name="connsiteX2892" fmla="*/ 3198886 w 6785952"/>
              <a:gd name="connsiteY2892" fmla="*/ 4583740 h 5217112"/>
              <a:gd name="connsiteX2893" fmla="*/ 3200390 w 6785952"/>
              <a:gd name="connsiteY2893" fmla="*/ 4582080 h 5217112"/>
              <a:gd name="connsiteX2894" fmla="*/ 2172287 w 6785952"/>
              <a:gd name="connsiteY2894" fmla="*/ 4578428 h 5217112"/>
              <a:gd name="connsiteX2895" fmla="*/ 2173791 w 6785952"/>
              <a:gd name="connsiteY2895" fmla="*/ 4589938 h 5217112"/>
              <a:gd name="connsiteX2896" fmla="*/ 2174391 w 6785952"/>
              <a:gd name="connsiteY2896" fmla="*/ 4590712 h 5217112"/>
              <a:gd name="connsiteX2897" fmla="*/ 2176496 w 6785952"/>
              <a:gd name="connsiteY2897" fmla="*/ 4596689 h 5217112"/>
              <a:gd name="connsiteX2898" fmla="*/ 2178600 w 6785952"/>
              <a:gd name="connsiteY2898" fmla="*/ 4596025 h 5217112"/>
              <a:gd name="connsiteX2899" fmla="*/ 2198742 w 6785952"/>
              <a:gd name="connsiteY2899" fmla="*/ 4598238 h 5217112"/>
              <a:gd name="connsiteX2900" fmla="*/ 2201747 w 6785952"/>
              <a:gd name="connsiteY2900" fmla="*/ 4594697 h 5217112"/>
              <a:gd name="connsiteX2901" fmla="*/ 2208961 w 6785952"/>
              <a:gd name="connsiteY2901" fmla="*/ 4588610 h 5217112"/>
              <a:gd name="connsiteX2902" fmla="*/ 2216177 w 6785952"/>
              <a:gd name="connsiteY2902" fmla="*/ 4591708 h 5217112"/>
              <a:gd name="connsiteX2903" fmla="*/ 2216177 w 6785952"/>
              <a:gd name="connsiteY2903" fmla="*/ 4597685 h 5217112"/>
              <a:gd name="connsiteX2904" fmla="*/ 2210165 w 6785952"/>
              <a:gd name="connsiteY2904" fmla="*/ 4601890 h 5217112"/>
              <a:gd name="connsiteX2905" fmla="*/ 2206557 w 6785952"/>
              <a:gd name="connsiteY2905" fmla="*/ 4602776 h 5217112"/>
              <a:gd name="connsiteX2906" fmla="*/ 2207759 w 6785952"/>
              <a:gd name="connsiteY2906" fmla="*/ 4603550 h 5217112"/>
              <a:gd name="connsiteX2907" fmla="*/ 2212269 w 6785952"/>
              <a:gd name="connsiteY2907" fmla="*/ 4611408 h 5217112"/>
              <a:gd name="connsiteX2908" fmla="*/ 2174391 w 6785952"/>
              <a:gd name="connsiteY2908" fmla="*/ 4632767 h 5217112"/>
              <a:gd name="connsiteX2909" fmla="*/ 2162668 w 6785952"/>
              <a:gd name="connsiteY2909" fmla="*/ 4600562 h 5217112"/>
              <a:gd name="connsiteX2910" fmla="*/ 2164471 w 6785952"/>
              <a:gd name="connsiteY2910" fmla="*/ 4600009 h 5217112"/>
              <a:gd name="connsiteX2911" fmla="*/ 2157257 w 6785952"/>
              <a:gd name="connsiteY2911" fmla="*/ 4600894 h 5217112"/>
              <a:gd name="connsiteX2912" fmla="*/ 2154551 w 6785952"/>
              <a:gd name="connsiteY2912" fmla="*/ 4593701 h 5217112"/>
              <a:gd name="connsiteX2913" fmla="*/ 2155753 w 6785952"/>
              <a:gd name="connsiteY2913" fmla="*/ 4590934 h 5217112"/>
              <a:gd name="connsiteX2914" fmla="*/ 2151545 w 6785952"/>
              <a:gd name="connsiteY2914" fmla="*/ 4592040 h 5217112"/>
              <a:gd name="connsiteX2915" fmla="*/ 2148539 w 6785952"/>
              <a:gd name="connsiteY2915" fmla="*/ 4582191 h 5217112"/>
              <a:gd name="connsiteX2916" fmla="*/ 2156655 w 6785952"/>
              <a:gd name="connsiteY2916" fmla="*/ 4580199 h 5217112"/>
              <a:gd name="connsiteX2917" fmla="*/ 2159361 w 6785952"/>
              <a:gd name="connsiteY2917" fmla="*/ 4584957 h 5217112"/>
              <a:gd name="connsiteX2918" fmla="*/ 2164471 w 6785952"/>
              <a:gd name="connsiteY2918" fmla="*/ 4580641 h 5217112"/>
              <a:gd name="connsiteX2919" fmla="*/ 2172287 w 6785952"/>
              <a:gd name="connsiteY2919" fmla="*/ 4578428 h 5217112"/>
              <a:gd name="connsiteX2920" fmla="*/ 1143282 w 6785952"/>
              <a:gd name="connsiteY2920" fmla="*/ 4578428 h 5217112"/>
              <a:gd name="connsiteX2921" fmla="*/ 1144786 w 6785952"/>
              <a:gd name="connsiteY2921" fmla="*/ 4590159 h 5217112"/>
              <a:gd name="connsiteX2922" fmla="*/ 1136068 w 6785952"/>
              <a:gd name="connsiteY2922" fmla="*/ 4599787 h 5217112"/>
              <a:gd name="connsiteX2923" fmla="*/ 1138171 w 6785952"/>
              <a:gd name="connsiteY2923" fmla="*/ 4599234 h 5217112"/>
              <a:gd name="connsiteX2924" fmla="*/ 1138473 w 6785952"/>
              <a:gd name="connsiteY2924" fmla="*/ 4597685 h 5217112"/>
              <a:gd name="connsiteX2925" fmla="*/ 1142080 w 6785952"/>
              <a:gd name="connsiteY2925" fmla="*/ 4595471 h 5217112"/>
              <a:gd name="connsiteX2926" fmla="*/ 1144185 w 6785952"/>
              <a:gd name="connsiteY2926" fmla="*/ 4597463 h 5217112"/>
              <a:gd name="connsiteX2927" fmla="*/ 1149596 w 6785952"/>
              <a:gd name="connsiteY2927" fmla="*/ 4596025 h 5217112"/>
              <a:gd name="connsiteX2928" fmla="*/ 1169736 w 6785952"/>
              <a:gd name="connsiteY2928" fmla="*/ 4598238 h 5217112"/>
              <a:gd name="connsiteX2929" fmla="*/ 1172743 w 6785952"/>
              <a:gd name="connsiteY2929" fmla="*/ 4594697 h 5217112"/>
              <a:gd name="connsiteX2930" fmla="*/ 1179957 w 6785952"/>
              <a:gd name="connsiteY2930" fmla="*/ 4588610 h 5217112"/>
              <a:gd name="connsiteX2931" fmla="*/ 1187172 w 6785952"/>
              <a:gd name="connsiteY2931" fmla="*/ 4591708 h 5217112"/>
              <a:gd name="connsiteX2932" fmla="*/ 1186871 w 6785952"/>
              <a:gd name="connsiteY2932" fmla="*/ 4597685 h 5217112"/>
              <a:gd name="connsiteX2933" fmla="*/ 1180859 w 6785952"/>
              <a:gd name="connsiteY2933" fmla="*/ 4601890 h 5217112"/>
              <a:gd name="connsiteX2934" fmla="*/ 1177252 w 6785952"/>
              <a:gd name="connsiteY2934" fmla="*/ 4602776 h 5217112"/>
              <a:gd name="connsiteX2935" fmla="*/ 1178755 w 6785952"/>
              <a:gd name="connsiteY2935" fmla="*/ 4603550 h 5217112"/>
              <a:gd name="connsiteX2936" fmla="*/ 1183264 w 6785952"/>
              <a:gd name="connsiteY2936" fmla="*/ 4611408 h 5217112"/>
              <a:gd name="connsiteX2937" fmla="*/ 1145387 w 6785952"/>
              <a:gd name="connsiteY2937" fmla="*/ 4632767 h 5217112"/>
              <a:gd name="connsiteX2938" fmla="*/ 1133362 w 6785952"/>
              <a:gd name="connsiteY2938" fmla="*/ 4600562 h 5217112"/>
              <a:gd name="connsiteX2939" fmla="*/ 1135466 w 6785952"/>
              <a:gd name="connsiteY2939" fmla="*/ 4600009 h 5217112"/>
              <a:gd name="connsiteX2940" fmla="*/ 1127951 w 6785952"/>
              <a:gd name="connsiteY2940" fmla="*/ 4600894 h 5217112"/>
              <a:gd name="connsiteX2941" fmla="*/ 1125546 w 6785952"/>
              <a:gd name="connsiteY2941" fmla="*/ 4593701 h 5217112"/>
              <a:gd name="connsiteX2942" fmla="*/ 1126748 w 6785952"/>
              <a:gd name="connsiteY2942" fmla="*/ 4590934 h 5217112"/>
              <a:gd name="connsiteX2943" fmla="*/ 1122540 w 6785952"/>
              <a:gd name="connsiteY2943" fmla="*/ 4592040 h 5217112"/>
              <a:gd name="connsiteX2944" fmla="*/ 1119234 w 6785952"/>
              <a:gd name="connsiteY2944" fmla="*/ 4582191 h 5217112"/>
              <a:gd name="connsiteX2945" fmla="*/ 1127651 w 6785952"/>
              <a:gd name="connsiteY2945" fmla="*/ 4580199 h 5217112"/>
              <a:gd name="connsiteX2946" fmla="*/ 1130356 w 6785952"/>
              <a:gd name="connsiteY2946" fmla="*/ 4584957 h 5217112"/>
              <a:gd name="connsiteX2947" fmla="*/ 1135466 w 6785952"/>
              <a:gd name="connsiteY2947" fmla="*/ 4580641 h 5217112"/>
              <a:gd name="connsiteX2948" fmla="*/ 1143282 w 6785952"/>
              <a:gd name="connsiteY2948" fmla="*/ 4578428 h 5217112"/>
              <a:gd name="connsiteX2949" fmla="*/ 2225796 w 6785952"/>
              <a:gd name="connsiteY2949" fmla="*/ 4573669 h 5217112"/>
              <a:gd name="connsiteX2950" fmla="*/ 2228502 w 6785952"/>
              <a:gd name="connsiteY2950" fmla="*/ 4575108 h 5217112"/>
              <a:gd name="connsiteX2951" fmla="*/ 2226398 w 6785952"/>
              <a:gd name="connsiteY2951" fmla="*/ 4577985 h 5217112"/>
              <a:gd name="connsiteX2952" fmla="*/ 2219784 w 6785952"/>
              <a:gd name="connsiteY2952" fmla="*/ 4584736 h 5217112"/>
              <a:gd name="connsiteX2953" fmla="*/ 2218281 w 6785952"/>
              <a:gd name="connsiteY2953" fmla="*/ 4579977 h 5217112"/>
              <a:gd name="connsiteX2954" fmla="*/ 2221588 w 6785952"/>
              <a:gd name="connsiteY2954" fmla="*/ 4577432 h 5217112"/>
              <a:gd name="connsiteX2955" fmla="*/ 2223392 w 6785952"/>
              <a:gd name="connsiteY2955" fmla="*/ 4574554 h 5217112"/>
              <a:gd name="connsiteX2956" fmla="*/ 2225796 w 6785952"/>
              <a:gd name="connsiteY2956" fmla="*/ 4573669 h 5217112"/>
              <a:gd name="connsiteX2957" fmla="*/ 1196792 w 6785952"/>
              <a:gd name="connsiteY2957" fmla="*/ 4573669 h 5217112"/>
              <a:gd name="connsiteX2958" fmla="*/ 1199196 w 6785952"/>
              <a:gd name="connsiteY2958" fmla="*/ 4575108 h 5217112"/>
              <a:gd name="connsiteX2959" fmla="*/ 1197393 w 6785952"/>
              <a:gd name="connsiteY2959" fmla="*/ 4577985 h 5217112"/>
              <a:gd name="connsiteX2960" fmla="*/ 1190779 w 6785952"/>
              <a:gd name="connsiteY2960" fmla="*/ 4584736 h 5217112"/>
              <a:gd name="connsiteX2961" fmla="*/ 1188976 w 6785952"/>
              <a:gd name="connsiteY2961" fmla="*/ 4579977 h 5217112"/>
              <a:gd name="connsiteX2962" fmla="*/ 1192583 w 6785952"/>
              <a:gd name="connsiteY2962" fmla="*/ 4577432 h 5217112"/>
              <a:gd name="connsiteX2963" fmla="*/ 1194087 w 6785952"/>
              <a:gd name="connsiteY2963" fmla="*/ 4574554 h 5217112"/>
              <a:gd name="connsiteX2964" fmla="*/ 1196792 w 6785952"/>
              <a:gd name="connsiteY2964" fmla="*/ 4573669 h 5217112"/>
              <a:gd name="connsiteX2965" fmla="*/ 3144476 w 6785952"/>
              <a:gd name="connsiteY2965" fmla="*/ 4573116 h 5217112"/>
              <a:gd name="connsiteX2966" fmla="*/ 3146279 w 6785952"/>
              <a:gd name="connsiteY2966" fmla="*/ 4575661 h 5217112"/>
              <a:gd name="connsiteX2967" fmla="*/ 3147181 w 6785952"/>
              <a:gd name="connsiteY2967" fmla="*/ 4580420 h 5217112"/>
              <a:gd name="connsiteX2968" fmla="*/ 3168825 w 6785952"/>
              <a:gd name="connsiteY2968" fmla="*/ 4579424 h 5217112"/>
              <a:gd name="connsiteX2969" fmla="*/ 3169125 w 6785952"/>
              <a:gd name="connsiteY2969" fmla="*/ 4578207 h 5217112"/>
              <a:gd name="connsiteX2970" fmla="*/ 3156500 w 6785952"/>
              <a:gd name="connsiteY2970" fmla="*/ 4573780 h 5217112"/>
              <a:gd name="connsiteX2971" fmla="*/ 3543391 w 6785952"/>
              <a:gd name="connsiteY2971" fmla="*/ 4572673 h 5217112"/>
              <a:gd name="connsiteX2972" fmla="*/ 3544594 w 6785952"/>
              <a:gd name="connsiteY2972" fmla="*/ 4588831 h 5217112"/>
              <a:gd name="connsiteX2973" fmla="*/ 3532569 w 6785952"/>
              <a:gd name="connsiteY2973" fmla="*/ 4589384 h 5217112"/>
              <a:gd name="connsiteX2974" fmla="*/ 3524453 w 6785952"/>
              <a:gd name="connsiteY2974" fmla="*/ 4581195 h 5217112"/>
              <a:gd name="connsiteX2975" fmla="*/ 3543391 w 6785952"/>
              <a:gd name="connsiteY2975" fmla="*/ 4572673 h 5217112"/>
              <a:gd name="connsiteX2976" fmla="*/ 1005301 w 6785952"/>
              <a:gd name="connsiteY2976" fmla="*/ 4572673 h 5217112"/>
              <a:gd name="connsiteX2977" fmla="*/ 1006503 w 6785952"/>
              <a:gd name="connsiteY2977" fmla="*/ 4588831 h 5217112"/>
              <a:gd name="connsiteX2978" fmla="*/ 994478 w 6785952"/>
              <a:gd name="connsiteY2978" fmla="*/ 4589384 h 5217112"/>
              <a:gd name="connsiteX2979" fmla="*/ 986362 w 6785952"/>
              <a:gd name="connsiteY2979" fmla="*/ 4581195 h 5217112"/>
              <a:gd name="connsiteX2980" fmla="*/ 1005301 w 6785952"/>
              <a:gd name="connsiteY2980" fmla="*/ 4572673 h 5217112"/>
              <a:gd name="connsiteX2981" fmla="*/ 3143573 w 6785952"/>
              <a:gd name="connsiteY2981" fmla="*/ 4570792 h 5217112"/>
              <a:gd name="connsiteX2982" fmla="*/ 3143573 w 6785952"/>
              <a:gd name="connsiteY2982" fmla="*/ 4571566 h 5217112"/>
              <a:gd name="connsiteX2983" fmla="*/ 3144174 w 6785952"/>
              <a:gd name="connsiteY2983" fmla="*/ 4572784 h 5217112"/>
              <a:gd name="connsiteX2984" fmla="*/ 6420876 w 6785952"/>
              <a:gd name="connsiteY2984" fmla="*/ 4568799 h 5217112"/>
              <a:gd name="connsiteX2985" fmla="*/ 6423583 w 6785952"/>
              <a:gd name="connsiteY2985" fmla="*/ 4578760 h 5217112"/>
              <a:gd name="connsiteX2986" fmla="*/ 6411257 w 6785952"/>
              <a:gd name="connsiteY2986" fmla="*/ 4576104 h 5217112"/>
              <a:gd name="connsiteX2987" fmla="*/ 6420876 w 6785952"/>
              <a:gd name="connsiteY2987" fmla="*/ 4568799 h 5217112"/>
              <a:gd name="connsiteX2988" fmla="*/ 5165209 w 6785952"/>
              <a:gd name="connsiteY2988" fmla="*/ 4568799 h 5217112"/>
              <a:gd name="connsiteX2989" fmla="*/ 5167914 w 6785952"/>
              <a:gd name="connsiteY2989" fmla="*/ 4578760 h 5217112"/>
              <a:gd name="connsiteX2990" fmla="*/ 5155889 w 6785952"/>
              <a:gd name="connsiteY2990" fmla="*/ 4576104 h 5217112"/>
              <a:gd name="connsiteX2991" fmla="*/ 5165209 w 6785952"/>
              <a:gd name="connsiteY2991" fmla="*/ 4568799 h 5217112"/>
              <a:gd name="connsiteX2992" fmla="*/ 2627418 w 6785952"/>
              <a:gd name="connsiteY2992" fmla="*/ 4568799 h 5217112"/>
              <a:gd name="connsiteX2993" fmla="*/ 2629823 w 6785952"/>
              <a:gd name="connsiteY2993" fmla="*/ 4578760 h 5217112"/>
              <a:gd name="connsiteX2994" fmla="*/ 2617798 w 6785952"/>
              <a:gd name="connsiteY2994" fmla="*/ 4576104 h 5217112"/>
              <a:gd name="connsiteX2995" fmla="*/ 2627418 w 6785952"/>
              <a:gd name="connsiteY2995" fmla="*/ 4568799 h 5217112"/>
              <a:gd name="connsiteX2996" fmla="*/ 5829266 w 6785952"/>
              <a:gd name="connsiteY2996" fmla="*/ 4564151 h 5217112"/>
              <a:gd name="connsiteX2997" fmla="*/ 5831672 w 6785952"/>
              <a:gd name="connsiteY2997" fmla="*/ 4567914 h 5217112"/>
              <a:gd name="connsiteX2998" fmla="*/ 5828665 w 6785952"/>
              <a:gd name="connsiteY2998" fmla="*/ 4586839 h 5217112"/>
              <a:gd name="connsiteX2999" fmla="*/ 5829266 w 6785952"/>
              <a:gd name="connsiteY2999" fmla="*/ 4564151 h 5217112"/>
              <a:gd name="connsiteX3000" fmla="*/ 3064813 w 6785952"/>
              <a:gd name="connsiteY3000" fmla="*/ 4564151 h 5217112"/>
              <a:gd name="connsiteX3001" fmla="*/ 3067218 w 6785952"/>
              <a:gd name="connsiteY3001" fmla="*/ 4567914 h 5217112"/>
              <a:gd name="connsiteX3002" fmla="*/ 3064212 w 6785952"/>
              <a:gd name="connsiteY3002" fmla="*/ 4586839 h 5217112"/>
              <a:gd name="connsiteX3003" fmla="*/ 3064813 w 6785952"/>
              <a:gd name="connsiteY3003" fmla="*/ 4564151 h 5217112"/>
              <a:gd name="connsiteX3004" fmla="*/ 2035808 w 6785952"/>
              <a:gd name="connsiteY3004" fmla="*/ 4564151 h 5217112"/>
              <a:gd name="connsiteX3005" fmla="*/ 2037912 w 6785952"/>
              <a:gd name="connsiteY3005" fmla="*/ 4567914 h 5217112"/>
              <a:gd name="connsiteX3006" fmla="*/ 2037612 w 6785952"/>
              <a:gd name="connsiteY3006" fmla="*/ 4577764 h 5217112"/>
              <a:gd name="connsiteX3007" fmla="*/ 2036409 w 6785952"/>
              <a:gd name="connsiteY3007" fmla="*/ 4582080 h 5217112"/>
              <a:gd name="connsiteX3008" fmla="*/ 2035507 w 6785952"/>
              <a:gd name="connsiteY3008" fmla="*/ 4588831 h 5217112"/>
              <a:gd name="connsiteX3009" fmla="*/ 2023784 w 6785952"/>
              <a:gd name="connsiteY3009" fmla="*/ 4589384 h 5217112"/>
              <a:gd name="connsiteX3010" fmla="*/ 2015366 w 6785952"/>
              <a:gd name="connsiteY3010" fmla="*/ 4581195 h 5217112"/>
              <a:gd name="connsiteX3011" fmla="*/ 2023784 w 6785952"/>
              <a:gd name="connsiteY3011" fmla="*/ 4574444 h 5217112"/>
              <a:gd name="connsiteX3012" fmla="*/ 2033403 w 6785952"/>
              <a:gd name="connsiteY3012" fmla="*/ 4572894 h 5217112"/>
              <a:gd name="connsiteX3013" fmla="*/ 2033703 w 6785952"/>
              <a:gd name="connsiteY3013" fmla="*/ 4569906 h 5217112"/>
              <a:gd name="connsiteX3014" fmla="*/ 2035808 w 6785952"/>
              <a:gd name="connsiteY3014" fmla="*/ 4564151 h 5217112"/>
              <a:gd name="connsiteX3015" fmla="*/ 3660330 w 6785952"/>
              <a:gd name="connsiteY3015" fmla="*/ 4563155 h 5217112"/>
              <a:gd name="connsiteX3016" fmla="*/ 3632975 w 6785952"/>
              <a:gd name="connsiteY3016" fmla="*/ 4574001 h 5217112"/>
              <a:gd name="connsiteX3017" fmla="*/ 3632975 w 6785952"/>
              <a:gd name="connsiteY3017" fmla="*/ 4567803 h 5217112"/>
              <a:gd name="connsiteX3018" fmla="*/ 3636281 w 6785952"/>
              <a:gd name="connsiteY3018" fmla="*/ 4568135 h 5217112"/>
              <a:gd name="connsiteX3019" fmla="*/ 3660330 w 6785952"/>
              <a:gd name="connsiteY3019" fmla="*/ 4563155 h 5217112"/>
              <a:gd name="connsiteX3020" fmla="*/ 2151545 w 6785952"/>
              <a:gd name="connsiteY3020" fmla="*/ 4563155 h 5217112"/>
              <a:gd name="connsiteX3021" fmla="*/ 2123888 w 6785952"/>
              <a:gd name="connsiteY3021" fmla="*/ 4574001 h 5217112"/>
              <a:gd name="connsiteX3022" fmla="*/ 2123888 w 6785952"/>
              <a:gd name="connsiteY3022" fmla="*/ 4567803 h 5217112"/>
              <a:gd name="connsiteX3023" fmla="*/ 2127195 w 6785952"/>
              <a:gd name="connsiteY3023" fmla="*/ 4568135 h 5217112"/>
              <a:gd name="connsiteX3024" fmla="*/ 2151545 w 6785952"/>
              <a:gd name="connsiteY3024" fmla="*/ 4563155 h 5217112"/>
              <a:gd name="connsiteX3025" fmla="*/ 1122540 w 6785952"/>
              <a:gd name="connsiteY3025" fmla="*/ 4563155 h 5217112"/>
              <a:gd name="connsiteX3026" fmla="*/ 1094583 w 6785952"/>
              <a:gd name="connsiteY3026" fmla="*/ 4574001 h 5217112"/>
              <a:gd name="connsiteX3027" fmla="*/ 1094883 w 6785952"/>
              <a:gd name="connsiteY3027" fmla="*/ 4567803 h 5217112"/>
              <a:gd name="connsiteX3028" fmla="*/ 1097890 w 6785952"/>
              <a:gd name="connsiteY3028" fmla="*/ 4568135 h 5217112"/>
              <a:gd name="connsiteX3029" fmla="*/ 1122540 w 6785952"/>
              <a:gd name="connsiteY3029" fmla="*/ 4563155 h 5217112"/>
              <a:gd name="connsiteX3030" fmla="*/ 5289662 w 6785952"/>
              <a:gd name="connsiteY3030" fmla="*/ 4562159 h 5217112"/>
              <a:gd name="connsiteX3031" fmla="*/ 5294172 w 6785952"/>
              <a:gd name="connsiteY3031" fmla="*/ 4564373 h 5217112"/>
              <a:gd name="connsiteX3032" fmla="*/ 5285755 w 6785952"/>
              <a:gd name="connsiteY3032" fmla="*/ 4581084 h 5217112"/>
              <a:gd name="connsiteX3033" fmla="*/ 5274632 w 6785952"/>
              <a:gd name="connsiteY3033" fmla="*/ 4568799 h 5217112"/>
              <a:gd name="connsiteX3034" fmla="*/ 5289662 w 6785952"/>
              <a:gd name="connsiteY3034" fmla="*/ 4562159 h 5217112"/>
              <a:gd name="connsiteX3035" fmla="*/ 2525208 w 6785952"/>
              <a:gd name="connsiteY3035" fmla="*/ 4562159 h 5217112"/>
              <a:gd name="connsiteX3036" fmla="*/ 2529718 w 6785952"/>
              <a:gd name="connsiteY3036" fmla="*/ 4564373 h 5217112"/>
              <a:gd name="connsiteX3037" fmla="*/ 2521001 w 6785952"/>
              <a:gd name="connsiteY3037" fmla="*/ 4581084 h 5217112"/>
              <a:gd name="connsiteX3038" fmla="*/ 2510178 w 6785952"/>
              <a:gd name="connsiteY3038" fmla="*/ 4568799 h 5217112"/>
              <a:gd name="connsiteX3039" fmla="*/ 2525208 w 6785952"/>
              <a:gd name="connsiteY3039" fmla="*/ 4562159 h 5217112"/>
              <a:gd name="connsiteX3040" fmla="*/ 1495903 w 6785952"/>
              <a:gd name="connsiteY3040" fmla="*/ 4562159 h 5217112"/>
              <a:gd name="connsiteX3041" fmla="*/ 1500413 w 6785952"/>
              <a:gd name="connsiteY3041" fmla="*/ 4564373 h 5217112"/>
              <a:gd name="connsiteX3042" fmla="*/ 1491996 w 6785952"/>
              <a:gd name="connsiteY3042" fmla="*/ 4581084 h 5217112"/>
              <a:gd name="connsiteX3043" fmla="*/ 1480873 w 6785952"/>
              <a:gd name="connsiteY3043" fmla="*/ 4568799 h 5217112"/>
              <a:gd name="connsiteX3044" fmla="*/ 1495903 w 6785952"/>
              <a:gd name="connsiteY3044" fmla="*/ 4562159 h 5217112"/>
              <a:gd name="connsiteX3045" fmla="*/ 3671152 w 6785952"/>
              <a:gd name="connsiteY3045" fmla="*/ 4556294 h 5217112"/>
              <a:gd name="connsiteX3046" fmla="*/ 3673557 w 6785952"/>
              <a:gd name="connsiteY3046" fmla="*/ 4557400 h 5217112"/>
              <a:gd name="connsiteX3047" fmla="*/ 3666944 w 6785952"/>
              <a:gd name="connsiteY3047" fmla="*/ 4561274 h 5217112"/>
              <a:gd name="connsiteX3048" fmla="*/ 3665140 w 6785952"/>
              <a:gd name="connsiteY3048" fmla="*/ 4559614 h 5217112"/>
              <a:gd name="connsiteX3049" fmla="*/ 3671152 w 6785952"/>
              <a:gd name="connsiteY3049" fmla="*/ 4556294 h 5217112"/>
              <a:gd name="connsiteX3050" fmla="*/ 2162066 w 6785952"/>
              <a:gd name="connsiteY3050" fmla="*/ 4556294 h 5217112"/>
              <a:gd name="connsiteX3051" fmla="*/ 2164471 w 6785952"/>
              <a:gd name="connsiteY3051" fmla="*/ 4557400 h 5217112"/>
              <a:gd name="connsiteX3052" fmla="*/ 2157857 w 6785952"/>
              <a:gd name="connsiteY3052" fmla="*/ 4561274 h 5217112"/>
              <a:gd name="connsiteX3053" fmla="*/ 2156054 w 6785952"/>
              <a:gd name="connsiteY3053" fmla="*/ 4559614 h 5217112"/>
              <a:gd name="connsiteX3054" fmla="*/ 2162066 w 6785952"/>
              <a:gd name="connsiteY3054" fmla="*/ 4556294 h 5217112"/>
              <a:gd name="connsiteX3055" fmla="*/ 1133062 w 6785952"/>
              <a:gd name="connsiteY3055" fmla="*/ 4556294 h 5217112"/>
              <a:gd name="connsiteX3056" fmla="*/ 1135165 w 6785952"/>
              <a:gd name="connsiteY3056" fmla="*/ 4557400 h 5217112"/>
              <a:gd name="connsiteX3057" fmla="*/ 1128552 w 6785952"/>
              <a:gd name="connsiteY3057" fmla="*/ 4561274 h 5217112"/>
              <a:gd name="connsiteX3058" fmla="*/ 1127049 w 6785952"/>
              <a:gd name="connsiteY3058" fmla="*/ 4559614 h 5217112"/>
              <a:gd name="connsiteX3059" fmla="*/ 1133062 w 6785952"/>
              <a:gd name="connsiteY3059" fmla="*/ 4556294 h 5217112"/>
              <a:gd name="connsiteX3060" fmla="*/ 5409007 w 6785952"/>
              <a:gd name="connsiteY3060" fmla="*/ 4554744 h 5217112"/>
              <a:gd name="connsiteX3061" fmla="*/ 5416522 w 6785952"/>
              <a:gd name="connsiteY3061" fmla="*/ 4562159 h 5217112"/>
              <a:gd name="connsiteX3062" fmla="*/ 5413517 w 6785952"/>
              <a:gd name="connsiteY3062" fmla="*/ 4566697 h 5217112"/>
              <a:gd name="connsiteX3063" fmla="*/ 5409007 w 6785952"/>
              <a:gd name="connsiteY3063" fmla="*/ 4554744 h 5217112"/>
              <a:gd name="connsiteX3064" fmla="*/ 2644252 w 6785952"/>
              <a:gd name="connsiteY3064" fmla="*/ 4554744 h 5217112"/>
              <a:gd name="connsiteX3065" fmla="*/ 2652068 w 6785952"/>
              <a:gd name="connsiteY3065" fmla="*/ 4562159 h 5217112"/>
              <a:gd name="connsiteX3066" fmla="*/ 2649062 w 6785952"/>
              <a:gd name="connsiteY3066" fmla="*/ 4566697 h 5217112"/>
              <a:gd name="connsiteX3067" fmla="*/ 2644252 w 6785952"/>
              <a:gd name="connsiteY3067" fmla="*/ 4554744 h 5217112"/>
              <a:gd name="connsiteX3068" fmla="*/ 1615247 w 6785952"/>
              <a:gd name="connsiteY3068" fmla="*/ 4554744 h 5217112"/>
              <a:gd name="connsiteX3069" fmla="*/ 1622763 w 6785952"/>
              <a:gd name="connsiteY3069" fmla="*/ 4562159 h 5217112"/>
              <a:gd name="connsiteX3070" fmla="*/ 1620057 w 6785952"/>
              <a:gd name="connsiteY3070" fmla="*/ 4566697 h 5217112"/>
              <a:gd name="connsiteX3071" fmla="*/ 1615247 w 6785952"/>
              <a:gd name="connsiteY3071" fmla="*/ 4554744 h 5217112"/>
              <a:gd name="connsiteX3072" fmla="*/ 3641392 w 6785952"/>
              <a:gd name="connsiteY3072" fmla="*/ 4554523 h 5217112"/>
              <a:gd name="connsiteX3073" fmla="*/ 3648306 w 6785952"/>
              <a:gd name="connsiteY3073" fmla="*/ 4554523 h 5217112"/>
              <a:gd name="connsiteX3074" fmla="*/ 3657324 w 6785952"/>
              <a:gd name="connsiteY3074" fmla="*/ 4555630 h 5217112"/>
              <a:gd name="connsiteX3075" fmla="*/ 3657023 w 6785952"/>
              <a:gd name="connsiteY3075" fmla="*/ 4557068 h 5217112"/>
              <a:gd name="connsiteX3076" fmla="*/ 3640489 w 6785952"/>
              <a:gd name="connsiteY3076" fmla="*/ 4558839 h 5217112"/>
              <a:gd name="connsiteX3077" fmla="*/ 3634477 w 6785952"/>
              <a:gd name="connsiteY3077" fmla="*/ 4557400 h 5217112"/>
              <a:gd name="connsiteX3078" fmla="*/ 3636281 w 6785952"/>
              <a:gd name="connsiteY3078" fmla="*/ 4557622 h 5217112"/>
              <a:gd name="connsiteX3079" fmla="*/ 3634477 w 6785952"/>
              <a:gd name="connsiteY3079" fmla="*/ 4555962 h 5217112"/>
              <a:gd name="connsiteX3080" fmla="*/ 3641392 w 6785952"/>
              <a:gd name="connsiteY3080" fmla="*/ 4554523 h 5217112"/>
              <a:gd name="connsiteX3081" fmla="*/ 2132306 w 6785952"/>
              <a:gd name="connsiteY3081" fmla="*/ 4554523 h 5217112"/>
              <a:gd name="connsiteX3082" fmla="*/ 2139219 w 6785952"/>
              <a:gd name="connsiteY3082" fmla="*/ 4554523 h 5217112"/>
              <a:gd name="connsiteX3083" fmla="*/ 2148238 w 6785952"/>
              <a:gd name="connsiteY3083" fmla="*/ 4555630 h 5217112"/>
              <a:gd name="connsiteX3084" fmla="*/ 2148238 w 6785952"/>
              <a:gd name="connsiteY3084" fmla="*/ 4557068 h 5217112"/>
              <a:gd name="connsiteX3085" fmla="*/ 2131403 w 6785952"/>
              <a:gd name="connsiteY3085" fmla="*/ 4558728 h 5217112"/>
              <a:gd name="connsiteX3086" fmla="*/ 2125391 w 6785952"/>
              <a:gd name="connsiteY3086" fmla="*/ 4557400 h 5217112"/>
              <a:gd name="connsiteX3087" fmla="*/ 2127195 w 6785952"/>
              <a:gd name="connsiteY3087" fmla="*/ 4557622 h 5217112"/>
              <a:gd name="connsiteX3088" fmla="*/ 2125691 w 6785952"/>
              <a:gd name="connsiteY3088" fmla="*/ 4555962 h 5217112"/>
              <a:gd name="connsiteX3089" fmla="*/ 2132306 w 6785952"/>
              <a:gd name="connsiteY3089" fmla="*/ 4554523 h 5217112"/>
              <a:gd name="connsiteX3090" fmla="*/ 1103301 w 6785952"/>
              <a:gd name="connsiteY3090" fmla="*/ 4554523 h 5217112"/>
              <a:gd name="connsiteX3091" fmla="*/ 1110214 w 6785952"/>
              <a:gd name="connsiteY3091" fmla="*/ 4554523 h 5217112"/>
              <a:gd name="connsiteX3092" fmla="*/ 1119234 w 6785952"/>
              <a:gd name="connsiteY3092" fmla="*/ 4555630 h 5217112"/>
              <a:gd name="connsiteX3093" fmla="*/ 1119234 w 6785952"/>
              <a:gd name="connsiteY3093" fmla="*/ 4557068 h 5217112"/>
              <a:gd name="connsiteX3094" fmla="*/ 1102399 w 6785952"/>
              <a:gd name="connsiteY3094" fmla="*/ 4558728 h 5217112"/>
              <a:gd name="connsiteX3095" fmla="*/ 1096386 w 6785952"/>
              <a:gd name="connsiteY3095" fmla="*/ 4557400 h 5217112"/>
              <a:gd name="connsiteX3096" fmla="*/ 1097890 w 6785952"/>
              <a:gd name="connsiteY3096" fmla="*/ 4557622 h 5217112"/>
              <a:gd name="connsiteX3097" fmla="*/ 1096386 w 6785952"/>
              <a:gd name="connsiteY3097" fmla="*/ 4555962 h 5217112"/>
              <a:gd name="connsiteX3098" fmla="*/ 1103301 w 6785952"/>
              <a:gd name="connsiteY3098" fmla="*/ 4554523 h 5217112"/>
              <a:gd name="connsiteX3099" fmla="*/ 6036991 w 6785952"/>
              <a:gd name="connsiteY3099" fmla="*/ 4553416 h 5217112"/>
              <a:gd name="connsiteX3100" fmla="*/ 6006629 w 6785952"/>
              <a:gd name="connsiteY3100" fmla="*/ 4575772 h 5217112"/>
              <a:gd name="connsiteX3101" fmla="*/ 6018655 w 6785952"/>
              <a:gd name="connsiteY3101" fmla="*/ 4560388 h 5217112"/>
              <a:gd name="connsiteX3102" fmla="*/ 6036991 w 6785952"/>
              <a:gd name="connsiteY3102" fmla="*/ 4553416 h 5217112"/>
              <a:gd name="connsiteX3103" fmla="*/ 2243232 w 6785952"/>
              <a:gd name="connsiteY3103" fmla="*/ 4553416 h 5217112"/>
              <a:gd name="connsiteX3104" fmla="*/ 2212870 w 6785952"/>
              <a:gd name="connsiteY3104" fmla="*/ 4575772 h 5217112"/>
              <a:gd name="connsiteX3105" fmla="*/ 2224895 w 6785952"/>
              <a:gd name="connsiteY3105" fmla="*/ 4560388 h 5217112"/>
              <a:gd name="connsiteX3106" fmla="*/ 2243232 w 6785952"/>
              <a:gd name="connsiteY3106" fmla="*/ 4553416 h 5217112"/>
              <a:gd name="connsiteX3107" fmla="*/ 1293891 w 6785952"/>
              <a:gd name="connsiteY3107" fmla="*/ 4553416 h 5217112"/>
              <a:gd name="connsiteX3108" fmla="*/ 1286075 w 6785952"/>
              <a:gd name="connsiteY3108" fmla="*/ 4563709 h 5217112"/>
              <a:gd name="connsiteX3109" fmla="*/ 1293891 w 6785952"/>
              <a:gd name="connsiteY3109" fmla="*/ 4553416 h 5217112"/>
              <a:gd name="connsiteX3110" fmla="*/ 5246675 w 6785952"/>
              <a:gd name="connsiteY3110" fmla="*/ 4552531 h 5217112"/>
              <a:gd name="connsiteX3111" fmla="*/ 5250883 w 6785952"/>
              <a:gd name="connsiteY3111" fmla="*/ 4571013 h 5217112"/>
              <a:gd name="connsiteX3112" fmla="*/ 5246675 w 6785952"/>
              <a:gd name="connsiteY3112" fmla="*/ 4552531 h 5217112"/>
              <a:gd name="connsiteX3113" fmla="*/ 2482221 w 6785952"/>
              <a:gd name="connsiteY3113" fmla="*/ 4552531 h 5217112"/>
              <a:gd name="connsiteX3114" fmla="*/ 2486429 w 6785952"/>
              <a:gd name="connsiteY3114" fmla="*/ 4571013 h 5217112"/>
              <a:gd name="connsiteX3115" fmla="*/ 2482221 w 6785952"/>
              <a:gd name="connsiteY3115" fmla="*/ 4552531 h 5217112"/>
              <a:gd name="connsiteX3116" fmla="*/ 1452916 w 6785952"/>
              <a:gd name="connsiteY3116" fmla="*/ 4552531 h 5217112"/>
              <a:gd name="connsiteX3117" fmla="*/ 1457425 w 6785952"/>
              <a:gd name="connsiteY3117" fmla="*/ 4571013 h 5217112"/>
              <a:gd name="connsiteX3118" fmla="*/ 1452916 w 6785952"/>
              <a:gd name="connsiteY3118" fmla="*/ 4552531 h 5217112"/>
              <a:gd name="connsiteX3119" fmla="*/ 4352947 w 6785952"/>
              <a:gd name="connsiteY3119" fmla="*/ 4550981 h 5217112"/>
              <a:gd name="connsiteX3120" fmla="*/ 4359260 w 6785952"/>
              <a:gd name="connsiteY3120" fmla="*/ 4551313 h 5217112"/>
              <a:gd name="connsiteX3121" fmla="*/ 4401646 w 6785952"/>
              <a:gd name="connsiteY3121" fmla="*/ 4632546 h 5217112"/>
              <a:gd name="connsiteX3122" fmla="*/ 4401948 w 6785952"/>
              <a:gd name="connsiteY3122" fmla="*/ 4637194 h 5217112"/>
              <a:gd name="connsiteX3123" fmla="*/ 4403450 w 6785952"/>
              <a:gd name="connsiteY3123" fmla="*/ 4638080 h 5217112"/>
              <a:gd name="connsiteX3124" fmla="*/ 4409463 w 6785952"/>
              <a:gd name="connsiteY3124" fmla="*/ 4649368 h 5217112"/>
              <a:gd name="connsiteX3125" fmla="*/ 4411266 w 6785952"/>
              <a:gd name="connsiteY3125" fmla="*/ 4636530 h 5217112"/>
              <a:gd name="connsiteX3126" fmla="*/ 4440125 w 6785952"/>
              <a:gd name="connsiteY3126" fmla="*/ 4614396 h 5217112"/>
              <a:gd name="connsiteX3127" fmla="*/ 4452751 w 6785952"/>
              <a:gd name="connsiteY3127" fmla="*/ 4621700 h 5217112"/>
              <a:gd name="connsiteX3128" fmla="*/ 4455156 w 6785952"/>
              <a:gd name="connsiteY3128" fmla="*/ 4628562 h 5217112"/>
              <a:gd name="connsiteX3129" fmla="*/ 4458463 w 6785952"/>
              <a:gd name="connsiteY3129" fmla="*/ 4632989 h 5217112"/>
              <a:gd name="connsiteX3130" fmla="*/ 4457862 w 6785952"/>
              <a:gd name="connsiteY3130" fmla="*/ 4631550 h 5217112"/>
              <a:gd name="connsiteX3131" fmla="*/ 4461769 w 6785952"/>
              <a:gd name="connsiteY3131" fmla="*/ 4623692 h 5217112"/>
              <a:gd name="connsiteX3132" fmla="*/ 4459364 w 6785952"/>
              <a:gd name="connsiteY3132" fmla="*/ 4622586 h 5217112"/>
              <a:gd name="connsiteX3133" fmla="*/ 4462671 w 6785952"/>
              <a:gd name="connsiteY3133" fmla="*/ 4621590 h 5217112"/>
              <a:gd name="connsiteX3134" fmla="*/ 4464775 w 6785952"/>
              <a:gd name="connsiteY3134" fmla="*/ 4617052 h 5217112"/>
              <a:gd name="connsiteX3135" fmla="*/ 4472592 w 6785952"/>
              <a:gd name="connsiteY3135" fmla="*/ 4608420 h 5217112"/>
              <a:gd name="connsiteX3136" fmla="*/ 4472892 w 6785952"/>
              <a:gd name="connsiteY3136" fmla="*/ 4613179 h 5217112"/>
              <a:gd name="connsiteX3137" fmla="*/ 4471991 w 6785952"/>
              <a:gd name="connsiteY3137" fmla="*/ 4615171 h 5217112"/>
              <a:gd name="connsiteX3138" fmla="*/ 4472592 w 6785952"/>
              <a:gd name="connsiteY3138" fmla="*/ 4616609 h 5217112"/>
              <a:gd name="connsiteX3139" fmla="*/ 4471089 w 6785952"/>
              <a:gd name="connsiteY3139" fmla="*/ 4617274 h 5217112"/>
              <a:gd name="connsiteX3140" fmla="*/ 4471089 w 6785952"/>
              <a:gd name="connsiteY3140" fmla="*/ 4617716 h 5217112"/>
              <a:gd name="connsiteX3141" fmla="*/ 4470187 w 6785952"/>
              <a:gd name="connsiteY3141" fmla="*/ 4619487 h 5217112"/>
              <a:gd name="connsiteX3142" fmla="*/ 4477402 w 6785952"/>
              <a:gd name="connsiteY3142" fmla="*/ 4617606 h 5217112"/>
              <a:gd name="connsiteX3143" fmla="*/ 4496039 w 6785952"/>
              <a:gd name="connsiteY3143" fmla="*/ 4623471 h 5217112"/>
              <a:gd name="connsiteX3144" fmla="*/ 4476801 w 6785952"/>
              <a:gd name="connsiteY3144" fmla="*/ 4628009 h 5217112"/>
              <a:gd name="connsiteX3145" fmla="*/ 4468684 w 6785952"/>
              <a:gd name="connsiteY3145" fmla="*/ 4626570 h 5217112"/>
              <a:gd name="connsiteX3146" fmla="*/ 4468684 w 6785952"/>
              <a:gd name="connsiteY3146" fmla="*/ 4627234 h 5217112"/>
              <a:gd name="connsiteX3147" fmla="*/ 4468382 w 6785952"/>
              <a:gd name="connsiteY3147" fmla="*/ 4631661 h 5217112"/>
              <a:gd name="connsiteX3148" fmla="*/ 4462070 w 6785952"/>
              <a:gd name="connsiteY3148" fmla="*/ 4641179 h 5217112"/>
              <a:gd name="connsiteX3149" fmla="*/ 4457862 w 6785952"/>
              <a:gd name="connsiteY3149" fmla="*/ 4639740 h 5217112"/>
              <a:gd name="connsiteX3150" fmla="*/ 4456058 w 6785952"/>
              <a:gd name="connsiteY3150" fmla="*/ 4643945 h 5217112"/>
              <a:gd name="connsiteX3151" fmla="*/ 4449445 w 6785952"/>
              <a:gd name="connsiteY3151" fmla="*/ 4651692 h 5217112"/>
              <a:gd name="connsiteX3152" fmla="*/ 4448844 w 6785952"/>
              <a:gd name="connsiteY3152" fmla="*/ 4651692 h 5217112"/>
              <a:gd name="connsiteX3153" fmla="*/ 4446137 w 6785952"/>
              <a:gd name="connsiteY3153" fmla="*/ 4655012 h 5217112"/>
              <a:gd name="connsiteX3154" fmla="*/ 4409463 w 6785952"/>
              <a:gd name="connsiteY3154" fmla="*/ 4651803 h 5217112"/>
              <a:gd name="connsiteX3155" fmla="*/ 4409463 w 6785952"/>
              <a:gd name="connsiteY3155" fmla="*/ 4649922 h 5217112"/>
              <a:gd name="connsiteX3156" fmla="*/ 4407359 w 6785952"/>
              <a:gd name="connsiteY3156" fmla="*/ 4656562 h 5217112"/>
              <a:gd name="connsiteX3157" fmla="*/ 4399242 w 6785952"/>
              <a:gd name="connsiteY3157" fmla="*/ 4655787 h 5217112"/>
              <a:gd name="connsiteX3158" fmla="*/ 4396837 w 6785952"/>
              <a:gd name="connsiteY3158" fmla="*/ 4653574 h 5217112"/>
              <a:gd name="connsiteX3159" fmla="*/ 4396235 w 6785952"/>
              <a:gd name="connsiteY3159" fmla="*/ 4657669 h 5217112"/>
              <a:gd name="connsiteX3160" fmla="*/ 4385112 w 6785952"/>
              <a:gd name="connsiteY3160" fmla="*/ 4656230 h 5217112"/>
              <a:gd name="connsiteX3161" fmla="*/ 4386616 w 6785952"/>
              <a:gd name="connsiteY3161" fmla="*/ 4648483 h 5217112"/>
              <a:gd name="connsiteX3162" fmla="*/ 4392628 w 6785952"/>
              <a:gd name="connsiteY3162" fmla="*/ 4648261 h 5217112"/>
              <a:gd name="connsiteX3163" fmla="*/ 4390223 w 6785952"/>
              <a:gd name="connsiteY3163" fmla="*/ 4642175 h 5217112"/>
              <a:gd name="connsiteX3164" fmla="*/ 4391125 w 6785952"/>
              <a:gd name="connsiteY3164" fmla="*/ 4634760 h 5217112"/>
              <a:gd name="connsiteX3165" fmla="*/ 4395033 w 6785952"/>
              <a:gd name="connsiteY3165" fmla="*/ 4634760 h 5217112"/>
              <a:gd name="connsiteX3166" fmla="*/ 4385414 w 6785952"/>
              <a:gd name="connsiteY3166" fmla="*/ 4623914 h 5217112"/>
              <a:gd name="connsiteX3167" fmla="*/ 4346634 w 6785952"/>
              <a:gd name="connsiteY3167" fmla="*/ 4552752 h 5217112"/>
              <a:gd name="connsiteX3168" fmla="*/ 4352947 w 6785952"/>
              <a:gd name="connsiteY3168" fmla="*/ 4550981 h 5217112"/>
              <a:gd name="connsiteX3169" fmla="*/ 5860530 w 6785952"/>
              <a:gd name="connsiteY3169" fmla="*/ 4549875 h 5217112"/>
              <a:gd name="connsiteX3170" fmla="*/ 5860831 w 6785952"/>
              <a:gd name="connsiteY3170" fmla="*/ 4554412 h 5217112"/>
              <a:gd name="connsiteX3171" fmla="*/ 5849708 w 6785952"/>
              <a:gd name="connsiteY3171" fmla="*/ 4569131 h 5217112"/>
              <a:gd name="connsiteX3172" fmla="*/ 5860530 w 6785952"/>
              <a:gd name="connsiteY3172" fmla="*/ 4549875 h 5217112"/>
              <a:gd name="connsiteX3173" fmla="*/ 3096076 w 6785952"/>
              <a:gd name="connsiteY3173" fmla="*/ 4549875 h 5217112"/>
              <a:gd name="connsiteX3174" fmla="*/ 3096377 w 6785952"/>
              <a:gd name="connsiteY3174" fmla="*/ 4554412 h 5217112"/>
              <a:gd name="connsiteX3175" fmla="*/ 3085254 w 6785952"/>
              <a:gd name="connsiteY3175" fmla="*/ 4569131 h 5217112"/>
              <a:gd name="connsiteX3176" fmla="*/ 3096076 w 6785952"/>
              <a:gd name="connsiteY3176" fmla="*/ 4549875 h 5217112"/>
              <a:gd name="connsiteX3177" fmla="*/ 2067071 w 6785952"/>
              <a:gd name="connsiteY3177" fmla="*/ 4549875 h 5217112"/>
              <a:gd name="connsiteX3178" fmla="*/ 2067071 w 6785952"/>
              <a:gd name="connsiteY3178" fmla="*/ 4554412 h 5217112"/>
              <a:gd name="connsiteX3179" fmla="*/ 2056249 w 6785952"/>
              <a:gd name="connsiteY3179" fmla="*/ 4569131 h 5217112"/>
              <a:gd name="connsiteX3180" fmla="*/ 2067071 w 6785952"/>
              <a:gd name="connsiteY3180" fmla="*/ 4549875 h 5217112"/>
              <a:gd name="connsiteX3181" fmla="*/ 5345276 w 6785952"/>
              <a:gd name="connsiteY3181" fmla="*/ 4549211 h 5217112"/>
              <a:gd name="connsiteX3182" fmla="*/ 5341970 w 6785952"/>
              <a:gd name="connsiteY3182" fmla="*/ 4563155 h 5217112"/>
              <a:gd name="connsiteX3183" fmla="*/ 5325737 w 6785952"/>
              <a:gd name="connsiteY3183" fmla="*/ 4565811 h 5217112"/>
              <a:gd name="connsiteX3184" fmla="*/ 5345276 w 6785952"/>
              <a:gd name="connsiteY3184" fmla="*/ 4549211 h 5217112"/>
              <a:gd name="connsiteX3185" fmla="*/ 2580522 w 6785952"/>
              <a:gd name="connsiteY3185" fmla="*/ 4549211 h 5217112"/>
              <a:gd name="connsiteX3186" fmla="*/ 2577215 w 6785952"/>
              <a:gd name="connsiteY3186" fmla="*/ 4563155 h 5217112"/>
              <a:gd name="connsiteX3187" fmla="*/ 2561282 w 6785952"/>
              <a:gd name="connsiteY3187" fmla="*/ 4565811 h 5217112"/>
              <a:gd name="connsiteX3188" fmla="*/ 2580522 w 6785952"/>
              <a:gd name="connsiteY3188" fmla="*/ 4549211 h 5217112"/>
              <a:gd name="connsiteX3189" fmla="*/ 1551517 w 6785952"/>
              <a:gd name="connsiteY3189" fmla="*/ 4549211 h 5217112"/>
              <a:gd name="connsiteX3190" fmla="*/ 1548210 w 6785952"/>
              <a:gd name="connsiteY3190" fmla="*/ 4563155 h 5217112"/>
              <a:gd name="connsiteX3191" fmla="*/ 1532277 w 6785952"/>
              <a:gd name="connsiteY3191" fmla="*/ 4565811 h 5217112"/>
              <a:gd name="connsiteX3192" fmla="*/ 1551517 w 6785952"/>
              <a:gd name="connsiteY3192" fmla="*/ 4549211 h 5217112"/>
              <a:gd name="connsiteX3193" fmla="*/ 5876763 w 6785952"/>
              <a:gd name="connsiteY3193" fmla="*/ 4545558 h 5217112"/>
              <a:gd name="connsiteX3194" fmla="*/ 5884880 w 6785952"/>
              <a:gd name="connsiteY3194" fmla="*/ 4549211 h 5217112"/>
              <a:gd name="connsiteX3195" fmla="*/ 5874059 w 6785952"/>
              <a:gd name="connsiteY3195" fmla="*/ 4557179 h 5217112"/>
              <a:gd name="connsiteX3196" fmla="*/ 5868948 w 6785952"/>
              <a:gd name="connsiteY3196" fmla="*/ 4548768 h 5217112"/>
              <a:gd name="connsiteX3197" fmla="*/ 5876763 w 6785952"/>
              <a:gd name="connsiteY3197" fmla="*/ 4545558 h 5217112"/>
              <a:gd name="connsiteX3198" fmla="*/ 2294036 w 6785952"/>
              <a:gd name="connsiteY3198" fmla="*/ 4544784 h 5217112"/>
              <a:gd name="connsiteX3199" fmla="*/ 2312674 w 6785952"/>
              <a:gd name="connsiteY3199" fmla="*/ 4558064 h 5217112"/>
              <a:gd name="connsiteX3200" fmla="*/ 2311471 w 6785952"/>
              <a:gd name="connsiteY3200" fmla="*/ 4567914 h 5217112"/>
              <a:gd name="connsiteX3201" fmla="*/ 2287122 w 6785952"/>
              <a:gd name="connsiteY3201" fmla="*/ 4545226 h 5217112"/>
              <a:gd name="connsiteX3202" fmla="*/ 2294036 w 6785952"/>
              <a:gd name="connsiteY3202" fmla="*/ 4544784 h 5217112"/>
              <a:gd name="connsiteX3203" fmla="*/ 1264731 w 6785952"/>
              <a:gd name="connsiteY3203" fmla="*/ 4544784 h 5217112"/>
              <a:gd name="connsiteX3204" fmla="*/ 1283670 w 6785952"/>
              <a:gd name="connsiteY3204" fmla="*/ 4558064 h 5217112"/>
              <a:gd name="connsiteX3205" fmla="*/ 1282466 w 6785952"/>
              <a:gd name="connsiteY3205" fmla="*/ 4567914 h 5217112"/>
              <a:gd name="connsiteX3206" fmla="*/ 1257817 w 6785952"/>
              <a:gd name="connsiteY3206" fmla="*/ 4545226 h 5217112"/>
              <a:gd name="connsiteX3207" fmla="*/ 1264731 w 6785952"/>
              <a:gd name="connsiteY3207" fmla="*/ 4544784 h 5217112"/>
              <a:gd name="connsiteX3208" fmla="*/ 2208661 w 6785952"/>
              <a:gd name="connsiteY3208" fmla="*/ 4542460 h 5217112"/>
              <a:gd name="connsiteX3209" fmla="*/ 2211367 w 6785952"/>
              <a:gd name="connsiteY3209" fmla="*/ 4542902 h 5217112"/>
              <a:gd name="connsiteX3210" fmla="*/ 2200544 w 6785952"/>
              <a:gd name="connsiteY3210" fmla="*/ 4552420 h 5217112"/>
              <a:gd name="connsiteX3211" fmla="*/ 2196937 w 6785952"/>
              <a:gd name="connsiteY3211" fmla="*/ 4551645 h 5217112"/>
              <a:gd name="connsiteX3212" fmla="*/ 2196937 w 6785952"/>
              <a:gd name="connsiteY3212" fmla="*/ 4547329 h 5217112"/>
              <a:gd name="connsiteX3213" fmla="*/ 2208661 w 6785952"/>
              <a:gd name="connsiteY3213" fmla="*/ 4542460 h 5217112"/>
              <a:gd name="connsiteX3214" fmla="*/ 1179356 w 6785952"/>
              <a:gd name="connsiteY3214" fmla="*/ 4542460 h 5217112"/>
              <a:gd name="connsiteX3215" fmla="*/ 1182061 w 6785952"/>
              <a:gd name="connsiteY3215" fmla="*/ 4542902 h 5217112"/>
              <a:gd name="connsiteX3216" fmla="*/ 1171540 w 6785952"/>
              <a:gd name="connsiteY3216" fmla="*/ 4552420 h 5217112"/>
              <a:gd name="connsiteX3217" fmla="*/ 1167933 w 6785952"/>
              <a:gd name="connsiteY3217" fmla="*/ 4551645 h 5217112"/>
              <a:gd name="connsiteX3218" fmla="*/ 1167933 w 6785952"/>
              <a:gd name="connsiteY3218" fmla="*/ 4547329 h 5217112"/>
              <a:gd name="connsiteX3219" fmla="*/ 1179356 w 6785952"/>
              <a:gd name="connsiteY3219" fmla="*/ 4542460 h 5217112"/>
              <a:gd name="connsiteX3220" fmla="*/ 6338507 w 6785952"/>
              <a:gd name="connsiteY3220" fmla="*/ 4538808 h 5217112"/>
              <a:gd name="connsiteX3221" fmla="*/ 6344220 w 6785952"/>
              <a:gd name="connsiteY3221" fmla="*/ 4539472 h 5217112"/>
              <a:gd name="connsiteX3222" fmla="*/ 6345724 w 6785952"/>
              <a:gd name="connsiteY3222" fmla="*/ 4543013 h 5217112"/>
              <a:gd name="connsiteX3223" fmla="*/ 6346625 w 6785952"/>
              <a:gd name="connsiteY3223" fmla="*/ 4547551 h 5217112"/>
              <a:gd name="connsiteX3224" fmla="*/ 6329791 w 6785952"/>
              <a:gd name="connsiteY3224" fmla="*/ 4551977 h 5217112"/>
              <a:gd name="connsiteX3225" fmla="*/ 6338507 w 6785952"/>
              <a:gd name="connsiteY3225" fmla="*/ 4538808 h 5217112"/>
              <a:gd name="connsiteX3226" fmla="*/ 2545049 w 6785952"/>
              <a:gd name="connsiteY3226" fmla="*/ 4538808 h 5217112"/>
              <a:gd name="connsiteX3227" fmla="*/ 2550460 w 6785952"/>
              <a:gd name="connsiteY3227" fmla="*/ 4539472 h 5217112"/>
              <a:gd name="connsiteX3228" fmla="*/ 2551964 w 6785952"/>
              <a:gd name="connsiteY3228" fmla="*/ 4543013 h 5217112"/>
              <a:gd name="connsiteX3229" fmla="*/ 2553166 w 6785952"/>
              <a:gd name="connsiteY3229" fmla="*/ 4547551 h 5217112"/>
              <a:gd name="connsiteX3230" fmla="*/ 2536031 w 6785952"/>
              <a:gd name="connsiteY3230" fmla="*/ 4551977 h 5217112"/>
              <a:gd name="connsiteX3231" fmla="*/ 2545049 w 6785952"/>
              <a:gd name="connsiteY3231" fmla="*/ 4538808 h 5217112"/>
              <a:gd name="connsiteX3232" fmla="*/ 5823555 w 6785952"/>
              <a:gd name="connsiteY3232" fmla="*/ 4538476 h 5217112"/>
              <a:gd name="connsiteX3233" fmla="*/ 5827162 w 6785952"/>
              <a:gd name="connsiteY3233" fmla="*/ 4540025 h 5217112"/>
              <a:gd name="connsiteX3234" fmla="*/ 5821450 w 6785952"/>
              <a:gd name="connsiteY3234" fmla="*/ 4544894 h 5217112"/>
              <a:gd name="connsiteX3235" fmla="*/ 5818746 w 6785952"/>
              <a:gd name="connsiteY3235" fmla="*/ 4541132 h 5217112"/>
              <a:gd name="connsiteX3236" fmla="*/ 5823555 w 6785952"/>
              <a:gd name="connsiteY3236" fmla="*/ 4538476 h 5217112"/>
              <a:gd name="connsiteX3237" fmla="*/ 3059101 w 6785952"/>
              <a:gd name="connsiteY3237" fmla="*/ 4538476 h 5217112"/>
              <a:gd name="connsiteX3238" fmla="*/ 3062408 w 6785952"/>
              <a:gd name="connsiteY3238" fmla="*/ 4540025 h 5217112"/>
              <a:gd name="connsiteX3239" fmla="*/ 3056996 w 6785952"/>
              <a:gd name="connsiteY3239" fmla="*/ 4544894 h 5217112"/>
              <a:gd name="connsiteX3240" fmla="*/ 3054291 w 6785952"/>
              <a:gd name="connsiteY3240" fmla="*/ 4541132 h 5217112"/>
              <a:gd name="connsiteX3241" fmla="*/ 3059101 w 6785952"/>
              <a:gd name="connsiteY3241" fmla="*/ 4538476 h 5217112"/>
              <a:gd name="connsiteX3242" fmla="*/ 2029796 w 6785952"/>
              <a:gd name="connsiteY3242" fmla="*/ 4538476 h 5217112"/>
              <a:gd name="connsiteX3243" fmla="*/ 2033403 w 6785952"/>
              <a:gd name="connsiteY3243" fmla="*/ 4540025 h 5217112"/>
              <a:gd name="connsiteX3244" fmla="*/ 2027992 w 6785952"/>
              <a:gd name="connsiteY3244" fmla="*/ 4544894 h 5217112"/>
              <a:gd name="connsiteX3245" fmla="*/ 2024986 w 6785952"/>
              <a:gd name="connsiteY3245" fmla="*/ 4541132 h 5217112"/>
              <a:gd name="connsiteX3246" fmla="*/ 2029796 w 6785952"/>
              <a:gd name="connsiteY3246" fmla="*/ 4538476 h 5217112"/>
              <a:gd name="connsiteX3247" fmla="*/ 3587281 w 6785952"/>
              <a:gd name="connsiteY3247" fmla="*/ 4538365 h 5217112"/>
              <a:gd name="connsiteX3248" fmla="*/ 3596601 w 6785952"/>
              <a:gd name="connsiteY3248" fmla="*/ 4539250 h 5217112"/>
              <a:gd name="connsiteX3249" fmla="*/ 3596299 w 6785952"/>
              <a:gd name="connsiteY3249" fmla="*/ 4556736 h 5217112"/>
              <a:gd name="connsiteX3250" fmla="*/ 3580668 w 6785952"/>
              <a:gd name="connsiteY3250" fmla="*/ 4548547 h 5217112"/>
              <a:gd name="connsiteX3251" fmla="*/ 3565336 w 6785952"/>
              <a:gd name="connsiteY3251" fmla="*/ 4551977 h 5217112"/>
              <a:gd name="connsiteX3252" fmla="*/ 3574054 w 6785952"/>
              <a:gd name="connsiteY3252" fmla="*/ 4538808 h 5217112"/>
              <a:gd name="connsiteX3253" fmla="*/ 3579465 w 6785952"/>
              <a:gd name="connsiteY3253" fmla="*/ 4539472 h 5217112"/>
              <a:gd name="connsiteX3254" fmla="*/ 3580968 w 6785952"/>
              <a:gd name="connsiteY3254" fmla="*/ 4542570 h 5217112"/>
              <a:gd name="connsiteX3255" fmla="*/ 3580968 w 6785952"/>
              <a:gd name="connsiteY3255" fmla="*/ 4541574 h 5217112"/>
              <a:gd name="connsiteX3256" fmla="*/ 3587281 w 6785952"/>
              <a:gd name="connsiteY3256" fmla="*/ 4538365 h 5217112"/>
              <a:gd name="connsiteX3257" fmla="*/ 2078495 w 6785952"/>
              <a:gd name="connsiteY3257" fmla="*/ 4538365 h 5217112"/>
              <a:gd name="connsiteX3258" fmla="*/ 2087514 w 6785952"/>
              <a:gd name="connsiteY3258" fmla="*/ 4539250 h 5217112"/>
              <a:gd name="connsiteX3259" fmla="*/ 2090220 w 6785952"/>
              <a:gd name="connsiteY3259" fmla="*/ 4547329 h 5217112"/>
              <a:gd name="connsiteX3260" fmla="*/ 2089918 w 6785952"/>
              <a:gd name="connsiteY3260" fmla="*/ 4548547 h 5217112"/>
              <a:gd name="connsiteX3261" fmla="*/ 2091422 w 6785952"/>
              <a:gd name="connsiteY3261" fmla="*/ 4549211 h 5217112"/>
              <a:gd name="connsiteX3262" fmla="*/ 2087814 w 6785952"/>
              <a:gd name="connsiteY3262" fmla="*/ 4554412 h 5217112"/>
              <a:gd name="connsiteX3263" fmla="*/ 2087214 w 6785952"/>
              <a:gd name="connsiteY3263" fmla="*/ 4556736 h 5217112"/>
              <a:gd name="connsiteX3264" fmla="*/ 2083004 w 6785952"/>
              <a:gd name="connsiteY3264" fmla="*/ 4556515 h 5217112"/>
              <a:gd name="connsiteX3265" fmla="*/ 2080599 w 6785952"/>
              <a:gd name="connsiteY3265" fmla="*/ 4557179 h 5217112"/>
              <a:gd name="connsiteX3266" fmla="*/ 2079698 w 6785952"/>
              <a:gd name="connsiteY3266" fmla="*/ 4555740 h 5217112"/>
              <a:gd name="connsiteX3267" fmla="*/ 2074888 w 6785952"/>
              <a:gd name="connsiteY3267" fmla="*/ 4553305 h 5217112"/>
              <a:gd name="connsiteX3268" fmla="*/ 2071882 w 6785952"/>
              <a:gd name="connsiteY3268" fmla="*/ 4541574 h 5217112"/>
              <a:gd name="connsiteX3269" fmla="*/ 2078495 w 6785952"/>
              <a:gd name="connsiteY3269" fmla="*/ 4538365 h 5217112"/>
              <a:gd name="connsiteX3270" fmla="*/ 1049189 w 6785952"/>
              <a:gd name="connsiteY3270" fmla="*/ 4538365 h 5217112"/>
              <a:gd name="connsiteX3271" fmla="*/ 1058209 w 6785952"/>
              <a:gd name="connsiteY3271" fmla="*/ 4539250 h 5217112"/>
              <a:gd name="connsiteX3272" fmla="*/ 1058209 w 6785952"/>
              <a:gd name="connsiteY3272" fmla="*/ 4556736 h 5217112"/>
              <a:gd name="connsiteX3273" fmla="*/ 1042877 w 6785952"/>
              <a:gd name="connsiteY3273" fmla="*/ 4541574 h 5217112"/>
              <a:gd name="connsiteX3274" fmla="*/ 1049189 w 6785952"/>
              <a:gd name="connsiteY3274" fmla="*/ 4538365 h 5217112"/>
              <a:gd name="connsiteX3275" fmla="*/ 2695357 w 6785952"/>
              <a:gd name="connsiteY3275" fmla="*/ 4535266 h 5217112"/>
              <a:gd name="connsiteX3276" fmla="*/ 2711591 w 6785952"/>
              <a:gd name="connsiteY3276" fmla="*/ 4579313 h 5217112"/>
              <a:gd name="connsiteX3277" fmla="*/ 2640645 w 6785952"/>
              <a:gd name="connsiteY3277" fmla="*/ 4625131 h 5217112"/>
              <a:gd name="connsiteX3278" fmla="*/ 2695357 w 6785952"/>
              <a:gd name="connsiteY3278" fmla="*/ 4535266 h 5217112"/>
              <a:gd name="connsiteX3279" fmla="*/ 5197375 w 6785952"/>
              <a:gd name="connsiteY3279" fmla="*/ 4534049 h 5217112"/>
              <a:gd name="connsiteX3280" fmla="*/ 5204288 w 6785952"/>
              <a:gd name="connsiteY3280" fmla="*/ 4542681 h 5217112"/>
              <a:gd name="connsiteX3281" fmla="*/ 5203086 w 6785952"/>
              <a:gd name="connsiteY3281" fmla="*/ 4549985 h 5217112"/>
              <a:gd name="connsiteX3282" fmla="*/ 5190761 w 6785952"/>
              <a:gd name="connsiteY3282" fmla="*/ 4554855 h 5217112"/>
              <a:gd name="connsiteX3283" fmla="*/ 5183245 w 6785952"/>
              <a:gd name="connsiteY3283" fmla="*/ 4539250 h 5217112"/>
              <a:gd name="connsiteX3284" fmla="*/ 5197375 w 6785952"/>
              <a:gd name="connsiteY3284" fmla="*/ 4534049 h 5217112"/>
              <a:gd name="connsiteX3285" fmla="*/ 2432619 w 6785952"/>
              <a:gd name="connsiteY3285" fmla="*/ 4534049 h 5217112"/>
              <a:gd name="connsiteX3286" fmla="*/ 2439835 w 6785952"/>
              <a:gd name="connsiteY3286" fmla="*/ 4542681 h 5217112"/>
              <a:gd name="connsiteX3287" fmla="*/ 2438631 w 6785952"/>
              <a:gd name="connsiteY3287" fmla="*/ 4549985 h 5217112"/>
              <a:gd name="connsiteX3288" fmla="*/ 2426006 w 6785952"/>
              <a:gd name="connsiteY3288" fmla="*/ 4554855 h 5217112"/>
              <a:gd name="connsiteX3289" fmla="*/ 2418791 w 6785952"/>
              <a:gd name="connsiteY3289" fmla="*/ 4539250 h 5217112"/>
              <a:gd name="connsiteX3290" fmla="*/ 2432619 w 6785952"/>
              <a:gd name="connsiteY3290" fmla="*/ 4534049 h 5217112"/>
              <a:gd name="connsiteX3291" fmla="*/ 1403615 w 6785952"/>
              <a:gd name="connsiteY3291" fmla="*/ 4534049 h 5217112"/>
              <a:gd name="connsiteX3292" fmla="*/ 1410830 w 6785952"/>
              <a:gd name="connsiteY3292" fmla="*/ 4542681 h 5217112"/>
              <a:gd name="connsiteX3293" fmla="*/ 1409326 w 6785952"/>
              <a:gd name="connsiteY3293" fmla="*/ 4549985 h 5217112"/>
              <a:gd name="connsiteX3294" fmla="*/ 1397002 w 6785952"/>
              <a:gd name="connsiteY3294" fmla="*/ 4554855 h 5217112"/>
              <a:gd name="connsiteX3295" fmla="*/ 1389486 w 6785952"/>
              <a:gd name="connsiteY3295" fmla="*/ 4539250 h 5217112"/>
              <a:gd name="connsiteX3296" fmla="*/ 1403615 w 6785952"/>
              <a:gd name="connsiteY3296" fmla="*/ 4534049 h 5217112"/>
              <a:gd name="connsiteX3297" fmla="*/ 5347382 w 6785952"/>
              <a:gd name="connsiteY3297" fmla="*/ 4532721 h 5217112"/>
              <a:gd name="connsiteX3298" fmla="*/ 5354596 w 6785952"/>
              <a:gd name="connsiteY3298" fmla="*/ 4540468 h 5217112"/>
              <a:gd name="connsiteX3299" fmla="*/ 5341369 w 6785952"/>
              <a:gd name="connsiteY3299" fmla="*/ 4540689 h 5217112"/>
              <a:gd name="connsiteX3300" fmla="*/ 5347382 w 6785952"/>
              <a:gd name="connsiteY3300" fmla="*/ 4532721 h 5217112"/>
              <a:gd name="connsiteX3301" fmla="*/ 2582927 w 6785952"/>
              <a:gd name="connsiteY3301" fmla="*/ 4532721 h 5217112"/>
              <a:gd name="connsiteX3302" fmla="*/ 2589841 w 6785952"/>
              <a:gd name="connsiteY3302" fmla="*/ 4540468 h 5217112"/>
              <a:gd name="connsiteX3303" fmla="*/ 2576914 w 6785952"/>
              <a:gd name="connsiteY3303" fmla="*/ 4540689 h 5217112"/>
              <a:gd name="connsiteX3304" fmla="*/ 2582927 w 6785952"/>
              <a:gd name="connsiteY3304" fmla="*/ 4532721 h 5217112"/>
              <a:gd name="connsiteX3305" fmla="*/ 1553621 w 6785952"/>
              <a:gd name="connsiteY3305" fmla="*/ 4532721 h 5217112"/>
              <a:gd name="connsiteX3306" fmla="*/ 1560837 w 6785952"/>
              <a:gd name="connsiteY3306" fmla="*/ 4540468 h 5217112"/>
              <a:gd name="connsiteX3307" fmla="*/ 1547609 w 6785952"/>
              <a:gd name="connsiteY3307" fmla="*/ 4540689 h 5217112"/>
              <a:gd name="connsiteX3308" fmla="*/ 1553621 w 6785952"/>
              <a:gd name="connsiteY3308" fmla="*/ 4532721 h 5217112"/>
              <a:gd name="connsiteX3309" fmla="*/ 2302153 w 6785952"/>
              <a:gd name="connsiteY3309" fmla="*/ 4531282 h 5217112"/>
              <a:gd name="connsiteX3310" fmla="*/ 2309969 w 6785952"/>
              <a:gd name="connsiteY3310" fmla="*/ 4538365 h 5217112"/>
              <a:gd name="connsiteX3311" fmla="*/ 2304558 w 6785952"/>
              <a:gd name="connsiteY3311" fmla="*/ 4548436 h 5217112"/>
              <a:gd name="connsiteX3312" fmla="*/ 2300048 w 6785952"/>
              <a:gd name="connsiteY3312" fmla="*/ 4547108 h 5217112"/>
              <a:gd name="connsiteX3313" fmla="*/ 2302153 w 6785952"/>
              <a:gd name="connsiteY3313" fmla="*/ 4531282 h 5217112"/>
              <a:gd name="connsiteX3314" fmla="*/ 1272847 w 6785952"/>
              <a:gd name="connsiteY3314" fmla="*/ 4531282 h 5217112"/>
              <a:gd name="connsiteX3315" fmla="*/ 1280964 w 6785952"/>
              <a:gd name="connsiteY3315" fmla="*/ 4538365 h 5217112"/>
              <a:gd name="connsiteX3316" fmla="*/ 1275252 w 6785952"/>
              <a:gd name="connsiteY3316" fmla="*/ 4548436 h 5217112"/>
              <a:gd name="connsiteX3317" fmla="*/ 1271043 w 6785952"/>
              <a:gd name="connsiteY3317" fmla="*/ 4547108 h 5217112"/>
              <a:gd name="connsiteX3318" fmla="*/ 1272847 w 6785952"/>
              <a:gd name="connsiteY3318" fmla="*/ 4531282 h 5217112"/>
              <a:gd name="connsiteX3319" fmla="*/ 5224429 w 6785952"/>
              <a:gd name="connsiteY3319" fmla="*/ 4529179 h 5217112"/>
              <a:gd name="connsiteX3320" fmla="*/ 5210000 w 6785952"/>
              <a:gd name="connsiteY3320" fmla="*/ 4540800 h 5217112"/>
              <a:gd name="connsiteX3321" fmla="*/ 5224429 w 6785952"/>
              <a:gd name="connsiteY3321" fmla="*/ 4529179 h 5217112"/>
              <a:gd name="connsiteX3322" fmla="*/ 2459675 w 6785952"/>
              <a:gd name="connsiteY3322" fmla="*/ 4529179 h 5217112"/>
              <a:gd name="connsiteX3323" fmla="*/ 2445246 w 6785952"/>
              <a:gd name="connsiteY3323" fmla="*/ 4540800 h 5217112"/>
              <a:gd name="connsiteX3324" fmla="*/ 2459675 w 6785952"/>
              <a:gd name="connsiteY3324" fmla="*/ 4529179 h 5217112"/>
              <a:gd name="connsiteX3325" fmla="*/ 1430670 w 6785952"/>
              <a:gd name="connsiteY3325" fmla="*/ 4529179 h 5217112"/>
              <a:gd name="connsiteX3326" fmla="*/ 1416241 w 6785952"/>
              <a:gd name="connsiteY3326" fmla="*/ 4540800 h 5217112"/>
              <a:gd name="connsiteX3327" fmla="*/ 1430670 w 6785952"/>
              <a:gd name="connsiteY3327" fmla="*/ 4529179 h 5217112"/>
              <a:gd name="connsiteX3328" fmla="*/ 6121464 w 6785952"/>
              <a:gd name="connsiteY3328" fmla="*/ 4527740 h 5217112"/>
              <a:gd name="connsiteX3329" fmla="*/ 6132586 w 6785952"/>
              <a:gd name="connsiteY3329" fmla="*/ 4532389 h 5217112"/>
              <a:gd name="connsiteX3330" fmla="*/ 6134691 w 6785952"/>
              <a:gd name="connsiteY3330" fmla="*/ 4549543 h 5217112"/>
              <a:gd name="connsiteX3331" fmla="*/ 6137697 w 6785952"/>
              <a:gd name="connsiteY3331" fmla="*/ 4551535 h 5217112"/>
              <a:gd name="connsiteX3332" fmla="*/ 6140404 w 6785952"/>
              <a:gd name="connsiteY3332" fmla="*/ 4558175 h 5217112"/>
              <a:gd name="connsiteX3333" fmla="*/ 6137096 w 6785952"/>
              <a:gd name="connsiteY3333" fmla="*/ 4559171 h 5217112"/>
              <a:gd name="connsiteX3334" fmla="*/ 6132887 w 6785952"/>
              <a:gd name="connsiteY3334" fmla="*/ 4552420 h 5217112"/>
              <a:gd name="connsiteX3335" fmla="*/ 6131084 w 6785952"/>
              <a:gd name="connsiteY3335" fmla="*/ 4552199 h 5217112"/>
              <a:gd name="connsiteX3336" fmla="*/ 6127777 w 6785952"/>
              <a:gd name="connsiteY3336" fmla="*/ 4554744 h 5217112"/>
              <a:gd name="connsiteX3337" fmla="*/ 6111845 w 6785952"/>
              <a:gd name="connsiteY3337" fmla="*/ 4552420 h 5217112"/>
              <a:gd name="connsiteX3338" fmla="*/ 6108538 w 6785952"/>
              <a:gd name="connsiteY3338" fmla="*/ 4534934 h 5217112"/>
              <a:gd name="connsiteX3339" fmla="*/ 6113949 w 6785952"/>
              <a:gd name="connsiteY3339" fmla="*/ 4528072 h 5217112"/>
              <a:gd name="connsiteX3340" fmla="*/ 6121464 w 6785952"/>
              <a:gd name="connsiteY3340" fmla="*/ 4527740 h 5217112"/>
              <a:gd name="connsiteX3341" fmla="*/ 3357010 w 6785952"/>
              <a:gd name="connsiteY3341" fmla="*/ 4527740 h 5217112"/>
              <a:gd name="connsiteX3342" fmla="*/ 3368133 w 6785952"/>
              <a:gd name="connsiteY3342" fmla="*/ 4532389 h 5217112"/>
              <a:gd name="connsiteX3343" fmla="*/ 3369937 w 6785952"/>
              <a:gd name="connsiteY3343" fmla="*/ 4549543 h 5217112"/>
              <a:gd name="connsiteX3344" fmla="*/ 3373243 w 6785952"/>
              <a:gd name="connsiteY3344" fmla="*/ 4551535 h 5217112"/>
              <a:gd name="connsiteX3345" fmla="*/ 3375949 w 6785952"/>
              <a:gd name="connsiteY3345" fmla="*/ 4558175 h 5217112"/>
              <a:gd name="connsiteX3346" fmla="*/ 3372342 w 6785952"/>
              <a:gd name="connsiteY3346" fmla="*/ 4559171 h 5217112"/>
              <a:gd name="connsiteX3347" fmla="*/ 3368133 w 6785952"/>
              <a:gd name="connsiteY3347" fmla="*/ 4552420 h 5217112"/>
              <a:gd name="connsiteX3348" fmla="*/ 3366630 w 6785952"/>
              <a:gd name="connsiteY3348" fmla="*/ 4552199 h 5217112"/>
              <a:gd name="connsiteX3349" fmla="*/ 3363323 w 6785952"/>
              <a:gd name="connsiteY3349" fmla="*/ 4554744 h 5217112"/>
              <a:gd name="connsiteX3350" fmla="*/ 3347391 w 6785952"/>
              <a:gd name="connsiteY3350" fmla="*/ 4552420 h 5217112"/>
              <a:gd name="connsiteX3351" fmla="*/ 3343783 w 6785952"/>
              <a:gd name="connsiteY3351" fmla="*/ 4534934 h 5217112"/>
              <a:gd name="connsiteX3352" fmla="*/ 3349194 w 6785952"/>
              <a:gd name="connsiteY3352" fmla="*/ 4528072 h 5217112"/>
              <a:gd name="connsiteX3353" fmla="*/ 3357010 w 6785952"/>
              <a:gd name="connsiteY3353" fmla="*/ 4527740 h 5217112"/>
              <a:gd name="connsiteX3354" fmla="*/ 2328005 w 6785952"/>
              <a:gd name="connsiteY3354" fmla="*/ 4527740 h 5217112"/>
              <a:gd name="connsiteX3355" fmla="*/ 2338827 w 6785952"/>
              <a:gd name="connsiteY3355" fmla="*/ 4532389 h 5217112"/>
              <a:gd name="connsiteX3356" fmla="*/ 2340932 w 6785952"/>
              <a:gd name="connsiteY3356" fmla="*/ 4549543 h 5217112"/>
              <a:gd name="connsiteX3357" fmla="*/ 2343938 w 6785952"/>
              <a:gd name="connsiteY3357" fmla="*/ 4551535 h 5217112"/>
              <a:gd name="connsiteX3358" fmla="*/ 2346643 w 6785952"/>
              <a:gd name="connsiteY3358" fmla="*/ 4558175 h 5217112"/>
              <a:gd name="connsiteX3359" fmla="*/ 2343337 w 6785952"/>
              <a:gd name="connsiteY3359" fmla="*/ 4559171 h 5217112"/>
              <a:gd name="connsiteX3360" fmla="*/ 2339128 w 6785952"/>
              <a:gd name="connsiteY3360" fmla="*/ 4552420 h 5217112"/>
              <a:gd name="connsiteX3361" fmla="*/ 2337625 w 6785952"/>
              <a:gd name="connsiteY3361" fmla="*/ 4552199 h 5217112"/>
              <a:gd name="connsiteX3362" fmla="*/ 2334017 w 6785952"/>
              <a:gd name="connsiteY3362" fmla="*/ 4554744 h 5217112"/>
              <a:gd name="connsiteX3363" fmla="*/ 2324098 w 6785952"/>
              <a:gd name="connsiteY3363" fmla="*/ 4555740 h 5217112"/>
              <a:gd name="connsiteX3364" fmla="*/ 2323497 w 6785952"/>
              <a:gd name="connsiteY3364" fmla="*/ 4555519 h 5217112"/>
              <a:gd name="connsiteX3365" fmla="*/ 2324398 w 6785952"/>
              <a:gd name="connsiteY3365" fmla="*/ 4558507 h 5217112"/>
              <a:gd name="connsiteX3366" fmla="*/ 2315079 w 6785952"/>
              <a:gd name="connsiteY3366" fmla="*/ 4563709 h 5217112"/>
              <a:gd name="connsiteX3367" fmla="*/ 2315981 w 6785952"/>
              <a:gd name="connsiteY3367" fmla="*/ 4557068 h 5217112"/>
              <a:gd name="connsiteX3368" fmla="*/ 2321392 w 6785952"/>
              <a:gd name="connsiteY3368" fmla="*/ 4554191 h 5217112"/>
              <a:gd name="connsiteX3369" fmla="*/ 2318386 w 6785952"/>
              <a:gd name="connsiteY3369" fmla="*/ 4552420 h 5217112"/>
              <a:gd name="connsiteX3370" fmla="*/ 2314778 w 6785952"/>
              <a:gd name="connsiteY3370" fmla="*/ 4534934 h 5217112"/>
              <a:gd name="connsiteX3371" fmla="*/ 2320189 w 6785952"/>
              <a:gd name="connsiteY3371" fmla="*/ 4528072 h 5217112"/>
              <a:gd name="connsiteX3372" fmla="*/ 2328005 w 6785952"/>
              <a:gd name="connsiteY3372" fmla="*/ 4527740 h 5217112"/>
              <a:gd name="connsiteX3373" fmla="*/ 3447195 w 6785952"/>
              <a:gd name="connsiteY3373" fmla="*/ 4526080 h 5217112"/>
              <a:gd name="connsiteX3374" fmla="*/ 3461624 w 6785952"/>
              <a:gd name="connsiteY3374" fmla="*/ 4548657 h 5217112"/>
              <a:gd name="connsiteX3375" fmla="*/ 3452906 w 6785952"/>
              <a:gd name="connsiteY3375" fmla="*/ 4558950 h 5217112"/>
              <a:gd name="connsiteX3376" fmla="*/ 3447195 w 6785952"/>
              <a:gd name="connsiteY3376" fmla="*/ 4526080 h 5217112"/>
              <a:gd name="connsiteX3377" fmla="*/ 2071581 w 6785952"/>
              <a:gd name="connsiteY3377" fmla="*/ 4523092 h 5217112"/>
              <a:gd name="connsiteX3378" fmla="*/ 2076091 w 6785952"/>
              <a:gd name="connsiteY3378" fmla="*/ 4523424 h 5217112"/>
              <a:gd name="connsiteX3379" fmla="*/ 2078495 w 6785952"/>
              <a:gd name="connsiteY3379" fmla="*/ 4524863 h 5217112"/>
              <a:gd name="connsiteX3380" fmla="*/ 2078795 w 6785952"/>
              <a:gd name="connsiteY3380" fmla="*/ 4527076 h 5217112"/>
              <a:gd name="connsiteX3381" fmla="*/ 2074888 w 6785952"/>
              <a:gd name="connsiteY3381" fmla="*/ 4530175 h 5217112"/>
              <a:gd name="connsiteX3382" fmla="*/ 2069777 w 6785952"/>
              <a:gd name="connsiteY3382" fmla="*/ 4530507 h 5217112"/>
              <a:gd name="connsiteX3383" fmla="*/ 2068275 w 6785952"/>
              <a:gd name="connsiteY3383" fmla="*/ 4528515 h 5217112"/>
              <a:gd name="connsiteX3384" fmla="*/ 2067974 w 6785952"/>
              <a:gd name="connsiteY3384" fmla="*/ 4524863 h 5217112"/>
              <a:gd name="connsiteX3385" fmla="*/ 2071581 w 6785952"/>
              <a:gd name="connsiteY3385" fmla="*/ 4523092 h 5217112"/>
              <a:gd name="connsiteX3386" fmla="*/ 1042576 w 6785952"/>
              <a:gd name="connsiteY3386" fmla="*/ 4523092 h 5217112"/>
              <a:gd name="connsiteX3387" fmla="*/ 1046785 w 6785952"/>
              <a:gd name="connsiteY3387" fmla="*/ 4523424 h 5217112"/>
              <a:gd name="connsiteX3388" fmla="*/ 1049490 w 6785952"/>
              <a:gd name="connsiteY3388" fmla="*/ 4524863 h 5217112"/>
              <a:gd name="connsiteX3389" fmla="*/ 1049792 w 6785952"/>
              <a:gd name="connsiteY3389" fmla="*/ 4527076 h 5217112"/>
              <a:gd name="connsiteX3390" fmla="*/ 1045582 w 6785952"/>
              <a:gd name="connsiteY3390" fmla="*/ 4530175 h 5217112"/>
              <a:gd name="connsiteX3391" fmla="*/ 1040772 w 6785952"/>
              <a:gd name="connsiteY3391" fmla="*/ 4530507 h 5217112"/>
              <a:gd name="connsiteX3392" fmla="*/ 1039270 w 6785952"/>
              <a:gd name="connsiteY3392" fmla="*/ 4528515 h 5217112"/>
              <a:gd name="connsiteX3393" fmla="*/ 1038669 w 6785952"/>
              <a:gd name="connsiteY3393" fmla="*/ 4524863 h 5217112"/>
              <a:gd name="connsiteX3394" fmla="*/ 1042576 w 6785952"/>
              <a:gd name="connsiteY3394" fmla="*/ 4523092 h 5217112"/>
              <a:gd name="connsiteX3395" fmla="*/ 5797402 w 6785952"/>
              <a:gd name="connsiteY3395" fmla="*/ 4521100 h 5217112"/>
              <a:gd name="connsiteX3396" fmla="*/ 5800708 w 6785952"/>
              <a:gd name="connsiteY3396" fmla="*/ 4524642 h 5217112"/>
              <a:gd name="connsiteX3397" fmla="*/ 5799806 w 6785952"/>
              <a:gd name="connsiteY3397" fmla="*/ 4534823 h 5217112"/>
              <a:gd name="connsiteX3398" fmla="*/ 5788683 w 6785952"/>
              <a:gd name="connsiteY3398" fmla="*/ 4546333 h 5217112"/>
              <a:gd name="connsiteX3399" fmla="*/ 5789886 w 6785952"/>
              <a:gd name="connsiteY3399" fmla="*/ 4528072 h 5217112"/>
              <a:gd name="connsiteX3400" fmla="*/ 5797402 w 6785952"/>
              <a:gd name="connsiteY3400" fmla="*/ 4521100 h 5217112"/>
              <a:gd name="connsiteX3401" fmla="*/ 3032947 w 6785952"/>
              <a:gd name="connsiteY3401" fmla="*/ 4521100 h 5217112"/>
              <a:gd name="connsiteX3402" fmla="*/ 3036255 w 6785952"/>
              <a:gd name="connsiteY3402" fmla="*/ 4524642 h 5217112"/>
              <a:gd name="connsiteX3403" fmla="*/ 3035052 w 6785952"/>
              <a:gd name="connsiteY3403" fmla="*/ 4534823 h 5217112"/>
              <a:gd name="connsiteX3404" fmla="*/ 3024229 w 6785952"/>
              <a:gd name="connsiteY3404" fmla="*/ 4546333 h 5217112"/>
              <a:gd name="connsiteX3405" fmla="*/ 3025132 w 6785952"/>
              <a:gd name="connsiteY3405" fmla="*/ 4528072 h 5217112"/>
              <a:gd name="connsiteX3406" fmla="*/ 3032947 w 6785952"/>
              <a:gd name="connsiteY3406" fmla="*/ 4521100 h 5217112"/>
              <a:gd name="connsiteX3407" fmla="*/ 2003942 w 6785952"/>
              <a:gd name="connsiteY3407" fmla="*/ 4521100 h 5217112"/>
              <a:gd name="connsiteX3408" fmla="*/ 2006949 w 6785952"/>
              <a:gd name="connsiteY3408" fmla="*/ 4524642 h 5217112"/>
              <a:gd name="connsiteX3409" fmla="*/ 2006047 w 6785952"/>
              <a:gd name="connsiteY3409" fmla="*/ 4534823 h 5217112"/>
              <a:gd name="connsiteX3410" fmla="*/ 1994924 w 6785952"/>
              <a:gd name="connsiteY3410" fmla="*/ 4546333 h 5217112"/>
              <a:gd name="connsiteX3411" fmla="*/ 1996127 w 6785952"/>
              <a:gd name="connsiteY3411" fmla="*/ 4528072 h 5217112"/>
              <a:gd name="connsiteX3412" fmla="*/ 2003942 w 6785952"/>
              <a:gd name="connsiteY3412" fmla="*/ 4521100 h 5217112"/>
              <a:gd name="connsiteX3413" fmla="*/ 2474705 w 6785952"/>
              <a:gd name="connsiteY3413" fmla="*/ 4516341 h 5217112"/>
              <a:gd name="connsiteX3414" fmla="*/ 2483723 w 6785952"/>
              <a:gd name="connsiteY3414" fmla="*/ 4517005 h 5217112"/>
              <a:gd name="connsiteX3415" fmla="*/ 2480718 w 6785952"/>
              <a:gd name="connsiteY3415" fmla="*/ 4534491 h 5217112"/>
              <a:gd name="connsiteX3416" fmla="*/ 2467792 w 6785952"/>
              <a:gd name="connsiteY3416" fmla="*/ 4519661 h 5217112"/>
              <a:gd name="connsiteX3417" fmla="*/ 2474705 w 6785952"/>
              <a:gd name="connsiteY3417" fmla="*/ 4516341 h 5217112"/>
              <a:gd name="connsiteX3418" fmla="*/ 1445701 w 6785952"/>
              <a:gd name="connsiteY3418" fmla="*/ 4516341 h 5217112"/>
              <a:gd name="connsiteX3419" fmla="*/ 1454418 w 6785952"/>
              <a:gd name="connsiteY3419" fmla="*/ 4517005 h 5217112"/>
              <a:gd name="connsiteX3420" fmla="*/ 1451713 w 6785952"/>
              <a:gd name="connsiteY3420" fmla="*/ 4534491 h 5217112"/>
              <a:gd name="connsiteX3421" fmla="*/ 1438787 w 6785952"/>
              <a:gd name="connsiteY3421" fmla="*/ 4519661 h 5217112"/>
              <a:gd name="connsiteX3422" fmla="*/ 1445701 w 6785952"/>
              <a:gd name="connsiteY3422" fmla="*/ 4516341 h 5217112"/>
              <a:gd name="connsiteX3423" fmla="*/ 5454099 w 6785952"/>
              <a:gd name="connsiteY3423" fmla="*/ 4516009 h 5217112"/>
              <a:gd name="connsiteX3424" fmla="*/ 5458609 w 6785952"/>
              <a:gd name="connsiteY3424" fmla="*/ 4517891 h 5217112"/>
              <a:gd name="connsiteX3425" fmla="*/ 5459811 w 6785952"/>
              <a:gd name="connsiteY3425" fmla="*/ 4516784 h 5217112"/>
              <a:gd name="connsiteX3426" fmla="*/ 5466725 w 6785952"/>
              <a:gd name="connsiteY3426" fmla="*/ 4524310 h 5217112"/>
              <a:gd name="connsiteX3427" fmla="*/ 5471234 w 6785952"/>
              <a:gd name="connsiteY3427" fmla="*/ 4528626 h 5217112"/>
              <a:gd name="connsiteX3428" fmla="*/ 5468228 w 6785952"/>
              <a:gd name="connsiteY3428" fmla="*/ 4538586 h 5217112"/>
              <a:gd name="connsiteX3429" fmla="*/ 5447186 w 6785952"/>
              <a:gd name="connsiteY3429" fmla="*/ 4516673 h 5217112"/>
              <a:gd name="connsiteX3430" fmla="*/ 5454099 w 6785952"/>
              <a:gd name="connsiteY3430" fmla="*/ 4516009 h 5217112"/>
              <a:gd name="connsiteX3431" fmla="*/ 2689645 w 6785952"/>
              <a:gd name="connsiteY3431" fmla="*/ 4516009 h 5217112"/>
              <a:gd name="connsiteX3432" fmla="*/ 2694154 w 6785952"/>
              <a:gd name="connsiteY3432" fmla="*/ 4517891 h 5217112"/>
              <a:gd name="connsiteX3433" fmla="*/ 2695057 w 6785952"/>
              <a:gd name="connsiteY3433" fmla="*/ 4516784 h 5217112"/>
              <a:gd name="connsiteX3434" fmla="*/ 2701970 w 6785952"/>
              <a:gd name="connsiteY3434" fmla="*/ 4524310 h 5217112"/>
              <a:gd name="connsiteX3435" fmla="*/ 2706480 w 6785952"/>
              <a:gd name="connsiteY3435" fmla="*/ 4528626 h 5217112"/>
              <a:gd name="connsiteX3436" fmla="*/ 2703774 w 6785952"/>
              <a:gd name="connsiteY3436" fmla="*/ 4538586 h 5217112"/>
              <a:gd name="connsiteX3437" fmla="*/ 2682731 w 6785952"/>
              <a:gd name="connsiteY3437" fmla="*/ 4516673 h 5217112"/>
              <a:gd name="connsiteX3438" fmla="*/ 2689645 w 6785952"/>
              <a:gd name="connsiteY3438" fmla="*/ 4516009 h 5217112"/>
              <a:gd name="connsiteX3439" fmla="*/ 1660340 w 6785952"/>
              <a:gd name="connsiteY3439" fmla="*/ 4516009 h 5217112"/>
              <a:gd name="connsiteX3440" fmla="*/ 1664849 w 6785952"/>
              <a:gd name="connsiteY3440" fmla="*/ 4517891 h 5217112"/>
              <a:gd name="connsiteX3441" fmla="*/ 1666052 w 6785952"/>
              <a:gd name="connsiteY3441" fmla="*/ 4516784 h 5217112"/>
              <a:gd name="connsiteX3442" fmla="*/ 1672965 w 6785952"/>
              <a:gd name="connsiteY3442" fmla="*/ 4524310 h 5217112"/>
              <a:gd name="connsiteX3443" fmla="*/ 1677475 w 6785952"/>
              <a:gd name="connsiteY3443" fmla="*/ 4528626 h 5217112"/>
              <a:gd name="connsiteX3444" fmla="*/ 1674469 w 6785952"/>
              <a:gd name="connsiteY3444" fmla="*/ 4538586 h 5217112"/>
              <a:gd name="connsiteX3445" fmla="*/ 1653426 w 6785952"/>
              <a:gd name="connsiteY3445" fmla="*/ 4516673 h 5217112"/>
              <a:gd name="connsiteX3446" fmla="*/ 1660340 w 6785952"/>
              <a:gd name="connsiteY3446" fmla="*/ 4516009 h 5217112"/>
              <a:gd name="connsiteX3447" fmla="*/ 2183410 w 6785952"/>
              <a:gd name="connsiteY3447" fmla="*/ 4512689 h 5217112"/>
              <a:gd name="connsiteX3448" fmla="*/ 2202949 w 6785952"/>
              <a:gd name="connsiteY3448" fmla="*/ 4520436 h 5217112"/>
              <a:gd name="connsiteX3449" fmla="*/ 2203551 w 6785952"/>
              <a:gd name="connsiteY3449" fmla="*/ 4529068 h 5217112"/>
              <a:gd name="connsiteX3450" fmla="*/ 2196937 w 6785952"/>
              <a:gd name="connsiteY3450" fmla="*/ 4531282 h 5217112"/>
              <a:gd name="connsiteX3451" fmla="*/ 2183410 w 6785952"/>
              <a:gd name="connsiteY3451" fmla="*/ 4512689 h 5217112"/>
              <a:gd name="connsiteX3452" fmla="*/ 1154104 w 6785952"/>
              <a:gd name="connsiteY3452" fmla="*/ 4512689 h 5217112"/>
              <a:gd name="connsiteX3453" fmla="*/ 1173945 w 6785952"/>
              <a:gd name="connsiteY3453" fmla="*/ 4520436 h 5217112"/>
              <a:gd name="connsiteX3454" fmla="*/ 1174547 w 6785952"/>
              <a:gd name="connsiteY3454" fmla="*/ 4529068 h 5217112"/>
              <a:gd name="connsiteX3455" fmla="*/ 1167933 w 6785952"/>
              <a:gd name="connsiteY3455" fmla="*/ 4531282 h 5217112"/>
              <a:gd name="connsiteX3456" fmla="*/ 1154104 w 6785952"/>
              <a:gd name="connsiteY3456" fmla="*/ 4512689 h 5217112"/>
              <a:gd name="connsiteX3457" fmla="*/ 5618535 w 6785952"/>
              <a:gd name="connsiteY3457" fmla="*/ 4510808 h 5217112"/>
              <a:gd name="connsiteX3458" fmla="*/ 5618535 w 6785952"/>
              <a:gd name="connsiteY3458" fmla="*/ 4517005 h 5217112"/>
              <a:gd name="connsiteX3459" fmla="*/ 5614027 w 6785952"/>
              <a:gd name="connsiteY3459" fmla="*/ 4518333 h 5217112"/>
              <a:gd name="connsiteX3460" fmla="*/ 5618535 w 6785952"/>
              <a:gd name="connsiteY3460" fmla="*/ 4510808 h 5217112"/>
              <a:gd name="connsiteX3461" fmla="*/ 4362867 w 6785952"/>
              <a:gd name="connsiteY3461" fmla="*/ 4510808 h 5217112"/>
              <a:gd name="connsiteX3462" fmla="*/ 4363168 w 6785952"/>
              <a:gd name="connsiteY3462" fmla="*/ 4517005 h 5217112"/>
              <a:gd name="connsiteX3463" fmla="*/ 4358358 w 6785952"/>
              <a:gd name="connsiteY3463" fmla="*/ 4518333 h 5217112"/>
              <a:gd name="connsiteX3464" fmla="*/ 4362867 w 6785952"/>
              <a:gd name="connsiteY3464" fmla="*/ 4510808 h 5217112"/>
              <a:gd name="connsiteX3465" fmla="*/ 2853781 w 6785952"/>
              <a:gd name="connsiteY3465" fmla="*/ 4510808 h 5217112"/>
              <a:gd name="connsiteX3466" fmla="*/ 2854081 w 6785952"/>
              <a:gd name="connsiteY3466" fmla="*/ 4517005 h 5217112"/>
              <a:gd name="connsiteX3467" fmla="*/ 2849572 w 6785952"/>
              <a:gd name="connsiteY3467" fmla="*/ 4518333 h 5217112"/>
              <a:gd name="connsiteX3468" fmla="*/ 2853781 w 6785952"/>
              <a:gd name="connsiteY3468" fmla="*/ 4510808 h 5217112"/>
              <a:gd name="connsiteX3469" fmla="*/ 1824776 w 6785952"/>
              <a:gd name="connsiteY3469" fmla="*/ 4510808 h 5217112"/>
              <a:gd name="connsiteX3470" fmla="*/ 1825077 w 6785952"/>
              <a:gd name="connsiteY3470" fmla="*/ 4517005 h 5217112"/>
              <a:gd name="connsiteX3471" fmla="*/ 1820267 w 6785952"/>
              <a:gd name="connsiteY3471" fmla="*/ 4518333 h 5217112"/>
              <a:gd name="connsiteX3472" fmla="*/ 1824776 w 6785952"/>
              <a:gd name="connsiteY3472" fmla="*/ 4510808 h 5217112"/>
              <a:gd name="connsiteX3473" fmla="*/ 1985305 w 6785952"/>
              <a:gd name="connsiteY3473" fmla="*/ 4508705 h 5217112"/>
              <a:gd name="connsiteX3474" fmla="*/ 1990115 w 6785952"/>
              <a:gd name="connsiteY3474" fmla="*/ 4510697 h 5217112"/>
              <a:gd name="connsiteX3475" fmla="*/ 1985906 w 6785952"/>
              <a:gd name="connsiteY3475" fmla="*/ 4521321 h 5217112"/>
              <a:gd name="connsiteX3476" fmla="*/ 1985305 w 6785952"/>
              <a:gd name="connsiteY3476" fmla="*/ 4508705 h 5217112"/>
              <a:gd name="connsiteX3477" fmla="*/ 956300 w 6785952"/>
              <a:gd name="connsiteY3477" fmla="*/ 4508705 h 5217112"/>
              <a:gd name="connsiteX3478" fmla="*/ 961110 w 6785952"/>
              <a:gd name="connsiteY3478" fmla="*/ 4510697 h 5217112"/>
              <a:gd name="connsiteX3479" fmla="*/ 956901 w 6785952"/>
              <a:gd name="connsiteY3479" fmla="*/ 4521321 h 5217112"/>
              <a:gd name="connsiteX3480" fmla="*/ 956300 w 6785952"/>
              <a:gd name="connsiteY3480" fmla="*/ 4508705 h 5217112"/>
              <a:gd name="connsiteX3481" fmla="*/ 5856022 w 6785952"/>
              <a:gd name="connsiteY3481" fmla="*/ 4507598 h 5217112"/>
              <a:gd name="connsiteX3482" fmla="*/ 5860230 w 6785952"/>
              <a:gd name="connsiteY3482" fmla="*/ 4508262 h 5217112"/>
              <a:gd name="connsiteX3483" fmla="*/ 5860831 w 6785952"/>
              <a:gd name="connsiteY3483" fmla="*/ 4516120 h 5217112"/>
              <a:gd name="connsiteX3484" fmla="*/ 5840991 w 6785952"/>
              <a:gd name="connsiteY3484" fmla="*/ 4530618 h 5217112"/>
              <a:gd name="connsiteX3485" fmla="*/ 5838886 w 6785952"/>
              <a:gd name="connsiteY3485" fmla="*/ 4517005 h 5217112"/>
              <a:gd name="connsiteX3486" fmla="*/ 5845500 w 6785952"/>
              <a:gd name="connsiteY3486" fmla="*/ 4510144 h 5217112"/>
              <a:gd name="connsiteX3487" fmla="*/ 5856022 w 6785952"/>
              <a:gd name="connsiteY3487" fmla="*/ 4507598 h 5217112"/>
              <a:gd name="connsiteX3488" fmla="*/ 2062262 w 6785952"/>
              <a:gd name="connsiteY3488" fmla="*/ 4507598 h 5217112"/>
              <a:gd name="connsiteX3489" fmla="*/ 2066470 w 6785952"/>
              <a:gd name="connsiteY3489" fmla="*/ 4508262 h 5217112"/>
              <a:gd name="connsiteX3490" fmla="*/ 2067071 w 6785952"/>
              <a:gd name="connsiteY3490" fmla="*/ 4516120 h 5217112"/>
              <a:gd name="connsiteX3491" fmla="*/ 2047532 w 6785952"/>
              <a:gd name="connsiteY3491" fmla="*/ 4530618 h 5217112"/>
              <a:gd name="connsiteX3492" fmla="*/ 2045427 w 6785952"/>
              <a:gd name="connsiteY3492" fmla="*/ 4517005 h 5217112"/>
              <a:gd name="connsiteX3493" fmla="*/ 2051741 w 6785952"/>
              <a:gd name="connsiteY3493" fmla="*/ 4510144 h 5217112"/>
              <a:gd name="connsiteX3494" fmla="*/ 2062262 w 6785952"/>
              <a:gd name="connsiteY3494" fmla="*/ 4507598 h 5217112"/>
              <a:gd name="connsiteX3495" fmla="*/ 5618235 w 6785952"/>
              <a:gd name="connsiteY3495" fmla="*/ 4506381 h 5217112"/>
              <a:gd name="connsiteX3496" fmla="*/ 5618535 w 6785952"/>
              <a:gd name="connsiteY3496" fmla="*/ 4509701 h 5217112"/>
              <a:gd name="connsiteX3497" fmla="*/ 5617032 w 6785952"/>
              <a:gd name="connsiteY3497" fmla="*/ 4509701 h 5217112"/>
              <a:gd name="connsiteX3498" fmla="*/ 5618235 w 6785952"/>
              <a:gd name="connsiteY3498" fmla="*/ 4506381 h 5217112"/>
              <a:gd name="connsiteX3499" fmla="*/ 4362867 w 6785952"/>
              <a:gd name="connsiteY3499" fmla="*/ 4506381 h 5217112"/>
              <a:gd name="connsiteX3500" fmla="*/ 4362867 w 6785952"/>
              <a:gd name="connsiteY3500" fmla="*/ 4509701 h 5217112"/>
              <a:gd name="connsiteX3501" fmla="*/ 4361364 w 6785952"/>
              <a:gd name="connsiteY3501" fmla="*/ 4509701 h 5217112"/>
              <a:gd name="connsiteX3502" fmla="*/ 4362867 w 6785952"/>
              <a:gd name="connsiteY3502" fmla="*/ 4506381 h 5217112"/>
              <a:gd name="connsiteX3503" fmla="*/ 2853781 w 6785952"/>
              <a:gd name="connsiteY3503" fmla="*/ 4506381 h 5217112"/>
              <a:gd name="connsiteX3504" fmla="*/ 2853781 w 6785952"/>
              <a:gd name="connsiteY3504" fmla="*/ 4509701 h 5217112"/>
              <a:gd name="connsiteX3505" fmla="*/ 2852277 w 6785952"/>
              <a:gd name="connsiteY3505" fmla="*/ 4509701 h 5217112"/>
              <a:gd name="connsiteX3506" fmla="*/ 2853781 w 6785952"/>
              <a:gd name="connsiteY3506" fmla="*/ 4506381 h 5217112"/>
              <a:gd name="connsiteX3507" fmla="*/ 1824776 w 6785952"/>
              <a:gd name="connsiteY3507" fmla="*/ 4506381 h 5217112"/>
              <a:gd name="connsiteX3508" fmla="*/ 1824776 w 6785952"/>
              <a:gd name="connsiteY3508" fmla="*/ 4509701 h 5217112"/>
              <a:gd name="connsiteX3509" fmla="*/ 1823273 w 6785952"/>
              <a:gd name="connsiteY3509" fmla="*/ 4509701 h 5217112"/>
              <a:gd name="connsiteX3510" fmla="*/ 1824776 w 6785952"/>
              <a:gd name="connsiteY3510" fmla="*/ 4506381 h 5217112"/>
              <a:gd name="connsiteX3511" fmla="*/ 5726456 w 6785952"/>
              <a:gd name="connsiteY3511" fmla="*/ 4505606 h 5217112"/>
              <a:gd name="connsiteX3512" fmla="*/ 5730365 w 6785952"/>
              <a:gd name="connsiteY3512" fmla="*/ 4512689 h 5217112"/>
              <a:gd name="connsiteX3513" fmla="*/ 5732168 w 6785952"/>
              <a:gd name="connsiteY3513" fmla="*/ 4518333 h 5217112"/>
              <a:gd name="connsiteX3514" fmla="*/ 5722548 w 6785952"/>
              <a:gd name="connsiteY3514" fmla="*/ 4526744 h 5217112"/>
              <a:gd name="connsiteX3515" fmla="*/ 5721947 w 6785952"/>
              <a:gd name="connsiteY3515" fmla="*/ 4526744 h 5217112"/>
              <a:gd name="connsiteX3516" fmla="*/ 5721947 w 6785952"/>
              <a:gd name="connsiteY3516" fmla="*/ 4526966 h 5217112"/>
              <a:gd name="connsiteX3517" fmla="*/ 5719543 w 6785952"/>
              <a:gd name="connsiteY3517" fmla="*/ 4529400 h 5217112"/>
              <a:gd name="connsiteX3518" fmla="*/ 5722849 w 6785952"/>
              <a:gd name="connsiteY3518" fmla="*/ 4530397 h 5217112"/>
              <a:gd name="connsiteX3519" fmla="*/ 5729764 w 6785952"/>
              <a:gd name="connsiteY3519" fmla="*/ 4545226 h 5217112"/>
              <a:gd name="connsiteX3520" fmla="*/ 5729764 w 6785952"/>
              <a:gd name="connsiteY3520" fmla="*/ 4543788 h 5217112"/>
              <a:gd name="connsiteX3521" fmla="*/ 5752911 w 6785952"/>
              <a:gd name="connsiteY3521" fmla="*/ 4531835 h 5217112"/>
              <a:gd name="connsiteX3522" fmla="*/ 5751107 w 6785952"/>
              <a:gd name="connsiteY3522" fmla="*/ 4536262 h 5217112"/>
              <a:gd name="connsiteX3523" fmla="*/ 5749603 w 6785952"/>
              <a:gd name="connsiteY3523" fmla="*/ 4537479 h 5217112"/>
              <a:gd name="connsiteX3524" fmla="*/ 5749303 w 6785952"/>
              <a:gd name="connsiteY3524" fmla="*/ 4539029 h 5217112"/>
              <a:gd name="connsiteX3525" fmla="*/ 5747800 w 6785952"/>
              <a:gd name="connsiteY3525" fmla="*/ 4538697 h 5217112"/>
              <a:gd name="connsiteX3526" fmla="*/ 5744192 w 6785952"/>
              <a:gd name="connsiteY3526" fmla="*/ 4541353 h 5217112"/>
              <a:gd name="connsiteX3527" fmla="*/ 5738781 w 6785952"/>
              <a:gd name="connsiteY3527" fmla="*/ 4549764 h 5217112"/>
              <a:gd name="connsiteX3528" fmla="*/ 5729162 w 6785952"/>
              <a:gd name="connsiteY3528" fmla="*/ 4554412 h 5217112"/>
              <a:gd name="connsiteX3529" fmla="*/ 5726156 w 6785952"/>
              <a:gd name="connsiteY3529" fmla="*/ 4550871 h 5217112"/>
              <a:gd name="connsiteX3530" fmla="*/ 5722849 w 6785952"/>
              <a:gd name="connsiteY3530" fmla="*/ 4553416 h 5217112"/>
              <a:gd name="connsiteX3531" fmla="*/ 5718641 w 6785952"/>
              <a:gd name="connsiteY3531" fmla="*/ 4556404 h 5217112"/>
              <a:gd name="connsiteX3532" fmla="*/ 5718340 w 6785952"/>
              <a:gd name="connsiteY3532" fmla="*/ 4560056 h 5217112"/>
              <a:gd name="connsiteX3533" fmla="*/ 5715934 w 6785952"/>
              <a:gd name="connsiteY3533" fmla="*/ 4565258 h 5217112"/>
              <a:gd name="connsiteX3534" fmla="*/ 5706315 w 6785952"/>
              <a:gd name="connsiteY3534" fmla="*/ 4558839 h 5217112"/>
              <a:gd name="connsiteX3535" fmla="*/ 5710824 w 6785952"/>
              <a:gd name="connsiteY3535" fmla="*/ 4554523 h 5217112"/>
              <a:gd name="connsiteX3536" fmla="*/ 5702408 w 6785952"/>
              <a:gd name="connsiteY3536" fmla="*/ 4548768 h 5217112"/>
              <a:gd name="connsiteX3537" fmla="*/ 5698199 w 6785952"/>
              <a:gd name="connsiteY3537" fmla="*/ 4540578 h 5217112"/>
              <a:gd name="connsiteX3538" fmla="*/ 5702107 w 6785952"/>
              <a:gd name="connsiteY3538" fmla="*/ 4530397 h 5217112"/>
              <a:gd name="connsiteX3539" fmla="*/ 5707819 w 6785952"/>
              <a:gd name="connsiteY3539" fmla="*/ 4528626 h 5217112"/>
              <a:gd name="connsiteX3540" fmla="*/ 5705413 w 6785952"/>
              <a:gd name="connsiteY3540" fmla="*/ 4526966 h 5217112"/>
              <a:gd name="connsiteX3541" fmla="*/ 5701505 w 6785952"/>
              <a:gd name="connsiteY3541" fmla="*/ 4522871 h 5217112"/>
              <a:gd name="connsiteX3542" fmla="*/ 5706916 w 6785952"/>
              <a:gd name="connsiteY3542" fmla="*/ 4518665 h 5217112"/>
              <a:gd name="connsiteX3543" fmla="*/ 5711124 w 6785952"/>
              <a:gd name="connsiteY3543" fmla="*/ 4518333 h 5217112"/>
              <a:gd name="connsiteX3544" fmla="*/ 5710824 w 6785952"/>
              <a:gd name="connsiteY3544" fmla="*/ 4516341 h 5217112"/>
              <a:gd name="connsiteX3545" fmla="*/ 5726456 w 6785952"/>
              <a:gd name="connsiteY3545" fmla="*/ 4505606 h 5217112"/>
              <a:gd name="connsiteX3546" fmla="*/ 2961702 w 6785952"/>
              <a:gd name="connsiteY3546" fmla="*/ 4505606 h 5217112"/>
              <a:gd name="connsiteX3547" fmla="*/ 2965609 w 6785952"/>
              <a:gd name="connsiteY3547" fmla="*/ 4512689 h 5217112"/>
              <a:gd name="connsiteX3548" fmla="*/ 2967413 w 6785952"/>
              <a:gd name="connsiteY3548" fmla="*/ 4518333 h 5217112"/>
              <a:gd name="connsiteX3549" fmla="*/ 2958094 w 6785952"/>
              <a:gd name="connsiteY3549" fmla="*/ 4526744 h 5217112"/>
              <a:gd name="connsiteX3550" fmla="*/ 2957192 w 6785952"/>
              <a:gd name="connsiteY3550" fmla="*/ 4526744 h 5217112"/>
              <a:gd name="connsiteX3551" fmla="*/ 2957493 w 6785952"/>
              <a:gd name="connsiteY3551" fmla="*/ 4526966 h 5217112"/>
              <a:gd name="connsiteX3552" fmla="*/ 2955088 w 6785952"/>
              <a:gd name="connsiteY3552" fmla="*/ 4529400 h 5217112"/>
              <a:gd name="connsiteX3553" fmla="*/ 2958094 w 6785952"/>
              <a:gd name="connsiteY3553" fmla="*/ 4530397 h 5217112"/>
              <a:gd name="connsiteX3554" fmla="*/ 2965309 w 6785952"/>
              <a:gd name="connsiteY3554" fmla="*/ 4545226 h 5217112"/>
              <a:gd name="connsiteX3555" fmla="*/ 2965309 w 6785952"/>
              <a:gd name="connsiteY3555" fmla="*/ 4543788 h 5217112"/>
              <a:gd name="connsiteX3556" fmla="*/ 2988456 w 6785952"/>
              <a:gd name="connsiteY3556" fmla="*/ 4531835 h 5217112"/>
              <a:gd name="connsiteX3557" fmla="*/ 2986653 w 6785952"/>
              <a:gd name="connsiteY3557" fmla="*/ 4536262 h 5217112"/>
              <a:gd name="connsiteX3558" fmla="*/ 2984849 w 6785952"/>
              <a:gd name="connsiteY3558" fmla="*/ 4537479 h 5217112"/>
              <a:gd name="connsiteX3559" fmla="*/ 2984849 w 6785952"/>
              <a:gd name="connsiteY3559" fmla="*/ 4539029 h 5217112"/>
              <a:gd name="connsiteX3560" fmla="*/ 2983345 w 6785952"/>
              <a:gd name="connsiteY3560" fmla="*/ 4538697 h 5217112"/>
              <a:gd name="connsiteX3561" fmla="*/ 2979738 w 6785952"/>
              <a:gd name="connsiteY3561" fmla="*/ 4541353 h 5217112"/>
              <a:gd name="connsiteX3562" fmla="*/ 2974327 w 6785952"/>
              <a:gd name="connsiteY3562" fmla="*/ 4549764 h 5217112"/>
              <a:gd name="connsiteX3563" fmla="*/ 2964407 w 6785952"/>
              <a:gd name="connsiteY3563" fmla="*/ 4554412 h 5217112"/>
              <a:gd name="connsiteX3564" fmla="*/ 2961401 w 6785952"/>
              <a:gd name="connsiteY3564" fmla="*/ 4550871 h 5217112"/>
              <a:gd name="connsiteX3565" fmla="*/ 2958094 w 6785952"/>
              <a:gd name="connsiteY3565" fmla="*/ 4553416 h 5217112"/>
              <a:gd name="connsiteX3566" fmla="*/ 2954186 w 6785952"/>
              <a:gd name="connsiteY3566" fmla="*/ 4556404 h 5217112"/>
              <a:gd name="connsiteX3567" fmla="*/ 2953886 w 6785952"/>
              <a:gd name="connsiteY3567" fmla="*/ 4560056 h 5217112"/>
              <a:gd name="connsiteX3568" fmla="*/ 2951481 w 6785952"/>
              <a:gd name="connsiteY3568" fmla="*/ 4565258 h 5217112"/>
              <a:gd name="connsiteX3569" fmla="*/ 2941560 w 6785952"/>
              <a:gd name="connsiteY3569" fmla="*/ 4558839 h 5217112"/>
              <a:gd name="connsiteX3570" fmla="*/ 2946069 w 6785952"/>
              <a:gd name="connsiteY3570" fmla="*/ 4554523 h 5217112"/>
              <a:gd name="connsiteX3571" fmla="*/ 2937953 w 6785952"/>
              <a:gd name="connsiteY3571" fmla="*/ 4548768 h 5217112"/>
              <a:gd name="connsiteX3572" fmla="*/ 2933443 w 6785952"/>
              <a:gd name="connsiteY3572" fmla="*/ 4540578 h 5217112"/>
              <a:gd name="connsiteX3573" fmla="*/ 2937352 w 6785952"/>
              <a:gd name="connsiteY3573" fmla="*/ 4530397 h 5217112"/>
              <a:gd name="connsiteX3574" fmla="*/ 2943364 w 6785952"/>
              <a:gd name="connsiteY3574" fmla="*/ 4528626 h 5217112"/>
              <a:gd name="connsiteX3575" fmla="*/ 2940959 w 6785952"/>
              <a:gd name="connsiteY3575" fmla="*/ 4526966 h 5217112"/>
              <a:gd name="connsiteX3576" fmla="*/ 2937051 w 6785952"/>
              <a:gd name="connsiteY3576" fmla="*/ 4522871 h 5217112"/>
              <a:gd name="connsiteX3577" fmla="*/ 2942462 w 6785952"/>
              <a:gd name="connsiteY3577" fmla="*/ 4518665 h 5217112"/>
              <a:gd name="connsiteX3578" fmla="*/ 2946670 w 6785952"/>
              <a:gd name="connsiteY3578" fmla="*/ 4518333 h 5217112"/>
              <a:gd name="connsiteX3579" fmla="*/ 2946069 w 6785952"/>
              <a:gd name="connsiteY3579" fmla="*/ 4516341 h 5217112"/>
              <a:gd name="connsiteX3580" fmla="*/ 2961702 w 6785952"/>
              <a:gd name="connsiteY3580" fmla="*/ 4505606 h 5217112"/>
              <a:gd name="connsiteX3581" fmla="*/ 1932697 w 6785952"/>
              <a:gd name="connsiteY3581" fmla="*/ 4505606 h 5217112"/>
              <a:gd name="connsiteX3582" fmla="*/ 1936605 w 6785952"/>
              <a:gd name="connsiteY3582" fmla="*/ 4512689 h 5217112"/>
              <a:gd name="connsiteX3583" fmla="*/ 1938409 w 6785952"/>
              <a:gd name="connsiteY3583" fmla="*/ 4518333 h 5217112"/>
              <a:gd name="connsiteX3584" fmla="*/ 1928789 w 6785952"/>
              <a:gd name="connsiteY3584" fmla="*/ 4526744 h 5217112"/>
              <a:gd name="connsiteX3585" fmla="*/ 1928187 w 6785952"/>
              <a:gd name="connsiteY3585" fmla="*/ 4526744 h 5217112"/>
              <a:gd name="connsiteX3586" fmla="*/ 1928187 w 6785952"/>
              <a:gd name="connsiteY3586" fmla="*/ 4526966 h 5217112"/>
              <a:gd name="connsiteX3587" fmla="*/ 1926083 w 6785952"/>
              <a:gd name="connsiteY3587" fmla="*/ 4529400 h 5217112"/>
              <a:gd name="connsiteX3588" fmla="*/ 1929090 w 6785952"/>
              <a:gd name="connsiteY3588" fmla="*/ 4530397 h 5217112"/>
              <a:gd name="connsiteX3589" fmla="*/ 1936004 w 6785952"/>
              <a:gd name="connsiteY3589" fmla="*/ 4545226 h 5217112"/>
              <a:gd name="connsiteX3590" fmla="*/ 1936304 w 6785952"/>
              <a:gd name="connsiteY3590" fmla="*/ 4543788 h 5217112"/>
              <a:gd name="connsiteX3591" fmla="*/ 1959451 w 6785952"/>
              <a:gd name="connsiteY3591" fmla="*/ 4531835 h 5217112"/>
              <a:gd name="connsiteX3592" fmla="*/ 1957348 w 6785952"/>
              <a:gd name="connsiteY3592" fmla="*/ 4536262 h 5217112"/>
              <a:gd name="connsiteX3593" fmla="*/ 1955844 w 6785952"/>
              <a:gd name="connsiteY3593" fmla="*/ 4537479 h 5217112"/>
              <a:gd name="connsiteX3594" fmla="*/ 1955544 w 6785952"/>
              <a:gd name="connsiteY3594" fmla="*/ 4539029 h 5217112"/>
              <a:gd name="connsiteX3595" fmla="*/ 1954041 w 6785952"/>
              <a:gd name="connsiteY3595" fmla="*/ 4538697 h 5217112"/>
              <a:gd name="connsiteX3596" fmla="*/ 1950733 w 6785952"/>
              <a:gd name="connsiteY3596" fmla="*/ 4541353 h 5217112"/>
              <a:gd name="connsiteX3597" fmla="*/ 1945322 w 6785952"/>
              <a:gd name="connsiteY3597" fmla="*/ 4549764 h 5217112"/>
              <a:gd name="connsiteX3598" fmla="*/ 1935403 w 6785952"/>
              <a:gd name="connsiteY3598" fmla="*/ 4554412 h 5217112"/>
              <a:gd name="connsiteX3599" fmla="*/ 1932397 w 6785952"/>
              <a:gd name="connsiteY3599" fmla="*/ 4550871 h 5217112"/>
              <a:gd name="connsiteX3600" fmla="*/ 1929090 w 6785952"/>
              <a:gd name="connsiteY3600" fmla="*/ 4553416 h 5217112"/>
              <a:gd name="connsiteX3601" fmla="*/ 1925182 w 6785952"/>
              <a:gd name="connsiteY3601" fmla="*/ 4556404 h 5217112"/>
              <a:gd name="connsiteX3602" fmla="*/ 1924881 w 6785952"/>
              <a:gd name="connsiteY3602" fmla="*/ 4560056 h 5217112"/>
              <a:gd name="connsiteX3603" fmla="*/ 1922175 w 6785952"/>
              <a:gd name="connsiteY3603" fmla="*/ 4565258 h 5217112"/>
              <a:gd name="connsiteX3604" fmla="*/ 1912556 w 6785952"/>
              <a:gd name="connsiteY3604" fmla="*/ 4558839 h 5217112"/>
              <a:gd name="connsiteX3605" fmla="*/ 1917065 w 6785952"/>
              <a:gd name="connsiteY3605" fmla="*/ 4554523 h 5217112"/>
              <a:gd name="connsiteX3606" fmla="*/ 1908648 w 6785952"/>
              <a:gd name="connsiteY3606" fmla="*/ 4548768 h 5217112"/>
              <a:gd name="connsiteX3607" fmla="*/ 1904440 w 6785952"/>
              <a:gd name="connsiteY3607" fmla="*/ 4540578 h 5217112"/>
              <a:gd name="connsiteX3608" fmla="*/ 1908347 w 6785952"/>
              <a:gd name="connsiteY3608" fmla="*/ 4530397 h 5217112"/>
              <a:gd name="connsiteX3609" fmla="*/ 1914059 w 6785952"/>
              <a:gd name="connsiteY3609" fmla="*/ 4528626 h 5217112"/>
              <a:gd name="connsiteX3610" fmla="*/ 1911954 w 6785952"/>
              <a:gd name="connsiteY3610" fmla="*/ 4526966 h 5217112"/>
              <a:gd name="connsiteX3611" fmla="*/ 1907746 w 6785952"/>
              <a:gd name="connsiteY3611" fmla="*/ 4522871 h 5217112"/>
              <a:gd name="connsiteX3612" fmla="*/ 1913157 w 6785952"/>
              <a:gd name="connsiteY3612" fmla="*/ 4518665 h 5217112"/>
              <a:gd name="connsiteX3613" fmla="*/ 1917666 w 6785952"/>
              <a:gd name="connsiteY3613" fmla="*/ 4518333 h 5217112"/>
              <a:gd name="connsiteX3614" fmla="*/ 1917065 w 6785952"/>
              <a:gd name="connsiteY3614" fmla="*/ 4516341 h 5217112"/>
              <a:gd name="connsiteX3615" fmla="*/ 1932697 w 6785952"/>
              <a:gd name="connsiteY3615" fmla="*/ 4505606 h 5217112"/>
              <a:gd name="connsiteX3616" fmla="*/ 5223226 w 6785952"/>
              <a:gd name="connsiteY3616" fmla="*/ 4505053 h 5217112"/>
              <a:gd name="connsiteX3617" fmla="*/ 5225332 w 6785952"/>
              <a:gd name="connsiteY3617" fmla="*/ 4505827 h 5217112"/>
              <a:gd name="connsiteX3618" fmla="*/ 5225332 w 6785952"/>
              <a:gd name="connsiteY3618" fmla="*/ 4505163 h 5217112"/>
              <a:gd name="connsiteX3619" fmla="*/ 5228036 w 6785952"/>
              <a:gd name="connsiteY3619" fmla="*/ 4507820 h 5217112"/>
              <a:gd name="connsiteX3620" fmla="*/ 5228036 w 6785952"/>
              <a:gd name="connsiteY3620" fmla="*/ 4512800 h 5217112"/>
              <a:gd name="connsiteX3621" fmla="*/ 5224730 w 6785952"/>
              <a:gd name="connsiteY3621" fmla="*/ 4512689 h 5217112"/>
              <a:gd name="connsiteX3622" fmla="*/ 5223226 w 6785952"/>
              <a:gd name="connsiteY3622" fmla="*/ 4505053 h 5217112"/>
              <a:gd name="connsiteX3623" fmla="*/ 5208798 w 6785952"/>
              <a:gd name="connsiteY3623" fmla="*/ 4505053 h 5217112"/>
              <a:gd name="connsiteX3624" fmla="*/ 5210601 w 6785952"/>
              <a:gd name="connsiteY3624" fmla="*/ 4509037 h 5217112"/>
              <a:gd name="connsiteX3625" fmla="*/ 5208197 w 6785952"/>
              <a:gd name="connsiteY3625" fmla="*/ 4510365 h 5217112"/>
              <a:gd name="connsiteX3626" fmla="*/ 5208197 w 6785952"/>
              <a:gd name="connsiteY3626" fmla="*/ 4507045 h 5217112"/>
              <a:gd name="connsiteX3627" fmla="*/ 5208798 w 6785952"/>
              <a:gd name="connsiteY3627" fmla="*/ 4505053 h 5217112"/>
              <a:gd name="connsiteX3628" fmla="*/ 2458772 w 6785952"/>
              <a:gd name="connsiteY3628" fmla="*/ 4505053 h 5217112"/>
              <a:gd name="connsiteX3629" fmla="*/ 2460577 w 6785952"/>
              <a:gd name="connsiteY3629" fmla="*/ 4505827 h 5217112"/>
              <a:gd name="connsiteX3630" fmla="*/ 2460877 w 6785952"/>
              <a:gd name="connsiteY3630" fmla="*/ 4505163 h 5217112"/>
              <a:gd name="connsiteX3631" fmla="*/ 2463282 w 6785952"/>
              <a:gd name="connsiteY3631" fmla="*/ 4507820 h 5217112"/>
              <a:gd name="connsiteX3632" fmla="*/ 2463582 w 6785952"/>
              <a:gd name="connsiteY3632" fmla="*/ 4512800 h 5217112"/>
              <a:gd name="connsiteX3633" fmla="*/ 2460276 w 6785952"/>
              <a:gd name="connsiteY3633" fmla="*/ 4512689 h 5217112"/>
              <a:gd name="connsiteX3634" fmla="*/ 2458772 w 6785952"/>
              <a:gd name="connsiteY3634" fmla="*/ 4505053 h 5217112"/>
              <a:gd name="connsiteX3635" fmla="*/ 2444343 w 6785952"/>
              <a:gd name="connsiteY3635" fmla="*/ 4505053 h 5217112"/>
              <a:gd name="connsiteX3636" fmla="*/ 2446147 w 6785952"/>
              <a:gd name="connsiteY3636" fmla="*/ 4509037 h 5217112"/>
              <a:gd name="connsiteX3637" fmla="*/ 2443442 w 6785952"/>
              <a:gd name="connsiteY3637" fmla="*/ 4510365 h 5217112"/>
              <a:gd name="connsiteX3638" fmla="*/ 2443742 w 6785952"/>
              <a:gd name="connsiteY3638" fmla="*/ 4507045 h 5217112"/>
              <a:gd name="connsiteX3639" fmla="*/ 2444343 w 6785952"/>
              <a:gd name="connsiteY3639" fmla="*/ 4505053 h 5217112"/>
              <a:gd name="connsiteX3640" fmla="*/ 1429467 w 6785952"/>
              <a:gd name="connsiteY3640" fmla="*/ 4505053 h 5217112"/>
              <a:gd name="connsiteX3641" fmla="*/ 1431572 w 6785952"/>
              <a:gd name="connsiteY3641" fmla="*/ 4505827 h 5217112"/>
              <a:gd name="connsiteX3642" fmla="*/ 1431872 w 6785952"/>
              <a:gd name="connsiteY3642" fmla="*/ 4505163 h 5217112"/>
              <a:gd name="connsiteX3643" fmla="*/ 1434277 w 6785952"/>
              <a:gd name="connsiteY3643" fmla="*/ 4507820 h 5217112"/>
              <a:gd name="connsiteX3644" fmla="*/ 1434578 w 6785952"/>
              <a:gd name="connsiteY3644" fmla="*/ 4512800 h 5217112"/>
              <a:gd name="connsiteX3645" fmla="*/ 1430971 w 6785952"/>
              <a:gd name="connsiteY3645" fmla="*/ 4512689 h 5217112"/>
              <a:gd name="connsiteX3646" fmla="*/ 1429467 w 6785952"/>
              <a:gd name="connsiteY3646" fmla="*/ 4505053 h 5217112"/>
              <a:gd name="connsiteX3647" fmla="*/ 1415338 w 6785952"/>
              <a:gd name="connsiteY3647" fmla="*/ 4505053 h 5217112"/>
              <a:gd name="connsiteX3648" fmla="*/ 1417142 w 6785952"/>
              <a:gd name="connsiteY3648" fmla="*/ 4509037 h 5217112"/>
              <a:gd name="connsiteX3649" fmla="*/ 1414437 w 6785952"/>
              <a:gd name="connsiteY3649" fmla="*/ 4510365 h 5217112"/>
              <a:gd name="connsiteX3650" fmla="*/ 1414437 w 6785952"/>
              <a:gd name="connsiteY3650" fmla="*/ 4507045 h 5217112"/>
              <a:gd name="connsiteX3651" fmla="*/ 1415338 w 6785952"/>
              <a:gd name="connsiteY3651" fmla="*/ 4505053 h 5217112"/>
              <a:gd name="connsiteX3652" fmla="*/ 5225632 w 6785952"/>
              <a:gd name="connsiteY3652" fmla="*/ 4504167 h 5217112"/>
              <a:gd name="connsiteX3653" fmla="*/ 5225332 w 6785952"/>
              <a:gd name="connsiteY3653" fmla="*/ 4505163 h 5217112"/>
              <a:gd name="connsiteX3654" fmla="*/ 5224730 w 6785952"/>
              <a:gd name="connsiteY3654" fmla="*/ 4504389 h 5217112"/>
              <a:gd name="connsiteX3655" fmla="*/ 5225632 w 6785952"/>
              <a:gd name="connsiteY3655" fmla="*/ 4504167 h 5217112"/>
              <a:gd name="connsiteX3656" fmla="*/ 2461177 w 6785952"/>
              <a:gd name="connsiteY3656" fmla="*/ 4504167 h 5217112"/>
              <a:gd name="connsiteX3657" fmla="*/ 2460877 w 6785952"/>
              <a:gd name="connsiteY3657" fmla="*/ 4505163 h 5217112"/>
              <a:gd name="connsiteX3658" fmla="*/ 2459975 w 6785952"/>
              <a:gd name="connsiteY3658" fmla="*/ 4504389 h 5217112"/>
              <a:gd name="connsiteX3659" fmla="*/ 2461177 w 6785952"/>
              <a:gd name="connsiteY3659" fmla="*/ 4504167 h 5217112"/>
              <a:gd name="connsiteX3660" fmla="*/ 1432173 w 6785952"/>
              <a:gd name="connsiteY3660" fmla="*/ 4504167 h 5217112"/>
              <a:gd name="connsiteX3661" fmla="*/ 1431872 w 6785952"/>
              <a:gd name="connsiteY3661" fmla="*/ 4505163 h 5217112"/>
              <a:gd name="connsiteX3662" fmla="*/ 1430971 w 6785952"/>
              <a:gd name="connsiteY3662" fmla="*/ 4504389 h 5217112"/>
              <a:gd name="connsiteX3663" fmla="*/ 1432173 w 6785952"/>
              <a:gd name="connsiteY3663" fmla="*/ 4504167 h 5217112"/>
              <a:gd name="connsiteX3664" fmla="*/ 5259001 w 6785952"/>
              <a:gd name="connsiteY3664" fmla="*/ 4503393 h 5217112"/>
              <a:gd name="connsiteX3665" fmla="*/ 5265614 w 6785952"/>
              <a:gd name="connsiteY3665" fmla="*/ 4503393 h 5217112"/>
              <a:gd name="connsiteX3666" fmla="*/ 5277037 w 6785952"/>
              <a:gd name="connsiteY3666" fmla="*/ 4506381 h 5217112"/>
              <a:gd name="connsiteX3667" fmla="*/ 5274934 w 6785952"/>
              <a:gd name="connsiteY3667" fmla="*/ 4517227 h 5217112"/>
              <a:gd name="connsiteX3668" fmla="*/ 5254191 w 6785952"/>
              <a:gd name="connsiteY3668" fmla="*/ 4505274 h 5217112"/>
              <a:gd name="connsiteX3669" fmla="*/ 5259001 w 6785952"/>
              <a:gd name="connsiteY3669" fmla="*/ 4503393 h 5217112"/>
              <a:gd name="connsiteX3670" fmla="*/ 2494546 w 6785952"/>
              <a:gd name="connsiteY3670" fmla="*/ 4503393 h 5217112"/>
              <a:gd name="connsiteX3671" fmla="*/ 2501160 w 6785952"/>
              <a:gd name="connsiteY3671" fmla="*/ 4503393 h 5217112"/>
              <a:gd name="connsiteX3672" fmla="*/ 2512283 w 6785952"/>
              <a:gd name="connsiteY3672" fmla="*/ 4506381 h 5217112"/>
              <a:gd name="connsiteX3673" fmla="*/ 2510479 w 6785952"/>
              <a:gd name="connsiteY3673" fmla="*/ 4517227 h 5217112"/>
              <a:gd name="connsiteX3674" fmla="*/ 2489737 w 6785952"/>
              <a:gd name="connsiteY3674" fmla="*/ 4505274 h 5217112"/>
              <a:gd name="connsiteX3675" fmla="*/ 2494546 w 6785952"/>
              <a:gd name="connsiteY3675" fmla="*/ 4503393 h 5217112"/>
              <a:gd name="connsiteX3676" fmla="*/ 1465541 w 6785952"/>
              <a:gd name="connsiteY3676" fmla="*/ 4503393 h 5217112"/>
              <a:gd name="connsiteX3677" fmla="*/ 1472155 w 6785952"/>
              <a:gd name="connsiteY3677" fmla="*/ 4503393 h 5217112"/>
              <a:gd name="connsiteX3678" fmla="*/ 1483278 w 6785952"/>
              <a:gd name="connsiteY3678" fmla="*/ 4506381 h 5217112"/>
              <a:gd name="connsiteX3679" fmla="*/ 1481173 w 6785952"/>
              <a:gd name="connsiteY3679" fmla="*/ 4517227 h 5217112"/>
              <a:gd name="connsiteX3680" fmla="*/ 1460431 w 6785952"/>
              <a:gd name="connsiteY3680" fmla="*/ 4505274 h 5217112"/>
              <a:gd name="connsiteX3681" fmla="*/ 1465541 w 6785952"/>
              <a:gd name="connsiteY3681" fmla="*/ 4503393 h 5217112"/>
              <a:gd name="connsiteX3682" fmla="*/ 1250902 w 6785952"/>
              <a:gd name="connsiteY3682" fmla="*/ 4503282 h 5217112"/>
              <a:gd name="connsiteX3683" fmla="*/ 1255111 w 6785952"/>
              <a:gd name="connsiteY3683" fmla="*/ 4504499 h 5217112"/>
              <a:gd name="connsiteX3684" fmla="*/ 1249098 w 6785952"/>
              <a:gd name="connsiteY3684" fmla="*/ 4507156 h 5217112"/>
              <a:gd name="connsiteX3685" fmla="*/ 1245792 w 6785952"/>
              <a:gd name="connsiteY3685" fmla="*/ 4503835 h 5217112"/>
              <a:gd name="connsiteX3686" fmla="*/ 1250902 w 6785952"/>
              <a:gd name="connsiteY3686" fmla="*/ 4503282 h 5217112"/>
              <a:gd name="connsiteX3687" fmla="*/ 5662726 w 6785952"/>
              <a:gd name="connsiteY3687" fmla="*/ 4502839 h 5217112"/>
              <a:gd name="connsiteX3688" fmla="*/ 5670242 w 6785952"/>
              <a:gd name="connsiteY3688" fmla="*/ 4511582 h 5217112"/>
              <a:gd name="connsiteX3689" fmla="*/ 5667235 w 6785952"/>
              <a:gd name="connsiteY3689" fmla="*/ 4514681 h 5217112"/>
              <a:gd name="connsiteX3690" fmla="*/ 5652506 w 6785952"/>
              <a:gd name="connsiteY3690" fmla="*/ 4506713 h 5217112"/>
              <a:gd name="connsiteX3691" fmla="*/ 5662726 w 6785952"/>
              <a:gd name="connsiteY3691" fmla="*/ 4502839 h 5217112"/>
              <a:gd name="connsiteX3692" fmla="*/ 4407057 w 6785952"/>
              <a:gd name="connsiteY3692" fmla="*/ 4502839 h 5217112"/>
              <a:gd name="connsiteX3693" fmla="*/ 4414873 w 6785952"/>
              <a:gd name="connsiteY3693" fmla="*/ 4511582 h 5217112"/>
              <a:gd name="connsiteX3694" fmla="*/ 4411867 w 6785952"/>
              <a:gd name="connsiteY3694" fmla="*/ 4514681 h 5217112"/>
              <a:gd name="connsiteX3695" fmla="*/ 4396837 w 6785952"/>
              <a:gd name="connsiteY3695" fmla="*/ 4506713 h 5217112"/>
              <a:gd name="connsiteX3696" fmla="*/ 4407057 w 6785952"/>
              <a:gd name="connsiteY3696" fmla="*/ 4502839 h 5217112"/>
              <a:gd name="connsiteX3697" fmla="*/ 2897971 w 6785952"/>
              <a:gd name="connsiteY3697" fmla="*/ 4502839 h 5217112"/>
              <a:gd name="connsiteX3698" fmla="*/ 2905788 w 6785952"/>
              <a:gd name="connsiteY3698" fmla="*/ 4511582 h 5217112"/>
              <a:gd name="connsiteX3699" fmla="*/ 2902780 w 6785952"/>
              <a:gd name="connsiteY3699" fmla="*/ 4514681 h 5217112"/>
              <a:gd name="connsiteX3700" fmla="*/ 2887750 w 6785952"/>
              <a:gd name="connsiteY3700" fmla="*/ 4506713 h 5217112"/>
              <a:gd name="connsiteX3701" fmla="*/ 2897971 w 6785952"/>
              <a:gd name="connsiteY3701" fmla="*/ 4502839 h 5217112"/>
              <a:gd name="connsiteX3702" fmla="*/ 1868967 w 6785952"/>
              <a:gd name="connsiteY3702" fmla="*/ 4502839 h 5217112"/>
              <a:gd name="connsiteX3703" fmla="*/ 1876783 w 6785952"/>
              <a:gd name="connsiteY3703" fmla="*/ 4511582 h 5217112"/>
              <a:gd name="connsiteX3704" fmla="*/ 1873475 w 6785952"/>
              <a:gd name="connsiteY3704" fmla="*/ 4514681 h 5217112"/>
              <a:gd name="connsiteX3705" fmla="*/ 1858746 w 6785952"/>
              <a:gd name="connsiteY3705" fmla="*/ 4506713 h 5217112"/>
              <a:gd name="connsiteX3706" fmla="*/ 1868967 w 6785952"/>
              <a:gd name="connsiteY3706" fmla="*/ 4502839 h 5217112"/>
              <a:gd name="connsiteX3707" fmla="*/ 1257817 w 6785952"/>
              <a:gd name="connsiteY3707" fmla="*/ 4501954 h 5217112"/>
              <a:gd name="connsiteX3708" fmla="*/ 1259320 w 6785952"/>
              <a:gd name="connsiteY3708" fmla="*/ 4502507 h 5217112"/>
              <a:gd name="connsiteX3709" fmla="*/ 1256313 w 6785952"/>
              <a:gd name="connsiteY3709" fmla="*/ 4504057 h 5217112"/>
              <a:gd name="connsiteX3710" fmla="*/ 1255712 w 6785952"/>
              <a:gd name="connsiteY3710" fmla="*/ 4502729 h 5217112"/>
              <a:gd name="connsiteX3711" fmla="*/ 1257817 w 6785952"/>
              <a:gd name="connsiteY3711" fmla="*/ 4501954 h 5217112"/>
              <a:gd name="connsiteX3712" fmla="*/ 5608916 w 6785952"/>
              <a:gd name="connsiteY3712" fmla="*/ 4501401 h 5217112"/>
              <a:gd name="connsiteX3713" fmla="*/ 5610419 w 6785952"/>
              <a:gd name="connsiteY3713" fmla="*/ 4503171 h 5217112"/>
              <a:gd name="connsiteX3714" fmla="*/ 5609818 w 6785952"/>
              <a:gd name="connsiteY3714" fmla="*/ 4506159 h 5217112"/>
              <a:gd name="connsiteX3715" fmla="*/ 5607714 w 6785952"/>
              <a:gd name="connsiteY3715" fmla="*/ 4512689 h 5217112"/>
              <a:gd name="connsiteX3716" fmla="*/ 5608916 w 6785952"/>
              <a:gd name="connsiteY3716" fmla="*/ 4501401 h 5217112"/>
              <a:gd name="connsiteX3717" fmla="*/ 4353548 w 6785952"/>
              <a:gd name="connsiteY3717" fmla="*/ 4501401 h 5217112"/>
              <a:gd name="connsiteX3718" fmla="*/ 4355052 w 6785952"/>
              <a:gd name="connsiteY3718" fmla="*/ 4503171 h 5217112"/>
              <a:gd name="connsiteX3719" fmla="*/ 4354451 w 6785952"/>
              <a:gd name="connsiteY3719" fmla="*/ 4506159 h 5217112"/>
              <a:gd name="connsiteX3720" fmla="*/ 4352046 w 6785952"/>
              <a:gd name="connsiteY3720" fmla="*/ 4512689 h 5217112"/>
              <a:gd name="connsiteX3721" fmla="*/ 4353548 w 6785952"/>
              <a:gd name="connsiteY3721" fmla="*/ 4501401 h 5217112"/>
              <a:gd name="connsiteX3722" fmla="*/ 2844461 w 6785952"/>
              <a:gd name="connsiteY3722" fmla="*/ 4501401 h 5217112"/>
              <a:gd name="connsiteX3723" fmla="*/ 2845965 w 6785952"/>
              <a:gd name="connsiteY3723" fmla="*/ 4503171 h 5217112"/>
              <a:gd name="connsiteX3724" fmla="*/ 2845364 w 6785952"/>
              <a:gd name="connsiteY3724" fmla="*/ 4506159 h 5217112"/>
              <a:gd name="connsiteX3725" fmla="*/ 2843259 w 6785952"/>
              <a:gd name="connsiteY3725" fmla="*/ 4512689 h 5217112"/>
              <a:gd name="connsiteX3726" fmla="*/ 2844461 w 6785952"/>
              <a:gd name="connsiteY3726" fmla="*/ 4501401 h 5217112"/>
              <a:gd name="connsiteX3727" fmla="*/ 1815458 w 6785952"/>
              <a:gd name="connsiteY3727" fmla="*/ 4501401 h 5217112"/>
              <a:gd name="connsiteX3728" fmla="*/ 1816660 w 6785952"/>
              <a:gd name="connsiteY3728" fmla="*/ 4503171 h 5217112"/>
              <a:gd name="connsiteX3729" fmla="*/ 1816059 w 6785952"/>
              <a:gd name="connsiteY3729" fmla="*/ 4506159 h 5217112"/>
              <a:gd name="connsiteX3730" fmla="*/ 1813954 w 6785952"/>
              <a:gd name="connsiteY3730" fmla="*/ 4512689 h 5217112"/>
              <a:gd name="connsiteX3731" fmla="*/ 1815458 w 6785952"/>
              <a:gd name="connsiteY3731" fmla="*/ 4501401 h 5217112"/>
              <a:gd name="connsiteX3732" fmla="*/ 2182808 w 6785952"/>
              <a:gd name="connsiteY3732" fmla="*/ 4501069 h 5217112"/>
              <a:gd name="connsiteX3733" fmla="*/ 2181606 w 6785952"/>
              <a:gd name="connsiteY3733" fmla="*/ 4501954 h 5217112"/>
              <a:gd name="connsiteX3734" fmla="*/ 2183410 w 6785952"/>
              <a:gd name="connsiteY3734" fmla="*/ 4503503 h 5217112"/>
              <a:gd name="connsiteX3735" fmla="*/ 2182508 w 6785952"/>
              <a:gd name="connsiteY3735" fmla="*/ 4502286 h 5217112"/>
              <a:gd name="connsiteX3736" fmla="*/ 5976568 w 6785952"/>
              <a:gd name="connsiteY3736" fmla="*/ 4500958 h 5217112"/>
              <a:gd name="connsiteX3737" fmla="*/ 5975366 w 6785952"/>
              <a:gd name="connsiteY3737" fmla="*/ 4501954 h 5217112"/>
              <a:gd name="connsiteX3738" fmla="*/ 5976868 w 6785952"/>
              <a:gd name="connsiteY3738" fmla="*/ 4503503 h 5217112"/>
              <a:gd name="connsiteX3739" fmla="*/ 5976267 w 6785952"/>
              <a:gd name="connsiteY3739" fmla="*/ 4502286 h 5217112"/>
              <a:gd name="connsiteX3740" fmla="*/ 1266835 w 6785952"/>
              <a:gd name="connsiteY3740" fmla="*/ 4499187 h 5217112"/>
              <a:gd name="connsiteX3741" fmla="*/ 1265933 w 6785952"/>
              <a:gd name="connsiteY3741" fmla="*/ 4501069 h 5217112"/>
              <a:gd name="connsiteX3742" fmla="*/ 1263228 w 6785952"/>
              <a:gd name="connsiteY3742" fmla="*/ 4499409 h 5217112"/>
              <a:gd name="connsiteX3743" fmla="*/ 1266835 w 6785952"/>
              <a:gd name="connsiteY3743" fmla="*/ 4499187 h 5217112"/>
              <a:gd name="connsiteX3744" fmla="*/ 5704211 w 6785952"/>
              <a:gd name="connsiteY3744" fmla="*/ 4498302 h 5217112"/>
              <a:gd name="connsiteX3745" fmla="*/ 5705713 w 6785952"/>
              <a:gd name="connsiteY3745" fmla="*/ 4504389 h 5217112"/>
              <a:gd name="connsiteX3746" fmla="*/ 5701505 w 6785952"/>
              <a:gd name="connsiteY3746" fmla="*/ 4506824 h 5217112"/>
              <a:gd name="connsiteX3747" fmla="*/ 5699401 w 6785952"/>
              <a:gd name="connsiteY3747" fmla="*/ 4499409 h 5217112"/>
              <a:gd name="connsiteX3748" fmla="*/ 5704211 w 6785952"/>
              <a:gd name="connsiteY3748" fmla="*/ 4498302 h 5217112"/>
              <a:gd name="connsiteX3749" fmla="*/ 4448844 w 6785952"/>
              <a:gd name="connsiteY3749" fmla="*/ 4498302 h 5217112"/>
              <a:gd name="connsiteX3750" fmla="*/ 4450346 w 6785952"/>
              <a:gd name="connsiteY3750" fmla="*/ 4504389 h 5217112"/>
              <a:gd name="connsiteX3751" fmla="*/ 4445836 w 6785952"/>
              <a:gd name="connsiteY3751" fmla="*/ 4506824 h 5217112"/>
              <a:gd name="connsiteX3752" fmla="*/ 4443733 w 6785952"/>
              <a:gd name="connsiteY3752" fmla="*/ 4499409 h 5217112"/>
              <a:gd name="connsiteX3753" fmla="*/ 4448844 w 6785952"/>
              <a:gd name="connsiteY3753" fmla="*/ 4498302 h 5217112"/>
              <a:gd name="connsiteX3754" fmla="*/ 2939757 w 6785952"/>
              <a:gd name="connsiteY3754" fmla="*/ 4498302 h 5217112"/>
              <a:gd name="connsiteX3755" fmla="*/ 2941259 w 6785952"/>
              <a:gd name="connsiteY3755" fmla="*/ 4504389 h 5217112"/>
              <a:gd name="connsiteX3756" fmla="*/ 2937051 w 6785952"/>
              <a:gd name="connsiteY3756" fmla="*/ 4506824 h 5217112"/>
              <a:gd name="connsiteX3757" fmla="*/ 2934646 w 6785952"/>
              <a:gd name="connsiteY3757" fmla="*/ 4499409 h 5217112"/>
              <a:gd name="connsiteX3758" fmla="*/ 2939757 w 6785952"/>
              <a:gd name="connsiteY3758" fmla="*/ 4498302 h 5217112"/>
              <a:gd name="connsiteX3759" fmla="*/ 1910752 w 6785952"/>
              <a:gd name="connsiteY3759" fmla="*/ 4498302 h 5217112"/>
              <a:gd name="connsiteX3760" fmla="*/ 1912255 w 6785952"/>
              <a:gd name="connsiteY3760" fmla="*/ 4504389 h 5217112"/>
              <a:gd name="connsiteX3761" fmla="*/ 1907746 w 6785952"/>
              <a:gd name="connsiteY3761" fmla="*/ 4506824 h 5217112"/>
              <a:gd name="connsiteX3762" fmla="*/ 1905641 w 6785952"/>
              <a:gd name="connsiteY3762" fmla="*/ 4499409 h 5217112"/>
              <a:gd name="connsiteX3763" fmla="*/ 1910752 w 6785952"/>
              <a:gd name="connsiteY3763" fmla="*/ 4498302 h 5217112"/>
              <a:gd name="connsiteX3764" fmla="*/ 2918413 w 6785952"/>
              <a:gd name="connsiteY3764" fmla="*/ 4498080 h 5217112"/>
              <a:gd name="connsiteX3765" fmla="*/ 2925328 w 6785952"/>
              <a:gd name="connsiteY3765" fmla="*/ 4508705 h 5217112"/>
              <a:gd name="connsiteX3766" fmla="*/ 2918413 w 6785952"/>
              <a:gd name="connsiteY3766" fmla="*/ 4498080 h 5217112"/>
              <a:gd name="connsiteX3767" fmla="*/ 5584566 w 6785952"/>
              <a:gd name="connsiteY3767" fmla="*/ 4497970 h 5217112"/>
              <a:gd name="connsiteX3768" fmla="*/ 5587572 w 6785952"/>
              <a:gd name="connsiteY3768" fmla="*/ 4502286 h 5217112"/>
              <a:gd name="connsiteX3769" fmla="*/ 5586070 w 6785952"/>
              <a:gd name="connsiteY3769" fmla="*/ 4508262 h 5217112"/>
              <a:gd name="connsiteX3770" fmla="*/ 5582462 w 6785952"/>
              <a:gd name="connsiteY3770" fmla="*/ 4512025 h 5217112"/>
              <a:gd name="connsiteX3771" fmla="*/ 5577050 w 6785952"/>
              <a:gd name="connsiteY3771" fmla="*/ 4512800 h 5217112"/>
              <a:gd name="connsiteX3772" fmla="*/ 5573143 w 6785952"/>
              <a:gd name="connsiteY3772" fmla="*/ 4511029 h 5217112"/>
              <a:gd name="connsiteX3773" fmla="*/ 5570738 w 6785952"/>
              <a:gd name="connsiteY3773" fmla="*/ 4502507 h 5217112"/>
              <a:gd name="connsiteX3774" fmla="*/ 5584566 w 6785952"/>
              <a:gd name="connsiteY3774" fmla="*/ 4497970 h 5217112"/>
              <a:gd name="connsiteX3775" fmla="*/ 4329198 w 6785952"/>
              <a:gd name="connsiteY3775" fmla="*/ 4497970 h 5217112"/>
              <a:gd name="connsiteX3776" fmla="*/ 4332205 w 6785952"/>
              <a:gd name="connsiteY3776" fmla="*/ 4502286 h 5217112"/>
              <a:gd name="connsiteX3777" fmla="*/ 4330401 w 6785952"/>
              <a:gd name="connsiteY3777" fmla="*/ 4508262 h 5217112"/>
              <a:gd name="connsiteX3778" fmla="*/ 4327094 w 6785952"/>
              <a:gd name="connsiteY3778" fmla="*/ 4512025 h 5217112"/>
              <a:gd name="connsiteX3779" fmla="*/ 4321683 w 6785952"/>
              <a:gd name="connsiteY3779" fmla="*/ 4512800 h 5217112"/>
              <a:gd name="connsiteX3780" fmla="*/ 4317775 w 6785952"/>
              <a:gd name="connsiteY3780" fmla="*/ 4511029 h 5217112"/>
              <a:gd name="connsiteX3781" fmla="*/ 4315371 w 6785952"/>
              <a:gd name="connsiteY3781" fmla="*/ 4502507 h 5217112"/>
              <a:gd name="connsiteX3782" fmla="*/ 4329198 w 6785952"/>
              <a:gd name="connsiteY3782" fmla="*/ 4497970 h 5217112"/>
              <a:gd name="connsiteX3783" fmla="*/ 2820112 w 6785952"/>
              <a:gd name="connsiteY3783" fmla="*/ 4497970 h 5217112"/>
              <a:gd name="connsiteX3784" fmla="*/ 2823119 w 6785952"/>
              <a:gd name="connsiteY3784" fmla="*/ 4502286 h 5217112"/>
              <a:gd name="connsiteX3785" fmla="*/ 2821314 w 6785952"/>
              <a:gd name="connsiteY3785" fmla="*/ 4508262 h 5217112"/>
              <a:gd name="connsiteX3786" fmla="*/ 2818008 w 6785952"/>
              <a:gd name="connsiteY3786" fmla="*/ 4512025 h 5217112"/>
              <a:gd name="connsiteX3787" fmla="*/ 2812597 w 6785952"/>
              <a:gd name="connsiteY3787" fmla="*/ 4512800 h 5217112"/>
              <a:gd name="connsiteX3788" fmla="*/ 2808689 w 6785952"/>
              <a:gd name="connsiteY3788" fmla="*/ 4511029 h 5217112"/>
              <a:gd name="connsiteX3789" fmla="*/ 2806284 w 6785952"/>
              <a:gd name="connsiteY3789" fmla="*/ 4502507 h 5217112"/>
              <a:gd name="connsiteX3790" fmla="*/ 2820112 w 6785952"/>
              <a:gd name="connsiteY3790" fmla="*/ 4497970 h 5217112"/>
              <a:gd name="connsiteX3791" fmla="*/ 3740594 w 6785952"/>
              <a:gd name="connsiteY3791" fmla="*/ 4496420 h 5217112"/>
              <a:gd name="connsiteX3792" fmla="*/ 3730374 w 6785952"/>
              <a:gd name="connsiteY3792" fmla="*/ 4502507 h 5217112"/>
              <a:gd name="connsiteX3793" fmla="*/ 3722858 w 6785952"/>
              <a:gd name="connsiteY3793" fmla="*/ 4503282 h 5217112"/>
              <a:gd name="connsiteX3794" fmla="*/ 3718650 w 6785952"/>
              <a:gd name="connsiteY3794" fmla="*/ 4503393 h 5217112"/>
              <a:gd name="connsiteX3795" fmla="*/ 3718048 w 6785952"/>
              <a:gd name="connsiteY3795" fmla="*/ 4504942 h 5217112"/>
              <a:gd name="connsiteX3796" fmla="*/ 3707226 w 6785952"/>
              <a:gd name="connsiteY3796" fmla="*/ 4507598 h 5217112"/>
              <a:gd name="connsiteX3797" fmla="*/ 3706024 w 6785952"/>
              <a:gd name="connsiteY3797" fmla="*/ 4507266 h 5217112"/>
              <a:gd name="connsiteX3798" fmla="*/ 3706625 w 6785952"/>
              <a:gd name="connsiteY3798" fmla="*/ 4505827 h 5217112"/>
              <a:gd name="connsiteX3799" fmla="*/ 3705122 w 6785952"/>
              <a:gd name="connsiteY3799" fmla="*/ 4505385 h 5217112"/>
              <a:gd name="connsiteX3800" fmla="*/ 3694901 w 6785952"/>
              <a:gd name="connsiteY3800" fmla="*/ 4506713 h 5217112"/>
              <a:gd name="connsiteX3801" fmla="*/ 3674460 w 6785952"/>
              <a:gd name="connsiteY3801" fmla="*/ 4522207 h 5217112"/>
              <a:gd name="connsiteX3802" fmla="*/ 3673257 w 6785952"/>
              <a:gd name="connsiteY3802" fmla="*/ 4521875 h 5217112"/>
              <a:gd name="connsiteX3803" fmla="*/ 3671453 w 6785952"/>
              <a:gd name="connsiteY3803" fmla="*/ 4522871 h 5217112"/>
              <a:gd name="connsiteX3804" fmla="*/ 3670251 w 6785952"/>
              <a:gd name="connsiteY3804" fmla="*/ 4522428 h 5217112"/>
              <a:gd name="connsiteX3805" fmla="*/ 3662735 w 6785952"/>
              <a:gd name="connsiteY3805" fmla="*/ 4523092 h 5217112"/>
              <a:gd name="connsiteX3806" fmla="*/ 3648306 w 6785952"/>
              <a:gd name="connsiteY3806" fmla="*/ 4524642 h 5217112"/>
              <a:gd name="connsiteX3807" fmla="*/ 3620048 w 6785952"/>
              <a:gd name="connsiteY3807" fmla="*/ 4528072 h 5217112"/>
              <a:gd name="connsiteX3808" fmla="*/ 3606520 w 6785952"/>
              <a:gd name="connsiteY3808" fmla="*/ 4531393 h 5217112"/>
              <a:gd name="connsiteX3809" fmla="*/ 3603514 w 6785952"/>
              <a:gd name="connsiteY3809" fmla="*/ 4531946 h 5217112"/>
              <a:gd name="connsiteX3810" fmla="*/ 3600809 w 6785952"/>
              <a:gd name="connsiteY3810" fmla="*/ 4531061 h 5217112"/>
              <a:gd name="connsiteX3811" fmla="*/ 3594797 w 6785952"/>
              <a:gd name="connsiteY3811" fmla="*/ 4532278 h 5217112"/>
              <a:gd name="connsiteX3812" fmla="*/ 3571047 w 6785952"/>
              <a:gd name="connsiteY3812" fmla="*/ 4535487 h 5217112"/>
              <a:gd name="connsiteX3813" fmla="*/ 3547900 w 6785952"/>
              <a:gd name="connsiteY3813" fmla="*/ 4537258 h 5217112"/>
              <a:gd name="connsiteX3814" fmla="*/ 3525054 w 6785952"/>
              <a:gd name="connsiteY3814" fmla="*/ 4537590 h 5217112"/>
              <a:gd name="connsiteX3815" fmla="*/ 3481164 w 6785952"/>
              <a:gd name="connsiteY3815" fmla="*/ 4532499 h 5217112"/>
              <a:gd name="connsiteX3816" fmla="*/ 3420440 w 6785952"/>
              <a:gd name="connsiteY3816" fmla="*/ 4518555 h 5217112"/>
              <a:gd name="connsiteX3817" fmla="*/ 3383465 w 6785952"/>
              <a:gd name="connsiteY3817" fmla="*/ 4514128 h 5217112"/>
              <a:gd name="connsiteX3818" fmla="*/ 3375048 w 6785952"/>
              <a:gd name="connsiteY3818" fmla="*/ 4514460 h 5217112"/>
              <a:gd name="connsiteX3819" fmla="*/ 3365427 w 6785952"/>
              <a:gd name="connsiteY3819" fmla="*/ 4512910 h 5217112"/>
              <a:gd name="connsiteX3820" fmla="*/ 3347691 w 6785952"/>
              <a:gd name="connsiteY3820" fmla="*/ 4511693 h 5217112"/>
              <a:gd name="connsiteX3821" fmla="*/ 3314323 w 6785952"/>
              <a:gd name="connsiteY3821" fmla="*/ 4508705 h 5217112"/>
              <a:gd name="connsiteX3822" fmla="*/ 3311918 w 6785952"/>
              <a:gd name="connsiteY3822" fmla="*/ 4509148 h 5217112"/>
              <a:gd name="connsiteX3823" fmla="*/ 3311017 w 6785952"/>
              <a:gd name="connsiteY3823" fmla="*/ 4508484 h 5217112"/>
              <a:gd name="connsiteX3824" fmla="*/ 3273139 w 6785952"/>
              <a:gd name="connsiteY3824" fmla="*/ 4505274 h 5217112"/>
              <a:gd name="connsiteX3825" fmla="*/ 3277347 w 6785952"/>
              <a:gd name="connsiteY3825" fmla="*/ 4517005 h 5217112"/>
              <a:gd name="connsiteX3826" fmla="*/ 3275844 w 6785952"/>
              <a:gd name="connsiteY3826" fmla="*/ 4528183 h 5217112"/>
              <a:gd name="connsiteX3827" fmla="*/ 3268629 w 6785952"/>
              <a:gd name="connsiteY3827" fmla="*/ 4538033 h 5217112"/>
              <a:gd name="connsiteX3828" fmla="*/ 3257506 w 6785952"/>
              <a:gd name="connsiteY3828" fmla="*/ 4545890 h 5217112"/>
              <a:gd name="connsiteX3829" fmla="*/ 3262917 w 6785952"/>
              <a:gd name="connsiteY3829" fmla="*/ 4547329 h 5217112"/>
              <a:gd name="connsiteX3830" fmla="*/ 3237365 w 6785952"/>
              <a:gd name="connsiteY3830" fmla="*/ 4548325 h 5217112"/>
              <a:gd name="connsiteX3831" fmla="*/ 3241273 w 6785952"/>
              <a:gd name="connsiteY3831" fmla="*/ 4552863 h 5217112"/>
              <a:gd name="connsiteX3832" fmla="*/ 3232856 w 6785952"/>
              <a:gd name="connsiteY3832" fmla="*/ 4553195 h 5217112"/>
              <a:gd name="connsiteX3833" fmla="*/ 3251194 w 6785952"/>
              <a:gd name="connsiteY3833" fmla="*/ 4564041 h 5217112"/>
              <a:gd name="connsiteX3834" fmla="*/ 3253899 w 6785952"/>
              <a:gd name="connsiteY3834" fmla="*/ 4560388 h 5217112"/>
              <a:gd name="connsiteX3835" fmla="*/ 3272538 w 6785952"/>
              <a:gd name="connsiteY3835" fmla="*/ 4553416 h 5217112"/>
              <a:gd name="connsiteX3836" fmla="*/ 3268028 w 6785952"/>
              <a:gd name="connsiteY3836" fmla="*/ 4561716 h 5217112"/>
              <a:gd name="connsiteX3837" fmla="*/ 3259310 w 6785952"/>
              <a:gd name="connsiteY3837" fmla="*/ 4569021 h 5217112"/>
              <a:gd name="connsiteX3838" fmla="*/ 3269231 w 6785952"/>
              <a:gd name="connsiteY3838" fmla="*/ 4576657 h 5217112"/>
              <a:gd name="connsiteX3839" fmla="*/ 3285163 w 6785952"/>
              <a:gd name="connsiteY3839" fmla="*/ 4585179 h 5217112"/>
              <a:gd name="connsiteX3840" fmla="*/ 3283360 w 6785952"/>
              <a:gd name="connsiteY3840" fmla="*/ 4591487 h 5217112"/>
              <a:gd name="connsiteX3841" fmla="*/ 3284261 w 6785952"/>
              <a:gd name="connsiteY3841" fmla="*/ 4594586 h 5217112"/>
              <a:gd name="connsiteX3842" fmla="*/ 3286065 w 6785952"/>
              <a:gd name="connsiteY3842" fmla="*/ 4593036 h 5217112"/>
              <a:gd name="connsiteX3843" fmla="*/ 3288169 w 6785952"/>
              <a:gd name="connsiteY3843" fmla="*/ 4592483 h 5217112"/>
              <a:gd name="connsiteX3844" fmla="*/ 3289672 w 6785952"/>
              <a:gd name="connsiteY3844" fmla="*/ 4590934 h 5217112"/>
              <a:gd name="connsiteX3845" fmla="*/ 3290874 w 6785952"/>
              <a:gd name="connsiteY3845" fmla="*/ 4591819 h 5217112"/>
              <a:gd name="connsiteX3846" fmla="*/ 3293279 w 6785952"/>
              <a:gd name="connsiteY3846" fmla="*/ 4591155 h 5217112"/>
              <a:gd name="connsiteX3847" fmla="*/ 3294483 w 6785952"/>
              <a:gd name="connsiteY3847" fmla="*/ 4595139 h 5217112"/>
              <a:gd name="connsiteX3848" fmla="*/ 3297188 w 6785952"/>
              <a:gd name="connsiteY3848" fmla="*/ 4597353 h 5217112"/>
              <a:gd name="connsiteX3849" fmla="*/ 3299292 w 6785952"/>
              <a:gd name="connsiteY3849" fmla="*/ 4599013 h 5217112"/>
              <a:gd name="connsiteX3850" fmla="*/ 3323642 w 6785952"/>
              <a:gd name="connsiteY3850" fmla="*/ 4601226 h 5217112"/>
              <a:gd name="connsiteX3851" fmla="*/ 3322440 w 6785952"/>
              <a:gd name="connsiteY3851" fmla="*/ 4591266 h 5217112"/>
              <a:gd name="connsiteX3852" fmla="*/ 3338973 w 6785952"/>
              <a:gd name="connsiteY3852" fmla="*/ 4592372 h 5217112"/>
              <a:gd name="connsiteX3853" fmla="*/ 3357611 w 6785952"/>
              <a:gd name="connsiteY3853" fmla="*/ 4592262 h 5217112"/>
              <a:gd name="connsiteX3854" fmla="*/ 3362421 w 6785952"/>
              <a:gd name="connsiteY3854" fmla="*/ 4585400 h 5217112"/>
              <a:gd name="connsiteX3855" fmla="*/ 3374445 w 6785952"/>
              <a:gd name="connsiteY3855" fmla="*/ 4582080 h 5217112"/>
              <a:gd name="connsiteX3856" fmla="*/ 3371139 w 6785952"/>
              <a:gd name="connsiteY3856" fmla="*/ 4590380 h 5217112"/>
              <a:gd name="connsiteX3857" fmla="*/ 3397894 w 6785952"/>
              <a:gd name="connsiteY3857" fmla="*/ 4586175 h 5217112"/>
              <a:gd name="connsiteX3858" fmla="*/ 3424949 w 6785952"/>
              <a:gd name="connsiteY3858" fmla="*/ 4603329 h 5217112"/>
              <a:gd name="connsiteX3859" fmla="*/ 3444189 w 6785952"/>
              <a:gd name="connsiteY3859" fmla="*/ 4587282 h 5217112"/>
              <a:gd name="connsiteX3860" fmla="*/ 3446593 w 6785952"/>
              <a:gd name="connsiteY3860" fmla="*/ 4602554 h 5217112"/>
              <a:gd name="connsiteX3861" fmla="*/ 3455612 w 6785952"/>
              <a:gd name="connsiteY3861" fmla="*/ 4599455 h 5217112"/>
              <a:gd name="connsiteX3862" fmla="*/ 3460723 w 6785952"/>
              <a:gd name="connsiteY3862" fmla="*/ 4596578 h 5217112"/>
              <a:gd name="connsiteX3863" fmla="*/ 3460421 w 6785952"/>
              <a:gd name="connsiteY3863" fmla="*/ 4590380 h 5217112"/>
              <a:gd name="connsiteX3864" fmla="*/ 3486575 w 6785952"/>
              <a:gd name="connsiteY3864" fmla="*/ 4585289 h 5217112"/>
              <a:gd name="connsiteX3865" fmla="*/ 3489581 w 6785952"/>
              <a:gd name="connsiteY3865" fmla="*/ 4594586 h 5217112"/>
              <a:gd name="connsiteX3866" fmla="*/ 3485072 w 6785952"/>
              <a:gd name="connsiteY3866" fmla="*/ 4598902 h 5217112"/>
              <a:gd name="connsiteX3867" fmla="*/ 3485674 w 6785952"/>
              <a:gd name="connsiteY3867" fmla="*/ 4599566 h 5217112"/>
              <a:gd name="connsiteX3868" fmla="*/ 3505815 w 6785952"/>
              <a:gd name="connsiteY3868" fmla="*/ 4590380 h 5217112"/>
              <a:gd name="connsiteX3869" fmla="*/ 3502508 w 6785952"/>
              <a:gd name="connsiteY3869" fmla="*/ 4595693 h 5217112"/>
              <a:gd name="connsiteX3870" fmla="*/ 3520244 w 6785952"/>
              <a:gd name="connsiteY3870" fmla="*/ 4588942 h 5217112"/>
              <a:gd name="connsiteX3871" fmla="*/ 3547900 w 6785952"/>
              <a:gd name="connsiteY3871" fmla="*/ 4599677 h 5217112"/>
              <a:gd name="connsiteX3872" fmla="*/ 3570747 w 6785952"/>
              <a:gd name="connsiteY3872" fmla="*/ 4581748 h 5217112"/>
              <a:gd name="connsiteX3873" fmla="*/ 3592692 w 6785952"/>
              <a:gd name="connsiteY3873" fmla="*/ 4584293 h 5217112"/>
              <a:gd name="connsiteX3874" fmla="*/ 3602613 w 6785952"/>
              <a:gd name="connsiteY3874" fmla="*/ 4584404 h 5217112"/>
              <a:gd name="connsiteX3875" fmla="*/ 3605018 w 6785952"/>
              <a:gd name="connsiteY3875" fmla="*/ 4585289 h 5217112"/>
              <a:gd name="connsiteX3876" fmla="*/ 3608625 w 6785952"/>
              <a:gd name="connsiteY3876" fmla="*/ 4583297 h 5217112"/>
              <a:gd name="connsiteX3877" fmla="*/ 3613735 w 6785952"/>
              <a:gd name="connsiteY3877" fmla="*/ 4580199 h 5217112"/>
              <a:gd name="connsiteX3878" fmla="*/ 3634778 w 6785952"/>
              <a:gd name="connsiteY3878" fmla="*/ 4585622 h 5217112"/>
              <a:gd name="connsiteX3879" fmla="*/ 3656122 w 6785952"/>
              <a:gd name="connsiteY3879" fmla="*/ 4578096 h 5217112"/>
              <a:gd name="connsiteX3880" fmla="*/ 3646803 w 6785952"/>
              <a:gd name="connsiteY3880" fmla="*/ 4576104 h 5217112"/>
              <a:gd name="connsiteX3881" fmla="*/ 3656422 w 6785952"/>
              <a:gd name="connsiteY3881" fmla="*/ 4568799 h 5217112"/>
              <a:gd name="connsiteX3882" fmla="*/ 3658527 w 6785952"/>
              <a:gd name="connsiteY3882" fmla="*/ 4573116 h 5217112"/>
              <a:gd name="connsiteX3883" fmla="*/ 3658827 w 6785952"/>
              <a:gd name="connsiteY3883" fmla="*/ 4577100 h 5217112"/>
              <a:gd name="connsiteX3884" fmla="*/ 3660330 w 6785952"/>
              <a:gd name="connsiteY3884" fmla="*/ 4576657 h 5217112"/>
              <a:gd name="connsiteX3885" fmla="*/ 3672656 w 6785952"/>
              <a:gd name="connsiteY3885" fmla="*/ 4572784 h 5217112"/>
              <a:gd name="connsiteX3886" fmla="*/ 3676263 w 6785952"/>
              <a:gd name="connsiteY3886" fmla="*/ 4570792 h 5217112"/>
              <a:gd name="connsiteX3887" fmla="*/ 3677466 w 6785952"/>
              <a:gd name="connsiteY3887" fmla="*/ 4571234 h 5217112"/>
              <a:gd name="connsiteX3888" fmla="*/ 3679269 w 6785952"/>
              <a:gd name="connsiteY3888" fmla="*/ 4570238 h 5217112"/>
              <a:gd name="connsiteX3889" fmla="*/ 3682275 w 6785952"/>
              <a:gd name="connsiteY3889" fmla="*/ 4569574 h 5217112"/>
              <a:gd name="connsiteX3890" fmla="*/ 3707828 w 6785952"/>
              <a:gd name="connsiteY3890" fmla="*/ 4555740 h 5217112"/>
              <a:gd name="connsiteX3891" fmla="*/ 3708128 w 6785952"/>
              <a:gd name="connsiteY3891" fmla="*/ 4552199 h 5217112"/>
              <a:gd name="connsiteX3892" fmla="*/ 3705723 w 6785952"/>
              <a:gd name="connsiteY3892" fmla="*/ 4551645 h 5217112"/>
              <a:gd name="connsiteX3893" fmla="*/ 3706024 w 6785952"/>
              <a:gd name="connsiteY3893" fmla="*/ 4547329 h 5217112"/>
              <a:gd name="connsiteX3894" fmla="*/ 3709030 w 6785952"/>
              <a:gd name="connsiteY3894" fmla="*/ 4545337 h 5217112"/>
              <a:gd name="connsiteX3895" fmla="*/ 3709931 w 6785952"/>
              <a:gd name="connsiteY3895" fmla="*/ 4537479 h 5217112"/>
              <a:gd name="connsiteX3896" fmla="*/ 3709631 w 6785952"/>
              <a:gd name="connsiteY3896" fmla="*/ 4530064 h 5217112"/>
              <a:gd name="connsiteX3897" fmla="*/ 3706024 w 6785952"/>
              <a:gd name="connsiteY3897" fmla="*/ 4531282 h 5217112"/>
              <a:gd name="connsiteX3898" fmla="*/ 3692196 w 6785952"/>
              <a:gd name="connsiteY3898" fmla="*/ 4512689 h 5217112"/>
              <a:gd name="connsiteX3899" fmla="*/ 3711736 w 6785952"/>
              <a:gd name="connsiteY3899" fmla="*/ 4520436 h 5217112"/>
              <a:gd name="connsiteX3900" fmla="*/ 3712337 w 6785952"/>
              <a:gd name="connsiteY3900" fmla="*/ 4525638 h 5217112"/>
              <a:gd name="connsiteX3901" fmla="*/ 3722257 w 6785952"/>
              <a:gd name="connsiteY3901" fmla="*/ 4523867 h 5217112"/>
              <a:gd name="connsiteX3902" fmla="*/ 3723459 w 6785952"/>
              <a:gd name="connsiteY3902" fmla="*/ 4524199 h 5217112"/>
              <a:gd name="connsiteX3903" fmla="*/ 3725263 w 6785952"/>
              <a:gd name="connsiteY3903" fmla="*/ 4523203 h 5217112"/>
              <a:gd name="connsiteX3904" fmla="*/ 3728570 w 6785952"/>
              <a:gd name="connsiteY3904" fmla="*/ 4521100 h 5217112"/>
              <a:gd name="connsiteX3905" fmla="*/ 3742699 w 6785952"/>
              <a:gd name="connsiteY3905" fmla="*/ 4513021 h 5217112"/>
              <a:gd name="connsiteX3906" fmla="*/ 3748711 w 6785952"/>
              <a:gd name="connsiteY3906" fmla="*/ 4504721 h 5217112"/>
              <a:gd name="connsiteX3907" fmla="*/ 3740594 w 6785952"/>
              <a:gd name="connsiteY3907" fmla="*/ 4496420 h 5217112"/>
              <a:gd name="connsiteX3908" fmla="*/ 5279142 w 6785952"/>
              <a:gd name="connsiteY3908" fmla="*/ 4496088 h 5217112"/>
              <a:gd name="connsiteX3909" fmla="*/ 5274031 w 6785952"/>
              <a:gd name="connsiteY3909" fmla="*/ 4502397 h 5217112"/>
              <a:gd name="connsiteX3910" fmla="*/ 5279142 w 6785952"/>
              <a:gd name="connsiteY3910" fmla="*/ 4496088 h 5217112"/>
              <a:gd name="connsiteX3911" fmla="*/ 2514386 w 6785952"/>
              <a:gd name="connsiteY3911" fmla="*/ 4496088 h 5217112"/>
              <a:gd name="connsiteX3912" fmla="*/ 2509577 w 6785952"/>
              <a:gd name="connsiteY3912" fmla="*/ 4502397 h 5217112"/>
              <a:gd name="connsiteX3913" fmla="*/ 2514386 w 6785952"/>
              <a:gd name="connsiteY3913" fmla="*/ 4496088 h 5217112"/>
              <a:gd name="connsiteX3914" fmla="*/ 1485383 w 6785952"/>
              <a:gd name="connsiteY3914" fmla="*/ 4496088 h 5217112"/>
              <a:gd name="connsiteX3915" fmla="*/ 1480572 w 6785952"/>
              <a:gd name="connsiteY3915" fmla="*/ 4502397 h 5217112"/>
              <a:gd name="connsiteX3916" fmla="*/ 1485383 w 6785952"/>
              <a:gd name="connsiteY3916" fmla="*/ 4496088 h 5217112"/>
              <a:gd name="connsiteX3917" fmla="*/ 2253152 w 6785952"/>
              <a:gd name="connsiteY3917" fmla="*/ 4495535 h 5217112"/>
              <a:gd name="connsiteX3918" fmla="*/ 2259766 w 6785952"/>
              <a:gd name="connsiteY3918" fmla="*/ 4497638 h 5217112"/>
              <a:gd name="connsiteX3919" fmla="*/ 2255857 w 6785952"/>
              <a:gd name="connsiteY3919" fmla="*/ 4515677 h 5217112"/>
              <a:gd name="connsiteX3920" fmla="*/ 2246539 w 6785952"/>
              <a:gd name="connsiteY3920" fmla="*/ 4512246 h 5217112"/>
              <a:gd name="connsiteX3921" fmla="*/ 2253152 w 6785952"/>
              <a:gd name="connsiteY3921" fmla="*/ 4495535 h 5217112"/>
              <a:gd name="connsiteX3922" fmla="*/ 1224147 w 6785952"/>
              <a:gd name="connsiteY3922" fmla="*/ 4495535 h 5217112"/>
              <a:gd name="connsiteX3923" fmla="*/ 1230761 w 6785952"/>
              <a:gd name="connsiteY3923" fmla="*/ 4497638 h 5217112"/>
              <a:gd name="connsiteX3924" fmla="*/ 1226853 w 6785952"/>
              <a:gd name="connsiteY3924" fmla="*/ 4515677 h 5217112"/>
              <a:gd name="connsiteX3925" fmla="*/ 1217233 w 6785952"/>
              <a:gd name="connsiteY3925" fmla="*/ 4512246 h 5217112"/>
              <a:gd name="connsiteX3926" fmla="*/ 1224147 w 6785952"/>
              <a:gd name="connsiteY3926" fmla="*/ 4495535 h 5217112"/>
              <a:gd name="connsiteX3927" fmla="*/ 5847304 w 6785952"/>
              <a:gd name="connsiteY3927" fmla="*/ 4494650 h 5217112"/>
              <a:gd name="connsiteX3928" fmla="*/ 5852114 w 6785952"/>
              <a:gd name="connsiteY3928" fmla="*/ 4494982 h 5217112"/>
              <a:gd name="connsiteX3929" fmla="*/ 5853316 w 6785952"/>
              <a:gd name="connsiteY3929" fmla="*/ 4499741 h 5217112"/>
              <a:gd name="connsiteX3930" fmla="*/ 5847905 w 6785952"/>
              <a:gd name="connsiteY3930" fmla="*/ 4507930 h 5217112"/>
              <a:gd name="connsiteX3931" fmla="*/ 5833174 w 6785952"/>
              <a:gd name="connsiteY3931" fmla="*/ 4511914 h 5217112"/>
              <a:gd name="connsiteX3932" fmla="*/ 5842494 w 6785952"/>
              <a:gd name="connsiteY3932" fmla="*/ 4496531 h 5217112"/>
              <a:gd name="connsiteX3933" fmla="*/ 5847304 w 6785952"/>
              <a:gd name="connsiteY3933" fmla="*/ 4494650 h 5217112"/>
              <a:gd name="connsiteX3934" fmla="*/ 2053544 w 6785952"/>
              <a:gd name="connsiteY3934" fmla="*/ 4494650 h 5217112"/>
              <a:gd name="connsiteX3935" fmla="*/ 2058354 w 6785952"/>
              <a:gd name="connsiteY3935" fmla="*/ 4494982 h 5217112"/>
              <a:gd name="connsiteX3936" fmla="*/ 2059557 w 6785952"/>
              <a:gd name="connsiteY3936" fmla="*/ 4499741 h 5217112"/>
              <a:gd name="connsiteX3937" fmla="*/ 2054446 w 6785952"/>
              <a:gd name="connsiteY3937" fmla="*/ 4507930 h 5217112"/>
              <a:gd name="connsiteX3938" fmla="*/ 2039715 w 6785952"/>
              <a:gd name="connsiteY3938" fmla="*/ 4511914 h 5217112"/>
              <a:gd name="connsiteX3939" fmla="*/ 2048735 w 6785952"/>
              <a:gd name="connsiteY3939" fmla="*/ 4496531 h 5217112"/>
              <a:gd name="connsiteX3940" fmla="*/ 2053544 w 6785952"/>
              <a:gd name="connsiteY3940" fmla="*/ 4494650 h 5217112"/>
              <a:gd name="connsiteX3941" fmla="*/ 5389767 w 6785952"/>
              <a:gd name="connsiteY3941" fmla="*/ 4494096 h 5217112"/>
              <a:gd name="connsiteX3942" fmla="*/ 5393976 w 6785952"/>
              <a:gd name="connsiteY3942" fmla="*/ 4499519 h 5217112"/>
              <a:gd name="connsiteX3943" fmla="*/ 5379847 w 6785952"/>
              <a:gd name="connsiteY3943" fmla="*/ 4518001 h 5217112"/>
              <a:gd name="connsiteX3944" fmla="*/ 5389767 w 6785952"/>
              <a:gd name="connsiteY3944" fmla="*/ 4494096 h 5217112"/>
              <a:gd name="connsiteX3945" fmla="*/ 2625313 w 6785952"/>
              <a:gd name="connsiteY3945" fmla="*/ 4494096 h 5217112"/>
              <a:gd name="connsiteX3946" fmla="*/ 2629522 w 6785952"/>
              <a:gd name="connsiteY3946" fmla="*/ 4499519 h 5217112"/>
              <a:gd name="connsiteX3947" fmla="*/ 2615393 w 6785952"/>
              <a:gd name="connsiteY3947" fmla="*/ 4518001 h 5217112"/>
              <a:gd name="connsiteX3948" fmla="*/ 2625313 w 6785952"/>
              <a:gd name="connsiteY3948" fmla="*/ 4494096 h 5217112"/>
              <a:gd name="connsiteX3949" fmla="*/ 1596309 w 6785952"/>
              <a:gd name="connsiteY3949" fmla="*/ 4494096 h 5217112"/>
              <a:gd name="connsiteX3950" fmla="*/ 1600217 w 6785952"/>
              <a:gd name="connsiteY3950" fmla="*/ 4499519 h 5217112"/>
              <a:gd name="connsiteX3951" fmla="*/ 1586389 w 6785952"/>
              <a:gd name="connsiteY3951" fmla="*/ 4518001 h 5217112"/>
              <a:gd name="connsiteX3952" fmla="*/ 1596309 w 6785952"/>
              <a:gd name="connsiteY3952" fmla="*/ 4494096 h 5217112"/>
              <a:gd name="connsiteX3953" fmla="*/ 6091704 w 6785952"/>
              <a:gd name="connsiteY3953" fmla="*/ 4493543 h 5217112"/>
              <a:gd name="connsiteX3954" fmla="*/ 6076372 w 6785952"/>
              <a:gd name="connsiteY3954" fmla="*/ 4509148 h 5217112"/>
              <a:gd name="connsiteX3955" fmla="*/ 6070961 w 6785952"/>
              <a:gd name="connsiteY3955" fmla="*/ 4505053 h 5217112"/>
              <a:gd name="connsiteX3956" fmla="*/ 6091704 w 6785952"/>
              <a:gd name="connsiteY3956" fmla="*/ 4493543 h 5217112"/>
              <a:gd name="connsiteX3957" fmla="*/ 2321392 w 6785952"/>
              <a:gd name="connsiteY3957" fmla="*/ 4492547 h 5217112"/>
              <a:gd name="connsiteX3958" fmla="*/ 2296140 w 6785952"/>
              <a:gd name="connsiteY3958" fmla="*/ 4499409 h 5217112"/>
              <a:gd name="connsiteX3959" fmla="*/ 2321392 w 6785952"/>
              <a:gd name="connsiteY3959" fmla="*/ 4492547 h 5217112"/>
              <a:gd name="connsiteX3960" fmla="*/ 1292387 w 6785952"/>
              <a:gd name="connsiteY3960" fmla="*/ 4492547 h 5217112"/>
              <a:gd name="connsiteX3961" fmla="*/ 1267136 w 6785952"/>
              <a:gd name="connsiteY3961" fmla="*/ 4499409 h 5217112"/>
              <a:gd name="connsiteX3962" fmla="*/ 1292387 w 6785952"/>
              <a:gd name="connsiteY3962" fmla="*/ 4492547 h 5217112"/>
              <a:gd name="connsiteX3963" fmla="*/ 1777880 w 6785952"/>
              <a:gd name="connsiteY3963" fmla="*/ 4491330 h 5217112"/>
              <a:gd name="connsiteX3964" fmla="*/ 1783892 w 6785952"/>
              <a:gd name="connsiteY3964" fmla="*/ 4494539 h 5217112"/>
              <a:gd name="connsiteX3965" fmla="*/ 1787199 w 6785952"/>
              <a:gd name="connsiteY3965" fmla="*/ 4498302 h 5217112"/>
              <a:gd name="connsiteX3966" fmla="*/ 1791108 w 6785952"/>
              <a:gd name="connsiteY3966" fmla="*/ 4497970 h 5217112"/>
              <a:gd name="connsiteX3967" fmla="*/ 1793813 w 6785952"/>
              <a:gd name="connsiteY3967" fmla="*/ 4502286 h 5217112"/>
              <a:gd name="connsiteX3968" fmla="*/ 1792310 w 6785952"/>
              <a:gd name="connsiteY3968" fmla="*/ 4508262 h 5217112"/>
              <a:gd name="connsiteX3969" fmla="*/ 1789003 w 6785952"/>
              <a:gd name="connsiteY3969" fmla="*/ 4512025 h 5217112"/>
              <a:gd name="connsiteX3970" fmla="*/ 1788703 w 6785952"/>
              <a:gd name="connsiteY3970" fmla="*/ 4512025 h 5217112"/>
              <a:gd name="connsiteX3971" fmla="*/ 1788703 w 6785952"/>
              <a:gd name="connsiteY3971" fmla="*/ 4513906 h 5217112"/>
              <a:gd name="connsiteX3972" fmla="*/ 1774574 w 6785952"/>
              <a:gd name="connsiteY3972" fmla="*/ 4519772 h 5217112"/>
              <a:gd name="connsiteX3973" fmla="*/ 1767659 w 6785952"/>
              <a:gd name="connsiteY3973" fmla="*/ 4492326 h 5217112"/>
              <a:gd name="connsiteX3974" fmla="*/ 1777880 w 6785952"/>
              <a:gd name="connsiteY3974" fmla="*/ 4491330 h 5217112"/>
              <a:gd name="connsiteX3975" fmla="*/ 6260950 w 6785952"/>
              <a:gd name="connsiteY3975" fmla="*/ 4490555 h 5217112"/>
              <a:gd name="connsiteX3976" fmla="*/ 6273275 w 6785952"/>
              <a:gd name="connsiteY3976" fmla="*/ 4510476 h 5217112"/>
              <a:gd name="connsiteX3977" fmla="*/ 6264857 w 6785952"/>
              <a:gd name="connsiteY3977" fmla="*/ 4513685 h 5217112"/>
              <a:gd name="connsiteX3978" fmla="*/ 6260950 w 6785952"/>
              <a:gd name="connsiteY3978" fmla="*/ 4490555 h 5217112"/>
              <a:gd name="connsiteX3979" fmla="*/ 5410810 w 6785952"/>
              <a:gd name="connsiteY3979" fmla="*/ 4490001 h 5217112"/>
              <a:gd name="connsiteX3980" fmla="*/ 5425842 w 6785952"/>
              <a:gd name="connsiteY3980" fmla="*/ 4505717 h 5217112"/>
              <a:gd name="connsiteX3981" fmla="*/ 5419529 w 6785952"/>
              <a:gd name="connsiteY3981" fmla="*/ 4510033 h 5217112"/>
              <a:gd name="connsiteX3982" fmla="*/ 5406301 w 6785952"/>
              <a:gd name="connsiteY3982" fmla="*/ 4505495 h 5217112"/>
              <a:gd name="connsiteX3983" fmla="*/ 5410810 w 6785952"/>
              <a:gd name="connsiteY3983" fmla="*/ 4490001 h 5217112"/>
              <a:gd name="connsiteX3984" fmla="*/ 2388429 w 6785952"/>
              <a:gd name="connsiteY3984" fmla="*/ 4489337 h 5217112"/>
              <a:gd name="connsiteX3985" fmla="*/ 2390834 w 6785952"/>
              <a:gd name="connsiteY3985" fmla="*/ 4491219 h 5217112"/>
              <a:gd name="connsiteX3986" fmla="*/ 2384822 w 6785952"/>
              <a:gd name="connsiteY3986" fmla="*/ 4502065 h 5217112"/>
              <a:gd name="connsiteX3987" fmla="*/ 2386024 w 6785952"/>
              <a:gd name="connsiteY3987" fmla="*/ 4489448 h 5217112"/>
              <a:gd name="connsiteX3988" fmla="*/ 2388429 w 6785952"/>
              <a:gd name="connsiteY3988" fmla="*/ 4489337 h 5217112"/>
              <a:gd name="connsiteX3989" fmla="*/ 1359424 w 6785952"/>
              <a:gd name="connsiteY3989" fmla="*/ 4489337 h 5217112"/>
              <a:gd name="connsiteX3990" fmla="*/ 1361529 w 6785952"/>
              <a:gd name="connsiteY3990" fmla="*/ 4491219 h 5217112"/>
              <a:gd name="connsiteX3991" fmla="*/ 1355517 w 6785952"/>
              <a:gd name="connsiteY3991" fmla="*/ 4502065 h 5217112"/>
              <a:gd name="connsiteX3992" fmla="*/ 1357019 w 6785952"/>
              <a:gd name="connsiteY3992" fmla="*/ 4489448 h 5217112"/>
              <a:gd name="connsiteX3993" fmla="*/ 1359424 w 6785952"/>
              <a:gd name="connsiteY3993" fmla="*/ 4489337 h 5217112"/>
              <a:gd name="connsiteX3994" fmla="*/ 3223837 w 6785952"/>
              <a:gd name="connsiteY3994" fmla="*/ 4486792 h 5217112"/>
              <a:gd name="connsiteX3995" fmla="*/ 3223537 w 6785952"/>
              <a:gd name="connsiteY3995" fmla="*/ 4487013 h 5217112"/>
              <a:gd name="connsiteX3996" fmla="*/ 3222033 w 6785952"/>
              <a:gd name="connsiteY3996" fmla="*/ 4491108 h 5217112"/>
              <a:gd name="connsiteX3997" fmla="*/ 3222335 w 6785952"/>
              <a:gd name="connsiteY3997" fmla="*/ 4501401 h 5217112"/>
              <a:gd name="connsiteX3998" fmla="*/ 3220531 w 6785952"/>
              <a:gd name="connsiteY3998" fmla="*/ 4505495 h 5217112"/>
              <a:gd name="connsiteX3999" fmla="*/ 3230150 w 6785952"/>
              <a:gd name="connsiteY3999" fmla="*/ 4512246 h 5217112"/>
              <a:gd name="connsiteX4000" fmla="*/ 3248788 w 6785952"/>
              <a:gd name="connsiteY4000" fmla="*/ 4529732 h 5217112"/>
              <a:gd name="connsiteX4001" fmla="*/ 3207604 w 6785952"/>
              <a:gd name="connsiteY4001" fmla="*/ 4520657 h 5217112"/>
              <a:gd name="connsiteX4002" fmla="*/ 3231954 w 6785952"/>
              <a:gd name="connsiteY4002" fmla="*/ 4538365 h 5217112"/>
              <a:gd name="connsiteX4003" fmla="*/ 3254801 w 6785952"/>
              <a:gd name="connsiteY4003" fmla="*/ 4545005 h 5217112"/>
              <a:gd name="connsiteX4004" fmla="*/ 3250893 w 6785952"/>
              <a:gd name="connsiteY4004" fmla="*/ 4534270 h 5217112"/>
              <a:gd name="connsiteX4005" fmla="*/ 3254500 w 6785952"/>
              <a:gd name="connsiteY4005" fmla="*/ 4523867 h 5217112"/>
              <a:gd name="connsiteX4006" fmla="*/ 3271635 w 6785952"/>
              <a:gd name="connsiteY4006" fmla="*/ 4505053 h 5217112"/>
              <a:gd name="connsiteX4007" fmla="*/ 3270132 w 6785952"/>
              <a:gd name="connsiteY4007" fmla="*/ 4504942 h 5217112"/>
              <a:gd name="connsiteX4008" fmla="*/ 3271635 w 6785952"/>
              <a:gd name="connsiteY4008" fmla="*/ 4495867 h 5217112"/>
              <a:gd name="connsiteX4009" fmla="*/ 3262016 w 6785952"/>
              <a:gd name="connsiteY4009" fmla="*/ 4503835 h 5217112"/>
              <a:gd name="connsiteX4010" fmla="*/ 3252095 w 6785952"/>
              <a:gd name="connsiteY4010" fmla="*/ 4496974 h 5217112"/>
              <a:gd name="connsiteX4011" fmla="*/ 3248788 w 6785952"/>
              <a:gd name="connsiteY4011" fmla="*/ 4496088 h 5217112"/>
              <a:gd name="connsiteX4012" fmla="*/ 3243377 w 6785952"/>
              <a:gd name="connsiteY4012" fmla="*/ 4497416 h 5217112"/>
              <a:gd name="connsiteX4013" fmla="*/ 3241273 w 6785952"/>
              <a:gd name="connsiteY4013" fmla="*/ 4494096 h 5217112"/>
              <a:gd name="connsiteX4014" fmla="*/ 3241574 w 6785952"/>
              <a:gd name="connsiteY4014" fmla="*/ 4493764 h 5217112"/>
              <a:gd name="connsiteX4015" fmla="*/ 3237666 w 6785952"/>
              <a:gd name="connsiteY4015" fmla="*/ 4492658 h 5217112"/>
              <a:gd name="connsiteX4016" fmla="*/ 3231353 w 6785952"/>
              <a:gd name="connsiteY4016" fmla="*/ 4489559 h 5217112"/>
              <a:gd name="connsiteX4017" fmla="*/ 3232555 w 6785952"/>
              <a:gd name="connsiteY4017" fmla="*/ 4490665 h 5217112"/>
              <a:gd name="connsiteX4018" fmla="*/ 3224438 w 6785952"/>
              <a:gd name="connsiteY4018" fmla="*/ 4487124 h 5217112"/>
              <a:gd name="connsiteX4019" fmla="*/ 2006047 w 6785952"/>
              <a:gd name="connsiteY4019" fmla="*/ 4486460 h 5217112"/>
              <a:gd name="connsiteX4020" fmla="*/ 2014764 w 6785952"/>
              <a:gd name="connsiteY4020" fmla="*/ 4509148 h 5217112"/>
              <a:gd name="connsiteX4021" fmla="*/ 2006047 w 6785952"/>
              <a:gd name="connsiteY4021" fmla="*/ 4486460 h 5217112"/>
              <a:gd name="connsiteX4022" fmla="*/ 1272847 w 6785952"/>
              <a:gd name="connsiteY4022" fmla="*/ 4484800 h 5217112"/>
              <a:gd name="connsiteX4023" fmla="*/ 1280964 w 6785952"/>
              <a:gd name="connsiteY4023" fmla="*/ 4492990 h 5217112"/>
              <a:gd name="connsiteX4024" fmla="*/ 1265031 w 6785952"/>
              <a:gd name="connsiteY4024" fmla="*/ 4492658 h 5217112"/>
              <a:gd name="connsiteX4025" fmla="*/ 1272847 w 6785952"/>
              <a:gd name="connsiteY4025" fmla="*/ 4484800 h 5217112"/>
              <a:gd name="connsiteX4026" fmla="*/ 2345742 w 6785952"/>
              <a:gd name="connsiteY4026" fmla="*/ 4484689 h 5217112"/>
              <a:gd name="connsiteX4027" fmla="*/ 2334319 w 6785952"/>
              <a:gd name="connsiteY4027" fmla="*/ 4490001 h 5217112"/>
              <a:gd name="connsiteX4028" fmla="*/ 2332214 w 6785952"/>
              <a:gd name="connsiteY4028" fmla="*/ 4489337 h 5217112"/>
              <a:gd name="connsiteX4029" fmla="*/ 2345742 w 6785952"/>
              <a:gd name="connsiteY4029" fmla="*/ 4484689 h 5217112"/>
              <a:gd name="connsiteX4030" fmla="*/ 1316737 w 6785952"/>
              <a:gd name="connsiteY4030" fmla="*/ 4484689 h 5217112"/>
              <a:gd name="connsiteX4031" fmla="*/ 1305314 w 6785952"/>
              <a:gd name="connsiteY4031" fmla="*/ 4490001 h 5217112"/>
              <a:gd name="connsiteX4032" fmla="*/ 1303209 w 6785952"/>
              <a:gd name="connsiteY4032" fmla="*/ 4489337 h 5217112"/>
              <a:gd name="connsiteX4033" fmla="*/ 1316737 w 6785952"/>
              <a:gd name="connsiteY4033" fmla="*/ 4484689 h 5217112"/>
              <a:gd name="connsiteX4034" fmla="*/ 587145 w 6785952"/>
              <a:gd name="connsiteY4034" fmla="*/ 4484689 h 5217112"/>
              <a:gd name="connsiteX4035" fmla="*/ 598869 w 6785952"/>
              <a:gd name="connsiteY4035" fmla="*/ 4492215 h 5217112"/>
              <a:gd name="connsiteX4036" fmla="*/ 583538 w 6785952"/>
              <a:gd name="connsiteY4036" fmla="*/ 4509480 h 5217112"/>
              <a:gd name="connsiteX4037" fmla="*/ 587145 w 6785952"/>
              <a:gd name="connsiteY4037" fmla="*/ 4484689 h 5217112"/>
              <a:gd name="connsiteX4038" fmla="*/ 5693990 w 6785952"/>
              <a:gd name="connsiteY4038" fmla="*/ 4483693 h 5217112"/>
              <a:gd name="connsiteX4039" fmla="*/ 5698199 w 6785952"/>
              <a:gd name="connsiteY4039" fmla="*/ 4484357 h 5217112"/>
              <a:gd name="connsiteX4040" fmla="*/ 5699100 w 6785952"/>
              <a:gd name="connsiteY4040" fmla="*/ 4489448 h 5217112"/>
              <a:gd name="connsiteX4041" fmla="*/ 5697898 w 6785952"/>
              <a:gd name="connsiteY4041" fmla="*/ 4490223 h 5217112"/>
              <a:gd name="connsiteX4042" fmla="*/ 5693990 w 6785952"/>
              <a:gd name="connsiteY4042" fmla="*/ 4483693 h 5217112"/>
              <a:gd name="connsiteX4043" fmla="*/ 4438622 w 6785952"/>
              <a:gd name="connsiteY4043" fmla="*/ 4483693 h 5217112"/>
              <a:gd name="connsiteX4044" fmla="*/ 4442530 w 6785952"/>
              <a:gd name="connsiteY4044" fmla="*/ 4484357 h 5217112"/>
              <a:gd name="connsiteX4045" fmla="*/ 4443733 w 6785952"/>
              <a:gd name="connsiteY4045" fmla="*/ 4489448 h 5217112"/>
              <a:gd name="connsiteX4046" fmla="*/ 4442229 w 6785952"/>
              <a:gd name="connsiteY4046" fmla="*/ 4490223 h 5217112"/>
              <a:gd name="connsiteX4047" fmla="*/ 4438622 w 6785952"/>
              <a:gd name="connsiteY4047" fmla="*/ 4483693 h 5217112"/>
              <a:gd name="connsiteX4048" fmla="*/ 2929536 w 6785952"/>
              <a:gd name="connsiteY4048" fmla="*/ 4483693 h 5217112"/>
              <a:gd name="connsiteX4049" fmla="*/ 2933745 w 6785952"/>
              <a:gd name="connsiteY4049" fmla="*/ 4484357 h 5217112"/>
              <a:gd name="connsiteX4050" fmla="*/ 2934646 w 6785952"/>
              <a:gd name="connsiteY4050" fmla="*/ 4489448 h 5217112"/>
              <a:gd name="connsiteX4051" fmla="*/ 2933443 w 6785952"/>
              <a:gd name="connsiteY4051" fmla="*/ 4490223 h 5217112"/>
              <a:gd name="connsiteX4052" fmla="*/ 2929536 w 6785952"/>
              <a:gd name="connsiteY4052" fmla="*/ 4483693 h 5217112"/>
              <a:gd name="connsiteX4053" fmla="*/ 3216021 w 6785952"/>
              <a:gd name="connsiteY4053" fmla="*/ 4483361 h 5217112"/>
              <a:gd name="connsiteX4054" fmla="*/ 3214819 w 6785952"/>
              <a:gd name="connsiteY4054" fmla="*/ 4491108 h 5217112"/>
              <a:gd name="connsiteX4055" fmla="*/ 3213918 w 6785952"/>
              <a:gd name="connsiteY4055" fmla="*/ 4496310 h 5217112"/>
              <a:gd name="connsiteX4056" fmla="*/ 3216924 w 6785952"/>
              <a:gd name="connsiteY4056" fmla="*/ 4487456 h 5217112"/>
              <a:gd name="connsiteX4057" fmla="*/ 3218426 w 6785952"/>
              <a:gd name="connsiteY4057" fmla="*/ 4484468 h 5217112"/>
              <a:gd name="connsiteX4058" fmla="*/ 3209709 w 6785952"/>
              <a:gd name="connsiteY4058" fmla="*/ 4483361 h 5217112"/>
              <a:gd name="connsiteX4059" fmla="*/ 3206402 w 6785952"/>
              <a:gd name="connsiteY4059" fmla="*/ 4483583 h 5217112"/>
              <a:gd name="connsiteX4060" fmla="*/ 3205801 w 6785952"/>
              <a:gd name="connsiteY4060" fmla="*/ 4488673 h 5217112"/>
              <a:gd name="connsiteX4061" fmla="*/ 3208807 w 6785952"/>
              <a:gd name="connsiteY4061" fmla="*/ 4491108 h 5217112"/>
              <a:gd name="connsiteX4062" fmla="*/ 3209408 w 6785952"/>
              <a:gd name="connsiteY4062" fmla="*/ 4488784 h 5217112"/>
              <a:gd name="connsiteX4063" fmla="*/ 5185049 w 6785952"/>
              <a:gd name="connsiteY4063" fmla="*/ 4481480 h 5217112"/>
              <a:gd name="connsiteX4064" fmla="*/ 5190460 w 6785952"/>
              <a:gd name="connsiteY4064" fmla="*/ 4488673 h 5217112"/>
              <a:gd name="connsiteX4065" fmla="*/ 5185049 w 6785952"/>
              <a:gd name="connsiteY4065" fmla="*/ 4481480 h 5217112"/>
              <a:gd name="connsiteX4066" fmla="*/ 2420295 w 6785952"/>
              <a:gd name="connsiteY4066" fmla="*/ 4481480 h 5217112"/>
              <a:gd name="connsiteX4067" fmla="*/ 2426006 w 6785952"/>
              <a:gd name="connsiteY4067" fmla="*/ 4488673 h 5217112"/>
              <a:gd name="connsiteX4068" fmla="*/ 2420295 w 6785952"/>
              <a:gd name="connsiteY4068" fmla="*/ 4481480 h 5217112"/>
              <a:gd name="connsiteX4069" fmla="*/ 1391290 w 6785952"/>
              <a:gd name="connsiteY4069" fmla="*/ 4481480 h 5217112"/>
              <a:gd name="connsiteX4070" fmla="*/ 1396701 w 6785952"/>
              <a:gd name="connsiteY4070" fmla="*/ 4488673 h 5217112"/>
              <a:gd name="connsiteX4071" fmla="*/ 1391290 w 6785952"/>
              <a:gd name="connsiteY4071" fmla="*/ 4481480 h 5217112"/>
              <a:gd name="connsiteX4072" fmla="*/ 5515425 w 6785952"/>
              <a:gd name="connsiteY4072" fmla="*/ 4479930 h 5217112"/>
              <a:gd name="connsiteX4073" fmla="*/ 5517830 w 6785952"/>
              <a:gd name="connsiteY4073" fmla="*/ 4480484 h 5217112"/>
              <a:gd name="connsiteX4074" fmla="*/ 5520535 w 6785952"/>
              <a:gd name="connsiteY4074" fmla="*/ 4483251 h 5217112"/>
              <a:gd name="connsiteX4075" fmla="*/ 5513922 w 6785952"/>
              <a:gd name="connsiteY4075" fmla="*/ 4485685 h 5217112"/>
              <a:gd name="connsiteX4076" fmla="*/ 5512719 w 6785952"/>
              <a:gd name="connsiteY4076" fmla="*/ 4480926 h 5217112"/>
              <a:gd name="connsiteX4077" fmla="*/ 5515425 w 6785952"/>
              <a:gd name="connsiteY4077" fmla="*/ 4479930 h 5217112"/>
              <a:gd name="connsiteX4078" fmla="*/ 1721666 w 6785952"/>
              <a:gd name="connsiteY4078" fmla="*/ 4479930 h 5217112"/>
              <a:gd name="connsiteX4079" fmla="*/ 1724371 w 6785952"/>
              <a:gd name="connsiteY4079" fmla="*/ 4480484 h 5217112"/>
              <a:gd name="connsiteX4080" fmla="*/ 1727077 w 6785952"/>
              <a:gd name="connsiteY4080" fmla="*/ 4483251 h 5217112"/>
              <a:gd name="connsiteX4081" fmla="*/ 1720462 w 6785952"/>
              <a:gd name="connsiteY4081" fmla="*/ 4485685 h 5217112"/>
              <a:gd name="connsiteX4082" fmla="*/ 1718960 w 6785952"/>
              <a:gd name="connsiteY4082" fmla="*/ 4480926 h 5217112"/>
              <a:gd name="connsiteX4083" fmla="*/ 1721666 w 6785952"/>
              <a:gd name="connsiteY4083" fmla="*/ 4479930 h 5217112"/>
              <a:gd name="connsiteX4084" fmla="*/ 1943219 w 6785952"/>
              <a:gd name="connsiteY4084" fmla="*/ 4479156 h 5217112"/>
              <a:gd name="connsiteX4085" fmla="*/ 1962759 w 6785952"/>
              <a:gd name="connsiteY4085" fmla="*/ 4507377 h 5217112"/>
              <a:gd name="connsiteX4086" fmla="*/ 1956445 w 6785952"/>
              <a:gd name="connsiteY4086" fmla="*/ 4519551 h 5217112"/>
              <a:gd name="connsiteX4087" fmla="*/ 1937507 w 6785952"/>
              <a:gd name="connsiteY4087" fmla="*/ 4479709 h 5217112"/>
              <a:gd name="connsiteX4088" fmla="*/ 1943219 w 6785952"/>
              <a:gd name="connsiteY4088" fmla="*/ 4479156 h 5217112"/>
              <a:gd name="connsiteX4089" fmla="*/ 5988592 w 6785952"/>
              <a:gd name="connsiteY4089" fmla="*/ 4477938 h 5217112"/>
              <a:gd name="connsiteX4090" fmla="*/ 5989194 w 6785952"/>
              <a:gd name="connsiteY4090" fmla="*/ 4482697 h 5217112"/>
              <a:gd name="connsiteX4091" fmla="*/ 5988592 w 6785952"/>
              <a:gd name="connsiteY4091" fmla="*/ 4484800 h 5217112"/>
              <a:gd name="connsiteX4092" fmla="*/ 5989494 w 6785952"/>
              <a:gd name="connsiteY4092" fmla="*/ 4486128 h 5217112"/>
              <a:gd name="connsiteX4093" fmla="*/ 5987991 w 6785952"/>
              <a:gd name="connsiteY4093" fmla="*/ 4487013 h 5217112"/>
              <a:gd name="connsiteX4094" fmla="*/ 5986488 w 6785952"/>
              <a:gd name="connsiteY4094" fmla="*/ 4491108 h 5217112"/>
              <a:gd name="connsiteX4095" fmla="*/ 5986789 w 6785952"/>
              <a:gd name="connsiteY4095" fmla="*/ 4501401 h 5217112"/>
              <a:gd name="connsiteX4096" fmla="*/ 5981378 w 6785952"/>
              <a:gd name="connsiteY4096" fmla="*/ 4511472 h 5217112"/>
              <a:gd name="connsiteX4097" fmla="*/ 5977169 w 6785952"/>
              <a:gd name="connsiteY4097" fmla="*/ 4510476 h 5217112"/>
              <a:gd name="connsiteX4098" fmla="*/ 5975666 w 6785952"/>
              <a:gd name="connsiteY4098" fmla="*/ 4514571 h 5217112"/>
              <a:gd name="connsiteX4099" fmla="*/ 5956727 w 6785952"/>
              <a:gd name="connsiteY4099" fmla="*/ 4523756 h 5217112"/>
              <a:gd name="connsiteX4100" fmla="*/ 5948911 w 6785952"/>
              <a:gd name="connsiteY4100" fmla="*/ 4519661 h 5217112"/>
              <a:gd name="connsiteX4101" fmla="*/ 5946507 w 6785952"/>
              <a:gd name="connsiteY4101" fmla="*/ 4508926 h 5217112"/>
              <a:gd name="connsiteX4102" fmla="*/ 5963341 w 6785952"/>
              <a:gd name="connsiteY4102" fmla="*/ 4495867 h 5217112"/>
              <a:gd name="connsiteX4103" fmla="*/ 5972359 w 6785952"/>
              <a:gd name="connsiteY4103" fmla="*/ 4498634 h 5217112"/>
              <a:gd name="connsiteX4104" fmla="*/ 5973863 w 6785952"/>
              <a:gd name="connsiteY4104" fmla="*/ 4500183 h 5217112"/>
              <a:gd name="connsiteX4105" fmla="*/ 5972058 w 6785952"/>
              <a:gd name="connsiteY4105" fmla="*/ 4495314 h 5217112"/>
              <a:gd name="connsiteX4106" fmla="*/ 5973863 w 6785952"/>
              <a:gd name="connsiteY4106" fmla="*/ 4488784 h 5217112"/>
              <a:gd name="connsiteX4107" fmla="*/ 5974464 w 6785952"/>
              <a:gd name="connsiteY4107" fmla="*/ 4481369 h 5217112"/>
              <a:gd name="connsiteX4108" fmla="*/ 5977770 w 6785952"/>
              <a:gd name="connsiteY4108" fmla="*/ 4478713 h 5217112"/>
              <a:gd name="connsiteX4109" fmla="*/ 5979575 w 6785952"/>
              <a:gd name="connsiteY4109" fmla="*/ 4478934 h 5217112"/>
              <a:gd name="connsiteX4110" fmla="*/ 5980476 w 6785952"/>
              <a:gd name="connsiteY4110" fmla="*/ 4482476 h 5217112"/>
              <a:gd name="connsiteX4111" fmla="*/ 5979575 w 6785952"/>
              <a:gd name="connsiteY4111" fmla="*/ 4491108 h 5217112"/>
              <a:gd name="connsiteX4112" fmla="*/ 5978372 w 6785952"/>
              <a:gd name="connsiteY4112" fmla="*/ 4496310 h 5217112"/>
              <a:gd name="connsiteX4113" fmla="*/ 5981678 w 6785952"/>
              <a:gd name="connsiteY4113" fmla="*/ 4487456 h 5217112"/>
              <a:gd name="connsiteX4114" fmla="*/ 5988592 w 6785952"/>
              <a:gd name="connsiteY4114" fmla="*/ 4477938 h 5217112"/>
              <a:gd name="connsiteX4115" fmla="*/ 5820248 w 6785952"/>
              <a:gd name="connsiteY4115" fmla="*/ 4476500 h 5217112"/>
              <a:gd name="connsiteX4116" fmla="*/ 5820849 w 6785952"/>
              <a:gd name="connsiteY4116" fmla="*/ 4477717 h 5217112"/>
              <a:gd name="connsiteX4117" fmla="*/ 5814837 w 6785952"/>
              <a:gd name="connsiteY4117" fmla="*/ 4479598 h 5217112"/>
              <a:gd name="connsiteX4118" fmla="*/ 5820248 w 6785952"/>
              <a:gd name="connsiteY4118" fmla="*/ 4476500 h 5217112"/>
              <a:gd name="connsiteX4119" fmla="*/ 2026489 w 6785952"/>
              <a:gd name="connsiteY4119" fmla="*/ 4476500 h 5217112"/>
              <a:gd name="connsiteX4120" fmla="*/ 2027090 w 6785952"/>
              <a:gd name="connsiteY4120" fmla="*/ 4477717 h 5217112"/>
              <a:gd name="connsiteX4121" fmla="*/ 2021078 w 6785952"/>
              <a:gd name="connsiteY4121" fmla="*/ 4479598 h 5217112"/>
              <a:gd name="connsiteX4122" fmla="*/ 2026489 w 6785952"/>
              <a:gd name="connsiteY4122" fmla="*/ 4476500 h 5217112"/>
              <a:gd name="connsiteX4123" fmla="*/ 6097716 w 6785952"/>
              <a:gd name="connsiteY4123" fmla="*/ 4475725 h 5217112"/>
              <a:gd name="connsiteX4124" fmla="*/ 6104930 w 6785952"/>
              <a:gd name="connsiteY4124" fmla="*/ 4481922 h 5217112"/>
              <a:gd name="connsiteX4125" fmla="*/ 6100722 w 6785952"/>
              <a:gd name="connsiteY4125" fmla="*/ 4487677 h 5217112"/>
              <a:gd name="connsiteX4126" fmla="*/ 6093507 w 6785952"/>
              <a:gd name="connsiteY4126" fmla="*/ 4481590 h 5217112"/>
              <a:gd name="connsiteX4127" fmla="*/ 6097716 w 6785952"/>
              <a:gd name="connsiteY4127" fmla="*/ 4475725 h 5217112"/>
              <a:gd name="connsiteX4128" fmla="*/ 5621842 w 6785952"/>
              <a:gd name="connsiteY4128" fmla="*/ 4474618 h 5217112"/>
              <a:gd name="connsiteX4129" fmla="*/ 5621241 w 6785952"/>
              <a:gd name="connsiteY4129" fmla="*/ 4486128 h 5217112"/>
              <a:gd name="connsiteX4130" fmla="*/ 5620339 w 6785952"/>
              <a:gd name="connsiteY4130" fmla="*/ 4490444 h 5217112"/>
              <a:gd name="connsiteX4131" fmla="*/ 5622743 w 6785952"/>
              <a:gd name="connsiteY4131" fmla="*/ 4490555 h 5217112"/>
              <a:gd name="connsiteX4132" fmla="*/ 5633566 w 6785952"/>
              <a:gd name="connsiteY4132" fmla="*/ 4504278 h 5217112"/>
              <a:gd name="connsiteX4133" fmla="*/ 5621541 w 6785952"/>
              <a:gd name="connsiteY4133" fmla="*/ 4505274 h 5217112"/>
              <a:gd name="connsiteX4134" fmla="*/ 5616731 w 6785952"/>
              <a:gd name="connsiteY4134" fmla="*/ 4501843 h 5217112"/>
              <a:gd name="connsiteX4135" fmla="*/ 5614027 w 6785952"/>
              <a:gd name="connsiteY4135" fmla="*/ 4497084 h 5217112"/>
              <a:gd name="connsiteX4136" fmla="*/ 5616731 w 6785952"/>
              <a:gd name="connsiteY4136" fmla="*/ 4490333 h 5217112"/>
              <a:gd name="connsiteX4137" fmla="*/ 5618535 w 6785952"/>
              <a:gd name="connsiteY4137" fmla="*/ 4490333 h 5217112"/>
              <a:gd name="connsiteX4138" fmla="*/ 5618837 w 6785952"/>
              <a:gd name="connsiteY4138" fmla="*/ 4486017 h 5217112"/>
              <a:gd name="connsiteX4139" fmla="*/ 5621842 w 6785952"/>
              <a:gd name="connsiteY4139" fmla="*/ 4474618 h 5217112"/>
              <a:gd name="connsiteX4140" fmla="*/ 4366174 w 6785952"/>
              <a:gd name="connsiteY4140" fmla="*/ 4474618 h 5217112"/>
              <a:gd name="connsiteX4141" fmla="*/ 4365573 w 6785952"/>
              <a:gd name="connsiteY4141" fmla="*/ 4486128 h 5217112"/>
              <a:gd name="connsiteX4142" fmla="*/ 4364971 w 6785952"/>
              <a:gd name="connsiteY4142" fmla="*/ 4490444 h 5217112"/>
              <a:gd name="connsiteX4143" fmla="*/ 4367376 w 6785952"/>
              <a:gd name="connsiteY4143" fmla="*/ 4490555 h 5217112"/>
              <a:gd name="connsiteX4144" fmla="*/ 4369781 w 6785952"/>
              <a:gd name="connsiteY4144" fmla="*/ 4493322 h 5217112"/>
              <a:gd name="connsiteX4145" fmla="*/ 4373689 w 6785952"/>
              <a:gd name="connsiteY4145" fmla="*/ 4487235 h 5217112"/>
              <a:gd name="connsiteX4146" fmla="*/ 4380904 w 6785952"/>
              <a:gd name="connsiteY4146" fmla="*/ 4484689 h 5217112"/>
              <a:gd name="connsiteX4147" fmla="*/ 4392628 w 6785952"/>
              <a:gd name="connsiteY4147" fmla="*/ 4492215 h 5217112"/>
              <a:gd name="connsiteX4148" fmla="*/ 4377297 w 6785952"/>
              <a:gd name="connsiteY4148" fmla="*/ 4509480 h 5217112"/>
              <a:gd name="connsiteX4149" fmla="*/ 4373689 w 6785952"/>
              <a:gd name="connsiteY4149" fmla="*/ 4505717 h 5217112"/>
              <a:gd name="connsiteX4150" fmla="*/ 4372186 w 6785952"/>
              <a:gd name="connsiteY4150" fmla="*/ 4506270 h 5217112"/>
              <a:gd name="connsiteX4151" fmla="*/ 4366174 w 6785952"/>
              <a:gd name="connsiteY4151" fmla="*/ 4505274 h 5217112"/>
              <a:gd name="connsiteX4152" fmla="*/ 4361364 w 6785952"/>
              <a:gd name="connsiteY4152" fmla="*/ 4501843 h 5217112"/>
              <a:gd name="connsiteX4153" fmla="*/ 4361064 w 6785952"/>
              <a:gd name="connsiteY4153" fmla="*/ 4501843 h 5217112"/>
              <a:gd name="connsiteX4154" fmla="*/ 4358659 w 6785952"/>
              <a:gd name="connsiteY4154" fmla="*/ 4497084 h 5217112"/>
              <a:gd name="connsiteX4155" fmla="*/ 4361364 w 6785952"/>
              <a:gd name="connsiteY4155" fmla="*/ 4490333 h 5217112"/>
              <a:gd name="connsiteX4156" fmla="*/ 4363168 w 6785952"/>
              <a:gd name="connsiteY4156" fmla="*/ 4490333 h 5217112"/>
              <a:gd name="connsiteX4157" fmla="*/ 4363168 w 6785952"/>
              <a:gd name="connsiteY4157" fmla="*/ 4486017 h 5217112"/>
              <a:gd name="connsiteX4158" fmla="*/ 4366174 w 6785952"/>
              <a:gd name="connsiteY4158" fmla="*/ 4474618 h 5217112"/>
              <a:gd name="connsiteX4159" fmla="*/ 2857088 w 6785952"/>
              <a:gd name="connsiteY4159" fmla="*/ 4474618 h 5217112"/>
              <a:gd name="connsiteX4160" fmla="*/ 2856487 w 6785952"/>
              <a:gd name="connsiteY4160" fmla="*/ 4486128 h 5217112"/>
              <a:gd name="connsiteX4161" fmla="*/ 2855886 w 6785952"/>
              <a:gd name="connsiteY4161" fmla="*/ 4490444 h 5217112"/>
              <a:gd name="connsiteX4162" fmla="*/ 2858290 w 6785952"/>
              <a:gd name="connsiteY4162" fmla="*/ 4490555 h 5217112"/>
              <a:gd name="connsiteX4163" fmla="*/ 2869112 w 6785952"/>
              <a:gd name="connsiteY4163" fmla="*/ 4504278 h 5217112"/>
              <a:gd name="connsiteX4164" fmla="*/ 2857088 w 6785952"/>
              <a:gd name="connsiteY4164" fmla="*/ 4505274 h 5217112"/>
              <a:gd name="connsiteX4165" fmla="*/ 2852277 w 6785952"/>
              <a:gd name="connsiteY4165" fmla="*/ 4501843 h 5217112"/>
              <a:gd name="connsiteX4166" fmla="*/ 2849572 w 6785952"/>
              <a:gd name="connsiteY4166" fmla="*/ 4497084 h 5217112"/>
              <a:gd name="connsiteX4167" fmla="*/ 2852277 w 6785952"/>
              <a:gd name="connsiteY4167" fmla="*/ 4490333 h 5217112"/>
              <a:gd name="connsiteX4168" fmla="*/ 2854081 w 6785952"/>
              <a:gd name="connsiteY4168" fmla="*/ 4490333 h 5217112"/>
              <a:gd name="connsiteX4169" fmla="*/ 2854382 w 6785952"/>
              <a:gd name="connsiteY4169" fmla="*/ 4486017 h 5217112"/>
              <a:gd name="connsiteX4170" fmla="*/ 2857088 w 6785952"/>
              <a:gd name="connsiteY4170" fmla="*/ 4474618 h 5217112"/>
              <a:gd name="connsiteX4171" fmla="*/ 1828083 w 6785952"/>
              <a:gd name="connsiteY4171" fmla="*/ 4474618 h 5217112"/>
              <a:gd name="connsiteX4172" fmla="*/ 1827482 w 6785952"/>
              <a:gd name="connsiteY4172" fmla="*/ 4486128 h 5217112"/>
              <a:gd name="connsiteX4173" fmla="*/ 1826580 w 6785952"/>
              <a:gd name="connsiteY4173" fmla="*/ 4490444 h 5217112"/>
              <a:gd name="connsiteX4174" fmla="*/ 1828984 w 6785952"/>
              <a:gd name="connsiteY4174" fmla="*/ 4490555 h 5217112"/>
              <a:gd name="connsiteX4175" fmla="*/ 1839807 w 6785952"/>
              <a:gd name="connsiteY4175" fmla="*/ 4504278 h 5217112"/>
              <a:gd name="connsiteX4176" fmla="*/ 1828083 w 6785952"/>
              <a:gd name="connsiteY4176" fmla="*/ 4505274 h 5217112"/>
              <a:gd name="connsiteX4177" fmla="*/ 1822972 w 6785952"/>
              <a:gd name="connsiteY4177" fmla="*/ 4501843 h 5217112"/>
              <a:gd name="connsiteX4178" fmla="*/ 1820567 w 6785952"/>
              <a:gd name="connsiteY4178" fmla="*/ 4497084 h 5217112"/>
              <a:gd name="connsiteX4179" fmla="*/ 1823273 w 6785952"/>
              <a:gd name="connsiteY4179" fmla="*/ 4490333 h 5217112"/>
              <a:gd name="connsiteX4180" fmla="*/ 1824776 w 6785952"/>
              <a:gd name="connsiteY4180" fmla="*/ 4490333 h 5217112"/>
              <a:gd name="connsiteX4181" fmla="*/ 1825077 w 6785952"/>
              <a:gd name="connsiteY4181" fmla="*/ 4486017 h 5217112"/>
              <a:gd name="connsiteX4182" fmla="*/ 1828083 w 6785952"/>
              <a:gd name="connsiteY4182" fmla="*/ 4474618 h 5217112"/>
              <a:gd name="connsiteX4183" fmla="*/ 2530319 w 6785952"/>
              <a:gd name="connsiteY4183" fmla="*/ 4473733 h 5217112"/>
              <a:gd name="connsiteX4184" fmla="*/ 2539337 w 6785952"/>
              <a:gd name="connsiteY4184" fmla="*/ 4503061 h 5217112"/>
              <a:gd name="connsiteX4185" fmla="*/ 2531220 w 6785952"/>
              <a:gd name="connsiteY4185" fmla="*/ 4510144 h 5217112"/>
              <a:gd name="connsiteX4186" fmla="*/ 2514086 w 6785952"/>
              <a:gd name="connsiteY4186" fmla="*/ 4494428 h 5217112"/>
              <a:gd name="connsiteX4187" fmla="*/ 2516190 w 6785952"/>
              <a:gd name="connsiteY4187" fmla="*/ 4483140 h 5217112"/>
              <a:gd name="connsiteX4188" fmla="*/ 2530319 w 6785952"/>
              <a:gd name="connsiteY4188" fmla="*/ 4473733 h 5217112"/>
              <a:gd name="connsiteX4189" fmla="*/ 5449890 w 6785952"/>
              <a:gd name="connsiteY4189" fmla="*/ 4472958 h 5217112"/>
              <a:gd name="connsiteX4190" fmla="*/ 5455602 w 6785952"/>
              <a:gd name="connsiteY4190" fmla="*/ 4485021 h 5217112"/>
              <a:gd name="connsiteX4191" fmla="*/ 5442676 w 6785952"/>
              <a:gd name="connsiteY4191" fmla="*/ 4491108 h 5217112"/>
              <a:gd name="connsiteX4192" fmla="*/ 5449890 w 6785952"/>
              <a:gd name="connsiteY4192" fmla="*/ 4472958 h 5217112"/>
              <a:gd name="connsiteX4193" fmla="*/ 2685436 w 6785952"/>
              <a:gd name="connsiteY4193" fmla="*/ 4472958 h 5217112"/>
              <a:gd name="connsiteX4194" fmla="*/ 2691148 w 6785952"/>
              <a:gd name="connsiteY4194" fmla="*/ 4485021 h 5217112"/>
              <a:gd name="connsiteX4195" fmla="*/ 2678221 w 6785952"/>
              <a:gd name="connsiteY4195" fmla="*/ 4491108 h 5217112"/>
              <a:gd name="connsiteX4196" fmla="*/ 2685436 w 6785952"/>
              <a:gd name="connsiteY4196" fmla="*/ 4472958 h 5217112"/>
              <a:gd name="connsiteX4197" fmla="*/ 1656432 w 6785952"/>
              <a:gd name="connsiteY4197" fmla="*/ 4472958 h 5217112"/>
              <a:gd name="connsiteX4198" fmla="*/ 1662143 w 6785952"/>
              <a:gd name="connsiteY4198" fmla="*/ 4485021 h 5217112"/>
              <a:gd name="connsiteX4199" fmla="*/ 1649217 w 6785952"/>
              <a:gd name="connsiteY4199" fmla="*/ 4491108 h 5217112"/>
              <a:gd name="connsiteX4200" fmla="*/ 1656432 w 6785952"/>
              <a:gd name="connsiteY4200" fmla="*/ 4472958 h 5217112"/>
              <a:gd name="connsiteX4201" fmla="*/ 2172587 w 6785952"/>
              <a:gd name="connsiteY4201" fmla="*/ 4469749 h 5217112"/>
              <a:gd name="connsiteX4202" fmla="*/ 2178600 w 6785952"/>
              <a:gd name="connsiteY4202" fmla="*/ 4477717 h 5217112"/>
              <a:gd name="connsiteX4203" fmla="*/ 2168980 w 6785952"/>
              <a:gd name="connsiteY4203" fmla="*/ 4482033 h 5217112"/>
              <a:gd name="connsiteX4204" fmla="*/ 2172587 w 6785952"/>
              <a:gd name="connsiteY4204" fmla="*/ 4469749 h 5217112"/>
              <a:gd name="connsiteX4205" fmla="*/ 1143582 w 6785952"/>
              <a:gd name="connsiteY4205" fmla="*/ 4469749 h 5217112"/>
              <a:gd name="connsiteX4206" fmla="*/ 1149596 w 6785952"/>
              <a:gd name="connsiteY4206" fmla="*/ 4477717 h 5217112"/>
              <a:gd name="connsiteX4207" fmla="*/ 1139975 w 6785952"/>
              <a:gd name="connsiteY4207" fmla="*/ 4482033 h 5217112"/>
              <a:gd name="connsiteX4208" fmla="*/ 1143582 w 6785952"/>
              <a:gd name="connsiteY4208" fmla="*/ 4469749 h 5217112"/>
              <a:gd name="connsiteX4209" fmla="*/ 5206994 w 6785952"/>
              <a:gd name="connsiteY4209" fmla="*/ 4465211 h 5217112"/>
              <a:gd name="connsiteX4210" fmla="*/ 5211202 w 6785952"/>
              <a:gd name="connsiteY4210" fmla="*/ 4487456 h 5217112"/>
              <a:gd name="connsiteX4211" fmla="*/ 5201883 w 6785952"/>
              <a:gd name="connsiteY4211" fmla="*/ 4487345 h 5217112"/>
              <a:gd name="connsiteX4212" fmla="*/ 5206994 w 6785952"/>
              <a:gd name="connsiteY4212" fmla="*/ 4465211 h 5217112"/>
              <a:gd name="connsiteX4213" fmla="*/ 1413535 w 6785952"/>
              <a:gd name="connsiteY4213" fmla="*/ 4465211 h 5217112"/>
              <a:gd name="connsiteX4214" fmla="*/ 1417443 w 6785952"/>
              <a:gd name="connsiteY4214" fmla="*/ 4487456 h 5217112"/>
              <a:gd name="connsiteX4215" fmla="*/ 1408124 w 6785952"/>
              <a:gd name="connsiteY4215" fmla="*/ 4487345 h 5217112"/>
              <a:gd name="connsiteX4216" fmla="*/ 1413535 w 6785952"/>
              <a:gd name="connsiteY4216" fmla="*/ 4465211 h 5217112"/>
              <a:gd name="connsiteX4217" fmla="*/ 6075170 w 6785952"/>
              <a:gd name="connsiteY4217" fmla="*/ 4463108 h 5217112"/>
              <a:gd name="connsiteX4218" fmla="*/ 6076672 w 6785952"/>
              <a:gd name="connsiteY4218" fmla="*/ 4463330 h 5217112"/>
              <a:gd name="connsiteX4219" fmla="*/ 6079379 w 6785952"/>
              <a:gd name="connsiteY4219" fmla="*/ 4479377 h 5217112"/>
              <a:gd name="connsiteX4220" fmla="*/ 6078176 w 6785952"/>
              <a:gd name="connsiteY4220" fmla="*/ 4485021 h 5217112"/>
              <a:gd name="connsiteX4221" fmla="*/ 6078476 w 6785952"/>
              <a:gd name="connsiteY4221" fmla="*/ 4483472 h 5217112"/>
              <a:gd name="connsiteX4222" fmla="*/ 6076672 w 6785952"/>
              <a:gd name="connsiteY4222" fmla="*/ 4484800 h 5217112"/>
              <a:gd name="connsiteX4223" fmla="*/ 6075170 w 6785952"/>
              <a:gd name="connsiteY4223" fmla="*/ 4463108 h 5217112"/>
              <a:gd name="connsiteX4224" fmla="*/ 2281711 w 6785952"/>
              <a:gd name="connsiteY4224" fmla="*/ 4463108 h 5217112"/>
              <a:gd name="connsiteX4225" fmla="*/ 2283214 w 6785952"/>
              <a:gd name="connsiteY4225" fmla="*/ 4463330 h 5217112"/>
              <a:gd name="connsiteX4226" fmla="*/ 2285619 w 6785952"/>
              <a:gd name="connsiteY4226" fmla="*/ 4479377 h 5217112"/>
              <a:gd name="connsiteX4227" fmla="*/ 2284717 w 6785952"/>
              <a:gd name="connsiteY4227" fmla="*/ 4485021 h 5217112"/>
              <a:gd name="connsiteX4228" fmla="*/ 2284717 w 6785952"/>
              <a:gd name="connsiteY4228" fmla="*/ 4483472 h 5217112"/>
              <a:gd name="connsiteX4229" fmla="*/ 2283214 w 6785952"/>
              <a:gd name="connsiteY4229" fmla="*/ 4484800 h 5217112"/>
              <a:gd name="connsiteX4230" fmla="*/ 2281711 w 6785952"/>
              <a:gd name="connsiteY4230" fmla="*/ 4463108 h 5217112"/>
              <a:gd name="connsiteX4231" fmla="*/ 5132742 w 6785952"/>
              <a:gd name="connsiteY4231" fmla="*/ 4462776 h 5217112"/>
              <a:gd name="connsiteX4232" fmla="*/ 5134545 w 6785952"/>
              <a:gd name="connsiteY4232" fmla="*/ 4466760 h 5217112"/>
              <a:gd name="connsiteX4233" fmla="*/ 5134244 w 6785952"/>
              <a:gd name="connsiteY4233" fmla="*/ 4468199 h 5217112"/>
              <a:gd name="connsiteX4234" fmla="*/ 5132742 w 6785952"/>
              <a:gd name="connsiteY4234" fmla="*/ 4468753 h 5217112"/>
              <a:gd name="connsiteX4235" fmla="*/ 5132742 w 6785952"/>
              <a:gd name="connsiteY4235" fmla="*/ 4462776 h 5217112"/>
              <a:gd name="connsiteX4236" fmla="*/ 2368288 w 6785952"/>
              <a:gd name="connsiteY4236" fmla="*/ 4462776 h 5217112"/>
              <a:gd name="connsiteX4237" fmla="*/ 2369790 w 6785952"/>
              <a:gd name="connsiteY4237" fmla="*/ 4466760 h 5217112"/>
              <a:gd name="connsiteX4238" fmla="*/ 2369790 w 6785952"/>
              <a:gd name="connsiteY4238" fmla="*/ 4468199 h 5217112"/>
              <a:gd name="connsiteX4239" fmla="*/ 2368288 w 6785952"/>
              <a:gd name="connsiteY4239" fmla="*/ 4468753 h 5217112"/>
              <a:gd name="connsiteX4240" fmla="*/ 2368288 w 6785952"/>
              <a:gd name="connsiteY4240" fmla="*/ 4462776 h 5217112"/>
              <a:gd name="connsiteX4241" fmla="*/ 1338983 w 6785952"/>
              <a:gd name="connsiteY4241" fmla="*/ 4462776 h 5217112"/>
              <a:gd name="connsiteX4242" fmla="*/ 1340786 w 6785952"/>
              <a:gd name="connsiteY4242" fmla="*/ 4466760 h 5217112"/>
              <a:gd name="connsiteX4243" fmla="*/ 1340485 w 6785952"/>
              <a:gd name="connsiteY4243" fmla="*/ 4468199 h 5217112"/>
              <a:gd name="connsiteX4244" fmla="*/ 1338983 w 6785952"/>
              <a:gd name="connsiteY4244" fmla="*/ 4468753 h 5217112"/>
              <a:gd name="connsiteX4245" fmla="*/ 1338983 w 6785952"/>
              <a:gd name="connsiteY4245" fmla="*/ 4462776 h 5217112"/>
              <a:gd name="connsiteX4246" fmla="*/ 6082985 w 6785952"/>
              <a:gd name="connsiteY4246" fmla="*/ 4460895 h 5217112"/>
              <a:gd name="connsiteX4247" fmla="*/ 6095611 w 6785952"/>
              <a:gd name="connsiteY4247" fmla="*/ 4488895 h 5217112"/>
              <a:gd name="connsiteX4248" fmla="*/ 6089299 w 6785952"/>
              <a:gd name="connsiteY4248" fmla="*/ 4487899 h 5217112"/>
              <a:gd name="connsiteX4249" fmla="*/ 6089599 w 6785952"/>
              <a:gd name="connsiteY4249" fmla="*/ 4484911 h 5217112"/>
              <a:gd name="connsiteX4250" fmla="*/ 6082985 w 6785952"/>
              <a:gd name="connsiteY4250" fmla="*/ 4460895 h 5217112"/>
              <a:gd name="connsiteX4251" fmla="*/ 5474542 w 6785952"/>
              <a:gd name="connsiteY4251" fmla="*/ 4459346 h 5217112"/>
              <a:gd name="connsiteX4252" fmla="*/ 5498590 w 6785952"/>
              <a:gd name="connsiteY4252" fmla="*/ 4479045 h 5217112"/>
              <a:gd name="connsiteX4253" fmla="*/ 5498891 w 6785952"/>
              <a:gd name="connsiteY4253" fmla="*/ 4482476 h 5217112"/>
              <a:gd name="connsiteX4254" fmla="*/ 5501296 w 6785952"/>
              <a:gd name="connsiteY4254" fmla="*/ 4484579 h 5217112"/>
              <a:gd name="connsiteX4255" fmla="*/ 5502499 w 6785952"/>
              <a:gd name="connsiteY4255" fmla="*/ 4489891 h 5217112"/>
              <a:gd name="connsiteX4256" fmla="*/ 5499191 w 6785952"/>
              <a:gd name="connsiteY4256" fmla="*/ 4487124 h 5217112"/>
              <a:gd name="connsiteX4257" fmla="*/ 5499191 w 6785952"/>
              <a:gd name="connsiteY4257" fmla="*/ 4490776 h 5217112"/>
              <a:gd name="connsiteX4258" fmla="*/ 5471535 w 6785952"/>
              <a:gd name="connsiteY4258" fmla="*/ 4511472 h 5217112"/>
              <a:gd name="connsiteX4259" fmla="*/ 5467326 w 6785952"/>
              <a:gd name="connsiteY4259" fmla="*/ 4461559 h 5217112"/>
              <a:gd name="connsiteX4260" fmla="*/ 5474542 w 6785952"/>
              <a:gd name="connsiteY4260" fmla="*/ 4459346 h 5217112"/>
              <a:gd name="connsiteX4261" fmla="*/ 5268319 w 6785952"/>
              <a:gd name="connsiteY4261" fmla="*/ 4458239 h 5217112"/>
              <a:gd name="connsiteX4262" fmla="*/ 5247577 w 6785952"/>
              <a:gd name="connsiteY4262" fmla="*/ 4508373 h 5217112"/>
              <a:gd name="connsiteX4263" fmla="*/ 5241866 w 6785952"/>
              <a:gd name="connsiteY4263" fmla="*/ 4516563 h 5217112"/>
              <a:gd name="connsiteX4264" fmla="*/ 5248178 w 6785952"/>
              <a:gd name="connsiteY4264" fmla="*/ 4517005 h 5217112"/>
              <a:gd name="connsiteX4265" fmla="*/ 5245472 w 6785952"/>
              <a:gd name="connsiteY4265" fmla="*/ 4534491 h 5217112"/>
              <a:gd name="connsiteX4266" fmla="*/ 5232246 w 6785952"/>
              <a:gd name="connsiteY4266" fmla="*/ 4519661 h 5217112"/>
              <a:gd name="connsiteX4267" fmla="*/ 5232847 w 6785952"/>
              <a:gd name="connsiteY4267" fmla="*/ 4519551 h 5217112"/>
              <a:gd name="connsiteX4268" fmla="*/ 5231645 w 6785952"/>
              <a:gd name="connsiteY4268" fmla="*/ 4517005 h 5217112"/>
              <a:gd name="connsiteX4269" fmla="*/ 5268319 w 6785952"/>
              <a:gd name="connsiteY4269" fmla="*/ 4458239 h 5217112"/>
              <a:gd name="connsiteX4270" fmla="*/ 2109157 w 6785952"/>
              <a:gd name="connsiteY4270" fmla="*/ 4456136 h 5217112"/>
              <a:gd name="connsiteX4271" fmla="*/ 2107655 w 6785952"/>
              <a:gd name="connsiteY4271" fmla="*/ 4457353 h 5217112"/>
              <a:gd name="connsiteX4272" fmla="*/ 2107955 w 6785952"/>
              <a:gd name="connsiteY4272" fmla="*/ 4457464 h 5217112"/>
              <a:gd name="connsiteX4273" fmla="*/ 2111262 w 6785952"/>
              <a:gd name="connsiteY4273" fmla="*/ 4457796 h 5217112"/>
              <a:gd name="connsiteX4274" fmla="*/ 1891813 w 6785952"/>
              <a:gd name="connsiteY4274" fmla="*/ 4455693 h 5217112"/>
              <a:gd name="connsiteX4275" fmla="*/ 1899629 w 6785952"/>
              <a:gd name="connsiteY4275" fmla="*/ 4461780 h 5217112"/>
              <a:gd name="connsiteX4276" fmla="*/ 1901434 w 6785952"/>
              <a:gd name="connsiteY4276" fmla="*/ 4460563 h 5217112"/>
              <a:gd name="connsiteX4277" fmla="*/ 1908047 w 6785952"/>
              <a:gd name="connsiteY4277" fmla="*/ 4459899 h 5217112"/>
              <a:gd name="connsiteX4278" fmla="*/ 1911654 w 6785952"/>
              <a:gd name="connsiteY4278" fmla="*/ 4472626 h 5217112"/>
              <a:gd name="connsiteX4279" fmla="*/ 1906843 w 6785952"/>
              <a:gd name="connsiteY4279" fmla="*/ 4473290 h 5217112"/>
              <a:gd name="connsiteX4280" fmla="*/ 1906243 w 6785952"/>
              <a:gd name="connsiteY4280" fmla="*/ 4473401 h 5217112"/>
              <a:gd name="connsiteX4281" fmla="*/ 1908347 w 6785952"/>
              <a:gd name="connsiteY4281" fmla="*/ 4492879 h 5217112"/>
              <a:gd name="connsiteX4282" fmla="*/ 1900531 w 6785952"/>
              <a:gd name="connsiteY4282" fmla="*/ 4488895 h 5217112"/>
              <a:gd name="connsiteX4283" fmla="*/ 1899629 w 6785952"/>
              <a:gd name="connsiteY4283" fmla="*/ 4488452 h 5217112"/>
              <a:gd name="connsiteX4284" fmla="*/ 1899629 w 6785952"/>
              <a:gd name="connsiteY4284" fmla="*/ 4488341 h 5217112"/>
              <a:gd name="connsiteX4285" fmla="*/ 1899029 w 6785952"/>
              <a:gd name="connsiteY4285" fmla="*/ 4487899 h 5217112"/>
              <a:gd name="connsiteX4286" fmla="*/ 1891813 w 6785952"/>
              <a:gd name="connsiteY4286" fmla="*/ 4455693 h 5217112"/>
              <a:gd name="connsiteX4287" fmla="*/ 862808 w 6785952"/>
              <a:gd name="connsiteY4287" fmla="*/ 4455693 h 5217112"/>
              <a:gd name="connsiteX4288" fmla="*/ 870324 w 6785952"/>
              <a:gd name="connsiteY4288" fmla="*/ 4461780 h 5217112"/>
              <a:gd name="connsiteX4289" fmla="*/ 872429 w 6785952"/>
              <a:gd name="connsiteY4289" fmla="*/ 4460563 h 5217112"/>
              <a:gd name="connsiteX4290" fmla="*/ 878741 w 6785952"/>
              <a:gd name="connsiteY4290" fmla="*/ 4459899 h 5217112"/>
              <a:gd name="connsiteX4291" fmla="*/ 882649 w 6785952"/>
              <a:gd name="connsiteY4291" fmla="*/ 4472626 h 5217112"/>
              <a:gd name="connsiteX4292" fmla="*/ 877840 w 6785952"/>
              <a:gd name="connsiteY4292" fmla="*/ 4473290 h 5217112"/>
              <a:gd name="connsiteX4293" fmla="*/ 877238 w 6785952"/>
              <a:gd name="connsiteY4293" fmla="*/ 4473401 h 5217112"/>
              <a:gd name="connsiteX4294" fmla="*/ 879342 w 6785952"/>
              <a:gd name="connsiteY4294" fmla="*/ 4492879 h 5217112"/>
              <a:gd name="connsiteX4295" fmla="*/ 862808 w 6785952"/>
              <a:gd name="connsiteY4295" fmla="*/ 4455693 h 5217112"/>
              <a:gd name="connsiteX4296" fmla="*/ 2486730 w 6785952"/>
              <a:gd name="connsiteY4296" fmla="*/ 4454587 h 5217112"/>
              <a:gd name="connsiteX4297" fmla="*/ 2503264 w 6785952"/>
              <a:gd name="connsiteY4297" fmla="*/ 4491994 h 5217112"/>
              <a:gd name="connsiteX4298" fmla="*/ 2487031 w 6785952"/>
              <a:gd name="connsiteY4298" fmla="*/ 4497416 h 5217112"/>
              <a:gd name="connsiteX4299" fmla="*/ 2476810 w 6785952"/>
              <a:gd name="connsiteY4299" fmla="*/ 4493432 h 5217112"/>
              <a:gd name="connsiteX4300" fmla="*/ 2481018 w 6785952"/>
              <a:gd name="connsiteY4300" fmla="*/ 4497970 h 5217112"/>
              <a:gd name="connsiteX4301" fmla="*/ 2479516 w 6785952"/>
              <a:gd name="connsiteY4301" fmla="*/ 4510476 h 5217112"/>
              <a:gd name="connsiteX4302" fmla="*/ 2471399 w 6785952"/>
              <a:gd name="connsiteY4302" fmla="*/ 4513685 h 5217112"/>
              <a:gd name="connsiteX4303" fmla="*/ 2467491 w 6785952"/>
              <a:gd name="connsiteY4303" fmla="*/ 4490555 h 5217112"/>
              <a:gd name="connsiteX4304" fmla="*/ 2473804 w 6785952"/>
              <a:gd name="connsiteY4304" fmla="*/ 4492104 h 5217112"/>
              <a:gd name="connsiteX4305" fmla="*/ 2466589 w 6785952"/>
              <a:gd name="connsiteY4305" fmla="*/ 4480594 h 5217112"/>
              <a:gd name="connsiteX4306" fmla="*/ 2468092 w 6785952"/>
              <a:gd name="connsiteY4306" fmla="*/ 4467092 h 5217112"/>
              <a:gd name="connsiteX4307" fmla="*/ 2486730 w 6785952"/>
              <a:gd name="connsiteY4307" fmla="*/ 4454587 h 5217112"/>
              <a:gd name="connsiteX4308" fmla="*/ 2200845 w 6785952"/>
              <a:gd name="connsiteY4308" fmla="*/ 4454255 h 5217112"/>
              <a:gd name="connsiteX4309" fmla="*/ 2211968 w 6785952"/>
              <a:gd name="connsiteY4309" fmla="*/ 4460010 h 5217112"/>
              <a:gd name="connsiteX4310" fmla="*/ 2210165 w 6785952"/>
              <a:gd name="connsiteY4310" fmla="*/ 4462887 h 5217112"/>
              <a:gd name="connsiteX4311" fmla="*/ 2205956 w 6785952"/>
              <a:gd name="connsiteY4311" fmla="*/ 4464658 h 5217112"/>
              <a:gd name="connsiteX4312" fmla="*/ 2209263 w 6785952"/>
              <a:gd name="connsiteY4312" fmla="*/ 4466760 h 5217112"/>
              <a:gd name="connsiteX4313" fmla="*/ 2210766 w 6785952"/>
              <a:gd name="connsiteY4313" fmla="*/ 4478492 h 5217112"/>
              <a:gd name="connsiteX4314" fmla="*/ 2199342 w 6785952"/>
              <a:gd name="connsiteY4314" fmla="*/ 4498080 h 5217112"/>
              <a:gd name="connsiteX4315" fmla="*/ 2193030 w 6785952"/>
              <a:gd name="connsiteY4315" fmla="*/ 4501069 h 5217112"/>
              <a:gd name="connsiteX4316" fmla="*/ 2193030 w 6785952"/>
              <a:gd name="connsiteY4316" fmla="*/ 4501401 h 5217112"/>
              <a:gd name="connsiteX4317" fmla="*/ 2187619 w 6785952"/>
              <a:gd name="connsiteY4317" fmla="*/ 4511472 h 5217112"/>
              <a:gd name="connsiteX4318" fmla="*/ 2183410 w 6785952"/>
              <a:gd name="connsiteY4318" fmla="*/ 4510476 h 5217112"/>
              <a:gd name="connsiteX4319" fmla="*/ 2182208 w 6785952"/>
              <a:gd name="connsiteY4319" fmla="*/ 4514571 h 5217112"/>
              <a:gd name="connsiteX4320" fmla="*/ 2162968 w 6785952"/>
              <a:gd name="connsiteY4320" fmla="*/ 4523756 h 5217112"/>
              <a:gd name="connsiteX4321" fmla="*/ 2155152 w 6785952"/>
              <a:gd name="connsiteY4321" fmla="*/ 4519661 h 5217112"/>
              <a:gd name="connsiteX4322" fmla="*/ 2152747 w 6785952"/>
              <a:gd name="connsiteY4322" fmla="*/ 4508926 h 5217112"/>
              <a:gd name="connsiteX4323" fmla="*/ 2169581 w 6785952"/>
              <a:gd name="connsiteY4323" fmla="*/ 4495867 h 5217112"/>
              <a:gd name="connsiteX4324" fmla="*/ 2178600 w 6785952"/>
              <a:gd name="connsiteY4324" fmla="*/ 4498634 h 5217112"/>
              <a:gd name="connsiteX4325" fmla="*/ 2180103 w 6785952"/>
              <a:gd name="connsiteY4325" fmla="*/ 4500183 h 5217112"/>
              <a:gd name="connsiteX4326" fmla="*/ 2178299 w 6785952"/>
              <a:gd name="connsiteY4326" fmla="*/ 4495314 h 5217112"/>
              <a:gd name="connsiteX4327" fmla="*/ 2180403 w 6785952"/>
              <a:gd name="connsiteY4327" fmla="*/ 4488784 h 5217112"/>
              <a:gd name="connsiteX4328" fmla="*/ 2181005 w 6785952"/>
              <a:gd name="connsiteY4328" fmla="*/ 4481369 h 5217112"/>
              <a:gd name="connsiteX4329" fmla="*/ 2184312 w 6785952"/>
              <a:gd name="connsiteY4329" fmla="*/ 4478713 h 5217112"/>
              <a:gd name="connsiteX4330" fmla="*/ 2184613 w 6785952"/>
              <a:gd name="connsiteY4330" fmla="*/ 4478824 h 5217112"/>
              <a:gd name="connsiteX4331" fmla="*/ 2198742 w 6785952"/>
              <a:gd name="connsiteY4331" fmla="*/ 4460120 h 5217112"/>
              <a:gd name="connsiteX4332" fmla="*/ 2200845 w 6785952"/>
              <a:gd name="connsiteY4332" fmla="*/ 4461338 h 5217112"/>
              <a:gd name="connsiteX4333" fmla="*/ 1171841 w 6785952"/>
              <a:gd name="connsiteY4333" fmla="*/ 4454255 h 5217112"/>
              <a:gd name="connsiteX4334" fmla="*/ 1182662 w 6785952"/>
              <a:gd name="connsiteY4334" fmla="*/ 4460010 h 5217112"/>
              <a:gd name="connsiteX4335" fmla="*/ 1181160 w 6785952"/>
              <a:gd name="connsiteY4335" fmla="*/ 4462887 h 5217112"/>
              <a:gd name="connsiteX4336" fmla="*/ 1176650 w 6785952"/>
              <a:gd name="connsiteY4336" fmla="*/ 4464658 h 5217112"/>
              <a:gd name="connsiteX4337" fmla="*/ 1180258 w 6785952"/>
              <a:gd name="connsiteY4337" fmla="*/ 4466760 h 5217112"/>
              <a:gd name="connsiteX4338" fmla="*/ 1181761 w 6785952"/>
              <a:gd name="connsiteY4338" fmla="*/ 4478492 h 5217112"/>
              <a:gd name="connsiteX4339" fmla="*/ 1150798 w 6785952"/>
              <a:gd name="connsiteY4339" fmla="*/ 4500405 h 5217112"/>
              <a:gd name="connsiteX4340" fmla="*/ 1169736 w 6785952"/>
              <a:gd name="connsiteY4340" fmla="*/ 4460120 h 5217112"/>
              <a:gd name="connsiteX4341" fmla="*/ 1171540 w 6785952"/>
              <a:gd name="connsiteY4341" fmla="*/ 4461338 h 5217112"/>
              <a:gd name="connsiteX4342" fmla="*/ 5547891 w 6785952"/>
              <a:gd name="connsiteY4342" fmla="*/ 4454033 h 5217112"/>
              <a:gd name="connsiteX4343" fmla="*/ 5557210 w 6785952"/>
              <a:gd name="connsiteY4343" fmla="*/ 4456357 h 5217112"/>
              <a:gd name="connsiteX4344" fmla="*/ 5553603 w 6785952"/>
              <a:gd name="connsiteY4344" fmla="*/ 4465100 h 5217112"/>
              <a:gd name="connsiteX4345" fmla="*/ 5557511 w 6785952"/>
              <a:gd name="connsiteY4345" fmla="*/ 4465543 h 5217112"/>
              <a:gd name="connsiteX4346" fmla="*/ 5561118 w 6785952"/>
              <a:gd name="connsiteY4346" fmla="*/ 4468089 h 5217112"/>
              <a:gd name="connsiteX4347" fmla="*/ 5560517 w 6785952"/>
              <a:gd name="connsiteY4347" fmla="*/ 4470302 h 5217112"/>
              <a:gd name="connsiteX4348" fmla="*/ 5570437 w 6785952"/>
              <a:gd name="connsiteY4348" fmla="*/ 4466428 h 5217112"/>
              <a:gd name="connsiteX4349" fmla="*/ 5578252 w 6785952"/>
              <a:gd name="connsiteY4349" fmla="*/ 4466539 h 5217112"/>
              <a:gd name="connsiteX4350" fmla="*/ 5601100 w 6785952"/>
              <a:gd name="connsiteY4350" fmla="*/ 4476278 h 5217112"/>
              <a:gd name="connsiteX4351" fmla="*/ 5570137 w 6785952"/>
              <a:gd name="connsiteY4351" fmla="*/ 4476832 h 5217112"/>
              <a:gd name="connsiteX4352" fmla="*/ 5560517 w 6785952"/>
              <a:gd name="connsiteY4352" fmla="*/ 4470855 h 5217112"/>
              <a:gd name="connsiteX4353" fmla="*/ 5559315 w 6785952"/>
              <a:gd name="connsiteY4353" fmla="*/ 4475504 h 5217112"/>
              <a:gd name="connsiteX4354" fmla="*/ 5536769 w 6785952"/>
              <a:gd name="connsiteY4354" fmla="*/ 4480705 h 5217112"/>
              <a:gd name="connsiteX4355" fmla="*/ 5538572 w 6785952"/>
              <a:gd name="connsiteY4355" fmla="*/ 4466982 h 5217112"/>
              <a:gd name="connsiteX4356" fmla="*/ 5542781 w 6785952"/>
              <a:gd name="connsiteY4356" fmla="*/ 4466318 h 5217112"/>
              <a:gd name="connsiteX4357" fmla="*/ 5544884 w 6785952"/>
              <a:gd name="connsiteY4357" fmla="*/ 4464768 h 5217112"/>
              <a:gd name="connsiteX4358" fmla="*/ 5543382 w 6785952"/>
              <a:gd name="connsiteY4358" fmla="*/ 4460895 h 5217112"/>
              <a:gd name="connsiteX4359" fmla="*/ 5537971 w 6785952"/>
              <a:gd name="connsiteY4359" fmla="*/ 4455140 h 5217112"/>
              <a:gd name="connsiteX4360" fmla="*/ 5547891 w 6785952"/>
              <a:gd name="connsiteY4360" fmla="*/ 4454033 h 5217112"/>
              <a:gd name="connsiteX4361" fmla="*/ 2783436 w 6785952"/>
              <a:gd name="connsiteY4361" fmla="*/ 4454033 h 5217112"/>
              <a:gd name="connsiteX4362" fmla="*/ 2792756 w 6785952"/>
              <a:gd name="connsiteY4362" fmla="*/ 4456357 h 5217112"/>
              <a:gd name="connsiteX4363" fmla="*/ 2789148 w 6785952"/>
              <a:gd name="connsiteY4363" fmla="*/ 4465100 h 5217112"/>
              <a:gd name="connsiteX4364" fmla="*/ 2792756 w 6785952"/>
              <a:gd name="connsiteY4364" fmla="*/ 4465543 h 5217112"/>
              <a:gd name="connsiteX4365" fmla="*/ 2796664 w 6785952"/>
              <a:gd name="connsiteY4365" fmla="*/ 4468089 h 5217112"/>
              <a:gd name="connsiteX4366" fmla="*/ 2796063 w 6785952"/>
              <a:gd name="connsiteY4366" fmla="*/ 4470302 h 5217112"/>
              <a:gd name="connsiteX4367" fmla="*/ 2805983 w 6785952"/>
              <a:gd name="connsiteY4367" fmla="*/ 4466428 h 5217112"/>
              <a:gd name="connsiteX4368" fmla="*/ 2813799 w 6785952"/>
              <a:gd name="connsiteY4368" fmla="*/ 4466539 h 5217112"/>
              <a:gd name="connsiteX4369" fmla="*/ 2836646 w 6785952"/>
              <a:gd name="connsiteY4369" fmla="*/ 4476278 h 5217112"/>
              <a:gd name="connsiteX4370" fmla="*/ 2805682 w 6785952"/>
              <a:gd name="connsiteY4370" fmla="*/ 4476832 h 5217112"/>
              <a:gd name="connsiteX4371" fmla="*/ 2796063 w 6785952"/>
              <a:gd name="connsiteY4371" fmla="*/ 4470855 h 5217112"/>
              <a:gd name="connsiteX4372" fmla="*/ 2794861 w 6785952"/>
              <a:gd name="connsiteY4372" fmla="*/ 4475504 h 5217112"/>
              <a:gd name="connsiteX4373" fmla="*/ 2772013 w 6785952"/>
              <a:gd name="connsiteY4373" fmla="*/ 4480705 h 5217112"/>
              <a:gd name="connsiteX4374" fmla="*/ 2774118 w 6785952"/>
              <a:gd name="connsiteY4374" fmla="*/ 4466982 h 5217112"/>
              <a:gd name="connsiteX4375" fmla="*/ 2778026 w 6785952"/>
              <a:gd name="connsiteY4375" fmla="*/ 4466318 h 5217112"/>
              <a:gd name="connsiteX4376" fmla="*/ 2780130 w 6785952"/>
              <a:gd name="connsiteY4376" fmla="*/ 4464768 h 5217112"/>
              <a:gd name="connsiteX4377" fmla="*/ 2778627 w 6785952"/>
              <a:gd name="connsiteY4377" fmla="*/ 4460895 h 5217112"/>
              <a:gd name="connsiteX4378" fmla="*/ 2773216 w 6785952"/>
              <a:gd name="connsiteY4378" fmla="*/ 4455140 h 5217112"/>
              <a:gd name="connsiteX4379" fmla="*/ 2783436 w 6785952"/>
              <a:gd name="connsiteY4379" fmla="*/ 4454033 h 5217112"/>
              <a:gd name="connsiteX4380" fmla="*/ 1754131 w 6785952"/>
              <a:gd name="connsiteY4380" fmla="*/ 4454033 h 5217112"/>
              <a:gd name="connsiteX4381" fmla="*/ 1763751 w 6785952"/>
              <a:gd name="connsiteY4381" fmla="*/ 4456357 h 5217112"/>
              <a:gd name="connsiteX4382" fmla="*/ 1759844 w 6785952"/>
              <a:gd name="connsiteY4382" fmla="*/ 4465100 h 5217112"/>
              <a:gd name="connsiteX4383" fmla="*/ 1763751 w 6785952"/>
              <a:gd name="connsiteY4383" fmla="*/ 4465543 h 5217112"/>
              <a:gd name="connsiteX4384" fmla="*/ 1767358 w 6785952"/>
              <a:gd name="connsiteY4384" fmla="*/ 4468089 h 5217112"/>
              <a:gd name="connsiteX4385" fmla="*/ 1767058 w 6785952"/>
              <a:gd name="connsiteY4385" fmla="*/ 4470302 h 5217112"/>
              <a:gd name="connsiteX4386" fmla="*/ 1776979 w 6785952"/>
              <a:gd name="connsiteY4386" fmla="*/ 4466428 h 5217112"/>
              <a:gd name="connsiteX4387" fmla="*/ 1784493 w 6785952"/>
              <a:gd name="connsiteY4387" fmla="*/ 4466539 h 5217112"/>
              <a:gd name="connsiteX4388" fmla="*/ 1807341 w 6785952"/>
              <a:gd name="connsiteY4388" fmla="*/ 4476278 h 5217112"/>
              <a:gd name="connsiteX4389" fmla="*/ 1776377 w 6785952"/>
              <a:gd name="connsiteY4389" fmla="*/ 4476832 h 5217112"/>
              <a:gd name="connsiteX4390" fmla="*/ 1766757 w 6785952"/>
              <a:gd name="connsiteY4390" fmla="*/ 4470855 h 5217112"/>
              <a:gd name="connsiteX4391" fmla="*/ 1765556 w 6785952"/>
              <a:gd name="connsiteY4391" fmla="*/ 4475504 h 5217112"/>
              <a:gd name="connsiteX4392" fmla="*/ 1743008 w 6785952"/>
              <a:gd name="connsiteY4392" fmla="*/ 4480705 h 5217112"/>
              <a:gd name="connsiteX4393" fmla="*/ 1745113 w 6785952"/>
              <a:gd name="connsiteY4393" fmla="*/ 4466982 h 5217112"/>
              <a:gd name="connsiteX4394" fmla="*/ 1749022 w 6785952"/>
              <a:gd name="connsiteY4394" fmla="*/ 4466318 h 5217112"/>
              <a:gd name="connsiteX4395" fmla="*/ 1751125 w 6785952"/>
              <a:gd name="connsiteY4395" fmla="*/ 4464768 h 5217112"/>
              <a:gd name="connsiteX4396" fmla="*/ 1749623 w 6785952"/>
              <a:gd name="connsiteY4396" fmla="*/ 4460895 h 5217112"/>
              <a:gd name="connsiteX4397" fmla="*/ 1744212 w 6785952"/>
              <a:gd name="connsiteY4397" fmla="*/ 4455140 h 5217112"/>
              <a:gd name="connsiteX4398" fmla="*/ 1754131 w 6785952"/>
              <a:gd name="connsiteY4398" fmla="*/ 4454033 h 5217112"/>
              <a:gd name="connsiteX4399" fmla="*/ 1691604 w 6785952"/>
              <a:gd name="connsiteY4399" fmla="*/ 4453037 h 5217112"/>
              <a:gd name="connsiteX4400" fmla="*/ 1705432 w 6785952"/>
              <a:gd name="connsiteY4400" fmla="*/ 4463883 h 5217112"/>
              <a:gd name="connsiteX4401" fmla="*/ 1699420 w 6785952"/>
              <a:gd name="connsiteY4401" fmla="*/ 4469527 h 5217112"/>
              <a:gd name="connsiteX4402" fmla="*/ 1705132 w 6785952"/>
              <a:gd name="connsiteY4402" fmla="*/ 4479045 h 5217112"/>
              <a:gd name="connsiteX4403" fmla="*/ 1705132 w 6785952"/>
              <a:gd name="connsiteY4403" fmla="*/ 4482476 h 5217112"/>
              <a:gd name="connsiteX4404" fmla="*/ 1707837 w 6785952"/>
              <a:gd name="connsiteY4404" fmla="*/ 4484579 h 5217112"/>
              <a:gd name="connsiteX4405" fmla="*/ 1709039 w 6785952"/>
              <a:gd name="connsiteY4405" fmla="*/ 4489891 h 5217112"/>
              <a:gd name="connsiteX4406" fmla="*/ 1705432 w 6785952"/>
              <a:gd name="connsiteY4406" fmla="*/ 4487124 h 5217112"/>
              <a:gd name="connsiteX4407" fmla="*/ 1705733 w 6785952"/>
              <a:gd name="connsiteY4407" fmla="*/ 4490776 h 5217112"/>
              <a:gd name="connsiteX4408" fmla="*/ 1678076 w 6785952"/>
              <a:gd name="connsiteY4408" fmla="*/ 4511472 h 5217112"/>
              <a:gd name="connsiteX4409" fmla="*/ 1664548 w 6785952"/>
              <a:gd name="connsiteY4409" fmla="*/ 4483472 h 5217112"/>
              <a:gd name="connsiteX4410" fmla="*/ 1665751 w 6785952"/>
              <a:gd name="connsiteY4410" fmla="*/ 4473179 h 5217112"/>
              <a:gd name="connsiteX4411" fmla="*/ 1665149 w 6785952"/>
              <a:gd name="connsiteY4411" fmla="*/ 4469859 h 5217112"/>
              <a:gd name="connsiteX4412" fmla="*/ 1668155 w 6785952"/>
              <a:gd name="connsiteY4412" fmla="*/ 4468421 h 5217112"/>
              <a:gd name="connsiteX4413" fmla="*/ 1673566 w 6785952"/>
              <a:gd name="connsiteY4413" fmla="*/ 4461559 h 5217112"/>
              <a:gd name="connsiteX4414" fmla="*/ 1680782 w 6785952"/>
              <a:gd name="connsiteY4414" fmla="*/ 4459346 h 5217112"/>
              <a:gd name="connsiteX4415" fmla="*/ 1686193 w 6785952"/>
              <a:gd name="connsiteY4415" fmla="*/ 4459899 h 5217112"/>
              <a:gd name="connsiteX4416" fmla="*/ 662599 w 6785952"/>
              <a:gd name="connsiteY4416" fmla="*/ 4453037 h 5217112"/>
              <a:gd name="connsiteX4417" fmla="*/ 676127 w 6785952"/>
              <a:gd name="connsiteY4417" fmla="*/ 4463883 h 5217112"/>
              <a:gd name="connsiteX4418" fmla="*/ 668010 w 6785952"/>
              <a:gd name="connsiteY4418" fmla="*/ 4471409 h 5217112"/>
              <a:gd name="connsiteX4419" fmla="*/ 655986 w 6785952"/>
              <a:gd name="connsiteY4419" fmla="*/ 4470523 h 5217112"/>
              <a:gd name="connsiteX4420" fmla="*/ 662599 w 6785952"/>
              <a:gd name="connsiteY4420" fmla="*/ 4453037 h 5217112"/>
              <a:gd name="connsiteX4421" fmla="*/ 5591781 w 6785952"/>
              <a:gd name="connsiteY4421" fmla="*/ 4451820 h 5217112"/>
              <a:gd name="connsiteX4422" fmla="*/ 5594786 w 6785952"/>
              <a:gd name="connsiteY4422" fmla="*/ 4455472 h 5217112"/>
              <a:gd name="connsiteX4423" fmla="*/ 5593885 w 6785952"/>
              <a:gd name="connsiteY4423" fmla="*/ 4459013 h 5217112"/>
              <a:gd name="connsiteX4424" fmla="*/ 5589677 w 6785952"/>
              <a:gd name="connsiteY4424" fmla="*/ 4464326 h 5217112"/>
              <a:gd name="connsiteX4425" fmla="*/ 5582161 w 6785952"/>
              <a:gd name="connsiteY4425" fmla="*/ 4466096 h 5217112"/>
              <a:gd name="connsiteX4426" fmla="*/ 5583664 w 6785952"/>
              <a:gd name="connsiteY4426" fmla="*/ 4465543 h 5217112"/>
              <a:gd name="connsiteX4427" fmla="*/ 5582762 w 6785952"/>
              <a:gd name="connsiteY4427" fmla="*/ 4462776 h 5217112"/>
              <a:gd name="connsiteX4428" fmla="*/ 5581260 w 6785952"/>
              <a:gd name="connsiteY4428" fmla="*/ 4463330 h 5217112"/>
              <a:gd name="connsiteX4429" fmla="*/ 5582161 w 6785952"/>
              <a:gd name="connsiteY4429" fmla="*/ 4459788 h 5217112"/>
              <a:gd name="connsiteX4430" fmla="*/ 5591781 w 6785952"/>
              <a:gd name="connsiteY4430" fmla="*/ 4451820 h 5217112"/>
              <a:gd name="connsiteX4431" fmla="*/ 4336113 w 6785952"/>
              <a:gd name="connsiteY4431" fmla="*/ 4451820 h 5217112"/>
              <a:gd name="connsiteX4432" fmla="*/ 4339119 w 6785952"/>
              <a:gd name="connsiteY4432" fmla="*/ 4455472 h 5217112"/>
              <a:gd name="connsiteX4433" fmla="*/ 4338217 w 6785952"/>
              <a:gd name="connsiteY4433" fmla="*/ 4459013 h 5217112"/>
              <a:gd name="connsiteX4434" fmla="*/ 4334309 w 6785952"/>
              <a:gd name="connsiteY4434" fmla="*/ 4464326 h 5217112"/>
              <a:gd name="connsiteX4435" fmla="*/ 4326493 w 6785952"/>
              <a:gd name="connsiteY4435" fmla="*/ 4466096 h 5217112"/>
              <a:gd name="connsiteX4436" fmla="*/ 4327996 w 6785952"/>
              <a:gd name="connsiteY4436" fmla="*/ 4465543 h 5217112"/>
              <a:gd name="connsiteX4437" fmla="*/ 4327395 w 6785952"/>
              <a:gd name="connsiteY4437" fmla="*/ 4462776 h 5217112"/>
              <a:gd name="connsiteX4438" fmla="*/ 4325591 w 6785952"/>
              <a:gd name="connsiteY4438" fmla="*/ 4463330 h 5217112"/>
              <a:gd name="connsiteX4439" fmla="*/ 4326493 w 6785952"/>
              <a:gd name="connsiteY4439" fmla="*/ 4459788 h 5217112"/>
              <a:gd name="connsiteX4440" fmla="*/ 4336113 w 6785952"/>
              <a:gd name="connsiteY4440" fmla="*/ 4451820 h 5217112"/>
              <a:gd name="connsiteX4441" fmla="*/ 2827326 w 6785952"/>
              <a:gd name="connsiteY4441" fmla="*/ 4451820 h 5217112"/>
              <a:gd name="connsiteX4442" fmla="*/ 2830333 w 6785952"/>
              <a:gd name="connsiteY4442" fmla="*/ 4455472 h 5217112"/>
              <a:gd name="connsiteX4443" fmla="*/ 2829131 w 6785952"/>
              <a:gd name="connsiteY4443" fmla="*/ 4459013 h 5217112"/>
              <a:gd name="connsiteX4444" fmla="*/ 2825222 w 6785952"/>
              <a:gd name="connsiteY4444" fmla="*/ 4464326 h 5217112"/>
              <a:gd name="connsiteX4445" fmla="*/ 2817407 w 6785952"/>
              <a:gd name="connsiteY4445" fmla="*/ 4466096 h 5217112"/>
              <a:gd name="connsiteX4446" fmla="*/ 2819210 w 6785952"/>
              <a:gd name="connsiteY4446" fmla="*/ 4465543 h 5217112"/>
              <a:gd name="connsiteX4447" fmla="*/ 2818308 w 6785952"/>
              <a:gd name="connsiteY4447" fmla="*/ 4462776 h 5217112"/>
              <a:gd name="connsiteX4448" fmla="*/ 2816805 w 6785952"/>
              <a:gd name="connsiteY4448" fmla="*/ 4463330 h 5217112"/>
              <a:gd name="connsiteX4449" fmla="*/ 2817407 w 6785952"/>
              <a:gd name="connsiteY4449" fmla="*/ 4459788 h 5217112"/>
              <a:gd name="connsiteX4450" fmla="*/ 2827326 w 6785952"/>
              <a:gd name="connsiteY4450" fmla="*/ 4451820 h 5217112"/>
              <a:gd name="connsiteX4451" fmla="*/ 1798021 w 6785952"/>
              <a:gd name="connsiteY4451" fmla="*/ 4451820 h 5217112"/>
              <a:gd name="connsiteX4452" fmla="*/ 1801027 w 6785952"/>
              <a:gd name="connsiteY4452" fmla="*/ 4455472 h 5217112"/>
              <a:gd name="connsiteX4453" fmla="*/ 1800126 w 6785952"/>
              <a:gd name="connsiteY4453" fmla="*/ 4459013 h 5217112"/>
              <a:gd name="connsiteX4454" fmla="*/ 1795918 w 6785952"/>
              <a:gd name="connsiteY4454" fmla="*/ 4464326 h 5217112"/>
              <a:gd name="connsiteX4455" fmla="*/ 1788402 w 6785952"/>
              <a:gd name="connsiteY4455" fmla="*/ 4466096 h 5217112"/>
              <a:gd name="connsiteX4456" fmla="*/ 1789904 w 6785952"/>
              <a:gd name="connsiteY4456" fmla="*/ 4465543 h 5217112"/>
              <a:gd name="connsiteX4457" fmla="*/ 1789303 w 6785952"/>
              <a:gd name="connsiteY4457" fmla="*/ 4462776 h 5217112"/>
              <a:gd name="connsiteX4458" fmla="*/ 1787499 w 6785952"/>
              <a:gd name="connsiteY4458" fmla="*/ 4463330 h 5217112"/>
              <a:gd name="connsiteX4459" fmla="*/ 1788402 w 6785952"/>
              <a:gd name="connsiteY4459" fmla="*/ 4459788 h 5217112"/>
              <a:gd name="connsiteX4460" fmla="*/ 1798021 w 6785952"/>
              <a:gd name="connsiteY4460" fmla="*/ 4451820 h 5217112"/>
              <a:gd name="connsiteX4461" fmla="*/ 5416222 w 6785952"/>
              <a:gd name="connsiteY4461" fmla="*/ 4451709 h 5217112"/>
              <a:gd name="connsiteX4462" fmla="*/ 5424338 w 6785952"/>
              <a:gd name="connsiteY4462" fmla="*/ 4454033 h 5217112"/>
              <a:gd name="connsiteX4463" fmla="*/ 5416522 w 6785952"/>
              <a:gd name="connsiteY4463" fmla="*/ 4488341 h 5217112"/>
              <a:gd name="connsiteX4464" fmla="*/ 5416222 w 6785952"/>
              <a:gd name="connsiteY4464" fmla="*/ 4451709 h 5217112"/>
              <a:gd name="connsiteX4465" fmla="*/ 1622763 w 6785952"/>
              <a:gd name="connsiteY4465" fmla="*/ 4451709 h 5217112"/>
              <a:gd name="connsiteX4466" fmla="*/ 1630880 w 6785952"/>
              <a:gd name="connsiteY4466" fmla="*/ 4454033 h 5217112"/>
              <a:gd name="connsiteX4467" fmla="*/ 1631781 w 6785952"/>
              <a:gd name="connsiteY4467" fmla="*/ 4482254 h 5217112"/>
              <a:gd name="connsiteX4468" fmla="*/ 1623364 w 6785952"/>
              <a:gd name="connsiteY4468" fmla="*/ 4487899 h 5217112"/>
              <a:gd name="connsiteX4469" fmla="*/ 1627272 w 6785952"/>
              <a:gd name="connsiteY4469" fmla="*/ 4491662 h 5217112"/>
              <a:gd name="connsiteX4470" fmla="*/ 1632082 w 6785952"/>
              <a:gd name="connsiteY4470" fmla="*/ 4495203 h 5217112"/>
              <a:gd name="connsiteX4471" fmla="*/ 1632082 w 6785952"/>
              <a:gd name="connsiteY4471" fmla="*/ 4505717 h 5217112"/>
              <a:gd name="connsiteX4472" fmla="*/ 1625769 w 6785952"/>
              <a:gd name="connsiteY4472" fmla="*/ 4510033 h 5217112"/>
              <a:gd name="connsiteX4473" fmla="*/ 1619757 w 6785952"/>
              <a:gd name="connsiteY4473" fmla="*/ 4509480 h 5217112"/>
              <a:gd name="connsiteX4474" fmla="*/ 1615548 w 6785952"/>
              <a:gd name="connsiteY4474" fmla="*/ 4507156 h 5217112"/>
              <a:gd name="connsiteX4475" fmla="*/ 1612843 w 6785952"/>
              <a:gd name="connsiteY4475" fmla="*/ 4509480 h 5217112"/>
              <a:gd name="connsiteX4476" fmla="*/ 1616450 w 6785952"/>
              <a:gd name="connsiteY4476" fmla="*/ 4484689 h 5217112"/>
              <a:gd name="connsiteX4477" fmla="*/ 1621260 w 6785952"/>
              <a:gd name="connsiteY4477" fmla="*/ 4486460 h 5217112"/>
              <a:gd name="connsiteX4478" fmla="*/ 1614646 w 6785952"/>
              <a:gd name="connsiteY4478" fmla="*/ 4478270 h 5217112"/>
              <a:gd name="connsiteX4479" fmla="*/ 1622763 w 6785952"/>
              <a:gd name="connsiteY4479" fmla="*/ 4451709 h 5217112"/>
              <a:gd name="connsiteX4480" fmla="*/ 5623646 w 6785952"/>
              <a:gd name="connsiteY4480" fmla="*/ 4451045 h 5217112"/>
              <a:gd name="connsiteX4481" fmla="*/ 5624549 w 6785952"/>
              <a:gd name="connsiteY4481" fmla="*/ 4462776 h 5217112"/>
              <a:gd name="connsiteX4482" fmla="*/ 5623045 w 6785952"/>
              <a:gd name="connsiteY4482" fmla="*/ 4464215 h 5217112"/>
              <a:gd name="connsiteX4483" fmla="*/ 5623646 w 6785952"/>
              <a:gd name="connsiteY4483" fmla="*/ 4451045 h 5217112"/>
              <a:gd name="connsiteX4484" fmla="*/ 4368278 w 6785952"/>
              <a:gd name="connsiteY4484" fmla="*/ 4451045 h 5217112"/>
              <a:gd name="connsiteX4485" fmla="*/ 4368880 w 6785952"/>
              <a:gd name="connsiteY4485" fmla="*/ 4462776 h 5217112"/>
              <a:gd name="connsiteX4486" fmla="*/ 4367376 w 6785952"/>
              <a:gd name="connsiteY4486" fmla="*/ 4464215 h 5217112"/>
              <a:gd name="connsiteX4487" fmla="*/ 4368278 w 6785952"/>
              <a:gd name="connsiteY4487" fmla="*/ 4451045 h 5217112"/>
              <a:gd name="connsiteX4488" fmla="*/ 2859192 w 6785952"/>
              <a:gd name="connsiteY4488" fmla="*/ 4451045 h 5217112"/>
              <a:gd name="connsiteX4489" fmla="*/ 2859793 w 6785952"/>
              <a:gd name="connsiteY4489" fmla="*/ 4462776 h 5217112"/>
              <a:gd name="connsiteX4490" fmla="*/ 2858290 w 6785952"/>
              <a:gd name="connsiteY4490" fmla="*/ 4464215 h 5217112"/>
              <a:gd name="connsiteX4491" fmla="*/ 2859192 w 6785952"/>
              <a:gd name="connsiteY4491" fmla="*/ 4451045 h 5217112"/>
              <a:gd name="connsiteX4492" fmla="*/ 1830188 w 6785952"/>
              <a:gd name="connsiteY4492" fmla="*/ 4451045 h 5217112"/>
              <a:gd name="connsiteX4493" fmla="*/ 1830788 w 6785952"/>
              <a:gd name="connsiteY4493" fmla="*/ 4462776 h 5217112"/>
              <a:gd name="connsiteX4494" fmla="*/ 1829286 w 6785952"/>
              <a:gd name="connsiteY4494" fmla="*/ 4464215 h 5217112"/>
              <a:gd name="connsiteX4495" fmla="*/ 1830188 w 6785952"/>
              <a:gd name="connsiteY4495" fmla="*/ 4451045 h 5217112"/>
              <a:gd name="connsiteX4496" fmla="*/ 5537069 w 6785952"/>
              <a:gd name="connsiteY4496" fmla="*/ 4450934 h 5217112"/>
              <a:gd name="connsiteX4497" fmla="*/ 5533161 w 6785952"/>
              <a:gd name="connsiteY4497" fmla="*/ 4460342 h 5217112"/>
              <a:gd name="connsiteX4498" fmla="*/ 5527449 w 6785952"/>
              <a:gd name="connsiteY4498" fmla="*/ 4460784 h 5217112"/>
              <a:gd name="connsiteX4499" fmla="*/ 5528050 w 6785952"/>
              <a:gd name="connsiteY4499" fmla="*/ 4464990 h 5217112"/>
              <a:gd name="connsiteX4500" fmla="*/ 5518731 w 6785952"/>
              <a:gd name="connsiteY4500" fmla="*/ 4475614 h 5217112"/>
              <a:gd name="connsiteX4501" fmla="*/ 5503701 w 6785952"/>
              <a:gd name="connsiteY4501" fmla="*/ 4458571 h 5217112"/>
              <a:gd name="connsiteX4502" fmla="*/ 5522038 w 6785952"/>
              <a:gd name="connsiteY4502" fmla="*/ 4452373 h 5217112"/>
              <a:gd name="connsiteX4503" fmla="*/ 5523842 w 6785952"/>
              <a:gd name="connsiteY4503" fmla="*/ 4453812 h 5217112"/>
              <a:gd name="connsiteX4504" fmla="*/ 5525345 w 6785952"/>
              <a:gd name="connsiteY4504" fmla="*/ 4452816 h 5217112"/>
              <a:gd name="connsiteX4505" fmla="*/ 5537069 w 6785952"/>
              <a:gd name="connsiteY4505" fmla="*/ 4450934 h 5217112"/>
              <a:gd name="connsiteX4506" fmla="*/ 1743611 w 6785952"/>
              <a:gd name="connsiteY4506" fmla="*/ 4450934 h 5217112"/>
              <a:gd name="connsiteX4507" fmla="*/ 1739702 w 6785952"/>
              <a:gd name="connsiteY4507" fmla="*/ 4460342 h 5217112"/>
              <a:gd name="connsiteX4508" fmla="*/ 1733990 w 6785952"/>
              <a:gd name="connsiteY4508" fmla="*/ 4460784 h 5217112"/>
              <a:gd name="connsiteX4509" fmla="*/ 1734291 w 6785952"/>
              <a:gd name="connsiteY4509" fmla="*/ 4464990 h 5217112"/>
              <a:gd name="connsiteX4510" fmla="*/ 1724972 w 6785952"/>
              <a:gd name="connsiteY4510" fmla="*/ 4475614 h 5217112"/>
              <a:gd name="connsiteX4511" fmla="*/ 1709942 w 6785952"/>
              <a:gd name="connsiteY4511" fmla="*/ 4458571 h 5217112"/>
              <a:gd name="connsiteX4512" fmla="*/ 1728579 w 6785952"/>
              <a:gd name="connsiteY4512" fmla="*/ 4452373 h 5217112"/>
              <a:gd name="connsiteX4513" fmla="*/ 1730083 w 6785952"/>
              <a:gd name="connsiteY4513" fmla="*/ 4453812 h 5217112"/>
              <a:gd name="connsiteX4514" fmla="*/ 1731585 w 6785952"/>
              <a:gd name="connsiteY4514" fmla="*/ 4452816 h 5217112"/>
              <a:gd name="connsiteX4515" fmla="*/ 1743611 w 6785952"/>
              <a:gd name="connsiteY4515" fmla="*/ 4450934 h 5217112"/>
              <a:gd name="connsiteX4516" fmla="*/ 5447186 w 6785952"/>
              <a:gd name="connsiteY4516" fmla="*/ 4450713 h 5217112"/>
              <a:gd name="connsiteX4517" fmla="*/ 5451995 w 6785952"/>
              <a:gd name="connsiteY4517" fmla="*/ 4450824 h 5217112"/>
              <a:gd name="connsiteX4518" fmla="*/ 5451694 w 6785952"/>
              <a:gd name="connsiteY4518" fmla="*/ 4459346 h 5217112"/>
              <a:gd name="connsiteX4519" fmla="*/ 5447186 w 6785952"/>
              <a:gd name="connsiteY4519" fmla="*/ 4450713 h 5217112"/>
              <a:gd name="connsiteX4520" fmla="*/ 1653426 w 6785952"/>
              <a:gd name="connsiteY4520" fmla="*/ 4450713 h 5217112"/>
              <a:gd name="connsiteX4521" fmla="*/ 1658536 w 6785952"/>
              <a:gd name="connsiteY4521" fmla="*/ 4450824 h 5217112"/>
              <a:gd name="connsiteX4522" fmla="*/ 1657935 w 6785952"/>
              <a:gd name="connsiteY4522" fmla="*/ 4459346 h 5217112"/>
              <a:gd name="connsiteX4523" fmla="*/ 1653426 w 6785952"/>
              <a:gd name="connsiteY4523" fmla="*/ 4450713 h 5217112"/>
              <a:gd name="connsiteX4524" fmla="*/ 5268319 w 6785952"/>
              <a:gd name="connsiteY4524" fmla="*/ 4450602 h 5217112"/>
              <a:gd name="connsiteX4525" fmla="*/ 5298982 w 6785952"/>
              <a:gd name="connsiteY4525" fmla="*/ 4465654 h 5217112"/>
              <a:gd name="connsiteX4526" fmla="*/ 5268319 w 6785952"/>
              <a:gd name="connsiteY4526" fmla="*/ 4450602 h 5217112"/>
              <a:gd name="connsiteX4527" fmla="*/ 2503865 w 6785952"/>
              <a:gd name="connsiteY4527" fmla="*/ 4450602 h 5217112"/>
              <a:gd name="connsiteX4528" fmla="*/ 2534528 w 6785952"/>
              <a:gd name="connsiteY4528" fmla="*/ 4465654 h 5217112"/>
              <a:gd name="connsiteX4529" fmla="*/ 2503865 w 6785952"/>
              <a:gd name="connsiteY4529" fmla="*/ 4450602 h 5217112"/>
              <a:gd name="connsiteX4530" fmla="*/ 1474861 w 6785952"/>
              <a:gd name="connsiteY4530" fmla="*/ 4450602 h 5217112"/>
              <a:gd name="connsiteX4531" fmla="*/ 1505523 w 6785952"/>
              <a:gd name="connsiteY4531" fmla="*/ 4465654 h 5217112"/>
              <a:gd name="connsiteX4532" fmla="*/ 1474861 w 6785952"/>
              <a:gd name="connsiteY4532" fmla="*/ 4450602 h 5217112"/>
              <a:gd name="connsiteX4533" fmla="*/ 5567732 w 6785952"/>
              <a:gd name="connsiteY4533" fmla="*/ 4449828 h 5217112"/>
              <a:gd name="connsiteX4534" fmla="*/ 5574346 w 6785952"/>
              <a:gd name="connsiteY4534" fmla="*/ 4454697 h 5217112"/>
              <a:gd name="connsiteX4535" fmla="*/ 5574647 w 6785952"/>
              <a:gd name="connsiteY4535" fmla="*/ 4461006 h 5217112"/>
              <a:gd name="connsiteX4536" fmla="*/ 5567732 w 6785952"/>
              <a:gd name="connsiteY4536" fmla="*/ 4449828 h 5217112"/>
              <a:gd name="connsiteX4537" fmla="*/ 2803278 w 6785952"/>
              <a:gd name="connsiteY4537" fmla="*/ 4449828 h 5217112"/>
              <a:gd name="connsiteX4538" fmla="*/ 2809891 w 6785952"/>
              <a:gd name="connsiteY4538" fmla="*/ 4454697 h 5217112"/>
              <a:gd name="connsiteX4539" fmla="*/ 2810192 w 6785952"/>
              <a:gd name="connsiteY4539" fmla="*/ 4461006 h 5217112"/>
              <a:gd name="connsiteX4540" fmla="*/ 2803278 w 6785952"/>
              <a:gd name="connsiteY4540" fmla="*/ 4449828 h 5217112"/>
              <a:gd name="connsiteX4541" fmla="*/ 1774273 w 6785952"/>
              <a:gd name="connsiteY4541" fmla="*/ 4449828 h 5217112"/>
              <a:gd name="connsiteX4542" fmla="*/ 1780586 w 6785952"/>
              <a:gd name="connsiteY4542" fmla="*/ 4454697 h 5217112"/>
              <a:gd name="connsiteX4543" fmla="*/ 1780886 w 6785952"/>
              <a:gd name="connsiteY4543" fmla="*/ 4461006 h 5217112"/>
              <a:gd name="connsiteX4544" fmla="*/ 1774273 w 6785952"/>
              <a:gd name="connsiteY4544" fmla="*/ 4449828 h 5217112"/>
              <a:gd name="connsiteX4545" fmla="*/ 5474542 w 6785952"/>
              <a:gd name="connsiteY4545" fmla="*/ 4448278 h 5217112"/>
              <a:gd name="connsiteX4546" fmla="*/ 5461013 w 6785952"/>
              <a:gd name="connsiteY4546" fmla="*/ 4461006 h 5217112"/>
              <a:gd name="connsiteX4547" fmla="*/ 5474542 w 6785952"/>
              <a:gd name="connsiteY4547" fmla="*/ 4448278 h 5217112"/>
              <a:gd name="connsiteX4548" fmla="*/ 1680782 w 6785952"/>
              <a:gd name="connsiteY4548" fmla="*/ 4448278 h 5217112"/>
              <a:gd name="connsiteX4549" fmla="*/ 1667554 w 6785952"/>
              <a:gd name="connsiteY4549" fmla="*/ 4461006 h 5217112"/>
              <a:gd name="connsiteX4550" fmla="*/ 1680782 w 6785952"/>
              <a:gd name="connsiteY4550" fmla="*/ 4448278 h 5217112"/>
              <a:gd name="connsiteX4551" fmla="*/ 6076372 w 6785952"/>
              <a:gd name="connsiteY4551" fmla="*/ 4447836 h 5217112"/>
              <a:gd name="connsiteX4552" fmla="*/ 6080581 w 6785952"/>
              <a:gd name="connsiteY4552" fmla="*/ 4454587 h 5217112"/>
              <a:gd name="connsiteX4553" fmla="*/ 6079077 w 6785952"/>
              <a:gd name="connsiteY4553" fmla="*/ 4456025 h 5217112"/>
              <a:gd name="connsiteX4554" fmla="*/ 6076372 w 6785952"/>
              <a:gd name="connsiteY4554" fmla="*/ 4447836 h 5217112"/>
              <a:gd name="connsiteX4555" fmla="*/ 2282613 w 6785952"/>
              <a:gd name="connsiteY4555" fmla="*/ 4447836 h 5217112"/>
              <a:gd name="connsiteX4556" fmla="*/ 2287122 w 6785952"/>
              <a:gd name="connsiteY4556" fmla="*/ 4454587 h 5217112"/>
              <a:gd name="connsiteX4557" fmla="*/ 2285318 w 6785952"/>
              <a:gd name="connsiteY4557" fmla="*/ 4456025 h 5217112"/>
              <a:gd name="connsiteX4558" fmla="*/ 2282613 w 6785952"/>
              <a:gd name="connsiteY4558" fmla="*/ 4447836 h 5217112"/>
              <a:gd name="connsiteX4559" fmla="*/ 2332815 w 6785952"/>
              <a:gd name="connsiteY4559" fmla="*/ 4447614 h 5217112"/>
              <a:gd name="connsiteX4560" fmla="*/ 2339428 w 6785952"/>
              <a:gd name="connsiteY4560" fmla="*/ 4449606 h 5217112"/>
              <a:gd name="connsiteX4561" fmla="*/ 2324999 w 6785952"/>
              <a:gd name="connsiteY4561" fmla="*/ 4465654 h 5217112"/>
              <a:gd name="connsiteX4562" fmla="*/ 2318085 w 6785952"/>
              <a:gd name="connsiteY4562" fmla="*/ 4459124 h 5217112"/>
              <a:gd name="connsiteX4563" fmla="*/ 2332815 w 6785952"/>
              <a:gd name="connsiteY4563" fmla="*/ 4447614 h 5217112"/>
              <a:gd name="connsiteX4564" fmla="*/ 1303510 w 6785952"/>
              <a:gd name="connsiteY4564" fmla="*/ 4447614 h 5217112"/>
              <a:gd name="connsiteX4565" fmla="*/ 1310123 w 6785952"/>
              <a:gd name="connsiteY4565" fmla="*/ 4449606 h 5217112"/>
              <a:gd name="connsiteX4566" fmla="*/ 1295994 w 6785952"/>
              <a:gd name="connsiteY4566" fmla="*/ 4465654 h 5217112"/>
              <a:gd name="connsiteX4567" fmla="*/ 1289081 w 6785952"/>
              <a:gd name="connsiteY4567" fmla="*/ 4459124 h 5217112"/>
              <a:gd name="connsiteX4568" fmla="*/ 1303510 w 6785952"/>
              <a:gd name="connsiteY4568" fmla="*/ 4447614 h 5217112"/>
              <a:gd name="connsiteX4569" fmla="*/ 5773953 w 6785952"/>
              <a:gd name="connsiteY4569" fmla="*/ 4445180 h 5217112"/>
              <a:gd name="connsiteX4570" fmla="*/ 5783272 w 6785952"/>
              <a:gd name="connsiteY4570" fmla="*/ 4450934 h 5217112"/>
              <a:gd name="connsiteX4571" fmla="*/ 5788383 w 6785952"/>
              <a:gd name="connsiteY4571" fmla="*/ 4450270 h 5217112"/>
              <a:gd name="connsiteX4572" fmla="*/ 5790789 w 6785952"/>
              <a:gd name="connsiteY4572" fmla="*/ 4452373 h 5217112"/>
              <a:gd name="connsiteX4573" fmla="*/ 5792291 w 6785952"/>
              <a:gd name="connsiteY4573" fmla="*/ 4451156 h 5217112"/>
              <a:gd name="connsiteX4574" fmla="*/ 5795598 w 6785952"/>
              <a:gd name="connsiteY4574" fmla="*/ 4447504 h 5217112"/>
              <a:gd name="connsiteX4575" fmla="*/ 5808525 w 6785952"/>
              <a:gd name="connsiteY4575" fmla="*/ 4462334 h 5217112"/>
              <a:gd name="connsiteX4576" fmla="*/ 5807321 w 6785952"/>
              <a:gd name="connsiteY4576" fmla="*/ 4468753 h 5217112"/>
              <a:gd name="connsiteX4577" fmla="*/ 5797702 w 6785952"/>
              <a:gd name="connsiteY4577" fmla="*/ 4464547 h 5217112"/>
              <a:gd name="connsiteX4578" fmla="*/ 5792892 w 6785952"/>
              <a:gd name="connsiteY4578" fmla="*/ 4459567 h 5217112"/>
              <a:gd name="connsiteX4579" fmla="*/ 5792291 w 6785952"/>
              <a:gd name="connsiteY4579" fmla="*/ 4460231 h 5217112"/>
              <a:gd name="connsiteX4580" fmla="*/ 5787481 w 6785952"/>
              <a:gd name="connsiteY4580" fmla="*/ 4460563 h 5217112"/>
              <a:gd name="connsiteX4581" fmla="*/ 5779666 w 6785952"/>
              <a:gd name="connsiteY4581" fmla="*/ 4450824 h 5217112"/>
              <a:gd name="connsiteX4582" fmla="*/ 5773953 w 6785952"/>
              <a:gd name="connsiteY4582" fmla="*/ 4445180 h 5217112"/>
              <a:gd name="connsiteX4583" fmla="*/ 1980194 w 6785952"/>
              <a:gd name="connsiteY4583" fmla="*/ 4445180 h 5217112"/>
              <a:gd name="connsiteX4584" fmla="*/ 1989513 w 6785952"/>
              <a:gd name="connsiteY4584" fmla="*/ 4450934 h 5217112"/>
              <a:gd name="connsiteX4585" fmla="*/ 1994623 w 6785952"/>
              <a:gd name="connsiteY4585" fmla="*/ 4450270 h 5217112"/>
              <a:gd name="connsiteX4586" fmla="*/ 1997028 w 6785952"/>
              <a:gd name="connsiteY4586" fmla="*/ 4452373 h 5217112"/>
              <a:gd name="connsiteX4587" fmla="*/ 1998833 w 6785952"/>
              <a:gd name="connsiteY4587" fmla="*/ 4451156 h 5217112"/>
              <a:gd name="connsiteX4588" fmla="*/ 2001839 w 6785952"/>
              <a:gd name="connsiteY4588" fmla="*/ 4447504 h 5217112"/>
              <a:gd name="connsiteX4589" fmla="*/ 2014764 w 6785952"/>
              <a:gd name="connsiteY4589" fmla="*/ 4462334 h 5217112"/>
              <a:gd name="connsiteX4590" fmla="*/ 2013562 w 6785952"/>
              <a:gd name="connsiteY4590" fmla="*/ 4468753 h 5217112"/>
              <a:gd name="connsiteX4591" fmla="*/ 2003942 w 6785952"/>
              <a:gd name="connsiteY4591" fmla="*/ 4464547 h 5217112"/>
              <a:gd name="connsiteX4592" fmla="*/ 1999133 w 6785952"/>
              <a:gd name="connsiteY4592" fmla="*/ 4459567 h 5217112"/>
              <a:gd name="connsiteX4593" fmla="*/ 1998532 w 6785952"/>
              <a:gd name="connsiteY4593" fmla="*/ 4460231 h 5217112"/>
              <a:gd name="connsiteX4594" fmla="*/ 1993722 w 6785952"/>
              <a:gd name="connsiteY4594" fmla="*/ 4460563 h 5217112"/>
              <a:gd name="connsiteX4595" fmla="*/ 1985906 w 6785952"/>
              <a:gd name="connsiteY4595" fmla="*/ 4450824 h 5217112"/>
              <a:gd name="connsiteX4596" fmla="*/ 1980194 w 6785952"/>
              <a:gd name="connsiteY4596" fmla="*/ 4445180 h 5217112"/>
              <a:gd name="connsiteX4597" fmla="*/ 5564726 w 6785952"/>
              <a:gd name="connsiteY4597" fmla="*/ 4444516 h 5217112"/>
              <a:gd name="connsiteX4598" fmla="*/ 5565627 w 6785952"/>
              <a:gd name="connsiteY4598" fmla="*/ 4445180 h 5217112"/>
              <a:gd name="connsiteX4599" fmla="*/ 5567431 w 6785952"/>
              <a:gd name="connsiteY4599" fmla="*/ 4449828 h 5217112"/>
              <a:gd name="connsiteX4600" fmla="*/ 5562621 w 6785952"/>
              <a:gd name="connsiteY4600" fmla="*/ 4446508 h 5217112"/>
              <a:gd name="connsiteX4601" fmla="*/ 5564125 w 6785952"/>
              <a:gd name="connsiteY4601" fmla="*/ 4445069 h 5217112"/>
              <a:gd name="connsiteX4602" fmla="*/ 5562621 w 6785952"/>
              <a:gd name="connsiteY4602" fmla="*/ 4444958 h 5217112"/>
              <a:gd name="connsiteX4603" fmla="*/ 5564726 w 6785952"/>
              <a:gd name="connsiteY4603" fmla="*/ 4444516 h 5217112"/>
              <a:gd name="connsiteX4604" fmla="*/ 2799970 w 6785952"/>
              <a:gd name="connsiteY4604" fmla="*/ 4444516 h 5217112"/>
              <a:gd name="connsiteX4605" fmla="*/ 2801173 w 6785952"/>
              <a:gd name="connsiteY4605" fmla="*/ 4445180 h 5217112"/>
              <a:gd name="connsiteX4606" fmla="*/ 2802977 w 6785952"/>
              <a:gd name="connsiteY4606" fmla="*/ 4449828 h 5217112"/>
              <a:gd name="connsiteX4607" fmla="*/ 2798168 w 6785952"/>
              <a:gd name="connsiteY4607" fmla="*/ 4446508 h 5217112"/>
              <a:gd name="connsiteX4608" fmla="*/ 2799670 w 6785952"/>
              <a:gd name="connsiteY4608" fmla="*/ 4445069 h 5217112"/>
              <a:gd name="connsiteX4609" fmla="*/ 2798168 w 6785952"/>
              <a:gd name="connsiteY4609" fmla="*/ 4444958 h 5217112"/>
              <a:gd name="connsiteX4610" fmla="*/ 2799970 w 6785952"/>
              <a:gd name="connsiteY4610" fmla="*/ 4444516 h 5217112"/>
              <a:gd name="connsiteX4611" fmla="*/ 1770967 w 6785952"/>
              <a:gd name="connsiteY4611" fmla="*/ 4444516 h 5217112"/>
              <a:gd name="connsiteX4612" fmla="*/ 1772169 w 6785952"/>
              <a:gd name="connsiteY4612" fmla="*/ 4445180 h 5217112"/>
              <a:gd name="connsiteX4613" fmla="*/ 1773973 w 6785952"/>
              <a:gd name="connsiteY4613" fmla="*/ 4449828 h 5217112"/>
              <a:gd name="connsiteX4614" fmla="*/ 1768862 w 6785952"/>
              <a:gd name="connsiteY4614" fmla="*/ 4446508 h 5217112"/>
              <a:gd name="connsiteX4615" fmla="*/ 1770365 w 6785952"/>
              <a:gd name="connsiteY4615" fmla="*/ 4445069 h 5217112"/>
              <a:gd name="connsiteX4616" fmla="*/ 1768862 w 6785952"/>
              <a:gd name="connsiteY4616" fmla="*/ 4444958 h 5217112"/>
              <a:gd name="connsiteX4617" fmla="*/ 1770967 w 6785952"/>
              <a:gd name="connsiteY4617" fmla="*/ 4444516 h 5217112"/>
              <a:gd name="connsiteX4618" fmla="*/ 5208197 w 6785952"/>
              <a:gd name="connsiteY4618" fmla="*/ 4444184 h 5217112"/>
              <a:gd name="connsiteX4619" fmla="*/ 5200680 w 6785952"/>
              <a:gd name="connsiteY4619" fmla="*/ 4452373 h 5217112"/>
              <a:gd name="connsiteX4620" fmla="*/ 5198577 w 6785952"/>
              <a:gd name="connsiteY4620" fmla="*/ 4448278 h 5217112"/>
              <a:gd name="connsiteX4621" fmla="*/ 5208197 w 6785952"/>
              <a:gd name="connsiteY4621" fmla="*/ 4444184 h 5217112"/>
              <a:gd name="connsiteX4622" fmla="*/ 1414437 w 6785952"/>
              <a:gd name="connsiteY4622" fmla="*/ 4444184 h 5217112"/>
              <a:gd name="connsiteX4623" fmla="*/ 1407222 w 6785952"/>
              <a:gd name="connsiteY4623" fmla="*/ 4452373 h 5217112"/>
              <a:gd name="connsiteX4624" fmla="*/ 1405118 w 6785952"/>
              <a:gd name="connsiteY4624" fmla="*/ 4448278 h 5217112"/>
              <a:gd name="connsiteX4625" fmla="*/ 1414437 w 6785952"/>
              <a:gd name="connsiteY4625" fmla="*/ 4444184 h 5217112"/>
              <a:gd name="connsiteX4626" fmla="*/ 1071435 w 6785952"/>
              <a:gd name="connsiteY4626" fmla="*/ 4442745 h 5217112"/>
              <a:gd name="connsiteX4627" fmla="*/ 1083460 w 6785952"/>
              <a:gd name="connsiteY4627" fmla="*/ 4453259 h 5217112"/>
              <a:gd name="connsiteX4628" fmla="*/ 1078650 w 6785952"/>
              <a:gd name="connsiteY4628" fmla="*/ 4457353 h 5217112"/>
              <a:gd name="connsiteX4629" fmla="*/ 1078951 w 6785952"/>
              <a:gd name="connsiteY4629" fmla="*/ 4457464 h 5217112"/>
              <a:gd name="connsiteX4630" fmla="*/ 1086767 w 6785952"/>
              <a:gd name="connsiteY4630" fmla="*/ 4458349 h 5217112"/>
              <a:gd name="connsiteX4631" fmla="*/ 1089773 w 6785952"/>
              <a:gd name="connsiteY4631" fmla="*/ 4461780 h 5217112"/>
              <a:gd name="connsiteX4632" fmla="*/ 1089773 w 6785952"/>
              <a:gd name="connsiteY4632" fmla="*/ 4463219 h 5217112"/>
              <a:gd name="connsiteX4633" fmla="*/ 1086466 w 6785952"/>
              <a:gd name="connsiteY4633" fmla="*/ 4464104 h 5217112"/>
              <a:gd name="connsiteX4634" fmla="*/ 1070834 w 6785952"/>
              <a:gd name="connsiteY4634" fmla="*/ 4461006 h 5217112"/>
              <a:gd name="connsiteX4635" fmla="*/ 1069031 w 6785952"/>
              <a:gd name="connsiteY4635" fmla="*/ 4460784 h 5217112"/>
              <a:gd name="connsiteX4636" fmla="*/ 1062116 w 6785952"/>
              <a:gd name="connsiteY4636" fmla="*/ 4460452 h 5217112"/>
              <a:gd name="connsiteX4637" fmla="*/ 1071435 w 6785952"/>
              <a:gd name="connsiteY4637" fmla="*/ 4442745 h 5217112"/>
              <a:gd name="connsiteX4638" fmla="*/ 5131840 w 6785952"/>
              <a:gd name="connsiteY4638" fmla="*/ 4441085 h 5217112"/>
              <a:gd name="connsiteX4639" fmla="*/ 5141761 w 6785952"/>
              <a:gd name="connsiteY4639" fmla="*/ 4445180 h 5217112"/>
              <a:gd name="connsiteX4640" fmla="*/ 5142663 w 6785952"/>
              <a:gd name="connsiteY4640" fmla="*/ 4453701 h 5217112"/>
              <a:gd name="connsiteX4641" fmla="*/ 5128232 w 6785952"/>
              <a:gd name="connsiteY4641" fmla="*/ 4460784 h 5217112"/>
              <a:gd name="connsiteX4642" fmla="*/ 5119816 w 6785952"/>
              <a:gd name="connsiteY4642" fmla="*/ 4448389 h 5217112"/>
              <a:gd name="connsiteX4643" fmla="*/ 5131840 w 6785952"/>
              <a:gd name="connsiteY4643" fmla="*/ 4441085 h 5217112"/>
              <a:gd name="connsiteX4644" fmla="*/ 2367085 w 6785952"/>
              <a:gd name="connsiteY4644" fmla="*/ 4441085 h 5217112"/>
              <a:gd name="connsiteX4645" fmla="*/ 2377006 w 6785952"/>
              <a:gd name="connsiteY4645" fmla="*/ 4445180 h 5217112"/>
              <a:gd name="connsiteX4646" fmla="*/ 2378208 w 6785952"/>
              <a:gd name="connsiteY4646" fmla="*/ 4453701 h 5217112"/>
              <a:gd name="connsiteX4647" fmla="*/ 2363778 w 6785952"/>
              <a:gd name="connsiteY4647" fmla="*/ 4460784 h 5217112"/>
              <a:gd name="connsiteX4648" fmla="*/ 2355361 w 6785952"/>
              <a:gd name="connsiteY4648" fmla="*/ 4448389 h 5217112"/>
              <a:gd name="connsiteX4649" fmla="*/ 2367085 w 6785952"/>
              <a:gd name="connsiteY4649" fmla="*/ 4441085 h 5217112"/>
              <a:gd name="connsiteX4650" fmla="*/ 1338080 w 6785952"/>
              <a:gd name="connsiteY4650" fmla="*/ 4441085 h 5217112"/>
              <a:gd name="connsiteX4651" fmla="*/ 1348001 w 6785952"/>
              <a:gd name="connsiteY4651" fmla="*/ 4445180 h 5217112"/>
              <a:gd name="connsiteX4652" fmla="*/ 1349203 w 6785952"/>
              <a:gd name="connsiteY4652" fmla="*/ 4453701 h 5217112"/>
              <a:gd name="connsiteX4653" fmla="*/ 1334774 w 6785952"/>
              <a:gd name="connsiteY4653" fmla="*/ 4460784 h 5217112"/>
              <a:gd name="connsiteX4654" fmla="*/ 1326056 w 6785952"/>
              <a:gd name="connsiteY4654" fmla="*/ 4448389 h 5217112"/>
              <a:gd name="connsiteX4655" fmla="*/ 1338080 w 6785952"/>
              <a:gd name="connsiteY4655" fmla="*/ 4441085 h 5217112"/>
              <a:gd name="connsiteX4656" fmla="*/ 5291166 w 6785952"/>
              <a:gd name="connsiteY4656" fmla="*/ 4440089 h 5217112"/>
              <a:gd name="connsiteX4657" fmla="*/ 5295675 w 6785952"/>
              <a:gd name="connsiteY4657" fmla="*/ 4440753 h 5217112"/>
              <a:gd name="connsiteX4658" fmla="*/ 5289662 w 6785952"/>
              <a:gd name="connsiteY4658" fmla="*/ 4444073 h 5217112"/>
              <a:gd name="connsiteX4659" fmla="*/ 5286056 w 6785952"/>
              <a:gd name="connsiteY4659" fmla="*/ 4440974 h 5217112"/>
              <a:gd name="connsiteX4660" fmla="*/ 5291166 w 6785952"/>
              <a:gd name="connsiteY4660" fmla="*/ 4440089 h 5217112"/>
              <a:gd name="connsiteX4661" fmla="*/ 2526411 w 6785952"/>
              <a:gd name="connsiteY4661" fmla="*/ 4440089 h 5217112"/>
              <a:gd name="connsiteX4662" fmla="*/ 2530920 w 6785952"/>
              <a:gd name="connsiteY4662" fmla="*/ 4440753 h 5217112"/>
              <a:gd name="connsiteX4663" fmla="*/ 2525208 w 6785952"/>
              <a:gd name="connsiteY4663" fmla="*/ 4444073 h 5217112"/>
              <a:gd name="connsiteX4664" fmla="*/ 2521601 w 6785952"/>
              <a:gd name="connsiteY4664" fmla="*/ 4440974 h 5217112"/>
              <a:gd name="connsiteX4665" fmla="*/ 2526411 w 6785952"/>
              <a:gd name="connsiteY4665" fmla="*/ 4440089 h 5217112"/>
              <a:gd name="connsiteX4666" fmla="*/ 1497407 w 6785952"/>
              <a:gd name="connsiteY4666" fmla="*/ 4440089 h 5217112"/>
              <a:gd name="connsiteX4667" fmla="*/ 1501916 w 6785952"/>
              <a:gd name="connsiteY4667" fmla="*/ 4440753 h 5217112"/>
              <a:gd name="connsiteX4668" fmla="*/ 1495903 w 6785952"/>
              <a:gd name="connsiteY4668" fmla="*/ 4444073 h 5217112"/>
              <a:gd name="connsiteX4669" fmla="*/ 1492597 w 6785952"/>
              <a:gd name="connsiteY4669" fmla="*/ 4440974 h 5217112"/>
              <a:gd name="connsiteX4670" fmla="*/ 1497407 w 6785952"/>
              <a:gd name="connsiteY4670" fmla="*/ 4440089 h 5217112"/>
              <a:gd name="connsiteX4671" fmla="*/ 5711425 w 6785952"/>
              <a:gd name="connsiteY4671" fmla="*/ 4439535 h 5217112"/>
              <a:gd name="connsiteX4672" fmla="*/ 5717136 w 6785952"/>
              <a:gd name="connsiteY4672" fmla="*/ 4441638 h 5217112"/>
              <a:gd name="connsiteX4673" fmla="*/ 5714432 w 6785952"/>
              <a:gd name="connsiteY4673" fmla="*/ 4448721 h 5217112"/>
              <a:gd name="connsiteX4674" fmla="*/ 5706616 w 6785952"/>
              <a:gd name="connsiteY4674" fmla="*/ 4443630 h 5217112"/>
              <a:gd name="connsiteX4675" fmla="*/ 5711425 w 6785952"/>
              <a:gd name="connsiteY4675" fmla="*/ 4439535 h 5217112"/>
              <a:gd name="connsiteX4676" fmla="*/ 5373535 w 6785952"/>
              <a:gd name="connsiteY4676" fmla="*/ 4439535 h 5217112"/>
              <a:gd name="connsiteX4677" fmla="*/ 5390669 w 6785952"/>
              <a:gd name="connsiteY4677" fmla="*/ 4449938 h 5217112"/>
              <a:gd name="connsiteX4678" fmla="*/ 5373535 w 6785952"/>
              <a:gd name="connsiteY4678" fmla="*/ 4439535 h 5217112"/>
              <a:gd name="connsiteX4679" fmla="*/ 2946971 w 6785952"/>
              <a:gd name="connsiteY4679" fmla="*/ 4439535 h 5217112"/>
              <a:gd name="connsiteX4680" fmla="*/ 2952683 w 6785952"/>
              <a:gd name="connsiteY4680" fmla="*/ 4441638 h 5217112"/>
              <a:gd name="connsiteX4681" fmla="*/ 2949977 w 6785952"/>
              <a:gd name="connsiteY4681" fmla="*/ 4447836 h 5217112"/>
              <a:gd name="connsiteX4682" fmla="*/ 2952984 w 6785952"/>
              <a:gd name="connsiteY4682" fmla="*/ 4448168 h 5217112"/>
              <a:gd name="connsiteX4683" fmla="*/ 2967413 w 6785952"/>
              <a:gd name="connsiteY4683" fmla="*/ 4461006 h 5217112"/>
              <a:gd name="connsiteX4684" fmla="*/ 2970119 w 6785952"/>
              <a:gd name="connsiteY4684" fmla="*/ 4493543 h 5217112"/>
              <a:gd name="connsiteX4685" fmla="*/ 2953886 w 6785952"/>
              <a:gd name="connsiteY4685" fmla="*/ 4496642 h 5217112"/>
              <a:gd name="connsiteX4686" fmla="*/ 2924124 w 6785952"/>
              <a:gd name="connsiteY4686" fmla="*/ 4456468 h 5217112"/>
              <a:gd name="connsiteX4687" fmla="*/ 2935548 w 6785952"/>
              <a:gd name="connsiteY4687" fmla="*/ 4446618 h 5217112"/>
              <a:gd name="connsiteX4688" fmla="*/ 2943364 w 6785952"/>
              <a:gd name="connsiteY4688" fmla="*/ 4446950 h 5217112"/>
              <a:gd name="connsiteX4689" fmla="*/ 2948174 w 6785952"/>
              <a:gd name="connsiteY4689" fmla="*/ 4447504 h 5217112"/>
              <a:gd name="connsiteX4690" fmla="*/ 2942162 w 6785952"/>
              <a:gd name="connsiteY4690" fmla="*/ 4443630 h 5217112"/>
              <a:gd name="connsiteX4691" fmla="*/ 2946971 w 6785952"/>
              <a:gd name="connsiteY4691" fmla="*/ 4439535 h 5217112"/>
              <a:gd name="connsiteX4692" fmla="*/ 2609081 w 6785952"/>
              <a:gd name="connsiteY4692" fmla="*/ 4439535 h 5217112"/>
              <a:gd name="connsiteX4693" fmla="*/ 2626216 w 6785952"/>
              <a:gd name="connsiteY4693" fmla="*/ 4449938 h 5217112"/>
              <a:gd name="connsiteX4694" fmla="*/ 2609081 w 6785952"/>
              <a:gd name="connsiteY4694" fmla="*/ 4439535 h 5217112"/>
              <a:gd name="connsiteX4695" fmla="*/ 1579775 w 6785952"/>
              <a:gd name="connsiteY4695" fmla="*/ 4439535 h 5217112"/>
              <a:gd name="connsiteX4696" fmla="*/ 1597211 w 6785952"/>
              <a:gd name="connsiteY4696" fmla="*/ 4449938 h 5217112"/>
              <a:gd name="connsiteX4697" fmla="*/ 1579775 w 6785952"/>
              <a:gd name="connsiteY4697" fmla="*/ 4439535 h 5217112"/>
              <a:gd name="connsiteX4698" fmla="*/ 5674751 w 6785952"/>
              <a:gd name="connsiteY4698" fmla="*/ 4438207 h 5217112"/>
              <a:gd name="connsiteX4699" fmla="*/ 5667235 w 6785952"/>
              <a:gd name="connsiteY4699" fmla="*/ 4448942 h 5217112"/>
              <a:gd name="connsiteX4700" fmla="*/ 5664229 w 6785952"/>
              <a:gd name="connsiteY4700" fmla="*/ 4449496 h 5217112"/>
              <a:gd name="connsiteX4701" fmla="*/ 5674751 w 6785952"/>
              <a:gd name="connsiteY4701" fmla="*/ 4438207 h 5217112"/>
              <a:gd name="connsiteX4702" fmla="*/ 2909996 w 6785952"/>
              <a:gd name="connsiteY4702" fmla="*/ 4438207 h 5217112"/>
              <a:gd name="connsiteX4703" fmla="*/ 2902480 w 6785952"/>
              <a:gd name="connsiteY4703" fmla="*/ 4448942 h 5217112"/>
              <a:gd name="connsiteX4704" fmla="*/ 2899774 w 6785952"/>
              <a:gd name="connsiteY4704" fmla="*/ 4449496 h 5217112"/>
              <a:gd name="connsiteX4705" fmla="*/ 2909996 w 6785952"/>
              <a:gd name="connsiteY4705" fmla="*/ 4438207 h 5217112"/>
              <a:gd name="connsiteX4706" fmla="*/ 1880991 w 6785952"/>
              <a:gd name="connsiteY4706" fmla="*/ 4438207 h 5217112"/>
              <a:gd name="connsiteX4707" fmla="*/ 1873475 w 6785952"/>
              <a:gd name="connsiteY4707" fmla="*/ 4448942 h 5217112"/>
              <a:gd name="connsiteX4708" fmla="*/ 1870770 w 6785952"/>
              <a:gd name="connsiteY4708" fmla="*/ 4449496 h 5217112"/>
              <a:gd name="connsiteX4709" fmla="*/ 1880991 w 6785952"/>
              <a:gd name="connsiteY4709" fmla="*/ 4438207 h 5217112"/>
              <a:gd name="connsiteX4710" fmla="*/ 5298080 w 6785952"/>
              <a:gd name="connsiteY4710" fmla="*/ 4438097 h 5217112"/>
              <a:gd name="connsiteX4711" fmla="*/ 5299883 w 6785952"/>
              <a:gd name="connsiteY4711" fmla="*/ 4438539 h 5217112"/>
              <a:gd name="connsiteX4712" fmla="*/ 5296577 w 6785952"/>
              <a:gd name="connsiteY4712" fmla="*/ 4440199 h 5217112"/>
              <a:gd name="connsiteX4713" fmla="*/ 5295976 w 6785952"/>
              <a:gd name="connsiteY4713" fmla="*/ 4439093 h 5217112"/>
              <a:gd name="connsiteX4714" fmla="*/ 5298080 w 6785952"/>
              <a:gd name="connsiteY4714" fmla="*/ 4438097 h 5217112"/>
              <a:gd name="connsiteX4715" fmla="*/ 2533625 w 6785952"/>
              <a:gd name="connsiteY4715" fmla="*/ 4438097 h 5217112"/>
              <a:gd name="connsiteX4716" fmla="*/ 2535129 w 6785952"/>
              <a:gd name="connsiteY4716" fmla="*/ 4438539 h 5217112"/>
              <a:gd name="connsiteX4717" fmla="*/ 2532123 w 6785952"/>
              <a:gd name="connsiteY4717" fmla="*/ 4440199 h 5217112"/>
              <a:gd name="connsiteX4718" fmla="*/ 2531522 w 6785952"/>
              <a:gd name="connsiteY4718" fmla="*/ 4439093 h 5217112"/>
              <a:gd name="connsiteX4719" fmla="*/ 2533625 w 6785952"/>
              <a:gd name="connsiteY4719" fmla="*/ 4438097 h 5217112"/>
              <a:gd name="connsiteX4720" fmla="*/ 1504622 w 6785952"/>
              <a:gd name="connsiteY4720" fmla="*/ 4438097 h 5217112"/>
              <a:gd name="connsiteX4721" fmla="*/ 1506124 w 6785952"/>
              <a:gd name="connsiteY4721" fmla="*/ 4438539 h 5217112"/>
              <a:gd name="connsiteX4722" fmla="*/ 1502818 w 6785952"/>
              <a:gd name="connsiteY4722" fmla="*/ 4440199 h 5217112"/>
              <a:gd name="connsiteX4723" fmla="*/ 1502217 w 6785952"/>
              <a:gd name="connsiteY4723" fmla="*/ 4439093 h 5217112"/>
              <a:gd name="connsiteX4724" fmla="*/ 1504622 w 6785952"/>
              <a:gd name="connsiteY4724" fmla="*/ 4438097 h 5217112"/>
              <a:gd name="connsiteX4725" fmla="*/ 2324398 w 6785952"/>
              <a:gd name="connsiteY4725" fmla="*/ 4437211 h 5217112"/>
              <a:gd name="connsiteX4726" fmla="*/ 2321993 w 6785952"/>
              <a:gd name="connsiteY4726" fmla="*/ 4444737 h 5217112"/>
              <a:gd name="connsiteX4727" fmla="*/ 2315981 w 6785952"/>
              <a:gd name="connsiteY4727" fmla="*/ 4447504 h 5217112"/>
              <a:gd name="connsiteX4728" fmla="*/ 2324398 w 6785952"/>
              <a:gd name="connsiteY4728" fmla="*/ 4437211 h 5217112"/>
              <a:gd name="connsiteX4729" fmla="*/ 1295393 w 6785952"/>
              <a:gd name="connsiteY4729" fmla="*/ 4437211 h 5217112"/>
              <a:gd name="connsiteX4730" fmla="*/ 1292988 w 6785952"/>
              <a:gd name="connsiteY4730" fmla="*/ 4444737 h 5217112"/>
              <a:gd name="connsiteX4731" fmla="*/ 1286976 w 6785952"/>
              <a:gd name="connsiteY4731" fmla="*/ 4447504 h 5217112"/>
              <a:gd name="connsiteX4732" fmla="*/ 1295393 w 6785952"/>
              <a:gd name="connsiteY4732" fmla="*/ 4437211 h 5217112"/>
              <a:gd name="connsiteX4733" fmla="*/ 5900513 w 6785952"/>
              <a:gd name="connsiteY4733" fmla="*/ 4436437 h 5217112"/>
              <a:gd name="connsiteX4734" fmla="*/ 5902918 w 6785952"/>
              <a:gd name="connsiteY4734" fmla="*/ 4438871 h 5217112"/>
              <a:gd name="connsiteX4735" fmla="*/ 5907427 w 6785952"/>
              <a:gd name="connsiteY4735" fmla="*/ 4452816 h 5217112"/>
              <a:gd name="connsiteX4736" fmla="*/ 5908629 w 6785952"/>
              <a:gd name="connsiteY4736" fmla="*/ 4455583 h 5217112"/>
              <a:gd name="connsiteX4737" fmla="*/ 5906825 w 6785952"/>
              <a:gd name="connsiteY4737" fmla="*/ 4459567 h 5217112"/>
              <a:gd name="connsiteX4738" fmla="*/ 5900211 w 6785952"/>
              <a:gd name="connsiteY4738" fmla="*/ 4447946 h 5217112"/>
              <a:gd name="connsiteX4739" fmla="*/ 5897506 w 6785952"/>
              <a:gd name="connsiteY4739" fmla="*/ 4441195 h 5217112"/>
              <a:gd name="connsiteX4740" fmla="*/ 5899009 w 6785952"/>
              <a:gd name="connsiteY4740" fmla="*/ 4437101 h 5217112"/>
              <a:gd name="connsiteX4741" fmla="*/ 1056405 w 6785952"/>
              <a:gd name="connsiteY4741" fmla="*/ 4435440 h 5217112"/>
              <a:gd name="connsiteX4742" fmla="*/ 1059411 w 6785952"/>
              <a:gd name="connsiteY4742" fmla="*/ 4436879 h 5217112"/>
              <a:gd name="connsiteX4743" fmla="*/ 1060614 w 6785952"/>
              <a:gd name="connsiteY4743" fmla="*/ 4447946 h 5217112"/>
              <a:gd name="connsiteX4744" fmla="*/ 1056405 w 6785952"/>
              <a:gd name="connsiteY4744" fmla="*/ 4451156 h 5217112"/>
              <a:gd name="connsiteX4745" fmla="*/ 1047987 w 6785952"/>
              <a:gd name="connsiteY4745" fmla="*/ 4444626 h 5217112"/>
              <a:gd name="connsiteX4746" fmla="*/ 1049189 w 6785952"/>
              <a:gd name="connsiteY4746" fmla="*/ 4439757 h 5217112"/>
              <a:gd name="connsiteX4747" fmla="*/ 1056405 w 6785952"/>
              <a:gd name="connsiteY4747" fmla="*/ 4435440 h 5217112"/>
              <a:gd name="connsiteX4748" fmla="*/ 5306798 w 6785952"/>
              <a:gd name="connsiteY4748" fmla="*/ 4434334 h 5217112"/>
              <a:gd name="connsiteX4749" fmla="*/ 5305896 w 6785952"/>
              <a:gd name="connsiteY4749" fmla="*/ 4436326 h 5217112"/>
              <a:gd name="connsiteX4750" fmla="*/ 5303191 w 6785952"/>
              <a:gd name="connsiteY4750" fmla="*/ 4434998 h 5217112"/>
              <a:gd name="connsiteX4751" fmla="*/ 5306798 w 6785952"/>
              <a:gd name="connsiteY4751" fmla="*/ 4434334 h 5217112"/>
              <a:gd name="connsiteX4752" fmla="*/ 2542345 w 6785952"/>
              <a:gd name="connsiteY4752" fmla="*/ 4434334 h 5217112"/>
              <a:gd name="connsiteX4753" fmla="*/ 2541442 w 6785952"/>
              <a:gd name="connsiteY4753" fmla="*/ 4436326 h 5217112"/>
              <a:gd name="connsiteX4754" fmla="*/ 2538736 w 6785952"/>
              <a:gd name="connsiteY4754" fmla="*/ 4434998 h 5217112"/>
              <a:gd name="connsiteX4755" fmla="*/ 2542345 w 6785952"/>
              <a:gd name="connsiteY4755" fmla="*/ 4434334 h 5217112"/>
              <a:gd name="connsiteX4756" fmla="*/ 1513340 w 6785952"/>
              <a:gd name="connsiteY4756" fmla="*/ 4434334 h 5217112"/>
              <a:gd name="connsiteX4757" fmla="*/ 1512437 w 6785952"/>
              <a:gd name="connsiteY4757" fmla="*/ 4436326 h 5217112"/>
              <a:gd name="connsiteX4758" fmla="*/ 1509431 w 6785952"/>
              <a:gd name="connsiteY4758" fmla="*/ 4434998 h 5217112"/>
              <a:gd name="connsiteX4759" fmla="*/ 1513340 w 6785952"/>
              <a:gd name="connsiteY4759" fmla="*/ 4434334 h 5217112"/>
              <a:gd name="connsiteX4760" fmla="*/ 1910452 w 6785952"/>
              <a:gd name="connsiteY4760" fmla="*/ 4433338 h 5217112"/>
              <a:gd name="connsiteX4761" fmla="*/ 1915863 w 6785952"/>
              <a:gd name="connsiteY4761" fmla="*/ 4434334 h 5217112"/>
              <a:gd name="connsiteX4762" fmla="*/ 1923679 w 6785952"/>
              <a:gd name="connsiteY4762" fmla="*/ 4435219 h 5217112"/>
              <a:gd name="connsiteX4763" fmla="*/ 1948930 w 6785952"/>
              <a:gd name="connsiteY4763" fmla="*/ 4444184 h 5217112"/>
              <a:gd name="connsiteX4764" fmla="*/ 1937808 w 6785952"/>
              <a:gd name="connsiteY4764" fmla="*/ 4444737 h 5217112"/>
              <a:gd name="connsiteX4765" fmla="*/ 1923980 w 6785952"/>
              <a:gd name="connsiteY4765" fmla="*/ 4442302 h 5217112"/>
              <a:gd name="connsiteX4766" fmla="*/ 1923077 w 6785952"/>
              <a:gd name="connsiteY4766" fmla="*/ 4442191 h 5217112"/>
              <a:gd name="connsiteX4767" fmla="*/ 1920672 w 6785952"/>
              <a:gd name="connsiteY4767" fmla="*/ 4448721 h 5217112"/>
              <a:gd name="connsiteX4768" fmla="*/ 1913157 w 6785952"/>
              <a:gd name="connsiteY4768" fmla="*/ 4443630 h 5217112"/>
              <a:gd name="connsiteX4769" fmla="*/ 1915262 w 6785952"/>
              <a:gd name="connsiteY4769" fmla="*/ 4441749 h 5217112"/>
              <a:gd name="connsiteX4770" fmla="*/ 1912556 w 6785952"/>
              <a:gd name="connsiteY4770" fmla="*/ 4441638 h 5217112"/>
              <a:gd name="connsiteX4771" fmla="*/ 1909249 w 6785952"/>
              <a:gd name="connsiteY4771" fmla="*/ 4438207 h 5217112"/>
              <a:gd name="connsiteX4772" fmla="*/ 1907746 w 6785952"/>
              <a:gd name="connsiteY4772" fmla="*/ 4438097 h 5217112"/>
              <a:gd name="connsiteX4773" fmla="*/ 1906243 w 6785952"/>
              <a:gd name="connsiteY4773" fmla="*/ 4434776 h 5217112"/>
              <a:gd name="connsiteX4774" fmla="*/ 1910452 w 6785952"/>
              <a:gd name="connsiteY4774" fmla="*/ 4433338 h 5217112"/>
              <a:gd name="connsiteX4775" fmla="*/ 881447 w 6785952"/>
              <a:gd name="connsiteY4775" fmla="*/ 4433338 h 5217112"/>
              <a:gd name="connsiteX4776" fmla="*/ 886858 w 6785952"/>
              <a:gd name="connsiteY4776" fmla="*/ 4434334 h 5217112"/>
              <a:gd name="connsiteX4777" fmla="*/ 894674 w 6785952"/>
              <a:gd name="connsiteY4777" fmla="*/ 4435219 h 5217112"/>
              <a:gd name="connsiteX4778" fmla="*/ 919926 w 6785952"/>
              <a:gd name="connsiteY4778" fmla="*/ 4444184 h 5217112"/>
              <a:gd name="connsiteX4779" fmla="*/ 908803 w 6785952"/>
              <a:gd name="connsiteY4779" fmla="*/ 4444737 h 5217112"/>
              <a:gd name="connsiteX4780" fmla="*/ 883251 w 6785952"/>
              <a:gd name="connsiteY4780" fmla="*/ 4441638 h 5217112"/>
              <a:gd name="connsiteX4781" fmla="*/ 880244 w 6785952"/>
              <a:gd name="connsiteY4781" fmla="*/ 4438207 h 5217112"/>
              <a:gd name="connsiteX4782" fmla="*/ 878741 w 6785952"/>
              <a:gd name="connsiteY4782" fmla="*/ 4438097 h 5217112"/>
              <a:gd name="connsiteX4783" fmla="*/ 877238 w 6785952"/>
              <a:gd name="connsiteY4783" fmla="*/ 4434776 h 5217112"/>
              <a:gd name="connsiteX4784" fmla="*/ 881447 w 6785952"/>
              <a:gd name="connsiteY4784" fmla="*/ 4433338 h 5217112"/>
              <a:gd name="connsiteX4785" fmla="*/ 5615229 w 6785952"/>
              <a:gd name="connsiteY4785" fmla="*/ 4431567 h 5217112"/>
              <a:gd name="connsiteX4786" fmla="*/ 5622142 w 6785952"/>
              <a:gd name="connsiteY4786" fmla="*/ 4436215 h 5217112"/>
              <a:gd name="connsiteX4787" fmla="*/ 5615830 w 6785952"/>
              <a:gd name="connsiteY4787" fmla="*/ 4453591 h 5217112"/>
              <a:gd name="connsiteX4788" fmla="*/ 5606511 w 6785952"/>
              <a:gd name="connsiteY4788" fmla="*/ 4453812 h 5217112"/>
              <a:gd name="connsiteX4789" fmla="*/ 5615229 w 6785952"/>
              <a:gd name="connsiteY4789" fmla="*/ 4431567 h 5217112"/>
              <a:gd name="connsiteX4790" fmla="*/ 2850474 w 6785952"/>
              <a:gd name="connsiteY4790" fmla="*/ 4431567 h 5217112"/>
              <a:gd name="connsiteX4791" fmla="*/ 2857689 w 6785952"/>
              <a:gd name="connsiteY4791" fmla="*/ 4436215 h 5217112"/>
              <a:gd name="connsiteX4792" fmla="*/ 2851075 w 6785952"/>
              <a:gd name="connsiteY4792" fmla="*/ 4453591 h 5217112"/>
              <a:gd name="connsiteX4793" fmla="*/ 2842057 w 6785952"/>
              <a:gd name="connsiteY4793" fmla="*/ 4453812 h 5217112"/>
              <a:gd name="connsiteX4794" fmla="*/ 2850474 w 6785952"/>
              <a:gd name="connsiteY4794" fmla="*/ 4431567 h 5217112"/>
              <a:gd name="connsiteX4795" fmla="*/ 1821470 w 6785952"/>
              <a:gd name="connsiteY4795" fmla="*/ 4431567 h 5217112"/>
              <a:gd name="connsiteX4796" fmla="*/ 1828383 w 6785952"/>
              <a:gd name="connsiteY4796" fmla="*/ 4436215 h 5217112"/>
              <a:gd name="connsiteX4797" fmla="*/ 1822071 w 6785952"/>
              <a:gd name="connsiteY4797" fmla="*/ 4453591 h 5217112"/>
              <a:gd name="connsiteX4798" fmla="*/ 1812752 w 6785952"/>
              <a:gd name="connsiteY4798" fmla="*/ 4453812 h 5217112"/>
              <a:gd name="connsiteX4799" fmla="*/ 1821470 w 6785952"/>
              <a:gd name="connsiteY4799" fmla="*/ 4431567 h 5217112"/>
              <a:gd name="connsiteX4800" fmla="*/ 1894218 w 6785952"/>
              <a:gd name="connsiteY4800" fmla="*/ 4431014 h 5217112"/>
              <a:gd name="connsiteX4801" fmla="*/ 1903838 w 6785952"/>
              <a:gd name="connsiteY4801" fmla="*/ 4447946 h 5217112"/>
              <a:gd name="connsiteX4802" fmla="*/ 1880090 w 6785952"/>
              <a:gd name="connsiteY4802" fmla="*/ 4445844 h 5217112"/>
              <a:gd name="connsiteX4803" fmla="*/ 1894218 w 6785952"/>
              <a:gd name="connsiteY4803" fmla="*/ 4431014 h 5217112"/>
              <a:gd name="connsiteX4804" fmla="*/ 865213 w 6785952"/>
              <a:gd name="connsiteY4804" fmla="*/ 4431014 h 5217112"/>
              <a:gd name="connsiteX4805" fmla="*/ 874532 w 6785952"/>
              <a:gd name="connsiteY4805" fmla="*/ 4447946 h 5217112"/>
              <a:gd name="connsiteX4806" fmla="*/ 851085 w 6785952"/>
              <a:gd name="connsiteY4806" fmla="*/ 4445844 h 5217112"/>
              <a:gd name="connsiteX4807" fmla="*/ 865213 w 6785952"/>
              <a:gd name="connsiteY4807" fmla="*/ 4431014 h 5217112"/>
              <a:gd name="connsiteX4808" fmla="*/ 2327104 w 6785952"/>
              <a:gd name="connsiteY4808" fmla="*/ 4430903 h 5217112"/>
              <a:gd name="connsiteX4809" fmla="*/ 2328306 w 6785952"/>
              <a:gd name="connsiteY4809" fmla="*/ 4432563 h 5217112"/>
              <a:gd name="connsiteX4810" fmla="*/ 2328306 w 6785952"/>
              <a:gd name="connsiteY4810" fmla="*/ 4433670 h 5217112"/>
              <a:gd name="connsiteX4811" fmla="*/ 2324398 w 6785952"/>
              <a:gd name="connsiteY4811" fmla="*/ 4436990 h 5217112"/>
              <a:gd name="connsiteX4812" fmla="*/ 2325600 w 6785952"/>
              <a:gd name="connsiteY4812" fmla="*/ 4431678 h 5217112"/>
              <a:gd name="connsiteX4813" fmla="*/ 2327705 w 6785952"/>
              <a:gd name="connsiteY4813" fmla="*/ 4432342 h 5217112"/>
              <a:gd name="connsiteX4814" fmla="*/ 2327104 w 6785952"/>
              <a:gd name="connsiteY4814" fmla="*/ 4430903 h 5217112"/>
              <a:gd name="connsiteX4815" fmla="*/ 1297798 w 6785952"/>
              <a:gd name="connsiteY4815" fmla="*/ 4430903 h 5217112"/>
              <a:gd name="connsiteX4816" fmla="*/ 1299302 w 6785952"/>
              <a:gd name="connsiteY4816" fmla="*/ 4432563 h 5217112"/>
              <a:gd name="connsiteX4817" fmla="*/ 1299302 w 6785952"/>
              <a:gd name="connsiteY4817" fmla="*/ 4433670 h 5217112"/>
              <a:gd name="connsiteX4818" fmla="*/ 1295093 w 6785952"/>
              <a:gd name="connsiteY4818" fmla="*/ 4436990 h 5217112"/>
              <a:gd name="connsiteX4819" fmla="*/ 1296596 w 6785952"/>
              <a:gd name="connsiteY4819" fmla="*/ 4431678 h 5217112"/>
              <a:gd name="connsiteX4820" fmla="*/ 1298399 w 6785952"/>
              <a:gd name="connsiteY4820" fmla="*/ 4432342 h 5217112"/>
              <a:gd name="connsiteX4821" fmla="*/ 1297798 w 6785952"/>
              <a:gd name="connsiteY4821" fmla="*/ 4430903 h 5217112"/>
              <a:gd name="connsiteX4822" fmla="*/ 6220967 w 6785952"/>
              <a:gd name="connsiteY4822" fmla="*/ 4429575 h 5217112"/>
              <a:gd name="connsiteX4823" fmla="*/ 6227581 w 6785952"/>
              <a:gd name="connsiteY4823" fmla="*/ 4437654 h 5217112"/>
              <a:gd name="connsiteX4824" fmla="*/ 6239005 w 6785952"/>
              <a:gd name="connsiteY4824" fmla="*/ 4458349 h 5217112"/>
              <a:gd name="connsiteX4825" fmla="*/ 6237501 w 6785952"/>
              <a:gd name="connsiteY4825" fmla="*/ 4462555 h 5217112"/>
              <a:gd name="connsiteX4826" fmla="*/ 6238102 w 6785952"/>
              <a:gd name="connsiteY4826" fmla="*/ 4463772 h 5217112"/>
              <a:gd name="connsiteX4827" fmla="*/ 6235999 w 6785952"/>
              <a:gd name="connsiteY4827" fmla="*/ 4466650 h 5217112"/>
              <a:gd name="connsiteX4828" fmla="*/ 6230287 w 6785952"/>
              <a:gd name="connsiteY4828" fmla="*/ 4459788 h 5217112"/>
              <a:gd name="connsiteX4829" fmla="*/ 6226679 w 6785952"/>
              <a:gd name="connsiteY4829" fmla="*/ 4453369 h 5217112"/>
              <a:gd name="connsiteX4830" fmla="*/ 6220967 w 6785952"/>
              <a:gd name="connsiteY4830" fmla="*/ 4429575 h 5217112"/>
              <a:gd name="connsiteX4831" fmla="*/ 2427208 w 6785952"/>
              <a:gd name="connsiteY4831" fmla="*/ 4429575 h 5217112"/>
              <a:gd name="connsiteX4832" fmla="*/ 2433821 w 6785952"/>
              <a:gd name="connsiteY4832" fmla="*/ 4437654 h 5217112"/>
              <a:gd name="connsiteX4833" fmla="*/ 2438031 w 6785952"/>
              <a:gd name="connsiteY4833" fmla="*/ 4446508 h 5217112"/>
              <a:gd name="connsiteX4834" fmla="*/ 2443442 w 6785952"/>
              <a:gd name="connsiteY4834" fmla="*/ 4444184 h 5217112"/>
              <a:gd name="connsiteX4835" fmla="*/ 2442540 w 6785952"/>
              <a:gd name="connsiteY4835" fmla="*/ 4450934 h 5217112"/>
              <a:gd name="connsiteX4836" fmla="*/ 2440736 w 6785952"/>
              <a:gd name="connsiteY4836" fmla="*/ 4451377 h 5217112"/>
              <a:gd name="connsiteX4837" fmla="*/ 2445246 w 6785952"/>
              <a:gd name="connsiteY4837" fmla="*/ 4458349 h 5217112"/>
              <a:gd name="connsiteX4838" fmla="*/ 2443742 w 6785952"/>
              <a:gd name="connsiteY4838" fmla="*/ 4462555 h 5217112"/>
              <a:gd name="connsiteX4839" fmla="*/ 2444644 w 6785952"/>
              <a:gd name="connsiteY4839" fmla="*/ 4463772 h 5217112"/>
              <a:gd name="connsiteX4840" fmla="*/ 2443141 w 6785952"/>
              <a:gd name="connsiteY4840" fmla="*/ 4465654 h 5217112"/>
              <a:gd name="connsiteX4841" fmla="*/ 2450355 w 6785952"/>
              <a:gd name="connsiteY4841" fmla="*/ 4470191 h 5217112"/>
              <a:gd name="connsiteX4842" fmla="*/ 2446748 w 6785952"/>
              <a:gd name="connsiteY4842" fmla="*/ 4487456 h 5217112"/>
              <a:gd name="connsiteX4843" fmla="*/ 2437129 w 6785952"/>
              <a:gd name="connsiteY4843" fmla="*/ 4487345 h 5217112"/>
              <a:gd name="connsiteX4844" fmla="*/ 2437129 w 6785952"/>
              <a:gd name="connsiteY4844" fmla="*/ 4468531 h 5217112"/>
              <a:gd name="connsiteX4845" fmla="*/ 2441337 w 6785952"/>
              <a:gd name="connsiteY4845" fmla="*/ 4465986 h 5217112"/>
              <a:gd name="connsiteX4846" fmla="*/ 2438631 w 6785952"/>
              <a:gd name="connsiteY4846" fmla="*/ 4464326 h 5217112"/>
              <a:gd name="connsiteX4847" fmla="*/ 2436527 w 6785952"/>
              <a:gd name="connsiteY4847" fmla="*/ 4459788 h 5217112"/>
              <a:gd name="connsiteX4848" fmla="*/ 2432920 w 6785952"/>
              <a:gd name="connsiteY4848" fmla="*/ 4453369 h 5217112"/>
              <a:gd name="connsiteX4849" fmla="*/ 2427208 w 6785952"/>
              <a:gd name="connsiteY4849" fmla="*/ 4429575 h 5217112"/>
              <a:gd name="connsiteX4850" fmla="*/ 3231053 w 6785952"/>
              <a:gd name="connsiteY4850" fmla="*/ 4428911 h 5217112"/>
              <a:gd name="connsiteX4851" fmla="*/ 3220831 w 6785952"/>
              <a:gd name="connsiteY4851" fmla="*/ 4436215 h 5217112"/>
              <a:gd name="connsiteX4852" fmla="*/ 3223537 w 6785952"/>
              <a:gd name="connsiteY4852" fmla="*/ 4438207 h 5217112"/>
              <a:gd name="connsiteX4853" fmla="*/ 3231053 w 6785952"/>
              <a:gd name="connsiteY4853" fmla="*/ 4442855 h 5217112"/>
              <a:gd name="connsiteX4854" fmla="*/ 3233157 w 6785952"/>
              <a:gd name="connsiteY4854" fmla="*/ 4442855 h 5217112"/>
              <a:gd name="connsiteX4855" fmla="*/ 3232555 w 6785952"/>
              <a:gd name="connsiteY4855" fmla="*/ 4444184 h 5217112"/>
              <a:gd name="connsiteX4856" fmla="*/ 3234059 w 6785952"/>
              <a:gd name="connsiteY4856" fmla="*/ 4445069 h 5217112"/>
              <a:gd name="connsiteX4857" fmla="*/ 3244580 w 6785952"/>
              <a:gd name="connsiteY4857" fmla="*/ 4448278 h 5217112"/>
              <a:gd name="connsiteX4858" fmla="*/ 3262917 w 6785952"/>
              <a:gd name="connsiteY4858" fmla="*/ 4452927 h 5217112"/>
              <a:gd name="connsiteX4859" fmla="*/ 3285463 w 6785952"/>
              <a:gd name="connsiteY4859" fmla="*/ 4462112 h 5217112"/>
              <a:gd name="connsiteX4860" fmla="*/ 3309513 w 6785952"/>
              <a:gd name="connsiteY4860" fmla="*/ 4471741 h 5217112"/>
              <a:gd name="connsiteX4861" fmla="*/ 3310114 w 6785952"/>
              <a:gd name="connsiteY4861" fmla="*/ 4471851 h 5217112"/>
              <a:gd name="connsiteX4862" fmla="*/ 3309813 w 6785952"/>
              <a:gd name="connsiteY4862" fmla="*/ 4471409 h 5217112"/>
              <a:gd name="connsiteX4863" fmla="*/ 3310715 w 6785952"/>
              <a:gd name="connsiteY4863" fmla="*/ 4463108 h 5217112"/>
              <a:gd name="connsiteX4864" fmla="*/ 3312218 w 6785952"/>
              <a:gd name="connsiteY4864" fmla="*/ 4463330 h 5217112"/>
              <a:gd name="connsiteX4865" fmla="*/ 3313722 w 6785952"/>
              <a:gd name="connsiteY4865" fmla="*/ 4472847 h 5217112"/>
              <a:gd name="connsiteX4866" fmla="*/ 3319434 w 6785952"/>
              <a:gd name="connsiteY4866" fmla="*/ 4474507 h 5217112"/>
              <a:gd name="connsiteX4867" fmla="*/ 3319132 w 6785952"/>
              <a:gd name="connsiteY4867" fmla="*/ 4473733 h 5217112"/>
              <a:gd name="connsiteX4868" fmla="*/ 3318531 w 6785952"/>
              <a:gd name="connsiteY4868" fmla="*/ 4460895 h 5217112"/>
              <a:gd name="connsiteX4869" fmla="*/ 3325145 w 6785952"/>
              <a:gd name="connsiteY4869" fmla="*/ 4469749 h 5217112"/>
              <a:gd name="connsiteX4870" fmla="*/ 3326948 w 6785952"/>
              <a:gd name="connsiteY4870" fmla="*/ 4476500 h 5217112"/>
              <a:gd name="connsiteX4871" fmla="*/ 3331758 w 6785952"/>
              <a:gd name="connsiteY4871" fmla="*/ 4477717 h 5217112"/>
              <a:gd name="connsiteX4872" fmla="*/ 3333262 w 6785952"/>
              <a:gd name="connsiteY4872" fmla="*/ 4475725 h 5217112"/>
              <a:gd name="connsiteX4873" fmla="*/ 3340476 w 6785952"/>
              <a:gd name="connsiteY4873" fmla="*/ 4481922 h 5217112"/>
              <a:gd name="connsiteX4874" fmla="*/ 3337170 w 6785952"/>
              <a:gd name="connsiteY4874" fmla="*/ 4486460 h 5217112"/>
              <a:gd name="connsiteX4875" fmla="*/ 3339575 w 6785952"/>
              <a:gd name="connsiteY4875" fmla="*/ 4489669 h 5217112"/>
              <a:gd name="connsiteX4876" fmla="*/ 3358814 w 6785952"/>
              <a:gd name="connsiteY4876" fmla="*/ 4493432 h 5217112"/>
              <a:gd name="connsiteX4877" fmla="*/ 3376850 w 6785952"/>
              <a:gd name="connsiteY4877" fmla="*/ 4499187 h 5217112"/>
              <a:gd name="connsiteX4878" fmla="*/ 3415630 w 6785952"/>
              <a:gd name="connsiteY4878" fmla="*/ 4507266 h 5217112"/>
              <a:gd name="connsiteX4879" fmla="*/ 3436673 w 6785952"/>
              <a:gd name="connsiteY4879" fmla="*/ 4507930 h 5217112"/>
              <a:gd name="connsiteX4880" fmla="*/ 3457715 w 6785952"/>
              <a:gd name="connsiteY4880" fmla="*/ 4503946 h 5217112"/>
              <a:gd name="connsiteX4881" fmla="*/ 3453507 w 6785952"/>
              <a:gd name="connsiteY4881" fmla="*/ 4473179 h 5217112"/>
              <a:gd name="connsiteX4882" fmla="*/ 3454709 w 6785952"/>
              <a:gd name="connsiteY4882" fmla="*/ 4463108 h 5217112"/>
              <a:gd name="connsiteX4883" fmla="*/ 3431262 w 6785952"/>
              <a:gd name="connsiteY4883" fmla="*/ 4462998 h 5217112"/>
              <a:gd name="connsiteX4884" fmla="*/ 3418035 w 6785952"/>
              <a:gd name="connsiteY4884" fmla="*/ 4462887 h 5217112"/>
              <a:gd name="connsiteX4885" fmla="*/ 3420740 w 6785952"/>
              <a:gd name="connsiteY4885" fmla="*/ 4472626 h 5217112"/>
              <a:gd name="connsiteX4886" fmla="*/ 3415930 w 6785952"/>
              <a:gd name="connsiteY4886" fmla="*/ 4473290 h 5217112"/>
              <a:gd name="connsiteX4887" fmla="*/ 3415329 w 6785952"/>
              <a:gd name="connsiteY4887" fmla="*/ 4473401 h 5217112"/>
              <a:gd name="connsiteX4888" fmla="*/ 3417434 w 6785952"/>
              <a:gd name="connsiteY4888" fmla="*/ 4492879 h 5217112"/>
              <a:gd name="connsiteX4889" fmla="*/ 3400299 w 6785952"/>
              <a:gd name="connsiteY4889" fmla="*/ 4466650 h 5217112"/>
              <a:gd name="connsiteX4890" fmla="*/ 3400599 w 6785952"/>
              <a:gd name="connsiteY4890" fmla="*/ 4462666 h 5217112"/>
              <a:gd name="connsiteX4891" fmla="*/ 3381961 w 6785952"/>
              <a:gd name="connsiteY4891" fmla="*/ 4462444 h 5217112"/>
              <a:gd name="connsiteX4892" fmla="*/ 3333262 w 6785952"/>
              <a:gd name="connsiteY4892" fmla="*/ 4458903 h 5217112"/>
              <a:gd name="connsiteX4893" fmla="*/ 3315224 w 6785952"/>
              <a:gd name="connsiteY4893" fmla="*/ 4455251 h 5217112"/>
              <a:gd name="connsiteX4894" fmla="*/ 3314323 w 6785952"/>
              <a:gd name="connsiteY4894" fmla="*/ 4456025 h 5217112"/>
              <a:gd name="connsiteX4895" fmla="*/ 3313722 w 6785952"/>
              <a:gd name="connsiteY4895" fmla="*/ 4454919 h 5217112"/>
              <a:gd name="connsiteX4896" fmla="*/ 3285463 w 6785952"/>
              <a:gd name="connsiteY4896" fmla="*/ 4449164 h 5217112"/>
              <a:gd name="connsiteX4897" fmla="*/ 3241875 w 6785952"/>
              <a:gd name="connsiteY4897" fmla="*/ 4434555 h 5217112"/>
              <a:gd name="connsiteX4898" fmla="*/ 1319443 w 6785952"/>
              <a:gd name="connsiteY4898" fmla="*/ 4427694 h 5217112"/>
              <a:gd name="connsiteX4899" fmla="*/ 1327259 w 6785952"/>
              <a:gd name="connsiteY4899" fmla="*/ 4433006 h 5217112"/>
              <a:gd name="connsiteX4900" fmla="*/ 1311627 w 6785952"/>
              <a:gd name="connsiteY4900" fmla="*/ 4439646 h 5217112"/>
              <a:gd name="connsiteX4901" fmla="*/ 1309823 w 6785952"/>
              <a:gd name="connsiteY4901" fmla="*/ 4433670 h 5217112"/>
              <a:gd name="connsiteX4902" fmla="*/ 1319443 w 6785952"/>
              <a:gd name="connsiteY4902" fmla="*/ 4427694 h 5217112"/>
              <a:gd name="connsiteX4903" fmla="*/ 5456504 w 6785952"/>
              <a:gd name="connsiteY4903" fmla="*/ 4426033 h 5217112"/>
              <a:gd name="connsiteX4904" fmla="*/ 5458609 w 6785952"/>
              <a:gd name="connsiteY4904" fmla="*/ 4429796 h 5217112"/>
              <a:gd name="connsiteX4905" fmla="*/ 5456203 w 6785952"/>
              <a:gd name="connsiteY4905" fmla="*/ 4431235 h 5217112"/>
              <a:gd name="connsiteX4906" fmla="*/ 5455902 w 6785952"/>
              <a:gd name="connsiteY4906" fmla="*/ 4427915 h 5217112"/>
              <a:gd name="connsiteX4907" fmla="*/ 5456504 w 6785952"/>
              <a:gd name="connsiteY4907" fmla="*/ 4426033 h 5217112"/>
              <a:gd name="connsiteX4908" fmla="*/ 1662745 w 6785952"/>
              <a:gd name="connsiteY4908" fmla="*/ 4426033 h 5217112"/>
              <a:gd name="connsiteX4909" fmla="*/ 1664849 w 6785952"/>
              <a:gd name="connsiteY4909" fmla="*/ 4429796 h 5217112"/>
              <a:gd name="connsiteX4910" fmla="*/ 1662444 w 6785952"/>
              <a:gd name="connsiteY4910" fmla="*/ 4431235 h 5217112"/>
              <a:gd name="connsiteX4911" fmla="*/ 1662143 w 6785952"/>
              <a:gd name="connsiteY4911" fmla="*/ 4427915 h 5217112"/>
              <a:gd name="connsiteX4912" fmla="*/ 1662745 w 6785952"/>
              <a:gd name="connsiteY4912" fmla="*/ 4426033 h 5217112"/>
              <a:gd name="connsiteX4913" fmla="*/ 6085692 w 6785952"/>
              <a:gd name="connsiteY4913" fmla="*/ 4424595 h 5217112"/>
              <a:gd name="connsiteX4914" fmla="*/ 6088096 w 6785952"/>
              <a:gd name="connsiteY4914" fmla="*/ 4428247 h 5217112"/>
              <a:gd name="connsiteX4915" fmla="*/ 6087194 w 6785952"/>
              <a:gd name="connsiteY4915" fmla="*/ 4447172 h 5217112"/>
              <a:gd name="connsiteX4916" fmla="*/ 6085692 w 6785952"/>
              <a:gd name="connsiteY4916" fmla="*/ 4424595 h 5217112"/>
              <a:gd name="connsiteX4917" fmla="*/ 5470633 w 6785952"/>
              <a:gd name="connsiteY4917" fmla="*/ 4424484 h 5217112"/>
              <a:gd name="connsiteX4918" fmla="*/ 5472737 w 6785952"/>
              <a:gd name="connsiteY4918" fmla="*/ 4425037 h 5217112"/>
              <a:gd name="connsiteX4919" fmla="*/ 5473038 w 6785952"/>
              <a:gd name="connsiteY4919" fmla="*/ 4424484 h 5217112"/>
              <a:gd name="connsiteX4920" fmla="*/ 5475744 w 6785952"/>
              <a:gd name="connsiteY4920" fmla="*/ 4426919 h 5217112"/>
              <a:gd name="connsiteX4921" fmla="*/ 5476645 w 6785952"/>
              <a:gd name="connsiteY4921" fmla="*/ 4431788 h 5217112"/>
              <a:gd name="connsiteX4922" fmla="*/ 5473038 w 6785952"/>
              <a:gd name="connsiteY4922" fmla="*/ 4432010 h 5217112"/>
              <a:gd name="connsiteX4923" fmla="*/ 5470633 w 6785952"/>
              <a:gd name="connsiteY4923" fmla="*/ 4424484 h 5217112"/>
              <a:gd name="connsiteX4924" fmla="*/ 1677175 w 6785952"/>
              <a:gd name="connsiteY4924" fmla="*/ 4424484 h 5217112"/>
              <a:gd name="connsiteX4925" fmla="*/ 1679278 w 6785952"/>
              <a:gd name="connsiteY4925" fmla="*/ 4425037 h 5217112"/>
              <a:gd name="connsiteX4926" fmla="*/ 1679278 w 6785952"/>
              <a:gd name="connsiteY4926" fmla="*/ 4424484 h 5217112"/>
              <a:gd name="connsiteX4927" fmla="*/ 1682285 w 6785952"/>
              <a:gd name="connsiteY4927" fmla="*/ 4426919 h 5217112"/>
              <a:gd name="connsiteX4928" fmla="*/ 1682886 w 6785952"/>
              <a:gd name="connsiteY4928" fmla="*/ 4431788 h 5217112"/>
              <a:gd name="connsiteX4929" fmla="*/ 1679580 w 6785952"/>
              <a:gd name="connsiteY4929" fmla="*/ 4432010 h 5217112"/>
              <a:gd name="connsiteX4930" fmla="*/ 1677175 w 6785952"/>
              <a:gd name="connsiteY4930" fmla="*/ 4424484 h 5217112"/>
              <a:gd name="connsiteX4931" fmla="*/ 5611020 w 6785952"/>
              <a:gd name="connsiteY4931" fmla="*/ 4423377 h 5217112"/>
              <a:gd name="connsiteX4932" fmla="*/ 5615529 w 6785952"/>
              <a:gd name="connsiteY4932" fmla="*/ 4423488 h 5217112"/>
              <a:gd name="connsiteX4933" fmla="*/ 5617032 w 6785952"/>
              <a:gd name="connsiteY4933" fmla="*/ 4424263 h 5217112"/>
              <a:gd name="connsiteX4934" fmla="*/ 5616731 w 6785952"/>
              <a:gd name="connsiteY4934" fmla="*/ 4425812 h 5217112"/>
              <a:gd name="connsiteX4935" fmla="*/ 5611020 w 6785952"/>
              <a:gd name="connsiteY4935" fmla="*/ 4423377 h 5217112"/>
              <a:gd name="connsiteX4936" fmla="*/ 5473038 w 6785952"/>
              <a:gd name="connsiteY4936" fmla="*/ 4423377 h 5217112"/>
              <a:gd name="connsiteX4937" fmla="*/ 5473038 w 6785952"/>
              <a:gd name="connsiteY4937" fmla="*/ 4424484 h 5217112"/>
              <a:gd name="connsiteX4938" fmla="*/ 5472136 w 6785952"/>
              <a:gd name="connsiteY4938" fmla="*/ 4423820 h 5217112"/>
              <a:gd name="connsiteX4939" fmla="*/ 5473038 w 6785952"/>
              <a:gd name="connsiteY4939" fmla="*/ 4423377 h 5217112"/>
              <a:gd name="connsiteX4940" fmla="*/ 2846265 w 6785952"/>
              <a:gd name="connsiteY4940" fmla="*/ 4423377 h 5217112"/>
              <a:gd name="connsiteX4941" fmla="*/ 2851075 w 6785952"/>
              <a:gd name="connsiteY4941" fmla="*/ 4423488 h 5217112"/>
              <a:gd name="connsiteX4942" fmla="*/ 2852277 w 6785952"/>
              <a:gd name="connsiteY4942" fmla="*/ 4424263 h 5217112"/>
              <a:gd name="connsiteX4943" fmla="*/ 2852277 w 6785952"/>
              <a:gd name="connsiteY4943" fmla="*/ 4425812 h 5217112"/>
              <a:gd name="connsiteX4944" fmla="*/ 2846265 w 6785952"/>
              <a:gd name="connsiteY4944" fmla="*/ 4423377 h 5217112"/>
              <a:gd name="connsiteX4945" fmla="*/ 2708583 w 6785952"/>
              <a:gd name="connsiteY4945" fmla="*/ 4423377 h 5217112"/>
              <a:gd name="connsiteX4946" fmla="*/ 2708283 w 6785952"/>
              <a:gd name="connsiteY4946" fmla="*/ 4424484 h 5217112"/>
              <a:gd name="connsiteX4947" fmla="*/ 2707682 w 6785952"/>
              <a:gd name="connsiteY4947" fmla="*/ 4423820 h 5217112"/>
              <a:gd name="connsiteX4948" fmla="*/ 2708583 w 6785952"/>
              <a:gd name="connsiteY4948" fmla="*/ 4423377 h 5217112"/>
              <a:gd name="connsiteX4949" fmla="*/ 1817261 w 6785952"/>
              <a:gd name="connsiteY4949" fmla="*/ 4423377 h 5217112"/>
              <a:gd name="connsiteX4950" fmla="*/ 1822071 w 6785952"/>
              <a:gd name="connsiteY4950" fmla="*/ 4423488 h 5217112"/>
              <a:gd name="connsiteX4951" fmla="*/ 1823273 w 6785952"/>
              <a:gd name="connsiteY4951" fmla="*/ 4424263 h 5217112"/>
              <a:gd name="connsiteX4952" fmla="*/ 1823273 w 6785952"/>
              <a:gd name="connsiteY4952" fmla="*/ 4425812 h 5217112"/>
              <a:gd name="connsiteX4953" fmla="*/ 1817261 w 6785952"/>
              <a:gd name="connsiteY4953" fmla="*/ 4423377 h 5217112"/>
              <a:gd name="connsiteX4954" fmla="*/ 1679580 w 6785952"/>
              <a:gd name="connsiteY4954" fmla="*/ 4423377 h 5217112"/>
              <a:gd name="connsiteX4955" fmla="*/ 1679278 w 6785952"/>
              <a:gd name="connsiteY4955" fmla="*/ 4424484 h 5217112"/>
              <a:gd name="connsiteX4956" fmla="*/ 1678377 w 6785952"/>
              <a:gd name="connsiteY4956" fmla="*/ 4423820 h 5217112"/>
              <a:gd name="connsiteX4957" fmla="*/ 1679580 w 6785952"/>
              <a:gd name="connsiteY4957" fmla="*/ 4423377 h 5217112"/>
              <a:gd name="connsiteX4958" fmla="*/ 5865641 w 6785952"/>
              <a:gd name="connsiteY4958" fmla="*/ 4416073 h 5217112"/>
              <a:gd name="connsiteX4959" fmla="*/ 5871352 w 6785952"/>
              <a:gd name="connsiteY4959" fmla="*/ 4426255 h 5217112"/>
              <a:gd name="connsiteX4960" fmla="*/ 5875862 w 6785952"/>
              <a:gd name="connsiteY4960" fmla="*/ 4428468 h 5217112"/>
              <a:gd name="connsiteX4961" fmla="*/ 5878267 w 6785952"/>
              <a:gd name="connsiteY4961" fmla="*/ 4438097 h 5217112"/>
              <a:gd name="connsiteX4962" fmla="*/ 5870451 w 6785952"/>
              <a:gd name="connsiteY4962" fmla="*/ 4436879 h 5217112"/>
              <a:gd name="connsiteX4963" fmla="*/ 5868046 w 6785952"/>
              <a:gd name="connsiteY4963" fmla="*/ 4424152 h 5217112"/>
              <a:gd name="connsiteX4964" fmla="*/ 5865641 w 6785952"/>
              <a:gd name="connsiteY4964" fmla="*/ 4416073 h 5217112"/>
              <a:gd name="connsiteX4965" fmla="*/ 2071882 w 6785952"/>
              <a:gd name="connsiteY4965" fmla="*/ 4416073 h 5217112"/>
              <a:gd name="connsiteX4966" fmla="*/ 2077593 w 6785952"/>
              <a:gd name="connsiteY4966" fmla="*/ 4426255 h 5217112"/>
              <a:gd name="connsiteX4967" fmla="*/ 2082103 w 6785952"/>
              <a:gd name="connsiteY4967" fmla="*/ 4428468 h 5217112"/>
              <a:gd name="connsiteX4968" fmla="*/ 2083906 w 6785952"/>
              <a:gd name="connsiteY4968" fmla="*/ 4435883 h 5217112"/>
              <a:gd name="connsiteX4969" fmla="*/ 2085409 w 6785952"/>
              <a:gd name="connsiteY4969" fmla="*/ 4435440 h 5217112"/>
              <a:gd name="connsiteX4970" fmla="*/ 2088415 w 6785952"/>
              <a:gd name="connsiteY4970" fmla="*/ 4436879 h 5217112"/>
              <a:gd name="connsiteX4971" fmla="*/ 2089617 w 6785952"/>
              <a:gd name="connsiteY4971" fmla="*/ 4447946 h 5217112"/>
              <a:gd name="connsiteX4972" fmla="*/ 2085710 w 6785952"/>
              <a:gd name="connsiteY4972" fmla="*/ 4451156 h 5217112"/>
              <a:gd name="connsiteX4973" fmla="*/ 2076992 w 6785952"/>
              <a:gd name="connsiteY4973" fmla="*/ 4444626 h 5217112"/>
              <a:gd name="connsiteX4974" fmla="*/ 2078495 w 6785952"/>
              <a:gd name="connsiteY4974" fmla="*/ 4439757 h 5217112"/>
              <a:gd name="connsiteX4975" fmla="*/ 2079397 w 6785952"/>
              <a:gd name="connsiteY4975" fmla="*/ 4438429 h 5217112"/>
              <a:gd name="connsiteX4976" fmla="*/ 2076692 w 6785952"/>
              <a:gd name="connsiteY4976" fmla="*/ 4436879 h 5217112"/>
              <a:gd name="connsiteX4977" fmla="*/ 2074587 w 6785952"/>
              <a:gd name="connsiteY4977" fmla="*/ 4424152 h 5217112"/>
              <a:gd name="connsiteX4978" fmla="*/ 2071882 w 6785952"/>
              <a:gd name="connsiteY4978" fmla="*/ 4416073 h 5217112"/>
              <a:gd name="connsiteX4979" fmla="*/ 5648597 w 6785952"/>
              <a:gd name="connsiteY4979" fmla="*/ 4415962 h 5217112"/>
              <a:gd name="connsiteX4980" fmla="*/ 5656714 w 6785952"/>
              <a:gd name="connsiteY4980" fmla="*/ 4425369 h 5217112"/>
              <a:gd name="connsiteX4981" fmla="*/ 5648597 w 6785952"/>
              <a:gd name="connsiteY4981" fmla="*/ 4415962 h 5217112"/>
              <a:gd name="connsiteX4982" fmla="*/ 2883843 w 6785952"/>
              <a:gd name="connsiteY4982" fmla="*/ 4415962 h 5217112"/>
              <a:gd name="connsiteX4983" fmla="*/ 2892260 w 6785952"/>
              <a:gd name="connsiteY4983" fmla="*/ 4425369 h 5217112"/>
              <a:gd name="connsiteX4984" fmla="*/ 2883843 w 6785952"/>
              <a:gd name="connsiteY4984" fmla="*/ 4415962 h 5217112"/>
              <a:gd name="connsiteX4985" fmla="*/ 1854838 w 6785952"/>
              <a:gd name="connsiteY4985" fmla="*/ 4415962 h 5217112"/>
              <a:gd name="connsiteX4986" fmla="*/ 1863255 w 6785952"/>
              <a:gd name="connsiteY4986" fmla="*/ 4425369 h 5217112"/>
              <a:gd name="connsiteX4987" fmla="*/ 1854838 w 6785952"/>
              <a:gd name="connsiteY4987" fmla="*/ 4415962 h 5217112"/>
              <a:gd name="connsiteX4988" fmla="*/ 1167332 w 6785952"/>
              <a:gd name="connsiteY4988" fmla="*/ 4415298 h 5217112"/>
              <a:gd name="connsiteX4989" fmla="*/ 1174547 w 6785952"/>
              <a:gd name="connsiteY4989" fmla="*/ 4439535 h 5217112"/>
              <a:gd name="connsiteX4990" fmla="*/ 1154705 w 6785952"/>
              <a:gd name="connsiteY4990" fmla="*/ 4459788 h 5217112"/>
              <a:gd name="connsiteX4991" fmla="*/ 1151399 w 6785952"/>
              <a:gd name="connsiteY4991" fmla="*/ 4437543 h 5217112"/>
              <a:gd name="connsiteX4992" fmla="*/ 1151098 w 6785952"/>
              <a:gd name="connsiteY4992" fmla="*/ 4441859 h 5217112"/>
              <a:gd name="connsiteX4993" fmla="*/ 1141479 w 6785952"/>
              <a:gd name="connsiteY4993" fmla="*/ 4462112 h 5217112"/>
              <a:gd name="connsiteX4994" fmla="*/ 1152301 w 6785952"/>
              <a:gd name="connsiteY4994" fmla="*/ 4421164 h 5217112"/>
              <a:gd name="connsiteX4995" fmla="*/ 1151399 w 6785952"/>
              <a:gd name="connsiteY4995" fmla="*/ 4433559 h 5217112"/>
              <a:gd name="connsiteX4996" fmla="*/ 2306963 w 6785952"/>
              <a:gd name="connsiteY4996" fmla="*/ 4414413 h 5217112"/>
              <a:gd name="connsiteX4997" fmla="*/ 2312073 w 6785952"/>
              <a:gd name="connsiteY4997" fmla="*/ 4422271 h 5217112"/>
              <a:gd name="connsiteX4998" fmla="*/ 2313576 w 6785952"/>
              <a:gd name="connsiteY4998" fmla="*/ 4431014 h 5217112"/>
              <a:gd name="connsiteX4999" fmla="*/ 2303355 w 6785952"/>
              <a:gd name="connsiteY4999" fmla="*/ 4431567 h 5217112"/>
              <a:gd name="connsiteX5000" fmla="*/ 2304558 w 6785952"/>
              <a:gd name="connsiteY5000" fmla="*/ 4434887 h 5217112"/>
              <a:gd name="connsiteX5001" fmla="*/ 2303655 w 6785952"/>
              <a:gd name="connsiteY5001" fmla="*/ 4439093 h 5217112"/>
              <a:gd name="connsiteX5002" fmla="*/ 2300949 w 6785952"/>
              <a:gd name="connsiteY5002" fmla="*/ 4439535 h 5217112"/>
              <a:gd name="connsiteX5003" fmla="*/ 2308766 w 6785952"/>
              <a:gd name="connsiteY5003" fmla="*/ 4446286 h 5217112"/>
              <a:gd name="connsiteX5004" fmla="*/ 2312073 w 6785952"/>
              <a:gd name="connsiteY5004" fmla="*/ 4452816 h 5217112"/>
              <a:gd name="connsiteX5005" fmla="*/ 2312975 w 6785952"/>
              <a:gd name="connsiteY5005" fmla="*/ 4463994 h 5217112"/>
              <a:gd name="connsiteX5006" fmla="*/ 2312674 w 6785952"/>
              <a:gd name="connsiteY5006" fmla="*/ 4464990 h 5217112"/>
              <a:gd name="connsiteX5007" fmla="*/ 2317483 w 6785952"/>
              <a:gd name="connsiteY5007" fmla="*/ 4466982 h 5217112"/>
              <a:gd name="connsiteX5008" fmla="*/ 2312374 w 6785952"/>
              <a:gd name="connsiteY5008" fmla="*/ 4470523 h 5217112"/>
              <a:gd name="connsiteX5009" fmla="*/ 2312073 w 6785952"/>
              <a:gd name="connsiteY5009" fmla="*/ 4470523 h 5217112"/>
              <a:gd name="connsiteX5010" fmla="*/ 2311471 w 6785952"/>
              <a:gd name="connsiteY5010" fmla="*/ 4475946 h 5217112"/>
              <a:gd name="connsiteX5011" fmla="*/ 2304558 w 6785952"/>
              <a:gd name="connsiteY5011" fmla="*/ 4472958 h 5217112"/>
              <a:gd name="connsiteX5012" fmla="*/ 2303957 w 6785952"/>
              <a:gd name="connsiteY5012" fmla="*/ 4472073 h 5217112"/>
              <a:gd name="connsiteX5013" fmla="*/ 2296441 w 6785952"/>
              <a:gd name="connsiteY5013" fmla="*/ 4470966 h 5217112"/>
              <a:gd name="connsiteX5014" fmla="*/ 2297943 w 6785952"/>
              <a:gd name="connsiteY5014" fmla="*/ 4476942 h 5217112"/>
              <a:gd name="connsiteX5015" fmla="*/ 2300949 w 6785952"/>
              <a:gd name="connsiteY5015" fmla="*/ 4485243 h 5217112"/>
              <a:gd name="connsiteX5016" fmla="*/ 2301251 w 6785952"/>
              <a:gd name="connsiteY5016" fmla="*/ 4485132 h 5217112"/>
              <a:gd name="connsiteX5017" fmla="*/ 2300048 w 6785952"/>
              <a:gd name="connsiteY5017" fmla="*/ 4481590 h 5217112"/>
              <a:gd name="connsiteX5018" fmla="*/ 2303957 w 6785952"/>
              <a:gd name="connsiteY5018" fmla="*/ 4475725 h 5217112"/>
              <a:gd name="connsiteX5019" fmla="*/ 2311471 w 6785952"/>
              <a:gd name="connsiteY5019" fmla="*/ 4481922 h 5217112"/>
              <a:gd name="connsiteX5020" fmla="*/ 2307263 w 6785952"/>
              <a:gd name="connsiteY5020" fmla="*/ 4487345 h 5217112"/>
              <a:gd name="connsiteX5021" fmla="*/ 2309969 w 6785952"/>
              <a:gd name="connsiteY5021" fmla="*/ 4492990 h 5217112"/>
              <a:gd name="connsiteX5022" fmla="*/ 2300949 w 6785952"/>
              <a:gd name="connsiteY5022" fmla="*/ 4495978 h 5217112"/>
              <a:gd name="connsiteX5023" fmla="*/ 2297643 w 6785952"/>
              <a:gd name="connsiteY5023" fmla="*/ 4494318 h 5217112"/>
              <a:gd name="connsiteX5024" fmla="*/ 2295840 w 6785952"/>
              <a:gd name="connsiteY5024" fmla="*/ 4499187 h 5217112"/>
              <a:gd name="connsiteX5025" fmla="*/ 2296140 w 6785952"/>
              <a:gd name="connsiteY5025" fmla="*/ 4499187 h 5217112"/>
              <a:gd name="connsiteX5026" fmla="*/ 2295539 w 6785952"/>
              <a:gd name="connsiteY5026" fmla="*/ 4499851 h 5217112"/>
              <a:gd name="connsiteX5027" fmla="*/ 2294036 w 6785952"/>
              <a:gd name="connsiteY5027" fmla="*/ 4504499 h 5217112"/>
              <a:gd name="connsiteX5028" fmla="*/ 2282613 w 6785952"/>
              <a:gd name="connsiteY5028" fmla="*/ 4509148 h 5217112"/>
              <a:gd name="connsiteX5029" fmla="*/ 2279607 w 6785952"/>
              <a:gd name="connsiteY5029" fmla="*/ 4506824 h 5217112"/>
              <a:gd name="connsiteX5030" fmla="*/ 2278103 w 6785952"/>
              <a:gd name="connsiteY5030" fmla="*/ 4507156 h 5217112"/>
              <a:gd name="connsiteX5031" fmla="*/ 2274796 w 6785952"/>
              <a:gd name="connsiteY5031" fmla="*/ 4503835 h 5217112"/>
              <a:gd name="connsiteX5032" fmla="*/ 2277802 w 6785952"/>
              <a:gd name="connsiteY5032" fmla="*/ 4503393 h 5217112"/>
              <a:gd name="connsiteX5033" fmla="*/ 2279907 w 6785952"/>
              <a:gd name="connsiteY5033" fmla="*/ 4499741 h 5217112"/>
              <a:gd name="connsiteX5034" fmla="*/ 2284717 w 6785952"/>
              <a:gd name="connsiteY5034" fmla="*/ 4497195 h 5217112"/>
              <a:gd name="connsiteX5035" fmla="*/ 2296741 w 6785952"/>
              <a:gd name="connsiteY5035" fmla="*/ 4493875 h 5217112"/>
              <a:gd name="connsiteX5036" fmla="*/ 2294036 w 6785952"/>
              <a:gd name="connsiteY5036" fmla="*/ 4492658 h 5217112"/>
              <a:gd name="connsiteX5037" fmla="*/ 2296441 w 6785952"/>
              <a:gd name="connsiteY5037" fmla="*/ 4488341 h 5217112"/>
              <a:gd name="connsiteX5038" fmla="*/ 2295539 w 6785952"/>
              <a:gd name="connsiteY5038" fmla="*/ 4487899 h 5217112"/>
              <a:gd name="connsiteX5039" fmla="*/ 2295840 w 6785952"/>
              <a:gd name="connsiteY5039" fmla="*/ 4484911 h 5217112"/>
              <a:gd name="connsiteX5040" fmla="*/ 2288925 w 6785952"/>
              <a:gd name="connsiteY5040" fmla="*/ 4466539 h 5217112"/>
              <a:gd name="connsiteX5041" fmla="*/ 2288925 w 6785952"/>
              <a:gd name="connsiteY5041" fmla="*/ 4465654 h 5217112"/>
              <a:gd name="connsiteX5042" fmla="*/ 2288625 w 6785952"/>
              <a:gd name="connsiteY5042" fmla="*/ 4465432 h 5217112"/>
              <a:gd name="connsiteX5043" fmla="*/ 2288925 w 6785952"/>
              <a:gd name="connsiteY5043" fmla="*/ 4465211 h 5217112"/>
              <a:gd name="connsiteX5044" fmla="*/ 2289226 w 6785952"/>
              <a:gd name="connsiteY5044" fmla="*/ 4460895 h 5217112"/>
              <a:gd name="connsiteX5045" fmla="*/ 2291631 w 6785952"/>
              <a:gd name="connsiteY5045" fmla="*/ 4463772 h 5217112"/>
              <a:gd name="connsiteX5046" fmla="*/ 2296441 w 6785952"/>
              <a:gd name="connsiteY5046" fmla="*/ 4460895 h 5217112"/>
              <a:gd name="connsiteX5047" fmla="*/ 2299447 w 6785952"/>
              <a:gd name="connsiteY5047" fmla="*/ 4460784 h 5217112"/>
              <a:gd name="connsiteX5048" fmla="*/ 2298545 w 6785952"/>
              <a:gd name="connsiteY5048" fmla="*/ 4450270 h 5217112"/>
              <a:gd name="connsiteX5049" fmla="*/ 2300348 w 6785952"/>
              <a:gd name="connsiteY5049" fmla="*/ 4439646 h 5217112"/>
              <a:gd name="connsiteX5050" fmla="*/ 2295238 w 6785952"/>
              <a:gd name="connsiteY5050" fmla="*/ 4440531 h 5217112"/>
              <a:gd name="connsiteX5051" fmla="*/ 2294637 w 6785952"/>
              <a:gd name="connsiteY5051" fmla="*/ 4440089 h 5217112"/>
              <a:gd name="connsiteX5052" fmla="*/ 2293435 w 6785952"/>
              <a:gd name="connsiteY5052" fmla="*/ 4447172 h 5217112"/>
              <a:gd name="connsiteX5053" fmla="*/ 2290128 w 6785952"/>
              <a:gd name="connsiteY5053" fmla="*/ 4437433 h 5217112"/>
              <a:gd name="connsiteX5054" fmla="*/ 2290128 w 6785952"/>
              <a:gd name="connsiteY5054" fmla="*/ 4435773 h 5217112"/>
              <a:gd name="connsiteX5055" fmla="*/ 2283514 w 6785952"/>
              <a:gd name="connsiteY5055" fmla="*/ 4429575 h 5217112"/>
              <a:gd name="connsiteX5056" fmla="*/ 2281109 w 6785952"/>
              <a:gd name="connsiteY5056" fmla="*/ 4423488 h 5217112"/>
              <a:gd name="connsiteX5057" fmla="*/ 2295238 w 6785952"/>
              <a:gd name="connsiteY5057" fmla="*/ 4419725 h 5217112"/>
              <a:gd name="connsiteX5058" fmla="*/ 2297643 w 6785952"/>
              <a:gd name="connsiteY5058" fmla="*/ 4422824 h 5217112"/>
              <a:gd name="connsiteX5059" fmla="*/ 2300048 w 6785952"/>
              <a:gd name="connsiteY5059" fmla="*/ 4423931 h 5217112"/>
              <a:gd name="connsiteX5060" fmla="*/ 2303355 w 6785952"/>
              <a:gd name="connsiteY5060" fmla="*/ 4421164 h 5217112"/>
              <a:gd name="connsiteX5061" fmla="*/ 2306963 w 6785952"/>
              <a:gd name="connsiteY5061" fmla="*/ 4414413 h 5217112"/>
              <a:gd name="connsiteX5062" fmla="*/ 1277657 w 6785952"/>
              <a:gd name="connsiteY5062" fmla="*/ 4414413 h 5217112"/>
              <a:gd name="connsiteX5063" fmla="*/ 1283069 w 6785952"/>
              <a:gd name="connsiteY5063" fmla="*/ 4422271 h 5217112"/>
              <a:gd name="connsiteX5064" fmla="*/ 1284571 w 6785952"/>
              <a:gd name="connsiteY5064" fmla="*/ 4431014 h 5217112"/>
              <a:gd name="connsiteX5065" fmla="*/ 1274351 w 6785952"/>
              <a:gd name="connsiteY5065" fmla="*/ 4431567 h 5217112"/>
              <a:gd name="connsiteX5066" fmla="*/ 1275252 w 6785952"/>
              <a:gd name="connsiteY5066" fmla="*/ 4434887 h 5217112"/>
              <a:gd name="connsiteX5067" fmla="*/ 1274351 w 6785952"/>
              <a:gd name="connsiteY5067" fmla="*/ 4439093 h 5217112"/>
              <a:gd name="connsiteX5068" fmla="*/ 1271946 w 6785952"/>
              <a:gd name="connsiteY5068" fmla="*/ 4439535 h 5217112"/>
              <a:gd name="connsiteX5069" fmla="*/ 1279761 w 6785952"/>
              <a:gd name="connsiteY5069" fmla="*/ 4446286 h 5217112"/>
              <a:gd name="connsiteX5070" fmla="*/ 1282768 w 6785952"/>
              <a:gd name="connsiteY5070" fmla="*/ 4452816 h 5217112"/>
              <a:gd name="connsiteX5071" fmla="*/ 1283670 w 6785952"/>
              <a:gd name="connsiteY5071" fmla="*/ 4463994 h 5217112"/>
              <a:gd name="connsiteX5072" fmla="*/ 1283670 w 6785952"/>
              <a:gd name="connsiteY5072" fmla="*/ 4464990 h 5217112"/>
              <a:gd name="connsiteX5073" fmla="*/ 1288178 w 6785952"/>
              <a:gd name="connsiteY5073" fmla="*/ 4466982 h 5217112"/>
              <a:gd name="connsiteX5074" fmla="*/ 1283069 w 6785952"/>
              <a:gd name="connsiteY5074" fmla="*/ 4470523 h 5217112"/>
              <a:gd name="connsiteX5075" fmla="*/ 1282466 w 6785952"/>
              <a:gd name="connsiteY5075" fmla="*/ 4475946 h 5217112"/>
              <a:gd name="connsiteX5076" fmla="*/ 1275252 w 6785952"/>
              <a:gd name="connsiteY5076" fmla="*/ 4472958 h 5217112"/>
              <a:gd name="connsiteX5077" fmla="*/ 1274651 w 6785952"/>
              <a:gd name="connsiteY5077" fmla="*/ 4472073 h 5217112"/>
              <a:gd name="connsiteX5078" fmla="*/ 1266835 w 6785952"/>
              <a:gd name="connsiteY5078" fmla="*/ 4470966 h 5217112"/>
              <a:gd name="connsiteX5079" fmla="*/ 1259620 w 6785952"/>
              <a:gd name="connsiteY5079" fmla="*/ 4465432 h 5217112"/>
              <a:gd name="connsiteX5080" fmla="*/ 1267436 w 6785952"/>
              <a:gd name="connsiteY5080" fmla="*/ 4460895 h 5217112"/>
              <a:gd name="connsiteX5081" fmla="*/ 1270442 w 6785952"/>
              <a:gd name="connsiteY5081" fmla="*/ 4460784 h 5217112"/>
              <a:gd name="connsiteX5082" fmla="*/ 1269240 w 6785952"/>
              <a:gd name="connsiteY5082" fmla="*/ 4450270 h 5217112"/>
              <a:gd name="connsiteX5083" fmla="*/ 1271344 w 6785952"/>
              <a:gd name="connsiteY5083" fmla="*/ 4439646 h 5217112"/>
              <a:gd name="connsiteX5084" fmla="*/ 1266234 w 6785952"/>
              <a:gd name="connsiteY5084" fmla="*/ 4440531 h 5217112"/>
              <a:gd name="connsiteX5085" fmla="*/ 1251804 w 6785952"/>
              <a:gd name="connsiteY5085" fmla="*/ 4423488 h 5217112"/>
              <a:gd name="connsiteX5086" fmla="*/ 1266234 w 6785952"/>
              <a:gd name="connsiteY5086" fmla="*/ 4419725 h 5217112"/>
              <a:gd name="connsiteX5087" fmla="*/ 1268638 w 6785952"/>
              <a:gd name="connsiteY5087" fmla="*/ 4422824 h 5217112"/>
              <a:gd name="connsiteX5088" fmla="*/ 1271043 w 6785952"/>
              <a:gd name="connsiteY5088" fmla="*/ 4423931 h 5217112"/>
              <a:gd name="connsiteX5089" fmla="*/ 1274351 w 6785952"/>
              <a:gd name="connsiteY5089" fmla="*/ 4421164 h 5217112"/>
              <a:gd name="connsiteX5090" fmla="*/ 1277657 w 6785952"/>
              <a:gd name="connsiteY5090" fmla="*/ 4414413 h 5217112"/>
              <a:gd name="connsiteX5091" fmla="*/ 1016122 w 6785952"/>
              <a:gd name="connsiteY5091" fmla="*/ 4413085 h 5217112"/>
              <a:gd name="connsiteX5092" fmla="*/ 1024840 w 6785952"/>
              <a:gd name="connsiteY5092" fmla="*/ 4418065 h 5217112"/>
              <a:gd name="connsiteX5093" fmla="*/ 1022135 w 6785952"/>
              <a:gd name="connsiteY5093" fmla="*/ 4426033 h 5217112"/>
              <a:gd name="connsiteX5094" fmla="*/ 1029349 w 6785952"/>
              <a:gd name="connsiteY5094" fmla="*/ 4422381 h 5217112"/>
              <a:gd name="connsiteX5095" fmla="*/ 1037466 w 6785952"/>
              <a:gd name="connsiteY5095" fmla="*/ 4420389 h 5217112"/>
              <a:gd name="connsiteX5096" fmla="*/ 1044080 w 6785952"/>
              <a:gd name="connsiteY5096" fmla="*/ 4438539 h 5217112"/>
              <a:gd name="connsiteX5097" fmla="*/ 1005301 w 6785952"/>
              <a:gd name="connsiteY5097" fmla="*/ 4441638 h 5217112"/>
              <a:gd name="connsiteX5098" fmla="*/ 1019429 w 6785952"/>
              <a:gd name="connsiteY5098" fmla="*/ 4427251 h 5217112"/>
              <a:gd name="connsiteX5099" fmla="*/ 1020932 w 6785952"/>
              <a:gd name="connsiteY5099" fmla="*/ 4426476 h 5217112"/>
              <a:gd name="connsiteX5100" fmla="*/ 1015521 w 6785952"/>
              <a:gd name="connsiteY5100" fmla="*/ 4420057 h 5217112"/>
              <a:gd name="connsiteX5101" fmla="*/ 1016122 w 6785952"/>
              <a:gd name="connsiteY5101" fmla="*/ 4413085 h 5217112"/>
              <a:gd name="connsiteX5102" fmla="*/ 5782671 w 6785952"/>
              <a:gd name="connsiteY5102" fmla="*/ 4412974 h 5217112"/>
              <a:gd name="connsiteX5103" fmla="*/ 5792892 w 6785952"/>
              <a:gd name="connsiteY5103" fmla="*/ 4418176 h 5217112"/>
              <a:gd name="connsiteX5104" fmla="*/ 5796801 w 6785952"/>
              <a:gd name="connsiteY5104" fmla="*/ 4422603 h 5217112"/>
              <a:gd name="connsiteX5105" fmla="*/ 5798303 w 6785952"/>
              <a:gd name="connsiteY5105" fmla="*/ 4422160 h 5217112"/>
              <a:gd name="connsiteX5106" fmla="*/ 5807321 w 6785952"/>
              <a:gd name="connsiteY5106" fmla="*/ 4420168 h 5217112"/>
              <a:gd name="connsiteX5107" fmla="*/ 5810027 w 6785952"/>
              <a:gd name="connsiteY5107" fmla="*/ 4421607 h 5217112"/>
              <a:gd name="connsiteX5108" fmla="*/ 5809727 w 6785952"/>
              <a:gd name="connsiteY5108" fmla="*/ 4425591 h 5217112"/>
              <a:gd name="connsiteX5109" fmla="*/ 5802212 w 6785952"/>
              <a:gd name="connsiteY5109" fmla="*/ 4429022 h 5217112"/>
              <a:gd name="connsiteX5110" fmla="*/ 5808825 w 6785952"/>
              <a:gd name="connsiteY5110" fmla="*/ 4440974 h 5217112"/>
              <a:gd name="connsiteX5111" fmla="*/ 5812132 w 6785952"/>
              <a:gd name="connsiteY5111" fmla="*/ 4450824 h 5217112"/>
              <a:gd name="connsiteX5112" fmla="*/ 5776659 w 6785952"/>
              <a:gd name="connsiteY5112" fmla="*/ 4414081 h 5217112"/>
              <a:gd name="connsiteX5113" fmla="*/ 5782671 w 6785952"/>
              <a:gd name="connsiteY5113" fmla="*/ 4412974 h 5217112"/>
              <a:gd name="connsiteX5114" fmla="*/ 1988912 w 6785952"/>
              <a:gd name="connsiteY5114" fmla="*/ 4412974 h 5217112"/>
              <a:gd name="connsiteX5115" fmla="*/ 1999434 w 6785952"/>
              <a:gd name="connsiteY5115" fmla="*/ 4418176 h 5217112"/>
              <a:gd name="connsiteX5116" fmla="*/ 2003041 w 6785952"/>
              <a:gd name="connsiteY5116" fmla="*/ 4422603 h 5217112"/>
              <a:gd name="connsiteX5117" fmla="*/ 2004544 w 6785952"/>
              <a:gd name="connsiteY5117" fmla="*/ 4422160 h 5217112"/>
              <a:gd name="connsiteX5118" fmla="*/ 2013863 w 6785952"/>
              <a:gd name="connsiteY5118" fmla="*/ 4420168 h 5217112"/>
              <a:gd name="connsiteX5119" fmla="*/ 2016568 w 6785952"/>
              <a:gd name="connsiteY5119" fmla="*/ 4421607 h 5217112"/>
              <a:gd name="connsiteX5120" fmla="*/ 2016268 w 6785952"/>
              <a:gd name="connsiteY5120" fmla="*/ 4425591 h 5217112"/>
              <a:gd name="connsiteX5121" fmla="*/ 2008752 w 6785952"/>
              <a:gd name="connsiteY5121" fmla="*/ 4429022 h 5217112"/>
              <a:gd name="connsiteX5122" fmla="*/ 2008452 w 6785952"/>
              <a:gd name="connsiteY5122" fmla="*/ 4429022 h 5217112"/>
              <a:gd name="connsiteX5123" fmla="*/ 2015366 w 6785952"/>
              <a:gd name="connsiteY5123" fmla="*/ 4440974 h 5217112"/>
              <a:gd name="connsiteX5124" fmla="*/ 2018372 w 6785952"/>
              <a:gd name="connsiteY5124" fmla="*/ 4450824 h 5217112"/>
              <a:gd name="connsiteX5125" fmla="*/ 1982900 w 6785952"/>
              <a:gd name="connsiteY5125" fmla="*/ 4414081 h 5217112"/>
              <a:gd name="connsiteX5126" fmla="*/ 1988912 w 6785952"/>
              <a:gd name="connsiteY5126" fmla="*/ 4412974 h 5217112"/>
              <a:gd name="connsiteX5127" fmla="*/ 2903383 w 6785952"/>
              <a:gd name="connsiteY5127" fmla="*/ 4409322 h 5217112"/>
              <a:gd name="connsiteX5128" fmla="*/ 2908794 w 6785952"/>
              <a:gd name="connsiteY5128" fmla="*/ 4419393 h 5217112"/>
              <a:gd name="connsiteX5129" fmla="*/ 2905486 w 6785952"/>
              <a:gd name="connsiteY5129" fmla="*/ 4427361 h 5217112"/>
              <a:gd name="connsiteX5130" fmla="*/ 2895266 w 6785952"/>
              <a:gd name="connsiteY5130" fmla="*/ 4416405 h 5217112"/>
              <a:gd name="connsiteX5131" fmla="*/ 2903383 w 6785952"/>
              <a:gd name="connsiteY5131" fmla="*/ 4409322 h 5217112"/>
              <a:gd name="connsiteX5132" fmla="*/ 5139655 w 6785952"/>
              <a:gd name="connsiteY5132" fmla="*/ 4409101 h 5217112"/>
              <a:gd name="connsiteX5133" fmla="*/ 5143264 w 6785952"/>
              <a:gd name="connsiteY5133" fmla="*/ 4409765 h 5217112"/>
              <a:gd name="connsiteX5134" fmla="*/ 5129435 w 6785952"/>
              <a:gd name="connsiteY5134" fmla="*/ 4417401 h 5217112"/>
              <a:gd name="connsiteX5135" fmla="*/ 5139655 w 6785952"/>
              <a:gd name="connsiteY5135" fmla="*/ 4409101 h 5217112"/>
              <a:gd name="connsiteX5136" fmla="*/ 2374901 w 6785952"/>
              <a:gd name="connsiteY5136" fmla="*/ 4409101 h 5217112"/>
              <a:gd name="connsiteX5137" fmla="*/ 2378810 w 6785952"/>
              <a:gd name="connsiteY5137" fmla="*/ 4409765 h 5217112"/>
              <a:gd name="connsiteX5138" fmla="*/ 2364981 w 6785952"/>
              <a:gd name="connsiteY5138" fmla="*/ 4417401 h 5217112"/>
              <a:gd name="connsiteX5139" fmla="*/ 2374901 w 6785952"/>
              <a:gd name="connsiteY5139" fmla="*/ 4409101 h 5217112"/>
              <a:gd name="connsiteX5140" fmla="*/ 1345896 w 6785952"/>
              <a:gd name="connsiteY5140" fmla="*/ 4409101 h 5217112"/>
              <a:gd name="connsiteX5141" fmla="*/ 1349805 w 6785952"/>
              <a:gd name="connsiteY5141" fmla="*/ 4409765 h 5217112"/>
              <a:gd name="connsiteX5142" fmla="*/ 1335676 w 6785952"/>
              <a:gd name="connsiteY5142" fmla="*/ 4417401 h 5217112"/>
              <a:gd name="connsiteX5143" fmla="*/ 1345896 w 6785952"/>
              <a:gd name="connsiteY5143" fmla="*/ 4409101 h 5217112"/>
              <a:gd name="connsiteX5144" fmla="*/ 6147618 w 6785952"/>
              <a:gd name="connsiteY5144" fmla="*/ 4408326 h 5217112"/>
              <a:gd name="connsiteX5145" fmla="*/ 6151827 w 6785952"/>
              <a:gd name="connsiteY5145" fmla="*/ 4419061 h 5217112"/>
              <a:gd name="connsiteX5146" fmla="*/ 6136495 w 6785952"/>
              <a:gd name="connsiteY5146" fmla="*/ 4427029 h 5217112"/>
              <a:gd name="connsiteX5147" fmla="*/ 6132586 w 6785952"/>
              <a:gd name="connsiteY5147" fmla="*/ 4410097 h 5217112"/>
              <a:gd name="connsiteX5148" fmla="*/ 6147618 w 6785952"/>
              <a:gd name="connsiteY5148" fmla="*/ 4408326 h 5217112"/>
              <a:gd name="connsiteX5149" fmla="*/ 2353859 w 6785952"/>
              <a:gd name="connsiteY5149" fmla="*/ 4408326 h 5217112"/>
              <a:gd name="connsiteX5150" fmla="*/ 2358367 w 6785952"/>
              <a:gd name="connsiteY5150" fmla="*/ 4419061 h 5217112"/>
              <a:gd name="connsiteX5151" fmla="*/ 2348748 w 6785952"/>
              <a:gd name="connsiteY5151" fmla="*/ 4427804 h 5217112"/>
              <a:gd name="connsiteX5152" fmla="*/ 2356564 w 6785952"/>
              <a:gd name="connsiteY5152" fmla="*/ 4433006 h 5217112"/>
              <a:gd name="connsiteX5153" fmla="*/ 2340932 w 6785952"/>
              <a:gd name="connsiteY5153" fmla="*/ 4439646 h 5217112"/>
              <a:gd name="connsiteX5154" fmla="*/ 2339128 w 6785952"/>
              <a:gd name="connsiteY5154" fmla="*/ 4433670 h 5217112"/>
              <a:gd name="connsiteX5155" fmla="*/ 2347545 w 6785952"/>
              <a:gd name="connsiteY5155" fmla="*/ 4428026 h 5217112"/>
              <a:gd name="connsiteX5156" fmla="*/ 2342736 w 6785952"/>
              <a:gd name="connsiteY5156" fmla="*/ 4427029 h 5217112"/>
              <a:gd name="connsiteX5157" fmla="*/ 2338827 w 6785952"/>
              <a:gd name="connsiteY5157" fmla="*/ 4410097 h 5217112"/>
              <a:gd name="connsiteX5158" fmla="*/ 2353859 w 6785952"/>
              <a:gd name="connsiteY5158" fmla="*/ 4408326 h 5217112"/>
              <a:gd name="connsiteX5159" fmla="*/ 5886985 w 6785952"/>
              <a:gd name="connsiteY5159" fmla="*/ 4407109 h 5217112"/>
              <a:gd name="connsiteX5160" fmla="*/ 5905924 w 6785952"/>
              <a:gd name="connsiteY5160" fmla="*/ 4413085 h 5217112"/>
              <a:gd name="connsiteX5161" fmla="*/ 5907728 w 6785952"/>
              <a:gd name="connsiteY5161" fmla="*/ 4415852 h 5217112"/>
              <a:gd name="connsiteX5162" fmla="*/ 5905622 w 6785952"/>
              <a:gd name="connsiteY5162" fmla="*/ 4419061 h 5217112"/>
              <a:gd name="connsiteX5163" fmla="*/ 5897506 w 6785952"/>
              <a:gd name="connsiteY5163" fmla="*/ 4417844 h 5217112"/>
              <a:gd name="connsiteX5164" fmla="*/ 5891494 w 6785952"/>
              <a:gd name="connsiteY5164" fmla="*/ 4410871 h 5217112"/>
              <a:gd name="connsiteX5165" fmla="*/ 5886985 w 6785952"/>
              <a:gd name="connsiteY5165" fmla="*/ 4408658 h 5217112"/>
              <a:gd name="connsiteX5166" fmla="*/ 5886985 w 6785952"/>
              <a:gd name="connsiteY5166" fmla="*/ 4407109 h 5217112"/>
              <a:gd name="connsiteX5167" fmla="*/ 3173936 w 6785952"/>
              <a:gd name="connsiteY5167" fmla="*/ 4406998 h 5217112"/>
              <a:gd name="connsiteX5168" fmla="*/ 3176340 w 6785952"/>
              <a:gd name="connsiteY5168" fmla="*/ 4415520 h 5217112"/>
              <a:gd name="connsiteX5169" fmla="*/ 3176941 w 6785952"/>
              <a:gd name="connsiteY5169" fmla="*/ 4414413 h 5217112"/>
              <a:gd name="connsiteX5170" fmla="*/ 3187163 w 6785952"/>
              <a:gd name="connsiteY5170" fmla="*/ 4423599 h 5217112"/>
              <a:gd name="connsiteX5171" fmla="*/ 3195279 w 6785952"/>
              <a:gd name="connsiteY5171" fmla="*/ 4426144 h 5217112"/>
              <a:gd name="connsiteX5172" fmla="*/ 3205199 w 6785952"/>
              <a:gd name="connsiteY5172" fmla="*/ 4428800 h 5217112"/>
              <a:gd name="connsiteX5173" fmla="*/ 3212114 w 6785952"/>
              <a:gd name="connsiteY5173" fmla="*/ 4431456 h 5217112"/>
              <a:gd name="connsiteX5174" fmla="*/ 3210310 w 6785952"/>
              <a:gd name="connsiteY5174" fmla="*/ 4429354 h 5217112"/>
              <a:gd name="connsiteX5175" fmla="*/ 3205501 w 6785952"/>
              <a:gd name="connsiteY5175" fmla="*/ 4421496 h 5217112"/>
              <a:gd name="connsiteX5176" fmla="*/ 3207003 w 6785952"/>
              <a:gd name="connsiteY5176" fmla="*/ 4420500 h 5217112"/>
              <a:gd name="connsiteX5177" fmla="*/ 3204298 w 6785952"/>
              <a:gd name="connsiteY5177" fmla="*/ 4416405 h 5217112"/>
              <a:gd name="connsiteX5178" fmla="*/ 3204298 w 6785952"/>
              <a:gd name="connsiteY5178" fmla="*/ 4414856 h 5217112"/>
              <a:gd name="connsiteX5179" fmla="*/ 3200390 w 6785952"/>
              <a:gd name="connsiteY5179" fmla="*/ 4412642 h 5217112"/>
              <a:gd name="connsiteX5180" fmla="*/ 3194979 w 6785952"/>
              <a:gd name="connsiteY5180" fmla="*/ 4420611 h 5217112"/>
              <a:gd name="connsiteX5181" fmla="*/ 3173936 w 6785952"/>
              <a:gd name="connsiteY5181" fmla="*/ 4406998 h 5217112"/>
              <a:gd name="connsiteX5182" fmla="*/ 6399532 w 6785952"/>
              <a:gd name="connsiteY5182" fmla="*/ 4406113 h 5217112"/>
              <a:gd name="connsiteX5183" fmla="*/ 6411558 w 6785952"/>
              <a:gd name="connsiteY5183" fmla="*/ 4406334 h 5217112"/>
              <a:gd name="connsiteX5184" fmla="*/ 6419073 w 6785952"/>
              <a:gd name="connsiteY5184" fmla="*/ 4409986 h 5217112"/>
              <a:gd name="connsiteX5185" fmla="*/ 6399532 w 6785952"/>
              <a:gd name="connsiteY5185" fmla="*/ 4406113 h 5217112"/>
              <a:gd name="connsiteX5186" fmla="*/ 5144165 w 6785952"/>
              <a:gd name="connsiteY5186" fmla="*/ 4406113 h 5217112"/>
              <a:gd name="connsiteX5187" fmla="*/ 5155889 w 6785952"/>
              <a:gd name="connsiteY5187" fmla="*/ 4406334 h 5217112"/>
              <a:gd name="connsiteX5188" fmla="*/ 5163405 w 6785952"/>
              <a:gd name="connsiteY5188" fmla="*/ 4409986 h 5217112"/>
              <a:gd name="connsiteX5189" fmla="*/ 5144165 w 6785952"/>
              <a:gd name="connsiteY5189" fmla="*/ 4406113 h 5217112"/>
              <a:gd name="connsiteX5190" fmla="*/ 2606074 w 6785952"/>
              <a:gd name="connsiteY5190" fmla="*/ 4406113 h 5217112"/>
              <a:gd name="connsiteX5191" fmla="*/ 2617798 w 6785952"/>
              <a:gd name="connsiteY5191" fmla="*/ 4406334 h 5217112"/>
              <a:gd name="connsiteX5192" fmla="*/ 2625313 w 6785952"/>
              <a:gd name="connsiteY5192" fmla="*/ 4409986 h 5217112"/>
              <a:gd name="connsiteX5193" fmla="*/ 2606074 w 6785952"/>
              <a:gd name="connsiteY5193" fmla="*/ 4406113 h 5217112"/>
              <a:gd name="connsiteX5194" fmla="*/ 2231509 w 6785952"/>
              <a:gd name="connsiteY5194" fmla="*/ 4406113 h 5217112"/>
              <a:gd name="connsiteX5195" fmla="*/ 2233011 w 6785952"/>
              <a:gd name="connsiteY5195" fmla="*/ 4409433 h 5217112"/>
              <a:gd name="connsiteX5196" fmla="*/ 2231207 w 6785952"/>
              <a:gd name="connsiteY5196" fmla="*/ 4413970 h 5217112"/>
              <a:gd name="connsiteX5197" fmla="*/ 2224594 w 6785952"/>
              <a:gd name="connsiteY5197" fmla="*/ 4414745 h 5217112"/>
              <a:gd name="connsiteX5198" fmla="*/ 2223090 w 6785952"/>
              <a:gd name="connsiteY5198" fmla="*/ 4411425 h 5217112"/>
              <a:gd name="connsiteX5199" fmla="*/ 2223090 w 6785952"/>
              <a:gd name="connsiteY5199" fmla="*/ 4406777 h 5217112"/>
              <a:gd name="connsiteX5200" fmla="*/ 2231509 w 6785952"/>
              <a:gd name="connsiteY5200" fmla="*/ 4406113 h 5217112"/>
              <a:gd name="connsiteX5201" fmla="*/ 1202504 w 6785952"/>
              <a:gd name="connsiteY5201" fmla="*/ 4406113 h 5217112"/>
              <a:gd name="connsiteX5202" fmla="*/ 1204006 w 6785952"/>
              <a:gd name="connsiteY5202" fmla="*/ 4409433 h 5217112"/>
              <a:gd name="connsiteX5203" fmla="*/ 1202203 w 6785952"/>
              <a:gd name="connsiteY5203" fmla="*/ 4413970 h 5217112"/>
              <a:gd name="connsiteX5204" fmla="*/ 1195589 w 6785952"/>
              <a:gd name="connsiteY5204" fmla="*/ 4414745 h 5217112"/>
              <a:gd name="connsiteX5205" fmla="*/ 1194087 w 6785952"/>
              <a:gd name="connsiteY5205" fmla="*/ 4411425 h 5217112"/>
              <a:gd name="connsiteX5206" fmla="*/ 1194087 w 6785952"/>
              <a:gd name="connsiteY5206" fmla="*/ 4406777 h 5217112"/>
              <a:gd name="connsiteX5207" fmla="*/ 1202504 w 6785952"/>
              <a:gd name="connsiteY5207" fmla="*/ 4406113 h 5217112"/>
              <a:gd name="connsiteX5208" fmla="*/ 5445983 w 6785952"/>
              <a:gd name="connsiteY5208" fmla="*/ 4405449 h 5217112"/>
              <a:gd name="connsiteX5209" fmla="*/ 5445983 w 6785952"/>
              <a:gd name="connsiteY5209" fmla="*/ 4406998 h 5217112"/>
              <a:gd name="connsiteX5210" fmla="*/ 5448087 w 6785952"/>
              <a:gd name="connsiteY5210" fmla="*/ 4413417 h 5217112"/>
              <a:gd name="connsiteX5211" fmla="*/ 5439971 w 6785952"/>
              <a:gd name="connsiteY5211" fmla="*/ 4412974 h 5217112"/>
              <a:gd name="connsiteX5212" fmla="*/ 5441174 w 6785952"/>
              <a:gd name="connsiteY5212" fmla="*/ 4406777 h 5217112"/>
              <a:gd name="connsiteX5213" fmla="*/ 5445983 w 6785952"/>
              <a:gd name="connsiteY5213" fmla="*/ 4405449 h 5217112"/>
              <a:gd name="connsiteX5214" fmla="*/ 1652224 w 6785952"/>
              <a:gd name="connsiteY5214" fmla="*/ 4405449 h 5217112"/>
              <a:gd name="connsiteX5215" fmla="*/ 1652524 w 6785952"/>
              <a:gd name="connsiteY5215" fmla="*/ 4406998 h 5217112"/>
              <a:gd name="connsiteX5216" fmla="*/ 1654327 w 6785952"/>
              <a:gd name="connsiteY5216" fmla="*/ 4413417 h 5217112"/>
              <a:gd name="connsiteX5217" fmla="*/ 1646211 w 6785952"/>
              <a:gd name="connsiteY5217" fmla="*/ 4412974 h 5217112"/>
              <a:gd name="connsiteX5218" fmla="*/ 1647413 w 6785952"/>
              <a:gd name="connsiteY5218" fmla="*/ 4406777 h 5217112"/>
              <a:gd name="connsiteX5219" fmla="*/ 1652224 w 6785952"/>
              <a:gd name="connsiteY5219" fmla="*/ 4405449 h 5217112"/>
              <a:gd name="connsiteX5220" fmla="*/ 1241884 w 6785952"/>
              <a:gd name="connsiteY5220" fmla="*/ 4403456 h 5217112"/>
              <a:gd name="connsiteX5221" fmla="*/ 1244590 w 6785952"/>
              <a:gd name="connsiteY5221" fmla="*/ 4407773 h 5217112"/>
              <a:gd name="connsiteX5222" fmla="*/ 1242786 w 6785952"/>
              <a:gd name="connsiteY5222" fmla="*/ 4411203 h 5217112"/>
              <a:gd name="connsiteX5223" fmla="*/ 1237675 w 6785952"/>
              <a:gd name="connsiteY5223" fmla="*/ 4406666 h 5217112"/>
              <a:gd name="connsiteX5224" fmla="*/ 1241884 w 6785952"/>
              <a:gd name="connsiteY5224" fmla="*/ 4403456 h 5217112"/>
              <a:gd name="connsiteX5225" fmla="*/ 1872874 w 6785952"/>
              <a:gd name="connsiteY5225" fmla="*/ 4403124 h 5217112"/>
              <a:gd name="connsiteX5226" fmla="*/ 1879789 w 6785952"/>
              <a:gd name="connsiteY5226" fmla="*/ 4426255 h 5217112"/>
              <a:gd name="connsiteX5227" fmla="*/ 1865058 w 6785952"/>
              <a:gd name="connsiteY5227" fmla="*/ 4422381 h 5217112"/>
              <a:gd name="connsiteX5228" fmla="*/ 1872874 w 6785952"/>
              <a:gd name="connsiteY5228" fmla="*/ 4403124 h 5217112"/>
              <a:gd name="connsiteX5229" fmla="*/ 843869 w 6785952"/>
              <a:gd name="connsiteY5229" fmla="*/ 4403124 h 5217112"/>
              <a:gd name="connsiteX5230" fmla="*/ 850784 w 6785952"/>
              <a:gd name="connsiteY5230" fmla="*/ 4426255 h 5217112"/>
              <a:gd name="connsiteX5231" fmla="*/ 836054 w 6785952"/>
              <a:gd name="connsiteY5231" fmla="*/ 4422381 h 5217112"/>
              <a:gd name="connsiteX5232" fmla="*/ 843869 w 6785952"/>
              <a:gd name="connsiteY5232" fmla="*/ 4403124 h 5217112"/>
              <a:gd name="connsiteX5233" fmla="*/ 5509413 w 6785952"/>
              <a:gd name="connsiteY5233" fmla="*/ 4402903 h 5217112"/>
              <a:gd name="connsiteX5234" fmla="*/ 5507608 w 6785952"/>
              <a:gd name="connsiteY5234" fmla="*/ 4411867 h 5217112"/>
              <a:gd name="connsiteX5235" fmla="*/ 5503100 w 6785952"/>
              <a:gd name="connsiteY5235" fmla="*/ 4404121 h 5217112"/>
              <a:gd name="connsiteX5236" fmla="*/ 5509413 w 6785952"/>
              <a:gd name="connsiteY5236" fmla="*/ 4402903 h 5217112"/>
              <a:gd name="connsiteX5237" fmla="*/ 2744959 w 6785952"/>
              <a:gd name="connsiteY5237" fmla="*/ 4402903 h 5217112"/>
              <a:gd name="connsiteX5238" fmla="*/ 2743155 w 6785952"/>
              <a:gd name="connsiteY5238" fmla="*/ 4411867 h 5217112"/>
              <a:gd name="connsiteX5239" fmla="*/ 2738645 w 6785952"/>
              <a:gd name="connsiteY5239" fmla="*/ 4404121 h 5217112"/>
              <a:gd name="connsiteX5240" fmla="*/ 2744959 w 6785952"/>
              <a:gd name="connsiteY5240" fmla="*/ 4402903 h 5217112"/>
              <a:gd name="connsiteX5241" fmla="*/ 1715653 w 6785952"/>
              <a:gd name="connsiteY5241" fmla="*/ 4402903 h 5217112"/>
              <a:gd name="connsiteX5242" fmla="*/ 1714150 w 6785952"/>
              <a:gd name="connsiteY5242" fmla="*/ 4411867 h 5217112"/>
              <a:gd name="connsiteX5243" fmla="*/ 1709340 w 6785952"/>
              <a:gd name="connsiteY5243" fmla="*/ 4404121 h 5217112"/>
              <a:gd name="connsiteX5244" fmla="*/ 1715653 w 6785952"/>
              <a:gd name="connsiteY5244" fmla="*/ 4402903 h 5217112"/>
              <a:gd name="connsiteX5245" fmla="*/ 6109740 w 6785952"/>
              <a:gd name="connsiteY5245" fmla="*/ 4402682 h 5217112"/>
              <a:gd name="connsiteX5246" fmla="*/ 6116053 w 6785952"/>
              <a:gd name="connsiteY5246" fmla="*/ 4403678 h 5217112"/>
              <a:gd name="connsiteX5247" fmla="*/ 6122667 w 6785952"/>
              <a:gd name="connsiteY5247" fmla="*/ 4416184 h 5217112"/>
              <a:gd name="connsiteX5248" fmla="*/ 6121464 w 6785952"/>
              <a:gd name="connsiteY5248" fmla="*/ 4419614 h 5217112"/>
              <a:gd name="connsiteX5249" fmla="*/ 6113649 w 6785952"/>
              <a:gd name="connsiteY5249" fmla="*/ 4416848 h 5217112"/>
              <a:gd name="connsiteX5250" fmla="*/ 6109740 w 6785952"/>
              <a:gd name="connsiteY5250" fmla="*/ 4402682 h 5217112"/>
              <a:gd name="connsiteX5251" fmla="*/ 2315981 w 6785952"/>
              <a:gd name="connsiteY5251" fmla="*/ 4402682 h 5217112"/>
              <a:gd name="connsiteX5252" fmla="*/ 2322594 w 6785952"/>
              <a:gd name="connsiteY5252" fmla="*/ 4403678 h 5217112"/>
              <a:gd name="connsiteX5253" fmla="*/ 2328908 w 6785952"/>
              <a:gd name="connsiteY5253" fmla="*/ 4416184 h 5217112"/>
              <a:gd name="connsiteX5254" fmla="*/ 2327705 w 6785952"/>
              <a:gd name="connsiteY5254" fmla="*/ 4419614 h 5217112"/>
              <a:gd name="connsiteX5255" fmla="*/ 2319888 w 6785952"/>
              <a:gd name="connsiteY5255" fmla="*/ 4416848 h 5217112"/>
              <a:gd name="connsiteX5256" fmla="*/ 2315981 w 6785952"/>
              <a:gd name="connsiteY5256" fmla="*/ 4402682 h 5217112"/>
              <a:gd name="connsiteX5257" fmla="*/ 5838285 w 6785952"/>
              <a:gd name="connsiteY5257" fmla="*/ 4401132 h 5217112"/>
              <a:gd name="connsiteX5258" fmla="*/ 5853617 w 6785952"/>
              <a:gd name="connsiteY5258" fmla="*/ 4413860 h 5217112"/>
              <a:gd name="connsiteX5259" fmla="*/ 5852415 w 6785952"/>
              <a:gd name="connsiteY5259" fmla="*/ 4420611 h 5217112"/>
              <a:gd name="connsiteX5260" fmla="*/ 5843996 w 6785952"/>
              <a:gd name="connsiteY5260" fmla="*/ 4428468 h 5217112"/>
              <a:gd name="connsiteX5261" fmla="*/ 5831672 w 6785952"/>
              <a:gd name="connsiteY5261" fmla="*/ 4421496 h 5217112"/>
              <a:gd name="connsiteX5262" fmla="*/ 5831672 w 6785952"/>
              <a:gd name="connsiteY5262" fmla="*/ 4421275 h 5217112"/>
              <a:gd name="connsiteX5263" fmla="*/ 5831371 w 6785952"/>
              <a:gd name="connsiteY5263" fmla="*/ 4423045 h 5217112"/>
              <a:gd name="connsiteX5264" fmla="*/ 5831071 w 6785952"/>
              <a:gd name="connsiteY5264" fmla="*/ 4421607 h 5217112"/>
              <a:gd name="connsiteX5265" fmla="*/ 5831371 w 6785952"/>
              <a:gd name="connsiteY5265" fmla="*/ 4420943 h 5217112"/>
              <a:gd name="connsiteX5266" fmla="*/ 5827763 w 6785952"/>
              <a:gd name="connsiteY5266" fmla="*/ 4414524 h 5217112"/>
              <a:gd name="connsiteX5267" fmla="*/ 5827462 w 6785952"/>
              <a:gd name="connsiteY5267" fmla="*/ 4408105 h 5217112"/>
              <a:gd name="connsiteX5268" fmla="*/ 5838285 w 6785952"/>
              <a:gd name="connsiteY5268" fmla="*/ 4401132 h 5217112"/>
              <a:gd name="connsiteX5269" fmla="*/ 2044525 w 6785952"/>
              <a:gd name="connsiteY5269" fmla="*/ 4401132 h 5217112"/>
              <a:gd name="connsiteX5270" fmla="*/ 2059857 w 6785952"/>
              <a:gd name="connsiteY5270" fmla="*/ 4413860 h 5217112"/>
              <a:gd name="connsiteX5271" fmla="*/ 2058955 w 6785952"/>
              <a:gd name="connsiteY5271" fmla="*/ 4420611 h 5217112"/>
              <a:gd name="connsiteX5272" fmla="*/ 2050237 w 6785952"/>
              <a:gd name="connsiteY5272" fmla="*/ 4428468 h 5217112"/>
              <a:gd name="connsiteX5273" fmla="*/ 2037912 w 6785952"/>
              <a:gd name="connsiteY5273" fmla="*/ 4421496 h 5217112"/>
              <a:gd name="connsiteX5274" fmla="*/ 2037912 w 6785952"/>
              <a:gd name="connsiteY5274" fmla="*/ 4423045 h 5217112"/>
              <a:gd name="connsiteX5275" fmla="*/ 2037311 w 6785952"/>
              <a:gd name="connsiteY5275" fmla="*/ 4421607 h 5217112"/>
              <a:gd name="connsiteX5276" fmla="*/ 2037612 w 6785952"/>
              <a:gd name="connsiteY5276" fmla="*/ 4420943 h 5217112"/>
              <a:gd name="connsiteX5277" fmla="*/ 2034304 w 6785952"/>
              <a:gd name="connsiteY5277" fmla="*/ 4414524 h 5217112"/>
              <a:gd name="connsiteX5278" fmla="*/ 2034004 w 6785952"/>
              <a:gd name="connsiteY5278" fmla="*/ 4408105 h 5217112"/>
              <a:gd name="connsiteX5279" fmla="*/ 2044525 w 6785952"/>
              <a:gd name="connsiteY5279" fmla="*/ 4401132 h 5217112"/>
              <a:gd name="connsiteX5280" fmla="*/ 5227435 w 6785952"/>
              <a:gd name="connsiteY5280" fmla="*/ 4401022 h 5217112"/>
              <a:gd name="connsiteX5281" fmla="*/ 5260804 w 6785952"/>
              <a:gd name="connsiteY5281" fmla="*/ 4433891 h 5217112"/>
              <a:gd name="connsiteX5282" fmla="*/ 5248178 w 6785952"/>
              <a:gd name="connsiteY5282" fmla="*/ 4443741 h 5217112"/>
              <a:gd name="connsiteX5283" fmla="*/ 5246976 w 6785952"/>
              <a:gd name="connsiteY5283" fmla="*/ 4439314 h 5217112"/>
              <a:gd name="connsiteX5284" fmla="*/ 5239760 w 6785952"/>
              <a:gd name="connsiteY5284" fmla="*/ 4447061 h 5217112"/>
              <a:gd name="connsiteX5285" fmla="*/ 5237056 w 6785952"/>
              <a:gd name="connsiteY5285" fmla="*/ 4437101 h 5217112"/>
              <a:gd name="connsiteX5286" fmla="*/ 5243068 w 6785952"/>
              <a:gd name="connsiteY5286" fmla="*/ 4429354 h 5217112"/>
              <a:gd name="connsiteX5287" fmla="*/ 5235854 w 6785952"/>
              <a:gd name="connsiteY5287" fmla="*/ 4421496 h 5217112"/>
              <a:gd name="connsiteX5288" fmla="*/ 5227435 w 6785952"/>
              <a:gd name="connsiteY5288" fmla="*/ 4401022 h 5217112"/>
              <a:gd name="connsiteX5289" fmla="*/ 2462982 w 6785952"/>
              <a:gd name="connsiteY5289" fmla="*/ 4401022 h 5217112"/>
              <a:gd name="connsiteX5290" fmla="*/ 2496350 w 6785952"/>
              <a:gd name="connsiteY5290" fmla="*/ 4433891 h 5217112"/>
              <a:gd name="connsiteX5291" fmla="*/ 2483723 w 6785952"/>
              <a:gd name="connsiteY5291" fmla="*/ 4443741 h 5217112"/>
              <a:gd name="connsiteX5292" fmla="*/ 2482521 w 6785952"/>
              <a:gd name="connsiteY5292" fmla="*/ 4439314 h 5217112"/>
              <a:gd name="connsiteX5293" fmla="*/ 2475306 w 6785952"/>
              <a:gd name="connsiteY5293" fmla="*/ 4447061 h 5217112"/>
              <a:gd name="connsiteX5294" fmla="*/ 2472601 w 6785952"/>
              <a:gd name="connsiteY5294" fmla="*/ 4437101 h 5217112"/>
              <a:gd name="connsiteX5295" fmla="*/ 2478614 w 6785952"/>
              <a:gd name="connsiteY5295" fmla="*/ 4429354 h 5217112"/>
              <a:gd name="connsiteX5296" fmla="*/ 2471399 w 6785952"/>
              <a:gd name="connsiteY5296" fmla="*/ 4421496 h 5217112"/>
              <a:gd name="connsiteX5297" fmla="*/ 2462982 w 6785952"/>
              <a:gd name="connsiteY5297" fmla="*/ 4401022 h 5217112"/>
              <a:gd name="connsiteX5298" fmla="*/ 1433977 w 6785952"/>
              <a:gd name="connsiteY5298" fmla="*/ 4401022 h 5217112"/>
              <a:gd name="connsiteX5299" fmla="*/ 1467345 w 6785952"/>
              <a:gd name="connsiteY5299" fmla="*/ 4433891 h 5217112"/>
              <a:gd name="connsiteX5300" fmla="*/ 1454720 w 6785952"/>
              <a:gd name="connsiteY5300" fmla="*/ 4443741 h 5217112"/>
              <a:gd name="connsiteX5301" fmla="*/ 1453216 w 6785952"/>
              <a:gd name="connsiteY5301" fmla="*/ 4439314 h 5217112"/>
              <a:gd name="connsiteX5302" fmla="*/ 1446001 w 6785952"/>
              <a:gd name="connsiteY5302" fmla="*/ 4447061 h 5217112"/>
              <a:gd name="connsiteX5303" fmla="*/ 1443597 w 6785952"/>
              <a:gd name="connsiteY5303" fmla="*/ 4437101 h 5217112"/>
              <a:gd name="connsiteX5304" fmla="*/ 1449609 w 6785952"/>
              <a:gd name="connsiteY5304" fmla="*/ 4429354 h 5217112"/>
              <a:gd name="connsiteX5305" fmla="*/ 1442394 w 6785952"/>
              <a:gd name="connsiteY5305" fmla="*/ 4421496 h 5217112"/>
              <a:gd name="connsiteX5306" fmla="*/ 1433977 w 6785952"/>
              <a:gd name="connsiteY5306" fmla="*/ 4401022 h 5217112"/>
              <a:gd name="connsiteX5307" fmla="*/ 5785678 w 6785952"/>
              <a:gd name="connsiteY5307" fmla="*/ 4400358 h 5217112"/>
              <a:gd name="connsiteX5308" fmla="*/ 5800106 w 6785952"/>
              <a:gd name="connsiteY5308" fmla="*/ 4406223 h 5217112"/>
              <a:gd name="connsiteX5309" fmla="*/ 5801309 w 6785952"/>
              <a:gd name="connsiteY5309" fmla="*/ 4410318 h 5217112"/>
              <a:gd name="connsiteX5310" fmla="*/ 5785678 w 6785952"/>
              <a:gd name="connsiteY5310" fmla="*/ 4400358 h 5217112"/>
              <a:gd name="connsiteX5311" fmla="*/ 1992218 w 6785952"/>
              <a:gd name="connsiteY5311" fmla="*/ 4400358 h 5217112"/>
              <a:gd name="connsiteX5312" fmla="*/ 2006347 w 6785952"/>
              <a:gd name="connsiteY5312" fmla="*/ 4406223 h 5217112"/>
              <a:gd name="connsiteX5313" fmla="*/ 2007550 w 6785952"/>
              <a:gd name="connsiteY5313" fmla="*/ 4410318 h 5217112"/>
              <a:gd name="connsiteX5314" fmla="*/ 1992218 w 6785952"/>
              <a:gd name="connsiteY5314" fmla="*/ 4400358 h 5217112"/>
              <a:gd name="connsiteX5315" fmla="*/ 2087214 w 6785952"/>
              <a:gd name="connsiteY5315" fmla="*/ 4398698 h 5217112"/>
              <a:gd name="connsiteX5316" fmla="*/ 2090821 w 6785952"/>
              <a:gd name="connsiteY5316" fmla="*/ 4405781 h 5217112"/>
              <a:gd name="connsiteX5317" fmla="*/ 2093226 w 6785952"/>
              <a:gd name="connsiteY5317" fmla="*/ 4407994 h 5217112"/>
              <a:gd name="connsiteX5318" fmla="*/ 2093226 w 6785952"/>
              <a:gd name="connsiteY5318" fmla="*/ 4407109 h 5217112"/>
              <a:gd name="connsiteX5319" fmla="*/ 2103446 w 6785952"/>
              <a:gd name="connsiteY5319" fmla="*/ 4409654 h 5217112"/>
              <a:gd name="connsiteX5320" fmla="*/ 2105250 w 6785952"/>
              <a:gd name="connsiteY5320" fmla="*/ 4410429 h 5217112"/>
              <a:gd name="connsiteX5321" fmla="*/ 2114569 w 6785952"/>
              <a:gd name="connsiteY5321" fmla="*/ 4410207 h 5217112"/>
              <a:gd name="connsiteX5322" fmla="*/ 2121784 w 6785952"/>
              <a:gd name="connsiteY5322" fmla="*/ 4417733 h 5217112"/>
              <a:gd name="connsiteX5323" fmla="*/ 2119379 w 6785952"/>
              <a:gd name="connsiteY5323" fmla="*/ 4443520 h 5217112"/>
              <a:gd name="connsiteX5324" fmla="*/ 2113367 w 6785952"/>
              <a:gd name="connsiteY5324" fmla="*/ 4451156 h 5217112"/>
              <a:gd name="connsiteX5325" fmla="*/ 2113967 w 6785952"/>
              <a:gd name="connsiteY5325" fmla="*/ 4452816 h 5217112"/>
              <a:gd name="connsiteX5326" fmla="*/ 2115171 w 6785952"/>
              <a:gd name="connsiteY5326" fmla="*/ 4455583 h 5217112"/>
              <a:gd name="connsiteX5327" fmla="*/ 2113967 w 6785952"/>
              <a:gd name="connsiteY5327" fmla="*/ 4458128 h 5217112"/>
              <a:gd name="connsiteX5328" fmla="*/ 2116072 w 6785952"/>
              <a:gd name="connsiteY5328" fmla="*/ 4458349 h 5217112"/>
              <a:gd name="connsiteX5329" fmla="*/ 2119078 w 6785952"/>
              <a:gd name="connsiteY5329" fmla="*/ 4461780 h 5217112"/>
              <a:gd name="connsiteX5330" fmla="*/ 2119078 w 6785952"/>
              <a:gd name="connsiteY5330" fmla="*/ 4463219 h 5217112"/>
              <a:gd name="connsiteX5331" fmla="*/ 2115471 w 6785952"/>
              <a:gd name="connsiteY5331" fmla="*/ 4464104 h 5217112"/>
              <a:gd name="connsiteX5332" fmla="*/ 2099839 w 6785952"/>
              <a:gd name="connsiteY5332" fmla="*/ 4461006 h 5217112"/>
              <a:gd name="connsiteX5333" fmla="*/ 2098035 w 6785952"/>
              <a:gd name="connsiteY5333" fmla="*/ 4460784 h 5217112"/>
              <a:gd name="connsiteX5334" fmla="*/ 2091121 w 6785952"/>
              <a:gd name="connsiteY5334" fmla="*/ 4460452 h 5217112"/>
              <a:gd name="connsiteX5335" fmla="*/ 2100440 w 6785952"/>
              <a:gd name="connsiteY5335" fmla="*/ 4442745 h 5217112"/>
              <a:gd name="connsiteX5336" fmla="*/ 2106452 w 6785952"/>
              <a:gd name="connsiteY5336" fmla="*/ 4447946 h 5217112"/>
              <a:gd name="connsiteX5337" fmla="*/ 2103746 w 6785952"/>
              <a:gd name="connsiteY5337" fmla="*/ 4441195 h 5217112"/>
              <a:gd name="connsiteX5338" fmla="*/ 2103746 w 6785952"/>
              <a:gd name="connsiteY5338" fmla="*/ 4440753 h 5217112"/>
              <a:gd name="connsiteX5339" fmla="*/ 2103145 w 6785952"/>
              <a:gd name="connsiteY5339" fmla="*/ 4439867 h 5217112"/>
              <a:gd name="connsiteX5340" fmla="*/ 2071281 w 6785952"/>
              <a:gd name="connsiteY5340" fmla="*/ 4413528 h 5217112"/>
              <a:gd name="connsiteX5341" fmla="*/ 2087214 w 6785952"/>
              <a:gd name="connsiteY5341" fmla="*/ 4398698 h 5217112"/>
              <a:gd name="connsiteX5342" fmla="*/ 5595388 w 6785952"/>
              <a:gd name="connsiteY5342" fmla="*/ 4397812 h 5217112"/>
              <a:gd name="connsiteX5343" fmla="*/ 5602904 w 6785952"/>
              <a:gd name="connsiteY5343" fmla="*/ 4406666 h 5217112"/>
              <a:gd name="connsiteX5344" fmla="*/ 5603205 w 6785952"/>
              <a:gd name="connsiteY5344" fmla="*/ 4410429 h 5217112"/>
              <a:gd name="connsiteX5345" fmla="*/ 5605909 w 6785952"/>
              <a:gd name="connsiteY5345" fmla="*/ 4411203 h 5217112"/>
              <a:gd name="connsiteX5346" fmla="*/ 5607112 w 6785952"/>
              <a:gd name="connsiteY5346" fmla="*/ 4426365 h 5217112"/>
              <a:gd name="connsiteX5347" fmla="*/ 5602604 w 6785952"/>
              <a:gd name="connsiteY5347" fmla="*/ 4429132 h 5217112"/>
              <a:gd name="connsiteX5348" fmla="*/ 5602002 w 6785952"/>
              <a:gd name="connsiteY5348" fmla="*/ 4430571 h 5217112"/>
              <a:gd name="connsiteX5349" fmla="*/ 5598094 w 6785952"/>
              <a:gd name="connsiteY5349" fmla="*/ 4431235 h 5217112"/>
              <a:gd name="connsiteX5350" fmla="*/ 5594786 w 6785952"/>
              <a:gd name="connsiteY5350" fmla="*/ 4429022 h 5217112"/>
              <a:gd name="connsiteX5351" fmla="*/ 5594486 w 6785952"/>
              <a:gd name="connsiteY5351" fmla="*/ 4428911 h 5217112"/>
              <a:gd name="connsiteX5352" fmla="*/ 5591481 w 6785952"/>
              <a:gd name="connsiteY5352" fmla="*/ 4428358 h 5217112"/>
              <a:gd name="connsiteX5353" fmla="*/ 5590278 w 6785952"/>
              <a:gd name="connsiteY5353" fmla="*/ 4425923 h 5217112"/>
              <a:gd name="connsiteX5354" fmla="*/ 5585769 w 6785952"/>
              <a:gd name="connsiteY5354" fmla="*/ 4426697 h 5217112"/>
              <a:gd name="connsiteX5355" fmla="*/ 5579756 w 6785952"/>
              <a:gd name="connsiteY5355" fmla="*/ 4430571 h 5217112"/>
              <a:gd name="connsiteX5356" fmla="*/ 5578554 w 6785952"/>
              <a:gd name="connsiteY5356" fmla="*/ 4431124 h 5217112"/>
              <a:gd name="connsiteX5357" fmla="*/ 5576750 w 6785952"/>
              <a:gd name="connsiteY5357" fmla="*/ 4436990 h 5217112"/>
              <a:gd name="connsiteX5358" fmla="*/ 5570137 w 6785952"/>
              <a:gd name="connsiteY5358" fmla="*/ 4435994 h 5217112"/>
              <a:gd name="connsiteX5359" fmla="*/ 5569536 w 6785952"/>
              <a:gd name="connsiteY5359" fmla="*/ 4434002 h 5217112"/>
              <a:gd name="connsiteX5360" fmla="*/ 5562922 w 6785952"/>
              <a:gd name="connsiteY5360" fmla="*/ 4433780 h 5217112"/>
              <a:gd name="connsiteX5361" fmla="*/ 5560216 w 6785952"/>
              <a:gd name="connsiteY5361" fmla="*/ 4418840 h 5217112"/>
              <a:gd name="connsiteX5362" fmla="*/ 5586370 w 6785952"/>
              <a:gd name="connsiteY5362" fmla="*/ 4402350 h 5217112"/>
              <a:gd name="connsiteX5363" fmla="*/ 5586971 w 6785952"/>
              <a:gd name="connsiteY5363" fmla="*/ 4403788 h 5217112"/>
              <a:gd name="connsiteX5364" fmla="*/ 5595388 w 6785952"/>
              <a:gd name="connsiteY5364" fmla="*/ 4397812 h 5217112"/>
              <a:gd name="connsiteX5365" fmla="*/ 2830935 w 6785952"/>
              <a:gd name="connsiteY5365" fmla="*/ 4397812 h 5217112"/>
              <a:gd name="connsiteX5366" fmla="*/ 2838149 w 6785952"/>
              <a:gd name="connsiteY5366" fmla="*/ 4406666 h 5217112"/>
              <a:gd name="connsiteX5367" fmla="*/ 2838750 w 6785952"/>
              <a:gd name="connsiteY5367" fmla="*/ 4410429 h 5217112"/>
              <a:gd name="connsiteX5368" fmla="*/ 2841455 w 6785952"/>
              <a:gd name="connsiteY5368" fmla="*/ 4411203 h 5217112"/>
              <a:gd name="connsiteX5369" fmla="*/ 2842658 w 6785952"/>
              <a:gd name="connsiteY5369" fmla="*/ 4426365 h 5217112"/>
              <a:gd name="connsiteX5370" fmla="*/ 2838149 w 6785952"/>
              <a:gd name="connsiteY5370" fmla="*/ 4429132 h 5217112"/>
              <a:gd name="connsiteX5371" fmla="*/ 2837548 w 6785952"/>
              <a:gd name="connsiteY5371" fmla="*/ 4430571 h 5217112"/>
              <a:gd name="connsiteX5372" fmla="*/ 2833640 w 6785952"/>
              <a:gd name="connsiteY5372" fmla="*/ 4431235 h 5217112"/>
              <a:gd name="connsiteX5373" fmla="*/ 2830333 w 6785952"/>
              <a:gd name="connsiteY5373" fmla="*/ 4429022 h 5217112"/>
              <a:gd name="connsiteX5374" fmla="*/ 2830032 w 6785952"/>
              <a:gd name="connsiteY5374" fmla="*/ 4428911 h 5217112"/>
              <a:gd name="connsiteX5375" fmla="*/ 2826726 w 6785952"/>
              <a:gd name="connsiteY5375" fmla="*/ 4428358 h 5217112"/>
              <a:gd name="connsiteX5376" fmla="*/ 2825824 w 6785952"/>
              <a:gd name="connsiteY5376" fmla="*/ 4425923 h 5217112"/>
              <a:gd name="connsiteX5377" fmla="*/ 2821314 w 6785952"/>
              <a:gd name="connsiteY5377" fmla="*/ 4426697 h 5217112"/>
              <a:gd name="connsiteX5378" fmla="*/ 2815302 w 6785952"/>
              <a:gd name="connsiteY5378" fmla="*/ 4430571 h 5217112"/>
              <a:gd name="connsiteX5379" fmla="*/ 2814099 w 6785952"/>
              <a:gd name="connsiteY5379" fmla="*/ 4431124 h 5217112"/>
              <a:gd name="connsiteX5380" fmla="*/ 2812296 w 6785952"/>
              <a:gd name="connsiteY5380" fmla="*/ 4436990 h 5217112"/>
              <a:gd name="connsiteX5381" fmla="*/ 2805682 w 6785952"/>
              <a:gd name="connsiteY5381" fmla="*/ 4435994 h 5217112"/>
              <a:gd name="connsiteX5382" fmla="*/ 2805081 w 6785952"/>
              <a:gd name="connsiteY5382" fmla="*/ 4434002 h 5217112"/>
              <a:gd name="connsiteX5383" fmla="*/ 2798168 w 6785952"/>
              <a:gd name="connsiteY5383" fmla="*/ 4433780 h 5217112"/>
              <a:gd name="connsiteX5384" fmla="*/ 2795762 w 6785952"/>
              <a:gd name="connsiteY5384" fmla="*/ 4418840 h 5217112"/>
              <a:gd name="connsiteX5385" fmla="*/ 2821915 w 6785952"/>
              <a:gd name="connsiteY5385" fmla="*/ 4402350 h 5217112"/>
              <a:gd name="connsiteX5386" fmla="*/ 2822216 w 6785952"/>
              <a:gd name="connsiteY5386" fmla="*/ 4403788 h 5217112"/>
              <a:gd name="connsiteX5387" fmla="*/ 2830935 w 6785952"/>
              <a:gd name="connsiteY5387" fmla="*/ 4397812 h 5217112"/>
              <a:gd name="connsiteX5388" fmla="*/ 1801629 w 6785952"/>
              <a:gd name="connsiteY5388" fmla="*/ 4397812 h 5217112"/>
              <a:gd name="connsiteX5389" fmla="*/ 1809144 w 6785952"/>
              <a:gd name="connsiteY5389" fmla="*/ 4406666 h 5217112"/>
              <a:gd name="connsiteX5390" fmla="*/ 1809444 w 6785952"/>
              <a:gd name="connsiteY5390" fmla="*/ 4410429 h 5217112"/>
              <a:gd name="connsiteX5391" fmla="*/ 1812450 w 6785952"/>
              <a:gd name="connsiteY5391" fmla="*/ 4411203 h 5217112"/>
              <a:gd name="connsiteX5392" fmla="*/ 1813654 w 6785952"/>
              <a:gd name="connsiteY5392" fmla="*/ 4426365 h 5217112"/>
              <a:gd name="connsiteX5393" fmla="*/ 1809144 w 6785952"/>
              <a:gd name="connsiteY5393" fmla="*/ 4429132 h 5217112"/>
              <a:gd name="connsiteX5394" fmla="*/ 1808543 w 6785952"/>
              <a:gd name="connsiteY5394" fmla="*/ 4430571 h 5217112"/>
              <a:gd name="connsiteX5395" fmla="*/ 1804335 w 6785952"/>
              <a:gd name="connsiteY5395" fmla="*/ 4431235 h 5217112"/>
              <a:gd name="connsiteX5396" fmla="*/ 1801328 w 6785952"/>
              <a:gd name="connsiteY5396" fmla="*/ 4429022 h 5217112"/>
              <a:gd name="connsiteX5397" fmla="*/ 1801027 w 6785952"/>
              <a:gd name="connsiteY5397" fmla="*/ 4428911 h 5217112"/>
              <a:gd name="connsiteX5398" fmla="*/ 1797721 w 6785952"/>
              <a:gd name="connsiteY5398" fmla="*/ 4428358 h 5217112"/>
              <a:gd name="connsiteX5399" fmla="*/ 1796819 w 6785952"/>
              <a:gd name="connsiteY5399" fmla="*/ 4425923 h 5217112"/>
              <a:gd name="connsiteX5400" fmla="*/ 1792009 w 6785952"/>
              <a:gd name="connsiteY5400" fmla="*/ 4426697 h 5217112"/>
              <a:gd name="connsiteX5401" fmla="*/ 1786297 w 6785952"/>
              <a:gd name="connsiteY5401" fmla="*/ 4430571 h 5217112"/>
              <a:gd name="connsiteX5402" fmla="*/ 1785096 w 6785952"/>
              <a:gd name="connsiteY5402" fmla="*/ 4431124 h 5217112"/>
              <a:gd name="connsiteX5403" fmla="*/ 1783291 w 6785952"/>
              <a:gd name="connsiteY5403" fmla="*/ 4436990 h 5217112"/>
              <a:gd name="connsiteX5404" fmla="*/ 1776377 w 6785952"/>
              <a:gd name="connsiteY5404" fmla="*/ 4435994 h 5217112"/>
              <a:gd name="connsiteX5405" fmla="*/ 1776076 w 6785952"/>
              <a:gd name="connsiteY5405" fmla="*/ 4434002 h 5217112"/>
              <a:gd name="connsiteX5406" fmla="*/ 1769163 w 6785952"/>
              <a:gd name="connsiteY5406" fmla="*/ 4433780 h 5217112"/>
              <a:gd name="connsiteX5407" fmla="*/ 1766757 w 6785952"/>
              <a:gd name="connsiteY5407" fmla="*/ 4418840 h 5217112"/>
              <a:gd name="connsiteX5408" fmla="*/ 1792610 w 6785952"/>
              <a:gd name="connsiteY5408" fmla="*/ 4402350 h 5217112"/>
              <a:gd name="connsiteX5409" fmla="*/ 1793212 w 6785952"/>
              <a:gd name="connsiteY5409" fmla="*/ 4403788 h 5217112"/>
              <a:gd name="connsiteX5410" fmla="*/ 1801629 w 6785952"/>
              <a:gd name="connsiteY5410" fmla="*/ 4397812 h 5217112"/>
              <a:gd name="connsiteX5411" fmla="*/ 5534664 w 6785952"/>
              <a:gd name="connsiteY5411" fmla="*/ 4395709 h 5217112"/>
              <a:gd name="connsiteX5412" fmla="*/ 5542180 w 6785952"/>
              <a:gd name="connsiteY5412" fmla="*/ 4431124 h 5217112"/>
              <a:gd name="connsiteX5413" fmla="*/ 5534965 w 6785952"/>
              <a:gd name="connsiteY5413" fmla="*/ 4436990 h 5217112"/>
              <a:gd name="connsiteX5414" fmla="*/ 5534664 w 6785952"/>
              <a:gd name="connsiteY5414" fmla="*/ 4395709 h 5217112"/>
              <a:gd name="connsiteX5415" fmla="*/ 1740905 w 6785952"/>
              <a:gd name="connsiteY5415" fmla="*/ 4395709 h 5217112"/>
              <a:gd name="connsiteX5416" fmla="*/ 1748721 w 6785952"/>
              <a:gd name="connsiteY5416" fmla="*/ 4431124 h 5217112"/>
              <a:gd name="connsiteX5417" fmla="*/ 1741205 w 6785952"/>
              <a:gd name="connsiteY5417" fmla="*/ 4436990 h 5217112"/>
              <a:gd name="connsiteX5418" fmla="*/ 1740905 w 6785952"/>
              <a:gd name="connsiteY5418" fmla="*/ 4395709 h 5217112"/>
              <a:gd name="connsiteX5419" fmla="*/ 2778627 w 6785952"/>
              <a:gd name="connsiteY5419" fmla="*/ 4393496 h 5217112"/>
              <a:gd name="connsiteX5420" fmla="*/ 2787345 w 6785952"/>
              <a:gd name="connsiteY5420" fmla="*/ 4414302 h 5217112"/>
              <a:gd name="connsiteX5421" fmla="*/ 2778627 w 6785952"/>
              <a:gd name="connsiteY5421" fmla="*/ 4419614 h 5217112"/>
              <a:gd name="connsiteX5422" fmla="*/ 2774719 w 6785952"/>
              <a:gd name="connsiteY5422" fmla="*/ 4421275 h 5217112"/>
              <a:gd name="connsiteX5423" fmla="*/ 2777725 w 6785952"/>
              <a:gd name="connsiteY5423" fmla="*/ 4431124 h 5217112"/>
              <a:gd name="connsiteX5424" fmla="*/ 2770210 w 6785952"/>
              <a:gd name="connsiteY5424" fmla="*/ 4436990 h 5217112"/>
              <a:gd name="connsiteX5425" fmla="*/ 2761793 w 6785952"/>
              <a:gd name="connsiteY5425" fmla="*/ 4402903 h 5217112"/>
              <a:gd name="connsiteX5426" fmla="*/ 2770210 w 6785952"/>
              <a:gd name="connsiteY5426" fmla="*/ 4395709 h 5217112"/>
              <a:gd name="connsiteX5427" fmla="*/ 2770511 w 6785952"/>
              <a:gd name="connsiteY5427" fmla="*/ 4394049 h 5217112"/>
              <a:gd name="connsiteX5428" fmla="*/ 2778627 w 6785952"/>
              <a:gd name="connsiteY5428" fmla="*/ 4393496 h 5217112"/>
              <a:gd name="connsiteX5429" fmla="*/ 5397584 w 6785952"/>
              <a:gd name="connsiteY5429" fmla="*/ 4391725 h 5217112"/>
              <a:gd name="connsiteX5430" fmla="*/ 5447787 w 6785952"/>
              <a:gd name="connsiteY5430" fmla="*/ 4428911 h 5217112"/>
              <a:gd name="connsiteX5431" fmla="*/ 5432455 w 6785952"/>
              <a:gd name="connsiteY5431" fmla="*/ 4428358 h 5217112"/>
              <a:gd name="connsiteX5432" fmla="*/ 5426142 w 6785952"/>
              <a:gd name="connsiteY5432" fmla="*/ 4425480 h 5217112"/>
              <a:gd name="connsiteX5433" fmla="*/ 5426142 w 6785952"/>
              <a:gd name="connsiteY5433" fmla="*/ 4426144 h 5217112"/>
              <a:gd name="connsiteX5434" fmla="*/ 5421032 w 6785952"/>
              <a:gd name="connsiteY5434" fmla="*/ 4428358 h 5217112"/>
              <a:gd name="connsiteX5435" fmla="*/ 5414719 w 6785952"/>
              <a:gd name="connsiteY5435" fmla="*/ 4424705 h 5217112"/>
              <a:gd name="connsiteX5436" fmla="*/ 5410810 w 6785952"/>
              <a:gd name="connsiteY5436" fmla="*/ 4418950 h 5217112"/>
              <a:gd name="connsiteX5437" fmla="*/ 5409007 w 6785952"/>
              <a:gd name="connsiteY5437" fmla="*/ 4415077 h 5217112"/>
              <a:gd name="connsiteX5438" fmla="*/ 5399988 w 6785952"/>
              <a:gd name="connsiteY5438" fmla="*/ 4406445 h 5217112"/>
              <a:gd name="connsiteX5439" fmla="*/ 5397584 w 6785952"/>
              <a:gd name="connsiteY5439" fmla="*/ 4391725 h 5217112"/>
              <a:gd name="connsiteX5440" fmla="*/ 1603824 w 6785952"/>
              <a:gd name="connsiteY5440" fmla="*/ 4391725 h 5217112"/>
              <a:gd name="connsiteX5441" fmla="*/ 1654327 w 6785952"/>
              <a:gd name="connsiteY5441" fmla="*/ 4428911 h 5217112"/>
              <a:gd name="connsiteX5442" fmla="*/ 1638996 w 6785952"/>
              <a:gd name="connsiteY5442" fmla="*/ 4428358 h 5217112"/>
              <a:gd name="connsiteX5443" fmla="*/ 1632684 w 6785952"/>
              <a:gd name="connsiteY5443" fmla="*/ 4425480 h 5217112"/>
              <a:gd name="connsiteX5444" fmla="*/ 1632383 w 6785952"/>
              <a:gd name="connsiteY5444" fmla="*/ 4426144 h 5217112"/>
              <a:gd name="connsiteX5445" fmla="*/ 1627272 w 6785952"/>
              <a:gd name="connsiteY5445" fmla="*/ 4428358 h 5217112"/>
              <a:gd name="connsiteX5446" fmla="*/ 1620959 w 6785952"/>
              <a:gd name="connsiteY5446" fmla="*/ 4424705 h 5217112"/>
              <a:gd name="connsiteX5447" fmla="*/ 1617051 w 6785952"/>
              <a:gd name="connsiteY5447" fmla="*/ 4418950 h 5217112"/>
              <a:gd name="connsiteX5448" fmla="*/ 1615548 w 6785952"/>
              <a:gd name="connsiteY5448" fmla="*/ 4415077 h 5217112"/>
              <a:gd name="connsiteX5449" fmla="*/ 1606530 w 6785952"/>
              <a:gd name="connsiteY5449" fmla="*/ 4406445 h 5217112"/>
              <a:gd name="connsiteX5450" fmla="*/ 1603824 w 6785952"/>
              <a:gd name="connsiteY5450" fmla="*/ 4391725 h 5217112"/>
              <a:gd name="connsiteX5451" fmla="*/ 5971758 w 6785952"/>
              <a:gd name="connsiteY5451" fmla="*/ 4389623 h 5217112"/>
              <a:gd name="connsiteX5452" fmla="*/ 5974765 w 6785952"/>
              <a:gd name="connsiteY5452" fmla="*/ 4391615 h 5217112"/>
              <a:gd name="connsiteX5453" fmla="*/ 5976868 w 6785952"/>
              <a:gd name="connsiteY5453" fmla="*/ 4396484 h 5217112"/>
              <a:gd name="connsiteX5454" fmla="*/ 5975666 w 6785952"/>
              <a:gd name="connsiteY5454" fmla="*/ 4400800 h 5217112"/>
              <a:gd name="connsiteX5455" fmla="*/ 5966046 w 6785952"/>
              <a:gd name="connsiteY5455" fmla="*/ 4399362 h 5217112"/>
              <a:gd name="connsiteX5456" fmla="*/ 5971758 w 6785952"/>
              <a:gd name="connsiteY5456" fmla="*/ 4389623 h 5217112"/>
              <a:gd name="connsiteX5457" fmla="*/ 6091704 w 6785952"/>
              <a:gd name="connsiteY5457" fmla="*/ 4388848 h 5217112"/>
              <a:gd name="connsiteX5458" fmla="*/ 6094710 w 6785952"/>
              <a:gd name="connsiteY5458" fmla="*/ 4390951 h 5217112"/>
              <a:gd name="connsiteX5459" fmla="*/ 6102225 w 6785952"/>
              <a:gd name="connsiteY5459" fmla="*/ 4398366 h 5217112"/>
              <a:gd name="connsiteX5460" fmla="*/ 6097415 w 6785952"/>
              <a:gd name="connsiteY5460" fmla="*/ 4399251 h 5217112"/>
              <a:gd name="connsiteX5461" fmla="*/ 6094408 w 6785952"/>
              <a:gd name="connsiteY5461" fmla="*/ 4395709 h 5217112"/>
              <a:gd name="connsiteX5462" fmla="*/ 6091403 w 6785952"/>
              <a:gd name="connsiteY5462" fmla="*/ 4393607 h 5217112"/>
              <a:gd name="connsiteX5463" fmla="*/ 6091704 w 6785952"/>
              <a:gd name="connsiteY5463" fmla="*/ 4388848 h 5217112"/>
              <a:gd name="connsiteX5464" fmla="*/ 2162066 w 6785952"/>
              <a:gd name="connsiteY5464" fmla="*/ 4387077 h 5217112"/>
              <a:gd name="connsiteX5465" fmla="*/ 2171385 w 6785952"/>
              <a:gd name="connsiteY5465" fmla="*/ 4413085 h 5217112"/>
              <a:gd name="connsiteX5466" fmla="*/ 2162668 w 6785952"/>
              <a:gd name="connsiteY5466" fmla="*/ 4418065 h 5217112"/>
              <a:gd name="connsiteX5467" fmla="*/ 2162066 w 6785952"/>
              <a:gd name="connsiteY5467" fmla="*/ 4387077 h 5217112"/>
              <a:gd name="connsiteX5468" fmla="*/ 2289526 w 6785952"/>
              <a:gd name="connsiteY5468" fmla="*/ 4386856 h 5217112"/>
              <a:gd name="connsiteX5469" fmla="*/ 2297943 w 6785952"/>
              <a:gd name="connsiteY5469" fmla="*/ 4391504 h 5217112"/>
              <a:gd name="connsiteX5470" fmla="*/ 2297943 w 6785952"/>
              <a:gd name="connsiteY5470" fmla="*/ 4388848 h 5217112"/>
              <a:gd name="connsiteX5471" fmla="*/ 2301251 w 6785952"/>
              <a:gd name="connsiteY5471" fmla="*/ 4390951 h 5217112"/>
              <a:gd name="connsiteX5472" fmla="*/ 2308766 w 6785952"/>
              <a:gd name="connsiteY5472" fmla="*/ 4398366 h 5217112"/>
              <a:gd name="connsiteX5473" fmla="*/ 2303655 w 6785952"/>
              <a:gd name="connsiteY5473" fmla="*/ 4399251 h 5217112"/>
              <a:gd name="connsiteX5474" fmla="*/ 2302453 w 6785952"/>
              <a:gd name="connsiteY5474" fmla="*/ 4397591 h 5217112"/>
              <a:gd name="connsiteX5475" fmla="*/ 2303355 w 6785952"/>
              <a:gd name="connsiteY5475" fmla="*/ 4399915 h 5217112"/>
              <a:gd name="connsiteX5476" fmla="*/ 2302453 w 6785952"/>
              <a:gd name="connsiteY5476" fmla="*/ 4401907 h 5217112"/>
              <a:gd name="connsiteX5477" fmla="*/ 2303957 w 6785952"/>
              <a:gd name="connsiteY5477" fmla="*/ 4402792 h 5217112"/>
              <a:gd name="connsiteX5478" fmla="*/ 2310870 w 6785952"/>
              <a:gd name="connsiteY5478" fmla="*/ 4411978 h 5217112"/>
              <a:gd name="connsiteX5479" fmla="*/ 2299747 w 6785952"/>
              <a:gd name="connsiteY5479" fmla="*/ 4412532 h 5217112"/>
              <a:gd name="connsiteX5480" fmla="*/ 2297042 w 6785952"/>
              <a:gd name="connsiteY5480" fmla="*/ 4407994 h 5217112"/>
              <a:gd name="connsiteX5481" fmla="*/ 2293134 w 6785952"/>
              <a:gd name="connsiteY5481" fmla="*/ 4409875 h 5217112"/>
              <a:gd name="connsiteX5482" fmla="*/ 2279006 w 6785952"/>
              <a:gd name="connsiteY5482" fmla="*/ 4406445 h 5217112"/>
              <a:gd name="connsiteX5483" fmla="*/ 2289526 w 6785952"/>
              <a:gd name="connsiteY5483" fmla="*/ 4386856 h 5217112"/>
              <a:gd name="connsiteX5484" fmla="*/ 1260523 w 6785952"/>
              <a:gd name="connsiteY5484" fmla="*/ 4386856 h 5217112"/>
              <a:gd name="connsiteX5485" fmla="*/ 1274351 w 6785952"/>
              <a:gd name="connsiteY5485" fmla="*/ 4399915 h 5217112"/>
              <a:gd name="connsiteX5486" fmla="*/ 1273448 w 6785952"/>
              <a:gd name="connsiteY5486" fmla="*/ 4401907 h 5217112"/>
              <a:gd name="connsiteX5487" fmla="*/ 1274952 w 6785952"/>
              <a:gd name="connsiteY5487" fmla="*/ 4402792 h 5217112"/>
              <a:gd name="connsiteX5488" fmla="*/ 1281865 w 6785952"/>
              <a:gd name="connsiteY5488" fmla="*/ 4411978 h 5217112"/>
              <a:gd name="connsiteX5489" fmla="*/ 1270743 w 6785952"/>
              <a:gd name="connsiteY5489" fmla="*/ 4412532 h 5217112"/>
              <a:gd name="connsiteX5490" fmla="*/ 1268037 w 6785952"/>
              <a:gd name="connsiteY5490" fmla="*/ 4407994 h 5217112"/>
              <a:gd name="connsiteX5491" fmla="*/ 1263829 w 6785952"/>
              <a:gd name="connsiteY5491" fmla="*/ 4409875 h 5217112"/>
              <a:gd name="connsiteX5492" fmla="*/ 1249700 w 6785952"/>
              <a:gd name="connsiteY5492" fmla="*/ 4406445 h 5217112"/>
              <a:gd name="connsiteX5493" fmla="*/ 1260523 w 6785952"/>
              <a:gd name="connsiteY5493" fmla="*/ 4386856 h 5217112"/>
              <a:gd name="connsiteX5494" fmla="*/ 2109157 w 6785952"/>
              <a:gd name="connsiteY5494" fmla="*/ 4386081 h 5217112"/>
              <a:gd name="connsiteX5495" fmla="*/ 2104649 w 6785952"/>
              <a:gd name="connsiteY5495" fmla="*/ 4398144 h 5217112"/>
              <a:gd name="connsiteX5496" fmla="*/ 2109157 w 6785952"/>
              <a:gd name="connsiteY5496" fmla="*/ 4386081 h 5217112"/>
              <a:gd name="connsiteX5497" fmla="*/ 1080154 w 6785952"/>
              <a:gd name="connsiteY5497" fmla="*/ 4386081 h 5217112"/>
              <a:gd name="connsiteX5498" fmla="*/ 1075644 w 6785952"/>
              <a:gd name="connsiteY5498" fmla="*/ 4398144 h 5217112"/>
              <a:gd name="connsiteX5499" fmla="*/ 1080154 w 6785952"/>
              <a:gd name="connsiteY5499" fmla="*/ 4386081 h 5217112"/>
              <a:gd name="connsiteX5500" fmla="*/ 6049016 w 6785952"/>
              <a:gd name="connsiteY5500" fmla="*/ 4385417 h 5217112"/>
              <a:gd name="connsiteX5501" fmla="*/ 6052624 w 6785952"/>
              <a:gd name="connsiteY5501" fmla="*/ 4388405 h 5217112"/>
              <a:gd name="connsiteX5502" fmla="*/ 6052624 w 6785952"/>
              <a:gd name="connsiteY5502" fmla="*/ 4397812 h 5217112"/>
              <a:gd name="connsiteX5503" fmla="*/ 6056832 w 6785952"/>
              <a:gd name="connsiteY5503" fmla="*/ 4397702 h 5217112"/>
              <a:gd name="connsiteX5504" fmla="*/ 6063146 w 6785952"/>
              <a:gd name="connsiteY5504" fmla="*/ 4401132 h 5217112"/>
              <a:gd name="connsiteX5505" fmla="*/ 6064047 w 6785952"/>
              <a:gd name="connsiteY5505" fmla="*/ 4402903 h 5217112"/>
              <a:gd name="connsiteX5506" fmla="*/ 6065550 w 6785952"/>
              <a:gd name="connsiteY5506" fmla="*/ 4401907 h 5217112"/>
              <a:gd name="connsiteX5507" fmla="*/ 6071562 w 6785952"/>
              <a:gd name="connsiteY5507" fmla="*/ 4406223 h 5217112"/>
              <a:gd name="connsiteX5508" fmla="*/ 6067354 w 6785952"/>
              <a:gd name="connsiteY5508" fmla="*/ 4409986 h 5217112"/>
              <a:gd name="connsiteX5509" fmla="*/ 6068557 w 6785952"/>
              <a:gd name="connsiteY5509" fmla="*/ 4411535 h 5217112"/>
              <a:gd name="connsiteX5510" fmla="*/ 6069759 w 6785952"/>
              <a:gd name="connsiteY5510" fmla="*/ 4411535 h 5217112"/>
              <a:gd name="connsiteX5511" fmla="*/ 6075170 w 6785952"/>
              <a:gd name="connsiteY5511" fmla="*/ 4415741 h 5217112"/>
              <a:gd name="connsiteX5512" fmla="*/ 6072765 w 6785952"/>
              <a:gd name="connsiteY5512" fmla="*/ 4418397 h 5217112"/>
              <a:gd name="connsiteX5513" fmla="*/ 6068557 w 6785952"/>
              <a:gd name="connsiteY5513" fmla="*/ 4416405 h 5217112"/>
              <a:gd name="connsiteX5514" fmla="*/ 6067955 w 6785952"/>
              <a:gd name="connsiteY5514" fmla="*/ 4416073 h 5217112"/>
              <a:gd name="connsiteX5515" fmla="*/ 6066151 w 6785952"/>
              <a:gd name="connsiteY5515" fmla="*/ 4416184 h 5217112"/>
              <a:gd name="connsiteX5516" fmla="*/ 6064949 w 6785952"/>
              <a:gd name="connsiteY5516" fmla="*/ 4415741 h 5217112"/>
              <a:gd name="connsiteX5517" fmla="*/ 6064648 w 6785952"/>
              <a:gd name="connsiteY5517" fmla="*/ 4415630 h 5217112"/>
              <a:gd name="connsiteX5518" fmla="*/ 6062845 w 6785952"/>
              <a:gd name="connsiteY5518" fmla="*/ 4419725 h 5217112"/>
              <a:gd name="connsiteX5519" fmla="*/ 6048114 w 6785952"/>
              <a:gd name="connsiteY5519" fmla="*/ 4426476 h 5217112"/>
              <a:gd name="connsiteX5520" fmla="*/ 6037292 w 6785952"/>
              <a:gd name="connsiteY5520" fmla="*/ 4413196 h 5217112"/>
              <a:gd name="connsiteX5521" fmla="*/ 6038794 w 6785952"/>
              <a:gd name="connsiteY5521" fmla="*/ 4404342 h 5217112"/>
              <a:gd name="connsiteX5522" fmla="*/ 6042403 w 6785952"/>
              <a:gd name="connsiteY5522" fmla="*/ 4401796 h 5217112"/>
              <a:gd name="connsiteX5523" fmla="*/ 6042102 w 6785952"/>
              <a:gd name="connsiteY5523" fmla="*/ 4392832 h 5217112"/>
              <a:gd name="connsiteX5524" fmla="*/ 6049016 w 6785952"/>
              <a:gd name="connsiteY5524" fmla="*/ 4385417 h 5217112"/>
              <a:gd name="connsiteX5525" fmla="*/ 6107637 w 6785952"/>
              <a:gd name="connsiteY5525" fmla="*/ 4385085 h 5217112"/>
              <a:gd name="connsiteX5526" fmla="*/ 6109440 w 6785952"/>
              <a:gd name="connsiteY5526" fmla="*/ 4385860 h 5217112"/>
              <a:gd name="connsiteX5527" fmla="*/ 6110642 w 6785952"/>
              <a:gd name="connsiteY5527" fmla="*/ 4388959 h 5217112"/>
              <a:gd name="connsiteX5528" fmla="*/ 6115752 w 6785952"/>
              <a:gd name="connsiteY5528" fmla="*/ 4391283 h 5217112"/>
              <a:gd name="connsiteX5529" fmla="*/ 6115452 w 6785952"/>
              <a:gd name="connsiteY5529" fmla="*/ 4394160 h 5217112"/>
              <a:gd name="connsiteX5530" fmla="*/ 6105832 w 6785952"/>
              <a:gd name="connsiteY5530" fmla="*/ 4389844 h 5217112"/>
              <a:gd name="connsiteX5531" fmla="*/ 6104329 w 6785952"/>
              <a:gd name="connsiteY5531" fmla="*/ 4385196 h 5217112"/>
              <a:gd name="connsiteX5532" fmla="*/ 6107637 w 6785952"/>
              <a:gd name="connsiteY5532" fmla="*/ 4385085 h 5217112"/>
              <a:gd name="connsiteX5533" fmla="*/ 2313876 w 6785952"/>
              <a:gd name="connsiteY5533" fmla="*/ 4385085 h 5217112"/>
              <a:gd name="connsiteX5534" fmla="*/ 2315680 w 6785952"/>
              <a:gd name="connsiteY5534" fmla="*/ 4385860 h 5217112"/>
              <a:gd name="connsiteX5535" fmla="*/ 2317183 w 6785952"/>
              <a:gd name="connsiteY5535" fmla="*/ 4388959 h 5217112"/>
              <a:gd name="connsiteX5536" fmla="*/ 2321993 w 6785952"/>
              <a:gd name="connsiteY5536" fmla="*/ 4391283 h 5217112"/>
              <a:gd name="connsiteX5537" fmla="*/ 2321692 w 6785952"/>
              <a:gd name="connsiteY5537" fmla="*/ 4394160 h 5217112"/>
              <a:gd name="connsiteX5538" fmla="*/ 2312073 w 6785952"/>
              <a:gd name="connsiteY5538" fmla="*/ 4389844 h 5217112"/>
              <a:gd name="connsiteX5539" fmla="*/ 2310870 w 6785952"/>
              <a:gd name="connsiteY5539" fmla="*/ 4385196 h 5217112"/>
              <a:gd name="connsiteX5540" fmla="*/ 2313876 w 6785952"/>
              <a:gd name="connsiteY5540" fmla="*/ 4385085 h 5217112"/>
              <a:gd name="connsiteX5541" fmla="*/ 756692 w 6785952"/>
              <a:gd name="connsiteY5541" fmla="*/ 4384421 h 5217112"/>
              <a:gd name="connsiteX5542" fmla="*/ 765710 w 6785952"/>
              <a:gd name="connsiteY5542" fmla="*/ 4387298 h 5217112"/>
              <a:gd name="connsiteX5543" fmla="*/ 762403 w 6785952"/>
              <a:gd name="connsiteY5543" fmla="*/ 4396152 h 5217112"/>
              <a:gd name="connsiteX5544" fmla="*/ 752182 w 6785952"/>
              <a:gd name="connsiteY5544" fmla="*/ 4390840 h 5217112"/>
              <a:gd name="connsiteX5545" fmla="*/ 756692 w 6785952"/>
              <a:gd name="connsiteY5545" fmla="*/ 4384421 h 5217112"/>
              <a:gd name="connsiteX5546" fmla="*/ 2354159 w 6785952"/>
              <a:gd name="connsiteY5546" fmla="*/ 4383646 h 5217112"/>
              <a:gd name="connsiteX5547" fmla="*/ 2364981 w 6785952"/>
              <a:gd name="connsiteY5547" fmla="*/ 4387520 h 5217112"/>
              <a:gd name="connsiteX5548" fmla="*/ 2332515 w 6785952"/>
              <a:gd name="connsiteY5548" fmla="*/ 4408326 h 5217112"/>
              <a:gd name="connsiteX5549" fmla="*/ 2323797 w 6785952"/>
              <a:gd name="connsiteY5549" fmla="*/ 4404453 h 5217112"/>
              <a:gd name="connsiteX5550" fmla="*/ 2354159 w 6785952"/>
              <a:gd name="connsiteY5550" fmla="*/ 4383646 h 5217112"/>
              <a:gd name="connsiteX5551" fmla="*/ 1325154 w 6785952"/>
              <a:gd name="connsiteY5551" fmla="*/ 4383646 h 5217112"/>
              <a:gd name="connsiteX5552" fmla="*/ 1335676 w 6785952"/>
              <a:gd name="connsiteY5552" fmla="*/ 4387520 h 5217112"/>
              <a:gd name="connsiteX5553" fmla="*/ 1303510 w 6785952"/>
              <a:gd name="connsiteY5553" fmla="*/ 4408326 h 5217112"/>
              <a:gd name="connsiteX5554" fmla="*/ 1294492 w 6785952"/>
              <a:gd name="connsiteY5554" fmla="*/ 4404453 h 5217112"/>
              <a:gd name="connsiteX5555" fmla="*/ 1325154 w 6785952"/>
              <a:gd name="connsiteY5555" fmla="*/ 4383646 h 5217112"/>
              <a:gd name="connsiteX5556" fmla="*/ 5250883 w 6785952"/>
              <a:gd name="connsiteY5556" fmla="*/ 4378998 h 5217112"/>
              <a:gd name="connsiteX5557" fmla="*/ 5262307 w 6785952"/>
              <a:gd name="connsiteY5557" fmla="*/ 4391836 h 5217112"/>
              <a:gd name="connsiteX5558" fmla="*/ 5256896 w 6785952"/>
              <a:gd name="connsiteY5558" fmla="*/ 4395267 h 5217112"/>
              <a:gd name="connsiteX5559" fmla="*/ 5250883 w 6785952"/>
              <a:gd name="connsiteY5559" fmla="*/ 4378998 h 5217112"/>
              <a:gd name="connsiteX5560" fmla="*/ 2486429 w 6785952"/>
              <a:gd name="connsiteY5560" fmla="*/ 4378998 h 5217112"/>
              <a:gd name="connsiteX5561" fmla="*/ 2497552 w 6785952"/>
              <a:gd name="connsiteY5561" fmla="*/ 4391836 h 5217112"/>
              <a:gd name="connsiteX5562" fmla="*/ 2492141 w 6785952"/>
              <a:gd name="connsiteY5562" fmla="*/ 4395267 h 5217112"/>
              <a:gd name="connsiteX5563" fmla="*/ 2486429 w 6785952"/>
              <a:gd name="connsiteY5563" fmla="*/ 4378998 h 5217112"/>
              <a:gd name="connsiteX5564" fmla="*/ 1457425 w 6785952"/>
              <a:gd name="connsiteY5564" fmla="*/ 4378998 h 5217112"/>
              <a:gd name="connsiteX5565" fmla="*/ 1468548 w 6785952"/>
              <a:gd name="connsiteY5565" fmla="*/ 4391836 h 5217112"/>
              <a:gd name="connsiteX5566" fmla="*/ 1463137 w 6785952"/>
              <a:gd name="connsiteY5566" fmla="*/ 4395267 h 5217112"/>
              <a:gd name="connsiteX5567" fmla="*/ 1457425 w 6785952"/>
              <a:gd name="connsiteY5567" fmla="*/ 4378998 h 5217112"/>
              <a:gd name="connsiteX5568" fmla="*/ 2181005 w 6785952"/>
              <a:gd name="connsiteY5568" fmla="*/ 4377891 h 5217112"/>
              <a:gd name="connsiteX5569" fmla="*/ 2182508 w 6785952"/>
              <a:gd name="connsiteY5569" fmla="*/ 4378113 h 5217112"/>
              <a:gd name="connsiteX5570" fmla="*/ 2181005 w 6785952"/>
              <a:gd name="connsiteY5570" fmla="*/ 4387630 h 5217112"/>
              <a:gd name="connsiteX5571" fmla="*/ 2180103 w 6785952"/>
              <a:gd name="connsiteY5571" fmla="*/ 4391725 h 5217112"/>
              <a:gd name="connsiteX5572" fmla="*/ 2180103 w 6785952"/>
              <a:gd name="connsiteY5572" fmla="*/ 4391836 h 5217112"/>
              <a:gd name="connsiteX5573" fmla="*/ 2181005 w 6785952"/>
              <a:gd name="connsiteY5573" fmla="*/ 4391615 h 5217112"/>
              <a:gd name="connsiteX5574" fmla="*/ 2183410 w 6785952"/>
              <a:gd name="connsiteY5574" fmla="*/ 4396484 h 5217112"/>
              <a:gd name="connsiteX5575" fmla="*/ 2181907 w 6785952"/>
              <a:gd name="connsiteY5575" fmla="*/ 4400800 h 5217112"/>
              <a:gd name="connsiteX5576" fmla="*/ 2172287 w 6785952"/>
              <a:gd name="connsiteY5576" fmla="*/ 4399362 h 5217112"/>
              <a:gd name="connsiteX5577" fmla="*/ 2173490 w 6785952"/>
              <a:gd name="connsiteY5577" fmla="*/ 4396041 h 5217112"/>
              <a:gd name="connsiteX5578" fmla="*/ 2172287 w 6785952"/>
              <a:gd name="connsiteY5578" fmla="*/ 4395377 h 5217112"/>
              <a:gd name="connsiteX5579" fmla="*/ 2172587 w 6785952"/>
              <a:gd name="connsiteY5579" fmla="*/ 4387630 h 5217112"/>
              <a:gd name="connsiteX5580" fmla="*/ 2179201 w 6785952"/>
              <a:gd name="connsiteY5580" fmla="*/ 4382318 h 5217112"/>
              <a:gd name="connsiteX5581" fmla="*/ 2181005 w 6785952"/>
              <a:gd name="connsiteY5581" fmla="*/ 4377891 h 5217112"/>
              <a:gd name="connsiteX5582" fmla="*/ 1151699 w 6785952"/>
              <a:gd name="connsiteY5582" fmla="*/ 4377891 h 5217112"/>
              <a:gd name="connsiteX5583" fmla="*/ 1153203 w 6785952"/>
              <a:gd name="connsiteY5583" fmla="*/ 4378113 h 5217112"/>
              <a:gd name="connsiteX5584" fmla="*/ 1149596 w 6785952"/>
              <a:gd name="connsiteY5584" fmla="*/ 4396041 h 5217112"/>
              <a:gd name="connsiteX5585" fmla="*/ 1146890 w 6785952"/>
              <a:gd name="connsiteY5585" fmla="*/ 4397480 h 5217112"/>
              <a:gd name="connsiteX5586" fmla="*/ 1143282 w 6785952"/>
              <a:gd name="connsiteY5586" fmla="*/ 4395377 h 5217112"/>
              <a:gd name="connsiteX5587" fmla="*/ 1143282 w 6785952"/>
              <a:gd name="connsiteY5587" fmla="*/ 4387630 h 5217112"/>
              <a:gd name="connsiteX5588" fmla="*/ 1149896 w 6785952"/>
              <a:gd name="connsiteY5588" fmla="*/ 4382318 h 5217112"/>
              <a:gd name="connsiteX5589" fmla="*/ 1151699 w 6785952"/>
              <a:gd name="connsiteY5589" fmla="*/ 4377891 h 5217112"/>
              <a:gd name="connsiteX5590" fmla="*/ 1141779 w 6785952"/>
              <a:gd name="connsiteY5590" fmla="*/ 4374350 h 5217112"/>
              <a:gd name="connsiteX5591" fmla="*/ 1134564 w 6785952"/>
              <a:gd name="connsiteY5591" fmla="*/ 4388184 h 5217112"/>
              <a:gd name="connsiteX5592" fmla="*/ 1138473 w 6785952"/>
              <a:gd name="connsiteY5592" fmla="*/ 4391615 h 5217112"/>
              <a:gd name="connsiteX5593" fmla="*/ 1142080 w 6785952"/>
              <a:gd name="connsiteY5593" fmla="*/ 4413085 h 5217112"/>
              <a:gd name="connsiteX5594" fmla="*/ 1133362 w 6785952"/>
              <a:gd name="connsiteY5594" fmla="*/ 4418065 h 5217112"/>
              <a:gd name="connsiteX5595" fmla="*/ 1128552 w 6785952"/>
              <a:gd name="connsiteY5595" fmla="*/ 4399694 h 5217112"/>
              <a:gd name="connsiteX5596" fmla="*/ 1128552 w 6785952"/>
              <a:gd name="connsiteY5596" fmla="*/ 4399140 h 5217112"/>
              <a:gd name="connsiteX5597" fmla="*/ 1121939 w 6785952"/>
              <a:gd name="connsiteY5597" fmla="*/ 4411646 h 5217112"/>
              <a:gd name="connsiteX5598" fmla="*/ 1095785 w 6785952"/>
              <a:gd name="connsiteY5598" fmla="*/ 4448389 h 5217112"/>
              <a:gd name="connsiteX5599" fmla="*/ 1141779 w 6785952"/>
              <a:gd name="connsiteY5599" fmla="*/ 4374350 h 5217112"/>
              <a:gd name="connsiteX5600" fmla="*/ 5714132 w 6785952"/>
              <a:gd name="connsiteY5600" fmla="*/ 4373354 h 5217112"/>
              <a:gd name="connsiteX5601" fmla="*/ 5719843 w 6785952"/>
              <a:gd name="connsiteY5601" fmla="*/ 4390065 h 5217112"/>
              <a:gd name="connsiteX5602" fmla="*/ 5714132 w 6785952"/>
              <a:gd name="connsiteY5602" fmla="*/ 4373354 h 5217112"/>
              <a:gd name="connsiteX5603" fmla="*/ 5166110 w 6785952"/>
              <a:gd name="connsiteY5603" fmla="*/ 4373022 h 5217112"/>
              <a:gd name="connsiteX5604" fmla="*/ 5170620 w 6785952"/>
              <a:gd name="connsiteY5604" fmla="*/ 4373686 h 5217112"/>
              <a:gd name="connsiteX5605" fmla="*/ 5171822 w 6785952"/>
              <a:gd name="connsiteY5605" fmla="*/ 4387077 h 5217112"/>
              <a:gd name="connsiteX5606" fmla="*/ 5171221 w 6785952"/>
              <a:gd name="connsiteY5606" fmla="*/ 4394160 h 5217112"/>
              <a:gd name="connsiteX5607" fmla="*/ 5179638 w 6785952"/>
              <a:gd name="connsiteY5607" fmla="*/ 4390287 h 5217112"/>
              <a:gd name="connsiteX5608" fmla="*/ 5194067 w 6785952"/>
              <a:gd name="connsiteY5608" fmla="*/ 4393053 h 5217112"/>
              <a:gd name="connsiteX5609" fmla="*/ 5179638 w 6785952"/>
              <a:gd name="connsiteY5609" fmla="*/ 4418840 h 5217112"/>
              <a:gd name="connsiteX5610" fmla="*/ 5171221 w 6785952"/>
              <a:gd name="connsiteY5610" fmla="*/ 4405559 h 5217112"/>
              <a:gd name="connsiteX5611" fmla="*/ 5170019 w 6785952"/>
              <a:gd name="connsiteY5611" fmla="*/ 4396706 h 5217112"/>
              <a:gd name="connsiteX5612" fmla="*/ 5164307 w 6785952"/>
              <a:gd name="connsiteY5612" fmla="*/ 4398587 h 5217112"/>
              <a:gd name="connsiteX5613" fmla="*/ 5166110 w 6785952"/>
              <a:gd name="connsiteY5613" fmla="*/ 4373022 h 5217112"/>
              <a:gd name="connsiteX5614" fmla="*/ 1372651 w 6785952"/>
              <a:gd name="connsiteY5614" fmla="*/ 4373022 h 5217112"/>
              <a:gd name="connsiteX5615" fmla="*/ 1377161 w 6785952"/>
              <a:gd name="connsiteY5615" fmla="*/ 4373686 h 5217112"/>
              <a:gd name="connsiteX5616" fmla="*/ 1378063 w 6785952"/>
              <a:gd name="connsiteY5616" fmla="*/ 4387077 h 5217112"/>
              <a:gd name="connsiteX5617" fmla="*/ 1377462 w 6785952"/>
              <a:gd name="connsiteY5617" fmla="*/ 4394160 h 5217112"/>
              <a:gd name="connsiteX5618" fmla="*/ 1385879 w 6785952"/>
              <a:gd name="connsiteY5618" fmla="*/ 4390287 h 5217112"/>
              <a:gd name="connsiteX5619" fmla="*/ 1400609 w 6785952"/>
              <a:gd name="connsiteY5619" fmla="*/ 4393053 h 5217112"/>
              <a:gd name="connsiteX5620" fmla="*/ 1385879 w 6785952"/>
              <a:gd name="connsiteY5620" fmla="*/ 4418840 h 5217112"/>
              <a:gd name="connsiteX5621" fmla="*/ 1377462 w 6785952"/>
              <a:gd name="connsiteY5621" fmla="*/ 4405559 h 5217112"/>
              <a:gd name="connsiteX5622" fmla="*/ 1376259 w 6785952"/>
              <a:gd name="connsiteY5622" fmla="*/ 4396706 h 5217112"/>
              <a:gd name="connsiteX5623" fmla="*/ 1370547 w 6785952"/>
              <a:gd name="connsiteY5623" fmla="*/ 4398587 h 5217112"/>
              <a:gd name="connsiteX5624" fmla="*/ 1372651 w 6785952"/>
              <a:gd name="connsiteY5624" fmla="*/ 4373022 h 5217112"/>
              <a:gd name="connsiteX5625" fmla="*/ 6034888 w 6785952"/>
              <a:gd name="connsiteY5625" fmla="*/ 4372026 h 5217112"/>
              <a:gd name="connsiteX5626" fmla="*/ 5979875 w 6785952"/>
              <a:gd name="connsiteY5626" fmla="*/ 4434666 h 5217112"/>
              <a:gd name="connsiteX5627" fmla="*/ 5969955 w 6785952"/>
              <a:gd name="connsiteY5627" fmla="*/ 4421496 h 5217112"/>
              <a:gd name="connsiteX5628" fmla="*/ 6034888 w 6785952"/>
              <a:gd name="connsiteY5628" fmla="*/ 4372026 h 5217112"/>
              <a:gd name="connsiteX5629" fmla="*/ 6194814 w 6785952"/>
              <a:gd name="connsiteY5629" fmla="*/ 4371804 h 5217112"/>
              <a:gd name="connsiteX5630" fmla="*/ 6198421 w 6785952"/>
              <a:gd name="connsiteY5630" fmla="*/ 4373243 h 5217112"/>
              <a:gd name="connsiteX5631" fmla="*/ 6199925 w 6785952"/>
              <a:gd name="connsiteY5631" fmla="*/ 4376453 h 5217112"/>
              <a:gd name="connsiteX5632" fmla="*/ 6200526 w 6785952"/>
              <a:gd name="connsiteY5632" fmla="*/ 4380326 h 5217112"/>
              <a:gd name="connsiteX5633" fmla="*/ 6198121 w 6785952"/>
              <a:gd name="connsiteY5633" fmla="*/ 4385970 h 5217112"/>
              <a:gd name="connsiteX5634" fmla="*/ 6208342 w 6785952"/>
              <a:gd name="connsiteY5634" fmla="*/ 4391172 h 5217112"/>
              <a:gd name="connsiteX5635" fmla="*/ 6218263 w 6785952"/>
              <a:gd name="connsiteY5635" fmla="*/ 4399915 h 5217112"/>
              <a:gd name="connsiteX5636" fmla="*/ 6176777 w 6785952"/>
              <a:gd name="connsiteY5636" fmla="*/ 4375014 h 5217112"/>
              <a:gd name="connsiteX5637" fmla="*/ 6184293 w 6785952"/>
              <a:gd name="connsiteY5637" fmla="*/ 4379330 h 5217112"/>
              <a:gd name="connsiteX5638" fmla="*/ 6185496 w 6785952"/>
              <a:gd name="connsiteY5638" fmla="*/ 4375789 h 5217112"/>
              <a:gd name="connsiteX5639" fmla="*/ 6194814 w 6785952"/>
              <a:gd name="connsiteY5639" fmla="*/ 4371804 h 5217112"/>
              <a:gd name="connsiteX5640" fmla="*/ 5811531 w 6785952"/>
              <a:gd name="connsiteY5640" fmla="*/ 4371694 h 5217112"/>
              <a:gd name="connsiteX5641" fmla="*/ 5816039 w 6785952"/>
              <a:gd name="connsiteY5641" fmla="*/ 4376563 h 5217112"/>
              <a:gd name="connsiteX5642" fmla="*/ 5815138 w 6785952"/>
              <a:gd name="connsiteY5642" fmla="*/ 4384532 h 5217112"/>
              <a:gd name="connsiteX5643" fmla="*/ 5803714 w 6785952"/>
              <a:gd name="connsiteY5643" fmla="*/ 4397812 h 5217112"/>
              <a:gd name="connsiteX5644" fmla="*/ 5795598 w 6785952"/>
              <a:gd name="connsiteY5644" fmla="*/ 4386413 h 5217112"/>
              <a:gd name="connsiteX5645" fmla="*/ 5796500 w 6785952"/>
              <a:gd name="connsiteY5645" fmla="*/ 4384532 h 5217112"/>
              <a:gd name="connsiteX5646" fmla="*/ 5811531 w 6785952"/>
              <a:gd name="connsiteY5646" fmla="*/ 4371694 h 5217112"/>
              <a:gd name="connsiteX5647" fmla="*/ 2018072 w 6785952"/>
              <a:gd name="connsiteY5647" fmla="*/ 4371694 h 5217112"/>
              <a:gd name="connsiteX5648" fmla="*/ 2022581 w 6785952"/>
              <a:gd name="connsiteY5648" fmla="*/ 4376563 h 5217112"/>
              <a:gd name="connsiteX5649" fmla="*/ 2021679 w 6785952"/>
              <a:gd name="connsiteY5649" fmla="*/ 4384532 h 5217112"/>
              <a:gd name="connsiteX5650" fmla="*/ 2010256 w 6785952"/>
              <a:gd name="connsiteY5650" fmla="*/ 4397812 h 5217112"/>
              <a:gd name="connsiteX5651" fmla="*/ 2001839 w 6785952"/>
              <a:gd name="connsiteY5651" fmla="*/ 4386413 h 5217112"/>
              <a:gd name="connsiteX5652" fmla="*/ 2003041 w 6785952"/>
              <a:gd name="connsiteY5652" fmla="*/ 4384532 h 5217112"/>
              <a:gd name="connsiteX5653" fmla="*/ 2018072 w 6785952"/>
              <a:gd name="connsiteY5653" fmla="*/ 4371694 h 5217112"/>
              <a:gd name="connsiteX5654" fmla="*/ 1176049 w 6785952"/>
              <a:gd name="connsiteY5654" fmla="*/ 4370808 h 5217112"/>
              <a:gd name="connsiteX5655" fmla="*/ 1184767 w 6785952"/>
              <a:gd name="connsiteY5655" fmla="*/ 4373575 h 5217112"/>
              <a:gd name="connsiteX5656" fmla="*/ 1179957 w 6785952"/>
              <a:gd name="connsiteY5656" fmla="*/ 4382429 h 5217112"/>
              <a:gd name="connsiteX5657" fmla="*/ 1170638 w 6785952"/>
              <a:gd name="connsiteY5657" fmla="*/ 4377449 h 5217112"/>
              <a:gd name="connsiteX5658" fmla="*/ 1176049 w 6785952"/>
              <a:gd name="connsiteY5658" fmla="*/ 4370808 h 5217112"/>
              <a:gd name="connsiteX5659" fmla="*/ 808698 w 6785952"/>
              <a:gd name="connsiteY5659" fmla="*/ 4370144 h 5217112"/>
              <a:gd name="connsiteX5660" fmla="*/ 821624 w 6785952"/>
              <a:gd name="connsiteY5660" fmla="*/ 4373243 h 5217112"/>
              <a:gd name="connsiteX5661" fmla="*/ 811103 w 6785952"/>
              <a:gd name="connsiteY5661" fmla="*/ 4411425 h 5217112"/>
              <a:gd name="connsiteX5662" fmla="*/ 777133 w 6785952"/>
              <a:gd name="connsiteY5662" fmla="*/ 4395599 h 5217112"/>
              <a:gd name="connsiteX5663" fmla="*/ 808698 w 6785952"/>
              <a:gd name="connsiteY5663" fmla="*/ 4370144 h 5217112"/>
              <a:gd name="connsiteX5664" fmla="*/ 5152582 w 6785952"/>
              <a:gd name="connsiteY5664" fmla="*/ 4369480 h 5217112"/>
              <a:gd name="connsiteX5665" fmla="*/ 5140558 w 6785952"/>
              <a:gd name="connsiteY5665" fmla="*/ 4385860 h 5217112"/>
              <a:gd name="connsiteX5666" fmla="*/ 5136050 w 6785952"/>
              <a:gd name="connsiteY5666" fmla="*/ 4377449 h 5217112"/>
              <a:gd name="connsiteX5667" fmla="*/ 5152582 w 6785952"/>
              <a:gd name="connsiteY5667" fmla="*/ 4369480 h 5217112"/>
              <a:gd name="connsiteX5668" fmla="*/ 1359124 w 6785952"/>
              <a:gd name="connsiteY5668" fmla="*/ 4369480 h 5217112"/>
              <a:gd name="connsiteX5669" fmla="*/ 1346799 w 6785952"/>
              <a:gd name="connsiteY5669" fmla="*/ 4385860 h 5217112"/>
              <a:gd name="connsiteX5670" fmla="*/ 1342289 w 6785952"/>
              <a:gd name="connsiteY5670" fmla="*/ 4377449 h 5217112"/>
              <a:gd name="connsiteX5671" fmla="*/ 1359124 w 6785952"/>
              <a:gd name="connsiteY5671" fmla="*/ 4369480 h 5217112"/>
              <a:gd name="connsiteX5672" fmla="*/ 5799806 w 6785952"/>
              <a:gd name="connsiteY5672" fmla="*/ 4369370 h 5217112"/>
              <a:gd name="connsiteX5673" fmla="*/ 5803714 w 6785952"/>
              <a:gd name="connsiteY5673" fmla="*/ 4374350 h 5217112"/>
              <a:gd name="connsiteX5674" fmla="*/ 5801309 w 6785952"/>
              <a:gd name="connsiteY5674" fmla="*/ 4377227 h 5217112"/>
              <a:gd name="connsiteX5675" fmla="*/ 5796801 w 6785952"/>
              <a:gd name="connsiteY5675" fmla="*/ 4379330 h 5217112"/>
              <a:gd name="connsiteX5676" fmla="*/ 5792291 w 6785952"/>
              <a:gd name="connsiteY5676" fmla="*/ 4372911 h 5217112"/>
              <a:gd name="connsiteX5677" fmla="*/ 5794695 w 6785952"/>
              <a:gd name="connsiteY5677" fmla="*/ 4370034 h 5217112"/>
              <a:gd name="connsiteX5678" fmla="*/ 5799806 w 6785952"/>
              <a:gd name="connsiteY5678" fmla="*/ 4369370 h 5217112"/>
              <a:gd name="connsiteX5679" fmla="*/ 2006347 w 6785952"/>
              <a:gd name="connsiteY5679" fmla="*/ 4369370 h 5217112"/>
              <a:gd name="connsiteX5680" fmla="*/ 2010256 w 6785952"/>
              <a:gd name="connsiteY5680" fmla="*/ 4374350 h 5217112"/>
              <a:gd name="connsiteX5681" fmla="*/ 2007851 w 6785952"/>
              <a:gd name="connsiteY5681" fmla="*/ 4377227 h 5217112"/>
              <a:gd name="connsiteX5682" fmla="*/ 2003341 w 6785952"/>
              <a:gd name="connsiteY5682" fmla="*/ 4379330 h 5217112"/>
              <a:gd name="connsiteX5683" fmla="*/ 1998833 w 6785952"/>
              <a:gd name="connsiteY5683" fmla="*/ 4372911 h 5217112"/>
              <a:gd name="connsiteX5684" fmla="*/ 2001238 w 6785952"/>
              <a:gd name="connsiteY5684" fmla="*/ 4370034 h 5217112"/>
              <a:gd name="connsiteX5685" fmla="*/ 2006347 w 6785952"/>
              <a:gd name="connsiteY5685" fmla="*/ 4369370 h 5217112"/>
              <a:gd name="connsiteX5686" fmla="*/ 5454700 w 6785952"/>
              <a:gd name="connsiteY5686" fmla="*/ 4368927 h 5217112"/>
              <a:gd name="connsiteX5687" fmla="*/ 5467928 w 6785952"/>
              <a:gd name="connsiteY5687" fmla="*/ 4374793 h 5217112"/>
              <a:gd name="connsiteX5688" fmla="*/ 5451093 w 6785952"/>
              <a:gd name="connsiteY5688" fmla="*/ 4371472 h 5217112"/>
              <a:gd name="connsiteX5689" fmla="*/ 5454700 w 6785952"/>
              <a:gd name="connsiteY5689" fmla="*/ 4368927 h 5217112"/>
              <a:gd name="connsiteX5690" fmla="*/ 2690247 w 6785952"/>
              <a:gd name="connsiteY5690" fmla="*/ 4368927 h 5217112"/>
              <a:gd name="connsiteX5691" fmla="*/ 2703172 w 6785952"/>
              <a:gd name="connsiteY5691" fmla="*/ 4374793 h 5217112"/>
              <a:gd name="connsiteX5692" fmla="*/ 2686338 w 6785952"/>
              <a:gd name="connsiteY5692" fmla="*/ 4371472 h 5217112"/>
              <a:gd name="connsiteX5693" fmla="*/ 2690247 w 6785952"/>
              <a:gd name="connsiteY5693" fmla="*/ 4368927 h 5217112"/>
              <a:gd name="connsiteX5694" fmla="*/ 1660941 w 6785952"/>
              <a:gd name="connsiteY5694" fmla="*/ 4368927 h 5217112"/>
              <a:gd name="connsiteX5695" fmla="*/ 1674169 w 6785952"/>
              <a:gd name="connsiteY5695" fmla="*/ 4374793 h 5217112"/>
              <a:gd name="connsiteX5696" fmla="*/ 1657334 w 6785952"/>
              <a:gd name="connsiteY5696" fmla="*/ 4371472 h 5217112"/>
              <a:gd name="connsiteX5697" fmla="*/ 1660941 w 6785952"/>
              <a:gd name="connsiteY5697" fmla="*/ 4368927 h 5217112"/>
              <a:gd name="connsiteX5698" fmla="*/ 5526247 w 6785952"/>
              <a:gd name="connsiteY5698" fmla="*/ 4368816 h 5217112"/>
              <a:gd name="connsiteX5699" fmla="*/ 5537670 w 6785952"/>
              <a:gd name="connsiteY5699" fmla="*/ 4385638 h 5217112"/>
              <a:gd name="connsiteX5700" fmla="*/ 5527148 w 6785952"/>
              <a:gd name="connsiteY5700" fmla="*/ 4386081 h 5217112"/>
              <a:gd name="connsiteX5701" fmla="*/ 5526247 w 6785952"/>
              <a:gd name="connsiteY5701" fmla="*/ 4368816 h 5217112"/>
              <a:gd name="connsiteX5702" fmla="*/ 2761793 w 6785952"/>
              <a:gd name="connsiteY5702" fmla="*/ 4368816 h 5217112"/>
              <a:gd name="connsiteX5703" fmla="*/ 2773216 w 6785952"/>
              <a:gd name="connsiteY5703" fmla="*/ 4385638 h 5217112"/>
              <a:gd name="connsiteX5704" fmla="*/ 2762695 w 6785952"/>
              <a:gd name="connsiteY5704" fmla="*/ 4386081 h 5217112"/>
              <a:gd name="connsiteX5705" fmla="*/ 2761793 w 6785952"/>
              <a:gd name="connsiteY5705" fmla="*/ 4368816 h 5217112"/>
              <a:gd name="connsiteX5706" fmla="*/ 1732488 w 6785952"/>
              <a:gd name="connsiteY5706" fmla="*/ 4368816 h 5217112"/>
              <a:gd name="connsiteX5707" fmla="*/ 1743911 w 6785952"/>
              <a:gd name="connsiteY5707" fmla="*/ 4385638 h 5217112"/>
              <a:gd name="connsiteX5708" fmla="*/ 1733690 w 6785952"/>
              <a:gd name="connsiteY5708" fmla="*/ 4386081 h 5217112"/>
              <a:gd name="connsiteX5709" fmla="*/ 1732488 w 6785952"/>
              <a:gd name="connsiteY5709" fmla="*/ 4368816 h 5217112"/>
              <a:gd name="connsiteX5710" fmla="*/ 5977770 w 6785952"/>
              <a:gd name="connsiteY5710" fmla="*/ 4368706 h 5217112"/>
              <a:gd name="connsiteX5711" fmla="*/ 5987390 w 6785952"/>
              <a:gd name="connsiteY5711" fmla="*/ 4381322 h 5217112"/>
              <a:gd name="connsiteX5712" fmla="*/ 5987991 w 6785952"/>
              <a:gd name="connsiteY5712" fmla="*/ 4383536 h 5217112"/>
              <a:gd name="connsiteX5713" fmla="*/ 5992200 w 6785952"/>
              <a:gd name="connsiteY5713" fmla="*/ 4389291 h 5217112"/>
              <a:gd name="connsiteX5714" fmla="*/ 5984384 w 6785952"/>
              <a:gd name="connsiteY5714" fmla="*/ 4398144 h 5217112"/>
              <a:gd name="connsiteX5715" fmla="*/ 5975967 w 6785952"/>
              <a:gd name="connsiteY5715" fmla="*/ 4388737 h 5217112"/>
              <a:gd name="connsiteX5716" fmla="*/ 5984384 w 6785952"/>
              <a:gd name="connsiteY5716" fmla="*/ 4383536 h 5217112"/>
              <a:gd name="connsiteX5717" fmla="*/ 5979273 w 6785952"/>
              <a:gd name="connsiteY5717" fmla="*/ 4377006 h 5217112"/>
              <a:gd name="connsiteX5718" fmla="*/ 5976267 w 6785952"/>
              <a:gd name="connsiteY5718" fmla="*/ 4369370 h 5217112"/>
              <a:gd name="connsiteX5719" fmla="*/ 5977770 w 6785952"/>
              <a:gd name="connsiteY5719" fmla="*/ 4368706 h 5217112"/>
              <a:gd name="connsiteX5720" fmla="*/ 2184010 w 6785952"/>
              <a:gd name="connsiteY5720" fmla="*/ 4368706 h 5217112"/>
              <a:gd name="connsiteX5721" fmla="*/ 2193631 w 6785952"/>
              <a:gd name="connsiteY5721" fmla="*/ 4381322 h 5217112"/>
              <a:gd name="connsiteX5722" fmla="*/ 2194232 w 6785952"/>
              <a:gd name="connsiteY5722" fmla="*/ 4383536 h 5217112"/>
              <a:gd name="connsiteX5723" fmla="*/ 2198742 w 6785952"/>
              <a:gd name="connsiteY5723" fmla="*/ 4389291 h 5217112"/>
              <a:gd name="connsiteX5724" fmla="*/ 2190625 w 6785952"/>
              <a:gd name="connsiteY5724" fmla="*/ 4398144 h 5217112"/>
              <a:gd name="connsiteX5725" fmla="*/ 2182208 w 6785952"/>
              <a:gd name="connsiteY5725" fmla="*/ 4388737 h 5217112"/>
              <a:gd name="connsiteX5726" fmla="*/ 2190625 w 6785952"/>
              <a:gd name="connsiteY5726" fmla="*/ 4383536 h 5217112"/>
              <a:gd name="connsiteX5727" fmla="*/ 2185815 w 6785952"/>
              <a:gd name="connsiteY5727" fmla="*/ 4377006 h 5217112"/>
              <a:gd name="connsiteX5728" fmla="*/ 2182808 w 6785952"/>
              <a:gd name="connsiteY5728" fmla="*/ 4369370 h 5217112"/>
              <a:gd name="connsiteX5729" fmla="*/ 2184010 w 6785952"/>
              <a:gd name="connsiteY5729" fmla="*/ 4368706 h 5217112"/>
              <a:gd name="connsiteX5730" fmla="*/ 6182789 w 6785952"/>
              <a:gd name="connsiteY5730" fmla="*/ 4367488 h 5217112"/>
              <a:gd name="connsiteX5731" fmla="*/ 6186097 w 6785952"/>
              <a:gd name="connsiteY5731" fmla="*/ 4368263 h 5217112"/>
              <a:gd name="connsiteX5732" fmla="*/ 6186698 w 6785952"/>
              <a:gd name="connsiteY5732" fmla="*/ 4370808 h 5217112"/>
              <a:gd name="connsiteX5733" fmla="*/ 6183992 w 6785952"/>
              <a:gd name="connsiteY5733" fmla="*/ 4374129 h 5217112"/>
              <a:gd name="connsiteX5734" fmla="*/ 6179784 w 6785952"/>
              <a:gd name="connsiteY5734" fmla="*/ 4368816 h 5217112"/>
              <a:gd name="connsiteX5735" fmla="*/ 6182789 w 6785952"/>
              <a:gd name="connsiteY5735" fmla="*/ 4367488 h 5217112"/>
              <a:gd name="connsiteX5736" fmla="*/ 2389330 w 6785952"/>
              <a:gd name="connsiteY5736" fmla="*/ 4367488 h 5217112"/>
              <a:gd name="connsiteX5737" fmla="*/ 2392336 w 6785952"/>
              <a:gd name="connsiteY5737" fmla="*/ 4368263 h 5217112"/>
              <a:gd name="connsiteX5738" fmla="*/ 2392939 w 6785952"/>
              <a:gd name="connsiteY5738" fmla="*/ 4370808 h 5217112"/>
              <a:gd name="connsiteX5739" fmla="*/ 2390233 w 6785952"/>
              <a:gd name="connsiteY5739" fmla="*/ 4374129 h 5217112"/>
              <a:gd name="connsiteX5740" fmla="*/ 2388128 w 6785952"/>
              <a:gd name="connsiteY5740" fmla="*/ 4371472 h 5217112"/>
              <a:gd name="connsiteX5741" fmla="*/ 2387828 w 6785952"/>
              <a:gd name="connsiteY5741" fmla="*/ 4377670 h 5217112"/>
              <a:gd name="connsiteX5742" fmla="*/ 2390534 w 6785952"/>
              <a:gd name="connsiteY5742" fmla="*/ 4379330 h 5217112"/>
              <a:gd name="connsiteX5743" fmla="*/ 2391735 w 6785952"/>
              <a:gd name="connsiteY5743" fmla="*/ 4375789 h 5217112"/>
              <a:gd name="connsiteX5744" fmla="*/ 2401356 w 6785952"/>
              <a:gd name="connsiteY5744" fmla="*/ 4371804 h 5217112"/>
              <a:gd name="connsiteX5745" fmla="*/ 2404662 w 6785952"/>
              <a:gd name="connsiteY5745" fmla="*/ 4373243 h 5217112"/>
              <a:gd name="connsiteX5746" fmla="*/ 2404963 w 6785952"/>
              <a:gd name="connsiteY5746" fmla="*/ 4373465 h 5217112"/>
              <a:gd name="connsiteX5747" fmla="*/ 2406165 w 6785952"/>
              <a:gd name="connsiteY5747" fmla="*/ 4373686 h 5217112"/>
              <a:gd name="connsiteX5748" fmla="*/ 2406767 w 6785952"/>
              <a:gd name="connsiteY5748" fmla="*/ 4379330 h 5217112"/>
              <a:gd name="connsiteX5749" fmla="*/ 2406767 w 6785952"/>
              <a:gd name="connsiteY5749" fmla="*/ 4380326 h 5217112"/>
              <a:gd name="connsiteX5750" fmla="*/ 2406767 w 6785952"/>
              <a:gd name="connsiteY5750" fmla="*/ 4380658 h 5217112"/>
              <a:gd name="connsiteX5751" fmla="*/ 2407368 w 6785952"/>
              <a:gd name="connsiteY5751" fmla="*/ 4387077 h 5217112"/>
              <a:gd name="connsiteX5752" fmla="*/ 2407368 w 6785952"/>
              <a:gd name="connsiteY5752" fmla="*/ 4387298 h 5217112"/>
              <a:gd name="connsiteX5753" fmla="*/ 2413981 w 6785952"/>
              <a:gd name="connsiteY5753" fmla="*/ 4390840 h 5217112"/>
              <a:gd name="connsiteX5754" fmla="*/ 2415184 w 6785952"/>
              <a:gd name="connsiteY5754" fmla="*/ 4390287 h 5217112"/>
              <a:gd name="connsiteX5755" fmla="*/ 2429614 w 6785952"/>
              <a:gd name="connsiteY5755" fmla="*/ 4393053 h 5217112"/>
              <a:gd name="connsiteX5756" fmla="*/ 2414883 w 6785952"/>
              <a:gd name="connsiteY5756" fmla="*/ 4418840 h 5217112"/>
              <a:gd name="connsiteX5757" fmla="*/ 2406466 w 6785952"/>
              <a:gd name="connsiteY5757" fmla="*/ 4405559 h 5217112"/>
              <a:gd name="connsiteX5758" fmla="*/ 2405864 w 6785952"/>
              <a:gd name="connsiteY5758" fmla="*/ 4399804 h 5217112"/>
              <a:gd name="connsiteX5759" fmla="*/ 2401055 w 6785952"/>
              <a:gd name="connsiteY5759" fmla="*/ 4398144 h 5217112"/>
              <a:gd name="connsiteX5760" fmla="*/ 2399852 w 6785952"/>
              <a:gd name="connsiteY5760" fmla="*/ 4398587 h 5217112"/>
              <a:gd name="connsiteX5761" fmla="*/ 2399552 w 6785952"/>
              <a:gd name="connsiteY5761" fmla="*/ 4397702 h 5217112"/>
              <a:gd name="connsiteX5762" fmla="*/ 2396546 w 6785952"/>
              <a:gd name="connsiteY5762" fmla="*/ 4396706 h 5217112"/>
              <a:gd name="connsiteX5763" fmla="*/ 2385122 w 6785952"/>
              <a:gd name="connsiteY5763" fmla="*/ 4386966 h 5217112"/>
              <a:gd name="connsiteX5764" fmla="*/ 2384822 w 6785952"/>
              <a:gd name="connsiteY5764" fmla="*/ 4384753 h 5217112"/>
              <a:gd name="connsiteX5765" fmla="*/ 2381816 w 6785952"/>
              <a:gd name="connsiteY5765" fmla="*/ 4386524 h 5217112"/>
              <a:gd name="connsiteX5766" fmla="*/ 2376104 w 6785952"/>
              <a:gd name="connsiteY5766" fmla="*/ 4385860 h 5217112"/>
              <a:gd name="connsiteX5767" fmla="*/ 2371294 w 6785952"/>
              <a:gd name="connsiteY5767" fmla="*/ 4377449 h 5217112"/>
              <a:gd name="connsiteX5768" fmla="*/ 2379411 w 6785952"/>
              <a:gd name="connsiteY5768" fmla="*/ 4372026 h 5217112"/>
              <a:gd name="connsiteX5769" fmla="*/ 2386925 w 6785952"/>
              <a:gd name="connsiteY5769" fmla="*/ 4369812 h 5217112"/>
              <a:gd name="connsiteX5770" fmla="*/ 2386024 w 6785952"/>
              <a:gd name="connsiteY5770" fmla="*/ 4368816 h 5217112"/>
              <a:gd name="connsiteX5771" fmla="*/ 2389330 w 6785952"/>
              <a:gd name="connsiteY5771" fmla="*/ 4367488 h 5217112"/>
              <a:gd name="connsiteX5772" fmla="*/ 5506105 w 6785952"/>
              <a:gd name="connsiteY5772" fmla="*/ 4366492 h 5217112"/>
              <a:gd name="connsiteX5773" fmla="*/ 5510915 w 6785952"/>
              <a:gd name="connsiteY5773" fmla="*/ 4368706 h 5217112"/>
              <a:gd name="connsiteX5774" fmla="*/ 5508812 w 6785952"/>
              <a:gd name="connsiteY5774" fmla="*/ 4374682 h 5217112"/>
              <a:gd name="connsiteX5775" fmla="*/ 5504001 w 6785952"/>
              <a:gd name="connsiteY5775" fmla="*/ 4373907 h 5217112"/>
              <a:gd name="connsiteX5776" fmla="*/ 5506105 w 6785952"/>
              <a:gd name="connsiteY5776" fmla="*/ 4366492 h 5217112"/>
              <a:gd name="connsiteX5777" fmla="*/ 2741651 w 6785952"/>
              <a:gd name="connsiteY5777" fmla="*/ 4366492 h 5217112"/>
              <a:gd name="connsiteX5778" fmla="*/ 2746461 w 6785952"/>
              <a:gd name="connsiteY5778" fmla="*/ 4368706 h 5217112"/>
              <a:gd name="connsiteX5779" fmla="*/ 2744357 w 6785952"/>
              <a:gd name="connsiteY5779" fmla="*/ 4374682 h 5217112"/>
              <a:gd name="connsiteX5780" fmla="*/ 2739548 w 6785952"/>
              <a:gd name="connsiteY5780" fmla="*/ 4373907 h 5217112"/>
              <a:gd name="connsiteX5781" fmla="*/ 2741651 w 6785952"/>
              <a:gd name="connsiteY5781" fmla="*/ 4366492 h 5217112"/>
              <a:gd name="connsiteX5782" fmla="*/ 1712646 w 6785952"/>
              <a:gd name="connsiteY5782" fmla="*/ 4366492 h 5217112"/>
              <a:gd name="connsiteX5783" fmla="*/ 1717456 w 6785952"/>
              <a:gd name="connsiteY5783" fmla="*/ 4368706 h 5217112"/>
              <a:gd name="connsiteX5784" fmla="*/ 1715352 w 6785952"/>
              <a:gd name="connsiteY5784" fmla="*/ 4374682 h 5217112"/>
              <a:gd name="connsiteX5785" fmla="*/ 1710242 w 6785952"/>
              <a:gd name="connsiteY5785" fmla="*/ 4373907 h 5217112"/>
              <a:gd name="connsiteX5786" fmla="*/ 1712646 w 6785952"/>
              <a:gd name="connsiteY5786" fmla="*/ 4366492 h 5217112"/>
              <a:gd name="connsiteX5787" fmla="*/ 5672947 w 6785952"/>
              <a:gd name="connsiteY5787" fmla="*/ 4363725 h 5217112"/>
              <a:gd name="connsiteX5788" fmla="*/ 5686174 w 6785952"/>
              <a:gd name="connsiteY5788" fmla="*/ 4371362 h 5217112"/>
              <a:gd name="connsiteX5789" fmla="*/ 5687376 w 6785952"/>
              <a:gd name="connsiteY5789" fmla="*/ 4369259 h 5217112"/>
              <a:gd name="connsiteX5790" fmla="*/ 5703009 w 6785952"/>
              <a:gd name="connsiteY5790" fmla="*/ 4378998 h 5217112"/>
              <a:gd name="connsiteX5791" fmla="*/ 5703309 w 6785952"/>
              <a:gd name="connsiteY5791" fmla="*/ 4380880 h 5217112"/>
              <a:gd name="connsiteX5792" fmla="*/ 5707518 w 6785952"/>
              <a:gd name="connsiteY5792" fmla="*/ 4383314 h 5217112"/>
              <a:gd name="connsiteX5793" fmla="*/ 5735174 w 6785952"/>
              <a:gd name="connsiteY5793" fmla="*/ 4399140 h 5217112"/>
              <a:gd name="connsiteX5794" fmla="*/ 5735776 w 6785952"/>
              <a:gd name="connsiteY5794" fmla="*/ 4391947 h 5217112"/>
              <a:gd name="connsiteX5795" fmla="*/ 5746297 w 6785952"/>
              <a:gd name="connsiteY5795" fmla="*/ 4387852 h 5217112"/>
              <a:gd name="connsiteX5796" fmla="*/ 5750806 w 6785952"/>
              <a:gd name="connsiteY5796" fmla="*/ 4409101 h 5217112"/>
              <a:gd name="connsiteX5797" fmla="*/ 5740585 w 6785952"/>
              <a:gd name="connsiteY5797" fmla="*/ 4408990 h 5217112"/>
              <a:gd name="connsiteX5798" fmla="*/ 5735174 w 6785952"/>
              <a:gd name="connsiteY5798" fmla="*/ 4401464 h 5217112"/>
              <a:gd name="connsiteX5799" fmla="*/ 5719242 w 6785952"/>
              <a:gd name="connsiteY5799" fmla="*/ 4402239 h 5217112"/>
              <a:gd name="connsiteX5800" fmla="*/ 5705112 w 6785952"/>
              <a:gd name="connsiteY5800" fmla="*/ 4398144 h 5217112"/>
              <a:gd name="connsiteX5801" fmla="*/ 5698199 w 6785952"/>
              <a:gd name="connsiteY5801" fmla="*/ 4406998 h 5217112"/>
              <a:gd name="connsiteX5802" fmla="*/ 5681665 w 6785952"/>
              <a:gd name="connsiteY5802" fmla="*/ 4392057 h 5217112"/>
              <a:gd name="connsiteX5803" fmla="*/ 5681665 w 6785952"/>
              <a:gd name="connsiteY5803" fmla="*/ 4387741 h 5217112"/>
              <a:gd name="connsiteX5804" fmla="*/ 5681064 w 6785952"/>
              <a:gd name="connsiteY5804" fmla="*/ 4387520 h 5217112"/>
              <a:gd name="connsiteX5805" fmla="*/ 5662726 w 6785952"/>
              <a:gd name="connsiteY5805" fmla="*/ 4378223 h 5217112"/>
              <a:gd name="connsiteX5806" fmla="*/ 5672947 w 6785952"/>
              <a:gd name="connsiteY5806" fmla="*/ 4363725 h 5217112"/>
              <a:gd name="connsiteX5807" fmla="*/ 1879488 w 6785952"/>
              <a:gd name="connsiteY5807" fmla="*/ 4363725 h 5217112"/>
              <a:gd name="connsiteX5808" fmla="*/ 1925782 w 6785952"/>
              <a:gd name="connsiteY5808" fmla="*/ 4389623 h 5217112"/>
              <a:gd name="connsiteX5809" fmla="*/ 1920371 w 6785952"/>
              <a:gd name="connsiteY5809" fmla="*/ 4373354 h 5217112"/>
              <a:gd name="connsiteX5810" fmla="*/ 1926083 w 6785952"/>
              <a:gd name="connsiteY5810" fmla="*/ 4389623 h 5217112"/>
              <a:gd name="connsiteX5811" fmla="*/ 1945022 w 6785952"/>
              <a:gd name="connsiteY5811" fmla="*/ 4401354 h 5217112"/>
              <a:gd name="connsiteX5812" fmla="*/ 1868967 w 6785952"/>
              <a:gd name="connsiteY5812" fmla="*/ 4378223 h 5217112"/>
              <a:gd name="connsiteX5813" fmla="*/ 1879488 w 6785952"/>
              <a:gd name="connsiteY5813" fmla="*/ 4363725 h 5217112"/>
              <a:gd name="connsiteX5814" fmla="*/ 5981979 w 6785952"/>
              <a:gd name="connsiteY5814" fmla="*/ 4363172 h 5217112"/>
              <a:gd name="connsiteX5815" fmla="*/ 6005728 w 6785952"/>
              <a:gd name="connsiteY5815" fmla="*/ 4380437 h 5217112"/>
              <a:gd name="connsiteX5816" fmla="*/ 5999715 w 6785952"/>
              <a:gd name="connsiteY5816" fmla="*/ 4383204 h 5217112"/>
              <a:gd name="connsiteX5817" fmla="*/ 5998513 w 6785952"/>
              <a:gd name="connsiteY5817" fmla="*/ 4380437 h 5217112"/>
              <a:gd name="connsiteX5818" fmla="*/ 5981979 w 6785952"/>
              <a:gd name="connsiteY5818" fmla="*/ 4363172 h 5217112"/>
              <a:gd name="connsiteX5819" fmla="*/ 2188520 w 6785952"/>
              <a:gd name="connsiteY5819" fmla="*/ 4363172 h 5217112"/>
              <a:gd name="connsiteX5820" fmla="*/ 2198139 w 6785952"/>
              <a:gd name="connsiteY5820" fmla="*/ 4367046 h 5217112"/>
              <a:gd name="connsiteX5821" fmla="*/ 2202949 w 6785952"/>
              <a:gd name="connsiteY5821" fmla="*/ 4372247 h 5217112"/>
              <a:gd name="connsiteX5822" fmla="*/ 2205354 w 6785952"/>
              <a:gd name="connsiteY5822" fmla="*/ 4370808 h 5217112"/>
              <a:gd name="connsiteX5823" fmla="*/ 2214072 w 6785952"/>
              <a:gd name="connsiteY5823" fmla="*/ 4373575 h 5217112"/>
              <a:gd name="connsiteX5824" fmla="*/ 2210766 w 6785952"/>
              <a:gd name="connsiteY5824" fmla="*/ 4379662 h 5217112"/>
              <a:gd name="connsiteX5825" fmla="*/ 2211968 w 6785952"/>
              <a:gd name="connsiteY5825" fmla="*/ 4380437 h 5217112"/>
              <a:gd name="connsiteX5826" fmla="*/ 2205956 w 6785952"/>
              <a:gd name="connsiteY5826" fmla="*/ 4383204 h 5217112"/>
              <a:gd name="connsiteX5827" fmla="*/ 2204754 w 6785952"/>
              <a:gd name="connsiteY5827" fmla="*/ 4380437 h 5217112"/>
              <a:gd name="connsiteX5828" fmla="*/ 2188520 w 6785952"/>
              <a:gd name="connsiteY5828" fmla="*/ 4363172 h 5217112"/>
              <a:gd name="connsiteX5829" fmla="*/ 5917347 w 6785952"/>
              <a:gd name="connsiteY5829" fmla="*/ 4362729 h 5217112"/>
              <a:gd name="connsiteX5830" fmla="*/ 5922156 w 6785952"/>
              <a:gd name="connsiteY5830" fmla="*/ 4364943 h 5217112"/>
              <a:gd name="connsiteX5831" fmla="*/ 5923359 w 6785952"/>
              <a:gd name="connsiteY5831" fmla="*/ 4371472 h 5217112"/>
              <a:gd name="connsiteX5832" fmla="*/ 5920052 w 6785952"/>
              <a:gd name="connsiteY5832" fmla="*/ 4372579 h 5217112"/>
              <a:gd name="connsiteX5833" fmla="*/ 5914942 w 6785952"/>
              <a:gd name="connsiteY5833" fmla="*/ 4371804 h 5217112"/>
              <a:gd name="connsiteX5834" fmla="*/ 5914040 w 6785952"/>
              <a:gd name="connsiteY5834" fmla="*/ 4363725 h 5217112"/>
              <a:gd name="connsiteX5835" fmla="*/ 5917347 w 6785952"/>
              <a:gd name="connsiteY5835" fmla="*/ 4362729 h 5217112"/>
              <a:gd name="connsiteX5836" fmla="*/ 2123588 w 6785952"/>
              <a:gd name="connsiteY5836" fmla="*/ 4362729 h 5217112"/>
              <a:gd name="connsiteX5837" fmla="*/ 2128397 w 6785952"/>
              <a:gd name="connsiteY5837" fmla="*/ 4364943 h 5217112"/>
              <a:gd name="connsiteX5838" fmla="*/ 2129600 w 6785952"/>
              <a:gd name="connsiteY5838" fmla="*/ 4371472 h 5217112"/>
              <a:gd name="connsiteX5839" fmla="*/ 2126293 w 6785952"/>
              <a:gd name="connsiteY5839" fmla="*/ 4372579 h 5217112"/>
              <a:gd name="connsiteX5840" fmla="*/ 2121183 w 6785952"/>
              <a:gd name="connsiteY5840" fmla="*/ 4371804 h 5217112"/>
              <a:gd name="connsiteX5841" fmla="*/ 2120280 w 6785952"/>
              <a:gd name="connsiteY5841" fmla="*/ 4363725 h 5217112"/>
              <a:gd name="connsiteX5842" fmla="*/ 2123588 w 6785952"/>
              <a:gd name="connsiteY5842" fmla="*/ 4362729 h 5217112"/>
              <a:gd name="connsiteX5843" fmla="*/ 5694290 w 6785952"/>
              <a:gd name="connsiteY5843" fmla="*/ 4361623 h 5217112"/>
              <a:gd name="connsiteX5844" fmla="*/ 5699401 w 6785952"/>
              <a:gd name="connsiteY5844" fmla="*/ 4363393 h 5217112"/>
              <a:gd name="connsiteX5845" fmla="*/ 5697898 w 6785952"/>
              <a:gd name="connsiteY5845" fmla="*/ 4366271 h 5217112"/>
              <a:gd name="connsiteX5846" fmla="*/ 5689481 w 6785952"/>
              <a:gd name="connsiteY5846" fmla="*/ 4364389 h 5217112"/>
              <a:gd name="connsiteX5847" fmla="*/ 5691285 w 6785952"/>
              <a:gd name="connsiteY5847" fmla="*/ 4363061 h 5217112"/>
              <a:gd name="connsiteX5848" fmla="*/ 5690683 w 6785952"/>
              <a:gd name="connsiteY5848" fmla="*/ 4362729 h 5217112"/>
              <a:gd name="connsiteX5849" fmla="*/ 5694290 w 6785952"/>
              <a:gd name="connsiteY5849" fmla="*/ 4361623 h 5217112"/>
              <a:gd name="connsiteX5850" fmla="*/ 1900831 w 6785952"/>
              <a:gd name="connsiteY5850" fmla="*/ 4361623 h 5217112"/>
              <a:gd name="connsiteX5851" fmla="*/ 1905641 w 6785952"/>
              <a:gd name="connsiteY5851" fmla="*/ 4363393 h 5217112"/>
              <a:gd name="connsiteX5852" fmla="*/ 1904139 w 6785952"/>
              <a:gd name="connsiteY5852" fmla="*/ 4366271 h 5217112"/>
              <a:gd name="connsiteX5853" fmla="*/ 1896022 w 6785952"/>
              <a:gd name="connsiteY5853" fmla="*/ 4364389 h 5217112"/>
              <a:gd name="connsiteX5854" fmla="*/ 1897525 w 6785952"/>
              <a:gd name="connsiteY5854" fmla="*/ 4363061 h 5217112"/>
              <a:gd name="connsiteX5855" fmla="*/ 1896924 w 6785952"/>
              <a:gd name="connsiteY5855" fmla="*/ 4362729 h 5217112"/>
              <a:gd name="connsiteX5856" fmla="*/ 1900831 w 6785952"/>
              <a:gd name="connsiteY5856" fmla="*/ 4361623 h 5217112"/>
              <a:gd name="connsiteX5857" fmla="*/ 5198877 w 6785952"/>
              <a:gd name="connsiteY5857" fmla="*/ 4361069 h 5217112"/>
              <a:gd name="connsiteX5858" fmla="*/ 5200981 w 6785952"/>
              <a:gd name="connsiteY5858" fmla="*/ 4361955 h 5217112"/>
              <a:gd name="connsiteX5859" fmla="*/ 5213607 w 6785952"/>
              <a:gd name="connsiteY5859" fmla="*/ 4374682 h 5217112"/>
              <a:gd name="connsiteX5860" fmla="*/ 5200079 w 6785952"/>
              <a:gd name="connsiteY5860" fmla="*/ 4379773 h 5217112"/>
              <a:gd name="connsiteX5861" fmla="*/ 5197375 w 6785952"/>
              <a:gd name="connsiteY5861" fmla="*/ 4378223 h 5217112"/>
              <a:gd name="connsiteX5862" fmla="*/ 5197375 w 6785952"/>
              <a:gd name="connsiteY5862" fmla="*/ 4378445 h 5217112"/>
              <a:gd name="connsiteX5863" fmla="*/ 5192565 w 6785952"/>
              <a:gd name="connsiteY5863" fmla="*/ 4381544 h 5217112"/>
              <a:gd name="connsiteX5864" fmla="*/ 5179938 w 6785952"/>
              <a:gd name="connsiteY5864" fmla="*/ 4368042 h 5217112"/>
              <a:gd name="connsiteX5865" fmla="*/ 5186853 w 6785952"/>
              <a:gd name="connsiteY5865" fmla="*/ 4363947 h 5217112"/>
              <a:gd name="connsiteX5866" fmla="*/ 5189858 w 6785952"/>
              <a:gd name="connsiteY5866" fmla="*/ 4364722 h 5217112"/>
              <a:gd name="connsiteX5867" fmla="*/ 5190761 w 6785952"/>
              <a:gd name="connsiteY5867" fmla="*/ 4363061 h 5217112"/>
              <a:gd name="connsiteX5868" fmla="*/ 5198877 w 6785952"/>
              <a:gd name="connsiteY5868" fmla="*/ 4361069 h 5217112"/>
              <a:gd name="connsiteX5869" fmla="*/ 2434424 w 6785952"/>
              <a:gd name="connsiteY5869" fmla="*/ 4361069 h 5217112"/>
              <a:gd name="connsiteX5870" fmla="*/ 2436527 w 6785952"/>
              <a:gd name="connsiteY5870" fmla="*/ 4361955 h 5217112"/>
              <a:gd name="connsiteX5871" fmla="*/ 2449153 w 6785952"/>
              <a:gd name="connsiteY5871" fmla="*/ 4374682 h 5217112"/>
              <a:gd name="connsiteX5872" fmla="*/ 2435626 w 6785952"/>
              <a:gd name="connsiteY5872" fmla="*/ 4379773 h 5217112"/>
              <a:gd name="connsiteX5873" fmla="*/ 2432920 w 6785952"/>
              <a:gd name="connsiteY5873" fmla="*/ 4378223 h 5217112"/>
              <a:gd name="connsiteX5874" fmla="*/ 2432920 w 6785952"/>
              <a:gd name="connsiteY5874" fmla="*/ 4378445 h 5217112"/>
              <a:gd name="connsiteX5875" fmla="*/ 2427809 w 6785952"/>
              <a:gd name="connsiteY5875" fmla="*/ 4381544 h 5217112"/>
              <a:gd name="connsiteX5876" fmla="*/ 2415184 w 6785952"/>
              <a:gd name="connsiteY5876" fmla="*/ 4368042 h 5217112"/>
              <a:gd name="connsiteX5877" fmla="*/ 2422398 w 6785952"/>
              <a:gd name="connsiteY5877" fmla="*/ 4363947 h 5217112"/>
              <a:gd name="connsiteX5878" fmla="*/ 2425104 w 6785952"/>
              <a:gd name="connsiteY5878" fmla="*/ 4364722 h 5217112"/>
              <a:gd name="connsiteX5879" fmla="*/ 2426006 w 6785952"/>
              <a:gd name="connsiteY5879" fmla="*/ 4363061 h 5217112"/>
              <a:gd name="connsiteX5880" fmla="*/ 2434424 w 6785952"/>
              <a:gd name="connsiteY5880" fmla="*/ 4361069 h 5217112"/>
              <a:gd name="connsiteX5881" fmla="*/ 1405419 w 6785952"/>
              <a:gd name="connsiteY5881" fmla="*/ 4361069 h 5217112"/>
              <a:gd name="connsiteX5882" fmla="*/ 1407222 w 6785952"/>
              <a:gd name="connsiteY5882" fmla="*/ 4361955 h 5217112"/>
              <a:gd name="connsiteX5883" fmla="*/ 1420148 w 6785952"/>
              <a:gd name="connsiteY5883" fmla="*/ 4374682 h 5217112"/>
              <a:gd name="connsiteX5884" fmla="*/ 1406320 w 6785952"/>
              <a:gd name="connsiteY5884" fmla="*/ 4379773 h 5217112"/>
              <a:gd name="connsiteX5885" fmla="*/ 1403915 w 6785952"/>
              <a:gd name="connsiteY5885" fmla="*/ 4378223 h 5217112"/>
              <a:gd name="connsiteX5886" fmla="*/ 1403615 w 6785952"/>
              <a:gd name="connsiteY5886" fmla="*/ 4378445 h 5217112"/>
              <a:gd name="connsiteX5887" fmla="*/ 1398804 w 6785952"/>
              <a:gd name="connsiteY5887" fmla="*/ 4381544 h 5217112"/>
              <a:gd name="connsiteX5888" fmla="*/ 1386179 w 6785952"/>
              <a:gd name="connsiteY5888" fmla="*/ 4368042 h 5217112"/>
              <a:gd name="connsiteX5889" fmla="*/ 1393093 w 6785952"/>
              <a:gd name="connsiteY5889" fmla="*/ 4363947 h 5217112"/>
              <a:gd name="connsiteX5890" fmla="*/ 1396099 w 6785952"/>
              <a:gd name="connsiteY5890" fmla="*/ 4364722 h 5217112"/>
              <a:gd name="connsiteX5891" fmla="*/ 1397002 w 6785952"/>
              <a:gd name="connsiteY5891" fmla="*/ 4363061 h 5217112"/>
              <a:gd name="connsiteX5892" fmla="*/ 1405419 w 6785952"/>
              <a:gd name="connsiteY5892" fmla="*/ 4361069 h 5217112"/>
              <a:gd name="connsiteX5893" fmla="*/ 2166275 w 6785952"/>
              <a:gd name="connsiteY5893" fmla="*/ 4357196 h 5217112"/>
              <a:gd name="connsiteX5894" fmla="*/ 2170182 w 6785952"/>
              <a:gd name="connsiteY5894" fmla="*/ 4357307 h 5217112"/>
              <a:gd name="connsiteX5895" fmla="*/ 2160262 w 6785952"/>
              <a:gd name="connsiteY5895" fmla="*/ 4362176 h 5217112"/>
              <a:gd name="connsiteX5896" fmla="*/ 2158759 w 6785952"/>
              <a:gd name="connsiteY5896" fmla="*/ 4366382 h 5217112"/>
              <a:gd name="connsiteX5897" fmla="*/ 2148839 w 6785952"/>
              <a:gd name="connsiteY5897" fmla="*/ 4368263 h 5217112"/>
              <a:gd name="connsiteX5898" fmla="*/ 2149140 w 6785952"/>
              <a:gd name="connsiteY5898" fmla="*/ 4360848 h 5217112"/>
              <a:gd name="connsiteX5899" fmla="*/ 2162066 w 6785952"/>
              <a:gd name="connsiteY5899" fmla="*/ 4359409 h 5217112"/>
              <a:gd name="connsiteX5900" fmla="*/ 2166275 w 6785952"/>
              <a:gd name="connsiteY5900" fmla="*/ 4357196 h 5217112"/>
              <a:gd name="connsiteX5901" fmla="*/ 1136969 w 6785952"/>
              <a:gd name="connsiteY5901" fmla="*/ 4357196 h 5217112"/>
              <a:gd name="connsiteX5902" fmla="*/ 1141178 w 6785952"/>
              <a:gd name="connsiteY5902" fmla="*/ 4357307 h 5217112"/>
              <a:gd name="connsiteX5903" fmla="*/ 1131258 w 6785952"/>
              <a:gd name="connsiteY5903" fmla="*/ 4362176 h 5217112"/>
              <a:gd name="connsiteX5904" fmla="*/ 1129454 w 6785952"/>
              <a:gd name="connsiteY5904" fmla="*/ 4366382 h 5217112"/>
              <a:gd name="connsiteX5905" fmla="*/ 1119835 w 6785952"/>
              <a:gd name="connsiteY5905" fmla="*/ 4368263 h 5217112"/>
              <a:gd name="connsiteX5906" fmla="*/ 1119835 w 6785952"/>
              <a:gd name="connsiteY5906" fmla="*/ 4360848 h 5217112"/>
              <a:gd name="connsiteX5907" fmla="*/ 1133062 w 6785952"/>
              <a:gd name="connsiteY5907" fmla="*/ 4359409 h 5217112"/>
              <a:gd name="connsiteX5908" fmla="*/ 1136969 w 6785952"/>
              <a:gd name="connsiteY5908" fmla="*/ 4357196 h 5217112"/>
              <a:gd name="connsiteX5909" fmla="*/ 5970556 w 6785952"/>
              <a:gd name="connsiteY5909" fmla="*/ 4355536 h 5217112"/>
              <a:gd name="connsiteX5910" fmla="*/ 5977169 w 6785952"/>
              <a:gd name="connsiteY5910" fmla="*/ 4358967 h 5217112"/>
              <a:gd name="connsiteX5911" fmla="*/ 5976267 w 6785952"/>
              <a:gd name="connsiteY5911" fmla="*/ 4361069 h 5217112"/>
              <a:gd name="connsiteX5912" fmla="*/ 5970556 w 6785952"/>
              <a:gd name="connsiteY5912" fmla="*/ 4355536 h 5217112"/>
              <a:gd name="connsiteX5913" fmla="*/ 2176796 w 6785952"/>
              <a:gd name="connsiteY5913" fmla="*/ 4355536 h 5217112"/>
              <a:gd name="connsiteX5914" fmla="*/ 2183710 w 6785952"/>
              <a:gd name="connsiteY5914" fmla="*/ 4358967 h 5217112"/>
              <a:gd name="connsiteX5915" fmla="*/ 2182808 w 6785952"/>
              <a:gd name="connsiteY5915" fmla="*/ 4361069 h 5217112"/>
              <a:gd name="connsiteX5916" fmla="*/ 2176796 w 6785952"/>
              <a:gd name="connsiteY5916" fmla="*/ 4355536 h 5217112"/>
              <a:gd name="connsiteX5917" fmla="*/ 2259766 w 6785952"/>
              <a:gd name="connsiteY5917" fmla="*/ 4355093 h 5217112"/>
              <a:gd name="connsiteX5918" fmla="*/ 2272091 w 6785952"/>
              <a:gd name="connsiteY5918" fmla="*/ 4357639 h 5217112"/>
              <a:gd name="connsiteX5919" fmla="*/ 2276901 w 6785952"/>
              <a:gd name="connsiteY5919" fmla="*/ 4362729 h 5217112"/>
              <a:gd name="connsiteX5920" fmla="*/ 2267281 w 6785952"/>
              <a:gd name="connsiteY5920" fmla="*/ 4391172 h 5217112"/>
              <a:gd name="connsiteX5921" fmla="*/ 2258864 w 6785952"/>
              <a:gd name="connsiteY5921" fmla="*/ 4394935 h 5217112"/>
              <a:gd name="connsiteX5922" fmla="*/ 2259164 w 6785952"/>
              <a:gd name="connsiteY5922" fmla="*/ 4397812 h 5217112"/>
              <a:gd name="connsiteX5923" fmla="*/ 2263373 w 6785952"/>
              <a:gd name="connsiteY5923" fmla="*/ 4397702 h 5217112"/>
              <a:gd name="connsiteX5924" fmla="*/ 2269686 w 6785952"/>
              <a:gd name="connsiteY5924" fmla="*/ 4401132 h 5217112"/>
              <a:gd name="connsiteX5925" fmla="*/ 2270588 w 6785952"/>
              <a:gd name="connsiteY5925" fmla="*/ 4402903 h 5217112"/>
              <a:gd name="connsiteX5926" fmla="*/ 2272091 w 6785952"/>
              <a:gd name="connsiteY5926" fmla="*/ 4401907 h 5217112"/>
              <a:gd name="connsiteX5927" fmla="*/ 2277802 w 6785952"/>
              <a:gd name="connsiteY5927" fmla="*/ 4406223 h 5217112"/>
              <a:gd name="connsiteX5928" fmla="*/ 2273895 w 6785952"/>
              <a:gd name="connsiteY5928" fmla="*/ 4409986 h 5217112"/>
              <a:gd name="connsiteX5929" fmla="*/ 2274796 w 6785952"/>
              <a:gd name="connsiteY5929" fmla="*/ 4411535 h 5217112"/>
              <a:gd name="connsiteX5930" fmla="*/ 2276300 w 6785952"/>
              <a:gd name="connsiteY5930" fmla="*/ 4411535 h 5217112"/>
              <a:gd name="connsiteX5931" fmla="*/ 2281411 w 6785952"/>
              <a:gd name="connsiteY5931" fmla="*/ 4415741 h 5217112"/>
              <a:gd name="connsiteX5932" fmla="*/ 2279306 w 6785952"/>
              <a:gd name="connsiteY5932" fmla="*/ 4418397 h 5217112"/>
              <a:gd name="connsiteX5933" fmla="*/ 2275097 w 6785952"/>
              <a:gd name="connsiteY5933" fmla="*/ 4416405 h 5217112"/>
              <a:gd name="connsiteX5934" fmla="*/ 2274496 w 6785952"/>
              <a:gd name="connsiteY5934" fmla="*/ 4416073 h 5217112"/>
              <a:gd name="connsiteX5935" fmla="*/ 2272692 w 6785952"/>
              <a:gd name="connsiteY5935" fmla="*/ 4416184 h 5217112"/>
              <a:gd name="connsiteX5936" fmla="*/ 2271490 w 6785952"/>
              <a:gd name="connsiteY5936" fmla="*/ 4415741 h 5217112"/>
              <a:gd name="connsiteX5937" fmla="*/ 2270889 w 6785952"/>
              <a:gd name="connsiteY5937" fmla="*/ 4415630 h 5217112"/>
              <a:gd name="connsiteX5938" fmla="*/ 2269085 w 6785952"/>
              <a:gd name="connsiteY5938" fmla="*/ 4419725 h 5217112"/>
              <a:gd name="connsiteX5939" fmla="*/ 2254355 w 6785952"/>
              <a:gd name="connsiteY5939" fmla="*/ 4426476 h 5217112"/>
              <a:gd name="connsiteX5940" fmla="*/ 2243533 w 6785952"/>
              <a:gd name="connsiteY5940" fmla="*/ 4413196 h 5217112"/>
              <a:gd name="connsiteX5941" fmla="*/ 2245035 w 6785952"/>
              <a:gd name="connsiteY5941" fmla="*/ 4404342 h 5217112"/>
              <a:gd name="connsiteX5942" fmla="*/ 2248643 w 6785952"/>
              <a:gd name="connsiteY5942" fmla="*/ 4401796 h 5217112"/>
              <a:gd name="connsiteX5943" fmla="*/ 2248343 w 6785952"/>
              <a:gd name="connsiteY5943" fmla="*/ 4397148 h 5217112"/>
              <a:gd name="connsiteX5944" fmla="*/ 2247140 w 6785952"/>
              <a:gd name="connsiteY5944" fmla="*/ 4397259 h 5217112"/>
              <a:gd name="connsiteX5945" fmla="*/ 2238723 w 6785952"/>
              <a:gd name="connsiteY5945" fmla="*/ 4395488 h 5217112"/>
              <a:gd name="connsiteX5946" fmla="*/ 2232711 w 6785952"/>
              <a:gd name="connsiteY5946" fmla="*/ 4391504 h 5217112"/>
              <a:gd name="connsiteX5947" fmla="*/ 2220386 w 6785952"/>
              <a:gd name="connsiteY5947" fmla="*/ 4405670 h 5217112"/>
              <a:gd name="connsiteX5948" fmla="*/ 2186115 w 6785952"/>
              <a:gd name="connsiteY5948" fmla="*/ 4434666 h 5217112"/>
              <a:gd name="connsiteX5949" fmla="*/ 2181305 w 6785952"/>
              <a:gd name="connsiteY5949" fmla="*/ 4429354 h 5217112"/>
              <a:gd name="connsiteX5950" fmla="*/ 2181005 w 6785952"/>
              <a:gd name="connsiteY5950" fmla="*/ 4428911 h 5217112"/>
              <a:gd name="connsiteX5951" fmla="*/ 2180103 w 6785952"/>
              <a:gd name="connsiteY5951" fmla="*/ 4441859 h 5217112"/>
              <a:gd name="connsiteX5952" fmla="*/ 2170784 w 6785952"/>
              <a:gd name="connsiteY5952" fmla="*/ 4462112 h 5217112"/>
              <a:gd name="connsiteX5953" fmla="*/ 2174091 w 6785952"/>
              <a:gd name="connsiteY5953" fmla="*/ 4428468 h 5217112"/>
              <a:gd name="connsiteX5954" fmla="*/ 2178299 w 6785952"/>
              <a:gd name="connsiteY5954" fmla="*/ 4424373 h 5217112"/>
              <a:gd name="connsiteX5955" fmla="*/ 2176496 w 6785952"/>
              <a:gd name="connsiteY5955" fmla="*/ 4421496 h 5217112"/>
              <a:gd name="connsiteX5956" fmla="*/ 2210465 w 6785952"/>
              <a:gd name="connsiteY5956" fmla="*/ 4395488 h 5217112"/>
              <a:gd name="connsiteX5957" fmla="*/ 2225495 w 6785952"/>
              <a:gd name="connsiteY5957" fmla="*/ 4383204 h 5217112"/>
              <a:gd name="connsiteX5958" fmla="*/ 2223993 w 6785952"/>
              <a:gd name="connsiteY5958" fmla="*/ 4381433 h 5217112"/>
              <a:gd name="connsiteX5959" fmla="*/ 2259766 w 6785952"/>
              <a:gd name="connsiteY5959" fmla="*/ 4355093 h 5217112"/>
              <a:gd name="connsiteX5960" fmla="*/ 1230761 w 6785952"/>
              <a:gd name="connsiteY5960" fmla="*/ 4355093 h 5217112"/>
              <a:gd name="connsiteX5961" fmla="*/ 1243086 w 6785952"/>
              <a:gd name="connsiteY5961" fmla="*/ 4357639 h 5217112"/>
              <a:gd name="connsiteX5962" fmla="*/ 1247896 w 6785952"/>
              <a:gd name="connsiteY5962" fmla="*/ 4362729 h 5217112"/>
              <a:gd name="connsiteX5963" fmla="*/ 1226853 w 6785952"/>
              <a:gd name="connsiteY5963" fmla="*/ 4396374 h 5217112"/>
              <a:gd name="connsiteX5964" fmla="*/ 1194988 w 6785952"/>
              <a:gd name="connsiteY5964" fmla="*/ 4381433 h 5217112"/>
              <a:gd name="connsiteX5965" fmla="*/ 1230761 w 6785952"/>
              <a:gd name="connsiteY5965" fmla="*/ 4355093 h 5217112"/>
              <a:gd name="connsiteX5966" fmla="*/ 2055047 w 6785952"/>
              <a:gd name="connsiteY5966" fmla="*/ 4353544 h 5217112"/>
              <a:gd name="connsiteX5967" fmla="*/ 2070378 w 6785952"/>
              <a:gd name="connsiteY5967" fmla="*/ 4362287 h 5217112"/>
              <a:gd name="connsiteX5968" fmla="*/ 2069176 w 6785952"/>
              <a:gd name="connsiteY5968" fmla="*/ 4367931 h 5217112"/>
              <a:gd name="connsiteX5969" fmla="*/ 2068275 w 6785952"/>
              <a:gd name="connsiteY5969" fmla="*/ 4368374 h 5217112"/>
              <a:gd name="connsiteX5970" fmla="*/ 2068575 w 6785952"/>
              <a:gd name="connsiteY5970" fmla="*/ 4370698 h 5217112"/>
              <a:gd name="connsiteX5971" fmla="*/ 2059557 w 6785952"/>
              <a:gd name="connsiteY5971" fmla="*/ 4374793 h 5217112"/>
              <a:gd name="connsiteX5972" fmla="*/ 2059255 w 6785952"/>
              <a:gd name="connsiteY5972" fmla="*/ 4372690 h 5217112"/>
              <a:gd name="connsiteX5973" fmla="*/ 2053544 w 6785952"/>
              <a:gd name="connsiteY5973" fmla="*/ 4374018 h 5217112"/>
              <a:gd name="connsiteX5974" fmla="*/ 2038814 w 6785952"/>
              <a:gd name="connsiteY5974" fmla="*/ 4367599 h 5217112"/>
              <a:gd name="connsiteX5975" fmla="*/ 2037912 w 6785952"/>
              <a:gd name="connsiteY5975" fmla="*/ 4362729 h 5217112"/>
              <a:gd name="connsiteX5976" fmla="*/ 2055047 w 6785952"/>
              <a:gd name="connsiteY5976" fmla="*/ 4353544 h 5217112"/>
              <a:gd name="connsiteX5977" fmla="*/ 1026042 w 6785952"/>
              <a:gd name="connsiteY5977" fmla="*/ 4353544 h 5217112"/>
              <a:gd name="connsiteX5978" fmla="*/ 1041374 w 6785952"/>
              <a:gd name="connsiteY5978" fmla="*/ 4362287 h 5217112"/>
              <a:gd name="connsiteX5979" fmla="*/ 1040171 w 6785952"/>
              <a:gd name="connsiteY5979" fmla="*/ 4367931 h 5217112"/>
              <a:gd name="connsiteX5980" fmla="*/ 1009809 w 6785952"/>
              <a:gd name="connsiteY5980" fmla="*/ 4367599 h 5217112"/>
              <a:gd name="connsiteX5981" fmla="*/ 1008607 w 6785952"/>
              <a:gd name="connsiteY5981" fmla="*/ 4362729 h 5217112"/>
              <a:gd name="connsiteX5982" fmla="*/ 1026042 w 6785952"/>
              <a:gd name="connsiteY5982" fmla="*/ 4353544 h 5217112"/>
              <a:gd name="connsiteX5983" fmla="*/ 5988592 w 6785952"/>
              <a:gd name="connsiteY5983" fmla="*/ 4352769 h 5217112"/>
              <a:gd name="connsiteX5984" fmla="*/ 5997912 w 6785952"/>
              <a:gd name="connsiteY5984" fmla="*/ 4357860 h 5217112"/>
              <a:gd name="connsiteX5985" fmla="*/ 5989795 w 6785952"/>
              <a:gd name="connsiteY5985" fmla="*/ 4365164 h 5217112"/>
              <a:gd name="connsiteX5986" fmla="*/ 5984384 w 6785952"/>
              <a:gd name="connsiteY5986" fmla="*/ 4354872 h 5217112"/>
              <a:gd name="connsiteX5987" fmla="*/ 5988592 w 6785952"/>
              <a:gd name="connsiteY5987" fmla="*/ 4352769 h 5217112"/>
              <a:gd name="connsiteX5988" fmla="*/ 2195133 w 6785952"/>
              <a:gd name="connsiteY5988" fmla="*/ 4352769 h 5217112"/>
              <a:gd name="connsiteX5989" fmla="*/ 2204152 w 6785952"/>
              <a:gd name="connsiteY5989" fmla="*/ 4357860 h 5217112"/>
              <a:gd name="connsiteX5990" fmla="*/ 2196036 w 6785952"/>
              <a:gd name="connsiteY5990" fmla="*/ 4365164 h 5217112"/>
              <a:gd name="connsiteX5991" fmla="*/ 2190625 w 6785952"/>
              <a:gd name="connsiteY5991" fmla="*/ 4354872 h 5217112"/>
              <a:gd name="connsiteX5992" fmla="*/ 2195133 w 6785952"/>
              <a:gd name="connsiteY5992" fmla="*/ 4352769 h 5217112"/>
              <a:gd name="connsiteX5993" fmla="*/ 1348902 w 6785952"/>
              <a:gd name="connsiteY5993" fmla="*/ 4351773 h 5217112"/>
              <a:gd name="connsiteX5994" fmla="*/ 1353412 w 6785952"/>
              <a:gd name="connsiteY5994" fmla="*/ 4351773 h 5217112"/>
              <a:gd name="connsiteX5995" fmla="*/ 1352811 w 6785952"/>
              <a:gd name="connsiteY5995" fmla="*/ 4356642 h 5217112"/>
              <a:gd name="connsiteX5996" fmla="*/ 1346197 w 6785952"/>
              <a:gd name="connsiteY5996" fmla="*/ 4357307 h 5217112"/>
              <a:gd name="connsiteX5997" fmla="*/ 1344995 w 6785952"/>
              <a:gd name="connsiteY5997" fmla="*/ 4353101 h 5217112"/>
              <a:gd name="connsiteX5998" fmla="*/ 1348902 w 6785952"/>
              <a:gd name="connsiteY5998" fmla="*/ 4351773 h 5217112"/>
              <a:gd name="connsiteX5999" fmla="*/ 2348748 w 6785952"/>
              <a:gd name="connsiteY5999" fmla="*/ 4350666 h 5217112"/>
              <a:gd name="connsiteX6000" fmla="*/ 2360772 w 6785952"/>
              <a:gd name="connsiteY6000" fmla="*/ 4357749 h 5217112"/>
              <a:gd name="connsiteX6001" fmla="*/ 2346042 w 6785952"/>
              <a:gd name="connsiteY6001" fmla="*/ 4370587 h 5217112"/>
              <a:gd name="connsiteX6002" fmla="*/ 2345140 w 6785952"/>
              <a:gd name="connsiteY6002" fmla="*/ 4370587 h 5217112"/>
              <a:gd name="connsiteX6003" fmla="*/ 2342134 w 6785952"/>
              <a:gd name="connsiteY6003" fmla="*/ 4372579 h 5217112"/>
              <a:gd name="connsiteX6004" fmla="*/ 2337625 w 6785952"/>
              <a:gd name="connsiteY6004" fmla="*/ 4371472 h 5217112"/>
              <a:gd name="connsiteX6005" fmla="*/ 2339428 w 6785952"/>
              <a:gd name="connsiteY6005" fmla="*/ 4368374 h 5217112"/>
              <a:gd name="connsiteX6006" fmla="*/ 2336723 w 6785952"/>
              <a:gd name="connsiteY6006" fmla="*/ 4361733 h 5217112"/>
              <a:gd name="connsiteX6007" fmla="*/ 2334619 w 6785952"/>
              <a:gd name="connsiteY6007" fmla="*/ 4355204 h 5217112"/>
              <a:gd name="connsiteX6008" fmla="*/ 2348748 w 6785952"/>
              <a:gd name="connsiteY6008" fmla="*/ 4350666 h 5217112"/>
              <a:gd name="connsiteX6009" fmla="*/ 6183090 w 6785952"/>
              <a:gd name="connsiteY6009" fmla="*/ 4348563 h 5217112"/>
              <a:gd name="connsiteX6010" fmla="*/ 6186998 w 6785952"/>
              <a:gd name="connsiteY6010" fmla="*/ 4350224 h 5217112"/>
              <a:gd name="connsiteX6011" fmla="*/ 6188200 w 6785952"/>
              <a:gd name="connsiteY6011" fmla="*/ 4353544 h 5217112"/>
              <a:gd name="connsiteX6012" fmla="*/ 6175575 w 6785952"/>
              <a:gd name="connsiteY6012" fmla="*/ 4354650 h 5217112"/>
              <a:gd name="connsiteX6013" fmla="*/ 6174373 w 6785952"/>
              <a:gd name="connsiteY6013" fmla="*/ 4351330 h 5217112"/>
              <a:gd name="connsiteX6014" fmla="*/ 6177678 w 6785952"/>
              <a:gd name="connsiteY6014" fmla="*/ 4348785 h 5217112"/>
              <a:gd name="connsiteX6015" fmla="*/ 6183090 w 6785952"/>
              <a:gd name="connsiteY6015" fmla="*/ 4348563 h 5217112"/>
              <a:gd name="connsiteX6016" fmla="*/ 5711726 w 6785952"/>
              <a:gd name="connsiteY6016" fmla="*/ 4348231 h 5217112"/>
              <a:gd name="connsiteX6017" fmla="*/ 5727959 w 6785952"/>
              <a:gd name="connsiteY6017" fmla="*/ 4357749 h 5217112"/>
              <a:gd name="connsiteX6018" fmla="*/ 5708119 w 6785952"/>
              <a:gd name="connsiteY6018" fmla="*/ 4362729 h 5217112"/>
              <a:gd name="connsiteX6019" fmla="*/ 5711726 w 6785952"/>
              <a:gd name="connsiteY6019" fmla="*/ 4348231 h 5217112"/>
              <a:gd name="connsiteX6020" fmla="*/ 1917967 w 6785952"/>
              <a:gd name="connsiteY6020" fmla="*/ 4348231 h 5217112"/>
              <a:gd name="connsiteX6021" fmla="*/ 1934200 w 6785952"/>
              <a:gd name="connsiteY6021" fmla="*/ 4357749 h 5217112"/>
              <a:gd name="connsiteX6022" fmla="*/ 1914359 w 6785952"/>
              <a:gd name="connsiteY6022" fmla="*/ 4362729 h 5217112"/>
              <a:gd name="connsiteX6023" fmla="*/ 1917967 w 6785952"/>
              <a:gd name="connsiteY6023" fmla="*/ 4348231 h 5217112"/>
              <a:gd name="connsiteX6024" fmla="*/ 2395344 w 6785952"/>
              <a:gd name="connsiteY6024" fmla="*/ 4347678 h 5217112"/>
              <a:gd name="connsiteX6025" fmla="*/ 2399852 w 6785952"/>
              <a:gd name="connsiteY6025" fmla="*/ 4349006 h 5217112"/>
              <a:gd name="connsiteX6026" fmla="*/ 2398048 w 6785952"/>
              <a:gd name="connsiteY6026" fmla="*/ 4352658 h 5217112"/>
              <a:gd name="connsiteX6027" fmla="*/ 2394441 w 6785952"/>
              <a:gd name="connsiteY6027" fmla="*/ 4352880 h 5217112"/>
              <a:gd name="connsiteX6028" fmla="*/ 2394741 w 6785952"/>
              <a:gd name="connsiteY6028" fmla="*/ 4353544 h 5217112"/>
              <a:gd name="connsiteX6029" fmla="*/ 2388729 w 6785952"/>
              <a:gd name="connsiteY6029" fmla="*/ 4357417 h 5217112"/>
              <a:gd name="connsiteX6030" fmla="*/ 2382417 w 6785952"/>
              <a:gd name="connsiteY6030" fmla="*/ 4354650 h 5217112"/>
              <a:gd name="connsiteX6031" fmla="*/ 2382116 w 6785952"/>
              <a:gd name="connsiteY6031" fmla="*/ 4356642 h 5217112"/>
              <a:gd name="connsiteX6032" fmla="*/ 2375202 w 6785952"/>
              <a:gd name="connsiteY6032" fmla="*/ 4357307 h 5217112"/>
              <a:gd name="connsiteX6033" fmla="*/ 2374000 w 6785952"/>
              <a:gd name="connsiteY6033" fmla="*/ 4353101 h 5217112"/>
              <a:gd name="connsiteX6034" fmla="*/ 2378208 w 6785952"/>
              <a:gd name="connsiteY6034" fmla="*/ 4351773 h 5217112"/>
              <a:gd name="connsiteX6035" fmla="*/ 2380312 w 6785952"/>
              <a:gd name="connsiteY6035" fmla="*/ 4351773 h 5217112"/>
              <a:gd name="connsiteX6036" fmla="*/ 2380613 w 6785952"/>
              <a:gd name="connsiteY6036" fmla="*/ 4351330 h 5217112"/>
              <a:gd name="connsiteX6037" fmla="*/ 2383919 w 6785952"/>
              <a:gd name="connsiteY6037" fmla="*/ 4348785 h 5217112"/>
              <a:gd name="connsiteX6038" fmla="*/ 2389330 w 6785952"/>
              <a:gd name="connsiteY6038" fmla="*/ 4348563 h 5217112"/>
              <a:gd name="connsiteX6039" fmla="*/ 2393239 w 6785952"/>
              <a:gd name="connsiteY6039" fmla="*/ 4350224 h 5217112"/>
              <a:gd name="connsiteX6040" fmla="*/ 1366038 w 6785952"/>
              <a:gd name="connsiteY6040" fmla="*/ 4347678 h 5217112"/>
              <a:gd name="connsiteX6041" fmla="*/ 1370847 w 6785952"/>
              <a:gd name="connsiteY6041" fmla="*/ 4349006 h 5217112"/>
              <a:gd name="connsiteX6042" fmla="*/ 1368744 w 6785952"/>
              <a:gd name="connsiteY6042" fmla="*/ 4352658 h 5217112"/>
              <a:gd name="connsiteX6043" fmla="*/ 1363333 w 6785952"/>
              <a:gd name="connsiteY6043" fmla="*/ 4353101 h 5217112"/>
              <a:gd name="connsiteX6044" fmla="*/ 1363031 w 6785952"/>
              <a:gd name="connsiteY6044" fmla="*/ 4351552 h 5217112"/>
              <a:gd name="connsiteX6045" fmla="*/ 1366038 w 6785952"/>
              <a:gd name="connsiteY6045" fmla="*/ 4347678 h 5217112"/>
              <a:gd name="connsiteX6046" fmla="*/ 1323350 w 6785952"/>
              <a:gd name="connsiteY6046" fmla="*/ 4345797 h 5217112"/>
              <a:gd name="connsiteX6047" fmla="*/ 1328161 w 6785952"/>
              <a:gd name="connsiteY6047" fmla="*/ 4358856 h 5217112"/>
              <a:gd name="connsiteX6048" fmla="*/ 1321246 w 6785952"/>
              <a:gd name="connsiteY6048" fmla="*/ 4369038 h 5217112"/>
              <a:gd name="connsiteX6049" fmla="*/ 1317038 w 6785952"/>
              <a:gd name="connsiteY6049" fmla="*/ 4365386 h 5217112"/>
              <a:gd name="connsiteX6050" fmla="*/ 1314933 w 6785952"/>
              <a:gd name="connsiteY6050" fmla="*/ 4364832 h 5217112"/>
              <a:gd name="connsiteX6051" fmla="*/ 1318240 w 6785952"/>
              <a:gd name="connsiteY6051" fmla="*/ 4369148 h 5217112"/>
              <a:gd name="connsiteX6052" fmla="*/ 1308621 w 6785952"/>
              <a:gd name="connsiteY6052" fmla="*/ 4371472 h 5217112"/>
              <a:gd name="connsiteX6053" fmla="*/ 1310425 w 6785952"/>
              <a:gd name="connsiteY6053" fmla="*/ 4367820 h 5217112"/>
              <a:gd name="connsiteX6054" fmla="*/ 1314032 w 6785952"/>
              <a:gd name="connsiteY6054" fmla="*/ 4364611 h 5217112"/>
              <a:gd name="connsiteX6055" fmla="*/ 1312228 w 6785952"/>
              <a:gd name="connsiteY6055" fmla="*/ 4364168 h 5217112"/>
              <a:gd name="connsiteX6056" fmla="*/ 1306817 w 6785952"/>
              <a:gd name="connsiteY6056" fmla="*/ 4356532 h 5217112"/>
              <a:gd name="connsiteX6057" fmla="*/ 1323350 w 6785952"/>
              <a:gd name="connsiteY6057" fmla="*/ 4345797 h 5217112"/>
              <a:gd name="connsiteX6058" fmla="*/ 5508511 w 6785952"/>
              <a:gd name="connsiteY6058" fmla="*/ 4345575 h 5217112"/>
              <a:gd name="connsiteX6059" fmla="*/ 5514824 w 6785952"/>
              <a:gd name="connsiteY6059" fmla="*/ 4348453 h 5217112"/>
              <a:gd name="connsiteX6060" fmla="*/ 5517228 w 6785952"/>
              <a:gd name="connsiteY6060" fmla="*/ 4354208 h 5217112"/>
              <a:gd name="connsiteX6061" fmla="*/ 5513020 w 6785952"/>
              <a:gd name="connsiteY6061" fmla="*/ 4354872 h 5217112"/>
              <a:gd name="connsiteX6062" fmla="*/ 5511516 w 6785952"/>
              <a:gd name="connsiteY6062" fmla="*/ 4358413 h 5217112"/>
              <a:gd name="connsiteX6063" fmla="*/ 5510014 w 6785952"/>
              <a:gd name="connsiteY6063" fmla="*/ 4358192 h 5217112"/>
              <a:gd name="connsiteX6064" fmla="*/ 5508211 w 6785952"/>
              <a:gd name="connsiteY6064" fmla="*/ 4355536 h 5217112"/>
              <a:gd name="connsiteX6065" fmla="*/ 5507910 w 6785952"/>
              <a:gd name="connsiteY6065" fmla="*/ 4355536 h 5217112"/>
              <a:gd name="connsiteX6066" fmla="*/ 5501897 w 6785952"/>
              <a:gd name="connsiteY6066" fmla="*/ 4350666 h 5217112"/>
              <a:gd name="connsiteX6067" fmla="*/ 5508511 w 6785952"/>
              <a:gd name="connsiteY6067" fmla="*/ 4345575 h 5217112"/>
              <a:gd name="connsiteX6068" fmla="*/ 2744056 w 6785952"/>
              <a:gd name="connsiteY6068" fmla="*/ 4345575 h 5217112"/>
              <a:gd name="connsiteX6069" fmla="*/ 2750369 w 6785952"/>
              <a:gd name="connsiteY6069" fmla="*/ 4348453 h 5217112"/>
              <a:gd name="connsiteX6070" fmla="*/ 2752473 w 6785952"/>
              <a:gd name="connsiteY6070" fmla="*/ 4354208 h 5217112"/>
              <a:gd name="connsiteX6071" fmla="*/ 2748566 w 6785952"/>
              <a:gd name="connsiteY6071" fmla="*/ 4354872 h 5217112"/>
              <a:gd name="connsiteX6072" fmla="*/ 2747062 w 6785952"/>
              <a:gd name="connsiteY6072" fmla="*/ 4358413 h 5217112"/>
              <a:gd name="connsiteX6073" fmla="*/ 2745560 w 6785952"/>
              <a:gd name="connsiteY6073" fmla="*/ 4358192 h 5217112"/>
              <a:gd name="connsiteX6074" fmla="*/ 2743756 w 6785952"/>
              <a:gd name="connsiteY6074" fmla="*/ 4355536 h 5217112"/>
              <a:gd name="connsiteX6075" fmla="*/ 2743155 w 6785952"/>
              <a:gd name="connsiteY6075" fmla="*/ 4355536 h 5217112"/>
              <a:gd name="connsiteX6076" fmla="*/ 2737443 w 6785952"/>
              <a:gd name="connsiteY6076" fmla="*/ 4350666 h 5217112"/>
              <a:gd name="connsiteX6077" fmla="*/ 2744056 w 6785952"/>
              <a:gd name="connsiteY6077" fmla="*/ 4345575 h 5217112"/>
              <a:gd name="connsiteX6078" fmla="*/ 2243232 w 6785952"/>
              <a:gd name="connsiteY6078" fmla="*/ 4345022 h 5217112"/>
              <a:gd name="connsiteX6079" fmla="*/ 2253754 w 6785952"/>
              <a:gd name="connsiteY6079" fmla="*/ 4347789 h 5217112"/>
              <a:gd name="connsiteX6080" fmla="*/ 2243834 w 6785952"/>
              <a:gd name="connsiteY6080" fmla="*/ 4357417 h 5217112"/>
              <a:gd name="connsiteX6081" fmla="*/ 2232711 w 6785952"/>
              <a:gd name="connsiteY6081" fmla="*/ 4349006 h 5217112"/>
              <a:gd name="connsiteX6082" fmla="*/ 2243232 w 6785952"/>
              <a:gd name="connsiteY6082" fmla="*/ 4345022 h 5217112"/>
              <a:gd name="connsiteX6083" fmla="*/ 1213927 w 6785952"/>
              <a:gd name="connsiteY6083" fmla="*/ 4345022 h 5217112"/>
              <a:gd name="connsiteX6084" fmla="*/ 1224449 w 6785952"/>
              <a:gd name="connsiteY6084" fmla="*/ 4347789 h 5217112"/>
              <a:gd name="connsiteX6085" fmla="*/ 1214828 w 6785952"/>
              <a:gd name="connsiteY6085" fmla="*/ 4357417 h 5217112"/>
              <a:gd name="connsiteX6086" fmla="*/ 1203405 w 6785952"/>
              <a:gd name="connsiteY6086" fmla="*/ 4349006 h 5217112"/>
              <a:gd name="connsiteX6087" fmla="*/ 1213927 w 6785952"/>
              <a:gd name="connsiteY6087" fmla="*/ 4345022 h 5217112"/>
              <a:gd name="connsiteX6088" fmla="*/ 5992200 w 6785952"/>
              <a:gd name="connsiteY6088" fmla="*/ 4337718 h 5217112"/>
              <a:gd name="connsiteX6089" fmla="*/ 5994003 w 6785952"/>
              <a:gd name="connsiteY6089" fmla="*/ 4338160 h 5217112"/>
              <a:gd name="connsiteX6090" fmla="*/ 5993402 w 6785952"/>
              <a:gd name="connsiteY6090" fmla="*/ 4339931 h 5217112"/>
              <a:gd name="connsiteX6091" fmla="*/ 5992200 w 6785952"/>
              <a:gd name="connsiteY6091" fmla="*/ 4337718 h 5217112"/>
              <a:gd name="connsiteX6092" fmla="*/ 2198441 w 6785952"/>
              <a:gd name="connsiteY6092" fmla="*/ 4337718 h 5217112"/>
              <a:gd name="connsiteX6093" fmla="*/ 2200244 w 6785952"/>
              <a:gd name="connsiteY6093" fmla="*/ 4338160 h 5217112"/>
              <a:gd name="connsiteX6094" fmla="*/ 2199643 w 6785952"/>
              <a:gd name="connsiteY6094" fmla="*/ 4339931 h 5217112"/>
              <a:gd name="connsiteX6095" fmla="*/ 2198441 w 6785952"/>
              <a:gd name="connsiteY6095" fmla="*/ 4337718 h 5217112"/>
              <a:gd name="connsiteX6096" fmla="*/ 2418791 w 6785952"/>
              <a:gd name="connsiteY6096" fmla="*/ 4337164 h 5217112"/>
              <a:gd name="connsiteX6097" fmla="*/ 2426307 w 6785952"/>
              <a:gd name="connsiteY6097" fmla="*/ 4338160 h 5217112"/>
              <a:gd name="connsiteX6098" fmla="*/ 2412779 w 6785952"/>
              <a:gd name="connsiteY6098" fmla="*/ 4342698 h 5217112"/>
              <a:gd name="connsiteX6099" fmla="*/ 2418791 w 6785952"/>
              <a:gd name="connsiteY6099" fmla="*/ 4337164 h 5217112"/>
              <a:gd name="connsiteX6100" fmla="*/ 1389786 w 6785952"/>
              <a:gd name="connsiteY6100" fmla="*/ 4337164 h 5217112"/>
              <a:gd name="connsiteX6101" fmla="*/ 1397302 w 6785952"/>
              <a:gd name="connsiteY6101" fmla="*/ 4338160 h 5217112"/>
              <a:gd name="connsiteX6102" fmla="*/ 1383774 w 6785952"/>
              <a:gd name="connsiteY6102" fmla="*/ 4342698 h 5217112"/>
              <a:gd name="connsiteX6103" fmla="*/ 1389786 w 6785952"/>
              <a:gd name="connsiteY6103" fmla="*/ 4337164 h 5217112"/>
              <a:gd name="connsiteX6104" fmla="*/ 2269987 w 6785952"/>
              <a:gd name="connsiteY6104" fmla="*/ 4335726 h 5217112"/>
              <a:gd name="connsiteX6105" fmla="*/ 2276600 w 6785952"/>
              <a:gd name="connsiteY6105" fmla="*/ 4340484 h 5217112"/>
              <a:gd name="connsiteX6106" fmla="*/ 2267883 w 6785952"/>
              <a:gd name="connsiteY6106" fmla="*/ 4343583 h 5217112"/>
              <a:gd name="connsiteX6107" fmla="*/ 2269987 w 6785952"/>
              <a:gd name="connsiteY6107" fmla="*/ 4335726 h 5217112"/>
              <a:gd name="connsiteX6108" fmla="*/ 1240981 w 6785952"/>
              <a:gd name="connsiteY6108" fmla="*/ 4335726 h 5217112"/>
              <a:gd name="connsiteX6109" fmla="*/ 1247295 w 6785952"/>
              <a:gd name="connsiteY6109" fmla="*/ 4340484 h 5217112"/>
              <a:gd name="connsiteX6110" fmla="*/ 1238878 w 6785952"/>
              <a:gd name="connsiteY6110" fmla="*/ 4343583 h 5217112"/>
              <a:gd name="connsiteX6111" fmla="*/ 1240981 w 6785952"/>
              <a:gd name="connsiteY6111" fmla="*/ 4335726 h 5217112"/>
              <a:gd name="connsiteX6112" fmla="*/ 6060739 w 6785952"/>
              <a:gd name="connsiteY6112" fmla="*/ 4335394 h 5217112"/>
              <a:gd name="connsiteX6113" fmla="*/ 6066753 w 6785952"/>
              <a:gd name="connsiteY6113" fmla="*/ 4336058 h 5217112"/>
              <a:gd name="connsiteX6114" fmla="*/ 6076071 w 6785952"/>
              <a:gd name="connsiteY6114" fmla="*/ 4344469 h 5217112"/>
              <a:gd name="connsiteX6115" fmla="*/ 6056231 w 6785952"/>
              <a:gd name="connsiteY6115" fmla="*/ 4351552 h 5217112"/>
              <a:gd name="connsiteX6116" fmla="*/ 6053525 w 6785952"/>
              <a:gd name="connsiteY6116" fmla="*/ 4337386 h 5217112"/>
              <a:gd name="connsiteX6117" fmla="*/ 6060739 w 6785952"/>
              <a:gd name="connsiteY6117" fmla="*/ 4335394 h 5217112"/>
              <a:gd name="connsiteX6118" fmla="*/ 2007250 w 6785952"/>
              <a:gd name="connsiteY6118" fmla="*/ 4334398 h 5217112"/>
              <a:gd name="connsiteX6119" fmla="*/ 2012059 w 6785952"/>
              <a:gd name="connsiteY6119" fmla="*/ 4334508 h 5217112"/>
              <a:gd name="connsiteX6120" fmla="*/ 2028893 w 6785952"/>
              <a:gd name="connsiteY6120" fmla="*/ 4345797 h 5217112"/>
              <a:gd name="connsiteX6121" fmla="*/ 2024084 w 6785952"/>
              <a:gd name="connsiteY6121" fmla="*/ 4345686 h 5217112"/>
              <a:gd name="connsiteX6122" fmla="*/ 2007250 w 6785952"/>
              <a:gd name="connsiteY6122" fmla="*/ 4334398 h 5217112"/>
              <a:gd name="connsiteX6123" fmla="*/ 778937 w 6785952"/>
              <a:gd name="connsiteY6123" fmla="*/ 4329196 h 5217112"/>
              <a:gd name="connsiteX6124" fmla="*/ 798778 w 6785952"/>
              <a:gd name="connsiteY6124" fmla="*/ 4362951 h 5217112"/>
              <a:gd name="connsiteX6125" fmla="*/ 791563 w 6785952"/>
              <a:gd name="connsiteY6125" fmla="*/ 4373133 h 5217112"/>
              <a:gd name="connsiteX6126" fmla="*/ 778937 w 6785952"/>
              <a:gd name="connsiteY6126" fmla="*/ 4329196 h 5217112"/>
              <a:gd name="connsiteX6127" fmla="*/ 5777260 w 6785952"/>
              <a:gd name="connsiteY6127" fmla="*/ 4328864 h 5217112"/>
              <a:gd name="connsiteX6128" fmla="*/ 5790789 w 6785952"/>
              <a:gd name="connsiteY6128" fmla="*/ 4342809 h 5217112"/>
              <a:gd name="connsiteX6129" fmla="*/ 5773953 w 6785952"/>
              <a:gd name="connsiteY6129" fmla="*/ 4347235 h 5217112"/>
              <a:gd name="connsiteX6130" fmla="*/ 5777260 w 6785952"/>
              <a:gd name="connsiteY6130" fmla="*/ 4328864 h 5217112"/>
              <a:gd name="connsiteX6131" fmla="*/ 1983801 w 6785952"/>
              <a:gd name="connsiteY6131" fmla="*/ 4328864 h 5217112"/>
              <a:gd name="connsiteX6132" fmla="*/ 1997028 w 6785952"/>
              <a:gd name="connsiteY6132" fmla="*/ 4342809 h 5217112"/>
              <a:gd name="connsiteX6133" fmla="*/ 1980495 w 6785952"/>
              <a:gd name="connsiteY6133" fmla="*/ 4347235 h 5217112"/>
              <a:gd name="connsiteX6134" fmla="*/ 1983801 w 6785952"/>
              <a:gd name="connsiteY6134" fmla="*/ 4328864 h 5217112"/>
              <a:gd name="connsiteX6135" fmla="*/ 5830770 w 6785952"/>
              <a:gd name="connsiteY6135" fmla="*/ 4327979 h 5217112"/>
              <a:gd name="connsiteX6136" fmla="*/ 5831972 w 6785952"/>
              <a:gd name="connsiteY6136" fmla="*/ 4332184 h 5217112"/>
              <a:gd name="connsiteX6137" fmla="*/ 5834978 w 6785952"/>
              <a:gd name="connsiteY6137" fmla="*/ 4332405 h 5217112"/>
              <a:gd name="connsiteX6138" fmla="*/ 5837984 w 6785952"/>
              <a:gd name="connsiteY6138" fmla="*/ 4334840 h 5217112"/>
              <a:gd name="connsiteX6139" fmla="*/ 5833474 w 6785952"/>
              <a:gd name="connsiteY6139" fmla="*/ 4334619 h 5217112"/>
              <a:gd name="connsiteX6140" fmla="*/ 5832273 w 6785952"/>
              <a:gd name="connsiteY6140" fmla="*/ 4333512 h 5217112"/>
              <a:gd name="connsiteX6141" fmla="*/ 5832573 w 6785952"/>
              <a:gd name="connsiteY6141" fmla="*/ 4334730 h 5217112"/>
              <a:gd name="connsiteX6142" fmla="*/ 5858126 w 6785952"/>
              <a:gd name="connsiteY6142" fmla="*/ 4350888 h 5217112"/>
              <a:gd name="connsiteX6143" fmla="*/ 5854518 w 6785952"/>
              <a:gd name="connsiteY6143" fmla="*/ 4363393 h 5217112"/>
              <a:gd name="connsiteX6144" fmla="*/ 5856623 w 6785952"/>
              <a:gd name="connsiteY6144" fmla="*/ 4363947 h 5217112"/>
              <a:gd name="connsiteX6145" fmla="*/ 5857525 w 6785952"/>
              <a:gd name="connsiteY6145" fmla="*/ 4363283 h 5217112"/>
              <a:gd name="connsiteX6146" fmla="*/ 5861433 w 6785952"/>
              <a:gd name="connsiteY6146" fmla="*/ 4366271 h 5217112"/>
              <a:gd name="connsiteX6147" fmla="*/ 5862334 w 6785952"/>
              <a:gd name="connsiteY6147" fmla="*/ 4370698 h 5217112"/>
              <a:gd name="connsiteX6148" fmla="*/ 5853316 w 6785952"/>
              <a:gd name="connsiteY6148" fmla="*/ 4374793 h 5217112"/>
              <a:gd name="connsiteX6149" fmla="*/ 5852715 w 6785952"/>
              <a:gd name="connsiteY6149" fmla="*/ 4370144 h 5217112"/>
              <a:gd name="connsiteX6150" fmla="*/ 5852114 w 6785952"/>
              <a:gd name="connsiteY6150" fmla="*/ 4372469 h 5217112"/>
              <a:gd name="connsiteX6151" fmla="*/ 5845500 w 6785952"/>
              <a:gd name="connsiteY6151" fmla="*/ 4378334 h 5217112"/>
              <a:gd name="connsiteX6152" fmla="*/ 5814537 w 6785952"/>
              <a:gd name="connsiteY6152" fmla="*/ 4337607 h 5217112"/>
              <a:gd name="connsiteX6153" fmla="*/ 5830770 w 6785952"/>
              <a:gd name="connsiteY6153" fmla="*/ 4327979 h 5217112"/>
              <a:gd name="connsiteX6154" fmla="*/ 5598995 w 6785952"/>
              <a:gd name="connsiteY6154" fmla="*/ 4325433 h 5217112"/>
              <a:gd name="connsiteX6155" fmla="*/ 5629358 w 6785952"/>
              <a:gd name="connsiteY6155" fmla="*/ 4348785 h 5217112"/>
              <a:gd name="connsiteX6156" fmla="*/ 5628757 w 6785952"/>
              <a:gd name="connsiteY6156" fmla="*/ 4355868 h 5217112"/>
              <a:gd name="connsiteX6157" fmla="*/ 5629358 w 6785952"/>
              <a:gd name="connsiteY6157" fmla="*/ 4356089 h 5217112"/>
              <a:gd name="connsiteX6158" fmla="*/ 5628757 w 6785952"/>
              <a:gd name="connsiteY6158" fmla="*/ 4358856 h 5217112"/>
              <a:gd name="connsiteX6159" fmla="*/ 5628456 w 6785952"/>
              <a:gd name="connsiteY6159" fmla="*/ 4361180 h 5217112"/>
              <a:gd name="connsiteX6160" fmla="*/ 5612824 w 6785952"/>
              <a:gd name="connsiteY6160" fmla="*/ 4402128 h 5217112"/>
              <a:gd name="connsiteX6161" fmla="*/ 5594185 w 6785952"/>
              <a:gd name="connsiteY6161" fmla="*/ 4389955 h 5217112"/>
              <a:gd name="connsiteX6162" fmla="*/ 5586370 w 6785952"/>
              <a:gd name="connsiteY6162" fmla="*/ 4387962 h 5217112"/>
              <a:gd name="connsiteX6163" fmla="*/ 5585469 w 6785952"/>
              <a:gd name="connsiteY6163" fmla="*/ 4389512 h 5217112"/>
              <a:gd name="connsiteX6164" fmla="*/ 5586070 w 6785952"/>
              <a:gd name="connsiteY6164" fmla="*/ 4389733 h 5217112"/>
              <a:gd name="connsiteX6165" fmla="*/ 5578554 w 6785952"/>
              <a:gd name="connsiteY6165" fmla="*/ 4398476 h 5217112"/>
              <a:gd name="connsiteX6166" fmla="*/ 5572841 w 6785952"/>
              <a:gd name="connsiteY6166" fmla="*/ 4384532 h 5217112"/>
              <a:gd name="connsiteX6167" fmla="*/ 5572841 w 6785952"/>
              <a:gd name="connsiteY6167" fmla="*/ 4383757 h 5217112"/>
              <a:gd name="connsiteX6168" fmla="*/ 5567732 w 6785952"/>
              <a:gd name="connsiteY6168" fmla="*/ 4380105 h 5217112"/>
              <a:gd name="connsiteX6169" fmla="*/ 5563824 w 6785952"/>
              <a:gd name="connsiteY6169" fmla="*/ 4374129 h 5217112"/>
              <a:gd name="connsiteX6170" fmla="*/ 5562020 w 6785952"/>
              <a:gd name="connsiteY6170" fmla="*/ 4365939 h 5217112"/>
              <a:gd name="connsiteX6171" fmla="*/ 5558413 w 6785952"/>
              <a:gd name="connsiteY6171" fmla="*/ 4364832 h 5217112"/>
              <a:gd name="connsiteX6172" fmla="*/ 5566228 w 6785952"/>
              <a:gd name="connsiteY6172" fmla="*/ 4343473 h 5217112"/>
              <a:gd name="connsiteX6173" fmla="*/ 5567431 w 6785952"/>
              <a:gd name="connsiteY6173" fmla="*/ 4343915 h 5217112"/>
              <a:gd name="connsiteX6174" fmla="*/ 5573443 w 6785952"/>
              <a:gd name="connsiteY6174" fmla="*/ 4336611 h 5217112"/>
              <a:gd name="connsiteX6175" fmla="*/ 5598995 w 6785952"/>
              <a:gd name="connsiteY6175" fmla="*/ 4325433 h 5217112"/>
              <a:gd name="connsiteX6176" fmla="*/ 1805236 w 6785952"/>
              <a:gd name="connsiteY6176" fmla="*/ 4325433 h 5217112"/>
              <a:gd name="connsiteX6177" fmla="*/ 1835598 w 6785952"/>
              <a:gd name="connsiteY6177" fmla="*/ 4348785 h 5217112"/>
              <a:gd name="connsiteX6178" fmla="*/ 1835298 w 6785952"/>
              <a:gd name="connsiteY6178" fmla="*/ 4355868 h 5217112"/>
              <a:gd name="connsiteX6179" fmla="*/ 1835598 w 6785952"/>
              <a:gd name="connsiteY6179" fmla="*/ 4356089 h 5217112"/>
              <a:gd name="connsiteX6180" fmla="*/ 1834998 w 6785952"/>
              <a:gd name="connsiteY6180" fmla="*/ 4358856 h 5217112"/>
              <a:gd name="connsiteX6181" fmla="*/ 1834998 w 6785952"/>
              <a:gd name="connsiteY6181" fmla="*/ 4361180 h 5217112"/>
              <a:gd name="connsiteX6182" fmla="*/ 1830788 w 6785952"/>
              <a:gd name="connsiteY6182" fmla="*/ 4371804 h 5217112"/>
              <a:gd name="connsiteX6183" fmla="*/ 1838004 w 6785952"/>
              <a:gd name="connsiteY6183" fmla="*/ 4370144 h 5217112"/>
              <a:gd name="connsiteX6184" fmla="*/ 1850629 w 6785952"/>
              <a:gd name="connsiteY6184" fmla="*/ 4373243 h 5217112"/>
              <a:gd name="connsiteX6185" fmla="*/ 1840409 w 6785952"/>
              <a:gd name="connsiteY6185" fmla="*/ 4411425 h 5217112"/>
              <a:gd name="connsiteX6186" fmla="*/ 1806138 w 6785952"/>
              <a:gd name="connsiteY6186" fmla="*/ 4395599 h 5217112"/>
              <a:gd name="connsiteX6187" fmla="*/ 1807942 w 6785952"/>
              <a:gd name="connsiteY6187" fmla="*/ 4392832 h 5217112"/>
              <a:gd name="connsiteX6188" fmla="*/ 1800727 w 6785952"/>
              <a:gd name="connsiteY6188" fmla="*/ 4389955 h 5217112"/>
              <a:gd name="connsiteX6189" fmla="*/ 1794414 w 6785952"/>
              <a:gd name="connsiteY6189" fmla="*/ 4388405 h 5217112"/>
              <a:gd name="connsiteX6190" fmla="*/ 1791408 w 6785952"/>
              <a:gd name="connsiteY6190" fmla="*/ 4396152 h 5217112"/>
              <a:gd name="connsiteX6191" fmla="*/ 1789303 w 6785952"/>
              <a:gd name="connsiteY6191" fmla="*/ 4395045 h 5217112"/>
              <a:gd name="connsiteX6192" fmla="*/ 1789303 w 6785952"/>
              <a:gd name="connsiteY6192" fmla="*/ 4395709 h 5217112"/>
              <a:gd name="connsiteX6193" fmla="*/ 1784795 w 6785952"/>
              <a:gd name="connsiteY6193" fmla="*/ 4398476 h 5217112"/>
              <a:gd name="connsiteX6194" fmla="*/ 1779082 w 6785952"/>
              <a:gd name="connsiteY6194" fmla="*/ 4384532 h 5217112"/>
              <a:gd name="connsiteX6195" fmla="*/ 1779082 w 6785952"/>
              <a:gd name="connsiteY6195" fmla="*/ 4383757 h 5217112"/>
              <a:gd name="connsiteX6196" fmla="*/ 1773973 w 6785952"/>
              <a:gd name="connsiteY6196" fmla="*/ 4380105 h 5217112"/>
              <a:gd name="connsiteX6197" fmla="*/ 1770064 w 6785952"/>
              <a:gd name="connsiteY6197" fmla="*/ 4374129 h 5217112"/>
              <a:gd name="connsiteX6198" fmla="*/ 1768562 w 6785952"/>
              <a:gd name="connsiteY6198" fmla="*/ 4365939 h 5217112"/>
              <a:gd name="connsiteX6199" fmla="*/ 1764653 w 6785952"/>
              <a:gd name="connsiteY6199" fmla="*/ 4364832 h 5217112"/>
              <a:gd name="connsiteX6200" fmla="*/ 1772770 w 6785952"/>
              <a:gd name="connsiteY6200" fmla="*/ 4343473 h 5217112"/>
              <a:gd name="connsiteX6201" fmla="*/ 1773973 w 6785952"/>
              <a:gd name="connsiteY6201" fmla="*/ 4343915 h 5217112"/>
              <a:gd name="connsiteX6202" fmla="*/ 1779985 w 6785952"/>
              <a:gd name="connsiteY6202" fmla="*/ 4336611 h 5217112"/>
              <a:gd name="connsiteX6203" fmla="*/ 1805236 w 6785952"/>
              <a:gd name="connsiteY6203" fmla="*/ 4325433 h 5217112"/>
              <a:gd name="connsiteX6204" fmla="*/ 6125072 w 6785952"/>
              <a:gd name="connsiteY6204" fmla="*/ 4324769 h 5217112"/>
              <a:gd name="connsiteX6205" fmla="*/ 6130784 w 6785952"/>
              <a:gd name="connsiteY6205" fmla="*/ 4327647 h 5217112"/>
              <a:gd name="connsiteX6206" fmla="*/ 6108538 w 6785952"/>
              <a:gd name="connsiteY6206" fmla="*/ 4341370 h 5217112"/>
              <a:gd name="connsiteX6207" fmla="*/ 6104930 w 6785952"/>
              <a:gd name="connsiteY6207" fmla="*/ 4332737 h 5217112"/>
              <a:gd name="connsiteX6208" fmla="*/ 6125072 w 6785952"/>
              <a:gd name="connsiteY6208" fmla="*/ 4324769 h 5217112"/>
              <a:gd name="connsiteX6209" fmla="*/ 5934482 w 6785952"/>
              <a:gd name="connsiteY6209" fmla="*/ 4324769 h 5217112"/>
              <a:gd name="connsiteX6210" fmla="*/ 5948310 w 6785952"/>
              <a:gd name="connsiteY6210" fmla="*/ 4328753 h 5217112"/>
              <a:gd name="connsiteX6211" fmla="*/ 5949512 w 6785952"/>
              <a:gd name="connsiteY6211" fmla="*/ 4332184 h 5217112"/>
              <a:gd name="connsiteX6212" fmla="*/ 5945304 w 6785952"/>
              <a:gd name="connsiteY6212" fmla="*/ 4334066 h 5217112"/>
              <a:gd name="connsiteX6213" fmla="*/ 5934482 w 6785952"/>
              <a:gd name="connsiteY6213" fmla="*/ 4324769 h 5217112"/>
              <a:gd name="connsiteX6214" fmla="*/ 2331312 w 6785952"/>
              <a:gd name="connsiteY6214" fmla="*/ 4324769 h 5217112"/>
              <a:gd name="connsiteX6215" fmla="*/ 2337023 w 6785952"/>
              <a:gd name="connsiteY6215" fmla="*/ 4327647 h 5217112"/>
              <a:gd name="connsiteX6216" fmla="*/ 2315079 w 6785952"/>
              <a:gd name="connsiteY6216" fmla="*/ 4341370 h 5217112"/>
              <a:gd name="connsiteX6217" fmla="*/ 2311171 w 6785952"/>
              <a:gd name="connsiteY6217" fmla="*/ 4332737 h 5217112"/>
              <a:gd name="connsiteX6218" fmla="*/ 2331312 w 6785952"/>
              <a:gd name="connsiteY6218" fmla="*/ 4324769 h 5217112"/>
              <a:gd name="connsiteX6219" fmla="*/ 2140723 w 6785952"/>
              <a:gd name="connsiteY6219" fmla="*/ 4324769 h 5217112"/>
              <a:gd name="connsiteX6220" fmla="*/ 2154852 w 6785952"/>
              <a:gd name="connsiteY6220" fmla="*/ 4328753 h 5217112"/>
              <a:gd name="connsiteX6221" fmla="*/ 2156054 w 6785952"/>
              <a:gd name="connsiteY6221" fmla="*/ 4332184 h 5217112"/>
              <a:gd name="connsiteX6222" fmla="*/ 2151545 w 6785952"/>
              <a:gd name="connsiteY6222" fmla="*/ 4334066 h 5217112"/>
              <a:gd name="connsiteX6223" fmla="*/ 2140723 w 6785952"/>
              <a:gd name="connsiteY6223" fmla="*/ 4324769 h 5217112"/>
              <a:gd name="connsiteX6224" fmla="*/ 2745860 w 6785952"/>
              <a:gd name="connsiteY6224" fmla="*/ 4323994 h 5217112"/>
              <a:gd name="connsiteX6225" fmla="*/ 2747664 w 6785952"/>
              <a:gd name="connsiteY6225" fmla="*/ 4330192 h 5217112"/>
              <a:gd name="connsiteX6226" fmla="*/ 2745860 w 6785952"/>
              <a:gd name="connsiteY6226" fmla="*/ 4334398 h 5217112"/>
              <a:gd name="connsiteX6227" fmla="*/ 2756983 w 6785952"/>
              <a:gd name="connsiteY6227" fmla="*/ 4336500 h 5217112"/>
              <a:gd name="connsiteX6228" fmla="*/ 2766001 w 6785952"/>
              <a:gd name="connsiteY6228" fmla="*/ 4339710 h 5217112"/>
              <a:gd name="connsiteX6229" fmla="*/ 2766602 w 6785952"/>
              <a:gd name="connsiteY6229" fmla="*/ 4346571 h 5217112"/>
              <a:gd name="connsiteX6230" fmla="*/ 2743455 w 6785952"/>
              <a:gd name="connsiteY6230" fmla="*/ 4333955 h 5217112"/>
              <a:gd name="connsiteX6231" fmla="*/ 2743756 w 6785952"/>
              <a:gd name="connsiteY6231" fmla="*/ 4333955 h 5217112"/>
              <a:gd name="connsiteX6232" fmla="*/ 2741951 w 6785952"/>
              <a:gd name="connsiteY6232" fmla="*/ 4329860 h 5217112"/>
              <a:gd name="connsiteX6233" fmla="*/ 2745860 w 6785952"/>
              <a:gd name="connsiteY6233" fmla="*/ 4323994 h 5217112"/>
              <a:gd name="connsiteX6234" fmla="*/ 1716855 w 6785952"/>
              <a:gd name="connsiteY6234" fmla="*/ 4323994 h 5217112"/>
              <a:gd name="connsiteX6235" fmla="*/ 1718659 w 6785952"/>
              <a:gd name="connsiteY6235" fmla="*/ 4330192 h 5217112"/>
              <a:gd name="connsiteX6236" fmla="*/ 1716855 w 6785952"/>
              <a:gd name="connsiteY6236" fmla="*/ 4334398 h 5217112"/>
              <a:gd name="connsiteX6237" fmla="*/ 1727978 w 6785952"/>
              <a:gd name="connsiteY6237" fmla="*/ 4336500 h 5217112"/>
              <a:gd name="connsiteX6238" fmla="*/ 1736996 w 6785952"/>
              <a:gd name="connsiteY6238" fmla="*/ 4339710 h 5217112"/>
              <a:gd name="connsiteX6239" fmla="*/ 1737297 w 6785952"/>
              <a:gd name="connsiteY6239" fmla="*/ 4346571 h 5217112"/>
              <a:gd name="connsiteX6240" fmla="*/ 1714450 w 6785952"/>
              <a:gd name="connsiteY6240" fmla="*/ 4333955 h 5217112"/>
              <a:gd name="connsiteX6241" fmla="*/ 1712948 w 6785952"/>
              <a:gd name="connsiteY6241" fmla="*/ 4329860 h 5217112"/>
              <a:gd name="connsiteX6242" fmla="*/ 1716855 w 6785952"/>
              <a:gd name="connsiteY6242" fmla="*/ 4323994 h 5217112"/>
              <a:gd name="connsiteX6243" fmla="*/ 2159962 w 6785952"/>
              <a:gd name="connsiteY6243" fmla="*/ 4323773 h 5217112"/>
              <a:gd name="connsiteX6244" fmla="*/ 2161464 w 6785952"/>
              <a:gd name="connsiteY6244" fmla="*/ 4324548 h 5217112"/>
              <a:gd name="connsiteX6245" fmla="*/ 2158459 w 6785952"/>
              <a:gd name="connsiteY6245" fmla="*/ 4324216 h 5217112"/>
              <a:gd name="connsiteX6246" fmla="*/ 2159962 w 6785952"/>
              <a:gd name="connsiteY6246" fmla="*/ 4323773 h 5217112"/>
              <a:gd name="connsiteX6247" fmla="*/ 1130657 w 6785952"/>
              <a:gd name="connsiteY6247" fmla="*/ 4323773 h 5217112"/>
              <a:gd name="connsiteX6248" fmla="*/ 1132159 w 6785952"/>
              <a:gd name="connsiteY6248" fmla="*/ 4324548 h 5217112"/>
              <a:gd name="connsiteX6249" fmla="*/ 1129153 w 6785952"/>
              <a:gd name="connsiteY6249" fmla="*/ 4324216 h 5217112"/>
              <a:gd name="connsiteX6250" fmla="*/ 1130657 w 6785952"/>
              <a:gd name="connsiteY6250" fmla="*/ 4323773 h 5217112"/>
              <a:gd name="connsiteX6251" fmla="*/ 1704831 w 6785952"/>
              <a:gd name="connsiteY6251" fmla="*/ 4322998 h 5217112"/>
              <a:gd name="connsiteX6252" fmla="*/ 1713248 w 6785952"/>
              <a:gd name="connsiteY6252" fmla="*/ 4344137 h 5217112"/>
              <a:gd name="connsiteX6253" fmla="*/ 1713248 w 6785952"/>
              <a:gd name="connsiteY6253" fmla="*/ 4346903 h 5217112"/>
              <a:gd name="connsiteX6254" fmla="*/ 1715051 w 6785952"/>
              <a:gd name="connsiteY6254" fmla="*/ 4345575 h 5217112"/>
              <a:gd name="connsiteX6255" fmla="*/ 1721365 w 6785952"/>
              <a:gd name="connsiteY6255" fmla="*/ 4348453 h 5217112"/>
              <a:gd name="connsiteX6256" fmla="*/ 1723469 w 6785952"/>
              <a:gd name="connsiteY6256" fmla="*/ 4354208 h 5217112"/>
              <a:gd name="connsiteX6257" fmla="*/ 1719260 w 6785952"/>
              <a:gd name="connsiteY6257" fmla="*/ 4354872 h 5217112"/>
              <a:gd name="connsiteX6258" fmla="*/ 1717757 w 6785952"/>
              <a:gd name="connsiteY6258" fmla="*/ 4358413 h 5217112"/>
              <a:gd name="connsiteX6259" fmla="*/ 1716254 w 6785952"/>
              <a:gd name="connsiteY6259" fmla="*/ 4358192 h 5217112"/>
              <a:gd name="connsiteX6260" fmla="*/ 1714751 w 6785952"/>
              <a:gd name="connsiteY6260" fmla="*/ 4355536 h 5217112"/>
              <a:gd name="connsiteX6261" fmla="*/ 1714150 w 6785952"/>
              <a:gd name="connsiteY6261" fmla="*/ 4355536 h 5217112"/>
              <a:gd name="connsiteX6262" fmla="*/ 1712948 w 6785952"/>
              <a:gd name="connsiteY6262" fmla="*/ 4354650 h 5217112"/>
              <a:gd name="connsiteX6263" fmla="*/ 1712948 w 6785952"/>
              <a:gd name="connsiteY6263" fmla="*/ 4365939 h 5217112"/>
              <a:gd name="connsiteX6264" fmla="*/ 1680481 w 6785952"/>
              <a:gd name="connsiteY6264" fmla="*/ 4333070 h 5217112"/>
              <a:gd name="connsiteX6265" fmla="*/ 1704831 w 6785952"/>
              <a:gd name="connsiteY6265" fmla="*/ 4322998 h 5217112"/>
              <a:gd name="connsiteX6266" fmla="*/ 1610138 w 6785952"/>
              <a:gd name="connsiteY6266" fmla="*/ 4322445 h 5217112"/>
              <a:gd name="connsiteX6267" fmla="*/ 1614646 w 6785952"/>
              <a:gd name="connsiteY6267" fmla="*/ 4322777 h 5217112"/>
              <a:gd name="connsiteX6268" fmla="*/ 1604425 w 6785952"/>
              <a:gd name="connsiteY6268" fmla="*/ 4329860 h 5217112"/>
              <a:gd name="connsiteX6269" fmla="*/ 1601419 w 6785952"/>
              <a:gd name="connsiteY6269" fmla="*/ 4329085 h 5217112"/>
              <a:gd name="connsiteX6270" fmla="*/ 1610138 w 6785952"/>
              <a:gd name="connsiteY6270" fmla="*/ 4322445 h 5217112"/>
              <a:gd name="connsiteX6271" fmla="*/ 2220686 w 6785952"/>
              <a:gd name="connsiteY6271" fmla="*/ 4321670 h 5217112"/>
              <a:gd name="connsiteX6272" fmla="*/ 2211367 w 6785952"/>
              <a:gd name="connsiteY6272" fmla="*/ 4340595 h 5217112"/>
              <a:gd name="connsiteX6273" fmla="*/ 2204453 w 6785952"/>
              <a:gd name="connsiteY6273" fmla="*/ 4337164 h 5217112"/>
              <a:gd name="connsiteX6274" fmla="*/ 2203551 w 6785952"/>
              <a:gd name="connsiteY6274" fmla="*/ 4324216 h 5217112"/>
              <a:gd name="connsiteX6275" fmla="*/ 2220686 w 6785952"/>
              <a:gd name="connsiteY6275" fmla="*/ 4321670 h 5217112"/>
              <a:gd name="connsiteX6276" fmla="*/ 1191682 w 6785952"/>
              <a:gd name="connsiteY6276" fmla="*/ 4321670 h 5217112"/>
              <a:gd name="connsiteX6277" fmla="*/ 1182061 w 6785952"/>
              <a:gd name="connsiteY6277" fmla="*/ 4340595 h 5217112"/>
              <a:gd name="connsiteX6278" fmla="*/ 1175448 w 6785952"/>
              <a:gd name="connsiteY6278" fmla="*/ 4337164 h 5217112"/>
              <a:gd name="connsiteX6279" fmla="*/ 1174245 w 6785952"/>
              <a:gd name="connsiteY6279" fmla="*/ 4324216 h 5217112"/>
              <a:gd name="connsiteX6280" fmla="*/ 1191682 w 6785952"/>
              <a:gd name="connsiteY6280" fmla="*/ 4321670 h 5217112"/>
              <a:gd name="connsiteX6281" fmla="*/ 1826279 w 6785952"/>
              <a:gd name="connsiteY6281" fmla="*/ 4321338 h 5217112"/>
              <a:gd name="connsiteX6282" fmla="*/ 1828083 w 6785952"/>
              <a:gd name="connsiteY6282" fmla="*/ 4322556 h 5217112"/>
              <a:gd name="connsiteX6283" fmla="*/ 1829286 w 6785952"/>
              <a:gd name="connsiteY6283" fmla="*/ 4326319 h 5217112"/>
              <a:gd name="connsiteX6284" fmla="*/ 1826580 w 6785952"/>
              <a:gd name="connsiteY6284" fmla="*/ 4327315 h 5217112"/>
              <a:gd name="connsiteX6285" fmla="*/ 1826881 w 6785952"/>
              <a:gd name="connsiteY6285" fmla="*/ 4328643 h 5217112"/>
              <a:gd name="connsiteX6286" fmla="*/ 1823573 w 6785952"/>
              <a:gd name="connsiteY6286" fmla="*/ 4328421 h 5217112"/>
              <a:gd name="connsiteX6287" fmla="*/ 1823273 w 6785952"/>
              <a:gd name="connsiteY6287" fmla="*/ 4327093 h 5217112"/>
              <a:gd name="connsiteX6288" fmla="*/ 1822672 w 6785952"/>
              <a:gd name="connsiteY6288" fmla="*/ 4326872 h 5217112"/>
              <a:gd name="connsiteX6289" fmla="*/ 1823875 w 6785952"/>
              <a:gd name="connsiteY6289" fmla="*/ 4323884 h 5217112"/>
              <a:gd name="connsiteX6290" fmla="*/ 1826279 w 6785952"/>
              <a:gd name="connsiteY6290" fmla="*/ 4321338 h 5217112"/>
              <a:gd name="connsiteX6291" fmla="*/ 797275 w 6785952"/>
              <a:gd name="connsiteY6291" fmla="*/ 4321338 h 5217112"/>
              <a:gd name="connsiteX6292" fmla="*/ 798778 w 6785952"/>
              <a:gd name="connsiteY6292" fmla="*/ 4322556 h 5217112"/>
              <a:gd name="connsiteX6293" fmla="*/ 800281 w 6785952"/>
              <a:gd name="connsiteY6293" fmla="*/ 4326319 h 5217112"/>
              <a:gd name="connsiteX6294" fmla="*/ 797576 w 6785952"/>
              <a:gd name="connsiteY6294" fmla="*/ 4327315 h 5217112"/>
              <a:gd name="connsiteX6295" fmla="*/ 797876 w 6785952"/>
              <a:gd name="connsiteY6295" fmla="*/ 4328643 h 5217112"/>
              <a:gd name="connsiteX6296" fmla="*/ 794569 w 6785952"/>
              <a:gd name="connsiteY6296" fmla="*/ 4328421 h 5217112"/>
              <a:gd name="connsiteX6297" fmla="*/ 793967 w 6785952"/>
              <a:gd name="connsiteY6297" fmla="*/ 4327093 h 5217112"/>
              <a:gd name="connsiteX6298" fmla="*/ 793667 w 6785952"/>
              <a:gd name="connsiteY6298" fmla="*/ 4326872 h 5217112"/>
              <a:gd name="connsiteX6299" fmla="*/ 794569 w 6785952"/>
              <a:gd name="connsiteY6299" fmla="*/ 4323884 h 5217112"/>
              <a:gd name="connsiteX6300" fmla="*/ 797275 w 6785952"/>
              <a:gd name="connsiteY6300" fmla="*/ 4321338 h 5217112"/>
              <a:gd name="connsiteX6301" fmla="*/ 5547891 w 6785952"/>
              <a:gd name="connsiteY6301" fmla="*/ 4319678 h 5217112"/>
              <a:gd name="connsiteX6302" fmla="*/ 5556007 w 6785952"/>
              <a:gd name="connsiteY6302" fmla="*/ 4319678 h 5217112"/>
              <a:gd name="connsiteX6303" fmla="*/ 5555706 w 6785952"/>
              <a:gd name="connsiteY6303" fmla="*/ 4333180 h 5217112"/>
              <a:gd name="connsiteX6304" fmla="*/ 5540977 w 6785952"/>
              <a:gd name="connsiteY6304" fmla="*/ 4340595 h 5217112"/>
              <a:gd name="connsiteX6305" fmla="*/ 5536468 w 6785952"/>
              <a:gd name="connsiteY6305" fmla="*/ 4326540 h 5217112"/>
              <a:gd name="connsiteX6306" fmla="*/ 5538271 w 6785952"/>
              <a:gd name="connsiteY6306" fmla="*/ 4325212 h 5217112"/>
              <a:gd name="connsiteX6307" fmla="*/ 5547891 w 6785952"/>
              <a:gd name="connsiteY6307" fmla="*/ 4319678 h 5217112"/>
              <a:gd name="connsiteX6308" fmla="*/ 2438932 w 6785952"/>
              <a:gd name="connsiteY6308" fmla="*/ 4319457 h 5217112"/>
              <a:gd name="connsiteX6309" fmla="*/ 2455466 w 6785952"/>
              <a:gd name="connsiteY6309" fmla="*/ 4328311 h 5217112"/>
              <a:gd name="connsiteX6310" fmla="*/ 2435024 w 6785952"/>
              <a:gd name="connsiteY6310" fmla="*/ 4344690 h 5217112"/>
              <a:gd name="connsiteX6311" fmla="*/ 2431718 w 6785952"/>
              <a:gd name="connsiteY6311" fmla="*/ 4319789 h 5217112"/>
              <a:gd name="connsiteX6312" fmla="*/ 2438932 w 6785952"/>
              <a:gd name="connsiteY6312" fmla="*/ 4319457 h 5217112"/>
              <a:gd name="connsiteX6313" fmla="*/ 1409927 w 6785952"/>
              <a:gd name="connsiteY6313" fmla="*/ 4319457 h 5217112"/>
              <a:gd name="connsiteX6314" fmla="*/ 1426161 w 6785952"/>
              <a:gd name="connsiteY6314" fmla="*/ 4328311 h 5217112"/>
              <a:gd name="connsiteX6315" fmla="*/ 1405719 w 6785952"/>
              <a:gd name="connsiteY6315" fmla="*/ 4344690 h 5217112"/>
              <a:gd name="connsiteX6316" fmla="*/ 1402413 w 6785952"/>
              <a:gd name="connsiteY6316" fmla="*/ 4319789 h 5217112"/>
              <a:gd name="connsiteX6317" fmla="*/ 1409927 w 6785952"/>
              <a:gd name="connsiteY6317" fmla="*/ 4319457 h 5217112"/>
              <a:gd name="connsiteX6318" fmla="*/ 1969672 w 6785952"/>
              <a:gd name="connsiteY6318" fmla="*/ 4318682 h 5217112"/>
              <a:gd name="connsiteX6319" fmla="*/ 1972077 w 6785952"/>
              <a:gd name="connsiteY6319" fmla="*/ 4320121 h 5217112"/>
              <a:gd name="connsiteX6320" fmla="*/ 1975083 w 6785952"/>
              <a:gd name="connsiteY6320" fmla="*/ 4326540 h 5217112"/>
              <a:gd name="connsiteX6321" fmla="*/ 1965464 w 6785952"/>
              <a:gd name="connsiteY6321" fmla="*/ 4328421 h 5217112"/>
              <a:gd name="connsiteX6322" fmla="*/ 1962458 w 6785952"/>
              <a:gd name="connsiteY6322" fmla="*/ 4322002 h 5217112"/>
              <a:gd name="connsiteX6323" fmla="*/ 1967267 w 6785952"/>
              <a:gd name="connsiteY6323" fmla="*/ 4318793 h 5217112"/>
              <a:gd name="connsiteX6324" fmla="*/ 1969672 w 6785952"/>
              <a:gd name="connsiteY6324" fmla="*/ 4318682 h 5217112"/>
              <a:gd name="connsiteX6325" fmla="*/ 940367 w 6785952"/>
              <a:gd name="connsiteY6325" fmla="*/ 4318682 h 5217112"/>
              <a:gd name="connsiteX6326" fmla="*/ 943073 w 6785952"/>
              <a:gd name="connsiteY6326" fmla="*/ 4320121 h 5217112"/>
              <a:gd name="connsiteX6327" fmla="*/ 945778 w 6785952"/>
              <a:gd name="connsiteY6327" fmla="*/ 4326540 h 5217112"/>
              <a:gd name="connsiteX6328" fmla="*/ 936460 w 6785952"/>
              <a:gd name="connsiteY6328" fmla="*/ 4328421 h 5217112"/>
              <a:gd name="connsiteX6329" fmla="*/ 933153 w 6785952"/>
              <a:gd name="connsiteY6329" fmla="*/ 4322002 h 5217112"/>
              <a:gd name="connsiteX6330" fmla="*/ 938262 w 6785952"/>
              <a:gd name="connsiteY6330" fmla="*/ 4318793 h 5217112"/>
              <a:gd name="connsiteX6331" fmla="*/ 940367 w 6785952"/>
              <a:gd name="connsiteY6331" fmla="*/ 4318682 h 5217112"/>
              <a:gd name="connsiteX6332" fmla="*/ 894072 w 6785952"/>
              <a:gd name="connsiteY6332" fmla="*/ 4316137 h 5217112"/>
              <a:gd name="connsiteX6333" fmla="*/ 900386 w 6785952"/>
              <a:gd name="connsiteY6333" fmla="*/ 4318793 h 5217112"/>
              <a:gd name="connsiteX6334" fmla="*/ 904293 w 6785952"/>
              <a:gd name="connsiteY6334" fmla="*/ 4331409 h 5217112"/>
              <a:gd name="connsiteX6335" fmla="*/ 887459 w 6785952"/>
              <a:gd name="connsiteY6335" fmla="*/ 4339488 h 5217112"/>
              <a:gd name="connsiteX6336" fmla="*/ 881146 w 6785952"/>
              <a:gd name="connsiteY6336" fmla="*/ 4335615 h 5217112"/>
              <a:gd name="connsiteX6337" fmla="*/ 875735 w 6785952"/>
              <a:gd name="connsiteY6337" fmla="*/ 4324548 h 5217112"/>
              <a:gd name="connsiteX6338" fmla="*/ 894072 w 6785952"/>
              <a:gd name="connsiteY6338" fmla="*/ 4316137 h 5217112"/>
              <a:gd name="connsiteX6339" fmla="*/ 1909851 w 6785952"/>
              <a:gd name="connsiteY6339" fmla="*/ 4313923 h 5217112"/>
              <a:gd name="connsiteX6340" fmla="*/ 1913157 w 6785952"/>
              <a:gd name="connsiteY6340" fmla="*/ 4317022 h 5217112"/>
              <a:gd name="connsiteX6341" fmla="*/ 1913157 w 6785952"/>
              <a:gd name="connsiteY6341" fmla="*/ 4317576 h 5217112"/>
              <a:gd name="connsiteX6342" fmla="*/ 1923077 w 6785952"/>
              <a:gd name="connsiteY6342" fmla="*/ 4316137 h 5217112"/>
              <a:gd name="connsiteX6343" fmla="*/ 1929391 w 6785952"/>
              <a:gd name="connsiteY6343" fmla="*/ 4318793 h 5217112"/>
              <a:gd name="connsiteX6344" fmla="*/ 1933298 w 6785952"/>
              <a:gd name="connsiteY6344" fmla="*/ 4331409 h 5217112"/>
              <a:gd name="connsiteX6345" fmla="*/ 1916764 w 6785952"/>
              <a:gd name="connsiteY6345" fmla="*/ 4339488 h 5217112"/>
              <a:gd name="connsiteX6346" fmla="*/ 1910452 w 6785952"/>
              <a:gd name="connsiteY6346" fmla="*/ 4335615 h 5217112"/>
              <a:gd name="connsiteX6347" fmla="*/ 1905041 w 6785952"/>
              <a:gd name="connsiteY6347" fmla="*/ 4324548 h 5217112"/>
              <a:gd name="connsiteX6348" fmla="*/ 1911654 w 6785952"/>
              <a:gd name="connsiteY6348" fmla="*/ 4317797 h 5217112"/>
              <a:gd name="connsiteX6349" fmla="*/ 1912255 w 6785952"/>
              <a:gd name="connsiteY6349" fmla="*/ 4317686 h 5217112"/>
              <a:gd name="connsiteX6350" fmla="*/ 1763751 w 6785952"/>
              <a:gd name="connsiteY6350" fmla="*/ 4313149 h 5217112"/>
              <a:gd name="connsiteX6351" fmla="*/ 1778782 w 6785952"/>
              <a:gd name="connsiteY6351" fmla="*/ 4319236 h 5217112"/>
              <a:gd name="connsiteX6352" fmla="*/ 1775776 w 6785952"/>
              <a:gd name="connsiteY6352" fmla="*/ 4324769 h 5217112"/>
              <a:gd name="connsiteX6353" fmla="*/ 1763451 w 6785952"/>
              <a:gd name="connsiteY6353" fmla="*/ 4322002 h 5217112"/>
              <a:gd name="connsiteX6354" fmla="*/ 1765254 w 6785952"/>
              <a:gd name="connsiteY6354" fmla="*/ 4326208 h 5217112"/>
              <a:gd name="connsiteX6355" fmla="*/ 1761947 w 6785952"/>
              <a:gd name="connsiteY6355" fmla="*/ 4333180 h 5217112"/>
              <a:gd name="connsiteX6356" fmla="*/ 1747218 w 6785952"/>
              <a:gd name="connsiteY6356" fmla="*/ 4340595 h 5217112"/>
              <a:gd name="connsiteX6357" fmla="*/ 1743008 w 6785952"/>
              <a:gd name="connsiteY6357" fmla="*/ 4326540 h 5217112"/>
              <a:gd name="connsiteX6358" fmla="*/ 1744512 w 6785952"/>
              <a:gd name="connsiteY6358" fmla="*/ 4325212 h 5217112"/>
              <a:gd name="connsiteX6359" fmla="*/ 1753230 w 6785952"/>
              <a:gd name="connsiteY6359" fmla="*/ 4320121 h 5217112"/>
              <a:gd name="connsiteX6360" fmla="*/ 1751125 w 6785952"/>
              <a:gd name="connsiteY6360" fmla="*/ 4319789 h 5217112"/>
              <a:gd name="connsiteX6361" fmla="*/ 1763751 w 6785952"/>
              <a:gd name="connsiteY6361" fmla="*/ 4313149 h 5217112"/>
              <a:gd name="connsiteX6362" fmla="*/ 734747 w 6785952"/>
              <a:gd name="connsiteY6362" fmla="*/ 4313149 h 5217112"/>
              <a:gd name="connsiteX6363" fmla="*/ 749476 w 6785952"/>
              <a:gd name="connsiteY6363" fmla="*/ 4319236 h 5217112"/>
              <a:gd name="connsiteX6364" fmla="*/ 746771 w 6785952"/>
              <a:gd name="connsiteY6364" fmla="*/ 4324769 h 5217112"/>
              <a:gd name="connsiteX6365" fmla="*/ 721820 w 6785952"/>
              <a:gd name="connsiteY6365" fmla="*/ 4319789 h 5217112"/>
              <a:gd name="connsiteX6366" fmla="*/ 734747 w 6785952"/>
              <a:gd name="connsiteY6366" fmla="*/ 4313149 h 5217112"/>
              <a:gd name="connsiteX6367" fmla="*/ 6017452 w 6785952"/>
              <a:gd name="connsiteY6367" fmla="*/ 4312706 h 5217112"/>
              <a:gd name="connsiteX6368" fmla="*/ 6027371 w 6785952"/>
              <a:gd name="connsiteY6368" fmla="*/ 4317465 h 5217112"/>
              <a:gd name="connsiteX6369" fmla="*/ 6032181 w 6785952"/>
              <a:gd name="connsiteY6369" fmla="*/ 4316358 h 5217112"/>
              <a:gd name="connsiteX6370" fmla="*/ 6039397 w 6785952"/>
              <a:gd name="connsiteY6370" fmla="*/ 4322556 h 5217112"/>
              <a:gd name="connsiteX6371" fmla="*/ 6032482 w 6785952"/>
              <a:gd name="connsiteY6371" fmla="*/ 4326651 h 5217112"/>
              <a:gd name="connsiteX6372" fmla="*/ 6023765 w 6785952"/>
              <a:gd name="connsiteY6372" fmla="*/ 4317797 h 5217112"/>
              <a:gd name="connsiteX6373" fmla="*/ 6017452 w 6785952"/>
              <a:gd name="connsiteY6373" fmla="*/ 4312706 h 5217112"/>
              <a:gd name="connsiteX6374" fmla="*/ 2667400 w 6785952"/>
              <a:gd name="connsiteY6374" fmla="*/ 4311157 h 5217112"/>
              <a:gd name="connsiteX6375" fmla="*/ 2667400 w 6785952"/>
              <a:gd name="connsiteY6375" fmla="*/ 4313481 h 5217112"/>
              <a:gd name="connsiteX6376" fmla="*/ 2665295 w 6785952"/>
              <a:gd name="connsiteY6376" fmla="*/ 4315473 h 5217112"/>
              <a:gd name="connsiteX6377" fmla="*/ 2660185 w 6785952"/>
              <a:gd name="connsiteY6377" fmla="*/ 4319457 h 5217112"/>
              <a:gd name="connsiteX6378" fmla="*/ 2667400 w 6785952"/>
              <a:gd name="connsiteY6378" fmla="*/ 4311157 h 5217112"/>
              <a:gd name="connsiteX6379" fmla="*/ 1638095 w 6785952"/>
              <a:gd name="connsiteY6379" fmla="*/ 4311157 h 5217112"/>
              <a:gd name="connsiteX6380" fmla="*/ 1638395 w 6785952"/>
              <a:gd name="connsiteY6380" fmla="*/ 4313481 h 5217112"/>
              <a:gd name="connsiteX6381" fmla="*/ 1636291 w 6785952"/>
              <a:gd name="connsiteY6381" fmla="*/ 4315473 h 5217112"/>
              <a:gd name="connsiteX6382" fmla="*/ 1630880 w 6785952"/>
              <a:gd name="connsiteY6382" fmla="*/ 4319457 h 5217112"/>
              <a:gd name="connsiteX6383" fmla="*/ 1638095 w 6785952"/>
              <a:gd name="connsiteY6383" fmla="*/ 4311157 h 5217112"/>
              <a:gd name="connsiteX6384" fmla="*/ 2062563 w 6785952"/>
              <a:gd name="connsiteY6384" fmla="*/ 4308722 h 5217112"/>
              <a:gd name="connsiteX6385" fmla="*/ 2071882 w 6785952"/>
              <a:gd name="connsiteY6385" fmla="*/ 4313813 h 5217112"/>
              <a:gd name="connsiteX6386" fmla="*/ 2073084 w 6785952"/>
              <a:gd name="connsiteY6386" fmla="*/ 4315362 h 5217112"/>
              <a:gd name="connsiteX6387" fmla="*/ 2075489 w 6785952"/>
              <a:gd name="connsiteY6387" fmla="*/ 4314809 h 5217112"/>
              <a:gd name="connsiteX6388" fmla="*/ 2120280 w 6785952"/>
              <a:gd name="connsiteY6388" fmla="*/ 4342366 h 5217112"/>
              <a:gd name="connsiteX6389" fmla="*/ 2118778 w 6785952"/>
              <a:gd name="connsiteY6389" fmla="*/ 4346682 h 5217112"/>
              <a:gd name="connsiteX6390" fmla="*/ 2047532 w 6785952"/>
              <a:gd name="connsiteY6390" fmla="*/ 4328643 h 5217112"/>
              <a:gd name="connsiteX6391" fmla="*/ 2057753 w 6785952"/>
              <a:gd name="connsiteY6391" fmla="*/ 4320342 h 5217112"/>
              <a:gd name="connsiteX6392" fmla="*/ 2055348 w 6785952"/>
              <a:gd name="connsiteY6392" fmla="*/ 4313038 h 5217112"/>
              <a:gd name="connsiteX6393" fmla="*/ 2062563 w 6785952"/>
              <a:gd name="connsiteY6393" fmla="*/ 4308722 h 5217112"/>
              <a:gd name="connsiteX6394" fmla="*/ 1033558 w 6785952"/>
              <a:gd name="connsiteY6394" fmla="*/ 4308722 h 5217112"/>
              <a:gd name="connsiteX6395" fmla="*/ 1042877 w 6785952"/>
              <a:gd name="connsiteY6395" fmla="*/ 4313813 h 5217112"/>
              <a:gd name="connsiteX6396" fmla="*/ 1044080 w 6785952"/>
              <a:gd name="connsiteY6396" fmla="*/ 4315362 h 5217112"/>
              <a:gd name="connsiteX6397" fmla="*/ 1046183 w 6785952"/>
              <a:gd name="connsiteY6397" fmla="*/ 4314809 h 5217112"/>
              <a:gd name="connsiteX6398" fmla="*/ 1091276 w 6785952"/>
              <a:gd name="connsiteY6398" fmla="*/ 4342366 h 5217112"/>
              <a:gd name="connsiteX6399" fmla="*/ 1089773 w 6785952"/>
              <a:gd name="connsiteY6399" fmla="*/ 4346682 h 5217112"/>
              <a:gd name="connsiteX6400" fmla="*/ 1030252 w 6785952"/>
              <a:gd name="connsiteY6400" fmla="*/ 4345907 h 5217112"/>
              <a:gd name="connsiteX6401" fmla="*/ 1027546 w 6785952"/>
              <a:gd name="connsiteY6401" fmla="*/ 4342034 h 5217112"/>
              <a:gd name="connsiteX6402" fmla="*/ 1021533 w 6785952"/>
              <a:gd name="connsiteY6402" fmla="*/ 4348231 h 5217112"/>
              <a:gd name="connsiteX6403" fmla="*/ 978245 w 6785952"/>
              <a:gd name="connsiteY6403" fmla="*/ 4345133 h 5217112"/>
              <a:gd name="connsiteX6404" fmla="*/ 989067 w 6785952"/>
              <a:gd name="connsiteY6404" fmla="*/ 4342587 h 5217112"/>
              <a:gd name="connsiteX6405" fmla="*/ 985761 w 6785952"/>
              <a:gd name="connsiteY6405" fmla="*/ 4340816 h 5217112"/>
              <a:gd name="connsiteX6406" fmla="*/ 978245 w 6785952"/>
              <a:gd name="connsiteY6406" fmla="*/ 4334398 h 5217112"/>
              <a:gd name="connsiteX6407" fmla="*/ 983055 w 6785952"/>
              <a:gd name="connsiteY6407" fmla="*/ 4334508 h 5217112"/>
              <a:gd name="connsiteX6408" fmla="*/ 992374 w 6785952"/>
              <a:gd name="connsiteY6408" fmla="*/ 4339378 h 5217112"/>
              <a:gd name="connsiteX6409" fmla="*/ 994478 w 6785952"/>
              <a:gd name="connsiteY6409" fmla="*/ 4341370 h 5217112"/>
              <a:gd name="connsiteX6410" fmla="*/ 998386 w 6785952"/>
              <a:gd name="connsiteY6410" fmla="*/ 4340374 h 5217112"/>
              <a:gd name="connsiteX6411" fmla="*/ 1019429 w 6785952"/>
              <a:gd name="connsiteY6411" fmla="*/ 4336390 h 5217112"/>
              <a:gd name="connsiteX6412" fmla="*/ 1023637 w 6785952"/>
              <a:gd name="connsiteY6412" fmla="*/ 4336500 h 5217112"/>
              <a:gd name="connsiteX6413" fmla="*/ 1018527 w 6785952"/>
              <a:gd name="connsiteY6413" fmla="*/ 4328643 h 5217112"/>
              <a:gd name="connsiteX6414" fmla="*/ 1028748 w 6785952"/>
              <a:gd name="connsiteY6414" fmla="*/ 4320342 h 5217112"/>
              <a:gd name="connsiteX6415" fmla="*/ 1026343 w 6785952"/>
              <a:gd name="connsiteY6415" fmla="*/ 4313038 h 5217112"/>
              <a:gd name="connsiteX6416" fmla="*/ 1033558 w 6785952"/>
              <a:gd name="connsiteY6416" fmla="*/ 4308722 h 5217112"/>
              <a:gd name="connsiteX6417" fmla="*/ 1326056 w 6785952"/>
              <a:gd name="connsiteY6417" fmla="*/ 4307504 h 5217112"/>
              <a:gd name="connsiteX6418" fmla="*/ 1329965 w 6785952"/>
              <a:gd name="connsiteY6418" fmla="*/ 4309497 h 5217112"/>
              <a:gd name="connsiteX6419" fmla="*/ 1329362 w 6785952"/>
              <a:gd name="connsiteY6419" fmla="*/ 4322777 h 5217112"/>
              <a:gd name="connsiteX6420" fmla="*/ 1326056 w 6785952"/>
              <a:gd name="connsiteY6420" fmla="*/ 4307504 h 5217112"/>
              <a:gd name="connsiteX6421" fmla="*/ 2253754 w 6785952"/>
              <a:gd name="connsiteY6421" fmla="*/ 4305180 h 5217112"/>
              <a:gd name="connsiteX6422" fmla="*/ 2261269 w 6785952"/>
              <a:gd name="connsiteY6422" fmla="*/ 4310825 h 5217112"/>
              <a:gd name="connsiteX6423" fmla="*/ 2262171 w 6785952"/>
              <a:gd name="connsiteY6423" fmla="*/ 4318572 h 5217112"/>
              <a:gd name="connsiteX6424" fmla="*/ 2224895 w 6785952"/>
              <a:gd name="connsiteY6424" fmla="*/ 4325876 h 5217112"/>
              <a:gd name="connsiteX6425" fmla="*/ 2230305 w 6785952"/>
              <a:gd name="connsiteY6425" fmla="*/ 4318461 h 5217112"/>
              <a:gd name="connsiteX6426" fmla="*/ 2230305 w 6785952"/>
              <a:gd name="connsiteY6426" fmla="*/ 4317797 h 5217112"/>
              <a:gd name="connsiteX6427" fmla="*/ 2223693 w 6785952"/>
              <a:gd name="connsiteY6427" fmla="*/ 4312706 h 5217112"/>
              <a:gd name="connsiteX6428" fmla="*/ 2231809 w 6785952"/>
              <a:gd name="connsiteY6428" fmla="*/ 4316469 h 5217112"/>
              <a:gd name="connsiteX6429" fmla="*/ 2236618 w 6785952"/>
              <a:gd name="connsiteY6429" fmla="*/ 4310271 h 5217112"/>
              <a:gd name="connsiteX6430" fmla="*/ 2253754 w 6785952"/>
              <a:gd name="connsiteY6430" fmla="*/ 4305180 h 5217112"/>
              <a:gd name="connsiteX6431" fmla="*/ 1224449 w 6785952"/>
              <a:gd name="connsiteY6431" fmla="*/ 4305180 h 5217112"/>
              <a:gd name="connsiteX6432" fmla="*/ 1231963 w 6785952"/>
              <a:gd name="connsiteY6432" fmla="*/ 4310825 h 5217112"/>
              <a:gd name="connsiteX6433" fmla="*/ 1232866 w 6785952"/>
              <a:gd name="connsiteY6433" fmla="*/ 4318572 h 5217112"/>
              <a:gd name="connsiteX6434" fmla="*/ 1195589 w 6785952"/>
              <a:gd name="connsiteY6434" fmla="*/ 4325876 h 5217112"/>
              <a:gd name="connsiteX6435" fmla="*/ 1224449 w 6785952"/>
              <a:gd name="connsiteY6435" fmla="*/ 4305180 h 5217112"/>
              <a:gd name="connsiteX6436" fmla="*/ 2563687 w 6785952"/>
              <a:gd name="connsiteY6436" fmla="*/ 4303963 h 5217112"/>
              <a:gd name="connsiteX6437" fmla="*/ 2563687 w 6785952"/>
              <a:gd name="connsiteY6437" fmla="*/ 4304516 h 5217112"/>
              <a:gd name="connsiteX6438" fmla="*/ 2562485 w 6785952"/>
              <a:gd name="connsiteY6438" fmla="*/ 4306730 h 5217112"/>
              <a:gd name="connsiteX6439" fmla="*/ 2566994 w 6785952"/>
              <a:gd name="connsiteY6439" fmla="*/ 4305955 h 5217112"/>
              <a:gd name="connsiteX6440" fmla="*/ 5619137 w 6785952"/>
              <a:gd name="connsiteY6440" fmla="*/ 4303852 h 5217112"/>
              <a:gd name="connsiteX6441" fmla="*/ 5634168 w 6785952"/>
              <a:gd name="connsiteY6441" fmla="*/ 4303963 h 5217112"/>
              <a:gd name="connsiteX6442" fmla="*/ 5638676 w 6785952"/>
              <a:gd name="connsiteY6442" fmla="*/ 4318572 h 5217112"/>
              <a:gd name="connsiteX6443" fmla="*/ 5593584 w 6785952"/>
              <a:gd name="connsiteY6443" fmla="*/ 4321892 h 5217112"/>
              <a:gd name="connsiteX6444" fmla="*/ 5588173 w 6785952"/>
              <a:gd name="connsiteY6444" fmla="*/ 4318793 h 5217112"/>
              <a:gd name="connsiteX6445" fmla="*/ 5585469 w 6785952"/>
              <a:gd name="connsiteY6445" fmla="*/ 4321449 h 5217112"/>
              <a:gd name="connsiteX6446" fmla="*/ 5581861 w 6785952"/>
              <a:gd name="connsiteY6446" fmla="*/ 4326540 h 5217112"/>
              <a:gd name="connsiteX6447" fmla="*/ 5577050 w 6785952"/>
              <a:gd name="connsiteY6447" fmla="*/ 4327315 h 5217112"/>
              <a:gd name="connsiteX6448" fmla="*/ 5580058 w 6785952"/>
              <a:gd name="connsiteY6448" fmla="*/ 4314034 h 5217112"/>
              <a:gd name="connsiteX6449" fmla="*/ 5589977 w 6785952"/>
              <a:gd name="connsiteY6449" fmla="*/ 4307615 h 5217112"/>
              <a:gd name="connsiteX6450" fmla="*/ 5592082 w 6785952"/>
              <a:gd name="connsiteY6450" fmla="*/ 4310161 h 5217112"/>
              <a:gd name="connsiteX6451" fmla="*/ 5592082 w 6785952"/>
              <a:gd name="connsiteY6451" fmla="*/ 4314587 h 5217112"/>
              <a:gd name="connsiteX6452" fmla="*/ 5588173 w 6785952"/>
              <a:gd name="connsiteY6452" fmla="*/ 4318461 h 5217112"/>
              <a:gd name="connsiteX6453" fmla="*/ 5607413 w 6785952"/>
              <a:gd name="connsiteY6453" fmla="*/ 4307283 h 5217112"/>
              <a:gd name="connsiteX6454" fmla="*/ 5619137 w 6785952"/>
              <a:gd name="connsiteY6454" fmla="*/ 4303852 h 5217112"/>
              <a:gd name="connsiteX6455" fmla="*/ 5768242 w 6785952"/>
              <a:gd name="connsiteY6455" fmla="*/ 4303742 h 5217112"/>
              <a:gd name="connsiteX6456" fmla="*/ 5771548 w 6785952"/>
              <a:gd name="connsiteY6456" fmla="*/ 4305955 h 5217112"/>
              <a:gd name="connsiteX6457" fmla="*/ 5770346 w 6785952"/>
              <a:gd name="connsiteY6457" fmla="*/ 4310603 h 5217112"/>
              <a:gd name="connsiteX6458" fmla="*/ 5762530 w 6785952"/>
              <a:gd name="connsiteY6458" fmla="*/ 4317133 h 5217112"/>
              <a:gd name="connsiteX6459" fmla="*/ 5752310 w 6785952"/>
              <a:gd name="connsiteY6459" fmla="*/ 4319789 h 5217112"/>
              <a:gd name="connsiteX6460" fmla="*/ 5754714 w 6785952"/>
              <a:gd name="connsiteY6460" fmla="*/ 4309829 h 5217112"/>
              <a:gd name="connsiteX6461" fmla="*/ 5768242 w 6785952"/>
              <a:gd name="connsiteY6461" fmla="*/ 4303742 h 5217112"/>
              <a:gd name="connsiteX6462" fmla="*/ 1974783 w 6785952"/>
              <a:gd name="connsiteY6462" fmla="*/ 4303742 h 5217112"/>
              <a:gd name="connsiteX6463" fmla="*/ 1977789 w 6785952"/>
              <a:gd name="connsiteY6463" fmla="*/ 4305955 h 5217112"/>
              <a:gd name="connsiteX6464" fmla="*/ 1976587 w 6785952"/>
              <a:gd name="connsiteY6464" fmla="*/ 4310603 h 5217112"/>
              <a:gd name="connsiteX6465" fmla="*/ 1968771 w 6785952"/>
              <a:gd name="connsiteY6465" fmla="*/ 4317133 h 5217112"/>
              <a:gd name="connsiteX6466" fmla="*/ 1958550 w 6785952"/>
              <a:gd name="connsiteY6466" fmla="*/ 4319789 h 5217112"/>
              <a:gd name="connsiteX6467" fmla="*/ 1960955 w 6785952"/>
              <a:gd name="connsiteY6467" fmla="*/ 4309829 h 5217112"/>
              <a:gd name="connsiteX6468" fmla="*/ 1974783 w 6785952"/>
              <a:gd name="connsiteY6468" fmla="*/ 4303742 h 5217112"/>
              <a:gd name="connsiteX6469" fmla="*/ 6277182 w 6785952"/>
              <a:gd name="connsiteY6469" fmla="*/ 4300975 h 5217112"/>
              <a:gd name="connsiteX6470" fmla="*/ 6286502 w 6785952"/>
              <a:gd name="connsiteY6470" fmla="*/ 4303852 h 5217112"/>
              <a:gd name="connsiteX6471" fmla="*/ 6288907 w 6785952"/>
              <a:gd name="connsiteY6471" fmla="*/ 4308943 h 5217112"/>
              <a:gd name="connsiteX6472" fmla="*/ 6285600 w 6785952"/>
              <a:gd name="connsiteY6472" fmla="*/ 4313038 h 5217112"/>
              <a:gd name="connsiteX6473" fmla="*/ 6279288 w 6785952"/>
              <a:gd name="connsiteY6473" fmla="*/ 4313591 h 5217112"/>
              <a:gd name="connsiteX6474" fmla="*/ 6277182 w 6785952"/>
              <a:gd name="connsiteY6474" fmla="*/ 4300975 h 5217112"/>
              <a:gd name="connsiteX6475" fmla="*/ 1165227 w 6785952"/>
              <a:gd name="connsiteY6475" fmla="*/ 4300089 h 5217112"/>
              <a:gd name="connsiteX6476" fmla="*/ 1179055 w 6785952"/>
              <a:gd name="connsiteY6476" fmla="*/ 4305734 h 5217112"/>
              <a:gd name="connsiteX6477" fmla="*/ 1175448 w 6785952"/>
              <a:gd name="connsiteY6477" fmla="*/ 4311489 h 5217112"/>
              <a:gd name="connsiteX6478" fmla="*/ 1151399 w 6785952"/>
              <a:gd name="connsiteY6478" fmla="*/ 4307172 h 5217112"/>
              <a:gd name="connsiteX6479" fmla="*/ 1165227 w 6785952"/>
              <a:gd name="connsiteY6479" fmla="*/ 4300089 h 5217112"/>
              <a:gd name="connsiteX6480" fmla="*/ 5286357 w 6785952"/>
              <a:gd name="connsiteY6480" fmla="*/ 4296769 h 5217112"/>
              <a:gd name="connsiteX6481" fmla="*/ 5283650 w 6785952"/>
              <a:gd name="connsiteY6481" fmla="*/ 4317133 h 5217112"/>
              <a:gd name="connsiteX6482" fmla="*/ 5283049 w 6785952"/>
              <a:gd name="connsiteY6482" fmla="*/ 4317354 h 5217112"/>
              <a:gd name="connsiteX6483" fmla="*/ 5283650 w 6785952"/>
              <a:gd name="connsiteY6483" fmla="*/ 4318461 h 5217112"/>
              <a:gd name="connsiteX6484" fmla="*/ 5286958 w 6785952"/>
              <a:gd name="connsiteY6484" fmla="*/ 4324326 h 5217112"/>
              <a:gd name="connsiteX6485" fmla="*/ 5285154 w 6785952"/>
              <a:gd name="connsiteY6485" fmla="*/ 4326983 h 5217112"/>
              <a:gd name="connsiteX6486" fmla="*/ 5301988 w 6785952"/>
              <a:gd name="connsiteY6486" fmla="*/ 4308279 h 5217112"/>
              <a:gd name="connsiteX6487" fmla="*/ 5315516 w 6785952"/>
              <a:gd name="connsiteY6487" fmla="*/ 4308168 h 5217112"/>
              <a:gd name="connsiteX6488" fmla="*/ 5315516 w 6785952"/>
              <a:gd name="connsiteY6488" fmla="*/ 4307947 h 5217112"/>
              <a:gd name="connsiteX6489" fmla="*/ 5315215 w 6785952"/>
              <a:gd name="connsiteY6489" fmla="*/ 4306398 h 5217112"/>
              <a:gd name="connsiteX6490" fmla="*/ 5313411 w 6785952"/>
              <a:gd name="connsiteY6490" fmla="*/ 4306176 h 5217112"/>
              <a:gd name="connsiteX6491" fmla="*/ 5315215 w 6785952"/>
              <a:gd name="connsiteY6491" fmla="*/ 4303299 h 5217112"/>
              <a:gd name="connsiteX6492" fmla="*/ 5326639 w 6785952"/>
              <a:gd name="connsiteY6492" fmla="*/ 4299979 h 5217112"/>
              <a:gd name="connsiteX6493" fmla="*/ 5328442 w 6785952"/>
              <a:gd name="connsiteY6493" fmla="*/ 4304516 h 5217112"/>
              <a:gd name="connsiteX6494" fmla="*/ 5326939 w 6785952"/>
              <a:gd name="connsiteY6494" fmla="*/ 4306730 h 5217112"/>
              <a:gd name="connsiteX6495" fmla="*/ 5336860 w 6785952"/>
              <a:gd name="connsiteY6495" fmla="*/ 4304959 h 5217112"/>
              <a:gd name="connsiteX6496" fmla="*/ 5369327 w 6785952"/>
              <a:gd name="connsiteY6496" fmla="*/ 4309829 h 5217112"/>
              <a:gd name="connsiteX6497" fmla="*/ 5390369 w 6785952"/>
              <a:gd name="connsiteY6497" fmla="*/ 4340484 h 5217112"/>
              <a:gd name="connsiteX6498" fmla="*/ 5388865 w 6785952"/>
              <a:gd name="connsiteY6498" fmla="*/ 4361733 h 5217112"/>
              <a:gd name="connsiteX6499" fmla="*/ 5386161 w 6785952"/>
              <a:gd name="connsiteY6499" fmla="*/ 4372801 h 5217112"/>
              <a:gd name="connsiteX6500" fmla="*/ 5390369 w 6785952"/>
              <a:gd name="connsiteY6500" fmla="*/ 4379109 h 5217112"/>
              <a:gd name="connsiteX6501" fmla="*/ 5384055 w 6785952"/>
              <a:gd name="connsiteY6501" fmla="*/ 4380326 h 5217112"/>
              <a:gd name="connsiteX6502" fmla="*/ 5383154 w 6785952"/>
              <a:gd name="connsiteY6502" fmla="*/ 4383868 h 5217112"/>
              <a:gd name="connsiteX6503" fmla="*/ 5377743 w 6785952"/>
              <a:gd name="connsiteY6503" fmla="*/ 4393164 h 5217112"/>
              <a:gd name="connsiteX6504" fmla="*/ 5378644 w 6785952"/>
              <a:gd name="connsiteY6504" fmla="*/ 4393717 h 5217112"/>
              <a:gd name="connsiteX6505" fmla="*/ 5378644 w 6785952"/>
              <a:gd name="connsiteY6505" fmla="*/ 4398255 h 5217112"/>
              <a:gd name="connsiteX6506" fmla="*/ 5372332 w 6785952"/>
              <a:gd name="connsiteY6506" fmla="*/ 4402792 h 5217112"/>
              <a:gd name="connsiteX6507" fmla="*/ 5371731 w 6785952"/>
              <a:gd name="connsiteY6507" fmla="*/ 4403899 h 5217112"/>
              <a:gd name="connsiteX6508" fmla="*/ 5353694 w 6785952"/>
              <a:gd name="connsiteY6508" fmla="*/ 4419504 h 5217112"/>
              <a:gd name="connsiteX6509" fmla="*/ 5337160 w 6785952"/>
              <a:gd name="connsiteY6509" fmla="*/ 4425591 h 5217112"/>
              <a:gd name="connsiteX6510" fmla="*/ 5331148 w 6785952"/>
              <a:gd name="connsiteY6510" fmla="*/ 4425701 h 5217112"/>
              <a:gd name="connsiteX6511" fmla="*/ 5327540 w 6785952"/>
              <a:gd name="connsiteY6511" fmla="*/ 4427583 h 5217112"/>
              <a:gd name="connsiteX6512" fmla="*/ 5307099 w 6785952"/>
              <a:gd name="connsiteY6512" fmla="*/ 4434555 h 5217112"/>
              <a:gd name="connsiteX6513" fmla="*/ 5319424 w 6785952"/>
              <a:gd name="connsiteY6513" fmla="*/ 4428800 h 5217112"/>
              <a:gd name="connsiteX6514" fmla="*/ 5330848 w 6785952"/>
              <a:gd name="connsiteY6514" fmla="*/ 4425701 h 5217112"/>
              <a:gd name="connsiteX6515" fmla="*/ 5321828 w 6785952"/>
              <a:gd name="connsiteY6515" fmla="*/ 4425812 h 5217112"/>
              <a:gd name="connsiteX6516" fmla="*/ 5289061 w 6785952"/>
              <a:gd name="connsiteY6516" fmla="*/ 4422492 h 5217112"/>
              <a:gd name="connsiteX6517" fmla="*/ 5264712 w 6785952"/>
              <a:gd name="connsiteY6517" fmla="*/ 4397370 h 5217112"/>
              <a:gd name="connsiteX6518" fmla="*/ 5266215 w 6785952"/>
              <a:gd name="connsiteY6518" fmla="*/ 4386634 h 5217112"/>
              <a:gd name="connsiteX6519" fmla="*/ 5265614 w 6785952"/>
              <a:gd name="connsiteY6519" fmla="*/ 4375125 h 5217112"/>
              <a:gd name="connsiteX6520" fmla="*/ 5258099 w 6785952"/>
              <a:gd name="connsiteY6520" fmla="*/ 4370255 h 5217112"/>
              <a:gd name="connsiteX6521" fmla="*/ 5256896 w 6785952"/>
              <a:gd name="connsiteY6521" fmla="*/ 4356089 h 5217112"/>
              <a:gd name="connsiteX6522" fmla="*/ 5263509 w 6785952"/>
              <a:gd name="connsiteY6522" fmla="*/ 4353212 h 5217112"/>
              <a:gd name="connsiteX6523" fmla="*/ 5263209 w 6785952"/>
              <a:gd name="connsiteY6523" fmla="*/ 4351220 h 5217112"/>
              <a:gd name="connsiteX6524" fmla="*/ 5282448 w 6785952"/>
              <a:gd name="connsiteY6524" fmla="*/ 4329860 h 5217112"/>
              <a:gd name="connsiteX6525" fmla="*/ 5284553 w 6785952"/>
              <a:gd name="connsiteY6525" fmla="*/ 4327647 h 5217112"/>
              <a:gd name="connsiteX6526" fmla="*/ 5279743 w 6785952"/>
              <a:gd name="connsiteY6526" fmla="*/ 4327093 h 5217112"/>
              <a:gd name="connsiteX6527" fmla="*/ 5273730 w 6785952"/>
              <a:gd name="connsiteY6527" fmla="*/ 4320674 h 5217112"/>
              <a:gd name="connsiteX6528" fmla="*/ 5266816 w 6785952"/>
              <a:gd name="connsiteY6528" fmla="*/ 4323220 h 5217112"/>
              <a:gd name="connsiteX6529" fmla="*/ 5249981 w 6785952"/>
              <a:gd name="connsiteY6529" fmla="*/ 4320785 h 5217112"/>
              <a:gd name="connsiteX6530" fmla="*/ 5244270 w 6785952"/>
              <a:gd name="connsiteY6530" fmla="*/ 4313923 h 5217112"/>
              <a:gd name="connsiteX6531" fmla="*/ 5243068 w 6785952"/>
              <a:gd name="connsiteY6531" fmla="*/ 4313923 h 5217112"/>
              <a:gd name="connsiteX6532" fmla="*/ 5239460 w 6785952"/>
              <a:gd name="connsiteY6532" fmla="*/ 4304738 h 5217112"/>
              <a:gd name="connsiteX6533" fmla="*/ 5247277 w 6785952"/>
              <a:gd name="connsiteY6533" fmla="*/ 4301528 h 5217112"/>
              <a:gd name="connsiteX6534" fmla="*/ 5250582 w 6785952"/>
              <a:gd name="connsiteY6534" fmla="*/ 4303742 h 5217112"/>
              <a:gd name="connsiteX6535" fmla="*/ 5250883 w 6785952"/>
              <a:gd name="connsiteY6535" fmla="*/ 4305291 h 5217112"/>
              <a:gd name="connsiteX6536" fmla="*/ 5250883 w 6785952"/>
              <a:gd name="connsiteY6536" fmla="*/ 4307947 h 5217112"/>
              <a:gd name="connsiteX6537" fmla="*/ 5260804 w 6785952"/>
              <a:gd name="connsiteY6537" fmla="*/ 4301085 h 5217112"/>
              <a:gd name="connsiteX6538" fmla="*/ 5286357 w 6785952"/>
              <a:gd name="connsiteY6538" fmla="*/ 4296769 h 5217112"/>
              <a:gd name="connsiteX6539" fmla="*/ 5957329 w 6785952"/>
              <a:gd name="connsiteY6539" fmla="*/ 4295884 h 5217112"/>
              <a:gd name="connsiteX6540" fmla="*/ 5960935 w 6785952"/>
              <a:gd name="connsiteY6540" fmla="*/ 4295884 h 5217112"/>
              <a:gd name="connsiteX6541" fmla="*/ 5970856 w 6785952"/>
              <a:gd name="connsiteY6541" fmla="*/ 4298208 h 5217112"/>
              <a:gd name="connsiteX6542" fmla="*/ 5966948 w 6785952"/>
              <a:gd name="connsiteY6542" fmla="*/ 4301639 h 5217112"/>
              <a:gd name="connsiteX6543" fmla="*/ 5962740 w 6785952"/>
              <a:gd name="connsiteY6543" fmla="*/ 4300200 h 5217112"/>
              <a:gd name="connsiteX6544" fmla="*/ 5959132 w 6785952"/>
              <a:gd name="connsiteY6544" fmla="*/ 4300200 h 5217112"/>
              <a:gd name="connsiteX6545" fmla="*/ 5957329 w 6785952"/>
              <a:gd name="connsiteY6545" fmla="*/ 4295884 h 5217112"/>
              <a:gd name="connsiteX6546" fmla="*/ 2163870 w 6785952"/>
              <a:gd name="connsiteY6546" fmla="*/ 4295884 h 5217112"/>
              <a:gd name="connsiteX6547" fmla="*/ 2167477 w 6785952"/>
              <a:gd name="connsiteY6547" fmla="*/ 4295884 h 5217112"/>
              <a:gd name="connsiteX6548" fmla="*/ 2177097 w 6785952"/>
              <a:gd name="connsiteY6548" fmla="*/ 4298208 h 5217112"/>
              <a:gd name="connsiteX6549" fmla="*/ 2173189 w 6785952"/>
              <a:gd name="connsiteY6549" fmla="*/ 4301639 h 5217112"/>
              <a:gd name="connsiteX6550" fmla="*/ 2169281 w 6785952"/>
              <a:gd name="connsiteY6550" fmla="*/ 4300200 h 5217112"/>
              <a:gd name="connsiteX6551" fmla="*/ 2165674 w 6785952"/>
              <a:gd name="connsiteY6551" fmla="*/ 4300200 h 5217112"/>
              <a:gd name="connsiteX6552" fmla="*/ 2163870 w 6785952"/>
              <a:gd name="connsiteY6552" fmla="*/ 4295884 h 5217112"/>
              <a:gd name="connsiteX6553" fmla="*/ 1709039 w 6785952"/>
              <a:gd name="connsiteY6553" fmla="*/ 4295331 h 5217112"/>
              <a:gd name="connsiteX6554" fmla="*/ 1719861 w 6785952"/>
              <a:gd name="connsiteY6554" fmla="*/ 4297433 h 5217112"/>
              <a:gd name="connsiteX6555" fmla="*/ 1716254 w 6785952"/>
              <a:gd name="connsiteY6555" fmla="*/ 4306398 h 5217112"/>
              <a:gd name="connsiteX6556" fmla="*/ 1709039 w 6785952"/>
              <a:gd name="connsiteY6556" fmla="*/ 4295331 h 5217112"/>
              <a:gd name="connsiteX6557" fmla="*/ 680034 w 6785952"/>
              <a:gd name="connsiteY6557" fmla="*/ 4295331 h 5217112"/>
              <a:gd name="connsiteX6558" fmla="*/ 690556 w 6785952"/>
              <a:gd name="connsiteY6558" fmla="*/ 4297433 h 5217112"/>
              <a:gd name="connsiteX6559" fmla="*/ 687250 w 6785952"/>
              <a:gd name="connsiteY6559" fmla="*/ 4306398 h 5217112"/>
              <a:gd name="connsiteX6560" fmla="*/ 680034 w 6785952"/>
              <a:gd name="connsiteY6560" fmla="*/ 4295331 h 5217112"/>
              <a:gd name="connsiteX6561" fmla="*/ 5985286 w 6785952"/>
              <a:gd name="connsiteY6561" fmla="*/ 4295109 h 5217112"/>
              <a:gd name="connsiteX6562" fmla="*/ 5996409 w 6785952"/>
              <a:gd name="connsiteY6562" fmla="*/ 4302192 h 5217112"/>
              <a:gd name="connsiteX6563" fmla="*/ 5996710 w 6785952"/>
              <a:gd name="connsiteY6563" fmla="*/ 4305955 h 5217112"/>
              <a:gd name="connsiteX6564" fmla="*/ 5988892 w 6785952"/>
              <a:gd name="connsiteY6564" fmla="*/ 4307947 h 5217112"/>
              <a:gd name="connsiteX6565" fmla="*/ 5979273 w 6785952"/>
              <a:gd name="connsiteY6565" fmla="*/ 4297765 h 5217112"/>
              <a:gd name="connsiteX6566" fmla="*/ 5985286 w 6785952"/>
              <a:gd name="connsiteY6566" fmla="*/ 4295109 h 5217112"/>
              <a:gd name="connsiteX6567" fmla="*/ 2191526 w 6785952"/>
              <a:gd name="connsiteY6567" fmla="*/ 4295109 h 5217112"/>
              <a:gd name="connsiteX6568" fmla="*/ 2199643 w 6785952"/>
              <a:gd name="connsiteY6568" fmla="*/ 4300200 h 5217112"/>
              <a:gd name="connsiteX6569" fmla="*/ 2201747 w 6785952"/>
              <a:gd name="connsiteY6569" fmla="*/ 4300311 h 5217112"/>
              <a:gd name="connsiteX6570" fmla="*/ 2208361 w 6785952"/>
              <a:gd name="connsiteY6570" fmla="*/ 4305734 h 5217112"/>
              <a:gd name="connsiteX6571" fmla="*/ 2204453 w 6785952"/>
              <a:gd name="connsiteY6571" fmla="*/ 4311489 h 5217112"/>
              <a:gd name="connsiteX6572" fmla="*/ 2180403 w 6785952"/>
              <a:gd name="connsiteY6572" fmla="*/ 4307172 h 5217112"/>
              <a:gd name="connsiteX6573" fmla="*/ 2185815 w 6785952"/>
              <a:gd name="connsiteY6573" fmla="*/ 4303631 h 5217112"/>
              <a:gd name="connsiteX6574" fmla="*/ 2185514 w 6785952"/>
              <a:gd name="connsiteY6574" fmla="*/ 4297765 h 5217112"/>
              <a:gd name="connsiteX6575" fmla="*/ 2191526 w 6785952"/>
              <a:gd name="connsiteY6575" fmla="*/ 4295109 h 5217112"/>
              <a:gd name="connsiteX6576" fmla="*/ 1473357 w 6785952"/>
              <a:gd name="connsiteY6576" fmla="*/ 4294888 h 5217112"/>
              <a:gd name="connsiteX6577" fmla="*/ 1475762 w 6785952"/>
              <a:gd name="connsiteY6577" fmla="*/ 4298540 h 5217112"/>
              <a:gd name="connsiteX6578" fmla="*/ 1478768 w 6785952"/>
              <a:gd name="connsiteY6578" fmla="*/ 4297655 h 5217112"/>
              <a:gd name="connsiteX6579" fmla="*/ 1490191 w 6785952"/>
              <a:gd name="connsiteY6579" fmla="*/ 4296880 h 5217112"/>
              <a:gd name="connsiteX6580" fmla="*/ 1486885 w 6785952"/>
              <a:gd name="connsiteY6580" fmla="*/ 4296880 h 5217112"/>
              <a:gd name="connsiteX6581" fmla="*/ 1473357 w 6785952"/>
              <a:gd name="connsiteY6581" fmla="*/ 4294888 h 5217112"/>
              <a:gd name="connsiteX6582" fmla="*/ 1779985 w 6785952"/>
              <a:gd name="connsiteY6582" fmla="*/ 4293892 h 5217112"/>
              <a:gd name="connsiteX6583" fmla="*/ 1780886 w 6785952"/>
              <a:gd name="connsiteY6583" fmla="*/ 4302192 h 5217112"/>
              <a:gd name="connsiteX6584" fmla="*/ 1776377 w 6785952"/>
              <a:gd name="connsiteY6584" fmla="*/ 4306619 h 5217112"/>
              <a:gd name="connsiteX6585" fmla="*/ 1777880 w 6785952"/>
              <a:gd name="connsiteY6585" fmla="*/ 4307062 h 5217112"/>
              <a:gd name="connsiteX6586" fmla="*/ 1787801 w 6785952"/>
              <a:gd name="connsiteY6586" fmla="*/ 4311931 h 5217112"/>
              <a:gd name="connsiteX6587" fmla="*/ 1789303 w 6785952"/>
              <a:gd name="connsiteY6587" fmla="*/ 4310271 h 5217112"/>
              <a:gd name="connsiteX6588" fmla="*/ 1796218 w 6785952"/>
              <a:gd name="connsiteY6588" fmla="*/ 4307615 h 5217112"/>
              <a:gd name="connsiteX6589" fmla="*/ 1798322 w 6785952"/>
              <a:gd name="connsiteY6589" fmla="*/ 4310161 h 5217112"/>
              <a:gd name="connsiteX6590" fmla="*/ 1798322 w 6785952"/>
              <a:gd name="connsiteY6590" fmla="*/ 4314587 h 5217112"/>
              <a:gd name="connsiteX6591" fmla="*/ 1794715 w 6785952"/>
              <a:gd name="connsiteY6591" fmla="*/ 4318461 h 5217112"/>
              <a:gd name="connsiteX6592" fmla="*/ 1813954 w 6785952"/>
              <a:gd name="connsiteY6592" fmla="*/ 4307283 h 5217112"/>
              <a:gd name="connsiteX6593" fmla="*/ 1825678 w 6785952"/>
              <a:gd name="connsiteY6593" fmla="*/ 4303852 h 5217112"/>
              <a:gd name="connsiteX6594" fmla="*/ 1840409 w 6785952"/>
              <a:gd name="connsiteY6594" fmla="*/ 4303963 h 5217112"/>
              <a:gd name="connsiteX6595" fmla="*/ 1845218 w 6785952"/>
              <a:gd name="connsiteY6595" fmla="*/ 4318572 h 5217112"/>
              <a:gd name="connsiteX6596" fmla="*/ 1799825 w 6785952"/>
              <a:gd name="connsiteY6596" fmla="*/ 4321892 h 5217112"/>
              <a:gd name="connsiteX6597" fmla="*/ 1794414 w 6785952"/>
              <a:gd name="connsiteY6597" fmla="*/ 4318793 h 5217112"/>
              <a:gd name="connsiteX6598" fmla="*/ 1792009 w 6785952"/>
              <a:gd name="connsiteY6598" fmla="*/ 4321449 h 5217112"/>
              <a:gd name="connsiteX6599" fmla="*/ 1788101 w 6785952"/>
              <a:gd name="connsiteY6599" fmla="*/ 4326540 h 5217112"/>
              <a:gd name="connsiteX6600" fmla="*/ 1783291 w 6785952"/>
              <a:gd name="connsiteY6600" fmla="*/ 4327315 h 5217112"/>
              <a:gd name="connsiteX6601" fmla="*/ 1784193 w 6785952"/>
              <a:gd name="connsiteY6601" fmla="*/ 4320896 h 5217112"/>
              <a:gd name="connsiteX6602" fmla="*/ 1785696 w 6785952"/>
              <a:gd name="connsiteY6602" fmla="*/ 4316469 h 5217112"/>
              <a:gd name="connsiteX6603" fmla="*/ 1784795 w 6785952"/>
              <a:gd name="connsiteY6603" fmla="*/ 4316579 h 5217112"/>
              <a:gd name="connsiteX6604" fmla="*/ 1769764 w 6785952"/>
              <a:gd name="connsiteY6604" fmla="*/ 4310825 h 5217112"/>
              <a:gd name="connsiteX6605" fmla="*/ 1766757 w 6785952"/>
              <a:gd name="connsiteY6605" fmla="*/ 4308943 h 5217112"/>
              <a:gd name="connsiteX6606" fmla="*/ 1763451 w 6785952"/>
              <a:gd name="connsiteY6606" fmla="*/ 4307062 h 5217112"/>
              <a:gd name="connsiteX6607" fmla="*/ 1762248 w 6785952"/>
              <a:gd name="connsiteY6607" fmla="*/ 4300753 h 5217112"/>
              <a:gd name="connsiteX6608" fmla="*/ 1773070 w 6785952"/>
              <a:gd name="connsiteY6608" fmla="*/ 4305180 h 5217112"/>
              <a:gd name="connsiteX6609" fmla="*/ 1770365 w 6785952"/>
              <a:gd name="connsiteY6609" fmla="*/ 4301750 h 5217112"/>
              <a:gd name="connsiteX6610" fmla="*/ 1770064 w 6785952"/>
              <a:gd name="connsiteY6610" fmla="*/ 4294777 h 5217112"/>
              <a:gd name="connsiteX6611" fmla="*/ 1779985 w 6785952"/>
              <a:gd name="connsiteY6611" fmla="*/ 4293892 h 5217112"/>
              <a:gd name="connsiteX6612" fmla="*/ 750980 w 6785952"/>
              <a:gd name="connsiteY6612" fmla="*/ 4293892 h 5217112"/>
              <a:gd name="connsiteX6613" fmla="*/ 751581 w 6785952"/>
              <a:gd name="connsiteY6613" fmla="*/ 4302192 h 5217112"/>
              <a:gd name="connsiteX6614" fmla="*/ 747373 w 6785952"/>
              <a:gd name="connsiteY6614" fmla="*/ 4306619 h 5217112"/>
              <a:gd name="connsiteX6615" fmla="*/ 748575 w 6785952"/>
              <a:gd name="connsiteY6615" fmla="*/ 4307062 h 5217112"/>
              <a:gd name="connsiteX6616" fmla="*/ 761802 w 6785952"/>
              <a:gd name="connsiteY6616" fmla="*/ 4313259 h 5217112"/>
              <a:gd name="connsiteX6617" fmla="*/ 759998 w 6785952"/>
              <a:gd name="connsiteY6617" fmla="*/ 4316026 h 5217112"/>
              <a:gd name="connsiteX6618" fmla="*/ 755490 w 6785952"/>
              <a:gd name="connsiteY6618" fmla="*/ 4316579 h 5217112"/>
              <a:gd name="connsiteX6619" fmla="*/ 740759 w 6785952"/>
              <a:gd name="connsiteY6619" fmla="*/ 4310825 h 5217112"/>
              <a:gd name="connsiteX6620" fmla="*/ 737452 w 6785952"/>
              <a:gd name="connsiteY6620" fmla="*/ 4308943 h 5217112"/>
              <a:gd name="connsiteX6621" fmla="*/ 734446 w 6785952"/>
              <a:gd name="connsiteY6621" fmla="*/ 4307062 h 5217112"/>
              <a:gd name="connsiteX6622" fmla="*/ 732943 w 6785952"/>
              <a:gd name="connsiteY6622" fmla="*/ 4300753 h 5217112"/>
              <a:gd name="connsiteX6623" fmla="*/ 743765 w 6785952"/>
              <a:gd name="connsiteY6623" fmla="*/ 4305180 h 5217112"/>
              <a:gd name="connsiteX6624" fmla="*/ 741059 w 6785952"/>
              <a:gd name="connsiteY6624" fmla="*/ 4301750 h 5217112"/>
              <a:gd name="connsiteX6625" fmla="*/ 741059 w 6785952"/>
              <a:gd name="connsiteY6625" fmla="*/ 4294777 h 5217112"/>
              <a:gd name="connsiteX6626" fmla="*/ 750980 w 6785952"/>
              <a:gd name="connsiteY6626" fmla="*/ 4293892 h 5217112"/>
              <a:gd name="connsiteX6627" fmla="*/ 2040317 w 6785952"/>
              <a:gd name="connsiteY6627" fmla="*/ 4293117 h 5217112"/>
              <a:gd name="connsiteX6628" fmla="*/ 2043023 w 6785952"/>
              <a:gd name="connsiteY6628" fmla="*/ 4295109 h 5217112"/>
              <a:gd name="connsiteX6629" fmla="*/ 2048133 w 6785952"/>
              <a:gd name="connsiteY6629" fmla="*/ 4299979 h 5217112"/>
              <a:gd name="connsiteX6630" fmla="*/ 2037912 w 6785952"/>
              <a:gd name="connsiteY6630" fmla="*/ 4293449 h 5217112"/>
              <a:gd name="connsiteX6631" fmla="*/ 2040317 w 6785952"/>
              <a:gd name="connsiteY6631" fmla="*/ 4293117 h 5217112"/>
              <a:gd name="connsiteX6632" fmla="*/ 5239460 w 6785952"/>
              <a:gd name="connsiteY6632" fmla="*/ 4292121 h 5217112"/>
              <a:gd name="connsiteX6633" fmla="*/ 5246074 w 6785952"/>
              <a:gd name="connsiteY6633" fmla="*/ 4298429 h 5217112"/>
              <a:gd name="connsiteX6634" fmla="*/ 5242767 w 6785952"/>
              <a:gd name="connsiteY6634" fmla="*/ 4301750 h 5217112"/>
              <a:gd name="connsiteX6635" fmla="*/ 5235854 w 6785952"/>
              <a:gd name="connsiteY6635" fmla="*/ 4294224 h 5217112"/>
              <a:gd name="connsiteX6636" fmla="*/ 5239460 w 6785952"/>
              <a:gd name="connsiteY6636" fmla="*/ 4292121 h 5217112"/>
              <a:gd name="connsiteX6637" fmla="*/ 6143709 w 6785952"/>
              <a:gd name="connsiteY6637" fmla="*/ 4291900 h 5217112"/>
              <a:gd name="connsiteX6638" fmla="*/ 6146416 w 6785952"/>
              <a:gd name="connsiteY6638" fmla="*/ 4294113 h 5217112"/>
              <a:gd name="connsiteX6639" fmla="*/ 6152428 w 6785952"/>
              <a:gd name="connsiteY6639" fmla="*/ 4307394 h 5217112"/>
              <a:gd name="connsiteX6640" fmla="*/ 6153630 w 6785952"/>
              <a:gd name="connsiteY6640" fmla="*/ 4309939 h 5217112"/>
              <a:gd name="connsiteX6641" fmla="*/ 6152428 w 6785952"/>
              <a:gd name="connsiteY6641" fmla="*/ 4314145 h 5217112"/>
              <a:gd name="connsiteX6642" fmla="*/ 6144612 w 6785952"/>
              <a:gd name="connsiteY6642" fmla="*/ 4303299 h 5217112"/>
              <a:gd name="connsiteX6643" fmla="*/ 6141005 w 6785952"/>
              <a:gd name="connsiteY6643" fmla="*/ 4296880 h 5217112"/>
              <a:gd name="connsiteX6644" fmla="*/ 6142207 w 6785952"/>
              <a:gd name="connsiteY6644" fmla="*/ 4292674 h 5217112"/>
              <a:gd name="connsiteX6645" fmla="*/ 2349950 w 6785952"/>
              <a:gd name="connsiteY6645" fmla="*/ 4291900 h 5217112"/>
              <a:gd name="connsiteX6646" fmla="*/ 2352656 w 6785952"/>
              <a:gd name="connsiteY6646" fmla="*/ 4294113 h 5217112"/>
              <a:gd name="connsiteX6647" fmla="*/ 2358668 w 6785952"/>
              <a:gd name="connsiteY6647" fmla="*/ 4307394 h 5217112"/>
              <a:gd name="connsiteX6648" fmla="*/ 2360171 w 6785952"/>
              <a:gd name="connsiteY6648" fmla="*/ 4309939 h 5217112"/>
              <a:gd name="connsiteX6649" fmla="*/ 2359570 w 6785952"/>
              <a:gd name="connsiteY6649" fmla="*/ 4311710 h 5217112"/>
              <a:gd name="connsiteX6650" fmla="*/ 2360472 w 6785952"/>
              <a:gd name="connsiteY6650" fmla="*/ 4317133 h 5217112"/>
              <a:gd name="connsiteX6651" fmla="*/ 2358367 w 6785952"/>
              <a:gd name="connsiteY6651" fmla="*/ 4322777 h 5217112"/>
              <a:gd name="connsiteX6652" fmla="*/ 2351754 w 6785952"/>
              <a:gd name="connsiteY6652" fmla="*/ 4310493 h 5217112"/>
              <a:gd name="connsiteX6653" fmla="*/ 2352656 w 6785952"/>
              <a:gd name="connsiteY6653" fmla="*/ 4309718 h 5217112"/>
              <a:gd name="connsiteX6654" fmla="*/ 2350852 w 6785952"/>
              <a:gd name="connsiteY6654" fmla="*/ 4303299 h 5217112"/>
              <a:gd name="connsiteX6655" fmla="*/ 2347244 w 6785952"/>
              <a:gd name="connsiteY6655" fmla="*/ 4296880 h 5217112"/>
              <a:gd name="connsiteX6656" fmla="*/ 2348448 w 6785952"/>
              <a:gd name="connsiteY6656" fmla="*/ 4292674 h 5217112"/>
              <a:gd name="connsiteX6657" fmla="*/ 5140558 w 6785952"/>
              <a:gd name="connsiteY6657" fmla="*/ 4288358 h 5217112"/>
              <a:gd name="connsiteX6658" fmla="*/ 5158182 w 6785952"/>
              <a:gd name="connsiteY6658" fmla="*/ 4304198 h 5217112"/>
              <a:gd name="connsiteX6659" fmla="*/ 5163746 w 6785952"/>
              <a:gd name="connsiteY6659" fmla="*/ 4322284 h 5217112"/>
              <a:gd name="connsiteX6660" fmla="*/ 5163350 w 6785952"/>
              <a:gd name="connsiteY6660" fmla="*/ 4323297 h 5217112"/>
              <a:gd name="connsiteX6661" fmla="*/ 5145443 w 6785952"/>
              <a:gd name="connsiteY6661" fmla="*/ 4308182 h 5217112"/>
              <a:gd name="connsiteX6662" fmla="*/ 5140558 w 6785952"/>
              <a:gd name="connsiteY6662" fmla="*/ 4288358 h 5217112"/>
              <a:gd name="connsiteX6663" fmla="*/ 2375803 w 6785952"/>
              <a:gd name="connsiteY6663" fmla="*/ 4288358 h 5217112"/>
              <a:gd name="connsiteX6664" fmla="*/ 2399852 w 6785952"/>
              <a:gd name="connsiteY6664" fmla="*/ 4324105 h 5217112"/>
              <a:gd name="connsiteX6665" fmla="*/ 2375803 w 6785952"/>
              <a:gd name="connsiteY6665" fmla="*/ 4288358 h 5217112"/>
              <a:gd name="connsiteX6666" fmla="*/ 1346799 w 6785952"/>
              <a:gd name="connsiteY6666" fmla="*/ 4288358 h 5217112"/>
              <a:gd name="connsiteX6667" fmla="*/ 1370547 w 6785952"/>
              <a:gd name="connsiteY6667" fmla="*/ 4324105 h 5217112"/>
              <a:gd name="connsiteX6668" fmla="*/ 1346799 w 6785952"/>
              <a:gd name="connsiteY6668" fmla="*/ 4288358 h 5217112"/>
              <a:gd name="connsiteX6669" fmla="*/ 2082103 w 6785952"/>
              <a:gd name="connsiteY6669" fmla="*/ 4286366 h 5217112"/>
              <a:gd name="connsiteX6670" fmla="*/ 2084508 w 6785952"/>
              <a:gd name="connsiteY6670" fmla="*/ 4288248 h 5217112"/>
              <a:gd name="connsiteX6671" fmla="*/ 2086010 w 6785952"/>
              <a:gd name="connsiteY6671" fmla="*/ 4295441 h 5217112"/>
              <a:gd name="connsiteX6672" fmla="*/ 2075789 w 6785952"/>
              <a:gd name="connsiteY6672" fmla="*/ 4298208 h 5217112"/>
              <a:gd name="connsiteX6673" fmla="*/ 2078194 w 6785952"/>
              <a:gd name="connsiteY6673" fmla="*/ 4286477 h 5217112"/>
              <a:gd name="connsiteX6674" fmla="*/ 2082103 w 6785952"/>
              <a:gd name="connsiteY6674" fmla="*/ 4286366 h 5217112"/>
              <a:gd name="connsiteX6675" fmla="*/ 1053098 w 6785952"/>
              <a:gd name="connsiteY6675" fmla="*/ 4286366 h 5217112"/>
              <a:gd name="connsiteX6676" fmla="*/ 1055503 w 6785952"/>
              <a:gd name="connsiteY6676" fmla="*/ 4288248 h 5217112"/>
              <a:gd name="connsiteX6677" fmla="*/ 1057006 w 6785952"/>
              <a:gd name="connsiteY6677" fmla="*/ 4295441 h 5217112"/>
              <a:gd name="connsiteX6678" fmla="*/ 1046484 w 6785952"/>
              <a:gd name="connsiteY6678" fmla="*/ 4298208 h 5217112"/>
              <a:gd name="connsiteX6679" fmla="*/ 1048889 w 6785952"/>
              <a:gd name="connsiteY6679" fmla="*/ 4286477 h 5217112"/>
              <a:gd name="connsiteX6680" fmla="*/ 1053098 w 6785952"/>
              <a:gd name="connsiteY6680" fmla="*/ 4286366 h 5217112"/>
              <a:gd name="connsiteX6681" fmla="*/ 6048415 w 6785952"/>
              <a:gd name="connsiteY6681" fmla="*/ 4284817 h 5217112"/>
              <a:gd name="connsiteX6682" fmla="*/ 6051120 w 6785952"/>
              <a:gd name="connsiteY6682" fmla="*/ 4285924 h 5217112"/>
              <a:gd name="connsiteX6683" fmla="*/ 6051421 w 6785952"/>
              <a:gd name="connsiteY6683" fmla="*/ 4289908 h 5217112"/>
              <a:gd name="connsiteX6684" fmla="*/ 6044206 w 6785952"/>
              <a:gd name="connsiteY6684" fmla="*/ 4294113 h 5217112"/>
              <a:gd name="connsiteX6685" fmla="*/ 6035489 w 6785952"/>
              <a:gd name="connsiteY6685" fmla="*/ 4292121 h 5217112"/>
              <a:gd name="connsiteX6686" fmla="*/ 6030378 w 6785952"/>
              <a:gd name="connsiteY6686" fmla="*/ 4293449 h 5217112"/>
              <a:gd name="connsiteX6687" fmla="*/ 6029777 w 6785952"/>
              <a:gd name="connsiteY6687" fmla="*/ 4292010 h 5217112"/>
              <a:gd name="connsiteX6688" fmla="*/ 6048415 w 6785952"/>
              <a:gd name="connsiteY6688" fmla="*/ 4284817 h 5217112"/>
              <a:gd name="connsiteX6689" fmla="*/ 2142225 w 6785952"/>
              <a:gd name="connsiteY6689" fmla="*/ 4283931 h 5217112"/>
              <a:gd name="connsiteX6690" fmla="*/ 2152747 w 6785952"/>
              <a:gd name="connsiteY6690" fmla="*/ 4285702 h 5217112"/>
              <a:gd name="connsiteX6691" fmla="*/ 2147937 w 6785952"/>
              <a:gd name="connsiteY6691" fmla="*/ 4294777 h 5217112"/>
              <a:gd name="connsiteX6692" fmla="*/ 2142225 w 6785952"/>
              <a:gd name="connsiteY6692" fmla="*/ 4283931 h 5217112"/>
              <a:gd name="connsiteX6693" fmla="*/ 1113220 w 6785952"/>
              <a:gd name="connsiteY6693" fmla="*/ 4283931 h 5217112"/>
              <a:gd name="connsiteX6694" fmla="*/ 1123442 w 6785952"/>
              <a:gd name="connsiteY6694" fmla="*/ 4285702 h 5217112"/>
              <a:gd name="connsiteX6695" fmla="*/ 1118631 w 6785952"/>
              <a:gd name="connsiteY6695" fmla="*/ 4294777 h 5217112"/>
              <a:gd name="connsiteX6696" fmla="*/ 1113220 w 6785952"/>
              <a:gd name="connsiteY6696" fmla="*/ 4283931 h 5217112"/>
              <a:gd name="connsiteX6697" fmla="*/ 5971157 w 6785952"/>
              <a:gd name="connsiteY6697" fmla="*/ 4283378 h 5217112"/>
              <a:gd name="connsiteX6698" fmla="*/ 5973863 w 6785952"/>
              <a:gd name="connsiteY6698" fmla="*/ 4285370 h 5217112"/>
              <a:gd name="connsiteX6699" fmla="*/ 5979273 w 6785952"/>
              <a:gd name="connsiteY6699" fmla="*/ 4284595 h 5217112"/>
              <a:gd name="connsiteX6700" fmla="*/ 5980176 w 6785952"/>
              <a:gd name="connsiteY6700" fmla="*/ 4287252 h 5217112"/>
              <a:gd name="connsiteX6701" fmla="*/ 5969955 w 6785952"/>
              <a:gd name="connsiteY6701" fmla="*/ 4288801 h 5217112"/>
              <a:gd name="connsiteX6702" fmla="*/ 5966647 w 6785952"/>
              <a:gd name="connsiteY6702" fmla="*/ 4285481 h 5217112"/>
              <a:gd name="connsiteX6703" fmla="*/ 5971157 w 6785952"/>
              <a:gd name="connsiteY6703" fmla="*/ 4283378 h 5217112"/>
              <a:gd name="connsiteX6704" fmla="*/ 2177698 w 6785952"/>
              <a:gd name="connsiteY6704" fmla="*/ 4283378 h 5217112"/>
              <a:gd name="connsiteX6705" fmla="*/ 2180403 w 6785952"/>
              <a:gd name="connsiteY6705" fmla="*/ 4285370 h 5217112"/>
              <a:gd name="connsiteX6706" fmla="*/ 2185514 w 6785952"/>
              <a:gd name="connsiteY6706" fmla="*/ 4284595 h 5217112"/>
              <a:gd name="connsiteX6707" fmla="*/ 2186716 w 6785952"/>
              <a:gd name="connsiteY6707" fmla="*/ 4287252 h 5217112"/>
              <a:gd name="connsiteX6708" fmla="*/ 2176196 w 6785952"/>
              <a:gd name="connsiteY6708" fmla="*/ 4288801 h 5217112"/>
              <a:gd name="connsiteX6709" fmla="*/ 2172888 w 6785952"/>
              <a:gd name="connsiteY6709" fmla="*/ 4285481 h 5217112"/>
              <a:gd name="connsiteX6710" fmla="*/ 2177698 w 6785952"/>
              <a:gd name="connsiteY6710" fmla="*/ 4283378 h 5217112"/>
              <a:gd name="connsiteX6711" fmla="*/ 2119379 w 6785952"/>
              <a:gd name="connsiteY6711" fmla="*/ 4279505 h 5217112"/>
              <a:gd name="connsiteX6712" fmla="*/ 2126293 w 6785952"/>
              <a:gd name="connsiteY6712" fmla="*/ 4280058 h 5217112"/>
              <a:gd name="connsiteX6713" fmla="*/ 2135311 w 6785952"/>
              <a:gd name="connsiteY6713" fmla="*/ 4290572 h 5217112"/>
              <a:gd name="connsiteX6714" fmla="*/ 2119980 w 6785952"/>
              <a:gd name="connsiteY6714" fmla="*/ 4293449 h 5217112"/>
              <a:gd name="connsiteX6715" fmla="*/ 2110962 w 6785952"/>
              <a:gd name="connsiteY6715" fmla="*/ 4281054 h 5217112"/>
              <a:gd name="connsiteX6716" fmla="*/ 2119379 w 6785952"/>
              <a:gd name="connsiteY6716" fmla="*/ 4279505 h 5217112"/>
              <a:gd name="connsiteX6717" fmla="*/ 1090374 w 6785952"/>
              <a:gd name="connsiteY6717" fmla="*/ 4279505 h 5217112"/>
              <a:gd name="connsiteX6718" fmla="*/ 1097289 w 6785952"/>
              <a:gd name="connsiteY6718" fmla="*/ 4280058 h 5217112"/>
              <a:gd name="connsiteX6719" fmla="*/ 1106006 w 6785952"/>
              <a:gd name="connsiteY6719" fmla="*/ 4290572 h 5217112"/>
              <a:gd name="connsiteX6720" fmla="*/ 1090975 w 6785952"/>
              <a:gd name="connsiteY6720" fmla="*/ 4293449 h 5217112"/>
              <a:gd name="connsiteX6721" fmla="*/ 1081656 w 6785952"/>
              <a:gd name="connsiteY6721" fmla="*/ 4281054 h 5217112"/>
              <a:gd name="connsiteX6722" fmla="*/ 1090374 w 6785952"/>
              <a:gd name="connsiteY6722" fmla="*/ 4279505 h 5217112"/>
              <a:gd name="connsiteX6723" fmla="*/ 5654910 w 6785952"/>
              <a:gd name="connsiteY6723" fmla="*/ 4277734 h 5217112"/>
              <a:gd name="connsiteX6724" fmla="*/ 5655811 w 6785952"/>
              <a:gd name="connsiteY6724" fmla="*/ 4283821 h 5217112"/>
              <a:gd name="connsiteX6725" fmla="*/ 5651303 w 6785952"/>
              <a:gd name="connsiteY6725" fmla="*/ 4285591 h 5217112"/>
              <a:gd name="connsiteX6726" fmla="*/ 5654910 w 6785952"/>
              <a:gd name="connsiteY6726" fmla="*/ 4277734 h 5217112"/>
              <a:gd name="connsiteX6727" fmla="*/ 1861151 w 6785952"/>
              <a:gd name="connsiteY6727" fmla="*/ 4277734 h 5217112"/>
              <a:gd name="connsiteX6728" fmla="*/ 1862353 w 6785952"/>
              <a:gd name="connsiteY6728" fmla="*/ 4283821 h 5217112"/>
              <a:gd name="connsiteX6729" fmla="*/ 1857544 w 6785952"/>
              <a:gd name="connsiteY6729" fmla="*/ 4285591 h 5217112"/>
              <a:gd name="connsiteX6730" fmla="*/ 1861151 w 6785952"/>
              <a:gd name="connsiteY6730" fmla="*/ 4277734 h 5217112"/>
              <a:gd name="connsiteX6731" fmla="*/ 5654309 w 6785952"/>
              <a:gd name="connsiteY6731" fmla="*/ 4273196 h 5217112"/>
              <a:gd name="connsiteX6732" fmla="*/ 5654910 w 6785952"/>
              <a:gd name="connsiteY6732" fmla="*/ 4276627 h 5217112"/>
              <a:gd name="connsiteX6733" fmla="*/ 5653407 w 6785952"/>
              <a:gd name="connsiteY6733" fmla="*/ 4276738 h 5217112"/>
              <a:gd name="connsiteX6734" fmla="*/ 5654309 w 6785952"/>
              <a:gd name="connsiteY6734" fmla="*/ 4273196 h 5217112"/>
              <a:gd name="connsiteX6735" fmla="*/ 1860850 w 6785952"/>
              <a:gd name="connsiteY6735" fmla="*/ 4273196 h 5217112"/>
              <a:gd name="connsiteX6736" fmla="*/ 1861151 w 6785952"/>
              <a:gd name="connsiteY6736" fmla="*/ 4276627 h 5217112"/>
              <a:gd name="connsiteX6737" fmla="*/ 1859647 w 6785952"/>
              <a:gd name="connsiteY6737" fmla="*/ 4276738 h 5217112"/>
              <a:gd name="connsiteX6738" fmla="*/ 1860850 w 6785952"/>
              <a:gd name="connsiteY6738" fmla="*/ 4273196 h 5217112"/>
              <a:gd name="connsiteX6739" fmla="*/ 778637 w 6785952"/>
              <a:gd name="connsiteY6739" fmla="*/ 4272864 h 5217112"/>
              <a:gd name="connsiteX6740" fmla="*/ 781943 w 6785952"/>
              <a:gd name="connsiteY6740" fmla="*/ 4274635 h 5217112"/>
              <a:gd name="connsiteX6741" fmla="*/ 784949 w 6785952"/>
              <a:gd name="connsiteY6741" fmla="*/ 4275078 h 5217112"/>
              <a:gd name="connsiteX6742" fmla="*/ 784949 w 6785952"/>
              <a:gd name="connsiteY6742" fmla="*/ 4276627 h 5217112"/>
              <a:gd name="connsiteX6743" fmla="*/ 786453 w 6785952"/>
              <a:gd name="connsiteY6743" fmla="*/ 4278287 h 5217112"/>
              <a:gd name="connsiteX6744" fmla="*/ 783145 w 6785952"/>
              <a:gd name="connsiteY6744" fmla="*/ 4284042 h 5217112"/>
              <a:gd name="connsiteX6745" fmla="*/ 779839 w 6785952"/>
              <a:gd name="connsiteY6745" fmla="*/ 4285591 h 5217112"/>
              <a:gd name="connsiteX6746" fmla="*/ 776833 w 6785952"/>
              <a:gd name="connsiteY6746" fmla="*/ 4284817 h 5217112"/>
              <a:gd name="connsiteX6747" fmla="*/ 775330 w 6785952"/>
              <a:gd name="connsiteY6747" fmla="*/ 4281718 h 5217112"/>
              <a:gd name="connsiteX6748" fmla="*/ 775631 w 6785952"/>
              <a:gd name="connsiteY6748" fmla="*/ 4275520 h 5217112"/>
              <a:gd name="connsiteX6749" fmla="*/ 778637 w 6785952"/>
              <a:gd name="connsiteY6749" fmla="*/ 4272864 h 5217112"/>
              <a:gd name="connsiteX6750" fmla="*/ 2313275 w 6785952"/>
              <a:gd name="connsiteY6750" fmla="*/ 4270762 h 5217112"/>
              <a:gd name="connsiteX6751" fmla="*/ 2306662 w 6785952"/>
              <a:gd name="connsiteY6751" fmla="*/ 4299647 h 5217112"/>
              <a:gd name="connsiteX6752" fmla="*/ 2306662 w 6785952"/>
              <a:gd name="connsiteY6752" fmla="*/ 4300311 h 5217112"/>
              <a:gd name="connsiteX6753" fmla="*/ 2310870 w 6785952"/>
              <a:gd name="connsiteY6753" fmla="*/ 4306951 h 5217112"/>
              <a:gd name="connsiteX6754" fmla="*/ 2311471 w 6785952"/>
              <a:gd name="connsiteY6754" fmla="*/ 4313923 h 5217112"/>
              <a:gd name="connsiteX6755" fmla="*/ 2311171 w 6785952"/>
              <a:gd name="connsiteY6755" fmla="*/ 4314587 h 5217112"/>
              <a:gd name="connsiteX6756" fmla="*/ 2312674 w 6785952"/>
              <a:gd name="connsiteY6756" fmla="*/ 4314255 h 5217112"/>
              <a:gd name="connsiteX6757" fmla="*/ 2315981 w 6785952"/>
              <a:gd name="connsiteY6757" fmla="*/ 4313591 h 5217112"/>
              <a:gd name="connsiteX6758" fmla="*/ 2319287 w 6785952"/>
              <a:gd name="connsiteY6758" fmla="*/ 4317133 h 5217112"/>
              <a:gd name="connsiteX6759" fmla="*/ 2317483 w 6785952"/>
              <a:gd name="connsiteY6759" fmla="*/ 4317797 h 5217112"/>
              <a:gd name="connsiteX6760" fmla="*/ 2312073 w 6785952"/>
              <a:gd name="connsiteY6760" fmla="*/ 4321892 h 5217112"/>
              <a:gd name="connsiteX6761" fmla="*/ 2309668 w 6785952"/>
              <a:gd name="connsiteY6761" fmla="*/ 4316358 h 5217112"/>
              <a:gd name="connsiteX6762" fmla="*/ 2306060 w 6785952"/>
              <a:gd name="connsiteY6762" fmla="*/ 4321449 h 5217112"/>
              <a:gd name="connsiteX6763" fmla="*/ 2299447 w 6785952"/>
              <a:gd name="connsiteY6763" fmla="*/ 4323662 h 5217112"/>
              <a:gd name="connsiteX6764" fmla="*/ 2296741 w 6785952"/>
              <a:gd name="connsiteY6764" fmla="*/ 4328089 h 5217112"/>
              <a:gd name="connsiteX6765" fmla="*/ 2294036 w 6785952"/>
              <a:gd name="connsiteY6765" fmla="*/ 4324548 h 5217112"/>
              <a:gd name="connsiteX6766" fmla="*/ 2284115 w 6785952"/>
              <a:gd name="connsiteY6766" fmla="*/ 4323109 h 5217112"/>
              <a:gd name="connsiteX6767" fmla="*/ 2274496 w 6785952"/>
              <a:gd name="connsiteY6767" fmla="*/ 4315251 h 5217112"/>
              <a:gd name="connsiteX6768" fmla="*/ 2285919 w 6785952"/>
              <a:gd name="connsiteY6768" fmla="*/ 4301085 h 5217112"/>
              <a:gd name="connsiteX6769" fmla="*/ 2286821 w 6785952"/>
              <a:gd name="connsiteY6769" fmla="*/ 4300864 h 5217112"/>
              <a:gd name="connsiteX6770" fmla="*/ 2287423 w 6785952"/>
              <a:gd name="connsiteY6770" fmla="*/ 4298429 h 5217112"/>
              <a:gd name="connsiteX6771" fmla="*/ 2291330 w 6785952"/>
              <a:gd name="connsiteY6771" fmla="*/ 4293117 h 5217112"/>
              <a:gd name="connsiteX6772" fmla="*/ 2294637 w 6785952"/>
              <a:gd name="connsiteY6772" fmla="*/ 4289908 h 5217112"/>
              <a:gd name="connsiteX6773" fmla="*/ 2299447 w 6785952"/>
              <a:gd name="connsiteY6773" fmla="*/ 4278841 h 5217112"/>
              <a:gd name="connsiteX6774" fmla="*/ 2313275 w 6785952"/>
              <a:gd name="connsiteY6774" fmla="*/ 4270762 h 5217112"/>
              <a:gd name="connsiteX6775" fmla="*/ 1284271 w 6785952"/>
              <a:gd name="connsiteY6775" fmla="*/ 4270762 h 5217112"/>
              <a:gd name="connsiteX6776" fmla="*/ 1277657 w 6785952"/>
              <a:gd name="connsiteY6776" fmla="*/ 4299647 h 5217112"/>
              <a:gd name="connsiteX6777" fmla="*/ 1277657 w 6785952"/>
              <a:gd name="connsiteY6777" fmla="*/ 4300311 h 5217112"/>
              <a:gd name="connsiteX6778" fmla="*/ 1281865 w 6785952"/>
              <a:gd name="connsiteY6778" fmla="*/ 4306951 h 5217112"/>
              <a:gd name="connsiteX6779" fmla="*/ 1282466 w 6785952"/>
              <a:gd name="connsiteY6779" fmla="*/ 4313923 h 5217112"/>
              <a:gd name="connsiteX6780" fmla="*/ 1281865 w 6785952"/>
              <a:gd name="connsiteY6780" fmla="*/ 4314587 h 5217112"/>
              <a:gd name="connsiteX6781" fmla="*/ 1283369 w 6785952"/>
              <a:gd name="connsiteY6781" fmla="*/ 4314255 h 5217112"/>
              <a:gd name="connsiteX6782" fmla="*/ 1286676 w 6785952"/>
              <a:gd name="connsiteY6782" fmla="*/ 4313591 h 5217112"/>
              <a:gd name="connsiteX6783" fmla="*/ 1289982 w 6785952"/>
              <a:gd name="connsiteY6783" fmla="*/ 4317133 h 5217112"/>
              <a:gd name="connsiteX6784" fmla="*/ 1288480 w 6785952"/>
              <a:gd name="connsiteY6784" fmla="*/ 4317797 h 5217112"/>
              <a:gd name="connsiteX6785" fmla="*/ 1283069 w 6785952"/>
              <a:gd name="connsiteY6785" fmla="*/ 4321892 h 5217112"/>
              <a:gd name="connsiteX6786" fmla="*/ 1280663 w 6785952"/>
              <a:gd name="connsiteY6786" fmla="*/ 4316358 h 5217112"/>
              <a:gd name="connsiteX6787" fmla="*/ 1277055 w 6785952"/>
              <a:gd name="connsiteY6787" fmla="*/ 4321449 h 5217112"/>
              <a:gd name="connsiteX6788" fmla="*/ 1270142 w 6785952"/>
              <a:gd name="connsiteY6788" fmla="*/ 4323662 h 5217112"/>
              <a:gd name="connsiteX6789" fmla="*/ 1267737 w 6785952"/>
              <a:gd name="connsiteY6789" fmla="*/ 4328089 h 5217112"/>
              <a:gd name="connsiteX6790" fmla="*/ 1265031 w 6785952"/>
              <a:gd name="connsiteY6790" fmla="*/ 4324548 h 5217112"/>
              <a:gd name="connsiteX6791" fmla="*/ 1255111 w 6785952"/>
              <a:gd name="connsiteY6791" fmla="*/ 4323109 h 5217112"/>
              <a:gd name="connsiteX6792" fmla="*/ 1245191 w 6785952"/>
              <a:gd name="connsiteY6792" fmla="*/ 4315251 h 5217112"/>
              <a:gd name="connsiteX6793" fmla="*/ 1256914 w 6785952"/>
              <a:gd name="connsiteY6793" fmla="*/ 4301085 h 5217112"/>
              <a:gd name="connsiteX6794" fmla="*/ 1257817 w 6785952"/>
              <a:gd name="connsiteY6794" fmla="*/ 4300864 h 5217112"/>
              <a:gd name="connsiteX6795" fmla="*/ 1258118 w 6785952"/>
              <a:gd name="connsiteY6795" fmla="*/ 4298429 h 5217112"/>
              <a:gd name="connsiteX6796" fmla="*/ 1262326 w 6785952"/>
              <a:gd name="connsiteY6796" fmla="*/ 4293117 h 5217112"/>
              <a:gd name="connsiteX6797" fmla="*/ 1265632 w 6785952"/>
              <a:gd name="connsiteY6797" fmla="*/ 4289908 h 5217112"/>
              <a:gd name="connsiteX6798" fmla="*/ 1270442 w 6785952"/>
              <a:gd name="connsiteY6798" fmla="*/ 4278841 h 5217112"/>
              <a:gd name="connsiteX6799" fmla="*/ 1284271 w 6785952"/>
              <a:gd name="connsiteY6799" fmla="*/ 4270762 h 5217112"/>
              <a:gd name="connsiteX6800" fmla="*/ 2255857 w 6785952"/>
              <a:gd name="connsiteY6800" fmla="*/ 4269987 h 5217112"/>
              <a:gd name="connsiteX6801" fmla="*/ 2256158 w 6785952"/>
              <a:gd name="connsiteY6801" fmla="*/ 4281497 h 5217112"/>
              <a:gd name="connsiteX6802" fmla="*/ 2254355 w 6785952"/>
              <a:gd name="connsiteY6802" fmla="*/ 4284927 h 5217112"/>
              <a:gd name="connsiteX6803" fmla="*/ 2254656 w 6785952"/>
              <a:gd name="connsiteY6803" fmla="*/ 4284817 h 5217112"/>
              <a:gd name="connsiteX6804" fmla="*/ 2257662 w 6785952"/>
              <a:gd name="connsiteY6804" fmla="*/ 4285924 h 5217112"/>
              <a:gd name="connsiteX6805" fmla="*/ 2257662 w 6785952"/>
              <a:gd name="connsiteY6805" fmla="*/ 4289908 h 5217112"/>
              <a:gd name="connsiteX6806" fmla="*/ 2250446 w 6785952"/>
              <a:gd name="connsiteY6806" fmla="*/ 4294113 h 5217112"/>
              <a:gd name="connsiteX6807" fmla="*/ 2241729 w 6785952"/>
              <a:gd name="connsiteY6807" fmla="*/ 4292121 h 5217112"/>
              <a:gd name="connsiteX6808" fmla="*/ 2236919 w 6785952"/>
              <a:gd name="connsiteY6808" fmla="*/ 4293449 h 5217112"/>
              <a:gd name="connsiteX6809" fmla="*/ 2236017 w 6785952"/>
              <a:gd name="connsiteY6809" fmla="*/ 4292010 h 5217112"/>
              <a:gd name="connsiteX6810" fmla="*/ 2245637 w 6785952"/>
              <a:gd name="connsiteY6810" fmla="*/ 4287694 h 5217112"/>
              <a:gd name="connsiteX6811" fmla="*/ 2250747 w 6785952"/>
              <a:gd name="connsiteY6811" fmla="*/ 4286034 h 5217112"/>
              <a:gd name="connsiteX6812" fmla="*/ 2249846 w 6785952"/>
              <a:gd name="connsiteY6812" fmla="*/ 4284595 h 5217112"/>
              <a:gd name="connsiteX6813" fmla="*/ 2255857 w 6785952"/>
              <a:gd name="connsiteY6813" fmla="*/ 4269987 h 5217112"/>
              <a:gd name="connsiteX6814" fmla="*/ 725127 w 6785952"/>
              <a:gd name="connsiteY6814" fmla="*/ 4269101 h 5217112"/>
              <a:gd name="connsiteX6815" fmla="*/ 738354 w 6785952"/>
              <a:gd name="connsiteY6815" fmla="*/ 4269433 h 5217112"/>
              <a:gd name="connsiteX6816" fmla="*/ 752182 w 6785952"/>
              <a:gd name="connsiteY6816" fmla="*/ 4283931 h 5217112"/>
              <a:gd name="connsiteX6817" fmla="*/ 748875 w 6785952"/>
              <a:gd name="connsiteY6817" fmla="*/ 4290904 h 5217112"/>
              <a:gd name="connsiteX6818" fmla="*/ 714005 w 6785952"/>
              <a:gd name="connsiteY6818" fmla="*/ 4274303 h 5217112"/>
              <a:gd name="connsiteX6819" fmla="*/ 725127 w 6785952"/>
              <a:gd name="connsiteY6819" fmla="*/ 4269101 h 5217112"/>
              <a:gd name="connsiteX6820" fmla="*/ 5666633 w 6785952"/>
              <a:gd name="connsiteY6820" fmla="*/ 4268216 h 5217112"/>
              <a:gd name="connsiteX6821" fmla="*/ 5676554 w 6785952"/>
              <a:gd name="connsiteY6821" fmla="*/ 4272754 h 5217112"/>
              <a:gd name="connsiteX6822" fmla="*/ 5659419 w 6785952"/>
              <a:gd name="connsiteY6822" fmla="*/ 4289354 h 5217112"/>
              <a:gd name="connsiteX6823" fmla="*/ 5666633 w 6785952"/>
              <a:gd name="connsiteY6823" fmla="*/ 4268216 h 5217112"/>
              <a:gd name="connsiteX6824" fmla="*/ 1872874 w 6785952"/>
              <a:gd name="connsiteY6824" fmla="*/ 4268216 h 5217112"/>
              <a:gd name="connsiteX6825" fmla="*/ 1883096 w 6785952"/>
              <a:gd name="connsiteY6825" fmla="*/ 4272754 h 5217112"/>
              <a:gd name="connsiteX6826" fmla="*/ 1865961 w 6785952"/>
              <a:gd name="connsiteY6826" fmla="*/ 4289354 h 5217112"/>
              <a:gd name="connsiteX6827" fmla="*/ 1872874 w 6785952"/>
              <a:gd name="connsiteY6827" fmla="*/ 4268216 h 5217112"/>
              <a:gd name="connsiteX6828" fmla="*/ 5653107 w 6785952"/>
              <a:gd name="connsiteY6828" fmla="*/ 4265560 h 5217112"/>
              <a:gd name="connsiteX6829" fmla="*/ 5654910 w 6785952"/>
              <a:gd name="connsiteY6829" fmla="*/ 4267109 h 5217112"/>
              <a:gd name="connsiteX6830" fmla="*/ 5652205 w 6785952"/>
              <a:gd name="connsiteY6830" fmla="*/ 4268991 h 5217112"/>
              <a:gd name="connsiteX6831" fmla="*/ 5653107 w 6785952"/>
              <a:gd name="connsiteY6831" fmla="*/ 4265560 h 5217112"/>
              <a:gd name="connsiteX6832" fmla="*/ 5857525 w 6785952"/>
              <a:gd name="connsiteY6832" fmla="*/ 4264896 h 5217112"/>
              <a:gd name="connsiteX6833" fmla="*/ 5872856 w 6785952"/>
              <a:gd name="connsiteY6833" fmla="*/ 4288358 h 5217112"/>
              <a:gd name="connsiteX6834" fmla="*/ 5862936 w 6785952"/>
              <a:gd name="connsiteY6834" fmla="*/ 4304074 h 5217112"/>
              <a:gd name="connsiteX6835" fmla="*/ 5861433 w 6785952"/>
              <a:gd name="connsiteY6835" fmla="*/ 4304738 h 5217112"/>
              <a:gd name="connsiteX6836" fmla="*/ 5864739 w 6785952"/>
              <a:gd name="connsiteY6836" fmla="*/ 4310050 h 5217112"/>
              <a:gd name="connsiteX6837" fmla="*/ 5853316 w 6785952"/>
              <a:gd name="connsiteY6837" fmla="*/ 4331188 h 5217112"/>
              <a:gd name="connsiteX6838" fmla="*/ 5839488 w 6785952"/>
              <a:gd name="connsiteY6838" fmla="*/ 4326429 h 5217112"/>
              <a:gd name="connsiteX6839" fmla="*/ 5840389 w 6785952"/>
              <a:gd name="connsiteY6839" fmla="*/ 4311931 h 5217112"/>
              <a:gd name="connsiteX6840" fmla="*/ 5843696 w 6785952"/>
              <a:gd name="connsiteY6840" fmla="*/ 4306398 h 5217112"/>
              <a:gd name="connsiteX6841" fmla="*/ 5841592 w 6785952"/>
              <a:gd name="connsiteY6841" fmla="*/ 4306176 h 5217112"/>
              <a:gd name="connsiteX6842" fmla="*/ 5827162 w 6785952"/>
              <a:gd name="connsiteY6842" fmla="*/ 4287805 h 5217112"/>
              <a:gd name="connsiteX6843" fmla="*/ 5843696 w 6785952"/>
              <a:gd name="connsiteY6843" fmla="*/ 4266556 h 5217112"/>
              <a:gd name="connsiteX6844" fmla="*/ 5857525 w 6785952"/>
              <a:gd name="connsiteY6844" fmla="*/ 4264896 h 5217112"/>
              <a:gd name="connsiteX6845" fmla="*/ 1883997 w 6785952"/>
              <a:gd name="connsiteY6845" fmla="*/ 4264564 h 5217112"/>
              <a:gd name="connsiteX6846" fmla="*/ 1886703 w 6785952"/>
              <a:gd name="connsiteY6846" fmla="*/ 4276738 h 5217112"/>
              <a:gd name="connsiteX6847" fmla="*/ 1883096 w 6785952"/>
              <a:gd name="connsiteY6847" fmla="*/ 4272754 h 5217112"/>
              <a:gd name="connsiteX6848" fmla="*/ 1883997 w 6785952"/>
              <a:gd name="connsiteY6848" fmla="*/ 4264564 h 5217112"/>
              <a:gd name="connsiteX6849" fmla="*/ 854992 w 6785952"/>
              <a:gd name="connsiteY6849" fmla="*/ 4264564 h 5217112"/>
              <a:gd name="connsiteX6850" fmla="*/ 857698 w 6785952"/>
              <a:gd name="connsiteY6850" fmla="*/ 4276738 h 5217112"/>
              <a:gd name="connsiteX6851" fmla="*/ 854992 w 6785952"/>
              <a:gd name="connsiteY6851" fmla="*/ 4264564 h 5217112"/>
              <a:gd name="connsiteX6852" fmla="*/ 5160699 w 6785952"/>
              <a:gd name="connsiteY6852" fmla="*/ 4264343 h 5217112"/>
              <a:gd name="connsiteX6853" fmla="*/ 5171822 w 6785952"/>
              <a:gd name="connsiteY6853" fmla="*/ 4266888 h 5217112"/>
              <a:gd name="connsiteX6854" fmla="*/ 5169718 w 6785952"/>
              <a:gd name="connsiteY6854" fmla="*/ 4267995 h 5217112"/>
              <a:gd name="connsiteX6855" fmla="*/ 5166711 w 6785952"/>
              <a:gd name="connsiteY6855" fmla="*/ 4266999 h 5217112"/>
              <a:gd name="connsiteX6856" fmla="*/ 5160699 w 6785952"/>
              <a:gd name="connsiteY6856" fmla="*/ 4264343 h 5217112"/>
              <a:gd name="connsiteX6857" fmla="*/ 2396245 w 6785952"/>
              <a:gd name="connsiteY6857" fmla="*/ 4264343 h 5217112"/>
              <a:gd name="connsiteX6858" fmla="*/ 2407368 w 6785952"/>
              <a:gd name="connsiteY6858" fmla="*/ 4266888 h 5217112"/>
              <a:gd name="connsiteX6859" fmla="*/ 2405263 w 6785952"/>
              <a:gd name="connsiteY6859" fmla="*/ 4267995 h 5217112"/>
              <a:gd name="connsiteX6860" fmla="*/ 2402257 w 6785952"/>
              <a:gd name="connsiteY6860" fmla="*/ 4266999 h 5217112"/>
              <a:gd name="connsiteX6861" fmla="*/ 2396245 w 6785952"/>
              <a:gd name="connsiteY6861" fmla="*/ 4264343 h 5217112"/>
              <a:gd name="connsiteX6862" fmla="*/ 2648762 w 6785952"/>
              <a:gd name="connsiteY6862" fmla="*/ 4262904 h 5217112"/>
              <a:gd name="connsiteX6863" fmla="*/ 2656277 w 6785952"/>
              <a:gd name="connsiteY6863" fmla="*/ 4263125 h 5217112"/>
              <a:gd name="connsiteX6864" fmla="*/ 2643350 w 6785952"/>
              <a:gd name="connsiteY6864" fmla="*/ 4268880 h 5217112"/>
              <a:gd name="connsiteX6865" fmla="*/ 2648762 w 6785952"/>
              <a:gd name="connsiteY6865" fmla="*/ 4262904 h 5217112"/>
              <a:gd name="connsiteX6866" fmla="*/ 888360 w 6785952"/>
              <a:gd name="connsiteY6866" fmla="*/ 4262904 h 5217112"/>
              <a:gd name="connsiteX6867" fmla="*/ 897680 w 6785952"/>
              <a:gd name="connsiteY6867" fmla="*/ 4264232 h 5217112"/>
              <a:gd name="connsiteX6868" fmla="*/ 898582 w 6785952"/>
              <a:gd name="connsiteY6868" fmla="*/ 4269544 h 5217112"/>
              <a:gd name="connsiteX6869" fmla="*/ 898281 w 6785952"/>
              <a:gd name="connsiteY6869" fmla="*/ 4271204 h 5217112"/>
              <a:gd name="connsiteX6870" fmla="*/ 908502 w 6785952"/>
              <a:gd name="connsiteY6870" fmla="*/ 4270540 h 5217112"/>
              <a:gd name="connsiteX6871" fmla="*/ 907900 w 6785952"/>
              <a:gd name="connsiteY6871" fmla="*/ 4273971 h 5217112"/>
              <a:gd name="connsiteX6872" fmla="*/ 908202 w 6785952"/>
              <a:gd name="connsiteY6872" fmla="*/ 4273528 h 5217112"/>
              <a:gd name="connsiteX6873" fmla="*/ 925637 w 6785952"/>
              <a:gd name="connsiteY6873" fmla="*/ 4272532 h 5217112"/>
              <a:gd name="connsiteX6874" fmla="*/ 929845 w 6785952"/>
              <a:gd name="connsiteY6874" fmla="*/ 4274192 h 5217112"/>
              <a:gd name="connsiteX6875" fmla="*/ 936760 w 6785952"/>
              <a:gd name="connsiteY6875" fmla="*/ 4274856 h 5217112"/>
              <a:gd name="connsiteX6876" fmla="*/ 934956 w 6785952"/>
              <a:gd name="connsiteY6876" fmla="*/ 4294777 h 5217112"/>
              <a:gd name="connsiteX6877" fmla="*/ 910606 w 6785952"/>
              <a:gd name="connsiteY6877" fmla="*/ 4308722 h 5217112"/>
              <a:gd name="connsiteX6878" fmla="*/ 898582 w 6785952"/>
              <a:gd name="connsiteY6878" fmla="*/ 4296105 h 5217112"/>
              <a:gd name="connsiteX6879" fmla="*/ 899483 w 6785952"/>
              <a:gd name="connsiteY6879" fmla="*/ 4285702 h 5217112"/>
              <a:gd name="connsiteX6880" fmla="*/ 902791 w 6785952"/>
              <a:gd name="connsiteY6880" fmla="*/ 4281386 h 5217112"/>
              <a:gd name="connsiteX6881" fmla="*/ 890765 w 6785952"/>
              <a:gd name="connsiteY6881" fmla="*/ 4286034 h 5217112"/>
              <a:gd name="connsiteX6882" fmla="*/ 862508 w 6785952"/>
              <a:gd name="connsiteY6882" fmla="*/ 4286034 h 5217112"/>
              <a:gd name="connsiteX6883" fmla="*/ 882048 w 6785952"/>
              <a:gd name="connsiteY6883" fmla="*/ 4276406 h 5217112"/>
              <a:gd name="connsiteX6884" fmla="*/ 880545 w 6785952"/>
              <a:gd name="connsiteY6884" fmla="*/ 4273860 h 5217112"/>
              <a:gd name="connsiteX6885" fmla="*/ 888360 w 6785952"/>
              <a:gd name="connsiteY6885" fmla="*/ 4262904 h 5217112"/>
              <a:gd name="connsiteX6886" fmla="*/ 827035 w 6785952"/>
              <a:gd name="connsiteY6886" fmla="*/ 4259916 h 5217112"/>
              <a:gd name="connsiteX6887" fmla="*/ 837557 w 6785952"/>
              <a:gd name="connsiteY6887" fmla="*/ 4272200 h 5217112"/>
              <a:gd name="connsiteX6888" fmla="*/ 833349 w 6785952"/>
              <a:gd name="connsiteY6888" fmla="*/ 4273860 h 5217112"/>
              <a:gd name="connsiteX6889" fmla="*/ 822226 w 6785952"/>
              <a:gd name="connsiteY6889" fmla="*/ 4261354 h 5217112"/>
              <a:gd name="connsiteX6890" fmla="*/ 827035 w 6785952"/>
              <a:gd name="connsiteY6890" fmla="*/ 4259916 h 5217112"/>
              <a:gd name="connsiteX6891" fmla="*/ 5298982 w 6785952"/>
              <a:gd name="connsiteY6891" fmla="*/ 4258698 h 5217112"/>
              <a:gd name="connsiteX6892" fmla="*/ 5283650 w 6785952"/>
              <a:gd name="connsiteY6892" fmla="*/ 4272422 h 5217112"/>
              <a:gd name="connsiteX6893" fmla="*/ 5262307 w 6785952"/>
              <a:gd name="connsiteY6893" fmla="*/ 4280390 h 5217112"/>
              <a:gd name="connsiteX6894" fmla="*/ 5298982 w 6785952"/>
              <a:gd name="connsiteY6894" fmla="*/ 4258698 h 5217112"/>
              <a:gd name="connsiteX6895" fmla="*/ 1859346 w 6785952"/>
              <a:gd name="connsiteY6895" fmla="*/ 4255821 h 5217112"/>
              <a:gd name="connsiteX6896" fmla="*/ 1858144 w 6785952"/>
              <a:gd name="connsiteY6896" fmla="*/ 4260690 h 5217112"/>
              <a:gd name="connsiteX6897" fmla="*/ 1859647 w 6785952"/>
              <a:gd name="connsiteY6897" fmla="*/ 4261244 h 5217112"/>
              <a:gd name="connsiteX6898" fmla="*/ 1229558 w 6785952"/>
              <a:gd name="connsiteY6898" fmla="*/ 4251394 h 5217112"/>
              <a:gd name="connsiteX6899" fmla="*/ 1240681 w 6785952"/>
              <a:gd name="connsiteY6899" fmla="*/ 4267884 h 5217112"/>
              <a:gd name="connsiteX6900" fmla="*/ 1235572 w 6785952"/>
              <a:gd name="connsiteY6900" fmla="*/ 4280611 h 5217112"/>
              <a:gd name="connsiteX6901" fmla="*/ 1227154 w 6785952"/>
              <a:gd name="connsiteY6901" fmla="*/ 4286366 h 5217112"/>
              <a:gd name="connsiteX6902" fmla="*/ 1224449 w 6785952"/>
              <a:gd name="connsiteY6902" fmla="*/ 4286588 h 5217112"/>
              <a:gd name="connsiteX6903" fmla="*/ 1223546 w 6785952"/>
              <a:gd name="connsiteY6903" fmla="*/ 4288580 h 5217112"/>
              <a:gd name="connsiteX6904" fmla="*/ 1222344 w 6785952"/>
              <a:gd name="connsiteY6904" fmla="*/ 4286698 h 5217112"/>
              <a:gd name="connsiteX6905" fmla="*/ 1213626 w 6785952"/>
              <a:gd name="connsiteY6905" fmla="*/ 4287584 h 5217112"/>
              <a:gd name="connsiteX6906" fmla="*/ 1207012 w 6785952"/>
              <a:gd name="connsiteY6906" fmla="*/ 4259584 h 5217112"/>
              <a:gd name="connsiteX6907" fmla="*/ 1221141 w 6785952"/>
              <a:gd name="connsiteY6907" fmla="*/ 4251615 h 5217112"/>
              <a:gd name="connsiteX6908" fmla="*/ 1229558 w 6785952"/>
              <a:gd name="connsiteY6908" fmla="*/ 4251394 h 5217112"/>
              <a:gd name="connsiteX6909" fmla="*/ 5719242 w 6785952"/>
              <a:gd name="connsiteY6909" fmla="*/ 4250066 h 5217112"/>
              <a:gd name="connsiteX6910" fmla="*/ 5716235 w 6785952"/>
              <a:gd name="connsiteY6910" fmla="*/ 4257260 h 5217112"/>
              <a:gd name="connsiteX6911" fmla="*/ 5714132 w 6785952"/>
              <a:gd name="connsiteY6911" fmla="*/ 4261133 h 5217112"/>
              <a:gd name="connsiteX6912" fmla="*/ 5713531 w 6785952"/>
              <a:gd name="connsiteY6912" fmla="*/ 4264453 h 5217112"/>
              <a:gd name="connsiteX6913" fmla="*/ 5708119 w 6785952"/>
              <a:gd name="connsiteY6913" fmla="*/ 4269323 h 5217112"/>
              <a:gd name="connsiteX6914" fmla="*/ 5708720 w 6785952"/>
              <a:gd name="connsiteY6914" fmla="*/ 4266003 h 5217112"/>
              <a:gd name="connsiteX6915" fmla="*/ 5711124 w 6785952"/>
              <a:gd name="connsiteY6915" fmla="*/ 4262129 h 5217112"/>
              <a:gd name="connsiteX6916" fmla="*/ 5710223 w 6785952"/>
              <a:gd name="connsiteY6916" fmla="*/ 4259252 h 5217112"/>
              <a:gd name="connsiteX6917" fmla="*/ 5719242 w 6785952"/>
              <a:gd name="connsiteY6917" fmla="*/ 4250066 h 5217112"/>
              <a:gd name="connsiteX6918" fmla="*/ 1925482 w 6785952"/>
              <a:gd name="connsiteY6918" fmla="*/ 4250066 h 5217112"/>
              <a:gd name="connsiteX6919" fmla="*/ 1922476 w 6785952"/>
              <a:gd name="connsiteY6919" fmla="*/ 4257260 h 5217112"/>
              <a:gd name="connsiteX6920" fmla="*/ 1920371 w 6785952"/>
              <a:gd name="connsiteY6920" fmla="*/ 4261133 h 5217112"/>
              <a:gd name="connsiteX6921" fmla="*/ 1919770 w 6785952"/>
              <a:gd name="connsiteY6921" fmla="*/ 4262240 h 5217112"/>
              <a:gd name="connsiteX6922" fmla="*/ 1919770 w 6785952"/>
              <a:gd name="connsiteY6922" fmla="*/ 4262904 h 5217112"/>
              <a:gd name="connsiteX6923" fmla="*/ 1921875 w 6785952"/>
              <a:gd name="connsiteY6923" fmla="*/ 4262904 h 5217112"/>
              <a:gd name="connsiteX6924" fmla="*/ 1926985 w 6785952"/>
              <a:gd name="connsiteY6924" fmla="*/ 4264232 h 5217112"/>
              <a:gd name="connsiteX6925" fmla="*/ 1927587 w 6785952"/>
              <a:gd name="connsiteY6925" fmla="*/ 4269544 h 5217112"/>
              <a:gd name="connsiteX6926" fmla="*/ 1927587 w 6785952"/>
              <a:gd name="connsiteY6926" fmla="*/ 4271204 h 5217112"/>
              <a:gd name="connsiteX6927" fmla="*/ 1937507 w 6785952"/>
              <a:gd name="connsiteY6927" fmla="*/ 4270540 h 5217112"/>
              <a:gd name="connsiteX6928" fmla="*/ 1937245 w 6785952"/>
              <a:gd name="connsiteY6928" fmla="*/ 4273526 h 5217112"/>
              <a:gd name="connsiteX6929" fmla="*/ 1937206 w 6785952"/>
              <a:gd name="connsiteY6929" fmla="*/ 4273528 h 5217112"/>
              <a:gd name="connsiteX6930" fmla="*/ 1937206 w 6785952"/>
              <a:gd name="connsiteY6930" fmla="*/ 4273971 h 5217112"/>
              <a:gd name="connsiteX6931" fmla="*/ 1937245 w 6785952"/>
              <a:gd name="connsiteY6931" fmla="*/ 4273526 h 5217112"/>
              <a:gd name="connsiteX6932" fmla="*/ 1954943 w 6785952"/>
              <a:gd name="connsiteY6932" fmla="*/ 4272532 h 5217112"/>
              <a:gd name="connsiteX6933" fmla="*/ 1958850 w 6785952"/>
              <a:gd name="connsiteY6933" fmla="*/ 4274192 h 5217112"/>
              <a:gd name="connsiteX6934" fmla="*/ 1966065 w 6785952"/>
              <a:gd name="connsiteY6934" fmla="*/ 4274856 h 5217112"/>
              <a:gd name="connsiteX6935" fmla="*/ 1963961 w 6785952"/>
              <a:gd name="connsiteY6935" fmla="*/ 4294777 h 5217112"/>
              <a:gd name="connsiteX6936" fmla="*/ 1939611 w 6785952"/>
              <a:gd name="connsiteY6936" fmla="*/ 4308722 h 5217112"/>
              <a:gd name="connsiteX6937" fmla="*/ 1927887 w 6785952"/>
              <a:gd name="connsiteY6937" fmla="*/ 4296105 h 5217112"/>
              <a:gd name="connsiteX6938" fmla="*/ 1928488 w 6785952"/>
              <a:gd name="connsiteY6938" fmla="*/ 4285702 h 5217112"/>
              <a:gd name="connsiteX6939" fmla="*/ 1931795 w 6785952"/>
              <a:gd name="connsiteY6939" fmla="*/ 4281386 h 5217112"/>
              <a:gd name="connsiteX6940" fmla="*/ 1920071 w 6785952"/>
              <a:gd name="connsiteY6940" fmla="*/ 4286034 h 5217112"/>
              <a:gd name="connsiteX6941" fmla="*/ 1891813 w 6785952"/>
              <a:gd name="connsiteY6941" fmla="*/ 4286034 h 5217112"/>
              <a:gd name="connsiteX6942" fmla="*/ 1911053 w 6785952"/>
              <a:gd name="connsiteY6942" fmla="*/ 4276406 h 5217112"/>
              <a:gd name="connsiteX6943" fmla="*/ 1909851 w 6785952"/>
              <a:gd name="connsiteY6943" fmla="*/ 4273860 h 5217112"/>
              <a:gd name="connsiteX6944" fmla="*/ 1913758 w 6785952"/>
              <a:gd name="connsiteY6944" fmla="*/ 4265892 h 5217112"/>
              <a:gd name="connsiteX6945" fmla="*/ 1916464 w 6785952"/>
              <a:gd name="connsiteY6945" fmla="*/ 4263568 h 5217112"/>
              <a:gd name="connsiteX6946" fmla="*/ 1917365 w 6785952"/>
              <a:gd name="connsiteY6946" fmla="*/ 4262129 h 5217112"/>
              <a:gd name="connsiteX6947" fmla="*/ 1916464 w 6785952"/>
              <a:gd name="connsiteY6947" fmla="*/ 4259252 h 5217112"/>
              <a:gd name="connsiteX6948" fmla="*/ 1925482 w 6785952"/>
              <a:gd name="connsiteY6948" fmla="*/ 4250066 h 5217112"/>
              <a:gd name="connsiteX6949" fmla="*/ 5210301 w 6785952"/>
              <a:gd name="connsiteY6949" fmla="*/ 4247521 h 5217112"/>
              <a:gd name="connsiteX6950" fmla="*/ 5223528 w 6785952"/>
              <a:gd name="connsiteY6950" fmla="*/ 4256374 h 5217112"/>
              <a:gd name="connsiteX6951" fmla="*/ 5188356 w 6785952"/>
              <a:gd name="connsiteY6951" fmla="*/ 4288469 h 5217112"/>
              <a:gd name="connsiteX6952" fmla="*/ 5210301 w 6785952"/>
              <a:gd name="connsiteY6952" fmla="*/ 4247521 h 5217112"/>
              <a:gd name="connsiteX6953" fmla="*/ 2293435 w 6785952"/>
              <a:gd name="connsiteY6953" fmla="*/ 4243868 h 5217112"/>
              <a:gd name="connsiteX6954" fmla="*/ 2297943 w 6785952"/>
              <a:gd name="connsiteY6954" fmla="*/ 4244090 h 5217112"/>
              <a:gd name="connsiteX6955" fmla="*/ 2305459 w 6785952"/>
              <a:gd name="connsiteY6955" fmla="*/ 4249291 h 5217112"/>
              <a:gd name="connsiteX6956" fmla="*/ 2303655 w 6785952"/>
              <a:gd name="connsiteY6956" fmla="*/ 4255710 h 5217112"/>
              <a:gd name="connsiteX6957" fmla="*/ 2299146 w 6785952"/>
              <a:gd name="connsiteY6957" fmla="*/ 4257592 h 5217112"/>
              <a:gd name="connsiteX6958" fmla="*/ 2289827 w 6785952"/>
              <a:gd name="connsiteY6958" fmla="*/ 4245418 h 5217112"/>
              <a:gd name="connsiteX6959" fmla="*/ 2293435 w 6785952"/>
              <a:gd name="connsiteY6959" fmla="*/ 4243868 h 5217112"/>
              <a:gd name="connsiteX6960" fmla="*/ 1264130 w 6785952"/>
              <a:gd name="connsiteY6960" fmla="*/ 4243868 h 5217112"/>
              <a:gd name="connsiteX6961" fmla="*/ 1268940 w 6785952"/>
              <a:gd name="connsiteY6961" fmla="*/ 4244090 h 5217112"/>
              <a:gd name="connsiteX6962" fmla="*/ 1276154 w 6785952"/>
              <a:gd name="connsiteY6962" fmla="*/ 4249291 h 5217112"/>
              <a:gd name="connsiteX6963" fmla="*/ 1274351 w 6785952"/>
              <a:gd name="connsiteY6963" fmla="*/ 4255710 h 5217112"/>
              <a:gd name="connsiteX6964" fmla="*/ 1270142 w 6785952"/>
              <a:gd name="connsiteY6964" fmla="*/ 4257592 h 5217112"/>
              <a:gd name="connsiteX6965" fmla="*/ 1260823 w 6785952"/>
              <a:gd name="connsiteY6965" fmla="*/ 4245418 h 5217112"/>
              <a:gd name="connsiteX6966" fmla="*/ 1264130 w 6785952"/>
              <a:gd name="connsiteY6966" fmla="*/ 4243868 h 5217112"/>
              <a:gd name="connsiteX6967" fmla="*/ 5810628 w 6785952"/>
              <a:gd name="connsiteY6967" fmla="*/ 4240991 h 5217112"/>
              <a:gd name="connsiteX6968" fmla="*/ 5817543 w 6785952"/>
              <a:gd name="connsiteY6968" fmla="*/ 4247742 h 5217112"/>
              <a:gd name="connsiteX6969" fmla="*/ 5806420 w 6785952"/>
              <a:gd name="connsiteY6969" fmla="*/ 4252943 h 5217112"/>
              <a:gd name="connsiteX6970" fmla="*/ 5805818 w 6785952"/>
              <a:gd name="connsiteY6970" fmla="*/ 4241876 h 5217112"/>
              <a:gd name="connsiteX6971" fmla="*/ 5810628 w 6785952"/>
              <a:gd name="connsiteY6971" fmla="*/ 4240991 h 5217112"/>
              <a:gd name="connsiteX6972" fmla="*/ 2076391 w 6785952"/>
              <a:gd name="connsiteY6972" fmla="*/ 4240991 h 5217112"/>
              <a:gd name="connsiteX6973" fmla="*/ 2077593 w 6785952"/>
              <a:gd name="connsiteY6973" fmla="*/ 4241766 h 5217112"/>
              <a:gd name="connsiteX6974" fmla="*/ 2083305 w 6785952"/>
              <a:gd name="connsiteY6974" fmla="*/ 4244754 h 5217112"/>
              <a:gd name="connsiteX6975" fmla="*/ 2083004 w 6785952"/>
              <a:gd name="connsiteY6975" fmla="*/ 4252833 h 5217112"/>
              <a:gd name="connsiteX6976" fmla="*/ 2073084 w 6785952"/>
              <a:gd name="connsiteY6976" fmla="*/ 4250951 h 5217112"/>
              <a:gd name="connsiteX6977" fmla="*/ 2072783 w 6785952"/>
              <a:gd name="connsiteY6977" fmla="*/ 4242651 h 5217112"/>
              <a:gd name="connsiteX6978" fmla="*/ 2076391 w 6785952"/>
              <a:gd name="connsiteY6978" fmla="*/ 4240991 h 5217112"/>
              <a:gd name="connsiteX6979" fmla="*/ 1047086 w 6785952"/>
              <a:gd name="connsiteY6979" fmla="*/ 4240991 h 5217112"/>
              <a:gd name="connsiteX6980" fmla="*/ 1048588 w 6785952"/>
              <a:gd name="connsiteY6980" fmla="*/ 4241766 h 5217112"/>
              <a:gd name="connsiteX6981" fmla="*/ 1054300 w 6785952"/>
              <a:gd name="connsiteY6981" fmla="*/ 4244754 h 5217112"/>
              <a:gd name="connsiteX6982" fmla="*/ 1053699 w 6785952"/>
              <a:gd name="connsiteY6982" fmla="*/ 4252833 h 5217112"/>
              <a:gd name="connsiteX6983" fmla="*/ 1043778 w 6785952"/>
              <a:gd name="connsiteY6983" fmla="*/ 4250951 h 5217112"/>
              <a:gd name="connsiteX6984" fmla="*/ 1043778 w 6785952"/>
              <a:gd name="connsiteY6984" fmla="*/ 4242651 h 5217112"/>
              <a:gd name="connsiteX6985" fmla="*/ 1047086 w 6785952"/>
              <a:gd name="connsiteY6985" fmla="*/ 4240991 h 5217112"/>
              <a:gd name="connsiteX6986" fmla="*/ 2511380 w 6785952"/>
              <a:gd name="connsiteY6986" fmla="*/ 4239995 h 5217112"/>
              <a:gd name="connsiteX6987" fmla="*/ 2509878 w 6785952"/>
              <a:gd name="connsiteY6987" fmla="*/ 4242208 h 5217112"/>
              <a:gd name="connsiteX6988" fmla="*/ 2512283 w 6785952"/>
              <a:gd name="connsiteY6988" fmla="*/ 4246082 h 5217112"/>
              <a:gd name="connsiteX6989" fmla="*/ 2513785 w 6785952"/>
              <a:gd name="connsiteY6989" fmla="*/ 4251505 h 5217112"/>
              <a:gd name="connsiteX6990" fmla="*/ 2514086 w 6785952"/>
              <a:gd name="connsiteY6990" fmla="*/ 4251505 h 5217112"/>
              <a:gd name="connsiteX6991" fmla="*/ 2513785 w 6785952"/>
              <a:gd name="connsiteY6991" fmla="*/ 4246414 h 5217112"/>
              <a:gd name="connsiteX6992" fmla="*/ 6296423 w 6785952"/>
              <a:gd name="connsiteY6992" fmla="*/ 4238778 h 5217112"/>
              <a:gd name="connsiteX6993" fmla="*/ 6307545 w 6785952"/>
              <a:gd name="connsiteY6993" fmla="*/ 4251505 h 5217112"/>
              <a:gd name="connsiteX6994" fmla="*/ 6310851 w 6785952"/>
              <a:gd name="connsiteY6994" fmla="*/ 4251173 h 5217112"/>
              <a:gd name="connsiteX6995" fmla="*/ 6316564 w 6785952"/>
              <a:gd name="connsiteY6995" fmla="*/ 4254714 h 5217112"/>
              <a:gd name="connsiteX6996" fmla="*/ 6314759 w 6785952"/>
              <a:gd name="connsiteY6996" fmla="*/ 4257702 h 5217112"/>
              <a:gd name="connsiteX6997" fmla="*/ 6307545 w 6785952"/>
              <a:gd name="connsiteY6997" fmla="*/ 4254825 h 5217112"/>
              <a:gd name="connsiteX6998" fmla="*/ 6306042 w 6785952"/>
              <a:gd name="connsiteY6998" fmla="*/ 4255600 h 5217112"/>
              <a:gd name="connsiteX6999" fmla="*/ 6304538 w 6785952"/>
              <a:gd name="connsiteY6999" fmla="*/ 4259916 h 5217112"/>
              <a:gd name="connsiteX7000" fmla="*/ 6290411 w 6785952"/>
              <a:gd name="connsiteY7000" fmla="*/ 4267884 h 5217112"/>
              <a:gd name="connsiteX7001" fmla="*/ 6278385 w 6785952"/>
              <a:gd name="connsiteY7001" fmla="*/ 4255932 h 5217112"/>
              <a:gd name="connsiteX7002" fmla="*/ 6278987 w 6785952"/>
              <a:gd name="connsiteY7002" fmla="*/ 4247078 h 5217112"/>
              <a:gd name="connsiteX7003" fmla="*/ 6296423 w 6785952"/>
              <a:gd name="connsiteY7003" fmla="*/ 4238778 h 5217112"/>
              <a:gd name="connsiteX7004" fmla="*/ 2686940 w 6785952"/>
              <a:gd name="connsiteY7004" fmla="*/ 4238556 h 5217112"/>
              <a:gd name="connsiteX7005" fmla="*/ 2686037 w 6785952"/>
              <a:gd name="connsiteY7005" fmla="*/ 4239331 h 5217112"/>
              <a:gd name="connsiteX7006" fmla="*/ 2686940 w 6785952"/>
              <a:gd name="connsiteY7006" fmla="*/ 4240216 h 5217112"/>
              <a:gd name="connsiteX7007" fmla="*/ 2688442 w 6785952"/>
              <a:gd name="connsiteY7007" fmla="*/ 4241323 h 5217112"/>
              <a:gd name="connsiteX7008" fmla="*/ 2691148 w 6785952"/>
              <a:gd name="connsiteY7008" fmla="*/ 4240106 h 5217112"/>
              <a:gd name="connsiteX7009" fmla="*/ 2595252 w 6785952"/>
              <a:gd name="connsiteY7009" fmla="*/ 4238003 h 5217112"/>
              <a:gd name="connsiteX7010" fmla="*/ 2607577 w 6785952"/>
              <a:gd name="connsiteY7010" fmla="*/ 4258034 h 5217112"/>
              <a:gd name="connsiteX7011" fmla="*/ 2603670 w 6785952"/>
              <a:gd name="connsiteY7011" fmla="*/ 4278177 h 5217112"/>
              <a:gd name="connsiteX7012" fmla="*/ 2595252 w 6785952"/>
              <a:gd name="connsiteY7012" fmla="*/ 4238003 h 5217112"/>
              <a:gd name="connsiteX7013" fmla="*/ 5273128 w 6785952"/>
              <a:gd name="connsiteY7013" fmla="*/ 4236675 h 5217112"/>
              <a:gd name="connsiteX7014" fmla="*/ 5274031 w 6785952"/>
              <a:gd name="connsiteY7014" fmla="*/ 4241876 h 5217112"/>
              <a:gd name="connsiteX7015" fmla="*/ 5269823 w 6785952"/>
              <a:gd name="connsiteY7015" fmla="*/ 4246967 h 5217112"/>
              <a:gd name="connsiteX7016" fmla="*/ 5256896 w 6785952"/>
              <a:gd name="connsiteY7016" fmla="*/ 4253607 h 5217112"/>
              <a:gd name="connsiteX7017" fmla="*/ 5248779 w 6785952"/>
              <a:gd name="connsiteY7017" fmla="*/ 4255268 h 5217112"/>
              <a:gd name="connsiteX7018" fmla="*/ 5253289 w 6785952"/>
              <a:gd name="connsiteY7018" fmla="*/ 4258920 h 5217112"/>
              <a:gd name="connsiteX7019" fmla="*/ 5252386 w 6785952"/>
              <a:gd name="connsiteY7019" fmla="*/ 4287362 h 5217112"/>
              <a:gd name="connsiteX7020" fmla="*/ 5236154 w 6785952"/>
              <a:gd name="connsiteY7020" fmla="*/ 4288358 h 5217112"/>
              <a:gd name="connsiteX7021" fmla="*/ 5235552 w 6785952"/>
              <a:gd name="connsiteY7021" fmla="*/ 4259694 h 5217112"/>
              <a:gd name="connsiteX7022" fmla="*/ 5239460 w 6785952"/>
              <a:gd name="connsiteY7022" fmla="*/ 4257038 h 5217112"/>
              <a:gd name="connsiteX7023" fmla="*/ 5237957 w 6785952"/>
              <a:gd name="connsiteY7023" fmla="*/ 4257370 h 5217112"/>
              <a:gd name="connsiteX7024" fmla="*/ 5230141 w 6785952"/>
              <a:gd name="connsiteY7024" fmla="*/ 4251283 h 5217112"/>
              <a:gd name="connsiteX7025" fmla="*/ 5235252 w 6785952"/>
              <a:gd name="connsiteY7025" fmla="*/ 4249402 h 5217112"/>
              <a:gd name="connsiteX7026" fmla="*/ 5237657 w 6785952"/>
              <a:gd name="connsiteY7026" fmla="*/ 4244090 h 5217112"/>
              <a:gd name="connsiteX7027" fmla="*/ 5247577 w 6785952"/>
              <a:gd name="connsiteY7027" fmla="*/ 4238335 h 5217112"/>
              <a:gd name="connsiteX7028" fmla="*/ 5248779 w 6785952"/>
              <a:gd name="connsiteY7028" fmla="*/ 4243868 h 5217112"/>
              <a:gd name="connsiteX7029" fmla="*/ 5248479 w 6785952"/>
              <a:gd name="connsiteY7029" fmla="*/ 4244422 h 5217112"/>
              <a:gd name="connsiteX7030" fmla="*/ 5252989 w 6785952"/>
              <a:gd name="connsiteY7030" fmla="*/ 4242872 h 5217112"/>
              <a:gd name="connsiteX7031" fmla="*/ 5273128 w 6785952"/>
              <a:gd name="connsiteY7031" fmla="*/ 4236675 h 5217112"/>
              <a:gd name="connsiteX7032" fmla="*/ 2006648 w 6785952"/>
              <a:gd name="connsiteY7032" fmla="*/ 4231695 h 5217112"/>
              <a:gd name="connsiteX7033" fmla="*/ 2019875 w 6785952"/>
              <a:gd name="connsiteY7033" fmla="*/ 4241434 h 5217112"/>
              <a:gd name="connsiteX7034" fmla="*/ 2019574 w 6785952"/>
              <a:gd name="connsiteY7034" fmla="*/ 4241987 h 5217112"/>
              <a:gd name="connsiteX7035" fmla="*/ 2020476 w 6785952"/>
              <a:gd name="connsiteY7035" fmla="*/ 4242098 h 5217112"/>
              <a:gd name="connsiteX7036" fmla="*/ 2023784 w 6785952"/>
              <a:gd name="connsiteY7036" fmla="*/ 4247742 h 5217112"/>
              <a:gd name="connsiteX7037" fmla="*/ 2012961 w 6785952"/>
              <a:gd name="connsiteY7037" fmla="*/ 4252943 h 5217112"/>
              <a:gd name="connsiteX7038" fmla="*/ 2011458 w 6785952"/>
              <a:gd name="connsiteY7038" fmla="*/ 4249623 h 5217112"/>
              <a:gd name="connsiteX7039" fmla="*/ 2006047 w 6785952"/>
              <a:gd name="connsiteY7039" fmla="*/ 4251726 h 5217112"/>
              <a:gd name="connsiteX7040" fmla="*/ 2006648 w 6785952"/>
              <a:gd name="connsiteY7040" fmla="*/ 4231695 h 5217112"/>
              <a:gd name="connsiteX7041" fmla="*/ 977644 w 6785952"/>
              <a:gd name="connsiteY7041" fmla="*/ 4231695 h 5217112"/>
              <a:gd name="connsiteX7042" fmla="*/ 990870 w 6785952"/>
              <a:gd name="connsiteY7042" fmla="*/ 4241434 h 5217112"/>
              <a:gd name="connsiteX7043" fmla="*/ 977042 w 6785952"/>
              <a:gd name="connsiteY7043" fmla="*/ 4251726 h 5217112"/>
              <a:gd name="connsiteX7044" fmla="*/ 977644 w 6785952"/>
              <a:gd name="connsiteY7044" fmla="*/ 4231695 h 5217112"/>
              <a:gd name="connsiteX7045" fmla="*/ 2694154 w 6785952"/>
              <a:gd name="connsiteY7045" fmla="*/ 4228485 h 5217112"/>
              <a:gd name="connsiteX7046" fmla="*/ 2695357 w 6785952"/>
              <a:gd name="connsiteY7046" fmla="*/ 4235347 h 5217112"/>
              <a:gd name="connsiteX7047" fmla="*/ 2699265 w 6785952"/>
              <a:gd name="connsiteY7047" fmla="*/ 4241102 h 5217112"/>
              <a:gd name="connsiteX7048" fmla="*/ 2695357 w 6785952"/>
              <a:gd name="connsiteY7048" fmla="*/ 4229924 h 5217112"/>
              <a:gd name="connsiteX7049" fmla="*/ 2695357 w 6785952"/>
              <a:gd name="connsiteY7049" fmla="*/ 4228928 h 5217112"/>
              <a:gd name="connsiteX7050" fmla="*/ 6029777 w 6785952"/>
              <a:gd name="connsiteY7050" fmla="*/ 4225497 h 5217112"/>
              <a:gd name="connsiteX7051" fmla="*/ 6031580 w 6785952"/>
              <a:gd name="connsiteY7051" fmla="*/ 4227378 h 5217112"/>
              <a:gd name="connsiteX7052" fmla="*/ 6030679 w 6785952"/>
              <a:gd name="connsiteY7052" fmla="*/ 4231695 h 5217112"/>
              <a:gd name="connsiteX7053" fmla="*/ 6024667 w 6785952"/>
              <a:gd name="connsiteY7053" fmla="*/ 4229481 h 5217112"/>
              <a:gd name="connsiteX7054" fmla="*/ 6029777 w 6785952"/>
              <a:gd name="connsiteY7054" fmla="*/ 4225497 h 5217112"/>
              <a:gd name="connsiteX7055" fmla="*/ 2236017 w 6785952"/>
              <a:gd name="connsiteY7055" fmla="*/ 4225497 h 5217112"/>
              <a:gd name="connsiteX7056" fmla="*/ 2237821 w 6785952"/>
              <a:gd name="connsiteY7056" fmla="*/ 4227378 h 5217112"/>
              <a:gd name="connsiteX7057" fmla="*/ 2236919 w 6785952"/>
              <a:gd name="connsiteY7057" fmla="*/ 4231695 h 5217112"/>
              <a:gd name="connsiteX7058" fmla="*/ 2230907 w 6785952"/>
              <a:gd name="connsiteY7058" fmla="*/ 4229481 h 5217112"/>
              <a:gd name="connsiteX7059" fmla="*/ 2236017 w 6785952"/>
              <a:gd name="connsiteY7059" fmla="*/ 4225497 h 5217112"/>
              <a:gd name="connsiteX7060" fmla="*/ 1949531 w 6785952"/>
              <a:gd name="connsiteY7060" fmla="*/ 4225386 h 5217112"/>
              <a:gd name="connsiteX7061" fmla="*/ 1950433 w 6785952"/>
              <a:gd name="connsiteY7061" fmla="*/ 4226493 h 5217112"/>
              <a:gd name="connsiteX7062" fmla="*/ 1948630 w 6785952"/>
              <a:gd name="connsiteY7062" fmla="*/ 4228596 h 5217112"/>
              <a:gd name="connsiteX7063" fmla="*/ 1949531 w 6785952"/>
              <a:gd name="connsiteY7063" fmla="*/ 4225386 h 5217112"/>
              <a:gd name="connsiteX7064" fmla="*/ 920226 w 6785952"/>
              <a:gd name="connsiteY7064" fmla="*/ 4225386 h 5217112"/>
              <a:gd name="connsiteX7065" fmla="*/ 921128 w 6785952"/>
              <a:gd name="connsiteY7065" fmla="*/ 4226493 h 5217112"/>
              <a:gd name="connsiteX7066" fmla="*/ 919625 w 6785952"/>
              <a:gd name="connsiteY7066" fmla="*/ 4228596 h 5217112"/>
              <a:gd name="connsiteX7067" fmla="*/ 920226 w 6785952"/>
              <a:gd name="connsiteY7067" fmla="*/ 4225386 h 5217112"/>
              <a:gd name="connsiteX7068" fmla="*/ 5824758 w 6785952"/>
              <a:gd name="connsiteY7068" fmla="*/ 4225276 h 5217112"/>
              <a:gd name="connsiteX7069" fmla="*/ 5828063 w 6785952"/>
              <a:gd name="connsiteY7069" fmla="*/ 4229481 h 5217112"/>
              <a:gd name="connsiteX7070" fmla="*/ 5814236 w 6785952"/>
              <a:gd name="connsiteY7070" fmla="*/ 4228706 h 5217112"/>
              <a:gd name="connsiteX7071" fmla="*/ 5824758 w 6785952"/>
              <a:gd name="connsiteY7071" fmla="*/ 4225276 h 5217112"/>
              <a:gd name="connsiteX7072" fmla="*/ 6092605 w 6785952"/>
              <a:gd name="connsiteY7072" fmla="*/ 4223948 h 5217112"/>
              <a:gd name="connsiteX7073" fmla="*/ 6097115 w 6785952"/>
              <a:gd name="connsiteY7073" fmla="*/ 4226493 h 5217112"/>
              <a:gd name="connsiteX7074" fmla="*/ 6098317 w 6785952"/>
              <a:gd name="connsiteY7074" fmla="*/ 4230809 h 5217112"/>
              <a:gd name="connsiteX7075" fmla="*/ 6089599 w 6785952"/>
              <a:gd name="connsiteY7075" fmla="*/ 4235679 h 5217112"/>
              <a:gd name="connsiteX7076" fmla="*/ 6088998 w 6785952"/>
              <a:gd name="connsiteY7076" fmla="*/ 4224280 h 5217112"/>
              <a:gd name="connsiteX7077" fmla="*/ 6092605 w 6785952"/>
              <a:gd name="connsiteY7077" fmla="*/ 4223948 h 5217112"/>
              <a:gd name="connsiteX7078" fmla="*/ 6042703 w 6785952"/>
              <a:gd name="connsiteY7078" fmla="*/ 4222952 h 5217112"/>
              <a:gd name="connsiteX7079" fmla="*/ 6045409 w 6785952"/>
              <a:gd name="connsiteY7079" fmla="*/ 4224944 h 5217112"/>
              <a:gd name="connsiteX7080" fmla="*/ 6047814 w 6785952"/>
              <a:gd name="connsiteY7080" fmla="*/ 4227932 h 5217112"/>
              <a:gd name="connsiteX7081" fmla="*/ 6048415 w 6785952"/>
              <a:gd name="connsiteY7081" fmla="*/ 4236453 h 5217112"/>
              <a:gd name="connsiteX7082" fmla="*/ 6043605 w 6785952"/>
              <a:gd name="connsiteY7082" fmla="*/ 4241876 h 5217112"/>
              <a:gd name="connsiteX7083" fmla="*/ 6040900 w 6785952"/>
              <a:gd name="connsiteY7083" fmla="*/ 4243204 h 5217112"/>
              <a:gd name="connsiteX7084" fmla="*/ 6038794 w 6785952"/>
              <a:gd name="connsiteY7084" fmla="*/ 4241987 h 5217112"/>
              <a:gd name="connsiteX7085" fmla="*/ 6037893 w 6785952"/>
              <a:gd name="connsiteY7085" fmla="*/ 4242983 h 5217112"/>
              <a:gd name="connsiteX7086" fmla="*/ 6033383 w 6785952"/>
              <a:gd name="connsiteY7086" fmla="*/ 4245528 h 5217112"/>
              <a:gd name="connsiteX7087" fmla="*/ 6030679 w 6785952"/>
              <a:gd name="connsiteY7087" fmla="*/ 4242540 h 5217112"/>
              <a:gd name="connsiteX7088" fmla="*/ 6029477 w 6785952"/>
              <a:gd name="connsiteY7088" fmla="*/ 4241102 h 5217112"/>
              <a:gd name="connsiteX7089" fmla="*/ 6026470 w 6785952"/>
              <a:gd name="connsiteY7089" fmla="*/ 4243426 h 5217112"/>
              <a:gd name="connsiteX7090" fmla="*/ 6022261 w 6785952"/>
              <a:gd name="connsiteY7090" fmla="*/ 4247521 h 5217112"/>
              <a:gd name="connsiteX7091" fmla="*/ 6014445 w 6785952"/>
              <a:gd name="connsiteY7091" fmla="*/ 4228928 h 5217112"/>
              <a:gd name="connsiteX7092" fmla="*/ 6020758 w 6785952"/>
              <a:gd name="connsiteY7092" fmla="*/ 4228153 h 5217112"/>
              <a:gd name="connsiteX7093" fmla="*/ 6027071 w 6785952"/>
              <a:gd name="connsiteY7093" fmla="*/ 4231584 h 5217112"/>
              <a:gd name="connsiteX7094" fmla="*/ 6029477 w 6785952"/>
              <a:gd name="connsiteY7094" fmla="*/ 4238003 h 5217112"/>
              <a:gd name="connsiteX7095" fmla="*/ 6030378 w 6785952"/>
              <a:gd name="connsiteY7095" fmla="*/ 4236675 h 5217112"/>
              <a:gd name="connsiteX7096" fmla="*/ 6033383 w 6785952"/>
              <a:gd name="connsiteY7096" fmla="*/ 4236011 h 5217112"/>
              <a:gd name="connsiteX7097" fmla="*/ 6032482 w 6785952"/>
              <a:gd name="connsiteY7097" fmla="*/ 4232359 h 5217112"/>
              <a:gd name="connsiteX7098" fmla="*/ 6042703 w 6785952"/>
              <a:gd name="connsiteY7098" fmla="*/ 4222952 h 5217112"/>
              <a:gd name="connsiteX7099" fmla="*/ 2249244 w 6785952"/>
              <a:gd name="connsiteY7099" fmla="*/ 4222952 h 5217112"/>
              <a:gd name="connsiteX7100" fmla="*/ 2251950 w 6785952"/>
              <a:gd name="connsiteY7100" fmla="*/ 4224944 h 5217112"/>
              <a:gd name="connsiteX7101" fmla="*/ 2254055 w 6785952"/>
              <a:gd name="connsiteY7101" fmla="*/ 4227932 h 5217112"/>
              <a:gd name="connsiteX7102" fmla="*/ 2254956 w 6785952"/>
              <a:gd name="connsiteY7102" fmla="*/ 4236453 h 5217112"/>
              <a:gd name="connsiteX7103" fmla="*/ 2250146 w 6785952"/>
              <a:gd name="connsiteY7103" fmla="*/ 4241876 h 5217112"/>
              <a:gd name="connsiteX7104" fmla="*/ 2247140 w 6785952"/>
              <a:gd name="connsiteY7104" fmla="*/ 4243204 h 5217112"/>
              <a:gd name="connsiteX7105" fmla="*/ 2245035 w 6785952"/>
              <a:gd name="connsiteY7105" fmla="*/ 4241987 h 5217112"/>
              <a:gd name="connsiteX7106" fmla="*/ 2244134 w 6785952"/>
              <a:gd name="connsiteY7106" fmla="*/ 4242983 h 5217112"/>
              <a:gd name="connsiteX7107" fmla="*/ 2239624 w 6785952"/>
              <a:gd name="connsiteY7107" fmla="*/ 4245528 h 5217112"/>
              <a:gd name="connsiteX7108" fmla="*/ 2237220 w 6785952"/>
              <a:gd name="connsiteY7108" fmla="*/ 4242540 h 5217112"/>
              <a:gd name="connsiteX7109" fmla="*/ 2235717 w 6785952"/>
              <a:gd name="connsiteY7109" fmla="*/ 4241102 h 5217112"/>
              <a:gd name="connsiteX7110" fmla="*/ 2233011 w 6785952"/>
              <a:gd name="connsiteY7110" fmla="*/ 4243426 h 5217112"/>
              <a:gd name="connsiteX7111" fmla="*/ 2228502 w 6785952"/>
              <a:gd name="connsiteY7111" fmla="*/ 4247521 h 5217112"/>
              <a:gd name="connsiteX7112" fmla="*/ 2220686 w 6785952"/>
              <a:gd name="connsiteY7112" fmla="*/ 4228928 h 5217112"/>
              <a:gd name="connsiteX7113" fmla="*/ 2226999 w 6785952"/>
              <a:gd name="connsiteY7113" fmla="*/ 4228153 h 5217112"/>
              <a:gd name="connsiteX7114" fmla="*/ 2233312 w 6785952"/>
              <a:gd name="connsiteY7114" fmla="*/ 4231584 h 5217112"/>
              <a:gd name="connsiteX7115" fmla="*/ 2235717 w 6785952"/>
              <a:gd name="connsiteY7115" fmla="*/ 4238003 h 5217112"/>
              <a:gd name="connsiteX7116" fmla="*/ 2236919 w 6785952"/>
              <a:gd name="connsiteY7116" fmla="*/ 4236675 h 5217112"/>
              <a:gd name="connsiteX7117" fmla="*/ 2239624 w 6785952"/>
              <a:gd name="connsiteY7117" fmla="*/ 4236011 h 5217112"/>
              <a:gd name="connsiteX7118" fmla="*/ 2239023 w 6785952"/>
              <a:gd name="connsiteY7118" fmla="*/ 4232359 h 5217112"/>
              <a:gd name="connsiteX7119" fmla="*/ 2249244 w 6785952"/>
              <a:gd name="connsiteY7119" fmla="*/ 4222952 h 5217112"/>
              <a:gd name="connsiteX7120" fmla="*/ 1560236 w 6785952"/>
              <a:gd name="connsiteY7120" fmla="*/ 4222730 h 5217112"/>
              <a:gd name="connsiteX7121" fmla="*/ 1552419 w 6785952"/>
              <a:gd name="connsiteY7121" fmla="*/ 4230477 h 5217112"/>
              <a:gd name="connsiteX7122" fmla="*/ 1547609 w 6785952"/>
              <a:gd name="connsiteY7122" fmla="*/ 4235789 h 5217112"/>
              <a:gd name="connsiteX7123" fmla="*/ 1547609 w 6785952"/>
              <a:gd name="connsiteY7123" fmla="*/ 4236121 h 5217112"/>
              <a:gd name="connsiteX7124" fmla="*/ 1559633 w 6785952"/>
              <a:gd name="connsiteY7124" fmla="*/ 4236675 h 5217112"/>
              <a:gd name="connsiteX7125" fmla="*/ 1573161 w 6785952"/>
              <a:gd name="connsiteY7125" fmla="*/ 4234683 h 5217112"/>
              <a:gd name="connsiteX7126" fmla="*/ 1566849 w 6785952"/>
              <a:gd name="connsiteY7126" fmla="*/ 4228485 h 5217112"/>
              <a:gd name="connsiteX7127" fmla="*/ 1562640 w 6785952"/>
              <a:gd name="connsiteY7127" fmla="*/ 4223284 h 5217112"/>
              <a:gd name="connsiteX7128" fmla="*/ 1561738 w 6785952"/>
              <a:gd name="connsiteY7128" fmla="*/ 4222730 h 5217112"/>
              <a:gd name="connsiteX7129" fmla="*/ 2545049 w 6785952"/>
              <a:gd name="connsiteY7129" fmla="*/ 4221513 h 5217112"/>
              <a:gd name="connsiteX7130" fmla="*/ 2545651 w 6785952"/>
              <a:gd name="connsiteY7130" fmla="*/ 4224169 h 5217112"/>
              <a:gd name="connsiteX7131" fmla="*/ 2564890 w 6785952"/>
              <a:gd name="connsiteY7131" fmla="*/ 4247521 h 5217112"/>
              <a:gd name="connsiteX7132" fmla="*/ 2565792 w 6785952"/>
              <a:gd name="connsiteY7132" fmla="*/ 4244422 h 5217112"/>
              <a:gd name="connsiteX7133" fmla="*/ 2565491 w 6785952"/>
              <a:gd name="connsiteY7133" fmla="*/ 4244422 h 5217112"/>
              <a:gd name="connsiteX7134" fmla="*/ 2562185 w 6785952"/>
              <a:gd name="connsiteY7134" fmla="*/ 4237117 h 5217112"/>
              <a:gd name="connsiteX7135" fmla="*/ 2563988 w 6785952"/>
              <a:gd name="connsiteY7135" fmla="*/ 4229149 h 5217112"/>
              <a:gd name="connsiteX7136" fmla="*/ 2561583 w 6785952"/>
              <a:gd name="connsiteY7136" fmla="*/ 4227157 h 5217112"/>
              <a:gd name="connsiteX7137" fmla="*/ 2549258 w 6785952"/>
              <a:gd name="connsiteY7137" fmla="*/ 4221623 h 5217112"/>
              <a:gd name="connsiteX7138" fmla="*/ 704084 w 6785952"/>
              <a:gd name="connsiteY7138" fmla="*/ 4219410 h 5217112"/>
              <a:gd name="connsiteX7139" fmla="*/ 712501 w 6785952"/>
              <a:gd name="connsiteY7139" fmla="*/ 4225718 h 5217112"/>
              <a:gd name="connsiteX7140" fmla="*/ 692060 w 6785952"/>
              <a:gd name="connsiteY7140" fmla="*/ 4239663 h 5217112"/>
              <a:gd name="connsiteX7141" fmla="*/ 704084 w 6785952"/>
              <a:gd name="connsiteY7141" fmla="*/ 4219410 h 5217112"/>
              <a:gd name="connsiteX7142" fmla="*/ 2271189 w 6785952"/>
              <a:gd name="connsiteY7142" fmla="*/ 4217861 h 5217112"/>
              <a:gd name="connsiteX7143" fmla="*/ 2279907 w 6785952"/>
              <a:gd name="connsiteY7143" fmla="*/ 4227600 h 5217112"/>
              <a:gd name="connsiteX7144" fmla="*/ 2266680 w 6785952"/>
              <a:gd name="connsiteY7144" fmla="*/ 4220074 h 5217112"/>
              <a:gd name="connsiteX7145" fmla="*/ 2271189 w 6785952"/>
              <a:gd name="connsiteY7145" fmla="*/ 4217861 h 5217112"/>
              <a:gd name="connsiteX7146" fmla="*/ 1242185 w 6785952"/>
              <a:gd name="connsiteY7146" fmla="*/ 4217861 h 5217112"/>
              <a:gd name="connsiteX7147" fmla="*/ 1250902 w 6785952"/>
              <a:gd name="connsiteY7147" fmla="*/ 4227600 h 5217112"/>
              <a:gd name="connsiteX7148" fmla="*/ 1237675 w 6785952"/>
              <a:gd name="connsiteY7148" fmla="*/ 4220074 h 5217112"/>
              <a:gd name="connsiteX7149" fmla="*/ 1242185 w 6785952"/>
              <a:gd name="connsiteY7149" fmla="*/ 4217861 h 5217112"/>
              <a:gd name="connsiteX7150" fmla="*/ 6214054 w 6785952"/>
              <a:gd name="connsiteY7150" fmla="*/ 4217750 h 5217112"/>
              <a:gd name="connsiteX7151" fmla="*/ 6224876 w 6785952"/>
              <a:gd name="connsiteY7151" fmla="*/ 4229260 h 5217112"/>
              <a:gd name="connsiteX7152" fmla="*/ 6226980 w 6785952"/>
              <a:gd name="connsiteY7152" fmla="*/ 4234461 h 5217112"/>
              <a:gd name="connsiteX7153" fmla="*/ 6226379 w 6785952"/>
              <a:gd name="connsiteY7153" fmla="*/ 4233244 h 5217112"/>
              <a:gd name="connsiteX7154" fmla="*/ 6225477 w 6785952"/>
              <a:gd name="connsiteY7154" fmla="*/ 4235236 h 5217112"/>
              <a:gd name="connsiteX7155" fmla="*/ 6212551 w 6785952"/>
              <a:gd name="connsiteY7155" fmla="*/ 4218525 h 5217112"/>
              <a:gd name="connsiteX7156" fmla="*/ 6214054 w 6785952"/>
              <a:gd name="connsiteY7156" fmla="*/ 4217750 h 5217112"/>
              <a:gd name="connsiteX7157" fmla="*/ 5875561 w 6785952"/>
              <a:gd name="connsiteY7157" fmla="*/ 4216643 h 5217112"/>
              <a:gd name="connsiteX7158" fmla="*/ 5882175 w 6785952"/>
              <a:gd name="connsiteY7158" fmla="*/ 4218414 h 5217112"/>
              <a:gd name="connsiteX7159" fmla="*/ 5882475 w 6785952"/>
              <a:gd name="connsiteY7159" fmla="*/ 4223062 h 5217112"/>
              <a:gd name="connsiteX7160" fmla="*/ 5874059 w 6785952"/>
              <a:gd name="connsiteY7160" fmla="*/ 4221181 h 5217112"/>
              <a:gd name="connsiteX7161" fmla="*/ 5875561 w 6785952"/>
              <a:gd name="connsiteY7161" fmla="*/ 4216643 h 5217112"/>
              <a:gd name="connsiteX7162" fmla="*/ 5859328 w 6785952"/>
              <a:gd name="connsiteY7162" fmla="*/ 4214651 h 5217112"/>
              <a:gd name="connsiteX7163" fmla="*/ 5864739 w 6785952"/>
              <a:gd name="connsiteY7163" fmla="*/ 4216311 h 5217112"/>
              <a:gd name="connsiteX7164" fmla="*/ 5864739 w 6785952"/>
              <a:gd name="connsiteY7164" fmla="*/ 4217750 h 5217112"/>
              <a:gd name="connsiteX7165" fmla="*/ 5856623 w 6785952"/>
              <a:gd name="connsiteY7165" fmla="*/ 4217418 h 5217112"/>
              <a:gd name="connsiteX7166" fmla="*/ 5859328 w 6785952"/>
              <a:gd name="connsiteY7166" fmla="*/ 4214651 h 5217112"/>
              <a:gd name="connsiteX7167" fmla="*/ 2065869 w 6785952"/>
              <a:gd name="connsiteY7167" fmla="*/ 4214651 h 5217112"/>
              <a:gd name="connsiteX7168" fmla="*/ 2070980 w 6785952"/>
              <a:gd name="connsiteY7168" fmla="*/ 4216311 h 5217112"/>
              <a:gd name="connsiteX7169" fmla="*/ 2071281 w 6785952"/>
              <a:gd name="connsiteY7169" fmla="*/ 4217750 h 5217112"/>
              <a:gd name="connsiteX7170" fmla="*/ 2063164 w 6785952"/>
              <a:gd name="connsiteY7170" fmla="*/ 4217418 h 5217112"/>
              <a:gd name="connsiteX7171" fmla="*/ 2065869 w 6785952"/>
              <a:gd name="connsiteY7171" fmla="*/ 4214651 h 5217112"/>
              <a:gd name="connsiteX7172" fmla="*/ 5730665 w 6785952"/>
              <a:gd name="connsiteY7172" fmla="*/ 4214319 h 5217112"/>
              <a:gd name="connsiteX7173" fmla="*/ 5739383 w 6785952"/>
              <a:gd name="connsiteY7173" fmla="*/ 4221734 h 5217112"/>
              <a:gd name="connsiteX7174" fmla="*/ 5737879 w 6785952"/>
              <a:gd name="connsiteY7174" fmla="*/ 4237449 h 5217112"/>
              <a:gd name="connsiteX7175" fmla="*/ 5726456 w 6785952"/>
              <a:gd name="connsiteY7175" fmla="*/ 4214983 h 5217112"/>
              <a:gd name="connsiteX7176" fmla="*/ 5730665 w 6785952"/>
              <a:gd name="connsiteY7176" fmla="*/ 4214319 h 5217112"/>
              <a:gd name="connsiteX7177" fmla="*/ 6217661 w 6785952"/>
              <a:gd name="connsiteY7177" fmla="*/ 4211884 h 5217112"/>
              <a:gd name="connsiteX7178" fmla="*/ 6243213 w 6785952"/>
              <a:gd name="connsiteY7178" fmla="*/ 4226493 h 5217112"/>
              <a:gd name="connsiteX7179" fmla="*/ 6237501 w 6785952"/>
              <a:gd name="connsiteY7179" fmla="*/ 4229924 h 5217112"/>
              <a:gd name="connsiteX7180" fmla="*/ 6235999 w 6785952"/>
              <a:gd name="connsiteY7180" fmla="*/ 4227378 h 5217112"/>
              <a:gd name="connsiteX7181" fmla="*/ 6217661 w 6785952"/>
              <a:gd name="connsiteY7181" fmla="*/ 4211884 h 5217112"/>
              <a:gd name="connsiteX7182" fmla="*/ 2424202 w 6785952"/>
              <a:gd name="connsiteY7182" fmla="*/ 4211884 h 5217112"/>
              <a:gd name="connsiteX7183" fmla="*/ 2449454 w 6785952"/>
              <a:gd name="connsiteY7183" fmla="*/ 4226493 h 5217112"/>
              <a:gd name="connsiteX7184" fmla="*/ 2443742 w 6785952"/>
              <a:gd name="connsiteY7184" fmla="*/ 4229924 h 5217112"/>
              <a:gd name="connsiteX7185" fmla="*/ 2442239 w 6785952"/>
              <a:gd name="connsiteY7185" fmla="*/ 4227378 h 5217112"/>
              <a:gd name="connsiteX7186" fmla="*/ 2424202 w 6785952"/>
              <a:gd name="connsiteY7186" fmla="*/ 4211884 h 5217112"/>
              <a:gd name="connsiteX7187" fmla="*/ 5353694 w 6785952"/>
              <a:gd name="connsiteY7187" fmla="*/ 4210003 h 5217112"/>
              <a:gd name="connsiteX7188" fmla="*/ 5353394 w 6785952"/>
              <a:gd name="connsiteY7188" fmla="*/ 4212770 h 5217112"/>
              <a:gd name="connsiteX7189" fmla="*/ 5356098 w 6785952"/>
              <a:gd name="connsiteY7189" fmla="*/ 4211995 h 5217112"/>
              <a:gd name="connsiteX7190" fmla="*/ 5356098 w 6785952"/>
              <a:gd name="connsiteY7190" fmla="*/ 4210778 h 5217112"/>
              <a:gd name="connsiteX7191" fmla="*/ 5354896 w 6785952"/>
              <a:gd name="connsiteY7191" fmla="*/ 4210335 h 5217112"/>
              <a:gd name="connsiteX7192" fmla="*/ 6022562 w 6785952"/>
              <a:gd name="connsiteY7192" fmla="*/ 4209339 h 5217112"/>
              <a:gd name="connsiteX7193" fmla="*/ 6025268 w 6785952"/>
              <a:gd name="connsiteY7193" fmla="*/ 4211331 h 5217112"/>
              <a:gd name="connsiteX7194" fmla="*/ 6014746 w 6785952"/>
              <a:gd name="connsiteY7194" fmla="*/ 4219299 h 5217112"/>
              <a:gd name="connsiteX7195" fmla="*/ 6012040 w 6785952"/>
              <a:gd name="connsiteY7195" fmla="*/ 4217307 h 5217112"/>
              <a:gd name="connsiteX7196" fmla="*/ 6013844 w 6785952"/>
              <a:gd name="connsiteY7196" fmla="*/ 4213212 h 5217112"/>
              <a:gd name="connsiteX7197" fmla="*/ 6022562 w 6785952"/>
              <a:gd name="connsiteY7197" fmla="*/ 4209339 h 5217112"/>
              <a:gd name="connsiteX7198" fmla="*/ 1663346 w 6785952"/>
              <a:gd name="connsiteY7198" fmla="*/ 4209339 h 5217112"/>
              <a:gd name="connsiteX7199" fmla="*/ 1654027 w 6785952"/>
              <a:gd name="connsiteY7199" fmla="*/ 4212548 h 5217112"/>
              <a:gd name="connsiteX7200" fmla="*/ 1665450 w 6785952"/>
              <a:gd name="connsiteY7200" fmla="*/ 4215979 h 5217112"/>
              <a:gd name="connsiteX7201" fmla="*/ 1667254 w 6785952"/>
              <a:gd name="connsiteY7201" fmla="*/ 4216533 h 5217112"/>
              <a:gd name="connsiteX7202" fmla="*/ 1667855 w 6785952"/>
              <a:gd name="connsiteY7202" fmla="*/ 4211442 h 5217112"/>
              <a:gd name="connsiteX7203" fmla="*/ 1057607 w 6785952"/>
              <a:gd name="connsiteY7203" fmla="*/ 4209118 h 5217112"/>
              <a:gd name="connsiteX7204" fmla="*/ 1063018 w 6785952"/>
              <a:gd name="connsiteY7204" fmla="*/ 4209228 h 5217112"/>
              <a:gd name="connsiteX7205" fmla="*/ 1046183 w 6785952"/>
              <a:gd name="connsiteY7205" fmla="*/ 4220295 h 5217112"/>
              <a:gd name="connsiteX7206" fmla="*/ 1057607 w 6785952"/>
              <a:gd name="connsiteY7206" fmla="*/ 4209118 h 5217112"/>
              <a:gd name="connsiteX7207" fmla="*/ 1567750 w 6785952"/>
              <a:gd name="connsiteY7207" fmla="*/ 4208786 h 5217112"/>
              <a:gd name="connsiteX7208" fmla="*/ 1567149 w 6785952"/>
              <a:gd name="connsiteY7208" fmla="*/ 4210335 h 5217112"/>
              <a:gd name="connsiteX7209" fmla="*/ 1569554 w 6785952"/>
              <a:gd name="connsiteY7209" fmla="*/ 4209560 h 5217112"/>
              <a:gd name="connsiteX7210" fmla="*/ 1522658 w 6785952"/>
              <a:gd name="connsiteY7210" fmla="*/ 4208232 h 5217112"/>
              <a:gd name="connsiteX7211" fmla="*/ 1510634 w 6785952"/>
              <a:gd name="connsiteY7211" fmla="*/ 4211110 h 5217112"/>
              <a:gd name="connsiteX7212" fmla="*/ 1506725 w 6785952"/>
              <a:gd name="connsiteY7212" fmla="*/ 4216865 h 5217112"/>
              <a:gd name="connsiteX7213" fmla="*/ 1509731 w 6785952"/>
              <a:gd name="connsiteY7213" fmla="*/ 4217861 h 5217112"/>
              <a:gd name="connsiteX7214" fmla="*/ 1516045 w 6785952"/>
              <a:gd name="connsiteY7214" fmla="*/ 4217197 h 5217112"/>
              <a:gd name="connsiteX7215" fmla="*/ 1522658 w 6785952"/>
              <a:gd name="connsiteY7215" fmla="*/ 4208232 h 5217112"/>
              <a:gd name="connsiteX7216" fmla="*/ 6446129 w 6785952"/>
              <a:gd name="connsiteY7216" fmla="*/ 4207458 h 5217112"/>
              <a:gd name="connsiteX7217" fmla="*/ 6457853 w 6785952"/>
              <a:gd name="connsiteY7217" fmla="*/ 4210556 h 5217112"/>
              <a:gd name="connsiteX7218" fmla="*/ 6443723 w 6785952"/>
              <a:gd name="connsiteY7218" fmla="*/ 4263679 h 5217112"/>
              <a:gd name="connsiteX7219" fmla="*/ 6446129 w 6785952"/>
              <a:gd name="connsiteY7219" fmla="*/ 4207458 h 5217112"/>
              <a:gd name="connsiteX7220" fmla="*/ 2256460 w 6785952"/>
              <a:gd name="connsiteY7220" fmla="*/ 4207015 h 5217112"/>
              <a:gd name="connsiteX7221" fmla="*/ 2249846 w 6785952"/>
              <a:gd name="connsiteY7221" fmla="*/ 4210778 h 5217112"/>
              <a:gd name="connsiteX7222" fmla="*/ 2256460 w 6785952"/>
              <a:gd name="connsiteY7222" fmla="*/ 4207015 h 5217112"/>
              <a:gd name="connsiteX7223" fmla="*/ 1227455 w 6785952"/>
              <a:gd name="connsiteY7223" fmla="*/ 4207015 h 5217112"/>
              <a:gd name="connsiteX7224" fmla="*/ 1220841 w 6785952"/>
              <a:gd name="connsiteY7224" fmla="*/ 4210778 h 5217112"/>
              <a:gd name="connsiteX7225" fmla="*/ 1227455 w 6785952"/>
              <a:gd name="connsiteY7225" fmla="*/ 4207015 h 5217112"/>
              <a:gd name="connsiteX7226" fmla="*/ 6205335 w 6785952"/>
              <a:gd name="connsiteY7226" fmla="*/ 4205465 h 5217112"/>
              <a:gd name="connsiteX7227" fmla="*/ 6212551 w 6785952"/>
              <a:gd name="connsiteY7227" fmla="*/ 4208232 h 5217112"/>
              <a:gd name="connsiteX7228" fmla="*/ 6211649 w 6785952"/>
              <a:gd name="connsiteY7228" fmla="*/ 4210446 h 5217112"/>
              <a:gd name="connsiteX7229" fmla="*/ 6205335 w 6785952"/>
              <a:gd name="connsiteY7229" fmla="*/ 4205465 h 5217112"/>
              <a:gd name="connsiteX7230" fmla="*/ 716409 w 6785952"/>
              <a:gd name="connsiteY7230" fmla="*/ 4203363 h 5217112"/>
              <a:gd name="connsiteX7231" fmla="*/ 723624 w 6785952"/>
              <a:gd name="connsiteY7231" fmla="*/ 4204137 h 5217112"/>
              <a:gd name="connsiteX7232" fmla="*/ 728735 w 6785952"/>
              <a:gd name="connsiteY7232" fmla="*/ 4210667 h 5217112"/>
              <a:gd name="connsiteX7233" fmla="*/ 722120 w 6785952"/>
              <a:gd name="connsiteY7233" fmla="*/ 4216090 h 5217112"/>
              <a:gd name="connsiteX7234" fmla="*/ 713703 w 6785952"/>
              <a:gd name="connsiteY7234" fmla="*/ 4216422 h 5217112"/>
              <a:gd name="connsiteX7235" fmla="*/ 711299 w 6785952"/>
              <a:gd name="connsiteY7235" fmla="*/ 4212659 h 5217112"/>
              <a:gd name="connsiteX7236" fmla="*/ 710397 w 6785952"/>
              <a:gd name="connsiteY7236" fmla="*/ 4206351 h 5217112"/>
              <a:gd name="connsiteX7237" fmla="*/ 716409 w 6785952"/>
              <a:gd name="connsiteY7237" fmla="*/ 4203363 h 5217112"/>
              <a:gd name="connsiteX7238" fmla="*/ 1933599 w 6785952"/>
              <a:gd name="connsiteY7238" fmla="*/ 4202809 h 5217112"/>
              <a:gd name="connsiteX7239" fmla="*/ 1937206 w 6785952"/>
              <a:gd name="connsiteY7239" fmla="*/ 4210888 h 5217112"/>
              <a:gd name="connsiteX7240" fmla="*/ 1939310 w 6785952"/>
              <a:gd name="connsiteY7240" fmla="*/ 4215537 h 5217112"/>
              <a:gd name="connsiteX7241" fmla="*/ 1940814 w 6785952"/>
              <a:gd name="connsiteY7241" fmla="*/ 4215647 h 5217112"/>
              <a:gd name="connsiteX7242" fmla="*/ 1945623 w 6785952"/>
              <a:gd name="connsiteY7242" fmla="*/ 4221734 h 5217112"/>
              <a:gd name="connsiteX7243" fmla="*/ 1944120 w 6785952"/>
              <a:gd name="connsiteY7243" fmla="*/ 4237449 h 5217112"/>
              <a:gd name="connsiteX7244" fmla="*/ 1938409 w 6785952"/>
              <a:gd name="connsiteY7244" fmla="*/ 4233465 h 5217112"/>
              <a:gd name="connsiteX7245" fmla="*/ 1937206 w 6785952"/>
              <a:gd name="connsiteY7245" fmla="*/ 4237781 h 5217112"/>
              <a:gd name="connsiteX7246" fmla="*/ 1933599 w 6785952"/>
              <a:gd name="connsiteY7246" fmla="*/ 4202809 h 5217112"/>
              <a:gd name="connsiteX7247" fmla="*/ 904293 w 6785952"/>
              <a:gd name="connsiteY7247" fmla="*/ 4202809 h 5217112"/>
              <a:gd name="connsiteX7248" fmla="*/ 912109 w 6785952"/>
              <a:gd name="connsiteY7248" fmla="*/ 4220074 h 5217112"/>
              <a:gd name="connsiteX7249" fmla="*/ 908202 w 6785952"/>
              <a:gd name="connsiteY7249" fmla="*/ 4237781 h 5217112"/>
              <a:gd name="connsiteX7250" fmla="*/ 904293 w 6785952"/>
              <a:gd name="connsiteY7250" fmla="*/ 4202809 h 5217112"/>
              <a:gd name="connsiteX7251" fmla="*/ 1391891 w 6785952"/>
              <a:gd name="connsiteY7251" fmla="*/ 4199157 h 5217112"/>
              <a:gd name="connsiteX7252" fmla="*/ 1397302 w 6785952"/>
              <a:gd name="connsiteY7252" fmla="*/ 4224612 h 5217112"/>
              <a:gd name="connsiteX7253" fmla="*/ 1387682 w 6785952"/>
              <a:gd name="connsiteY7253" fmla="*/ 4231473 h 5217112"/>
              <a:gd name="connsiteX7254" fmla="*/ 1386480 w 6785952"/>
              <a:gd name="connsiteY7254" fmla="*/ 4233576 h 5217112"/>
              <a:gd name="connsiteX7255" fmla="*/ 1392792 w 6785952"/>
              <a:gd name="connsiteY7255" fmla="*/ 4235457 h 5217112"/>
              <a:gd name="connsiteX7256" fmla="*/ 1418344 w 6785952"/>
              <a:gd name="connsiteY7256" fmla="*/ 4236675 h 5217112"/>
              <a:gd name="connsiteX7257" fmla="*/ 1412332 w 6785952"/>
              <a:gd name="connsiteY7257" fmla="*/ 4231141 h 5217112"/>
              <a:gd name="connsiteX7258" fmla="*/ 1400008 w 6785952"/>
              <a:gd name="connsiteY7258" fmla="*/ 4229702 h 5217112"/>
              <a:gd name="connsiteX7259" fmla="*/ 1411130 w 6785952"/>
              <a:gd name="connsiteY7259" fmla="*/ 4227268 h 5217112"/>
              <a:gd name="connsiteX7260" fmla="*/ 1422253 w 6785952"/>
              <a:gd name="connsiteY7260" fmla="*/ 4225718 h 5217112"/>
              <a:gd name="connsiteX7261" fmla="*/ 1445400 w 6785952"/>
              <a:gd name="connsiteY7261" fmla="*/ 4229260 h 5217112"/>
              <a:gd name="connsiteX7262" fmla="*/ 1495302 w 6785952"/>
              <a:gd name="connsiteY7262" fmla="*/ 4233797 h 5217112"/>
              <a:gd name="connsiteX7263" fmla="*/ 1503118 w 6785952"/>
              <a:gd name="connsiteY7263" fmla="*/ 4241102 h 5217112"/>
              <a:gd name="connsiteX7264" fmla="*/ 1522057 w 6785952"/>
              <a:gd name="connsiteY7264" fmla="*/ 4236121 h 5217112"/>
              <a:gd name="connsiteX7265" fmla="*/ 1533480 w 6785952"/>
              <a:gd name="connsiteY7265" fmla="*/ 4236011 h 5217112"/>
              <a:gd name="connsiteX7266" fmla="*/ 1534983 w 6785952"/>
              <a:gd name="connsiteY7266" fmla="*/ 4229038 h 5217112"/>
              <a:gd name="connsiteX7267" fmla="*/ 1541898 w 6785952"/>
              <a:gd name="connsiteY7267" fmla="*/ 4216754 h 5217112"/>
              <a:gd name="connsiteX7268" fmla="*/ 1543702 w 6785952"/>
              <a:gd name="connsiteY7268" fmla="*/ 4213876 h 5217112"/>
              <a:gd name="connsiteX7269" fmla="*/ 1544904 w 6785952"/>
              <a:gd name="connsiteY7269" fmla="*/ 4212991 h 5217112"/>
              <a:gd name="connsiteX7270" fmla="*/ 1545805 w 6785952"/>
              <a:gd name="connsiteY7270" fmla="*/ 4213434 h 5217112"/>
              <a:gd name="connsiteX7271" fmla="*/ 1546106 w 6785952"/>
              <a:gd name="connsiteY7271" fmla="*/ 4213434 h 5217112"/>
              <a:gd name="connsiteX7272" fmla="*/ 1546708 w 6785952"/>
              <a:gd name="connsiteY7272" fmla="*/ 4212770 h 5217112"/>
              <a:gd name="connsiteX7273" fmla="*/ 1546708 w 6785952"/>
              <a:gd name="connsiteY7273" fmla="*/ 4212659 h 5217112"/>
              <a:gd name="connsiteX7274" fmla="*/ 1547008 w 6785952"/>
              <a:gd name="connsiteY7274" fmla="*/ 4210335 h 5217112"/>
              <a:gd name="connsiteX7275" fmla="*/ 1540394 w 6785952"/>
              <a:gd name="connsiteY7275" fmla="*/ 4213876 h 5217112"/>
              <a:gd name="connsiteX7276" fmla="*/ 1527168 w 6785952"/>
              <a:gd name="connsiteY7276" fmla="*/ 4221845 h 5217112"/>
              <a:gd name="connsiteX7277" fmla="*/ 1527769 w 6785952"/>
              <a:gd name="connsiteY7277" fmla="*/ 4217086 h 5217112"/>
              <a:gd name="connsiteX7278" fmla="*/ 1507026 w 6785952"/>
              <a:gd name="connsiteY7278" fmla="*/ 4223173 h 5217112"/>
              <a:gd name="connsiteX7279" fmla="*/ 1505223 w 6785952"/>
              <a:gd name="connsiteY7279" fmla="*/ 4219189 h 5217112"/>
              <a:gd name="connsiteX7280" fmla="*/ 1504320 w 6785952"/>
              <a:gd name="connsiteY7280" fmla="*/ 4220849 h 5217112"/>
              <a:gd name="connsiteX7281" fmla="*/ 1488689 w 6785952"/>
              <a:gd name="connsiteY7281" fmla="*/ 4224390 h 5217112"/>
              <a:gd name="connsiteX7282" fmla="*/ 1485383 w 6785952"/>
              <a:gd name="connsiteY7282" fmla="*/ 4221070 h 5217112"/>
              <a:gd name="connsiteX7283" fmla="*/ 1489290 w 6785952"/>
              <a:gd name="connsiteY7283" fmla="*/ 4209671 h 5217112"/>
              <a:gd name="connsiteX7284" fmla="*/ 1487185 w 6785952"/>
              <a:gd name="connsiteY7284" fmla="*/ 4209450 h 5217112"/>
              <a:gd name="connsiteX7285" fmla="*/ 1464339 w 6785952"/>
              <a:gd name="connsiteY7285" fmla="*/ 4208343 h 5217112"/>
              <a:gd name="connsiteX7286" fmla="*/ 1441492 w 6785952"/>
              <a:gd name="connsiteY7286" fmla="*/ 4209892 h 5217112"/>
              <a:gd name="connsiteX7287" fmla="*/ 1439688 w 6785952"/>
              <a:gd name="connsiteY7287" fmla="*/ 4201924 h 5217112"/>
              <a:gd name="connsiteX7288" fmla="*/ 1415940 w 6785952"/>
              <a:gd name="connsiteY7288" fmla="*/ 4203252 h 5217112"/>
              <a:gd name="connsiteX7289" fmla="*/ 5298381 w 6785952"/>
              <a:gd name="connsiteY7289" fmla="*/ 4198493 h 5217112"/>
              <a:gd name="connsiteX7290" fmla="*/ 5305896 w 6785952"/>
              <a:gd name="connsiteY7290" fmla="*/ 4200817 h 5217112"/>
              <a:gd name="connsiteX7291" fmla="*/ 5307700 w 6785952"/>
              <a:gd name="connsiteY7291" fmla="*/ 4206240 h 5217112"/>
              <a:gd name="connsiteX7292" fmla="*/ 5282448 w 6785952"/>
              <a:gd name="connsiteY7292" fmla="*/ 4224390 h 5217112"/>
              <a:gd name="connsiteX7293" fmla="*/ 5279142 w 6785952"/>
              <a:gd name="connsiteY7293" fmla="*/ 4221070 h 5217112"/>
              <a:gd name="connsiteX7294" fmla="*/ 5298381 w 6785952"/>
              <a:gd name="connsiteY7294" fmla="*/ 4198493 h 5217112"/>
              <a:gd name="connsiteX7295" fmla="*/ 1626672 w 6785952"/>
              <a:gd name="connsiteY7295" fmla="*/ 4196280 h 5217112"/>
              <a:gd name="connsiteX7296" fmla="*/ 1625769 w 6785952"/>
              <a:gd name="connsiteY7296" fmla="*/ 4196390 h 5217112"/>
              <a:gd name="connsiteX7297" fmla="*/ 1623063 w 6785952"/>
              <a:gd name="connsiteY7297" fmla="*/ 4196944 h 5217112"/>
              <a:gd name="connsiteX7298" fmla="*/ 1620658 w 6785952"/>
              <a:gd name="connsiteY7298" fmla="*/ 4197386 h 5217112"/>
              <a:gd name="connsiteX7299" fmla="*/ 1615548 w 6785952"/>
              <a:gd name="connsiteY7299" fmla="*/ 4201813 h 5217112"/>
              <a:gd name="connsiteX7300" fmla="*/ 1608634 w 6785952"/>
              <a:gd name="connsiteY7300" fmla="*/ 4204691 h 5217112"/>
              <a:gd name="connsiteX7301" fmla="*/ 1605628 w 6785952"/>
              <a:gd name="connsiteY7301" fmla="*/ 4204801 h 5217112"/>
              <a:gd name="connsiteX7302" fmla="*/ 1604125 w 6785952"/>
              <a:gd name="connsiteY7302" fmla="*/ 4206461 h 5217112"/>
              <a:gd name="connsiteX7303" fmla="*/ 1604125 w 6785952"/>
              <a:gd name="connsiteY7303" fmla="*/ 4206019 h 5217112"/>
              <a:gd name="connsiteX7304" fmla="*/ 1601118 w 6785952"/>
              <a:gd name="connsiteY7304" fmla="*/ 4210667 h 5217112"/>
              <a:gd name="connsiteX7305" fmla="*/ 1577070 w 6785952"/>
              <a:gd name="connsiteY7305" fmla="*/ 4222509 h 5217112"/>
              <a:gd name="connsiteX7306" fmla="*/ 1564143 w 6785952"/>
              <a:gd name="connsiteY7306" fmla="*/ 4222620 h 5217112"/>
              <a:gd name="connsiteX7307" fmla="*/ 1570155 w 6785952"/>
              <a:gd name="connsiteY7307" fmla="*/ 4226382 h 5217112"/>
              <a:gd name="connsiteX7308" fmla="*/ 1577671 w 6785952"/>
              <a:gd name="connsiteY7308" fmla="*/ 4232027 h 5217112"/>
              <a:gd name="connsiteX7309" fmla="*/ 1580377 w 6785952"/>
              <a:gd name="connsiteY7309" fmla="*/ 4234129 h 5217112"/>
              <a:gd name="connsiteX7310" fmla="*/ 1604425 w 6785952"/>
              <a:gd name="connsiteY7310" fmla="*/ 4235679 h 5217112"/>
              <a:gd name="connsiteX7311" fmla="*/ 1626672 w 6785952"/>
              <a:gd name="connsiteY7311" fmla="*/ 4234461 h 5217112"/>
              <a:gd name="connsiteX7312" fmla="*/ 1654027 w 6785952"/>
              <a:gd name="connsiteY7312" fmla="*/ 4228264 h 5217112"/>
              <a:gd name="connsiteX7313" fmla="*/ 1666653 w 6785952"/>
              <a:gd name="connsiteY7313" fmla="*/ 4224944 h 5217112"/>
              <a:gd name="connsiteX7314" fmla="*/ 1666953 w 6785952"/>
              <a:gd name="connsiteY7314" fmla="*/ 4220074 h 5217112"/>
              <a:gd name="connsiteX7315" fmla="*/ 1662745 w 6785952"/>
              <a:gd name="connsiteY7315" fmla="*/ 4219521 h 5217112"/>
              <a:gd name="connsiteX7316" fmla="*/ 1647714 w 6785952"/>
              <a:gd name="connsiteY7316" fmla="*/ 4220295 h 5217112"/>
              <a:gd name="connsiteX7317" fmla="*/ 1645910 w 6785952"/>
              <a:gd name="connsiteY7317" fmla="*/ 4210888 h 5217112"/>
              <a:gd name="connsiteX7318" fmla="*/ 1644708 w 6785952"/>
              <a:gd name="connsiteY7318" fmla="*/ 4210446 h 5217112"/>
              <a:gd name="connsiteX7319" fmla="*/ 1646211 w 6785952"/>
              <a:gd name="connsiteY7319" fmla="*/ 4223394 h 5217112"/>
              <a:gd name="connsiteX7320" fmla="*/ 1635990 w 6785952"/>
              <a:gd name="connsiteY7320" fmla="*/ 4216533 h 5217112"/>
              <a:gd name="connsiteX7321" fmla="*/ 1633886 w 6785952"/>
              <a:gd name="connsiteY7321" fmla="*/ 4210999 h 5217112"/>
              <a:gd name="connsiteX7322" fmla="*/ 1633585 w 6785952"/>
              <a:gd name="connsiteY7322" fmla="*/ 4211110 h 5217112"/>
              <a:gd name="connsiteX7323" fmla="*/ 1633886 w 6785952"/>
              <a:gd name="connsiteY7323" fmla="*/ 4210778 h 5217112"/>
              <a:gd name="connsiteX7324" fmla="*/ 1631781 w 6785952"/>
              <a:gd name="connsiteY7324" fmla="*/ 4205465 h 5217112"/>
              <a:gd name="connsiteX7325" fmla="*/ 1631781 w 6785952"/>
              <a:gd name="connsiteY7325" fmla="*/ 4200264 h 5217112"/>
              <a:gd name="connsiteX7326" fmla="*/ 1626972 w 6785952"/>
              <a:gd name="connsiteY7326" fmla="*/ 4197276 h 5217112"/>
              <a:gd name="connsiteX7327" fmla="*/ 1643204 w 6785952"/>
              <a:gd name="connsiteY7327" fmla="*/ 4195616 h 5217112"/>
              <a:gd name="connsiteX7328" fmla="*/ 1642002 w 6785952"/>
              <a:gd name="connsiteY7328" fmla="*/ 4197718 h 5217112"/>
              <a:gd name="connsiteX7329" fmla="*/ 1643806 w 6785952"/>
              <a:gd name="connsiteY7329" fmla="*/ 4200707 h 5217112"/>
              <a:gd name="connsiteX7330" fmla="*/ 1644107 w 6785952"/>
              <a:gd name="connsiteY7330" fmla="*/ 4204248 h 5217112"/>
              <a:gd name="connsiteX7331" fmla="*/ 1651923 w 6785952"/>
              <a:gd name="connsiteY7331" fmla="*/ 4201039 h 5217112"/>
              <a:gd name="connsiteX7332" fmla="*/ 1648615 w 6785952"/>
              <a:gd name="connsiteY7332" fmla="*/ 4197054 h 5217112"/>
              <a:gd name="connsiteX7333" fmla="*/ 2017470 w 6785952"/>
              <a:gd name="connsiteY7333" fmla="*/ 4190746 h 5217112"/>
              <a:gd name="connsiteX7334" fmla="*/ 2028893 w 6785952"/>
              <a:gd name="connsiteY7334" fmla="*/ 4194952 h 5217112"/>
              <a:gd name="connsiteX7335" fmla="*/ 2031599 w 6785952"/>
              <a:gd name="connsiteY7335" fmla="*/ 4214873 h 5217112"/>
              <a:gd name="connsiteX7336" fmla="*/ 2016869 w 6785952"/>
              <a:gd name="connsiteY7336" fmla="*/ 4220738 h 5217112"/>
              <a:gd name="connsiteX7337" fmla="*/ 2018372 w 6785952"/>
              <a:gd name="connsiteY7337" fmla="*/ 4220959 h 5217112"/>
              <a:gd name="connsiteX7338" fmla="*/ 2023784 w 6785952"/>
              <a:gd name="connsiteY7338" fmla="*/ 4227268 h 5217112"/>
              <a:gd name="connsiteX7339" fmla="*/ 2026790 w 6785952"/>
              <a:gd name="connsiteY7339" fmla="*/ 4225718 h 5217112"/>
              <a:gd name="connsiteX7340" fmla="*/ 2031298 w 6785952"/>
              <a:gd name="connsiteY7340" fmla="*/ 4225276 h 5217112"/>
              <a:gd name="connsiteX7341" fmla="*/ 2034606 w 6785952"/>
              <a:gd name="connsiteY7341" fmla="*/ 4229481 h 5217112"/>
              <a:gd name="connsiteX7342" fmla="*/ 2033403 w 6785952"/>
              <a:gd name="connsiteY7342" fmla="*/ 4234904 h 5217112"/>
              <a:gd name="connsiteX7343" fmla="*/ 2030998 w 6785952"/>
              <a:gd name="connsiteY7343" fmla="*/ 4237339 h 5217112"/>
              <a:gd name="connsiteX7344" fmla="*/ 2033703 w 6785952"/>
              <a:gd name="connsiteY7344" fmla="*/ 4243647 h 5217112"/>
              <a:gd name="connsiteX7345" fmla="*/ 2028893 w 6785952"/>
              <a:gd name="connsiteY7345" fmla="*/ 4241655 h 5217112"/>
              <a:gd name="connsiteX7346" fmla="*/ 2027691 w 6785952"/>
              <a:gd name="connsiteY7346" fmla="*/ 4239995 h 5217112"/>
              <a:gd name="connsiteX7347" fmla="*/ 2025887 w 6785952"/>
              <a:gd name="connsiteY7347" fmla="*/ 4239774 h 5217112"/>
              <a:gd name="connsiteX7348" fmla="*/ 2025887 w 6785952"/>
              <a:gd name="connsiteY7348" fmla="*/ 4238224 h 5217112"/>
              <a:gd name="connsiteX7349" fmla="*/ 2025587 w 6785952"/>
              <a:gd name="connsiteY7349" fmla="*/ 4237781 h 5217112"/>
              <a:gd name="connsiteX7350" fmla="*/ 2025286 w 6785952"/>
              <a:gd name="connsiteY7350" fmla="*/ 4237560 h 5217112"/>
              <a:gd name="connsiteX7351" fmla="*/ 2024986 w 6785952"/>
              <a:gd name="connsiteY7351" fmla="*/ 4237560 h 5217112"/>
              <a:gd name="connsiteX7352" fmla="*/ 2024986 w 6785952"/>
              <a:gd name="connsiteY7352" fmla="*/ 4237228 h 5217112"/>
              <a:gd name="connsiteX7353" fmla="*/ 2022881 w 6785952"/>
              <a:gd name="connsiteY7353" fmla="*/ 4234904 h 5217112"/>
              <a:gd name="connsiteX7354" fmla="*/ 2013262 w 6785952"/>
              <a:gd name="connsiteY7354" fmla="*/ 4229370 h 5217112"/>
              <a:gd name="connsiteX7355" fmla="*/ 2006949 w 6785952"/>
              <a:gd name="connsiteY7355" fmla="*/ 4219631 h 5217112"/>
              <a:gd name="connsiteX7356" fmla="*/ 2010256 w 6785952"/>
              <a:gd name="connsiteY7356" fmla="*/ 4216975 h 5217112"/>
              <a:gd name="connsiteX7357" fmla="*/ 2007250 w 6785952"/>
              <a:gd name="connsiteY7357" fmla="*/ 4213544 h 5217112"/>
              <a:gd name="connsiteX7358" fmla="*/ 2004544 w 6785952"/>
              <a:gd name="connsiteY7358" fmla="*/ 4208011 h 5217112"/>
              <a:gd name="connsiteX7359" fmla="*/ 2004244 w 6785952"/>
              <a:gd name="connsiteY7359" fmla="*/ 4209007 h 5217112"/>
              <a:gd name="connsiteX7360" fmla="*/ 2004845 w 6785952"/>
              <a:gd name="connsiteY7360" fmla="*/ 4212106 h 5217112"/>
              <a:gd name="connsiteX7361" fmla="*/ 1998230 w 6785952"/>
              <a:gd name="connsiteY7361" fmla="*/ 4211331 h 5217112"/>
              <a:gd name="connsiteX7362" fmla="*/ 1997329 w 6785952"/>
              <a:gd name="connsiteY7362" fmla="*/ 4208122 h 5217112"/>
              <a:gd name="connsiteX7363" fmla="*/ 1996427 w 6785952"/>
              <a:gd name="connsiteY7363" fmla="*/ 4207568 h 5217112"/>
              <a:gd name="connsiteX7364" fmla="*/ 1998230 w 6785952"/>
              <a:gd name="connsiteY7364" fmla="*/ 4200596 h 5217112"/>
              <a:gd name="connsiteX7365" fmla="*/ 2003041 w 6785952"/>
              <a:gd name="connsiteY7365" fmla="*/ 4194952 h 5217112"/>
              <a:gd name="connsiteX7366" fmla="*/ 2006949 w 6785952"/>
              <a:gd name="connsiteY7366" fmla="*/ 4197940 h 5217112"/>
              <a:gd name="connsiteX7367" fmla="*/ 2006949 w 6785952"/>
              <a:gd name="connsiteY7367" fmla="*/ 4198272 h 5217112"/>
              <a:gd name="connsiteX7368" fmla="*/ 2009353 w 6785952"/>
              <a:gd name="connsiteY7368" fmla="*/ 4194288 h 5217112"/>
              <a:gd name="connsiteX7369" fmla="*/ 2017470 w 6785952"/>
              <a:gd name="connsiteY7369" fmla="*/ 4190746 h 5217112"/>
              <a:gd name="connsiteX7370" fmla="*/ 988465 w 6785952"/>
              <a:gd name="connsiteY7370" fmla="*/ 4190746 h 5217112"/>
              <a:gd name="connsiteX7371" fmla="*/ 999589 w 6785952"/>
              <a:gd name="connsiteY7371" fmla="*/ 4194952 h 5217112"/>
              <a:gd name="connsiteX7372" fmla="*/ 1002293 w 6785952"/>
              <a:gd name="connsiteY7372" fmla="*/ 4214873 h 5217112"/>
              <a:gd name="connsiteX7373" fmla="*/ 987564 w 6785952"/>
              <a:gd name="connsiteY7373" fmla="*/ 4220738 h 5217112"/>
              <a:gd name="connsiteX7374" fmla="*/ 989368 w 6785952"/>
              <a:gd name="connsiteY7374" fmla="*/ 4220959 h 5217112"/>
              <a:gd name="connsiteX7375" fmla="*/ 1004698 w 6785952"/>
              <a:gd name="connsiteY7375" fmla="*/ 4243647 h 5217112"/>
              <a:gd name="connsiteX7376" fmla="*/ 999889 w 6785952"/>
              <a:gd name="connsiteY7376" fmla="*/ 4241655 h 5217112"/>
              <a:gd name="connsiteX7377" fmla="*/ 998386 w 6785952"/>
              <a:gd name="connsiteY7377" fmla="*/ 4239995 h 5217112"/>
              <a:gd name="connsiteX7378" fmla="*/ 996582 w 6785952"/>
              <a:gd name="connsiteY7378" fmla="*/ 4239774 h 5217112"/>
              <a:gd name="connsiteX7379" fmla="*/ 996883 w 6785952"/>
              <a:gd name="connsiteY7379" fmla="*/ 4238224 h 5217112"/>
              <a:gd name="connsiteX7380" fmla="*/ 993576 w 6785952"/>
              <a:gd name="connsiteY7380" fmla="*/ 4234904 h 5217112"/>
              <a:gd name="connsiteX7381" fmla="*/ 984257 w 6785952"/>
              <a:gd name="connsiteY7381" fmla="*/ 4229370 h 5217112"/>
              <a:gd name="connsiteX7382" fmla="*/ 977944 w 6785952"/>
              <a:gd name="connsiteY7382" fmla="*/ 4219631 h 5217112"/>
              <a:gd name="connsiteX7383" fmla="*/ 981251 w 6785952"/>
              <a:gd name="connsiteY7383" fmla="*/ 4216975 h 5217112"/>
              <a:gd name="connsiteX7384" fmla="*/ 978245 w 6785952"/>
              <a:gd name="connsiteY7384" fmla="*/ 4213544 h 5217112"/>
              <a:gd name="connsiteX7385" fmla="*/ 980349 w 6785952"/>
              <a:gd name="connsiteY7385" fmla="*/ 4194288 h 5217112"/>
              <a:gd name="connsiteX7386" fmla="*/ 988465 w 6785952"/>
              <a:gd name="connsiteY7386" fmla="*/ 4190746 h 5217112"/>
              <a:gd name="connsiteX7387" fmla="*/ 2257061 w 6785952"/>
              <a:gd name="connsiteY7387" fmla="*/ 4189861 h 5217112"/>
              <a:gd name="connsiteX7388" fmla="*/ 2262472 w 6785952"/>
              <a:gd name="connsiteY7388" fmla="*/ 4192849 h 5217112"/>
              <a:gd name="connsiteX7389" fmla="*/ 2230005 w 6785952"/>
              <a:gd name="connsiteY7389" fmla="*/ 4214873 h 5217112"/>
              <a:gd name="connsiteX7390" fmla="*/ 2229705 w 6785952"/>
              <a:gd name="connsiteY7390" fmla="*/ 4214762 h 5217112"/>
              <a:gd name="connsiteX7391" fmla="*/ 2228201 w 6785952"/>
              <a:gd name="connsiteY7391" fmla="*/ 4218082 h 5217112"/>
              <a:gd name="connsiteX7392" fmla="*/ 2220987 w 6785952"/>
              <a:gd name="connsiteY7392" fmla="*/ 4219299 h 5217112"/>
              <a:gd name="connsiteX7393" fmla="*/ 2218582 w 6785952"/>
              <a:gd name="connsiteY7393" fmla="*/ 4217307 h 5217112"/>
              <a:gd name="connsiteX7394" fmla="*/ 2220386 w 6785952"/>
              <a:gd name="connsiteY7394" fmla="*/ 4213212 h 5217112"/>
              <a:gd name="connsiteX7395" fmla="*/ 2224594 w 6785952"/>
              <a:gd name="connsiteY7395" fmla="*/ 4210003 h 5217112"/>
              <a:gd name="connsiteX7396" fmla="*/ 2228803 w 6785952"/>
              <a:gd name="connsiteY7396" fmla="*/ 4209339 h 5217112"/>
              <a:gd name="connsiteX7397" fmla="*/ 2231809 w 6785952"/>
              <a:gd name="connsiteY7397" fmla="*/ 4205797 h 5217112"/>
              <a:gd name="connsiteX7398" fmla="*/ 2257061 w 6785952"/>
              <a:gd name="connsiteY7398" fmla="*/ 4189861 h 5217112"/>
              <a:gd name="connsiteX7399" fmla="*/ 759097 w 6785952"/>
              <a:gd name="connsiteY7399" fmla="*/ 4188533 h 5217112"/>
              <a:gd name="connsiteX7400" fmla="*/ 776232 w 6785952"/>
              <a:gd name="connsiteY7400" fmla="*/ 4202145 h 5217112"/>
              <a:gd name="connsiteX7401" fmla="*/ 745869 w 6785952"/>
              <a:gd name="connsiteY7401" fmla="*/ 4231584 h 5217112"/>
              <a:gd name="connsiteX7402" fmla="*/ 759097 w 6785952"/>
              <a:gd name="connsiteY7402" fmla="*/ 4188533 h 5217112"/>
              <a:gd name="connsiteX7403" fmla="*/ 6379392 w 6785952"/>
              <a:gd name="connsiteY7403" fmla="*/ 4187979 h 5217112"/>
              <a:gd name="connsiteX7404" fmla="*/ 6386907 w 6785952"/>
              <a:gd name="connsiteY7404" fmla="*/ 4188975 h 5217112"/>
              <a:gd name="connsiteX7405" fmla="*/ 6389613 w 6785952"/>
              <a:gd name="connsiteY7405" fmla="*/ 4203252 h 5217112"/>
              <a:gd name="connsiteX7406" fmla="*/ 6373380 w 6785952"/>
              <a:gd name="connsiteY7406" fmla="*/ 4188865 h 5217112"/>
              <a:gd name="connsiteX7407" fmla="*/ 6379392 w 6785952"/>
              <a:gd name="connsiteY7407" fmla="*/ 4187979 h 5217112"/>
              <a:gd name="connsiteX7408" fmla="*/ 502071 w 6785952"/>
              <a:gd name="connsiteY7408" fmla="*/ 4186319 h 5217112"/>
              <a:gd name="connsiteX7409" fmla="*/ 510187 w 6785952"/>
              <a:gd name="connsiteY7409" fmla="*/ 4189086 h 5217112"/>
              <a:gd name="connsiteX7410" fmla="*/ 501470 w 6785952"/>
              <a:gd name="connsiteY7410" fmla="*/ 4200375 h 5217112"/>
              <a:gd name="connsiteX7411" fmla="*/ 485236 w 6785952"/>
              <a:gd name="connsiteY7411" fmla="*/ 4197054 h 5217112"/>
              <a:gd name="connsiteX7412" fmla="*/ 502071 w 6785952"/>
              <a:gd name="connsiteY7412" fmla="*/ 4186319 h 5217112"/>
              <a:gd name="connsiteX7413" fmla="*/ 2202349 w 6785952"/>
              <a:gd name="connsiteY7413" fmla="*/ 4186209 h 5217112"/>
              <a:gd name="connsiteX7414" fmla="*/ 2199643 w 6785952"/>
              <a:gd name="connsiteY7414" fmla="*/ 4217971 h 5217112"/>
              <a:gd name="connsiteX7415" fmla="*/ 2202349 w 6785952"/>
              <a:gd name="connsiteY7415" fmla="*/ 4186209 h 5217112"/>
              <a:gd name="connsiteX7416" fmla="*/ 5326639 w 6785952"/>
              <a:gd name="connsiteY7416" fmla="*/ 4184106 h 5217112"/>
              <a:gd name="connsiteX7417" fmla="*/ 5333252 w 6785952"/>
              <a:gd name="connsiteY7417" fmla="*/ 4184327 h 5217112"/>
              <a:gd name="connsiteX7418" fmla="*/ 5327841 w 6785952"/>
              <a:gd name="connsiteY7418" fmla="*/ 4192628 h 5217112"/>
              <a:gd name="connsiteX7419" fmla="*/ 5326639 w 6785952"/>
              <a:gd name="connsiteY7419" fmla="*/ 4184106 h 5217112"/>
              <a:gd name="connsiteX7420" fmla="*/ 6112747 w 6785952"/>
              <a:gd name="connsiteY7420" fmla="*/ 4182335 h 5217112"/>
              <a:gd name="connsiteX7421" fmla="*/ 6129882 w 6785952"/>
              <a:gd name="connsiteY7421" fmla="*/ 4192960 h 5217112"/>
              <a:gd name="connsiteX7422" fmla="*/ 6127476 w 6785952"/>
              <a:gd name="connsiteY7422" fmla="*/ 4197718 h 5217112"/>
              <a:gd name="connsiteX7423" fmla="*/ 6123870 w 6785952"/>
              <a:gd name="connsiteY7423" fmla="*/ 4202256 h 5217112"/>
              <a:gd name="connsiteX7424" fmla="*/ 6111244 w 6785952"/>
              <a:gd name="connsiteY7424" fmla="*/ 4207015 h 5217112"/>
              <a:gd name="connsiteX7425" fmla="*/ 6101624 w 6785952"/>
              <a:gd name="connsiteY7425" fmla="*/ 4202367 h 5217112"/>
              <a:gd name="connsiteX7426" fmla="*/ 6098918 w 6785952"/>
              <a:gd name="connsiteY7426" fmla="*/ 4198714 h 5217112"/>
              <a:gd name="connsiteX7427" fmla="*/ 6112747 w 6785952"/>
              <a:gd name="connsiteY7427" fmla="*/ 4182335 h 5217112"/>
              <a:gd name="connsiteX7428" fmla="*/ 951790 w 6785952"/>
              <a:gd name="connsiteY7428" fmla="*/ 4180122 h 5217112"/>
              <a:gd name="connsiteX7429" fmla="*/ 959306 w 6785952"/>
              <a:gd name="connsiteY7429" fmla="*/ 4182667 h 5217112"/>
              <a:gd name="connsiteX7430" fmla="*/ 949085 w 6785952"/>
              <a:gd name="connsiteY7430" fmla="*/ 4194177 h 5217112"/>
              <a:gd name="connsiteX7431" fmla="*/ 933153 w 6785952"/>
              <a:gd name="connsiteY7431" fmla="*/ 4191410 h 5217112"/>
              <a:gd name="connsiteX7432" fmla="*/ 951790 w 6785952"/>
              <a:gd name="connsiteY7432" fmla="*/ 4180122 h 5217112"/>
              <a:gd name="connsiteX7433" fmla="*/ 6165654 w 6785952"/>
              <a:gd name="connsiteY7433" fmla="*/ 4178572 h 5217112"/>
              <a:gd name="connsiteX7434" fmla="*/ 6180385 w 6785952"/>
              <a:gd name="connsiteY7434" fmla="*/ 4181228 h 5217112"/>
              <a:gd name="connsiteX7435" fmla="*/ 6181888 w 6785952"/>
              <a:gd name="connsiteY7435" fmla="*/ 4184327 h 5217112"/>
              <a:gd name="connsiteX7436" fmla="*/ 6177678 w 6785952"/>
              <a:gd name="connsiteY7436" fmla="*/ 4186762 h 5217112"/>
              <a:gd name="connsiteX7437" fmla="*/ 6165654 w 6785952"/>
              <a:gd name="connsiteY7437" fmla="*/ 4178572 h 5217112"/>
              <a:gd name="connsiteX7438" fmla="*/ 6033083 w 6785952"/>
              <a:gd name="connsiteY7438" fmla="*/ 4173039 h 5217112"/>
              <a:gd name="connsiteX7439" fmla="*/ 6041802 w 6785952"/>
              <a:gd name="connsiteY7439" fmla="*/ 4177134 h 5217112"/>
              <a:gd name="connsiteX7440" fmla="*/ 6026770 w 6785952"/>
              <a:gd name="connsiteY7440" fmla="*/ 4180564 h 5217112"/>
              <a:gd name="connsiteX7441" fmla="*/ 6033083 w 6785952"/>
              <a:gd name="connsiteY7441" fmla="*/ 4173039 h 5217112"/>
              <a:gd name="connsiteX7442" fmla="*/ 6329490 w 6785952"/>
              <a:gd name="connsiteY7442" fmla="*/ 4171932 h 5217112"/>
              <a:gd name="connsiteX7443" fmla="*/ 6311753 w 6785952"/>
              <a:gd name="connsiteY7443" fmla="*/ 4198604 h 5217112"/>
              <a:gd name="connsiteX7444" fmla="*/ 6302435 w 6785952"/>
              <a:gd name="connsiteY7444" fmla="*/ 4202256 h 5217112"/>
              <a:gd name="connsiteX7445" fmla="*/ 6303937 w 6785952"/>
              <a:gd name="connsiteY7445" fmla="*/ 4203805 h 5217112"/>
              <a:gd name="connsiteX7446" fmla="*/ 6305741 w 6785952"/>
              <a:gd name="connsiteY7446" fmla="*/ 4211110 h 5217112"/>
              <a:gd name="connsiteX7447" fmla="*/ 6302735 w 6785952"/>
              <a:gd name="connsiteY7447" fmla="*/ 4218857 h 5217112"/>
              <a:gd name="connsiteX7448" fmla="*/ 6294318 w 6785952"/>
              <a:gd name="connsiteY7448" fmla="*/ 4219742 h 5217112"/>
              <a:gd name="connsiteX7449" fmla="*/ 6286802 w 6785952"/>
              <a:gd name="connsiteY7449" fmla="*/ 4213766 h 5217112"/>
              <a:gd name="connsiteX7450" fmla="*/ 6289207 w 6785952"/>
              <a:gd name="connsiteY7450" fmla="*/ 4205244 h 5217112"/>
              <a:gd name="connsiteX7451" fmla="*/ 6286802 w 6785952"/>
              <a:gd name="connsiteY7451" fmla="*/ 4205133 h 5217112"/>
              <a:gd name="connsiteX7452" fmla="*/ 6279588 w 6785952"/>
              <a:gd name="connsiteY7452" fmla="*/ 4201371 h 5217112"/>
              <a:gd name="connsiteX7453" fmla="*/ 6329490 w 6785952"/>
              <a:gd name="connsiteY7453" fmla="*/ 4171932 h 5217112"/>
              <a:gd name="connsiteX7454" fmla="*/ 6114550 w 6785952"/>
              <a:gd name="connsiteY7454" fmla="*/ 4169608 h 5217112"/>
              <a:gd name="connsiteX7455" fmla="*/ 6122065 w 6785952"/>
              <a:gd name="connsiteY7455" fmla="*/ 4175252 h 5217112"/>
              <a:gd name="connsiteX7456" fmla="*/ 6119961 w 6785952"/>
              <a:gd name="connsiteY7456" fmla="*/ 4178794 h 5217112"/>
              <a:gd name="connsiteX7457" fmla="*/ 6113048 w 6785952"/>
              <a:gd name="connsiteY7457" fmla="*/ 4179347 h 5217112"/>
              <a:gd name="connsiteX7458" fmla="*/ 5633866 w 6785952"/>
              <a:gd name="connsiteY7458" fmla="*/ 4168169 h 5217112"/>
              <a:gd name="connsiteX7459" fmla="*/ 5621842 w 6785952"/>
              <a:gd name="connsiteY7459" fmla="*/ 4170383 h 5217112"/>
              <a:gd name="connsiteX7460" fmla="*/ 5626953 w 6785952"/>
              <a:gd name="connsiteY7460" fmla="*/ 4172264 h 5217112"/>
              <a:gd name="connsiteX7461" fmla="*/ 5621241 w 6785952"/>
              <a:gd name="connsiteY7461" fmla="*/ 4173039 h 5217112"/>
              <a:gd name="connsiteX7462" fmla="*/ 5635371 w 6785952"/>
              <a:gd name="connsiteY7462" fmla="*/ 4184106 h 5217112"/>
              <a:gd name="connsiteX7463" fmla="*/ 5635671 w 6785952"/>
              <a:gd name="connsiteY7463" fmla="*/ 4183995 h 5217112"/>
              <a:gd name="connsiteX7464" fmla="*/ 5637174 w 6785952"/>
              <a:gd name="connsiteY7464" fmla="*/ 4178240 h 5217112"/>
              <a:gd name="connsiteX7465" fmla="*/ 5657315 w 6785952"/>
              <a:gd name="connsiteY7465" fmla="*/ 4180232 h 5217112"/>
              <a:gd name="connsiteX7466" fmla="*/ 5683468 w 6785952"/>
              <a:gd name="connsiteY7466" fmla="*/ 4175252 h 5217112"/>
              <a:gd name="connsiteX7467" fmla="*/ 5669340 w 6785952"/>
              <a:gd name="connsiteY7467" fmla="*/ 4172264 h 5217112"/>
              <a:gd name="connsiteX7468" fmla="*/ 5655210 w 6785952"/>
              <a:gd name="connsiteY7468" fmla="*/ 4170383 h 5217112"/>
              <a:gd name="connsiteX7469" fmla="*/ 5635069 w 6785952"/>
              <a:gd name="connsiteY7469" fmla="*/ 4174367 h 5217112"/>
              <a:gd name="connsiteX7470" fmla="*/ 5645291 w 6785952"/>
              <a:gd name="connsiteY7470" fmla="*/ 4170383 h 5217112"/>
              <a:gd name="connsiteX7471" fmla="*/ 5633866 w 6785952"/>
              <a:gd name="connsiteY7471" fmla="*/ 4168169 h 5217112"/>
              <a:gd name="connsiteX7472" fmla="*/ 721219 w 6785952"/>
              <a:gd name="connsiteY7472" fmla="*/ 4167616 h 5217112"/>
              <a:gd name="connsiteX7473" fmla="*/ 733545 w 6785952"/>
              <a:gd name="connsiteY7473" fmla="*/ 4170161 h 5217112"/>
              <a:gd name="connsiteX7474" fmla="*/ 726029 w 6785952"/>
              <a:gd name="connsiteY7474" fmla="*/ 4177244 h 5217112"/>
              <a:gd name="connsiteX7475" fmla="*/ 713403 w 6785952"/>
              <a:gd name="connsiteY7475" fmla="*/ 4173592 h 5217112"/>
              <a:gd name="connsiteX7476" fmla="*/ 721219 w 6785952"/>
              <a:gd name="connsiteY7476" fmla="*/ 4167616 h 5217112"/>
              <a:gd name="connsiteX7477" fmla="*/ 5793794 w 6785952"/>
              <a:gd name="connsiteY7477" fmla="*/ 4167395 h 5217112"/>
              <a:gd name="connsiteX7478" fmla="*/ 5787181 w 6785952"/>
              <a:gd name="connsiteY7478" fmla="*/ 4172817 h 5217112"/>
              <a:gd name="connsiteX7479" fmla="*/ 5787181 w 6785952"/>
              <a:gd name="connsiteY7479" fmla="*/ 4174588 h 5217112"/>
              <a:gd name="connsiteX7480" fmla="*/ 5795297 w 6785952"/>
              <a:gd name="connsiteY7480" fmla="*/ 4173924 h 5217112"/>
              <a:gd name="connsiteX7481" fmla="*/ 5798003 w 6785952"/>
              <a:gd name="connsiteY7481" fmla="*/ 4171821 h 5217112"/>
              <a:gd name="connsiteX7482" fmla="*/ 5543081 w 6785952"/>
              <a:gd name="connsiteY7482" fmla="*/ 4167395 h 5217112"/>
              <a:gd name="connsiteX7483" fmla="*/ 5532259 w 6785952"/>
              <a:gd name="connsiteY7483" fmla="*/ 4170272 h 5217112"/>
              <a:gd name="connsiteX7484" fmla="*/ 5528050 w 6785952"/>
              <a:gd name="connsiteY7484" fmla="*/ 4169940 h 5217112"/>
              <a:gd name="connsiteX7485" fmla="*/ 5516026 w 6785952"/>
              <a:gd name="connsiteY7485" fmla="*/ 4197276 h 5217112"/>
              <a:gd name="connsiteX7486" fmla="*/ 5507308 w 6785952"/>
              <a:gd name="connsiteY7486" fmla="*/ 4192738 h 5217112"/>
              <a:gd name="connsiteX7487" fmla="*/ 5506406 w 6785952"/>
              <a:gd name="connsiteY7487" fmla="*/ 4192849 h 5217112"/>
              <a:gd name="connsiteX7488" fmla="*/ 5504602 w 6785952"/>
              <a:gd name="connsiteY7488" fmla="*/ 4193845 h 5217112"/>
              <a:gd name="connsiteX7489" fmla="*/ 5500393 w 6785952"/>
              <a:gd name="connsiteY7489" fmla="*/ 4193956 h 5217112"/>
              <a:gd name="connsiteX7490" fmla="*/ 5499191 w 6785952"/>
              <a:gd name="connsiteY7490" fmla="*/ 4193624 h 5217112"/>
              <a:gd name="connsiteX7491" fmla="*/ 5498590 w 6785952"/>
              <a:gd name="connsiteY7491" fmla="*/ 4193624 h 5217112"/>
              <a:gd name="connsiteX7492" fmla="*/ 5496486 w 6785952"/>
              <a:gd name="connsiteY7492" fmla="*/ 4194509 h 5217112"/>
              <a:gd name="connsiteX7493" fmla="*/ 5497088 w 6785952"/>
              <a:gd name="connsiteY7493" fmla="*/ 4195726 h 5217112"/>
              <a:gd name="connsiteX7494" fmla="*/ 5491076 w 6785952"/>
              <a:gd name="connsiteY7494" fmla="*/ 4196612 h 5217112"/>
              <a:gd name="connsiteX7495" fmla="*/ 5490173 w 6785952"/>
              <a:gd name="connsiteY7495" fmla="*/ 4196944 h 5217112"/>
              <a:gd name="connsiteX7496" fmla="*/ 5480554 w 6785952"/>
              <a:gd name="connsiteY7496" fmla="*/ 4199932 h 5217112"/>
              <a:gd name="connsiteX7497" fmla="*/ 5478148 w 6785952"/>
              <a:gd name="connsiteY7497" fmla="*/ 4205576 h 5217112"/>
              <a:gd name="connsiteX7498" fmla="*/ 5478148 w 6785952"/>
              <a:gd name="connsiteY7498" fmla="*/ 4207458 h 5217112"/>
              <a:gd name="connsiteX7499" fmla="*/ 5481455 w 6785952"/>
              <a:gd name="connsiteY7499" fmla="*/ 4212659 h 5217112"/>
              <a:gd name="connsiteX7500" fmla="*/ 5481756 w 6785952"/>
              <a:gd name="connsiteY7500" fmla="*/ 4214319 h 5217112"/>
              <a:gd name="connsiteX7501" fmla="*/ 5483859 w 6785952"/>
              <a:gd name="connsiteY7501" fmla="*/ 4216422 h 5217112"/>
              <a:gd name="connsiteX7502" fmla="*/ 5503400 w 6785952"/>
              <a:gd name="connsiteY7502" fmla="*/ 4229481 h 5217112"/>
              <a:gd name="connsiteX7503" fmla="*/ 5516026 w 6785952"/>
              <a:gd name="connsiteY7503" fmla="*/ 4218746 h 5217112"/>
              <a:gd name="connsiteX7504" fmla="*/ 5513321 w 6785952"/>
              <a:gd name="connsiteY7504" fmla="*/ 4254936 h 5217112"/>
              <a:gd name="connsiteX7505" fmla="*/ 5517228 w 6785952"/>
              <a:gd name="connsiteY7505" fmla="*/ 4260248 h 5217112"/>
              <a:gd name="connsiteX7506" fmla="*/ 5518731 w 6785952"/>
              <a:gd name="connsiteY7506" fmla="*/ 4257592 h 5217112"/>
              <a:gd name="connsiteX7507" fmla="*/ 5525345 w 6785952"/>
              <a:gd name="connsiteY7507" fmla="*/ 4253275 h 5217112"/>
              <a:gd name="connsiteX7508" fmla="*/ 5534664 w 6785952"/>
              <a:gd name="connsiteY7508" fmla="*/ 4246192 h 5217112"/>
              <a:gd name="connsiteX7509" fmla="*/ 5540075 w 6785952"/>
              <a:gd name="connsiteY7509" fmla="*/ 4245196 h 5217112"/>
              <a:gd name="connsiteX7510" fmla="*/ 5539173 w 6785952"/>
              <a:gd name="connsiteY7510" fmla="*/ 4243536 h 5217112"/>
              <a:gd name="connsiteX7511" fmla="*/ 5537971 w 6785952"/>
              <a:gd name="connsiteY7511" fmla="*/ 4241212 h 5217112"/>
              <a:gd name="connsiteX7512" fmla="*/ 5535265 w 6785952"/>
              <a:gd name="connsiteY7512" fmla="*/ 4245086 h 5217112"/>
              <a:gd name="connsiteX7513" fmla="*/ 5526247 w 6785952"/>
              <a:gd name="connsiteY7513" fmla="*/ 4247631 h 5217112"/>
              <a:gd name="connsiteX7514" fmla="*/ 5516026 w 6785952"/>
              <a:gd name="connsiteY7514" fmla="*/ 4245750 h 5217112"/>
              <a:gd name="connsiteX7515" fmla="*/ 5521136 w 6785952"/>
              <a:gd name="connsiteY7515" fmla="*/ 4237449 h 5217112"/>
              <a:gd name="connsiteX7516" fmla="*/ 5535567 w 6785952"/>
              <a:gd name="connsiteY7516" fmla="*/ 4237671 h 5217112"/>
              <a:gd name="connsiteX7517" fmla="*/ 5537370 w 6785952"/>
              <a:gd name="connsiteY7517" fmla="*/ 4240438 h 5217112"/>
              <a:gd name="connsiteX7518" fmla="*/ 5525646 w 6785952"/>
              <a:gd name="connsiteY7518" fmla="*/ 4218635 h 5217112"/>
              <a:gd name="connsiteX7519" fmla="*/ 5542480 w 6785952"/>
              <a:gd name="connsiteY7519" fmla="*/ 4172928 h 5217112"/>
              <a:gd name="connsiteX7520" fmla="*/ 5547891 w 6785952"/>
              <a:gd name="connsiteY7520" fmla="*/ 4168391 h 5217112"/>
              <a:gd name="connsiteX7521" fmla="*/ 5547591 w 6785952"/>
              <a:gd name="connsiteY7521" fmla="*/ 4167948 h 5217112"/>
              <a:gd name="connsiteX7522" fmla="*/ 5543081 w 6785952"/>
              <a:gd name="connsiteY7522" fmla="*/ 4167395 h 5217112"/>
              <a:gd name="connsiteX7523" fmla="*/ 6339711 w 6785952"/>
              <a:gd name="connsiteY7523" fmla="*/ 4167173 h 5217112"/>
              <a:gd name="connsiteX7524" fmla="*/ 6342416 w 6785952"/>
              <a:gd name="connsiteY7524" fmla="*/ 4169055 h 5217112"/>
              <a:gd name="connsiteX7525" fmla="*/ 6342416 w 6785952"/>
              <a:gd name="connsiteY7525" fmla="*/ 4170493 h 5217112"/>
              <a:gd name="connsiteX7526" fmla="*/ 6342717 w 6785952"/>
              <a:gd name="connsiteY7526" fmla="*/ 4170936 h 5217112"/>
              <a:gd name="connsiteX7527" fmla="*/ 6340613 w 6785952"/>
              <a:gd name="connsiteY7527" fmla="*/ 4173260 h 5217112"/>
              <a:gd name="connsiteX7528" fmla="*/ 6337606 w 6785952"/>
              <a:gd name="connsiteY7528" fmla="*/ 4174256 h 5217112"/>
              <a:gd name="connsiteX7529" fmla="*/ 6336404 w 6785952"/>
              <a:gd name="connsiteY7529" fmla="*/ 4168169 h 5217112"/>
              <a:gd name="connsiteX7530" fmla="*/ 6339410 w 6785952"/>
              <a:gd name="connsiteY7530" fmla="*/ 4168612 h 5217112"/>
              <a:gd name="connsiteX7531" fmla="*/ 6339711 w 6785952"/>
              <a:gd name="connsiteY7531" fmla="*/ 4167173 h 5217112"/>
              <a:gd name="connsiteX7532" fmla="*/ 5902918 w 6785952"/>
              <a:gd name="connsiteY7532" fmla="*/ 4165734 h 5217112"/>
              <a:gd name="connsiteX7533" fmla="*/ 5893297 w 6785952"/>
              <a:gd name="connsiteY7533" fmla="*/ 4190857 h 5217112"/>
              <a:gd name="connsiteX7534" fmla="*/ 5887285 w 6785952"/>
              <a:gd name="connsiteY7534" fmla="*/ 4197608 h 5217112"/>
              <a:gd name="connsiteX7535" fmla="*/ 5889690 w 6785952"/>
              <a:gd name="connsiteY7535" fmla="*/ 4198936 h 5217112"/>
              <a:gd name="connsiteX7536" fmla="*/ 5884279 w 6785952"/>
              <a:gd name="connsiteY7536" fmla="*/ 4212659 h 5217112"/>
              <a:gd name="connsiteX7537" fmla="*/ 5877364 w 6785952"/>
              <a:gd name="connsiteY7537" fmla="*/ 4194398 h 5217112"/>
              <a:gd name="connsiteX7538" fmla="*/ 5882175 w 6785952"/>
              <a:gd name="connsiteY7538" fmla="*/ 4195284 h 5217112"/>
              <a:gd name="connsiteX7539" fmla="*/ 5883377 w 6785952"/>
              <a:gd name="connsiteY7539" fmla="*/ 4188754 h 5217112"/>
              <a:gd name="connsiteX7540" fmla="*/ 5902918 w 6785952"/>
              <a:gd name="connsiteY7540" fmla="*/ 4165734 h 5217112"/>
              <a:gd name="connsiteX7541" fmla="*/ 5367823 w 6785952"/>
              <a:gd name="connsiteY7541" fmla="*/ 4165070 h 5217112"/>
              <a:gd name="connsiteX7542" fmla="*/ 5368724 w 6785952"/>
              <a:gd name="connsiteY7542" fmla="*/ 4167948 h 5217112"/>
              <a:gd name="connsiteX7543" fmla="*/ 5367521 w 6785952"/>
              <a:gd name="connsiteY7543" fmla="*/ 4172043 h 5217112"/>
              <a:gd name="connsiteX7544" fmla="*/ 5359406 w 6785952"/>
              <a:gd name="connsiteY7544" fmla="*/ 4175695 h 5217112"/>
              <a:gd name="connsiteX7545" fmla="*/ 5354596 w 6785952"/>
              <a:gd name="connsiteY7545" fmla="*/ 4178904 h 5217112"/>
              <a:gd name="connsiteX7546" fmla="*/ 5350687 w 6785952"/>
              <a:gd name="connsiteY7546" fmla="*/ 4177798 h 5217112"/>
              <a:gd name="connsiteX7547" fmla="*/ 5353093 w 6785952"/>
              <a:gd name="connsiteY7547" fmla="*/ 4179015 h 5217112"/>
              <a:gd name="connsiteX7548" fmla="*/ 5354596 w 6785952"/>
              <a:gd name="connsiteY7548" fmla="*/ 4181782 h 5217112"/>
              <a:gd name="connsiteX7549" fmla="*/ 5353093 w 6785952"/>
              <a:gd name="connsiteY7549" fmla="*/ 4184659 h 5217112"/>
              <a:gd name="connsiteX7550" fmla="*/ 5351289 w 6785952"/>
              <a:gd name="connsiteY7550" fmla="*/ 4186762 h 5217112"/>
              <a:gd name="connsiteX7551" fmla="*/ 5360307 w 6785952"/>
              <a:gd name="connsiteY7551" fmla="*/ 4182999 h 5217112"/>
              <a:gd name="connsiteX7552" fmla="*/ 5355197 w 6785952"/>
              <a:gd name="connsiteY7552" fmla="*/ 4199157 h 5217112"/>
              <a:gd name="connsiteX7553" fmla="*/ 5353995 w 6785952"/>
              <a:gd name="connsiteY7553" fmla="*/ 4209118 h 5217112"/>
              <a:gd name="connsiteX7554" fmla="*/ 5354896 w 6785952"/>
              <a:gd name="connsiteY7554" fmla="*/ 4209560 h 5217112"/>
              <a:gd name="connsiteX7555" fmla="*/ 5356700 w 6785952"/>
              <a:gd name="connsiteY7555" fmla="*/ 4208896 h 5217112"/>
              <a:gd name="connsiteX7556" fmla="*/ 5356700 w 6785952"/>
              <a:gd name="connsiteY7556" fmla="*/ 4208343 h 5217112"/>
              <a:gd name="connsiteX7557" fmla="*/ 5362111 w 6785952"/>
              <a:gd name="connsiteY7557" fmla="*/ 4195616 h 5217112"/>
              <a:gd name="connsiteX7558" fmla="*/ 5363615 w 6785952"/>
              <a:gd name="connsiteY7558" fmla="*/ 4197386 h 5217112"/>
              <a:gd name="connsiteX7559" fmla="*/ 5361509 w 6785952"/>
              <a:gd name="connsiteY7559" fmla="*/ 4208122 h 5217112"/>
              <a:gd name="connsiteX7560" fmla="*/ 5360608 w 6785952"/>
              <a:gd name="connsiteY7560" fmla="*/ 4210335 h 5217112"/>
              <a:gd name="connsiteX7561" fmla="*/ 5364817 w 6785952"/>
              <a:gd name="connsiteY7561" fmla="*/ 4209118 h 5217112"/>
              <a:gd name="connsiteX7562" fmla="*/ 5389767 w 6785952"/>
              <a:gd name="connsiteY7562" fmla="*/ 4203252 h 5217112"/>
              <a:gd name="connsiteX7563" fmla="*/ 5397284 w 6785952"/>
              <a:gd name="connsiteY7563" fmla="*/ 4204912 h 5217112"/>
              <a:gd name="connsiteX7564" fmla="*/ 5395178 w 6785952"/>
              <a:gd name="connsiteY7564" fmla="*/ 4198050 h 5217112"/>
              <a:gd name="connsiteX7565" fmla="*/ 5394577 w 6785952"/>
              <a:gd name="connsiteY7565" fmla="*/ 4196390 h 5217112"/>
              <a:gd name="connsiteX7566" fmla="*/ 5390369 w 6785952"/>
              <a:gd name="connsiteY7566" fmla="*/ 4196390 h 5217112"/>
              <a:gd name="connsiteX7567" fmla="*/ 5383454 w 6785952"/>
              <a:gd name="connsiteY7567" fmla="*/ 4188201 h 5217112"/>
              <a:gd name="connsiteX7568" fmla="*/ 5386161 w 6785952"/>
              <a:gd name="connsiteY7568" fmla="*/ 4185877 h 5217112"/>
              <a:gd name="connsiteX7569" fmla="*/ 5390669 w 6785952"/>
              <a:gd name="connsiteY7569" fmla="*/ 4184991 h 5217112"/>
              <a:gd name="connsiteX7570" fmla="*/ 5388865 w 6785952"/>
              <a:gd name="connsiteY7570" fmla="*/ 4178683 h 5217112"/>
              <a:gd name="connsiteX7571" fmla="*/ 5385559 w 6785952"/>
              <a:gd name="connsiteY7571" fmla="*/ 4175363 h 5217112"/>
              <a:gd name="connsiteX7572" fmla="*/ 5385258 w 6785952"/>
              <a:gd name="connsiteY7572" fmla="*/ 4174256 h 5217112"/>
              <a:gd name="connsiteX7573" fmla="*/ 5383454 w 6785952"/>
              <a:gd name="connsiteY7573" fmla="*/ 4173592 h 5217112"/>
              <a:gd name="connsiteX7574" fmla="*/ 5383454 w 6785952"/>
              <a:gd name="connsiteY7574" fmla="*/ 4172153 h 5217112"/>
              <a:gd name="connsiteX7575" fmla="*/ 5384958 w 6785952"/>
              <a:gd name="connsiteY7575" fmla="*/ 4173149 h 5217112"/>
              <a:gd name="connsiteX7576" fmla="*/ 5384657 w 6785952"/>
              <a:gd name="connsiteY7576" fmla="*/ 4171379 h 5217112"/>
              <a:gd name="connsiteX7577" fmla="*/ 5383454 w 6785952"/>
              <a:gd name="connsiteY7577" fmla="*/ 4171821 h 5217112"/>
              <a:gd name="connsiteX7578" fmla="*/ 5383454 w 6785952"/>
              <a:gd name="connsiteY7578" fmla="*/ 4168833 h 5217112"/>
              <a:gd name="connsiteX7579" fmla="*/ 5384357 w 6785952"/>
              <a:gd name="connsiteY7579" fmla="*/ 4169387 h 5217112"/>
              <a:gd name="connsiteX7580" fmla="*/ 5384657 w 6785952"/>
              <a:gd name="connsiteY7580" fmla="*/ 4170715 h 5217112"/>
              <a:gd name="connsiteX7581" fmla="*/ 5387663 w 6785952"/>
              <a:gd name="connsiteY7581" fmla="*/ 4166066 h 5217112"/>
              <a:gd name="connsiteX7582" fmla="*/ 5381952 w 6785952"/>
              <a:gd name="connsiteY7582" fmla="*/ 4167395 h 5217112"/>
              <a:gd name="connsiteX7583" fmla="*/ 6237501 w 6785952"/>
              <a:gd name="connsiteY7583" fmla="*/ 4164185 h 5217112"/>
              <a:gd name="connsiteX7584" fmla="*/ 6243213 w 6785952"/>
              <a:gd name="connsiteY7584" fmla="*/ 4167727 h 5217112"/>
              <a:gd name="connsiteX7585" fmla="*/ 6243513 w 6785952"/>
              <a:gd name="connsiteY7585" fmla="*/ 4166066 h 5217112"/>
              <a:gd name="connsiteX7586" fmla="*/ 6244416 w 6785952"/>
              <a:gd name="connsiteY7586" fmla="*/ 4175363 h 5217112"/>
              <a:gd name="connsiteX7587" fmla="*/ 6225177 w 6785952"/>
              <a:gd name="connsiteY7587" fmla="*/ 4175584 h 5217112"/>
              <a:gd name="connsiteX7588" fmla="*/ 6229085 w 6785952"/>
              <a:gd name="connsiteY7588" fmla="*/ 4165513 h 5217112"/>
              <a:gd name="connsiteX7589" fmla="*/ 6233894 w 6785952"/>
              <a:gd name="connsiteY7589" fmla="*/ 4164738 h 5217112"/>
              <a:gd name="connsiteX7590" fmla="*/ 6237501 w 6785952"/>
              <a:gd name="connsiteY7590" fmla="*/ 4164185 h 5217112"/>
              <a:gd name="connsiteX7591" fmla="*/ 5891795 w 6785952"/>
              <a:gd name="connsiteY7591" fmla="*/ 4159980 h 5217112"/>
              <a:gd name="connsiteX7592" fmla="*/ 5893297 w 6785952"/>
              <a:gd name="connsiteY7592" fmla="*/ 4161861 h 5217112"/>
              <a:gd name="connsiteX7593" fmla="*/ 5877064 w 6785952"/>
              <a:gd name="connsiteY7593" fmla="*/ 4180786 h 5217112"/>
              <a:gd name="connsiteX7594" fmla="*/ 5869549 w 6785952"/>
              <a:gd name="connsiteY7594" fmla="*/ 4185545 h 5217112"/>
              <a:gd name="connsiteX7595" fmla="*/ 5871352 w 6785952"/>
              <a:gd name="connsiteY7595" fmla="*/ 4183995 h 5217112"/>
              <a:gd name="connsiteX7596" fmla="*/ 5868046 w 6785952"/>
              <a:gd name="connsiteY7596" fmla="*/ 4183663 h 5217112"/>
              <a:gd name="connsiteX7597" fmla="*/ 5891795 w 6785952"/>
              <a:gd name="connsiteY7597" fmla="*/ 4159980 h 5217112"/>
              <a:gd name="connsiteX7598" fmla="*/ 596764 w 6785952"/>
              <a:gd name="connsiteY7598" fmla="*/ 4159758 h 5217112"/>
              <a:gd name="connsiteX7599" fmla="*/ 604881 w 6785952"/>
              <a:gd name="connsiteY7599" fmla="*/ 4179236 h 5217112"/>
              <a:gd name="connsiteX7600" fmla="*/ 597065 w 6785952"/>
              <a:gd name="connsiteY7600" fmla="*/ 4180675 h 5217112"/>
              <a:gd name="connsiteX7601" fmla="*/ 586243 w 6785952"/>
              <a:gd name="connsiteY7601" fmla="*/ 4171932 h 5217112"/>
              <a:gd name="connsiteX7602" fmla="*/ 596764 w 6785952"/>
              <a:gd name="connsiteY7602" fmla="*/ 4159758 h 5217112"/>
              <a:gd name="connsiteX7603" fmla="*/ 1230160 w 6785952"/>
              <a:gd name="connsiteY7603" fmla="*/ 4158873 h 5217112"/>
              <a:gd name="connsiteX7604" fmla="*/ 1236774 w 6785952"/>
              <a:gd name="connsiteY7604" fmla="*/ 4172043 h 5217112"/>
              <a:gd name="connsiteX7605" fmla="*/ 1230160 w 6785952"/>
              <a:gd name="connsiteY7605" fmla="*/ 4158873 h 5217112"/>
              <a:gd name="connsiteX7606" fmla="*/ 777133 w 6785952"/>
              <a:gd name="connsiteY7606" fmla="*/ 4156549 h 5217112"/>
              <a:gd name="connsiteX7607" fmla="*/ 783145 w 6785952"/>
              <a:gd name="connsiteY7607" fmla="*/ 4157655 h 5217112"/>
              <a:gd name="connsiteX7608" fmla="*/ 777133 w 6785952"/>
              <a:gd name="connsiteY7608" fmla="*/ 4171932 h 5217112"/>
              <a:gd name="connsiteX7609" fmla="*/ 771121 w 6785952"/>
              <a:gd name="connsiteY7609" fmla="*/ 4168723 h 5217112"/>
              <a:gd name="connsiteX7610" fmla="*/ 777133 w 6785952"/>
              <a:gd name="connsiteY7610" fmla="*/ 4156549 h 5217112"/>
              <a:gd name="connsiteX7611" fmla="*/ 2202949 w 6785952"/>
              <a:gd name="connsiteY7611" fmla="*/ 4154557 h 5217112"/>
              <a:gd name="connsiteX7612" fmla="*/ 2214975 w 6785952"/>
              <a:gd name="connsiteY7612" fmla="*/ 4156659 h 5217112"/>
              <a:gd name="connsiteX7613" fmla="*/ 2206256 w 6785952"/>
              <a:gd name="connsiteY7613" fmla="*/ 4163964 h 5217112"/>
              <a:gd name="connsiteX7614" fmla="*/ 2194232 w 6785952"/>
              <a:gd name="connsiteY7614" fmla="*/ 4160754 h 5217112"/>
              <a:gd name="connsiteX7615" fmla="*/ 2202949 w 6785952"/>
              <a:gd name="connsiteY7615" fmla="*/ 4154557 h 5217112"/>
              <a:gd name="connsiteX7616" fmla="*/ 1173945 w 6785952"/>
              <a:gd name="connsiteY7616" fmla="*/ 4154557 h 5217112"/>
              <a:gd name="connsiteX7617" fmla="*/ 1185970 w 6785952"/>
              <a:gd name="connsiteY7617" fmla="*/ 4156659 h 5217112"/>
              <a:gd name="connsiteX7618" fmla="*/ 1177252 w 6785952"/>
              <a:gd name="connsiteY7618" fmla="*/ 4163964 h 5217112"/>
              <a:gd name="connsiteX7619" fmla="*/ 1165227 w 6785952"/>
              <a:gd name="connsiteY7619" fmla="*/ 4160754 h 5217112"/>
              <a:gd name="connsiteX7620" fmla="*/ 1173945 w 6785952"/>
              <a:gd name="connsiteY7620" fmla="*/ 4154557 h 5217112"/>
              <a:gd name="connsiteX7621" fmla="*/ 2107955 w 6785952"/>
              <a:gd name="connsiteY7621" fmla="*/ 4154003 h 5217112"/>
              <a:gd name="connsiteX7622" fmla="*/ 2119980 w 6785952"/>
              <a:gd name="connsiteY7622" fmla="*/ 4177244 h 5217112"/>
              <a:gd name="connsiteX7623" fmla="*/ 2122685 w 6785952"/>
              <a:gd name="connsiteY7623" fmla="*/ 4196722 h 5217112"/>
              <a:gd name="connsiteX7624" fmla="*/ 2122385 w 6785952"/>
              <a:gd name="connsiteY7624" fmla="*/ 4189639 h 5217112"/>
              <a:gd name="connsiteX7625" fmla="*/ 2125691 w 6785952"/>
              <a:gd name="connsiteY7625" fmla="*/ 4186098 h 5217112"/>
              <a:gd name="connsiteX7626" fmla="*/ 2155753 w 6785952"/>
              <a:gd name="connsiteY7626" fmla="*/ 4201813 h 5217112"/>
              <a:gd name="connsiteX7627" fmla="*/ 2160864 w 6785952"/>
              <a:gd name="connsiteY7627" fmla="*/ 4234683 h 5217112"/>
              <a:gd name="connsiteX7628" fmla="*/ 2127195 w 6785952"/>
              <a:gd name="connsiteY7628" fmla="*/ 4208675 h 5217112"/>
              <a:gd name="connsiteX7629" fmla="*/ 2122986 w 6785952"/>
              <a:gd name="connsiteY7629" fmla="*/ 4198714 h 5217112"/>
              <a:gd name="connsiteX7630" fmla="*/ 2120582 w 6785952"/>
              <a:gd name="connsiteY7630" fmla="*/ 4211774 h 5217112"/>
              <a:gd name="connsiteX7631" fmla="*/ 2103446 w 6785952"/>
              <a:gd name="connsiteY7631" fmla="*/ 4185213 h 5217112"/>
              <a:gd name="connsiteX7632" fmla="*/ 2089016 w 6785952"/>
              <a:gd name="connsiteY7632" fmla="*/ 4194620 h 5217112"/>
              <a:gd name="connsiteX7633" fmla="*/ 2087214 w 6785952"/>
              <a:gd name="connsiteY7633" fmla="*/ 4195062 h 5217112"/>
              <a:gd name="connsiteX7634" fmla="*/ 2089617 w 6785952"/>
              <a:gd name="connsiteY7634" fmla="*/ 4195505 h 5217112"/>
              <a:gd name="connsiteX7635" fmla="*/ 2095931 w 6785952"/>
              <a:gd name="connsiteY7635" fmla="*/ 4198936 h 5217112"/>
              <a:gd name="connsiteX7636" fmla="*/ 2090821 w 6785952"/>
              <a:gd name="connsiteY7636" fmla="*/ 4212659 h 5217112"/>
              <a:gd name="connsiteX7637" fmla="*/ 2089617 w 6785952"/>
              <a:gd name="connsiteY7637" fmla="*/ 4211442 h 5217112"/>
              <a:gd name="connsiteX7638" fmla="*/ 2083906 w 6785952"/>
              <a:gd name="connsiteY7638" fmla="*/ 4217086 h 5217112"/>
              <a:gd name="connsiteX7639" fmla="*/ 2088716 w 6785952"/>
              <a:gd name="connsiteY7639" fmla="*/ 4218414 h 5217112"/>
              <a:gd name="connsiteX7640" fmla="*/ 2088716 w 6785952"/>
              <a:gd name="connsiteY7640" fmla="*/ 4223062 h 5217112"/>
              <a:gd name="connsiteX7641" fmla="*/ 2080599 w 6785952"/>
              <a:gd name="connsiteY7641" fmla="*/ 4221181 h 5217112"/>
              <a:gd name="connsiteX7642" fmla="*/ 2081200 w 6785952"/>
              <a:gd name="connsiteY7642" fmla="*/ 4219299 h 5217112"/>
              <a:gd name="connsiteX7643" fmla="*/ 2079998 w 6785952"/>
              <a:gd name="connsiteY7643" fmla="*/ 4220185 h 5217112"/>
              <a:gd name="connsiteX7644" fmla="*/ 2075489 w 6785952"/>
              <a:gd name="connsiteY7644" fmla="*/ 4220295 h 5217112"/>
              <a:gd name="connsiteX7645" fmla="*/ 2086912 w 6785952"/>
              <a:gd name="connsiteY7645" fmla="*/ 4209118 h 5217112"/>
              <a:gd name="connsiteX7646" fmla="*/ 2087514 w 6785952"/>
              <a:gd name="connsiteY7646" fmla="*/ 4209118 h 5217112"/>
              <a:gd name="connsiteX7647" fmla="*/ 2083906 w 6785952"/>
              <a:gd name="connsiteY7647" fmla="*/ 4205023 h 5217112"/>
              <a:gd name="connsiteX7648" fmla="*/ 2083906 w 6785952"/>
              <a:gd name="connsiteY7648" fmla="*/ 4195837 h 5217112"/>
              <a:gd name="connsiteX7649" fmla="*/ 2081802 w 6785952"/>
              <a:gd name="connsiteY7649" fmla="*/ 4196390 h 5217112"/>
              <a:gd name="connsiteX7650" fmla="*/ 2074888 w 6785952"/>
              <a:gd name="connsiteY7650" fmla="*/ 4192849 h 5217112"/>
              <a:gd name="connsiteX7651" fmla="*/ 2100740 w 6785952"/>
              <a:gd name="connsiteY7651" fmla="*/ 4170825 h 5217112"/>
              <a:gd name="connsiteX7652" fmla="*/ 2107955 w 6785952"/>
              <a:gd name="connsiteY7652" fmla="*/ 4154003 h 5217112"/>
              <a:gd name="connsiteX7653" fmla="*/ 803287 w 6785952"/>
              <a:gd name="connsiteY7653" fmla="*/ 4153671 h 5217112"/>
              <a:gd name="connsiteX7654" fmla="*/ 807796 w 6785952"/>
              <a:gd name="connsiteY7654" fmla="*/ 4153893 h 5217112"/>
              <a:gd name="connsiteX7655" fmla="*/ 815311 w 6785952"/>
              <a:gd name="connsiteY7655" fmla="*/ 4159426 h 5217112"/>
              <a:gd name="connsiteX7656" fmla="*/ 810501 w 6785952"/>
              <a:gd name="connsiteY7656" fmla="*/ 4173371 h 5217112"/>
              <a:gd name="connsiteX7657" fmla="*/ 803588 w 6785952"/>
              <a:gd name="connsiteY7657" fmla="*/ 4174367 h 5217112"/>
              <a:gd name="connsiteX7658" fmla="*/ 803888 w 6785952"/>
              <a:gd name="connsiteY7658" fmla="*/ 4176802 h 5217112"/>
              <a:gd name="connsiteX7659" fmla="*/ 794569 w 6785952"/>
              <a:gd name="connsiteY7659" fmla="*/ 4178794 h 5217112"/>
              <a:gd name="connsiteX7660" fmla="*/ 790060 w 6785952"/>
              <a:gd name="connsiteY7660" fmla="*/ 4175584 h 5217112"/>
              <a:gd name="connsiteX7661" fmla="*/ 791563 w 6785952"/>
              <a:gd name="connsiteY7661" fmla="*/ 4170161 h 5217112"/>
              <a:gd name="connsiteX7662" fmla="*/ 794569 w 6785952"/>
              <a:gd name="connsiteY7662" fmla="*/ 4167505 h 5217112"/>
              <a:gd name="connsiteX7663" fmla="*/ 794569 w 6785952"/>
              <a:gd name="connsiteY7663" fmla="*/ 4162414 h 5217112"/>
              <a:gd name="connsiteX7664" fmla="*/ 803287 w 6785952"/>
              <a:gd name="connsiteY7664" fmla="*/ 4153671 h 5217112"/>
              <a:gd name="connsiteX7665" fmla="*/ 630734 w 6785952"/>
              <a:gd name="connsiteY7665" fmla="*/ 4153229 h 5217112"/>
              <a:gd name="connsiteX7666" fmla="*/ 643961 w 6785952"/>
              <a:gd name="connsiteY7666" fmla="*/ 4166952 h 5217112"/>
              <a:gd name="connsiteX7667" fmla="*/ 631335 w 6785952"/>
              <a:gd name="connsiteY7667" fmla="*/ 4174035 h 5217112"/>
              <a:gd name="connsiteX7668" fmla="*/ 621715 w 6785952"/>
              <a:gd name="connsiteY7668" fmla="*/ 4165956 h 5217112"/>
              <a:gd name="connsiteX7669" fmla="*/ 630734 w 6785952"/>
              <a:gd name="connsiteY7669" fmla="*/ 4153229 h 5217112"/>
              <a:gd name="connsiteX7670" fmla="*/ 2079698 w 6785952"/>
              <a:gd name="connsiteY7670" fmla="*/ 4150572 h 5217112"/>
              <a:gd name="connsiteX7671" fmla="*/ 2090520 w 6785952"/>
              <a:gd name="connsiteY7671" fmla="*/ 4160201 h 5217112"/>
              <a:gd name="connsiteX7672" fmla="*/ 2084808 w 6785952"/>
              <a:gd name="connsiteY7672" fmla="*/ 4169719 h 5217112"/>
              <a:gd name="connsiteX7673" fmla="*/ 2076992 w 6785952"/>
              <a:gd name="connsiteY7673" fmla="*/ 4171489 h 5217112"/>
              <a:gd name="connsiteX7674" fmla="*/ 2067071 w 6785952"/>
              <a:gd name="connsiteY7674" fmla="*/ 4163078 h 5217112"/>
              <a:gd name="connsiteX7675" fmla="*/ 2079698 w 6785952"/>
              <a:gd name="connsiteY7675" fmla="*/ 4150572 h 5217112"/>
              <a:gd name="connsiteX7676" fmla="*/ 933754 w 6785952"/>
              <a:gd name="connsiteY7676" fmla="*/ 4149576 h 5217112"/>
              <a:gd name="connsiteX7677" fmla="*/ 941570 w 6785952"/>
              <a:gd name="connsiteY7677" fmla="*/ 4154999 h 5217112"/>
              <a:gd name="connsiteX7678" fmla="*/ 929845 w 6785952"/>
              <a:gd name="connsiteY7678" fmla="*/ 4158319 h 5217112"/>
              <a:gd name="connsiteX7679" fmla="*/ 933754 w 6785952"/>
              <a:gd name="connsiteY7679" fmla="*/ 4149576 h 5217112"/>
              <a:gd name="connsiteX7680" fmla="*/ 1205810 w 6785952"/>
              <a:gd name="connsiteY7680" fmla="*/ 4148691 h 5217112"/>
              <a:gd name="connsiteX7681" fmla="*/ 1214828 w 6785952"/>
              <a:gd name="connsiteY7681" fmla="*/ 4168280 h 5217112"/>
              <a:gd name="connsiteX7682" fmla="*/ 1204908 w 6785952"/>
              <a:gd name="connsiteY7682" fmla="*/ 4164849 h 5217112"/>
              <a:gd name="connsiteX7683" fmla="*/ 1205810 w 6785952"/>
              <a:gd name="connsiteY7683" fmla="*/ 4148691 h 5217112"/>
              <a:gd name="connsiteX7684" fmla="*/ 6316262 w 6785952"/>
              <a:gd name="connsiteY7684" fmla="*/ 4147031 h 5217112"/>
              <a:gd name="connsiteX7685" fmla="*/ 6320171 w 6785952"/>
              <a:gd name="connsiteY7685" fmla="*/ 4159648 h 5217112"/>
              <a:gd name="connsiteX7686" fmla="*/ 6303937 w 6785952"/>
              <a:gd name="connsiteY7686" fmla="*/ 4169165 h 5217112"/>
              <a:gd name="connsiteX7687" fmla="*/ 6297024 w 6785952"/>
              <a:gd name="connsiteY7687" fmla="*/ 4152233 h 5217112"/>
              <a:gd name="connsiteX7688" fmla="*/ 6316262 w 6785952"/>
              <a:gd name="connsiteY7688" fmla="*/ 4147031 h 5217112"/>
              <a:gd name="connsiteX7689" fmla="*/ 5886083 w 6785952"/>
              <a:gd name="connsiteY7689" fmla="*/ 4146256 h 5217112"/>
              <a:gd name="connsiteX7690" fmla="*/ 5885482 w 6785952"/>
              <a:gd name="connsiteY7690" fmla="*/ 4146699 h 5217112"/>
              <a:gd name="connsiteX7691" fmla="*/ 5886083 w 6785952"/>
              <a:gd name="connsiteY7691" fmla="*/ 4146920 h 5217112"/>
              <a:gd name="connsiteX7692" fmla="*/ 6132286 w 6785952"/>
              <a:gd name="connsiteY7692" fmla="*/ 4146146 h 5217112"/>
              <a:gd name="connsiteX7693" fmla="*/ 6135894 w 6785952"/>
              <a:gd name="connsiteY7693" fmla="*/ 4147142 h 5217112"/>
              <a:gd name="connsiteX7694" fmla="*/ 6144310 w 6785952"/>
              <a:gd name="connsiteY7694" fmla="*/ 4157987 h 5217112"/>
              <a:gd name="connsiteX7695" fmla="*/ 6142207 w 6785952"/>
              <a:gd name="connsiteY7695" fmla="*/ 4162746 h 5217112"/>
              <a:gd name="connsiteX7696" fmla="*/ 6127175 w 6785952"/>
              <a:gd name="connsiteY7696" fmla="*/ 4151015 h 5217112"/>
              <a:gd name="connsiteX7697" fmla="*/ 6129281 w 6785952"/>
              <a:gd name="connsiteY7697" fmla="*/ 4146367 h 5217112"/>
              <a:gd name="connsiteX7698" fmla="*/ 6132286 w 6785952"/>
              <a:gd name="connsiteY7698" fmla="*/ 4146146 h 5217112"/>
              <a:gd name="connsiteX7699" fmla="*/ 1354013 w 6785952"/>
              <a:gd name="connsiteY7699" fmla="*/ 4146146 h 5217112"/>
              <a:gd name="connsiteX7700" fmla="*/ 1353713 w 6785952"/>
              <a:gd name="connsiteY7700" fmla="*/ 4146256 h 5217112"/>
              <a:gd name="connsiteX7701" fmla="*/ 1354314 w 6785952"/>
              <a:gd name="connsiteY7701" fmla="*/ 4146256 h 5217112"/>
              <a:gd name="connsiteX7702" fmla="*/ 704685 w 6785952"/>
              <a:gd name="connsiteY7702" fmla="*/ 4140059 h 5217112"/>
              <a:gd name="connsiteX7703" fmla="*/ 700477 w 6785952"/>
              <a:gd name="connsiteY7703" fmla="*/ 4148027 h 5217112"/>
              <a:gd name="connsiteX7704" fmla="*/ 704685 w 6785952"/>
              <a:gd name="connsiteY7704" fmla="*/ 4140059 h 5217112"/>
              <a:gd name="connsiteX7705" fmla="*/ 1262927 w 6785952"/>
              <a:gd name="connsiteY7705" fmla="*/ 4138288 h 5217112"/>
              <a:gd name="connsiteX7706" fmla="*/ 1269240 w 6785952"/>
              <a:gd name="connsiteY7706" fmla="*/ 4143379 h 5217112"/>
              <a:gd name="connsiteX7707" fmla="*/ 1268037 w 6785952"/>
              <a:gd name="connsiteY7707" fmla="*/ 4150240 h 5217112"/>
              <a:gd name="connsiteX7708" fmla="*/ 1277657 w 6785952"/>
              <a:gd name="connsiteY7708" fmla="*/ 4147031 h 5217112"/>
              <a:gd name="connsiteX7709" fmla="*/ 1278559 w 6785952"/>
              <a:gd name="connsiteY7709" fmla="*/ 4154667 h 5217112"/>
              <a:gd name="connsiteX7710" fmla="*/ 1284872 w 6785952"/>
              <a:gd name="connsiteY7710" fmla="*/ 4150462 h 5217112"/>
              <a:gd name="connsiteX7711" fmla="*/ 1267737 w 6785952"/>
              <a:gd name="connsiteY7711" fmla="*/ 4139063 h 5217112"/>
              <a:gd name="connsiteX7712" fmla="*/ 2291631 w 6785952"/>
              <a:gd name="connsiteY7712" fmla="*/ 4138067 h 5217112"/>
              <a:gd name="connsiteX7713" fmla="*/ 2298545 w 6785952"/>
              <a:gd name="connsiteY7713" fmla="*/ 4143379 h 5217112"/>
              <a:gd name="connsiteX7714" fmla="*/ 2291631 w 6785952"/>
              <a:gd name="connsiteY7714" fmla="*/ 4157434 h 5217112"/>
              <a:gd name="connsiteX7715" fmla="*/ 2275999 w 6785952"/>
              <a:gd name="connsiteY7715" fmla="*/ 4154003 h 5217112"/>
              <a:gd name="connsiteX7716" fmla="*/ 2291631 w 6785952"/>
              <a:gd name="connsiteY7716" fmla="*/ 4138067 h 5217112"/>
              <a:gd name="connsiteX7717" fmla="*/ 647268 w 6785952"/>
              <a:gd name="connsiteY7717" fmla="*/ 4137735 h 5217112"/>
              <a:gd name="connsiteX7718" fmla="*/ 651777 w 6785952"/>
              <a:gd name="connsiteY7718" fmla="*/ 4139616 h 5217112"/>
              <a:gd name="connsiteX7719" fmla="*/ 647869 w 6785952"/>
              <a:gd name="connsiteY7719" fmla="*/ 4147031 h 5217112"/>
              <a:gd name="connsiteX7720" fmla="*/ 647268 w 6785952"/>
              <a:gd name="connsiteY7720" fmla="*/ 4137735 h 5217112"/>
              <a:gd name="connsiteX7721" fmla="*/ 1488689 w 6785952"/>
              <a:gd name="connsiteY7721" fmla="*/ 4131537 h 5217112"/>
              <a:gd name="connsiteX7722" fmla="*/ 1488388 w 6785952"/>
              <a:gd name="connsiteY7722" fmla="*/ 4132312 h 5217112"/>
              <a:gd name="connsiteX7723" fmla="*/ 1484480 w 6785952"/>
              <a:gd name="connsiteY7723" fmla="*/ 4135300 h 5217112"/>
              <a:gd name="connsiteX7724" fmla="*/ 1480572 w 6785952"/>
              <a:gd name="connsiteY7724" fmla="*/ 4135410 h 5217112"/>
              <a:gd name="connsiteX7725" fmla="*/ 1479369 w 6785952"/>
              <a:gd name="connsiteY7725" fmla="*/ 4139063 h 5217112"/>
              <a:gd name="connsiteX7726" fmla="*/ 1475762 w 6785952"/>
              <a:gd name="connsiteY7726" fmla="*/ 4139727 h 5217112"/>
              <a:gd name="connsiteX7727" fmla="*/ 1478167 w 6785952"/>
              <a:gd name="connsiteY7727" fmla="*/ 4143711 h 5217112"/>
              <a:gd name="connsiteX7728" fmla="*/ 1478167 w 6785952"/>
              <a:gd name="connsiteY7728" fmla="*/ 4143932 h 5217112"/>
              <a:gd name="connsiteX7729" fmla="*/ 1479069 w 6785952"/>
              <a:gd name="connsiteY7729" fmla="*/ 4143932 h 5217112"/>
              <a:gd name="connsiteX7730" fmla="*/ 1480873 w 6785952"/>
              <a:gd name="connsiteY7730" fmla="*/ 4142936 h 5217112"/>
              <a:gd name="connsiteX7731" fmla="*/ 1487786 w 6785952"/>
              <a:gd name="connsiteY7731" fmla="*/ 4135632 h 5217112"/>
              <a:gd name="connsiteX7732" fmla="*/ 1487786 w 6785952"/>
              <a:gd name="connsiteY7732" fmla="*/ 4143047 h 5217112"/>
              <a:gd name="connsiteX7733" fmla="*/ 1488689 w 6785952"/>
              <a:gd name="connsiteY7733" fmla="*/ 4144707 h 5217112"/>
              <a:gd name="connsiteX7734" fmla="*/ 1491695 w 6785952"/>
              <a:gd name="connsiteY7734" fmla="*/ 4144928 h 5217112"/>
              <a:gd name="connsiteX7735" fmla="*/ 1493499 w 6785952"/>
              <a:gd name="connsiteY7735" fmla="*/ 4146035 h 5217112"/>
              <a:gd name="connsiteX7736" fmla="*/ 1497106 w 6785952"/>
              <a:gd name="connsiteY7736" fmla="*/ 4144928 h 5217112"/>
              <a:gd name="connsiteX7737" fmla="*/ 1512437 w 6785952"/>
              <a:gd name="connsiteY7737" fmla="*/ 4137845 h 5217112"/>
              <a:gd name="connsiteX7738" fmla="*/ 1517548 w 6785952"/>
              <a:gd name="connsiteY7738" fmla="*/ 4138067 h 5217112"/>
              <a:gd name="connsiteX7739" fmla="*/ 1516947 w 6785952"/>
              <a:gd name="connsiteY7739" fmla="*/ 4137845 h 5217112"/>
              <a:gd name="connsiteX7740" fmla="*/ 1516346 w 6785952"/>
              <a:gd name="connsiteY7740" fmla="*/ 4136849 h 5217112"/>
              <a:gd name="connsiteX7741" fmla="*/ 1506725 w 6785952"/>
              <a:gd name="connsiteY7741" fmla="*/ 4137071 h 5217112"/>
              <a:gd name="connsiteX7742" fmla="*/ 1496806 w 6785952"/>
              <a:gd name="connsiteY7742" fmla="*/ 4134636 h 5217112"/>
              <a:gd name="connsiteX7743" fmla="*/ 1492597 w 6785952"/>
              <a:gd name="connsiteY7743" fmla="*/ 4133640 h 5217112"/>
              <a:gd name="connsiteX7744" fmla="*/ 1265933 w 6785952"/>
              <a:gd name="connsiteY7744" fmla="*/ 4130541 h 5217112"/>
              <a:gd name="connsiteX7745" fmla="*/ 1266234 w 6785952"/>
              <a:gd name="connsiteY7745" fmla="*/ 4132422 h 5217112"/>
              <a:gd name="connsiteX7746" fmla="*/ 1267436 w 6785952"/>
              <a:gd name="connsiteY7746" fmla="*/ 4136628 h 5217112"/>
              <a:gd name="connsiteX7747" fmla="*/ 1273448 w 6785952"/>
              <a:gd name="connsiteY7747" fmla="*/ 4133086 h 5217112"/>
              <a:gd name="connsiteX7748" fmla="*/ 1271946 w 6785952"/>
              <a:gd name="connsiteY7748" fmla="*/ 4133086 h 5217112"/>
              <a:gd name="connsiteX7749" fmla="*/ 1283970 w 6785952"/>
              <a:gd name="connsiteY7749" fmla="*/ 4129545 h 5217112"/>
              <a:gd name="connsiteX7750" fmla="*/ 1280363 w 6785952"/>
              <a:gd name="connsiteY7750" fmla="*/ 4133308 h 5217112"/>
              <a:gd name="connsiteX7751" fmla="*/ 1275853 w 6785952"/>
              <a:gd name="connsiteY7751" fmla="*/ 4133197 h 5217112"/>
              <a:gd name="connsiteX7752" fmla="*/ 1276755 w 6785952"/>
              <a:gd name="connsiteY7752" fmla="*/ 4133529 h 5217112"/>
              <a:gd name="connsiteX7753" fmla="*/ 1280062 w 6785952"/>
              <a:gd name="connsiteY7753" fmla="*/ 4136849 h 5217112"/>
              <a:gd name="connsiteX7754" fmla="*/ 1284872 w 6785952"/>
              <a:gd name="connsiteY7754" fmla="*/ 4133972 h 5217112"/>
              <a:gd name="connsiteX7755" fmla="*/ 1287577 w 6785952"/>
              <a:gd name="connsiteY7755" fmla="*/ 4131648 h 5217112"/>
              <a:gd name="connsiteX7756" fmla="*/ 1217835 w 6785952"/>
              <a:gd name="connsiteY7756" fmla="*/ 4129102 h 5217112"/>
              <a:gd name="connsiteX7757" fmla="*/ 1217534 w 6785952"/>
              <a:gd name="connsiteY7757" fmla="*/ 4130320 h 5217112"/>
              <a:gd name="connsiteX7758" fmla="*/ 1224147 w 6785952"/>
              <a:gd name="connsiteY7758" fmla="*/ 4131980 h 5217112"/>
              <a:gd name="connsiteX7759" fmla="*/ 1220841 w 6785952"/>
              <a:gd name="connsiteY7759" fmla="*/ 4138731 h 5217112"/>
              <a:gd name="connsiteX7760" fmla="*/ 1215430 w 6785952"/>
              <a:gd name="connsiteY7760" fmla="*/ 4134193 h 5217112"/>
              <a:gd name="connsiteX7761" fmla="*/ 1216332 w 6785952"/>
              <a:gd name="connsiteY7761" fmla="*/ 4129434 h 5217112"/>
              <a:gd name="connsiteX7762" fmla="*/ 1217835 w 6785952"/>
              <a:gd name="connsiteY7762" fmla="*/ 4129102 h 5217112"/>
              <a:gd name="connsiteX7763" fmla="*/ 2133508 w 6785952"/>
              <a:gd name="connsiteY7763" fmla="*/ 4126778 h 5217112"/>
              <a:gd name="connsiteX7764" fmla="*/ 2137716 w 6785952"/>
              <a:gd name="connsiteY7764" fmla="*/ 4128549 h 5217112"/>
              <a:gd name="connsiteX7765" fmla="*/ 2132906 w 6785952"/>
              <a:gd name="connsiteY7765" fmla="*/ 4136075 h 5217112"/>
              <a:gd name="connsiteX7766" fmla="*/ 2133508 w 6785952"/>
              <a:gd name="connsiteY7766" fmla="*/ 4126778 h 5217112"/>
              <a:gd name="connsiteX7767" fmla="*/ 1104503 w 6785952"/>
              <a:gd name="connsiteY7767" fmla="*/ 4126778 h 5217112"/>
              <a:gd name="connsiteX7768" fmla="*/ 1108712 w 6785952"/>
              <a:gd name="connsiteY7768" fmla="*/ 4128549 h 5217112"/>
              <a:gd name="connsiteX7769" fmla="*/ 1103601 w 6785952"/>
              <a:gd name="connsiteY7769" fmla="*/ 4136075 h 5217112"/>
              <a:gd name="connsiteX7770" fmla="*/ 1104503 w 6785952"/>
              <a:gd name="connsiteY7770" fmla="*/ 4126778 h 5217112"/>
              <a:gd name="connsiteX7771" fmla="*/ 6379993 w 6785952"/>
              <a:gd name="connsiteY7771" fmla="*/ 4126446 h 5217112"/>
              <a:gd name="connsiteX7772" fmla="*/ 6362859 w 6785952"/>
              <a:gd name="connsiteY7772" fmla="*/ 4147142 h 5217112"/>
              <a:gd name="connsiteX7773" fmla="*/ 6356545 w 6785952"/>
              <a:gd name="connsiteY7773" fmla="*/ 4136517 h 5217112"/>
              <a:gd name="connsiteX7774" fmla="*/ 6379993 w 6785952"/>
              <a:gd name="connsiteY7774" fmla="*/ 4126446 h 5217112"/>
              <a:gd name="connsiteX7775" fmla="*/ 1241584 w 6785952"/>
              <a:gd name="connsiteY7775" fmla="*/ 4124897 h 5217112"/>
              <a:gd name="connsiteX7776" fmla="*/ 1242786 w 6785952"/>
              <a:gd name="connsiteY7776" fmla="*/ 4126889 h 5217112"/>
              <a:gd name="connsiteX7777" fmla="*/ 1243687 w 6785952"/>
              <a:gd name="connsiteY7777" fmla="*/ 4130541 h 5217112"/>
              <a:gd name="connsiteX7778" fmla="*/ 1261725 w 6785952"/>
              <a:gd name="connsiteY7778" fmla="*/ 4129656 h 5217112"/>
              <a:gd name="connsiteX7779" fmla="*/ 1261725 w 6785952"/>
              <a:gd name="connsiteY7779" fmla="*/ 4128770 h 5217112"/>
              <a:gd name="connsiteX7780" fmla="*/ 1251503 w 6785952"/>
              <a:gd name="connsiteY7780" fmla="*/ 4125450 h 5217112"/>
              <a:gd name="connsiteX7781" fmla="*/ 6218263 w 6785952"/>
              <a:gd name="connsiteY7781" fmla="*/ 4123237 h 5217112"/>
              <a:gd name="connsiteX7782" fmla="*/ 6230287 w 6785952"/>
              <a:gd name="connsiteY7782" fmla="*/ 4129102 h 5217112"/>
              <a:gd name="connsiteX7783" fmla="*/ 6236299 w 6785952"/>
              <a:gd name="connsiteY7783" fmla="*/ 4146367 h 5217112"/>
              <a:gd name="connsiteX7784" fmla="*/ 6231790 w 6785952"/>
              <a:gd name="connsiteY7784" fmla="*/ 4155331 h 5217112"/>
              <a:gd name="connsiteX7785" fmla="*/ 6202931 w 6785952"/>
              <a:gd name="connsiteY7785" fmla="*/ 4154003 h 5217112"/>
              <a:gd name="connsiteX7786" fmla="*/ 6200226 w 6785952"/>
              <a:gd name="connsiteY7786" fmla="*/ 4150572 h 5217112"/>
              <a:gd name="connsiteX7787" fmla="*/ 6199323 w 6785952"/>
              <a:gd name="connsiteY7787" fmla="*/ 4150130 h 5217112"/>
              <a:gd name="connsiteX7788" fmla="*/ 6198722 w 6785952"/>
              <a:gd name="connsiteY7788" fmla="*/ 4152233 h 5217112"/>
              <a:gd name="connsiteX7789" fmla="*/ 6196017 w 6785952"/>
              <a:gd name="connsiteY7789" fmla="*/ 4152675 h 5217112"/>
              <a:gd name="connsiteX7790" fmla="*/ 6191808 w 6785952"/>
              <a:gd name="connsiteY7790" fmla="*/ 4151569 h 5217112"/>
              <a:gd name="connsiteX7791" fmla="*/ 6188200 w 6785952"/>
              <a:gd name="connsiteY7791" fmla="*/ 4151901 h 5217112"/>
              <a:gd name="connsiteX7792" fmla="*/ 6186097 w 6785952"/>
              <a:gd name="connsiteY7792" fmla="*/ 4147806 h 5217112"/>
              <a:gd name="connsiteX7793" fmla="*/ 6189403 w 6785952"/>
              <a:gd name="connsiteY7793" fmla="*/ 4147584 h 5217112"/>
              <a:gd name="connsiteX7794" fmla="*/ 6194814 w 6785952"/>
              <a:gd name="connsiteY7794" fmla="*/ 4148802 h 5217112"/>
              <a:gd name="connsiteX7795" fmla="*/ 6197520 w 6785952"/>
              <a:gd name="connsiteY7795" fmla="*/ 4148912 h 5217112"/>
              <a:gd name="connsiteX7796" fmla="*/ 6193912 w 6785952"/>
              <a:gd name="connsiteY7796" fmla="*/ 4146588 h 5217112"/>
              <a:gd name="connsiteX7797" fmla="*/ 6196318 w 6785952"/>
              <a:gd name="connsiteY7797" fmla="*/ 4142825 h 5217112"/>
              <a:gd name="connsiteX7798" fmla="*/ 6197219 w 6785952"/>
              <a:gd name="connsiteY7798" fmla="*/ 4139284 h 5217112"/>
              <a:gd name="connsiteX7799" fmla="*/ 6194212 w 6785952"/>
              <a:gd name="connsiteY7799" fmla="*/ 4136849 h 5217112"/>
              <a:gd name="connsiteX7800" fmla="*/ 6198722 w 6785952"/>
              <a:gd name="connsiteY7800" fmla="*/ 4134304 h 5217112"/>
              <a:gd name="connsiteX7801" fmla="*/ 6199323 w 6785952"/>
              <a:gd name="connsiteY7801" fmla="*/ 4134414 h 5217112"/>
              <a:gd name="connsiteX7802" fmla="*/ 6203232 w 6785952"/>
              <a:gd name="connsiteY7802" fmla="*/ 4129545 h 5217112"/>
              <a:gd name="connsiteX7803" fmla="*/ 6218263 w 6785952"/>
              <a:gd name="connsiteY7803" fmla="*/ 4123237 h 5217112"/>
              <a:gd name="connsiteX7804" fmla="*/ 1240681 w 6785952"/>
              <a:gd name="connsiteY7804" fmla="*/ 4123126 h 5217112"/>
              <a:gd name="connsiteX7805" fmla="*/ 1240681 w 6785952"/>
              <a:gd name="connsiteY7805" fmla="*/ 4123679 h 5217112"/>
              <a:gd name="connsiteX7806" fmla="*/ 1241283 w 6785952"/>
              <a:gd name="connsiteY7806" fmla="*/ 4124675 h 5217112"/>
              <a:gd name="connsiteX7807" fmla="*/ 1579174 w 6785952"/>
              <a:gd name="connsiteY7807" fmla="*/ 4117150 h 5217112"/>
              <a:gd name="connsiteX7808" fmla="*/ 1580977 w 6785952"/>
              <a:gd name="connsiteY7808" fmla="*/ 4121798 h 5217112"/>
              <a:gd name="connsiteX7809" fmla="*/ 1576468 w 6785952"/>
              <a:gd name="connsiteY7809" fmla="*/ 4124675 h 5217112"/>
              <a:gd name="connsiteX7810" fmla="*/ 1574965 w 6785952"/>
              <a:gd name="connsiteY7810" fmla="*/ 4130652 h 5217112"/>
              <a:gd name="connsiteX7811" fmla="*/ 1570456 w 6785952"/>
              <a:gd name="connsiteY7811" fmla="*/ 4133308 h 5217112"/>
              <a:gd name="connsiteX7812" fmla="*/ 1570456 w 6785952"/>
              <a:gd name="connsiteY7812" fmla="*/ 4131869 h 5217112"/>
              <a:gd name="connsiteX7813" fmla="*/ 1573161 w 6785952"/>
              <a:gd name="connsiteY7813" fmla="*/ 4128992 h 5217112"/>
              <a:gd name="connsiteX7814" fmla="*/ 1575867 w 6785952"/>
              <a:gd name="connsiteY7814" fmla="*/ 4118588 h 5217112"/>
              <a:gd name="connsiteX7815" fmla="*/ 1579174 w 6785952"/>
              <a:gd name="connsiteY7815" fmla="*/ 4117150 h 5217112"/>
              <a:gd name="connsiteX7816" fmla="*/ 440144 w 6785952"/>
              <a:gd name="connsiteY7816" fmla="*/ 4117150 h 5217112"/>
              <a:gd name="connsiteX7817" fmla="*/ 445555 w 6785952"/>
              <a:gd name="connsiteY7817" fmla="*/ 4117371 h 5217112"/>
              <a:gd name="connsiteX7818" fmla="*/ 461488 w 6785952"/>
              <a:gd name="connsiteY7818" fmla="*/ 4126446 h 5217112"/>
              <a:gd name="connsiteX7819" fmla="*/ 455475 w 6785952"/>
              <a:gd name="connsiteY7819" fmla="*/ 4135300 h 5217112"/>
              <a:gd name="connsiteX7820" fmla="*/ 440144 w 6785952"/>
              <a:gd name="connsiteY7820" fmla="*/ 4117150 h 5217112"/>
              <a:gd name="connsiteX7821" fmla="*/ 2294336 w 6785952"/>
              <a:gd name="connsiteY7821" fmla="*/ 4113830 h 5217112"/>
              <a:gd name="connsiteX7822" fmla="*/ 2298545 w 6785952"/>
              <a:gd name="connsiteY7822" fmla="*/ 4116596 h 5217112"/>
              <a:gd name="connsiteX7823" fmla="*/ 2297643 w 6785952"/>
              <a:gd name="connsiteY7823" fmla="*/ 4122130 h 5217112"/>
              <a:gd name="connsiteX7824" fmla="*/ 2292533 w 6785952"/>
              <a:gd name="connsiteY7824" fmla="*/ 4126225 h 5217112"/>
              <a:gd name="connsiteX7825" fmla="*/ 2284717 w 6785952"/>
              <a:gd name="connsiteY7825" fmla="*/ 4116375 h 5217112"/>
              <a:gd name="connsiteX7826" fmla="*/ 2294336 w 6785952"/>
              <a:gd name="connsiteY7826" fmla="*/ 4113830 h 5217112"/>
              <a:gd name="connsiteX7827" fmla="*/ 6093507 w 6785952"/>
              <a:gd name="connsiteY7827" fmla="*/ 4113608 h 5217112"/>
              <a:gd name="connsiteX7828" fmla="*/ 6108238 w 6785952"/>
              <a:gd name="connsiteY7828" fmla="*/ 4138067 h 5217112"/>
              <a:gd name="connsiteX7829" fmla="*/ 6102826 w 6785952"/>
              <a:gd name="connsiteY7829" fmla="*/ 4147252 h 5217112"/>
              <a:gd name="connsiteX7830" fmla="*/ 6086293 w 6785952"/>
              <a:gd name="connsiteY7830" fmla="*/ 4155110 h 5217112"/>
              <a:gd name="connsiteX7831" fmla="*/ 6074268 w 6785952"/>
              <a:gd name="connsiteY7831" fmla="*/ 4119142 h 5217112"/>
              <a:gd name="connsiteX7832" fmla="*/ 6078777 w 6785952"/>
              <a:gd name="connsiteY7832" fmla="*/ 4117814 h 5217112"/>
              <a:gd name="connsiteX7833" fmla="*/ 6078476 w 6785952"/>
              <a:gd name="connsiteY7833" fmla="*/ 4116375 h 5217112"/>
              <a:gd name="connsiteX7834" fmla="*/ 6087795 w 6785952"/>
              <a:gd name="connsiteY7834" fmla="*/ 4113830 h 5217112"/>
              <a:gd name="connsiteX7835" fmla="*/ 6089599 w 6785952"/>
              <a:gd name="connsiteY7835" fmla="*/ 4114826 h 5217112"/>
              <a:gd name="connsiteX7836" fmla="*/ 2119379 w 6785952"/>
              <a:gd name="connsiteY7836" fmla="*/ 4113387 h 5217112"/>
              <a:gd name="connsiteX7837" fmla="*/ 2119980 w 6785952"/>
              <a:gd name="connsiteY7837" fmla="*/ 4114494 h 5217112"/>
              <a:gd name="connsiteX7838" fmla="*/ 2118778 w 6785952"/>
              <a:gd name="connsiteY7838" fmla="*/ 4120138 h 5217112"/>
              <a:gd name="connsiteX7839" fmla="*/ 2118477 w 6785952"/>
              <a:gd name="connsiteY7839" fmla="*/ 4114383 h 5217112"/>
              <a:gd name="connsiteX7840" fmla="*/ 2119379 w 6785952"/>
              <a:gd name="connsiteY7840" fmla="*/ 4113387 h 5217112"/>
              <a:gd name="connsiteX7841" fmla="*/ 5271626 w 6785952"/>
              <a:gd name="connsiteY7841" fmla="*/ 4113166 h 5217112"/>
              <a:gd name="connsiteX7842" fmla="*/ 5272227 w 6785952"/>
              <a:gd name="connsiteY7842" fmla="*/ 4119363 h 5217112"/>
              <a:gd name="connsiteX7843" fmla="*/ 5274031 w 6785952"/>
              <a:gd name="connsiteY7843" fmla="*/ 4115379 h 5217112"/>
              <a:gd name="connsiteX7844" fmla="*/ 2129299 w 6785952"/>
              <a:gd name="connsiteY7844" fmla="*/ 4113055 h 5217112"/>
              <a:gd name="connsiteX7845" fmla="*/ 2129299 w 6785952"/>
              <a:gd name="connsiteY7845" fmla="*/ 4118699 h 5217112"/>
              <a:gd name="connsiteX7846" fmla="*/ 2127495 w 6785952"/>
              <a:gd name="connsiteY7846" fmla="*/ 4118588 h 5217112"/>
              <a:gd name="connsiteX7847" fmla="*/ 2129299 w 6785952"/>
              <a:gd name="connsiteY7847" fmla="*/ 4113055 h 5217112"/>
              <a:gd name="connsiteX7848" fmla="*/ 1100295 w 6785952"/>
              <a:gd name="connsiteY7848" fmla="*/ 4113055 h 5217112"/>
              <a:gd name="connsiteX7849" fmla="*/ 1099994 w 6785952"/>
              <a:gd name="connsiteY7849" fmla="*/ 4118699 h 5217112"/>
              <a:gd name="connsiteX7850" fmla="*/ 1098491 w 6785952"/>
              <a:gd name="connsiteY7850" fmla="*/ 4118588 h 5217112"/>
              <a:gd name="connsiteX7851" fmla="*/ 1100295 w 6785952"/>
              <a:gd name="connsiteY7851" fmla="*/ 4113055 h 5217112"/>
              <a:gd name="connsiteX7852" fmla="*/ 900085 w 6785952"/>
              <a:gd name="connsiteY7852" fmla="*/ 4112723 h 5217112"/>
              <a:gd name="connsiteX7853" fmla="*/ 920226 w 6785952"/>
              <a:gd name="connsiteY7853" fmla="*/ 4121245 h 5217112"/>
              <a:gd name="connsiteX7854" fmla="*/ 912710 w 6785952"/>
              <a:gd name="connsiteY7854" fmla="*/ 4130430 h 5217112"/>
              <a:gd name="connsiteX7855" fmla="*/ 900085 w 6785952"/>
              <a:gd name="connsiteY7855" fmla="*/ 4112723 h 5217112"/>
              <a:gd name="connsiteX7856" fmla="*/ 387837 w 6785952"/>
              <a:gd name="connsiteY7856" fmla="*/ 4112502 h 5217112"/>
              <a:gd name="connsiteX7857" fmla="*/ 382125 w 6785952"/>
              <a:gd name="connsiteY7857" fmla="*/ 4128770 h 5217112"/>
              <a:gd name="connsiteX7858" fmla="*/ 375211 w 6785952"/>
              <a:gd name="connsiteY7858" fmla="*/ 4122462 h 5217112"/>
              <a:gd name="connsiteX7859" fmla="*/ 387837 w 6785952"/>
              <a:gd name="connsiteY7859" fmla="*/ 4112502 h 5217112"/>
              <a:gd name="connsiteX7860" fmla="*/ 5140558 w 6785952"/>
              <a:gd name="connsiteY7860" fmla="*/ 4110399 h 5217112"/>
              <a:gd name="connsiteX7861" fmla="*/ 5146570 w 6785952"/>
              <a:gd name="connsiteY7861" fmla="*/ 4110952 h 5217112"/>
              <a:gd name="connsiteX7862" fmla="*/ 5170620 w 6785952"/>
              <a:gd name="connsiteY7862" fmla="*/ 4134193 h 5217112"/>
              <a:gd name="connsiteX7863" fmla="*/ 5150478 w 6785952"/>
              <a:gd name="connsiteY7863" fmla="*/ 4126999 h 5217112"/>
              <a:gd name="connsiteX7864" fmla="*/ 5133643 w 6785952"/>
              <a:gd name="connsiteY7864" fmla="*/ 4111948 h 5217112"/>
              <a:gd name="connsiteX7865" fmla="*/ 5140558 w 6785952"/>
              <a:gd name="connsiteY7865" fmla="*/ 4110399 h 5217112"/>
              <a:gd name="connsiteX7866" fmla="*/ 1346799 w 6785952"/>
              <a:gd name="connsiteY7866" fmla="*/ 4110399 h 5217112"/>
              <a:gd name="connsiteX7867" fmla="*/ 1352811 w 6785952"/>
              <a:gd name="connsiteY7867" fmla="*/ 4110952 h 5217112"/>
              <a:gd name="connsiteX7868" fmla="*/ 1376860 w 6785952"/>
              <a:gd name="connsiteY7868" fmla="*/ 4134193 h 5217112"/>
              <a:gd name="connsiteX7869" fmla="*/ 1356719 w 6785952"/>
              <a:gd name="connsiteY7869" fmla="*/ 4126999 h 5217112"/>
              <a:gd name="connsiteX7870" fmla="*/ 1340185 w 6785952"/>
              <a:gd name="connsiteY7870" fmla="*/ 4111948 h 5217112"/>
              <a:gd name="connsiteX7871" fmla="*/ 1346799 w 6785952"/>
              <a:gd name="connsiteY7871" fmla="*/ 4110399 h 5217112"/>
              <a:gd name="connsiteX7872" fmla="*/ 5225933 w 6785952"/>
              <a:gd name="connsiteY7872" fmla="*/ 4107411 h 5217112"/>
              <a:gd name="connsiteX7873" fmla="*/ 5199178 w 6785952"/>
              <a:gd name="connsiteY7873" fmla="*/ 4129102 h 5217112"/>
              <a:gd name="connsiteX7874" fmla="*/ 5208798 w 6785952"/>
              <a:gd name="connsiteY7874" fmla="*/ 4114051 h 5217112"/>
              <a:gd name="connsiteX7875" fmla="*/ 5225933 w 6785952"/>
              <a:gd name="connsiteY7875" fmla="*/ 4107411 h 5217112"/>
              <a:gd name="connsiteX7876" fmla="*/ 1432173 w 6785952"/>
              <a:gd name="connsiteY7876" fmla="*/ 4107411 h 5217112"/>
              <a:gd name="connsiteX7877" fmla="*/ 1421652 w 6785952"/>
              <a:gd name="connsiteY7877" fmla="*/ 4122905 h 5217112"/>
              <a:gd name="connsiteX7878" fmla="*/ 1418344 w 6785952"/>
              <a:gd name="connsiteY7878" fmla="*/ 4124897 h 5217112"/>
              <a:gd name="connsiteX7879" fmla="*/ 1416241 w 6785952"/>
              <a:gd name="connsiteY7879" fmla="*/ 4127221 h 5217112"/>
              <a:gd name="connsiteX7880" fmla="*/ 1411130 w 6785952"/>
              <a:gd name="connsiteY7880" fmla="*/ 4128770 h 5217112"/>
              <a:gd name="connsiteX7881" fmla="*/ 1410529 w 6785952"/>
              <a:gd name="connsiteY7881" fmla="*/ 4128328 h 5217112"/>
              <a:gd name="connsiteX7882" fmla="*/ 1405719 w 6785952"/>
              <a:gd name="connsiteY7882" fmla="*/ 4129102 h 5217112"/>
              <a:gd name="connsiteX7883" fmla="*/ 1407523 w 6785952"/>
              <a:gd name="connsiteY7883" fmla="*/ 4125671 h 5217112"/>
              <a:gd name="connsiteX7884" fmla="*/ 1404216 w 6785952"/>
              <a:gd name="connsiteY7884" fmla="*/ 4122462 h 5217112"/>
              <a:gd name="connsiteX7885" fmla="*/ 1416842 w 6785952"/>
              <a:gd name="connsiteY7885" fmla="*/ 4112502 h 5217112"/>
              <a:gd name="connsiteX7886" fmla="*/ 1417142 w 6785952"/>
              <a:gd name="connsiteY7886" fmla="*/ 4113498 h 5217112"/>
              <a:gd name="connsiteX7887" fmla="*/ 1418946 w 6785952"/>
              <a:gd name="connsiteY7887" fmla="*/ 4113055 h 5217112"/>
              <a:gd name="connsiteX7888" fmla="*/ 1432173 w 6785952"/>
              <a:gd name="connsiteY7888" fmla="*/ 4107411 h 5217112"/>
              <a:gd name="connsiteX7889" fmla="*/ 6319570 w 6785952"/>
              <a:gd name="connsiteY7889" fmla="*/ 4105529 h 5217112"/>
              <a:gd name="connsiteX7890" fmla="*/ 6327987 w 6785952"/>
              <a:gd name="connsiteY7890" fmla="*/ 4110841 h 5217112"/>
              <a:gd name="connsiteX7891" fmla="*/ 6318969 w 6785952"/>
              <a:gd name="connsiteY7891" fmla="*/ 4111727 h 5217112"/>
              <a:gd name="connsiteX7892" fmla="*/ 6319570 w 6785952"/>
              <a:gd name="connsiteY7892" fmla="*/ 4105529 h 5217112"/>
              <a:gd name="connsiteX7893" fmla="*/ 5836782 w 6785952"/>
              <a:gd name="connsiteY7893" fmla="*/ 4105197 h 5217112"/>
              <a:gd name="connsiteX7894" fmla="*/ 5834978 w 6785952"/>
              <a:gd name="connsiteY7894" fmla="*/ 4106304 h 5217112"/>
              <a:gd name="connsiteX7895" fmla="*/ 5828063 w 6785952"/>
              <a:gd name="connsiteY7895" fmla="*/ 4107300 h 5217112"/>
              <a:gd name="connsiteX7896" fmla="*/ 5828063 w 6785952"/>
              <a:gd name="connsiteY7896" fmla="*/ 4119142 h 5217112"/>
              <a:gd name="connsiteX7897" fmla="*/ 5838886 w 6785952"/>
              <a:gd name="connsiteY7897" fmla="*/ 4114936 h 5217112"/>
              <a:gd name="connsiteX7898" fmla="*/ 1473357 w 6785952"/>
              <a:gd name="connsiteY7898" fmla="*/ 4103205 h 5217112"/>
              <a:gd name="connsiteX7899" fmla="*/ 1476965 w 6785952"/>
              <a:gd name="connsiteY7899" fmla="*/ 4105087 h 5217112"/>
              <a:gd name="connsiteX7900" fmla="*/ 1477266 w 6785952"/>
              <a:gd name="connsiteY7900" fmla="*/ 4106636 h 5217112"/>
              <a:gd name="connsiteX7901" fmla="*/ 1478167 w 6785952"/>
              <a:gd name="connsiteY7901" fmla="*/ 4112612 h 5217112"/>
              <a:gd name="connsiteX7902" fmla="*/ 1470652 w 6785952"/>
              <a:gd name="connsiteY7902" fmla="*/ 4116043 h 5217112"/>
              <a:gd name="connsiteX7903" fmla="*/ 1466143 w 6785952"/>
              <a:gd name="connsiteY7903" fmla="*/ 4107189 h 5217112"/>
              <a:gd name="connsiteX7904" fmla="*/ 1473357 w 6785952"/>
              <a:gd name="connsiteY7904" fmla="*/ 4103205 h 5217112"/>
              <a:gd name="connsiteX7905" fmla="*/ 6103728 w 6785952"/>
              <a:gd name="connsiteY7905" fmla="*/ 4101434 h 5217112"/>
              <a:gd name="connsiteX7906" fmla="*/ 6109440 w 6785952"/>
              <a:gd name="connsiteY7906" fmla="*/ 4102873 h 5217112"/>
              <a:gd name="connsiteX7907" fmla="*/ 6112145 w 6785952"/>
              <a:gd name="connsiteY7907" fmla="*/ 4111284 h 5217112"/>
              <a:gd name="connsiteX7908" fmla="*/ 6095311 w 6785952"/>
              <a:gd name="connsiteY7908" fmla="*/ 4113166 h 5217112"/>
              <a:gd name="connsiteX7909" fmla="*/ 6103728 w 6785952"/>
              <a:gd name="connsiteY7909" fmla="*/ 4101434 h 5217112"/>
              <a:gd name="connsiteX7910" fmla="*/ 1190779 w 6785952"/>
              <a:gd name="connsiteY7910" fmla="*/ 4100217 h 5217112"/>
              <a:gd name="connsiteX7911" fmla="*/ 1206111 w 6785952"/>
              <a:gd name="connsiteY7911" fmla="*/ 4108960 h 5217112"/>
              <a:gd name="connsiteX7912" fmla="*/ 1167332 w 6785952"/>
              <a:gd name="connsiteY7912" fmla="*/ 4134082 h 5217112"/>
              <a:gd name="connsiteX7913" fmla="*/ 1190779 w 6785952"/>
              <a:gd name="connsiteY7913" fmla="*/ 4100217 h 5217112"/>
              <a:gd name="connsiteX7914" fmla="*/ 872128 w 6785952"/>
              <a:gd name="connsiteY7914" fmla="*/ 4096233 h 5217112"/>
              <a:gd name="connsiteX7915" fmla="*/ 885655 w 6785952"/>
              <a:gd name="connsiteY7915" fmla="*/ 4129545 h 5217112"/>
              <a:gd name="connsiteX7916" fmla="*/ 827035 w 6785952"/>
              <a:gd name="connsiteY7916" fmla="*/ 4164296 h 5217112"/>
              <a:gd name="connsiteX7917" fmla="*/ 840863 w 6785952"/>
              <a:gd name="connsiteY7917" fmla="*/ 4128549 h 5217112"/>
              <a:gd name="connsiteX7918" fmla="*/ 853490 w 6785952"/>
              <a:gd name="connsiteY7918" fmla="*/ 4115600 h 5217112"/>
              <a:gd name="connsiteX7919" fmla="*/ 854692 w 6785952"/>
              <a:gd name="connsiteY7919" fmla="*/ 4113055 h 5217112"/>
              <a:gd name="connsiteX7920" fmla="*/ 855293 w 6785952"/>
              <a:gd name="connsiteY7920" fmla="*/ 4113830 h 5217112"/>
              <a:gd name="connsiteX7921" fmla="*/ 5109595 w 6785952"/>
              <a:gd name="connsiteY7921" fmla="*/ 4095569 h 5217112"/>
              <a:gd name="connsiteX7922" fmla="*/ 5112901 w 6785952"/>
              <a:gd name="connsiteY7922" fmla="*/ 4097672 h 5217112"/>
              <a:gd name="connsiteX7923" fmla="*/ 5109294 w 6785952"/>
              <a:gd name="connsiteY7923" fmla="*/ 4105751 h 5217112"/>
              <a:gd name="connsiteX7924" fmla="*/ 5104785 w 6785952"/>
              <a:gd name="connsiteY7924" fmla="*/ 4104312 h 5217112"/>
              <a:gd name="connsiteX7925" fmla="*/ 5109595 w 6785952"/>
              <a:gd name="connsiteY7925" fmla="*/ 4095569 h 5217112"/>
              <a:gd name="connsiteX7926" fmla="*/ 1627272 w 6785952"/>
              <a:gd name="connsiteY7926" fmla="*/ 4093134 h 5217112"/>
              <a:gd name="connsiteX7927" fmla="*/ 1629076 w 6785952"/>
              <a:gd name="connsiteY7927" fmla="*/ 4093687 h 5217112"/>
              <a:gd name="connsiteX7928" fmla="*/ 1629376 w 6785952"/>
              <a:gd name="connsiteY7928" fmla="*/ 4095126 h 5217112"/>
              <a:gd name="connsiteX7929" fmla="*/ 1626370 w 6785952"/>
              <a:gd name="connsiteY7929" fmla="*/ 4093577 h 5217112"/>
              <a:gd name="connsiteX7930" fmla="*/ 1627272 w 6785952"/>
              <a:gd name="connsiteY7930" fmla="*/ 4093134 h 5217112"/>
              <a:gd name="connsiteX7931" fmla="*/ 766311 w 6785952"/>
              <a:gd name="connsiteY7931" fmla="*/ 4089371 h 5217112"/>
              <a:gd name="connsiteX7932" fmla="*/ 782544 w 6785952"/>
              <a:gd name="connsiteY7932" fmla="*/ 4097561 h 5217112"/>
              <a:gd name="connsiteX7933" fmla="*/ 752482 w 6785952"/>
              <a:gd name="connsiteY7933" fmla="*/ 4165292 h 5217112"/>
              <a:gd name="connsiteX7934" fmla="*/ 750078 w 6785952"/>
              <a:gd name="connsiteY7934" fmla="*/ 4153229 h 5217112"/>
              <a:gd name="connsiteX7935" fmla="*/ 748575 w 6785952"/>
              <a:gd name="connsiteY7935" fmla="*/ 4153782 h 5217112"/>
              <a:gd name="connsiteX7936" fmla="*/ 740458 w 6785952"/>
              <a:gd name="connsiteY7936" fmla="*/ 4167395 h 5217112"/>
              <a:gd name="connsiteX7937" fmla="*/ 725728 w 6785952"/>
              <a:gd name="connsiteY7937" fmla="*/ 4162304 h 5217112"/>
              <a:gd name="connsiteX7938" fmla="*/ 721519 w 6785952"/>
              <a:gd name="connsiteY7938" fmla="*/ 4157766 h 5217112"/>
              <a:gd name="connsiteX7939" fmla="*/ 749176 w 6785952"/>
              <a:gd name="connsiteY7939" fmla="*/ 4140169 h 5217112"/>
              <a:gd name="connsiteX7940" fmla="*/ 749777 w 6785952"/>
              <a:gd name="connsiteY7940" fmla="*/ 4140723 h 5217112"/>
              <a:gd name="connsiteX7941" fmla="*/ 752182 w 6785952"/>
              <a:gd name="connsiteY7941" fmla="*/ 4127553 h 5217112"/>
              <a:gd name="connsiteX7942" fmla="*/ 757894 w 6785952"/>
              <a:gd name="connsiteY7942" fmla="*/ 4111837 h 5217112"/>
              <a:gd name="connsiteX7943" fmla="*/ 754888 w 6785952"/>
              <a:gd name="connsiteY7943" fmla="*/ 4111616 h 5217112"/>
              <a:gd name="connsiteX7944" fmla="*/ 749476 w 6785952"/>
              <a:gd name="connsiteY7944" fmla="*/ 4108628 h 5217112"/>
              <a:gd name="connsiteX7945" fmla="*/ 755188 w 6785952"/>
              <a:gd name="connsiteY7945" fmla="*/ 4092802 h 5217112"/>
              <a:gd name="connsiteX7946" fmla="*/ 763004 w 6785952"/>
              <a:gd name="connsiteY7946" fmla="*/ 4097229 h 5217112"/>
              <a:gd name="connsiteX7947" fmla="*/ 763004 w 6785952"/>
              <a:gd name="connsiteY7947" fmla="*/ 4097672 h 5217112"/>
              <a:gd name="connsiteX7948" fmla="*/ 705286 w 6785952"/>
              <a:gd name="connsiteY7948" fmla="*/ 4085608 h 5217112"/>
              <a:gd name="connsiteX7949" fmla="*/ 714606 w 6785952"/>
              <a:gd name="connsiteY7949" fmla="*/ 4093577 h 5217112"/>
              <a:gd name="connsiteX7950" fmla="*/ 700176 w 6785952"/>
              <a:gd name="connsiteY7950" fmla="*/ 4095458 h 5217112"/>
              <a:gd name="connsiteX7951" fmla="*/ 705286 w 6785952"/>
              <a:gd name="connsiteY7951" fmla="*/ 4085608 h 5217112"/>
              <a:gd name="connsiteX7952" fmla="*/ 5885482 w 6785952"/>
              <a:gd name="connsiteY7952" fmla="*/ 4083727 h 5217112"/>
              <a:gd name="connsiteX7953" fmla="*/ 5877364 w 6785952"/>
              <a:gd name="connsiteY7953" fmla="*/ 4085498 h 5217112"/>
              <a:gd name="connsiteX7954" fmla="*/ 5867745 w 6785952"/>
              <a:gd name="connsiteY7954" fmla="*/ 4088375 h 5217112"/>
              <a:gd name="connsiteX7955" fmla="*/ 5875561 w 6785952"/>
              <a:gd name="connsiteY7955" fmla="*/ 4092249 h 5217112"/>
              <a:gd name="connsiteX7956" fmla="*/ 5877364 w 6785952"/>
              <a:gd name="connsiteY7956" fmla="*/ 4094683 h 5217112"/>
              <a:gd name="connsiteX7957" fmla="*/ 5886384 w 6785952"/>
              <a:gd name="connsiteY7957" fmla="*/ 4090589 h 5217112"/>
              <a:gd name="connsiteX7958" fmla="*/ 5884880 w 6785952"/>
              <a:gd name="connsiteY7958" fmla="*/ 4088375 h 5217112"/>
              <a:gd name="connsiteX7959" fmla="*/ 1514842 w 6785952"/>
              <a:gd name="connsiteY7959" fmla="*/ 4082731 h 5217112"/>
              <a:gd name="connsiteX7960" fmla="*/ 1516045 w 6785952"/>
              <a:gd name="connsiteY7960" fmla="*/ 4083838 h 5217112"/>
              <a:gd name="connsiteX7961" fmla="*/ 1516045 w 6785952"/>
              <a:gd name="connsiteY7961" fmla="*/ 4083395 h 5217112"/>
              <a:gd name="connsiteX7962" fmla="*/ 6318969 w 6785952"/>
              <a:gd name="connsiteY7962" fmla="*/ 4079632 h 5217112"/>
              <a:gd name="connsiteX7963" fmla="*/ 6355944 w 6785952"/>
              <a:gd name="connsiteY7963" fmla="*/ 4087932 h 5217112"/>
              <a:gd name="connsiteX7964" fmla="*/ 6359851 w 6785952"/>
              <a:gd name="connsiteY7964" fmla="*/ 4097229 h 5217112"/>
              <a:gd name="connsiteX7965" fmla="*/ 6318969 w 6785952"/>
              <a:gd name="connsiteY7965" fmla="*/ 4079632 h 5217112"/>
              <a:gd name="connsiteX7966" fmla="*/ 2248643 w 6785952"/>
              <a:gd name="connsiteY7966" fmla="*/ 4078415 h 5217112"/>
              <a:gd name="connsiteX7967" fmla="*/ 2255557 w 6785952"/>
              <a:gd name="connsiteY7967" fmla="*/ 4082620 h 5217112"/>
              <a:gd name="connsiteX7968" fmla="*/ 2256158 w 6785952"/>
              <a:gd name="connsiteY7968" fmla="*/ 4086936 h 5217112"/>
              <a:gd name="connsiteX7969" fmla="*/ 2260668 w 6785952"/>
              <a:gd name="connsiteY7969" fmla="*/ 4088486 h 5217112"/>
              <a:gd name="connsiteX7970" fmla="*/ 2268785 w 6785952"/>
              <a:gd name="connsiteY7970" fmla="*/ 4092581 h 5217112"/>
              <a:gd name="connsiteX7971" fmla="*/ 2282913 w 6785952"/>
              <a:gd name="connsiteY7971" fmla="*/ 4094351 h 5217112"/>
              <a:gd name="connsiteX7972" fmla="*/ 2279907 w 6785952"/>
              <a:gd name="connsiteY7972" fmla="*/ 4140391 h 5217112"/>
              <a:gd name="connsiteX7973" fmla="*/ 2272091 w 6785952"/>
              <a:gd name="connsiteY7973" fmla="*/ 4156106 h 5217112"/>
              <a:gd name="connsiteX7974" fmla="*/ 2273594 w 6785952"/>
              <a:gd name="connsiteY7974" fmla="*/ 4160201 h 5217112"/>
              <a:gd name="connsiteX7975" fmla="*/ 2275397 w 6785952"/>
              <a:gd name="connsiteY7975" fmla="*/ 4177687 h 5217112"/>
              <a:gd name="connsiteX7976" fmla="*/ 2264275 w 6785952"/>
              <a:gd name="connsiteY7976" fmla="*/ 4165070 h 5217112"/>
              <a:gd name="connsiteX7977" fmla="*/ 2257361 w 6785952"/>
              <a:gd name="connsiteY7977" fmla="*/ 4170604 h 5217112"/>
              <a:gd name="connsiteX7978" fmla="*/ 2244434 w 6785952"/>
              <a:gd name="connsiteY7978" fmla="*/ 4173592 h 5217112"/>
              <a:gd name="connsiteX7979" fmla="*/ 2248343 w 6785952"/>
              <a:gd name="connsiteY7979" fmla="*/ 4177134 h 5217112"/>
              <a:gd name="connsiteX7980" fmla="*/ 2233011 w 6785952"/>
              <a:gd name="connsiteY7980" fmla="*/ 4180564 h 5217112"/>
              <a:gd name="connsiteX7981" fmla="*/ 2239324 w 6785952"/>
              <a:gd name="connsiteY7981" fmla="*/ 4173039 h 5217112"/>
              <a:gd name="connsiteX7982" fmla="*/ 2231207 w 6785952"/>
              <a:gd name="connsiteY7982" fmla="*/ 4171600 h 5217112"/>
              <a:gd name="connsiteX7983" fmla="*/ 2213171 w 6785952"/>
              <a:gd name="connsiteY7983" fmla="*/ 4154114 h 5217112"/>
              <a:gd name="connsiteX7984" fmla="*/ 2211066 w 6785952"/>
              <a:gd name="connsiteY7984" fmla="*/ 4150130 h 5217112"/>
              <a:gd name="connsiteX7985" fmla="*/ 2202349 w 6785952"/>
              <a:gd name="connsiteY7985" fmla="*/ 4150904 h 5217112"/>
              <a:gd name="connsiteX7986" fmla="*/ 2197538 w 6785952"/>
              <a:gd name="connsiteY7986" fmla="*/ 4136185 h 5217112"/>
              <a:gd name="connsiteX7987" fmla="*/ 2207459 w 6785952"/>
              <a:gd name="connsiteY7987" fmla="*/ 4133861 h 5217112"/>
              <a:gd name="connsiteX7988" fmla="*/ 2207459 w 6785952"/>
              <a:gd name="connsiteY7988" fmla="*/ 4131094 h 5217112"/>
              <a:gd name="connsiteX7989" fmla="*/ 2206858 w 6785952"/>
              <a:gd name="connsiteY7989" fmla="*/ 4131758 h 5217112"/>
              <a:gd name="connsiteX7990" fmla="*/ 2196336 w 6785952"/>
              <a:gd name="connsiteY7990" fmla="*/ 4134082 h 5217112"/>
              <a:gd name="connsiteX7991" fmla="*/ 2212269 w 6785952"/>
              <a:gd name="connsiteY7991" fmla="*/ 4103980 h 5217112"/>
              <a:gd name="connsiteX7992" fmla="*/ 2216177 w 6785952"/>
              <a:gd name="connsiteY7992" fmla="*/ 4101988 h 5217112"/>
              <a:gd name="connsiteX7993" fmla="*/ 2219784 w 6785952"/>
              <a:gd name="connsiteY7993" fmla="*/ 4095458 h 5217112"/>
              <a:gd name="connsiteX7994" fmla="*/ 2240527 w 6785952"/>
              <a:gd name="connsiteY7994" fmla="*/ 4084391 h 5217112"/>
              <a:gd name="connsiteX7995" fmla="*/ 2243834 w 6785952"/>
              <a:gd name="connsiteY7995" fmla="*/ 4084612 h 5217112"/>
              <a:gd name="connsiteX7996" fmla="*/ 1361228 w 6785952"/>
              <a:gd name="connsiteY7996" fmla="*/ 4074431 h 5217112"/>
              <a:gd name="connsiteX7997" fmla="*/ 1359725 w 6785952"/>
              <a:gd name="connsiteY7997" fmla="*/ 4075537 h 5217112"/>
              <a:gd name="connsiteX7998" fmla="*/ 1348301 w 6785952"/>
              <a:gd name="connsiteY7998" fmla="*/ 4075980 h 5217112"/>
              <a:gd name="connsiteX7999" fmla="*/ 1350706 w 6785952"/>
              <a:gd name="connsiteY7999" fmla="*/ 4082288 h 5217112"/>
              <a:gd name="connsiteX8000" fmla="*/ 1349504 w 6785952"/>
              <a:gd name="connsiteY8000" fmla="*/ 4090699 h 5217112"/>
              <a:gd name="connsiteX8001" fmla="*/ 1343491 w 6785952"/>
              <a:gd name="connsiteY8001" fmla="*/ 4098225 h 5217112"/>
              <a:gd name="connsiteX8002" fmla="*/ 1334473 w 6785952"/>
              <a:gd name="connsiteY8002" fmla="*/ 4104090 h 5217112"/>
              <a:gd name="connsiteX8003" fmla="*/ 1338983 w 6785952"/>
              <a:gd name="connsiteY8003" fmla="*/ 4105308 h 5217112"/>
              <a:gd name="connsiteX8004" fmla="*/ 1317639 w 6785952"/>
              <a:gd name="connsiteY8004" fmla="*/ 4105972 h 5217112"/>
              <a:gd name="connsiteX8005" fmla="*/ 1321246 w 6785952"/>
              <a:gd name="connsiteY8005" fmla="*/ 4109513 h 5217112"/>
              <a:gd name="connsiteX8006" fmla="*/ 1314032 w 6785952"/>
              <a:gd name="connsiteY8006" fmla="*/ 4109735 h 5217112"/>
              <a:gd name="connsiteX8007" fmla="*/ 1334774 w 6785952"/>
              <a:gd name="connsiteY8007" fmla="*/ 4121023 h 5217112"/>
              <a:gd name="connsiteX8008" fmla="*/ 1344093 w 6785952"/>
              <a:gd name="connsiteY8008" fmla="*/ 4127553 h 5217112"/>
              <a:gd name="connsiteX8009" fmla="*/ 1357019 w 6785952"/>
              <a:gd name="connsiteY8009" fmla="*/ 4133972 h 5217112"/>
              <a:gd name="connsiteX8010" fmla="*/ 1356719 w 6785952"/>
              <a:gd name="connsiteY8010" fmla="*/ 4141940 h 5217112"/>
              <a:gd name="connsiteX8011" fmla="*/ 1364234 w 6785952"/>
              <a:gd name="connsiteY8011" fmla="*/ 4145150 h 5217112"/>
              <a:gd name="connsiteX8012" fmla="*/ 1366940 w 6785952"/>
              <a:gd name="connsiteY8012" fmla="*/ 4144818 h 5217112"/>
              <a:gd name="connsiteX8013" fmla="*/ 1366940 w 6785952"/>
              <a:gd name="connsiteY8013" fmla="*/ 4144043 h 5217112"/>
              <a:gd name="connsiteX8014" fmla="*/ 1382873 w 6785952"/>
              <a:gd name="connsiteY8014" fmla="*/ 4139727 h 5217112"/>
              <a:gd name="connsiteX8015" fmla="*/ 1389185 w 6785952"/>
              <a:gd name="connsiteY8015" fmla="*/ 4142825 h 5217112"/>
              <a:gd name="connsiteX8016" fmla="*/ 1389486 w 6785952"/>
              <a:gd name="connsiteY8016" fmla="*/ 4141387 h 5217112"/>
              <a:gd name="connsiteX8017" fmla="*/ 1387682 w 6785952"/>
              <a:gd name="connsiteY8017" fmla="*/ 4138620 h 5217112"/>
              <a:gd name="connsiteX8018" fmla="*/ 1417743 w 6785952"/>
              <a:gd name="connsiteY8018" fmla="*/ 4139395 h 5217112"/>
              <a:gd name="connsiteX8019" fmla="*/ 1428265 w 6785952"/>
              <a:gd name="connsiteY8019" fmla="*/ 4137956 h 5217112"/>
              <a:gd name="connsiteX8020" fmla="*/ 1426461 w 6785952"/>
              <a:gd name="connsiteY8020" fmla="*/ 4131869 h 5217112"/>
              <a:gd name="connsiteX8021" fmla="*/ 1428866 w 6785952"/>
              <a:gd name="connsiteY8021" fmla="*/ 4127885 h 5217112"/>
              <a:gd name="connsiteX8022" fmla="*/ 1439087 w 6785952"/>
              <a:gd name="connsiteY8022" fmla="*/ 4126999 h 5217112"/>
              <a:gd name="connsiteX8023" fmla="*/ 1449309 w 6785952"/>
              <a:gd name="connsiteY8023" fmla="*/ 4132201 h 5217112"/>
              <a:gd name="connsiteX8024" fmla="*/ 1453817 w 6785952"/>
              <a:gd name="connsiteY8024" fmla="*/ 4137735 h 5217112"/>
              <a:gd name="connsiteX8025" fmla="*/ 1457425 w 6785952"/>
              <a:gd name="connsiteY8025" fmla="*/ 4138067 h 5217112"/>
              <a:gd name="connsiteX8026" fmla="*/ 1456523 w 6785952"/>
              <a:gd name="connsiteY8026" fmla="*/ 4140944 h 5217112"/>
              <a:gd name="connsiteX8027" fmla="*/ 1457124 w 6785952"/>
              <a:gd name="connsiteY8027" fmla="*/ 4140944 h 5217112"/>
              <a:gd name="connsiteX8028" fmla="*/ 1465541 w 6785952"/>
              <a:gd name="connsiteY8028" fmla="*/ 4141608 h 5217112"/>
              <a:gd name="connsiteX8029" fmla="*/ 1466143 w 6785952"/>
              <a:gd name="connsiteY8029" fmla="*/ 4142161 h 5217112"/>
              <a:gd name="connsiteX8030" fmla="*/ 1467646 w 6785952"/>
              <a:gd name="connsiteY8030" fmla="*/ 4141165 h 5217112"/>
              <a:gd name="connsiteX8031" fmla="*/ 1466444 w 6785952"/>
              <a:gd name="connsiteY8031" fmla="*/ 4139727 h 5217112"/>
              <a:gd name="connsiteX8032" fmla="*/ 1464038 w 6785952"/>
              <a:gd name="connsiteY8032" fmla="*/ 4133197 h 5217112"/>
              <a:gd name="connsiteX8033" fmla="*/ 1469149 w 6785952"/>
              <a:gd name="connsiteY8033" fmla="*/ 4139173 h 5217112"/>
              <a:gd name="connsiteX8034" fmla="*/ 1467045 w 6785952"/>
              <a:gd name="connsiteY8034" fmla="*/ 4131648 h 5217112"/>
              <a:gd name="connsiteX8035" fmla="*/ 1467646 w 6785952"/>
              <a:gd name="connsiteY8035" fmla="*/ 4126778 h 5217112"/>
              <a:gd name="connsiteX8036" fmla="*/ 1466744 w 6785952"/>
              <a:gd name="connsiteY8036" fmla="*/ 4125007 h 5217112"/>
              <a:gd name="connsiteX8037" fmla="*/ 1469149 w 6785952"/>
              <a:gd name="connsiteY8037" fmla="*/ 4117150 h 5217112"/>
              <a:gd name="connsiteX8038" fmla="*/ 1474560 w 6785952"/>
              <a:gd name="connsiteY8038" fmla="*/ 4117371 h 5217112"/>
              <a:gd name="connsiteX8039" fmla="*/ 1478768 w 6785952"/>
              <a:gd name="connsiteY8039" fmla="*/ 4119142 h 5217112"/>
              <a:gd name="connsiteX8040" fmla="*/ 1480572 w 6785952"/>
              <a:gd name="connsiteY8040" fmla="*/ 4114604 h 5217112"/>
              <a:gd name="connsiteX8041" fmla="*/ 1487486 w 6785952"/>
              <a:gd name="connsiteY8041" fmla="*/ 4109735 h 5217112"/>
              <a:gd name="connsiteX8042" fmla="*/ 1491695 w 6785952"/>
              <a:gd name="connsiteY8042" fmla="*/ 4108739 h 5217112"/>
              <a:gd name="connsiteX8043" fmla="*/ 1486885 w 6785952"/>
              <a:gd name="connsiteY8043" fmla="*/ 4101213 h 5217112"/>
              <a:gd name="connsiteX8044" fmla="*/ 1490191 w 6785952"/>
              <a:gd name="connsiteY8044" fmla="*/ 4089261 h 5217112"/>
              <a:gd name="connsiteX8045" fmla="*/ 1502217 w 6785952"/>
              <a:gd name="connsiteY8045" fmla="*/ 4106304 h 5217112"/>
              <a:gd name="connsiteX8046" fmla="*/ 1501014 w 6785952"/>
              <a:gd name="connsiteY8046" fmla="*/ 4107632 h 5217112"/>
              <a:gd name="connsiteX8047" fmla="*/ 1505223 w 6785952"/>
              <a:gd name="connsiteY8047" fmla="*/ 4107632 h 5217112"/>
              <a:gd name="connsiteX8048" fmla="*/ 1509431 w 6785952"/>
              <a:gd name="connsiteY8048" fmla="*/ 4108075 h 5217112"/>
              <a:gd name="connsiteX8049" fmla="*/ 1510334 w 6785952"/>
              <a:gd name="connsiteY8049" fmla="*/ 4106525 h 5217112"/>
              <a:gd name="connsiteX8050" fmla="*/ 1513039 w 6785952"/>
              <a:gd name="connsiteY8050" fmla="*/ 4103648 h 5217112"/>
              <a:gd name="connsiteX8051" fmla="*/ 1516045 w 6785952"/>
              <a:gd name="connsiteY8051" fmla="*/ 4100770 h 5217112"/>
              <a:gd name="connsiteX8052" fmla="*/ 1517548 w 6785952"/>
              <a:gd name="connsiteY8052" fmla="*/ 4097782 h 5217112"/>
              <a:gd name="connsiteX8053" fmla="*/ 1519953 w 6785952"/>
              <a:gd name="connsiteY8053" fmla="*/ 4096122 h 5217112"/>
              <a:gd name="connsiteX8054" fmla="*/ 1518450 w 6785952"/>
              <a:gd name="connsiteY8054" fmla="*/ 4095790 h 5217112"/>
              <a:gd name="connsiteX8055" fmla="*/ 1503419 w 6785952"/>
              <a:gd name="connsiteY8055" fmla="*/ 4082731 h 5217112"/>
              <a:gd name="connsiteX8056" fmla="*/ 1504020 w 6785952"/>
              <a:gd name="connsiteY8056" fmla="*/ 4077861 h 5217112"/>
              <a:gd name="connsiteX8057" fmla="*/ 1495302 w 6785952"/>
              <a:gd name="connsiteY8057" fmla="*/ 4077087 h 5217112"/>
              <a:gd name="connsiteX8058" fmla="*/ 1482375 w 6785952"/>
              <a:gd name="connsiteY8058" fmla="*/ 4078857 h 5217112"/>
              <a:gd name="connsiteX8059" fmla="*/ 1476664 w 6785952"/>
              <a:gd name="connsiteY8059" fmla="*/ 4080739 h 5217112"/>
              <a:gd name="connsiteX8060" fmla="*/ 1478468 w 6785952"/>
              <a:gd name="connsiteY8060" fmla="*/ 4081182 h 5217112"/>
              <a:gd name="connsiteX8061" fmla="*/ 1473357 w 6785952"/>
              <a:gd name="connsiteY8061" fmla="*/ 4081735 h 5217112"/>
              <a:gd name="connsiteX8062" fmla="*/ 1468246 w 6785952"/>
              <a:gd name="connsiteY8062" fmla="*/ 4083506 h 5217112"/>
              <a:gd name="connsiteX8063" fmla="*/ 1437884 w 6785952"/>
              <a:gd name="connsiteY8063" fmla="*/ 4080185 h 5217112"/>
              <a:gd name="connsiteX8064" fmla="*/ 1430971 w 6785952"/>
              <a:gd name="connsiteY8064" fmla="*/ 4080407 h 5217112"/>
              <a:gd name="connsiteX8065" fmla="*/ 1423155 w 6785952"/>
              <a:gd name="connsiteY8065" fmla="*/ 4079189 h 5217112"/>
              <a:gd name="connsiteX8066" fmla="*/ 1408425 w 6785952"/>
              <a:gd name="connsiteY8066" fmla="*/ 4078304 h 5217112"/>
              <a:gd name="connsiteX8067" fmla="*/ 475317 w 6785952"/>
              <a:gd name="connsiteY8067" fmla="*/ 4073435 h 5217112"/>
              <a:gd name="connsiteX8068" fmla="*/ 498764 w 6785952"/>
              <a:gd name="connsiteY8068" fmla="*/ 4097893 h 5217112"/>
              <a:gd name="connsiteX8069" fmla="*/ 475317 w 6785952"/>
              <a:gd name="connsiteY8069" fmla="*/ 4073435 h 5217112"/>
              <a:gd name="connsiteX8070" fmla="*/ 1723168 w 6785952"/>
              <a:gd name="connsiteY8070" fmla="*/ 4072660 h 5217112"/>
              <a:gd name="connsiteX8071" fmla="*/ 1725874 w 6785952"/>
              <a:gd name="connsiteY8071" fmla="*/ 4077308 h 5217112"/>
              <a:gd name="connsiteX8072" fmla="*/ 1715954 w 6785952"/>
              <a:gd name="connsiteY8072" fmla="*/ 4075759 h 5217112"/>
              <a:gd name="connsiteX8073" fmla="*/ 1712346 w 6785952"/>
              <a:gd name="connsiteY8073" fmla="*/ 4073324 h 5217112"/>
              <a:gd name="connsiteX8074" fmla="*/ 1712045 w 6785952"/>
              <a:gd name="connsiteY8074" fmla="*/ 4073435 h 5217112"/>
              <a:gd name="connsiteX8075" fmla="*/ 1704229 w 6785952"/>
              <a:gd name="connsiteY8075" fmla="*/ 4075205 h 5217112"/>
              <a:gd name="connsiteX8076" fmla="*/ 1703027 w 6785952"/>
              <a:gd name="connsiteY8076" fmla="*/ 4074873 h 5217112"/>
              <a:gd name="connsiteX8077" fmla="*/ 1703628 w 6785952"/>
              <a:gd name="connsiteY8077" fmla="*/ 4073767 h 5217112"/>
              <a:gd name="connsiteX8078" fmla="*/ 1702426 w 6785952"/>
              <a:gd name="connsiteY8078" fmla="*/ 4073435 h 5217112"/>
              <a:gd name="connsiteX8079" fmla="*/ 1694009 w 6785952"/>
              <a:gd name="connsiteY8079" fmla="*/ 4074431 h 5217112"/>
              <a:gd name="connsiteX8080" fmla="*/ 1677175 w 6785952"/>
              <a:gd name="connsiteY8080" fmla="*/ 4086272 h 5217112"/>
              <a:gd name="connsiteX8081" fmla="*/ 1675972 w 6785952"/>
              <a:gd name="connsiteY8081" fmla="*/ 4085940 h 5217112"/>
              <a:gd name="connsiteX8082" fmla="*/ 1674770 w 6785952"/>
              <a:gd name="connsiteY8082" fmla="*/ 4086715 h 5217112"/>
              <a:gd name="connsiteX8083" fmla="*/ 1673566 w 6785952"/>
              <a:gd name="connsiteY8083" fmla="*/ 4086383 h 5217112"/>
              <a:gd name="connsiteX8084" fmla="*/ 1667554 w 6785952"/>
              <a:gd name="connsiteY8084" fmla="*/ 4086936 h 5217112"/>
              <a:gd name="connsiteX8085" fmla="*/ 1662143 w 6785952"/>
              <a:gd name="connsiteY8085" fmla="*/ 4087379 h 5217112"/>
              <a:gd name="connsiteX8086" fmla="*/ 1656432 w 6785952"/>
              <a:gd name="connsiteY8086" fmla="*/ 4099000 h 5217112"/>
              <a:gd name="connsiteX8087" fmla="*/ 1645609 w 6785952"/>
              <a:gd name="connsiteY8087" fmla="*/ 4101656 h 5217112"/>
              <a:gd name="connsiteX8088" fmla="*/ 1645309 w 6785952"/>
              <a:gd name="connsiteY8088" fmla="*/ 4094019 h 5217112"/>
              <a:gd name="connsiteX8089" fmla="*/ 1652825 w 6785952"/>
              <a:gd name="connsiteY8089" fmla="*/ 4090035 h 5217112"/>
              <a:gd name="connsiteX8090" fmla="*/ 1655230 w 6785952"/>
              <a:gd name="connsiteY8090" fmla="*/ 4088154 h 5217112"/>
              <a:gd name="connsiteX8091" fmla="*/ 1632684 w 6785952"/>
              <a:gd name="connsiteY8091" fmla="*/ 4090699 h 5217112"/>
              <a:gd name="connsiteX8092" fmla="*/ 1621260 w 6785952"/>
              <a:gd name="connsiteY8092" fmla="*/ 4093134 h 5217112"/>
              <a:gd name="connsiteX8093" fmla="*/ 1618555 w 6785952"/>
              <a:gd name="connsiteY8093" fmla="*/ 4093577 h 5217112"/>
              <a:gd name="connsiteX8094" fmla="*/ 1617953 w 6785952"/>
              <a:gd name="connsiteY8094" fmla="*/ 4093355 h 5217112"/>
              <a:gd name="connsiteX8095" fmla="*/ 1608334 w 6785952"/>
              <a:gd name="connsiteY8095" fmla="*/ 4096011 h 5217112"/>
              <a:gd name="connsiteX8096" fmla="*/ 1604125 w 6785952"/>
              <a:gd name="connsiteY8096" fmla="*/ 4095015 h 5217112"/>
              <a:gd name="connsiteX8097" fmla="*/ 1600518 w 6785952"/>
              <a:gd name="connsiteY8097" fmla="*/ 4095347 h 5217112"/>
              <a:gd name="connsiteX8098" fmla="*/ 1592100 w 6785952"/>
              <a:gd name="connsiteY8098" fmla="*/ 4096344 h 5217112"/>
              <a:gd name="connsiteX8099" fmla="*/ 1573161 w 6785952"/>
              <a:gd name="connsiteY8099" fmla="*/ 4097672 h 5217112"/>
              <a:gd name="connsiteX8100" fmla="*/ 1554222 w 6785952"/>
              <a:gd name="connsiteY8100" fmla="*/ 4098004 h 5217112"/>
              <a:gd name="connsiteX8101" fmla="*/ 1525364 w 6785952"/>
              <a:gd name="connsiteY8101" fmla="*/ 4094905 h 5217112"/>
              <a:gd name="connsiteX8102" fmla="*/ 1528069 w 6785952"/>
              <a:gd name="connsiteY8102" fmla="*/ 4097893 h 5217112"/>
              <a:gd name="connsiteX8103" fmla="*/ 1522658 w 6785952"/>
              <a:gd name="connsiteY8103" fmla="*/ 4096786 h 5217112"/>
              <a:gd name="connsiteX8104" fmla="*/ 1522057 w 6785952"/>
              <a:gd name="connsiteY8104" fmla="*/ 4098004 h 5217112"/>
              <a:gd name="connsiteX8105" fmla="*/ 1519352 w 6785952"/>
              <a:gd name="connsiteY8105" fmla="*/ 4100881 h 5217112"/>
              <a:gd name="connsiteX8106" fmla="*/ 1519352 w 6785952"/>
              <a:gd name="connsiteY8106" fmla="*/ 4103869 h 5217112"/>
              <a:gd name="connsiteX8107" fmla="*/ 1515443 w 6785952"/>
              <a:gd name="connsiteY8107" fmla="*/ 4108849 h 5217112"/>
              <a:gd name="connsiteX8108" fmla="*/ 1516947 w 6785952"/>
              <a:gd name="connsiteY8108" fmla="*/ 4108960 h 5217112"/>
              <a:gd name="connsiteX8109" fmla="*/ 1534983 w 6785952"/>
              <a:gd name="connsiteY8109" fmla="*/ 4115379 h 5217112"/>
              <a:gd name="connsiteX8110" fmla="*/ 1536186 w 6785952"/>
              <a:gd name="connsiteY8110" fmla="*/ 4120249 h 5217112"/>
              <a:gd name="connsiteX8111" fmla="*/ 1526265 w 6785952"/>
              <a:gd name="connsiteY8111" fmla="*/ 4133529 h 5217112"/>
              <a:gd name="connsiteX8112" fmla="*/ 1519352 w 6785952"/>
              <a:gd name="connsiteY8112" fmla="*/ 4135964 h 5217112"/>
              <a:gd name="connsiteX8113" fmla="*/ 1522057 w 6785952"/>
              <a:gd name="connsiteY8113" fmla="*/ 4136628 h 5217112"/>
              <a:gd name="connsiteX8114" fmla="*/ 1526265 w 6785952"/>
              <a:gd name="connsiteY8114" fmla="*/ 4138841 h 5217112"/>
              <a:gd name="connsiteX8115" fmla="*/ 1522057 w 6785952"/>
              <a:gd name="connsiteY8115" fmla="*/ 4137403 h 5217112"/>
              <a:gd name="connsiteX8116" fmla="*/ 1520253 w 6785952"/>
              <a:gd name="connsiteY8116" fmla="*/ 4137071 h 5217112"/>
              <a:gd name="connsiteX8117" fmla="*/ 1519352 w 6785952"/>
              <a:gd name="connsiteY8117" fmla="*/ 4138177 h 5217112"/>
              <a:gd name="connsiteX8118" fmla="*/ 1519652 w 6785952"/>
              <a:gd name="connsiteY8118" fmla="*/ 4138177 h 5217112"/>
              <a:gd name="connsiteX8119" fmla="*/ 1522057 w 6785952"/>
              <a:gd name="connsiteY8119" fmla="*/ 4145039 h 5217112"/>
              <a:gd name="connsiteX8120" fmla="*/ 1529873 w 6785952"/>
              <a:gd name="connsiteY8120" fmla="*/ 4141276 h 5217112"/>
              <a:gd name="connsiteX8121" fmla="*/ 1530775 w 6785952"/>
              <a:gd name="connsiteY8121" fmla="*/ 4140944 h 5217112"/>
              <a:gd name="connsiteX8122" fmla="*/ 1531075 w 6785952"/>
              <a:gd name="connsiteY8122" fmla="*/ 4139948 h 5217112"/>
              <a:gd name="connsiteX8123" fmla="*/ 1529271 w 6785952"/>
              <a:gd name="connsiteY8123" fmla="*/ 4139063 h 5217112"/>
              <a:gd name="connsiteX8124" fmla="*/ 1527769 w 6785952"/>
              <a:gd name="connsiteY8124" fmla="*/ 4137956 h 5217112"/>
              <a:gd name="connsiteX8125" fmla="*/ 1529271 w 6785952"/>
              <a:gd name="connsiteY8125" fmla="*/ 4137292 h 5217112"/>
              <a:gd name="connsiteX8126" fmla="*/ 1531677 w 6785952"/>
              <a:gd name="connsiteY8126" fmla="*/ 4137735 h 5217112"/>
              <a:gd name="connsiteX8127" fmla="*/ 1532277 w 6785952"/>
              <a:gd name="connsiteY8127" fmla="*/ 4138067 h 5217112"/>
              <a:gd name="connsiteX8128" fmla="*/ 1537088 w 6785952"/>
              <a:gd name="connsiteY8128" fmla="*/ 4130762 h 5217112"/>
              <a:gd name="connsiteX8129" fmla="*/ 1550916 w 6785952"/>
              <a:gd name="connsiteY8129" fmla="*/ 4118035 h 5217112"/>
              <a:gd name="connsiteX8130" fmla="*/ 1556026 w 6785952"/>
              <a:gd name="connsiteY8130" fmla="*/ 4119142 h 5217112"/>
              <a:gd name="connsiteX8131" fmla="*/ 1565345 w 6785952"/>
              <a:gd name="connsiteY8131" fmla="*/ 4132865 h 5217112"/>
              <a:gd name="connsiteX8132" fmla="*/ 1565045 w 6785952"/>
              <a:gd name="connsiteY8132" fmla="*/ 4139616 h 5217112"/>
              <a:gd name="connsiteX8133" fmla="*/ 1566548 w 6785952"/>
              <a:gd name="connsiteY8133" fmla="*/ 4137513 h 5217112"/>
              <a:gd name="connsiteX8134" fmla="*/ 1570456 w 6785952"/>
              <a:gd name="connsiteY8134" fmla="*/ 4134857 h 5217112"/>
              <a:gd name="connsiteX8135" fmla="*/ 1567450 w 6785952"/>
              <a:gd name="connsiteY8135" fmla="*/ 4137956 h 5217112"/>
              <a:gd name="connsiteX8136" fmla="*/ 1567750 w 6785952"/>
              <a:gd name="connsiteY8136" fmla="*/ 4141055 h 5217112"/>
              <a:gd name="connsiteX8137" fmla="*/ 1565947 w 6785952"/>
              <a:gd name="connsiteY8137" fmla="*/ 4142383 h 5217112"/>
              <a:gd name="connsiteX8138" fmla="*/ 1564744 w 6785952"/>
              <a:gd name="connsiteY8138" fmla="*/ 4142383 h 5217112"/>
              <a:gd name="connsiteX8139" fmla="*/ 1564444 w 6785952"/>
              <a:gd name="connsiteY8139" fmla="*/ 4142936 h 5217112"/>
              <a:gd name="connsiteX8140" fmla="*/ 1567149 w 6785952"/>
              <a:gd name="connsiteY8140" fmla="*/ 4144154 h 5217112"/>
              <a:gd name="connsiteX8141" fmla="*/ 1573161 w 6785952"/>
              <a:gd name="connsiteY8141" fmla="*/ 4145039 h 5217112"/>
              <a:gd name="connsiteX8142" fmla="*/ 1591800 w 6785952"/>
              <a:gd name="connsiteY8142" fmla="*/ 4131426 h 5217112"/>
              <a:gd name="connsiteX8143" fmla="*/ 1601118 w 6785952"/>
              <a:gd name="connsiteY8143" fmla="*/ 4131205 h 5217112"/>
              <a:gd name="connsiteX8144" fmla="*/ 1607432 w 6785952"/>
              <a:gd name="connsiteY8144" fmla="*/ 4132754 h 5217112"/>
              <a:gd name="connsiteX8145" fmla="*/ 1611941 w 6785952"/>
              <a:gd name="connsiteY8145" fmla="*/ 4131426 h 5217112"/>
              <a:gd name="connsiteX8146" fmla="*/ 1625168 w 6785952"/>
              <a:gd name="connsiteY8146" fmla="*/ 4131426 h 5217112"/>
              <a:gd name="connsiteX8147" fmla="*/ 1627272 w 6785952"/>
              <a:gd name="connsiteY8147" fmla="*/ 4130320 h 5217112"/>
              <a:gd name="connsiteX8148" fmla="*/ 1628775 w 6785952"/>
              <a:gd name="connsiteY8148" fmla="*/ 4130098 h 5217112"/>
              <a:gd name="connsiteX8149" fmla="*/ 1624267 w 6785952"/>
              <a:gd name="connsiteY8149" fmla="*/ 4114936 h 5217112"/>
              <a:gd name="connsiteX8150" fmla="*/ 1629978 w 6785952"/>
              <a:gd name="connsiteY8150" fmla="*/ 4102320 h 5217112"/>
              <a:gd name="connsiteX8151" fmla="*/ 1641101 w 6785952"/>
              <a:gd name="connsiteY8151" fmla="*/ 4123901 h 5217112"/>
              <a:gd name="connsiteX8152" fmla="*/ 1642303 w 6785952"/>
              <a:gd name="connsiteY8152" fmla="*/ 4127663 h 5217112"/>
              <a:gd name="connsiteX8153" fmla="*/ 1644708 w 6785952"/>
              <a:gd name="connsiteY8153" fmla="*/ 4129766 h 5217112"/>
              <a:gd name="connsiteX8154" fmla="*/ 1650119 w 6785952"/>
              <a:gd name="connsiteY8154" fmla="*/ 4132533 h 5217112"/>
              <a:gd name="connsiteX8155" fmla="*/ 1655530 w 6785952"/>
              <a:gd name="connsiteY8155" fmla="*/ 4130873 h 5217112"/>
              <a:gd name="connsiteX8156" fmla="*/ 1655831 w 6785952"/>
              <a:gd name="connsiteY8156" fmla="*/ 4129213 h 5217112"/>
              <a:gd name="connsiteX8157" fmla="*/ 1659137 w 6785952"/>
              <a:gd name="connsiteY8157" fmla="*/ 4125007 h 5217112"/>
              <a:gd name="connsiteX8158" fmla="*/ 1663647 w 6785952"/>
              <a:gd name="connsiteY8158" fmla="*/ 4118478 h 5217112"/>
              <a:gd name="connsiteX8159" fmla="*/ 1683487 w 6785952"/>
              <a:gd name="connsiteY8159" fmla="*/ 4100660 h 5217112"/>
              <a:gd name="connsiteX8160" fmla="*/ 1678978 w 6785952"/>
              <a:gd name="connsiteY8160" fmla="*/ 4109845 h 5217112"/>
              <a:gd name="connsiteX8161" fmla="*/ 1681383 w 6785952"/>
              <a:gd name="connsiteY8161" fmla="*/ 4113055 h 5217112"/>
              <a:gd name="connsiteX8162" fmla="*/ 1678978 w 6785952"/>
              <a:gd name="connsiteY8162" fmla="*/ 4120138 h 5217112"/>
              <a:gd name="connsiteX8163" fmla="*/ 1675972 w 6785952"/>
              <a:gd name="connsiteY8163" fmla="*/ 4114936 h 5217112"/>
              <a:gd name="connsiteX8164" fmla="*/ 1675972 w 6785952"/>
              <a:gd name="connsiteY8164" fmla="*/ 4114051 h 5217112"/>
              <a:gd name="connsiteX8165" fmla="*/ 1669959 w 6785952"/>
              <a:gd name="connsiteY8165" fmla="*/ 4121577 h 5217112"/>
              <a:gd name="connsiteX8166" fmla="*/ 1666653 w 6785952"/>
              <a:gd name="connsiteY8166" fmla="*/ 4127221 h 5217112"/>
              <a:gd name="connsiteX8167" fmla="*/ 1675671 w 6785952"/>
              <a:gd name="connsiteY8167" fmla="*/ 4124675 h 5217112"/>
              <a:gd name="connsiteX8168" fmla="*/ 1678677 w 6785952"/>
              <a:gd name="connsiteY8168" fmla="*/ 4123015 h 5217112"/>
              <a:gd name="connsiteX8169" fmla="*/ 1679580 w 6785952"/>
              <a:gd name="connsiteY8169" fmla="*/ 4123347 h 5217112"/>
              <a:gd name="connsiteX8170" fmla="*/ 1681082 w 6785952"/>
              <a:gd name="connsiteY8170" fmla="*/ 4122683 h 5217112"/>
              <a:gd name="connsiteX8171" fmla="*/ 1683487 w 6785952"/>
              <a:gd name="connsiteY8171" fmla="*/ 4122241 h 5217112"/>
              <a:gd name="connsiteX8172" fmla="*/ 1704531 w 6785952"/>
              <a:gd name="connsiteY8172" fmla="*/ 4111727 h 5217112"/>
              <a:gd name="connsiteX8173" fmla="*/ 1702426 w 6785952"/>
              <a:gd name="connsiteY8173" fmla="*/ 4090478 h 5217112"/>
              <a:gd name="connsiteX8174" fmla="*/ 1706334 w 6785952"/>
              <a:gd name="connsiteY8174" fmla="*/ 4089261 h 5217112"/>
              <a:gd name="connsiteX8175" fmla="*/ 1716254 w 6785952"/>
              <a:gd name="connsiteY8175" fmla="*/ 4087490 h 5217112"/>
              <a:gd name="connsiteX8176" fmla="*/ 1717456 w 6785952"/>
              <a:gd name="connsiteY8176" fmla="*/ 4087711 h 5217112"/>
              <a:gd name="connsiteX8177" fmla="*/ 1718960 w 6785952"/>
              <a:gd name="connsiteY8177" fmla="*/ 4087047 h 5217112"/>
              <a:gd name="connsiteX8178" fmla="*/ 1721666 w 6785952"/>
              <a:gd name="connsiteY8178" fmla="*/ 4085498 h 5217112"/>
              <a:gd name="connsiteX8179" fmla="*/ 1725874 w 6785952"/>
              <a:gd name="connsiteY8179" fmla="*/ 4083284 h 5217112"/>
              <a:gd name="connsiteX8180" fmla="*/ 1723770 w 6785952"/>
              <a:gd name="connsiteY8180" fmla="*/ 4081071 h 5217112"/>
              <a:gd name="connsiteX8181" fmla="*/ 1727077 w 6785952"/>
              <a:gd name="connsiteY8181" fmla="*/ 4082620 h 5217112"/>
              <a:gd name="connsiteX8182" fmla="*/ 1733089 w 6785952"/>
              <a:gd name="connsiteY8182" fmla="*/ 4079300 h 5217112"/>
              <a:gd name="connsiteX8183" fmla="*/ 1737597 w 6785952"/>
              <a:gd name="connsiteY8183" fmla="*/ 4073545 h 5217112"/>
              <a:gd name="connsiteX8184" fmla="*/ 1731585 w 6785952"/>
              <a:gd name="connsiteY8184" fmla="*/ 4073767 h 5217112"/>
              <a:gd name="connsiteX8185" fmla="*/ 6251029 w 6785952"/>
              <a:gd name="connsiteY8185" fmla="*/ 4071553 h 5217112"/>
              <a:gd name="connsiteX8186" fmla="*/ 6253134 w 6785952"/>
              <a:gd name="connsiteY8186" fmla="*/ 4073213 h 5217112"/>
              <a:gd name="connsiteX8187" fmla="*/ 6252833 w 6785952"/>
              <a:gd name="connsiteY8187" fmla="*/ 4077640 h 5217112"/>
              <a:gd name="connsiteX8188" fmla="*/ 6246220 w 6785952"/>
              <a:gd name="connsiteY8188" fmla="*/ 4075980 h 5217112"/>
              <a:gd name="connsiteX8189" fmla="*/ 6251029 w 6785952"/>
              <a:gd name="connsiteY8189" fmla="*/ 4071553 h 5217112"/>
              <a:gd name="connsiteX8190" fmla="*/ 2292834 w 6785952"/>
              <a:gd name="connsiteY8190" fmla="*/ 4068565 h 5217112"/>
              <a:gd name="connsiteX8191" fmla="*/ 2303355 w 6785952"/>
              <a:gd name="connsiteY8191" fmla="*/ 4072438 h 5217112"/>
              <a:gd name="connsiteX8192" fmla="*/ 2304257 w 6785952"/>
              <a:gd name="connsiteY8192" fmla="*/ 4095901 h 5217112"/>
              <a:gd name="connsiteX8193" fmla="*/ 2279907 w 6785952"/>
              <a:gd name="connsiteY8193" fmla="*/ 4085387 h 5217112"/>
              <a:gd name="connsiteX8194" fmla="*/ 2292834 w 6785952"/>
              <a:gd name="connsiteY8194" fmla="*/ 4068565 h 5217112"/>
              <a:gd name="connsiteX8195" fmla="*/ 6263956 w 6785952"/>
              <a:gd name="connsiteY8195" fmla="*/ 4067680 h 5217112"/>
              <a:gd name="connsiteX8196" fmla="*/ 6266962 w 6785952"/>
              <a:gd name="connsiteY8196" fmla="*/ 4069450 h 5217112"/>
              <a:gd name="connsiteX8197" fmla="*/ 6269668 w 6785952"/>
              <a:gd name="connsiteY8197" fmla="*/ 4072217 h 5217112"/>
              <a:gd name="connsiteX8198" fmla="*/ 6271170 w 6785952"/>
              <a:gd name="connsiteY8198" fmla="*/ 4075537 h 5217112"/>
              <a:gd name="connsiteX8199" fmla="*/ 6271170 w 6785952"/>
              <a:gd name="connsiteY8199" fmla="*/ 4080517 h 5217112"/>
              <a:gd name="connsiteX8200" fmla="*/ 6266962 w 6785952"/>
              <a:gd name="connsiteY8200" fmla="*/ 4086383 h 5217112"/>
              <a:gd name="connsiteX8201" fmla="*/ 6263956 w 6785952"/>
              <a:gd name="connsiteY8201" fmla="*/ 4087932 h 5217112"/>
              <a:gd name="connsiteX8202" fmla="*/ 6254636 w 6785952"/>
              <a:gd name="connsiteY8202" fmla="*/ 4078083 h 5217112"/>
              <a:gd name="connsiteX8203" fmla="*/ 6263956 w 6785952"/>
              <a:gd name="connsiteY8203" fmla="*/ 4067680 h 5217112"/>
              <a:gd name="connsiteX8204" fmla="*/ 686348 w 6785952"/>
              <a:gd name="connsiteY8204" fmla="*/ 4067348 h 5217112"/>
              <a:gd name="connsiteX8205" fmla="*/ 696869 w 6785952"/>
              <a:gd name="connsiteY8205" fmla="*/ 4077308 h 5217112"/>
              <a:gd name="connsiteX8206" fmla="*/ 682139 w 6785952"/>
              <a:gd name="connsiteY8206" fmla="*/ 4068233 h 5217112"/>
              <a:gd name="connsiteX8207" fmla="*/ 686348 w 6785952"/>
              <a:gd name="connsiteY8207" fmla="*/ 4067348 h 5217112"/>
              <a:gd name="connsiteX8208" fmla="*/ 2232711 w 6785952"/>
              <a:gd name="connsiteY8208" fmla="*/ 4066794 h 5217112"/>
              <a:gd name="connsiteX8209" fmla="*/ 2238122 w 6785952"/>
              <a:gd name="connsiteY8209" fmla="*/ 4068897 h 5217112"/>
              <a:gd name="connsiteX8210" fmla="*/ 2239324 w 6785952"/>
              <a:gd name="connsiteY8210" fmla="*/ 4072992 h 5217112"/>
              <a:gd name="connsiteX8211" fmla="*/ 2216778 w 6785952"/>
              <a:gd name="connsiteY8211" fmla="*/ 4082399 h 5217112"/>
              <a:gd name="connsiteX8212" fmla="*/ 2211968 w 6785952"/>
              <a:gd name="connsiteY8212" fmla="*/ 4077640 h 5217112"/>
              <a:gd name="connsiteX8213" fmla="*/ 2232711 w 6785952"/>
              <a:gd name="connsiteY8213" fmla="*/ 4066794 h 5217112"/>
              <a:gd name="connsiteX8214" fmla="*/ 1425259 w 6785952"/>
              <a:gd name="connsiteY8214" fmla="*/ 4064138 h 5217112"/>
              <a:gd name="connsiteX8215" fmla="*/ 1428566 w 6785952"/>
              <a:gd name="connsiteY8215" fmla="*/ 4066020 h 5217112"/>
              <a:gd name="connsiteX8216" fmla="*/ 1426762 w 6785952"/>
              <a:gd name="connsiteY8216" fmla="*/ 4067126 h 5217112"/>
              <a:gd name="connsiteX8217" fmla="*/ 1425259 w 6785952"/>
              <a:gd name="connsiteY8217" fmla="*/ 4064138 h 5217112"/>
              <a:gd name="connsiteX8218" fmla="*/ 805090 w 6785952"/>
              <a:gd name="connsiteY8218" fmla="*/ 4063695 h 5217112"/>
              <a:gd name="connsiteX8219" fmla="*/ 811404 w 6785952"/>
              <a:gd name="connsiteY8219" fmla="*/ 4072106 h 5217112"/>
              <a:gd name="connsiteX8220" fmla="*/ 806894 w 6785952"/>
              <a:gd name="connsiteY8220" fmla="*/ 4084834 h 5217112"/>
              <a:gd name="connsiteX8221" fmla="*/ 803888 w 6785952"/>
              <a:gd name="connsiteY8221" fmla="*/ 4085166 h 5217112"/>
              <a:gd name="connsiteX8222" fmla="*/ 809600 w 6785952"/>
              <a:gd name="connsiteY8222" fmla="*/ 4089039 h 5217112"/>
              <a:gd name="connsiteX8223" fmla="*/ 813809 w 6785952"/>
              <a:gd name="connsiteY8223" fmla="*/ 4112059 h 5217112"/>
              <a:gd name="connsiteX8224" fmla="*/ 787655 w 6785952"/>
              <a:gd name="connsiteY8224" fmla="*/ 4100992 h 5217112"/>
              <a:gd name="connsiteX8225" fmla="*/ 798177 w 6785952"/>
              <a:gd name="connsiteY8225" fmla="*/ 4084391 h 5217112"/>
              <a:gd name="connsiteX8226" fmla="*/ 802084 w 6785952"/>
              <a:gd name="connsiteY8226" fmla="*/ 4084170 h 5217112"/>
              <a:gd name="connsiteX8227" fmla="*/ 799679 w 6785952"/>
              <a:gd name="connsiteY8227" fmla="*/ 4081182 h 5217112"/>
              <a:gd name="connsiteX8228" fmla="*/ 799981 w 6785952"/>
              <a:gd name="connsiteY8228" fmla="*/ 4071885 h 5217112"/>
              <a:gd name="connsiteX8229" fmla="*/ 805090 w 6785952"/>
              <a:gd name="connsiteY8229" fmla="*/ 4063695 h 5217112"/>
              <a:gd name="connsiteX8230" fmla="*/ 641556 w 6785952"/>
              <a:gd name="connsiteY8230" fmla="*/ 4058162 h 5217112"/>
              <a:gd name="connsiteX8231" fmla="*/ 645164 w 6785952"/>
              <a:gd name="connsiteY8231" fmla="*/ 4059933 h 5217112"/>
              <a:gd name="connsiteX8232" fmla="*/ 633138 w 6785952"/>
              <a:gd name="connsiteY8232" fmla="*/ 4077751 h 5217112"/>
              <a:gd name="connsiteX8233" fmla="*/ 637949 w 6785952"/>
              <a:gd name="connsiteY8233" fmla="*/ 4058273 h 5217112"/>
              <a:gd name="connsiteX8234" fmla="*/ 641556 w 6785952"/>
              <a:gd name="connsiteY8234" fmla="*/ 4058162 h 5217112"/>
              <a:gd name="connsiteX8235" fmla="*/ 1299602 w 6785952"/>
              <a:gd name="connsiteY8235" fmla="*/ 4056612 h 5217112"/>
              <a:gd name="connsiteX8236" fmla="*/ 1297798 w 6785952"/>
              <a:gd name="connsiteY8236" fmla="*/ 4056723 h 5217112"/>
              <a:gd name="connsiteX8237" fmla="*/ 1296596 w 6785952"/>
              <a:gd name="connsiteY8237" fmla="*/ 4057055 h 5217112"/>
              <a:gd name="connsiteX8238" fmla="*/ 1295694 w 6785952"/>
              <a:gd name="connsiteY8238" fmla="*/ 4056723 h 5217112"/>
              <a:gd name="connsiteX8239" fmla="*/ 1292387 w 6785952"/>
              <a:gd name="connsiteY8239" fmla="*/ 4056945 h 5217112"/>
              <a:gd name="connsiteX8240" fmla="*/ 1293589 w 6785952"/>
              <a:gd name="connsiteY8240" fmla="*/ 4067016 h 5217112"/>
              <a:gd name="connsiteX8241" fmla="*/ 1311927 w 6785952"/>
              <a:gd name="connsiteY8241" fmla="*/ 4078747 h 5217112"/>
              <a:gd name="connsiteX8242" fmla="*/ 1320945 w 6785952"/>
              <a:gd name="connsiteY8242" fmla="*/ 4086604 h 5217112"/>
              <a:gd name="connsiteX8243" fmla="*/ 1321246 w 6785952"/>
              <a:gd name="connsiteY8243" fmla="*/ 4086494 h 5217112"/>
              <a:gd name="connsiteX8244" fmla="*/ 1321246 w 6785952"/>
              <a:gd name="connsiteY8244" fmla="*/ 4086715 h 5217112"/>
              <a:gd name="connsiteX8245" fmla="*/ 1327259 w 6785952"/>
              <a:gd name="connsiteY8245" fmla="*/ 4091917 h 5217112"/>
              <a:gd name="connsiteX8246" fmla="*/ 1321246 w 6785952"/>
              <a:gd name="connsiteY8246" fmla="*/ 4092138 h 5217112"/>
              <a:gd name="connsiteX8247" fmla="*/ 1317639 w 6785952"/>
              <a:gd name="connsiteY8247" fmla="*/ 4090589 h 5217112"/>
              <a:gd name="connsiteX8248" fmla="*/ 1316737 w 6785952"/>
              <a:gd name="connsiteY8248" fmla="*/ 4091585 h 5217112"/>
              <a:gd name="connsiteX8249" fmla="*/ 1311326 w 6785952"/>
              <a:gd name="connsiteY8249" fmla="*/ 4093466 h 5217112"/>
              <a:gd name="connsiteX8250" fmla="*/ 1314633 w 6785952"/>
              <a:gd name="connsiteY8250" fmla="*/ 4089150 h 5217112"/>
              <a:gd name="connsiteX8251" fmla="*/ 1311326 w 6785952"/>
              <a:gd name="connsiteY8251" fmla="*/ 4087490 h 5217112"/>
              <a:gd name="connsiteX8252" fmla="*/ 1293289 w 6785952"/>
              <a:gd name="connsiteY8252" fmla="*/ 4085166 h 5217112"/>
              <a:gd name="connsiteX8253" fmla="*/ 1313129 w 6785952"/>
              <a:gd name="connsiteY8253" fmla="*/ 4098557 h 5217112"/>
              <a:gd name="connsiteX8254" fmla="*/ 1314032 w 6785952"/>
              <a:gd name="connsiteY8254" fmla="*/ 4098778 h 5217112"/>
              <a:gd name="connsiteX8255" fmla="*/ 1315835 w 6785952"/>
              <a:gd name="connsiteY8255" fmla="*/ 4095569 h 5217112"/>
              <a:gd name="connsiteX8256" fmla="*/ 1319142 w 6785952"/>
              <a:gd name="connsiteY8256" fmla="*/ 4097672 h 5217112"/>
              <a:gd name="connsiteX8257" fmla="*/ 1319142 w 6785952"/>
              <a:gd name="connsiteY8257" fmla="*/ 4100217 h 5217112"/>
              <a:gd name="connsiteX8258" fmla="*/ 1332068 w 6785952"/>
              <a:gd name="connsiteY8258" fmla="*/ 4103537 h 5217112"/>
              <a:gd name="connsiteX8259" fmla="*/ 1328762 w 6785952"/>
              <a:gd name="connsiteY8259" fmla="*/ 4095458 h 5217112"/>
              <a:gd name="connsiteX8260" fmla="*/ 1332068 w 6785952"/>
              <a:gd name="connsiteY8260" fmla="*/ 4087490 h 5217112"/>
              <a:gd name="connsiteX8261" fmla="*/ 1344694 w 6785952"/>
              <a:gd name="connsiteY8261" fmla="*/ 4074541 h 5217112"/>
              <a:gd name="connsiteX8262" fmla="*/ 1343793 w 6785952"/>
              <a:gd name="connsiteY8262" fmla="*/ 4073877 h 5217112"/>
              <a:gd name="connsiteX8263" fmla="*/ 1338382 w 6785952"/>
              <a:gd name="connsiteY8263" fmla="*/ 4071885 h 5217112"/>
              <a:gd name="connsiteX8264" fmla="*/ 1338080 w 6785952"/>
              <a:gd name="connsiteY8264" fmla="*/ 4072328 h 5217112"/>
              <a:gd name="connsiteX8265" fmla="*/ 1329965 w 6785952"/>
              <a:gd name="connsiteY8265" fmla="*/ 4067126 h 5217112"/>
              <a:gd name="connsiteX8266" fmla="*/ 1327259 w 6785952"/>
              <a:gd name="connsiteY8266" fmla="*/ 4066462 h 5217112"/>
              <a:gd name="connsiteX8267" fmla="*/ 1322749 w 6785952"/>
              <a:gd name="connsiteY8267" fmla="*/ 4067569 h 5217112"/>
              <a:gd name="connsiteX8268" fmla="*/ 1320945 w 6785952"/>
              <a:gd name="connsiteY8268" fmla="*/ 4065024 h 5217112"/>
              <a:gd name="connsiteX8269" fmla="*/ 1321246 w 6785952"/>
              <a:gd name="connsiteY8269" fmla="*/ 4064802 h 5217112"/>
              <a:gd name="connsiteX8270" fmla="*/ 1317939 w 6785952"/>
              <a:gd name="connsiteY8270" fmla="*/ 4063806 h 5217112"/>
              <a:gd name="connsiteX8271" fmla="*/ 1312829 w 6785952"/>
              <a:gd name="connsiteY8271" fmla="*/ 4061482 h 5217112"/>
              <a:gd name="connsiteX8272" fmla="*/ 1314032 w 6785952"/>
              <a:gd name="connsiteY8272" fmla="*/ 4062367 h 5217112"/>
              <a:gd name="connsiteX8273" fmla="*/ 1299602 w 6785952"/>
              <a:gd name="connsiteY8273" fmla="*/ 4056612 h 5217112"/>
              <a:gd name="connsiteX8274" fmla="*/ 6242311 w 6785952"/>
              <a:gd name="connsiteY8274" fmla="*/ 4056170 h 5217112"/>
              <a:gd name="connsiteX8275" fmla="*/ 6245017 w 6785952"/>
              <a:gd name="connsiteY8275" fmla="*/ 4058051 h 5217112"/>
              <a:gd name="connsiteX8276" fmla="*/ 6235398 w 6785952"/>
              <a:gd name="connsiteY8276" fmla="*/ 4066905 h 5217112"/>
              <a:gd name="connsiteX8277" fmla="*/ 6232691 w 6785952"/>
              <a:gd name="connsiteY8277" fmla="*/ 4065134 h 5217112"/>
              <a:gd name="connsiteX8278" fmla="*/ 6233894 w 6785952"/>
              <a:gd name="connsiteY8278" fmla="*/ 4060929 h 5217112"/>
              <a:gd name="connsiteX8279" fmla="*/ 6242311 w 6785952"/>
              <a:gd name="connsiteY8279" fmla="*/ 4056170 h 5217112"/>
              <a:gd name="connsiteX8280" fmla="*/ 932250 w 6785952"/>
              <a:gd name="connsiteY8280" fmla="*/ 4053292 h 5217112"/>
              <a:gd name="connsiteX8281" fmla="*/ 933754 w 6785952"/>
              <a:gd name="connsiteY8281" fmla="*/ 4057498 h 5217112"/>
              <a:gd name="connsiteX8282" fmla="*/ 937061 w 6785952"/>
              <a:gd name="connsiteY8282" fmla="*/ 4059047 h 5217112"/>
              <a:gd name="connsiteX8283" fmla="*/ 936460 w 6785952"/>
              <a:gd name="connsiteY8283" fmla="*/ 4063806 h 5217112"/>
              <a:gd name="connsiteX8284" fmla="*/ 932250 w 6785952"/>
              <a:gd name="connsiteY8284" fmla="*/ 4053292 h 5217112"/>
              <a:gd name="connsiteX8285" fmla="*/ 5124325 w 6785952"/>
              <a:gd name="connsiteY8285" fmla="*/ 4044549 h 5217112"/>
              <a:gd name="connsiteX8286" fmla="*/ 5123724 w 6785952"/>
              <a:gd name="connsiteY8286" fmla="*/ 4046209 h 5217112"/>
              <a:gd name="connsiteX8287" fmla="*/ 5123122 w 6785952"/>
              <a:gd name="connsiteY8287" fmla="*/ 4048091 h 5217112"/>
              <a:gd name="connsiteX8288" fmla="*/ 5123724 w 6785952"/>
              <a:gd name="connsiteY8288" fmla="*/ 4048755 h 5217112"/>
              <a:gd name="connsiteX8289" fmla="*/ 5124927 w 6785952"/>
              <a:gd name="connsiteY8289" fmla="*/ 4049640 h 5217112"/>
              <a:gd name="connsiteX8290" fmla="*/ 5132141 w 6785952"/>
              <a:gd name="connsiteY8290" fmla="*/ 4050083 h 5217112"/>
              <a:gd name="connsiteX8291" fmla="*/ 5134244 w 6785952"/>
              <a:gd name="connsiteY8291" fmla="*/ 4050858 h 5217112"/>
              <a:gd name="connsiteX8292" fmla="*/ 5135447 w 6785952"/>
              <a:gd name="connsiteY8292" fmla="*/ 4050194 h 5217112"/>
              <a:gd name="connsiteX8293" fmla="*/ 5126129 w 6785952"/>
              <a:gd name="connsiteY8293" fmla="*/ 4044992 h 5217112"/>
              <a:gd name="connsiteX8294" fmla="*/ 991171 w 6785952"/>
              <a:gd name="connsiteY8294" fmla="*/ 4042447 h 5217112"/>
              <a:gd name="connsiteX8295" fmla="*/ 994478 w 6785952"/>
              <a:gd name="connsiteY8295" fmla="*/ 4047980 h 5217112"/>
              <a:gd name="connsiteX8296" fmla="*/ 993876 w 6785952"/>
              <a:gd name="connsiteY8296" fmla="*/ 4053071 h 5217112"/>
              <a:gd name="connsiteX8297" fmla="*/ 994779 w 6785952"/>
              <a:gd name="connsiteY8297" fmla="*/ 4053071 h 5217112"/>
              <a:gd name="connsiteX8298" fmla="*/ 994478 w 6785952"/>
              <a:gd name="connsiteY8298" fmla="*/ 4046652 h 5217112"/>
              <a:gd name="connsiteX8299" fmla="*/ 996281 w 6785952"/>
              <a:gd name="connsiteY8299" fmla="*/ 4048423 h 5217112"/>
              <a:gd name="connsiteX8300" fmla="*/ 995981 w 6785952"/>
              <a:gd name="connsiteY8300" fmla="*/ 4051300 h 5217112"/>
              <a:gd name="connsiteX8301" fmla="*/ 995981 w 6785952"/>
              <a:gd name="connsiteY8301" fmla="*/ 4053071 h 5217112"/>
              <a:gd name="connsiteX8302" fmla="*/ 999287 w 6785952"/>
              <a:gd name="connsiteY8302" fmla="*/ 4052850 h 5217112"/>
              <a:gd name="connsiteX8303" fmla="*/ 1005902 w 6785952"/>
              <a:gd name="connsiteY8303" fmla="*/ 4067126 h 5217112"/>
              <a:gd name="connsiteX8304" fmla="*/ 972834 w 6785952"/>
              <a:gd name="connsiteY8304" fmla="*/ 4070225 h 5217112"/>
              <a:gd name="connsiteX8305" fmla="*/ 978846 w 6785952"/>
              <a:gd name="connsiteY8305" fmla="*/ 4059490 h 5217112"/>
              <a:gd name="connsiteX8306" fmla="*/ 980650 w 6785952"/>
              <a:gd name="connsiteY8306" fmla="*/ 4058494 h 5217112"/>
              <a:gd name="connsiteX8307" fmla="*/ 981551 w 6785952"/>
              <a:gd name="connsiteY8307" fmla="*/ 4053514 h 5217112"/>
              <a:gd name="connsiteX8308" fmla="*/ 991171 w 6785952"/>
              <a:gd name="connsiteY8308" fmla="*/ 4042447 h 5217112"/>
              <a:gd name="connsiteX8309" fmla="*/ 1379867 w 6785952"/>
              <a:gd name="connsiteY8309" fmla="*/ 4039348 h 5217112"/>
              <a:gd name="connsiteX8310" fmla="*/ 1385578 w 6785952"/>
              <a:gd name="connsiteY8310" fmla="*/ 4042447 h 5217112"/>
              <a:gd name="connsiteX8311" fmla="*/ 1385277 w 6785952"/>
              <a:gd name="connsiteY8311" fmla="*/ 4047205 h 5217112"/>
              <a:gd name="connsiteX8312" fmla="*/ 1379867 w 6785952"/>
              <a:gd name="connsiteY8312" fmla="*/ 4039348 h 5217112"/>
              <a:gd name="connsiteX8313" fmla="*/ 713403 w 6785952"/>
              <a:gd name="connsiteY8313" fmla="*/ 4038462 h 5217112"/>
              <a:gd name="connsiteX8314" fmla="*/ 720618 w 6785952"/>
              <a:gd name="connsiteY8314" fmla="*/ 4043443 h 5217112"/>
              <a:gd name="connsiteX8315" fmla="*/ 721519 w 6785952"/>
              <a:gd name="connsiteY8315" fmla="*/ 4045545 h 5217112"/>
              <a:gd name="connsiteX8316" fmla="*/ 723323 w 6785952"/>
              <a:gd name="connsiteY8316" fmla="*/ 4054731 h 5217112"/>
              <a:gd name="connsiteX8317" fmla="*/ 725428 w 6785952"/>
              <a:gd name="connsiteY8317" fmla="*/ 4055948 h 5217112"/>
              <a:gd name="connsiteX8318" fmla="*/ 729336 w 6785952"/>
              <a:gd name="connsiteY8318" fmla="*/ 4051522 h 5217112"/>
              <a:gd name="connsiteX8319" fmla="*/ 736551 w 6785952"/>
              <a:gd name="connsiteY8319" fmla="*/ 4049419 h 5217112"/>
              <a:gd name="connsiteX8320" fmla="*/ 744065 w 6785952"/>
              <a:gd name="connsiteY8320" fmla="*/ 4071774 h 5217112"/>
              <a:gd name="connsiteX8321" fmla="*/ 737152 w 6785952"/>
              <a:gd name="connsiteY8321" fmla="*/ 4077087 h 5217112"/>
              <a:gd name="connsiteX8322" fmla="*/ 723023 w 6785952"/>
              <a:gd name="connsiteY8322" fmla="*/ 4065245 h 5217112"/>
              <a:gd name="connsiteX8323" fmla="*/ 723924 w 6785952"/>
              <a:gd name="connsiteY8323" fmla="*/ 4061150 h 5217112"/>
              <a:gd name="connsiteX8324" fmla="*/ 720317 w 6785952"/>
              <a:gd name="connsiteY8324" fmla="*/ 4066352 h 5217112"/>
              <a:gd name="connsiteX8325" fmla="*/ 717311 w 6785952"/>
              <a:gd name="connsiteY8325" fmla="*/ 4066462 h 5217112"/>
              <a:gd name="connsiteX8326" fmla="*/ 716710 w 6785952"/>
              <a:gd name="connsiteY8326" fmla="*/ 4069561 h 5217112"/>
              <a:gd name="connsiteX8327" fmla="*/ 707691 w 6785952"/>
              <a:gd name="connsiteY8327" fmla="*/ 4069450 h 5217112"/>
              <a:gd name="connsiteX8328" fmla="*/ 705888 w 6785952"/>
              <a:gd name="connsiteY8328" fmla="*/ 4065466 h 5217112"/>
              <a:gd name="connsiteX8329" fmla="*/ 701078 w 6785952"/>
              <a:gd name="connsiteY8329" fmla="*/ 4061703 h 5217112"/>
              <a:gd name="connsiteX8330" fmla="*/ 704084 w 6785952"/>
              <a:gd name="connsiteY8330" fmla="*/ 4054731 h 5217112"/>
              <a:gd name="connsiteX8331" fmla="*/ 707391 w 6785952"/>
              <a:gd name="connsiteY8331" fmla="*/ 4053403 h 5217112"/>
              <a:gd name="connsiteX8332" fmla="*/ 706790 w 6785952"/>
              <a:gd name="connsiteY8332" fmla="*/ 4049308 h 5217112"/>
              <a:gd name="connsiteX8333" fmla="*/ 705588 w 6785952"/>
              <a:gd name="connsiteY8333" fmla="*/ 4040676 h 5217112"/>
              <a:gd name="connsiteX8334" fmla="*/ 713403 w 6785952"/>
              <a:gd name="connsiteY8334" fmla="*/ 4038462 h 5217112"/>
              <a:gd name="connsiteX8335" fmla="*/ 1377161 w 6785952"/>
              <a:gd name="connsiteY8335" fmla="*/ 4036692 h 5217112"/>
              <a:gd name="connsiteX8336" fmla="*/ 1378964 w 6785952"/>
              <a:gd name="connsiteY8336" fmla="*/ 4038684 h 5217112"/>
              <a:gd name="connsiteX8337" fmla="*/ 1378063 w 6785952"/>
              <a:gd name="connsiteY8337" fmla="*/ 4040012 h 5217112"/>
              <a:gd name="connsiteX8338" fmla="*/ 1375658 w 6785952"/>
              <a:gd name="connsiteY8338" fmla="*/ 4037024 h 5217112"/>
              <a:gd name="connsiteX8339" fmla="*/ 1377161 w 6785952"/>
              <a:gd name="connsiteY8339" fmla="*/ 4036692 h 5217112"/>
              <a:gd name="connsiteX8340" fmla="*/ 573617 w 6785952"/>
              <a:gd name="connsiteY8340" fmla="*/ 4036028 h 5217112"/>
              <a:gd name="connsiteX8341" fmla="*/ 580832 w 6785952"/>
              <a:gd name="connsiteY8341" fmla="*/ 4036360 h 5217112"/>
              <a:gd name="connsiteX8342" fmla="*/ 582034 w 6785952"/>
              <a:gd name="connsiteY8342" fmla="*/ 4049751 h 5217112"/>
              <a:gd name="connsiteX8343" fmla="*/ 573617 w 6785952"/>
              <a:gd name="connsiteY8343" fmla="*/ 4036028 h 5217112"/>
              <a:gd name="connsiteX8344" fmla="*/ 1372050 w 6785952"/>
              <a:gd name="connsiteY8344" fmla="*/ 4033704 h 5217112"/>
              <a:gd name="connsiteX8345" fmla="*/ 1372952 w 6785952"/>
              <a:gd name="connsiteY8345" fmla="*/ 4035696 h 5217112"/>
              <a:gd name="connsiteX8346" fmla="*/ 1372651 w 6785952"/>
              <a:gd name="connsiteY8346" fmla="*/ 4037798 h 5217112"/>
              <a:gd name="connsiteX8347" fmla="*/ 1373553 w 6785952"/>
              <a:gd name="connsiteY8347" fmla="*/ 4039016 h 5217112"/>
              <a:gd name="connsiteX8348" fmla="*/ 1372050 w 6785952"/>
              <a:gd name="connsiteY8348" fmla="*/ 4039790 h 5217112"/>
              <a:gd name="connsiteX8349" fmla="*/ 1371449 w 6785952"/>
              <a:gd name="connsiteY8349" fmla="*/ 4044107 h 5217112"/>
              <a:gd name="connsiteX8350" fmla="*/ 1371750 w 6785952"/>
              <a:gd name="connsiteY8350" fmla="*/ 4046099 h 5217112"/>
              <a:gd name="connsiteX8351" fmla="*/ 1377161 w 6785952"/>
              <a:gd name="connsiteY8351" fmla="*/ 4047980 h 5217112"/>
              <a:gd name="connsiteX8352" fmla="*/ 1397603 w 6785952"/>
              <a:gd name="connsiteY8352" fmla="*/ 4053071 h 5217112"/>
              <a:gd name="connsiteX8353" fmla="*/ 1399105 w 6785952"/>
              <a:gd name="connsiteY8353" fmla="*/ 4058273 h 5217112"/>
              <a:gd name="connsiteX8354" fmla="*/ 1401811 w 6785952"/>
              <a:gd name="connsiteY8354" fmla="*/ 4061593 h 5217112"/>
              <a:gd name="connsiteX8355" fmla="*/ 1409627 w 6785952"/>
              <a:gd name="connsiteY8355" fmla="*/ 4062921 h 5217112"/>
              <a:gd name="connsiteX8356" fmla="*/ 1408425 w 6785952"/>
              <a:gd name="connsiteY8356" fmla="*/ 4058273 h 5217112"/>
              <a:gd name="connsiteX8357" fmla="*/ 1415940 w 6785952"/>
              <a:gd name="connsiteY8357" fmla="*/ 4063917 h 5217112"/>
              <a:gd name="connsiteX8358" fmla="*/ 1414737 w 6785952"/>
              <a:gd name="connsiteY8358" fmla="*/ 4063917 h 5217112"/>
              <a:gd name="connsiteX8359" fmla="*/ 1417443 w 6785952"/>
              <a:gd name="connsiteY8359" fmla="*/ 4064470 h 5217112"/>
              <a:gd name="connsiteX8360" fmla="*/ 1417142 w 6785952"/>
              <a:gd name="connsiteY8360" fmla="*/ 4064249 h 5217112"/>
              <a:gd name="connsiteX8361" fmla="*/ 1417142 w 6785952"/>
              <a:gd name="connsiteY8361" fmla="*/ 4062810 h 5217112"/>
              <a:gd name="connsiteX8362" fmla="*/ 1420449 w 6785952"/>
              <a:gd name="connsiteY8362" fmla="*/ 4064802 h 5217112"/>
              <a:gd name="connsiteX8363" fmla="*/ 1420148 w 6785952"/>
              <a:gd name="connsiteY8363" fmla="*/ 4065134 h 5217112"/>
              <a:gd name="connsiteX8364" fmla="*/ 1426762 w 6785952"/>
              <a:gd name="connsiteY8364" fmla="*/ 4067126 h 5217112"/>
              <a:gd name="connsiteX8365" fmla="*/ 1432474 w 6785952"/>
              <a:gd name="connsiteY8365" fmla="*/ 4068786 h 5217112"/>
              <a:gd name="connsiteX8366" fmla="*/ 1437884 w 6785952"/>
              <a:gd name="connsiteY8366" fmla="*/ 4070114 h 5217112"/>
              <a:gd name="connsiteX8367" fmla="*/ 1428566 w 6785952"/>
              <a:gd name="connsiteY8367" fmla="*/ 4066241 h 5217112"/>
              <a:gd name="connsiteX8368" fmla="*/ 1441793 w 6785952"/>
              <a:gd name="connsiteY8368" fmla="*/ 4069340 h 5217112"/>
              <a:gd name="connsiteX8369" fmla="*/ 1449309 w 6785952"/>
              <a:gd name="connsiteY8369" fmla="*/ 4072549 h 5217112"/>
              <a:gd name="connsiteX8370" fmla="*/ 1464339 w 6785952"/>
              <a:gd name="connsiteY8370" fmla="*/ 4074873 h 5217112"/>
              <a:gd name="connsiteX8371" fmla="*/ 1481474 w 6785952"/>
              <a:gd name="connsiteY8371" fmla="*/ 4075427 h 5217112"/>
              <a:gd name="connsiteX8372" fmla="*/ 1498909 w 6785952"/>
              <a:gd name="connsiteY8372" fmla="*/ 4072328 h 5217112"/>
              <a:gd name="connsiteX8373" fmla="*/ 1497407 w 6785952"/>
              <a:gd name="connsiteY8373" fmla="*/ 4062367 h 5217112"/>
              <a:gd name="connsiteX8374" fmla="*/ 1497106 w 6785952"/>
              <a:gd name="connsiteY8374" fmla="*/ 4062589 h 5217112"/>
              <a:gd name="connsiteX8375" fmla="*/ 1485383 w 6785952"/>
              <a:gd name="connsiteY8375" fmla="*/ 4063695 h 5217112"/>
              <a:gd name="connsiteX8376" fmla="*/ 1479369 w 6785952"/>
              <a:gd name="connsiteY8376" fmla="*/ 4056502 h 5217112"/>
              <a:gd name="connsiteX8377" fmla="*/ 1487786 w 6785952"/>
              <a:gd name="connsiteY8377" fmla="*/ 4050526 h 5217112"/>
              <a:gd name="connsiteX8378" fmla="*/ 1495603 w 6785952"/>
              <a:gd name="connsiteY8378" fmla="*/ 4049530 h 5217112"/>
              <a:gd name="connsiteX8379" fmla="*/ 1495603 w 6785952"/>
              <a:gd name="connsiteY8379" fmla="*/ 4049087 h 5217112"/>
              <a:gd name="connsiteX8380" fmla="*/ 1496806 w 6785952"/>
              <a:gd name="connsiteY8380" fmla="*/ 4041451 h 5217112"/>
              <a:gd name="connsiteX8381" fmla="*/ 1487185 w 6785952"/>
              <a:gd name="connsiteY8381" fmla="*/ 4041451 h 5217112"/>
              <a:gd name="connsiteX8382" fmla="*/ 1479671 w 6785952"/>
              <a:gd name="connsiteY8382" fmla="*/ 4049419 h 5217112"/>
              <a:gd name="connsiteX8383" fmla="*/ 1468246 w 6785952"/>
              <a:gd name="connsiteY8383" fmla="*/ 4054067 h 5217112"/>
              <a:gd name="connsiteX8384" fmla="*/ 1460130 w 6785952"/>
              <a:gd name="connsiteY8384" fmla="*/ 4047095 h 5217112"/>
              <a:gd name="connsiteX8385" fmla="*/ 1461333 w 6785952"/>
              <a:gd name="connsiteY8385" fmla="*/ 4043000 h 5217112"/>
              <a:gd name="connsiteX8386" fmla="*/ 1459228 w 6785952"/>
              <a:gd name="connsiteY8386" fmla="*/ 4041229 h 5217112"/>
              <a:gd name="connsiteX8387" fmla="*/ 1446302 w 6785952"/>
              <a:gd name="connsiteY8387" fmla="*/ 4041008 h 5217112"/>
              <a:gd name="connsiteX8388" fmla="*/ 1442394 w 6785952"/>
              <a:gd name="connsiteY8388" fmla="*/ 4049972 h 5217112"/>
              <a:gd name="connsiteX8389" fmla="*/ 1429769 w 6785952"/>
              <a:gd name="connsiteY8389" fmla="*/ 4056945 h 5217112"/>
              <a:gd name="connsiteX8390" fmla="*/ 1431572 w 6785952"/>
              <a:gd name="connsiteY8390" fmla="*/ 4041008 h 5217112"/>
              <a:gd name="connsiteX8391" fmla="*/ 1431572 w 6785952"/>
              <a:gd name="connsiteY8391" fmla="*/ 4040676 h 5217112"/>
              <a:gd name="connsiteX8392" fmla="*/ 1396701 w 6785952"/>
              <a:gd name="connsiteY8392" fmla="*/ 4038241 h 5217112"/>
              <a:gd name="connsiteX8393" fmla="*/ 447660 w 6785952"/>
              <a:gd name="connsiteY8393" fmla="*/ 4029166 h 5217112"/>
              <a:gd name="connsiteX8394" fmla="*/ 459384 w 6785952"/>
              <a:gd name="connsiteY8394" fmla="*/ 4040122 h 5217112"/>
              <a:gd name="connsiteX8395" fmla="*/ 439243 w 6785952"/>
              <a:gd name="connsiteY8395" fmla="*/ 4054067 h 5217112"/>
              <a:gd name="connsiteX8396" fmla="*/ 447660 w 6785952"/>
              <a:gd name="connsiteY8396" fmla="*/ 4029166 h 5217112"/>
              <a:gd name="connsiteX8397" fmla="*/ 1046484 w 6785952"/>
              <a:gd name="connsiteY8397" fmla="*/ 4027063 h 5217112"/>
              <a:gd name="connsiteX8398" fmla="*/ 1057607 w 6785952"/>
              <a:gd name="connsiteY8398" fmla="*/ 4030494 h 5217112"/>
              <a:gd name="connsiteX8399" fmla="*/ 1052497 w 6785952"/>
              <a:gd name="connsiteY8399" fmla="*/ 4040565 h 5217112"/>
              <a:gd name="connsiteX8400" fmla="*/ 1046484 w 6785952"/>
              <a:gd name="connsiteY8400" fmla="*/ 4027063 h 5217112"/>
              <a:gd name="connsiteX8401" fmla="*/ 596163 w 6785952"/>
              <a:gd name="connsiteY8401" fmla="*/ 4021087 h 5217112"/>
              <a:gd name="connsiteX8402" fmla="*/ 610292 w 6785952"/>
              <a:gd name="connsiteY8402" fmla="*/ 4046320 h 5217112"/>
              <a:gd name="connsiteX8403" fmla="*/ 596163 w 6785952"/>
              <a:gd name="connsiteY8403" fmla="*/ 4021087 h 5217112"/>
              <a:gd name="connsiteX8404" fmla="*/ 2242029 w 6785952"/>
              <a:gd name="connsiteY8404" fmla="*/ 4018542 h 5217112"/>
              <a:gd name="connsiteX8405" fmla="*/ 2236919 w 6785952"/>
              <a:gd name="connsiteY8405" fmla="*/ 4019759 h 5217112"/>
              <a:gd name="connsiteX8406" fmla="*/ 2233011 w 6785952"/>
              <a:gd name="connsiteY8406" fmla="*/ 4026842 h 5217112"/>
              <a:gd name="connsiteX8407" fmla="*/ 2236318 w 6785952"/>
              <a:gd name="connsiteY8407" fmla="*/ 4028723 h 5217112"/>
              <a:gd name="connsiteX8408" fmla="*/ 2236017 w 6785952"/>
              <a:gd name="connsiteY8408" fmla="*/ 4029719 h 5217112"/>
              <a:gd name="connsiteX8409" fmla="*/ 2237220 w 6785952"/>
              <a:gd name="connsiteY8409" fmla="*/ 4028281 h 5217112"/>
              <a:gd name="connsiteX8410" fmla="*/ 2242029 w 6785952"/>
              <a:gd name="connsiteY8410" fmla="*/ 4018542 h 5217112"/>
              <a:gd name="connsiteX8411" fmla="*/ 1312528 w 6785952"/>
              <a:gd name="connsiteY8411" fmla="*/ 4015443 h 5217112"/>
              <a:gd name="connsiteX8412" fmla="*/ 1304111 w 6785952"/>
              <a:gd name="connsiteY8412" fmla="*/ 4021087 h 5217112"/>
              <a:gd name="connsiteX8413" fmla="*/ 1306516 w 6785952"/>
              <a:gd name="connsiteY8413" fmla="*/ 4022526 h 5217112"/>
              <a:gd name="connsiteX8414" fmla="*/ 1312528 w 6785952"/>
              <a:gd name="connsiteY8414" fmla="*/ 4026178 h 5217112"/>
              <a:gd name="connsiteX8415" fmla="*/ 1314332 w 6785952"/>
              <a:gd name="connsiteY8415" fmla="*/ 4026067 h 5217112"/>
              <a:gd name="connsiteX8416" fmla="*/ 1314032 w 6785952"/>
              <a:gd name="connsiteY8416" fmla="*/ 4026953 h 5217112"/>
              <a:gd name="connsiteX8417" fmla="*/ 1315234 w 6785952"/>
              <a:gd name="connsiteY8417" fmla="*/ 4027727 h 5217112"/>
              <a:gd name="connsiteX8418" fmla="*/ 1323651 w 6785952"/>
              <a:gd name="connsiteY8418" fmla="*/ 4030273 h 5217112"/>
              <a:gd name="connsiteX8419" fmla="*/ 1338682 w 6785952"/>
              <a:gd name="connsiteY8419" fmla="*/ 4033704 h 5217112"/>
              <a:gd name="connsiteX8420" fmla="*/ 1357320 w 6785952"/>
              <a:gd name="connsiteY8420" fmla="*/ 4040676 h 5217112"/>
              <a:gd name="connsiteX8421" fmla="*/ 1365136 w 6785952"/>
              <a:gd name="connsiteY8421" fmla="*/ 4043443 h 5217112"/>
              <a:gd name="connsiteX8422" fmla="*/ 1368142 w 6785952"/>
              <a:gd name="connsiteY8422" fmla="*/ 4034036 h 5217112"/>
              <a:gd name="connsiteX8423" fmla="*/ 1368744 w 6785952"/>
              <a:gd name="connsiteY8423" fmla="*/ 4033372 h 5217112"/>
              <a:gd name="connsiteX8424" fmla="*/ 1368142 w 6785952"/>
              <a:gd name="connsiteY8424" fmla="*/ 4033150 h 5217112"/>
              <a:gd name="connsiteX8425" fmla="*/ 1368744 w 6785952"/>
              <a:gd name="connsiteY8425" fmla="*/ 4033039 h 5217112"/>
              <a:gd name="connsiteX8426" fmla="*/ 1357320 w 6785952"/>
              <a:gd name="connsiteY8426" fmla="*/ 4030937 h 5217112"/>
              <a:gd name="connsiteX8427" fmla="*/ 1338983 w 6785952"/>
              <a:gd name="connsiteY8427" fmla="*/ 4025292 h 5217112"/>
              <a:gd name="connsiteX8428" fmla="*/ 1329965 w 6785952"/>
              <a:gd name="connsiteY8428" fmla="*/ 4027174 h 5217112"/>
              <a:gd name="connsiteX8429" fmla="*/ 1323651 w 6785952"/>
              <a:gd name="connsiteY8429" fmla="*/ 4020534 h 5217112"/>
              <a:gd name="connsiteX8430" fmla="*/ 1321246 w 6785952"/>
              <a:gd name="connsiteY8430" fmla="*/ 4019759 h 5217112"/>
              <a:gd name="connsiteX8431" fmla="*/ 6205035 w 6785952"/>
              <a:gd name="connsiteY8431" fmla="*/ 4014004 h 5217112"/>
              <a:gd name="connsiteX8432" fmla="*/ 6216759 w 6785952"/>
              <a:gd name="connsiteY8432" fmla="*/ 4024739 h 5217112"/>
              <a:gd name="connsiteX8433" fmla="*/ 6209845 w 6785952"/>
              <a:gd name="connsiteY8433" fmla="*/ 4036028 h 5217112"/>
              <a:gd name="connsiteX8434" fmla="*/ 6189704 w 6785952"/>
              <a:gd name="connsiteY8434" fmla="*/ 4020644 h 5217112"/>
              <a:gd name="connsiteX8435" fmla="*/ 6205035 w 6785952"/>
              <a:gd name="connsiteY8435" fmla="*/ 4014004 h 5217112"/>
              <a:gd name="connsiteX8436" fmla="*/ 5076527 w 6785952"/>
              <a:gd name="connsiteY8436" fmla="*/ 4012897 h 5217112"/>
              <a:gd name="connsiteX8437" fmla="*/ 5059392 w 6785952"/>
              <a:gd name="connsiteY8437" fmla="*/ 4042336 h 5217112"/>
              <a:gd name="connsiteX8438" fmla="*/ 5057588 w 6785952"/>
              <a:gd name="connsiteY8438" fmla="*/ 4045877 h 5217112"/>
              <a:gd name="connsiteX8439" fmla="*/ 5055183 w 6785952"/>
              <a:gd name="connsiteY8439" fmla="*/ 4044660 h 5217112"/>
              <a:gd name="connsiteX8440" fmla="*/ 5050674 w 6785952"/>
              <a:gd name="connsiteY8440" fmla="*/ 4047537 h 5217112"/>
              <a:gd name="connsiteX8441" fmla="*/ 5051576 w 6785952"/>
              <a:gd name="connsiteY8441" fmla="*/ 4041893 h 5217112"/>
              <a:gd name="connsiteX8442" fmla="*/ 5050073 w 6785952"/>
              <a:gd name="connsiteY8442" fmla="*/ 4039016 h 5217112"/>
              <a:gd name="connsiteX8443" fmla="*/ 5051576 w 6785952"/>
              <a:gd name="connsiteY8443" fmla="*/ 4034589 h 5217112"/>
              <a:gd name="connsiteX8444" fmla="*/ 5054582 w 6785952"/>
              <a:gd name="connsiteY8444" fmla="*/ 4032154 h 5217112"/>
              <a:gd name="connsiteX8445" fmla="*/ 5058791 w 6785952"/>
              <a:gd name="connsiteY8445" fmla="*/ 4025071 h 5217112"/>
              <a:gd name="connsiteX8446" fmla="*/ 5076527 w 6785952"/>
              <a:gd name="connsiteY8446" fmla="*/ 4012897 h 5217112"/>
              <a:gd name="connsiteX8447" fmla="*/ 6405545 w 6785952"/>
              <a:gd name="connsiteY8447" fmla="*/ 4012787 h 5217112"/>
              <a:gd name="connsiteX8448" fmla="*/ 6411558 w 6785952"/>
              <a:gd name="connsiteY8448" fmla="*/ 4016881 h 5217112"/>
              <a:gd name="connsiteX8449" fmla="*/ 6418472 w 6785952"/>
              <a:gd name="connsiteY8449" fmla="*/ 4029387 h 5217112"/>
              <a:gd name="connsiteX8450" fmla="*/ 6420275 w 6785952"/>
              <a:gd name="connsiteY8450" fmla="*/ 4027949 h 5217112"/>
              <a:gd name="connsiteX8451" fmla="*/ 6410655 w 6785952"/>
              <a:gd name="connsiteY8451" fmla="*/ 4038241 h 5217112"/>
              <a:gd name="connsiteX8452" fmla="*/ 6389613 w 6785952"/>
              <a:gd name="connsiteY8452" fmla="*/ 4018984 h 5217112"/>
              <a:gd name="connsiteX8453" fmla="*/ 6405545 w 6785952"/>
              <a:gd name="connsiteY8453" fmla="*/ 4012787 h 5217112"/>
              <a:gd name="connsiteX8454" fmla="*/ 6325582 w 6785952"/>
              <a:gd name="connsiteY8454" fmla="*/ 4006036 h 5217112"/>
              <a:gd name="connsiteX8455" fmla="*/ 6329190 w 6785952"/>
              <a:gd name="connsiteY8455" fmla="*/ 4007253 h 5217112"/>
              <a:gd name="connsiteX8456" fmla="*/ 6324079 w 6785952"/>
              <a:gd name="connsiteY8456" fmla="*/ 4007806 h 5217112"/>
              <a:gd name="connsiteX8457" fmla="*/ 6325582 w 6785952"/>
              <a:gd name="connsiteY8457" fmla="*/ 4006036 h 5217112"/>
              <a:gd name="connsiteX8458" fmla="*/ 6054427 w 6785952"/>
              <a:gd name="connsiteY8458" fmla="*/ 4005925 h 5217112"/>
              <a:gd name="connsiteX8459" fmla="*/ 6052323 w 6785952"/>
              <a:gd name="connsiteY8459" fmla="*/ 4007806 h 5217112"/>
              <a:gd name="connsiteX8460" fmla="*/ 6039998 w 6785952"/>
              <a:gd name="connsiteY8460" fmla="*/ 4013451 h 5217112"/>
              <a:gd name="connsiteX8461" fmla="*/ 6029477 w 6785952"/>
              <a:gd name="connsiteY8461" fmla="*/ 4017435 h 5217112"/>
              <a:gd name="connsiteX8462" fmla="*/ 6030679 w 6785952"/>
              <a:gd name="connsiteY8462" fmla="*/ 4019427 h 5217112"/>
              <a:gd name="connsiteX8463" fmla="*/ 6026770 w 6785952"/>
              <a:gd name="connsiteY8463" fmla="*/ 4026842 h 5217112"/>
              <a:gd name="connsiteX8464" fmla="*/ 6029777 w 6785952"/>
              <a:gd name="connsiteY8464" fmla="*/ 4028723 h 5217112"/>
              <a:gd name="connsiteX8465" fmla="*/ 6028875 w 6785952"/>
              <a:gd name="connsiteY8465" fmla="*/ 4037356 h 5217112"/>
              <a:gd name="connsiteX8466" fmla="*/ 6012040 w 6785952"/>
              <a:gd name="connsiteY8466" fmla="*/ 4035474 h 5217112"/>
              <a:gd name="connsiteX8467" fmla="*/ 6012943 w 6785952"/>
              <a:gd name="connsiteY8467" fmla="*/ 4033814 h 5217112"/>
              <a:gd name="connsiteX8468" fmla="*/ 6010837 w 6785952"/>
              <a:gd name="connsiteY8468" fmla="*/ 4033593 h 5217112"/>
              <a:gd name="connsiteX8469" fmla="*/ 6005728 w 6785952"/>
              <a:gd name="connsiteY8469" fmla="*/ 4030715 h 5217112"/>
              <a:gd name="connsiteX8470" fmla="*/ 6002421 w 6785952"/>
              <a:gd name="connsiteY8470" fmla="*/ 4024628 h 5217112"/>
              <a:gd name="connsiteX8471" fmla="*/ 5997611 w 6785952"/>
              <a:gd name="connsiteY8471" fmla="*/ 4026289 h 5217112"/>
              <a:gd name="connsiteX8472" fmla="*/ 5996109 w 6785952"/>
              <a:gd name="connsiteY8472" fmla="*/ 4026842 h 5217112"/>
              <a:gd name="connsiteX8473" fmla="*/ 6003623 w 6785952"/>
              <a:gd name="connsiteY8473" fmla="*/ 4032265 h 5217112"/>
              <a:gd name="connsiteX8474" fmla="*/ 6004224 w 6785952"/>
              <a:gd name="connsiteY8474" fmla="*/ 4043996 h 5217112"/>
              <a:gd name="connsiteX8475" fmla="*/ 5984986 w 6785952"/>
              <a:gd name="connsiteY8475" fmla="*/ 4039790 h 5217112"/>
              <a:gd name="connsiteX8476" fmla="*/ 5986188 w 6785952"/>
              <a:gd name="connsiteY8476" fmla="*/ 4037245 h 5217112"/>
              <a:gd name="connsiteX8477" fmla="*/ 5982580 w 6785952"/>
              <a:gd name="connsiteY8477" fmla="*/ 4037466 h 5217112"/>
              <a:gd name="connsiteX8478" fmla="*/ 5981378 w 6785952"/>
              <a:gd name="connsiteY8478" fmla="*/ 4037134 h 5217112"/>
              <a:gd name="connsiteX8479" fmla="*/ 5965445 w 6785952"/>
              <a:gd name="connsiteY8479" fmla="*/ 4043664 h 5217112"/>
              <a:gd name="connsiteX8480" fmla="*/ 5946207 w 6785952"/>
              <a:gd name="connsiteY8480" fmla="*/ 4052075 h 5217112"/>
              <a:gd name="connsiteX8481" fmla="*/ 5949212 w 6785952"/>
              <a:gd name="connsiteY8481" fmla="*/ 4058937 h 5217112"/>
              <a:gd name="connsiteX8482" fmla="*/ 5941997 w 6785952"/>
              <a:gd name="connsiteY8482" fmla="*/ 4054952 h 5217112"/>
              <a:gd name="connsiteX8483" fmla="*/ 5938089 w 6785952"/>
              <a:gd name="connsiteY8483" fmla="*/ 4058937 h 5217112"/>
              <a:gd name="connsiteX8484" fmla="*/ 5932077 w 6785952"/>
              <a:gd name="connsiteY8484" fmla="*/ 4059933 h 5217112"/>
              <a:gd name="connsiteX8485" fmla="*/ 5921855 w 6785952"/>
              <a:gd name="connsiteY8485" fmla="*/ 4067790 h 5217112"/>
              <a:gd name="connsiteX8486" fmla="*/ 5917948 w 6785952"/>
              <a:gd name="connsiteY8486" fmla="*/ 4062810 h 5217112"/>
              <a:gd name="connsiteX8487" fmla="*/ 5911635 w 6785952"/>
              <a:gd name="connsiteY8487" fmla="*/ 4074652 h 5217112"/>
              <a:gd name="connsiteX8488" fmla="*/ 5906825 w 6785952"/>
              <a:gd name="connsiteY8488" fmla="*/ 4082620 h 5217112"/>
              <a:gd name="connsiteX8489" fmla="*/ 5904721 w 6785952"/>
              <a:gd name="connsiteY8489" fmla="*/ 4076644 h 5217112"/>
              <a:gd name="connsiteX8490" fmla="*/ 5891795 w 6785952"/>
              <a:gd name="connsiteY8490" fmla="*/ 4082178 h 5217112"/>
              <a:gd name="connsiteX8491" fmla="*/ 5896304 w 6785952"/>
              <a:gd name="connsiteY8491" fmla="*/ 4086051 h 5217112"/>
              <a:gd name="connsiteX8492" fmla="*/ 5899610 w 6785952"/>
              <a:gd name="connsiteY8492" fmla="*/ 4084502 h 5217112"/>
              <a:gd name="connsiteX8493" fmla="*/ 5896905 w 6785952"/>
              <a:gd name="connsiteY8493" fmla="*/ 4086383 h 5217112"/>
              <a:gd name="connsiteX8494" fmla="*/ 5898107 w 6785952"/>
              <a:gd name="connsiteY8494" fmla="*/ 4087600 h 5217112"/>
              <a:gd name="connsiteX8495" fmla="*/ 5901716 w 6785952"/>
              <a:gd name="connsiteY8495" fmla="*/ 4089482 h 5217112"/>
              <a:gd name="connsiteX8496" fmla="*/ 5904721 w 6785952"/>
              <a:gd name="connsiteY8496" fmla="*/ 4088154 h 5217112"/>
              <a:gd name="connsiteX8497" fmla="*/ 5916745 w 6785952"/>
              <a:gd name="connsiteY8497" fmla="*/ 4077640 h 5217112"/>
              <a:gd name="connsiteX8498" fmla="*/ 5926966 w 6785952"/>
              <a:gd name="connsiteY8498" fmla="*/ 4083616 h 5217112"/>
              <a:gd name="connsiteX8499" fmla="*/ 5945003 w 6785952"/>
              <a:gd name="connsiteY8499" fmla="*/ 4075648 h 5217112"/>
              <a:gd name="connsiteX8500" fmla="*/ 5954022 w 6785952"/>
              <a:gd name="connsiteY8500" fmla="*/ 4072549 h 5217112"/>
              <a:gd name="connsiteX8501" fmla="*/ 5954923 w 6785952"/>
              <a:gd name="connsiteY8501" fmla="*/ 4066241 h 5217112"/>
              <a:gd name="connsiteX8502" fmla="*/ 5966647 w 6785952"/>
              <a:gd name="connsiteY8502" fmla="*/ 4053735 h 5217112"/>
              <a:gd name="connsiteX8503" fmla="*/ 5972359 w 6785952"/>
              <a:gd name="connsiteY8503" fmla="*/ 4057830 h 5217112"/>
              <a:gd name="connsiteX8504" fmla="*/ 5976267 w 6785952"/>
              <a:gd name="connsiteY8504" fmla="*/ 4055948 h 5217112"/>
              <a:gd name="connsiteX8505" fmla="*/ 5988592 w 6785952"/>
              <a:gd name="connsiteY8505" fmla="*/ 4055948 h 5217112"/>
              <a:gd name="connsiteX8506" fmla="*/ 6009635 w 6785952"/>
              <a:gd name="connsiteY8506" fmla="*/ 4049972 h 5217112"/>
              <a:gd name="connsiteX8507" fmla="*/ 6012643 w 6785952"/>
              <a:gd name="connsiteY8507" fmla="*/ 4057830 h 5217112"/>
              <a:gd name="connsiteX8508" fmla="*/ 6034888 w 6785952"/>
              <a:gd name="connsiteY8508" fmla="*/ 4044107 h 5217112"/>
              <a:gd name="connsiteX8509" fmla="*/ 6008734 w 6785952"/>
              <a:gd name="connsiteY8509" fmla="*/ 4048091 h 5217112"/>
              <a:gd name="connsiteX8510" fmla="*/ 6025869 w 6785952"/>
              <a:gd name="connsiteY8510" fmla="*/ 4040233 h 5217112"/>
              <a:gd name="connsiteX8511" fmla="*/ 6030979 w 6785952"/>
              <a:gd name="connsiteY8511" fmla="*/ 4039126 h 5217112"/>
              <a:gd name="connsiteX8512" fmla="*/ 6036090 w 6785952"/>
              <a:gd name="connsiteY8512" fmla="*/ 4037134 h 5217112"/>
              <a:gd name="connsiteX8513" fmla="*/ 6045108 w 6785952"/>
              <a:gd name="connsiteY8513" fmla="*/ 4031269 h 5217112"/>
              <a:gd name="connsiteX8514" fmla="*/ 6039096 w 6785952"/>
              <a:gd name="connsiteY8514" fmla="*/ 4038130 h 5217112"/>
              <a:gd name="connsiteX8515" fmla="*/ 6064348 w 6785952"/>
              <a:gd name="connsiteY8515" fmla="*/ 4036249 h 5217112"/>
              <a:gd name="connsiteX8516" fmla="*/ 6075470 w 6785952"/>
              <a:gd name="connsiteY8516" fmla="*/ 4026289 h 5217112"/>
              <a:gd name="connsiteX8517" fmla="*/ 6059237 w 6785952"/>
              <a:gd name="connsiteY8517" fmla="*/ 4033150 h 5217112"/>
              <a:gd name="connsiteX8518" fmla="*/ 6065249 w 6785952"/>
              <a:gd name="connsiteY8518" fmla="*/ 4019427 h 5217112"/>
              <a:gd name="connsiteX8519" fmla="*/ 6065850 w 6785952"/>
              <a:gd name="connsiteY8519" fmla="*/ 4019427 h 5217112"/>
              <a:gd name="connsiteX8520" fmla="*/ 6064949 w 6785952"/>
              <a:gd name="connsiteY8520" fmla="*/ 4018984 h 5217112"/>
              <a:gd name="connsiteX8521" fmla="*/ 1043478 w 6785952"/>
              <a:gd name="connsiteY8521" fmla="*/ 4000613 h 5217112"/>
              <a:gd name="connsiteX8522" fmla="*/ 1047687 w 6785952"/>
              <a:gd name="connsiteY8522" fmla="*/ 4008249 h 5217112"/>
              <a:gd name="connsiteX8523" fmla="*/ 1044981 w 6785952"/>
              <a:gd name="connsiteY8523" fmla="*/ 4014225 h 5217112"/>
              <a:gd name="connsiteX8524" fmla="*/ 1036564 w 6785952"/>
              <a:gd name="connsiteY8524" fmla="*/ 4006036 h 5217112"/>
              <a:gd name="connsiteX8525" fmla="*/ 1043478 w 6785952"/>
              <a:gd name="connsiteY8525" fmla="*/ 4000613 h 5217112"/>
              <a:gd name="connsiteX8526" fmla="*/ 1265632 w 6785952"/>
              <a:gd name="connsiteY8526" fmla="*/ 3998953 h 5217112"/>
              <a:gd name="connsiteX8527" fmla="*/ 1267436 w 6785952"/>
              <a:gd name="connsiteY8527" fmla="*/ 4005372 h 5217112"/>
              <a:gd name="connsiteX8528" fmla="*/ 1268037 w 6785952"/>
              <a:gd name="connsiteY8528" fmla="*/ 4004597 h 5217112"/>
              <a:gd name="connsiteX8529" fmla="*/ 1276454 w 6785952"/>
              <a:gd name="connsiteY8529" fmla="*/ 4011569 h 5217112"/>
              <a:gd name="connsiteX8530" fmla="*/ 1282466 w 6785952"/>
              <a:gd name="connsiteY8530" fmla="*/ 4013119 h 5217112"/>
              <a:gd name="connsiteX8531" fmla="*/ 1282768 w 6785952"/>
              <a:gd name="connsiteY8531" fmla="*/ 4012897 h 5217112"/>
              <a:gd name="connsiteX8532" fmla="*/ 1282768 w 6785952"/>
              <a:gd name="connsiteY8532" fmla="*/ 4013229 h 5217112"/>
              <a:gd name="connsiteX8533" fmla="*/ 1283369 w 6785952"/>
              <a:gd name="connsiteY8533" fmla="*/ 4013451 h 5217112"/>
              <a:gd name="connsiteX8534" fmla="*/ 1291486 w 6785952"/>
              <a:gd name="connsiteY8534" fmla="*/ 4015332 h 5217112"/>
              <a:gd name="connsiteX8535" fmla="*/ 1299000 w 6785952"/>
              <a:gd name="connsiteY8535" fmla="*/ 4017988 h 5217112"/>
              <a:gd name="connsiteX8536" fmla="*/ 1290583 w 6785952"/>
              <a:gd name="connsiteY8536" fmla="*/ 4006036 h 5217112"/>
              <a:gd name="connsiteX8537" fmla="*/ 1290583 w 6785952"/>
              <a:gd name="connsiteY8537" fmla="*/ 4004818 h 5217112"/>
              <a:gd name="connsiteX8538" fmla="*/ 1287577 w 6785952"/>
              <a:gd name="connsiteY8538" fmla="*/ 4003158 h 5217112"/>
              <a:gd name="connsiteX8539" fmla="*/ 1283069 w 6785952"/>
              <a:gd name="connsiteY8539" fmla="*/ 4009134 h 5217112"/>
              <a:gd name="connsiteX8540" fmla="*/ 1265632 w 6785952"/>
              <a:gd name="connsiteY8540" fmla="*/ 3998953 h 5217112"/>
              <a:gd name="connsiteX8541" fmla="*/ 1017024 w 6785952"/>
              <a:gd name="connsiteY8541" fmla="*/ 3991095 h 5217112"/>
              <a:gd name="connsiteX8542" fmla="*/ 1026944 w 6785952"/>
              <a:gd name="connsiteY8542" fmla="*/ 3993862 h 5217112"/>
              <a:gd name="connsiteX8543" fmla="*/ 1027546 w 6785952"/>
              <a:gd name="connsiteY8543" fmla="*/ 4000281 h 5217112"/>
              <a:gd name="connsiteX8544" fmla="*/ 1008006 w 6785952"/>
              <a:gd name="connsiteY8544" fmla="*/ 4004376 h 5217112"/>
              <a:gd name="connsiteX8545" fmla="*/ 1007704 w 6785952"/>
              <a:gd name="connsiteY8545" fmla="*/ 3994858 h 5217112"/>
              <a:gd name="connsiteX8546" fmla="*/ 1017024 w 6785952"/>
              <a:gd name="connsiteY8546" fmla="*/ 3991095 h 5217112"/>
              <a:gd name="connsiteX8547" fmla="*/ 6092004 w 6785952"/>
              <a:gd name="connsiteY8547" fmla="*/ 3986668 h 5217112"/>
              <a:gd name="connsiteX8548" fmla="*/ 6091403 w 6785952"/>
              <a:gd name="connsiteY8548" fmla="*/ 3986890 h 5217112"/>
              <a:gd name="connsiteX8549" fmla="*/ 6084488 w 6785952"/>
              <a:gd name="connsiteY8549" fmla="*/ 3988882 h 5217112"/>
              <a:gd name="connsiteX8550" fmla="*/ 6080280 w 6785952"/>
              <a:gd name="connsiteY8550" fmla="*/ 3989767 h 5217112"/>
              <a:gd name="connsiteX8551" fmla="*/ 6078476 w 6785952"/>
              <a:gd name="connsiteY8551" fmla="*/ 3989767 h 5217112"/>
              <a:gd name="connsiteX8552" fmla="*/ 6075470 w 6785952"/>
              <a:gd name="connsiteY8552" fmla="*/ 3989767 h 5217112"/>
              <a:gd name="connsiteX8553" fmla="*/ 6075470 w 6785952"/>
              <a:gd name="connsiteY8553" fmla="*/ 3992866 h 5217112"/>
              <a:gd name="connsiteX8554" fmla="*/ 6077273 w 6785952"/>
              <a:gd name="connsiteY8554" fmla="*/ 3992866 h 5217112"/>
              <a:gd name="connsiteX8555" fmla="*/ 6079379 w 6785952"/>
              <a:gd name="connsiteY8555" fmla="*/ 3992866 h 5217112"/>
              <a:gd name="connsiteX8556" fmla="*/ 6080280 w 6785952"/>
              <a:gd name="connsiteY8556" fmla="*/ 3991870 h 5217112"/>
              <a:gd name="connsiteX8557" fmla="*/ 6079379 w 6785952"/>
              <a:gd name="connsiteY8557" fmla="*/ 3994747 h 5217112"/>
              <a:gd name="connsiteX8558" fmla="*/ 6074268 w 6785952"/>
              <a:gd name="connsiteY8558" fmla="*/ 3997625 h 5217112"/>
              <a:gd name="connsiteX8559" fmla="*/ 6073065 w 6785952"/>
              <a:gd name="connsiteY8559" fmla="*/ 3997957 h 5217112"/>
              <a:gd name="connsiteX8560" fmla="*/ 6078777 w 6785952"/>
              <a:gd name="connsiteY8560" fmla="*/ 4013783 h 5217112"/>
              <a:gd name="connsiteX8561" fmla="*/ 6079679 w 6785952"/>
              <a:gd name="connsiteY8561" fmla="*/ 4021308 h 5217112"/>
              <a:gd name="connsiteX8562" fmla="*/ 6088396 w 6785952"/>
              <a:gd name="connsiteY8562" fmla="*/ 4020423 h 5217112"/>
              <a:gd name="connsiteX8563" fmla="*/ 6090502 w 6785952"/>
              <a:gd name="connsiteY8563" fmla="*/ 4019427 h 5217112"/>
              <a:gd name="connsiteX8564" fmla="*/ 6091403 w 6785952"/>
              <a:gd name="connsiteY8564" fmla="*/ 4019427 h 5217112"/>
              <a:gd name="connsiteX8565" fmla="*/ 6092605 w 6785952"/>
              <a:gd name="connsiteY8565" fmla="*/ 4019427 h 5217112"/>
              <a:gd name="connsiteX8566" fmla="*/ 6094408 w 6785952"/>
              <a:gd name="connsiteY8566" fmla="*/ 4018431 h 5217112"/>
              <a:gd name="connsiteX8567" fmla="*/ 6092605 w 6785952"/>
              <a:gd name="connsiteY8567" fmla="*/ 4011569 h 5217112"/>
              <a:gd name="connsiteX8568" fmla="*/ 6097716 w 6785952"/>
              <a:gd name="connsiteY8568" fmla="*/ 4015443 h 5217112"/>
              <a:gd name="connsiteX8569" fmla="*/ 6098317 w 6785952"/>
              <a:gd name="connsiteY8569" fmla="*/ 4014225 h 5217112"/>
              <a:gd name="connsiteX8570" fmla="*/ 6095010 w 6785952"/>
              <a:gd name="connsiteY8570" fmla="*/ 4008360 h 5217112"/>
              <a:gd name="connsiteX8571" fmla="*/ 6090802 w 6785952"/>
              <a:gd name="connsiteY8571" fmla="*/ 3999285 h 5217112"/>
              <a:gd name="connsiteX8572" fmla="*/ 6091403 w 6785952"/>
              <a:gd name="connsiteY8572" fmla="*/ 3990763 h 5217112"/>
              <a:gd name="connsiteX8573" fmla="*/ 665605 w 6785952"/>
              <a:gd name="connsiteY8573" fmla="*/ 3978589 h 5217112"/>
              <a:gd name="connsiteX8574" fmla="*/ 670115 w 6785952"/>
              <a:gd name="connsiteY8574" fmla="*/ 3979364 h 5217112"/>
              <a:gd name="connsiteX8575" fmla="*/ 665004 w 6785952"/>
              <a:gd name="connsiteY8575" fmla="*/ 3982573 h 5217112"/>
              <a:gd name="connsiteX8576" fmla="*/ 660795 w 6785952"/>
              <a:gd name="connsiteY8576" fmla="*/ 3979364 h 5217112"/>
              <a:gd name="connsiteX8577" fmla="*/ 665605 w 6785952"/>
              <a:gd name="connsiteY8577" fmla="*/ 3978589 h 5217112"/>
              <a:gd name="connsiteX8578" fmla="*/ 672219 w 6785952"/>
              <a:gd name="connsiteY8578" fmla="*/ 3976708 h 5217112"/>
              <a:gd name="connsiteX8579" fmla="*/ 674022 w 6785952"/>
              <a:gd name="connsiteY8579" fmla="*/ 3977261 h 5217112"/>
              <a:gd name="connsiteX8580" fmla="*/ 671317 w 6785952"/>
              <a:gd name="connsiteY8580" fmla="*/ 3978921 h 5217112"/>
              <a:gd name="connsiteX8581" fmla="*/ 670415 w 6785952"/>
              <a:gd name="connsiteY8581" fmla="*/ 3977704 h 5217112"/>
              <a:gd name="connsiteX8582" fmla="*/ 672219 w 6785952"/>
              <a:gd name="connsiteY8582" fmla="*/ 3976708 h 5217112"/>
              <a:gd name="connsiteX8583" fmla="*/ 680636 w 6785952"/>
              <a:gd name="connsiteY8583" fmla="*/ 3973166 h 5217112"/>
              <a:gd name="connsiteX8584" fmla="*/ 680034 w 6785952"/>
              <a:gd name="connsiteY8584" fmla="*/ 3975380 h 5217112"/>
              <a:gd name="connsiteX8585" fmla="*/ 676728 w 6785952"/>
              <a:gd name="connsiteY8585" fmla="*/ 3973830 h 5217112"/>
              <a:gd name="connsiteX8586" fmla="*/ 680636 w 6785952"/>
              <a:gd name="connsiteY8586" fmla="*/ 3973166 h 5217112"/>
              <a:gd name="connsiteX8587" fmla="*/ 5067207 w 6785952"/>
              <a:gd name="connsiteY8587" fmla="*/ 3972281 h 5217112"/>
              <a:gd name="connsiteX8588" fmla="*/ 5062097 w 6785952"/>
              <a:gd name="connsiteY8588" fmla="*/ 3981024 h 5217112"/>
              <a:gd name="connsiteX8589" fmla="*/ 5035643 w 6785952"/>
              <a:gd name="connsiteY8589" fmla="*/ 3988107 h 5217112"/>
              <a:gd name="connsiteX8590" fmla="*/ 5035343 w 6785952"/>
              <a:gd name="connsiteY8590" fmla="*/ 3987886 h 5217112"/>
              <a:gd name="connsiteX8591" fmla="*/ 5035944 w 6785952"/>
              <a:gd name="connsiteY8591" fmla="*/ 3995743 h 5217112"/>
              <a:gd name="connsiteX8592" fmla="*/ 5022115 w 6785952"/>
              <a:gd name="connsiteY8592" fmla="*/ 4018210 h 5217112"/>
              <a:gd name="connsiteX8593" fmla="*/ 5044661 w 6785952"/>
              <a:gd name="connsiteY8593" fmla="*/ 4039237 h 5217112"/>
              <a:gd name="connsiteX8594" fmla="*/ 5049472 w 6785952"/>
              <a:gd name="connsiteY8594" fmla="*/ 4053071 h 5217112"/>
              <a:gd name="connsiteX8595" fmla="*/ 5068110 w 6785952"/>
              <a:gd name="connsiteY8595" fmla="*/ 4064359 h 5217112"/>
              <a:gd name="connsiteX8596" fmla="*/ 5080736 w 6785952"/>
              <a:gd name="connsiteY8596" fmla="*/ 4062367 h 5217112"/>
              <a:gd name="connsiteX8597" fmla="*/ 5079233 w 6785952"/>
              <a:gd name="connsiteY8597" fmla="*/ 4054731 h 5217112"/>
              <a:gd name="connsiteX8598" fmla="*/ 5079834 w 6785952"/>
              <a:gd name="connsiteY8598" fmla="*/ 4043000 h 5217112"/>
              <a:gd name="connsiteX8599" fmla="*/ 5093662 w 6785952"/>
              <a:gd name="connsiteY8599" fmla="*/ 4038684 h 5217112"/>
              <a:gd name="connsiteX8600" fmla="*/ 5105987 w 6785952"/>
              <a:gd name="connsiteY8600" fmla="*/ 4044107 h 5217112"/>
              <a:gd name="connsiteX8601" fmla="*/ 5105987 w 6785952"/>
              <a:gd name="connsiteY8601" fmla="*/ 4044881 h 5217112"/>
              <a:gd name="connsiteX8602" fmla="*/ 5107791 w 6785952"/>
              <a:gd name="connsiteY8602" fmla="*/ 4043000 h 5217112"/>
              <a:gd name="connsiteX8603" fmla="*/ 5112601 w 6785952"/>
              <a:gd name="connsiteY8603" fmla="*/ 4041119 h 5217112"/>
              <a:gd name="connsiteX8604" fmla="*/ 5102982 w 6785952"/>
              <a:gd name="connsiteY8604" fmla="*/ 4038130 h 5217112"/>
              <a:gd name="connsiteX8605" fmla="*/ 5123122 w 6785952"/>
              <a:gd name="connsiteY8605" fmla="*/ 4033150 h 5217112"/>
              <a:gd name="connsiteX8606" fmla="*/ 5118914 w 6785952"/>
              <a:gd name="connsiteY8606" fmla="*/ 4031269 h 5217112"/>
              <a:gd name="connsiteX8607" fmla="*/ 5120117 w 6785952"/>
              <a:gd name="connsiteY8607" fmla="*/ 4023632 h 5217112"/>
              <a:gd name="connsiteX8608" fmla="*/ 5111698 w 6785952"/>
              <a:gd name="connsiteY8608" fmla="*/ 4014225 h 5217112"/>
              <a:gd name="connsiteX8609" fmla="*/ 5105386 w 6785952"/>
              <a:gd name="connsiteY8609" fmla="*/ 4011237 h 5217112"/>
              <a:gd name="connsiteX8610" fmla="*/ 5097871 w 6785952"/>
              <a:gd name="connsiteY8610" fmla="*/ 4008581 h 5217112"/>
              <a:gd name="connsiteX8611" fmla="*/ 5084944 w 6785952"/>
              <a:gd name="connsiteY8611" fmla="*/ 4003601 h 5217112"/>
              <a:gd name="connsiteX8612" fmla="*/ 5096969 w 6785952"/>
              <a:gd name="connsiteY8612" fmla="*/ 4003601 h 5217112"/>
              <a:gd name="connsiteX8613" fmla="*/ 5100876 w 6785952"/>
              <a:gd name="connsiteY8613" fmla="*/ 4004818 h 5217112"/>
              <a:gd name="connsiteX8614" fmla="*/ 5094864 w 6785952"/>
              <a:gd name="connsiteY8614" fmla="*/ 3999727 h 5217112"/>
              <a:gd name="connsiteX8615" fmla="*/ 5092761 w 6785952"/>
              <a:gd name="connsiteY8615" fmla="*/ 4001609 h 5217112"/>
              <a:gd name="connsiteX8616" fmla="*/ 5075626 w 6785952"/>
              <a:gd name="connsiteY8616" fmla="*/ 3990763 h 5217112"/>
              <a:gd name="connsiteX8617" fmla="*/ 5089753 w 6785952"/>
              <a:gd name="connsiteY8617" fmla="*/ 3991870 h 5217112"/>
              <a:gd name="connsiteX8618" fmla="*/ 5067508 w 6785952"/>
              <a:gd name="connsiteY8618" fmla="*/ 3972502 h 5217112"/>
              <a:gd name="connsiteX8619" fmla="*/ 575421 w 6785952"/>
              <a:gd name="connsiteY8619" fmla="*/ 3970067 h 5217112"/>
              <a:gd name="connsiteX8620" fmla="*/ 584139 w 6785952"/>
              <a:gd name="connsiteY8620" fmla="*/ 3978479 h 5217112"/>
              <a:gd name="connsiteX8621" fmla="*/ 585040 w 6785952"/>
              <a:gd name="connsiteY8621" fmla="*/ 3987443 h 5217112"/>
              <a:gd name="connsiteX8622" fmla="*/ 576022 w 6785952"/>
              <a:gd name="connsiteY8622" fmla="*/ 3997957 h 5217112"/>
              <a:gd name="connsiteX8623" fmla="*/ 569408 w 6785952"/>
              <a:gd name="connsiteY8623" fmla="*/ 3992755 h 5217112"/>
              <a:gd name="connsiteX8624" fmla="*/ 571513 w 6785952"/>
              <a:gd name="connsiteY8624" fmla="*/ 3970289 h 5217112"/>
              <a:gd name="connsiteX8625" fmla="*/ 575421 w 6785952"/>
              <a:gd name="connsiteY8625" fmla="*/ 3970067 h 5217112"/>
              <a:gd name="connsiteX8626" fmla="*/ 952693 w 6785952"/>
              <a:gd name="connsiteY8626" fmla="*/ 3967522 h 5217112"/>
              <a:gd name="connsiteX8627" fmla="*/ 962312 w 6785952"/>
              <a:gd name="connsiteY8627" fmla="*/ 3975490 h 5217112"/>
              <a:gd name="connsiteX8628" fmla="*/ 962913 w 6785952"/>
              <a:gd name="connsiteY8628" fmla="*/ 3977814 h 5217112"/>
              <a:gd name="connsiteX8629" fmla="*/ 949085 w 6785952"/>
              <a:gd name="connsiteY8629" fmla="*/ 3972724 h 5217112"/>
              <a:gd name="connsiteX8630" fmla="*/ 948183 w 6785952"/>
              <a:gd name="connsiteY8630" fmla="*/ 3969293 h 5217112"/>
              <a:gd name="connsiteX8631" fmla="*/ 952693 w 6785952"/>
              <a:gd name="connsiteY8631" fmla="*/ 3967522 h 5217112"/>
              <a:gd name="connsiteX8632" fmla="*/ 407678 w 6785952"/>
              <a:gd name="connsiteY8632" fmla="*/ 3967411 h 5217112"/>
              <a:gd name="connsiteX8633" fmla="*/ 411586 w 6785952"/>
              <a:gd name="connsiteY8633" fmla="*/ 3969735 h 5217112"/>
              <a:gd name="connsiteX8634" fmla="*/ 402867 w 6785952"/>
              <a:gd name="connsiteY8634" fmla="*/ 3990099 h 5217112"/>
              <a:gd name="connsiteX8635" fmla="*/ 395653 w 6785952"/>
              <a:gd name="connsiteY8635" fmla="*/ 3989656 h 5217112"/>
              <a:gd name="connsiteX8636" fmla="*/ 407678 w 6785952"/>
              <a:gd name="connsiteY8636" fmla="*/ 3967411 h 5217112"/>
              <a:gd name="connsiteX8637" fmla="*/ 704084 w 6785952"/>
              <a:gd name="connsiteY8637" fmla="*/ 3964866 h 5217112"/>
              <a:gd name="connsiteX8638" fmla="*/ 680636 w 6785952"/>
              <a:gd name="connsiteY8638" fmla="*/ 3973498 h 5217112"/>
              <a:gd name="connsiteX8639" fmla="*/ 704084 w 6785952"/>
              <a:gd name="connsiteY8639" fmla="*/ 3964866 h 5217112"/>
              <a:gd name="connsiteX8640" fmla="*/ 6297925 w 6785952"/>
              <a:gd name="connsiteY8640" fmla="*/ 3955902 h 5217112"/>
              <a:gd name="connsiteX8641" fmla="*/ 6302735 w 6785952"/>
              <a:gd name="connsiteY8641" fmla="*/ 3958226 h 5217112"/>
              <a:gd name="connsiteX8642" fmla="*/ 6302134 w 6785952"/>
              <a:gd name="connsiteY8642" fmla="*/ 3963649 h 5217112"/>
              <a:gd name="connsiteX8643" fmla="*/ 6297324 w 6785952"/>
              <a:gd name="connsiteY8643" fmla="*/ 3968186 h 5217112"/>
              <a:gd name="connsiteX8644" fmla="*/ 6288605 w 6785952"/>
              <a:gd name="connsiteY8644" fmla="*/ 3959332 h 5217112"/>
              <a:gd name="connsiteX8645" fmla="*/ 6297925 w 6785952"/>
              <a:gd name="connsiteY8645" fmla="*/ 3955902 h 5217112"/>
              <a:gd name="connsiteX8646" fmla="*/ 726029 w 6785952"/>
              <a:gd name="connsiteY8646" fmla="*/ 3955238 h 5217112"/>
              <a:gd name="connsiteX8647" fmla="*/ 716108 w 6785952"/>
              <a:gd name="connsiteY8647" fmla="*/ 3961324 h 5217112"/>
              <a:gd name="connsiteX8648" fmla="*/ 714005 w 6785952"/>
              <a:gd name="connsiteY8648" fmla="*/ 3960771 h 5217112"/>
              <a:gd name="connsiteX8649" fmla="*/ 726029 w 6785952"/>
              <a:gd name="connsiteY8649" fmla="*/ 3955238 h 5217112"/>
              <a:gd name="connsiteX8650" fmla="*/ 373708 w 6785952"/>
              <a:gd name="connsiteY8650" fmla="*/ 3954906 h 5217112"/>
              <a:gd name="connsiteX8651" fmla="*/ 390242 w 6785952"/>
              <a:gd name="connsiteY8651" fmla="*/ 3967965 h 5217112"/>
              <a:gd name="connsiteX8652" fmla="*/ 371003 w 6785952"/>
              <a:gd name="connsiteY8652" fmla="*/ 3965530 h 5217112"/>
              <a:gd name="connsiteX8653" fmla="*/ 373708 w 6785952"/>
              <a:gd name="connsiteY8653" fmla="*/ 3954906 h 5217112"/>
              <a:gd name="connsiteX8654" fmla="*/ 739557 w 6785952"/>
              <a:gd name="connsiteY8654" fmla="*/ 3952471 h 5217112"/>
              <a:gd name="connsiteX8655" fmla="*/ 761502 w 6785952"/>
              <a:gd name="connsiteY8655" fmla="*/ 3973388 h 5217112"/>
              <a:gd name="connsiteX8656" fmla="*/ 750679 w 6785952"/>
              <a:gd name="connsiteY8656" fmla="*/ 3984012 h 5217112"/>
              <a:gd name="connsiteX8657" fmla="*/ 729336 w 6785952"/>
              <a:gd name="connsiteY8657" fmla="*/ 3952803 h 5217112"/>
              <a:gd name="connsiteX8658" fmla="*/ 739557 w 6785952"/>
              <a:gd name="connsiteY8658" fmla="*/ 3952471 h 5217112"/>
              <a:gd name="connsiteX8659" fmla="*/ 6419674 w 6785952"/>
              <a:gd name="connsiteY8659" fmla="*/ 3950257 h 5217112"/>
              <a:gd name="connsiteX8660" fmla="*/ 6449434 w 6785952"/>
              <a:gd name="connsiteY8660" fmla="*/ 3977150 h 5217112"/>
              <a:gd name="connsiteX8661" fmla="*/ 6435908 w 6785952"/>
              <a:gd name="connsiteY8661" fmla="*/ 4000723 h 5217112"/>
              <a:gd name="connsiteX8662" fmla="*/ 6420275 w 6785952"/>
              <a:gd name="connsiteY8662" fmla="*/ 4005150 h 5217112"/>
              <a:gd name="connsiteX8663" fmla="*/ 6390816 w 6785952"/>
              <a:gd name="connsiteY8663" fmla="*/ 3974937 h 5217112"/>
              <a:gd name="connsiteX8664" fmla="*/ 6391717 w 6785952"/>
              <a:gd name="connsiteY8664" fmla="*/ 3968407 h 5217112"/>
              <a:gd name="connsiteX8665" fmla="*/ 6389613 w 6785952"/>
              <a:gd name="connsiteY8665" fmla="*/ 3958226 h 5217112"/>
              <a:gd name="connsiteX8666" fmla="*/ 6419674 w 6785952"/>
              <a:gd name="connsiteY8666" fmla="*/ 3950257 h 5217112"/>
              <a:gd name="connsiteX8667" fmla="*/ 573617 w 6785952"/>
              <a:gd name="connsiteY8667" fmla="*/ 3948044 h 5217112"/>
              <a:gd name="connsiteX8668" fmla="*/ 578728 w 6785952"/>
              <a:gd name="connsiteY8668" fmla="*/ 3948929 h 5217112"/>
              <a:gd name="connsiteX8669" fmla="*/ 573918 w 6785952"/>
              <a:gd name="connsiteY8669" fmla="*/ 3954906 h 5217112"/>
              <a:gd name="connsiteX8670" fmla="*/ 573617 w 6785952"/>
              <a:gd name="connsiteY8670" fmla="*/ 3948044 h 5217112"/>
              <a:gd name="connsiteX8671" fmla="*/ 6348428 w 6785952"/>
              <a:gd name="connsiteY8671" fmla="*/ 3945498 h 5217112"/>
              <a:gd name="connsiteX8672" fmla="*/ 6358950 w 6785952"/>
              <a:gd name="connsiteY8672" fmla="*/ 3952471 h 5217112"/>
              <a:gd name="connsiteX8673" fmla="*/ 6343618 w 6785952"/>
              <a:gd name="connsiteY8673" fmla="*/ 3948044 h 5217112"/>
              <a:gd name="connsiteX8674" fmla="*/ 6348428 w 6785952"/>
              <a:gd name="connsiteY8674" fmla="*/ 3945498 h 5217112"/>
              <a:gd name="connsiteX8675" fmla="*/ 923833 w 6785952"/>
              <a:gd name="connsiteY8675" fmla="*/ 3938415 h 5217112"/>
              <a:gd name="connsiteX8676" fmla="*/ 929545 w 6785952"/>
              <a:gd name="connsiteY8676" fmla="*/ 3942068 h 5217112"/>
              <a:gd name="connsiteX8677" fmla="*/ 929545 w 6785952"/>
              <a:gd name="connsiteY8677" fmla="*/ 3944392 h 5217112"/>
              <a:gd name="connsiteX8678" fmla="*/ 922932 w 6785952"/>
              <a:gd name="connsiteY8678" fmla="*/ 3940408 h 5217112"/>
              <a:gd name="connsiteX8679" fmla="*/ 923833 w 6785952"/>
              <a:gd name="connsiteY8679" fmla="*/ 3938415 h 5217112"/>
              <a:gd name="connsiteX8680" fmla="*/ 526721 w 6785952"/>
              <a:gd name="connsiteY8680" fmla="*/ 3937198 h 5217112"/>
              <a:gd name="connsiteX8681" fmla="*/ 553176 w 6785952"/>
              <a:gd name="connsiteY8681" fmla="*/ 3942400 h 5217112"/>
              <a:gd name="connsiteX8682" fmla="*/ 542353 w 6785952"/>
              <a:gd name="connsiteY8682" fmla="*/ 3959554 h 5217112"/>
              <a:gd name="connsiteX8683" fmla="*/ 505377 w 6785952"/>
              <a:gd name="connsiteY8683" fmla="*/ 3941514 h 5217112"/>
              <a:gd name="connsiteX8684" fmla="*/ 526721 w 6785952"/>
              <a:gd name="connsiteY8684" fmla="*/ 3937198 h 5217112"/>
              <a:gd name="connsiteX8685" fmla="*/ 4961091 w 6785952"/>
              <a:gd name="connsiteY8685" fmla="*/ 3924250 h 5217112"/>
              <a:gd name="connsiteX8686" fmla="*/ 4964098 w 6785952"/>
              <a:gd name="connsiteY8686" fmla="*/ 3924803 h 5217112"/>
              <a:gd name="connsiteX8687" fmla="*/ 4965901 w 6785952"/>
              <a:gd name="connsiteY8687" fmla="*/ 3928012 h 5217112"/>
              <a:gd name="connsiteX8688" fmla="*/ 4966201 w 6785952"/>
              <a:gd name="connsiteY8688" fmla="*/ 3934099 h 5217112"/>
              <a:gd name="connsiteX8689" fmla="*/ 4962895 w 6785952"/>
              <a:gd name="connsiteY8689" fmla="*/ 3936977 h 5217112"/>
              <a:gd name="connsiteX8690" fmla="*/ 4959889 w 6785952"/>
              <a:gd name="connsiteY8690" fmla="*/ 3935317 h 5217112"/>
              <a:gd name="connsiteX8691" fmla="*/ 4956581 w 6785952"/>
              <a:gd name="connsiteY8691" fmla="*/ 3935206 h 5217112"/>
              <a:gd name="connsiteX8692" fmla="*/ 4956581 w 6785952"/>
              <a:gd name="connsiteY8692" fmla="*/ 3933767 h 5217112"/>
              <a:gd name="connsiteX8693" fmla="*/ 4955079 w 6785952"/>
              <a:gd name="connsiteY8693" fmla="*/ 3932107 h 5217112"/>
              <a:gd name="connsiteX8694" fmla="*/ 4957784 w 6785952"/>
              <a:gd name="connsiteY8694" fmla="*/ 3926131 h 5217112"/>
              <a:gd name="connsiteX8695" fmla="*/ 4961091 w 6785952"/>
              <a:gd name="connsiteY8695" fmla="*/ 3924250 h 5217112"/>
              <a:gd name="connsiteX8696" fmla="*/ 918122 w 6785952"/>
              <a:gd name="connsiteY8696" fmla="*/ 3921815 h 5217112"/>
              <a:gd name="connsiteX8697" fmla="*/ 917521 w 6785952"/>
              <a:gd name="connsiteY8697" fmla="*/ 3922479 h 5217112"/>
              <a:gd name="connsiteX8698" fmla="*/ 914815 w 6785952"/>
              <a:gd name="connsiteY8698" fmla="*/ 3926795 h 5217112"/>
              <a:gd name="connsiteX8699" fmla="*/ 922331 w 6785952"/>
              <a:gd name="connsiteY8699" fmla="*/ 3929894 h 5217112"/>
              <a:gd name="connsiteX8700" fmla="*/ 922932 w 6785952"/>
              <a:gd name="connsiteY8700" fmla="*/ 3930004 h 5217112"/>
              <a:gd name="connsiteX8701" fmla="*/ 919625 w 6785952"/>
              <a:gd name="connsiteY8701" fmla="*/ 3924028 h 5217112"/>
              <a:gd name="connsiteX8702" fmla="*/ 814410 w 6785952"/>
              <a:gd name="connsiteY8702" fmla="*/ 3910748 h 5217112"/>
              <a:gd name="connsiteX8703" fmla="*/ 814410 w 6785952"/>
              <a:gd name="connsiteY8703" fmla="*/ 3924692 h 5217112"/>
              <a:gd name="connsiteX8704" fmla="*/ 814410 w 6785952"/>
              <a:gd name="connsiteY8704" fmla="*/ 3910748 h 5217112"/>
              <a:gd name="connsiteX8705" fmla="*/ 556783 w 6785952"/>
              <a:gd name="connsiteY8705" fmla="*/ 3908202 h 5217112"/>
              <a:gd name="connsiteX8706" fmla="*/ 580230 w 6785952"/>
              <a:gd name="connsiteY8706" fmla="*/ 3912961 h 5217112"/>
              <a:gd name="connsiteX8707" fmla="*/ 560390 w 6785952"/>
              <a:gd name="connsiteY8707" fmla="*/ 3919823 h 5217112"/>
              <a:gd name="connsiteX8708" fmla="*/ 536341 w 6785952"/>
              <a:gd name="connsiteY8708" fmla="*/ 3919159 h 5217112"/>
              <a:gd name="connsiteX8709" fmla="*/ 556783 w 6785952"/>
              <a:gd name="connsiteY8709" fmla="*/ 3908202 h 5217112"/>
              <a:gd name="connsiteX8710" fmla="*/ 527322 w 6785952"/>
              <a:gd name="connsiteY8710" fmla="*/ 3902558 h 5217112"/>
              <a:gd name="connsiteX8711" fmla="*/ 537543 w 6785952"/>
              <a:gd name="connsiteY8711" fmla="*/ 3912740 h 5217112"/>
              <a:gd name="connsiteX8712" fmla="*/ 521911 w 6785952"/>
              <a:gd name="connsiteY8712" fmla="*/ 3906321 h 5217112"/>
              <a:gd name="connsiteX8713" fmla="*/ 527322 w 6785952"/>
              <a:gd name="connsiteY8713" fmla="*/ 3902558 h 5217112"/>
              <a:gd name="connsiteX8714" fmla="*/ 863711 w 6785952"/>
              <a:gd name="connsiteY8714" fmla="*/ 3900345 h 5217112"/>
              <a:gd name="connsiteX8715" fmla="*/ 888962 w 6785952"/>
              <a:gd name="connsiteY8715" fmla="*/ 3918495 h 5217112"/>
              <a:gd name="connsiteX8716" fmla="*/ 891066 w 6785952"/>
              <a:gd name="connsiteY8716" fmla="*/ 3921372 h 5217112"/>
              <a:gd name="connsiteX8717" fmla="*/ 889263 w 6785952"/>
              <a:gd name="connsiteY8717" fmla="*/ 3925246 h 5217112"/>
              <a:gd name="connsiteX8718" fmla="*/ 867618 w 6785952"/>
              <a:gd name="connsiteY8718" fmla="*/ 3914068 h 5217112"/>
              <a:gd name="connsiteX8719" fmla="*/ 865514 w 6785952"/>
              <a:gd name="connsiteY8719" fmla="*/ 3911301 h 5217112"/>
              <a:gd name="connsiteX8720" fmla="*/ 863711 w 6785952"/>
              <a:gd name="connsiteY8720" fmla="*/ 3900345 h 5217112"/>
              <a:gd name="connsiteX8721" fmla="*/ 6232691 w 6785952"/>
              <a:gd name="connsiteY8721" fmla="*/ 3895475 h 5217112"/>
              <a:gd name="connsiteX8722" fmla="*/ 6219765 w 6785952"/>
              <a:gd name="connsiteY8722" fmla="*/ 3903001 h 5217112"/>
              <a:gd name="connsiteX8723" fmla="*/ 6193611 w 6785952"/>
              <a:gd name="connsiteY8723" fmla="*/ 3924692 h 5217112"/>
              <a:gd name="connsiteX8724" fmla="*/ 6202631 w 6785952"/>
              <a:gd name="connsiteY8724" fmla="*/ 3921815 h 5217112"/>
              <a:gd name="connsiteX8725" fmla="*/ 6201429 w 6785952"/>
              <a:gd name="connsiteY8725" fmla="*/ 3931665 h 5217112"/>
              <a:gd name="connsiteX8726" fmla="*/ 6197520 w 6785952"/>
              <a:gd name="connsiteY8726" fmla="*/ 3934542 h 5217112"/>
              <a:gd name="connsiteX8727" fmla="*/ 6173470 w 6785952"/>
              <a:gd name="connsiteY8727" fmla="*/ 3945498 h 5217112"/>
              <a:gd name="connsiteX8728" fmla="*/ 6172268 w 6785952"/>
              <a:gd name="connsiteY8728" fmla="*/ 3939522 h 5217112"/>
              <a:gd name="connsiteX8729" fmla="*/ 6164152 w 6785952"/>
              <a:gd name="connsiteY8729" fmla="*/ 3944502 h 5217112"/>
              <a:gd name="connsiteX8730" fmla="*/ 6170164 w 6785952"/>
              <a:gd name="connsiteY8730" fmla="*/ 3944502 h 5217112"/>
              <a:gd name="connsiteX8731" fmla="*/ 6119961 w 6785952"/>
              <a:gd name="connsiteY8731" fmla="*/ 3973056 h 5217112"/>
              <a:gd name="connsiteX8732" fmla="*/ 6112747 w 6785952"/>
              <a:gd name="connsiteY8732" fmla="*/ 3977040 h 5217112"/>
              <a:gd name="connsiteX8733" fmla="*/ 6102526 w 6785952"/>
              <a:gd name="connsiteY8733" fmla="*/ 3981909 h 5217112"/>
              <a:gd name="connsiteX8734" fmla="*/ 6101624 w 6785952"/>
              <a:gd name="connsiteY8734" fmla="*/ 3981909 h 5217112"/>
              <a:gd name="connsiteX8735" fmla="*/ 6101624 w 6785952"/>
              <a:gd name="connsiteY8735" fmla="*/ 3982905 h 5217112"/>
              <a:gd name="connsiteX8736" fmla="*/ 6099519 w 6785952"/>
              <a:gd name="connsiteY8736" fmla="*/ 3983901 h 5217112"/>
              <a:gd name="connsiteX8737" fmla="*/ 6095913 w 6785952"/>
              <a:gd name="connsiteY8737" fmla="*/ 3985119 h 5217112"/>
              <a:gd name="connsiteX8738" fmla="*/ 6098918 w 6785952"/>
              <a:gd name="connsiteY8738" fmla="*/ 3988882 h 5217112"/>
              <a:gd name="connsiteX8739" fmla="*/ 6101624 w 6785952"/>
              <a:gd name="connsiteY8739" fmla="*/ 3999617 h 5217112"/>
              <a:gd name="connsiteX8740" fmla="*/ 6101925 w 6785952"/>
              <a:gd name="connsiteY8740" fmla="*/ 4009134 h 5217112"/>
              <a:gd name="connsiteX8741" fmla="*/ 6106734 w 6785952"/>
              <a:gd name="connsiteY8741" fmla="*/ 4004708 h 5217112"/>
              <a:gd name="connsiteX8742" fmla="*/ 6109740 w 6785952"/>
              <a:gd name="connsiteY8742" fmla="*/ 4002605 h 5217112"/>
              <a:gd name="connsiteX8743" fmla="*/ 6111845 w 6785952"/>
              <a:gd name="connsiteY8743" fmla="*/ 4001609 h 5217112"/>
              <a:gd name="connsiteX8744" fmla="*/ 6111845 w 6785952"/>
              <a:gd name="connsiteY8744" fmla="*/ 4000723 h 5217112"/>
              <a:gd name="connsiteX8745" fmla="*/ 6112747 w 6785952"/>
              <a:gd name="connsiteY8745" fmla="*/ 4000723 h 5217112"/>
              <a:gd name="connsiteX8746" fmla="*/ 6122967 w 6785952"/>
              <a:gd name="connsiteY8746" fmla="*/ 3995743 h 5217112"/>
              <a:gd name="connsiteX8747" fmla="*/ 6134993 w 6785952"/>
              <a:gd name="connsiteY8747" fmla="*/ 3988882 h 5217112"/>
              <a:gd name="connsiteX8748" fmla="*/ 6159342 w 6785952"/>
              <a:gd name="connsiteY8748" fmla="*/ 3975048 h 5217112"/>
              <a:gd name="connsiteX8749" fmla="*/ 6182489 w 6785952"/>
              <a:gd name="connsiteY8749" fmla="*/ 3958226 h 5217112"/>
              <a:gd name="connsiteX8750" fmla="*/ 6197520 w 6785952"/>
              <a:gd name="connsiteY8750" fmla="*/ 3947380 h 5217112"/>
              <a:gd name="connsiteX8751" fmla="*/ 6204734 w 6785952"/>
              <a:gd name="connsiteY8751" fmla="*/ 3941514 h 5217112"/>
              <a:gd name="connsiteX8752" fmla="*/ 6211649 w 6785952"/>
              <a:gd name="connsiteY8752" fmla="*/ 3935538 h 5217112"/>
              <a:gd name="connsiteX8753" fmla="*/ 6212250 w 6785952"/>
              <a:gd name="connsiteY8753" fmla="*/ 3935095 h 5217112"/>
              <a:gd name="connsiteX8754" fmla="*/ 6212250 w 6785952"/>
              <a:gd name="connsiteY8754" fmla="*/ 3933767 h 5217112"/>
              <a:gd name="connsiteX8755" fmla="*/ 6210446 w 6785952"/>
              <a:gd name="connsiteY8755" fmla="*/ 3932107 h 5217112"/>
              <a:gd name="connsiteX8756" fmla="*/ 6213453 w 6785952"/>
              <a:gd name="connsiteY8756" fmla="*/ 3926131 h 5217112"/>
              <a:gd name="connsiteX8757" fmla="*/ 6216458 w 6785952"/>
              <a:gd name="connsiteY8757" fmla="*/ 3924250 h 5217112"/>
              <a:gd name="connsiteX8758" fmla="*/ 6219465 w 6785952"/>
              <a:gd name="connsiteY8758" fmla="*/ 3924803 h 5217112"/>
              <a:gd name="connsiteX8759" fmla="*/ 6221268 w 6785952"/>
              <a:gd name="connsiteY8759" fmla="*/ 3927680 h 5217112"/>
              <a:gd name="connsiteX8760" fmla="*/ 6224576 w 6785952"/>
              <a:gd name="connsiteY8760" fmla="*/ 3924692 h 5217112"/>
              <a:gd name="connsiteX8761" fmla="*/ 6236900 w 6785952"/>
              <a:gd name="connsiteY8761" fmla="*/ 3916835 h 5217112"/>
              <a:gd name="connsiteX8762" fmla="*/ 6245618 w 6785952"/>
              <a:gd name="connsiteY8762" fmla="*/ 3908977 h 5217112"/>
              <a:gd name="connsiteX8763" fmla="*/ 6251331 w 6785952"/>
              <a:gd name="connsiteY8763" fmla="*/ 3902337 h 5217112"/>
              <a:gd name="connsiteX8764" fmla="*/ 6245920 w 6785952"/>
              <a:gd name="connsiteY8764" fmla="*/ 3900455 h 5217112"/>
              <a:gd name="connsiteX8765" fmla="*/ 669814 w 6785952"/>
              <a:gd name="connsiteY8765" fmla="*/ 3888724 h 5217112"/>
              <a:gd name="connsiteX8766" fmla="*/ 676127 w 6785952"/>
              <a:gd name="connsiteY8766" fmla="*/ 3889167 h 5217112"/>
              <a:gd name="connsiteX8767" fmla="*/ 675826 w 6785952"/>
              <a:gd name="connsiteY8767" fmla="*/ 3894258 h 5217112"/>
              <a:gd name="connsiteX8768" fmla="*/ 689354 w 6785952"/>
              <a:gd name="connsiteY8768" fmla="*/ 3898574 h 5217112"/>
              <a:gd name="connsiteX8769" fmla="*/ 692360 w 6785952"/>
              <a:gd name="connsiteY8769" fmla="*/ 3904550 h 5217112"/>
              <a:gd name="connsiteX8770" fmla="*/ 693262 w 6785952"/>
              <a:gd name="connsiteY8770" fmla="*/ 3904993 h 5217112"/>
              <a:gd name="connsiteX8771" fmla="*/ 693863 w 6785952"/>
              <a:gd name="connsiteY8771" fmla="*/ 3904771 h 5217112"/>
              <a:gd name="connsiteX8772" fmla="*/ 692961 w 6785952"/>
              <a:gd name="connsiteY8772" fmla="*/ 3903443 h 5217112"/>
              <a:gd name="connsiteX8773" fmla="*/ 694765 w 6785952"/>
              <a:gd name="connsiteY8773" fmla="*/ 3904993 h 5217112"/>
              <a:gd name="connsiteX8774" fmla="*/ 694765 w 6785952"/>
              <a:gd name="connsiteY8774" fmla="*/ 3905989 h 5217112"/>
              <a:gd name="connsiteX8775" fmla="*/ 694163 w 6785952"/>
              <a:gd name="connsiteY8775" fmla="*/ 3908424 h 5217112"/>
              <a:gd name="connsiteX8776" fmla="*/ 695366 w 6785952"/>
              <a:gd name="connsiteY8776" fmla="*/ 3910526 h 5217112"/>
              <a:gd name="connsiteX8777" fmla="*/ 691157 w 6785952"/>
              <a:gd name="connsiteY8777" fmla="*/ 3920155 h 5217112"/>
              <a:gd name="connsiteX8778" fmla="*/ 691157 w 6785952"/>
              <a:gd name="connsiteY8778" fmla="*/ 3920265 h 5217112"/>
              <a:gd name="connsiteX8779" fmla="*/ 690857 w 6785952"/>
              <a:gd name="connsiteY8779" fmla="*/ 3920819 h 5217112"/>
              <a:gd name="connsiteX8780" fmla="*/ 689955 w 6785952"/>
              <a:gd name="connsiteY8780" fmla="*/ 3920819 h 5217112"/>
              <a:gd name="connsiteX8781" fmla="*/ 676728 w 6785952"/>
              <a:gd name="connsiteY8781" fmla="*/ 3926684 h 5217112"/>
              <a:gd name="connsiteX8782" fmla="*/ 641255 w 6785952"/>
              <a:gd name="connsiteY8782" fmla="*/ 3916060 h 5217112"/>
              <a:gd name="connsiteX8783" fmla="*/ 641556 w 6785952"/>
              <a:gd name="connsiteY8783" fmla="*/ 3907649 h 5217112"/>
              <a:gd name="connsiteX8784" fmla="*/ 654482 w 6785952"/>
              <a:gd name="connsiteY8784" fmla="*/ 3896028 h 5217112"/>
              <a:gd name="connsiteX8785" fmla="*/ 658089 w 6785952"/>
              <a:gd name="connsiteY8785" fmla="*/ 3895475 h 5217112"/>
              <a:gd name="connsiteX8786" fmla="*/ 657789 w 6785952"/>
              <a:gd name="connsiteY8786" fmla="*/ 3893040 h 5217112"/>
              <a:gd name="connsiteX8787" fmla="*/ 663200 w 6785952"/>
              <a:gd name="connsiteY8787" fmla="*/ 3889167 h 5217112"/>
              <a:gd name="connsiteX8788" fmla="*/ 669814 w 6785952"/>
              <a:gd name="connsiteY8788" fmla="*/ 3888724 h 5217112"/>
              <a:gd name="connsiteX8789" fmla="*/ 353868 w 6785952"/>
              <a:gd name="connsiteY8789" fmla="*/ 3878542 h 5217112"/>
              <a:gd name="connsiteX8790" fmla="*/ 355972 w 6785952"/>
              <a:gd name="connsiteY8790" fmla="*/ 3878542 h 5217112"/>
              <a:gd name="connsiteX8791" fmla="*/ 360781 w 6785952"/>
              <a:gd name="connsiteY8791" fmla="*/ 3883744 h 5217112"/>
              <a:gd name="connsiteX8792" fmla="*/ 359880 w 6785952"/>
              <a:gd name="connsiteY8792" fmla="*/ 3888281 h 5217112"/>
              <a:gd name="connsiteX8793" fmla="*/ 355070 w 6785952"/>
              <a:gd name="connsiteY8793" fmla="*/ 3887396 h 5217112"/>
              <a:gd name="connsiteX8794" fmla="*/ 351463 w 6785952"/>
              <a:gd name="connsiteY8794" fmla="*/ 3883855 h 5217112"/>
              <a:gd name="connsiteX8795" fmla="*/ 352064 w 6785952"/>
              <a:gd name="connsiteY8795" fmla="*/ 3881420 h 5217112"/>
              <a:gd name="connsiteX8796" fmla="*/ 353868 w 6785952"/>
              <a:gd name="connsiteY8796" fmla="*/ 3878542 h 5217112"/>
              <a:gd name="connsiteX8797" fmla="*/ 655986 w 6785952"/>
              <a:gd name="connsiteY8797" fmla="*/ 3868914 h 5217112"/>
              <a:gd name="connsiteX8798" fmla="*/ 665906 w 6785952"/>
              <a:gd name="connsiteY8798" fmla="*/ 3870131 h 5217112"/>
              <a:gd name="connsiteX8799" fmla="*/ 655384 w 6785952"/>
              <a:gd name="connsiteY8799" fmla="*/ 3882526 h 5217112"/>
              <a:gd name="connsiteX8800" fmla="*/ 655986 w 6785952"/>
              <a:gd name="connsiteY8800" fmla="*/ 3868914 h 5217112"/>
              <a:gd name="connsiteX8801" fmla="*/ 4924115 w 6785952"/>
              <a:gd name="connsiteY8801" fmla="*/ 3855301 h 5217112"/>
              <a:gd name="connsiteX8802" fmla="*/ 4924115 w 6785952"/>
              <a:gd name="connsiteY8802" fmla="*/ 3867254 h 5217112"/>
              <a:gd name="connsiteX8803" fmla="*/ 4924716 w 6785952"/>
              <a:gd name="connsiteY8803" fmla="*/ 3868250 h 5217112"/>
              <a:gd name="connsiteX8804" fmla="*/ 4924115 w 6785952"/>
              <a:gd name="connsiteY8804" fmla="*/ 3867918 h 5217112"/>
              <a:gd name="connsiteX8805" fmla="*/ 4924115 w 6785952"/>
              <a:gd name="connsiteY8805" fmla="*/ 3869578 h 5217112"/>
              <a:gd name="connsiteX8806" fmla="*/ 4909987 w 6785952"/>
              <a:gd name="connsiteY8806" fmla="*/ 3886068 h 5217112"/>
              <a:gd name="connsiteX8807" fmla="*/ 4908785 w 6785952"/>
              <a:gd name="connsiteY8807" fmla="*/ 3886621 h 5217112"/>
              <a:gd name="connsiteX8808" fmla="*/ 4908785 w 6785952"/>
              <a:gd name="connsiteY8808" fmla="*/ 3886843 h 5217112"/>
              <a:gd name="connsiteX8809" fmla="*/ 4908183 w 6785952"/>
              <a:gd name="connsiteY8809" fmla="*/ 3886953 h 5217112"/>
              <a:gd name="connsiteX8810" fmla="*/ 4905477 w 6785952"/>
              <a:gd name="connsiteY8810" fmla="*/ 3888724 h 5217112"/>
              <a:gd name="connsiteX8811" fmla="*/ 4903073 w 6785952"/>
              <a:gd name="connsiteY8811" fmla="*/ 3894147 h 5217112"/>
              <a:gd name="connsiteX8812" fmla="*/ 4909386 w 6785952"/>
              <a:gd name="connsiteY8812" fmla="*/ 3912408 h 5217112"/>
              <a:gd name="connsiteX8813" fmla="*/ 4921710 w 6785952"/>
              <a:gd name="connsiteY8813" fmla="*/ 3917277 h 5217112"/>
              <a:gd name="connsiteX8814" fmla="*/ 4929527 w 6785952"/>
              <a:gd name="connsiteY8814" fmla="*/ 3924360 h 5217112"/>
              <a:gd name="connsiteX8815" fmla="*/ 4936140 w 6785952"/>
              <a:gd name="connsiteY8815" fmla="*/ 3918052 h 5217112"/>
              <a:gd name="connsiteX8816" fmla="*/ 4944256 w 6785952"/>
              <a:gd name="connsiteY8816" fmla="*/ 3917277 h 5217112"/>
              <a:gd name="connsiteX8817" fmla="*/ 4951170 w 6785952"/>
              <a:gd name="connsiteY8817" fmla="*/ 3932329 h 5217112"/>
              <a:gd name="connsiteX8818" fmla="*/ 4946361 w 6785952"/>
              <a:gd name="connsiteY8818" fmla="*/ 3932439 h 5217112"/>
              <a:gd name="connsiteX8819" fmla="*/ 4953576 w 6785952"/>
              <a:gd name="connsiteY8819" fmla="*/ 3941736 h 5217112"/>
              <a:gd name="connsiteX8820" fmla="*/ 4951772 w 6785952"/>
              <a:gd name="connsiteY8820" fmla="*/ 3948155 h 5217112"/>
              <a:gd name="connsiteX8821" fmla="*/ 4957484 w 6785952"/>
              <a:gd name="connsiteY8821" fmla="*/ 3955902 h 5217112"/>
              <a:gd name="connsiteX8822" fmla="*/ 4960189 w 6785952"/>
              <a:gd name="connsiteY8822" fmla="*/ 3953577 h 5217112"/>
              <a:gd name="connsiteX8823" fmla="*/ 4979729 w 6785952"/>
              <a:gd name="connsiteY8823" fmla="*/ 3940740 h 5217112"/>
              <a:gd name="connsiteX8824" fmla="*/ 4978827 w 6785952"/>
              <a:gd name="connsiteY8824" fmla="*/ 3939854 h 5217112"/>
              <a:gd name="connsiteX8825" fmla="*/ 4980030 w 6785952"/>
              <a:gd name="connsiteY8825" fmla="*/ 3940629 h 5217112"/>
              <a:gd name="connsiteX8826" fmla="*/ 4982735 w 6785952"/>
              <a:gd name="connsiteY8826" fmla="*/ 3938858 h 5217112"/>
              <a:gd name="connsiteX8827" fmla="*/ 4981834 w 6785952"/>
              <a:gd name="connsiteY8827" fmla="*/ 3941957 h 5217112"/>
              <a:gd name="connsiteX8828" fmla="*/ 4988447 w 6785952"/>
              <a:gd name="connsiteY8828" fmla="*/ 3947048 h 5217112"/>
              <a:gd name="connsiteX8829" fmla="*/ 4986042 w 6785952"/>
              <a:gd name="connsiteY8829" fmla="*/ 3947159 h 5217112"/>
              <a:gd name="connsiteX8830" fmla="*/ 4983637 w 6785952"/>
              <a:gd name="connsiteY8830" fmla="*/ 3945056 h 5217112"/>
              <a:gd name="connsiteX8831" fmla="*/ 4981533 w 6785952"/>
              <a:gd name="connsiteY8831" fmla="*/ 3942732 h 5217112"/>
              <a:gd name="connsiteX8832" fmla="*/ 4978827 w 6785952"/>
              <a:gd name="connsiteY8832" fmla="*/ 3951364 h 5217112"/>
              <a:gd name="connsiteX8833" fmla="*/ 4969509 w 6785952"/>
              <a:gd name="connsiteY8833" fmla="*/ 3961435 h 5217112"/>
              <a:gd name="connsiteX8834" fmla="*/ 4970410 w 6785952"/>
              <a:gd name="connsiteY8834" fmla="*/ 3961988 h 5217112"/>
              <a:gd name="connsiteX8835" fmla="*/ 4986343 w 6785952"/>
              <a:gd name="connsiteY8835" fmla="*/ 3960439 h 5217112"/>
              <a:gd name="connsiteX8836" fmla="*/ 5002275 w 6785952"/>
              <a:gd name="connsiteY8836" fmla="*/ 3948155 h 5217112"/>
              <a:gd name="connsiteX8837" fmla="*/ 5005882 w 6785952"/>
              <a:gd name="connsiteY8837" fmla="*/ 3937641 h 5217112"/>
              <a:gd name="connsiteX8838" fmla="*/ 5012797 w 6785952"/>
              <a:gd name="connsiteY8838" fmla="*/ 3931665 h 5217112"/>
              <a:gd name="connsiteX8839" fmla="*/ 5010392 w 6785952"/>
              <a:gd name="connsiteY8839" fmla="*/ 3929230 h 5217112"/>
              <a:gd name="connsiteX8840" fmla="*/ 4993858 w 6785952"/>
              <a:gd name="connsiteY8840" fmla="*/ 3915839 h 5217112"/>
              <a:gd name="connsiteX8841" fmla="*/ 4984840 w 6785952"/>
              <a:gd name="connsiteY8841" fmla="*/ 3908977 h 5217112"/>
              <a:gd name="connsiteX8842" fmla="*/ 4975822 w 6785952"/>
              <a:gd name="connsiteY8842" fmla="*/ 3903001 h 5217112"/>
              <a:gd name="connsiteX8843" fmla="*/ 4969809 w 6785952"/>
              <a:gd name="connsiteY8843" fmla="*/ 3900123 h 5217112"/>
              <a:gd name="connsiteX8844" fmla="*/ 4967103 w 6785952"/>
              <a:gd name="connsiteY8844" fmla="*/ 3900898 h 5217112"/>
              <a:gd name="connsiteX8845" fmla="*/ 4940950 w 6785952"/>
              <a:gd name="connsiteY8845" fmla="*/ 3892819 h 5217112"/>
              <a:gd name="connsiteX8846" fmla="*/ 4936742 w 6785952"/>
              <a:gd name="connsiteY8846" fmla="*/ 3885183 h 5217112"/>
              <a:gd name="connsiteX8847" fmla="*/ 4936441 w 6785952"/>
              <a:gd name="connsiteY8847" fmla="*/ 3886289 h 5217112"/>
              <a:gd name="connsiteX8848" fmla="*/ 4923513 w 6785952"/>
              <a:gd name="connsiteY8848" fmla="*/ 3890163 h 5217112"/>
              <a:gd name="connsiteX8849" fmla="*/ 4921109 w 6785952"/>
              <a:gd name="connsiteY8849" fmla="*/ 3879538 h 5217112"/>
              <a:gd name="connsiteX8850" fmla="*/ 4924716 w 6785952"/>
              <a:gd name="connsiteY8850" fmla="*/ 3875776 h 5217112"/>
              <a:gd name="connsiteX8851" fmla="*/ 4933735 w 6785952"/>
              <a:gd name="connsiteY8851" fmla="*/ 3872234 h 5217112"/>
              <a:gd name="connsiteX8852" fmla="*/ 4933134 w 6785952"/>
              <a:gd name="connsiteY8852" fmla="*/ 3870906 h 5217112"/>
              <a:gd name="connsiteX8853" fmla="*/ 4938845 w 6785952"/>
              <a:gd name="connsiteY8853" fmla="*/ 3877878 h 5217112"/>
              <a:gd name="connsiteX8854" fmla="*/ 4937042 w 6785952"/>
              <a:gd name="connsiteY8854" fmla="*/ 3883855 h 5217112"/>
              <a:gd name="connsiteX8855" fmla="*/ 4949968 w 6785952"/>
              <a:gd name="connsiteY8855" fmla="*/ 3880756 h 5217112"/>
              <a:gd name="connsiteX8856" fmla="*/ 4960490 w 6785952"/>
              <a:gd name="connsiteY8856" fmla="*/ 3883633 h 5217112"/>
              <a:gd name="connsiteX8857" fmla="*/ 4962293 w 6785952"/>
              <a:gd name="connsiteY8857" fmla="*/ 3885515 h 5217112"/>
              <a:gd name="connsiteX8858" fmla="*/ 4959889 w 6785952"/>
              <a:gd name="connsiteY8858" fmla="*/ 3880756 h 5217112"/>
              <a:gd name="connsiteX8859" fmla="*/ 4946361 w 6785952"/>
              <a:gd name="connsiteY8859" fmla="*/ 3869467 h 5217112"/>
              <a:gd name="connsiteX8860" fmla="*/ 4945458 w 6785952"/>
              <a:gd name="connsiteY8860" fmla="*/ 3877436 h 5217112"/>
              <a:gd name="connsiteX8861" fmla="*/ 4940950 w 6785952"/>
              <a:gd name="connsiteY8861" fmla="*/ 3868914 h 5217112"/>
              <a:gd name="connsiteX8862" fmla="*/ 4940348 w 6785952"/>
              <a:gd name="connsiteY8862" fmla="*/ 3870685 h 5217112"/>
              <a:gd name="connsiteX8863" fmla="*/ 4932533 w 6785952"/>
              <a:gd name="connsiteY8863" fmla="*/ 3868028 h 5217112"/>
              <a:gd name="connsiteX8864" fmla="*/ 4931331 w 6785952"/>
              <a:gd name="connsiteY8864" fmla="*/ 3863270 h 5217112"/>
              <a:gd name="connsiteX8865" fmla="*/ 4933134 w 6785952"/>
              <a:gd name="connsiteY8865" fmla="*/ 3861610 h 5217112"/>
              <a:gd name="connsiteX8866" fmla="*/ 4936140 w 6785952"/>
              <a:gd name="connsiteY8866" fmla="*/ 3862495 h 5217112"/>
              <a:gd name="connsiteX8867" fmla="*/ 4937944 w 6785952"/>
              <a:gd name="connsiteY8867" fmla="*/ 3863270 h 5217112"/>
              <a:gd name="connsiteX8868" fmla="*/ 4934938 w 6785952"/>
              <a:gd name="connsiteY8868" fmla="*/ 3857404 h 5217112"/>
              <a:gd name="connsiteX8869" fmla="*/ 4933134 w 6785952"/>
              <a:gd name="connsiteY8869" fmla="*/ 3855523 h 5217112"/>
              <a:gd name="connsiteX8870" fmla="*/ 4918102 w 6785952"/>
              <a:gd name="connsiteY8870" fmla="*/ 3855191 h 5217112"/>
              <a:gd name="connsiteX8871" fmla="*/ 4917501 w 6785952"/>
              <a:gd name="connsiteY8871" fmla="*/ 3855301 h 5217112"/>
              <a:gd name="connsiteX8872" fmla="*/ 4918102 w 6785952"/>
              <a:gd name="connsiteY8872" fmla="*/ 3855633 h 5217112"/>
              <a:gd name="connsiteX8873" fmla="*/ 4918102 w 6785952"/>
              <a:gd name="connsiteY8873" fmla="*/ 3855744 h 5217112"/>
              <a:gd name="connsiteX8874" fmla="*/ 4919005 w 6785952"/>
              <a:gd name="connsiteY8874" fmla="*/ 3855191 h 5217112"/>
              <a:gd name="connsiteX8875" fmla="*/ 806293 w 6785952"/>
              <a:gd name="connsiteY8875" fmla="*/ 3854969 h 5217112"/>
              <a:gd name="connsiteX8876" fmla="*/ 805692 w 6785952"/>
              <a:gd name="connsiteY8876" fmla="*/ 3856297 h 5217112"/>
              <a:gd name="connsiteX8877" fmla="*/ 808698 w 6785952"/>
              <a:gd name="connsiteY8877" fmla="*/ 3857736 h 5217112"/>
              <a:gd name="connsiteX8878" fmla="*/ 809299 w 6785952"/>
              <a:gd name="connsiteY8878" fmla="*/ 3856408 h 5217112"/>
              <a:gd name="connsiteX8879" fmla="*/ 811404 w 6785952"/>
              <a:gd name="connsiteY8879" fmla="*/ 3859396 h 5217112"/>
              <a:gd name="connsiteX8880" fmla="*/ 811103 w 6785952"/>
              <a:gd name="connsiteY8880" fmla="*/ 3870906 h 5217112"/>
              <a:gd name="connsiteX8881" fmla="*/ 803888 w 6785952"/>
              <a:gd name="connsiteY8881" fmla="*/ 3867254 h 5217112"/>
              <a:gd name="connsiteX8882" fmla="*/ 802385 w 6785952"/>
              <a:gd name="connsiteY8882" fmla="*/ 3860946 h 5217112"/>
              <a:gd name="connsiteX8883" fmla="*/ 806293 w 6785952"/>
              <a:gd name="connsiteY8883" fmla="*/ 3854969 h 5217112"/>
              <a:gd name="connsiteX8884" fmla="*/ 303063 w 6785952"/>
              <a:gd name="connsiteY8884" fmla="*/ 3838147 h 5217112"/>
              <a:gd name="connsiteX8885" fmla="*/ 308474 w 6785952"/>
              <a:gd name="connsiteY8885" fmla="*/ 3846890 h 5217112"/>
              <a:gd name="connsiteX8886" fmla="*/ 303665 w 6785952"/>
              <a:gd name="connsiteY8886" fmla="*/ 3848772 h 5217112"/>
              <a:gd name="connsiteX8887" fmla="*/ 304567 w 6785952"/>
              <a:gd name="connsiteY8887" fmla="*/ 3851096 h 5217112"/>
              <a:gd name="connsiteX8888" fmla="*/ 299156 w 6785952"/>
              <a:gd name="connsiteY8888" fmla="*/ 3850542 h 5217112"/>
              <a:gd name="connsiteX8889" fmla="*/ 298254 w 6785952"/>
              <a:gd name="connsiteY8889" fmla="*/ 3848108 h 5217112"/>
              <a:gd name="connsiteX8890" fmla="*/ 297653 w 6785952"/>
              <a:gd name="connsiteY8890" fmla="*/ 3847776 h 5217112"/>
              <a:gd name="connsiteX8891" fmla="*/ 299156 w 6785952"/>
              <a:gd name="connsiteY8891" fmla="*/ 3842353 h 5217112"/>
              <a:gd name="connsiteX8892" fmla="*/ 303063 w 6785952"/>
              <a:gd name="connsiteY8892" fmla="*/ 3838147 h 5217112"/>
              <a:gd name="connsiteX8893" fmla="*/ 335830 w 6785952"/>
              <a:gd name="connsiteY8893" fmla="*/ 3832835 h 5217112"/>
              <a:gd name="connsiteX8894" fmla="*/ 346052 w 6785952"/>
              <a:gd name="connsiteY8894" fmla="*/ 3839365 h 5217112"/>
              <a:gd name="connsiteX8895" fmla="*/ 333125 w 6785952"/>
              <a:gd name="connsiteY8895" fmla="*/ 3843459 h 5217112"/>
              <a:gd name="connsiteX8896" fmla="*/ 335830 w 6785952"/>
              <a:gd name="connsiteY8896" fmla="*/ 3832835 h 5217112"/>
              <a:gd name="connsiteX8897" fmla="*/ 420905 w 6785952"/>
              <a:gd name="connsiteY8897" fmla="*/ 3828076 h 5217112"/>
              <a:gd name="connsiteX8898" fmla="*/ 424812 w 6785952"/>
              <a:gd name="connsiteY8898" fmla="*/ 3828076 h 5217112"/>
              <a:gd name="connsiteX8899" fmla="*/ 428721 w 6785952"/>
              <a:gd name="connsiteY8899" fmla="*/ 3830622 h 5217112"/>
              <a:gd name="connsiteX8900" fmla="*/ 422709 w 6785952"/>
              <a:gd name="connsiteY8900" fmla="*/ 3842353 h 5217112"/>
              <a:gd name="connsiteX8901" fmla="*/ 417899 w 6785952"/>
              <a:gd name="connsiteY8901" fmla="*/ 3841357 h 5217112"/>
              <a:gd name="connsiteX8902" fmla="*/ 416696 w 6785952"/>
              <a:gd name="connsiteY8902" fmla="*/ 3830511 h 5217112"/>
              <a:gd name="connsiteX8903" fmla="*/ 420905 w 6785952"/>
              <a:gd name="connsiteY8903" fmla="*/ 3828076 h 5217112"/>
              <a:gd name="connsiteX8904" fmla="*/ 776232 w 6785952"/>
              <a:gd name="connsiteY8904" fmla="*/ 3817894 h 5217112"/>
              <a:gd name="connsiteX8905" fmla="*/ 784949 w 6785952"/>
              <a:gd name="connsiteY8905" fmla="*/ 3822321 h 5217112"/>
              <a:gd name="connsiteX8906" fmla="*/ 778937 w 6785952"/>
              <a:gd name="connsiteY8906" fmla="*/ 3834163 h 5217112"/>
              <a:gd name="connsiteX8907" fmla="*/ 769618 w 6785952"/>
              <a:gd name="connsiteY8907" fmla="*/ 3827633 h 5217112"/>
              <a:gd name="connsiteX8908" fmla="*/ 769016 w 6785952"/>
              <a:gd name="connsiteY8908" fmla="*/ 3822875 h 5217112"/>
              <a:gd name="connsiteX8909" fmla="*/ 772022 w 6785952"/>
              <a:gd name="connsiteY8909" fmla="*/ 3819001 h 5217112"/>
              <a:gd name="connsiteX8910" fmla="*/ 776232 w 6785952"/>
              <a:gd name="connsiteY8910" fmla="*/ 3817894 h 5217112"/>
              <a:gd name="connsiteX8911" fmla="*/ 4816495 w 6785952"/>
              <a:gd name="connsiteY8911" fmla="*/ 3817009 h 5217112"/>
              <a:gd name="connsiteX8912" fmla="*/ 4812286 w 6785952"/>
              <a:gd name="connsiteY8912" fmla="*/ 3824203 h 5217112"/>
              <a:gd name="connsiteX8913" fmla="*/ 4802667 w 6785952"/>
              <a:gd name="connsiteY8913" fmla="*/ 3836930 h 5217112"/>
              <a:gd name="connsiteX8914" fmla="*/ 4799360 w 6785952"/>
              <a:gd name="connsiteY8914" fmla="*/ 3847665 h 5217112"/>
              <a:gd name="connsiteX8915" fmla="*/ 4810783 w 6785952"/>
              <a:gd name="connsiteY8915" fmla="*/ 3839697 h 5217112"/>
              <a:gd name="connsiteX8916" fmla="*/ 4817697 w 6785952"/>
              <a:gd name="connsiteY8916" fmla="*/ 3870906 h 5217112"/>
              <a:gd name="connsiteX8917" fmla="*/ 4815894 w 6785952"/>
              <a:gd name="connsiteY8917" fmla="*/ 3872787 h 5217112"/>
              <a:gd name="connsiteX8918" fmla="*/ 4816495 w 6785952"/>
              <a:gd name="connsiteY8918" fmla="*/ 3874669 h 5217112"/>
              <a:gd name="connsiteX8919" fmla="*/ 4816495 w 6785952"/>
              <a:gd name="connsiteY8919" fmla="*/ 3888281 h 5217112"/>
              <a:gd name="connsiteX8920" fmla="*/ 4827017 w 6785952"/>
              <a:gd name="connsiteY8920" fmla="*/ 3897024 h 5217112"/>
              <a:gd name="connsiteX8921" fmla="*/ 4839041 w 6785952"/>
              <a:gd name="connsiteY8921" fmla="*/ 3900013 h 5217112"/>
              <a:gd name="connsiteX8922" fmla="*/ 4842649 w 6785952"/>
              <a:gd name="connsiteY8922" fmla="*/ 3899238 h 5217112"/>
              <a:gd name="connsiteX8923" fmla="*/ 4855274 w 6785952"/>
              <a:gd name="connsiteY8923" fmla="*/ 3900234 h 5217112"/>
              <a:gd name="connsiteX8924" fmla="*/ 4859784 w 6785952"/>
              <a:gd name="connsiteY8924" fmla="*/ 3901673 h 5217112"/>
              <a:gd name="connsiteX8925" fmla="*/ 4870306 w 6785952"/>
              <a:gd name="connsiteY8925" fmla="*/ 3899570 h 5217112"/>
              <a:gd name="connsiteX8926" fmla="*/ 4881729 w 6785952"/>
              <a:gd name="connsiteY8926" fmla="*/ 3888945 h 5217112"/>
              <a:gd name="connsiteX8927" fmla="*/ 4882630 w 6785952"/>
              <a:gd name="connsiteY8927" fmla="*/ 3886289 h 5217112"/>
              <a:gd name="connsiteX8928" fmla="*/ 4882330 w 6785952"/>
              <a:gd name="connsiteY8928" fmla="*/ 3886289 h 5217112"/>
              <a:gd name="connsiteX8929" fmla="*/ 4882330 w 6785952"/>
              <a:gd name="connsiteY8929" fmla="*/ 3885847 h 5217112"/>
              <a:gd name="connsiteX8930" fmla="*/ 4869403 w 6785952"/>
              <a:gd name="connsiteY8930" fmla="*/ 3891712 h 5217112"/>
              <a:gd name="connsiteX8931" fmla="*/ 4860986 w 6785952"/>
              <a:gd name="connsiteY8931" fmla="*/ 3886400 h 5217112"/>
              <a:gd name="connsiteX8932" fmla="*/ 4873311 w 6785952"/>
              <a:gd name="connsiteY8932" fmla="*/ 3877214 h 5217112"/>
              <a:gd name="connsiteX8933" fmla="*/ 4880225 w 6785952"/>
              <a:gd name="connsiteY8933" fmla="*/ 3874226 h 5217112"/>
              <a:gd name="connsiteX8934" fmla="*/ 4879925 w 6785952"/>
              <a:gd name="connsiteY8934" fmla="*/ 3873673 h 5217112"/>
              <a:gd name="connsiteX8935" fmla="*/ 4880828 w 6785952"/>
              <a:gd name="connsiteY8935" fmla="*/ 3866700 h 5217112"/>
              <a:gd name="connsiteX8936" fmla="*/ 4896158 w 6785952"/>
              <a:gd name="connsiteY8936" fmla="*/ 3849436 h 5217112"/>
              <a:gd name="connsiteX8937" fmla="*/ 4901569 w 6785952"/>
              <a:gd name="connsiteY8937" fmla="*/ 3849104 h 5217112"/>
              <a:gd name="connsiteX8938" fmla="*/ 4903073 w 6785952"/>
              <a:gd name="connsiteY8938" fmla="*/ 3844677 h 5217112"/>
              <a:gd name="connsiteX8939" fmla="*/ 4913594 w 6785952"/>
              <a:gd name="connsiteY8939" fmla="*/ 3844455 h 5217112"/>
              <a:gd name="connsiteX8940" fmla="*/ 4919005 w 6785952"/>
              <a:gd name="connsiteY8940" fmla="*/ 3839697 h 5217112"/>
              <a:gd name="connsiteX8941" fmla="*/ 4911489 w 6785952"/>
              <a:gd name="connsiteY8941" fmla="*/ 3832946 h 5217112"/>
              <a:gd name="connsiteX8942" fmla="*/ 4906078 w 6785952"/>
              <a:gd name="connsiteY8942" fmla="*/ 3828962 h 5217112"/>
              <a:gd name="connsiteX8943" fmla="*/ 4906078 w 6785952"/>
              <a:gd name="connsiteY8943" fmla="*/ 3835934 h 5217112"/>
              <a:gd name="connsiteX8944" fmla="*/ 4904575 w 6785952"/>
              <a:gd name="connsiteY8944" fmla="*/ 3835270 h 5217112"/>
              <a:gd name="connsiteX8945" fmla="*/ 4906078 w 6785952"/>
              <a:gd name="connsiteY8945" fmla="*/ 3837926 h 5217112"/>
              <a:gd name="connsiteX8946" fmla="*/ 4901870 w 6785952"/>
              <a:gd name="connsiteY8946" fmla="*/ 3837594 h 5217112"/>
              <a:gd name="connsiteX8947" fmla="*/ 4902170 w 6785952"/>
              <a:gd name="connsiteY8947" fmla="*/ 3839475 h 5217112"/>
              <a:gd name="connsiteX8948" fmla="*/ 4887741 w 6785952"/>
              <a:gd name="connsiteY8948" fmla="*/ 3844455 h 5217112"/>
              <a:gd name="connsiteX8949" fmla="*/ 4882630 w 6785952"/>
              <a:gd name="connsiteY8949" fmla="*/ 3840471 h 5217112"/>
              <a:gd name="connsiteX8950" fmla="*/ 4873010 w 6785952"/>
              <a:gd name="connsiteY8950" fmla="*/ 3845120 h 5217112"/>
              <a:gd name="connsiteX8951" fmla="*/ 4863091 w 6785952"/>
              <a:gd name="connsiteY8951" fmla="*/ 3848882 h 5217112"/>
              <a:gd name="connsiteX8952" fmla="*/ 4848661 w 6785952"/>
              <a:gd name="connsiteY8952" fmla="*/ 3847444 h 5217112"/>
              <a:gd name="connsiteX8953" fmla="*/ 4829120 w 6785952"/>
              <a:gd name="connsiteY8953" fmla="*/ 3830622 h 5217112"/>
              <a:gd name="connsiteX8954" fmla="*/ 4828519 w 6785952"/>
              <a:gd name="connsiteY8954" fmla="*/ 3824424 h 5217112"/>
              <a:gd name="connsiteX8955" fmla="*/ 4825514 w 6785952"/>
              <a:gd name="connsiteY8955" fmla="*/ 3826084 h 5217112"/>
              <a:gd name="connsiteX8956" fmla="*/ 4821906 w 6785952"/>
              <a:gd name="connsiteY8956" fmla="*/ 3824977 h 5217112"/>
              <a:gd name="connsiteX8957" fmla="*/ 4814392 w 6785952"/>
              <a:gd name="connsiteY8957" fmla="*/ 3813468 h 5217112"/>
              <a:gd name="connsiteX8958" fmla="*/ 4809281 w 6785952"/>
              <a:gd name="connsiteY8958" fmla="*/ 3819997 h 5217112"/>
              <a:gd name="connsiteX8959" fmla="*/ 4816195 w 6785952"/>
              <a:gd name="connsiteY8959" fmla="*/ 3816566 h 5217112"/>
              <a:gd name="connsiteX8960" fmla="*/ 4815293 w 6785952"/>
              <a:gd name="connsiteY8960" fmla="*/ 3815238 h 5217112"/>
              <a:gd name="connsiteX8961" fmla="*/ 759097 w 6785952"/>
              <a:gd name="connsiteY8961" fmla="*/ 3803839 h 5217112"/>
              <a:gd name="connsiteX8962" fmla="*/ 766612 w 6785952"/>
              <a:gd name="connsiteY8962" fmla="*/ 3804171 h 5217112"/>
              <a:gd name="connsiteX8963" fmla="*/ 754287 w 6785952"/>
              <a:gd name="connsiteY8963" fmla="*/ 3809705 h 5217112"/>
              <a:gd name="connsiteX8964" fmla="*/ 759097 w 6785952"/>
              <a:gd name="connsiteY8964" fmla="*/ 3803839 h 5217112"/>
              <a:gd name="connsiteX8965" fmla="*/ 650575 w 6785952"/>
              <a:gd name="connsiteY8965" fmla="*/ 3788345 h 5217112"/>
              <a:gd name="connsiteX8966" fmla="*/ 654482 w 6785952"/>
              <a:gd name="connsiteY8966" fmla="*/ 3791444 h 5217112"/>
              <a:gd name="connsiteX8967" fmla="*/ 653280 w 6785952"/>
              <a:gd name="connsiteY8967" fmla="*/ 3792219 h 5217112"/>
              <a:gd name="connsiteX8968" fmla="*/ 649071 w 6785952"/>
              <a:gd name="connsiteY8968" fmla="*/ 3796756 h 5217112"/>
              <a:gd name="connsiteX8969" fmla="*/ 644261 w 6785952"/>
              <a:gd name="connsiteY8969" fmla="*/ 3790116 h 5217112"/>
              <a:gd name="connsiteX8970" fmla="*/ 650575 w 6785952"/>
              <a:gd name="connsiteY8970" fmla="*/ 3788345 h 5217112"/>
              <a:gd name="connsiteX8971" fmla="*/ 599770 w 6785952"/>
              <a:gd name="connsiteY8971" fmla="*/ 3778827 h 5217112"/>
              <a:gd name="connsiteX8972" fmla="*/ 602175 w 6785952"/>
              <a:gd name="connsiteY8972" fmla="*/ 3796645 h 5217112"/>
              <a:gd name="connsiteX8973" fmla="*/ 592256 w 6785952"/>
              <a:gd name="connsiteY8973" fmla="*/ 3795096 h 5217112"/>
              <a:gd name="connsiteX8974" fmla="*/ 599770 w 6785952"/>
              <a:gd name="connsiteY8974" fmla="*/ 3778827 h 5217112"/>
              <a:gd name="connsiteX8975" fmla="*/ 6471981 w 6785952"/>
              <a:gd name="connsiteY8975" fmla="*/ 3777831 h 5217112"/>
              <a:gd name="connsiteX8976" fmla="*/ 6481000 w 6785952"/>
              <a:gd name="connsiteY8976" fmla="*/ 3778606 h 5217112"/>
              <a:gd name="connsiteX8977" fmla="*/ 6489116 w 6785952"/>
              <a:gd name="connsiteY8977" fmla="*/ 3787902 h 5217112"/>
              <a:gd name="connsiteX8978" fmla="*/ 6489116 w 6785952"/>
              <a:gd name="connsiteY8978" fmla="*/ 3821879 h 5217112"/>
              <a:gd name="connsiteX8979" fmla="*/ 6486711 w 6785952"/>
              <a:gd name="connsiteY8979" fmla="*/ 3821547 h 5217112"/>
              <a:gd name="connsiteX8980" fmla="*/ 6483405 w 6785952"/>
              <a:gd name="connsiteY8980" fmla="*/ 3824424 h 5217112"/>
              <a:gd name="connsiteX8981" fmla="*/ 6471981 w 6785952"/>
              <a:gd name="connsiteY8981" fmla="*/ 3777831 h 5217112"/>
              <a:gd name="connsiteX8982" fmla="*/ 558285 w 6785952"/>
              <a:gd name="connsiteY8982" fmla="*/ 3768646 h 5217112"/>
              <a:gd name="connsiteX8983" fmla="*/ 576323 w 6785952"/>
              <a:gd name="connsiteY8983" fmla="*/ 3796424 h 5217112"/>
              <a:gd name="connsiteX8984" fmla="*/ 570311 w 6785952"/>
              <a:gd name="connsiteY8984" fmla="*/ 3797310 h 5217112"/>
              <a:gd name="connsiteX8985" fmla="*/ 554378 w 6785952"/>
              <a:gd name="connsiteY8985" fmla="*/ 3771302 h 5217112"/>
              <a:gd name="connsiteX8986" fmla="*/ 558285 w 6785952"/>
              <a:gd name="connsiteY8986" fmla="*/ 3768646 h 5217112"/>
              <a:gd name="connsiteX8987" fmla="*/ 4835734 w 6785952"/>
              <a:gd name="connsiteY8987" fmla="*/ 3755033 h 5217112"/>
              <a:gd name="connsiteX8988" fmla="*/ 4834531 w 6785952"/>
              <a:gd name="connsiteY8988" fmla="*/ 3758575 h 5217112"/>
              <a:gd name="connsiteX8989" fmla="*/ 4828820 w 6785952"/>
              <a:gd name="connsiteY8989" fmla="*/ 3762448 h 5217112"/>
              <a:gd name="connsiteX8990" fmla="*/ 4827918 w 6785952"/>
              <a:gd name="connsiteY8990" fmla="*/ 3773737 h 5217112"/>
              <a:gd name="connsiteX8991" fmla="*/ 4827918 w 6785952"/>
              <a:gd name="connsiteY8991" fmla="*/ 3774290 h 5217112"/>
              <a:gd name="connsiteX8992" fmla="*/ 4834832 w 6785952"/>
              <a:gd name="connsiteY8992" fmla="*/ 3775175 h 5217112"/>
              <a:gd name="connsiteX8993" fmla="*/ 4846557 w 6785952"/>
              <a:gd name="connsiteY8993" fmla="*/ 3774843 h 5217112"/>
              <a:gd name="connsiteX8994" fmla="*/ 4849863 w 6785952"/>
              <a:gd name="connsiteY8994" fmla="*/ 3778163 h 5217112"/>
              <a:gd name="connsiteX8995" fmla="*/ 4851366 w 6785952"/>
              <a:gd name="connsiteY8995" fmla="*/ 3778163 h 5217112"/>
              <a:gd name="connsiteX8996" fmla="*/ 4853171 w 6785952"/>
              <a:gd name="connsiteY8996" fmla="*/ 3781373 h 5217112"/>
              <a:gd name="connsiteX8997" fmla="*/ 4843551 w 6785952"/>
              <a:gd name="connsiteY8997" fmla="*/ 3782480 h 5217112"/>
              <a:gd name="connsiteX8998" fmla="*/ 4835734 w 6785952"/>
              <a:gd name="connsiteY8998" fmla="*/ 3782148 h 5217112"/>
              <a:gd name="connsiteX8999" fmla="*/ 4830624 w 6785952"/>
              <a:gd name="connsiteY8999" fmla="*/ 3779491 h 5217112"/>
              <a:gd name="connsiteX9000" fmla="*/ 4828519 w 6785952"/>
              <a:gd name="connsiteY9000" fmla="*/ 3779381 h 5217112"/>
              <a:gd name="connsiteX9001" fmla="*/ 4828820 w 6785952"/>
              <a:gd name="connsiteY9001" fmla="*/ 3780487 h 5217112"/>
              <a:gd name="connsiteX9002" fmla="*/ 4833630 w 6785952"/>
              <a:gd name="connsiteY9002" fmla="*/ 3787792 h 5217112"/>
              <a:gd name="connsiteX9003" fmla="*/ 4828519 w 6785952"/>
              <a:gd name="connsiteY9003" fmla="*/ 3788345 h 5217112"/>
              <a:gd name="connsiteX9004" fmla="*/ 4831526 w 6785952"/>
              <a:gd name="connsiteY9004" fmla="*/ 3796092 h 5217112"/>
              <a:gd name="connsiteX9005" fmla="*/ 4837238 w 6785952"/>
              <a:gd name="connsiteY9005" fmla="*/ 3789009 h 5217112"/>
              <a:gd name="connsiteX9006" fmla="*/ 4859183 w 6785952"/>
              <a:gd name="connsiteY9006" fmla="*/ 3783254 h 5217112"/>
              <a:gd name="connsiteX9007" fmla="*/ 4864294 w 6785952"/>
              <a:gd name="connsiteY9007" fmla="*/ 3785136 h 5217112"/>
              <a:gd name="connsiteX9008" fmla="*/ 4858582 w 6785952"/>
              <a:gd name="connsiteY9008" fmla="*/ 3780598 h 5217112"/>
              <a:gd name="connsiteX9009" fmla="*/ 4847459 w 6785952"/>
              <a:gd name="connsiteY9009" fmla="*/ 3768756 h 5217112"/>
              <a:gd name="connsiteX9010" fmla="*/ 4836337 w 6785952"/>
              <a:gd name="connsiteY9010" fmla="*/ 3755918 h 5217112"/>
              <a:gd name="connsiteX9011" fmla="*/ 452469 w 6785952"/>
              <a:gd name="connsiteY9011" fmla="*/ 3738543 h 5217112"/>
              <a:gd name="connsiteX9012" fmla="*/ 468101 w 6785952"/>
              <a:gd name="connsiteY9012" fmla="*/ 3741420 h 5217112"/>
              <a:gd name="connsiteX9013" fmla="*/ 469003 w 6785952"/>
              <a:gd name="connsiteY9013" fmla="*/ 3760788 h 5217112"/>
              <a:gd name="connsiteX9014" fmla="*/ 462390 w 6785952"/>
              <a:gd name="connsiteY9014" fmla="*/ 3766211 h 5217112"/>
              <a:gd name="connsiteX9015" fmla="*/ 446457 w 6785952"/>
              <a:gd name="connsiteY9015" fmla="*/ 3769420 h 5217112"/>
              <a:gd name="connsiteX9016" fmla="*/ 447358 w 6785952"/>
              <a:gd name="connsiteY9016" fmla="*/ 3771855 h 5217112"/>
              <a:gd name="connsiteX9017" fmla="*/ 439844 w 6785952"/>
              <a:gd name="connsiteY9017" fmla="*/ 3757911 h 5217112"/>
              <a:gd name="connsiteX9018" fmla="*/ 452469 w 6785952"/>
              <a:gd name="connsiteY9018" fmla="*/ 3738543 h 5217112"/>
              <a:gd name="connsiteX9019" fmla="*/ 493954 w 6785952"/>
              <a:gd name="connsiteY9019" fmla="*/ 3723934 h 5217112"/>
              <a:gd name="connsiteX9020" fmla="*/ 499065 w 6785952"/>
              <a:gd name="connsiteY9020" fmla="*/ 3723934 h 5217112"/>
              <a:gd name="connsiteX9021" fmla="*/ 501470 w 6785952"/>
              <a:gd name="connsiteY9021" fmla="*/ 3726369 h 5217112"/>
              <a:gd name="connsiteX9022" fmla="*/ 502973 w 6785952"/>
              <a:gd name="connsiteY9022" fmla="*/ 3745183 h 5217112"/>
              <a:gd name="connsiteX9023" fmla="*/ 498464 w 6785952"/>
              <a:gd name="connsiteY9023" fmla="*/ 3754258 h 5217112"/>
              <a:gd name="connsiteX9024" fmla="*/ 513794 w 6785952"/>
              <a:gd name="connsiteY9024" fmla="*/ 3757136 h 5217112"/>
              <a:gd name="connsiteX9025" fmla="*/ 509286 w 6785952"/>
              <a:gd name="connsiteY9025" fmla="*/ 3754148 h 5217112"/>
              <a:gd name="connsiteX9026" fmla="*/ 520409 w 6785952"/>
              <a:gd name="connsiteY9026" fmla="*/ 3741974 h 5217112"/>
              <a:gd name="connsiteX9027" fmla="*/ 527623 w 6785952"/>
              <a:gd name="connsiteY9027" fmla="*/ 3760013 h 5217112"/>
              <a:gd name="connsiteX9028" fmla="*/ 525219 w 6785952"/>
              <a:gd name="connsiteY9028" fmla="*/ 3760899 h 5217112"/>
              <a:gd name="connsiteX9029" fmla="*/ 533034 w 6785952"/>
              <a:gd name="connsiteY9029" fmla="*/ 3761673 h 5217112"/>
              <a:gd name="connsiteX9030" fmla="*/ 530629 w 6785952"/>
              <a:gd name="connsiteY9030" fmla="*/ 3796756 h 5217112"/>
              <a:gd name="connsiteX9031" fmla="*/ 490647 w 6785952"/>
              <a:gd name="connsiteY9031" fmla="*/ 3820440 h 5217112"/>
              <a:gd name="connsiteX9032" fmla="*/ 470506 w 6785952"/>
              <a:gd name="connsiteY9032" fmla="*/ 3797642 h 5217112"/>
              <a:gd name="connsiteX9033" fmla="*/ 471708 w 6785952"/>
              <a:gd name="connsiteY9033" fmla="*/ 3779381 h 5217112"/>
              <a:gd name="connsiteX9034" fmla="*/ 488543 w 6785952"/>
              <a:gd name="connsiteY9034" fmla="*/ 3756804 h 5217112"/>
              <a:gd name="connsiteX9035" fmla="*/ 497260 w 6785952"/>
              <a:gd name="connsiteY9035" fmla="*/ 3754369 h 5217112"/>
              <a:gd name="connsiteX9036" fmla="*/ 492151 w 6785952"/>
              <a:gd name="connsiteY9036" fmla="*/ 3754480 h 5217112"/>
              <a:gd name="connsiteX9037" fmla="*/ 486740 w 6785952"/>
              <a:gd name="connsiteY9037" fmla="*/ 3745073 h 5217112"/>
              <a:gd name="connsiteX9038" fmla="*/ 486138 w 6785952"/>
              <a:gd name="connsiteY9038" fmla="*/ 3738654 h 5217112"/>
              <a:gd name="connsiteX9039" fmla="*/ 489145 w 6785952"/>
              <a:gd name="connsiteY9039" fmla="*/ 3733120 h 5217112"/>
              <a:gd name="connsiteX9040" fmla="*/ 493954 w 6785952"/>
              <a:gd name="connsiteY9040" fmla="*/ 3723934 h 5217112"/>
              <a:gd name="connsiteX9041" fmla="*/ 206867 w 6785952"/>
              <a:gd name="connsiteY9041" fmla="*/ 3711429 h 5217112"/>
              <a:gd name="connsiteX9042" fmla="*/ 245947 w 6785952"/>
              <a:gd name="connsiteY9042" fmla="*/ 3740424 h 5217112"/>
              <a:gd name="connsiteX9043" fmla="*/ 238431 w 6785952"/>
              <a:gd name="connsiteY9043" fmla="*/ 3752266 h 5217112"/>
              <a:gd name="connsiteX9044" fmla="*/ 186726 w 6785952"/>
              <a:gd name="connsiteY9044" fmla="*/ 3719176 h 5217112"/>
              <a:gd name="connsiteX9045" fmla="*/ 206867 w 6785952"/>
              <a:gd name="connsiteY9045" fmla="*/ 3711429 h 5217112"/>
              <a:gd name="connsiteX9046" fmla="*/ 504476 w 6785952"/>
              <a:gd name="connsiteY9046" fmla="*/ 3674022 h 5217112"/>
              <a:gd name="connsiteX9047" fmla="*/ 505979 w 6785952"/>
              <a:gd name="connsiteY9047" fmla="*/ 3676014 h 5217112"/>
              <a:gd name="connsiteX9048" fmla="*/ 503274 w 6785952"/>
              <a:gd name="connsiteY9048" fmla="*/ 3679666 h 5217112"/>
              <a:gd name="connsiteX9049" fmla="*/ 504476 w 6785952"/>
              <a:gd name="connsiteY9049" fmla="*/ 3674022 h 5217112"/>
              <a:gd name="connsiteX9050" fmla="*/ 432929 w 6785952"/>
              <a:gd name="connsiteY9050" fmla="*/ 3607397 h 5217112"/>
              <a:gd name="connsiteX9051" fmla="*/ 453071 w 6785952"/>
              <a:gd name="connsiteY9051" fmla="*/ 3620235 h 5217112"/>
              <a:gd name="connsiteX9052" fmla="*/ 454273 w 6785952"/>
              <a:gd name="connsiteY9052" fmla="*/ 3624330 h 5217112"/>
              <a:gd name="connsiteX9053" fmla="*/ 458783 w 6785952"/>
              <a:gd name="connsiteY9053" fmla="*/ 3630085 h 5217112"/>
              <a:gd name="connsiteX9054" fmla="*/ 443751 w 6785952"/>
              <a:gd name="connsiteY9054" fmla="*/ 3642259 h 5217112"/>
              <a:gd name="connsiteX9055" fmla="*/ 416997 w 6785952"/>
              <a:gd name="connsiteY9055" fmla="*/ 3633516 h 5217112"/>
              <a:gd name="connsiteX9056" fmla="*/ 417899 w 6785952"/>
              <a:gd name="connsiteY9056" fmla="*/ 3615809 h 5217112"/>
              <a:gd name="connsiteX9057" fmla="*/ 425715 w 6785952"/>
              <a:gd name="connsiteY9057" fmla="*/ 3609390 h 5217112"/>
              <a:gd name="connsiteX9058" fmla="*/ 432929 w 6785952"/>
              <a:gd name="connsiteY9058" fmla="*/ 3607397 h 5217112"/>
              <a:gd name="connsiteX9059" fmla="*/ 349358 w 6785952"/>
              <a:gd name="connsiteY9059" fmla="*/ 3595445 h 5217112"/>
              <a:gd name="connsiteX9060" fmla="*/ 360181 w 6785952"/>
              <a:gd name="connsiteY9060" fmla="*/ 3596662 h 5217112"/>
              <a:gd name="connsiteX9061" fmla="*/ 358678 w 6785952"/>
              <a:gd name="connsiteY9061" fmla="*/ 3619461 h 5217112"/>
              <a:gd name="connsiteX9062" fmla="*/ 343647 w 6785952"/>
              <a:gd name="connsiteY9062" fmla="*/ 3619461 h 5217112"/>
              <a:gd name="connsiteX9063" fmla="*/ 339439 w 6785952"/>
              <a:gd name="connsiteY9063" fmla="*/ 3598544 h 5217112"/>
              <a:gd name="connsiteX9064" fmla="*/ 349358 w 6785952"/>
              <a:gd name="connsiteY9064" fmla="*/ 3595445 h 5217112"/>
              <a:gd name="connsiteX9065" fmla="*/ 429022 w 6785952"/>
              <a:gd name="connsiteY9065" fmla="*/ 3584378 h 5217112"/>
              <a:gd name="connsiteX9066" fmla="*/ 439543 w 6785952"/>
              <a:gd name="connsiteY9066" fmla="*/ 3593342 h 5217112"/>
              <a:gd name="connsiteX9067" fmla="*/ 432028 w 6785952"/>
              <a:gd name="connsiteY9067" fmla="*/ 3601089 h 5217112"/>
              <a:gd name="connsiteX9068" fmla="*/ 426917 w 6785952"/>
              <a:gd name="connsiteY9068" fmla="*/ 3600093 h 5217112"/>
              <a:gd name="connsiteX9069" fmla="*/ 418800 w 6785952"/>
              <a:gd name="connsiteY9069" fmla="*/ 3594228 h 5217112"/>
              <a:gd name="connsiteX9070" fmla="*/ 418199 w 6785952"/>
              <a:gd name="connsiteY9070" fmla="*/ 3595666 h 5217112"/>
              <a:gd name="connsiteX9071" fmla="*/ 420905 w 6785952"/>
              <a:gd name="connsiteY9071" fmla="*/ 3586923 h 5217112"/>
              <a:gd name="connsiteX9072" fmla="*/ 429022 w 6785952"/>
              <a:gd name="connsiteY9072" fmla="*/ 3584378 h 5217112"/>
              <a:gd name="connsiteX9073" fmla="*/ 297954 w 6785952"/>
              <a:gd name="connsiteY9073" fmla="*/ 3565232 h 5217112"/>
              <a:gd name="connsiteX9074" fmla="*/ 309677 w 6785952"/>
              <a:gd name="connsiteY9074" fmla="*/ 3583714 h 5217112"/>
              <a:gd name="connsiteX9075" fmla="*/ 294045 w 6785952"/>
              <a:gd name="connsiteY9075" fmla="*/ 3586813 h 5217112"/>
              <a:gd name="connsiteX9076" fmla="*/ 286831 w 6785952"/>
              <a:gd name="connsiteY9076" fmla="*/ 3580947 h 5217112"/>
              <a:gd name="connsiteX9077" fmla="*/ 288934 w 6785952"/>
              <a:gd name="connsiteY9077" fmla="*/ 3571540 h 5217112"/>
              <a:gd name="connsiteX9078" fmla="*/ 297954 w 6785952"/>
              <a:gd name="connsiteY9078" fmla="*/ 3565232 h 5217112"/>
              <a:gd name="connsiteX9079" fmla="*/ 329217 w 6785952"/>
              <a:gd name="connsiteY9079" fmla="*/ 3555271 h 5217112"/>
              <a:gd name="connsiteX9080" fmla="*/ 330419 w 6785952"/>
              <a:gd name="connsiteY9080" fmla="*/ 3556267 h 5217112"/>
              <a:gd name="connsiteX9081" fmla="*/ 329217 w 6785952"/>
              <a:gd name="connsiteY9081" fmla="*/ 3562133 h 5217112"/>
              <a:gd name="connsiteX9082" fmla="*/ 326512 w 6785952"/>
              <a:gd name="connsiteY9082" fmla="*/ 3560694 h 5217112"/>
              <a:gd name="connsiteX9083" fmla="*/ 325610 w 6785952"/>
              <a:gd name="connsiteY9083" fmla="*/ 3562022 h 5217112"/>
              <a:gd name="connsiteX9084" fmla="*/ 323506 w 6785952"/>
              <a:gd name="connsiteY9084" fmla="*/ 3559366 h 5217112"/>
              <a:gd name="connsiteX9085" fmla="*/ 324407 w 6785952"/>
              <a:gd name="connsiteY9085" fmla="*/ 3557927 h 5217112"/>
              <a:gd name="connsiteX9086" fmla="*/ 324107 w 6785952"/>
              <a:gd name="connsiteY9086" fmla="*/ 3557485 h 5217112"/>
              <a:gd name="connsiteX9087" fmla="*/ 326812 w 6785952"/>
              <a:gd name="connsiteY9087" fmla="*/ 3556157 h 5217112"/>
              <a:gd name="connsiteX9088" fmla="*/ 329217 w 6785952"/>
              <a:gd name="connsiteY9088" fmla="*/ 3555271 h 5217112"/>
              <a:gd name="connsiteX9089" fmla="*/ 6484908 w 6785952"/>
              <a:gd name="connsiteY9089" fmla="*/ 3537121 h 5217112"/>
              <a:gd name="connsiteX9090" fmla="*/ 6489116 w 6785952"/>
              <a:gd name="connsiteY9090" fmla="*/ 3540884 h 5217112"/>
              <a:gd name="connsiteX9091" fmla="*/ 6489116 w 6785952"/>
              <a:gd name="connsiteY9091" fmla="*/ 3550734 h 5217112"/>
              <a:gd name="connsiteX9092" fmla="*/ 6484608 w 6785952"/>
              <a:gd name="connsiteY9092" fmla="*/ 3551508 h 5217112"/>
              <a:gd name="connsiteX9093" fmla="*/ 6475889 w 6785952"/>
              <a:gd name="connsiteY9093" fmla="*/ 3553390 h 5217112"/>
              <a:gd name="connsiteX9094" fmla="*/ 6484908 w 6785952"/>
              <a:gd name="connsiteY9094" fmla="*/ 3537121 h 5217112"/>
              <a:gd name="connsiteX9095" fmla="*/ 540549 w 6785952"/>
              <a:gd name="connsiteY9095" fmla="*/ 3523619 h 5217112"/>
              <a:gd name="connsiteX9096" fmla="*/ 541751 w 6785952"/>
              <a:gd name="connsiteY9096" fmla="*/ 3542433 h 5217112"/>
              <a:gd name="connsiteX9097" fmla="*/ 526120 w 6785952"/>
              <a:gd name="connsiteY9097" fmla="*/ 3551730 h 5217112"/>
              <a:gd name="connsiteX9098" fmla="*/ 516500 w 6785952"/>
              <a:gd name="connsiteY9098" fmla="*/ 3540331 h 5217112"/>
              <a:gd name="connsiteX9099" fmla="*/ 540549 w 6785952"/>
              <a:gd name="connsiteY9099" fmla="*/ 3523619 h 5217112"/>
              <a:gd name="connsiteX9100" fmla="*/ 6048415 w 6785952"/>
              <a:gd name="connsiteY9100" fmla="*/ 3518639 h 5217112"/>
              <a:gd name="connsiteX9101" fmla="*/ 6046011 w 6785952"/>
              <a:gd name="connsiteY9101" fmla="*/ 3525169 h 5217112"/>
              <a:gd name="connsiteX9102" fmla="*/ 6049617 w 6785952"/>
              <a:gd name="connsiteY9102" fmla="*/ 3521849 h 5217112"/>
              <a:gd name="connsiteX9103" fmla="*/ 6049316 w 6785952"/>
              <a:gd name="connsiteY9103" fmla="*/ 3521627 h 5217112"/>
              <a:gd name="connsiteX9104" fmla="*/ 483432 w 6785952"/>
              <a:gd name="connsiteY9104" fmla="*/ 3484110 h 5217112"/>
              <a:gd name="connsiteX9105" fmla="*/ 494856 w 6785952"/>
              <a:gd name="connsiteY9105" fmla="*/ 3520078 h 5217112"/>
              <a:gd name="connsiteX9106" fmla="*/ 486439 w 6785952"/>
              <a:gd name="connsiteY9106" fmla="*/ 3519967 h 5217112"/>
              <a:gd name="connsiteX9107" fmla="*/ 483432 w 6785952"/>
              <a:gd name="connsiteY9107" fmla="*/ 3484110 h 5217112"/>
              <a:gd name="connsiteX9108" fmla="*/ 6462362 w 6785952"/>
              <a:gd name="connsiteY9108" fmla="*/ 3451572 h 5217112"/>
              <a:gd name="connsiteX9109" fmla="*/ 6468074 w 6785952"/>
              <a:gd name="connsiteY9109" fmla="*/ 3452015 h 5217112"/>
              <a:gd name="connsiteX9110" fmla="*/ 6463564 w 6785952"/>
              <a:gd name="connsiteY9110" fmla="*/ 3461533 h 5217112"/>
              <a:gd name="connsiteX9111" fmla="*/ 6457252 w 6785952"/>
              <a:gd name="connsiteY9111" fmla="*/ 3457327 h 5217112"/>
              <a:gd name="connsiteX9112" fmla="*/ 6462362 w 6785952"/>
              <a:gd name="connsiteY9112" fmla="*/ 3451572 h 5217112"/>
              <a:gd name="connsiteX9113" fmla="*/ 432328 w 6785952"/>
              <a:gd name="connsiteY9113" fmla="*/ 3448584 h 5217112"/>
              <a:gd name="connsiteX9114" fmla="*/ 438641 w 6785952"/>
              <a:gd name="connsiteY9114" fmla="*/ 3450244 h 5217112"/>
              <a:gd name="connsiteX9115" fmla="*/ 436236 w 6785952"/>
              <a:gd name="connsiteY9115" fmla="*/ 3462529 h 5217112"/>
              <a:gd name="connsiteX9116" fmla="*/ 428421 w 6785952"/>
              <a:gd name="connsiteY9116" fmla="*/ 3456663 h 5217112"/>
              <a:gd name="connsiteX9117" fmla="*/ 427518 w 6785952"/>
              <a:gd name="connsiteY9117" fmla="*/ 3451240 h 5217112"/>
              <a:gd name="connsiteX9118" fmla="*/ 432328 w 6785952"/>
              <a:gd name="connsiteY9118" fmla="*/ 3448584 h 5217112"/>
              <a:gd name="connsiteX9119" fmla="*/ 417598 w 6785952"/>
              <a:gd name="connsiteY9119" fmla="*/ 3411067 h 5217112"/>
              <a:gd name="connsiteX9120" fmla="*/ 424211 w 6785952"/>
              <a:gd name="connsiteY9120" fmla="*/ 3412395 h 5217112"/>
              <a:gd name="connsiteX9121" fmla="*/ 428421 w 6785952"/>
              <a:gd name="connsiteY9121" fmla="*/ 3416489 h 5217112"/>
              <a:gd name="connsiteX9122" fmla="*/ 427518 w 6785952"/>
              <a:gd name="connsiteY9122" fmla="*/ 3419477 h 5217112"/>
              <a:gd name="connsiteX9123" fmla="*/ 425113 w 6785952"/>
              <a:gd name="connsiteY9123" fmla="*/ 3423351 h 5217112"/>
              <a:gd name="connsiteX9124" fmla="*/ 410383 w 6785952"/>
              <a:gd name="connsiteY9124" fmla="*/ 3428995 h 5217112"/>
              <a:gd name="connsiteX9125" fmla="*/ 406175 w 6785952"/>
              <a:gd name="connsiteY9125" fmla="*/ 3424900 h 5217112"/>
              <a:gd name="connsiteX9126" fmla="*/ 417598 w 6785952"/>
              <a:gd name="connsiteY9126" fmla="*/ 3411067 h 5217112"/>
              <a:gd name="connsiteX9127" fmla="*/ 580531 w 6785952"/>
              <a:gd name="connsiteY9127" fmla="*/ 3403984 h 5217112"/>
              <a:gd name="connsiteX9128" fmla="*/ 578127 w 6785952"/>
              <a:gd name="connsiteY9128" fmla="*/ 3413612 h 5217112"/>
              <a:gd name="connsiteX9129" fmla="*/ 578427 w 6785952"/>
              <a:gd name="connsiteY9129" fmla="*/ 3416268 h 5217112"/>
              <a:gd name="connsiteX9130" fmla="*/ 578127 w 6785952"/>
              <a:gd name="connsiteY9130" fmla="*/ 3417264 h 5217112"/>
              <a:gd name="connsiteX9131" fmla="*/ 577825 w 6785952"/>
              <a:gd name="connsiteY9131" fmla="*/ 3418371 h 5217112"/>
              <a:gd name="connsiteX9132" fmla="*/ 578127 w 6785952"/>
              <a:gd name="connsiteY9132" fmla="*/ 3420916 h 5217112"/>
              <a:gd name="connsiteX9133" fmla="*/ 586243 w 6785952"/>
              <a:gd name="connsiteY9133" fmla="*/ 3421027 h 5217112"/>
              <a:gd name="connsiteX9134" fmla="*/ 580230 w 6785952"/>
              <a:gd name="connsiteY9134" fmla="*/ 3425122 h 5217112"/>
              <a:gd name="connsiteX9135" fmla="*/ 588347 w 6785952"/>
              <a:gd name="connsiteY9135" fmla="*/ 3438734 h 5217112"/>
              <a:gd name="connsiteX9136" fmla="*/ 589249 w 6785952"/>
              <a:gd name="connsiteY9136" fmla="*/ 3442608 h 5217112"/>
              <a:gd name="connsiteX9137" fmla="*/ 589550 w 6785952"/>
              <a:gd name="connsiteY9137" fmla="*/ 3445153 h 5217112"/>
              <a:gd name="connsiteX9138" fmla="*/ 590752 w 6785952"/>
              <a:gd name="connsiteY9138" fmla="*/ 3445485 h 5217112"/>
              <a:gd name="connsiteX9139" fmla="*/ 590151 w 6785952"/>
              <a:gd name="connsiteY9139" fmla="*/ 3446592 h 5217112"/>
              <a:gd name="connsiteX9140" fmla="*/ 591955 w 6785952"/>
              <a:gd name="connsiteY9140" fmla="*/ 3459208 h 5217112"/>
              <a:gd name="connsiteX9141" fmla="*/ 594661 w 6785952"/>
              <a:gd name="connsiteY9141" fmla="*/ 3474702 h 5217112"/>
              <a:gd name="connsiteX9142" fmla="*/ 600372 w 6785952"/>
              <a:gd name="connsiteY9142" fmla="*/ 3505580 h 5217112"/>
              <a:gd name="connsiteX9143" fmla="*/ 609691 w 6785952"/>
              <a:gd name="connsiteY9143" fmla="*/ 3536346 h 5217112"/>
              <a:gd name="connsiteX9144" fmla="*/ 615703 w 6785952"/>
              <a:gd name="connsiteY9144" fmla="*/ 3556378 h 5217112"/>
              <a:gd name="connsiteX9145" fmla="*/ 619612 w 6785952"/>
              <a:gd name="connsiteY9145" fmla="*/ 3566006 h 5217112"/>
              <a:gd name="connsiteX9146" fmla="*/ 623219 w 6785952"/>
              <a:gd name="connsiteY9146" fmla="*/ 3575635 h 5217112"/>
              <a:gd name="connsiteX9147" fmla="*/ 633740 w 6785952"/>
              <a:gd name="connsiteY9147" fmla="*/ 3609279 h 5217112"/>
              <a:gd name="connsiteX9148" fmla="*/ 647268 w 6785952"/>
              <a:gd name="connsiteY9148" fmla="*/ 3635176 h 5217112"/>
              <a:gd name="connsiteX9149" fmla="*/ 652077 w 6785952"/>
              <a:gd name="connsiteY9149" fmla="*/ 3658528 h 5217112"/>
              <a:gd name="connsiteX9150" fmla="*/ 663801 w 6785952"/>
              <a:gd name="connsiteY9150" fmla="*/ 3692614 h 5217112"/>
              <a:gd name="connsiteX9151" fmla="*/ 677028 w 6785952"/>
              <a:gd name="connsiteY9151" fmla="*/ 3722164 h 5217112"/>
              <a:gd name="connsiteX9152" fmla="*/ 692060 w 6785952"/>
              <a:gd name="connsiteY9152" fmla="*/ 3749831 h 5217112"/>
              <a:gd name="connsiteX9153" fmla="*/ 705286 w 6785952"/>
              <a:gd name="connsiteY9153" fmla="*/ 3775839 h 5217112"/>
              <a:gd name="connsiteX9154" fmla="*/ 697169 w 6785952"/>
              <a:gd name="connsiteY9154" fmla="*/ 3775729 h 5217112"/>
              <a:gd name="connsiteX9155" fmla="*/ 701378 w 6785952"/>
              <a:gd name="connsiteY9155" fmla="*/ 3787902 h 5217112"/>
              <a:gd name="connsiteX9156" fmla="*/ 706790 w 6785952"/>
              <a:gd name="connsiteY9156" fmla="*/ 3778606 h 5217112"/>
              <a:gd name="connsiteX9157" fmla="*/ 728134 w 6785952"/>
              <a:gd name="connsiteY9157" fmla="*/ 3811918 h 5217112"/>
              <a:gd name="connsiteX9158" fmla="*/ 750078 w 6785952"/>
              <a:gd name="connsiteY9158" fmla="*/ 3846558 h 5217112"/>
              <a:gd name="connsiteX9159" fmla="*/ 740158 w 6785952"/>
              <a:gd name="connsiteY9159" fmla="*/ 3844788 h 5217112"/>
              <a:gd name="connsiteX9160" fmla="*/ 756391 w 6785952"/>
              <a:gd name="connsiteY9160" fmla="*/ 3858289 h 5217112"/>
              <a:gd name="connsiteX9161" fmla="*/ 747071 w 6785952"/>
              <a:gd name="connsiteY9161" fmla="*/ 3851760 h 5217112"/>
              <a:gd name="connsiteX9162" fmla="*/ 765109 w 6785952"/>
              <a:gd name="connsiteY9162" fmla="*/ 3877989 h 5217112"/>
              <a:gd name="connsiteX9163" fmla="*/ 766913 w 6785952"/>
              <a:gd name="connsiteY9163" fmla="*/ 3872455 h 5217112"/>
              <a:gd name="connsiteX9164" fmla="*/ 774728 w 6785952"/>
              <a:gd name="connsiteY9164" fmla="*/ 3886953 h 5217112"/>
              <a:gd name="connsiteX9165" fmla="*/ 784348 w 6785952"/>
              <a:gd name="connsiteY9165" fmla="*/ 3903333 h 5217112"/>
              <a:gd name="connsiteX9166" fmla="*/ 807796 w 6785952"/>
              <a:gd name="connsiteY9166" fmla="*/ 3920265 h 5217112"/>
              <a:gd name="connsiteX9167" fmla="*/ 809600 w 6785952"/>
              <a:gd name="connsiteY9167" fmla="*/ 3931775 h 5217112"/>
              <a:gd name="connsiteX9168" fmla="*/ 819520 w 6785952"/>
              <a:gd name="connsiteY9168" fmla="*/ 3930004 h 5217112"/>
              <a:gd name="connsiteX9169" fmla="*/ 822827 w 6785952"/>
              <a:gd name="connsiteY9169" fmla="*/ 3940297 h 5217112"/>
              <a:gd name="connsiteX9170" fmla="*/ 827336 w 6785952"/>
              <a:gd name="connsiteY9170" fmla="*/ 3946273 h 5217112"/>
              <a:gd name="connsiteX9171" fmla="*/ 836355 w 6785952"/>
              <a:gd name="connsiteY9171" fmla="*/ 3935095 h 5217112"/>
              <a:gd name="connsiteX9172" fmla="*/ 863711 w 6785952"/>
              <a:gd name="connsiteY9172" fmla="*/ 3918827 h 5217112"/>
              <a:gd name="connsiteX9173" fmla="*/ 885354 w 6785952"/>
              <a:gd name="connsiteY9173" fmla="*/ 3926684 h 5217112"/>
              <a:gd name="connsiteX9174" fmla="*/ 885956 w 6785952"/>
              <a:gd name="connsiteY9174" fmla="*/ 3926684 h 5217112"/>
              <a:gd name="connsiteX9175" fmla="*/ 885655 w 6785952"/>
              <a:gd name="connsiteY9175" fmla="*/ 3926242 h 5217112"/>
              <a:gd name="connsiteX9176" fmla="*/ 887158 w 6785952"/>
              <a:gd name="connsiteY9176" fmla="*/ 3925910 h 5217112"/>
              <a:gd name="connsiteX9177" fmla="*/ 889263 w 6785952"/>
              <a:gd name="connsiteY9177" fmla="*/ 3925246 h 5217112"/>
              <a:gd name="connsiteX9178" fmla="*/ 889864 w 6785952"/>
              <a:gd name="connsiteY9178" fmla="*/ 3925135 h 5217112"/>
              <a:gd name="connsiteX9179" fmla="*/ 891366 w 6785952"/>
              <a:gd name="connsiteY9179" fmla="*/ 3926906 h 5217112"/>
              <a:gd name="connsiteX9180" fmla="*/ 894072 w 6785952"/>
              <a:gd name="connsiteY9180" fmla="*/ 3927016 h 5217112"/>
              <a:gd name="connsiteX9181" fmla="*/ 901888 w 6785952"/>
              <a:gd name="connsiteY9181" fmla="*/ 3928012 h 5217112"/>
              <a:gd name="connsiteX9182" fmla="*/ 904293 w 6785952"/>
              <a:gd name="connsiteY9182" fmla="*/ 3925024 h 5217112"/>
              <a:gd name="connsiteX9183" fmla="*/ 901588 w 6785952"/>
              <a:gd name="connsiteY9183" fmla="*/ 3920376 h 5217112"/>
              <a:gd name="connsiteX9184" fmla="*/ 896477 w 6785952"/>
              <a:gd name="connsiteY9184" fmla="*/ 3916945 h 5217112"/>
              <a:gd name="connsiteX9185" fmla="*/ 902791 w 6785952"/>
              <a:gd name="connsiteY9185" fmla="*/ 3914621 h 5217112"/>
              <a:gd name="connsiteX9186" fmla="*/ 903692 w 6785952"/>
              <a:gd name="connsiteY9186" fmla="*/ 3917388 h 5217112"/>
              <a:gd name="connsiteX9187" fmla="*/ 908202 w 6785952"/>
              <a:gd name="connsiteY9187" fmla="*/ 3919933 h 5217112"/>
              <a:gd name="connsiteX9188" fmla="*/ 912109 w 6785952"/>
              <a:gd name="connsiteY9188" fmla="*/ 3923918 h 5217112"/>
              <a:gd name="connsiteX9189" fmla="*/ 914214 w 6785952"/>
              <a:gd name="connsiteY9189" fmla="*/ 3914068 h 5217112"/>
              <a:gd name="connsiteX9190" fmla="*/ 913613 w 6785952"/>
              <a:gd name="connsiteY9190" fmla="*/ 3911744 h 5217112"/>
              <a:gd name="connsiteX9191" fmla="*/ 914214 w 6785952"/>
              <a:gd name="connsiteY9191" fmla="*/ 3913072 h 5217112"/>
              <a:gd name="connsiteX9192" fmla="*/ 914515 w 6785952"/>
              <a:gd name="connsiteY9192" fmla="*/ 3912408 h 5217112"/>
              <a:gd name="connsiteX9193" fmla="*/ 914815 w 6785952"/>
              <a:gd name="connsiteY9193" fmla="*/ 3909752 h 5217112"/>
              <a:gd name="connsiteX9194" fmla="*/ 900987 w 6785952"/>
              <a:gd name="connsiteY9194" fmla="*/ 3899349 h 5217112"/>
              <a:gd name="connsiteX9195" fmla="*/ 903993 w 6785952"/>
              <a:gd name="connsiteY9195" fmla="*/ 3907649 h 5217112"/>
              <a:gd name="connsiteX9196" fmla="*/ 887158 w 6785952"/>
              <a:gd name="connsiteY9196" fmla="*/ 3905989 h 5217112"/>
              <a:gd name="connsiteX9197" fmla="*/ 895275 w 6785952"/>
              <a:gd name="connsiteY9197" fmla="*/ 3885515 h 5217112"/>
              <a:gd name="connsiteX9198" fmla="*/ 882649 w 6785952"/>
              <a:gd name="connsiteY9198" fmla="*/ 3874337 h 5217112"/>
              <a:gd name="connsiteX9199" fmla="*/ 871225 w 6785952"/>
              <a:gd name="connsiteY9199" fmla="*/ 3863491 h 5217112"/>
              <a:gd name="connsiteX9200" fmla="*/ 875735 w 6785952"/>
              <a:gd name="connsiteY9200" fmla="*/ 3884408 h 5217112"/>
              <a:gd name="connsiteX9201" fmla="*/ 869723 w 6785952"/>
              <a:gd name="connsiteY9201" fmla="*/ 3872677 h 5217112"/>
              <a:gd name="connsiteX9202" fmla="*/ 859502 w 6785952"/>
              <a:gd name="connsiteY9202" fmla="*/ 3869467 h 5217112"/>
              <a:gd name="connsiteX9203" fmla="*/ 860704 w 6785952"/>
              <a:gd name="connsiteY9203" fmla="*/ 3871127 h 5217112"/>
              <a:gd name="connsiteX9204" fmla="*/ 866416 w 6785952"/>
              <a:gd name="connsiteY9204" fmla="*/ 3876882 h 5217112"/>
              <a:gd name="connsiteX9205" fmla="*/ 867618 w 6785952"/>
              <a:gd name="connsiteY9205" fmla="*/ 3881641 h 5217112"/>
              <a:gd name="connsiteX9206" fmla="*/ 865514 w 6785952"/>
              <a:gd name="connsiteY9206" fmla="*/ 3890495 h 5217112"/>
              <a:gd name="connsiteX9207" fmla="*/ 864312 w 6785952"/>
              <a:gd name="connsiteY9207" fmla="*/ 3891270 h 5217112"/>
              <a:gd name="connsiteX9208" fmla="*/ 864312 w 6785952"/>
              <a:gd name="connsiteY9208" fmla="*/ 3892819 h 5217112"/>
              <a:gd name="connsiteX9209" fmla="*/ 854992 w 6785952"/>
              <a:gd name="connsiteY9209" fmla="*/ 3902558 h 5217112"/>
              <a:gd name="connsiteX9210" fmla="*/ 853790 w 6785952"/>
              <a:gd name="connsiteY9210" fmla="*/ 3901783 h 5217112"/>
              <a:gd name="connsiteX9211" fmla="*/ 852588 w 6785952"/>
              <a:gd name="connsiteY9211" fmla="*/ 3911301 h 5217112"/>
              <a:gd name="connsiteX9212" fmla="*/ 830343 w 6785952"/>
              <a:gd name="connsiteY9212" fmla="*/ 3902558 h 5217112"/>
              <a:gd name="connsiteX9213" fmla="*/ 827637 w 6785952"/>
              <a:gd name="connsiteY9213" fmla="*/ 3900013 h 5217112"/>
              <a:gd name="connsiteX9214" fmla="*/ 827035 w 6785952"/>
              <a:gd name="connsiteY9214" fmla="*/ 3901341 h 5217112"/>
              <a:gd name="connsiteX9215" fmla="*/ 826134 w 6785952"/>
              <a:gd name="connsiteY9215" fmla="*/ 3899127 h 5217112"/>
              <a:gd name="connsiteX9216" fmla="*/ 825833 w 6785952"/>
              <a:gd name="connsiteY9216" fmla="*/ 3899016 h 5217112"/>
              <a:gd name="connsiteX9217" fmla="*/ 824330 w 6785952"/>
              <a:gd name="connsiteY9217" fmla="*/ 3898242 h 5217112"/>
              <a:gd name="connsiteX9218" fmla="*/ 821323 w 6785952"/>
              <a:gd name="connsiteY9218" fmla="*/ 3892376 h 5217112"/>
              <a:gd name="connsiteX9219" fmla="*/ 821924 w 6785952"/>
              <a:gd name="connsiteY9219" fmla="*/ 3891159 h 5217112"/>
              <a:gd name="connsiteX9220" fmla="*/ 818618 w 6785952"/>
              <a:gd name="connsiteY9220" fmla="*/ 3889831 h 5217112"/>
              <a:gd name="connsiteX9221" fmla="*/ 817115 w 6785952"/>
              <a:gd name="connsiteY9221" fmla="*/ 3891159 h 5217112"/>
              <a:gd name="connsiteX9222" fmla="*/ 775631 w 6785952"/>
              <a:gd name="connsiteY9222" fmla="*/ 3887175 h 5217112"/>
              <a:gd name="connsiteX9223" fmla="*/ 801183 w 6785952"/>
              <a:gd name="connsiteY9223" fmla="*/ 3881420 h 5217112"/>
              <a:gd name="connsiteX9224" fmla="*/ 802686 w 6785952"/>
              <a:gd name="connsiteY9224" fmla="*/ 3881309 h 5217112"/>
              <a:gd name="connsiteX9225" fmla="*/ 802385 w 6785952"/>
              <a:gd name="connsiteY9225" fmla="*/ 3881198 h 5217112"/>
              <a:gd name="connsiteX9226" fmla="*/ 799679 w 6785952"/>
              <a:gd name="connsiteY9226" fmla="*/ 3873009 h 5217112"/>
              <a:gd name="connsiteX9227" fmla="*/ 824330 w 6785952"/>
              <a:gd name="connsiteY9227" fmla="*/ 3879981 h 5217112"/>
              <a:gd name="connsiteX9228" fmla="*/ 834551 w 6785952"/>
              <a:gd name="connsiteY9228" fmla="*/ 3886400 h 5217112"/>
              <a:gd name="connsiteX9229" fmla="*/ 835753 w 6785952"/>
              <a:gd name="connsiteY9229" fmla="*/ 3885072 h 5217112"/>
              <a:gd name="connsiteX9230" fmla="*/ 836355 w 6785952"/>
              <a:gd name="connsiteY9230" fmla="*/ 3881198 h 5217112"/>
              <a:gd name="connsiteX9231" fmla="*/ 835152 w 6785952"/>
              <a:gd name="connsiteY9231" fmla="*/ 3881088 h 5217112"/>
              <a:gd name="connsiteX9232" fmla="*/ 830343 w 6785952"/>
              <a:gd name="connsiteY9232" fmla="*/ 3876550 h 5217112"/>
              <a:gd name="connsiteX9233" fmla="*/ 832747 w 6785952"/>
              <a:gd name="connsiteY9233" fmla="*/ 3874005 h 5217112"/>
              <a:gd name="connsiteX9234" fmla="*/ 836655 w 6785952"/>
              <a:gd name="connsiteY9234" fmla="*/ 3876329 h 5217112"/>
              <a:gd name="connsiteX9235" fmla="*/ 837256 w 6785952"/>
              <a:gd name="connsiteY9235" fmla="*/ 3876661 h 5217112"/>
              <a:gd name="connsiteX9236" fmla="*/ 837557 w 6785952"/>
              <a:gd name="connsiteY9236" fmla="*/ 3875001 h 5217112"/>
              <a:gd name="connsiteX9237" fmla="*/ 846275 w 6785952"/>
              <a:gd name="connsiteY9237" fmla="*/ 3865815 h 5217112"/>
              <a:gd name="connsiteX9238" fmla="*/ 848680 w 6785952"/>
              <a:gd name="connsiteY9238" fmla="*/ 3868028 h 5217112"/>
              <a:gd name="connsiteX9239" fmla="*/ 849581 w 6785952"/>
              <a:gd name="connsiteY9239" fmla="*/ 3868361 h 5217112"/>
              <a:gd name="connsiteX9240" fmla="*/ 851686 w 6785952"/>
              <a:gd name="connsiteY9240" fmla="*/ 3867475 h 5217112"/>
              <a:gd name="connsiteX9241" fmla="*/ 857097 w 6785952"/>
              <a:gd name="connsiteY9241" fmla="*/ 3867696 h 5217112"/>
              <a:gd name="connsiteX9242" fmla="*/ 859802 w 6785952"/>
              <a:gd name="connsiteY9242" fmla="*/ 3860614 h 5217112"/>
              <a:gd name="connsiteX9243" fmla="*/ 852889 w 6785952"/>
              <a:gd name="connsiteY9243" fmla="*/ 3849325 h 5217112"/>
              <a:gd name="connsiteX9244" fmla="*/ 829741 w 6785952"/>
              <a:gd name="connsiteY9244" fmla="*/ 3838479 h 5217112"/>
              <a:gd name="connsiteX9245" fmla="*/ 821323 w 6785952"/>
              <a:gd name="connsiteY9245" fmla="*/ 3822432 h 5217112"/>
              <a:gd name="connsiteX9246" fmla="*/ 821624 w 6785952"/>
              <a:gd name="connsiteY9246" fmla="*/ 3810479 h 5217112"/>
              <a:gd name="connsiteX9247" fmla="*/ 814109 w 6785952"/>
              <a:gd name="connsiteY9247" fmla="*/ 3794875 h 5217112"/>
              <a:gd name="connsiteX9248" fmla="*/ 813207 w 6785952"/>
              <a:gd name="connsiteY9248" fmla="*/ 3801847 h 5217112"/>
              <a:gd name="connsiteX9249" fmla="*/ 807796 w 6785952"/>
              <a:gd name="connsiteY9249" fmla="*/ 3786796 h 5217112"/>
              <a:gd name="connsiteX9250" fmla="*/ 795771 w 6785952"/>
              <a:gd name="connsiteY9250" fmla="*/ 3773404 h 5217112"/>
              <a:gd name="connsiteX9251" fmla="*/ 798778 w 6785952"/>
              <a:gd name="connsiteY9251" fmla="*/ 3768203 h 5217112"/>
              <a:gd name="connsiteX9252" fmla="*/ 789759 w 6785952"/>
              <a:gd name="connsiteY9252" fmla="*/ 3767871 h 5217112"/>
              <a:gd name="connsiteX9253" fmla="*/ 796372 w 6785952"/>
              <a:gd name="connsiteY9253" fmla="*/ 3761452 h 5217112"/>
              <a:gd name="connsiteX9254" fmla="*/ 785250 w 6785952"/>
              <a:gd name="connsiteY9254" fmla="*/ 3757689 h 5217112"/>
              <a:gd name="connsiteX9255" fmla="*/ 775931 w 6785952"/>
              <a:gd name="connsiteY9255" fmla="*/ 3769310 h 5217112"/>
              <a:gd name="connsiteX9256" fmla="*/ 757593 w 6785952"/>
              <a:gd name="connsiteY9256" fmla="*/ 3779934 h 5217112"/>
              <a:gd name="connsiteX9257" fmla="*/ 744065 w 6785952"/>
              <a:gd name="connsiteY9257" fmla="*/ 3782812 h 5217112"/>
              <a:gd name="connsiteX9258" fmla="*/ 759698 w 6785952"/>
              <a:gd name="connsiteY9258" fmla="*/ 3758243 h 5217112"/>
              <a:gd name="connsiteX9259" fmla="*/ 737452 w 6785952"/>
              <a:gd name="connsiteY9259" fmla="*/ 3736772 h 5217112"/>
              <a:gd name="connsiteX9260" fmla="*/ 745569 w 6785952"/>
              <a:gd name="connsiteY9260" fmla="*/ 3736330 h 5217112"/>
              <a:gd name="connsiteX9261" fmla="*/ 771722 w 6785952"/>
              <a:gd name="connsiteY9261" fmla="*/ 3750385 h 5217112"/>
              <a:gd name="connsiteX9262" fmla="*/ 772324 w 6785952"/>
              <a:gd name="connsiteY9262" fmla="*/ 3750164 h 5217112"/>
              <a:gd name="connsiteX9263" fmla="*/ 776232 w 6785952"/>
              <a:gd name="connsiteY9263" fmla="*/ 3745515 h 5217112"/>
              <a:gd name="connsiteX9264" fmla="*/ 774127 w 6785952"/>
              <a:gd name="connsiteY9264" fmla="*/ 3735112 h 5217112"/>
              <a:gd name="connsiteX9265" fmla="*/ 766913 w 6785952"/>
              <a:gd name="connsiteY9265" fmla="*/ 3725594 h 5217112"/>
              <a:gd name="connsiteX9266" fmla="*/ 756091 w 6785952"/>
              <a:gd name="connsiteY9266" fmla="*/ 3725926 h 5217112"/>
              <a:gd name="connsiteX9267" fmla="*/ 752784 w 6785952"/>
              <a:gd name="connsiteY9267" fmla="*/ 3707223 h 5217112"/>
              <a:gd name="connsiteX9268" fmla="*/ 748274 w 6785952"/>
              <a:gd name="connsiteY9268" fmla="*/ 3705563 h 5217112"/>
              <a:gd name="connsiteX9269" fmla="*/ 746771 w 6785952"/>
              <a:gd name="connsiteY9269" fmla="*/ 3705674 h 5217112"/>
              <a:gd name="connsiteX9270" fmla="*/ 732943 w 6785952"/>
              <a:gd name="connsiteY9270" fmla="*/ 3703682 h 5217112"/>
              <a:gd name="connsiteX9271" fmla="*/ 743765 w 6785952"/>
              <a:gd name="connsiteY9271" fmla="*/ 3695492 h 5217112"/>
              <a:gd name="connsiteX9272" fmla="*/ 744367 w 6785952"/>
              <a:gd name="connsiteY9272" fmla="*/ 3695381 h 5217112"/>
              <a:gd name="connsiteX9273" fmla="*/ 743765 w 6785952"/>
              <a:gd name="connsiteY9273" fmla="*/ 3689405 h 5217112"/>
              <a:gd name="connsiteX9274" fmla="*/ 736851 w 6785952"/>
              <a:gd name="connsiteY9274" fmla="*/ 3676346 h 5217112"/>
              <a:gd name="connsiteX9275" fmla="*/ 717311 w 6785952"/>
              <a:gd name="connsiteY9275" fmla="*/ 3665389 h 5217112"/>
              <a:gd name="connsiteX9276" fmla="*/ 714305 w 6785952"/>
              <a:gd name="connsiteY9276" fmla="*/ 3650006 h 5217112"/>
              <a:gd name="connsiteX9277" fmla="*/ 703483 w 6785952"/>
              <a:gd name="connsiteY9277" fmla="*/ 3644251 h 5217112"/>
              <a:gd name="connsiteX9278" fmla="*/ 707992 w 6785952"/>
              <a:gd name="connsiteY9278" fmla="*/ 3662290 h 5217112"/>
              <a:gd name="connsiteX9279" fmla="*/ 710998 w 6785952"/>
              <a:gd name="connsiteY9279" fmla="*/ 3661848 h 5217112"/>
              <a:gd name="connsiteX9280" fmla="*/ 714906 w 6785952"/>
              <a:gd name="connsiteY9280" fmla="*/ 3664061 h 5217112"/>
              <a:gd name="connsiteX9281" fmla="*/ 714606 w 6785952"/>
              <a:gd name="connsiteY9281" fmla="*/ 3671255 h 5217112"/>
              <a:gd name="connsiteX9282" fmla="*/ 710998 w 6785952"/>
              <a:gd name="connsiteY9282" fmla="*/ 3670812 h 5217112"/>
              <a:gd name="connsiteX9283" fmla="*/ 721820 w 6785952"/>
              <a:gd name="connsiteY9283" fmla="*/ 3693500 h 5217112"/>
              <a:gd name="connsiteX9284" fmla="*/ 726930 w 6785952"/>
              <a:gd name="connsiteY9284" fmla="*/ 3674575 h 5217112"/>
              <a:gd name="connsiteX9285" fmla="*/ 734747 w 6785952"/>
              <a:gd name="connsiteY9285" fmla="*/ 3682875 h 5217112"/>
              <a:gd name="connsiteX9286" fmla="*/ 742262 w 6785952"/>
              <a:gd name="connsiteY9286" fmla="*/ 3691397 h 5217112"/>
              <a:gd name="connsiteX9287" fmla="*/ 737152 w 6785952"/>
              <a:gd name="connsiteY9287" fmla="*/ 3686085 h 5217112"/>
              <a:gd name="connsiteX9288" fmla="*/ 735648 w 6785952"/>
              <a:gd name="connsiteY9288" fmla="*/ 3731681 h 5217112"/>
              <a:gd name="connsiteX9289" fmla="*/ 729636 w 6785952"/>
              <a:gd name="connsiteY9289" fmla="*/ 3725816 h 5217112"/>
              <a:gd name="connsiteX9290" fmla="*/ 730237 w 6785952"/>
              <a:gd name="connsiteY9290" fmla="*/ 3727587 h 5217112"/>
              <a:gd name="connsiteX9291" fmla="*/ 730237 w 6785952"/>
              <a:gd name="connsiteY9291" fmla="*/ 3735112 h 5217112"/>
              <a:gd name="connsiteX9292" fmla="*/ 708594 w 6785952"/>
              <a:gd name="connsiteY9292" fmla="*/ 3747286 h 5217112"/>
              <a:gd name="connsiteX9293" fmla="*/ 696869 w 6785952"/>
              <a:gd name="connsiteY9293" fmla="*/ 3739318 h 5217112"/>
              <a:gd name="connsiteX9294" fmla="*/ 694765 w 6785952"/>
              <a:gd name="connsiteY9294" fmla="*/ 3734005 h 5217112"/>
              <a:gd name="connsiteX9295" fmla="*/ 712201 w 6785952"/>
              <a:gd name="connsiteY9295" fmla="*/ 3729468 h 5217112"/>
              <a:gd name="connsiteX9296" fmla="*/ 728434 w 6785952"/>
              <a:gd name="connsiteY9296" fmla="*/ 3723270 h 5217112"/>
              <a:gd name="connsiteX9297" fmla="*/ 725728 w 6785952"/>
              <a:gd name="connsiteY9297" fmla="*/ 3716630 h 5217112"/>
              <a:gd name="connsiteX9298" fmla="*/ 725127 w 6785952"/>
              <a:gd name="connsiteY9298" fmla="*/ 3700583 h 5217112"/>
              <a:gd name="connsiteX9299" fmla="*/ 687250 w 6785952"/>
              <a:gd name="connsiteY9299" fmla="*/ 3671808 h 5217112"/>
              <a:gd name="connsiteX9300" fmla="*/ 663200 w 6785952"/>
              <a:gd name="connsiteY9300" fmla="*/ 3642702 h 5217112"/>
              <a:gd name="connsiteX9301" fmla="*/ 681538 w 6785952"/>
              <a:gd name="connsiteY9301" fmla="*/ 3650781 h 5217112"/>
              <a:gd name="connsiteX9302" fmla="*/ 673421 w 6785952"/>
              <a:gd name="connsiteY9302" fmla="*/ 3629974 h 5217112"/>
              <a:gd name="connsiteX9303" fmla="*/ 662900 w 6785952"/>
              <a:gd name="connsiteY9303" fmla="*/ 3633959 h 5217112"/>
              <a:gd name="connsiteX9304" fmla="*/ 655083 w 6785952"/>
              <a:gd name="connsiteY9304" fmla="*/ 3595224 h 5217112"/>
              <a:gd name="connsiteX9305" fmla="*/ 641556 w 6785952"/>
              <a:gd name="connsiteY9305" fmla="*/ 3559477 h 5217112"/>
              <a:gd name="connsiteX9306" fmla="*/ 641255 w 6785952"/>
              <a:gd name="connsiteY9306" fmla="*/ 3570433 h 5217112"/>
              <a:gd name="connsiteX9307" fmla="*/ 631035 w 6785952"/>
              <a:gd name="connsiteY9307" fmla="*/ 3566006 h 5217112"/>
              <a:gd name="connsiteX9308" fmla="*/ 629531 w 6785952"/>
              <a:gd name="connsiteY9308" fmla="*/ 3560584 h 5217112"/>
              <a:gd name="connsiteX9309" fmla="*/ 626826 w 6785952"/>
              <a:gd name="connsiteY9309" fmla="*/ 3530702 h 5217112"/>
              <a:gd name="connsiteX9310" fmla="*/ 633740 w 6785952"/>
              <a:gd name="connsiteY9310" fmla="*/ 3531588 h 5217112"/>
              <a:gd name="connsiteX9311" fmla="*/ 631335 w 6785952"/>
              <a:gd name="connsiteY9311" fmla="*/ 3521074 h 5217112"/>
              <a:gd name="connsiteX9312" fmla="*/ 629231 w 6785952"/>
              <a:gd name="connsiteY9312" fmla="*/ 3527714 h 5217112"/>
              <a:gd name="connsiteX9313" fmla="*/ 617207 w 6785952"/>
              <a:gd name="connsiteY9313" fmla="*/ 3463414 h 5217112"/>
              <a:gd name="connsiteX9314" fmla="*/ 615703 w 6785952"/>
              <a:gd name="connsiteY9314" fmla="*/ 3454339 h 5217112"/>
              <a:gd name="connsiteX9315" fmla="*/ 614201 w 6785952"/>
              <a:gd name="connsiteY9315" fmla="*/ 3441722 h 5217112"/>
              <a:gd name="connsiteX9316" fmla="*/ 614501 w 6785952"/>
              <a:gd name="connsiteY9316" fmla="*/ 3440726 h 5217112"/>
              <a:gd name="connsiteX9317" fmla="*/ 613298 w 6785952"/>
              <a:gd name="connsiteY9317" fmla="*/ 3440394 h 5217112"/>
              <a:gd name="connsiteX9318" fmla="*/ 612997 w 6785952"/>
              <a:gd name="connsiteY9318" fmla="*/ 3437849 h 5217112"/>
              <a:gd name="connsiteX9319" fmla="*/ 612997 w 6785952"/>
              <a:gd name="connsiteY9319" fmla="*/ 3428110 h 5217112"/>
              <a:gd name="connsiteX9320" fmla="*/ 613598 w 6785952"/>
              <a:gd name="connsiteY9320" fmla="*/ 3419810 h 5217112"/>
              <a:gd name="connsiteX9321" fmla="*/ 613899 w 6785952"/>
              <a:gd name="connsiteY9321" fmla="*/ 3415051 h 5217112"/>
              <a:gd name="connsiteX9322" fmla="*/ 614501 w 6785952"/>
              <a:gd name="connsiteY9322" fmla="*/ 3412837 h 5217112"/>
              <a:gd name="connsiteX9323" fmla="*/ 615703 w 6785952"/>
              <a:gd name="connsiteY9323" fmla="*/ 3409517 h 5217112"/>
              <a:gd name="connsiteX9324" fmla="*/ 612697 w 6785952"/>
              <a:gd name="connsiteY9324" fmla="*/ 3408632 h 5217112"/>
              <a:gd name="connsiteX9325" fmla="*/ 611795 w 6785952"/>
              <a:gd name="connsiteY9325" fmla="*/ 3410734 h 5217112"/>
              <a:gd name="connsiteX9326" fmla="*/ 610893 w 6785952"/>
              <a:gd name="connsiteY9326" fmla="*/ 3412948 h 5217112"/>
              <a:gd name="connsiteX9327" fmla="*/ 611795 w 6785952"/>
              <a:gd name="connsiteY9327" fmla="*/ 3414387 h 5217112"/>
              <a:gd name="connsiteX9328" fmla="*/ 609090 w 6785952"/>
              <a:gd name="connsiteY9328" fmla="*/ 3412284 h 5217112"/>
              <a:gd name="connsiteX9329" fmla="*/ 607586 w 6785952"/>
              <a:gd name="connsiteY9329" fmla="*/ 3405865 h 5217112"/>
              <a:gd name="connsiteX9330" fmla="*/ 607887 w 6785952"/>
              <a:gd name="connsiteY9330" fmla="*/ 3404316 h 5217112"/>
              <a:gd name="connsiteX9331" fmla="*/ 588948 w 6785952"/>
              <a:gd name="connsiteY9331" fmla="*/ 3405312 h 5217112"/>
              <a:gd name="connsiteX9332" fmla="*/ 6489116 w 6785952"/>
              <a:gd name="connsiteY9332" fmla="*/ 3393912 h 5217112"/>
              <a:gd name="connsiteX9333" fmla="*/ 6489116 w 6785952"/>
              <a:gd name="connsiteY9333" fmla="*/ 3427003 h 5217112"/>
              <a:gd name="connsiteX9334" fmla="*/ 6484908 w 6785952"/>
              <a:gd name="connsiteY9334" fmla="*/ 3430102 h 5217112"/>
              <a:gd name="connsiteX9335" fmla="*/ 6482502 w 6785952"/>
              <a:gd name="connsiteY9335" fmla="*/ 3432647 h 5217112"/>
              <a:gd name="connsiteX9336" fmla="*/ 6471379 w 6785952"/>
              <a:gd name="connsiteY9336" fmla="*/ 3414387 h 5217112"/>
              <a:gd name="connsiteX9337" fmla="*/ 6476490 w 6785952"/>
              <a:gd name="connsiteY9337" fmla="*/ 3401438 h 5217112"/>
              <a:gd name="connsiteX9338" fmla="*/ 6484908 w 6785952"/>
              <a:gd name="connsiteY9338" fmla="*/ 3396790 h 5217112"/>
              <a:gd name="connsiteX9339" fmla="*/ 399260 w 6785952"/>
              <a:gd name="connsiteY9339" fmla="*/ 3387936 h 5217112"/>
              <a:gd name="connsiteX9340" fmla="*/ 409181 w 6785952"/>
              <a:gd name="connsiteY9340" fmla="*/ 3392806 h 5217112"/>
              <a:gd name="connsiteX9341" fmla="*/ 400162 w 6785952"/>
              <a:gd name="connsiteY9341" fmla="*/ 3399003 h 5217112"/>
              <a:gd name="connsiteX9342" fmla="*/ 397456 w 6785952"/>
              <a:gd name="connsiteY9342" fmla="*/ 3395462 h 5217112"/>
              <a:gd name="connsiteX9343" fmla="*/ 399260 w 6785952"/>
              <a:gd name="connsiteY9343" fmla="*/ 3387936 h 5217112"/>
              <a:gd name="connsiteX9344" fmla="*/ 383930 w 6785952"/>
              <a:gd name="connsiteY9344" fmla="*/ 3366023 h 5217112"/>
              <a:gd name="connsiteX9345" fmla="*/ 396254 w 6785952"/>
              <a:gd name="connsiteY9345" fmla="*/ 3386387 h 5217112"/>
              <a:gd name="connsiteX9346" fmla="*/ 378518 w 6785952"/>
              <a:gd name="connsiteY9346" fmla="*/ 3401438 h 5217112"/>
              <a:gd name="connsiteX9347" fmla="*/ 374309 w 6785952"/>
              <a:gd name="connsiteY9347" fmla="*/ 3397565 h 5217112"/>
              <a:gd name="connsiteX9348" fmla="*/ 370702 w 6785952"/>
              <a:gd name="connsiteY9348" fmla="*/ 3391920 h 5217112"/>
              <a:gd name="connsiteX9349" fmla="*/ 370402 w 6785952"/>
              <a:gd name="connsiteY9349" fmla="*/ 3376648 h 5217112"/>
              <a:gd name="connsiteX9350" fmla="*/ 378819 w 6785952"/>
              <a:gd name="connsiteY9350" fmla="*/ 3367905 h 5217112"/>
              <a:gd name="connsiteX9351" fmla="*/ 383930 w 6785952"/>
              <a:gd name="connsiteY9351" fmla="*/ 3366023 h 5217112"/>
              <a:gd name="connsiteX9352" fmla="*/ 456378 w 6785952"/>
              <a:gd name="connsiteY9352" fmla="*/ 3356948 h 5217112"/>
              <a:gd name="connsiteX9353" fmla="*/ 478022 w 6785952"/>
              <a:gd name="connsiteY9353" fmla="*/ 3365691 h 5217112"/>
              <a:gd name="connsiteX9354" fmla="*/ 476819 w 6785952"/>
              <a:gd name="connsiteY9354" fmla="*/ 3388268 h 5217112"/>
              <a:gd name="connsiteX9355" fmla="*/ 445255 w 6785952"/>
              <a:gd name="connsiteY9355" fmla="*/ 3396347 h 5217112"/>
              <a:gd name="connsiteX9356" fmla="*/ 437439 w 6785952"/>
              <a:gd name="connsiteY9356" fmla="*/ 3387383 h 5217112"/>
              <a:gd name="connsiteX9357" fmla="*/ 435034 w 6785952"/>
              <a:gd name="connsiteY9357" fmla="*/ 3366798 h 5217112"/>
              <a:gd name="connsiteX9358" fmla="*/ 456378 w 6785952"/>
              <a:gd name="connsiteY9358" fmla="*/ 3356948 h 5217112"/>
              <a:gd name="connsiteX9359" fmla="*/ 241738 w 6785952"/>
              <a:gd name="connsiteY9359" fmla="*/ 3268854 h 5217112"/>
              <a:gd name="connsiteX9360" fmla="*/ 252560 w 6785952"/>
              <a:gd name="connsiteY9360" fmla="*/ 3271067 h 5217112"/>
              <a:gd name="connsiteX9361" fmla="*/ 248953 w 6785952"/>
              <a:gd name="connsiteY9361" fmla="*/ 3285565 h 5217112"/>
              <a:gd name="connsiteX9362" fmla="*/ 236628 w 6785952"/>
              <a:gd name="connsiteY9362" fmla="*/ 3293091 h 5217112"/>
              <a:gd name="connsiteX9363" fmla="*/ 236327 w 6785952"/>
              <a:gd name="connsiteY9363" fmla="*/ 3269075 h 5217112"/>
              <a:gd name="connsiteX9364" fmla="*/ 241738 w 6785952"/>
              <a:gd name="connsiteY9364" fmla="*/ 3268854 h 5217112"/>
              <a:gd name="connsiteX9365" fmla="*/ 466297 w 6785952"/>
              <a:gd name="connsiteY9365" fmla="*/ 3258008 h 5217112"/>
              <a:gd name="connsiteX9366" fmla="*/ 475317 w 6785952"/>
              <a:gd name="connsiteY9366" fmla="*/ 3260111 h 5217112"/>
              <a:gd name="connsiteX9367" fmla="*/ 490347 w 6785952"/>
              <a:gd name="connsiteY9367" fmla="*/ 3279810 h 5217112"/>
              <a:gd name="connsiteX9368" fmla="*/ 480126 w 6785952"/>
              <a:gd name="connsiteY9368" fmla="*/ 3283573 h 5217112"/>
              <a:gd name="connsiteX9369" fmla="*/ 462390 w 6785952"/>
              <a:gd name="connsiteY9369" fmla="*/ 3269075 h 5217112"/>
              <a:gd name="connsiteX9370" fmla="*/ 462089 w 6785952"/>
              <a:gd name="connsiteY9370" fmla="*/ 3262435 h 5217112"/>
              <a:gd name="connsiteX9371" fmla="*/ 466297 w 6785952"/>
              <a:gd name="connsiteY9371" fmla="*/ 3258008 h 5217112"/>
              <a:gd name="connsiteX9372" fmla="*/ 6405846 w 6785952"/>
              <a:gd name="connsiteY9372" fmla="*/ 3235984 h 5217112"/>
              <a:gd name="connsiteX9373" fmla="*/ 6398030 w 6785952"/>
              <a:gd name="connsiteY9373" fmla="*/ 3246387 h 5217112"/>
              <a:gd name="connsiteX9374" fmla="*/ 6396828 w 6785952"/>
              <a:gd name="connsiteY9374" fmla="*/ 3246719 h 5217112"/>
              <a:gd name="connsiteX9375" fmla="*/ 6396527 w 6785952"/>
              <a:gd name="connsiteY9375" fmla="*/ 3249818 h 5217112"/>
              <a:gd name="connsiteX9376" fmla="*/ 6402539 w 6785952"/>
              <a:gd name="connsiteY9376" fmla="*/ 3251921 h 5217112"/>
              <a:gd name="connsiteX9377" fmla="*/ 6398330 w 6785952"/>
              <a:gd name="connsiteY9377" fmla="*/ 3269629 h 5217112"/>
              <a:gd name="connsiteX9378" fmla="*/ 6403441 w 6785952"/>
              <a:gd name="connsiteY9378" fmla="*/ 3266198 h 5217112"/>
              <a:gd name="connsiteX9379" fmla="*/ 6402539 w 6785952"/>
              <a:gd name="connsiteY9379" fmla="*/ 3265976 h 5217112"/>
              <a:gd name="connsiteX9380" fmla="*/ 6406146 w 6785952"/>
              <a:gd name="connsiteY9380" fmla="*/ 3256680 h 5217112"/>
              <a:gd name="connsiteX9381" fmla="*/ 6406146 w 6785952"/>
              <a:gd name="connsiteY9381" fmla="*/ 3250482 h 5217112"/>
              <a:gd name="connsiteX9382" fmla="*/ 6405545 w 6785952"/>
              <a:gd name="connsiteY9382" fmla="*/ 3242957 h 5217112"/>
              <a:gd name="connsiteX9383" fmla="*/ 6405846 w 6785952"/>
              <a:gd name="connsiteY9383" fmla="*/ 3235984 h 5217112"/>
              <a:gd name="connsiteX9384" fmla="*/ 6439815 w 6785952"/>
              <a:gd name="connsiteY9384" fmla="*/ 3180206 h 5217112"/>
              <a:gd name="connsiteX9385" fmla="*/ 6439815 w 6785952"/>
              <a:gd name="connsiteY9385" fmla="*/ 3181202 h 5217112"/>
              <a:gd name="connsiteX9386" fmla="*/ 6433803 w 6785952"/>
              <a:gd name="connsiteY9386" fmla="*/ 3182088 h 5217112"/>
              <a:gd name="connsiteX9387" fmla="*/ 6441018 w 6785952"/>
              <a:gd name="connsiteY9387" fmla="*/ 3187068 h 5217112"/>
              <a:gd name="connsiteX9388" fmla="*/ 6438914 w 6785952"/>
              <a:gd name="connsiteY9388" fmla="*/ 3195589 h 5217112"/>
              <a:gd name="connsiteX9389" fmla="*/ 6438914 w 6785952"/>
              <a:gd name="connsiteY9389" fmla="*/ 3198024 h 5217112"/>
              <a:gd name="connsiteX9390" fmla="*/ 6441018 w 6785952"/>
              <a:gd name="connsiteY9390" fmla="*/ 3201566 h 5217112"/>
              <a:gd name="connsiteX9391" fmla="*/ 6439214 w 6785952"/>
              <a:gd name="connsiteY9391" fmla="*/ 3203779 h 5217112"/>
              <a:gd name="connsiteX9392" fmla="*/ 6438914 w 6785952"/>
              <a:gd name="connsiteY9392" fmla="*/ 3203668 h 5217112"/>
              <a:gd name="connsiteX9393" fmla="*/ 6438914 w 6785952"/>
              <a:gd name="connsiteY9393" fmla="*/ 3206546 h 5217112"/>
              <a:gd name="connsiteX9394" fmla="*/ 6438613 w 6785952"/>
              <a:gd name="connsiteY9394" fmla="*/ 3211526 h 5217112"/>
              <a:gd name="connsiteX9395" fmla="*/ 6438914 w 6785952"/>
              <a:gd name="connsiteY9395" fmla="*/ 3210419 h 5217112"/>
              <a:gd name="connsiteX9396" fmla="*/ 6437711 w 6785952"/>
              <a:gd name="connsiteY9396" fmla="*/ 3224143 h 5217112"/>
              <a:gd name="connsiteX9397" fmla="*/ 6438312 w 6785952"/>
              <a:gd name="connsiteY9397" fmla="*/ 3225581 h 5217112"/>
              <a:gd name="connsiteX9398" fmla="*/ 6438914 w 6785952"/>
              <a:gd name="connsiteY9398" fmla="*/ 3226577 h 5217112"/>
              <a:gd name="connsiteX9399" fmla="*/ 6438914 w 6785952"/>
              <a:gd name="connsiteY9399" fmla="*/ 3227463 h 5217112"/>
              <a:gd name="connsiteX9400" fmla="*/ 6439815 w 6785952"/>
              <a:gd name="connsiteY9400" fmla="*/ 3230119 h 5217112"/>
              <a:gd name="connsiteX9401" fmla="*/ 6447932 w 6785952"/>
              <a:gd name="connsiteY9401" fmla="*/ 3226135 h 5217112"/>
              <a:gd name="connsiteX9402" fmla="*/ 6453042 w 6785952"/>
              <a:gd name="connsiteY9402" fmla="*/ 3207431 h 5217112"/>
              <a:gd name="connsiteX9403" fmla="*/ 6459956 w 6785952"/>
              <a:gd name="connsiteY9403" fmla="*/ 3190609 h 5217112"/>
              <a:gd name="connsiteX9404" fmla="*/ 6463264 w 6785952"/>
              <a:gd name="connsiteY9404" fmla="*/ 3221376 h 5217112"/>
              <a:gd name="connsiteX9405" fmla="*/ 6469276 w 6785952"/>
              <a:gd name="connsiteY9405" fmla="*/ 3200570 h 5217112"/>
              <a:gd name="connsiteX9406" fmla="*/ 6468374 w 6785952"/>
              <a:gd name="connsiteY9406" fmla="*/ 3183084 h 5217112"/>
              <a:gd name="connsiteX9407" fmla="*/ 6462663 w 6785952"/>
              <a:gd name="connsiteY9407" fmla="*/ 3188174 h 5217112"/>
              <a:gd name="connsiteX9408" fmla="*/ 6455147 w 6785952"/>
              <a:gd name="connsiteY9408" fmla="*/ 3187842 h 5217112"/>
              <a:gd name="connsiteX9409" fmla="*/ 459083 w 6785952"/>
              <a:gd name="connsiteY9409" fmla="*/ 3125756 h 5217112"/>
              <a:gd name="connsiteX9410" fmla="*/ 464795 w 6785952"/>
              <a:gd name="connsiteY9410" fmla="*/ 3125756 h 5217112"/>
              <a:gd name="connsiteX9411" fmla="*/ 466297 w 6785952"/>
              <a:gd name="connsiteY9411" fmla="*/ 3130847 h 5217112"/>
              <a:gd name="connsiteX9412" fmla="*/ 491549 w 6785952"/>
              <a:gd name="connsiteY9412" fmla="*/ 3163827 h 5217112"/>
              <a:gd name="connsiteX9413" fmla="*/ 454574 w 6785952"/>
              <a:gd name="connsiteY9413" fmla="*/ 3129519 h 5217112"/>
              <a:gd name="connsiteX9414" fmla="*/ 459083 w 6785952"/>
              <a:gd name="connsiteY9414" fmla="*/ 3125756 h 5217112"/>
              <a:gd name="connsiteX9415" fmla="*/ 485236 w 6785952"/>
              <a:gd name="connsiteY9415" fmla="*/ 3120222 h 5217112"/>
              <a:gd name="connsiteX9416" fmla="*/ 501770 w 6785952"/>
              <a:gd name="connsiteY9416" fmla="*/ 3153756 h 5217112"/>
              <a:gd name="connsiteX9417" fmla="*/ 499365 w 6785952"/>
              <a:gd name="connsiteY9417" fmla="*/ 3154641 h 5217112"/>
              <a:gd name="connsiteX9418" fmla="*/ 485236 w 6785952"/>
              <a:gd name="connsiteY9418" fmla="*/ 3130957 h 5217112"/>
              <a:gd name="connsiteX9419" fmla="*/ 482831 w 6785952"/>
              <a:gd name="connsiteY9419" fmla="*/ 3121108 h 5217112"/>
              <a:gd name="connsiteX9420" fmla="*/ 483734 w 6785952"/>
              <a:gd name="connsiteY9420" fmla="*/ 3123653 h 5217112"/>
              <a:gd name="connsiteX9421" fmla="*/ 485236 w 6785952"/>
              <a:gd name="connsiteY9421" fmla="*/ 3120222 h 5217112"/>
              <a:gd name="connsiteX9422" fmla="*/ 569408 w 6785952"/>
              <a:gd name="connsiteY9422" fmla="*/ 3097977 h 5217112"/>
              <a:gd name="connsiteX9423" fmla="*/ 578728 w 6785952"/>
              <a:gd name="connsiteY9423" fmla="*/ 3128744 h 5217112"/>
              <a:gd name="connsiteX9424" fmla="*/ 570912 w 6785952"/>
              <a:gd name="connsiteY9424" fmla="*/ 3137376 h 5217112"/>
              <a:gd name="connsiteX9425" fmla="*/ 579629 w 6785952"/>
              <a:gd name="connsiteY9425" fmla="*/ 3187289 h 5217112"/>
              <a:gd name="connsiteX9426" fmla="*/ 573918 w 6785952"/>
              <a:gd name="connsiteY9426" fmla="*/ 3173455 h 5217112"/>
              <a:gd name="connsiteX9427" fmla="*/ 580531 w 6785952"/>
              <a:gd name="connsiteY9427" fmla="*/ 3208206 h 5217112"/>
              <a:gd name="connsiteX9428" fmla="*/ 570611 w 6785952"/>
              <a:gd name="connsiteY9428" fmla="*/ 3217281 h 5217112"/>
              <a:gd name="connsiteX9429" fmla="*/ 572114 w 6785952"/>
              <a:gd name="connsiteY9429" fmla="*/ 3239637 h 5217112"/>
              <a:gd name="connsiteX9430" fmla="*/ 572415 w 6785952"/>
              <a:gd name="connsiteY9430" fmla="*/ 3250372 h 5217112"/>
              <a:gd name="connsiteX9431" fmla="*/ 578728 w 6785952"/>
              <a:gd name="connsiteY9431" fmla="*/ 3253471 h 5217112"/>
              <a:gd name="connsiteX9432" fmla="*/ 587746 w 6785952"/>
              <a:gd name="connsiteY9432" fmla="*/ 3270182 h 5217112"/>
              <a:gd name="connsiteX9433" fmla="*/ 581133 w 6785952"/>
              <a:gd name="connsiteY9433" fmla="*/ 3275273 h 5217112"/>
              <a:gd name="connsiteX9434" fmla="*/ 581734 w 6785952"/>
              <a:gd name="connsiteY9434" fmla="*/ 3279810 h 5217112"/>
              <a:gd name="connsiteX9435" fmla="*/ 577224 w 6785952"/>
              <a:gd name="connsiteY9435" fmla="*/ 3293202 h 5217112"/>
              <a:gd name="connsiteX9436" fmla="*/ 575722 w 6785952"/>
              <a:gd name="connsiteY9436" fmla="*/ 3318324 h 5217112"/>
              <a:gd name="connsiteX9437" fmla="*/ 566101 w 6785952"/>
              <a:gd name="connsiteY9437" fmla="*/ 3318988 h 5217112"/>
              <a:gd name="connsiteX9438" fmla="*/ 572716 w 6785952"/>
              <a:gd name="connsiteY9438" fmla="*/ 3347762 h 5217112"/>
              <a:gd name="connsiteX9439" fmla="*/ 578127 w 6785952"/>
              <a:gd name="connsiteY9439" fmla="*/ 3317881 h 5217112"/>
              <a:gd name="connsiteX9440" fmla="*/ 580230 w 6785952"/>
              <a:gd name="connsiteY9440" fmla="*/ 3339130 h 5217112"/>
              <a:gd name="connsiteX9441" fmla="*/ 579629 w 6785952"/>
              <a:gd name="connsiteY9441" fmla="*/ 3344885 h 5217112"/>
              <a:gd name="connsiteX9442" fmla="*/ 579629 w 6785952"/>
              <a:gd name="connsiteY9442" fmla="*/ 3351083 h 5217112"/>
              <a:gd name="connsiteX9443" fmla="*/ 582635 w 6785952"/>
              <a:gd name="connsiteY9443" fmla="*/ 3362924 h 5217112"/>
              <a:gd name="connsiteX9444" fmla="*/ 577525 w 6785952"/>
              <a:gd name="connsiteY9444" fmla="*/ 3354071 h 5217112"/>
              <a:gd name="connsiteX9445" fmla="*/ 570311 w 6785952"/>
              <a:gd name="connsiteY9445" fmla="*/ 3382071 h 5217112"/>
              <a:gd name="connsiteX9446" fmla="*/ 576924 w 6785952"/>
              <a:gd name="connsiteY9446" fmla="*/ 3397454 h 5217112"/>
              <a:gd name="connsiteX9447" fmla="*/ 575421 w 6785952"/>
              <a:gd name="connsiteY9447" fmla="*/ 3377644 h 5217112"/>
              <a:gd name="connsiteX9448" fmla="*/ 587746 w 6785952"/>
              <a:gd name="connsiteY9448" fmla="*/ 3388711 h 5217112"/>
              <a:gd name="connsiteX9449" fmla="*/ 587746 w 6785952"/>
              <a:gd name="connsiteY9449" fmla="*/ 3389264 h 5217112"/>
              <a:gd name="connsiteX9450" fmla="*/ 588347 w 6785952"/>
              <a:gd name="connsiteY9450" fmla="*/ 3388490 h 5217112"/>
              <a:gd name="connsiteX9451" fmla="*/ 606384 w 6785952"/>
              <a:gd name="connsiteY9451" fmla="*/ 3381407 h 5217112"/>
              <a:gd name="connsiteX9452" fmla="*/ 605181 w 6785952"/>
              <a:gd name="connsiteY9452" fmla="*/ 3378418 h 5217112"/>
              <a:gd name="connsiteX9453" fmla="*/ 603679 w 6785952"/>
              <a:gd name="connsiteY9453" fmla="*/ 3363256 h 5217112"/>
              <a:gd name="connsiteX9454" fmla="*/ 603078 w 6785952"/>
              <a:gd name="connsiteY9454" fmla="*/ 3347320 h 5217112"/>
              <a:gd name="connsiteX9455" fmla="*/ 602175 w 6785952"/>
              <a:gd name="connsiteY9455" fmla="*/ 3343446 h 5217112"/>
              <a:gd name="connsiteX9456" fmla="*/ 600973 w 6785952"/>
              <a:gd name="connsiteY9456" fmla="*/ 3339462 h 5217112"/>
              <a:gd name="connsiteX9457" fmla="*/ 599169 w 6785952"/>
              <a:gd name="connsiteY9457" fmla="*/ 3331604 h 5217112"/>
              <a:gd name="connsiteX9458" fmla="*/ 605482 w 6785952"/>
              <a:gd name="connsiteY9458" fmla="*/ 3313012 h 5217112"/>
              <a:gd name="connsiteX9459" fmla="*/ 609390 w 6785952"/>
              <a:gd name="connsiteY9459" fmla="*/ 3298292 h 5217112"/>
              <a:gd name="connsiteX9460" fmla="*/ 600372 w 6785952"/>
              <a:gd name="connsiteY9460" fmla="*/ 3294419 h 5217112"/>
              <a:gd name="connsiteX9461" fmla="*/ 597065 w 6785952"/>
              <a:gd name="connsiteY9461" fmla="*/ 3248490 h 5217112"/>
              <a:gd name="connsiteX9462" fmla="*/ 588647 w 6785952"/>
              <a:gd name="connsiteY9462" fmla="*/ 3249486 h 5217112"/>
              <a:gd name="connsiteX9463" fmla="*/ 595562 w 6785952"/>
              <a:gd name="connsiteY9463" fmla="*/ 3243178 h 5217112"/>
              <a:gd name="connsiteX9464" fmla="*/ 592857 w 6785952"/>
              <a:gd name="connsiteY9464" fmla="*/ 3237423 h 5217112"/>
              <a:gd name="connsiteX9465" fmla="*/ 594058 w 6785952"/>
              <a:gd name="connsiteY9465" fmla="*/ 3230562 h 5217112"/>
              <a:gd name="connsiteX9466" fmla="*/ 589249 w 6785952"/>
              <a:gd name="connsiteY9466" fmla="*/ 3216949 h 5217112"/>
              <a:gd name="connsiteX9467" fmla="*/ 596163 w 6785952"/>
              <a:gd name="connsiteY9467" fmla="*/ 3214182 h 5217112"/>
              <a:gd name="connsiteX9468" fmla="*/ 585641 w 6785952"/>
              <a:gd name="connsiteY9468" fmla="*/ 3203779 h 5217112"/>
              <a:gd name="connsiteX9469" fmla="*/ 579028 w 6785952"/>
              <a:gd name="connsiteY9469" fmla="*/ 3195589 h 5217112"/>
              <a:gd name="connsiteX9470" fmla="*/ 586243 w 6785952"/>
              <a:gd name="connsiteY9470" fmla="*/ 3195368 h 5217112"/>
              <a:gd name="connsiteX9471" fmla="*/ 586844 w 6785952"/>
              <a:gd name="connsiteY9471" fmla="*/ 3162831 h 5217112"/>
              <a:gd name="connsiteX9472" fmla="*/ 587445 w 6785952"/>
              <a:gd name="connsiteY9472" fmla="*/ 3130183 h 5217112"/>
              <a:gd name="connsiteX9473" fmla="*/ 595262 w 6785952"/>
              <a:gd name="connsiteY9473" fmla="*/ 3127748 h 5217112"/>
              <a:gd name="connsiteX9474" fmla="*/ 582034 w 6785952"/>
              <a:gd name="connsiteY9474" fmla="*/ 3118894 h 5217112"/>
              <a:gd name="connsiteX9475" fmla="*/ 582034 w 6785952"/>
              <a:gd name="connsiteY9475" fmla="*/ 3101851 h 5217112"/>
              <a:gd name="connsiteX9476" fmla="*/ 569408 w 6785952"/>
              <a:gd name="connsiteY9476" fmla="*/ 3097977 h 5217112"/>
              <a:gd name="connsiteX9477" fmla="*/ 6399532 w 6785952"/>
              <a:gd name="connsiteY9477" fmla="*/ 3050942 h 5217112"/>
              <a:gd name="connsiteX9478" fmla="*/ 6380895 w 6785952"/>
              <a:gd name="connsiteY9478" fmla="*/ 3060570 h 5217112"/>
              <a:gd name="connsiteX9479" fmla="*/ 6374282 w 6785952"/>
              <a:gd name="connsiteY9479" fmla="*/ 3061788 h 5217112"/>
              <a:gd name="connsiteX9480" fmla="*/ 6379392 w 6785952"/>
              <a:gd name="connsiteY9480" fmla="*/ 3078278 h 5217112"/>
              <a:gd name="connsiteX9481" fmla="*/ 6389312 w 6785952"/>
              <a:gd name="connsiteY9481" fmla="*/ 3112807 h 5217112"/>
              <a:gd name="connsiteX9482" fmla="*/ 6397429 w 6785952"/>
              <a:gd name="connsiteY9482" fmla="*/ 3147226 h 5217112"/>
              <a:gd name="connsiteX9483" fmla="*/ 6401638 w 6785952"/>
              <a:gd name="connsiteY9483" fmla="*/ 3182751 h 5217112"/>
              <a:gd name="connsiteX9484" fmla="*/ 6401638 w 6785952"/>
              <a:gd name="connsiteY9484" fmla="*/ 3216396 h 5217112"/>
              <a:gd name="connsiteX9485" fmla="*/ 6400134 w 6785952"/>
              <a:gd name="connsiteY9485" fmla="*/ 3225028 h 5217112"/>
              <a:gd name="connsiteX9486" fmla="*/ 6407049 w 6785952"/>
              <a:gd name="connsiteY9486" fmla="*/ 3230672 h 5217112"/>
              <a:gd name="connsiteX9487" fmla="*/ 6407650 w 6785952"/>
              <a:gd name="connsiteY9487" fmla="*/ 3228237 h 5217112"/>
              <a:gd name="connsiteX9488" fmla="*/ 6409153 w 6785952"/>
              <a:gd name="connsiteY9488" fmla="*/ 3222040 h 5217112"/>
              <a:gd name="connsiteX9489" fmla="*/ 6408552 w 6785952"/>
              <a:gd name="connsiteY9489" fmla="*/ 3220601 h 5217112"/>
              <a:gd name="connsiteX9490" fmla="*/ 6409453 w 6785952"/>
              <a:gd name="connsiteY9490" fmla="*/ 3220601 h 5217112"/>
              <a:gd name="connsiteX9491" fmla="*/ 6409753 w 6785952"/>
              <a:gd name="connsiteY9491" fmla="*/ 3219384 h 5217112"/>
              <a:gd name="connsiteX9492" fmla="*/ 6409753 w 6785952"/>
              <a:gd name="connsiteY9492" fmla="*/ 3211415 h 5217112"/>
              <a:gd name="connsiteX9493" fmla="*/ 6408552 w 6785952"/>
              <a:gd name="connsiteY9493" fmla="*/ 3197692 h 5217112"/>
              <a:gd name="connsiteX9494" fmla="*/ 6409753 w 6785952"/>
              <a:gd name="connsiteY9494" fmla="*/ 3179874 h 5217112"/>
              <a:gd name="connsiteX9495" fmla="*/ 6410655 w 6785952"/>
              <a:gd name="connsiteY9495" fmla="*/ 3161171 h 5217112"/>
              <a:gd name="connsiteX9496" fmla="*/ 6409753 w 6785952"/>
              <a:gd name="connsiteY9496" fmla="*/ 3142356 h 5217112"/>
              <a:gd name="connsiteX9497" fmla="*/ 6413662 w 6785952"/>
              <a:gd name="connsiteY9497" fmla="*/ 3139479 h 5217112"/>
              <a:gd name="connsiteX9498" fmla="*/ 6415766 w 6785952"/>
              <a:gd name="connsiteY9498" fmla="*/ 3136269 h 5217112"/>
              <a:gd name="connsiteX9499" fmla="*/ 6413963 w 6785952"/>
              <a:gd name="connsiteY9499" fmla="*/ 3122104 h 5217112"/>
              <a:gd name="connsiteX9500" fmla="*/ 6413662 w 6785952"/>
              <a:gd name="connsiteY9500" fmla="*/ 3108159 h 5217112"/>
              <a:gd name="connsiteX9501" fmla="*/ 6410655 w 6785952"/>
              <a:gd name="connsiteY9501" fmla="*/ 3079495 h 5217112"/>
              <a:gd name="connsiteX9502" fmla="*/ 6406447 w 6785952"/>
              <a:gd name="connsiteY9502" fmla="*/ 3064776 h 5217112"/>
              <a:gd name="connsiteX9503" fmla="*/ 6399532 w 6785952"/>
              <a:gd name="connsiteY9503" fmla="*/ 3050942 h 5217112"/>
              <a:gd name="connsiteX9504" fmla="*/ 10265 w 6785952"/>
              <a:gd name="connsiteY9504" fmla="*/ 3048839 h 5217112"/>
              <a:gd name="connsiteX9505" fmla="*/ 23793 w 6785952"/>
              <a:gd name="connsiteY9505" fmla="*/ 3067875 h 5217112"/>
              <a:gd name="connsiteX9506" fmla="*/ 44 w 6785952"/>
              <a:gd name="connsiteY9506" fmla="*/ 3054815 h 5217112"/>
              <a:gd name="connsiteX9507" fmla="*/ 10265 w 6785952"/>
              <a:gd name="connsiteY9507" fmla="*/ 3048839 h 5217112"/>
              <a:gd name="connsiteX9508" fmla="*/ 378819 w 6785952"/>
              <a:gd name="connsiteY9508" fmla="*/ 3040649 h 5217112"/>
              <a:gd name="connsiteX9509" fmla="*/ 389341 w 6785952"/>
              <a:gd name="connsiteY9509" fmla="*/ 3041424 h 5217112"/>
              <a:gd name="connsiteX9510" fmla="*/ 405874 w 6785952"/>
              <a:gd name="connsiteY9510" fmla="*/ 3066325 h 5217112"/>
              <a:gd name="connsiteX9511" fmla="*/ 402567 w 6785952"/>
              <a:gd name="connsiteY9511" fmla="*/ 3081819 h 5217112"/>
              <a:gd name="connsiteX9512" fmla="*/ 371904 w 6785952"/>
              <a:gd name="connsiteY9512" fmla="*/ 3090673 h 5217112"/>
              <a:gd name="connsiteX9513" fmla="*/ 358678 w 6785952"/>
              <a:gd name="connsiteY9513" fmla="*/ 3074736 h 5217112"/>
              <a:gd name="connsiteX9514" fmla="*/ 358376 w 6785952"/>
              <a:gd name="connsiteY9514" fmla="*/ 3072855 h 5217112"/>
              <a:gd name="connsiteX9515" fmla="*/ 351463 w 6785952"/>
              <a:gd name="connsiteY9515" fmla="*/ 3074626 h 5217112"/>
              <a:gd name="connsiteX9516" fmla="*/ 333125 w 6785952"/>
              <a:gd name="connsiteY9516" fmla="*/ 3055479 h 5217112"/>
              <a:gd name="connsiteX9517" fmla="*/ 343346 w 6785952"/>
              <a:gd name="connsiteY9517" fmla="*/ 3041756 h 5217112"/>
              <a:gd name="connsiteX9518" fmla="*/ 358678 w 6785952"/>
              <a:gd name="connsiteY9518" fmla="*/ 3047622 h 5217112"/>
              <a:gd name="connsiteX9519" fmla="*/ 363487 w 6785952"/>
              <a:gd name="connsiteY9519" fmla="*/ 3053045 h 5217112"/>
              <a:gd name="connsiteX9520" fmla="*/ 364390 w 6785952"/>
              <a:gd name="connsiteY9520" fmla="*/ 3050831 h 5217112"/>
              <a:gd name="connsiteX9521" fmla="*/ 378819 w 6785952"/>
              <a:gd name="connsiteY9521" fmla="*/ 3040649 h 5217112"/>
              <a:gd name="connsiteX9522" fmla="*/ 6426888 w 6785952"/>
              <a:gd name="connsiteY9522" fmla="*/ 3038436 h 5217112"/>
              <a:gd name="connsiteX9523" fmla="*/ 6435307 w 6785952"/>
              <a:gd name="connsiteY9523" fmla="*/ 3042199 h 5217112"/>
              <a:gd name="connsiteX9524" fmla="*/ 6415766 w 6785952"/>
              <a:gd name="connsiteY9524" fmla="*/ 3053377 h 5217112"/>
              <a:gd name="connsiteX9525" fmla="*/ 6426888 w 6785952"/>
              <a:gd name="connsiteY9525" fmla="*/ 3038436 h 5217112"/>
              <a:gd name="connsiteX9526" fmla="*/ 340641 w 6785952"/>
              <a:gd name="connsiteY9526" fmla="*/ 3010990 h 5217112"/>
              <a:gd name="connsiteX9527" fmla="*/ 345150 w 6785952"/>
              <a:gd name="connsiteY9527" fmla="*/ 3031796 h 5217112"/>
              <a:gd name="connsiteX9528" fmla="*/ 310579 w 6785952"/>
              <a:gd name="connsiteY9528" fmla="*/ 3053930 h 5217112"/>
              <a:gd name="connsiteX9529" fmla="*/ 289536 w 6785952"/>
              <a:gd name="connsiteY9529" fmla="*/ 3040096 h 5217112"/>
              <a:gd name="connsiteX9530" fmla="*/ 285928 w 6785952"/>
              <a:gd name="connsiteY9530" fmla="*/ 3031021 h 5217112"/>
              <a:gd name="connsiteX9531" fmla="*/ 340641 w 6785952"/>
              <a:gd name="connsiteY9531" fmla="*/ 3010990 h 5217112"/>
              <a:gd name="connsiteX9532" fmla="*/ 302462 w 6785952"/>
              <a:gd name="connsiteY9532" fmla="*/ 2903528 h 5217112"/>
              <a:gd name="connsiteX9533" fmla="*/ 312082 w 6785952"/>
              <a:gd name="connsiteY9533" fmla="*/ 2920350 h 5217112"/>
              <a:gd name="connsiteX9534" fmla="*/ 288033 w 6785952"/>
              <a:gd name="connsiteY9534" fmla="*/ 2918136 h 5217112"/>
              <a:gd name="connsiteX9535" fmla="*/ 302462 w 6785952"/>
              <a:gd name="connsiteY9535" fmla="*/ 2903528 h 5217112"/>
              <a:gd name="connsiteX9536" fmla="*/ 331923 w 6785952"/>
              <a:gd name="connsiteY9536" fmla="*/ 2848635 h 5217112"/>
              <a:gd name="connsiteX9537" fmla="*/ 353868 w 6785952"/>
              <a:gd name="connsiteY9537" fmla="*/ 2862469 h 5217112"/>
              <a:gd name="connsiteX9538" fmla="*/ 316591 w 6785952"/>
              <a:gd name="connsiteY9538" fmla="*/ 2872650 h 5217112"/>
              <a:gd name="connsiteX9539" fmla="*/ 309677 w 6785952"/>
              <a:gd name="connsiteY9539" fmla="*/ 2861694 h 5217112"/>
              <a:gd name="connsiteX9540" fmla="*/ 331923 w 6785952"/>
              <a:gd name="connsiteY9540" fmla="*/ 2848635 h 5217112"/>
              <a:gd name="connsiteX9541" fmla="*/ 851932 w 6785952"/>
              <a:gd name="connsiteY9541" fmla="*/ 2802418 h 5217112"/>
              <a:gd name="connsiteX9542" fmla="*/ 857200 w 6785952"/>
              <a:gd name="connsiteY9542" fmla="*/ 2826611 h 5217112"/>
              <a:gd name="connsiteX9543" fmla="*/ 894481 w 6785952"/>
              <a:gd name="connsiteY9543" fmla="*/ 2826611 h 5217112"/>
              <a:gd name="connsiteX9544" fmla="*/ 6113103 w 6785952"/>
              <a:gd name="connsiteY9544" fmla="*/ 1844259 h 5217112"/>
              <a:gd name="connsiteX9545" fmla="*/ 6110082 w 6785952"/>
              <a:gd name="connsiteY9545" fmla="*/ 1849707 h 5217112"/>
              <a:gd name="connsiteX9546" fmla="*/ 6113053 w 6785952"/>
              <a:gd name="connsiteY9546" fmla="*/ 1844293 h 5217112"/>
              <a:gd name="connsiteX9547" fmla="*/ 6129035 w 6785952"/>
              <a:gd name="connsiteY9547" fmla="*/ 1828348 h 5217112"/>
              <a:gd name="connsiteX9548" fmla="*/ 6135353 w 6785952"/>
              <a:gd name="connsiteY9548" fmla="*/ 1828348 h 5217112"/>
              <a:gd name="connsiteX9549" fmla="*/ 6137002 w 6785952"/>
              <a:gd name="connsiteY9549" fmla="*/ 1846765 h 5217112"/>
              <a:gd name="connsiteX9550" fmla="*/ 6127937 w 6785952"/>
              <a:gd name="connsiteY9550" fmla="*/ 1846002 h 5217112"/>
              <a:gd name="connsiteX9551" fmla="*/ 6129035 w 6785952"/>
              <a:gd name="connsiteY9551" fmla="*/ 1828348 h 5217112"/>
              <a:gd name="connsiteX9552" fmla="*/ 6183425 w 6785952"/>
              <a:gd name="connsiteY9552" fmla="*/ 1792387 h 5217112"/>
              <a:gd name="connsiteX9553" fmla="*/ 6184798 w 6785952"/>
              <a:gd name="connsiteY9553" fmla="*/ 1793041 h 5217112"/>
              <a:gd name="connsiteX9554" fmla="*/ 6184524 w 6785952"/>
              <a:gd name="connsiteY9554" fmla="*/ 1796419 h 5217112"/>
              <a:gd name="connsiteX9555" fmla="*/ 6177657 w 6785952"/>
              <a:gd name="connsiteY9555" fmla="*/ 1808407 h 5217112"/>
              <a:gd name="connsiteX9556" fmla="*/ 6176558 w 6785952"/>
              <a:gd name="connsiteY9556" fmla="*/ 1811022 h 5217112"/>
              <a:gd name="connsiteX9557" fmla="*/ 6172712 w 6785952"/>
              <a:gd name="connsiteY9557" fmla="*/ 1812111 h 5217112"/>
              <a:gd name="connsiteX9558" fmla="*/ 6176833 w 6785952"/>
              <a:gd name="connsiteY9558" fmla="*/ 1799906 h 5217112"/>
              <a:gd name="connsiteX9559" fmla="*/ 6179854 w 6785952"/>
              <a:gd name="connsiteY9559" fmla="*/ 1793477 h 5217112"/>
              <a:gd name="connsiteX9560" fmla="*/ 6183425 w 6785952"/>
              <a:gd name="connsiteY9560" fmla="*/ 1792387 h 5217112"/>
              <a:gd name="connsiteX9561" fmla="*/ 6345083 w 6785952"/>
              <a:gd name="connsiteY9561" fmla="*/ 1774312 h 5217112"/>
              <a:gd name="connsiteX9562" fmla="*/ 6349067 w 6785952"/>
              <a:gd name="connsiteY9562" fmla="*/ 1777676 h 5217112"/>
              <a:gd name="connsiteX9563" fmla="*/ 6340001 w 6785952"/>
              <a:gd name="connsiteY9563" fmla="*/ 1781817 h 5217112"/>
              <a:gd name="connsiteX9564" fmla="*/ 6337804 w 6785952"/>
              <a:gd name="connsiteY9564" fmla="*/ 1775606 h 5217112"/>
              <a:gd name="connsiteX9565" fmla="*/ 6345083 w 6785952"/>
              <a:gd name="connsiteY9565" fmla="*/ 1774312 h 5217112"/>
              <a:gd name="connsiteX9566" fmla="*/ 6402769 w 6785952"/>
              <a:gd name="connsiteY9566" fmla="*/ 1769530 h 5217112"/>
              <a:gd name="connsiteX9567" fmla="*/ 6408400 w 6785952"/>
              <a:gd name="connsiteY9567" fmla="*/ 1772773 h 5217112"/>
              <a:gd name="connsiteX9568" fmla="*/ 6408675 w 6785952"/>
              <a:gd name="connsiteY9568" fmla="*/ 1776042 h 5217112"/>
              <a:gd name="connsiteX9569" fmla="*/ 6407850 w 6785952"/>
              <a:gd name="connsiteY9569" fmla="*/ 1779637 h 5217112"/>
              <a:gd name="connsiteX9570" fmla="*/ 6402631 w 6785952"/>
              <a:gd name="connsiteY9570" fmla="*/ 1785413 h 5217112"/>
              <a:gd name="connsiteX9571" fmla="*/ 6398512 w 6785952"/>
              <a:gd name="connsiteY9571" fmla="*/ 1785849 h 5217112"/>
              <a:gd name="connsiteX9572" fmla="*/ 6396313 w 6785952"/>
              <a:gd name="connsiteY9572" fmla="*/ 1784977 h 5217112"/>
              <a:gd name="connsiteX9573" fmla="*/ 6393567 w 6785952"/>
              <a:gd name="connsiteY9573" fmla="*/ 1783560 h 5217112"/>
              <a:gd name="connsiteX9574" fmla="*/ 6396313 w 6785952"/>
              <a:gd name="connsiteY9574" fmla="*/ 1770701 h 5217112"/>
              <a:gd name="connsiteX9575" fmla="*/ 6402769 w 6785952"/>
              <a:gd name="connsiteY9575" fmla="*/ 1769530 h 5217112"/>
              <a:gd name="connsiteX9576" fmla="*/ 6322421 w 6785952"/>
              <a:gd name="connsiteY9576" fmla="*/ 1769285 h 5217112"/>
              <a:gd name="connsiteX9577" fmla="*/ 6327366 w 6785952"/>
              <a:gd name="connsiteY9577" fmla="*/ 1772228 h 5217112"/>
              <a:gd name="connsiteX9578" fmla="*/ 6329014 w 6785952"/>
              <a:gd name="connsiteY9578" fmla="*/ 1785304 h 5217112"/>
              <a:gd name="connsiteX9579" fmla="*/ 6326816 w 6785952"/>
              <a:gd name="connsiteY9579" fmla="*/ 1787811 h 5217112"/>
              <a:gd name="connsiteX9580" fmla="*/ 6320772 w 6785952"/>
              <a:gd name="connsiteY9580" fmla="*/ 1782907 h 5217112"/>
              <a:gd name="connsiteX9581" fmla="*/ 6322421 w 6785952"/>
              <a:gd name="connsiteY9581" fmla="*/ 1769285 h 5217112"/>
              <a:gd name="connsiteX9582" fmla="*/ 6323520 w 6785952"/>
              <a:gd name="connsiteY9582" fmla="*/ 1752068 h 5217112"/>
              <a:gd name="connsiteX9583" fmla="*/ 6327640 w 6785952"/>
              <a:gd name="connsiteY9583" fmla="*/ 1754356 h 5217112"/>
              <a:gd name="connsiteX9584" fmla="*/ 6327640 w 6785952"/>
              <a:gd name="connsiteY9584" fmla="*/ 1757625 h 5217112"/>
              <a:gd name="connsiteX9585" fmla="*/ 6331211 w 6785952"/>
              <a:gd name="connsiteY9585" fmla="*/ 1761112 h 5217112"/>
              <a:gd name="connsiteX9586" fmla="*/ 6330112 w 6785952"/>
              <a:gd name="connsiteY9586" fmla="*/ 1763618 h 5217112"/>
              <a:gd name="connsiteX9587" fmla="*/ 6323245 w 6785952"/>
              <a:gd name="connsiteY9587" fmla="*/ 1756535 h 5217112"/>
              <a:gd name="connsiteX9588" fmla="*/ 6323520 w 6785952"/>
              <a:gd name="connsiteY9588" fmla="*/ 1752068 h 5217112"/>
              <a:gd name="connsiteX9589" fmla="*/ 6311433 w 6785952"/>
              <a:gd name="connsiteY9589" fmla="*/ 1751195 h 5217112"/>
              <a:gd name="connsiteX9590" fmla="*/ 6313356 w 6785952"/>
              <a:gd name="connsiteY9590" fmla="*/ 1754029 h 5217112"/>
              <a:gd name="connsiteX9591" fmla="*/ 6317202 w 6785952"/>
              <a:gd name="connsiteY9591" fmla="*/ 1762964 h 5217112"/>
              <a:gd name="connsiteX9592" fmla="*/ 6314180 w 6785952"/>
              <a:gd name="connsiteY9592" fmla="*/ 1764054 h 5217112"/>
              <a:gd name="connsiteX9593" fmla="*/ 6312806 w 6785952"/>
              <a:gd name="connsiteY9593" fmla="*/ 1762093 h 5217112"/>
              <a:gd name="connsiteX9594" fmla="*/ 6311433 w 6785952"/>
              <a:gd name="connsiteY9594" fmla="*/ 1757952 h 5217112"/>
              <a:gd name="connsiteX9595" fmla="*/ 6309510 w 6785952"/>
              <a:gd name="connsiteY9595" fmla="*/ 1755227 h 5217112"/>
              <a:gd name="connsiteX9596" fmla="*/ 6311433 w 6785952"/>
              <a:gd name="connsiteY9596" fmla="*/ 1751195 h 5217112"/>
              <a:gd name="connsiteX9597" fmla="*/ 6398786 w 6785952"/>
              <a:gd name="connsiteY9597" fmla="*/ 1744439 h 5217112"/>
              <a:gd name="connsiteX9598" fmla="*/ 6406203 w 6785952"/>
              <a:gd name="connsiteY9598" fmla="*/ 1748798 h 5217112"/>
              <a:gd name="connsiteX9599" fmla="*/ 6406477 w 6785952"/>
              <a:gd name="connsiteY9599" fmla="*/ 1752068 h 5217112"/>
              <a:gd name="connsiteX9600" fmla="*/ 6403456 w 6785952"/>
              <a:gd name="connsiteY9600" fmla="*/ 1752722 h 5217112"/>
              <a:gd name="connsiteX9601" fmla="*/ 6403456 w 6785952"/>
              <a:gd name="connsiteY9601" fmla="*/ 1756208 h 5217112"/>
              <a:gd name="connsiteX9602" fmla="*/ 6401533 w 6785952"/>
              <a:gd name="connsiteY9602" fmla="*/ 1761330 h 5217112"/>
              <a:gd name="connsiteX9603" fmla="*/ 6398237 w 6785952"/>
              <a:gd name="connsiteY9603" fmla="*/ 1763400 h 5217112"/>
              <a:gd name="connsiteX9604" fmla="*/ 6399335 w 6785952"/>
              <a:gd name="connsiteY9604" fmla="*/ 1764163 h 5217112"/>
              <a:gd name="connsiteX9605" fmla="*/ 6399061 w 6785952"/>
              <a:gd name="connsiteY9605" fmla="*/ 1766778 h 5217112"/>
              <a:gd name="connsiteX9606" fmla="*/ 6395764 w 6785952"/>
              <a:gd name="connsiteY9606" fmla="*/ 1768740 h 5217112"/>
              <a:gd name="connsiteX9607" fmla="*/ 6394666 w 6785952"/>
              <a:gd name="connsiteY9607" fmla="*/ 1765689 h 5217112"/>
              <a:gd name="connsiteX9608" fmla="*/ 6389446 w 6785952"/>
              <a:gd name="connsiteY9608" fmla="*/ 1768849 h 5217112"/>
              <a:gd name="connsiteX9609" fmla="*/ 6370493 w 6785952"/>
              <a:gd name="connsiteY9609" fmla="*/ 1771791 h 5217112"/>
              <a:gd name="connsiteX9610" fmla="*/ 6372690 w 6785952"/>
              <a:gd name="connsiteY9610" fmla="*/ 1753157 h 5217112"/>
              <a:gd name="connsiteX9611" fmla="*/ 6383952 w 6785952"/>
              <a:gd name="connsiteY9611" fmla="*/ 1746946 h 5217112"/>
              <a:gd name="connsiteX9612" fmla="*/ 6393018 w 6785952"/>
              <a:gd name="connsiteY9612" fmla="*/ 1748254 h 5217112"/>
              <a:gd name="connsiteX9613" fmla="*/ 6394940 w 6785952"/>
              <a:gd name="connsiteY9613" fmla="*/ 1748254 h 5217112"/>
              <a:gd name="connsiteX9614" fmla="*/ 6394391 w 6785952"/>
              <a:gd name="connsiteY9614" fmla="*/ 1746183 h 5217112"/>
              <a:gd name="connsiteX9615" fmla="*/ 6394940 w 6785952"/>
              <a:gd name="connsiteY9615" fmla="*/ 1745529 h 5217112"/>
              <a:gd name="connsiteX9616" fmla="*/ 6398786 w 6785952"/>
              <a:gd name="connsiteY9616" fmla="*/ 1744439 h 5217112"/>
              <a:gd name="connsiteX9617" fmla="*/ 6331760 w 6785952"/>
              <a:gd name="connsiteY9617" fmla="*/ 1712619 h 5217112"/>
              <a:gd name="connsiteX9618" fmla="*/ 6337254 w 6785952"/>
              <a:gd name="connsiteY9618" fmla="*/ 1713382 h 5217112"/>
              <a:gd name="connsiteX9619" fmla="*/ 6340825 w 6785952"/>
              <a:gd name="connsiteY9619" fmla="*/ 1720901 h 5217112"/>
              <a:gd name="connsiteX9620" fmla="*/ 6337529 w 6785952"/>
              <a:gd name="connsiteY9620" fmla="*/ 1721773 h 5217112"/>
              <a:gd name="connsiteX9621" fmla="*/ 6334507 w 6785952"/>
              <a:gd name="connsiteY9621" fmla="*/ 1721554 h 5217112"/>
              <a:gd name="connsiteX9622" fmla="*/ 6331760 w 6785952"/>
              <a:gd name="connsiteY9622" fmla="*/ 1712619 h 5217112"/>
              <a:gd name="connsiteX9623" fmla="*/ 6194138 w 6785952"/>
              <a:gd name="connsiteY9623" fmla="*/ 1703792 h 5217112"/>
              <a:gd name="connsiteX9624" fmla="*/ 6193314 w 6785952"/>
              <a:gd name="connsiteY9624" fmla="*/ 1704446 h 5217112"/>
              <a:gd name="connsiteX9625" fmla="*/ 6195237 w 6785952"/>
              <a:gd name="connsiteY9625" fmla="*/ 1706081 h 5217112"/>
              <a:gd name="connsiteX9626" fmla="*/ 6195237 w 6785952"/>
              <a:gd name="connsiteY9626" fmla="*/ 1705971 h 5217112"/>
              <a:gd name="connsiteX9627" fmla="*/ 6213642 w 6785952"/>
              <a:gd name="connsiteY9627" fmla="*/ 1700087 h 5217112"/>
              <a:gd name="connsiteX9628" fmla="*/ 6212268 w 6785952"/>
              <a:gd name="connsiteY9628" fmla="*/ 1700196 h 5217112"/>
              <a:gd name="connsiteX9629" fmla="*/ 6211993 w 6785952"/>
              <a:gd name="connsiteY9629" fmla="*/ 1700306 h 5217112"/>
              <a:gd name="connsiteX9630" fmla="*/ 6213093 w 6785952"/>
              <a:gd name="connsiteY9630" fmla="*/ 1700741 h 5217112"/>
              <a:gd name="connsiteX9631" fmla="*/ 6213093 w 6785952"/>
              <a:gd name="connsiteY9631" fmla="*/ 1701068 h 5217112"/>
              <a:gd name="connsiteX9632" fmla="*/ 6213642 w 6785952"/>
              <a:gd name="connsiteY9632" fmla="*/ 1700414 h 5217112"/>
              <a:gd name="connsiteX9633" fmla="*/ 6276547 w 6785952"/>
              <a:gd name="connsiteY9633" fmla="*/ 1691696 h 5217112"/>
              <a:gd name="connsiteX9634" fmla="*/ 6314455 w 6785952"/>
              <a:gd name="connsiteY9634" fmla="*/ 1721228 h 5217112"/>
              <a:gd name="connsiteX9635" fmla="*/ 6309235 w 6785952"/>
              <a:gd name="connsiteY9635" fmla="*/ 1722318 h 5217112"/>
              <a:gd name="connsiteX9636" fmla="*/ 6302643 w 6785952"/>
              <a:gd name="connsiteY9636" fmla="*/ 1721228 h 5217112"/>
              <a:gd name="connsiteX9637" fmla="*/ 6276547 w 6785952"/>
              <a:gd name="connsiteY9637" fmla="*/ 1691696 h 5217112"/>
              <a:gd name="connsiteX9638" fmla="*/ 6447957 w 6785952"/>
              <a:gd name="connsiteY9638" fmla="*/ 1679491 h 5217112"/>
              <a:gd name="connsiteX9639" fmla="*/ 6455098 w 6785952"/>
              <a:gd name="connsiteY9639" fmla="*/ 1679491 h 5217112"/>
              <a:gd name="connsiteX9640" fmla="*/ 6457846 w 6785952"/>
              <a:gd name="connsiteY9640" fmla="*/ 1714362 h 5217112"/>
              <a:gd name="connsiteX9641" fmla="*/ 6447957 w 6785952"/>
              <a:gd name="connsiteY9641" fmla="*/ 1679491 h 5217112"/>
              <a:gd name="connsiteX9642" fmla="*/ 6261713 w 6785952"/>
              <a:gd name="connsiteY9642" fmla="*/ 1640370 h 5217112"/>
              <a:gd name="connsiteX9643" fmla="*/ 6264735 w 6785952"/>
              <a:gd name="connsiteY9643" fmla="*/ 1649088 h 5217112"/>
              <a:gd name="connsiteX9644" fmla="*/ 6257593 w 6785952"/>
              <a:gd name="connsiteY9644" fmla="*/ 1644402 h 5217112"/>
              <a:gd name="connsiteX9645" fmla="*/ 6261713 w 6785952"/>
              <a:gd name="connsiteY9645" fmla="*/ 1640370 h 5217112"/>
              <a:gd name="connsiteX9646" fmla="*/ 6276272 w 6785952"/>
              <a:gd name="connsiteY9646" fmla="*/ 1621735 h 5217112"/>
              <a:gd name="connsiteX9647" fmla="*/ 6299071 w 6785952"/>
              <a:gd name="connsiteY9647" fmla="*/ 1649306 h 5217112"/>
              <a:gd name="connsiteX9648" fmla="*/ 6296599 w 6785952"/>
              <a:gd name="connsiteY9648" fmla="*/ 1657915 h 5217112"/>
              <a:gd name="connsiteX9649" fmla="*/ 6276272 w 6785952"/>
              <a:gd name="connsiteY9649" fmla="*/ 1621735 h 5217112"/>
              <a:gd name="connsiteX9650" fmla="*/ 2247047 w 6785952"/>
              <a:gd name="connsiteY9650" fmla="*/ 1615525 h 5217112"/>
              <a:gd name="connsiteX9651" fmla="*/ 2251992 w 6785952"/>
              <a:gd name="connsiteY9651" fmla="*/ 1618249 h 5217112"/>
              <a:gd name="connsiteX9652" fmla="*/ 2251443 w 6785952"/>
              <a:gd name="connsiteY9652" fmla="*/ 1619556 h 5217112"/>
              <a:gd name="connsiteX9653" fmla="*/ 2247047 w 6785952"/>
              <a:gd name="connsiteY9653" fmla="*/ 1615525 h 5217112"/>
              <a:gd name="connsiteX9654" fmla="*/ 2276715 w 6785952"/>
              <a:gd name="connsiteY9654" fmla="*/ 1615088 h 5217112"/>
              <a:gd name="connsiteX9655" fmla="*/ 2279736 w 6785952"/>
              <a:gd name="connsiteY9655" fmla="*/ 1617812 h 5217112"/>
              <a:gd name="connsiteX9656" fmla="*/ 2272594 w 6785952"/>
              <a:gd name="connsiteY9656" fmla="*/ 1631979 h 5217112"/>
              <a:gd name="connsiteX9657" fmla="*/ 2269573 w 6785952"/>
              <a:gd name="connsiteY9657" fmla="*/ 1628492 h 5217112"/>
              <a:gd name="connsiteX9658" fmla="*/ 2276715 w 6785952"/>
              <a:gd name="connsiteY9658" fmla="*/ 1615088 h 5217112"/>
              <a:gd name="connsiteX9659" fmla="*/ 6340551 w 6785952"/>
              <a:gd name="connsiteY9659" fmla="*/ 1610948 h 5217112"/>
              <a:gd name="connsiteX9660" fmla="*/ 6347143 w 6785952"/>
              <a:gd name="connsiteY9660" fmla="*/ 1615742 h 5217112"/>
              <a:gd name="connsiteX9661" fmla="*/ 6341924 w 6785952"/>
              <a:gd name="connsiteY9661" fmla="*/ 1622717 h 5217112"/>
              <a:gd name="connsiteX9662" fmla="*/ 6335057 w 6785952"/>
              <a:gd name="connsiteY9662" fmla="*/ 1618357 h 5217112"/>
              <a:gd name="connsiteX9663" fmla="*/ 6335057 w 6785952"/>
              <a:gd name="connsiteY9663" fmla="*/ 1614652 h 5217112"/>
              <a:gd name="connsiteX9664" fmla="*/ 6336155 w 6785952"/>
              <a:gd name="connsiteY9664" fmla="*/ 1613998 h 5217112"/>
              <a:gd name="connsiteX9665" fmla="*/ 6340551 w 6785952"/>
              <a:gd name="connsiteY9665" fmla="*/ 1610948 h 5217112"/>
              <a:gd name="connsiteX9666" fmla="*/ 6503994 w 6785952"/>
              <a:gd name="connsiteY9666" fmla="*/ 1600922 h 5217112"/>
              <a:gd name="connsiteX9667" fmla="*/ 6508389 w 6785952"/>
              <a:gd name="connsiteY9667" fmla="*/ 1601793 h 5217112"/>
              <a:gd name="connsiteX9668" fmla="*/ 6515531 w 6785952"/>
              <a:gd name="connsiteY9668" fmla="*/ 1607460 h 5217112"/>
              <a:gd name="connsiteX9669" fmla="*/ 6516080 w 6785952"/>
              <a:gd name="connsiteY9669" fmla="*/ 1606261 h 5217112"/>
              <a:gd name="connsiteX9670" fmla="*/ 6513883 w 6785952"/>
              <a:gd name="connsiteY9670" fmla="*/ 1614652 h 5217112"/>
              <a:gd name="connsiteX9671" fmla="*/ 6506467 w 6785952"/>
              <a:gd name="connsiteY9671" fmla="*/ 1617050 h 5217112"/>
              <a:gd name="connsiteX9672" fmla="*/ 6497127 w 6785952"/>
              <a:gd name="connsiteY9672" fmla="*/ 1608332 h 5217112"/>
              <a:gd name="connsiteX9673" fmla="*/ 6503994 w 6785952"/>
              <a:gd name="connsiteY9673" fmla="*/ 1600922 h 5217112"/>
              <a:gd name="connsiteX9674" fmla="*/ 2258310 w 6785952"/>
              <a:gd name="connsiteY9674" fmla="*/ 1589480 h 5217112"/>
              <a:gd name="connsiteX9675" fmla="*/ 2263254 w 6785952"/>
              <a:gd name="connsiteY9675" fmla="*/ 1594275 h 5217112"/>
              <a:gd name="connsiteX9676" fmla="*/ 2264628 w 6785952"/>
              <a:gd name="connsiteY9676" fmla="*/ 1598198 h 5217112"/>
              <a:gd name="connsiteX9677" fmla="*/ 2266002 w 6785952"/>
              <a:gd name="connsiteY9677" fmla="*/ 1596454 h 5217112"/>
              <a:gd name="connsiteX9678" fmla="*/ 2273418 w 6785952"/>
              <a:gd name="connsiteY9678" fmla="*/ 1596999 h 5217112"/>
              <a:gd name="connsiteX9679" fmla="*/ 2263529 w 6785952"/>
              <a:gd name="connsiteY9679" fmla="*/ 1604082 h 5217112"/>
              <a:gd name="connsiteX9680" fmla="*/ 2263804 w 6785952"/>
              <a:gd name="connsiteY9680" fmla="*/ 1603428 h 5217112"/>
              <a:gd name="connsiteX9681" fmla="*/ 2262705 w 6785952"/>
              <a:gd name="connsiteY9681" fmla="*/ 1604736 h 5217112"/>
              <a:gd name="connsiteX9682" fmla="*/ 2256936 w 6785952"/>
              <a:gd name="connsiteY9682" fmla="*/ 1604845 h 5217112"/>
              <a:gd name="connsiteX9683" fmla="*/ 2252816 w 6785952"/>
              <a:gd name="connsiteY9683" fmla="*/ 1602774 h 5217112"/>
              <a:gd name="connsiteX9684" fmla="*/ 2250893 w 6785952"/>
              <a:gd name="connsiteY9684" fmla="*/ 1598089 h 5217112"/>
              <a:gd name="connsiteX9685" fmla="*/ 2251443 w 6785952"/>
              <a:gd name="connsiteY9685" fmla="*/ 1593947 h 5217112"/>
              <a:gd name="connsiteX9686" fmla="*/ 2258310 w 6785952"/>
              <a:gd name="connsiteY9686" fmla="*/ 1589480 h 5217112"/>
              <a:gd name="connsiteX9687" fmla="*/ 6469726 w 6785952"/>
              <a:gd name="connsiteY9687" fmla="*/ 1583064 h 5217112"/>
              <a:gd name="connsiteX9688" fmla="*/ 6480920 w 6785952"/>
              <a:gd name="connsiteY9688" fmla="*/ 1584249 h 5217112"/>
              <a:gd name="connsiteX9689" fmla="*/ 6486139 w 6785952"/>
              <a:gd name="connsiteY9689" fmla="*/ 1600595 h 5217112"/>
              <a:gd name="connsiteX9690" fmla="*/ 6477623 w 6785952"/>
              <a:gd name="connsiteY9690" fmla="*/ 1608332 h 5217112"/>
              <a:gd name="connsiteX9691" fmla="*/ 6479547 w 6785952"/>
              <a:gd name="connsiteY9691" fmla="*/ 1623043 h 5217112"/>
              <a:gd name="connsiteX9692" fmla="*/ 6468559 w 6785952"/>
              <a:gd name="connsiteY9692" fmla="*/ 1631653 h 5217112"/>
              <a:gd name="connsiteX9693" fmla="*/ 6456746 w 6785952"/>
              <a:gd name="connsiteY9693" fmla="*/ 1627838 h 5217112"/>
              <a:gd name="connsiteX9694" fmla="*/ 6458944 w 6785952"/>
              <a:gd name="connsiteY9694" fmla="*/ 1609204 h 5217112"/>
              <a:gd name="connsiteX9695" fmla="*/ 6464713 w 6785952"/>
              <a:gd name="connsiteY9695" fmla="*/ 1606152 h 5217112"/>
              <a:gd name="connsiteX9696" fmla="*/ 6463889 w 6785952"/>
              <a:gd name="connsiteY9696" fmla="*/ 1585884 h 5217112"/>
              <a:gd name="connsiteX9697" fmla="*/ 6469726 w 6785952"/>
              <a:gd name="connsiteY9697" fmla="*/ 1583064 h 5217112"/>
              <a:gd name="connsiteX9698" fmla="*/ 6361084 w 6785952"/>
              <a:gd name="connsiteY9698" fmla="*/ 1582901 h 5217112"/>
              <a:gd name="connsiteX9699" fmla="*/ 6372690 w 6785952"/>
              <a:gd name="connsiteY9699" fmla="*/ 1583595 h 5217112"/>
              <a:gd name="connsiteX9700" fmla="*/ 6376811 w 6785952"/>
              <a:gd name="connsiteY9700" fmla="*/ 1587518 h 5217112"/>
              <a:gd name="connsiteX9701" fmla="*/ 6379283 w 6785952"/>
              <a:gd name="connsiteY9701" fmla="*/ 1586755 h 5217112"/>
              <a:gd name="connsiteX9702" fmla="*/ 6377635 w 6785952"/>
              <a:gd name="connsiteY9702" fmla="*/ 1607787 h 5217112"/>
              <a:gd name="connsiteX9703" fmla="*/ 6366647 w 6785952"/>
              <a:gd name="connsiteY9703" fmla="*/ 1614652 h 5217112"/>
              <a:gd name="connsiteX9704" fmla="*/ 6355659 w 6785952"/>
              <a:gd name="connsiteY9704" fmla="*/ 1611057 h 5217112"/>
              <a:gd name="connsiteX9705" fmla="*/ 6347967 w 6785952"/>
              <a:gd name="connsiteY9705" fmla="*/ 1595474 h 5217112"/>
              <a:gd name="connsiteX9706" fmla="*/ 6352362 w 6785952"/>
              <a:gd name="connsiteY9706" fmla="*/ 1591551 h 5217112"/>
              <a:gd name="connsiteX9707" fmla="*/ 6351539 w 6785952"/>
              <a:gd name="connsiteY9707" fmla="*/ 1589153 h 5217112"/>
              <a:gd name="connsiteX9708" fmla="*/ 6361084 w 6785952"/>
              <a:gd name="connsiteY9708" fmla="*/ 1582901 h 5217112"/>
              <a:gd name="connsiteX9709" fmla="*/ 6508767 w 6785952"/>
              <a:gd name="connsiteY9709" fmla="*/ 1560452 h 5217112"/>
              <a:gd name="connsiteX9710" fmla="*/ 6517180 w 6785952"/>
              <a:gd name="connsiteY9710" fmla="*/ 1569538 h 5217112"/>
              <a:gd name="connsiteX9711" fmla="*/ 6516630 w 6785952"/>
              <a:gd name="connsiteY9711" fmla="*/ 1586538 h 5217112"/>
              <a:gd name="connsiteX9712" fmla="*/ 6509488 w 6785952"/>
              <a:gd name="connsiteY9712" fmla="*/ 1592749 h 5217112"/>
              <a:gd name="connsiteX9713" fmla="*/ 6503170 w 6785952"/>
              <a:gd name="connsiteY9713" fmla="*/ 1594710 h 5217112"/>
              <a:gd name="connsiteX9714" fmla="*/ 6485315 w 6785952"/>
              <a:gd name="connsiteY9714" fmla="*/ 1582287 h 5217112"/>
              <a:gd name="connsiteX9715" fmla="*/ 6483941 w 6785952"/>
              <a:gd name="connsiteY9715" fmla="*/ 1578255 h 5217112"/>
              <a:gd name="connsiteX9716" fmla="*/ 6479821 w 6785952"/>
              <a:gd name="connsiteY9716" fmla="*/ 1572807 h 5217112"/>
              <a:gd name="connsiteX9717" fmla="*/ 6493556 w 6785952"/>
              <a:gd name="connsiteY9717" fmla="*/ 1560928 h 5217112"/>
              <a:gd name="connsiteX9718" fmla="*/ 6508767 w 6785952"/>
              <a:gd name="connsiteY9718" fmla="*/ 1560452 h 5217112"/>
              <a:gd name="connsiteX9719" fmla="*/ 2260156 w 6785952"/>
              <a:gd name="connsiteY9719" fmla="*/ 1557617 h 5217112"/>
              <a:gd name="connsiteX9720" fmla="*/ 2280011 w 6785952"/>
              <a:gd name="connsiteY9720" fmla="*/ 1589262 h 5217112"/>
              <a:gd name="connsiteX9721" fmla="*/ 2249520 w 6785952"/>
              <a:gd name="connsiteY9721" fmla="*/ 1558096 h 5217112"/>
              <a:gd name="connsiteX9722" fmla="*/ 2260156 w 6785952"/>
              <a:gd name="connsiteY9722" fmla="*/ 1557617 h 5217112"/>
              <a:gd name="connsiteX9723" fmla="*/ 2314623 w 6785952"/>
              <a:gd name="connsiteY9723" fmla="*/ 1557442 h 5217112"/>
              <a:gd name="connsiteX9724" fmla="*/ 2309403 w 6785952"/>
              <a:gd name="connsiteY9724" fmla="*/ 1563326 h 5217112"/>
              <a:gd name="connsiteX9725" fmla="*/ 2306107 w 6785952"/>
              <a:gd name="connsiteY9725" fmla="*/ 1563217 h 5217112"/>
              <a:gd name="connsiteX9726" fmla="*/ 2307206 w 6785952"/>
              <a:gd name="connsiteY9726" fmla="*/ 1565179 h 5217112"/>
              <a:gd name="connsiteX9727" fmla="*/ 2307206 w 6785952"/>
              <a:gd name="connsiteY9727" fmla="*/ 1568557 h 5217112"/>
              <a:gd name="connsiteX9728" fmla="*/ 2309953 w 6785952"/>
              <a:gd name="connsiteY9728" fmla="*/ 1565724 h 5217112"/>
              <a:gd name="connsiteX9729" fmla="*/ 2226171 w 6785952"/>
              <a:gd name="connsiteY9729" fmla="*/ 1520064 h 5217112"/>
              <a:gd name="connsiteX9730" fmla="*/ 2231940 w 6785952"/>
              <a:gd name="connsiteY9730" fmla="*/ 1531506 h 5217112"/>
              <a:gd name="connsiteX9731" fmla="*/ 2216831 w 6785952"/>
              <a:gd name="connsiteY9731" fmla="*/ 1538153 h 5217112"/>
              <a:gd name="connsiteX9732" fmla="*/ 2211337 w 6785952"/>
              <a:gd name="connsiteY9732" fmla="*/ 1537718 h 5217112"/>
              <a:gd name="connsiteX9733" fmla="*/ 2226171 w 6785952"/>
              <a:gd name="connsiteY9733" fmla="*/ 1520064 h 5217112"/>
              <a:gd name="connsiteX9734" fmla="*/ 885661 w 6785952"/>
              <a:gd name="connsiteY9734" fmla="*/ 1507968 h 5217112"/>
              <a:gd name="connsiteX9735" fmla="*/ 889506 w 6785952"/>
              <a:gd name="connsiteY9735" fmla="*/ 1508840 h 5217112"/>
              <a:gd name="connsiteX9736" fmla="*/ 888132 w 6785952"/>
              <a:gd name="connsiteY9736" fmla="*/ 1509930 h 5217112"/>
              <a:gd name="connsiteX9737" fmla="*/ 885661 w 6785952"/>
              <a:gd name="connsiteY9737" fmla="*/ 1507968 h 5217112"/>
              <a:gd name="connsiteX9738" fmla="*/ 2338246 w 6785952"/>
              <a:gd name="connsiteY9738" fmla="*/ 1502519 h 5217112"/>
              <a:gd name="connsiteX9739" fmla="*/ 2337148 w 6785952"/>
              <a:gd name="connsiteY9739" fmla="*/ 1502847 h 5217112"/>
              <a:gd name="connsiteX9740" fmla="*/ 2337971 w 6785952"/>
              <a:gd name="connsiteY9740" fmla="*/ 1502737 h 5217112"/>
              <a:gd name="connsiteX9741" fmla="*/ 2194032 w 6785952"/>
              <a:gd name="connsiteY9741" fmla="*/ 1502410 h 5217112"/>
              <a:gd name="connsiteX9742" fmla="*/ 2208315 w 6785952"/>
              <a:gd name="connsiteY9742" fmla="*/ 1509602 h 5217112"/>
              <a:gd name="connsiteX9743" fmla="*/ 2195405 w 6785952"/>
              <a:gd name="connsiteY9743" fmla="*/ 1520172 h 5217112"/>
              <a:gd name="connsiteX9744" fmla="*/ 2190186 w 6785952"/>
              <a:gd name="connsiteY9744" fmla="*/ 1517013 h 5217112"/>
              <a:gd name="connsiteX9745" fmla="*/ 2194032 w 6785952"/>
              <a:gd name="connsiteY9745" fmla="*/ 1502410 h 5217112"/>
              <a:gd name="connsiteX9746" fmla="*/ 2262430 w 6785952"/>
              <a:gd name="connsiteY9746" fmla="*/ 1498705 h 5217112"/>
              <a:gd name="connsiteX9747" fmla="*/ 2271770 w 6785952"/>
              <a:gd name="connsiteY9747" fmla="*/ 1514397 h 5217112"/>
              <a:gd name="connsiteX9748" fmla="*/ 2271496 w 6785952"/>
              <a:gd name="connsiteY9748" fmla="*/ 1532160 h 5217112"/>
              <a:gd name="connsiteX9749" fmla="*/ 2262430 w 6785952"/>
              <a:gd name="connsiteY9749" fmla="*/ 1498705 h 5217112"/>
              <a:gd name="connsiteX9750" fmla="*/ 2283307 w 6785952"/>
              <a:gd name="connsiteY9750" fmla="*/ 1492167 h 5217112"/>
              <a:gd name="connsiteX9751" fmla="*/ 2289350 w 6785952"/>
              <a:gd name="connsiteY9751" fmla="*/ 1505134 h 5217112"/>
              <a:gd name="connsiteX9752" fmla="*/ 2287153 w 6785952"/>
              <a:gd name="connsiteY9752" fmla="*/ 1507205 h 5217112"/>
              <a:gd name="connsiteX9753" fmla="*/ 2289076 w 6785952"/>
              <a:gd name="connsiteY9753" fmla="*/ 1509385 h 5217112"/>
              <a:gd name="connsiteX9754" fmla="*/ 2290999 w 6785952"/>
              <a:gd name="connsiteY9754" fmla="*/ 1512654 h 5217112"/>
              <a:gd name="connsiteX9755" fmla="*/ 2286329 w 6785952"/>
              <a:gd name="connsiteY9755" fmla="*/ 1517557 h 5217112"/>
              <a:gd name="connsiteX9756" fmla="*/ 2281659 w 6785952"/>
              <a:gd name="connsiteY9756" fmla="*/ 1514942 h 5217112"/>
              <a:gd name="connsiteX9757" fmla="*/ 2281110 w 6785952"/>
              <a:gd name="connsiteY9757" fmla="*/ 1510584 h 5217112"/>
              <a:gd name="connsiteX9758" fmla="*/ 2284955 w 6785952"/>
              <a:gd name="connsiteY9758" fmla="*/ 1506442 h 5217112"/>
              <a:gd name="connsiteX9759" fmla="*/ 2283033 w 6785952"/>
              <a:gd name="connsiteY9759" fmla="*/ 1505134 h 5217112"/>
              <a:gd name="connsiteX9760" fmla="*/ 2283307 w 6785952"/>
              <a:gd name="connsiteY9760" fmla="*/ 1492167 h 5217112"/>
              <a:gd name="connsiteX9761" fmla="*/ 6333134 w 6785952"/>
              <a:gd name="connsiteY9761" fmla="*/ 1484866 h 5217112"/>
              <a:gd name="connsiteX9762" fmla="*/ 6338903 w 6785952"/>
              <a:gd name="connsiteY9762" fmla="*/ 1485520 h 5217112"/>
              <a:gd name="connsiteX9763" fmla="*/ 6342748 w 6785952"/>
              <a:gd name="connsiteY9763" fmla="*/ 1489443 h 5217112"/>
              <a:gd name="connsiteX9764" fmla="*/ 6376536 w 6785952"/>
              <a:gd name="connsiteY9764" fmla="*/ 1489879 h 5217112"/>
              <a:gd name="connsiteX9765" fmla="*/ 6392194 w 6785952"/>
              <a:gd name="connsiteY9765" fmla="*/ 1541205 h 5217112"/>
              <a:gd name="connsiteX9766" fmla="*/ 6383678 w 6785952"/>
              <a:gd name="connsiteY9766" fmla="*/ 1553082 h 5217112"/>
              <a:gd name="connsiteX9767" fmla="*/ 6390820 w 6785952"/>
              <a:gd name="connsiteY9767" fmla="*/ 1552320 h 5217112"/>
              <a:gd name="connsiteX9768" fmla="*/ 6390820 w 6785952"/>
              <a:gd name="connsiteY9768" fmla="*/ 1570627 h 5217112"/>
              <a:gd name="connsiteX9769" fmla="*/ 6371042 w 6785952"/>
              <a:gd name="connsiteY9769" fmla="*/ 1582832 h 5217112"/>
              <a:gd name="connsiteX9770" fmla="*/ 6362801 w 6785952"/>
              <a:gd name="connsiteY9770" fmla="*/ 1575204 h 5217112"/>
              <a:gd name="connsiteX9771" fmla="*/ 6364174 w 6785952"/>
              <a:gd name="connsiteY9771" fmla="*/ 1566050 h 5217112"/>
              <a:gd name="connsiteX9772" fmla="*/ 6361702 w 6785952"/>
              <a:gd name="connsiteY9772" fmla="*/ 1567140 h 5217112"/>
              <a:gd name="connsiteX9773" fmla="*/ 6350165 w 6785952"/>
              <a:gd name="connsiteY9773" fmla="*/ 1568230 h 5217112"/>
              <a:gd name="connsiteX9774" fmla="*/ 6335606 w 6785952"/>
              <a:gd name="connsiteY9774" fmla="*/ 1563762 h 5217112"/>
              <a:gd name="connsiteX9775" fmla="*/ 6325992 w 6785952"/>
              <a:gd name="connsiteY9775" fmla="*/ 1555371 h 5217112"/>
              <a:gd name="connsiteX9776" fmla="*/ 6317202 w 6785952"/>
              <a:gd name="connsiteY9776" fmla="*/ 1553301 h 5217112"/>
              <a:gd name="connsiteX9777" fmla="*/ 6309785 w 6785952"/>
              <a:gd name="connsiteY9777" fmla="*/ 1548942 h 5217112"/>
              <a:gd name="connsiteX9778" fmla="*/ 6308137 w 6785952"/>
              <a:gd name="connsiteY9778" fmla="*/ 1544365 h 5217112"/>
              <a:gd name="connsiteX9779" fmla="*/ 6315004 w 6785952"/>
              <a:gd name="connsiteY9779" fmla="*/ 1531615 h 5217112"/>
              <a:gd name="connsiteX9780" fmla="*/ 6317477 w 6785952"/>
              <a:gd name="connsiteY9780" fmla="*/ 1530634 h 5217112"/>
              <a:gd name="connsiteX9781" fmla="*/ 6316927 w 6785952"/>
              <a:gd name="connsiteY9781" fmla="*/ 1526929 h 5217112"/>
              <a:gd name="connsiteX9782" fmla="*/ 6321597 w 6785952"/>
              <a:gd name="connsiteY9782" fmla="*/ 1513089 h 5217112"/>
              <a:gd name="connsiteX9783" fmla="*/ 6339452 w 6785952"/>
              <a:gd name="connsiteY9783" fmla="*/ 1491730 h 5217112"/>
              <a:gd name="connsiteX9784" fmla="*/ 6333134 w 6785952"/>
              <a:gd name="connsiteY9784" fmla="*/ 1484866 h 5217112"/>
              <a:gd name="connsiteX9785" fmla="*/ 2321078 w 6785952"/>
              <a:gd name="connsiteY9785" fmla="*/ 1473628 h 5217112"/>
              <a:gd name="connsiteX9786" fmla="*/ 2323413 w 6785952"/>
              <a:gd name="connsiteY9786" fmla="*/ 1481597 h 5217112"/>
              <a:gd name="connsiteX9787" fmla="*/ 2312975 w 6785952"/>
              <a:gd name="connsiteY9787" fmla="*/ 1478981 h 5217112"/>
              <a:gd name="connsiteX9788" fmla="*/ 2321078 w 6785952"/>
              <a:gd name="connsiteY9788" fmla="*/ 1473628 h 5217112"/>
              <a:gd name="connsiteX9789" fmla="*/ 2283307 w 6785952"/>
              <a:gd name="connsiteY9789" fmla="*/ 1454026 h 5217112"/>
              <a:gd name="connsiteX9790" fmla="*/ 2284955 w 6785952"/>
              <a:gd name="connsiteY9790" fmla="*/ 1457840 h 5217112"/>
              <a:gd name="connsiteX9791" fmla="*/ 2281110 w 6785952"/>
              <a:gd name="connsiteY9791" fmla="*/ 1476147 h 5217112"/>
              <a:gd name="connsiteX9792" fmla="*/ 2279461 w 6785952"/>
              <a:gd name="connsiteY9792" fmla="*/ 1472334 h 5217112"/>
              <a:gd name="connsiteX9793" fmla="*/ 2283307 w 6785952"/>
              <a:gd name="connsiteY9793" fmla="*/ 1454026 h 5217112"/>
              <a:gd name="connsiteX9794" fmla="*/ 2243202 w 6785952"/>
              <a:gd name="connsiteY9794" fmla="*/ 1452718 h 5217112"/>
              <a:gd name="connsiteX9795" fmla="*/ 2250069 w 6785952"/>
              <a:gd name="connsiteY9795" fmla="*/ 1453046 h 5217112"/>
              <a:gd name="connsiteX9796" fmla="*/ 2272869 w 6785952"/>
              <a:gd name="connsiteY9796" fmla="*/ 1460020 h 5217112"/>
              <a:gd name="connsiteX9797" fmla="*/ 2263254 w 6785952"/>
              <a:gd name="connsiteY9797" fmla="*/ 1461218 h 5217112"/>
              <a:gd name="connsiteX9798" fmla="*/ 2240455 w 6785952"/>
              <a:gd name="connsiteY9798" fmla="*/ 1460020 h 5217112"/>
              <a:gd name="connsiteX9799" fmla="*/ 2237708 w 6785952"/>
              <a:gd name="connsiteY9799" fmla="*/ 1456969 h 5217112"/>
              <a:gd name="connsiteX9800" fmla="*/ 2236059 w 6785952"/>
              <a:gd name="connsiteY9800" fmla="*/ 1456860 h 5217112"/>
              <a:gd name="connsiteX9801" fmla="*/ 2234686 w 6785952"/>
              <a:gd name="connsiteY9801" fmla="*/ 1453808 h 5217112"/>
              <a:gd name="connsiteX9802" fmla="*/ 2243202 w 6785952"/>
              <a:gd name="connsiteY9802" fmla="*/ 1452718 h 5217112"/>
              <a:gd name="connsiteX9803" fmla="*/ 2181395 w 6785952"/>
              <a:gd name="connsiteY9803" fmla="*/ 1446616 h 5217112"/>
              <a:gd name="connsiteX9804" fmla="*/ 2183593 w 6785952"/>
              <a:gd name="connsiteY9804" fmla="*/ 1455443 h 5217112"/>
              <a:gd name="connsiteX9805" fmla="*/ 2176176 w 6785952"/>
              <a:gd name="connsiteY9805" fmla="*/ 1458821 h 5217112"/>
              <a:gd name="connsiteX9806" fmla="*/ 2173430 w 6785952"/>
              <a:gd name="connsiteY9806" fmla="*/ 1456750 h 5217112"/>
              <a:gd name="connsiteX9807" fmla="*/ 2173430 w 6785952"/>
              <a:gd name="connsiteY9807" fmla="*/ 1455225 h 5217112"/>
              <a:gd name="connsiteX9808" fmla="*/ 2174253 w 6785952"/>
              <a:gd name="connsiteY9808" fmla="*/ 1449449 h 5217112"/>
              <a:gd name="connsiteX9809" fmla="*/ 2181395 w 6785952"/>
              <a:gd name="connsiteY9809" fmla="*/ 1446616 h 5217112"/>
              <a:gd name="connsiteX9810" fmla="*/ 930161 w 6785952"/>
              <a:gd name="connsiteY9810" fmla="*/ 1446616 h 5217112"/>
              <a:gd name="connsiteX9811" fmla="*/ 938127 w 6785952"/>
              <a:gd name="connsiteY9811" fmla="*/ 1455225 h 5217112"/>
              <a:gd name="connsiteX9812" fmla="*/ 943345 w 6785952"/>
              <a:gd name="connsiteY9812" fmla="*/ 1463289 h 5217112"/>
              <a:gd name="connsiteX9813" fmla="*/ 953510 w 6785952"/>
              <a:gd name="connsiteY9813" fmla="*/ 1492929 h 5217112"/>
              <a:gd name="connsiteX9814" fmla="*/ 944170 w 6785952"/>
              <a:gd name="connsiteY9814" fmla="*/ 1482904 h 5217112"/>
              <a:gd name="connsiteX9815" fmla="*/ 927688 w 6785952"/>
              <a:gd name="connsiteY9815" fmla="*/ 1457078 h 5217112"/>
              <a:gd name="connsiteX9816" fmla="*/ 929062 w 6785952"/>
              <a:gd name="connsiteY9816" fmla="*/ 1451847 h 5217112"/>
              <a:gd name="connsiteX9817" fmla="*/ 927963 w 6785952"/>
              <a:gd name="connsiteY9817" fmla="*/ 1450212 h 5217112"/>
              <a:gd name="connsiteX9818" fmla="*/ 930161 w 6785952"/>
              <a:gd name="connsiteY9818" fmla="*/ 1446616 h 5217112"/>
              <a:gd name="connsiteX9819" fmla="*/ 6421929 w 6785952"/>
              <a:gd name="connsiteY9819" fmla="*/ 1445363 h 5217112"/>
              <a:gd name="connsiteX9820" fmla="*/ 6435045 w 6785952"/>
              <a:gd name="connsiteY9820" fmla="*/ 1452392 h 5217112"/>
              <a:gd name="connsiteX9821" fmla="*/ 6431200 w 6785952"/>
              <a:gd name="connsiteY9821" fmla="*/ 1459802 h 5217112"/>
              <a:gd name="connsiteX9822" fmla="*/ 6438617 w 6785952"/>
              <a:gd name="connsiteY9822" fmla="*/ 1463725 h 5217112"/>
              <a:gd name="connsiteX9823" fmla="*/ 6440814 w 6785952"/>
              <a:gd name="connsiteY9823" fmla="*/ 1465469 h 5217112"/>
              <a:gd name="connsiteX9824" fmla="*/ 6440539 w 6785952"/>
              <a:gd name="connsiteY9824" fmla="*/ 1461109 h 5217112"/>
              <a:gd name="connsiteX9825" fmla="*/ 6444660 w 6785952"/>
              <a:gd name="connsiteY9825" fmla="*/ 1452173 h 5217112"/>
              <a:gd name="connsiteX9826" fmla="*/ 6455098 w 6785952"/>
              <a:gd name="connsiteY9826" fmla="*/ 1461218 h 5217112"/>
              <a:gd name="connsiteX9827" fmla="*/ 6455648 w 6785952"/>
              <a:gd name="connsiteY9827" fmla="*/ 1467430 h 5217112"/>
              <a:gd name="connsiteX9828" fmla="*/ 6452901 w 6785952"/>
              <a:gd name="connsiteY9828" fmla="*/ 1472878 h 5217112"/>
              <a:gd name="connsiteX9829" fmla="*/ 6451802 w 6785952"/>
              <a:gd name="connsiteY9829" fmla="*/ 1477891 h 5217112"/>
              <a:gd name="connsiteX9830" fmla="*/ 6449879 w 6785952"/>
              <a:gd name="connsiteY9830" fmla="*/ 1480398 h 5217112"/>
              <a:gd name="connsiteX9831" fmla="*/ 6449879 w 6785952"/>
              <a:gd name="connsiteY9831" fmla="*/ 1481814 h 5217112"/>
              <a:gd name="connsiteX9832" fmla="*/ 6449330 w 6785952"/>
              <a:gd name="connsiteY9832" fmla="*/ 1481269 h 5217112"/>
              <a:gd name="connsiteX9833" fmla="*/ 6448781 w 6785952"/>
              <a:gd name="connsiteY9833" fmla="*/ 1481705 h 5217112"/>
              <a:gd name="connsiteX9834" fmla="*/ 6444111 w 6785952"/>
              <a:gd name="connsiteY9834" fmla="*/ 1481705 h 5217112"/>
              <a:gd name="connsiteX9835" fmla="*/ 6441913 w 6785952"/>
              <a:gd name="connsiteY9835" fmla="*/ 1479308 h 5217112"/>
              <a:gd name="connsiteX9836" fmla="*/ 6441639 w 6785952"/>
              <a:gd name="connsiteY9836" fmla="*/ 1475058 h 5217112"/>
              <a:gd name="connsiteX9837" fmla="*/ 6439990 w 6785952"/>
              <a:gd name="connsiteY9837" fmla="*/ 1473860 h 5217112"/>
              <a:gd name="connsiteX9838" fmla="*/ 6434221 w 6785952"/>
              <a:gd name="connsiteY9838" fmla="*/ 1468847 h 5217112"/>
              <a:gd name="connsiteX9839" fmla="*/ 6427079 w 6785952"/>
              <a:gd name="connsiteY9839" fmla="*/ 1463398 h 5217112"/>
              <a:gd name="connsiteX9840" fmla="*/ 6425157 w 6785952"/>
              <a:gd name="connsiteY9840" fmla="*/ 1464270 h 5217112"/>
              <a:gd name="connsiteX9841" fmla="*/ 6419388 w 6785952"/>
              <a:gd name="connsiteY9841" fmla="*/ 1458930 h 5217112"/>
              <a:gd name="connsiteX9842" fmla="*/ 6418838 w 6785952"/>
              <a:gd name="connsiteY9842" fmla="*/ 1456206 h 5217112"/>
              <a:gd name="connsiteX9843" fmla="*/ 6415542 w 6785952"/>
              <a:gd name="connsiteY9843" fmla="*/ 1453046 h 5217112"/>
              <a:gd name="connsiteX9844" fmla="*/ 6417465 w 6785952"/>
              <a:gd name="connsiteY9844" fmla="*/ 1449885 h 5217112"/>
              <a:gd name="connsiteX9845" fmla="*/ 6417465 w 6785952"/>
              <a:gd name="connsiteY9845" fmla="*/ 1450103 h 5217112"/>
              <a:gd name="connsiteX9846" fmla="*/ 6421929 w 6785952"/>
              <a:gd name="connsiteY9846" fmla="*/ 1445363 h 5217112"/>
              <a:gd name="connsiteX9847" fmla="*/ 6359505 w 6785952"/>
              <a:gd name="connsiteY9847" fmla="*/ 1445200 h 5217112"/>
              <a:gd name="connsiteX9848" fmla="*/ 6359505 w 6785952"/>
              <a:gd name="connsiteY9848" fmla="*/ 1455007 h 5217112"/>
              <a:gd name="connsiteX9849" fmla="*/ 6347143 w 6785952"/>
              <a:gd name="connsiteY9849" fmla="*/ 1460019 h 5217112"/>
              <a:gd name="connsiteX9850" fmla="*/ 6339452 w 6785952"/>
              <a:gd name="connsiteY9850" fmla="*/ 1460564 h 5217112"/>
              <a:gd name="connsiteX9851" fmla="*/ 6333134 w 6785952"/>
              <a:gd name="connsiteY9851" fmla="*/ 1459039 h 5217112"/>
              <a:gd name="connsiteX9852" fmla="*/ 6339727 w 6785952"/>
              <a:gd name="connsiteY9852" fmla="*/ 1447161 h 5217112"/>
              <a:gd name="connsiteX9853" fmla="*/ 6359505 w 6785952"/>
              <a:gd name="connsiteY9853" fmla="*/ 1445200 h 5217112"/>
              <a:gd name="connsiteX9854" fmla="*/ 6511686 w 6785952"/>
              <a:gd name="connsiteY9854" fmla="*/ 1424059 h 5217112"/>
              <a:gd name="connsiteX9855" fmla="*/ 6517180 w 6785952"/>
              <a:gd name="connsiteY9855" fmla="*/ 1428744 h 5217112"/>
              <a:gd name="connsiteX9856" fmla="*/ 6525969 w 6785952"/>
              <a:gd name="connsiteY9856" fmla="*/ 1431033 h 5217112"/>
              <a:gd name="connsiteX9857" fmla="*/ 6528442 w 6785952"/>
              <a:gd name="connsiteY9857" fmla="*/ 1434193 h 5217112"/>
              <a:gd name="connsiteX9858" fmla="*/ 6533387 w 6785952"/>
              <a:gd name="connsiteY9858" fmla="*/ 1454353 h 5217112"/>
              <a:gd name="connsiteX9859" fmla="*/ 6534211 w 6785952"/>
              <a:gd name="connsiteY9859" fmla="*/ 1452827 h 5217112"/>
              <a:gd name="connsiteX9860" fmla="*/ 6536134 w 6785952"/>
              <a:gd name="connsiteY9860" fmla="*/ 1463833 h 5217112"/>
              <a:gd name="connsiteX9861" fmla="*/ 6531189 w 6785952"/>
              <a:gd name="connsiteY9861" fmla="*/ 1469283 h 5217112"/>
              <a:gd name="connsiteX9862" fmla="*/ 6541078 w 6785952"/>
              <a:gd name="connsiteY9862" fmla="*/ 1483994 h 5217112"/>
              <a:gd name="connsiteX9863" fmla="*/ 6542451 w 6785952"/>
              <a:gd name="connsiteY9863" fmla="*/ 1484757 h 5217112"/>
              <a:gd name="connsiteX9864" fmla="*/ 6542451 w 6785952"/>
              <a:gd name="connsiteY9864" fmla="*/ 1488680 h 5217112"/>
              <a:gd name="connsiteX9865" fmla="*/ 6543275 w 6785952"/>
              <a:gd name="connsiteY9865" fmla="*/ 1487154 h 5217112"/>
              <a:gd name="connsiteX9866" fmla="*/ 6544375 w 6785952"/>
              <a:gd name="connsiteY9866" fmla="*/ 1499686 h 5217112"/>
              <a:gd name="connsiteX9867" fmla="*/ 6535310 w 6785952"/>
              <a:gd name="connsiteY9867" fmla="*/ 1526929 h 5217112"/>
              <a:gd name="connsiteX9868" fmla="*/ 6512235 w 6785952"/>
              <a:gd name="connsiteY9868" fmla="*/ 1541859 h 5217112"/>
              <a:gd name="connsiteX9869" fmla="*/ 6506741 w 6785952"/>
              <a:gd name="connsiteY9869" fmla="*/ 1542404 h 5217112"/>
              <a:gd name="connsiteX9870" fmla="*/ 6501522 w 6785952"/>
              <a:gd name="connsiteY9870" fmla="*/ 1540551 h 5217112"/>
              <a:gd name="connsiteX9871" fmla="*/ 6499873 w 6785952"/>
              <a:gd name="connsiteY9871" fmla="*/ 1539788 h 5217112"/>
              <a:gd name="connsiteX9872" fmla="*/ 6486963 w 6785952"/>
              <a:gd name="connsiteY9872" fmla="*/ 1537499 h 5217112"/>
              <a:gd name="connsiteX9873" fmla="*/ 6470207 w 6785952"/>
              <a:gd name="connsiteY9873" fmla="*/ 1513417 h 5217112"/>
              <a:gd name="connsiteX9874" fmla="*/ 6472678 w 6785952"/>
              <a:gd name="connsiteY9874" fmla="*/ 1512654 h 5217112"/>
              <a:gd name="connsiteX9875" fmla="*/ 6471305 w 6785952"/>
              <a:gd name="connsiteY9875" fmla="*/ 1507968 h 5217112"/>
              <a:gd name="connsiteX9876" fmla="*/ 6472953 w 6785952"/>
              <a:gd name="connsiteY9876" fmla="*/ 1504808 h 5217112"/>
              <a:gd name="connsiteX9877" fmla="*/ 6475426 w 6785952"/>
              <a:gd name="connsiteY9877" fmla="*/ 1478219 h 5217112"/>
              <a:gd name="connsiteX9878" fmla="*/ 6471580 w 6785952"/>
              <a:gd name="connsiteY9878" fmla="*/ 1456424 h 5217112"/>
              <a:gd name="connsiteX9879" fmla="*/ 6469932 w 6785952"/>
              <a:gd name="connsiteY9879" fmla="*/ 1455552 h 5217112"/>
              <a:gd name="connsiteX9880" fmla="*/ 6470756 w 6785952"/>
              <a:gd name="connsiteY9880" fmla="*/ 1454026 h 5217112"/>
              <a:gd name="connsiteX9881" fmla="*/ 6471855 w 6785952"/>
              <a:gd name="connsiteY9881" fmla="*/ 1452501 h 5217112"/>
              <a:gd name="connsiteX9882" fmla="*/ 6480645 w 6785952"/>
              <a:gd name="connsiteY9882" fmla="*/ 1432995 h 5217112"/>
              <a:gd name="connsiteX9883" fmla="*/ 6488062 w 6785952"/>
              <a:gd name="connsiteY9883" fmla="*/ 1430597 h 5217112"/>
              <a:gd name="connsiteX9884" fmla="*/ 6490535 w 6785952"/>
              <a:gd name="connsiteY9884" fmla="*/ 1429834 h 5217112"/>
              <a:gd name="connsiteX9885" fmla="*/ 6509213 w 6785952"/>
              <a:gd name="connsiteY9885" fmla="*/ 1424821 h 5217112"/>
              <a:gd name="connsiteX9886" fmla="*/ 6511686 w 6785952"/>
              <a:gd name="connsiteY9886" fmla="*/ 1424059 h 5217112"/>
              <a:gd name="connsiteX9887" fmla="*/ 2288527 w 6785952"/>
              <a:gd name="connsiteY9887" fmla="*/ 1412616 h 5217112"/>
              <a:gd name="connsiteX9888" fmla="*/ 2299240 w 6785952"/>
              <a:gd name="connsiteY9888" fmla="*/ 1437463 h 5217112"/>
              <a:gd name="connsiteX9889" fmla="*/ 2295119 w 6785952"/>
              <a:gd name="connsiteY9889" fmla="*/ 1440078 h 5217112"/>
              <a:gd name="connsiteX9890" fmla="*/ 2280835 w 6785952"/>
              <a:gd name="connsiteY9890" fmla="*/ 1429943 h 5217112"/>
              <a:gd name="connsiteX9891" fmla="*/ 2283033 w 6785952"/>
              <a:gd name="connsiteY9891" fmla="*/ 1413706 h 5217112"/>
              <a:gd name="connsiteX9892" fmla="*/ 2288527 w 6785952"/>
              <a:gd name="connsiteY9892" fmla="*/ 1412616 h 5217112"/>
              <a:gd name="connsiteX9893" fmla="*/ 2323688 w 6785952"/>
              <a:gd name="connsiteY9893" fmla="*/ 1412508 h 5217112"/>
              <a:gd name="connsiteX9894" fmla="*/ 2333576 w 6785952"/>
              <a:gd name="connsiteY9894" fmla="*/ 1413598 h 5217112"/>
              <a:gd name="connsiteX9895" fmla="*/ 2339345 w 6785952"/>
              <a:gd name="connsiteY9895" fmla="*/ 1424385 h 5217112"/>
              <a:gd name="connsiteX9896" fmla="*/ 2333851 w 6785952"/>
              <a:gd name="connsiteY9896" fmla="*/ 1425149 h 5217112"/>
              <a:gd name="connsiteX9897" fmla="*/ 2323688 w 6785952"/>
              <a:gd name="connsiteY9897" fmla="*/ 1412508 h 5217112"/>
              <a:gd name="connsiteX9898" fmla="*/ 6352362 w 6785952"/>
              <a:gd name="connsiteY9898" fmla="*/ 1411200 h 5217112"/>
              <a:gd name="connsiteX9899" fmla="*/ 6361153 w 6785952"/>
              <a:gd name="connsiteY9899" fmla="*/ 1412725 h 5217112"/>
              <a:gd name="connsiteX9900" fmla="*/ 6354560 w 6785952"/>
              <a:gd name="connsiteY9900" fmla="*/ 1428418 h 5217112"/>
              <a:gd name="connsiteX9901" fmla="*/ 6352362 w 6785952"/>
              <a:gd name="connsiteY9901" fmla="*/ 1411200 h 5217112"/>
              <a:gd name="connsiteX9902" fmla="*/ 6380656 w 6785952"/>
              <a:gd name="connsiteY9902" fmla="*/ 1410546 h 5217112"/>
              <a:gd name="connsiteX9903" fmla="*/ 6394940 w 6785952"/>
              <a:gd name="connsiteY9903" fmla="*/ 1435828 h 5217112"/>
              <a:gd name="connsiteX9904" fmla="*/ 6391369 w 6785952"/>
              <a:gd name="connsiteY9904" fmla="*/ 1438334 h 5217112"/>
              <a:gd name="connsiteX9905" fmla="*/ 6375437 w 6785952"/>
              <a:gd name="connsiteY9905" fmla="*/ 1411527 h 5217112"/>
              <a:gd name="connsiteX9906" fmla="*/ 6380656 w 6785952"/>
              <a:gd name="connsiteY9906" fmla="*/ 1410546 h 5217112"/>
              <a:gd name="connsiteX9907" fmla="*/ 2347586 w 6785952"/>
              <a:gd name="connsiteY9907" fmla="*/ 1404335 h 5217112"/>
              <a:gd name="connsiteX9908" fmla="*/ 2340994 w 6785952"/>
              <a:gd name="connsiteY9908" fmla="*/ 1414360 h 5217112"/>
              <a:gd name="connsiteX9909" fmla="*/ 2337148 w 6785952"/>
              <a:gd name="connsiteY9909" fmla="*/ 1414251 h 5217112"/>
              <a:gd name="connsiteX9910" fmla="*/ 2347586 w 6785952"/>
              <a:gd name="connsiteY9910" fmla="*/ 1404335 h 5217112"/>
              <a:gd name="connsiteX9911" fmla="*/ 6207599 w 6785952"/>
              <a:gd name="connsiteY9911" fmla="*/ 1401610 h 5217112"/>
              <a:gd name="connsiteX9912" fmla="*/ 6207874 w 6785952"/>
              <a:gd name="connsiteY9912" fmla="*/ 1401719 h 5217112"/>
              <a:gd name="connsiteX9913" fmla="*/ 6207874 w 6785952"/>
              <a:gd name="connsiteY9913" fmla="*/ 1401610 h 5217112"/>
              <a:gd name="connsiteX9914" fmla="*/ 1044983 w 6785952"/>
              <a:gd name="connsiteY9914" fmla="*/ 1383194 h 5217112"/>
              <a:gd name="connsiteX9915" fmla="*/ 1048829 w 6785952"/>
              <a:gd name="connsiteY9915" fmla="*/ 1387226 h 5217112"/>
              <a:gd name="connsiteX9916" fmla="*/ 1046356 w 6785952"/>
              <a:gd name="connsiteY9916" fmla="*/ 1388751 h 5217112"/>
              <a:gd name="connsiteX9917" fmla="*/ 1046906 w 6785952"/>
              <a:gd name="connsiteY9917" fmla="*/ 1389950 h 5217112"/>
              <a:gd name="connsiteX9918" fmla="*/ 1043884 w 6785952"/>
              <a:gd name="connsiteY9918" fmla="*/ 1390168 h 5217112"/>
              <a:gd name="connsiteX9919" fmla="*/ 1043335 w 6785952"/>
              <a:gd name="connsiteY9919" fmla="*/ 1388970 h 5217112"/>
              <a:gd name="connsiteX9920" fmla="*/ 1042786 w 6785952"/>
              <a:gd name="connsiteY9920" fmla="*/ 1388861 h 5217112"/>
              <a:gd name="connsiteX9921" fmla="*/ 1043335 w 6785952"/>
              <a:gd name="connsiteY9921" fmla="*/ 1385809 h 5217112"/>
              <a:gd name="connsiteX9922" fmla="*/ 1044983 w 6785952"/>
              <a:gd name="connsiteY9922" fmla="*/ 1383194 h 5217112"/>
              <a:gd name="connsiteX9923" fmla="*/ 6593819 w 6785952"/>
              <a:gd name="connsiteY9923" fmla="*/ 1382172 h 5217112"/>
              <a:gd name="connsiteX9924" fmla="*/ 6613597 w 6785952"/>
              <a:gd name="connsiteY9924" fmla="*/ 1385591 h 5217112"/>
              <a:gd name="connsiteX9925" fmla="*/ 6613048 w 6785952"/>
              <a:gd name="connsiteY9925" fmla="*/ 1383194 h 5217112"/>
              <a:gd name="connsiteX9926" fmla="*/ 6624585 w 6785952"/>
              <a:gd name="connsiteY9926" fmla="*/ 1394745 h 5217112"/>
              <a:gd name="connsiteX9927" fmla="*/ 6623761 w 6785952"/>
              <a:gd name="connsiteY9927" fmla="*/ 1396488 h 5217112"/>
              <a:gd name="connsiteX9928" fmla="*/ 6620740 w 6785952"/>
              <a:gd name="connsiteY9928" fmla="*/ 1430706 h 5217112"/>
              <a:gd name="connsiteX9929" fmla="*/ 6612499 w 6785952"/>
              <a:gd name="connsiteY9929" fmla="*/ 1434738 h 5217112"/>
              <a:gd name="connsiteX9930" fmla="*/ 6596292 w 6785952"/>
              <a:gd name="connsiteY9930" fmla="*/ 1442257 h 5217112"/>
              <a:gd name="connsiteX9931" fmla="*/ 6587226 w 6785952"/>
              <a:gd name="connsiteY9931" fmla="*/ 1440404 h 5217112"/>
              <a:gd name="connsiteX9932" fmla="*/ 6569371 w 6785952"/>
              <a:gd name="connsiteY9932" fmla="*/ 1407822 h 5217112"/>
              <a:gd name="connsiteX9933" fmla="*/ 6572943 w 6785952"/>
              <a:gd name="connsiteY9933" fmla="*/ 1397687 h 5217112"/>
              <a:gd name="connsiteX9934" fmla="*/ 6583930 w 6785952"/>
              <a:gd name="connsiteY9934" fmla="*/ 1385047 h 5217112"/>
              <a:gd name="connsiteX9935" fmla="*/ 6593819 w 6785952"/>
              <a:gd name="connsiteY9935" fmla="*/ 1382172 h 5217112"/>
              <a:gd name="connsiteX9936" fmla="*/ 2251717 w 6785952"/>
              <a:gd name="connsiteY9936" fmla="*/ 1380470 h 5217112"/>
              <a:gd name="connsiteX9937" fmla="*/ 2271496 w 6785952"/>
              <a:gd name="connsiteY9937" fmla="*/ 1399648 h 5217112"/>
              <a:gd name="connsiteX9938" fmla="*/ 2272594 w 6785952"/>
              <a:gd name="connsiteY9938" fmla="*/ 1426020 h 5217112"/>
              <a:gd name="connsiteX9939" fmla="*/ 2273143 w 6785952"/>
              <a:gd name="connsiteY9939" fmla="*/ 1425693 h 5217112"/>
              <a:gd name="connsiteX9940" fmla="*/ 2274242 w 6785952"/>
              <a:gd name="connsiteY9940" fmla="*/ 1426674 h 5217112"/>
              <a:gd name="connsiteX9941" fmla="*/ 2272045 w 6785952"/>
              <a:gd name="connsiteY9941" fmla="*/ 1432450 h 5217112"/>
              <a:gd name="connsiteX9942" fmla="*/ 2271496 w 6785952"/>
              <a:gd name="connsiteY9942" fmla="*/ 1430815 h 5217112"/>
              <a:gd name="connsiteX9943" fmla="*/ 2269023 w 6785952"/>
              <a:gd name="connsiteY9943" fmla="*/ 1434520 h 5217112"/>
              <a:gd name="connsiteX9944" fmla="*/ 2270397 w 6785952"/>
              <a:gd name="connsiteY9944" fmla="*/ 1437463 h 5217112"/>
              <a:gd name="connsiteX9945" fmla="*/ 2267375 w 6785952"/>
              <a:gd name="connsiteY9945" fmla="*/ 1440623 h 5217112"/>
              <a:gd name="connsiteX9946" fmla="*/ 2264628 w 6785952"/>
              <a:gd name="connsiteY9946" fmla="*/ 1441386 h 5217112"/>
              <a:gd name="connsiteX9947" fmla="*/ 2261606 w 6785952"/>
              <a:gd name="connsiteY9947" fmla="*/ 1445635 h 5217112"/>
              <a:gd name="connsiteX9948" fmla="*/ 2239356 w 6785952"/>
              <a:gd name="connsiteY9948" fmla="*/ 1428309 h 5217112"/>
              <a:gd name="connsiteX9949" fmla="*/ 2236059 w 6785952"/>
              <a:gd name="connsiteY9949" fmla="*/ 1416976 h 5217112"/>
              <a:gd name="connsiteX9950" fmla="*/ 2236059 w 6785952"/>
              <a:gd name="connsiteY9950" fmla="*/ 1416867 h 5217112"/>
              <a:gd name="connsiteX9951" fmla="*/ 2228643 w 6785952"/>
              <a:gd name="connsiteY9951" fmla="*/ 1419046 h 5217112"/>
              <a:gd name="connsiteX9952" fmla="*/ 2230566 w 6785952"/>
              <a:gd name="connsiteY9952" fmla="*/ 1390931 h 5217112"/>
              <a:gd name="connsiteX9953" fmla="*/ 2236059 w 6785952"/>
              <a:gd name="connsiteY9953" fmla="*/ 1397687 h 5217112"/>
              <a:gd name="connsiteX9954" fmla="*/ 2237159 w 6785952"/>
              <a:gd name="connsiteY9954" fmla="*/ 1401284 h 5217112"/>
              <a:gd name="connsiteX9955" fmla="*/ 2239905 w 6785952"/>
              <a:gd name="connsiteY9955" fmla="*/ 1392348 h 5217112"/>
              <a:gd name="connsiteX9956" fmla="*/ 2247322 w 6785952"/>
              <a:gd name="connsiteY9956" fmla="*/ 1381014 h 5217112"/>
              <a:gd name="connsiteX9957" fmla="*/ 2251717 w 6785952"/>
              <a:gd name="connsiteY9957" fmla="*/ 1380470 h 5217112"/>
              <a:gd name="connsiteX9958" fmla="*/ 2372308 w 6785952"/>
              <a:gd name="connsiteY9958" fmla="*/ 1373822 h 5217112"/>
              <a:gd name="connsiteX9959" fmla="*/ 2387416 w 6785952"/>
              <a:gd name="connsiteY9959" fmla="*/ 1384938 h 5217112"/>
              <a:gd name="connsiteX9960" fmla="*/ 2382747 w 6785952"/>
              <a:gd name="connsiteY9960" fmla="*/ 1389623 h 5217112"/>
              <a:gd name="connsiteX9961" fmla="*/ 2383846 w 6785952"/>
              <a:gd name="connsiteY9961" fmla="*/ 1389623 h 5217112"/>
              <a:gd name="connsiteX9962" fmla="*/ 2378077 w 6785952"/>
              <a:gd name="connsiteY9962" fmla="*/ 1397033 h 5217112"/>
              <a:gd name="connsiteX9963" fmla="*/ 2377527 w 6785952"/>
              <a:gd name="connsiteY9963" fmla="*/ 1399103 h 5217112"/>
              <a:gd name="connsiteX9964" fmla="*/ 2375055 w 6785952"/>
              <a:gd name="connsiteY9964" fmla="*/ 1405969 h 5217112"/>
              <a:gd name="connsiteX9965" fmla="*/ 2368463 w 6785952"/>
              <a:gd name="connsiteY9965" fmla="*/ 1403463 h 5217112"/>
              <a:gd name="connsiteX9966" fmla="*/ 2367364 w 6785952"/>
              <a:gd name="connsiteY9966" fmla="*/ 1404335 h 5217112"/>
              <a:gd name="connsiteX9967" fmla="*/ 2348410 w 6785952"/>
              <a:gd name="connsiteY9967" fmla="*/ 1407495 h 5217112"/>
              <a:gd name="connsiteX9968" fmla="*/ 2355277 w 6785952"/>
              <a:gd name="connsiteY9968" fmla="*/ 1398123 h 5217112"/>
              <a:gd name="connsiteX9969" fmla="*/ 2363244 w 6785952"/>
              <a:gd name="connsiteY9969" fmla="*/ 1393002 h 5217112"/>
              <a:gd name="connsiteX9970" fmla="*/ 2362420 w 6785952"/>
              <a:gd name="connsiteY9970" fmla="*/ 1388642 h 5217112"/>
              <a:gd name="connsiteX9971" fmla="*/ 2358299 w 6785952"/>
              <a:gd name="connsiteY9971" fmla="*/ 1395072 h 5217112"/>
              <a:gd name="connsiteX9972" fmla="*/ 2331379 w 6785952"/>
              <a:gd name="connsiteY9972" fmla="*/ 1405207 h 5217112"/>
              <a:gd name="connsiteX9973" fmla="*/ 2343191 w 6785952"/>
              <a:gd name="connsiteY9973" fmla="*/ 1389732 h 5217112"/>
              <a:gd name="connsiteX9974" fmla="*/ 2362145 w 6785952"/>
              <a:gd name="connsiteY9974" fmla="*/ 1385918 h 5217112"/>
              <a:gd name="connsiteX9975" fmla="*/ 2362145 w 6785952"/>
              <a:gd name="connsiteY9975" fmla="*/ 1381559 h 5217112"/>
              <a:gd name="connsiteX9976" fmla="*/ 2368463 w 6785952"/>
              <a:gd name="connsiteY9976" fmla="*/ 1380470 h 5217112"/>
              <a:gd name="connsiteX9977" fmla="*/ 2371484 w 6785952"/>
              <a:gd name="connsiteY9977" fmla="*/ 1382540 h 5217112"/>
              <a:gd name="connsiteX9978" fmla="*/ 6511961 w 6785952"/>
              <a:gd name="connsiteY9978" fmla="*/ 1366957 h 5217112"/>
              <a:gd name="connsiteX9979" fmla="*/ 6516630 w 6785952"/>
              <a:gd name="connsiteY9979" fmla="*/ 1367937 h 5217112"/>
              <a:gd name="connsiteX9980" fmla="*/ 6517455 w 6785952"/>
              <a:gd name="connsiteY9980" fmla="*/ 1378399 h 5217112"/>
              <a:gd name="connsiteX9981" fmla="*/ 6513883 w 6785952"/>
              <a:gd name="connsiteY9981" fmla="*/ 1380688 h 5217112"/>
              <a:gd name="connsiteX9982" fmla="*/ 6510312 w 6785952"/>
              <a:gd name="connsiteY9982" fmla="*/ 1380796 h 5217112"/>
              <a:gd name="connsiteX9983" fmla="*/ 6506741 w 6785952"/>
              <a:gd name="connsiteY9983" fmla="*/ 1378399 h 5217112"/>
              <a:gd name="connsiteX9984" fmla="*/ 6511961 w 6785952"/>
              <a:gd name="connsiteY9984" fmla="*/ 1366957 h 5217112"/>
              <a:gd name="connsiteX9985" fmla="*/ 6585544 w 6785952"/>
              <a:gd name="connsiteY9985" fmla="*/ 1364491 h 5217112"/>
              <a:gd name="connsiteX9986" fmla="*/ 6591896 w 6785952"/>
              <a:gd name="connsiteY9986" fmla="*/ 1365976 h 5217112"/>
              <a:gd name="connsiteX9987" fmla="*/ 6589425 w 6785952"/>
              <a:gd name="connsiteY9987" fmla="*/ 1376111 h 5217112"/>
              <a:gd name="connsiteX9988" fmla="*/ 6580634 w 6785952"/>
              <a:gd name="connsiteY9988" fmla="*/ 1369790 h 5217112"/>
              <a:gd name="connsiteX9989" fmla="*/ 6585544 w 6785952"/>
              <a:gd name="connsiteY9989" fmla="*/ 1364491 h 5217112"/>
              <a:gd name="connsiteX9990" fmla="*/ 767541 w 6785952"/>
              <a:gd name="connsiteY9990" fmla="*/ 1359983 h 5217112"/>
              <a:gd name="connsiteX9991" fmla="*/ 771388 w 6785952"/>
              <a:gd name="connsiteY9991" fmla="*/ 1361073 h 5217112"/>
              <a:gd name="connsiteX9992" fmla="*/ 774409 w 6785952"/>
              <a:gd name="connsiteY9992" fmla="*/ 1364014 h 5217112"/>
              <a:gd name="connsiteX9993" fmla="*/ 767816 w 6785952"/>
              <a:gd name="connsiteY9993" fmla="*/ 1368046 h 5217112"/>
              <a:gd name="connsiteX9994" fmla="*/ 766718 w 6785952"/>
              <a:gd name="connsiteY9994" fmla="*/ 1364668 h 5217112"/>
              <a:gd name="connsiteX9995" fmla="*/ 764794 w 6785952"/>
              <a:gd name="connsiteY9995" fmla="*/ 1365213 h 5217112"/>
              <a:gd name="connsiteX9996" fmla="*/ 765344 w 6785952"/>
              <a:gd name="connsiteY9996" fmla="*/ 1361182 h 5217112"/>
              <a:gd name="connsiteX9997" fmla="*/ 767266 w 6785952"/>
              <a:gd name="connsiteY9997" fmla="*/ 1360528 h 5217112"/>
              <a:gd name="connsiteX9998" fmla="*/ 767541 w 6785952"/>
              <a:gd name="connsiteY9998" fmla="*/ 1359983 h 5217112"/>
              <a:gd name="connsiteX9999" fmla="*/ 2361046 w 6785952"/>
              <a:gd name="connsiteY9999" fmla="*/ 1359220 h 5217112"/>
              <a:gd name="connsiteX10000" fmla="*/ 2359123 w 6785952"/>
              <a:gd name="connsiteY10000" fmla="*/ 1366412 h 5217112"/>
              <a:gd name="connsiteX10001" fmla="*/ 2356651 w 6785952"/>
              <a:gd name="connsiteY10001" fmla="*/ 1359983 h 5217112"/>
              <a:gd name="connsiteX10002" fmla="*/ 2361046 w 6785952"/>
              <a:gd name="connsiteY10002" fmla="*/ 1359220 h 5217112"/>
              <a:gd name="connsiteX10003" fmla="*/ 2144862 w 6785952"/>
              <a:gd name="connsiteY10003" fmla="*/ 1358675 h 5217112"/>
              <a:gd name="connsiteX10004" fmla="*/ 2155575 w 6785952"/>
              <a:gd name="connsiteY10004" fmla="*/ 1360092 h 5217112"/>
              <a:gd name="connsiteX10005" fmla="*/ 2145685 w 6785952"/>
              <a:gd name="connsiteY10005" fmla="*/ 1377418 h 5217112"/>
              <a:gd name="connsiteX10006" fmla="*/ 2137993 w 6785952"/>
              <a:gd name="connsiteY10006" fmla="*/ 1375783 h 5217112"/>
              <a:gd name="connsiteX10007" fmla="*/ 2144862 w 6785952"/>
              <a:gd name="connsiteY10007" fmla="*/ 1358675 h 5217112"/>
              <a:gd name="connsiteX10008" fmla="*/ 988671 w 6785952"/>
              <a:gd name="connsiteY10008" fmla="*/ 1358457 h 5217112"/>
              <a:gd name="connsiteX10009" fmla="*/ 988671 w 6785952"/>
              <a:gd name="connsiteY10009" fmla="*/ 1374803 h 5217112"/>
              <a:gd name="connsiteX10010" fmla="*/ 988671 w 6785952"/>
              <a:gd name="connsiteY10010" fmla="*/ 1358457 h 5217112"/>
              <a:gd name="connsiteX10011" fmla="*/ 6315553 w 6785952"/>
              <a:gd name="connsiteY10011" fmla="*/ 1353989 h 5217112"/>
              <a:gd name="connsiteX10012" fmla="*/ 6309235 w 6785952"/>
              <a:gd name="connsiteY10012" fmla="*/ 1362162 h 5217112"/>
              <a:gd name="connsiteX10013" fmla="*/ 6304840 w 6785952"/>
              <a:gd name="connsiteY10013" fmla="*/ 1366194 h 5217112"/>
              <a:gd name="connsiteX10014" fmla="*/ 6302917 w 6785952"/>
              <a:gd name="connsiteY10014" fmla="*/ 1370226 h 5217112"/>
              <a:gd name="connsiteX10015" fmla="*/ 6294127 w 6785952"/>
              <a:gd name="connsiteY10015" fmla="*/ 1374258 h 5217112"/>
              <a:gd name="connsiteX10016" fmla="*/ 6296325 w 6785952"/>
              <a:gd name="connsiteY10016" fmla="*/ 1370226 h 5217112"/>
              <a:gd name="connsiteX10017" fmla="*/ 6300720 w 6785952"/>
              <a:gd name="connsiteY10017" fmla="*/ 1366194 h 5217112"/>
              <a:gd name="connsiteX10018" fmla="*/ 6300720 w 6785952"/>
              <a:gd name="connsiteY10018" fmla="*/ 1362162 h 5217112"/>
              <a:gd name="connsiteX10019" fmla="*/ 6315553 w 6785952"/>
              <a:gd name="connsiteY10019" fmla="*/ 1353989 h 5217112"/>
              <a:gd name="connsiteX10020" fmla="*/ 2006140 w 6785952"/>
              <a:gd name="connsiteY10020" fmla="*/ 1353989 h 5217112"/>
              <a:gd name="connsiteX10021" fmla="*/ 2011085 w 6785952"/>
              <a:gd name="connsiteY10021" fmla="*/ 1354861 h 5217112"/>
              <a:gd name="connsiteX10022" fmla="*/ 2013007 w 6785952"/>
              <a:gd name="connsiteY10022" fmla="*/ 1355624 h 5217112"/>
              <a:gd name="connsiteX10023" fmla="*/ 2013007 w 6785952"/>
              <a:gd name="connsiteY10023" fmla="*/ 1355188 h 5217112"/>
              <a:gd name="connsiteX10024" fmla="*/ 2016853 w 6785952"/>
              <a:gd name="connsiteY10024" fmla="*/ 1355297 h 5217112"/>
              <a:gd name="connsiteX10025" fmla="*/ 2018227 w 6785952"/>
              <a:gd name="connsiteY10025" fmla="*/ 1354970 h 5217112"/>
              <a:gd name="connsiteX10026" fmla="*/ 2018501 w 6785952"/>
              <a:gd name="connsiteY10026" fmla="*/ 1355297 h 5217112"/>
              <a:gd name="connsiteX10027" fmla="*/ 2020150 w 6785952"/>
              <a:gd name="connsiteY10027" fmla="*/ 1355297 h 5217112"/>
              <a:gd name="connsiteX10028" fmla="*/ 2017952 w 6785952"/>
              <a:gd name="connsiteY10028" fmla="*/ 1361399 h 5217112"/>
              <a:gd name="connsiteX10029" fmla="*/ 2013557 w 6785952"/>
              <a:gd name="connsiteY10029" fmla="*/ 1362925 h 5217112"/>
              <a:gd name="connsiteX10030" fmla="*/ 2012733 w 6785952"/>
              <a:gd name="connsiteY10030" fmla="*/ 1361508 h 5217112"/>
              <a:gd name="connsiteX10031" fmla="*/ 2013832 w 6785952"/>
              <a:gd name="connsiteY10031" fmla="*/ 1361290 h 5217112"/>
              <a:gd name="connsiteX10032" fmla="*/ 2013282 w 6785952"/>
              <a:gd name="connsiteY10032" fmla="*/ 1359111 h 5217112"/>
              <a:gd name="connsiteX10033" fmla="*/ 2011085 w 6785952"/>
              <a:gd name="connsiteY10033" fmla="*/ 1360309 h 5217112"/>
              <a:gd name="connsiteX10034" fmla="*/ 2003668 w 6785952"/>
              <a:gd name="connsiteY10034" fmla="*/ 1362925 h 5217112"/>
              <a:gd name="connsiteX10035" fmla="*/ 2000921 w 6785952"/>
              <a:gd name="connsiteY10035" fmla="*/ 1361617 h 5217112"/>
              <a:gd name="connsiteX10036" fmla="*/ 2000372 w 6785952"/>
              <a:gd name="connsiteY10036" fmla="*/ 1357804 h 5217112"/>
              <a:gd name="connsiteX10037" fmla="*/ 2006140 w 6785952"/>
              <a:gd name="connsiteY10037" fmla="*/ 1353989 h 5217112"/>
              <a:gd name="connsiteX10038" fmla="*/ 2297317 w 6785952"/>
              <a:gd name="connsiteY10038" fmla="*/ 1353227 h 5217112"/>
              <a:gd name="connsiteX10039" fmla="*/ 2310502 w 6785952"/>
              <a:gd name="connsiteY10039" fmla="*/ 1354534 h 5217112"/>
              <a:gd name="connsiteX10040" fmla="*/ 2300888 w 6785952"/>
              <a:gd name="connsiteY10040" fmla="*/ 1416867 h 5217112"/>
              <a:gd name="connsiteX10041" fmla="*/ 2286604 w 6785952"/>
              <a:gd name="connsiteY10041" fmla="*/ 1410764 h 5217112"/>
              <a:gd name="connsiteX10042" fmla="*/ 2259135 w 6785952"/>
              <a:gd name="connsiteY10042" fmla="*/ 1363906 h 5217112"/>
              <a:gd name="connsiteX10043" fmla="*/ 2262980 w 6785952"/>
              <a:gd name="connsiteY10043" fmla="*/ 1364123 h 5217112"/>
              <a:gd name="connsiteX10044" fmla="*/ 2262705 w 6785952"/>
              <a:gd name="connsiteY10044" fmla="*/ 1362380 h 5217112"/>
              <a:gd name="connsiteX10045" fmla="*/ 2275342 w 6785952"/>
              <a:gd name="connsiteY10045" fmla="*/ 1357476 h 5217112"/>
              <a:gd name="connsiteX10046" fmla="*/ 2280286 w 6785952"/>
              <a:gd name="connsiteY10046" fmla="*/ 1361290 h 5217112"/>
              <a:gd name="connsiteX10047" fmla="*/ 2288527 w 6785952"/>
              <a:gd name="connsiteY10047" fmla="*/ 1356822 h 5217112"/>
              <a:gd name="connsiteX10048" fmla="*/ 2297317 w 6785952"/>
              <a:gd name="connsiteY10048" fmla="*/ 1353227 h 5217112"/>
              <a:gd name="connsiteX10049" fmla="*/ 965321 w 6785952"/>
              <a:gd name="connsiteY10049" fmla="*/ 1351265 h 5217112"/>
              <a:gd name="connsiteX10050" fmla="*/ 972189 w 6785952"/>
              <a:gd name="connsiteY10050" fmla="*/ 1352791 h 5217112"/>
              <a:gd name="connsiteX10051" fmla="*/ 976584 w 6785952"/>
              <a:gd name="connsiteY10051" fmla="*/ 1359329 h 5217112"/>
              <a:gd name="connsiteX10052" fmla="*/ 967245 w 6785952"/>
              <a:gd name="connsiteY10052" fmla="*/ 1368156 h 5217112"/>
              <a:gd name="connsiteX10053" fmla="*/ 962575 w 6785952"/>
              <a:gd name="connsiteY10053" fmla="*/ 1367829 h 5217112"/>
              <a:gd name="connsiteX10054" fmla="*/ 960652 w 6785952"/>
              <a:gd name="connsiteY10054" fmla="*/ 1356496 h 5217112"/>
              <a:gd name="connsiteX10055" fmla="*/ 965321 w 6785952"/>
              <a:gd name="connsiteY10055" fmla="*/ 1351265 h 5217112"/>
              <a:gd name="connsiteX10056" fmla="*/ 2316820 w 6785952"/>
              <a:gd name="connsiteY10056" fmla="*/ 1349303 h 5217112"/>
              <a:gd name="connsiteX10057" fmla="*/ 2336873 w 6785952"/>
              <a:gd name="connsiteY10057" fmla="*/ 1358784 h 5217112"/>
              <a:gd name="connsiteX10058" fmla="*/ 2332478 w 6785952"/>
              <a:gd name="connsiteY10058" fmla="*/ 1359111 h 5217112"/>
              <a:gd name="connsiteX10059" fmla="*/ 2316820 w 6785952"/>
              <a:gd name="connsiteY10059" fmla="*/ 1349303 h 5217112"/>
              <a:gd name="connsiteX10060" fmla="*/ 2048443 w 6785952"/>
              <a:gd name="connsiteY10060" fmla="*/ 1348649 h 5217112"/>
              <a:gd name="connsiteX10061" fmla="*/ 2048993 w 6785952"/>
              <a:gd name="connsiteY10061" fmla="*/ 1357912 h 5217112"/>
              <a:gd name="connsiteX10062" fmla="*/ 2039103 w 6785952"/>
              <a:gd name="connsiteY10062" fmla="*/ 1364996 h 5217112"/>
              <a:gd name="connsiteX10063" fmla="*/ 2034159 w 6785952"/>
              <a:gd name="connsiteY10063" fmla="*/ 1363797 h 5217112"/>
              <a:gd name="connsiteX10064" fmla="*/ 2048443 w 6785952"/>
              <a:gd name="connsiteY10064" fmla="*/ 1348649 h 5217112"/>
              <a:gd name="connsiteX10065" fmla="*/ 2238258 w 6785952"/>
              <a:gd name="connsiteY10065" fmla="*/ 1341676 h 5217112"/>
              <a:gd name="connsiteX10066" fmla="*/ 2247047 w 6785952"/>
              <a:gd name="connsiteY10066" fmla="*/ 1355732 h 5217112"/>
              <a:gd name="connsiteX10067" fmla="*/ 2195405 w 6785952"/>
              <a:gd name="connsiteY10067" fmla="*/ 1391911 h 5217112"/>
              <a:gd name="connsiteX10068" fmla="*/ 2191010 w 6785952"/>
              <a:gd name="connsiteY10068" fmla="*/ 1389515 h 5217112"/>
              <a:gd name="connsiteX10069" fmla="*/ 2190186 w 6785952"/>
              <a:gd name="connsiteY10069" fmla="*/ 1392456 h 5217112"/>
              <a:gd name="connsiteX10070" fmla="*/ 2187439 w 6785952"/>
              <a:gd name="connsiteY10070" fmla="*/ 1391694 h 5217112"/>
              <a:gd name="connsiteX10071" fmla="*/ 2187989 w 6785952"/>
              <a:gd name="connsiteY10071" fmla="*/ 1401392 h 5217112"/>
              <a:gd name="connsiteX10072" fmla="*/ 2179198 w 6785952"/>
              <a:gd name="connsiteY10072" fmla="*/ 1394091 h 5217112"/>
              <a:gd name="connsiteX10073" fmla="*/ 2174528 w 6785952"/>
              <a:gd name="connsiteY10073" fmla="*/ 1398450 h 5217112"/>
              <a:gd name="connsiteX10074" fmla="*/ 2169034 w 6785952"/>
              <a:gd name="connsiteY10074" fmla="*/ 1398341 h 5217112"/>
              <a:gd name="connsiteX10075" fmla="*/ 2161069 w 6785952"/>
              <a:gd name="connsiteY10075" fmla="*/ 1387443 h 5217112"/>
              <a:gd name="connsiteX10076" fmla="*/ 2161069 w 6785952"/>
              <a:gd name="connsiteY10076" fmla="*/ 1381886 h 5217112"/>
              <a:gd name="connsiteX10077" fmla="*/ 2166562 w 6785952"/>
              <a:gd name="connsiteY10077" fmla="*/ 1381995 h 5217112"/>
              <a:gd name="connsiteX10078" fmla="*/ 2162991 w 6785952"/>
              <a:gd name="connsiteY10078" fmla="*/ 1377636 h 5217112"/>
              <a:gd name="connsiteX10079" fmla="*/ 2162167 w 6785952"/>
              <a:gd name="connsiteY10079" fmla="*/ 1375675 h 5217112"/>
              <a:gd name="connsiteX10080" fmla="*/ 2160794 w 6785952"/>
              <a:gd name="connsiteY10080" fmla="*/ 1375239 h 5217112"/>
              <a:gd name="connsiteX10081" fmla="*/ 2156673 w 6785952"/>
              <a:gd name="connsiteY10081" fmla="*/ 1373059 h 5217112"/>
              <a:gd name="connsiteX10082" fmla="*/ 2156124 w 6785952"/>
              <a:gd name="connsiteY10082" fmla="*/ 1370662 h 5217112"/>
              <a:gd name="connsiteX10083" fmla="*/ 2156948 w 6785952"/>
              <a:gd name="connsiteY10083" fmla="*/ 1367284 h 5217112"/>
              <a:gd name="connsiteX10084" fmla="*/ 2158321 w 6785952"/>
              <a:gd name="connsiteY10084" fmla="*/ 1366630 h 5217112"/>
              <a:gd name="connsiteX10085" fmla="*/ 2157497 w 6785952"/>
              <a:gd name="connsiteY10085" fmla="*/ 1364777 h 5217112"/>
              <a:gd name="connsiteX10086" fmla="*/ 2159420 w 6785952"/>
              <a:gd name="connsiteY10086" fmla="*/ 1361944 h 5217112"/>
              <a:gd name="connsiteX10087" fmla="*/ 2158321 w 6785952"/>
              <a:gd name="connsiteY10087" fmla="*/ 1360200 h 5217112"/>
              <a:gd name="connsiteX10088" fmla="*/ 2172056 w 6785952"/>
              <a:gd name="connsiteY10088" fmla="*/ 1348431 h 5217112"/>
              <a:gd name="connsiteX10089" fmla="*/ 2173979 w 6785952"/>
              <a:gd name="connsiteY10089" fmla="*/ 1358675 h 5217112"/>
              <a:gd name="connsiteX10090" fmla="*/ 2170957 w 6785952"/>
              <a:gd name="connsiteY10090" fmla="*/ 1362380 h 5217112"/>
              <a:gd name="connsiteX10091" fmla="*/ 2170133 w 6785952"/>
              <a:gd name="connsiteY10091" fmla="*/ 1362816 h 5217112"/>
              <a:gd name="connsiteX10092" fmla="*/ 2172056 w 6785952"/>
              <a:gd name="connsiteY10092" fmla="*/ 1369899 h 5217112"/>
              <a:gd name="connsiteX10093" fmla="*/ 2177825 w 6785952"/>
              <a:gd name="connsiteY10093" fmla="*/ 1377418 h 5217112"/>
              <a:gd name="connsiteX10094" fmla="*/ 2177001 w 6785952"/>
              <a:gd name="connsiteY10094" fmla="*/ 1368374 h 5217112"/>
              <a:gd name="connsiteX10095" fmla="*/ 2198427 w 6785952"/>
              <a:gd name="connsiteY10095" fmla="*/ 1351809 h 5217112"/>
              <a:gd name="connsiteX10096" fmla="*/ 2201723 w 6785952"/>
              <a:gd name="connsiteY10096" fmla="*/ 1352682 h 5217112"/>
              <a:gd name="connsiteX10097" fmla="*/ 2215733 w 6785952"/>
              <a:gd name="connsiteY10097" fmla="*/ 1348649 h 5217112"/>
              <a:gd name="connsiteX10098" fmla="*/ 2226446 w 6785952"/>
              <a:gd name="connsiteY10098" fmla="*/ 1342983 h 5217112"/>
              <a:gd name="connsiteX10099" fmla="*/ 2238258 w 6785952"/>
              <a:gd name="connsiteY10099" fmla="*/ 1341676 h 5217112"/>
              <a:gd name="connsiteX10100" fmla="*/ 2280457 w 6785952"/>
              <a:gd name="connsiteY10100" fmla="*/ 1336799 h 5217112"/>
              <a:gd name="connsiteX10101" fmla="*/ 2284680 w 6785952"/>
              <a:gd name="connsiteY10101" fmla="*/ 1337753 h 5217112"/>
              <a:gd name="connsiteX10102" fmla="*/ 2287977 w 6785952"/>
              <a:gd name="connsiteY10102" fmla="*/ 1343746 h 5217112"/>
              <a:gd name="connsiteX10103" fmla="*/ 2279461 w 6785952"/>
              <a:gd name="connsiteY10103" fmla="*/ 1346252 h 5217112"/>
              <a:gd name="connsiteX10104" fmla="*/ 2276440 w 6785952"/>
              <a:gd name="connsiteY10104" fmla="*/ 1340259 h 5217112"/>
              <a:gd name="connsiteX10105" fmla="*/ 2280457 w 6785952"/>
              <a:gd name="connsiteY10105" fmla="*/ 1336799 h 5217112"/>
              <a:gd name="connsiteX10106" fmla="*/ 2242653 w 6785952"/>
              <a:gd name="connsiteY10106" fmla="*/ 1334483 h 5217112"/>
              <a:gd name="connsiteX10107" fmla="*/ 2250619 w 6785952"/>
              <a:gd name="connsiteY10107" fmla="*/ 1340694 h 5217112"/>
              <a:gd name="connsiteX10108" fmla="*/ 2255014 w 6785952"/>
              <a:gd name="connsiteY10108" fmla="*/ 1340368 h 5217112"/>
              <a:gd name="connsiteX10109" fmla="*/ 2260233 w 6785952"/>
              <a:gd name="connsiteY10109" fmla="*/ 1347669 h 5217112"/>
              <a:gd name="connsiteX10110" fmla="*/ 2257760 w 6785952"/>
              <a:gd name="connsiteY10110" fmla="*/ 1350393 h 5217112"/>
              <a:gd name="connsiteX10111" fmla="*/ 2253366 w 6785952"/>
              <a:gd name="connsiteY10111" fmla="*/ 1350393 h 5217112"/>
              <a:gd name="connsiteX10112" fmla="*/ 2247322 w 6785952"/>
              <a:gd name="connsiteY10112" fmla="*/ 1340368 h 5217112"/>
              <a:gd name="connsiteX10113" fmla="*/ 2242653 w 6785952"/>
              <a:gd name="connsiteY10113" fmla="*/ 1334483 h 5217112"/>
              <a:gd name="connsiteX10114" fmla="*/ 2098163 w 6785952"/>
              <a:gd name="connsiteY10114" fmla="*/ 1333176 h 5217112"/>
              <a:gd name="connsiteX10115" fmla="*/ 2124534 w 6785952"/>
              <a:gd name="connsiteY10115" fmla="*/ 1343310 h 5217112"/>
              <a:gd name="connsiteX10116" fmla="*/ 2123161 w 6785952"/>
              <a:gd name="connsiteY10116" fmla="*/ 1346252 h 5217112"/>
              <a:gd name="connsiteX10117" fmla="*/ 2119315 w 6785952"/>
              <a:gd name="connsiteY10117" fmla="*/ 1347124 h 5217112"/>
              <a:gd name="connsiteX10118" fmla="*/ 2105854 w 6785952"/>
              <a:gd name="connsiteY10118" fmla="*/ 1342547 h 5217112"/>
              <a:gd name="connsiteX10119" fmla="*/ 2102833 w 6785952"/>
              <a:gd name="connsiteY10119" fmla="*/ 1340912 h 5217112"/>
              <a:gd name="connsiteX10120" fmla="*/ 2100086 w 6785952"/>
              <a:gd name="connsiteY10120" fmla="*/ 1339278 h 5217112"/>
              <a:gd name="connsiteX10121" fmla="*/ 2098163 w 6785952"/>
              <a:gd name="connsiteY10121" fmla="*/ 1333176 h 5217112"/>
              <a:gd name="connsiteX10122" fmla="*/ 2367364 w 6785952"/>
              <a:gd name="connsiteY10122" fmla="*/ 1332740 h 5217112"/>
              <a:gd name="connsiteX10123" fmla="*/ 2383021 w 6785952"/>
              <a:gd name="connsiteY10123" fmla="*/ 1340803 h 5217112"/>
              <a:gd name="connsiteX10124" fmla="*/ 2386318 w 6785952"/>
              <a:gd name="connsiteY10124" fmla="*/ 1349739 h 5217112"/>
              <a:gd name="connsiteX10125" fmla="*/ 2382197 w 6785952"/>
              <a:gd name="connsiteY10125" fmla="*/ 1350938 h 5217112"/>
              <a:gd name="connsiteX10126" fmla="*/ 2373408 w 6785952"/>
              <a:gd name="connsiteY10126" fmla="*/ 1346252 h 5217112"/>
              <a:gd name="connsiteX10127" fmla="*/ 2367089 w 6785952"/>
              <a:gd name="connsiteY10127" fmla="*/ 1337643 h 5217112"/>
              <a:gd name="connsiteX10128" fmla="*/ 2359947 w 6785952"/>
              <a:gd name="connsiteY10128" fmla="*/ 1343855 h 5217112"/>
              <a:gd name="connsiteX10129" fmla="*/ 2358574 w 6785952"/>
              <a:gd name="connsiteY10129" fmla="*/ 1343092 h 5217112"/>
              <a:gd name="connsiteX10130" fmla="*/ 2359123 w 6785952"/>
              <a:gd name="connsiteY10130" fmla="*/ 1345271 h 5217112"/>
              <a:gd name="connsiteX10131" fmla="*/ 2359947 w 6785952"/>
              <a:gd name="connsiteY10131" fmla="*/ 1351047 h 5217112"/>
              <a:gd name="connsiteX10132" fmla="*/ 2360771 w 6785952"/>
              <a:gd name="connsiteY10132" fmla="*/ 1353771 h 5217112"/>
              <a:gd name="connsiteX10133" fmla="*/ 2358848 w 6785952"/>
              <a:gd name="connsiteY10133" fmla="*/ 1357585 h 5217112"/>
              <a:gd name="connsiteX10134" fmla="*/ 2354453 w 6785952"/>
              <a:gd name="connsiteY10134" fmla="*/ 1352463 h 5217112"/>
              <a:gd name="connsiteX10135" fmla="*/ 2353904 w 6785952"/>
              <a:gd name="connsiteY10135" fmla="*/ 1345816 h 5217112"/>
              <a:gd name="connsiteX10136" fmla="*/ 2351981 w 6785952"/>
              <a:gd name="connsiteY10136" fmla="*/ 1339060 h 5217112"/>
              <a:gd name="connsiteX10137" fmla="*/ 2353629 w 6785952"/>
              <a:gd name="connsiteY10137" fmla="*/ 1335246 h 5217112"/>
              <a:gd name="connsiteX10138" fmla="*/ 2355002 w 6785952"/>
              <a:gd name="connsiteY10138" fmla="*/ 1334701 h 5217112"/>
              <a:gd name="connsiteX10139" fmla="*/ 2356926 w 6785952"/>
              <a:gd name="connsiteY10139" fmla="*/ 1337099 h 5217112"/>
              <a:gd name="connsiteX10140" fmla="*/ 2357201 w 6785952"/>
              <a:gd name="connsiteY10140" fmla="*/ 1337753 h 5217112"/>
              <a:gd name="connsiteX10141" fmla="*/ 2359398 w 6785952"/>
              <a:gd name="connsiteY10141" fmla="*/ 1334701 h 5217112"/>
              <a:gd name="connsiteX10142" fmla="*/ 2366814 w 6785952"/>
              <a:gd name="connsiteY10142" fmla="*/ 1334810 h 5217112"/>
              <a:gd name="connsiteX10143" fmla="*/ 2367364 w 6785952"/>
              <a:gd name="connsiteY10143" fmla="*/ 1332740 h 5217112"/>
              <a:gd name="connsiteX10144" fmla="*/ 1110360 w 6785952"/>
              <a:gd name="connsiteY10144" fmla="*/ 1332086 h 5217112"/>
              <a:gd name="connsiteX10145" fmla="*/ 1117502 w 6785952"/>
              <a:gd name="connsiteY10145" fmla="*/ 1334701 h 5217112"/>
              <a:gd name="connsiteX10146" fmla="*/ 1118602 w 6785952"/>
              <a:gd name="connsiteY10146" fmla="*/ 1339278 h 5217112"/>
              <a:gd name="connsiteX10147" fmla="*/ 1116678 w 6785952"/>
              <a:gd name="connsiteY10147" fmla="*/ 1340803 h 5217112"/>
              <a:gd name="connsiteX10148" fmla="*/ 1114207 w 6785952"/>
              <a:gd name="connsiteY10148" fmla="*/ 1340040 h 5217112"/>
              <a:gd name="connsiteX10149" fmla="*/ 1110085 w 6785952"/>
              <a:gd name="connsiteY10149" fmla="*/ 1337861 h 5217112"/>
              <a:gd name="connsiteX10150" fmla="*/ 1109811 w 6785952"/>
              <a:gd name="connsiteY10150" fmla="*/ 1335464 h 5217112"/>
              <a:gd name="connsiteX10151" fmla="*/ 1110360 w 6785952"/>
              <a:gd name="connsiteY10151" fmla="*/ 1332086 h 5217112"/>
              <a:gd name="connsiteX10152" fmla="*/ 6304840 w 6785952"/>
              <a:gd name="connsiteY10152" fmla="*/ 1327835 h 5217112"/>
              <a:gd name="connsiteX10153" fmla="*/ 6304291 w 6785952"/>
              <a:gd name="connsiteY10153" fmla="*/ 1341131 h 5217112"/>
              <a:gd name="connsiteX10154" fmla="*/ 6295501 w 6785952"/>
              <a:gd name="connsiteY10154" fmla="*/ 1339932 h 5217112"/>
              <a:gd name="connsiteX10155" fmla="*/ 6304840 w 6785952"/>
              <a:gd name="connsiteY10155" fmla="*/ 1327835 h 5217112"/>
              <a:gd name="connsiteX10156" fmla="*/ 6232595 w 6785952"/>
              <a:gd name="connsiteY10156" fmla="*/ 1325329 h 5217112"/>
              <a:gd name="connsiteX10157" fmla="*/ 6232595 w 6785952"/>
              <a:gd name="connsiteY10157" fmla="*/ 1327400 h 5217112"/>
              <a:gd name="connsiteX10158" fmla="*/ 6228200 w 6785952"/>
              <a:gd name="connsiteY10158" fmla="*/ 1331432 h 5217112"/>
              <a:gd name="connsiteX10159" fmla="*/ 6223806 w 6785952"/>
              <a:gd name="connsiteY10159" fmla="*/ 1345599 h 5217112"/>
              <a:gd name="connsiteX10160" fmla="*/ 6219411 w 6785952"/>
              <a:gd name="connsiteY10160" fmla="*/ 1347560 h 5217112"/>
              <a:gd name="connsiteX10161" fmla="*/ 6217212 w 6785952"/>
              <a:gd name="connsiteY10161" fmla="*/ 1341566 h 5217112"/>
              <a:gd name="connsiteX10162" fmla="*/ 6223806 w 6785952"/>
              <a:gd name="connsiteY10162" fmla="*/ 1337534 h 5217112"/>
              <a:gd name="connsiteX10163" fmla="*/ 6226003 w 6785952"/>
              <a:gd name="connsiteY10163" fmla="*/ 1329470 h 5217112"/>
              <a:gd name="connsiteX10164" fmla="*/ 6232595 w 6785952"/>
              <a:gd name="connsiteY10164" fmla="*/ 1325329 h 5217112"/>
              <a:gd name="connsiteX10165" fmla="*/ 2383296 w 6785952"/>
              <a:gd name="connsiteY10165" fmla="*/ 1322823 h 5217112"/>
              <a:gd name="connsiteX10166" fmla="*/ 2388790 w 6785952"/>
              <a:gd name="connsiteY10166" fmla="*/ 1324457 h 5217112"/>
              <a:gd name="connsiteX10167" fmla="*/ 2384395 w 6785952"/>
              <a:gd name="connsiteY10167" fmla="*/ 1336335 h 5217112"/>
              <a:gd name="connsiteX10168" fmla="*/ 2378352 w 6785952"/>
              <a:gd name="connsiteY10168" fmla="*/ 1330669 h 5217112"/>
              <a:gd name="connsiteX10169" fmla="*/ 2378627 w 6785952"/>
              <a:gd name="connsiteY10169" fmla="*/ 1325329 h 5217112"/>
              <a:gd name="connsiteX10170" fmla="*/ 2383296 w 6785952"/>
              <a:gd name="connsiteY10170" fmla="*/ 1322823 h 5217112"/>
              <a:gd name="connsiteX10171" fmla="*/ 6567998 w 6785952"/>
              <a:gd name="connsiteY10171" fmla="*/ 1322278 h 5217112"/>
              <a:gd name="connsiteX10172" fmla="*/ 6572393 w 6785952"/>
              <a:gd name="connsiteY10172" fmla="*/ 1323150 h 5217112"/>
              <a:gd name="connsiteX10173" fmla="*/ 6575689 w 6785952"/>
              <a:gd name="connsiteY10173" fmla="*/ 1326636 h 5217112"/>
              <a:gd name="connsiteX10174" fmla="*/ 6575140 w 6785952"/>
              <a:gd name="connsiteY10174" fmla="*/ 1329143 h 5217112"/>
              <a:gd name="connsiteX10175" fmla="*/ 6573218 w 6785952"/>
              <a:gd name="connsiteY10175" fmla="*/ 1331867 h 5217112"/>
              <a:gd name="connsiteX10176" fmla="*/ 6571569 w 6785952"/>
              <a:gd name="connsiteY10176" fmla="*/ 1331977 h 5217112"/>
              <a:gd name="connsiteX10177" fmla="*/ 6567449 w 6785952"/>
              <a:gd name="connsiteY10177" fmla="*/ 1326855 h 5217112"/>
              <a:gd name="connsiteX10178" fmla="*/ 6567998 w 6785952"/>
              <a:gd name="connsiteY10178" fmla="*/ 1322278 h 5217112"/>
              <a:gd name="connsiteX10179" fmla="*/ 2186889 w 6785952"/>
              <a:gd name="connsiteY10179" fmla="*/ 1316938 h 5217112"/>
              <a:gd name="connsiteX10180" fmla="*/ 2194307 w 6785952"/>
              <a:gd name="connsiteY10180" fmla="*/ 1327400 h 5217112"/>
              <a:gd name="connsiteX10181" fmla="*/ 2182769 w 6785952"/>
              <a:gd name="connsiteY10181" fmla="*/ 1322060 h 5217112"/>
              <a:gd name="connsiteX10182" fmla="*/ 2184967 w 6785952"/>
              <a:gd name="connsiteY10182" fmla="*/ 1319118 h 5217112"/>
              <a:gd name="connsiteX10183" fmla="*/ 2184143 w 6785952"/>
              <a:gd name="connsiteY10183" fmla="*/ 1318464 h 5217112"/>
              <a:gd name="connsiteX10184" fmla="*/ 2185516 w 6785952"/>
              <a:gd name="connsiteY10184" fmla="*/ 1318573 h 5217112"/>
              <a:gd name="connsiteX10185" fmla="*/ 1151839 w 6785952"/>
              <a:gd name="connsiteY10185" fmla="*/ 1316611 h 5217112"/>
              <a:gd name="connsiteX10186" fmla="*/ 1155685 w 6785952"/>
              <a:gd name="connsiteY10186" fmla="*/ 1317592 h 5217112"/>
              <a:gd name="connsiteX10187" fmla="*/ 1162004 w 6785952"/>
              <a:gd name="connsiteY10187" fmla="*/ 1316938 h 5217112"/>
              <a:gd name="connsiteX10188" fmla="*/ 1163377 w 6785952"/>
              <a:gd name="connsiteY10188" fmla="*/ 1336009 h 5217112"/>
              <a:gd name="connsiteX10189" fmla="*/ 1149642 w 6785952"/>
              <a:gd name="connsiteY10189" fmla="*/ 1352682 h 5217112"/>
              <a:gd name="connsiteX10190" fmla="*/ 1144972 w 6785952"/>
              <a:gd name="connsiteY10190" fmla="*/ 1353008 h 5217112"/>
              <a:gd name="connsiteX10191" fmla="*/ 1143599 w 6785952"/>
              <a:gd name="connsiteY10191" fmla="*/ 1357259 h 5217112"/>
              <a:gd name="connsiteX10192" fmla="*/ 1127941 w 6785952"/>
              <a:gd name="connsiteY10192" fmla="*/ 1363361 h 5217112"/>
              <a:gd name="connsiteX10193" fmla="*/ 1122446 w 6785952"/>
              <a:gd name="connsiteY10193" fmla="*/ 1363252 h 5217112"/>
              <a:gd name="connsiteX10194" fmla="*/ 1114755 w 6785952"/>
              <a:gd name="connsiteY10194" fmla="*/ 1352246 h 5217112"/>
              <a:gd name="connsiteX10195" fmla="*/ 1114481 w 6785952"/>
              <a:gd name="connsiteY10195" fmla="*/ 1346688 h 5217112"/>
              <a:gd name="connsiteX10196" fmla="*/ 1130138 w 6785952"/>
              <a:gd name="connsiteY10196" fmla="*/ 1347124 h 5217112"/>
              <a:gd name="connsiteX10197" fmla="*/ 1134259 w 6785952"/>
              <a:gd name="connsiteY10197" fmla="*/ 1346688 h 5217112"/>
              <a:gd name="connsiteX10198" fmla="*/ 1131512 w 6785952"/>
              <a:gd name="connsiteY10198" fmla="*/ 1343092 h 5217112"/>
              <a:gd name="connsiteX10199" fmla="*/ 1130688 w 6785952"/>
              <a:gd name="connsiteY10199" fmla="*/ 1333284 h 5217112"/>
              <a:gd name="connsiteX10200" fmla="*/ 1151839 w 6785952"/>
              <a:gd name="connsiteY10200" fmla="*/ 1316611 h 5217112"/>
              <a:gd name="connsiteX10201" fmla="*/ 1897910 w 6785952"/>
              <a:gd name="connsiteY10201" fmla="*/ 1313560 h 5217112"/>
              <a:gd name="connsiteX10202" fmla="*/ 1897636 w 6785952"/>
              <a:gd name="connsiteY10202" fmla="*/ 1313669 h 5217112"/>
              <a:gd name="connsiteX10203" fmla="*/ 1895713 w 6785952"/>
              <a:gd name="connsiteY10203" fmla="*/ 1314105 h 5217112"/>
              <a:gd name="connsiteX10204" fmla="*/ 1905602 w 6785952"/>
              <a:gd name="connsiteY10204" fmla="*/ 1317592 h 5217112"/>
              <a:gd name="connsiteX10205" fmla="*/ 1904228 w 6785952"/>
              <a:gd name="connsiteY10205" fmla="*/ 1315849 h 5217112"/>
              <a:gd name="connsiteX10206" fmla="*/ 1905602 w 6785952"/>
              <a:gd name="connsiteY10206" fmla="*/ 1313669 h 5217112"/>
              <a:gd name="connsiteX10207" fmla="*/ 1905052 w 6785952"/>
              <a:gd name="connsiteY10207" fmla="*/ 1313996 h 5217112"/>
              <a:gd name="connsiteX10208" fmla="*/ 1125469 w 6785952"/>
              <a:gd name="connsiteY10208" fmla="*/ 1313233 h 5217112"/>
              <a:gd name="connsiteX10209" fmla="*/ 1127391 w 6785952"/>
              <a:gd name="connsiteY10209" fmla="*/ 1323477 h 5217112"/>
              <a:gd name="connsiteX10210" fmla="*/ 1124370 w 6785952"/>
              <a:gd name="connsiteY10210" fmla="*/ 1327073 h 5217112"/>
              <a:gd name="connsiteX10211" fmla="*/ 1116129 w 6785952"/>
              <a:gd name="connsiteY10211" fmla="*/ 1330669 h 5217112"/>
              <a:gd name="connsiteX10212" fmla="*/ 1116678 w 6785952"/>
              <a:gd name="connsiteY10212" fmla="*/ 1331868 h 5217112"/>
              <a:gd name="connsiteX10213" fmla="*/ 1111733 w 6785952"/>
              <a:gd name="connsiteY10213" fmla="*/ 1325111 h 5217112"/>
              <a:gd name="connsiteX10214" fmla="*/ 1125469 w 6785952"/>
              <a:gd name="connsiteY10214" fmla="*/ 1313233 h 5217112"/>
              <a:gd name="connsiteX10215" fmla="*/ 2273967 w 6785952"/>
              <a:gd name="connsiteY10215" fmla="*/ 1312361 h 5217112"/>
              <a:gd name="connsiteX10216" fmla="*/ 2276166 w 6785952"/>
              <a:gd name="connsiteY10216" fmla="*/ 1313996 h 5217112"/>
              <a:gd name="connsiteX10217" fmla="*/ 2275616 w 6785952"/>
              <a:gd name="connsiteY10217" fmla="*/ 1317810 h 5217112"/>
              <a:gd name="connsiteX10218" fmla="*/ 2273967 w 6785952"/>
              <a:gd name="connsiteY10218" fmla="*/ 1320862 h 5217112"/>
              <a:gd name="connsiteX10219" fmla="*/ 2268748 w 6785952"/>
              <a:gd name="connsiteY10219" fmla="*/ 1320643 h 5217112"/>
              <a:gd name="connsiteX10220" fmla="*/ 2261606 w 6785952"/>
              <a:gd name="connsiteY10220" fmla="*/ 1317483 h 5217112"/>
              <a:gd name="connsiteX10221" fmla="*/ 2256936 w 6785952"/>
              <a:gd name="connsiteY10221" fmla="*/ 1317810 h 5217112"/>
              <a:gd name="connsiteX10222" fmla="*/ 2256662 w 6785952"/>
              <a:gd name="connsiteY10222" fmla="*/ 1316394 h 5217112"/>
              <a:gd name="connsiteX10223" fmla="*/ 2273967 w 6785952"/>
              <a:gd name="connsiteY10223" fmla="*/ 1312361 h 5217112"/>
              <a:gd name="connsiteX10224" fmla="*/ 2291823 w 6785952"/>
              <a:gd name="connsiteY10224" fmla="*/ 1311707 h 5217112"/>
              <a:gd name="connsiteX10225" fmla="*/ 2299240 w 6785952"/>
              <a:gd name="connsiteY10225" fmla="*/ 1316829 h 5217112"/>
              <a:gd name="connsiteX10226" fmla="*/ 2278088 w 6785952"/>
              <a:gd name="connsiteY10226" fmla="*/ 1330778 h 5217112"/>
              <a:gd name="connsiteX10227" fmla="*/ 2272045 w 6785952"/>
              <a:gd name="connsiteY10227" fmla="*/ 1329362 h 5217112"/>
              <a:gd name="connsiteX10228" fmla="*/ 2291823 w 6785952"/>
              <a:gd name="connsiteY10228" fmla="*/ 1311707 h 5217112"/>
              <a:gd name="connsiteX10229" fmla="*/ 1203482 w 6785952"/>
              <a:gd name="connsiteY10229" fmla="*/ 1309964 h 5217112"/>
              <a:gd name="connsiteX10230" fmla="*/ 1190571 w 6785952"/>
              <a:gd name="connsiteY10230" fmla="*/ 1329252 h 5217112"/>
              <a:gd name="connsiteX10231" fmla="*/ 1168322 w 6785952"/>
              <a:gd name="connsiteY10231" fmla="*/ 1338079 h 5217112"/>
              <a:gd name="connsiteX10232" fmla="*/ 1194692 w 6785952"/>
              <a:gd name="connsiteY10232" fmla="*/ 1311707 h 5217112"/>
              <a:gd name="connsiteX10233" fmla="*/ 1203482 w 6785952"/>
              <a:gd name="connsiteY10233" fmla="*/ 1309964 h 5217112"/>
              <a:gd name="connsiteX10234" fmla="*/ 6238639 w 6785952"/>
              <a:gd name="connsiteY10234" fmla="*/ 1308874 h 5217112"/>
              <a:gd name="connsiteX10235" fmla="*/ 6242485 w 6785952"/>
              <a:gd name="connsiteY10235" fmla="*/ 1312906 h 5217112"/>
              <a:gd name="connsiteX10236" fmla="*/ 6243583 w 6785952"/>
              <a:gd name="connsiteY10236" fmla="*/ 1312797 h 5217112"/>
              <a:gd name="connsiteX10237" fmla="*/ 6243034 w 6785952"/>
              <a:gd name="connsiteY10237" fmla="*/ 1313451 h 5217112"/>
              <a:gd name="connsiteX10238" fmla="*/ 6246331 w 6785952"/>
              <a:gd name="connsiteY10238" fmla="*/ 1317265 h 5217112"/>
              <a:gd name="connsiteX10239" fmla="*/ 6242485 w 6785952"/>
              <a:gd name="connsiteY10239" fmla="*/ 1325111 h 5217112"/>
              <a:gd name="connsiteX10240" fmla="*/ 6234518 w 6785952"/>
              <a:gd name="connsiteY10240" fmla="*/ 1322823 h 5217112"/>
              <a:gd name="connsiteX10241" fmla="*/ 6232321 w 6785952"/>
              <a:gd name="connsiteY10241" fmla="*/ 1323258 h 5217112"/>
              <a:gd name="connsiteX10242" fmla="*/ 6233419 w 6785952"/>
              <a:gd name="connsiteY10242" fmla="*/ 1322278 h 5217112"/>
              <a:gd name="connsiteX10243" fmla="*/ 6227651 w 6785952"/>
              <a:gd name="connsiteY10243" fmla="*/ 1314650 h 5217112"/>
              <a:gd name="connsiteX10244" fmla="*/ 6229849 w 6785952"/>
              <a:gd name="connsiteY10244" fmla="*/ 1308983 h 5217112"/>
              <a:gd name="connsiteX10245" fmla="*/ 6238639 w 6785952"/>
              <a:gd name="connsiteY10245" fmla="*/ 1308874 h 5217112"/>
              <a:gd name="connsiteX10246" fmla="*/ 1234007 w 6785952"/>
              <a:gd name="connsiteY10246" fmla="*/ 1301655 h 5217112"/>
              <a:gd name="connsiteX10247" fmla="*/ 1238368 w 6785952"/>
              <a:gd name="connsiteY10247" fmla="*/ 1302554 h 5217112"/>
              <a:gd name="connsiteX10248" fmla="*/ 1241389 w 6785952"/>
              <a:gd name="connsiteY10248" fmla="*/ 1308548 h 5217112"/>
              <a:gd name="connsiteX10249" fmla="*/ 1233150 w 6785952"/>
              <a:gd name="connsiteY10249" fmla="*/ 1311163 h 5217112"/>
              <a:gd name="connsiteX10250" fmla="*/ 1229853 w 6785952"/>
              <a:gd name="connsiteY10250" fmla="*/ 1305169 h 5217112"/>
              <a:gd name="connsiteX10251" fmla="*/ 1234007 w 6785952"/>
              <a:gd name="connsiteY10251" fmla="*/ 1301655 h 5217112"/>
              <a:gd name="connsiteX10252" fmla="*/ 1051850 w 6785952"/>
              <a:gd name="connsiteY10252" fmla="*/ 1298086 h 5217112"/>
              <a:gd name="connsiteX10253" fmla="*/ 1077946 w 6785952"/>
              <a:gd name="connsiteY10253" fmla="*/ 1308220 h 5217112"/>
              <a:gd name="connsiteX10254" fmla="*/ 1076573 w 6785952"/>
              <a:gd name="connsiteY10254" fmla="*/ 1311163 h 5217112"/>
              <a:gd name="connsiteX10255" fmla="*/ 1072727 w 6785952"/>
              <a:gd name="connsiteY10255" fmla="*/ 1311926 h 5217112"/>
              <a:gd name="connsiteX10256" fmla="*/ 1059267 w 6785952"/>
              <a:gd name="connsiteY10256" fmla="*/ 1307349 h 5217112"/>
              <a:gd name="connsiteX10257" fmla="*/ 1056245 w 6785952"/>
              <a:gd name="connsiteY10257" fmla="*/ 1305714 h 5217112"/>
              <a:gd name="connsiteX10258" fmla="*/ 1053499 w 6785952"/>
              <a:gd name="connsiteY10258" fmla="*/ 1304080 h 5217112"/>
              <a:gd name="connsiteX10259" fmla="*/ 1051850 w 6785952"/>
              <a:gd name="connsiteY10259" fmla="*/ 1298086 h 5217112"/>
              <a:gd name="connsiteX10260" fmla="*/ 2201174 w 6785952"/>
              <a:gd name="connsiteY10260" fmla="*/ 1297650 h 5217112"/>
              <a:gd name="connsiteX10261" fmla="*/ 2200350 w 6785952"/>
              <a:gd name="connsiteY10261" fmla="*/ 1310618 h 5217112"/>
              <a:gd name="connsiteX10262" fmla="*/ 2195954 w 6785952"/>
              <a:gd name="connsiteY10262" fmla="*/ 1311381 h 5217112"/>
              <a:gd name="connsiteX10263" fmla="*/ 2191284 w 6785952"/>
              <a:gd name="connsiteY10263" fmla="*/ 1301573 h 5217112"/>
              <a:gd name="connsiteX10264" fmla="*/ 2193757 w 6785952"/>
              <a:gd name="connsiteY10264" fmla="*/ 1297977 h 5217112"/>
              <a:gd name="connsiteX10265" fmla="*/ 2201174 w 6785952"/>
              <a:gd name="connsiteY10265" fmla="*/ 1297650 h 5217112"/>
              <a:gd name="connsiteX10266" fmla="*/ 2087999 w 6785952"/>
              <a:gd name="connsiteY10266" fmla="*/ 1296124 h 5217112"/>
              <a:gd name="connsiteX10267" fmla="*/ 2086077 w 6785952"/>
              <a:gd name="connsiteY10267" fmla="*/ 1309746 h 5217112"/>
              <a:gd name="connsiteX10268" fmla="*/ 2082505 w 6785952"/>
              <a:gd name="connsiteY10268" fmla="*/ 1306913 h 5217112"/>
              <a:gd name="connsiteX10269" fmla="*/ 2087999 w 6785952"/>
              <a:gd name="connsiteY10269" fmla="*/ 1296124 h 5217112"/>
              <a:gd name="connsiteX10270" fmla="*/ 2110799 w 6785952"/>
              <a:gd name="connsiteY10270" fmla="*/ 1292746 h 5217112"/>
              <a:gd name="connsiteX10271" fmla="*/ 2109151 w 6785952"/>
              <a:gd name="connsiteY10271" fmla="*/ 1296669 h 5217112"/>
              <a:gd name="connsiteX10272" fmla="*/ 2107503 w 6785952"/>
              <a:gd name="connsiteY10272" fmla="*/ 1296997 h 5217112"/>
              <a:gd name="connsiteX10273" fmla="*/ 2106679 w 6785952"/>
              <a:gd name="connsiteY10273" fmla="*/ 1295362 h 5217112"/>
              <a:gd name="connsiteX10274" fmla="*/ 2109151 w 6785952"/>
              <a:gd name="connsiteY10274" fmla="*/ 1293291 h 5217112"/>
              <a:gd name="connsiteX10275" fmla="*/ 2110799 w 6785952"/>
              <a:gd name="connsiteY10275" fmla="*/ 1292746 h 5217112"/>
              <a:gd name="connsiteX10276" fmla="*/ 2217380 w 6785952"/>
              <a:gd name="connsiteY10276" fmla="*/ 1292638 h 5217112"/>
              <a:gd name="connsiteX10277" fmla="*/ 2225896 w 6785952"/>
              <a:gd name="connsiteY10277" fmla="*/ 1303861 h 5217112"/>
              <a:gd name="connsiteX10278" fmla="*/ 2215183 w 6785952"/>
              <a:gd name="connsiteY10278" fmla="*/ 1308438 h 5217112"/>
              <a:gd name="connsiteX10279" fmla="*/ 2205569 w 6785952"/>
              <a:gd name="connsiteY10279" fmla="*/ 1302881 h 5217112"/>
              <a:gd name="connsiteX10280" fmla="*/ 2203920 w 6785952"/>
              <a:gd name="connsiteY10280" fmla="*/ 1295798 h 5217112"/>
              <a:gd name="connsiteX10281" fmla="*/ 2217380 w 6785952"/>
              <a:gd name="connsiteY10281" fmla="*/ 1292638 h 5217112"/>
              <a:gd name="connsiteX10282" fmla="*/ 1952025 w 6785952"/>
              <a:gd name="connsiteY10282" fmla="*/ 1284792 h 5217112"/>
              <a:gd name="connsiteX10283" fmla="*/ 1944060 w 6785952"/>
              <a:gd name="connsiteY10283" fmla="*/ 1322169 h 5217112"/>
              <a:gd name="connsiteX10284" fmla="*/ 1941312 w 6785952"/>
              <a:gd name="connsiteY10284" fmla="*/ 1325656 h 5217112"/>
              <a:gd name="connsiteX10285" fmla="*/ 1936642 w 6785952"/>
              <a:gd name="connsiteY10285" fmla="*/ 1324894 h 5217112"/>
              <a:gd name="connsiteX10286" fmla="*/ 1935818 w 6785952"/>
              <a:gd name="connsiteY10286" fmla="*/ 1300047 h 5217112"/>
              <a:gd name="connsiteX10287" fmla="*/ 1939390 w 6785952"/>
              <a:gd name="connsiteY10287" fmla="*/ 1295798 h 5217112"/>
              <a:gd name="connsiteX10288" fmla="*/ 1940763 w 6785952"/>
              <a:gd name="connsiteY10288" fmla="*/ 1291656 h 5217112"/>
              <a:gd name="connsiteX10289" fmla="*/ 1946257 w 6785952"/>
              <a:gd name="connsiteY10289" fmla="*/ 1285445 h 5217112"/>
              <a:gd name="connsiteX10290" fmla="*/ 1952025 w 6785952"/>
              <a:gd name="connsiteY10290" fmla="*/ 1284792 h 5217112"/>
              <a:gd name="connsiteX10291" fmla="*/ 1146105 w 6785952"/>
              <a:gd name="connsiteY10291" fmla="*/ 1281658 h 5217112"/>
              <a:gd name="connsiteX10292" fmla="*/ 1147994 w 6785952"/>
              <a:gd name="connsiteY10292" fmla="*/ 1292201 h 5217112"/>
              <a:gd name="connsiteX10293" fmla="*/ 1136182 w 6785952"/>
              <a:gd name="connsiteY10293" fmla="*/ 1286971 h 5217112"/>
              <a:gd name="connsiteX10294" fmla="*/ 1146105 w 6785952"/>
              <a:gd name="connsiteY10294" fmla="*/ 1281658 h 5217112"/>
              <a:gd name="connsiteX10295" fmla="*/ 2326434 w 6785952"/>
              <a:gd name="connsiteY10295" fmla="*/ 1281086 h 5217112"/>
              <a:gd name="connsiteX10296" fmla="*/ 2330555 w 6785952"/>
              <a:gd name="connsiteY10296" fmla="*/ 1282939 h 5217112"/>
              <a:gd name="connsiteX10297" fmla="*/ 2333027 w 6785952"/>
              <a:gd name="connsiteY10297" fmla="*/ 1291547 h 5217112"/>
              <a:gd name="connsiteX10298" fmla="*/ 2333027 w 6785952"/>
              <a:gd name="connsiteY10298" fmla="*/ 1292637 h 5217112"/>
              <a:gd name="connsiteX10299" fmla="*/ 2335500 w 6785952"/>
              <a:gd name="connsiteY10299" fmla="*/ 1292964 h 5217112"/>
              <a:gd name="connsiteX10300" fmla="*/ 2315721 w 6785952"/>
              <a:gd name="connsiteY10300" fmla="*/ 1304406 h 5217112"/>
              <a:gd name="connsiteX10301" fmla="*/ 2295119 w 6785952"/>
              <a:gd name="connsiteY10301" fmla="*/ 1300483 h 5217112"/>
              <a:gd name="connsiteX10302" fmla="*/ 2314073 w 6785952"/>
              <a:gd name="connsiteY10302" fmla="*/ 1293074 h 5217112"/>
              <a:gd name="connsiteX10303" fmla="*/ 2322863 w 6785952"/>
              <a:gd name="connsiteY10303" fmla="*/ 1291766 h 5217112"/>
              <a:gd name="connsiteX10304" fmla="*/ 2321764 w 6785952"/>
              <a:gd name="connsiteY10304" fmla="*/ 1290022 h 5217112"/>
              <a:gd name="connsiteX10305" fmla="*/ 2326434 w 6785952"/>
              <a:gd name="connsiteY10305" fmla="*/ 1281086 h 5217112"/>
              <a:gd name="connsiteX10306" fmla="*/ 1873188 w 6785952"/>
              <a:gd name="connsiteY10306" fmla="*/ 1276727 h 5217112"/>
              <a:gd name="connsiteX10307" fmla="*/ 1866595 w 6785952"/>
              <a:gd name="connsiteY10307" fmla="*/ 1300266 h 5217112"/>
              <a:gd name="connsiteX10308" fmla="*/ 1873188 w 6785952"/>
              <a:gd name="connsiteY10308" fmla="*/ 1276727 h 5217112"/>
              <a:gd name="connsiteX10309" fmla="*/ 6205401 w 6785952"/>
              <a:gd name="connsiteY10309" fmla="*/ 1276400 h 5217112"/>
              <a:gd name="connsiteX10310" fmla="*/ 6206224 w 6785952"/>
              <a:gd name="connsiteY10310" fmla="*/ 1278252 h 5217112"/>
              <a:gd name="connsiteX10311" fmla="*/ 6203478 w 6785952"/>
              <a:gd name="connsiteY10311" fmla="*/ 1279670 h 5217112"/>
              <a:gd name="connsiteX10312" fmla="*/ 6202654 w 6785952"/>
              <a:gd name="connsiteY10312" fmla="*/ 1279125 h 5217112"/>
              <a:gd name="connsiteX10313" fmla="*/ 6200731 w 6785952"/>
              <a:gd name="connsiteY10313" fmla="*/ 1279670 h 5217112"/>
              <a:gd name="connsiteX10314" fmla="*/ 6200731 w 6785952"/>
              <a:gd name="connsiteY10314" fmla="*/ 1282721 h 5217112"/>
              <a:gd name="connsiteX10315" fmla="*/ 6203478 w 6785952"/>
              <a:gd name="connsiteY10315" fmla="*/ 1318028 h 5217112"/>
              <a:gd name="connsiteX10316" fmla="*/ 6206224 w 6785952"/>
              <a:gd name="connsiteY10316" fmla="*/ 1345380 h 5217112"/>
              <a:gd name="connsiteX10317" fmla="*/ 6207599 w 6785952"/>
              <a:gd name="connsiteY10317" fmla="*/ 1345380 h 5217112"/>
              <a:gd name="connsiteX10318" fmla="*/ 6207599 w 6785952"/>
              <a:gd name="connsiteY10318" fmla="*/ 1338624 h 5217112"/>
              <a:gd name="connsiteX10319" fmla="*/ 6207599 w 6785952"/>
              <a:gd name="connsiteY10319" fmla="*/ 1337208 h 5217112"/>
              <a:gd name="connsiteX10320" fmla="*/ 6207599 w 6785952"/>
              <a:gd name="connsiteY10320" fmla="*/ 1334483 h 5217112"/>
              <a:gd name="connsiteX10321" fmla="*/ 6211993 w 6785952"/>
              <a:gd name="connsiteY10321" fmla="*/ 1335900 h 5217112"/>
              <a:gd name="connsiteX10322" fmla="*/ 6211993 w 6785952"/>
              <a:gd name="connsiteY10322" fmla="*/ 1346797 h 5217112"/>
              <a:gd name="connsiteX10323" fmla="*/ 6213642 w 6785952"/>
              <a:gd name="connsiteY10323" fmla="*/ 1354970 h 5217112"/>
              <a:gd name="connsiteX10324" fmla="*/ 6213642 w 6785952"/>
              <a:gd name="connsiteY10324" fmla="*/ 1353662 h 5217112"/>
              <a:gd name="connsiteX10325" fmla="*/ 6216388 w 6785952"/>
              <a:gd name="connsiteY10325" fmla="*/ 1350938 h 5217112"/>
              <a:gd name="connsiteX10326" fmla="*/ 6217762 w 6785952"/>
              <a:gd name="connsiteY10326" fmla="*/ 1353662 h 5217112"/>
              <a:gd name="connsiteX10327" fmla="*/ 6217762 w 6785952"/>
              <a:gd name="connsiteY10327" fmla="*/ 1360419 h 5217112"/>
              <a:gd name="connsiteX10328" fmla="*/ 6219136 w 6785952"/>
              <a:gd name="connsiteY10328" fmla="*/ 1367392 h 5217112"/>
              <a:gd name="connsiteX10329" fmla="*/ 6219136 w 6785952"/>
              <a:gd name="connsiteY10329" fmla="*/ 1368810 h 5217112"/>
              <a:gd name="connsiteX10330" fmla="*/ 6220509 w 6785952"/>
              <a:gd name="connsiteY10330" fmla="*/ 1376982 h 5217112"/>
              <a:gd name="connsiteX10331" fmla="*/ 6217762 w 6785952"/>
              <a:gd name="connsiteY10331" fmla="*/ 1370117 h 5217112"/>
              <a:gd name="connsiteX10332" fmla="*/ 6217762 w 6785952"/>
              <a:gd name="connsiteY10332" fmla="*/ 1368810 h 5217112"/>
              <a:gd name="connsiteX10333" fmla="*/ 6216388 w 6785952"/>
              <a:gd name="connsiteY10333" fmla="*/ 1368810 h 5217112"/>
              <a:gd name="connsiteX10334" fmla="*/ 6215015 w 6785952"/>
              <a:gd name="connsiteY10334" fmla="*/ 1367392 h 5217112"/>
              <a:gd name="connsiteX10335" fmla="*/ 6211993 w 6785952"/>
              <a:gd name="connsiteY10335" fmla="*/ 1368810 h 5217112"/>
              <a:gd name="connsiteX10336" fmla="*/ 6210620 w 6785952"/>
              <a:gd name="connsiteY10336" fmla="*/ 1387880 h 5217112"/>
              <a:gd name="connsiteX10337" fmla="*/ 6213642 w 6785952"/>
              <a:gd name="connsiteY10337" fmla="*/ 1389296 h 5217112"/>
              <a:gd name="connsiteX10338" fmla="*/ 6215015 w 6785952"/>
              <a:gd name="connsiteY10338" fmla="*/ 1393328 h 5217112"/>
              <a:gd name="connsiteX10339" fmla="*/ 6210620 w 6785952"/>
              <a:gd name="connsiteY10339" fmla="*/ 1396162 h 5217112"/>
              <a:gd name="connsiteX10340" fmla="*/ 6207599 w 6785952"/>
              <a:gd name="connsiteY10340" fmla="*/ 1393328 h 5217112"/>
              <a:gd name="connsiteX10341" fmla="*/ 6206224 w 6785952"/>
              <a:gd name="connsiteY10341" fmla="*/ 1392020 h 5217112"/>
              <a:gd name="connsiteX10342" fmla="*/ 6206224 w 6785952"/>
              <a:gd name="connsiteY10342" fmla="*/ 1390604 h 5217112"/>
              <a:gd name="connsiteX10343" fmla="*/ 6206224 w 6785952"/>
              <a:gd name="connsiteY10343" fmla="*/ 1374258 h 5217112"/>
              <a:gd name="connsiteX10344" fmla="*/ 6206224 w 6785952"/>
              <a:gd name="connsiteY10344" fmla="*/ 1365976 h 5217112"/>
              <a:gd name="connsiteX10345" fmla="*/ 6206224 w 6785952"/>
              <a:gd name="connsiteY10345" fmla="*/ 1361944 h 5217112"/>
              <a:gd name="connsiteX10346" fmla="*/ 6203478 w 6785952"/>
              <a:gd name="connsiteY10346" fmla="*/ 1367392 h 5217112"/>
              <a:gd name="connsiteX10347" fmla="*/ 6203478 w 6785952"/>
              <a:gd name="connsiteY10347" fmla="*/ 1372842 h 5217112"/>
              <a:gd name="connsiteX10348" fmla="*/ 6203478 w 6785952"/>
              <a:gd name="connsiteY10348" fmla="*/ 1390604 h 5217112"/>
              <a:gd name="connsiteX10349" fmla="*/ 6203204 w 6785952"/>
              <a:gd name="connsiteY10349" fmla="*/ 1397687 h 5217112"/>
              <a:gd name="connsiteX10350" fmla="*/ 6208423 w 6785952"/>
              <a:gd name="connsiteY10350" fmla="*/ 1401065 h 5217112"/>
              <a:gd name="connsiteX10351" fmla="*/ 6209796 w 6785952"/>
              <a:gd name="connsiteY10351" fmla="*/ 1399648 h 5217112"/>
              <a:gd name="connsiteX10352" fmla="*/ 6216663 w 6785952"/>
              <a:gd name="connsiteY10352" fmla="*/ 1398559 h 5217112"/>
              <a:gd name="connsiteX10353" fmla="*/ 6212543 w 6785952"/>
              <a:gd name="connsiteY10353" fmla="*/ 1404225 h 5217112"/>
              <a:gd name="connsiteX10354" fmla="*/ 6211993 w 6785952"/>
              <a:gd name="connsiteY10354" fmla="*/ 1404225 h 5217112"/>
              <a:gd name="connsiteX10355" fmla="*/ 6211993 w 6785952"/>
              <a:gd name="connsiteY10355" fmla="*/ 1404334 h 5217112"/>
              <a:gd name="connsiteX10356" fmla="*/ 6213642 w 6785952"/>
              <a:gd name="connsiteY10356" fmla="*/ 1409892 h 5217112"/>
              <a:gd name="connsiteX10357" fmla="*/ 6211993 w 6785952"/>
              <a:gd name="connsiteY10357" fmla="*/ 1411200 h 5217112"/>
              <a:gd name="connsiteX10358" fmla="*/ 6210620 w 6785952"/>
              <a:gd name="connsiteY10358" fmla="*/ 1411200 h 5217112"/>
              <a:gd name="connsiteX10359" fmla="*/ 6209247 w 6785952"/>
              <a:gd name="connsiteY10359" fmla="*/ 1405752 h 5217112"/>
              <a:gd name="connsiteX10360" fmla="*/ 6207874 w 6785952"/>
              <a:gd name="connsiteY10360" fmla="*/ 1419155 h 5217112"/>
              <a:gd name="connsiteX10361" fmla="*/ 6207599 w 6785952"/>
              <a:gd name="connsiteY10361" fmla="*/ 1419373 h 5217112"/>
              <a:gd name="connsiteX10362" fmla="*/ 6207599 w 6785952"/>
              <a:gd name="connsiteY10362" fmla="*/ 1420790 h 5217112"/>
              <a:gd name="connsiteX10363" fmla="*/ 6207874 w 6785952"/>
              <a:gd name="connsiteY10363" fmla="*/ 1419155 h 5217112"/>
              <a:gd name="connsiteX10364" fmla="*/ 6209247 w 6785952"/>
              <a:gd name="connsiteY10364" fmla="*/ 1416648 h 5217112"/>
              <a:gd name="connsiteX10365" fmla="*/ 6210620 w 6785952"/>
              <a:gd name="connsiteY10365" fmla="*/ 1419373 h 5217112"/>
              <a:gd name="connsiteX10366" fmla="*/ 6210620 w 6785952"/>
              <a:gd name="connsiteY10366" fmla="*/ 1424821 h 5217112"/>
              <a:gd name="connsiteX10367" fmla="*/ 6210620 w 6785952"/>
              <a:gd name="connsiteY10367" fmla="*/ 1426238 h 5217112"/>
              <a:gd name="connsiteX10368" fmla="*/ 6209247 w 6785952"/>
              <a:gd name="connsiteY10368" fmla="*/ 1426238 h 5217112"/>
              <a:gd name="connsiteX10369" fmla="*/ 6212268 w 6785952"/>
              <a:gd name="connsiteY10369" fmla="*/ 1428308 h 5217112"/>
              <a:gd name="connsiteX10370" fmla="*/ 6213642 w 6785952"/>
              <a:gd name="connsiteY10370" fmla="*/ 1427328 h 5217112"/>
              <a:gd name="connsiteX10371" fmla="*/ 6216114 w 6785952"/>
              <a:gd name="connsiteY10371" fmla="*/ 1426783 h 5217112"/>
              <a:gd name="connsiteX10372" fmla="*/ 6218312 w 6785952"/>
              <a:gd name="connsiteY10372" fmla="*/ 1420572 h 5217112"/>
              <a:gd name="connsiteX10373" fmla="*/ 6220509 w 6785952"/>
              <a:gd name="connsiteY10373" fmla="*/ 1409892 h 5217112"/>
              <a:gd name="connsiteX10374" fmla="*/ 6222157 w 6785952"/>
              <a:gd name="connsiteY10374" fmla="*/ 1409892 h 5217112"/>
              <a:gd name="connsiteX10375" fmla="*/ 6222157 w 6785952"/>
              <a:gd name="connsiteY10375" fmla="*/ 1408476 h 5217112"/>
              <a:gd name="connsiteX10376" fmla="*/ 6222157 w 6785952"/>
              <a:gd name="connsiteY10376" fmla="*/ 1405752 h 5217112"/>
              <a:gd name="connsiteX10377" fmla="*/ 6217762 w 6785952"/>
              <a:gd name="connsiteY10377" fmla="*/ 1404334 h 5217112"/>
              <a:gd name="connsiteX10378" fmla="*/ 6224904 w 6785952"/>
              <a:gd name="connsiteY10378" fmla="*/ 1387880 h 5217112"/>
              <a:gd name="connsiteX10379" fmla="*/ 6224904 w 6785952"/>
              <a:gd name="connsiteY10379" fmla="*/ 1379706 h 5217112"/>
              <a:gd name="connsiteX10380" fmla="*/ 6227925 w 6785952"/>
              <a:gd name="connsiteY10380" fmla="*/ 1376982 h 5217112"/>
              <a:gd name="connsiteX10381" fmla="*/ 6229299 w 6785952"/>
              <a:gd name="connsiteY10381" fmla="*/ 1379706 h 5217112"/>
              <a:gd name="connsiteX10382" fmla="*/ 6229299 w 6785952"/>
              <a:gd name="connsiteY10382" fmla="*/ 1389296 h 5217112"/>
              <a:gd name="connsiteX10383" fmla="*/ 6227925 w 6785952"/>
              <a:gd name="connsiteY10383" fmla="*/ 1409892 h 5217112"/>
              <a:gd name="connsiteX10384" fmla="*/ 6229299 w 6785952"/>
              <a:gd name="connsiteY10384" fmla="*/ 1433212 h 5217112"/>
              <a:gd name="connsiteX10385" fmla="*/ 6240837 w 6785952"/>
              <a:gd name="connsiteY10385" fmla="*/ 1426238 h 5217112"/>
              <a:gd name="connsiteX10386" fmla="*/ 6245231 w 6785952"/>
              <a:gd name="connsiteY10386" fmla="*/ 1408476 h 5217112"/>
              <a:gd name="connsiteX10387" fmla="*/ 6255120 w 6785952"/>
              <a:gd name="connsiteY10387" fmla="*/ 1397578 h 5217112"/>
              <a:gd name="connsiteX10388" fmla="*/ 6255120 w 6785952"/>
              <a:gd name="connsiteY10388" fmla="*/ 1393328 h 5217112"/>
              <a:gd name="connsiteX10389" fmla="*/ 6253747 w 6785952"/>
              <a:gd name="connsiteY10389" fmla="*/ 1389296 h 5217112"/>
              <a:gd name="connsiteX10390" fmla="*/ 6253747 w 6785952"/>
              <a:gd name="connsiteY10390" fmla="*/ 1387880 h 5217112"/>
              <a:gd name="connsiteX10391" fmla="*/ 6255120 w 6785952"/>
              <a:gd name="connsiteY10391" fmla="*/ 1386572 h 5217112"/>
              <a:gd name="connsiteX10392" fmla="*/ 6256494 w 6785952"/>
              <a:gd name="connsiteY10392" fmla="*/ 1389296 h 5217112"/>
              <a:gd name="connsiteX10393" fmla="*/ 6258142 w 6785952"/>
              <a:gd name="connsiteY10393" fmla="*/ 1389296 h 5217112"/>
              <a:gd name="connsiteX10394" fmla="*/ 6265010 w 6785952"/>
              <a:gd name="connsiteY10394" fmla="*/ 1386572 h 5217112"/>
              <a:gd name="connsiteX10395" fmla="*/ 6268032 w 6785952"/>
              <a:gd name="connsiteY10395" fmla="*/ 1329034 h 5217112"/>
              <a:gd name="connsiteX10396" fmla="*/ 6266657 w 6785952"/>
              <a:gd name="connsiteY10396" fmla="*/ 1308438 h 5217112"/>
              <a:gd name="connsiteX10397" fmla="*/ 6266657 w 6785952"/>
              <a:gd name="connsiteY10397" fmla="*/ 1307130 h 5217112"/>
              <a:gd name="connsiteX10398" fmla="*/ 6263636 w 6785952"/>
              <a:gd name="connsiteY10398" fmla="*/ 1278252 h 5217112"/>
              <a:gd name="connsiteX10399" fmla="*/ 6258142 w 6785952"/>
              <a:gd name="connsiteY10399" fmla="*/ 1285118 h 5217112"/>
              <a:gd name="connsiteX10400" fmla="*/ 6258142 w 6785952"/>
              <a:gd name="connsiteY10400" fmla="*/ 1294817 h 5217112"/>
              <a:gd name="connsiteX10401" fmla="*/ 6256494 w 6785952"/>
              <a:gd name="connsiteY10401" fmla="*/ 1298848 h 5217112"/>
              <a:gd name="connsiteX10402" fmla="*/ 6258142 w 6785952"/>
              <a:gd name="connsiteY10402" fmla="*/ 1298848 h 5217112"/>
              <a:gd name="connsiteX10403" fmla="*/ 6253747 w 6785952"/>
              <a:gd name="connsiteY10403" fmla="*/ 1308438 h 5217112"/>
              <a:gd name="connsiteX10404" fmla="*/ 6252099 w 6785952"/>
              <a:gd name="connsiteY10404" fmla="*/ 1297541 h 5217112"/>
              <a:gd name="connsiteX10405" fmla="*/ 6252099 w 6785952"/>
              <a:gd name="connsiteY10405" fmla="*/ 1293291 h 5217112"/>
              <a:gd name="connsiteX10406" fmla="*/ 6253198 w 6785952"/>
              <a:gd name="connsiteY10406" fmla="*/ 1288387 h 5217112"/>
              <a:gd name="connsiteX10407" fmla="*/ 6250176 w 6785952"/>
              <a:gd name="connsiteY10407" fmla="*/ 1291984 h 5217112"/>
              <a:gd name="connsiteX10408" fmla="*/ 6236441 w 6785952"/>
              <a:gd name="connsiteY10408" fmla="*/ 1293836 h 5217112"/>
              <a:gd name="connsiteX10409" fmla="*/ 6223806 w 6785952"/>
              <a:gd name="connsiteY10409" fmla="*/ 1289804 h 5217112"/>
              <a:gd name="connsiteX10410" fmla="*/ 6215565 w 6785952"/>
              <a:gd name="connsiteY10410" fmla="*/ 1284792 h 5217112"/>
              <a:gd name="connsiteX10411" fmla="*/ 6215839 w 6785952"/>
              <a:gd name="connsiteY10411" fmla="*/ 1290022 h 5217112"/>
              <a:gd name="connsiteX10412" fmla="*/ 6222432 w 6785952"/>
              <a:gd name="connsiteY10412" fmla="*/ 1298086 h 5217112"/>
              <a:gd name="connsiteX10413" fmla="*/ 6219685 w 6785952"/>
              <a:gd name="connsiteY10413" fmla="*/ 1301791 h 5217112"/>
              <a:gd name="connsiteX10414" fmla="*/ 6216663 w 6785952"/>
              <a:gd name="connsiteY10414" fmla="*/ 1302881 h 5217112"/>
              <a:gd name="connsiteX10415" fmla="*/ 6218312 w 6785952"/>
              <a:gd name="connsiteY10415" fmla="*/ 1318464 h 5217112"/>
              <a:gd name="connsiteX10416" fmla="*/ 6217762 w 6785952"/>
              <a:gd name="connsiteY10416" fmla="*/ 1338624 h 5217112"/>
              <a:gd name="connsiteX10417" fmla="*/ 6215015 w 6785952"/>
              <a:gd name="connsiteY10417" fmla="*/ 1339932 h 5217112"/>
              <a:gd name="connsiteX10418" fmla="*/ 6213642 w 6785952"/>
              <a:gd name="connsiteY10418" fmla="*/ 1337208 h 5217112"/>
              <a:gd name="connsiteX10419" fmla="*/ 6213642 w 6785952"/>
              <a:gd name="connsiteY10419" fmla="*/ 1303426 h 5217112"/>
              <a:gd name="connsiteX10420" fmla="*/ 6205950 w 6785952"/>
              <a:gd name="connsiteY10420" fmla="*/ 1303644 h 5217112"/>
              <a:gd name="connsiteX10421" fmla="*/ 6204302 w 6785952"/>
              <a:gd name="connsiteY10421" fmla="*/ 1287842 h 5217112"/>
              <a:gd name="connsiteX10422" fmla="*/ 6207599 w 6785952"/>
              <a:gd name="connsiteY10422" fmla="*/ 1288169 h 5217112"/>
              <a:gd name="connsiteX10423" fmla="*/ 6207324 w 6785952"/>
              <a:gd name="connsiteY10423" fmla="*/ 1287079 h 5217112"/>
              <a:gd name="connsiteX10424" fmla="*/ 6208148 w 6785952"/>
              <a:gd name="connsiteY10424" fmla="*/ 1279996 h 5217112"/>
              <a:gd name="connsiteX10425" fmla="*/ 6210345 w 6785952"/>
              <a:gd name="connsiteY10425" fmla="*/ 1285881 h 5217112"/>
              <a:gd name="connsiteX10426" fmla="*/ 6210895 w 6785952"/>
              <a:gd name="connsiteY10426" fmla="*/ 1288496 h 5217112"/>
              <a:gd name="connsiteX10427" fmla="*/ 6212268 w 6785952"/>
              <a:gd name="connsiteY10427" fmla="*/ 1288714 h 5217112"/>
              <a:gd name="connsiteX10428" fmla="*/ 6211444 w 6785952"/>
              <a:gd name="connsiteY10428" fmla="*/ 1282067 h 5217112"/>
              <a:gd name="connsiteX10429" fmla="*/ 6271877 w 6785952"/>
              <a:gd name="connsiteY10429" fmla="*/ 1274112 h 5217112"/>
              <a:gd name="connsiteX10430" fmla="*/ 6272426 w 6785952"/>
              <a:gd name="connsiteY10430" fmla="*/ 1276945 h 5217112"/>
              <a:gd name="connsiteX10431" fmla="*/ 6276547 w 6785952"/>
              <a:gd name="connsiteY10431" fmla="*/ 1287842 h 5217112"/>
              <a:gd name="connsiteX10432" fmla="*/ 6273800 w 6785952"/>
              <a:gd name="connsiteY10432" fmla="*/ 1285118 h 5217112"/>
              <a:gd name="connsiteX10433" fmla="*/ 6274624 w 6785952"/>
              <a:gd name="connsiteY10433" fmla="*/ 1290894 h 5217112"/>
              <a:gd name="connsiteX10434" fmla="*/ 6277370 w 6785952"/>
              <a:gd name="connsiteY10434" fmla="*/ 1290894 h 5217112"/>
              <a:gd name="connsiteX10435" fmla="*/ 6276272 w 6785952"/>
              <a:gd name="connsiteY10435" fmla="*/ 1297323 h 5217112"/>
              <a:gd name="connsiteX10436" fmla="*/ 6275997 w 6785952"/>
              <a:gd name="connsiteY10436" fmla="*/ 1297541 h 5217112"/>
              <a:gd name="connsiteX10437" fmla="*/ 6276547 w 6785952"/>
              <a:gd name="connsiteY10437" fmla="*/ 1301573 h 5217112"/>
              <a:gd name="connsiteX10438" fmla="*/ 6272426 w 6785952"/>
              <a:gd name="connsiteY10438" fmla="*/ 1309855 h 5217112"/>
              <a:gd name="connsiteX10439" fmla="*/ 6272426 w 6785952"/>
              <a:gd name="connsiteY10439" fmla="*/ 1329034 h 5217112"/>
              <a:gd name="connsiteX10440" fmla="*/ 6273800 w 6785952"/>
              <a:gd name="connsiteY10440" fmla="*/ 1372842 h 5217112"/>
              <a:gd name="connsiteX10441" fmla="*/ 6276547 w 6785952"/>
              <a:gd name="connsiteY10441" fmla="*/ 1374258 h 5217112"/>
              <a:gd name="connsiteX10442" fmla="*/ 6275173 w 6785952"/>
              <a:gd name="connsiteY10442" fmla="*/ 1360419 h 5217112"/>
              <a:gd name="connsiteX10443" fmla="*/ 6275173 w 6785952"/>
              <a:gd name="connsiteY10443" fmla="*/ 1357694 h 5217112"/>
              <a:gd name="connsiteX10444" fmla="*/ 6275173 w 6785952"/>
              <a:gd name="connsiteY10444" fmla="*/ 1356386 h 5217112"/>
              <a:gd name="connsiteX10445" fmla="*/ 6275173 w 6785952"/>
              <a:gd name="connsiteY10445" fmla="*/ 1354970 h 5217112"/>
              <a:gd name="connsiteX10446" fmla="*/ 6276547 w 6785952"/>
              <a:gd name="connsiteY10446" fmla="*/ 1356386 h 5217112"/>
              <a:gd name="connsiteX10447" fmla="*/ 6277920 w 6785952"/>
              <a:gd name="connsiteY10447" fmla="*/ 1359111 h 5217112"/>
              <a:gd name="connsiteX10448" fmla="*/ 6277920 w 6785952"/>
              <a:gd name="connsiteY10448" fmla="*/ 1376982 h 5217112"/>
              <a:gd name="connsiteX10449" fmla="*/ 6280942 w 6785952"/>
              <a:gd name="connsiteY10449" fmla="*/ 1376982 h 5217112"/>
              <a:gd name="connsiteX10450" fmla="*/ 6282315 w 6785952"/>
              <a:gd name="connsiteY10450" fmla="*/ 1344072 h 5217112"/>
              <a:gd name="connsiteX10451" fmla="*/ 6282315 w 6785952"/>
              <a:gd name="connsiteY10451" fmla="*/ 1324785 h 5217112"/>
              <a:gd name="connsiteX10452" fmla="*/ 6280942 w 6785952"/>
              <a:gd name="connsiteY10452" fmla="*/ 1324785 h 5217112"/>
              <a:gd name="connsiteX10453" fmla="*/ 6279019 w 6785952"/>
              <a:gd name="connsiteY10453" fmla="*/ 1274983 h 5217112"/>
              <a:gd name="connsiteX10454" fmla="*/ 6278195 w 6785952"/>
              <a:gd name="connsiteY10454" fmla="*/ 1275528 h 5217112"/>
              <a:gd name="connsiteX10455" fmla="*/ 2427797 w 6785952"/>
              <a:gd name="connsiteY10455" fmla="*/ 1274003 h 5217112"/>
              <a:gd name="connsiteX10456" fmla="*/ 2435214 w 6785952"/>
              <a:gd name="connsiteY10456" fmla="*/ 1286862 h 5217112"/>
              <a:gd name="connsiteX10457" fmla="*/ 2436312 w 6785952"/>
              <a:gd name="connsiteY10457" fmla="*/ 1292201 h 5217112"/>
              <a:gd name="connsiteX10458" fmla="*/ 2435763 w 6785952"/>
              <a:gd name="connsiteY10458" fmla="*/ 1290894 h 5217112"/>
              <a:gd name="connsiteX10459" fmla="*/ 2434939 w 6785952"/>
              <a:gd name="connsiteY10459" fmla="*/ 1292746 h 5217112"/>
              <a:gd name="connsiteX10460" fmla="*/ 2428621 w 6785952"/>
              <a:gd name="connsiteY10460" fmla="*/ 1282176 h 5217112"/>
              <a:gd name="connsiteX10461" fmla="*/ 2426423 w 6785952"/>
              <a:gd name="connsiteY10461" fmla="*/ 1274548 h 5217112"/>
              <a:gd name="connsiteX10462" fmla="*/ 2427797 w 6785952"/>
              <a:gd name="connsiteY10462" fmla="*/ 1274003 h 5217112"/>
              <a:gd name="connsiteX10463" fmla="*/ 6201280 w 6785952"/>
              <a:gd name="connsiteY10463" fmla="*/ 1271714 h 5217112"/>
              <a:gd name="connsiteX10464" fmla="*/ 6200731 w 6785952"/>
              <a:gd name="connsiteY10464" fmla="*/ 1275528 h 5217112"/>
              <a:gd name="connsiteX10465" fmla="*/ 6202929 w 6785952"/>
              <a:gd name="connsiteY10465" fmla="*/ 1275092 h 5217112"/>
              <a:gd name="connsiteX10466" fmla="*/ 6204302 w 6785952"/>
              <a:gd name="connsiteY10466" fmla="*/ 1275419 h 5217112"/>
              <a:gd name="connsiteX10467" fmla="*/ 6202654 w 6785952"/>
              <a:gd name="connsiteY10467" fmla="*/ 1273894 h 5217112"/>
              <a:gd name="connsiteX10468" fmla="*/ 1856707 w 6785952"/>
              <a:gd name="connsiteY10468" fmla="*/ 1271714 h 5217112"/>
              <a:gd name="connsiteX10469" fmla="*/ 1850663 w 6785952"/>
              <a:gd name="connsiteY10469" fmla="*/ 1279670 h 5217112"/>
              <a:gd name="connsiteX10470" fmla="*/ 1853135 w 6785952"/>
              <a:gd name="connsiteY10470" fmla="*/ 1276509 h 5217112"/>
              <a:gd name="connsiteX10471" fmla="*/ 1852586 w 6785952"/>
              <a:gd name="connsiteY10471" fmla="*/ 1273458 h 5217112"/>
              <a:gd name="connsiteX10472" fmla="*/ 1856707 w 6785952"/>
              <a:gd name="connsiteY10472" fmla="*/ 1271714 h 5217112"/>
              <a:gd name="connsiteX10473" fmla="*/ 2419556 w 6785952"/>
              <a:gd name="connsiteY10473" fmla="*/ 1271060 h 5217112"/>
              <a:gd name="connsiteX10474" fmla="*/ 2421204 w 6785952"/>
              <a:gd name="connsiteY10474" fmla="*/ 1276945 h 5217112"/>
              <a:gd name="connsiteX10475" fmla="*/ 2419830 w 6785952"/>
              <a:gd name="connsiteY10475" fmla="*/ 1280541 h 5217112"/>
              <a:gd name="connsiteX10476" fmla="*/ 2422029 w 6785952"/>
              <a:gd name="connsiteY10476" fmla="*/ 1280977 h 5217112"/>
              <a:gd name="connsiteX10477" fmla="*/ 2425874 w 6785952"/>
              <a:gd name="connsiteY10477" fmla="*/ 1297977 h 5217112"/>
              <a:gd name="connsiteX10478" fmla="*/ 2418183 w 6785952"/>
              <a:gd name="connsiteY10478" fmla="*/ 1298413 h 5217112"/>
              <a:gd name="connsiteX10479" fmla="*/ 2412414 w 6785952"/>
              <a:gd name="connsiteY10479" fmla="*/ 1297541 h 5217112"/>
              <a:gd name="connsiteX10480" fmla="*/ 2408293 w 6785952"/>
              <a:gd name="connsiteY10480" fmla="*/ 1286426 h 5217112"/>
              <a:gd name="connsiteX10481" fmla="*/ 2408568 w 6785952"/>
              <a:gd name="connsiteY10481" fmla="*/ 1285881 h 5217112"/>
              <a:gd name="connsiteX10482" fmla="*/ 2408568 w 6785952"/>
              <a:gd name="connsiteY10482" fmla="*/ 1285772 h 5217112"/>
              <a:gd name="connsiteX10483" fmla="*/ 2406096 w 6785952"/>
              <a:gd name="connsiteY10483" fmla="*/ 1280760 h 5217112"/>
              <a:gd name="connsiteX10484" fmla="*/ 2409117 w 6785952"/>
              <a:gd name="connsiteY10484" fmla="*/ 1275311 h 5217112"/>
              <a:gd name="connsiteX10485" fmla="*/ 2419556 w 6785952"/>
              <a:gd name="connsiteY10485" fmla="*/ 1271060 h 5217112"/>
              <a:gd name="connsiteX10486" fmla="*/ 2431917 w 6785952"/>
              <a:gd name="connsiteY10486" fmla="*/ 1268881 h 5217112"/>
              <a:gd name="connsiteX10487" fmla="*/ 2451421 w 6785952"/>
              <a:gd name="connsiteY10487" fmla="*/ 1287189 h 5217112"/>
              <a:gd name="connsiteX10488" fmla="*/ 2445927 w 6785952"/>
              <a:gd name="connsiteY10488" fmla="*/ 1289477 h 5217112"/>
              <a:gd name="connsiteX10489" fmla="*/ 2445103 w 6785952"/>
              <a:gd name="connsiteY10489" fmla="*/ 1286753 h 5217112"/>
              <a:gd name="connsiteX10490" fmla="*/ 2440982 w 6785952"/>
              <a:gd name="connsiteY10490" fmla="*/ 1284355 h 5217112"/>
              <a:gd name="connsiteX10491" fmla="*/ 2439609 w 6785952"/>
              <a:gd name="connsiteY10491" fmla="*/ 1282721 h 5217112"/>
              <a:gd name="connsiteX10492" fmla="*/ 2434390 w 6785952"/>
              <a:gd name="connsiteY10492" fmla="*/ 1281740 h 5217112"/>
              <a:gd name="connsiteX10493" fmla="*/ 2433840 w 6785952"/>
              <a:gd name="connsiteY10493" fmla="*/ 1277163 h 5217112"/>
              <a:gd name="connsiteX10494" fmla="*/ 2435763 w 6785952"/>
              <a:gd name="connsiteY10494" fmla="*/ 1277163 h 5217112"/>
              <a:gd name="connsiteX10495" fmla="*/ 1090032 w 6785952"/>
              <a:gd name="connsiteY10495" fmla="*/ 1267791 h 5217112"/>
              <a:gd name="connsiteX10496" fmla="*/ 1093054 w 6785952"/>
              <a:gd name="connsiteY10496" fmla="*/ 1269426 h 5217112"/>
              <a:gd name="connsiteX10497" fmla="*/ 1095801 w 6785952"/>
              <a:gd name="connsiteY10497" fmla="*/ 1269535 h 5217112"/>
              <a:gd name="connsiteX10498" fmla="*/ 1095801 w 6785952"/>
              <a:gd name="connsiteY10498" fmla="*/ 1270951 h 5217112"/>
              <a:gd name="connsiteX10499" fmla="*/ 1097450 w 6785952"/>
              <a:gd name="connsiteY10499" fmla="*/ 1272586 h 5217112"/>
              <a:gd name="connsiteX10500" fmla="*/ 1094977 w 6785952"/>
              <a:gd name="connsiteY10500" fmla="*/ 1278362 h 5217112"/>
              <a:gd name="connsiteX10501" fmla="*/ 1092231 w 6785952"/>
              <a:gd name="connsiteY10501" fmla="*/ 1280105 h 5217112"/>
              <a:gd name="connsiteX10502" fmla="*/ 1089209 w 6785952"/>
              <a:gd name="connsiteY10502" fmla="*/ 1279560 h 5217112"/>
              <a:gd name="connsiteX10503" fmla="*/ 1087836 w 6785952"/>
              <a:gd name="connsiteY10503" fmla="*/ 1276509 h 5217112"/>
              <a:gd name="connsiteX10504" fmla="*/ 1087561 w 6785952"/>
              <a:gd name="connsiteY10504" fmla="*/ 1270625 h 5217112"/>
              <a:gd name="connsiteX10505" fmla="*/ 1090032 w 6785952"/>
              <a:gd name="connsiteY10505" fmla="*/ 1267791 h 5217112"/>
              <a:gd name="connsiteX10506" fmla="*/ 1874562 w 6785952"/>
              <a:gd name="connsiteY10506" fmla="*/ 1266048 h 5217112"/>
              <a:gd name="connsiteX10507" fmla="*/ 1875661 w 6785952"/>
              <a:gd name="connsiteY10507" fmla="*/ 1266157 h 5217112"/>
              <a:gd name="connsiteX10508" fmla="*/ 1874013 w 6785952"/>
              <a:gd name="connsiteY10508" fmla="*/ 1269317 h 5217112"/>
              <a:gd name="connsiteX10509" fmla="*/ 1873463 w 6785952"/>
              <a:gd name="connsiteY10509" fmla="*/ 1268227 h 5217112"/>
              <a:gd name="connsiteX10510" fmla="*/ 1874562 w 6785952"/>
              <a:gd name="connsiteY10510" fmla="*/ 1266048 h 5217112"/>
              <a:gd name="connsiteX10511" fmla="*/ 6239188 w 6785952"/>
              <a:gd name="connsiteY10511" fmla="*/ 1264849 h 5217112"/>
              <a:gd name="connsiteX10512" fmla="*/ 6232046 w 6785952"/>
              <a:gd name="connsiteY10512" fmla="*/ 1265938 h 5217112"/>
              <a:gd name="connsiteX10513" fmla="*/ 6232046 w 6785952"/>
              <a:gd name="connsiteY10513" fmla="*/ 1268772 h 5217112"/>
              <a:gd name="connsiteX10514" fmla="*/ 6242210 w 6785952"/>
              <a:gd name="connsiteY10514" fmla="*/ 1272586 h 5217112"/>
              <a:gd name="connsiteX10515" fmla="*/ 2316545 w 6785952"/>
              <a:gd name="connsiteY10515" fmla="*/ 1264631 h 5217112"/>
              <a:gd name="connsiteX10516" fmla="*/ 2309678 w 6785952"/>
              <a:gd name="connsiteY10516" fmla="*/ 1273567 h 5217112"/>
              <a:gd name="connsiteX10517" fmla="*/ 2316545 w 6785952"/>
              <a:gd name="connsiteY10517" fmla="*/ 1264631 h 5217112"/>
              <a:gd name="connsiteX10518" fmla="*/ 2270946 w 6785952"/>
              <a:gd name="connsiteY10518" fmla="*/ 1262560 h 5217112"/>
              <a:gd name="connsiteX10519" fmla="*/ 2273967 w 6785952"/>
              <a:gd name="connsiteY10519" fmla="*/ 1267573 h 5217112"/>
              <a:gd name="connsiteX10520" fmla="*/ 2271496 w 6785952"/>
              <a:gd name="connsiteY10520" fmla="*/ 1270189 h 5217112"/>
              <a:gd name="connsiteX10521" fmla="*/ 2269298 w 6785952"/>
              <a:gd name="connsiteY10521" fmla="*/ 1272368 h 5217112"/>
              <a:gd name="connsiteX10522" fmla="*/ 2268199 w 6785952"/>
              <a:gd name="connsiteY10522" fmla="*/ 1272041 h 5217112"/>
              <a:gd name="connsiteX10523" fmla="*/ 2268473 w 6785952"/>
              <a:gd name="connsiteY10523" fmla="*/ 1272804 h 5217112"/>
              <a:gd name="connsiteX10524" fmla="*/ 2266002 w 6785952"/>
              <a:gd name="connsiteY10524" fmla="*/ 1274112 h 5217112"/>
              <a:gd name="connsiteX10525" fmla="*/ 2266551 w 6785952"/>
              <a:gd name="connsiteY10525" fmla="*/ 1275311 h 5217112"/>
              <a:gd name="connsiteX10526" fmla="*/ 2263529 w 6785952"/>
              <a:gd name="connsiteY10526" fmla="*/ 1275311 h 5217112"/>
              <a:gd name="connsiteX10527" fmla="*/ 2262980 w 6785952"/>
              <a:gd name="connsiteY10527" fmla="*/ 1274003 h 5217112"/>
              <a:gd name="connsiteX10528" fmla="*/ 2262705 w 6785952"/>
              <a:gd name="connsiteY10528" fmla="*/ 1273894 h 5217112"/>
              <a:gd name="connsiteX10529" fmla="*/ 2263254 w 6785952"/>
              <a:gd name="connsiteY10529" fmla="*/ 1270843 h 5217112"/>
              <a:gd name="connsiteX10530" fmla="*/ 2265178 w 6785952"/>
              <a:gd name="connsiteY10530" fmla="*/ 1268336 h 5217112"/>
              <a:gd name="connsiteX10531" fmla="*/ 2265727 w 6785952"/>
              <a:gd name="connsiteY10531" fmla="*/ 1268554 h 5217112"/>
              <a:gd name="connsiteX10532" fmla="*/ 2263804 w 6785952"/>
              <a:gd name="connsiteY10532" fmla="*/ 1265394 h 5217112"/>
              <a:gd name="connsiteX10533" fmla="*/ 2266276 w 6785952"/>
              <a:gd name="connsiteY10533" fmla="*/ 1262888 h 5217112"/>
              <a:gd name="connsiteX10534" fmla="*/ 2270946 w 6785952"/>
              <a:gd name="connsiteY10534" fmla="*/ 1262560 h 5217112"/>
              <a:gd name="connsiteX10535" fmla="*/ 1154586 w 6785952"/>
              <a:gd name="connsiteY10535" fmla="*/ 1262451 h 5217112"/>
              <a:gd name="connsiteX10536" fmla="*/ 1153762 w 6785952"/>
              <a:gd name="connsiteY10536" fmla="*/ 1275419 h 5217112"/>
              <a:gd name="connsiteX10537" fmla="*/ 1149367 w 6785952"/>
              <a:gd name="connsiteY10537" fmla="*/ 1276182 h 5217112"/>
              <a:gd name="connsiteX10538" fmla="*/ 1144697 w 6785952"/>
              <a:gd name="connsiteY10538" fmla="*/ 1266375 h 5217112"/>
              <a:gd name="connsiteX10539" fmla="*/ 1147444 w 6785952"/>
              <a:gd name="connsiteY10539" fmla="*/ 1262778 h 5217112"/>
              <a:gd name="connsiteX10540" fmla="*/ 1154586 w 6785952"/>
              <a:gd name="connsiteY10540" fmla="*/ 1262451 h 5217112"/>
              <a:gd name="connsiteX10541" fmla="*/ 2422029 w 6785952"/>
              <a:gd name="connsiteY10541" fmla="*/ 1260599 h 5217112"/>
              <a:gd name="connsiteX10542" fmla="*/ 2428072 w 6785952"/>
              <a:gd name="connsiteY10542" fmla="*/ 1264522 h 5217112"/>
              <a:gd name="connsiteX10543" fmla="*/ 2426973 w 6785952"/>
              <a:gd name="connsiteY10543" fmla="*/ 1266483 h 5217112"/>
              <a:gd name="connsiteX10544" fmla="*/ 2422029 w 6785952"/>
              <a:gd name="connsiteY10544" fmla="*/ 1262888 h 5217112"/>
              <a:gd name="connsiteX10545" fmla="*/ 2422029 w 6785952"/>
              <a:gd name="connsiteY10545" fmla="*/ 1260599 h 5217112"/>
              <a:gd name="connsiteX10546" fmla="*/ 2386043 w 6785952"/>
              <a:gd name="connsiteY10546" fmla="*/ 1260599 h 5217112"/>
              <a:gd name="connsiteX10547" fmla="*/ 2384395 w 6785952"/>
              <a:gd name="connsiteY10547" fmla="*/ 1272150 h 5217112"/>
              <a:gd name="connsiteX10548" fmla="*/ 2376703 w 6785952"/>
              <a:gd name="connsiteY10548" fmla="*/ 1265938 h 5217112"/>
              <a:gd name="connsiteX10549" fmla="*/ 2386043 w 6785952"/>
              <a:gd name="connsiteY10549" fmla="*/ 1260599 h 5217112"/>
              <a:gd name="connsiteX10550" fmla="*/ 1831160 w 6785952"/>
              <a:gd name="connsiteY10550" fmla="*/ 1259400 h 5217112"/>
              <a:gd name="connsiteX10551" fmla="*/ 1822644 w 6785952"/>
              <a:gd name="connsiteY10551" fmla="*/ 1266920 h 5217112"/>
              <a:gd name="connsiteX10552" fmla="*/ 1819898 w 6785952"/>
              <a:gd name="connsiteY10552" fmla="*/ 1266266 h 5217112"/>
              <a:gd name="connsiteX10553" fmla="*/ 1831160 w 6785952"/>
              <a:gd name="connsiteY10553" fmla="*/ 1259400 h 5217112"/>
              <a:gd name="connsiteX10554" fmla="*/ 2187989 w 6785952"/>
              <a:gd name="connsiteY10554" fmla="*/ 1257875 h 5217112"/>
              <a:gd name="connsiteX10555" fmla="*/ 2190186 w 6785952"/>
              <a:gd name="connsiteY10555" fmla="*/ 1259945 h 5217112"/>
              <a:gd name="connsiteX10556" fmla="*/ 2194307 w 6785952"/>
              <a:gd name="connsiteY10556" fmla="*/ 1265067 h 5217112"/>
              <a:gd name="connsiteX10557" fmla="*/ 2185791 w 6785952"/>
              <a:gd name="connsiteY10557" fmla="*/ 1257983 h 5217112"/>
              <a:gd name="connsiteX10558" fmla="*/ 2187989 w 6785952"/>
              <a:gd name="connsiteY10558" fmla="*/ 1257875 h 5217112"/>
              <a:gd name="connsiteX10559" fmla="*/ 1879781 w 6785952"/>
              <a:gd name="connsiteY10559" fmla="*/ 1257547 h 5217112"/>
              <a:gd name="connsiteX10560" fmla="*/ 1874562 w 6785952"/>
              <a:gd name="connsiteY10560" fmla="*/ 1265067 h 5217112"/>
              <a:gd name="connsiteX10561" fmla="*/ 1875386 w 6785952"/>
              <a:gd name="connsiteY10561" fmla="*/ 1258965 h 5217112"/>
              <a:gd name="connsiteX10562" fmla="*/ 1879781 w 6785952"/>
              <a:gd name="connsiteY10562" fmla="*/ 1257547 h 5217112"/>
              <a:gd name="connsiteX10563" fmla="*/ 1170828 w 6785952"/>
              <a:gd name="connsiteY10563" fmla="*/ 1257480 h 5217112"/>
              <a:gd name="connsiteX10564" fmla="*/ 1179309 w 6785952"/>
              <a:gd name="connsiteY10564" fmla="*/ 1268663 h 5217112"/>
              <a:gd name="connsiteX10565" fmla="*/ 1168596 w 6785952"/>
              <a:gd name="connsiteY10565" fmla="*/ 1273240 h 5217112"/>
              <a:gd name="connsiteX10566" fmla="*/ 1158982 w 6785952"/>
              <a:gd name="connsiteY10566" fmla="*/ 1267682 h 5217112"/>
              <a:gd name="connsiteX10567" fmla="*/ 1157608 w 6785952"/>
              <a:gd name="connsiteY10567" fmla="*/ 1260599 h 5217112"/>
              <a:gd name="connsiteX10568" fmla="*/ 1170828 w 6785952"/>
              <a:gd name="connsiteY10568" fmla="*/ 1257480 h 5217112"/>
              <a:gd name="connsiteX10569" fmla="*/ 6202105 w 6785952"/>
              <a:gd name="connsiteY10569" fmla="*/ 1252208 h 5217112"/>
              <a:gd name="connsiteX10570" fmla="*/ 6200456 w 6785952"/>
              <a:gd name="connsiteY10570" fmla="*/ 1257983 h 5217112"/>
              <a:gd name="connsiteX10571" fmla="*/ 6201830 w 6785952"/>
              <a:gd name="connsiteY10571" fmla="*/ 1264849 h 5217112"/>
              <a:gd name="connsiteX10572" fmla="*/ 6207049 w 6785952"/>
              <a:gd name="connsiteY10572" fmla="*/ 1264195 h 5217112"/>
              <a:gd name="connsiteX10573" fmla="*/ 6204851 w 6785952"/>
              <a:gd name="connsiteY10573" fmla="*/ 1257657 h 5217112"/>
              <a:gd name="connsiteX10574" fmla="*/ 6202105 w 6785952"/>
              <a:gd name="connsiteY10574" fmla="*/ 1252208 h 5217112"/>
              <a:gd name="connsiteX10575" fmla="*/ 6308411 w 6785952"/>
              <a:gd name="connsiteY10575" fmla="*/ 1251772 h 5217112"/>
              <a:gd name="connsiteX10576" fmla="*/ 6310609 w 6785952"/>
              <a:gd name="connsiteY10576" fmla="*/ 1254932 h 5217112"/>
              <a:gd name="connsiteX10577" fmla="*/ 6304840 w 6785952"/>
              <a:gd name="connsiteY10577" fmla="*/ 1258092 h 5217112"/>
              <a:gd name="connsiteX10578" fmla="*/ 6303467 w 6785952"/>
              <a:gd name="connsiteY10578" fmla="*/ 1253407 h 5217112"/>
              <a:gd name="connsiteX10579" fmla="*/ 6308411 w 6785952"/>
              <a:gd name="connsiteY10579" fmla="*/ 1251772 h 5217112"/>
              <a:gd name="connsiteX10580" fmla="*/ 1756718 w 6785952"/>
              <a:gd name="connsiteY10580" fmla="*/ 1251009 h 5217112"/>
              <a:gd name="connsiteX10581" fmla="*/ 1754245 w 6785952"/>
              <a:gd name="connsiteY10581" fmla="*/ 1252862 h 5217112"/>
              <a:gd name="connsiteX10582" fmla="*/ 1755893 w 6785952"/>
              <a:gd name="connsiteY10582" fmla="*/ 1252426 h 5217112"/>
              <a:gd name="connsiteX10583" fmla="*/ 1961365 w 6785952"/>
              <a:gd name="connsiteY10583" fmla="*/ 1246215 h 5217112"/>
              <a:gd name="connsiteX10584" fmla="*/ 1961914 w 6785952"/>
              <a:gd name="connsiteY10584" fmla="*/ 1259400 h 5217112"/>
              <a:gd name="connsiteX10585" fmla="*/ 1949553 w 6785952"/>
              <a:gd name="connsiteY10585" fmla="*/ 1267682 h 5217112"/>
              <a:gd name="connsiteX10586" fmla="*/ 1944609 w 6785952"/>
              <a:gd name="connsiteY10586" fmla="*/ 1254169 h 5217112"/>
              <a:gd name="connsiteX10587" fmla="*/ 1945982 w 6785952"/>
              <a:gd name="connsiteY10587" fmla="*/ 1252753 h 5217112"/>
              <a:gd name="connsiteX10588" fmla="*/ 1961365 w 6785952"/>
              <a:gd name="connsiteY10588" fmla="*/ 1246215 h 5217112"/>
              <a:gd name="connsiteX10589" fmla="*/ 6213093 w 6785952"/>
              <a:gd name="connsiteY10589" fmla="*/ 1244035 h 5217112"/>
              <a:gd name="connsiteX10590" fmla="*/ 6214741 w 6785952"/>
              <a:gd name="connsiteY10590" fmla="*/ 1256676 h 5217112"/>
              <a:gd name="connsiteX10591" fmla="*/ 6214741 w 6785952"/>
              <a:gd name="connsiteY10591" fmla="*/ 1264304 h 5217112"/>
              <a:gd name="connsiteX10592" fmla="*/ 6226278 w 6785952"/>
              <a:gd name="connsiteY10592" fmla="*/ 1266483 h 5217112"/>
              <a:gd name="connsiteX10593" fmla="*/ 6227925 w 6785952"/>
              <a:gd name="connsiteY10593" fmla="*/ 1267028 h 5217112"/>
              <a:gd name="connsiteX10594" fmla="*/ 6227925 w 6785952"/>
              <a:gd name="connsiteY10594" fmla="*/ 1264631 h 5217112"/>
              <a:gd name="connsiteX10595" fmla="*/ 6226278 w 6785952"/>
              <a:gd name="connsiteY10595" fmla="*/ 1264631 h 5217112"/>
              <a:gd name="connsiteX10596" fmla="*/ 6225728 w 6785952"/>
              <a:gd name="connsiteY10596" fmla="*/ 1257766 h 5217112"/>
              <a:gd name="connsiteX10597" fmla="*/ 6223531 w 6785952"/>
              <a:gd name="connsiteY10597" fmla="*/ 1256785 h 5217112"/>
              <a:gd name="connsiteX10598" fmla="*/ 6217762 w 6785952"/>
              <a:gd name="connsiteY10598" fmla="*/ 1251663 h 5217112"/>
              <a:gd name="connsiteX10599" fmla="*/ 6275173 w 6785952"/>
              <a:gd name="connsiteY10599" fmla="*/ 1243599 h 5217112"/>
              <a:gd name="connsiteX10600" fmla="*/ 6272151 w 6785952"/>
              <a:gd name="connsiteY10600" fmla="*/ 1245125 h 5217112"/>
              <a:gd name="connsiteX10601" fmla="*/ 6269405 w 6785952"/>
              <a:gd name="connsiteY10601" fmla="*/ 1245997 h 5217112"/>
              <a:gd name="connsiteX10602" fmla="*/ 6269405 w 6785952"/>
              <a:gd name="connsiteY10602" fmla="*/ 1246760 h 5217112"/>
              <a:gd name="connsiteX10603" fmla="*/ 6273800 w 6785952"/>
              <a:gd name="connsiteY10603" fmla="*/ 1260381 h 5217112"/>
              <a:gd name="connsiteX10604" fmla="*/ 6270778 w 6785952"/>
              <a:gd name="connsiteY10604" fmla="*/ 1260381 h 5217112"/>
              <a:gd name="connsiteX10605" fmla="*/ 6271877 w 6785952"/>
              <a:gd name="connsiteY10605" fmla="*/ 1273785 h 5217112"/>
              <a:gd name="connsiteX10606" fmla="*/ 6275723 w 6785952"/>
              <a:gd name="connsiteY10606" fmla="*/ 1271279 h 5217112"/>
              <a:gd name="connsiteX10607" fmla="*/ 6278470 w 6785952"/>
              <a:gd name="connsiteY10607" fmla="*/ 1269644 h 5217112"/>
              <a:gd name="connsiteX10608" fmla="*/ 2194032 w 6785952"/>
              <a:gd name="connsiteY10608" fmla="*/ 1241202 h 5217112"/>
              <a:gd name="connsiteX10609" fmla="*/ 2208315 w 6785952"/>
              <a:gd name="connsiteY10609" fmla="*/ 1249593 h 5217112"/>
              <a:gd name="connsiteX10610" fmla="*/ 2205844 w 6785952"/>
              <a:gd name="connsiteY10610" fmla="*/ 1255586 h 5217112"/>
              <a:gd name="connsiteX10611" fmla="*/ 2201174 w 6785952"/>
              <a:gd name="connsiteY10611" fmla="*/ 1257766 h 5217112"/>
              <a:gd name="connsiteX10612" fmla="*/ 2189637 w 6785952"/>
              <a:gd name="connsiteY10612" fmla="*/ 1249701 h 5217112"/>
              <a:gd name="connsiteX10613" fmla="*/ 2194032 w 6785952"/>
              <a:gd name="connsiteY10613" fmla="*/ 1241202 h 5217112"/>
              <a:gd name="connsiteX10614" fmla="*/ 1576792 w 6785952"/>
              <a:gd name="connsiteY10614" fmla="*/ 1241093 h 5217112"/>
              <a:gd name="connsiteX10615" fmla="*/ 1576517 w 6785952"/>
              <a:gd name="connsiteY10615" fmla="*/ 1241202 h 5217112"/>
              <a:gd name="connsiteX10616" fmla="*/ 1577067 w 6785952"/>
              <a:gd name="connsiteY10616" fmla="*/ 1241202 h 5217112"/>
              <a:gd name="connsiteX10617" fmla="*/ 6549284 w 6785952"/>
              <a:gd name="connsiteY10617" fmla="*/ 1240712 h 5217112"/>
              <a:gd name="connsiteX10618" fmla="*/ 6558109 w 6785952"/>
              <a:gd name="connsiteY10618" fmla="*/ 1247413 h 5217112"/>
              <a:gd name="connsiteX10619" fmla="*/ 6555637 w 6785952"/>
              <a:gd name="connsiteY10619" fmla="*/ 1257657 h 5217112"/>
              <a:gd name="connsiteX10620" fmla="*/ 6541078 w 6785952"/>
              <a:gd name="connsiteY10620" fmla="*/ 1245125 h 5217112"/>
              <a:gd name="connsiteX10621" fmla="*/ 6549284 w 6785952"/>
              <a:gd name="connsiteY10621" fmla="*/ 1240712 h 5217112"/>
              <a:gd name="connsiteX10622" fmla="*/ 1815433 w 6785952"/>
              <a:gd name="connsiteY10622" fmla="*/ 1237824 h 5217112"/>
              <a:gd name="connsiteX10623" fmla="*/ 1822094 w 6785952"/>
              <a:gd name="connsiteY10623" fmla="*/ 1242183 h 5217112"/>
              <a:gd name="connsiteX10624" fmla="*/ 1815777 w 6785952"/>
              <a:gd name="connsiteY10624" fmla="*/ 1247740 h 5217112"/>
              <a:gd name="connsiteX10625" fmla="*/ 1809185 w 6785952"/>
              <a:gd name="connsiteY10625" fmla="*/ 1243926 h 5217112"/>
              <a:gd name="connsiteX10626" fmla="*/ 1815433 w 6785952"/>
              <a:gd name="connsiteY10626" fmla="*/ 1237824 h 5217112"/>
              <a:gd name="connsiteX10627" fmla="*/ 1019986 w 6785952"/>
              <a:gd name="connsiteY10627" fmla="*/ 1237606 h 5217112"/>
              <a:gd name="connsiteX10628" fmla="*/ 1026030 w 6785952"/>
              <a:gd name="connsiteY10628" fmla="*/ 1239894 h 5217112"/>
              <a:gd name="connsiteX10629" fmla="*/ 1026304 w 6785952"/>
              <a:gd name="connsiteY10629" fmla="*/ 1240657 h 5217112"/>
              <a:gd name="connsiteX10630" fmla="*/ 1029051 w 6785952"/>
              <a:gd name="connsiteY10630" fmla="*/ 1241747 h 5217112"/>
              <a:gd name="connsiteX10631" fmla="*/ 1029326 w 6785952"/>
              <a:gd name="connsiteY10631" fmla="*/ 1245887 h 5217112"/>
              <a:gd name="connsiteX10632" fmla="*/ 1031523 w 6785952"/>
              <a:gd name="connsiteY10632" fmla="*/ 1249156 h 5217112"/>
              <a:gd name="connsiteX10633" fmla="*/ 1029874 w 6785952"/>
              <a:gd name="connsiteY10633" fmla="*/ 1250138 h 5217112"/>
              <a:gd name="connsiteX10634" fmla="*/ 1029051 w 6785952"/>
              <a:gd name="connsiteY10634" fmla="*/ 1252753 h 5217112"/>
              <a:gd name="connsiteX10635" fmla="*/ 1020261 w 6785952"/>
              <a:gd name="connsiteY10635" fmla="*/ 1253624 h 5217112"/>
              <a:gd name="connsiteX10636" fmla="*/ 1016140 w 6785952"/>
              <a:gd name="connsiteY10636" fmla="*/ 1251772 h 5217112"/>
              <a:gd name="connsiteX10637" fmla="*/ 1014492 w 6785952"/>
              <a:gd name="connsiteY10637" fmla="*/ 1248285 h 5217112"/>
              <a:gd name="connsiteX10638" fmla="*/ 1015317 w 6785952"/>
              <a:gd name="connsiteY10638" fmla="*/ 1246760 h 5217112"/>
              <a:gd name="connsiteX10639" fmla="*/ 1015591 w 6785952"/>
              <a:gd name="connsiteY10639" fmla="*/ 1241964 h 5217112"/>
              <a:gd name="connsiteX10640" fmla="*/ 1019986 w 6785952"/>
              <a:gd name="connsiteY10640" fmla="*/ 1237606 h 5217112"/>
              <a:gd name="connsiteX10641" fmla="*/ 1594647 w 6785952"/>
              <a:gd name="connsiteY10641" fmla="*/ 1236625 h 5217112"/>
              <a:gd name="connsiteX10642" fmla="*/ 1593823 w 6785952"/>
              <a:gd name="connsiteY10642" fmla="*/ 1236734 h 5217112"/>
              <a:gd name="connsiteX10643" fmla="*/ 1586682 w 6785952"/>
              <a:gd name="connsiteY10643" fmla="*/ 1237715 h 5217112"/>
              <a:gd name="connsiteX10644" fmla="*/ 1587505 w 6785952"/>
              <a:gd name="connsiteY10644" fmla="*/ 1241855 h 5217112"/>
              <a:gd name="connsiteX10645" fmla="*/ 1596021 w 6785952"/>
              <a:gd name="connsiteY10645" fmla="*/ 1243817 h 5217112"/>
              <a:gd name="connsiteX10646" fmla="*/ 1596296 w 6785952"/>
              <a:gd name="connsiteY10646" fmla="*/ 1243054 h 5217112"/>
              <a:gd name="connsiteX10647" fmla="*/ 1597670 w 6785952"/>
              <a:gd name="connsiteY10647" fmla="*/ 1243272 h 5217112"/>
              <a:gd name="connsiteX10648" fmla="*/ 1597120 w 6785952"/>
              <a:gd name="connsiteY10648" fmla="*/ 1244144 h 5217112"/>
              <a:gd name="connsiteX10649" fmla="*/ 1599043 w 6785952"/>
              <a:gd name="connsiteY10649" fmla="*/ 1244471 h 5217112"/>
              <a:gd name="connsiteX10650" fmla="*/ 1610854 w 6785952"/>
              <a:gd name="connsiteY10650" fmla="*/ 1250138 h 5217112"/>
              <a:gd name="connsiteX10651" fmla="*/ 1609206 w 6785952"/>
              <a:gd name="connsiteY10651" fmla="*/ 1245343 h 5217112"/>
              <a:gd name="connsiteX10652" fmla="*/ 1615524 w 6785952"/>
              <a:gd name="connsiteY10652" fmla="*/ 1243381 h 5217112"/>
              <a:gd name="connsiteX10653" fmla="*/ 1626787 w 6785952"/>
              <a:gd name="connsiteY10653" fmla="*/ 1245016 h 5217112"/>
              <a:gd name="connsiteX10654" fmla="*/ 1628160 w 6785952"/>
              <a:gd name="connsiteY10654" fmla="*/ 1244689 h 5217112"/>
              <a:gd name="connsiteX10655" fmla="*/ 1635577 w 6785952"/>
              <a:gd name="connsiteY10655" fmla="*/ 1246323 h 5217112"/>
              <a:gd name="connsiteX10656" fmla="*/ 1635028 w 6785952"/>
              <a:gd name="connsiteY10656" fmla="*/ 1245125 h 5217112"/>
              <a:gd name="connsiteX10657" fmla="*/ 1636950 w 6785952"/>
              <a:gd name="connsiteY10657" fmla="*/ 1245887 h 5217112"/>
              <a:gd name="connsiteX10658" fmla="*/ 1638598 w 6785952"/>
              <a:gd name="connsiteY10658" fmla="*/ 1245997 h 5217112"/>
              <a:gd name="connsiteX10659" fmla="*/ 1641346 w 6785952"/>
              <a:gd name="connsiteY10659" fmla="*/ 1240221 h 5217112"/>
              <a:gd name="connsiteX10660" fmla="*/ 1655905 w 6785952"/>
              <a:gd name="connsiteY10660" fmla="*/ 1245343 h 5217112"/>
              <a:gd name="connsiteX10661" fmla="*/ 1656454 w 6785952"/>
              <a:gd name="connsiteY10661" fmla="*/ 1246323 h 5217112"/>
              <a:gd name="connsiteX10662" fmla="*/ 1664420 w 6785952"/>
              <a:gd name="connsiteY10662" fmla="*/ 1246541 h 5217112"/>
              <a:gd name="connsiteX10663" fmla="*/ 1678430 w 6785952"/>
              <a:gd name="connsiteY10663" fmla="*/ 1247413 h 5217112"/>
              <a:gd name="connsiteX10664" fmla="*/ 1675133 w 6785952"/>
              <a:gd name="connsiteY10664" fmla="*/ 1241747 h 5217112"/>
              <a:gd name="connsiteX10665" fmla="*/ 1673760 w 6785952"/>
              <a:gd name="connsiteY10665" fmla="*/ 1241093 h 5217112"/>
              <a:gd name="connsiteX10666" fmla="*/ 1674034 w 6785952"/>
              <a:gd name="connsiteY10666" fmla="*/ 1246432 h 5217112"/>
              <a:gd name="connsiteX10667" fmla="*/ 1670737 w 6785952"/>
              <a:gd name="connsiteY10667" fmla="*/ 1241529 h 5217112"/>
              <a:gd name="connsiteX10668" fmla="*/ 1670737 w 6785952"/>
              <a:gd name="connsiteY10668" fmla="*/ 1240112 h 5217112"/>
              <a:gd name="connsiteX10669" fmla="*/ 1669364 w 6785952"/>
              <a:gd name="connsiteY10669" fmla="*/ 1241310 h 5217112"/>
              <a:gd name="connsiteX10670" fmla="*/ 1668266 w 6785952"/>
              <a:gd name="connsiteY10670" fmla="*/ 1245016 h 5217112"/>
              <a:gd name="connsiteX10671" fmla="*/ 1668266 w 6785952"/>
              <a:gd name="connsiteY10671" fmla="*/ 1245343 h 5217112"/>
              <a:gd name="connsiteX10672" fmla="*/ 1665519 w 6785952"/>
              <a:gd name="connsiteY10672" fmla="*/ 1246106 h 5217112"/>
              <a:gd name="connsiteX10673" fmla="*/ 1665244 w 6785952"/>
              <a:gd name="connsiteY10673" fmla="*/ 1245887 h 5217112"/>
              <a:gd name="connsiteX10674" fmla="*/ 1664146 w 6785952"/>
              <a:gd name="connsiteY10674" fmla="*/ 1246106 h 5217112"/>
              <a:gd name="connsiteX10675" fmla="*/ 1663046 w 6785952"/>
              <a:gd name="connsiteY10675" fmla="*/ 1245452 h 5217112"/>
              <a:gd name="connsiteX10676" fmla="*/ 1663321 w 6785952"/>
              <a:gd name="connsiteY10676" fmla="*/ 1244035 h 5217112"/>
              <a:gd name="connsiteX10677" fmla="*/ 1652608 w 6785952"/>
              <a:gd name="connsiteY10677" fmla="*/ 1242618 h 5217112"/>
              <a:gd name="connsiteX10678" fmla="*/ 1642445 w 6785952"/>
              <a:gd name="connsiteY10678" fmla="*/ 1238695 h 5217112"/>
              <a:gd name="connsiteX10679" fmla="*/ 1626512 w 6785952"/>
              <a:gd name="connsiteY10679" fmla="*/ 1239785 h 5217112"/>
              <a:gd name="connsiteX10680" fmla="*/ 1617722 w 6785952"/>
              <a:gd name="connsiteY10680" fmla="*/ 1238586 h 5217112"/>
              <a:gd name="connsiteX10681" fmla="*/ 1614701 w 6785952"/>
              <a:gd name="connsiteY10681" fmla="*/ 1237496 h 5217112"/>
              <a:gd name="connsiteX10682" fmla="*/ 1605909 w 6785952"/>
              <a:gd name="connsiteY10682" fmla="*/ 1239349 h 5217112"/>
              <a:gd name="connsiteX10683" fmla="*/ 1594922 w 6785952"/>
              <a:gd name="connsiteY10683" fmla="*/ 1236952 h 5217112"/>
              <a:gd name="connsiteX10684" fmla="*/ 1099111 w 6785952"/>
              <a:gd name="connsiteY10684" fmla="*/ 1234648 h 5217112"/>
              <a:gd name="connsiteX10685" fmla="*/ 1110360 w 6785952"/>
              <a:gd name="connsiteY10685" fmla="*/ 1235971 h 5217112"/>
              <a:gd name="connsiteX10686" fmla="*/ 1072727 w 6785952"/>
              <a:gd name="connsiteY10686" fmla="*/ 1266048 h 5217112"/>
              <a:gd name="connsiteX10687" fmla="*/ 1099111 w 6785952"/>
              <a:gd name="connsiteY10687" fmla="*/ 1234648 h 5217112"/>
              <a:gd name="connsiteX10688" fmla="*/ 6290831 w 6785952"/>
              <a:gd name="connsiteY10688" fmla="*/ 1234446 h 5217112"/>
              <a:gd name="connsiteX10689" fmla="*/ 6291655 w 6785952"/>
              <a:gd name="connsiteY10689" fmla="*/ 1235645 h 5217112"/>
              <a:gd name="connsiteX10690" fmla="*/ 6289732 w 6785952"/>
              <a:gd name="connsiteY10690" fmla="*/ 1236625 h 5217112"/>
              <a:gd name="connsiteX10691" fmla="*/ 6288358 w 6785952"/>
              <a:gd name="connsiteY10691" fmla="*/ 1236189 h 5217112"/>
              <a:gd name="connsiteX10692" fmla="*/ 6290831 w 6785952"/>
              <a:gd name="connsiteY10692" fmla="*/ 1234446 h 5217112"/>
              <a:gd name="connsiteX10693" fmla="*/ 1218865 w 6785952"/>
              <a:gd name="connsiteY10693" fmla="*/ 1233247 h 5217112"/>
              <a:gd name="connsiteX10694" fmla="*/ 1221887 w 6785952"/>
              <a:gd name="connsiteY10694" fmla="*/ 1237715 h 5217112"/>
              <a:gd name="connsiteX10695" fmla="*/ 1219689 w 6785952"/>
              <a:gd name="connsiteY10695" fmla="*/ 1238914 h 5217112"/>
              <a:gd name="connsiteX10696" fmla="*/ 1219963 w 6785952"/>
              <a:gd name="connsiteY10696" fmla="*/ 1240221 h 5217112"/>
              <a:gd name="connsiteX10697" fmla="*/ 1216942 w 6785952"/>
              <a:gd name="connsiteY10697" fmla="*/ 1240112 h 5217112"/>
              <a:gd name="connsiteX10698" fmla="*/ 1216393 w 6785952"/>
              <a:gd name="connsiteY10698" fmla="*/ 1238914 h 5217112"/>
              <a:gd name="connsiteX10699" fmla="*/ 1216119 w 6785952"/>
              <a:gd name="connsiteY10699" fmla="*/ 1238695 h 5217112"/>
              <a:gd name="connsiteX10700" fmla="*/ 1216942 w 6785952"/>
              <a:gd name="connsiteY10700" fmla="*/ 1235753 h 5217112"/>
              <a:gd name="connsiteX10701" fmla="*/ 1218865 w 6785952"/>
              <a:gd name="connsiteY10701" fmla="*/ 1233247 h 5217112"/>
              <a:gd name="connsiteX10702" fmla="*/ 6616379 w 6785952"/>
              <a:gd name="connsiteY10702" fmla="*/ 1231803 h 5217112"/>
              <a:gd name="connsiteX10703" fmla="*/ 6634200 w 6785952"/>
              <a:gd name="connsiteY10703" fmla="*/ 1237061 h 5217112"/>
              <a:gd name="connsiteX10704" fmla="*/ 6636397 w 6785952"/>
              <a:gd name="connsiteY10704" fmla="*/ 1240112 h 5217112"/>
              <a:gd name="connsiteX10705" fmla="*/ 6630903 w 6785952"/>
              <a:gd name="connsiteY10705" fmla="*/ 1242727 h 5217112"/>
              <a:gd name="connsiteX10706" fmla="*/ 6627332 w 6785952"/>
              <a:gd name="connsiteY10706" fmla="*/ 1241747 h 5217112"/>
              <a:gd name="connsiteX10707" fmla="*/ 6605082 w 6785952"/>
              <a:gd name="connsiteY10707" fmla="*/ 1238914 h 5217112"/>
              <a:gd name="connsiteX10708" fmla="*/ 6597939 w 6785952"/>
              <a:gd name="connsiteY10708" fmla="*/ 1233573 h 5217112"/>
              <a:gd name="connsiteX10709" fmla="*/ 6616379 w 6785952"/>
              <a:gd name="connsiteY10709" fmla="*/ 1231803 h 5217112"/>
              <a:gd name="connsiteX10710" fmla="*/ 1585033 w 6785952"/>
              <a:gd name="connsiteY10710" fmla="*/ 1229869 h 5217112"/>
              <a:gd name="connsiteX10711" fmla="*/ 1584483 w 6785952"/>
              <a:gd name="connsiteY10711" fmla="*/ 1230523 h 5217112"/>
              <a:gd name="connsiteX10712" fmla="*/ 1586132 w 6785952"/>
              <a:gd name="connsiteY10712" fmla="*/ 1230958 h 5217112"/>
              <a:gd name="connsiteX10713" fmla="*/ 1585583 w 6785952"/>
              <a:gd name="connsiteY10713" fmla="*/ 1230740 h 5217112"/>
              <a:gd name="connsiteX10714" fmla="*/ 1765233 w 6785952"/>
              <a:gd name="connsiteY10714" fmla="*/ 1229759 h 5217112"/>
              <a:gd name="connsiteX10715" fmla="*/ 1767156 w 6785952"/>
              <a:gd name="connsiteY10715" fmla="*/ 1230523 h 5217112"/>
              <a:gd name="connsiteX10716" fmla="*/ 1779517 w 6785952"/>
              <a:gd name="connsiteY10716" fmla="*/ 1241747 h 5217112"/>
              <a:gd name="connsiteX10717" fmla="*/ 1771551 w 6785952"/>
              <a:gd name="connsiteY10717" fmla="*/ 1248176 h 5217112"/>
              <a:gd name="connsiteX10718" fmla="*/ 1767705 w 6785952"/>
              <a:gd name="connsiteY10718" fmla="*/ 1247631 h 5217112"/>
              <a:gd name="connsiteX10719" fmla="*/ 1755070 w 6785952"/>
              <a:gd name="connsiteY10719" fmla="*/ 1239676 h 5217112"/>
              <a:gd name="connsiteX10720" fmla="*/ 1765233 w 6785952"/>
              <a:gd name="connsiteY10720" fmla="*/ 1229759 h 5217112"/>
              <a:gd name="connsiteX10721" fmla="*/ 1497955 w 6785952"/>
              <a:gd name="connsiteY10721" fmla="*/ 1228561 h 5217112"/>
              <a:gd name="connsiteX10722" fmla="*/ 1497680 w 6785952"/>
              <a:gd name="connsiteY10722" fmla="*/ 1229542 h 5217112"/>
              <a:gd name="connsiteX10723" fmla="*/ 1497405 w 6785952"/>
              <a:gd name="connsiteY10723" fmla="*/ 1229759 h 5217112"/>
              <a:gd name="connsiteX10724" fmla="*/ 1496581 w 6785952"/>
              <a:gd name="connsiteY10724" fmla="*/ 1229215 h 5217112"/>
              <a:gd name="connsiteX10725" fmla="*/ 2392361 w 6785952"/>
              <a:gd name="connsiteY10725" fmla="*/ 1228234 h 5217112"/>
              <a:gd name="connsiteX10726" fmla="*/ 2404722 w 6785952"/>
              <a:gd name="connsiteY10726" fmla="*/ 1233138 h 5217112"/>
              <a:gd name="connsiteX10727" fmla="*/ 2405547 w 6785952"/>
              <a:gd name="connsiteY10727" fmla="*/ 1236407 h 5217112"/>
              <a:gd name="connsiteX10728" fmla="*/ 2401426 w 6785952"/>
              <a:gd name="connsiteY10728" fmla="*/ 1238041 h 5217112"/>
              <a:gd name="connsiteX10729" fmla="*/ 2393185 w 6785952"/>
              <a:gd name="connsiteY10729" fmla="*/ 1230523 h 5217112"/>
              <a:gd name="connsiteX10730" fmla="*/ 2392361 w 6785952"/>
              <a:gd name="connsiteY10730" fmla="*/ 1228234 h 5217112"/>
              <a:gd name="connsiteX10731" fmla="*/ 6640517 w 6785952"/>
              <a:gd name="connsiteY10731" fmla="*/ 1227908 h 5217112"/>
              <a:gd name="connsiteX10732" fmla="*/ 6642166 w 6785952"/>
              <a:gd name="connsiteY10732" fmla="*/ 1230087 h 5217112"/>
              <a:gd name="connsiteX10733" fmla="*/ 6641891 w 6785952"/>
              <a:gd name="connsiteY10733" fmla="*/ 1232920 h 5217112"/>
              <a:gd name="connsiteX10734" fmla="*/ 6636397 w 6785952"/>
              <a:gd name="connsiteY10734" fmla="*/ 1232266 h 5217112"/>
              <a:gd name="connsiteX10735" fmla="*/ 6636672 w 6785952"/>
              <a:gd name="connsiteY10735" fmla="*/ 1228125 h 5217112"/>
              <a:gd name="connsiteX10736" fmla="*/ 6640517 w 6785952"/>
              <a:gd name="connsiteY10736" fmla="*/ 1227908 h 5217112"/>
              <a:gd name="connsiteX10737" fmla="*/ 1674584 w 6785952"/>
              <a:gd name="connsiteY10737" fmla="*/ 1227689 h 5217112"/>
              <a:gd name="connsiteX10738" fmla="*/ 1666618 w 6785952"/>
              <a:gd name="connsiteY10738" fmla="*/ 1229978 h 5217112"/>
              <a:gd name="connsiteX10739" fmla="*/ 1665519 w 6785952"/>
              <a:gd name="connsiteY10739" fmla="*/ 1229869 h 5217112"/>
              <a:gd name="connsiteX10740" fmla="*/ 1665519 w 6785952"/>
              <a:gd name="connsiteY10740" fmla="*/ 1235645 h 5217112"/>
              <a:gd name="connsiteX10741" fmla="*/ 1661673 w 6785952"/>
              <a:gd name="connsiteY10741" fmla="*/ 1237715 h 5217112"/>
              <a:gd name="connsiteX10742" fmla="*/ 1660024 w 6785952"/>
              <a:gd name="connsiteY10742" fmla="*/ 1237715 h 5217112"/>
              <a:gd name="connsiteX10743" fmla="*/ 1664969 w 6785952"/>
              <a:gd name="connsiteY10743" fmla="*/ 1240548 h 5217112"/>
              <a:gd name="connsiteX10744" fmla="*/ 1667168 w 6785952"/>
              <a:gd name="connsiteY10744" fmla="*/ 1237279 h 5217112"/>
              <a:gd name="connsiteX10745" fmla="*/ 1666343 w 6785952"/>
              <a:gd name="connsiteY10745" fmla="*/ 1236407 h 5217112"/>
              <a:gd name="connsiteX10746" fmla="*/ 1668541 w 6785952"/>
              <a:gd name="connsiteY10746" fmla="*/ 1234446 h 5217112"/>
              <a:gd name="connsiteX10747" fmla="*/ 1669090 w 6785952"/>
              <a:gd name="connsiteY10747" fmla="*/ 1234663 h 5217112"/>
              <a:gd name="connsiteX10748" fmla="*/ 1672936 w 6785952"/>
              <a:gd name="connsiteY10748" fmla="*/ 1230195 h 5217112"/>
              <a:gd name="connsiteX10749" fmla="*/ 1222985 w 6785952"/>
              <a:gd name="connsiteY10749" fmla="*/ 1227580 h 5217112"/>
              <a:gd name="connsiteX10750" fmla="*/ 1225183 w 6785952"/>
              <a:gd name="connsiteY10750" fmla="*/ 1231067 h 5217112"/>
              <a:gd name="connsiteX10751" fmla="*/ 1221612 w 6785952"/>
              <a:gd name="connsiteY10751" fmla="*/ 1233247 h 5217112"/>
              <a:gd name="connsiteX10752" fmla="*/ 1219140 w 6785952"/>
              <a:gd name="connsiteY10752" fmla="*/ 1227908 h 5217112"/>
              <a:gd name="connsiteX10753" fmla="*/ 1222985 w 6785952"/>
              <a:gd name="connsiteY10753" fmla="*/ 1227580 h 5217112"/>
              <a:gd name="connsiteX10754" fmla="*/ 1638873 w 6785952"/>
              <a:gd name="connsiteY10754" fmla="*/ 1227144 h 5217112"/>
              <a:gd name="connsiteX10755" fmla="*/ 1639972 w 6785952"/>
              <a:gd name="connsiteY10755" fmla="*/ 1227471 h 5217112"/>
              <a:gd name="connsiteX10756" fmla="*/ 1640247 w 6785952"/>
              <a:gd name="connsiteY10756" fmla="*/ 1228670 h 5217112"/>
              <a:gd name="connsiteX10757" fmla="*/ 1641620 w 6785952"/>
              <a:gd name="connsiteY10757" fmla="*/ 1228234 h 5217112"/>
              <a:gd name="connsiteX10758" fmla="*/ 1654806 w 6785952"/>
              <a:gd name="connsiteY10758" fmla="*/ 1234772 h 5217112"/>
              <a:gd name="connsiteX10759" fmla="*/ 1657553 w 6785952"/>
              <a:gd name="connsiteY10759" fmla="*/ 1236298 h 5217112"/>
              <a:gd name="connsiteX10760" fmla="*/ 1655355 w 6785952"/>
              <a:gd name="connsiteY10760" fmla="*/ 1232484 h 5217112"/>
              <a:gd name="connsiteX10761" fmla="*/ 1655630 w 6785952"/>
              <a:gd name="connsiteY10761" fmla="*/ 1228888 h 5217112"/>
              <a:gd name="connsiteX10762" fmla="*/ 1636676 w 6785952"/>
              <a:gd name="connsiteY10762" fmla="*/ 1226926 h 5217112"/>
              <a:gd name="connsiteX10763" fmla="*/ 1636401 w 6785952"/>
              <a:gd name="connsiteY10763" fmla="*/ 1227144 h 5217112"/>
              <a:gd name="connsiteX10764" fmla="*/ 1636950 w 6785952"/>
              <a:gd name="connsiteY10764" fmla="*/ 1226926 h 5217112"/>
              <a:gd name="connsiteX10765" fmla="*/ 1241664 w 6785952"/>
              <a:gd name="connsiteY10765" fmla="*/ 1226272 h 5217112"/>
              <a:gd name="connsiteX10766" fmla="*/ 1249081 w 6785952"/>
              <a:gd name="connsiteY10766" fmla="*/ 1226817 h 5217112"/>
              <a:gd name="connsiteX10767" fmla="*/ 1250181 w 6785952"/>
              <a:gd name="connsiteY10767" fmla="*/ 1248394 h 5217112"/>
              <a:gd name="connsiteX10768" fmla="*/ 1231501 w 6785952"/>
              <a:gd name="connsiteY10768" fmla="*/ 1244471 h 5217112"/>
              <a:gd name="connsiteX10769" fmla="*/ 1241664 w 6785952"/>
              <a:gd name="connsiteY10769" fmla="*/ 1226272 h 5217112"/>
              <a:gd name="connsiteX10770" fmla="*/ 2242653 w 6785952"/>
              <a:gd name="connsiteY10770" fmla="*/ 1226055 h 5217112"/>
              <a:gd name="connsiteX10771" fmla="*/ 2250619 w 6785952"/>
              <a:gd name="connsiteY10771" fmla="*/ 1242509 h 5217112"/>
              <a:gd name="connsiteX10772" fmla="*/ 2248421 w 6785952"/>
              <a:gd name="connsiteY10772" fmla="*/ 1259945 h 5217112"/>
              <a:gd name="connsiteX10773" fmla="*/ 2242653 w 6785952"/>
              <a:gd name="connsiteY10773" fmla="*/ 1226055 h 5217112"/>
              <a:gd name="connsiteX10774" fmla="*/ 2275273 w 6785952"/>
              <a:gd name="connsiteY10774" fmla="*/ 1225987 h 5217112"/>
              <a:gd name="connsiteX10775" fmla="*/ 2286604 w 6785952"/>
              <a:gd name="connsiteY10775" fmla="*/ 1231067 h 5217112"/>
              <a:gd name="connsiteX10776" fmla="*/ 2282483 w 6785952"/>
              <a:gd name="connsiteY10776" fmla="*/ 1239131 h 5217112"/>
              <a:gd name="connsiteX10777" fmla="*/ 2274792 w 6785952"/>
              <a:gd name="connsiteY10777" fmla="*/ 1239349 h 5217112"/>
              <a:gd name="connsiteX10778" fmla="*/ 2267650 w 6785952"/>
              <a:gd name="connsiteY10778" fmla="*/ 1234227 h 5217112"/>
              <a:gd name="connsiteX10779" fmla="*/ 2275273 w 6785952"/>
              <a:gd name="connsiteY10779" fmla="*/ 1225987 h 5217112"/>
              <a:gd name="connsiteX10780" fmla="*/ 1883351 w 6785952"/>
              <a:gd name="connsiteY10780" fmla="*/ 1225836 h 5217112"/>
              <a:gd name="connsiteX10781" fmla="*/ 1885000 w 6785952"/>
              <a:gd name="connsiteY10781" fmla="*/ 1231503 h 5217112"/>
              <a:gd name="connsiteX10782" fmla="*/ 1881154 w 6785952"/>
              <a:gd name="connsiteY10782" fmla="*/ 1234446 h 5217112"/>
              <a:gd name="connsiteX10783" fmla="*/ 1883351 w 6785952"/>
              <a:gd name="connsiteY10783" fmla="*/ 1225836 h 5217112"/>
              <a:gd name="connsiteX10784" fmla="*/ 1339456 w 6785952"/>
              <a:gd name="connsiteY10784" fmla="*/ 1225510 h 5217112"/>
              <a:gd name="connsiteX10785" fmla="*/ 1338083 w 6785952"/>
              <a:gd name="connsiteY10785" fmla="*/ 1237061 h 5217112"/>
              <a:gd name="connsiteX10786" fmla="*/ 1330117 w 6785952"/>
              <a:gd name="connsiteY10786" fmla="*/ 1230849 h 5217112"/>
              <a:gd name="connsiteX10787" fmla="*/ 1339456 w 6785952"/>
              <a:gd name="connsiteY10787" fmla="*/ 1225510 h 5217112"/>
              <a:gd name="connsiteX10788" fmla="*/ 1631457 w 6785952"/>
              <a:gd name="connsiteY10788" fmla="*/ 1224529 h 5217112"/>
              <a:gd name="connsiteX10789" fmla="*/ 1630632 w 6785952"/>
              <a:gd name="connsiteY10789" fmla="*/ 1225836 h 5217112"/>
              <a:gd name="connsiteX10790" fmla="*/ 1632280 w 6785952"/>
              <a:gd name="connsiteY10790" fmla="*/ 1226272 h 5217112"/>
              <a:gd name="connsiteX10791" fmla="*/ 1632280 w 6785952"/>
              <a:gd name="connsiteY10791" fmla="*/ 1225401 h 5217112"/>
              <a:gd name="connsiteX10792" fmla="*/ 1855882 w 6785952"/>
              <a:gd name="connsiteY10792" fmla="*/ 1224093 h 5217112"/>
              <a:gd name="connsiteX10793" fmla="*/ 1837752 w 6785952"/>
              <a:gd name="connsiteY10793" fmla="*/ 1261689 h 5217112"/>
              <a:gd name="connsiteX10794" fmla="*/ 1855882 w 6785952"/>
              <a:gd name="connsiteY10794" fmla="*/ 1224093 h 5217112"/>
              <a:gd name="connsiteX10795" fmla="*/ 6529541 w 6785952"/>
              <a:gd name="connsiteY10795" fmla="*/ 1223657 h 5217112"/>
              <a:gd name="connsiteX10796" fmla="*/ 6536134 w 6785952"/>
              <a:gd name="connsiteY10796" fmla="*/ 1223984 h 5217112"/>
              <a:gd name="connsiteX10797" fmla="*/ 6525695 w 6785952"/>
              <a:gd name="connsiteY10797" fmla="*/ 1245561 h 5217112"/>
              <a:gd name="connsiteX10798" fmla="*/ 6521849 w 6785952"/>
              <a:gd name="connsiteY10798" fmla="*/ 1243381 h 5217112"/>
              <a:gd name="connsiteX10799" fmla="*/ 6529541 w 6785952"/>
              <a:gd name="connsiteY10799" fmla="*/ 1223657 h 5217112"/>
              <a:gd name="connsiteX10800" fmla="*/ 1892966 w 6785952"/>
              <a:gd name="connsiteY10800" fmla="*/ 1222349 h 5217112"/>
              <a:gd name="connsiteX10801" fmla="*/ 1915491 w 6785952"/>
              <a:gd name="connsiteY10801" fmla="*/ 1249701 h 5217112"/>
              <a:gd name="connsiteX10802" fmla="*/ 1903130 w 6785952"/>
              <a:gd name="connsiteY10802" fmla="*/ 1256349 h 5217112"/>
              <a:gd name="connsiteX10803" fmla="*/ 1892966 w 6785952"/>
              <a:gd name="connsiteY10803" fmla="*/ 1222349 h 5217112"/>
              <a:gd name="connsiteX10804" fmla="*/ 1882527 w 6785952"/>
              <a:gd name="connsiteY10804" fmla="*/ 1221696 h 5217112"/>
              <a:gd name="connsiteX10805" fmla="*/ 1883351 w 6785952"/>
              <a:gd name="connsiteY10805" fmla="*/ 1224747 h 5217112"/>
              <a:gd name="connsiteX10806" fmla="*/ 1881978 w 6785952"/>
              <a:gd name="connsiteY10806" fmla="*/ 1225182 h 5217112"/>
              <a:gd name="connsiteX10807" fmla="*/ 1882527 w 6785952"/>
              <a:gd name="connsiteY10807" fmla="*/ 1221696 h 5217112"/>
              <a:gd name="connsiteX10808" fmla="*/ 6297423 w 6785952"/>
              <a:gd name="connsiteY10808" fmla="*/ 1221042 h 5217112"/>
              <a:gd name="connsiteX10809" fmla="*/ 6304565 w 6785952"/>
              <a:gd name="connsiteY10809" fmla="*/ 1222458 h 5217112"/>
              <a:gd name="connsiteX10810" fmla="*/ 6304840 w 6785952"/>
              <a:gd name="connsiteY10810" fmla="*/ 1232593 h 5217112"/>
              <a:gd name="connsiteX10811" fmla="*/ 6301819 w 6785952"/>
              <a:gd name="connsiteY10811" fmla="*/ 1233792 h 5217112"/>
              <a:gd name="connsiteX10812" fmla="*/ 6299896 w 6785952"/>
              <a:gd name="connsiteY10812" fmla="*/ 1233573 h 5217112"/>
              <a:gd name="connsiteX10813" fmla="*/ 6300171 w 6785952"/>
              <a:gd name="connsiteY10813" fmla="*/ 1234010 h 5217112"/>
              <a:gd name="connsiteX10814" fmla="*/ 6295776 w 6785952"/>
              <a:gd name="connsiteY10814" fmla="*/ 1234772 h 5217112"/>
              <a:gd name="connsiteX10815" fmla="*/ 6291655 w 6785952"/>
              <a:gd name="connsiteY10815" fmla="*/ 1234010 h 5217112"/>
              <a:gd name="connsiteX10816" fmla="*/ 6293852 w 6785952"/>
              <a:gd name="connsiteY10816" fmla="*/ 1232048 h 5217112"/>
              <a:gd name="connsiteX10817" fmla="*/ 6296050 w 6785952"/>
              <a:gd name="connsiteY10817" fmla="*/ 1231067 h 5217112"/>
              <a:gd name="connsiteX10818" fmla="*/ 6294677 w 6785952"/>
              <a:gd name="connsiteY10818" fmla="*/ 1229542 h 5217112"/>
              <a:gd name="connsiteX10819" fmla="*/ 6297423 w 6785952"/>
              <a:gd name="connsiteY10819" fmla="*/ 1221042 h 5217112"/>
              <a:gd name="connsiteX10820" fmla="*/ 962850 w 6785952"/>
              <a:gd name="connsiteY10820" fmla="*/ 1218427 h 5217112"/>
              <a:gd name="connsiteX10821" fmla="*/ 968068 w 6785952"/>
              <a:gd name="connsiteY10821" fmla="*/ 1237496 h 5217112"/>
              <a:gd name="connsiteX10822" fmla="*/ 970541 w 6785952"/>
              <a:gd name="connsiteY10822" fmla="*/ 1248503 h 5217112"/>
              <a:gd name="connsiteX10823" fmla="*/ 974661 w 6785952"/>
              <a:gd name="connsiteY10823" fmla="*/ 1248939 h 5217112"/>
              <a:gd name="connsiteX10824" fmla="*/ 978781 w 6785952"/>
              <a:gd name="connsiteY10824" fmla="*/ 1257003 h 5217112"/>
              <a:gd name="connsiteX10825" fmla="*/ 974661 w 6785952"/>
              <a:gd name="connsiteY10825" fmla="*/ 1259509 h 5217112"/>
              <a:gd name="connsiteX10826" fmla="*/ 965046 w 6785952"/>
              <a:gd name="connsiteY10826" fmla="*/ 1252753 h 5217112"/>
              <a:gd name="connsiteX10827" fmla="*/ 965321 w 6785952"/>
              <a:gd name="connsiteY10827" fmla="*/ 1252535 h 5217112"/>
              <a:gd name="connsiteX10828" fmla="*/ 963398 w 6785952"/>
              <a:gd name="connsiteY10828" fmla="*/ 1250683 h 5217112"/>
              <a:gd name="connsiteX10829" fmla="*/ 957905 w 6785952"/>
              <a:gd name="connsiteY10829" fmla="*/ 1232920 h 5217112"/>
              <a:gd name="connsiteX10830" fmla="*/ 957630 w 6785952"/>
              <a:gd name="connsiteY10830" fmla="*/ 1228561 h 5217112"/>
              <a:gd name="connsiteX10831" fmla="*/ 957081 w 6785952"/>
              <a:gd name="connsiteY10831" fmla="*/ 1224202 h 5217112"/>
              <a:gd name="connsiteX10832" fmla="*/ 962850 w 6785952"/>
              <a:gd name="connsiteY10832" fmla="*/ 1218427 h 5217112"/>
              <a:gd name="connsiteX10833" fmla="*/ 2143853 w 6785952"/>
              <a:gd name="connsiteY10833" fmla="*/ 1218152 h 5217112"/>
              <a:gd name="connsiteX10834" fmla="*/ 2159420 w 6785952"/>
              <a:gd name="connsiteY10834" fmla="*/ 1277381 h 5217112"/>
              <a:gd name="connsiteX10835" fmla="*/ 2148707 w 6785952"/>
              <a:gd name="connsiteY10835" fmla="*/ 1280215 h 5217112"/>
              <a:gd name="connsiteX10836" fmla="*/ 2146784 w 6785952"/>
              <a:gd name="connsiteY10836" fmla="*/ 1280105 h 5217112"/>
              <a:gd name="connsiteX10837" fmla="*/ 2139368 w 6785952"/>
              <a:gd name="connsiteY10837" fmla="*/ 1286862 h 5217112"/>
              <a:gd name="connsiteX10838" fmla="*/ 2127280 w 6785952"/>
              <a:gd name="connsiteY10838" fmla="*/ 1295362 h 5217112"/>
              <a:gd name="connsiteX10839" fmla="*/ 2134972 w 6785952"/>
              <a:gd name="connsiteY10839" fmla="*/ 1303099 h 5217112"/>
              <a:gd name="connsiteX10840" fmla="*/ 2135522 w 6785952"/>
              <a:gd name="connsiteY10840" fmla="*/ 1304189 h 5217112"/>
              <a:gd name="connsiteX10841" fmla="*/ 2136620 w 6785952"/>
              <a:gd name="connsiteY10841" fmla="*/ 1302881 h 5217112"/>
              <a:gd name="connsiteX10842" fmla="*/ 2139642 w 6785952"/>
              <a:gd name="connsiteY10842" fmla="*/ 1304515 h 5217112"/>
              <a:gd name="connsiteX10843" fmla="*/ 2142389 w 6785952"/>
              <a:gd name="connsiteY10843" fmla="*/ 1304624 h 5217112"/>
              <a:gd name="connsiteX10844" fmla="*/ 2142389 w 6785952"/>
              <a:gd name="connsiteY10844" fmla="*/ 1306150 h 5217112"/>
              <a:gd name="connsiteX10845" fmla="*/ 2144037 w 6785952"/>
              <a:gd name="connsiteY10845" fmla="*/ 1307675 h 5217112"/>
              <a:gd name="connsiteX10846" fmla="*/ 2141290 w 6785952"/>
              <a:gd name="connsiteY10846" fmla="*/ 1313451 h 5217112"/>
              <a:gd name="connsiteX10847" fmla="*/ 2138543 w 6785952"/>
              <a:gd name="connsiteY10847" fmla="*/ 1315195 h 5217112"/>
              <a:gd name="connsiteX10848" fmla="*/ 2137993 w 6785952"/>
              <a:gd name="connsiteY10848" fmla="*/ 1315086 h 5217112"/>
              <a:gd name="connsiteX10849" fmla="*/ 2136620 w 6785952"/>
              <a:gd name="connsiteY10849" fmla="*/ 1321842 h 5217112"/>
              <a:gd name="connsiteX10850" fmla="*/ 2125358 w 6785952"/>
              <a:gd name="connsiteY10850" fmla="*/ 1318682 h 5217112"/>
              <a:gd name="connsiteX10851" fmla="*/ 2117117 w 6785952"/>
              <a:gd name="connsiteY10851" fmla="*/ 1311490 h 5217112"/>
              <a:gd name="connsiteX10852" fmla="*/ 2116567 w 6785952"/>
              <a:gd name="connsiteY10852" fmla="*/ 1312361 h 5217112"/>
              <a:gd name="connsiteX10853" fmla="*/ 2114645 w 6785952"/>
              <a:gd name="connsiteY10853" fmla="*/ 1309746 h 5217112"/>
              <a:gd name="connsiteX10854" fmla="*/ 2115194 w 6785952"/>
              <a:gd name="connsiteY10854" fmla="*/ 1308548 h 5217112"/>
              <a:gd name="connsiteX10855" fmla="*/ 2111623 w 6785952"/>
              <a:gd name="connsiteY10855" fmla="*/ 1300701 h 5217112"/>
              <a:gd name="connsiteX10856" fmla="*/ 2114919 w 6785952"/>
              <a:gd name="connsiteY10856" fmla="*/ 1292201 h 5217112"/>
              <a:gd name="connsiteX10857" fmla="*/ 2121512 w 6785952"/>
              <a:gd name="connsiteY10857" fmla="*/ 1289477 h 5217112"/>
              <a:gd name="connsiteX10858" fmla="*/ 2122336 w 6785952"/>
              <a:gd name="connsiteY10858" fmla="*/ 1290131 h 5217112"/>
              <a:gd name="connsiteX10859" fmla="*/ 2122611 w 6785952"/>
              <a:gd name="connsiteY10859" fmla="*/ 1289041 h 5217112"/>
              <a:gd name="connsiteX10860" fmla="*/ 2131401 w 6785952"/>
              <a:gd name="connsiteY10860" fmla="*/ 1278906 h 5217112"/>
              <a:gd name="connsiteX10861" fmla="*/ 2130302 w 6785952"/>
              <a:gd name="connsiteY10861" fmla="*/ 1278797 h 5217112"/>
              <a:gd name="connsiteX10862" fmla="*/ 2109151 w 6785952"/>
              <a:gd name="connsiteY10862" fmla="*/ 1277598 h 5217112"/>
              <a:gd name="connsiteX10863" fmla="*/ 2114095 w 6785952"/>
              <a:gd name="connsiteY10863" fmla="*/ 1236516 h 5217112"/>
              <a:gd name="connsiteX10864" fmla="*/ 2120413 w 6785952"/>
              <a:gd name="connsiteY10864" fmla="*/ 1224965 h 5217112"/>
              <a:gd name="connsiteX10865" fmla="*/ 2143853 w 6785952"/>
              <a:gd name="connsiteY10865" fmla="*/ 1218152 h 5217112"/>
              <a:gd name="connsiteX10866" fmla="*/ 6375437 w 6785952"/>
              <a:gd name="connsiteY10866" fmla="*/ 1216029 h 5217112"/>
              <a:gd name="connsiteX10867" fmla="*/ 6381481 w 6785952"/>
              <a:gd name="connsiteY10867" fmla="*/ 1221042 h 5217112"/>
              <a:gd name="connsiteX10868" fmla="*/ 6382854 w 6785952"/>
              <a:gd name="connsiteY10868" fmla="*/ 1230849 h 5217112"/>
              <a:gd name="connsiteX10869" fmla="*/ 6382305 w 6785952"/>
              <a:gd name="connsiteY10869" fmla="*/ 1234227 h 5217112"/>
              <a:gd name="connsiteX10870" fmla="*/ 6388073 w 6785952"/>
              <a:gd name="connsiteY10870" fmla="*/ 1230413 h 5217112"/>
              <a:gd name="connsiteX10871" fmla="*/ 6400159 w 6785952"/>
              <a:gd name="connsiteY10871" fmla="*/ 1216901 h 5217112"/>
              <a:gd name="connsiteX10872" fmla="*/ 6410049 w 6785952"/>
              <a:gd name="connsiteY10872" fmla="*/ 1227798 h 5217112"/>
              <a:gd name="connsiteX10873" fmla="*/ 6431200 w 6785952"/>
              <a:gd name="connsiteY10873" fmla="*/ 1229978 h 5217112"/>
              <a:gd name="connsiteX10874" fmla="*/ 6432574 w 6785952"/>
              <a:gd name="connsiteY10874" fmla="*/ 1230740 h 5217112"/>
              <a:gd name="connsiteX10875" fmla="*/ 6436694 w 6785952"/>
              <a:gd name="connsiteY10875" fmla="*/ 1230740 h 5217112"/>
              <a:gd name="connsiteX10876" fmla="*/ 6453725 w 6785952"/>
              <a:gd name="connsiteY10876" fmla="*/ 1246868 h 5217112"/>
              <a:gd name="connsiteX10877" fmla="*/ 6463340 w 6785952"/>
              <a:gd name="connsiteY10877" fmla="*/ 1251445 h 5217112"/>
              <a:gd name="connsiteX10878" fmla="*/ 6463065 w 6785952"/>
              <a:gd name="connsiteY10878" fmla="*/ 1281195 h 5217112"/>
              <a:gd name="connsiteX10879" fmla="*/ 6466636 w 6785952"/>
              <a:gd name="connsiteY10879" fmla="*/ 1310727 h 5217112"/>
              <a:gd name="connsiteX10880" fmla="*/ 6451527 w 6785952"/>
              <a:gd name="connsiteY10880" fmla="*/ 1327182 h 5217112"/>
              <a:gd name="connsiteX10881" fmla="*/ 6449879 w 6785952"/>
              <a:gd name="connsiteY10881" fmla="*/ 1348323 h 5217112"/>
              <a:gd name="connsiteX10882" fmla="*/ 6433398 w 6785952"/>
              <a:gd name="connsiteY10882" fmla="*/ 1352354 h 5217112"/>
              <a:gd name="connsiteX10883" fmla="*/ 6428178 w 6785952"/>
              <a:gd name="connsiteY10883" fmla="*/ 1361727 h 5217112"/>
              <a:gd name="connsiteX10884" fmla="*/ 6413070 w 6785952"/>
              <a:gd name="connsiteY10884" fmla="*/ 1356386 h 5217112"/>
              <a:gd name="connsiteX10885" fmla="*/ 6393018 w 6785952"/>
              <a:gd name="connsiteY10885" fmla="*/ 1370662 h 5217112"/>
              <a:gd name="connsiteX10886" fmla="*/ 6393018 w 6785952"/>
              <a:gd name="connsiteY10886" fmla="*/ 1374585 h 5217112"/>
              <a:gd name="connsiteX10887" fmla="*/ 6375437 w 6785952"/>
              <a:gd name="connsiteY10887" fmla="*/ 1391803 h 5217112"/>
              <a:gd name="connsiteX10888" fmla="*/ 6360604 w 6785952"/>
              <a:gd name="connsiteY10888" fmla="*/ 1398995 h 5217112"/>
              <a:gd name="connsiteX10889" fmla="*/ 6349341 w 6785952"/>
              <a:gd name="connsiteY10889" fmla="*/ 1395180 h 5217112"/>
              <a:gd name="connsiteX10890" fmla="*/ 6347693 w 6785952"/>
              <a:gd name="connsiteY10890" fmla="*/ 1394418 h 5217112"/>
              <a:gd name="connsiteX10891" fmla="*/ 6346868 w 6785952"/>
              <a:gd name="connsiteY10891" fmla="*/ 1396053 h 5217112"/>
              <a:gd name="connsiteX10892" fmla="*/ 6336430 w 6785952"/>
              <a:gd name="connsiteY10892" fmla="*/ 1392893 h 5217112"/>
              <a:gd name="connsiteX10893" fmla="*/ 6334782 w 6785952"/>
              <a:gd name="connsiteY10893" fmla="*/ 1392130 h 5217112"/>
              <a:gd name="connsiteX10894" fmla="*/ 6316652 w 6785952"/>
              <a:gd name="connsiteY10894" fmla="*/ 1363469 h 5217112"/>
              <a:gd name="connsiteX10895" fmla="*/ 6318301 w 6785952"/>
              <a:gd name="connsiteY10895" fmla="*/ 1360309 h 5217112"/>
              <a:gd name="connsiteX10896" fmla="*/ 6320498 w 6785952"/>
              <a:gd name="connsiteY10896" fmla="*/ 1345489 h 5217112"/>
              <a:gd name="connsiteX10897" fmla="*/ 6340551 w 6785952"/>
              <a:gd name="connsiteY10897" fmla="*/ 1327290 h 5217112"/>
              <a:gd name="connsiteX10898" fmla="*/ 6327915 w 6785952"/>
              <a:gd name="connsiteY10898" fmla="*/ 1325111 h 5217112"/>
              <a:gd name="connsiteX10899" fmla="*/ 6327366 w 6785952"/>
              <a:gd name="connsiteY10899" fmla="*/ 1314976 h 5217112"/>
              <a:gd name="connsiteX10900" fmla="*/ 6338353 w 6785952"/>
              <a:gd name="connsiteY10900" fmla="*/ 1306368 h 5217112"/>
              <a:gd name="connsiteX10901" fmla="*/ 6329838 w 6785952"/>
              <a:gd name="connsiteY10901" fmla="*/ 1296343 h 5217112"/>
              <a:gd name="connsiteX10902" fmla="*/ 6328464 w 6785952"/>
              <a:gd name="connsiteY10902" fmla="*/ 1287624 h 5217112"/>
              <a:gd name="connsiteX10903" fmla="*/ 6308137 w 6785952"/>
              <a:gd name="connsiteY10903" fmla="*/ 1273894 h 5217112"/>
              <a:gd name="connsiteX10904" fmla="*/ 6313081 w 6785952"/>
              <a:gd name="connsiteY10904" fmla="*/ 1272259 h 5217112"/>
              <a:gd name="connsiteX10905" fmla="*/ 6329563 w 6785952"/>
              <a:gd name="connsiteY10905" fmla="*/ 1282176 h 5217112"/>
              <a:gd name="connsiteX10906" fmla="*/ 6332585 w 6785952"/>
              <a:gd name="connsiteY10906" fmla="*/ 1265830 h 5217112"/>
              <a:gd name="connsiteX10907" fmla="*/ 6355934 w 6785952"/>
              <a:gd name="connsiteY10907" fmla="*/ 1245343 h 5217112"/>
              <a:gd name="connsiteX10908" fmla="*/ 6369119 w 6785952"/>
              <a:gd name="connsiteY10908" fmla="*/ 1240003 h 5217112"/>
              <a:gd name="connsiteX10909" fmla="*/ 6371592 w 6785952"/>
              <a:gd name="connsiteY10909" fmla="*/ 1239240 h 5217112"/>
              <a:gd name="connsiteX10910" fmla="*/ 6368295 w 6785952"/>
              <a:gd name="connsiteY10910" fmla="*/ 1234881 h 5217112"/>
              <a:gd name="connsiteX10911" fmla="*/ 6367471 w 6785952"/>
              <a:gd name="connsiteY10911" fmla="*/ 1226164 h 5217112"/>
              <a:gd name="connsiteX10912" fmla="*/ 6375437 w 6785952"/>
              <a:gd name="connsiteY10912" fmla="*/ 1216029 h 5217112"/>
              <a:gd name="connsiteX10913" fmla="*/ 1880605 w 6785952"/>
              <a:gd name="connsiteY10913" fmla="*/ 1214721 h 5217112"/>
              <a:gd name="connsiteX10914" fmla="*/ 1882253 w 6785952"/>
              <a:gd name="connsiteY10914" fmla="*/ 1215702 h 5217112"/>
              <a:gd name="connsiteX10915" fmla="*/ 1880330 w 6785952"/>
              <a:gd name="connsiteY10915" fmla="*/ 1218099 h 5217112"/>
              <a:gd name="connsiteX10916" fmla="*/ 1880605 w 6785952"/>
              <a:gd name="connsiteY10916" fmla="*/ 1214721 h 5217112"/>
              <a:gd name="connsiteX10917" fmla="*/ 2376978 w 6785952"/>
              <a:gd name="connsiteY10917" fmla="*/ 1212651 h 5217112"/>
              <a:gd name="connsiteX10918" fmla="*/ 2380824 w 6785952"/>
              <a:gd name="connsiteY10918" fmla="*/ 1213959 h 5217112"/>
              <a:gd name="connsiteX10919" fmla="*/ 2387142 w 6785952"/>
              <a:gd name="connsiteY10919" fmla="*/ 1214067 h 5217112"/>
              <a:gd name="connsiteX10920" fmla="*/ 2386593 w 6785952"/>
              <a:gd name="connsiteY10920" fmla="*/ 1233356 h 5217112"/>
              <a:gd name="connsiteX10921" fmla="*/ 2371484 w 6785952"/>
              <a:gd name="connsiteY10921" fmla="*/ 1248721 h 5217112"/>
              <a:gd name="connsiteX10922" fmla="*/ 2365716 w 6785952"/>
              <a:gd name="connsiteY10922" fmla="*/ 1248394 h 5217112"/>
              <a:gd name="connsiteX10923" fmla="*/ 2354453 w 6785952"/>
              <a:gd name="connsiteY10923" fmla="*/ 1237170 h 5217112"/>
              <a:gd name="connsiteX10924" fmla="*/ 2354453 w 6785952"/>
              <a:gd name="connsiteY10924" fmla="*/ 1227035 h 5217112"/>
              <a:gd name="connsiteX10925" fmla="*/ 2376978 w 6785952"/>
              <a:gd name="connsiteY10925" fmla="*/ 1212651 h 5217112"/>
              <a:gd name="connsiteX10926" fmla="*/ 1811107 w 6785952"/>
              <a:gd name="connsiteY10926" fmla="*/ 1210144 h 5217112"/>
              <a:gd name="connsiteX10927" fmla="*/ 1792977 w 6785952"/>
              <a:gd name="connsiteY10927" fmla="*/ 1223330 h 5217112"/>
              <a:gd name="connsiteX10928" fmla="*/ 1794900 w 6785952"/>
              <a:gd name="connsiteY10928" fmla="*/ 1219298 h 5217112"/>
              <a:gd name="connsiteX10929" fmla="*/ 1811107 w 6785952"/>
              <a:gd name="connsiteY10929" fmla="*/ 1210144 h 5217112"/>
              <a:gd name="connsiteX10930" fmla="*/ 2150286 w 6785952"/>
              <a:gd name="connsiteY10930" fmla="*/ 1208837 h 5217112"/>
              <a:gd name="connsiteX10931" fmla="*/ 2159420 w 6785952"/>
              <a:gd name="connsiteY10931" fmla="*/ 1213850 h 5217112"/>
              <a:gd name="connsiteX10932" fmla="*/ 2152827 w 6785952"/>
              <a:gd name="connsiteY10932" fmla="*/ 1218427 h 5217112"/>
              <a:gd name="connsiteX10933" fmla="*/ 2145685 w 6785952"/>
              <a:gd name="connsiteY10933" fmla="*/ 1216247 h 5217112"/>
              <a:gd name="connsiteX10934" fmla="*/ 2150286 w 6785952"/>
              <a:gd name="connsiteY10934" fmla="*/ 1208837 h 5217112"/>
              <a:gd name="connsiteX10935" fmla="*/ 1497680 w 6785952"/>
              <a:gd name="connsiteY10935" fmla="*/ 1207856 h 5217112"/>
              <a:gd name="connsiteX10936" fmla="*/ 1501801 w 6785952"/>
              <a:gd name="connsiteY10936" fmla="*/ 1209164 h 5217112"/>
              <a:gd name="connsiteX10937" fmla="*/ 1503998 w 6785952"/>
              <a:gd name="connsiteY10937" fmla="*/ 1210689 h 5217112"/>
              <a:gd name="connsiteX10938" fmla="*/ 1497955 w 6785952"/>
              <a:gd name="connsiteY10938" fmla="*/ 1211234 h 5217112"/>
              <a:gd name="connsiteX10939" fmla="*/ 1497680 w 6785952"/>
              <a:gd name="connsiteY10939" fmla="*/ 1207856 h 5217112"/>
              <a:gd name="connsiteX10940" fmla="*/ 1978945 w 6785952"/>
              <a:gd name="connsiteY10940" fmla="*/ 1207311 h 5217112"/>
              <a:gd name="connsiteX10941" fmla="*/ 1975099 w 6785952"/>
              <a:gd name="connsiteY10941" fmla="*/ 1219843 h 5217112"/>
              <a:gd name="connsiteX10942" fmla="*/ 1978945 w 6785952"/>
              <a:gd name="connsiteY10942" fmla="*/ 1207311 h 5217112"/>
              <a:gd name="connsiteX10943" fmla="*/ 1147444 w 6785952"/>
              <a:gd name="connsiteY10943" fmla="*/ 1206112 h 5217112"/>
              <a:gd name="connsiteX10944" fmla="*/ 1162004 w 6785952"/>
              <a:gd name="connsiteY10944" fmla="*/ 1214395 h 5217112"/>
              <a:gd name="connsiteX10945" fmla="*/ 1159256 w 6785952"/>
              <a:gd name="connsiteY10945" fmla="*/ 1220388 h 5217112"/>
              <a:gd name="connsiteX10946" fmla="*/ 1154860 w 6785952"/>
              <a:gd name="connsiteY10946" fmla="*/ 1222677 h 5217112"/>
              <a:gd name="connsiteX10947" fmla="*/ 1143324 w 6785952"/>
              <a:gd name="connsiteY10947" fmla="*/ 1214612 h 5217112"/>
              <a:gd name="connsiteX10948" fmla="*/ 1147444 w 6785952"/>
              <a:gd name="connsiteY10948" fmla="*/ 1206112 h 5217112"/>
              <a:gd name="connsiteX10949" fmla="*/ 2314245 w 6785952"/>
              <a:gd name="connsiteY10949" fmla="*/ 1203456 h 5217112"/>
              <a:gd name="connsiteX10950" fmla="*/ 2320666 w 6785952"/>
              <a:gd name="connsiteY10950" fmla="*/ 1207529 h 5217112"/>
              <a:gd name="connsiteX10951" fmla="*/ 2319842 w 6785952"/>
              <a:gd name="connsiteY10951" fmla="*/ 1209055 h 5217112"/>
              <a:gd name="connsiteX10952" fmla="*/ 2321764 w 6785952"/>
              <a:gd name="connsiteY10952" fmla="*/ 1209273 h 5217112"/>
              <a:gd name="connsiteX10953" fmla="*/ 2326160 w 6785952"/>
              <a:gd name="connsiteY10953" fmla="*/ 1211997 h 5217112"/>
              <a:gd name="connsiteX10954" fmla="*/ 2330006 w 6785952"/>
              <a:gd name="connsiteY10954" fmla="*/ 1231177 h 5217112"/>
              <a:gd name="connsiteX10955" fmla="*/ 2317369 w 6785952"/>
              <a:gd name="connsiteY10955" fmla="*/ 1237933 h 5217112"/>
              <a:gd name="connsiteX10956" fmla="*/ 2318743 w 6785952"/>
              <a:gd name="connsiteY10956" fmla="*/ 1237933 h 5217112"/>
              <a:gd name="connsiteX10957" fmla="*/ 2329182 w 6785952"/>
              <a:gd name="connsiteY10957" fmla="*/ 1249156 h 5217112"/>
              <a:gd name="connsiteX10958" fmla="*/ 2332478 w 6785952"/>
              <a:gd name="connsiteY10958" fmla="*/ 1255586 h 5217112"/>
              <a:gd name="connsiteX10959" fmla="*/ 2335500 w 6785952"/>
              <a:gd name="connsiteY10959" fmla="*/ 1253843 h 5217112"/>
              <a:gd name="connsiteX10960" fmla="*/ 2365990 w 6785952"/>
              <a:gd name="connsiteY10960" fmla="*/ 1270298 h 5217112"/>
              <a:gd name="connsiteX10961" fmla="*/ 2346213 w 6785952"/>
              <a:gd name="connsiteY10961" fmla="*/ 1275202 h 5217112"/>
              <a:gd name="connsiteX10962" fmla="*/ 2323688 w 6785952"/>
              <a:gd name="connsiteY10962" fmla="*/ 1270951 h 5217112"/>
              <a:gd name="connsiteX10963" fmla="*/ 2323963 w 6785952"/>
              <a:gd name="connsiteY10963" fmla="*/ 1268772 h 5217112"/>
              <a:gd name="connsiteX10964" fmla="*/ 2317644 w 6785952"/>
              <a:gd name="connsiteY10964" fmla="*/ 1271388 h 5217112"/>
              <a:gd name="connsiteX10965" fmla="*/ 2318743 w 6785952"/>
              <a:gd name="connsiteY10965" fmla="*/ 1260163 h 5217112"/>
              <a:gd name="connsiteX10966" fmla="*/ 2321764 w 6785952"/>
              <a:gd name="connsiteY10966" fmla="*/ 1260381 h 5217112"/>
              <a:gd name="connsiteX10967" fmla="*/ 2325061 w 6785952"/>
              <a:gd name="connsiteY10967" fmla="*/ 1263323 h 5217112"/>
              <a:gd name="connsiteX10968" fmla="*/ 2325610 w 6785952"/>
              <a:gd name="connsiteY10968" fmla="*/ 1259619 h 5217112"/>
              <a:gd name="connsiteX10969" fmla="*/ 2329457 w 6785952"/>
              <a:gd name="connsiteY10969" fmla="*/ 1257221 h 5217112"/>
              <a:gd name="connsiteX10970" fmla="*/ 2328357 w 6785952"/>
              <a:gd name="connsiteY10970" fmla="*/ 1255913 h 5217112"/>
              <a:gd name="connsiteX10971" fmla="*/ 2326709 w 6785952"/>
              <a:gd name="connsiteY10971" fmla="*/ 1255804 h 5217112"/>
              <a:gd name="connsiteX10972" fmla="*/ 2326709 w 6785952"/>
              <a:gd name="connsiteY10972" fmla="*/ 1254388 h 5217112"/>
              <a:gd name="connsiteX10973" fmla="*/ 2323688 w 6785952"/>
              <a:gd name="connsiteY10973" fmla="*/ 1251336 h 5217112"/>
              <a:gd name="connsiteX10974" fmla="*/ 2314897 w 6785952"/>
              <a:gd name="connsiteY10974" fmla="*/ 1246541 h 5217112"/>
              <a:gd name="connsiteX10975" fmla="*/ 2308854 w 6785952"/>
              <a:gd name="connsiteY10975" fmla="*/ 1237496 h 5217112"/>
              <a:gd name="connsiteX10976" fmla="*/ 2311601 w 6785952"/>
              <a:gd name="connsiteY10976" fmla="*/ 1234772 h 5217112"/>
              <a:gd name="connsiteX10977" fmla="*/ 2308580 w 6785952"/>
              <a:gd name="connsiteY10977" fmla="*/ 1231721 h 5217112"/>
              <a:gd name="connsiteX10978" fmla="*/ 2304184 w 6785952"/>
              <a:gd name="connsiteY10978" fmla="*/ 1223003 h 5217112"/>
              <a:gd name="connsiteX10979" fmla="*/ 2307756 w 6785952"/>
              <a:gd name="connsiteY10979" fmla="*/ 1215702 h 5217112"/>
              <a:gd name="connsiteX10980" fmla="*/ 2304734 w 6785952"/>
              <a:gd name="connsiteY10980" fmla="*/ 1214067 h 5217112"/>
              <a:gd name="connsiteX10981" fmla="*/ 2305557 w 6785952"/>
              <a:gd name="connsiteY10981" fmla="*/ 1205676 h 5217112"/>
              <a:gd name="connsiteX10982" fmla="*/ 2314245 w 6785952"/>
              <a:gd name="connsiteY10982" fmla="*/ 1203456 h 5217112"/>
              <a:gd name="connsiteX10983" fmla="*/ 1458399 w 6785952"/>
              <a:gd name="connsiteY10983" fmla="*/ 1200119 h 5217112"/>
              <a:gd name="connsiteX10984" fmla="*/ 1466366 w 6785952"/>
              <a:gd name="connsiteY10984" fmla="*/ 1215702 h 5217112"/>
              <a:gd name="connsiteX10985" fmla="*/ 1466640 w 6785952"/>
              <a:gd name="connsiteY10985" fmla="*/ 1219625 h 5217112"/>
              <a:gd name="connsiteX10986" fmla="*/ 1460322 w 6785952"/>
              <a:gd name="connsiteY10986" fmla="*/ 1208837 h 5217112"/>
              <a:gd name="connsiteX10987" fmla="*/ 1458399 w 6785952"/>
              <a:gd name="connsiteY10987" fmla="*/ 1200119 h 5217112"/>
              <a:gd name="connsiteX10988" fmla="*/ 2336873 w 6785952"/>
              <a:gd name="connsiteY10988" fmla="*/ 1198593 h 5217112"/>
              <a:gd name="connsiteX10989" fmla="*/ 2340994 w 6785952"/>
              <a:gd name="connsiteY10989" fmla="*/ 1200882 h 5217112"/>
              <a:gd name="connsiteX10990" fmla="*/ 2341818 w 6785952"/>
              <a:gd name="connsiteY10990" fmla="*/ 1200555 h 5217112"/>
              <a:gd name="connsiteX10991" fmla="*/ 2352256 w 6785952"/>
              <a:gd name="connsiteY10991" fmla="*/ 1202407 h 5217112"/>
              <a:gd name="connsiteX10992" fmla="*/ 2352531 w 6785952"/>
              <a:gd name="connsiteY10992" fmla="*/ 1211670 h 5217112"/>
              <a:gd name="connsiteX10993" fmla="*/ 2351981 w 6785952"/>
              <a:gd name="connsiteY10993" fmla="*/ 1211888 h 5217112"/>
              <a:gd name="connsiteX10994" fmla="*/ 2352531 w 6785952"/>
              <a:gd name="connsiteY10994" fmla="*/ 1217010 h 5217112"/>
              <a:gd name="connsiteX10995" fmla="*/ 2348959 w 6785952"/>
              <a:gd name="connsiteY10995" fmla="*/ 1220279 h 5217112"/>
              <a:gd name="connsiteX10996" fmla="*/ 2340719 w 6785952"/>
              <a:gd name="connsiteY10996" fmla="*/ 1222894 h 5217112"/>
              <a:gd name="connsiteX10997" fmla="*/ 2340994 w 6785952"/>
              <a:gd name="connsiteY10997" fmla="*/ 1224202 h 5217112"/>
              <a:gd name="connsiteX10998" fmla="*/ 2336598 w 6785952"/>
              <a:gd name="connsiteY10998" fmla="*/ 1217010 h 5217112"/>
              <a:gd name="connsiteX10999" fmla="*/ 2337148 w 6785952"/>
              <a:gd name="connsiteY10999" fmla="*/ 1215920 h 5217112"/>
              <a:gd name="connsiteX11000" fmla="*/ 2336049 w 6785952"/>
              <a:gd name="connsiteY11000" fmla="*/ 1216901 h 5217112"/>
              <a:gd name="connsiteX11001" fmla="*/ 2328357 w 6785952"/>
              <a:gd name="connsiteY11001" fmla="*/ 1210472 h 5217112"/>
              <a:gd name="connsiteX11002" fmla="*/ 2327808 w 6785952"/>
              <a:gd name="connsiteY11002" fmla="*/ 1199247 h 5217112"/>
              <a:gd name="connsiteX11003" fmla="*/ 2336873 w 6785952"/>
              <a:gd name="connsiteY11003" fmla="*/ 1198593 h 5217112"/>
              <a:gd name="connsiteX11004" fmla="*/ 1746553 w 6785952"/>
              <a:gd name="connsiteY11004" fmla="*/ 1191619 h 5217112"/>
              <a:gd name="connsiteX11005" fmla="*/ 1745455 w 6785952"/>
              <a:gd name="connsiteY11005" fmla="*/ 1192817 h 5217112"/>
              <a:gd name="connsiteX11006" fmla="*/ 1746553 w 6785952"/>
              <a:gd name="connsiteY11006" fmla="*/ 1192382 h 5217112"/>
              <a:gd name="connsiteX11007" fmla="*/ 1879231 w 6785952"/>
              <a:gd name="connsiteY11007" fmla="*/ 1190965 h 5217112"/>
              <a:gd name="connsiteX11008" fmla="*/ 1880879 w 6785952"/>
              <a:gd name="connsiteY11008" fmla="*/ 1214612 h 5217112"/>
              <a:gd name="connsiteX11009" fmla="*/ 1879231 w 6785952"/>
              <a:gd name="connsiteY11009" fmla="*/ 1190965 h 5217112"/>
              <a:gd name="connsiteX11010" fmla="*/ 1196340 w 6785952"/>
              <a:gd name="connsiteY11010" fmla="*/ 1190856 h 5217112"/>
              <a:gd name="connsiteX11011" fmla="*/ 1204031 w 6785952"/>
              <a:gd name="connsiteY11011" fmla="*/ 1207420 h 5217112"/>
              <a:gd name="connsiteX11012" fmla="*/ 1202109 w 6785952"/>
              <a:gd name="connsiteY11012" fmla="*/ 1224747 h 5217112"/>
              <a:gd name="connsiteX11013" fmla="*/ 1196340 w 6785952"/>
              <a:gd name="connsiteY11013" fmla="*/ 1190856 h 5217112"/>
              <a:gd name="connsiteX11014" fmla="*/ 6322696 w 6785952"/>
              <a:gd name="connsiteY11014" fmla="*/ 1189222 h 5217112"/>
              <a:gd name="connsiteX11015" fmla="*/ 6331485 w 6785952"/>
              <a:gd name="connsiteY11015" fmla="*/ 1209709 h 5217112"/>
              <a:gd name="connsiteX11016" fmla="*/ 6330661 w 6785952"/>
              <a:gd name="connsiteY11016" fmla="*/ 1211234 h 5217112"/>
              <a:gd name="connsiteX11017" fmla="*/ 6331211 w 6785952"/>
              <a:gd name="connsiteY11017" fmla="*/ 1213632 h 5217112"/>
              <a:gd name="connsiteX11018" fmla="*/ 6326266 w 6785952"/>
              <a:gd name="connsiteY11018" fmla="*/ 1219189 h 5217112"/>
              <a:gd name="connsiteX11019" fmla="*/ 6336705 w 6785952"/>
              <a:gd name="connsiteY11019" fmla="*/ 1218318 h 5217112"/>
              <a:gd name="connsiteX11020" fmla="*/ 6342198 w 6785952"/>
              <a:gd name="connsiteY11020" fmla="*/ 1226926 h 5217112"/>
              <a:gd name="connsiteX11021" fmla="*/ 6337254 w 6785952"/>
              <a:gd name="connsiteY11021" fmla="*/ 1232048 h 5217112"/>
              <a:gd name="connsiteX11022" fmla="*/ 6329838 w 6785952"/>
              <a:gd name="connsiteY11022" fmla="*/ 1231067 h 5217112"/>
              <a:gd name="connsiteX11023" fmla="*/ 6323794 w 6785952"/>
              <a:gd name="connsiteY11023" fmla="*/ 1220061 h 5217112"/>
              <a:gd name="connsiteX11024" fmla="*/ 6318850 w 6785952"/>
              <a:gd name="connsiteY11024" fmla="*/ 1217773 h 5217112"/>
              <a:gd name="connsiteX11025" fmla="*/ 6310334 w 6785952"/>
              <a:gd name="connsiteY11025" fmla="*/ 1207638 h 5217112"/>
              <a:gd name="connsiteX11026" fmla="*/ 6313356 w 6785952"/>
              <a:gd name="connsiteY11026" fmla="*/ 1194998 h 5217112"/>
              <a:gd name="connsiteX11027" fmla="*/ 6322696 w 6785952"/>
              <a:gd name="connsiteY11027" fmla="*/ 1189222 h 5217112"/>
              <a:gd name="connsiteX11028" fmla="*/ 1729008 w 6785952"/>
              <a:gd name="connsiteY11028" fmla="*/ 1188922 h 5217112"/>
              <a:gd name="connsiteX11029" fmla="*/ 1735566 w 6785952"/>
              <a:gd name="connsiteY11029" fmla="*/ 1190312 h 5217112"/>
              <a:gd name="connsiteX11030" fmla="*/ 1730621 w 6785952"/>
              <a:gd name="connsiteY11030" fmla="*/ 1194016 h 5217112"/>
              <a:gd name="connsiteX11031" fmla="*/ 1723479 w 6785952"/>
              <a:gd name="connsiteY11031" fmla="*/ 1193907 h 5217112"/>
              <a:gd name="connsiteX11032" fmla="*/ 1729008 w 6785952"/>
              <a:gd name="connsiteY11032" fmla="*/ 1188922 h 5217112"/>
              <a:gd name="connsiteX11033" fmla="*/ 1715788 w 6785952"/>
              <a:gd name="connsiteY11033" fmla="*/ 1188894 h 5217112"/>
              <a:gd name="connsiteX11034" fmla="*/ 1716063 w 6785952"/>
              <a:gd name="connsiteY11034" fmla="*/ 1190312 h 5217112"/>
              <a:gd name="connsiteX11035" fmla="*/ 1719084 w 6785952"/>
              <a:gd name="connsiteY11035" fmla="*/ 1195651 h 5217112"/>
              <a:gd name="connsiteX11036" fmla="*/ 1711943 w 6785952"/>
              <a:gd name="connsiteY11036" fmla="*/ 1198158 h 5217112"/>
              <a:gd name="connsiteX11037" fmla="*/ 1711943 w 6785952"/>
              <a:gd name="connsiteY11037" fmla="*/ 1191837 h 5217112"/>
              <a:gd name="connsiteX11038" fmla="*/ 1715788 w 6785952"/>
              <a:gd name="connsiteY11038" fmla="*/ 1188894 h 5217112"/>
              <a:gd name="connsiteX11039" fmla="*/ 2384670 w 6785952"/>
              <a:gd name="connsiteY11039" fmla="*/ 1188677 h 5217112"/>
              <a:gd name="connsiteX11040" fmla="*/ 2381923 w 6785952"/>
              <a:gd name="connsiteY11040" fmla="*/ 1202735 h 5217112"/>
              <a:gd name="connsiteX11041" fmla="*/ 2384670 w 6785952"/>
              <a:gd name="connsiteY11041" fmla="*/ 1188677 h 5217112"/>
              <a:gd name="connsiteX11042" fmla="*/ 1468562 w 6785952"/>
              <a:gd name="connsiteY11042" fmla="*/ 1185517 h 5217112"/>
              <a:gd name="connsiteX11043" fmla="*/ 1485044 w 6785952"/>
              <a:gd name="connsiteY11043" fmla="*/ 1201318 h 5217112"/>
              <a:gd name="connsiteX11044" fmla="*/ 1478452 w 6785952"/>
              <a:gd name="connsiteY11044" fmla="*/ 1205131 h 5217112"/>
              <a:gd name="connsiteX11045" fmla="*/ 1465266 w 6785952"/>
              <a:gd name="connsiteY11045" fmla="*/ 1193145 h 5217112"/>
              <a:gd name="connsiteX11046" fmla="*/ 1468562 w 6785952"/>
              <a:gd name="connsiteY11046" fmla="*/ 1185517 h 5217112"/>
              <a:gd name="connsiteX11047" fmla="*/ 1824568 w 6785952"/>
              <a:gd name="connsiteY11047" fmla="*/ 1183119 h 5217112"/>
              <a:gd name="connsiteX11048" fmla="*/ 1825666 w 6785952"/>
              <a:gd name="connsiteY11048" fmla="*/ 1183337 h 5217112"/>
              <a:gd name="connsiteX11049" fmla="*/ 1828138 w 6785952"/>
              <a:gd name="connsiteY11049" fmla="*/ 1186933 h 5217112"/>
              <a:gd name="connsiteX11050" fmla="*/ 1827039 w 6785952"/>
              <a:gd name="connsiteY11050" fmla="*/ 1187042 h 5217112"/>
              <a:gd name="connsiteX11051" fmla="*/ 1823194 w 6785952"/>
              <a:gd name="connsiteY11051" fmla="*/ 1185734 h 5217112"/>
              <a:gd name="connsiteX11052" fmla="*/ 1824293 w 6785952"/>
              <a:gd name="connsiteY11052" fmla="*/ 1183773 h 5217112"/>
              <a:gd name="connsiteX11053" fmla="*/ 1822919 w 6785952"/>
              <a:gd name="connsiteY11053" fmla="*/ 1184318 h 5217112"/>
              <a:gd name="connsiteX11054" fmla="*/ 1824568 w 6785952"/>
              <a:gd name="connsiteY11054" fmla="*/ 1183119 h 5217112"/>
              <a:gd name="connsiteX11055" fmla="*/ 1809185 w 6785952"/>
              <a:gd name="connsiteY11055" fmla="*/ 1182684 h 5217112"/>
              <a:gd name="connsiteX11056" fmla="*/ 1815503 w 6785952"/>
              <a:gd name="connsiteY11056" fmla="*/ 1189439 h 5217112"/>
              <a:gd name="connsiteX11057" fmla="*/ 1819623 w 6785952"/>
              <a:gd name="connsiteY11057" fmla="*/ 1195869 h 5217112"/>
              <a:gd name="connsiteX11058" fmla="*/ 1828412 w 6785952"/>
              <a:gd name="connsiteY11058" fmla="*/ 1218972 h 5217112"/>
              <a:gd name="connsiteX11059" fmla="*/ 1821546 w 6785952"/>
              <a:gd name="connsiteY11059" fmla="*/ 1211561 h 5217112"/>
              <a:gd name="connsiteX11060" fmla="*/ 1817974 w 6785952"/>
              <a:gd name="connsiteY11060" fmla="*/ 1212324 h 5217112"/>
              <a:gd name="connsiteX11061" fmla="*/ 1812755 w 6785952"/>
              <a:gd name="connsiteY11061" fmla="*/ 1207529 h 5217112"/>
              <a:gd name="connsiteX11062" fmla="*/ 1818249 w 6785952"/>
              <a:gd name="connsiteY11062" fmla="*/ 1207093 h 5217112"/>
              <a:gd name="connsiteX11063" fmla="*/ 1819073 w 6785952"/>
              <a:gd name="connsiteY11063" fmla="*/ 1207529 h 5217112"/>
              <a:gd name="connsiteX11064" fmla="*/ 1814403 w 6785952"/>
              <a:gd name="connsiteY11064" fmla="*/ 1199683 h 5217112"/>
              <a:gd name="connsiteX11065" fmla="*/ 1808086 w 6785952"/>
              <a:gd name="connsiteY11065" fmla="*/ 1190747 h 5217112"/>
              <a:gd name="connsiteX11066" fmla="*/ 1808635 w 6785952"/>
              <a:gd name="connsiteY11066" fmla="*/ 1186715 h 5217112"/>
              <a:gd name="connsiteX11067" fmla="*/ 1807811 w 6785952"/>
              <a:gd name="connsiteY11067" fmla="*/ 1185408 h 5217112"/>
              <a:gd name="connsiteX11068" fmla="*/ 1809185 w 6785952"/>
              <a:gd name="connsiteY11068" fmla="*/ 1182684 h 5217112"/>
              <a:gd name="connsiteX11069" fmla="*/ 1930874 w 6785952"/>
              <a:gd name="connsiteY11069" fmla="*/ 1179523 h 5217112"/>
              <a:gd name="connsiteX11070" fmla="*/ 1927853 w 6785952"/>
              <a:gd name="connsiteY11070" fmla="*/ 1183446 h 5217112"/>
              <a:gd name="connsiteX11071" fmla="*/ 1926478 w 6785952"/>
              <a:gd name="connsiteY11071" fmla="*/ 1181702 h 5217112"/>
              <a:gd name="connsiteX11072" fmla="*/ 1926478 w 6785952"/>
              <a:gd name="connsiteY11072" fmla="*/ 1183229 h 5217112"/>
              <a:gd name="connsiteX11073" fmla="*/ 1925929 w 6785952"/>
              <a:gd name="connsiteY11073" fmla="*/ 1181157 h 5217112"/>
              <a:gd name="connsiteX11074" fmla="*/ 1926478 w 6785952"/>
              <a:gd name="connsiteY11074" fmla="*/ 1180286 h 5217112"/>
              <a:gd name="connsiteX11075" fmla="*/ 1930874 w 6785952"/>
              <a:gd name="connsiteY11075" fmla="*/ 1179523 h 5217112"/>
              <a:gd name="connsiteX11076" fmla="*/ 2183593 w 6785952"/>
              <a:gd name="connsiteY11076" fmla="*/ 1178651 h 5217112"/>
              <a:gd name="connsiteX11077" fmla="*/ 2179198 w 6785952"/>
              <a:gd name="connsiteY11077" fmla="*/ 1181485 h 5217112"/>
              <a:gd name="connsiteX11078" fmla="*/ 2178374 w 6785952"/>
              <a:gd name="connsiteY11078" fmla="*/ 1180177 h 5217112"/>
              <a:gd name="connsiteX11079" fmla="*/ 2183593 w 6785952"/>
              <a:gd name="connsiteY11079" fmla="*/ 1178651 h 5217112"/>
              <a:gd name="connsiteX11080" fmla="*/ 1835830 w 6785952"/>
              <a:gd name="connsiteY11080" fmla="*/ 1177671 h 5217112"/>
              <a:gd name="connsiteX11081" fmla="*/ 1835830 w 6785952"/>
              <a:gd name="connsiteY11081" fmla="*/ 1178216 h 5217112"/>
              <a:gd name="connsiteX11082" fmla="*/ 1836104 w 6785952"/>
              <a:gd name="connsiteY11082" fmla="*/ 1178324 h 5217112"/>
              <a:gd name="connsiteX11083" fmla="*/ 1838302 w 6785952"/>
              <a:gd name="connsiteY11083" fmla="*/ 1177888 h 5217112"/>
              <a:gd name="connsiteX11084" fmla="*/ 1330666 w 6785952"/>
              <a:gd name="connsiteY11084" fmla="*/ 1177453 h 5217112"/>
              <a:gd name="connsiteX11085" fmla="*/ 1334236 w 6785952"/>
              <a:gd name="connsiteY11085" fmla="*/ 1178869 h 5217112"/>
              <a:gd name="connsiteX11086" fmla="*/ 1340555 w 6785952"/>
              <a:gd name="connsiteY11086" fmla="*/ 1178869 h 5217112"/>
              <a:gd name="connsiteX11087" fmla="*/ 1340280 w 6785952"/>
              <a:gd name="connsiteY11087" fmla="*/ 1198158 h 5217112"/>
              <a:gd name="connsiteX11088" fmla="*/ 1324897 w 6785952"/>
              <a:gd name="connsiteY11088" fmla="*/ 1213522 h 5217112"/>
              <a:gd name="connsiteX11089" fmla="*/ 1319404 w 6785952"/>
              <a:gd name="connsiteY11089" fmla="*/ 1213305 h 5217112"/>
              <a:gd name="connsiteX11090" fmla="*/ 1307866 w 6785952"/>
              <a:gd name="connsiteY11090" fmla="*/ 1201972 h 5217112"/>
              <a:gd name="connsiteX11091" fmla="*/ 1307866 w 6785952"/>
              <a:gd name="connsiteY11091" fmla="*/ 1191837 h 5217112"/>
              <a:gd name="connsiteX11092" fmla="*/ 1330666 w 6785952"/>
              <a:gd name="connsiteY11092" fmla="*/ 1177453 h 5217112"/>
              <a:gd name="connsiteX11093" fmla="*/ 6549044 w 6785952"/>
              <a:gd name="connsiteY11093" fmla="*/ 1176145 h 5217112"/>
              <a:gd name="connsiteX11094" fmla="*/ 6554538 w 6785952"/>
              <a:gd name="connsiteY11094" fmla="*/ 1176799 h 5217112"/>
              <a:gd name="connsiteX11095" fmla="*/ 6552890 w 6785952"/>
              <a:gd name="connsiteY11095" fmla="*/ 1179850 h 5217112"/>
              <a:gd name="connsiteX11096" fmla="*/ 6551242 w 6785952"/>
              <a:gd name="connsiteY11096" fmla="*/ 1180722 h 5217112"/>
              <a:gd name="connsiteX11097" fmla="*/ 6549044 w 6785952"/>
              <a:gd name="connsiteY11097" fmla="*/ 1179959 h 5217112"/>
              <a:gd name="connsiteX11098" fmla="*/ 6549044 w 6785952"/>
              <a:gd name="connsiteY11098" fmla="*/ 1176145 h 5217112"/>
              <a:gd name="connsiteX11099" fmla="*/ 1427358 w 6785952"/>
              <a:gd name="connsiteY11099" fmla="*/ 1174728 h 5217112"/>
              <a:gd name="connsiteX11100" fmla="*/ 1432303 w 6785952"/>
              <a:gd name="connsiteY11100" fmla="*/ 1179523 h 5217112"/>
              <a:gd name="connsiteX11101" fmla="*/ 1414173 w 6785952"/>
              <a:gd name="connsiteY11101" fmla="*/ 1187696 h 5217112"/>
              <a:gd name="connsiteX11102" fmla="*/ 1427358 w 6785952"/>
              <a:gd name="connsiteY11102" fmla="*/ 1174728 h 5217112"/>
              <a:gd name="connsiteX11103" fmla="*/ 1481473 w 6785952"/>
              <a:gd name="connsiteY11103" fmla="*/ 1173094 h 5217112"/>
              <a:gd name="connsiteX11104" fmla="*/ 1477902 w 6785952"/>
              <a:gd name="connsiteY11104" fmla="*/ 1177453 h 5217112"/>
              <a:gd name="connsiteX11105" fmla="*/ 1475979 w 6785952"/>
              <a:gd name="connsiteY11105" fmla="*/ 1177234 h 5217112"/>
              <a:gd name="connsiteX11106" fmla="*/ 1481473 w 6785952"/>
              <a:gd name="connsiteY11106" fmla="*/ 1173094 h 5217112"/>
              <a:gd name="connsiteX11107" fmla="*/ 2286604 w 6785952"/>
              <a:gd name="connsiteY11107" fmla="*/ 1170587 h 5217112"/>
              <a:gd name="connsiteX11108" fmla="*/ 2290724 w 6785952"/>
              <a:gd name="connsiteY11108" fmla="*/ 1172440 h 5217112"/>
              <a:gd name="connsiteX11109" fmla="*/ 2290724 w 6785952"/>
              <a:gd name="connsiteY11109" fmla="*/ 1173856 h 5217112"/>
              <a:gd name="connsiteX11110" fmla="*/ 2291823 w 6785952"/>
              <a:gd name="connsiteY11110" fmla="*/ 1174401 h 5217112"/>
              <a:gd name="connsiteX11111" fmla="*/ 2295943 w 6785952"/>
              <a:gd name="connsiteY11111" fmla="*/ 1195651 h 5217112"/>
              <a:gd name="connsiteX11112" fmla="*/ 2286329 w 6785952"/>
              <a:gd name="connsiteY11112" fmla="*/ 1185080 h 5217112"/>
              <a:gd name="connsiteX11113" fmla="*/ 2286604 w 6785952"/>
              <a:gd name="connsiteY11113" fmla="*/ 1175164 h 5217112"/>
              <a:gd name="connsiteX11114" fmla="*/ 2285505 w 6785952"/>
              <a:gd name="connsiteY11114" fmla="*/ 1171350 h 5217112"/>
              <a:gd name="connsiteX11115" fmla="*/ 2286604 w 6785952"/>
              <a:gd name="connsiteY11115" fmla="*/ 1170587 h 5217112"/>
              <a:gd name="connsiteX11116" fmla="*/ 6345221 w 6785952"/>
              <a:gd name="connsiteY11116" fmla="*/ 1169280 h 5217112"/>
              <a:gd name="connsiteX11117" fmla="*/ 6357581 w 6785952"/>
              <a:gd name="connsiteY11117" fmla="*/ 1193471 h 5217112"/>
              <a:gd name="connsiteX11118" fmla="*/ 6345221 w 6785952"/>
              <a:gd name="connsiteY11118" fmla="*/ 1169280 h 5217112"/>
              <a:gd name="connsiteX11119" fmla="*/ 1876209 w 6785952"/>
              <a:gd name="connsiteY11119" fmla="*/ 1168299 h 5217112"/>
              <a:gd name="connsiteX11120" fmla="*/ 1879231 w 6785952"/>
              <a:gd name="connsiteY11120" fmla="*/ 1178978 h 5217112"/>
              <a:gd name="connsiteX11121" fmla="*/ 1878133 w 6785952"/>
              <a:gd name="connsiteY11121" fmla="*/ 1180831 h 5217112"/>
              <a:gd name="connsiteX11122" fmla="*/ 1876209 w 6785952"/>
              <a:gd name="connsiteY11122" fmla="*/ 1168299 h 5217112"/>
              <a:gd name="connsiteX11123" fmla="*/ 1267692 w 6785952"/>
              <a:gd name="connsiteY11123" fmla="*/ 1168258 h 5217112"/>
              <a:gd name="connsiteX11124" fmla="*/ 1274078 w 6785952"/>
              <a:gd name="connsiteY11124" fmla="*/ 1172331 h 5217112"/>
              <a:gd name="connsiteX11125" fmla="*/ 1273529 w 6785952"/>
              <a:gd name="connsiteY11125" fmla="*/ 1173856 h 5217112"/>
              <a:gd name="connsiteX11126" fmla="*/ 1275177 w 6785952"/>
              <a:gd name="connsiteY11126" fmla="*/ 1174074 h 5217112"/>
              <a:gd name="connsiteX11127" fmla="*/ 1279847 w 6785952"/>
              <a:gd name="connsiteY11127" fmla="*/ 1176799 h 5217112"/>
              <a:gd name="connsiteX11128" fmla="*/ 1283418 w 6785952"/>
              <a:gd name="connsiteY11128" fmla="*/ 1196087 h 5217112"/>
              <a:gd name="connsiteX11129" fmla="*/ 1270782 w 6785952"/>
              <a:gd name="connsiteY11129" fmla="*/ 1202735 h 5217112"/>
              <a:gd name="connsiteX11130" fmla="*/ 1272430 w 6785952"/>
              <a:gd name="connsiteY11130" fmla="*/ 1202843 h 5217112"/>
              <a:gd name="connsiteX11131" fmla="*/ 1287539 w 6785952"/>
              <a:gd name="connsiteY11131" fmla="*/ 1223875 h 5217112"/>
              <a:gd name="connsiteX11132" fmla="*/ 1283143 w 6785952"/>
              <a:gd name="connsiteY11132" fmla="*/ 1222241 h 5217112"/>
              <a:gd name="connsiteX11133" fmla="*/ 1281770 w 6785952"/>
              <a:gd name="connsiteY11133" fmla="*/ 1220715 h 5217112"/>
              <a:gd name="connsiteX11134" fmla="*/ 1280121 w 6785952"/>
              <a:gd name="connsiteY11134" fmla="*/ 1220606 h 5217112"/>
              <a:gd name="connsiteX11135" fmla="*/ 1280121 w 6785952"/>
              <a:gd name="connsiteY11135" fmla="*/ 1219189 h 5217112"/>
              <a:gd name="connsiteX11136" fmla="*/ 1277100 w 6785952"/>
              <a:gd name="connsiteY11136" fmla="*/ 1216138 h 5217112"/>
              <a:gd name="connsiteX11137" fmla="*/ 1268310 w 6785952"/>
              <a:gd name="connsiteY11137" fmla="*/ 1211343 h 5217112"/>
              <a:gd name="connsiteX11138" fmla="*/ 1262267 w 6785952"/>
              <a:gd name="connsiteY11138" fmla="*/ 1202407 h 5217112"/>
              <a:gd name="connsiteX11139" fmla="*/ 1265014 w 6785952"/>
              <a:gd name="connsiteY11139" fmla="*/ 1199574 h 5217112"/>
              <a:gd name="connsiteX11140" fmla="*/ 1261992 w 6785952"/>
              <a:gd name="connsiteY11140" fmla="*/ 1196523 h 5217112"/>
              <a:gd name="connsiteX11141" fmla="*/ 1257597 w 6785952"/>
              <a:gd name="connsiteY11141" fmla="*/ 1187805 h 5217112"/>
              <a:gd name="connsiteX11142" fmla="*/ 1261168 w 6785952"/>
              <a:gd name="connsiteY11142" fmla="*/ 1180503 h 5217112"/>
              <a:gd name="connsiteX11143" fmla="*/ 1258146 w 6785952"/>
              <a:gd name="connsiteY11143" fmla="*/ 1178869 h 5217112"/>
              <a:gd name="connsiteX11144" fmla="*/ 1259245 w 6785952"/>
              <a:gd name="connsiteY11144" fmla="*/ 1170478 h 5217112"/>
              <a:gd name="connsiteX11145" fmla="*/ 1267692 w 6785952"/>
              <a:gd name="connsiteY11145" fmla="*/ 1168258 h 5217112"/>
              <a:gd name="connsiteX11146" fmla="*/ 2022347 w 6785952"/>
              <a:gd name="connsiteY11146" fmla="*/ 1167972 h 5217112"/>
              <a:gd name="connsiteX11147" fmla="*/ 2024820 w 6785952"/>
              <a:gd name="connsiteY11147" fmla="*/ 1170805 h 5217112"/>
              <a:gd name="connsiteX11148" fmla="*/ 2023446 w 6785952"/>
              <a:gd name="connsiteY11148" fmla="*/ 1171132 h 5217112"/>
              <a:gd name="connsiteX11149" fmla="*/ 2021798 w 6785952"/>
              <a:gd name="connsiteY11149" fmla="*/ 1169171 h 5217112"/>
              <a:gd name="connsiteX11150" fmla="*/ 2022347 w 6785952"/>
              <a:gd name="connsiteY11150" fmla="*/ 1167972 h 5217112"/>
              <a:gd name="connsiteX11151" fmla="*/ 2312425 w 6785952"/>
              <a:gd name="connsiteY11151" fmla="*/ 1167318 h 5217112"/>
              <a:gd name="connsiteX11152" fmla="*/ 2317919 w 6785952"/>
              <a:gd name="connsiteY11152" fmla="*/ 1180395 h 5217112"/>
              <a:gd name="connsiteX11153" fmla="*/ 2308305 w 6785952"/>
              <a:gd name="connsiteY11153" fmla="*/ 1177017 h 5217112"/>
              <a:gd name="connsiteX11154" fmla="*/ 2312425 w 6785952"/>
              <a:gd name="connsiteY11154" fmla="*/ 1167318 h 5217112"/>
              <a:gd name="connsiteX11155" fmla="*/ 2106404 w 6785952"/>
              <a:gd name="connsiteY11155" fmla="*/ 1166664 h 5217112"/>
              <a:gd name="connsiteX11156" fmla="*/ 2111898 w 6785952"/>
              <a:gd name="connsiteY11156" fmla="*/ 1168190 h 5217112"/>
              <a:gd name="connsiteX11157" fmla="*/ 2107778 w 6785952"/>
              <a:gd name="connsiteY11157" fmla="*/ 1172440 h 5217112"/>
              <a:gd name="connsiteX11158" fmla="*/ 2105854 w 6785952"/>
              <a:gd name="connsiteY11158" fmla="*/ 1170915 h 5217112"/>
              <a:gd name="connsiteX11159" fmla="*/ 2106404 w 6785952"/>
              <a:gd name="connsiteY11159" fmla="*/ 1166664 h 5217112"/>
              <a:gd name="connsiteX11160" fmla="*/ 6370218 w 6785952"/>
              <a:gd name="connsiteY11160" fmla="*/ 1165793 h 5217112"/>
              <a:gd name="connsiteX11161" fmla="*/ 6377635 w 6785952"/>
              <a:gd name="connsiteY11161" fmla="*/ 1179087 h 5217112"/>
              <a:gd name="connsiteX11162" fmla="*/ 6371317 w 6785952"/>
              <a:gd name="connsiteY11162" fmla="*/ 1178761 h 5217112"/>
              <a:gd name="connsiteX11163" fmla="*/ 6370218 w 6785952"/>
              <a:gd name="connsiteY11163" fmla="*/ 1165793 h 5217112"/>
              <a:gd name="connsiteX11164" fmla="*/ 1447686 w 6785952"/>
              <a:gd name="connsiteY11164" fmla="*/ 1165357 h 5217112"/>
              <a:gd name="connsiteX11165" fmla="*/ 1446861 w 6785952"/>
              <a:gd name="connsiteY11165" fmla="*/ 1175273 h 5217112"/>
              <a:gd name="connsiteX11166" fmla="*/ 1438346 w 6785952"/>
              <a:gd name="connsiteY11166" fmla="*/ 1173203 h 5217112"/>
              <a:gd name="connsiteX11167" fmla="*/ 1447686 w 6785952"/>
              <a:gd name="connsiteY11167" fmla="*/ 1165357 h 5217112"/>
              <a:gd name="connsiteX11168" fmla="*/ 1775397 w 6785952"/>
              <a:gd name="connsiteY11168" fmla="*/ 1164376 h 5217112"/>
              <a:gd name="connsiteX11169" fmla="*/ 1797647 w 6785952"/>
              <a:gd name="connsiteY11169" fmla="*/ 1177234 h 5217112"/>
              <a:gd name="connsiteX11170" fmla="*/ 1797647 w 6785952"/>
              <a:gd name="connsiteY11170" fmla="*/ 1178761 h 5217112"/>
              <a:gd name="connsiteX11171" fmla="*/ 1794625 w 6785952"/>
              <a:gd name="connsiteY11171" fmla="*/ 1180068 h 5217112"/>
              <a:gd name="connsiteX11172" fmla="*/ 1788857 w 6785952"/>
              <a:gd name="connsiteY11172" fmla="*/ 1176799 h 5217112"/>
              <a:gd name="connsiteX11173" fmla="*/ 1778419 w 6785952"/>
              <a:gd name="connsiteY11173" fmla="*/ 1166010 h 5217112"/>
              <a:gd name="connsiteX11174" fmla="*/ 1775397 w 6785952"/>
              <a:gd name="connsiteY11174" fmla="*/ 1164376 h 5217112"/>
              <a:gd name="connsiteX11175" fmla="*/ 1415821 w 6785952"/>
              <a:gd name="connsiteY11175" fmla="*/ 1163395 h 5217112"/>
              <a:gd name="connsiteX11176" fmla="*/ 1425435 w 6785952"/>
              <a:gd name="connsiteY11176" fmla="*/ 1168843 h 5217112"/>
              <a:gd name="connsiteX11177" fmla="*/ 1423238 w 6785952"/>
              <a:gd name="connsiteY11177" fmla="*/ 1169388 h 5217112"/>
              <a:gd name="connsiteX11178" fmla="*/ 1420765 w 6785952"/>
              <a:gd name="connsiteY11178" fmla="*/ 1167645 h 5217112"/>
              <a:gd name="connsiteX11179" fmla="*/ 1415821 w 6785952"/>
              <a:gd name="connsiteY11179" fmla="*/ 1163395 h 5217112"/>
              <a:gd name="connsiteX11180" fmla="*/ 1290457 w 6785952"/>
              <a:gd name="connsiteY11180" fmla="*/ 1163327 h 5217112"/>
              <a:gd name="connsiteX11181" fmla="*/ 1298252 w 6785952"/>
              <a:gd name="connsiteY11181" fmla="*/ 1168081 h 5217112"/>
              <a:gd name="connsiteX11182" fmla="*/ 1297153 w 6785952"/>
              <a:gd name="connsiteY11182" fmla="*/ 1170587 h 5217112"/>
              <a:gd name="connsiteX11183" fmla="*/ 1300174 w 6785952"/>
              <a:gd name="connsiteY11183" fmla="*/ 1170370 h 5217112"/>
              <a:gd name="connsiteX11184" fmla="*/ 1304844 w 6785952"/>
              <a:gd name="connsiteY11184" fmla="*/ 1171350 h 5217112"/>
              <a:gd name="connsiteX11185" fmla="*/ 1305943 w 6785952"/>
              <a:gd name="connsiteY11185" fmla="*/ 1181921 h 5217112"/>
              <a:gd name="connsiteX11186" fmla="*/ 1302372 w 6785952"/>
              <a:gd name="connsiteY11186" fmla="*/ 1185190 h 5217112"/>
              <a:gd name="connsiteX11187" fmla="*/ 1294131 w 6785952"/>
              <a:gd name="connsiteY11187" fmla="*/ 1187805 h 5217112"/>
              <a:gd name="connsiteX11188" fmla="*/ 1294681 w 6785952"/>
              <a:gd name="connsiteY11188" fmla="*/ 1189113 h 5217112"/>
              <a:gd name="connsiteX11189" fmla="*/ 1290286 w 6785952"/>
              <a:gd name="connsiteY11189" fmla="*/ 1181811 h 5217112"/>
              <a:gd name="connsiteX11190" fmla="*/ 1290560 w 6785952"/>
              <a:gd name="connsiteY11190" fmla="*/ 1180722 h 5217112"/>
              <a:gd name="connsiteX11191" fmla="*/ 1289736 w 6785952"/>
              <a:gd name="connsiteY11191" fmla="*/ 1181702 h 5217112"/>
              <a:gd name="connsiteX11192" fmla="*/ 1281770 w 6785952"/>
              <a:gd name="connsiteY11192" fmla="*/ 1175273 h 5217112"/>
              <a:gd name="connsiteX11193" fmla="*/ 1281221 w 6785952"/>
              <a:gd name="connsiteY11193" fmla="*/ 1164049 h 5217112"/>
              <a:gd name="connsiteX11194" fmla="*/ 1290457 w 6785952"/>
              <a:gd name="connsiteY11194" fmla="*/ 1163327 h 5217112"/>
              <a:gd name="connsiteX11195" fmla="*/ 6259515 w 6785952"/>
              <a:gd name="connsiteY11195" fmla="*/ 1161870 h 5217112"/>
              <a:gd name="connsiteX11196" fmla="*/ 6258417 w 6785952"/>
              <a:gd name="connsiteY11196" fmla="*/ 1162305 h 5217112"/>
              <a:gd name="connsiteX11197" fmla="*/ 6259241 w 6785952"/>
              <a:gd name="connsiteY11197" fmla="*/ 1166228 h 5217112"/>
              <a:gd name="connsiteX11198" fmla="*/ 6260065 w 6785952"/>
              <a:gd name="connsiteY11198" fmla="*/ 1174619 h 5217112"/>
              <a:gd name="connsiteX11199" fmla="*/ 6253198 w 6785952"/>
              <a:gd name="connsiteY11199" fmla="*/ 1176690 h 5217112"/>
              <a:gd name="connsiteX11200" fmla="*/ 6255120 w 6785952"/>
              <a:gd name="connsiteY11200" fmla="*/ 1179632 h 5217112"/>
              <a:gd name="connsiteX11201" fmla="*/ 6255120 w 6785952"/>
              <a:gd name="connsiteY11201" fmla="*/ 1180940 h 5217112"/>
              <a:gd name="connsiteX11202" fmla="*/ 6256494 w 6785952"/>
              <a:gd name="connsiteY11202" fmla="*/ 1183664 h 5217112"/>
              <a:gd name="connsiteX11203" fmla="*/ 6268032 w 6785952"/>
              <a:gd name="connsiteY11203" fmla="*/ 1235862 h 5217112"/>
              <a:gd name="connsiteX11204" fmla="*/ 6269130 w 6785952"/>
              <a:gd name="connsiteY11204" fmla="*/ 1244253 h 5217112"/>
              <a:gd name="connsiteX11205" fmla="*/ 6270778 w 6785952"/>
              <a:gd name="connsiteY11205" fmla="*/ 1243272 h 5217112"/>
              <a:gd name="connsiteX11206" fmla="*/ 6274899 w 6785952"/>
              <a:gd name="connsiteY11206" fmla="*/ 1242073 h 5217112"/>
              <a:gd name="connsiteX11207" fmla="*/ 6272426 w 6785952"/>
              <a:gd name="connsiteY11207" fmla="*/ 1222023 h 5217112"/>
              <a:gd name="connsiteX11208" fmla="*/ 6261988 w 6785952"/>
              <a:gd name="connsiteY11208" fmla="*/ 1172766 h 5217112"/>
              <a:gd name="connsiteX11209" fmla="*/ 6497402 w 6785952"/>
              <a:gd name="connsiteY11209" fmla="*/ 1161651 h 5217112"/>
              <a:gd name="connsiteX11210" fmla="*/ 6489985 w 6785952"/>
              <a:gd name="connsiteY11210" fmla="*/ 1185734 h 5217112"/>
              <a:gd name="connsiteX11211" fmla="*/ 6479272 w 6785952"/>
              <a:gd name="connsiteY11211" fmla="*/ 1175164 h 5217112"/>
              <a:gd name="connsiteX11212" fmla="*/ 6497402 w 6785952"/>
              <a:gd name="connsiteY11212" fmla="*/ 1161651 h 5217112"/>
              <a:gd name="connsiteX11213" fmla="*/ 2016304 w 6785952"/>
              <a:gd name="connsiteY11213" fmla="*/ 1160997 h 5217112"/>
              <a:gd name="connsiteX11214" fmla="*/ 2020974 w 6785952"/>
              <a:gd name="connsiteY11214" fmla="*/ 1168517 h 5217112"/>
              <a:gd name="connsiteX11215" fmla="*/ 2015755 w 6785952"/>
              <a:gd name="connsiteY11215" fmla="*/ 1165574 h 5217112"/>
              <a:gd name="connsiteX11216" fmla="*/ 2016304 w 6785952"/>
              <a:gd name="connsiteY11216" fmla="*/ 1160997 h 5217112"/>
              <a:gd name="connsiteX11217" fmla="*/ 2130302 w 6785952"/>
              <a:gd name="connsiteY11217" fmla="*/ 1160671 h 5217112"/>
              <a:gd name="connsiteX11218" fmla="*/ 2129478 w 6785952"/>
              <a:gd name="connsiteY11218" fmla="*/ 1166010 h 5217112"/>
              <a:gd name="connsiteX11219" fmla="*/ 2130852 w 6785952"/>
              <a:gd name="connsiteY11219" fmla="*/ 1168843 h 5217112"/>
              <a:gd name="connsiteX11220" fmla="*/ 2129478 w 6785952"/>
              <a:gd name="connsiteY11220" fmla="*/ 1173203 h 5217112"/>
              <a:gd name="connsiteX11221" fmla="*/ 2126731 w 6785952"/>
              <a:gd name="connsiteY11221" fmla="*/ 1175491 h 5217112"/>
              <a:gd name="connsiteX11222" fmla="*/ 2123161 w 6785952"/>
              <a:gd name="connsiteY11222" fmla="*/ 1182356 h 5217112"/>
              <a:gd name="connsiteX11223" fmla="*/ 2123161 w 6785952"/>
              <a:gd name="connsiteY11223" fmla="*/ 1182465 h 5217112"/>
              <a:gd name="connsiteX11224" fmla="*/ 2123161 w 6785952"/>
              <a:gd name="connsiteY11224" fmla="*/ 1182684 h 5217112"/>
              <a:gd name="connsiteX11225" fmla="*/ 2119864 w 6785952"/>
              <a:gd name="connsiteY11225" fmla="*/ 1185734 h 5217112"/>
              <a:gd name="connsiteX11226" fmla="*/ 2115469 w 6785952"/>
              <a:gd name="connsiteY11226" fmla="*/ 1190202 h 5217112"/>
              <a:gd name="connsiteX11227" fmla="*/ 2107503 w 6785952"/>
              <a:gd name="connsiteY11227" fmla="*/ 1194235 h 5217112"/>
              <a:gd name="connsiteX11228" fmla="*/ 2122886 w 6785952"/>
              <a:gd name="connsiteY11228" fmla="*/ 1165683 h 5217112"/>
              <a:gd name="connsiteX11229" fmla="*/ 2124259 w 6785952"/>
              <a:gd name="connsiteY11229" fmla="*/ 1162196 h 5217112"/>
              <a:gd name="connsiteX11230" fmla="*/ 2126456 w 6785952"/>
              <a:gd name="connsiteY11230" fmla="*/ 1163286 h 5217112"/>
              <a:gd name="connsiteX11231" fmla="*/ 1763070 w 6785952"/>
              <a:gd name="connsiteY11231" fmla="*/ 1157743 h 5217112"/>
              <a:gd name="connsiteX11232" fmla="*/ 1765233 w 6785952"/>
              <a:gd name="connsiteY11232" fmla="*/ 1158382 h 5217112"/>
              <a:gd name="connsiteX11233" fmla="*/ 1764958 w 6785952"/>
              <a:gd name="connsiteY11233" fmla="*/ 1169280 h 5217112"/>
              <a:gd name="connsiteX11234" fmla="*/ 1773474 w 6785952"/>
              <a:gd name="connsiteY11234" fmla="*/ 1169716 h 5217112"/>
              <a:gd name="connsiteX11235" fmla="*/ 1764958 w 6785952"/>
              <a:gd name="connsiteY11235" fmla="*/ 1196196 h 5217112"/>
              <a:gd name="connsiteX11236" fmla="*/ 1764134 w 6785952"/>
              <a:gd name="connsiteY11236" fmla="*/ 1196741 h 5217112"/>
              <a:gd name="connsiteX11237" fmla="*/ 1764684 w 6785952"/>
              <a:gd name="connsiteY11237" fmla="*/ 1196850 h 5217112"/>
              <a:gd name="connsiteX11238" fmla="*/ 1771276 w 6785952"/>
              <a:gd name="connsiteY11238" fmla="*/ 1193907 h 5217112"/>
              <a:gd name="connsiteX11239" fmla="*/ 1774572 w 6785952"/>
              <a:gd name="connsiteY11239" fmla="*/ 1215375 h 5217112"/>
              <a:gd name="connsiteX11240" fmla="*/ 1773749 w 6785952"/>
              <a:gd name="connsiteY11240" fmla="*/ 1218427 h 5217112"/>
              <a:gd name="connsiteX11241" fmla="*/ 1775397 w 6785952"/>
              <a:gd name="connsiteY11241" fmla="*/ 1218535 h 5217112"/>
              <a:gd name="connsiteX11242" fmla="*/ 1773749 w 6785952"/>
              <a:gd name="connsiteY11242" fmla="*/ 1220061 h 5217112"/>
              <a:gd name="connsiteX11243" fmla="*/ 1773749 w 6785952"/>
              <a:gd name="connsiteY11243" fmla="*/ 1220279 h 5217112"/>
              <a:gd name="connsiteX11244" fmla="*/ 1773749 w 6785952"/>
              <a:gd name="connsiteY11244" fmla="*/ 1221804 h 5217112"/>
              <a:gd name="connsiteX11245" fmla="*/ 1770453 w 6785952"/>
              <a:gd name="connsiteY11245" fmla="*/ 1226600 h 5217112"/>
              <a:gd name="connsiteX11246" fmla="*/ 1768804 w 6785952"/>
              <a:gd name="connsiteY11246" fmla="*/ 1227144 h 5217112"/>
              <a:gd name="connsiteX11247" fmla="*/ 1766881 w 6785952"/>
              <a:gd name="connsiteY11247" fmla="*/ 1225836 h 5217112"/>
              <a:gd name="connsiteX11248" fmla="*/ 1762211 w 6785952"/>
              <a:gd name="connsiteY11248" fmla="*/ 1218318 h 5217112"/>
              <a:gd name="connsiteX11249" fmla="*/ 1736390 w 6785952"/>
              <a:gd name="connsiteY11249" fmla="*/ 1215702 h 5217112"/>
              <a:gd name="connsiteX11250" fmla="*/ 1737214 w 6785952"/>
              <a:gd name="connsiteY11250" fmla="*/ 1201099 h 5217112"/>
              <a:gd name="connsiteX11251" fmla="*/ 1739961 w 6785952"/>
              <a:gd name="connsiteY11251" fmla="*/ 1198048 h 5217112"/>
              <a:gd name="connsiteX11252" fmla="*/ 1736665 w 6785952"/>
              <a:gd name="connsiteY11252" fmla="*/ 1197613 h 5217112"/>
              <a:gd name="connsiteX11253" fmla="*/ 1746005 w 6785952"/>
              <a:gd name="connsiteY11253" fmla="*/ 1170587 h 5217112"/>
              <a:gd name="connsiteX11254" fmla="*/ 1748477 w 6785952"/>
              <a:gd name="connsiteY11254" fmla="*/ 1168517 h 5217112"/>
              <a:gd name="connsiteX11255" fmla="*/ 1751773 w 6785952"/>
              <a:gd name="connsiteY11255" fmla="*/ 1169825 h 5217112"/>
              <a:gd name="connsiteX11256" fmla="*/ 1753421 w 6785952"/>
              <a:gd name="connsiteY11256" fmla="*/ 1174510 h 5217112"/>
              <a:gd name="connsiteX11257" fmla="*/ 1754520 w 6785952"/>
              <a:gd name="connsiteY11257" fmla="*/ 1173965 h 5217112"/>
              <a:gd name="connsiteX11258" fmla="*/ 1754520 w 6785952"/>
              <a:gd name="connsiteY11258" fmla="*/ 1173530 h 5217112"/>
              <a:gd name="connsiteX11259" fmla="*/ 1759740 w 6785952"/>
              <a:gd name="connsiteY11259" fmla="*/ 1161106 h 5217112"/>
              <a:gd name="connsiteX11260" fmla="*/ 1761113 w 6785952"/>
              <a:gd name="connsiteY11260" fmla="*/ 1158165 h 5217112"/>
              <a:gd name="connsiteX11261" fmla="*/ 1763070 w 6785952"/>
              <a:gd name="connsiteY11261" fmla="*/ 1157743 h 5217112"/>
              <a:gd name="connsiteX11262" fmla="*/ 2221153 w 6785952"/>
              <a:gd name="connsiteY11262" fmla="*/ 1156841 h 5217112"/>
              <a:gd name="connsiteX11263" fmla="*/ 2245949 w 6785952"/>
              <a:gd name="connsiteY11263" fmla="*/ 1169607 h 5217112"/>
              <a:gd name="connsiteX11264" fmla="*/ 2259684 w 6785952"/>
              <a:gd name="connsiteY11264" fmla="*/ 1221478 h 5217112"/>
              <a:gd name="connsiteX11265" fmla="*/ 2219028 w 6785952"/>
              <a:gd name="connsiteY11265" fmla="*/ 1219843 h 5217112"/>
              <a:gd name="connsiteX11266" fmla="*/ 2206668 w 6785952"/>
              <a:gd name="connsiteY11266" fmla="*/ 1214721 h 5217112"/>
              <a:gd name="connsiteX11267" fmla="*/ 2221153 w 6785952"/>
              <a:gd name="connsiteY11267" fmla="*/ 1156841 h 5217112"/>
              <a:gd name="connsiteX11268" fmla="*/ 1355217 w 6785952"/>
              <a:gd name="connsiteY11268" fmla="*/ 1156244 h 5217112"/>
              <a:gd name="connsiteX11269" fmla="*/ 1372419 w 6785952"/>
              <a:gd name="connsiteY11269" fmla="*/ 1158382 h 5217112"/>
              <a:gd name="connsiteX11270" fmla="*/ 1371046 w 6785952"/>
              <a:gd name="connsiteY11270" fmla="*/ 1172985 h 5217112"/>
              <a:gd name="connsiteX11271" fmla="*/ 1364454 w 6785952"/>
              <a:gd name="connsiteY11271" fmla="*/ 1173965 h 5217112"/>
              <a:gd name="connsiteX11272" fmla="*/ 1358685 w 6785952"/>
              <a:gd name="connsiteY11272" fmla="*/ 1173203 h 5217112"/>
              <a:gd name="connsiteX11273" fmla="*/ 1348521 w 6785952"/>
              <a:gd name="connsiteY11273" fmla="*/ 1168735 h 5217112"/>
              <a:gd name="connsiteX11274" fmla="*/ 1355217 w 6785952"/>
              <a:gd name="connsiteY11274" fmla="*/ 1156244 h 5217112"/>
              <a:gd name="connsiteX11275" fmla="*/ 1904228 w 6785952"/>
              <a:gd name="connsiteY11275" fmla="*/ 1156203 h 5217112"/>
              <a:gd name="connsiteX11276" fmla="*/ 1909722 w 6785952"/>
              <a:gd name="connsiteY11276" fmla="*/ 1160889 h 5217112"/>
              <a:gd name="connsiteX11277" fmla="*/ 1903679 w 6785952"/>
              <a:gd name="connsiteY11277" fmla="*/ 1168081 h 5217112"/>
              <a:gd name="connsiteX11278" fmla="*/ 1897361 w 6785952"/>
              <a:gd name="connsiteY11278" fmla="*/ 1163831 h 5217112"/>
              <a:gd name="connsiteX11279" fmla="*/ 1897910 w 6785952"/>
              <a:gd name="connsiteY11279" fmla="*/ 1160017 h 5217112"/>
              <a:gd name="connsiteX11280" fmla="*/ 1899009 w 6785952"/>
              <a:gd name="connsiteY11280" fmla="*/ 1159254 h 5217112"/>
              <a:gd name="connsiteX11281" fmla="*/ 1904228 w 6785952"/>
              <a:gd name="connsiteY11281" fmla="*/ 1156203 h 5217112"/>
              <a:gd name="connsiteX11282" fmla="*/ 2093493 w 6785952"/>
              <a:gd name="connsiteY11282" fmla="*/ 1155985 h 5217112"/>
              <a:gd name="connsiteX11283" fmla="*/ 2094042 w 6785952"/>
              <a:gd name="connsiteY11283" fmla="*/ 1157837 h 5217112"/>
              <a:gd name="connsiteX11284" fmla="*/ 2094042 w 6785952"/>
              <a:gd name="connsiteY11284" fmla="*/ 1157728 h 5217112"/>
              <a:gd name="connsiteX11285" fmla="*/ 2094592 w 6785952"/>
              <a:gd name="connsiteY11285" fmla="*/ 1156748 h 5217112"/>
              <a:gd name="connsiteX11286" fmla="*/ 2094592 w 6785952"/>
              <a:gd name="connsiteY11286" fmla="*/ 1157511 h 5217112"/>
              <a:gd name="connsiteX11287" fmla="*/ 2096240 w 6785952"/>
              <a:gd name="connsiteY11287" fmla="*/ 1156529 h 5217112"/>
              <a:gd name="connsiteX11288" fmla="*/ 2104481 w 6785952"/>
              <a:gd name="connsiteY11288" fmla="*/ 1166119 h 5217112"/>
              <a:gd name="connsiteX11289" fmla="*/ 2096240 w 6785952"/>
              <a:gd name="connsiteY11289" fmla="*/ 1176145 h 5217112"/>
              <a:gd name="connsiteX11290" fmla="*/ 2093768 w 6785952"/>
              <a:gd name="connsiteY11290" fmla="*/ 1174510 h 5217112"/>
              <a:gd name="connsiteX11291" fmla="*/ 2091296 w 6785952"/>
              <a:gd name="connsiteY11291" fmla="*/ 1171895 h 5217112"/>
              <a:gd name="connsiteX11292" fmla="*/ 2089922 w 6785952"/>
              <a:gd name="connsiteY11292" fmla="*/ 1168517 h 5217112"/>
              <a:gd name="connsiteX11293" fmla="*/ 2089922 w 6785952"/>
              <a:gd name="connsiteY11293" fmla="*/ 1163831 h 5217112"/>
              <a:gd name="connsiteX11294" fmla="*/ 2091845 w 6785952"/>
              <a:gd name="connsiteY11294" fmla="*/ 1159690 h 5217112"/>
              <a:gd name="connsiteX11295" fmla="*/ 2090747 w 6785952"/>
              <a:gd name="connsiteY11295" fmla="*/ 1159799 h 5217112"/>
              <a:gd name="connsiteX11296" fmla="*/ 2089098 w 6785952"/>
              <a:gd name="connsiteY11296" fmla="*/ 1158382 h 5217112"/>
              <a:gd name="connsiteX11297" fmla="*/ 2093493 w 6785952"/>
              <a:gd name="connsiteY11297" fmla="*/ 1155985 h 5217112"/>
              <a:gd name="connsiteX11298" fmla="*/ 2280835 w 6785952"/>
              <a:gd name="connsiteY11298" fmla="*/ 1154350 h 5217112"/>
              <a:gd name="connsiteX11299" fmla="*/ 2283857 w 6785952"/>
              <a:gd name="connsiteY11299" fmla="*/ 1161760 h 5217112"/>
              <a:gd name="connsiteX11300" fmla="*/ 2281659 w 6785952"/>
              <a:gd name="connsiteY11300" fmla="*/ 1162305 h 5217112"/>
              <a:gd name="connsiteX11301" fmla="*/ 2283033 w 6785952"/>
              <a:gd name="connsiteY11301" fmla="*/ 1165902 h 5217112"/>
              <a:gd name="connsiteX11302" fmla="*/ 2279461 w 6785952"/>
              <a:gd name="connsiteY11302" fmla="*/ 1174074 h 5217112"/>
              <a:gd name="connsiteX11303" fmla="*/ 2264079 w 6785952"/>
              <a:gd name="connsiteY11303" fmla="*/ 1166773 h 5217112"/>
              <a:gd name="connsiteX11304" fmla="*/ 2263529 w 6785952"/>
              <a:gd name="connsiteY11304" fmla="*/ 1160671 h 5217112"/>
              <a:gd name="connsiteX11305" fmla="*/ 2276440 w 6785952"/>
              <a:gd name="connsiteY11305" fmla="*/ 1156094 h 5217112"/>
              <a:gd name="connsiteX11306" fmla="*/ 2277264 w 6785952"/>
              <a:gd name="connsiteY11306" fmla="*/ 1156748 h 5217112"/>
              <a:gd name="connsiteX11307" fmla="*/ 2280835 w 6785952"/>
              <a:gd name="connsiteY11307" fmla="*/ 1154350 h 5217112"/>
              <a:gd name="connsiteX11308" fmla="*/ 1766606 w 6785952"/>
              <a:gd name="connsiteY11308" fmla="*/ 1154023 h 5217112"/>
              <a:gd name="connsiteX11309" fmla="*/ 1772375 w 6785952"/>
              <a:gd name="connsiteY11309" fmla="*/ 1160235 h 5217112"/>
              <a:gd name="connsiteX11310" fmla="*/ 1775397 w 6785952"/>
              <a:gd name="connsiteY11310" fmla="*/ 1161760 h 5217112"/>
              <a:gd name="connsiteX11311" fmla="*/ 1772650 w 6785952"/>
              <a:gd name="connsiteY11311" fmla="*/ 1163068 h 5217112"/>
              <a:gd name="connsiteX11312" fmla="*/ 1769353 w 6785952"/>
              <a:gd name="connsiteY11312" fmla="*/ 1158491 h 5217112"/>
              <a:gd name="connsiteX11313" fmla="*/ 1766881 w 6785952"/>
              <a:gd name="connsiteY11313" fmla="*/ 1159799 h 5217112"/>
              <a:gd name="connsiteX11314" fmla="*/ 1765233 w 6785952"/>
              <a:gd name="connsiteY11314" fmla="*/ 1158382 h 5217112"/>
              <a:gd name="connsiteX11315" fmla="*/ 1766606 w 6785952"/>
              <a:gd name="connsiteY11315" fmla="*/ 1154023 h 5217112"/>
              <a:gd name="connsiteX11316" fmla="*/ 1338083 w 6785952"/>
              <a:gd name="connsiteY11316" fmla="*/ 1153479 h 5217112"/>
              <a:gd name="connsiteX11317" fmla="*/ 1335336 w 6785952"/>
              <a:gd name="connsiteY11317" fmla="*/ 1167536 h 5217112"/>
              <a:gd name="connsiteX11318" fmla="*/ 1338083 w 6785952"/>
              <a:gd name="connsiteY11318" fmla="*/ 1153479 h 5217112"/>
              <a:gd name="connsiteX11319" fmla="*/ 1462519 w 6785952"/>
              <a:gd name="connsiteY11319" fmla="*/ 1151953 h 5217112"/>
              <a:gd name="connsiteX11320" fmla="*/ 1466640 w 6785952"/>
              <a:gd name="connsiteY11320" fmla="*/ 1156639 h 5217112"/>
              <a:gd name="connsiteX11321" fmla="*/ 1468013 w 6785952"/>
              <a:gd name="connsiteY11321" fmla="*/ 1162959 h 5217112"/>
              <a:gd name="connsiteX11322" fmla="*/ 1469112 w 6785952"/>
              <a:gd name="connsiteY11322" fmla="*/ 1162741 h 5217112"/>
              <a:gd name="connsiteX11323" fmla="*/ 1469387 w 6785952"/>
              <a:gd name="connsiteY11323" fmla="*/ 1161325 h 5217112"/>
              <a:gd name="connsiteX11324" fmla="*/ 1472134 w 6785952"/>
              <a:gd name="connsiteY11324" fmla="*/ 1163286 h 5217112"/>
              <a:gd name="connsiteX11325" fmla="*/ 1475705 w 6785952"/>
              <a:gd name="connsiteY11325" fmla="*/ 1174293 h 5217112"/>
              <a:gd name="connsiteX11326" fmla="*/ 1471310 w 6785952"/>
              <a:gd name="connsiteY11326" fmla="*/ 1175273 h 5217112"/>
              <a:gd name="connsiteX11327" fmla="*/ 1468288 w 6785952"/>
              <a:gd name="connsiteY11327" fmla="*/ 1173094 h 5217112"/>
              <a:gd name="connsiteX11328" fmla="*/ 1465266 w 6785952"/>
              <a:gd name="connsiteY11328" fmla="*/ 1167754 h 5217112"/>
              <a:gd name="connsiteX11329" fmla="*/ 1465541 w 6785952"/>
              <a:gd name="connsiteY11329" fmla="*/ 1166119 h 5217112"/>
              <a:gd name="connsiteX11330" fmla="*/ 1464442 w 6785952"/>
              <a:gd name="connsiteY11330" fmla="*/ 1167209 h 5217112"/>
              <a:gd name="connsiteX11331" fmla="*/ 1458674 w 6785952"/>
              <a:gd name="connsiteY11331" fmla="*/ 1167427 h 5217112"/>
              <a:gd name="connsiteX11332" fmla="*/ 1455103 w 6785952"/>
              <a:gd name="connsiteY11332" fmla="*/ 1165465 h 5217112"/>
              <a:gd name="connsiteX11333" fmla="*/ 1453729 w 6785952"/>
              <a:gd name="connsiteY11333" fmla="*/ 1160780 h 5217112"/>
              <a:gd name="connsiteX11334" fmla="*/ 1454828 w 6785952"/>
              <a:gd name="connsiteY11334" fmla="*/ 1156639 h 5217112"/>
              <a:gd name="connsiteX11335" fmla="*/ 1462519 w 6785952"/>
              <a:gd name="connsiteY11335" fmla="*/ 1151953 h 5217112"/>
              <a:gd name="connsiteX11336" fmla="*/ 1589703 w 6785952"/>
              <a:gd name="connsiteY11336" fmla="*/ 1149774 h 5217112"/>
              <a:gd name="connsiteX11337" fmla="*/ 1589428 w 6785952"/>
              <a:gd name="connsiteY11337" fmla="*/ 1150210 h 5217112"/>
              <a:gd name="connsiteX11338" fmla="*/ 1589153 w 6785952"/>
              <a:gd name="connsiteY11338" fmla="*/ 1151408 h 5217112"/>
              <a:gd name="connsiteX11339" fmla="*/ 1502624 w 6785952"/>
              <a:gd name="connsiteY11339" fmla="*/ 1149774 h 5217112"/>
              <a:gd name="connsiteX11340" fmla="*/ 1511141 w 6785952"/>
              <a:gd name="connsiteY11340" fmla="*/ 1156203 h 5217112"/>
              <a:gd name="connsiteX11341" fmla="*/ 1508668 w 6785952"/>
              <a:gd name="connsiteY11341" fmla="*/ 1159036 h 5217112"/>
              <a:gd name="connsiteX11342" fmla="*/ 1512514 w 6785952"/>
              <a:gd name="connsiteY11342" fmla="*/ 1159254 h 5217112"/>
              <a:gd name="connsiteX11343" fmla="*/ 1516085 w 6785952"/>
              <a:gd name="connsiteY11343" fmla="*/ 1161651 h 5217112"/>
              <a:gd name="connsiteX11344" fmla="*/ 1520481 w 6785952"/>
              <a:gd name="connsiteY11344" fmla="*/ 1167209 h 5217112"/>
              <a:gd name="connsiteX11345" fmla="*/ 1522403 w 6785952"/>
              <a:gd name="connsiteY11345" fmla="*/ 1164485 h 5217112"/>
              <a:gd name="connsiteX11346" fmla="*/ 1525699 w 6785952"/>
              <a:gd name="connsiteY11346" fmla="*/ 1162633 h 5217112"/>
              <a:gd name="connsiteX11347" fmla="*/ 1528995 w 6785952"/>
              <a:gd name="connsiteY11347" fmla="*/ 1163504 h 5217112"/>
              <a:gd name="connsiteX11348" fmla="*/ 1529270 w 6785952"/>
              <a:gd name="connsiteY11348" fmla="*/ 1164812 h 5217112"/>
              <a:gd name="connsiteX11349" fmla="*/ 1530919 w 6785952"/>
              <a:gd name="connsiteY11349" fmla="*/ 1170370 h 5217112"/>
              <a:gd name="connsiteX11350" fmla="*/ 1528172 w 6785952"/>
              <a:gd name="connsiteY11350" fmla="*/ 1173965 h 5217112"/>
              <a:gd name="connsiteX11351" fmla="*/ 1524875 w 6785952"/>
              <a:gd name="connsiteY11351" fmla="*/ 1175491 h 5217112"/>
              <a:gd name="connsiteX11352" fmla="*/ 1525699 w 6785952"/>
              <a:gd name="connsiteY11352" fmla="*/ 1177126 h 5217112"/>
              <a:gd name="connsiteX11353" fmla="*/ 1521304 w 6785952"/>
              <a:gd name="connsiteY11353" fmla="*/ 1189331 h 5217112"/>
              <a:gd name="connsiteX11354" fmla="*/ 1519931 w 6785952"/>
              <a:gd name="connsiteY11354" fmla="*/ 1189004 h 5217112"/>
              <a:gd name="connsiteX11355" fmla="*/ 1522128 w 6785952"/>
              <a:gd name="connsiteY11355" fmla="*/ 1198484 h 5217112"/>
              <a:gd name="connsiteX11356" fmla="*/ 1517184 w 6785952"/>
              <a:gd name="connsiteY11356" fmla="*/ 1201099 h 5217112"/>
              <a:gd name="connsiteX11357" fmla="*/ 1511689 w 6785952"/>
              <a:gd name="connsiteY11357" fmla="*/ 1201099 h 5217112"/>
              <a:gd name="connsiteX11358" fmla="*/ 1501251 w 6785952"/>
              <a:gd name="connsiteY11358" fmla="*/ 1197504 h 5217112"/>
              <a:gd name="connsiteX11359" fmla="*/ 1498505 w 6785952"/>
              <a:gd name="connsiteY11359" fmla="*/ 1196196 h 5217112"/>
              <a:gd name="connsiteX11360" fmla="*/ 1498230 w 6785952"/>
              <a:gd name="connsiteY11360" fmla="*/ 1197613 h 5217112"/>
              <a:gd name="connsiteX11361" fmla="*/ 1496856 w 6785952"/>
              <a:gd name="connsiteY11361" fmla="*/ 1195760 h 5217112"/>
              <a:gd name="connsiteX11362" fmla="*/ 1496581 w 6785952"/>
              <a:gd name="connsiteY11362" fmla="*/ 1195760 h 5217112"/>
              <a:gd name="connsiteX11363" fmla="*/ 1495208 w 6785952"/>
              <a:gd name="connsiteY11363" fmla="*/ 1195543 h 5217112"/>
              <a:gd name="connsiteX11364" fmla="*/ 1490813 w 6785952"/>
              <a:gd name="connsiteY11364" fmla="*/ 1190965 h 5217112"/>
              <a:gd name="connsiteX11365" fmla="*/ 1491362 w 6785952"/>
              <a:gd name="connsiteY11365" fmla="*/ 1187369 h 5217112"/>
              <a:gd name="connsiteX11366" fmla="*/ 1498780 w 6785952"/>
              <a:gd name="connsiteY11366" fmla="*/ 1184100 h 5217112"/>
              <a:gd name="connsiteX11367" fmla="*/ 1498230 w 6785952"/>
              <a:gd name="connsiteY11367" fmla="*/ 1165683 h 5217112"/>
              <a:gd name="connsiteX11368" fmla="*/ 1501526 w 6785952"/>
              <a:gd name="connsiteY11368" fmla="*/ 1158927 h 5217112"/>
              <a:gd name="connsiteX11369" fmla="*/ 1499328 w 6785952"/>
              <a:gd name="connsiteY11369" fmla="*/ 1158056 h 5217112"/>
              <a:gd name="connsiteX11370" fmla="*/ 1496856 w 6785952"/>
              <a:gd name="connsiteY11370" fmla="*/ 1151626 h 5217112"/>
              <a:gd name="connsiteX11371" fmla="*/ 1497405 w 6785952"/>
              <a:gd name="connsiteY11371" fmla="*/ 1152934 h 5217112"/>
              <a:gd name="connsiteX11372" fmla="*/ 1499878 w 6785952"/>
              <a:gd name="connsiteY11372" fmla="*/ 1151299 h 5217112"/>
              <a:gd name="connsiteX11373" fmla="*/ 1499328 w 6785952"/>
              <a:gd name="connsiteY11373" fmla="*/ 1150100 h 5217112"/>
              <a:gd name="connsiteX11374" fmla="*/ 1502624 w 6785952"/>
              <a:gd name="connsiteY11374" fmla="*/ 1149774 h 5217112"/>
              <a:gd name="connsiteX11375" fmla="*/ 1870716 w 6785952"/>
              <a:gd name="connsiteY11375" fmla="*/ 1148357 h 5217112"/>
              <a:gd name="connsiteX11376" fmla="*/ 1866321 w 6785952"/>
              <a:gd name="connsiteY11376" fmla="*/ 1177017 h 5217112"/>
              <a:gd name="connsiteX11377" fmla="*/ 1864398 w 6785952"/>
              <a:gd name="connsiteY11377" fmla="*/ 1179632 h 5217112"/>
              <a:gd name="connsiteX11378" fmla="*/ 1860826 w 6785952"/>
              <a:gd name="connsiteY11378" fmla="*/ 1178869 h 5217112"/>
              <a:gd name="connsiteX11379" fmla="*/ 1859453 w 6785952"/>
              <a:gd name="connsiteY11379" fmla="*/ 1159472 h 5217112"/>
              <a:gd name="connsiteX11380" fmla="*/ 1861926 w 6785952"/>
              <a:gd name="connsiteY11380" fmla="*/ 1156312 h 5217112"/>
              <a:gd name="connsiteX11381" fmla="*/ 1863025 w 6785952"/>
              <a:gd name="connsiteY11381" fmla="*/ 1153369 h 5217112"/>
              <a:gd name="connsiteX11382" fmla="*/ 1870716 w 6785952"/>
              <a:gd name="connsiteY11382" fmla="*/ 1148357 h 5217112"/>
              <a:gd name="connsiteX11383" fmla="*/ 1974550 w 6785952"/>
              <a:gd name="connsiteY11383" fmla="*/ 1145742 h 5217112"/>
              <a:gd name="connsiteX11384" fmla="*/ 1984165 w 6785952"/>
              <a:gd name="connsiteY11384" fmla="*/ 1170151 h 5217112"/>
              <a:gd name="connsiteX11385" fmla="*/ 1982791 w 6785952"/>
              <a:gd name="connsiteY11385" fmla="*/ 1173420 h 5217112"/>
              <a:gd name="connsiteX11386" fmla="*/ 1993230 w 6785952"/>
              <a:gd name="connsiteY11386" fmla="*/ 1180068 h 5217112"/>
              <a:gd name="connsiteX11387" fmla="*/ 2004492 w 6785952"/>
              <a:gd name="connsiteY11387" fmla="*/ 1195760 h 5217112"/>
              <a:gd name="connsiteX11388" fmla="*/ 2003668 w 6785952"/>
              <a:gd name="connsiteY11388" fmla="*/ 1198702 h 5217112"/>
              <a:gd name="connsiteX11389" fmla="*/ 2006689 w 6785952"/>
              <a:gd name="connsiteY11389" fmla="*/ 1195978 h 5217112"/>
              <a:gd name="connsiteX11390" fmla="*/ 2032786 w 6785952"/>
              <a:gd name="connsiteY11390" fmla="*/ 1177998 h 5217112"/>
              <a:gd name="connsiteX11391" fmla="*/ 2036357 w 6785952"/>
              <a:gd name="connsiteY11391" fmla="*/ 1179959 h 5217112"/>
              <a:gd name="connsiteX11392" fmla="*/ 2034983 w 6785952"/>
              <a:gd name="connsiteY11392" fmla="*/ 1178869 h 5217112"/>
              <a:gd name="connsiteX11393" fmla="*/ 2031138 w 6785952"/>
              <a:gd name="connsiteY11393" fmla="*/ 1174728 h 5217112"/>
              <a:gd name="connsiteX11394" fmla="*/ 2041576 w 6785952"/>
              <a:gd name="connsiteY11394" fmla="*/ 1181702 h 5217112"/>
              <a:gd name="connsiteX11395" fmla="*/ 2042949 w 6785952"/>
              <a:gd name="connsiteY11395" fmla="*/ 1183229 h 5217112"/>
              <a:gd name="connsiteX11396" fmla="*/ 2050641 w 6785952"/>
              <a:gd name="connsiteY11396" fmla="*/ 1183773 h 5217112"/>
              <a:gd name="connsiteX11397" fmla="*/ 2065474 w 6785952"/>
              <a:gd name="connsiteY11397" fmla="*/ 1180286 h 5217112"/>
              <a:gd name="connsiteX11398" fmla="*/ 2094866 w 6785952"/>
              <a:gd name="connsiteY11398" fmla="*/ 1210472 h 5217112"/>
              <a:gd name="connsiteX11399" fmla="*/ 2093218 w 6785952"/>
              <a:gd name="connsiteY11399" fmla="*/ 1263214 h 5217112"/>
              <a:gd name="connsiteX11400" fmla="*/ 2070144 w 6785952"/>
              <a:gd name="connsiteY11400" fmla="*/ 1286644 h 5217112"/>
              <a:gd name="connsiteX11401" fmla="*/ 2067946 w 6785952"/>
              <a:gd name="connsiteY11401" fmla="*/ 1288606 h 5217112"/>
              <a:gd name="connsiteX11402" fmla="*/ 2069046 w 6785952"/>
              <a:gd name="connsiteY11402" fmla="*/ 1308220 h 5217112"/>
              <a:gd name="connsiteX11403" fmla="*/ 2063826 w 6785952"/>
              <a:gd name="connsiteY11403" fmla="*/ 1324021 h 5217112"/>
              <a:gd name="connsiteX11404" fmla="*/ 2072616 w 6785952"/>
              <a:gd name="connsiteY11404" fmla="*/ 1327182 h 5217112"/>
              <a:gd name="connsiteX11405" fmla="*/ 2075364 w 6785952"/>
              <a:gd name="connsiteY11405" fmla="*/ 1328489 h 5217112"/>
              <a:gd name="connsiteX11406" fmla="*/ 2075364 w 6785952"/>
              <a:gd name="connsiteY11406" fmla="*/ 1326746 h 5217112"/>
              <a:gd name="connsiteX11407" fmla="*/ 2075913 w 6785952"/>
              <a:gd name="connsiteY11407" fmla="*/ 1328708 h 5217112"/>
              <a:gd name="connsiteX11408" fmla="*/ 2083878 w 6785952"/>
              <a:gd name="connsiteY11408" fmla="*/ 1331868 h 5217112"/>
              <a:gd name="connsiteX11409" fmla="*/ 2094317 w 6785952"/>
              <a:gd name="connsiteY11409" fmla="*/ 1345925 h 5217112"/>
              <a:gd name="connsiteX11410" fmla="*/ 2086077 w 6785952"/>
              <a:gd name="connsiteY11410" fmla="*/ 1343855 h 5217112"/>
              <a:gd name="connsiteX11411" fmla="*/ 2079484 w 6785952"/>
              <a:gd name="connsiteY11411" fmla="*/ 1342002 h 5217112"/>
              <a:gd name="connsiteX11412" fmla="*/ 2079209 w 6785952"/>
              <a:gd name="connsiteY11412" fmla="*/ 1343310 h 5217112"/>
              <a:gd name="connsiteX11413" fmla="*/ 2078659 w 6785952"/>
              <a:gd name="connsiteY11413" fmla="*/ 1341784 h 5217112"/>
              <a:gd name="connsiteX11414" fmla="*/ 2075913 w 6785952"/>
              <a:gd name="connsiteY11414" fmla="*/ 1341022 h 5217112"/>
              <a:gd name="connsiteX11415" fmla="*/ 2063002 w 6785952"/>
              <a:gd name="connsiteY11415" fmla="*/ 1329579 h 5217112"/>
              <a:gd name="connsiteX11416" fmla="*/ 2063552 w 6785952"/>
              <a:gd name="connsiteY11416" fmla="*/ 1325547 h 5217112"/>
              <a:gd name="connsiteX11417" fmla="*/ 2062452 w 6785952"/>
              <a:gd name="connsiteY11417" fmla="*/ 1327944 h 5217112"/>
              <a:gd name="connsiteX11418" fmla="*/ 2012733 w 6785952"/>
              <a:gd name="connsiteY11418" fmla="*/ 1353444 h 5217112"/>
              <a:gd name="connsiteX11419" fmla="*/ 1980868 w 6785952"/>
              <a:gd name="connsiteY11419" fmla="*/ 1340368 h 5217112"/>
              <a:gd name="connsiteX11420" fmla="*/ 1956421 w 6785952"/>
              <a:gd name="connsiteY11420" fmla="*/ 1301137 h 5217112"/>
              <a:gd name="connsiteX11421" fmla="*/ 1965486 w 6785952"/>
              <a:gd name="connsiteY11421" fmla="*/ 1250246 h 5217112"/>
              <a:gd name="connsiteX11422" fmla="*/ 1978671 w 6785952"/>
              <a:gd name="connsiteY11422" fmla="*/ 1244253 h 5217112"/>
              <a:gd name="connsiteX11423" fmla="*/ 1984165 w 6785952"/>
              <a:gd name="connsiteY11423" fmla="*/ 1240330 h 5217112"/>
              <a:gd name="connsiteX11424" fmla="*/ 1987461 w 6785952"/>
              <a:gd name="connsiteY11424" fmla="*/ 1219734 h 5217112"/>
              <a:gd name="connsiteX11425" fmla="*/ 1995702 w 6785952"/>
              <a:gd name="connsiteY11425" fmla="*/ 1205568 h 5217112"/>
              <a:gd name="connsiteX11426" fmla="*/ 2002019 w 6785952"/>
              <a:gd name="connsiteY11426" fmla="*/ 1200119 h 5217112"/>
              <a:gd name="connsiteX11427" fmla="*/ 1994878 w 6785952"/>
              <a:gd name="connsiteY11427" fmla="*/ 1194779 h 5217112"/>
              <a:gd name="connsiteX11428" fmla="*/ 1979769 w 6785952"/>
              <a:gd name="connsiteY11428" fmla="*/ 1181921 h 5217112"/>
              <a:gd name="connsiteX11429" fmla="*/ 1979495 w 6785952"/>
              <a:gd name="connsiteY11429" fmla="*/ 1180613 h 5217112"/>
              <a:gd name="connsiteX11430" fmla="*/ 1978121 w 6785952"/>
              <a:gd name="connsiteY11430" fmla="*/ 1183446 h 5217112"/>
              <a:gd name="connsiteX11431" fmla="*/ 1971254 w 6785952"/>
              <a:gd name="connsiteY11431" fmla="*/ 1193581 h 5217112"/>
              <a:gd name="connsiteX11432" fmla="*/ 1971529 w 6785952"/>
              <a:gd name="connsiteY11432" fmla="*/ 1195760 h 5217112"/>
              <a:gd name="connsiteX11433" fmla="*/ 1969605 w 6785952"/>
              <a:gd name="connsiteY11433" fmla="*/ 1202081 h 5217112"/>
              <a:gd name="connsiteX11434" fmla="*/ 1966310 w 6785952"/>
              <a:gd name="connsiteY11434" fmla="*/ 1200119 h 5217112"/>
              <a:gd name="connsiteX11435" fmla="*/ 1961640 w 6785952"/>
              <a:gd name="connsiteY11435" fmla="*/ 1206112 h 5217112"/>
              <a:gd name="connsiteX11436" fmla="*/ 1952025 w 6785952"/>
              <a:gd name="connsiteY11436" fmla="*/ 1212106 h 5217112"/>
              <a:gd name="connsiteX11437" fmla="*/ 1949004 w 6785952"/>
              <a:gd name="connsiteY11437" fmla="*/ 1211670 h 5217112"/>
              <a:gd name="connsiteX11438" fmla="*/ 1949553 w 6785952"/>
              <a:gd name="connsiteY11438" fmla="*/ 1214067 h 5217112"/>
              <a:gd name="connsiteX11439" fmla="*/ 1949828 w 6785952"/>
              <a:gd name="connsiteY11439" fmla="*/ 1226381 h 5217112"/>
              <a:gd name="connsiteX11440" fmla="*/ 1947081 w 6785952"/>
              <a:gd name="connsiteY11440" fmla="*/ 1222894 h 5217112"/>
              <a:gd name="connsiteX11441" fmla="*/ 1944883 w 6785952"/>
              <a:gd name="connsiteY11441" fmla="*/ 1213522 h 5217112"/>
              <a:gd name="connsiteX11442" fmla="*/ 1945158 w 6785952"/>
              <a:gd name="connsiteY11442" fmla="*/ 1210472 h 5217112"/>
              <a:gd name="connsiteX11443" fmla="*/ 1942960 w 6785952"/>
              <a:gd name="connsiteY11443" fmla="*/ 1208510 h 5217112"/>
              <a:gd name="connsiteX11444" fmla="*/ 1937191 w 6785952"/>
              <a:gd name="connsiteY11444" fmla="*/ 1208183 h 5217112"/>
              <a:gd name="connsiteX11445" fmla="*/ 1928127 w 6785952"/>
              <a:gd name="connsiteY11445" fmla="*/ 1206984 h 5217112"/>
              <a:gd name="connsiteX11446" fmla="*/ 1916040 w 6785952"/>
              <a:gd name="connsiteY11446" fmla="*/ 1195651 h 5217112"/>
              <a:gd name="connsiteX11447" fmla="*/ 1933896 w 6785952"/>
              <a:gd name="connsiteY11447" fmla="*/ 1198158 h 5217112"/>
              <a:gd name="connsiteX11448" fmla="*/ 1937191 w 6785952"/>
              <a:gd name="connsiteY11448" fmla="*/ 1201427 h 5217112"/>
              <a:gd name="connsiteX11449" fmla="*/ 1934994 w 6785952"/>
              <a:gd name="connsiteY11449" fmla="*/ 1194561 h 5217112"/>
              <a:gd name="connsiteX11450" fmla="*/ 1936093 w 6785952"/>
              <a:gd name="connsiteY11450" fmla="*/ 1189984 h 5217112"/>
              <a:gd name="connsiteX11451" fmla="*/ 1935544 w 6785952"/>
              <a:gd name="connsiteY11451" fmla="*/ 1190093 h 5217112"/>
              <a:gd name="connsiteX11452" fmla="*/ 1931148 w 6785952"/>
              <a:gd name="connsiteY11452" fmla="*/ 1182356 h 5217112"/>
              <a:gd name="connsiteX11453" fmla="*/ 1931148 w 6785952"/>
              <a:gd name="connsiteY11453" fmla="*/ 1179305 h 5217112"/>
              <a:gd name="connsiteX11454" fmla="*/ 1930874 w 6785952"/>
              <a:gd name="connsiteY11454" fmla="*/ 1179305 h 5217112"/>
              <a:gd name="connsiteX11455" fmla="*/ 1931148 w 6785952"/>
              <a:gd name="connsiteY11455" fmla="*/ 1178869 h 5217112"/>
              <a:gd name="connsiteX11456" fmla="*/ 1931423 w 6785952"/>
              <a:gd name="connsiteY11456" fmla="*/ 1177562 h 5217112"/>
              <a:gd name="connsiteX11457" fmla="*/ 1930050 w 6785952"/>
              <a:gd name="connsiteY11457" fmla="*/ 1178107 h 5217112"/>
              <a:gd name="connsiteX11458" fmla="*/ 1920984 w 6785952"/>
              <a:gd name="connsiteY11458" fmla="*/ 1177017 h 5217112"/>
              <a:gd name="connsiteX11459" fmla="*/ 1924830 w 6785952"/>
              <a:gd name="connsiteY11459" fmla="*/ 1168626 h 5217112"/>
              <a:gd name="connsiteX11460" fmla="*/ 1925929 w 6785952"/>
              <a:gd name="connsiteY11460" fmla="*/ 1168953 h 5217112"/>
              <a:gd name="connsiteX11461" fmla="*/ 1926204 w 6785952"/>
              <a:gd name="connsiteY11461" fmla="*/ 1168735 h 5217112"/>
              <a:gd name="connsiteX11462" fmla="*/ 1927028 w 6785952"/>
              <a:gd name="connsiteY11462" fmla="*/ 1165030 h 5217112"/>
              <a:gd name="connsiteX11463" fmla="*/ 1932247 w 6785952"/>
              <a:gd name="connsiteY11463" fmla="*/ 1166991 h 5217112"/>
              <a:gd name="connsiteX11464" fmla="*/ 1933072 w 6785952"/>
              <a:gd name="connsiteY11464" fmla="*/ 1168517 h 5217112"/>
              <a:gd name="connsiteX11465" fmla="*/ 1933896 w 6785952"/>
              <a:gd name="connsiteY11465" fmla="*/ 1168408 h 5217112"/>
              <a:gd name="connsiteX11466" fmla="*/ 1934994 w 6785952"/>
              <a:gd name="connsiteY11466" fmla="*/ 1166010 h 5217112"/>
              <a:gd name="connsiteX11467" fmla="*/ 1934170 w 6785952"/>
              <a:gd name="connsiteY11467" fmla="*/ 1163068 h 5217112"/>
              <a:gd name="connsiteX11468" fmla="*/ 1939390 w 6785952"/>
              <a:gd name="connsiteY11468" fmla="*/ 1162196 h 5217112"/>
              <a:gd name="connsiteX11469" fmla="*/ 1943510 w 6785952"/>
              <a:gd name="connsiteY11469" fmla="*/ 1160452 h 5217112"/>
              <a:gd name="connsiteX11470" fmla="*/ 1948179 w 6785952"/>
              <a:gd name="connsiteY11470" fmla="*/ 1163286 h 5217112"/>
              <a:gd name="connsiteX11471" fmla="*/ 1948179 w 6785952"/>
              <a:gd name="connsiteY11471" fmla="*/ 1163722 h 5217112"/>
              <a:gd name="connsiteX11472" fmla="*/ 1950103 w 6785952"/>
              <a:gd name="connsiteY11472" fmla="*/ 1161216 h 5217112"/>
              <a:gd name="connsiteX11473" fmla="*/ 1971529 w 6785952"/>
              <a:gd name="connsiteY11473" fmla="*/ 1146722 h 5217112"/>
              <a:gd name="connsiteX11474" fmla="*/ 1974550 w 6785952"/>
              <a:gd name="connsiteY11474" fmla="*/ 1145742 h 5217112"/>
              <a:gd name="connsiteX11475" fmla="*/ 1927303 w 6785952"/>
              <a:gd name="connsiteY11475" fmla="*/ 1144869 h 5217112"/>
              <a:gd name="connsiteX11476" fmla="*/ 1932522 w 6785952"/>
              <a:gd name="connsiteY11476" fmla="*/ 1151844 h 5217112"/>
              <a:gd name="connsiteX11477" fmla="*/ 1919886 w 6785952"/>
              <a:gd name="connsiteY11477" fmla="*/ 1159145 h 5217112"/>
              <a:gd name="connsiteX11478" fmla="*/ 1916315 w 6785952"/>
              <a:gd name="connsiteY11478" fmla="*/ 1158818 h 5217112"/>
              <a:gd name="connsiteX11479" fmla="*/ 1927303 w 6785952"/>
              <a:gd name="connsiteY11479" fmla="*/ 1144869 h 5217112"/>
              <a:gd name="connsiteX11480" fmla="*/ 1988835 w 6785952"/>
              <a:gd name="connsiteY11480" fmla="*/ 1144652 h 5217112"/>
              <a:gd name="connsiteX11481" fmla="*/ 1994603 w 6785952"/>
              <a:gd name="connsiteY11481" fmla="*/ 1145633 h 5217112"/>
              <a:gd name="connsiteX11482" fmla="*/ 1995702 w 6785952"/>
              <a:gd name="connsiteY11482" fmla="*/ 1150210 h 5217112"/>
              <a:gd name="connsiteX11483" fmla="*/ 1988835 w 6785952"/>
              <a:gd name="connsiteY11483" fmla="*/ 1144652 h 5217112"/>
              <a:gd name="connsiteX11484" fmla="*/ 2214084 w 6785952"/>
              <a:gd name="connsiteY11484" fmla="*/ 1143998 h 5217112"/>
              <a:gd name="connsiteX11485" fmla="*/ 2225896 w 6785952"/>
              <a:gd name="connsiteY11485" fmla="*/ 1152389 h 5217112"/>
              <a:gd name="connsiteX11486" fmla="*/ 2222600 w 6785952"/>
              <a:gd name="connsiteY11486" fmla="*/ 1153479 h 5217112"/>
              <a:gd name="connsiteX11487" fmla="*/ 2219578 w 6785952"/>
              <a:gd name="connsiteY11487" fmla="*/ 1152498 h 5217112"/>
              <a:gd name="connsiteX11488" fmla="*/ 2214633 w 6785952"/>
              <a:gd name="connsiteY11488" fmla="*/ 1147267 h 5217112"/>
              <a:gd name="connsiteX11489" fmla="*/ 2214084 w 6785952"/>
              <a:gd name="connsiteY11489" fmla="*/ 1143998 h 5217112"/>
              <a:gd name="connsiteX11490" fmla="*/ 1984714 w 6785952"/>
              <a:gd name="connsiteY11490" fmla="*/ 1143889 h 5217112"/>
              <a:gd name="connsiteX11491" fmla="*/ 1987736 w 6785952"/>
              <a:gd name="connsiteY11491" fmla="*/ 1144325 h 5217112"/>
              <a:gd name="connsiteX11492" fmla="*/ 1987736 w 6785952"/>
              <a:gd name="connsiteY11492" fmla="*/ 1145742 h 5217112"/>
              <a:gd name="connsiteX11493" fmla="*/ 1984714 w 6785952"/>
              <a:gd name="connsiteY11493" fmla="*/ 1143889 h 5217112"/>
              <a:gd name="connsiteX11494" fmla="*/ 1075200 w 6785952"/>
              <a:gd name="connsiteY11494" fmla="*/ 1141819 h 5217112"/>
              <a:gd name="connsiteX11495" fmla="*/ 1077671 w 6785952"/>
              <a:gd name="connsiteY11495" fmla="*/ 1143562 h 5217112"/>
              <a:gd name="connsiteX11496" fmla="*/ 1076573 w 6785952"/>
              <a:gd name="connsiteY11496" fmla="*/ 1147594 h 5217112"/>
              <a:gd name="connsiteX11497" fmla="*/ 1069157 w 6785952"/>
              <a:gd name="connsiteY11497" fmla="*/ 1152171 h 5217112"/>
              <a:gd name="connsiteX11498" fmla="*/ 1066409 w 6785952"/>
              <a:gd name="connsiteY11498" fmla="*/ 1150427 h 5217112"/>
              <a:gd name="connsiteX11499" fmla="*/ 1075200 w 6785952"/>
              <a:gd name="connsiteY11499" fmla="*/ 1141819 h 5217112"/>
              <a:gd name="connsiteX11500" fmla="*/ 1979220 w 6785952"/>
              <a:gd name="connsiteY11500" fmla="*/ 1141600 h 5217112"/>
              <a:gd name="connsiteX11501" fmla="*/ 1980593 w 6785952"/>
              <a:gd name="connsiteY11501" fmla="*/ 1144543 h 5217112"/>
              <a:gd name="connsiteX11502" fmla="*/ 1977572 w 6785952"/>
              <a:gd name="connsiteY11502" fmla="*/ 1142690 h 5217112"/>
              <a:gd name="connsiteX11503" fmla="*/ 1979220 w 6785952"/>
              <a:gd name="connsiteY11503" fmla="*/ 1141600 h 5217112"/>
              <a:gd name="connsiteX11504" fmla="*/ 6286161 w 6785952"/>
              <a:gd name="connsiteY11504" fmla="*/ 1141383 h 5217112"/>
              <a:gd name="connsiteX11505" fmla="*/ 6283964 w 6785952"/>
              <a:gd name="connsiteY11505" fmla="*/ 1141819 h 5217112"/>
              <a:gd name="connsiteX11506" fmla="*/ 6283689 w 6785952"/>
              <a:gd name="connsiteY11506" fmla="*/ 1142473 h 5217112"/>
              <a:gd name="connsiteX11507" fmla="*/ 6281216 w 6785952"/>
              <a:gd name="connsiteY11507" fmla="*/ 1146286 h 5217112"/>
              <a:gd name="connsiteX11508" fmla="*/ 6281216 w 6785952"/>
              <a:gd name="connsiteY11508" fmla="*/ 1147812 h 5217112"/>
              <a:gd name="connsiteX11509" fmla="*/ 6279019 w 6785952"/>
              <a:gd name="connsiteY11509" fmla="*/ 1148357 h 5217112"/>
              <a:gd name="connsiteX11510" fmla="*/ 6277645 w 6785952"/>
              <a:gd name="connsiteY11510" fmla="*/ 1149774 h 5217112"/>
              <a:gd name="connsiteX11511" fmla="*/ 6268306 w 6785952"/>
              <a:gd name="connsiteY11511" fmla="*/ 1153152 h 5217112"/>
              <a:gd name="connsiteX11512" fmla="*/ 6267207 w 6785952"/>
              <a:gd name="connsiteY11512" fmla="*/ 1152934 h 5217112"/>
              <a:gd name="connsiteX11513" fmla="*/ 6270778 w 6785952"/>
              <a:gd name="connsiteY11513" fmla="*/ 1162741 h 5217112"/>
              <a:gd name="connsiteX11514" fmla="*/ 6272151 w 6785952"/>
              <a:gd name="connsiteY11514" fmla="*/ 1159036 h 5217112"/>
              <a:gd name="connsiteX11515" fmla="*/ 6276547 w 6785952"/>
              <a:gd name="connsiteY11515" fmla="*/ 1154895 h 5217112"/>
              <a:gd name="connsiteX11516" fmla="*/ 6278745 w 6785952"/>
              <a:gd name="connsiteY11516" fmla="*/ 1150864 h 5217112"/>
              <a:gd name="connsiteX11517" fmla="*/ 6285337 w 6785952"/>
              <a:gd name="connsiteY11517" fmla="*/ 1144652 h 5217112"/>
              <a:gd name="connsiteX11518" fmla="*/ 6290282 w 6785952"/>
              <a:gd name="connsiteY11518" fmla="*/ 1144652 h 5217112"/>
              <a:gd name="connsiteX11519" fmla="*/ 6289458 w 6785952"/>
              <a:gd name="connsiteY11519" fmla="*/ 1143998 h 5217112"/>
              <a:gd name="connsiteX11520" fmla="*/ 6286161 w 6785952"/>
              <a:gd name="connsiteY11520" fmla="*/ 1141383 h 5217112"/>
              <a:gd name="connsiteX11521" fmla="*/ 1178485 w 6785952"/>
              <a:gd name="connsiteY11521" fmla="*/ 1140729 h 5217112"/>
              <a:gd name="connsiteX11522" fmla="*/ 1185352 w 6785952"/>
              <a:gd name="connsiteY11522" fmla="*/ 1168081 h 5217112"/>
              <a:gd name="connsiteX11523" fmla="*/ 1180408 w 6785952"/>
              <a:gd name="connsiteY11523" fmla="*/ 1170261 h 5217112"/>
              <a:gd name="connsiteX11524" fmla="*/ 1172717 w 6785952"/>
              <a:gd name="connsiteY11524" fmla="*/ 1163178 h 5217112"/>
              <a:gd name="connsiteX11525" fmla="*/ 1170244 w 6785952"/>
              <a:gd name="connsiteY11525" fmla="*/ 1157402 h 5217112"/>
              <a:gd name="connsiteX11526" fmla="*/ 1170793 w 6785952"/>
              <a:gd name="connsiteY11526" fmla="*/ 1151081 h 5217112"/>
              <a:gd name="connsiteX11527" fmla="*/ 1171343 w 6785952"/>
              <a:gd name="connsiteY11527" fmla="*/ 1141055 h 5217112"/>
              <a:gd name="connsiteX11528" fmla="*/ 1178485 w 6785952"/>
              <a:gd name="connsiteY11528" fmla="*/ 1140729 h 5217112"/>
              <a:gd name="connsiteX11529" fmla="*/ 1781715 w 6785952"/>
              <a:gd name="connsiteY11529" fmla="*/ 1138767 h 5217112"/>
              <a:gd name="connsiteX11530" fmla="*/ 1783088 w 6785952"/>
              <a:gd name="connsiteY11530" fmla="*/ 1140293 h 5217112"/>
              <a:gd name="connsiteX11531" fmla="*/ 1779517 w 6785952"/>
              <a:gd name="connsiteY11531" fmla="*/ 1161651 h 5217112"/>
              <a:gd name="connsiteX11532" fmla="*/ 1777869 w 6785952"/>
              <a:gd name="connsiteY11532" fmla="*/ 1151517 h 5217112"/>
              <a:gd name="connsiteX11533" fmla="*/ 1781715 w 6785952"/>
              <a:gd name="connsiteY11533" fmla="*/ 1138767 h 5217112"/>
              <a:gd name="connsiteX11534" fmla="*/ 6324618 w 6785952"/>
              <a:gd name="connsiteY11534" fmla="*/ 1138659 h 5217112"/>
              <a:gd name="connsiteX11535" fmla="*/ 6320498 w 6785952"/>
              <a:gd name="connsiteY11535" fmla="*/ 1157511 h 5217112"/>
              <a:gd name="connsiteX11536" fmla="*/ 6317202 w 6785952"/>
              <a:gd name="connsiteY11536" fmla="*/ 1157728 h 5217112"/>
              <a:gd name="connsiteX11537" fmla="*/ 6313905 w 6785952"/>
              <a:gd name="connsiteY11537" fmla="*/ 1155876 h 5217112"/>
              <a:gd name="connsiteX11538" fmla="*/ 6324618 w 6785952"/>
              <a:gd name="connsiteY11538" fmla="*/ 1138659 h 5217112"/>
              <a:gd name="connsiteX11539" fmla="*/ 6232046 w 6785952"/>
              <a:gd name="connsiteY11539" fmla="*/ 1138550 h 5217112"/>
              <a:gd name="connsiteX11540" fmla="*/ 6235068 w 6785952"/>
              <a:gd name="connsiteY11540" fmla="*/ 1146722 h 5217112"/>
              <a:gd name="connsiteX11541" fmla="*/ 6233694 w 6785952"/>
              <a:gd name="connsiteY11541" fmla="*/ 1174184 h 5217112"/>
              <a:gd name="connsiteX11542" fmla="*/ 6246605 w 6785952"/>
              <a:gd name="connsiteY11542" fmla="*/ 1183664 h 5217112"/>
              <a:gd name="connsiteX11543" fmla="*/ 6245231 w 6785952"/>
              <a:gd name="connsiteY11543" fmla="*/ 1191946 h 5217112"/>
              <a:gd name="connsiteX11544" fmla="*/ 6247978 w 6785952"/>
              <a:gd name="connsiteY11544" fmla="*/ 1194779 h 5217112"/>
              <a:gd name="connsiteX11545" fmla="*/ 6246605 w 6785952"/>
              <a:gd name="connsiteY11545" fmla="*/ 1179632 h 5217112"/>
              <a:gd name="connsiteX11546" fmla="*/ 6250450 w 6785952"/>
              <a:gd name="connsiteY11546" fmla="*/ 1178107 h 5217112"/>
              <a:gd name="connsiteX11547" fmla="*/ 6252099 w 6785952"/>
              <a:gd name="connsiteY11547" fmla="*/ 1175818 h 5217112"/>
              <a:gd name="connsiteX11548" fmla="*/ 6246880 w 6785952"/>
              <a:gd name="connsiteY11548" fmla="*/ 1171895 h 5217112"/>
              <a:gd name="connsiteX11549" fmla="*/ 6246056 w 6785952"/>
              <a:gd name="connsiteY11549" fmla="*/ 1169933 h 5217112"/>
              <a:gd name="connsiteX11550" fmla="*/ 6244407 w 6785952"/>
              <a:gd name="connsiteY11550" fmla="*/ 1160997 h 5217112"/>
              <a:gd name="connsiteX11551" fmla="*/ 6241112 w 6785952"/>
              <a:gd name="connsiteY11551" fmla="*/ 1158927 h 5217112"/>
              <a:gd name="connsiteX11552" fmla="*/ 6245231 w 6785952"/>
              <a:gd name="connsiteY11552" fmla="*/ 1152715 h 5217112"/>
              <a:gd name="connsiteX11553" fmla="*/ 6245231 w 6785952"/>
              <a:gd name="connsiteY11553" fmla="*/ 1152171 h 5217112"/>
              <a:gd name="connsiteX11554" fmla="*/ 6239188 w 6785952"/>
              <a:gd name="connsiteY11554" fmla="*/ 1152171 h 5217112"/>
              <a:gd name="connsiteX11555" fmla="*/ 6232046 w 6785952"/>
              <a:gd name="connsiteY11555" fmla="*/ 1138550 h 5217112"/>
              <a:gd name="connsiteX11556" fmla="*/ 1429830 w 6785952"/>
              <a:gd name="connsiteY11556" fmla="*/ 1135934 h 5217112"/>
              <a:gd name="connsiteX11557" fmla="*/ 1438346 w 6785952"/>
              <a:gd name="connsiteY11557" fmla="*/ 1137351 h 5217112"/>
              <a:gd name="connsiteX11558" fmla="*/ 1437247 w 6785952"/>
              <a:gd name="connsiteY11558" fmla="*/ 1150427 h 5217112"/>
              <a:gd name="connsiteX11559" fmla="*/ 1432303 w 6785952"/>
              <a:gd name="connsiteY11559" fmla="*/ 1151081 h 5217112"/>
              <a:gd name="connsiteX11560" fmla="*/ 1427633 w 6785952"/>
              <a:gd name="connsiteY11560" fmla="*/ 1147376 h 5217112"/>
              <a:gd name="connsiteX11561" fmla="*/ 1425435 w 6785952"/>
              <a:gd name="connsiteY11561" fmla="*/ 1143127 h 5217112"/>
              <a:gd name="connsiteX11562" fmla="*/ 1426808 w 6785952"/>
              <a:gd name="connsiteY11562" fmla="*/ 1138440 h 5217112"/>
              <a:gd name="connsiteX11563" fmla="*/ 1429830 w 6785952"/>
              <a:gd name="connsiteY11563" fmla="*/ 1135934 h 5217112"/>
              <a:gd name="connsiteX11564" fmla="*/ 1955322 w 6785952"/>
              <a:gd name="connsiteY11564" fmla="*/ 1134517 h 5217112"/>
              <a:gd name="connsiteX11565" fmla="*/ 1977572 w 6785952"/>
              <a:gd name="connsiteY11565" fmla="*/ 1142473 h 5217112"/>
              <a:gd name="connsiteX11566" fmla="*/ 1955322 w 6785952"/>
              <a:gd name="connsiteY11566" fmla="*/ 1134517 h 5217112"/>
              <a:gd name="connsiteX11567" fmla="*/ 1824568 w 6785952"/>
              <a:gd name="connsiteY11567" fmla="*/ 1134191 h 5217112"/>
              <a:gd name="connsiteX11568" fmla="*/ 1820721 w 6785952"/>
              <a:gd name="connsiteY11568" fmla="*/ 1162633 h 5217112"/>
              <a:gd name="connsiteX11569" fmla="*/ 1845994 w 6785952"/>
              <a:gd name="connsiteY11569" fmla="*/ 1174728 h 5217112"/>
              <a:gd name="connsiteX11570" fmla="*/ 1839675 w 6785952"/>
              <a:gd name="connsiteY11570" fmla="*/ 1177888 h 5217112"/>
              <a:gd name="connsiteX11571" fmla="*/ 1840225 w 6785952"/>
              <a:gd name="connsiteY11571" fmla="*/ 1183229 h 5217112"/>
              <a:gd name="connsiteX11572" fmla="*/ 1839125 w 6785952"/>
              <a:gd name="connsiteY11572" fmla="*/ 1184536 h 5217112"/>
              <a:gd name="connsiteX11573" fmla="*/ 1840500 w 6785952"/>
              <a:gd name="connsiteY11573" fmla="*/ 1186715 h 5217112"/>
              <a:gd name="connsiteX11574" fmla="*/ 1841599 w 6785952"/>
              <a:gd name="connsiteY11574" fmla="*/ 1188350 h 5217112"/>
              <a:gd name="connsiteX11575" fmla="*/ 1839675 w 6785952"/>
              <a:gd name="connsiteY11575" fmla="*/ 1191728 h 5217112"/>
              <a:gd name="connsiteX11576" fmla="*/ 1837203 w 6785952"/>
              <a:gd name="connsiteY11576" fmla="*/ 1191619 h 5217112"/>
              <a:gd name="connsiteX11577" fmla="*/ 1836379 w 6785952"/>
              <a:gd name="connsiteY11577" fmla="*/ 1195106 h 5217112"/>
              <a:gd name="connsiteX11578" fmla="*/ 1828412 w 6785952"/>
              <a:gd name="connsiteY11578" fmla="*/ 1186933 h 5217112"/>
              <a:gd name="connsiteX11579" fmla="*/ 1831709 w 6785952"/>
              <a:gd name="connsiteY11579" fmla="*/ 1188023 h 5217112"/>
              <a:gd name="connsiteX11580" fmla="*/ 1828962 w 6785952"/>
              <a:gd name="connsiteY11580" fmla="*/ 1185625 h 5217112"/>
              <a:gd name="connsiteX11581" fmla="*/ 1826216 w 6785952"/>
              <a:gd name="connsiteY11581" fmla="*/ 1176799 h 5217112"/>
              <a:gd name="connsiteX11582" fmla="*/ 1830061 w 6785952"/>
              <a:gd name="connsiteY11582" fmla="*/ 1176908 h 5217112"/>
              <a:gd name="connsiteX11583" fmla="*/ 1822919 w 6785952"/>
              <a:gd name="connsiteY11583" fmla="*/ 1175055 h 5217112"/>
              <a:gd name="connsiteX11584" fmla="*/ 1813855 w 6785952"/>
              <a:gd name="connsiteY11584" fmla="*/ 1173856 h 5217112"/>
              <a:gd name="connsiteX11585" fmla="*/ 1804789 w 6785952"/>
              <a:gd name="connsiteY11585" fmla="*/ 1181157 h 5217112"/>
              <a:gd name="connsiteX11586" fmla="*/ 1798472 w 6785952"/>
              <a:gd name="connsiteY11586" fmla="*/ 1180831 h 5217112"/>
              <a:gd name="connsiteX11587" fmla="*/ 1814678 w 6785952"/>
              <a:gd name="connsiteY11587" fmla="*/ 1141600 h 5217112"/>
              <a:gd name="connsiteX11588" fmla="*/ 1824568 w 6785952"/>
              <a:gd name="connsiteY11588" fmla="*/ 1134191 h 5217112"/>
              <a:gd name="connsiteX11589" fmla="*/ 2050366 w 6785952"/>
              <a:gd name="connsiteY11589" fmla="*/ 1132883 h 5217112"/>
              <a:gd name="connsiteX11590" fmla="*/ 2058058 w 6785952"/>
              <a:gd name="connsiteY11590" fmla="*/ 1137023 h 5217112"/>
              <a:gd name="connsiteX11591" fmla="*/ 2061079 w 6785952"/>
              <a:gd name="connsiteY11591" fmla="*/ 1142145 h 5217112"/>
              <a:gd name="connsiteX11592" fmla="*/ 2061079 w 6785952"/>
              <a:gd name="connsiteY11592" fmla="*/ 1142363 h 5217112"/>
              <a:gd name="connsiteX11593" fmla="*/ 2070144 w 6785952"/>
              <a:gd name="connsiteY11593" fmla="*/ 1145633 h 5217112"/>
              <a:gd name="connsiteX11594" fmla="*/ 2071243 w 6785952"/>
              <a:gd name="connsiteY11594" fmla="*/ 1146286 h 5217112"/>
              <a:gd name="connsiteX11595" fmla="*/ 2071792 w 6785952"/>
              <a:gd name="connsiteY11595" fmla="*/ 1146396 h 5217112"/>
              <a:gd name="connsiteX11596" fmla="*/ 2090197 w 6785952"/>
              <a:gd name="connsiteY11596" fmla="*/ 1155004 h 5217112"/>
              <a:gd name="connsiteX11597" fmla="*/ 2078385 w 6785952"/>
              <a:gd name="connsiteY11597" fmla="*/ 1157183 h 5217112"/>
              <a:gd name="connsiteX11598" fmla="*/ 2078110 w 6785952"/>
              <a:gd name="connsiteY11598" fmla="*/ 1158056 h 5217112"/>
              <a:gd name="connsiteX11599" fmla="*/ 2083329 w 6785952"/>
              <a:gd name="connsiteY11599" fmla="*/ 1156748 h 5217112"/>
              <a:gd name="connsiteX11600" fmla="*/ 2088823 w 6785952"/>
              <a:gd name="connsiteY11600" fmla="*/ 1158601 h 5217112"/>
              <a:gd name="connsiteX11601" fmla="*/ 2082505 w 6785952"/>
              <a:gd name="connsiteY11601" fmla="*/ 1161434 h 5217112"/>
              <a:gd name="connsiteX11602" fmla="*/ 2079484 w 6785952"/>
              <a:gd name="connsiteY11602" fmla="*/ 1162088 h 5217112"/>
              <a:gd name="connsiteX11603" fmla="*/ 2078110 w 6785952"/>
              <a:gd name="connsiteY11603" fmla="*/ 1159908 h 5217112"/>
              <a:gd name="connsiteX11604" fmla="*/ 2078110 w 6785952"/>
              <a:gd name="connsiteY11604" fmla="*/ 1160562 h 5217112"/>
              <a:gd name="connsiteX11605" fmla="*/ 2073990 w 6785952"/>
              <a:gd name="connsiteY11605" fmla="*/ 1168953 h 5217112"/>
              <a:gd name="connsiteX11606" fmla="*/ 2065200 w 6785952"/>
              <a:gd name="connsiteY11606" fmla="*/ 1159363 h 5217112"/>
              <a:gd name="connsiteX11607" fmla="*/ 2064101 w 6785952"/>
              <a:gd name="connsiteY11607" fmla="*/ 1158491 h 5217112"/>
              <a:gd name="connsiteX11608" fmla="*/ 2057783 w 6785952"/>
              <a:gd name="connsiteY11608" fmla="*/ 1158056 h 5217112"/>
              <a:gd name="connsiteX11609" fmla="*/ 2055860 w 6785952"/>
              <a:gd name="connsiteY11609" fmla="*/ 1157293 h 5217112"/>
              <a:gd name="connsiteX11610" fmla="*/ 2053113 w 6785952"/>
              <a:gd name="connsiteY11610" fmla="*/ 1159363 h 5217112"/>
              <a:gd name="connsiteX11611" fmla="*/ 2048718 w 6785952"/>
              <a:gd name="connsiteY11611" fmla="*/ 1159799 h 5217112"/>
              <a:gd name="connsiteX11612" fmla="*/ 2044597 w 6785952"/>
              <a:gd name="connsiteY11612" fmla="*/ 1158491 h 5217112"/>
              <a:gd name="connsiteX11613" fmla="*/ 2047345 w 6785952"/>
              <a:gd name="connsiteY11613" fmla="*/ 1164703 h 5217112"/>
              <a:gd name="connsiteX11614" fmla="*/ 2034983 w 6785952"/>
              <a:gd name="connsiteY11614" fmla="*/ 1160235 h 5217112"/>
              <a:gd name="connsiteX11615" fmla="*/ 2034434 w 6785952"/>
              <a:gd name="connsiteY11615" fmla="*/ 1164049 h 5217112"/>
              <a:gd name="connsiteX11616" fmla="*/ 2031412 w 6785952"/>
              <a:gd name="connsiteY11616" fmla="*/ 1173748 h 5217112"/>
              <a:gd name="connsiteX11617" fmla="*/ 2030863 w 6785952"/>
              <a:gd name="connsiteY11617" fmla="*/ 1174184 h 5217112"/>
              <a:gd name="connsiteX11618" fmla="*/ 2031412 w 6785952"/>
              <a:gd name="connsiteY11618" fmla="*/ 1174510 h 5217112"/>
              <a:gd name="connsiteX11619" fmla="*/ 2030589 w 6785952"/>
              <a:gd name="connsiteY11619" fmla="*/ 1174619 h 5217112"/>
              <a:gd name="connsiteX11620" fmla="*/ 2028665 w 6785952"/>
              <a:gd name="connsiteY11620" fmla="*/ 1176690 h 5217112"/>
              <a:gd name="connsiteX11621" fmla="*/ 2027292 w 6785952"/>
              <a:gd name="connsiteY11621" fmla="*/ 1172113 h 5217112"/>
              <a:gd name="connsiteX11622" fmla="*/ 2027566 w 6785952"/>
              <a:gd name="connsiteY11622" fmla="*/ 1170042 h 5217112"/>
              <a:gd name="connsiteX11623" fmla="*/ 2026742 w 6785952"/>
              <a:gd name="connsiteY11623" fmla="*/ 1168735 h 5217112"/>
              <a:gd name="connsiteX11624" fmla="*/ 2027841 w 6785952"/>
              <a:gd name="connsiteY11624" fmla="*/ 1168081 h 5217112"/>
              <a:gd name="connsiteX11625" fmla="*/ 2028390 w 6785952"/>
              <a:gd name="connsiteY11625" fmla="*/ 1163940 h 5217112"/>
              <a:gd name="connsiteX11626" fmla="*/ 2027566 w 6785952"/>
              <a:gd name="connsiteY11626" fmla="*/ 1158491 h 5217112"/>
              <a:gd name="connsiteX11627" fmla="*/ 2014381 w 6785952"/>
              <a:gd name="connsiteY11627" fmla="*/ 1156421 h 5217112"/>
              <a:gd name="connsiteX11628" fmla="*/ 2010810 w 6785952"/>
              <a:gd name="connsiteY11628" fmla="*/ 1147594 h 5217112"/>
              <a:gd name="connsiteX11629" fmla="*/ 2020150 w 6785952"/>
              <a:gd name="connsiteY11629" fmla="*/ 1145088 h 5217112"/>
              <a:gd name="connsiteX11630" fmla="*/ 2029214 w 6785952"/>
              <a:gd name="connsiteY11630" fmla="*/ 1146940 h 5217112"/>
              <a:gd name="connsiteX11631" fmla="*/ 2030314 w 6785952"/>
              <a:gd name="connsiteY11631" fmla="*/ 1144325 h 5217112"/>
              <a:gd name="connsiteX11632" fmla="*/ 2034159 w 6785952"/>
              <a:gd name="connsiteY11632" fmla="*/ 1145414 h 5217112"/>
              <a:gd name="connsiteX11633" fmla="*/ 2034708 w 6785952"/>
              <a:gd name="connsiteY11633" fmla="*/ 1141383 h 5217112"/>
              <a:gd name="connsiteX11634" fmla="*/ 2038829 w 6785952"/>
              <a:gd name="connsiteY11634" fmla="*/ 1133428 h 5217112"/>
              <a:gd name="connsiteX11635" fmla="*/ 2042126 w 6785952"/>
              <a:gd name="connsiteY11635" fmla="*/ 1133318 h 5217112"/>
              <a:gd name="connsiteX11636" fmla="*/ 2042675 w 6785952"/>
              <a:gd name="connsiteY11636" fmla="*/ 1133100 h 5217112"/>
              <a:gd name="connsiteX11637" fmla="*/ 2044048 w 6785952"/>
              <a:gd name="connsiteY11637" fmla="*/ 1133209 h 5217112"/>
              <a:gd name="connsiteX11638" fmla="*/ 1059817 w 6785952"/>
              <a:gd name="connsiteY11638" fmla="*/ 1131466 h 5217112"/>
              <a:gd name="connsiteX11639" fmla="*/ 1065310 w 6785952"/>
              <a:gd name="connsiteY11639" fmla="*/ 1132992 h 5217112"/>
              <a:gd name="connsiteX11640" fmla="*/ 1061190 w 6785952"/>
              <a:gd name="connsiteY11640" fmla="*/ 1137242 h 5217112"/>
              <a:gd name="connsiteX11641" fmla="*/ 1059542 w 6785952"/>
              <a:gd name="connsiteY11641" fmla="*/ 1135716 h 5217112"/>
              <a:gd name="connsiteX11642" fmla="*/ 1059817 w 6785952"/>
              <a:gd name="connsiteY11642" fmla="*/ 1131466 h 5217112"/>
              <a:gd name="connsiteX11643" fmla="*/ 2238738 w 6785952"/>
              <a:gd name="connsiteY11643" fmla="*/ 1129763 h 5217112"/>
              <a:gd name="connsiteX11644" fmla="*/ 2246498 w 6785952"/>
              <a:gd name="connsiteY11644" fmla="*/ 1132120 h 5217112"/>
              <a:gd name="connsiteX11645" fmla="*/ 2238807 w 6785952"/>
              <a:gd name="connsiteY11645" fmla="*/ 1143453 h 5217112"/>
              <a:gd name="connsiteX11646" fmla="*/ 2233862 w 6785952"/>
              <a:gd name="connsiteY11646" fmla="*/ 1142145 h 5217112"/>
              <a:gd name="connsiteX11647" fmla="*/ 2231390 w 6785952"/>
              <a:gd name="connsiteY11647" fmla="*/ 1133863 h 5217112"/>
              <a:gd name="connsiteX11648" fmla="*/ 2238738 w 6785952"/>
              <a:gd name="connsiteY11648" fmla="*/ 1129763 h 5217112"/>
              <a:gd name="connsiteX11649" fmla="*/ 1644092 w 6785952"/>
              <a:gd name="connsiteY11649" fmla="*/ 1128415 h 5217112"/>
              <a:gd name="connsiteX11650" fmla="*/ 1644092 w 6785952"/>
              <a:gd name="connsiteY11650" fmla="*/ 1131357 h 5217112"/>
              <a:gd name="connsiteX11651" fmla="*/ 1643543 w 6785952"/>
              <a:gd name="connsiteY11651" fmla="*/ 1130921 h 5217112"/>
              <a:gd name="connsiteX11652" fmla="*/ 1642993 w 6785952"/>
              <a:gd name="connsiteY11652" fmla="*/ 1129178 h 5217112"/>
              <a:gd name="connsiteX11653" fmla="*/ 1644092 w 6785952"/>
              <a:gd name="connsiteY11653" fmla="*/ 1128415 h 5217112"/>
              <a:gd name="connsiteX11654" fmla="*/ 1933346 w 6785952"/>
              <a:gd name="connsiteY11654" fmla="*/ 1127870 h 5217112"/>
              <a:gd name="connsiteX11655" fmla="*/ 1944334 w 6785952"/>
              <a:gd name="connsiteY11655" fmla="*/ 1129723 h 5217112"/>
              <a:gd name="connsiteX11656" fmla="*/ 1945433 w 6785952"/>
              <a:gd name="connsiteY11656" fmla="*/ 1131357 h 5217112"/>
              <a:gd name="connsiteX11657" fmla="*/ 1933346 w 6785952"/>
              <a:gd name="connsiteY11657" fmla="*/ 1127870 h 5217112"/>
              <a:gd name="connsiteX11658" fmla="*/ 2192108 w 6785952"/>
              <a:gd name="connsiteY11658" fmla="*/ 1126890 h 5217112"/>
              <a:gd name="connsiteX11659" fmla="*/ 2196504 w 6785952"/>
              <a:gd name="connsiteY11659" fmla="*/ 1131466 h 5217112"/>
              <a:gd name="connsiteX11660" fmla="*/ 2178099 w 6785952"/>
              <a:gd name="connsiteY11660" fmla="*/ 1141928 h 5217112"/>
              <a:gd name="connsiteX11661" fmla="*/ 2173155 w 6785952"/>
              <a:gd name="connsiteY11661" fmla="*/ 1139857 h 5217112"/>
              <a:gd name="connsiteX11662" fmla="*/ 2172056 w 6785952"/>
              <a:gd name="connsiteY11662" fmla="*/ 1135934 h 5217112"/>
              <a:gd name="connsiteX11663" fmla="*/ 2192108 w 6785952"/>
              <a:gd name="connsiteY11663" fmla="*/ 1126890 h 5217112"/>
              <a:gd name="connsiteX11664" fmla="*/ 1872089 w 6785952"/>
              <a:gd name="connsiteY11664" fmla="*/ 1125908 h 5217112"/>
              <a:gd name="connsiteX11665" fmla="*/ 1875386 w 6785952"/>
              <a:gd name="connsiteY11665" fmla="*/ 1125908 h 5217112"/>
              <a:gd name="connsiteX11666" fmla="*/ 1878957 w 6785952"/>
              <a:gd name="connsiteY11666" fmla="*/ 1127325 h 5217112"/>
              <a:gd name="connsiteX11667" fmla="*/ 1881429 w 6785952"/>
              <a:gd name="connsiteY11667" fmla="*/ 1125908 h 5217112"/>
              <a:gd name="connsiteX11668" fmla="*/ 1890219 w 6785952"/>
              <a:gd name="connsiteY11668" fmla="*/ 1132447 h 5217112"/>
              <a:gd name="connsiteX11669" fmla="*/ 1883626 w 6785952"/>
              <a:gd name="connsiteY11669" fmla="*/ 1131139 h 5217112"/>
              <a:gd name="connsiteX11670" fmla="*/ 1879781 w 6785952"/>
              <a:gd name="connsiteY11670" fmla="*/ 1129831 h 5217112"/>
              <a:gd name="connsiteX11671" fmla="*/ 1876759 w 6785952"/>
              <a:gd name="connsiteY11671" fmla="*/ 1129831 h 5217112"/>
              <a:gd name="connsiteX11672" fmla="*/ 1872089 w 6785952"/>
              <a:gd name="connsiteY11672" fmla="*/ 1125908 h 5217112"/>
              <a:gd name="connsiteX11673" fmla="*/ 1614151 w 6785952"/>
              <a:gd name="connsiteY11673" fmla="*/ 1125472 h 5217112"/>
              <a:gd name="connsiteX11674" fmla="*/ 1613601 w 6785952"/>
              <a:gd name="connsiteY11674" fmla="*/ 1127652 h 5217112"/>
              <a:gd name="connsiteX11675" fmla="*/ 1593274 w 6785952"/>
              <a:gd name="connsiteY11675" fmla="*/ 1135280 h 5217112"/>
              <a:gd name="connsiteX11676" fmla="*/ 1601240 w 6785952"/>
              <a:gd name="connsiteY11676" fmla="*/ 1128632 h 5217112"/>
              <a:gd name="connsiteX11677" fmla="*/ 1614151 w 6785952"/>
              <a:gd name="connsiteY11677" fmla="*/ 1125472 h 5217112"/>
              <a:gd name="connsiteX11678" fmla="*/ 1049653 w 6785952"/>
              <a:gd name="connsiteY11678" fmla="*/ 1121332 h 5217112"/>
              <a:gd name="connsiteX11679" fmla="*/ 1057894 w 6785952"/>
              <a:gd name="connsiteY11679" fmla="*/ 1131030 h 5217112"/>
              <a:gd name="connsiteX11680" fmla="*/ 1049927 w 6785952"/>
              <a:gd name="connsiteY11680" fmla="*/ 1140946 h 5217112"/>
              <a:gd name="connsiteX11681" fmla="*/ 1047181 w 6785952"/>
              <a:gd name="connsiteY11681" fmla="*/ 1139312 h 5217112"/>
              <a:gd name="connsiteX11682" fmla="*/ 1044983 w 6785952"/>
              <a:gd name="connsiteY11682" fmla="*/ 1136697 h 5217112"/>
              <a:gd name="connsiteX11683" fmla="*/ 1043335 w 6785952"/>
              <a:gd name="connsiteY11683" fmla="*/ 1133318 h 5217112"/>
              <a:gd name="connsiteX11684" fmla="*/ 1043335 w 6785952"/>
              <a:gd name="connsiteY11684" fmla="*/ 1128632 h 5217112"/>
              <a:gd name="connsiteX11685" fmla="*/ 1047181 w 6785952"/>
              <a:gd name="connsiteY11685" fmla="*/ 1122857 h 5217112"/>
              <a:gd name="connsiteX11686" fmla="*/ 1049653 w 6785952"/>
              <a:gd name="connsiteY11686" fmla="*/ 1121332 h 5217112"/>
              <a:gd name="connsiteX11687" fmla="*/ 2585540 w 6785952"/>
              <a:gd name="connsiteY11687" fmla="*/ 1120664 h 5217112"/>
              <a:gd name="connsiteX11688" fmla="*/ 2589867 w 6785952"/>
              <a:gd name="connsiteY11688" fmla="*/ 1121549 h 5217112"/>
              <a:gd name="connsiteX11689" fmla="*/ 2588768 w 6785952"/>
              <a:gd name="connsiteY11689" fmla="*/ 1123075 h 5217112"/>
              <a:gd name="connsiteX11690" fmla="*/ 2589042 w 6785952"/>
              <a:gd name="connsiteY11690" fmla="*/ 1123402 h 5217112"/>
              <a:gd name="connsiteX11691" fmla="*/ 2586021 w 6785952"/>
              <a:gd name="connsiteY11691" fmla="*/ 1124818 h 5217112"/>
              <a:gd name="connsiteX11692" fmla="*/ 2581351 w 6785952"/>
              <a:gd name="connsiteY11692" fmla="*/ 1123511 h 5217112"/>
              <a:gd name="connsiteX11693" fmla="*/ 2582450 w 6785952"/>
              <a:gd name="connsiteY11693" fmla="*/ 1120678 h 5217112"/>
              <a:gd name="connsiteX11694" fmla="*/ 2585540 w 6785952"/>
              <a:gd name="connsiteY11694" fmla="*/ 1120664 h 5217112"/>
              <a:gd name="connsiteX11695" fmla="*/ 2254739 w 6785952"/>
              <a:gd name="connsiteY11695" fmla="*/ 1119479 h 5217112"/>
              <a:gd name="connsiteX11696" fmla="*/ 2261606 w 6785952"/>
              <a:gd name="connsiteY11696" fmla="*/ 1128960 h 5217112"/>
              <a:gd name="connsiteX11697" fmla="*/ 2253091 w 6785952"/>
              <a:gd name="connsiteY11697" fmla="*/ 1131575 h 5217112"/>
              <a:gd name="connsiteX11698" fmla="*/ 2248971 w 6785952"/>
              <a:gd name="connsiteY11698" fmla="*/ 1128741 h 5217112"/>
              <a:gd name="connsiteX11699" fmla="*/ 2250069 w 6785952"/>
              <a:gd name="connsiteY11699" fmla="*/ 1123402 h 5217112"/>
              <a:gd name="connsiteX11700" fmla="*/ 2254739 w 6785952"/>
              <a:gd name="connsiteY11700" fmla="*/ 1119479 h 5217112"/>
              <a:gd name="connsiteX11701" fmla="*/ 6444385 w 6785952"/>
              <a:gd name="connsiteY11701" fmla="*/ 1119043 h 5217112"/>
              <a:gd name="connsiteX11702" fmla="*/ 6465262 w 6785952"/>
              <a:gd name="connsiteY11702" fmla="*/ 1142799 h 5217112"/>
              <a:gd name="connsiteX11703" fmla="*/ 6444385 w 6785952"/>
              <a:gd name="connsiteY11703" fmla="*/ 1119043 h 5217112"/>
              <a:gd name="connsiteX11704" fmla="*/ 1231226 w 6785952"/>
              <a:gd name="connsiteY11704" fmla="*/ 1115011 h 5217112"/>
              <a:gd name="connsiteX11705" fmla="*/ 1237819 w 6785952"/>
              <a:gd name="connsiteY11705" fmla="*/ 1121985 h 5217112"/>
              <a:gd name="connsiteX11706" fmla="*/ 1247982 w 6785952"/>
              <a:gd name="connsiteY11706" fmla="*/ 1144107 h 5217112"/>
              <a:gd name="connsiteX11707" fmla="*/ 1246884 w 6785952"/>
              <a:gd name="connsiteY11707" fmla="*/ 1153697 h 5217112"/>
              <a:gd name="connsiteX11708" fmla="*/ 1229578 w 6785952"/>
              <a:gd name="connsiteY11708" fmla="*/ 1118934 h 5217112"/>
              <a:gd name="connsiteX11709" fmla="*/ 1231226 w 6785952"/>
              <a:gd name="connsiteY11709" fmla="*/ 1115011 h 5217112"/>
              <a:gd name="connsiteX11710" fmla="*/ 1799020 w 6785952"/>
              <a:gd name="connsiteY11710" fmla="*/ 1114466 h 5217112"/>
              <a:gd name="connsiteX11711" fmla="*/ 1801493 w 6785952"/>
              <a:gd name="connsiteY11711" fmla="*/ 1115883 h 5217112"/>
              <a:gd name="connsiteX11712" fmla="*/ 1800668 w 6785952"/>
              <a:gd name="connsiteY11712" fmla="*/ 1116319 h 5217112"/>
              <a:gd name="connsiteX11713" fmla="*/ 1799020 w 6785952"/>
              <a:gd name="connsiteY11713" fmla="*/ 1115774 h 5217112"/>
              <a:gd name="connsiteX11714" fmla="*/ 1799020 w 6785952"/>
              <a:gd name="connsiteY11714" fmla="*/ 1114466 h 5217112"/>
              <a:gd name="connsiteX11715" fmla="*/ 1221337 w 6785952"/>
              <a:gd name="connsiteY11715" fmla="*/ 1114466 h 5217112"/>
              <a:gd name="connsiteX11716" fmla="*/ 1224084 w 6785952"/>
              <a:gd name="connsiteY11716" fmla="*/ 1119915 h 5217112"/>
              <a:gd name="connsiteX11717" fmla="*/ 1219963 w 6785952"/>
              <a:gd name="connsiteY11717" fmla="*/ 1122203 h 5217112"/>
              <a:gd name="connsiteX11718" fmla="*/ 1217492 w 6785952"/>
              <a:gd name="connsiteY11718" fmla="*/ 1118716 h 5217112"/>
              <a:gd name="connsiteX11719" fmla="*/ 1221337 w 6785952"/>
              <a:gd name="connsiteY11719" fmla="*/ 1114466 h 5217112"/>
              <a:gd name="connsiteX11720" fmla="*/ 1817425 w 6785952"/>
              <a:gd name="connsiteY11720" fmla="*/ 1113594 h 5217112"/>
              <a:gd name="connsiteX11721" fmla="*/ 1821271 w 6785952"/>
              <a:gd name="connsiteY11721" fmla="*/ 1114575 h 5217112"/>
              <a:gd name="connsiteX11722" fmla="*/ 1824568 w 6785952"/>
              <a:gd name="connsiteY11722" fmla="*/ 1114248 h 5217112"/>
              <a:gd name="connsiteX11723" fmla="*/ 1832259 w 6785952"/>
              <a:gd name="connsiteY11723" fmla="*/ 1119370 h 5217112"/>
              <a:gd name="connsiteX11724" fmla="*/ 1804240 w 6785952"/>
              <a:gd name="connsiteY11724" fmla="*/ 1126890 h 5217112"/>
              <a:gd name="connsiteX11725" fmla="*/ 1800943 w 6785952"/>
              <a:gd name="connsiteY11725" fmla="*/ 1126017 h 5217112"/>
              <a:gd name="connsiteX11726" fmla="*/ 1800943 w 6785952"/>
              <a:gd name="connsiteY11726" fmla="*/ 1125908 h 5217112"/>
              <a:gd name="connsiteX11727" fmla="*/ 1800394 w 6785952"/>
              <a:gd name="connsiteY11727" fmla="*/ 1129069 h 5217112"/>
              <a:gd name="connsiteX11728" fmla="*/ 1794625 w 6785952"/>
              <a:gd name="connsiteY11728" fmla="*/ 1131575 h 5217112"/>
              <a:gd name="connsiteX11729" fmla="*/ 1794625 w 6785952"/>
              <a:gd name="connsiteY11729" fmla="*/ 1129614 h 5217112"/>
              <a:gd name="connsiteX11730" fmla="*/ 1791604 w 6785952"/>
              <a:gd name="connsiteY11730" fmla="*/ 1121985 h 5217112"/>
              <a:gd name="connsiteX11731" fmla="*/ 1795724 w 6785952"/>
              <a:gd name="connsiteY11731" fmla="*/ 1120133 h 5217112"/>
              <a:gd name="connsiteX11732" fmla="*/ 1801493 w 6785952"/>
              <a:gd name="connsiteY11732" fmla="*/ 1120895 h 5217112"/>
              <a:gd name="connsiteX11733" fmla="*/ 1803416 w 6785952"/>
              <a:gd name="connsiteY11733" fmla="*/ 1118607 h 5217112"/>
              <a:gd name="connsiteX11734" fmla="*/ 1817425 w 6785952"/>
              <a:gd name="connsiteY11734" fmla="*/ 1113594 h 5217112"/>
              <a:gd name="connsiteX11735" fmla="*/ 1585033 w 6785952"/>
              <a:gd name="connsiteY11735" fmla="*/ 1113486 h 5217112"/>
              <a:gd name="connsiteX11736" fmla="*/ 1591626 w 6785952"/>
              <a:gd name="connsiteY11736" fmla="*/ 1116755 h 5217112"/>
              <a:gd name="connsiteX11737" fmla="*/ 1590527 w 6785952"/>
              <a:gd name="connsiteY11737" fmla="*/ 1120460 h 5217112"/>
              <a:gd name="connsiteX11738" fmla="*/ 1593274 w 6785952"/>
              <a:gd name="connsiteY11738" fmla="*/ 1120133 h 5217112"/>
              <a:gd name="connsiteX11739" fmla="*/ 1591077 w 6785952"/>
              <a:gd name="connsiteY11739" fmla="*/ 1128306 h 5217112"/>
              <a:gd name="connsiteX11740" fmla="*/ 1591077 w 6785952"/>
              <a:gd name="connsiteY11740" fmla="*/ 1131575 h 5217112"/>
              <a:gd name="connsiteX11741" fmla="*/ 1588330 w 6785952"/>
              <a:gd name="connsiteY11741" fmla="*/ 1129831 h 5217112"/>
              <a:gd name="connsiteX11742" fmla="*/ 1590802 w 6785952"/>
              <a:gd name="connsiteY11742" fmla="*/ 1124928 h 5217112"/>
              <a:gd name="connsiteX11743" fmla="*/ 1588330 w 6785952"/>
              <a:gd name="connsiteY11743" fmla="*/ 1123184 h 5217112"/>
              <a:gd name="connsiteX11744" fmla="*/ 1588878 w 6785952"/>
              <a:gd name="connsiteY11744" fmla="*/ 1121223 h 5217112"/>
              <a:gd name="connsiteX11745" fmla="*/ 1589153 w 6785952"/>
              <a:gd name="connsiteY11745" fmla="*/ 1120787 h 5217112"/>
              <a:gd name="connsiteX11746" fmla="*/ 1588878 w 6785952"/>
              <a:gd name="connsiteY11746" fmla="*/ 1120678 h 5217112"/>
              <a:gd name="connsiteX11747" fmla="*/ 1588878 w 6785952"/>
              <a:gd name="connsiteY11747" fmla="*/ 1121223 h 5217112"/>
              <a:gd name="connsiteX11748" fmla="*/ 1575969 w 6785952"/>
              <a:gd name="connsiteY11748" fmla="*/ 1128087 h 5217112"/>
              <a:gd name="connsiteX11749" fmla="*/ 1575969 w 6785952"/>
              <a:gd name="connsiteY11749" fmla="*/ 1129831 h 5217112"/>
              <a:gd name="connsiteX11750" fmla="*/ 1577067 w 6785952"/>
              <a:gd name="connsiteY11750" fmla="*/ 1130594 h 5217112"/>
              <a:gd name="connsiteX11751" fmla="*/ 1581187 w 6785952"/>
              <a:gd name="connsiteY11751" fmla="*/ 1129505 h 5217112"/>
              <a:gd name="connsiteX11752" fmla="*/ 1592725 w 6785952"/>
              <a:gd name="connsiteY11752" fmla="*/ 1136915 h 5217112"/>
              <a:gd name="connsiteX11753" fmla="*/ 1591626 w 6785952"/>
              <a:gd name="connsiteY11753" fmla="*/ 1141383 h 5217112"/>
              <a:gd name="connsiteX11754" fmla="*/ 1591191 w 6785952"/>
              <a:gd name="connsiteY11754" fmla="*/ 1143623 h 5217112"/>
              <a:gd name="connsiteX11755" fmla="*/ 1591077 w 6785952"/>
              <a:gd name="connsiteY11755" fmla="*/ 1143671 h 5217112"/>
              <a:gd name="connsiteX11756" fmla="*/ 1590802 w 6785952"/>
              <a:gd name="connsiteY11756" fmla="*/ 1145633 h 5217112"/>
              <a:gd name="connsiteX11757" fmla="*/ 1591191 w 6785952"/>
              <a:gd name="connsiteY11757" fmla="*/ 1143623 h 5217112"/>
              <a:gd name="connsiteX11758" fmla="*/ 1597670 w 6785952"/>
              <a:gd name="connsiteY11758" fmla="*/ 1140946 h 5217112"/>
              <a:gd name="connsiteX11759" fmla="*/ 1594922 w 6785952"/>
              <a:gd name="connsiteY11759" fmla="*/ 1152280 h 5217112"/>
              <a:gd name="connsiteX11760" fmla="*/ 1589153 w 6785952"/>
              <a:gd name="connsiteY11760" fmla="*/ 1151844 h 5217112"/>
              <a:gd name="connsiteX11761" fmla="*/ 1589153 w 6785952"/>
              <a:gd name="connsiteY11761" fmla="*/ 1151953 h 5217112"/>
              <a:gd name="connsiteX11762" fmla="*/ 1588330 w 6785952"/>
              <a:gd name="connsiteY11762" fmla="*/ 1158273 h 5217112"/>
              <a:gd name="connsiteX11763" fmla="*/ 1587231 w 6785952"/>
              <a:gd name="connsiteY11763" fmla="*/ 1159036 h 5217112"/>
              <a:gd name="connsiteX11764" fmla="*/ 1584483 w 6785952"/>
              <a:gd name="connsiteY11764" fmla="*/ 1156966 h 5217112"/>
              <a:gd name="connsiteX11765" fmla="*/ 1584483 w 6785952"/>
              <a:gd name="connsiteY11765" fmla="*/ 1154677 h 5217112"/>
              <a:gd name="connsiteX11766" fmla="*/ 1579539 w 6785952"/>
              <a:gd name="connsiteY11766" fmla="*/ 1157402 h 5217112"/>
              <a:gd name="connsiteX11767" fmla="*/ 1566354 w 6785952"/>
              <a:gd name="connsiteY11767" fmla="*/ 1147376 h 5217112"/>
              <a:gd name="connsiteX11768" fmla="*/ 1573221 w 6785952"/>
              <a:gd name="connsiteY11768" fmla="*/ 1131684 h 5217112"/>
              <a:gd name="connsiteX11769" fmla="*/ 1572947 w 6785952"/>
              <a:gd name="connsiteY11769" fmla="*/ 1130485 h 5217112"/>
              <a:gd name="connsiteX11770" fmla="*/ 1571573 w 6785952"/>
              <a:gd name="connsiteY11770" fmla="*/ 1131575 h 5217112"/>
              <a:gd name="connsiteX11771" fmla="*/ 1570200 w 6785952"/>
              <a:gd name="connsiteY11771" fmla="*/ 1132883 h 5217112"/>
              <a:gd name="connsiteX11772" fmla="*/ 1567178 w 6785952"/>
              <a:gd name="connsiteY11772" fmla="*/ 1133209 h 5217112"/>
              <a:gd name="connsiteX11773" fmla="*/ 1558388 w 6785952"/>
              <a:gd name="connsiteY11773" fmla="*/ 1128851 h 5217112"/>
              <a:gd name="connsiteX11774" fmla="*/ 1578440 w 6785952"/>
              <a:gd name="connsiteY11774" fmla="*/ 1118280 h 5217112"/>
              <a:gd name="connsiteX11775" fmla="*/ 1583385 w 6785952"/>
              <a:gd name="connsiteY11775" fmla="*/ 1117845 h 5217112"/>
              <a:gd name="connsiteX11776" fmla="*/ 964497 w 6785952"/>
              <a:gd name="connsiteY11776" fmla="*/ 1112396 h 5217112"/>
              <a:gd name="connsiteX11777" fmla="*/ 1000757 w 6785952"/>
              <a:gd name="connsiteY11777" fmla="*/ 1129505 h 5217112"/>
              <a:gd name="connsiteX11778" fmla="*/ 967794 w 6785952"/>
              <a:gd name="connsiteY11778" fmla="*/ 1121332 h 5217112"/>
              <a:gd name="connsiteX11779" fmla="*/ 964497 w 6785952"/>
              <a:gd name="connsiteY11779" fmla="*/ 1112396 h 5217112"/>
              <a:gd name="connsiteX11780" fmla="*/ 2162716 w 6785952"/>
              <a:gd name="connsiteY11780" fmla="*/ 1112178 h 5217112"/>
              <a:gd name="connsiteX11781" fmla="*/ 2171232 w 6785952"/>
              <a:gd name="connsiteY11781" fmla="*/ 1115120 h 5217112"/>
              <a:gd name="connsiteX11782" fmla="*/ 2163815 w 6785952"/>
              <a:gd name="connsiteY11782" fmla="*/ 1130703 h 5217112"/>
              <a:gd name="connsiteX11783" fmla="*/ 2157772 w 6785952"/>
              <a:gd name="connsiteY11783" fmla="*/ 1126671 h 5217112"/>
              <a:gd name="connsiteX11784" fmla="*/ 2162716 w 6785952"/>
              <a:gd name="connsiteY11784" fmla="*/ 1112178 h 5217112"/>
              <a:gd name="connsiteX11785" fmla="*/ 1784462 w 6785952"/>
              <a:gd name="connsiteY11785" fmla="*/ 1108146 h 5217112"/>
              <a:gd name="connsiteX11786" fmla="*/ 1784736 w 6785952"/>
              <a:gd name="connsiteY11786" fmla="*/ 1115338 h 5217112"/>
              <a:gd name="connsiteX11787" fmla="*/ 1777869 w 6785952"/>
              <a:gd name="connsiteY11787" fmla="*/ 1119370 h 5217112"/>
              <a:gd name="connsiteX11788" fmla="*/ 1773749 w 6785952"/>
              <a:gd name="connsiteY11788" fmla="*/ 1122857 h 5217112"/>
              <a:gd name="connsiteX11789" fmla="*/ 1771551 w 6785952"/>
              <a:gd name="connsiteY11789" fmla="*/ 1123184 h 5217112"/>
              <a:gd name="connsiteX11790" fmla="*/ 1769353 w 6785952"/>
              <a:gd name="connsiteY11790" fmla="*/ 1121877 h 5217112"/>
              <a:gd name="connsiteX11791" fmla="*/ 1774572 w 6785952"/>
              <a:gd name="connsiteY11791" fmla="*/ 1110543 h 5217112"/>
              <a:gd name="connsiteX11792" fmla="*/ 1784462 w 6785952"/>
              <a:gd name="connsiteY11792" fmla="*/ 1108146 h 5217112"/>
              <a:gd name="connsiteX11793" fmla="*/ 1635577 w 6785952"/>
              <a:gd name="connsiteY11793" fmla="*/ 1105640 h 5217112"/>
              <a:gd name="connsiteX11794" fmla="*/ 1642445 w 6785952"/>
              <a:gd name="connsiteY11794" fmla="*/ 1112723 h 5217112"/>
              <a:gd name="connsiteX11795" fmla="*/ 1636401 w 6785952"/>
              <a:gd name="connsiteY11795" fmla="*/ 1116646 h 5217112"/>
              <a:gd name="connsiteX11796" fmla="*/ 1629259 w 6785952"/>
              <a:gd name="connsiteY11796" fmla="*/ 1112723 h 5217112"/>
              <a:gd name="connsiteX11797" fmla="*/ 1624315 w 6785952"/>
              <a:gd name="connsiteY11797" fmla="*/ 1110870 h 5217112"/>
              <a:gd name="connsiteX11798" fmla="*/ 1622941 w 6785952"/>
              <a:gd name="connsiteY11798" fmla="*/ 1106839 h 5217112"/>
              <a:gd name="connsiteX11799" fmla="*/ 1635577 w 6785952"/>
              <a:gd name="connsiteY11799" fmla="*/ 1105640 h 5217112"/>
              <a:gd name="connsiteX11800" fmla="*/ 2078110 w 6785952"/>
              <a:gd name="connsiteY11800" fmla="*/ 1104113 h 5217112"/>
              <a:gd name="connsiteX11801" fmla="*/ 2082231 w 6785952"/>
              <a:gd name="connsiteY11801" fmla="*/ 1105421 h 5217112"/>
              <a:gd name="connsiteX11802" fmla="*/ 2078110 w 6785952"/>
              <a:gd name="connsiteY11802" fmla="*/ 1114031 h 5217112"/>
              <a:gd name="connsiteX11803" fmla="*/ 2075089 w 6785952"/>
              <a:gd name="connsiteY11803" fmla="*/ 1111960 h 5217112"/>
              <a:gd name="connsiteX11804" fmla="*/ 2078110 w 6785952"/>
              <a:gd name="connsiteY11804" fmla="*/ 1104113 h 5217112"/>
              <a:gd name="connsiteX11805" fmla="*/ 2412139 w 6785952"/>
              <a:gd name="connsiteY11805" fmla="*/ 1103351 h 5217112"/>
              <a:gd name="connsiteX11806" fmla="*/ 2419830 w 6785952"/>
              <a:gd name="connsiteY11806" fmla="*/ 1108473 h 5217112"/>
              <a:gd name="connsiteX11807" fmla="*/ 2410216 w 6785952"/>
              <a:gd name="connsiteY11807" fmla="*/ 1115120 h 5217112"/>
              <a:gd name="connsiteX11808" fmla="*/ 2408019 w 6785952"/>
              <a:gd name="connsiteY11808" fmla="*/ 1112396 h 5217112"/>
              <a:gd name="connsiteX11809" fmla="*/ 2412139 w 6785952"/>
              <a:gd name="connsiteY11809" fmla="*/ 1103351 h 5217112"/>
              <a:gd name="connsiteX11810" fmla="*/ 1361706 w 6785952"/>
              <a:gd name="connsiteY11810" fmla="*/ 1103351 h 5217112"/>
              <a:gd name="connsiteX11811" fmla="*/ 1386429 w 6785952"/>
              <a:gd name="connsiteY11811" fmla="*/ 1132011 h 5217112"/>
              <a:gd name="connsiteX11812" fmla="*/ 1360607 w 6785952"/>
              <a:gd name="connsiteY11812" fmla="*/ 1112723 h 5217112"/>
              <a:gd name="connsiteX11813" fmla="*/ 1361706 w 6785952"/>
              <a:gd name="connsiteY11813" fmla="*/ 1103351 h 5217112"/>
              <a:gd name="connsiteX11814" fmla="*/ 2008338 w 6785952"/>
              <a:gd name="connsiteY11814" fmla="*/ 1099101 h 5217112"/>
              <a:gd name="connsiteX11815" fmla="*/ 2013832 w 6785952"/>
              <a:gd name="connsiteY11815" fmla="*/ 1109563 h 5217112"/>
              <a:gd name="connsiteX11816" fmla="*/ 1992955 w 6785952"/>
              <a:gd name="connsiteY11816" fmla="*/ 1119152 h 5217112"/>
              <a:gd name="connsiteX11817" fmla="*/ 2008338 w 6785952"/>
              <a:gd name="connsiteY11817" fmla="*/ 1099101 h 5217112"/>
              <a:gd name="connsiteX11818" fmla="*/ 1000757 w 6785952"/>
              <a:gd name="connsiteY11818" fmla="*/ 1098338 h 5217112"/>
              <a:gd name="connsiteX11819" fmla="*/ 1000208 w 6785952"/>
              <a:gd name="connsiteY11819" fmla="*/ 1104332 h 5217112"/>
              <a:gd name="connsiteX11820" fmla="*/ 992791 w 6785952"/>
              <a:gd name="connsiteY11820" fmla="*/ 1099210 h 5217112"/>
              <a:gd name="connsiteX11821" fmla="*/ 1000757 w 6785952"/>
              <a:gd name="connsiteY11821" fmla="*/ 1098338 h 5217112"/>
              <a:gd name="connsiteX11822" fmla="*/ 2525039 w 6785952"/>
              <a:gd name="connsiteY11822" fmla="*/ 1098011 h 5217112"/>
              <a:gd name="connsiteX11823" fmla="*/ 2548388 w 6785952"/>
              <a:gd name="connsiteY11823" fmla="*/ 1108800 h 5217112"/>
              <a:gd name="connsiteX11824" fmla="*/ 2539323 w 6785952"/>
              <a:gd name="connsiteY11824" fmla="*/ 1124818 h 5217112"/>
              <a:gd name="connsiteX11825" fmla="*/ 2535752 w 6785952"/>
              <a:gd name="connsiteY11825" fmla="*/ 1124928 h 5217112"/>
              <a:gd name="connsiteX11826" fmla="*/ 2537675 w 6785952"/>
              <a:gd name="connsiteY11826" fmla="*/ 1127979 h 5217112"/>
              <a:gd name="connsiteX11827" fmla="*/ 2537400 w 6785952"/>
              <a:gd name="connsiteY11827" fmla="*/ 1137023 h 5217112"/>
              <a:gd name="connsiteX11828" fmla="*/ 2533005 w 6785952"/>
              <a:gd name="connsiteY11828" fmla="*/ 1144869 h 5217112"/>
              <a:gd name="connsiteX11829" fmla="*/ 2527236 w 6785952"/>
              <a:gd name="connsiteY11829" fmla="*/ 1136806 h 5217112"/>
              <a:gd name="connsiteX11830" fmla="*/ 2531357 w 6785952"/>
              <a:gd name="connsiteY11830" fmla="*/ 1124383 h 5217112"/>
              <a:gd name="connsiteX11831" fmla="*/ 2534104 w 6785952"/>
              <a:gd name="connsiteY11831" fmla="*/ 1124056 h 5217112"/>
              <a:gd name="connsiteX11832" fmla="*/ 2529983 w 6785952"/>
              <a:gd name="connsiteY11832" fmla="*/ 1121114 h 5217112"/>
              <a:gd name="connsiteX11833" fmla="*/ 2525589 w 6785952"/>
              <a:gd name="connsiteY11833" fmla="*/ 1122966 h 5217112"/>
              <a:gd name="connsiteX11834" fmla="*/ 2520369 w 6785952"/>
              <a:gd name="connsiteY11834" fmla="*/ 1121877 h 5217112"/>
              <a:gd name="connsiteX11835" fmla="*/ 2525314 w 6785952"/>
              <a:gd name="connsiteY11835" fmla="*/ 1119588 h 5217112"/>
              <a:gd name="connsiteX11836" fmla="*/ 2528884 w 6785952"/>
              <a:gd name="connsiteY11836" fmla="*/ 1120351 h 5217112"/>
              <a:gd name="connsiteX11837" fmla="*/ 2523116 w 6785952"/>
              <a:gd name="connsiteY11837" fmla="*/ 1107710 h 5217112"/>
              <a:gd name="connsiteX11838" fmla="*/ 2525039 w 6785952"/>
              <a:gd name="connsiteY11838" fmla="*/ 1098011 h 5217112"/>
              <a:gd name="connsiteX11839" fmla="*/ 1641346 w 6785952"/>
              <a:gd name="connsiteY11839" fmla="*/ 1097903 h 5217112"/>
              <a:gd name="connsiteX11840" fmla="*/ 1647663 w 6785952"/>
              <a:gd name="connsiteY11840" fmla="*/ 1101063 h 5217112"/>
              <a:gd name="connsiteX11841" fmla="*/ 1646015 w 6785952"/>
              <a:gd name="connsiteY11841" fmla="*/ 1103242 h 5217112"/>
              <a:gd name="connsiteX11842" fmla="*/ 1647938 w 6785952"/>
              <a:gd name="connsiteY11842" fmla="*/ 1103024 h 5217112"/>
              <a:gd name="connsiteX11843" fmla="*/ 1645467 w 6785952"/>
              <a:gd name="connsiteY11843" fmla="*/ 1104005 h 5217112"/>
              <a:gd name="connsiteX11844" fmla="*/ 1644092 w 6785952"/>
              <a:gd name="connsiteY11844" fmla="*/ 1103351 h 5217112"/>
              <a:gd name="connsiteX11845" fmla="*/ 1641346 w 6785952"/>
              <a:gd name="connsiteY11845" fmla="*/ 1097903 h 5217112"/>
              <a:gd name="connsiteX11846" fmla="*/ 1192219 w 6785952"/>
              <a:gd name="connsiteY11846" fmla="*/ 1094633 h 5217112"/>
              <a:gd name="connsiteX11847" fmla="*/ 1199911 w 6785952"/>
              <a:gd name="connsiteY11847" fmla="*/ 1096921 h 5217112"/>
              <a:gd name="connsiteX11848" fmla="*/ 1199362 w 6785952"/>
              <a:gd name="connsiteY11848" fmla="*/ 1101717 h 5217112"/>
              <a:gd name="connsiteX11849" fmla="*/ 1205680 w 6785952"/>
              <a:gd name="connsiteY11849" fmla="*/ 1104113 h 5217112"/>
              <a:gd name="connsiteX11850" fmla="*/ 1185627 w 6785952"/>
              <a:gd name="connsiteY11850" fmla="*/ 1130921 h 5217112"/>
              <a:gd name="connsiteX11851" fmla="*/ 1171068 w 6785952"/>
              <a:gd name="connsiteY11851" fmla="*/ 1100300 h 5217112"/>
              <a:gd name="connsiteX11852" fmla="*/ 1174090 w 6785952"/>
              <a:gd name="connsiteY11852" fmla="*/ 1098992 h 5217112"/>
              <a:gd name="connsiteX11853" fmla="*/ 1184253 w 6785952"/>
              <a:gd name="connsiteY11853" fmla="*/ 1096050 h 5217112"/>
              <a:gd name="connsiteX11854" fmla="*/ 1187549 w 6785952"/>
              <a:gd name="connsiteY11854" fmla="*/ 1097249 h 5217112"/>
              <a:gd name="connsiteX11855" fmla="*/ 1940214 w 6785952"/>
              <a:gd name="connsiteY11855" fmla="*/ 1094197 h 5217112"/>
              <a:gd name="connsiteX11856" fmla="*/ 1944060 w 6785952"/>
              <a:gd name="connsiteY11856" fmla="*/ 1102806 h 5217112"/>
              <a:gd name="connsiteX11857" fmla="*/ 1937741 w 6785952"/>
              <a:gd name="connsiteY11857" fmla="*/ 1106620 h 5217112"/>
              <a:gd name="connsiteX11858" fmla="*/ 1934445 w 6785952"/>
              <a:gd name="connsiteY11858" fmla="*/ 1104767 h 5217112"/>
              <a:gd name="connsiteX11859" fmla="*/ 1934445 w 6785952"/>
              <a:gd name="connsiteY11859" fmla="*/ 1103351 h 5217112"/>
              <a:gd name="connsiteX11860" fmla="*/ 1933621 w 6785952"/>
              <a:gd name="connsiteY11860" fmla="*/ 1097575 h 5217112"/>
              <a:gd name="connsiteX11861" fmla="*/ 1940214 w 6785952"/>
              <a:gd name="connsiteY11861" fmla="*/ 1094197 h 5217112"/>
              <a:gd name="connsiteX11862" fmla="*/ 2270122 w 6785952"/>
              <a:gd name="connsiteY11862" fmla="*/ 1091582 h 5217112"/>
              <a:gd name="connsiteX11863" fmla="*/ 2271496 w 6785952"/>
              <a:gd name="connsiteY11863" fmla="*/ 1091691 h 5217112"/>
              <a:gd name="connsiteX11864" fmla="*/ 2270122 w 6785952"/>
              <a:gd name="connsiteY11864" fmla="*/ 1097140 h 5217112"/>
              <a:gd name="connsiteX11865" fmla="*/ 2270122 w 6785952"/>
              <a:gd name="connsiteY11865" fmla="*/ 1091582 h 5217112"/>
              <a:gd name="connsiteX11866" fmla="*/ 1362806 w 6785952"/>
              <a:gd name="connsiteY11866" fmla="*/ 1090165 h 5217112"/>
              <a:gd name="connsiteX11867" fmla="*/ 1363080 w 6785952"/>
              <a:gd name="connsiteY11867" fmla="*/ 1095832 h 5217112"/>
              <a:gd name="connsiteX11868" fmla="*/ 1362531 w 6785952"/>
              <a:gd name="connsiteY11868" fmla="*/ 1096813 h 5217112"/>
              <a:gd name="connsiteX11869" fmla="*/ 1361706 w 6785952"/>
              <a:gd name="connsiteY11869" fmla="*/ 1095722 h 5217112"/>
              <a:gd name="connsiteX11870" fmla="*/ 1362806 w 6785952"/>
              <a:gd name="connsiteY11870" fmla="*/ 1090165 h 5217112"/>
              <a:gd name="connsiteX11871" fmla="*/ 6548494 w 6785952"/>
              <a:gd name="connsiteY11871" fmla="*/ 1089075 h 5217112"/>
              <a:gd name="connsiteX11872" fmla="*/ 6554538 w 6785952"/>
              <a:gd name="connsiteY11872" fmla="*/ 1095287 h 5217112"/>
              <a:gd name="connsiteX11873" fmla="*/ 6543275 w 6785952"/>
              <a:gd name="connsiteY11873" fmla="*/ 1104986 h 5217112"/>
              <a:gd name="connsiteX11874" fmla="*/ 6548494 w 6785952"/>
              <a:gd name="connsiteY11874" fmla="*/ 1089075 h 5217112"/>
              <a:gd name="connsiteX11875" fmla="*/ 2487681 w 6785952"/>
              <a:gd name="connsiteY11875" fmla="*/ 1087114 h 5217112"/>
              <a:gd name="connsiteX11876" fmla="*/ 2492075 w 6785952"/>
              <a:gd name="connsiteY11876" fmla="*/ 1088530 h 5217112"/>
              <a:gd name="connsiteX11877" fmla="*/ 2489054 w 6785952"/>
              <a:gd name="connsiteY11877" fmla="*/ 1097140 h 5217112"/>
              <a:gd name="connsiteX11878" fmla="*/ 2487681 w 6785952"/>
              <a:gd name="connsiteY11878" fmla="*/ 1087114 h 5217112"/>
              <a:gd name="connsiteX11879" fmla="*/ 1631731 w 6785952"/>
              <a:gd name="connsiteY11879" fmla="*/ 1084935 h 5217112"/>
              <a:gd name="connsiteX11880" fmla="*/ 1641071 w 6785952"/>
              <a:gd name="connsiteY11880" fmla="*/ 1098011 h 5217112"/>
              <a:gd name="connsiteX11881" fmla="*/ 1632830 w 6785952"/>
              <a:gd name="connsiteY11881" fmla="*/ 1092781 h 5217112"/>
              <a:gd name="connsiteX11882" fmla="*/ 1631731 w 6785952"/>
              <a:gd name="connsiteY11882" fmla="*/ 1084935 h 5217112"/>
              <a:gd name="connsiteX11883" fmla="*/ 2136105 w 6785952"/>
              <a:gd name="connsiteY11883" fmla="*/ 1084839 h 5217112"/>
              <a:gd name="connsiteX11884" fmla="*/ 2150630 w 6785952"/>
              <a:gd name="connsiteY11884" fmla="*/ 1092345 h 5217112"/>
              <a:gd name="connsiteX11885" fmla="*/ 2153102 w 6785952"/>
              <a:gd name="connsiteY11885" fmla="*/ 1095832 h 5217112"/>
              <a:gd name="connsiteX11886" fmla="*/ 2153926 w 6785952"/>
              <a:gd name="connsiteY11886" fmla="*/ 1096376 h 5217112"/>
              <a:gd name="connsiteX11887" fmla="*/ 2154475 w 6785952"/>
              <a:gd name="connsiteY11887" fmla="*/ 1094197 h 5217112"/>
              <a:gd name="connsiteX11888" fmla="*/ 2156673 w 6785952"/>
              <a:gd name="connsiteY11888" fmla="*/ 1093871 h 5217112"/>
              <a:gd name="connsiteX11889" fmla="*/ 2160519 w 6785952"/>
              <a:gd name="connsiteY11889" fmla="*/ 1094851 h 5217112"/>
              <a:gd name="connsiteX11890" fmla="*/ 2163815 w 6785952"/>
              <a:gd name="connsiteY11890" fmla="*/ 1094633 h 5217112"/>
              <a:gd name="connsiteX11891" fmla="*/ 2165738 w 6785952"/>
              <a:gd name="connsiteY11891" fmla="*/ 1098448 h 5217112"/>
              <a:gd name="connsiteX11892" fmla="*/ 2162716 w 6785952"/>
              <a:gd name="connsiteY11892" fmla="*/ 1098774 h 5217112"/>
              <a:gd name="connsiteX11893" fmla="*/ 2157772 w 6785952"/>
              <a:gd name="connsiteY11893" fmla="*/ 1097684 h 5217112"/>
              <a:gd name="connsiteX11894" fmla="*/ 2155575 w 6785952"/>
              <a:gd name="connsiteY11894" fmla="*/ 1097575 h 5217112"/>
              <a:gd name="connsiteX11895" fmla="*/ 2158596 w 6785952"/>
              <a:gd name="connsiteY11895" fmla="*/ 1099755 h 5217112"/>
              <a:gd name="connsiteX11896" fmla="*/ 2156399 w 6785952"/>
              <a:gd name="connsiteY11896" fmla="*/ 1103351 h 5217112"/>
              <a:gd name="connsiteX11897" fmla="*/ 2155849 w 6785952"/>
              <a:gd name="connsiteY11897" fmla="*/ 1106839 h 5217112"/>
              <a:gd name="connsiteX11898" fmla="*/ 2158321 w 6785952"/>
              <a:gd name="connsiteY11898" fmla="*/ 1109235 h 5217112"/>
              <a:gd name="connsiteX11899" fmla="*/ 2154475 w 6785952"/>
              <a:gd name="connsiteY11899" fmla="*/ 1111633 h 5217112"/>
              <a:gd name="connsiteX11900" fmla="*/ 2153926 w 6785952"/>
              <a:gd name="connsiteY11900" fmla="*/ 1111524 h 5217112"/>
              <a:gd name="connsiteX11901" fmla="*/ 2150355 w 6785952"/>
              <a:gd name="connsiteY11901" fmla="*/ 1116101 h 5217112"/>
              <a:gd name="connsiteX11902" fmla="*/ 2136895 w 6785952"/>
              <a:gd name="connsiteY11902" fmla="*/ 1122203 h 5217112"/>
              <a:gd name="connsiteX11903" fmla="*/ 2132225 w 6785952"/>
              <a:gd name="connsiteY11903" fmla="*/ 1120678 h 5217112"/>
              <a:gd name="connsiteX11904" fmla="*/ 2136071 w 6785952"/>
              <a:gd name="connsiteY11904" fmla="*/ 1123729 h 5217112"/>
              <a:gd name="connsiteX11905" fmla="*/ 2124534 w 6785952"/>
              <a:gd name="connsiteY11905" fmla="*/ 1140184 h 5217112"/>
              <a:gd name="connsiteX11906" fmla="*/ 2115194 w 6785952"/>
              <a:gd name="connsiteY11906" fmla="*/ 1136370 h 5217112"/>
              <a:gd name="connsiteX11907" fmla="*/ 2114095 w 6785952"/>
              <a:gd name="connsiteY11907" fmla="*/ 1113703 h 5217112"/>
              <a:gd name="connsiteX11908" fmla="*/ 2122336 w 6785952"/>
              <a:gd name="connsiteY11908" fmla="*/ 1114031 h 5217112"/>
              <a:gd name="connsiteX11909" fmla="*/ 2125907 w 6785952"/>
              <a:gd name="connsiteY11909" fmla="*/ 1116101 h 5217112"/>
              <a:gd name="connsiteX11910" fmla="*/ 2123710 w 6785952"/>
              <a:gd name="connsiteY11910" fmla="*/ 1111088 h 5217112"/>
              <a:gd name="connsiteX11911" fmla="*/ 2120962 w 6785952"/>
              <a:gd name="connsiteY11911" fmla="*/ 1099973 h 5217112"/>
              <a:gd name="connsiteX11912" fmla="*/ 2125083 w 6785952"/>
              <a:gd name="connsiteY11912" fmla="*/ 1091146 h 5217112"/>
              <a:gd name="connsiteX11913" fmla="*/ 2136105 w 6785952"/>
              <a:gd name="connsiteY11913" fmla="*/ 1084839 h 5217112"/>
              <a:gd name="connsiteX11914" fmla="*/ 1208152 w 6785952"/>
              <a:gd name="connsiteY11914" fmla="*/ 1084281 h 5217112"/>
              <a:gd name="connsiteX11915" fmla="*/ 1215019 w 6785952"/>
              <a:gd name="connsiteY11915" fmla="*/ 1093871 h 5217112"/>
              <a:gd name="connsiteX11916" fmla="*/ 1206779 w 6785952"/>
              <a:gd name="connsiteY11916" fmla="*/ 1096376 h 5217112"/>
              <a:gd name="connsiteX11917" fmla="*/ 1202658 w 6785952"/>
              <a:gd name="connsiteY11917" fmla="*/ 1093543 h 5217112"/>
              <a:gd name="connsiteX11918" fmla="*/ 1203482 w 6785952"/>
              <a:gd name="connsiteY11918" fmla="*/ 1088204 h 5217112"/>
              <a:gd name="connsiteX11919" fmla="*/ 1208152 w 6785952"/>
              <a:gd name="connsiteY11919" fmla="*/ 1084281 h 5217112"/>
              <a:gd name="connsiteX11920" fmla="*/ 2294295 w 6785952"/>
              <a:gd name="connsiteY11920" fmla="*/ 1083300 h 5217112"/>
              <a:gd name="connsiteX11921" fmla="*/ 2317644 w 6785952"/>
              <a:gd name="connsiteY11921" fmla="*/ 1084499 h 5217112"/>
              <a:gd name="connsiteX11922" fmla="*/ 2343740 w 6785952"/>
              <a:gd name="connsiteY11922" fmla="*/ 1136915 h 5217112"/>
              <a:gd name="connsiteX11923" fmla="*/ 2339345 w 6785952"/>
              <a:gd name="connsiteY11923" fmla="*/ 1144979 h 5217112"/>
              <a:gd name="connsiteX11924" fmla="*/ 2337148 w 6785952"/>
              <a:gd name="connsiteY11924" fmla="*/ 1159036 h 5217112"/>
              <a:gd name="connsiteX11925" fmla="*/ 2307481 w 6785952"/>
              <a:gd name="connsiteY11925" fmla="*/ 1159799 h 5217112"/>
              <a:gd name="connsiteX11926" fmla="*/ 2292373 w 6785952"/>
              <a:gd name="connsiteY11926" fmla="*/ 1156203 h 5217112"/>
              <a:gd name="connsiteX11927" fmla="*/ 2264079 w 6785952"/>
              <a:gd name="connsiteY11927" fmla="*/ 1107928 h 5217112"/>
              <a:gd name="connsiteX11928" fmla="*/ 2294295 w 6785952"/>
              <a:gd name="connsiteY11928" fmla="*/ 1083300 h 5217112"/>
              <a:gd name="connsiteX11929" fmla="*/ 6483117 w 6785952"/>
              <a:gd name="connsiteY11929" fmla="*/ 1082755 h 5217112"/>
              <a:gd name="connsiteX11930" fmla="*/ 6496578 w 6785952"/>
              <a:gd name="connsiteY11930" fmla="*/ 1100409 h 5217112"/>
              <a:gd name="connsiteX11931" fmla="*/ 6491633 w 6785952"/>
              <a:gd name="connsiteY11931" fmla="*/ 1100190 h 5217112"/>
              <a:gd name="connsiteX11932" fmla="*/ 6477623 w 6785952"/>
              <a:gd name="connsiteY11932" fmla="*/ 1091473 h 5217112"/>
              <a:gd name="connsiteX11933" fmla="*/ 6483117 w 6785952"/>
              <a:gd name="connsiteY11933" fmla="*/ 1082755 h 5217112"/>
              <a:gd name="connsiteX11934" fmla="*/ 1998174 w 6785952"/>
              <a:gd name="connsiteY11934" fmla="*/ 1081447 h 5217112"/>
              <a:gd name="connsiteX11935" fmla="*/ 1989659 w 6785952"/>
              <a:gd name="connsiteY11935" fmla="*/ 1096159 h 5217112"/>
              <a:gd name="connsiteX11936" fmla="*/ 1974275 w 6785952"/>
              <a:gd name="connsiteY11936" fmla="*/ 1102588 h 5217112"/>
              <a:gd name="connsiteX11937" fmla="*/ 1998174 w 6785952"/>
              <a:gd name="connsiteY11937" fmla="*/ 1081447 h 5217112"/>
              <a:gd name="connsiteX11938" fmla="*/ 2437136 w 6785952"/>
              <a:gd name="connsiteY11938" fmla="*/ 1080139 h 5217112"/>
              <a:gd name="connsiteX11939" fmla="*/ 2448124 w 6785952"/>
              <a:gd name="connsiteY11939" fmla="*/ 1097466 h 5217112"/>
              <a:gd name="connsiteX11940" fmla="*/ 2430269 w 6785952"/>
              <a:gd name="connsiteY11940" fmla="*/ 1089075 h 5217112"/>
              <a:gd name="connsiteX11941" fmla="*/ 2437136 w 6785952"/>
              <a:gd name="connsiteY11941" fmla="*/ 1080139 h 5217112"/>
              <a:gd name="connsiteX11942" fmla="*/ 2384395 w 6785952"/>
              <a:gd name="connsiteY11942" fmla="*/ 1079486 h 5217112"/>
              <a:gd name="connsiteX11943" fmla="*/ 2393734 w 6785952"/>
              <a:gd name="connsiteY11943" fmla="*/ 1107165 h 5217112"/>
              <a:gd name="connsiteX11944" fmla="*/ 2384670 w 6785952"/>
              <a:gd name="connsiteY11944" fmla="*/ 1130159 h 5217112"/>
              <a:gd name="connsiteX11945" fmla="*/ 2379176 w 6785952"/>
              <a:gd name="connsiteY11945" fmla="*/ 1135280 h 5217112"/>
              <a:gd name="connsiteX11946" fmla="*/ 2383571 w 6785952"/>
              <a:gd name="connsiteY11946" fmla="*/ 1138659 h 5217112"/>
              <a:gd name="connsiteX11947" fmla="*/ 2378077 w 6785952"/>
              <a:gd name="connsiteY11947" fmla="*/ 1149011 h 5217112"/>
              <a:gd name="connsiteX11948" fmla="*/ 2376429 w 6785952"/>
              <a:gd name="connsiteY11948" fmla="*/ 1149991 h 5217112"/>
              <a:gd name="connsiteX11949" fmla="*/ 2375879 w 6785952"/>
              <a:gd name="connsiteY11949" fmla="*/ 1154677 h 5217112"/>
              <a:gd name="connsiteX11950" fmla="*/ 2367364 w 6785952"/>
              <a:gd name="connsiteY11950" fmla="*/ 1165574 h 5217112"/>
              <a:gd name="connsiteX11951" fmla="*/ 2364342 w 6785952"/>
              <a:gd name="connsiteY11951" fmla="*/ 1160235 h 5217112"/>
              <a:gd name="connsiteX11952" fmla="*/ 2364617 w 6785952"/>
              <a:gd name="connsiteY11952" fmla="*/ 1155222 h 5217112"/>
              <a:gd name="connsiteX11953" fmla="*/ 2363793 w 6785952"/>
              <a:gd name="connsiteY11953" fmla="*/ 1155222 h 5217112"/>
              <a:gd name="connsiteX11954" fmla="*/ 2364068 w 6785952"/>
              <a:gd name="connsiteY11954" fmla="*/ 1161542 h 5217112"/>
              <a:gd name="connsiteX11955" fmla="*/ 2362694 w 6785952"/>
              <a:gd name="connsiteY11955" fmla="*/ 1159690 h 5217112"/>
              <a:gd name="connsiteX11956" fmla="*/ 2362694 w 6785952"/>
              <a:gd name="connsiteY11956" fmla="*/ 1156857 h 5217112"/>
              <a:gd name="connsiteX11957" fmla="*/ 2362969 w 6785952"/>
              <a:gd name="connsiteY11957" fmla="*/ 1155222 h 5217112"/>
              <a:gd name="connsiteX11958" fmla="*/ 2359947 w 6785952"/>
              <a:gd name="connsiteY11958" fmla="*/ 1155440 h 5217112"/>
              <a:gd name="connsiteX11959" fmla="*/ 2353904 w 6785952"/>
              <a:gd name="connsiteY11959" fmla="*/ 1141600 h 5217112"/>
              <a:gd name="connsiteX11960" fmla="*/ 2356102 w 6785952"/>
              <a:gd name="connsiteY11960" fmla="*/ 1137351 h 5217112"/>
              <a:gd name="connsiteX11961" fmla="*/ 2355002 w 6785952"/>
              <a:gd name="connsiteY11961" fmla="*/ 1135389 h 5217112"/>
              <a:gd name="connsiteX11962" fmla="*/ 2384395 w 6785952"/>
              <a:gd name="connsiteY11962" fmla="*/ 1079486 h 5217112"/>
              <a:gd name="connsiteX11963" fmla="*/ 1851487 w 6785952"/>
              <a:gd name="connsiteY11963" fmla="*/ 1077307 h 5217112"/>
              <a:gd name="connsiteX11964" fmla="*/ 1851487 w 6785952"/>
              <a:gd name="connsiteY11964" fmla="*/ 1078832 h 5217112"/>
              <a:gd name="connsiteX11965" fmla="*/ 1848740 w 6785952"/>
              <a:gd name="connsiteY11965" fmla="*/ 1081557 h 5217112"/>
              <a:gd name="connsiteX11966" fmla="*/ 1846817 w 6785952"/>
              <a:gd name="connsiteY11966" fmla="*/ 1085806 h 5217112"/>
              <a:gd name="connsiteX11967" fmla="*/ 1849564 w 6785952"/>
              <a:gd name="connsiteY11967" fmla="*/ 1083954 h 5217112"/>
              <a:gd name="connsiteX11968" fmla="*/ 1853960 w 6785952"/>
              <a:gd name="connsiteY11968" fmla="*/ 1089184 h 5217112"/>
              <a:gd name="connsiteX11969" fmla="*/ 1847092 w 6785952"/>
              <a:gd name="connsiteY11969" fmla="*/ 1097358 h 5217112"/>
              <a:gd name="connsiteX11970" fmla="*/ 1844894 w 6785952"/>
              <a:gd name="connsiteY11970" fmla="*/ 1092345 h 5217112"/>
              <a:gd name="connsiteX11971" fmla="*/ 1843521 w 6785952"/>
              <a:gd name="connsiteY11971" fmla="*/ 1093107 h 5217112"/>
              <a:gd name="connsiteX11972" fmla="*/ 1841873 w 6785952"/>
              <a:gd name="connsiteY11972" fmla="*/ 1088530 h 5217112"/>
              <a:gd name="connsiteX11973" fmla="*/ 1845994 w 6785952"/>
              <a:gd name="connsiteY11973" fmla="*/ 1085806 h 5217112"/>
              <a:gd name="connsiteX11974" fmla="*/ 1847092 w 6785952"/>
              <a:gd name="connsiteY11974" fmla="*/ 1080031 h 5217112"/>
              <a:gd name="connsiteX11975" fmla="*/ 1851487 w 6785952"/>
              <a:gd name="connsiteY11975" fmla="*/ 1077307 h 5217112"/>
              <a:gd name="connsiteX11976" fmla="*/ 2210514 w 6785952"/>
              <a:gd name="connsiteY11976" fmla="*/ 1076653 h 5217112"/>
              <a:gd name="connsiteX11977" fmla="*/ 2189362 w 6785952"/>
              <a:gd name="connsiteY11977" fmla="*/ 1109563 h 5217112"/>
              <a:gd name="connsiteX11978" fmla="*/ 2175627 w 6785952"/>
              <a:gd name="connsiteY11978" fmla="*/ 1101063 h 5217112"/>
              <a:gd name="connsiteX11979" fmla="*/ 2210514 w 6785952"/>
              <a:gd name="connsiteY11979" fmla="*/ 1076653 h 5217112"/>
              <a:gd name="connsiteX11980" fmla="*/ 6410598 w 6785952"/>
              <a:gd name="connsiteY11980" fmla="*/ 1075890 h 5217112"/>
              <a:gd name="connsiteX11981" fmla="*/ 6414993 w 6785952"/>
              <a:gd name="connsiteY11981" fmla="*/ 1087986 h 5217112"/>
              <a:gd name="connsiteX11982" fmla="*/ 6404280 w 6785952"/>
              <a:gd name="connsiteY11982" fmla="*/ 1092781 h 5217112"/>
              <a:gd name="connsiteX11983" fmla="*/ 6399610 w 6785952"/>
              <a:gd name="connsiteY11983" fmla="*/ 1089947 h 5217112"/>
              <a:gd name="connsiteX11984" fmla="*/ 6399610 w 6785952"/>
              <a:gd name="connsiteY11984" fmla="*/ 1087986 h 5217112"/>
              <a:gd name="connsiteX11985" fmla="*/ 6399610 w 6785952"/>
              <a:gd name="connsiteY11985" fmla="*/ 1079922 h 5217112"/>
              <a:gd name="connsiteX11986" fmla="*/ 6410598 w 6785952"/>
              <a:gd name="connsiteY11986" fmla="*/ 1075890 h 5217112"/>
              <a:gd name="connsiteX11987" fmla="*/ 2266826 w 6785952"/>
              <a:gd name="connsiteY11987" fmla="*/ 1074691 h 5217112"/>
              <a:gd name="connsiteX11988" fmla="*/ 2266551 w 6785952"/>
              <a:gd name="connsiteY11988" fmla="*/ 1083736 h 5217112"/>
              <a:gd name="connsiteX11989" fmla="*/ 2262430 w 6785952"/>
              <a:gd name="connsiteY11989" fmla="*/ 1081992 h 5217112"/>
              <a:gd name="connsiteX11990" fmla="*/ 2266826 w 6785952"/>
              <a:gd name="connsiteY11990" fmla="*/ 1074691 h 5217112"/>
              <a:gd name="connsiteX11991" fmla="*/ 6173261 w 6785952"/>
              <a:gd name="connsiteY11991" fmla="*/ 1074146 h 5217112"/>
              <a:gd name="connsiteX11992" fmla="*/ 6171888 w 6785952"/>
              <a:gd name="connsiteY11992" fmla="*/ 1078178 h 5217112"/>
              <a:gd name="connsiteX11993" fmla="*/ 6170515 w 6785952"/>
              <a:gd name="connsiteY11993" fmla="*/ 1078178 h 5217112"/>
              <a:gd name="connsiteX11994" fmla="*/ 6174910 w 6785952"/>
              <a:gd name="connsiteY11994" fmla="*/ 1083627 h 5217112"/>
              <a:gd name="connsiteX11995" fmla="*/ 6174910 w 6785952"/>
              <a:gd name="connsiteY11995" fmla="*/ 1087768 h 5217112"/>
              <a:gd name="connsiteX11996" fmla="*/ 6171888 w 6785952"/>
              <a:gd name="connsiteY11996" fmla="*/ 1087768 h 5217112"/>
              <a:gd name="connsiteX11997" fmla="*/ 6171888 w 6785952"/>
              <a:gd name="connsiteY11997" fmla="*/ 1097466 h 5217112"/>
              <a:gd name="connsiteX11998" fmla="*/ 6170515 w 6785952"/>
              <a:gd name="connsiteY11998" fmla="*/ 1097466 h 5217112"/>
              <a:gd name="connsiteX11999" fmla="*/ 6173261 w 6785952"/>
              <a:gd name="connsiteY11999" fmla="*/ 1102915 h 5217112"/>
              <a:gd name="connsiteX12000" fmla="*/ 6176283 w 6785952"/>
              <a:gd name="connsiteY12000" fmla="*/ 1104223 h 5217112"/>
              <a:gd name="connsiteX12001" fmla="*/ 6176283 w 6785952"/>
              <a:gd name="connsiteY12001" fmla="*/ 1102915 h 5217112"/>
              <a:gd name="connsiteX12002" fmla="*/ 6177657 w 6785952"/>
              <a:gd name="connsiteY12002" fmla="*/ 1100190 h 5217112"/>
              <a:gd name="connsiteX12003" fmla="*/ 6180404 w 6785952"/>
              <a:gd name="connsiteY12003" fmla="*/ 1102915 h 5217112"/>
              <a:gd name="connsiteX12004" fmla="*/ 6180404 w 6785952"/>
              <a:gd name="connsiteY12004" fmla="*/ 1105640 h 5217112"/>
              <a:gd name="connsiteX12005" fmla="*/ 6182052 w 6785952"/>
              <a:gd name="connsiteY12005" fmla="*/ 1105640 h 5217112"/>
              <a:gd name="connsiteX12006" fmla="*/ 6183425 w 6785952"/>
              <a:gd name="connsiteY12006" fmla="*/ 1111088 h 5217112"/>
              <a:gd name="connsiteX12007" fmla="*/ 6182052 w 6785952"/>
              <a:gd name="connsiteY12007" fmla="*/ 1111088 h 5217112"/>
              <a:gd name="connsiteX12008" fmla="*/ 6182601 w 6785952"/>
              <a:gd name="connsiteY12008" fmla="*/ 1112723 h 5217112"/>
              <a:gd name="connsiteX12009" fmla="*/ 6186996 w 6785952"/>
              <a:gd name="connsiteY12009" fmla="*/ 1116210 h 5217112"/>
              <a:gd name="connsiteX12010" fmla="*/ 6182876 w 6785952"/>
              <a:gd name="connsiteY12010" fmla="*/ 1127434 h 5217112"/>
              <a:gd name="connsiteX12011" fmla="*/ 6182601 w 6785952"/>
              <a:gd name="connsiteY12011" fmla="*/ 1127761 h 5217112"/>
              <a:gd name="connsiteX12012" fmla="*/ 6185623 w 6785952"/>
              <a:gd name="connsiteY12012" fmla="*/ 1135607 h 5217112"/>
              <a:gd name="connsiteX12013" fmla="*/ 6193314 w 6785952"/>
              <a:gd name="connsiteY12013" fmla="*/ 1161870 h 5217112"/>
              <a:gd name="connsiteX12014" fmla="*/ 6194687 w 6785952"/>
              <a:gd name="connsiteY12014" fmla="*/ 1161870 h 5217112"/>
              <a:gd name="connsiteX12015" fmla="*/ 6197710 w 6785952"/>
              <a:gd name="connsiteY12015" fmla="*/ 1160452 h 5217112"/>
              <a:gd name="connsiteX12016" fmla="*/ 6196336 w 6785952"/>
              <a:gd name="connsiteY12016" fmla="*/ 1152171 h 5217112"/>
              <a:gd name="connsiteX12017" fmla="*/ 6196336 w 6785952"/>
              <a:gd name="connsiteY12017" fmla="*/ 1146722 h 5217112"/>
              <a:gd name="connsiteX12018" fmla="*/ 6194687 w 6785952"/>
              <a:gd name="connsiteY12018" fmla="*/ 1145306 h 5217112"/>
              <a:gd name="connsiteX12019" fmla="*/ 6194687 w 6785952"/>
              <a:gd name="connsiteY12019" fmla="*/ 1143998 h 5217112"/>
              <a:gd name="connsiteX12020" fmla="*/ 6193314 w 6785952"/>
              <a:gd name="connsiteY12020" fmla="*/ 1141274 h 5217112"/>
              <a:gd name="connsiteX12021" fmla="*/ 6191941 w 6785952"/>
              <a:gd name="connsiteY12021" fmla="*/ 1139857 h 5217112"/>
              <a:gd name="connsiteX12022" fmla="*/ 6193314 w 6785952"/>
              <a:gd name="connsiteY12022" fmla="*/ 1138550 h 5217112"/>
              <a:gd name="connsiteX12023" fmla="*/ 6196336 w 6785952"/>
              <a:gd name="connsiteY12023" fmla="*/ 1142581 h 5217112"/>
              <a:gd name="connsiteX12024" fmla="*/ 6197710 w 6785952"/>
              <a:gd name="connsiteY12024" fmla="*/ 1142581 h 5217112"/>
              <a:gd name="connsiteX12025" fmla="*/ 6200731 w 6785952"/>
              <a:gd name="connsiteY12025" fmla="*/ 1143998 h 5217112"/>
              <a:gd name="connsiteX12026" fmla="*/ 6202105 w 6785952"/>
              <a:gd name="connsiteY12026" fmla="*/ 1145306 h 5217112"/>
              <a:gd name="connsiteX12027" fmla="*/ 6203478 w 6785952"/>
              <a:gd name="connsiteY12027" fmla="*/ 1149446 h 5217112"/>
              <a:gd name="connsiteX12028" fmla="*/ 6202105 w 6785952"/>
              <a:gd name="connsiteY12028" fmla="*/ 1150864 h 5217112"/>
              <a:gd name="connsiteX12029" fmla="*/ 6204851 w 6785952"/>
              <a:gd name="connsiteY12029" fmla="*/ 1160452 h 5217112"/>
              <a:gd name="connsiteX12030" fmla="*/ 6209247 w 6785952"/>
              <a:gd name="connsiteY12030" fmla="*/ 1178216 h 5217112"/>
              <a:gd name="connsiteX12031" fmla="*/ 6206224 w 6785952"/>
              <a:gd name="connsiteY12031" fmla="*/ 1179632 h 5217112"/>
              <a:gd name="connsiteX12032" fmla="*/ 6206224 w 6785952"/>
              <a:gd name="connsiteY12032" fmla="*/ 1178216 h 5217112"/>
              <a:gd name="connsiteX12033" fmla="*/ 6206224 w 6785952"/>
              <a:gd name="connsiteY12033" fmla="*/ 1176908 h 5217112"/>
              <a:gd name="connsiteX12034" fmla="*/ 6203478 w 6785952"/>
              <a:gd name="connsiteY12034" fmla="*/ 1161870 h 5217112"/>
              <a:gd name="connsiteX12035" fmla="*/ 6199083 w 6785952"/>
              <a:gd name="connsiteY12035" fmla="*/ 1149446 h 5217112"/>
              <a:gd name="connsiteX12036" fmla="*/ 6197710 w 6785952"/>
              <a:gd name="connsiteY12036" fmla="*/ 1148139 h 5217112"/>
              <a:gd name="connsiteX12037" fmla="*/ 6199083 w 6785952"/>
              <a:gd name="connsiteY12037" fmla="*/ 1152171 h 5217112"/>
              <a:gd name="connsiteX12038" fmla="*/ 6199083 w 6785952"/>
              <a:gd name="connsiteY12038" fmla="*/ 1163178 h 5217112"/>
              <a:gd name="connsiteX12039" fmla="*/ 6194687 w 6785952"/>
              <a:gd name="connsiteY12039" fmla="*/ 1164594 h 5217112"/>
              <a:gd name="connsiteX12040" fmla="*/ 6196336 w 6785952"/>
              <a:gd name="connsiteY12040" fmla="*/ 1170042 h 5217112"/>
              <a:gd name="connsiteX12041" fmla="*/ 6199083 w 6785952"/>
              <a:gd name="connsiteY12041" fmla="*/ 1183664 h 5217112"/>
              <a:gd name="connsiteX12042" fmla="*/ 6199083 w 6785952"/>
              <a:gd name="connsiteY12042" fmla="*/ 1185080 h 5217112"/>
              <a:gd name="connsiteX12043" fmla="*/ 6206224 w 6785952"/>
              <a:gd name="connsiteY12043" fmla="*/ 1185080 h 5217112"/>
              <a:gd name="connsiteX12044" fmla="*/ 6202105 w 6785952"/>
              <a:gd name="connsiteY12044" fmla="*/ 1198812 h 5217112"/>
              <a:gd name="connsiteX12045" fmla="*/ 6206224 w 6785952"/>
              <a:gd name="connsiteY12045" fmla="*/ 1209818 h 5217112"/>
              <a:gd name="connsiteX12046" fmla="*/ 6211993 w 6785952"/>
              <a:gd name="connsiteY12046" fmla="*/ 1235862 h 5217112"/>
              <a:gd name="connsiteX12047" fmla="*/ 6212268 w 6785952"/>
              <a:gd name="connsiteY12047" fmla="*/ 1236734 h 5217112"/>
              <a:gd name="connsiteX12048" fmla="*/ 6214741 w 6785952"/>
              <a:gd name="connsiteY12048" fmla="*/ 1232484 h 5217112"/>
              <a:gd name="connsiteX12049" fmla="*/ 6220234 w 6785952"/>
              <a:gd name="connsiteY12049" fmla="*/ 1229542 h 5217112"/>
              <a:gd name="connsiteX12050" fmla="*/ 6221333 w 6785952"/>
              <a:gd name="connsiteY12050" fmla="*/ 1229759 h 5217112"/>
              <a:gd name="connsiteX12051" fmla="*/ 6220509 w 6785952"/>
              <a:gd name="connsiteY12051" fmla="*/ 1227689 h 5217112"/>
              <a:gd name="connsiteX12052" fmla="*/ 6236441 w 6785952"/>
              <a:gd name="connsiteY12052" fmla="*/ 1230413 h 5217112"/>
              <a:gd name="connsiteX12053" fmla="*/ 6233694 w 6785952"/>
              <a:gd name="connsiteY12053" fmla="*/ 1211126 h 5217112"/>
              <a:gd name="connsiteX12054" fmla="*/ 6232046 w 6785952"/>
              <a:gd name="connsiteY12054" fmla="*/ 1196087 h 5217112"/>
              <a:gd name="connsiteX12055" fmla="*/ 6229299 w 6785952"/>
              <a:gd name="connsiteY12055" fmla="*/ 1194779 h 5217112"/>
              <a:gd name="connsiteX12056" fmla="*/ 6223531 w 6785952"/>
              <a:gd name="connsiteY12056" fmla="*/ 1200228 h 5217112"/>
              <a:gd name="connsiteX12057" fmla="*/ 6216388 w 6785952"/>
              <a:gd name="connsiteY12057" fmla="*/ 1187805 h 5217112"/>
              <a:gd name="connsiteX12058" fmla="*/ 6223531 w 6785952"/>
              <a:gd name="connsiteY12058" fmla="*/ 1171459 h 5217112"/>
              <a:gd name="connsiteX12059" fmla="*/ 6219136 w 6785952"/>
              <a:gd name="connsiteY12059" fmla="*/ 1161870 h 5217112"/>
              <a:gd name="connsiteX12060" fmla="*/ 6216388 w 6785952"/>
              <a:gd name="connsiteY12060" fmla="*/ 1160452 h 5217112"/>
              <a:gd name="connsiteX12061" fmla="*/ 6216388 w 6785952"/>
              <a:gd name="connsiteY12061" fmla="*/ 1159036 h 5217112"/>
              <a:gd name="connsiteX12062" fmla="*/ 6217762 w 6785952"/>
              <a:gd name="connsiteY12062" fmla="*/ 1157620 h 5217112"/>
              <a:gd name="connsiteX12063" fmla="*/ 6220509 w 6785952"/>
              <a:gd name="connsiteY12063" fmla="*/ 1159036 h 5217112"/>
              <a:gd name="connsiteX12064" fmla="*/ 6215015 w 6785952"/>
              <a:gd name="connsiteY12064" fmla="*/ 1137132 h 5217112"/>
              <a:gd name="connsiteX12065" fmla="*/ 6210620 w 6785952"/>
              <a:gd name="connsiteY12065" fmla="*/ 1125472 h 5217112"/>
              <a:gd name="connsiteX12066" fmla="*/ 6210620 w 6785952"/>
              <a:gd name="connsiteY12066" fmla="*/ 1120678 h 5217112"/>
              <a:gd name="connsiteX12067" fmla="*/ 6209247 w 6785952"/>
              <a:gd name="connsiteY12067" fmla="*/ 1119697 h 5217112"/>
              <a:gd name="connsiteX12068" fmla="*/ 6208972 w 6785952"/>
              <a:gd name="connsiteY12068" fmla="*/ 1119370 h 5217112"/>
              <a:gd name="connsiteX12069" fmla="*/ 6206224 w 6785952"/>
              <a:gd name="connsiteY12069" fmla="*/ 1127434 h 5217112"/>
              <a:gd name="connsiteX12070" fmla="*/ 6191941 w 6785952"/>
              <a:gd name="connsiteY12070" fmla="*/ 1119370 h 5217112"/>
              <a:gd name="connsiteX12071" fmla="*/ 6191941 w 6785952"/>
              <a:gd name="connsiteY12071" fmla="*/ 1119261 h 5217112"/>
              <a:gd name="connsiteX12072" fmla="*/ 6187821 w 6785952"/>
              <a:gd name="connsiteY12072" fmla="*/ 1116537 h 5217112"/>
              <a:gd name="connsiteX12073" fmla="*/ 6173261 w 6785952"/>
              <a:gd name="connsiteY12073" fmla="*/ 1074146 h 5217112"/>
              <a:gd name="connsiteX12074" fmla="*/ 2030863 w 6785952"/>
              <a:gd name="connsiteY12074" fmla="*/ 1072947 h 5217112"/>
              <a:gd name="connsiteX12075" fmla="*/ 2031687 w 6785952"/>
              <a:gd name="connsiteY12075" fmla="*/ 1078832 h 5217112"/>
              <a:gd name="connsiteX12076" fmla="*/ 2028940 w 6785952"/>
              <a:gd name="connsiteY12076" fmla="*/ 1078397 h 5217112"/>
              <a:gd name="connsiteX12077" fmla="*/ 2028940 w 6785952"/>
              <a:gd name="connsiteY12077" fmla="*/ 1078614 h 5217112"/>
              <a:gd name="connsiteX12078" fmla="*/ 2041576 w 6785952"/>
              <a:gd name="connsiteY12078" fmla="*/ 1083518 h 5217112"/>
              <a:gd name="connsiteX12079" fmla="*/ 2056409 w 6785952"/>
              <a:gd name="connsiteY12079" fmla="*/ 1098120 h 5217112"/>
              <a:gd name="connsiteX12080" fmla="*/ 2050641 w 6785952"/>
              <a:gd name="connsiteY12080" fmla="*/ 1099646 h 5217112"/>
              <a:gd name="connsiteX12081" fmla="*/ 2045147 w 6785952"/>
              <a:gd name="connsiteY12081" fmla="*/ 1099101 h 5217112"/>
              <a:gd name="connsiteX12082" fmla="*/ 2023720 w 6785952"/>
              <a:gd name="connsiteY12082" fmla="*/ 1076544 h 5217112"/>
              <a:gd name="connsiteX12083" fmla="*/ 2026468 w 6785952"/>
              <a:gd name="connsiteY12083" fmla="*/ 1077524 h 5217112"/>
              <a:gd name="connsiteX12084" fmla="*/ 2026468 w 6785952"/>
              <a:gd name="connsiteY12084" fmla="*/ 1076544 h 5217112"/>
              <a:gd name="connsiteX12085" fmla="*/ 2026193 w 6785952"/>
              <a:gd name="connsiteY12085" fmla="*/ 1076108 h 5217112"/>
              <a:gd name="connsiteX12086" fmla="*/ 2027841 w 6785952"/>
              <a:gd name="connsiteY12086" fmla="*/ 1073929 h 5217112"/>
              <a:gd name="connsiteX12087" fmla="*/ 2030863 w 6785952"/>
              <a:gd name="connsiteY12087" fmla="*/ 1072947 h 5217112"/>
              <a:gd name="connsiteX12088" fmla="*/ 2162716 w 6785952"/>
              <a:gd name="connsiteY12088" fmla="*/ 1072185 h 5217112"/>
              <a:gd name="connsiteX12089" fmla="*/ 2167386 w 6785952"/>
              <a:gd name="connsiteY12089" fmla="*/ 1076544 h 5217112"/>
              <a:gd name="connsiteX12090" fmla="*/ 2166837 w 6785952"/>
              <a:gd name="connsiteY12090" fmla="*/ 1081121 h 5217112"/>
              <a:gd name="connsiteX12091" fmla="*/ 2165188 w 6785952"/>
              <a:gd name="connsiteY12091" fmla="*/ 1081447 h 5217112"/>
              <a:gd name="connsiteX12092" fmla="*/ 2165463 w 6785952"/>
              <a:gd name="connsiteY12092" fmla="*/ 1080358 h 5217112"/>
              <a:gd name="connsiteX12093" fmla="*/ 2159420 w 6785952"/>
              <a:gd name="connsiteY12093" fmla="*/ 1078723 h 5217112"/>
              <a:gd name="connsiteX12094" fmla="*/ 2162716 w 6785952"/>
              <a:gd name="connsiteY12094" fmla="*/ 1072185 h 5217112"/>
              <a:gd name="connsiteX12095" fmla="*/ 6311708 w 6785952"/>
              <a:gd name="connsiteY12095" fmla="*/ 1071531 h 5217112"/>
              <a:gd name="connsiteX12096" fmla="*/ 6312257 w 6785952"/>
              <a:gd name="connsiteY12096" fmla="*/ 1080467 h 5217112"/>
              <a:gd name="connsiteX12097" fmla="*/ 6308137 w 6785952"/>
              <a:gd name="connsiteY12097" fmla="*/ 1078614 h 5217112"/>
              <a:gd name="connsiteX12098" fmla="*/ 6311708 w 6785952"/>
              <a:gd name="connsiteY12098" fmla="*/ 1071531 h 5217112"/>
              <a:gd name="connsiteX12099" fmla="*/ 6231771 w 6785952"/>
              <a:gd name="connsiteY12099" fmla="*/ 1069678 h 5217112"/>
              <a:gd name="connsiteX12100" fmla="*/ 6223806 w 6785952"/>
              <a:gd name="connsiteY12100" fmla="*/ 1075999 h 5217112"/>
              <a:gd name="connsiteX12101" fmla="*/ 6229299 w 6785952"/>
              <a:gd name="connsiteY12101" fmla="*/ 1091909 h 5217112"/>
              <a:gd name="connsiteX12102" fmla="*/ 6227925 w 6785952"/>
              <a:gd name="connsiteY12102" fmla="*/ 1091909 h 5217112"/>
              <a:gd name="connsiteX12103" fmla="*/ 6232046 w 6785952"/>
              <a:gd name="connsiteY12103" fmla="*/ 1100190 h 5217112"/>
              <a:gd name="connsiteX12104" fmla="*/ 6232046 w 6785952"/>
              <a:gd name="connsiteY12104" fmla="*/ 1101498 h 5217112"/>
              <a:gd name="connsiteX12105" fmla="*/ 6230673 w 6785952"/>
              <a:gd name="connsiteY12105" fmla="*/ 1100190 h 5217112"/>
              <a:gd name="connsiteX12106" fmla="*/ 6227925 w 6785952"/>
              <a:gd name="connsiteY12106" fmla="*/ 1093326 h 5217112"/>
              <a:gd name="connsiteX12107" fmla="*/ 6222157 w 6785952"/>
              <a:gd name="connsiteY12107" fmla="*/ 1089184 h 5217112"/>
              <a:gd name="connsiteX12108" fmla="*/ 6220509 w 6785952"/>
              <a:gd name="connsiteY12108" fmla="*/ 1090492 h 5217112"/>
              <a:gd name="connsiteX12109" fmla="*/ 6219136 w 6785952"/>
              <a:gd name="connsiteY12109" fmla="*/ 1087768 h 5217112"/>
              <a:gd name="connsiteX12110" fmla="*/ 6219136 w 6785952"/>
              <a:gd name="connsiteY12110" fmla="*/ 1087550 h 5217112"/>
              <a:gd name="connsiteX12111" fmla="*/ 6218587 w 6785952"/>
              <a:gd name="connsiteY12111" fmla="*/ 1090274 h 5217112"/>
              <a:gd name="connsiteX12112" fmla="*/ 6213642 w 6785952"/>
              <a:gd name="connsiteY12112" fmla="*/ 1105640 h 5217112"/>
              <a:gd name="connsiteX12113" fmla="*/ 6216114 w 6785952"/>
              <a:gd name="connsiteY12113" fmla="*/ 1105749 h 5217112"/>
              <a:gd name="connsiteX12114" fmla="*/ 6221058 w 6785952"/>
              <a:gd name="connsiteY12114" fmla="*/ 1108690 h 5217112"/>
              <a:gd name="connsiteX12115" fmla="*/ 6219960 w 6785952"/>
              <a:gd name="connsiteY12115" fmla="*/ 1117081 h 5217112"/>
              <a:gd name="connsiteX12116" fmla="*/ 6218587 w 6785952"/>
              <a:gd name="connsiteY12116" fmla="*/ 1119261 h 5217112"/>
              <a:gd name="connsiteX12117" fmla="*/ 6220234 w 6785952"/>
              <a:gd name="connsiteY12117" fmla="*/ 1124056 h 5217112"/>
              <a:gd name="connsiteX12118" fmla="*/ 6227925 w 6785952"/>
              <a:gd name="connsiteY12118" fmla="*/ 1131684 h 5217112"/>
              <a:gd name="connsiteX12119" fmla="*/ 6222157 w 6785952"/>
              <a:gd name="connsiteY12119" fmla="*/ 1119261 h 5217112"/>
              <a:gd name="connsiteX12120" fmla="*/ 6229574 w 6785952"/>
              <a:gd name="connsiteY12120" fmla="*/ 1118825 h 5217112"/>
              <a:gd name="connsiteX12121" fmla="*/ 6237266 w 6785952"/>
              <a:gd name="connsiteY12121" fmla="*/ 1127107 h 5217112"/>
              <a:gd name="connsiteX12122" fmla="*/ 6237815 w 6785952"/>
              <a:gd name="connsiteY12122" fmla="*/ 1128960 h 5217112"/>
              <a:gd name="connsiteX12123" fmla="*/ 6237815 w 6785952"/>
              <a:gd name="connsiteY12123" fmla="*/ 1127652 h 5217112"/>
              <a:gd name="connsiteX12124" fmla="*/ 6237266 w 6785952"/>
              <a:gd name="connsiteY12124" fmla="*/ 1127107 h 5217112"/>
              <a:gd name="connsiteX12125" fmla="*/ 6235068 w 6785952"/>
              <a:gd name="connsiteY12125" fmla="*/ 1117954 h 5217112"/>
              <a:gd name="connsiteX12126" fmla="*/ 6235068 w 6785952"/>
              <a:gd name="connsiteY12126" fmla="*/ 1116537 h 5217112"/>
              <a:gd name="connsiteX12127" fmla="*/ 6237815 w 6785952"/>
              <a:gd name="connsiteY12127" fmla="*/ 1117954 h 5217112"/>
              <a:gd name="connsiteX12128" fmla="*/ 6246056 w 6785952"/>
              <a:gd name="connsiteY12128" fmla="*/ 1141819 h 5217112"/>
              <a:gd name="connsiteX12129" fmla="*/ 6247429 w 6785952"/>
              <a:gd name="connsiteY12129" fmla="*/ 1149665 h 5217112"/>
              <a:gd name="connsiteX12130" fmla="*/ 6249901 w 6785952"/>
              <a:gd name="connsiteY12130" fmla="*/ 1149556 h 5217112"/>
              <a:gd name="connsiteX12131" fmla="*/ 6250176 w 6785952"/>
              <a:gd name="connsiteY12131" fmla="*/ 1146504 h 5217112"/>
              <a:gd name="connsiteX12132" fmla="*/ 6254571 w 6785952"/>
              <a:gd name="connsiteY12132" fmla="*/ 1146940 h 5217112"/>
              <a:gd name="connsiteX12133" fmla="*/ 6256219 w 6785952"/>
              <a:gd name="connsiteY12133" fmla="*/ 1146831 h 5217112"/>
              <a:gd name="connsiteX12134" fmla="*/ 6255944 w 6785952"/>
              <a:gd name="connsiteY12134" fmla="*/ 1146286 h 5217112"/>
              <a:gd name="connsiteX12135" fmla="*/ 6253473 w 6785952"/>
              <a:gd name="connsiteY12135" fmla="*/ 1143780 h 5217112"/>
              <a:gd name="connsiteX12136" fmla="*/ 6247704 w 6785952"/>
              <a:gd name="connsiteY12136" fmla="*/ 1131030 h 5217112"/>
              <a:gd name="connsiteX12137" fmla="*/ 6250725 w 6785952"/>
              <a:gd name="connsiteY12137" fmla="*/ 1121768 h 5217112"/>
              <a:gd name="connsiteX12138" fmla="*/ 6247978 w 6785952"/>
              <a:gd name="connsiteY12138" fmla="*/ 1111088 h 5217112"/>
              <a:gd name="connsiteX12139" fmla="*/ 6240837 w 6785952"/>
              <a:gd name="connsiteY12139" fmla="*/ 1090492 h 5217112"/>
              <a:gd name="connsiteX12140" fmla="*/ 6239188 w 6785952"/>
              <a:gd name="connsiteY12140" fmla="*/ 1089184 h 5217112"/>
              <a:gd name="connsiteX12141" fmla="*/ 6239188 w 6785952"/>
              <a:gd name="connsiteY12141" fmla="*/ 1087768 h 5217112"/>
              <a:gd name="connsiteX12142" fmla="*/ 6257915 w 6785952"/>
              <a:gd name="connsiteY12142" fmla="*/ 1068785 h 5217112"/>
              <a:gd name="connsiteX12143" fmla="*/ 6264735 w 6785952"/>
              <a:gd name="connsiteY12143" fmla="*/ 1070441 h 5217112"/>
              <a:gd name="connsiteX12144" fmla="*/ 6260889 w 6785952"/>
              <a:gd name="connsiteY12144" fmla="*/ 1078178 h 5217112"/>
              <a:gd name="connsiteX12145" fmla="*/ 6257915 w 6785952"/>
              <a:gd name="connsiteY12145" fmla="*/ 1068785 h 5217112"/>
              <a:gd name="connsiteX12146" fmla="*/ 2301266 w 6785952"/>
              <a:gd name="connsiteY12146" fmla="*/ 1065170 h 5217112"/>
              <a:gd name="connsiteX12147" fmla="*/ 2307481 w 6785952"/>
              <a:gd name="connsiteY12147" fmla="*/ 1066845 h 5217112"/>
              <a:gd name="connsiteX12148" fmla="*/ 2301987 w 6785952"/>
              <a:gd name="connsiteY12148" fmla="*/ 1074037 h 5217112"/>
              <a:gd name="connsiteX12149" fmla="*/ 2294020 w 6785952"/>
              <a:gd name="connsiteY12149" fmla="*/ 1070114 h 5217112"/>
              <a:gd name="connsiteX12150" fmla="*/ 2301266 w 6785952"/>
              <a:gd name="connsiteY12150" fmla="*/ 1065170 h 5217112"/>
              <a:gd name="connsiteX12151" fmla="*/ 2070659 w 6785952"/>
              <a:gd name="connsiteY12151" fmla="*/ 1064189 h 5217112"/>
              <a:gd name="connsiteX12152" fmla="*/ 2081407 w 6785952"/>
              <a:gd name="connsiteY12152" fmla="*/ 1066300 h 5217112"/>
              <a:gd name="connsiteX12153" fmla="*/ 2096515 w 6785952"/>
              <a:gd name="connsiteY12153" fmla="*/ 1092127 h 5217112"/>
              <a:gd name="connsiteX12154" fmla="*/ 2092669 w 6785952"/>
              <a:gd name="connsiteY12154" fmla="*/ 1099646 h 5217112"/>
              <a:gd name="connsiteX12155" fmla="*/ 2092944 w 6785952"/>
              <a:gd name="connsiteY12155" fmla="*/ 1100409 h 5217112"/>
              <a:gd name="connsiteX12156" fmla="*/ 2086077 w 6785952"/>
              <a:gd name="connsiteY12156" fmla="*/ 1106839 h 5217112"/>
              <a:gd name="connsiteX12157" fmla="*/ 2080583 w 6785952"/>
              <a:gd name="connsiteY12157" fmla="*/ 1101934 h 5217112"/>
              <a:gd name="connsiteX12158" fmla="*/ 2081407 w 6785952"/>
              <a:gd name="connsiteY12158" fmla="*/ 1098338 h 5217112"/>
              <a:gd name="connsiteX12159" fmla="*/ 2082505 w 6785952"/>
              <a:gd name="connsiteY12159" fmla="*/ 1097684 h 5217112"/>
              <a:gd name="connsiteX12160" fmla="*/ 2084978 w 6785952"/>
              <a:gd name="connsiteY12160" fmla="*/ 1096486 h 5217112"/>
              <a:gd name="connsiteX12161" fmla="*/ 2075364 w 6785952"/>
              <a:gd name="connsiteY12161" fmla="*/ 1090928 h 5217112"/>
              <a:gd name="connsiteX12162" fmla="*/ 2062178 w 6785952"/>
              <a:gd name="connsiteY12162" fmla="*/ 1071967 h 5217112"/>
              <a:gd name="connsiteX12163" fmla="*/ 2070659 w 6785952"/>
              <a:gd name="connsiteY12163" fmla="*/ 1064189 h 5217112"/>
              <a:gd name="connsiteX12164" fmla="*/ 961751 w 6785952"/>
              <a:gd name="connsiteY12164" fmla="*/ 1063903 h 5217112"/>
              <a:gd name="connsiteX12165" fmla="*/ 967245 w 6785952"/>
              <a:gd name="connsiteY12165" fmla="*/ 1074364 h 5217112"/>
              <a:gd name="connsiteX12166" fmla="*/ 946642 w 6785952"/>
              <a:gd name="connsiteY12166" fmla="*/ 1083954 h 5217112"/>
              <a:gd name="connsiteX12167" fmla="*/ 961751 w 6785952"/>
              <a:gd name="connsiteY12167" fmla="*/ 1063903 h 5217112"/>
              <a:gd name="connsiteX12168" fmla="*/ 2511888 w 6785952"/>
              <a:gd name="connsiteY12168" fmla="*/ 1063835 h 5217112"/>
              <a:gd name="connsiteX12169" fmla="*/ 2522292 w 6785952"/>
              <a:gd name="connsiteY12169" fmla="*/ 1072402 h 5217112"/>
              <a:gd name="connsiteX12170" fmla="*/ 2513777 w 6785952"/>
              <a:gd name="connsiteY12170" fmla="*/ 1073166 h 5217112"/>
              <a:gd name="connsiteX12171" fmla="*/ 2509931 w 6785952"/>
              <a:gd name="connsiteY12171" fmla="*/ 1076435 h 5217112"/>
              <a:gd name="connsiteX12172" fmla="*/ 2497570 w 6785952"/>
              <a:gd name="connsiteY12172" fmla="*/ 1081012 h 5217112"/>
              <a:gd name="connsiteX12173" fmla="*/ 2495097 w 6785952"/>
              <a:gd name="connsiteY12173" fmla="*/ 1079159 h 5217112"/>
              <a:gd name="connsiteX12174" fmla="*/ 2491801 w 6785952"/>
              <a:gd name="connsiteY12174" fmla="*/ 1080249 h 5217112"/>
              <a:gd name="connsiteX12175" fmla="*/ 2491526 w 6785952"/>
              <a:gd name="connsiteY12175" fmla="*/ 1081229 h 5217112"/>
              <a:gd name="connsiteX12176" fmla="*/ 2487131 w 6785952"/>
              <a:gd name="connsiteY12176" fmla="*/ 1083300 h 5217112"/>
              <a:gd name="connsiteX12177" fmla="*/ 2484659 w 6785952"/>
              <a:gd name="connsiteY12177" fmla="*/ 1082755 h 5217112"/>
              <a:gd name="connsiteX12178" fmla="*/ 2482736 w 6785952"/>
              <a:gd name="connsiteY12178" fmla="*/ 1083518 h 5217112"/>
              <a:gd name="connsiteX12179" fmla="*/ 2475593 w 6785952"/>
              <a:gd name="connsiteY12179" fmla="*/ 1083954 h 5217112"/>
              <a:gd name="connsiteX12180" fmla="*/ 2468177 w 6785952"/>
              <a:gd name="connsiteY12180" fmla="*/ 1082428 h 5217112"/>
              <a:gd name="connsiteX12181" fmla="*/ 2495097 w 6785952"/>
              <a:gd name="connsiteY12181" fmla="*/ 1064665 h 5217112"/>
              <a:gd name="connsiteX12182" fmla="*/ 2511888 w 6785952"/>
              <a:gd name="connsiteY12182" fmla="*/ 1063835 h 5217112"/>
              <a:gd name="connsiteX12183" fmla="*/ 6174910 w 6785952"/>
              <a:gd name="connsiteY12183" fmla="*/ 1063794 h 5217112"/>
              <a:gd name="connsiteX12184" fmla="*/ 6173536 w 6785952"/>
              <a:gd name="connsiteY12184" fmla="*/ 1064121 h 5217112"/>
              <a:gd name="connsiteX12185" fmla="*/ 6193314 w 6785952"/>
              <a:gd name="connsiteY12185" fmla="*/ 1115229 h 5217112"/>
              <a:gd name="connsiteX12186" fmla="*/ 6193314 w 6785952"/>
              <a:gd name="connsiteY12186" fmla="*/ 1115447 h 5217112"/>
              <a:gd name="connsiteX12187" fmla="*/ 6200731 w 6785952"/>
              <a:gd name="connsiteY12187" fmla="*/ 1097358 h 5217112"/>
              <a:gd name="connsiteX12188" fmla="*/ 6197710 w 6785952"/>
              <a:gd name="connsiteY12188" fmla="*/ 1090492 h 5217112"/>
              <a:gd name="connsiteX12189" fmla="*/ 6192216 w 6785952"/>
              <a:gd name="connsiteY12189" fmla="*/ 1080576 h 5217112"/>
              <a:gd name="connsiteX12190" fmla="*/ 6186996 w 6785952"/>
              <a:gd name="connsiteY12190" fmla="*/ 1077960 h 5217112"/>
              <a:gd name="connsiteX12191" fmla="*/ 6187821 w 6785952"/>
              <a:gd name="connsiteY12191" fmla="*/ 1081992 h 5217112"/>
              <a:gd name="connsiteX12192" fmla="*/ 6187271 w 6785952"/>
              <a:gd name="connsiteY12192" fmla="*/ 1080031 h 5217112"/>
              <a:gd name="connsiteX12193" fmla="*/ 6185623 w 6785952"/>
              <a:gd name="connsiteY12193" fmla="*/ 1082537 h 5217112"/>
              <a:gd name="connsiteX12194" fmla="*/ 6180404 w 6785952"/>
              <a:gd name="connsiteY12194" fmla="*/ 1072730 h 5217112"/>
              <a:gd name="connsiteX12195" fmla="*/ 6179030 w 6785952"/>
              <a:gd name="connsiteY12195" fmla="*/ 1072730 h 5217112"/>
              <a:gd name="connsiteX12196" fmla="*/ 1385880 w 6785952"/>
              <a:gd name="connsiteY12196" fmla="*/ 1063467 h 5217112"/>
              <a:gd name="connsiteX12197" fmla="*/ 1388626 w 6785952"/>
              <a:gd name="connsiteY12197" fmla="*/ 1071748 h 5217112"/>
              <a:gd name="connsiteX12198" fmla="*/ 1386429 w 6785952"/>
              <a:gd name="connsiteY12198" fmla="*/ 1080031 h 5217112"/>
              <a:gd name="connsiteX12199" fmla="*/ 1397691 w 6785952"/>
              <a:gd name="connsiteY12199" fmla="*/ 1076870 h 5217112"/>
              <a:gd name="connsiteX12200" fmla="*/ 1411426 w 6785952"/>
              <a:gd name="connsiteY12200" fmla="*/ 1079050 h 5217112"/>
              <a:gd name="connsiteX12201" fmla="*/ 1433127 w 6785952"/>
              <a:gd name="connsiteY12201" fmla="*/ 1118716 h 5217112"/>
              <a:gd name="connsiteX12202" fmla="*/ 1429830 w 6785952"/>
              <a:gd name="connsiteY12202" fmla="*/ 1121985 h 5217112"/>
              <a:gd name="connsiteX12203" fmla="*/ 1415546 w 6785952"/>
              <a:gd name="connsiteY12203" fmla="*/ 1124601 h 5217112"/>
              <a:gd name="connsiteX12204" fmla="*/ 1383132 w 6785952"/>
              <a:gd name="connsiteY12204" fmla="*/ 1100409 h 5217112"/>
              <a:gd name="connsiteX12205" fmla="*/ 1381210 w 6785952"/>
              <a:gd name="connsiteY12205" fmla="*/ 1091037 h 5217112"/>
              <a:gd name="connsiteX12206" fmla="*/ 1382308 w 6785952"/>
              <a:gd name="connsiteY12206" fmla="*/ 1081883 h 5217112"/>
              <a:gd name="connsiteX12207" fmla="*/ 1380111 w 6785952"/>
              <a:gd name="connsiteY12207" fmla="*/ 1081774 h 5217112"/>
              <a:gd name="connsiteX12208" fmla="*/ 1376265 w 6785952"/>
              <a:gd name="connsiteY12208" fmla="*/ 1068371 h 5217112"/>
              <a:gd name="connsiteX12209" fmla="*/ 1385880 w 6785952"/>
              <a:gd name="connsiteY12209" fmla="*/ 1063467 h 5217112"/>
              <a:gd name="connsiteX12210" fmla="*/ 2619306 w 6785952"/>
              <a:gd name="connsiteY12210" fmla="*/ 1061422 h 5217112"/>
              <a:gd name="connsiteX12211" fmla="*/ 2626126 w 6785952"/>
              <a:gd name="connsiteY12211" fmla="*/ 1063140 h 5217112"/>
              <a:gd name="connsiteX12212" fmla="*/ 2622280 w 6785952"/>
              <a:gd name="connsiteY12212" fmla="*/ 1070877 h 5217112"/>
              <a:gd name="connsiteX12213" fmla="*/ 2619306 w 6785952"/>
              <a:gd name="connsiteY12213" fmla="*/ 1061422 h 5217112"/>
              <a:gd name="connsiteX12214" fmla="*/ 1288638 w 6785952"/>
              <a:gd name="connsiteY12214" fmla="*/ 1060416 h 5217112"/>
              <a:gd name="connsiteX12215" fmla="*/ 1292758 w 6785952"/>
              <a:gd name="connsiteY12215" fmla="*/ 1074582 h 5217112"/>
              <a:gd name="connsiteX12216" fmla="*/ 1281221 w 6785952"/>
              <a:gd name="connsiteY12216" fmla="*/ 1077633 h 5217112"/>
              <a:gd name="connsiteX12217" fmla="*/ 1269408 w 6785952"/>
              <a:gd name="connsiteY12217" fmla="*/ 1075890 h 5217112"/>
              <a:gd name="connsiteX12218" fmla="*/ 1288638 w 6785952"/>
              <a:gd name="connsiteY12218" fmla="*/ 1060416 h 5217112"/>
              <a:gd name="connsiteX12219" fmla="*/ 1725951 w 6785952"/>
              <a:gd name="connsiteY12219" fmla="*/ 1059326 h 5217112"/>
              <a:gd name="connsiteX12220" fmla="*/ 1725951 w 6785952"/>
              <a:gd name="connsiteY12220" fmla="*/ 1060307 h 5217112"/>
              <a:gd name="connsiteX12221" fmla="*/ 1728699 w 6785952"/>
              <a:gd name="connsiteY12221" fmla="*/ 1060307 h 5217112"/>
              <a:gd name="connsiteX12222" fmla="*/ 1727326 w 6785952"/>
              <a:gd name="connsiteY12222" fmla="*/ 1059871 h 5217112"/>
              <a:gd name="connsiteX12223" fmla="*/ 1727051 w 6785952"/>
              <a:gd name="connsiteY12223" fmla="*/ 1059980 h 5217112"/>
              <a:gd name="connsiteX12224" fmla="*/ 1725951 w 6785952"/>
              <a:gd name="connsiteY12224" fmla="*/ 1059326 h 5217112"/>
              <a:gd name="connsiteX12225" fmla="*/ 2246567 w 6785952"/>
              <a:gd name="connsiteY12225" fmla="*/ 1057514 h 5217112"/>
              <a:gd name="connsiteX12226" fmla="*/ 2258310 w 6785952"/>
              <a:gd name="connsiteY12226" fmla="*/ 1058346 h 5217112"/>
              <a:gd name="connsiteX12227" fmla="*/ 2261606 w 6785952"/>
              <a:gd name="connsiteY12227" fmla="*/ 1065973 h 5217112"/>
              <a:gd name="connsiteX12228" fmla="*/ 2245125 w 6785952"/>
              <a:gd name="connsiteY12228" fmla="*/ 1073492 h 5217112"/>
              <a:gd name="connsiteX12229" fmla="*/ 2240180 w 6785952"/>
              <a:gd name="connsiteY12229" fmla="*/ 1070332 h 5217112"/>
              <a:gd name="connsiteX12230" fmla="*/ 2246567 w 6785952"/>
              <a:gd name="connsiteY12230" fmla="*/ 1057514 h 5217112"/>
              <a:gd name="connsiteX12231" fmla="*/ 1922359 w 6785952"/>
              <a:gd name="connsiteY12231" fmla="*/ 1054858 h 5217112"/>
              <a:gd name="connsiteX12232" fmla="*/ 1928402 w 6785952"/>
              <a:gd name="connsiteY12232" fmla="*/ 1060198 h 5217112"/>
              <a:gd name="connsiteX12233" fmla="*/ 1933072 w 6785952"/>
              <a:gd name="connsiteY12233" fmla="*/ 1062813 h 5217112"/>
              <a:gd name="connsiteX12234" fmla="*/ 1933346 w 6785952"/>
              <a:gd name="connsiteY12234" fmla="*/ 1066191 h 5217112"/>
              <a:gd name="connsiteX12235" fmla="*/ 1933621 w 6785952"/>
              <a:gd name="connsiteY12235" fmla="*/ 1063903 h 5217112"/>
              <a:gd name="connsiteX12236" fmla="*/ 1935544 w 6785952"/>
              <a:gd name="connsiteY12236" fmla="*/ 1061506 h 5217112"/>
              <a:gd name="connsiteX12237" fmla="*/ 1938840 w 6785952"/>
              <a:gd name="connsiteY12237" fmla="*/ 1061723 h 5217112"/>
              <a:gd name="connsiteX12238" fmla="*/ 1943510 w 6785952"/>
              <a:gd name="connsiteY12238" fmla="*/ 1064665 h 5217112"/>
              <a:gd name="connsiteX12239" fmla="*/ 1944060 w 6785952"/>
              <a:gd name="connsiteY12239" fmla="*/ 1068698 h 5217112"/>
              <a:gd name="connsiteX12240" fmla="*/ 1942685 w 6785952"/>
              <a:gd name="connsiteY12240" fmla="*/ 1069787 h 5217112"/>
              <a:gd name="connsiteX12241" fmla="*/ 1944060 w 6785952"/>
              <a:gd name="connsiteY12241" fmla="*/ 1071204 h 5217112"/>
              <a:gd name="connsiteX12242" fmla="*/ 1946257 w 6785952"/>
              <a:gd name="connsiteY12242" fmla="*/ 1077524 h 5217112"/>
              <a:gd name="connsiteX12243" fmla="*/ 1941587 w 6785952"/>
              <a:gd name="connsiteY12243" fmla="*/ 1071748 h 5217112"/>
              <a:gd name="connsiteX12244" fmla="*/ 1943235 w 6785952"/>
              <a:gd name="connsiteY12244" fmla="*/ 1079050 h 5217112"/>
              <a:gd name="connsiteX12245" fmla="*/ 1940763 w 6785952"/>
              <a:gd name="connsiteY12245" fmla="*/ 1087550 h 5217112"/>
              <a:gd name="connsiteX12246" fmla="*/ 1933896 w 6785952"/>
              <a:gd name="connsiteY12246" fmla="*/ 1086460 h 5217112"/>
              <a:gd name="connsiteX12247" fmla="*/ 1934720 w 6785952"/>
              <a:gd name="connsiteY12247" fmla="*/ 1087005 h 5217112"/>
              <a:gd name="connsiteX12248" fmla="*/ 1909447 w 6785952"/>
              <a:gd name="connsiteY12248" fmla="*/ 1102371 h 5217112"/>
              <a:gd name="connsiteX12249" fmla="*/ 1905602 w 6785952"/>
              <a:gd name="connsiteY12249" fmla="*/ 1101826 h 5217112"/>
              <a:gd name="connsiteX12250" fmla="*/ 1904777 w 6785952"/>
              <a:gd name="connsiteY12250" fmla="*/ 1103460 h 5217112"/>
              <a:gd name="connsiteX12251" fmla="*/ 1902306 w 6785952"/>
              <a:gd name="connsiteY12251" fmla="*/ 1106185 h 5217112"/>
              <a:gd name="connsiteX12252" fmla="*/ 1899558 w 6785952"/>
              <a:gd name="connsiteY12252" fmla="*/ 1109018 h 5217112"/>
              <a:gd name="connsiteX12253" fmla="*/ 1898460 w 6785952"/>
              <a:gd name="connsiteY12253" fmla="*/ 1111851 h 5217112"/>
              <a:gd name="connsiteX12254" fmla="*/ 1892966 w 6785952"/>
              <a:gd name="connsiteY12254" fmla="*/ 1114466 h 5217112"/>
              <a:gd name="connsiteX12255" fmla="*/ 1894339 w 6785952"/>
              <a:gd name="connsiteY12255" fmla="*/ 1111633 h 5217112"/>
              <a:gd name="connsiteX12256" fmla="*/ 1896812 w 6785952"/>
              <a:gd name="connsiteY12256" fmla="*/ 1108909 h 5217112"/>
              <a:gd name="connsiteX12257" fmla="*/ 1896812 w 6785952"/>
              <a:gd name="connsiteY12257" fmla="*/ 1105966 h 5217112"/>
              <a:gd name="connsiteX12258" fmla="*/ 1900108 w 6785952"/>
              <a:gd name="connsiteY12258" fmla="*/ 1101172 h 5217112"/>
              <a:gd name="connsiteX12259" fmla="*/ 1899009 w 6785952"/>
              <a:gd name="connsiteY12259" fmla="*/ 1101063 h 5217112"/>
              <a:gd name="connsiteX12260" fmla="*/ 1882802 w 6785952"/>
              <a:gd name="connsiteY12260" fmla="*/ 1094742 h 5217112"/>
              <a:gd name="connsiteX12261" fmla="*/ 1881978 w 6785952"/>
              <a:gd name="connsiteY12261" fmla="*/ 1090057 h 5217112"/>
              <a:gd name="connsiteX12262" fmla="*/ 1890494 w 6785952"/>
              <a:gd name="connsiteY12262" fmla="*/ 1077198 h 5217112"/>
              <a:gd name="connsiteX12263" fmla="*/ 1896812 w 6785952"/>
              <a:gd name="connsiteY12263" fmla="*/ 1074800 h 5217112"/>
              <a:gd name="connsiteX12264" fmla="*/ 1894339 w 6785952"/>
              <a:gd name="connsiteY12264" fmla="*/ 1074255 h 5217112"/>
              <a:gd name="connsiteX12265" fmla="*/ 1890494 w 6785952"/>
              <a:gd name="connsiteY12265" fmla="*/ 1072076 h 5217112"/>
              <a:gd name="connsiteX12266" fmla="*/ 1894339 w 6785952"/>
              <a:gd name="connsiteY12266" fmla="*/ 1073384 h 5217112"/>
              <a:gd name="connsiteX12267" fmla="*/ 1897086 w 6785952"/>
              <a:gd name="connsiteY12267" fmla="*/ 1072076 h 5217112"/>
              <a:gd name="connsiteX12268" fmla="*/ 1899009 w 6785952"/>
              <a:gd name="connsiteY12268" fmla="*/ 1073056 h 5217112"/>
              <a:gd name="connsiteX12269" fmla="*/ 1899284 w 6785952"/>
              <a:gd name="connsiteY12269" fmla="*/ 1073929 h 5217112"/>
              <a:gd name="connsiteX12270" fmla="*/ 1908074 w 6785952"/>
              <a:gd name="connsiteY12270" fmla="*/ 1073820 h 5217112"/>
              <a:gd name="connsiteX12271" fmla="*/ 1916865 w 6785952"/>
              <a:gd name="connsiteY12271" fmla="*/ 1076108 h 5217112"/>
              <a:gd name="connsiteX12272" fmla="*/ 1920435 w 6785952"/>
              <a:gd name="connsiteY12272" fmla="*/ 1077089 h 5217112"/>
              <a:gd name="connsiteX12273" fmla="*/ 1929500 w 6785952"/>
              <a:gd name="connsiteY12273" fmla="*/ 1082537 h 5217112"/>
              <a:gd name="connsiteX12274" fmla="*/ 1929226 w 6785952"/>
              <a:gd name="connsiteY12274" fmla="*/ 1081992 h 5217112"/>
              <a:gd name="connsiteX12275" fmla="*/ 1932522 w 6785952"/>
              <a:gd name="connsiteY12275" fmla="*/ 1071858 h 5217112"/>
              <a:gd name="connsiteX12276" fmla="*/ 1935544 w 6785952"/>
              <a:gd name="connsiteY12276" fmla="*/ 1071204 h 5217112"/>
              <a:gd name="connsiteX12277" fmla="*/ 1933346 w 6785952"/>
              <a:gd name="connsiteY12277" fmla="*/ 1067281 h 5217112"/>
              <a:gd name="connsiteX12278" fmla="*/ 1933346 w 6785952"/>
              <a:gd name="connsiteY12278" fmla="*/ 1067172 h 5217112"/>
              <a:gd name="connsiteX12279" fmla="*/ 1921259 w 6785952"/>
              <a:gd name="connsiteY12279" fmla="*/ 1066191 h 5217112"/>
              <a:gd name="connsiteX12280" fmla="*/ 1918513 w 6785952"/>
              <a:gd name="connsiteY12280" fmla="*/ 1064121 h 5217112"/>
              <a:gd name="connsiteX12281" fmla="*/ 1915491 w 6785952"/>
              <a:gd name="connsiteY12281" fmla="*/ 1064448 h 5217112"/>
              <a:gd name="connsiteX12282" fmla="*/ 1916590 w 6785952"/>
              <a:gd name="connsiteY12282" fmla="*/ 1062595 h 5217112"/>
              <a:gd name="connsiteX12283" fmla="*/ 1916040 w 6785952"/>
              <a:gd name="connsiteY12283" fmla="*/ 1062377 h 5217112"/>
              <a:gd name="connsiteX12284" fmla="*/ 1916590 w 6785952"/>
              <a:gd name="connsiteY12284" fmla="*/ 1061941 h 5217112"/>
              <a:gd name="connsiteX12285" fmla="*/ 1916040 w 6785952"/>
              <a:gd name="connsiteY12285" fmla="*/ 1061178 h 5217112"/>
              <a:gd name="connsiteX12286" fmla="*/ 1915765 w 6785952"/>
              <a:gd name="connsiteY12286" fmla="*/ 1057582 h 5217112"/>
              <a:gd name="connsiteX12287" fmla="*/ 1922359 w 6785952"/>
              <a:gd name="connsiteY12287" fmla="*/ 1054858 h 5217112"/>
              <a:gd name="connsiteX12288" fmla="*/ 2155300 w 6785952"/>
              <a:gd name="connsiteY12288" fmla="*/ 1054313 h 5217112"/>
              <a:gd name="connsiteX12289" fmla="*/ 2159969 w 6785952"/>
              <a:gd name="connsiteY12289" fmla="*/ 1057255 h 5217112"/>
              <a:gd name="connsiteX12290" fmla="*/ 2153102 w 6785952"/>
              <a:gd name="connsiteY12290" fmla="*/ 1069352 h 5217112"/>
              <a:gd name="connsiteX12291" fmla="*/ 2147883 w 6785952"/>
              <a:gd name="connsiteY12291" fmla="*/ 1068479 h 5217112"/>
              <a:gd name="connsiteX12292" fmla="*/ 2155300 w 6785952"/>
              <a:gd name="connsiteY12292" fmla="*/ 1054313 h 5217112"/>
              <a:gd name="connsiteX12293" fmla="*/ 2421754 w 6785952"/>
              <a:gd name="connsiteY12293" fmla="*/ 1053115 h 5217112"/>
              <a:gd name="connsiteX12294" fmla="*/ 2418457 w 6785952"/>
              <a:gd name="connsiteY12294" fmla="*/ 1061723 h 5217112"/>
              <a:gd name="connsiteX12295" fmla="*/ 2411316 w 6785952"/>
              <a:gd name="connsiteY12295" fmla="*/ 1056384 h 5217112"/>
              <a:gd name="connsiteX12296" fmla="*/ 2421754 w 6785952"/>
              <a:gd name="connsiteY12296" fmla="*/ 1053115 h 5217112"/>
              <a:gd name="connsiteX12297" fmla="*/ 2132191 w 6785952"/>
              <a:gd name="connsiteY12297" fmla="*/ 1052720 h 5217112"/>
              <a:gd name="connsiteX12298" fmla="*/ 2139368 w 6785952"/>
              <a:gd name="connsiteY12298" fmla="*/ 1057255 h 5217112"/>
              <a:gd name="connsiteX12299" fmla="*/ 2135247 w 6785952"/>
              <a:gd name="connsiteY12299" fmla="*/ 1069461 h 5217112"/>
              <a:gd name="connsiteX12300" fmla="*/ 2130577 w 6785952"/>
              <a:gd name="connsiteY12300" fmla="*/ 1072512 h 5217112"/>
              <a:gd name="connsiteX12301" fmla="*/ 2129753 w 6785952"/>
              <a:gd name="connsiteY12301" fmla="*/ 1076544 h 5217112"/>
              <a:gd name="connsiteX12302" fmla="*/ 2127280 w 6785952"/>
              <a:gd name="connsiteY12302" fmla="*/ 1081338 h 5217112"/>
              <a:gd name="connsiteX12303" fmla="*/ 2123161 w 6785952"/>
              <a:gd name="connsiteY12303" fmla="*/ 1082101 h 5217112"/>
              <a:gd name="connsiteX12304" fmla="*/ 2119864 w 6785952"/>
              <a:gd name="connsiteY12304" fmla="*/ 1082537 h 5217112"/>
              <a:gd name="connsiteX12305" fmla="*/ 2114645 w 6785952"/>
              <a:gd name="connsiteY12305" fmla="*/ 1079268 h 5217112"/>
              <a:gd name="connsiteX12306" fmla="*/ 2114645 w 6785952"/>
              <a:gd name="connsiteY12306" fmla="*/ 1080684 h 5217112"/>
              <a:gd name="connsiteX12307" fmla="*/ 2113821 w 6785952"/>
              <a:gd name="connsiteY12307" fmla="*/ 1071748 h 5217112"/>
              <a:gd name="connsiteX12308" fmla="*/ 2119589 w 6785952"/>
              <a:gd name="connsiteY12308" fmla="*/ 1066736 h 5217112"/>
              <a:gd name="connsiteX12309" fmla="*/ 2120962 w 6785952"/>
              <a:gd name="connsiteY12309" fmla="*/ 1059653 h 5217112"/>
              <a:gd name="connsiteX12310" fmla="*/ 2125632 w 6785952"/>
              <a:gd name="connsiteY12310" fmla="*/ 1053986 h 5217112"/>
              <a:gd name="connsiteX12311" fmla="*/ 2132191 w 6785952"/>
              <a:gd name="connsiteY12311" fmla="*/ 1052720 h 5217112"/>
              <a:gd name="connsiteX12312" fmla="*/ 1089621 w 6785952"/>
              <a:gd name="connsiteY12312" fmla="*/ 1049750 h 5217112"/>
              <a:gd name="connsiteX12313" fmla="*/ 1104042 w 6785952"/>
              <a:gd name="connsiteY12313" fmla="*/ 1057255 h 5217112"/>
              <a:gd name="connsiteX12314" fmla="*/ 1106789 w 6785952"/>
              <a:gd name="connsiteY12314" fmla="*/ 1060742 h 5217112"/>
              <a:gd name="connsiteX12315" fmla="*/ 1107339 w 6785952"/>
              <a:gd name="connsiteY12315" fmla="*/ 1061178 h 5217112"/>
              <a:gd name="connsiteX12316" fmla="*/ 1107889 w 6785952"/>
              <a:gd name="connsiteY12316" fmla="*/ 1058999 h 5217112"/>
              <a:gd name="connsiteX12317" fmla="*/ 1110360 w 6785952"/>
              <a:gd name="connsiteY12317" fmla="*/ 1058563 h 5217112"/>
              <a:gd name="connsiteX12318" fmla="*/ 1114207 w 6785952"/>
              <a:gd name="connsiteY12318" fmla="*/ 1059762 h 5217112"/>
              <a:gd name="connsiteX12319" fmla="*/ 1117228 w 6785952"/>
              <a:gd name="connsiteY12319" fmla="*/ 1059435 h 5217112"/>
              <a:gd name="connsiteX12320" fmla="*/ 1119425 w 6785952"/>
              <a:gd name="connsiteY12320" fmla="*/ 1063358 h 5217112"/>
              <a:gd name="connsiteX12321" fmla="*/ 1116129 w 6785952"/>
              <a:gd name="connsiteY12321" fmla="*/ 1063576 h 5217112"/>
              <a:gd name="connsiteX12322" fmla="*/ 1111459 w 6785952"/>
              <a:gd name="connsiteY12322" fmla="*/ 1062486 h 5217112"/>
              <a:gd name="connsiteX12323" fmla="*/ 1109262 w 6785952"/>
              <a:gd name="connsiteY12323" fmla="*/ 1062377 h 5217112"/>
              <a:gd name="connsiteX12324" fmla="*/ 1112283 w 6785952"/>
              <a:gd name="connsiteY12324" fmla="*/ 1064556 h 5217112"/>
              <a:gd name="connsiteX12325" fmla="*/ 1110085 w 6785952"/>
              <a:gd name="connsiteY12325" fmla="*/ 1068262 h 5217112"/>
              <a:gd name="connsiteX12326" fmla="*/ 1109262 w 6785952"/>
              <a:gd name="connsiteY12326" fmla="*/ 1071640 h 5217112"/>
              <a:gd name="connsiteX12327" fmla="*/ 1112008 w 6785952"/>
              <a:gd name="connsiteY12327" fmla="*/ 1074037 h 5217112"/>
              <a:gd name="connsiteX12328" fmla="*/ 1108163 w 6785952"/>
              <a:gd name="connsiteY12328" fmla="*/ 1076435 h 5217112"/>
              <a:gd name="connsiteX12329" fmla="*/ 1107614 w 6785952"/>
              <a:gd name="connsiteY12329" fmla="*/ 1076325 h 5217112"/>
              <a:gd name="connsiteX12330" fmla="*/ 1104042 w 6785952"/>
              <a:gd name="connsiteY12330" fmla="*/ 1081012 h 5217112"/>
              <a:gd name="connsiteX12331" fmla="*/ 1090307 w 6785952"/>
              <a:gd name="connsiteY12331" fmla="*/ 1087114 h 5217112"/>
              <a:gd name="connsiteX12332" fmla="*/ 1079869 w 6785952"/>
              <a:gd name="connsiteY12332" fmla="*/ 1081447 h 5217112"/>
              <a:gd name="connsiteX12333" fmla="*/ 1074375 w 6785952"/>
              <a:gd name="connsiteY12333" fmla="*/ 1064775 h 5217112"/>
              <a:gd name="connsiteX12334" fmla="*/ 1078496 w 6785952"/>
              <a:gd name="connsiteY12334" fmla="*/ 1056057 h 5217112"/>
              <a:gd name="connsiteX12335" fmla="*/ 1089621 w 6785952"/>
              <a:gd name="connsiteY12335" fmla="*/ 1049750 h 5217112"/>
              <a:gd name="connsiteX12336" fmla="*/ 6183425 w 6785952"/>
              <a:gd name="connsiteY12336" fmla="*/ 1049301 h 5217112"/>
              <a:gd name="connsiteX12337" fmla="*/ 6180953 w 6785952"/>
              <a:gd name="connsiteY12337" fmla="*/ 1051697 h 5217112"/>
              <a:gd name="connsiteX12338" fmla="*/ 6181228 w 6785952"/>
              <a:gd name="connsiteY12338" fmla="*/ 1056493 h 5217112"/>
              <a:gd name="connsiteX12339" fmla="*/ 6178755 w 6785952"/>
              <a:gd name="connsiteY12339" fmla="*/ 1060525 h 5217112"/>
              <a:gd name="connsiteX12340" fmla="*/ 6180404 w 6785952"/>
              <a:gd name="connsiteY12340" fmla="*/ 1064448 h 5217112"/>
              <a:gd name="connsiteX12341" fmla="*/ 6186172 w 6785952"/>
              <a:gd name="connsiteY12341" fmla="*/ 1074037 h 5217112"/>
              <a:gd name="connsiteX12342" fmla="*/ 6188919 w 6785952"/>
              <a:gd name="connsiteY12342" fmla="*/ 1069133 h 5217112"/>
              <a:gd name="connsiteX12343" fmla="*/ 6191667 w 6785952"/>
              <a:gd name="connsiteY12343" fmla="*/ 1067063 h 5217112"/>
              <a:gd name="connsiteX12344" fmla="*/ 6189743 w 6785952"/>
              <a:gd name="connsiteY12344" fmla="*/ 1064884 h 5217112"/>
              <a:gd name="connsiteX12345" fmla="*/ 6185073 w 6785952"/>
              <a:gd name="connsiteY12345" fmla="*/ 1056275 h 5217112"/>
              <a:gd name="connsiteX12346" fmla="*/ 2201448 w 6785952"/>
              <a:gd name="connsiteY12346" fmla="*/ 1047666 h 5217112"/>
              <a:gd name="connsiteX12347" fmla="*/ 2212161 w 6785952"/>
              <a:gd name="connsiteY12347" fmla="*/ 1050826 h 5217112"/>
              <a:gd name="connsiteX12348" fmla="*/ 2204470 w 6785952"/>
              <a:gd name="connsiteY12348" fmla="*/ 1056819 h 5217112"/>
              <a:gd name="connsiteX12349" fmla="*/ 2193757 w 6785952"/>
              <a:gd name="connsiteY12349" fmla="*/ 1054749 h 5217112"/>
              <a:gd name="connsiteX12350" fmla="*/ 2201448 w 6785952"/>
              <a:gd name="connsiteY12350" fmla="*/ 1047666 h 5217112"/>
              <a:gd name="connsiteX12351" fmla="*/ 1689143 w 6785952"/>
              <a:gd name="connsiteY12351" fmla="*/ 1046576 h 5217112"/>
              <a:gd name="connsiteX12352" fmla="*/ 1692438 w 6785952"/>
              <a:gd name="connsiteY12352" fmla="*/ 1046576 h 5217112"/>
              <a:gd name="connsiteX12353" fmla="*/ 1700130 w 6785952"/>
              <a:gd name="connsiteY12353" fmla="*/ 1053986 h 5217112"/>
              <a:gd name="connsiteX12354" fmla="*/ 1696834 w 6785952"/>
              <a:gd name="connsiteY12354" fmla="*/ 1057473 h 5217112"/>
              <a:gd name="connsiteX12355" fmla="*/ 1694912 w 6785952"/>
              <a:gd name="connsiteY12355" fmla="*/ 1057364 h 5217112"/>
              <a:gd name="connsiteX12356" fmla="*/ 1691340 w 6785952"/>
              <a:gd name="connsiteY12356" fmla="*/ 1064993 h 5217112"/>
              <a:gd name="connsiteX12357" fmla="*/ 1672936 w 6785952"/>
              <a:gd name="connsiteY12357" fmla="*/ 1072293 h 5217112"/>
              <a:gd name="connsiteX12358" fmla="*/ 1687220 w 6785952"/>
              <a:gd name="connsiteY12358" fmla="*/ 1056493 h 5217112"/>
              <a:gd name="connsiteX12359" fmla="*/ 1692164 w 6785952"/>
              <a:gd name="connsiteY12359" fmla="*/ 1056602 h 5217112"/>
              <a:gd name="connsiteX12360" fmla="*/ 1688594 w 6785952"/>
              <a:gd name="connsiteY12360" fmla="*/ 1054640 h 5217112"/>
              <a:gd name="connsiteX12361" fmla="*/ 1686670 w 6785952"/>
              <a:gd name="connsiteY12361" fmla="*/ 1047884 h 5217112"/>
              <a:gd name="connsiteX12362" fmla="*/ 1687220 w 6785952"/>
              <a:gd name="connsiteY12362" fmla="*/ 1049301 h 5217112"/>
              <a:gd name="connsiteX12363" fmla="*/ 1689692 w 6785952"/>
              <a:gd name="connsiteY12363" fmla="*/ 1047884 h 5217112"/>
              <a:gd name="connsiteX12364" fmla="*/ 1689143 w 6785952"/>
              <a:gd name="connsiteY12364" fmla="*/ 1046576 h 5217112"/>
              <a:gd name="connsiteX12365" fmla="*/ 2347037 w 6785952"/>
              <a:gd name="connsiteY12365" fmla="*/ 1045595 h 5217112"/>
              <a:gd name="connsiteX12366" fmla="*/ 2366539 w 6785952"/>
              <a:gd name="connsiteY12366" fmla="*/ 1080031 h 5217112"/>
              <a:gd name="connsiteX12367" fmla="*/ 2354453 w 6785952"/>
              <a:gd name="connsiteY12367" fmla="*/ 1081666 h 5217112"/>
              <a:gd name="connsiteX12368" fmla="*/ 2348135 w 6785952"/>
              <a:gd name="connsiteY12368" fmla="*/ 1082428 h 5217112"/>
              <a:gd name="connsiteX12369" fmla="*/ 2344289 w 6785952"/>
              <a:gd name="connsiteY12369" fmla="*/ 1081666 h 5217112"/>
              <a:gd name="connsiteX12370" fmla="*/ 2342641 w 6785952"/>
              <a:gd name="connsiteY12370" fmla="*/ 1083518 h 5217112"/>
              <a:gd name="connsiteX12371" fmla="*/ 2326434 w 6785952"/>
              <a:gd name="connsiteY12371" fmla="*/ 1072621 h 5217112"/>
              <a:gd name="connsiteX12372" fmla="*/ 2325061 w 6785952"/>
              <a:gd name="connsiteY12372" fmla="*/ 1068589 h 5217112"/>
              <a:gd name="connsiteX12373" fmla="*/ 2323138 w 6785952"/>
              <a:gd name="connsiteY12373" fmla="*/ 1065864 h 5217112"/>
              <a:gd name="connsiteX12374" fmla="*/ 2322863 w 6785952"/>
              <a:gd name="connsiteY12374" fmla="*/ 1055839 h 5217112"/>
              <a:gd name="connsiteX12375" fmla="*/ 2331104 w 6785952"/>
              <a:gd name="connsiteY12375" fmla="*/ 1063794 h 5217112"/>
              <a:gd name="connsiteX12376" fmla="*/ 2330006 w 6785952"/>
              <a:gd name="connsiteY12376" fmla="*/ 1060742 h 5217112"/>
              <a:gd name="connsiteX12377" fmla="*/ 2331928 w 6785952"/>
              <a:gd name="connsiteY12377" fmla="*/ 1053659 h 5217112"/>
              <a:gd name="connsiteX12378" fmla="*/ 2328632 w 6785952"/>
              <a:gd name="connsiteY12378" fmla="*/ 1054749 h 5217112"/>
              <a:gd name="connsiteX12379" fmla="*/ 2347037 w 6785952"/>
              <a:gd name="connsiteY12379" fmla="*/ 1045595 h 5217112"/>
              <a:gd name="connsiteX12380" fmla="*/ 1337808 w 6785952"/>
              <a:gd name="connsiteY12380" fmla="*/ 1044288 h 5217112"/>
              <a:gd name="connsiteX12381" fmla="*/ 1347423 w 6785952"/>
              <a:gd name="connsiteY12381" fmla="*/ 1071967 h 5217112"/>
              <a:gd name="connsiteX12382" fmla="*/ 1317205 w 6785952"/>
              <a:gd name="connsiteY12382" fmla="*/ 1110217 h 5217112"/>
              <a:gd name="connsiteX12383" fmla="*/ 1313360 w 6785952"/>
              <a:gd name="connsiteY12383" fmla="*/ 1108364 h 5217112"/>
              <a:gd name="connsiteX12384" fmla="*/ 1308691 w 6785952"/>
              <a:gd name="connsiteY12384" fmla="*/ 1100190 h 5217112"/>
              <a:gd name="connsiteX12385" fmla="*/ 1337808 w 6785952"/>
              <a:gd name="connsiteY12385" fmla="*/ 1044288 h 5217112"/>
              <a:gd name="connsiteX12386" fmla="*/ 2167936 w 6785952"/>
              <a:gd name="connsiteY12386" fmla="*/ 1043525 h 5217112"/>
              <a:gd name="connsiteX12387" fmla="*/ 2176726 w 6785952"/>
              <a:gd name="connsiteY12387" fmla="*/ 1046794 h 5217112"/>
              <a:gd name="connsiteX12388" fmla="*/ 2178923 w 6785952"/>
              <a:gd name="connsiteY12388" fmla="*/ 1054749 h 5217112"/>
              <a:gd name="connsiteX12389" fmla="*/ 2176176 w 6785952"/>
              <a:gd name="connsiteY12389" fmla="*/ 1062160 h 5217112"/>
              <a:gd name="connsiteX12390" fmla="*/ 2179747 w 6785952"/>
              <a:gd name="connsiteY12390" fmla="*/ 1063903 h 5217112"/>
              <a:gd name="connsiteX12391" fmla="*/ 2183868 w 6785952"/>
              <a:gd name="connsiteY12391" fmla="*/ 1068698 h 5217112"/>
              <a:gd name="connsiteX12392" fmla="*/ 2170682 w 6785952"/>
              <a:gd name="connsiteY12392" fmla="*/ 1066083 h 5217112"/>
              <a:gd name="connsiteX12393" fmla="*/ 2169309 w 6785952"/>
              <a:gd name="connsiteY12393" fmla="*/ 1063031 h 5217112"/>
              <a:gd name="connsiteX12394" fmla="*/ 2170957 w 6785952"/>
              <a:gd name="connsiteY12394" fmla="*/ 1061506 h 5217112"/>
              <a:gd name="connsiteX12395" fmla="*/ 2172056 w 6785952"/>
              <a:gd name="connsiteY12395" fmla="*/ 1061178 h 5217112"/>
              <a:gd name="connsiteX12396" fmla="*/ 2170133 w 6785952"/>
              <a:gd name="connsiteY12396" fmla="*/ 1060416 h 5217112"/>
              <a:gd name="connsiteX12397" fmla="*/ 2167936 w 6785952"/>
              <a:gd name="connsiteY12397" fmla="*/ 1043525 h 5217112"/>
              <a:gd name="connsiteX12398" fmla="*/ 6241935 w 6785952"/>
              <a:gd name="connsiteY12398" fmla="*/ 1042109 h 5217112"/>
              <a:gd name="connsiteX12399" fmla="*/ 6253198 w 6785952"/>
              <a:gd name="connsiteY12399" fmla="*/ 1045704 h 5217112"/>
              <a:gd name="connsiteX12400" fmla="*/ 6246331 w 6785952"/>
              <a:gd name="connsiteY12400" fmla="*/ 1051480 h 5217112"/>
              <a:gd name="connsiteX12401" fmla="*/ 6235343 w 6785952"/>
              <a:gd name="connsiteY12401" fmla="*/ 1048973 h 5217112"/>
              <a:gd name="connsiteX12402" fmla="*/ 6241935 w 6785952"/>
              <a:gd name="connsiteY12402" fmla="*/ 1042109 h 5217112"/>
              <a:gd name="connsiteX12403" fmla="*/ 1882802 w 6785952"/>
              <a:gd name="connsiteY12403" fmla="*/ 1041672 h 5217112"/>
              <a:gd name="connsiteX12404" fmla="*/ 1886373 w 6785952"/>
              <a:gd name="connsiteY12404" fmla="*/ 1070986 h 5217112"/>
              <a:gd name="connsiteX12405" fmla="*/ 1887746 w 6785952"/>
              <a:gd name="connsiteY12405" fmla="*/ 1071858 h 5217112"/>
              <a:gd name="connsiteX12406" fmla="*/ 1889395 w 6785952"/>
              <a:gd name="connsiteY12406" fmla="*/ 1072947 h 5217112"/>
              <a:gd name="connsiteX12407" fmla="*/ 1888021 w 6785952"/>
              <a:gd name="connsiteY12407" fmla="*/ 1073492 h 5217112"/>
              <a:gd name="connsiteX12408" fmla="*/ 1885824 w 6785952"/>
              <a:gd name="connsiteY12408" fmla="*/ 1073166 h 5217112"/>
              <a:gd name="connsiteX12409" fmla="*/ 1885275 w 6785952"/>
              <a:gd name="connsiteY12409" fmla="*/ 1072839 h 5217112"/>
              <a:gd name="connsiteX12410" fmla="*/ 1880879 w 6785952"/>
              <a:gd name="connsiteY12410" fmla="*/ 1079922 h 5217112"/>
              <a:gd name="connsiteX12411" fmla="*/ 1868793 w 6785952"/>
              <a:gd name="connsiteY12411" fmla="*/ 1092127 h 5217112"/>
              <a:gd name="connsiteX12412" fmla="*/ 1864123 w 6785952"/>
              <a:gd name="connsiteY12412" fmla="*/ 1091146 h 5217112"/>
              <a:gd name="connsiteX12413" fmla="*/ 1855882 w 6785952"/>
              <a:gd name="connsiteY12413" fmla="*/ 1077852 h 5217112"/>
              <a:gd name="connsiteX12414" fmla="*/ 1856157 w 6785952"/>
              <a:gd name="connsiteY12414" fmla="*/ 1071313 h 5217112"/>
              <a:gd name="connsiteX12415" fmla="*/ 1854509 w 6785952"/>
              <a:gd name="connsiteY12415" fmla="*/ 1073384 h 5217112"/>
              <a:gd name="connsiteX12416" fmla="*/ 1851213 w 6785952"/>
              <a:gd name="connsiteY12416" fmla="*/ 1075781 h 5217112"/>
              <a:gd name="connsiteX12417" fmla="*/ 1853960 w 6785952"/>
              <a:gd name="connsiteY12417" fmla="*/ 1072947 h 5217112"/>
              <a:gd name="connsiteX12418" fmla="*/ 1853685 w 6785952"/>
              <a:gd name="connsiteY12418" fmla="*/ 1069896 h 5217112"/>
              <a:gd name="connsiteX12419" fmla="*/ 1855333 w 6785952"/>
              <a:gd name="connsiteY12419" fmla="*/ 1068698 h 5217112"/>
              <a:gd name="connsiteX12420" fmla="*/ 1856432 w 6785952"/>
              <a:gd name="connsiteY12420" fmla="*/ 1068698 h 5217112"/>
              <a:gd name="connsiteX12421" fmla="*/ 1859728 w 6785952"/>
              <a:gd name="connsiteY12421" fmla="*/ 1060633 h 5217112"/>
              <a:gd name="connsiteX12422" fmla="*/ 1865496 w 6785952"/>
              <a:gd name="connsiteY12422" fmla="*/ 1053441 h 5217112"/>
              <a:gd name="connsiteX12423" fmla="*/ 1865496 w 6785952"/>
              <a:gd name="connsiteY12423" fmla="*/ 1053332 h 5217112"/>
              <a:gd name="connsiteX12424" fmla="*/ 1867695 w 6785952"/>
              <a:gd name="connsiteY12424" fmla="*/ 1050499 h 5217112"/>
              <a:gd name="connsiteX12425" fmla="*/ 1882802 w 6785952"/>
              <a:gd name="connsiteY12425" fmla="*/ 1041672 h 5217112"/>
              <a:gd name="connsiteX12426" fmla="*/ 2316820 w 6785952"/>
              <a:gd name="connsiteY12426" fmla="*/ 1040365 h 5217112"/>
              <a:gd name="connsiteX12427" fmla="*/ 2325610 w 6785952"/>
              <a:gd name="connsiteY12427" fmla="*/ 1048538 h 5217112"/>
              <a:gd name="connsiteX12428" fmla="*/ 2314348 w 6785952"/>
              <a:gd name="connsiteY12428" fmla="*/ 1060742 h 5217112"/>
              <a:gd name="connsiteX12429" fmla="*/ 2304734 w 6785952"/>
              <a:gd name="connsiteY12429" fmla="*/ 1051262 h 5217112"/>
              <a:gd name="connsiteX12430" fmla="*/ 2309678 w 6785952"/>
              <a:gd name="connsiteY12430" fmla="*/ 1042109 h 5217112"/>
              <a:gd name="connsiteX12431" fmla="*/ 2316820 w 6785952"/>
              <a:gd name="connsiteY12431" fmla="*/ 1040365 h 5217112"/>
              <a:gd name="connsiteX12432" fmla="*/ 2558002 w 6785952"/>
              <a:gd name="connsiteY12432" fmla="*/ 1039929 h 5217112"/>
              <a:gd name="connsiteX12433" fmla="*/ 2563221 w 6785952"/>
              <a:gd name="connsiteY12433" fmla="*/ 1043089 h 5217112"/>
              <a:gd name="connsiteX12434" fmla="*/ 2558002 w 6785952"/>
              <a:gd name="connsiteY12434" fmla="*/ 1054749 h 5217112"/>
              <a:gd name="connsiteX12435" fmla="*/ 2552508 w 6785952"/>
              <a:gd name="connsiteY12435" fmla="*/ 1053769 h 5217112"/>
              <a:gd name="connsiteX12436" fmla="*/ 2558002 w 6785952"/>
              <a:gd name="connsiteY12436" fmla="*/ 1039929 h 5217112"/>
              <a:gd name="connsiteX12437" fmla="*/ 6356758 w 6785952"/>
              <a:gd name="connsiteY12437" fmla="*/ 1038839 h 5217112"/>
              <a:gd name="connsiteX12438" fmla="*/ 6366647 w 6785952"/>
              <a:gd name="connsiteY12438" fmla="*/ 1047230 h 5217112"/>
              <a:gd name="connsiteX12439" fmla="*/ 6357032 w 6785952"/>
              <a:gd name="connsiteY12439" fmla="*/ 1058999 h 5217112"/>
              <a:gd name="connsiteX12440" fmla="*/ 6349890 w 6785952"/>
              <a:gd name="connsiteY12440" fmla="*/ 1040365 h 5217112"/>
              <a:gd name="connsiteX12441" fmla="*/ 6356758 w 6785952"/>
              <a:gd name="connsiteY12441" fmla="*/ 1038839 h 5217112"/>
              <a:gd name="connsiteX12442" fmla="*/ 1778967 w 6785952"/>
              <a:gd name="connsiteY12442" fmla="*/ 1038730 h 5217112"/>
              <a:gd name="connsiteX12443" fmla="*/ 1777594 w 6785952"/>
              <a:gd name="connsiteY12443" fmla="*/ 1057909 h 5217112"/>
              <a:gd name="connsiteX12444" fmla="*/ 1776496 w 6785952"/>
              <a:gd name="connsiteY12444" fmla="*/ 1063140 h 5217112"/>
              <a:gd name="connsiteX12445" fmla="*/ 1778419 w 6785952"/>
              <a:gd name="connsiteY12445" fmla="*/ 1063358 h 5217112"/>
              <a:gd name="connsiteX12446" fmla="*/ 1780616 w 6785952"/>
              <a:gd name="connsiteY12446" fmla="*/ 1064993 h 5217112"/>
              <a:gd name="connsiteX12447" fmla="*/ 1783912 w 6785952"/>
              <a:gd name="connsiteY12447" fmla="*/ 1064448 h 5217112"/>
              <a:gd name="connsiteX12448" fmla="*/ 1784187 w 6785952"/>
              <a:gd name="connsiteY12448" fmla="*/ 1063685 h 5217112"/>
              <a:gd name="connsiteX12449" fmla="*/ 1784736 w 6785952"/>
              <a:gd name="connsiteY12449" fmla="*/ 1058563 h 5217112"/>
              <a:gd name="connsiteX12450" fmla="*/ 1787758 w 6785952"/>
              <a:gd name="connsiteY12450" fmla="*/ 1057473 h 5217112"/>
              <a:gd name="connsiteX12451" fmla="*/ 1788857 w 6785952"/>
              <a:gd name="connsiteY12451" fmla="*/ 1062050 h 5217112"/>
              <a:gd name="connsiteX12452" fmla="*/ 1785010 w 6785952"/>
              <a:gd name="connsiteY12452" fmla="*/ 1064230 h 5217112"/>
              <a:gd name="connsiteX12453" fmla="*/ 1796548 w 6785952"/>
              <a:gd name="connsiteY12453" fmla="*/ 1062160 h 5217112"/>
              <a:gd name="connsiteX12454" fmla="*/ 1800943 w 6785952"/>
              <a:gd name="connsiteY12454" fmla="*/ 1062922 h 5217112"/>
              <a:gd name="connsiteX12455" fmla="*/ 1800394 w 6785952"/>
              <a:gd name="connsiteY12455" fmla="*/ 1061178 h 5217112"/>
              <a:gd name="connsiteX12456" fmla="*/ 1808635 w 6785952"/>
              <a:gd name="connsiteY12456" fmla="*/ 1063576 h 5217112"/>
              <a:gd name="connsiteX12457" fmla="*/ 1808360 w 6785952"/>
              <a:gd name="connsiteY12457" fmla="*/ 1064121 h 5217112"/>
              <a:gd name="connsiteX12458" fmla="*/ 1815777 w 6785952"/>
              <a:gd name="connsiteY12458" fmla="*/ 1065319 h 5217112"/>
              <a:gd name="connsiteX12459" fmla="*/ 1826490 w 6785952"/>
              <a:gd name="connsiteY12459" fmla="*/ 1071422 h 5217112"/>
              <a:gd name="connsiteX12460" fmla="*/ 1799020 w 6785952"/>
              <a:gd name="connsiteY12460" fmla="*/ 1079268 h 5217112"/>
              <a:gd name="connsiteX12461" fmla="*/ 1798197 w 6785952"/>
              <a:gd name="connsiteY12461" fmla="*/ 1107492 h 5217112"/>
              <a:gd name="connsiteX12462" fmla="*/ 1788307 w 6785952"/>
              <a:gd name="connsiteY12462" fmla="*/ 1086460 h 5217112"/>
              <a:gd name="connsiteX12463" fmla="*/ 1787484 w 6785952"/>
              <a:gd name="connsiteY12463" fmla="*/ 1082755 h 5217112"/>
              <a:gd name="connsiteX12464" fmla="*/ 1785010 w 6785952"/>
              <a:gd name="connsiteY12464" fmla="*/ 1080793 h 5217112"/>
              <a:gd name="connsiteX12465" fmla="*/ 1776496 w 6785952"/>
              <a:gd name="connsiteY12465" fmla="*/ 1075890 h 5217112"/>
              <a:gd name="connsiteX12466" fmla="*/ 1775946 w 6785952"/>
              <a:gd name="connsiteY12466" fmla="*/ 1076544 h 5217112"/>
              <a:gd name="connsiteX12467" fmla="*/ 1775946 w 6785952"/>
              <a:gd name="connsiteY12467" fmla="*/ 1077089 h 5217112"/>
              <a:gd name="connsiteX12468" fmla="*/ 1775946 w 6785952"/>
              <a:gd name="connsiteY12468" fmla="*/ 1078178 h 5217112"/>
              <a:gd name="connsiteX12469" fmla="*/ 1775946 w 6785952"/>
              <a:gd name="connsiteY12469" fmla="*/ 1079595 h 5217112"/>
              <a:gd name="connsiteX12470" fmla="*/ 1775672 w 6785952"/>
              <a:gd name="connsiteY12470" fmla="*/ 1079704 h 5217112"/>
              <a:gd name="connsiteX12471" fmla="*/ 1775397 w 6785952"/>
              <a:gd name="connsiteY12471" fmla="*/ 1081338 h 5217112"/>
              <a:gd name="connsiteX12472" fmla="*/ 1772101 w 6785952"/>
              <a:gd name="connsiteY12472" fmla="*/ 1085480 h 5217112"/>
              <a:gd name="connsiteX12473" fmla="*/ 1768254 w 6785952"/>
              <a:gd name="connsiteY12473" fmla="*/ 1091800 h 5217112"/>
              <a:gd name="connsiteX12474" fmla="*/ 1750400 w 6785952"/>
              <a:gd name="connsiteY12474" fmla="*/ 1109126 h 5217112"/>
              <a:gd name="connsiteX12475" fmla="*/ 1754520 w 6785952"/>
              <a:gd name="connsiteY12475" fmla="*/ 1100190 h 5217112"/>
              <a:gd name="connsiteX12476" fmla="*/ 1752322 w 6785952"/>
              <a:gd name="connsiteY12476" fmla="*/ 1097140 h 5217112"/>
              <a:gd name="connsiteX12477" fmla="*/ 1754520 w 6785952"/>
              <a:gd name="connsiteY12477" fmla="*/ 1090165 h 5217112"/>
              <a:gd name="connsiteX12478" fmla="*/ 1757266 w 6785952"/>
              <a:gd name="connsiteY12478" fmla="*/ 1095287 h 5217112"/>
              <a:gd name="connsiteX12479" fmla="*/ 1757266 w 6785952"/>
              <a:gd name="connsiteY12479" fmla="*/ 1096159 h 5217112"/>
              <a:gd name="connsiteX12480" fmla="*/ 1762486 w 6785952"/>
              <a:gd name="connsiteY12480" fmla="*/ 1088749 h 5217112"/>
              <a:gd name="connsiteX12481" fmla="*/ 1767980 w 6785952"/>
              <a:gd name="connsiteY12481" fmla="*/ 1079159 h 5217112"/>
              <a:gd name="connsiteX12482" fmla="*/ 1772101 w 6785952"/>
              <a:gd name="connsiteY12482" fmla="*/ 1078178 h 5217112"/>
              <a:gd name="connsiteX12483" fmla="*/ 1772924 w 6785952"/>
              <a:gd name="connsiteY12483" fmla="*/ 1076870 h 5217112"/>
              <a:gd name="connsiteX12484" fmla="*/ 1774847 w 6785952"/>
              <a:gd name="connsiteY12484" fmla="*/ 1076544 h 5217112"/>
              <a:gd name="connsiteX12485" fmla="*/ 1775122 w 6785952"/>
              <a:gd name="connsiteY12485" fmla="*/ 1076108 h 5217112"/>
              <a:gd name="connsiteX12486" fmla="*/ 1775946 w 6785952"/>
              <a:gd name="connsiteY12486" fmla="*/ 1075454 h 5217112"/>
              <a:gd name="connsiteX12487" fmla="*/ 1768529 w 6785952"/>
              <a:gd name="connsiteY12487" fmla="*/ 1071313 h 5217112"/>
              <a:gd name="connsiteX12488" fmla="*/ 1768529 w 6785952"/>
              <a:gd name="connsiteY12488" fmla="*/ 1062050 h 5217112"/>
              <a:gd name="connsiteX12489" fmla="*/ 1772375 w 6785952"/>
              <a:gd name="connsiteY12489" fmla="*/ 1062595 h 5217112"/>
              <a:gd name="connsiteX12490" fmla="*/ 1772375 w 6785952"/>
              <a:gd name="connsiteY12490" fmla="*/ 1062486 h 5217112"/>
              <a:gd name="connsiteX12491" fmla="*/ 1773199 w 6785952"/>
              <a:gd name="connsiteY12491" fmla="*/ 1056057 h 5217112"/>
              <a:gd name="connsiteX12492" fmla="*/ 1778693 w 6785952"/>
              <a:gd name="connsiteY12492" fmla="*/ 1042109 h 5217112"/>
              <a:gd name="connsiteX12493" fmla="*/ 1778967 w 6785952"/>
              <a:gd name="connsiteY12493" fmla="*/ 1038730 h 5217112"/>
              <a:gd name="connsiteX12494" fmla="*/ 2142663 w 6785952"/>
              <a:gd name="connsiteY12494" fmla="*/ 1037858 h 5217112"/>
              <a:gd name="connsiteX12495" fmla="*/ 2148707 w 6785952"/>
              <a:gd name="connsiteY12495" fmla="*/ 1042544 h 5217112"/>
              <a:gd name="connsiteX12496" fmla="*/ 2142114 w 6785952"/>
              <a:gd name="connsiteY12496" fmla="*/ 1039929 h 5217112"/>
              <a:gd name="connsiteX12497" fmla="*/ 2142663 w 6785952"/>
              <a:gd name="connsiteY12497" fmla="*/ 1037858 h 5217112"/>
              <a:gd name="connsiteX12498" fmla="*/ 984276 w 6785952"/>
              <a:gd name="connsiteY12498" fmla="*/ 1037749 h 5217112"/>
              <a:gd name="connsiteX12499" fmla="*/ 985099 w 6785952"/>
              <a:gd name="connsiteY12499" fmla="*/ 1043634 h 5217112"/>
              <a:gd name="connsiteX12500" fmla="*/ 982628 w 6785952"/>
              <a:gd name="connsiteY12500" fmla="*/ 1043198 h 5217112"/>
              <a:gd name="connsiteX12501" fmla="*/ 982353 w 6785952"/>
              <a:gd name="connsiteY12501" fmla="*/ 1044614 h 5217112"/>
              <a:gd name="connsiteX12502" fmla="*/ 979881 w 6785952"/>
              <a:gd name="connsiteY12502" fmla="*/ 1042762 h 5217112"/>
              <a:gd name="connsiteX12503" fmla="*/ 979881 w 6785952"/>
              <a:gd name="connsiteY12503" fmla="*/ 1041345 h 5217112"/>
              <a:gd name="connsiteX12504" fmla="*/ 979606 w 6785952"/>
              <a:gd name="connsiteY12504" fmla="*/ 1040910 h 5217112"/>
              <a:gd name="connsiteX12505" fmla="*/ 981528 w 6785952"/>
              <a:gd name="connsiteY12505" fmla="*/ 1038730 h 5217112"/>
              <a:gd name="connsiteX12506" fmla="*/ 984276 w 6785952"/>
              <a:gd name="connsiteY12506" fmla="*/ 1037749 h 5217112"/>
              <a:gd name="connsiteX12507" fmla="*/ 2434390 w 6785952"/>
              <a:gd name="connsiteY12507" fmla="*/ 1035570 h 5217112"/>
              <a:gd name="connsiteX12508" fmla="*/ 2440707 w 6785952"/>
              <a:gd name="connsiteY12508" fmla="*/ 1053332 h 5217112"/>
              <a:gd name="connsiteX12509" fmla="*/ 2429720 w 6785952"/>
              <a:gd name="connsiteY12509" fmla="*/ 1048973 h 5217112"/>
              <a:gd name="connsiteX12510" fmla="*/ 2434390 w 6785952"/>
              <a:gd name="connsiteY12510" fmla="*/ 1035570 h 5217112"/>
              <a:gd name="connsiteX12511" fmla="*/ 2603327 w 6785952"/>
              <a:gd name="connsiteY12511" fmla="*/ 1034807 h 5217112"/>
              <a:gd name="connsiteX12512" fmla="*/ 2614589 w 6785952"/>
              <a:gd name="connsiteY12512" fmla="*/ 1038403 h 5217112"/>
              <a:gd name="connsiteX12513" fmla="*/ 2607448 w 6785952"/>
              <a:gd name="connsiteY12513" fmla="*/ 1044179 h 5217112"/>
              <a:gd name="connsiteX12514" fmla="*/ 2596734 w 6785952"/>
              <a:gd name="connsiteY12514" fmla="*/ 1041672 h 5217112"/>
              <a:gd name="connsiteX12515" fmla="*/ 2603327 w 6785952"/>
              <a:gd name="connsiteY12515" fmla="*/ 1034807 h 5217112"/>
              <a:gd name="connsiteX12516" fmla="*/ 1077328 w 6785952"/>
              <a:gd name="connsiteY12516" fmla="*/ 1030653 h 5217112"/>
              <a:gd name="connsiteX12517" fmla="*/ 1084539 w 6785952"/>
              <a:gd name="connsiteY12517" fmla="*/ 1036442 h 5217112"/>
              <a:gd name="connsiteX12518" fmla="*/ 1080968 w 6785952"/>
              <a:gd name="connsiteY12518" fmla="*/ 1046140 h 5217112"/>
              <a:gd name="connsiteX12519" fmla="*/ 1076573 w 6785952"/>
              <a:gd name="connsiteY12519" fmla="*/ 1046903 h 5217112"/>
              <a:gd name="connsiteX12520" fmla="*/ 1073276 w 6785952"/>
              <a:gd name="connsiteY12520" fmla="*/ 1047448 h 5217112"/>
              <a:gd name="connsiteX12521" fmla="*/ 1068057 w 6785952"/>
              <a:gd name="connsiteY12521" fmla="*/ 1044070 h 5217112"/>
              <a:gd name="connsiteX12522" fmla="*/ 1068057 w 6785952"/>
              <a:gd name="connsiteY12522" fmla="*/ 1045487 h 5217112"/>
              <a:gd name="connsiteX12523" fmla="*/ 1067233 w 6785952"/>
              <a:gd name="connsiteY12523" fmla="*/ 1036551 h 5217112"/>
              <a:gd name="connsiteX12524" fmla="*/ 1077328 w 6785952"/>
              <a:gd name="connsiteY12524" fmla="*/ 1030653 h 5217112"/>
              <a:gd name="connsiteX12525" fmla="*/ 1254781 w 6785952"/>
              <a:gd name="connsiteY12525" fmla="*/ 1029972 h 5217112"/>
              <a:gd name="connsiteX12526" fmla="*/ 1260894 w 6785952"/>
              <a:gd name="connsiteY12526" fmla="*/ 1031646 h 5217112"/>
              <a:gd name="connsiteX12527" fmla="*/ 1255674 w 6785952"/>
              <a:gd name="connsiteY12527" fmla="*/ 1038948 h 5217112"/>
              <a:gd name="connsiteX12528" fmla="*/ 1247433 w 6785952"/>
              <a:gd name="connsiteY12528" fmla="*/ 1034916 h 5217112"/>
              <a:gd name="connsiteX12529" fmla="*/ 1254781 w 6785952"/>
              <a:gd name="connsiteY12529" fmla="*/ 1029972 h 5217112"/>
              <a:gd name="connsiteX12530" fmla="*/ 2318194 w 6785952"/>
              <a:gd name="connsiteY12530" fmla="*/ 1029250 h 5217112"/>
              <a:gd name="connsiteX12531" fmla="*/ 2320666 w 6785952"/>
              <a:gd name="connsiteY12531" fmla="*/ 1031211 h 5217112"/>
              <a:gd name="connsiteX12532" fmla="*/ 2319018 w 6785952"/>
              <a:gd name="connsiteY12532" fmla="*/ 1035134 h 5217112"/>
              <a:gd name="connsiteX12533" fmla="*/ 2311326 w 6785952"/>
              <a:gd name="connsiteY12533" fmla="*/ 1038948 h 5217112"/>
              <a:gd name="connsiteX12534" fmla="*/ 2308854 w 6785952"/>
              <a:gd name="connsiteY12534" fmla="*/ 1036987 h 5217112"/>
              <a:gd name="connsiteX12535" fmla="*/ 2318194 w 6785952"/>
              <a:gd name="connsiteY12535" fmla="*/ 1029250 h 5217112"/>
              <a:gd name="connsiteX12536" fmla="*/ 2455301 w 6785952"/>
              <a:gd name="connsiteY12536" fmla="*/ 1028133 h 5217112"/>
              <a:gd name="connsiteX12537" fmla="*/ 2459113 w 6785952"/>
              <a:gd name="connsiteY12537" fmla="*/ 1030993 h 5217112"/>
              <a:gd name="connsiteX12538" fmla="*/ 2456640 w 6785952"/>
              <a:gd name="connsiteY12538" fmla="*/ 1033718 h 5217112"/>
              <a:gd name="connsiteX12539" fmla="*/ 2451970 w 6785952"/>
              <a:gd name="connsiteY12539" fmla="*/ 1032083 h 5217112"/>
              <a:gd name="connsiteX12540" fmla="*/ 2451695 w 6785952"/>
              <a:gd name="connsiteY12540" fmla="*/ 1030666 h 5217112"/>
              <a:gd name="connsiteX12541" fmla="*/ 2455301 w 6785952"/>
              <a:gd name="connsiteY12541" fmla="*/ 1028133 h 5217112"/>
              <a:gd name="connsiteX12542" fmla="*/ 1784736 w 6785952"/>
              <a:gd name="connsiteY12542" fmla="*/ 1026416 h 5217112"/>
              <a:gd name="connsiteX12543" fmla="*/ 1781715 w 6785952"/>
              <a:gd name="connsiteY12543" fmla="*/ 1034262 h 5217112"/>
              <a:gd name="connsiteX12544" fmla="*/ 1781441 w 6785952"/>
              <a:gd name="connsiteY12544" fmla="*/ 1037531 h 5217112"/>
              <a:gd name="connsiteX12545" fmla="*/ 1778967 w 6785952"/>
              <a:gd name="connsiteY12545" fmla="*/ 1035570 h 5217112"/>
              <a:gd name="connsiteX12546" fmla="*/ 1781989 w 6785952"/>
              <a:gd name="connsiteY12546" fmla="*/ 1030993 h 5217112"/>
              <a:gd name="connsiteX12547" fmla="*/ 1779517 w 6785952"/>
              <a:gd name="connsiteY12547" fmla="*/ 1029031 h 5217112"/>
              <a:gd name="connsiteX12548" fmla="*/ 1780341 w 6785952"/>
              <a:gd name="connsiteY12548" fmla="*/ 1027070 h 5217112"/>
              <a:gd name="connsiteX12549" fmla="*/ 1784736 w 6785952"/>
              <a:gd name="connsiteY12549" fmla="*/ 1026416 h 5217112"/>
              <a:gd name="connsiteX12550" fmla="*/ 2436037 w 6785952"/>
              <a:gd name="connsiteY12550" fmla="*/ 1025653 h 5217112"/>
              <a:gd name="connsiteX12551" fmla="*/ 2443455 w 6785952"/>
              <a:gd name="connsiteY12551" fmla="*/ 1027397 h 5217112"/>
              <a:gd name="connsiteX12552" fmla="*/ 2442081 w 6785952"/>
              <a:gd name="connsiteY12552" fmla="*/ 1031865 h 5217112"/>
              <a:gd name="connsiteX12553" fmla="*/ 2436312 w 6785952"/>
              <a:gd name="connsiteY12553" fmla="*/ 1030121 h 5217112"/>
              <a:gd name="connsiteX12554" fmla="*/ 2436037 w 6785952"/>
              <a:gd name="connsiteY12554" fmla="*/ 1025653 h 5217112"/>
              <a:gd name="connsiteX12555" fmla="*/ 1126568 w 6785952"/>
              <a:gd name="connsiteY12555" fmla="*/ 1025653 h 5217112"/>
              <a:gd name="connsiteX12556" fmla="*/ 1137281 w 6785952"/>
              <a:gd name="connsiteY12556" fmla="*/ 1033499 h 5217112"/>
              <a:gd name="connsiteX12557" fmla="*/ 1124370 w 6785952"/>
              <a:gd name="connsiteY12557" fmla="*/ 1030993 h 5217112"/>
              <a:gd name="connsiteX12558" fmla="*/ 1122996 w 6785952"/>
              <a:gd name="connsiteY12558" fmla="*/ 1027942 h 5217112"/>
              <a:gd name="connsiteX12559" fmla="*/ 1126568 w 6785952"/>
              <a:gd name="connsiteY12559" fmla="*/ 1025653 h 5217112"/>
              <a:gd name="connsiteX12560" fmla="*/ 2292373 w 6785952"/>
              <a:gd name="connsiteY12560" fmla="*/ 1024999 h 5217112"/>
              <a:gd name="connsiteX12561" fmla="*/ 2293196 w 6785952"/>
              <a:gd name="connsiteY12561" fmla="*/ 1027179 h 5217112"/>
              <a:gd name="connsiteX12562" fmla="*/ 2295943 w 6785952"/>
              <a:gd name="connsiteY12562" fmla="*/ 1025108 h 5217112"/>
              <a:gd name="connsiteX12563" fmla="*/ 2293196 w 6785952"/>
              <a:gd name="connsiteY12563" fmla="*/ 1025762 h 5217112"/>
              <a:gd name="connsiteX12564" fmla="*/ 1775672 w 6785952"/>
              <a:gd name="connsiteY12564" fmla="*/ 1022929 h 5217112"/>
              <a:gd name="connsiteX12565" fmla="*/ 1778693 w 6785952"/>
              <a:gd name="connsiteY12565" fmla="*/ 1023038 h 5217112"/>
              <a:gd name="connsiteX12566" fmla="*/ 1780341 w 6785952"/>
              <a:gd name="connsiteY12566" fmla="*/ 1027070 h 5217112"/>
              <a:gd name="connsiteX12567" fmla="*/ 1760838 w 6785952"/>
              <a:gd name="connsiteY12567" fmla="*/ 1036768 h 5217112"/>
              <a:gd name="connsiteX12568" fmla="*/ 1757541 w 6785952"/>
              <a:gd name="connsiteY12568" fmla="*/ 1036768 h 5217112"/>
              <a:gd name="connsiteX12569" fmla="*/ 1749301 w 6785952"/>
              <a:gd name="connsiteY12569" fmla="*/ 1031429 h 5217112"/>
              <a:gd name="connsiteX12570" fmla="*/ 1775672 w 6785952"/>
              <a:gd name="connsiteY12570" fmla="*/ 1022929 h 5217112"/>
              <a:gd name="connsiteX12571" fmla="*/ 1578990 w 6785952"/>
              <a:gd name="connsiteY12571" fmla="*/ 1020205 h 5217112"/>
              <a:gd name="connsiteX12572" fmla="*/ 1574045 w 6785952"/>
              <a:gd name="connsiteY12572" fmla="*/ 1030557 h 5217112"/>
              <a:gd name="connsiteX12573" fmla="*/ 1573221 w 6785952"/>
              <a:gd name="connsiteY12573" fmla="*/ 1022711 h 5217112"/>
              <a:gd name="connsiteX12574" fmla="*/ 1575144 w 6785952"/>
              <a:gd name="connsiteY12574" fmla="*/ 1020859 h 5217112"/>
              <a:gd name="connsiteX12575" fmla="*/ 1578990 w 6785952"/>
              <a:gd name="connsiteY12575" fmla="*/ 1020205 h 5217112"/>
              <a:gd name="connsiteX12576" fmla="*/ 1883626 w 6785952"/>
              <a:gd name="connsiteY12576" fmla="*/ 1019878 h 5217112"/>
              <a:gd name="connsiteX12577" fmla="*/ 1884725 w 6785952"/>
              <a:gd name="connsiteY12577" fmla="*/ 1028160 h 5217112"/>
              <a:gd name="connsiteX12578" fmla="*/ 1878682 w 6785952"/>
              <a:gd name="connsiteY12578" fmla="*/ 1027942 h 5217112"/>
              <a:gd name="connsiteX12579" fmla="*/ 1883626 w 6785952"/>
              <a:gd name="connsiteY12579" fmla="*/ 1019878 h 5217112"/>
              <a:gd name="connsiteX12580" fmla="*/ 6441913 w 6785952"/>
              <a:gd name="connsiteY12580" fmla="*/ 1019660 h 5217112"/>
              <a:gd name="connsiteX12581" fmla="*/ 6456472 w 6785952"/>
              <a:gd name="connsiteY12581" fmla="*/ 1023038 h 5217112"/>
              <a:gd name="connsiteX12582" fmla="*/ 6441364 w 6785952"/>
              <a:gd name="connsiteY12582" fmla="*/ 1033390 h 5217112"/>
              <a:gd name="connsiteX12583" fmla="*/ 6434221 w 6785952"/>
              <a:gd name="connsiteY12583" fmla="*/ 1030666 h 5217112"/>
              <a:gd name="connsiteX12584" fmla="*/ 6441913 w 6785952"/>
              <a:gd name="connsiteY12584" fmla="*/ 1019660 h 5217112"/>
              <a:gd name="connsiteX12585" fmla="*/ 2521193 w 6785952"/>
              <a:gd name="connsiteY12585" fmla="*/ 1018788 h 5217112"/>
              <a:gd name="connsiteX12586" fmla="*/ 2534927 w 6785952"/>
              <a:gd name="connsiteY12586" fmla="*/ 1033390 h 5217112"/>
              <a:gd name="connsiteX12587" fmla="*/ 2536302 w 6785952"/>
              <a:gd name="connsiteY12587" fmla="*/ 1034044 h 5217112"/>
              <a:gd name="connsiteX12588" fmla="*/ 2537950 w 6785952"/>
              <a:gd name="connsiteY12588" fmla="*/ 1033281 h 5217112"/>
              <a:gd name="connsiteX12589" fmla="*/ 2542345 w 6785952"/>
              <a:gd name="connsiteY12589" fmla="*/ 1033390 h 5217112"/>
              <a:gd name="connsiteX12590" fmla="*/ 2546190 w 6785952"/>
              <a:gd name="connsiteY12590" fmla="*/ 1036442 h 5217112"/>
              <a:gd name="connsiteX12591" fmla="*/ 2544817 w 6785952"/>
              <a:gd name="connsiteY12591" fmla="*/ 1041672 h 5217112"/>
              <a:gd name="connsiteX12592" fmla="*/ 2542345 w 6785952"/>
              <a:gd name="connsiteY12592" fmla="*/ 1044288 h 5217112"/>
              <a:gd name="connsiteX12593" fmla="*/ 2542345 w 6785952"/>
              <a:gd name="connsiteY12593" fmla="*/ 1045922 h 5217112"/>
              <a:gd name="connsiteX12594" fmla="*/ 2543993 w 6785952"/>
              <a:gd name="connsiteY12594" fmla="*/ 1046794 h 5217112"/>
              <a:gd name="connsiteX12595" fmla="*/ 2558827 w 6785952"/>
              <a:gd name="connsiteY12595" fmla="*/ 1079922 h 5217112"/>
              <a:gd name="connsiteX12596" fmla="*/ 2560749 w 6785952"/>
              <a:gd name="connsiteY12596" fmla="*/ 1093107 h 5217112"/>
              <a:gd name="connsiteX12597" fmla="*/ 2567067 w 6785952"/>
              <a:gd name="connsiteY12597" fmla="*/ 1077633 h 5217112"/>
              <a:gd name="connsiteX12598" fmla="*/ 2579703 w 6785952"/>
              <a:gd name="connsiteY12598" fmla="*/ 1046358 h 5217112"/>
              <a:gd name="connsiteX12599" fmla="*/ 2581901 w 6785952"/>
              <a:gd name="connsiteY12599" fmla="*/ 1058018 h 5217112"/>
              <a:gd name="connsiteX12600" fmla="*/ 2583274 w 6785952"/>
              <a:gd name="connsiteY12600" fmla="*/ 1057473 h 5217112"/>
              <a:gd name="connsiteX12601" fmla="*/ 2590416 w 6785952"/>
              <a:gd name="connsiteY12601" fmla="*/ 1044288 h 5217112"/>
              <a:gd name="connsiteX12602" fmla="*/ 2603602 w 6785952"/>
              <a:gd name="connsiteY12602" fmla="*/ 1049192 h 5217112"/>
              <a:gd name="connsiteX12603" fmla="*/ 2607173 w 6785952"/>
              <a:gd name="connsiteY12603" fmla="*/ 1053659 h 5217112"/>
              <a:gd name="connsiteX12604" fmla="*/ 2582725 w 6785952"/>
              <a:gd name="connsiteY12604" fmla="*/ 1070768 h 5217112"/>
              <a:gd name="connsiteX12605" fmla="*/ 2582175 w 6785952"/>
              <a:gd name="connsiteY12605" fmla="*/ 1070223 h 5217112"/>
              <a:gd name="connsiteX12606" fmla="*/ 2579978 w 6785952"/>
              <a:gd name="connsiteY12606" fmla="*/ 1082973 h 5217112"/>
              <a:gd name="connsiteX12607" fmla="*/ 2575034 w 6785952"/>
              <a:gd name="connsiteY12607" fmla="*/ 1098229 h 5217112"/>
              <a:gd name="connsiteX12608" fmla="*/ 2577505 w 6785952"/>
              <a:gd name="connsiteY12608" fmla="*/ 1098448 h 5217112"/>
              <a:gd name="connsiteX12609" fmla="*/ 2582450 w 6785952"/>
              <a:gd name="connsiteY12609" fmla="*/ 1101281 h 5217112"/>
              <a:gd name="connsiteX12610" fmla="*/ 2577231 w 6785952"/>
              <a:gd name="connsiteY12610" fmla="*/ 1116646 h 5217112"/>
              <a:gd name="connsiteX12611" fmla="*/ 2570364 w 6785952"/>
              <a:gd name="connsiteY12611" fmla="*/ 1112396 h 5217112"/>
              <a:gd name="connsiteX12612" fmla="*/ 2570364 w 6785952"/>
              <a:gd name="connsiteY12612" fmla="*/ 1111960 h 5217112"/>
              <a:gd name="connsiteX12613" fmla="*/ 2567616 w 6785952"/>
              <a:gd name="connsiteY12613" fmla="*/ 1120024 h 5217112"/>
              <a:gd name="connsiteX12614" fmla="*/ 2553333 w 6785952"/>
              <a:gd name="connsiteY12614" fmla="*/ 1112069 h 5217112"/>
              <a:gd name="connsiteX12615" fmla="*/ 2559925 w 6785952"/>
              <a:gd name="connsiteY12615" fmla="*/ 1095396 h 5217112"/>
              <a:gd name="connsiteX12616" fmla="*/ 2545366 w 6785952"/>
              <a:gd name="connsiteY12616" fmla="*/ 1080031 h 5217112"/>
              <a:gd name="connsiteX12617" fmla="*/ 2531906 w 6785952"/>
              <a:gd name="connsiteY12617" fmla="*/ 1057147 h 5217112"/>
              <a:gd name="connsiteX12618" fmla="*/ 2530533 w 6785952"/>
              <a:gd name="connsiteY12618" fmla="*/ 1057364 h 5217112"/>
              <a:gd name="connsiteX12619" fmla="*/ 2523940 w 6785952"/>
              <a:gd name="connsiteY12619" fmla="*/ 1052025 h 5217112"/>
              <a:gd name="connsiteX12620" fmla="*/ 2524214 w 6785952"/>
              <a:gd name="connsiteY12620" fmla="*/ 1046249 h 5217112"/>
              <a:gd name="connsiteX12621" fmla="*/ 2516798 w 6785952"/>
              <a:gd name="connsiteY12621" fmla="*/ 1036551 h 5217112"/>
              <a:gd name="connsiteX12622" fmla="*/ 2518995 w 6785952"/>
              <a:gd name="connsiteY12622" fmla="*/ 1027723 h 5217112"/>
              <a:gd name="connsiteX12623" fmla="*/ 2517073 w 6785952"/>
              <a:gd name="connsiteY12623" fmla="*/ 1024999 h 5217112"/>
              <a:gd name="connsiteX12624" fmla="*/ 2521193 w 6785952"/>
              <a:gd name="connsiteY12624" fmla="*/ 1018788 h 5217112"/>
              <a:gd name="connsiteX12625" fmla="*/ 2404722 w 6785952"/>
              <a:gd name="connsiteY12625" fmla="*/ 1018243 h 5217112"/>
              <a:gd name="connsiteX12626" fmla="*/ 2419007 w 6785952"/>
              <a:gd name="connsiteY12626" fmla="*/ 1021076 h 5217112"/>
              <a:gd name="connsiteX12627" fmla="*/ 2402250 w 6785952"/>
              <a:gd name="connsiteY12627" fmla="*/ 1032083 h 5217112"/>
              <a:gd name="connsiteX12628" fmla="*/ 2395383 w 6785952"/>
              <a:gd name="connsiteY12628" fmla="*/ 1029576 h 5217112"/>
              <a:gd name="connsiteX12629" fmla="*/ 2404722 w 6785952"/>
              <a:gd name="connsiteY12629" fmla="*/ 1018243 h 5217112"/>
              <a:gd name="connsiteX12630" fmla="*/ 1955322 w 6785952"/>
              <a:gd name="connsiteY12630" fmla="*/ 1014320 h 5217112"/>
              <a:gd name="connsiteX12631" fmla="*/ 1959717 w 6785952"/>
              <a:gd name="connsiteY12631" fmla="*/ 1015737 h 5217112"/>
              <a:gd name="connsiteX12632" fmla="*/ 1955871 w 6785952"/>
              <a:gd name="connsiteY12632" fmla="*/ 1021839 h 5217112"/>
              <a:gd name="connsiteX12633" fmla="*/ 1953398 w 6785952"/>
              <a:gd name="connsiteY12633" fmla="*/ 1018243 h 5217112"/>
              <a:gd name="connsiteX12634" fmla="*/ 1955322 w 6785952"/>
              <a:gd name="connsiteY12634" fmla="*/ 1014320 h 5217112"/>
              <a:gd name="connsiteX12635" fmla="*/ 1750331 w 6785952"/>
              <a:gd name="connsiteY12635" fmla="*/ 1014293 h 5217112"/>
              <a:gd name="connsiteX12636" fmla="*/ 1761388 w 6785952"/>
              <a:gd name="connsiteY12636" fmla="*/ 1014320 h 5217112"/>
              <a:gd name="connsiteX12637" fmla="*/ 1764134 w 6785952"/>
              <a:gd name="connsiteY12637" fmla="*/ 1015628 h 5217112"/>
              <a:gd name="connsiteX12638" fmla="*/ 1764409 w 6785952"/>
              <a:gd name="connsiteY12638" fmla="*/ 1019224 h 5217112"/>
              <a:gd name="connsiteX12639" fmla="*/ 1746279 w 6785952"/>
              <a:gd name="connsiteY12639" fmla="*/ 1025217 h 5217112"/>
              <a:gd name="connsiteX12640" fmla="*/ 1742708 w 6785952"/>
              <a:gd name="connsiteY12640" fmla="*/ 1023583 h 5217112"/>
              <a:gd name="connsiteX12641" fmla="*/ 1740785 w 6785952"/>
              <a:gd name="connsiteY12641" fmla="*/ 1022820 h 5217112"/>
              <a:gd name="connsiteX12642" fmla="*/ 1744631 w 6785952"/>
              <a:gd name="connsiteY12642" fmla="*/ 1026307 h 5217112"/>
              <a:gd name="connsiteX12643" fmla="*/ 1746005 w 6785952"/>
              <a:gd name="connsiteY12643" fmla="*/ 1039383 h 5217112"/>
              <a:gd name="connsiteX12644" fmla="*/ 1744631 w 6785952"/>
              <a:gd name="connsiteY12644" fmla="*/ 1040037 h 5217112"/>
              <a:gd name="connsiteX12645" fmla="*/ 1750400 w 6785952"/>
              <a:gd name="connsiteY12645" fmla="*/ 1046794 h 5217112"/>
              <a:gd name="connsiteX12646" fmla="*/ 1731995 w 6785952"/>
              <a:gd name="connsiteY12646" fmla="*/ 1058563 h 5217112"/>
              <a:gd name="connsiteX12647" fmla="*/ 1728974 w 6785952"/>
              <a:gd name="connsiteY12647" fmla="*/ 1059108 h 5217112"/>
              <a:gd name="connsiteX12648" fmla="*/ 1729248 w 6785952"/>
              <a:gd name="connsiteY12648" fmla="*/ 1060307 h 5217112"/>
              <a:gd name="connsiteX12649" fmla="*/ 1732270 w 6785952"/>
              <a:gd name="connsiteY12649" fmla="*/ 1060416 h 5217112"/>
              <a:gd name="connsiteX12650" fmla="*/ 1748752 w 6785952"/>
              <a:gd name="connsiteY12650" fmla="*/ 1069352 h 5217112"/>
              <a:gd name="connsiteX12651" fmla="*/ 1726776 w 6785952"/>
              <a:gd name="connsiteY12651" fmla="*/ 1071531 h 5217112"/>
              <a:gd name="connsiteX12652" fmla="*/ 1710020 w 6785952"/>
              <a:gd name="connsiteY12652" fmla="*/ 1060525 h 5217112"/>
              <a:gd name="connsiteX12653" fmla="*/ 1719634 w 6785952"/>
              <a:gd name="connsiteY12653" fmla="*/ 1060307 h 5217112"/>
              <a:gd name="connsiteX12654" fmla="*/ 1724304 w 6785952"/>
              <a:gd name="connsiteY12654" fmla="*/ 1060307 h 5217112"/>
              <a:gd name="connsiteX12655" fmla="*/ 1720182 w 6785952"/>
              <a:gd name="connsiteY12655" fmla="*/ 1059435 h 5217112"/>
              <a:gd name="connsiteX12656" fmla="*/ 1719359 w 6785952"/>
              <a:gd name="connsiteY12656" fmla="*/ 1055839 h 5217112"/>
              <a:gd name="connsiteX12657" fmla="*/ 1724304 w 6785952"/>
              <a:gd name="connsiteY12657" fmla="*/ 1048538 h 5217112"/>
              <a:gd name="connsiteX12658" fmla="*/ 1719634 w 6785952"/>
              <a:gd name="connsiteY12658" fmla="*/ 1038948 h 5217112"/>
              <a:gd name="connsiteX12659" fmla="*/ 1719084 w 6785952"/>
              <a:gd name="connsiteY12659" fmla="*/ 1038185 h 5217112"/>
              <a:gd name="connsiteX12660" fmla="*/ 1716887 w 6785952"/>
              <a:gd name="connsiteY12660" fmla="*/ 1034262 h 5217112"/>
              <a:gd name="connsiteX12661" fmla="*/ 1716887 w 6785952"/>
              <a:gd name="connsiteY12661" fmla="*/ 1034153 h 5217112"/>
              <a:gd name="connsiteX12662" fmla="*/ 1716338 w 6785952"/>
              <a:gd name="connsiteY12662" fmla="*/ 1032845 h 5217112"/>
              <a:gd name="connsiteX12663" fmla="*/ 1716338 w 6785952"/>
              <a:gd name="connsiteY12663" fmla="*/ 1023692 h 5217112"/>
              <a:gd name="connsiteX12664" fmla="*/ 1730072 w 6785952"/>
              <a:gd name="connsiteY12664" fmla="*/ 1018570 h 5217112"/>
              <a:gd name="connsiteX12665" fmla="*/ 1733918 w 6785952"/>
              <a:gd name="connsiteY12665" fmla="*/ 1019878 h 5217112"/>
              <a:gd name="connsiteX12666" fmla="*/ 1733094 w 6785952"/>
              <a:gd name="connsiteY12666" fmla="*/ 1016718 h 5217112"/>
              <a:gd name="connsiteX12667" fmla="*/ 1750331 w 6785952"/>
              <a:gd name="connsiteY12667" fmla="*/ 1014293 h 5217112"/>
              <a:gd name="connsiteX12668" fmla="*/ 2130577 w 6785952"/>
              <a:gd name="connsiteY12668" fmla="*/ 1013667 h 5217112"/>
              <a:gd name="connsiteX12669" fmla="*/ 2142114 w 6785952"/>
              <a:gd name="connsiteY12669" fmla="*/ 1029903 h 5217112"/>
              <a:gd name="connsiteX12670" fmla="*/ 2140741 w 6785952"/>
              <a:gd name="connsiteY12670" fmla="*/ 1030666 h 5217112"/>
              <a:gd name="connsiteX12671" fmla="*/ 2131126 w 6785952"/>
              <a:gd name="connsiteY12671" fmla="*/ 1019442 h 5217112"/>
              <a:gd name="connsiteX12672" fmla="*/ 2129204 w 6785952"/>
              <a:gd name="connsiteY12672" fmla="*/ 1014429 h 5217112"/>
              <a:gd name="connsiteX12673" fmla="*/ 2130028 w 6785952"/>
              <a:gd name="connsiteY12673" fmla="*/ 1015737 h 5217112"/>
              <a:gd name="connsiteX12674" fmla="*/ 2130577 w 6785952"/>
              <a:gd name="connsiteY12674" fmla="*/ 1013667 h 5217112"/>
              <a:gd name="connsiteX12675" fmla="*/ 2564870 w 6785952"/>
              <a:gd name="connsiteY12675" fmla="*/ 1011487 h 5217112"/>
              <a:gd name="connsiteX12676" fmla="*/ 2575034 w 6785952"/>
              <a:gd name="connsiteY12676" fmla="*/ 1033499 h 5217112"/>
              <a:gd name="connsiteX12677" fmla="*/ 2571187 w 6785952"/>
              <a:gd name="connsiteY12677" fmla="*/ 1033935 h 5217112"/>
              <a:gd name="connsiteX12678" fmla="*/ 2563496 w 6785952"/>
              <a:gd name="connsiteY12678" fmla="*/ 1026961 h 5217112"/>
              <a:gd name="connsiteX12679" fmla="*/ 2564870 w 6785952"/>
              <a:gd name="connsiteY12679" fmla="*/ 1011487 h 5217112"/>
              <a:gd name="connsiteX12680" fmla="*/ 1418019 w 6785952"/>
              <a:gd name="connsiteY12680" fmla="*/ 1011269 h 5217112"/>
              <a:gd name="connsiteX12681" fmla="*/ 1426534 w 6785952"/>
              <a:gd name="connsiteY12681" fmla="*/ 1016282 h 5217112"/>
              <a:gd name="connsiteX12682" fmla="*/ 1443016 w 6785952"/>
              <a:gd name="connsiteY12682" fmla="*/ 1026089 h 5217112"/>
              <a:gd name="connsiteX12683" fmla="*/ 1444665 w 6785952"/>
              <a:gd name="connsiteY12683" fmla="*/ 1031102 h 5217112"/>
              <a:gd name="connsiteX12684" fmla="*/ 1448509 w 6785952"/>
              <a:gd name="connsiteY12684" fmla="*/ 1029467 h 5217112"/>
              <a:gd name="connsiteX12685" fmla="*/ 1475705 w 6785952"/>
              <a:gd name="connsiteY12685" fmla="*/ 1037204 h 5217112"/>
              <a:gd name="connsiteX12686" fmla="*/ 1467189 w 6785952"/>
              <a:gd name="connsiteY12686" fmla="*/ 1038076 h 5217112"/>
              <a:gd name="connsiteX12687" fmla="*/ 1463344 w 6785952"/>
              <a:gd name="connsiteY12687" fmla="*/ 1041345 h 5217112"/>
              <a:gd name="connsiteX12688" fmla="*/ 1450983 w 6785952"/>
              <a:gd name="connsiteY12688" fmla="*/ 1045813 h 5217112"/>
              <a:gd name="connsiteX12689" fmla="*/ 1448509 w 6785952"/>
              <a:gd name="connsiteY12689" fmla="*/ 1043960 h 5217112"/>
              <a:gd name="connsiteX12690" fmla="*/ 1445763 w 6785952"/>
              <a:gd name="connsiteY12690" fmla="*/ 1044942 h 5217112"/>
              <a:gd name="connsiteX12691" fmla="*/ 1426260 w 6785952"/>
              <a:gd name="connsiteY12691" fmla="*/ 1071858 h 5217112"/>
              <a:gd name="connsiteX12692" fmla="*/ 1414722 w 6785952"/>
              <a:gd name="connsiteY12692" fmla="*/ 1074800 h 5217112"/>
              <a:gd name="connsiteX12693" fmla="*/ 1396593 w 6785952"/>
              <a:gd name="connsiteY12693" fmla="*/ 1072730 h 5217112"/>
              <a:gd name="connsiteX12694" fmla="*/ 1380111 w 6785952"/>
              <a:gd name="connsiteY12694" fmla="*/ 1045487 h 5217112"/>
              <a:gd name="connsiteX12695" fmla="*/ 1378188 w 6785952"/>
              <a:gd name="connsiteY12695" fmla="*/ 1047557 h 5217112"/>
              <a:gd name="connsiteX12696" fmla="*/ 1382583 w 6785952"/>
              <a:gd name="connsiteY12696" fmla="*/ 1030012 h 5217112"/>
              <a:gd name="connsiteX12697" fmla="*/ 1384507 w 6785952"/>
              <a:gd name="connsiteY12697" fmla="*/ 1029903 h 5217112"/>
              <a:gd name="connsiteX12698" fmla="*/ 1396593 w 6785952"/>
              <a:gd name="connsiteY12698" fmla="*/ 1016718 h 5217112"/>
              <a:gd name="connsiteX12699" fmla="*/ 1418019 w 6785952"/>
              <a:gd name="connsiteY12699" fmla="*/ 1011269 h 5217112"/>
              <a:gd name="connsiteX12700" fmla="*/ 2305283 w 6785952"/>
              <a:gd name="connsiteY12700" fmla="*/ 1011051 h 5217112"/>
              <a:gd name="connsiteX12701" fmla="*/ 2304184 w 6785952"/>
              <a:gd name="connsiteY12701" fmla="*/ 1012359 h 5217112"/>
              <a:gd name="connsiteX12702" fmla="*/ 2301712 w 6785952"/>
              <a:gd name="connsiteY12702" fmla="*/ 1012904 h 5217112"/>
              <a:gd name="connsiteX12703" fmla="*/ 2302262 w 6785952"/>
              <a:gd name="connsiteY12703" fmla="*/ 1016391 h 5217112"/>
              <a:gd name="connsiteX12704" fmla="*/ 2298416 w 6785952"/>
              <a:gd name="connsiteY12704" fmla="*/ 1023365 h 5217112"/>
              <a:gd name="connsiteX12705" fmla="*/ 2303635 w 6785952"/>
              <a:gd name="connsiteY12705" fmla="*/ 1019551 h 5217112"/>
              <a:gd name="connsiteX12706" fmla="*/ 2304184 w 6785952"/>
              <a:gd name="connsiteY12706" fmla="*/ 1017153 h 5217112"/>
              <a:gd name="connsiteX12707" fmla="*/ 2305832 w 6785952"/>
              <a:gd name="connsiteY12707" fmla="*/ 1017807 h 5217112"/>
              <a:gd name="connsiteX12708" fmla="*/ 2307756 w 6785952"/>
              <a:gd name="connsiteY12708" fmla="*/ 1017372 h 5217112"/>
              <a:gd name="connsiteX12709" fmla="*/ 2307481 w 6785952"/>
              <a:gd name="connsiteY12709" fmla="*/ 1017153 h 5217112"/>
              <a:gd name="connsiteX12710" fmla="*/ 2488710 w 6785952"/>
              <a:gd name="connsiteY12710" fmla="*/ 1010411 h 5217112"/>
              <a:gd name="connsiteX12711" fmla="*/ 2496746 w 6785952"/>
              <a:gd name="connsiteY12711" fmla="*/ 1019987 h 5217112"/>
              <a:gd name="connsiteX12712" fmla="*/ 2487406 w 6785952"/>
              <a:gd name="connsiteY12712" fmla="*/ 1023256 h 5217112"/>
              <a:gd name="connsiteX12713" fmla="*/ 2484384 w 6785952"/>
              <a:gd name="connsiteY12713" fmla="*/ 1019224 h 5217112"/>
              <a:gd name="connsiteX12714" fmla="*/ 2488710 w 6785952"/>
              <a:gd name="connsiteY12714" fmla="*/ 1010411 h 5217112"/>
              <a:gd name="connsiteX12715" fmla="*/ 937852 w 6785952"/>
              <a:gd name="connsiteY12715" fmla="*/ 1009635 h 5217112"/>
              <a:gd name="connsiteX12716" fmla="*/ 952411 w 6785952"/>
              <a:gd name="connsiteY12716" fmla="*/ 1023474 h 5217112"/>
              <a:gd name="connsiteX12717" fmla="*/ 946917 w 6785952"/>
              <a:gd name="connsiteY12717" fmla="*/ 1024345 h 5217112"/>
              <a:gd name="connsiteX12718" fmla="*/ 940324 w 6785952"/>
              <a:gd name="connsiteY12718" fmla="*/ 1023365 h 5217112"/>
              <a:gd name="connsiteX12719" fmla="*/ 937852 w 6785952"/>
              <a:gd name="connsiteY12719" fmla="*/ 1009635 h 5217112"/>
              <a:gd name="connsiteX12720" fmla="*/ 1022252 w 6785952"/>
              <a:gd name="connsiteY12720" fmla="*/ 1007346 h 5217112"/>
              <a:gd name="connsiteX12721" fmla="*/ 1035918 w 6785952"/>
              <a:gd name="connsiteY12721" fmla="*/ 1011378 h 5217112"/>
              <a:gd name="connsiteX12722" fmla="*/ 991692 w 6785952"/>
              <a:gd name="connsiteY12722" fmla="*/ 1039929 h 5217112"/>
              <a:gd name="connsiteX12723" fmla="*/ 1007350 w 6785952"/>
              <a:gd name="connsiteY12723" fmla="*/ 1014103 h 5217112"/>
              <a:gd name="connsiteX12724" fmla="*/ 1022252 w 6785952"/>
              <a:gd name="connsiteY12724" fmla="*/ 1007346 h 5217112"/>
              <a:gd name="connsiteX12725" fmla="*/ 1096351 w 6785952"/>
              <a:gd name="connsiteY12725" fmla="*/ 1002660 h 5217112"/>
              <a:gd name="connsiteX12726" fmla="*/ 1102120 w 6785952"/>
              <a:gd name="connsiteY12726" fmla="*/ 1007455 h 5217112"/>
              <a:gd name="connsiteX12727" fmla="*/ 1095527 w 6785952"/>
              <a:gd name="connsiteY12727" fmla="*/ 1004731 h 5217112"/>
              <a:gd name="connsiteX12728" fmla="*/ 1096351 w 6785952"/>
              <a:gd name="connsiteY12728" fmla="*/ 1002660 h 5217112"/>
              <a:gd name="connsiteX12729" fmla="*/ 2162716 w 6785952"/>
              <a:gd name="connsiteY12729" fmla="*/ 1002224 h 5217112"/>
              <a:gd name="connsiteX12730" fmla="*/ 2156948 w 6785952"/>
              <a:gd name="connsiteY12730" fmla="*/ 1005929 h 5217112"/>
              <a:gd name="connsiteX12731" fmla="*/ 2162716 w 6785952"/>
              <a:gd name="connsiteY12731" fmla="*/ 1002224 h 5217112"/>
              <a:gd name="connsiteX12732" fmla="*/ 1387802 w 6785952"/>
              <a:gd name="connsiteY12732" fmla="*/ 1000481 h 5217112"/>
              <a:gd name="connsiteX12733" fmla="*/ 1394120 w 6785952"/>
              <a:gd name="connsiteY12733" fmla="*/ 1018135 h 5217112"/>
              <a:gd name="connsiteX12734" fmla="*/ 1383132 w 6785952"/>
              <a:gd name="connsiteY12734" fmla="*/ 1013775 h 5217112"/>
              <a:gd name="connsiteX12735" fmla="*/ 1387802 w 6785952"/>
              <a:gd name="connsiteY12735" fmla="*/ 1000481 h 5217112"/>
              <a:gd name="connsiteX12736" fmla="*/ 1860826 w 6785952"/>
              <a:gd name="connsiteY12736" fmla="*/ 1000371 h 5217112"/>
              <a:gd name="connsiteX12737" fmla="*/ 1858355 w 6785952"/>
              <a:gd name="connsiteY12737" fmla="*/ 1001134 h 5217112"/>
              <a:gd name="connsiteX12738" fmla="*/ 1858355 w 6785952"/>
              <a:gd name="connsiteY12738" fmla="*/ 1002333 h 5217112"/>
              <a:gd name="connsiteX12739" fmla="*/ 1859453 w 6785952"/>
              <a:gd name="connsiteY12739" fmla="*/ 1002769 h 5217112"/>
              <a:gd name="connsiteX12740" fmla="*/ 1860552 w 6785952"/>
              <a:gd name="connsiteY12740" fmla="*/ 1003097 h 5217112"/>
              <a:gd name="connsiteX12741" fmla="*/ 6333409 w 6785952"/>
              <a:gd name="connsiteY12741" fmla="*/ 999173 h 5217112"/>
              <a:gd name="connsiteX12742" fmla="*/ 6332860 w 6785952"/>
              <a:gd name="connsiteY12742" fmla="*/ 1039602 h 5217112"/>
              <a:gd name="connsiteX12743" fmla="*/ 6327091 w 6785952"/>
              <a:gd name="connsiteY12743" fmla="*/ 1046140 h 5217112"/>
              <a:gd name="connsiteX12744" fmla="*/ 6335057 w 6785952"/>
              <a:gd name="connsiteY12744" fmla="*/ 1053115 h 5217112"/>
              <a:gd name="connsiteX12745" fmla="*/ 6326816 w 6785952"/>
              <a:gd name="connsiteY12745" fmla="*/ 1065538 h 5217112"/>
              <a:gd name="connsiteX12746" fmla="*/ 6319124 w 6785952"/>
              <a:gd name="connsiteY12746" fmla="*/ 1061723 h 5217112"/>
              <a:gd name="connsiteX12747" fmla="*/ 6317202 w 6785952"/>
              <a:gd name="connsiteY12747" fmla="*/ 1056710 h 5217112"/>
              <a:gd name="connsiteX12748" fmla="*/ 6311708 w 6785952"/>
              <a:gd name="connsiteY12748" fmla="*/ 1062050 h 5217112"/>
              <a:gd name="connsiteX12749" fmla="*/ 6300995 w 6785952"/>
              <a:gd name="connsiteY12749" fmla="*/ 1067390 h 5217112"/>
              <a:gd name="connsiteX12750" fmla="*/ 6293852 w 6785952"/>
              <a:gd name="connsiteY12750" fmla="*/ 1065646 h 5217112"/>
              <a:gd name="connsiteX12751" fmla="*/ 6293852 w 6785952"/>
              <a:gd name="connsiteY12751" fmla="*/ 1023256 h 5217112"/>
              <a:gd name="connsiteX12752" fmla="*/ 6333409 w 6785952"/>
              <a:gd name="connsiteY12752" fmla="*/ 999173 h 5217112"/>
              <a:gd name="connsiteX12753" fmla="*/ 2176254 w 6785952"/>
              <a:gd name="connsiteY12753" fmla="*/ 998650 h 5217112"/>
              <a:gd name="connsiteX12754" fmla="*/ 2184143 w 6785952"/>
              <a:gd name="connsiteY12754" fmla="*/ 1000481 h 5217112"/>
              <a:gd name="connsiteX12755" fmla="*/ 2160519 w 6785952"/>
              <a:gd name="connsiteY12755" fmla="*/ 1022820 h 5217112"/>
              <a:gd name="connsiteX12756" fmla="*/ 2156399 w 6785952"/>
              <a:gd name="connsiteY12756" fmla="*/ 1022493 h 5217112"/>
              <a:gd name="connsiteX12757" fmla="*/ 2151454 w 6785952"/>
              <a:gd name="connsiteY12757" fmla="*/ 1019660 h 5217112"/>
              <a:gd name="connsiteX12758" fmla="*/ 2176254 w 6785952"/>
              <a:gd name="connsiteY12758" fmla="*/ 998650 h 5217112"/>
              <a:gd name="connsiteX12759" fmla="*/ 2503613 w 6785952"/>
              <a:gd name="connsiteY12759" fmla="*/ 996667 h 5217112"/>
              <a:gd name="connsiteX12760" fmla="*/ 2504437 w 6785952"/>
              <a:gd name="connsiteY12760" fmla="*/ 1007237 h 5217112"/>
              <a:gd name="connsiteX12761" fmla="*/ 2499767 w 6785952"/>
              <a:gd name="connsiteY12761" fmla="*/ 1008218 h 5217112"/>
              <a:gd name="connsiteX12762" fmla="*/ 2493998 w 6785952"/>
              <a:gd name="connsiteY12762" fmla="*/ 1001570 h 5217112"/>
              <a:gd name="connsiteX12763" fmla="*/ 2503613 w 6785952"/>
              <a:gd name="connsiteY12763" fmla="*/ 996667 h 5217112"/>
              <a:gd name="connsiteX12764" fmla="*/ 2207217 w 6785952"/>
              <a:gd name="connsiteY12764" fmla="*/ 995359 h 5217112"/>
              <a:gd name="connsiteX12765" fmla="*/ 2205020 w 6785952"/>
              <a:gd name="connsiteY12765" fmla="*/ 1026198 h 5217112"/>
              <a:gd name="connsiteX12766" fmla="*/ 2207217 w 6785952"/>
              <a:gd name="connsiteY12766" fmla="*/ 995359 h 5217112"/>
              <a:gd name="connsiteX12767" fmla="*/ 1271607 w 6785952"/>
              <a:gd name="connsiteY12767" fmla="*/ 994051 h 5217112"/>
              <a:gd name="connsiteX12768" fmla="*/ 1274078 w 6785952"/>
              <a:gd name="connsiteY12768" fmla="*/ 996013 h 5217112"/>
              <a:gd name="connsiteX12769" fmla="*/ 1272430 w 6785952"/>
              <a:gd name="connsiteY12769" fmla="*/ 999936 h 5217112"/>
              <a:gd name="connsiteX12770" fmla="*/ 1264739 w 6785952"/>
              <a:gd name="connsiteY12770" fmla="*/ 1003750 h 5217112"/>
              <a:gd name="connsiteX12771" fmla="*/ 1262542 w 6785952"/>
              <a:gd name="connsiteY12771" fmla="*/ 1001789 h 5217112"/>
              <a:gd name="connsiteX12772" fmla="*/ 1271607 w 6785952"/>
              <a:gd name="connsiteY12772" fmla="*/ 994051 h 5217112"/>
              <a:gd name="connsiteX12773" fmla="*/ 2318194 w 6785952"/>
              <a:gd name="connsiteY12773" fmla="*/ 993071 h 5217112"/>
              <a:gd name="connsiteX12774" fmla="*/ 2308030 w 6785952"/>
              <a:gd name="connsiteY12774" fmla="*/ 1003859 h 5217112"/>
              <a:gd name="connsiteX12775" fmla="*/ 2303360 w 6785952"/>
              <a:gd name="connsiteY12775" fmla="*/ 1003859 h 5217112"/>
              <a:gd name="connsiteX12776" fmla="*/ 2318194 w 6785952"/>
              <a:gd name="connsiteY12776" fmla="*/ 993071 h 5217112"/>
              <a:gd name="connsiteX12777" fmla="*/ 1408851 w 6785952"/>
              <a:gd name="connsiteY12777" fmla="*/ 993043 h 5217112"/>
              <a:gd name="connsiteX12778" fmla="*/ 1412525 w 6785952"/>
              <a:gd name="connsiteY12778" fmla="*/ 995904 h 5217112"/>
              <a:gd name="connsiteX12779" fmla="*/ 1410052 w 6785952"/>
              <a:gd name="connsiteY12779" fmla="*/ 998628 h 5217112"/>
              <a:gd name="connsiteX12780" fmla="*/ 1405382 w 6785952"/>
              <a:gd name="connsiteY12780" fmla="*/ 996993 h 5217112"/>
              <a:gd name="connsiteX12781" fmla="*/ 1405382 w 6785952"/>
              <a:gd name="connsiteY12781" fmla="*/ 995577 h 5217112"/>
              <a:gd name="connsiteX12782" fmla="*/ 1408851 w 6785952"/>
              <a:gd name="connsiteY12782" fmla="*/ 993043 h 5217112"/>
              <a:gd name="connsiteX12783" fmla="*/ 1389451 w 6785952"/>
              <a:gd name="connsiteY12783" fmla="*/ 990346 h 5217112"/>
              <a:gd name="connsiteX12784" fmla="*/ 1396868 w 6785952"/>
              <a:gd name="connsiteY12784" fmla="*/ 992308 h 5217112"/>
              <a:gd name="connsiteX12785" fmla="*/ 1395769 w 6785952"/>
              <a:gd name="connsiteY12785" fmla="*/ 996667 h 5217112"/>
              <a:gd name="connsiteX12786" fmla="*/ 1389725 w 6785952"/>
              <a:gd name="connsiteY12786" fmla="*/ 994923 h 5217112"/>
              <a:gd name="connsiteX12787" fmla="*/ 1389451 w 6785952"/>
              <a:gd name="connsiteY12787" fmla="*/ 990346 h 5217112"/>
              <a:gd name="connsiteX12788" fmla="*/ 1783912 w 6785952"/>
              <a:gd name="connsiteY12788" fmla="*/ 990019 h 5217112"/>
              <a:gd name="connsiteX12789" fmla="*/ 1796548 w 6785952"/>
              <a:gd name="connsiteY12789" fmla="*/ 1007346 h 5217112"/>
              <a:gd name="connsiteX12790" fmla="*/ 1796548 w 6785952"/>
              <a:gd name="connsiteY12790" fmla="*/ 1012468 h 5217112"/>
              <a:gd name="connsiteX12791" fmla="*/ 1800943 w 6785952"/>
              <a:gd name="connsiteY12791" fmla="*/ 1015410 h 5217112"/>
              <a:gd name="connsiteX12792" fmla="*/ 1801218 w 6785952"/>
              <a:gd name="connsiteY12792" fmla="*/ 1040037 h 5217112"/>
              <a:gd name="connsiteX12793" fmla="*/ 1795724 w 6785952"/>
              <a:gd name="connsiteY12793" fmla="*/ 1039275 h 5217112"/>
              <a:gd name="connsiteX12794" fmla="*/ 1795175 w 6785952"/>
              <a:gd name="connsiteY12794" fmla="*/ 1038839 h 5217112"/>
              <a:gd name="connsiteX12795" fmla="*/ 1793802 w 6785952"/>
              <a:gd name="connsiteY12795" fmla="*/ 1039275 h 5217112"/>
              <a:gd name="connsiteX12796" fmla="*/ 1783363 w 6785952"/>
              <a:gd name="connsiteY12796" fmla="*/ 1041455 h 5217112"/>
              <a:gd name="connsiteX12797" fmla="*/ 1791604 w 6785952"/>
              <a:gd name="connsiteY12797" fmla="*/ 1035679 h 5217112"/>
              <a:gd name="connsiteX12798" fmla="*/ 1792428 w 6785952"/>
              <a:gd name="connsiteY12798" fmla="*/ 1035570 h 5217112"/>
              <a:gd name="connsiteX12799" fmla="*/ 1789955 w 6785952"/>
              <a:gd name="connsiteY12799" fmla="*/ 1032519 h 5217112"/>
              <a:gd name="connsiteX12800" fmla="*/ 1785835 w 6785952"/>
              <a:gd name="connsiteY12800" fmla="*/ 1018680 h 5217112"/>
              <a:gd name="connsiteX12801" fmla="*/ 1787484 w 6785952"/>
              <a:gd name="connsiteY12801" fmla="*/ 1014974 h 5217112"/>
              <a:gd name="connsiteX12802" fmla="*/ 1785835 w 6785952"/>
              <a:gd name="connsiteY12802" fmla="*/ 1012032 h 5217112"/>
              <a:gd name="connsiteX12803" fmla="*/ 1783912 w 6785952"/>
              <a:gd name="connsiteY12803" fmla="*/ 990019 h 5217112"/>
              <a:gd name="connsiteX12804" fmla="*/ 1924281 w 6785952"/>
              <a:gd name="connsiteY12804" fmla="*/ 989039 h 5217112"/>
              <a:gd name="connsiteX12805" fmla="*/ 1927028 w 6785952"/>
              <a:gd name="connsiteY12805" fmla="*/ 992417 h 5217112"/>
              <a:gd name="connsiteX12806" fmla="*/ 1909722 w 6785952"/>
              <a:gd name="connsiteY12806" fmla="*/ 1014212 h 5217112"/>
              <a:gd name="connsiteX12807" fmla="*/ 1903130 w 6785952"/>
              <a:gd name="connsiteY12807" fmla="*/ 1011923 h 5217112"/>
              <a:gd name="connsiteX12808" fmla="*/ 1901482 w 6785952"/>
              <a:gd name="connsiteY12808" fmla="*/ 1006583 h 5217112"/>
              <a:gd name="connsiteX12809" fmla="*/ 1924281 w 6785952"/>
              <a:gd name="connsiteY12809" fmla="*/ 989039 h 5217112"/>
              <a:gd name="connsiteX12810" fmla="*/ 2143968 w 6785952"/>
              <a:gd name="connsiteY12810" fmla="*/ 985061 h 5217112"/>
              <a:gd name="connsiteX12811" fmla="*/ 2147608 w 6785952"/>
              <a:gd name="connsiteY12811" fmla="*/ 993288 h 5217112"/>
              <a:gd name="connsiteX12812" fmla="*/ 2143487 w 6785952"/>
              <a:gd name="connsiteY12812" fmla="*/ 995468 h 5217112"/>
              <a:gd name="connsiteX12813" fmla="*/ 2135796 w 6785952"/>
              <a:gd name="connsiteY12813" fmla="*/ 985987 h 5217112"/>
              <a:gd name="connsiteX12814" fmla="*/ 2143968 w 6785952"/>
              <a:gd name="connsiteY12814" fmla="*/ 985061 h 5217112"/>
              <a:gd name="connsiteX12815" fmla="*/ 2430818 w 6785952"/>
              <a:gd name="connsiteY12815" fmla="*/ 985007 h 5217112"/>
              <a:gd name="connsiteX12816" fmla="*/ 2430269 w 6785952"/>
              <a:gd name="connsiteY12816" fmla="*/ 988058 h 5217112"/>
              <a:gd name="connsiteX12817" fmla="*/ 2429445 w 6785952"/>
              <a:gd name="connsiteY12817" fmla="*/ 986968 h 5217112"/>
              <a:gd name="connsiteX12818" fmla="*/ 2430818 w 6785952"/>
              <a:gd name="connsiteY12818" fmla="*/ 985007 h 5217112"/>
              <a:gd name="connsiteX12819" fmla="*/ 1073276 w 6785952"/>
              <a:gd name="connsiteY12819" fmla="*/ 983699 h 5217112"/>
              <a:gd name="connsiteX12820" fmla="*/ 1074650 w 6785952"/>
              <a:gd name="connsiteY12820" fmla="*/ 986205 h 5217112"/>
              <a:gd name="connsiteX12821" fmla="*/ 1090857 w 6785952"/>
              <a:gd name="connsiteY12821" fmla="*/ 1001244 h 5217112"/>
              <a:gd name="connsiteX12822" fmla="*/ 1068332 w 6785952"/>
              <a:gd name="connsiteY12822" fmla="*/ 986859 h 5217112"/>
              <a:gd name="connsiteX12823" fmla="*/ 1073276 w 6785952"/>
              <a:gd name="connsiteY12823" fmla="*/ 983699 h 5217112"/>
              <a:gd name="connsiteX12824" fmla="*/ 1257597 w 6785952"/>
              <a:gd name="connsiteY12824" fmla="*/ 981955 h 5217112"/>
              <a:gd name="connsiteX12825" fmla="*/ 1263090 w 6785952"/>
              <a:gd name="connsiteY12825" fmla="*/ 984026 h 5217112"/>
              <a:gd name="connsiteX12826" fmla="*/ 1258420 w 6785952"/>
              <a:gd name="connsiteY12826" fmla="*/ 987949 h 5217112"/>
              <a:gd name="connsiteX12827" fmla="*/ 1256772 w 6785952"/>
              <a:gd name="connsiteY12827" fmla="*/ 986205 h 5217112"/>
              <a:gd name="connsiteX12828" fmla="*/ 1257597 w 6785952"/>
              <a:gd name="connsiteY12828" fmla="*/ 981955 h 5217112"/>
              <a:gd name="connsiteX12829" fmla="*/ 6272151 w 6785952"/>
              <a:gd name="connsiteY12829" fmla="*/ 981628 h 5217112"/>
              <a:gd name="connsiteX12830" fmla="*/ 6261713 w 6785952"/>
              <a:gd name="connsiteY12830" fmla="*/ 1001244 h 5217112"/>
              <a:gd name="connsiteX12831" fmla="*/ 6254296 w 6785952"/>
              <a:gd name="connsiteY12831" fmla="*/ 995250 h 5217112"/>
              <a:gd name="connsiteX12832" fmla="*/ 6272151 w 6785952"/>
              <a:gd name="connsiteY12832" fmla="*/ 981628 h 5217112"/>
              <a:gd name="connsiteX12833" fmla="*/ 2641235 w 6785952"/>
              <a:gd name="connsiteY12833" fmla="*/ 980974 h 5217112"/>
              <a:gd name="connsiteX12834" fmla="*/ 2640136 w 6785952"/>
              <a:gd name="connsiteY12834" fmla="*/ 984353 h 5217112"/>
              <a:gd name="connsiteX12835" fmla="*/ 2638762 w 6785952"/>
              <a:gd name="connsiteY12835" fmla="*/ 982827 h 5217112"/>
              <a:gd name="connsiteX12836" fmla="*/ 2641235 w 6785952"/>
              <a:gd name="connsiteY12836" fmla="*/ 980974 h 5217112"/>
              <a:gd name="connsiteX12837" fmla="*/ 2591241 w 6785952"/>
              <a:gd name="connsiteY12837" fmla="*/ 980648 h 5217112"/>
              <a:gd name="connsiteX12838" fmla="*/ 2590691 w 6785952"/>
              <a:gd name="connsiteY12838" fmla="*/ 983917 h 5217112"/>
              <a:gd name="connsiteX12839" fmla="*/ 2588768 w 6785952"/>
              <a:gd name="connsiteY12839" fmla="*/ 987622 h 5217112"/>
              <a:gd name="connsiteX12840" fmla="*/ 2589592 w 6785952"/>
              <a:gd name="connsiteY12840" fmla="*/ 990346 h 5217112"/>
              <a:gd name="connsiteX12841" fmla="*/ 2581626 w 6785952"/>
              <a:gd name="connsiteY12841" fmla="*/ 999391 h 5217112"/>
              <a:gd name="connsiteX12842" fmla="*/ 2584099 w 6785952"/>
              <a:gd name="connsiteY12842" fmla="*/ 992417 h 5217112"/>
              <a:gd name="connsiteX12843" fmla="*/ 2586021 w 6785952"/>
              <a:gd name="connsiteY12843" fmla="*/ 988603 h 5217112"/>
              <a:gd name="connsiteX12844" fmla="*/ 2586571 w 6785952"/>
              <a:gd name="connsiteY12844" fmla="*/ 985333 h 5217112"/>
              <a:gd name="connsiteX12845" fmla="*/ 2591241 w 6785952"/>
              <a:gd name="connsiteY12845" fmla="*/ 980648 h 5217112"/>
              <a:gd name="connsiteX12846" fmla="*/ 1083989 w 6785952"/>
              <a:gd name="connsiteY12846" fmla="*/ 978578 h 5217112"/>
              <a:gd name="connsiteX12847" fmla="*/ 1095527 w 6785952"/>
              <a:gd name="connsiteY12847" fmla="*/ 994814 h 5217112"/>
              <a:gd name="connsiteX12848" fmla="*/ 1094154 w 6785952"/>
              <a:gd name="connsiteY12848" fmla="*/ 995577 h 5217112"/>
              <a:gd name="connsiteX12849" fmla="*/ 1084539 w 6785952"/>
              <a:gd name="connsiteY12849" fmla="*/ 984244 h 5217112"/>
              <a:gd name="connsiteX12850" fmla="*/ 1082616 w 6785952"/>
              <a:gd name="connsiteY12850" fmla="*/ 979340 h 5217112"/>
              <a:gd name="connsiteX12851" fmla="*/ 1083440 w 6785952"/>
              <a:gd name="connsiteY12851" fmla="*/ 980539 h 5217112"/>
              <a:gd name="connsiteX12852" fmla="*/ 1083989 w 6785952"/>
              <a:gd name="connsiteY12852" fmla="*/ 978578 h 5217112"/>
              <a:gd name="connsiteX12853" fmla="*/ 2252614 w 6785952"/>
              <a:gd name="connsiteY12853" fmla="*/ 978291 h 5217112"/>
              <a:gd name="connsiteX12854" fmla="*/ 2272045 w 6785952"/>
              <a:gd name="connsiteY12854" fmla="*/ 1004404 h 5217112"/>
              <a:gd name="connsiteX12855" fmla="*/ 2275616 w 6785952"/>
              <a:gd name="connsiteY12855" fmla="*/ 1013993 h 5217112"/>
              <a:gd name="connsiteX12856" fmla="*/ 2277813 w 6785952"/>
              <a:gd name="connsiteY12856" fmla="*/ 1001353 h 5217112"/>
              <a:gd name="connsiteX12857" fmla="*/ 2288527 w 6785952"/>
              <a:gd name="connsiteY12857" fmla="*/ 1011596 h 5217112"/>
              <a:gd name="connsiteX12858" fmla="*/ 2288527 w 6785952"/>
              <a:gd name="connsiteY12858" fmla="*/ 1011814 h 5217112"/>
              <a:gd name="connsiteX12859" fmla="*/ 2290449 w 6785952"/>
              <a:gd name="connsiteY12859" fmla="*/ 1008654 h 5217112"/>
              <a:gd name="connsiteX12860" fmla="*/ 2292373 w 6785952"/>
              <a:gd name="connsiteY12860" fmla="*/ 1007346 h 5217112"/>
              <a:gd name="connsiteX12861" fmla="*/ 2295119 w 6785952"/>
              <a:gd name="connsiteY12861" fmla="*/ 1005929 h 5217112"/>
              <a:gd name="connsiteX12862" fmla="*/ 2297042 w 6785952"/>
              <a:gd name="connsiteY12862" fmla="*/ 1007237 h 5217112"/>
              <a:gd name="connsiteX12863" fmla="*/ 2297866 w 6785952"/>
              <a:gd name="connsiteY12863" fmla="*/ 1006147 h 5217112"/>
              <a:gd name="connsiteX12864" fmla="*/ 2301437 w 6785952"/>
              <a:gd name="connsiteY12864" fmla="*/ 1003750 h 5217112"/>
              <a:gd name="connsiteX12865" fmla="*/ 2303910 w 6785952"/>
              <a:gd name="connsiteY12865" fmla="*/ 1006583 h 5217112"/>
              <a:gd name="connsiteX12866" fmla="*/ 2305283 w 6785952"/>
              <a:gd name="connsiteY12866" fmla="*/ 1008109 h 5217112"/>
              <a:gd name="connsiteX12867" fmla="*/ 2307756 w 6785952"/>
              <a:gd name="connsiteY12867" fmla="*/ 1005821 h 5217112"/>
              <a:gd name="connsiteX12868" fmla="*/ 2311601 w 6785952"/>
              <a:gd name="connsiteY12868" fmla="*/ 1001789 h 5217112"/>
              <a:gd name="connsiteX12869" fmla="*/ 2318743 w 6785952"/>
              <a:gd name="connsiteY12869" fmla="*/ 1019769 h 5217112"/>
              <a:gd name="connsiteX12870" fmla="*/ 2318469 w 6785952"/>
              <a:gd name="connsiteY12870" fmla="*/ 1019878 h 5217112"/>
              <a:gd name="connsiteX12871" fmla="*/ 2315996 w 6785952"/>
              <a:gd name="connsiteY12871" fmla="*/ 1026852 h 5217112"/>
              <a:gd name="connsiteX12872" fmla="*/ 2295668 w 6785952"/>
              <a:gd name="connsiteY12872" fmla="*/ 1041019 h 5217112"/>
              <a:gd name="connsiteX12873" fmla="*/ 2289076 w 6785952"/>
              <a:gd name="connsiteY12873" fmla="*/ 1057255 h 5217112"/>
              <a:gd name="connsiteX12874" fmla="*/ 2278363 w 6785952"/>
              <a:gd name="connsiteY12874" fmla="*/ 1034807 h 5217112"/>
              <a:gd name="connsiteX12875" fmla="*/ 2275891 w 6785952"/>
              <a:gd name="connsiteY12875" fmla="*/ 1015954 h 5217112"/>
              <a:gd name="connsiteX12876" fmla="*/ 2276166 w 6785952"/>
              <a:gd name="connsiteY12876" fmla="*/ 1022711 h 5217112"/>
              <a:gd name="connsiteX12877" fmla="*/ 2273143 w 6785952"/>
              <a:gd name="connsiteY12877" fmla="*/ 1026198 h 5217112"/>
              <a:gd name="connsiteX12878" fmla="*/ 2258585 w 6785952"/>
              <a:gd name="connsiteY12878" fmla="*/ 1025108 h 5217112"/>
              <a:gd name="connsiteX12879" fmla="*/ 2252541 w 6785952"/>
              <a:gd name="connsiteY12879" fmla="*/ 1020096 h 5217112"/>
              <a:gd name="connsiteX12880" fmla="*/ 2252266 w 6785952"/>
              <a:gd name="connsiteY12880" fmla="*/ 1024345 h 5217112"/>
              <a:gd name="connsiteX12881" fmla="*/ 2248971 w 6785952"/>
              <a:gd name="connsiteY12881" fmla="*/ 1024673 h 5217112"/>
              <a:gd name="connsiteX12882" fmla="*/ 2245125 w 6785952"/>
              <a:gd name="connsiteY12882" fmla="*/ 1022166 h 5217112"/>
              <a:gd name="connsiteX12883" fmla="*/ 2243751 w 6785952"/>
              <a:gd name="connsiteY12883" fmla="*/ 1017916 h 5217112"/>
              <a:gd name="connsiteX12884" fmla="*/ 2248971 w 6785952"/>
              <a:gd name="connsiteY12884" fmla="*/ 1014865 h 5217112"/>
              <a:gd name="connsiteX12885" fmla="*/ 2246498 w 6785952"/>
              <a:gd name="connsiteY12885" fmla="*/ 1010942 h 5217112"/>
              <a:gd name="connsiteX12886" fmla="*/ 2241828 w 6785952"/>
              <a:gd name="connsiteY12886" fmla="*/ 979122 h 5217112"/>
              <a:gd name="connsiteX12887" fmla="*/ 2252614 w 6785952"/>
              <a:gd name="connsiteY12887" fmla="*/ 978291 h 5217112"/>
              <a:gd name="connsiteX12888" fmla="*/ 1204856 w 6785952"/>
              <a:gd name="connsiteY12888" fmla="*/ 978141 h 5217112"/>
              <a:gd name="connsiteX12889" fmla="*/ 1205680 w 6785952"/>
              <a:gd name="connsiteY12889" fmla="*/ 989148 h 5217112"/>
              <a:gd name="connsiteX12890" fmla="*/ 1202658 w 6785952"/>
              <a:gd name="connsiteY12890" fmla="*/ 989474 h 5217112"/>
              <a:gd name="connsiteX12891" fmla="*/ 1198537 w 6785952"/>
              <a:gd name="connsiteY12891" fmla="*/ 986968 h 5217112"/>
              <a:gd name="connsiteX12892" fmla="*/ 1197439 w 6785952"/>
              <a:gd name="connsiteY12892" fmla="*/ 982827 h 5217112"/>
              <a:gd name="connsiteX12893" fmla="*/ 1204856 w 6785952"/>
              <a:gd name="connsiteY12893" fmla="*/ 978141 h 5217112"/>
              <a:gd name="connsiteX12894" fmla="*/ 1518557 w 6785952"/>
              <a:gd name="connsiteY12894" fmla="*/ 976397 h 5217112"/>
              <a:gd name="connsiteX12895" fmla="*/ 1528446 w 6785952"/>
              <a:gd name="connsiteY12895" fmla="*/ 998301 h 5217112"/>
              <a:gd name="connsiteX12896" fmla="*/ 1524600 w 6785952"/>
              <a:gd name="connsiteY12896" fmla="*/ 998846 h 5217112"/>
              <a:gd name="connsiteX12897" fmla="*/ 1517184 w 6785952"/>
              <a:gd name="connsiteY12897" fmla="*/ 991654 h 5217112"/>
              <a:gd name="connsiteX12898" fmla="*/ 1518557 w 6785952"/>
              <a:gd name="connsiteY12898" fmla="*/ 976397 h 5217112"/>
              <a:gd name="connsiteX12899" fmla="*/ 2440982 w 6785952"/>
              <a:gd name="connsiteY12899" fmla="*/ 976071 h 5217112"/>
              <a:gd name="connsiteX12900" fmla="*/ 2444553 w 6785952"/>
              <a:gd name="connsiteY12900" fmla="*/ 1010070 h 5217112"/>
              <a:gd name="connsiteX12901" fmla="*/ 2437686 w 6785952"/>
              <a:gd name="connsiteY12901" fmla="*/ 993288 h 5217112"/>
              <a:gd name="connsiteX12902" fmla="*/ 2440982 w 6785952"/>
              <a:gd name="connsiteY12902" fmla="*/ 976071 h 5217112"/>
              <a:gd name="connsiteX12903" fmla="*/ 1442157 w 6785952"/>
              <a:gd name="connsiteY12903" fmla="*/ 975280 h 5217112"/>
              <a:gd name="connsiteX12904" fmla="*/ 1450433 w 6785952"/>
              <a:gd name="connsiteY12904" fmla="*/ 984897 h 5217112"/>
              <a:gd name="connsiteX12905" fmla="*/ 1441093 w 6785952"/>
              <a:gd name="connsiteY12905" fmla="*/ 988166 h 5217112"/>
              <a:gd name="connsiteX12906" fmla="*/ 1437796 w 6785952"/>
              <a:gd name="connsiteY12906" fmla="*/ 984135 h 5217112"/>
              <a:gd name="connsiteX12907" fmla="*/ 1442157 w 6785952"/>
              <a:gd name="connsiteY12907" fmla="*/ 975280 h 5217112"/>
              <a:gd name="connsiteX12908" fmla="*/ 2640136 w 6785952"/>
              <a:gd name="connsiteY12908" fmla="*/ 973564 h 5217112"/>
              <a:gd name="connsiteX12909" fmla="*/ 2639312 w 6785952"/>
              <a:gd name="connsiteY12909" fmla="*/ 976834 h 5217112"/>
              <a:gd name="connsiteX12910" fmla="*/ 2638762 w 6785952"/>
              <a:gd name="connsiteY12910" fmla="*/ 973673 h 5217112"/>
              <a:gd name="connsiteX12911" fmla="*/ 2640136 w 6785952"/>
              <a:gd name="connsiteY12911" fmla="*/ 973564 h 5217112"/>
              <a:gd name="connsiteX12912" fmla="*/ 6330936 w 6785952"/>
              <a:gd name="connsiteY12912" fmla="*/ 973019 h 5217112"/>
              <a:gd name="connsiteX12913" fmla="*/ 6333958 w 6785952"/>
              <a:gd name="connsiteY12913" fmla="*/ 974654 h 5217112"/>
              <a:gd name="connsiteX12914" fmla="*/ 6305940 w 6785952"/>
              <a:gd name="connsiteY12914" fmla="*/ 984897 h 5217112"/>
              <a:gd name="connsiteX12915" fmla="*/ 6293028 w 6785952"/>
              <a:gd name="connsiteY12915" fmla="*/ 996885 h 5217112"/>
              <a:gd name="connsiteX12916" fmla="*/ 6290831 w 6785952"/>
              <a:gd name="connsiteY12916" fmla="*/ 993724 h 5217112"/>
              <a:gd name="connsiteX12917" fmla="*/ 6324344 w 6785952"/>
              <a:gd name="connsiteY12917" fmla="*/ 973891 h 5217112"/>
              <a:gd name="connsiteX12918" fmla="*/ 6330936 w 6785952"/>
              <a:gd name="connsiteY12918" fmla="*/ 973019 h 5217112"/>
              <a:gd name="connsiteX12919" fmla="*/ 2355002 w 6785952"/>
              <a:gd name="connsiteY12919" fmla="*/ 970404 h 5217112"/>
              <a:gd name="connsiteX12920" fmla="*/ 2359398 w 6785952"/>
              <a:gd name="connsiteY12920" fmla="*/ 972366 h 5217112"/>
              <a:gd name="connsiteX12921" fmla="*/ 2360771 w 6785952"/>
              <a:gd name="connsiteY12921" fmla="*/ 974001 h 5217112"/>
              <a:gd name="connsiteX12922" fmla="*/ 2362145 w 6785952"/>
              <a:gd name="connsiteY12922" fmla="*/ 974110 h 5217112"/>
              <a:gd name="connsiteX12923" fmla="*/ 2362145 w 6785952"/>
              <a:gd name="connsiteY12923" fmla="*/ 975635 h 5217112"/>
              <a:gd name="connsiteX12924" fmla="*/ 2364892 w 6785952"/>
              <a:gd name="connsiteY12924" fmla="*/ 978904 h 5217112"/>
              <a:gd name="connsiteX12925" fmla="*/ 2373408 w 6785952"/>
              <a:gd name="connsiteY12925" fmla="*/ 984244 h 5217112"/>
              <a:gd name="connsiteX12926" fmla="*/ 2378901 w 6785952"/>
              <a:gd name="connsiteY12926" fmla="*/ 993724 h 5217112"/>
              <a:gd name="connsiteX12927" fmla="*/ 2375879 w 6785952"/>
              <a:gd name="connsiteY12927" fmla="*/ 996340 h 5217112"/>
              <a:gd name="connsiteX12928" fmla="*/ 2378627 w 6785952"/>
              <a:gd name="connsiteY12928" fmla="*/ 999609 h 5217112"/>
              <a:gd name="connsiteX12929" fmla="*/ 2376978 w 6785952"/>
              <a:gd name="connsiteY12929" fmla="*/ 1018243 h 5217112"/>
              <a:gd name="connsiteX12930" fmla="*/ 2369562 w 6785952"/>
              <a:gd name="connsiteY12930" fmla="*/ 1021730 h 5217112"/>
              <a:gd name="connsiteX12931" fmla="*/ 2359672 w 6785952"/>
              <a:gd name="connsiteY12931" fmla="*/ 1017590 h 5217112"/>
              <a:gd name="connsiteX12932" fmla="*/ 2357201 w 6785952"/>
              <a:gd name="connsiteY12932" fmla="*/ 998410 h 5217112"/>
              <a:gd name="connsiteX12933" fmla="*/ 2370386 w 6785952"/>
              <a:gd name="connsiteY12933" fmla="*/ 992744 h 5217112"/>
              <a:gd name="connsiteX12934" fmla="*/ 2369012 w 6785952"/>
              <a:gd name="connsiteY12934" fmla="*/ 992526 h 5217112"/>
              <a:gd name="connsiteX12935" fmla="*/ 2355002 w 6785952"/>
              <a:gd name="connsiteY12935" fmla="*/ 970404 h 5217112"/>
              <a:gd name="connsiteX12936" fmla="*/ 4552562 w 6785952"/>
              <a:gd name="connsiteY12936" fmla="*/ 967135 h 5217112"/>
              <a:gd name="connsiteX12937" fmla="*/ 4546793 w 6785952"/>
              <a:gd name="connsiteY12937" fmla="*/ 970840 h 5217112"/>
              <a:gd name="connsiteX12938" fmla="*/ 4552562 w 6785952"/>
              <a:gd name="connsiteY12938" fmla="*/ 967135 h 5217112"/>
              <a:gd name="connsiteX12939" fmla="*/ 1265289 w 6785952"/>
              <a:gd name="connsiteY12939" fmla="*/ 966699 h 5217112"/>
              <a:gd name="connsiteX12940" fmla="*/ 1272156 w 6785952"/>
              <a:gd name="connsiteY12940" fmla="*/ 984680 h 5217112"/>
              <a:gd name="connsiteX12941" fmla="*/ 1266662 w 6785952"/>
              <a:gd name="connsiteY12941" fmla="*/ 985442 h 5217112"/>
              <a:gd name="connsiteX12942" fmla="*/ 1260894 w 6785952"/>
              <a:gd name="connsiteY12942" fmla="*/ 982064 h 5217112"/>
              <a:gd name="connsiteX12943" fmla="*/ 1258695 w 6785952"/>
              <a:gd name="connsiteY12943" fmla="*/ 975853 h 5217112"/>
              <a:gd name="connsiteX12944" fmla="*/ 1257872 w 6785952"/>
              <a:gd name="connsiteY12944" fmla="*/ 977161 h 5217112"/>
              <a:gd name="connsiteX12945" fmla="*/ 1255125 w 6785952"/>
              <a:gd name="connsiteY12945" fmla="*/ 977815 h 5217112"/>
              <a:gd name="connsiteX12946" fmla="*/ 1255949 w 6785952"/>
              <a:gd name="connsiteY12946" fmla="*/ 981302 h 5217112"/>
              <a:gd name="connsiteX12947" fmla="*/ 1246884 w 6785952"/>
              <a:gd name="connsiteY12947" fmla="*/ 990455 h 5217112"/>
              <a:gd name="connsiteX12948" fmla="*/ 1244412 w 6785952"/>
              <a:gd name="connsiteY12948" fmla="*/ 988494 h 5217112"/>
              <a:gd name="connsiteX12949" fmla="*/ 1242214 w 6785952"/>
              <a:gd name="connsiteY12949" fmla="*/ 985661 h 5217112"/>
              <a:gd name="connsiteX12950" fmla="*/ 1241664 w 6785952"/>
              <a:gd name="connsiteY12950" fmla="*/ 977379 h 5217112"/>
              <a:gd name="connsiteX12951" fmla="*/ 1246059 w 6785952"/>
              <a:gd name="connsiteY12951" fmla="*/ 972148 h 5217112"/>
              <a:gd name="connsiteX12952" fmla="*/ 1248532 w 6785952"/>
              <a:gd name="connsiteY12952" fmla="*/ 970840 h 5217112"/>
              <a:gd name="connsiteX12953" fmla="*/ 1250455 w 6785952"/>
              <a:gd name="connsiteY12953" fmla="*/ 972039 h 5217112"/>
              <a:gd name="connsiteX12954" fmla="*/ 1251279 w 6785952"/>
              <a:gd name="connsiteY12954" fmla="*/ 971058 h 5217112"/>
              <a:gd name="connsiteX12955" fmla="*/ 1255125 w 6785952"/>
              <a:gd name="connsiteY12955" fmla="*/ 968551 h 5217112"/>
              <a:gd name="connsiteX12956" fmla="*/ 1257322 w 6785952"/>
              <a:gd name="connsiteY12956" fmla="*/ 971385 h 5217112"/>
              <a:gd name="connsiteX12957" fmla="*/ 1258695 w 6785952"/>
              <a:gd name="connsiteY12957" fmla="*/ 972911 h 5217112"/>
              <a:gd name="connsiteX12958" fmla="*/ 1261168 w 6785952"/>
              <a:gd name="connsiteY12958" fmla="*/ 970622 h 5217112"/>
              <a:gd name="connsiteX12959" fmla="*/ 1265289 w 6785952"/>
              <a:gd name="connsiteY12959" fmla="*/ 966699 h 5217112"/>
              <a:gd name="connsiteX12960" fmla="*/ 2641784 w 6785952"/>
              <a:gd name="connsiteY12960" fmla="*/ 964847 h 5217112"/>
              <a:gd name="connsiteX12961" fmla="*/ 2638762 w 6785952"/>
              <a:gd name="connsiteY12961" fmla="*/ 972583 h 5217112"/>
              <a:gd name="connsiteX12962" fmla="*/ 2637938 w 6785952"/>
              <a:gd name="connsiteY12962" fmla="*/ 966590 h 5217112"/>
              <a:gd name="connsiteX12963" fmla="*/ 2641784 w 6785952"/>
              <a:gd name="connsiteY12963" fmla="*/ 964847 h 5217112"/>
              <a:gd name="connsiteX12964" fmla="*/ 4566099 w 6785952"/>
              <a:gd name="connsiteY12964" fmla="*/ 963544 h 5217112"/>
              <a:gd name="connsiteX12965" fmla="*/ 4573988 w 6785952"/>
              <a:gd name="connsiteY12965" fmla="*/ 965391 h 5217112"/>
              <a:gd name="connsiteX12966" fmla="*/ 4550364 w 6785952"/>
              <a:gd name="connsiteY12966" fmla="*/ 987622 h 5217112"/>
              <a:gd name="connsiteX12967" fmla="*/ 4546244 w 6785952"/>
              <a:gd name="connsiteY12967" fmla="*/ 987295 h 5217112"/>
              <a:gd name="connsiteX12968" fmla="*/ 4541300 w 6785952"/>
              <a:gd name="connsiteY12968" fmla="*/ 984462 h 5217112"/>
              <a:gd name="connsiteX12969" fmla="*/ 4566099 w 6785952"/>
              <a:gd name="connsiteY12969" fmla="*/ 963544 h 5217112"/>
              <a:gd name="connsiteX12970" fmla="*/ 2379725 w 6785952"/>
              <a:gd name="connsiteY12970" fmla="*/ 962558 h 5217112"/>
              <a:gd name="connsiteX12971" fmla="*/ 2379176 w 6785952"/>
              <a:gd name="connsiteY12971" fmla="*/ 981955 h 5217112"/>
              <a:gd name="connsiteX12972" fmla="*/ 2367364 w 6785952"/>
              <a:gd name="connsiteY12972" fmla="*/ 972583 h 5217112"/>
              <a:gd name="connsiteX12973" fmla="*/ 2379725 w 6785952"/>
              <a:gd name="connsiteY12973" fmla="*/ 962558 h 5217112"/>
              <a:gd name="connsiteX12974" fmla="*/ 2358299 w 6785952"/>
              <a:gd name="connsiteY12974" fmla="*/ 961796 h 5217112"/>
              <a:gd name="connsiteX12975" fmla="*/ 2361046 w 6785952"/>
              <a:gd name="connsiteY12975" fmla="*/ 964956 h 5217112"/>
              <a:gd name="connsiteX12976" fmla="*/ 2356926 w 6785952"/>
              <a:gd name="connsiteY12976" fmla="*/ 967026 h 5217112"/>
              <a:gd name="connsiteX12977" fmla="*/ 2354453 w 6785952"/>
              <a:gd name="connsiteY12977" fmla="*/ 965174 h 5217112"/>
              <a:gd name="connsiteX12978" fmla="*/ 2350058 w 6785952"/>
              <a:gd name="connsiteY12978" fmla="*/ 965936 h 5217112"/>
              <a:gd name="connsiteX12979" fmla="*/ 2348959 w 6785952"/>
              <a:gd name="connsiteY12979" fmla="*/ 963321 h 5217112"/>
              <a:gd name="connsiteX12980" fmla="*/ 2358299 w 6785952"/>
              <a:gd name="connsiteY12980" fmla="*/ 961796 h 5217112"/>
              <a:gd name="connsiteX12981" fmla="*/ 2311326 w 6785952"/>
              <a:gd name="connsiteY12981" fmla="*/ 961577 h 5217112"/>
              <a:gd name="connsiteX12982" fmla="*/ 2320117 w 6785952"/>
              <a:gd name="connsiteY12982" fmla="*/ 963321 h 5217112"/>
              <a:gd name="connsiteX12983" fmla="*/ 2320391 w 6785952"/>
              <a:gd name="connsiteY12983" fmla="*/ 971385 h 5217112"/>
              <a:gd name="connsiteX12984" fmla="*/ 2317369 w 6785952"/>
              <a:gd name="connsiteY12984" fmla="*/ 973019 h 5217112"/>
              <a:gd name="connsiteX12985" fmla="*/ 2315996 w 6785952"/>
              <a:gd name="connsiteY12985" fmla="*/ 972257 h 5217112"/>
              <a:gd name="connsiteX12986" fmla="*/ 2311051 w 6785952"/>
              <a:gd name="connsiteY12986" fmla="*/ 969424 h 5217112"/>
              <a:gd name="connsiteX12987" fmla="*/ 2311326 w 6785952"/>
              <a:gd name="connsiteY12987" fmla="*/ 961577 h 5217112"/>
              <a:gd name="connsiteX12988" fmla="*/ 1457026 w 6785952"/>
              <a:gd name="connsiteY12988" fmla="*/ 961468 h 5217112"/>
              <a:gd name="connsiteX12989" fmla="*/ 1458124 w 6785952"/>
              <a:gd name="connsiteY12989" fmla="*/ 972148 h 5217112"/>
              <a:gd name="connsiteX12990" fmla="*/ 1453454 w 6785952"/>
              <a:gd name="connsiteY12990" fmla="*/ 973019 h 5217112"/>
              <a:gd name="connsiteX12991" fmla="*/ 1447411 w 6785952"/>
              <a:gd name="connsiteY12991" fmla="*/ 966372 h 5217112"/>
              <a:gd name="connsiteX12992" fmla="*/ 1457026 w 6785952"/>
              <a:gd name="connsiteY12992" fmla="*/ 961468 h 5217112"/>
              <a:gd name="connsiteX12993" fmla="*/ 1967958 w 6785952"/>
              <a:gd name="connsiteY12993" fmla="*/ 960269 h 5217112"/>
              <a:gd name="connsiteX12994" fmla="*/ 1955047 w 6785952"/>
              <a:gd name="connsiteY12994" fmla="*/ 975526 h 5217112"/>
              <a:gd name="connsiteX12995" fmla="*/ 1954773 w 6785952"/>
              <a:gd name="connsiteY12995" fmla="*/ 963212 h 5217112"/>
              <a:gd name="connsiteX12996" fmla="*/ 1967958 w 6785952"/>
              <a:gd name="connsiteY12996" fmla="*/ 960269 h 5217112"/>
              <a:gd name="connsiteX12997" fmla="*/ 1900383 w 6785952"/>
              <a:gd name="connsiteY12997" fmla="*/ 960269 h 5217112"/>
              <a:gd name="connsiteX12998" fmla="*/ 1899833 w 6785952"/>
              <a:gd name="connsiteY12998" fmla="*/ 960923 h 5217112"/>
              <a:gd name="connsiteX12999" fmla="*/ 1899833 w 6785952"/>
              <a:gd name="connsiteY12999" fmla="*/ 961033 h 5217112"/>
              <a:gd name="connsiteX13000" fmla="*/ 2627139 w 6785952"/>
              <a:gd name="connsiteY13000" fmla="*/ 959892 h 5217112"/>
              <a:gd name="connsiteX13001" fmla="*/ 2634642 w 6785952"/>
              <a:gd name="connsiteY13001" fmla="*/ 961251 h 5217112"/>
              <a:gd name="connsiteX13002" fmla="*/ 2633543 w 6785952"/>
              <a:gd name="connsiteY13002" fmla="*/ 972257 h 5217112"/>
              <a:gd name="connsiteX13003" fmla="*/ 2632719 w 6785952"/>
              <a:gd name="connsiteY13003" fmla="*/ 974218 h 5217112"/>
              <a:gd name="connsiteX13004" fmla="*/ 2633543 w 6785952"/>
              <a:gd name="connsiteY13004" fmla="*/ 974327 h 5217112"/>
              <a:gd name="connsiteX13005" fmla="*/ 2623105 w 6785952"/>
              <a:gd name="connsiteY13005" fmla="*/ 993942 h 5217112"/>
              <a:gd name="connsiteX13006" fmla="*/ 2615413 w 6785952"/>
              <a:gd name="connsiteY13006" fmla="*/ 987731 h 5217112"/>
              <a:gd name="connsiteX13007" fmla="*/ 2622280 w 6785952"/>
              <a:gd name="connsiteY13007" fmla="*/ 978686 h 5217112"/>
              <a:gd name="connsiteX13008" fmla="*/ 2619259 w 6785952"/>
              <a:gd name="connsiteY13008" fmla="*/ 977270 h 5217112"/>
              <a:gd name="connsiteX13009" fmla="*/ 2627139 w 6785952"/>
              <a:gd name="connsiteY13009" fmla="*/ 959892 h 5217112"/>
              <a:gd name="connsiteX13010" fmla="*/ 2118765 w 6785952"/>
              <a:gd name="connsiteY13010" fmla="*/ 956783 h 5217112"/>
              <a:gd name="connsiteX13011" fmla="*/ 2127006 w 6785952"/>
              <a:gd name="connsiteY13011" fmla="*/ 968769 h 5217112"/>
              <a:gd name="connsiteX13012" fmla="*/ 2123985 w 6785952"/>
              <a:gd name="connsiteY13012" fmla="*/ 970187 h 5217112"/>
              <a:gd name="connsiteX13013" fmla="*/ 2119864 w 6785952"/>
              <a:gd name="connsiteY13013" fmla="*/ 969859 h 5217112"/>
              <a:gd name="connsiteX13014" fmla="*/ 2113271 w 6785952"/>
              <a:gd name="connsiteY13014" fmla="*/ 964956 h 5217112"/>
              <a:gd name="connsiteX13015" fmla="*/ 2114919 w 6785952"/>
              <a:gd name="connsiteY13015" fmla="*/ 958744 h 5217112"/>
              <a:gd name="connsiteX13016" fmla="*/ 2118765 w 6785952"/>
              <a:gd name="connsiteY13016" fmla="*/ 956783 h 5217112"/>
              <a:gd name="connsiteX13017" fmla="*/ 2292098 w 6785952"/>
              <a:gd name="connsiteY13017" fmla="*/ 956674 h 5217112"/>
              <a:gd name="connsiteX13018" fmla="*/ 2299789 w 6785952"/>
              <a:gd name="connsiteY13018" fmla="*/ 958526 h 5217112"/>
              <a:gd name="connsiteX13019" fmla="*/ 2304184 w 6785952"/>
              <a:gd name="connsiteY13019" fmla="*/ 957328 h 5217112"/>
              <a:gd name="connsiteX13020" fmla="*/ 2304734 w 6785952"/>
              <a:gd name="connsiteY13020" fmla="*/ 958635 h 5217112"/>
              <a:gd name="connsiteX13021" fmla="*/ 2288252 w 6785952"/>
              <a:gd name="connsiteY13021" fmla="*/ 965719 h 5217112"/>
              <a:gd name="connsiteX13022" fmla="*/ 2285780 w 6785952"/>
              <a:gd name="connsiteY13022" fmla="*/ 964520 h 5217112"/>
              <a:gd name="connsiteX13023" fmla="*/ 2285780 w 6785952"/>
              <a:gd name="connsiteY13023" fmla="*/ 960706 h 5217112"/>
              <a:gd name="connsiteX13024" fmla="*/ 2292098 w 6785952"/>
              <a:gd name="connsiteY13024" fmla="*/ 956674 h 5217112"/>
              <a:gd name="connsiteX13025" fmla="*/ 2472298 w 6785952"/>
              <a:gd name="connsiteY13025" fmla="*/ 950898 h 5217112"/>
              <a:gd name="connsiteX13026" fmla="*/ 2481362 w 6785952"/>
              <a:gd name="connsiteY13026" fmla="*/ 957328 h 5217112"/>
              <a:gd name="connsiteX13027" fmla="*/ 2479165 w 6785952"/>
              <a:gd name="connsiteY13027" fmla="*/ 957545 h 5217112"/>
              <a:gd name="connsiteX13028" fmla="*/ 2476968 w 6785952"/>
              <a:gd name="connsiteY13028" fmla="*/ 955584 h 5217112"/>
              <a:gd name="connsiteX13029" fmla="*/ 2472298 w 6785952"/>
              <a:gd name="connsiteY13029" fmla="*/ 950898 h 5217112"/>
              <a:gd name="connsiteX13030" fmla="*/ 4533711 w 6785952"/>
              <a:gd name="connsiteY13030" fmla="*/ 949958 h 5217112"/>
              <a:gd name="connsiteX13031" fmla="*/ 4537454 w 6785952"/>
              <a:gd name="connsiteY13031" fmla="*/ 958090 h 5217112"/>
              <a:gd name="connsiteX13032" fmla="*/ 4533333 w 6785952"/>
              <a:gd name="connsiteY13032" fmla="*/ 960269 h 5217112"/>
              <a:gd name="connsiteX13033" fmla="*/ 4525642 w 6785952"/>
              <a:gd name="connsiteY13033" fmla="*/ 950898 h 5217112"/>
              <a:gd name="connsiteX13034" fmla="*/ 4533711 w 6785952"/>
              <a:gd name="connsiteY13034" fmla="*/ 949958 h 5217112"/>
              <a:gd name="connsiteX13035" fmla="*/ 2360771 w 6785952"/>
              <a:gd name="connsiteY13035" fmla="*/ 949263 h 5217112"/>
              <a:gd name="connsiteX13036" fmla="*/ 2364617 w 6785952"/>
              <a:gd name="connsiteY13036" fmla="*/ 950681 h 5217112"/>
              <a:gd name="connsiteX13037" fmla="*/ 2367639 w 6785952"/>
              <a:gd name="connsiteY13037" fmla="*/ 950789 h 5217112"/>
              <a:gd name="connsiteX13038" fmla="*/ 2369287 w 6785952"/>
              <a:gd name="connsiteY13038" fmla="*/ 954930 h 5217112"/>
              <a:gd name="connsiteX13039" fmla="*/ 2366265 w 6785952"/>
              <a:gd name="connsiteY13039" fmla="*/ 954821 h 5217112"/>
              <a:gd name="connsiteX13040" fmla="*/ 2357475 w 6785952"/>
              <a:gd name="connsiteY13040" fmla="*/ 952642 h 5217112"/>
              <a:gd name="connsiteX13041" fmla="*/ 2360771 w 6785952"/>
              <a:gd name="connsiteY13041" fmla="*/ 949263 h 5217112"/>
              <a:gd name="connsiteX13042" fmla="*/ 1026030 w 6785952"/>
              <a:gd name="connsiteY13042" fmla="*/ 946866 h 5217112"/>
              <a:gd name="connsiteX13043" fmla="*/ 1037018 w 6785952"/>
              <a:gd name="connsiteY13043" fmla="*/ 958526 h 5217112"/>
              <a:gd name="connsiteX13044" fmla="*/ 1036468 w 6785952"/>
              <a:gd name="connsiteY13044" fmla="*/ 967135 h 5217112"/>
              <a:gd name="connsiteX13045" fmla="*/ 1020810 w 6785952"/>
              <a:gd name="connsiteY13045" fmla="*/ 975199 h 5217112"/>
              <a:gd name="connsiteX13046" fmla="*/ 1011195 w 6785952"/>
              <a:gd name="connsiteY13046" fmla="*/ 962885 h 5217112"/>
              <a:gd name="connsiteX13047" fmla="*/ 1007899 w 6785952"/>
              <a:gd name="connsiteY13047" fmla="*/ 963212 h 5217112"/>
              <a:gd name="connsiteX13048" fmla="*/ 1002680 w 6785952"/>
              <a:gd name="connsiteY13048" fmla="*/ 959725 h 5217112"/>
              <a:gd name="connsiteX13049" fmla="*/ 1004604 w 6785952"/>
              <a:gd name="connsiteY13049" fmla="*/ 956783 h 5217112"/>
              <a:gd name="connsiteX13050" fmla="*/ 1011195 w 6785952"/>
              <a:gd name="connsiteY13050" fmla="*/ 959616 h 5217112"/>
              <a:gd name="connsiteX13051" fmla="*/ 1012295 w 6785952"/>
              <a:gd name="connsiteY13051" fmla="*/ 958853 h 5217112"/>
              <a:gd name="connsiteX13052" fmla="*/ 1013393 w 6785952"/>
              <a:gd name="connsiteY13052" fmla="*/ 954603 h 5217112"/>
              <a:gd name="connsiteX13053" fmla="*/ 1026030 w 6785952"/>
              <a:gd name="connsiteY13053" fmla="*/ 946866 h 5217112"/>
              <a:gd name="connsiteX13054" fmla="*/ 2024545 w 6785952"/>
              <a:gd name="connsiteY13054" fmla="*/ 946757 h 5217112"/>
              <a:gd name="connsiteX13055" fmla="*/ 2027017 w 6785952"/>
              <a:gd name="connsiteY13055" fmla="*/ 947738 h 5217112"/>
              <a:gd name="connsiteX13056" fmla="*/ 2032511 w 6785952"/>
              <a:gd name="connsiteY13056" fmla="*/ 950353 h 5217112"/>
              <a:gd name="connsiteX13057" fmla="*/ 2022347 w 6785952"/>
              <a:gd name="connsiteY13057" fmla="*/ 947847 h 5217112"/>
              <a:gd name="connsiteX13058" fmla="*/ 2024545 w 6785952"/>
              <a:gd name="connsiteY13058" fmla="*/ 946757 h 5217112"/>
              <a:gd name="connsiteX13059" fmla="*/ 6218861 w 6785952"/>
              <a:gd name="connsiteY13059" fmla="*/ 946430 h 5217112"/>
              <a:gd name="connsiteX13060" fmla="*/ 6219685 w 6785952"/>
              <a:gd name="connsiteY13060" fmla="*/ 948828 h 5217112"/>
              <a:gd name="connsiteX13061" fmla="*/ 6209247 w 6785952"/>
              <a:gd name="connsiteY13061" fmla="*/ 956129 h 5217112"/>
              <a:gd name="connsiteX13062" fmla="*/ 6218861 w 6785952"/>
              <a:gd name="connsiteY13062" fmla="*/ 946430 h 5217112"/>
              <a:gd name="connsiteX13063" fmla="*/ 1812206 w 6785952"/>
              <a:gd name="connsiteY13063" fmla="*/ 945885 h 5217112"/>
              <a:gd name="connsiteX13064" fmla="*/ 1807536 w 6785952"/>
              <a:gd name="connsiteY13064" fmla="*/ 951770 h 5217112"/>
              <a:gd name="connsiteX13065" fmla="*/ 1800668 w 6785952"/>
              <a:gd name="connsiteY13065" fmla="*/ 951552 h 5217112"/>
              <a:gd name="connsiteX13066" fmla="*/ 1812206 w 6785952"/>
              <a:gd name="connsiteY13066" fmla="*/ 945885 h 5217112"/>
              <a:gd name="connsiteX13067" fmla="*/ 1594647 w 6785952"/>
              <a:gd name="connsiteY13067" fmla="*/ 945885 h 5217112"/>
              <a:gd name="connsiteX13068" fmla="*/ 1593823 w 6785952"/>
              <a:gd name="connsiteY13068" fmla="*/ 949154 h 5217112"/>
              <a:gd name="connsiteX13069" fmla="*/ 1592175 w 6785952"/>
              <a:gd name="connsiteY13069" fmla="*/ 947629 h 5217112"/>
              <a:gd name="connsiteX13070" fmla="*/ 1594647 w 6785952"/>
              <a:gd name="connsiteY13070" fmla="*/ 945885 h 5217112"/>
              <a:gd name="connsiteX13071" fmla="*/ 1544928 w 6785952"/>
              <a:gd name="connsiteY13071" fmla="*/ 945450 h 5217112"/>
              <a:gd name="connsiteX13072" fmla="*/ 1544378 w 6785952"/>
              <a:gd name="connsiteY13072" fmla="*/ 948719 h 5217112"/>
              <a:gd name="connsiteX13073" fmla="*/ 1542181 w 6785952"/>
              <a:gd name="connsiteY13073" fmla="*/ 952423 h 5217112"/>
              <a:gd name="connsiteX13074" fmla="*/ 1543005 w 6785952"/>
              <a:gd name="connsiteY13074" fmla="*/ 955148 h 5217112"/>
              <a:gd name="connsiteX13075" fmla="*/ 1535038 w 6785952"/>
              <a:gd name="connsiteY13075" fmla="*/ 964192 h 5217112"/>
              <a:gd name="connsiteX13076" fmla="*/ 1537511 w 6785952"/>
              <a:gd name="connsiteY13076" fmla="*/ 957110 h 5217112"/>
              <a:gd name="connsiteX13077" fmla="*/ 1539433 w 6785952"/>
              <a:gd name="connsiteY13077" fmla="*/ 953405 h 5217112"/>
              <a:gd name="connsiteX13078" fmla="*/ 1540258 w 6785952"/>
              <a:gd name="connsiteY13078" fmla="*/ 950244 h 5217112"/>
              <a:gd name="connsiteX13079" fmla="*/ 1544928 w 6785952"/>
              <a:gd name="connsiteY13079" fmla="*/ 945450 h 5217112"/>
              <a:gd name="connsiteX13080" fmla="*/ 2060255 w 6785952"/>
              <a:gd name="connsiteY13080" fmla="*/ 945014 h 5217112"/>
              <a:gd name="connsiteX13081" fmla="*/ 2084153 w 6785952"/>
              <a:gd name="connsiteY13081" fmla="*/ 956456 h 5217112"/>
              <a:gd name="connsiteX13082" fmla="*/ 2093493 w 6785952"/>
              <a:gd name="connsiteY13082" fmla="*/ 961033 h 5217112"/>
              <a:gd name="connsiteX13083" fmla="*/ 2097614 w 6785952"/>
              <a:gd name="connsiteY13083" fmla="*/ 954821 h 5217112"/>
              <a:gd name="connsiteX13084" fmla="*/ 2101185 w 6785952"/>
              <a:gd name="connsiteY13084" fmla="*/ 959834 h 5217112"/>
              <a:gd name="connsiteX13085" fmla="*/ 2099536 w 6785952"/>
              <a:gd name="connsiteY13085" fmla="*/ 963866 h 5217112"/>
              <a:gd name="connsiteX13086" fmla="*/ 2108052 w 6785952"/>
              <a:gd name="connsiteY13086" fmla="*/ 968006 h 5217112"/>
              <a:gd name="connsiteX13087" fmla="*/ 2112448 w 6785952"/>
              <a:gd name="connsiteY13087" fmla="*/ 982609 h 5217112"/>
              <a:gd name="connsiteX13088" fmla="*/ 2119864 w 6785952"/>
              <a:gd name="connsiteY13088" fmla="*/ 980103 h 5217112"/>
              <a:gd name="connsiteX13089" fmla="*/ 2120139 w 6785952"/>
              <a:gd name="connsiteY13089" fmla="*/ 989148 h 5217112"/>
              <a:gd name="connsiteX13090" fmla="*/ 2117117 w 6785952"/>
              <a:gd name="connsiteY13090" fmla="*/ 992634 h 5217112"/>
              <a:gd name="connsiteX13091" fmla="*/ 2119864 w 6785952"/>
              <a:gd name="connsiteY13091" fmla="*/ 998628 h 5217112"/>
              <a:gd name="connsiteX13092" fmla="*/ 2125632 w 6785952"/>
              <a:gd name="connsiteY13092" fmla="*/ 1014320 h 5217112"/>
              <a:gd name="connsiteX13093" fmla="*/ 2125083 w 6785952"/>
              <a:gd name="connsiteY13093" fmla="*/ 1022711 h 5217112"/>
              <a:gd name="connsiteX13094" fmla="*/ 2125632 w 6785952"/>
              <a:gd name="connsiteY13094" fmla="*/ 1022929 h 5217112"/>
              <a:gd name="connsiteX13095" fmla="*/ 2137444 w 6785952"/>
              <a:gd name="connsiteY13095" fmla="*/ 1036333 h 5217112"/>
              <a:gd name="connsiteX13096" fmla="*/ 2128380 w 6785952"/>
              <a:gd name="connsiteY13096" fmla="*/ 1033608 h 5217112"/>
              <a:gd name="connsiteX13097" fmla="*/ 2124259 w 6785952"/>
              <a:gd name="connsiteY13097" fmla="*/ 1029903 h 5217112"/>
              <a:gd name="connsiteX13098" fmla="*/ 2123710 w 6785952"/>
              <a:gd name="connsiteY13098" fmla="*/ 1030449 h 5217112"/>
              <a:gd name="connsiteX13099" fmla="*/ 2118216 w 6785952"/>
              <a:gd name="connsiteY13099" fmla="*/ 1038730 h 5217112"/>
              <a:gd name="connsiteX13100" fmla="*/ 2112448 w 6785952"/>
              <a:gd name="connsiteY13100" fmla="*/ 1040801 h 5217112"/>
              <a:gd name="connsiteX13101" fmla="*/ 2110799 w 6785952"/>
              <a:gd name="connsiteY13101" fmla="*/ 1043525 h 5217112"/>
              <a:gd name="connsiteX13102" fmla="*/ 2103382 w 6785952"/>
              <a:gd name="connsiteY13102" fmla="*/ 1057582 h 5217112"/>
              <a:gd name="connsiteX13103" fmla="*/ 2064101 w 6785952"/>
              <a:gd name="connsiteY13103" fmla="*/ 1063467 h 5217112"/>
              <a:gd name="connsiteX13104" fmla="*/ 2060804 w 6785952"/>
              <a:gd name="connsiteY13104" fmla="*/ 1062704 h 5217112"/>
              <a:gd name="connsiteX13105" fmla="*/ 2051739 w 6785952"/>
              <a:gd name="connsiteY13105" fmla="*/ 1070986 h 5217112"/>
              <a:gd name="connsiteX13106" fmla="*/ 2038005 w 6785952"/>
              <a:gd name="connsiteY13106" fmla="*/ 1075127 h 5217112"/>
              <a:gd name="connsiteX13107" fmla="*/ 2042126 w 6785952"/>
              <a:gd name="connsiteY13107" fmla="*/ 1061941 h 5217112"/>
              <a:gd name="connsiteX13108" fmla="*/ 2044597 w 6785952"/>
              <a:gd name="connsiteY13108" fmla="*/ 1058999 h 5217112"/>
              <a:gd name="connsiteX13109" fmla="*/ 2043499 w 6785952"/>
              <a:gd name="connsiteY13109" fmla="*/ 1058781 h 5217112"/>
              <a:gd name="connsiteX13110" fmla="*/ 2028390 w 6785952"/>
              <a:gd name="connsiteY13110" fmla="*/ 1048864 h 5217112"/>
              <a:gd name="connsiteX13111" fmla="*/ 2030039 w 6785952"/>
              <a:gd name="connsiteY13111" fmla="*/ 1051589 h 5217112"/>
              <a:gd name="connsiteX13112" fmla="*/ 2032511 w 6785952"/>
              <a:gd name="connsiteY13112" fmla="*/ 1067063 h 5217112"/>
              <a:gd name="connsiteX13113" fmla="*/ 2018501 w 6785952"/>
              <a:gd name="connsiteY13113" fmla="*/ 1071204 h 5217112"/>
              <a:gd name="connsiteX13114" fmla="*/ 2003394 w 6785952"/>
              <a:gd name="connsiteY13114" fmla="*/ 1056493 h 5217112"/>
              <a:gd name="connsiteX13115" fmla="*/ 2003668 w 6785952"/>
              <a:gd name="connsiteY13115" fmla="*/ 1054204 h 5217112"/>
              <a:gd name="connsiteX13116" fmla="*/ 2003119 w 6785952"/>
              <a:gd name="connsiteY13116" fmla="*/ 1054313 h 5217112"/>
              <a:gd name="connsiteX13117" fmla="*/ 2000372 w 6785952"/>
              <a:gd name="connsiteY13117" fmla="*/ 1054640 h 5217112"/>
              <a:gd name="connsiteX13118" fmla="*/ 2002019 w 6785952"/>
              <a:gd name="connsiteY13118" fmla="*/ 1056165 h 5217112"/>
              <a:gd name="connsiteX13119" fmla="*/ 1998724 w 6785952"/>
              <a:gd name="connsiteY13119" fmla="*/ 1058454 h 5217112"/>
              <a:gd name="connsiteX13120" fmla="*/ 1998724 w 6785952"/>
              <a:gd name="connsiteY13120" fmla="*/ 1058563 h 5217112"/>
              <a:gd name="connsiteX13121" fmla="*/ 1998449 w 6785952"/>
              <a:gd name="connsiteY13121" fmla="*/ 1058672 h 5217112"/>
              <a:gd name="connsiteX13122" fmla="*/ 1998174 w 6785952"/>
              <a:gd name="connsiteY13122" fmla="*/ 1058890 h 5217112"/>
              <a:gd name="connsiteX13123" fmla="*/ 1994878 w 6785952"/>
              <a:gd name="connsiteY13123" fmla="*/ 1062486 h 5217112"/>
              <a:gd name="connsiteX13124" fmla="*/ 1992406 w 6785952"/>
              <a:gd name="connsiteY13124" fmla="*/ 1063031 h 5217112"/>
              <a:gd name="connsiteX13125" fmla="*/ 1983615 w 6785952"/>
              <a:gd name="connsiteY13125" fmla="*/ 1069133 h 5217112"/>
              <a:gd name="connsiteX13126" fmla="*/ 1977298 w 6785952"/>
              <a:gd name="connsiteY13126" fmla="*/ 1070768 h 5217112"/>
              <a:gd name="connsiteX13127" fmla="*/ 1977298 w 6785952"/>
              <a:gd name="connsiteY13127" fmla="*/ 1070877 h 5217112"/>
              <a:gd name="connsiteX13128" fmla="*/ 1979495 w 6785952"/>
              <a:gd name="connsiteY13128" fmla="*/ 1078832 h 5217112"/>
              <a:gd name="connsiteX13129" fmla="*/ 1977298 w 6785952"/>
              <a:gd name="connsiteY13129" fmla="*/ 1082646 h 5217112"/>
              <a:gd name="connsiteX13130" fmla="*/ 1972902 w 6785952"/>
              <a:gd name="connsiteY13130" fmla="*/ 1084062 h 5217112"/>
              <a:gd name="connsiteX13131" fmla="*/ 1968232 w 6785952"/>
              <a:gd name="connsiteY13131" fmla="*/ 1083518 h 5217112"/>
              <a:gd name="connsiteX13132" fmla="*/ 1959167 w 6785952"/>
              <a:gd name="connsiteY13132" fmla="*/ 1078505 h 5217112"/>
              <a:gd name="connsiteX13133" fmla="*/ 1955047 w 6785952"/>
              <a:gd name="connsiteY13133" fmla="*/ 1073166 h 5217112"/>
              <a:gd name="connsiteX13134" fmla="*/ 1952025 w 6785952"/>
              <a:gd name="connsiteY13134" fmla="*/ 1072839 h 5217112"/>
              <a:gd name="connsiteX13135" fmla="*/ 1953124 w 6785952"/>
              <a:gd name="connsiteY13135" fmla="*/ 1067826 h 5217112"/>
              <a:gd name="connsiteX13136" fmla="*/ 1953398 w 6785952"/>
              <a:gd name="connsiteY13136" fmla="*/ 1063140 h 5217112"/>
              <a:gd name="connsiteX13137" fmla="*/ 1957794 w 6785952"/>
              <a:gd name="connsiteY13137" fmla="*/ 1060198 h 5217112"/>
              <a:gd name="connsiteX13138" fmla="*/ 1959442 w 6785952"/>
              <a:gd name="connsiteY13138" fmla="*/ 1060742 h 5217112"/>
              <a:gd name="connsiteX13139" fmla="*/ 1965211 w 6785952"/>
              <a:gd name="connsiteY13139" fmla="*/ 1058018 h 5217112"/>
              <a:gd name="connsiteX13140" fmla="*/ 1966310 w 6785952"/>
              <a:gd name="connsiteY13140" fmla="*/ 1055512 h 5217112"/>
              <a:gd name="connsiteX13141" fmla="*/ 1964112 w 6785952"/>
              <a:gd name="connsiteY13141" fmla="*/ 1050826 h 5217112"/>
              <a:gd name="connsiteX13142" fmla="*/ 1961914 w 6785952"/>
              <a:gd name="connsiteY13142" fmla="*/ 1048538 h 5217112"/>
              <a:gd name="connsiteX13143" fmla="*/ 1958618 w 6785952"/>
              <a:gd name="connsiteY13143" fmla="*/ 1049301 h 5217112"/>
              <a:gd name="connsiteX13144" fmla="*/ 1945158 w 6785952"/>
              <a:gd name="connsiteY13144" fmla="*/ 1049955 h 5217112"/>
              <a:gd name="connsiteX13145" fmla="*/ 1946257 w 6785952"/>
              <a:gd name="connsiteY13145" fmla="*/ 1048102 h 5217112"/>
              <a:gd name="connsiteX13146" fmla="*/ 1956421 w 6785952"/>
              <a:gd name="connsiteY13146" fmla="*/ 1045595 h 5217112"/>
              <a:gd name="connsiteX13147" fmla="*/ 1958618 w 6785952"/>
              <a:gd name="connsiteY13147" fmla="*/ 1045268 h 5217112"/>
              <a:gd name="connsiteX13148" fmla="*/ 1956146 w 6785952"/>
              <a:gd name="connsiteY13148" fmla="*/ 1042653 h 5217112"/>
              <a:gd name="connsiteX13149" fmla="*/ 1941861 w 6785952"/>
              <a:gd name="connsiteY13149" fmla="*/ 1024454 h 5217112"/>
              <a:gd name="connsiteX13150" fmla="*/ 1940763 w 6785952"/>
              <a:gd name="connsiteY13150" fmla="*/ 1017698 h 5217112"/>
              <a:gd name="connsiteX13151" fmla="*/ 1935544 w 6785952"/>
              <a:gd name="connsiteY13151" fmla="*/ 1022166 h 5217112"/>
              <a:gd name="connsiteX13152" fmla="*/ 1930324 w 6785952"/>
              <a:gd name="connsiteY13152" fmla="*/ 1027070 h 5217112"/>
              <a:gd name="connsiteX13153" fmla="*/ 1920435 w 6785952"/>
              <a:gd name="connsiteY13153" fmla="*/ 1034916 h 5217112"/>
              <a:gd name="connsiteX13154" fmla="*/ 1918787 w 6785952"/>
              <a:gd name="connsiteY13154" fmla="*/ 1039057 h 5217112"/>
              <a:gd name="connsiteX13155" fmla="*/ 1917963 w 6785952"/>
              <a:gd name="connsiteY13155" fmla="*/ 1039602 h 5217112"/>
              <a:gd name="connsiteX13156" fmla="*/ 1917963 w 6785952"/>
              <a:gd name="connsiteY13156" fmla="*/ 1041236 h 5217112"/>
              <a:gd name="connsiteX13157" fmla="*/ 1916865 w 6785952"/>
              <a:gd name="connsiteY13157" fmla="*/ 1041781 h 5217112"/>
              <a:gd name="connsiteX13158" fmla="*/ 1916865 w 6785952"/>
              <a:gd name="connsiteY13158" fmla="*/ 1040256 h 5217112"/>
              <a:gd name="connsiteX13159" fmla="*/ 1915216 w 6785952"/>
              <a:gd name="connsiteY13159" fmla="*/ 1041455 h 5217112"/>
              <a:gd name="connsiteX13160" fmla="*/ 1905602 w 6785952"/>
              <a:gd name="connsiteY13160" fmla="*/ 1035679 h 5217112"/>
              <a:gd name="connsiteX13161" fmla="*/ 1906152 w 6785952"/>
              <a:gd name="connsiteY13161" fmla="*/ 1026307 h 5217112"/>
              <a:gd name="connsiteX13162" fmla="*/ 1919337 w 6785952"/>
              <a:gd name="connsiteY13162" fmla="*/ 1028377 h 5217112"/>
              <a:gd name="connsiteX13163" fmla="*/ 1919886 w 6785952"/>
              <a:gd name="connsiteY13163" fmla="*/ 1028813 h 5217112"/>
              <a:gd name="connsiteX13164" fmla="*/ 1919886 w 6785952"/>
              <a:gd name="connsiteY13164" fmla="*/ 1028596 h 5217112"/>
              <a:gd name="connsiteX13165" fmla="*/ 1930599 w 6785952"/>
              <a:gd name="connsiteY13165" fmla="*/ 1018570 h 5217112"/>
              <a:gd name="connsiteX13166" fmla="*/ 1933621 w 6785952"/>
              <a:gd name="connsiteY13166" fmla="*/ 1016718 h 5217112"/>
              <a:gd name="connsiteX13167" fmla="*/ 1936368 w 6785952"/>
              <a:gd name="connsiteY13167" fmla="*/ 1014865 h 5217112"/>
              <a:gd name="connsiteX13168" fmla="*/ 1941861 w 6785952"/>
              <a:gd name="connsiteY13168" fmla="*/ 1016608 h 5217112"/>
              <a:gd name="connsiteX13169" fmla="*/ 1941587 w 6785952"/>
              <a:gd name="connsiteY13169" fmla="*/ 1016827 h 5217112"/>
              <a:gd name="connsiteX13170" fmla="*/ 1946806 w 6785952"/>
              <a:gd name="connsiteY13170" fmla="*/ 1017262 h 5217112"/>
              <a:gd name="connsiteX13171" fmla="*/ 1956695 w 6785952"/>
              <a:gd name="connsiteY13171" fmla="*/ 1022820 h 5217112"/>
              <a:gd name="connsiteX13172" fmla="*/ 1964661 w 6785952"/>
              <a:gd name="connsiteY13172" fmla="*/ 1031102 h 5217112"/>
              <a:gd name="connsiteX13173" fmla="*/ 1966035 w 6785952"/>
              <a:gd name="connsiteY13173" fmla="*/ 1031429 h 5217112"/>
              <a:gd name="connsiteX13174" fmla="*/ 1971804 w 6785952"/>
              <a:gd name="connsiteY13174" fmla="*/ 1036768 h 5217112"/>
              <a:gd name="connsiteX13175" fmla="*/ 1971804 w 6785952"/>
              <a:gd name="connsiteY13175" fmla="*/ 1036442 h 5217112"/>
              <a:gd name="connsiteX13176" fmla="*/ 1975924 w 6785952"/>
              <a:gd name="connsiteY13176" fmla="*/ 1021839 h 5217112"/>
              <a:gd name="connsiteX13177" fmla="*/ 1977298 w 6785952"/>
              <a:gd name="connsiteY13177" fmla="*/ 1021295 h 5217112"/>
              <a:gd name="connsiteX13178" fmla="*/ 1979495 w 6785952"/>
              <a:gd name="connsiteY13178" fmla="*/ 1023910 h 5217112"/>
              <a:gd name="connsiteX13179" fmla="*/ 1978396 w 6785952"/>
              <a:gd name="connsiteY13179" fmla="*/ 1030230 h 5217112"/>
              <a:gd name="connsiteX13180" fmla="*/ 1974825 w 6785952"/>
              <a:gd name="connsiteY13180" fmla="*/ 1038294 h 5217112"/>
              <a:gd name="connsiteX13181" fmla="*/ 1974275 w 6785952"/>
              <a:gd name="connsiteY13181" fmla="*/ 1039493 h 5217112"/>
              <a:gd name="connsiteX13182" fmla="*/ 1984714 w 6785952"/>
              <a:gd name="connsiteY13182" fmla="*/ 1051044 h 5217112"/>
              <a:gd name="connsiteX13183" fmla="*/ 1985538 w 6785952"/>
              <a:gd name="connsiteY13183" fmla="*/ 1051044 h 5217112"/>
              <a:gd name="connsiteX13184" fmla="*/ 1984439 w 6785952"/>
              <a:gd name="connsiteY13184" fmla="*/ 1044833 h 5217112"/>
              <a:gd name="connsiteX13185" fmla="*/ 1991032 w 6785952"/>
              <a:gd name="connsiteY13185" fmla="*/ 1047993 h 5217112"/>
              <a:gd name="connsiteX13186" fmla="*/ 1991856 w 6785952"/>
              <a:gd name="connsiteY13186" fmla="*/ 1046794 h 5217112"/>
              <a:gd name="connsiteX13187" fmla="*/ 1996251 w 6785952"/>
              <a:gd name="connsiteY13187" fmla="*/ 1045159 h 5217112"/>
              <a:gd name="connsiteX13188" fmla="*/ 2000921 w 6785952"/>
              <a:gd name="connsiteY13188" fmla="*/ 1044288 h 5217112"/>
              <a:gd name="connsiteX13189" fmla="*/ 2000646 w 6785952"/>
              <a:gd name="connsiteY13189" fmla="*/ 1044179 h 5217112"/>
              <a:gd name="connsiteX13190" fmla="*/ 2000097 w 6785952"/>
              <a:gd name="connsiteY13190" fmla="*/ 1041345 h 5217112"/>
              <a:gd name="connsiteX13191" fmla="*/ 2008888 w 6785952"/>
              <a:gd name="connsiteY13191" fmla="*/ 1033173 h 5217112"/>
              <a:gd name="connsiteX13192" fmla="*/ 2015205 w 6785952"/>
              <a:gd name="connsiteY13192" fmla="*/ 1031865 h 5217112"/>
              <a:gd name="connsiteX13193" fmla="*/ 2011359 w 6785952"/>
              <a:gd name="connsiteY13193" fmla="*/ 1019769 h 5217112"/>
              <a:gd name="connsiteX13194" fmla="*/ 2005591 w 6785952"/>
              <a:gd name="connsiteY13194" fmla="*/ 988821 h 5217112"/>
              <a:gd name="connsiteX13195" fmla="*/ 2020974 w 6785952"/>
              <a:gd name="connsiteY13195" fmla="*/ 959725 h 5217112"/>
              <a:gd name="connsiteX13196" fmla="*/ 2060255 w 6785952"/>
              <a:gd name="connsiteY13196" fmla="*/ 945014 h 5217112"/>
              <a:gd name="connsiteX13197" fmla="*/ 2341268 w 6785952"/>
              <a:gd name="connsiteY13197" fmla="*/ 943161 h 5217112"/>
              <a:gd name="connsiteX13198" fmla="*/ 2350058 w 6785952"/>
              <a:gd name="connsiteY13198" fmla="*/ 953077 h 5217112"/>
              <a:gd name="connsiteX13199" fmla="*/ 2344564 w 6785952"/>
              <a:gd name="connsiteY13199" fmla="*/ 955693 h 5217112"/>
              <a:gd name="connsiteX13200" fmla="*/ 2334676 w 6785952"/>
              <a:gd name="connsiteY13200" fmla="*/ 948719 h 5217112"/>
              <a:gd name="connsiteX13201" fmla="*/ 2334126 w 6785952"/>
              <a:gd name="connsiteY13201" fmla="*/ 945122 h 5217112"/>
              <a:gd name="connsiteX13202" fmla="*/ 2341268 w 6785952"/>
              <a:gd name="connsiteY13202" fmla="*/ 943161 h 5217112"/>
              <a:gd name="connsiteX13203" fmla="*/ 2507733 w 6785952"/>
              <a:gd name="connsiteY13203" fmla="*/ 941091 h 5217112"/>
              <a:gd name="connsiteX13204" fmla="*/ 2517622 w 6785952"/>
              <a:gd name="connsiteY13204" fmla="*/ 953186 h 5217112"/>
              <a:gd name="connsiteX13205" fmla="*/ 2513501 w 6785952"/>
              <a:gd name="connsiteY13205" fmla="*/ 954603 h 5217112"/>
              <a:gd name="connsiteX13206" fmla="*/ 2504162 w 6785952"/>
              <a:gd name="connsiteY13206" fmla="*/ 942725 h 5217112"/>
              <a:gd name="connsiteX13207" fmla="*/ 2507733 w 6785952"/>
              <a:gd name="connsiteY13207" fmla="*/ 941091 h 5217112"/>
              <a:gd name="connsiteX13208" fmla="*/ 1593548 w 6785952"/>
              <a:gd name="connsiteY13208" fmla="*/ 938367 h 5217112"/>
              <a:gd name="connsiteX13209" fmla="*/ 1592725 w 6785952"/>
              <a:gd name="connsiteY13209" fmla="*/ 941636 h 5217112"/>
              <a:gd name="connsiteX13210" fmla="*/ 1592175 w 6785952"/>
              <a:gd name="connsiteY13210" fmla="*/ 938475 h 5217112"/>
              <a:gd name="connsiteX13211" fmla="*/ 1593548 w 6785952"/>
              <a:gd name="connsiteY13211" fmla="*/ 938367 h 5217112"/>
              <a:gd name="connsiteX13212" fmla="*/ 2082780 w 6785952"/>
              <a:gd name="connsiteY13212" fmla="*/ 937712 h 5217112"/>
              <a:gd name="connsiteX13213" fmla="*/ 2084703 w 6785952"/>
              <a:gd name="connsiteY13213" fmla="*/ 950027 h 5217112"/>
              <a:gd name="connsiteX13214" fmla="*/ 2076462 w 6785952"/>
              <a:gd name="connsiteY13214" fmla="*/ 947084 h 5217112"/>
              <a:gd name="connsiteX13215" fmla="*/ 2073990 w 6785952"/>
              <a:gd name="connsiteY13215" fmla="*/ 942289 h 5217112"/>
              <a:gd name="connsiteX13216" fmla="*/ 2077011 w 6785952"/>
              <a:gd name="connsiteY13216" fmla="*/ 938257 h 5217112"/>
              <a:gd name="connsiteX13217" fmla="*/ 2082780 w 6785952"/>
              <a:gd name="connsiteY13217" fmla="*/ 937712 h 5217112"/>
              <a:gd name="connsiteX13218" fmla="*/ 1767705 w 6785952"/>
              <a:gd name="connsiteY13218" fmla="*/ 937277 h 5217112"/>
              <a:gd name="connsiteX13219" fmla="*/ 1775946 w 6785952"/>
              <a:gd name="connsiteY13219" fmla="*/ 959834 h 5217112"/>
              <a:gd name="connsiteX13220" fmla="*/ 1777869 w 6785952"/>
              <a:gd name="connsiteY13220" fmla="*/ 964956 h 5217112"/>
              <a:gd name="connsiteX13221" fmla="*/ 1780341 w 6785952"/>
              <a:gd name="connsiteY13221" fmla="*/ 959834 h 5217112"/>
              <a:gd name="connsiteX13222" fmla="*/ 1789132 w 6785952"/>
              <a:gd name="connsiteY13222" fmla="*/ 977705 h 5217112"/>
              <a:gd name="connsiteX13223" fmla="*/ 1783637 w 6785952"/>
              <a:gd name="connsiteY13223" fmla="*/ 976507 h 5217112"/>
              <a:gd name="connsiteX13224" fmla="*/ 1779517 w 6785952"/>
              <a:gd name="connsiteY13224" fmla="*/ 974218 h 5217112"/>
              <a:gd name="connsiteX13225" fmla="*/ 1779242 w 6785952"/>
              <a:gd name="connsiteY13225" fmla="*/ 979994 h 5217112"/>
              <a:gd name="connsiteX13226" fmla="*/ 1773474 w 6785952"/>
              <a:gd name="connsiteY13226" fmla="*/ 973782 h 5217112"/>
              <a:gd name="connsiteX13227" fmla="*/ 1772101 w 6785952"/>
              <a:gd name="connsiteY13227" fmla="*/ 972693 h 5217112"/>
              <a:gd name="connsiteX13228" fmla="*/ 1768804 w 6785952"/>
              <a:gd name="connsiteY13228" fmla="*/ 974327 h 5217112"/>
              <a:gd name="connsiteX13229" fmla="*/ 1762486 w 6785952"/>
              <a:gd name="connsiteY13229" fmla="*/ 972802 h 5217112"/>
              <a:gd name="connsiteX13230" fmla="*/ 1766058 w 6785952"/>
              <a:gd name="connsiteY13230" fmla="*/ 983699 h 5217112"/>
              <a:gd name="connsiteX13231" fmla="*/ 1763859 w 6785952"/>
              <a:gd name="connsiteY13231" fmla="*/ 1008109 h 5217112"/>
              <a:gd name="connsiteX13232" fmla="*/ 1758091 w 6785952"/>
              <a:gd name="connsiteY13232" fmla="*/ 1010179 h 5217112"/>
              <a:gd name="connsiteX13233" fmla="*/ 1746828 w 6785952"/>
              <a:gd name="connsiteY13233" fmla="*/ 1000481 h 5217112"/>
              <a:gd name="connsiteX13234" fmla="*/ 1751223 w 6785952"/>
              <a:gd name="connsiteY13234" fmla="*/ 968769 h 5217112"/>
              <a:gd name="connsiteX13235" fmla="*/ 1751498 w 6785952"/>
              <a:gd name="connsiteY13235" fmla="*/ 968551 h 5217112"/>
              <a:gd name="connsiteX13236" fmla="*/ 1743807 w 6785952"/>
              <a:gd name="connsiteY13236" fmla="*/ 962558 h 5217112"/>
              <a:gd name="connsiteX13237" fmla="*/ 1748752 w 6785952"/>
              <a:gd name="connsiteY13237" fmla="*/ 948828 h 5217112"/>
              <a:gd name="connsiteX13238" fmla="*/ 1757266 w 6785952"/>
              <a:gd name="connsiteY13238" fmla="*/ 947193 h 5217112"/>
              <a:gd name="connsiteX13239" fmla="*/ 1757266 w 6785952"/>
              <a:gd name="connsiteY13239" fmla="*/ 945885 h 5217112"/>
              <a:gd name="connsiteX13240" fmla="*/ 1767705 w 6785952"/>
              <a:gd name="connsiteY13240" fmla="*/ 937277 h 5217112"/>
              <a:gd name="connsiteX13241" fmla="*/ 2195680 w 6785952"/>
              <a:gd name="connsiteY13241" fmla="*/ 937168 h 5217112"/>
              <a:gd name="connsiteX13242" fmla="*/ 2202821 w 6785952"/>
              <a:gd name="connsiteY13242" fmla="*/ 947629 h 5217112"/>
              <a:gd name="connsiteX13243" fmla="*/ 2205844 w 6785952"/>
              <a:gd name="connsiteY13243" fmla="*/ 953840 h 5217112"/>
              <a:gd name="connsiteX13244" fmla="*/ 2204745 w 6785952"/>
              <a:gd name="connsiteY13244" fmla="*/ 957873 h 5217112"/>
              <a:gd name="connsiteX13245" fmla="*/ 2203371 w 6785952"/>
              <a:gd name="connsiteY13245" fmla="*/ 958744 h 5217112"/>
              <a:gd name="connsiteX13246" fmla="*/ 2201174 w 6785952"/>
              <a:gd name="connsiteY13246" fmla="*/ 956674 h 5217112"/>
              <a:gd name="connsiteX13247" fmla="*/ 2195680 w 6785952"/>
              <a:gd name="connsiteY13247" fmla="*/ 943706 h 5217112"/>
              <a:gd name="connsiteX13248" fmla="*/ 2194581 w 6785952"/>
              <a:gd name="connsiteY13248" fmla="*/ 941200 h 5217112"/>
              <a:gd name="connsiteX13249" fmla="*/ 2195680 w 6785952"/>
              <a:gd name="connsiteY13249" fmla="*/ 937168 h 5217112"/>
              <a:gd name="connsiteX13250" fmla="*/ 1847642 w 6785952"/>
              <a:gd name="connsiteY13250" fmla="*/ 936949 h 5217112"/>
              <a:gd name="connsiteX13251" fmla="*/ 1855058 w 6785952"/>
              <a:gd name="connsiteY13251" fmla="*/ 975853 h 5217112"/>
              <a:gd name="connsiteX13252" fmla="*/ 1844070 w 6785952"/>
              <a:gd name="connsiteY13252" fmla="*/ 956456 h 5217112"/>
              <a:gd name="connsiteX13253" fmla="*/ 1847642 w 6785952"/>
              <a:gd name="connsiteY13253" fmla="*/ 936949 h 5217112"/>
              <a:gd name="connsiteX13254" fmla="*/ 1942136 w 6785952"/>
              <a:gd name="connsiteY13254" fmla="*/ 934770 h 5217112"/>
              <a:gd name="connsiteX13255" fmla="*/ 1909173 w 6785952"/>
              <a:gd name="connsiteY13255" fmla="*/ 955802 h 5217112"/>
              <a:gd name="connsiteX13256" fmla="*/ 1922633 w 6785952"/>
              <a:gd name="connsiteY13256" fmla="*/ 942507 h 5217112"/>
              <a:gd name="connsiteX13257" fmla="*/ 1942136 w 6785952"/>
              <a:gd name="connsiteY13257" fmla="*/ 934770 h 5217112"/>
              <a:gd name="connsiteX13258" fmla="*/ 6221608 w 6785952"/>
              <a:gd name="connsiteY13258" fmla="*/ 931937 h 5217112"/>
              <a:gd name="connsiteX13259" fmla="*/ 6252649 w 6785952"/>
              <a:gd name="connsiteY13259" fmla="*/ 948064 h 5217112"/>
              <a:gd name="connsiteX13260" fmla="*/ 6242759 w 6785952"/>
              <a:gd name="connsiteY13260" fmla="*/ 953077 h 5217112"/>
              <a:gd name="connsiteX13261" fmla="*/ 6231222 w 6785952"/>
              <a:gd name="connsiteY13261" fmla="*/ 952751 h 5217112"/>
              <a:gd name="connsiteX13262" fmla="*/ 6218861 w 6785952"/>
              <a:gd name="connsiteY13262" fmla="*/ 938693 h 5217112"/>
              <a:gd name="connsiteX13263" fmla="*/ 6221608 w 6785952"/>
              <a:gd name="connsiteY13263" fmla="*/ 931937 h 5217112"/>
              <a:gd name="connsiteX13264" fmla="*/ 1870441 w 6785952"/>
              <a:gd name="connsiteY13264" fmla="*/ 930738 h 5217112"/>
              <a:gd name="connsiteX13265" fmla="*/ 1874013 w 6785952"/>
              <a:gd name="connsiteY13265" fmla="*/ 931719 h 5217112"/>
              <a:gd name="connsiteX13266" fmla="*/ 1874562 w 6785952"/>
              <a:gd name="connsiteY13266" fmla="*/ 932482 h 5217112"/>
              <a:gd name="connsiteX13267" fmla="*/ 1882253 w 6785952"/>
              <a:gd name="connsiteY13267" fmla="*/ 930956 h 5217112"/>
              <a:gd name="connsiteX13268" fmla="*/ 1880605 w 6785952"/>
              <a:gd name="connsiteY13268" fmla="*/ 939456 h 5217112"/>
              <a:gd name="connsiteX13269" fmla="*/ 1879231 w 6785952"/>
              <a:gd name="connsiteY13269" fmla="*/ 939892 h 5217112"/>
              <a:gd name="connsiteX13270" fmla="*/ 1883077 w 6785952"/>
              <a:gd name="connsiteY13270" fmla="*/ 940982 h 5217112"/>
              <a:gd name="connsiteX13271" fmla="*/ 1903953 w 6785952"/>
              <a:gd name="connsiteY13271" fmla="*/ 944142 h 5217112"/>
              <a:gd name="connsiteX13272" fmla="*/ 1903953 w 6785952"/>
              <a:gd name="connsiteY13272" fmla="*/ 955039 h 5217112"/>
              <a:gd name="connsiteX13273" fmla="*/ 1902580 w 6785952"/>
              <a:gd name="connsiteY13273" fmla="*/ 957764 h 5217112"/>
              <a:gd name="connsiteX13274" fmla="*/ 1904503 w 6785952"/>
              <a:gd name="connsiteY13274" fmla="*/ 956346 h 5217112"/>
              <a:gd name="connsiteX13275" fmla="*/ 1907799 w 6785952"/>
              <a:gd name="connsiteY13275" fmla="*/ 962885 h 5217112"/>
              <a:gd name="connsiteX13276" fmla="*/ 1901756 w 6785952"/>
              <a:gd name="connsiteY13276" fmla="*/ 964737 h 5217112"/>
              <a:gd name="connsiteX13277" fmla="*/ 1900108 w 6785952"/>
              <a:gd name="connsiteY13277" fmla="*/ 963321 h 5217112"/>
              <a:gd name="connsiteX13278" fmla="*/ 1898734 w 6785952"/>
              <a:gd name="connsiteY13278" fmla="*/ 961904 h 5217112"/>
              <a:gd name="connsiteX13279" fmla="*/ 1896262 w 6785952"/>
              <a:gd name="connsiteY13279" fmla="*/ 964411 h 5217112"/>
              <a:gd name="connsiteX13280" fmla="*/ 1882527 w 6785952"/>
              <a:gd name="connsiteY13280" fmla="*/ 966372 h 5217112"/>
              <a:gd name="connsiteX13281" fmla="*/ 1880605 w 6785952"/>
              <a:gd name="connsiteY13281" fmla="*/ 965282 h 5217112"/>
              <a:gd name="connsiteX13282" fmla="*/ 1880605 w 6785952"/>
              <a:gd name="connsiteY13282" fmla="*/ 965719 h 5217112"/>
              <a:gd name="connsiteX13283" fmla="*/ 1879231 w 6785952"/>
              <a:gd name="connsiteY13283" fmla="*/ 969968 h 5217112"/>
              <a:gd name="connsiteX13284" fmla="*/ 1881703 w 6785952"/>
              <a:gd name="connsiteY13284" fmla="*/ 969533 h 5217112"/>
              <a:gd name="connsiteX13285" fmla="*/ 1876484 w 6785952"/>
              <a:gd name="connsiteY13285" fmla="*/ 996558 h 5217112"/>
              <a:gd name="connsiteX13286" fmla="*/ 1875111 w 6785952"/>
              <a:gd name="connsiteY13286" fmla="*/ 999282 h 5217112"/>
              <a:gd name="connsiteX13287" fmla="*/ 1874013 w 6785952"/>
              <a:gd name="connsiteY13287" fmla="*/ 1000154 h 5217112"/>
              <a:gd name="connsiteX13288" fmla="*/ 1873188 w 6785952"/>
              <a:gd name="connsiteY13288" fmla="*/ 999718 h 5217112"/>
              <a:gd name="connsiteX13289" fmla="*/ 1872364 w 6785952"/>
              <a:gd name="connsiteY13289" fmla="*/ 999718 h 5217112"/>
              <a:gd name="connsiteX13290" fmla="*/ 1872639 w 6785952"/>
              <a:gd name="connsiteY13290" fmla="*/ 1000481 h 5217112"/>
              <a:gd name="connsiteX13291" fmla="*/ 1871814 w 6785952"/>
              <a:gd name="connsiteY13291" fmla="*/ 1005711 h 5217112"/>
              <a:gd name="connsiteX13292" fmla="*/ 1874562 w 6785952"/>
              <a:gd name="connsiteY13292" fmla="*/ 1006038 h 5217112"/>
              <a:gd name="connsiteX13293" fmla="*/ 1879506 w 6785952"/>
              <a:gd name="connsiteY13293" fmla="*/ 1004404 h 5217112"/>
              <a:gd name="connsiteX13294" fmla="*/ 1881703 w 6785952"/>
              <a:gd name="connsiteY13294" fmla="*/ 1006583 h 5217112"/>
              <a:gd name="connsiteX13295" fmla="*/ 1878133 w 6785952"/>
              <a:gd name="connsiteY13295" fmla="*/ 1009635 h 5217112"/>
              <a:gd name="connsiteX13296" fmla="*/ 1874013 w 6785952"/>
              <a:gd name="connsiteY13296" fmla="*/ 1006583 h 5217112"/>
              <a:gd name="connsiteX13297" fmla="*/ 1871539 w 6785952"/>
              <a:gd name="connsiteY13297" fmla="*/ 1007020 h 5217112"/>
              <a:gd name="connsiteX13298" fmla="*/ 1870441 w 6785952"/>
              <a:gd name="connsiteY13298" fmla="*/ 1013122 h 5217112"/>
              <a:gd name="connsiteX13299" fmla="*/ 1863574 w 6785952"/>
              <a:gd name="connsiteY13299" fmla="*/ 1024782 h 5217112"/>
              <a:gd name="connsiteX13300" fmla="*/ 1865771 w 6785952"/>
              <a:gd name="connsiteY13300" fmla="*/ 1024564 h 5217112"/>
              <a:gd name="connsiteX13301" fmla="*/ 1869617 w 6785952"/>
              <a:gd name="connsiteY13301" fmla="*/ 1025653 h 5217112"/>
              <a:gd name="connsiteX13302" fmla="*/ 1870166 w 6785952"/>
              <a:gd name="connsiteY13302" fmla="*/ 1027179 h 5217112"/>
              <a:gd name="connsiteX13303" fmla="*/ 1871814 w 6785952"/>
              <a:gd name="connsiteY13303" fmla="*/ 1026743 h 5217112"/>
              <a:gd name="connsiteX13304" fmla="*/ 1878682 w 6785952"/>
              <a:gd name="connsiteY13304" fmla="*/ 1027288 h 5217112"/>
              <a:gd name="connsiteX13305" fmla="*/ 1870716 w 6785952"/>
              <a:gd name="connsiteY13305" fmla="*/ 1029358 h 5217112"/>
              <a:gd name="connsiteX13306" fmla="*/ 1870166 w 6785952"/>
              <a:gd name="connsiteY13306" fmla="*/ 1029358 h 5217112"/>
              <a:gd name="connsiteX13307" fmla="*/ 1870166 w 6785952"/>
              <a:gd name="connsiteY13307" fmla="*/ 1030775 h 5217112"/>
              <a:gd name="connsiteX13308" fmla="*/ 1871814 w 6785952"/>
              <a:gd name="connsiteY13308" fmla="*/ 1031429 h 5217112"/>
              <a:gd name="connsiteX13309" fmla="*/ 1870716 w 6785952"/>
              <a:gd name="connsiteY13309" fmla="*/ 1032191 h 5217112"/>
              <a:gd name="connsiteX13310" fmla="*/ 1870441 w 6785952"/>
              <a:gd name="connsiteY13310" fmla="*/ 1034262 h 5217112"/>
              <a:gd name="connsiteX13311" fmla="*/ 1864123 w 6785952"/>
              <a:gd name="connsiteY13311" fmla="*/ 1034698 h 5217112"/>
              <a:gd name="connsiteX13312" fmla="*/ 1858080 w 6785952"/>
              <a:gd name="connsiteY13312" fmla="*/ 1045378 h 5217112"/>
              <a:gd name="connsiteX13313" fmla="*/ 1855058 w 6785952"/>
              <a:gd name="connsiteY13313" fmla="*/ 1047230 h 5217112"/>
              <a:gd name="connsiteX13314" fmla="*/ 1853960 w 6785952"/>
              <a:gd name="connsiteY13314" fmla="*/ 1050063 h 5217112"/>
              <a:gd name="connsiteX13315" fmla="*/ 1852861 w 6785952"/>
              <a:gd name="connsiteY13315" fmla="*/ 1048319 h 5217112"/>
              <a:gd name="connsiteX13316" fmla="*/ 1852586 w 6785952"/>
              <a:gd name="connsiteY13316" fmla="*/ 1048647 h 5217112"/>
              <a:gd name="connsiteX13317" fmla="*/ 1852312 w 6785952"/>
              <a:gd name="connsiteY13317" fmla="*/ 1047993 h 5217112"/>
              <a:gd name="connsiteX13318" fmla="*/ 1851487 w 6785952"/>
              <a:gd name="connsiteY13318" fmla="*/ 1048211 h 5217112"/>
              <a:gd name="connsiteX13319" fmla="*/ 1848191 w 6785952"/>
              <a:gd name="connsiteY13319" fmla="*/ 1047012 h 5217112"/>
              <a:gd name="connsiteX13320" fmla="*/ 1848191 w 6785952"/>
              <a:gd name="connsiteY13320" fmla="*/ 1039820 h 5217112"/>
              <a:gd name="connsiteX13321" fmla="*/ 1855608 w 6785952"/>
              <a:gd name="connsiteY13321" fmla="*/ 1036333 h 5217112"/>
              <a:gd name="connsiteX13322" fmla="*/ 1860003 w 6785952"/>
              <a:gd name="connsiteY13322" fmla="*/ 1033281 h 5217112"/>
              <a:gd name="connsiteX13323" fmla="*/ 1863300 w 6785952"/>
              <a:gd name="connsiteY13323" fmla="*/ 1034262 h 5217112"/>
              <a:gd name="connsiteX13324" fmla="*/ 1861101 w 6785952"/>
              <a:gd name="connsiteY13324" fmla="*/ 1033173 h 5217112"/>
              <a:gd name="connsiteX13325" fmla="*/ 1859728 w 6785952"/>
              <a:gd name="connsiteY13325" fmla="*/ 1030449 h 5217112"/>
              <a:gd name="connsiteX13326" fmla="*/ 1861101 w 6785952"/>
              <a:gd name="connsiteY13326" fmla="*/ 1027723 h 5217112"/>
              <a:gd name="connsiteX13327" fmla="*/ 1862750 w 6785952"/>
              <a:gd name="connsiteY13327" fmla="*/ 1025327 h 5217112"/>
              <a:gd name="connsiteX13328" fmla="*/ 1854509 w 6785952"/>
              <a:gd name="connsiteY13328" fmla="*/ 1029250 h 5217112"/>
              <a:gd name="connsiteX13329" fmla="*/ 1859178 w 6785952"/>
              <a:gd name="connsiteY13329" fmla="*/ 1013558 h 5217112"/>
              <a:gd name="connsiteX13330" fmla="*/ 1860278 w 6785952"/>
              <a:gd name="connsiteY13330" fmla="*/ 1003968 h 5217112"/>
              <a:gd name="connsiteX13331" fmla="*/ 1859453 w 6785952"/>
              <a:gd name="connsiteY13331" fmla="*/ 1003532 h 5217112"/>
              <a:gd name="connsiteX13332" fmla="*/ 1857805 w 6785952"/>
              <a:gd name="connsiteY13332" fmla="*/ 1004186 h 5217112"/>
              <a:gd name="connsiteX13333" fmla="*/ 1857805 w 6785952"/>
              <a:gd name="connsiteY13333" fmla="*/ 1004622 h 5217112"/>
              <a:gd name="connsiteX13334" fmla="*/ 1853135 w 6785952"/>
              <a:gd name="connsiteY13334" fmla="*/ 1016936 h 5217112"/>
              <a:gd name="connsiteX13335" fmla="*/ 1851762 w 6785952"/>
              <a:gd name="connsiteY13335" fmla="*/ 1015301 h 5217112"/>
              <a:gd name="connsiteX13336" fmla="*/ 1853685 w 6785952"/>
              <a:gd name="connsiteY13336" fmla="*/ 1004839 h 5217112"/>
              <a:gd name="connsiteX13337" fmla="*/ 1854234 w 6785952"/>
              <a:gd name="connsiteY13337" fmla="*/ 1002769 h 5217112"/>
              <a:gd name="connsiteX13338" fmla="*/ 1850938 w 6785952"/>
              <a:gd name="connsiteY13338" fmla="*/ 1003968 h 5217112"/>
              <a:gd name="connsiteX13339" fmla="*/ 1828412 w 6785952"/>
              <a:gd name="connsiteY13339" fmla="*/ 1009635 h 5217112"/>
              <a:gd name="connsiteX13340" fmla="*/ 1821820 w 6785952"/>
              <a:gd name="connsiteY13340" fmla="*/ 1008000 h 5217112"/>
              <a:gd name="connsiteX13341" fmla="*/ 1823743 w 6785952"/>
              <a:gd name="connsiteY13341" fmla="*/ 1014647 h 5217112"/>
              <a:gd name="connsiteX13342" fmla="*/ 1824018 w 6785952"/>
              <a:gd name="connsiteY13342" fmla="*/ 1016064 h 5217112"/>
              <a:gd name="connsiteX13343" fmla="*/ 1827864 w 6785952"/>
              <a:gd name="connsiteY13343" fmla="*/ 1016173 h 5217112"/>
              <a:gd name="connsiteX13344" fmla="*/ 1833907 w 6785952"/>
              <a:gd name="connsiteY13344" fmla="*/ 1024128 h 5217112"/>
              <a:gd name="connsiteX13345" fmla="*/ 1831709 w 6785952"/>
              <a:gd name="connsiteY13345" fmla="*/ 1026525 h 5217112"/>
              <a:gd name="connsiteX13346" fmla="*/ 1827589 w 6785952"/>
              <a:gd name="connsiteY13346" fmla="*/ 1027397 h 5217112"/>
              <a:gd name="connsiteX13347" fmla="*/ 1829237 w 6785952"/>
              <a:gd name="connsiteY13347" fmla="*/ 1033499 h 5217112"/>
              <a:gd name="connsiteX13348" fmla="*/ 1832259 w 6785952"/>
              <a:gd name="connsiteY13348" fmla="*/ 1036659 h 5217112"/>
              <a:gd name="connsiteX13349" fmla="*/ 1832533 w 6785952"/>
              <a:gd name="connsiteY13349" fmla="*/ 1037749 h 5217112"/>
              <a:gd name="connsiteX13350" fmla="*/ 1833907 w 6785952"/>
              <a:gd name="connsiteY13350" fmla="*/ 1038294 h 5217112"/>
              <a:gd name="connsiteX13351" fmla="*/ 1833907 w 6785952"/>
              <a:gd name="connsiteY13351" fmla="*/ 1039711 h 5217112"/>
              <a:gd name="connsiteX13352" fmla="*/ 1832808 w 6785952"/>
              <a:gd name="connsiteY13352" fmla="*/ 1038839 h 5217112"/>
              <a:gd name="connsiteX13353" fmla="*/ 1833082 w 6785952"/>
              <a:gd name="connsiteY13353" fmla="*/ 1040474 h 5217112"/>
              <a:gd name="connsiteX13354" fmla="*/ 1834181 w 6785952"/>
              <a:gd name="connsiteY13354" fmla="*/ 1039929 h 5217112"/>
              <a:gd name="connsiteX13355" fmla="*/ 1833907 w 6785952"/>
              <a:gd name="connsiteY13355" fmla="*/ 1042980 h 5217112"/>
              <a:gd name="connsiteX13356" fmla="*/ 1833082 w 6785952"/>
              <a:gd name="connsiteY13356" fmla="*/ 1042435 h 5217112"/>
              <a:gd name="connsiteX13357" fmla="*/ 1833082 w 6785952"/>
              <a:gd name="connsiteY13357" fmla="*/ 1041127 h 5217112"/>
              <a:gd name="connsiteX13358" fmla="*/ 1830061 w 6785952"/>
              <a:gd name="connsiteY13358" fmla="*/ 1045704 h 5217112"/>
              <a:gd name="connsiteX13359" fmla="*/ 1824018 w 6785952"/>
              <a:gd name="connsiteY13359" fmla="*/ 1047339 h 5217112"/>
              <a:gd name="connsiteX13360" fmla="*/ 1815503 w 6785952"/>
              <a:gd name="connsiteY13360" fmla="*/ 1043198 h 5217112"/>
              <a:gd name="connsiteX13361" fmla="*/ 1822919 w 6785952"/>
              <a:gd name="connsiteY13361" fmla="*/ 1031756 h 5217112"/>
              <a:gd name="connsiteX13362" fmla="*/ 1823468 w 6785952"/>
              <a:gd name="connsiteY13362" fmla="*/ 1031646 h 5217112"/>
              <a:gd name="connsiteX13363" fmla="*/ 1823194 w 6785952"/>
              <a:gd name="connsiteY13363" fmla="*/ 1031538 h 5217112"/>
              <a:gd name="connsiteX13364" fmla="*/ 1819348 w 6785952"/>
              <a:gd name="connsiteY13364" fmla="*/ 1022929 h 5217112"/>
              <a:gd name="connsiteX13365" fmla="*/ 1819348 w 6785952"/>
              <a:gd name="connsiteY13365" fmla="*/ 1021730 h 5217112"/>
              <a:gd name="connsiteX13366" fmla="*/ 1816326 w 6785952"/>
              <a:gd name="connsiteY13366" fmla="*/ 1020314 h 5217112"/>
              <a:gd name="connsiteX13367" fmla="*/ 1815503 w 6785952"/>
              <a:gd name="connsiteY13367" fmla="*/ 1016064 h 5217112"/>
              <a:gd name="connsiteX13368" fmla="*/ 1818249 w 6785952"/>
              <a:gd name="connsiteY13368" fmla="*/ 1016064 h 5217112"/>
              <a:gd name="connsiteX13369" fmla="*/ 1818249 w 6785952"/>
              <a:gd name="connsiteY13369" fmla="*/ 1015846 h 5217112"/>
              <a:gd name="connsiteX13370" fmla="*/ 1817974 w 6785952"/>
              <a:gd name="connsiteY13370" fmla="*/ 1014103 h 5217112"/>
              <a:gd name="connsiteX13371" fmla="*/ 1817425 w 6785952"/>
              <a:gd name="connsiteY13371" fmla="*/ 1010833 h 5217112"/>
              <a:gd name="connsiteX13372" fmla="*/ 1821271 w 6785952"/>
              <a:gd name="connsiteY13372" fmla="*/ 1006474 h 5217112"/>
              <a:gd name="connsiteX13373" fmla="*/ 1821271 w 6785952"/>
              <a:gd name="connsiteY13373" fmla="*/ 1006801 h 5217112"/>
              <a:gd name="connsiteX13374" fmla="*/ 1823743 w 6785952"/>
              <a:gd name="connsiteY13374" fmla="*/ 1002333 h 5217112"/>
              <a:gd name="connsiteX13375" fmla="*/ 1845169 w 6785952"/>
              <a:gd name="connsiteY13375" fmla="*/ 990891 h 5217112"/>
              <a:gd name="connsiteX13376" fmla="*/ 1856707 w 6785952"/>
              <a:gd name="connsiteY13376" fmla="*/ 990673 h 5217112"/>
              <a:gd name="connsiteX13377" fmla="*/ 1851487 w 6785952"/>
              <a:gd name="connsiteY13377" fmla="*/ 987077 h 5217112"/>
              <a:gd name="connsiteX13378" fmla="*/ 1839675 w 6785952"/>
              <a:gd name="connsiteY13378" fmla="*/ 977596 h 5217112"/>
              <a:gd name="connsiteX13379" fmla="*/ 1839950 w 6785952"/>
              <a:gd name="connsiteY13379" fmla="*/ 976071 h 5217112"/>
              <a:gd name="connsiteX13380" fmla="*/ 1843247 w 6785952"/>
              <a:gd name="connsiteY13380" fmla="*/ 974981 h 5217112"/>
              <a:gd name="connsiteX13381" fmla="*/ 1848465 w 6785952"/>
              <a:gd name="connsiteY13381" fmla="*/ 978578 h 5217112"/>
              <a:gd name="connsiteX13382" fmla="*/ 1858355 w 6785952"/>
              <a:gd name="connsiteY13382" fmla="*/ 990129 h 5217112"/>
              <a:gd name="connsiteX13383" fmla="*/ 1859178 w 6785952"/>
              <a:gd name="connsiteY13383" fmla="*/ 990673 h 5217112"/>
              <a:gd name="connsiteX13384" fmla="*/ 1862201 w 6785952"/>
              <a:gd name="connsiteY13384" fmla="*/ 990673 h 5217112"/>
              <a:gd name="connsiteX13385" fmla="*/ 1865496 w 6785952"/>
              <a:gd name="connsiteY13385" fmla="*/ 992308 h 5217112"/>
              <a:gd name="connsiteX13386" fmla="*/ 1869892 w 6785952"/>
              <a:gd name="connsiteY13386" fmla="*/ 990782 h 5217112"/>
              <a:gd name="connsiteX13387" fmla="*/ 1871265 w 6785952"/>
              <a:gd name="connsiteY13387" fmla="*/ 995686 h 5217112"/>
              <a:gd name="connsiteX13388" fmla="*/ 1872364 w 6785952"/>
              <a:gd name="connsiteY13388" fmla="*/ 983590 h 5217112"/>
              <a:gd name="connsiteX13389" fmla="*/ 1871814 w 6785952"/>
              <a:gd name="connsiteY13389" fmla="*/ 978795 h 5217112"/>
              <a:gd name="connsiteX13390" fmla="*/ 1871539 w 6785952"/>
              <a:gd name="connsiteY13390" fmla="*/ 977596 h 5217112"/>
              <a:gd name="connsiteX13391" fmla="*/ 1871265 w 6785952"/>
              <a:gd name="connsiteY13391" fmla="*/ 977487 h 5217112"/>
              <a:gd name="connsiteX13392" fmla="*/ 1869343 w 6785952"/>
              <a:gd name="connsiteY13392" fmla="*/ 968334 h 5217112"/>
              <a:gd name="connsiteX13393" fmla="*/ 1870441 w 6785952"/>
              <a:gd name="connsiteY13393" fmla="*/ 963757 h 5217112"/>
              <a:gd name="connsiteX13394" fmla="*/ 1870166 w 6785952"/>
              <a:gd name="connsiteY13394" fmla="*/ 963866 h 5217112"/>
              <a:gd name="connsiteX13395" fmla="*/ 1867420 w 6785952"/>
              <a:gd name="connsiteY13395" fmla="*/ 963212 h 5217112"/>
              <a:gd name="connsiteX13396" fmla="*/ 1865496 w 6785952"/>
              <a:gd name="connsiteY13396" fmla="*/ 941526 h 5217112"/>
              <a:gd name="connsiteX13397" fmla="*/ 1866595 w 6785952"/>
              <a:gd name="connsiteY13397" fmla="*/ 938584 h 5217112"/>
              <a:gd name="connsiteX13398" fmla="*/ 1865222 w 6785952"/>
              <a:gd name="connsiteY13398" fmla="*/ 938367 h 5217112"/>
              <a:gd name="connsiteX13399" fmla="*/ 1866595 w 6785952"/>
              <a:gd name="connsiteY13399" fmla="*/ 936949 h 5217112"/>
              <a:gd name="connsiteX13400" fmla="*/ 1866595 w 6785952"/>
              <a:gd name="connsiteY13400" fmla="*/ 936732 h 5217112"/>
              <a:gd name="connsiteX13401" fmla="*/ 1866870 w 6785952"/>
              <a:gd name="connsiteY13401" fmla="*/ 935206 h 5217112"/>
              <a:gd name="connsiteX13402" fmla="*/ 1870441 w 6785952"/>
              <a:gd name="connsiteY13402" fmla="*/ 930738 h 5217112"/>
              <a:gd name="connsiteX13403" fmla="*/ 2555255 w 6785952"/>
              <a:gd name="connsiteY13403" fmla="*/ 929757 h 5217112"/>
              <a:gd name="connsiteX13404" fmla="*/ 2558277 w 6785952"/>
              <a:gd name="connsiteY13404" fmla="*/ 930520 h 5217112"/>
              <a:gd name="connsiteX13405" fmla="*/ 2559376 w 6785952"/>
              <a:gd name="connsiteY13405" fmla="*/ 933571 h 5217112"/>
              <a:gd name="connsiteX13406" fmla="*/ 2559376 w 6785952"/>
              <a:gd name="connsiteY13406" fmla="*/ 939456 h 5217112"/>
              <a:gd name="connsiteX13407" fmla="*/ 2556354 w 6785952"/>
              <a:gd name="connsiteY13407" fmla="*/ 942071 h 5217112"/>
              <a:gd name="connsiteX13408" fmla="*/ 2553607 w 6785952"/>
              <a:gd name="connsiteY13408" fmla="*/ 940328 h 5217112"/>
              <a:gd name="connsiteX13409" fmla="*/ 2550585 w 6785952"/>
              <a:gd name="connsiteY13409" fmla="*/ 939892 h 5217112"/>
              <a:gd name="connsiteX13410" fmla="*/ 2550860 w 6785952"/>
              <a:gd name="connsiteY13410" fmla="*/ 938475 h 5217112"/>
              <a:gd name="connsiteX13411" fmla="*/ 2550585 w 6785952"/>
              <a:gd name="connsiteY13411" fmla="*/ 938148 h 5217112"/>
              <a:gd name="connsiteX13412" fmla="*/ 2549761 w 6785952"/>
              <a:gd name="connsiteY13412" fmla="*/ 941417 h 5217112"/>
              <a:gd name="connsiteX13413" fmla="*/ 2537675 w 6785952"/>
              <a:gd name="connsiteY13413" fmla="*/ 947302 h 5217112"/>
              <a:gd name="connsiteX13414" fmla="*/ 2534927 w 6785952"/>
              <a:gd name="connsiteY13414" fmla="*/ 945231 h 5217112"/>
              <a:gd name="connsiteX13415" fmla="*/ 2536027 w 6785952"/>
              <a:gd name="connsiteY13415" fmla="*/ 940546 h 5217112"/>
              <a:gd name="connsiteX13416" fmla="*/ 2542894 w 6785952"/>
              <a:gd name="connsiteY13416" fmla="*/ 934334 h 5217112"/>
              <a:gd name="connsiteX13417" fmla="*/ 2551958 w 6785952"/>
              <a:gd name="connsiteY13417" fmla="*/ 931827 h 5217112"/>
              <a:gd name="connsiteX13418" fmla="*/ 2551684 w 6785952"/>
              <a:gd name="connsiteY13418" fmla="*/ 932372 h 5217112"/>
              <a:gd name="connsiteX13419" fmla="*/ 2552508 w 6785952"/>
              <a:gd name="connsiteY13419" fmla="*/ 931283 h 5217112"/>
              <a:gd name="connsiteX13420" fmla="*/ 2555255 w 6785952"/>
              <a:gd name="connsiteY13420" fmla="*/ 929757 h 5217112"/>
              <a:gd name="connsiteX13421" fmla="*/ 1595471 w 6785952"/>
              <a:gd name="connsiteY13421" fmla="*/ 929648 h 5217112"/>
              <a:gd name="connsiteX13422" fmla="*/ 1592175 w 6785952"/>
              <a:gd name="connsiteY13422" fmla="*/ 937385 h 5217112"/>
              <a:gd name="connsiteX13423" fmla="*/ 1591352 w 6785952"/>
              <a:gd name="connsiteY13423" fmla="*/ 931392 h 5217112"/>
              <a:gd name="connsiteX13424" fmla="*/ 1595471 w 6785952"/>
              <a:gd name="connsiteY13424" fmla="*/ 929648 h 5217112"/>
              <a:gd name="connsiteX13425" fmla="*/ 1641895 w 6785952"/>
              <a:gd name="connsiteY13425" fmla="*/ 929431 h 5217112"/>
              <a:gd name="connsiteX13426" fmla="*/ 1683099 w 6785952"/>
              <a:gd name="connsiteY13426" fmla="*/ 946213 h 5217112"/>
              <a:gd name="connsiteX13427" fmla="*/ 1695186 w 6785952"/>
              <a:gd name="connsiteY13427" fmla="*/ 970404 h 5217112"/>
              <a:gd name="connsiteX13428" fmla="*/ 1696560 w 6785952"/>
              <a:gd name="connsiteY13428" fmla="*/ 972802 h 5217112"/>
              <a:gd name="connsiteX13429" fmla="*/ 1698757 w 6785952"/>
              <a:gd name="connsiteY13429" fmla="*/ 969097 h 5217112"/>
              <a:gd name="connsiteX13430" fmla="*/ 1704526 w 6785952"/>
              <a:gd name="connsiteY13430" fmla="*/ 967244 h 5217112"/>
              <a:gd name="connsiteX13431" fmla="*/ 1703976 w 6785952"/>
              <a:gd name="connsiteY13431" fmla="*/ 964847 h 5217112"/>
              <a:gd name="connsiteX13432" fmla="*/ 1709470 w 6785952"/>
              <a:gd name="connsiteY13432" fmla="*/ 949372 h 5217112"/>
              <a:gd name="connsiteX13433" fmla="*/ 1726776 w 6785952"/>
              <a:gd name="connsiteY13433" fmla="*/ 951770 h 5217112"/>
              <a:gd name="connsiteX13434" fmla="*/ 1708371 w 6785952"/>
              <a:gd name="connsiteY13434" fmla="*/ 981410 h 5217112"/>
              <a:gd name="connsiteX13435" fmla="*/ 1706723 w 6785952"/>
              <a:gd name="connsiteY13435" fmla="*/ 975853 h 5217112"/>
              <a:gd name="connsiteX13436" fmla="*/ 1705075 w 6785952"/>
              <a:gd name="connsiteY13436" fmla="*/ 975744 h 5217112"/>
              <a:gd name="connsiteX13437" fmla="*/ 1698482 w 6785952"/>
              <a:gd name="connsiteY13437" fmla="*/ 976180 h 5217112"/>
              <a:gd name="connsiteX13438" fmla="*/ 1696834 w 6785952"/>
              <a:gd name="connsiteY13438" fmla="*/ 973564 h 5217112"/>
              <a:gd name="connsiteX13439" fmla="*/ 1707273 w 6785952"/>
              <a:gd name="connsiteY13439" fmla="*/ 994706 h 5217112"/>
              <a:gd name="connsiteX13440" fmla="*/ 1697658 w 6785952"/>
              <a:gd name="connsiteY13440" fmla="*/ 1024237 h 5217112"/>
              <a:gd name="connsiteX13441" fmla="*/ 1694912 w 6785952"/>
              <a:gd name="connsiteY13441" fmla="*/ 1032083 h 5217112"/>
              <a:gd name="connsiteX13442" fmla="*/ 1696285 w 6785952"/>
              <a:gd name="connsiteY13442" fmla="*/ 1037096 h 5217112"/>
              <a:gd name="connsiteX13443" fmla="*/ 1690790 w 6785952"/>
              <a:gd name="connsiteY13443" fmla="*/ 1040474 h 5217112"/>
              <a:gd name="connsiteX13444" fmla="*/ 1681451 w 6785952"/>
              <a:gd name="connsiteY13444" fmla="*/ 1048973 h 5217112"/>
              <a:gd name="connsiteX13445" fmla="*/ 1676781 w 6785952"/>
              <a:gd name="connsiteY13445" fmla="*/ 1048319 h 5217112"/>
              <a:gd name="connsiteX13446" fmla="*/ 1676232 w 6785952"/>
              <a:gd name="connsiteY13446" fmla="*/ 1048973 h 5217112"/>
              <a:gd name="connsiteX13447" fmla="*/ 1671837 w 6785952"/>
              <a:gd name="connsiteY13447" fmla="*/ 1050281 h 5217112"/>
              <a:gd name="connsiteX13448" fmla="*/ 1669090 w 6785952"/>
              <a:gd name="connsiteY13448" fmla="*/ 1048538 h 5217112"/>
              <a:gd name="connsiteX13449" fmla="*/ 1668266 w 6785952"/>
              <a:gd name="connsiteY13449" fmla="*/ 1048647 h 5217112"/>
              <a:gd name="connsiteX13450" fmla="*/ 1665519 w 6785952"/>
              <a:gd name="connsiteY13450" fmla="*/ 1053224 h 5217112"/>
              <a:gd name="connsiteX13451" fmla="*/ 1657003 w 6785952"/>
              <a:gd name="connsiteY13451" fmla="*/ 1055512 h 5217112"/>
              <a:gd name="connsiteX13452" fmla="*/ 1657278 w 6785952"/>
              <a:gd name="connsiteY13452" fmla="*/ 1056493 h 5217112"/>
              <a:gd name="connsiteX13453" fmla="*/ 1653158 w 6785952"/>
              <a:gd name="connsiteY13453" fmla="*/ 1060198 h 5217112"/>
              <a:gd name="connsiteX13454" fmla="*/ 1647389 w 6785952"/>
              <a:gd name="connsiteY13454" fmla="*/ 1059762 h 5217112"/>
              <a:gd name="connsiteX13455" fmla="*/ 1644092 w 6785952"/>
              <a:gd name="connsiteY13455" fmla="*/ 1057255 h 5217112"/>
              <a:gd name="connsiteX13456" fmla="*/ 1642993 w 6785952"/>
              <a:gd name="connsiteY13456" fmla="*/ 1052461 h 5217112"/>
              <a:gd name="connsiteX13457" fmla="*/ 1643268 w 6785952"/>
              <a:gd name="connsiteY13457" fmla="*/ 1052134 h 5217112"/>
              <a:gd name="connsiteX13458" fmla="*/ 1628710 w 6785952"/>
              <a:gd name="connsiteY13458" fmla="*/ 1044505 h 5217112"/>
              <a:gd name="connsiteX13459" fmla="*/ 1589978 w 6785952"/>
              <a:gd name="connsiteY13459" fmla="*/ 993288 h 5217112"/>
              <a:gd name="connsiteX13460" fmla="*/ 1590802 w 6785952"/>
              <a:gd name="connsiteY13460" fmla="*/ 977270 h 5217112"/>
              <a:gd name="connsiteX13461" fmla="*/ 1592725 w 6785952"/>
              <a:gd name="connsiteY13461" fmla="*/ 972474 h 5217112"/>
              <a:gd name="connsiteX13462" fmla="*/ 1592450 w 6785952"/>
              <a:gd name="connsiteY13462" fmla="*/ 968660 h 5217112"/>
              <a:gd name="connsiteX13463" fmla="*/ 1592450 w 6785952"/>
              <a:gd name="connsiteY13463" fmla="*/ 966699 h 5217112"/>
              <a:gd name="connsiteX13464" fmla="*/ 1590802 w 6785952"/>
              <a:gd name="connsiteY13464" fmla="*/ 969859 h 5217112"/>
              <a:gd name="connsiteX13465" fmla="*/ 1591352 w 6785952"/>
              <a:gd name="connsiteY13465" fmla="*/ 972802 h 5217112"/>
              <a:gd name="connsiteX13466" fmla="*/ 1587505 w 6785952"/>
              <a:gd name="connsiteY13466" fmla="*/ 975744 h 5217112"/>
              <a:gd name="connsiteX13467" fmla="*/ 1591352 w 6785952"/>
              <a:gd name="connsiteY13467" fmla="*/ 966917 h 5217112"/>
              <a:gd name="connsiteX13468" fmla="*/ 1592450 w 6785952"/>
              <a:gd name="connsiteY13468" fmla="*/ 966264 h 5217112"/>
              <a:gd name="connsiteX13469" fmla="*/ 1592450 w 6785952"/>
              <a:gd name="connsiteY13469" fmla="*/ 964520 h 5217112"/>
              <a:gd name="connsiteX13470" fmla="*/ 1592175 w 6785952"/>
              <a:gd name="connsiteY13470" fmla="*/ 964629 h 5217112"/>
              <a:gd name="connsiteX13471" fmla="*/ 1591901 w 6785952"/>
              <a:gd name="connsiteY13471" fmla="*/ 963321 h 5217112"/>
              <a:gd name="connsiteX13472" fmla="*/ 1592175 w 6785952"/>
              <a:gd name="connsiteY13472" fmla="*/ 962122 h 5217112"/>
              <a:gd name="connsiteX13473" fmla="*/ 1592175 w 6785952"/>
              <a:gd name="connsiteY13473" fmla="*/ 957873 h 5217112"/>
              <a:gd name="connsiteX13474" fmla="*/ 1593548 w 6785952"/>
              <a:gd name="connsiteY13474" fmla="*/ 949154 h 5217112"/>
              <a:gd name="connsiteX13475" fmla="*/ 1594098 w 6785952"/>
              <a:gd name="connsiteY13475" fmla="*/ 958635 h 5217112"/>
              <a:gd name="connsiteX13476" fmla="*/ 1594922 w 6785952"/>
              <a:gd name="connsiteY13476" fmla="*/ 953731 h 5217112"/>
              <a:gd name="connsiteX13477" fmla="*/ 1594098 w 6785952"/>
              <a:gd name="connsiteY13477" fmla="*/ 948828 h 5217112"/>
              <a:gd name="connsiteX13478" fmla="*/ 1596571 w 6785952"/>
              <a:gd name="connsiteY13478" fmla="*/ 946430 h 5217112"/>
              <a:gd name="connsiteX13479" fmla="*/ 1599043 w 6785952"/>
              <a:gd name="connsiteY13479" fmla="*/ 950136 h 5217112"/>
              <a:gd name="connsiteX13480" fmla="*/ 1595471 w 6785952"/>
              <a:gd name="connsiteY13480" fmla="*/ 954385 h 5217112"/>
              <a:gd name="connsiteX13481" fmla="*/ 1595746 w 6785952"/>
              <a:gd name="connsiteY13481" fmla="*/ 960379 h 5217112"/>
              <a:gd name="connsiteX13482" fmla="*/ 1594098 w 6785952"/>
              <a:gd name="connsiteY13482" fmla="*/ 962449 h 5217112"/>
              <a:gd name="connsiteX13483" fmla="*/ 1592725 w 6785952"/>
              <a:gd name="connsiteY13483" fmla="*/ 972148 h 5217112"/>
              <a:gd name="connsiteX13484" fmla="*/ 1596021 w 6785952"/>
              <a:gd name="connsiteY13484" fmla="*/ 964737 h 5217112"/>
              <a:gd name="connsiteX13485" fmla="*/ 1610854 w 6785952"/>
              <a:gd name="connsiteY13485" fmla="*/ 939129 h 5217112"/>
              <a:gd name="connsiteX13486" fmla="*/ 1641895 w 6785952"/>
              <a:gd name="connsiteY13486" fmla="*/ 929431 h 5217112"/>
              <a:gd name="connsiteX13487" fmla="*/ 6202654 w 6785952"/>
              <a:gd name="connsiteY13487" fmla="*/ 929103 h 5217112"/>
              <a:gd name="connsiteX13488" fmla="*/ 6203204 w 6785952"/>
              <a:gd name="connsiteY13488" fmla="*/ 931501 h 5217112"/>
              <a:gd name="connsiteX13489" fmla="*/ 6199632 w 6785952"/>
              <a:gd name="connsiteY13489" fmla="*/ 934988 h 5217112"/>
              <a:gd name="connsiteX13490" fmla="*/ 6195786 w 6785952"/>
              <a:gd name="connsiteY13490" fmla="*/ 933899 h 5217112"/>
              <a:gd name="connsiteX13491" fmla="*/ 6196061 w 6785952"/>
              <a:gd name="connsiteY13491" fmla="*/ 929976 h 5217112"/>
              <a:gd name="connsiteX13492" fmla="*/ 6202654 w 6785952"/>
              <a:gd name="connsiteY13492" fmla="*/ 929103 h 5217112"/>
              <a:gd name="connsiteX13493" fmla="*/ 1965211 w 6785952"/>
              <a:gd name="connsiteY13493" fmla="*/ 927142 h 5217112"/>
              <a:gd name="connsiteX13494" fmla="*/ 1956695 w 6785952"/>
              <a:gd name="connsiteY13494" fmla="*/ 961359 h 5217112"/>
              <a:gd name="connsiteX13495" fmla="*/ 1950103 w 6785952"/>
              <a:gd name="connsiteY13495" fmla="*/ 955584 h 5217112"/>
              <a:gd name="connsiteX13496" fmla="*/ 1950652 w 6785952"/>
              <a:gd name="connsiteY13496" fmla="*/ 928123 h 5217112"/>
              <a:gd name="connsiteX13497" fmla="*/ 1965211 w 6785952"/>
              <a:gd name="connsiteY13497" fmla="*/ 927142 h 5217112"/>
              <a:gd name="connsiteX13498" fmla="*/ 2160244 w 6785952"/>
              <a:gd name="connsiteY13498" fmla="*/ 926924 h 5217112"/>
              <a:gd name="connsiteX13499" fmla="*/ 2157223 w 6785952"/>
              <a:gd name="connsiteY13499" fmla="*/ 944795 h 5217112"/>
              <a:gd name="connsiteX13500" fmla="*/ 2160244 w 6785952"/>
              <a:gd name="connsiteY13500" fmla="*/ 926924 h 5217112"/>
              <a:gd name="connsiteX13501" fmla="*/ 2007788 w 6785952"/>
              <a:gd name="connsiteY13501" fmla="*/ 926924 h 5217112"/>
              <a:gd name="connsiteX13502" fmla="*/ 1988285 w 6785952"/>
              <a:gd name="connsiteY13502" fmla="*/ 966699 h 5217112"/>
              <a:gd name="connsiteX13503" fmla="*/ 1976474 w 6785952"/>
              <a:gd name="connsiteY13503" fmla="*/ 957981 h 5217112"/>
              <a:gd name="connsiteX13504" fmla="*/ 2007788 w 6785952"/>
              <a:gd name="connsiteY13504" fmla="*/ 926924 h 5217112"/>
              <a:gd name="connsiteX13505" fmla="*/ 1311712 w 6785952"/>
              <a:gd name="connsiteY13505" fmla="*/ 926707 h 5217112"/>
              <a:gd name="connsiteX13506" fmla="*/ 1314459 w 6785952"/>
              <a:gd name="connsiteY13506" fmla="*/ 929866 h 5217112"/>
              <a:gd name="connsiteX13507" fmla="*/ 1310339 w 6785952"/>
              <a:gd name="connsiteY13507" fmla="*/ 931827 h 5217112"/>
              <a:gd name="connsiteX13508" fmla="*/ 1308141 w 6785952"/>
              <a:gd name="connsiteY13508" fmla="*/ 929976 h 5217112"/>
              <a:gd name="connsiteX13509" fmla="*/ 1303471 w 6785952"/>
              <a:gd name="connsiteY13509" fmla="*/ 930738 h 5217112"/>
              <a:gd name="connsiteX13510" fmla="*/ 1302372 w 6785952"/>
              <a:gd name="connsiteY13510" fmla="*/ 928232 h 5217112"/>
              <a:gd name="connsiteX13511" fmla="*/ 1311712 w 6785952"/>
              <a:gd name="connsiteY13511" fmla="*/ 926707 h 5217112"/>
              <a:gd name="connsiteX13512" fmla="*/ 2302536 w 6785952"/>
              <a:gd name="connsiteY13512" fmla="*/ 925180 h 5217112"/>
              <a:gd name="connsiteX13513" fmla="*/ 2310227 w 6785952"/>
              <a:gd name="connsiteY13513" fmla="*/ 933789 h 5217112"/>
              <a:gd name="connsiteX13514" fmla="*/ 2315996 w 6785952"/>
              <a:gd name="connsiteY13514" fmla="*/ 938584 h 5217112"/>
              <a:gd name="connsiteX13515" fmla="*/ 2306931 w 6785952"/>
              <a:gd name="connsiteY13515" fmla="*/ 934007 h 5217112"/>
              <a:gd name="connsiteX13516" fmla="*/ 2302536 w 6785952"/>
              <a:gd name="connsiteY13516" fmla="*/ 935097 h 5217112"/>
              <a:gd name="connsiteX13517" fmla="*/ 2296218 w 6785952"/>
              <a:gd name="connsiteY13517" fmla="*/ 928994 h 5217112"/>
              <a:gd name="connsiteX13518" fmla="*/ 2302536 w 6785952"/>
              <a:gd name="connsiteY13518" fmla="*/ 925180 h 5217112"/>
              <a:gd name="connsiteX13519" fmla="*/ 1580553 w 6785952"/>
              <a:gd name="connsiteY13519" fmla="*/ 924785 h 5217112"/>
              <a:gd name="connsiteX13520" fmla="*/ 1588055 w 6785952"/>
              <a:gd name="connsiteY13520" fmla="*/ 926161 h 5217112"/>
              <a:gd name="connsiteX13521" fmla="*/ 1582012 w 6785952"/>
              <a:gd name="connsiteY13521" fmla="*/ 946539 h 5217112"/>
              <a:gd name="connsiteX13522" fmla="*/ 1572672 w 6785952"/>
              <a:gd name="connsiteY13522" fmla="*/ 942071 h 5217112"/>
              <a:gd name="connsiteX13523" fmla="*/ 1580553 w 6785952"/>
              <a:gd name="connsiteY13523" fmla="*/ 924785 h 5217112"/>
              <a:gd name="connsiteX13524" fmla="*/ 2582999 w 6785952"/>
              <a:gd name="connsiteY13524" fmla="*/ 924526 h 5217112"/>
              <a:gd name="connsiteX13525" fmla="*/ 2613765 w 6785952"/>
              <a:gd name="connsiteY13525" fmla="*/ 940655 h 5217112"/>
              <a:gd name="connsiteX13526" fmla="*/ 2604151 w 6785952"/>
              <a:gd name="connsiteY13526" fmla="*/ 945776 h 5217112"/>
              <a:gd name="connsiteX13527" fmla="*/ 2592339 w 6785952"/>
              <a:gd name="connsiteY13527" fmla="*/ 945450 h 5217112"/>
              <a:gd name="connsiteX13528" fmla="*/ 2580253 w 6785952"/>
              <a:gd name="connsiteY13528" fmla="*/ 931392 h 5217112"/>
              <a:gd name="connsiteX13529" fmla="*/ 2582999 w 6785952"/>
              <a:gd name="connsiteY13529" fmla="*/ 924526 h 5217112"/>
              <a:gd name="connsiteX13530" fmla="*/ 2708260 w 6785952"/>
              <a:gd name="connsiteY13530" fmla="*/ 924309 h 5217112"/>
              <a:gd name="connsiteX13531" fmla="*/ 2705514 w 6785952"/>
              <a:gd name="connsiteY13531" fmla="*/ 937385 h 5217112"/>
              <a:gd name="connsiteX13532" fmla="*/ 2696448 w 6785952"/>
              <a:gd name="connsiteY13532" fmla="*/ 943597 h 5217112"/>
              <a:gd name="connsiteX13533" fmla="*/ 2694800 w 6785952"/>
              <a:gd name="connsiteY13533" fmla="*/ 941091 h 5217112"/>
              <a:gd name="connsiteX13534" fmla="*/ 2694800 w 6785952"/>
              <a:gd name="connsiteY13534" fmla="*/ 936732 h 5217112"/>
              <a:gd name="connsiteX13535" fmla="*/ 2698096 w 6785952"/>
              <a:gd name="connsiteY13535" fmla="*/ 933135 h 5217112"/>
              <a:gd name="connsiteX13536" fmla="*/ 2681065 w 6785952"/>
              <a:gd name="connsiteY13536" fmla="*/ 943924 h 5217112"/>
              <a:gd name="connsiteX13537" fmla="*/ 2670627 w 6785952"/>
              <a:gd name="connsiteY13537" fmla="*/ 947193 h 5217112"/>
              <a:gd name="connsiteX13538" fmla="*/ 2657167 w 6785952"/>
              <a:gd name="connsiteY13538" fmla="*/ 947084 h 5217112"/>
              <a:gd name="connsiteX13539" fmla="*/ 2653047 w 6785952"/>
              <a:gd name="connsiteY13539" fmla="*/ 933026 h 5217112"/>
              <a:gd name="connsiteX13540" fmla="*/ 2693427 w 6785952"/>
              <a:gd name="connsiteY13540" fmla="*/ 929648 h 5217112"/>
              <a:gd name="connsiteX13541" fmla="*/ 2698371 w 6785952"/>
              <a:gd name="connsiteY13541" fmla="*/ 932809 h 5217112"/>
              <a:gd name="connsiteX13542" fmla="*/ 2700569 w 6785952"/>
              <a:gd name="connsiteY13542" fmla="*/ 930193 h 5217112"/>
              <a:gd name="connsiteX13543" fmla="*/ 2703865 w 6785952"/>
              <a:gd name="connsiteY13543" fmla="*/ 925289 h 5217112"/>
              <a:gd name="connsiteX13544" fmla="*/ 2708260 w 6785952"/>
              <a:gd name="connsiteY13544" fmla="*/ 924309 h 5217112"/>
              <a:gd name="connsiteX13545" fmla="*/ 2278363 w 6785952"/>
              <a:gd name="connsiteY13545" fmla="*/ 922129 h 5217112"/>
              <a:gd name="connsiteX13546" fmla="*/ 2286604 w 6785952"/>
              <a:gd name="connsiteY13546" fmla="*/ 934225 h 5217112"/>
              <a:gd name="connsiteX13547" fmla="*/ 2278912 w 6785952"/>
              <a:gd name="connsiteY13547" fmla="*/ 935641 h 5217112"/>
              <a:gd name="connsiteX13548" fmla="*/ 2272594 w 6785952"/>
              <a:gd name="connsiteY13548" fmla="*/ 935097 h 5217112"/>
              <a:gd name="connsiteX13549" fmla="*/ 2264903 w 6785952"/>
              <a:gd name="connsiteY13549" fmla="*/ 924963 h 5217112"/>
              <a:gd name="connsiteX13550" fmla="*/ 2278363 w 6785952"/>
              <a:gd name="connsiteY13550" fmla="*/ 922129 h 5217112"/>
              <a:gd name="connsiteX13551" fmla="*/ 4508611 w 6785952"/>
              <a:gd name="connsiteY13551" fmla="*/ 921693 h 5217112"/>
              <a:gd name="connsiteX13552" fmla="*/ 4517126 w 6785952"/>
              <a:gd name="connsiteY13552" fmla="*/ 933571 h 5217112"/>
              <a:gd name="connsiteX13553" fmla="*/ 4513830 w 6785952"/>
              <a:gd name="connsiteY13553" fmla="*/ 934988 h 5217112"/>
              <a:gd name="connsiteX13554" fmla="*/ 4509709 w 6785952"/>
              <a:gd name="connsiteY13554" fmla="*/ 934770 h 5217112"/>
              <a:gd name="connsiteX13555" fmla="*/ 4503117 w 6785952"/>
              <a:gd name="connsiteY13555" fmla="*/ 929757 h 5217112"/>
              <a:gd name="connsiteX13556" fmla="*/ 4504765 w 6785952"/>
              <a:gd name="connsiteY13556" fmla="*/ 923437 h 5217112"/>
              <a:gd name="connsiteX13557" fmla="*/ 4508611 w 6785952"/>
              <a:gd name="connsiteY13557" fmla="*/ 921693 h 5217112"/>
              <a:gd name="connsiteX13558" fmla="*/ 1245511 w 6785952"/>
              <a:gd name="connsiteY13558" fmla="*/ 921475 h 5217112"/>
              <a:gd name="connsiteX13559" fmla="*/ 1253202 w 6785952"/>
              <a:gd name="connsiteY13559" fmla="*/ 923328 h 5217112"/>
              <a:gd name="connsiteX13560" fmla="*/ 1257597 w 6785952"/>
              <a:gd name="connsiteY13560" fmla="*/ 922129 h 5217112"/>
              <a:gd name="connsiteX13561" fmla="*/ 1258420 w 6785952"/>
              <a:gd name="connsiteY13561" fmla="*/ 923437 h 5217112"/>
              <a:gd name="connsiteX13562" fmla="*/ 1241664 w 6785952"/>
              <a:gd name="connsiteY13562" fmla="*/ 930520 h 5217112"/>
              <a:gd name="connsiteX13563" fmla="*/ 1239193 w 6785952"/>
              <a:gd name="connsiteY13563" fmla="*/ 929431 h 5217112"/>
              <a:gd name="connsiteX13564" fmla="*/ 1239193 w 6785952"/>
              <a:gd name="connsiteY13564" fmla="*/ 925508 h 5217112"/>
              <a:gd name="connsiteX13565" fmla="*/ 1245511 w 6785952"/>
              <a:gd name="connsiteY13565" fmla="*/ 921475 h 5217112"/>
              <a:gd name="connsiteX13566" fmla="*/ 2253641 w 6785952"/>
              <a:gd name="connsiteY13566" fmla="*/ 920821 h 5217112"/>
              <a:gd name="connsiteX13567" fmla="*/ 2258585 w 6785952"/>
              <a:gd name="connsiteY13567" fmla="*/ 931392 h 5217112"/>
              <a:gd name="connsiteX13568" fmla="*/ 2249245 w 6785952"/>
              <a:gd name="connsiteY13568" fmla="*/ 929648 h 5217112"/>
              <a:gd name="connsiteX13569" fmla="*/ 2253641 w 6785952"/>
              <a:gd name="connsiteY13569" fmla="*/ 920821 h 5217112"/>
              <a:gd name="connsiteX13570" fmla="*/ 2380275 w 6785952"/>
              <a:gd name="connsiteY13570" fmla="*/ 917771 h 5217112"/>
              <a:gd name="connsiteX13571" fmla="*/ 2389889 w 6785952"/>
              <a:gd name="connsiteY13571" fmla="*/ 927033 h 5217112"/>
              <a:gd name="connsiteX13572" fmla="*/ 2377253 w 6785952"/>
              <a:gd name="connsiteY13572" fmla="*/ 922892 h 5217112"/>
              <a:gd name="connsiteX13573" fmla="*/ 2376429 w 6785952"/>
              <a:gd name="connsiteY13573" fmla="*/ 919732 h 5217112"/>
              <a:gd name="connsiteX13574" fmla="*/ 2380275 w 6785952"/>
              <a:gd name="connsiteY13574" fmla="*/ 917771 h 5217112"/>
              <a:gd name="connsiteX13575" fmla="*/ 4667659 w 6785952"/>
              <a:gd name="connsiteY13575" fmla="*/ 917443 h 5217112"/>
              <a:gd name="connsiteX13576" fmla="*/ 4663264 w 6785952"/>
              <a:gd name="connsiteY13576" fmla="*/ 922239 h 5217112"/>
              <a:gd name="connsiteX13577" fmla="*/ 4667659 w 6785952"/>
              <a:gd name="connsiteY13577" fmla="*/ 924635 h 5217112"/>
              <a:gd name="connsiteX13578" fmla="*/ 4666011 w 6785952"/>
              <a:gd name="connsiteY13578" fmla="*/ 926161 h 5217112"/>
              <a:gd name="connsiteX13579" fmla="*/ 4669032 w 6785952"/>
              <a:gd name="connsiteY13579" fmla="*/ 924635 h 5217112"/>
              <a:gd name="connsiteX13580" fmla="*/ 4669307 w 6785952"/>
              <a:gd name="connsiteY13580" fmla="*/ 919732 h 5217112"/>
              <a:gd name="connsiteX13581" fmla="*/ 4668483 w 6785952"/>
              <a:gd name="connsiteY13581" fmla="*/ 919296 h 5217112"/>
              <a:gd name="connsiteX13582" fmla="*/ 2317919 w 6785952"/>
              <a:gd name="connsiteY13582" fmla="*/ 917443 h 5217112"/>
              <a:gd name="connsiteX13583" fmla="*/ 2315721 w 6785952"/>
              <a:gd name="connsiteY13583" fmla="*/ 928886 h 5217112"/>
              <a:gd name="connsiteX13584" fmla="*/ 2312150 w 6785952"/>
              <a:gd name="connsiteY13584" fmla="*/ 928994 h 5217112"/>
              <a:gd name="connsiteX13585" fmla="*/ 2309953 w 6785952"/>
              <a:gd name="connsiteY13585" fmla="*/ 927251 h 5217112"/>
              <a:gd name="connsiteX13586" fmla="*/ 2308580 w 6785952"/>
              <a:gd name="connsiteY13586" fmla="*/ 920168 h 5217112"/>
              <a:gd name="connsiteX13587" fmla="*/ 2317919 w 6785952"/>
              <a:gd name="connsiteY13587" fmla="*/ 917443 h 5217112"/>
              <a:gd name="connsiteX13588" fmla="*/ 6276547 w 6785952"/>
              <a:gd name="connsiteY13588" fmla="*/ 916898 h 5217112"/>
              <a:gd name="connsiteX13589" fmla="*/ 6283139 w 6785952"/>
              <a:gd name="connsiteY13589" fmla="*/ 927687 h 5217112"/>
              <a:gd name="connsiteX13590" fmla="*/ 6273525 w 6785952"/>
              <a:gd name="connsiteY13590" fmla="*/ 925616 h 5217112"/>
              <a:gd name="connsiteX13591" fmla="*/ 6276547 w 6785952"/>
              <a:gd name="connsiteY13591" fmla="*/ 916898 h 5217112"/>
              <a:gd name="connsiteX13592" fmla="*/ 1425985 w 6785952"/>
              <a:gd name="connsiteY13592" fmla="*/ 915809 h 5217112"/>
              <a:gd name="connsiteX13593" fmla="*/ 1435050 w 6785952"/>
              <a:gd name="connsiteY13593" fmla="*/ 922129 h 5217112"/>
              <a:gd name="connsiteX13594" fmla="*/ 1432852 w 6785952"/>
              <a:gd name="connsiteY13594" fmla="*/ 922456 h 5217112"/>
              <a:gd name="connsiteX13595" fmla="*/ 1430380 w 6785952"/>
              <a:gd name="connsiteY13595" fmla="*/ 920495 h 5217112"/>
              <a:gd name="connsiteX13596" fmla="*/ 1425985 w 6785952"/>
              <a:gd name="connsiteY13596" fmla="*/ 915809 h 5217112"/>
              <a:gd name="connsiteX13597" fmla="*/ 1314459 w 6785952"/>
              <a:gd name="connsiteY13597" fmla="*/ 914174 h 5217112"/>
              <a:gd name="connsiteX13598" fmla="*/ 1318030 w 6785952"/>
              <a:gd name="connsiteY13598" fmla="*/ 915590 h 5217112"/>
              <a:gd name="connsiteX13599" fmla="*/ 1321326 w 6785952"/>
              <a:gd name="connsiteY13599" fmla="*/ 915590 h 5217112"/>
              <a:gd name="connsiteX13600" fmla="*/ 1322700 w 6785952"/>
              <a:gd name="connsiteY13600" fmla="*/ 919732 h 5217112"/>
              <a:gd name="connsiteX13601" fmla="*/ 1319679 w 6785952"/>
              <a:gd name="connsiteY13601" fmla="*/ 919623 h 5217112"/>
              <a:gd name="connsiteX13602" fmla="*/ 1310887 w 6785952"/>
              <a:gd name="connsiteY13602" fmla="*/ 917443 h 5217112"/>
              <a:gd name="connsiteX13603" fmla="*/ 1314459 w 6785952"/>
              <a:gd name="connsiteY13603" fmla="*/ 914174 h 5217112"/>
              <a:gd name="connsiteX13604" fmla="*/ 1959167 w 6785952"/>
              <a:gd name="connsiteY13604" fmla="*/ 914065 h 5217112"/>
              <a:gd name="connsiteX13605" fmla="*/ 1965486 w 6785952"/>
              <a:gd name="connsiteY13605" fmla="*/ 921366 h 5217112"/>
              <a:gd name="connsiteX13606" fmla="*/ 1962189 w 6785952"/>
              <a:gd name="connsiteY13606" fmla="*/ 923328 h 5217112"/>
              <a:gd name="connsiteX13607" fmla="*/ 1956421 w 6785952"/>
              <a:gd name="connsiteY13607" fmla="*/ 917226 h 5217112"/>
              <a:gd name="connsiteX13608" fmla="*/ 1959167 w 6785952"/>
              <a:gd name="connsiteY13608" fmla="*/ 914065 h 5217112"/>
              <a:gd name="connsiteX13609" fmla="*/ 2337148 w 6785952"/>
              <a:gd name="connsiteY13609" fmla="*/ 912104 h 5217112"/>
              <a:gd name="connsiteX13610" fmla="*/ 2338521 w 6785952"/>
              <a:gd name="connsiteY13610" fmla="*/ 914392 h 5217112"/>
              <a:gd name="connsiteX13611" fmla="*/ 2336873 w 6785952"/>
              <a:gd name="connsiteY13611" fmla="*/ 913848 h 5217112"/>
              <a:gd name="connsiteX13612" fmla="*/ 2337148 w 6785952"/>
              <a:gd name="connsiteY13612" fmla="*/ 912104 h 5217112"/>
              <a:gd name="connsiteX13613" fmla="*/ 4414390 w 6785952"/>
              <a:gd name="connsiteY13613" fmla="*/ 911559 h 5217112"/>
              <a:gd name="connsiteX13614" fmla="*/ 4416863 w 6785952"/>
              <a:gd name="connsiteY13614" fmla="*/ 912540 h 5217112"/>
              <a:gd name="connsiteX13615" fmla="*/ 4422357 w 6785952"/>
              <a:gd name="connsiteY13615" fmla="*/ 915264 h 5217112"/>
              <a:gd name="connsiteX13616" fmla="*/ 4412193 w 6785952"/>
              <a:gd name="connsiteY13616" fmla="*/ 912649 h 5217112"/>
              <a:gd name="connsiteX13617" fmla="*/ 4414390 w 6785952"/>
              <a:gd name="connsiteY13617" fmla="*/ 911559 h 5217112"/>
              <a:gd name="connsiteX13618" fmla="*/ 2740399 w 6785952"/>
              <a:gd name="connsiteY13618" fmla="*/ 911559 h 5217112"/>
              <a:gd name="connsiteX13619" fmla="*/ 2744245 w 6785952"/>
              <a:gd name="connsiteY13619" fmla="*/ 925289 h 5217112"/>
              <a:gd name="connsiteX13620" fmla="*/ 2742598 w 6785952"/>
              <a:gd name="connsiteY13620" fmla="*/ 926597 h 5217112"/>
              <a:gd name="connsiteX13621" fmla="*/ 2734082 w 6785952"/>
              <a:gd name="connsiteY13621" fmla="*/ 931937 h 5217112"/>
              <a:gd name="connsiteX13622" fmla="*/ 2726940 w 6785952"/>
              <a:gd name="connsiteY13622" fmla="*/ 931937 h 5217112"/>
              <a:gd name="connsiteX13623" fmla="*/ 2727214 w 6785952"/>
              <a:gd name="connsiteY13623" fmla="*/ 918751 h 5217112"/>
              <a:gd name="connsiteX13624" fmla="*/ 2740399 w 6785952"/>
              <a:gd name="connsiteY13624" fmla="*/ 911559 h 5217112"/>
              <a:gd name="connsiteX13625" fmla="*/ 6091677 w 6785952"/>
              <a:gd name="connsiteY13625" fmla="*/ 911014 h 5217112"/>
              <a:gd name="connsiteX13626" fmla="*/ 6093600 w 6785952"/>
              <a:gd name="connsiteY13626" fmla="*/ 915482 h 5217112"/>
              <a:gd name="connsiteX13627" fmla="*/ 6091952 w 6785952"/>
              <a:gd name="connsiteY13627" fmla="*/ 914719 h 5217112"/>
              <a:gd name="connsiteX13628" fmla="*/ 6089205 w 6785952"/>
              <a:gd name="connsiteY13628" fmla="*/ 911559 h 5217112"/>
              <a:gd name="connsiteX13629" fmla="*/ 6091677 w 6785952"/>
              <a:gd name="connsiteY13629" fmla="*/ 911014 h 5217112"/>
              <a:gd name="connsiteX13630" fmla="*/ 2234412 w 6785952"/>
              <a:gd name="connsiteY13630" fmla="*/ 910796 h 5217112"/>
              <a:gd name="connsiteX13631" fmla="*/ 2237983 w 6785952"/>
              <a:gd name="connsiteY13631" fmla="*/ 919187 h 5217112"/>
              <a:gd name="connsiteX13632" fmla="*/ 2220127 w 6785952"/>
              <a:gd name="connsiteY13632" fmla="*/ 926924 h 5217112"/>
              <a:gd name="connsiteX13633" fmla="*/ 2214908 w 6785952"/>
              <a:gd name="connsiteY13633" fmla="*/ 924090 h 5217112"/>
              <a:gd name="connsiteX13634" fmla="*/ 2234412 w 6785952"/>
              <a:gd name="connsiteY13634" fmla="*/ 910796 h 5217112"/>
              <a:gd name="connsiteX13635" fmla="*/ 2637938 w 6785952"/>
              <a:gd name="connsiteY13635" fmla="*/ 909597 h 5217112"/>
              <a:gd name="connsiteX13636" fmla="*/ 2644532 w 6785952"/>
              <a:gd name="connsiteY13636" fmla="*/ 920277 h 5217112"/>
              <a:gd name="connsiteX13637" fmla="*/ 2634917 w 6785952"/>
              <a:gd name="connsiteY13637" fmla="*/ 918206 h 5217112"/>
              <a:gd name="connsiteX13638" fmla="*/ 2637938 w 6785952"/>
              <a:gd name="connsiteY13638" fmla="*/ 909597 h 5217112"/>
              <a:gd name="connsiteX13639" fmla="*/ 1294956 w 6785952"/>
              <a:gd name="connsiteY13639" fmla="*/ 907963 h 5217112"/>
              <a:gd name="connsiteX13640" fmla="*/ 1303471 w 6785952"/>
              <a:gd name="connsiteY13640" fmla="*/ 917879 h 5217112"/>
              <a:gd name="connsiteX13641" fmla="*/ 1298252 w 6785952"/>
              <a:gd name="connsiteY13641" fmla="*/ 920495 h 5217112"/>
              <a:gd name="connsiteX13642" fmla="*/ 1288088 w 6785952"/>
              <a:gd name="connsiteY13642" fmla="*/ 913629 h 5217112"/>
              <a:gd name="connsiteX13643" fmla="*/ 1287813 w 6785952"/>
              <a:gd name="connsiteY13643" fmla="*/ 910033 h 5217112"/>
              <a:gd name="connsiteX13644" fmla="*/ 1294956 w 6785952"/>
              <a:gd name="connsiteY13644" fmla="*/ 907963 h 5217112"/>
              <a:gd name="connsiteX13645" fmla="*/ 2439060 w 6785952"/>
              <a:gd name="connsiteY13645" fmla="*/ 907309 h 5217112"/>
              <a:gd name="connsiteX13646" fmla="*/ 2449498 w 6785952"/>
              <a:gd name="connsiteY13646" fmla="*/ 919514 h 5217112"/>
              <a:gd name="connsiteX13647" fmla="*/ 2448948 w 6785952"/>
              <a:gd name="connsiteY13647" fmla="*/ 929648 h 5217112"/>
              <a:gd name="connsiteX13648" fmla="*/ 2445927 w 6785952"/>
              <a:gd name="connsiteY13648" fmla="*/ 933899 h 5217112"/>
              <a:gd name="connsiteX13649" fmla="*/ 2456365 w 6785952"/>
              <a:gd name="connsiteY13649" fmla="*/ 929322 h 5217112"/>
              <a:gd name="connsiteX13650" fmla="*/ 2481637 w 6785952"/>
              <a:gd name="connsiteY13650" fmla="*/ 929322 h 5217112"/>
              <a:gd name="connsiteX13651" fmla="*/ 2464331 w 6785952"/>
              <a:gd name="connsiteY13651" fmla="*/ 938584 h 5217112"/>
              <a:gd name="connsiteX13652" fmla="*/ 2465705 w 6785952"/>
              <a:gd name="connsiteY13652" fmla="*/ 941091 h 5217112"/>
              <a:gd name="connsiteX13653" fmla="*/ 2458837 w 6785952"/>
              <a:gd name="connsiteY13653" fmla="*/ 951770 h 5217112"/>
              <a:gd name="connsiteX13654" fmla="*/ 2450322 w 6785952"/>
              <a:gd name="connsiteY13654" fmla="*/ 950462 h 5217112"/>
              <a:gd name="connsiteX13655" fmla="*/ 2449773 w 6785952"/>
              <a:gd name="connsiteY13655" fmla="*/ 945340 h 5217112"/>
              <a:gd name="connsiteX13656" fmla="*/ 2449773 w 6785952"/>
              <a:gd name="connsiteY13656" fmla="*/ 943706 h 5217112"/>
              <a:gd name="connsiteX13657" fmla="*/ 2440982 w 6785952"/>
              <a:gd name="connsiteY13657" fmla="*/ 944360 h 5217112"/>
              <a:gd name="connsiteX13658" fmla="*/ 2441257 w 6785952"/>
              <a:gd name="connsiteY13658" fmla="*/ 940982 h 5217112"/>
              <a:gd name="connsiteX13659" fmla="*/ 2440982 w 6785952"/>
              <a:gd name="connsiteY13659" fmla="*/ 941308 h 5217112"/>
              <a:gd name="connsiteX13660" fmla="*/ 2425324 w 6785952"/>
              <a:gd name="connsiteY13660" fmla="*/ 942398 h 5217112"/>
              <a:gd name="connsiteX13661" fmla="*/ 2421754 w 6785952"/>
              <a:gd name="connsiteY13661" fmla="*/ 940763 h 5217112"/>
              <a:gd name="connsiteX13662" fmla="*/ 2415710 w 6785952"/>
              <a:gd name="connsiteY13662" fmla="*/ 940218 h 5217112"/>
              <a:gd name="connsiteX13663" fmla="*/ 2417359 w 6785952"/>
              <a:gd name="connsiteY13663" fmla="*/ 920821 h 5217112"/>
              <a:gd name="connsiteX13664" fmla="*/ 2439060 w 6785952"/>
              <a:gd name="connsiteY13664" fmla="*/ 907309 h 5217112"/>
              <a:gd name="connsiteX13665" fmla="*/ 6215565 w 6785952"/>
              <a:gd name="connsiteY13665" fmla="*/ 906982 h 5217112"/>
              <a:gd name="connsiteX13666" fmla="*/ 6228749 w 6785952"/>
              <a:gd name="connsiteY13666" fmla="*/ 912649 h 5217112"/>
              <a:gd name="connsiteX13667" fmla="*/ 6231771 w 6785952"/>
              <a:gd name="connsiteY13667" fmla="*/ 914392 h 5217112"/>
              <a:gd name="connsiteX13668" fmla="*/ 6234518 w 6785952"/>
              <a:gd name="connsiteY13668" fmla="*/ 916244 h 5217112"/>
              <a:gd name="connsiteX13669" fmla="*/ 6235892 w 6785952"/>
              <a:gd name="connsiteY13669" fmla="*/ 922347 h 5217112"/>
              <a:gd name="connsiteX13670" fmla="*/ 6226003 w 6785952"/>
              <a:gd name="connsiteY13670" fmla="*/ 918097 h 5217112"/>
              <a:gd name="connsiteX13671" fmla="*/ 6228475 w 6785952"/>
              <a:gd name="connsiteY13671" fmla="*/ 921366 h 5217112"/>
              <a:gd name="connsiteX13672" fmla="*/ 6228475 w 6785952"/>
              <a:gd name="connsiteY13672" fmla="*/ 928341 h 5217112"/>
              <a:gd name="connsiteX13673" fmla="*/ 6219960 w 6785952"/>
              <a:gd name="connsiteY13673" fmla="*/ 929103 h 5217112"/>
              <a:gd name="connsiteX13674" fmla="*/ 6219136 w 6785952"/>
              <a:gd name="connsiteY13674" fmla="*/ 920931 h 5217112"/>
              <a:gd name="connsiteX13675" fmla="*/ 6222981 w 6785952"/>
              <a:gd name="connsiteY13675" fmla="*/ 916680 h 5217112"/>
              <a:gd name="connsiteX13676" fmla="*/ 6221882 w 6785952"/>
              <a:gd name="connsiteY13676" fmla="*/ 916244 h 5217112"/>
              <a:gd name="connsiteX13677" fmla="*/ 6210071 w 6785952"/>
              <a:gd name="connsiteY13677" fmla="*/ 910360 h 5217112"/>
              <a:gd name="connsiteX13678" fmla="*/ 6211719 w 6785952"/>
              <a:gd name="connsiteY13678" fmla="*/ 907527 h 5217112"/>
              <a:gd name="connsiteX13679" fmla="*/ 6215565 w 6785952"/>
              <a:gd name="connsiteY13679" fmla="*/ 906982 h 5217112"/>
              <a:gd name="connsiteX13680" fmla="*/ 2749190 w 6785952"/>
              <a:gd name="connsiteY13680" fmla="*/ 905783 h 5217112"/>
              <a:gd name="connsiteX13681" fmla="*/ 2769517 w 6785952"/>
              <a:gd name="connsiteY13681" fmla="*/ 917879 h 5217112"/>
              <a:gd name="connsiteX13682" fmla="*/ 2770891 w 6785952"/>
              <a:gd name="connsiteY13682" fmla="*/ 921911 h 5217112"/>
              <a:gd name="connsiteX13683" fmla="*/ 2767594 w 6785952"/>
              <a:gd name="connsiteY13683" fmla="*/ 927687 h 5217112"/>
              <a:gd name="connsiteX13684" fmla="*/ 2765946 w 6785952"/>
              <a:gd name="connsiteY13684" fmla="*/ 921693 h 5217112"/>
              <a:gd name="connsiteX13685" fmla="*/ 2767320 w 6785952"/>
              <a:gd name="connsiteY13685" fmla="*/ 917443 h 5217112"/>
              <a:gd name="connsiteX13686" fmla="*/ 2757430 w 6785952"/>
              <a:gd name="connsiteY13686" fmla="*/ 915590 h 5217112"/>
              <a:gd name="connsiteX13687" fmla="*/ 2749465 w 6785952"/>
              <a:gd name="connsiteY13687" fmla="*/ 912430 h 5217112"/>
              <a:gd name="connsiteX13688" fmla="*/ 2749190 w 6785952"/>
              <a:gd name="connsiteY13688" fmla="*/ 905783 h 5217112"/>
              <a:gd name="connsiteX13689" fmla="*/ 2203096 w 6785952"/>
              <a:gd name="connsiteY13689" fmla="*/ 904694 h 5217112"/>
              <a:gd name="connsiteX13690" fmla="*/ 2224522 w 6785952"/>
              <a:gd name="connsiteY13690" fmla="*/ 908835 h 5217112"/>
              <a:gd name="connsiteX13691" fmla="*/ 2212161 w 6785952"/>
              <a:gd name="connsiteY13691" fmla="*/ 915699 h 5217112"/>
              <a:gd name="connsiteX13692" fmla="*/ 2199800 w 6785952"/>
              <a:gd name="connsiteY13692" fmla="*/ 910251 h 5217112"/>
              <a:gd name="connsiteX13693" fmla="*/ 2203096 w 6785952"/>
              <a:gd name="connsiteY13693" fmla="*/ 904694 h 5217112"/>
              <a:gd name="connsiteX13694" fmla="*/ 2527065 w 6785952"/>
              <a:gd name="connsiteY13694" fmla="*/ 904380 h 5217112"/>
              <a:gd name="connsiteX13695" fmla="*/ 2532730 w 6785952"/>
              <a:gd name="connsiteY13695" fmla="*/ 905238 h 5217112"/>
              <a:gd name="connsiteX13696" fmla="*/ 2529708 w 6785952"/>
              <a:gd name="connsiteY13696" fmla="*/ 922892 h 5217112"/>
              <a:gd name="connsiteX13697" fmla="*/ 2517897 w 6785952"/>
              <a:gd name="connsiteY13697" fmla="*/ 909488 h 5217112"/>
              <a:gd name="connsiteX13698" fmla="*/ 2527065 w 6785952"/>
              <a:gd name="connsiteY13698" fmla="*/ 904380 h 5217112"/>
              <a:gd name="connsiteX13699" fmla="*/ 1036193 w 6785952"/>
              <a:gd name="connsiteY13699" fmla="*/ 902514 h 5217112"/>
              <a:gd name="connsiteX13700" fmla="*/ 1038116 w 6785952"/>
              <a:gd name="connsiteY13700" fmla="*/ 914828 h 5217112"/>
              <a:gd name="connsiteX13701" fmla="*/ 1029874 w 6785952"/>
              <a:gd name="connsiteY13701" fmla="*/ 911995 h 5217112"/>
              <a:gd name="connsiteX13702" fmla="*/ 1027403 w 6785952"/>
              <a:gd name="connsiteY13702" fmla="*/ 907091 h 5217112"/>
              <a:gd name="connsiteX13703" fmla="*/ 1030424 w 6785952"/>
              <a:gd name="connsiteY13703" fmla="*/ 903168 h 5217112"/>
              <a:gd name="connsiteX13704" fmla="*/ 1036193 w 6785952"/>
              <a:gd name="connsiteY13704" fmla="*/ 902514 h 5217112"/>
              <a:gd name="connsiteX13705" fmla="*/ 1149092 w 6785952"/>
              <a:gd name="connsiteY13705" fmla="*/ 902078 h 5217112"/>
              <a:gd name="connsiteX13706" fmla="*/ 1156235 w 6785952"/>
              <a:gd name="connsiteY13706" fmla="*/ 912430 h 5217112"/>
              <a:gd name="connsiteX13707" fmla="*/ 1159530 w 6785952"/>
              <a:gd name="connsiteY13707" fmla="*/ 918751 h 5217112"/>
              <a:gd name="connsiteX13708" fmla="*/ 1158157 w 6785952"/>
              <a:gd name="connsiteY13708" fmla="*/ 922783 h 5217112"/>
              <a:gd name="connsiteX13709" fmla="*/ 1157059 w 6785952"/>
              <a:gd name="connsiteY13709" fmla="*/ 923546 h 5217112"/>
              <a:gd name="connsiteX13710" fmla="*/ 1154586 w 6785952"/>
              <a:gd name="connsiteY13710" fmla="*/ 921475 h 5217112"/>
              <a:gd name="connsiteX13711" fmla="*/ 1149367 w 6785952"/>
              <a:gd name="connsiteY13711" fmla="*/ 908617 h 5217112"/>
              <a:gd name="connsiteX13712" fmla="*/ 1147994 w 6785952"/>
              <a:gd name="connsiteY13712" fmla="*/ 906110 h 5217112"/>
              <a:gd name="connsiteX13713" fmla="*/ 1149092 w 6785952"/>
              <a:gd name="connsiteY13713" fmla="*/ 902078 h 5217112"/>
              <a:gd name="connsiteX13714" fmla="*/ 6223531 w 6785952"/>
              <a:gd name="connsiteY13714" fmla="*/ 899136 h 5217112"/>
              <a:gd name="connsiteX13715" fmla="*/ 6245781 w 6785952"/>
              <a:gd name="connsiteY13715" fmla="*/ 904040 h 5217112"/>
              <a:gd name="connsiteX13716" fmla="*/ 6234243 w 6785952"/>
              <a:gd name="connsiteY13716" fmla="*/ 910360 h 5217112"/>
              <a:gd name="connsiteX13717" fmla="*/ 6221058 w 6785952"/>
              <a:gd name="connsiteY13717" fmla="*/ 904475 h 5217112"/>
              <a:gd name="connsiteX13718" fmla="*/ 6223531 w 6785952"/>
              <a:gd name="connsiteY13718" fmla="*/ 899136 h 5217112"/>
              <a:gd name="connsiteX13719" fmla="*/ 1797372 w 6785952"/>
              <a:gd name="connsiteY13719" fmla="*/ 896957 h 5217112"/>
              <a:gd name="connsiteX13720" fmla="*/ 1791054 w 6785952"/>
              <a:gd name="connsiteY13720" fmla="*/ 905020 h 5217112"/>
              <a:gd name="connsiteX13721" fmla="*/ 1790780 w 6785952"/>
              <a:gd name="connsiteY13721" fmla="*/ 902732 h 5217112"/>
              <a:gd name="connsiteX13722" fmla="*/ 1792703 w 6785952"/>
              <a:gd name="connsiteY13722" fmla="*/ 900771 h 5217112"/>
              <a:gd name="connsiteX13723" fmla="*/ 1797372 w 6785952"/>
              <a:gd name="connsiteY13723" fmla="*/ 896957 h 5217112"/>
              <a:gd name="connsiteX13724" fmla="*/ 1505372 w 6785952"/>
              <a:gd name="connsiteY13724" fmla="*/ 896629 h 5217112"/>
              <a:gd name="connsiteX13725" fmla="*/ 1503449 w 6785952"/>
              <a:gd name="connsiteY13725" fmla="*/ 906219 h 5217112"/>
              <a:gd name="connsiteX13726" fmla="*/ 1491362 w 6785952"/>
              <a:gd name="connsiteY13726" fmla="*/ 912104 h 5217112"/>
              <a:gd name="connsiteX13727" fmla="*/ 1488341 w 6785952"/>
              <a:gd name="connsiteY13727" fmla="*/ 910033 h 5217112"/>
              <a:gd name="connsiteX13728" fmla="*/ 1489440 w 6785952"/>
              <a:gd name="connsiteY13728" fmla="*/ 905457 h 5217112"/>
              <a:gd name="connsiteX13729" fmla="*/ 1496306 w 6785952"/>
              <a:gd name="connsiteY13729" fmla="*/ 899245 h 5217112"/>
              <a:gd name="connsiteX13730" fmla="*/ 1505372 w 6785952"/>
              <a:gd name="connsiteY13730" fmla="*/ 896629 h 5217112"/>
              <a:gd name="connsiteX13731" fmla="*/ 6177931 w 6785952"/>
              <a:gd name="connsiteY13731" fmla="*/ 895322 h 5217112"/>
              <a:gd name="connsiteX13732" fmla="*/ 6180953 w 6785952"/>
              <a:gd name="connsiteY13732" fmla="*/ 895539 h 5217112"/>
              <a:gd name="connsiteX13733" fmla="*/ 6181503 w 6785952"/>
              <a:gd name="connsiteY13733" fmla="*/ 896957 h 5217112"/>
              <a:gd name="connsiteX13734" fmla="*/ 6181777 w 6785952"/>
              <a:gd name="connsiteY13734" fmla="*/ 897066 h 5217112"/>
              <a:gd name="connsiteX13735" fmla="*/ 6180953 w 6785952"/>
              <a:gd name="connsiteY13735" fmla="*/ 900117 h 5217112"/>
              <a:gd name="connsiteX13736" fmla="*/ 6178755 w 6785952"/>
              <a:gd name="connsiteY13736" fmla="*/ 902405 h 5217112"/>
              <a:gd name="connsiteX13737" fmla="*/ 6177107 w 6785952"/>
              <a:gd name="connsiteY13737" fmla="*/ 901206 h 5217112"/>
              <a:gd name="connsiteX13738" fmla="*/ 6175734 w 6785952"/>
              <a:gd name="connsiteY13738" fmla="*/ 897719 h 5217112"/>
              <a:gd name="connsiteX13739" fmla="*/ 6178480 w 6785952"/>
              <a:gd name="connsiteY13739" fmla="*/ 896629 h 5217112"/>
              <a:gd name="connsiteX13740" fmla="*/ 6177931 w 6785952"/>
              <a:gd name="connsiteY13740" fmla="*/ 895322 h 5217112"/>
              <a:gd name="connsiteX13741" fmla="*/ 2766496 w 6785952"/>
              <a:gd name="connsiteY13741" fmla="*/ 894342 h 5217112"/>
              <a:gd name="connsiteX13742" fmla="*/ 2767869 w 6785952"/>
              <a:gd name="connsiteY13742" fmla="*/ 894559 h 5217112"/>
              <a:gd name="connsiteX13743" fmla="*/ 2769242 w 6785952"/>
              <a:gd name="connsiteY13743" fmla="*/ 897174 h 5217112"/>
              <a:gd name="connsiteX13744" fmla="*/ 2769792 w 6785952"/>
              <a:gd name="connsiteY13744" fmla="*/ 897066 h 5217112"/>
              <a:gd name="connsiteX13745" fmla="*/ 2775011 w 6785952"/>
              <a:gd name="connsiteY13745" fmla="*/ 901751 h 5217112"/>
              <a:gd name="connsiteX13746" fmla="*/ 2768968 w 6785952"/>
              <a:gd name="connsiteY13746" fmla="*/ 906655 h 5217112"/>
              <a:gd name="connsiteX13747" fmla="*/ 2763474 w 6785952"/>
              <a:gd name="connsiteY13747" fmla="*/ 903930 h 5217112"/>
              <a:gd name="connsiteX13748" fmla="*/ 2761276 w 6785952"/>
              <a:gd name="connsiteY13748" fmla="*/ 898482 h 5217112"/>
              <a:gd name="connsiteX13749" fmla="*/ 2765122 w 6785952"/>
              <a:gd name="connsiteY13749" fmla="*/ 897828 h 5217112"/>
              <a:gd name="connsiteX13750" fmla="*/ 2066024 w 6785952"/>
              <a:gd name="connsiteY13750" fmla="*/ 893578 h 5217112"/>
              <a:gd name="connsiteX13751" fmla="*/ 2069046 w 6785952"/>
              <a:gd name="connsiteY13751" fmla="*/ 908507 h 5217112"/>
              <a:gd name="connsiteX13752" fmla="*/ 2065474 w 6785952"/>
              <a:gd name="connsiteY13752" fmla="*/ 906546 h 5217112"/>
              <a:gd name="connsiteX13753" fmla="*/ 2066024 w 6785952"/>
              <a:gd name="connsiteY13753" fmla="*/ 893578 h 5217112"/>
              <a:gd name="connsiteX13754" fmla="*/ 2029214 w 6785952"/>
              <a:gd name="connsiteY13754" fmla="*/ 892489 h 5217112"/>
              <a:gd name="connsiteX13755" fmla="*/ 2050641 w 6785952"/>
              <a:gd name="connsiteY13755" fmla="*/ 927142 h 5217112"/>
              <a:gd name="connsiteX13756" fmla="*/ 2029214 w 6785952"/>
              <a:gd name="connsiteY13756" fmla="*/ 892489 h 5217112"/>
              <a:gd name="connsiteX13757" fmla="*/ 2241553 w 6785952"/>
              <a:gd name="connsiteY13757" fmla="*/ 892053 h 5217112"/>
              <a:gd name="connsiteX13758" fmla="*/ 2244026 w 6785952"/>
              <a:gd name="connsiteY13758" fmla="*/ 892380 h 5217112"/>
              <a:gd name="connsiteX13759" fmla="*/ 2242928 w 6785952"/>
              <a:gd name="connsiteY13759" fmla="*/ 892815 h 5217112"/>
              <a:gd name="connsiteX13760" fmla="*/ 2241553 w 6785952"/>
              <a:gd name="connsiteY13760" fmla="*/ 892053 h 5217112"/>
              <a:gd name="connsiteX13761" fmla="*/ 4550364 w 6785952"/>
              <a:gd name="connsiteY13761" fmla="*/ 891725 h 5217112"/>
              <a:gd name="connsiteX13762" fmla="*/ 4547068 w 6785952"/>
              <a:gd name="connsiteY13762" fmla="*/ 909706 h 5217112"/>
              <a:gd name="connsiteX13763" fmla="*/ 4550364 w 6785952"/>
              <a:gd name="connsiteY13763" fmla="*/ 891725 h 5217112"/>
              <a:gd name="connsiteX13764" fmla="*/ 2352531 w 6785952"/>
              <a:gd name="connsiteY13764" fmla="*/ 891725 h 5217112"/>
              <a:gd name="connsiteX13765" fmla="*/ 2357750 w 6785952"/>
              <a:gd name="connsiteY13765" fmla="*/ 897066 h 5217112"/>
              <a:gd name="connsiteX13766" fmla="*/ 2351707 w 6785952"/>
              <a:gd name="connsiteY13766" fmla="*/ 893688 h 5217112"/>
              <a:gd name="connsiteX13767" fmla="*/ 2352531 w 6785952"/>
              <a:gd name="connsiteY13767" fmla="*/ 891725 h 5217112"/>
              <a:gd name="connsiteX13768" fmla="*/ 1255949 w 6785952"/>
              <a:gd name="connsiteY13768" fmla="*/ 889874 h 5217112"/>
              <a:gd name="connsiteX13769" fmla="*/ 1263640 w 6785952"/>
              <a:gd name="connsiteY13769" fmla="*/ 898591 h 5217112"/>
              <a:gd name="connsiteX13770" fmla="*/ 1269408 w 6785952"/>
              <a:gd name="connsiteY13770" fmla="*/ 903386 h 5217112"/>
              <a:gd name="connsiteX13771" fmla="*/ 1260619 w 6785952"/>
              <a:gd name="connsiteY13771" fmla="*/ 898918 h 5217112"/>
              <a:gd name="connsiteX13772" fmla="*/ 1256224 w 6785952"/>
              <a:gd name="connsiteY13772" fmla="*/ 899899 h 5217112"/>
              <a:gd name="connsiteX13773" fmla="*/ 1249631 w 6785952"/>
              <a:gd name="connsiteY13773" fmla="*/ 893905 h 5217112"/>
              <a:gd name="connsiteX13774" fmla="*/ 1255949 w 6785952"/>
              <a:gd name="connsiteY13774" fmla="*/ 889874 h 5217112"/>
              <a:gd name="connsiteX13775" fmla="*/ 1661673 w 6785952"/>
              <a:gd name="connsiteY13775" fmla="*/ 889220 h 5217112"/>
              <a:gd name="connsiteX13776" fmla="*/ 1658926 w 6785952"/>
              <a:gd name="connsiteY13776" fmla="*/ 902187 h 5217112"/>
              <a:gd name="connsiteX13777" fmla="*/ 1650136 w 6785952"/>
              <a:gd name="connsiteY13777" fmla="*/ 908398 h 5217112"/>
              <a:gd name="connsiteX13778" fmla="*/ 1648213 w 6785952"/>
              <a:gd name="connsiteY13778" fmla="*/ 905892 h 5217112"/>
              <a:gd name="connsiteX13779" fmla="*/ 1648213 w 6785952"/>
              <a:gd name="connsiteY13779" fmla="*/ 901642 h 5217112"/>
              <a:gd name="connsiteX13780" fmla="*/ 1651510 w 6785952"/>
              <a:gd name="connsiteY13780" fmla="*/ 897937 h 5217112"/>
              <a:gd name="connsiteX13781" fmla="*/ 1634479 w 6785952"/>
              <a:gd name="connsiteY13781" fmla="*/ 908726 h 5217112"/>
              <a:gd name="connsiteX13782" fmla="*/ 1624040 w 6785952"/>
              <a:gd name="connsiteY13782" fmla="*/ 911995 h 5217112"/>
              <a:gd name="connsiteX13783" fmla="*/ 1610854 w 6785952"/>
              <a:gd name="connsiteY13783" fmla="*/ 911886 h 5217112"/>
              <a:gd name="connsiteX13784" fmla="*/ 1606459 w 6785952"/>
              <a:gd name="connsiteY13784" fmla="*/ 897828 h 5217112"/>
              <a:gd name="connsiteX13785" fmla="*/ 1646840 w 6785952"/>
              <a:gd name="connsiteY13785" fmla="*/ 894559 h 5217112"/>
              <a:gd name="connsiteX13786" fmla="*/ 1651785 w 6785952"/>
              <a:gd name="connsiteY13786" fmla="*/ 897610 h 5217112"/>
              <a:gd name="connsiteX13787" fmla="*/ 1654256 w 6785952"/>
              <a:gd name="connsiteY13787" fmla="*/ 894995 h 5217112"/>
              <a:gd name="connsiteX13788" fmla="*/ 1657278 w 6785952"/>
              <a:gd name="connsiteY13788" fmla="*/ 889982 h 5217112"/>
              <a:gd name="connsiteX13789" fmla="*/ 1661673 w 6785952"/>
              <a:gd name="connsiteY13789" fmla="*/ 889220 h 5217112"/>
              <a:gd name="connsiteX13790" fmla="*/ 2120962 w 6785952"/>
              <a:gd name="connsiteY13790" fmla="*/ 888456 h 5217112"/>
              <a:gd name="connsiteX13791" fmla="*/ 2123161 w 6785952"/>
              <a:gd name="connsiteY13791" fmla="*/ 891944 h 5217112"/>
              <a:gd name="connsiteX13792" fmla="*/ 2132225 w 6785952"/>
              <a:gd name="connsiteY13792" fmla="*/ 893469 h 5217112"/>
              <a:gd name="connsiteX13793" fmla="*/ 2140741 w 6785952"/>
              <a:gd name="connsiteY13793" fmla="*/ 900989 h 5217112"/>
              <a:gd name="connsiteX13794" fmla="*/ 2130577 w 6785952"/>
              <a:gd name="connsiteY13794" fmla="*/ 914719 h 5217112"/>
              <a:gd name="connsiteX13795" fmla="*/ 2129753 w 6785952"/>
              <a:gd name="connsiteY13795" fmla="*/ 914937 h 5217112"/>
              <a:gd name="connsiteX13796" fmla="*/ 2129478 w 6785952"/>
              <a:gd name="connsiteY13796" fmla="*/ 917226 h 5217112"/>
              <a:gd name="connsiteX13797" fmla="*/ 2125632 w 6785952"/>
              <a:gd name="connsiteY13797" fmla="*/ 922456 h 5217112"/>
              <a:gd name="connsiteX13798" fmla="*/ 2122886 w 6785952"/>
              <a:gd name="connsiteY13798" fmla="*/ 925508 h 5217112"/>
              <a:gd name="connsiteX13799" fmla="*/ 2118491 w 6785952"/>
              <a:gd name="connsiteY13799" fmla="*/ 936295 h 5217112"/>
              <a:gd name="connsiteX13800" fmla="*/ 2106129 w 6785952"/>
              <a:gd name="connsiteY13800" fmla="*/ 944032 h 5217112"/>
              <a:gd name="connsiteX13801" fmla="*/ 2112173 w 6785952"/>
              <a:gd name="connsiteY13801" fmla="*/ 916135 h 5217112"/>
              <a:gd name="connsiteX13802" fmla="*/ 2112173 w 6785952"/>
              <a:gd name="connsiteY13802" fmla="*/ 915482 h 5217112"/>
              <a:gd name="connsiteX13803" fmla="*/ 2108327 w 6785952"/>
              <a:gd name="connsiteY13803" fmla="*/ 908943 h 5217112"/>
              <a:gd name="connsiteX13804" fmla="*/ 2107778 w 6785952"/>
              <a:gd name="connsiteY13804" fmla="*/ 902296 h 5217112"/>
              <a:gd name="connsiteX13805" fmla="*/ 2108052 w 6785952"/>
              <a:gd name="connsiteY13805" fmla="*/ 901642 h 5217112"/>
              <a:gd name="connsiteX13806" fmla="*/ 2106954 w 6785952"/>
              <a:gd name="connsiteY13806" fmla="*/ 901969 h 5217112"/>
              <a:gd name="connsiteX13807" fmla="*/ 2103932 w 6785952"/>
              <a:gd name="connsiteY13807" fmla="*/ 902623 h 5217112"/>
              <a:gd name="connsiteX13808" fmla="*/ 2101185 w 6785952"/>
              <a:gd name="connsiteY13808" fmla="*/ 899245 h 5217112"/>
              <a:gd name="connsiteX13809" fmla="*/ 2102284 w 6785952"/>
              <a:gd name="connsiteY13809" fmla="*/ 898591 h 5217112"/>
              <a:gd name="connsiteX13810" fmla="*/ 2107228 w 6785952"/>
              <a:gd name="connsiteY13810" fmla="*/ 894559 h 5217112"/>
              <a:gd name="connsiteX13811" fmla="*/ 2109425 w 6785952"/>
              <a:gd name="connsiteY13811" fmla="*/ 899899 h 5217112"/>
              <a:gd name="connsiteX13812" fmla="*/ 2112722 w 6785952"/>
              <a:gd name="connsiteY13812" fmla="*/ 894995 h 5217112"/>
              <a:gd name="connsiteX13813" fmla="*/ 2118765 w 6785952"/>
              <a:gd name="connsiteY13813" fmla="*/ 892924 h 5217112"/>
              <a:gd name="connsiteX13814" fmla="*/ 2416260 w 6785952"/>
              <a:gd name="connsiteY13814" fmla="*/ 888130 h 5217112"/>
              <a:gd name="connsiteX13815" fmla="*/ 2418732 w 6785952"/>
              <a:gd name="connsiteY13815" fmla="*/ 894450 h 5217112"/>
              <a:gd name="connsiteX13816" fmla="*/ 2414337 w 6785952"/>
              <a:gd name="connsiteY13816" fmla="*/ 897501 h 5217112"/>
              <a:gd name="connsiteX13817" fmla="*/ 2412414 w 6785952"/>
              <a:gd name="connsiteY13817" fmla="*/ 897719 h 5217112"/>
              <a:gd name="connsiteX13818" fmla="*/ 2410216 w 6785952"/>
              <a:gd name="connsiteY13818" fmla="*/ 896302 h 5217112"/>
              <a:gd name="connsiteX13819" fmla="*/ 2407469 w 6785952"/>
              <a:gd name="connsiteY13819" fmla="*/ 889982 h 5217112"/>
              <a:gd name="connsiteX13820" fmla="*/ 2416260 w 6785952"/>
              <a:gd name="connsiteY13820" fmla="*/ 888130 h 5217112"/>
              <a:gd name="connsiteX13821" fmla="*/ 2539323 w 6785952"/>
              <a:gd name="connsiteY13821" fmla="*/ 887912 h 5217112"/>
              <a:gd name="connsiteX13822" fmla="*/ 2542345 w 6785952"/>
              <a:gd name="connsiteY13822" fmla="*/ 888130 h 5217112"/>
              <a:gd name="connsiteX13823" fmla="*/ 2542619 w 6785952"/>
              <a:gd name="connsiteY13823" fmla="*/ 889437 h 5217112"/>
              <a:gd name="connsiteX13824" fmla="*/ 2543169 w 6785952"/>
              <a:gd name="connsiteY13824" fmla="*/ 889655 h 5217112"/>
              <a:gd name="connsiteX13825" fmla="*/ 2542070 w 6785952"/>
              <a:gd name="connsiteY13825" fmla="*/ 892706 h 5217112"/>
              <a:gd name="connsiteX13826" fmla="*/ 2540147 w 6785952"/>
              <a:gd name="connsiteY13826" fmla="*/ 895104 h 5217112"/>
              <a:gd name="connsiteX13827" fmla="*/ 2538499 w 6785952"/>
              <a:gd name="connsiteY13827" fmla="*/ 893905 h 5217112"/>
              <a:gd name="connsiteX13828" fmla="*/ 2537126 w 6785952"/>
              <a:gd name="connsiteY13828" fmla="*/ 890200 h 5217112"/>
              <a:gd name="connsiteX13829" fmla="*/ 2539872 w 6785952"/>
              <a:gd name="connsiteY13829" fmla="*/ 889220 h 5217112"/>
              <a:gd name="connsiteX13830" fmla="*/ 2539323 w 6785952"/>
              <a:gd name="connsiteY13830" fmla="*/ 887912 h 5217112"/>
              <a:gd name="connsiteX13831" fmla="*/ 1820996 w 6785952"/>
              <a:gd name="connsiteY13831" fmla="*/ 886822 h 5217112"/>
              <a:gd name="connsiteX13832" fmla="*/ 1823468 w 6785952"/>
              <a:gd name="connsiteY13832" fmla="*/ 887585 h 5217112"/>
              <a:gd name="connsiteX13833" fmla="*/ 1815777 w 6785952"/>
              <a:gd name="connsiteY13833" fmla="*/ 894014 h 5217112"/>
              <a:gd name="connsiteX13834" fmla="*/ 1812206 w 6785952"/>
              <a:gd name="connsiteY13834" fmla="*/ 893688 h 5217112"/>
              <a:gd name="connsiteX13835" fmla="*/ 1820996 w 6785952"/>
              <a:gd name="connsiteY13835" fmla="*/ 886822 h 5217112"/>
              <a:gd name="connsiteX13836" fmla="*/ 2600580 w 6785952"/>
              <a:gd name="connsiteY13836" fmla="*/ 886604 h 5217112"/>
              <a:gd name="connsiteX13837" fmla="*/ 2607997 w 6785952"/>
              <a:gd name="connsiteY13837" fmla="*/ 888347 h 5217112"/>
              <a:gd name="connsiteX13838" fmla="*/ 2606348 w 6785952"/>
              <a:gd name="connsiteY13838" fmla="*/ 889655 h 5217112"/>
              <a:gd name="connsiteX13839" fmla="*/ 2606898 w 6785952"/>
              <a:gd name="connsiteY13839" fmla="*/ 890091 h 5217112"/>
              <a:gd name="connsiteX13840" fmla="*/ 2603602 w 6785952"/>
              <a:gd name="connsiteY13840" fmla="*/ 891181 h 5217112"/>
              <a:gd name="connsiteX13841" fmla="*/ 2599206 w 6785952"/>
              <a:gd name="connsiteY13841" fmla="*/ 889329 h 5217112"/>
              <a:gd name="connsiteX13842" fmla="*/ 2600580 w 6785952"/>
              <a:gd name="connsiteY13842" fmla="*/ 886604 h 5217112"/>
              <a:gd name="connsiteX13843" fmla="*/ 2176374 w 6785952"/>
              <a:gd name="connsiteY13843" fmla="*/ 885904 h 5217112"/>
              <a:gd name="connsiteX13844" fmla="*/ 2184967 w 6785952"/>
              <a:gd name="connsiteY13844" fmla="*/ 890636 h 5217112"/>
              <a:gd name="connsiteX13845" fmla="*/ 2159420 w 6785952"/>
              <a:gd name="connsiteY13845" fmla="*/ 910796 h 5217112"/>
              <a:gd name="connsiteX13846" fmla="*/ 2152553 w 6785952"/>
              <a:gd name="connsiteY13846" fmla="*/ 905238 h 5217112"/>
              <a:gd name="connsiteX13847" fmla="*/ 2151729 w 6785952"/>
              <a:gd name="connsiteY13847" fmla="*/ 897719 h 5217112"/>
              <a:gd name="connsiteX13848" fmla="*/ 2176374 w 6785952"/>
              <a:gd name="connsiteY13848" fmla="*/ 885904 h 5217112"/>
              <a:gd name="connsiteX13849" fmla="*/ 2877472 w 6785952"/>
              <a:gd name="connsiteY13849" fmla="*/ 883553 h 5217112"/>
              <a:gd name="connsiteX13850" fmla="*/ 2870879 w 6785952"/>
              <a:gd name="connsiteY13850" fmla="*/ 888130 h 5217112"/>
              <a:gd name="connsiteX13851" fmla="*/ 2869232 w 6785952"/>
              <a:gd name="connsiteY13851" fmla="*/ 892924 h 5217112"/>
              <a:gd name="connsiteX13852" fmla="*/ 2867858 w 6785952"/>
              <a:gd name="connsiteY13852" fmla="*/ 895649 h 5217112"/>
              <a:gd name="connsiteX13853" fmla="*/ 2875275 w 6785952"/>
              <a:gd name="connsiteY13853" fmla="*/ 895431 h 5217112"/>
              <a:gd name="connsiteX13854" fmla="*/ 2875549 w 6785952"/>
              <a:gd name="connsiteY13854" fmla="*/ 891181 h 5217112"/>
              <a:gd name="connsiteX13855" fmla="*/ 1333687 w 6785952"/>
              <a:gd name="connsiteY13855" fmla="*/ 882681 h 5217112"/>
              <a:gd name="connsiteX13856" fmla="*/ 1343576 w 6785952"/>
              <a:gd name="connsiteY13856" fmla="*/ 891835 h 5217112"/>
              <a:gd name="connsiteX13857" fmla="*/ 1330666 w 6785952"/>
              <a:gd name="connsiteY13857" fmla="*/ 887803 h 5217112"/>
              <a:gd name="connsiteX13858" fmla="*/ 1329842 w 6785952"/>
              <a:gd name="connsiteY13858" fmla="*/ 884533 h 5217112"/>
              <a:gd name="connsiteX13859" fmla="*/ 1333687 w 6785952"/>
              <a:gd name="connsiteY13859" fmla="*/ 882681 h 5217112"/>
              <a:gd name="connsiteX13860" fmla="*/ 2402800 w 6785952"/>
              <a:gd name="connsiteY13860" fmla="*/ 880610 h 5217112"/>
              <a:gd name="connsiteX13861" fmla="*/ 2406920 w 6785952"/>
              <a:gd name="connsiteY13861" fmla="*/ 881264 h 5217112"/>
              <a:gd name="connsiteX13862" fmla="*/ 2408019 w 6785952"/>
              <a:gd name="connsiteY13862" fmla="*/ 889001 h 5217112"/>
              <a:gd name="connsiteX13863" fmla="*/ 2404997 w 6785952"/>
              <a:gd name="connsiteY13863" fmla="*/ 890091 h 5217112"/>
              <a:gd name="connsiteX13864" fmla="*/ 2400602 w 6785952"/>
              <a:gd name="connsiteY13864" fmla="*/ 887912 h 5217112"/>
              <a:gd name="connsiteX13865" fmla="*/ 2399778 w 6785952"/>
              <a:gd name="connsiteY13865" fmla="*/ 881591 h 5217112"/>
              <a:gd name="connsiteX13866" fmla="*/ 2402800 w 6785952"/>
              <a:gd name="connsiteY13866" fmla="*/ 880610 h 5217112"/>
              <a:gd name="connsiteX13867" fmla="*/ 6291106 w 6785952"/>
              <a:gd name="connsiteY13867" fmla="*/ 879085 h 5217112"/>
              <a:gd name="connsiteX13868" fmla="*/ 6294402 w 6785952"/>
              <a:gd name="connsiteY13868" fmla="*/ 882463 h 5217112"/>
              <a:gd name="connsiteX13869" fmla="*/ 6297149 w 6785952"/>
              <a:gd name="connsiteY13869" fmla="*/ 887040 h 5217112"/>
              <a:gd name="connsiteX13870" fmla="*/ 6296325 w 6785952"/>
              <a:gd name="connsiteY13870" fmla="*/ 898700 h 5217112"/>
              <a:gd name="connsiteX13871" fmla="*/ 6288908 w 6785952"/>
              <a:gd name="connsiteY13871" fmla="*/ 904584 h 5217112"/>
              <a:gd name="connsiteX13872" fmla="*/ 6284788 w 6785952"/>
              <a:gd name="connsiteY13872" fmla="*/ 905565 h 5217112"/>
              <a:gd name="connsiteX13873" fmla="*/ 6275723 w 6785952"/>
              <a:gd name="connsiteY13873" fmla="*/ 888783 h 5217112"/>
              <a:gd name="connsiteX13874" fmla="*/ 6291106 w 6785952"/>
              <a:gd name="connsiteY13874" fmla="*/ 879085 h 5217112"/>
              <a:gd name="connsiteX13875" fmla="*/ 2167661 w 6785952"/>
              <a:gd name="connsiteY13875" fmla="*/ 878976 h 5217112"/>
              <a:gd name="connsiteX13876" fmla="*/ 2171232 w 6785952"/>
              <a:gd name="connsiteY13876" fmla="*/ 884098 h 5217112"/>
              <a:gd name="connsiteX13877" fmla="*/ 2168485 w 6785952"/>
              <a:gd name="connsiteY13877" fmla="*/ 885514 h 5217112"/>
              <a:gd name="connsiteX13878" fmla="*/ 2165738 w 6785952"/>
              <a:gd name="connsiteY13878" fmla="*/ 884643 h 5217112"/>
              <a:gd name="connsiteX13879" fmla="*/ 2165188 w 6785952"/>
              <a:gd name="connsiteY13879" fmla="*/ 882136 h 5217112"/>
              <a:gd name="connsiteX13880" fmla="*/ 2167661 w 6785952"/>
              <a:gd name="connsiteY13880" fmla="*/ 878976 h 5217112"/>
              <a:gd name="connsiteX13881" fmla="*/ 6273251 w 6785952"/>
              <a:gd name="connsiteY13881" fmla="*/ 878867 h 5217112"/>
              <a:gd name="connsiteX13882" fmla="*/ 6275448 w 6785952"/>
              <a:gd name="connsiteY13882" fmla="*/ 881809 h 5217112"/>
              <a:gd name="connsiteX13883" fmla="*/ 6273251 w 6785952"/>
              <a:gd name="connsiteY13883" fmla="*/ 887367 h 5217112"/>
              <a:gd name="connsiteX13884" fmla="*/ 6265559 w 6785952"/>
              <a:gd name="connsiteY13884" fmla="*/ 882681 h 5217112"/>
              <a:gd name="connsiteX13885" fmla="*/ 6273251 w 6785952"/>
              <a:gd name="connsiteY13885" fmla="*/ 878867 h 5217112"/>
              <a:gd name="connsiteX13886" fmla="*/ 2768693 w 6785952"/>
              <a:gd name="connsiteY13886" fmla="*/ 878540 h 5217112"/>
              <a:gd name="connsiteX13887" fmla="*/ 2773088 w 6785952"/>
              <a:gd name="connsiteY13887" fmla="*/ 879194 h 5217112"/>
              <a:gd name="connsiteX13888" fmla="*/ 2771166 w 6785952"/>
              <a:gd name="connsiteY13888" fmla="*/ 886495 h 5217112"/>
              <a:gd name="connsiteX13889" fmla="*/ 2767045 w 6785952"/>
              <a:gd name="connsiteY13889" fmla="*/ 884316 h 5217112"/>
              <a:gd name="connsiteX13890" fmla="*/ 2768693 w 6785952"/>
              <a:gd name="connsiteY13890" fmla="*/ 878540 h 5217112"/>
              <a:gd name="connsiteX13891" fmla="*/ 2459386 w 6785952"/>
              <a:gd name="connsiteY13891" fmla="*/ 877450 h 5217112"/>
              <a:gd name="connsiteX13892" fmla="*/ 2461310 w 6785952"/>
              <a:gd name="connsiteY13892" fmla="*/ 878649 h 5217112"/>
              <a:gd name="connsiteX13893" fmla="*/ 2461859 w 6785952"/>
              <a:gd name="connsiteY13893" fmla="*/ 878322 h 5217112"/>
              <a:gd name="connsiteX13894" fmla="*/ 2462134 w 6785952"/>
              <a:gd name="connsiteY13894" fmla="*/ 879194 h 5217112"/>
              <a:gd name="connsiteX13895" fmla="*/ 2465155 w 6785952"/>
              <a:gd name="connsiteY13895" fmla="*/ 881264 h 5217112"/>
              <a:gd name="connsiteX13896" fmla="*/ 2469826 w 6785952"/>
              <a:gd name="connsiteY13896" fmla="*/ 892053 h 5217112"/>
              <a:gd name="connsiteX13897" fmla="*/ 2453618 w 6785952"/>
              <a:gd name="connsiteY13897" fmla="*/ 900117 h 5217112"/>
              <a:gd name="connsiteX13898" fmla="*/ 2448124 w 6785952"/>
              <a:gd name="connsiteY13898" fmla="*/ 897610 h 5217112"/>
              <a:gd name="connsiteX13899" fmla="*/ 2444553 w 6785952"/>
              <a:gd name="connsiteY13899" fmla="*/ 885297 h 5217112"/>
              <a:gd name="connsiteX13900" fmla="*/ 2459386 w 6785952"/>
              <a:gd name="connsiteY13900" fmla="*/ 877450 h 5217112"/>
              <a:gd name="connsiteX13901" fmla="*/ 1290834 w 6785952"/>
              <a:gd name="connsiteY13901" fmla="*/ 877015 h 5217112"/>
              <a:gd name="connsiteX13902" fmla="*/ 1291934 w 6785952"/>
              <a:gd name="connsiteY13902" fmla="*/ 879194 h 5217112"/>
              <a:gd name="connsiteX13903" fmla="*/ 1290286 w 6785952"/>
              <a:gd name="connsiteY13903" fmla="*/ 878758 h 5217112"/>
              <a:gd name="connsiteX13904" fmla="*/ 1290834 w 6785952"/>
              <a:gd name="connsiteY13904" fmla="*/ 877015 h 5217112"/>
              <a:gd name="connsiteX13905" fmla="*/ 2197053 w 6785952"/>
              <a:gd name="connsiteY13905" fmla="*/ 876361 h 5217112"/>
              <a:gd name="connsiteX13906" fmla="*/ 2203096 w 6785952"/>
              <a:gd name="connsiteY13906" fmla="*/ 879739 h 5217112"/>
              <a:gd name="connsiteX13907" fmla="*/ 2203920 w 6785952"/>
              <a:gd name="connsiteY13907" fmla="*/ 892380 h 5217112"/>
              <a:gd name="connsiteX13908" fmla="*/ 2188538 w 6785952"/>
              <a:gd name="connsiteY13908" fmla="*/ 894668 h 5217112"/>
              <a:gd name="connsiteX13909" fmla="*/ 2197053 w 6785952"/>
              <a:gd name="connsiteY13909" fmla="*/ 876361 h 5217112"/>
              <a:gd name="connsiteX13910" fmla="*/ 1693813 w 6785952"/>
              <a:gd name="connsiteY13910" fmla="*/ 876361 h 5217112"/>
              <a:gd name="connsiteX13911" fmla="*/ 1697658 w 6785952"/>
              <a:gd name="connsiteY13911" fmla="*/ 889982 h 5217112"/>
              <a:gd name="connsiteX13912" fmla="*/ 1696285 w 6785952"/>
              <a:gd name="connsiteY13912" fmla="*/ 891399 h 5217112"/>
              <a:gd name="connsiteX13913" fmla="*/ 1687769 w 6785952"/>
              <a:gd name="connsiteY13913" fmla="*/ 896738 h 5217112"/>
              <a:gd name="connsiteX13914" fmla="*/ 1680352 w 6785952"/>
              <a:gd name="connsiteY13914" fmla="*/ 896738 h 5217112"/>
              <a:gd name="connsiteX13915" fmla="*/ 1680627 w 6785952"/>
              <a:gd name="connsiteY13915" fmla="*/ 883553 h 5217112"/>
              <a:gd name="connsiteX13916" fmla="*/ 1693813 w 6785952"/>
              <a:gd name="connsiteY13916" fmla="*/ 876361 h 5217112"/>
              <a:gd name="connsiteX13917" fmla="*/ 2813846 w 6785952"/>
              <a:gd name="connsiteY13917" fmla="*/ 876293 h 5217112"/>
              <a:gd name="connsiteX13918" fmla="*/ 2820336 w 6785952"/>
              <a:gd name="connsiteY13918" fmla="*/ 881700 h 5217112"/>
              <a:gd name="connsiteX13919" fmla="*/ 2817039 w 6785952"/>
              <a:gd name="connsiteY13919" fmla="*/ 884098 h 5217112"/>
              <a:gd name="connsiteX13920" fmla="*/ 2805502 w 6785952"/>
              <a:gd name="connsiteY13920" fmla="*/ 878322 h 5217112"/>
              <a:gd name="connsiteX13921" fmla="*/ 2813846 w 6785952"/>
              <a:gd name="connsiteY13921" fmla="*/ 876293 h 5217112"/>
              <a:gd name="connsiteX13922" fmla="*/ 1188099 w 6785952"/>
              <a:gd name="connsiteY13922" fmla="*/ 875707 h 5217112"/>
              <a:gd name="connsiteX13923" fmla="*/ 1191670 w 6785952"/>
              <a:gd name="connsiteY13923" fmla="*/ 883989 h 5217112"/>
              <a:gd name="connsiteX13924" fmla="*/ 1173540 w 6785952"/>
              <a:gd name="connsiteY13924" fmla="*/ 891835 h 5217112"/>
              <a:gd name="connsiteX13925" fmla="*/ 1168596 w 6785952"/>
              <a:gd name="connsiteY13925" fmla="*/ 888892 h 5217112"/>
              <a:gd name="connsiteX13926" fmla="*/ 1188099 w 6785952"/>
              <a:gd name="connsiteY13926" fmla="*/ 875707 h 5217112"/>
              <a:gd name="connsiteX13927" fmla="*/ 2017403 w 6785952"/>
              <a:gd name="connsiteY13927" fmla="*/ 874399 h 5217112"/>
              <a:gd name="connsiteX13928" fmla="*/ 2012183 w 6785952"/>
              <a:gd name="connsiteY13928" fmla="*/ 879739 h 5217112"/>
              <a:gd name="connsiteX13929" fmla="*/ 2005591 w 6785952"/>
              <a:gd name="connsiteY13929" fmla="*/ 878758 h 5217112"/>
              <a:gd name="connsiteX13930" fmla="*/ 2017403 w 6785952"/>
              <a:gd name="connsiteY13930" fmla="*/ 874399 h 5217112"/>
              <a:gd name="connsiteX13931" fmla="*/ 2512403 w 6785952"/>
              <a:gd name="connsiteY13931" fmla="*/ 874072 h 5217112"/>
              <a:gd name="connsiteX13932" fmla="*/ 2516249 w 6785952"/>
              <a:gd name="connsiteY13932" fmla="*/ 880175 h 5217112"/>
              <a:gd name="connsiteX13933" fmla="*/ 2514326 w 6785952"/>
              <a:gd name="connsiteY13933" fmla="*/ 882899 h 5217112"/>
              <a:gd name="connsiteX13934" fmla="*/ 2509656 w 6785952"/>
              <a:gd name="connsiteY13934" fmla="*/ 883553 h 5217112"/>
              <a:gd name="connsiteX13935" fmla="*/ 2506085 w 6785952"/>
              <a:gd name="connsiteY13935" fmla="*/ 878758 h 5217112"/>
              <a:gd name="connsiteX13936" fmla="*/ 2508282 w 6785952"/>
              <a:gd name="connsiteY13936" fmla="*/ 876033 h 5217112"/>
              <a:gd name="connsiteX13937" fmla="*/ 2512403 w 6785952"/>
              <a:gd name="connsiteY13937" fmla="*/ 874072 h 5217112"/>
              <a:gd name="connsiteX13938" fmla="*/ 2146784 w 6785952"/>
              <a:gd name="connsiteY13938" fmla="*/ 873527 h 5217112"/>
              <a:gd name="connsiteX13939" fmla="*/ 2144862 w 6785952"/>
              <a:gd name="connsiteY13939" fmla="*/ 881046 h 5217112"/>
              <a:gd name="connsiteX13940" fmla="*/ 2139093 w 6785952"/>
              <a:gd name="connsiteY13940" fmla="*/ 876470 h 5217112"/>
              <a:gd name="connsiteX13941" fmla="*/ 2146784 w 6785952"/>
              <a:gd name="connsiteY13941" fmla="*/ 873527 h 5217112"/>
              <a:gd name="connsiteX13942" fmla="*/ 2239631 w 6785952"/>
              <a:gd name="connsiteY13942" fmla="*/ 873092 h 5217112"/>
              <a:gd name="connsiteX13943" fmla="*/ 2246223 w 6785952"/>
              <a:gd name="connsiteY13943" fmla="*/ 874944 h 5217112"/>
              <a:gd name="connsiteX13944" fmla="*/ 2251717 w 6785952"/>
              <a:gd name="connsiteY13944" fmla="*/ 879739 h 5217112"/>
              <a:gd name="connsiteX13945" fmla="*/ 2239905 w 6785952"/>
              <a:gd name="connsiteY13945" fmla="*/ 886495 h 5217112"/>
              <a:gd name="connsiteX13946" fmla="*/ 2237983 w 6785952"/>
              <a:gd name="connsiteY13946" fmla="*/ 880829 h 5217112"/>
              <a:gd name="connsiteX13947" fmla="*/ 2234686 w 6785952"/>
              <a:gd name="connsiteY13947" fmla="*/ 881809 h 5217112"/>
              <a:gd name="connsiteX13948" fmla="*/ 2235785 w 6785952"/>
              <a:gd name="connsiteY13948" fmla="*/ 875053 h 5217112"/>
              <a:gd name="connsiteX13949" fmla="*/ 2239082 w 6785952"/>
              <a:gd name="connsiteY13949" fmla="*/ 874072 h 5217112"/>
              <a:gd name="connsiteX13950" fmla="*/ 2239631 w 6785952"/>
              <a:gd name="connsiteY13950" fmla="*/ 873092 h 5217112"/>
              <a:gd name="connsiteX13951" fmla="*/ 4476197 w 6785952"/>
              <a:gd name="connsiteY13951" fmla="*/ 872983 h 5217112"/>
              <a:gd name="connsiteX13952" fmla="*/ 4487734 w 6785952"/>
              <a:gd name="connsiteY13952" fmla="*/ 887585 h 5217112"/>
              <a:gd name="connsiteX13953" fmla="*/ 4475922 w 6785952"/>
              <a:gd name="connsiteY13953" fmla="*/ 904584 h 5217112"/>
              <a:gd name="connsiteX13954" fmla="*/ 4462462 w 6785952"/>
              <a:gd name="connsiteY13954" fmla="*/ 902623 h 5217112"/>
              <a:gd name="connsiteX13955" fmla="*/ 4453947 w 6785952"/>
              <a:gd name="connsiteY13955" fmla="*/ 887585 h 5217112"/>
              <a:gd name="connsiteX13956" fmla="*/ 4463560 w 6785952"/>
              <a:gd name="connsiteY13956" fmla="*/ 876905 h 5217112"/>
              <a:gd name="connsiteX13957" fmla="*/ 4476197 w 6785952"/>
              <a:gd name="connsiteY13957" fmla="*/ 872983 h 5217112"/>
              <a:gd name="connsiteX13958" fmla="*/ 4341871 w 6785952"/>
              <a:gd name="connsiteY13958" fmla="*/ 872873 h 5217112"/>
              <a:gd name="connsiteX13959" fmla="*/ 4341322 w 6785952"/>
              <a:gd name="connsiteY13959" fmla="*/ 873527 h 5217112"/>
              <a:gd name="connsiteX13960" fmla="*/ 4342145 w 6785952"/>
              <a:gd name="connsiteY13960" fmla="*/ 874072 h 5217112"/>
              <a:gd name="connsiteX13961" fmla="*/ 1997900 w 6785952"/>
              <a:gd name="connsiteY13961" fmla="*/ 872438 h 5217112"/>
              <a:gd name="connsiteX13962" fmla="*/ 2000921 w 6785952"/>
              <a:gd name="connsiteY13962" fmla="*/ 896629 h 5217112"/>
              <a:gd name="connsiteX13963" fmla="*/ 1994328 w 6785952"/>
              <a:gd name="connsiteY13963" fmla="*/ 896957 h 5217112"/>
              <a:gd name="connsiteX13964" fmla="*/ 1979769 w 6785952"/>
              <a:gd name="connsiteY13964" fmla="*/ 888238 h 5217112"/>
              <a:gd name="connsiteX13965" fmla="*/ 1997900 w 6785952"/>
              <a:gd name="connsiteY13965" fmla="*/ 872438 h 5217112"/>
              <a:gd name="connsiteX13966" fmla="*/ 2359398 w 6785952"/>
              <a:gd name="connsiteY13966" fmla="*/ 871348 h 5217112"/>
              <a:gd name="connsiteX13967" fmla="*/ 2363518 w 6785952"/>
              <a:gd name="connsiteY13967" fmla="*/ 871348 h 5217112"/>
              <a:gd name="connsiteX13968" fmla="*/ 2378627 w 6785952"/>
              <a:gd name="connsiteY13968" fmla="*/ 882354 h 5217112"/>
              <a:gd name="connsiteX13969" fmla="*/ 2374506 w 6785952"/>
              <a:gd name="connsiteY13969" fmla="*/ 882245 h 5217112"/>
              <a:gd name="connsiteX13970" fmla="*/ 2359398 w 6785952"/>
              <a:gd name="connsiteY13970" fmla="*/ 871348 h 5217112"/>
              <a:gd name="connsiteX13971" fmla="*/ 1702603 w 6785952"/>
              <a:gd name="connsiteY13971" fmla="*/ 870585 h 5217112"/>
              <a:gd name="connsiteX13972" fmla="*/ 1722930 w 6785952"/>
              <a:gd name="connsiteY13972" fmla="*/ 882790 h 5217112"/>
              <a:gd name="connsiteX13973" fmla="*/ 1724304 w 6785952"/>
              <a:gd name="connsiteY13973" fmla="*/ 886713 h 5217112"/>
              <a:gd name="connsiteX13974" fmla="*/ 1721007 w 6785952"/>
              <a:gd name="connsiteY13974" fmla="*/ 892598 h 5217112"/>
              <a:gd name="connsiteX13975" fmla="*/ 1719359 w 6785952"/>
              <a:gd name="connsiteY13975" fmla="*/ 886495 h 5217112"/>
              <a:gd name="connsiteX13976" fmla="*/ 1720732 w 6785952"/>
              <a:gd name="connsiteY13976" fmla="*/ 882354 h 5217112"/>
              <a:gd name="connsiteX13977" fmla="*/ 1711118 w 6785952"/>
              <a:gd name="connsiteY13977" fmla="*/ 880393 h 5217112"/>
              <a:gd name="connsiteX13978" fmla="*/ 1702877 w 6785952"/>
              <a:gd name="connsiteY13978" fmla="*/ 877232 h 5217112"/>
              <a:gd name="connsiteX13979" fmla="*/ 1702603 w 6785952"/>
              <a:gd name="connsiteY13979" fmla="*/ 870585 h 5217112"/>
              <a:gd name="connsiteX13980" fmla="*/ 1480581 w 6785952"/>
              <a:gd name="connsiteY13980" fmla="*/ 869182 h 5217112"/>
              <a:gd name="connsiteX13981" fmla="*/ 1486143 w 6785952"/>
              <a:gd name="connsiteY13981" fmla="*/ 870040 h 5217112"/>
              <a:gd name="connsiteX13982" fmla="*/ 1483397 w 6785952"/>
              <a:gd name="connsiteY13982" fmla="*/ 887693 h 5217112"/>
              <a:gd name="connsiteX13983" fmla="*/ 1471310 w 6785952"/>
              <a:gd name="connsiteY13983" fmla="*/ 874290 h 5217112"/>
              <a:gd name="connsiteX13984" fmla="*/ 1480581 w 6785952"/>
              <a:gd name="connsiteY13984" fmla="*/ 869182 h 5217112"/>
              <a:gd name="connsiteX13985" fmla="*/ 2752486 w 6785952"/>
              <a:gd name="connsiteY13985" fmla="*/ 867534 h 5217112"/>
              <a:gd name="connsiteX13986" fmla="*/ 2753311 w 6785952"/>
              <a:gd name="connsiteY13986" fmla="*/ 884207 h 5217112"/>
              <a:gd name="connsiteX13987" fmla="*/ 2743147 w 6785952"/>
              <a:gd name="connsiteY13987" fmla="*/ 867970 h 5217112"/>
              <a:gd name="connsiteX13988" fmla="*/ 2752486 w 6785952"/>
              <a:gd name="connsiteY13988" fmla="*/ 867534 h 5217112"/>
              <a:gd name="connsiteX13989" fmla="*/ 2035533 w 6785952"/>
              <a:gd name="connsiteY13989" fmla="*/ 864373 h 5217112"/>
              <a:gd name="connsiteX13990" fmla="*/ 2036082 w 6785952"/>
              <a:gd name="connsiteY13990" fmla="*/ 865790 h 5217112"/>
              <a:gd name="connsiteX13991" fmla="*/ 2033060 w 6785952"/>
              <a:gd name="connsiteY13991" fmla="*/ 869495 h 5217112"/>
              <a:gd name="connsiteX13992" fmla="*/ 2028940 w 6785952"/>
              <a:gd name="connsiteY13992" fmla="*/ 868296 h 5217112"/>
              <a:gd name="connsiteX13993" fmla="*/ 2030863 w 6785952"/>
              <a:gd name="connsiteY13993" fmla="*/ 864701 h 5217112"/>
              <a:gd name="connsiteX13994" fmla="*/ 2035533 w 6785952"/>
              <a:gd name="connsiteY13994" fmla="*/ 864373 h 5217112"/>
              <a:gd name="connsiteX13995" fmla="*/ 2050915 w 6785952"/>
              <a:gd name="connsiteY13995" fmla="*/ 860124 h 5217112"/>
              <a:gd name="connsiteX13996" fmla="*/ 2052014 w 6785952"/>
              <a:gd name="connsiteY13996" fmla="*/ 864373 h 5217112"/>
              <a:gd name="connsiteX13997" fmla="*/ 2044597 w 6785952"/>
              <a:gd name="connsiteY13997" fmla="*/ 865572 h 5217112"/>
              <a:gd name="connsiteX13998" fmla="*/ 2044872 w 6785952"/>
              <a:gd name="connsiteY13998" fmla="*/ 860778 h 5217112"/>
              <a:gd name="connsiteX13999" fmla="*/ 2050915 w 6785952"/>
              <a:gd name="connsiteY13999" fmla="*/ 860124 h 5217112"/>
              <a:gd name="connsiteX14000" fmla="*/ 1122550 w 6785952"/>
              <a:gd name="connsiteY14000" fmla="*/ 860001 h 5217112"/>
              <a:gd name="connsiteX14001" fmla="*/ 1128490 w 6785952"/>
              <a:gd name="connsiteY14001" fmla="*/ 862848 h 5217112"/>
              <a:gd name="connsiteX14002" fmla="*/ 1129590 w 6785952"/>
              <a:gd name="connsiteY14002" fmla="*/ 866008 h 5217112"/>
              <a:gd name="connsiteX14003" fmla="*/ 1126568 w 6785952"/>
              <a:gd name="connsiteY14003" fmla="*/ 868406 h 5217112"/>
              <a:gd name="connsiteX14004" fmla="*/ 1121898 w 6785952"/>
              <a:gd name="connsiteY14004" fmla="*/ 868732 h 5217112"/>
              <a:gd name="connsiteX14005" fmla="*/ 1118327 w 6785952"/>
              <a:gd name="connsiteY14005" fmla="*/ 867098 h 5217112"/>
              <a:gd name="connsiteX14006" fmla="*/ 1117228 w 6785952"/>
              <a:gd name="connsiteY14006" fmla="*/ 863938 h 5217112"/>
              <a:gd name="connsiteX14007" fmla="*/ 1122550 w 6785952"/>
              <a:gd name="connsiteY14007" fmla="*/ 860001 h 5217112"/>
              <a:gd name="connsiteX14008" fmla="*/ 2228643 w 6785952"/>
              <a:gd name="connsiteY14008" fmla="*/ 859688 h 5217112"/>
              <a:gd name="connsiteX14009" fmla="*/ 2237159 w 6785952"/>
              <a:gd name="connsiteY14009" fmla="*/ 863938 h 5217112"/>
              <a:gd name="connsiteX14010" fmla="*/ 2238532 w 6785952"/>
              <a:gd name="connsiteY14010" fmla="*/ 868406 h 5217112"/>
              <a:gd name="connsiteX14011" fmla="*/ 2235510 w 6785952"/>
              <a:gd name="connsiteY14011" fmla="*/ 868406 h 5217112"/>
              <a:gd name="connsiteX14012" fmla="*/ 2233862 w 6785952"/>
              <a:gd name="connsiteY14012" fmla="*/ 867642 h 5217112"/>
              <a:gd name="connsiteX14013" fmla="*/ 2232764 w 6785952"/>
              <a:gd name="connsiteY14013" fmla="*/ 864592 h 5217112"/>
              <a:gd name="connsiteX14014" fmla="*/ 2228368 w 6785952"/>
              <a:gd name="connsiteY14014" fmla="*/ 862521 h 5217112"/>
              <a:gd name="connsiteX14015" fmla="*/ 2228643 w 6785952"/>
              <a:gd name="connsiteY14015" fmla="*/ 859688 h 5217112"/>
              <a:gd name="connsiteX14016" fmla="*/ 1719908 w 6785952"/>
              <a:gd name="connsiteY14016" fmla="*/ 859143 h 5217112"/>
              <a:gd name="connsiteX14017" fmla="*/ 1721283 w 6785952"/>
              <a:gd name="connsiteY14017" fmla="*/ 859360 h 5217112"/>
              <a:gd name="connsiteX14018" fmla="*/ 1722930 w 6785952"/>
              <a:gd name="connsiteY14018" fmla="*/ 861976 h 5217112"/>
              <a:gd name="connsiteX14019" fmla="*/ 1723205 w 6785952"/>
              <a:gd name="connsiteY14019" fmla="*/ 861867 h 5217112"/>
              <a:gd name="connsiteX14020" fmla="*/ 1728424 w 6785952"/>
              <a:gd name="connsiteY14020" fmla="*/ 866662 h 5217112"/>
              <a:gd name="connsiteX14021" fmla="*/ 1722656 w 6785952"/>
              <a:gd name="connsiteY14021" fmla="*/ 871565 h 5217112"/>
              <a:gd name="connsiteX14022" fmla="*/ 1716887 w 6785952"/>
              <a:gd name="connsiteY14022" fmla="*/ 868841 h 5217112"/>
              <a:gd name="connsiteX14023" fmla="*/ 1714964 w 6785952"/>
              <a:gd name="connsiteY14023" fmla="*/ 863284 h 5217112"/>
              <a:gd name="connsiteX14024" fmla="*/ 1718535 w 6785952"/>
              <a:gd name="connsiteY14024" fmla="*/ 862630 h 5217112"/>
              <a:gd name="connsiteX14025" fmla="*/ 4455869 w 6785952"/>
              <a:gd name="connsiteY14025" fmla="*/ 858489 h 5217112"/>
              <a:gd name="connsiteX14026" fmla="*/ 4458891 w 6785952"/>
              <a:gd name="connsiteY14026" fmla="*/ 873418 h 5217112"/>
              <a:gd name="connsiteX14027" fmla="*/ 4455320 w 6785952"/>
              <a:gd name="connsiteY14027" fmla="*/ 871348 h 5217112"/>
              <a:gd name="connsiteX14028" fmla="*/ 4455869 w 6785952"/>
              <a:gd name="connsiteY14028" fmla="*/ 858489 h 5217112"/>
              <a:gd name="connsiteX14029" fmla="*/ 4419060 w 6785952"/>
              <a:gd name="connsiteY14029" fmla="*/ 857181 h 5217112"/>
              <a:gd name="connsiteX14030" fmla="*/ 4440486 w 6785952"/>
              <a:gd name="connsiteY14030" fmla="*/ 891944 h 5217112"/>
              <a:gd name="connsiteX14031" fmla="*/ 4419060 w 6785952"/>
              <a:gd name="connsiteY14031" fmla="*/ 857181 h 5217112"/>
              <a:gd name="connsiteX14032" fmla="*/ 1305943 w 6785952"/>
              <a:gd name="connsiteY14032" fmla="*/ 856419 h 5217112"/>
              <a:gd name="connsiteX14033" fmla="*/ 1311162 w 6785952"/>
              <a:gd name="connsiteY14033" fmla="*/ 861976 h 5217112"/>
              <a:gd name="connsiteX14034" fmla="*/ 1305119 w 6785952"/>
              <a:gd name="connsiteY14034" fmla="*/ 858598 h 5217112"/>
              <a:gd name="connsiteX14035" fmla="*/ 1305943 w 6785952"/>
              <a:gd name="connsiteY14035" fmla="*/ 856419 h 5217112"/>
              <a:gd name="connsiteX14036" fmla="*/ 2506085 w 6785952"/>
              <a:gd name="connsiteY14036" fmla="*/ 856091 h 5217112"/>
              <a:gd name="connsiteX14037" fmla="*/ 2513501 w 6785952"/>
              <a:gd name="connsiteY14037" fmla="*/ 867098 h 5217112"/>
              <a:gd name="connsiteX14038" fmla="*/ 2512677 w 6785952"/>
              <a:gd name="connsiteY14038" fmla="*/ 869060 h 5217112"/>
              <a:gd name="connsiteX14039" fmla="*/ 2499218 w 6785952"/>
              <a:gd name="connsiteY14039" fmla="*/ 881483 h 5217112"/>
              <a:gd name="connsiteX14040" fmla="*/ 2495097 w 6785952"/>
              <a:gd name="connsiteY14040" fmla="*/ 876687 h 5217112"/>
              <a:gd name="connsiteX14041" fmla="*/ 2495921 w 6785952"/>
              <a:gd name="connsiteY14041" fmla="*/ 868950 h 5217112"/>
              <a:gd name="connsiteX14042" fmla="*/ 2506085 w 6785952"/>
              <a:gd name="connsiteY14042" fmla="*/ 856091 h 5217112"/>
              <a:gd name="connsiteX14043" fmla="*/ 6266657 w 6785952"/>
              <a:gd name="connsiteY14043" fmla="*/ 855111 h 5217112"/>
              <a:gd name="connsiteX14044" fmla="*/ 6269679 w 6785952"/>
              <a:gd name="connsiteY14044" fmla="*/ 858707 h 5217112"/>
              <a:gd name="connsiteX14045" fmla="*/ 6259515 w 6785952"/>
              <a:gd name="connsiteY14045" fmla="*/ 868079 h 5217112"/>
              <a:gd name="connsiteX14046" fmla="*/ 6254296 w 6785952"/>
              <a:gd name="connsiteY14046" fmla="*/ 866444 h 5217112"/>
              <a:gd name="connsiteX14047" fmla="*/ 6251000 w 6785952"/>
              <a:gd name="connsiteY14047" fmla="*/ 862957 h 5217112"/>
              <a:gd name="connsiteX14048" fmla="*/ 6254296 w 6785952"/>
              <a:gd name="connsiteY14048" fmla="*/ 858053 h 5217112"/>
              <a:gd name="connsiteX14049" fmla="*/ 6266657 w 6785952"/>
              <a:gd name="connsiteY14049" fmla="*/ 855111 h 5217112"/>
              <a:gd name="connsiteX14050" fmla="*/ 2353080 w 6785952"/>
              <a:gd name="connsiteY14050" fmla="*/ 853149 h 5217112"/>
              <a:gd name="connsiteX14051" fmla="*/ 2361596 w 6785952"/>
              <a:gd name="connsiteY14051" fmla="*/ 854457 h 5217112"/>
              <a:gd name="connsiteX14052" fmla="*/ 2356651 w 6785952"/>
              <a:gd name="connsiteY14052" fmla="*/ 864047 h 5217112"/>
              <a:gd name="connsiteX14053" fmla="*/ 2353904 w 6785952"/>
              <a:gd name="connsiteY14053" fmla="*/ 862194 h 5217112"/>
              <a:gd name="connsiteX14054" fmla="*/ 2351981 w 6785952"/>
              <a:gd name="connsiteY14054" fmla="*/ 857290 h 5217112"/>
              <a:gd name="connsiteX14055" fmla="*/ 2353080 w 6785952"/>
              <a:gd name="connsiteY14055" fmla="*/ 853149 h 5217112"/>
              <a:gd name="connsiteX14056" fmla="*/ 1294131 w 6785952"/>
              <a:gd name="connsiteY14056" fmla="*/ 852604 h 5217112"/>
              <a:gd name="connsiteX14057" fmla="*/ 1298801 w 6785952"/>
              <a:gd name="connsiteY14057" fmla="*/ 862630 h 5217112"/>
              <a:gd name="connsiteX14058" fmla="*/ 1294956 w 6785952"/>
              <a:gd name="connsiteY14058" fmla="*/ 864592 h 5217112"/>
              <a:gd name="connsiteX14059" fmla="*/ 1286715 w 6785952"/>
              <a:gd name="connsiteY14059" fmla="*/ 859688 h 5217112"/>
              <a:gd name="connsiteX14060" fmla="*/ 1294131 w 6785952"/>
              <a:gd name="connsiteY14060" fmla="*/ 852604 h 5217112"/>
              <a:gd name="connsiteX14061" fmla="*/ 2676395 w 6785952"/>
              <a:gd name="connsiteY14061" fmla="*/ 851951 h 5217112"/>
              <a:gd name="connsiteX14062" fmla="*/ 2692878 w 6785952"/>
              <a:gd name="connsiteY14062" fmla="*/ 863828 h 5217112"/>
              <a:gd name="connsiteX14063" fmla="*/ 2700020 w 6785952"/>
              <a:gd name="connsiteY14063" fmla="*/ 865572 h 5217112"/>
              <a:gd name="connsiteX14064" fmla="*/ 2700569 w 6785952"/>
              <a:gd name="connsiteY14064" fmla="*/ 864156 h 5217112"/>
              <a:gd name="connsiteX14065" fmla="*/ 2700020 w 6785952"/>
              <a:gd name="connsiteY14065" fmla="*/ 863938 h 5217112"/>
              <a:gd name="connsiteX14066" fmla="*/ 2706887 w 6785952"/>
              <a:gd name="connsiteY14066" fmla="*/ 855438 h 5217112"/>
              <a:gd name="connsiteX14067" fmla="*/ 2711831 w 6785952"/>
              <a:gd name="connsiteY14067" fmla="*/ 868950 h 5217112"/>
              <a:gd name="connsiteX14068" fmla="*/ 2711831 w 6785952"/>
              <a:gd name="connsiteY14068" fmla="*/ 869713 h 5217112"/>
              <a:gd name="connsiteX14069" fmla="*/ 2716227 w 6785952"/>
              <a:gd name="connsiteY14069" fmla="*/ 873200 h 5217112"/>
              <a:gd name="connsiteX14070" fmla="*/ 2720072 w 6785952"/>
              <a:gd name="connsiteY14070" fmla="*/ 878976 h 5217112"/>
              <a:gd name="connsiteX14071" fmla="*/ 2721446 w 6785952"/>
              <a:gd name="connsiteY14071" fmla="*/ 886931 h 5217112"/>
              <a:gd name="connsiteX14072" fmla="*/ 2724742 w 6785952"/>
              <a:gd name="connsiteY14072" fmla="*/ 888021 h 5217112"/>
              <a:gd name="connsiteX14073" fmla="*/ 2717600 w 6785952"/>
              <a:gd name="connsiteY14073" fmla="*/ 908726 h 5217112"/>
              <a:gd name="connsiteX14074" fmla="*/ 2716501 w 6785952"/>
              <a:gd name="connsiteY14074" fmla="*/ 908398 h 5217112"/>
              <a:gd name="connsiteX14075" fmla="*/ 2711282 w 6785952"/>
              <a:gd name="connsiteY14075" fmla="*/ 915482 h 5217112"/>
              <a:gd name="connsiteX14076" fmla="*/ 2688483 w 6785952"/>
              <a:gd name="connsiteY14076" fmla="*/ 926379 h 5217112"/>
              <a:gd name="connsiteX14077" fmla="*/ 2661562 w 6785952"/>
              <a:gd name="connsiteY14077" fmla="*/ 903604 h 5217112"/>
              <a:gd name="connsiteX14078" fmla="*/ 2661837 w 6785952"/>
              <a:gd name="connsiteY14078" fmla="*/ 896847 h 5217112"/>
              <a:gd name="connsiteX14079" fmla="*/ 2661562 w 6785952"/>
              <a:gd name="connsiteY14079" fmla="*/ 896629 h 5217112"/>
              <a:gd name="connsiteX14080" fmla="*/ 2662112 w 6785952"/>
              <a:gd name="connsiteY14080" fmla="*/ 893797 h 5217112"/>
              <a:gd name="connsiteX14081" fmla="*/ 2662112 w 6785952"/>
              <a:gd name="connsiteY14081" fmla="*/ 891725 h 5217112"/>
              <a:gd name="connsiteX14082" fmla="*/ 2676395 w 6785952"/>
              <a:gd name="connsiteY14082" fmla="*/ 851951 h 5217112"/>
              <a:gd name="connsiteX14083" fmla="*/ 2581523 w 6785952"/>
              <a:gd name="connsiteY14083" fmla="*/ 851821 h 5217112"/>
              <a:gd name="connsiteX14084" fmla="*/ 2631895 w 6785952"/>
              <a:gd name="connsiteY14084" fmla="*/ 875053 h 5217112"/>
              <a:gd name="connsiteX14085" fmla="*/ 2622556 w 6785952"/>
              <a:gd name="connsiteY14085" fmla="*/ 889001 h 5217112"/>
              <a:gd name="connsiteX14086" fmla="*/ 2599481 w 6785952"/>
              <a:gd name="connsiteY14086" fmla="*/ 874944 h 5217112"/>
              <a:gd name="connsiteX14087" fmla="*/ 2595360 w 6785952"/>
              <a:gd name="connsiteY14087" fmla="*/ 882136 h 5217112"/>
              <a:gd name="connsiteX14088" fmla="*/ 2586571 w 6785952"/>
              <a:gd name="connsiteY14088" fmla="*/ 886168 h 5217112"/>
              <a:gd name="connsiteX14089" fmla="*/ 2591515 w 6785952"/>
              <a:gd name="connsiteY14089" fmla="*/ 890091 h 5217112"/>
              <a:gd name="connsiteX14090" fmla="*/ 2591790 w 6785952"/>
              <a:gd name="connsiteY14090" fmla="*/ 893469 h 5217112"/>
              <a:gd name="connsiteX14091" fmla="*/ 2596734 w 6785952"/>
              <a:gd name="connsiteY14091" fmla="*/ 894668 h 5217112"/>
              <a:gd name="connsiteX14092" fmla="*/ 2606898 w 6785952"/>
              <a:gd name="connsiteY14092" fmla="*/ 896629 h 5217112"/>
              <a:gd name="connsiteX14093" fmla="*/ 2595636 w 6785952"/>
              <a:gd name="connsiteY14093" fmla="*/ 903059 h 5217112"/>
              <a:gd name="connsiteX14094" fmla="*/ 2589042 w 6785952"/>
              <a:gd name="connsiteY14094" fmla="*/ 902623 h 5217112"/>
              <a:gd name="connsiteX14095" fmla="*/ 2588218 w 6785952"/>
              <a:gd name="connsiteY14095" fmla="*/ 904040 h 5217112"/>
              <a:gd name="connsiteX14096" fmla="*/ 2590141 w 6785952"/>
              <a:gd name="connsiteY14096" fmla="*/ 905238 h 5217112"/>
              <a:gd name="connsiteX14097" fmla="*/ 2592888 w 6785952"/>
              <a:gd name="connsiteY14097" fmla="*/ 907091 h 5217112"/>
              <a:gd name="connsiteX14098" fmla="*/ 2595910 w 6785952"/>
              <a:gd name="connsiteY14098" fmla="*/ 908943 h 5217112"/>
              <a:gd name="connsiteX14099" fmla="*/ 2597284 w 6785952"/>
              <a:gd name="connsiteY14099" fmla="*/ 915046 h 5217112"/>
              <a:gd name="connsiteX14100" fmla="*/ 2587395 w 6785952"/>
              <a:gd name="connsiteY14100" fmla="*/ 910687 h 5217112"/>
              <a:gd name="connsiteX14101" fmla="*/ 2589867 w 6785952"/>
              <a:gd name="connsiteY14101" fmla="*/ 914065 h 5217112"/>
              <a:gd name="connsiteX14102" fmla="*/ 2589867 w 6785952"/>
              <a:gd name="connsiteY14102" fmla="*/ 920821 h 5217112"/>
              <a:gd name="connsiteX14103" fmla="*/ 2581351 w 6785952"/>
              <a:gd name="connsiteY14103" fmla="*/ 921693 h 5217112"/>
              <a:gd name="connsiteX14104" fmla="*/ 2580527 w 6785952"/>
              <a:gd name="connsiteY14104" fmla="*/ 913629 h 5217112"/>
              <a:gd name="connsiteX14105" fmla="*/ 2584372 w 6785952"/>
              <a:gd name="connsiteY14105" fmla="*/ 909380 h 5217112"/>
              <a:gd name="connsiteX14106" fmla="*/ 2583274 w 6785952"/>
              <a:gd name="connsiteY14106" fmla="*/ 908835 h 5217112"/>
              <a:gd name="connsiteX14107" fmla="*/ 2571462 w 6785952"/>
              <a:gd name="connsiteY14107" fmla="*/ 902950 h 5217112"/>
              <a:gd name="connsiteX14108" fmla="*/ 2573110 w 6785952"/>
              <a:gd name="connsiteY14108" fmla="*/ 900226 h 5217112"/>
              <a:gd name="connsiteX14109" fmla="*/ 2576956 w 6785952"/>
              <a:gd name="connsiteY14109" fmla="*/ 899681 h 5217112"/>
              <a:gd name="connsiteX14110" fmla="*/ 2578879 w 6785952"/>
              <a:gd name="connsiteY14110" fmla="*/ 900226 h 5217112"/>
              <a:gd name="connsiteX14111" fmla="*/ 2573660 w 6785952"/>
              <a:gd name="connsiteY14111" fmla="*/ 894886 h 5217112"/>
              <a:gd name="connsiteX14112" fmla="*/ 2580802 w 6785952"/>
              <a:gd name="connsiteY14112" fmla="*/ 886495 h 5217112"/>
              <a:gd name="connsiteX14113" fmla="*/ 2576956 w 6785952"/>
              <a:gd name="connsiteY14113" fmla="*/ 886168 h 5217112"/>
              <a:gd name="connsiteX14114" fmla="*/ 2573934 w 6785952"/>
              <a:gd name="connsiteY14114" fmla="*/ 867207 h 5217112"/>
              <a:gd name="connsiteX14115" fmla="*/ 2577231 w 6785952"/>
              <a:gd name="connsiteY14115" fmla="*/ 860995 h 5217112"/>
              <a:gd name="connsiteX14116" fmla="*/ 2564046 w 6785952"/>
              <a:gd name="connsiteY14116" fmla="*/ 852713 h 5217112"/>
              <a:gd name="connsiteX14117" fmla="*/ 2581523 w 6785952"/>
              <a:gd name="connsiteY14117" fmla="*/ 851821 h 5217112"/>
              <a:gd name="connsiteX14118" fmla="*/ 1553993 w 6785952"/>
              <a:gd name="connsiteY14118" fmla="*/ 851514 h 5217112"/>
              <a:gd name="connsiteX14119" fmla="*/ 1561409 w 6785952"/>
              <a:gd name="connsiteY14119" fmla="*/ 853258 h 5217112"/>
              <a:gd name="connsiteX14120" fmla="*/ 1560036 w 6785952"/>
              <a:gd name="connsiteY14120" fmla="*/ 854566 h 5217112"/>
              <a:gd name="connsiteX14121" fmla="*/ 1560311 w 6785952"/>
              <a:gd name="connsiteY14121" fmla="*/ 854893 h 5217112"/>
              <a:gd name="connsiteX14122" fmla="*/ 1557014 w 6785952"/>
              <a:gd name="connsiteY14122" fmla="*/ 855982 h 5217112"/>
              <a:gd name="connsiteX14123" fmla="*/ 1552620 w 6785952"/>
              <a:gd name="connsiteY14123" fmla="*/ 854239 h 5217112"/>
              <a:gd name="connsiteX14124" fmla="*/ 1553993 w 6785952"/>
              <a:gd name="connsiteY14124" fmla="*/ 851514 h 5217112"/>
              <a:gd name="connsiteX14125" fmla="*/ 1534284 w 6785952"/>
              <a:gd name="connsiteY14125" fmla="*/ 851378 h 5217112"/>
              <a:gd name="connsiteX14126" fmla="*/ 1544928 w 6785952"/>
              <a:gd name="connsiteY14126" fmla="*/ 854893 h 5217112"/>
              <a:gd name="connsiteX14127" fmla="*/ 1541632 w 6785952"/>
              <a:gd name="connsiteY14127" fmla="*/ 868950 h 5217112"/>
              <a:gd name="connsiteX14128" fmla="*/ 1527347 w 6785952"/>
              <a:gd name="connsiteY14128" fmla="*/ 859796 h 5217112"/>
              <a:gd name="connsiteX14129" fmla="*/ 1534284 w 6785952"/>
              <a:gd name="connsiteY14129" fmla="*/ 851378 h 5217112"/>
              <a:gd name="connsiteX14130" fmla="*/ 2252816 w 6785952"/>
              <a:gd name="connsiteY14130" fmla="*/ 849553 h 5217112"/>
              <a:gd name="connsiteX14131" fmla="*/ 2252541 w 6785952"/>
              <a:gd name="connsiteY14131" fmla="*/ 856745 h 5217112"/>
              <a:gd name="connsiteX14132" fmla="*/ 2248421 w 6785952"/>
              <a:gd name="connsiteY14132" fmla="*/ 859034 h 5217112"/>
              <a:gd name="connsiteX14133" fmla="*/ 2250069 w 6785952"/>
              <a:gd name="connsiteY14133" fmla="*/ 860233 h 5217112"/>
              <a:gd name="connsiteX14134" fmla="*/ 2249795 w 6785952"/>
              <a:gd name="connsiteY14134" fmla="*/ 864701 h 5217112"/>
              <a:gd name="connsiteX14135" fmla="*/ 2247047 w 6785952"/>
              <a:gd name="connsiteY14135" fmla="*/ 862739 h 5217112"/>
              <a:gd name="connsiteX14136" fmla="*/ 2243477 w 6785952"/>
              <a:gd name="connsiteY14136" fmla="*/ 858816 h 5217112"/>
              <a:gd name="connsiteX14137" fmla="*/ 2241004 w 6785952"/>
              <a:gd name="connsiteY14137" fmla="*/ 858271 h 5217112"/>
              <a:gd name="connsiteX14138" fmla="*/ 2237159 w 6785952"/>
              <a:gd name="connsiteY14138" fmla="*/ 860341 h 5217112"/>
              <a:gd name="connsiteX14139" fmla="*/ 2233588 w 6785952"/>
              <a:gd name="connsiteY14139" fmla="*/ 860233 h 5217112"/>
              <a:gd name="connsiteX14140" fmla="*/ 2241004 w 6785952"/>
              <a:gd name="connsiteY14140" fmla="*/ 856201 h 5217112"/>
              <a:gd name="connsiteX14141" fmla="*/ 2240455 w 6785952"/>
              <a:gd name="connsiteY14141" fmla="*/ 855438 h 5217112"/>
              <a:gd name="connsiteX14142" fmla="*/ 2242653 w 6785952"/>
              <a:gd name="connsiteY14142" fmla="*/ 853367 h 5217112"/>
              <a:gd name="connsiteX14143" fmla="*/ 2243202 w 6785952"/>
              <a:gd name="connsiteY14143" fmla="*/ 853694 h 5217112"/>
              <a:gd name="connsiteX14144" fmla="*/ 2244026 w 6785952"/>
              <a:gd name="connsiteY14144" fmla="*/ 851406 h 5217112"/>
              <a:gd name="connsiteX14145" fmla="*/ 2252816 w 6785952"/>
              <a:gd name="connsiteY14145" fmla="*/ 849553 h 5217112"/>
              <a:gd name="connsiteX14146" fmla="*/ 1356212 w 6785952"/>
              <a:gd name="connsiteY14146" fmla="*/ 845412 h 5217112"/>
              <a:gd name="connsiteX14147" fmla="*/ 1360607 w 6785952"/>
              <a:gd name="connsiteY14147" fmla="*/ 846175 h 5217112"/>
              <a:gd name="connsiteX14148" fmla="*/ 1361706 w 6785952"/>
              <a:gd name="connsiteY14148" fmla="*/ 853912 h 5217112"/>
              <a:gd name="connsiteX14149" fmla="*/ 1358410 w 6785952"/>
              <a:gd name="connsiteY14149" fmla="*/ 854893 h 5217112"/>
              <a:gd name="connsiteX14150" fmla="*/ 1354289 w 6785952"/>
              <a:gd name="connsiteY14150" fmla="*/ 852713 h 5217112"/>
              <a:gd name="connsiteX14151" fmla="*/ 1353191 w 6785952"/>
              <a:gd name="connsiteY14151" fmla="*/ 846393 h 5217112"/>
              <a:gd name="connsiteX14152" fmla="*/ 1356212 w 6785952"/>
              <a:gd name="connsiteY14152" fmla="*/ 845412 h 5217112"/>
              <a:gd name="connsiteX14153" fmla="*/ 2080480 w 6785952"/>
              <a:gd name="connsiteY14153" fmla="*/ 845317 h 5217112"/>
              <a:gd name="connsiteX14154" fmla="*/ 2084428 w 6785952"/>
              <a:gd name="connsiteY14154" fmla="*/ 846393 h 5217112"/>
              <a:gd name="connsiteX14155" fmla="*/ 2079209 w 6785952"/>
              <a:gd name="connsiteY14155" fmla="*/ 853367 h 5217112"/>
              <a:gd name="connsiteX14156" fmla="*/ 2075913 w 6785952"/>
              <a:gd name="connsiteY14156" fmla="*/ 848573 h 5217112"/>
              <a:gd name="connsiteX14157" fmla="*/ 2080480 w 6785952"/>
              <a:gd name="connsiteY14157" fmla="*/ 845317 h 5217112"/>
              <a:gd name="connsiteX14158" fmla="*/ 2508282 w 6785952"/>
              <a:gd name="connsiteY14158" fmla="*/ 843887 h 5217112"/>
              <a:gd name="connsiteX14159" fmla="*/ 2522292 w 6785952"/>
              <a:gd name="connsiteY14159" fmla="*/ 853476 h 5217112"/>
              <a:gd name="connsiteX14160" fmla="*/ 2509382 w 6785952"/>
              <a:gd name="connsiteY14160" fmla="*/ 847810 h 5217112"/>
              <a:gd name="connsiteX14161" fmla="*/ 2508282 w 6785952"/>
              <a:gd name="connsiteY14161" fmla="*/ 843887 h 5217112"/>
              <a:gd name="connsiteX14162" fmla="*/ 1121073 w 6785952"/>
              <a:gd name="connsiteY14162" fmla="*/ 843887 h 5217112"/>
              <a:gd name="connsiteX14163" fmla="*/ 1124920 w 6785952"/>
              <a:gd name="connsiteY14163" fmla="*/ 848899 h 5217112"/>
              <a:gd name="connsiteX14164" fmla="*/ 1122172 w 6785952"/>
              <a:gd name="connsiteY14164" fmla="*/ 850316 h 5217112"/>
              <a:gd name="connsiteX14165" fmla="*/ 1119425 w 6785952"/>
              <a:gd name="connsiteY14165" fmla="*/ 849553 h 5217112"/>
              <a:gd name="connsiteX14166" fmla="*/ 1118602 w 6785952"/>
              <a:gd name="connsiteY14166" fmla="*/ 846938 h 5217112"/>
              <a:gd name="connsiteX14167" fmla="*/ 1121073 w 6785952"/>
              <a:gd name="connsiteY14167" fmla="*/ 843887 h 5217112"/>
              <a:gd name="connsiteX14168" fmla="*/ 1722381 w 6785952"/>
              <a:gd name="connsiteY14168" fmla="*/ 843342 h 5217112"/>
              <a:gd name="connsiteX14169" fmla="*/ 1726501 w 6785952"/>
              <a:gd name="connsiteY14169" fmla="*/ 844105 h 5217112"/>
              <a:gd name="connsiteX14170" fmla="*/ 1724578 w 6785952"/>
              <a:gd name="connsiteY14170" fmla="*/ 851297 h 5217112"/>
              <a:gd name="connsiteX14171" fmla="*/ 1720457 w 6785952"/>
              <a:gd name="connsiteY14171" fmla="*/ 849118 h 5217112"/>
              <a:gd name="connsiteX14172" fmla="*/ 1722381 w 6785952"/>
              <a:gd name="connsiteY14172" fmla="*/ 843342 h 5217112"/>
              <a:gd name="connsiteX14173" fmla="*/ 1415546 w 6785952"/>
              <a:gd name="connsiteY14173" fmla="*/ 843233 h 5217112"/>
              <a:gd name="connsiteX14174" fmla="*/ 1415272 w 6785952"/>
              <a:gd name="connsiteY14174" fmla="*/ 854348 h 5217112"/>
              <a:gd name="connsiteX14175" fmla="*/ 1411976 w 6785952"/>
              <a:gd name="connsiteY14175" fmla="*/ 854348 h 5217112"/>
              <a:gd name="connsiteX14176" fmla="*/ 1408404 w 6785952"/>
              <a:gd name="connsiteY14176" fmla="*/ 851514 h 5217112"/>
              <a:gd name="connsiteX14177" fmla="*/ 1407581 w 6785952"/>
              <a:gd name="connsiteY14177" fmla="*/ 847156 h 5217112"/>
              <a:gd name="connsiteX14178" fmla="*/ 1415546 w 6785952"/>
              <a:gd name="connsiteY14178" fmla="*/ 843233 h 5217112"/>
              <a:gd name="connsiteX14179" fmla="*/ 2769792 w 6785952"/>
              <a:gd name="connsiteY14179" fmla="*/ 842361 h 5217112"/>
              <a:gd name="connsiteX14180" fmla="*/ 2774187 w 6785952"/>
              <a:gd name="connsiteY14180" fmla="*/ 849989 h 5217112"/>
              <a:gd name="connsiteX14181" fmla="*/ 2768418 w 6785952"/>
              <a:gd name="connsiteY14181" fmla="*/ 851079 h 5217112"/>
              <a:gd name="connsiteX14182" fmla="*/ 2769792 w 6785952"/>
              <a:gd name="connsiteY14182" fmla="*/ 842361 h 5217112"/>
              <a:gd name="connsiteX14183" fmla="*/ 1967202 w 6785952"/>
              <a:gd name="connsiteY14183" fmla="*/ 842198 h 5217112"/>
              <a:gd name="connsiteX14184" fmla="*/ 1975649 w 6785952"/>
              <a:gd name="connsiteY14184" fmla="*/ 848028 h 5217112"/>
              <a:gd name="connsiteX14185" fmla="*/ 1964936 w 6785952"/>
              <a:gd name="connsiteY14185" fmla="*/ 847810 h 5217112"/>
              <a:gd name="connsiteX14186" fmla="*/ 1958343 w 6785952"/>
              <a:gd name="connsiteY14186" fmla="*/ 844213 h 5217112"/>
              <a:gd name="connsiteX14187" fmla="*/ 1967202 w 6785952"/>
              <a:gd name="connsiteY14187" fmla="*/ 842198 h 5217112"/>
              <a:gd name="connsiteX14188" fmla="*/ 1767465 w 6785952"/>
              <a:gd name="connsiteY14188" fmla="*/ 841149 h 5217112"/>
              <a:gd name="connsiteX14189" fmla="*/ 1773749 w 6785952"/>
              <a:gd name="connsiteY14189" fmla="*/ 846502 h 5217112"/>
              <a:gd name="connsiteX14190" fmla="*/ 1770453 w 6785952"/>
              <a:gd name="connsiteY14190" fmla="*/ 848899 h 5217112"/>
              <a:gd name="connsiteX14191" fmla="*/ 1758915 w 6785952"/>
              <a:gd name="connsiteY14191" fmla="*/ 843233 h 5217112"/>
              <a:gd name="connsiteX14192" fmla="*/ 1767465 w 6785952"/>
              <a:gd name="connsiteY14192" fmla="*/ 841149 h 5217112"/>
              <a:gd name="connsiteX14193" fmla="*/ 2823083 w 6785952"/>
              <a:gd name="connsiteY14193" fmla="*/ 840944 h 5217112"/>
              <a:gd name="connsiteX14194" fmla="*/ 2830225 w 6785952"/>
              <a:gd name="connsiteY14194" fmla="*/ 841271 h 5217112"/>
              <a:gd name="connsiteX14195" fmla="*/ 2829126 w 6785952"/>
              <a:gd name="connsiteY14195" fmla="*/ 847265 h 5217112"/>
              <a:gd name="connsiteX14196" fmla="*/ 2824731 w 6785952"/>
              <a:gd name="connsiteY14196" fmla="*/ 848573 h 5217112"/>
              <a:gd name="connsiteX14197" fmla="*/ 2824731 w 6785952"/>
              <a:gd name="connsiteY14197" fmla="*/ 847046 h 5217112"/>
              <a:gd name="connsiteX14198" fmla="*/ 2823083 w 6785952"/>
              <a:gd name="connsiteY14198" fmla="*/ 840944 h 5217112"/>
              <a:gd name="connsiteX14199" fmla="*/ 4407248 w 6785952"/>
              <a:gd name="connsiteY14199" fmla="*/ 839200 h 5217112"/>
              <a:gd name="connsiteX14200" fmla="*/ 4402029 w 6785952"/>
              <a:gd name="connsiteY14200" fmla="*/ 844541 h 5217112"/>
              <a:gd name="connsiteX14201" fmla="*/ 4395436 w 6785952"/>
              <a:gd name="connsiteY14201" fmla="*/ 843668 h 5217112"/>
              <a:gd name="connsiteX14202" fmla="*/ 4407248 w 6785952"/>
              <a:gd name="connsiteY14202" fmla="*/ 839200 h 5217112"/>
              <a:gd name="connsiteX14203" fmla="*/ 1465816 w 6785952"/>
              <a:gd name="connsiteY14203" fmla="*/ 838874 h 5217112"/>
              <a:gd name="connsiteX14204" fmla="*/ 1469935 w 6785952"/>
              <a:gd name="connsiteY14204" fmla="*/ 845085 h 5217112"/>
              <a:gd name="connsiteX14205" fmla="*/ 1467739 w 6785952"/>
              <a:gd name="connsiteY14205" fmla="*/ 847810 h 5217112"/>
              <a:gd name="connsiteX14206" fmla="*/ 1463069 w 6785952"/>
              <a:gd name="connsiteY14206" fmla="*/ 848464 h 5217112"/>
              <a:gd name="connsiteX14207" fmla="*/ 1459497 w 6785952"/>
              <a:gd name="connsiteY14207" fmla="*/ 843668 h 5217112"/>
              <a:gd name="connsiteX14208" fmla="*/ 1461696 w 6785952"/>
              <a:gd name="connsiteY14208" fmla="*/ 840944 h 5217112"/>
              <a:gd name="connsiteX14209" fmla="*/ 1465816 w 6785952"/>
              <a:gd name="connsiteY14209" fmla="*/ 838874 h 5217112"/>
              <a:gd name="connsiteX14210" fmla="*/ 4387744 w 6785952"/>
              <a:gd name="connsiteY14210" fmla="*/ 837239 h 5217112"/>
              <a:gd name="connsiteX14211" fmla="*/ 4390767 w 6785952"/>
              <a:gd name="connsiteY14211" fmla="*/ 861432 h 5217112"/>
              <a:gd name="connsiteX14212" fmla="*/ 4384174 w 6785952"/>
              <a:gd name="connsiteY14212" fmla="*/ 861867 h 5217112"/>
              <a:gd name="connsiteX14213" fmla="*/ 4369615 w 6785952"/>
              <a:gd name="connsiteY14213" fmla="*/ 853041 h 5217112"/>
              <a:gd name="connsiteX14214" fmla="*/ 4387744 w 6785952"/>
              <a:gd name="connsiteY14214" fmla="*/ 837239 h 5217112"/>
              <a:gd name="connsiteX14215" fmla="*/ 2004218 w 6785952"/>
              <a:gd name="connsiteY14215" fmla="*/ 836694 h 5217112"/>
              <a:gd name="connsiteX14216" fmla="*/ 2015480 w 6785952"/>
              <a:gd name="connsiteY14216" fmla="*/ 849663 h 5217112"/>
              <a:gd name="connsiteX14217" fmla="*/ 2009162 w 6785952"/>
              <a:gd name="connsiteY14217" fmla="*/ 853694 h 5217112"/>
              <a:gd name="connsiteX14218" fmla="*/ 2006415 w 6785952"/>
              <a:gd name="connsiteY14218" fmla="*/ 852932 h 5217112"/>
              <a:gd name="connsiteX14219" fmla="*/ 2005591 w 6785952"/>
              <a:gd name="connsiteY14219" fmla="*/ 854566 h 5217112"/>
              <a:gd name="connsiteX14220" fmla="*/ 1998174 w 6785952"/>
              <a:gd name="connsiteY14220" fmla="*/ 856419 h 5217112"/>
              <a:gd name="connsiteX14221" fmla="*/ 1996526 w 6785952"/>
              <a:gd name="connsiteY14221" fmla="*/ 855656 h 5217112"/>
              <a:gd name="connsiteX14222" fmla="*/ 1985263 w 6785952"/>
              <a:gd name="connsiteY14222" fmla="*/ 843342 h 5217112"/>
              <a:gd name="connsiteX14223" fmla="*/ 1997350 w 6785952"/>
              <a:gd name="connsiteY14223" fmla="*/ 838329 h 5217112"/>
              <a:gd name="connsiteX14224" fmla="*/ 1999822 w 6785952"/>
              <a:gd name="connsiteY14224" fmla="*/ 839963 h 5217112"/>
              <a:gd name="connsiteX14225" fmla="*/ 1999822 w 6785952"/>
              <a:gd name="connsiteY14225" fmla="*/ 839745 h 5217112"/>
              <a:gd name="connsiteX14226" fmla="*/ 2004218 w 6785952"/>
              <a:gd name="connsiteY14226" fmla="*/ 836694 h 5217112"/>
              <a:gd name="connsiteX14227" fmla="*/ 2415435 w 6785952"/>
              <a:gd name="connsiteY14227" fmla="*/ 835496 h 5217112"/>
              <a:gd name="connsiteX14228" fmla="*/ 2422578 w 6785952"/>
              <a:gd name="connsiteY14228" fmla="*/ 836694 h 5217112"/>
              <a:gd name="connsiteX14229" fmla="*/ 2428072 w 6785952"/>
              <a:gd name="connsiteY14229" fmla="*/ 843342 h 5217112"/>
              <a:gd name="connsiteX14230" fmla="*/ 2432192 w 6785952"/>
              <a:gd name="connsiteY14230" fmla="*/ 845521 h 5217112"/>
              <a:gd name="connsiteX14231" fmla="*/ 2432192 w 6785952"/>
              <a:gd name="connsiteY14231" fmla="*/ 846938 h 5217112"/>
              <a:gd name="connsiteX14232" fmla="*/ 2415161 w 6785952"/>
              <a:gd name="connsiteY14232" fmla="*/ 841271 h 5217112"/>
              <a:gd name="connsiteX14233" fmla="*/ 2413787 w 6785952"/>
              <a:gd name="connsiteY14233" fmla="*/ 838655 h 5217112"/>
              <a:gd name="connsiteX14234" fmla="*/ 2415435 w 6785952"/>
              <a:gd name="connsiteY14234" fmla="*/ 835496 h 5217112"/>
              <a:gd name="connsiteX14235" fmla="*/ 1285341 w 6785952"/>
              <a:gd name="connsiteY14235" fmla="*/ 835169 h 5217112"/>
              <a:gd name="connsiteX14236" fmla="*/ 1286165 w 6785952"/>
              <a:gd name="connsiteY14236" fmla="*/ 837784 h 5217112"/>
              <a:gd name="connsiteX14237" fmla="*/ 1300724 w 6785952"/>
              <a:gd name="connsiteY14237" fmla="*/ 854457 h 5217112"/>
              <a:gd name="connsiteX14238" fmla="*/ 1279847 w 6785952"/>
              <a:gd name="connsiteY14238" fmla="*/ 837784 h 5217112"/>
              <a:gd name="connsiteX14239" fmla="*/ 1285341 w 6785952"/>
              <a:gd name="connsiteY14239" fmla="*/ 835169 h 5217112"/>
              <a:gd name="connsiteX14240" fmla="*/ 2050366 w 6785952"/>
              <a:gd name="connsiteY14240" fmla="*/ 832445 h 5217112"/>
              <a:gd name="connsiteX14241" fmla="*/ 2054487 w 6785952"/>
              <a:gd name="connsiteY14241" fmla="*/ 840727 h 5217112"/>
              <a:gd name="connsiteX14242" fmla="*/ 2039378 w 6785952"/>
              <a:gd name="connsiteY14242" fmla="*/ 848355 h 5217112"/>
              <a:gd name="connsiteX14243" fmla="*/ 2050366 w 6785952"/>
              <a:gd name="connsiteY14243" fmla="*/ 832445 h 5217112"/>
              <a:gd name="connsiteX14244" fmla="*/ 1705899 w 6785952"/>
              <a:gd name="connsiteY14244" fmla="*/ 832336 h 5217112"/>
              <a:gd name="connsiteX14245" fmla="*/ 1706723 w 6785952"/>
              <a:gd name="connsiteY14245" fmla="*/ 849009 h 5217112"/>
              <a:gd name="connsiteX14246" fmla="*/ 1696834 w 6785952"/>
              <a:gd name="connsiteY14246" fmla="*/ 832771 h 5217112"/>
              <a:gd name="connsiteX14247" fmla="*/ 1705899 w 6785952"/>
              <a:gd name="connsiteY14247" fmla="*/ 832336 h 5217112"/>
              <a:gd name="connsiteX14248" fmla="*/ 2800832 w 6785952"/>
              <a:gd name="connsiteY14248" fmla="*/ 830265 h 5217112"/>
              <a:gd name="connsiteX14249" fmla="*/ 2801381 w 6785952"/>
              <a:gd name="connsiteY14249" fmla="*/ 830919 h 5217112"/>
              <a:gd name="connsiteX14250" fmla="*/ 2800557 w 6785952"/>
              <a:gd name="connsiteY14250" fmla="*/ 831354 h 5217112"/>
              <a:gd name="connsiteX14251" fmla="*/ 6209796 w 6785952"/>
              <a:gd name="connsiteY14251" fmla="*/ 829938 h 5217112"/>
              <a:gd name="connsiteX14252" fmla="*/ 6218861 w 6785952"/>
              <a:gd name="connsiteY14252" fmla="*/ 835169 h 5217112"/>
              <a:gd name="connsiteX14253" fmla="*/ 6214741 w 6785952"/>
              <a:gd name="connsiteY14253" fmla="*/ 841380 h 5217112"/>
              <a:gd name="connsiteX14254" fmla="*/ 6206499 w 6785952"/>
              <a:gd name="connsiteY14254" fmla="*/ 838438 h 5217112"/>
              <a:gd name="connsiteX14255" fmla="*/ 6209796 w 6785952"/>
              <a:gd name="connsiteY14255" fmla="*/ 829938 h 5217112"/>
              <a:gd name="connsiteX14256" fmla="*/ 4425378 w 6785952"/>
              <a:gd name="connsiteY14256" fmla="*/ 829284 h 5217112"/>
              <a:gd name="connsiteX14257" fmla="*/ 4425927 w 6785952"/>
              <a:gd name="connsiteY14257" fmla="*/ 830592 h 5217112"/>
              <a:gd name="connsiteX14258" fmla="*/ 4422906 w 6785952"/>
              <a:gd name="connsiteY14258" fmla="*/ 834406 h 5217112"/>
              <a:gd name="connsiteX14259" fmla="*/ 4418785 w 6785952"/>
              <a:gd name="connsiteY14259" fmla="*/ 833098 h 5217112"/>
              <a:gd name="connsiteX14260" fmla="*/ 4420708 w 6785952"/>
              <a:gd name="connsiteY14260" fmla="*/ 829611 h 5217112"/>
              <a:gd name="connsiteX14261" fmla="*/ 4425378 w 6785952"/>
              <a:gd name="connsiteY14261" fmla="*/ 829284 h 5217112"/>
              <a:gd name="connsiteX14262" fmla="*/ 2675434 w 6785952"/>
              <a:gd name="connsiteY14262" fmla="*/ 828481 h 5217112"/>
              <a:gd name="connsiteX14263" fmla="*/ 2678044 w 6785952"/>
              <a:gd name="connsiteY14263" fmla="*/ 831354 h 5217112"/>
              <a:gd name="connsiteX14264" fmla="*/ 2673649 w 6785952"/>
              <a:gd name="connsiteY14264" fmla="*/ 831137 h 5217112"/>
              <a:gd name="connsiteX14265" fmla="*/ 2672550 w 6785952"/>
              <a:gd name="connsiteY14265" fmla="*/ 830483 h 5217112"/>
              <a:gd name="connsiteX14266" fmla="*/ 2672825 w 6785952"/>
              <a:gd name="connsiteY14266" fmla="*/ 828958 h 5217112"/>
              <a:gd name="connsiteX14267" fmla="*/ 2675434 w 6785952"/>
              <a:gd name="connsiteY14267" fmla="*/ 828481 h 5217112"/>
              <a:gd name="connsiteX14268" fmla="*/ 2202444 w 6785952"/>
              <a:gd name="connsiteY14268" fmla="*/ 827418 h 5217112"/>
              <a:gd name="connsiteX14269" fmla="*/ 2209964 w 6785952"/>
              <a:gd name="connsiteY14269" fmla="*/ 827759 h 5217112"/>
              <a:gd name="connsiteX14270" fmla="*/ 2213260 w 6785952"/>
              <a:gd name="connsiteY14270" fmla="*/ 844105 h 5217112"/>
              <a:gd name="connsiteX14271" fmla="*/ 2205569 w 6785952"/>
              <a:gd name="connsiteY14271" fmla="*/ 845739 h 5217112"/>
              <a:gd name="connsiteX14272" fmla="*/ 2204470 w 6785952"/>
              <a:gd name="connsiteY14272" fmla="*/ 845848 h 5217112"/>
              <a:gd name="connsiteX14273" fmla="*/ 2202272 w 6785952"/>
              <a:gd name="connsiteY14273" fmla="*/ 847046 h 5217112"/>
              <a:gd name="connsiteX14274" fmla="*/ 2194581 w 6785952"/>
              <a:gd name="connsiteY14274" fmla="*/ 844322 h 5217112"/>
              <a:gd name="connsiteX14275" fmla="*/ 2197328 w 6785952"/>
              <a:gd name="connsiteY14275" fmla="*/ 838874 h 5217112"/>
              <a:gd name="connsiteX14276" fmla="*/ 2195954 w 6785952"/>
              <a:gd name="connsiteY14276" fmla="*/ 835496 h 5217112"/>
              <a:gd name="connsiteX14277" fmla="*/ 2202444 w 6785952"/>
              <a:gd name="connsiteY14277" fmla="*/ 827418 h 5217112"/>
              <a:gd name="connsiteX14278" fmla="*/ 2641827 w 6785952"/>
              <a:gd name="connsiteY14278" fmla="*/ 826839 h 5217112"/>
              <a:gd name="connsiteX14279" fmla="*/ 2644532 w 6785952"/>
              <a:gd name="connsiteY14279" fmla="*/ 838547 h 5217112"/>
              <a:gd name="connsiteX14280" fmla="*/ 2637114 w 6785952"/>
              <a:gd name="connsiteY14280" fmla="*/ 829393 h 5217112"/>
              <a:gd name="connsiteX14281" fmla="*/ 2641827 w 6785952"/>
              <a:gd name="connsiteY14281" fmla="*/ 826839 h 5217112"/>
              <a:gd name="connsiteX14282" fmla="*/ 2470374 w 6785952"/>
              <a:gd name="connsiteY14282" fmla="*/ 826451 h 5217112"/>
              <a:gd name="connsiteX14283" fmla="*/ 2481362 w 6785952"/>
              <a:gd name="connsiteY14283" fmla="*/ 833207 h 5217112"/>
              <a:gd name="connsiteX14284" fmla="*/ 2481362 w 6785952"/>
              <a:gd name="connsiteY14284" fmla="*/ 833316 h 5217112"/>
              <a:gd name="connsiteX14285" fmla="*/ 2481637 w 6785952"/>
              <a:gd name="connsiteY14285" fmla="*/ 831573 h 5217112"/>
              <a:gd name="connsiteX14286" fmla="*/ 2481912 w 6785952"/>
              <a:gd name="connsiteY14286" fmla="*/ 832990 h 5217112"/>
              <a:gd name="connsiteX14287" fmla="*/ 2481637 w 6785952"/>
              <a:gd name="connsiteY14287" fmla="*/ 833752 h 5217112"/>
              <a:gd name="connsiteX14288" fmla="*/ 2484659 w 6785952"/>
              <a:gd name="connsiteY14288" fmla="*/ 839963 h 5217112"/>
              <a:gd name="connsiteX14289" fmla="*/ 2484933 w 6785952"/>
              <a:gd name="connsiteY14289" fmla="*/ 846066 h 5217112"/>
              <a:gd name="connsiteX14290" fmla="*/ 2475593 w 6785952"/>
              <a:gd name="connsiteY14290" fmla="*/ 852822 h 5217112"/>
              <a:gd name="connsiteX14291" fmla="*/ 2461859 w 6785952"/>
              <a:gd name="connsiteY14291" fmla="*/ 840508 h 5217112"/>
              <a:gd name="connsiteX14292" fmla="*/ 2462683 w 6785952"/>
              <a:gd name="connsiteY14292" fmla="*/ 833970 h 5217112"/>
              <a:gd name="connsiteX14293" fmla="*/ 2470374 w 6785952"/>
              <a:gd name="connsiteY14293" fmla="*/ 826451 h 5217112"/>
              <a:gd name="connsiteX14294" fmla="*/ 2936807 w 6785952"/>
              <a:gd name="connsiteY14294" fmla="*/ 826342 h 5217112"/>
              <a:gd name="connsiteX14295" fmla="*/ 2927467 w 6785952"/>
              <a:gd name="connsiteY14295" fmla="*/ 829175 h 5217112"/>
              <a:gd name="connsiteX14296" fmla="*/ 2935433 w 6785952"/>
              <a:gd name="connsiteY14296" fmla="*/ 828958 h 5217112"/>
              <a:gd name="connsiteX14297" fmla="*/ 2935982 w 6785952"/>
              <a:gd name="connsiteY14297" fmla="*/ 829067 h 5217112"/>
              <a:gd name="connsiteX14298" fmla="*/ 2823083 w 6785952"/>
              <a:gd name="connsiteY14298" fmla="*/ 826015 h 5217112"/>
              <a:gd name="connsiteX14299" fmla="*/ 2836818 w 6785952"/>
              <a:gd name="connsiteY14299" fmla="*/ 826451 h 5217112"/>
              <a:gd name="connsiteX14300" fmla="*/ 2842586 w 6785952"/>
              <a:gd name="connsiteY14300" fmla="*/ 829284 h 5217112"/>
              <a:gd name="connsiteX14301" fmla="*/ 2842586 w 6785952"/>
              <a:gd name="connsiteY14301" fmla="*/ 828739 h 5217112"/>
              <a:gd name="connsiteX14302" fmla="*/ 2847256 w 6785952"/>
              <a:gd name="connsiteY14302" fmla="*/ 826560 h 5217112"/>
              <a:gd name="connsiteX14303" fmla="*/ 2852750 w 6785952"/>
              <a:gd name="connsiteY14303" fmla="*/ 829938 h 5217112"/>
              <a:gd name="connsiteX14304" fmla="*/ 2856046 w 6785952"/>
              <a:gd name="connsiteY14304" fmla="*/ 835496 h 5217112"/>
              <a:gd name="connsiteX14305" fmla="*/ 2857695 w 6785952"/>
              <a:gd name="connsiteY14305" fmla="*/ 839310 h 5217112"/>
              <a:gd name="connsiteX14306" fmla="*/ 2865660 w 6785952"/>
              <a:gd name="connsiteY14306" fmla="*/ 847591 h 5217112"/>
              <a:gd name="connsiteX14307" fmla="*/ 2867858 w 6785952"/>
              <a:gd name="connsiteY14307" fmla="*/ 862085 h 5217112"/>
              <a:gd name="connsiteX14308" fmla="*/ 2823083 w 6785952"/>
              <a:gd name="connsiteY14308" fmla="*/ 826015 h 5217112"/>
              <a:gd name="connsiteX14309" fmla="*/ 4440761 w 6785952"/>
              <a:gd name="connsiteY14309" fmla="*/ 825034 h 5217112"/>
              <a:gd name="connsiteX14310" fmla="*/ 4441859 w 6785952"/>
              <a:gd name="connsiteY14310" fmla="*/ 829284 h 5217112"/>
              <a:gd name="connsiteX14311" fmla="*/ 4438289 w 6785952"/>
              <a:gd name="connsiteY14311" fmla="*/ 830374 h 5217112"/>
              <a:gd name="connsiteX14312" fmla="*/ 4434443 w 6785952"/>
              <a:gd name="connsiteY14312" fmla="*/ 830374 h 5217112"/>
              <a:gd name="connsiteX14313" fmla="*/ 4434718 w 6785952"/>
              <a:gd name="connsiteY14313" fmla="*/ 825688 h 5217112"/>
              <a:gd name="connsiteX14314" fmla="*/ 4440761 w 6785952"/>
              <a:gd name="connsiteY14314" fmla="*/ 825034 h 5217112"/>
              <a:gd name="connsiteX14315" fmla="*/ 1182056 w 6785952"/>
              <a:gd name="connsiteY14315" fmla="*/ 824490 h 5217112"/>
              <a:gd name="connsiteX14316" fmla="*/ 1190846 w 6785952"/>
              <a:gd name="connsiteY14316" fmla="*/ 828739 h 5217112"/>
              <a:gd name="connsiteX14317" fmla="*/ 1191944 w 6785952"/>
              <a:gd name="connsiteY14317" fmla="*/ 833207 h 5217112"/>
              <a:gd name="connsiteX14318" fmla="*/ 1189198 w 6785952"/>
              <a:gd name="connsiteY14318" fmla="*/ 833316 h 5217112"/>
              <a:gd name="connsiteX14319" fmla="*/ 1187549 w 6785952"/>
              <a:gd name="connsiteY14319" fmla="*/ 832445 h 5217112"/>
              <a:gd name="connsiteX14320" fmla="*/ 1186176 w 6785952"/>
              <a:gd name="connsiteY14320" fmla="*/ 829393 h 5217112"/>
              <a:gd name="connsiteX14321" fmla="*/ 1182056 w 6785952"/>
              <a:gd name="connsiteY14321" fmla="*/ 827323 h 5217112"/>
              <a:gd name="connsiteX14322" fmla="*/ 1182056 w 6785952"/>
              <a:gd name="connsiteY14322" fmla="*/ 824490 h 5217112"/>
              <a:gd name="connsiteX14323" fmla="*/ 2815941 w 6785952"/>
              <a:gd name="connsiteY14323" fmla="*/ 823617 h 5217112"/>
              <a:gd name="connsiteX14324" fmla="*/ 2815941 w 6785952"/>
              <a:gd name="connsiteY14324" fmla="*/ 826886 h 5217112"/>
              <a:gd name="connsiteX14325" fmla="*/ 2815391 w 6785952"/>
              <a:gd name="connsiteY14325" fmla="*/ 828848 h 5217112"/>
              <a:gd name="connsiteX14326" fmla="*/ 2813469 w 6785952"/>
              <a:gd name="connsiteY14326" fmla="*/ 825144 h 5217112"/>
              <a:gd name="connsiteX14327" fmla="*/ 2815941 w 6785952"/>
              <a:gd name="connsiteY14327" fmla="*/ 823617 h 5217112"/>
              <a:gd name="connsiteX14328" fmla="*/ 1946806 w 6785952"/>
              <a:gd name="connsiteY14328" fmla="*/ 823400 h 5217112"/>
              <a:gd name="connsiteX14329" fmla="*/ 1952025 w 6785952"/>
              <a:gd name="connsiteY14329" fmla="*/ 839200 h 5217112"/>
              <a:gd name="connsiteX14330" fmla="*/ 1942136 w 6785952"/>
              <a:gd name="connsiteY14330" fmla="*/ 826778 h 5217112"/>
              <a:gd name="connsiteX14331" fmla="*/ 1946806 w 6785952"/>
              <a:gd name="connsiteY14331" fmla="*/ 823400 h 5217112"/>
              <a:gd name="connsiteX14332" fmla="*/ 2800557 w 6785952"/>
              <a:gd name="connsiteY14332" fmla="*/ 822964 h 5217112"/>
              <a:gd name="connsiteX14333" fmla="*/ 2802756 w 6785952"/>
              <a:gd name="connsiteY14333" fmla="*/ 830156 h 5217112"/>
              <a:gd name="connsiteX14334" fmla="*/ 2800832 w 6785952"/>
              <a:gd name="connsiteY14334" fmla="*/ 829611 h 5217112"/>
              <a:gd name="connsiteX14335" fmla="*/ 2800832 w 6785952"/>
              <a:gd name="connsiteY14335" fmla="*/ 830265 h 5217112"/>
              <a:gd name="connsiteX14336" fmla="*/ 2798086 w 6785952"/>
              <a:gd name="connsiteY14336" fmla="*/ 827868 h 5217112"/>
              <a:gd name="connsiteX14337" fmla="*/ 2797536 w 6785952"/>
              <a:gd name="connsiteY14337" fmla="*/ 823073 h 5217112"/>
              <a:gd name="connsiteX14338" fmla="*/ 2800557 w 6785952"/>
              <a:gd name="connsiteY14338" fmla="*/ 822964 h 5217112"/>
              <a:gd name="connsiteX14339" fmla="*/ 2570913 w 6785952"/>
              <a:gd name="connsiteY14339" fmla="*/ 822528 h 5217112"/>
              <a:gd name="connsiteX14340" fmla="*/ 2580253 w 6785952"/>
              <a:gd name="connsiteY14340" fmla="*/ 827759 h 5217112"/>
              <a:gd name="connsiteX14341" fmla="*/ 2576132 w 6785952"/>
              <a:gd name="connsiteY14341" fmla="*/ 833970 h 5217112"/>
              <a:gd name="connsiteX14342" fmla="*/ 2567892 w 6785952"/>
              <a:gd name="connsiteY14342" fmla="*/ 831028 h 5217112"/>
              <a:gd name="connsiteX14343" fmla="*/ 2570913 w 6785952"/>
              <a:gd name="connsiteY14343" fmla="*/ 822528 h 5217112"/>
              <a:gd name="connsiteX14344" fmla="*/ 2157223 w 6785952"/>
              <a:gd name="connsiteY14344" fmla="*/ 822310 h 5217112"/>
              <a:gd name="connsiteX14345" fmla="*/ 2185791 w 6785952"/>
              <a:gd name="connsiteY14345" fmla="*/ 836804 h 5217112"/>
              <a:gd name="connsiteX14346" fmla="*/ 2171507 w 6785952"/>
              <a:gd name="connsiteY14346" fmla="*/ 854675 h 5217112"/>
              <a:gd name="connsiteX14347" fmla="*/ 2164364 w 6785952"/>
              <a:gd name="connsiteY14347" fmla="*/ 859251 h 5217112"/>
              <a:gd name="connsiteX14348" fmla="*/ 2166837 w 6785952"/>
              <a:gd name="connsiteY14348" fmla="*/ 861540 h 5217112"/>
              <a:gd name="connsiteX14349" fmla="*/ 2167936 w 6785952"/>
              <a:gd name="connsiteY14349" fmla="*/ 860124 h 5217112"/>
              <a:gd name="connsiteX14350" fmla="*/ 2178099 w 6785952"/>
              <a:gd name="connsiteY14350" fmla="*/ 868296 h 5217112"/>
              <a:gd name="connsiteX14351" fmla="*/ 2172606 w 6785952"/>
              <a:gd name="connsiteY14351" fmla="*/ 870476 h 5217112"/>
              <a:gd name="connsiteX14352" fmla="*/ 2173979 w 6785952"/>
              <a:gd name="connsiteY14352" fmla="*/ 878213 h 5217112"/>
              <a:gd name="connsiteX14353" fmla="*/ 2167386 w 6785952"/>
              <a:gd name="connsiteY14353" fmla="*/ 873963 h 5217112"/>
              <a:gd name="connsiteX14354" fmla="*/ 2166288 w 6785952"/>
              <a:gd name="connsiteY14354" fmla="*/ 877341 h 5217112"/>
              <a:gd name="connsiteX14355" fmla="*/ 2157772 w 6785952"/>
              <a:gd name="connsiteY14355" fmla="*/ 881264 h 5217112"/>
              <a:gd name="connsiteX14356" fmla="*/ 2154750 w 6785952"/>
              <a:gd name="connsiteY14356" fmla="*/ 879848 h 5217112"/>
              <a:gd name="connsiteX14357" fmla="*/ 2153377 w 6785952"/>
              <a:gd name="connsiteY14357" fmla="*/ 876687 h 5217112"/>
              <a:gd name="connsiteX14358" fmla="*/ 2152827 w 6785952"/>
              <a:gd name="connsiteY14358" fmla="*/ 872983 h 5217112"/>
              <a:gd name="connsiteX14359" fmla="*/ 2154750 w 6785952"/>
              <a:gd name="connsiteY14359" fmla="*/ 867642 h 5217112"/>
              <a:gd name="connsiteX14360" fmla="*/ 2145960 w 6785952"/>
              <a:gd name="connsiteY14360" fmla="*/ 862521 h 5217112"/>
              <a:gd name="connsiteX14361" fmla="*/ 2143213 w 6785952"/>
              <a:gd name="connsiteY14361" fmla="*/ 860015 h 5217112"/>
              <a:gd name="connsiteX14362" fmla="*/ 2142938 w 6785952"/>
              <a:gd name="connsiteY14362" fmla="*/ 859905 h 5217112"/>
              <a:gd name="connsiteX14363" fmla="*/ 2142389 w 6785952"/>
              <a:gd name="connsiteY14363" fmla="*/ 859251 h 5217112"/>
              <a:gd name="connsiteX14364" fmla="*/ 2136895 w 6785952"/>
              <a:gd name="connsiteY14364" fmla="*/ 854021 h 5217112"/>
              <a:gd name="connsiteX14365" fmla="*/ 2138268 w 6785952"/>
              <a:gd name="connsiteY14365" fmla="*/ 853803 h 5217112"/>
              <a:gd name="connsiteX14366" fmla="*/ 2136346 w 6785952"/>
              <a:gd name="connsiteY14366" fmla="*/ 845195 h 5217112"/>
              <a:gd name="connsiteX14367" fmla="*/ 2157223 w 6785952"/>
              <a:gd name="connsiteY14367" fmla="*/ 822310 h 5217112"/>
              <a:gd name="connsiteX14368" fmla="*/ 2228368 w 6785952"/>
              <a:gd name="connsiteY14368" fmla="*/ 821221 h 5217112"/>
              <a:gd name="connsiteX14369" fmla="*/ 2231940 w 6785952"/>
              <a:gd name="connsiteY14369" fmla="*/ 823291 h 5217112"/>
              <a:gd name="connsiteX14370" fmla="*/ 2231665 w 6785952"/>
              <a:gd name="connsiteY14370" fmla="*/ 830701 h 5217112"/>
              <a:gd name="connsiteX14371" fmla="*/ 2228094 w 6785952"/>
              <a:gd name="connsiteY14371" fmla="*/ 834406 h 5217112"/>
              <a:gd name="connsiteX14372" fmla="*/ 2227270 w 6785952"/>
              <a:gd name="connsiteY14372" fmla="*/ 834951 h 5217112"/>
              <a:gd name="connsiteX14373" fmla="*/ 2230291 w 6785952"/>
              <a:gd name="connsiteY14373" fmla="*/ 837566 h 5217112"/>
              <a:gd name="connsiteX14374" fmla="*/ 2233588 w 6785952"/>
              <a:gd name="connsiteY14374" fmla="*/ 851297 h 5217112"/>
              <a:gd name="connsiteX14375" fmla="*/ 2228094 w 6785952"/>
              <a:gd name="connsiteY14375" fmla="*/ 850425 h 5217112"/>
              <a:gd name="connsiteX14376" fmla="*/ 2222875 w 6785952"/>
              <a:gd name="connsiteY14376" fmla="*/ 840073 h 5217112"/>
              <a:gd name="connsiteX14377" fmla="*/ 2222875 w 6785952"/>
              <a:gd name="connsiteY14377" fmla="*/ 839854 h 5217112"/>
              <a:gd name="connsiteX14378" fmla="*/ 2222051 w 6785952"/>
              <a:gd name="connsiteY14378" fmla="*/ 838329 h 5217112"/>
              <a:gd name="connsiteX14379" fmla="*/ 2223149 w 6785952"/>
              <a:gd name="connsiteY14379" fmla="*/ 834951 h 5217112"/>
              <a:gd name="connsiteX14380" fmla="*/ 2223424 w 6785952"/>
              <a:gd name="connsiteY14380" fmla="*/ 834951 h 5217112"/>
              <a:gd name="connsiteX14381" fmla="*/ 2223973 w 6785952"/>
              <a:gd name="connsiteY14381" fmla="*/ 830701 h 5217112"/>
              <a:gd name="connsiteX14382" fmla="*/ 2226171 w 6785952"/>
              <a:gd name="connsiteY14382" fmla="*/ 822528 h 5217112"/>
              <a:gd name="connsiteX14383" fmla="*/ 2228368 w 6785952"/>
              <a:gd name="connsiteY14383" fmla="*/ 821221 h 5217112"/>
              <a:gd name="connsiteX14384" fmla="*/ 1459772 w 6785952"/>
              <a:gd name="connsiteY14384" fmla="*/ 820893 h 5217112"/>
              <a:gd name="connsiteX14385" fmla="*/ 1467189 w 6785952"/>
              <a:gd name="connsiteY14385" fmla="*/ 832008 h 5217112"/>
              <a:gd name="connsiteX14386" fmla="*/ 1466091 w 6785952"/>
              <a:gd name="connsiteY14386" fmla="*/ 833861 h 5217112"/>
              <a:gd name="connsiteX14387" fmla="*/ 1452630 w 6785952"/>
              <a:gd name="connsiteY14387" fmla="*/ 846284 h 5217112"/>
              <a:gd name="connsiteX14388" fmla="*/ 1448509 w 6785952"/>
              <a:gd name="connsiteY14388" fmla="*/ 841489 h 5217112"/>
              <a:gd name="connsiteX14389" fmla="*/ 1449609 w 6785952"/>
              <a:gd name="connsiteY14389" fmla="*/ 833861 h 5217112"/>
              <a:gd name="connsiteX14390" fmla="*/ 1459772 w 6785952"/>
              <a:gd name="connsiteY14390" fmla="*/ 820893 h 5217112"/>
              <a:gd name="connsiteX14391" fmla="*/ 1298801 w 6785952"/>
              <a:gd name="connsiteY14391" fmla="*/ 820566 h 5217112"/>
              <a:gd name="connsiteX14392" fmla="*/ 1306492 w 6785952"/>
              <a:gd name="connsiteY14392" fmla="*/ 829720 h 5217112"/>
              <a:gd name="connsiteX14393" fmla="*/ 1298801 w 6785952"/>
              <a:gd name="connsiteY14393" fmla="*/ 834842 h 5217112"/>
              <a:gd name="connsiteX14394" fmla="*/ 1303196 w 6785952"/>
              <a:gd name="connsiteY14394" fmla="*/ 841053 h 5217112"/>
              <a:gd name="connsiteX14395" fmla="*/ 1305943 w 6785952"/>
              <a:gd name="connsiteY14395" fmla="*/ 848464 h 5217112"/>
              <a:gd name="connsiteX14396" fmla="*/ 1304844 w 6785952"/>
              <a:gd name="connsiteY14396" fmla="*/ 849118 h 5217112"/>
              <a:gd name="connsiteX14397" fmla="*/ 1296329 w 6785952"/>
              <a:gd name="connsiteY14397" fmla="*/ 836912 h 5217112"/>
              <a:gd name="connsiteX14398" fmla="*/ 1295779 w 6785952"/>
              <a:gd name="connsiteY14398" fmla="*/ 834842 h 5217112"/>
              <a:gd name="connsiteX14399" fmla="*/ 1291934 w 6785952"/>
              <a:gd name="connsiteY14399" fmla="*/ 829284 h 5217112"/>
              <a:gd name="connsiteX14400" fmla="*/ 1298801 w 6785952"/>
              <a:gd name="connsiteY14400" fmla="*/ 820566 h 5217112"/>
              <a:gd name="connsiteX14401" fmla="*/ 2349234 w 6785952"/>
              <a:gd name="connsiteY14401" fmla="*/ 820239 h 5217112"/>
              <a:gd name="connsiteX14402" fmla="*/ 2358025 w 6785952"/>
              <a:gd name="connsiteY14402" fmla="*/ 833098 h 5217112"/>
              <a:gd name="connsiteX14403" fmla="*/ 2343740 w 6785952"/>
              <a:gd name="connsiteY14403" fmla="*/ 845195 h 5217112"/>
              <a:gd name="connsiteX14404" fmla="*/ 2344015 w 6785952"/>
              <a:gd name="connsiteY14404" fmla="*/ 845303 h 5217112"/>
              <a:gd name="connsiteX14405" fmla="*/ 2350608 w 6785952"/>
              <a:gd name="connsiteY14405" fmla="*/ 850207 h 5217112"/>
              <a:gd name="connsiteX14406" fmla="*/ 2351432 w 6785952"/>
              <a:gd name="connsiteY14406" fmla="*/ 854893 h 5217112"/>
              <a:gd name="connsiteX14407" fmla="*/ 2348685 w 6785952"/>
              <a:gd name="connsiteY14407" fmla="*/ 858489 h 5217112"/>
              <a:gd name="connsiteX14408" fmla="*/ 2349783 w 6785952"/>
              <a:gd name="connsiteY14408" fmla="*/ 859360 h 5217112"/>
              <a:gd name="connsiteX14409" fmla="*/ 2352805 w 6785952"/>
              <a:gd name="connsiteY14409" fmla="*/ 864918 h 5217112"/>
              <a:gd name="connsiteX14410" fmla="*/ 2345389 w 6785952"/>
              <a:gd name="connsiteY14410" fmla="*/ 870040 h 5217112"/>
              <a:gd name="connsiteX14411" fmla="*/ 2349783 w 6785952"/>
              <a:gd name="connsiteY14411" fmla="*/ 876142 h 5217112"/>
              <a:gd name="connsiteX14412" fmla="*/ 2352531 w 6785952"/>
              <a:gd name="connsiteY14412" fmla="*/ 883662 h 5217112"/>
              <a:gd name="connsiteX14413" fmla="*/ 2351157 w 6785952"/>
              <a:gd name="connsiteY14413" fmla="*/ 884207 h 5217112"/>
              <a:gd name="connsiteX14414" fmla="*/ 2342641 w 6785952"/>
              <a:gd name="connsiteY14414" fmla="*/ 872110 h 5217112"/>
              <a:gd name="connsiteX14415" fmla="*/ 2342092 w 6785952"/>
              <a:gd name="connsiteY14415" fmla="*/ 869931 h 5217112"/>
              <a:gd name="connsiteX14416" fmla="*/ 2338246 w 6785952"/>
              <a:gd name="connsiteY14416" fmla="*/ 864373 h 5217112"/>
              <a:gd name="connsiteX14417" fmla="*/ 2339070 w 6785952"/>
              <a:gd name="connsiteY14417" fmla="*/ 863284 h 5217112"/>
              <a:gd name="connsiteX14418" fmla="*/ 2336324 w 6785952"/>
              <a:gd name="connsiteY14418" fmla="*/ 863938 h 5217112"/>
              <a:gd name="connsiteX14419" fmla="*/ 2326984 w 6785952"/>
              <a:gd name="connsiteY14419" fmla="*/ 861758 h 5217112"/>
              <a:gd name="connsiteX14420" fmla="*/ 2325885 w 6785952"/>
              <a:gd name="connsiteY14420" fmla="*/ 860233 h 5217112"/>
              <a:gd name="connsiteX14421" fmla="*/ 2320391 w 6785952"/>
              <a:gd name="connsiteY14421" fmla="*/ 864918 h 5217112"/>
              <a:gd name="connsiteX14422" fmla="*/ 2330830 w 6785952"/>
              <a:gd name="connsiteY14422" fmla="*/ 870367 h 5217112"/>
              <a:gd name="connsiteX14423" fmla="*/ 2331654 w 6785952"/>
              <a:gd name="connsiteY14423" fmla="*/ 870367 h 5217112"/>
              <a:gd name="connsiteX14424" fmla="*/ 2332752 w 6785952"/>
              <a:gd name="connsiteY14424" fmla="*/ 871348 h 5217112"/>
              <a:gd name="connsiteX14425" fmla="*/ 2332752 w 6785952"/>
              <a:gd name="connsiteY14425" fmla="*/ 871893 h 5217112"/>
              <a:gd name="connsiteX14426" fmla="*/ 2333851 w 6785952"/>
              <a:gd name="connsiteY14426" fmla="*/ 873418 h 5217112"/>
              <a:gd name="connsiteX14427" fmla="*/ 2337148 w 6785952"/>
              <a:gd name="connsiteY14427" fmla="*/ 875053 h 5217112"/>
              <a:gd name="connsiteX14428" fmla="*/ 2347311 w 6785952"/>
              <a:gd name="connsiteY14428" fmla="*/ 889546 h 5217112"/>
              <a:gd name="connsiteX14429" fmla="*/ 2342641 w 6785952"/>
              <a:gd name="connsiteY14429" fmla="*/ 887693 h 5217112"/>
              <a:gd name="connsiteX14430" fmla="*/ 2342916 w 6785952"/>
              <a:gd name="connsiteY14430" fmla="*/ 887912 h 5217112"/>
              <a:gd name="connsiteX14431" fmla="*/ 2341543 w 6785952"/>
              <a:gd name="connsiteY14431" fmla="*/ 889001 h 5217112"/>
              <a:gd name="connsiteX14432" fmla="*/ 2343740 w 6785952"/>
              <a:gd name="connsiteY14432" fmla="*/ 891399 h 5217112"/>
              <a:gd name="connsiteX14433" fmla="*/ 2345389 w 6785952"/>
              <a:gd name="connsiteY14433" fmla="*/ 897828 h 5217112"/>
              <a:gd name="connsiteX14434" fmla="*/ 2341268 w 6785952"/>
              <a:gd name="connsiteY14434" fmla="*/ 899790 h 5217112"/>
              <a:gd name="connsiteX14435" fmla="*/ 2336873 w 6785952"/>
              <a:gd name="connsiteY14435" fmla="*/ 898591 h 5217112"/>
              <a:gd name="connsiteX14436" fmla="*/ 2334126 w 6785952"/>
              <a:gd name="connsiteY14436" fmla="*/ 895758 h 5217112"/>
              <a:gd name="connsiteX14437" fmla="*/ 2333576 w 6785952"/>
              <a:gd name="connsiteY14437" fmla="*/ 896084 h 5217112"/>
              <a:gd name="connsiteX14438" fmla="*/ 2335774 w 6785952"/>
              <a:gd name="connsiteY14438" fmla="*/ 903168 h 5217112"/>
              <a:gd name="connsiteX14439" fmla="*/ 2329457 w 6785952"/>
              <a:gd name="connsiteY14439" fmla="*/ 907309 h 5217112"/>
              <a:gd name="connsiteX14440" fmla="*/ 2321215 w 6785952"/>
              <a:gd name="connsiteY14440" fmla="*/ 902405 h 5217112"/>
              <a:gd name="connsiteX14441" fmla="*/ 2320117 w 6785952"/>
              <a:gd name="connsiteY14441" fmla="*/ 900880 h 5217112"/>
              <a:gd name="connsiteX14442" fmla="*/ 2318194 w 6785952"/>
              <a:gd name="connsiteY14442" fmla="*/ 901425 h 5217112"/>
              <a:gd name="connsiteX14443" fmla="*/ 2278088 w 6785952"/>
              <a:gd name="connsiteY14443" fmla="*/ 874726 h 5217112"/>
              <a:gd name="connsiteX14444" fmla="*/ 2279461 w 6785952"/>
              <a:gd name="connsiteY14444" fmla="*/ 870367 h 5217112"/>
              <a:gd name="connsiteX14445" fmla="*/ 2284955 w 6785952"/>
              <a:gd name="connsiteY14445" fmla="*/ 865681 h 5217112"/>
              <a:gd name="connsiteX14446" fmla="*/ 2284680 w 6785952"/>
              <a:gd name="connsiteY14446" fmla="*/ 865136 h 5217112"/>
              <a:gd name="connsiteX14447" fmla="*/ 2284406 w 6785952"/>
              <a:gd name="connsiteY14447" fmla="*/ 856091 h 5217112"/>
              <a:gd name="connsiteX14448" fmla="*/ 2280561 w 6785952"/>
              <a:gd name="connsiteY14448" fmla="*/ 856201 h 5217112"/>
              <a:gd name="connsiteX14449" fmla="*/ 2275067 w 6785952"/>
              <a:gd name="connsiteY14449" fmla="*/ 852822 h 5217112"/>
              <a:gd name="connsiteX14450" fmla="*/ 2274242 w 6785952"/>
              <a:gd name="connsiteY14450" fmla="*/ 851079 h 5217112"/>
              <a:gd name="connsiteX14451" fmla="*/ 2272869 w 6785952"/>
              <a:gd name="connsiteY14451" fmla="*/ 852059 h 5217112"/>
              <a:gd name="connsiteX14452" fmla="*/ 2267650 w 6785952"/>
              <a:gd name="connsiteY14452" fmla="*/ 847919 h 5217112"/>
              <a:gd name="connsiteX14453" fmla="*/ 2271496 w 6785952"/>
              <a:gd name="connsiteY14453" fmla="*/ 844322 h 5217112"/>
              <a:gd name="connsiteX14454" fmla="*/ 2270397 w 6785952"/>
              <a:gd name="connsiteY14454" fmla="*/ 842797 h 5217112"/>
              <a:gd name="connsiteX14455" fmla="*/ 2269023 w 6785952"/>
              <a:gd name="connsiteY14455" fmla="*/ 842797 h 5217112"/>
              <a:gd name="connsiteX14456" fmla="*/ 2264354 w 6785952"/>
              <a:gd name="connsiteY14456" fmla="*/ 838765 h 5217112"/>
              <a:gd name="connsiteX14457" fmla="*/ 2266551 w 6785952"/>
              <a:gd name="connsiteY14457" fmla="*/ 836150 h 5217112"/>
              <a:gd name="connsiteX14458" fmla="*/ 2270397 w 6785952"/>
              <a:gd name="connsiteY14458" fmla="*/ 838111 h 5217112"/>
              <a:gd name="connsiteX14459" fmla="*/ 2270946 w 6785952"/>
              <a:gd name="connsiteY14459" fmla="*/ 838438 h 5217112"/>
              <a:gd name="connsiteX14460" fmla="*/ 2272319 w 6785952"/>
              <a:gd name="connsiteY14460" fmla="*/ 838329 h 5217112"/>
              <a:gd name="connsiteX14461" fmla="*/ 2273418 w 6785952"/>
              <a:gd name="connsiteY14461" fmla="*/ 838765 h 5217112"/>
              <a:gd name="connsiteX14462" fmla="*/ 2273967 w 6785952"/>
              <a:gd name="connsiteY14462" fmla="*/ 838874 h 5217112"/>
              <a:gd name="connsiteX14463" fmla="*/ 2275342 w 6785952"/>
              <a:gd name="connsiteY14463" fmla="*/ 834842 h 5217112"/>
              <a:gd name="connsiteX14464" fmla="*/ 2282758 w 6785952"/>
              <a:gd name="connsiteY14464" fmla="*/ 828522 h 5217112"/>
              <a:gd name="connsiteX14465" fmla="*/ 2287153 w 6785952"/>
              <a:gd name="connsiteY14465" fmla="*/ 828413 h 5217112"/>
              <a:gd name="connsiteX14466" fmla="*/ 2286879 w 6785952"/>
              <a:gd name="connsiteY14466" fmla="*/ 825579 h 5217112"/>
              <a:gd name="connsiteX14467" fmla="*/ 2291823 w 6785952"/>
              <a:gd name="connsiteY14467" fmla="*/ 820566 h 5217112"/>
              <a:gd name="connsiteX14468" fmla="*/ 2296768 w 6785952"/>
              <a:gd name="connsiteY14468" fmla="*/ 832227 h 5217112"/>
              <a:gd name="connsiteX14469" fmla="*/ 2292647 w 6785952"/>
              <a:gd name="connsiteY14469" fmla="*/ 832336 h 5217112"/>
              <a:gd name="connsiteX14470" fmla="*/ 2293471 w 6785952"/>
              <a:gd name="connsiteY14470" fmla="*/ 832990 h 5217112"/>
              <a:gd name="connsiteX14471" fmla="*/ 2298416 w 6785952"/>
              <a:gd name="connsiteY14471" fmla="*/ 841053 h 5217112"/>
              <a:gd name="connsiteX14472" fmla="*/ 2297042 w 6785952"/>
              <a:gd name="connsiteY14472" fmla="*/ 849663 h 5217112"/>
              <a:gd name="connsiteX14473" fmla="*/ 2293746 w 6785952"/>
              <a:gd name="connsiteY14473" fmla="*/ 852168 h 5217112"/>
              <a:gd name="connsiteX14474" fmla="*/ 2294020 w 6785952"/>
              <a:gd name="connsiteY14474" fmla="*/ 860995 h 5217112"/>
              <a:gd name="connsiteX14475" fmla="*/ 2293471 w 6785952"/>
              <a:gd name="connsiteY14475" fmla="*/ 861758 h 5217112"/>
              <a:gd name="connsiteX14476" fmla="*/ 2295119 w 6785952"/>
              <a:gd name="connsiteY14476" fmla="*/ 861104 h 5217112"/>
              <a:gd name="connsiteX14477" fmla="*/ 2308580 w 6785952"/>
              <a:gd name="connsiteY14477" fmla="*/ 861649 h 5217112"/>
              <a:gd name="connsiteX14478" fmla="*/ 2319018 w 6785952"/>
              <a:gd name="connsiteY14478" fmla="*/ 848355 h 5217112"/>
              <a:gd name="connsiteX14479" fmla="*/ 2349234 w 6785952"/>
              <a:gd name="connsiteY14479" fmla="*/ 820239 h 5217112"/>
              <a:gd name="connsiteX14480" fmla="*/ 1198262 w 6785952"/>
              <a:gd name="connsiteY14480" fmla="*/ 819477 h 5217112"/>
              <a:gd name="connsiteX14481" fmla="*/ 1200736 w 6785952"/>
              <a:gd name="connsiteY14481" fmla="*/ 822964 h 5217112"/>
              <a:gd name="connsiteX14482" fmla="*/ 1203482 w 6785952"/>
              <a:gd name="connsiteY14482" fmla="*/ 825034 h 5217112"/>
              <a:gd name="connsiteX14483" fmla="*/ 1203207 w 6785952"/>
              <a:gd name="connsiteY14483" fmla="*/ 829502 h 5217112"/>
              <a:gd name="connsiteX14484" fmla="*/ 1200461 w 6785952"/>
              <a:gd name="connsiteY14484" fmla="*/ 827540 h 5217112"/>
              <a:gd name="connsiteX14485" fmla="*/ 1193868 w 6785952"/>
              <a:gd name="connsiteY14485" fmla="*/ 820348 h 5217112"/>
              <a:gd name="connsiteX14486" fmla="*/ 1198262 w 6785952"/>
              <a:gd name="connsiteY14486" fmla="*/ 819477 h 5217112"/>
              <a:gd name="connsiteX14487" fmla="*/ 6040035 w 6785952"/>
              <a:gd name="connsiteY14487" fmla="*/ 819149 h 5217112"/>
              <a:gd name="connsiteX14488" fmla="*/ 6051572 w 6785952"/>
              <a:gd name="connsiteY14488" fmla="*/ 823291 h 5217112"/>
              <a:gd name="connsiteX14489" fmla="*/ 6054318 w 6785952"/>
              <a:gd name="connsiteY14489" fmla="*/ 826124 h 5217112"/>
              <a:gd name="connsiteX14490" fmla="*/ 6052945 w 6785952"/>
              <a:gd name="connsiteY14490" fmla="*/ 827431 h 5217112"/>
              <a:gd name="connsiteX14491" fmla="*/ 6061461 w 6785952"/>
              <a:gd name="connsiteY14491" fmla="*/ 837021 h 5217112"/>
              <a:gd name="connsiteX14492" fmla="*/ 6072998 w 6785952"/>
              <a:gd name="connsiteY14492" fmla="*/ 848028 h 5217112"/>
              <a:gd name="connsiteX14493" fmla="*/ 6074371 w 6785952"/>
              <a:gd name="connsiteY14493" fmla="*/ 850752 h 5217112"/>
              <a:gd name="connsiteX14494" fmla="*/ 6071624 w 6785952"/>
              <a:gd name="connsiteY14494" fmla="*/ 850752 h 5217112"/>
              <a:gd name="connsiteX14495" fmla="*/ 6060087 w 6785952"/>
              <a:gd name="connsiteY14495" fmla="*/ 839745 h 5217112"/>
              <a:gd name="connsiteX14496" fmla="*/ 6045803 w 6785952"/>
              <a:gd name="connsiteY14496" fmla="*/ 827431 h 5217112"/>
              <a:gd name="connsiteX14497" fmla="*/ 6042781 w 6785952"/>
              <a:gd name="connsiteY14497" fmla="*/ 826124 h 5217112"/>
              <a:gd name="connsiteX14498" fmla="*/ 6042781 w 6785952"/>
              <a:gd name="connsiteY14498" fmla="*/ 824707 h 5217112"/>
              <a:gd name="connsiteX14499" fmla="*/ 6041408 w 6785952"/>
              <a:gd name="connsiteY14499" fmla="*/ 835714 h 5217112"/>
              <a:gd name="connsiteX14500" fmla="*/ 6045803 w 6785952"/>
              <a:gd name="connsiteY14500" fmla="*/ 841162 h 5217112"/>
              <a:gd name="connsiteX14501" fmla="*/ 6047177 w 6785952"/>
              <a:gd name="connsiteY14501" fmla="*/ 842470 h 5217112"/>
              <a:gd name="connsiteX14502" fmla="*/ 6050198 w 6785952"/>
              <a:gd name="connsiteY14502" fmla="*/ 845195 h 5217112"/>
              <a:gd name="connsiteX14503" fmla="*/ 6054318 w 6785952"/>
              <a:gd name="connsiteY14503" fmla="*/ 845195 h 5217112"/>
              <a:gd name="connsiteX14504" fmla="*/ 6055692 w 6785952"/>
              <a:gd name="connsiteY14504" fmla="*/ 848028 h 5217112"/>
              <a:gd name="connsiteX14505" fmla="*/ 6054318 w 6785952"/>
              <a:gd name="connsiteY14505" fmla="*/ 849335 h 5217112"/>
              <a:gd name="connsiteX14506" fmla="*/ 6051572 w 6785952"/>
              <a:gd name="connsiteY14506" fmla="*/ 848028 h 5217112"/>
              <a:gd name="connsiteX14507" fmla="*/ 6054318 w 6785952"/>
              <a:gd name="connsiteY14507" fmla="*/ 850752 h 5217112"/>
              <a:gd name="connsiteX14508" fmla="*/ 6054318 w 6785952"/>
              <a:gd name="connsiteY14508" fmla="*/ 852059 h 5217112"/>
              <a:gd name="connsiteX14509" fmla="*/ 6054318 w 6785952"/>
              <a:gd name="connsiteY14509" fmla="*/ 853476 h 5217112"/>
              <a:gd name="connsiteX14510" fmla="*/ 6061461 w 6785952"/>
              <a:gd name="connsiteY14510" fmla="*/ 857617 h 5217112"/>
              <a:gd name="connsiteX14511" fmla="*/ 6065855 w 6785952"/>
              <a:gd name="connsiteY14511" fmla="*/ 865790 h 5217112"/>
              <a:gd name="connsiteX14512" fmla="*/ 6064757 w 6785952"/>
              <a:gd name="connsiteY14512" fmla="*/ 866771 h 5217112"/>
              <a:gd name="connsiteX14513" fmla="*/ 6064482 w 6785952"/>
              <a:gd name="connsiteY14513" fmla="*/ 866662 h 5217112"/>
              <a:gd name="connsiteX14514" fmla="*/ 6064482 w 6785952"/>
              <a:gd name="connsiteY14514" fmla="*/ 864482 h 5217112"/>
              <a:gd name="connsiteX14515" fmla="*/ 6061461 w 6785952"/>
              <a:gd name="connsiteY14515" fmla="*/ 859034 h 5217112"/>
              <a:gd name="connsiteX14516" fmla="*/ 6054318 w 6785952"/>
              <a:gd name="connsiteY14516" fmla="*/ 856201 h 5217112"/>
              <a:gd name="connsiteX14517" fmla="*/ 6054318 w 6785952"/>
              <a:gd name="connsiteY14517" fmla="*/ 860341 h 5217112"/>
              <a:gd name="connsiteX14518" fmla="*/ 6054318 w 6785952"/>
              <a:gd name="connsiteY14518" fmla="*/ 861758 h 5217112"/>
              <a:gd name="connsiteX14519" fmla="*/ 6051572 w 6785952"/>
              <a:gd name="connsiteY14519" fmla="*/ 861758 h 5217112"/>
              <a:gd name="connsiteX14520" fmla="*/ 6054318 w 6785952"/>
              <a:gd name="connsiteY14520" fmla="*/ 864482 h 5217112"/>
              <a:gd name="connsiteX14521" fmla="*/ 6054318 w 6785952"/>
              <a:gd name="connsiteY14521" fmla="*/ 865790 h 5217112"/>
              <a:gd name="connsiteX14522" fmla="*/ 6052945 w 6785952"/>
              <a:gd name="connsiteY14522" fmla="*/ 865790 h 5217112"/>
              <a:gd name="connsiteX14523" fmla="*/ 6050198 w 6785952"/>
              <a:gd name="connsiteY14523" fmla="*/ 863066 h 5217112"/>
              <a:gd name="connsiteX14524" fmla="*/ 6050198 w 6785952"/>
              <a:gd name="connsiteY14524" fmla="*/ 861758 h 5217112"/>
              <a:gd name="connsiteX14525" fmla="*/ 6034266 w 6785952"/>
              <a:gd name="connsiteY14525" fmla="*/ 849335 h 5217112"/>
              <a:gd name="connsiteX14526" fmla="*/ 6031244 w 6785952"/>
              <a:gd name="connsiteY14526" fmla="*/ 849335 h 5217112"/>
              <a:gd name="connsiteX14527" fmla="*/ 6028498 w 6785952"/>
              <a:gd name="connsiteY14527" fmla="*/ 845195 h 5217112"/>
              <a:gd name="connsiteX14528" fmla="*/ 6019982 w 6785952"/>
              <a:gd name="connsiteY14528" fmla="*/ 842470 h 5217112"/>
              <a:gd name="connsiteX14529" fmla="*/ 6029871 w 6785952"/>
              <a:gd name="connsiteY14529" fmla="*/ 854783 h 5217112"/>
              <a:gd name="connsiteX14530" fmla="*/ 6029871 w 6785952"/>
              <a:gd name="connsiteY14530" fmla="*/ 856201 h 5217112"/>
              <a:gd name="connsiteX14531" fmla="*/ 6027124 w 6785952"/>
              <a:gd name="connsiteY14531" fmla="*/ 859034 h 5217112"/>
              <a:gd name="connsiteX14532" fmla="*/ 6025476 w 6785952"/>
              <a:gd name="connsiteY14532" fmla="*/ 856201 h 5217112"/>
              <a:gd name="connsiteX14533" fmla="*/ 6008445 w 6785952"/>
              <a:gd name="connsiteY14533" fmla="*/ 835714 h 5217112"/>
              <a:gd name="connsiteX14534" fmla="*/ 5995534 w 6785952"/>
              <a:gd name="connsiteY14534" fmla="*/ 828848 h 5217112"/>
              <a:gd name="connsiteX14535" fmla="*/ 6016960 w 6785952"/>
              <a:gd name="connsiteY14535" fmla="*/ 853476 h 5217112"/>
              <a:gd name="connsiteX14536" fmla="*/ 6037013 w 6785952"/>
              <a:gd name="connsiteY14536" fmla="*/ 874072 h 5217112"/>
              <a:gd name="connsiteX14537" fmla="*/ 6038661 w 6785952"/>
              <a:gd name="connsiteY14537" fmla="*/ 872655 h 5217112"/>
              <a:gd name="connsiteX14538" fmla="*/ 6038661 w 6785952"/>
              <a:gd name="connsiteY14538" fmla="*/ 871348 h 5217112"/>
              <a:gd name="connsiteX14539" fmla="*/ 6038661 w 6785952"/>
              <a:gd name="connsiteY14539" fmla="*/ 869931 h 5217112"/>
              <a:gd name="connsiteX14540" fmla="*/ 6031244 w 6785952"/>
              <a:gd name="connsiteY14540" fmla="*/ 869931 h 5217112"/>
              <a:gd name="connsiteX14541" fmla="*/ 6027124 w 6785952"/>
              <a:gd name="connsiteY14541" fmla="*/ 860341 h 5217112"/>
              <a:gd name="connsiteX14542" fmla="*/ 6037013 w 6785952"/>
              <a:gd name="connsiteY14542" fmla="*/ 867207 h 5217112"/>
              <a:gd name="connsiteX14543" fmla="*/ 6037013 w 6785952"/>
              <a:gd name="connsiteY14543" fmla="*/ 865790 h 5217112"/>
              <a:gd name="connsiteX14544" fmla="*/ 6038661 w 6785952"/>
              <a:gd name="connsiteY14544" fmla="*/ 865790 h 5217112"/>
              <a:gd name="connsiteX14545" fmla="*/ 6041408 w 6785952"/>
              <a:gd name="connsiteY14545" fmla="*/ 871348 h 5217112"/>
              <a:gd name="connsiteX14546" fmla="*/ 6044155 w 6785952"/>
              <a:gd name="connsiteY14546" fmla="*/ 872655 h 5217112"/>
              <a:gd name="connsiteX14547" fmla="*/ 6048550 w 6785952"/>
              <a:gd name="connsiteY14547" fmla="*/ 875380 h 5217112"/>
              <a:gd name="connsiteX14548" fmla="*/ 6051572 w 6785952"/>
              <a:gd name="connsiteY14548" fmla="*/ 872655 h 5217112"/>
              <a:gd name="connsiteX14549" fmla="*/ 6052945 w 6785952"/>
              <a:gd name="connsiteY14549" fmla="*/ 872655 h 5217112"/>
              <a:gd name="connsiteX14550" fmla="*/ 6052945 w 6785952"/>
              <a:gd name="connsiteY14550" fmla="*/ 874072 h 5217112"/>
              <a:gd name="connsiteX14551" fmla="*/ 6052945 w 6785952"/>
              <a:gd name="connsiteY14551" fmla="*/ 875380 h 5217112"/>
              <a:gd name="connsiteX14552" fmla="*/ 6051572 w 6785952"/>
              <a:gd name="connsiteY14552" fmla="*/ 876796 h 5217112"/>
              <a:gd name="connsiteX14553" fmla="*/ 6064482 w 6785952"/>
              <a:gd name="connsiteY14553" fmla="*/ 897392 h 5217112"/>
              <a:gd name="connsiteX14554" fmla="*/ 6072998 w 6785952"/>
              <a:gd name="connsiteY14554" fmla="*/ 908290 h 5217112"/>
              <a:gd name="connsiteX14555" fmla="*/ 6075744 w 6785952"/>
              <a:gd name="connsiteY14555" fmla="*/ 912430 h 5217112"/>
              <a:gd name="connsiteX14556" fmla="*/ 6077118 w 6785952"/>
              <a:gd name="connsiteY14556" fmla="*/ 914610 h 5217112"/>
              <a:gd name="connsiteX14557" fmla="*/ 6077668 w 6785952"/>
              <a:gd name="connsiteY14557" fmla="*/ 914610 h 5217112"/>
              <a:gd name="connsiteX14558" fmla="*/ 6088106 w 6785952"/>
              <a:gd name="connsiteY14558" fmla="*/ 926924 h 5217112"/>
              <a:gd name="connsiteX14559" fmla="*/ 6088106 w 6785952"/>
              <a:gd name="connsiteY14559" fmla="*/ 929976 h 5217112"/>
              <a:gd name="connsiteX14560" fmla="*/ 6088656 w 6785952"/>
              <a:gd name="connsiteY14560" fmla="*/ 930738 h 5217112"/>
              <a:gd name="connsiteX14561" fmla="*/ 6093050 w 6785952"/>
              <a:gd name="connsiteY14561" fmla="*/ 934334 h 5217112"/>
              <a:gd name="connsiteX14562" fmla="*/ 6088656 w 6785952"/>
              <a:gd name="connsiteY14562" fmla="*/ 920603 h 5217112"/>
              <a:gd name="connsiteX14563" fmla="*/ 6077393 w 6785952"/>
              <a:gd name="connsiteY14563" fmla="*/ 904149 h 5217112"/>
              <a:gd name="connsiteX14564" fmla="*/ 6068603 w 6785952"/>
              <a:gd name="connsiteY14564" fmla="*/ 894668 h 5217112"/>
              <a:gd name="connsiteX14565" fmla="*/ 6068603 w 6785952"/>
              <a:gd name="connsiteY14565" fmla="*/ 893251 h 5217112"/>
              <a:gd name="connsiteX14566" fmla="*/ 6069976 w 6785952"/>
              <a:gd name="connsiteY14566" fmla="*/ 893251 h 5217112"/>
              <a:gd name="connsiteX14567" fmla="*/ 6078767 w 6785952"/>
              <a:gd name="connsiteY14567" fmla="*/ 902841 h 5217112"/>
              <a:gd name="connsiteX14568" fmla="*/ 6091677 w 6785952"/>
              <a:gd name="connsiteY14568" fmla="*/ 919187 h 5217112"/>
              <a:gd name="connsiteX14569" fmla="*/ 6091677 w 6785952"/>
              <a:gd name="connsiteY14569" fmla="*/ 920603 h 5217112"/>
              <a:gd name="connsiteX14570" fmla="*/ 6101291 w 6785952"/>
              <a:gd name="connsiteY14570" fmla="*/ 928558 h 5217112"/>
              <a:gd name="connsiteX14571" fmla="*/ 6106511 w 6785952"/>
              <a:gd name="connsiteY14571" fmla="*/ 935533 h 5217112"/>
              <a:gd name="connsiteX14572" fmla="*/ 6109257 w 6785952"/>
              <a:gd name="connsiteY14572" fmla="*/ 935206 h 5217112"/>
              <a:gd name="connsiteX14573" fmla="*/ 6120245 w 6785952"/>
              <a:gd name="connsiteY14573" fmla="*/ 936623 h 5217112"/>
              <a:gd name="connsiteX14574" fmla="*/ 6110906 w 6785952"/>
              <a:gd name="connsiteY14574" fmla="*/ 941853 h 5217112"/>
              <a:gd name="connsiteX14575" fmla="*/ 6116674 w 6785952"/>
              <a:gd name="connsiteY14575" fmla="*/ 951225 h 5217112"/>
              <a:gd name="connsiteX14576" fmla="*/ 6123267 w 6785952"/>
              <a:gd name="connsiteY14576" fmla="*/ 963103 h 5217112"/>
              <a:gd name="connsiteX14577" fmla="*/ 6127388 w 6785952"/>
              <a:gd name="connsiteY14577" fmla="*/ 967244 h 5217112"/>
              <a:gd name="connsiteX14578" fmla="*/ 6128761 w 6785952"/>
              <a:gd name="connsiteY14578" fmla="*/ 971385 h 5217112"/>
              <a:gd name="connsiteX14579" fmla="*/ 6126014 w 6785952"/>
              <a:gd name="connsiteY14579" fmla="*/ 971385 h 5217112"/>
              <a:gd name="connsiteX14580" fmla="*/ 6133156 w 6785952"/>
              <a:gd name="connsiteY14580" fmla="*/ 985007 h 5217112"/>
              <a:gd name="connsiteX14581" fmla="*/ 6131783 w 6785952"/>
              <a:gd name="connsiteY14581" fmla="*/ 985007 h 5217112"/>
              <a:gd name="connsiteX14582" fmla="*/ 6132058 w 6785952"/>
              <a:gd name="connsiteY14582" fmla="*/ 985551 h 5217112"/>
              <a:gd name="connsiteX14583" fmla="*/ 6132881 w 6785952"/>
              <a:gd name="connsiteY14583" fmla="*/ 986641 h 5217112"/>
              <a:gd name="connsiteX14584" fmla="*/ 6136177 w 6785952"/>
              <a:gd name="connsiteY14584" fmla="*/ 987840 h 5217112"/>
              <a:gd name="connsiteX14585" fmla="*/ 6144419 w 6785952"/>
              <a:gd name="connsiteY14585" fmla="*/ 993616 h 5217112"/>
              <a:gd name="connsiteX14586" fmla="*/ 6145242 w 6785952"/>
              <a:gd name="connsiteY14586" fmla="*/ 998301 h 5217112"/>
              <a:gd name="connsiteX14587" fmla="*/ 6142221 w 6785952"/>
              <a:gd name="connsiteY14587" fmla="*/ 999718 h 5217112"/>
              <a:gd name="connsiteX14588" fmla="*/ 6140847 w 6785952"/>
              <a:gd name="connsiteY14588" fmla="*/ 999718 h 5217112"/>
              <a:gd name="connsiteX14589" fmla="*/ 6146067 w 6785952"/>
              <a:gd name="connsiteY14589" fmla="*/ 1008327 h 5217112"/>
              <a:gd name="connsiteX14590" fmla="*/ 6149088 w 6785952"/>
              <a:gd name="connsiteY14590" fmla="*/ 1008327 h 5217112"/>
              <a:gd name="connsiteX14591" fmla="*/ 6149088 w 6785952"/>
              <a:gd name="connsiteY14591" fmla="*/ 1011051 h 5217112"/>
              <a:gd name="connsiteX14592" fmla="*/ 6156230 w 6785952"/>
              <a:gd name="connsiteY14592" fmla="*/ 1016500 h 5217112"/>
              <a:gd name="connsiteX14593" fmla="*/ 6158978 w 6785952"/>
              <a:gd name="connsiteY14593" fmla="*/ 1033064 h 5217112"/>
              <a:gd name="connsiteX14594" fmla="*/ 6165845 w 6785952"/>
              <a:gd name="connsiteY14594" fmla="*/ 1047230 h 5217112"/>
              <a:gd name="connsiteX14595" fmla="*/ 6166669 w 6785952"/>
              <a:gd name="connsiteY14595" fmla="*/ 1045922 h 5217112"/>
              <a:gd name="connsiteX14596" fmla="*/ 6172712 w 6785952"/>
              <a:gd name="connsiteY14596" fmla="*/ 1044942 h 5217112"/>
              <a:gd name="connsiteX14597" fmla="*/ 6172712 w 6785952"/>
              <a:gd name="connsiteY14597" fmla="*/ 1042653 h 5217112"/>
              <a:gd name="connsiteX14598" fmla="*/ 6173261 w 6785952"/>
              <a:gd name="connsiteY14598" fmla="*/ 1042326 h 5217112"/>
              <a:gd name="connsiteX14599" fmla="*/ 6170789 w 6785952"/>
              <a:gd name="connsiteY14599" fmla="*/ 1040256 h 5217112"/>
              <a:gd name="connsiteX14600" fmla="*/ 6168866 w 6785952"/>
              <a:gd name="connsiteY14600" fmla="*/ 1035352 h 5217112"/>
              <a:gd name="connsiteX14601" fmla="*/ 6173261 w 6785952"/>
              <a:gd name="connsiteY14601" fmla="*/ 1038621 h 5217112"/>
              <a:gd name="connsiteX14602" fmla="*/ 6176009 w 6785952"/>
              <a:gd name="connsiteY14602" fmla="*/ 1040801 h 5217112"/>
              <a:gd name="connsiteX14603" fmla="*/ 6176558 w 6785952"/>
              <a:gd name="connsiteY14603" fmla="*/ 1040582 h 5217112"/>
              <a:gd name="connsiteX14604" fmla="*/ 6180953 w 6785952"/>
              <a:gd name="connsiteY14604" fmla="*/ 1040691 h 5217112"/>
              <a:gd name="connsiteX14605" fmla="*/ 6184798 w 6785952"/>
              <a:gd name="connsiteY14605" fmla="*/ 1043851 h 5217112"/>
              <a:gd name="connsiteX14606" fmla="*/ 6183700 w 6785952"/>
              <a:gd name="connsiteY14606" fmla="*/ 1048973 h 5217112"/>
              <a:gd name="connsiteX14607" fmla="*/ 6183425 w 6785952"/>
              <a:gd name="connsiteY14607" fmla="*/ 1049082 h 5217112"/>
              <a:gd name="connsiteX14608" fmla="*/ 6191667 w 6785952"/>
              <a:gd name="connsiteY14608" fmla="*/ 1054204 h 5217112"/>
              <a:gd name="connsiteX14609" fmla="*/ 6191941 w 6785952"/>
              <a:gd name="connsiteY14609" fmla="*/ 1053005 h 5217112"/>
              <a:gd name="connsiteX14610" fmla="*/ 6196611 w 6785952"/>
              <a:gd name="connsiteY14610" fmla="*/ 1047230 h 5217112"/>
              <a:gd name="connsiteX14611" fmla="*/ 6201830 w 6785952"/>
              <a:gd name="connsiteY14611" fmla="*/ 1050390 h 5217112"/>
              <a:gd name="connsiteX14612" fmla="*/ 6201280 w 6785952"/>
              <a:gd name="connsiteY14612" fmla="*/ 1058127 h 5217112"/>
              <a:gd name="connsiteX14613" fmla="*/ 6198259 w 6785952"/>
              <a:gd name="connsiteY14613" fmla="*/ 1060742 h 5217112"/>
              <a:gd name="connsiteX14614" fmla="*/ 6201280 w 6785952"/>
              <a:gd name="connsiteY14614" fmla="*/ 1065101 h 5217112"/>
              <a:gd name="connsiteX14615" fmla="*/ 6204851 w 6785952"/>
              <a:gd name="connsiteY14615" fmla="*/ 1072730 h 5217112"/>
              <a:gd name="connsiteX14616" fmla="*/ 6209247 w 6785952"/>
              <a:gd name="connsiteY14616" fmla="*/ 1076325 h 5217112"/>
              <a:gd name="connsiteX14617" fmla="*/ 6213642 w 6785952"/>
              <a:gd name="connsiteY14617" fmla="*/ 1065646 h 5217112"/>
              <a:gd name="connsiteX14618" fmla="*/ 6210620 w 6785952"/>
              <a:gd name="connsiteY14618" fmla="*/ 1058999 h 5217112"/>
              <a:gd name="connsiteX14619" fmla="*/ 6206224 w 6785952"/>
              <a:gd name="connsiteY14619" fmla="*/ 1052134 h 5217112"/>
              <a:gd name="connsiteX14620" fmla="*/ 6204851 w 6785952"/>
              <a:gd name="connsiteY14620" fmla="*/ 1053550 h 5217112"/>
              <a:gd name="connsiteX14621" fmla="*/ 6203478 w 6785952"/>
              <a:gd name="connsiteY14621" fmla="*/ 1052134 h 5217112"/>
              <a:gd name="connsiteX14622" fmla="*/ 6197984 w 6785952"/>
              <a:gd name="connsiteY14622" fmla="*/ 1040691 h 5217112"/>
              <a:gd name="connsiteX14623" fmla="*/ 6197984 w 6785952"/>
              <a:gd name="connsiteY14623" fmla="*/ 1041781 h 5217112"/>
              <a:gd name="connsiteX14624" fmla="*/ 6190567 w 6785952"/>
              <a:gd name="connsiteY14624" fmla="*/ 1047884 h 5217112"/>
              <a:gd name="connsiteX14625" fmla="*/ 6192490 w 6785952"/>
              <a:gd name="connsiteY14625" fmla="*/ 1041127 h 5217112"/>
              <a:gd name="connsiteX14626" fmla="*/ 6195512 w 6785952"/>
              <a:gd name="connsiteY14626" fmla="*/ 1035788 h 5217112"/>
              <a:gd name="connsiteX14627" fmla="*/ 6191941 w 6785952"/>
              <a:gd name="connsiteY14627" fmla="*/ 1030339 h 5217112"/>
              <a:gd name="connsiteX14628" fmla="*/ 6176283 w 6785952"/>
              <a:gd name="connsiteY14628" fmla="*/ 1020641 h 5217112"/>
              <a:gd name="connsiteX14629" fmla="*/ 6171888 w 6785952"/>
              <a:gd name="connsiteY14629" fmla="*/ 1027615 h 5217112"/>
              <a:gd name="connsiteX14630" fmla="*/ 6166120 w 6785952"/>
              <a:gd name="connsiteY14630" fmla="*/ 1017916 h 5217112"/>
              <a:gd name="connsiteX14631" fmla="*/ 6174910 w 6785952"/>
              <a:gd name="connsiteY14631" fmla="*/ 1019224 h 5217112"/>
              <a:gd name="connsiteX14632" fmla="*/ 6167493 w 6785952"/>
              <a:gd name="connsiteY14632" fmla="*/ 1004186 h 5217112"/>
              <a:gd name="connsiteX14633" fmla="*/ 6171888 w 6785952"/>
              <a:gd name="connsiteY14633" fmla="*/ 1005602 h 5217112"/>
              <a:gd name="connsiteX14634" fmla="*/ 6171888 w 6785952"/>
              <a:gd name="connsiteY14634" fmla="*/ 1004186 h 5217112"/>
              <a:gd name="connsiteX14635" fmla="*/ 6171888 w 6785952"/>
              <a:gd name="connsiteY14635" fmla="*/ 1000154 h 5217112"/>
              <a:gd name="connsiteX14636" fmla="*/ 6176283 w 6785952"/>
              <a:gd name="connsiteY14636" fmla="*/ 1002878 h 5217112"/>
              <a:gd name="connsiteX14637" fmla="*/ 6177657 w 6785952"/>
              <a:gd name="connsiteY14637" fmla="*/ 1005602 h 5217112"/>
              <a:gd name="connsiteX14638" fmla="*/ 6186172 w 6785952"/>
              <a:gd name="connsiteY14638" fmla="*/ 1019224 h 5217112"/>
              <a:gd name="connsiteX14639" fmla="*/ 6190567 w 6785952"/>
              <a:gd name="connsiteY14639" fmla="*/ 1008327 h 5217112"/>
              <a:gd name="connsiteX14640" fmla="*/ 6180404 w 6785952"/>
              <a:gd name="connsiteY14640" fmla="*/ 989148 h 5217112"/>
              <a:gd name="connsiteX14641" fmla="*/ 6179030 w 6785952"/>
              <a:gd name="connsiteY14641" fmla="*/ 987731 h 5217112"/>
              <a:gd name="connsiteX14642" fmla="*/ 6169141 w 6785952"/>
              <a:gd name="connsiteY14642" fmla="*/ 979558 h 5217112"/>
              <a:gd name="connsiteX14643" fmla="*/ 6174910 w 6785952"/>
              <a:gd name="connsiteY14643" fmla="*/ 993288 h 5217112"/>
              <a:gd name="connsiteX14644" fmla="*/ 6174910 w 6785952"/>
              <a:gd name="connsiteY14644" fmla="*/ 997430 h 5217112"/>
              <a:gd name="connsiteX14645" fmla="*/ 6170515 w 6785952"/>
              <a:gd name="connsiteY14645" fmla="*/ 994706 h 5217112"/>
              <a:gd name="connsiteX14646" fmla="*/ 6156230 w 6785952"/>
              <a:gd name="connsiteY14646" fmla="*/ 971385 h 5217112"/>
              <a:gd name="connsiteX14647" fmla="*/ 6148814 w 6785952"/>
              <a:gd name="connsiteY14647" fmla="*/ 960597 h 5217112"/>
              <a:gd name="connsiteX14648" fmla="*/ 6145242 w 6785952"/>
              <a:gd name="connsiteY14648" fmla="*/ 959289 h 5217112"/>
              <a:gd name="connsiteX14649" fmla="*/ 6144419 w 6785952"/>
              <a:gd name="connsiteY14649" fmla="*/ 962341 h 5217112"/>
              <a:gd name="connsiteX14650" fmla="*/ 6137826 w 6785952"/>
              <a:gd name="connsiteY14650" fmla="*/ 964411 h 5217112"/>
              <a:gd name="connsiteX14651" fmla="*/ 6137826 w 6785952"/>
              <a:gd name="connsiteY14651" fmla="*/ 962341 h 5217112"/>
              <a:gd name="connsiteX14652" fmla="*/ 6135628 w 6785952"/>
              <a:gd name="connsiteY14652" fmla="*/ 953840 h 5217112"/>
              <a:gd name="connsiteX14653" fmla="*/ 6143045 w 6785952"/>
              <a:gd name="connsiteY14653" fmla="*/ 953840 h 5217112"/>
              <a:gd name="connsiteX14654" fmla="*/ 6142771 w 6785952"/>
              <a:gd name="connsiteY14654" fmla="*/ 951443 h 5217112"/>
              <a:gd name="connsiteX14655" fmla="*/ 6142771 w 6785952"/>
              <a:gd name="connsiteY14655" fmla="*/ 951225 h 5217112"/>
              <a:gd name="connsiteX14656" fmla="*/ 6141671 w 6785952"/>
              <a:gd name="connsiteY14656" fmla="*/ 946648 h 5217112"/>
              <a:gd name="connsiteX14657" fmla="*/ 6138925 w 6785952"/>
              <a:gd name="connsiteY14657" fmla="*/ 942507 h 5217112"/>
              <a:gd name="connsiteX14658" fmla="*/ 6140298 w 6785952"/>
              <a:gd name="connsiteY14658" fmla="*/ 939783 h 5217112"/>
              <a:gd name="connsiteX14659" fmla="*/ 6143320 w 6785952"/>
              <a:gd name="connsiteY14659" fmla="*/ 941200 h 5217112"/>
              <a:gd name="connsiteX14660" fmla="*/ 6149088 w 6785952"/>
              <a:gd name="connsiteY14660" fmla="*/ 949808 h 5217112"/>
              <a:gd name="connsiteX14661" fmla="*/ 6154308 w 6785952"/>
              <a:gd name="connsiteY14661" fmla="*/ 952642 h 5217112"/>
              <a:gd name="connsiteX14662" fmla="*/ 6156230 w 6785952"/>
              <a:gd name="connsiteY14662" fmla="*/ 960597 h 5217112"/>
              <a:gd name="connsiteX14663" fmla="*/ 6156230 w 6785952"/>
              <a:gd name="connsiteY14663" fmla="*/ 960706 h 5217112"/>
              <a:gd name="connsiteX14664" fmla="*/ 6160351 w 6785952"/>
              <a:gd name="connsiteY14664" fmla="*/ 967244 h 5217112"/>
              <a:gd name="connsiteX14665" fmla="*/ 6166120 w 6785952"/>
              <a:gd name="connsiteY14665" fmla="*/ 976834 h 5217112"/>
              <a:gd name="connsiteX14666" fmla="*/ 6169141 w 6785952"/>
              <a:gd name="connsiteY14666" fmla="*/ 972693 h 5217112"/>
              <a:gd name="connsiteX14667" fmla="*/ 6161999 w 6785952"/>
              <a:gd name="connsiteY14667" fmla="*/ 956238 h 5217112"/>
              <a:gd name="connsiteX14668" fmla="*/ 6160351 w 6785952"/>
              <a:gd name="connsiteY14668" fmla="*/ 954821 h 5217112"/>
              <a:gd name="connsiteX14669" fmla="*/ 6147715 w 6785952"/>
              <a:gd name="connsiteY14669" fmla="*/ 938475 h 5217112"/>
              <a:gd name="connsiteX14670" fmla="*/ 6137551 w 6785952"/>
              <a:gd name="connsiteY14670" fmla="*/ 930302 h 5217112"/>
              <a:gd name="connsiteX14671" fmla="*/ 6126014 w 6785952"/>
              <a:gd name="connsiteY14671" fmla="*/ 912430 h 5217112"/>
              <a:gd name="connsiteX14672" fmla="*/ 6114476 w 6785952"/>
              <a:gd name="connsiteY14672" fmla="*/ 901425 h 5217112"/>
              <a:gd name="connsiteX14673" fmla="*/ 6118872 w 6785952"/>
              <a:gd name="connsiteY14673" fmla="*/ 906873 h 5217112"/>
              <a:gd name="connsiteX14674" fmla="*/ 6118872 w 6785952"/>
              <a:gd name="connsiteY14674" fmla="*/ 909706 h 5217112"/>
              <a:gd name="connsiteX14675" fmla="*/ 6116125 w 6785952"/>
              <a:gd name="connsiteY14675" fmla="*/ 909706 h 5217112"/>
              <a:gd name="connsiteX14676" fmla="*/ 6114476 w 6785952"/>
              <a:gd name="connsiteY14676" fmla="*/ 906873 h 5217112"/>
              <a:gd name="connsiteX14677" fmla="*/ 6110082 w 6785952"/>
              <a:gd name="connsiteY14677" fmla="*/ 901425 h 5217112"/>
              <a:gd name="connsiteX14678" fmla="*/ 6108708 w 6785952"/>
              <a:gd name="connsiteY14678" fmla="*/ 900117 h 5217112"/>
              <a:gd name="connsiteX14679" fmla="*/ 6111730 w 6785952"/>
              <a:gd name="connsiteY14679" fmla="*/ 908290 h 5217112"/>
              <a:gd name="connsiteX14680" fmla="*/ 6105961 w 6785952"/>
              <a:gd name="connsiteY14680" fmla="*/ 902841 h 5217112"/>
              <a:gd name="connsiteX14681" fmla="*/ 6105137 w 6785952"/>
              <a:gd name="connsiteY14681" fmla="*/ 903168 h 5217112"/>
              <a:gd name="connsiteX14682" fmla="*/ 6103214 w 6785952"/>
              <a:gd name="connsiteY14682" fmla="*/ 905565 h 5217112"/>
              <a:gd name="connsiteX14683" fmla="*/ 6103214 w 6785952"/>
              <a:gd name="connsiteY14683" fmla="*/ 911014 h 5217112"/>
              <a:gd name="connsiteX14684" fmla="*/ 6107335 w 6785952"/>
              <a:gd name="connsiteY14684" fmla="*/ 915155 h 5217112"/>
              <a:gd name="connsiteX14685" fmla="*/ 6111730 w 6785952"/>
              <a:gd name="connsiteY14685" fmla="*/ 917879 h 5217112"/>
              <a:gd name="connsiteX14686" fmla="*/ 6123267 w 6785952"/>
              <a:gd name="connsiteY14686" fmla="*/ 934334 h 5217112"/>
              <a:gd name="connsiteX14687" fmla="*/ 6121619 w 6785952"/>
              <a:gd name="connsiteY14687" fmla="*/ 937059 h 5217112"/>
              <a:gd name="connsiteX14688" fmla="*/ 6118872 w 6785952"/>
              <a:gd name="connsiteY14688" fmla="*/ 934334 h 5217112"/>
              <a:gd name="connsiteX14689" fmla="*/ 6110082 w 6785952"/>
              <a:gd name="connsiteY14689" fmla="*/ 921911 h 5217112"/>
              <a:gd name="connsiteX14690" fmla="*/ 6100193 w 6785952"/>
              <a:gd name="connsiteY14690" fmla="*/ 912430 h 5217112"/>
              <a:gd name="connsiteX14691" fmla="*/ 6098819 w 6785952"/>
              <a:gd name="connsiteY14691" fmla="*/ 912430 h 5217112"/>
              <a:gd name="connsiteX14692" fmla="*/ 6094424 w 6785952"/>
              <a:gd name="connsiteY14692" fmla="*/ 911014 h 5217112"/>
              <a:gd name="connsiteX14693" fmla="*/ 6094424 w 6785952"/>
              <a:gd name="connsiteY14693" fmla="*/ 907091 h 5217112"/>
              <a:gd name="connsiteX14694" fmla="*/ 6092501 w 6785952"/>
              <a:gd name="connsiteY14694" fmla="*/ 907418 h 5217112"/>
              <a:gd name="connsiteX14695" fmla="*/ 6086732 w 6785952"/>
              <a:gd name="connsiteY14695" fmla="*/ 905020 h 5217112"/>
              <a:gd name="connsiteX14696" fmla="*/ 6083436 w 6785952"/>
              <a:gd name="connsiteY14696" fmla="*/ 892815 h 5217112"/>
              <a:gd name="connsiteX14697" fmla="*/ 6087556 w 6785952"/>
              <a:gd name="connsiteY14697" fmla="*/ 887476 h 5217112"/>
              <a:gd name="connsiteX14698" fmla="*/ 6085908 w 6785952"/>
              <a:gd name="connsiteY14698" fmla="*/ 884969 h 5217112"/>
              <a:gd name="connsiteX14699" fmla="*/ 6084535 w 6785952"/>
              <a:gd name="connsiteY14699" fmla="*/ 882245 h 5217112"/>
              <a:gd name="connsiteX14700" fmla="*/ 6081513 w 6785952"/>
              <a:gd name="connsiteY14700" fmla="*/ 882245 h 5217112"/>
              <a:gd name="connsiteX14701" fmla="*/ 6080140 w 6785952"/>
              <a:gd name="connsiteY14701" fmla="*/ 883553 h 5217112"/>
              <a:gd name="connsiteX14702" fmla="*/ 6080140 w 6785952"/>
              <a:gd name="connsiteY14702" fmla="*/ 882245 h 5217112"/>
              <a:gd name="connsiteX14703" fmla="*/ 6068603 w 6785952"/>
              <a:gd name="connsiteY14703" fmla="*/ 879521 h 5217112"/>
              <a:gd name="connsiteX14704" fmla="*/ 6069976 w 6785952"/>
              <a:gd name="connsiteY14704" fmla="*/ 874072 h 5217112"/>
              <a:gd name="connsiteX14705" fmla="*/ 6069976 w 6785952"/>
              <a:gd name="connsiteY14705" fmla="*/ 872655 h 5217112"/>
              <a:gd name="connsiteX14706" fmla="*/ 6064482 w 6785952"/>
              <a:gd name="connsiteY14706" fmla="*/ 867751 h 5217112"/>
              <a:gd name="connsiteX14707" fmla="*/ 6064482 w 6785952"/>
              <a:gd name="connsiteY14707" fmla="*/ 867207 h 5217112"/>
              <a:gd name="connsiteX14708" fmla="*/ 6064482 w 6785952"/>
              <a:gd name="connsiteY14708" fmla="*/ 866989 h 5217112"/>
              <a:gd name="connsiteX14709" fmla="*/ 6064757 w 6785952"/>
              <a:gd name="connsiteY14709" fmla="*/ 866771 h 5217112"/>
              <a:gd name="connsiteX14710" fmla="*/ 6068603 w 6785952"/>
              <a:gd name="connsiteY14710" fmla="*/ 869931 h 5217112"/>
              <a:gd name="connsiteX14711" fmla="*/ 6069976 w 6785952"/>
              <a:gd name="connsiteY14711" fmla="*/ 869931 h 5217112"/>
              <a:gd name="connsiteX14712" fmla="*/ 6067229 w 6785952"/>
              <a:gd name="connsiteY14712" fmla="*/ 864482 h 5217112"/>
              <a:gd name="connsiteX14713" fmla="*/ 6067229 w 6785952"/>
              <a:gd name="connsiteY14713" fmla="*/ 860341 h 5217112"/>
              <a:gd name="connsiteX14714" fmla="*/ 6071624 w 6785952"/>
              <a:gd name="connsiteY14714" fmla="*/ 861758 h 5217112"/>
              <a:gd name="connsiteX14715" fmla="*/ 6075744 w 6785952"/>
              <a:gd name="connsiteY14715" fmla="*/ 867207 h 5217112"/>
              <a:gd name="connsiteX14716" fmla="*/ 6078767 w 6785952"/>
              <a:gd name="connsiteY14716" fmla="*/ 872655 h 5217112"/>
              <a:gd name="connsiteX14717" fmla="*/ 6080140 w 6785952"/>
              <a:gd name="connsiteY14717" fmla="*/ 871348 h 5217112"/>
              <a:gd name="connsiteX14718" fmla="*/ 6080140 w 6785952"/>
              <a:gd name="connsiteY14718" fmla="*/ 872655 h 5217112"/>
              <a:gd name="connsiteX14719" fmla="*/ 6084535 w 6785952"/>
              <a:gd name="connsiteY14719" fmla="*/ 875380 h 5217112"/>
              <a:gd name="connsiteX14720" fmla="*/ 6093050 w 6785952"/>
              <a:gd name="connsiteY14720" fmla="*/ 872655 h 5217112"/>
              <a:gd name="connsiteX14721" fmla="*/ 6095798 w 6785952"/>
              <a:gd name="connsiteY14721" fmla="*/ 868624 h 5217112"/>
              <a:gd name="connsiteX14722" fmla="*/ 6095798 w 6785952"/>
              <a:gd name="connsiteY14722" fmla="*/ 867207 h 5217112"/>
              <a:gd name="connsiteX14723" fmla="*/ 6093050 w 6785952"/>
              <a:gd name="connsiteY14723" fmla="*/ 864482 h 5217112"/>
              <a:gd name="connsiteX14724" fmla="*/ 6091677 w 6785952"/>
              <a:gd name="connsiteY14724" fmla="*/ 864482 h 5217112"/>
              <a:gd name="connsiteX14725" fmla="*/ 6093050 w 6785952"/>
              <a:gd name="connsiteY14725" fmla="*/ 863066 h 5217112"/>
              <a:gd name="connsiteX14726" fmla="*/ 6094424 w 6785952"/>
              <a:gd name="connsiteY14726" fmla="*/ 863066 h 5217112"/>
              <a:gd name="connsiteX14727" fmla="*/ 6097171 w 6785952"/>
              <a:gd name="connsiteY14727" fmla="*/ 865790 h 5217112"/>
              <a:gd name="connsiteX14728" fmla="*/ 6101566 w 6785952"/>
              <a:gd name="connsiteY14728" fmla="*/ 865790 h 5217112"/>
              <a:gd name="connsiteX14729" fmla="*/ 6098819 w 6785952"/>
              <a:gd name="connsiteY14729" fmla="*/ 861758 h 5217112"/>
              <a:gd name="connsiteX14730" fmla="*/ 6094424 w 6785952"/>
              <a:gd name="connsiteY14730" fmla="*/ 856201 h 5217112"/>
              <a:gd name="connsiteX14731" fmla="*/ 6074371 w 6785952"/>
              <a:gd name="connsiteY14731" fmla="*/ 841162 h 5217112"/>
              <a:gd name="connsiteX14732" fmla="*/ 6052945 w 6785952"/>
              <a:gd name="connsiteY14732" fmla="*/ 820566 h 5217112"/>
              <a:gd name="connsiteX14733" fmla="*/ 6040035 w 6785952"/>
              <a:gd name="connsiteY14733" fmla="*/ 819149 h 5217112"/>
              <a:gd name="connsiteX14734" fmla="*/ 2708260 w 6785952"/>
              <a:gd name="connsiteY14734" fmla="*/ 818060 h 5217112"/>
              <a:gd name="connsiteX14735" fmla="*/ 2714304 w 6785952"/>
              <a:gd name="connsiteY14735" fmla="*/ 819041 h 5217112"/>
              <a:gd name="connsiteX14736" fmla="*/ 2714578 w 6785952"/>
              <a:gd name="connsiteY14736" fmla="*/ 821002 h 5217112"/>
              <a:gd name="connsiteX14737" fmla="*/ 2720622 w 6785952"/>
              <a:gd name="connsiteY14737" fmla="*/ 821221 h 5217112"/>
              <a:gd name="connsiteX14738" fmla="*/ 2723094 w 6785952"/>
              <a:gd name="connsiteY14738" fmla="*/ 835605 h 5217112"/>
              <a:gd name="connsiteX14739" fmla="*/ 2699745 w 6785952"/>
              <a:gd name="connsiteY14739" fmla="*/ 851623 h 5217112"/>
              <a:gd name="connsiteX14740" fmla="*/ 2699470 w 6785952"/>
              <a:gd name="connsiteY14740" fmla="*/ 850316 h 5217112"/>
              <a:gd name="connsiteX14741" fmla="*/ 2691778 w 6785952"/>
              <a:gd name="connsiteY14741" fmla="*/ 856091 h 5217112"/>
              <a:gd name="connsiteX14742" fmla="*/ 2685186 w 6785952"/>
              <a:gd name="connsiteY14742" fmla="*/ 847483 h 5217112"/>
              <a:gd name="connsiteX14743" fmla="*/ 2684637 w 6785952"/>
              <a:gd name="connsiteY14743" fmla="*/ 843778 h 5217112"/>
              <a:gd name="connsiteX14744" fmla="*/ 2682164 w 6785952"/>
              <a:gd name="connsiteY14744" fmla="*/ 843015 h 5217112"/>
              <a:gd name="connsiteX14745" fmla="*/ 2681340 w 6785952"/>
              <a:gd name="connsiteY14745" fmla="*/ 828522 h 5217112"/>
              <a:gd name="connsiteX14746" fmla="*/ 2685186 w 6785952"/>
              <a:gd name="connsiteY14746" fmla="*/ 825797 h 5217112"/>
              <a:gd name="connsiteX14747" fmla="*/ 2685735 w 6785952"/>
              <a:gd name="connsiteY14747" fmla="*/ 824381 h 5217112"/>
              <a:gd name="connsiteX14748" fmla="*/ 2689307 w 6785952"/>
              <a:gd name="connsiteY14748" fmla="*/ 823509 h 5217112"/>
              <a:gd name="connsiteX14749" fmla="*/ 2692328 w 6785952"/>
              <a:gd name="connsiteY14749" fmla="*/ 825797 h 5217112"/>
              <a:gd name="connsiteX14750" fmla="*/ 2692602 w 6785952"/>
              <a:gd name="connsiteY14750" fmla="*/ 826015 h 5217112"/>
              <a:gd name="connsiteX14751" fmla="*/ 2695350 w 6785952"/>
              <a:gd name="connsiteY14751" fmla="*/ 826560 h 5217112"/>
              <a:gd name="connsiteX14752" fmla="*/ 2696174 w 6785952"/>
              <a:gd name="connsiteY14752" fmla="*/ 828848 h 5217112"/>
              <a:gd name="connsiteX14753" fmla="*/ 2700294 w 6785952"/>
              <a:gd name="connsiteY14753" fmla="*/ 828085 h 5217112"/>
              <a:gd name="connsiteX14754" fmla="*/ 2705514 w 6785952"/>
              <a:gd name="connsiteY14754" fmla="*/ 824381 h 5217112"/>
              <a:gd name="connsiteX14755" fmla="*/ 2706612 w 6785952"/>
              <a:gd name="connsiteY14755" fmla="*/ 823727 h 5217112"/>
              <a:gd name="connsiteX14756" fmla="*/ 2745619 w 6785952"/>
              <a:gd name="connsiteY14756" fmla="*/ 817951 h 5217112"/>
              <a:gd name="connsiteX14757" fmla="*/ 2745619 w 6785952"/>
              <a:gd name="connsiteY14757" fmla="*/ 858162 h 5217112"/>
              <a:gd name="connsiteX14758" fmla="*/ 2739026 w 6785952"/>
              <a:gd name="connsiteY14758" fmla="*/ 823617 h 5217112"/>
              <a:gd name="connsiteX14759" fmla="*/ 2745619 w 6785952"/>
              <a:gd name="connsiteY14759" fmla="*/ 817951 h 5217112"/>
              <a:gd name="connsiteX14760" fmla="*/ 1306492 w 6785952"/>
              <a:gd name="connsiteY14760" fmla="*/ 817951 h 5217112"/>
              <a:gd name="connsiteX14761" fmla="*/ 1315009 w 6785952"/>
              <a:gd name="connsiteY14761" fmla="*/ 819368 h 5217112"/>
              <a:gd name="connsiteX14762" fmla="*/ 1310339 w 6785952"/>
              <a:gd name="connsiteY14762" fmla="*/ 828958 h 5217112"/>
              <a:gd name="connsiteX14763" fmla="*/ 1307591 w 6785952"/>
              <a:gd name="connsiteY14763" fmla="*/ 826996 h 5217112"/>
              <a:gd name="connsiteX14764" fmla="*/ 1305394 w 6785952"/>
              <a:gd name="connsiteY14764" fmla="*/ 822201 h 5217112"/>
              <a:gd name="connsiteX14765" fmla="*/ 1306492 w 6785952"/>
              <a:gd name="connsiteY14765" fmla="*/ 817951 h 5217112"/>
              <a:gd name="connsiteX14766" fmla="*/ 1102321 w 6785952"/>
              <a:gd name="connsiteY14766" fmla="*/ 817055 h 5217112"/>
              <a:gd name="connsiteX14767" fmla="*/ 1127391 w 6785952"/>
              <a:gd name="connsiteY14767" fmla="*/ 843015 h 5217112"/>
              <a:gd name="connsiteX14768" fmla="*/ 1120799 w 6785952"/>
              <a:gd name="connsiteY14768" fmla="*/ 838874 h 5217112"/>
              <a:gd name="connsiteX14769" fmla="*/ 1119975 w 6785952"/>
              <a:gd name="connsiteY14769" fmla="*/ 842252 h 5217112"/>
              <a:gd name="connsiteX14770" fmla="*/ 1111459 w 6785952"/>
              <a:gd name="connsiteY14770" fmla="*/ 846175 h 5217112"/>
              <a:gd name="connsiteX14771" fmla="*/ 1108163 w 6785952"/>
              <a:gd name="connsiteY14771" fmla="*/ 844650 h 5217112"/>
              <a:gd name="connsiteX14772" fmla="*/ 1107064 w 6785952"/>
              <a:gd name="connsiteY14772" fmla="*/ 841598 h 5217112"/>
              <a:gd name="connsiteX14773" fmla="*/ 1106240 w 6785952"/>
              <a:gd name="connsiteY14773" fmla="*/ 837784 h 5217112"/>
              <a:gd name="connsiteX14774" fmla="*/ 1108163 w 6785952"/>
              <a:gd name="connsiteY14774" fmla="*/ 832445 h 5217112"/>
              <a:gd name="connsiteX14775" fmla="*/ 1099372 w 6785952"/>
              <a:gd name="connsiteY14775" fmla="*/ 827431 h 5217112"/>
              <a:gd name="connsiteX14776" fmla="*/ 1090582 w 6785952"/>
              <a:gd name="connsiteY14776" fmla="*/ 818823 h 5217112"/>
              <a:gd name="connsiteX14777" fmla="*/ 1102321 w 6785952"/>
              <a:gd name="connsiteY14777" fmla="*/ 817055 h 5217112"/>
              <a:gd name="connsiteX14778" fmla="*/ 2439884 w 6785952"/>
              <a:gd name="connsiteY14778" fmla="*/ 816970 h 5217112"/>
              <a:gd name="connsiteX14779" fmla="*/ 2446751 w 6785952"/>
              <a:gd name="connsiteY14779" fmla="*/ 818169 h 5217112"/>
              <a:gd name="connsiteX14780" fmla="*/ 2448948 w 6785952"/>
              <a:gd name="connsiteY14780" fmla="*/ 830483 h 5217112"/>
              <a:gd name="connsiteX14781" fmla="*/ 2450871 w 6785952"/>
              <a:gd name="connsiteY14781" fmla="*/ 838329 h 5217112"/>
              <a:gd name="connsiteX14782" fmla="*/ 2446201 w 6785952"/>
              <a:gd name="connsiteY14782" fmla="*/ 828630 h 5217112"/>
              <a:gd name="connsiteX14783" fmla="*/ 2442081 w 6785952"/>
              <a:gd name="connsiteY14783" fmla="*/ 826451 h 5217112"/>
              <a:gd name="connsiteX14784" fmla="*/ 2439884 w 6785952"/>
              <a:gd name="connsiteY14784" fmla="*/ 816970 h 5217112"/>
              <a:gd name="connsiteX14785" fmla="*/ 1629809 w 6785952"/>
              <a:gd name="connsiteY14785" fmla="*/ 816753 h 5217112"/>
              <a:gd name="connsiteX14786" fmla="*/ 1646290 w 6785952"/>
              <a:gd name="connsiteY14786" fmla="*/ 828630 h 5217112"/>
              <a:gd name="connsiteX14787" fmla="*/ 1653432 w 6785952"/>
              <a:gd name="connsiteY14787" fmla="*/ 830483 h 5217112"/>
              <a:gd name="connsiteX14788" fmla="*/ 1653981 w 6785952"/>
              <a:gd name="connsiteY14788" fmla="*/ 829067 h 5217112"/>
              <a:gd name="connsiteX14789" fmla="*/ 1653432 w 6785952"/>
              <a:gd name="connsiteY14789" fmla="*/ 828848 h 5217112"/>
              <a:gd name="connsiteX14790" fmla="*/ 1660299 w 6785952"/>
              <a:gd name="connsiteY14790" fmla="*/ 820239 h 5217112"/>
              <a:gd name="connsiteX14791" fmla="*/ 1665519 w 6785952"/>
              <a:gd name="connsiteY14791" fmla="*/ 833752 h 5217112"/>
              <a:gd name="connsiteX14792" fmla="*/ 1665519 w 6785952"/>
              <a:gd name="connsiteY14792" fmla="*/ 834624 h 5217112"/>
              <a:gd name="connsiteX14793" fmla="*/ 1669914 w 6785952"/>
              <a:gd name="connsiteY14793" fmla="*/ 838002 h 5217112"/>
              <a:gd name="connsiteX14794" fmla="*/ 1673485 w 6785952"/>
              <a:gd name="connsiteY14794" fmla="*/ 843887 h 5217112"/>
              <a:gd name="connsiteX14795" fmla="*/ 1674859 w 6785952"/>
              <a:gd name="connsiteY14795" fmla="*/ 851842 h 5217112"/>
              <a:gd name="connsiteX14796" fmla="*/ 1678430 w 6785952"/>
              <a:gd name="connsiteY14796" fmla="*/ 852822 h 5217112"/>
              <a:gd name="connsiteX14797" fmla="*/ 1671012 w 6785952"/>
              <a:gd name="connsiteY14797" fmla="*/ 873637 h 5217112"/>
              <a:gd name="connsiteX14798" fmla="*/ 1670189 w 6785952"/>
              <a:gd name="connsiteY14798" fmla="*/ 873200 h 5217112"/>
              <a:gd name="connsiteX14799" fmla="*/ 1664694 w 6785952"/>
              <a:gd name="connsiteY14799" fmla="*/ 880284 h 5217112"/>
              <a:gd name="connsiteX14800" fmla="*/ 1641895 w 6785952"/>
              <a:gd name="connsiteY14800" fmla="*/ 891181 h 5217112"/>
              <a:gd name="connsiteX14801" fmla="*/ 1614975 w 6785952"/>
              <a:gd name="connsiteY14801" fmla="*/ 868515 h 5217112"/>
              <a:gd name="connsiteX14802" fmla="*/ 1615524 w 6785952"/>
              <a:gd name="connsiteY14802" fmla="*/ 861649 h 5217112"/>
              <a:gd name="connsiteX14803" fmla="*/ 1614975 w 6785952"/>
              <a:gd name="connsiteY14803" fmla="*/ 861432 h 5217112"/>
              <a:gd name="connsiteX14804" fmla="*/ 1615524 w 6785952"/>
              <a:gd name="connsiteY14804" fmla="*/ 858707 h 5217112"/>
              <a:gd name="connsiteX14805" fmla="*/ 1615799 w 6785952"/>
              <a:gd name="connsiteY14805" fmla="*/ 856419 h 5217112"/>
              <a:gd name="connsiteX14806" fmla="*/ 1629809 w 6785952"/>
              <a:gd name="connsiteY14806" fmla="*/ 816753 h 5217112"/>
              <a:gd name="connsiteX14807" fmla="*/ 1534940 w 6785952"/>
              <a:gd name="connsiteY14807" fmla="*/ 816623 h 5217112"/>
              <a:gd name="connsiteX14808" fmla="*/ 1585583 w 6785952"/>
              <a:gd name="connsiteY14808" fmla="*/ 839854 h 5217112"/>
              <a:gd name="connsiteX14809" fmla="*/ 1575969 w 6785952"/>
              <a:gd name="connsiteY14809" fmla="*/ 853912 h 5217112"/>
              <a:gd name="connsiteX14810" fmla="*/ 1534764 w 6785952"/>
              <a:gd name="connsiteY14810" fmla="*/ 829067 h 5217112"/>
              <a:gd name="connsiteX14811" fmla="*/ 1539433 w 6785952"/>
              <a:gd name="connsiteY14811" fmla="*/ 844650 h 5217112"/>
              <a:gd name="connsiteX14812" fmla="*/ 1534489 w 6785952"/>
              <a:gd name="connsiteY14812" fmla="*/ 828848 h 5217112"/>
              <a:gd name="connsiteX14813" fmla="*/ 1517458 w 6785952"/>
              <a:gd name="connsiteY14813" fmla="*/ 817515 h 5217112"/>
              <a:gd name="connsiteX14814" fmla="*/ 1534940 w 6785952"/>
              <a:gd name="connsiteY14814" fmla="*/ 816623 h 5217112"/>
              <a:gd name="connsiteX14815" fmla="*/ 6166120 w 6785952"/>
              <a:gd name="connsiteY14815" fmla="*/ 815009 h 5217112"/>
              <a:gd name="connsiteX14816" fmla="*/ 6196611 w 6785952"/>
              <a:gd name="connsiteY14816" fmla="*/ 830592 h 5217112"/>
              <a:gd name="connsiteX14817" fmla="*/ 6196336 w 6785952"/>
              <a:gd name="connsiteY14817" fmla="*/ 831028 h 5217112"/>
              <a:gd name="connsiteX14818" fmla="*/ 6197984 w 6785952"/>
              <a:gd name="connsiteY14818" fmla="*/ 832336 h 5217112"/>
              <a:gd name="connsiteX14819" fmla="*/ 6202105 w 6785952"/>
              <a:gd name="connsiteY14819" fmla="*/ 835386 h 5217112"/>
              <a:gd name="connsiteX14820" fmla="*/ 6191117 w 6785952"/>
              <a:gd name="connsiteY14820" fmla="*/ 841162 h 5217112"/>
              <a:gd name="connsiteX14821" fmla="*/ 6189468 w 6785952"/>
              <a:gd name="connsiteY14821" fmla="*/ 841053 h 5217112"/>
              <a:gd name="connsiteX14822" fmla="*/ 6184798 w 6785952"/>
              <a:gd name="connsiteY14822" fmla="*/ 847919 h 5217112"/>
              <a:gd name="connsiteX14823" fmla="*/ 6168317 w 6785952"/>
              <a:gd name="connsiteY14823" fmla="*/ 855002 h 5217112"/>
              <a:gd name="connsiteX14824" fmla="*/ 6156780 w 6785952"/>
              <a:gd name="connsiteY14824" fmla="*/ 852168 h 5217112"/>
              <a:gd name="connsiteX14825" fmla="*/ 6166120 w 6785952"/>
              <a:gd name="connsiteY14825" fmla="*/ 815009 h 5217112"/>
              <a:gd name="connsiteX14826" fmla="*/ 6498423 w 6785952"/>
              <a:gd name="connsiteY14826" fmla="*/ 810963 h 5217112"/>
              <a:gd name="connsiteX14827" fmla="*/ 6532288 w 6785952"/>
              <a:gd name="connsiteY14827" fmla="*/ 817951 h 5217112"/>
              <a:gd name="connsiteX14828" fmla="*/ 6444935 w 6785952"/>
              <a:gd name="connsiteY14828" fmla="*/ 847374 h 5217112"/>
              <a:gd name="connsiteX14829" fmla="*/ 6411971 w 6785952"/>
              <a:gd name="connsiteY14829" fmla="*/ 844431 h 5217112"/>
              <a:gd name="connsiteX14830" fmla="*/ 6498423 w 6785952"/>
              <a:gd name="connsiteY14830" fmla="*/ 810963 h 5217112"/>
              <a:gd name="connsiteX14831" fmla="*/ 2089098 w 6785952"/>
              <a:gd name="connsiteY14831" fmla="*/ 810759 h 5217112"/>
              <a:gd name="connsiteX14832" fmla="*/ 2096790 w 6785952"/>
              <a:gd name="connsiteY14832" fmla="*/ 814464 h 5217112"/>
              <a:gd name="connsiteX14833" fmla="*/ 2069595 w 6785952"/>
              <a:gd name="connsiteY14833" fmla="*/ 834733 h 5217112"/>
              <a:gd name="connsiteX14834" fmla="*/ 2060255 w 6785952"/>
              <a:gd name="connsiteY14834" fmla="*/ 830809 h 5217112"/>
              <a:gd name="connsiteX14835" fmla="*/ 2089098 w 6785952"/>
              <a:gd name="connsiteY14835" fmla="*/ 810759 h 5217112"/>
              <a:gd name="connsiteX14836" fmla="*/ 4470428 w 6785952"/>
              <a:gd name="connsiteY14836" fmla="*/ 810227 h 5217112"/>
              <a:gd name="connsiteX14837" fmla="*/ 4474273 w 6785952"/>
              <a:gd name="connsiteY14837" fmla="*/ 811303 h 5217112"/>
              <a:gd name="connsiteX14838" fmla="*/ 4469054 w 6785952"/>
              <a:gd name="connsiteY14838" fmla="*/ 818169 h 5217112"/>
              <a:gd name="connsiteX14839" fmla="*/ 4465758 w 6785952"/>
              <a:gd name="connsiteY14839" fmla="*/ 813483 h 5217112"/>
              <a:gd name="connsiteX14840" fmla="*/ 4470428 w 6785952"/>
              <a:gd name="connsiteY14840" fmla="*/ 810227 h 5217112"/>
              <a:gd name="connsiteX14841" fmla="*/ 1461970 w 6785952"/>
              <a:gd name="connsiteY14841" fmla="*/ 808688 h 5217112"/>
              <a:gd name="connsiteX14842" fmla="*/ 1475705 w 6785952"/>
              <a:gd name="connsiteY14842" fmla="*/ 818387 h 5217112"/>
              <a:gd name="connsiteX14843" fmla="*/ 1463069 w 6785952"/>
              <a:gd name="connsiteY14843" fmla="*/ 812720 h 5217112"/>
              <a:gd name="connsiteX14844" fmla="*/ 1461970 w 6785952"/>
              <a:gd name="connsiteY14844" fmla="*/ 808688 h 5217112"/>
              <a:gd name="connsiteX14845" fmla="*/ 2253915 w 6785952"/>
              <a:gd name="connsiteY14845" fmla="*/ 808143 h 5217112"/>
              <a:gd name="connsiteX14846" fmla="*/ 2255289 w 6785952"/>
              <a:gd name="connsiteY14846" fmla="*/ 830047 h 5217112"/>
              <a:gd name="connsiteX14847" fmla="*/ 2252816 w 6785952"/>
              <a:gd name="connsiteY14847" fmla="*/ 826560 h 5217112"/>
              <a:gd name="connsiteX14848" fmla="*/ 2253915 w 6785952"/>
              <a:gd name="connsiteY14848" fmla="*/ 808143 h 5217112"/>
              <a:gd name="connsiteX14849" fmla="*/ 2142938 w 6785952"/>
              <a:gd name="connsiteY14849" fmla="*/ 807925 h 5217112"/>
              <a:gd name="connsiteX14850" fmla="*/ 2147608 w 6785952"/>
              <a:gd name="connsiteY14850" fmla="*/ 812285 h 5217112"/>
              <a:gd name="connsiteX14851" fmla="*/ 2143762 w 6785952"/>
              <a:gd name="connsiteY14851" fmla="*/ 815336 h 5217112"/>
              <a:gd name="connsiteX14852" fmla="*/ 2141565 w 6785952"/>
              <a:gd name="connsiteY14852" fmla="*/ 811195 h 5217112"/>
              <a:gd name="connsiteX14853" fmla="*/ 2142938 w 6785952"/>
              <a:gd name="connsiteY14853" fmla="*/ 807925 h 5217112"/>
              <a:gd name="connsiteX14854" fmla="*/ 1723479 w 6785952"/>
              <a:gd name="connsiteY14854" fmla="*/ 807272 h 5217112"/>
              <a:gd name="connsiteX14855" fmla="*/ 1727600 w 6785952"/>
              <a:gd name="connsiteY14855" fmla="*/ 814791 h 5217112"/>
              <a:gd name="connsiteX14856" fmla="*/ 1721831 w 6785952"/>
              <a:gd name="connsiteY14856" fmla="*/ 815989 h 5217112"/>
              <a:gd name="connsiteX14857" fmla="*/ 1723479 w 6785952"/>
              <a:gd name="connsiteY14857" fmla="*/ 807272 h 5217112"/>
              <a:gd name="connsiteX14858" fmla="*/ 920718 w 6785952"/>
              <a:gd name="connsiteY14858" fmla="*/ 807054 h 5217112"/>
              <a:gd name="connsiteX14859" fmla="*/ 929062 w 6785952"/>
              <a:gd name="connsiteY14859" fmla="*/ 812830 h 5217112"/>
              <a:gd name="connsiteX14860" fmla="*/ 918349 w 6785952"/>
              <a:gd name="connsiteY14860" fmla="*/ 812611 h 5217112"/>
              <a:gd name="connsiteX14861" fmla="*/ 911757 w 6785952"/>
              <a:gd name="connsiteY14861" fmla="*/ 809124 h 5217112"/>
              <a:gd name="connsiteX14862" fmla="*/ 920718 w 6785952"/>
              <a:gd name="connsiteY14862" fmla="*/ 807054 h 5217112"/>
              <a:gd name="connsiteX14863" fmla="*/ 2585747 w 6785952"/>
              <a:gd name="connsiteY14863" fmla="*/ 806727 h 5217112"/>
              <a:gd name="connsiteX14864" fmla="*/ 2592614 w 6785952"/>
              <a:gd name="connsiteY14864" fmla="*/ 811740 h 5217112"/>
              <a:gd name="connsiteX14865" fmla="*/ 2588218 w 6785952"/>
              <a:gd name="connsiteY14865" fmla="*/ 815554 h 5217112"/>
              <a:gd name="connsiteX14866" fmla="*/ 2583274 w 6785952"/>
              <a:gd name="connsiteY14866" fmla="*/ 813483 h 5217112"/>
              <a:gd name="connsiteX14867" fmla="*/ 2585747 w 6785952"/>
              <a:gd name="connsiteY14867" fmla="*/ 806727 h 5217112"/>
              <a:gd name="connsiteX14868" fmla="*/ 2630522 w 6785952"/>
              <a:gd name="connsiteY14868" fmla="*/ 805964 h 5217112"/>
              <a:gd name="connsiteX14869" fmla="*/ 2621182 w 6785952"/>
              <a:gd name="connsiteY14869" fmla="*/ 816861 h 5217112"/>
              <a:gd name="connsiteX14870" fmla="*/ 2627774 w 6785952"/>
              <a:gd name="connsiteY14870" fmla="*/ 806400 h 5217112"/>
              <a:gd name="connsiteX14871" fmla="*/ 2630522 w 6785952"/>
              <a:gd name="connsiteY14871" fmla="*/ 805964 h 5217112"/>
              <a:gd name="connsiteX14872" fmla="*/ 1776496 w 6785952"/>
              <a:gd name="connsiteY14872" fmla="*/ 805855 h 5217112"/>
              <a:gd name="connsiteX14873" fmla="*/ 1783912 w 6785952"/>
              <a:gd name="connsiteY14873" fmla="*/ 806182 h 5217112"/>
              <a:gd name="connsiteX14874" fmla="*/ 1782539 w 6785952"/>
              <a:gd name="connsiteY14874" fmla="*/ 812066 h 5217112"/>
              <a:gd name="connsiteX14875" fmla="*/ 1778419 w 6785952"/>
              <a:gd name="connsiteY14875" fmla="*/ 813483 h 5217112"/>
              <a:gd name="connsiteX14876" fmla="*/ 1778144 w 6785952"/>
              <a:gd name="connsiteY14876" fmla="*/ 811957 h 5217112"/>
              <a:gd name="connsiteX14877" fmla="*/ 1776496 w 6785952"/>
              <a:gd name="connsiteY14877" fmla="*/ 805855 h 5217112"/>
              <a:gd name="connsiteX14878" fmla="*/ 2716501 w 6785952"/>
              <a:gd name="connsiteY14878" fmla="*/ 805746 h 5217112"/>
              <a:gd name="connsiteX14879" fmla="*/ 2720896 w 6785952"/>
              <a:gd name="connsiteY14879" fmla="*/ 808906 h 5217112"/>
              <a:gd name="connsiteX14880" fmla="*/ 2719522 w 6785952"/>
              <a:gd name="connsiteY14880" fmla="*/ 810323 h 5217112"/>
              <a:gd name="connsiteX14881" fmla="*/ 2721171 w 6785952"/>
              <a:gd name="connsiteY14881" fmla="*/ 810323 h 5217112"/>
              <a:gd name="connsiteX14882" fmla="*/ 2718973 w 6785952"/>
              <a:gd name="connsiteY14882" fmla="*/ 810759 h 5217112"/>
              <a:gd name="connsiteX14883" fmla="*/ 2718149 w 6785952"/>
              <a:gd name="connsiteY14883" fmla="*/ 810214 h 5217112"/>
              <a:gd name="connsiteX14884" fmla="*/ 2716501 w 6785952"/>
              <a:gd name="connsiteY14884" fmla="*/ 805746 h 5217112"/>
              <a:gd name="connsiteX14885" fmla="*/ 2874176 w 6785952"/>
              <a:gd name="connsiteY14885" fmla="*/ 805528 h 5217112"/>
              <a:gd name="connsiteX14886" fmla="*/ 2889284 w 6785952"/>
              <a:gd name="connsiteY14886" fmla="*/ 815663 h 5217112"/>
              <a:gd name="connsiteX14887" fmla="*/ 2874176 w 6785952"/>
              <a:gd name="connsiteY14887" fmla="*/ 805528 h 5217112"/>
              <a:gd name="connsiteX14888" fmla="*/ 2185241 w 6785952"/>
              <a:gd name="connsiteY14888" fmla="*/ 804548 h 5217112"/>
              <a:gd name="connsiteX14889" fmla="*/ 2186614 w 6785952"/>
              <a:gd name="connsiteY14889" fmla="*/ 807708 h 5217112"/>
              <a:gd name="connsiteX14890" fmla="*/ 2186340 w 6785952"/>
              <a:gd name="connsiteY14890" fmla="*/ 812176 h 5217112"/>
              <a:gd name="connsiteX14891" fmla="*/ 2178923 w 6785952"/>
              <a:gd name="connsiteY14891" fmla="*/ 812830 h 5217112"/>
              <a:gd name="connsiteX14892" fmla="*/ 2177550 w 6785952"/>
              <a:gd name="connsiteY14892" fmla="*/ 809669 h 5217112"/>
              <a:gd name="connsiteX14893" fmla="*/ 2179198 w 6785952"/>
              <a:gd name="connsiteY14893" fmla="*/ 805310 h 5217112"/>
              <a:gd name="connsiteX14894" fmla="*/ 2185241 w 6785952"/>
              <a:gd name="connsiteY14894" fmla="*/ 804548 h 5217112"/>
              <a:gd name="connsiteX14895" fmla="*/ 3043114 w 6785952"/>
              <a:gd name="connsiteY14895" fmla="*/ 803240 h 5217112"/>
              <a:gd name="connsiteX14896" fmla="*/ 3045311 w 6785952"/>
              <a:gd name="connsiteY14896" fmla="*/ 807163 h 5217112"/>
              <a:gd name="connsiteX14897" fmla="*/ 3036796 w 6785952"/>
              <a:gd name="connsiteY14897" fmla="*/ 811195 h 5217112"/>
              <a:gd name="connsiteX14898" fmla="*/ 3043114 w 6785952"/>
              <a:gd name="connsiteY14898" fmla="*/ 803240 h 5217112"/>
              <a:gd name="connsiteX14899" fmla="*/ 2052426 w 6785952"/>
              <a:gd name="connsiteY14899" fmla="*/ 801918 h 5217112"/>
              <a:gd name="connsiteX14900" fmla="*/ 2060255 w 6785952"/>
              <a:gd name="connsiteY14900" fmla="*/ 801932 h 5217112"/>
              <a:gd name="connsiteX14901" fmla="*/ 2051190 w 6785952"/>
              <a:gd name="connsiteY14901" fmla="*/ 809887 h 5217112"/>
              <a:gd name="connsiteX14902" fmla="*/ 2047894 w 6785952"/>
              <a:gd name="connsiteY14902" fmla="*/ 809342 h 5217112"/>
              <a:gd name="connsiteX14903" fmla="*/ 2052426 w 6785952"/>
              <a:gd name="connsiteY14903" fmla="*/ 801918 h 5217112"/>
              <a:gd name="connsiteX14904" fmla="*/ 2681889 w 6785952"/>
              <a:gd name="connsiteY14904" fmla="*/ 801823 h 5217112"/>
              <a:gd name="connsiteX14905" fmla="*/ 2674198 w 6785952"/>
              <a:gd name="connsiteY14905" fmla="*/ 823400 h 5217112"/>
              <a:gd name="connsiteX14906" fmla="*/ 2667880 w 6785952"/>
              <a:gd name="connsiteY14906" fmla="*/ 818823 h 5217112"/>
              <a:gd name="connsiteX14907" fmla="*/ 2673649 w 6785952"/>
              <a:gd name="connsiteY14907" fmla="*/ 802041 h 5217112"/>
              <a:gd name="connsiteX14908" fmla="*/ 2681889 w 6785952"/>
              <a:gd name="connsiteY14908" fmla="*/ 801823 h 5217112"/>
              <a:gd name="connsiteX14909" fmla="*/ 4393788 w 6785952"/>
              <a:gd name="connsiteY14909" fmla="*/ 801605 h 5217112"/>
              <a:gd name="connsiteX14910" fmla="*/ 4405051 w 6785952"/>
              <a:gd name="connsiteY14910" fmla="*/ 814573 h 5217112"/>
              <a:gd name="connsiteX14911" fmla="*/ 4399007 w 6785952"/>
              <a:gd name="connsiteY14911" fmla="*/ 818605 h 5217112"/>
              <a:gd name="connsiteX14912" fmla="*/ 4396535 w 6785952"/>
              <a:gd name="connsiteY14912" fmla="*/ 817733 h 5217112"/>
              <a:gd name="connsiteX14913" fmla="*/ 4395436 w 6785952"/>
              <a:gd name="connsiteY14913" fmla="*/ 819368 h 5217112"/>
              <a:gd name="connsiteX14914" fmla="*/ 4388294 w 6785952"/>
              <a:gd name="connsiteY14914" fmla="*/ 821329 h 5217112"/>
              <a:gd name="connsiteX14915" fmla="*/ 4386371 w 6785952"/>
              <a:gd name="connsiteY14915" fmla="*/ 820457 h 5217112"/>
              <a:gd name="connsiteX14916" fmla="*/ 4375109 w 6785952"/>
              <a:gd name="connsiteY14916" fmla="*/ 808253 h 5217112"/>
              <a:gd name="connsiteX14917" fmla="*/ 4387195 w 6785952"/>
              <a:gd name="connsiteY14917" fmla="*/ 803240 h 5217112"/>
              <a:gd name="connsiteX14918" fmla="*/ 4389668 w 6785952"/>
              <a:gd name="connsiteY14918" fmla="*/ 804765 h 5217112"/>
              <a:gd name="connsiteX14919" fmla="*/ 4389668 w 6785952"/>
              <a:gd name="connsiteY14919" fmla="*/ 804548 h 5217112"/>
              <a:gd name="connsiteX14920" fmla="*/ 4393788 w 6785952"/>
              <a:gd name="connsiteY14920" fmla="*/ 801605 h 5217112"/>
              <a:gd name="connsiteX14921" fmla="*/ 2240455 w 6785952"/>
              <a:gd name="connsiteY14921" fmla="*/ 801278 h 5217112"/>
              <a:gd name="connsiteX14922" fmla="*/ 2240729 w 6785952"/>
              <a:gd name="connsiteY14922" fmla="*/ 831354 h 5217112"/>
              <a:gd name="connsiteX14923" fmla="*/ 2232764 w 6785952"/>
              <a:gd name="connsiteY14923" fmla="*/ 806073 h 5217112"/>
              <a:gd name="connsiteX14924" fmla="*/ 2240455 w 6785952"/>
              <a:gd name="connsiteY14924" fmla="*/ 801278 h 5217112"/>
              <a:gd name="connsiteX14925" fmla="*/ 6130958 w 6785952"/>
              <a:gd name="connsiteY14925" fmla="*/ 800733 h 5217112"/>
              <a:gd name="connsiteX14926" fmla="*/ 6144144 w 6785952"/>
              <a:gd name="connsiteY14926" fmla="*/ 804439 h 5217112"/>
              <a:gd name="connsiteX14927" fmla="*/ 6137277 w 6785952"/>
              <a:gd name="connsiteY14927" fmla="*/ 823182 h 5217112"/>
              <a:gd name="connsiteX14928" fmla="*/ 6130958 w 6785952"/>
              <a:gd name="connsiteY14928" fmla="*/ 800733 h 5217112"/>
              <a:gd name="connsiteX14929" fmla="*/ 2015755 w 6785952"/>
              <a:gd name="connsiteY14929" fmla="*/ 800516 h 5217112"/>
              <a:gd name="connsiteX14930" fmla="*/ 2023171 w 6785952"/>
              <a:gd name="connsiteY14930" fmla="*/ 813374 h 5217112"/>
              <a:gd name="connsiteX14931" fmla="*/ 2024270 w 6785952"/>
              <a:gd name="connsiteY14931" fmla="*/ 821874 h 5217112"/>
              <a:gd name="connsiteX14932" fmla="*/ 2029214 w 6785952"/>
              <a:gd name="connsiteY14932" fmla="*/ 820131 h 5217112"/>
              <a:gd name="connsiteX14933" fmla="*/ 2027566 w 6785952"/>
              <a:gd name="connsiteY14933" fmla="*/ 844976 h 5217112"/>
              <a:gd name="connsiteX14934" fmla="*/ 2023446 w 6785952"/>
              <a:gd name="connsiteY14934" fmla="*/ 844322 h 5217112"/>
              <a:gd name="connsiteX14935" fmla="*/ 2022347 w 6785952"/>
              <a:gd name="connsiteY14935" fmla="*/ 831354 h 5217112"/>
              <a:gd name="connsiteX14936" fmla="*/ 2023171 w 6785952"/>
              <a:gd name="connsiteY14936" fmla="*/ 824490 h 5217112"/>
              <a:gd name="connsiteX14937" fmla="*/ 2015480 w 6785952"/>
              <a:gd name="connsiteY14937" fmla="*/ 828304 h 5217112"/>
              <a:gd name="connsiteX14938" fmla="*/ 2002569 w 6785952"/>
              <a:gd name="connsiteY14938" fmla="*/ 825579 h 5217112"/>
              <a:gd name="connsiteX14939" fmla="*/ 2015755 w 6785952"/>
              <a:gd name="connsiteY14939" fmla="*/ 800516 h 5217112"/>
              <a:gd name="connsiteX14940" fmla="*/ 1369124 w 6785952"/>
              <a:gd name="connsiteY14940" fmla="*/ 800297 h 5217112"/>
              <a:gd name="connsiteX14941" fmla="*/ 1376265 w 6785952"/>
              <a:gd name="connsiteY14941" fmla="*/ 801496 h 5217112"/>
              <a:gd name="connsiteX14942" fmla="*/ 1381485 w 6785952"/>
              <a:gd name="connsiteY14942" fmla="*/ 808253 h 5217112"/>
              <a:gd name="connsiteX14943" fmla="*/ 1385880 w 6785952"/>
              <a:gd name="connsiteY14943" fmla="*/ 810323 h 5217112"/>
              <a:gd name="connsiteX14944" fmla="*/ 1385605 w 6785952"/>
              <a:gd name="connsiteY14944" fmla="*/ 811848 h 5217112"/>
              <a:gd name="connsiteX14945" fmla="*/ 1368574 w 6785952"/>
              <a:gd name="connsiteY14945" fmla="*/ 806073 h 5217112"/>
              <a:gd name="connsiteX14946" fmla="*/ 1367200 w 6785952"/>
              <a:gd name="connsiteY14946" fmla="*/ 803457 h 5217112"/>
              <a:gd name="connsiteX14947" fmla="*/ 1369124 w 6785952"/>
              <a:gd name="connsiteY14947" fmla="*/ 800297 h 5217112"/>
              <a:gd name="connsiteX14948" fmla="*/ 1176836 w 6785952"/>
              <a:gd name="connsiteY14948" fmla="*/ 799862 h 5217112"/>
              <a:gd name="connsiteX14949" fmla="*/ 1183705 w 6785952"/>
              <a:gd name="connsiteY14949" fmla="*/ 802477 h 5217112"/>
              <a:gd name="connsiteX14950" fmla="*/ 1187274 w 6785952"/>
              <a:gd name="connsiteY14950" fmla="*/ 816208 h 5217112"/>
              <a:gd name="connsiteX14951" fmla="*/ 1181506 w 6785952"/>
              <a:gd name="connsiteY14951" fmla="*/ 815226 h 5217112"/>
              <a:gd name="connsiteX14952" fmla="*/ 1175738 w 6785952"/>
              <a:gd name="connsiteY14952" fmla="*/ 803131 h 5217112"/>
              <a:gd name="connsiteX14953" fmla="*/ 1176836 w 6785952"/>
              <a:gd name="connsiteY14953" fmla="*/ 799862 h 5217112"/>
              <a:gd name="connsiteX14954" fmla="*/ 2261057 w 6785952"/>
              <a:gd name="connsiteY14954" fmla="*/ 799752 h 5217112"/>
              <a:gd name="connsiteX14955" fmla="*/ 2263529 w 6785952"/>
              <a:gd name="connsiteY14955" fmla="*/ 807599 h 5217112"/>
              <a:gd name="connsiteX14956" fmla="*/ 2259409 w 6785952"/>
              <a:gd name="connsiteY14956" fmla="*/ 800951 h 5217112"/>
              <a:gd name="connsiteX14957" fmla="*/ 2261057 w 6785952"/>
              <a:gd name="connsiteY14957" fmla="*/ 799752 h 5217112"/>
              <a:gd name="connsiteX14958" fmla="*/ 2505536 w 6785952"/>
              <a:gd name="connsiteY14958" fmla="*/ 798881 h 5217112"/>
              <a:gd name="connsiteX14959" fmla="*/ 2505536 w 6785952"/>
              <a:gd name="connsiteY14959" fmla="*/ 808906 h 5217112"/>
              <a:gd name="connsiteX14960" fmla="*/ 2504712 w 6785952"/>
              <a:gd name="connsiteY14960" fmla="*/ 810105 h 5217112"/>
              <a:gd name="connsiteX14961" fmla="*/ 2513777 w 6785952"/>
              <a:gd name="connsiteY14961" fmla="*/ 817951 h 5217112"/>
              <a:gd name="connsiteX14962" fmla="*/ 2516798 w 6785952"/>
              <a:gd name="connsiteY14962" fmla="*/ 813374 h 5217112"/>
              <a:gd name="connsiteX14963" fmla="*/ 2527511 w 6785952"/>
              <a:gd name="connsiteY14963" fmla="*/ 807708 h 5217112"/>
              <a:gd name="connsiteX14964" fmla="*/ 2528610 w 6785952"/>
              <a:gd name="connsiteY14964" fmla="*/ 807599 h 5217112"/>
              <a:gd name="connsiteX14965" fmla="*/ 2527786 w 6785952"/>
              <a:gd name="connsiteY14965" fmla="*/ 807163 h 5217112"/>
              <a:gd name="connsiteX14966" fmla="*/ 2524490 w 6785952"/>
              <a:gd name="connsiteY14966" fmla="*/ 804656 h 5217112"/>
              <a:gd name="connsiteX14967" fmla="*/ 2520095 w 6785952"/>
              <a:gd name="connsiteY14967" fmla="*/ 805201 h 5217112"/>
              <a:gd name="connsiteX14968" fmla="*/ 2517897 w 6785952"/>
              <a:gd name="connsiteY14968" fmla="*/ 803131 h 5217112"/>
              <a:gd name="connsiteX14969" fmla="*/ 2516249 w 6785952"/>
              <a:gd name="connsiteY14969" fmla="*/ 804439 h 5217112"/>
              <a:gd name="connsiteX14970" fmla="*/ 2513501 w 6785952"/>
              <a:gd name="connsiteY14970" fmla="*/ 807925 h 5217112"/>
              <a:gd name="connsiteX14971" fmla="*/ 2506085 w 6785952"/>
              <a:gd name="connsiteY14971" fmla="*/ 799862 h 5217112"/>
              <a:gd name="connsiteX14972" fmla="*/ 4440211 w 6785952"/>
              <a:gd name="connsiteY14972" fmla="*/ 797355 h 5217112"/>
              <a:gd name="connsiteX14973" fmla="*/ 4444332 w 6785952"/>
              <a:gd name="connsiteY14973" fmla="*/ 805528 h 5217112"/>
              <a:gd name="connsiteX14974" fmla="*/ 4429224 w 6785952"/>
              <a:gd name="connsiteY14974" fmla="*/ 813156 h 5217112"/>
              <a:gd name="connsiteX14975" fmla="*/ 4440211 w 6785952"/>
              <a:gd name="connsiteY14975" fmla="*/ 797355 h 5217112"/>
              <a:gd name="connsiteX14976" fmla="*/ 2819787 w 6785952"/>
              <a:gd name="connsiteY14976" fmla="*/ 796483 h 5217112"/>
              <a:gd name="connsiteX14977" fmla="*/ 2823907 w 6785952"/>
              <a:gd name="connsiteY14977" fmla="*/ 804874 h 5217112"/>
              <a:gd name="connsiteX14978" fmla="*/ 2819237 w 6785952"/>
              <a:gd name="connsiteY14978" fmla="*/ 804656 h 5217112"/>
              <a:gd name="connsiteX14979" fmla="*/ 2819787 w 6785952"/>
              <a:gd name="connsiteY14979" fmla="*/ 796483 h 5217112"/>
              <a:gd name="connsiteX14980" fmla="*/ 2414337 w 6785952"/>
              <a:gd name="connsiteY14980" fmla="*/ 796265 h 5217112"/>
              <a:gd name="connsiteX14981" fmla="*/ 2420380 w 6785952"/>
              <a:gd name="connsiteY14981" fmla="*/ 807380 h 5217112"/>
              <a:gd name="connsiteX14982" fmla="*/ 2422853 w 6785952"/>
              <a:gd name="connsiteY14982" fmla="*/ 814028 h 5217112"/>
              <a:gd name="connsiteX14983" fmla="*/ 2421204 w 6785952"/>
              <a:gd name="connsiteY14983" fmla="*/ 817951 h 5217112"/>
              <a:gd name="connsiteX14984" fmla="*/ 2419830 w 6785952"/>
              <a:gd name="connsiteY14984" fmla="*/ 818605 h 5217112"/>
              <a:gd name="connsiteX14985" fmla="*/ 2417633 w 6785952"/>
              <a:gd name="connsiteY14985" fmla="*/ 816316 h 5217112"/>
              <a:gd name="connsiteX14986" fmla="*/ 2413787 w 6785952"/>
              <a:gd name="connsiteY14986" fmla="*/ 802804 h 5217112"/>
              <a:gd name="connsiteX14987" fmla="*/ 2412689 w 6785952"/>
              <a:gd name="connsiteY14987" fmla="*/ 800188 h 5217112"/>
              <a:gd name="connsiteX14988" fmla="*/ 2414337 w 6785952"/>
              <a:gd name="connsiteY14988" fmla="*/ 796265 h 5217112"/>
              <a:gd name="connsiteX14989" fmla="*/ 1754245 w 6785952"/>
              <a:gd name="connsiteY14989" fmla="*/ 795067 h 5217112"/>
              <a:gd name="connsiteX14990" fmla="*/ 1755070 w 6785952"/>
              <a:gd name="connsiteY14990" fmla="*/ 795720 h 5217112"/>
              <a:gd name="connsiteX14991" fmla="*/ 1753971 w 6785952"/>
              <a:gd name="connsiteY14991" fmla="*/ 796157 h 5217112"/>
              <a:gd name="connsiteX14992" fmla="*/ 2811271 w 6785952"/>
              <a:gd name="connsiteY14992" fmla="*/ 794849 h 5217112"/>
              <a:gd name="connsiteX14993" fmla="*/ 2799459 w 6785952"/>
              <a:gd name="connsiteY14993" fmla="*/ 807163 h 5217112"/>
              <a:gd name="connsiteX14994" fmla="*/ 2811271 w 6785952"/>
              <a:gd name="connsiteY14994" fmla="*/ 794849 h 5217112"/>
              <a:gd name="connsiteX14995" fmla="*/ 2710184 w 6785952"/>
              <a:gd name="connsiteY14995" fmla="*/ 794849 h 5217112"/>
              <a:gd name="connsiteX14996" fmla="*/ 2716227 w 6785952"/>
              <a:gd name="connsiteY14996" fmla="*/ 805746 h 5217112"/>
              <a:gd name="connsiteX14997" fmla="*/ 2710458 w 6785952"/>
              <a:gd name="connsiteY14997" fmla="*/ 800951 h 5217112"/>
              <a:gd name="connsiteX14998" fmla="*/ 2710184 w 6785952"/>
              <a:gd name="connsiteY14998" fmla="*/ 794849 h 5217112"/>
              <a:gd name="connsiteX14999" fmla="*/ 1629053 w 6785952"/>
              <a:gd name="connsiteY14999" fmla="*/ 793337 h 5217112"/>
              <a:gd name="connsiteX15000" fmla="*/ 1631457 w 6785952"/>
              <a:gd name="connsiteY15000" fmla="*/ 796157 h 5217112"/>
              <a:gd name="connsiteX15001" fmla="*/ 1627336 w 6785952"/>
              <a:gd name="connsiteY15001" fmla="*/ 796048 h 5217112"/>
              <a:gd name="connsiteX15002" fmla="*/ 1626237 w 6785952"/>
              <a:gd name="connsiteY15002" fmla="*/ 795284 h 5217112"/>
              <a:gd name="connsiteX15003" fmla="*/ 1626237 w 6785952"/>
              <a:gd name="connsiteY15003" fmla="*/ 793868 h 5217112"/>
              <a:gd name="connsiteX15004" fmla="*/ 1629053 w 6785952"/>
              <a:gd name="connsiteY15004" fmla="*/ 793337 h 5217112"/>
              <a:gd name="connsiteX15005" fmla="*/ 1242214 w 6785952"/>
              <a:gd name="connsiteY15005" fmla="*/ 793214 h 5217112"/>
              <a:gd name="connsiteX15006" fmla="*/ 1251828 w 6785952"/>
              <a:gd name="connsiteY15006" fmla="*/ 805964 h 5217112"/>
              <a:gd name="connsiteX15007" fmla="*/ 1250455 w 6785952"/>
              <a:gd name="connsiteY15007" fmla="*/ 814573 h 5217112"/>
              <a:gd name="connsiteX15008" fmla="*/ 1247158 w 6785952"/>
              <a:gd name="connsiteY15008" fmla="*/ 816970 h 5217112"/>
              <a:gd name="connsiteX15009" fmla="*/ 1247433 w 6785952"/>
              <a:gd name="connsiteY15009" fmla="*/ 825797 h 5217112"/>
              <a:gd name="connsiteX15010" fmla="*/ 1241115 w 6785952"/>
              <a:gd name="connsiteY15010" fmla="*/ 832990 h 5217112"/>
              <a:gd name="connsiteX15011" fmla="*/ 1238094 w 6785952"/>
              <a:gd name="connsiteY15011" fmla="*/ 830047 h 5217112"/>
              <a:gd name="connsiteX15012" fmla="*/ 1238094 w 6785952"/>
              <a:gd name="connsiteY15012" fmla="*/ 820893 h 5217112"/>
              <a:gd name="connsiteX15013" fmla="*/ 1234248 w 6785952"/>
              <a:gd name="connsiteY15013" fmla="*/ 821002 h 5217112"/>
              <a:gd name="connsiteX15014" fmla="*/ 1228754 w 6785952"/>
              <a:gd name="connsiteY15014" fmla="*/ 817624 h 5217112"/>
              <a:gd name="connsiteX15015" fmla="*/ 1227655 w 6785952"/>
              <a:gd name="connsiteY15015" fmla="*/ 815989 h 5217112"/>
              <a:gd name="connsiteX15016" fmla="*/ 1226282 w 6785952"/>
              <a:gd name="connsiteY15016" fmla="*/ 816861 h 5217112"/>
              <a:gd name="connsiteX15017" fmla="*/ 1221337 w 6785952"/>
              <a:gd name="connsiteY15017" fmla="*/ 812720 h 5217112"/>
              <a:gd name="connsiteX15018" fmla="*/ 1224908 w 6785952"/>
              <a:gd name="connsiteY15018" fmla="*/ 809124 h 5217112"/>
              <a:gd name="connsiteX15019" fmla="*/ 1224084 w 6785952"/>
              <a:gd name="connsiteY15019" fmla="*/ 807599 h 5217112"/>
              <a:gd name="connsiteX15020" fmla="*/ 1222711 w 6785952"/>
              <a:gd name="connsiteY15020" fmla="*/ 807599 h 5217112"/>
              <a:gd name="connsiteX15021" fmla="*/ 1218041 w 6785952"/>
              <a:gd name="connsiteY15021" fmla="*/ 803566 h 5217112"/>
              <a:gd name="connsiteX15022" fmla="*/ 1219963 w 6785952"/>
              <a:gd name="connsiteY15022" fmla="*/ 800951 h 5217112"/>
              <a:gd name="connsiteX15023" fmla="*/ 1223810 w 6785952"/>
              <a:gd name="connsiteY15023" fmla="*/ 802912 h 5217112"/>
              <a:gd name="connsiteX15024" fmla="*/ 1224358 w 6785952"/>
              <a:gd name="connsiteY15024" fmla="*/ 803240 h 5217112"/>
              <a:gd name="connsiteX15025" fmla="*/ 1225732 w 6785952"/>
              <a:gd name="connsiteY15025" fmla="*/ 803131 h 5217112"/>
              <a:gd name="connsiteX15026" fmla="*/ 1226832 w 6785952"/>
              <a:gd name="connsiteY15026" fmla="*/ 803566 h 5217112"/>
              <a:gd name="connsiteX15027" fmla="*/ 1227381 w 6785952"/>
              <a:gd name="connsiteY15027" fmla="*/ 803676 h 5217112"/>
              <a:gd name="connsiteX15028" fmla="*/ 1229028 w 6785952"/>
              <a:gd name="connsiteY15028" fmla="*/ 799752 h 5217112"/>
              <a:gd name="connsiteX15029" fmla="*/ 1242214 w 6785952"/>
              <a:gd name="connsiteY15029" fmla="*/ 793214 h 5217112"/>
              <a:gd name="connsiteX15030" fmla="*/ 2340170 w 6785952"/>
              <a:gd name="connsiteY15030" fmla="*/ 792451 h 5217112"/>
              <a:gd name="connsiteX15031" fmla="*/ 2344839 w 6785952"/>
              <a:gd name="connsiteY15031" fmla="*/ 805964 h 5217112"/>
              <a:gd name="connsiteX15032" fmla="*/ 2340170 w 6785952"/>
              <a:gd name="connsiteY15032" fmla="*/ 792451 h 5217112"/>
              <a:gd name="connsiteX15033" fmla="*/ 1155994 w 6785952"/>
              <a:gd name="connsiteY15033" fmla="*/ 792220 h 5217112"/>
              <a:gd name="connsiteX15034" fmla="*/ 1163377 w 6785952"/>
              <a:gd name="connsiteY15034" fmla="*/ 792560 h 5217112"/>
              <a:gd name="connsiteX15035" fmla="*/ 1166673 w 6785952"/>
              <a:gd name="connsiteY15035" fmla="*/ 808906 h 5217112"/>
              <a:gd name="connsiteX15036" fmla="*/ 1153487 w 6785952"/>
              <a:gd name="connsiteY15036" fmla="*/ 810759 h 5217112"/>
              <a:gd name="connsiteX15037" fmla="*/ 1149642 w 6785952"/>
              <a:gd name="connsiteY15037" fmla="*/ 800297 h 5217112"/>
              <a:gd name="connsiteX15038" fmla="*/ 1155994 w 6785952"/>
              <a:gd name="connsiteY15038" fmla="*/ 792220 h 5217112"/>
              <a:gd name="connsiteX15039" fmla="*/ 2667331 w 6785952"/>
              <a:gd name="connsiteY15039" fmla="*/ 791797 h 5217112"/>
              <a:gd name="connsiteX15040" fmla="*/ 2666507 w 6785952"/>
              <a:gd name="connsiteY15040" fmla="*/ 804548 h 5217112"/>
              <a:gd name="connsiteX15041" fmla="*/ 2665958 w 6785952"/>
              <a:gd name="connsiteY15041" fmla="*/ 793105 h 5217112"/>
              <a:gd name="connsiteX15042" fmla="*/ 2667331 w 6785952"/>
              <a:gd name="connsiteY15042" fmla="*/ 791797 h 5217112"/>
              <a:gd name="connsiteX15043" fmla="*/ 1595240 w 6785952"/>
              <a:gd name="connsiteY15043" fmla="*/ 791625 h 5217112"/>
              <a:gd name="connsiteX15044" fmla="*/ 1597944 w 6785952"/>
              <a:gd name="connsiteY15044" fmla="*/ 803349 h 5217112"/>
              <a:gd name="connsiteX15045" fmla="*/ 1590527 w 6785952"/>
              <a:gd name="connsiteY15045" fmla="*/ 794195 h 5217112"/>
              <a:gd name="connsiteX15046" fmla="*/ 1595240 w 6785952"/>
              <a:gd name="connsiteY15046" fmla="*/ 791625 h 5217112"/>
              <a:gd name="connsiteX15047" fmla="*/ 1423787 w 6785952"/>
              <a:gd name="connsiteY15047" fmla="*/ 791252 h 5217112"/>
              <a:gd name="connsiteX15048" fmla="*/ 1434775 w 6785952"/>
              <a:gd name="connsiteY15048" fmla="*/ 798009 h 5217112"/>
              <a:gd name="connsiteX15049" fmla="*/ 1435050 w 6785952"/>
              <a:gd name="connsiteY15049" fmla="*/ 796483 h 5217112"/>
              <a:gd name="connsiteX15050" fmla="*/ 1435599 w 6785952"/>
              <a:gd name="connsiteY15050" fmla="*/ 797791 h 5217112"/>
              <a:gd name="connsiteX15051" fmla="*/ 1435050 w 6785952"/>
              <a:gd name="connsiteY15051" fmla="*/ 798554 h 5217112"/>
              <a:gd name="connsiteX15052" fmla="*/ 1438346 w 6785952"/>
              <a:gd name="connsiteY15052" fmla="*/ 804765 h 5217112"/>
              <a:gd name="connsiteX15053" fmla="*/ 1438621 w 6785952"/>
              <a:gd name="connsiteY15053" fmla="*/ 810977 h 5217112"/>
              <a:gd name="connsiteX15054" fmla="*/ 1429007 w 6785952"/>
              <a:gd name="connsiteY15054" fmla="*/ 817624 h 5217112"/>
              <a:gd name="connsiteX15055" fmla="*/ 1415272 w 6785952"/>
              <a:gd name="connsiteY15055" fmla="*/ 805419 h 5217112"/>
              <a:gd name="connsiteX15056" fmla="*/ 1416370 w 6785952"/>
              <a:gd name="connsiteY15056" fmla="*/ 798881 h 5217112"/>
              <a:gd name="connsiteX15057" fmla="*/ 1423787 w 6785952"/>
              <a:gd name="connsiteY15057" fmla="*/ 791252 h 5217112"/>
              <a:gd name="connsiteX15058" fmla="*/ 1776496 w 6785952"/>
              <a:gd name="connsiteY15058" fmla="*/ 790817 h 5217112"/>
              <a:gd name="connsiteX15059" fmla="*/ 1790230 w 6785952"/>
              <a:gd name="connsiteY15059" fmla="*/ 791252 h 5217112"/>
              <a:gd name="connsiteX15060" fmla="*/ 1795998 w 6785952"/>
              <a:gd name="connsiteY15060" fmla="*/ 794195 h 5217112"/>
              <a:gd name="connsiteX15061" fmla="*/ 1795998 w 6785952"/>
              <a:gd name="connsiteY15061" fmla="*/ 793541 h 5217112"/>
              <a:gd name="connsiteX15062" fmla="*/ 1800668 w 6785952"/>
              <a:gd name="connsiteY15062" fmla="*/ 791362 h 5217112"/>
              <a:gd name="connsiteX15063" fmla="*/ 1806437 w 6785952"/>
              <a:gd name="connsiteY15063" fmla="*/ 794740 h 5217112"/>
              <a:gd name="connsiteX15064" fmla="*/ 1809733 w 6785952"/>
              <a:gd name="connsiteY15064" fmla="*/ 800297 h 5217112"/>
              <a:gd name="connsiteX15065" fmla="*/ 1811107 w 6785952"/>
              <a:gd name="connsiteY15065" fmla="*/ 804111 h 5217112"/>
              <a:gd name="connsiteX15066" fmla="*/ 1819348 w 6785952"/>
              <a:gd name="connsiteY15066" fmla="*/ 812502 h 5217112"/>
              <a:gd name="connsiteX15067" fmla="*/ 1821271 w 6785952"/>
              <a:gd name="connsiteY15067" fmla="*/ 826886 h 5217112"/>
              <a:gd name="connsiteX15068" fmla="*/ 1776496 w 6785952"/>
              <a:gd name="connsiteY15068" fmla="*/ 790817 h 5217112"/>
              <a:gd name="connsiteX15069" fmla="*/ 2703591 w 6785952"/>
              <a:gd name="connsiteY15069" fmla="*/ 789727 h 5217112"/>
              <a:gd name="connsiteX15070" fmla="*/ 2702217 w 6785952"/>
              <a:gd name="connsiteY15070" fmla="*/ 790381 h 5217112"/>
              <a:gd name="connsiteX15071" fmla="*/ 2702766 w 6785952"/>
              <a:gd name="connsiteY15071" fmla="*/ 793214 h 5217112"/>
              <a:gd name="connsiteX15072" fmla="*/ 2704415 w 6785952"/>
              <a:gd name="connsiteY15072" fmla="*/ 792670 h 5217112"/>
              <a:gd name="connsiteX15073" fmla="*/ 2703591 w 6785952"/>
              <a:gd name="connsiteY15073" fmla="*/ 795939 h 5217112"/>
              <a:gd name="connsiteX15074" fmla="*/ 2695075 w 6785952"/>
              <a:gd name="connsiteY15074" fmla="*/ 803676 h 5217112"/>
              <a:gd name="connsiteX15075" fmla="*/ 2692328 w 6785952"/>
              <a:gd name="connsiteY15075" fmla="*/ 800297 h 5217112"/>
              <a:gd name="connsiteX15076" fmla="*/ 2693152 w 6785952"/>
              <a:gd name="connsiteY15076" fmla="*/ 796702 h 5217112"/>
              <a:gd name="connsiteX15077" fmla="*/ 2696723 w 6785952"/>
              <a:gd name="connsiteY15077" fmla="*/ 791580 h 5217112"/>
              <a:gd name="connsiteX15078" fmla="*/ 2703591 w 6785952"/>
              <a:gd name="connsiteY15078" fmla="*/ 789727 h 5217112"/>
              <a:gd name="connsiteX15079" fmla="*/ 1769353 w 6785952"/>
              <a:gd name="connsiteY15079" fmla="*/ 788419 h 5217112"/>
              <a:gd name="connsiteX15080" fmla="*/ 1769353 w 6785952"/>
              <a:gd name="connsiteY15080" fmla="*/ 791689 h 5217112"/>
              <a:gd name="connsiteX15081" fmla="*/ 1769079 w 6785952"/>
              <a:gd name="connsiteY15081" fmla="*/ 793650 h 5217112"/>
              <a:gd name="connsiteX15082" fmla="*/ 1767156 w 6785952"/>
              <a:gd name="connsiteY15082" fmla="*/ 789836 h 5217112"/>
              <a:gd name="connsiteX15083" fmla="*/ 1769353 w 6785952"/>
              <a:gd name="connsiteY15083" fmla="*/ 788419 h 5217112"/>
              <a:gd name="connsiteX15084" fmla="*/ 4336652 w 6785952"/>
              <a:gd name="connsiteY15084" fmla="*/ 788201 h 5217112"/>
              <a:gd name="connsiteX15085" fmla="*/ 4341871 w 6785952"/>
              <a:gd name="connsiteY15085" fmla="*/ 804002 h 5217112"/>
              <a:gd name="connsiteX15086" fmla="*/ 4331982 w 6785952"/>
              <a:gd name="connsiteY15086" fmla="*/ 791580 h 5217112"/>
              <a:gd name="connsiteX15087" fmla="*/ 4336652 w 6785952"/>
              <a:gd name="connsiteY15087" fmla="*/ 788201 h 5217112"/>
              <a:gd name="connsiteX15088" fmla="*/ 1754245 w 6785952"/>
              <a:gd name="connsiteY15088" fmla="*/ 787766 h 5217112"/>
              <a:gd name="connsiteX15089" fmla="*/ 1756168 w 6785952"/>
              <a:gd name="connsiteY15089" fmla="*/ 795067 h 5217112"/>
              <a:gd name="connsiteX15090" fmla="*/ 1754520 w 6785952"/>
              <a:gd name="connsiteY15090" fmla="*/ 794521 h 5217112"/>
              <a:gd name="connsiteX15091" fmla="*/ 1754245 w 6785952"/>
              <a:gd name="connsiteY15091" fmla="*/ 795067 h 5217112"/>
              <a:gd name="connsiteX15092" fmla="*/ 1751773 w 6785952"/>
              <a:gd name="connsiteY15092" fmla="*/ 792779 h 5217112"/>
              <a:gd name="connsiteX15093" fmla="*/ 1751223 w 6785952"/>
              <a:gd name="connsiteY15093" fmla="*/ 787983 h 5217112"/>
              <a:gd name="connsiteX15094" fmla="*/ 1754245 w 6785952"/>
              <a:gd name="connsiteY15094" fmla="*/ 787766 h 5217112"/>
              <a:gd name="connsiteX15095" fmla="*/ 2503063 w 6785952"/>
              <a:gd name="connsiteY15095" fmla="*/ 787329 h 5217112"/>
              <a:gd name="connsiteX15096" fmla="*/ 2511579 w 6785952"/>
              <a:gd name="connsiteY15096" fmla="*/ 791362 h 5217112"/>
              <a:gd name="connsiteX15097" fmla="*/ 2515974 w 6785952"/>
              <a:gd name="connsiteY15097" fmla="*/ 796265 h 5217112"/>
              <a:gd name="connsiteX15098" fmla="*/ 2516523 w 6785952"/>
              <a:gd name="connsiteY15098" fmla="*/ 795612 h 5217112"/>
              <a:gd name="connsiteX15099" fmla="*/ 2520644 w 6785952"/>
              <a:gd name="connsiteY15099" fmla="*/ 795284 h 5217112"/>
              <a:gd name="connsiteX15100" fmla="*/ 2527511 w 6785952"/>
              <a:gd name="connsiteY15100" fmla="*/ 804656 h 5217112"/>
              <a:gd name="connsiteX15101" fmla="*/ 2531082 w 6785952"/>
              <a:gd name="connsiteY15101" fmla="*/ 806945 h 5217112"/>
              <a:gd name="connsiteX15102" fmla="*/ 2531357 w 6785952"/>
              <a:gd name="connsiteY15102" fmla="*/ 807380 h 5217112"/>
              <a:gd name="connsiteX15103" fmla="*/ 2534927 w 6785952"/>
              <a:gd name="connsiteY15103" fmla="*/ 807054 h 5217112"/>
              <a:gd name="connsiteX15104" fmla="*/ 2558002 w 6785952"/>
              <a:gd name="connsiteY15104" fmla="*/ 823073 h 5217112"/>
              <a:gd name="connsiteX15105" fmla="*/ 2529708 w 6785952"/>
              <a:gd name="connsiteY15105" fmla="*/ 847701 h 5217112"/>
              <a:gd name="connsiteX15106" fmla="*/ 2518171 w 6785952"/>
              <a:gd name="connsiteY15106" fmla="*/ 844758 h 5217112"/>
              <a:gd name="connsiteX15107" fmla="*/ 2510205 w 6785952"/>
              <a:gd name="connsiteY15107" fmla="*/ 834188 h 5217112"/>
              <a:gd name="connsiteX15108" fmla="*/ 2510205 w 6785952"/>
              <a:gd name="connsiteY15108" fmla="*/ 832771 h 5217112"/>
              <a:gd name="connsiteX15109" fmla="*/ 2502788 w 6785952"/>
              <a:gd name="connsiteY15109" fmla="*/ 834406 h 5217112"/>
              <a:gd name="connsiteX15110" fmla="*/ 2500591 w 6785952"/>
              <a:gd name="connsiteY15110" fmla="*/ 833098 h 5217112"/>
              <a:gd name="connsiteX15111" fmla="*/ 2500866 w 6785952"/>
              <a:gd name="connsiteY15111" fmla="*/ 829175 h 5217112"/>
              <a:gd name="connsiteX15112" fmla="*/ 2507458 w 6785952"/>
              <a:gd name="connsiteY15112" fmla="*/ 825906 h 5217112"/>
              <a:gd name="connsiteX15113" fmla="*/ 2507733 w 6785952"/>
              <a:gd name="connsiteY15113" fmla="*/ 825906 h 5217112"/>
              <a:gd name="connsiteX15114" fmla="*/ 2501689 w 6785952"/>
              <a:gd name="connsiteY15114" fmla="*/ 814246 h 5217112"/>
              <a:gd name="connsiteX15115" fmla="*/ 2498668 w 6785952"/>
              <a:gd name="connsiteY15115" fmla="*/ 815771 h 5217112"/>
              <a:gd name="connsiteX15116" fmla="*/ 2492350 w 6785952"/>
              <a:gd name="connsiteY15116" fmla="*/ 793432 h 5217112"/>
              <a:gd name="connsiteX15117" fmla="*/ 2498394 w 6785952"/>
              <a:gd name="connsiteY15117" fmla="*/ 793868 h 5217112"/>
              <a:gd name="connsiteX15118" fmla="*/ 2503888 w 6785952"/>
              <a:gd name="connsiteY15118" fmla="*/ 796374 h 5217112"/>
              <a:gd name="connsiteX15119" fmla="*/ 2501964 w 6785952"/>
              <a:gd name="connsiteY15119" fmla="*/ 793541 h 5217112"/>
              <a:gd name="connsiteX15120" fmla="*/ 2503063 w 6785952"/>
              <a:gd name="connsiteY15120" fmla="*/ 787329 h 5217112"/>
              <a:gd name="connsiteX15121" fmla="*/ 1902031 w 6785952"/>
              <a:gd name="connsiteY15121" fmla="*/ 785259 h 5217112"/>
              <a:gd name="connsiteX15122" fmla="*/ 1891043 w 6785952"/>
              <a:gd name="connsiteY15122" fmla="*/ 790926 h 5217112"/>
              <a:gd name="connsiteX15123" fmla="*/ 1880879 w 6785952"/>
              <a:gd name="connsiteY15123" fmla="*/ 793976 h 5217112"/>
              <a:gd name="connsiteX15124" fmla="*/ 1888845 w 6785952"/>
              <a:gd name="connsiteY15124" fmla="*/ 793868 h 5217112"/>
              <a:gd name="connsiteX15125" fmla="*/ 1918238 w 6785952"/>
              <a:gd name="connsiteY15125" fmla="*/ 797028 h 5217112"/>
              <a:gd name="connsiteX15126" fmla="*/ 1939664 w 6785952"/>
              <a:gd name="connsiteY15126" fmla="*/ 821329 h 5217112"/>
              <a:gd name="connsiteX15127" fmla="*/ 1938291 w 6785952"/>
              <a:gd name="connsiteY15127" fmla="*/ 831791 h 5217112"/>
              <a:gd name="connsiteX15128" fmla="*/ 1939115 w 6785952"/>
              <a:gd name="connsiteY15128" fmla="*/ 842906 h 5217112"/>
              <a:gd name="connsiteX15129" fmla="*/ 1945707 w 6785952"/>
              <a:gd name="connsiteY15129" fmla="*/ 847591 h 5217112"/>
              <a:gd name="connsiteX15130" fmla="*/ 1946806 w 6785952"/>
              <a:gd name="connsiteY15130" fmla="*/ 861432 h 5217112"/>
              <a:gd name="connsiteX15131" fmla="*/ 1941037 w 6785952"/>
              <a:gd name="connsiteY15131" fmla="*/ 864264 h 5217112"/>
              <a:gd name="connsiteX15132" fmla="*/ 1941037 w 6785952"/>
              <a:gd name="connsiteY15132" fmla="*/ 866008 h 5217112"/>
              <a:gd name="connsiteX15133" fmla="*/ 1923732 w 6785952"/>
              <a:gd name="connsiteY15133" fmla="*/ 886822 h 5217112"/>
              <a:gd name="connsiteX15134" fmla="*/ 1922084 w 6785952"/>
              <a:gd name="connsiteY15134" fmla="*/ 888892 h 5217112"/>
              <a:gd name="connsiteX15135" fmla="*/ 1926478 w 6785952"/>
              <a:gd name="connsiteY15135" fmla="*/ 889437 h 5217112"/>
              <a:gd name="connsiteX15136" fmla="*/ 1931972 w 6785952"/>
              <a:gd name="connsiteY15136" fmla="*/ 895758 h 5217112"/>
              <a:gd name="connsiteX15137" fmla="*/ 1938016 w 6785952"/>
              <a:gd name="connsiteY15137" fmla="*/ 893360 h 5217112"/>
              <a:gd name="connsiteX15138" fmla="*/ 1952849 w 6785952"/>
              <a:gd name="connsiteY15138" fmla="*/ 895649 h 5217112"/>
              <a:gd name="connsiteX15139" fmla="*/ 1958068 w 6785952"/>
              <a:gd name="connsiteY15139" fmla="*/ 902296 h 5217112"/>
              <a:gd name="connsiteX15140" fmla="*/ 1958892 w 6785952"/>
              <a:gd name="connsiteY15140" fmla="*/ 902187 h 5217112"/>
              <a:gd name="connsiteX15141" fmla="*/ 1962189 w 6785952"/>
              <a:gd name="connsiteY15141" fmla="*/ 911122 h 5217112"/>
              <a:gd name="connsiteX15142" fmla="*/ 1955322 w 6785952"/>
              <a:gd name="connsiteY15142" fmla="*/ 914283 h 5217112"/>
              <a:gd name="connsiteX15143" fmla="*/ 1952300 w 6785952"/>
              <a:gd name="connsiteY15143" fmla="*/ 912104 h 5217112"/>
              <a:gd name="connsiteX15144" fmla="*/ 1952300 w 6785952"/>
              <a:gd name="connsiteY15144" fmla="*/ 910687 h 5217112"/>
              <a:gd name="connsiteX15145" fmla="*/ 1952025 w 6785952"/>
              <a:gd name="connsiteY15145" fmla="*/ 908072 h 5217112"/>
              <a:gd name="connsiteX15146" fmla="*/ 1943235 w 6785952"/>
              <a:gd name="connsiteY15146" fmla="*/ 914719 h 5217112"/>
              <a:gd name="connsiteX15147" fmla="*/ 1920435 w 6785952"/>
              <a:gd name="connsiteY15147" fmla="*/ 918860 h 5217112"/>
              <a:gd name="connsiteX15148" fmla="*/ 1922908 w 6785952"/>
              <a:gd name="connsiteY15148" fmla="*/ 899245 h 5217112"/>
              <a:gd name="connsiteX15149" fmla="*/ 1923457 w 6785952"/>
              <a:gd name="connsiteY15149" fmla="*/ 899027 h 5217112"/>
              <a:gd name="connsiteX15150" fmla="*/ 1922908 w 6785952"/>
              <a:gd name="connsiteY15150" fmla="*/ 897937 h 5217112"/>
              <a:gd name="connsiteX15151" fmla="*/ 1919886 w 6785952"/>
              <a:gd name="connsiteY15151" fmla="*/ 892270 h 5217112"/>
              <a:gd name="connsiteX15152" fmla="*/ 1921534 w 6785952"/>
              <a:gd name="connsiteY15152" fmla="*/ 889546 h 5217112"/>
              <a:gd name="connsiteX15153" fmla="*/ 1906701 w 6785952"/>
              <a:gd name="connsiteY15153" fmla="*/ 907745 h 5217112"/>
              <a:gd name="connsiteX15154" fmla="*/ 1894614 w 6785952"/>
              <a:gd name="connsiteY15154" fmla="*/ 907853 h 5217112"/>
              <a:gd name="connsiteX15155" fmla="*/ 1894339 w 6785952"/>
              <a:gd name="connsiteY15155" fmla="*/ 908072 h 5217112"/>
              <a:gd name="connsiteX15156" fmla="*/ 1894889 w 6785952"/>
              <a:gd name="connsiteY15156" fmla="*/ 909597 h 5217112"/>
              <a:gd name="connsiteX15157" fmla="*/ 1896537 w 6785952"/>
              <a:gd name="connsiteY15157" fmla="*/ 909815 h 5217112"/>
              <a:gd name="connsiteX15158" fmla="*/ 1894889 w 6785952"/>
              <a:gd name="connsiteY15158" fmla="*/ 912540 h 5217112"/>
              <a:gd name="connsiteX15159" fmla="*/ 1884725 w 6785952"/>
              <a:gd name="connsiteY15159" fmla="*/ 915699 h 5217112"/>
              <a:gd name="connsiteX15160" fmla="*/ 1883077 w 6785952"/>
              <a:gd name="connsiteY15160" fmla="*/ 911341 h 5217112"/>
              <a:gd name="connsiteX15161" fmla="*/ 1884176 w 6785952"/>
              <a:gd name="connsiteY15161" fmla="*/ 909271 h 5217112"/>
              <a:gd name="connsiteX15162" fmla="*/ 1875661 w 6785952"/>
              <a:gd name="connsiteY15162" fmla="*/ 910905 h 5217112"/>
              <a:gd name="connsiteX15163" fmla="*/ 1846543 w 6785952"/>
              <a:gd name="connsiteY15163" fmla="*/ 906219 h 5217112"/>
              <a:gd name="connsiteX15164" fmla="*/ 1827864 w 6785952"/>
              <a:gd name="connsiteY15164" fmla="*/ 876470 h 5217112"/>
              <a:gd name="connsiteX15165" fmla="*/ 1829237 w 6785952"/>
              <a:gd name="connsiteY15165" fmla="*/ 855873 h 5217112"/>
              <a:gd name="connsiteX15166" fmla="*/ 1831709 w 6785952"/>
              <a:gd name="connsiteY15166" fmla="*/ 845195 h 5217112"/>
              <a:gd name="connsiteX15167" fmla="*/ 1827864 w 6785952"/>
              <a:gd name="connsiteY15167" fmla="*/ 839092 h 5217112"/>
              <a:gd name="connsiteX15168" fmla="*/ 1833632 w 6785952"/>
              <a:gd name="connsiteY15168" fmla="*/ 837893 h 5217112"/>
              <a:gd name="connsiteX15169" fmla="*/ 1834456 w 6785952"/>
              <a:gd name="connsiteY15169" fmla="*/ 834515 h 5217112"/>
              <a:gd name="connsiteX15170" fmla="*/ 1839125 w 6785952"/>
              <a:gd name="connsiteY15170" fmla="*/ 825470 h 5217112"/>
              <a:gd name="connsiteX15171" fmla="*/ 1838302 w 6785952"/>
              <a:gd name="connsiteY15171" fmla="*/ 824925 h 5217112"/>
              <a:gd name="connsiteX15172" fmla="*/ 1838302 w 6785952"/>
              <a:gd name="connsiteY15172" fmla="*/ 820457 h 5217112"/>
              <a:gd name="connsiteX15173" fmla="*/ 1843795 w 6785952"/>
              <a:gd name="connsiteY15173" fmla="*/ 816099 h 5217112"/>
              <a:gd name="connsiteX15174" fmla="*/ 1844345 w 6785952"/>
              <a:gd name="connsiteY15174" fmla="*/ 814900 h 5217112"/>
              <a:gd name="connsiteX15175" fmla="*/ 1860552 w 6785952"/>
              <a:gd name="connsiteY15175" fmla="*/ 799971 h 5217112"/>
              <a:gd name="connsiteX15176" fmla="*/ 1875111 w 6785952"/>
              <a:gd name="connsiteY15176" fmla="*/ 794086 h 5217112"/>
              <a:gd name="connsiteX15177" fmla="*/ 1880330 w 6785952"/>
              <a:gd name="connsiteY15177" fmla="*/ 793976 h 5217112"/>
              <a:gd name="connsiteX15178" fmla="*/ 1883901 w 6785952"/>
              <a:gd name="connsiteY15178" fmla="*/ 792125 h 5217112"/>
              <a:gd name="connsiteX15179" fmla="*/ 1902031 w 6785952"/>
              <a:gd name="connsiteY15179" fmla="*/ 785259 h 5217112"/>
              <a:gd name="connsiteX15180" fmla="*/ 1302922 w 6785952"/>
              <a:gd name="connsiteY15180" fmla="*/ 785041 h 5217112"/>
              <a:gd name="connsiteX15181" fmla="*/ 1311712 w 6785952"/>
              <a:gd name="connsiteY15181" fmla="*/ 798009 h 5217112"/>
              <a:gd name="connsiteX15182" fmla="*/ 1253751 w 6785952"/>
              <a:gd name="connsiteY15182" fmla="*/ 845957 h 5217112"/>
              <a:gd name="connsiteX15183" fmla="*/ 1302922 w 6785952"/>
              <a:gd name="connsiteY15183" fmla="*/ 785041 h 5217112"/>
              <a:gd name="connsiteX15184" fmla="*/ 1902855 w 6785952"/>
              <a:gd name="connsiteY15184" fmla="*/ 783406 h 5217112"/>
              <a:gd name="connsiteX15185" fmla="*/ 1905602 w 6785952"/>
              <a:gd name="connsiteY15185" fmla="*/ 784823 h 5217112"/>
              <a:gd name="connsiteX15186" fmla="*/ 1902306 w 6785952"/>
              <a:gd name="connsiteY15186" fmla="*/ 785477 h 5217112"/>
              <a:gd name="connsiteX15187" fmla="*/ 1902855 w 6785952"/>
              <a:gd name="connsiteY15187" fmla="*/ 783406 h 5217112"/>
              <a:gd name="connsiteX15188" fmla="*/ 2096240 w 6785952"/>
              <a:gd name="connsiteY15188" fmla="*/ 782861 h 5217112"/>
              <a:gd name="connsiteX15189" fmla="*/ 2095141 w 6785952"/>
              <a:gd name="connsiteY15189" fmla="*/ 788092 h 5217112"/>
              <a:gd name="connsiteX15190" fmla="*/ 2093493 w 6785952"/>
              <a:gd name="connsiteY15190" fmla="*/ 787438 h 5217112"/>
              <a:gd name="connsiteX15191" fmla="*/ 2094042 w 6785952"/>
              <a:gd name="connsiteY15191" fmla="*/ 788746 h 5217112"/>
              <a:gd name="connsiteX15192" fmla="*/ 2092669 w 6785952"/>
              <a:gd name="connsiteY15192" fmla="*/ 787221 h 5217112"/>
              <a:gd name="connsiteX15193" fmla="*/ 2092944 w 6785952"/>
              <a:gd name="connsiteY15193" fmla="*/ 786131 h 5217112"/>
              <a:gd name="connsiteX15194" fmla="*/ 2096240 w 6785952"/>
              <a:gd name="connsiteY15194" fmla="*/ 782861 h 5217112"/>
              <a:gd name="connsiteX15195" fmla="*/ 1699307 w 6785952"/>
              <a:gd name="connsiteY15195" fmla="*/ 782861 h 5217112"/>
              <a:gd name="connsiteX15196" fmla="*/ 1699307 w 6785952"/>
              <a:gd name="connsiteY15196" fmla="*/ 822964 h 5217112"/>
              <a:gd name="connsiteX15197" fmla="*/ 1692713 w 6785952"/>
              <a:gd name="connsiteY15197" fmla="*/ 788528 h 5217112"/>
              <a:gd name="connsiteX15198" fmla="*/ 1699307 w 6785952"/>
              <a:gd name="connsiteY15198" fmla="*/ 782861 h 5217112"/>
              <a:gd name="connsiteX15199" fmla="*/ 1661673 w 6785952"/>
              <a:gd name="connsiteY15199" fmla="*/ 782861 h 5217112"/>
              <a:gd name="connsiteX15200" fmla="*/ 1667716 w 6785952"/>
              <a:gd name="connsiteY15200" fmla="*/ 783843 h 5217112"/>
              <a:gd name="connsiteX15201" fmla="*/ 1668266 w 6785952"/>
              <a:gd name="connsiteY15201" fmla="*/ 785804 h 5217112"/>
              <a:gd name="connsiteX15202" fmla="*/ 1674309 w 6785952"/>
              <a:gd name="connsiteY15202" fmla="*/ 786022 h 5217112"/>
              <a:gd name="connsiteX15203" fmla="*/ 1676506 w 6785952"/>
              <a:gd name="connsiteY15203" fmla="*/ 800406 h 5217112"/>
              <a:gd name="connsiteX15204" fmla="*/ 1653158 w 6785952"/>
              <a:gd name="connsiteY15204" fmla="*/ 816534 h 5217112"/>
              <a:gd name="connsiteX15205" fmla="*/ 1652883 w 6785952"/>
              <a:gd name="connsiteY15205" fmla="*/ 815118 h 5217112"/>
              <a:gd name="connsiteX15206" fmla="*/ 1645192 w 6785952"/>
              <a:gd name="connsiteY15206" fmla="*/ 820893 h 5217112"/>
              <a:gd name="connsiteX15207" fmla="*/ 1638598 w 6785952"/>
              <a:gd name="connsiteY15207" fmla="*/ 812285 h 5217112"/>
              <a:gd name="connsiteX15208" fmla="*/ 1638323 w 6785952"/>
              <a:gd name="connsiteY15208" fmla="*/ 808688 h 5217112"/>
              <a:gd name="connsiteX15209" fmla="*/ 1635852 w 6785952"/>
              <a:gd name="connsiteY15209" fmla="*/ 807817 h 5217112"/>
              <a:gd name="connsiteX15210" fmla="*/ 1634754 w 6785952"/>
              <a:gd name="connsiteY15210" fmla="*/ 793323 h 5217112"/>
              <a:gd name="connsiteX15211" fmla="*/ 1638873 w 6785952"/>
              <a:gd name="connsiteY15211" fmla="*/ 790599 h 5217112"/>
              <a:gd name="connsiteX15212" fmla="*/ 1639423 w 6785952"/>
              <a:gd name="connsiteY15212" fmla="*/ 789073 h 5217112"/>
              <a:gd name="connsiteX15213" fmla="*/ 1642993 w 6785952"/>
              <a:gd name="connsiteY15213" fmla="*/ 788311 h 5217112"/>
              <a:gd name="connsiteX15214" fmla="*/ 1645741 w 6785952"/>
              <a:gd name="connsiteY15214" fmla="*/ 790599 h 5217112"/>
              <a:gd name="connsiteX15215" fmla="*/ 1646015 w 6785952"/>
              <a:gd name="connsiteY15215" fmla="*/ 790817 h 5217112"/>
              <a:gd name="connsiteX15216" fmla="*/ 1648762 w 6785952"/>
              <a:gd name="connsiteY15216" fmla="*/ 791362 h 5217112"/>
              <a:gd name="connsiteX15217" fmla="*/ 1649861 w 6785952"/>
              <a:gd name="connsiteY15217" fmla="*/ 793759 h 5217112"/>
              <a:gd name="connsiteX15218" fmla="*/ 1653707 w 6785952"/>
              <a:gd name="connsiteY15218" fmla="*/ 792996 h 5217112"/>
              <a:gd name="connsiteX15219" fmla="*/ 1658926 w 6785952"/>
              <a:gd name="connsiteY15219" fmla="*/ 789073 h 5217112"/>
              <a:gd name="connsiteX15220" fmla="*/ 1660024 w 6785952"/>
              <a:gd name="connsiteY15220" fmla="*/ 788528 h 5217112"/>
              <a:gd name="connsiteX15221" fmla="*/ 6079316 w 6785952"/>
              <a:gd name="connsiteY15221" fmla="*/ 782753 h 5217112"/>
              <a:gd name="connsiteX15222" fmla="*/ 6101841 w 6785952"/>
              <a:gd name="connsiteY15222" fmla="*/ 785804 h 5217112"/>
              <a:gd name="connsiteX15223" fmla="*/ 6104588 w 6785952"/>
              <a:gd name="connsiteY15223" fmla="*/ 789073 h 5217112"/>
              <a:gd name="connsiteX15224" fmla="*/ 6105961 w 6785952"/>
              <a:gd name="connsiteY15224" fmla="*/ 789182 h 5217112"/>
              <a:gd name="connsiteX15225" fmla="*/ 6107335 w 6785952"/>
              <a:gd name="connsiteY15225" fmla="*/ 792451 h 5217112"/>
              <a:gd name="connsiteX15226" fmla="*/ 6103763 w 6785952"/>
              <a:gd name="connsiteY15226" fmla="*/ 793868 h 5217112"/>
              <a:gd name="connsiteX15227" fmla="*/ 6098819 w 6785952"/>
              <a:gd name="connsiteY15227" fmla="*/ 792887 h 5217112"/>
              <a:gd name="connsiteX15228" fmla="*/ 6091952 w 6785952"/>
              <a:gd name="connsiteY15228" fmla="*/ 792016 h 5217112"/>
              <a:gd name="connsiteX15229" fmla="*/ 6069427 w 6785952"/>
              <a:gd name="connsiteY15229" fmla="*/ 783298 h 5217112"/>
              <a:gd name="connsiteX15230" fmla="*/ 6079316 w 6785952"/>
              <a:gd name="connsiteY15230" fmla="*/ 782753 h 5217112"/>
              <a:gd name="connsiteX15231" fmla="*/ 1393296 w 6785952"/>
              <a:gd name="connsiteY15231" fmla="*/ 781881 h 5217112"/>
              <a:gd name="connsiteX15232" fmla="*/ 1400163 w 6785952"/>
              <a:gd name="connsiteY15232" fmla="*/ 782971 h 5217112"/>
              <a:gd name="connsiteX15233" fmla="*/ 1402361 w 6785952"/>
              <a:gd name="connsiteY15233" fmla="*/ 795394 h 5217112"/>
              <a:gd name="connsiteX15234" fmla="*/ 1404559 w 6785952"/>
              <a:gd name="connsiteY15234" fmla="*/ 803131 h 5217112"/>
              <a:gd name="connsiteX15235" fmla="*/ 1399614 w 6785952"/>
              <a:gd name="connsiteY15235" fmla="*/ 793432 h 5217112"/>
              <a:gd name="connsiteX15236" fmla="*/ 1395494 w 6785952"/>
              <a:gd name="connsiteY15236" fmla="*/ 791252 h 5217112"/>
              <a:gd name="connsiteX15237" fmla="*/ 1393296 w 6785952"/>
              <a:gd name="connsiteY15237" fmla="*/ 781881 h 5217112"/>
              <a:gd name="connsiteX15238" fmla="*/ 2759903 w 6785952"/>
              <a:gd name="connsiteY15238" fmla="*/ 780682 h 5217112"/>
              <a:gd name="connsiteX15239" fmla="*/ 2773637 w 6785952"/>
              <a:gd name="connsiteY15239" fmla="*/ 797247 h 5217112"/>
              <a:gd name="connsiteX15240" fmla="*/ 2756881 w 6785952"/>
              <a:gd name="connsiteY15240" fmla="*/ 803240 h 5217112"/>
              <a:gd name="connsiteX15241" fmla="*/ 2755508 w 6785952"/>
              <a:gd name="connsiteY15241" fmla="*/ 801714 h 5217112"/>
              <a:gd name="connsiteX15242" fmla="*/ 2754135 w 6785952"/>
              <a:gd name="connsiteY15242" fmla="*/ 802804 h 5217112"/>
              <a:gd name="connsiteX15243" fmla="*/ 2743421 w 6785952"/>
              <a:gd name="connsiteY15243" fmla="*/ 804656 h 5217112"/>
              <a:gd name="connsiteX15244" fmla="*/ 2747266 w 6785952"/>
              <a:gd name="connsiteY15244" fmla="*/ 795394 h 5217112"/>
              <a:gd name="connsiteX15245" fmla="*/ 2752211 w 6785952"/>
              <a:gd name="connsiteY15245" fmla="*/ 794958 h 5217112"/>
              <a:gd name="connsiteX15246" fmla="*/ 2751937 w 6785952"/>
              <a:gd name="connsiteY15246" fmla="*/ 790926 h 5217112"/>
              <a:gd name="connsiteX15247" fmla="*/ 2759903 w 6785952"/>
              <a:gd name="connsiteY15247" fmla="*/ 780682 h 5217112"/>
              <a:gd name="connsiteX15248" fmla="*/ 2081681 w 6785952"/>
              <a:gd name="connsiteY15248" fmla="*/ 780355 h 5217112"/>
              <a:gd name="connsiteX15249" fmla="*/ 2083329 w 6785952"/>
              <a:gd name="connsiteY15249" fmla="*/ 786131 h 5217112"/>
              <a:gd name="connsiteX15250" fmla="*/ 2074814 w 6785952"/>
              <a:gd name="connsiteY15250" fmla="*/ 791906 h 5217112"/>
              <a:gd name="connsiteX15251" fmla="*/ 2067671 w 6785952"/>
              <a:gd name="connsiteY15251" fmla="*/ 786784 h 5217112"/>
              <a:gd name="connsiteX15252" fmla="*/ 2081681 w 6785952"/>
              <a:gd name="connsiteY15252" fmla="*/ 780355 h 5217112"/>
              <a:gd name="connsiteX15253" fmla="*/ 1911371 w 6785952"/>
              <a:gd name="connsiteY15253" fmla="*/ 779702 h 5217112"/>
              <a:gd name="connsiteX15254" fmla="*/ 1911920 w 6785952"/>
              <a:gd name="connsiteY15254" fmla="*/ 780900 h 5217112"/>
              <a:gd name="connsiteX15255" fmla="*/ 1909997 w 6785952"/>
              <a:gd name="connsiteY15255" fmla="*/ 781881 h 5217112"/>
              <a:gd name="connsiteX15256" fmla="*/ 1908623 w 6785952"/>
              <a:gd name="connsiteY15256" fmla="*/ 781445 h 5217112"/>
              <a:gd name="connsiteX15257" fmla="*/ 1911371 w 6785952"/>
              <a:gd name="connsiteY15257" fmla="*/ 779702 h 5217112"/>
              <a:gd name="connsiteX15258" fmla="*/ 6109807 w 6785952"/>
              <a:gd name="connsiteY15258" fmla="*/ 779592 h 5217112"/>
              <a:gd name="connsiteX15259" fmla="*/ 6130684 w 6785952"/>
              <a:gd name="connsiteY15259" fmla="*/ 781663 h 5217112"/>
              <a:gd name="connsiteX15260" fmla="*/ 6118048 w 6785952"/>
              <a:gd name="connsiteY15260" fmla="*/ 796048 h 5217112"/>
              <a:gd name="connsiteX15261" fmla="*/ 6109807 w 6785952"/>
              <a:gd name="connsiteY15261" fmla="*/ 779592 h 5217112"/>
              <a:gd name="connsiteX15262" fmla="*/ 2496470 w 6785952"/>
              <a:gd name="connsiteY15262" fmla="*/ 776759 h 5217112"/>
              <a:gd name="connsiteX15263" fmla="*/ 2491526 w 6785952"/>
              <a:gd name="connsiteY15263" fmla="*/ 779811 h 5217112"/>
              <a:gd name="connsiteX15264" fmla="*/ 2490976 w 6785952"/>
              <a:gd name="connsiteY15264" fmla="*/ 778503 h 5217112"/>
              <a:gd name="connsiteX15265" fmla="*/ 2496470 w 6785952"/>
              <a:gd name="connsiteY15265" fmla="*/ 776759 h 5217112"/>
              <a:gd name="connsiteX15266" fmla="*/ 1917414 w 6785952"/>
              <a:gd name="connsiteY15266" fmla="*/ 776106 h 5217112"/>
              <a:gd name="connsiteX15267" fmla="*/ 1920710 w 6785952"/>
              <a:gd name="connsiteY15267" fmla="*/ 779047 h 5217112"/>
              <a:gd name="connsiteX15268" fmla="*/ 1916315 w 6785952"/>
              <a:gd name="connsiteY15268" fmla="*/ 779920 h 5217112"/>
              <a:gd name="connsiteX15269" fmla="*/ 1912469 w 6785952"/>
              <a:gd name="connsiteY15269" fmla="*/ 779266 h 5217112"/>
              <a:gd name="connsiteX15270" fmla="*/ 1917414 w 6785952"/>
              <a:gd name="connsiteY15270" fmla="*/ 776106 h 5217112"/>
              <a:gd name="connsiteX15271" fmla="*/ 4478943 w 6785952"/>
              <a:gd name="connsiteY15271" fmla="*/ 775560 h 5217112"/>
              <a:gd name="connsiteX15272" fmla="*/ 4486910 w 6785952"/>
              <a:gd name="connsiteY15272" fmla="*/ 779266 h 5217112"/>
              <a:gd name="connsiteX15273" fmla="*/ 4459715 w 6785952"/>
              <a:gd name="connsiteY15273" fmla="*/ 799643 h 5217112"/>
              <a:gd name="connsiteX15274" fmla="*/ 4450101 w 6785952"/>
              <a:gd name="connsiteY15274" fmla="*/ 795720 h 5217112"/>
              <a:gd name="connsiteX15275" fmla="*/ 4478943 w 6785952"/>
              <a:gd name="connsiteY15275" fmla="*/ 775560 h 5217112"/>
              <a:gd name="connsiteX15276" fmla="*/ 2440707 w 6785952"/>
              <a:gd name="connsiteY15276" fmla="*/ 775452 h 5217112"/>
              <a:gd name="connsiteX15277" fmla="*/ 2463232 w 6785952"/>
              <a:gd name="connsiteY15277" fmla="*/ 778394 h 5217112"/>
              <a:gd name="connsiteX15278" fmla="*/ 2465980 w 6785952"/>
              <a:gd name="connsiteY15278" fmla="*/ 781663 h 5217112"/>
              <a:gd name="connsiteX15279" fmla="*/ 2467353 w 6785952"/>
              <a:gd name="connsiteY15279" fmla="*/ 781881 h 5217112"/>
              <a:gd name="connsiteX15280" fmla="*/ 2468726 w 6785952"/>
              <a:gd name="connsiteY15280" fmla="*/ 785041 h 5217112"/>
              <a:gd name="connsiteX15281" fmla="*/ 2464881 w 6785952"/>
              <a:gd name="connsiteY15281" fmla="*/ 786349 h 5217112"/>
              <a:gd name="connsiteX15282" fmla="*/ 2460211 w 6785952"/>
              <a:gd name="connsiteY15282" fmla="*/ 785477 h 5217112"/>
              <a:gd name="connsiteX15283" fmla="*/ 2453068 w 6785952"/>
              <a:gd name="connsiteY15283" fmla="*/ 784605 h 5217112"/>
              <a:gd name="connsiteX15284" fmla="*/ 2430544 w 6785952"/>
              <a:gd name="connsiteY15284" fmla="*/ 775997 h 5217112"/>
              <a:gd name="connsiteX15285" fmla="*/ 2440707 w 6785952"/>
              <a:gd name="connsiteY15285" fmla="*/ 775452 h 5217112"/>
              <a:gd name="connsiteX15286" fmla="*/ 2698715 w 6785952"/>
              <a:gd name="connsiteY15286" fmla="*/ 774402 h 5217112"/>
              <a:gd name="connsiteX15287" fmla="*/ 2714304 w 6785952"/>
              <a:gd name="connsiteY15287" fmla="*/ 779483 h 5217112"/>
              <a:gd name="connsiteX15288" fmla="*/ 2722819 w 6785952"/>
              <a:gd name="connsiteY15288" fmla="*/ 785259 h 5217112"/>
              <a:gd name="connsiteX15289" fmla="*/ 2723918 w 6785952"/>
              <a:gd name="connsiteY15289" fmla="*/ 780682 h 5217112"/>
              <a:gd name="connsiteX15290" fmla="*/ 2743971 w 6785952"/>
              <a:gd name="connsiteY15290" fmla="*/ 775778 h 5217112"/>
              <a:gd name="connsiteX15291" fmla="*/ 2742322 w 6785952"/>
              <a:gd name="connsiteY15291" fmla="*/ 788964 h 5217112"/>
              <a:gd name="connsiteX15292" fmla="*/ 2738752 w 6785952"/>
              <a:gd name="connsiteY15292" fmla="*/ 789618 h 5217112"/>
              <a:gd name="connsiteX15293" fmla="*/ 2736828 w 6785952"/>
              <a:gd name="connsiteY15293" fmla="*/ 791144 h 5217112"/>
              <a:gd name="connsiteX15294" fmla="*/ 2738202 w 6785952"/>
              <a:gd name="connsiteY15294" fmla="*/ 794958 h 5217112"/>
              <a:gd name="connsiteX15295" fmla="*/ 2742872 w 6785952"/>
              <a:gd name="connsiteY15295" fmla="*/ 800406 h 5217112"/>
              <a:gd name="connsiteX15296" fmla="*/ 2734082 w 6785952"/>
              <a:gd name="connsiteY15296" fmla="*/ 801496 h 5217112"/>
              <a:gd name="connsiteX15297" fmla="*/ 2725840 w 6785952"/>
              <a:gd name="connsiteY15297" fmla="*/ 799426 h 5217112"/>
              <a:gd name="connsiteX15298" fmla="*/ 2729137 w 6785952"/>
              <a:gd name="connsiteY15298" fmla="*/ 790926 h 5217112"/>
              <a:gd name="connsiteX15299" fmla="*/ 2725567 w 6785952"/>
              <a:gd name="connsiteY15299" fmla="*/ 790381 h 5217112"/>
              <a:gd name="connsiteX15300" fmla="*/ 2722270 w 6785952"/>
              <a:gd name="connsiteY15300" fmla="*/ 787983 h 5217112"/>
              <a:gd name="connsiteX15301" fmla="*/ 2722819 w 6785952"/>
              <a:gd name="connsiteY15301" fmla="*/ 785695 h 5217112"/>
              <a:gd name="connsiteX15302" fmla="*/ 2714029 w 6785952"/>
              <a:gd name="connsiteY15302" fmla="*/ 789509 h 5217112"/>
              <a:gd name="connsiteX15303" fmla="*/ 2707161 w 6785952"/>
              <a:gd name="connsiteY15303" fmla="*/ 789400 h 5217112"/>
              <a:gd name="connsiteX15304" fmla="*/ 2686834 w 6785952"/>
              <a:gd name="connsiteY15304" fmla="*/ 780028 h 5217112"/>
              <a:gd name="connsiteX15305" fmla="*/ 2698715 w 6785952"/>
              <a:gd name="connsiteY15305" fmla="*/ 774402 h 5217112"/>
              <a:gd name="connsiteX15306" fmla="*/ 1961914 w 6785952"/>
              <a:gd name="connsiteY15306" fmla="*/ 773163 h 5217112"/>
              <a:gd name="connsiteX15307" fmla="*/ 1964386 w 6785952"/>
              <a:gd name="connsiteY15307" fmla="*/ 782753 h 5217112"/>
              <a:gd name="connsiteX15308" fmla="*/ 1959167 w 6785952"/>
              <a:gd name="connsiteY15308" fmla="*/ 790381 h 5217112"/>
              <a:gd name="connsiteX15309" fmla="*/ 1965486 w 6785952"/>
              <a:gd name="connsiteY15309" fmla="*/ 798009 h 5217112"/>
              <a:gd name="connsiteX15310" fmla="*/ 1972902 w 6785952"/>
              <a:gd name="connsiteY15310" fmla="*/ 817733 h 5217112"/>
              <a:gd name="connsiteX15311" fmla="*/ 1943235 w 6785952"/>
              <a:gd name="connsiteY15311" fmla="*/ 785913 h 5217112"/>
              <a:gd name="connsiteX15312" fmla="*/ 1954223 w 6785952"/>
              <a:gd name="connsiteY15312" fmla="*/ 776432 h 5217112"/>
              <a:gd name="connsiteX15313" fmla="*/ 1955597 w 6785952"/>
              <a:gd name="connsiteY15313" fmla="*/ 780682 h 5217112"/>
              <a:gd name="connsiteX15314" fmla="*/ 1207328 w 6785952"/>
              <a:gd name="connsiteY15314" fmla="*/ 773054 h 5217112"/>
              <a:gd name="connsiteX15315" fmla="*/ 1208701 w 6785952"/>
              <a:gd name="connsiteY15315" fmla="*/ 794958 h 5217112"/>
              <a:gd name="connsiteX15316" fmla="*/ 1206504 w 6785952"/>
              <a:gd name="connsiteY15316" fmla="*/ 791471 h 5217112"/>
              <a:gd name="connsiteX15317" fmla="*/ 1207328 w 6785952"/>
              <a:gd name="connsiteY15317" fmla="*/ 773054 h 5217112"/>
              <a:gd name="connsiteX15318" fmla="*/ 2103932 w 6785952"/>
              <a:gd name="connsiteY15318" fmla="*/ 772728 h 5217112"/>
              <a:gd name="connsiteX15319" fmla="*/ 2096240 w 6785952"/>
              <a:gd name="connsiteY15319" fmla="*/ 782644 h 5217112"/>
              <a:gd name="connsiteX15320" fmla="*/ 2098438 w 6785952"/>
              <a:gd name="connsiteY15320" fmla="*/ 775452 h 5217112"/>
              <a:gd name="connsiteX15321" fmla="*/ 2103932 w 6785952"/>
              <a:gd name="connsiteY15321" fmla="*/ 772728 h 5217112"/>
              <a:gd name="connsiteX15322" fmla="*/ 2470924 w 6785952"/>
              <a:gd name="connsiteY15322" fmla="*/ 772183 h 5217112"/>
              <a:gd name="connsiteX15323" fmla="*/ 2492075 w 6785952"/>
              <a:gd name="connsiteY15323" fmla="*/ 774362 h 5217112"/>
              <a:gd name="connsiteX15324" fmla="*/ 2479439 w 6785952"/>
              <a:gd name="connsiteY15324" fmla="*/ 788637 h 5217112"/>
              <a:gd name="connsiteX15325" fmla="*/ 2470924 w 6785952"/>
              <a:gd name="connsiteY15325" fmla="*/ 772183 h 5217112"/>
              <a:gd name="connsiteX15326" fmla="*/ 2261606 w 6785952"/>
              <a:gd name="connsiteY15326" fmla="*/ 771529 h 5217112"/>
              <a:gd name="connsiteX15327" fmla="*/ 2261606 w 6785952"/>
              <a:gd name="connsiteY15327" fmla="*/ 772945 h 5217112"/>
              <a:gd name="connsiteX15328" fmla="*/ 2262980 w 6785952"/>
              <a:gd name="connsiteY15328" fmla="*/ 771746 h 5217112"/>
              <a:gd name="connsiteX15329" fmla="*/ 2264354 w 6785952"/>
              <a:gd name="connsiteY15329" fmla="*/ 792779 h 5217112"/>
              <a:gd name="connsiteX15330" fmla="*/ 2262980 w 6785952"/>
              <a:gd name="connsiteY15330" fmla="*/ 792560 h 5217112"/>
              <a:gd name="connsiteX15331" fmla="*/ 2260782 w 6785952"/>
              <a:gd name="connsiteY15331" fmla="*/ 776868 h 5217112"/>
              <a:gd name="connsiteX15332" fmla="*/ 2261606 w 6785952"/>
              <a:gd name="connsiteY15332" fmla="*/ 771529 h 5217112"/>
              <a:gd name="connsiteX15333" fmla="*/ 1539433 w 6785952"/>
              <a:gd name="connsiteY15333" fmla="*/ 771529 h 5217112"/>
              <a:gd name="connsiteX15334" fmla="*/ 1546026 w 6785952"/>
              <a:gd name="connsiteY15334" fmla="*/ 776542 h 5217112"/>
              <a:gd name="connsiteX15335" fmla="*/ 1541907 w 6785952"/>
              <a:gd name="connsiteY15335" fmla="*/ 780355 h 5217112"/>
              <a:gd name="connsiteX15336" fmla="*/ 1536962 w 6785952"/>
              <a:gd name="connsiteY15336" fmla="*/ 778285 h 5217112"/>
              <a:gd name="connsiteX15337" fmla="*/ 1539433 w 6785952"/>
              <a:gd name="connsiteY15337" fmla="*/ 771529 h 5217112"/>
              <a:gd name="connsiteX15338" fmla="*/ 2764298 w 6785952"/>
              <a:gd name="connsiteY15338" fmla="*/ 770984 h 5217112"/>
              <a:gd name="connsiteX15339" fmla="*/ 2765397 w 6785952"/>
              <a:gd name="connsiteY15339" fmla="*/ 775560 h 5217112"/>
              <a:gd name="connsiteX15340" fmla="*/ 2763200 w 6785952"/>
              <a:gd name="connsiteY15340" fmla="*/ 776542 h 5217112"/>
              <a:gd name="connsiteX15341" fmla="*/ 2760727 w 6785952"/>
              <a:gd name="connsiteY15341" fmla="*/ 775888 h 5217112"/>
              <a:gd name="connsiteX15342" fmla="*/ 2758254 w 6785952"/>
              <a:gd name="connsiteY15342" fmla="*/ 773163 h 5217112"/>
              <a:gd name="connsiteX15343" fmla="*/ 2764298 w 6785952"/>
              <a:gd name="connsiteY15343" fmla="*/ 770984 h 5217112"/>
              <a:gd name="connsiteX15344" fmla="*/ 1583934 w 6785952"/>
              <a:gd name="connsiteY15344" fmla="*/ 770766 h 5217112"/>
              <a:gd name="connsiteX15345" fmla="*/ 1574870 w 6785952"/>
              <a:gd name="connsiteY15345" fmla="*/ 781772 h 5217112"/>
              <a:gd name="connsiteX15346" fmla="*/ 1581462 w 6785952"/>
              <a:gd name="connsiteY15346" fmla="*/ 771201 h 5217112"/>
              <a:gd name="connsiteX15347" fmla="*/ 1583934 w 6785952"/>
              <a:gd name="connsiteY15347" fmla="*/ 770766 h 5217112"/>
              <a:gd name="connsiteX15348" fmla="*/ 4166341 w 6785952"/>
              <a:gd name="connsiteY15348" fmla="*/ 770657 h 5217112"/>
              <a:gd name="connsiteX15349" fmla="*/ 4173758 w 6785952"/>
              <a:gd name="connsiteY15349" fmla="*/ 770984 h 5217112"/>
              <a:gd name="connsiteX15350" fmla="*/ 4172384 w 6785952"/>
              <a:gd name="connsiteY15350" fmla="*/ 776977 h 5217112"/>
              <a:gd name="connsiteX15351" fmla="*/ 4168264 w 6785952"/>
              <a:gd name="connsiteY15351" fmla="*/ 778285 h 5217112"/>
              <a:gd name="connsiteX15352" fmla="*/ 4168264 w 6785952"/>
              <a:gd name="connsiteY15352" fmla="*/ 776759 h 5217112"/>
              <a:gd name="connsiteX15353" fmla="*/ 4166341 w 6785952"/>
              <a:gd name="connsiteY15353" fmla="*/ 770657 h 5217112"/>
              <a:gd name="connsiteX15354" fmla="*/ 1670189 w 6785952"/>
              <a:gd name="connsiteY15354" fmla="*/ 770547 h 5217112"/>
              <a:gd name="connsiteX15355" fmla="*/ 1674584 w 6785952"/>
              <a:gd name="connsiteY15355" fmla="*/ 773708 h 5217112"/>
              <a:gd name="connsiteX15356" fmla="*/ 1672936 w 6785952"/>
              <a:gd name="connsiteY15356" fmla="*/ 775124 h 5217112"/>
              <a:gd name="connsiteX15357" fmla="*/ 1674584 w 6785952"/>
              <a:gd name="connsiteY15357" fmla="*/ 775124 h 5217112"/>
              <a:gd name="connsiteX15358" fmla="*/ 1672661 w 6785952"/>
              <a:gd name="connsiteY15358" fmla="*/ 775669 h 5217112"/>
              <a:gd name="connsiteX15359" fmla="*/ 1671562 w 6785952"/>
              <a:gd name="connsiteY15359" fmla="*/ 775015 h 5217112"/>
              <a:gd name="connsiteX15360" fmla="*/ 1670189 w 6785952"/>
              <a:gd name="connsiteY15360" fmla="*/ 770547 h 5217112"/>
              <a:gd name="connsiteX15361" fmla="*/ 1827589 w 6785952"/>
              <a:gd name="connsiteY15361" fmla="*/ 770330 h 5217112"/>
              <a:gd name="connsiteX15362" fmla="*/ 1842697 w 6785952"/>
              <a:gd name="connsiteY15362" fmla="*/ 780465 h 5217112"/>
              <a:gd name="connsiteX15363" fmla="*/ 1827589 w 6785952"/>
              <a:gd name="connsiteY15363" fmla="*/ 770330 h 5217112"/>
              <a:gd name="connsiteX15364" fmla="*/ 1452081 w 6785952"/>
              <a:gd name="connsiteY15364" fmla="*/ 769567 h 5217112"/>
              <a:gd name="connsiteX15365" fmla="*/ 1483945 w 6785952"/>
              <a:gd name="connsiteY15365" fmla="*/ 805201 h 5217112"/>
              <a:gd name="connsiteX15366" fmla="*/ 1478452 w 6785952"/>
              <a:gd name="connsiteY15366" fmla="*/ 806182 h 5217112"/>
              <a:gd name="connsiteX15367" fmla="*/ 1469387 w 6785952"/>
              <a:gd name="connsiteY15367" fmla="*/ 801170 h 5217112"/>
              <a:gd name="connsiteX15368" fmla="*/ 1466091 w 6785952"/>
              <a:gd name="connsiteY15368" fmla="*/ 796810 h 5217112"/>
              <a:gd name="connsiteX15369" fmla="*/ 1464442 w 6785952"/>
              <a:gd name="connsiteY15369" fmla="*/ 797355 h 5217112"/>
              <a:gd name="connsiteX15370" fmla="*/ 1456476 w 6785952"/>
              <a:gd name="connsiteY15370" fmla="*/ 799317 h 5217112"/>
              <a:gd name="connsiteX15371" fmla="*/ 1454004 w 6785952"/>
              <a:gd name="connsiteY15371" fmla="*/ 797900 h 5217112"/>
              <a:gd name="connsiteX15372" fmla="*/ 1454278 w 6785952"/>
              <a:gd name="connsiteY15372" fmla="*/ 793976 h 5217112"/>
              <a:gd name="connsiteX15373" fmla="*/ 1460871 w 6785952"/>
              <a:gd name="connsiteY15373" fmla="*/ 790707 h 5217112"/>
              <a:gd name="connsiteX15374" fmla="*/ 1461146 w 6785952"/>
              <a:gd name="connsiteY15374" fmla="*/ 790707 h 5217112"/>
              <a:gd name="connsiteX15375" fmla="*/ 1455103 w 6785952"/>
              <a:gd name="connsiteY15375" fmla="*/ 779047 h 5217112"/>
              <a:gd name="connsiteX15376" fmla="*/ 1452081 w 6785952"/>
              <a:gd name="connsiteY15376" fmla="*/ 769567 h 5217112"/>
              <a:gd name="connsiteX15377" fmla="*/ 3034048 w 6785952"/>
              <a:gd name="connsiteY15377" fmla="*/ 769240 h 5217112"/>
              <a:gd name="connsiteX15378" fmla="*/ 3042290 w 6785952"/>
              <a:gd name="connsiteY15378" fmla="*/ 769240 h 5217112"/>
              <a:gd name="connsiteX15379" fmla="*/ 3037620 w 6785952"/>
              <a:gd name="connsiteY15379" fmla="*/ 790707 h 5217112"/>
              <a:gd name="connsiteX15380" fmla="*/ 3034048 w 6785952"/>
              <a:gd name="connsiteY15380" fmla="*/ 769240 h 5217112"/>
              <a:gd name="connsiteX15381" fmla="*/ 2309129 w 6785952"/>
              <a:gd name="connsiteY15381" fmla="*/ 769240 h 5217112"/>
              <a:gd name="connsiteX15382" fmla="*/ 2316545 w 6785952"/>
              <a:gd name="connsiteY15382" fmla="*/ 775560 h 5217112"/>
              <a:gd name="connsiteX15383" fmla="*/ 2315447 w 6785952"/>
              <a:gd name="connsiteY15383" fmla="*/ 780246 h 5217112"/>
              <a:gd name="connsiteX15384" fmla="*/ 2309129 w 6785952"/>
              <a:gd name="connsiteY15384" fmla="*/ 784388 h 5217112"/>
              <a:gd name="connsiteX15385" fmla="*/ 2306381 w 6785952"/>
              <a:gd name="connsiteY15385" fmla="*/ 782861 h 5217112"/>
              <a:gd name="connsiteX15386" fmla="*/ 2305283 w 6785952"/>
              <a:gd name="connsiteY15386" fmla="*/ 772291 h 5217112"/>
              <a:gd name="connsiteX15387" fmla="*/ 2309129 w 6785952"/>
              <a:gd name="connsiteY15387" fmla="*/ 769240 h 5217112"/>
              <a:gd name="connsiteX15388" fmla="*/ 2241553 w 6785952"/>
              <a:gd name="connsiteY15388" fmla="*/ 768913 h 5217112"/>
              <a:gd name="connsiteX15389" fmla="*/ 2248147 w 6785952"/>
              <a:gd name="connsiteY15389" fmla="*/ 774907 h 5217112"/>
              <a:gd name="connsiteX15390" fmla="*/ 2244301 w 6785952"/>
              <a:gd name="connsiteY15390" fmla="*/ 780465 h 5217112"/>
              <a:gd name="connsiteX15391" fmla="*/ 2237983 w 6785952"/>
              <a:gd name="connsiteY15391" fmla="*/ 774579 h 5217112"/>
              <a:gd name="connsiteX15392" fmla="*/ 2241553 w 6785952"/>
              <a:gd name="connsiteY15392" fmla="*/ 768913 h 5217112"/>
              <a:gd name="connsiteX15393" fmla="*/ 2851102 w 6785952"/>
              <a:gd name="connsiteY15393" fmla="*/ 768368 h 5217112"/>
              <a:gd name="connsiteX15394" fmla="*/ 2851102 w 6785952"/>
              <a:gd name="connsiteY15394" fmla="*/ 803785 h 5217112"/>
              <a:gd name="connsiteX15395" fmla="*/ 2843959 w 6785952"/>
              <a:gd name="connsiteY15395" fmla="*/ 801605 h 5217112"/>
              <a:gd name="connsiteX15396" fmla="*/ 2851102 w 6785952"/>
              <a:gd name="connsiteY15396" fmla="*/ 768368 h 5217112"/>
              <a:gd name="connsiteX15397" fmla="*/ 1996526 w 6785952"/>
              <a:gd name="connsiteY15397" fmla="*/ 768041 h 5217112"/>
              <a:gd name="connsiteX15398" fmla="*/ 1998724 w 6785952"/>
              <a:gd name="connsiteY15398" fmla="*/ 771965 h 5217112"/>
              <a:gd name="connsiteX15399" fmla="*/ 1990208 w 6785952"/>
              <a:gd name="connsiteY15399" fmla="*/ 775997 h 5217112"/>
              <a:gd name="connsiteX15400" fmla="*/ 1996526 w 6785952"/>
              <a:gd name="connsiteY15400" fmla="*/ 768041 h 5217112"/>
              <a:gd name="connsiteX15401" fmla="*/ 2246223 w 6785952"/>
              <a:gd name="connsiteY15401" fmla="*/ 767823 h 5217112"/>
              <a:gd name="connsiteX15402" fmla="*/ 2251992 w 6785952"/>
              <a:gd name="connsiteY15402" fmla="*/ 768695 h 5217112"/>
              <a:gd name="connsiteX15403" fmla="*/ 2251717 w 6785952"/>
              <a:gd name="connsiteY15403" fmla="*/ 771638 h 5217112"/>
              <a:gd name="connsiteX15404" fmla="*/ 2257486 w 6785952"/>
              <a:gd name="connsiteY15404" fmla="*/ 794849 h 5217112"/>
              <a:gd name="connsiteX15405" fmla="*/ 2246223 w 6785952"/>
              <a:gd name="connsiteY15405" fmla="*/ 767823 h 5217112"/>
              <a:gd name="connsiteX15406" fmla="*/ 4442272 w 6785952"/>
              <a:gd name="connsiteY15406" fmla="*/ 766720 h 5217112"/>
              <a:gd name="connsiteX15407" fmla="*/ 4450101 w 6785952"/>
              <a:gd name="connsiteY15407" fmla="*/ 766734 h 5217112"/>
              <a:gd name="connsiteX15408" fmla="*/ 4441035 w 6785952"/>
              <a:gd name="connsiteY15408" fmla="*/ 774798 h 5217112"/>
              <a:gd name="connsiteX15409" fmla="*/ 4437740 w 6785952"/>
              <a:gd name="connsiteY15409" fmla="*/ 774144 h 5217112"/>
              <a:gd name="connsiteX15410" fmla="*/ 4442272 w 6785952"/>
              <a:gd name="connsiteY15410" fmla="*/ 766720 h 5217112"/>
              <a:gd name="connsiteX15411" fmla="*/ 1635302 w 6785952"/>
              <a:gd name="connsiteY15411" fmla="*/ 766625 h 5217112"/>
              <a:gd name="connsiteX15412" fmla="*/ 1627610 w 6785952"/>
              <a:gd name="connsiteY15412" fmla="*/ 788201 h 5217112"/>
              <a:gd name="connsiteX15413" fmla="*/ 1621567 w 6785952"/>
              <a:gd name="connsiteY15413" fmla="*/ 783624 h 5217112"/>
              <a:gd name="connsiteX15414" fmla="*/ 1627062 w 6785952"/>
              <a:gd name="connsiteY15414" fmla="*/ 766843 h 5217112"/>
              <a:gd name="connsiteX15415" fmla="*/ 1635302 w 6785952"/>
              <a:gd name="connsiteY15415" fmla="*/ 766625 h 5217112"/>
              <a:gd name="connsiteX15416" fmla="*/ 2600580 w 6785952"/>
              <a:gd name="connsiteY15416" fmla="*/ 766407 h 5217112"/>
              <a:gd name="connsiteX15417" fmla="*/ 2603876 w 6785952"/>
              <a:gd name="connsiteY15417" fmla="*/ 772836 h 5217112"/>
              <a:gd name="connsiteX15418" fmla="*/ 2600305 w 6785952"/>
              <a:gd name="connsiteY15418" fmla="*/ 772074 h 5217112"/>
              <a:gd name="connsiteX15419" fmla="*/ 2599481 w 6785952"/>
              <a:gd name="connsiteY15419" fmla="*/ 767170 h 5217112"/>
              <a:gd name="connsiteX15420" fmla="*/ 2600580 w 6785952"/>
              <a:gd name="connsiteY15420" fmla="*/ 766407 h 5217112"/>
              <a:gd name="connsiteX15421" fmla="*/ 2827752 w 6785952"/>
              <a:gd name="connsiteY15421" fmla="*/ 765644 h 5217112"/>
              <a:gd name="connsiteX15422" fmla="*/ 2821160 w 6785952"/>
              <a:gd name="connsiteY15422" fmla="*/ 783189 h 5217112"/>
              <a:gd name="connsiteX15423" fmla="*/ 2816215 w 6785952"/>
              <a:gd name="connsiteY15423" fmla="*/ 771529 h 5217112"/>
              <a:gd name="connsiteX15424" fmla="*/ 2827752 w 6785952"/>
              <a:gd name="connsiteY15424" fmla="*/ 765644 h 5217112"/>
              <a:gd name="connsiteX15425" fmla="*/ 4405600 w 6785952"/>
              <a:gd name="connsiteY15425" fmla="*/ 765426 h 5217112"/>
              <a:gd name="connsiteX15426" fmla="*/ 4413017 w 6785952"/>
              <a:gd name="connsiteY15426" fmla="*/ 778176 h 5217112"/>
              <a:gd name="connsiteX15427" fmla="*/ 4414115 w 6785952"/>
              <a:gd name="connsiteY15427" fmla="*/ 786784 h 5217112"/>
              <a:gd name="connsiteX15428" fmla="*/ 4419060 w 6785952"/>
              <a:gd name="connsiteY15428" fmla="*/ 784932 h 5217112"/>
              <a:gd name="connsiteX15429" fmla="*/ 4417412 w 6785952"/>
              <a:gd name="connsiteY15429" fmla="*/ 809778 h 5217112"/>
              <a:gd name="connsiteX15430" fmla="*/ 4413291 w 6785952"/>
              <a:gd name="connsiteY15430" fmla="*/ 809124 h 5217112"/>
              <a:gd name="connsiteX15431" fmla="*/ 4412193 w 6785952"/>
              <a:gd name="connsiteY15431" fmla="*/ 796157 h 5217112"/>
              <a:gd name="connsiteX15432" fmla="*/ 4413017 w 6785952"/>
              <a:gd name="connsiteY15432" fmla="*/ 789182 h 5217112"/>
              <a:gd name="connsiteX15433" fmla="*/ 4405600 w 6785952"/>
              <a:gd name="connsiteY15433" fmla="*/ 793105 h 5217112"/>
              <a:gd name="connsiteX15434" fmla="*/ 4392414 w 6785952"/>
              <a:gd name="connsiteY15434" fmla="*/ 790490 h 5217112"/>
              <a:gd name="connsiteX15435" fmla="*/ 4405600 w 6785952"/>
              <a:gd name="connsiteY15435" fmla="*/ 765426 h 5217112"/>
              <a:gd name="connsiteX15436" fmla="*/ 3056586 w 6785952"/>
              <a:gd name="connsiteY15436" fmla="*/ 765055 h 5217112"/>
              <a:gd name="connsiteX15437" fmla="*/ 3057397 w 6785952"/>
              <a:gd name="connsiteY15437" fmla="*/ 775015 h 5217112"/>
              <a:gd name="connsiteX15438" fmla="*/ 3052453 w 6785952"/>
              <a:gd name="connsiteY15438" fmla="*/ 767932 h 5217112"/>
              <a:gd name="connsiteX15439" fmla="*/ 3056586 w 6785952"/>
              <a:gd name="connsiteY15439" fmla="*/ 765055 h 5217112"/>
              <a:gd name="connsiteX15440" fmla="*/ 1214470 w 6785952"/>
              <a:gd name="connsiteY15440" fmla="*/ 764554 h 5217112"/>
              <a:gd name="connsiteX15441" fmla="*/ 1216942 w 6785952"/>
              <a:gd name="connsiteY15441" fmla="*/ 772400 h 5217112"/>
              <a:gd name="connsiteX15442" fmla="*/ 1213097 w 6785952"/>
              <a:gd name="connsiteY15442" fmla="*/ 765862 h 5217112"/>
              <a:gd name="connsiteX15443" fmla="*/ 1214470 w 6785952"/>
              <a:gd name="connsiteY15443" fmla="*/ 764554 h 5217112"/>
              <a:gd name="connsiteX15444" fmla="*/ 1773199 w 6785952"/>
              <a:gd name="connsiteY15444" fmla="*/ 761285 h 5217112"/>
              <a:gd name="connsiteX15445" fmla="*/ 1777319 w 6785952"/>
              <a:gd name="connsiteY15445" fmla="*/ 769676 h 5217112"/>
              <a:gd name="connsiteX15446" fmla="*/ 1772924 w 6785952"/>
              <a:gd name="connsiteY15446" fmla="*/ 769458 h 5217112"/>
              <a:gd name="connsiteX15447" fmla="*/ 1773199 w 6785952"/>
              <a:gd name="connsiteY15447" fmla="*/ 761285 h 5217112"/>
              <a:gd name="connsiteX15448" fmla="*/ 1367750 w 6785952"/>
              <a:gd name="connsiteY15448" fmla="*/ 761067 h 5217112"/>
              <a:gd name="connsiteX15449" fmla="*/ 1373793 w 6785952"/>
              <a:gd name="connsiteY15449" fmla="*/ 772291 h 5217112"/>
              <a:gd name="connsiteX15450" fmla="*/ 1376265 w 6785952"/>
              <a:gd name="connsiteY15450" fmla="*/ 778830 h 5217112"/>
              <a:gd name="connsiteX15451" fmla="*/ 1374617 w 6785952"/>
              <a:gd name="connsiteY15451" fmla="*/ 782753 h 5217112"/>
              <a:gd name="connsiteX15452" fmla="*/ 1373519 w 6785952"/>
              <a:gd name="connsiteY15452" fmla="*/ 783406 h 5217112"/>
              <a:gd name="connsiteX15453" fmla="*/ 1371320 w 6785952"/>
              <a:gd name="connsiteY15453" fmla="*/ 781119 h 5217112"/>
              <a:gd name="connsiteX15454" fmla="*/ 1367200 w 6785952"/>
              <a:gd name="connsiteY15454" fmla="*/ 767606 h 5217112"/>
              <a:gd name="connsiteX15455" fmla="*/ 1366376 w 6785952"/>
              <a:gd name="connsiteY15455" fmla="*/ 764990 h 5217112"/>
              <a:gd name="connsiteX15456" fmla="*/ 1367750 w 6785952"/>
              <a:gd name="connsiteY15456" fmla="*/ 761067 h 5217112"/>
              <a:gd name="connsiteX15457" fmla="*/ 4144091 w 6785952"/>
              <a:gd name="connsiteY15457" fmla="*/ 759869 h 5217112"/>
              <a:gd name="connsiteX15458" fmla="*/ 4144915 w 6785952"/>
              <a:gd name="connsiteY15458" fmla="*/ 760631 h 5217112"/>
              <a:gd name="connsiteX15459" fmla="*/ 4144091 w 6785952"/>
              <a:gd name="connsiteY15459" fmla="*/ 760958 h 5217112"/>
              <a:gd name="connsiteX15460" fmla="*/ 2061354 w 6785952"/>
              <a:gd name="connsiteY15460" fmla="*/ 759760 h 5217112"/>
              <a:gd name="connsiteX15461" fmla="*/ 2068771 w 6785952"/>
              <a:gd name="connsiteY15461" fmla="*/ 771855 h 5217112"/>
              <a:gd name="connsiteX15462" fmla="*/ 2058333 w 6785952"/>
              <a:gd name="connsiteY15462" fmla="*/ 778938 h 5217112"/>
              <a:gd name="connsiteX15463" fmla="*/ 2049267 w 6785952"/>
              <a:gd name="connsiteY15463" fmla="*/ 774907 h 5217112"/>
              <a:gd name="connsiteX15464" fmla="*/ 2048443 w 6785952"/>
              <a:gd name="connsiteY15464" fmla="*/ 766625 h 5217112"/>
              <a:gd name="connsiteX15465" fmla="*/ 2061354 w 6785952"/>
              <a:gd name="connsiteY15465" fmla="*/ 759760 h 5217112"/>
              <a:gd name="connsiteX15466" fmla="*/ 1764684 w 6785952"/>
              <a:gd name="connsiteY15466" fmla="*/ 759650 h 5217112"/>
              <a:gd name="connsiteX15467" fmla="*/ 1752871 w 6785952"/>
              <a:gd name="connsiteY15467" fmla="*/ 771965 h 5217112"/>
              <a:gd name="connsiteX15468" fmla="*/ 1764684 w 6785952"/>
              <a:gd name="connsiteY15468" fmla="*/ 759650 h 5217112"/>
              <a:gd name="connsiteX15469" fmla="*/ 1663871 w 6785952"/>
              <a:gd name="connsiteY15469" fmla="*/ 759650 h 5217112"/>
              <a:gd name="connsiteX15470" fmla="*/ 1669914 w 6785952"/>
              <a:gd name="connsiteY15470" fmla="*/ 770547 h 5217112"/>
              <a:gd name="connsiteX15471" fmla="*/ 1664146 w 6785952"/>
              <a:gd name="connsiteY15471" fmla="*/ 765753 h 5217112"/>
              <a:gd name="connsiteX15472" fmla="*/ 1663871 w 6785952"/>
              <a:gd name="connsiteY15472" fmla="*/ 759650 h 5217112"/>
              <a:gd name="connsiteX15473" fmla="*/ 2233313 w 6785952"/>
              <a:gd name="connsiteY15473" fmla="*/ 758670 h 5217112"/>
              <a:gd name="connsiteX15474" fmla="*/ 2223698 w 6785952"/>
              <a:gd name="connsiteY15474" fmla="*/ 798336 h 5217112"/>
              <a:gd name="connsiteX15475" fmla="*/ 2224797 w 6785952"/>
              <a:gd name="connsiteY15475" fmla="*/ 778176 h 5217112"/>
              <a:gd name="connsiteX15476" fmla="*/ 2233313 w 6785952"/>
              <a:gd name="connsiteY15476" fmla="*/ 758670 h 5217112"/>
              <a:gd name="connsiteX15477" fmla="*/ 6293577 w 6785952"/>
              <a:gd name="connsiteY15477" fmla="*/ 756926 h 5217112"/>
              <a:gd name="connsiteX15478" fmla="*/ 6304565 w 6785952"/>
              <a:gd name="connsiteY15478" fmla="*/ 757798 h 5217112"/>
              <a:gd name="connsiteX15479" fmla="*/ 6298522 w 6785952"/>
              <a:gd name="connsiteY15479" fmla="*/ 774689 h 5217112"/>
              <a:gd name="connsiteX15480" fmla="*/ 6286436 w 6785952"/>
              <a:gd name="connsiteY15480" fmla="*/ 764227 h 5217112"/>
              <a:gd name="connsiteX15481" fmla="*/ 6293577 w 6785952"/>
              <a:gd name="connsiteY15481" fmla="*/ 756926 h 5217112"/>
              <a:gd name="connsiteX15482" fmla="*/ 2282209 w 6785952"/>
              <a:gd name="connsiteY15482" fmla="*/ 756708 h 5217112"/>
              <a:gd name="connsiteX15483" fmla="*/ 2296218 w 6785952"/>
              <a:gd name="connsiteY15483" fmla="*/ 759650 h 5217112"/>
              <a:gd name="connsiteX15484" fmla="*/ 2297866 w 6785952"/>
              <a:gd name="connsiteY15484" fmla="*/ 759869 h 5217112"/>
              <a:gd name="connsiteX15485" fmla="*/ 2304184 w 6785952"/>
              <a:gd name="connsiteY15485" fmla="*/ 760086 h 5217112"/>
              <a:gd name="connsiteX15486" fmla="*/ 2295668 w 6785952"/>
              <a:gd name="connsiteY15486" fmla="*/ 777304 h 5217112"/>
              <a:gd name="connsiteX15487" fmla="*/ 2284955 w 6785952"/>
              <a:gd name="connsiteY15487" fmla="*/ 767170 h 5217112"/>
              <a:gd name="connsiteX15488" fmla="*/ 2289350 w 6785952"/>
              <a:gd name="connsiteY15488" fmla="*/ 763247 h 5217112"/>
              <a:gd name="connsiteX15489" fmla="*/ 2289076 w 6785952"/>
              <a:gd name="connsiteY15489" fmla="*/ 763138 h 5217112"/>
              <a:gd name="connsiteX15490" fmla="*/ 2281934 w 6785952"/>
              <a:gd name="connsiteY15490" fmla="*/ 762266 h 5217112"/>
              <a:gd name="connsiteX15491" fmla="*/ 2279187 w 6785952"/>
              <a:gd name="connsiteY15491" fmla="*/ 758997 h 5217112"/>
              <a:gd name="connsiteX15492" fmla="*/ 2279187 w 6785952"/>
              <a:gd name="connsiteY15492" fmla="*/ 757580 h 5217112"/>
              <a:gd name="connsiteX15493" fmla="*/ 2282209 w 6785952"/>
              <a:gd name="connsiteY15493" fmla="*/ 756708 h 5217112"/>
              <a:gd name="connsiteX15494" fmla="*/ 1620744 w 6785952"/>
              <a:gd name="connsiteY15494" fmla="*/ 756491 h 5217112"/>
              <a:gd name="connsiteX15495" fmla="*/ 1619919 w 6785952"/>
              <a:gd name="connsiteY15495" fmla="*/ 769349 h 5217112"/>
              <a:gd name="connsiteX15496" fmla="*/ 1619370 w 6785952"/>
              <a:gd name="connsiteY15496" fmla="*/ 758016 h 5217112"/>
              <a:gd name="connsiteX15497" fmla="*/ 1620744 w 6785952"/>
              <a:gd name="connsiteY15497" fmla="*/ 756491 h 5217112"/>
              <a:gd name="connsiteX15498" fmla="*/ 4166616 w 6785952"/>
              <a:gd name="connsiteY15498" fmla="*/ 755618 h 5217112"/>
              <a:gd name="connsiteX15499" fmla="*/ 4180075 w 6785952"/>
              <a:gd name="connsiteY15499" fmla="*/ 756054 h 5217112"/>
              <a:gd name="connsiteX15500" fmla="*/ 4185844 w 6785952"/>
              <a:gd name="connsiteY15500" fmla="*/ 758997 h 5217112"/>
              <a:gd name="connsiteX15501" fmla="*/ 4185844 w 6785952"/>
              <a:gd name="connsiteY15501" fmla="*/ 758342 h 5217112"/>
              <a:gd name="connsiteX15502" fmla="*/ 4190514 w 6785952"/>
              <a:gd name="connsiteY15502" fmla="*/ 756054 h 5217112"/>
              <a:gd name="connsiteX15503" fmla="*/ 4196282 w 6785952"/>
              <a:gd name="connsiteY15503" fmla="*/ 759650 h 5217112"/>
              <a:gd name="connsiteX15504" fmla="*/ 4199304 w 6785952"/>
              <a:gd name="connsiteY15504" fmla="*/ 765208 h 5217112"/>
              <a:gd name="connsiteX15505" fmla="*/ 4200952 w 6785952"/>
              <a:gd name="connsiteY15505" fmla="*/ 769022 h 5217112"/>
              <a:gd name="connsiteX15506" fmla="*/ 4209193 w 6785952"/>
              <a:gd name="connsiteY15506" fmla="*/ 777304 h 5217112"/>
              <a:gd name="connsiteX15507" fmla="*/ 4211391 w 6785952"/>
              <a:gd name="connsiteY15507" fmla="*/ 791797 h 5217112"/>
              <a:gd name="connsiteX15508" fmla="*/ 4166616 w 6785952"/>
              <a:gd name="connsiteY15508" fmla="*/ 755618 h 5217112"/>
              <a:gd name="connsiteX15509" fmla="*/ 1909173 w 6785952"/>
              <a:gd name="connsiteY15509" fmla="*/ 755073 h 5217112"/>
              <a:gd name="connsiteX15510" fmla="*/ 1936642 w 6785952"/>
              <a:gd name="connsiteY15510" fmla="*/ 769785 h 5217112"/>
              <a:gd name="connsiteX15511" fmla="*/ 1909173 w 6785952"/>
              <a:gd name="connsiteY15511" fmla="*/ 755073 h 5217112"/>
              <a:gd name="connsiteX15512" fmla="*/ 1657003 w 6785952"/>
              <a:gd name="connsiteY15512" fmla="*/ 754638 h 5217112"/>
              <a:gd name="connsiteX15513" fmla="*/ 1655630 w 6785952"/>
              <a:gd name="connsiteY15513" fmla="*/ 755073 h 5217112"/>
              <a:gd name="connsiteX15514" fmla="*/ 1656454 w 6785952"/>
              <a:gd name="connsiteY15514" fmla="*/ 758016 h 5217112"/>
              <a:gd name="connsiteX15515" fmla="*/ 1657828 w 6785952"/>
              <a:gd name="connsiteY15515" fmla="*/ 757471 h 5217112"/>
              <a:gd name="connsiteX15516" fmla="*/ 1657278 w 6785952"/>
              <a:gd name="connsiteY15516" fmla="*/ 760849 h 5217112"/>
              <a:gd name="connsiteX15517" fmla="*/ 1648488 w 6785952"/>
              <a:gd name="connsiteY15517" fmla="*/ 768586 h 5217112"/>
              <a:gd name="connsiteX15518" fmla="*/ 1646015 w 6785952"/>
              <a:gd name="connsiteY15518" fmla="*/ 765099 h 5217112"/>
              <a:gd name="connsiteX15519" fmla="*/ 1646840 w 6785952"/>
              <a:gd name="connsiteY15519" fmla="*/ 761611 h 5217112"/>
              <a:gd name="connsiteX15520" fmla="*/ 1650411 w 6785952"/>
              <a:gd name="connsiteY15520" fmla="*/ 756381 h 5217112"/>
              <a:gd name="connsiteX15521" fmla="*/ 1657003 w 6785952"/>
              <a:gd name="connsiteY15521" fmla="*/ 754638 h 5217112"/>
              <a:gd name="connsiteX15522" fmla="*/ 1074650 w 6785952"/>
              <a:gd name="connsiteY15522" fmla="*/ 754093 h 5217112"/>
              <a:gd name="connsiteX15523" fmla="*/ 1079869 w 6785952"/>
              <a:gd name="connsiteY15523" fmla="*/ 760849 h 5217112"/>
              <a:gd name="connsiteX15524" fmla="*/ 1083166 w 6785952"/>
              <a:gd name="connsiteY15524" fmla="*/ 767061 h 5217112"/>
              <a:gd name="connsiteX15525" fmla="*/ 1088110 w 6785952"/>
              <a:gd name="connsiteY15525" fmla="*/ 790054 h 5217112"/>
              <a:gd name="connsiteX15526" fmla="*/ 1082341 w 6785952"/>
              <a:gd name="connsiteY15526" fmla="*/ 782316 h 5217112"/>
              <a:gd name="connsiteX15527" fmla="*/ 1072178 w 6785952"/>
              <a:gd name="connsiteY15527" fmla="*/ 762266 h 5217112"/>
              <a:gd name="connsiteX15528" fmla="*/ 1073276 w 6785952"/>
              <a:gd name="connsiteY15528" fmla="*/ 758234 h 5217112"/>
              <a:gd name="connsiteX15529" fmla="*/ 1072727 w 6785952"/>
              <a:gd name="connsiteY15529" fmla="*/ 757035 h 5217112"/>
              <a:gd name="connsiteX15530" fmla="*/ 1074650 w 6785952"/>
              <a:gd name="connsiteY15530" fmla="*/ 754093 h 5217112"/>
              <a:gd name="connsiteX15531" fmla="*/ 2351981 w 6785952"/>
              <a:gd name="connsiteY15531" fmla="*/ 753439 h 5217112"/>
              <a:gd name="connsiteX15532" fmla="*/ 2352531 w 6785952"/>
              <a:gd name="connsiteY15532" fmla="*/ 754747 h 5217112"/>
              <a:gd name="connsiteX15533" fmla="*/ 2352256 w 6785952"/>
              <a:gd name="connsiteY15533" fmla="*/ 755946 h 5217112"/>
              <a:gd name="connsiteX15534" fmla="*/ 2353355 w 6785952"/>
              <a:gd name="connsiteY15534" fmla="*/ 755073 h 5217112"/>
              <a:gd name="connsiteX15535" fmla="*/ 4159198 w 6785952"/>
              <a:gd name="connsiteY15535" fmla="*/ 753222 h 5217112"/>
              <a:gd name="connsiteX15536" fmla="*/ 4159473 w 6785952"/>
              <a:gd name="connsiteY15536" fmla="*/ 756491 h 5217112"/>
              <a:gd name="connsiteX15537" fmla="*/ 4158924 w 6785952"/>
              <a:gd name="connsiteY15537" fmla="*/ 758561 h 5217112"/>
              <a:gd name="connsiteX15538" fmla="*/ 4157001 w 6785952"/>
              <a:gd name="connsiteY15538" fmla="*/ 754638 h 5217112"/>
              <a:gd name="connsiteX15539" fmla="*/ 4159198 w 6785952"/>
              <a:gd name="connsiteY15539" fmla="*/ 753222 h 5217112"/>
              <a:gd name="connsiteX15540" fmla="*/ 4144091 w 6785952"/>
              <a:gd name="connsiteY15540" fmla="*/ 752567 h 5217112"/>
              <a:gd name="connsiteX15541" fmla="*/ 4146013 w 6785952"/>
              <a:gd name="connsiteY15541" fmla="*/ 759869 h 5217112"/>
              <a:gd name="connsiteX15542" fmla="*/ 4144091 w 6785952"/>
              <a:gd name="connsiteY15542" fmla="*/ 759324 h 5217112"/>
              <a:gd name="connsiteX15543" fmla="*/ 4144091 w 6785952"/>
              <a:gd name="connsiteY15543" fmla="*/ 759869 h 5217112"/>
              <a:gd name="connsiteX15544" fmla="*/ 4141618 w 6785952"/>
              <a:gd name="connsiteY15544" fmla="*/ 757580 h 5217112"/>
              <a:gd name="connsiteX15545" fmla="*/ 4141069 w 6785952"/>
              <a:gd name="connsiteY15545" fmla="*/ 752785 h 5217112"/>
              <a:gd name="connsiteX15546" fmla="*/ 4144091 w 6785952"/>
              <a:gd name="connsiteY15546" fmla="*/ 752567 h 5217112"/>
              <a:gd name="connsiteX15547" fmla="*/ 2057508 w 6785952"/>
              <a:gd name="connsiteY15547" fmla="*/ 752131 h 5217112"/>
              <a:gd name="connsiteX15548" fmla="*/ 2057508 w 6785952"/>
              <a:gd name="connsiteY15548" fmla="*/ 758016 h 5217112"/>
              <a:gd name="connsiteX15549" fmla="*/ 2055860 w 6785952"/>
              <a:gd name="connsiteY15549" fmla="*/ 753984 h 5217112"/>
              <a:gd name="connsiteX15550" fmla="*/ 2056134 w 6785952"/>
              <a:gd name="connsiteY15550" fmla="*/ 752677 h 5217112"/>
              <a:gd name="connsiteX15551" fmla="*/ 2057508 w 6785952"/>
              <a:gd name="connsiteY15551" fmla="*/ 752131 h 5217112"/>
              <a:gd name="connsiteX15552" fmla="*/ 1456476 w 6785952"/>
              <a:gd name="connsiteY15552" fmla="*/ 752131 h 5217112"/>
              <a:gd name="connsiteX15553" fmla="*/ 1464991 w 6785952"/>
              <a:gd name="connsiteY15553" fmla="*/ 756054 h 5217112"/>
              <a:gd name="connsiteX15554" fmla="*/ 1469387 w 6785952"/>
              <a:gd name="connsiteY15554" fmla="*/ 761067 h 5217112"/>
              <a:gd name="connsiteX15555" fmla="*/ 1469935 w 6785952"/>
              <a:gd name="connsiteY15555" fmla="*/ 760414 h 5217112"/>
              <a:gd name="connsiteX15556" fmla="*/ 1474331 w 6785952"/>
              <a:gd name="connsiteY15556" fmla="*/ 760086 h 5217112"/>
              <a:gd name="connsiteX15557" fmla="*/ 1481198 w 6785952"/>
              <a:gd name="connsiteY15557" fmla="*/ 769567 h 5217112"/>
              <a:gd name="connsiteX15558" fmla="*/ 1486143 w 6785952"/>
              <a:gd name="connsiteY15558" fmla="*/ 774907 h 5217112"/>
              <a:gd name="connsiteX15559" fmla="*/ 1477902 w 6785952"/>
              <a:gd name="connsiteY15559" fmla="*/ 769458 h 5217112"/>
              <a:gd name="connsiteX15560" fmla="*/ 1473507 w 6785952"/>
              <a:gd name="connsiteY15560" fmla="*/ 770112 h 5217112"/>
              <a:gd name="connsiteX15561" fmla="*/ 1471310 w 6785952"/>
              <a:gd name="connsiteY15561" fmla="*/ 767932 h 5217112"/>
              <a:gd name="connsiteX15562" fmla="*/ 1469935 w 6785952"/>
              <a:gd name="connsiteY15562" fmla="*/ 769240 h 5217112"/>
              <a:gd name="connsiteX15563" fmla="*/ 1467189 w 6785952"/>
              <a:gd name="connsiteY15563" fmla="*/ 772728 h 5217112"/>
              <a:gd name="connsiteX15564" fmla="*/ 1455378 w 6785952"/>
              <a:gd name="connsiteY15564" fmla="*/ 758342 h 5217112"/>
              <a:gd name="connsiteX15565" fmla="*/ 1456476 w 6785952"/>
              <a:gd name="connsiteY15565" fmla="*/ 752131 h 5217112"/>
              <a:gd name="connsiteX15566" fmla="*/ 3021413 w 6785952"/>
              <a:gd name="connsiteY15566" fmla="*/ 751914 h 5217112"/>
              <a:gd name="connsiteX15567" fmla="*/ 3021962 w 6785952"/>
              <a:gd name="connsiteY15567" fmla="*/ 752677 h 5217112"/>
              <a:gd name="connsiteX15568" fmla="*/ 3021138 w 6785952"/>
              <a:gd name="connsiteY15568" fmla="*/ 753003 h 5217112"/>
              <a:gd name="connsiteX15569" fmla="*/ 2597284 w 6785952"/>
              <a:gd name="connsiteY15569" fmla="*/ 750388 h 5217112"/>
              <a:gd name="connsiteX15570" fmla="*/ 2599206 w 6785952"/>
              <a:gd name="connsiteY15570" fmla="*/ 757689 h 5217112"/>
              <a:gd name="connsiteX15571" fmla="*/ 2594812 w 6785952"/>
              <a:gd name="connsiteY15571" fmla="*/ 758779 h 5217112"/>
              <a:gd name="connsiteX15572" fmla="*/ 2593438 w 6785952"/>
              <a:gd name="connsiteY15572" fmla="*/ 752785 h 5217112"/>
              <a:gd name="connsiteX15573" fmla="*/ 2597284 w 6785952"/>
              <a:gd name="connsiteY15573" fmla="*/ 750388 h 5217112"/>
              <a:gd name="connsiteX15574" fmla="*/ 2654969 w 6785952"/>
              <a:gd name="connsiteY15574" fmla="*/ 749407 h 5217112"/>
              <a:gd name="connsiteX15575" fmla="*/ 2665958 w 6785952"/>
              <a:gd name="connsiteY15575" fmla="*/ 750279 h 5217112"/>
              <a:gd name="connsiteX15576" fmla="*/ 2665958 w 6785952"/>
              <a:gd name="connsiteY15576" fmla="*/ 751369 h 5217112"/>
              <a:gd name="connsiteX15577" fmla="*/ 2668430 w 6785952"/>
              <a:gd name="connsiteY15577" fmla="*/ 751914 h 5217112"/>
              <a:gd name="connsiteX15578" fmla="*/ 2672825 w 6785952"/>
              <a:gd name="connsiteY15578" fmla="*/ 755073 h 5217112"/>
              <a:gd name="connsiteX15579" fmla="*/ 2672825 w 6785952"/>
              <a:gd name="connsiteY15579" fmla="*/ 755183 h 5217112"/>
              <a:gd name="connsiteX15580" fmla="*/ 2675022 w 6785952"/>
              <a:gd name="connsiteY15580" fmla="*/ 759760 h 5217112"/>
              <a:gd name="connsiteX15581" fmla="*/ 2672825 w 6785952"/>
              <a:gd name="connsiteY15581" fmla="*/ 766407 h 5217112"/>
              <a:gd name="connsiteX15582" fmla="*/ 2671176 w 6785952"/>
              <a:gd name="connsiteY15582" fmla="*/ 766298 h 5217112"/>
              <a:gd name="connsiteX15583" fmla="*/ 2670902 w 6785952"/>
              <a:gd name="connsiteY15583" fmla="*/ 770547 h 5217112"/>
              <a:gd name="connsiteX15584" fmla="*/ 2668430 w 6785952"/>
              <a:gd name="connsiteY15584" fmla="*/ 781663 h 5217112"/>
              <a:gd name="connsiteX15585" fmla="*/ 2668979 w 6785952"/>
              <a:gd name="connsiteY15585" fmla="*/ 770439 h 5217112"/>
              <a:gd name="connsiteX15586" fmla="*/ 2669528 w 6785952"/>
              <a:gd name="connsiteY15586" fmla="*/ 766189 h 5217112"/>
              <a:gd name="connsiteX15587" fmla="*/ 2667331 w 6785952"/>
              <a:gd name="connsiteY15587" fmla="*/ 766189 h 5217112"/>
              <a:gd name="connsiteX15588" fmla="*/ 2663760 w 6785952"/>
              <a:gd name="connsiteY15588" fmla="*/ 761939 h 5217112"/>
              <a:gd name="connsiteX15589" fmla="*/ 2659914 w 6785952"/>
              <a:gd name="connsiteY15589" fmla="*/ 767387 h 5217112"/>
              <a:gd name="connsiteX15590" fmla="*/ 2647827 w 6785952"/>
              <a:gd name="connsiteY15590" fmla="*/ 756817 h 5217112"/>
              <a:gd name="connsiteX15591" fmla="*/ 2654969 w 6785952"/>
              <a:gd name="connsiteY15591" fmla="*/ 749407 h 5217112"/>
              <a:gd name="connsiteX15592" fmla="*/ 4292975 w 6785952"/>
              <a:gd name="connsiteY15592" fmla="*/ 748317 h 5217112"/>
              <a:gd name="connsiteX15593" fmla="*/ 4295447 w 6785952"/>
              <a:gd name="connsiteY15593" fmla="*/ 749734 h 5217112"/>
              <a:gd name="connsiteX15594" fmla="*/ 4292151 w 6785952"/>
              <a:gd name="connsiteY15594" fmla="*/ 750279 h 5217112"/>
              <a:gd name="connsiteX15595" fmla="*/ 4292975 w 6785952"/>
              <a:gd name="connsiteY15595" fmla="*/ 748317 h 5217112"/>
              <a:gd name="connsiteX15596" fmla="*/ 2263529 w 6785952"/>
              <a:gd name="connsiteY15596" fmla="*/ 747990 h 5217112"/>
              <a:gd name="connsiteX15597" fmla="*/ 2268199 w 6785952"/>
              <a:gd name="connsiteY15597" fmla="*/ 752131 h 5217112"/>
              <a:gd name="connsiteX15598" fmla="*/ 2249795 w 6785952"/>
              <a:gd name="connsiteY15598" fmla="*/ 763247 h 5217112"/>
              <a:gd name="connsiteX15599" fmla="*/ 2263529 w 6785952"/>
              <a:gd name="connsiteY15599" fmla="*/ 747990 h 5217112"/>
              <a:gd name="connsiteX15600" fmla="*/ 4486361 w 6785952"/>
              <a:gd name="connsiteY15600" fmla="*/ 747664 h 5217112"/>
              <a:gd name="connsiteX15601" fmla="*/ 4485261 w 6785952"/>
              <a:gd name="connsiteY15601" fmla="*/ 753003 h 5217112"/>
              <a:gd name="connsiteX15602" fmla="*/ 4483339 w 6785952"/>
              <a:gd name="connsiteY15602" fmla="*/ 752240 h 5217112"/>
              <a:gd name="connsiteX15603" fmla="*/ 4483888 w 6785952"/>
              <a:gd name="connsiteY15603" fmla="*/ 753657 h 5217112"/>
              <a:gd name="connsiteX15604" fmla="*/ 4482515 w 6785952"/>
              <a:gd name="connsiteY15604" fmla="*/ 752023 h 5217112"/>
              <a:gd name="connsiteX15605" fmla="*/ 4482789 w 6785952"/>
              <a:gd name="connsiteY15605" fmla="*/ 750933 h 5217112"/>
              <a:gd name="connsiteX15606" fmla="*/ 4486361 w 6785952"/>
              <a:gd name="connsiteY15606" fmla="*/ 747664 h 5217112"/>
              <a:gd name="connsiteX15607" fmla="*/ 2671176 w 6785952"/>
              <a:gd name="connsiteY15607" fmla="*/ 747555 h 5217112"/>
              <a:gd name="connsiteX15608" fmla="*/ 2672550 w 6785952"/>
              <a:gd name="connsiteY15608" fmla="*/ 747664 h 5217112"/>
              <a:gd name="connsiteX15609" fmla="*/ 2671451 w 6785952"/>
              <a:gd name="connsiteY15609" fmla="*/ 750824 h 5217112"/>
              <a:gd name="connsiteX15610" fmla="*/ 2671176 w 6785952"/>
              <a:gd name="connsiteY15610" fmla="*/ 747555 h 5217112"/>
              <a:gd name="connsiteX15611" fmla="*/ 2848355 w 6785952"/>
              <a:gd name="connsiteY15611" fmla="*/ 747337 h 5217112"/>
              <a:gd name="connsiteX15612" fmla="*/ 2860166 w 6785952"/>
              <a:gd name="connsiteY15612" fmla="*/ 751586 h 5217112"/>
              <a:gd name="connsiteX15613" fmla="*/ 2856046 w 6785952"/>
              <a:gd name="connsiteY15613" fmla="*/ 766734 h 5217112"/>
              <a:gd name="connsiteX15614" fmla="*/ 2842861 w 6785952"/>
              <a:gd name="connsiteY15614" fmla="*/ 751478 h 5217112"/>
              <a:gd name="connsiteX15615" fmla="*/ 2848355 w 6785952"/>
              <a:gd name="connsiteY15615" fmla="*/ 747337 h 5217112"/>
              <a:gd name="connsiteX15616" fmla="*/ 3036796 w 6785952"/>
              <a:gd name="connsiteY15616" fmla="*/ 746901 h 5217112"/>
              <a:gd name="connsiteX15617" fmla="*/ 3036521 w 6785952"/>
              <a:gd name="connsiteY15617" fmla="*/ 750170 h 5217112"/>
              <a:gd name="connsiteX15618" fmla="*/ 3035971 w 6785952"/>
              <a:gd name="connsiteY15618" fmla="*/ 752131 h 5217112"/>
              <a:gd name="connsiteX15619" fmla="*/ 3034323 w 6785952"/>
              <a:gd name="connsiteY15619" fmla="*/ 748100 h 5217112"/>
              <a:gd name="connsiteX15620" fmla="*/ 3036796 w 6785952"/>
              <a:gd name="connsiteY15620" fmla="*/ 746901 h 5217112"/>
              <a:gd name="connsiteX15621" fmla="*/ 6372690 w 6785952"/>
              <a:gd name="connsiteY15621" fmla="*/ 746356 h 5217112"/>
              <a:gd name="connsiteX15622" fmla="*/ 6377909 w 6785952"/>
              <a:gd name="connsiteY15622" fmla="*/ 751478 h 5217112"/>
              <a:gd name="connsiteX15623" fmla="*/ 6375712 w 6785952"/>
              <a:gd name="connsiteY15623" fmla="*/ 758561 h 5217112"/>
              <a:gd name="connsiteX15624" fmla="*/ 6367746 w 6785952"/>
              <a:gd name="connsiteY15624" fmla="*/ 762484 h 5217112"/>
              <a:gd name="connsiteX15625" fmla="*/ 6359505 w 6785952"/>
              <a:gd name="connsiteY15625" fmla="*/ 747227 h 5217112"/>
              <a:gd name="connsiteX15626" fmla="*/ 6372690 w 6785952"/>
              <a:gd name="connsiteY15626" fmla="*/ 746356 h 5217112"/>
              <a:gd name="connsiteX15627" fmla="*/ 2801931 w 6785952"/>
              <a:gd name="connsiteY15627" fmla="*/ 745920 h 5217112"/>
              <a:gd name="connsiteX15628" fmla="*/ 2805777 w 6785952"/>
              <a:gd name="connsiteY15628" fmla="*/ 794304 h 5217112"/>
              <a:gd name="connsiteX15629" fmla="*/ 2799459 w 6785952"/>
              <a:gd name="connsiteY15629" fmla="*/ 796374 h 5217112"/>
              <a:gd name="connsiteX15630" fmla="*/ 2777758 w 6785952"/>
              <a:gd name="connsiteY15630" fmla="*/ 777196 h 5217112"/>
              <a:gd name="connsiteX15631" fmla="*/ 2777758 w 6785952"/>
              <a:gd name="connsiteY15631" fmla="*/ 774035 h 5217112"/>
              <a:gd name="connsiteX15632" fmla="*/ 2775561 w 6785952"/>
              <a:gd name="connsiteY15632" fmla="*/ 771965 h 5217112"/>
              <a:gd name="connsiteX15633" fmla="*/ 2774461 w 6785952"/>
              <a:gd name="connsiteY15633" fmla="*/ 766843 h 5217112"/>
              <a:gd name="connsiteX15634" fmla="*/ 2777483 w 6785952"/>
              <a:gd name="connsiteY15634" fmla="*/ 769458 h 5217112"/>
              <a:gd name="connsiteX15635" fmla="*/ 2777209 w 6785952"/>
              <a:gd name="connsiteY15635" fmla="*/ 765971 h 5217112"/>
              <a:gd name="connsiteX15636" fmla="*/ 2801931 w 6785952"/>
              <a:gd name="connsiteY15636" fmla="*/ 745920 h 5217112"/>
              <a:gd name="connsiteX15637" fmla="*/ 1713590 w 6785952"/>
              <a:gd name="connsiteY15637" fmla="*/ 745484 h 5217112"/>
              <a:gd name="connsiteX15638" fmla="*/ 1727051 w 6785952"/>
              <a:gd name="connsiteY15638" fmla="*/ 762048 h 5217112"/>
              <a:gd name="connsiteX15639" fmla="*/ 1710569 w 6785952"/>
              <a:gd name="connsiteY15639" fmla="*/ 768041 h 5217112"/>
              <a:gd name="connsiteX15640" fmla="*/ 1709195 w 6785952"/>
              <a:gd name="connsiteY15640" fmla="*/ 766625 h 5217112"/>
              <a:gd name="connsiteX15641" fmla="*/ 1707821 w 6785952"/>
              <a:gd name="connsiteY15641" fmla="*/ 767606 h 5217112"/>
              <a:gd name="connsiteX15642" fmla="*/ 1697108 w 6785952"/>
              <a:gd name="connsiteY15642" fmla="*/ 769458 h 5217112"/>
              <a:gd name="connsiteX15643" fmla="*/ 1700680 w 6785952"/>
              <a:gd name="connsiteY15643" fmla="*/ 760305 h 5217112"/>
              <a:gd name="connsiteX15644" fmla="*/ 1705625 w 6785952"/>
              <a:gd name="connsiteY15644" fmla="*/ 759869 h 5217112"/>
              <a:gd name="connsiteX15645" fmla="*/ 1705350 w 6785952"/>
              <a:gd name="connsiteY15645" fmla="*/ 755727 h 5217112"/>
              <a:gd name="connsiteX15646" fmla="*/ 1713590 w 6785952"/>
              <a:gd name="connsiteY15646" fmla="*/ 745484 h 5217112"/>
              <a:gd name="connsiteX15647" fmla="*/ 4471527 w 6785952"/>
              <a:gd name="connsiteY15647" fmla="*/ 745157 h 5217112"/>
              <a:gd name="connsiteX15648" fmla="*/ 4473175 w 6785952"/>
              <a:gd name="connsiteY15648" fmla="*/ 750933 h 5217112"/>
              <a:gd name="connsiteX15649" fmla="*/ 4464660 w 6785952"/>
              <a:gd name="connsiteY15649" fmla="*/ 756817 h 5217112"/>
              <a:gd name="connsiteX15650" fmla="*/ 4457517 w 6785952"/>
              <a:gd name="connsiteY15650" fmla="*/ 751586 h 5217112"/>
              <a:gd name="connsiteX15651" fmla="*/ 4471527 w 6785952"/>
              <a:gd name="connsiteY15651" fmla="*/ 745157 h 5217112"/>
              <a:gd name="connsiteX15652" fmla="*/ 2107778 w 6785952"/>
              <a:gd name="connsiteY15652" fmla="*/ 745157 h 5217112"/>
              <a:gd name="connsiteX15653" fmla="*/ 2114095 w 6785952"/>
              <a:gd name="connsiteY15653" fmla="*/ 747990 h 5217112"/>
              <a:gd name="connsiteX15654" fmla="*/ 2114645 w 6785952"/>
              <a:gd name="connsiteY15654" fmla="*/ 748862 h 5217112"/>
              <a:gd name="connsiteX15655" fmla="*/ 2121786 w 6785952"/>
              <a:gd name="connsiteY15655" fmla="*/ 749952 h 5217112"/>
              <a:gd name="connsiteX15656" fmla="*/ 2128380 w 6785952"/>
              <a:gd name="connsiteY15656" fmla="*/ 755292 h 5217112"/>
              <a:gd name="connsiteX15657" fmla="*/ 2121237 w 6785952"/>
              <a:gd name="connsiteY15657" fmla="*/ 759760 h 5217112"/>
              <a:gd name="connsiteX15658" fmla="*/ 2118491 w 6785952"/>
              <a:gd name="connsiteY15658" fmla="*/ 759869 h 5217112"/>
              <a:gd name="connsiteX15659" fmla="*/ 2119315 w 6785952"/>
              <a:gd name="connsiteY15659" fmla="*/ 770112 h 5217112"/>
              <a:gd name="connsiteX15660" fmla="*/ 2117667 w 6785952"/>
              <a:gd name="connsiteY15660" fmla="*/ 780355 h 5217112"/>
              <a:gd name="connsiteX15661" fmla="*/ 2122061 w 6785952"/>
              <a:gd name="connsiteY15661" fmla="*/ 779483 h 5217112"/>
              <a:gd name="connsiteX15662" fmla="*/ 2134972 w 6785952"/>
              <a:gd name="connsiteY15662" fmla="*/ 795939 h 5217112"/>
              <a:gd name="connsiteX15663" fmla="*/ 2130028 w 6785952"/>
              <a:gd name="connsiteY15663" fmla="*/ 800188 h 5217112"/>
              <a:gd name="connsiteX15664" fmla="*/ 2128380 w 6785952"/>
              <a:gd name="connsiteY15664" fmla="*/ 800080 h 5217112"/>
              <a:gd name="connsiteX15665" fmla="*/ 2129478 w 6785952"/>
              <a:gd name="connsiteY15665" fmla="*/ 802150 h 5217112"/>
              <a:gd name="connsiteX15666" fmla="*/ 2131401 w 6785952"/>
              <a:gd name="connsiteY15666" fmla="*/ 809996 h 5217112"/>
              <a:gd name="connsiteX15667" fmla="*/ 2136895 w 6785952"/>
              <a:gd name="connsiteY15667" fmla="*/ 812393 h 5217112"/>
              <a:gd name="connsiteX15668" fmla="*/ 2135247 w 6785952"/>
              <a:gd name="connsiteY15668" fmla="*/ 824381 h 5217112"/>
              <a:gd name="connsiteX15669" fmla="*/ 2134698 w 6785952"/>
              <a:gd name="connsiteY15669" fmla="*/ 825252 h 5217112"/>
              <a:gd name="connsiteX15670" fmla="*/ 2131676 w 6785952"/>
              <a:gd name="connsiteY15670" fmla="*/ 829393 h 5217112"/>
              <a:gd name="connsiteX15671" fmla="*/ 2127280 w 6785952"/>
              <a:gd name="connsiteY15671" fmla="*/ 831573 h 5217112"/>
              <a:gd name="connsiteX15672" fmla="*/ 2114919 w 6785952"/>
              <a:gd name="connsiteY15672" fmla="*/ 818823 h 5217112"/>
              <a:gd name="connsiteX15673" fmla="*/ 2115743 w 6785952"/>
              <a:gd name="connsiteY15673" fmla="*/ 816970 h 5217112"/>
              <a:gd name="connsiteX15674" fmla="*/ 2114370 w 6785952"/>
              <a:gd name="connsiteY15674" fmla="*/ 816099 h 5217112"/>
              <a:gd name="connsiteX15675" fmla="*/ 2108327 w 6785952"/>
              <a:gd name="connsiteY15675" fmla="*/ 807163 h 5217112"/>
              <a:gd name="connsiteX15676" fmla="*/ 2118216 w 6785952"/>
              <a:gd name="connsiteY15676" fmla="*/ 806618 h 5217112"/>
              <a:gd name="connsiteX15677" fmla="*/ 2120688 w 6785952"/>
              <a:gd name="connsiteY15677" fmla="*/ 811086 h 5217112"/>
              <a:gd name="connsiteX15678" fmla="*/ 2124259 w 6785952"/>
              <a:gd name="connsiteY15678" fmla="*/ 809124 h 5217112"/>
              <a:gd name="connsiteX15679" fmla="*/ 2125083 w 6785952"/>
              <a:gd name="connsiteY15679" fmla="*/ 809233 h 5217112"/>
              <a:gd name="connsiteX15680" fmla="*/ 2123985 w 6785952"/>
              <a:gd name="connsiteY15680" fmla="*/ 806182 h 5217112"/>
              <a:gd name="connsiteX15681" fmla="*/ 2118765 w 6785952"/>
              <a:gd name="connsiteY15681" fmla="*/ 797464 h 5217112"/>
              <a:gd name="connsiteX15682" fmla="*/ 2118765 w 6785952"/>
              <a:gd name="connsiteY15682" fmla="*/ 796919 h 5217112"/>
              <a:gd name="connsiteX15683" fmla="*/ 2119040 w 6785952"/>
              <a:gd name="connsiteY15683" fmla="*/ 796157 h 5217112"/>
              <a:gd name="connsiteX15684" fmla="*/ 2117941 w 6785952"/>
              <a:gd name="connsiteY15684" fmla="*/ 795612 h 5217112"/>
              <a:gd name="connsiteX15685" fmla="*/ 2114919 w 6785952"/>
              <a:gd name="connsiteY15685" fmla="*/ 798336 h 5217112"/>
              <a:gd name="connsiteX15686" fmla="*/ 2111898 w 6785952"/>
              <a:gd name="connsiteY15686" fmla="*/ 804874 h 5217112"/>
              <a:gd name="connsiteX15687" fmla="*/ 2107503 w 6785952"/>
              <a:gd name="connsiteY15687" fmla="*/ 797247 h 5217112"/>
              <a:gd name="connsiteX15688" fmla="*/ 2105854 w 6785952"/>
              <a:gd name="connsiteY15688" fmla="*/ 788637 h 5217112"/>
              <a:gd name="connsiteX15689" fmla="*/ 2114919 w 6785952"/>
              <a:gd name="connsiteY15689" fmla="*/ 788201 h 5217112"/>
              <a:gd name="connsiteX15690" fmla="*/ 2114095 w 6785952"/>
              <a:gd name="connsiteY15690" fmla="*/ 784932 h 5217112"/>
              <a:gd name="connsiteX15691" fmla="*/ 2114919 w 6785952"/>
              <a:gd name="connsiteY15691" fmla="*/ 780900 h 5217112"/>
              <a:gd name="connsiteX15692" fmla="*/ 2117117 w 6785952"/>
              <a:gd name="connsiteY15692" fmla="*/ 780465 h 5217112"/>
              <a:gd name="connsiteX15693" fmla="*/ 2110249 w 6785952"/>
              <a:gd name="connsiteY15693" fmla="*/ 773926 h 5217112"/>
              <a:gd name="connsiteX15694" fmla="*/ 2107503 w 6785952"/>
              <a:gd name="connsiteY15694" fmla="*/ 767606 h 5217112"/>
              <a:gd name="connsiteX15695" fmla="*/ 2106404 w 6785952"/>
              <a:gd name="connsiteY15695" fmla="*/ 756817 h 5217112"/>
              <a:gd name="connsiteX15696" fmla="*/ 2106679 w 6785952"/>
              <a:gd name="connsiteY15696" fmla="*/ 755727 h 5217112"/>
              <a:gd name="connsiteX15697" fmla="*/ 2102833 w 6785952"/>
              <a:gd name="connsiteY15697" fmla="*/ 753766 h 5217112"/>
              <a:gd name="connsiteX15698" fmla="*/ 2106954 w 6785952"/>
              <a:gd name="connsiteY15698" fmla="*/ 750388 h 5217112"/>
              <a:gd name="connsiteX15699" fmla="*/ 2107228 w 6785952"/>
              <a:gd name="connsiteY15699" fmla="*/ 750388 h 5217112"/>
              <a:gd name="connsiteX15700" fmla="*/ 2680791 w 6785952"/>
              <a:gd name="connsiteY15700" fmla="*/ 744721 h 5217112"/>
              <a:gd name="connsiteX15701" fmla="*/ 2679692 w 6785952"/>
              <a:gd name="connsiteY15701" fmla="*/ 755618 h 5217112"/>
              <a:gd name="connsiteX15702" fmla="*/ 2678319 w 6785952"/>
              <a:gd name="connsiteY15702" fmla="*/ 753875 h 5217112"/>
              <a:gd name="connsiteX15703" fmla="*/ 2678868 w 6785952"/>
              <a:gd name="connsiteY15703" fmla="*/ 750933 h 5217112"/>
              <a:gd name="connsiteX15704" fmla="*/ 2680791 w 6785952"/>
              <a:gd name="connsiteY15704" fmla="*/ 744721 h 5217112"/>
              <a:gd name="connsiteX15705" fmla="*/ 4301216 w 6785952"/>
              <a:gd name="connsiteY15705" fmla="*/ 744612 h 5217112"/>
              <a:gd name="connsiteX15706" fmla="*/ 4301766 w 6785952"/>
              <a:gd name="connsiteY15706" fmla="*/ 745702 h 5217112"/>
              <a:gd name="connsiteX15707" fmla="*/ 4299842 w 6785952"/>
              <a:gd name="connsiteY15707" fmla="*/ 746792 h 5217112"/>
              <a:gd name="connsiteX15708" fmla="*/ 4298469 w 6785952"/>
              <a:gd name="connsiteY15708" fmla="*/ 746247 h 5217112"/>
              <a:gd name="connsiteX15709" fmla="*/ 4301216 w 6785952"/>
              <a:gd name="connsiteY15709" fmla="*/ 744612 h 5217112"/>
              <a:gd name="connsiteX15710" fmla="*/ 3018940 w 6785952"/>
              <a:gd name="connsiteY15710" fmla="*/ 744612 h 5217112"/>
              <a:gd name="connsiteX15711" fmla="*/ 3021962 w 6785952"/>
              <a:gd name="connsiteY15711" fmla="*/ 744721 h 5217112"/>
              <a:gd name="connsiteX15712" fmla="*/ 3023335 w 6785952"/>
              <a:gd name="connsiteY15712" fmla="*/ 752131 h 5217112"/>
              <a:gd name="connsiteX15713" fmla="*/ 3021413 w 6785952"/>
              <a:gd name="connsiteY15713" fmla="*/ 751369 h 5217112"/>
              <a:gd name="connsiteX15714" fmla="*/ 3021413 w 6785952"/>
              <a:gd name="connsiteY15714" fmla="*/ 751914 h 5217112"/>
              <a:gd name="connsiteX15715" fmla="*/ 3018940 w 6785952"/>
              <a:gd name="connsiteY15715" fmla="*/ 749298 h 5217112"/>
              <a:gd name="connsiteX15716" fmla="*/ 3018940 w 6785952"/>
              <a:gd name="connsiteY15716" fmla="*/ 744612 h 5217112"/>
              <a:gd name="connsiteX15717" fmla="*/ 2707985 w 6785952"/>
              <a:gd name="connsiteY15717" fmla="*/ 744503 h 5217112"/>
              <a:gd name="connsiteX15718" fmla="*/ 2711557 w 6785952"/>
              <a:gd name="connsiteY15718" fmla="*/ 746247 h 5217112"/>
              <a:gd name="connsiteX15719" fmla="*/ 2713479 w 6785952"/>
              <a:gd name="connsiteY15719" fmla="*/ 754529 h 5217112"/>
              <a:gd name="connsiteX15720" fmla="*/ 2701393 w 6785952"/>
              <a:gd name="connsiteY15720" fmla="*/ 759106 h 5217112"/>
              <a:gd name="connsiteX15721" fmla="*/ 2698646 w 6785952"/>
              <a:gd name="connsiteY15721" fmla="*/ 754747 h 5217112"/>
              <a:gd name="connsiteX15722" fmla="*/ 2700020 w 6785952"/>
              <a:gd name="connsiteY15722" fmla="*/ 748862 h 5217112"/>
              <a:gd name="connsiteX15723" fmla="*/ 2703315 w 6785952"/>
              <a:gd name="connsiteY15723" fmla="*/ 745375 h 5217112"/>
              <a:gd name="connsiteX15724" fmla="*/ 2707985 w 6785952"/>
              <a:gd name="connsiteY15724" fmla="*/ 744503 h 5217112"/>
              <a:gd name="connsiteX15725" fmla="*/ 2095416 w 6785952"/>
              <a:gd name="connsiteY15725" fmla="*/ 743741 h 5217112"/>
              <a:gd name="connsiteX15726" fmla="*/ 2101734 w 6785952"/>
              <a:gd name="connsiteY15726" fmla="*/ 755509 h 5217112"/>
              <a:gd name="connsiteX15727" fmla="*/ 2100635 w 6785952"/>
              <a:gd name="connsiteY15727" fmla="*/ 760086 h 5217112"/>
              <a:gd name="connsiteX15728" fmla="*/ 2102009 w 6785952"/>
              <a:gd name="connsiteY15728" fmla="*/ 761503 h 5217112"/>
              <a:gd name="connsiteX15729" fmla="*/ 2099536 w 6785952"/>
              <a:gd name="connsiteY15729" fmla="*/ 764554 h 5217112"/>
              <a:gd name="connsiteX15730" fmla="*/ 2098987 w 6785952"/>
              <a:gd name="connsiteY15730" fmla="*/ 766189 h 5217112"/>
              <a:gd name="connsiteX15731" fmla="*/ 2098163 w 6785952"/>
              <a:gd name="connsiteY15731" fmla="*/ 765971 h 5217112"/>
              <a:gd name="connsiteX15732" fmla="*/ 2095966 w 6785952"/>
              <a:gd name="connsiteY15732" fmla="*/ 768804 h 5217112"/>
              <a:gd name="connsiteX15733" fmla="*/ 2088823 w 6785952"/>
              <a:gd name="connsiteY15733" fmla="*/ 772619 h 5217112"/>
              <a:gd name="connsiteX15734" fmla="*/ 2083055 w 6785952"/>
              <a:gd name="connsiteY15734" fmla="*/ 770766 h 5217112"/>
              <a:gd name="connsiteX15735" fmla="*/ 2084428 w 6785952"/>
              <a:gd name="connsiteY15735" fmla="*/ 757035 h 5217112"/>
              <a:gd name="connsiteX15736" fmla="*/ 2087175 w 6785952"/>
              <a:gd name="connsiteY15736" fmla="*/ 755618 h 5217112"/>
              <a:gd name="connsiteX15737" fmla="*/ 2087999 w 6785952"/>
              <a:gd name="connsiteY15737" fmla="*/ 746901 h 5217112"/>
              <a:gd name="connsiteX15738" fmla="*/ 2095416 w 6785952"/>
              <a:gd name="connsiteY15738" fmla="*/ 743741 h 5217112"/>
              <a:gd name="connsiteX15739" fmla="*/ 2627774 w 6785952"/>
              <a:gd name="connsiteY15739" fmla="*/ 742650 h 5217112"/>
              <a:gd name="connsiteX15740" fmla="*/ 2640960 w 6785952"/>
              <a:gd name="connsiteY15740" fmla="*/ 750388 h 5217112"/>
              <a:gd name="connsiteX15741" fmla="*/ 2631895 w 6785952"/>
              <a:gd name="connsiteY15741" fmla="*/ 754202 h 5217112"/>
              <a:gd name="connsiteX15742" fmla="*/ 2625028 w 6785952"/>
              <a:gd name="connsiteY15742" fmla="*/ 745702 h 5217112"/>
              <a:gd name="connsiteX15743" fmla="*/ 2627774 w 6785952"/>
              <a:gd name="connsiteY15743" fmla="*/ 742650 h 5217112"/>
              <a:gd name="connsiteX15744" fmla="*/ 1449883 w 6785952"/>
              <a:gd name="connsiteY15744" fmla="*/ 741670 h 5217112"/>
              <a:gd name="connsiteX15745" fmla="*/ 1445213 w 6785952"/>
              <a:gd name="connsiteY15745" fmla="*/ 744612 h 5217112"/>
              <a:gd name="connsiteX15746" fmla="*/ 1444390 w 6785952"/>
              <a:gd name="connsiteY15746" fmla="*/ 743304 h 5217112"/>
              <a:gd name="connsiteX15747" fmla="*/ 1449883 w 6785952"/>
              <a:gd name="connsiteY15747" fmla="*/ 741670 h 5217112"/>
              <a:gd name="connsiteX15748" fmla="*/ 4307260 w 6785952"/>
              <a:gd name="connsiteY15748" fmla="*/ 740908 h 5217112"/>
              <a:gd name="connsiteX15749" fmla="*/ 4310555 w 6785952"/>
              <a:gd name="connsiteY15749" fmla="*/ 743849 h 5217112"/>
              <a:gd name="connsiteX15750" fmla="*/ 4306160 w 6785952"/>
              <a:gd name="connsiteY15750" fmla="*/ 744721 h 5217112"/>
              <a:gd name="connsiteX15751" fmla="*/ 4302315 w 6785952"/>
              <a:gd name="connsiteY15751" fmla="*/ 744177 h 5217112"/>
              <a:gd name="connsiteX15752" fmla="*/ 4307260 w 6785952"/>
              <a:gd name="connsiteY15752" fmla="*/ 740908 h 5217112"/>
              <a:gd name="connsiteX15753" fmla="*/ 2883790 w 6785952"/>
              <a:gd name="connsiteY15753" fmla="*/ 739490 h 5217112"/>
              <a:gd name="connsiteX15754" fmla="*/ 2874725 w 6785952"/>
              <a:gd name="connsiteY15754" fmla="*/ 762810 h 5217112"/>
              <a:gd name="connsiteX15755" fmla="*/ 2871154 w 6785952"/>
              <a:gd name="connsiteY15755" fmla="*/ 757471 h 5217112"/>
              <a:gd name="connsiteX15756" fmla="*/ 2883790 w 6785952"/>
              <a:gd name="connsiteY15756" fmla="*/ 739490 h 5217112"/>
              <a:gd name="connsiteX15757" fmla="*/ 2675297 w 6785952"/>
              <a:gd name="connsiteY15757" fmla="*/ 739273 h 5217112"/>
              <a:gd name="connsiteX15758" fmla="*/ 2671176 w 6785952"/>
              <a:gd name="connsiteY15758" fmla="*/ 746465 h 5217112"/>
              <a:gd name="connsiteX15759" fmla="*/ 2671176 w 6785952"/>
              <a:gd name="connsiteY15759" fmla="*/ 740580 h 5217112"/>
              <a:gd name="connsiteX15760" fmla="*/ 2675297 w 6785952"/>
              <a:gd name="connsiteY15760" fmla="*/ 739273 h 5217112"/>
              <a:gd name="connsiteX15761" fmla="*/ 2234686 w 6785952"/>
              <a:gd name="connsiteY15761" fmla="*/ 739273 h 5217112"/>
              <a:gd name="connsiteX15762" fmla="*/ 2231390 w 6785952"/>
              <a:gd name="connsiteY15762" fmla="*/ 751150 h 5217112"/>
              <a:gd name="connsiteX15763" fmla="*/ 2226171 w 6785952"/>
              <a:gd name="connsiteY15763" fmla="*/ 743413 h 5217112"/>
              <a:gd name="connsiteX15764" fmla="*/ 2234686 w 6785952"/>
              <a:gd name="connsiteY15764" fmla="*/ 739273 h 5217112"/>
              <a:gd name="connsiteX15765" fmla="*/ 1652230 w 6785952"/>
              <a:gd name="connsiteY15765" fmla="*/ 739164 h 5217112"/>
              <a:gd name="connsiteX15766" fmla="*/ 1667716 w 6785952"/>
              <a:gd name="connsiteY15766" fmla="*/ 744286 h 5217112"/>
              <a:gd name="connsiteX15767" fmla="*/ 1676506 w 6785952"/>
              <a:gd name="connsiteY15767" fmla="*/ 750061 h 5217112"/>
              <a:gd name="connsiteX15768" fmla="*/ 1677331 w 6785952"/>
              <a:gd name="connsiteY15768" fmla="*/ 745593 h 5217112"/>
              <a:gd name="connsiteX15769" fmla="*/ 1697658 w 6785952"/>
              <a:gd name="connsiteY15769" fmla="*/ 740580 h 5217112"/>
              <a:gd name="connsiteX15770" fmla="*/ 1696010 w 6785952"/>
              <a:gd name="connsiteY15770" fmla="*/ 753766 h 5217112"/>
              <a:gd name="connsiteX15771" fmla="*/ 1692164 w 6785952"/>
              <a:gd name="connsiteY15771" fmla="*/ 754419 h 5217112"/>
              <a:gd name="connsiteX15772" fmla="*/ 1690242 w 6785952"/>
              <a:gd name="connsiteY15772" fmla="*/ 755946 h 5217112"/>
              <a:gd name="connsiteX15773" fmla="*/ 1691615 w 6785952"/>
              <a:gd name="connsiteY15773" fmla="*/ 759760 h 5217112"/>
              <a:gd name="connsiteX15774" fmla="*/ 1696560 w 6785952"/>
              <a:gd name="connsiteY15774" fmla="*/ 765317 h 5217112"/>
              <a:gd name="connsiteX15775" fmla="*/ 1687494 w 6785952"/>
              <a:gd name="connsiteY15775" fmla="*/ 766407 h 5217112"/>
              <a:gd name="connsiteX15776" fmla="*/ 1679254 w 6785952"/>
              <a:gd name="connsiteY15776" fmla="*/ 764227 h 5217112"/>
              <a:gd name="connsiteX15777" fmla="*/ 1682550 w 6785952"/>
              <a:gd name="connsiteY15777" fmla="*/ 755618 h 5217112"/>
              <a:gd name="connsiteX15778" fmla="*/ 1679254 w 6785952"/>
              <a:gd name="connsiteY15778" fmla="*/ 755183 h 5217112"/>
              <a:gd name="connsiteX15779" fmla="*/ 1675682 w 6785952"/>
              <a:gd name="connsiteY15779" fmla="*/ 752785 h 5217112"/>
              <a:gd name="connsiteX15780" fmla="*/ 1676232 w 6785952"/>
              <a:gd name="connsiteY15780" fmla="*/ 750606 h 5217112"/>
              <a:gd name="connsiteX15781" fmla="*/ 1667442 w 6785952"/>
              <a:gd name="connsiteY15781" fmla="*/ 754311 h 5217112"/>
              <a:gd name="connsiteX15782" fmla="*/ 1660574 w 6785952"/>
              <a:gd name="connsiteY15782" fmla="*/ 754202 h 5217112"/>
              <a:gd name="connsiteX15783" fmla="*/ 1640247 w 6785952"/>
              <a:gd name="connsiteY15783" fmla="*/ 744831 h 5217112"/>
              <a:gd name="connsiteX15784" fmla="*/ 1652230 w 6785952"/>
              <a:gd name="connsiteY15784" fmla="*/ 739164 h 5217112"/>
              <a:gd name="connsiteX15785" fmla="*/ 2989685 w 6785952"/>
              <a:gd name="connsiteY15785" fmla="*/ 738946 h 5217112"/>
              <a:gd name="connsiteX15786" fmla="*/ 2995591 w 6785952"/>
              <a:gd name="connsiteY15786" fmla="*/ 751914 h 5217112"/>
              <a:gd name="connsiteX15787" fmla="*/ 2985427 w 6785952"/>
              <a:gd name="connsiteY15787" fmla="*/ 753657 h 5217112"/>
              <a:gd name="connsiteX15788" fmla="*/ 2975538 w 6785952"/>
              <a:gd name="connsiteY15788" fmla="*/ 750824 h 5217112"/>
              <a:gd name="connsiteX15789" fmla="*/ 2977187 w 6785952"/>
              <a:gd name="connsiteY15789" fmla="*/ 740363 h 5217112"/>
              <a:gd name="connsiteX15790" fmla="*/ 2989685 w 6785952"/>
              <a:gd name="connsiteY15790" fmla="*/ 738946 h 5217112"/>
              <a:gd name="connsiteX15791" fmla="*/ 4351760 w 6785952"/>
              <a:gd name="connsiteY15791" fmla="*/ 737965 h 5217112"/>
              <a:gd name="connsiteX15792" fmla="*/ 4354232 w 6785952"/>
              <a:gd name="connsiteY15792" fmla="*/ 747664 h 5217112"/>
              <a:gd name="connsiteX15793" fmla="*/ 4348738 w 6785952"/>
              <a:gd name="connsiteY15793" fmla="*/ 755183 h 5217112"/>
              <a:gd name="connsiteX15794" fmla="*/ 4349287 w 6785952"/>
              <a:gd name="connsiteY15794" fmla="*/ 755837 h 5217112"/>
              <a:gd name="connsiteX15795" fmla="*/ 4359726 w 6785952"/>
              <a:gd name="connsiteY15795" fmla="*/ 759541 h 5217112"/>
              <a:gd name="connsiteX15796" fmla="*/ 4379504 w 6785952"/>
              <a:gd name="connsiteY15796" fmla="*/ 779375 h 5217112"/>
              <a:gd name="connsiteX15797" fmla="*/ 4368242 w 6785952"/>
              <a:gd name="connsiteY15797" fmla="*/ 785587 h 5217112"/>
              <a:gd name="connsiteX15798" fmla="*/ 4333629 w 6785952"/>
              <a:gd name="connsiteY15798" fmla="*/ 759324 h 5217112"/>
              <a:gd name="connsiteX15799" fmla="*/ 4336102 w 6785952"/>
              <a:gd name="connsiteY15799" fmla="*/ 757798 h 5217112"/>
              <a:gd name="connsiteX15800" fmla="*/ 4333080 w 6785952"/>
              <a:gd name="connsiteY15800" fmla="*/ 750715 h 5217112"/>
              <a:gd name="connsiteX15801" fmla="*/ 4344343 w 6785952"/>
              <a:gd name="connsiteY15801" fmla="*/ 741234 h 5217112"/>
              <a:gd name="connsiteX15802" fmla="*/ 4345442 w 6785952"/>
              <a:gd name="connsiteY15802" fmla="*/ 745484 h 5217112"/>
              <a:gd name="connsiteX15803" fmla="*/ 1215294 w 6785952"/>
              <a:gd name="connsiteY15803" fmla="*/ 736330 h 5217112"/>
              <a:gd name="connsiteX15804" fmla="*/ 1215019 w 6785952"/>
              <a:gd name="connsiteY15804" fmla="*/ 737747 h 5217112"/>
              <a:gd name="connsiteX15805" fmla="*/ 1216393 w 6785952"/>
              <a:gd name="connsiteY15805" fmla="*/ 736548 h 5217112"/>
              <a:gd name="connsiteX15806" fmla="*/ 1218041 w 6785952"/>
              <a:gd name="connsiteY15806" fmla="*/ 757689 h 5217112"/>
              <a:gd name="connsiteX15807" fmla="*/ 1216393 w 6785952"/>
              <a:gd name="connsiteY15807" fmla="*/ 757471 h 5217112"/>
              <a:gd name="connsiteX15808" fmla="*/ 1214195 w 6785952"/>
              <a:gd name="connsiteY15808" fmla="*/ 741779 h 5217112"/>
              <a:gd name="connsiteX15809" fmla="*/ 1215294 w 6785952"/>
              <a:gd name="connsiteY15809" fmla="*/ 736330 h 5217112"/>
              <a:gd name="connsiteX15810" fmla="*/ 1717711 w 6785952"/>
              <a:gd name="connsiteY15810" fmla="*/ 735786 h 5217112"/>
              <a:gd name="connsiteX15811" fmla="*/ 1719084 w 6785952"/>
              <a:gd name="connsiteY15811" fmla="*/ 740363 h 5217112"/>
              <a:gd name="connsiteX15812" fmla="*/ 1716613 w 6785952"/>
              <a:gd name="connsiteY15812" fmla="*/ 741343 h 5217112"/>
              <a:gd name="connsiteX15813" fmla="*/ 1714139 w 6785952"/>
              <a:gd name="connsiteY15813" fmla="*/ 740798 h 5217112"/>
              <a:gd name="connsiteX15814" fmla="*/ 1711943 w 6785952"/>
              <a:gd name="connsiteY15814" fmla="*/ 738074 h 5217112"/>
              <a:gd name="connsiteX15815" fmla="*/ 1717711 w 6785952"/>
              <a:gd name="connsiteY15815" fmla="*/ 735786 h 5217112"/>
              <a:gd name="connsiteX15816" fmla="*/ 4060034 w 6785952"/>
              <a:gd name="connsiteY15816" fmla="*/ 735458 h 5217112"/>
              <a:gd name="connsiteX15817" fmla="*/ 4064429 w 6785952"/>
              <a:gd name="connsiteY15817" fmla="*/ 738510 h 5217112"/>
              <a:gd name="connsiteX15818" fmla="*/ 4063056 w 6785952"/>
              <a:gd name="connsiteY15818" fmla="*/ 739926 h 5217112"/>
              <a:gd name="connsiteX15819" fmla="*/ 4064429 w 6785952"/>
              <a:gd name="connsiteY15819" fmla="*/ 740035 h 5217112"/>
              <a:gd name="connsiteX15820" fmla="*/ 4062506 w 6785952"/>
              <a:gd name="connsiteY15820" fmla="*/ 740471 h 5217112"/>
              <a:gd name="connsiteX15821" fmla="*/ 4061682 w 6785952"/>
              <a:gd name="connsiteY15821" fmla="*/ 739926 h 5217112"/>
              <a:gd name="connsiteX15822" fmla="*/ 4060034 w 6785952"/>
              <a:gd name="connsiteY15822" fmla="*/ 735458 h 5217112"/>
              <a:gd name="connsiteX15823" fmla="*/ 4217434 w 6785952"/>
              <a:gd name="connsiteY15823" fmla="*/ 735241 h 5217112"/>
              <a:gd name="connsiteX15824" fmla="*/ 4232542 w 6785952"/>
              <a:gd name="connsiteY15824" fmla="*/ 745266 h 5217112"/>
              <a:gd name="connsiteX15825" fmla="*/ 4217434 w 6785952"/>
              <a:gd name="connsiteY15825" fmla="*/ 735241 h 5217112"/>
              <a:gd name="connsiteX15826" fmla="*/ 1987461 w 6785952"/>
              <a:gd name="connsiteY15826" fmla="*/ 734042 h 5217112"/>
              <a:gd name="connsiteX15827" fmla="*/ 1995702 w 6785952"/>
              <a:gd name="connsiteY15827" fmla="*/ 734151 h 5217112"/>
              <a:gd name="connsiteX15828" fmla="*/ 1991032 w 6785952"/>
              <a:gd name="connsiteY15828" fmla="*/ 755509 h 5217112"/>
              <a:gd name="connsiteX15829" fmla="*/ 1987461 w 6785952"/>
              <a:gd name="connsiteY15829" fmla="*/ 734042 h 5217112"/>
              <a:gd name="connsiteX15830" fmla="*/ 2370111 w 6785952"/>
              <a:gd name="connsiteY15830" fmla="*/ 733933 h 5217112"/>
              <a:gd name="connsiteX15831" fmla="*/ 2376978 w 6785952"/>
              <a:gd name="connsiteY15831" fmla="*/ 737965 h 5217112"/>
              <a:gd name="connsiteX15832" fmla="*/ 2379176 w 6785952"/>
              <a:gd name="connsiteY15832" fmla="*/ 748317 h 5217112"/>
              <a:gd name="connsiteX15833" fmla="*/ 2364068 w 6785952"/>
              <a:gd name="connsiteY15833" fmla="*/ 761067 h 5217112"/>
              <a:gd name="connsiteX15834" fmla="*/ 2356102 w 6785952"/>
              <a:gd name="connsiteY15834" fmla="*/ 758452 h 5217112"/>
              <a:gd name="connsiteX15835" fmla="*/ 2354728 w 6785952"/>
              <a:gd name="connsiteY15835" fmla="*/ 756817 h 5217112"/>
              <a:gd name="connsiteX15836" fmla="*/ 2356377 w 6785952"/>
              <a:gd name="connsiteY15836" fmla="*/ 761611 h 5217112"/>
              <a:gd name="connsiteX15837" fmla="*/ 2354453 w 6785952"/>
              <a:gd name="connsiteY15837" fmla="*/ 767823 h 5217112"/>
              <a:gd name="connsiteX15838" fmla="*/ 2353904 w 6785952"/>
              <a:gd name="connsiteY15838" fmla="*/ 775124 h 5217112"/>
              <a:gd name="connsiteX15839" fmla="*/ 2351157 w 6785952"/>
              <a:gd name="connsiteY15839" fmla="*/ 777522 h 5217112"/>
              <a:gd name="connsiteX15840" fmla="*/ 2349783 w 6785952"/>
              <a:gd name="connsiteY15840" fmla="*/ 777304 h 5217112"/>
              <a:gd name="connsiteX15841" fmla="*/ 2348685 w 6785952"/>
              <a:gd name="connsiteY15841" fmla="*/ 774035 h 5217112"/>
              <a:gd name="connsiteX15842" fmla="*/ 2349783 w 6785952"/>
              <a:gd name="connsiteY15842" fmla="*/ 765535 h 5217112"/>
              <a:gd name="connsiteX15843" fmla="*/ 2350608 w 6785952"/>
              <a:gd name="connsiteY15843" fmla="*/ 760631 h 5217112"/>
              <a:gd name="connsiteX15844" fmla="*/ 2347861 w 6785952"/>
              <a:gd name="connsiteY15844" fmla="*/ 769240 h 5217112"/>
              <a:gd name="connsiteX15845" fmla="*/ 2341543 w 6785952"/>
              <a:gd name="connsiteY15845" fmla="*/ 778285 h 5217112"/>
              <a:gd name="connsiteX15846" fmla="*/ 2340719 w 6785952"/>
              <a:gd name="connsiteY15846" fmla="*/ 773708 h 5217112"/>
              <a:gd name="connsiteX15847" fmla="*/ 2341543 w 6785952"/>
              <a:gd name="connsiteY15847" fmla="*/ 771746 h 5217112"/>
              <a:gd name="connsiteX15848" fmla="*/ 2340719 w 6785952"/>
              <a:gd name="connsiteY15848" fmla="*/ 770439 h 5217112"/>
              <a:gd name="connsiteX15849" fmla="*/ 2342092 w 6785952"/>
              <a:gd name="connsiteY15849" fmla="*/ 769676 h 5217112"/>
              <a:gd name="connsiteX15850" fmla="*/ 2343191 w 6785952"/>
              <a:gd name="connsiteY15850" fmla="*/ 765644 h 5217112"/>
              <a:gd name="connsiteX15851" fmla="*/ 2343191 w 6785952"/>
              <a:gd name="connsiteY15851" fmla="*/ 755618 h 5217112"/>
              <a:gd name="connsiteX15852" fmla="*/ 2348135 w 6785952"/>
              <a:gd name="connsiteY15852" fmla="*/ 745920 h 5217112"/>
              <a:gd name="connsiteX15853" fmla="*/ 2351981 w 6785952"/>
              <a:gd name="connsiteY15853" fmla="*/ 746901 h 5217112"/>
              <a:gd name="connsiteX15854" fmla="*/ 2353080 w 6785952"/>
              <a:gd name="connsiteY15854" fmla="*/ 742759 h 5217112"/>
              <a:gd name="connsiteX15855" fmla="*/ 2370111 w 6785952"/>
              <a:gd name="connsiteY15855" fmla="*/ 733933 h 5217112"/>
              <a:gd name="connsiteX15856" fmla="*/ 1195241 w 6785952"/>
              <a:gd name="connsiteY15856" fmla="*/ 733824 h 5217112"/>
              <a:gd name="connsiteX15857" fmla="*/ 1201559 w 6785952"/>
              <a:gd name="connsiteY15857" fmla="*/ 739709 h 5217112"/>
              <a:gd name="connsiteX15858" fmla="*/ 1197713 w 6785952"/>
              <a:gd name="connsiteY15858" fmla="*/ 745266 h 5217112"/>
              <a:gd name="connsiteX15859" fmla="*/ 1191396 w 6785952"/>
              <a:gd name="connsiteY15859" fmla="*/ 739381 h 5217112"/>
              <a:gd name="connsiteX15860" fmla="*/ 1195241 w 6785952"/>
              <a:gd name="connsiteY15860" fmla="*/ 733824 h 5217112"/>
              <a:gd name="connsiteX15861" fmla="*/ 1804515 w 6785952"/>
              <a:gd name="connsiteY15861" fmla="*/ 733170 h 5217112"/>
              <a:gd name="connsiteX15862" fmla="*/ 1804789 w 6785952"/>
              <a:gd name="connsiteY15862" fmla="*/ 768695 h 5217112"/>
              <a:gd name="connsiteX15863" fmla="*/ 1797647 w 6785952"/>
              <a:gd name="connsiteY15863" fmla="*/ 766407 h 5217112"/>
              <a:gd name="connsiteX15864" fmla="*/ 1804515 w 6785952"/>
              <a:gd name="connsiteY15864" fmla="*/ 733170 h 5217112"/>
              <a:gd name="connsiteX15865" fmla="*/ 1199636 w 6785952"/>
              <a:gd name="connsiteY15865" fmla="*/ 732625 h 5217112"/>
              <a:gd name="connsiteX15866" fmla="*/ 1205406 w 6785952"/>
              <a:gd name="connsiteY15866" fmla="*/ 733497 h 5217112"/>
              <a:gd name="connsiteX15867" fmla="*/ 1205131 w 6785952"/>
              <a:gd name="connsiteY15867" fmla="*/ 736439 h 5217112"/>
              <a:gd name="connsiteX15868" fmla="*/ 1210899 w 6785952"/>
              <a:gd name="connsiteY15868" fmla="*/ 759760 h 5217112"/>
              <a:gd name="connsiteX15869" fmla="*/ 1199636 w 6785952"/>
              <a:gd name="connsiteY15869" fmla="*/ 732625 h 5217112"/>
              <a:gd name="connsiteX15870" fmla="*/ 2087450 w 6785952"/>
              <a:gd name="connsiteY15870" fmla="*/ 731535 h 5217112"/>
              <a:gd name="connsiteX15871" fmla="*/ 2089372 w 6785952"/>
              <a:gd name="connsiteY15871" fmla="*/ 732189 h 5217112"/>
              <a:gd name="connsiteX15872" fmla="*/ 2077286 w 6785952"/>
              <a:gd name="connsiteY15872" fmla="*/ 736548 h 5217112"/>
              <a:gd name="connsiteX15873" fmla="*/ 2087450 w 6785952"/>
              <a:gd name="connsiteY15873" fmla="*/ 731535 h 5217112"/>
              <a:gd name="connsiteX15874" fmla="*/ 1553993 w 6785952"/>
              <a:gd name="connsiteY15874" fmla="*/ 731318 h 5217112"/>
              <a:gd name="connsiteX15875" fmla="*/ 1557289 w 6785952"/>
              <a:gd name="connsiteY15875" fmla="*/ 737637 h 5217112"/>
              <a:gd name="connsiteX15876" fmla="*/ 1553718 w 6785952"/>
              <a:gd name="connsiteY15876" fmla="*/ 736875 h 5217112"/>
              <a:gd name="connsiteX15877" fmla="*/ 1552895 w 6785952"/>
              <a:gd name="connsiteY15877" fmla="*/ 732080 h 5217112"/>
              <a:gd name="connsiteX15878" fmla="*/ 1553993 w 6785952"/>
              <a:gd name="connsiteY15878" fmla="*/ 731318 h 5217112"/>
              <a:gd name="connsiteX15879" fmla="*/ 1781166 w 6785952"/>
              <a:gd name="connsiteY15879" fmla="*/ 730445 h 5217112"/>
              <a:gd name="connsiteX15880" fmla="*/ 1774847 w 6785952"/>
              <a:gd name="connsiteY15880" fmla="*/ 747990 h 5217112"/>
              <a:gd name="connsiteX15881" fmla="*/ 1769628 w 6785952"/>
              <a:gd name="connsiteY15881" fmla="*/ 736330 h 5217112"/>
              <a:gd name="connsiteX15882" fmla="*/ 1781166 w 6785952"/>
              <a:gd name="connsiteY15882" fmla="*/ 730445 h 5217112"/>
              <a:gd name="connsiteX15883" fmla="*/ 2010115 w 6785952"/>
              <a:gd name="connsiteY15883" fmla="*/ 729948 h 5217112"/>
              <a:gd name="connsiteX15884" fmla="*/ 2010810 w 6785952"/>
              <a:gd name="connsiteY15884" fmla="*/ 739818 h 5217112"/>
              <a:gd name="connsiteX15885" fmla="*/ 2005866 w 6785952"/>
              <a:gd name="connsiteY15885" fmla="*/ 732843 h 5217112"/>
              <a:gd name="connsiteX15886" fmla="*/ 2010115 w 6785952"/>
              <a:gd name="connsiteY15886" fmla="*/ 729948 h 5217112"/>
              <a:gd name="connsiteX15887" fmla="*/ 6136040 w 6785952"/>
              <a:gd name="connsiteY15887" fmla="*/ 727844 h 5217112"/>
              <a:gd name="connsiteX15888" fmla="*/ 6155132 w 6785952"/>
              <a:gd name="connsiteY15888" fmla="*/ 729356 h 5217112"/>
              <a:gd name="connsiteX15889" fmla="*/ 6129310 w 6785952"/>
              <a:gd name="connsiteY15889" fmla="*/ 754747 h 5217112"/>
              <a:gd name="connsiteX15890" fmla="*/ 6119970 w 6785952"/>
              <a:gd name="connsiteY15890" fmla="*/ 757144 h 5217112"/>
              <a:gd name="connsiteX15891" fmla="*/ 6120795 w 6785952"/>
              <a:gd name="connsiteY15891" fmla="*/ 761503 h 5217112"/>
              <a:gd name="connsiteX15892" fmla="*/ 6120245 w 6785952"/>
              <a:gd name="connsiteY15892" fmla="*/ 772183 h 5217112"/>
              <a:gd name="connsiteX15893" fmla="*/ 6113378 w 6785952"/>
              <a:gd name="connsiteY15893" fmla="*/ 766298 h 5217112"/>
              <a:gd name="connsiteX15894" fmla="*/ 6111730 w 6785952"/>
              <a:gd name="connsiteY15894" fmla="*/ 767387 h 5217112"/>
              <a:gd name="connsiteX15895" fmla="*/ 6105961 w 6785952"/>
              <a:gd name="connsiteY15895" fmla="*/ 768041 h 5217112"/>
              <a:gd name="connsiteX15896" fmla="*/ 6104313 w 6785952"/>
              <a:gd name="connsiteY15896" fmla="*/ 762157 h 5217112"/>
              <a:gd name="connsiteX15897" fmla="*/ 6100193 w 6785952"/>
              <a:gd name="connsiteY15897" fmla="*/ 763683 h 5217112"/>
              <a:gd name="connsiteX15898" fmla="*/ 6102115 w 6785952"/>
              <a:gd name="connsiteY15898" fmla="*/ 749080 h 5217112"/>
              <a:gd name="connsiteX15899" fmla="*/ 6106236 w 6785952"/>
              <a:gd name="connsiteY15899" fmla="*/ 745048 h 5217112"/>
              <a:gd name="connsiteX15900" fmla="*/ 6105412 w 6785952"/>
              <a:gd name="connsiteY15900" fmla="*/ 736112 h 5217112"/>
              <a:gd name="connsiteX15901" fmla="*/ 6112005 w 6785952"/>
              <a:gd name="connsiteY15901" fmla="*/ 739818 h 5217112"/>
              <a:gd name="connsiteX15902" fmla="*/ 6116125 w 6785952"/>
              <a:gd name="connsiteY15902" fmla="*/ 735895 h 5217112"/>
              <a:gd name="connsiteX15903" fmla="*/ 6136040 w 6785952"/>
              <a:gd name="connsiteY15903" fmla="*/ 727844 h 5217112"/>
              <a:gd name="connsiteX15904" fmla="*/ 2472847 w 6785952"/>
              <a:gd name="connsiteY15904" fmla="*/ 727285 h 5217112"/>
              <a:gd name="connsiteX15905" fmla="*/ 2476418 w 6785952"/>
              <a:gd name="connsiteY15905" fmla="*/ 732407 h 5217112"/>
              <a:gd name="connsiteX15906" fmla="*/ 2475868 w 6785952"/>
              <a:gd name="connsiteY15906" fmla="*/ 734696 h 5217112"/>
              <a:gd name="connsiteX15907" fmla="*/ 2480263 w 6785952"/>
              <a:gd name="connsiteY15907" fmla="*/ 742869 h 5217112"/>
              <a:gd name="connsiteX15908" fmla="*/ 2481637 w 6785952"/>
              <a:gd name="connsiteY15908" fmla="*/ 764882 h 5217112"/>
              <a:gd name="connsiteX15909" fmla="*/ 2474770 w 6785952"/>
              <a:gd name="connsiteY15909" fmla="*/ 758997 h 5217112"/>
              <a:gd name="connsiteX15910" fmla="*/ 2472847 w 6785952"/>
              <a:gd name="connsiteY15910" fmla="*/ 760086 h 5217112"/>
              <a:gd name="connsiteX15911" fmla="*/ 2472023 w 6785952"/>
              <a:gd name="connsiteY15911" fmla="*/ 760195 h 5217112"/>
              <a:gd name="connsiteX15912" fmla="*/ 2471748 w 6785952"/>
              <a:gd name="connsiteY15912" fmla="*/ 760414 h 5217112"/>
              <a:gd name="connsiteX15913" fmla="*/ 2467353 w 6785952"/>
              <a:gd name="connsiteY15913" fmla="*/ 762266 h 5217112"/>
              <a:gd name="connsiteX15914" fmla="*/ 2463232 w 6785952"/>
              <a:gd name="connsiteY15914" fmla="*/ 761939 h 5217112"/>
              <a:gd name="connsiteX15915" fmla="*/ 2461859 w 6785952"/>
              <a:gd name="connsiteY15915" fmla="*/ 757362 h 5217112"/>
              <a:gd name="connsiteX15916" fmla="*/ 2464881 w 6785952"/>
              <a:gd name="connsiteY15916" fmla="*/ 752240 h 5217112"/>
              <a:gd name="connsiteX15917" fmla="*/ 2463782 w 6785952"/>
              <a:gd name="connsiteY15917" fmla="*/ 748209 h 5217112"/>
              <a:gd name="connsiteX15918" fmla="*/ 2468177 w 6785952"/>
              <a:gd name="connsiteY15918" fmla="*/ 747664 h 5217112"/>
              <a:gd name="connsiteX15919" fmla="*/ 2468726 w 6785952"/>
              <a:gd name="connsiteY15919" fmla="*/ 747555 h 5217112"/>
              <a:gd name="connsiteX15920" fmla="*/ 2468726 w 6785952"/>
              <a:gd name="connsiteY15920" fmla="*/ 747227 h 5217112"/>
              <a:gd name="connsiteX15921" fmla="*/ 2464606 w 6785952"/>
              <a:gd name="connsiteY15921" fmla="*/ 747664 h 5217112"/>
              <a:gd name="connsiteX15922" fmla="*/ 2459661 w 6785952"/>
              <a:gd name="connsiteY15922" fmla="*/ 749516 h 5217112"/>
              <a:gd name="connsiteX15923" fmla="*/ 2455816 w 6785952"/>
              <a:gd name="connsiteY15923" fmla="*/ 748971 h 5217112"/>
              <a:gd name="connsiteX15924" fmla="*/ 2455267 w 6785952"/>
              <a:gd name="connsiteY15924" fmla="*/ 741452 h 5217112"/>
              <a:gd name="connsiteX15925" fmla="*/ 2461584 w 6785952"/>
              <a:gd name="connsiteY15925" fmla="*/ 733606 h 5217112"/>
              <a:gd name="connsiteX15926" fmla="*/ 2466804 w 6785952"/>
              <a:gd name="connsiteY15926" fmla="*/ 729901 h 5217112"/>
              <a:gd name="connsiteX15927" fmla="*/ 2466804 w 6785952"/>
              <a:gd name="connsiteY15927" fmla="*/ 728702 h 5217112"/>
              <a:gd name="connsiteX15928" fmla="*/ 2467902 w 6785952"/>
              <a:gd name="connsiteY15928" fmla="*/ 729465 h 5217112"/>
              <a:gd name="connsiteX15929" fmla="*/ 4163044 w 6785952"/>
              <a:gd name="connsiteY15929" fmla="*/ 726087 h 5217112"/>
              <a:gd name="connsiteX15930" fmla="*/ 4167165 w 6785952"/>
              <a:gd name="connsiteY15930" fmla="*/ 734478 h 5217112"/>
              <a:gd name="connsiteX15931" fmla="*/ 4162770 w 6785952"/>
              <a:gd name="connsiteY15931" fmla="*/ 734368 h 5217112"/>
              <a:gd name="connsiteX15932" fmla="*/ 4163044 w 6785952"/>
              <a:gd name="connsiteY15932" fmla="*/ 726087 h 5217112"/>
              <a:gd name="connsiteX15933" fmla="*/ 2117186 w 6785952"/>
              <a:gd name="connsiteY15933" fmla="*/ 725760 h 5217112"/>
              <a:gd name="connsiteX15934" fmla="*/ 2123161 w 6785952"/>
              <a:gd name="connsiteY15934" fmla="*/ 729029 h 5217112"/>
              <a:gd name="connsiteX15935" fmla="*/ 2116293 w 6785952"/>
              <a:gd name="connsiteY15935" fmla="*/ 736548 h 5217112"/>
              <a:gd name="connsiteX15936" fmla="*/ 2109151 w 6785952"/>
              <a:gd name="connsiteY15936" fmla="*/ 728702 h 5217112"/>
              <a:gd name="connsiteX15937" fmla="*/ 2117186 w 6785952"/>
              <a:gd name="connsiteY15937" fmla="*/ 725760 h 5217112"/>
              <a:gd name="connsiteX15938" fmla="*/ 4388844 w 6785952"/>
              <a:gd name="connsiteY15938" fmla="*/ 725542 h 5217112"/>
              <a:gd name="connsiteX15939" fmla="*/ 4392689 w 6785952"/>
              <a:gd name="connsiteY15939" fmla="*/ 731644 h 5217112"/>
              <a:gd name="connsiteX15940" fmla="*/ 4375383 w 6785952"/>
              <a:gd name="connsiteY15940" fmla="*/ 755946 h 5217112"/>
              <a:gd name="connsiteX15941" fmla="*/ 4378406 w 6785952"/>
              <a:gd name="connsiteY15941" fmla="*/ 742215 h 5217112"/>
              <a:gd name="connsiteX15942" fmla="*/ 4380328 w 6785952"/>
              <a:gd name="connsiteY15942" fmla="*/ 739273 h 5217112"/>
              <a:gd name="connsiteX15943" fmla="*/ 4380877 w 6785952"/>
              <a:gd name="connsiteY15943" fmla="*/ 734260 h 5217112"/>
              <a:gd name="connsiteX15944" fmla="*/ 4383899 w 6785952"/>
              <a:gd name="connsiteY15944" fmla="*/ 733606 h 5217112"/>
              <a:gd name="connsiteX15945" fmla="*/ 4451199 w 6785952"/>
              <a:gd name="connsiteY15945" fmla="*/ 724670 h 5217112"/>
              <a:gd name="connsiteX15946" fmla="*/ 4458616 w 6785952"/>
              <a:gd name="connsiteY15946" fmla="*/ 736657 h 5217112"/>
              <a:gd name="connsiteX15947" fmla="*/ 4448178 w 6785952"/>
              <a:gd name="connsiteY15947" fmla="*/ 743741 h 5217112"/>
              <a:gd name="connsiteX15948" fmla="*/ 4439113 w 6785952"/>
              <a:gd name="connsiteY15948" fmla="*/ 739818 h 5217112"/>
              <a:gd name="connsiteX15949" fmla="*/ 4438289 w 6785952"/>
              <a:gd name="connsiteY15949" fmla="*/ 731535 h 5217112"/>
              <a:gd name="connsiteX15950" fmla="*/ 4451199 w 6785952"/>
              <a:gd name="connsiteY15950" fmla="*/ 724670 h 5217112"/>
              <a:gd name="connsiteX15951" fmla="*/ 4154529 w 6785952"/>
              <a:gd name="connsiteY15951" fmla="*/ 724452 h 5217112"/>
              <a:gd name="connsiteX15952" fmla="*/ 4142991 w 6785952"/>
              <a:gd name="connsiteY15952" fmla="*/ 736766 h 5217112"/>
              <a:gd name="connsiteX15953" fmla="*/ 4154529 w 6785952"/>
              <a:gd name="connsiteY15953" fmla="*/ 724452 h 5217112"/>
              <a:gd name="connsiteX15954" fmla="*/ 4053716 w 6785952"/>
              <a:gd name="connsiteY15954" fmla="*/ 724452 h 5217112"/>
              <a:gd name="connsiteX15955" fmla="*/ 4059759 w 6785952"/>
              <a:gd name="connsiteY15955" fmla="*/ 735458 h 5217112"/>
              <a:gd name="connsiteX15956" fmla="*/ 4053991 w 6785952"/>
              <a:gd name="connsiteY15956" fmla="*/ 730555 h 5217112"/>
              <a:gd name="connsiteX15957" fmla="*/ 4053716 w 6785952"/>
              <a:gd name="connsiteY15957" fmla="*/ 724452 h 5217112"/>
              <a:gd name="connsiteX15958" fmla="*/ 3003558 w 6785952"/>
              <a:gd name="connsiteY15958" fmla="*/ 723581 h 5217112"/>
              <a:gd name="connsiteX15959" fmla="*/ 3015095 w 6785952"/>
              <a:gd name="connsiteY15959" fmla="*/ 737856 h 5217112"/>
              <a:gd name="connsiteX15960" fmla="*/ 3008777 w 6785952"/>
              <a:gd name="connsiteY15960" fmla="*/ 741125 h 5217112"/>
              <a:gd name="connsiteX15961" fmla="*/ 3000810 w 6785952"/>
              <a:gd name="connsiteY15961" fmla="*/ 740580 h 5217112"/>
              <a:gd name="connsiteX15962" fmla="*/ 3003558 w 6785952"/>
              <a:gd name="connsiteY15962" fmla="*/ 723581 h 5217112"/>
              <a:gd name="connsiteX15963" fmla="*/ 2121512 w 6785952"/>
              <a:gd name="connsiteY15963" fmla="*/ 722382 h 5217112"/>
              <a:gd name="connsiteX15964" fmla="*/ 2098987 w 6785952"/>
              <a:gd name="connsiteY15964" fmla="*/ 729138 h 5217112"/>
              <a:gd name="connsiteX15965" fmla="*/ 2121512 w 6785952"/>
              <a:gd name="connsiteY15965" fmla="*/ 722382 h 5217112"/>
              <a:gd name="connsiteX15966" fmla="*/ 2122611 w 6785952"/>
              <a:gd name="connsiteY15966" fmla="*/ 720747 h 5217112"/>
              <a:gd name="connsiteX15967" fmla="*/ 2124809 w 6785952"/>
              <a:gd name="connsiteY15967" fmla="*/ 722382 h 5217112"/>
              <a:gd name="connsiteX15968" fmla="*/ 2121512 w 6785952"/>
              <a:gd name="connsiteY15968" fmla="*/ 722599 h 5217112"/>
              <a:gd name="connsiteX15969" fmla="*/ 2122611 w 6785952"/>
              <a:gd name="connsiteY15969" fmla="*/ 720747 h 5217112"/>
              <a:gd name="connsiteX15970" fmla="*/ 6368844 w 6785952"/>
              <a:gd name="connsiteY15970" fmla="*/ 719984 h 5217112"/>
              <a:gd name="connsiteX15971" fmla="*/ 6365548 w 6785952"/>
              <a:gd name="connsiteY15971" fmla="*/ 743958 h 5217112"/>
              <a:gd name="connsiteX15972" fmla="*/ 6355110 w 6785952"/>
              <a:gd name="connsiteY15972" fmla="*/ 736766 h 5217112"/>
              <a:gd name="connsiteX15973" fmla="*/ 6368844 w 6785952"/>
              <a:gd name="connsiteY15973" fmla="*/ 719984 h 5217112"/>
              <a:gd name="connsiteX15974" fmla="*/ 4299018 w 6785952"/>
              <a:gd name="connsiteY15974" fmla="*/ 719984 h 5217112"/>
              <a:gd name="connsiteX15975" fmla="*/ 4326488 w 6785952"/>
              <a:gd name="connsiteY15975" fmla="*/ 734587 h 5217112"/>
              <a:gd name="connsiteX15976" fmla="*/ 4299018 w 6785952"/>
              <a:gd name="connsiteY15976" fmla="*/ 719984 h 5217112"/>
              <a:gd name="connsiteX15977" fmla="*/ 2042675 w 6785952"/>
              <a:gd name="connsiteY15977" fmla="*/ 719767 h 5217112"/>
              <a:gd name="connsiteX15978" fmla="*/ 2041302 w 6785952"/>
              <a:gd name="connsiteY15978" fmla="*/ 732080 h 5217112"/>
              <a:gd name="connsiteX15979" fmla="*/ 2039103 w 6785952"/>
              <a:gd name="connsiteY15979" fmla="*/ 732189 h 5217112"/>
              <a:gd name="connsiteX15980" fmla="*/ 2037181 w 6785952"/>
              <a:gd name="connsiteY15980" fmla="*/ 730337 h 5217112"/>
              <a:gd name="connsiteX15981" fmla="*/ 2042675 w 6785952"/>
              <a:gd name="connsiteY15981" fmla="*/ 719767 h 5217112"/>
              <a:gd name="connsiteX15982" fmla="*/ 2804953 w 6785952"/>
              <a:gd name="connsiteY15982" fmla="*/ 719549 h 5217112"/>
              <a:gd name="connsiteX15983" fmla="*/ 2823907 w 6785952"/>
              <a:gd name="connsiteY15983" fmla="*/ 740798 h 5217112"/>
              <a:gd name="connsiteX15984" fmla="*/ 2817588 w 6785952"/>
              <a:gd name="connsiteY15984" fmla="*/ 741452 h 5217112"/>
              <a:gd name="connsiteX15985" fmla="*/ 2813743 w 6785952"/>
              <a:gd name="connsiteY15985" fmla="*/ 739709 h 5217112"/>
              <a:gd name="connsiteX15986" fmla="*/ 2812644 w 6785952"/>
              <a:gd name="connsiteY15986" fmla="*/ 740798 h 5217112"/>
              <a:gd name="connsiteX15987" fmla="*/ 2806326 w 6785952"/>
              <a:gd name="connsiteY15987" fmla="*/ 733388 h 5217112"/>
              <a:gd name="connsiteX15988" fmla="*/ 2802481 w 6785952"/>
              <a:gd name="connsiteY15988" fmla="*/ 729247 h 5217112"/>
              <a:gd name="connsiteX15989" fmla="*/ 2804953 w 6785952"/>
              <a:gd name="connsiteY15989" fmla="*/ 719549 h 5217112"/>
              <a:gd name="connsiteX15990" fmla="*/ 4047123 w 6785952"/>
              <a:gd name="connsiteY15990" fmla="*/ 719439 h 5217112"/>
              <a:gd name="connsiteX15991" fmla="*/ 4045475 w 6785952"/>
              <a:gd name="connsiteY15991" fmla="*/ 719984 h 5217112"/>
              <a:gd name="connsiteX15992" fmla="*/ 4046299 w 6785952"/>
              <a:gd name="connsiteY15992" fmla="*/ 722708 h 5217112"/>
              <a:gd name="connsiteX15993" fmla="*/ 4047673 w 6785952"/>
              <a:gd name="connsiteY15993" fmla="*/ 722273 h 5217112"/>
              <a:gd name="connsiteX15994" fmla="*/ 4047123 w 6785952"/>
              <a:gd name="connsiteY15994" fmla="*/ 725651 h 5217112"/>
              <a:gd name="connsiteX15995" fmla="*/ 4038333 w 6785952"/>
              <a:gd name="connsiteY15995" fmla="*/ 733388 h 5217112"/>
              <a:gd name="connsiteX15996" fmla="*/ 4035861 w 6785952"/>
              <a:gd name="connsiteY15996" fmla="*/ 729901 h 5217112"/>
              <a:gd name="connsiteX15997" fmla="*/ 4036410 w 6785952"/>
              <a:gd name="connsiteY15997" fmla="*/ 726414 h 5217112"/>
              <a:gd name="connsiteX15998" fmla="*/ 4040255 w 6785952"/>
              <a:gd name="connsiteY15998" fmla="*/ 721183 h 5217112"/>
              <a:gd name="connsiteX15999" fmla="*/ 4047123 w 6785952"/>
              <a:gd name="connsiteY15999" fmla="*/ 719439 h 5217112"/>
              <a:gd name="connsiteX16000" fmla="*/ 1931423 w 6785952"/>
              <a:gd name="connsiteY16000" fmla="*/ 719330 h 5217112"/>
              <a:gd name="connsiteX16001" fmla="*/ 1927028 w 6785952"/>
              <a:gd name="connsiteY16001" fmla="*/ 725651 h 5217112"/>
              <a:gd name="connsiteX16002" fmla="*/ 1931423 w 6785952"/>
              <a:gd name="connsiteY16002" fmla="*/ 719330 h 5217112"/>
              <a:gd name="connsiteX16003" fmla="*/ 1305394 w 6785952"/>
              <a:gd name="connsiteY16003" fmla="*/ 718240 h 5217112"/>
              <a:gd name="connsiteX16004" fmla="*/ 1305943 w 6785952"/>
              <a:gd name="connsiteY16004" fmla="*/ 719549 h 5217112"/>
              <a:gd name="connsiteX16005" fmla="*/ 1305669 w 6785952"/>
              <a:gd name="connsiteY16005" fmla="*/ 720857 h 5217112"/>
              <a:gd name="connsiteX16006" fmla="*/ 1306767 w 6785952"/>
              <a:gd name="connsiteY16006" fmla="*/ 719875 h 5217112"/>
              <a:gd name="connsiteX16007" fmla="*/ 2131126 w 6785952"/>
              <a:gd name="connsiteY16007" fmla="*/ 717805 h 5217112"/>
              <a:gd name="connsiteX16008" fmla="*/ 2131676 w 6785952"/>
              <a:gd name="connsiteY16008" fmla="*/ 719004 h 5217112"/>
              <a:gd name="connsiteX16009" fmla="*/ 2129478 w 6785952"/>
              <a:gd name="connsiteY16009" fmla="*/ 719875 h 5217112"/>
              <a:gd name="connsiteX16010" fmla="*/ 2128380 w 6785952"/>
              <a:gd name="connsiteY16010" fmla="*/ 719330 h 5217112"/>
              <a:gd name="connsiteX16011" fmla="*/ 2131126 w 6785952"/>
              <a:gd name="connsiteY16011" fmla="*/ 717805 h 5217112"/>
              <a:gd name="connsiteX16012" fmla="*/ 3035147 w 6785952"/>
              <a:gd name="connsiteY16012" fmla="*/ 717478 h 5217112"/>
              <a:gd name="connsiteX16013" fmla="*/ 3022236 w 6785952"/>
              <a:gd name="connsiteY16013" fmla="*/ 728702 h 5217112"/>
              <a:gd name="connsiteX16014" fmla="*/ 3035147 w 6785952"/>
              <a:gd name="connsiteY16014" fmla="*/ 717478 h 5217112"/>
              <a:gd name="connsiteX16015" fmla="*/ 4447353 w 6785952"/>
              <a:gd name="connsiteY16015" fmla="*/ 716933 h 5217112"/>
              <a:gd name="connsiteX16016" fmla="*/ 4447353 w 6785952"/>
              <a:gd name="connsiteY16016" fmla="*/ 722708 h 5217112"/>
              <a:gd name="connsiteX16017" fmla="*/ 4445705 w 6785952"/>
              <a:gd name="connsiteY16017" fmla="*/ 718785 h 5217112"/>
              <a:gd name="connsiteX16018" fmla="*/ 4445980 w 6785952"/>
              <a:gd name="connsiteY16018" fmla="*/ 717478 h 5217112"/>
              <a:gd name="connsiteX16019" fmla="*/ 4447353 w 6785952"/>
              <a:gd name="connsiteY16019" fmla="*/ 716933 h 5217112"/>
              <a:gd name="connsiteX16020" fmla="*/ 1974825 w 6785952"/>
              <a:gd name="connsiteY16020" fmla="*/ 716715 h 5217112"/>
              <a:gd name="connsiteX16021" fmla="*/ 1975649 w 6785952"/>
              <a:gd name="connsiteY16021" fmla="*/ 717587 h 5217112"/>
              <a:gd name="connsiteX16022" fmla="*/ 1974550 w 6785952"/>
              <a:gd name="connsiteY16022" fmla="*/ 717805 h 5217112"/>
              <a:gd name="connsiteX16023" fmla="*/ 1621842 w 6785952"/>
              <a:gd name="connsiteY16023" fmla="*/ 716715 h 5217112"/>
              <a:gd name="connsiteX16024" fmla="*/ 1626237 w 6785952"/>
              <a:gd name="connsiteY16024" fmla="*/ 719984 h 5217112"/>
              <a:gd name="connsiteX16025" fmla="*/ 1628435 w 6785952"/>
              <a:gd name="connsiteY16025" fmla="*/ 724670 h 5217112"/>
              <a:gd name="connsiteX16026" fmla="*/ 1626237 w 6785952"/>
              <a:gd name="connsiteY16026" fmla="*/ 731209 h 5217112"/>
              <a:gd name="connsiteX16027" fmla="*/ 1624589 w 6785952"/>
              <a:gd name="connsiteY16027" fmla="*/ 731099 h 5217112"/>
              <a:gd name="connsiteX16028" fmla="*/ 1624589 w 6785952"/>
              <a:gd name="connsiteY16028" fmla="*/ 735458 h 5217112"/>
              <a:gd name="connsiteX16029" fmla="*/ 1621842 w 6785952"/>
              <a:gd name="connsiteY16029" fmla="*/ 746465 h 5217112"/>
              <a:gd name="connsiteX16030" fmla="*/ 1622392 w 6785952"/>
              <a:gd name="connsiteY16030" fmla="*/ 735350 h 5217112"/>
              <a:gd name="connsiteX16031" fmla="*/ 1622941 w 6785952"/>
              <a:gd name="connsiteY16031" fmla="*/ 731099 h 5217112"/>
              <a:gd name="connsiteX16032" fmla="*/ 1621018 w 6785952"/>
              <a:gd name="connsiteY16032" fmla="*/ 730990 h 5217112"/>
              <a:gd name="connsiteX16033" fmla="*/ 1611404 w 6785952"/>
              <a:gd name="connsiteY16033" fmla="*/ 717696 h 5217112"/>
              <a:gd name="connsiteX16034" fmla="*/ 1621842 w 6785952"/>
              <a:gd name="connsiteY16034" fmla="*/ 716715 h 5217112"/>
              <a:gd name="connsiteX16035" fmla="*/ 1550696 w 6785952"/>
              <a:gd name="connsiteY16035" fmla="*/ 715190 h 5217112"/>
              <a:gd name="connsiteX16036" fmla="*/ 1552895 w 6785952"/>
              <a:gd name="connsiteY16036" fmla="*/ 722382 h 5217112"/>
              <a:gd name="connsiteX16037" fmla="*/ 1548225 w 6785952"/>
              <a:gd name="connsiteY16037" fmla="*/ 723581 h 5217112"/>
              <a:gd name="connsiteX16038" fmla="*/ 1546851 w 6785952"/>
              <a:gd name="connsiteY16038" fmla="*/ 717587 h 5217112"/>
              <a:gd name="connsiteX16039" fmla="*/ 1550696 w 6785952"/>
              <a:gd name="connsiteY16039" fmla="*/ 715190 h 5217112"/>
              <a:gd name="connsiteX16040" fmla="*/ 2137444 w 6785952"/>
              <a:gd name="connsiteY16040" fmla="*/ 714862 h 5217112"/>
              <a:gd name="connsiteX16041" fmla="*/ 2140466 w 6785952"/>
              <a:gd name="connsiteY16041" fmla="*/ 718131 h 5217112"/>
              <a:gd name="connsiteX16042" fmla="*/ 2136071 w 6785952"/>
              <a:gd name="connsiteY16042" fmla="*/ 718568 h 5217112"/>
              <a:gd name="connsiteX16043" fmla="*/ 2132225 w 6785952"/>
              <a:gd name="connsiteY16043" fmla="*/ 717478 h 5217112"/>
              <a:gd name="connsiteX16044" fmla="*/ 2137444 w 6785952"/>
              <a:gd name="connsiteY16044" fmla="*/ 714862 h 5217112"/>
              <a:gd name="connsiteX16045" fmla="*/ 2912118 w 6785952"/>
              <a:gd name="connsiteY16045" fmla="*/ 713718 h 5217112"/>
              <a:gd name="connsiteX16046" fmla="*/ 2918127 w 6785952"/>
              <a:gd name="connsiteY16046" fmla="*/ 717478 h 5217112"/>
              <a:gd name="connsiteX16047" fmla="*/ 2912633 w 6785952"/>
              <a:gd name="connsiteY16047" fmla="*/ 725324 h 5217112"/>
              <a:gd name="connsiteX16048" fmla="*/ 2906316 w 6785952"/>
              <a:gd name="connsiteY16048" fmla="*/ 717805 h 5217112"/>
              <a:gd name="connsiteX16049" fmla="*/ 2912118 w 6785952"/>
              <a:gd name="connsiteY16049" fmla="*/ 713718 h 5217112"/>
              <a:gd name="connsiteX16050" fmla="*/ 2490427 w 6785952"/>
              <a:gd name="connsiteY16050" fmla="*/ 713337 h 5217112"/>
              <a:gd name="connsiteX16051" fmla="*/ 2492900 w 6785952"/>
              <a:gd name="connsiteY16051" fmla="*/ 717042 h 5217112"/>
              <a:gd name="connsiteX16052" fmla="*/ 2488505 w 6785952"/>
              <a:gd name="connsiteY16052" fmla="*/ 719658 h 5217112"/>
              <a:gd name="connsiteX16053" fmla="*/ 2485483 w 6785952"/>
              <a:gd name="connsiteY16053" fmla="*/ 718240 h 5217112"/>
              <a:gd name="connsiteX16054" fmla="*/ 2490427 w 6785952"/>
              <a:gd name="connsiteY16054" fmla="*/ 713337 h 5217112"/>
              <a:gd name="connsiteX16055" fmla="*/ 1216942 w 6785952"/>
              <a:gd name="connsiteY16055" fmla="*/ 712901 h 5217112"/>
              <a:gd name="connsiteX16056" fmla="*/ 1221887 w 6785952"/>
              <a:gd name="connsiteY16056" fmla="*/ 716933 h 5217112"/>
              <a:gd name="connsiteX16057" fmla="*/ 1203207 w 6785952"/>
              <a:gd name="connsiteY16057" fmla="*/ 728157 h 5217112"/>
              <a:gd name="connsiteX16058" fmla="*/ 1216942 w 6785952"/>
              <a:gd name="connsiteY16058" fmla="*/ 712901 h 5217112"/>
              <a:gd name="connsiteX16059" fmla="*/ 2730236 w 6785952"/>
              <a:gd name="connsiteY16059" fmla="*/ 712574 h 5217112"/>
              <a:gd name="connsiteX16060" fmla="*/ 2726940 w 6785952"/>
              <a:gd name="connsiteY16060" fmla="*/ 736548 h 5217112"/>
              <a:gd name="connsiteX16061" fmla="*/ 2716501 w 6785952"/>
              <a:gd name="connsiteY16061" fmla="*/ 729465 h 5217112"/>
              <a:gd name="connsiteX16062" fmla="*/ 2730236 w 6785952"/>
              <a:gd name="connsiteY16062" fmla="*/ 712574 h 5217112"/>
              <a:gd name="connsiteX16063" fmla="*/ 1624864 w 6785952"/>
              <a:gd name="connsiteY16063" fmla="*/ 712465 h 5217112"/>
              <a:gd name="connsiteX16064" fmla="*/ 1625962 w 6785952"/>
              <a:gd name="connsiteY16064" fmla="*/ 712465 h 5217112"/>
              <a:gd name="connsiteX16065" fmla="*/ 1624864 w 6785952"/>
              <a:gd name="connsiteY16065" fmla="*/ 715626 h 5217112"/>
              <a:gd name="connsiteX16066" fmla="*/ 1624864 w 6785952"/>
              <a:gd name="connsiteY16066" fmla="*/ 712465 h 5217112"/>
              <a:gd name="connsiteX16067" fmla="*/ 1802042 w 6785952"/>
              <a:gd name="connsiteY16067" fmla="*/ 712138 h 5217112"/>
              <a:gd name="connsiteX16068" fmla="*/ 1813855 w 6785952"/>
              <a:gd name="connsiteY16068" fmla="*/ 716389 h 5217112"/>
              <a:gd name="connsiteX16069" fmla="*/ 1809733 w 6785952"/>
              <a:gd name="connsiteY16069" fmla="*/ 731535 h 5217112"/>
              <a:gd name="connsiteX16070" fmla="*/ 1796273 w 6785952"/>
              <a:gd name="connsiteY16070" fmla="*/ 716279 h 5217112"/>
              <a:gd name="connsiteX16071" fmla="*/ 1802042 w 6785952"/>
              <a:gd name="connsiteY16071" fmla="*/ 712138 h 5217112"/>
              <a:gd name="connsiteX16072" fmla="*/ 2519545 w 6785952"/>
              <a:gd name="connsiteY16072" fmla="*/ 712029 h 5217112"/>
              <a:gd name="connsiteX16073" fmla="*/ 2518720 w 6785952"/>
              <a:gd name="connsiteY16073" fmla="*/ 729901 h 5217112"/>
              <a:gd name="connsiteX16074" fmla="*/ 2511853 w 6785952"/>
              <a:gd name="connsiteY16074" fmla="*/ 736439 h 5217112"/>
              <a:gd name="connsiteX16075" fmla="*/ 2508832 w 6785952"/>
              <a:gd name="connsiteY16075" fmla="*/ 733170 h 5217112"/>
              <a:gd name="connsiteX16076" fmla="*/ 2509931 w 6785952"/>
              <a:gd name="connsiteY16076" fmla="*/ 723253 h 5217112"/>
              <a:gd name="connsiteX16077" fmla="*/ 2519545 w 6785952"/>
              <a:gd name="connsiteY16077" fmla="*/ 712029 h 5217112"/>
              <a:gd name="connsiteX16078" fmla="*/ 1990208 w 6785952"/>
              <a:gd name="connsiteY16078" fmla="*/ 711812 h 5217112"/>
              <a:gd name="connsiteX16079" fmla="*/ 1990208 w 6785952"/>
              <a:gd name="connsiteY16079" fmla="*/ 714972 h 5217112"/>
              <a:gd name="connsiteX16080" fmla="*/ 1989384 w 6785952"/>
              <a:gd name="connsiteY16080" fmla="*/ 716933 h 5217112"/>
              <a:gd name="connsiteX16081" fmla="*/ 1988011 w 6785952"/>
              <a:gd name="connsiteY16081" fmla="*/ 713010 h 5217112"/>
              <a:gd name="connsiteX16082" fmla="*/ 1990208 w 6785952"/>
              <a:gd name="connsiteY16082" fmla="*/ 711812 h 5217112"/>
              <a:gd name="connsiteX16083" fmla="*/ 1755619 w 6785952"/>
              <a:gd name="connsiteY16083" fmla="*/ 710722 h 5217112"/>
              <a:gd name="connsiteX16084" fmla="*/ 1759190 w 6785952"/>
              <a:gd name="connsiteY16084" fmla="*/ 759215 h 5217112"/>
              <a:gd name="connsiteX16085" fmla="*/ 1752871 w 6785952"/>
              <a:gd name="connsiteY16085" fmla="*/ 761285 h 5217112"/>
              <a:gd name="connsiteX16086" fmla="*/ 1731445 w 6785952"/>
              <a:gd name="connsiteY16086" fmla="*/ 741997 h 5217112"/>
              <a:gd name="connsiteX16087" fmla="*/ 1731170 w 6785952"/>
              <a:gd name="connsiteY16087" fmla="*/ 738836 h 5217112"/>
              <a:gd name="connsiteX16088" fmla="*/ 1728974 w 6785952"/>
              <a:gd name="connsiteY16088" fmla="*/ 736766 h 5217112"/>
              <a:gd name="connsiteX16089" fmla="*/ 1727874 w 6785952"/>
              <a:gd name="connsiteY16089" fmla="*/ 731644 h 5217112"/>
              <a:gd name="connsiteX16090" fmla="*/ 1730896 w 6785952"/>
              <a:gd name="connsiteY16090" fmla="*/ 734260 h 5217112"/>
              <a:gd name="connsiteX16091" fmla="*/ 1730896 w 6785952"/>
              <a:gd name="connsiteY16091" fmla="*/ 730773 h 5217112"/>
              <a:gd name="connsiteX16092" fmla="*/ 1755619 w 6785952"/>
              <a:gd name="connsiteY16092" fmla="*/ 710722 h 5217112"/>
              <a:gd name="connsiteX16093" fmla="*/ 4103436 w 6785952"/>
              <a:gd name="connsiteY16093" fmla="*/ 710286 h 5217112"/>
              <a:gd name="connsiteX16094" fmla="*/ 4116896 w 6785952"/>
              <a:gd name="connsiteY16094" fmla="*/ 726850 h 5217112"/>
              <a:gd name="connsiteX16095" fmla="*/ 4100414 w 6785952"/>
              <a:gd name="connsiteY16095" fmla="*/ 732952 h 5217112"/>
              <a:gd name="connsiteX16096" fmla="*/ 4099040 w 6785952"/>
              <a:gd name="connsiteY16096" fmla="*/ 731427 h 5217112"/>
              <a:gd name="connsiteX16097" fmla="*/ 4097667 w 6785952"/>
              <a:gd name="connsiteY16097" fmla="*/ 732407 h 5217112"/>
              <a:gd name="connsiteX16098" fmla="*/ 4086954 w 6785952"/>
              <a:gd name="connsiteY16098" fmla="*/ 734260 h 5217112"/>
              <a:gd name="connsiteX16099" fmla="*/ 4090525 w 6785952"/>
              <a:gd name="connsiteY16099" fmla="*/ 725106 h 5217112"/>
              <a:gd name="connsiteX16100" fmla="*/ 4095470 w 6785952"/>
              <a:gd name="connsiteY16100" fmla="*/ 724670 h 5217112"/>
              <a:gd name="connsiteX16101" fmla="*/ 4095195 w 6785952"/>
              <a:gd name="connsiteY16101" fmla="*/ 720529 h 5217112"/>
              <a:gd name="connsiteX16102" fmla="*/ 4103436 w 6785952"/>
              <a:gd name="connsiteY16102" fmla="*/ 710286 h 5217112"/>
              <a:gd name="connsiteX16103" fmla="*/ 1634204 w 6785952"/>
              <a:gd name="connsiteY16103" fmla="*/ 709523 h 5217112"/>
              <a:gd name="connsiteX16104" fmla="*/ 1633105 w 6785952"/>
              <a:gd name="connsiteY16104" fmla="*/ 720420 h 5217112"/>
              <a:gd name="connsiteX16105" fmla="*/ 1631731 w 6785952"/>
              <a:gd name="connsiteY16105" fmla="*/ 718676 h 5217112"/>
              <a:gd name="connsiteX16106" fmla="*/ 1632280 w 6785952"/>
              <a:gd name="connsiteY16106" fmla="*/ 715735 h 5217112"/>
              <a:gd name="connsiteX16107" fmla="*/ 1634204 w 6785952"/>
              <a:gd name="connsiteY16107" fmla="*/ 709523 h 5217112"/>
              <a:gd name="connsiteX16108" fmla="*/ 1427015 w 6785952"/>
              <a:gd name="connsiteY16108" fmla="*/ 709441 h 5217112"/>
              <a:gd name="connsiteX16109" fmla="*/ 1433402 w 6785952"/>
              <a:gd name="connsiteY16109" fmla="*/ 710286 h 5217112"/>
              <a:gd name="connsiteX16110" fmla="*/ 1425435 w 6785952"/>
              <a:gd name="connsiteY16110" fmla="*/ 725215 h 5217112"/>
              <a:gd name="connsiteX16111" fmla="*/ 1420765 w 6785952"/>
              <a:gd name="connsiteY16111" fmla="*/ 727067 h 5217112"/>
              <a:gd name="connsiteX16112" fmla="*/ 1416645 w 6785952"/>
              <a:gd name="connsiteY16112" fmla="*/ 726741 h 5217112"/>
              <a:gd name="connsiteX16113" fmla="*/ 1415546 w 6785952"/>
              <a:gd name="connsiteY16113" fmla="*/ 722055 h 5217112"/>
              <a:gd name="connsiteX16114" fmla="*/ 1420216 w 6785952"/>
              <a:gd name="connsiteY16114" fmla="*/ 713991 h 5217112"/>
              <a:gd name="connsiteX16115" fmla="*/ 1427015 w 6785952"/>
              <a:gd name="connsiteY16115" fmla="*/ 709441 h 5217112"/>
              <a:gd name="connsiteX16116" fmla="*/ 1972353 w 6785952"/>
              <a:gd name="connsiteY16116" fmla="*/ 709414 h 5217112"/>
              <a:gd name="connsiteX16117" fmla="*/ 1975374 w 6785952"/>
              <a:gd name="connsiteY16117" fmla="*/ 709523 h 5217112"/>
              <a:gd name="connsiteX16118" fmla="*/ 1976748 w 6785952"/>
              <a:gd name="connsiteY16118" fmla="*/ 716933 h 5217112"/>
              <a:gd name="connsiteX16119" fmla="*/ 1975099 w 6785952"/>
              <a:gd name="connsiteY16119" fmla="*/ 716170 h 5217112"/>
              <a:gd name="connsiteX16120" fmla="*/ 1974825 w 6785952"/>
              <a:gd name="connsiteY16120" fmla="*/ 716715 h 5217112"/>
              <a:gd name="connsiteX16121" fmla="*/ 1972628 w 6785952"/>
              <a:gd name="connsiteY16121" fmla="*/ 714208 h 5217112"/>
              <a:gd name="connsiteX16122" fmla="*/ 1972353 w 6785952"/>
              <a:gd name="connsiteY16122" fmla="*/ 709414 h 5217112"/>
              <a:gd name="connsiteX16123" fmla="*/ 1661673 w 6785952"/>
              <a:gd name="connsiteY16123" fmla="*/ 709414 h 5217112"/>
              <a:gd name="connsiteX16124" fmla="*/ 1664969 w 6785952"/>
              <a:gd name="connsiteY16124" fmla="*/ 711157 h 5217112"/>
              <a:gd name="connsiteX16125" fmla="*/ 1667168 w 6785952"/>
              <a:gd name="connsiteY16125" fmla="*/ 719330 h 5217112"/>
              <a:gd name="connsiteX16126" fmla="*/ 1654806 w 6785952"/>
              <a:gd name="connsiteY16126" fmla="*/ 723907 h 5217112"/>
              <a:gd name="connsiteX16127" fmla="*/ 1652059 w 6785952"/>
              <a:gd name="connsiteY16127" fmla="*/ 719549 h 5217112"/>
              <a:gd name="connsiteX16128" fmla="*/ 1653707 w 6785952"/>
              <a:gd name="connsiteY16128" fmla="*/ 713773 h 5217112"/>
              <a:gd name="connsiteX16129" fmla="*/ 1656729 w 6785952"/>
              <a:gd name="connsiteY16129" fmla="*/ 710177 h 5217112"/>
              <a:gd name="connsiteX16130" fmla="*/ 1661673 w 6785952"/>
              <a:gd name="connsiteY16130" fmla="*/ 709414 h 5217112"/>
              <a:gd name="connsiteX16131" fmla="*/ 1048829 w 6785952"/>
              <a:gd name="connsiteY16131" fmla="*/ 708543 h 5217112"/>
              <a:gd name="connsiteX16132" fmla="*/ 1052400 w 6785952"/>
              <a:gd name="connsiteY16132" fmla="*/ 730990 h 5217112"/>
              <a:gd name="connsiteX16133" fmla="*/ 1041412 w 6785952"/>
              <a:gd name="connsiteY16133" fmla="*/ 711702 h 5217112"/>
              <a:gd name="connsiteX16134" fmla="*/ 1048829 w 6785952"/>
              <a:gd name="connsiteY16134" fmla="*/ 708543 h 5217112"/>
              <a:gd name="connsiteX16135" fmla="*/ 6036463 w 6785952"/>
              <a:gd name="connsiteY16135" fmla="*/ 708433 h 5217112"/>
              <a:gd name="connsiteX16136" fmla="*/ 6037013 w 6785952"/>
              <a:gd name="connsiteY16136" fmla="*/ 720638 h 5217112"/>
              <a:gd name="connsiteX16137" fmla="*/ 6032617 w 6785952"/>
              <a:gd name="connsiteY16137" fmla="*/ 718785 h 5217112"/>
              <a:gd name="connsiteX16138" fmla="*/ 6036463 w 6785952"/>
              <a:gd name="connsiteY16138" fmla="*/ 708433 h 5217112"/>
              <a:gd name="connsiteX16139" fmla="*/ 1581187 w 6785952"/>
              <a:gd name="connsiteY16139" fmla="*/ 707561 h 5217112"/>
              <a:gd name="connsiteX16140" fmla="*/ 1594647 w 6785952"/>
              <a:gd name="connsiteY16140" fmla="*/ 715299 h 5217112"/>
              <a:gd name="connsiteX16141" fmla="*/ 1585308 w 6785952"/>
              <a:gd name="connsiteY16141" fmla="*/ 719004 h 5217112"/>
              <a:gd name="connsiteX16142" fmla="*/ 1578440 w 6785952"/>
              <a:gd name="connsiteY16142" fmla="*/ 710613 h 5217112"/>
              <a:gd name="connsiteX16143" fmla="*/ 1581187 w 6785952"/>
              <a:gd name="connsiteY16143" fmla="*/ 707561 h 5217112"/>
              <a:gd name="connsiteX16144" fmla="*/ 2157223 w 6785952"/>
              <a:gd name="connsiteY16144" fmla="*/ 706580 h 5217112"/>
              <a:gd name="connsiteX16145" fmla="*/ 2165738 w 6785952"/>
              <a:gd name="connsiteY16145" fmla="*/ 709959 h 5217112"/>
              <a:gd name="connsiteX16146" fmla="*/ 2159694 w 6785952"/>
              <a:gd name="connsiteY16146" fmla="*/ 726196 h 5217112"/>
              <a:gd name="connsiteX16147" fmla="*/ 2153651 w 6785952"/>
              <a:gd name="connsiteY16147" fmla="*/ 724235 h 5217112"/>
              <a:gd name="connsiteX16148" fmla="*/ 2157223 w 6785952"/>
              <a:gd name="connsiteY16148" fmla="*/ 706580 h 5217112"/>
              <a:gd name="connsiteX16149" fmla="*/ 2030073 w 6785952"/>
              <a:gd name="connsiteY16149" fmla="*/ 705573 h 5217112"/>
              <a:gd name="connsiteX16150" fmla="*/ 2037730 w 6785952"/>
              <a:gd name="connsiteY16150" fmla="*/ 706690 h 5217112"/>
              <a:gd name="connsiteX16151" fmla="*/ 2029764 w 6785952"/>
              <a:gd name="connsiteY16151" fmla="*/ 719221 h 5217112"/>
              <a:gd name="connsiteX16152" fmla="*/ 2024820 w 6785952"/>
              <a:gd name="connsiteY16152" fmla="*/ 718676 h 5217112"/>
              <a:gd name="connsiteX16153" fmla="*/ 2023446 w 6785952"/>
              <a:gd name="connsiteY16153" fmla="*/ 715299 h 5217112"/>
              <a:gd name="connsiteX16154" fmla="*/ 2022622 w 6785952"/>
              <a:gd name="connsiteY16154" fmla="*/ 710831 h 5217112"/>
              <a:gd name="connsiteX16155" fmla="*/ 2030073 w 6785952"/>
              <a:gd name="connsiteY16155" fmla="*/ 705573 h 5217112"/>
              <a:gd name="connsiteX16156" fmla="*/ 1837203 w 6785952"/>
              <a:gd name="connsiteY16156" fmla="*/ 704401 h 5217112"/>
              <a:gd name="connsiteX16157" fmla="*/ 1828412 w 6785952"/>
              <a:gd name="connsiteY16157" fmla="*/ 727612 h 5217112"/>
              <a:gd name="connsiteX16158" fmla="*/ 1824568 w 6785952"/>
              <a:gd name="connsiteY16158" fmla="*/ 722273 h 5217112"/>
              <a:gd name="connsiteX16159" fmla="*/ 1837203 w 6785952"/>
              <a:gd name="connsiteY16159" fmla="*/ 704401 h 5217112"/>
              <a:gd name="connsiteX16160" fmla="*/ 1628710 w 6785952"/>
              <a:gd name="connsiteY16160" fmla="*/ 704075 h 5217112"/>
              <a:gd name="connsiteX16161" fmla="*/ 1624864 w 6785952"/>
              <a:gd name="connsiteY16161" fmla="*/ 711376 h 5217112"/>
              <a:gd name="connsiteX16162" fmla="*/ 1624589 w 6785952"/>
              <a:gd name="connsiteY16162" fmla="*/ 705382 h 5217112"/>
              <a:gd name="connsiteX16163" fmla="*/ 1628710 w 6785952"/>
              <a:gd name="connsiteY16163" fmla="*/ 704075 h 5217112"/>
              <a:gd name="connsiteX16164" fmla="*/ 4042179 w 6785952"/>
              <a:gd name="connsiteY16164" fmla="*/ 704020 h 5217112"/>
              <a:gd name="connsiteX16165" fmla="*/ 4057562 w 6785952"/>
              <a:gd name="connsiteY16165" fmla="*/ 709087 h 5217112"/>
              <a:gd name="connsiteX16166" fmla="*/ 4066352 w 6785952"/>
              <a:gd name="connsiteY16166" fmla="*/ 714862 h 5217112"/>
              <a:gd name="connsiteX16167" fmla="*/ 4067176 w 6785952"/>
              <a:gd name="connsiteY16167" fmla="*/ 710394 h 5217112"/>
              <a:gd name="connsiteX16168" fmla="*/ 4087503 w 6785952"/>
              <a:gd name="connsiteY16168" fmla="*/ 705382 h 5217112"/>
              <a:gd name="connsiteX16169" fmla="*/ 4085855 w 6785952"/>
              <a:gd name="connsiteY16169" fmla="*/ 718568 h 5217112"/>
              <a:gd name="connsiteX16170" fmla="*/ 4082009 w 6785952"/>
              <a:gd name="connsiteY16170" fmla="*/ 719221 h 5217112"/>
              <a:gd name="connsiteX16171" fmla="*/ 4080361 w 6785952"/>
              <a:gd name="connsiteY16171" fmla="*/ 720747 h 5217112"/>
              <a:gd name="connsiteX16172" fmla="*/ 4081460 w 6785952"/>
              <a:gd name="connsiteY16172" fmla="*/ 724670 h 5217112"/>
              <a:gd name="connsiteX16173" fmla="*/ 4086405 w 6785952"/>
              <a:gd name="connsiteY16173" fmla="*/ 730119 h 5217112"/>
              <a:gd name="connsiteX16174" fmla="*/ 4077614 w 6785952"/>
              <a:gd name="connsiteY16174" fmla="*/ 731209 h 5217112"/>
              <a:gd name="connsiteX16175" fmla="*/ 4069099 w 6785952"/>
              <a:gd name="connsiteY16175" fmla="*/ 729029 h 5217112"/>
              <a:gd name="connsiteX16176" fmla="*/ 4072395 w 6785952"/>
              <a:gd name="connsiteY16176" fmla="*/ 720529 h 5217112"/>
              <a:gd name="connsiteX16177" fmla="*/ 4069099 w 6785952"/>
              <a:gd name="connsiteY16177" fmla="*/ 719984 h 5217112"/>
              <a:gd name="connsiteX16178" fmla="*/ 4065528 w 6785952"/>
              <a:gd name="connsiteY16178" fmla="*/ 717587 h 5217112"/>
              <a:gd name="connsiteX16179" fmla="*/ 4066077 w 6785952"/>
              <a:gd name="connsiteY16179" fmla="*/ 715407 h 5217112"/>
              <a:gd name="connsiteX16180" fmla="*/ 4057287 w 6785952"/>
              <a:gd name="connsiteY16180" fmla="*/ 719221 h 5217112"/>
              <a:gd name="connsiteX16181" fmla="*/ 4050419 w 6785952"/>
              <a:gd name="connsiteY16181" fmla="*/ 719113 h 5217112"/>
              <a:gd name="connsiteX16182" fmla="*/ 4030092 w 6785952"/>
              <a:gd name="connsiteY16182" fmla="*/ 709740 h 5217112"/>
              <a:gd name="connsiteX16183" fmla="*/ 4042179 w 6785952"/>
              <a:gd name="connsiteY16183" fmla="*/ 704020 h 5217112"/>
              <a:gd name="connsiteX16184" fmla="*/ 3052178 w 6785952"/>
              <a:gd name="connsiteY16184" fmla="*/ 703856 h 5217112"/>
              <a:gd name="connsiteX16185" fmla="*/ 3058771 w 6785952"/>
              <a:gd name="connsiteY16185" fmla="*/ 718895 h 5217112"/>
              <a:gd name="connsiteX16186" fmla="*/ 3046409 w 6785952"/>
              <a:gd name="connsiteY16186" fmla="*/ 724016 h 5217112"/>
              <a:gd name="connsiteX16187" fmla="*/ 3040091 w 6785952"/>
              <a:gd name="connsiteY16187" fmla="*/ 715626 h 5217112"/>
              <a:gd name="connsiteX16188" fmla="*/ 3041191 w 6785952"/>
              <a:gd name="connsiteY16188" fmla="*/ 708433 h 5217112"/>
              <a:gd name="connsiteX16189" fmla="*/ 3052178 w 6785952"/>
              <a:gd name="connsiteY16189" fmla="*/ 703856 h 5217112"/>
              <a:gd name="connsiteX16190" fmla="*/ 1943201 w 6785952"/>
              <a:gd name="connsiteY16190" fmla="*/ 703747 h 5217112"/>
              <a:gd name="connsiteX16191" fmla="*/ 1949004 w 6785952"/>
              <a:gd name="connsiteY16191" fmla="*/ 716715 h 5217112"/>
              <a:gd name="connsiteX16192" fmla="*/ 1938840 w 6785952"/>
              <a:gd name="connsiteY16192" fmla="*/ 718459 h 5217112"/>
              <a:gd name="connsiteX16193" fmla="*/ 1928951 w 6785952"/>
              <a:gd name="connsiteY16193" fmla="*/ 715626 h 5217112"/>
              <a:gd name="connsiteX16194" fmla="*/ 1930599 w 6785952"/>
              <a:gd name="connsiteY16194" fmla="*/ 705164 h 5217112"/>
              <a:gd name="connsiteX16195" fmla="*/ 1943201 w 6785952"/>
              <a:gd name="connsiteY16195" fmla="*/ 703747 h 5217112"/>
              <a:gd name="connsiteX16196" fmla="*/ 2443455 w 6785952"/>
              <a:gd name="connsiteY16196" fmla="*/ 701459 h 5217112"/>
              <a:gd name="connsiteX16197" fmla="*/ 2448124 w 6785952"/>
              <a:gd name="connsiteY16197" fmla="*/ 709740 h 5217112"/>
              <a:gd name="connsiteX16198" fmla="*/ 2440982 w 6785952"/>
              <a:gd name="connsiteY16198" fmla="*/ 712683 h 5217112"/>
              <a:gd name="connsiteX16199" fmla="*/ 2433840 w 6785952"/>
              <a:gd name="connsiteY16199" fmla="*/ 709305 h 5217112"/>
              <a:gd name="connsiteX16200" fmla="*/ 2443455 w 6785952"/>
              <a:gd name="connsiteY16200" fmla="*/ 701459 h 5217112"/>
              <a:gd name="connsiteX16201" fmla="*/ 2397855 w 6785952"/>
              <a:gd name="connsiteY16201" fmla="*/ 701132 h 5217112"/>
              <a:gd name="connsiteX16202" fmla="*/ 2398404 w 6785952"/>
              <a:gd name="connsiteY16202" fmla="*/ 713337 h 5217112"/>
              <a:gd name="connsiteX16203" fmla="*/ 2394009 w 6785952"/>
              <a:gd name="connsiteY16203" fmla="*/ 711376 h 5217112"/>
              <a:gd name="connsiteX16204" fmla="*/ 2397855 w 6785952"/>
              <a:gd name="connsiteY16204" fmla="*/ 701132 h 5217112"/>
              <a:gd name="connsiteX16205" fmla="*/ 4107556 w 6785952"/>
              <a:gd name="connsiteY16205" fmla="*/ 700587 h 5217112"/>
              <a:gd name="connsiteX16206" fmla="*/ 4108929 w 6785952"/>
              <a:gd name="connsiteY16206" fmla="*/ 705273 h 5217112"/>
              <a:gd name="connsiteX16207" fmla="*/ 4106458 w 6785952"/>
              <a:gd name="connsiteY16207" fmla="*/ 706145 h 5217112"/>
              <a:gd name="connsiteX16208" fmla="*/ 4104259 w 6785952"/>
              <a:gd name="connsiteY16208" fmla="*/ 705600 h 5217112"/>
              <a:gd name="connsiteX16209" fmla="*/ 4101788 w 6785952"/>
              <a:gd name="connsiteY16209" fmla="*/ 702876 h 5217112"/>
              <a:gd name="connsiteX16210" fmla="*/ 4107556 w 6785952"/>
              <a:gd name="connsiteY16210" fmla="*/ 700587 h 5217112"/>
              <a:gd name="connsiteX16211" fmla="*/ 4377306 w 6785952"/>
              <a:gd name="connsiteY16211" fmla="*/ 698953 h 5217112"/>
              <a:gd name="connsiteX16212" fmla="*/ 4385547 w 6785952"/>
              <a:gd name="connsiteY16212" fmla="*/ 698953 h 5217112"/>
              <a:gd name="connsiteX16213" fmla="*/ 4380877 w 6785952"/>
              <a:gd name="connsiteY16213" fmla="*/ 720312 h 5217112"/>
              <a:gd name="connsiteX16214" fmla="*/ 4377306 w 6785952"/>
              <a:gd name="connsiteY16214" fmla="*/ 698953 h 5217112"/>
              <a:gd name="connsiteX16215" fmla="*/ 1323523 w 6785952"/>
              <a:gd name="connsiteY16215" fmla="*/ 698734 h 5217112"/>
              <a:gd name="connsiteX16216" fmla="*/ 1330666 w 6785952"/>
              <a:gd name="connsiteY16216" fmla="*/ 702767 h 5217112"/>
              <a:gd name="connsiteX16217" fmla="*/ 1332588 w 6785952"/>
              <a:gd name="connsiteY16217" fmla="*/ 713119 h 5217112"/>
              <a:gd name="connsiteX16218" fmla="*/ 1317480 w 6785952"/>
              <a:gd name="connsiteY16218" fmla="*/ 725869 h 5217112"/>
              <a:gd name="connsiteX16219" fmla="*/ 1309789 w 6785952"/>
              <a:gd name="connsiteY16219" fmla="*/ 723253 h 5217112"/>
              <a:gd name="connsiteX16220" fmla="*/ 1308141 w 6785952"/>
              <a:gd name="connsiteY16220" fmla="*/ 721510 h 5217112"/>
              <a:gd name="connsiteX16221" fmla="*/ 1309789 w 6785952"/>
              <a:gd name="connsiteY16221" fmla="*/ 726414 h 5217112"/>
              <a:gd name="connsiteX16222" fmla="*/ 1308141 w 6785952"/>
              <a:gd name="connsiteY16222" fmla="*/ 732734 h 5217112"/>
              <a:gd name="connsiteX16223" fmla="*/ 1307591 w 6785952"/>
              <a:gd name="connsiteY16223" fmla="*/ 739926 h 5217112"/>
              <a:gd name="connsiteX16224" fmla="*/ 1304570 w 6785952"/>
              <a:gd name="connsiteY16224" fmla="*/ 742433 h 5217112"/>
              <a:gd name="connsiteX16225" fmla="*/ 1303196 w 6785952"/>
              <a:gd name="connsiteY16225" fmla="*/ 742215 h 5217112"/>
              <a:gd name="connsiteX16226" fmla="*/ 1302097 w 6785952"/>
              <a:gd name="connsiteY16226" fmla="*/ 738836 h 5217112"/>
              <a:gd name="connsiteX16227" fmla="*/ 1303196 w 6785952"/>
              <a:gd name="connsiteY16227" fmla="*/ 730445 h 5217112"/>
              <a:gd name="connsiteX16228" fmla="*/ 1304295 w 6785952"/>
              <a:gd name="connsiteY16228" fmla="*/ 725433 h 5217112"/>
              <a:gd name="connsiteX16229" fmla="*/ 1301273 w 6785952"/>
              <a:gd name="connsiteY16229" fmla="*/ 734042 h 5217112"/>
              <a:gd name="connsiteX16230" fmla="*/ 1294956 w 6785952"/>
              <a:gd name="connsiteY16230" fmla="*/ 743087 h 5217112"/>
              <a:gd name="connsiteX16231" fmla="*/ 1294406 w 6785952"/>
              <a:gd name="connsiteY16231" fmla="*/ 738619 h 5217112"/>
              <a:gd name="connsiteX16232" fmla="*/ 1294956 w 6785952"/>
              <a:gd name="connsiteY16232" fmla="*/ 736548 h 5217112"/>
              <a:gd name="connsiteX16233" fmla="*/ 1294406 w 6785952"/>
              <a:gd name="connsiteY16233" fmla="*/ 735241 h 5217112"/>
              <a:gd name="connsiteX16234" fmla="*/ 1295504 w 6785952"/>
              <a:gd name="connsiteY16234" fmla="*/ 734478 h 5217112"/>
              <a:gd name="connsiteX16235" fmla="*/ 1296878 w 6785952"/>
              <a:gd name="connsiteY16235" fmla="*/ 730445 h 5217112"/>
              <a:gd name="connsiteX16236" fmla="*/ 1296603 w 6785952"/>
              <a:gd name="connsiteY16236" fmla="*/ 720420 h 5217112"/>
              <a:gd name="connsiteX16237" fmla="*/ 1301548 w 6785952"/>
              <a:gd name="connsiteY16237" fmla="*/ 710722 h 5217112"/>
              <a:gd name="connsiteX16238" fmla="*/ 1305394 w 6785952"/>
              <a:gd name="connsiteY16238" fmla="*/ 711702 h 5217112"/>
              <a:gd name="connsiteX16239" fmla="*/ 1306492 w 6785952"/>
              <a:gd name="connsiteY16239" fmla="*/ 707670 h 5217112"/>
              <a:gd name="connsiteX16240" fmla="*/ 1323523 w 6785952"/>
              <a:gd name="connsiteY16240" fmla="*/ 698734 h 5217112"/>
              <a:gd name="connsiteX16241" fmla="*/ 4194360 w 6785952"/>
              <a:gd name="connsiteY16241" fmla="*/ 697972 h 5217112"/>
              <a:gd name="connsiteX16242" fmla="*/ 4194634 w 6785952"/>
              <a:gd name="connsiteY16242" fmla="*/ 733497 h 5217112"/>
              <a:gd name="connsiteX16243" fmla="*/ 4187492 w 6785952"/>
              <a:gd name="connsiteY16243" fmla="*/ 731209 h 5217112"/>
              <a:gd name="connsiteX16244" fmla="*/ 4194360 w 6785952"/>
              <a:gd name="connsiteY16244" fmla="*/ 697972 h 5217112"/>
              <a:gd name="connsiteX16245" fmla="*/ 3943838 w 6785952"/>
              <a:gd name="connsiteY16245" fmla="*/ 696119 h 5217112"/>
              <a:gd name="connsiteX16246" fmla="*/ 3947134 w 6785952"/>
              <a:gd name="connsiteY16246" fmla="*/ 702440 h 5217112"/>
              <a:gd name="connsiteX16247" fmla="*/ 3943564 w 6785952"/>
              <a:gd name="connsiteY16247" fmla="*/ 701786 h 5217112"/>
              <a:gd name="connsiteX16248" fmla="*/ 3942739 w 6785952"/>
              <a:gd name="connsiteY16248" fmla="*/ 696882 h 5217112"/>
              <a:gd name="connsiteX16249" fmla="*/ 3943838 w 6785952"/>
              <a:gd name="connsiteY16249" fmla="*/ 696119 h 5217112"/>
              <a:gd name="connsiteX16250" fmla="*/ 4171010 w 6785952"/>
              <a:gd name="connsiteY16250" fmla="*/ 695247 h 5217112"/>
              <a:gd name="connsiteX16251" fmla="*/ 4164418 w 6785952"/>
              <a:gd name="connsiteY16251" fmla="*/ 712901 h 5217112"/>
              <a:gd name="connsiteX16252" fmla="*/ 4159473 w 6785952"/>
              <a:gd name="connsiteY16252" fmla="*/ 701241 h 5217112"/>
              <a:gd name="connsiteX16253" fmla="*/ 4171010 w 6785952"/>
              <a:gd name="connsiteY16253" fmla="*/ 695247 h 5217112"/>
              <a:gd name="connsiteX16254" fmla="*/ 3151069 w 6785952"/>
              <a:gd name="connsiteY16254" fmla="*/ 695139 h 5217112"/>
              <a:gd name="connsiteX16255" fmla="*/ 3144202 w 6785952"/>
              <a:gd name="connsiteY16255" fmla="*/ 705164 h 5217112"/>
              <a:gd name="connsiteX16256" fmla="*/ 3151069 w 6785952"/>
              <a:gd name="connsiteY16256" fmla="*/ 695139 h 5217112"/>
              <a:gd name="connsiteX16257" fmla="*/ 4399845 w 6785952"/>
              <a:gd name="connsiteY16257" fmla="*/ 694750 h 5217112"/>
              <a:gd name="connsiteX16258" fmla="*/ 4400656 w 6785952"/>
              <a:gd name="connsiteY16258" fmla="*/ 704619 h 5217112"/>
              <a:gd name="connsiteX16259" fmla="*/ 4395711 w 6785952"/>
              <a:gd name="connsiteY16259" fmla="*/ 697645 h 5217112"/>
              <a:gd name="connsiteX16260" fmla="*/ 4399845 w 6785952"/>
              <a:gd name="connsiteY16260" fmla="*/ 694750 h 5217112"/>
              <a:gd name="connsiteX16261" fmla="*/ 2931862 w 6785952"/>
              <a:gd name="connsiteY16261" fmla="*/ 693286 h 5217112"/>
              <a:gd name="connsiteX16262" fmla="*/ 2914556 w 6785952"/>
              <a:gd name="connsiteY16262" fmla="*/ 709305 h 5217112"/>
              <a:gd name="connsiteX16263" fmla="*/ 2917578 w 6785952"/>
              <a:gd name="connsiteY16263" fmla="*/ 695792 h 5217112"/>
              <a:gd name="connsiteX16264" fmla="*/ 2931862 w 6785952"/>
              <a:gd name="connsiteY16264" fmla="*/ 693286 h 5217112"/>
              <a:gd name="connsiteX16265" fmla="*/ 2853574 w 6785952"/>
              <a:gd name="connsiteY16265" fmla="*/ 692305 h 5217112"/>
              <a:gd name="connsiteX16266" fmla="*/ 2857969 w 6785952"/>
              <a:gd name="connsiteY16266" fmla="*/ 703965 h 5217112"/>
              <a:gd name="connsiteX16267" fmla="*/ 2851102 w 6785952"/>
              <a:gd name="connsiteY16267" fmla="*/ 696664 h 5217112"/>
              <a:gd name="connsiteX16268" fmla="*/ 2853574 w 6785952"/>
              <a:gd name="connsiteY16268" fmla="*/ 692305 h 5217112"/>
              <a:gd name="connsiteX16269" fmla="*/ 1426534 w 6785952"/>
              <a:gd name="connsiteY16269" fmla="*/ 692196 h 5217112"/>
              <a:gd name="connsiteX16270" fmla="*/ 1428457 w 6785952"/>
              <a:gd name="connsiteY16270" fmla="*/ 705273 h 5217112"/>
              <a:gd name="connsiteX16271" fmla="*/ 1422689 w 6785952"/>
              <a:gd name="connsiteY16271" fmla="*/ 712029 h 5217112"/>
              <a:gd name="connsiteX16272" fmla="*/ 1413074 w 6785952"/>
              <a:gd name="connsiteY16272" fmla="*/ 714427 h 5217112"/>
              <a:gd name="connsiteX16273" fmla="*/ 1409229 w 6785952"/>
              <a:gd name="connsiteY16273" fmla="*/ 713773 h 5217112"/>
              <a:gd name="connsiteX16274" fmla="*/ 1408954 w 6785952"/>
              <a:gd name="connsiteY16274" fmla="*/ 706254 h 5217112"/>
              <a:gd name="connsiteX16275" fmla="*/ 1426534 w 6785952"/>
              <a:gd name="connsiteY16275" fmla="*/ 692196 h 5217112"/>
              <a:gd name="connsiteX16276" fmla="*/ 2209689 w 6785952"/>
              <a:gd name="connsiteY16276" fmla="*/ 691542 h 5217112"/>
              <a:gd name="connsiteX16277" fmla="*/ 2216007 w 6785952"/>
              <a:gd name="connsiteY16277" fmla="*/ 701241 h 5217112"/>
              <a:gd name="connsiteX16278" fmla="*/ 2217930 w 6785952"/>
              <a:gd name="connsiteY16278" fmla="*/ 703856 h 5217112"/>
              <a:gd name="connsiteX16279" fmla="*/ 2222051 w 6785952"/>
              <a:gd name="connsiteY16279" fmla="*/ 702440 h 5217112"/>
              <a:gd name="connsiteX16280" fmla="*/ 2231665 w 6785952"/>
              <a:gd name="connsiteY16280" fmla="*/ 706254 h 5217112"/>
              <a:gd name="connsiteX16281" fmla="*/ 2234686 w 6785952"/>
              <a:gd name="connsiteY16281" fmla="*/ 723144 h 5217112"/>
              <a:gd name="connsiteX16282" fmla="*/ 2230016 w 6785952"/>
              <a:gd name="connsiteY16282" fmla="*/ 729792 h 5217112"/>
              <a:gd name="connsiteX16283" fmla="*/ 2223424 w 6785952"/>
              <a:gd name="connsiteY16283" fmla="*/ 730119 h 5217112"/>
              <a:gd name="connsiteX16284" fmla="*/ 2221501 w 6785952"/>
              <a:gd name="connsiteY16284" fmla="*/ 741452 h 5217112"/>
              <a:gd name="connsiteX16285" fmla="*/ 2208315 w 6785952"/>
              <a:gd name="connsiteY16285" fmla="*/ 760522 h 5217112"/>
              <a:gd name="connsiteX16286" fmla="*/ 2206393 w 6785952"/>
              <a:gd name="connsiteY16286" fmla="*/ 759324 h 5217112"/>
              <a:gd name="connsiteX16287" fmla="*/ 2206393 w 6785952"/>
              <a:gd name="connsiteY16287" fmla="*/ 766189 h 5217112"/>
              <a:gd name="connsiteX16288" fmla="*/ 2196504 w 6785952"/>
              <a:gd name="connsiteY16288" fmla="*/ 760631 h 5217112"/>
              <a:gd name="connsiteX16289" fmla="*/ 2198152 w 6785952"/>
              <a:gd name="connsiteY16289" fmla="*/ 757798 h 5217112"/>
              <a:gd name="connsiteX16290" fmla="*/ 2201723 w 6785952"/>
              <a:gd name="connsiteY16290" fmla="*/ 756054 h 5217112"/>
              <a:gd name="connsiteX16291" fmla="*/ 2198702 w 6785952"/>
              <a:gd name="connsiteY16291" fmla="*/ 753984 h 5217112"/>
              <a:gd name="connsiteX16292" fmla="*/ 2197602 w 6785952"/>
              <a:gd name="connsiteY16292" fmla="*/ 742650 h 5217112"/>
              <a:gd name="connsiteX16293" fmla="*/ 2207766 w 6785952"/>
              <a:gd name="connsiteY16293" fmla="*/ 723798 h 5217112"/>
              <a:gd name="connsiteX16294" fmla="*/ 2212161 w 6785952"/>
              <a:gd name="connsiteY16294" fmla="*/ 721401 h 5217112"/>
              <a:gd name="connsiteX16295" fmla="*/ 2209964 w 6785952"/>
              <a:gd name="connsiteY16295" fmla="*/ 713991 h 5217112"/>
              <a:gd name="connsiteX16296" fmla="*/ 2211612 w 6785952"/>
              <a:gd name="connsiteY16296" fmla="*/ 708869 h 5217112"/>
              <a:gd name="connsiteX16297" fmla="*/ 2208865 w 6785952"/>
              <a:gd name="connsiteY16297" fmla="*/ 706908 h 5217112"/>
              <a:gd name="connsiteX16298" fmla="*/ 2208041 w 6785952"/>
              <a:gd name="connsiteY16298" fmla="*/ 704619 h 5217112"/>
              <a:gd name="connsiteX16299" fmla="*/ 2204470 w 6785952"/>
              <a:gd name="connsiteY16299" fmla="*/ 701895 h 5217112"/>
              <a:gd name="connsiteX16300" fmla="*/ 2203920 w 6785952"/>
              <a:gd name="connsiteY16300" fmla="*/ 693722 h 5217112"/>
              <a:gd name="connsiteX16301" fmla="*/ 2209689 w 6785952"/>
              <a:gd name="connsiteY16301" fmla="*/ 691542 h 5217112"/>
              <a:gd name="connsiteX16302" fmla="*/ 3154364 w 6785952"/>
              <a:gd name="connsiteY16302" fmla="*/ 691216 h 5217112"/>
              <a:gd name="connsiteX16303" fmla="*/ 3176065 w 6785952"/>
              <a:gd name="connsiteY16303" fmla="*/ 713010 h 5217112"/>
              <a:gd name="connsiteX16304" fmla="*/ 3170022 w 6785952"/>
              <a:gd name="connsiteY16304" fmla="*/ 713555 h 5217112"/>
              <a:gd name="connsiteX16305" fmla="*/ 3152991 w 6785952"/>
              <a:gd name="connsiteY16305" fmla="*/ 700696 h 5217112"/>
              <a:gd name="connsiteX16306" fmla="*/ 3154364 w 6785952"/>
              <a:gd name="connsiteY16306" fmla="*/ 691216 h 5217112"/>
              <a:gd name="connsiteX16307" fmla="*/ 2465155 w 6785952"/>
              <a:gd name="connsiteY16307" fmla="*/ 689908 h 5217112"/>
              <a:gd name="connsiteX16308" fmla="*/ 2455541 w 6785952"/>
              <a:gd name="connsiteY16308" fmla="*/ 708651 h 5217112"/>
              <a:gd name="connsiteX16309" fmla="*/ 2455267 w 6785952"/>
              <a:gd name="connsiteY16309" fmla="*/ 704183 h 5217112"/>
              <a:gd name="connsiteX16310" fmla="*/ 2465155 w 6785952"/>
              <a:gd name="connsiteY16310" fmla="*/ 689908 h 5217112"/>
              <a:gd name="connsiteX16311" fmla="*/ 2998613 w 6785952"/>
              <a:gd name="connsiteY16311" fmla="*/ 688164 h 5217112"/>
              <a:gd name="connsiteX16312" fmla="*/ 3002458 w 6785952"/>
              <a:gd name="connsiteY16312" fmla="*/ 706036 h 5217112"/>
              <a:gd name="connsiteX16313" fmla="*/ 2998613 w 6785952"/>
              <a:gd name="connsiteY16313" fmla="*/ 688164 h 5217112"/>
              <a:gd name="connsiteX16314" fmla="*/ 3697986 w 6785952"/>
              <a:gd name="connsiteY16314" fmla="*/ 686420 h 5217112"/>
              <a:gd name="connsiteX16315" fmla="*/ 3698535 w 6785952"/>
              <a:gd name="connsiteY16315" fmla="*/ 687728 h 5217112"/>
              <a:gd name="connsiteX16316" fmla="*/ 3699360 w 6785952"/>
              <a:gd name="connsiteY16316" fmla="*/ 688164 h 5217112"/>
              <a:gd name="connsiteX16317" fmla="*/ 3699360 w 6785952"/>
              <a:gd name="connsiteY16317" fmla="*/ 688055 h 5217112"/>
              <a:gd name="connsiteX16318" fmla="*/ 4432520 w 6785952"/>
              <a:gd name="connsiteY16318" fmla="*/ 684568 h 5217112"/>
              <a:gd name="connsiteX16319" fmla="*/ 4431421 w 6785952"/>
              <a:gd name="connsiteY16319" fmla="*/ 696991 h 5217112"/>
              <a:gd name="connsiteX16320" fmla="*/ 4427027 w 6785952"/>
              <a:gd name="connsiteY16320" fmla="*/ 695139 h 5217112"/>
              <a:gd name="connsiteX16321" fmla="*/ 4432520 w 6785952"/>
              <a:gd name="connsiteY16321" fmla="*/ 684568 h 5217112"/>
              <a:gd name="connsiteX16322" fmla="*/ 1758640 w 6785952"/>
              <a:gd name="connsiteY16322" fmla="*/ 684350 h 5217112"/>
              <a:gd name="connsiteX16323" fmla="*/ 1777319 w 6785952"/>
              <a:gd name="connsiteY16323" fmla="*/ 705600 h 5217112"/>
              <a:gd name="connsiteX16324" fmla="*/ 1771002 w 6785952"/>
              <a:gd name="connsiteY16324" fmla="*/ 706363 h 5217112"/>
              <a:gd name="connsiteX16325" fmla="*/ 1767156 w 6785952"/>
              <a:gd name="connsiteY16325" fmla="*/ 704510 h 5217112"/>
              <a:gd name="connsiteX16326" fmla="*/ 1766058 w 6785952"/>
              <a:gd name="connsiteY16326" fmla="*/ 705600 h 5217112"/>
              <a:gd name="connsiteX16327" fmla="*/ 1760014 w 6785952"/>
              <a:gd name="connsiteY16327" fmla="*/ 698299 h 5217112"/>
              <a:gd name="connsiteX16328" fmla="*/ 1755893 w 6785952"/>
              <a:gd name="connsiteY16328" fmla="*/ 694049 h 5217112"/>
              <a:gd name="connsiteX16329" fmla="*/ 1758640 w 6785952"/>
              <a:gd name="connsiteY16329" fmla="*/ 684350 h 5217112"/>
              <a:gd name="connsiteX16330" fmla="*/ 2325336 w 6785952"/>
              <a:gd name="connsiteY16330" fmla="*/ 683479 h 5217112"/>
              <a:gd name="connsiteX16331" fmla="*/ 2320666 w 6785952"/>
              <a:gd name="connsiteY16331" fmla="*/ 690671 h 5217112"/>
              <a:gd name="connsiteX16332" fmla="*/ 2319293 w 6785952"/>
              <a:gd name="connsiteY16332" fmla="*/ 692523 h 5217112"/>
              <a:gd name="connsiteX16333" fmla="*/ 2323138 w 6785952"/>
              <a:gd name="connsiteY16333" fmla="*/ 692305 h 5217112"/>
              <a:gd name="connsiteX16334" fmla="*/ 2324237 w 6785952"/>
              <a:gd name="connsiteY16334" fmla="*/ 694267 h 5217112"/>
              <a:gd name="connsiteX16335" fmla="*/ 2324787 w 6785952"/>
              <a:gd name="connsiteY16335" fmla="*/ 697754 h 5217112"/>
              <a:gd name="connsiteX16336" fmla="*/ 2321490 w 6785952"/>
              <a:gd name="connsiteY16336" fmla="*/ 699388 h 5217112"/>
              <a:gd name="connsiteX16337" fmla="*/ 2317644 w 6785952"/>
              <a:gd name="connsiteY16337" fmla="*/ 699170 h 5217112"/>
              <a:gd name="connsiteX16338" fmla="*/ 2315447 w 6785952"/>
              <a:gd name="connsiteY16338" fmla="*/ 697754 h 5217112"/>
              <a:gd name="connsiteX16339" fmla="*/ 2314897 w 6785952"/>
              <a:gd name="connsiteY16339" fmla="*/ 698408 h 5217112"/>
              <a:gd name="connsiteX16340" fmla="*/ 2298416 w 6785952"/>
              <a:gd name="connsiteY16340" fmla="*/ 705273 h 5217112"/>
              <a:gd name="connsiteX16341" fmla="*/ 2325336 w 6785952"/>
              <a:gd name="connsiteY16341" fmla="*/ 683479 h 5217112"/>
              <a:gd name="connsiteX16342" fmla="*/ 3695239 w 6785952"/>
              <a:gd name="connsiteY16342" fmla="*/ 683151 h 5217112"/>
              <a:gd name="connsiteX16343" fmla="*/ 3696063 w 6785952"/>
              <a:gd name="connsiteY16343" fmla="*/ 684350 h 5217112"/>
              <a:gd name="connsiteX16344" fmla="*/ 3695514 w 6785952"/>
              <a:gd name="connsiteY16344" fmla="*/ 685658 h 5217112"/>
              <a:gd name="connsiteX16345" fmla="*/ 3696612 w 6785952"/>
              <a:gd name="connsiteY16345" fmla="*/ 684677 h 5217112"/>
              <a:gd name="connsiteX16346" fmla="*/ 1988560 w 6785952"/>
              <a:gd name="connsiteY16346" fmla="*/ 682280 h 5217112"/>
              <a:gd name="connsiteX16347" fmla="*/ 1975649 w 6785952"/>
              <a:gd name="connsiteY16347" fmla="*/ 693504 h 5217112"/>
              <a:gd name="connsiteX16348" fmla="*/ 1988560 w 6785952"/>
              <a:gd name="connsiteY16348" fmla="*/ 682280 h 5217112"/>
              <a:gd name="connsiteX16349" fmla="*/ 4364670 w 6785952"/>
              <a:gd name="connsiteY16349" fmla="*/ 681626 h 5217112"/>
              <a:gd name="connsiteX16350" fmla="*/ 4365494 w 6785952"/>
              <a:gd name="connsiteY16350" fmla="*/ 682389 h 5217112"/>
              <a:gd name="connsiteX16351" fmla="*/ 4364396 w 6785952"/>
              <a:gd name="connsiteY16351" fmla="*/ 682716 h 5217112"/>
              <a:gd name="connsiteX16352" fmla="*/ 4011687 w 6785952"/>
              <a:gd name="connsiteY16352" fmla="*/ 681626 h 5217112"/>
              <a:gd name="connsiteX16353" fmla="*/ 4016083 w 6785952"/>
              <a:gd name="connsiteY16353" fmla="*/ 684786 h 5217112"/>
              <a:gd name="connsiteX16354" fmla="*/ 4018554 w 6785952"/>
              <a:gd name="connsiteY16354" fmla="*/ 689472 h 5217112"/>
              <a:gd name="connsiteX16355" fmla="*/ 4016083 w 6785952"/>
              <a:gd name="connsiteY16355" fmla="*/ 696010 h 5217112"/>
              <a:gd name="connsiteX16356" fmla="*/ 4014435 w 6785952"/>
              <a:gd name="connsiteY16356" fmla="*/ 696010 h 5217112"/>
              <a:gd name="connsiteX16357" fmla="*/ 4014435 w 6785952"/>
              <a:gd name="connsiteY16357" fmla="*/ 700260 h 5217112"/>
              <a:gd name="connsiteX16358" fmla="*/ 4011687 w 6785952"/>
              <a:gd name="connsiteY16358" fmla="*/ 711267 h 5217112"/>
              <a:gd name="connsiteX16359" fmla="*/ 4012237 w 6785952"/>
              <a:gd name="connsiteY16359" fmla="*/ 700152 h 5217112"/>
              <a:gd name="connsiteX16360" fmla="*/ 4012786 w 6785952"/>
              <a:gd name="connsiteY16360" fmla="*/ 695901 h 5217112"/>
              <a:gd name="connsiteX16361" fmla="*/ 4010863 w 6785952"/>
              <a:gd name="connsiteY16361" fmla="*/ 695792 h 5217112"/>
              <a:gd name="connsiteX16362" fmla="*/ 4001249 w 6785952"/>
              <a:gd name="connsiteY16362" fmla="*/ 682497 h 5217112"/>
              <a:gd name="connsiteX16363" fmla="*/ 4011687 w 6785952"/>
              <a:gd name="connsiteY16363" fmla="*/ 681626 h 5217112"/>
              <a:gd name="connsiteX16364" fmla="*/ 1954223 w 6785952"/>
              <a:gd name="connsiteY16364" fmla="*/ 680645 h 5217112"/>
              <a:gd name="connsiteX16365" fmla="*/ 1964936 w 6785952"/>
              <a:gd name="connsiteY16365" fmla="*/ 683261 h 5217112"/>
              <a:gd name="connsiteX16366" fmla="*/ 1963288 w 6785952"/>
              <a:gd name="connsiteY16366" fmla="*/ 688927 h 5217112"/>
              <a:gd name="connsiteX16367" fmla="*/ 1967683 w 6785952"/>
              <a:gd name="connsiteY16367" fmla="*/ 691433 h 5217112"/>
              <a:gd name="connsiteX16368" fmla="*/ 1968507 w 6785952"/>
              <a:gd name="connsiteY16368" fmla="*/ 702767 h 5217112"/>
              <a:gd name="connsiteX16369" fmla="*/ 1962464 w 6785952"/>
              <a:gd name="connsiteY16369" fmla="*/ 706036 h 5217112"/>
              <a:gd name="connsiteX16370" fmla="*/ 1954498 w 6785952"/>
              <a:gd name="connsiteY16370" fmla="*/ 705382 h 5217112"/>
              <a:gd name="connsiteX16371" fmla="*/ 1953124 w 6785952"/>
              <a:gd name="connsiteY16371" fmla="*/ 697754 h 5217112"/>
              <a:gd name="connsiteX16372" fmla="*/ 1956421 w 6785952"/>
              <a:gd name="connsiteY16372" fmla="*/ 690017 h 5217112"/>
              <a:gd name="connsiteX16373" fmla="*/ 1954498 w 6785952"/>
              <a:gd name="connsiteY16373" fmla="*/ 686094 h 5217112"/>
              <a:gd name="connsiteX16374" fmla="*/ 1954223 w 6785952"/>
              <a:gd name="connsiteY16374" fmla="*/ 680645 h 5217112"/>
              <a:gd name="connsiteX16375" fmla="*/ 3940541 w 6785952"/>
              <a:gd name="connsiteY16375" fmla="*/ 679991 h 5217112"/>
              <a:gd name="connsiteX16376" fmla="*/ 3942739 w 6785952"/>
              <a:gd name="connsiteY16376" fmla="*/ 687183 h 5217112"/>
              <a:gd name="connsiteX16377" fmla="*/ 3938070 w 6785952"/>
              <a:gd name="connsiteY16377" fmla="*/ 688382 h 5217112"/>
              <a:gd name="connsiteX16378" fmla="*/ 3936695 w 6785952"/>
              <a:gd name="connsiteY16378" fmla="*/ 682389 h 5217112"/>
              <a:gd name="connsiteX16379" fmla="*/ 3940541 w 6785952"/>
              <a:gd name="connsiteY16379" fmla="*/ 679991 h 5217112"/>
              <a:gd name="connsiteX16380" fmla="*/ 1865772 w 6785952"/>
              <a:gd name="connsiteY16380" fmla="*/ 678575 h 5217112"/>
              <a:gd name="connsiteX16381" fmla="*/ 1871539 w 6785952"/>
              <a:gd name="connsiteY16381" fmla="*/ 682389 h 5217112"/>
              <a:gd name="connsiteX16382" fmla="*/ 1866046 w 6785952"/>
              <a:gd name="connsiteY16382" fmla="*/ 690126 h 5217112"/>
              <a:gd name="connsiteX16383" fmla="*/ 1860003 w 6785952"/>
              <a:gd name="connsiteY16383" fmla="*/ 682606 h 5217112"/>
              <a:gd name="connsiteX16384" fmla="*/ 1865772 w 6785952"/>
              <a:gd name="connsiteY16384" fmla="*/ 678575 h 5217112"/>
              <a:gd name="connsiteX16385" fmla="*/ 2967572 w 6785952"/>
              <a:gd name="connsiteY16385" fmla="*/ 678357 h 5217112"/>
              <a:gd name="connsiteX16386" fmla="*/ 2977461 w 6785952"/>
              <a:gd name="connsiteY16386" fmla="*/ 690234 h 5217112"/>
              <a:gd name="connsiteX16387" fmla="*/ 2964001 w 6785952"/>
              <a:gd name="connsiteY16387" fmla="*/ 696664 h 5217112"/>
              <a:gd name="connsiteX16388" fmla="*/ 2960156 w 6785952"/>
              <a:gd name="connsiteY16388" fmla="*/ 694702 h 5217112"/>
              <a:gd name="connsiteX16389" fmla="*/ 2967572 w 6785952"/>
              <a:gd name="connsiteY16389" fmla="*/ 678357 h 5217112"/>
              <a:gd name="connsiteX16390" fmla="*/ 1443840 w 6785952"/>
              <a:gd name="connsiteY16390" fmla="*/ 678248 h 5217112"/>
              <a:gd name="connsiteX16391" fmla="*/ 1446313 w 6785952"/>
              <a:gd name="connsiteY16391" fmla="*/ 681953 h 5217112"/>
              <a:gd name="connsiteX16392" fmla="*/ 1441917 w 6785952"/>
              <a:gd name="connsiteY16392" fmla="*/ 684459 h 5217112"/>
              <a:gd name="connsiteX16393" fmla="*/ 1438896 w 6785952"/>
              <a:gd name="connsiteY16393" fmla="*/ 683042 h 5217112"/>
              <a:gd name="connsiteX16394" fmla="*/ 1443840 w 6785952"/>
              <a:gd name="connsiteY16394" fmla="*/ 678248 h 5217112"/>
              <a:gd name="connsiteX16395" fmla="*/ 4014435 w 6785952"/>
              <a:gd name="connsiteY16395" fmla="*/ 677267 h 5217112"/>
              <a:gd name="connsiteX16396" fmla="*/ 4015808 w 6785952"/>
              <a:gd name="connsiteY16396" fmla="*/ 677267 h 5217112"/>
              <a:gd name="connsiteX16397" fmla="*/ 4014709 w 6785952"/>
              <a:gd name="connsiteY16397" fmla="*/ 680427 h 5217112"/>
              <a:gd name="connsiteX16398" fmla="*/ 4014435 w 6785952"/>
              <a:gd name="connsiteY16398" fmla="*/ 677267 h 5217112"/>
              <a:gd name="connsiteX16399" fmla="*/ 4191887 w 6785952"/>
              <a:gd name="connsiteY16399" fmla="*/ 677049 h 5217112"/>
              <a:gd name="connsiteX16400" fmla="*/ 4203699 w 6785952"/>
              <a:gd name="connsiteY16400" fmla="*/ 681298 h 5217112"/>
              <a:gd name="connsiteX16401" fmla="*/ 4199579 w 6785952"/>
              <a:gd name="connsiteY16401" fmla="*/ 696338 h 5217112"/>
              <a:gd name="connsiteX16402" fmla="*/ 4186118 w 6785952"/>
              <a:gd name="connsiteY16402" fmla="*/ 681190 h 5217112"/>
              <a:gd name="connsiteX16403" fmla="*/ 4191887 w 6785952"/>
              <a:gd name="connsiteY16403" fmla="*/ 677049 h 5217112"/>
              <a:gd name="connsiteX16404" fmla="*/ 1473232 w 6785952"/>
              <a:gd name="connsiteY16404" fmla="*/ 676940 h 5217112"/>
              <a:gd name="connsiteX16405" fmla="*/ 1472134 w 6785952"/>
              <a:gd name="connsiteY16405" fmla="*/ 694702 h 5217112"/>
              <a:gd name="connsiteX16406" fmla="*/ 1465266 w 6785952"/>
              <a:gd name="connsiteY16406" fmla="*/ 701241 h 5217112"/>
              <a:gd name="connsiteX16407" fmla="*/ 1462519 w 6785952"/>
              <a:gd name="connsiteY16407" fmla="*/ 697972 h 5217112"/>
              <a:gd name="connsiteX16408" fmla="*/ 1463344 w 6785952"/>
              <a:gd name="connsiteY16408" fmla="*/ 688055 h 5217112"/>
              <a:gd name="connsiteX16409" fmla="*/ 1473232 w 6785952"/>
              <a:gd name="connsiteY16409" fmla="*/ 676940 h 5217112"/>
              <a:gd name="connsiteX16410" fmla="*/ 4380053 w 6785952"/>
              <a:gd name="connsiteY16410" fmla="*/ 676613 h 5217112"/>
              <a:gd name="connsiteX16411" fmla="*/ 4380053 w 6785952"/>
              <a:gd name="connsiteY16411" fmla="*/ 679882 h 5217112"/>
              <a:gd name="connsiteX16412" fmla="*/ 4379504 w 6785952"/>
              <a:gd name="connsiteY16412" fmla="*/ 681735 h 5217112"/>
              <a:gd name="connsiteX16413" fmla="*/ 4377856 w 6785952"/>
              <a:gd name="connsiteY16413" fmla="*/ 677812 h 5217112"/>
              <a:gd name="connsiteX16414" fmla="*/ 4380053 w 6785952"/>
              <a:gd name="connsiteY16414" fmla="*/ 676613 h 5217112"/>
              <a:gd name="connsiteX16415" fmla="*/ 4145464 w 6785952"/>
              <a:gd name="connsiteY16415" fmla="*/ 675523 h 5217112"/>
              <a:gd name="connsiteX16416" fmla="*/ 4149310 w 6785952"/>
              <a:gd name="connsiteY16416" fmla="*/ 724016 h 5217112"/>
              <a:gd name="connsiteX16417" fmla="*/ 4142991 w 6785952"/>
              <a:gd name="connsiteY16417" fmla="*/ 726087 h 5217112"/>
              <a:gd name="connsiteX16418" fmla="*/ 4121290 w 6785952"/>
              <a:gd name="connsiteY16418" fmla="*/ 706908 h 5217112"/>
              <a:gd name="connsiteX16419" fmla="*/ 4121016 w 6785952"/>
              <a:gd name="connsiteY16419" fmla="*/ 703638 h 5217112"/>
              <a:gd name="connsiteX16420" fmla="*/ 4118819 w 6785952"/>
              <a:gd name="connsiteY16420" fmla="*/ 701568 h 5217112"/>
              <a:gd name="connsiteX16421" fmla="*/ 4117720 w 6785952"/>
              <a:gd name="connsiteY16421" fmla="*/ 696555 h 5217112"/>
              <a:gd name="connsiteX16422" fmla="*/ 4120741 w 6785952"/>
              <a:gd name="connsiteY16422" fmla="*/ 699170 h 5217112"/>
              <a:gd name="connsiteX16423" fmla="*/ 4120741 w 6785952"/>
              <a:gd name="connsiteY16423" fmla="*/ 695575 h 5217112"/>
              <a:gd name="connsiteX16424" fmla="*/ 4145464 w 6785952"/>
              <a:gd name="connsiteY16424" fmla="*/ 675523 h 5217112"/>
              <a:gd name="connsiteX16425" fmla="*/ 2114095 w 6785952"/>
              <a:gd name="connsiteY16425" fmla="*/ 674870 h 5217112"/>
              <a:gd name="connsiteX16426" fmla="*/ 2117941 w 6785952"/>
              <a:gd name="connsiteY16426" fmla="*/ 676068 h 5217112"/>
              <a:gd name="connsiteX16427" fmla="*/ 2116293 w 6785952"/>
              <a:gd name="connsiteY16427" fmla="*/ 691433 h 5217112"/>
              <a:gd name="connsiteX16428" fmla="*/ 2109151 w 6785952"/>
              <a:gd name="connsiteY16428" fmla="*/ 684568 h 5217112"/>
              <a:gd name="connsiteX16429" fmla="*/ 2114095 w 6785952"/>
              <a:gd name="connsiteY16429" fmla="*/ 674870 h 5217112"/>
              <a:gd name="connsiteX16430" fmla="*/ 3235950 w 6785952"/>
              <a:gd name="connsiteY16430" fmla="*/ 674760 h 5217112"/>
              <a:gd name="connsiteX16431" fmla="*/ 3237323 w 6785952"/>
              <a:gd name="connsiteY16431" fmla="*/ 679337 h 5217112"/>
              <a:gd name="connsiteX16432" fmla="*/ 3234301 w 6785952"/>
              <a:gd name="connsiteY16432" fmla="*/ 681953 h 5217112"/>
              <a:gd name="connsiteX16433" fmla="*/ 3232653 w 6785952"/>
              <a:gd name="connsiteY16433" fmla="*/ 684677 h 5217112"/>
              <a:gd name="connsiteX16434" fmla="*/ 3230730 w 6785952"/>
              <a:gd name="connsiteY16434" fmla="*/ 685440 h 5217112"/>
              <a:gd name="connsiteX16435" fmla="*/ 3228532 w 6785952"/>
              <a:gd name="connsiteY16435" fmla="*/ 684132 h 5217112"/>
              <a:gd name="connsiteX16436" fmla="*/ 3229906 w 6785952"/>
              <a:gd name="connsiteY16436" fmla="*/ 681408 h 5217112"/>
              <a:gd name="connsiteX16437" fmla="*/ 3235950 w 6785952"/>
              <a:gd name="connsiteY16437" fmla="*/ 674760 h 5217112"/>
              <a:gd name="connsiteX16438" fmla="*/ 3289789 w 6785952"/>
              <a:gd name="connsiteY16438" fmla="*/ 674543 h 5217112"/>
              <a:gd name="connsiteX16439" fmla="*/ 3287317 w 6785952"/>
              <a:gd name="connsiteY16439" fmla="*/ 676831 h 5217112"/>
              <a:gd name="connsiteX16440" fmla="*/ 3289240 w 6785952"/>
              <a:gd name="connsiteY16440" fmla="*/ 675741 h 5217112"/>
              <a:gd name="connsiteX16441" fmla="*/ 3289789 w 6785952"/>
              <a:gd name="connsiteY16441" fmla="*/ 674651 h 5217112"/>
              <a:gd name="connsiteX16442" fmla="*/ 4024048 w 6785952"/>
              <a:gd name="connsiteY16442" fmla="*/ 674434 h 5217112"/>
              <a:gd name="connsiteX16443" fmla="*/ 4022950 w 6785952"/>
              <a:gd name="connsiteY16443" fmla="*/ 685222 h 5217112"/>
              <a:gd name="connsiteX16444" fmla="*/ 4021577 w 6785952"/>
              <a:gd name="connsiteY16444" fmla="*/ 683479 h 5217112"/>
              <a:gd name="connsiteX16445" fmla="*/ 4022400 w 6785952"/>
              <a:gd name="connsiteY16445" fmla="*/ 680645 h 5217112"/>
              <a:gd name="connsiteX16446" fmla="*/ 4024048 w 6785952"/>
              <a:gd name="connsiteY16446" fmla="*/ 674434 h 5217112"/>
              <a:gd name="connsiteX16447" fmla="*/ 4362198 w 6785952"/>
              <a:gd name="connsiteY16447" fmla="*/ 674216 h 5217112"/>
              <a:gd name="connsiteX16448" fmla="*/ 4365220 w 6785952"/>
              <a:gd name="connsiteY16448" fmla="*/ 674325 h 5217112"/>
              <a:gd name="connsiteX16449" fmla="*/ 4366593 w 6785952"/>
              <a:gd name="connsiteY16449" fmla="*/ 681735 h 5217112"/>
              <a:gd name="connsiteX16450" fmla="*/ 4364945 w 6785952"/>
              <a:gd name="connsiteY16450" fmla="*/ 680972 h 5217112"/>
              <a:gd name="connsiteX16451" fmla="*/ 4364670 w 6785952"/>
              <a:gd name="connsiteY16451" fmla="*/ 681626 h 5217112"/>
              <a:gd name="connsiteX16452" fmla="*/ 4362473 w 6785952"/>
              <a:gd name="connsiteY16452" fmla="*/ 679011 h 5217112"/>
              <a:gd name="connsiteX16453" fmla="*/ 4362198 w 6785952"/>
              <a:gd name="connsiteY16453" fmla="*/ 674216 h 5217112"/>
              <a:gd name="connsiteX16454" fmla="*/ 4051518 w 6785952"/>
              <a:gd name="connsiteY16454" fmla="*/ 674216 h 5217112"/>
              <a:gd name="connsiteX16455" fmla="*/ 4054815 w 6785952"/>
              <a:gd name="connsiteY16455" fmla="*/ 675959 h 5217112"/>
              <a:gd name="connsiteX16456" fmla="*/ 4057012 w 6785952"/>
              <a:gd name="connsiteY16456" fmla="*/ 684132 h 5217112"/>
              <a:gd name="connsiteX16457" fmla="*/ 4044651 w 6785952"/>
              <a:gd name="connsiteY16457" fmla="*/ 688709 h 5217112"/>
              <a:gd name="connsiteX16458" fmla="*/ 4042179 w 6785952"/>
              <a:gd name="connsiteY16458" fmla="*/ 684350 h 5217112"/>
              <a:gd name="connsiteX16459" fmla="*/ 4043552 w 6785952"/>
              <a:gd name="connsiteY16459" fmla="*/ 678574 h 5217112"/>
              <a:gd name="connsiteX16460" fmla="*/ 4046574 w 6785952"/>
              <a:gd name="connsiteY16460" fmla="*/ 675088 h 5217112"/>
              <a:gd name="connsiteX16461" fmla="*/ 4051518 w 6785952"/>
              <a:gd name="connsiteY16461" fmla="*/ 674216 h 5217112"/>
              <a:gd name="connsiteX16462" fmla="*/ 2484109 w 6785952"/>
              <a:gd name="connsiteY16462" fmla="*/ 672690 h 5217112"/>
              <a:gd name="connsiteX16463" fmla="*/ 2483285 w 6785952"/>
              <a:gd name="connsiteY16463" fmla="*/ 694811 h 5217112"/>
              <a:gd name="connsiteX16464" fmla="*/ 2481362 w 6785952"/>
              <a:gd name="connsiteY16464" fmla="*/ 691107 h 5217112"/>
              <a:gd name="connsiteX16465" fmla="*/ 2484109 w 6785952"/>
              <a:gd name="connsiteY16465" fmla="*/ 672690 h 5217112"/>
              <a:gd name="connsiteX16466" fmla="*/ 3971033 w 6785952"/>
              <a:gd name="connsiteY16466" fmla="*/ 672363 h 5217112"/>
              <a:gd name="connsiteX16467" fmla="*/ 3984493 w 6785952"/>
              <a:gd name="connsiteY16467" fmla="*/ 680100 h 5217112"/>
              <a:gd name="connsiteX16468" fmla="*/ 3975428 w 6785952"/>
              <a:gd name="connsiteY16468" fmla="*/ 683915 h 5217112"/>
              <a:gd name="connsiteX16469" fmla="*/ 3968286 w 6785952"/>
              <a:gd name="connsiteY16469" fmla="*/ 675414 h 5217112"/>
              <a:gd name="connsiteX16470" fmla="*/ 3971033 w 6785952"/>
              <a:gd name="connsiteY16470" fmla="*/ 672363 h 5217112"/>
              <a:gd name="connsiteX16471" fmla="*/ 2206668 w 6785952"/>
              <a:gd name="connsiteY16471" fmla="*/ 671056 h 5217112"/>
              <a:gd name="connsiteX16472" fmla="*/ 2209964 w 6785952"/>
              <a:gd name="connsiteY16472" fmla="*/ 671710 h 5217112"/>
              <a:gd name="connsiteX16473" fmla="*/ 2209689 w 6785952"/>
              <a:gd name="connsiteY16473" fmla="*/ 675959 h 5217112"/>
              <a:gd name="connsiteX16474" fmla="*/ 2199526 w 6785952"/>
              <a:gd name="connsiteY16474" fmla="*/ 680536 h 5217112"/>
              <a:gd name="connsiteX16475" fmla="*/ 2197053 w 6785952"/>
              <a:gd name="connsiteY16475" fmla="*/ 680209 h 5217112"/>
              <a:gd name="connsiteX16476" fmla="*/ 2206668 w 6785952"/>
              <a:gd name="connsiteY16476" fmla="*/ 671056 h 5217112"/>
              <a:gd name="connsiteX16477" fmla="*/ 983589 w 6785952"/>
              <a:gd name="connsiteY16477" fmla="*/ 670374 h 5217112"/>
              <a:gd name="connsiteX16478" fmla="*/ 991142 w 6785952"/>
              <a:gd name="connsiteY16478" fmla="*/ 671491 h 5217112"/>
              <a:gd name="connsiteX16479" fmla="*/ 983451 w 6785952"/>
              <a:gd name="connsiteY16479" fmla="*/ 684024 h 5217112"/>
              <a:gd name="connsiteX16480" fmla="*/ 978507 w 6785952"/>
              <a:gd name="connsiteY16480" fmla="*/ 683479 h 5217112"/>
              <a:gd name="connsiteX16481" fmla="*/ 976859 w 6785952"/>
              <a:gd name="connsiteY16481" fmla="*/ 680100 h 5217112"/>
              <a:gd name="connsiteX16482" fmla="*/ 976034 w 6785952"/>
              <a:gd name="connsiteY16482" fmla="*/ 675633 h 5217112"/>
              <a:gd name="connsiteX16483" fmla="*/ 983589 w 6785952"/>
              <a:gd name="connsiteY16483" fmla="*/ 670374 h 5217112"/>
              <a:gd name="connsiteX16484" fmla="*/ 4227048 w 6785952"/>
              <a:gd name="connsiteY16484" fmla="*/ 669203 h 5217112"/>
              <a:gd name="connsiteX16485" fmla="*/ 4218258 w 6785952"/>
              <a:gd name="connsiteY16485" fmla="*/ 692523 h 5217112"/>
              <a:gd name="connsiteX16486" fmla="*/ 4214412 w 6785952"/>
              <a:gd name="connsiteY16486" fmla="*/ 687074 h 5217112"/>
              <a:gd name="connsiteX16487" fmla="*/ 4227048 w 6785952"/>
              <a:gd name="connsiteY16487" fmla="*/ 669203 h 5217112"/>
              <a:gd name="connsiteX16488" fmla="*/ 4018554 w 6785952"/>
              <a:gd name="connsiteY16488" fmla="*/ 668876 h 5217112"/>
              <a:gd name="connsiteX16489" fmla="*/ 4014709 w 6785952"/>
              <a:gd name="connsiteY16489" fmla="*/ 676178 h 5217112"/>
              <a:gd name="connsiteX16490" fmla="*/ 4014435 w 6785952"/>
              <a:gd name="connsiteY16490" fmla="*/ 670183 h 5217112"/>
              <a:gd name="connsiteX16491" fmla="*/ 4018554 w 6785952"/>
              <a:gd name="connsiteY16491" fmla="*/ 668876 h 5217112"/>
              <a:gd name="connsiteX16492" fmla="*/ 3754299 w 6785952"/>
              <a:gd name="connsiteY16492" fmla="*/ 668876 h 5217112"/>
              <a:gd name="connsiteX16493" fmla="*/ 3726555 w 6785952"/>
              <a:gd name="connsiteY16493" fmla="*/ 670728 h 5217112"/>
              <a:gd name="connsiteX16494" fmla="*/ 3720786 w 6785952"/>
              <a:gd name="connsiteY16494" fmla="*/ 669966 h 5217112"/>
              <a:gd name="connsiteX16495" fmla="*/ 3722434 w 6785952"/>
              <a:gd name="connsiteY16495" fmla="*/ 677485 h 5217112"/>
              <a:gd name="connsiteX16496" fmla="*/ 3727379 w 6785952"/>
              <a:gd name="connsiteY16496" fmla="*/ 679447 h 5217112"/>
              <a:gd name="connsiteX16497" fmla="*/ 3729301 w 6785952"/>
              <a:gd name="connsiteY16497" fmla="*/ 678793 h 5217112"/>
              <a:gd name="connsiteX16498" fmla="*/ 3742212 w 6785952"/>
              <a:gd name="connsiteY16498" fmla="*/ 681626 h 5217112"/>
              <a:gd name="connsiteX16499" fmla="*/ 3741387 w 6785952"/>
              <a:gd name="connsiteY16499" fmla="*/ 679556 h 5217112"/>
              <a:gd name="connsiteX16500" fmla="*/ 3744409 w 6785952"/>
              <a:gd name="connsiteY16500" fmla="*/ 680972 h 5217112"/>
              <a:gd name="connsiteX16501" fmla="*/ 3792207 w 6785952"/>
              <a:gd name="connsiteY16501" fmla="*/ 681953 h 5217112"/>
              <a:gd name="connsiteX16502" fmla="*/ 3807590 w 6785952"/>
              <a:gd name="connsiteY16502" fmla="*/ 682934 h 5217112"/>
              <a:gd name="connsiteX16503" fmla="*/ 3810061 w 6785952"/>
              <a:gd name="connsiteY16503" fmla="*/ 678902 h 5217112"/>
              <a:gd name="connsiteX16504" fmla="*/ 3811709 w 6785952"/>
              <a:gd name="connsiteY16504" fmla="*/ 677921 h 5217112"/>
              <a:gd name="connsiteX16505" fmla="*/ 3811435 w 6785952"/>
              <a:gd name="connsiteY16505" fmla="*/ 677049 h 5217112"/>
              <a:gd name="connsiteX16506" fmla="*/ 3808139 w 6785952"/>
              <a:gd name="connsiteY16506" fmla="*/ 677376 h 5217112"/>
              <a:gd name="connsiteX16507" fmla="*/ 3802920 w 6785952"/>
              <a:gd name="connsiteY16507" fmla="*/ 679228 h 5217112"/>
              <a:gd name="connsiteX16508" fmla="*/ 3799074 w 6785952"/>
              <a:gd name="connsiteY16508" fmla="*/ 678574 h 5217112"/>
              <a:gd name="connsiteX16509" fmla="*/ 3799074 w 6785952"/>
              <a:gd name="connsiteY16509" fmla="*/ 677158 h 5217112"/>
              <a:gd name="connsiteX16510" fmla="*/ 3798524 w 6785952"/>
              <a:gd name="connsiteY16510" fmla="*/ 679991 h 5217112"/>
              <a:gd name="connsiteX16511" fmla="*/ 3794404 w 6785952"/>
              <a:gd name="connsiteY16511" fmla="*/ 681298 h 5217112"/>
              <a:gd name="connsiteX16512" fmla="*/ 3791383 w 6785952"/>
              <a:gd name="connsiteY16512" fmla="*/ 679882 h 5217112"/>
              <a:gd name="connsiteX16513" fmla="*/ 3790558 w 6785952"/>
              <a:gd name="connsiteY16513" fmla="*/ 677921 h 5217112"/>
              <a:gd name="connsiteX16514" fmla="*/ 3754299 w 6785952"/>
              <a:gd name="connsiteY16514" fmla="*/ 668876 h 5217112"/>
              <a:gd name="connsiteX16515" fmla="*/ 2005591 w 6785952"/>
              <a:gd name="connsiteY16515" fmla="*/ 668658 h 5217112"/>
              <a:gd name="connsiteX16516" fmla="*/ 2012458 w 6785952"/>
              <a:gd name="connsiteY16516" fmla="*/ 683696 h 5217112"/>
              <a:gd name="connsiteX16517" fmla="*/ 1999822 w 6785952"/>
              <a:gd name="connsiteY16517" fmla="*/ 688709 h 5217112"/>
              <a:gd name="connsiteX16518" fmla="*/ 1993505 w 6785952"/>
              <a:gd name="connsiteY16518" fmla="*/ 680427 h 5217112"/>
              <a:gd name="connsiteX16519" fmla="*/ 1994878 w 6785952"/>
              <a:gd name="connsiteY16519" fmla="*/ 673344 h 5217112"/>
              <a:gd name="connsiteX16520" fmla="*/ 2005591 w 6785952"/>
              <a:gd name="connsiteY16520" fmla="*/ 668658 h 5217112"/>
              <a:gd name="connsiteX16521" fmla="*/ 4333184 w 6785952"/>
              <a:gd name="connsiteY16521" fmla="*/ 668549 h 5217112"/>
              <a:gd name="connsiteX16522" fmla="*/ 4339123 w 6785952"/>
              <a:gd name="connsiteY16522" fmla="*/ 681517 h 5217112"/>
              <a:gd name="connsiteX16523" fmla="*/ 4328685 w 6785952"/>
              <a:gd name="connsiteY16523" fmla="*/ 683370 h 5217112"/>
              <a:gd name="connsiteX16524" fmla="*/ 4318797 w 6785952"/>
              <a:gd name="connsiteY16524" fmla="*/ 680427 h 5217112"/>
              <a:gd name="connsiteX16525" fmla="*/ 4320445 w 6785952"/>
              <a:gd name="connsiteY16525" fmla="*/ 669966 h 5217112"/>
              <a:gd name="connsiteX16526" fmla="*/ 4333184 w 6785952"/>
              <a:gd name="connsiteY16526" fmla="*/ 668549 h 5217112"/>
              <a:gd name="connsiteX16527" fmla="*/ 2829950 w 6785952"/>
              <a:gd name="connsiteY16527" fmla="*/ 667023 h 5217112"/>
              <a:gd name="connsiteX16528" fmla="*/ 2832697 w 6785952"/>
              <a:gd name="connsiteY16528" fmla="*/ 673780 h 5217112"/>
              <a:gd name="connsiteX16529" fmla="*/ 2829126 w 6785952"/>
              <a:gd name="connsiteY16529" fmla="*/ 672690 h 5217112"/>
              <a:gd name="connsiteX16530" fmla="*/ 2828851 w 6785952"/>
              <a:gd name="connsiteY16530" fmla="*/ 667677 h 5217112"/>
              <a:gd name="connsiteX16531" fmla="*/ 2829950 w 6785952"/>
              <a:gd name="connsiteY16531" fmla="*/ 667023 h 5217112"/>
              <a:gd name="connsiteX16532" fmla="*/ 2307481 w 6785952"/>
              <a:gd name="connsiteY16532" fmla="*/ 666805 h 5217112"/>
              <a:gd name="connsiteX16533" fmla="*/ 2321215 w 6785952"/>
              <a:gd name="connsiteY16533" fmla="*/ 681408 h 5217112"/>
              <a:gd name="connsiteX16534" fmla="*/ 2315447 w 6785952"/>
              <a:gd name="connsiteY16534" fmla="*/ 684568 h 5217112"/>
              <a:gd name="connsiteX16535" fmla="*/ 2307481 w 6785952"/>
              <a:gd name="connsiteY16535" fmla="*/ 683696 h 5217112"/>
              <a:gd name="connsiteX16536" fmla="*/ 2307481 w 6785952"/>
              <a:gd name="connsiteY16536" fmla="*/ 666805 h 5217112"/>
              <a:gd name="connsiteX16537" fmla="*/ 2726391 w 6785952"/>
              <a:gd name="connsiteY16537" fmla="*/ 666588 h 5217112"/>
              <a:gd name="connsiteX16538" fmla="*/ 2721171 w 6785952"/>
              <a:gd name="connsiteY16538" fmla="*/ 669094 h 5217112"/>
              <a:gd name="connsiteX16539" fmla="*/ 2720622 w 6785952"/>
              <a:gd name="connsiteY16539" fmla="*/ 667787 h 5217112"/>
              <a:gd name="connsiteX16540" fmla="*/ 2726391 w 6785952"/>
              <a:gd name="connsiteY16540" fmla="*/ 666588 h 5217112"/>
              <a:gd name="connsiteX16541" fmla="*/ 1396868 w 6785952"/>
              <a:gd name="connsiteY16541" fmla="*/ 666260 h 5217112"/>
              <a:gd name="connsiteX16542" fmla="*/ 1401538 w 6785952"/>
              <a:gd name="connsiteY16542" fmla="*/ 674543 h 5217112"/>
              <a:gd name="connsiteX16543" fmla="*/ 1394395 w 6785952"/>
              <a:gd name="connsiteY16543" fmla="*/ 677594 h 5217112"/>
              <a:gd name="connsiteX16544" fmla="*/ 1387253 w 6785952"/>
              <a:gd name="connsiteY16544" fmla="*/ 674106 h 5217112"/>
              <a:gd name="connsiteX16545" fmla="*/ 1396868 w 6785952"/>
              <a:gd name="connsiteY16545" fmla="*/ 666260 h 5217112"/>
              <a:gd name="connsiteX16546" fmla="*/ 3199140 w 6785952"/>
              <a:gd name="connsiteY16546" fmla="*/ 665498 h 5217112"/>
              <a:gd name="connsiteX16547" fmla="*/ 3205184 w 6785952"/>
              <a:gd name="connsiteY16547" fmla="*/ 677267 h 5217112"/>
              <a:gd name="connsiteX16548" fmla="*/ 3199140 w 6785952"/>
              <a:gd name="connsiteY16548" fmla="*/ 665498 h 5217112"/>
              <a:gd name="connsiteX16549" fmla="*/ 5907082 w 6785952"/>
              <a:gd name="connsiteY16549" fmla="*/ 664844 h 5217112"/>
              <a:gd name="connsiteX16550" fmla="*/ 5900764 w 6785952"/>
              <a:gd name="connsiteY16550" fmla="*/ 667787 h 5217112"/>
              <a:gd name="connsiteX16551" fmla="*/ 5896369 w 6785952"/>
              <a:gd name="connsiteY16551" fmla="*/ 667896 h 5217112"/>
              <a:gd name="connsiteX16552" fmla="*/ 5903786 w 6785952"/>
              <a:gd name="connsiteY16552" fmla="*/ 672799 h 5217112"/>
              <a:gd name="connsiteX16553" fmla="*/ 5906807 w 6785952"/>
              <a:gd name="connsiteY16553" fmla="*/ 672254 h 5217112"/>
              <a:gd name="connsiteX16554" fmla="*/ 5912026 w 6785952"/>
              <a:gd name="connsiteY16554" fmla="*/ 673453 h 5217112"/>
              <a:gd name="connsiteX16555" fmla="*/ 5910653 w 6785952"/>
              <a:gd name="connsiteY16555" fmla="*/ 673235 h 5217112"/>
              <a:gd name="connsiteX16556" fmla="*/ 5912026 w 6785952"/>
              <a:gd name="connsiteY16556" fmla="*/ 674870 h 5217112"/>
              <a:gd name="connsiteX16557" fmla="*/ 5907631 w 6785952"/>
              <a:gd name="connsiteY16557" fmla="*/ 675414 h 5217112"/>
              <a:gd name="connsiteX16558" fmla="*/ 5909555 w 6785952"/>
              <a:gd name="connsiteY16558" fmla="*/ 676722 h 5217112"/>
              <a:gd name="connsiteX16559" fmla="*/ 5942518 w 6785952"/>
              <a:gd name="connsiteY16559" fmla="*/ 694594 h 5217112"/>
              <a:gd name="connsiteX16560" fmla="*/ 5916697 w 6785952"/>
              <a:gd name="connsiteY16560" fmla="*/ 671273 h 5217112"/>
              <a:gd name="connsiteX16561" fmla="*/ 2268199 w 6785952"/>
              <a:gd name="connsiteY16561" fmla="*/ 664844 h 5217112"/>
              <a:gd name="connsiteX16562" fmla="*/ 2273418 w 6785952"/>
              <a:gd name="connsiteY16562" fmla="*/ 666043 h 5217112"/>
              <a:gd name="connsiteX16563" fmla="*/ 2272045 w 6785952"/>
              <a:gd name="connsiteY16563" fmla="*/ 665934 h 5217112"/>
              <a:gd name="connsiteX16564" fmla="*/ 2273418 w 6785952"/>
              <a:gd name="connsiteY16564" fmla="*/ 667459 h 5217112"/>
              <a:gd name="connsiteX16565" fmla="*/ 2267375 w 6785952"/>
              <a:gd name="connsiteY16565" fmla="*/ 668985 h 5217112"/>
              <a:gd name="connsiteX16566" fmla="*/ 2261057 w 6785952"/>
              <a:gd name="connsiteY16566" fmla="*/ 668985 h 5217112"/>
              <a:gd name="connsiteX16567" fmla="*/ 2253366 w 6785952"/>
              <a:gd name="connsiteY16567" fmla="*/ 667896 h 5217112"/>
              <a:gd name="connsiteX16568" fmla="*/ 2253366 w 6785952"/>
              <a:gd name="connsiteY16568" fmla="*/ 666478 h 5217112"/>
              <a:gd name="connsiteX16569" fmla="*/ 2268199 w 6785952"/>
              <a:gd name="connsiteY16569" fmla="*/ 664844 h 5217112"/>
              <a:gd name="connsiteX16570" fmla="*/ 1162827 w 6785952"/>
              <a:gd name="connsiteY16570" fmla="*/ 664408 h 5217112"/>
              <a:gd name="connsiteX16571" fmla="*/ 1166673 w 6785952"/>
              <a:gd name="connsiteY16571" fmla="*/ 671056 h 5217112"/>
              <a:gd name="connsiteX16572" fmla="*/ 1168047 w 6785952"/>
              <a:gd name="connsiteY16572" fmla="*/ 671273 h 5217112"/>
              <a:gd name="connsiteX16573" fmla="*/ 1171068 w 6785952"/>
              <a:gd name="connsiteY16573" fmla="*/ 668767 h 5217112"/>
              <a:gd name="connsiteX16574" fmla="*/ 1185078 w 6785952"/>
              <a:gd name="connsiteY16574" fmla="*/ 671056 h 5217112"/>
              <a:gd name="connsiteX16575" fmla="*/ 1188374 w 6785952"/>
              <a:gd name="connsiteY16575" fmla="*/ 687947 h 5217112"/>
              <a:gd name="connsiteX16576" fmla="*/ 1183705 w 6785952"/>
              <a:gd name="connsiteY16576" fmla="*/ 694594 h 5217112"/>
              <a:gd name="connsiteX16577" fmla="*/ 1176561 w 6785952"/>
              <a:gd name="connsiteY16577" fmla="*/ 695030 h 5217112"/>
              <a:gd name="connsiteX16578" fmla="*/ 1166673 w 6785952"/>
              <a:gd name="connsiteY16578" fmla="*/ 690453 h 5217112"/>
              <a:gd name="connsiteX16579" fmla="*/ 1165025 w 6785952"/>
              <a:gd name="connsiteY16579" fmla="*/ 673671 h 5217112"/>
              <a:gd name="connsiteX16580" fmla="*/ 1162278 w 6785952"/>
              <a:gd name="connsiteY16580" fmla="*/ 671818 h 5217112"/>
              <a:gd name="connsiteX16581" fmla="*/ 1159805 w 6785952"/>
              <a:gd name="connsiteY16581" fmla="*/ 665498 h 5217112"/>
              <a:gd name="connsiteX16582" fmla="*/ 1162827 w 6785952"/>
              <a:gd name="connsiteY16582" fmla="*/ 664408 h 5217112"/>
              <a:gd name="connsiteX16583" fmla="*/ 3683702 w 6785952"/>
              <a:gd name="connsiteY16583" fmla="*/ 663645 h 5217112"/>
              <a:gd name="connsiteX16584" fmla="*/ 3669967 w 6785952"/>
              <a:gd name="connsiteY16584" fmla="*/ 665607 h 5217112"/>
              <a:gd name="connsiteX16585" fmla="*/ 3645245 w 6785952"/>
              <a:gd name="connsiteY16585" fmla="*/ 668767 h 5217112"/>
              <a:gd name="connsiteX16586" fmla="*/ 3612282 w 6785952"/>
              <a:gd name="connsiteY16586" fmla="*/ 669966 h 5217112"/>
              <a:gd name="connsiteX16587" fmla="*/ 3613105 w 6785952"/>
              <a:gd name="connsiteY16587" fmla="*/ 672036 h 5217112"/>
              <a:gd name="connsiteX16588" fmla="*/ 3678757 w 6785952"/>
              <a:gd name="connsiteY16588" fmla="*/ 678574 h 5217112"/>
              <a:gd name="connsiteX16589" fmla="*/ 3687547 w 6785952"/>
              <a:gd name="connsiteY16589" fmla="*/ 682716 h 5217112"/>
              <a:gd name="connsiteX16590" fmla="*/ 3688372 w 6785952"/>
              <a:gd name="connsiteY16590" fmla="*/ 680754 h 5217112"/>
              <a:gd name="connsiteX16591" fmla="*/ 3691393 w 6785952"/>
              <a:gd name="connsiteY16591" fmla="*/ 675523 h 5217112"/>
              <a:gd name="connsiteX16592" fmla="*/ 3695239 w 6785952"/>
              <a:gd name="connsiteY16592" fmla="*/ 676504 h 5217112"/>
              <a:gd name="connsiteX16593" fmla="*/ 3696338 w 6785952"/>
              <a:gd name="connsiteY16593" fmla="*/ 672472 h 5217112"/>
              <a:gd name="connsiteX16594" fmla="*/ 3701282 w 6785952"/>
              <a:gd name="connsiteY16594" fmla="*/ 665280 h 5217112"/>
              <a:gd name="connsiteX16595" fmla="*/ 3700733 w 6785952"/>
              <a:gd name="connsiteY16595" fmla="*/ 665062 h 5217112"/>
              <a:gd name="connsiteX16596" fmla="*/ 3683702 w 6785952"/>
              <a:gd name="connsiteY16596" fmla="*/ 663645 h 5217112"/>
              <a:gd name="connsiteX16597" fmla="*/ 2244575 w 6785952"/>
              <a:gd name="connsiteY16597" fmla="*/ 662446 h 5217112"/>
              <a:gd name="connsiteX16598" fmla="*/ 2246223 w 6785952"/>
              <a:gd name="connsiteY16598" fmla="*/ 664081 h 5217112"/>
              <a:gd name="connsiteX16599" fmla="*/ 2240729 w 6785952"/>
              <a:gd name="connsiteY16599" fmla="*/ 667242 h 5217112"/>
              <a:gd name="connsiteX16600" fmla="*/ 2238807 w 6785952"/>
              <a:gd name="connsiteY16600" fmla="*/ 666152 h 5217112"/>
              <a:gd name="connsiteX16601" fmla="*/ 2244575 w 6785952"/>
              <a:gd name="connsiteY16601" fmla="*/ 662446 h 5217112"/>
              <a:gd name="connsiteX16602" fmla="*/ 3227709 w 6785952"/>
              <a:gd name="connsiteY16602" fmla="*/ 662120 h 5217112"/>
              <a:gd name="connsiteX16603" fmla="*/ 3230730 w 6785952"/>
              <a:gd name="connsiteY16603" fmla="*/ 662446 h 5217112"/>
              <a:gd name="connsiteX16604" fmla="*/ 3227434 w 6785952"/>
              <a:gd name="connsiteY16604" fmla="*/ 671165 h 5217112"/>
              <a:gd name="connsiteX16605" fmla="*/ 3223313 w 6785952"/>
              <a:gd name="connsiteY16605" fmla="*/ 672254 h 5217112"/>
              <a:gd name="connsiteX16606" fmla="*/ 3223588 w 6785952"/>
              <a:gd name="connsiteY16606" fmla="*/ 667677 h 5217112"/>
              <a:gd name="connsiteX16607" fmla="*/ 3226335 w 6785952"/>
              <a:gd name="connsiteY16607" fmla="*/ 666478 h 5217112"/>
              <a:gd name="connsiteX16608" fmla="*/ 3227709 w 6785952"/>
              <a:gd name="connsiteY16608" fmla="*/ 662120 h 5217112"/>
              <a:gd name="connsiteX16609" fmla="*/ 2732708 w 6785952"/>
              <a:gd name="connsiteY16609" fmla="*/ 661684 h 5217112"/>
              <a:gd name="connsiteX16610" fmla="*/ 2742322 w 6785952"/>
              <a:gd name="connsiteY16610" fmla="*/ 669312 h 5217112"/>
              <a:gd name="connsiteX16611" fmla="*/ 2732983 w 6785952"/>
              <a:gd name="connsiteY16611" fmla="*/ 671056 h 5217112"/>
              <a:gd name="connsiteX16612" fmla="*/ 2732708 w 6785952"/>
              <a:gd name="connsiteY16612" fmla="*/ 661684 h 5217112"/>
              <a:gd name="connsiteX16613" fmla="*/ 2700294 w 6785952"/>
              <a:gd name="connsiteY16613" fmla="*/ 661248 h 5217112"/>
              <a:gd name="connsiteX16614" fmla="*/ 2690954 w 6785952"/>
              <a:gd name="connsiteY16614" fmla="*/ 672690 h 5217112"/>
              <a:gd name="connsiteX16615" fmla="*/ 2689856 w 6785952"/>
              <a:gd name="connsiteY16615" fmla="*/ 673017 h 5217112"/>
              <a:gd name="connsiteX16616" fmla="*/ 2692053 w 6785952"/>
              <a:gd name="connsiteY16616" fmla="*/ 673889 h 5217112"/>
              <a:gd name="connsiteX16617" fmla="*/ 2692878 w 6785952"/>
              <a:gd name="connsiteY16617" fmla="*/ 680972 h 5217112"/>
              <a:gd name="connsiteX16618" fmla="*/ 2696448 w 6785952"/>
              <a:gd name="connsiteY16618" fmla="*/ 686420 h 5217112"/>
              <a:gd name="connsiteX16619" fmla="*/ 2693427 w 6785952"/>
              <a:gd name="connsiteY16619" fmla="*/ 688055 h 5217112"/>
              <a:gd name="connsiteX16620" fmla="*/ 2692328 w 6785952"/>
              <a:gd name="connsiteY16620" fmla="*/ 692632 h 5217112"/>
              <a:gd name="connsiteX16621" fmla="*/ 2683538 w 6785952"/>
              <a:gd name="connsiteY16621" fmla="*/ 694049 h 5217112"/>
              <a:gd name="connsiteX16622" fmla="*/ 2677220 w 6785952"/>
              <a:gd name="connsiteY16622" fmla="*/ 694049 h 5217112"/>
              <a:gd name="connsiteX16623" fmla="*/ 2669803 w 6785952"/>
              <a:gd name="connsiteY16623" fmla="*/ 690888 h 5217112"/>
              <a:gd name="connsiteX16624" fmla="*/ 2667056 w 6785952"/>
              <a:gd name="connsiteY16624" fmla="*/ 684895 h 5217112"/>
              <a:gd name="connsiteX16625" fmla="*/ 2670902 w 6785952"/>
              <a:gd name="connsiteY16625" fmla="*/ 678793 h 5217112"/>
              <a:gd name="connsiteX16626" fmla="*/ 2676671 w 6785952"/>
              <a:gd name="connsiteY16626" fmla="*/ 672690 h 5217112"/>
              <a:gd name="connsiteX16627" fmla="*/ 2680791 w 6785952"/>
              <a:gd name="connsiteY16627" fmla="*/ 672145 h 5217112"/>
              <a:gd name="connsiteX16628" fmla="*/ 2678593 w 6785952"/>
              <a:gd name="connsiteY16628" fmla="*/ 671273 h 5217112"/>
              <a:gd name="connsiteX16629" fmla="*/ 2678868 w 6785952"/>
              <a:gd name="connsiteY16629" fmla="*/ 665171 h 5217112"/>
              <a:gd name="connsiteX16630" fmla="*/ 2700294 w 6785952"/>
              <a:gd name="connsiteY16630" fmla="*/ 661248 h 5217112"/>
              <a:gd name="connsiteX16631" fmla="*/ 2104481 w 6785952"/>
              <a:gd name="connsiteY16631" fmla="*/ 660050 h 5217112"/>
              <a:gd name="connsiteX16632" fmla="*/ 2097614 w 6785952"/>
              <a:gd name="connsiteY16632" fmla="*/ 670075 h 5217112"/>
              <a:gd name="connsiteX16633" fmla="*/ 2104481 w 6785952"/>
              <a:gd name="connsiteY16633" fmla="*/ 660050 h 5217112"/>
              <a:gd name="connsiteX16634" fmla="*/ 4899227 w 6785952"/>
              <a:gd name="connsiteY16634" fmla="*/ 659177 h 5217112"/>
              <a:gd name="connsiteX16635" fmla="*/ 4896205 w 6785952"/>
              <a:gd name="connsiteY16635" fmla="*/ 662991 h 5217112"/>
              <a:gd name="connsiteX16636" fmla="*/ 4873955 w 6785952"/>
              <a:gd name="connsiteY16636" fmla="*/ 679447 h 5217112"/>
              <a:gd name="connsiteX16637" fmla="*/ 4858297 w 6785952"/>
              <a:gd name="connsiteY16637" fmla="*/ 691870 h 5217112"/>
              <a:gd name="connsiteX16638" fmla="*/ 4858846 w 6785952"/>
              <a:gd name="connsiteY16638" fmla="*/ 694702 h 5217112"/>
              <a:gd name="connsiteX16639" fmla="*/ 4865164 w 6785952"/>
              <a:gd name="connsiteY16639" fmla="*/ 698408 h 5217112"/>
              <a:gd name="connsiteX16640" fmla="*/ 4866264 w 6785952"/>
              <a:gd name="connsiteY16640" fmla="*/ 700369 h 5217112"/>
              <a:gd name="connsiteX16641" fmla="*/ 4872856 w 6785952"/>
              <a:gd name="connsiteY16641" fmla="*/ 696119 h 5217112"/>
              <a:gd name="connsiteX16642" fmla="*/ 4902797 w 6785952"/>
              <a:gd name="connsiteY16642" fmla="*/ 675305 h 5217112"/>
              <a:gd name="connsiteX16643" fmla="*/ 4903347 w 6785952"/>
              <a:gd name="connsiteY16643" fmla="*/ 674434 h 5217112"/>
              <a:gd name="connsiteX16644" fmla="*/ 4902797 w 6785952"/>
              <a:gd name="connsiteY16644" fmla="*/ 672036 h 5217112"/>
              <a:gd name="connsiteX16645" fmla="*/ 4899502 w 6785952"/>
              <a:gd name="connsiteY16645" fmla="*/ 674216 h 5217112"/>
              <a:gd name="connsiteX16646" fmla="*/ 4890711 w 6785952"/>
              <a:gd name="connsiteY16646" fmla="*/ 677485 h 5217112"/>
              <a:gd name="connsiteX16647" fmla="*/ 4894557 w 6785952"/>
              <a:gd name="connsiteY16647" fmla="*/ 669312 h 5217112"/>
              <a:gd name="connsiteX16648" fmla="*/ 4900600 w 6785952"/>
              <a:gd name="connsiteY16648" fmla="*/ 663864 h 5217112"/>
              <a:gd name="connsiteX16649" fmla="*/ 1538060 w 6785952"/>
              <a:gd name="connsiteY16649" fmla="*/ 658632 h 5217112"/>
              <a:gd name="connsiteX16650" fmla="*/ 1546576 w 6785952"/>
              <a:gd name="connsiteY16650" fmla="*/ 664844 h 5217112"/>
              <a:gd name="connsiteX16651" fmla="*/ 1542730 w 6785952"/>
              <a:gd name="connsiteY16651" fmla="*/ 668985 h 5217112"/>
              <a:gd name="connsiteX16652" fmla="*/ 1550147 w 6785952"/>
              <a:gd name="connsiteY16652" fmla="*/ 674434 h 5217112"/>
              <a:gd name="connsiteX16653" fmla="*/ 1553718 w 6785952"/>
              <a:gd name="connsiteY16653" fmla="*/ 682497 h 5217112"/>
              <a:gd name="connsiteX16654" fmla="*/ 1550147 w 6785952"/>
              <a:gd name="connsiteY16654" fmla="*/ 692415 h 5217112"/>
              <a:gd name="connsiteX16655" fmla="*/ 1545203 w 6785952"/>
              <a:gd name="connsiteY16655" fmla="*/ 694157 h 5217112"/>
              <a:gd name="connsiteX16656" fmla="*/ 1547126 w 6785952"/>
              <a:gd name="connsiteY16656" fmla="*/ 695684 h 5217112"/>
              <a:gd name="connsiteX16657" fmla="*/ 1550696 w 6785952"/>
              <a:gd name="connsiteY16657" fmla="*/ 699715 h 5217112"/>
              <a:gd name="connsiteX16658" fmla="*/ 1546026 w 6785952"/>
              <a:gd name="connsiteY16658" fmla="*/ 703747 h 5217112"/>
              <a:gd name="connsiteX16659" fmla="*/ 1542181 w 6785952"/>
              <a:gd name="connsiteY16659" fmla="*/ 703965 h 5217112"/>
              <a:gd name="connsiteX16660" fmla="*/ 1542730 w 6785952"/>
              <a:gd name="connsiteY16660" fmla="*/ 706036 h 5217112"/>
              <a:gd name="connsiteX16661" fmla="*/ 1528720 w 6785952"/>
              <a:gd name="connsiteY16661" fmla="*/ 716389 h 5217112"/>
              <a:gd name="connsiteX16662" fmla="*/ 1525150 w 6785952"/>
              <a:gd name="connsiteY16662" fmla="*/ 709523 h 5217112"/>
              <a:gd name="connsiteX16663" fmla="*/ 1523502 w 6785952"/>
              <a:gd name="connsiteY16663" fmla="*/ 704075 h 5217112"/>
              <a:gd name="connsiteX16664" fmla="*/ 1532017 w 6785952"/>
              <a:gd name="connsiteY16664" fmla="*/ 695901 h 5217112"/>
              <a:gd name="connsiteX16665" fmla="*/ 1532567 w 6785952"/>
              <a:gd name="connsiteY16665" fmla="*/ 695901 h 5217112"/>
              <a:gd name="connsiteX16666" fmla="*/ 1532567 w 6785952"/>
              <a:gd name="connsiteY16666" fmla="*/ 695575 h 5217112"/>
              <a:gd name="connsiteX16667" fmla="*/ 1534489 w 6785952"/>
              <a:gd name="connsiteY16667" fmla="*/ 693395 h 5217112"/>
              <a:gd name="connsiteX16668" fmla="*/ 1531742 w 6785952"/>
              <a:gd name="connsiteY16668" fmla="*/ 692415 h 5217112"/>
              <a:gd name="connsiteX16669" fmla="*/ 1525699 w 6785952"/>
              <a:gd name="connsiteY16669" fmla="*/ 677921 h 5217112"/>
              <a:gd name="connsiteX16670" fmla="*/ 1525699 w 6785952"/>
              <a:gd name="connsiteY16670" fmla="*/ 679337 h 5217112"/>
              <a:gd name="connsiteX16671" fmla="*/ 1504823 w 6785952"/>
              <a:gd name="connsiteY16671" fmla="*/ 690888 h 5217112"/>
              <a:gd name="connsiteX16672" fmla="*/ 1506471 w 6785952"/>
              <a:gd name="connsiteY16672" fmla="*/ 686639 h 5217112"/>
              <a:gd name="connsiteX16673" fmla="*/ 1508119 w 6785952"/>
              <a:gd name="connsiteY16673" fmla="*/ 685440 h 5217112"/>
              <a:gd name="connsiteX16674" fmla="*/ 1508119 w 6785952"/>
              <a:gd name="connsiteY16674" fmla="*/ 683915 h 5217112"/>
              <a:gd name="connsiteX16675" fmla="*/ 1509493 w 6785952"/>
              <a:gd name="connsiteY16675" fmla="*/ 684132 h 5217112"/>
              <a:gd name="connsiteX16676" fmla="*/ 1512514 w 6785952"/>
              <a:gd name="connsiteY16676" fmla="*/ 681735 h 5217112"/>
              <a:gd name="connsiteX16677" fmla="*/ 1517458 w 6785952"/>
              <a:gd name="connsiteY16677" fmla="*/ 673562 h 5217112"/>
              <a:gd name="connsiteX16678" fmla="*/ 1526249 w 6785952"/>
              <a:gd name="connsiteY16678" fmla="*/ 669094 h 5217112"/>
              <a:gd name="connsiteX16679" fmla="*/ 1528720 w 6785952"/>
              <a:gd name="connsiteY16679" fmla="*/ 672472 h 5217112"/>
              <a:gd name="connsiteX16680" fmla="*/ 1531742 w 6785952"/>
              <a:gd name="connsiteY16680" fmla="*/ 670075 h 5217112"/>
              <a:gd name="connsiteX16681" fmla="*/ 1535588 w 6785952"/>
              <a:gd name="connsiteY16681" fmla="*/ 667133 h 5217112"/>
              <a:gd name="connsiteX16682" fmla="*/ 1535588 w 6785952"/>
              <a:gd name="connsiteY16682" fmla="*/ 663645 h 5217112"/>
              <a:gd name="connsiteX16683" fmla="*/ 1538060 w 6785952"/>
              <a:gd name="connsiteY16683" fmla="*/ 658632 h 5217112"/>
              <a:gd name="connsiteX16684" fmla="*/ 1885275 w 6785952"/>
              <a:gd name="connsiteY16684" fmla="*/ 658088 h 5217112"/>
              <a:gd name="connsiteX16685" fmla="*/ 1868244 w 6785952"/>
              <a:gd name="connsiteY16685" fmla="*/ 674106 h 5217112"/>
              <a:gd name="connsiteX16686" fmla="*/ 1871265 w 6785952"/>
              <a:gd name="connsiteY16686" fmla="*/ 660594 h 5217112"/>
              <a:gd name="connsiteX16687" fmla="*/ 1885275 w 6785952"/>
              <a:gd name="connsiteY16687" fmla="*/ 658088 h 5217112"/>
              <a:gd name="connsiteX16688" fmla="*/ 2929390 w 6785952"/>
              <a:gd name="connsiteY16688" fmla="*/ 657761 h 5217112"/>
              <a:gd name="connsiteX16689" fmla="*/ 2938730 w 6785952"/>
              <a:gd name="connsiteY16689" fmla="*/ 664408 h 5217112"/>
              <a:gd name="connsiteX16690" fmla="*/ 2934884 w 6785952"/>
              <a:gd name="connsiteY16690" fmla="*/ 668876 h 5217112"/>
              <a:gd name="connsiteX16691" fmla="*/ 2928016 w 6785952"/>
              <a:gd name="connsiteY16691" fmla="*/ 667242 h 5217112"/>
              <a:gd name="connsiteX16692" fmla="*/ 2929390 w 6785952"/>
              <a:gd name="connsiteY16692" fmla="*/ 657761 h 5217112"/>
              <a:gd name="connsiteX16693" fmla="*/ 1806986 w 6785952"/>
              <a:gd name="connsiteY16693" fmla="*/ 657216 h 5217112"/>
              <a:gd name="connsiteX16694" fmla="*/ 1811381 w 6785952"/>
              <a:gd name="connsiteY16694" fmla="*/ 668767 h 5217112"/>
              <a:gd name="connsiteX16695" fmla="*/ 1804515 w 6785952"/>
              <a:gd name="connsiteY16695" fmla="*/ 661575 h 5217112"/>
              <a:gd name="connsiteX16696" fmla="*/ 1806986 w 6785952"/>
              <a:gd name="connsiteY16696" fmla="*/ 657216 h 5217112"/>
              <a:gd name="connsiteX16697" fmla="*/ 6206224 w 6785952"/>
              <a:gd name="connsiteY16697" fmla="*/ 656017 h 5217112"/>
              <a:gd name="connsiteX16698" fmla="*/ 6204851 w 6785952"/>
              <a:gd name="connsiteY16698" fmla="*/ 660158 h 5217112"/>
              <a:gd name="connsiteX16699" fmla="*/ 6206224 w 6785952"/>
              <a:gd name="connsiteY16699" fmla="*/ 656017 h 5217112"/>
              <a:gd name="connsiteX16700" fmla="*/ 2127006 w 6785952"/>
              <a:gd name="connsiteY16700" fmla="*/ 655799 h 5217112"/>
              <a:gd name="connsiteX16701" fmla="*/ 2131126 w 6785952"/>
              <a:gd name="connsiteY16701" fmla="*/ 669312 h 5217112"/>
              <a:gd name="connsiteX16702" fmla="*/ 2126182 w 6785952"/>
              <a:gd name="connsiteY16702" fmla="*/ 671382 h 5217112"/>
              <a:gd name="connsiteX16703" fmla="*/ 2129478 w 6785952"/>
              <a:gd name="connsiteY16703" fmla="*/ 677921 h 5217112"/>
              <a:gd name="connsiteX16704" fmla="*/ 2123710 w 6785952"/>
              <a:gd name="connsiteY16704" fmla="*/ 678357 h 5217112"/>
              <a:gd name="connsiteX16705" fmla="*/ 2116018 w 6785952"/>
              <a:gd name="connsiteY16705" fmla="*/ 674325 h 5217112"/>
              <a:gd name="connsiteX16706" fmla="*/ 2107778 w 6785952"/>
              <a:gd name="connsiteY16706" fmla="*/ 674325 h 5217112"/>
              <a:gd name="connsiteX16707" fmla="*/ 2104755 w 6785952"/>
              <a:gd name="connsiteY16707" fmla="*/ 665389 h 5217112"/>
              <a:gd name="connsiteX16708" fmla="*/ 2106954 w 6785952"/>
              <a:gd name="connsiteY16708" fmla="*/ 663428 h 5217112"/>
              <a:gd name="connsiteX16709" fmla="*/ 2107778 w 6785952"/>
              <a:gd name="connsiteY16709" fmla="*/ 656017 h 5217112"/>
              <a:gd name="connsiteX16710" fmla="*/ 2113546 w 6785952"/>
              <a:gd name="connsiteY16710" fmla="*/ 659505 h 5217112"/>
              <a:gd name="connsiteX16711" fmla="*/ 1418568 w 6785952"/>
              <a:gd name="connsiteY16711" fmla="*/ 654709 h 5217112"/>
              <a:gd name="connsiteX16712" fmla="*/ 1408954 w 6785952"/>
              <a:gd name="connsiteY16712" fmla="*/ 673453 h 5217112"/>
              <a:gd name="connsiteX16713" fmla="*/ 1408954 w 6785952"/>
              <a:gd name="connsiteY16713" fmla="*/ 669094 h 5217112"/>
              <a:gd name="connsiteX16714" fmla="*/ 1418568 w 6785952"/>
              <a:gd name="connsiteY16714" fmla="*/ 654709 h 5217112"/>
              <a:gd name="connsiteX16715" fmla="*/ 2911260 w 6785952"/>
              <a:gd name="connsiteY16715" fmla="*/ 653620 h 5217112"/>
              <a:gd name="connsiteX16716" fmla="*/ 2909062 w 6785952"/>
              <a:gd name="connsiteY16716" fmla="*/ 664518 h 5217112"/>
              <a:gd name="connsiteX16717" fmla="*/ 2907963 w 6785952"/>
              <a:gd name="connsiteY16717" fmla="*/ 662665 h 5217112"/>
              <a:gd name="connsiteX16718" fmla="*/ 2908787 w 6785952"/>
              <a:gd name="connsiteY16718" fmla="*/ 659722 h 5217112"/>
              <a:gd name="connsiteX16719" fmla="*/ 2911260 w 6785952"/>
              <a:gd name="connsiteY16719" fmla="*/ 653620 h 5217112"/>
              <a:gd name="connsiteX16720" fmla="*/ 4346815 w 6785952"/>
              <a:gd name="connsiteY16720" fmla="*/ 653184 h 5217112"/>
              <a:gd name="connsiteX16721" fmla="*/ 4358627 w 6785952"/>
              <a:gd name="connsiteY16721" fmla="*/ 667568 h 5217112"/>
              <a:gd name="connsiteX16722" fmla="*/ 4352309 w 6785952"/>
              <a:gd name="connsiteY16722" fmla="*/ 670837 h 5217112"/>
              <a:gd name="connsiteX16723" fmla="*/ 4344343 w 6785952"/>
              <a:gd name="connsiteY16723" fmla="*/ 670293 h 5217112"/>
              <a:gd name="connsiteX16724" fmla="*/ 4346815 w 6785952"/>
              <a:gd name="connsiteY16724" fmla="*/ 653184 h 5217112"/>
              <a:gd name="connsiteX16725" fmla="*/ 1952025 w 6785952"/>
              <a:gd name="connsiteY16725" fmla="*/ 652966 h 5217112"/>
              <a:gd name="connsiteX16726" fmla="*/ 1955871 w 6785952"/>
              <a:gd name="connsiteY16726" fmla="*/ 670837 h 5217112"/>
              <a:gd name="connsiteX16727" fmla="*/ 1952025 w 6785952"/>
              <a:gd name="connsiteY16727" fmla="*/ 652966 h 5217112"/>
              <a:gd name="connsiteX16728" fmla="*/ 3891646 w 6785952"/>
              <a:gd name="connsiteY16728" fmla="*/ 651876 h 5217112"/>
              <a:gd name="connsiteX16729" fmla="*/ 3891371 w 6785952"/>
              <a:gd name="connsiteY16729" fmla="*/ 679991 h 5217112"/>
              <a:gd name="connsiteX16730" fmla="*/ 3891646 w 6785952"/>
              <a:gd name="connsiteY16730" fmla="*/ 651876 h 5217112"/>
              <a:gd name="connsiteX16731" fmla="*/ 3503777 w 6785952"/>
              <a:gd name="connsiteY16731" fmla="*/ 651659 h 5217112"/>
              <a:gd name="connsiteX16732" fmla="*/ 3503777 w 6785952"/>
              <a:gd name="connsiteY16732" fmla="*/ 653293 h 5217112"/>
              <a:gd name="connsiteX16733" fmla="*/ 3503228 w 6785952"/>
              <a:gd name="connsiteY16733" fmla="*/ 653620 h 5217112"/>
              <a:gd name="connsiteX16734" fmla="*/ 3501579 w 6785952"/>
              <a:gd name="connsiteY16734" fmla="*/ 652639 h 5217112"/>
              <a:gd name="connsiteX16735" fmla="*/ 2828302 w 6785952"/>
              <a:gd name="connsiteY16735" fmla="*/ 650569 h 5217112"/>
              <a:gd name="connsiteX16736" fmla="*/ 2829676 w 6785952"/>
              <a:gd name="connsiteY16736" fmla="*/ 658088 h 5217112"/>
              <a:gd name="connsiteX16737" fmla="*/ 2825006 w 6785952"/>
              <a:gd name="connsiteY16737" fmla="*/ 658742 h 5217112"/>
              <a:gd name="connsiteX16738" fmla="*/ 2824182 w 6785952"/>
              <a:gd name="connsiteY16738" fmla="*/ 652530 h 5217112"/>
              <a:gd name="connsiteX16739" fmla="*/ 2828302 w 6785952"/>
              <a:gd name="connsiteY16739" fmla="*/ 650569 h 5217112"/>
              <a:gd name="connsiteX16740" fmla="*/ 3027730 w 6785952"/>
              <a:gd name="connsiteY16740" fmla="*/ 650024 h 5217112"/>
              <a:gd name="connsiteX16741" fmla="*/ 3031576 w 6785952"/>
              <a:gd name="connsiteY16741" fmla="*/ 655908 h 5217112"/>
              <a:gd name="connsiteX16742" fmla="*/ 3025259 w 6785952"/>
              <a:gd name="connsiteY16742" fmla="*/ 659613 h 5217112"/>
              <a:gd name="connsiteX16743" fmla="*/ 3021138 w 6785952"/>
              <a:gd name="connsiteY16743" fmla="*/ 650569 h 5217112"/>
              <a:gd name="connsiteX16744" fmla="*/ 3027730 w 6785952"/>
              <a:gd name="connsiteY16744" fmla="*/ 650024 h 5217112"/>
              <a:gd name="connsiteX16745" fmla="*/ 2474770 w 6785952"/>
              <a:gd name="connsiteY16745" fmla="*/ 649697 h 5217112"/>
              <a:gd name="connsiteX16746" fmla="*/ 2476968 w 6785952"/>
              <a:gd name="connsiteY16746" fmla="*/ 658960 h 5217112"/>
              <a:gd name="connsiteX16747" fmla="*/ 2471199 w 6785952"/>
              <a:gd name="connsiteY16747" fmla="*/ 661030 h 5217112"/>
              <a:gd name="connsiteX16748" fmla="*/ 2469001 w 6785952"/>
              <a:gd name="connsiteY16748" fmla="*/ 651767 h 5217112"/>
              <a:gd name="connsiteX16749" fmla="*/ 2474770 w 6785952"/>
              <a:gd name="connsiteY16749" fmla="*/ 649697 h 5217112"/>
              <a:gd name="connsiteX16750" fmla="*/ 4148485 w 6785952"/>
              <a:gd name="connsiteY16750" fmla="*/ 649152 h 5217112"/>
              <a:gd name="connsiteX16751" fmla="*/ 4167165 w 6785952"/>
              <a:gd name="connsiteY16751" fmla="*/ 670511 h 5217112"/>
              <a:gd name="connsiteX16752" fmla="*/ 4161122 w 6785952"/>
              <a:gd name="connsiteY16752" fmla="*/ 671165 h 5217112"/>
              <a:gd name="connsiteX16753" fmla="*/ 4157001 w 6785952"/>
              <a:gd name="connsiteY16753" fmla="*/ 669421 h 5217112"/>
              <a:gd name="connsiteX16754" fmla="*/ 4155903 w 6785952"/>
              <a:gd name="connsiteY16754" fmla="*/ 670511 h 5217112"/>
              <a:gd name="connsiteX16755" fmla="*/ 4149859 w 6785952"/>
              <a:gd name="connsiteY16755" fmla="*/ 663100 h 5217112"/>
              <a:gd name="connsiteX16756" fmla="*/ 4145739 w 6785952"/>
              <a:gd name="connsiteY16756" fmla="*/ 658960 h 5217112"/>
              <a:gd name="connsiteX16757" fmla="*/ 4148485 w 6785952"/>
              <a:gd name="connsiteY16757" fmla="*/ 649152 h 5217112"/>
              <a:gd name="connsiteX16758" fmla="*/ 3743860 w 6785952"/>
              <a:gd name="connsiteY16758" fmla="*/ 649043 h 5217112"/>
              <a:gd name="connsiteX16759" fmla="*/ 3743586 w 6785952"/>
              <a:gd name="connsiteY16759" fmla="*/ 649370 h 5217112"/>
              <a:gd name="connsiteX16760" fmla="*/ 3744409 w 6785952"/>
              <a:gd name="connsiteY16760" fmla="*/ 649152 h 5217112"/>
              <a:gd name="connsiteX16761" fmla="*/ 1279023 w 6785952"/>
              <a:gd name="connsiteY16761" fmla="*/ 648280 h 5217112"/>
              <a:gd name="connsiteX16762" fmla="*/ 1268310 w 6785952"/>
              <a:gd name="connsiteY16762" fmla="*/ 663319 h 5217112"/>
              <a:gd name="connsiteX16763" fmla="*/ 1251828 w 6785952"/>
              <a:gd name="connsiteY16763" fmla="*/ 670075 h 5217112"/>
              <a:gd name="connsiteX16764" fmla="*/ 1279023 w 6785952"/>
              <a:gd name="connsiteY16764" fmla="*/ 648280 h 5217112"/>
              <a:gd name="connsiteX16765" fmla="*/ 3060144 w 6785952"/>
              <a:gd name="connsiteY16765" fmla="*/ 648062 h 5217112"/>
              <a:gd name="connsiteX16766" fmla="*/ 3073055 w 6785952"/>
              <a:gd name="connsiteY16766" fmla="*/ 648825 h 5217112"/>
              <a:gd name="connsiteX16767" fmla="*/ 3074704 w 6785952"/>
              <a:gd name="connsiteY16767" fmla="*/ 685113 h 5217112"/>
              <a:gd name="connsiteX16768" fmla="*/ 3042564 w 6785952"/>
              <a:gd name="connsiteY16768" fmla="*/ 678466 h 5217112"/>
              <a:gd name="connsiteX16769" fmla="*/ 3060144 w 6785952"/>
              <a:gd name="connsiteY16769" fmla="*/ 648062 h 5217112"/>
              <a:gd name="connsiteX16770" fmla="*/ 4378406 w 6785952"/>
              <a:gd name="connsiteY16770" fmla="*/ 647082 h 5217112"/>
              <a:gd name="connsiteX16771" fmla="*/ 4365494 w 6785952"/>
              <a:gd name="connsiteY16771" fmla="*/ 658415 h 5217112"/>
              <a:gd name="connsiteX16772" fmla="*/ 4378406 w 6785952"/>
              <a:gd name="connsiteY16772" fmla="*/ 647082 h 5217112"/>
              <a:gd name="connsiteX16773" fmla="*/ 2276672 w 6785952"/>
              <a:gd name="connsiteY16773" fmla="*/ 646778 h 5217112"/>
              <a:gd name="connsiteX16774" fmla="*/ 2291274 w 6785952"/>
              <a:gd name="connsiteY16774" fmla="*/ 659068 h 5217112"/>
              <a:gd name="connsiteX16775" fmla="*/ 2283033 w 6785952"/>
              <a:gd name="connsiteY16775" fmla="*/ 668876 h 5217112"/>
              <a:gd name="connsiteX16776" fmla="*/ 2270946 w 6785952"/>
              <a:gd name="connsiteY16776" fmla="*/ 657869 h 5217112"/>
              <a:gd name="connsiteX16777" fmla="*/ 2270397 w 6785952"/>
              <a:gd name="connsiteY16777" fmla="*/ 656453 h 5217112"/>
              <a:gd name="connsiteX16778" fmla="*/ 2262156 w 6785952"/>
              <a:gd name="connsiteY16778" fmla="*/ 660485 h 5217112"/>
              <a:gd name="connsiteX16779" fmla="*/ 2250344 w 6785952"/>
              <a:gd name="connsiteY16779" fmla="*/ 660594 h 5217112"/>
              <a:gd name="connsiteX16780" fmla="*/ 2264354 w 6785952"/>
              <a:gd name="connsiteY16780" fmla="*/ 653184 h 5217112"/>
              <a:gd name="connsiteX16781" fmla="*/ 2269023 w 6785952"/>
              <a:gd name="connsiteY16781" fmla="*/ 652857 h 5217112"/>
              <a:gd name="connsiteX16782" fmla="*/ 2269023 w 6785952"/>
              <a:gd name="connsiteY16782" fmla="*/ 652530 h 5217112"/>
              <a:gd name="connsiteX16783" fmla="*/ 2276672 w 6785952"/>
              <a:gd name="connsiteY16783" fmla="*/ 646778 h 5217112"/>
              <a:gd name="connsiteX16784" fmla="*/ 907636 w 6785952"/>
              <a:gd name="connsiteY16784" fmla="*/ 645447 h 5217112"/>
              <a:gd name="connsiteX16785" fmla="*/ 918623 w 6785952"/>
              <a:gd name="connsiteY16785" fmla="*/ 648062 h 5217112"/>
              <a:gd name="connsiteX16786" fmla="*/ 910108 w 6785952"/>
              <a:gd name="connsiteY16786" fmla="*/ 655037 h 5217112"/>
              <a:gd name="connsiteX16787" fmla="*/ 907636 w 6785952"/>
              <a:gd name="connsiteY16787" fmla="*/ 645447 h 5217112"/>
              <a:gd name="connsiteX16788" fmla="*/ 4255617 w 6785952"/>
              <a:gd name="connsiteY16788" fmla="*/ 643431 h 5217112"/>
              <a:gd name="connsiteX16789" fmla="*/ 4261385 w 6785952"/>
              <a:gd name="connsiteY16789" fmla="*/ 647191 h 5217112"/>
              <a:gd name="connsiteX16790" fmla="*/ 4256166 w 6785952"/>
              <a:gd name="connsiteY16790" fmla="*/ 654928 h 5217112"/>
              <a:gd name="connsiteX16791" fmla="*/ 4249848 w 6785952"/>
              <a:gd name="connsiteY16791" fmla="*/ 647517 h 5217112"/>
              <a:gd name="connsiteX16792" fmla="*/ 4255617 w 6785952"/>
              <a:gd name="connsiteY16792" fmla="*/ 643431 h 5217112"/>
              <a:gd name="connsiteX16793" fmla="*/ 1920984 w 6785952"/>
              <a:gd name="connsiteY16793" fmla="*/ 643159 h 5217112"/>
              <a:gd name="connsiteX16794" fmla="*/ 1930874 w 6785952"/>
              <a:gd name="connsiteY16794" fmla="*/ 655037 h 5217112"/>
              <a:gd name="connsiteX16795" fmla="*/ 1917689 w 6785952"/>
              <a:gd name="connsiteY16795" fmla="*/ 661466 h 5217112"/>
              <a:gd name="connsiteX16796" fmla="*/ 1913568 w 6785952"/>
              <a:gd name="connsiteY16796" fmla="*/ 659505 h 5217112"/>
              <a:gd name="connsiteX16797" fmla="*/ 1920984 w 6785952"/>
              <a:gd name="connsiteY16797" fmla="*/ 643159 h 5217112"/>
              <a:gd name="connsiteX16798" fmla="*/ 3833685 w 6785952"/>
              <a:gd name="connsiteY16798" fmla="*/ 643049 h 5217112"/>
              <a:gd name="connsiteX16799" fmla="*/ 3836158 w 6785952"/>
              <a:gd name="connsiteY16799" fmla="*/ 646754 h 5217112"/>
              <a:gd name="connsiteX16800" fmla="*/ 3831762 w 6785952"/>
              <a:gd name="connsiteY16800" fmla="*/ 649261 h 5217112"/>
              <a:gd name="connsiteX16801" fmla="*/ 3828741 w 6785952"/>
              <a:gd name="connsiteY16801" fmla="*/ 647844 h 5217112"/>
              <a:gd name="connsiteX16802" fmla="*/ 3833685 w 6785952"/>
              <a:gd name="connsiteY16802" fmla="*/ 643049 h 5217112"/>
              <a:gd name="connsiteX16803" fmla="*/ 6002951 w 6785952"/>
              <a:gd name="connsiteY16803" fmla="*/ 642505 h 5217112"/>
              <a:gd name="connsiteX16804" fmla="*/ 6010092 w 6785952"/>
              <a:gd name="connsiteY16804" fmla="*/ 650351 h 5217112"/>
              <a:gd name="connsiteX16805" fmla="*/ 5993336 w 6785952"/>
              <a:gd name="connsiteY16805" fmla="*/ 658742 h 5217112"/>
              <a:gd name="connsiteX16806" fmla="*/ 5992238 w 6785952"/>
              <a:gd name="connsiteY16806" fmla="*/ 643049 h 5217112"/>
              <a:gd name="connsiteX16807" fmla="*/ 6002951 w 6785952"/>
              <a:gd name="connsiteY16807" fmla="*/ 642505 h 5217112"/>
              <a:gd name="connsiteX16808" fmla="*/ 3145300 w 6785952"/>
              <a:gd name="connsiteY16808" fmla="*/ 641960 h 5217112"/>
              <a:gd name="connsiteX16809" fmla="*/ 3147497 w 6785952"/>
              <a:gd name="connsiteY16809" fmla="*/ 653184 h 5217112"/>
              <a:gd name="connsiteX16810" fmla="*/ 3144202 w 6785952"/>
              <a:gd name="connsiteY16810" fmla="*/ 654165 h 5217112"/>
              <a:gd name="connsiteX16811" fmla="*/ 3137334 w 6785952"/>
              <a:gd name="connsiteY16811" fmla="*/ 646646 h 5217112"/>
              <a:gd name="connsiteX16812" fmla="*/ 3145300 w 6785952"/>
              <a:gd name="connsiteY16812" fmla="*/ 641960 h 5217112"/>
              <a:gd name="connsiteX16813" fmla="*/ 3862803 w 6785952"/>
              <a:gd name="connsiteY16813" fmla="*/ 641741 h 5217112"/>
              <a:gd name="connsiteX16814" fmla="*/ 3861979 w 6785952"/>
              <a:gd name="connsiteY16814" fmla="*/ 659613 h 5217112"/>
              <a:gd name="connsiteX16815" fmla="*/ 3855111 w 6785952"/>
              <a:gd name="connsiteY16815" fmla="*/ 666152 h 5217112"/>
              <a:gd name="connsiteX16816" fmla="*/ 3852365 w 6785952"/>
              <a:gd name="connsiteY16816" fmla="*/ 662882 h 5217112"/>
              <a:gd name="connsiteX16817" fmla="*/ 3853189 w 6785952"/>
              <a:gd name="connsiteY16817" fmla="*/ 652857 h 5217112"/>
              <a:gd name="connsiteX16818" fmla="*/ 3862803 w 6785952"/>
              <a:gd name="connsiteY16818" fmla="*/ 641741 h 5217112"/>
              <a:gd name="connsiteX16819" fmla="*/ 1437521 w 6785952"/>
              <a:gd name="connsiteY16819" fmla="*/ 637601 h 5217112"/>
              <a:gd name="connsiteX16820" fmla="*/ 1436973 w 6785952"/>
              <a:gd name="connsiteY16820" fmla="*/ 659722 h 5217112"/>
              <a:gd name="connsiteX16821" fmla="*/ 1435050 w 6785952"/>
              <a:gd name="connsiteY16821" fmla="*/ 656017 h 5217112"/>
              <a:gd name="connsiteX16822" fmla="*/ 1437521 w 6785952"/>
              <a:gd name="connsiteY16822" fmla="*/ 637601 h 5217112"/>
              <a:gd name="connsiteX16823" fmla="*/ 2364068 w 6785952"/>
              <a:gd name="connsiteY16823" fmla="*/ 635203 h 5217112"/>
              <a:gd name="connsiteX16824" fmla="*/ 2371484 w 6785952"/>
              <a:gd name="connsiteY16824" fmla="*/ 643049 h 5217112"/>
              <a:gd name="connsiteX16825" fmla="*/ 2364068 w 6785952"/>
              <a:gd name="connsiteY16825" fmla="*/ 649588 h 5217112"/>
              <a:gd name="connsiteX16826" fmla="*/ 2360771 w 6785952"/>
              <a:gd name="connsiteY16826" fmla="*/ 650132 h 5217112"/>
              <a:gd name="connsiteX16827" fmla="*/ 2360771 w 6785952"/>
              <a:gd name="connsiteY16827" fmla="*/ 650351 h 5217112"/>
              <a:gd name="connsiteX16828" fmla="*/ 2362145 w 6785952"/>
              <a:gd name="connsiteY16828" fmla="*/ 653729 h 5217112"/>
              <a:gd name="connsiteX16829" fmla="*/ 2364892 w 6785952"/>
              <a:gd name="connsiteY16829" fmla="*/ 677376 h 5217112"/>
              <a:gd name="connsiteX16830" fmla="*/ 2359947 w 6785952"/>
              <a:gd name="connsiteY16830" fmla="*/ 668985 h 5217112"/>
              <a:gd name="connsiteX16831" fmla="*/ 2351981 w 6785952"/>
              <a:gd name="connsiteY16831" fmla="*/ 647844 h 5217112"/>
              <a:gd name="connsiteX16832" fmla="*/ 2351981 w 6785952"/>
              <a:gd name="connsiteY16832" fmla="*/ 647299 h 5217112"/>
              <a:gd name="connsiteX16833" fmla="*/ 2353080 w 6785952"/>
              <a:gd name="connsiteY16833" fmla="*/ 644575 h 5217112"/>
              <a:gd name="connsiteX16834" fmla="*/ 2352805 w 6785952"/>
              <a:gd name="connsiteY16834" fmla="*/ 642831 h 5217112"/>
              <a:gd name="connsiteX16835" fmla="*/ 2353629 w 6785952"/>
              <a:gd name="connsiteY16835" fmla="*/ 635748 h 5217112"/>
              <a:gd name="connsiteX16836" fmla="*/ 2364068 w 6785952"/>
              <a:gd name="connsiteY16836" fmla="*/ 635203 h 5217112"/>
              <a:gd name="connsiteX16837" fmla="*/ 3153266 w 6785952"/>
              <a:gd name="connsiteY16837" fmla="*/ 634549 h 5217112"/>
              <a:gd name="connsiteX16838" fmla="*/ 3155189 w 6785952"/>
              <a:gd name="connsiteY16838" fmla="*/ 635421 h 5217112"/>
              <a:gd name="connsiteX16839" fmla="*/ 3156563 w 6785952"/>
              <a:gd name="connsiteY16839" fmla="*/ 634986 h 5217112"/>
              <a:gd name="connsiteX16840" fmla="*/ 3156837 w 6785952"/>
              <a:gd name="connsiteY16840" fmla="*/ 636293 h 5217112"/>
              <a:gd name="connsiteX16841" fmla="*/ 3160408 w 6785952"/>
              <a:gd name="connsiteY16841" fmla="*/ 638037 h 5217112"/>
              <a:gd name="connsiteX16842" fmla="*/ 3169748 w 6785952"/>
              <a:gd name="connsiteY16842" fmla="*/ 639126 h 5217112"/>
              <a:gd name="connsiteX16843" fmla="*/ 3177440 w 6785952"/>
              <a:gd name="connsiteY16843" fmla="*/ 645447 h 5217112"/>
              <a:gd name="connsiteX16844" fmla="*/ 3175516 w 6785952"/>
              <a:gd name="connsiteY16844" fmla="*/ 649152 h 5217112"/>
              <a:gd name="connsiteX16845" fmla="*/ 3178813 w 6785952"/>
              <a:gd name="connsiteY16845" fmla="*/ 650896 h 5217112"/>
              <a:gd name="connsiteX16846" fmla="*/ 3182109 w 6785952"/>
              <a:gd name="connsiteY16846" fmla="*/ 669421 h 5217112"/>
              <a:gd name="connsiteX16847" fmla="*/ 3176340 w 6785952"/>
              <a:gd name="connsiteY16847" fmla="*/ 676068 h 5217112"/>
              <a:gd name="connsiteX16848" fmla="*/ 3170846 w 6785952"/>
              <a:gd name="connsiteY16848" fmla="*/ 677703 h 5217112"/>
              <a:gd name="connsiteX16849" fmla="*/ 3165902 w 6785952"/>
              <a:gd name="connsiteY16849" fmla="*/ 676831 h 5217112"/>
              <a:gd name="connsiteX16850" fmla="*/ 3159034 w 6785952"/>
              <a:gd name="connsiteY16850" fmla="*/ 669530 h 5217112"/>
              <a:gd name="connsiteX16851" fmla="*/ 3158485 w 6785952"/>
              <a:gd name="connsiteY16851" fmla="*/ 667568 h 5217112"/>
              <a:gd name="connsiteX16852" fmla="*/ 3157661 w 6785952"/>
              <a:gd name="connsiteY16852" fmla="*/ 667896 h 5217112"/>
              <a:gd name="connsiteX16853" fmla="*/ 3143102 w 6785952"/>
              <a:gd name="connsiteY16853" fmla="*/ 670075 h 5217112"/>
              <a:gd name="connsiteX16854" fmla="*/ 3155464 w 6785952"/>
              <a:gd name="connsiteY16854" fmla="*/ 658523 h 5217112"/>
              <a:gd name="connsiteX16855" fmla="*/ 3159584 w 6785952"/>
              <a:gd name="connsiteY16855" fmla="*/ 658197 h 5217112"/>
              <a:gd name="connsiteX16856" fmla="*/ 3163155 w 6785952"/>
              <a:gd name="connsiteY16856" fmla="*/ 652094 h 5217112"/>
              <a:gd name="connsiteX16857" fmla="*/ 3168924 w 6785952"/>
              <a:gd name="connsiteY16857" fmla="*/ 648389 h 5217112"/>
              <a:gd name="connsiteX16858" fmla="*/ 3167825 w 6785952"/>
              <a:gd name="connsiteY16858" fmla="*/ 648934 h 5217112"/>
              <a:gd name="connsiteX16859" fmla="*/ 3148871 w 6785952"/>
              <a:gd name="connsiteY16859" fmla="*/ 634768 h 5217112"/>
              <a:gd name="connsiteX16860" fmla="*/ 3153266 w 6785952"/>
              <a:gd name="connsiteY16860" fmla="*/ 634549 h 5217112"/>
              <a:gd name="connsiteX16861" fmla="*/ 4395436 w 6785952"/>
              <a:gd name="connsiteY16861" fmla="*/ 633460 h 5217112"/>
              <a:gd name="connsiteX16862" fmla="*/ 4402304 w 6785952"/>
              <a:gd name="connsiteY16862" fmla="*/ 648498 h 5217112"/>
              <a:gd name="connsiteX16863" fmla="*/ 4389668 w 6785952"/>
              <a:gd name="connsiteY16863" fmla="*/ 653620 h 5217112"/>
              <a:gd name="connsiteX16864" fmla="*/ 4383350 w 6785952"/>
              <a:gd name="connsiteY16864" fmla="*/ 645338 h 5217112"/>
              <a:gd name="connsiteX16865" fmla="*/ 4384723 w 6785952"/>
              <a:gd name="connsiteY16865" fmla="*/ 638146 h 5217112"/>
              <a:gd name="connsiteX16866" fmla="*/ 4395436 w 6785952"/>
              <a:gd name="connsiteY16866" fmla="*/ 633460 h 5217112"/>
              <a:gd name="connsiteX16867" fmla="*/ 2907414 w 6785952"/>
              <a:gd name="connsiteY16867" fmla="*/ 633350 h 5217112"/>
              <a:gd name="connsiteX16868" fmla="*/ 2913732 w 6785952"/>
              <a:gd name="connsiteY16868" fmla="*/ 634332 h 5217112"/>
              <a:gd name="connsiteX16869" fmla="*/ 2923621 w 6785952"/>
              <a:gd name="connsiteY16869" fmla="*/ 635531 h 5217112"/>
              <a:gd name="connsiteX16870" fmla="*/ 2924720 w 6785952"/>
              <a:gd name="connsiteY16870" fmla="*/ 642940 h 5217112"/>
              <a:gd name="connsiteX16871" fmla="*/ 2909062 w 6785952"/>
              <a:gd name="connsiteY16871" fmla="*/ 649697 h 5217112"/>
              <a:gd name="connsiteX16872" fmla="*/ 2899173 w 6785952"/>
              <a:gd name="connsiteY16872" fmla="*/ 648498 h 5217112"/>
              <a:gd name="connsiteX16873" fmla="*/ 2902470 w 6785952"/>
              <a:gd name="connsiteY16873" fmla="*/ 635857 h 5217112"/>
              <a:gd name="connsiteX16874" fmla="*/ 2907414 w 6785952"/>
              <a:gd name="connsiteY16874" fmla="*/ 633350 h 5217112"/>
              <a:gd name="connsiteX16875" fmla="*/ 5876866 w 6785952"/>
              <a:gd name="connsiteY16875" fmla="*/ 632370 h 5217112"/>
              <a:gd name="connsiteX16876" fmla="*/ 5874943 w 6785952"/>
              <a:gd name="connsiteY16876" fmla="*/ 633024 h 5217112"/>
              <a:gd name="connsiteX16877" fmla="*/ 5874393 w 6785952"/>
              <a:gd name="connsiteY16877" fmla="*/ 634440 h 5217112"/>
              <a:gd name="connsiteX16878" fmla="*/ 5871372 w 6785952"/>
              <a:gd name="connsiteY16878" fmla="*/ 636620 h 5217112"/>
              <a:gd name="connsiteX16879" fmla="*/ 5869449 w 6785952"/>
              <a:gd name="connsiteY16879" fmla="*/ 634658 h 5217112"/>
              <a:gd name="connsiteX16880" fmla="*/ 5864779 w 6785952"/>
              <a:gd name="connsiteY16880" fmla="*/ 636076 h 5217112"/>
              <a:gd name="connsiteX16881" fmla="*/ 5846924 w 6785952"/>
              <a:gd name="connsiteY16881" fmla="*/ 633895 h 5217112"/>
              <a:gd name="connsiteX16882" fmla="*/ 5844727 w 6785952"/>
              <a:gd name="connsiteY16882" fmla="*/ 636838 h 5217112"/>
              <a:gd name="connsiteX16883" fmla="*/ 5847748 w 6785952"/>
              <a:gd name="connsiteY16883" fmla="*/ 638363 h 5217112"/>
              <a:gd name="connsiteX16884" fmla="*/ 5849122 w 6785952"/>
              <a:gd name="connsiteY16884" fmla="*/ 639671 h 5217112"/>
              <a:gd name="connsiteX16885" fmla="*/ 5853516 w 6785952"/>
              <a:gd name="connsiteY16885" fmla="*/ 642395 h 5217112"/>
              <a:gd name="connsiteX16886" fmla="*/ 5852143 w 6785952"/>
              <a:gd name="connsiteY16886" fmla="*/ 643813 h 5217112"/>
              <a:gd name="connsiteX16887" fmla="*/ 5853516 w 6785952"/>
              <a:gd name="connsiteY16887" fmla="*/ 645120 h 5217112"/>
              <a:gd name="connsiteX16888" fmla="*/ 5855165 w 6785952"/>
              <a:gd name="connsiteY16888" fmla="*/ 646537 h 5217112"/>
              <a:gd name="connsiteX16889" fmla="*/ 5859285 w 6785952"/>
              <a:gd name="connsiteY16889" fmla="*/ 647844 h 5217112"/>
              <a:gd name="connsiteX16890" fmla="*/ 5860659 w 6785952"/>
              <a:gd name="connsiteY16890" fmla="*/ 649261 h 5217112"/>
              <a:gd name="connsiteX16891" fmla="*/ 5863680 w 6785952"/>
              <a:gd name="connsiteY16891" fmla="*/ 650677 h 5217112"/>
              <a:gd name="connsiteX16892" fmla="*/ 5874943 w 6785952"/>
              <a:gd name="connsiteY16892" fmla="*/ 657543 h 5217112"/>
              <a:gd name="connsiteX16893" fmla="*/ 5879338 w 6785952"/>
              <a:gd name="connsiteY16893" fmla="*/ 660267 h 5217112"/>
              <a:gd name="connsiteX16894" fmla="*/ 5891973 w 6785952"/>
              <a:gd name="connsiteY16894" fmla="*/ 665498 h 5217112"/>
              <a:gd name="connsiteX16895" fmla="*/ 5896369 w 6785952"/>
              <a:gd name="connsiteY16895" fmla="*/ 662120 h 5217112"/>
              <a:gd name="connsiteX16896" fmla="*/ 5901039 w 6785952"/>
              <a:gd name="connsiteY16896" fmla="*/ 661030 h 5217112"/>
              <a:gd name="connsiteX16897" fmla="*/ 5899940 w 6785952"/>
              <a:gd name="connsiteY16897" fmla="*/ 660267 h 5217112"/>
              <a:gd name="connsiteX16898" fmla="*/ 5886480 w 6785952"/>
              <a:gd name="connsiteY16898" fmla="*/ 653401 h 5217112"/>
              <a:gd name="connsiteX16899" fmla="*/ 5887305 w 6785952"/>
              <a:gd name="connsiteY16899" fmla="*/ 651876 h 5217112"/>
              <a:gd name="connsiteX16900" fmla="*/ 5884282 w 6785952"/>
              <a:gd name="connsiteY16900" fmla="*/ 651440 h 5217112"/>
              <a:gd name="connsiteX16901" fmla="*/ 5881811 w 6785952"/>
              <a:gd name="connsiteY16901" fmla="*/ 646754 h 5217112"/>
              <a:gd name="connsiteX16902" fmla="*/ 5877415 w 6785952"/>
              <a:gd name="connsiteY16902" fmla="*/ 651005 h 5217112"/>
              <a:gd name="connsiteX16903" fmla="*/ 5870548 w 6785952"/>
              <a:gd name="connsiteY16903" fmla="*/ 653075 h 5217112"/>
              <a:gd name="connsiteX16904" fmla="*/ 5868899 w 6785952"/>
              <a:gd name="connsiteY16904" fmla="*/ 641741 h 5217112"/>
              <a:gd name="connsiteX16905" fmla="*/ 2475868 w 6785952"/>
              <a:gd name="connsiteY16905" fmla="*/ 632043 h 5217112"/>
              <a:gd name="connsiteX16906" fmla="*/ 2481637 w 6785952"/>
              <a:gd name="connsiteY16906" fmla="*/ 638691 h 5217112"/>
              <a:gd name="connsiteX16907" fmla="*/ 2477242 w 6785952"/>
              <a:gd name="connsiteY16907" fmla="*/ 643921 h 5217112"/>
              <a:gd name="connsiteX16908" fmla="*/ 2471748 w 6785952"/>
              <a:gd name="connsiteY16908" fmla="*/ 637383 h 5217112"/>
              <a:gd name="connsiteX16909" fmla="*/ 2475868 w 6785952"/>
              <a:gd name="connsiteY16909" fmla="*/ 632043 h 5217112"/>
              <a:gd name="connsiteX16910" fmla="*/ 1783363 w 6785952"/>
              <a:gd name="connsiteY16910" fmla="*/ 631934 h 5217112"/>
              <a:gd name="connsiteX16911" fmla="*/ 1786110 w 6785952"/>
              <a:gd name="connsiteY16911" fmla="*/ 638582 h 5217112"/>
              <a:gd name="connsiteX16912" fmla="*/ 1782814 w 6785952"/>
              <a:gd name="connsiteY16912" fmla="*/ 637492 h 5217112"/>
              <a:gd name="connsiteX16913" fmla="*/ 1782264 w 6785952"/>
              <a:gd name="connsiteY16913" fmla="*/ 632479 h 5217112"/>
              <a:gd name="connsiteX16914" fmla="*/ 1783363 w 6785952"/>
              <a:gd name="connsiteY16914" fmla="*/ 631934 h 5217112"/>
              <a:gd name="connsiteX16915" fmla="*/ 1679803 w 6785952"/>
              <a:gd name="connsiteY16915" fmla="*/ 631389 h 5217112"/>
              <a:gd name="connsiteX16916" fmla="*/ 1675957 w 6785952"/>
              <a:gd name="connsiteY16916" fmla="*/ 633895 h 5217112"/>
              <a:gd name="connsiteX16917" fmla="*/ 1674859 w 6785952"/>
              <a:gd name="connsiteY16917" fmla="*/ 633895 h 5217112"/>
              <a:gd name="connsiteX16918" fmla="*/ 1674309 w 6785952"/>
              <a:gd name="connsiteY16918" fmla="*/ 632588 h 5217112"/>
              <a:gd name="connsiteX16919" fmla="*/ 1679803 w 6785952"/>
              <a:gd name="connsiteY16919" fmla="*/ 631389 h 5217112"/>
              <a:gd name="connsiteX16920" fmla="*/ 1686121 w 6785952"/>
              <a:gd name="connsiteY16920" fmla="*/ 626486 h 5217112"/>
              <a:gd name="connsiteX16921" fmla="*/ 1695735 w 6785952"/>
              <a:gd name="connsiteY16921" fmla="*/ 634223 h 5217112"/>
              <a:gd name="connsiteX16922" fmla="*/ 1686395 w 6785952"/>
              <a:gd name="connsiteY16922" fmla="*/ 635857 h 5217112"/>
              <a:gd name="connsiteX16923" fmla="*/ 1686121 w 6785952"/>
              <a:gd name="connsiteY16923" fmla="*/ 626486 h 5217112"/>
              <a:gd name="connsiteX16924" fmla="*/ 1653981 w 6785952"/>
              <a:gd name="connsiteY16924" fmla="*/ 626050 h 5217112"/>
              <a:gd name="connsiteX16925" fmla="*/ 1639698 w 6785952"/>
              <a:gd name="connsiteY16925" fmla="*/ 638908 h 5217112"/>
              <a:gd name="connsiteX16926" fmla="*/ 1632006 w 6785952"/>
              <a:gd name="connsiteY16926" fmla="*/ 636184 h 5217112"/>
              <a:gd name="connsiteX16927" fmla="*/ 1632280 w 6785952"/>
              <a:gd name="connsiteY16927" fmla="*/ 629973 h 5217112"/>
              <a:gd name="connsiteX16928" fmla="*/ 1653981 w 6785952"/>
              <a:gd name="connsiteY16928" fmla="*/ 626050 h 5217112"/>
              <a:gd name="connsiteX16929" fmla="*/ 2167386 w 6785952"/>
              <a:gd name="connsiteY16929" fmla="*/ 624959 h 5217112"/>
              <a:gd name="connsiteX16930" fmla="*/ 2181121 w 6785952"/>
              <a:gd name="connsiteY16930" fmla="*/ 627575 h 5217112"/>
              <a:gd name="connsiteX16931" fmla="*/ 2181395 w 6785952"/>
              <a:gd name="connsiteY16931" fmla="*/ 626921 h 5217112"/>
              <a:gd name="connsiteX16932" fmla="*/ 2184143 w 6785952"/>
              <a:gd name="connsiteY16932" fmla="*/ 627248 h 5217112"/>
              <a:gd name="connsiteX16933" fmla="*/ 2183593 w 6785952"/>
              <a:gd name="connsiteY16933" fmla="*/ 628120 h 5217112"/>
              <a:gd name="connsiteX16934" fmla="*/ 2184692 w 6785952"/>
              <a:gd name="connsiteY16934" fmla="*/ 628229 h 5217112"/>
              <a:gd name="connsiteX16935" fmla="*/ 2194581 w 6785952"/>
              <a:gd name="connsiteY16935" fmla="*/ 637383 h 5217112"/>
              <a:gd name="connsiteX16936" fmla="*/ 2189637 w 6785952"/>
              <a:gd name="connsiteY16936" fmla="*/ 640107 h 5217112"/>
              <a:gd name="connsiteX16937" fmla="*/ 2191010 w 6785952"/>
              <a:gd name="connsiteY16937" fmla="*/ 644248 h 5217112"/>
              <a:gd name="connsiteX16938" fmla="*/ 2187989 w 6785952"/>
              <a:gd name="connsiteY16938" fmla="*/ 646754 h 5217112"/>
              <a:gd name="connsiteX16939" fmla="*/ 2186340 w 6785952"/>
              <a:gd name="connsiteY16939" fmla="*/ 649479 h 5217112"/>
              <a:gd name="connsiteX16940" fmla="*/ 2184143 w 6785952"/>
              <a:gd name="connsiteY16940" fmla="*/ 650351 h 5217112"/>
              <a:gd name="connsiteX16941" fmla="*/ 2181945 w 6785952"/>
              <a:gd name="connsiteY16941" fmla="*/ 648934 h 5217112"/>
              <a:gd name="connsiteX16942" fmla="*/ 2183593 w 6785952"/>
              <a:gd name="connsiteY16942" fmla="*/ 646209 h 5217112"/>
              <a:gd name="connsiteX16943" fmla="*/ 2189087 w 6785952"/>
              <a:gd name="connsiteY16943" fmla="*/ 640216 h 5217112"/>
              <a:gd name="connsiteX16944" fmla="*/ 2182769 w 6785952"/>
              <a:gd name="connsiteY16944" fmla="*/ 639999 h 5217112"/>
              <a:gd name="connsiteX16945" fmla="*/ 2169584 w 6785952"/>
              <a:gd name="connsiteY16945" fmla="*/ 634549 h 5217112"/>
              <a:gd name="connsiteX16946" fmla="*/ 2167386 w 6785952"/>
              <a:gd name="connsiteY16946" fmla="*/ 624959 h 5217112"/>
              <a:gd name="connsiteX16947" fmla="*/ 3927906 w 6785952"/>
              <a:gd name="connsiteY16947" fmla="*/ 623434 h 5217112"/>
              <a:gd name="connsiteX16948" fmla="*/ 3936421 w 6785952"/>
              <a:gd name="connsiteY16948" fmla="*/ 629755 h 5217112"/>
              <a:gd name="connsiteX16949" fmla="*/ 3932576 w 6785952"/>
              <a:gd name="connsiteY16949" fmla="*/ 633787 h 5217112"/>
              <a:gd name="connsiteX16950" fmla="*/ 3939992 w 6785952"/>
              <a:gd name="connsiteY16950" fmla="*/ 639345 h 5217112"/>
              <a:gd name="connsiteX16951" fmla="*/ 3943564 w 6785952"/>
              <a:gd name="connsiteY16951" fmla="*/ 647299 h 5217112"/>
              <a:gd name="connsiteX16952" fmla="*/ 3939992 w 6785952"/>
              <a:gd name="connsiteY16952" fmla="*/ 657216 h 5217112"/>
              <a:gd name="connsiteX16953" fmla="*/ 3935048 w 6785952"/>
              <a:gd name="connsiteY16953" fmla="*/ 658960 h 5217112"/>
              <a:gd name="connsiteX16954" fmla="*/ 3936970 w 6785952"/>
              <a:gd name="connsiteY16954" fmla="*/ 660485 h 5217112"/>
              <a:gd name="connsiteX16955" fmla="*/ 3940541 w 6785952"/>
              <a:gd name="connsiteY16955" fmla="*/ 664518 h 5217112"/>
              <a:gd name="connsiteX16956" fmla="*/ 3935872 w 6785952"/>
              <a:gd name="connsiteY16956" fmla="*/ 668549 h 5217112"/>
              <a:gd name="connsiteX16957" fmla="*/ 3932026 w 6785952"/>
              <a:gd name="connsiteY16957" fmla="*/ 668876 h 5217112"/>
              <a:gd name="connsiteX16958" fmla="*/ 3932576 w 6785952"/>
              <a:gd name="connsiteY16958" fmla="*/ 670946 h 5217112"/>
              <a:gd name="connsiteX16959" fmla="*/ 3918566 w 6785952"/>
              <a:gd name="connsiteY16959" fmla="*/ 681190 h 5217112"/>
              <a:gd name="connsiteX16960" fmla="*/ 3914995 w 6785952"/>
              <a:gd name="connsiteY16960" fmla="*/ 674434 h 5217112"/>
              <a:gd name="connsiteX16961" fmla="*/ 3913347 w 6785952"/>
              <a:gd name="connsiteY16961" fmla="*/ 668876 h 5217112"/>
              <a:gd name="connsiteX16962" fmla="*/ 3921863 w 6785952"/>
              <a:gd name="connsiteY16962" fmla="*/ 660703 h 5217112"/>
              <a:gd name="connsiteX16963" fmla="*/ 3922412 w 6785952"/>
              <a:gd name="connsiteY16963" fmla="*/ 660703 h 5217112"/>
              <a:gd name="connsiteX16964" fmla="*/ 3922412 w 6785952"/>
              <a:gd name="connsiteY16964" fmla="*/ 660485 h 5217112"/>
              <a:gd name="connsiteX16965" fmla="*/ 3924609 w 6785952"/>
              <a:gd name="connsiteY16965" fmla="*/ 658197 h 5217112"/>
              <a:gd name="connsiteX16966" fmla="*/ 3921588 w 6785952"/>
              <a:gd name="connsiteY16966" fmla="*/ 657216 h 5217112"/>
              <a:gd name="connsiteX16967" fmla="*/ 3915544 w 6785952"/>
              <a:gd name="connsiteY16967" fmla="*/ 642723 h 5217112"/>
              <a:gd name="connsiteX16968" fmla="*/ 3915269 w 6785952"/>
              <a:gd name="connsiteY16968" fmla="*/ 644248 h 5217112"/>
              <a:gd name="connsiteX16969" fmla="*/ 3894668 w 6785952"/>
              <a:gd name="connsiteY16969" fmla="*/ 655799 h 5217112"/>
              <a:gd name="connsiteX16970" fmla="*/ 3896316 w 6785952"/>
              <a:gd name="connsiteY16970" fmla="*/ 651440 h 5217112"/>
              <a:gd name="connsiteX16971" fmla="*/ 3897964 w 6785952"/>
              <a:gd name="connsiteY16971" fmla="*/ 650241 h 5217112"/>
              <a:gd name="connsiteX16972" fmla="*/ 3897964 w 6785952"/>
              <a:gd name="connsiteY16972" fmla="*/ 648825 h 5217112"/>
              <a:gd name="connsiteX16973" fmla="*/ 3899337 w 6785952"/>
              <a:gd name="connsiteY16973" fmla="*/ 649043 h 5217112"/>
              <a:gd name="connsiteX16974" fmla="*/ 3902359 w 6785952"/>
              <a:gd name="connsiteY16974" fmla="*/ 646537 h 5217112"/>
              <a:gd name="connsiteX16975" fmla="*/ 3907304 w 6785952"/>
              <a:gd name="connsiteY16975" fmla="*/ 638472 h 5217112"/>
              <a:gd name="connsiteX16976" fmla="*/ 3916094 w 6785952"/>
              <a:gd name="connsiteY16976" fmla="*/ 633895 h 5217112"/>
              <a:gd name="connsiteX16977" fmla="*/ 3918566 w 6785952"/>
              <a:gd name="connsiteY16977" fmla="*/ 637383 h 5217112"/>
              <a:gd name="connsiteX16978" fmla="*/ 3921863 w 6785952"/>
              <a:gd name="connsiteY16978" fmla="*/ 634877 h 5217112"/>
              <a:gd name="connsiteX16979" fmla="*/ 3925433 w 6785952"/>
              <a:gd name="connsiteY16979" fmla="*/ 631934 h 5217112"/>
              <a:gd name="connsiteX16980" fmla="*/ 3925708 w 6785952"/>
              <a:gd name="connsiteY16980" fmla="*/ 628556 h 5217112"/>
              <a:gd name="connsiteX16981" fmla="*/ 3927906 w 6785952"/>
              <a:gd name="connsiteY16981" fmla="*/ 623434 h 5217112"/>
              <a:gd name="connsiteX16982" fmla="*/ 4275395 w 6785952"/>
              <a:gd name="connsiteY16982" fmla="*/ 622889 h 5217112"/>
              <a:gd name="connsiteX16983" fmla="*/ 4258089 w 6785952"/>
              <a:gd name="connsiteY16983" fmla="*/ 638908 h 5217112"/>
              <a:gd name="connsiteX16984" fmla="*/ 4261110 w 6785952"/>
              <a:gd name="connsiteY16984" fmla="*/ 625505 h 5217112"/>
              <a:gd name="connsiteX16985" fmla="*/ 4275395 w 6785952"/>
              <a:gd name="connsiteY16985" fmla="*/ 622889 h 5217112"/>
              <a:gd name="connsiteX16986" fmla="*/ 1882802 w 6785952"/>
              <a:gd name="connsiteY16986" fmla="*/ 622672 h 5217112"/>
              <a:gd name="connsiteX16987" fmla="*/ 1892416 w 6785952"/>
              <a:gd name="connsiteY16987" fmla="*/ 629210 h 5217112"/>
              <a:gd name="connsiteX16988" fmla="*/ 1888570 w 6785952"/>
              <a:gd name="connsiteY16988" fmla="*/ 633678 h 5217112"/>
              <a:gd name="connsiteX16989" fmla="*/ 1881703 w 6785952"/>
              <a:gd name="connsiteY16989" fmla="*/ 632153 h 5217112"/>
              <a:gd name="connsiteX16990" fmla="*/ 1882802 w 6785952"/>
              <a:gd name="connsiteY16990" fmla="*/ 622672 h 5217112"/>
              <a:gd name="connsiteX16991" fmla="*/ 3611457 w 6785952"/>
              <a:gd name="connsiteY16991" fmla="*/ 622454 h 5217112"/>
              <a:gd name="connsiteX16992" fmla="*/ 3611182 w 6785952"/>
              <a:gd name="connsiteY16992" fmla="*/ 636620 h 5217112"/>
              <a:gd name="connsiteX16993" fmla="*/ 3604864 w 6785952"/>
              <a:gd name="connsiteY16993" fmla="*/ 633678 h 5217112"/>
              <a:gd name="connsiteX16994" fmla="*/ 3611457 w 6785952"/>
              <a:gd name="connsiteY16994" fmla="*/ 622454 h 5217112"/>
              <a:gd name="connsiteX16995" fmla="*/ 4197106 w 6785952"/>
              <a:gd name="connsiteY16995" fmla="*/ 621909 h 5217112"/>
              <a:gd name="connsiteX16996" fmla="*/ 4201227 w 6785952"/>
              <a:gd name="connsiteY16996" fmla="*/ 633678 h 5217112"/>
              <a:gd name="connsiteX16997" fmla="*/ 4194634 w 6785952"/>
              <a:gd name="connsiteY16997" fmla="*/ 626377 h 5217112"/>
              <a:gd name="connsiteX16998" fmla="*/ 4197106 w 6785952"/>
              <a:gd name="connsiteY16998" fmla="*/ 621909 h 5217112"/>
              <a:gd name="connsiteX16999" fmla="*/ 1080693 w 6785952"/>
              <a:gd name="connsiteY16999" fmla="*/ 620492 h 5217112"/>
              <a:gd name="connsiteX17000" fmla="*/ 1084539 w 6785952"/>
              <a:gd name="connsiteY17000" fmla="*/ 634223 h 5217112"/>
              <a:gd name="connsiteX17001" fmla="*/ 1072727 w 6785952"/>
              <a:gd name="connsiteY17001" fmla="*/ 639126 h 5217112"/>
              <a:gd name="connsiteX17002" fmla="*/ 1061190 w 6785952"/>
              <a:gd name="connsiteY17002" fmla="*/ 639126 h 5217112"/>
              <a:gd name="connsiteX17003" fmla="*/ 1080693 w 6785952"/>
              <a:gd name="connsiteY17003" fmla="*/ 620492 h 5217112"/>
              <a:gd name="connsiteX17004" fmla="*/ 6226278 w 6785952"/>
              <a:gd name="connsiteY17004" fmla="*/ 619402 h 5217112"/>
              <a:gd name="connsiteX17005" fmla="*/ 6216114 w 6785952"/>
              <a:gd name="connsiteY17005" fmla="*/ 640761 h 5217112"/>
              <a:gd name="connsiteX17006" fmla="*/ 6219411 w 6785952"/>
              <a:gd name="connsiteY17006" fmla="*/ 620056 h 5217112"/>
              <a:gd name="connsiteX17007" fmla="*/ 6226278 w 6785952"/>
              <a:gd name="connsiteY17007" fmla="*/ 619402 h 5217112"/>
              <a:gd name="connsiteX17008" fmla="*/ 5973283 w 6785952"/>
              <a:gd name="connsiteY17008" fmla="*/ 619294 h 5217112"/>
              <a:gd name="connsiteX17009" fmla="*/ 5974658 w 6785952"/>
              <a:gd name="connsiteY17009" fmla="*/ 622454 h 5217112"/>
              <a:gd name="connsiteX17010" fmla="*/ 5968889 w 6785952"/>
              <a:gd name="connsiteY17010" fmla="*/ 626158 h 5217112"/>
              <a:gd name="connsiteX17011" fmla="*/ 5968614 w 6785952"/>
              <a:gd name="connsiteY17011" fmla="*/ 627575 h 5217112"/>
              <a:gd name="connsiteX17012" fmla="*/ 5971635 w 6785952"/>
              <a:gd name="connsiteY17012" fmla="*/ 630844 h 5217112"/>
              <a:gd name="connsiteX17013" fmla="*/ 5971086 w 6785952"/>
              <a:gd name="connsiteY17013" fmla="*/ 645338 h 5217112"/>
              <a:gd name="connsiteX17014" fmla="*/ 5960098 w 6785952"/>
              <a:gd name="connsiteY17014" fmla="*/ 648716 h 5217112"/>
              <a:gd name="connsiteX17015" fmla="*/ 5955154 w 6785952"/>
              <a:gd name="connsiteY17015" fmla="*/ 647844 h 5217112"/>
              <a:gd name="connsiteX17016" fmla="*/ 5948287 w 6785952"/>
              <a:gd name="connsiteY17016" fmla="*/ 642614 h 5217112"/>
              <a:gd name="connsiteX17017" fmla="*/ 5950209 w 6785952"/>
              <a:gd name="connsiteY17017" fmla="*/ 625396 h 5217112"/>
              <a:gd name="connsiteX17018" fmla="*/ 5965867 w 6785952"/>
              <a:gd name="connsiteY17018" fmla="*/ 624415 h 5217112"/>
              <a:gd name="connsiteX17019" fmla="*/ 5967515 w 6785952"/>
              <a:gd name="connsiteY17019" fmla="*/ 621473 h 5217112"/>
              <a:gd name="connsiteX17020" fmla="*/ 5973283 w 6785952"/>
              <a:gd name="connsiteY17020" fmla="*/ 619294 h 5217112"/>
              <a:gd name="connsiteX17021" fmla="*/ 4868847 w 6785952"/>
              <a:gd name="connsiteY17021" fmla="*/ 619020 h 5217112"/>
              <a:gd name="connsiteX17022" fmla="*/ 4883295 w 6785952"/>
              <a:gd name="connsiteY17022" fmla="*/ 631171 h 5217112"/>
              <a:gd name="connsiteX17023" fmla="*/ 4875328 w 6785952"/>
              <a:gd name="connsiteY17023" fmla="*/ 641088 h 5217112"/>
              <a:gd name="connsiteX17024" fmla="*/ 4863242 w 6785952"/>
              <a:gd name="connsiteY17024" fmla="*/ 630081 h 5217112"/>
              <a:gd name="connsiteX17025" fmla="*/ 4861044 w 6785952"/>
              <a:gd name="connsiteY17025" fmla="*/ 624851 h 5217112"/>
              <a:gd name="connsiteX17026" fmla="*/ 4868847 w 6785952"/>
              <a:gd name="connsiteY17026" fmla="*/ 619020 h 5217112"/>
              <a:gd name="connsiteX17027" fmla="*/ 3055475 w 6785952"/>
              <a:gd name="connsiteY17027" fmla="*/ 618421 h 5217112"/>
              <a:gd name="connsiteX17028" fmla="*/ 3035696 w 6785952"/>
              <a:gd name="connsiteY17028" fmla="*/ 661901 h 5217112"/>
              <a:gd name="connsiteX17029" fmla="*/ 3032950 w 6785952"/>
              <a:gd name="connsiteY17029" fmla="*/ 657434 h 5217112"/>
              <a:gd name="connsiteX17030" fmla="*/ 3055475 w 6785952"/>
              <a:gd name="connsiteY17030" fmla="*/ 618421 h 5217112"/>
              <a:gd name="connsiteX17031" fmla="*/ 1864673 w 6785952"/>
              <a:gd name="connsiteY17031" fmla="*/ 618421 h 5217112"/>
              <a:gd name="connsiteX17032" fmla="*/ 1862475 w 6785952"/>
              <a:gd name="connsiteY17032" fmla="*/ 629319 h 5217112"/>
              <a:gd name="connsiteX17033" fmla="*/ 1861376 w 6785952"/>
              <a:gd name="connsiteY17033" fmla="*/ 627466 h 5217112"/>
              <a:gd name="connsiteX17034" fmla="*/ 1862201 w 6785952"/>
              <a:gd name="connsiteY17034" fmla="*/ 624633 h 5217112"/>
              <a:gd name="connsiteX17035" fmla="*/ 1864673 w 6785952"/>
              <a:gd name="connsiteY17035" fmla="*/ 618421 h 5217112"/>
              <a:gd name="connsiteX17036" fmla="*/ 4341871 w 6785952"/>
              <a:gd name="connsiteY17036" fmla="*/ 617767 h 5217112"/>
              <a:gd name="connsiteX17037" fmla="*/ 4345717 w 6785952"/>
              <a:gd name="connsiteY17037" fmla="*/ 635748 h 5217112"/>
              <a:gd name="connsiteX17038" fmla="*/ 4341871 w 6785952"/>
              <a:gd name="connsiteY17038" fmla="*/ 617767 h 5217112"/>
              <a:gd name="connsiteX17039" fmla="*/ 3503228 w 6785952"/>
              <a:gd name="connsiteY17039" fmla="*/ 616787 h 5217112"/>
              <a:gd name="connsiteX17040" fmla="*/ 3510370 w 6785952"/>
              <a:gd name="connsiteY17040" fmla="*/ 619075 h 5217112"/>
              <a:gd name="connsiteX17041" fmla="*/ 3514216 w 6785952"/>
              <a:gd name="connsiteY17041" fmla="*/ 621582 h 5217112"/>
              <a:gd name="connsiteX17042" fmla="*/ 3504052 w 6785952"/>
              <a:gd name="connsiteY17042" fmla="*/ 622672 h 5217112"/>
              <a:gd name="connsiteX17043" fmla="*/ 3503228 w 6785952"/>
              <a:gd name="connsiteY17043" fmla="*/ 616787 h 5217112"/>
              <a:gd name="connsiteX17044" fmla="*/ 1781715 w 6785952"/>
              <a:gd name="connsiteY17044" fmla="*/ 615371 h 5217112"/>
              <a:gd name="connsiteX17045" fmla="*/ 1783088 w 6785952"/>
              <a:gd name="connsiteY17045" fmla="*/ 622998 h 5217112"/>
              <a:gd name="connsiteX17046" fmla="*/ 1778419 w 6785952"/>
              <a:gd name="connsiteY17046" fmla="*/ 623543 h 5217112"/>
              <a:gd name="connsiteX17047" fmla="*/ 1777869 w 6785952"/>
              <a:gd name="connsiteY17047" fmla="*/ 617441 h 5217112"/>
              <a:gd name="connsiteX17048" fmla="*/ 1781715 w 6785952"/>
              <a:gd name="connsiteY17048" fmla="*/ 615371 h 5217112"/>
              <a:gd name="connsiteX17049" fmla="*/ 1428183 w 6785952"/>
              <a:gd name="connsiteY17049" fmla="*/ 614607 h 5217112"/>
              <a:gd name="connsiteX17050" fmla="*/ 1430655 w 6785952"/>
              <a:gd name="connsiteY17050" fmla="*/ 623870 h 5217112"/>
              <a:gd name="connsiteX17051" fmla="*/ 1424612 w 6785952"/>
              <a:gd name="connsiteY17051" fmla="*/ 625832 h 5217112"/>
              <a:gd name="connsiteX17052" fmla="*/ 1422414 w 6785952"/>
              <a:gd name="connsiteY17052" fmla="*/ 616569 h 5217112"/>
              <a:gd name="connsiteX17053" fmla="*/ 1428183 w 6785952"/>
              <a:gd name="connsiteY17053" fmla="*/ 614607 h 5217112"/>
              <a:gd name="connsiteX17054" fmla="*/ 3668868 w 6785952"/>
              <a:gd name="connsiteY17054" fmla="*/ 613191 h 5217112"/>
              <a:gd name="connsiteX17055" fmla="*/ 3658155 w 6785952"/>
              <a:gd name="connsiteY17055" fmla="*/ 628120 h 5217112"/>
              <a:gd name="connsiteX17056" fmla="*/ 3641948 w 6785952"/>
              <a:gd name="connsiteY17056" fmla="*/ 634986 h 5217112"/>
              <a:gd name="connsiteX17057" fmla="*/ 3668868 w 6785952"/>
              <a:gd name="connsiteY17057" fmla="*/ 613191 h 5217112"/>
              <a:gd name="connsiteX17058" fmla="*/ 1508943 w 6785952"/>
              <a:gd name="connsiteY17058" fmla="*/ 613191 h 5217112"/>
              <a:gd name="connsiteX17059" fmla="*/ 1535313 w 6785952"/>
              <a:gd name="connsiteY17059" fmla="*/ 632588 h 5217112"/>
              <a:gd name="connsiteX17060" fmla="*/ 1528446 w 6785952"/>
              <a:gd name="connsiteY17060" fmla="*/ 641306 h 5217112"/>
              <a:gd name="connsiteX17061" fmla="*/ 1508119 w 6785952"/>
              <a:gd name="connsiteY17061" fmla="*/ 632153 h 5217112"/>
              <a:gd name="connsiteX17062" fmla="*/ 1506745 w 6785952"/>
              <a:gd name="connsiteY17062" fmla="*/ 617877 h 5217112"/>
              <a:gd name="connsiteX17063" fmla="*/ 1508943 w 6785952"/>
              <a:gd name="connsiteY17063" fmla="*/ 613191 h 5217112"/>
              <a:gd name="connsiteX17064" fmla="*/ 2159694 w 6785952"/>
              <a:gd name="connsiteY17064" fmla="*/ 612319 h 5217112"/>
              <a:gd name="connsiteX17065" fmla="*/ 2162167 w 6785952"/>
              <a:gd name="connsiteY17065" fmla="*/ 627140 h 5217112"/>
              <a:gd name="connsiteX17066" fmla="*/ 2162991 w 6785952"/>
              <a:gd name="connsiteY17066" fmla="*/ 631934 h 5217112"/>
              <a:gd name="connsiteX17067" fmla="*/ 2163815 w 6785952"/>
              <a:gd name="connsiteY17067" fmla="*/ 635203 h 5217112"/>
              <a:gd name="connsiteX17068" fmla="*/ 2163266 w 6785952"/>
              <a:gd name="connsiteY17068" fmla="*/ 635966 h 5217112"/>
              <a:gd name="connsiteX17069" fmla="*/ 2163815 w 6785952"/>
              <a:gd name="connsiteY17069" fmla="*/ 639889 h 5217112"/>
              <a:gd name="connsiteX17070" fmla="*/ 2160519 w 6785952"/>
              <a:gd name="connsiteY17070" fmla="*/ 640216 h 5217112"/>
              <a:gd name="connsiteX17071" fmla="*/ 2160244 w 6785952"/>
              <a:gd name="connsiteY17071" fmla="*/ 639889 h 5217112"/>
              <a:gd name="connsiteX17072" fmla="*/ 2158596 w 6785952"/>
              <a:gd name="connsiteY17072" fmla="*/ 642178 h 5217112"/>
              <a:gd name="connsiteX17073" fmla="*/ 2152553 w 6785952"/>
              <a:gd name="connsiteY17073" fmla="*/ 630300 h 5217112"/>
              <a:gd name="connsiteX17074" fmla="*/ 2155849 w 6785952"/>
              <a:gd name="connsiteY17074" fmla="*/ 630518 h 5217112"/>
              <a:gd name="connsiteX17075" fmla="*/ 2155300 w 6785952"/>
              <a:gd name="connsiteY17075" fmla="*/ 628883 h 5217112"/>
              <a:gd name="connsiteX17076" fmla="*/ 2155300 w 6785952"/>
              <a:gd name="connsiteY17076" fmla="*/ 623434 h 5217112"/>
              <a:gd name="connsiteX17077" fmla="*/ 2155300 w 6785952"/>
              <a:gd name="connsiteY17077" fmla="*/ 620056 h 5217112"/>
              <a:gd name="connsiteX17078" fmla="*/ 2155300 w 6785952"/>
              <a:gd name="connsiteY17078" fmla="*/ 616678 h 5217112"/>
              <a:gd name="connsiteX17079" fmla="*/ 2159694 w 6785952"/>
              <a:gd name="connsiteY17079" fmla="*/ 612319 h 5217112"/>
              <a:gd name="connsiteX17080" fmla="*/ 2334676 w 6785952"/>
              <a:gd name="connsiteY17080" fmla="*/ 611992 h 5217112"/>
              <a:gd name="connsiteX17081" fmla="*/ 2336049 w 6785952"/>
              <a:gd name="connsiteY17081" fmla="*/ 615043 h 5217112"/>
              <a:gd name="connsiteX17082" fmla="*/ 2330280 w 6785952"/>
              <a:gd name="connsiteY17082" fmla="*/ 618749 h 5217112"/>
              <a:gd name="connsiteX17083" fmla="*/ 2330006 w 6785952"/>
              <a:gd name="connsiteY17083" fmla="*/ 620165 h 5217112"/>
              <a:gd name="connsiteX17084" fmla="*/ 2333027 w 6785952"/>
              <a:gd name="connsiteY17084" fmla="*/ 623543 h 5217112"/>
              <a:gd name="connsiteX17085" fmla="*/ 2332478 w 6785952"/>
              <a:gd name="connsiteY17085" fmla="*/ 638037 h 5217112"/>
              <a:gd name="connsiteX17086" fmla="*/ 2321215 w 6785952"/>
              <a:gd name="connsiteY17086" fmla="*/ 641415 h 5217112"/>
              <a:gd name="connsiteX17087" fmla="*/ 2316545 w 6785952"/>
              <a:gd name="connsiteY17087" fmla="*/ 640434 h 5217112"/>
              <a:gd name="connsiteX17088" fmla="*/ 2309678 w 6785952"/>
              <a:gd name="connsiteY17088" fmla="*/ 635312 h 5217112"/>
              <a:gd name="connsiteX17089" fmla="*/ 2311601 w 6785952"/>
              <a:gd name="connsiteY17089" fmla="*/ 617877 h 5217112"/>
              <a:gd name="connsiteX17090" fmla="*/ 2327258 w 6785952"/>
              <a:gd name="connsiteY17090" fmla="*/ 616896 h 5217112"/>
              <a:gd name="connsiteX17091" fmla="*/ 2328907 w 6785952"/>
              <a:gd name="connsiteY17091" fmla="*/ 614172 h 5217112"/>
              <a:gd name="connsiteX17092" fmla="*/ 2334676 w 6785952"/>
              <a:gd name="connsiteY17092" fmla="*/ 611992 h 5217112"/>
              <a:gd name="connsiteX17093" fmla="*/ 1230239 w 6785952"/>
              <a:gd name="connsiteY17093" fmla="*/ 611580 h 5217112"/>
              <a:gd name="connsiteX17094" fmla="*/ 1244686 w 6785952"/>
              <a:gd name="connsiteY17094" fmla="*/ 623870 h 5217112"/>
              <a:gd name="connsiteX17095" fmla="*/ 1236719 w 6785952"/>
              <a:gd name="connsiteY17095" fmla="*/ 633678 h 5217112"/>
              <a:gd name="connsiteX17096" fmla="*/ 1224358 w 6785952"/>
              <a:gd name="connsiteY17096" fmla="*/ 622780 h 5217112"/>
              <a:gd name="connsiteX17097" fmla="*/ 1222436 w 6785952"/>
              <a:gd name="connsiteY17097" fmla="*/ 617332 h 5217112"/>
              <a:gd name="connsiteX17098" fmla="*/ 1230239 w 6785952"/>
              <a:gd name="connsiteY17098" fmla="*/ 611580 h 5217112"/>
              <a:gd name="connsiteX17099" fmla="*/ 3297481 w 6785952"/>
              <a:gd name="connsiteY17099" fmla="*/ 610249 h 5217112"/>
              <a:gd name="connsiteX17100" fmla="*/ 3308469 w 6785952"/>
              <a:gd name="connsiteY17100" fmla="*/ 612973 h 5217112"/>
              <a:gd name="connsiteX17101" fmla="*/ 3299953 w 6785952"/>
              <a:gd name="connsiteY17101" fmla="*/ 619839 h 5217112"/>
              <a:gd name="connsiteX17102" fmla="*/ 3297481 w 6785952"/>
              <a:gd name="connsiteY17102" fmla="*/ 610249 h 5217112"/>
              <a:gd name="connsiteX17103" fmla="*/ 6161724 w 6785952"/>
              <a:gd name="connsiteY17103" fmla="*/ 607960 h 5217112"/>
              <a:gd name="connsiteX17104" fmla="*/ 6143869 w 6785952"/>
              <a:gd name="connsiteY17104" fmla="*/ 649588 h 5217112"/>
              <a:gd name="connsiteX17105" fmla="*/ 6161724 w 6785952"/>
              <a:gd name="connsiteY17105" fmla="*/ 607960 h 5217112"/>
              <a:gd name="connsiteX17106" fmla="*/ 3065089 w 6785952"/>
              <a:gd name="connsiteY17106" fmla="*/ 607197 h 5217112"/>
              <a:gd name="connsiteX17107" fmla="*/ 3063167 w 6785952"/>
              <a:gd name="connsiteY17107" fmla="*/ 632153 h 5217112"/>
              <a:gd name="connsiteX17108" fmla="*/ 3056573 w 6785952"/>
              <a:gd name="connsiteY17108" fmla="*/ 619075 h 5217112"/>
              <a:gd name="connsiteX17109" fmla="*/ 3065089 w 6785952"/>
              <a:gd name="connsiteY17109" fmla="*/ 607197 h 5217112"/>
              <a:gd name="connsiteX17110" fmla="*/ 3216171 w 6785952"/>
              <a:gd name="connsiteY17110" fmla="*/ 606871 h 5217112"/>
              <a:gd name="connsiteX17111" fmla="*/ 3221391 w 6785952"/>
              <a:gd name="connsiteY17111" fmla="*/ 607197 h 5217112"/>
              <a:gd name="connsiteX17112" fmla="*/ 3214524 w 6785952"/>
              <a:gd name="connsiteY17112" fmla="*/ 639017 h 5217112"/>
              <a:gd name="connsiteX17113" fmla="*/ 3209853 w 6785952"/>
              <a:gd name="connsiteY17113" fmla="*/ 639126 h 5217112"/>
              <a:gd name="connsiteX17114" fmla="*/ 3203809 w 6785952"/>
              <a:gd name="connsiteY17114" fmla="*/ 636293 h 5217112"/>
              <a:gd name="connsiteX17115" fmla="*/ 3203809 w 6785952"/>
              <a:gd name="connsiteY17115" fmla="*/ 613844 h 5217112"/>
              <a:gd name="connsiteX17116" fmla="*/ 3216171 w 6785952"/>
              <a:gd name="connsiteY17116" fmla="*/ 606871 h 5217112"/>
              <a:gd name="connsiteX17117" fmla="*/ 2098712 w 6785952"/>
              <a:gd name="connsiteY17117" fmla="*/ 606761 h 5217112"/>
              <a:gd name="connsiteX17118" fmla="*/ 2100910 w 6785952"/>
              <a:gd name="connsiteY17118" fmla="*/ 617986 h 5217112"/>
              <a:gd name="connsiteX17119" fmla="*/ 2097614 w 6785952"/>
              <a:gd name="connsiteY17119" fmla="*/ 619075 h 5217112"/>
              <a:gd name="connsiteX17120" fmla="*/ 2091021 w 6785952"/>
              <a:gd name="connsiteY17120" fmla="*/ 611557 h 5217112"/>
              <a:gd name="connsiteX17121" fmla="*/ 2098712 w 6785952"/>
              <a:gd name="connsiteY17121" fmla="*/ 606761 h 5217112"/>
              <a:gd name="connsiteX17122" fmla="*/ 2779955 w 6785952"/>
              <a:gd name="connsiteY17122" fmla="*/ 606652 h 5217112"/>
              <a:gd name="connsiteX17123" fmla="*/ 2792317 w 6785952"/>
              <a:gd name="connsiteY17123" fmla="*/ 621146 h 5217112"/>
              <a:gd name="connsiteX17124" fmla="*/ 2778582 w 6785952"/>
              <a:gd name="connsiteY17124" fmla="*/ 626921 h 5217112"/>
              <a:gd name="connsiteX17125" fmla="*/ 2775011 w 6785952"/>
              <a:gd name="connsiteY17125" fmla="*/ 616242 h 5217112"/>
              <a:gd name="connsiteX17126" fmla="*/ 2779955 w 6785952"/>
              <a:gd name="connsiteY17126" fmla="*/ 606652 h 5217112"/>
              <a:gd name="connsiteX17127" fmla="*/ 3134243 w 6785952"/>
              <a:gd name="connsiteY17127" fmla="*/ 604854 h 5217112"/>
              <a:gd name="connsiteX17128" fmla="*/ 3146673 w 6785952"/>
              <a:gd name="connsiteY17128" fmla="*/ 611448 h 5217112"/>
              <a:gd name="connsiteX17129" fmla="*/ 3131840 w 6785952"/>
              <a:gd name="connsiteY17129" fmla="*/ 624415 h 5217112"/>
              <a:gd name="connsiteX17130" fmla="*/ 3126346 w 6785952"/>
              <a:gd name="connsiteY17130" fmla="*/ 614607 h 5217112"/>
              <a:gd name="connsiteX17131" fmla="*/ 3134243 w 6785952"/>
              <a:gd name="connsiteY17131" fmla="*/ 604854 h 5217112"/>
              <a:gd name="connsiteX17132" fmla="*/ 1308691 w 6785952"/>
              <a:gd name="connsiteY17132" fmla="*/ 604691 h 5217112"/>
              <a:gd name="connsiteX17133" fmla="*/ 1313085 w 6785952"/>
              <a:gd name="connsiteY17133" fmla="*/ 611992 h 5217112"/>
              <a:gd name="connsiteX17134" fmla="*/ 1315557 w 6785952"/>
              <a:gd name="connsiteY17134" fmla="*/ 618531 h 5217112"/>
              <a:gd name="connsiteX17135" fmla="*/ 1318579 w 6785952"/>
              <a:gd name="connsiteY17135" fmla="*/ 642286 h 5217112"/>
              <a:gd name="connsiteX17136" fmla="*/ 1313360 w 6785952"/>
              <a:gd name="connsiteY17136" fmla="*/ 633895 h 5217112"/>
              <a:gd name="connsiteX17137" fmla="*/ 1305394 w 6785952"/>
              <a:gd name="connsiteY17137" fmla="*/ 612646 h 5217112"/>
              <a:gd name="connsiteX17138" fmla="*/ 1307042 w 6785952"/>
              <a:gd name="connsiteY17138" fmla="*/ 608723 h 5217112"/>
              <a:gd name="connsiteX17139" fmla="*/ 1306492 w 6785952"/>
              <a:gd name="connsiteY17139" fmla="*/ 607415 h 5217112"/>
              <a:gd name="connsiteX17140" fmla="*/ 1308691 w 6785952"/>
              <a:gd name="connsiteY17140" fmla="*/ 604691 h 5217112"/>
              <a:gd name="connsiteX17141" fmla="*/ 2611465 w 6785952"/>
              <a:gd name="connsiteY17141" fmla="*/ 602103 h 5217112"/>
              <a:gd name="connsiteX17142" fmla="*/ 2629972 w 6785952"/>
              <a:gd name="connsiteY17142" fmla="*/ 609704 h 5217112"/>
              <a:gd name="connsiteX17143" fmla="*/ 2629698 w 6785952"/>
              <a:gd name="connsiteY17143" fmla="*/ 611557 h 5217112"/>
              <a:gd name="connsiteX17144" fmla="*/ 2631620 w 6785952"/>
              <a:gd name="connsiteY17144" fmla="*/ 605236 h 5217112"/>
              <a:gd name="connsiteX17145" fmla="*/ 2638762 w 6785952"/>
              <a:gd name="connsiteY17145" fmla="*/ 605890 h 5217112"/>
              <a:gd name="connsiteX17146" fmla="*/ 2640960 w 6785952"/>
              <a:gd name="connsiteY17146" fmla="*/ 608069 h 5217112"/>
              <a:gd name="connsiteX17147" fmla="*/ 2641509 w 6785952"/>
              <a:gd name="connsiteY17147" fmla="*/ 604037 h 5217112"/>
              <a:gd name="connsiteX17148" fmla="*/ 2651399 w 6785952"/>
              <a:gd name="connsiteY17148" fmla="*/ 605453 h 5217112"/>
              <a:gd name="connsiteX17149" fmla="*/ 2650025 w 6785952"/>
              <a:gd name="connsiteY17149" fmla="*/ 613082 h 5217112"/>
              <a:gd name="connsiteX17150" fmla="*/ 2644806 w 6785952"/>
              <a:gd name="connsiteY17150" fmla="*/ 613299 h 5217112"/>
              <a:gd name="connsiteX17151" fmla="*/ 2647003 w 6785952"/>
              <a:gd name="connsiteY17151" fmla="*/ 619075 h 5217112"/>
              <a:gd name="connsiteX17152" fmla="*/ 2645905 w 6785952"/>
              <a:gd name="connsiteY17152" fmla="*/ 626377 h 5217112"/>
              <a:gd name="connsiteX17153" fmla="*/ 2635192 w 6785952"/>
              <a:gd name="connsiteY17153" fmla="*/ 623108 h 5217112"/>
              <a:gd name="connsiteX17154" fmla="*/ 2629698 w 6785952"/>
              <a:gd name="connsiteY17154" fmla="*/ 612210 h 5217112"/>
              <a:gd name="connsiteX17155" fmla="*/ 2628325 w 6785952"/>
              <a:gd name="connsiteY17155" fmla="*/ 624633 h 5217112"/>
              <a:gd name="connsiteX17156" fmla="*/ 2602228 w 6785952"/>
              <a:gd name="connsiteY17156" fmla="*/ 645992 h 5217112"/>
              <a:gd name="connsiteX17157" fmla="*/ 2591241 w 6785952"/>
              <a:gd name="connsiteY17157" fmla="*/ 638908 h 5217112"/>
              <a:gd name="connsiteX17158" fmla="*/ 2589042 w 6785952"/>
              <a:gd name="connsiteY17158" fmla="*/ 632370 h 5217112"/>
              <a:gd name="connsiteX17159" fmla="*/ 2586571 w 6785952"/>
              <a:gd name="connsiteY17159" fmla="*/ 628883 h 5217112"/>
              <a:gd name="connsiteX17160" fmla="*/ 2586571 w 6785952"/>
              <a:gd name="connsiteY17160" fmla="*/ 628992 h 5217112"/>
              <a:gd name="connsiteX17161" fmla="*/ 2586571 w 6785952"/>
              <a:gd name="connsiteY17161" fmla="*/ 629427 h 5217112"/>
              <a:gd name="connsiteX17162" fmla="*/ 2583274 w 6785952"/>
              <a:gd name="connsiteY17162" fmla="*/ 637056 h 5217112"/>
              <a:gd name="connsiteX17163" fmla="*/ 2585197 w 6785952"/>
              <a:gd name="connsiteY17163" fmla="*/ 638146 h 5217112"/>
              <a:gd name="connsiteX17164" fmla="*/ 2582450 w 6785952"/>
              <a:gd name="connsiteY17164" fmla="*/ 639017 h 5217112"/>
              <a:gd name="connsiteX17165" fmla="*/ 2580527 w 6785952"/>
              <a:gd name="connsiteY17165" fmla="*/ 643376 h 5217112"/>
              <a:gd name="connsiteX17166" fmla="*/ 2580253 w 6785952"/>
              <a:gd name="connsiteY17166" fmla="*/ 644139 h 5217112"/>
              <a:gd name="connsiteX17167" fmla="*/ 2582175 w 6785952"/>
              <a:gd name="connsiteY17167" fmla="*/ 652530 h 5217112"/>
              <a:gd name="connsiteX17168" fmla="*/ 2593163 w 6785952"/>
              <a:gd name="connsiteY17168" fmla="*/ 694702 h 5217112"/>
              <a:gd name="connsiteX17169" fmla="*/ 2589317 w 6785952"/>
              <a:gd name="connsiteY17169" fmla="*/ 695030 h 5217112"/>
              <a:gd name="connsiteX17170" fmla="*/ 2586571 w 6785952"/>
              <a:gd name="connsiteY17170" fmla="*/ 695356 h 5217112"/>
              <a:gd name="connsiteX17171" fmla="*/ 2592888 w 6785952"/>
              <a:gd name="connsiteY17171" fmla="*/ 700042 h 5217112"/>
              <a:gd name="connsiteX17172" fmla="*/ 2589042 w 6785952"/>
              <a:gd name="connsiteY17172" fmla="*/ 704075 h 5217112"/>
              <a:gd name="connsiteX17173" fmla="*/ 2596460 w 6785952"/>
              <a:gd name="connsiteY17173" fmla="*/ 709632 h 5217112"/>
              <a:gd name="connsiteX17174" fmla="*/ 2600305 w 6785952"/>
              <a:gd name="connsiteY17174" fmla="*/ 717696 h 5217112"/>
              <a:gd name="connsiteX17175" fmla="*/ 2596734 w 6785952"/>
              <a:gd name="connsiteY17175" fmla="*/ 727612 h 5217112"/>
              <a:gd name="connsiteX17176" fmla="*/ 2591790 w 6785952"/>
              <a:gd name="connsiteY17176" fmla="*/ 729356 h 5217112"/>
              <a:gd name="connsiteX17177" fmla="*/ 2593438 w 6785952"/>
              <a:gd name="connsiteY17177" fmla="*/ 730882 h 5217112"/>
              <a:gd name="connsiteX17178" fmla="*/ 2597284 w 6785952"/>
              <a:gd name="connsiteY17178" fmla="*/ 734913 h 5217112"/>
              <a:gd name="connsiteX17179" fmla="*/ 2592339 w 6785952"/>
              <a:gd name="connsiteY17179" fmla="*/ 738836 h 5217112"/>
              <a:gd name="connsiteX17180" fmla="*/ 2588768 w 6785952"/>
              <a:gd name="connsiteY17180" fmla="*/ 739164 h 5217112"/>
              <a:gd name="connsiteX17181" fmla="*/ 2589042 w 6785952"/>
              <a:gd name="connsiteY17181" fmla="*/ 741234 h 5217112"/>
              <a:gd name="connsiteX17182" fmla="*/ 2575034 w 6785952"/>
              <a:gd name="connsiteY17182" fmla="*/ 751478 h 5217112"/>
              <a:gd name="connsiteX17183" fmla="*/ 2571462 w 6785952"/>
              <a:gd name="connsiteY17183" fmla="*/ 744721 h 5217112"/>
              <a:gd name="connsiteX17184" fmla="*/ 2570089 w 6785952"/>
              <a:gd name="connsiteY17184" fmla="*/ 739164 h 5217112"/>
              <a:gd name="connsiteX17185" fmla="*/ 2578604 w 6785952"/>
              <a:gd name="connsiteY17185" fmla="*/ 730990 h 5217112"/>
              <a:gd name="connsiteX17186" fmla="*/ 2579153 w 6785952"/>
              <a:gd name="connsiteY17186" fmla="*/ 731099 h 5217112"/>
              <a:gd name="connsiteX17187" fmla="*/ 2579153 w 6785952"/>
              <a:gd name="connsiteY17187" fmla="*/ 730773 h 5217112"/>
              <a:gd name="connsiteX17188" fmla="*/ 2581077 w 6785952"/>
              <a:gd name="connsiteY17188" fmla="*/ 728593 h 5217112"/>
              <a:gd name="connsiteX17189" fmla="*/ 2578329 w 6785952"/>
              <a:gd name="connsiteY17189" fmla="*/ 727504 h 5217112"/>
              <a:gd name="connsiteX17190" fmla="*/ 2572011 w 6785952"/>
              <a:gd name="connsiteY17190" fmla="*/ 713119 h 5217112"/>
              <a:gd name="connsiteX17191" fmla="*/ 2572011 w 6785952"/>
              <a:gd name="connsiteY17191" fmla="*/ 714536 h 5217112"/>
              <a:gd name="connsiteX17192" fmla="*/ 2551409 w 6785952"/>
              <a:gd name="connsiteY17192" fmla="*/ 726087 h 5217112"/>
              <a:gd name="connsiteX17193" fmla="*/ 2553058 w 6785952"/>
              <a:gd name="connsiteY17193" fmla="*/ 721837 h 5217112"/>
              <a:gd name="connsiteX17194" fmla="*/ 2554431 w 6785952"/>
              <a:gd name="connsiteY17194" fmla="*/ 720529 h 5217112"/>
              <a:gd name="connsiteX17195" fmla="*/ 2554706 w 6785952"/>
              <a:gd name="connsiteY17195" fmla="*/ 719113 h 5217112"/>
              <a:gd name="connsiteX17196" fmla="*/ 2556079 w 6785952"/>
              <a:gd name="connsiteY17196" fmla="*/ 719330 h 5217112"/>
              <a:gd name="connsiteX17197" fmla="*/ 2559101 w 6785952"/>
              <a:gd name="connsiteY17197" fmla="*/ 716824 h 5217112"/>
              <a:gd name="connsiteX17198" fmla="*/ 2563771 w 6785952"/>
              <a:gd name="connsiteY17198" fmla="*/ 708760 h 5217112"/>
              <a:gd name="connsiteX17199" fmla="*/ 2572561 w 6785952"/>
              <a:gd name="connsiteY17199" fmla="*/ 704292 h 5217112"/>
              <a:gd name="connsiteX17200" fmla="*/ 2575308 w 6785952"/>
              <a:gd name="connsiteY17200" fmla="*/ 707670 h 5217112"/>
              <a:gd name="connsiteX17201" fmla="*/ 2578329 w 6785952"/>
              <a:gd name="connsiteY17201" fmla="*/ 705164 h 5217112"/>
              <a:gd name="connsiteX17202" fmla="*/ 2581901 w 6785952"/>
              <a:gd name="connsiteY17202" fmla="*/ 702331 h 5217112"/>
              <a:gd name="connsiteX17203" fmla="*/ 2582175 w 6785952"/>
              <a:gd name="connsiteY17203" fmla="*/ 698844 h 5217112"/>
              <a:gd name="connsiteX17204" fmla="*/ 2584099 w 6785952"/>
              <a:gd name="connsiteY17204" fmla="*/ 694594 h 5217112"/>
              <a:gd name="connsiteX17205" fmla="*/ 2581901 w 6785952"/>
              <a:gd name="connsiteY17205" fmla="*/ 693395 h 5217112"/>
              <a:gd name="connsiteX17206" fmla="*/ 2578604 w 6785952"/>
              <a:gd name="connsiteY17206" fmla="*/ 689036 h 5217112"/>
              <a:gd name="connsiteX17207" fmla="*/ 2573934 w 6785952"/>
              <a:gd name="connsiteY17207" fmla="*/ 680209 h 5217112"/>
              <a:gd name="connsiteX17208" fmla="*/ 2570913 w 6785952"/>
              <a:gd name="connsiteY17208" fmla="*/ 672254 h 5217112"/>
              <a:gd name="connsiteX17209" fmla="*/ 2569814 w 6785952"/>
              <a:gd name="connsiteY17209" fmla="*/ 670837 h 5217112"/>
              <a:gd name="connsiteX17210" fmla="*/ 2554431 w 6785952"/>
              <a:gd name="connsiteY17210" fmla="*/ 667350 h 5217112"/>
              <a:gd name="connsiteX17211" fmla="*/ 2553333 w 6785952"/>
              <a:gd name="connsiteY17211" fmla="*/ 653075 h 5217112"/>
              <a:gd name="connsiteX17212" fmla="*/ 2555530 w 6785952"/>
              <a:gd name="connsiteY17212" fmla="*/ 648389 h 5217112"/>
              <a:gd name="connsiteX17213" fmla="*/ 2568715 w 6785952"/>
              <a:gd name="connsiteY17213" fmla="*/ 659177 h 5217112"/>
              <a:gd name="connsiteX17214" fmla="*/ 2569265 w 6785952"/>
              <a:gd name="connsiteY17214" fmla="*/ 659505 h 5217112"/>
              <a:gd name="connsiteX17215" fmla="*/ 2569265 w 6785952"/>
              <a:gd name="connsiteY17215" fmla="*/ 658960 h 5217112"/>
              <a:gd name="connsiteX17216" fmla="*/ 2568440 w 6785952"/>
              <a:gd name="connsiteY17216" fmla="*/ 651659 h 5217112"/>
              <a:gd name="connsiteX17217" fmla="*/ 2567616 w 6785952"/>
              <a:gd name="connsiteY17217" fmla="*/ 644466 h 5217112"/>
              <a:gd name="connsiteX17218" fmla="*/ 2568440 w 6785952"/>
              <a:gd name="connsiteY17218" fmla="*/ 642723 h 5217112"/>
              <a:gd name="connsiteX17219" fmla="*/ 2561298 w 6785952"/>
              <a:gd name="connsiteY17219" fmla="*/ 640652 h 5217112"/>
              <a:gd name="connsiteX17220" fmla="*/ 2552508 w 6785952"/>
              <a:gd name="connsiteY17220" fmla="*/ 637165 h 5217112"/>
              <a:gd name="connsiteX17221" fmla="*/ 2569814 w 6785952"/>
              <a:gd name="connsiteY17221" fmla="*/ 632806 h 5217112"/>
              <a:gd name="connsiteX17222" fmla="*/ 2576956 w 6785952"/>
              <a:gd name="connsiteY17222" fmla="*/ 634223 h 5217112"/>
              <a:gd name="connsiteX17223" fmla="*/ 2576956 w 6785952"/>
              <a:gd name="connsiteY17223" fmla="*/ 633569 h 5217112"/>
              <a:gd name="connsiteX17224" fmla="*/ 2576956 w 6785952"/>
              <a:gd name="connsiteY17224" fmla="*/ 632479 h 5217112"/>
              <a:gd name="connsiteX17225" fmla="*/ 2575034 w 6785952"/>
              <a:gd name="connsiteY17225" fmla="*/ 624959 h 5217112"/>
              <a:gd name="connsiteX17226" fmla="*/ 2574210 w 6785952"/>
              <a:gd name="connsiteY17226" fmla="*/ 625941 h 5217112"/>
              <a:gd name="connsiteX17227" fmla="*/ 2560474 w 6785952"/>
              <a:gd name="connsiteY17227" fmla="*/ 606761 h 5217112"/>
              <a:gd name="connsiteX17228" fmla="*/ 2573660 w 6785952"/>
              <a:gd name="connsiteY17228" fmla="*/ 605236 h 5217112"/>
              <a:gd name="connsiteX17229" fmla="*/ 2578055 w 6785952"/>
              <a:gd name="connsiteY17229" fmla="*/ 616460 h 5217112"/>
              <a:gd name="connsiteX17230" fmla="*/ 2578055 w 6785952"/>
              <a:gd name="connsiteY17230" fmla="*/ 616787 h 5217112"/>
              <a:gd name="connsiteX17231" fmla="*/ 2580802 w 6785952"/>
              <a:gd name="connsiteY17231" fmla="*/ 612755 h 5217112"/>
              <a:gd name="connsiteX17232" fmla="*/ 2587669 w 6785952"/>
              <a:gd name="connsiteY17232" fmla="*/ 612102 h 5217112"/>
              <a:gd name="connsiteX17233" fmla="*/ 2589317 w 6785952"/>
              <a:gd name="connsiteY17233" fmla="*/ 615043 h 5217112"/>
              <a:gd name="connsiteX17234" fmla="*/ 2590416 w 6785952"/>
              <a:gd name="connsiteY17234" fmla="*/ 612428 h 5217112"/>
              <a:gd name="connsiteX17235" fmla="*/ 2594262 w 6785952"/>
              <a:gd name="connsiteY17235" fmla="*/ 609813 h 5217112"/>
              <a:gd name="connsiteX17236" fmla="*/ 2594536 w 6785952"/>
              <a:gd name="connsiteY17236" fmla="*/ 609921 h 5217112"/>
              <a:gd name="connsiteX17237" fmla="*/ 2597284 w 6785952"/>
              <a:gd name="connsiteY17237" fmla="*/ 606761 h 5217112"/>
              <a:gd name="connsiteX17238" fmla="*/ 2611465 w 6785952"/>
              <a:gd name="connsiteY17238" fmla="*/ 602103 h 5217112"/>
              <a:gd name="connsiteX17239" fmla="*/ 2798910 w 6785952"/>
              <a:gd name="connsiteY17239" fmla="*/ 601530 h 5217112"/>
              <a:gd name="connsiteX17240" fmla="*/ 2803030 w 6785952"/>
              <a:gd name="connsiteY17240" fmla="*/ 604364 h 5217112"/>
              <a:gd name="connsiteX17241" fmla="*/ 2804129 w 6785952"/>
              <a:gd name="connsiteY17241" fmla="*/ 611883 h 5217112"/>
              <a:gd name="connsiteX17242" fmla="*/ 2801657 w 6785952"/>
              <a:gd name="connsiteY17242" fmla="*/ 613627 h 5217112"/>
              <a:gd name="connsiteX17243" fmla="*/ 2791493 w 6785952"/>
              <a:gd name="connsiteY17243" fmla="*/ 610249 h 5217112"/>
              <a:gd name="connsiteX17244" fmla="*/ 2790119 w 6785952"/>
              <a:gd name="connsiteY17244" fmla="*/ 605781 h 5217112"/>
              <a:gd name="connsiteX17245" fmla="*/ 2798910 w 6785952"/>
              <a:gd name="connsiteY17245" fmla="*/ 601530 h 5217112"/>
              <a:gd name="connsiteX17246" fmla="*/ 2523116 w 6785952"/>
              <a:gd name="connsiteY17246" fmla="*/ 600659 h 5217112"/>
              <a:gd name="connsiteX17247" fmla="*/ 2505261 w 6785952"/>
              <a:gd name="connsiteY17247" fmla="*/ 642286 h 5217112"/>
              <a:gd name="connsiteX17248" fmla="*/ 2523116 w 6785952"/>
              <a:gd name="connsiteY17248" fmla="*/ 600659 h 5217112"/>
              <a:gd name="connsiteX17249" fmla="*/ 3230455 w 6785952"/>
              <a:gd name="connsiteY17249" fmla="*/ 599896 h 5217112"/>
              <a:gd name="connsiteX17250" fmla="*/ 3242817 w 6785952"/>
              <a:gd name="connsiteY17250" fmla="*/ 630081 h 5217112"/>
              <a:gd name="connsiteX17251" fmla="*/ 3232104 w 6785952"/>
              <a:gd name="connsiteY17251" fmla="*/ 617441 h 5217112"/>
              <a:gd name="connsiteX17252" fmla="*/ 3230455 w 6785952"/>
              <a:gd name="connsiteY17252" fmla="*/ 599896 h 5217112"/>
              <a:gd name="connsiteX17253" fmla="*/ 2106954 w 6785952"/>
              <a:gd name="connsiteY17253" fmla="*/ 599460 h 5217112"/>
              <a:gd name="connsiteX17254" fmla="*/ 2108601 w 6785952"/>
              <a:gd name="connsiteY17254" fmla="*/ 600332 h 5217112"/>
              <a:gd name="connsiteX17255" fmla="*/ 2109975 w 6785952"/>
              <a:gd name="connsiteY17255" fmla="*/ 599787 h 5217112"/>
              <a:gd name="connsiteX17256" fmla="*/ 2110249 w 6785952"/>
              <a:gd name="connsiteY17256" fmla="*/ 601204 h 5217112"/>
              <a:gd name="connsiteX17257" fmla="*/ 2113821 w 6785952"/>
              <a:gd name="connsiteY17257" fmla="*/ 602947 h 5217112"/>
              <a:gd name="connsiteX17258" fmla="*/ 2123161 w 6785952"/>
              <a:gd name="connsiteY17258" fmla="*/ 604037 h 5217112"/>
              <a:gd name="connsiteX17259" fmla="*/ 2130852 w 6785952"/>
              <a:gd name="connsiteY17259" fmla="*/ 610249 h 5217112"/>
              <a:gd name="connsiteX17260" fmla="*/ 2128929 w 6785952"/>
              <a:gd name="connsiteY17260" fmla="*/ 613953 h 5217112"/>
              <a:gd name="connsiteX17261" fmla="*/ 2132225 w 6785952"/>
              <a:gd name="connsiteY17261" fmla="*/ 615697 h 5217112"/>
              <a:gd name="connsiteX17262" fmla="*/ 2135522 w 6785952"/>
              <a:gd name="connsiteY17262" fmla="*/ 634223 h 5217112"/>
              <a:gd name="connsiteX17263" fmla="*/ 2129753 w 6785952"/>
              <a:gd name="connsiteY17263" fmla="*/ 640870 h 5217112"/>
              <a:gd name="connsiteX17264" fmla="*/ 2124259 w 6785952"/>
              <a:gd name="connsiteY17264" fmla="*/ 642505 h 5217112"/>
              <a:gd name="connsiteX17265" fmla="*/ 2119315 w 6785952"/>
              <a:gd name="connsiteY17265" fmla="*/ 641633 h 5217112"/>
              <a:gd name="connsiteX17266" fmla="*/ 2112448 w 6785952"/>
              <a:gd name="connsiteY17266" fmla="*/ 634332 h 5217112"/>
              <a:gd name="connsiteX17267" fmla="*/ 2111898 w 6785952"/>
              <a:gd name="connsiteY17267" fmla="*/ 632479 h 5217112"/>
              <a:gd name="connsiteX17268" fmla="*/ 2111073 w 6785952"/>
              <a:gd name="connsiteY17268" fmla="*/ 632697 h 5217112"/>
              <a:gd name="connsiteX17269" fmla="*/ 2096790 w 6785952"/>
              <a:gd name="connsiteY17269" fmla="*/ 634877 h 5217112"/>
              <a:gd name="connsiteX17270" fmla="*/ 2109151 w 6785952"/>
              <a:gd name="connsiteY17270" fmla="*/ 623434 h 5217112"/>
              <a:gd name="connsiteX17271" fmla="*/ 2112997 w 6785952"/>
              <a:gd name="connsiteY17271" fmla="*/ 623108 h 5217112"/>
              <a:gd name="connsiteX17272" fmla="*/ 2116567 w 6785952"/>
              <a:gd name="connsiteY17272" fmla="*/ 616896 h 5217112"/>
              <a:gd name="connsiteX17273" fmla="*/ 2122611 w 6785952"/>
              <a:gd name="connsiteY17273" fmla="*/ 613299 h 5217112"/>
              <a:gd name="connsiteX17274" fmla="*/ 2121237 w 6785952"/>
              <a:gd name="connsiteY17274" fmla="*/ 613736 h 5217112"/>
              <a:gd name="connsiteX17275" fmla="*/ 2102284 w 6785952"/>
              <a:gd name="connsiteY17275" fmla="*/ 599569 h 5217112"/>
              <a:gd name="connsiteX17276" fmla="*/ 2106954 w 6785952"/>
              <a:gd name="connsiteY17276" fmla="*/ 599460 h 5217112"/>
              <a:gd name="connsiteX17277" fmla="*/ 1861101 w 6785952"/>
              <a:gd name="connsiteY17277" fmla="*/ 598261 h 5217112"/>
              <a:gd name="connsiteX17278" fmla="*/ 1867145 w 6785952"/>
              <a:gd name="connsiteY17278" fmla="*/ 599134 h 5217112"/>
              <a:gd name="connsiteX17279" fmla="*/ 1877034 w 6785952"/>
              <a:gd name="connsiteY17279" fmla="*/ 600332 h 5217112"/>
              <a:gd name="connsiteX17280" fmla="*/ 1878133 w 6785952"/>
              <a:gd name="connsiteY17280" fmla="*/ 607742 h 5217112"/>
              <a:gd name="connsiteX17281" fmla="*/ 1862750 w 6785952"/>
              <a:gd name="connsiteY17281" fmla="*/ 614607 h 5217112"/>
              <a:gd name="connsiteX17282" fmla="*/ 1852861 w 6785952"/>
              <a:gd name="connsiteY17282" fmla="*/ 613409 h 5217112"/>
              <a:gd name="connsiteX17283" fmla="*/ 1855882 w 6785952"/>
              <a:gd name="connsiteY17283" fmla="*/ 600659 h 5217112"/>
              <a:gd name="connsiteX17284" fmla="*/ 1861101 w 6785952"/>
              <a:gd name="connsiteY17284" fmla="*/ 598261 h 5217112"/>
              <a:gd name="connsiteX17285" fmla="*/ 3014271 w 6785952"/>
              <a:gd name="connsiteY17285" fmla="*/ 597499 h 5217112"/>
              <a:gd name="connsiteX17286" fmla="*/ 3024434 w 6785952"/>
              <a:gd name="connsiteY17286" fmla="*/ 601204 h 5217112"/>
              <a:gd name="connsiteX17287" fmla="*/ 3022511 w 6785952"/>
              <a:gd name="connsiteY17287" fmla="*/ 614063 h 5217112"/>
              <a:gd name="connsiteX17288" fmla="*/ 3024160 w 6785952"/>
              <a:gd name="connsiteY17288" fmla="*/ 613518 h 5217112"/>
              <a:gd name="connsiteX17289" fmla="*/ 3023060 w 6785952"/>
              <a:gd name="connsiteY17289" fmla="*/ 614607 h 5217112"/>
              <a:gd name="connsiteX17290" fmla="*/ 3022236 w 6785952"/>
              <a:gd name="connsiteY17290" fmla="*/ 614498 h 5217112"/>
              <a:gd name="connsiteX17291" fmla="*/ 3017841 w 6785952"/>
              <a:gd name="connsiteY17291" fmla="*/ 619947 h 5217112"/>
              <a:gd name="connsiteX17292" fmla="*/ 3012073 w 6785952"/>
              <a:gd name="connsiteY17292" fmla="*/ 622780 h 5217112"/>
              <a:gd name="connsiteX17293" fmla="*/ 3002184 w 6785952"/>
              <a:gd name="connsiteY17293" fmla="*/ 616678 h 5217112"/>
              <a:gd name="connsiteX17294" fmla="*/ 3007952 w 6785952"/>
              <a:gd name="connsiteY17294" fmla="*/ 599243 h 5217112"/>
              <a:gd name="connsiteX17295" fmla="*/ 3014271 w 6785952"/>
              <a:gd name="connsiteY17295" fmla="*/ 597499 h 5217112"/>
              <a:gd name="connsiteX17296" fmla="*/ 1429282 w 6785952"/>
              <a:gd name="connsiteY17296" fmla="*/ 596954 h 5217112"/>
              <a:gd name="connsiteX17297" fmla="*/ 1435050 w 6785952"/>
              <a:gd name="connsiteY17297" fmla="*/ 603492 h 5217112"/>
              <a:gd name="connsiteX17298" fmla="*/ 1430929 w 6785952"/>
              <a:gd name="connsiteY17298" fmla="*/ 608723 h 5217112"/>
              <a:gd name="connsiteX17299" fmla="*/ 1425160 w 6785952"/>
              <a:gd name="connsiteY17299" fmla="*/ 602184 h 5217112"/>
              <a:gd name="connsiteX17300" fmla="*/ 1429282 w 6785952"/>
              <a:gd name="connsiteY17300" fmla="*/ 596954 h 5217112"/>
              <a:gd name="connsiteX17301" fmla="*/ 4173483 w 6785952"/>
              <a:gd name="connsiteY17301" fmla="*/ 596736 h 5217112"/>
              <a:gd name="connsiteX17302" fmla="*/ 4175955 w 6785952"/>
              <a:gd name="connsiteY17302" fmla="*/ 603383 h 5217112"/>
              <a:gd name="connsiteX17303" fmla="*/ 4172659 w 6785952"/>
              <a:gd name="connsiteY17303" fmla="*/ 602403 h 5217112"/>
              <a:gd name="connsiteX17304" fmla="*/ 4172110 w 6785952"/>
              <a:gd name="connsiteY17304" fmla="*/ 597390 h 5217112"/>
              <a:gd name="connsiteX17305" fmla="*/ 4173483 w 6785952"/>
              <a:gd name="connsiteY17305" fmla="*/ 596736 h 5217112"/>
              <a:gd name="connsiteX17306" fmla="*/ 4069648 w 6785952"/>
              <a:gd name="connsiteY17306" fmla="*/ 596300 h 5217112"/>
              <a:gd name="connsiteX17307" fmla="*/ 4066077 w 6785952"/>
              <a:gd name="connsiteY17307" fmla="*/ 598698 h 5217112"/>
              <a:gd name="connsiteX17308" fmla="*/ 4064704 w 6785952"/>
              <a:gd name="connsiteY17308" fmla="*/ 598698 h 5217112"/>
              <a:gd name="connsiteX17309" fmla="*/ 4064154 w 6785952"/>
              <a:gd name="connsiteY17309" fmla="*/ 597390 h 5217112"/>
              <a:gd name="connsiteX17310" fmla="*/ 4069648 w 6785952"/>
              <a:gd name="connsiteY17310" fmla="*/ 596300 h 5217112"/>
              <a:gd name="connsiteX17311" fmla="*/ 3200514 w 6785952"/>
              <a:gd name="connsiteY17311" fmla="*/ 595101 h 5217112"/>
              <a:gd name="connsiteX17312" fmla="*/ 3203809 w 6785952"/>
              <a:gd name="connsiteY17312" fmla="*/ 597826 h 5217112"/>
              <a:gd name="connsiteX17313" fmla="*/ 3199415 w 6785952"/>
              <a:gd name="connsiteY17313" fmla="*/ 601530 h 5217112"/>
              <a:gd name="connsiteX17314" fmla="*/ 3198041 w 6785952"/>
              <a:gd name="connsiteY17314" fmla="*/ 595646 h 5217112"/>
              <a:gd name="connsiteX17315" fmla="*/ 3200514 w 6785952"/>
              <a:gd name="connsiteY17315" fmla="*/ 595101 h 5217112"/>
              <a:gd name="connsiteX17316" fmla="*/ 3261770 w 6785952"/>
              <a:gd name="connsiteY17316" fmla="*/ 594883 h 5217112"/>
              <a:gd name="connsiteX17317" fmla="*/ 3268363 w 6785952"/>
              <a:gd name="connsiteY17317" fmla="*/ 606217 h 5217112"/>
              <a:gd name="connsiteX17318" fmla="*/ 3254079 w 6785952"/>
              <a:gd name="connsiteY17318" fmla="*/ 616242 h 5217112"/>
              <a:gd name="connsiteX17319" fmla="*/ 3249684 w 6785952"/>
              <a:gd name="connsiteY17319" fmla="*/ 615043 h 5217112"/>
              <a:gd name="connsiteX17320" fmla="*/ 3261770 w 6785952"/>
              <a:gd name="connsiteY17320" fmla="*/ 594883 h 5217112"/>
              <a:gd name="connsiteX17321" fmla="*/ 1155135 w 6785952"/>
              <a:gd name="connsiteY17321" fmla="*/ 594338 h 5217112"/>
              <a:gd name="connsiteX17322" fmla="*/ 1158982 w 6785952"/>
              <a:gd name="connsiteY17322" fmla="*/ 595210 h 5217112"/>
              <a:gd name="connsiteX17323" fmla="*/ 1158982 w 6785952"/>
              <a:gd name="connsiteY17323" fmla="*/ 598479 h 5217112"/>
              <a:gd name="connsiteX17324" fmla="*/ 1160080 w 6785952"/>
              <a:gd name="connsiteY17324" fmla="*/ 600985 h 5217112"/>
              <a:gd name="connsiteX17325" fmla="*/ 1158982 w 6785952"/>
              <a:gd name="connsiteY17325" fmla="*/ 601749 h 5217112"/>
              <a:gd name="connsiteX17326" fmla="*/ 1158432 w 6785952"/>
              <a:gd name="connsiteY17326" fmla="*/ 603819 h 5217112"/>
              <a:gd name="connsiteX17327" fmla="*/ 1151839 w 6785952"/>
              <a:gd name="connsiteY17327" fmla="*/ 604473 h 5217112"/>
              <a:gd name="connsiteX17328" fmla="*/ 1149092 w 6785952"/>
              <a:gd name="connsiteY17328" fmla="*/ 602947 h 5217112"/>
              <a:gd name="connsiteX17329" fmla="*/ 1147994 w 6785952"/>
              <a:gd name="connsiteY17329" fmla="*/ 600332 h 5217112"/>
              <a:gd name="connsiteX17330" fmla="*/ 1149916 w 6785952"/>
              <a:gd name="connsiteY17330" fmla="*/ 597499 h 5217112"/>
              <a:gd name="connsiteX17331" fmla="*/ 1155135 w 6785952"/>
              <a:gd name="connsiteY17331" fmla="*/ 594338 h 5217112"/>
              <a:gd name="connsiteX17332" fmla="*/ 2206530 w 6785952"/>
              <a:gd name="connsiteY17332" fmla="*/ 592854 h 5217112"/>
              <a:gd name="connsiteX17333" fmla="*/ 2230016 w 6785952"/>
              <a:gd name="connsiteY17333" fmla="*/ 593140 h 5217112"/>
              <a:gd name="connsiteX17334" fmla="*/ 2240455 w 6785952"/>
              <a:gd name="connsiteY17334" fmla="*/ 624306 h 5217112"/>
              <a:gd name="connsiteX17335" fmla="*/ 2238807 w 6785952"/>
              <a:gd name="connsiteY17335" fmla="*/ 624851 h 5217112"/>
              <a:gd name="connsiteX17336" fmla="*/ 2245399 w 6785952"/>
              <a:gd name="connsiteY17336" fmla="*/ 624088 h 5217112"/>
              <a:gd name="connsiteX17337" fmla="*/ 2247597 w 6785952"/>
              <a:gd name="connsiteY17337" fmla="*/ 630954 h 5217112"/>
              <a:gd name="connsiteX17338" fmla="*/ 2246498 w 6785952"/>
              <a:gd name="connsiteY17338" fmla="*/ 633678 h 5217112"/>
              <a:gd name="connsiteX17339" fmla="*/ 2250344 w 6785952"/>
              <a:gd name="connsiteY17339" fmla="*/ 632588 h 5217112"/>
              <a:gd name="connsiteX17340" fmla="*/ 2253091 w 6785952"/>
              <a:gd name="connsiteY17340" fmla="*/ 642178 h 5217112"/>
              <a:gd name="connsiteX17341" fmla="*/ 2245674 w 6785952"/>
              <a:gd name="connsiteY17341" fmla="*/ 644030 h 5217112"/>
              <a:gd name="connsiteX17342" fmla="*/ 2243202 w 6785952"/>
              <a:gd name="connsiteY17342" fmla="*/ 639345 h 5217112"/>
              <a:gd name="connsiteX17343" fmla="*/ 2238807 w 6785952"/>
              <a:gd name="connsiteY17343" fmla="*/ 643594 h 5217112"/>
              <a:gd name="connsiteX17344" fmla="*/ 2231940 w 6785952"/>
              <a:gd name="connsiteY17344" fmla="*/ 645664 h 5217112"/>
              <a:gd name="connsiteX17345" fmla="*/ 2230291 w 6785952"/>
              <a:gd name="connsiteY17345" fmla="*/ 634440 h 5217112"/>
              <a:gd name="connsiteX17346" fmla="*/ 2238258 w 6785952"/>
              <a:gd name="connsiteY17346" fmla="*/ 625069 h 5217112"/>
              <a:gd name="connsiteX17347" fmla="*/ 2236334 w 6785952"/>
              <a:gd name="connsiteY17347" fmla="*/ 625614 h 5217112"/>
              <a:gd name="connsiteX17348" fmla="*/ 2235785 w 6785952"/>
              <a:gd name="connsiteY17348" fmla="*/ 627031 h 5217112"/>
              <a:gd name="connsiteX17349" fmla="*/ 2232764 w 6785952"/>
              <a:gd name="connsiteY17349" fmla="*/ 629319 h 5217112"/>
              <a:gd name="connsiteX17350" fmla="*/ 2230840 w 6785952"/>
              <a:gd name="connsiteY17350" fmla="*/ 627357 h 5217112"/>
              <a:gd name="connsiteX17351" fmla="*/ 2226171 w 6785952"/>
              <a:gd name="connsiteY17351" fmla="*/ 628774 h 5217112"/>
              <a:gd name="connsiteX17352" fmla="*/ 2208315 w 6785952"/>
              <a:gd name="connsiteY17352" fmla="*/ 626595 h 5217112"/>
              <a:gd name="connsiteX17353" fmla="*/ 2205569 w 6785952"/>
              <a:gd name="connsiteY17353" fmla="*/ 630081 h 5217112"/>
              <a:gd name="connsiteX17354" fmla="*/ 2205294 w 6785952"/>
              <a:gd name="connsiteY17354" fmla="*/ 630300 h 5217112"/>
              <a:gd name="connsiteX17355" fmla="*/ 2205569 w 6785952"/>
              <a:gd name="connsiteY17355" fmla="*/ 630409 h 5217112"/>
              <a:gd name="connsiteX17356" fmla="*/ 2205569 w 6785952"/>
              <a:gd name="connsiteY17356" fmla="*/ 633678 h 5217112"/>
              <a:gd name="connsiteX17357" fmla="*/ 2206668 w 6785952"/>
              <a:gd name="connsiteY17357" fmla="*/ 636184 h 5217112"/>
              <a:gd name="connsiteX17358" fmla="*/ 2205569 w 6785952"/>
              <a:gd name="connsiteY17358" fmla="*/ 636947 h 5217112"/>
              <a:gd name="connsiteX17359" fmla="*/ 2204745 w 6785952"/>
              <a:gd name="connsiteY17359" fmla="*/ 639017 h 5217112"/>
              <a:gd name="connsiteX17360" fmla="*/ 2198427 w 6785952"/>
              <a:gd name="connsiteY17360" fmla="*/ 639671 h 5217112"/>
              <a:gd name="connsiteX17361" fmla="*/ 2195405 w 6785952"/>
              <a:gd name="connsiteY17361" fmla="*/ 638146 h 5217112"/>
              <a:gd name="connsiteX17362" fmla="*/ 2194581 w 6785952"/>
              <a:gd name="connsiteY17362" fmla="*/ 635421 h 5217112"/>
              <a:gd name="connsiteX17363" fmla="*/ 2195405 w 6785952"/>
              <a:gd name="connsiteY17363" fmla="*/ 634223 h 5217112"/>
              <a:gd name="connsiteX17364" fmla="*/ 2192658 w 6785952"/>
              <a:gd name="connsiteY17364" fmla="*/ 632915 h 5217112"/>
              <a:gd name="connsiteX17365" fmla="*/ 2192933 w 6785952"/>
              <a:gd name="connsiteY17365" fmla="*/ 627031 h 5217112"/>
              <a:gd name="connsiteX17366" fmla="*/ 2198152 w 6785952"/>
              <a:gd name="connsiteY17366" fmla="*/ 623108 h 5217112"/>
              <a:gd name="connsiteX17367" fmla="*/ 2201174 w 6785952"/>
              <a:gd name="connsiteY17367" fmla="*/ 622235 h 5217112"/>
              <a:gd name="connsiteX17368" fmla="*/ 2200350 w 6785952"/>
              <a:gd name="connsiteY17368" fmla="*/ 621255 h 5217112"/>
              <a:gd name="connsiteX17369" fmla="*/ 2196229 w 6785952"/>
              <a:gd name="connsiteY17369" fmla="*/ 613736 h 5217112"/>
              <a:gd name="connsiteX17370" fmla="*/ 2206530 w 6785952"/>
              <a:gd name="connsiteY17370" fmla="*/ 592854 h 5217112"/>
              <a:gd name="connsiteX17371" fmla="*/ 3184032 w 6785952"/>
              <a:gd name="connsiteY17371" fmla="*/ 592704 h 5217112"/>
              <a:gd name="connsiteX17372" fmla="*/ 3186504 w 6785952"/>
              <a:gd name="connsiteY17372" fmla="*/ 604582 h 5217112"/>
              <a:gd name="connsiteX17373" fmla="*/ 3184581 w 6785952"/>
              <a:gd name="connsiteY17373" fmla="*/ 606107 h 5217112"/>
              <a:gd name="connsiteX17374" fmla="*/ 3183483 w 6785952"/>
              <a:gd name="connsiteY17374" fmla="*/ 605672 h 5217112"/>
              <a:gd name="connsiteX17375" fmla="*/ 3180735 w 6785952"/>
              <a:gd name="connsiteY17375" fmla="*/ 602403 h 5217112"/>
              <a:gd name="connsiteX17376" fmla="*/ 3181010 w 6785952"/>
              <a:gd name="connsiteY17376" fmla="*/ 593793 h 5217112"/>
              <a:gd name="connsiteX17377" fmla="*/ 3184032 w 6785952"/>
              <a:gd name="connsiteY17377" fmla="*/ 592704 h 5217112"/>
              <a:gd name="connsiteX17378" fmla="*/ 3551024 w 6785952"/>
              <a:gd name="connsiteY17378" fmla="*/ 592377 h 5217112"/>
              <a:gd name="connsiteX17379" fmla="*/ 3556518 w 6785952"/>
              <a:gd name="connsiteY17379" fmla="*/ 592813 h 5217112"/>
              <a:gd name="connsiteX17380" fmla="*/ 3553771 w 6785952"/>
              <a:gd name="connsiteY17380" fmla="*/ 624524 h 5217112"/>
              <a:gd name="connsiteX17381" fmla="*/ 3549376 w 6785952"/>
              <a:gd name="connsiteY17381" fmla="*/ 624415 h 5217112"/>
              <a:gd name="connsiteX17382" fmla="*/ 3542784 w 6785952"/>
              <a:gd name="connsiteY17382" fmla="*/ 621255 h 5217112"/>
              <a:gd name="connsiteX17383" fmla="*/ 3539761 w 6785952"/>
              <a:gd name="connsiteY17383" fmla="*/ 598915 h 5217112"/>
              <a:gd name="connsiteX17384" fmla="*/ 3551024 w 6785952"/>
              <a:gd name="connsiteY17384" fmla="*/ 592377 h 5217112"/>
              <a:gd name="connsiteX17385" fmla="*/ 6258142 w 6785952"/>
              <a:gd name="connsiteY17385" fmla="*/ 591287 h 5217112"/>
              <a:gd name="connsiteX17386" fmla="*/ 6263361 w 6785952"/>
              <a:gd name="connsiteY17386" fmla="*/ 602621 h 5217112"/>
              <a:gd name="connsiteX17387" fmla="*/ 6251550 w 6785952"/>
              <a:gd name="connsiteY17387" fmla="*/ 615915 h 5217112"/>
              <a:gd name="connsiteX17388" fmla="*/ 6238913 w 6785952"/>
              <a:gd name="connsiteY17388" fmla="*/ 612319 h 5217112"/>
              <a:gd name="connsiteX17389" fmla="*/ 6239462 w 6785952"/>
              <a:gd name="connsiteY17389" fmla="*/ 597608 h 5217112"/>
              <a:gd name="connsiteX17390" fmla="*/ 6245231 w 6785952"/>
              <a:gd name="connsiteY17390" fmla="*/ 594121 h 5217112"/>
              <a:gd name="connsiteX17391" fmla="*/ 6258417 w 6785952"/>
              <a:gd name="connsiteY17391" fmla="*/ 593249 h 5217112"/>
              <a:gd name="connsiteX17392" fmla="*/ 6258142 w 6785952"/>
              <a:gd name="connsiteY17392" fmla="*/ 591287 h 5217112"/>
              <a:gd name="connsiteX17393" fmla="*/ 4075966 w 6785952"/>
              <a:gd name="connsiteY17393" fmla="*/ 591287 h 5217112"/>
              <a:gd name="connsiteX17394" fmla="*/ 4085581 w 6785952"/>
              <a:gd name="connsiteY17394" fmla="*/ 599024 h 5217112"/>
              <a:gd name="connsiteX17395" fmla="*/ 4076515 w 6785952"/>
              <a:gd name="connsiteY17395" fmla="*/ 600768 h 5217112"/>
              <a:gd name="connsiteX17396" fmla="*/ 4075966 w 6785952"/>
              <a:gd name="connsiteY17396" fmla="*/ 591287 h 5217112"/>
              <a:gd name="connsiteX17397" fmla="*/ 4043827 w 6785952"/>
              <a:gd name="connsiteY17397" fmla="*/ 590852 h 5217112"/>
              <a:gd name="connsiteX17398" fmla="*/ 4029817 w 6785952"/>
              <a:gd name="connsiteY17398" fmla="*/ 603711 h 5217112"/>
              <a:gd name="connsiteX17399" fmla="*/ 4021851 w 6785952"/>
              <a:gd name="connsiteY17399" fmla="*/ 600985 h 5217112"/>
              <a:gd name="connsiteX17400" fmla="*/ 4022126 w 6785952"/>
              <a:gd name="connsiteY17400" fmla="*/ 594775 h 5217112"/>
              <a:gd name="connsiteX17401" fmla="*/ 4043827 w 6785952"/>
              <a:gd name="connsiteY17401" fmla="*/ 590852 h 5217112"/>
              <a:gd name="connsiteX17402" fmla="*/ 1120799 w 6785952"/>
              <a:gd name="connsiteY17402" fmla="*/ 589762 h 5217112"/>
              <a:gd name="connsiteX17403" fmla="*/ 1148268 w 6785952"/>
              <a:gd name="connsiteY17403" fmla="*/ 602293 h 5217112"/>
              <a:gd name="connsiteX17404" fmla="*/ 1143049 w 6785952"/>
              <a:gd name="connsiteY17404" fmla="*/ 605127 h 5217112"/>
              <a:gd name="connsiteX17405" fmla="*/ 1136182 w 6785952"/>
              <a:gd name="connsiteY17405" fmla="*/ 604800 h 5217112"/>
              <a:gd name="connsiteX17406" fmla="*/ 1123271 w 6785952"/>
              <a:gd name="connsiteY17406" fmla="*/ 599460 h 5217112"/>
              <a:gd name="connsiteX17407" fmla="*/ 1120799 w 6785952"/>
              <a:gd name="connsiteY17407" fmla="*/ 589762 h 5217112"/>
              <a:gd name="connsiteX17408" fmla="*/ 2553333 w 6785952"/>
              <a:gd name="connsiteY17408" fmla="*/ 588563 h 5217112"/>
              <a:gd name="connsiteX17409" fmla="*/ 2547289 w 6785952"/>
              <a:gd name="connsiteY17409" fmla="*/ 607197 h 5217112"/>
              <a:gd name="connsiteX17410" fmla="*/ 2533829 w 6785952"/>
              <a:gd name="connsiteY17410" fmla="*/ 594775 h 5217112"/>
              <a:gd name="connsiteX17411" fmla="*/ 2553333 w 6785952"/>
              <a:gd name="connsiteY17411" fmla="*/ 588563 h 5217112"/>
              <a:gd name="connsiteX17412" fmla="*/ 2564870 w 6785952"/>
              <a:gd name="connsiteY17412" fmla="*/ 587146 h 5217112"/>
              <a:gd name="connsiteX17413" fmla="*/ 2564595 w 6785952"/>
              <a:gd name="connsiteY17413" fmla="*/ 601530 h 5217112"/>
              <a:gd name="connsiteX17414" fmla="*/ 2558552 w 6785952"/>
              <a:gd name="connsiteY17414" fmla="*/ 598479 h 5217112"/>
              <a:gd name="connsiteX17415" fmla="*/ 2564870 w 6785952"/>
              <a:gd name="connsiteY17415" fmla="*/ 587146 h 5217112"/>
              <a:gd name="connsiteX17416" fmla="*/ 3470539 w 6785952"/>
              <a:gd name="connsiteY17416" fmla="*/ 585294 h 5217112"/>
              <a:gd name="connsiteX17417" fmla="*/ 3474384 w 6785952"/>
              <a:gd name="connsiteY17417" fmla="*/ 599024 h 5217112"/>
              <a:gd name="connsiteX17418" fmla="*/ 3462572 w 6785952"/>
              <a:gd name="connsiteY17418" fmla="*/ 603928 h 5217112"/>
              <a:gd name="connsiteX17419" fmla="*/ 3451310 w 6785952"/>
              <a:gd name="connsiteY17419" fmla="*/ 603928 h 5217112"/>
              <a:gd name="connsiteX17420" fmla="*/ 3470539 w 6785952"/>
              <a:gd name="connsiteY17420" fmla="*/ 585294 h 5217112"/>
              <a:gd name="connsiteX17421" fmla="*/ 2366814 w 6785952"/>
              <a:gd name="connsiteY17421" fmla="*/ 583441 h 5217112"/>
              <a:gd name="connsiteX17422" fmla="*/ 2367639 w 6785952"/>
              <a:gd name="connsiteY17422" fmla="*/ 592377 h 5217112"/>
              <a:gd name="connsiteX17423" fmla="*/ 2367089 w 6785952"/>
              <a:gd name="connsiteY17423" fmla="*/ 599678 h 5217112"/>
              <a:gd name="connsiteX17424" fmla="*/ 2359947 w 6785952"/>
              <a:gd name="connsiteY17424" fmla="*/ 621800 h 5217112"/>
              <a:gd name="connsiteX17425" fmla="*/ 2358848 w 6785952"/>
              <a:gd name="connsiteY17425" fmla="*/ 611448 h 5217112"/>
              <a:gd name="connsiteX17426" fmla="*/ 2360771 w 6785952"/>
              <a:gd name="connsiteY17426" fmla="*/ 588236 h 5217112"/>
              <a:gd name="connsiteX17427" fmla="*/ 2363793 w 6785952"/>
              <a:gd name="connsiteY17427" fmla="*/ 585839 h 5217112"/>
              <a:gd name="connsiteX17428" fmla="*/ 2363793 w 6785952"/>
              <a:gd name="connsiteY17428" fmla="*/ 584422 h 5217112"/>
              <a:gd name="connsiteX17429" fmla="*/ 2366814 w 6785952"/>
              <a:gd name="connsiteY17429" fmla="*/ 583441 h 5217112"/>
              <a:gd name="connsiteX17430" fmla="*/ 4254518 w 6785952"/>
              <a:gd name="connsiteY17430" fmla="*/ 583223 h 5217112"/>
              <a:gd name="connsiteX17431" fmla="*/ 4252320 w 6785952"/>
              <a:gd name="connsiteY17431" fmla="*/ 594121 h 5217112"/>
              <a:gd name="connsiteX17432" fmla="*/ 4251221 w 6785952"/>
              <a:gd name="connsiteY17432" fmla="*/ 592268 h 5217112"/>
              <a:gd name="connsiteX17433" fmla="*/ 4252045 w 6785952"/>
              <a:gd name="connsiteY17433" fmla="*/ 589434 h 5217112"/>
              <a:gd name="connsiteX17434" fmla="*/ 4254518 w 6785952"/>
              <a:gd name="connsiteY17434" fmla="*/ 583223 h 5217112"/>
              <a:gd name="connsiteX17435" fmla="*/ 2009162 w 6785952"/>
              <a:gd name="connsiteY17435" fmla="*/ 583223 h 5217112"/>
              <a:gd name="connsiteX17436" fmla="*/ 1989384 w 6785952"/>
              <a:gd name="connsiteY17436" fmla="*/ 626703 h 5217112"/>
              <a:gd name="connsiteX17437" fmla="*/ 1986362 w 6785952"/>
              <a:gd name="connsiteY17437" fmla="*/ 622235 h 5217112"/>
              <a:gd name="connsiteX17438" fmla="*/ 2009162 w 6785952"/>
              <a:gd name="connsiteY17438" fmla="*/ 583223 h 5217112"/>
              <a:gd name="connsiteX17439" fmla="*/ 3207655 w 6785952"/>
              <a:gd name="connsiteY17439" fmla="*/ 582678 h 5217112"/>
              <a:gd name="connsiteX17440" fmla="*/ 3215348 w 6785952"/>
              <a:gd name="connsiteY17440" fmla="*/ 585947 h 5217112"/>
              <a:gd name="connsiteX17441" fmla="*/ 3218094 w 6785952"/>
              <a:gd name="connsiteY17441" fmla="*/ 592268 h 5217112"/>
              <a:gd name="connsiteX17442" fmla="*/ 3218094 w 6785952"/>
              <a:gd name="connsiteY17442" fmla="*/ 595210 h 5217112"/>
              <a:gd name="connsiteX17443" fmla="*/ 3211501 w 6785952"/>
              <a:gd name="connsiteY17443" fmla="*/ 598698 h 5217112"/>
              <a:gd name="connsiteX17444" fmla="*/ 3205184 w 6785952"/>
              <a:gd name="connsiteY17444" fmla="*/ 596627 h 5217112"/>
              <a:gd name="connsiteX17445" fmla="*/ 3201338 w 6785952"/>
              <a:gd name="connsiteY17445" fmla="*/ 584313 h 5217112"/>
              <a:gd name="connsiteX17446" fmla="*/ 3204359 w 6785952"/>
              <a:gd name="connsiteY17446" fmla="*/ 583115 h 5217112"/>
              <a:gd name="connsiteX17447" fmla="*/ 3207655 w 6785952"/>
              <a:gd name="connsiteY17447" fmla="*/ 582678 h 5217112"/>
              <a:gd name="connsiteX17448" fmla="*/ 3036796 w 6785952"/>
              <a:gd name="connsiteY17448" fmla="*/ 581698 h 5217112"/>
              <a:gd name="connsiteX17449" fmla="*/ 3039268 w 6785952"/>
              <a:gd name="connsiteY17449" fmla="*/ 583550 h 5217112"/>
              <a:gd name="connsiteX17450" fmla="*/ 3038169 w 6785952"/>
              <a:gd name="connsiteY17450" fmla="*/ 583768 h 5217112"/>
              <a:gd name="connsiteX17451" fmla="*/ 3036796 w 6785952"/>
              <a:gd name="connsiteY17451" fmla="*/ 581698 h 5217112"/>
              <a:gd name="connsiteX17452" fmla="*/ 4171560 w 6785952"/>
              <a:gd name="connsiteY17452" fmla="*/ 580281 h 5217112"/>
              <a:gd name="connsiteX17453" fmla="*/ 4172934 w 6785952"/>
              <a:gd name="connsiteY17453" fmla="*/ 587691 h 5217112"/>
              <a:gd name="connsiteX17454" fmla="*/ 4168264 w 6785952"/>
              <a:gd name="connsiteY17454" fmla="*/ 588345 h 5217112"/>
              <a:gd name="connsiteX17455" fmla="*/ 4167714 w 6785952"/>
              <a:gd name="connsiteY17455" fmla="*/ 582242 h 5217112"/>
              <a:gd name="connsiteX17456" fmla="*/ 4171560 w 6785952"/>
              <a:gd name="connsiteY17456" fmla="*/ 580281 h 5217112"/>
              <a:gd name="connsiteX17457" fmla="*/ 5808467 w 6785952"/>
              <a:gd name="connsiteY17457" fmla="*/ 579082 h 5217112"/>
              <a:gd name="connsiteX17458" fmla="*/ 5813686 w 6785952"/>
              <a:gd name="connsiteY17458" fmla="*/ 579300 h 5217112"/>
              <a:gd name="connsiteX17459" fmla="*/ 5806819 w 6785952"/>
              <a:gd name="connsiteY17459" fmla="*/ 611229 h 5217112"/>
              <a:gd name="connsiteX17460" fmla="*/ 5802149 w 6785952"/>
              <a:gd name="connsiteY17460" fmla="*/ 611229 h 5217112"/>
              <a:gd name="connsiteX17461" fmla="*/ 5795831 w 6785952"/>
              <a:gd name="connsiteY17461" fmla="*/ 608396 h 5217112"/>
              <a:gd name="connsiteX17462" fmla="*/ 5796106 w 6785952"/>
              <a:gd name="connsiteY17462" fmla="*/ 586056 h 5217112"/>
              <a:gd name="connsiteX17463" fmla="*/ 5808467 w 6785952"/>
              <a:gd name="connsiteY17463" fmla="*/ 579082 h 5217112"/>
              <a:gd name="connsiteX17464" fmla="*/ 3899062 w 6785952"/>
              <a:gd name="connsiteY17464" fmla="*/ 577993 h 5217112"/>
              <a:gd name="connsiteX17465" fmla="*/ 3925158 w 6785952"/>
              <a:gd name="connsiteY17465" fmla="*/ 597390 h 5217112"/>
              <a:gd name="connsiteX17466" fmla="*/ 3918291 w 6785952"/>
              <a:gd name="connsiteY17466" fmla="*/ 606107 h 5217112"/>
              <a:gd name="connsiteX17467" fmla="*/ 3897964 w 6785952"/>
              <a:gd name="connsiteY17467" fmla="*/ 596954 h 5217112"/>
              <a:gd name="connsiteX17468" fmla="*/ 3896590 w 6785952"/>
              <a:gd name="connsiteY17468" fmla="*/ 582678 h 5217112"/>
              <a:gd name="connsiteX17469" fmla="*/ 3899062 w 6785952"/>
              <a:gd name="connsiteY17469" fmla="*/ 577993 h 5217112"/>
              <a:gd name="connsiteX17470" fmla="*/ 1113382 w 6785952"/>
              <a:gd name="connsiteY17470" fmla="*/ 577121 h 5217112"/>
              <a:gd name="connsiteX17471" fmla="*/ 1117228 w 6785952"/>
              <a:gd name="connsiteY17471" fmla="*/ 604691 h 5217112"/>
              <a:gd name="connsiteX17472" fmla="*/ 1114207 w 6785952"/>
              <a:gd name="connsiteY17472" fmla="*/ 605018 h 5217112"/>
              <a:gd name="connsiteX17473" fmla="*/ 1111459 w 6785952"/>
              <a:gd name="connsiteY17473" fmla="*/ 602184 h 5217112"/>
              <a:gd name="connsiteX17474" fmla="*/ 1108712 w 6785952"/>
              <a:gd name="connsiteY17474" fmla="*/ 588236 h 5217112"/>
              <a:gd name="connsiteX17475" fmla="*/ 1108712 w 6785952"/>
              <a:gd name="connsiteY17475" fmla="*/ 584857 h 5217112"/>
              <a:gd name="connsiteX17476" fmla="*/ 1108712 w 6785952"/>
              <a:gd name="connsiteY17476" fmla="*/ 581589 h 5217112"/>
              <a:gd name="connsiteX17477" fmla="*/ 1113382 w 6785952"/>
              <a:gd name="connsiteY17477" fmla="*/ 577121 h 5217112"/>
              <a:gd name="connsiteX17478" fmla="*/ 3620084 w 6785952"/>
              <a:gd name="connsiteY17478" fmla="*/ 576474 h 5217112"/>
              <a:gd name="connsiteX17479" fmla="*/ 3634532 w 6785952"/>
              <a:gd name="connsiteY17479" fmla="*/ 588672 h 5217112"/>
              <a:gd name="connsiteX17480" fmla="*/ 3626565 w 6785952"/>
              <a:gd name="connsiteY17480" fmla="*/ 598589 h 5217112"/>
              <a:gd name="connsiteX17481" fmla="*/ 3614204 w 6785952"/>
              <a:gd name="connsiteY17481" fmla="*/ 587474 h 5217112"/>
              <a:gd name="connsiteX17482" fmla="*/ 3612282 w 6785952"/>
              <a:gd name="connsiteY17482" fmla="*/ 582242 h 5217112"/>
              <a:gd name="connsiteX17483" fmla="*/ 3620084 w 6785952"/>
              <a:gd name="connsiteY17483" fmla="*/ 576474 h 5217112"/>
              <a:gd name="connsiteX17484" fmla="*/ 3346926 w 6785952"/>
              <a:gd name="connsiteY17484" fmla="*/ 575922 h 5217112"/>
              <a:gd name="connsiteX17485" fmla="*/ 3357639 w 6785952"/>
              <a:gd name="connsiteY17485" fmla="*/ 580063 h 5217112"/>
              <a:gd name="connsiteX17486" fmla="*/ 3348574 w 6785952"/>
              <a:gd name="connsiteY17486" fmla="*/ 601204 h 5217112"/>
              <a:gd name="connsiteX17487" fmla="*/ 3337586 w 6785952"/>
              <a:gd name="connsiteY17487" fmla="*/ 594883 h 5217112"/>
              <a:gd name="connsiteX17488" fmla="*/ 3340883 w 6785952"/>
              <a:gd name="connsiteY17488" fmla="*/ 577556 h 5217112"/>
              <a:gd name="connsiteX17489" fmla="*/ 3346926 w 6785952"/>
              <a:gd name="connsiteY17489" fmla="*/ 575922 h 5217112"/>
              <a:gd name="connsiteX17490" fmla="*/ 2018501 w 6785952"/>
              <a:gd name="connsiteY17490" fmla="*/ 572108 h 5217112"/>
              <a:gd name="connsiteX17491" fmla="*/ 2016853 w 6785952"/>
              <a:gd name="connsiteY17491" fmla="*/ 596954 h 5217112"/>
              <a:gd name="connsiteX17492" fmla="*/ 2010261 w 6785952"/>
              <a:gd name="connsiteY17492" fmla="*/ 583877 h 5217112"/>
              <a:gd name="connsiteX17493" fmla="*/ 2018501 w 6785952"/>
              <a:gd name="connsiteY17493" fmla="*/ 572108 h 5217112"/>
              <a:gd name="connsiteX17494" fmla="*/ 5822751 w 6785952"/>
              <a:gd name="connsiteY17494" fmla="*/ 571999 h 5217112"/>
              <a:gd name="connsiteX17495" fmla="*/ 5835112 w 6785952"/>
              <a:gd name="connsiteY17495" fmla="*/ 602293 h 5217112"/>
              <a:gd name="connsiteX17496" fmla="*/ 5824124 w 6785952"/>
              <a:gd name="connsiteY17496" fmla="*/ 589653 h 5217112"/>
              <a:gd name="connsiteX17497" fmla="*/ 5822751 w 6785952"/>
              <a:gd name="connsiteY17497" fmla="*/ 571999 h 5217112"/>
              <a:gd name="connsiteX17498" fmla="*/ 2169858 w 6785952"/>
              <a:gd name="connsiteY17498" fmla="*/ 571672 h 5217112"/>
              <a:gd name="connsiteX17499" fmla="*/ 2175077 w 6785952"/>
              <a:gd name="connsiteY17499" fmla="*/ 571999 h 5217112"/>
              <a:gd name="connsiteX17500" fmla="*/ 2168210 w 6785952"/>
              <a:gd name="connsiteY17500" fmla="*/ 603928 h 5217112"/>
              <a:gd name="connsiteX17501" fmla="*/ 2163540 w 6785952"/>
              <a:gd name="connsiteY17501" fmla="*/ 603928 h 5217112"/>
              <a:gd name="connsiteX17502" fmla="*/ 2157223 w 6785952"/>
              <a:gd name="connsiteY17502" fmla="*/ 601095 h 5217112"/>
              <a:gd name="connsiteX17503" fmla="*/ 2157223 w 6785952"/>
              <a:gd name="connsiteY17503" fmla="*/ 578647 h 5217112"/>
              <a:gd name="connsiteX17504" fmla="*/ 2169858 w 6785952"/>
              <a:gd name="connsiteY17504" fmla="*/ 571672 h 5217112"/>
              <a:gd name="connsiteX17505" fmla="*/ 4488558 w 6785952"/>
              <a:gd name="connsiteY17505" fmla="*/ 571563 h 5217112"/>
              <a:gd name="connsiteX17506" fmla="*/ 4490755 w 6785952"/>
              <a:gd name="connsiteY17506" fmla="*/ 582896 h 5217112"/>
              <a:gd name="connsiteX17507" fmla="*/ 4487459 w 6785952"/>
              <a:gd name="connsiteY17507" fmla="*/ 583877 h 5217112"/>
              <a:gd name="connsiteX17508" fmla="*/ 4480867 w 6785952"/>
              <a:gd name="connsiteY17508" fmla="*/ 576358 h 5217112"/>
              <a:gd name="connsiteX17509" fmla="*/ 4488558 w 6785952"/>
              <a:gd name="connsiteY17509" fmla="*/ 571563 h 5217112"/>
              <a:gd name="connsiteX17510" fmla="*/ 1733369 w 6785952"/>
              <a:gd name="connsiteY17510" fmla="*/ 571454 h 5217112"/>
              <a:gd name="connsiteX17511" fmla="*/ 1745730 w 6785952"/>
              <a:gd name="connsiteY17511" fmla="*/ 586056 h 5217112"/>
              <a:gd name="connsiteX17512" fmla="*/ 1731995 w 6785952"/>
              <a:gd name="connsiteY17512" fmla="*/ 591832 h 5217112"/>
              <a:gd name="connsiteX17513" fmla="*/ 1728424 w 6785952"/>
              <a:gd name="connsiteY17513" fmla="*/ 581153 h 5217112"/>
              <a:gd name="connsiteX17514" fmla="*/ 1733369 w 6785952"/>
              <a:gd name="connsiteY17514" fmla="*/ 571454 h 5217112"/>
              <a:gd name="connsiteX17515" fmla="*/ 5983722 w 6785952"/>
              <a:gd name="connsiteY17515" fmla="*/ 570582 h 5217112"/>
              <a:gd name="connsiteX17516" fmla="*/ 5969988 w 6785952"/>
              <a:gd name="connsiteY17516" fmla="*/ 613409 h 5217112"/>
              <a:gd name="connsiteX17517" fmla="*/ 5983722 w 6785952"/>
              <a:gd name="connsiteY17517" fmla="*/ 570582 h 5217112"/>
              <a:gd name="connsiteX17518" fmla="*/ 1527347 w 6785952"/>
              <a:gd name="connsiteY17518" fmla="*/ 570038 h 5217112"/>
              <a:gd name="connsiteX17519" fmla="*/ 1527897 w 6785952"/>
              <a:gd name="connsiteY17519" fmla="*/ 590743 h 5217112"/>
              <a:gd name="connsiteX17520" fmla="*/ 1514162 w 6785952"/>
              <a:gd name="connsiteY17520" fmla="*/ 571563 h 5217112"/>
              <a:gd name="connsiteX17521" fmla="*/ 1527347 w 6785952"/>
              <a:gd name="connsiteY17521" fmla="*/ 570038 h 5217112"/>
              <a:gd name="connsiteX17522" fmla="*/ 3020589 w 6785952"/>
              <a:gd name="connsiteY17522" fmla="*/ 569602 h 5217112"/>
              <a:gd name="connsiteX17523" fmla="*/ 3022236 w 6785952"/>
              <a:gd name="connsiteY17523" fmla="*/ 576358 h 5217112"/>
              <a:gd name="connsiteX17524" fmla="*/ 3011798 w 6785952"/>
              <a:gd name="connsiteY17524" fmla="*/ 583223 h 5217112"/>
              <a:gd name="connsiteX17525" fmla="*/ 3005480 w 6785952"/>
              <a:gd name="connsiteY17525" fmla="*/ 588563 h 5217112"/>
              <a:gd name="connsiteX17526" fmla="*/ 3012622 w 6785952"/>
              <a:gd name="connsiteY17526" fmla="*/ 579954 h 5217112"/>
              <a:gd name="connsiteX17527" fmla="*/ 3012897 w 6785952"/>
              <a:gd name="connsiteY17527" fmla="*/ 575377 h 5217112"/>
              <a:gd name="connsiteX17528" fmla="*/ 3020589 w 6785952"/>
              <a:gd name="connsiteY17528" fmla="*/ 569602 h 5217112"/>
              <a:gd name="connsiteX17529" fmla="*/ 2708921 w 6785952"/>
              <a:gd name="connsiteY17529" fmla="*/ 568808 h 5217112"/>
              <a:gd name="connsiteX17530" fmla="*/ 2723368 w 6785952"/>
              <a:gd name="connsiteY17530" fmla="*/ 586492 h 5217112"/>
              <a:gd name="connsiteX17531" fmla="*/ 2712106 w 6785952"/>
              <a:gd name="connsiteY17531" fmla="*/ 596191 h 5217112"/>
              <a:gd name="connsiteX17532" fmla="*/ 2704690 w 6785952"/>
              <a:gd name="connsiteY17532" fmla="*/ 586710 h 5217112"/>
              <a:gd name="connsiteX17533" fmla="*/ 2701668 w 6785952"/>
              <a:gd name="connsiteY17533" fmla="*/ 575486 h 5217112"/>
              <a:gd name="connsiteX17534" fmla="*/ 2708921 w 6785952"/>
              <a:gd name="connsiteY17534" fmla="*/ 568808 h 5217112"/>
              <a:gd name="connsiteX17535" fmla="*/ 5792534 w 6785952"/>
              <a:gd name="connsiteY17535" fmla="*/ 567313 h 5217112"/>
              <a:gd name="connsiteX17536" fmla="*/ 5796106 w 6785952"/>
              <a:gd name="connsiteY17536" fmla="*/ 570038 h 5217112"/>
              <a:gd name="connsiteX17537" fmla="*/ 5791436 w 6785952"/>
              <a:gd name="connsiteY17537" fmla="*/ 573742 h 5217112"/>
              <a:gd name="connsiteX17538" fmla="*/ 5790337 w 6785952"/>
              <a:gd name="connsiteY17538" fmla="*/ 567858 h 5217112"/>
              <a:gd name="connsiteX17539" fmla="*/ 5792534 w 6785952"/>
              <a:gd name="connsiteY17539" fmla="*/ 567313 h 5217112"/>
              <a:gd name="connsiteX17540" fmla="*/ 5853791 w 6785952"/>
              <a:gd name="connsiteY17540" fmla="*/ 567095 h 5217112"/>
              <a:gd name="connsiteX17541" fmla="*/ 5856813 w 6785952"/>
              <a:gd name="connsiteY17541" fmla="*/ 570147 h 5217112"/>
              <a:gd name="connsiteX17542" fmla="*/ 5860934 w 6785952"/>
              <a:gd name="connsiteY17542" fmla="*/ 579300 h 5217112"/>
              <a:gd name="connsiteX17543" fmla="*/ 5858461 w 6785952"/>
              <a:gd name="connsiteY17543" fmla="*/ 580717 h 5217112"/>
              <a:gd name="connsiteX17544" fmla="*/ 5854616 w 6785952"/>
              <a:gd name="connsiteY17544" fmla="*/ 585294 h 5217112"/>
              <a:gd name="connsiteX17545" fmla="*/ 5846100 w 6785952"/>
              <a:gd name="connsiteY17545" fmla="*/ 588563 h 5217112"/>
              <a:gd name="connsiteX17546" fmla="*/ 5841705 w 6785952"/>
              <a:gd name="connsiteY17546" fmla="*/ 587255 h 5217112"/>
              <a:gd name="connsiteX17547" fmla="*/ 5853791 w 6785952"/>
              <a:gd name="connsiteY17547" fmla="*/ 567095 h 5217112"/>
              <a:gd name="connsiteX17548" fmla="*/ 1564878 w 6785952"/>
              <a:gd name="connsiteY17548" fmla="*/ 566959 h 5217112"/>
              <a:gd name="connsiteX17549" fmla="*/ 1583385 w 6785952"/>
              <a:gd name="connsiteY17549" fmla="*/ 574615 h 5217112"/>
              <a:gd name="connsiteX17550" fmla="*/ 1583110 w 6785952"/>
              <a:gd name="connsiteY17550" fmla="*/ 576467 h 5217112"/>
              <a:gd name="connsiteX17551" fmla="*/ 1585033 w 6785952"/>
              <a:gd name="connsiteY17551" fmla="*/ 570038 h 5217112"/>
              <a:gd name="connsiteX17552" fmla="*/ 1592450 w 6785952"/>
              <a:gd name="connsiteY17552" fmla="*/ 570692 h 5217112"/>
              <a:gd name="connsiteX17553" fmla="*/ 1594373 w 6785952"/>
              <a:gd name="connsiteY17553" fmla="*/ 572871 h 5217112"/>
              <a:gd name="connsiteX17554" fmla="*/ 1594922 w 6785952"/>
              <a:gd name="connsiteY17554" fmla="*/ 568948 h 5217112"/>
              <a:gd name="connsiteX17555" fmla="*/ 1604811 w 6785952"/>
              <a:gd name="connsiteY17555" fmla="*/ 570364 h 5217112"/>
              <a:gd name="connsiteX17556" fmla="*/ 1603438 w 6785952"/>
              <a:gd name="connsiteY17556" fmla="*/ 577884 h 5217112"/>
              <a:gd name="connsiteX17557" fmla="*/ 1598493 w 6785952"/>
              <a:gd name="connsiteY17557" fmla="*/ 578101 h 5217112"/>
              <a:gd name="connsiteX17558" fmla="*/ 1600416 w 6785952"/>
              <a:gd name="connsiteY17558" fmla="*/ 583986 h 5217112"/>
              <a:gd name="connsiteX17559" fmla="*/ 1599592 w 6785952"/>
              <a:gd name="connsiteY17559" fmla="*/ 591178 h 5217112"/>
              <a:gd name="connsiteX17560" fmla="*/ 1588604 w 6785952"/>
              <a:gd name="connsiteY17560" fmla="*/ 587909 h 5217112"/>
              <a:gd name="connsiteX17561" fmla="*/ 1583110 w 6785952"/>
              <a:gd name="connsiteY17561" fmla="*/ 577011 h 5217112"/>
              <a:gd name="connsiteX17562" fmla="*/ 1581737 w 6785952"/>
              <a:gd name="connsiteY17562" fmla="*/ 589544 h 5217112"/>
              <a:gd name="connsiteX17563" fmla="*/ 1555916 w 6785952"/>
              <a:gd name="connsiteY17563" fmla="*/ 610903 h 5217112"/>
              <a:gd name="connsiteX17564" fmla="*/ 1544928 w 6785952"/>
              <a:gd name="connsiteY17564" fmla="*/ 603711 h 5217112"/>
              <a:gd name="connsiteX17565" fmla="*/ 1542456 w 6785952"/>
              <a:gd name="connsiteY17565" fmla="*/ 597172 h 5217112"/>
              <a:gd name="connsiteX17566" fmla="*/ 1539433 w 6785952"/>
              <a:gd name="connsiteY17566" fmla="*/ 592922 h 5217112"/>
              <a:gd name="connsiteX17567" fmla="*/ 1539983 w 6785952"/>
              <a:gd name="connsiteY17567" fmla="*/ 594338 h 5217112"/>
              <a:gd name="connsiteX17568" fmla="*/ 1536962 w 6785952"/>
              <a:gd name="connsiteY17568" fmla="*/ 601858 h 5217112"/>
              <a:gd name="connsiteX17569" fmla="*/ 1538610 w 6785952"/>
              <a:gd name="connsiteY17569" fmla="*/ 602947 h 5217112"/>
              <a:gd name="connsiteX17570" fmla="*/ 1535863 w 6785952"/>
              <a:gd name="connsiteY17570" fmla="*/ 603928 h 5217112"/>
              <a:gd name="connsiteX17571" fmla="*/ 1533940 w 6785952"/>
              <a:gd name="connsiteY17571" fmla="*/ 608287 h 5217112"/>
              <a:gd name="connsiteX17572" fmla="*/ 1527072 w 6785952"/>
              <a:gd name="connsiteY17572" fmla="*/ 616678 h 5217112"/>
              <a:gd name="connsiteX17573" fmla="*/ 1526798 w 6785952"/>
              <a:gd name="connsiteY17573" fmla="*/ 612102 h 5217112"/>
              <a:gd name="connsiteX17574" fmla="*/ 1527622 w 6785952"/>
              <a:gd name="connsiteY17574" fmla="*/ 610030 h 5217112"/>
              <a:gd name="connsiteX17575" fmla="*/ 1527072 w 6785952"/>
              <a:gd name="connsiteY17575" fmla="*/ 608723 h 5217112"/>
              <a:gd name="connsiteX17576" fmla="*/ 1528172 w 6785952"/>
              <a:gd name="connsiteY17576" fmla="*/ 608069 h 5217112"/>
              <a:gd name="connsiteX17577" fmla="*/ 1528446 w 6785952"/>
              <a:gd name="connsiteY17577" fmla="*/ 607634 h 5217112"/>
              <a:gd name="connsiteX17578" fmla="*/ 1528995 w 6785952"/>
              <a:gd name="connsiteY17578" fmla="*/ 605998 h 5217112"/>
              <a:gd name="connsiteX17579" fmla="*/ 1522677 w 6785952"/>
              <a:gd name="connsiteY17579" fmla="*/ 607742 h 5217112"/>
              <a:gd name="connsiteX17580" fmla="*/ 1506196 w 6785952"/>
              <a:gd name="connsiteY17580" fmla="*/ 602076 h 5217112"/>
              <a:gd name="connsiteX17581" fmla="*/ 1523227 w 6785952"/>
              <a:gd name="connsiteY17581" fmla="*/ 597608 h 5217112"/>
              <a:gd name="connsiteX17582" fmla="*/ 1530369 w 6785952"/>
              <a:gd name="connsiteY17582" fmla="*/ 599134 h 5217112"/>
              <a:gd name="connsiteX17583" fmla="*/ 1530644 w 6785952"/>
              <a:gd name="connsiteY17583" fmla="*/ 598370 h 5217112"/>
              <a:gd name="connsiteX17584" fmla="*/ 1530644 w 6785952"/>
              <a:gd name="connsiteY17584" fmla="*/ 594230 h 5217112"/>
              <a:gd name="connsiteX17585" fmla="*/ 1536412 w 6785952"/>
              <a:gd name="connsiteY17585" fmla="*/ 584857 h 5217112"/>
              <a:gd name="connsiteX17586" fmla="*/ 1539983 w 6785952"/>
              <a:gd name="connsiteY17586" fmla="*/ 586275 h 5217112"/>
              <a:gd name="connsiteX17587" fmla="*/ 1541632 w 6785952"/>
              <a:gd name="connsiteY17587" fmla="*/ 582242 h 5217112"/>
              <a:gd name="connsiteX17588" fmla="*/ 1547675 w 6785952"/>
              <a:gd name="connsiteY17588" fmla="*/ 574724 h 5217112"/>
              <a:gd name="connsiteX17589" fmla="*/ 1548225 w 6785952"/>
              <a:gd name="connsiteY17589" fmla="*/ 574724 h 5217112"/>
              <a:gd name="connsiteX17590" fmla="*/ 1550696 w 6785952"/>
              <a:gd name="connsiteY17590" fmla="*/ 571563 h 5217112"/>
              <a:gd name="connsiteX17591" fmla="*/ 1564878 w 6785952"/>
              <a:gd name="connsiteY17591" fmla="*/ 566959 h 5217112"/>
              <a:gd name="connsiteX17592" fmla="*/ 1752596 w 6785952"/>
              <a:gd name="connsiteY17592" fmla="*/ 566333 h 5217112"/>
              <a:gd name="connsiteX17593" fmla="*/ 1756443 w 6785952"/>
              <a:gd name="connsiteY17593" fmla="*/ 569166 h 5217112"/>
              <a:gd name="connsiteX17594" fmla="*/ 1757541 w 6785952"/>
              <a:gd name="connsiteY17594" fmla="*/ 576685 h 5217112"/>
              <a:gd name="connsiteX17595" fmla="*/ 1755070 w 6785952"/>
              <a:gd name="connsiteY17595" fmla="*/ 578429 h 5217112"/>
              <a:gd name="connsiteX17596" fmla="*/ 1744905 w 6785952"/>
              <a:gd name="connsiteY17596" fmla="*/ 575160 h 5217112"/>
              <a:gd name="connsiteX17597" fmla="*/ 1743807 w 6785952"/>
              <a:gd name="connsiteY17597" fmla="*/ 570582 h 5217112"/>
              <a:gd name="connsiteX17598" fmla="*/ 1752596 w 6785952"/>
              <a:gd name="connsiteY17598" fmla="*/ 566333 h 5217112"/>
              <a:gd name="connsiteX17599" fmla="*/ 3084043 w 6785952"/>
              <a:gd name="connsiteY17599" fmla="*/ 565679 h 5217112"/>
              <a:gd name="connsiteX17600" fmla="*/ 3093382 w 6785952"/>
              <a:gd name="connsiteY17600" fmla="*/ 566769 h 5217112"/>
              <a:gd name="connsiteX17601" fmla="*/ 3102173 w 6785952"/>
              <a:gd name="connsiteY17601" fmla="*/ 577230 h 5217112"/>
              <a:gd name="connsiteX17602" fmla="*/ 3085142 w 6785952"/>
              <a:gd name="connsiteY17602" fmla="*/ 575813 h 5217112"/>
              <a:gd name="connsiteX17603" fmla="*/ 3081845 w 6785952"/>
              <a:gd name="connsiteY17603" fmla="*/ 572544 h 5217112"/>
              <a:gd name="connsiteX17604" fmla="*/ 3080472 w 6785952"/>
              <a:gd name="connsiteY17604" fmla="*/ 568512 h 5217112"/>
              <a:gd name="connsiteX17605" fmla="*/ 3084043 w 6785952"/>
              <a:gd name="connsiteY17605" fmla="*/ 565679 h 5217112"/>
              <a:gd name="connsiteX17606" fmla="*/ 3261770 w 6785952"/>
              <a:gd name="connsiteY17606" fmla="*/ 565570 h 5217112"/>
              <a:gd name="connsiteX17607" fmla="*/ 3275231 w 6785952"/>
              <a:gd name="connsiteY17607" fmla="*/ 580826 h 5217112"/>
              <a:gd name="connsiteX17608" fmla="*/ 3255727 w 6785952"/>
              <a:gd name="connsiteY17608" fmla="*/ 582787 h 5217112"/>
              <a:gd name="connsiteX17609" fmla="*/ 3261770 w 6785952"/>
              <a:gd name="connsiteY17609" fmla="*/ 565570 h 5217112"/>
              <a:gd name="connsiteX17610" fmla="*/ 2105854 w 6785952"/>
              <a:gd name="connsiteY17610" fmla="*/ 565570 h 5217112"/>
              <a:gd name="connsiteX17611" fmla="*/ 2112448 w 6785952"/>
              <a:gd name="connsiteY17611" fmla="*/ 582461 h 5217112"/>
              <a:gd name="connsiteX17612" fmla="*/ 2106954 w 6785952"/>
              <a:gd name="connsiteY17612" fmla="*/ 584204 h 5217112"/>
              <a:gd name="connsiteX17613" fmla="*/ 2102833 w 6785952"/>
              <a:gd name="connsiteY17613" fmla="*/ 583115 h 5217112"/>
              <a:gd name="connsiteX17614" fmla="*/ 2099811 w 6785952"/>
              <a:gd name="connsiteY17614" fmla="*/ 576685 h 5217112"/>
              <a:gd name="connsiteX17615" fmla="*/ 2094042 w 6785952"/>
              <a:gd name="connsiteY17615" fmla="*/ 584640 h 5217112"/>
              <a:gd name="connsiteX17616" fmla="*/ 2085253 w 6785952"/>
              <a:gd name="connsiteY17616" fmla="*/ 589217 h 5217112"/>
              <a:gd name="connsiteX17617" fmla="*/ 2079759 w 6785952"/>
              <a:gd name="connsiteY17617" fmla="*/ 579518 h 5217112"/>
              <a:gd name="connsiteX17618" fmla="*/ 2094317 w 6785952"/>
              <a:gd name="connsiteY17618" fmla="*/ 570147 h 5217112"/>
              <a:gd name="connsiteX17619" fmla="*/ 2099262 w 6785952"/>
              <a:gd name="connsiteY17619" fmla="*/ 575269 h 5217112"/>
              <a:gd name="connsiteX17620" fmla="*/ 2098438 w 6785952"/>
              <a:gd name="connsiteY17620" fmla="*/ 573634 h 5217112"/>
              <a:gd name="connsiteX17621" fmla="*/ 2105854 w 6785952"/>
              <a:gd name="connsiteY17621" fmla="*/ 565570 h 5217112"/>
              <a:gd name="connsiteX17622" fmla="*/ 5776053 w 6785952"/>
              <a:gd name="connsiteY17622" fmla="*/ 564916 h 5217112"/>
              <a:gd name="connsiteX17623" fmla="*/ 5778525 w 6785952"/>
              <a:gd name="connsiteY17623" fmla="*/ 576685 h 5217112"/>
              <a:gd name="connsiteX17624" fmla="*/ 5776602 w 6785952"/>
              <a:gd name="connsiteY17624" fmla="*/ 578210 h 5217112"/>
              <a:gd name="connsiteX17625" fmla="*/ 5775778 w 6785952"/>
              <a:gd name="connsiteY17625" fmla="*/ 577774 h 5217112"/>
              <a:gd name="connsiteX17626" fmla="*/ 5773031 w 6785952"/>
              <a:gd name="connsiteY17626" fmla="*/ 574615 h 5217112"/>
              <a:gd name="connsiteX17627" fmla="*/ 5773306 w 6785952"/>
              <a:gd name="connsiteY17627" fmla="*/ 566005 h 5217112"/>
              <a:gd name="connsiteX17628" fmla="*/ 5776053 w 6785952"/>
              <a:gd name="connsiteY17628" fmla="*/ 564916 h 5217112"/>
              <a:gd name="connsiteX17629" fmla="*/ 2184143 w 6785952"/>
              <a:gd name="connsiteY17629" fmla="*/ 564698 h 5217112"/>
              <a:gd name="connsiteX17630" fmla="*/ 2196504 w 6785952"/>
              <a:gd name="connsiteY17630" fmla="*/ 594992 h 5217112"/>
              <a:gd name="connsiteX17631" fmla="*/ 2185516 w 6785952"/>
              <a:gd name="connsiteY17631" fmla="*/ 582242 h 5217112"/>
              <a:gd name="connsiteX17632" fmla="*/ 2184143 w 6785952"/>
              <a:gd name="connsiteY17632" fmla="*/ 564698 h 5217112"/>
              <a:gd name="connsiteX17633" fmla="*/ 4530861 w 6785952"/>
              <a:gd name="connsiteY17633" fmla="*/ 564589 h 5217112"/>
              <a:gd name="connsiteX17634" fmla="*/ 4531410 w 6785952"/>
              <a:gd name="connsiteY17634" fmla="*/ 566115 h 5217112"/>
              <a:gd name="connsiteX17635" fmla="*/ 4531136 w 6785952"/>
              <a:gd name="connsiteY17635" fmla="*/ 566005 h 5217112"/>
              <a:gd name="connsiteX17636" fmla="*/ 4530861 w 6785952"/>
              <a:gd name="connsiteY17636" fmla="*/ 564589 h 5217112"/>
              <a:gd name="connsiteX17637" fmla="*/ 6143320 w 6785952"/>
              <a:gd name="connsiteY17637" fmla="*/ 564480 h 5217112"/>
              <a:gd name="connsiteX17638" fmla="*/ 6148814 w 6785952"/>
              <a:gd name="connsiteY17638" fmla="*/ 565025 h 5217112"/>
              <a:gd name="connsiteX17639" fmla="*/ 6146067 w 6785952"/>
              <a:gd name="connsiteY17639" fmla="*/ 596736 h 5217112"/>
              <a:gd name="connsiteX17640" fmla="*/ 6141396 w 6785952"/>
              <a:gd name="connsiteY17640" fmla="*/ 596627 h 5217112"/>
              <a:gd name="connsiteX17641" fmla="*/ 6134804 w 6785952"/>
              <a:gd name="connsiteY17641" fmla="*/ 593576 h 5217112"/>
              <a:gd name="connsiteX17642" fmla="*/ 6131783 w 6785952"/>
              <a:gd name="connsiteY17642" fmla="*/ 571127 h 5217112"/>
              <a:gd name="connsiteX17643" fmla="*/ 6143320 w 6785952"/>
              <a:gd name="connsiteY17643" fmla="*/ 564480 h 5217112"/>
              <a:gd name="connsiteX17644" fmla="*/ 2345114 w 6785952"/>
              <a:gd name="connsiteY17644" fmla="*/ 563281 h 5217112"/>
              <a:gd name="connsiteX17645" fmla="*/ 2331379 w 6785952"/>
              <a:gd name="connsiteY17645" fmla="*/ 605998 h 5217112"/>
              <a:gd name="connsiteX17646" fmla="*/ 2345114 w 6785952"/>
              <a:gd name="connsiteY17646" fmla="*/ 563281 h 5217112"/>
              <a:gd name="connsiteX17647" fmla="*/ 1967683 w 6785952"/>
              <a:gd name="connsiteY17647" fmla="*/ 562301 h 5217112"/>
              <a:gd name="connsiteX17648" fmla="*/ 1977847 w 6785952"/>
              <a:gd name="connsiteY17648" fmla="*/ 566115 h 5217112"/>
              <a:gd name="connsiteX17649" fmla="*/ 1975924 w 6785952"/>
              <a:gd name="connsiteY17649" fmla="*/ 578864 h 5217112"/>
              <a:gd name="connsiteX17650" fmla="*/ 1977572 w 6785952"/>
              <a:gd name="connsiteY17650" fmla="*/ 578429 h 5217112"/>
              <a:gd name="connsiteX17651" fmla="*/ 1976474 w 6785952"/>
              <a:gd name="connsiteY17651" fmla="*/ 579409 h 5217112"/>
              <a:gd name="connsiteX17652" fmla="*/ 1975649 w 6785952"/>
              <a:gd name="connsiteY17652" fmla="*/ 579300 h 5217112"/>
              <a:gd name="connsiteX17653" fmla="*/ 1971254 w 6785952"/>
              <a:gd name="connsiteY17653" fmla="*/ 584749 h 5217112"/>
              <a:gd name="connsiteX17654" fmla="*/ 1965760 w 6785952"/>
              <a:gd name="connsiteY17654" fmla="*/ 587474 h 5217112"/>
              <a:gd name="connsiteX17655" fmla="*/ 1955597 w 6785952"/>
              <a:gd name="connsiteY17655" fmla="*/ 581479 h 5217112"/>
              <a:gd name="connsiteX17656" fmla="*/ 1961365 w 6785952"/>
              <a:gd name="connsiteY17656" fmla="*/ 564044 h 5217112"/>
              <a:gd name="connsiteX17657" fmla="*/ 1967683 w 6785952"/>
              <a:gd name="connsiteY17657" fmla="*/ 562301 h 5217112"/>
              <a:gd name="connsiteX17658" fmla="*/ 2727764 w 6785952"/>
              <a:gd name="connsiteY17658" fmla="*/ 561428 h 5217112"/>
              <a:gd name="connsiteX17659" fmla="*/ 2731335 w 6785952"/>
              <a:gd name="connsiteY17659" fmla="*/ 562410 h 5217112"/>
              <a:gd name="connsiteX17660" fmla="*/ 2729686 w 6785952"/>
              <a:gd name="connsiteY17660" fmla="*/ 569602 h 5217112"/>
              <a:gd name="connsiteX17661" fmla="*/ 2727489 w 6785952"/>
              <a:gd name="connsiteY17661" fmla="*/ 571127 h 5217112"/>
              <a:gd name="connsiteX17662" fmla="*/ 2725291 w 6785952"/>
              <a:gd name="connsiteY17662" fmla="*/ 570473 h 5217112"/>
              <a:gd name="connsiteX17663" fmla="*/ 2723918 w 6785952"/>
              <a:gd name="connsiteY17663" fmla="*/ 565896 h 5217112"/>
              <a:gd name="connsiteX17664" fmla="*/ 2725567 w 6785952"/>
              <a:gd name="connsiteY17664" fmla="*/ 561756 h 5217112"/>
              <a:gd name="connsiteX17665" fmla="*/ 2727764 w 6785952"/>
              <a:gd name="connsiteY17665" fmla="*/ 561428 h 5217112"/>
              <a:gd name="connsiteX17666" fmla="*/ 3144476 w 6785952"/>
              <a:gd name="connsiteY17666" fmla="*/ 560775 h 5217112"/>
              <a:gd name="connsiteX17667" fmla="*/ 3142278 w 6785952"/>
              <a:gd name="connsiteY17667" fmla="*/ 575595 h 5217112"/>
              <a:gd name="connsiteX17668" fmla="*/ 3144476 w 6785952"/>
              <a:gd name="connsiteY17668" fmla="*/ 560775 h 5217112"/>
              <a:gd name="connsiteX17669" fmla="*/ 2153926 w 6785952"/>
              <a:gd name="connsiteY17669" fmla="*/ 559903 h 5217112"/>
              <a:gd name="connsiteX17670" fmla="*/ 2157223 w 6785952"/>
              <a:gd name="connsiteY17670" fmla="*/ 562627 h 5217112"/>
              <a:gd name="connsiteX17671" fmla="*/ 2152827 w 6785952"/>
              <a:gd name="connsiteY17671" fmla="*/ 566333 h 5217112"/>
              <a:gd name="connsiteX17672" fmla="*/ 2151729 w 6785952"/>
              <a:gd name="connsiteY17672" fmla="*/ 560557 h 5217112"/>
              <a:gd name="connsiteX17673" fmla="*/ 2153926 w 6785952"/>
              <a:gd name="connsiteY17673" fmla="*/ 559903 h 5217112"/>
              <a:gd name="connsiteX17674" fmla="*/ 3544981 w 6785952"/>
              <a:gd name="connsiteY17674" fmla="*/ 559140 h 5217112"/>
              <a:gd name="connsiteX17675" fmla="*/ 3548827 w 6785952"/>
              <a:gd name="connsiteY17675" fmla="*/ 560121 h 5217112"/>
              <a:gd name="connsiteX17676" fmla="*/ 3548827 w 6785952"/>
              <a:gd name="connsiteY17676" fmla="*/ 563390 h 5217112"/>
              <a:gd name="connsiteX17677" fmla="*/ 3550200 w 6785952"/>
              <a:gd name="connsiteY17677" fmla="*/ 565896 h 5217112"/>
              <a:gd name="connsiteX17678" fmla="*/ 3548827 w 6785952"/>
              <a:gd name="connsiteY17678" fmla="*/ 566659 h 5217112"/>
              <a:gd name="connsiteX17679" fmla="*/ 3548277 w 6785952"/>
              <a:gd name="connsiteY17679" fmla="*/ 568620 h 5217112"/>
              <a:gd name="connsiteX17680" fmla="*/ 3541960 w 6785952"/>
              <a:gd name="connsiteY17680" fmla="*/ 569384 h 5217112"/>
              <a:gd name="connsiteX17681" fmla="*/ 3538938 w 6785952"/>
              <a:gd name="connsiteY17681" fmla="*/ 567858 h 5217112"/>
              <a:gd name="connsiteX17682" fmla="*/ 3538114 w 6785952"/>
              <a:gd name="connsiteY17682" fmla="*/ 565134 h 5217112"/>
              <a:gd name="connsiteX17683" fmla="*/ 3539761 w 6785952"/>
              <a:gd name="connsiteY17683" fmla="*/ 562301 h 5217112"/>
              <a:gd name="connsiteX17684" fmla="*/ 3544981 w 6785952"/>
              <a:gd name="connsiteY17684" fmla="*/ 559140 h 5217112"/>
              <a:gd name="connsiteX17685" fmla="*/ 2945047 w 6785952"/>
              <a:gd name="connsiteY17685" fmla="*/ 559140 h 5217112"/>
              <a:gd name="connsiteX17686" fmla="*/ 2947245 w 6785952"/>
              <a:gd name="connsiteY17686" fmla="*/ 561428 h 5217112"/>
              <a:gd name="connsiteX17687" fmla="*/ 2948343 w 6785952"/>
              <a:gd name="connsiteY17687" fmla="*/ 565679 h 5217112"/>
              <a:gd name="connsiteX17688" fmla="*/ 2941751 w 6785952"/>
              <a:gd name="connsiteY17688" fmla="*/ 569711 h 5217112"/>
              <a:gd name="connsiteX17689" fmla="*/ 2939554 w 6785952"/>
              <a:gd name="connsiteY17689" fmla="*/ 567422 h 5217112"/>
              <a:gd name="connsiteX17690" fmla="*/ 2939828 w 6785952"/>
              <a:gd name="connsiteY17690" fmla="*/ 562627 h 5217112"/>
              <a:gd name="connsiteX17691" fmla="*/ 2945047 w 6785952"/>
              <a:gd name="connsiteY17691" fmla="*/ 559140 h 5217112"/>
              <a:gd name="connsiteX17692" fmla="*/ 2205260 w 6785952"/>
              <a:gd name="connsiteY17692" fmla="*/ 559031 h 5217112"/>
              <a:gd name="connsiteX17693" fmla="*/ 2215183 w 6785952"/>
              <a:gd name="connsiteY17693" fmla="*/ 559685 h 5217112"/>
              <a:gd name="connsiteX17694" fmla="*/ 2221776 w 6785952"/>
              <a:gd name="connsiteY17694" fmla="*/ 571018 h 5217112"/>
              <a:gd name="connsiteX17695" fmla="*/ 2216007 w 6785952"/>
              <a:gd name="connsiteY17695" fmla="*/ 577993 h 5217112"/>
              <a:gd name="connsiteX17696" fmla="*/ 2208315 w 6785952"/>
              <a:gd name="connsiteY17696" fmla="*/ 580826 h 5217112"/>
              <a:gd name="connsiteX17697" fmla="*/ 2209964 w 6785952"/>
              <a:gd name="connsiteY17697" fmla="*/ 582896 h 5217112"/>
              <a:gd name="connsiteX17698" fmla="*/ 2207766 w 6785952"/>
              <a:gd name="connsiteY17698" fmla="*/ 591723 h 5217112"/>
              <a:gd name="connsiteX17699" fmla="*/ 2198152 w 6785952"/>
              <a:gd name="connsiteY17699" fmla="*/ 582678 h 5217112"/>
              <a:gd name="connsiteX17700" fmla="*/ 2202272 w 6785952"/>
              <a:gd name="connsiteY17700" fmla="*/ 579737 h 5217112"/>
              <a:gd name="connsiteX17701" fmla="*/ 2203096 w 6785952"/>
              <a:gd name="connsiteY17701" fmla="*/ 579737 h 5217112"/>
              <a:gd name="connsiteX17702" fmla="*/ 2200075 w 6785952"/>
              <a:gd name="connsiteY17702" fmla="*/ 568839 h 5217112"/>
              <a:gd name="connsiteX17703" fmla="*/ 2205260 w 6785952"/>
              <a:gd name="connsiteY17703" fmla="*/ 559031 h 5217112"/>
              <a:gd name="connsiteX17704" fmla="*/ 2137444 w 6785952"/>
              <a:gd name="connsiteY17704" fmla="*/ 557614 h 5217112"/>
              <a:gd name="connsiteX17705" fmla="*/ 2139917 w 6785952"/>
              <a:gd name="connsiteY17705" fmla="*/ 569384 h 5217112"/>
              <a:gd name="connsiteX17706" fmla="*/ 2137993 w 6785952"/>
              <a:gd name="connsiteY17706" fmla="*/ 570909 h 5217112"/>
              <a:gd name="connsiteX17707" fmla="*/ 2137169 w 6785952"/>
              <a:gd name="connsiteY17707" fmla="*/ 570473 h 5217112"/>
              <a:gd name="connsiteX17708" fmla="*/ 2134423 w 6785952"/>
              <a:gd name="connsiteY17708" fmla="*/ 567204 h 5217112"/>
              <a:gd name="connsiteX17709" fmla="*/ 2134698 w 6785952"/>
              <a:gd name="connsiteY17709" fmla="*/ 558704 h 5217112"/>
              <a:gd name="connsiteX17710" fmla="*/ 2137444 w 6785952"/>
              <a:gd name="connsiteY17710" fmla="*/ 557614 h 5217112"/>
              <a:gd name="connsiteX17711" fmla="*/ 2504712 w 6785952"/>
              <a:gd name="connsiteY17711" fmla="*/ 557179 h 5217112"/>
              <a:gd name="connsiteX17712" fmla="*/ 2509931 w 6785952"/>
              <a:gd name="connsiteY17712" fmla="*/ 557724 h 5217112"/>
              <a:gd name="connsiteX17713" fmla="*/ 2507458 w 6785952"/>
              <a:gd name="connsiteY17713" fmla="*/ 589325 h 5217112"/>
              <a:gd name="connsiteX17714" fmla="*/ 2502788 w 6785952"/>
              <a:gd name="connsiteY17714" fmla="*/ 589217 h 5217112"/>
              <a:gd name="connsiteX17715" fmla="*/ 2496196 w 6785952"/>
              <a:gd name="connsiteY17715" fmla="*/ 586056 h 5217112"/>
              <a:gd name="connsiteX17716" fmla="*/ 2493175 w 6785952"/>
              <a:gd name="connsiteY17716" fmla="*/ 563717 h 5217112"/>
              <a:gd name="connsiteX17717" fmla="*/ 2504712 w 6785952"/>
              <a:gd name="connsiteY17717" fmla="*/ 557179 h 5217112"/>
              <a:gd name="connsiteX17718" fmla="*/ 2360703 w 6785952"/>
              <a:gd name="connsiteY17718" fmla="*/ 556225 h 5217112"/>
              <a:gd name="connsiteX17719" fmla="*/ 2367089 w 6785952"/>
              <a:gd name="connsiteY17719" fmla="*/ 566115 h 5217112"/>
              <a:gd name="connsiteX17720" fmla="*/ 2355552 w 6785952"/>
              <a:gd name="connsiteY17720" fmla="*/ 573634 h 5217112"/>
              <a:gd name="connsiteX17721" fmla="*/ 2349783 w 6785952"/>
              <a:gd name="connsiteY17721" fmla="*/ 557288 h 5217112"/>
              <a:gd name="connsiteX17722" fmla="*/ 2360703 w 6785952"/>
              <a:gd name="connsiteY17722" fmla="*/ 556225 h 5217112"/>
              <a:gd name="connsiteX17723" fmla="*/ 2566792 w 6785952"/>
              <a:gd name="connsiteY17723" fmla="*/ 555109 h 5217112"/>
              <a:gd name="connsiteX17724" fmla="*/ 2554980 w 6785952"/>
              <a:gd name="connsiteY17724" fmla="*/ 568948 h 5217112"/>
              <a:gd name="connsiteX17725" fmla="*/ 2537950 w 6785952"/>
              <a:gd name="connsiteY17725" fmla="*/ 574070 h 5217112"/>
              <a:gd name="connsiteX17726" fmla="*/ 2566792 w 6785952"/>
              <a:gd name="connsiteY17726" fmla="*/ 555109 h 5217112"/>
              <a:gd name="connsiteX17727" fmla="*/ 2442630 w 6785952"/>
              <a:gd name="connsiteY17727" fmla="*/ 554999 h 5217112"/>
              <a:gd name="connsiteX17728" fmla="*/ 2447849 w 6785952"/>
              <a:gd name="connsiteY17728" fmla="*/ 566550 h 5217112"/>
              <a:gd name="connsiteX17729" fmla="*/ 2445652 w 6785952"/>
              <a:gd name="connsiteY17729" fmla="*/ 567422 h 5217112"/>
              <a:gd name="connsiteX17730" fmla="*/ 2442905 w 6785952"/>
              <a:gd name="connsiteY17730" fmla="*/ 566441 h 5217112"/>
              <a:gd name="connsiteX17731" fmla="*/ 2442630 w 6785952"/>
              <a:gd name="connsiteY17731" fmla="*/ 554999 h 5217112"/>
              <a:gd name="connsiteX17732" fmla="*/ 5799951 w 6785952"/>
              <a:gd name="connsiteY17732" fmla="*/ 554890 h 5217112"/>
              <a:gd name="connsiteX17733" fmla="*/ 5807643 w 6785952"/>
              <a:gd name="connsiteY17733" fmla="*/ 558268 h 5217112"/>
              <a:gd name="connsiteX17734" fmla="*/ 5810115 w 6785952"/>
              <a:gd name="connsiteY17734" fmla="*/ 564480 h 5217112"/>
              <a:gd name="connsiteX17735" fmla="*/ 5810115 w 6785952"/>
              <a:gd name="connsiteY17735" fmla="*/ 567422 h 5217112"/>
              <a:gd name="connsiteX17736" fmla="*/ 5803797 w 6785952"/>
              <a:gd name="connsiteY17736" fmla="*/ 570909 h 5217112"/>
              <a:gd name="connsiteX17737" fmla="*/ 5797479 w 6785952"/>
              <a:gd name="connsiteY17737" fmla="*/ 568839 h 5217112"/>
              <a:gd name="connsiteX17738" fmla="*/ 5793358 w 6785952"/>
              <a:gd name="connsiteY17738" fmla="*/ 556525 h 5217112"/>
              <a:gd name="connsiteX17739" fmla="*/ 5796380 w 6785952"/>
              <a:gd name="connsiteY17739" fmla="*/ 555435 h 5217112"/>
              <a:gd name="connsiteX17740" fmla="*/ 5799951 w 6785952"/>
              <a:gd name="connsiteY17740" fmla="*/ 554890 h 5217112"/>
              <a:gd name="connsiteX17741" fmla="*/ 2514326 w 6785952"/>
              <a:gd name="connsiteY17741" fmla="*/ 554564 h 5217112"/>
              <a:gd name="connsiteX17742" fmla="*/ 2540696 w 6785952"/>
              <a:gd name="connsiteY17742" fmla="*/ 583441 h 5217112"/>
              <a:gd name="connsiteX17743" fmla="*/ 2514326 w 6785952"/>
              <a:gd name="connsiteY17743" fmla="*/ 554564 h 5217112"/>
              <a:gd name="connsiteX17744" fmla="*/ 3510644 w 6785952"/>
              <a:gd name="connsiteY17744" fmla="*/ 554455 h 5217112"/>
              <a:gd name="connsiteX17745" fmla="*/ 3538114 w 6785952"/>
              <a:gd name="connsiteY17745" fmla="*/ 567095 h 5217112"/>
              <a:gd name="connsiteX17746" fmla="*/ 3532894 w 6785952"/>
              <a:gd name="connsiteY17746" fmla="*/ 569928 h 5217112"/>
              <a:gd name="connsiteX17747" fmla="*/ 3526027 w 6785952"/>
              <a:gd name="connsiteY17747" fmla="*/ 569602 h 5217112"/>
              <a:gd name="connsiteX17748" fmla="*/ 3513116 w 6785952"/>
              <a:gd name="connsiteY17748" fmla="*/ 564262 h 5217112"/>
              <a:gd name="connsiteX17749" fmla="*/ 3510644 w 6785952"/>
              <a:gd name="connsiteY17749" fmla="*/ 554455 h 5217112"/>
              <a:gd name="connsiteX17750" fmla="*/ 1506745 w 6785952"/>
              <a:gd name="connsiteY17750" fmla="*/ 553365 h 5217112"/>
              <a:gd name="connsiteX17751" fmla="*/ 1500702 w 6785952"/>
              <a:gd name="connsiteY17751" fmla="*/ 572108 h 5217112"/>
              <a:gd name="connsiteX17752" fmla="*/ 1487517 w 6785952"/>
              <a:gd name="connsiteY17752" fmla="*/ 559576 h 5217112"/>
              <a:gd name="connsiteX17753" fmla="*/ 1506745 w 6785952"/>
              <a:gd name="connsiteY17753" fmla="*/ 553365 h 5217112"/>
              <a:gd name="connsiteX17754" fmla="*/ 4954990 w 6785952"/>
              <a:gd name="connsiteY17754" fmla="*/ 552057 h 5217112"/>
              <a:gd name="connsiteX17755" fmla="*/ 4958561 w 6785952"/>
              <a:gd name="connsiteY17755" fmla="*/ 555326 h 5217112"/>
              <a:gd name="connsiteX17756" fmla="*/ 4958836 w 6785952"/>
              <a:gd name="connsiteY17756" fmla="*/ 555653 h 5217112"/>
              <a:gd name="connsiteX17757" fmla="*/ 4959660 w 6785952"/>
              <a:gd name="connsiteY17757" fmla="*/ 564589 h 5217112"/>
              <a:gd name="connsiteX17758" fmla="*/ 4959385 w 6785952"/>
              <a:gd name="connsiteY17758" fmla="*/ 571781 h 5217112"/>
              <a:gd name="connsiteX17759" fmla="*/ 4958011 w 6785952"/>
              <a:gd name="connsiteY17759" fmla="*/ 576031 h 5217112"/>
              <a:gd name="connsiteX17760" fmla="*/ 4963505 w 6785952"/>
              <a:gd name="connsiteY17760" fmla="*/ 579627 h 5217112"/>
              <a:gd name="connsiteX17761" fmla="*/ 4967625 w 6785952"/>
              <a:gd name="connsiteY17761" fmla="*/ 581916 h 5217112"/>
              <a:gd name="connsiteX17762" fmla="*/ 4970648 w 6785952"/>
              <a:gd name="connsiteY17762" fmla="*/ 577556 h 5217112"/>
              <a:gd name="connsiteX17763" fmla="*/ 4977789 w 6785952"/>
              <a:gd name="connsiteY17763" fmla="*/ 576903 h 5217112"/>
              <a:gd name="connsiteX17764" fmla="*/ 4980811 w 6785952"/>
              <a:gd name="connsiteY17764" fmla="*/ 583877 h 5217112"/>
              <a:gd name="connsiteX17765" fmla="*/ 4979163 w 6785952"/>
              <a:gd name="connsiteY17765" fmla="*/ 590524 h 5217112"/>
              <a:gd name="connsiteX17766" fmla="*/ 4982185 w 6785952"/>
              <a:gd name="connsiteY17766" fmla="*/ 593358 h 5217112"/>
              <a:gd name="connsiteX17767" fmla="*/ 4976416 w 6785952"/>
              <a:gd name="connsiteY17767" fmla="*/ 593685 h 5217112"/>
              <a:gd name="connsiteX17768" fmla="*/ 4973943 w 6785952"/>
              <a:gd name="connsiteY17768" fmla="*/ 596409 h 5217112"/>
              <a:gd name="connsiteX17769" fmla="*/ 4967076 w 6785952"/>
              <a:gd name="connsiteY17769" fmla="*/ 598261 h 5217112"/>
              <a:gd name="connsiteX17770" fmla="*/ 4965978 w 6785952"/>
              <a:gd name="connsiteY17770" fmla="*/ 593249 h 5217112"/>
              <a:gd name="connsiteX17771" fmla="*/ 4957187 w 6785952"/>
              <a:gd name="connsiteY17771" fmla="*/ 590852 h 5217112"/>
              <a:gd name="connsiteX17772" fmla="*/ 4953891 w 6785952"/>
              <a:gd name="connsiteY17772" fmla="*/ 589217 h 5217112"/>
              <a:gd name="connsiteX17773" fmla="*/ 4951968 w 6785952"/>
              <a:gd name="connsiteY17773" fmla="*/ 594121 h 5217112"/>
              <a:gd name="connsiteX17774" fmla="*/ 4951418 w 6785952"/>
              <a:gd name="connsiteY17774" fmla="*/ 588018 h 5217112"/>
              <a:gd name="connsiteX17775" fmla="*/ 4939607 w 6785952"/>
              <a:gd name="connsiteY17775" fmla="*/ 582352 h 5217112"/>
              <a:gd name="connsiteX17776" fmla="*/ 4927520 w 6785952"/>
              <a:gd name="connsiteY17776" fmla="*/ 573088 h 5217112"/>
              <a:gd name="connsiteX17777" fmla="*/ 4945101 w 6785952"/>
              <a:gd name="connsiteY17777" fmla="*/ 562955 h 5217112"/>
              <a:gd name="connsiteX17778" fmla="*/ 4952517 w 6785952"/>
              <a:gd name="connsiteY17778" fmla="*/ 571890 h 5217112"/>
              <a:gd name="connsiteX17779" fmla="*/ 4952792 w 6785952"/>
              <a:gd name="connsiteY17779" fmla="*/ 571127 h 5217112"/>
              <a:gd name="connsiteX17780" fmla="*/ 4952792 w 6785952"/>
              <a:gd name="connsiteY17780" fmla="*/ 565461 h 5217112"/>
              <a:gd name="connsiteX17781" fmla="*/ 4948397 w 6785952"/>
              <a:gd name="connsiteY17781" fmla="*/ 563390 h 5217112"/>
              <a:gd name="connsiteX17782" fmla="*/ 4954990 w 6785952"/>
              <a:gd name="connsiteY17782" fmla="*/ 552057 h 5217112"/>
              <a:gd name="connsiteX17783" fmla="*/ 4799203 w 6785952"/>
              <a:gd name="connsiteY17783" fmla="*/ 551607 h 5217112"/>
              <a:gd name="connsiteX17784" fmla="*/ 4799787 w 6785952"/>
              <a:gd name="connsiteY17784" fmla="*/ 563935 h 5217112"/>
              <a:gd name="connsiteX17785" fmla="*/ 4790173 w 6785952"/>
              <a:gd name="connsiteY17785" fmla="*/ 554890 h 5217112"/>
              <a:gd name="connsiteX17786" fmla="*/ 4799203 w 6785952"/>
              <a:gd name="connsiteY17786" fmla="*/ 551607 h 5217112"/>
              <a:gd name="connsiteX17787" fmla="*/ 6207530 w 6785952"/>
              <a:gd name="connsiteY17787" fmla="*/ 548706 h 5217112"/>
              <a:gd name="connsiteX17788" fmla="*/ 6225454 w 6785952"/>
              <a:gd name="connsiteY17788" fmla="*/ 550204 h 5217112"/>
              <a:gd name="connsiteX17789" fmla="*/ 6240287 w 6785952"/>
              <a:gd name="connsiteY17789" fmla="*/ 569384 h 5217112"/>
              <a:gd name="connsiteX17790" fmla="*/ 6238364 w 6785952"/>
              <a:gd name="connsiteY17790" fmla="*/ 583115 h 5217112"/>
              <a:gd name="connsiteX17791" fmla="*/ 6215015 w 6785952"/>
              <a:gd name="connsiteY17791" fmla="*/ 599787 h 5217112"/>
              <a:gd name="connsiteX17792" fmla="*/ 6207049 w 6785952"/>
              <a:gd name="connsiteY17792" fmla="*/ 597499 h 5217112"/>
              <a:gd name="connsiteX17793" fmla="*/ 6207599 w 6785952"/>
              <a:gd name="connsiteY17793" fmla="*/ 597826 h 5217112"/>
              <a:gd name="connsiteX17794" fmla="*/ 6203478 w 6785952"/>
              <a:gd name="connsiteY17794" fmla="*/ 608831 h 5217112"/>
              <a:gd name="connsiteX17795" fmla="*/ 6197160 w 6785952"/>
              <a:gd name="connsiteY17795" fmla="*/ 605890 h 5217112"/>
              <a:gd name="connsiteX17796" fmla="*/ 6202654 w 6785952"/>
              <a:gd name="connsiteY17796" fmla="*/ 596191 h 5217112"/>
              <a:gd name="connsiteX17797" fmla="*/ 6201280 w 6785952"/>
              <a:gd name="connsiteY17797" fmla="*/ 595864 h 5217112"/>
              <a:gd name="connsiteX17798" fmla="*/ 6196061 w 6785952"/>
              <a:gd name="connsiteY17798" fmla="*/ 592813 h 5217112"/>
              <a:gd name="connsiteX17799" fmla="*/ 6186722 w 6785952"/>
              <a:gd name="connsiteY17799" fmla="*/ 590743 h 5217112"/>
              <a:gd name="connsiteX17800" fmla="*/ 6190842 w 6785952"/>
              <a:gd name="connsiteY17800" fmla="*/ 564371 h 5217112"/>
              <a:gd name="connsiteX17801" fmla="*/ 6207530 w 6785952"/>
              <a:gd name="connsiteY17801" fmla="*/ 548706 h 5217112"/>
              <a:gd name="connsiteX17802" fmla="*/ 1320227 w 6785952"/>
              <a:gd name="connsiteY17802" fmla="*/ 548243 h 5217112"/>
              <a:gd name="connsiteX17803" fmla="*/ 1321052 w 6785952"/>
              <a:gd name="connsiteY17803" fmla="*/ 557288 h 5217112"/>
              <a:gd name="connsiteX17804" fmla="*/ 1320777 w 6785952"/>
              <a:gd name="connsiteY17804" fmla="*/ 564480 h 5217112"/>
              <a:gd name="connsiteX17805" fmla="*/ 1313360 w 6785952"/>
              <a:gd name="connsiteY17805" fmla="*/ 586601 h 5217112"/>
              <a:gd name="connsiteX17806" fmla="*/ 1312261 w 6785952"/>
              <a:gd name="connsiteY17806" fmla="*/ 576358 h 5217112"/>
              <a:gd name="connsiteX17807" fmla="*/ 1314184 w 6785952"/>
              <a:gd name="connsiteY17807" fmla="*/ 553037 h 5217112"/>
              <a:gd name="connsiteX17808" fmla="*/ 1317205 w 6785952"/>
              <a:gd name="connsiteY17808" fmla="*/ 550641 h 5217112"/>
              <a:gd name="connsiteX17809" fmla="*/ 1317205 w 6785952"/>
              <a:gd name="connsiteY17809" fmla="*/ 549223 h 5217112"/>
              <a:gd name="connsiteX17810" fmla="*/ 1320227 w 6785952"/>
              <a:gd name="connsiteY17810" fmla="*/ 548243 h 5217112"/>
              <a:gd name="connsiteX17811" fmla="*/ 5939221 w 6785952"/>
              <a:gd name="connsiteY17811" fmla="*/ 548134 h 5217112"/>
              <a:gd name="connsiteX17812" fmla="*/ 5949934 w 6785952"/>
              <a:gd name="connsiteY17812" fmla="*/ 552275 h 5217112"/>
              <a:gd name="connsiteX17813" fmla="*/ 5940869 w 6785952"/>
              <a:gd name="connsiteY17813" fmla="*/ 573416 h 5217112"/>
              <a:gd name="connsiteX17814" fmla="*/ 5929881 w 6785952"/>
              <a:gd name="connsiteY17814" fmla="*/ 567095 h 5217112"/>
              <a:gd name="connsiteX17815" fmla="*/ 5933178 w 6785952"/>
              <a:gd name="connsiteY17815" fmla="*/ 549659 h 5217112"/>
              <a:gd name="connsiteX17816" fmla="*/ 5939221 w 6785952"/>
              <a:gd name="connsiteY17816" fmla="*/ 548134 h 5217112"/>
              <a:gd name="connsiteX17817" fmla="*/ 4399007 w 6785952"/>
              <a:gd name="connsiteY17817" fmla="*/ 548025 h 5217112"/>
              <a:gd name="connsiteX17818" fmla="*/ 4379229 w 6785952"/>
              <a:gd name="connsiteY17818" fmla="*/ 591505 h 5217112"/>
              <a:gd name="connsiteX17819" fmla="*/ 4376207 w 6785952"/>
              <a:gd name="connsiteY17819" fmla="*/ 586929 h 5217112"/>
              <a:gd name="connsiteX17820" fmla="*/ 4399007 w 6785952"/>
              <a:gd name="connsiteY17820" fmla="*/ 548025 h 5217112"/>
              <a:gd name="connsiteX17821" fmla="*/ 2161343 w 6785952"/>
              <a:gd name="connsiteY17821" fmla="*/ 547480 h 5217112"/>
              <a:gd name="connsiteX17822" fmla="*/ 2169034 w 6785952"/>
              <a:gd name="connsiteY17822" fmla="*/ 550858 h 5217112"/>
              <a:gd name="connsiteX17823" fmla="*/ 2171507 w 6785952"/>
              <a:gd name="connsiteY17823" fmla="*/ 557179 h 5217112"/>
              <a:gd name="connsiteX17824" fmla="*/ 2171507 w 6785952"/>
              <a:gd name="connsiteY17824" fmla="*/ 560121 h 5217112"/>
              <a:gd name="connsiteX17825" fmla="*/ 2165188 w 6785952"/>
              <a:gd name="connsiteY17825" fmla="*/ 563499 h 5217112"/>
              <a:gd name="connsiteX17826" fmla="*/ 2158870 w 6785952"/>
              <a:gd name="connsiteY17826" fmla="*/ 561428 h 5217112"/>
              <a:gd name="connsiteX17827" fmla="*/ 2154750 w 6785952"/>
              <a:gd name="connsiteY17827" fmla="*/ 549114 h 5217112"/>
              <a:gd name="connsiteX17828" fmla="*/ 2157772 w 6785952"/>
              <a:gd name="connsiteY17828" fmla="*/ 548025 h 5217112"/>
              <a:gd name="connsiteX17829" fmla="*/ 2161343 w 6785952"/>
              <a:gd name="connsiteY17829" fmla="*/ 547480 h 5217112"/>
              <a:gd name="connsiteX17830" fmla="*/ 1990208 w 6785952"/>
              <a:gd name="connsiteY17830" fmla="*/ 546499 h 5217112"/>
              <a:gd name="connsiteX17831" fmla="*/ 1992955 w 6785952"/>
              <a:gd name="connsiteY17831" fmla="*/ 548352 h 5217112"/>
              <a:gd name="connsiteX17832" fmla="*/ 1991581 w 6785952"/>
              <a:gd name="connsiteY17832" fmla="*/ 548679 h 5217112"/>
              <a:gd name="connsiteX17833" fmla="*/ 1990208 w 6785952"/>
              <a:gd name="connsiteY17833" fmla="*/ 546499 h 5217112"/>
              <a:gd name="connsiteX17834" fmla="*/ 6380381 w 6785952"/>
              <a:gd name="connsiteY17834" fmla="*/ 544646 h 5217112"/>
              <a:gd name="connsiteX17835" fmla="*/ 6385051 w 6785952"/>
              <a:gd name="connsiteY17835" fmla="*/ 545628 h 5217112"/>
              <a:gd name="connsiteX17836" fmla="*/ 6385600 w 6785952"/>
              <a:gd name="connsiteY17836" fmla="*/ 547589 h 5217112"/>
              <a:gd name="connsiteX17837" fmla="*/ 6386150 w 6785952"/>
              <a:gd name="connsiteY17837" fmla="*/ 547916 h 5217112"/>
              <a:gd name="connsiteX17838" fmla="*/ 6384502 w 6785952"/>
              <a:gd name="connsiteY17838" fmla="*/ 551839 h 5217112"/>
              <a:gd name="connsiteX17839" fmla="*/ 6383129 w 6785952"/>
              <a:gd name="connsiteY17839" fmla="*/ 554673 h 5217112"/>
              <a:gd name="connsiteX17840" fmla="*/ 6380931 w 6785952"/>
              <a:gd name="connsiteY17840" fmla="*/ 554673 h 5217112"/>
              <a:gd name="connsiteX17841" fmla="*/ 6377085 w 6785952"/>
              <a:gd name="connsiteY17841" fmla="*/ 547480 h 5217112"/>
              <a:gd name="connsiteX17842" fmla="*/ 6380931 w 6785952"/>
              <a:gd name="connsiteY17842" fmla="*/ 546499 h 5217112"/>
              <a:gd name="connsiteX17843" fmla="*/ 6380381 w 6785952"/>
              <a:gd name="connsiteY17843" fmla="*/ 544646 h 5217112"/>
              <a:gd name="connsiteX17844" fmla="*/ 1160595 w 6785952"/>
              <a:gd name="connsiteY17844" fmla="*/ 544252 h 5217112"/>
              <a:gd name="connsiteX17845" fmla="*/ 1161179 w 6785952"/>
              <a:gd name="connsiteY17845" fmla="*/ 556634 h 5217112"/>
              <a:gd name="connsiteX17846" fmla="*/ 1151565 w 6785952"/>
              <a:gd name="connsiteY17846" fmla="*/ 547480 h 5217112"/>
              <a:gd name="connsiteX17847" fmla="*/ 1160595 w 6785952"/>
              <a:gd name="connsiteY17847" fmla="*/ 544252 h 5217112"/>
              <a:gd name="connsiteX17848" fmla="*/ 5131618 w 6785952"/>
              <a:gd name="connsiteY17848" fmla="*/ 543993 h 5217112"/>
              <a:gd name="connsiteX17849" fmla="*/ 5129146 w 6785952"/>
              <a:gd name="connsiteY17849" fmla="*/ 544756 h 5217112"/>
              <a:gd name="connsiteX17850" fmla="*/ 5129421 w 6785952"/>
              <a:gd name="connsiteY17850" fmla="*/ 545191 h 5217112"/>
              <a:gd name="connsiteX17851" fmla="*/ 5130245 w 6785952"/>
              <a:gd name="connsiteY17851" fmla="*/ 547916 h 5217112"/>
              <a:gd name="connsiteX17852" fmla="*/ 5131618 w 6785952"/>
              <a:gd name="connsiteY17852" fmla="*/ 546173 h 5217112"/>
              <a:gd name="connsiteX17853" fmla="*/ 5130245 w 6785952"/>
              <a:gd name="connsiteY17853" fmla="*/ 546281 h 5217112"/>
              <a:gd name="connsiteX17854" fmla="*/ 3503228 w 6785952"/>
              <a:gd name="connsiteY17854" fmla="*/ 541922 h 5217112"/>
              <a:gd name="connsiteX17855" fmla="*/ 3507073 w 6785952"/>
              <a:gd name="connsiteY17855" fmla="*/ 569602 h 5217112"/>
              <a:gd name="connsiteX17856" fmla="*/ 3504052 w 6785952"/>
              <a:gd name="connsiteY17856" fmla="*/ 569928 h 5217112"/>
              <a:gd name="connsiteX17857" fmla="*/ 3501304 w 6785952"/>
              <a:gd name="connsiteY17857" fmla="*/ 566986 h 5217112"/>
              <a:gd name="connsiteX17858" fmla="*/ 3498832 w 6785952"/>
              <a:gd name="connsiteY17858" fmla="*/ 553037 h 5217112"/>
              <a:gd name="connsiteX17859" fmla="*/ 3498832 w 6785952"/>
              <a:gd name="connsiteY17859" fmla="*/ 549768 h 5217112"/>
              <a:gd name="connsiteX17860" fmla="*/ 3498558 w 6785952"/>
              <a:gd name="connsiteY17860" fmla="*/ 546390 h 5217112"/>
              <a:gd name="connsiteX17861" fmla="*/ 3503228 w 6785952"/>
              <a:gd name="connsiteY17861" fmla="*/ 541922 h 5217112"/>
              <a:gd name="connsiteX17862" fmla="*/ 2300613 w 6785952"/>
              <a:gd name="connsiteY17862" fmla="*/ 540833 h 5217112"/>
              <a:gd name="connsiteX17863" fmla="*/ 2311051 w 6785952"/>
              <a:gd name="connsiteY17863" fmla="*/ 544974 h 5217112"/>
              <a:gd name="connsiteX17864" fmla="*/ 2301987 w 6785952"/>
              <a:gd name="connsiteY17864" fmla="*/ 566005 h 5217112"/>
              <a:gd name="connsiteX17865" fmla="*/ 2291274 w 6785952"/>
              <a:gd name="connsiteY17865" fmla="*/ 559685 h 5217112"/>
              <a:gd name="connsiteX17866" fmla="*/ 2294570 w 6785952"/>
              <a:gd name="connsiteY17866" fmla="*/ 542359 h 5217112"/>
              <a:gd name="connsiteX17867" fmla="*/ 2300613 w 6785952"/>
              <a:gd name="connsiteY17867" fmla="*/ 540833 h 5217112"/>
              <a:gd name="connsiteX17868" fmla="*/ 5588711 w 6785952"/>
              <a:gd name="connsiteY17868" fmla="*/ 538871 h 5217112"/>
              <a:gd name="connsiteX17869" fmla="*/ 5588436 w 6785952"/>
              <a:gd name="connsiteY17869" fmla="*/ 539525 h 5217112"/>
              <a:gd name="connsiteX17870" fmla="*/ 5589810 w 6785952"/>
              <a:gd name="connsiteY17870" fmla="*/ 539634 h 5217112"/>
              <a:gd name="connsiteX17871" fmla="*/ 2476693 w 6785952"/>
              <a:gd name="connsiteY17871" fmla="*/ 538544 h 5217112"/>
              <a:gd name="connsiteX17872" fmla="*/ 2481088 w 6785952"/>
              <a:gd name="connsiteY17872" fmla="*/ 539416 h 5217112"/>
              <a:gd name="connsiteX17873" fmla="*/ 2484384 w 6785952"/>
              <a:gd name="connsiteY17873" fmla="*/ 545845 h 5217112"/>
              <a:gd name="connsiteX17874" fmla="*/ 2472298 w 6785952"/>
              <a:gd name="connsiteY17874" fmla="*/ 550313 h 5217112"/>
              <a:gd name="connsiteX17875" fmla="*/ 2469826 w 6785952"/>
              <a:gd name="connsiteY17875" fmla="*/ 546717 h 5217112"/>
              <a:gd name="connsiteX17876" fmla="*/ 2476693 w 6785952"/>
              <a:gd name="connsiteY17876" fmla="*/ 538544 h 5217112"/>
              <a:gd name="connsiteX17877" fmla="*/ 3129917 w 6785952"/>
              <a:gd name="connsiteY17877" fmla="*/ 538108 h 5217112"/>
              <a:gd name="connsiteX17878" fmla="*/ 3146948 w 6785952"/>
              <a:gd name="connsiteY17878" fmla="*/ 541268 h 5217112"/>
              <a:gd name="connsiteX17879" fmla="*/ 3143102 w 6785952"/>
              <a:gd name="connsiteY17879" fmla="*/ 543230 h 5217112"/>
              <a:gd name="connsiteX17880" fmla="*/ 3126071 w 6785952"/>
              <a:gd name="connsiteY17880" fmla="*/ 540070 h 5217112"/>
              <a:gd name="connsiteX17881" fmla="*/ 3129917 w 6785952"/>
              <a:gd name="connsiteY17881" fmla="*/ 538108 h 5217112"/>
              <a:gd name="connsiteX17882" fmla="*/ 2984603 w 6785952"/>
              <a:gd name="connsiteY17882" fmla="*/ 538108 h 5217112"/>
              <a:gd name="connsiteX17883" fmla="*/ 2993394 w 6785952"/>
              <a:gd name="connsiteY17883" fmla="*/ 542904 h 5217112"/>
              <a:gd name="connsiteX17884" fmla="*/ 2995591 w 6785952"/>
              <a:gd name="connsiteY17884" fmla="*/ 569493 h 5217112"/>
              <a:gd name="connsiteX17885" fmla="*/ 2992570 w 6785952"/>
              <a:gd name="connsiteY17885" fmla="*/ 571999 h 5217112"/>
              <a:gd name="connsiteX17886" fmla="*/ 2989548 w 6785952"/>
              <a:gd name="connsiteY17886" fmla="*/ 577556 h 5217112"/>
              <a:gd name="connsiteX17887" fmla="*/ 2972791 w 6785952"/>
              <a:gd name="connsiteY17887" fmla="*/ 568185 h 5217112"/>
              <a:gd name="connsiteX17888" fmla="*/ 2969220 w 6785952"/>
              <a:gd name="connsiteY17888" fmla="*/ 542795 h 5217112"/>
              <a:gd name="connsiteX17889" fmla="*/ 2984603 w 6785952"/>
              <a:gd name="connsiteY17889" fmla="*/ 538108 h 5217112"/>
              <a:gd name="connsiteX17890" fmla="*/ 5676339 w 6785952"/>
              <a:gd name="connsiteY17890" fmla="*/ 537891 h 5217112"/>
              <a:gd name="connsiteX17891" fmla="*/ 5685678 w 6785952"/>
              <a:gd name="connsiteY17891" fmla="*/ 538980 h 5217112"/>
              <a:gd name="connsiteX17892" fmla="*/ 5694194 w 6785952"/>
              <a:gd name="connsiteY17892" fmla="*/ 549442 h 5217112"/>
              <a:gd name="connsiteX17893" fmla="*/ 5677437 w 6785952"/>
              <a:gd name="connsiteY17893" fmla="*/ 548025 h 5217112"/>
              <a:gd name="connsiteX17894" fmla="*/ 5673866 w 6785952"/>
              <a:gd name="connsiteY17894" fmla="*/ 544756 h 5217112"/>
              <a:gd name="connsiteX17895" fmla="*/ 5672493 w 6785952"/>
              <a:gd name="connsiteY17895" fmla="*/ 540723 h 5217112"/>
              <a:gd name="connsiteX17896" fmla="*/ 5676339 w 6785952"/>
              <a:gd name="connsiteY17896" fmla="*/ 537891 h 5217112"/>
              <a:gd name="connsiteX17897" fmla="*/ 5854066 w 6785952"/>
              <a:gd name="connsiteY17897" fmla="*/ 537782 h 5217112"/>
              <a:gd name="connsiteX17898" fmla="*/ 5867526 w 6785952"/>
              <a:gd name="connsiteY17898" fmla="*/ 553037 h 5217112"/>
              <a:gd name="connsiteX17899" fmla="*/ 5848023 w 6785952"/>
              <a:gd name="connsiteY17899" fmla="*/ 555109 h 5217112"/>
              <a:gd name="connsiteX17900" fmla="*/ 5854066 w 6785952"/>
              <a:gd name="connsiteY17900" fmla="*/ 537782 h 5217112"/>
              <a:gd name="connsiteX17901" fmla="*/ 4408347 w 6785952"/>
              <a:gd name="connsiteY17901" fmla="*/ 536909 h 5217112"/>
              <a:gd name="connsiteX17902" fmla="*/ 4406699 w 6785952"/>
              <a:gd name="connsiteY17902" fmla="*/ 561865 h 5217112"/>
              <a:gd name="connsiteX17903" fmla="*/ 4400106 w 6785952"/>
              <a:gd name="connsiteY17903" fmla="*/ 548679 h 5217112"/>
              <a:gd name="connsiteX17904" fmla="*/ 4408347 w 6785952"/>
              <a:gd name="connsiteY17904" fmla="*/ 536909 h 5217112"/>
              <a:gd name="connsiteX17905" fmla="*/ 4559704 w 6785952"/>
              <a:gd name="connsiteY17905" fmla="*/ 536474 h 5217112"/>
              <a:gd name="connsiteX17906" fmla="*/ 4564923 w 6785952"/>
              <a:gd name="connsiteY17906" fmla="*/ 536800 h 5217112"/>
              <a:gd name="connsiteX17907" fmla="*/ 4557781 w 6785952"/>
              <a:gd name="connsiteY17907" fmla="*/ 568730 h 5217112"/>
              <a:gd name="connsiteX17908" fmla="*/ 4553386 w 6785952"/>
              <a:gd name="connsiteY17908" fmla="*/ 568730 h 5217112"/>
              <a:gd name="connsiteX17909" fmla="*/ 4547068 w 6785952"/>
              <a:gd name="connsiteY17909" fmla="*/ 565896 h 5217112"/>
              <a:gd name="connsiteX17910" fmla="*/ 4547068 w 6785952"/>
              <a:gd name="connsiteY17910" fmla="*/ 543557 h 5217112"/>
              <a:gd name="connsiteX17911" fmla="*/ 4559704 w 6785952"/>
              <a:gd name="connsiteY17911" fmla="*/ 536474 h 5217112"/>
              <a:gd name="connsiteX17912" fmla="*/ 4123214 w 6785952"/>
              <a:gd name="connsiteY17912" fmla="*/ 536255 h 5217112"/>
              <a:gd name="connsiteX17913" fmla="*/ 4135575 w 6785952"/>
              <a:gd name="connsiteY17913" fmla="*/ 550858 h 5217112"/>
              <a:gd name="connsiteX17914" fmla="*/ 4121840 w 6785952"/>
              <a:gd name="connsiteY17914" fmla="*/ 556634 h 5217112"/>
              <a:gd name="connsiteX17915" fmla="*/ 4118269 w 6785952"/>
              <a:gd name="connsiteY17915" fmla="*/ 545954 h 5217112"/>
              <a:gd name="connsiteX17916" fmla="*/ 4123214 w 6785952"/>
              <a:gd name="connsiteY17916" fmla="*/ 536255 h 5217112"/>
              <a:gd name="connsiteX17917" fmla="*/ 3916918 w 6785952"/>
              <a:gd name="connsiteY17917" fmla="*/ 534839 h 5217112"/>
              <a:gd name="connsiteX17918" fmla="*/ 3917467 w 6785952"/>
              <a:gd name="connsiteY17918" fmla="*/ 555653 h 5217112"/>
              <a:gd name="connsiteX17919" fmla="*/ 3904007 w 6785952"/>
              <a:gd name="connsiteY17919" fmla="*/ 536474 h 5217112"/>
              <a:gd name="connsiteX17920" fmla="*/ 3916918 w 6785952"/>
              <a:gd name="connsiteY17920" fmla="*/ 534839 h 5217112"/>
              <a:gd name="connsiteX17921" fmla="*/ 4477501 w 6785952"/>
              <a:gd name="connsiteY17921" fmla="*/ 534512 h 5217112"/>
              <a:gd name="connsiteX17922" fmla="*/ 4489931 w 6785952"/>
              <a:gd name="connsiteY17922" fmla="*/ 541051 h 5217112"/>
              <a:gd name="connsiteX17923" fmla="*/ 4475373 w 6785952"/>
              <a:gd name="connsiteY17923" fmla="*/ 554019 h 5217112"/>
              <a:gd name="connsiteX17924" fmla="*/ 4469604 w 6785952"/>
              <a:gd name="connsiteY17924" fmla="*/ 544320 h 5217112"/>
              <a:gd name="connsiteX17925" fmla="*/ 4477501 w 6785952"/>
              <a:gd name="connsiteY17925" fmla="*/ 534512 h 5217112"/>
              <a:gd name="connsiteX17926" fmla="*/ 1974001 w 6785952"/>
              <a:gd name="connsiteY17926" fmla="*/ 534404 h 5217112"/>
              <a:gd name="connsiteX17927" fmla="*/ 1975649 w 6785952"/>
              <a:gd name="connsiteY17927" fmla="*/ 541268 h 5217112"/>
              <a:gd name="connsiteX17928" fmla="*/ 1965211 w 6785952"/>
              <a:gd name="connsiteY17928" fmla="*/ 548025 h 5217112"/>
              <a:gd name="connsiteX17929" fmla="*/ 1959167 w 6785952"/>
              <a:gd name="connsiteY17929" fmla="*/ 553256 h 5217112"/>
              <a:gd name="connsiteX17930" fmla="*/ 1966035 w 6785952"/>
              <a:gd name="connsiteY17930" fmla="*/ 544756 h 5217112"/>
              <a:gd name="connsiteX17931" fmla="*/ 1966310 w 6785952"/>
              <a:gd name="connsiteY17931" fmla="*/ 540179 h 5217112"/>
              <a:gd name="connsiteX17932" fmla="*/ 1974001 w 6785952"/>
              <a:gd name="connsiteY17932" fmla="*/ 534404 h 5217112"/>
              <a:gd name="connsiteX17933" fmla="*/ 2402800 w 6785952"/>
              <a:gd name="connsiteY17933" fmla="*/ 533750 h 5217112"/>
              <a:gd name="connsiteX17934" fmla="*/ 2403349 w 6785952"/>
              <a:gd name="connsiteY17934" fmla="*/ 541160 h 5217112"/>
              <a:gd name="connsiteX17935" fmla="*/ 2399503 w 6785952"/>
              <a:gd name="connsiteY17935" fmla="*/ 544102 h 5217112"/>
              <a:gd name="connsiteX17936" fmla="*/ 2397306 w 6785952"/>
              <a:gd name="connsiteY17936" fmla="*/ 543121 h 5217112"/>
              <a:gd name="connsiteX17937" fmla="*/ 2397031 w 6785952"/>
              <a:gd name="connsiteY17937" fmla="*/ 540397 h 5217112"/>
              <a:gd name="connsiteX17938" fmla="*/ 2397306 w 6785952"/>
              <a:gd name="connsiteY17938" fmla="*/ 535820 h 5217112"/>
              <a:gd name="connsiteX17939" fmla="*/ 2399503 w 6785952"/>
              <a:gd name="connsiteY17939" fmla="*/ 534404 h 5217112"/>
              <a:gd name="connsiteX17940" fmla="*/ 2402800 w 6785952"/>
              <a:gd name="connsiteY17940" fmla="*/ 533750 h 5217112"/>
              <a:gd name="connsiteX17941" fmla="*/ 1662450 w 6785952"/>
              <a:gd name="connsiteY17941" fmla="*/ 533610 h 5217112"/>
              <a:gd name="connsiteX17942" fmla="*/ 1676781 w 6785952"/>
              <a:gd name="connsiteY17942" fmla="*/ 551294 h 5217112"/>
              <a:gd name="connsiteX17943" fmla="*/ 1665519 w 6785952"/>
              <a:gd name="connsiteY17943" fmla="*/ 560993 h 5217112"/>
              <a:gd name="connsiteX17944" fmla="*/ 1658102 w 6785952"/>
              <a:gd name="connsiteY17944" fmla="*/ 551512 h 5217112"/>
              <a:gd name="connsiteX17945" fmla="*/ 1655080 w 6785952"/>
              <a:gd name="connsiteY17945" fmla="*/ 540288 h 5217112"/>
              <a:gd name="connsiteX17946" fmla="*/ 1662450 w 6785952"/>
              <a:gd name="connsiteY17946" fmla="*/ 533610 h 5217112"/>
              <a:gd name="connsiteX17947" fmla="*/ 5736772 w 6785952"/>
              <a:gd name="connsiteY17947" fmla="*/ 532986 h 5217112"/>
              <a:gd name="connsiteX17948" fmla="*/ 5734573 w 6785952"/>
              <a:gd name="connsiteY17948" fmla="*/ 547807 h 5217112"/>
              <a:gd name="connsiteX17949" fmla="*/ 5736772 w 6785952"/>
              <a:gd name="connsiteY17949" fmla="*/ 532986 h 5217112"/>
              <a:gd name="connsiteX17950" fmla="*/ 3010699 w 6785952"/>
              <a:gd name="connsiteY17950" fmla="*/ 532115 h 5217112"/>
              <a:gd name="connsiteX17951" fmla="*/ 3013171 w 6785952"/>
              <a:gd name="connsiteY17951" fmla="*/ 549987 h 5217112"/>
              <a:gd name="connsiteX17952" fmla="*/ 3003283 w 6785952"/>
              <a:gd name="connsiteY17952" fmla="*/ 545845 h 5217112"/>
              <a:gd name="connsiteX17953" fmla="*/ 3001909 w 6785952"/>
              <a:gd name="connsiteY17953" fmla="*/ 541268 h 5217112"/>
              <a:gd name="connsiteX17954" fmla="*/ 3003558 w 6785952"/>
              <a:gd name="connsiteY17954" fmla="*/ 532660 h 5217112"/>
              <a:gd name="connsiteX17955" fmla="*/ 3002184 w 6785952"/>
              <a:gd name="connsiteY17955" fmla="*/ 532551 h 5217112"/>
              <a:gd name="connsiteX17956" fmla="*/ 3010699 w 6785952"/>
              <a:gd name="connsiteY17956" fmla="*/ 532115 h 5217112"/>
              <a:gd name="connsiteX17957" fmla="*/ 3954826 w 6785952"/>
              <a:gd name="connsiteY17957" fmla="*/ 531815 h 5217112"/>
              <a:gd name="connsiteX17958" fmla="*/ 3973230 w 6785952"/>
              <a:gd name="connsiteY17958" fmla="*/ 539416 h 5217112"/>
              <a:gd name="connsiteX17959" fmla="*/ 3973230 w 6785952"/>
              <a:gd name="connsiteY17959" fmla="*/ 541268 h 5217112"/>
              <a:gd name="connsiteX17960" fmla="*/ 3974878 w 6785952"/>
              <a:gd name="connsiteY17960" fmla="*/ 534839 h 5217112"/>
              <a:gd name="connsiteX17961" fmla="*/ 3982295 w 6785952"/>
              <a:gd name="connsiteY17961" fmla="*/ 535602 h 5217112"/>
              <a:gd name="connsiteX17962" fmla="*/ 3984218 w 6785952"/>
              <a:gd name="connsiteY17962" fmla="*/ 537673 h 5217112"/>
              <a:gd name="connsiteX17963" fmla="*/ 3984767 w 6785952"/>
              <a:gd name="connsiteY17963" fmla="*/ 533750 h 5217112"/>
              <a:gd name="connsiteX17964" fmla="*/ 3994656 w 6785952"/>
              <a:gd name="connsiteY17964" fmla="*/ 535166 h 5217112"/>
              <a:gd name="connsiteX17965" fmla="*/ 3993558 w 6785952"/>
              <a:gd name="connsiteY17965" fmla="*/ 542685 h 5217112"/>
              <a:gd name="connsiteX17966" fmla="*/ 3988339 w 6785952"/>
              <a:gd name="connsiteY17966" fmla="*/ 542904 h 5217112"/>
              <a:gd name="connsiteX17967" fmla="*/ 3990261 w 6785952"/>
              <a:gd name="connsiteY17967" fmla="*/ 548788 h 5217112"/>
              <a:gd name="connsiteX17968" fmla="*/ 3989437 w 6785952"/>
              <a:gd name="connsiteY17968" fmla="*/ 555980 h 5217112"/>
              <a:gd name="connsiteX17969" fmla="*/ 3978449 w 6785952"/>
              <a:gd name="connsiteY17969" fmla="*/ 552711 h 5217112"/>
              <a:gd name="connsiteX17970" fmla="*/ 3972956 w 6785952"/>
              <a:gd name="connsiteY17970" fmla="*/ 541922 h 5217112"/>
              <a:gd name="connsiteX17971" fmla="*/ 3971582 w 6785952"/>
              <a:gd name="connsiteY17971" fmla="*/ 554236 h 5217112"/>
              <a:gd name="connsiteX17972" fmla="*/ 3945761 w 6785952"/>
              <a:gd name="connsiteY17972" fmla="*/ 575704 h 5217112"/>
              <a:gd name="connsiteX17973" fmla="*/ 3934773 w 6785952"/>
              <a:gd name="connsiteY17973" fmla="*/ 568620 h 5217112"/>
              <a:gd name="connsiteX17974" fmla="*/ 3932301 w 6785952"/>
              <a:gd name="connsiteY17974" fmla="*/ 561973 h 5217112"/>
              <a:gd name="connsiteX17975" fmla="*/ 3929554 w 6785952"/>
              <a:gd name="connsiteY17975" fmla="*/ 557833 h 5217112"/>
              <a:gd name="connsiteX17976" fmla="*/ 3929828 w 6785952"/>
              <a:gd name="connsiteY17976" fmla="*/ 559140 h 5217112"/>
              <a:gd name="connsiteX17977" fmla="*/ 3926532 w 6785952"/>
              <a:gd name="connsiteY17977" fmla="*/ 566659 h 5217112"/>
              <a:gd name="connsiteX17978" fmla="*/ 3928730 w 6785952"/>
              <a:gd name="connsiteY17978" fmla="*/ 567749 h 5217112"/>
              <a:gd name="connsiteX17979" fmla="*/ 3925708 w 6785952"/>
              <a:gd name="connsiteY17979" fmla="*/ 568730 h 5217112"/>
              <a:gd name="connsiteX17980" fmla="*/ 3924060 w 6785952"/>
              <a:gd name="connsiteY17980" fmla="*/ 573088 h 5217112"/>
              <a:gd name="connsiteX17981" fmla="*/ 3916918 w 6785952"/>
              <a:gd name="connsiteY17981" fmla="*/ 581589 h 5217112"/>
              <a:gd name="connsiteX17982" fmla="*/ 3916643 w 6785952"/>
              <a:gd name="connsiteY17982" fmla="*/ 576903 h 5217112"/>
              <a:gd name="connsiteX17983" fmla="*/ 3917467 w 6785952"/>
              <a:gd name="connsiteY17983" fmla="*/ 574941 h 5217112"/>
              <a:gd name="connsiteX17984" fmla="*/ 3916918 w 6785952"/>
              <a:gd name="connsiteY17984" fmla="*/ 573634 h 5217112"/>
              <a:gd name="connsiteX17985" fmla="*/ 3918017 w 6785952"/>
              <a:gd name="connsiteY17985" fmla="*/ 572980 h 5217112"/>
              <a:gd name="connsiteX17986" fmla="*/ 3918291 w 6785952"/>
              <a:gd name="connsiteY17986" fmla="*/ 572435 h 5217112"/>
              <a:gd name="connsiteX17987" fmla="*/ 3919115 w 6785952"/>
              <a:gd name="connsiteY17987" fmla="*/ 570909 h 5217112"/>
              <a:gd name="connsiteX17988" fmla="*/ 3912797 w 6785952"/>
              <a:gd name="connsiteY17988" fmla="*/ 572544 h 5217112"/>
              <a:gd name="connsiteX17989" fmla="*/ 3896041 w 6785952"/>
              <a:gd name="connsiteY17989" fmla="*/ 566878 h 5217112"/>
              <a:gd name="connsiteX17990" fmla="*/ 3913072 w 6785952"/>
              <a:gd name="connsiteY17990" fmla="*/ 562518 h 5217112"/>
              <a:gd name="connsiteX17991" fmla="*/ 3920214 w 6785952"/>
              <a:gd name="connsiteY17991" fmla="*/ 563935 h 5217112"/>
              <a:gd name="connsiteX17992" fmla="*/ 3920488 w 6785952"/>
              <a:gd name="connsiteY17992" fmla="*/ 563281 h 5217112"/>
              <a:gd name="connsiteX17993" fmla="*/ 3920488 w 6785952"/>
              <a:gd name="connsiteY17993" fmla="*/ 559032 h 5217112"/>
              <a:gd name="connsiteX17994" fmla="*/ 3926257 w 6785952"/>
              <a:gd name="connsiteY17994" fmla="*/ 549659 h 5217112"/>
              <a:gd name="connsiteX17995" fmla="*/ 3930103 w 6785952"/>
              <a:gd name="connsiteY17995" fmla="*/ 551076 h 5217112"/>
              <a:gd name="connsiteX17996" fmla="*/ 3931476 w 6785952"/>
              <a:gd name="connsiteY17996" fmla="*/ 547153 h 5217112"/>
              <a:gd name="connsiteX17997" fmla="*/ 3937795 w 6785952"/>
              <a:gd name="connsiteY17997" fmla="*/ 539525 h 5217112"/>
              <a:gd name="connsiteX17998" fmla="*/ 3938070 w 6785952"/>
              <a:gd name="connsiteY17998" fmla="*/ 539525 h 5217112"/>
              <a:gd name="connsiteX17999" fmla="*/ 3940541 w 6785952"/>
              <a:gd name="connsiteY17999" fmla="*/ 536474 h 5217112"/>
              <a:gd name="connsiteX18000" fmla="*/ 3954826 w 6785952"/>
              <a:gd name="connsiteY18000" fmla="*/ 531815 h 5217112"/>
              <a:gd name="connsiteX18001" fmla="*/ 3290614 w 6785952"/>
              <a:gd name="connsiteY18001" fmla="*/ 531461 h 5217112"/>
              <a:gd name="connsiteX18002" fmla="*/ 3274956 w 6785952"/>
              <a:gd name="connsiteY18002" fmla="*/ 567313 h 5217112"/>
              <a:gd name="connsiteX18003" fmla="*/ 3290614 w 6785952"/>
              <a:gd name="connsiteY18003" fmla="*/ 531461 h 5217112"/>
              <a:gd name="connsiteX18004" fmla="*/ 4142442 w 6785952"/>
              <a:gd name="connsiteY18004" fmla="*/ 531134 h 5217112"/>
              <a:gd name="connsiteX18005" fmla="*/ 4146288 w 6785952"/>
              <a:gd name="connsiteY18005" fmla="*/ 534076 h 5217112"/>
              <a:gd name="connsiteX18006" fmla="*/ 4147387 w 6785952"/>
              <a:gd name="connsiteY18006" fmla="*/ 541487 h 5217112"/>
              <a:gd name="connsiteX18007" fmla="*/ 4145189 w 6785952"/>
              <a:gd name="connsiteY18007" fmla="*/ 543230 h 5217112"/>
              <a:gd name="connsiteX18008" fmla="*/ 4134751 w 6785952"/>
              <a:gd name="connsiteY18008" fmla="*/ 539961 h 5217112"/>
              <a:gd name="connsiteX18009" fmla="*/ 4133652 w 6785952"/>
              <a:gd name="connsiteY18009" fmla="*/ 535384 h 5217112"/>
              <a:gd name="connsiteX18010" fmla="*/ 4142442 w 6785952"/>
              <a:gd name="connsiteY18010" fmla="*/ 531134 h 5217112"/>
              <a:gd name="connsiteX18011" fmla="*/ 2215183 w 6785952"/>
              <a:gd name="connsiteY18011" fmla="*/ 530481 h 5217112"/>
              <a:gd name="connsiteX18012" fmla="*/ 2228918 w 6785952"/>
              <a:gd name="connsiteY18012" fmla="*/ 545736 h 5217112"/>
              <a:gd name="connsiteX18013" fmla="*/ 2209414 w 6785952"/>
              <a:gd name="connsiteY18013" fmla="*/ 547698 h 5217112"/>
              <a:gd name="connsiteX18014" fmla="*/ 2215183 w 6785952"/>
              <a:gd name="connsiteY18014" fmla="*/ 530481 h 5217112"/>
              <a:gd name="connsiteX18015" fmla="*/ 2037456 w 6785952"/>
              <a:gd name="connsiteY18015" fmla="*/ 530481 h 5217112"/>
              <a:gd name="connsiteX18016" fmla="*/ 2047070 w 6785952"/>
              <a:gd name="connsiteY18016" fmla="*/ 531679 h 5217112"/>
              <a:gd name="connsiteX18017" fmla="*/ 2055585 w 6785952"/>
              <a:gd name="connsiteY18017" fmla="*/ 542140 h 5217112"/>
              <a:gd name="connsiteX18018" fmla="*/ 2038829 w 6785952"/>
              <a:gd name="connsiteY18018" fmla="*/ 540723 h 5217112"/>
              <a:gd name="connsiteX18019" fmla="*/ 2035258 w 6785952"/>
              <a:gd name="connsiteY18019" fmla="*/ 537454 h 5217112"/>
              <a:gd name="connsiteX18020" fmla="*/ 2033884 w 6785952"/>
              <a:gd name="connsiteY18020" fmla="*/ 533423 h 5217112"/>
              <a:gd name="connsiteX18021" fmla="*/ 2037456 w 6785952"/>
              <a:gd name="connsiteY18021" fmla="*/ 530481 h 5217112"/>
              <a:gd name="connsiteX18022" fmla="*/ 1059542 w 6785952"/>
              <a:gd name="connsiteY18022" fmla="*/ 530371 h 5217112"/>
              <a:gd name="connsiteX18023" fmla="*/ 1065860 w 6785952"/>
              <a:gd name="connsiteY18023" fmla="*/ 547262 h 5217112"/>
              <a:gd name="connsiteX18024" fmla="*/ 1060366 w 6785952"/>
              <a:gd name="connsiteY18024" fmla="*/ 549006 h 5217112"/>
              <a:gd name="connsiteX18025" fmla="*/ 1056245 w 6785952"/>
              <a:gd name="connsiteY18025" fmla="*/ 547916 h 5217112"/>
              <a:gd name="connsiteX18026" fmla="*/ 1051850 w 6785952"/>
              <a:gd name="connsiteY18026" fmla="*/ 538544 h 5217112"/>
              <a:gd name="connsiteX18027" fmla="*/ 1059542 w 6785952"/>
              <a:gd name="connsiteY18027" fmla="*/ 530371 h 5217112"/>
              <a:gd name="connsiteX18028" fmla="*/ 5178317 w 6785952"/>
              <a:gd name="connsiteY18028" fmla="*/ 530153 h 5217112"/>
              <a:gd name="connsiteX18029" fmla="*/ 5174745 w 6785952"/>
              <a:gd name="connsiteY18029" fmla="*/ 530916 h 5217112"/>
              <a:gd name="connsiteX18030" fmla="*/ 5157989 w 6785952"/>
              <a:gd name="connsiteY18030" fmla="*/ 539634 h 5217112"/>
              <a:gd name="connsiteX18031" fmla="*/ 5155243 w 6785952"/>
              <a:gd name="connsiteY18031" fmla="*/ 541051 h 5217112"/>
              <a:gd name="connsiteX18032" fmla="*/ 5153594 w 6785952"/>
              <a:gd name="connsiteY18032" fmla="*/ 539634 h 5217112"/>
              <a:gd name="connsiteX18033" fmla="*/ 5148375 w 6785952"/>
              <a:gd name="connsiteY18033" fmla="*/ 539634 h 5217112"/>
              <a:gd name="connsiteX18034" fmla="*/ 5147001 w 6785952"/>
              <a:gd name="connsiteY18034" fmla="*/ 541051 h 5217112"/>
              <a:gd name="connsiteX18035" fmla="*/ 5143431 w 6785952"/>
              <a:gd name="connsiteY18035" fmla="*/ 541813 h 5217112"/>
              <a:gd name="connsiteX18036" fmla="*/ 5143156 w 6785952"/>
              <a:gd name="connsiteY18036" fmla="*/ 543557 h 5217112"/>
              <a:gd name="connsiteX18037" fmla="*/ 5134915 w 6785952"/>
              <a:gd name="connsiteY18037" fmla="*/ 546499 h 5217112"/>
              <a:gd name="connsiteX18038" fmla="*/ 5133542 w 6785952"/>
              <a:gd name="connsiteY18038" fmla="*/ 547807 h 5217112"/>
              <a:gd name="connsiteX18039" fmla="*/ 5138761 w 6785952"/>
              <a:gd name="connsiteY18039" fmla="*/ 550422 h 5217112"/>
              <a:gd name="connsiteX18040" fmla="*/ 5148100 w 6785952"/>
              <a:gd name="connsiteY18040" fmla="*/ 547807 h 5217112"/>
              <a:gd name="connsiteX18041" fmla="*/ 5163758 w 6785952"/>
              <a:gd name="connsiteY18041" fmla="*/ 541051 h 5217112"/>
              <a:gd name="connsiteX18042" fmla="*/ 5176394 w 6785952"/>
              <a:gd name="connsiteY18042" fmla="*/ 541705 h 5217112"/>
              <a:gd name="connsiteX18043" fmla="*/ 5176669 w 6785952"/>
              <a:gd name="connsiteY18043" fmla="*/ 538544 h 5217112"/>
              <a:gd name="connsiteX18044" fmla="*/ 4573988 w 6785952"/>
              <a:gd name="connsiteY18044" fmla="*/ 529500 h 5217112"/>
              <a:gd name="connsiteX18045" fmla="*/ 4586349 w 6785952"/>
              <a:gd name="connsiteY18045" fmla="*/ 559794 h 5217112"/>
              <a:gd name="connsiteX18046" fmla="*/ 4575636 w 6785952"/>
              <a:gd name="connsiteY18046" fmla="*/ 547044 h 5217112"/>
              <a:gd name="connsiteX18047" fmla="*/ 4573988 w 6785952"/>
              <a:gd name="connsiteY18047" fmla="*/ 529500 h 5217112"/>
              <a:gd name="connsiteX18048" fmla="*/ 3183483 w 6785952"/>
              <a:gd name="connsiteY18048" fmla="*/ 529282 h 5217112"/>
              <a:gd name="connsiteX18049" fmla="*/ 3187603 w 6785952"/>
              <a:gd name="connsiteY18049" fmla="*/ 533859 h 5217112"/>
              <a:gd name="connsiteX18050" fmla="*/ 3182384 w 6785952"/>
              <a:gd name="connsiteY18050" fmla="*/ 539961 h 5217112"/>
              <a:gd name="connsiteX18051" fmla="*/ 3180186 w 6785952"/>
              <a:gd name="connsiteY18051" fmla="*/ 539634 h 5217112"/>
              <a:gd name="connsiteX18052" fmla="*/ 3176065 w 6785952"/>
              <a:gd name="connsiteY18052" fmla="*/ 535058 h 5217112"/>
              <a:gd name="connsiteX18053" fmla="*/ 3183483 w 6785952"/>
              <a:gd name="connsiteY18053" fmla="*/ 529282 h 5217112"/>
              <a:gd name="connsiteX18054" fmla="*/ 4952861 w 6785952"/>
              <a:gd name="connsiteY18054" fmla="*/ 528328 h 5217112"/>
              <a:gd name="connsiteX18055" fmla="*/ 4959385 w 6785952"/>
              <a:gd name="connsiteY18055" fmla="*/ 538217 h 5217112"/>
              <a:gd name="connsiteX18056" fmla="*/ 4947848 w 6785952"/>
              <a:gd name="connsiteY18056" fmla="*/ 545736 h 5217112"/>
              <a:gd name="connsiteX18057" fmla="*/ 4941804 w 6785952"/>
              <a:gd name="connsiteY18057" fmla="*/ 529391 h 5217112"/>
              <a:gd name="connsiteX18058" fmla="*/ 4952861 w 6785952"/>
              <a:gd name="connsiteY18058" fmla="*/ 528328 h 5217112"/>
              <a:gd name="connsiteX18059" fmla="*/ 5034926 w 6785952"/>
              <a:gd name="connsiteY18059" fmla="*/ 527211 h 5217112"/>
              <a:gd name="connsiteX18060" fmla="*/ 5039871 w 6785952"/>
              <a:gd name="connsiteY18060" fmla="*/ 538762 h 5217112"/>
              <a:gd name="connsiteX18061" fmla="*/ 5037947 w 6785952"/>
              <a:gd name="connsiteY18061" fmla="*/ 539525 h 5217112"/>
              <a:gd name="connsiteX18062" fmla="*/ 5035201 w 6785952"/>
              <a:gd name="connsiteY18062" fmla="*/ 538653 h 5217112"/>
              <a:gd name="connsiteX18063" fmla="*/ 5034926 w 6785952"/>
              <a:gd name="connsiteY18063" fmla="*/ 527211 h 5217112"/>
              <a:gd name="connsiteX18064" fmla="*/ 1681176 w 6785952"/>
              <a:gd name="connsiteY18064" fmla="*/ 526339 h 5217112"/>
              <a:gd name="connsiteX18065" fmla="*/ 1684747 w 6785952"/>
              <a:gd name="connsiteY18065" fmla="*/ 527320 h 5217112"/>
              <a:gd name="connsiteX18066" fmla="*/ 1683099 w 6785952"/>
              <a:gd name="connsiteY18066" fmla="*/ 534404 h 5217112"/>
              <a:gd name="connsiteX18067" fmla="*/ 1680902 w 6785952"/>
              <a:gd name="connsiteY18067" fmla="*/ 535929 h 5217112"/>
              <a:gd name="connsiteX18068" fmla="*/ 1678704 w 6785952"/>
              <a:gd name="connsiteY18068" fmla="*/ 535384 h 5217112"/>
              <a:gd name="connsiteX18069" fmla="*/ 1677331 w 6785952"/>
              <a:gd name="connsiteY18069" fmla="*/ 530807 h 5217112"/>
              <a:gd name="connsiteX18070" fmla="*/ 1678979 w 6785952"/>
              <a:gd name="connsiteY18070" fmla="*/ 526557 h 5217112"/>
              <a:gd name="connsiteX18071" fmla="*/ 1681176 w 6785952"/>
              <a:gd name="connsiteY18071" fmla="*/ 526339 h 5217112"/>
              <a:gd name="connsiteX18072" fmla="*/ 2098163 w 6785952"/>
              <a:gd name="connsiteY18072" fmla="*/ 525577 h 5217112"/>
              <a:gd name="connsiteX18073" fmla="*/ 2095966 w 6785952"/>
              <a:gd name="connsiteY18073" fmla="*/ 540397 h 5217112"/>
              <a:gd name="connsiteX18074" fmla="*/ 2098163 w 6785952"/>
              <a:gd name="connsiteY18074" fmla="*/ 525577 h 5217112"/>
              <a:gd name="connsiteX18075" fmla="*/ 4544046 w 6785952"/>
              <a:gd name="connsiteY18075" fmla="*/ 524814 h 5217112"/>
              <a:gd name="connsiteX18076" fmla="*/ 4547068 w 6785952"/>
              <a:gd name="connsiteY18076" fmla="*/ 527538 h 5217112"/>
              <a:gd name="connsiteX18077" fmla="*/ 4542947 w 6785952"/>
              <a:gd name="connsiteY18077" fmla="*/ 531243 h 5217112"/>
              <a:gd name="connsiteX18078" fmla="*/ 4541574 w 6785952"/>
              <a:gd name="connsiteY18078" fmla="*/ 525359 h 5217112"/>
              <a:gd name="connsiteX18079" fmla="*/ 4544046 w 6785952"/>
              <a:gd name="connsiteY18079" fmla="*/ 524814 h 5217112"/>
              <a:gd name="connsiteX18080" fmla="*/ 4605028 w 6785952"/>
              <a:gd name="connsiteY18080" fmla="*/ 524595 h 5217112"/>
              <a:gd name="connsiteX18081" fmla="*/ 4611622 w 6785952"/>
              <a:gd name="connsiteY18081" fmla="*/ 535820 h 5217112"/>
              <a:gd name="connsiteX18082" fmla="*/ 4597337 w 6785952"/>
              <a:gd name="connsiteY18082" fmla="*/ 545954 h 5217112"/>
              <a:gd name="connsiteX18083" fmla="*/ 4592942 w 6785952"/>
              <a:gd name="connsiteY18083" fmla="*/ 544756 h 5217112"/>
              <a:gd name="connsiteX18084" fmla="*/ 4605028 w 6785952"/>
              <a:gd name="connsiteY18084" fmla="*/ 524595 h 5217112"/>
              <a:gd name="connsiteX18085" fmla="*/ 1898734 w 6785952"/>
              <a:gd name="connsiteY18085" fmla="*/ 523942 h 5217112"/>
              <a:gd name="connsiteX18086" fmla="*/ 1900932 w 6785952"/>
              <a:gd name="connsiteY18086" fmla="*/ 526230 h 5217112"/>
              <a:gd name="connsiteX18087" fmla="*/ 1902031 w 6785952"/>
              <a:gd name="connsiteY18087" fmla="*/ 530590 h 5217112"/>
              <a:gd name="connsiteX18088" fmla="*/ 1895164 w 6785952"/>
              <a:gd name="connsiteY18088" fmla="*/ 534513 h 5217112"/>
              <a:gd name="connsiteX18089" fmla="*/ 1892966 w 6785952"/>
              <a:gd name="connsiteY18089" fmla="*/ 532224 h 5217112"/>
              <a:gd name="connsiteX18090" fmla="*/ 1893240 w 6785952"/>
              <a:gd name="connsiteY18090" fmla="*/ 527429 h 5217112"/>
              <a:gd name="connsiteX18091" fmla="*/ 1898734 w 6785952"/>
              <a:gd name="connsiteY18091" fmla="*/ 523942 h 5217112"/>
              <a:gd name="connsiteX18092" fmla="*/ 2790119 w 6785952"/>
              <a:gd name="connsiteY18092" fmla="*/ 523398 h 5217112"/>
              <a:gd name="connsiteX18093" fmla="*/ 2799734 w 6785952"/>
              <a:gd name="connsiteY18093" fmla="*/ 527211 h 5217112"/>
              <a:gd name="connsiteX18094" fmla="*/ 2785999 w 6785952"/>
              <a:gd name="connsiteY18094" fmla="*/ 540833 h 5217112"/>
              <a:gd name="connsiteX18095" fmla="*/ 2782977 w 6785952"/>
              <a:gd name="connsiteY18095" fmla="*/ 536147 h 5217112"/>
              <a:gd name="connsiteX18096" fmla="*/ 2790119 w 6785952"/>
              <a:gd name="connsiteY18096" fmla="*/ 523398 h 5217112"/>
              <a:gd name="connsiteX18097" fmla="*/ 3457353 w 6785952"/>
              <a:gd name="connsiteY18097" fmla="*/ 523179 h 5217112"/>
              <a:gd name="connsiteX18098" fmla="*/ 3463122 w 6785952"/>
              <a:gd name="connsiteY18098" fmla="*/ 527211 h 5217112"/>
              <a:gd name="connsiteX18099" fmla="*/ 3451859 w 6785952"/>
              <a:gd name="connsiteY18099" fmla="*/ 538653 h 5217112"/>
              <a:gd name="connsiteX18100" fmla="*/ 3446091 w 6785952"/>
              <a:gd name="connsiteY18100" fmla="*/ 538653 h 5217112"/>
              <a:gd name="connsiteX18101" fmla="*/ 3440048 w 6785952"/>
              <a:gd name="connsiteY18101" fmla="*/ 535711 h 5217112"/>
              <a:gd name="connsiteX18102" fmla="*/ 3457353 w 6785952"/>
              <a:gd name="connsiteY18102" fmla="*/ 523179 h 5217112"/>
              <a:gd name="connsiteX18103" fmla="*/ 4527290 w 6785952"/>
              <a:gd name="connsiteY18103" fmla="*/ 522416 h 5217112"/>
              <a:gd name="connsiteX18104" fmla="*/ 4530037 w 6785952"/>
              <a:gd name="connsiteY18104" fmla="*/ 534185 h 5217112"/>
              <a:gd name="connsiteX18105" fmla="*/ 4527839 w 6785952"/>
              <a:gd name="connsiteY18105" fmla="*/ 535711 h 5217112"/>
              <a:gd name="connsiteX18106" fmla="*/ 4527015 w 6785952"/>
              <a:gd name="connsiteY18106" fmla="*/ 535275 h 5217112"/>
              <a:gd name="connsiteX18107" fmla="*/ 4524268 w 6785952"/>
              <a:gd name="connsiteY18107" fmla="*/ 532115 h 5217112"/>
              <a:gd name="connsiteX18108" fmla="*/ 4524543 w 6785952"/>
              <a:gd name="connsiteY18108" fmla="*/ 523506 h 5217112"/>
              <a:gd name="connsiteX18109" fmla="*/ 4527290 w 6785952"/>
              <a:gd name="connsiteY18109" fmla="*/ 522416 h 5217112"/>
              <a:gd name="connsiteX18110" fmla="*/ 4894557 w 6785952"/>
              <a:gd name="connsiteY18110" fmla="*/ 521980 h 5217112"/>
              <a:gd name="connsiteX18111" fmla="*/ 4899776 w 6785952"/>
              <a:gd name="connsiteY18111" fmla="*/ 522525 h 5217112"/>
              <a:gd name="connsiteX18112" fmla="*/ 4897304 w 6785952"/>
              <a:gd name="connsiteY18112" fmla="*/ 554127 h 5217112"/>
              <a:gd name="connsiteX18113" fmla="*/ 4892634 w 6785952"/>
              <a:gd name="connsiteY18113" fmla="*/ 554019 h 5217112"/>
              <a:gd name="connsiteX18114" fmla="*/ 4886041 w 6785952"/>
              <a:gd name="connsiteY18114" fmla="*/ 550967 h 5217112"/>
              <a:gd name="connsiteX18115" fmla="*/ 4883020 w 6785952"/>
              <a:gd name="connsiteY18115" fmla="*/ 528628 h 5217112"/>
              <a:gd name="connsiteX18116" fmla="*/ 4894557 w 6785952"/>
              <a:gd name="connsiteY18116" fmla="*/ 521980 h 5217112"/>
              <a:gd name="connsiteX18117" fmla="*/ 1314150 w 6785952"/>
              <a:gd name="connsiteY18117" fmla="*/ 521027 h 5217112"/>
              <a:gd name="connsiteX18118" fmla="*/ 1320777 w 6785952"/>
              <a:gd name="connsiteY18118" fmla="*/ 530916 h 5217112"/>
              <a:gd name="connsiteX18119" fmla="*/ 1309240 w 6785952"/>
              <a:gd name="connsiteY18119" fmla="*/ 538436 h 5217112"/>
              <a:gd name="connsiteX18120" fmla="*/ 1303196 w 6785952"/>
              <a:gd name="connsiteY18120" fmla="*/ 522090 h 5217112"/>
              <a:gd name="connsiteX18121" fmla="*/ 1314150 w 6785952"/>
              <a:gd name="connsiteY18121" fmla="*/ 521027 h 5217112"/>
              <a:gd name="connsiteX18122" fmla="*/ 3116458 w 6785952"/>
              <a:gd name="connsiteY18122" fmla="*/ 520455 h 5217112"/>
              <a:gd name="connsiteX18123" fmla="*/ 3127719 w 6785952"/>
              <a:gd name="connsiteY18123" fmla="*/ 526122 h 5217112"/>
              <a:gd name="connsiteX18124" fmla="*/ 3121950 w 6785952"/>
              <a:gd name="connsiteY18124" fmla="*/ 533640 h 5217112"/>
              <a:gd name="connsiteX18125" fmla="*/ 3116458 w 6785952"/>
              <a:gd name="connsiteY18125" fmla="*/ 528518 h 5217112"/>
              <a:gd name="connsiteX18126" fmla="*/ 3116458 w 6785952"/>
              <a:gd name="connsiteY18126" fmla="*/ 520455 h 5217112"/>
              <a:gd name="connsiteX18127" fmla="*/ 1520206 w 6785952"/>
              <a:gd name="connsiteY18127" fmla="*/ 519801 h 5217112"/>
              <a:gd name="connsiteX18128" fmla="*/ 1508393 w 6785952"/>
              <a:gd name="connsiteY18128" fmla="*/ 533750 h 5217112"/>
              <a:gd name="connsiteX18129" fmla="*/ 1491362 w 6785952"/>
              <a:gd name="connsiteY18129" fmla="*/ 538871 h 5217112"/>
              <a:gd name="connsiteX18130" fmla="*/ 1520206 w 6785952"/>
              <a:gd name="connsiteY18130" fmla="*/ 519801 h 5217112"/>
              <a:gd name="connsiteX18131" fmla="*/ 1396318 w 6785952"/>
              <a:gd name="connsiteY18131" fmla="*/ 519692 h 5217112"/>
              <a:gd name="connsiteX18132" fmla="*/ 1401263 w 6785952"/>
              <a:gd name="connsiteY18132" fmla="*/ 531461 h 5217112"/>
              <a:gd name="connsiteX18133" fmla="*/ 1399064 w 6785952"/>
              <a:gd name="connsiteY18133" fmla="*/ 532224 h 5217112"/>
              <a:gd name="connsiteX18134" fmla="*/ 1396593 w 6785952"/>
              <a:gd name="connsiteY18134" fmla="*/ 531243 h 5217112"/>
              <a:gd name="connsiteX18135" fmla="*/ 1396318 w 6785952"/>
              <a:gd name="connsiteY18135" fmla="*/ 519692 h 5217112"/>
              <a:gd name="connsiteX18136" fmla="*/ 1467739 w 6785952"/>
              <a:gd name="connsiteY18136" fmla="*/ 519365 h 5217112"/>
              <a:gd name="connsiteX18137" fmla="*/ 1494110 w 6785952"/>
              <a:gd name="connsiteY18137" fmla="*/ 548243 h 5217112"/>
              <a:gd name="connsiteX18138" fmla="*/ 1467739 w 6785952"/>
              <a:gd name="connsiteY18138" fmla="*/ 519365 h 5217112"/>
              <a:gd name="connsiteX18139" fmla="*/ 3710073 w 6785952"/>
              <a:gd name="connsiteY18139" fmla="*/ 513045 h 5217112"/>
              <a:gd name="connsiteX18140" fmla="*/ 3710897 w 6785952"/>
              <a:gd name="connsiteY18140" fmla="*/ 522090 h 5217112"/>
              <a:gd name="connsiteX18141" fmla="*/ 3710622 w 6785952"/>
              <a:gd name="connsiteY18141" fmla="*/ 529282 h 5217112"/>
              <a:gd name="connsiteX18142" fmla="*/ 3703205 w 6785952"/>
              <a:gd name="connsiteY18142" fmla="*/ 551512 h 5217112"/>
              <a:gd name="connsiteX18143" fmla="*/ 3702381 w 6785952"/>
              <a:gd name="connsiteY18143" fmla="*/ 541160 h 5217112"/>
              <a:gd name="connsiteX18144" fmla="*/ 3704029 w 6785952"/>
              <a:gd name="connsiteY18144" fmla="*/ 517948 h 5217112"/>
              <a:gd name="connsiteX18145" fmla="*/ 3707051 w 6785952"/>
              <a:gd name="connsiteY18145" fmla="*/ 515442 h 5217112"/>
              <a:gd name="connsiteX18146" fmla="*/ 3707325 w 6785952"/>
              <a:gd name="connsiteY18146" fmla="*/ 514025 h 5217112"/>
              <a:gd name="connsiteX18147" fmla="*/ 3710073 w 6785952"/>
              <a:gd name="connsiteY18147" fmla="*/ 513045 h 5217112"/>
              <a:gd name="connsiteX18148" fmla="*/ 4328960 w 6785952"/>
              <a:gd name="connsiteY18148" fmla="*/ 512390 h 5217112"/>
              <a:gd name="connsiteX18149" fmla="*/ 4345717 w 6785952"/>
              <a:gd name="connsiteY18149" fmla="*/ 531243 h 5217112"/>
              <a:gd name="connsiteX18150" fmla="*/ 4345717 w 6785952"/>
              <a:gd name="connsiteY18150" fmla="*/ 535602 h 5217112"/>
              <a:gd name="connsiteX18151" fmla="*/ 4351211 w 6785952"/>
              <a:gd name="connsiteY18151" fmla="*/ 528846 h 5217112"/>
              <a:gd name="connsiteX18152" fmla="*/ 4357529 w 6785952"/>
              <a:gd name="connsiteY18152" fmla="*/ 527102 h 5217112"/>
              <a:gd name="connsiteX18153" fmla="*/ 4367692 w 6785952"/>
              <a:gd name="connsiteY18153" fmla="*/ 530916 h 5217112"/>
              <a:gd name="connsiteX18154" fmla="*/ 4366044 w 6785952"/>
              <a:gd name="connsiteY18154" fmla="*/ 543666 h 5217112"/>
              <a:gd name="connsiteX18155" fmla="*/ 4367418 w 6785952"/>
              <a:gd name="connsiteY18155" fmla="*/ 543230 h 5217112"/>
              <a:gd name="connsiteX18156" fmla="*/ 4366318 w 6785952"/>
              <a:gd name="connsiteY18156" fmla="*/ 544211 h 5217112"/>
              <a:gd name="connsiteX18157" fmla="*/ 4365494 w 6785952"/>
              <a:gd name="connsiteY18157" fmla="*/ 544211 h 5217112"/>
              <a:gd name="connsiteX18158" fmla="*/ 4361099 w 6785952"/>
              <a:gd name="connsiteY18158" fmla="*/ 549551 h 5217112"/>
              <a:gd name="connsiteX18159" fmla="*/ 4355605 w 6785952"/>
              <a:gd name="connsiteY18159" fmla="*/ 552275 h 5217112"/>
              <a:gd name="connsiteX18160" fmla="*/ 4345717 w 6785952"/>
              <a:gd name="connsiteY18160" fmla="*/ 546390 h 5217112"/>
              <a:gd name="connsiteX18161" fmla="*/ 4345717 w 6785952"/>
              <a:gd name="connsiteY18161" fmla="*/ 553256 h 5217112"/>
              <a:gd name="connsiteX18162" fmla="*/ 4320994 w 6785952"/>
              <a:gd name="connsiteY18162" fmla="*/ 595973 h 5217112"/>
              <a:gd name="connsiteX18163" fmla="*/ 4311105 w 6785952"/>
              <a:gd name="connsiteY18163" fmla="*/ 608178 h 5217112"/>
              <a:gd name="connsiteX18164" fmla="*/ 4319346 w 6785952"/>
              <a:gd name="connsiteY18164" fmla="*/ 614389 h 5217112"/>
              <a:gd name="connsiteX18165" fmla="*/ 4320719 w 6785952"/>
              <a:gd name="connsiteY18165" fmla="*/ 619839 h 5217112"/>
              <a:gd name="connsiteX18166" fmla="*/ 4307534 w 6785952"/>
              <a:gd name="connsiteY18166" fmla="*/ 626377 h 5217112"/>
              <a:gd name="connsiteX18167" fmla="*/ 4303414 w 6785952"/>
              <a:gd name="connsiteY18167" fmla="*/ 624415 h 5217112"/>
              <a:gd name="connsiteX18168" fmla="*/ 4303139 w 6785952"/>
              <a:gd name="connsiteY18168" fmla="*/ 618312 h 5217112"/>
              <a:gd name="connsiteX18169" fmla="*/ 4306435 w 6785952"/>
              <a:gd name="connsiteY18169" fmla="*/ 613953 h 5217112"/>
              <a:gd name="connsiteX18170" fmla="*/ 4290228 w 6785952"/>
              <a:gd name="connsiteY18170" fmla="*/ 624197 h 5217112"/>
              <a:gd name="connsiteX18171" fmla="*/ 4279240 w 6785952"/>
              <a:gd name="connsiteY18171" fmla="*/ 622454 h 5217112"/>
              <a:gd name="connsiteX18172" fmla="*/ 4260561 w 6785952"/>
              <a:gd name="connsiteY18172" fmla="*/ 594447 h 5217112"/>
              <a:gd name="connsiteX18173" fmla="*/ 4261934 w 6785952"/>
              <a:gd name="connsiteY18173" fmla="*/ 577011 h 5217112"/>
              <a:gd name="connsiteX18174" fmla="*/ 4260286 w 6785952"/>
              <a:gd name="connsiteY18174" fmla="*/ 578319 h 5217112"/>
              <a:gd name="connsiteX18175" fmla="*/ 4252595 w 6785952"/>
              <a:gd name="connsiteY18175" fmla="*/ 579409 h 5217112"/>
              <a:gd name="connsiteX18176" fmla="*/ 4242706 w 6785952"/>
              <a:gd name="connsiteY18176" fmla="*/ 578210 h 5217112"/>
              <a:gd name="connsiteX18177" fmla="*/ 4245727 w 6785952"/>
              <a:gd name="connsiteY18177" fmla="*/ 565461 h 5217112"/>
              <a:gd name="connsiteX18178" fmla="*/ 4250947 w 6785952"/>
              <a:gd name="connsiteY18178" fmla="*/ 563063 h 5217112"/>
              <a:gd name="connsiteX18179" fmla="*/ 4256990 w 6785952"/>
              <a:gd name="connsiteY18179" fmla="*/ 563935 h 5217112"/>
              <a:gd name="connsiteX18180" fmla="*/ 4266879 w 6785952"/>
              <a:gd name="connsiteY18180" fmla="*/ 565134 h 5217112"/>
              <a:gd name="connsiteX18181" fmla="*/ 4266879 w 6785952"/>
              <a:gd name="connsiteY18181" fmla="*/ 565570 h 5217112"/>
              <a:gd name="connsiteX18182" fmla="*/ 4271549 w 6785952"/>
              <a:gd name="connsiteY18182" fmla="*/ 556416 h 5217112"/>
              <a:gd name="connsiteX18183" fmla="*/ 4323741 w 6785952"/>
              <a:gd name="connsiteY18183" fmla="*/ 513917 h 5217112"/>
              <a:gd name="connsiteX18184" fmla="*/ 4328960 w 6785952"/>
              <a:gd name="connsiteY18184" fmla="*/ 512390 h 5217112"/>
              <a:gd name="connsiteX18185" fmla="*/ 4551189 w 6785952"/>
              <a:gd name="connsiteY18185" fmla="*/ 512281 h 5217112"/>
              <a:gd name="connsiteX18186" fmla="*/ 4558880 w 6785952"/>
              <a:gd name="connsiteY18186" fmla="*/ 515660 h 5217112"/>
              <a:gd name="connsiteX18187" fmla="*/ 4561626 w 6785952"/>
              <a:gd name="connsiteY18187" fmla="*/ 521980 h 5217112"/>
              <a:gd name="connsiteX18188" fmla="*/ 4561352 w 6785952"/>
              <a:gd name="connsiteY18188" fmla="*/ 524923 h 5217112"/>
              <a:gd name="connsiteX18189" fmla="*/ 4555034 w 6785952"/>
              <a:gd name="connsiteY18189" fmla="*/ 528410 h 5217112"/>
              <a:gd name="connsiteX18190" fmla="*/ 4548716 w 6785952"/>
              <a:gd name="connsiteY18190" fmla="*/ 526339 h 5217112"/>
              <a:gd name="connsiteX18191" fmla="*/ 4544870 w 6785952"/>
              <a:gd name="connsiteY18191" fmla="*/ 513917 h 5217112"/>
              <a:gd name="connsiteX18192" fmla="*/ 4547617 w 6785952"/>
              <a:gd name="connsiteY18192" fmla="*/ 512826 h 5217112"/>
              <a:gd name="connsiteX18193" fmla="*/ 4551189 w 6785952"/>
              <a:gd name="connsiteY18193" fmla="*/ 512281 h 5217112"/>
              <a:gd name="connsiteX18194" fmla="*/ 2602228 w 6785952"/>
              <a:gd name="connsiteY18194" fmla="*/ 512064 h 5217112"/>
              <a:gd name="connsiteX18195" fmla="*/ 2605249 w 6785952"/>
              <a:gd name="connsiteY18195" fmla="*/ 518493 h 5217112"/>
              <a:gd name="connsiteX18196" fmla="*/ 2582999 w 6785952"/>
              <a:gd name="connsiteY18196" fmla="*/ 535711 h 5217112"/>
              <a:gd name="connsiteX18197" fmla="*/ 2579153 w 6785952"/>
              <a:gd name="connsiteY18197" fmla="*/ 532115 h 5217112"/>
              <a:gd name="connsiteX18198" fmla="*/ 2582725 w 6785952"/>
              <a:gd name="connsiteY18198" fmla="*/ 522416 h 5217112"/>
              <a:gd name="connsiteX18199" fmla="*/ 2586845 w 6785952"/>
              <a:gd name="connsiteY18199" fmla="*/ 517622 h 5217112"/>
              <a:gd name="connsiteX18200" fmla="*/ 2592614 w 6785952"/>
              <a:gd name="connsiteY18200" fmla="*/ 515551 h 5217112"/>
              <a:gd name="connsiteX18201" fmla="*/ 2602228 w 6785952"/>
              <a:gd name="connsiteY18201" fmla="*/ 512064 h 5217112"/>
              <a:gd name="connsiteX18202" fmla="*/ 4380328 w 6785952"/>
              <a:gd name="connsiteY18202" fmla="*/ 511301 h 5217112"/>
              <a:gd name="connsiteX18203" fmla="*/ 4382800 w 6785952"/>
              <a:gd name="connsiteY18203" fmla="*/ 513263 h 5217112"/>
              <a:gd name="connsiteX18204" fmla="*/ 4381427 w 6785952"/>
              <a:gd name="connsiteY18204" fmla="*/ 513480 h 5217112"/>
              <a:gd name="connsiteX18205" fmla="*/ 4380328 w 6785952"/>
              <a:gd name="connsiteY18205" fmla="*/ 511301 h 5217112"/>
              <a:gd name="connsiteX18206" fmla="*/ 5068988 w 6785952"/>
              <a:gd name="connsiteY18206" fmla="*/ 510756 h 5217112"/>
              <a:gd name="connsiteX18207" fmla="*/ 5073384 w 6785952"/>
              <a:gd name="connsiteY18207" fmla="*/ 511628 h 5217112"/>
              <a:gd name="connsiteX18208" fmla="*/ 5076405 w 6785952"/>
              <a:gd name="connsiteY18208" fmla="*/ 518057 h 5217112"/>
              <a:gd name="connsiteX18209" fmla="*/ 5064318 w 6785952"/>
              <a:gd name="connsiteY18209" fmla="*/ 522634 h 5217112"/>
              <a:gd name="connsiteX18210" fmla="*/ 5061846 w 6785952"/>
              <a:gd name="connsiteY18210" fmla="*/ 518820 h 5217112"/>
              <a:gd name="connsiteX18211" fmla="*/ 5068988 w 6785952"/>
              <a:gd name="connsiteY18211" fmla="*/ 510756 h 5217112"/>
              <a:gd name="connsiteX18212" fmla="*/ 3550440 w 6785952"/>
              <a:gd name="connsiteY18212" fmla="*/ 509053 h 5217112"/>
              <a:gd name="connsiteX18213" fmla="*/ 3551024 w 6785952"/>
              <a:gd name="connsiteY18213" fmla="*/ 521435 h 5217112"/>
              <a:gd name="connsiteX18214" fmla="*/ 3541410 w 6785952"/>
              <a:gd name="connsiteY18214" fmla="*/ 512281 h 5217112"/>
              <a:gd name="connsiteX18215" fmla="*/ 3550440 w 6785952"/>
              <a:gd name="connsiteY18215" fmla="*/ 509053 h 5217112"/>
              <a:gd name="connsiteX18216" fmla="*/ 2505536 w 6785952"/>
              <a:gd name="connsiteY18216" fmla="*/ 508250 h 5217112"/>
              <a:gd name="connsiteX18217" fmla="*/ 2511304 w 6785952"/>
              <a:gd name="connsiteY18217" fmla="*/ 509122 h 5217112"/>
              <a:gd name="connsiteX18218" fmla="*/ 2514051 w 6785952"/>
              <a:gd name="connsiteY18218" fmla="*/ 512500 h 5217112"/>
              <a:gd name="connsiteX18219" fmla="*/ 2512403 w 6785952"/>
              <a:gd name="connsiteY18219" fmla="*/ 515224 h 5217112"/>
              <a:gd name="connsiteX18220" fmla="*/ 2512128 w 6785952"/>
              <a:gd name="connsiteY18220" fmla="*/ 518057 h 5217112"/>
              <a:gd name="connsiteX18221" fmla="*/ 2510755 w 6785952"/>
              <a:gd name="connsiteY18221" fmla="*/ 517839 h 5217112"/>
              <a:gd name="connsiteX18222" fmla="*/ 2509382 w 6785952"/>
              <a:gd name="connsiteY18222" fmla="*/ 519038 h 5217112"/>
              <a:gd name="connsiteX18223" fmla="*/ 2503888 w 6785952"/>
              <a:gd name="connsiteY18223" fmla="*/ 515224 h 5217112"/>
              <a:gd name="connsiteX18224" fmla="*/ 2502239 w 6785952"/>
              <a:gd name="connsiteY18224" fmla="*/ 512064 h 5217112"/>
              <a:gd name="connsiteX18225" fmla="*/ 2502788 w 6785952"/>
              <a:gd name="connsiteY18225" fmla="*/ 509231 h 5217112"/>
              <a:gd name="connsiteX18226" fmla="*/ 2505536 w 6785952"/>
              <a:gd name="connsiteY18226" fmla="*/ 508250 h 5217112"/>
              <a:gd name="connsiteX18227" fmla="*/ 2646454 w 6785952"/>
              <a:gd name="connsiteY18227" fmla="*/ 507378 h 5217112"/>
              <a:gd name="connsiteX18228" fmla="*/ 2654145 w 6785952"/>
              <a:gd name="connsiteY18228" fmla="*/ 520346 h 5217112"/>
              <a:gd name="connsiteX18229" fmla="*/ 2650300 w 6785952"/>
              <a:gd name="connsiteY18229" fmla="*/ 522525 h 5217112"/>
              <a:gd name="connsiteX18230" fmla="*/ 2646454 w 6785952"/>
              <a:gd name="connsiteY18230" fmla="*/ 522525 h 5217112"/>
              <a:gd name="connsiteX18231" fmla="*/ 2640686 w 6785952"/>
              <a:gd name="connsiteY18231" fmla="*/ 518057 h 5217112"/>
              <a:gd name="connsiteX18232" fmla="*/ 2639862 w 6785952"/>
              <a:gd name="connsiteY18232" fmla="*/ 512935 h 5217112"/>
              <a:gd name="connsiteX18233" fmla="*/ 2646454 w 6785952"/>
              <a:gd name="connsiteY18233" fmla="*/ 507378 h 5217112"/>
              <a:gd name="connsiteX18234" fmla="*/ 4995095 w 6785952"/>
              <a:gd name="connsiteY18234" fmla="*/ 505962 h 5217112"/>
              <a:gd name="connsiteX18235" fmla="*/ 4995370 w 6785952"/>
              <a:gd name="connsiteY18235" fmla="*/ 513371 h 5217112"/>
              <a:gd name="connsiteX18236" fmla="*/ 4991799 w 6785952"/>
              <a:gd name="connsiteY18236" fmla="*/ 516205 h 5217112"/>
              <a:gd name="connsiteX18237" fmla="*/ 4989601 w 6785952"/>
              <a:gd name="connsiteY18237" fmla="*/ 515333 h 5217112"/>
              <a:gd name="connsiteX18238" fmla="*/ 4989326 w 6785952"/>
              <a:gd name="connsiteY18238" fmla="*/ 512609 h 5217112"/>
              <a:gd name="connsiteX18239" fmla="*/ 4989601 w 6785952"/>
              <a:gd name="connsiteY18239" fmla="*/ 507923 h 5217112"/>
              <a:gd name="connsiteX18240" fmla="*/ 4991525 w 6785952"/>
              <a:gd name="connsiteY18240" fmla="*/ 506615 h 5217112"/>
              <a:gd name="connsiteX18241" fmla="*/ 4995095 w 6785952"/>
              <a:gd name="connsiteY18241" fmla="*/ 505962 h 5217112"/>
              <a:gd name="connsiteX18242" fmla="*/ 2952464 w 6785952"/>
              <a:gd name="connsiteY18242" fmla="*/ 504981 h 5217112"/>
              <a:gd name="connsiteX18243" fmla="*/ 2954387 w 6785952"/>
              <a:gd name="connsiteY18243" fmla="*/ 513263 h 5217112"/>
              <a:gd name="connsiteX18244" fmla="*/ 2949443 w 6785952"/>
              <a:gd name="connsiteY18244" fmla="*/ 513917 h 5217112"/>
              <a:gd name="connsiteX18245" fmla="*/ 2943949 w 6785952"/>
              <a:gd name="connsiteY18245" fmla="*/ 512609 h 5217112"/>
              <a:gd name="connsiteX18246" fmla="*/ 2944498 w 6785952"/>
              <a:gd name="connsiteY18246" fmla="*/ 509340 h 5217112"/>
              <a:gd name="connsiteX18247" fmla="*/ 2948069 w 6785952"/>
              <a:gd name="connsiteY18247" fmla="*/ 505634 h 5217112"/>
              <a:gd name="connsiteX18248" fmla="*/ 2952464 w 6785952"/>
              <a:gd name="connsiteY18248" fmla="*/ 504981 h 5217112"/>
              <a:gd name="connsiteX18249" fmla="*/ 5602995 w 6785952"/>
              <a:gd name="connsiteY18249" fmla="*/ 504327 h 5217112"/>
              <a:gd name="connsiteX18250" fmla="*/ 5605467 w 6785952"/>
              <a:gd name="connsiteY18250" fmla="*/ 522199 h 5217112"/>
              <a:gd name="connsiteX18251" fmla="*/ 5595578 w 6785952"/>
              <a:gd name="connsiteY18251" fmla="*/ 517948 h 5217112"/>
              <a:gd name="connsiteX18252" fmla="*/ 5594205 w 6785952"/>
              <a:gd name="connsiteY18252" fmla="*/ 513480 h 5217112"/>
              <a:gd name="connsiteX18253" fmla="*/ 5595853 w 6785952"/>
              <a:gd name="connsiteY18253" fmla="*/ 504872 h 5217112"/>
              <a:gd name="connsiteX18254" fmla="*/ 5594480 w 6785952"/>
              <a:gd name="connsiteY18254" fmla="*/ 504763 h 5217112"/>
              <a:gd name="connsiteX18255" fmla="*/ 5602995 w 6785952"/>
              <a:gd name="connsiteY18255" fmla="*/ 504327 h 5217112"/>
              <a:gd name="connsiteX18256" fmla="*/ 5882909 w 6785952"/>
              <a:gd name="connsiteY18256" fmla="*/ 503673 h 5217112"/>
              <a:gd name="connsiteX18257" fmla="*/ 5866977 w 6785952"/>
              <a:gd name="connsiteY18257" fmla="*/ 539416 h 5217112"/>
              <a:gd name="connsiteX18258" fmla="*/ 5882909 w 6785952"/>
              <a:gd name="connsiteY18258" fmla="*/ 503673 h 5217112"/>
              <a:gd name="connsiteX18259" fmla="*/ 2906316 w 6785952"/>
              <a:gd name="connsiteY18259" fmla="*/ 503564 h 5217112"/>
              <a:gd name="connsiteX18260" fmla="*/ 2915654 w 6785952"/>
              <a:gd name="connsiteY18260" fmla="*/ 507487 h 5217112"/>
              <a:gd name="connsiteX18261" fmla="*/ 2908513 w 6785952"/>
              <a:gd name="connsiteY18261" fmla="*/ 515878 h 5217112"/>
              <a:gd name="connsiteX18262" fmla="*/ 2904941 w 6785952"/>
              <a:gd name="connsiteY18262" fmla="*/ 513045 h 5217112"/>
              <a:gd name="connsiteX18263" fmla="*/ 2906316 w 6785952"/>
              <a:gd name="connsiteY18263" fmla="*/ 503564 h 5217112"/>
              <a:gd name="connsiteX18264" fmla="*/ 1430380 w 6785952"/>
              <a:gd name="connsiteY18264" fmla="*/ 503346 h 5217112"/>
              <a:gd name="connsiteX18265" fmla="*/ 1434775 w 6785952"/>
              <a:gd name="connsiteY18265" fmla="*/ 504327 h 5217112"/>
              <a:gd name="connsiteX18266" fmla="*/ 1437796 w 6785952"/>
              <a:gd name="connsiteY18266" fmla="*/ 510756 h 5217112"/>
              <a:gd name="connsiteX18267" fmla="*/ 1425710 w 6785952"/>
              <a:gd name="connsiteY18267" fmla="*/ 515115 h 5217112"/>
              <a:gd name="connsiteX18268" fmla="*/ 1423238 w 6785952"/>
              <a:gd name="connsiteY18268" fmla="*/ 511519 h 5217112"/>
              <a:gd name="connsiteX18269" fmla="*/ 1430380 w 6785952"/>
              <a:gd name="connsiteY18269" fmla="*/ 503346 h 5217112"/>
              <a:gd name="connsiteX18270" fmla="*/ 1938016 w 6785952"/>
              <a:gd name="connsiteY18270" fmla="*/ 503019 h 5217112"/>
              <a:gd name="connsiteX18271" fmla="*/ 1946806 w 6785952"/>
              <a:gd name="connsiteY18271" fmla="*/ 507705 h 5217112"/>
              <a:gd name="connsiteX18272" fmla="*/ 1949004 w 6785952"/>
              <a:gd name="connsiteY18272" fmla="*/ 534294 h 5217112"/>
              <a:gd name="connsiteX18273" fmla="*/ 1946257 w 6785952"/>
              <a:gd name="connsiteY18273" fmla="*/ 536909 h 5217112"/>
              <a:gd name="connsiteX18274" fmla="*/ 1943235 w 6785952"/>
              <a:gd name="connsiteY18274" fmla="*/ 542359 h 5217112"/>
              <a:gd name="connsiteX18275" fmla="*/ 1926204 w 6785952"/>
              <a:gd name="connsiteY18275" fmla="*/ 532986 h 5217112"/>
              <a:gd name="connsiteX18276" fmla="*/ 1922633 w 6785952"/>
              <a:gd name="connsiteY18276" fmla="*/ 507705 h 5217112"/>
              <a:gd name="connsiteX18277" fmla="*/ 1938016 w 6785952"/>
              <a:gd name="connsiteY18277" fmla="*/ 503019 h 5217112"/>
              <a:gd name="connsiteX18278" fmla="*/ 2083329 w 6785952"/>
              <a:gd name="connsiteY18278" fmla="*/ 502910 h 5217112"/>
              <a:gd name="connsiteX18279" fmla="*/ 2100635 w 6785952"/>
              <a:gd name="connsiteY18279" fmla="*/ 506179 h 5217112"/>
              <a:gd name="connsiteX18280" fmla="*/ 2096515 w 6785952"/>
              <a:gd name="connsiteY18280" fmla="*/ 508032 h 5217112"/>
              <a:gd name="connsiteX18281" fmla="*/ 2079484 w 6785952"/>
              <a:gd name="connsiteY18281" fmla="*/ 504872 h 5217112"/>
              <a:gd name="connsiteX18282" fmla="*/ 2083329 w 6785952"/>
              <a:gd name="connsiteY18282" fmla="*/ 502910 h 5217112"/>
              <a:gd name="connsiteX18283" fmla="*/ 3327422 w 6785952"/>
              <a:gd name="connsiteY18283" fmla="*/ 502474 h 5217112"/>
              <a:gd name="connsiteX18284" fmla="*/ 3329621 w 6785952"/>
              <a:gd name="connsiteY18284" fmla="*/ 504763 h 5217112"/>
              <a:gd name="connsiteX18285" fmla="*/ 3330994 w 6785952"/>
              <a:gd name="connsiteY18285" fmla="*/ 510320 h 5217112"/>
              <a:gd name="connsiteX18286" fmla="*/ 3328796 w 6785952"/>
              <a:gd name="connsiteY18286" fmla="*/ 514134 h 5217112"/>
              <a:gd name="connsiteX18287" fmla="*/ 3325775 w 6785952"/>
              <a:gd name="connsiteY18287" fmla="*/ 513699 h 5217112"/>
              <a:gd name="connsiteX18288" fmla="*/ 3323027 w 6785952"/>
              <a:gd name="connsiteY18288" fmla="*/ 514679 h 5217112"/>
              <a:gd name="connsiteX18289" fmla="*/ 3322753 w 6785952"/>
              <a:gd name="connsiteY18289" fmla="*/ 513263 h 5217112"/>
              <a:gd name="connsiteX18290" fmla="*/ 3321105 w 6785952"/>
              <a:gd name="connsiteY18290" fmla="*/ 512390 h 5217112"/>
              <a:gd name="connsiteX18291" fmla="*/ 3322203 w 6785952"/>
              <a:gd name="connsiteY18291" fmla="*/ 505852 h 5217112"/>
              <a:gd name="connsiteX18292" fmla="*/ 3324401 w 6785952"/>
              <a:gd name="connsiteY18292" fmla="*/ 503128 h 5217112"/>
              <a:gd name="connsiteX18293" fmla="*/ 3327422 w 6785952"/>
              <a:gd name="connsiteY18293" fmla="*/ 502474 h 5217112"/>
              <a:gd name="connsiteX18294" fmla="*/ 5775503 w 6785952"/>
              <a:gd name="connsiteY18294" fmla="*/ 501494 h 5217112"/>
              <a:gd name="connsiteX18295" fmla="*/ 5779624 w 6785952"/>
              <a:gd name="connsiteY18295" fmla="*/ 506071 h 5217112"/>
              <a:gd name="connsiteX18296" fmla="*/ 5774679 w 6785952"/>
              <a:gd name="connsiteY18296" fmla="*/ 512173 h 5217112"/>
              <a:gd name="connsiteX18297" fmla="*/ 5772207 w 6785952"/>
              <a:gd name="connsiteY18297" fmla="*/ 511846 h 5217112"/>
              <a:gd name="connsiteX18298" fmla="*/ 5768087 w 6785952"/>
              <a:gd name="connsiteY18298" fmla="*/ 507269 h 5217112"/>
              <a:gd name="connsiteX18299" fmla="*/ 5775503 w 6785952"/>
              <a:gd name="connsiteY18299" fmla="*/ 501494 h 5217112"/>
              <a:gd name="connsiteX18300" fmla="*/ 4363846 w 6785952"/>
              <a:gd name="connsiteY18300" fmla="*/ 499314 h 5217112"/>
              <a:gd name="connsiteX18301" fmla="*/ 4365494 w 6785952"/>
              <a:gd name="connsiteY18301" fmla="*/ 506071 h 5217112"/>
              <a:gd name="connsiteX18302" fmla="*/ 4355330 w 6785952"/>
              <a:gd name="connsiteY18302" fmla="*/ 512826 h 5217112"/>
              <a:gd name="connsiteX18303" fmla="*/ 4348738 w 6785952"/>
              <a:gd name="connsiteY18303" fmla="*/ 518057 h 5217112"/>
              <a:gd name="connsiteX18304" fmla="*/ 4355880 w 6785952"/>
              <a:gd name="connsiteY18304" fmla="*/ 509666 h 5217112"/>
              <a:gd name="connsiteX18305" fmla="*/ 4356155 w 6785952"/>
              <a:gd name="connsiteY18305" fmla="*/ 505089 h 5217112"/>
              <a:gd name="connsiteX18306" fmla="*/ 4363846 w 6785952"/>
              <a:gd name="connsiteY18306" fmla="*/ 499314 h 5217112"/>
              <a:gd name="connsiteX18307" fmla="*/ 1356212 w 6785952"/>
              <a:gd name="connsiteY18307" fmla="*/ 498660 h 5217112"/>
              <a:gd name="connsiteX18308" fmla="*/ 1356762 w 6785952"/>
              <a:gd name="connsiteY18308" fmla="*/ 506071 h 5217112"/>
              <a:gd name="connsiteX18309" fmla="*/ 1353191 w 6785952"/>
              <a:gd name="connsiteY18309" fmla="*/ 508903 h 5217112"/>
              <a:gd name="connsiteX18310" fmla="*/ 1350993 w 6785952"/>
              <a:gd name="connsiteY18310" fmla="*/ 507923 h 5217112"/>
              <a:gd name="connsiteX18311" fmla="*/ 1350718 w 6785952"/>
              <a:gd name="connsiteY18311" fmla="*/ 505308 h 5217112"/>
              <a:gd name="connsiteX18312" fmla="*/ 1350993 w 6785952"/>
              <a:gd name="connsiteY18312" fmla="*/ 500621 h 5217112"/>
              <a:gd name="connsiteX18313" fmla="*/ 1352916 w 6785952"/>
              <a:gd name="connsiteY18313" fmla="*/ 499314 h 5217112"/>
              <a:gd name="connsiteX18314" fmla="*/ 1356212 w 6785952"/>
              <a:gd name="connsiteY18314" fmla="*/ 498660 h 5217112"/>
              <a:gd name="connsiteX18315" fmla="*/ 4052299 w 6785952"/>
              <a:gd name="connsiteY18315" fmla="*/ 498521 h 5217112"/>
              <a:gd name="connsiteX18316" fmla="*/ 4066901 w 6785952"/>
              <a:gd name="connsiteY18316" fmla="*/ 516205 h 5217112"/>
              <a:gd name="connsiteX18317" fmla="*/ 4055364 w 6785952"/>
              <a:gd name="connsiteY18317" fmla="*/ 525903 h 5217112"/>
              <a:gd name="connsiteX18318" fmla="*/ 4047947 w 6785952"/>
              <a:gd name="connsiteY18318" fmla="*/ 516423 h 5217112"/>
              <a:gd name="connsiteX18319" fmla="*/ 4044925 w 6785952"/>
              <a:gd name="connsiteY18319" fmla="*/ 505198 h 5217112"/>
              <a:gd name="connsiteX18320" fmla="*/ 4052299 w 6785952"/>
              <a:gd name="connsiteY18320" fmla="*/ 498521 h 5217112"/>
              <a:gd name="connsiteX18321" fmla="*/ 2700020 w 6785952"/>
              <a:gd name="connsiteY18321" fmla="*/ 497680 h 5217112"/>
              <a:gd name="connsiteX18322" fmla="*/ 2700844 w 6785952"/>
              <a:gd name="connsiteY18322" fmla="*/ 516205 h 5217112"/>
              <a:gd name="connsiteX18323" fmla="*/ 2686284 w 6785952"/>
              <a:gd name="connsiteY18323" fmla="*/ 510865 h 5217112"/>
              <a:gd name="connsiteX18324" fmla="*/ 2689856 w 6785952"/>
              <a:gd name="connsiteY18324" fmla="*/ 501058 h 5217112"/>
              <a:gd name="connsiteX18325" fmla="*/ 2700020 w 6785952"/>
              <a:gd name="connsiteY18325" fmla="*/ 497680 h 5217112"/>
              <a:gd name="connsiteX18326" fmla="*/ 3130466 w 6785952"/>
              <a:gd name="connsiteY18326" fmla="*/ 497135 h 5217112"/>
              <a:gd name="connsiteX18327" fmla="*/ 3134862 w 6785952"/>
              <a:gd name="connsiteY18327" fmla="*/ 500404 h 5217112"/>
              <a:gd name="connsiteX18328" fmla="*/ 3136235 w 6785952"/>
              <a:gd name="connsiteY18328" fmla="*/ 506288 h 5217112"/>
              <a:gd name="connsiteX18329" fmla="*/ 3130741 w 6785952"/>
              <a:gd name="connsiteY18329" fmla="*/ 509885 h 5217112"/>
              <a:gd name="connsiteX18330" fmla="*/ 3124423 w 6785952"/>
              <a:gd name="connsiteY18330" fmla="*/ 507813 h 5217112"/>
              <a:gd name="connsiteX18331" fmla="*/ 3126071 w 6785952"/>
              <a:gd name="connsiteY18331" fmla="*/ 499314 h 5217112"/>
              <a:gd name="connsiteX18332" fmla="*/ 3130466 w 6785952"/>
              <a:gd name="connsiteY18332" fmla="*/ 497135 h 5217112"/>
              <a:gd name="connsiteX18333" fmla="*/ 1964386 w 6785952"/>
              <a:gd name="connsiteY18333" fmla="*/ 496917 h 5217112"/>
              <a:gd name="connsiteX18334" fmla="*/ 1966584 w 6785952"/>
              <a:gd name="connsiteY18334" fmla="*/ 514788 h 5217112"/>
              <a:gd name="connsiteX18335" fmla="*/ 1956970 w 6785952"/>
              <a:gd name="connsiteY18335" fmla="*/ 510647 h 5217112"/>
              <a:gd name="connsiteX18336" fmla="*/ 1955597 w 6785952"/>
              <a:gd name="connsiteY18336" fmla="*/ 506071 h 5217112"/>
              <a:gd name="connsiteX18337" fmla="*/ 1957244 w 6785952"/>
              <a:gd name="connsiteY18337" fmla="*/ 497571 h 5217112"/>
              <a:gd name="connsiteX18338" fmla="*/ 1955871 w 6785952"/>
              <a:gd name="connsiteY18338" fmla="*/ 497352 h 5217112"/>
              <a:gd name="connsiteX18339" fmla="*/ 1964386 w 6785952"/>
              <a:gd name="connsiteY18339" fmla="*/ 496917 h 5217112"/>
              <a:gd name="connsiteX18340" fmla="*/ 2244026 w 6785952"/>
              <a:gd name="connsiteY18340" fmla="*/ 496263 h 5217112"/>
              <a:gd name="connsiteX18341" fmla="*/ 2228368 w 6785952"/>
              <a:gd name="connsiteY18341" fmla="*/ 532115 h 5217112"/>
              <a:gd name="connsiteX18342" fmla="*/ 2244026 w 6785952"/>
              <a:gd name="connsiteY18342" fmla="*/ 496263 h 5217112"/>
              <a:gd name="connsiteX18343" fmla="*/ 2935982 w 6785952"/>
              <a:gd name="connsiteY18343" fmla="*/ 495936 h 5217112"/>
              <a:gd name="connsiteX18344" fmla="*/ 2946695 w 6785952"/>
              <a:gd name="connsiteY18344" fmla="*/ 498878 h 5217112"/>
              <a:gd name="connsiteX18345" fmla="*/ 2941476 w 6785952"/>
              <a:gd name="connsiteY18345" fmla="*/ 509557 h 5217112"/>
              <a:gd name="connsiteX18346" fmla="*/ 2931587 w 6785952"/>
              <a:gd name="connsiteY18346" fmla="*/ 503346 h 5217112"/>
              <a:gd name="connsiteX18347" fmla="*/ 2935982 w 6785952"/>
              <a:gd name="connsiteY18347" fmla="*/ 495936 h 5217112"/>
              <a:gd name="connsiteX18348" fmla="*/ 4427576 w 6785952"/>
              <a:gd name="connsiteY18348" fmla="*/ 495391 h 5217112"/>
              <a:gd name="connsiteX18349" fmla="*/ 4436640 w 6785952"/>
              <a:gd name="connsiteY18349" fmla="*/ 496481 h 5217112"/>
              <a:gd name="connsiteX18350" fmla="*/ 4445431 w 6785952"/>
              <a:gd name="connsiteY18350" fmla="*/ 506942 h 5217112"/>
              <a:gd name="connsiteX18351" fmla="*/ 4428674 w 6785952"/>
              <a:gd name="connsiteY18351" fmla="*/ 505526 h 5217112"/>
              <a:gd name="connsiteX18352" fmla="*/ 4425103 w 6785952"/>
              <a:gd name="connsiteY18352" fmla="*/ 502256 h 5217112"/>
              <a:gd name="connsiteX18353" fmla="*/ 4423730 w 6785952"/>
              <a:gd name="connsiteY18353" fmla="*/ 498225 h 5217112"/>
              <a:gd name="connsiteX18354" fmla="*/ 4427576 w 6785952"/>
              <a:gd name="connsiteY18354" fmla="*/ 495391 h 5217112"/>
              <a:gd name="connsiteX18355" fmla="*/ 4605303 w 6785952"/>
              <a:gd name="connsiteY18355" fmla="*/ 495282 h 5217112"/>
              <a:gd name="connsiteX18356" fmla="*/ 4618763 w 6785952"/>
              <a:gd name="connsiteY18356" fmla="*/ 510539 h 5217112"/>
              <a:gd name="connsiteX18357" fmla="*/ 4598985 w 6785952"/>
              <a:gd name="connsiteY18357" fmla="*/ 512500 h 5217112"/>
              <a:gd name="connsiteX18358" fmla="*/ 4605303 w 6785952"/>
              <a:gd name="connsiteY18358" fmla="*/ 495282 h 5217112"/>
              <a:gd name="connsiteX18359" fmla="*/ 3464770 w 6785952"/>
              <a:gd name="connsiteY18359" fmla="*/ 494302 h 5217112"/>
              <a:gd name="connsiteX18360" fmla="*/ 3458177 w 6785952"/>
              <a:gd name="connsiteY18360" fmla="*/ 504981 h 5217112"/>
              <a:gd name="connsiteX18361" fmla="*/ 3455156 w 6785952"/>
              <a:gd name="connsiteY18361" fmla="*/ 504545 h 5217112"/>
              <a:gd name="connsiteX18362" fmla="*/ 3455705 w 6785952"/>
              <a:gd name="connsiteY18362" fmla="*/ 512064 h 5217112"/>
              <a:gd name="connsiteX18363" fmla="*/ 3450211 w 6785952"/>
              <a:gd name="connsiteY18363" fmla="*/ 513808 h 5217112"/>
              <a:gd name="connsiteX18364" fmla="*/ 3447739 w 6785952"/>
              <a:gd name="connsiteY18364" fmla="*/ 513154 h 5217112"/>
              <a:gd name="connsiteX18365" fmla="*/ 3446091 w 6785952"/>
              <a:gd name="connsiteY18365" fmla="*/ 515660 h 5217112"/>
              <a:gd name="connsiteX18366" fmla="*/ 3438949 w 6785952"/>
              <a:gd name="connsiteY18366" fmla="*/ 502474 h 5217112"/>
              <a:gd name="connsiteX18367" fmla="*/ 3442245 w 6785952"/>
              <a:gd name="connsiteY18367" fmla="*/ 502910 h 5217112"/>
              <a:gd name="connsiteX18368" fmla="*/ 3449113 w 6785952"/>
              <a:gd name="connsiteY18368" fmla="*/ 495173 h 5217112"/>
              <a:gd name="connsiteX18369" fmla="*/ 3451859 w 6785952"/>
              <a:gd name="connsiteY18369" fmla="*/ 498116 h 5217112"/>
              <a:gd name="connsiteX18370" fmla="*/ 3464770 w 6785952"/>
              <a:gd name="connsiteY18370" fmla="*/ 494302 h 5217112"/>
              <a:gd name="connsiteX18371" fmla="*/ 2136895 w 6785952"/>
              <a:gd name="connsiteY18371" fmla="*/ 494192 h 5217112"/>
              <a:gd name="connsiteX18372" fmla="*/ 2141016 w 6785952"/>
              <a:gd name="connsiteY18372" fmla="*/ 498660 h 5217112"/>
              <a:gd name="connsiteX18373" fmla="*/ 2135796 w 6785952"/>
              <a:gd name="connsiteY18373" fmla="*/ 504872 h 5217112"/>
              <a:gd name="connsiteX18374" fmla="*/ 2133599 w 6785952"/>
              <a:gd name="connsiteY18374" fmla="*/ 504436 h 5217112"/>
              <a:gd name="connsiteX18375" fmla="*/ 2129478 w 6785952"/>
              <a:gd name="connsiteY18375" fmla="*/ 499968 h 5217112"/>
              <a:gd name="connsiteX18376" fmla="*/ 2136895 w 6785952"/>
              <a:gd name="connsiteY18376" fmla="*/ 494192 h 5217112"/>
              <a:gd name="connsiteX18377" fmla="*/ 3618050 w 6785952"/>
              <a:gd name="connsiteY18377" fmla="*/ 491795 h 5217112"/>
              <a:gd name="connsiteX18378" fmla="*/ 3610083 w 6785952"/>
              <a:gd name="connsiteY18378" fmla="*/ 550749 h 5217112"/>
              <a:gd name="connsiteX18379" fmla="*/ 3605688 w 6785952"/>
              <a:gd name="connsiteY18379" fmla="*/ 573852 h 5217112"/>
              <a:gd name="connsiteX18380" fmla="*/ 3598821 w 6785952"/>
              <a:gd name="connsiteY18380" fmla="*/ 574505 h 5217112"/>
              <a:gd name="connsiteX18381" fmla="*/ 3601843 w 6785952"/>
              <a:gd name="connsiteY18381" fmla="*/ 570909 h 5217112"/>
              <a:gd name="connsiteX18382" fmla="*/ 3597722 w 6785952"/>
              <a:gd name="connsiteY18382" fmla="*/ 564916 h 5217112"/>
              <a:gd name="connsiteX18383" fmla="*/ 3607612 w 6785952"/>
              <a:gd name="connsiteY18383" fmla="*/ 494955 h 5217112"/>
              <a:gd name="connsiteX18384" fmla="*/ 3618050 w 6785952"/>
              <a:gd name="connsiteY18384" fmla="*/ 491795 h 5217112"/>
              <a:gd name="connsiteX18385" fmla="*/ 4071296 w 6785952"/>
              <a:gd name="connsiteY18385" fmla="*/ 491141 h 5217112"/>
              <a:gd name="connsiteX18386" fmla="*/ 4074593 w 6785952"/>
              <a:gd name="connsiteY18386" fmla="*/ 492122 h 5217112"/>
              <a:gd name="connsiteX18387" fmla="*/ 4072944 w 6785952"/>
              <a:gd name="connsiteY18387" fmla="*/ 499205 h 5217112"/>
              <a:gd name="connsiteX18388" fmla="*/ 4070747 w 6785952"/>
              <a:gd name="connsiteY18388" fmla="*/ 500840 h 5217112"/>
              <a:gd name="connsiteX18389" fmla="*/ 4068550 w 6785952"/>
              <a:gd name="connsiteY18389" fmla="*/ 500186 h 5217112"/>
              <a:gd name="connsiteX18390" fmla="*/ 4067450 w 6785952"/>
              <a:gd name="connsiteY18390" fmla="*/ 495609 h 5217112"/>
              <a:gd name="connsiteX18391" fmla="*/ 4068824 w 6785952"/>
              <a:gd name="connsiteY18391" fmla="*/ 491468 h 5217112"/>
              <a:gd name="connsiteX18392" fmla="*/ 4071296 w 6785952"/>
              <a:gd name="connsiteY18392" fmla="*/ 491141 h 5217112"/>
              <a:gd name="connsiteX18393" fmla="*/ 4488009 w 6785952"/>
              <a:gd name="connsiteY18393" fmla="*/ 490488 h 5217112"/>
              <a:gd name="connsiteX18394" fmla="*/ 4485811 w 6785952"/>
              <a:gd name="connsiteY18394" fmla="*/ 505308 h 5217112"/>
              <a:gd name="connsiteX18395" fmla="*/ 4488009 w 6785952"/>
              <a:gd name="connsiteY18395" fmla="*/ 490488 h 5217112"/>
              <a:gd name="connsiteX18396" fmla="*/ 6042026 w 6785952"/>
              <a:gd name="connsiteY18396" fmla="*/ 489057 h 5217112"/>
              <a:gd name="connsiteX18397" fmla="*/ 6055967 w 6785952"/>
              <a:gd name="connsiteY18397" fmla="*/ 494192 h 5217112"/>
              <a:gd name="connsiteX18398" fmla="*/ 6062285 w 6785952"/>
              <a:gd name="connsiteY18398" fmla="*/ 500295 h 5217112"/>
              <a:gd name="connsiteX18399" fmla="*/ 6064207 w 6785952"/>
              <a:gd name="connsiteY18399" fmla="*/ 508903 h 5217112"/>
              <a:gd name="connsiteX18400" fmla="*/ 6067779 w 6785952"/>
              <a:gd name="connsiteY18400" fmla="*/ 522743 h 5217112"/>
              <a:gd name="connsiteX18401" fmla="*/ 6062560 w 6785952"/>
              <a:gd name="connsiteY18401" fmla="*/ 527211 h 5217112"/>
              <a:gd name="connsiteX18402" fmla="*/ 6057890 w 6785952"/>
              <a:gd name="connsiteY18402" fmla="*/ 526993 h 5217112"/>
              <a:gd name="connsiteX18403" fmla="*/ 6045254 w 6785952"/>
              <a:gd name="connsiteY18403" fmla="*/ 518384 h 5217112"/>
              <a:gd name="connsiteX18404" fmla="*/ 6040584 w 6785952"/>
              <a:gd name="connsiteY18404" fmla="*/ 510430 h 5217112"/>
              <a:gd name="connsiteX18405" fmla="*/ 6038111 w 6785952"/>
              <a:gd name="connsiteY18405" fmla="*/ 510865 h 5217112"/>
              <a:gd name="connsiteX18406" fmla="*/ 6032068 w 6785952"/>
              <a:gd name="connsiteY18406" fmla="*/ 507813 h 5217112"/>
              <a:gd name="connsiteX18407" fmla="*/ 6037287 w 6785952"/>
              <a:gd name="connsiteY18407" fmla="*/ 499096 h 5217112"/>
              <a:gd name="connsiteX18408" fmla="*/ 6035914 w 6785952"/>
              <a:gd name="connsiteY18408" fmla="*/ 494628 h 5217112"/>
              <a:gd name="connsiteX18409" fmla="*/ 6042026 w 6785952"/>
              <a:gd name="connsiteY18409" fmla="*/ 489057 h 5217112"/>
              <a:gd name="connsiteX18410" fmla="*/ 4288580 w 6785952"/>
              <a:gd name="connsiteY18410" fmla="*/ 488744 h 5217112"/>
              <a:gd name="connsiteX18411" fmla="*/ 4290778 w 6785952"/>
              <a:gd name="connsiteY18411" fmla="*/ 491141 h 5217112"/>
              <a:gd name="connsiteX18412" fmla="*/ 4291877 w 6785952"/>
              <a:gd name="connsiteY18412" fmla="*/ 495391 h 5217112"/>
              <a:gd name="connsiteX18413" fmla="*/ 4285009 w 6785952"/>
              <a:gd name="connsiteY18413" fmla="*/ 499422 h 5217112"/>
              <a:gd name="connsiteX18414" fmla="*/ 4283086 w 6785952"/>
              <a:gd name="connsiteY18414" fmla="*/ 497026 h 5217112"/>
              <a:gd name="connsiteX18415" fmla="*/ 4283361 w 6785952"/>
              <a:gd name="connsiteY18415" fmla="*/ 492230 h 5217112"/>
              <a:gd name="connsiteX18416" fmla="*/ 4288580 w 6785952"/>
              <a:gd name="connsiteY18416" fmla="*/ 488744 h 5217112"/>
              <a:gd name="connsiteX18417" fmla="*/ 1743807 w 6785952"/>
              <a:gd name="connsiteY18417" fmla="*/ 488307 h 5217112"/>
              <a:gd name="connsiteX18418" fmla="*/ 1753146 w 6785952"/>
              <a:gd name="connsiteY18418" fmla="*/ 492013 h 5217112"/>
              <a:gd name="connsiteX18419" fmla="*/ 1739412 w 6785952"/>
              <a:gd name="connsiteY18419" fmla="*/ 505743 h 5217112"/>
              <a:gd name="connsiteX18420" fmla="*/ 1736390 w 6785952"/>
              <a:gd name="connsiteY18420" fmla="*/ 500949 h 5217112"/>
              <a:gd name="connsiteX18421" fmla="*/ 1743807 w 6785952"/>
              <a:gd name="connsiteY18421" fmla="*/ 488307 h 5217112"/>
              <a:gd name="connsiteX18422" fmla="*/ 2449773 w 6785952"/>
              <a:gd name="connsiteY18422" fmla="*/ 487872 h 5217112"/>
              <a:gd name="connsiteX18423" fmla="*/ 2453618 w 6785952"/>
              <a:gd name="connsiteY18423" fmla="*/ 489180 h 5217112"/>
              <a:gd name="connsiteX18424" fmla="*/ 2453068 w 6785952"/>
              <a:gd name="connsiteY18424" fmla="*/ 492558 h 5217112"/>
              <a:gd name="connsiteX18425" fmla="*/ 2454168 w 6785952"/>
              <a:gd name="connsiteY18425" fmla="*/ 495173 h 5217112"/>
              <a:gd name="connsiteX18426" fmla="*/ 2452794 w 6785952"/>
              <a:gd name="connsiteY18426" fmla="*/ 495827 h 5217112"/>
              <a:gd name="connsiteX18427" fmla="*/ 2451970 w 6785952"/>
              <a:gd name="connsiteY18427" fmla="*/ 497788 h 5217112"/>
              <a:gd name="connsiteX18428" fmla="*/ 2448398 w 6785952"/>
              <a:gd name="connsiteY18428" fmla="*/ 498006 h 5217112"/>
              <a:gd name="connsiteX18429" fmla="*/ 2445652 w 6785952"/>
              <a:gd name="connsiteY18429" fmla="*/ 497788 h 5217112"/>
              <a:gd name="connsiteX18430" fmla="*/ 2442905 w 6785952"/>
              <a:gd name="connsiteY18430" fmla="*/ 495936 h 5217112"/>
              <a:gd name="connsiteX18431" fmla="*/ 2442355 w 6785952"/>
              <a:gd name="connsiteY18431" fmla="*/ 493212 h 5217112"/>
              <a:gd name="connsiteX18432" fmla="*/ 2444553 w 6785952"/>
              <a:gd name="connsiteY18432" fmla="*/ 490596 h 5217112"/>
              <a:gd name="connsiteX18433" fmla="*/ 2449773 w 6785952"/>
              <a:gd name="connsiteY18433" fmla="*/ 487872 h 5217112"/>
              <a:gd name="connsiteX18434" fmla="*/ 3703995 w 6785952"/>
              <a:gd name="connsiteY18434" fmla="*/ 485815 h 5217112"/>
              <a:gd name="connsiteX18435" fmla="*/ 3710622 w 6785952"/>
              <a:gd name="connsiteY18435" fmla="*/ 495718 h 5217112"/>
              <a:gd name="connsiteX18436" fmla="*/ 3698810 w 6785952"/>
              <a:gd name="connsiteY18436" fmla="*/ 503237 h 5217112"/>
              <a:gd name="connsiteX18437" fmla="*/ 3693041 w 6785952"/>
              <a:gd name="connsiteY18437" fmla="*/ 486782 h 5217112"/>
              <a:gd name="connsiteX18438" fmla="*/ 3703995 w 6785952"/>
              <a:gd name="connsiteY18438" fmla="*/ 485815 h 5217112"/>
              <a:gd name="connsiteX18439" fmla="*/ 2070144 w 6785952"/>
              <a:gd name="connsiteY18439" fmla="*/ 485257 h 5217112"/>
              <a:gd name="connsiteX18440" fmla="*/ 2081132 w 6785952"/>
              <a:gd name="connsiteY18440" fmla="*/ 490923 h 5217112"/>
              <a:gd name="connsiteX18441" fmla="*/ 2075364 w 6785952"/>
              <a:gd name="connsiteY18441" fmla="*/ 498442 h 5217112"/>
              <a:gd name="connsiteX18442" fmla="*/ 2069870 w 6785952"/>
              <a:gd name="connsiteY18442" fmla="*/ 493320 h 5217112"/>
              <a:gd name="connsiteX18443" fmla="*/ 2070144 w 6785952"/>
              <a:gd name="connsiteY18443" fmla="*/ 485257 h 5217112"/>
              <a:gd name="connsiteX18444" fmla="*/ 3786163 w 6785952"/>
              <a:gd name="connsiteY18444" fmla="*/ 484603 h 5217112"/>
              <a:gd name="connsiteX18445" fmla="*/ 3791108 w 6785952"/>
              <a:gd name="connsiteY18445" fmla="*/ 496263 h 5217112"/>
              <a:gd name="connsiteX18446" fmla="*/ 3788910 w 6785952"/>
              <a:gd name="connsiteY18446" fmla="*/ 497026 h 5217112"/>
              <a:gd name="connsiteX18447" fmla="*/ 3786438 w 6785952"/>
              <a:gd name="connsiteY18447" fmla="*/ 496153 h 5217112"/>
              <a:gd name="connsiteX18448" fmla="*/ 3786163 w 6785952"/>
              <a:gd name="connsiteY18448" fmla="*/ 484603 h 5217112"/>
              <a:gd name="connsiteX18449" fmla="*/ 5194524 w 6785952"/>
              <a:gd name="connsiteY18449" fmla="*/ 484276 h 5217112"/>
              <a:gd name="connsiteX18450" fmla="*/ 5197546 w 6785952"/>
              <a:gd name="connsiteY18450" fmla="*/ 490814 h 5217112"/>
              <a:gd name="connsiteX18451" fmla="*/ 5175295 w 6785952"/>
              <a:gd name="connsiteY18451" fmla="*/ 507923 h 5217112"/>
              <a:gd name="connsiteX18452" fmla="*/ 5171450 w 6785952"/>
              <a:gd name="connsiteY18452" fmla="*/ 504327 h 5217112"/>
              <a:gd name="connsiteX18453" fmla="*/ 5174745 w 6785952"/>
              <a:gd name="connsiteY18453" fmla="*/ 494628 h 5217112"/>
              <a:gd name="connsiteX18454" fmla="*/ 5178866 w 6785952"/>
              <a:gd name="connsiteY18454" fmla="*/ 489834 h 5217112"/>
              <a:gd name="connsiteX18455" fmla="*/ 5184909 w 6785952"/>
              <a:gd name="connsiteY18455" fmla="*/ 487872 h 5217112"/>
              <a:gd name="connsiteX18456" fmla="*/ 5194524 w 6785952"/>
              <a:gd name="connsiteY18456" fmla="*/ 484276 h 5217112"/>
              <a:gd name="connsiteX18457" fmla="*/ 5347803 w 6785952"/>
              <a:gd name="connsiteY18457" fmla="*/ 480680 h 5217112"/>
              <a:gd name="connsiteX18458" fmla="*/ 5357692 w 6785952"/>
              <a:gd name="connsiteY18458" fmla="*/ 484603 h 5217112"/>
              <a:gd name="connsiteX18459" fmla="*/ 5362912 w 6785952"/>
              <a:gd name="connsiteY18459" fmla="*/ 487436 h 5217112"/>
              <a:gd name="connsiteX18460" fmla="*/ 5367582 w 6785952"/>
              <a:gd name="connsiteY18460" fmla="*/ 488526 h 5217112"/>
              <a:gd name="connsiteX18461" fmla="*/ 5373899 w 6785952"/>
              <a:gd name="connsiteY18461" fmla="*/ 495391 h 5217112"/>
              <a:gd name="connsiteX18462" fmla="*/ 5369229 w 6785952"/>
              <a:gd name="connsiteY18462" fmla="*/ 494410 h 5217112"/>
              <a:gd name="connsiteX18463" fmla="*/ 5364010 w 6785952"/>
              <a:gd name="connsiteY18463" fmla="*/ 491468 h 5217112"/>
              <a:gd name="connsiteX18464" fmla="*/ 5359890 w 6785952"/>
              <a:gd name="connsiteY18464" fmla="*/ 492449 h 5217112"/>
              <a:gd name="connsiteX18465" fmla="*/ 5347803 w 6785952"/>
              <a:gd name="connsiteY18465" fmla="*/ 480680 h 5217112"/>
              <a:gd name="connsiteX18466" fmla="*/ 5097831 w 6785952"/>
              <a:gd name="connsiteY18466" fmla="*/ 480353 h 5217112"/>
              <a:gd name="connsiteX18467" fmla="*/ 5103599 w 6785952"/>
              <a:gd name="connsiteY18467" fmla="*/ 481333 h 5217112"/>
              <a:gd name="connsiteX18468" fmla="*/ 5106072 w 6785952"/>
              <a:gd name="connsiteY18468" fmla="*/ 484712 h 5217112"/>
              <a:gd name="connsiteX18469" fmla="*/ 5104423 w 6785952"/>
              <a:gd name="connsiteY18469" fmla="*/ 487327 h 5217112"/>
              <a:gd name="connsiteX18470" fmla="*/ 5104423 w 6785952"/>
              <a:gd name="connsiteY18470" fmla="*/ 490378 h 5217112"/>
              <a:gd name="connsiteX18471" fmla="*/ 5103050 w 6785952"/>
              <a:gd name="connsiteY18471" fmla="*/ 490160 h 5217112"/>
              <a:gd name="connsiteX18472" fmla="*/ 5101402 w 6785952"/>
              <a:gd name="connsiteY18472" fmla="*/ 491359 h 5217112"/>
              <a:gd name="connsiteX18473" fmla="*/ 5095908 w 6785952"/>
              <a:gd name="connsiteY18473" fmla="*/ 487436 h 5217112"/>
              <a:gd name="connsiteX18474" fmla="*/ 5094260 w 6785952"/>
              <a:gd name="connsiteY18474" fmla="*/ 484167 h 5217112"/>
              <a:gd name="connsiteX18475" fmla="*/ 5094810 w 6785952"/>
              <a:gd name="connsiteY18475" fmla="*/ 481333 h 5217112"/>
              <a:gd name="connsiteX18476" fmla="*/ 5097831 w 6785952"/>
              <a:gd name="connsiteY18476" fmla="*/ 480353 h 5217112"/>
              <a:gd name="connsiteX18477" fmla="*/ 5238475 w 6785952"/>
              <a:gd name="connsiteY18477" fmla="*/ 479590 h 5217112"/>
              <a:gd name="connsiteX18478" fmla="*/ 5246166 w 6785952"/>
              <a:gd name="connsiteY18478" fmla="*/ 492667 h 5217112"/>
              <a:gd name="connsiteX18479" fmla="*/ 5238475 w 6785952"/>
              <a:gd name="connsiteY18479" fmla="*/ 494737 h 5217112"/>
              <a:gd name="connsiteX18480" fmla="*/ 5239024 w 6785952"/>
              <a:gd name="connsiteY18480" fmla="*/ 499096 h 5217112"/>
              <a:gd name="connsiteX18481" fmla="*/ 5233256 w 6785952"/>
              <a:gd name="connsiteY18481" fmla="*/ 524814 h 5217112"/>
              <a:gd name="connsiteX18482" fmla="*/ 5234079 w 6785952"/>
              <a:gd name="connsiteY18482" fmla="*/ 524595 h 5217112"/>
              <a:gd name="connsiteX18483" fmla="*/ 5235453 w 6785952"/>
              <a:gd name="connsiteY18483" fmla="*/ 524595 h 5217112"/>
              <a:gd name="connsiteX18484" fmla="*/ 5241222 w 6785952"/>
              <a:gd name="connsiteY18484" fmla="*/ 530153 h 5217112"/>
              <a:gd name="connsiteX18485" fmla="*/ 5241222 w 6785952"/>
              <a:gd name="connsiteY18485" fmla="*/ 531461 h 5217112"/>
              <a:gd name="connsiteX18486" fmla="*/ 5241222 w 6785952"/>
              <a:gd name="connsiteY18486" fmla="*/ 532878 h 5217112"/>
              <a:gd name="connsiteX18487" fmla="*/ 5242595 w 6785952"/>
              <a:gd name="connsiteY18487" fmla="*/ 534185 h 5217112"/>
              <a:gd name="connsiteX18488" fmla="*/ 5241222 w 6785952"/>
              <a:gd name="connsiteY18488" fmla="*/ 535602 h 5217112"/>
              <a:gd name="connsiteX18489" fmla="*/ 5254132 w 6785952"/>
              <a:gd name="connsiteY18489" fmla="*/ 532660 h 5217112"/>
              <a:gd name="connsiteX18490" fmla="*/ 5256879 w 6785952"/>
              <a:gd name="connsiteY18490" fmla="*/ 532660 h 5217112"/>
              <a:gd name="connsiteX18491" fmla="*/ 5259352 w 6785952"/>
              <a:gd name="connsiteY18491" fmla="*/ 522743 h 5217112"/>
              <a:gd name="connsiteX18492" fmla="*/ 5267592 w 6785952"/>
              <a:gd name="connsiteY18492" fmla="*/ 503128 h 5217112"/>
              <a:gd name="connsiteX18493" fmla="*/ 5263198 w 6785952"/>
              <a:gd name="connsiteY18493" fmla="*/ 528518 h 5217112"/>
              <a:gd name="connsiteX18494" fmla="*/ 5262373 w 6785952"/>
              <a:gd name="connsiteY18494" fmla="*/ 532769 h 5217112"/>
              <a:gd name="connsiteX18495" fmla="*/ 5267043 w 6785952"/>
              <a:gd name="connsiteY18495" fmla="*/ 532878 h 5217112"/>
              <a:gd name="connsiteX18496" fmla="*/ 5285723 w 6785952"/>
              <a:gd name="connsiteY18496" fmla="*/ 536909 h 5217112"/>
              <a:gd name="connsiteX18497" fmla="*/ 5294238 w 6785952"/>
              <a:gd name="connsiteY18497" fmla="*/ 532878 h 5217112"/>
              <a:gd name="connsiteX18498" fmla="*/ 5312917 w 6785952"/>
              <a:gd name="connsiteY18498" fmla="*/ 520455 h 5217112"/>
              <a:gd name="connsiteX18499" fmla="*/ 5340112 w 6785952"/>
              <a:gd name="connsiteY18499" fmla="*/ 509557 h 5217112"/>
              <a:gd name="connsiteX18500" fmla="*/ 5348627 w 6785952"/>
              <a:gd name="connsiteY18500" fmla="*/ 508141 h 5217112"/>
              <a:gd name="connsiteX18501" fmla="*/ 5340112 w 6785952"/>
              <a:gd name="connsiteY18501" fmla="*/ 508141 h 5217112"/>
              <a:gd name="connsiteX18502" fmla="*/ 5317038 w 6785952"/>
              <a:gd name="connsiteY18502" fmla="*/ 509557 h 5217112"/>
              <a:gd name="connsiteX18503" fmla="*/ 5307149 w 6785952"/>
              <a:gd name="connsiteY18503" fmla="*/ 512281 h 5217112"/>
              <a:gd name="connsiteX18504" fmla="*/ 5308522 w 6785952"/>
              <a:gd name="connsiteY18504" fmla="*/ 515007 h 5217112"/>
              <a:gd name="connsiteX18505" fmla="*/ 5311544 w 6785952"/>
              <a:gd name="connsiteY18505" fmla="*/ 515007 h 5217112"/>
              <a:gd name="connsiteX18506" fmla="*/ 5312917 w 6785952"/>
              <a:gd name="connsiteY18506" fmla="*/ 515007 h 5217112"/>
              <a:gd name="connsiteX18507" fmla="*/ 5314291 w 6785952"/>
              <a:gd name="connsiteY18507" fmla="*/ 516314 h 5217112"/>
              <a:gd name="connsiteX18508" fmla="*/ 5312917 w 6785952"/>
              <a:gd name="connsiteY18508" fmla="*/ 517731 h 5217112"/>
              <a:gd name="connsiteX18509" fmla="*/ 5311544 w 6785952"/>
              <a:gd name="connsiteY18509" fmla="*/ 517731 h 5217112"/>
              <a:gd name="connsiteX18510" fmla="*/ 5310170 w 6785952"/>
              <a:gd name="connsiteY18510" fmla="*/ 517731 h 5217112"/>
              <a:gd name="connsiteX18511" fmla="*/ 5307149 w 6785952"/>
              <a:gd name="connsiteY18511" fmla="*/ 517731 h 5217112"/>
              <a:gd name="connsiteX18512" fmla="*/ 5307149 w 6785952"/>
              <a:gd name="connsiteY18512" fmla="*/ 519038 h 5217112"/>
              <a:gd name="connsiteX18513" fmla="*/ 5294238 w 6785952"/>
              <a:gd name="connsiteY18513" fmla="*/ 520455 h 5217112"/>
              <a:gd name="connsiteX18514" fmla="*/ 5295612 w 6785952"/>
              <a:gd name="connsiteY18514" fmla="*/ 516314 h 5217112"/>
              <a:gd name="connsiteX18515" fmla="*/ 5281327 w 6785952"/>
              <a:gd name="connsiteY18515" fmla="*/ 515007 h 5217112"/>
              <a:gd name="connsiteX18516" fmla="*/ 5282701 w 6785952"/>
              <a:gd name="connsiteY18516" fmla="*/ 510865 h 5217112"/>
              <a:gd name="connsiteX18517" fmla="*/ 5278580 w 6785952"/>
              <a:gd name="connsiteY18517" fmla="*/ 510865 h 5217112"/>
              <a:gd name="connsiteX18518" fmla="*/ 5272811 w 6785952"/>
              <a:gd name="connsiteY18518" fmla="*/ 510865 h 5217112"/>
              <a:gd name="connsiteX18519" fmla="*/ 5271438 w 6785952"/>
              <a:gd name="connsiteY18519" fmla="*/ 509557 h 5217112"/>
              <a:gd name="connsiteX18520" fmla="*/ 5274186 w 6785952"/>
              <a:gd name="connsiteY18520" fmla="*/ 509557 h 5217112"/>
              <a:gd name="connsiteX18521" fmla="*/ 5278580 w 6785952"/>
              <a:gd name="connsiteY18521" fmla="*/ 509557 h 5217112"/>
              <a:gd name="connsiteX18522" fmla="*/ 5284349 w 6785952"/>
              <a:gd name="connsiteY18522" fmla="*/ 508141 h 5217112"/>
              <a:gd name="connsiteX18523" fmla="*/ 5284349 w 6785952"/>
              <a:gd name="connsiteY18523" fmla="*/ 495827 h 5217112"/>
              <a:gd name="connsiteX18524" fmla="*/ 5282701 w 6785952"/>
              <a:gd name="connsiteY18524" fmla="*/ 493103 h 5217112"/>
              <a:gd name="connsiteX18525" fmla="*/ 5274186 w 6785952"/>
              <a:gd name="connsiteY18525" fmla="*/ 493103 h 5217112"/>
              <a:gd name="connsiteX18526" fmla="*/ 5268417 w 6785952"/>
              <a:gd name="connsiteY18526" fmla="*/ 493103 h 5217112"/>
              <a:gd name="connsiteX18527" fmla="*/ 5267043 w 6785952"/>
              <a:gd name="connsiteY18527" fmla="*/ 494519 h 5217112"/>
              <a:gd name="connsiteX18528" fmla="*/ 5265670 w 6785952"/>
              <a:gd name="connsiteY18528" fmla="*/ 494519 h 5217112"/>
              <a:gd name="connsiteX18529" fmla="*/ 5264022 w 6785952"/>
              <a:gd name="connsiteY18529" fmla="*/ 494519 h 5217112"/>
              <a:gd name="connsiteX18530" fmla="*/ 5261274 w 6785952"/>
              <a:gd name="connsiteY18530" fmla="*/ 495827 h 5217112"/>
              <a:gd name="connsiteX18531" fmla="*/ 5259901 w 6785952"/>
              <a:gd name="connsiteY18531" fmla="*/ 495827 h 5217112"/>
              <a:gd name="connsiteX18532" fmla="*/ 5258528 w 6785952"/>
              <a:gd name="connsiteY18532" fmla="*/ 494519 h 5217112"/>
              <a:gd name="connsiteX18533" fmla="*/ 5262648 w 6785952"/>
              <a:gd name="connsiteY18533" fmla="*/ 491795 h 5217112"/>
              <a:gd name="connsiteX18534" fmla="*/ 5264022 w 6785952"/>
              <a:gd name="connsiteY18534" fmla="*/ 491795 h 5217112"/>
              <a:gd name="connsiteX18535" fmla="*/ 5265670 w 6785952"/>
              <a:gd name="connsiteY18535" fmla="*/ 487654 h 5217112"/>
              <a:gd name="connsiteX18536" fmla="*/ 5267043 w 6785952"/>
              <a:gd name="connsiteY18536" fmla="*/ 486128 h 5217112"/>
              <a:gd name="connsiteX18537" fmla="*/ 5271438 w 6785952"/>
              <a:gd name="connsiteY18537" fmla="*/ 486128 h 5217112"/>
              <a:gd name="connsiteX18538" fmla="*/ 5272811 w 6785952"/>
              <a:gd name="connsiteY18538" fmla="*/ 489071 h 5217112"/>
              <a:gd name="connsiteX18539" fmla="*/ 5271438 w 6785952"/>
              <a:gd name="connsiteY18539" fmla="*/ 490378 h 5217112"/>
              <a:gd name="connsiteX18540" fmla="*/ 5270065 w 6785952"/>
              <a:gd name="connsiteY18540" fmla="*/ 491795 h 5217112"/>
              <a:gd name="connsiteX18541" fmla="*/ 5274186 w 6785952"/>
              <a:gd name="connsiteY18541" fmla="*/ 491795 h 5217112"/>
              <a:gd name="connsiteX18542" fmla="*/ 5285723 w 6785952"/>
              <a:gd name="connsiteY18542" fmla="*/ 491795 h 5217112"/>
              <a:gd name="connsiteX18543" fmla="*/ 5287096 w 6785952"/>
              <a:gd name="connsiteY18543" fmla="*/ 495827 h 5217112"/>
              <a:gd name="connsiteX18544" fmla="*/ 5295612 w 6785952"/>
              <a:gd name="connsiteY18544" fmla="*/ 495827 h 5217112"/>
              <a:gd name="connsiteX18545" fmla="*/ 5289843 w 6785952"/>
              <a:gd name="connsiteY18545" fmla="*/ 498551 h 5217112"/>
              <a:gd name="connsiteX18546" fmla="*/ 5294238 w 6785952"/>
              <a:gd name="connsiteY18546" fmla="*/ 501275 h 5217112"/>
              <a:gd name="connsiteX18547" fmla="*/ 5311544 w 6785952"/>
              <a:gd name="connsiteY18547" fmla="*/ 487654 h 5217112"/>
              <a:gd name="connsiteX18548" fmla="*/ 5327201 w 6785952"/>
              <a:gd name="connsiteY18548" fmla="*/ 498551 h 5217112"/>
              <a:gd name="connsiteX18549" fmla="*/ 5353022 w 6785952"/>
              <a:gd name="connsiteY18549" fmla="*/ 494519 h 5217112"/>
              <a:gd name="connsiteX18550" fmla="*/ 5361538 w 6785952"/>
              <a:gd name="connsiteY18550" fmla="*/ 505417 h 5217112"/>
              <a:gd name="connsiteX18551" fmla="*/ 5365934 w 6785952"/>
              <a:gd name="connsiteY18551" fmla="*/ 504000 h 5217112"/>
              <a:gd name="connsiteX18552" fmla="*/ 5373075 w 6785952"/>
              <a:gd name="connsiteY18552" fmla="*/ 502693 h 5217112"/>
              <a:gd name="connsiteX18553" fmla="*/ 5374449 w 6785952"/>
              <a:gd name="connsiteY18553" fmla="*/ 504000 h 5217112"/>
              <a:gd name="connsiteX18554" fmla="*/ 5373075 w 6785952"/>
              <a:gd name="connsiteY18554" fmla="*/ 505417 h 5217112"/>
              <a:gd name="connsiteX18555" fmla="*/ 5367582 w 6785952"/>
              <a:gd name="connsiteY18555" fmla="*/ 506724 h 5217112"/>
              <a:gd name="connsiteX18556" fmla="*/ 5365934 w 6785952"/>
              <a:gd name="connsiteY18556" fmla="*/ 508141 h 5217112"/>
              <a:gd name="connsiteX18557" fmla="*/ 5378020 w 6785952"/>
              <a:gd name="connsiteY18557" fmla="*/ 513045 h 5217112"/>
              <a:gd name="connsiteX18558" fmla="*/ 5380217 w 6785952"/>
              <a:gd name="connsiteY18558" fmla="*/ 515007 h 5217112"/>
              <a:gd name="connsiteX18559" fmla="*/ 5381316 w 6785952"/>
              <a:gd name="connsiteY18559" fmla="*/ 512390 h 5217112"/>
              <a:gd name="connsiteX18560" fmla="*/ 5381316 w 6785952"/>
              <a:gd name="connsiteY18560" fmla="*/ 511846 h 5217112"/>
              <a:gd name="connsiteX18561" fmla="*/ 5378020 w 6785952"/>
              <a:gd name="connsiteY18561" fmla="*/ 513045 h 5217112"/>
              <a:gd name="connsiteX18562" fmla="*/ 5374998 w 6785952"/>
              <a:gd name="connsiteY18562" fmla="*/ 508358 h 5217112"/>
              <a:gd name="connsiteX18563" fmla="*/ 5382415 w 6785952"/>
              <a:gd name="connsiteY18563" fmla="*/ 495609 h 5217112"/>
              <a:gd name="connsiteX18564" fmla="*/ 5391754 w 6785952"/>
              <a:gd name="connsiteY18564" fmla="*/ 499422 h 5217112"/>
              <a:gd name="connsiteX18565" fmla="*/ 5387359 w 6785952"/>
              <a:gd name="connsiteY18565" fmla="*/ 507596 h 5217112"/>
              <a:gd name="connsiteX18566" fmla="*/ 5387084 w 6785952"/>
              <a:gd name="connsiteY18566" fmla="*/ 507923 h 5217112"/>
              <a:gd name="connsiteX18567" fmla="*/ 5390656 w 6785952"/>
              <a:gd name="connsiteY18567" fmla="*/ 508468 h 5217112"/>
              <a:gd name="connsiteX18568" fmla="*/ 5398897 w 6785952"/>
              <a:gd name="connsiteY18568" fmla="*/ 512281 h 5217112"/>
              <a:gd name="connsiteX18569" fmla="*/ 5406039 w 6785952"/>
              <a:gd name="connsiteY18569" fmla="*/ 512281 h 5217112"/>
              <a:gd name="connsiteX18570" fmla="*/ 5407687 w 6785952"/>
              <a:gd name="connsiteY18570" fmla="*/ 513589 h 5217112"/>
              <a:gd name="connsiteX18571" fmla="*/ 5406039 w 6785952"/>
              <a:gd name="connsiteY18571" fmla="*/ 513589 h 5217112"/>
              <a:gd name="connsiteX18572" fmla="*/ 5400270 w 6785952"/>
              <a:gd name="connsiteY18572" fmla="*/ 513589 h 5217112"/>
              <a:gd name="connsiteX18573" fmla="*/ 5394776 w 6785952"/>
              <a:gd name="connsiteY18573" fmla="*/ 516314 h 5217112"/>
              <a:gd name="connsiteX18574" fmla="*/ 5410434 w 6785952"/>
              <a:gd name="connsiteY18574" fmla="*/ 516314 h 5217112"/>
              <a:gd name="connsiteX18575" fmla="*/ 5413181 w 6785952"/>
              <a:gd name="connsiteY18575" fmla="*/ 520455 h 5217112"/>
              <a:gd name="connsiteX18576" fmla="*/ 5427465 w 6785952"/>
              <a:gd name="connsiteY18576" fmla="*/ 509557 h 5217112"/>
              <a:gd name="connsiteX18577" fmla="*/ 5440650 w 6785952"/>
              <a:gd name="connsiteY18577" fmla="*/ 510865 h 5217112"/>
              <a:gd name="connsiteX18578" fmla="*/ 5449166 w 6785952"/>
              <a:gd name="connsiteY18578" fmla="*/ 520455 h 5217112"/>
              <a:gd name="connsiteX18579" fmla="*/ 5454934 w 6785952"/>
              <a:gd name="connsiteY18579" fmla="*/ 516314 h 5217112"/>
              <a:gd name="connsiteX18580" fmla="*/ 5449166 w 6785952"/>
              <a:gd name="connsiteY18580" fmla="*/ 516314 h 5217112"/>
              <a:gd name="connsiteX18581" fmla="*/ 5447793 w 6785952"/>
              <a:gd name="connsiteY18581" fmla="*/ 515007 h 5217112"/>
              <a:gd name="connsiteX18582" fmla="*/ 5449166 w 6785952"/>
              <a:gd name="connsiteY18582" fmla="*/ 513589 h 5217112"/>
              <a:gd name="connsiteX18583" fmla="*/ 5454934 w 6785952"/>
              <a:gd name="connsiteY18583" fmla="*/ 515007 h 5217112"/>
              <a:gd name="connsiteX18584" fmla="*/ 5474988 w 6785952"/>
              <a:gd name="connsiteY18584" fmla="*/ 515007 h 5217112"/>
              <a:gd name="connsiteX18585" fmla="*/ 5474988 w 6785952"/>
              <a:gd name="connsiteY18585" fmla="*/ 519038 h 5217112"/>
              <a:gd name="connsiteX18586" fmla="*/ 5477734 w 6785952"/>
              <a:gd name="connsiteY18586" fmla="*/ 519038 h 5217112"/>
              <a:gd name="connsiteX18587" fmla="*/ 5486524 w 6785952"/>
              <a:gd name="connsiteY18587" fmla="*/ 523288 h 5217112"/>
              <a:gd name="connsiteX18588" fmla="*/ 5487898 w 6785952"/>
              <a:gd name="connsiteY18588" fmla="*/ 526012 h 5217112"/>
              <a:gd name="connsiteX18589" fmla="*/ 5497787 w 6785952"/>
              <a:gd name="connsiteY18589" fmla="*/ 527320 h 5217112"/>
              <a:gd name="connsiteX18590" fmla="*/ 5500808 w 6785952"/>
              <a:gd name="connsiteY18590" fmla="*/ 520455 h 5217112"/>
              <a:gd name="connsiteX18591" fmla="*/ 5492293 w 6785952"/>
              <a:gd name="connsiteY18591" fmla="*/ 517731 h 5217112"/>
              <a:gd name="connsiteX18592" fmla="*/ 5484876 w 6785952"/>
              <a:gd name="connsiteY18592" fmla="*/ 516314 h 5217112"/>
              <a:gd name="connsiteX18593" fmla="*/ 5474988 w 6785952"/>
              <a:gd name="connsiteY18593" fmla="*/ 515007 h 5217112"/>
              <a:gd name="connsiteX18594" fmla="*/ 5471965 w 6785952"/>
              <a:gd name="connsiteY18594" fmla="*/ 512281 h 5217112"/>
              <a:gd name="connsiteX18595" fmla="*/ 5476361 w 6785952"/>
              <a:gd name="connsiteY18595" fmla="*/ 510865 h 5217112"/>
              <a:gd name="connsiteX18596" fmla="*/ 5484876 w 6785952"/>
              <a:gd name="connsiteY18596" fmla="*/ 512281 h 5217112"/>
              <a:gd name="connsiteX18597" fmla="*/ 5492293 w 6785952"/>
              <a:gd name="connsiteY18597" fmla="*/ 513589 h 5217112"/>
              <a:gd name="connsiteX18598" fmla="*/ 5509324 w 6785952"/>
              <a:gd name="connsiteY18598" fmla="*/ 516314 h 5217112"/>
              <a:gd name="connsiteX18599" fmla="*/ 5507951 w 6785952"/>
              <a:gd name="connsiteY18599" fmla="*/ 517731 h 5217112"/>
              <a:gd name="connsiteX18600" fmla="*/ 5513719 w 6785952"/>
              <a:gd name="connsiteY18600" fmla="*/ 517731 h 5217112"/>
              <a:gd name="connsiteX18601" fmla="*/ 5528003 w 6785952"/>
              <a:gd name="connsiteY18601" fmla="*/ 517731 h 5217112"/>
              <a:gd name="connsiteX18602" fmla="*/ 5542287 w 6785952"/>
              <a:gd name="connsiteY18602" fmla="*/ 520455 h 5217112"/>
              <a:gd name="connsiteX18603" fmla="*/ 5548056 w 6785952"/>
              <a:gd name="connsiteY18603" fmla="*/ 521871 h 5217112"/>
              <a:gd name="connsiteX18604" fmla="*/ 5551078 w 6785952"/>
              <a:gd name="connsiteY18604" fmla="*/ 524595 h 5217112"/>
              <a:gd name="connsiteX18605" fmla="*/ 5546683 w 6785952"/>
              <a:gd name="connsiteY18605" fmla="*/ 526012 h 5217112"/>
              <a:gd name="connsiteX18606" fmla="*/ 5542287 w 6785952"/>
              <a:gd name="connsiteY18606" fmla="*/ 524595 h 5217112"/>
              <a:gd name="connsiteX18607" fmla="*/ 5535146 w 6785952"/>
              <a:gd name="connsiteY18607" fmla="*/ 530153 h 5217112"/>
              <a:gd name="connsiteX18608" fmla="*/ 5551627 w 6785952"/>
              <a:gd name="connsiteY18608" fmla="*/ 534185 h 5217112"/>
              <a:gd name="connsiteX18609" fmla="*/ 5562615 w 6785952"/>
              <a:gd name="connsiteY18609" fmla="*/ 536365 h 5217112"/>
              <a:gd name="connsiteX18610" fmla="*/ 5557121 w 6785952"/>
              <a:gd name="connsiteY18610" fmla="*/ 525903 h 5217112"/>
              <a:gd name="connsiteX18611" fmla="*/ 5561241 w 6785952"/>
              <a:gd name="connsiteY18611" fmla="*/ 515007 h 5217112"/>
              <a:gd name="connsiteX18612" fmla="*/ 5570855 w 6785952"/>
              <a:gd name="connsiteY18612" fmla="*/ 510647 h 5217112"/>
              <a:gd name="connsiteX18613" fmla="*/ 5574427 w 6785952"/>
              <a:gd name="connsiteY18613" fmla="*/ 510430 h 5217112"/>
              <a:gd name="connsiteX18614" fmla="*/ 5574701 w 6785952"/>
              <a:gd name="connsiteY18614" fmla="*/ 509231 h 5217112"/>
              <a:gd name="connsiteX18615" fmla="*/ 5578547 w 6785952"/>
              <a:gd name="connsiteY18615" fmla="*/ 502365 h 5217112"/>
              <a:gd name="connsiteX18616" fmla="*/ 5583492 w 6785952"/>
              <a:gd name="connsiteY18616" fmla="*/ 501275 h 5217112"/>
              <a:gd name="connsiteX18617" fmla="*/ 5591183 w 6785952"/>
              <a:gd name="connsiteY18617" fmla="*/ 515551 h 5217112"/>
              <a:gd name="connsiteX18618" fmla="*/ 5589261 w 6785952"/>
              <a:gd name="connsiteY18618" fmla="*/ 520128 h 5217112"/>
              <a:gd name="connsiteX18619" fmla="*/ 5588986 w 6785952"/>
              <a:gd name="connsiteY18619" fmla="*/ 520237 h 5217112"/>
              <a:gd name="connsiteX18620" fmla="*/ 5593106 w 6785952"/>
              <a:gd name="connsiteY18620" fmla="*/ 526993 h 5217112"/>
              <a:gd name="connsiteX18621" fmla="*/ 5591458 w 6785952"/>
              <a:gd name="connsiteY18621" fmla="*/ 531787 h 5217112"/>
              <a:gd name="connsiteX18622" fmla="*/ 5592556 w 6785952"/>
              <a:gd name="connsiteY18622" fmla="*/ 532878 h 5217112"/>
              <a:gd name="connsiteX18623" fmla="*/ 5592556 w 6785952"/>
              <a:gd name="connsiteY18623" fmla="*/ 536909 h 5217112"/>
              <a:gd name="connsiteX18624" fmla="*/ 5599699 w 6785952"/>
              <a:gd name="connsiteY18624" fmla="*/ 538327 h 5217112"/>
              <a:gd name="connsiteX18625" fmla="*/ 5601072 w 6785952"/>
              <a:gd name="connsiteY18625" fmla="*/ 538327 h 5217112"/>
              <a:gd name="connsiteX18626" fmla="*/ 5605467 w 6785952"/>
              <a:gd name="connsiteY18626" fmla="*/ 539634 h 5217112"/>
              <a:gd name="connsiteX18627" fmla="*/ 5605467 w 6785952"/>
              <a:gd name="connsiteY18627" fmla="*/ 542359 h 5217112"/>
              <a:gd name="connsiteX18628" fmla="*/ 5609587 w 6785952"/>
              <a:gd name="connsiteY18628" fmla="*/ 542359 h 5217112"/>
              <a:gd name="connsiteX18629" fmla="*/ 5608214 w 6785952"/>
              <a:gd name="connsiteY18629" fmla="*/ 541051 h 5217112"/>
              <a:gd name="connsiteX18630" fmla="*/ 5606841 w 6785952"/>
              <a:gd name="connsiteY18630" fmla="*/ 541051 h 5217112"/>
              <a:gd name="connsiteX18631" fmla="*/ 5606841 w 6785952"/>
              <a:gd name="connsiteY18631" fmla="*/ 538327 h 5217112"/>
              <a:gd name="connsiteX18632" fmla="*/ 5611236 w 6785952"/>
              <a:gd name="connsiteY18632" fmla="*/ 538327 h 5217112"/>
              <a:gd name="connsiteX18633" fmla="*/ 5612609 w 6785952"/>
              <a:gd name="connsiteY18633" fmla="*/ 539634 h 5217112"/>
              <a:gd name="connsiteX18634" fmla="*/ 5635683 w 6785952"/>
              <a:gd name="connsiteY18634" fmla="*/ 543775 h 5217112"/>
              <a:gd name="connsiteX18635" fmla="*/ 5638431 w 6785952"/>
              <a:gd name="connsiteY18635" fmla="*/ 550641 h 5217112"/>
              <a:gd name="connsiteX18636" fmla="*/ 5674415 w 6785952"/>
              <a:gd name="connsiteY18636" fmla="*/ 565679 h 5217112"/>
              <a:gd name="connsiteX18637" fmla="*/ 5688700 w 6785952"/>
              <a:gd name="connsiteY18637" fmla="*/ 568403 h 5217112"/>
              <a:gd name="connsiteX18638" fmla="*/ 5695842 w 6785952"/>
              <a:gd name="connsiteY18638" fmla="*/ 572544 h 5217112"/>
              <a:gd name="connsiteX18639" fmla="*/ 5697216 w 6785952"/>
              <a:gd name="connsiteY18639" fmla="*/ 572544 h 5217112"/>
              <a:gd name="connsiteX18640" fmla="*/ 5708753 w 6785952"/>
              <a:gd name="connsiteY18640" fmla="*/ 571236 h 5217112"/>
              <a:gd name="connsiteX18641" fmla="*/ 5723861 w 6785952"/>
              <a:gd name="connsiteY18641" fmla="*/ 577665 h 5217112"/>
              <a:gd name="connsiteX18642" fmla="*/ 5724960 w 6785952"/>
              <a:gd name="connsiteY18642" fmla="*/ 577993 h 5217112"/>
              <a:gd name="connsiteX18643" fmla="*/ 5726333 w 6785952"/>
              <a:gd name="connsiteY18643" fmla="*/ 577011 h 5217112"/>
              <a:gd name="connsiteX18644" fmla="*/ 5732926 w 6785952"/>
              <a:gd name="connsiteY18644" fmla="*/ 577556 h 5217112"/>
              <a:gd name="connsiteX18645" fmla="*/ 5736772 w 6785952"/>
              <a:gd name="connsiteY18645" fmla="*/ 581479 h 5217112"/>
              <a:gd name="connsiteX18646" fmla="*/ 5738694 w 6785952"/>
              <a:gd name="connsiteY18646" fmla="*/ 582133 h 5217112"/>
              <a:gd name="connsiteX18647" fmla="*/ 5761768 w 6785952"/>
              <a:gd name="connsiteY18647" fmla="*/ 595864 h 5217112"/>
              <a:gd name="connsiteX18648" fmla="*/ 5810664 w 6785952"/>
              <a:gd name="connsiteY18648" fmla="*/ 615043 h 5217112"/>
              <a:gd name="connsiteX18649" fmla="*/ 5835661 w 6785952"/>
              <a:gd name="connsiteY18649" fmla="*/ 631389 h 5217112"/>
              <a:gd name="connsiteX18650" fmla="*/ 5836760 w 6785952"/>
              <a:gd name="connsiteY18650" fmla="*/ 630518 h 5217112"/>
              <a:gd name="connsiteX18651" fmla="*/ 5840057 w 6785952"/>
              <a:gd name="connsiteY18651" fmla="*/ 629646 h 5217112"/>
              <a:gd name="connsiteX18652" fmla="*/ 5838958 w 6785952"/>
              <a:gd name="connsiteY18652" fmla="*/ 628774 h 5217112"/>
              <a:gd name="connsiteX18653" fmla="*/ 5834837 w 6785952"/>
              <a:gd name="connsiteY18653" fmla="*/ 621037 h 5217112"/>
              <a:gd name="connsiteX18654" fmla="*/ 5868625 w 6785952"/>
              <a:gd name="connsiteY18654" fmla="*/ 600441 h 5217112"/>
              <a:gd name="connsiteX18655" fmla="*/ 5879063 w 6785952"/>
              <a:gd name="connsiteY18655" fmla="*/ 631716 h 5217112"/>
              <a:gd name="connsiteX18656" fmla="*/ 5877415 w 6785952"/>
              <a:gd name="connsiteY18656" fmla="*/ 632261 h 5217112"/>
              <a:gd name="connsiteX18657" fmla="*/ 5884008 w 6785952"/>
              <a:gd name="connsiteY18657" fmla="*/ 631389 h 5217112"/>
              <a:gd name="connsiteX18658" fmla="*/ 5886205 w 6785952"/>
              <a:gd name="connsiteY18658" fmla="*/ 638255 h 5217112"/>
              <a:gd name="connsiteX18659" fmla="*/ 5885106 w 6785952"/>
              <a:gd name="connsiteY18659" fmla="*/ 640979 h 5217112"/>
              <a:gd name="connsiteX18660" fmla="*/ 5888952 w 6785952"/>
              <a:gd name="connsiteY18660" fmla="*/ 639889 h 5217112"/>
              <a:gd name="connsiteX18661" fmla="*/ 5890600 w 6785952"/>
              <a:gd name="connsiteY18661" fmla="*/ 645774 h 5217112"/>
              <a:gd name="connsiteX18662" fmla="*/ 5900764 w 6785952"/>
              <a:gd name="connsiteY18662" fmla="*/ 650460 h 5217112"/>
              <a:gd name="connsiteX18663" fmla="*/ 5911752 w 6785952"/>
              <a:gd name="connsiteY18663" fmla="*/ 658523 h 5217112"/>
              <a:gd name="connsiteX18664" fmla="*/ 5913675 w 6785952"/>
              <a:gd name="connsiteY18664" fmla="*/ 657434 h 5217112"/>
              <a:gd name="connsiteX18665" fmla="*/ 5914499 w 6785952"/>
              <a:gd name="connsiteY18665" fmla="*/ 660485 h 5217112"/>
              <a:gd name="connsiteX18666" fmla="*/ 5922740 w 6785952"/>
              <a:gd name="connsiteY18666" fmla="*/ 666152 h 5217112"/>
              <a:gd name="connsiteX18667" fmla="*/ 5930981 w 6785952"/>
              <a:gd name="connsiteY18667" fmla="*/ 667133 h 5217112"/>
              <a:gd name="connsiteX18668" fmla="*/ 5943617 w 6785952"/>
              <a:gd name="connsiteY18668" fmla="*/ 677594 h 5217112"/>
              <a:gd name="connsiteX18669" fmla="*/ 5944990 w 6785952"/>
              <a:gd name="connsiteY18669" fmla="*/ 678574 h 5217112"/>
              <a:gd name="connsiteX18670" fmla="*/ 5946088 w 6785952"/>
              <a:gd name="connsiteY18670" fmla="*/ 674106 h 5217112"/>
              <a:gd name="connsiteX18671" fmla="*/ 5959824 w 6785952"/>
              <a:gd name="connsiteY18671" fmla="*/ 688818 h 5217112"/>
              <a:gd name="connsiteX18672" fmla="*/ 5959549 w 6785952"/>
              <a:gd name="connsiteY18672" fmla="*/ 688927 h 5217112"/>
              <a:gd name="connsiteX18673" fmla="*/ 5975481 w 6785952"/>
              <a:gd name="connsiteY18673" fmla="*/ 700042 h 5217112"/>
              <a:gd name="connsiteX18674" fmla="*/ 5972459 w 6785952"/>
              <a:gd name="connsiteY18674" fmla="*/ 704075 h 5217112"/>
              <a:gd name="connsiteX18675" fmla="*/ 5999654 w 6785952"/>
              <a:gd name="connsiteY18675" fmla="*/ 720529 h 5217112"/>
              <a:gd name="connsiteX18676" fmla="*/ 6001303 w 6785952"/>
              <a:gd name="connsiteY18676" fmla="*/ 728811 h 5217112"/>
              <a:gd name="connsiteX18677" fmla="*/ 6005697 w 6785952"/>
              <a:gd name="connsiteY18677" fmla="*/ 734260 h 5217112"/>
              <a:gd name="connsiteX18678" fmla="*/ 6008445 w 6785952"/>
              <a:gd name="connsiteY18678" fmla="*/ 736984 h 5217112"/>
              <a:gd name="connsiteX18679" fmla="*/ 6016960 w 6785952"/>
              <a:gd name="connsiteY18679" fmla="*/ 736984 h 5217112"/>
              <a:gd name="connsiteX18680" fmla="*/ 6021355 w 6785952"/>
              <a:gd name="connsiteY18680" fmla="*/ 746573 h 5217112"/>
              <a:gd name="connsiteX18681" fmla="*/ 6050198 w 6785952"/>
              <a:gd name="connsiteY18681" fmla="*/ 774035 h 5217112"/>
              <a:gd name="connsiteX18682" fmla="*/ 6081513 w 6785952"/>
              <a:gd name="connsiteY18682" fmla="*/ 801387 h 5217112"/>
              <a:gd name="connsiteX18683" fmla="*/ 6080140 w 6785952"/>
              <a:gd name="connsiteY18683" fmla="*/ 801387 h 5217112"/>
              <a:gd name="connsiteX18684" fmla="*/ 6087282 w 6785952"/>
              <a:gd name="connsiteY18684" fmla="*/ 812393 h 5217112"/>
              <a:gd name="connsiteX18685" fmla="*/ 6088656 w 6785952"/>
              <a:gd name="connsiteY18685" fmla="*/ 816425 h 5217112"/>
              <a:gd name="connsiteX18686" fmla="*/ 6091677 w 6785952"/>
              <a:gd name="connsiteY18686" fmla="*/ 816425 h 5217112"/>
              <a:gd name="connsiteX18687" fmla="*/ 6091677 w 6785952"/>
              <a:gd name="connsiteY18687" fmla="*/ 819149 h 5217112"/>
              <a:gd name="connsiteX18688" fmla="*/ 6105961 w 6785952"/>
              <a:gd name="connsiteY18688" fmla="*/ 838438 h 5217112"/>
              <a:gd name="connsiteX18689" fmla="*/ 6110082 w 6785952"/>
              <a:gd name="connsiteY18689" fmla="*/ 845195 h 5217112"/>
              <a:gd name="connsiteX18690" fmla="*/ 6126014 w 6785952"/>
              <a:gd name="connsiteY18690" fmla="*/ 856201 h 5217112"/>
              <a:gd name="connsiteX18691" fmla="*/ 6140298 w 6785952"/>
              <a:gd name="connsiteY18691" fmla="*/ 868624 h 5217112"/>
              <a:gd name="connsiteX18692" fmla="*/ 6137551 w 6785952"/>
              <a:gd name="connsiteY18692" fmla="*/ 876796 h 5217112"/>
              <a:gd name="connsiteX18693" fmla="*/ 6166120 w 6785952"/>
              <a:gd name="connsiteY18693" fmla="*/ 917879 h 5217112"/>
              <a:gd name="connsiteX18694" fmla="*/ 6178755 w 6785952"/>
              <a:gd name="connsiteY18694" fmla="*/ 938802 h 5217112"/>
              <a:gd name="connsiteX18695" fmla="*/ 6179304 w 6785952"/>
              <a:gd name="connsiteY18695" fmla="*/ 940109 h 5217112"/>
              <a:gd name="connsiteX18696" fmla="*/ 6180953 w 6785952"/>
              <a:gd name="connsiteY18696" fmla="*/ 939347 h 5217112"/>
              <a:gd name="connsiteX18697" fmla="*/ 6183700 w 6785952"/>
              <a:gd name="connsiteY18697" fmla="*/ 939565 h 5217112"/>
              <a:gd name="connsiteX18698" fmla="*/ 6186996 w 6785952"/>
              <a:gd name="connsiteY18698" fmla="*/ 942834 h 5217112"/>
              <a:gd name="connsiteX18699" fmla="*/ 6188919 w 6785952"/>
              <a:gd name="connsiteY18699" fmla="*/ 942507 h 5217112"/>
              <a:gd name="connsiteX18700" fmla="*/ 6191117 w 6785952"/>
              <a:gd name="connsiteY18700" fmla="*/ 938584 h 5217112"/>
              <a:gd name="connsiteX18701" fmla="*/ 6193863 w 6785952"/>
              <a:gd name="connsiteY18701" fmla="*/ 937168 h 5217112"/>
              <a:gd name="connsiteX18702" fmla="*/ 6196886 w 6785952"/>
              <a:gd name="connsiteY18702" fmla="*/ 937822 h 5217112"/>
              <a:gd name="connsiteX18703" fmla="*/ 6197984 w 6785952"/>
              <a:gd name="connsiteY18703" fmla="*/ 940982 h 5217112"/>
              <a:gd name="connsiteX18704" fmla="*/ 6197984 w 6785952"/>
              <a:gd name="connsiteY18704" fmla="*/ 946866 h 5217112"/>
              <a:gd name="connsiteX18705" fmla="*/ 6194962 w 6785952"/>
              <a:gd name="connsiteY18705" fmla="*/ 949482 h 5217112"/>
              <a:gd name="connsiteX18706" fmla="*/ 6192216 w 6785952"/>
              <a:gd name="connsiteY18706" fmla="*/ 947629 h 5217112"/>
              <a:gd name="connsiteX18707" fmla="*/ 6189468 w 6785952"/>
              <a:gd name="connsiteY18707" fmla="*/ 947302 h 5217112"/>
              <a:gd name="connsiteX18708" fmla="*/ 6189468 w 6785952"/>
              <a:gd name="connsiteY18708" fmla="*/ 946539 h 5217112"/>
              <a:gd name="connsiteX18709" fmla="*/ 6188919 w 6785952"/>
              <a:gd name="connsiteY18709" fmla="*/ 946539 h 5217112"/>
              <a:gd name="connsiteX18710" fmla="*/ 6181777 w 6785952"/>
              <a:gd name="connsiteY18710" fmla="*/ 946321 h 5217112"/>
              <a:gd name="connsiteX18711" fmla="*/ 6186172 w 6785952"/>
              <a:gd name="connsiteY18711" fmla="*/ 957545 h 5217112"/>
              <a:gd name="connsiteX18712" fmla="*/ 6184798 w 6785952"/>
              <a:gd name="connsiteY18712" fmla="*/ 957545 h 5217112"/>
              <a:gd name="connsiteX18713" fmla="*/ 6189194 w 6785952"/>
              <a:gd name="connsiteY18713" fmla="*/ 963103 h 5217112"/>
              <a:gd name="connsiteX18714" fmla="*/ 6191117 w 6785952"/>
              <a:gd name="connsiteY18714" fmla="*/ 964302 h 5217112"/>
              <a:gd name="connsiteX18715" fmla="*/ 6191667 w 6785952"/>
              <a:gd name="connsiteY18715" fmla="*/ 960923 h 5217112"/>
              <a:gd name="connsiteX18716" fmla="*/ 6200182 w 6785952"/>
              <a:gd name="connsiteY18716" fmla="*/ 958962 h 5217112"/>
              <a:gd name="connsiteX18717" fmla="*/ 6213917 w 6785952"/>
              <a:gd name="connsiteY18717" fmla="*/ 971712 h 5217112"/>
              <a:gd name="connsiteX18718" fmla="*/ 6213917 w 6785952"/>
              <a:gd name="connsiteY18718" fmla="*/ 976725 h 5217112"/>
              <a:gd name="connsiteX18719" fmla="*/ 6202654 w 6785952"/>
              <a:gd name="connsiteY18719" fmla="*/ 977161 h 5217112"/>
              <a:gd name="connsiteX18720" fmla="*/ 6201830 w 6785952"/>
              <a:gd name="connsiteY18720" fmla="*/ 976725 h 5217112"/>
              <a:gd name="connsiteX18721" fmla="*/ 6204851 w 6785952"/>
              <a:gd name="connsiteY18721" fmla="*/ 979558 h 5217112"/>
              <a:gd name="connsiteX18722" fmla="*/ 6203478 w 6785952"/>
              <a:gd name="connsiteY18722" fmla="*/ 986315 h 5217112"/>
              <a:gd name="connsiteX18723" fmla="*/ 6202105 w 6785952"/>
              <a:gd name="connsiteY18723" fmla="*/ 986315 h 5217112"/>
              <a:gd name="connsiteX18724" fmla="*/ 6203478 w 6785952"/>
              <a:gd name="connsiteY18724" fmla="*/ 987731 h 5217112"/>
              <a:gd name="connsiteX18725" fmla="*/ 6203478 w 6785952"/>
              <a:gd name="connsiteY18725" fmla="*/ 993288 h 5217112"/>
              <a:gd name="connsiteX18726" fmla="*/ 6199083 w 6785952"/>
              <a:gd name="connsiteY18726" fmla="*/ 990455 h 5217112"/>
              <a:gd name="connsiteX18727" fmla="*/ 6196336 w 6785952"/>
              <a:gd name="connsiteY18727" fmla="*/ 986315 h 5217112"/>
              <a:gd name="connsiteX18728" fmla="*/ 6191941 w 6785952"/>
              <a:gd name="connsiteY18728" fmla="*/ 980865 h 5217112"/>
              <a:gd name="connsiteX18729" fmla="*/ 6184798 w 6785952"/>
              <a:gd name="connsiteY18729" fmla="*/ 965827 h 5217112"/>
              <a:gd name="connsiteX18730" fmla="*/ 6182052 w 6785952"/>
              <a:gd name="connsiteY18730" fmla="*/ 960379 h 5217112"/>
              <a:gd name="connsiteX18731" fmla="*/ 6180404 w 6785952"/>
              <a:gd name="connsiteY18731" fmla="*/ 959180 h 5217112"/>
              <a:gd name="connsiteX18732" fmla="*/ 6170515 w 6785952"/>
              <a:gd name="connsiteY18732" fmla="*/ 946648 h 5217112"/>
              <a:gd name="connsiteX18733" fmla="*/ 6163372 w 6785952"/>
              <a:gd name="connsiteY18733" fmla="*/ 928886 h 5217112"/>
              <a:gd name="connsiteX18734" fmla="*/ 6154583 w 6785952"/>
              <a:gd name="connsiteY18734" fmla="*/ 920603 h 5217112"/>
              <a:gd name="connsiteX18735" fmla="*/ 6150462 w 6785952"/>
              <a:gd name="connsiteY18735" fmla="*/ 911014 h 5217112"/>
              <a:gd name="connsiteX18736" fmla="*/ 6141671 w 6785952"/>
              <a:gd name="connsiteY18736" fmla="*/ 904149 h 5217112"/>
              <a:gd name="connsiteX18737" fmla="*/ 6127388 w 6785952"/>
              <a:gd name="connsiteY18737" fmla="*/ 880829 h 5217112"/>
              <a:gd name="connsiteX18738" fmla="*/ 6126014 w 6785952"/>
              <a:gd name="connsiteY18738" fmla="*/ 879521 h 5217112"/>
              <a:gd name="connsiteX18739" fmla="*/ 6120245 w 6785952"/>
              <a:gd name="connsiteY18739" fmla="*/ 875380 h 5217112"/>
              <a:gd name="connsiteX18740" fmla="*/ 6121619 w 6785952"/>
              <a:gd name="connsiteY18740" fmla="*/ 867207 h 5217112"/>
              <a:gd name="connsiteX18741" fmla="*/ 6107335 w 6785952"/>
              <a:gd name="connsiteY18741" fmla="*/ 848028 h 5217112"/>
              <a:gd name="connsiteX18742" fmla="*/ 6101566 w 6785952"/>
              <a:gd name="connsiteY18742" fmla="*/ 841162 h 5217112"/>
              <a:gd name="connsiteX18743" fmla="*/ 6085908 w 6785952"/>
              <a:gd name="connsiteY18743" fmla="*/ 831573 h 5217112"/>
              <a:gd name="connsiteX18744" fmla="*/ 6090304 w 6785952"/>
              <a:gd name="connsiteY18744" fmla="*/ 831573 h 5217112"/>
              <a:gd name="connsiteX18745" fmla="*/ 6069976 w 6785952"/>
              <a:gd name="connsiteY18745" fmla="*/ 809669 h 5217112"/>
              <a:gd name="connsiteX18746" fmla="*/ 6051572 w 6785952"/>
              <a:gd name="connsiteY18746" fmla="*/ 793214 h 5217112"/>
              <a:gd name="connsiteX18747" fmla="*/ 6045803 w 6785952"/>
              <a:gd name="connsiteY18747" fmla="*/ 780791 h 5217112"/>
              <a:gd name="connsiteX18748" fmla="*/ 6031244 w 6785952"/>
              <a:gd name="connsiteY18748" fmla="*/ 771311 h 5217112"/>
              <a:gd name="connsiteX18749" fmla="*/ 6031244 w 6785952"/>
              <a:gd name="connsiteY18749" fmla="*/ 772619 h 5217112"/>
              <a:gd name="connsiteX18750" fmla="*/ 6045803 w 6785952"/>
              <a:gd name="connsiteY18750" fmla="*/ 790490 h 5217112"/>
              <a:gd name="connsiteX18751" fmla="*/ 6057066 w 6785952"/>
              <a:gd name="connsiteY18751" fmla="*/ 806835 h 5217112"/>
              <a:gd name="connsiteX18752" fmla="*/ 6060087 w 6785952"/>
              <a:gd name="connsiteY18752" fmla="*/ 809669 h 5217112"/>
              <a:gd name="connsiteX18753" fmla="*/ 6060087 w 6785952"/>
              <a:gd name="connsiteY18753" fmla="*/ 810977 h 5217112"/>
              <a:gd name="connsiteX18754" fmla="*/ 6095798 w 6785952"/>
              <a:gd name="connsiteY18754" fmla="*/ 853476 h 5217112"/>
              <a:gd name="connsiteX18755" fmla="*/ 6094424 w 6785952"/>
              <a:gd name="connsiteY18755" fmla="*/ 853476 h 5217112"/>
              <a:gd name="connsiteX18756" fmla="*/ 6101566 w 6785952"/>
              <a:gd name="connsiteY18756" fmla="*/ 861758 h 5217112"/>
              <a:gd name="connsiteX18757" fmla="*/ 6104588 w 6785952"/>
              <a:gd name="connsiteY18757" fmla="*/ 865790 h 5217112"/>
              <a:gd name="connsiteX18758" fmla="*/ 6137551 w 6785952"/>
              <a:gd name="connsiteY18758" fmla="*/ 905565 h 5217112"/>
              <a:gd name="connsiteX18759" fmla="*/ 6163372 w 6785952"/>
              <a:gd name="connsiteY18759" fmla="*/ 950789 h 5217112"/>
              <a:gd name="connsiteX18760" fmla="*/ 6164197 w 6785952"/>
              <a:gd name="connsiteY18760" fmla="*/ 952532 h 5217112"/>
              <a:gd name="connsiteX18761" fmla="*/ 6165021 w 6785952"/>
              <a:gd name="connsiteY18761" fmla="*/ 952751 h 5217112"/>
              <a:gd name="connsiteX18762" fmla="*/ 6167493 w 6785952"/>
              <a:gd name="connsiteY18762" fmla="*/ 953296 h 5217112"/>
              <a:gd name="connsiteX18763" fmla="*/ 6180404 w 6785952"/>
              <a:gd name="connsiteY18763" fmla="*/ 959180 h 5217112"/>
              <a:gd name="connsiteX18764" fmla="*/ 6174360 w 6785952"/>
              <a:gd name="connsiteY18764" fmla="*/ 962667 h 5217112"/>
              <a:gd name="connsiteX18765" fmla="*/ 6169141 w 6785952"/>
              <a:gd name="connsiteY18765" fmla="*/ 959507 h 5217112"/>
              <a:gd name="connsiteX18766" fmla="*/ 6168317 w 6785952"/>
              <a:gd name="connsiteY18766" fmla="*/ 959289 h 5217112"/>
              <a:gd name="connsiteX18767" fmla="*/ 6175734 w 6785952"/>
              <a:gd name="connsiteY18767" fmla="*/ 969642 h 5217112"/>
              <a:gd name="connsiteX18768" fmla="*/ 6182052 w 6785952"/>
              <a:gd name="connsiteY18768" fmla="*/ 985007 h 5217112"/>
              <a:gd name="connsiteX18769" fmla="*/ 6183425 w 6785952"/>
              <a:gd name="connsiteY18769" fmla="*/ 986315 h 5217112"/>
              <a:gd name="connsiteX18770" fmla="*/ 6194687 w 6785952"/>
              <a:gd name="connsiteY18770" fmla="*/ 1008327 h 5217112"/>
              <a:gd name="connsiteX18771" fmla="*/ 6199083 w 6785952"/>
              <a:gd name="connsiteY18771" fmla="*/ 1011051 h 5217112"/>
              <a:gd name="connsiteX18772" fmla="*/ 6215015 w 6785952"/>
              <a:gd name="connsiteY18772" fmla="*/ 1049410 h 5217112"/>
              <a:gd name="connsiteX18773" fmla="*/ 6217212 w 6785952"/>
              <a:gd name="connsiteY18773" fmla="*/ 1056493 h 5217112"/>
              <a:gd name="connsiteX18774" fmla="*/ 6218587 w 6785952"/>
              <a:gd name="connsiteY18774" fmla="*/ 1053659 h 5217112"/>
              <a:gd name="connsiteX18775" fmla="*/ 6220509 w 6785952"/>
              <a:gd name="connsiteY18775" fmla="*/ 1065429 h 5217112"/>
              <a:gd name="connsiteX18776" fmla="*/ 6221882 w 6785952"/>
              <a:gd name="connsiteY18776" fmla="*/ 1064993 h 5217112"/>
              <a:gd name="connsiteX18777" fmla="*/ 6223806 w 6785952"/>
              <a:gd name="connsiteY18777" fmla="*/ 1057038 h 5217112"/>
              <a:gd name="connsiteX18778" fmla="*/ 6224630 w 6785952"/>
              <a:gd name="connsiteY18778" fmla="*/ 1056057 h 5217112"/>
              <a:gd name="connsiteX18779" fmla="*/ 6217762 w 6785952"/>
              <a:gd name="connsiteY18779" fmla="*/ 1043960 h 5217112"/>
              <a:gd name="connsiteX18780" fmla="*/ 6203478 w 6785952"/>
              <a:gd name="connsiteY18780" fmla="*/ 993288 h 5217112"/>
              <a:gd name="connsiteX18781" fmla="*/ 6217762 w 6785952"/>
              <a:gd name="connsiteY18781" fmla="*/ 1012468 h 5217112"/>
              <a:gd name="connsiteX18782" fmla="*/ 6226278 w 6785952"/>
              <a:gd name="connsiteY18782" fmla="*/ 1026198 h 5217112"/>
              <a:gd name="connsiteX18783" fmla="*/ 6232046 w 6785952"/>
              <a:gd name="connsiteY18783" fmla="*/ 1048102 h 5217112"/>
              <a:gd name="connsiteX18784" fmla="*/ 6234518 w 6785952"/>
              <a:gd name="connsiteY18784" fmla="*/ 1053115 h 5217112"/>
              <a:gd name="connsiteX18785" fmla="*/ 6235892 w 6785952"/>
              <a:gd name="connsiteY18785" fmla="*/ 1053441 h 5217112"/>
              <a:gd name="connsiteX18786" fmla="*/ 6242485 w 6785952"/>
              <a:gd name="connsiteY18786" fmla="*/ 1056602 h 5217112"/>
              <a:gd name="connsiteX18787" fmla="*/ 6245781 w 6785952"/>
              <a:gd name="connsiteY18787" fmla="*/ 1061070 h 5217112"/>
              <a:gd name="connsiteX18788" fmla="*/ 6239462 w 6785952"/>
              <a:gd name="connsiteY18788" fmla="*/ 1064884 h 5217112"/>
              <a:gd name="connsiteX18789" fmla="*/ 6241935 w 6785952"/>
              <a:gd name="connsiteY18789" fmla="*/ 1070006 h 5217112"/>
              <a:gd name="connsiteX18790" fmla="*/ 6245231 w 6785952"/>
              <a:gd name="connsiteY18790" fmla="*/ 1087768 h 5217112"/>
              <a:gd name="connsiteX18791" fmla="*/ 6252099 w 6785952"/>
              <a:gd name="connsiteY18791" fmla="*/ 1111088 h 5217112"/>
              <a:gd name="connsiteX18792" fmla="*/ 6254296 w 6785952"/>
              <a:gd name="connsiteY18792" fmla="*/ 1118280 h 5217112"/>
              <a:gd name="connsiteX18793" fmla="*/ 6261164 w 6785952"/>
              <a:gd name="connsiteY18793" fmla="*/ 1115229 h 5217112"/>
              <a:gd name="connsiteX18794" fmla="*/ 6277370 w 6785952"/>
              <a:gd name="connsiteY18794" fmla="*/ 1115774 h 5217112"/>
              <a:gd name="connsiteX18795" fmla="*/ 6282590 w 6785952"/>
              <a:gd name="connsiteY18795" fmla="*/ 1120242 h 5217112"/>
              <a:gd name="connsiteX18796" fmla="*/ 6282040 w 6785952"/>
              <a:gd name="connsiteY18796" fmla="*/ 1118062 h 5217112"/>
              <a:gd name="connsiteX18797" fmla="*/ 6299071 w 6785952"/>
              <a:gd name="connsiteY18797" fmla="*/ 1116210 h 5217112"/>
              <a:gd name="connsiteX18798" fmla="*/ 6305390 w 6785952"/>
              <a:gd name="connsiteY18798" fmla="*/ 1133428 h 5217112"/>
              <a:gd name="connsiteX18799" fmla="*/ 6296325 w 6785952"/>
              <a:gd name="connsiteY18799" fmla="*/ 1139094 h 5217112"/>
              <a:gd name="connsiteX18800" fmla="*/ 6294127 w 6785952"/>
              <a:gd name="connsiteY18800" fmla="*/ 1135934 h 5217112"/>
              <a:gd name="connsiteX18801" fmla="*/ 6289458 w 6785952"/>
              <a:gd name="connsiteY18801" fmla="*/ 1135716 h 5217112"/>
              <a:gd name="connsiteX18802" fmla="*/ 6286985 w 6785952"/>
              <a:gd name="connsiteY18802" fmla="*/ 1135934 h 5217112"/>
              <a:gd name="connsiteX18803" fmla="*/ 6287260 w 6785952"/>
              <a:gd name="connsiteY18803" fmla="*/ 1136915 h 5217112"/>
              <a:gd name="connsiteX18804" fmla="*/ 6291930 w 6785952"/>
              <a:gd name="connsiteY18804" fmla="*/ 1137896 h 5217112"/>
              <a:gd name="connsiteX18805" fmla="*/ 6298248 w 6785952"/>
              <a:gd name="connsiteY18805" fmla="*/ 1144869 h 5217112"/>
              <a:gd name="connsiteX18806" fmla="*/ 6294677 w 6785952"/>
              <a:gd name="connsiteY18806" fmla="*/ 1147921 h 5217112"/>
              <a:gd name="connsiteX18807" fmla="*/ 6291655 w 6785952"/>
              <a:gd name="connsiteY18807" fmla="*/ 1145633 h 5217112"/>
              <a:gd name="connsiteX18808" fmla="*/ 6285337 w 6785952"/>
              <a:gd name="connsiteY18808" fmla="*/ 1168843 h 5217112"/>
              <a:gd name="connsiteX18809" fmla="*/ 6278745 w 6785952"/>
              <a:gd name="connsiteY18809" fmla="*/ 1183664 h 5217112"/>
              <a:gd name="connsiteX18810" fmla="*/ 6275723 w 6785952"/>
              <a:gd name="connsiteY18810" fmla="*/ 1186388 h 5217112"/>
              <a:gd name="connsiteX18811" fmla="*/ 6277370 w 6785952"/>
              <a:gd name="connsiteY18811" fmla="*/ 1195651 h 5217112"/>
              <a:gd name="connsiteX18812" fmla="*/ 6280942 w 6785952"/>
              <a:gd name="connsiteY18812" fmla="*/ 1208401 h 5217112"/>
              <a:gd name="connsiteX18813" fmla="*/ 6283689 w 6785952"/>
              <a:gd name="connsiteY18813" fmla="*/ 1238041 h 5217112"/>
              <a:gd name="connsiteX18814" fmla="*/ 6284513 w 6785952"/>
              <a:gd name="connsiteY18814" fmla="*/ 1238041 h 5217112"/>
              <a:gd name="connsiteX18815" fmla="*/ 6285886 w 6785952"/>
              <a:gd name="connsiteY18815" fmla="*/ 1239458 h 5217112"/>
              <a:gd name="connsiteX18816" fmla="*/ 6283964 w 6785952"/>
              <a:gd name="connsiteY18816" fmla="*/ 1239785 h 5217112"/>
              <a:gd name="connsiteX18817" fmla="*/ 6285337 w 6785952"/>
              <a:gd name="connsiteY18817" fmla="*/ 1253624 h 5217112"/>
              <a:gd name="connsiteX18818" fmla="*/ 6290831 w 6785952"/>
              <a:gd name="connsiteY18818" fmla="*/ 1264631 h 5217112"/>
              <a:gd name="connsiteX18819" fmla="*/ 6289458 w 6785952"/>
              <a:gd name="connsiteY18819" fmla="*/ 1280977 h 5217112"/>
              <a:gd name="connsiteX18820" fmla="*/ 6289458 w 6785952"/>
              <a:gd name="connsiteY18820" fmla="*/ 1298848 h 5217112"/>
              <a:gd name="connsiteX18821" fmla="*/ 6293852 w 6785952"/>
              <a:gd name="connsiteY18821" fmla="*/ 1304298 h 5217112"/>
              <a:gd name="connsiteX18822" fmla="*/ 6292204 w 6785952"/>
              <a:gd name="connsiteY18822" fmla="*/ 1309637 h 5217112"/>
              <a:gd name="connsiteX18823" fmla="*/ 6294952 w 6785952"/>
              <a:gd name="connsiteY18823" fmla="*/ 1309855 h 5217112"/>
              <a:gd name="connsiteX18824" fmla="*/ 6302094 w 6785952"/>
              <a:gd name="connsiteY18824" fmla="*/ 1312143 h 5217112"/>
              <a:gd name="connsiteX18825" fmla="*/ 6302643 w 6785952"/>
              <a:gd name="connsiteY18825" fmla="*/ 1317701 h 5217112"/>
              <a:gd name="connsiteX18826" fmla="*/ 6297973 w 6785952"/>
              <a:gd name="connsiteY18826" fmla="*/ 1321406 h 5217112"/>
              <a:gd name="connsiteX18827" fmla="*/ 6291930 w 6785952"/>
              <a:gd name="connsiteY18827" fmla="*/ 1321951 h 5217112"/>
              <a:gd name="connsiteX18828" fmla="*/ 6288633 w 6785952"/>
              <a:gd name="connsiteY18828" fmla="*/ 1321624 h 5217112"/>
              <a:gd name="connsiteX18829" fmla="*/ 6286710 w 6785952"/>
              <a:gd name="connsiteY18829" fmla="*/ 1327618 h 5217112"/>
              <a:gd name="connsiteX18830" fmla="*/ 6286710 w 6785952"/>
              <a:gd name="connsiteY18830" fmla="*/ 1345380 h 5217112"/>
              <a:gd name="connsiteX18831" fmla="*/ 6293852 w 6785952"/>
              <a:gd name="connsiteY18831" fmla="*/ 1387880 h 5217112"/>
              <a:gd name="connsiteX18832" fmla="*/ 6293852 w 6785952"/>
              <a:gd name="connsiteY18832" fmla="*/ 1408476 h 5217112"/>
              <a:gd name="connsiteX18833" fmla="*/ 6303741 w 6785952"/>
              <a:gd name="connsiteY18833" fmla="*/ 1403027 h 5217112"/>
              <a:gd name="connsiteX18834" fmla="*/ 6305940 w 6785952"/>
              <a:gd name="connsiteY18834" fmla="*/ 1414687 h 5217112"/>
              <a:gd name="connsiteX18835" fmla="*/ 6306764 w 6785952"/>
              <a:gd name="connsiteY18835" fmla="*/ 1415450 h 5217112"/>
              <a:gd name="connsiteX18836" fmla="*/ 6310609 w 6785952"/>
              <a:gd name="connsiteY18836" fmla="*/ 1411091 h 5217112"/>
              <a:gd name="connsiteX18837" fmla="*/ 6314729 w 6785952"/>
              <a:gd name="connsiteY18837" fmla="*/ 1417521 h 5217112"/>
              <a:gd name="connsiteX18838" fmla="*/ 6309235 w 6785952"/>
              <a:gd name="connsiteY18838" fmla="*/ 1419264 h 5217112"/>
              <a:gd name="connsiteX18839" fmla="*/ 6307313 w 6785952"/>
              <a:gd name="connsiteY18839" fmla="*/ 1417738 h 5217112"/>
              <a:gd name="connsiteX18840" fmla="*/ 6306489 w 6785952"/>
              <a:gd name="connsiteY18840" fmla="*/ 1416976 h 5217112"/>
              <a:gd name="connsiteX18841" fmla="*/ 6306489 w 6785952"/>
              <a:gd name="connsiteY18841" fmla="*/ 1417412 h 5217112"/>
              <a:gd name="connsiteX18842" fmla="*/ 6303741 w 6785952"/>
              <a:gd name="connsiteY18842" fmla="*/ 1431796 h 5217112"/>
              <a:gd name="connsiteX18843" fmla="*/ 6298248 w 6785952"/>
              <a:gd name="connsiteY18843" fmla="*/ 1450975 h 5217112"/>
              <a:gd name="connsiteX18844" fmla="*/ 6299621 w 6785952"/>
              <a:gd name="connsiteY18844" fmla="*/ 1450975 h 5217112"/>
              <a:gd name="connsiteX18845" fmla="*/ 6295226 w 6785952"/>
              <a:gd name="connsiteY18845" fmla="*/ 1467430 h 5217112"/>
              <a:gd name="connsiteX18846" fmla="*/ 6293852 w 6785952"/>
              <a:gd name="connsiteY18846" fmla="*/ 1487917 h 5217112"/>
              <a:gd name="connsiteX18847" fmla="*/ 6283689 w 6785952"/>
              <a:gd name="connsiteY18847" fmla="*/ 1523551 h 5217112"/>
              <a:gd name="connsiteX18848" fmla="*/ 6283689 w 6785952"/>
              <a:gd name="connsiteY18848" fmla="*/ 1529000 h 5217112"/>
              <a:gd name="connsiteX18849" fmla="*/ 6277920 w 6785952"/>
              <a:gd name="connsiteY18849" fmla="*/ 1540006 h 5217112"/>
              <a:gd name="connsiteX18850" fmla="*/ 6275173 w 6785952"/>
              <a:gd name="connsiteY18850" fmla="*/ 1551012 h 5217112"/>
              <a:gd name="connsiteX18851" fmla="*/ 6273800 w 6785952"/>
              <a:gd name="connsiteY18851" fmla="*/ 1557768 h 5217112"/>
              <a:gd name="connsiteX18852" fmla="*/ 6272426 w 6785952"/>
              <a:gd name="connsiteY18852" fmla="*/ 1572916 h 5217112"/>
              <a:gd name="connsiteX18853" fmla="*/ 6269405 w 6785952"/>
              <a:gd name="connsiteY18853" fmla="*/ 1574332 h 5217112"/>
              <a:gd name="connsiteX18854" fmla="*/ 6269405 w 6785952"/>
              <a:gd name="connsiteY18854" fmla="*/ 1571608 h 5217112"/>
              <a:gd name="connsiteX18855" fmla="*/ 6270778 w 6785952"/>
              <a:gd name="connsiteY18855" fmla="*/ 1566159 h 5217112"/>
              <a:gd name="connsiteX18856" fmla="*/ 6262263 w 6785952"/>
              <a:gd name="connsiteY18856" fmla="*/ 1592095 h 5217112"/>
              <a:gd name="connsiteX18857" fmla="*/ 6233694 w 6785952"/>
              <a:gd name="connsiteY18857" fmla="*/ 1660530 h 5217112"/>
              <a:gd name="connsiteX18858" fmla="*/ 6235068 w 6785952"/>
              <a:gd name="connsiteY18858" fmla="*/ 1660530 h 5217112"/>
              <a:gd name="connsiteX18859" fmla="*/ 6230673 w 6785952"/>
              <a:gd name="connsiteY18859" fmla="*/ 1682542 h 5217112"/>
              <a:gd name="connsiteX18860" fmla="*/ 6223531 w 6785952"/>
              <a:gd name="connsiteY18860" fmla="*/ 1689843 h 5217112"/>
              <a:gd name="connsiteX18861" fmla="*/ 6230124 w 6785952"/>
              <a:gd name="connsiteY18861" fmla="*/ 1692568 h 5217112"/>
              <a:gd name="connsiteX18862" fmla="*/ 6218587 w 6785952"/>
              <a:gd name="connsiteY18862" fmla="*/ 1699652 h 5217112"/>
              <a:gd name="connsiteX18863" fmla="*/ 6215565 w 6785952"/>
              <a:gd name="connsiteY18863" fmla="*/ 1699869 h 5217112"/>
              <a:gd name="connsiteX18864" fmla="*/ 6215015 w 6785952"/>
              <a:gd name="connsiteY18864" fmla="*/ 1701722 h 5217112"/>
              <a:gd name="connsiteX18865" fmla="*/ 6214191 w 6785952"/>
              <a:gd name="connsiteY18865" fmla="*/ 1703138 h 5217112"/>
              <a:gd name="connsiteX18866" fmla="*/ 6215015 w 6785952"/>
              <a:gd name="connsiteY18866" fmla="*/ 1704773 h 5217112"/>
              <a:gd name="connsiteX18867" fmla="*/ 6217487 w 6785952"/>
              <a:gd name="connsiteY18867" fmla="*/ 1715016 h 5217112"/>
              <a:gd name="connsiteX18868" fmla="*/ 6210345 w 6785952"/>
              <a:gd name="connsiteY18868" fmla="*/ 1718830 h 5217112"/>
              <a:gd name="connsiteX18869" fmla="*/ 6210345 w 6785952"/>
              <a:gd name="connsiteY18869" fmla="*/ 1718722 h 5217112"/>
              <a:gd name="connsiteX18870" fmla="*/ 6209796 w 6785952"/>
              <a:gd name="connsiteY18870" fmla="*/ 1719375 h 5217112"/>
              <a:gd name="connsiteX18871" fmla="*/ 6210071 w 6785952"/>
              <a:gd name="connsiteY18871" fmla="*/ 1719920 h 5217112"/>
              <a:gd name="connsiteX18872" fmla="*/ 6209247 w 6785952"/>
              <a:gd name="connsiteY18872" fmla="*/ 1720683 h 5217112"/>
              <a:gd name="connsiteX18873" fmla="*/ 6207874 w 6785952"/>
              <a:gd name="connsiteY18873" fmla="*/ 1724280 h 5217112"/>
              <a:gd name="connsiteX18874" fmla="*/ 6202379 w 6785952"/>
              <a:gd name="connsiteY18874" fmla="*/ 1731798 h 5217112"/>
              <a:gd name="connsiteX18875" fmla="*/ 6202929 w 6785952"/>
              <a:gd name="connsiteY18875" fmla="*/ 1731907 h 5217112"/>
              <a:gd name="connsiteX18876" fmla="*/ 6217212 w 6785952"/>
              <a:gd name="connsiteY18876" fmla="*/ 1736048 h 5217112"/>
              <a:gd name="connsiteX18877" fmla="*/ 6206224 w 6785952"/>
              <a:gd name="connsiteY18877" fmla="*/ 1748689 h 5217112"/>
              <a:gd name="connsiteX18878" fmla="*/ 6194138 w 6785952"/>
              <a:gd name="connsiteY18878" fmla="*/ 1742913 h 5217112"/>
              <a:gd name="connsiteX18879" fmla="*/ 6194687 w 6785952"/>
              <a:gd name="connsiteY18879" fmla="*/ 1740298 h 5217112"/>
              <a:gd name="connsiteX18880" fmla="*/ 6190567 w 6785952"/>
              <a:gd name="connsiteY18880" fmla="*/ 1742804 h 5217112"/>
              <a:gd name="connsiteX18881" fmla="*/ 6197710 w 6785952"/>
              <a:gd name="connsiteY18881" fmla="*/ 1723626 h 5217112"/>
              <a:gd name="connsiteX18882" fmla="*/ 6200456 w 6785952"/>
              <a:gd name="connsiteY18882" fmla="*/ 1719484 h 5217112"/>
              <a:gd name="connsiteX18883" fmla="*/ 6199632 w 6785952"/>
              <a:gd name="connsiteY18883" fmla="*/ 1718939 h 5217112"/>
              <a:gd name="connsiteX18884" fmla="*/ 6202379 w 6785952"/>
              <a:gd name="connsiteY18884" fmla="*/ 1715344 h 5217112"/>
              <a:gd name="connsiteX18885" fmla="*/ 6201830 w 6785952"/>
              <a:gd name="connsiteY18885" fmla="*/ 1715016 h 5217112"/>
              <a:gd name="connsiteX18886" fmla="*/ 6197984 w 6785952"/>
              <a:gd name="connsiteY18886" fmla="*/ 1710113 h 5217112"/>
              <a:gd name="connsiteX18887" fmla="*/ 6196886 w 6785952"/>
              <a:gd name="connsiteY18887" fmla="*/ 1714907 h 5217112"/>
              <a:gd name="connsiteX18888" fmla="*/ 6190567 w 6785952"/>
              <a:gd name="connsiteY18888" fmla="*/ 1722208 h 5217112"/>
              <a:gd name="connsiteX18889" fmla="*/ 6173261 w 6785952"/>
              <a:gd name="connsiteY18889" fmla="*/ 1757843 h 5217112"/>
              <a:gd name="connsiteX18890" fmla="*/ 6151835 w 6785952"/>
              <a:gd name="connsiteY18890" fmla="*/ 1785304 h 5217112"/>
              <a:gd name="connsiteX18891" fmla="*/ 6143320 w 6785952"/>
              <a:gd name="connsiteY18891" fmla="*/ 1789445 h 5217112"/>
              <a:gd name="connsiteX18892" fmla="*/ 6150462 w 6785952"/>
              <a:gd name="connsiteY18892" fmla="*/ 1789445 h 5217112"/>
              <a:gd name="connsiteX18893" fmla="*/ 6126014 w 6785952"/>
              <a:gd name="connsiteY18893" fmla="*/ 1811348 h 5217112"/>
              <a:gd name="connsiteX18894" fmla="*/ 6120245 w 6785952"/>
              <a:gd name="connsiteY18894" fmla="*/ 1831836 h 5217112"/>
              <a:gd name="connsiteX18895" fmla="*/ 6114134 w 6785952"/>
              <a:gd name="connsiteY18895" fmla="*/ 1842324 h 5217112"/>
              <a:gd name="connsiteX18896" fmla="*/ 6113053 w 6785952"/>
              <a:gd name="connsiteY18896" fmla="*/ 1844293 h 5217112"/>
              <a:gd name="connsiteX18897" fmla="*/ 6098648 w 6785952"/>
              <a:gd name="connsiteY18897" fmla="*/ 1854175 h 5217112"/>
              <a:gd name="connsiteX18898" fmla="*/ 6096723 w 6785952"/>
              <a:gd name="connsiteY18898" fmla="*/ 1856907 h 5217112"/>
              <a:gd name="connsiteX18899" fmla="*/ 6127731 w 6785952"/>
              <a:gd name="connsiteY18899" fmla="*/ 1885382 h 5217112"/>
              <a:gd name="connsiteX18900" fmla="*/ 6196887 w 6785952"/>
              <a:gd name="connsiteY18900" fmla="*/ 1786723 h 5217112"/>
              <a:gd name="connsiteX18901" fmla="*/ 6270983 w 6785952"/>
              <a:gd name="connsiteY18901" fmla="*/ 1682394 h 5217112"/>
              <a:gd name="connsiteX18902" fmla="*/ 6296918 w 6785952"/>
              <a:gd name="connsiteY18902" fmla="*/ 1740228 h 5217112"/>
              <a:gd name="connsiteX18903" fmla="*/ 6320380 w 6785952"/>
              <a:gd name="connsiteY18903" fmla="*/ 1795795 h 5217112"/>
              <a:gd name="connsiteX18904" fmla="*/ 6336157 w 6785952"/>
              <a:gd name="connsiteY18904" fmla="*/ 1830695 h 5217112"/>
              <a:gd name="connsiteX18905" fmla="*/ 6338353 w 6785952"/>
              <a:gd name="connsiteY18905" fmla="*/ 1830637 h 5217112"/>
              <a:gd name="connsiteX18906" fmla="*/ 6340551 w 6785952"/>
              <a:gd name="connsiteY18906" fmla="*/ 1833906 h 5217112"/>
              <a:gd name="connsiteX18907" fmla="*/ 6338409 w 6785952"/>
              <a:gd name="connsiteY18907" fmla="*/ 1835676 h 5217112"/>
              <a:gd name="connsiteX18908" fmla="*/ 6347550 w 6785952"/>
              <a:gd name="connsiteY18908" fmla="*/ 1855897 h 5217112"/>
              <a:gd name="connsiteX18909" fmla="*/ 6375954 w 6785952"/>
              <a:gd name="connsiteY18909" fmla="*/ 1921670 h 5217112"/>
              <a:gd name="connsiteX18910" fmla="*/ 6441405 w 6785952"/>
              <a:gd name="connsiteY18910" fmla="*/ 1818475 h 5217112"/>
              <a:gd name="connsiteX18911" fmla="*/ 6504387 w 6785952"/>
              <a:gd name="connsiteY18911" fmla="*/ 1719816 h 5217112"/>
              <a:gd name="connsiteX18912" fmla="*/ 6567368 w 6785952"/>
              <a:gd name="connsiteY18912" fmla="*/ 1624559 h 5217112"/>
              <a:gd name="connsiteX18913" fmla="*/ 6627881 w 6785952"/>
              <a:gd name="connsiteY18913" fmla="*/ 1529302 h 5217112"/>
              <a:gd name="connsiteX18914" fmla="*/ 6659989 w 6785952"/>
              <a:gd name="connsiteY18914" fmla="*/ 1612084 h 5217112"/>
              <a:gd name="connsiteX18915" fmla="*/ 6688392 w 6785952"/>
              <a:gd name="connsiteY18915" fmla="*/ 1694868 h 5217112"/>
              <a:gd name="connsiteX18916" fmla="*/ 6720501 w 6785952"/>
              <a:gd name="connsiteY18916" fmla="*/ 1774249 h 5217112"/>
              <a:gd name="connsiteX18917" fmla="*/ 6756314 w 6785952"/>
              <a:gd name="connsiteY18917" fmla="*/ 1850228 h 5217112"/>
              <a:gd name="connsiteX18918" fmla="*/ 6774838 w 6785952"/>
              <a:gd name="connsiteY18918" fmla="*/ 1889918 h 5217112"/>
              <a:gd name="connsiteX18919" fmla="*/ 6784718 w 6785952"/>
              <a:gd name="connsiteY18919" fmla="*/ 1930743 h 5217112"/>
              <a:gd name="connsiteX18920" fmla="*/ 6785952 w 6785952"/>
              <a:gd name="connsiteY18920" fmla="*/ 1968165 h 5217112"/>
              <a:gd name="connsiteX18921" fmla="*/ 6783483 w 6785952"/>
              <a:gd name="connsiteY18921" fmla="*/ 2005587 h 5217112"/>
              <a:gd name="connsiteX18922" fmla="*/ 6772368 w 6785952"/>
              <a:gd name="connsiteY18922" fmla="*/ 2040741 h 5217112"/>
              <a:gd name="connsiteX18923" fmla="*/ 6761254 w 6785952"/>
              <a:gd name="connsiteY18923" fmla="*/ 2075896 h 5217112"/>
              <a:gd name="connsiteX18924" fmla="*/ 6745199 w 6785952"/>
              <a:gd name="connsiteY18924" fmla="*/ 2111051 h 5217112"/>
              <a:gd name="connsiteX18925" fmla="*/ 6726676 w 6785952"/>
              <a:gd name="connsiteY18925" fmla="*/ 2145071 h 5217112"/>
              <a:gd name="connsiteX18926" fmla="*/ 6710621 w 6785952"/>
              <a:gd name="connsiteY18926" fmla="*/ 2179091 h 5217112"/>
              <a:gd name="connsiteX18927" fmla="*/ 6693333 w 6785952"/>
              <a:gd name="connsiteY18927" fmla="*/ 2213112 h 5217112"/>
              <a:gd name="connsiteX18928" fmla="*/ 6678513 w 6785952"/>
              <a:gd name="connsiteY18928" fmla="*/ 2248266 h 5217112"/>
              <a:gd name="connsiteX18929" fmla="*/ 6668633 w 6785952"/>
              <a:gd name="connsiteY18929" fmla="*/ 2273214 h 5217112"/>
              <a:gd name="connsiteX18930" fmla="*/ 6652580 w 6785952"/>
              <a:gd name="connsiteY18930" fmla="*/ 2297028 h 5217112"/>
              <a:gd name="connsiteX18931" fmla="*/ 6637759 w 6785952"/>
              <a:gd name="connsiteY18931" fmla="*/ 2319709 h 5217112"/>
              <a:gd name="connsiteX18932" fmla="*/ 6622941 w 6785952"/>
              <a:gd name="connsiteY18932" fmla="*/ 2343523 h 5217112"/>
              <a:gd name="connsiteX18933" fmla="*/ 6606887 w 6785952"/>
              <a:gd name="connsiteY18933" fmla="*/ 2368472 h 5217112"/>
              <a:gd name="connsiteX18934" fmla="*/ 6595771 w 6785952"/>
              <a:gd name="connsiteY18934" fmla="*/ 2393420 h 5217112"/>
              <a:gd name="connsiteX18935" fmla="*/ 6587128 w 6785952"/>
              <a:gd name="connsiteY18935" fmla="*/ 2417234 h 5217112"/>
              <a:gd name="connsiteX18936" fmla="*/ 6583423 w 6785952"/>
              <a:gd name="connsiteY18936" fmla="*/ 2444450 h 5217112"/>
              <a:gd name="connsiteX18937" fmla="*/ 6585893 w 6785952"/>
              <a:gd name="connsiteY18937" fmla="*/ 2473935 h 5217112"/>
              <a:gd name="connsiteX18938" fmla="*/ 6593302 w 6785952"/>
              <a:gd name="connsiteY18938" fmla="*/ 2503419 h 5217112"/>
              <a:gd name="connsiteX18939" fmla="*/ 6610592 w 6785952"/>
              <a:gd name="connsiteY18939" fmla="*/ 2537440 h 5217112"/>
              <a:gd name="connsiteX18940" fmla="*/ 6614297 w 6785952"/>
              <a:gd name="connsiteY18940" fmla="*/ 2547646 h 5217112"/>
              <a:gd name="connsiteX18941" fmla="*/ 6610592 w 6785952"/>
              <a:gd name="connsiteY18941" fmla="*/ 2562388 h 5217112"/>
              <a:gd name="connsiteX18942" fmla="*/ 6604416 w 6785952"/>
              <a:gd name="connsiteY18942" fmla="*/ 2580532 h 5217112"/>
              <a:gd name="connsiteX18943" fmla="*/ 6593302 w 6785952"/>
              <a:gd name="connsiteY18943" fmla="*/ 2599810 h 5217112"/>
              <a:gd name="connsiteX18944" fmla="*/ 6579718 w 6785952"/>
              <a:gd name="connsiteY18944" fmla="*/ 2619088 h 5217112"/>
              <a:gd name="connsiteX18945" fmla="*/ 6563664 w 6785952"/>
              <a:gd name="connsiteY18945" fmla="*/ 2640635 h 5217112"/>
              <a:gd name="connsiteX18946" fmla="*/ 6547609 w 6785952"/>
              <a:gd name="connsiteY18946" fmla="*/ 2661047 h 5217112"/>
              <a:gd name="connsiteX18947" fmla="*/ 6531556 w 6785952"/>
              <a:gd name="connsiteY18947" fmla="*/ 2681459 h 5217112"/>
              <a:gd name="connsiteX18948" fmla="*/ 6517971 w 6785952"/>
              <a:gd name="connsiteY18948" fmla="*/ 2698469 h 5217112"/>
              <a:gd name="connsiteX18949" fmla="*/ 6420411 w 6785952"/>
              <a:gd name="connsiteY18949" fmla="*/ 2811871 h 5217112"/>
              <a:gd name="connsiteX18950" fmla="*/ 6406841 w 6785952"/>
              <a:gd name="connsiteY18950" fmla="*/ 2826611 h 5217112"/>
              <a:gd name="connsiteX18951" fmla="*/ 6489116 w 6785952"/>
              <a:gd name="connsiteY18951" fmla="*/ 2826611 h 5217112"/>
              <a:gd name="connsiteX18952" fmla="*/ 6489116 w 6785952"/>
              <a:gd name="connsiteY18952" fmla="*/ 2874200 h 5217112"/>
              <a:gd name="connsiteX18953" fmla="*/ 6475588 w 6785952"/>
              <a:gd name="connsiteY18953" fmla="*/ 2852619 h 5217112"/>
              <a:gd name="connsiteX18954" fmla="*/ 6474687 w 6785952"/>
              <a:gd name="connsiteY18954" fmla="*/ 2853504 h 5217112"/>
              <a:gd name="connsiteX18955" fmla="*/ 6468675 w 6785952"/>
              <a:gd name="connsiteY18955" fmla="*/ 2856160 h 5217112"/>
              <a:gd name="connsiteX18956" fmla="*/ 6471981 w 6785952"/>
              <a:gd name="connsiteY18956" fmla="*/ 2857599 h 5217112"/>
              <a:gd name="connsiteX18957" fmla="*/ 6471379 w 6785952"/>
              <a:gd name="connsiteY18957" fmla="*/ 2872429 h 5217112"/>
              <a:gd name="connsiteX18958" fmla="*/ 6476189 w 6785952"/>
              <a:gd name="connsiteY18958" fmla="*/ 2879291 h 5217112"/>
              <a:gd name="connsiteX18959" fmla="*/ 6478294 w 6785952"/>
              <a:gd name="connsiteY18959" fmla="*/ 2859481 h 5217112"/>
              <a:gd name="connsiteX18960" fmla="*/ 6484307 w 6785952"/>
              <a:gd name="connsiteY18960" fmla="*/ 2882168 h 5217112"/>
              <a:gd name="connsiteX18961" fmla="*/ 6480399 w 6785952"/>
              <a:gd name="connsiteY18961" fmla="*/ 2896998 h 5217112"/>
              <a:gd name="connsiteX18962" fmla="*/ 6467171 w 6785952"/>
              <a:gd name="connsiteY18962" fmla="*/ 2884271 h 5217112"/>
              <a:gd name="connsiteX18963" fmla="*/ 6465067 w 6785952"/>
              <a:gd name="connsiteY18963" fmla="*/ 2895006 h 5217112"/>
              <a:gd name="connsiteX18964" fmla="*/ 6468074 w 6785952"/>
              <a:gd name="connsiteY18964" fmla="*/ 2903970 h 5217112"/>
              <a:gd name="connsiteX18965" fmla="*/ 6470177 w 6785952"/>
              <a:gd name="connsiteY18965" fmla="*/ 2907955 h 5217112"/>
              <a:gd name="connsiteX18966" fmla="*/ 6471379 w 6785952"/>
              <a:gd name="connsiteY18966" fmla="*/ 2909836 h 5217112"/>
              <a:gd name="connsiteX18967" fmla="*/ 6472282 w 6785952"/>
              <a:gd name="connsiteY18967" fmla="*/ 2911828 h 5217112"/>
              <a:gd name="connsiteX18968" fmla="*/ 6477393 w 6785952"/>
              <a:gd name="connsiteY18968" fmla="*/ 2914816 h 5217112"/>
              <a:gd name="connsiteX18969" fmla="*/ 6487312 w 6785952"/>
              <a:gd name="connsiteY18969" fmla="*/ 2934294 h 5217112"/>
              <a:gd name="connsiteX18970" fmla="*/ 6489116 w 6785952"/>
              <a:gd name="connsiteY18970" fmla="*/ 2935069 h 5217112"/>
              <a:gd name="connsiteX18971" fmla="*/ 6489116 w 6785952"/>
              <a:gd name="connsiteY18971" fmla="*/ 3122989 h 5217112"/>
              <a:gd name="connsiteX18972" fmla="*/ 6485209 w 6785952"/>
              <a:gd name="connsiteY18972" fmla="*/ 3123653 h 5217112"/>
              <a:gd name="connsiteX18973" fmla="*/ 6483405 w 6785952"/>
              <a:gd name="connsiteY18973" fmla="*/ 3125977 h 5217112"/>
              <a:gd name="connsiteX18974" fmla="*/ 6476189 w 6785952"/>
              <a:gd name="connsiteY18974" fmla="*/ 3100191 h 5217112"/>
              <a:gd name="connsiteX18975" fmla="*/ 6464165 w 6785952"/>
              <a:gd name="connsiteY18975" fmla="*/ 3074626 h 5217112"/>
              <a:gd name="connsiteX18976" fmla="*/ 6469276 w 6785952"/>
              <a:gd name="connsiteY18976" fmla="*/ 3051827 h 5217112"/>
              <a:gd name="connsiteX18977" fmla="*/ 6455147 w 6785952"/>
              <a:gd name="connsiteY18977" fmla="*/ 3042088 h 5217112"/>
              <a:gd name="connsiteX18978" fmla="*/ 6464165 w 6785952"/>
              <a:gd name="connsiteY18978" fmla="*/ 3037108 h 5217112"/>
              <a:gd name="connsiteX18979" fmla="*/ 6449134 w 6785952"/>
              <a:gd name="connsiteY18979" fmla="*/ 3014420 h 5217112"/>
              <a:gd name="connsiteX18980" fmla="*/ 6453944 w 6785952"/>
              <a:gd name="connsiteY18980" fmla="*/ 3010547 h 5217112"/>
              <a:gd name="connsiteX18981" fmla="*/ 6444023 w 6785952"/>
              <a:gd name="connsiteY18981" fmla="*/ 2998705 h 5217112"/>
              <a:gd name="connsiteX18982" fmla="*/ 6447932 w 6785952"/>
              <a:gd name="connsiteY18982" fmla="*/ 2999701 h 5217112"/>
              <a:gd name="connsiteX18983" fmla="*/ 6439815 w 6785952"/>
              <a:gd name="connsiteY18983" fmla="*/ 2988745 h 5217112"/>
              <a:gd name="connsiteX18984" fmla="*/ 6441018 w 6785952"/>
              <a:gd name="connsiteY18984" fmla="*/ 2967053 h 5217112"/>
              <a:gd name="connsiteX18985" fmla="*/ 6424785 w 6785952"/>
              <a:gd name="connsiteY18985" fmla="*/ 2955211 h 5217112"/>
              <a:gd name="connsiteX18986" fmla="*/ 6421778 w 6785952"/>
              <a:gd name="connsiteY18986" fmla="*/ 2939496 h 5217112"/>
              <a:gd name="connsiteX18987" fmla="*/ 6419674 w 6785952"/>
              <a:gd name="connsiteY18987" fmla="*/ 2932524 h 5217112"/>
              <a:gd name="connsiteX18988" fmla="*/ 6419674 w 6785952"/>
              <a:gd name="connsiteY18988" fmla="*/ 2930531 h 5217112"/>
              <a:gd name="connsiteX18989" fmla="*/ 6417871 w 6785952"/>
              <a:gd name="connsiteY18989" fmla="*/ 2928539 h 5217112"/>
              <a:gd name="connsiteX18990" fmla="*/ 6414564 w 6785952"/>
              <a:gd name="connsiteY18990" fmla="*/ 2925551 h 5217112"/>
              <a:gd name="connsiteX18991" fmla="*/ 6413662 w 6785952"/>
              <a:gd name="connsiteY18991" fmla="*/ 2909836 h 5217112"/>
              <a:gd name="connsiteX18992" fmla="*/ 6402539 w 6785952"/>
              <a:gd name="connsiteY18992" fmla="*/ 2894010 h 5217112"/>
              <a:gd name="connsiteX18993" fmla="*/ 6397429 w 6785952"/>
              <a:gd name="connsiteY18993" fmla="*/ 2886152 h 5217112"/>
              <a:gd name="connsiteX18994" fmla="*/ 6395626 w 6785952"/>
              <a:gd name="connsiteY18994" fmla="*/ 2884271 h 5217112"/>
              <a:gd name="connsiteX18995" fmla="*/ 6395626 w 6785952"/>
              <a:gd name="connsiteY18995" fmla="*/ 2883164 h 5217112"/>
              <a:gd name="connsiteX18996" fmla="*/ 6394423 w 6785952"/>
              <a:gd name="connsiteY18996" fmla="*/ 2882168 h 5217112"/>
              <a:gd name="connsiteX18997" fmla="*/ 6393520 w 6785952"/>
              <a:gd name="connsiteY18997" fmla="*/ 2880287 h 5217112"/>
              <a:gd name="connsiteX18998" fmla="*/ 6379392 w 6785952"/>
              <a:gd name="connsiteY18998" fmla="*/ 2865346 h 5217112"/>
              <a:gd name="connsiteX18999" fmla="*/ 6369255 w 6785952"/>
              <a:gd name="connsiteY18999" fmla="*/ 2867439 h 5217112"/>
              <a:gd name="connsiteX19000" fmla="*/ 6352191 w 6785952"/>
              <a:gd name="connsiteY19000" fmla="*/ 2885975 h 5217112"/>
              <a:gd name="connsiteX19001" fmla="*/ 6365263 w 6785952"/>
              <a:gd name="connsiteY19001" fmla="*/ 2896113 h 5217112"/>
              <a:gd name="connsiteX19002" fmla="*/ 6365263 w 6785952"/>
              <a:gd name="connsiteY19002" fmla="*/ 2896998 h 5217112"/>
              <a:gd name="connsiteX19003" fmla="*/ 6366164 w 6785952"/>
              <a:gd name="connsiteY19003" fmla="*/ 2897994 h 5217112"/>
              <a:gd name="connsiteX19004" fmla="*/ 6366164 w 6785952"/>
              <a:gd name="connsiteY19004" fmla="*/ 2898990 h 5217112"/>
              <a:gd name="connsiteX19005" fmla="*/ 6368270 w 6785952"/>
              <a:gd name="connsiteY19005" fmla="*/ 2903970 h 5217112"/>
              <a:gd name="connsiteX19006" fmla="*/ 6372177 w 6785952"/>
              <a:gd name="connsiteY19006" fmla="*/ 2913710 h 5217112"/>
              <a:gd name="connsiteX19007" fmla="*/ 6380294 w 6785952"/>
              <a:gd name="connsiteY19007" fmla="*/ 2932524 h 5217112"/>
              <a:gd name="connsiteX19008" fmla="*/ 6385405 w 6785952"/>
              <a:gd name="connsiteY19008" fmla="*/ 2941377 h 5217112"/>
              <a:gd name="connsiteX19009" fmla="*/ 6386306 w 6785952"/>
              <a:gd name="connsiteY19009" fmla="*/ 2943369 h 5217112"/>
              <a:gd name="connsiteX19010" fmla="*/ 6386306 w 6785952"/>
              <a:gd name="connsiteY19010" fmla="*/ 2945361 h 5217112"/>
              <a:gd name="connsiteX19011" fmla="*/ 6388410 w 6785952"/>
              <a:gd name="connsiteY19011" fmla="*/ 2949235 h 5217112"/>
              <a:gd name="connsiteX19012" fmla="*/ 6395626 w 6785952"/>
              <a:gd name="connsiteY19012" fmla="*/ 2965061 h 5217112"/>
              <a:gd name="connsiteX19013" fmla="*/ 6401638 w 6785952"/>
              <a:gd name="connsiteY19013" fmla="*/ 2980887 h 5217112"/>
              <a:gd name="connsiteX19014" fmla="*/ 6406447 w 6785952"/>
              <a:gd name="connsiteY19014" fmla="*/ 2996602 h 5217112"/>
              <a:gd name="connsiteX19015" fmla="*/ 6412761 w 6785952"/>
              <a:gd name="connsiteY19015" fmla="*/ 3028144 h 5217112"/>
              <a:gd name="connsiteX19016" fmla="*/ 6416668 w 6785952"/>
              <a:gd name="connsiteY19016" fmla="*/ 3073630 h 5217112"/>
              <a:gd name="connsiteX19017" fmla="*/ 6421778 w 6785952"/>
              <a:gd name="connsiteY19017" fmla="*/ 3100191 h 5217112"/>
              <a:gd name="connsiteX19018" fmla="*/ 6423883 w 6785952"/>
              <a:gd name="connsiteY19018" fmla="*/ 3106167 h 5217112"/>
              <a:gd name="connsiteX19019" fmla="*/ 6424785 w 6785952"/>
              <a:gd name="connsiteY19019" fmla="*/ 3113139 h 5217112"/>
              <a:gd name="connsiteX19020" fmla="*/ 6427791 w 6785952"/>
              <a:gd name="connsiteY19020" fmla="*/ 3125977 h 5217112"/>
              <a:gd name="connsiteX19021" fmla="*/ 6439515 w 6785952"/>
              <a:gd name="connsiteY19021" fmla="*/ 3179210 h 5217112"/>
              <a:gd name="connsiteX19022" fmla="*/ 6445828 w 6785952"/>
              <a:gd name="connsiteY19022" fmla="*/ 3173566 h 5217112"/>
              <a:gd name="connsiteX19023" fmla="*/ 6453343 w 6785952"/>
              <a:gd name="connsiteY19023" fmla="*/ 3172127 h 5217112"/>
              <a:gd name="connsiteX19024" fmla="*/ 6461159 w 6785952"/>
              <a:gd name="connsiteY19024" fmla="*/ 3175115 h 5217112"/>
              <a:gd name="connsiteX19025" fmla="*/ 6468374 w 6785952"/>
              <a:gd name="connsiteY19025" fmla="*/ 3180981 h 5217112"/>
              <a:gd name="connsiteX19026" fmla="*/ 6468074 w 6785952"/>
              <a:gd name="connsiteY19026" fmla="*/ 3176886 h 5217112"/>
              <a:gd name="connsiteX19027" fmla="*/ 6474086 w 6785952"/>
              <a:gd name="connsiteY19027" fmla="*/ 3194593 h 5217112"/>
              <a:gd name="connsiteX19028" fmla="*/ 6476189 w 6785952"/>
              <a:gd name="connsiteY19028" fmla="*/ 3190609 h 5217112"/>
              <a:gd name="connsiteX19029" fmla="*/ 6478294 w 6785952"/>
              <a:gd name="connsiteY19029" fmla="*/ 3196585 h 5217112"/>
              <a:gd name="connsiteX19030" fmla="*/ 6482202 w 6785952"/>
              <a:gd name="connsiteY19030" fmla="*/ 3175890 h 5217112"/>
              <a:gd name="connsiteX19031" fmla="*/ 6485209 w 6785952"/>
              <a:gd name="connsiteY19031" fmla="*/ 3166040 h 5217112"/>
              <a:gd name="connsiteX19032" fmla="*/ 6487312 w 6785952"/>
              <a:gd name="connsiteY19032" fmla="*/ 3153202 h 5217112"/>
              <a:gd name="connsiteX19033" fmla="*/ 6489116 w 6785952"/>
              <a:gd name="connsiteY19033" fmla="*/ 3152649 h 5217112"/>
              <a:gd name="connsiteX19034" fmla="*/ 6489116 w 6785952"/>
              <a:gd name="connsiteY19034" fmla="*/ 3333154 h 5217112"/>
              <a:gd name="connsiteX19035" fmla="*/ 6486711 w 6785952"/>
              <a:gd name="connsiteY19035" fmla="*/ 3340790 h 5217112"/>
              <a:gd name="connsiteX19036" fmla="*/ 6482202 w 6785952"/>
              <a:gd name="connsiteY19036" fmla="*/ 3357391 h 5217112"/>
              <a:gd name="connsiteX19037" fmla="*/ 6472282 w 6785952"/>
              <a:gd name="connsiteY19037" fmla="*/ 3391035 h 5217112"/>
              <a:gd name="connsiteX19038" fmla="*/ 6459956 w 6785952"/>
              <a:gd name="connsiteY19038" fmla="*/ 3416600 h 5217112"/>
              <a:gd name="connsiteX19039" fmla="*/ 6461159 w 6785952"/>
              <a:gd name="connsiteY19039" fmla="*/ 3425454 h 5217112"/>
              <a:gd name="connsiteX19040" fmla="*/ 6459055 w 6785952"/>
              <a:gd name="connsiteY19040" fmla="*/ 3432426 h 5217112"/>
              <a:gd name="connsiteX19041" fmla="*/ 6459956 w 6785952"/>
              <a:gd name="connsiteY19041" fmla="*/ 3442276 h 5217112"/>
              <a:gd name="connsiteX19042" fmla="*/ 6456049 w 6785952"/>
              <a:gd name="connsiteY19042" fmla="*/ 3436300 h 5217112"/>
              <a:gd name="connsiteX19043" fmla="*/ 6451840 w 6785952"/>
              <a:gd name="connsiteY19043" fmla="*/ 3471825 h 5217112"/>
              <a:gd name="connsiteX19044" fmla="*/ 6447030 w 6785952"/>
              <a:gd name="connsiteY19044" fmla="*/ 3507351 h 5217112"/>
              <a:gd name="connsiteX19045" fmla="*/ 6458153 w 6785952"/>
              <a:gd name="connsiteY19045" fmla="*/ 3498607 h 5217112"/>
              <a:gd name="connsiteX19046" fmla="*/ 6451840 w 6785952"/>
              <a:gd name="connsiteY19046" fmla="*/ 3513327 h 5217112"/>
              <a:gd name="connsiteX19047" fmla="*/ 6444926 w 6785952"/>
              <a:gd name="connsiteY19047" fmla="*/ 3525169 h 5217112"/>
              <a:gd name="connsiteX19048" fmla="*/ 6441018 w 6785952"/>
              <a:gd name="connsiteY19048" fmla="*/ 3550734 h 5217112"/>
              <a:gd name="connsiteX19049" fmla="*/ 6428692 w 6785952"/>
              <a:gd name="connsiteY19049" fmla="*/ 3556710 h 5217112"/>
              <a:gd name="connsiteX19050" fmla="*/ 6431698 w 6785952"/>
              <a:gd name="connsiteY19050" fmla="*/ 3567556 h 5217112"/>
              <a:gd name="connsiteX19051" fmla="*/ 6426888 w 6785952"/>
              <a:gd name="connsiteY19051" fmla="*/ 3560694 h 5217112"/>
              <a:gd name="connsiteX19052" fmla="*/ 6415766 w 6785952"/>
              <a:gd name="connsiteY19052" fmla="*/ 3585374 h 5217112"/>
              <a:gd name="connsiteX19053" fmla="*/ 6428692 w 6785952"/>
              <a:gd name="connsiteY19053" fmla="*/ 3587255 h 5217112"/>
              <a:gd name="connsiteX19054" fmla="*/ 6431698 w 6785952"/>
              <a:gd name="connsiteY19054" fmla="*/ 3572536 h 5217112"/>
              <a:gd name="connsiteX19055" fmla="*/ 6433803 w 6785952"/>
              <a:gd name="connsiteY19055" fmla="*/ 3598101 h 5217112"/>
              <a:gd name="connsiteX19056" fmla="*/ 6428692 w 6785952"/>
              <a:gd name="connsiteY19056" fmla="*/ 3590243 h 5217112"/>
              <a:gd name="connsiteX19057" fmla="*/ 6414564 w 6785952"/>
              <a:gd name="connsiteY19057" fmla="*/ 3592235 h 5217112"/>
              <a:gd name="connsiteX19058" fmla="*/ 6409753 w 6785952"/>
              <a:gd name="connsiteY19058" fmla="*/ 3607065 h 5217112"/>
              <a:gd name="connsiteX19059" fmla="*/ 6415766 w 6785952"/>
              <a:gd name="connsiteY19059" fmla="*/ 3602085 h 5217112"/>
              <a:gd name="connsiteX19060" fmla="*/ 6418773 w 6785952"/>
              <a:gd name="connsiteY19060" fmla="*/ 3616915 h 5217112"/>
              <a:gd name="connsiteX19061" fmla="*/ 6399532 w 6785952"/>
              <a:gd name="connsiteY19061" fmla="*/ 3615919 h 5217112"/>
              <a:gd name="connsiteX19062" fmla="*/ 6393520 w 6785952"/>
              <a:gd name="connsiteY19062" fmla="*/ 3629642 h 5217112"/>
              <a:gd name="connsiteX19063" fmla="*/ 6387508 w 6785952"/>
              <a:gd name="connsiteY19063" fmla="*/ 3642591 h 5217112"/>
              <a:gd name="connsiteX19064" fmla="*/ 6403441 w 6785952"/>
              <a:gd name="connsiteY19064" fmla="*/ 3632741 h 5217112"/>
              <a:gd name="connsiteX19065" fmla="*/ 6395324 w 6785952"/>
              <a:gd name="connsiteY19065" fmla="*/ 3641152 h 5217112"/>
              <a:gd name="connsiteX19066" fmla="*/ 6395324 w 6785952"/>
              <a:gd name="connsiteY19066" fmla="*/ 3649342 h 5217112"/>
              <a:gd name="connsiteX19067" fmla="*/ 6401037 w 6785952"/>
              <a:gd name="connsiteY19067" fmla="*/ 3646354 h 5217112"/>
              <a:gd name="connsiteX19068" fmla="*/ 6406146 w 6785952"/>
              <a:gd name="connsiteY19068" fmla="*/ 3656868 h 5217112"/>
              <a:gd name="connsiteX19069" fmla="*/ 6394723 w 6785952"/>
              <a:gd name="connsiteY19069" fmla="*/ 3657421 h 5217112"/>
              <a:gd name="connsiteX19070" fmla="*/ 6394723 w 6785952"/>
              <a:gd name="connsiteY19070" fmla="*/ 3652994 h 5217112"/>
              <a:gd name="connsiteX19071" fmla="*/ 6392018 w 6785952"/>
              <a:gd name="connsiteY19071" fmla="*/ 3651555 h 5217112"/>
              <a:gd name="connsiteX19072" fmla="*/ 6380294 w 6785952"/>
              <a:gd name="connsiteY19072" fmla="*/ 3662290 h 5217112"/>
              <a:gd name="connsiteX19073" fmla="*/ 6377287 w 6785952"/>
              <a:gd name="connsiteY19073" fmla="*/ 3684978 h 5217112"/>
              <a:gd name="connsiteX19074" fmla="*/ 6366164 w 6785952"/>
              <a:gd name="connsiteY19074" fmla="*/ 3696820 h 5217112"/>
              <a:gd name="connsiteX19075" fmla="*/ 6356244 w 6785952"/>
              <a:gd name="connsiteY19075" fmla="*/ 3699808 h 5217112"/>
              <a:gd name="connsiteX19076" fmla="*/ 6344821 w 6785952"/>
              <a:gd name="connsiteY19076" fmla="*/ 3710654 h 5217112"/>
              <a:gd name="connsiteX19077" fmla="*/ 6351135 w 6785952"/>
              <a:gd name="connsiteY19077" fmla="*/ 3709658 h 5217112"/>
              <a:gd name="connsiteX19078" fmla="*/ 6340012 w 6785952"/>
              <a:gd name="connsiteY19078" fmla="*/ 3718512 h 5217112"/>
              <a:gd name="connsiteX19079" fmla="*/ 6331894 w 6785952"/>
              <a:gd name="connsiteY19079" fmla="*/ 3732235 h 5217112"/>
              <a:gd name="connsiteX19080" fmla="*/ 6326784 w 6785952"/>
              <a:gd name="connsiteY19080" fmla="*/ 3731349 h 5217112"/>
              <a:gd name="connsiteX19081" fmla="*/ 6328888 w 6785952"/>
              <a:gd name="connsiteY19081" fmla="*/ 3739318 h 5217112"/>
              <a:gd name="connsiteX19082" fmla="*/ 6321673 w 6785952"/>
              <a:gd name="connsiteY19082" fmla="*/ 3735334 h 5217112"/>
              <a:gd name="connsiteX19083" fmla="*/ 6318668 w 6785952"/>
              <a:gd name="connsiteY19083" fmla="*/ 3759017 h 5217112"/>
              <a:gd name="connsiteX19084" fmla="*/ 6305741 w 6785952"/>
              <a:gd name="connsiteY19084" fmla="*/ 3761895 h 5217112"/>
              <a:gd name="connsiteX19085" fmla="*/ 6299428 w 6785952"/>
              <a:gd name="connsiteY19085" fmla="*/ 3770859 h 5217112"/>
              <a:gd name="connsiteX19086" fmla="*/ 6302435 w 6785952"/>
              <a:gd name="connsiteY19086" fmla="*/ 3779602 h 5217112"/>
              <a:gd name="connsiteX19087" fmla="*/ 6287403 w 6785952"/>
              <a:gd name="connsiteY19087" fmla="*/ 3795428 h 5217112"/>
              <a:gd name="connsiteX19088" fmla="*/ 6266360 w 6785952"/>
              <a:gd name="connsiteY19088" fmla="*/ 3810258 h 5217112"/>
              <a:gd name="connsiteX19089" fmla="*/ 6265670 w 6785952"/>
              <a:gd name="connsiteY19089" fmla="*/ 3813507 h 5217112"/>
              <a:gd name="connsiteX19090" fmla="*/ 6265158 w 6785952"/>
              <a:gd name="connsiteY19090" fmla="*/ 3813800 h 5217112"/>
              <a:gd name="connsiteX19091" fmla="*/ 6265498 w 6785952"/>
              <a:gd name="connsiteY19091" fmla="*/ 3814318 h 5217112"/>
              <a:gd name="connsiteX19092" fmla="*/ 6262152 w 6785952"/>
              <a:gd name="connsiteY19092" fmla="*/ 3830068 h 5217112"/>
              <a:gd name="connsiteX19093" fmla="*/ 6250128 w 6785952"/>
              <a:gd name="connsiteY19093" fmla="*/ 3836930 h 5217112"/>
              <a:gd name="connsiteX19094" fmla="*/ 6248023 w 6785952"/>
              <a:gd name="connsiteY19094" fmla="*/ 3847776 h 5217112"/>
              <a:gd name="connsiteX19095" fmla="*/ 6284397 w 6785952"/>
              <a:gd name="connsiteY19095" fmla="*/ 3818226 h 5217112"/>
              <a:gd name="connsiteX19096" fmla="*/ 6267262 w 6785952"/>
              <a:gd name="connsiteY19096" fmla="*/ 3819112 h 5217112"/>
              <a:gd name="connsiteX19097" fmla="*/ 6268165 w 6785952"/>
              <a:gd name="connsiteY19097" fmla="*/ 3817562 h 5217112"/>
              <a:gd name="connsiteX19098" fmla="*/ 6267262 w 6785952"/>
              <a:gd name="connsiteY19098" fmla="*/ 3817009 h 5217112"/>
              <a:gd name="connsiteX19099" fmla="*/ 6265498 w 6785952"/>
              <a:gd name="connsiteY19099" fmla="*/ 3814318 h 5217112"/>
              <a:gd name="connsiteX19100" fmla="*/ 6265670 w 6785952"/>
              <a:gd name="connsiteY19100" fmla="*/ 3813507 h 5217112"/>
              <a:gd name="connsiteX19101" fmla="*/ 6267863 w 6785952"/>
              <a:gd name="connsiteY19101" fmla="*/ 3812250 h 5217112"/>
              <a:gd name="connsiteX19102" fmla="*/ 6266962 w 6785952"/>
              <a:gd name="connsiteY19102" fmla="*/ 3810922 h 5217112"/>
              <a:gd name="connsiteX19103" fmla="*/ 6270569 w 6785952"/>
              <a:gd name="connsiteY19103" fmla="*/ 3810590 h 5217112"/>
              <a:gd name="connsiteX19104" fmla="*/ 6271170 w 6785952"/>
              <a:gd name="connsiteY19104" fmla="*/ 3812029 h 5217112"/>
              <a:gd name="connsiteX19105" fmla="*/ 6272373 w 6785952"/>
              <a:gd name="connsiteY19105" fmla="*/ 3810258 h 5217112"/>
              <a:gd name="connsiteX19106" fmla="*/ 6277182 w 6785952"/>
              <a:gd name="connsiteY19106" fmla="*/ 3801404 h 5217112"/>
              <a:gd name="connsiteX19107" fmla="*/ 6274177 w 6785952"/>
              <a:gd name="connsiteY19107" fmla="*/ 3807270 h 5217112"/>
              <a:gd name="connsiteX19108" fmla="*/ 6312656 w 6785952"/>
              <a:gd name="connsiteY19108" fmla="*/ 3795428 h 5217112"/>
              <a:gd name="connsiteX19109" fmla="*/ 6289508 w 6785952"/>
              <a:gd name="connsiteY19109" fmla="*/ 3813246 h 5217112"/>
              <a:gd name="connsiteX19110" fmla="*/ 6275379 w 6785952"/>
              <a:gd name="connsiteY19110" fmla="*/ 3853752 h 5217112"/>
              <a:gd name="connsiteX19111" fmla="*/ 6257042 w 6785952"/>
              <a:gd name="connsiteY19111" fmla="*/ 3882194 h 5217112"/>
              <a:gd name="connsiteX19112" fmla="*/ 6259146 w 6785952"/>
              <a:gd name="connsiteY19112" fmla="*/ 3864487 h 5217112"/>
              <a:gd name="connsiteX19113" fmla="*/ 6244114 w 6785952"/>
              <a:gd name="connsiteY19113" fmla="*/ 3877436 h 5217112"/>
              <a:gd name="connsiteX19114" fmla="*/ 6250128 w 6785952"/>
              <a:gd name="connsiteY19114" fmla="*/ 3885293 h 5217112"/>
              <a:gd name="connsiteX19115" fmla="*/ 6239005 w 6785952"/>
              <a:gd name="connsiteY19115" fmla="*/ 3891712 h 5217112"/>
              <a:gd name="connsiteX19116" fmla="*/ 6248023 w 6785952"/>
              <a:gd name="connsiteY19116" fmla="*/ 3893483 h 5217112"/>
              <a:gd name="connsiteX19117" fmla="*/ 6253434 w 6785952"/>
              <a:gd name="connsiteY19117" fmla="*/ 3896250 h 5217112"/>
              <a:gd name="connsiteX19118" fmla="*/ 6255839 w 6785952"/>
              <a:gd name="connsiteY19118" fmla="*/ 3897467 h 5217112"/>
              <a:gd name="connsiteX19119" fmla="*/ 6264857 w 6785952"/>
              <a:gd name="connsiteY19119" fmla="*/ 3889277 h 5217112"/>
              <a:gd name="connsiteX19120" fmla="*/ 6273275 w 6785952"/>
              <a:gd name="connsiteY19120" fmla="*/ 3887175 h 5217112"/>
              <a:gd name="connsiteX19121" fmla="*/ 6298526 w 6785952"/>
              <a:gd name="connsiteY19121" fmla="*/ 3867475 h 5217112"/>
              <a:gd name="connsiteX19122" fmla="*/ 6319870 w 6785952"/>
              <a:gd name="connsiteY19122" fmla="*/ 3847776 h 5217112"/>
              <a:gd name="connsiteX19123" fmla="*/ 6324380 w 6785952"/>
              <a:gd name="connsiteY19123" fmla="*/ 3842795 h 5217112"/>
              <a:gd name="connsiteX19124" fmla="*/ 6316864 w 6785952"/>
              <a:gd name="connsiteY19124" fmla="*/ 3836487 h 5217112"/>
              <a:gd name="connsiteX19125" fmla="*/ 6332796 w 6785952"/>
              <a:gd name="connsiteY19125" fmla="*/ 3826527 h 5217112"/>
              <a:gd name="connsiteX19126" fmla="*/ 6333999 w 6785952"/>
              <a:gd name="connsiteY19126" fmla="*/ 3832392 h 5217112"/>
              <a:gd name="connsiteX19127" fmla="*/ 6338809 w 6785952"/>
              <a:gd name="connsiteY19127" fmla="*/ 3826969 h 5217112"/>
              <a:gd name="connsiteX19128" fmla="*/ 6357147 w 6785952"/>
              <a:gd name="connsiteY19128" fmla="*/ 3808266 h 5217112"/>
              <a:gd name="connsiteX19129" fmla="*/ 6359250 w 6785952"/>
              <a:gd name="connsiteY19129" fmla="*/ 3815128 h 5217112"/>
              <a:gd name="connsiteX19130" fmla="*/ 6368270 w 6785952"/>
              <a:gd name="connsiteY19130" fmla="*/ 3808266 h 5217112"/>
              <a:gd name="connsiteX19131" fmla="*/ 6359250 w 6785952"/>
              <a:gd name="connsiteY19131" fmla="*/ 3806385 h 5217112"/>
              <a:gd name="connsiteX19132" fmla="*/ 6381496 w 6785952"/>
              <a:gd name="connsiteY19132" fmla="*/ 3778717 h 5217112"/>
              <a:gd name="connsiteX19133" fmla="*/ 6404643 w 6785952"/>
              <a:gd name="connsiteY19133" fmla="*/ 3750053 h 5217112"/>
              <a:gd name="connsiteX19134" fmla="*/ 6405545 w 6785952"/>
              <a:gd name="connsiteY19134" fmla="*/ 3759017 h 5217112"/>
              <a:gd name="connsiteX19135" fmla="*/ 6412761 w 6785952"/>
              <a:gd name="connsiteY19135" fmla="*/ 3741199 h 5217112"/>
              <a:gd name="connsiteX19136" fmla="*/ 6409753 w 6785952"/>
              <a:gd name="connsiteY19136" fmla="*/ 3751160 h 5217112"/>
              <a:gd name="connsiteX19137" fmla="*/ 6426888 w 6785952"/>
              <a:gd name="connsiteY19137" fmla="*/ 3728361 h 5217112"/>
              <a:gd name="connsiteX19138" fmla="*/ 6421778 w 6785952"/>
              <a:gd name="connsiteY19138" fmla="*/ 3728361 h 5217112"/>
              <a:gd name="connsiteX19139" fmla="*/ 6431698 w 6785952"/>
              <a:gd name="connsiteY19139" fmla="*/ 3717515 h 5217112"/>
              <a:gd name="connsiteX19140" fmla="*/ 6442821 w 6785952"/>
              <a:gd name="connsiteY19140" fmla="*/ 3704678 h 5217112"/>
              <a:gd name="connsiteX19141" fmla="*/ 6450938 w 6785952"/>
              <a:gd name="connsiteY19141" fmla="*/ 3680108 h 5217112"/>
              <a:gd name="connsiteX19142" fmla="*/ 6459956 w 6785952"/>
              <a:gd name="connsiteY19142" fmla="*/ 3675128 h 5217112"/>
              <a:gd name="connsiteX19143" fmla="*/ 6456049 w 6785952"/>
              <a:gd name="connsiteY19143" fmla="*/ 3667271 h 5217112"/>
              <a:gd name="connsiteX19144" fmla="*/ 6485209 w 6785952"/>
              <a:gd name="connsiteY19144" fmla="*/ 3625769 h 5217112"/>
              <a:gd name="connsiteX19145" fmla="*/ 6480399 w 6785952"/>
              <a:gd name="connsiteY19145" fmla="*/ 3657310 h 5217112"/>
              <a:gd name="connsiteX19146" fmla="*/ 6488515 w 6785952"/>
              <a:gd name="connsiteY19146" fmla="*/ 3642591 h 5217112"/>
              <a:gd name="connsiteX19147" fmla="*/ 6489116 w 6785952"/>
              <a:gd name="connsiteY19147" fmla="*/ 3641152 h 5217112"/>
              <a:gd name="connsiteX19148" fmla="*/ 6489116 w 6785952"/>
              <a:gd name="connsiteY19148" fmla="*/ 3680108 h 5217112"/>
              <a:gd name="connsiteX19149" fmla="*/ 6486411 w 6785952"/>
              <a:gd name="connsiteY19149" fmla="*/ 3684978 h 5217112"/>
              <a:gd name="connsiteX19150" fmla="*/ 6469276 w 6785952"/>
              <a:gd name="connsiteY19150" fmla="*/ 3711650 h 5217112"/>
              <a:gd name="connsiteX19151" fmla="*/ 6465067 w 6785952"/>
              <a:gd name="connsiteY19151" fmla="*/ 3703792 h 5217112"/>
              <a:gd name="connsiteX19152" fmla="*/ 6461159 w 6785952"/>
              <a:gd name="connsiteY19152" fmla="*/ 3734338 h 5217112"/>
              <a:gd name="connsiteX19153" fmla="*/ 6447030 w 6785952"/>
              <a:gd name="connsiteY19153" fmla="*/ 3759903 h 5217112"/>
              <a:gd name="connsiteX19154" fmla="*/ 6437110 w 6785952"/>
              <a:gd name="connsiteY19154" fmla="*/ 3764219 h 5217112"/>
              <a:gd name="connsiteX19155" fmla="*/ 6431698 w 6785952"/>
              <a:gd name="connsiteY19155" fmla="*/ 3768756 h 5217112"/>
              <a:gd name="connsiteX19156" fmla="*/ 6434405 w 6785952"/>
              <a:gd name="connsiteY19156" fmla="*/ 3767982 h 5217112"/>
              <a:gd name="connsiteX19157" fmla="*/ 6448232 w 6785952"/>
              <a:gd name="connsiteY19157" fmla="*/ 3773847 h 5217112"/>
              <a:gd name="connsiteX19158" fmla="*/ 6435006 w 6785952"/>
              <a:gd name="connsiteY19158" fmla="*/ 3792440 h 5217112"/>
              <a:gd name="connsiteX19159" fmla="*/ 6431999 w 6785952"/>
              <a:gd name="connsiteY19159" fmla="*/ 3793768 h 5217112"/>
              <a:gd name="connsiteX19160" fmla="*/ 6431398 w 6785952"/>
              <a:gd name="connsiteY19160" fmla="*/ 3795317 h 5217112"/>
              <a:gd name="connsiteX19161" fmla="*/ 6422981 w 6785952"/>
              <a:gd name="connsiteY19161" fmla="*/ 3801183 h 5217112"/>
              <a:gd name="connsiteX19162" fmla="*/ 6410054 w 6785952"/>
              <a:gd name="connsiteY19162" fmla="*/ 3810922 h 5217112"/>
              <a:gd name="connsiteX19163" fmla="*/ 6401037 w 6785952"/>
              <a:gd name="connsiteY19163" fmla="*/ 3803286 h 5217112"/>
              <a:gd name="connsiteX19164" fmla="*/ 6401638 w 6785952"/>
              <a:gd name="connsiteY19164" fmla="*/ 3800408 h 5217112"/>
              <a:gd name="connsiteX19165" fmla="*/ 6399532 w 6785952"/>
              <a:gd name="connsiteY19165" fmla="*/ 3802400 h 5217112"/>
              <a:gd name="connsiteX19166" fmla="*/ 6385405 w 6785952"/>
              <a:gd name="connsiteY19166" fmla="*/ 3817230 h 5217112"/>
              <a:gd name="connsiteX19167" fmla="*/ 6388410 w 6785952"/>
              <a:gd name="connsiteY19167" fmla="*/ 3822985 h 5217112"/>
              <a:gd name="connsiteX19168" fmla="*/ 6376085 w 6785952"/>
              <a:gd name="connsiteY19168" fmla="*/ 3837926 h 5217112"/>
              <a:gd name="connsiteX19169" fmla="*/ 6357147 w 6785952"/>
              <a:gd name="connsiteY19169" fmla="*/ 3843791 h 5217112"/>
              <a:gd name="connsiteX19170" fmla="*/ 6351135 w 6785952"/>
              <a:gd name="connsiteY19170" fmla="*/ 3846669 h 5217112"/>
              <a:gd name="connsiteX19171" fmla="*/ 6343017 w 6785952"/>
              <a:gd name="connsiteY19171" fmla="*/ 3863491 h 5217112"/>
              <a:gd name="connsiteX19172" fmla="*/ 6331894 w 6785952"/>
              <a:gd name="connsiteY19172" fmla="*/ 3866479 h 5217112"/>
              <a:gd name="connsiteX19173" fmla="*/ 6322576 w 6785952"/>
              <a:gd name="connsiteY19173" fmla="*/ 3874337 h 5217112"/>
              <a:gd name="connsiteX19174" fmla="*/ 6307545 w 6785952"/>
              <a:gd name="connsiteY19174" fmla="*/ 3889167 h 5217112"/>
              <a:gd name="connsiteX19175" fmla="*/ 6303637 w 6785952"/>
              <a:gd name="connsiteY19175" fmla="*/ 3906874 h 5217112"/>
              <a:gd name="connsiteX19176" fmla="*/ 6269067 w 6785952"/>
              <a:gd name="connsiteY19176" fmla="*/ 3937641 h 5217112"/>
              <a:gd name="connsiteX19177" fmla="*/ 6271170 w 6785952"/>
              <a:gd name="connsiteY19177" fmla="*/ 3928676 h 5217112"/>
              <a:gd name="connsiteX19178" fmla="*/ 6263054 w 6785952"/>
              <a:gd name="connsiteY19178" fmla="*/ 3935538 h 5217112"/>
              <a:gd name="connsiteX19179" fmla="*/ 6254937 w 6785952"/>
              <a:gd name="connsiteY19179" fmla="*/ 3941514 h 5217112"/>
              <a:gd name="connsiteX19180" fmla="*/ 6237802 w 6785952"/>
              <a:gd name="connsiteY19180" fmla="*/ 3955238 h 5217112"/>
              <a:gd name="connsiteX19181" fmla="*/ 6220667 w 6785952"/>
              <a:gd name="connsiteY19181" fmla="*/ 3968186 h 5217112"/>
              <a:gd name="connsiteX19182" fmla="*/ 6202631 w 6785952"/>
              <a:gd name="connsiteY19182" fmla="*/ 3981024 h 5217112"/>
              <a:gd name="connsiteX19183" fmla="*/ 6185496 w 6785952"/>
              <a:gd name="connsiteY19183" fmla="*/ 3994747 h 5217112"/>
              <a:gd name="connsiteX19184" fmla="*/ 6169262 w 6785952"/>
              <a:gd name="connsiteY19184" fmla="*/ 4008581 h 5217112"/>
              <a:gd name="connsiteX19185" fmla="*/ 6154231 w 6785952"/>
              <a:gd name="connsiteY19185" fmla="*/ 4023411 h 5217112"/>
              <a:gd name="connsiteX19186" fmla="*/ 6147017 w 6785952"/>
              <a:gd name="connsiteY19186" fmla="*/ 4032265 h 5217112"/>
              <a:gd name="connsiteX19187" fmla="*/ 6144912 w 6785952"/>
              <a:gd name="connsiteY19187" fmla="*/ 4034257 h 5217112"/>
              <a:gd name="connsiteX19188" fmla="*/ 6133790 w 6785952"/>
              <a:gd name="connsiteY19188" fmla="*/ 4040233 h 5217112"/>
              <a:gd name="connsiteX19189" fmla="*/ 6133790 w 6785952"/>
              <a:gd name="connsiteY19189" fmla="*/ 4041119 h 5217112"/>
              <a:gd name="connsiteX19190" fmla="*/ 6132887 w 6785952"/>
              <a:gd name="connsiteY19190" fmla="*/ 4042115 h 5217112"/>
              <a:gd name="connsiteX19191" fmla="*/ 6131985 w 6785952"/>
              <a:gd name="connsiteY19191" fmla="*/ 4044992 h 5217112"/>
              <a:gd name="connsiteX19192" fmla="*/ 6137096 w 6785952"/>
              <a:gd name="connsiteY19192" fmla="*/ 4048091 h 5217112"/>
              <a:gd name="connsiteX19193" fmla="*/ 6137096 w 6785952"/>
              <a:gd name="connsiteY19193" fmla="*/ 4047095 h 5217112"/>
              <a:gd name="connsiteX19194" fmla="*/ 6137998 w 6785952"/>
              <a:gd name="connsiteY19194" fmla="*/ 4047095 h 5217112"/>
              <a:gd name="connsiteX19195" fmla="*/ 6149120 w 6785952"/>
              <a:gd name="connsiteY19195" fmla="*/ 4041119 h 5217112"/>
              <a:gd name="connsiteX19196" fmla="*/ 6150023 w 6785952"/>
              <a:gd name="connsiteY19196" fmla="*/ 4041119 h 5217112"/>
              <a:gd name="connsiteX19197" fmla="*/ 6153029 w 6785952"/>
              <a:gd name="connsiteY19197" fmla="*/ 4043111 h 5217112"/>
              <a:gd name="connsiteX19198" fmla="*/ 6152127 w 6785952"/>
              <a:gd name="connsiteY19198" fmla="*/ 4044107 h 5217112"/>
              <a:gd name="connsiteX19199" fmla="*/ 6151225 w 6785952"/>
              <a:gd name="connsiteY19199" fmla="*/ 4044992 h 5217112"/>
              <a:gd name="connsiteX19200" fmla="*/ 6150323 w 6785952"/>
              <a:gd name="connsiteY19200" fmla="*/ 4045435 h 5217112"/>
              <a:gd name="connsiteX19201" fmla="*/ 6139802 w 6785952"/>
              <a:gd name="connsiteY19201" fmla="*/ 4050968 h 5217112"/>
              <a:gd name="connsiteX19202" fmla="*/ 6138900 w 6785952"/>
              <a:gd name="connsiteY19202" fmla="*/ 4050968 h 5217112"/>
              <a:gd name="connsiteX19203" fmla="*/ 6138900 w 6785952"/>
              <a:gd name="connsiteY19203" fmla="*/ 4052075 h 5217112"/>
              <a:gd name="connsiteX19204" fmla="*/ 6137998 w 6785952"/>
              <a:gd name="connsiteY19204" fmla="*/ 4052960 h 5217112"/>
              <a:gd name="connsiteX19205" fmla="*/ 6135894 w 6785952"/>
              <a:gd name="connsiteY19205" fmla="*/ 4054952 h 5217112"/>
              <a:gd name="connsiteX19206" fmla="*/ 6132887 w 6785952"/>
              <a:gd name="connsiteY19206" fmla="*/ 4060818 h 5217112"/>
              <a:gd name="connsiteX19207" fmla="*/ 6132887 w 6785952"/>
              <a:gd name="connsiteY19207" fmla="*/ 4053956 h 5217112"/>
              <a:gd name="connsiteX19208" fmla="*/ 6129281 w 6785952"/>
              <a:gd name="connsiteY19208" fmla="*/ 4052407 h 5217112"/>
              <a:gd name="connsiteX19209" fmla="*/ 6128679 w 6785952"/>
              <a:gd name="connsiteY19209" fmla="*/ 4052518 h 5217112"/>
              <a:gd name="connsiteX19210" fmla="*/ 6128078 w 6785952"/>
              <a:gd name="connsiteY19210" fmla="*/ 4057277 h 5217112"/>
              <a:gd name="connsiteX19211" fmla="*/ 6127476 w 6785952"/>
              <a:gd name="connsiteY19211" fmla="*/ 4067680 h 5217112"/>
              <a:gd name="connsiteX19212" fmla="*/ 6122667 w 6785952"/>
              <a:gd name="connsiteY19212" fmla="*/ 4069340 h 5217112"/>
              <a:gd name="connsiteX19213" fmla="*/ 6120262 w 6785952"/>
              <a:gd name="connsiteY19213" fmla="*/ 4068344 h 5217112"/>
              <a:gd name="connsiteX19214" fmla="*/ 6120863 w 6785952"/>
              <a:gd name="connsiteY19214" fmla="*/ 4069672 h 5217112"/>
              <a:gd name="connsiteX19215" fmla="*/ 6118759 w 6785952"/>
              <a:gd name="connsiteY19215" fmla="*/ 4069672 h 5217112"/>
              <a:gd name="connsiteX19216" fmla="*/ 6116654 w 6785952"/>
              <a:gd name="connsiteY19216" fmla="*/ 4069672 h 5217112"/>
              <a:gd name="connsiteX19217" fmla="*/ 6113649 w 6785952"/>
              <a:gd name="connsiteY19217" fmla="*/ 4065798 h 5217112"/>
              <a:gd name="connsiteX19218" fmla="*/ 6088396 w 6785952"/>
              <a:gd name="connsiteY19218" fmla="*/ 4083616 h 5217112"/>
              <a:gd name="connsiteX19219" fmla="*/ 6073366 w 6785952"/>
              <a:gd name="connsiteY19219" fmla="*/ 4092359 h 5217112"/>
              <a:gd name="connsiteX19220" fmla="*/ 6066151 w 6785952"/>
              <a:gd name="connsiteY19220" fmla="*/ 4096344 h 5217112"/>
              <a:gd name="connsiteX19221" fmla="*/ 6062243 w 6785952"/>
              <a:gd name="connsiteY19221" fmla="*/ 4097340 h 5217112"/>
              <a:gd name="connsiteX19222" fmla="*/ 6060138 w 6785952"/>
              <a:gd name="connsiteY19222" fmla="*/ 4098336 h 5217112"/>
              <a:gd name="connsiteX19223" fmla="*/ 6058335 w 6785952"/>
              <a:gd name="connsiteY19223" fmla="*/ 4099332 h 5217112"/>
              <a:gd name="connsiteX19224" fmla="*/ 6018655 w 6785952"/>
              <a:gd name="connsiteY19224" fmla="*/ 4115822 h 5217112"/>
              <a:gd name="connsiteX19225" fmla="*/ 6018955 w 6785952"/>
              <a:gd name="connsiteY19225" fmla="*/ 4116043 h 5217112"/>
              <a:gd name="connsiteX19226" fmla="*/ 6018354 w 6785952"/>
              <a:gd name="connsiteY19226" fmla="*/ 4119142 h 5217112"/>
              <a:gd name="connsiteX19227" fmla="*/ 6018053 w 6785952"/>
              <a:gd name="connsiteY19227" fmla="*/ 4119584 h 5217112"/>
              <a:gd name="connsiteX19228" fmla="*/ 6024667 w 6785952"/>
              <a:gd name="connsiteY19228" fmla="*/ 4132644 h 5217112"/>
              <a:gd name="connsiteX19229" fmla="*/ 6027973 w 6785952"/>
              <a:gd name="connsiteY19229" fmla="*/ 4173924 h 5217112"/>
              <a:gd name="connsiteX19230" fmla="*/ 6013243 w 6785952"/>
              <a:gd name="connsiteY19230" fmla="*/ 4150683 h 5217112"/>
              <a:gd name="connsiteX19231" fmla="*/ 6012341 w 6785952"/>
              <a:gd name="connsiteY19231" fmla="*/ 4149244 h 5217112"/>
              <a:gd name="connsiteX19232" fmla="*/ 6005728 w 6785952"/>
              <a:gd name="connsiteY19232" fmla="*/ 4150130 h 5217112"/>
              <a:gd name="connsiteX19233" fmla="*/ 6003323 w 6785952"/>
              <a:gd name="connsiteY19233" fmla="*/ 4150351 h 5217112"/>
              <a:gd name="connsiteX19234" fmla="*/ 6003022 w 6785952"/>
              <a:gd name="connsiteY19234" fmla="*/ 4151901 h 5217112"/>
              <a:gd name="connsiteX19235" fmla="*/ 5997912 w 6785952"/>
              <a:gd name="connsiteY19235" fmla="*/ 4160201 h 5217112"/>
              <a:gd name="connsiteX19236" fmla="*/ 5992501 w 6785952"/>
              <a:gd name="connsiteY19236" fmla="*/ 4162414 h 5217112"/>
              <a:gd name="connsiteX19237" fmla="*/ 5987390 w 6785952"/>
              <a:gd name="connsiteY19237" fmla="*/ 4151679 h 5217112"/>
              <a:gd name="connsiteX19238" fmla="*/ 5989194 w 6785952"/>
              <a:gd name="connsiteY19238" fmla="*/ 4137071 h 5217112"/>
              <a:gd name="connsiteX19239" fmla="*/ 5991299 w 6785952"/>
              <a:gd name="connsiteY19239" fmla="*/ 4136407 h 5217112"/>
              <a:gd name="connsiteX19240" fmla="*/ 5991299 w 6785952"/>
              <a:gd name="connsiteY19240" fmla="*/ 4136185 h 5217112"/>
              <a:gd name="connsiteX19241" fmla="*/ 5992200 w 6785952"/>
              <a:gd name="connsiteY19241" fmla="*/ 4135853 h 5217112"/>
              <a:gd name="connsiteX19242" fmla="*/ 5999715 w 6785952"/>
              <a:gd name="connsiteY19242" fmla="*/ 4133418 h 5217112"/>
              <a:gd name="connsiteX19243" fmla="*/ 6000015 w 6785952"/>
              <a:gd name="connsiteY19243" fmla="*/ 4134082 h 5217112"/>
              <a:gd name="connsiteX19244" fmla="*/ 6004224 w 6785952"/>
              <a:gd name="connsiteY19244" fmla="*/ 4133086 h 5217112"/>
              <a:gd name="connsiteX19245" fmla="*/ 6005126 w 6785952"/>
              <a:gd name="connsiteY19245" fmla="*/ 4133197 h 5217112"/>
              <a:gd name="connsiteX19246" fmla="*/ 6000617 w 6785952"/>
              <a:gd name="connsiteY19246" fmla="*/ 4123679 h 5217112"/>
              <a:gd name="connsiteX19247" fmla="*/ 6000617 w 6785952"/>
              <a:gd name="connsiteY19247" fmla="*/ 4122351 h 5217112"/>
              <a:gd name="connsiteX19248" fmla="*/ 6000015 w 6785952"/>
              <a:gd name="connsiteY19248" fmla="*/ 4122462 h 5217112"/>
              <a:gd name="connsiteX19249" fmla="*/ 5997611 w 6785952"/>
              <a:gd name="connsiteY19249" fmla="*/ 4122019 h 5217112"/>
              <a:gd name="connsiteX19250" fmla="*/ 5985286 w 6785952"/>
              <a:gd name="connsiteY19250" fmla="*/ 4128328 h 5217112"/>
              <a:gd name="connsiteX19251" fmla="*/ 5973863 w 6785952"/>
              <a:gd name="connsiteY19251" fmla="*/ 4132533 h 5217112"/>
              <a:gd name="connsiteX19252" fmla="*/ 5969955 w 6785952"/>
              <a:gd name="connsiteY19252" fmla="*/ 4145482 h 5217112"/>
              <a:gd name="connsiteX19253" fmla="*/ 5940494 w 6785952"/>
              <a:gd name="connsiteY19253" fmla="*/ 4167505 h 5217112"/>
              <a:gd name="connsiteX19254" fmla="*/ 5929673 w 6785952"/>
              <a:gd name="connsiteY19254" fmla="*/ 4138952 h 5217112"/>
              <a:gd name="connsiteX19255" fmla="*/ 5930574 w 6785952"/>
              <a:gd name="connsiteY19255" fmla="*/ 4137071 h 5217112"/>
              <a:gd name="connsiteX19256" fmla="*/ 5929673 w 6785952"/>
              <a:gd name="connsiteY19256" fmla="*/ 4137181 h 5217112"/>
              <a:gd name="connsiteX19257" fmla="*/ 5920954 w 6785952"/>
              <a:gd name="connsiteY19257" fmla="*/ 4141719 h 5217112"/>
              <a:gd name="connsiteX19258" fmla="*/ 5905622 w 6785952"/>
              <a:gd name="connsiteY19258" fmla="*/ 4134857 h 5217112"/>
              <a:gd name="connsiteX19259" fmla="*/ 5897506 w 6785952"/>
              <a:gd name="connsiteY19259" fmla="*/ 4138177 h 5217112"/>
              <a:gd name="connsiteX19260" fmla="*/ 5897206 w 6785952"/>
              <a:gd name="connsiteY19260" fmla="*/ 4142715 h 5217112"/>
              <a:gd name="connsiteX19261" fmla="*/ 5887586 w 6785952"/>
              <a:gd name="connsiteY19261" fmla="*/ 4147252 h 5217112"/>
              <a:gd name="connsiteX19262" fmla="*/ 5892396 w 6785952"/>
              <a:gd name="connsiteY19262" fmla="*/ 4148802 h 5217112"/>
              <a:gd name="connsiteX19263" fmla="*/ 5900813 w 6785952"/>
              <a:gd name="connsiteY19263" fmla="*/ 4148691 h 5217112"/>
              <a:gd name="connsiteX19264" fmla="*/ 5918850 w 6785952"/>
              <a:gd name="connsiteY19264" fmla="*/ 4141719 h 5217112"/>
              <a:gd name="connsiteX19265" fmla="*/ 5910132 w 6785952"/>
              <a:gd name="connsiteY19265" fmla="*/ 4148138 h 5217112"/>
              <a:gd name="connsiteX19266" fmla="*/ 5907728 w 6785952"/>
              <a:gd name="connsiteY19266" fmla="*/ 4156991 h 5217112"/>
              <a:gd name="connsiteX19267" fmla="*/ 5904120 w 6785952"/>
              <a:gd name="connsiteY19267" fmla="*/ 4156549 h 5217112"/>
              <a:gd name="connsiteX19268" fmla="*/ 5905924 w 6785952"/>
              <a:gd name="connsiteY19268" fmla="*/ 4151236 h 5217112"/>
              <a:gd name="connsiteX19269" fmla="*/ 5888487 w 6785952"/>
              <a:gd name="connsiteY19269" fmla="*/ 4155553 h 5217112"/>
              <a:gd name="connsiteX19270" fmla="*/ 5862334 w 6785952"/>
              <a:gd name="connsiteY19270" fmla="*/ 4170383 h 5217112"/>
              <a:gd name="connsiteX19271" fmla="*/ 5844597 w 6785952"/>
              <a:gd name="connsiteY19271" fmla="*/ 4173039 h 5217112"/>
              <a:gd name="connsiteX19272" fmla="*/ 5837383 w 6785952"/>
              <a:gd name="connsiteY19272" fmla="*/ 4173149 h 5217112"/>
              <a:gd name="connsiteX19273" fmla="*/ 5835280 w 6785952"/>
              <a:gd name="connsiteY19273" fmla="*/ 4175363 h 5217112"/>
              <a:gd name="connsiteX19274" fmla="*/ 5816340 w 6785952"/>
              <a:gd name="connsiteY19274" fmla="*/ 4182778 h 5217112"/>
              <a:gd name="connsiteX19275" fmla="*/ 5790187 w 6785952"/>
              <a:gd name="connsiteY19275" fmla="*/ 4180564 h 5217112"/>
              <a:gd name="connsiteX19276" fmla="*/ 5787481 w 6785952"/>
              <a:gd name="connsiteY19276" fmla="*/ 4177023 h 5217112"/>
              <a:gd name="connsiteX19277" fmla="*/ 5787481 w 6785952"/>
              <a:gd name="connsiteY19277" fmla="*/ 4181228 h 5217112"/>
              <a:gd name="connsiteX19278" fmla="*/ 5745095 w 6785952"/>
              <a:gd name="connsiteY19278" fmla="*/ 4189086 h 5217112"/>
              <a:gd name="connsiteX19279" fmla="*/ 5721947 w 6785952"/>
              <a:gd name="connsiteY19279" fmla="*/ 4194066 h 5217112"/>
              <a:gd name="connsiteX19280" fmla="*/ 5709922 w 6785952"/>
              <a:gd name="connsiteY19280" fmla="*/ 4194952 h 5217112"/>
              <a:gd name="connsiteX19281" fmla="*/ 5697598 w 6785952"/>
              <a:gd name="connsiteY19281" fmla="*/ 4193070 h 5217112"/>
              <a:gd name="connsiteX19282" fmla="*/ 5692788 w 6785952"/>
              <a:gd name="connsiteY19282" fmla="*/ 4200928 h 5217112"/>
              <a:gd name="connsiteX19283" fmla="*/ 5660321 w 6785952"/>
              <a:gd name="connsiteY19283" fmla="*/ 4202920 h 5217112"/>
              <a:gd name="connsiteX19284" fmla="*/ 5650100 w 6785952"/>
              <a:gd name="connsiteY19284" fmla="*/ 4202809 h 5217112"/>
              <a:gd name="connsiteX19285" fmla="*/ 5648898 w 6785952"/>
              <a:gd name="connsiteY19285" fmla="*/ 4203141 h 5217112"/>
              <a:gd name="connsiteX19286" fmla="*/ 5657315 w 6785952"/>
              <a:gd name="connsiteY19286" fmla="*/ 4220074 h 5217112"/>
              <a:gd name="connsiteX19287" fmla="*/ 5656714 w 6785952"/>
              <a:gd name="connsiteY19287" fmla="*/ 4236453 h 5217112"/>
              <a:gd name="connsiteX19288" fmla="*/ 5654309 w 6785952"/>
              <a:gd name="connsiteY19288" fmla="*/ 4241544 h 5217112"/>
              <a:gd name="connsiteX19289" fmla="*/ 5654609 w 6785952"/>
              <a:gd name="connsiteY19289" fmla="*/ 4245528 h 5217112"/>
              <a:gd name="connsiteX19290" fmla="*/ 5654609 w 6785952"/>
              <a:gd name="connsiteY19290" fmla="*/ 4247521 h 5217112"/>
              <a:gd name="connsiteX19291" fmla="*/ 5656714 w 6785952"/>
              <a:gd name="connsiteY19291" fmla="*/ 4244090 h 5217112"/>
              <a:gd name="connsiteX19292" fmla="*/ 5655811 w 6785952"/>
              <a:gd name="connsiteY19292" fmla="*/ 4241212 h 5217112"/>
              <a:gd name="connsiteX19293" fmla="*/ 5660020 w 6785952"/>
              <a:gd name="connsiteY19293" fmla="*/ 4238113 h 5217112"/>
              <a:gd name="connsiteX19294" fmla="*/ 5655811 w 6785952"/>
              <a:gd name="connsiteY19294" fmla="*/ 4247299 h 5217112"/>
              <a:gd name="connsiteX19295" fmla="*/ 5654609 w 6785952"/>
              <a:gd name="connsiteY19295" fmla="*/ 4247963 h 5217112"/>
              <a:gd name="connsiteX19296" fmla="*/ 5654910 w 6785952"/>
              <a:gd name="connsiteY19296" fmla="*/ 4249734 h 5217112"/>
              <a:gd name="connsiteX19297" fmla="*/ 5654910 w 6785952"/>
              <a:gd name="connsiteY19297" fmla="*/ 4249623 h 5217112"/>
              <a:gd name="connsiteX19298" fmla="*/ 5655210 w 6785952"/>
              <a:gd name="connsiteY19298" fmla="*/ 4251062 h 5217112"/>
              <a:gd name="connsiteX19299" fmla="*/ 5654910 w 6785952"/>
              <a:gd name="connsiteY19299" fmla="*/ 4252279 h 5217112"/>
              <a:gd name="connsiteX19300" fmla="*/ 5654910 w 6785952"/>
              <a:gd name="connsiteY19300" fmla="*/ 4256485 h 5217112"/>
              <a:gd name="connsiteX19301" fmla="*/ 5653407 w 6785952"/>
              <a:gd name="connsiteY19301" fmla="*/ 4265560 h 5217112"/>
              <a:gd name="connsiteX19302" fmla="*/ 5652806 w 6785952"/>
              <a:gd name="connsiteY19302" fmla="*/ 4255821 h 5217112"/>
              <a:gd name="connsiteX19303" fmla="*/ 5651904 w 6785952"/>
              <a:gd name="connsiteY19303" fmla="*/ 4260690 h 5217112"/>
              <a:gd name="connsiteX19304" fmla="*/ 5652806 w 6785952"/>
              <a:gd name="connsiteY19304" fmla="*/ 4265892 h 5217112"/>
              <a:gd name="connsiteX19305" fmla="*/ 5650100 w 6785952"/>
              <a:gd name="connsiteY19305" fmla="*/ 4268216 h 5217112"/>
              <a:gd name="connsiteX19306" fmla="*/ 5647395 w 6785952"/>
              <a:gd name="connsiteY19306" fmla="*/ 4264564 h 5217112"/>
              <a:gd name="connsiteX19307" fmla="*/ 5651303 w 6785952"/>
              <a:gd name="connsiteY19307" fmla="*/ 4260137 h 5217112"/>
              <a:gd name="connsiteX19308" fmla="*/ 5651303 w 6785952"/>
              <a:gd name="connsiteY19308" fmla="*/ 4253939 h 5217112"/>
              <a:gd name="connsiteX19309" fmla="*/ 5652806 w 6785952"/>
              <a:gd name="connsiteY19309" fmla="*/ 4251947 h 5217112"/>
              <a:gd name="connsiteX19310" fmla="*/ 5654309 w 6785952"/>
              <a:gd name="connsiteY19310" fmla="*/ 4241876 h 5217112"/>
              <a:gd name="connsiteX19311" fmla="*/ 5650702 w 6785952"/>
              <a:gd name="connsiteY19311" fmla="*/ 4249513 h 5217112"/>
              <a:gd name="connsiteX19312" fmla="*/ 5634168 w 6785952"/>
              <a:gd name="connsiteY19312" fmla="*/ 4275852 h 5217112"/>
              <a:gd name="connsiteX19313" fmla="*/ 5599296 w 6785952"/>
              <a:gd name="connsiteY19313" fmla="*/ 4285924 h 5217112"/>
              <a:gd name="connsiteX19314" fmla="*/ 5552702 w 6785952"/>
              <a:gd name="connsiteY19314" fmla="*/ 4268548 h 5217112"/>
              <a:gd name="connsiteX19315" fmla="*/ 5543983 w 6785952"/>
              <a:gd name="connsiteY19315" fmla="*/ 4252722 h 5217112"/>
              <a:gd name="connsiteX19316" fmla="*/ 5541579 w 6785952"/>
              <a:gd name="connsiteY19316" fmla="*/ 4254272 h 5217112"/>
              <a:gd name="connsiteX19317" fmla="*/ 5528652 w 6785952"/>
              <a:gd name="connsiteY19317" fmla="*/ 4265339 h 5217112"/>
              <a:gd name="connsiteX19318" fmla="*/ 5522038 w 6785952"/>
              <a:gd name="connsiteY19318" fmla="*/ 4264453 h 5217112"/>
              <a:gd name="connsiteX19319" fmla="*/ 5520836 w 6785952"/>
              <a:gd name="connsiteY19319" fmla="*/ 4265449 h 5217112"/>
              <a:gd name="connsiteX19320" fmla="*/ 5525345 w 6785952"/>
              <a:gd name="connsiteY19320" fmla="*/ 4272311 h 5217112"/>
              <a:gd name="connsiteX19321" fmla="*/ 5512419 w 6785952"/>
              <a:gd name="connsiteY19321" fmla="*/ 4311157 h 5217112"/>
              <a:gd name="connsiteX19322" fmla="*/ 5500393 w 6785952"/>
              <a:gd name="connsiteY19322" fmla="*/ 4315362 h 5217112"/>
              <a:gd name="connsiteX19323" fmla="*/ 5500694 w 6785952"/>
              <a:gd name="connsiteY19323" fmla="*/ 4326540 h 5217112"/>
              <a:gd name="connsiteX19324" fmla="*/ 5507910 w 6785952"/>
              <a:gd name="connsiteY19324" fmla="*/ 4334730 h 5217112"/>
              <a:gd name="connsiteX19325" fmla="*/ 5507910 w 6785952"/>
              <a:gd name="connsiteY19325" fmla="*/ 4333955 h 5217112"/>
              <a:gd name="connsiteX19326" fmla="*/ 5508211 w 6785952"/>
              <a:gd name="connsiteY19326" fmla="*/ 4333955 h 5217112"/>
              <a:gd name="connsiteX19327" fmla="*/ 5506406 w 6785952"/>
              <a:gd name="connsiteY19327" fmla="*/ 4329860 h 5217112"/>
              <a:gd name="connsiteX19328" fmla="*/ 5510314 w 6785952"/>
              <a:gd name="connsiteY19328" fmla="*/ 4323994 h 5217112"/>
              <a:gd name="connsiteX19329" fmla="*/ 5512118 w 6785952"/>
              <a:gd name="connsiteY19329" fmla="*/ 4330192 h 5217112"/>
              <a:gd name="connsiteX19330" fmla="*/ 5510615 w 6785952"/>
              <a:gd name="connsiteY19330" fmla="*/ 4334398 h 5217112"/>
              <a:gd name="connsiteX19331" fmla="*/ 5521737 w 6785952"/>
              <a:gd name="connsiteY19331" fmla="*/ 4336500 h 5217112"/>
              <a:gd name="connsiteX19332" fmla="*/ 5530456 w 6785952"/>
              <a:gd name="connsiteY19332" fmla="*/ 4339710 h 5217112"/>
              <a:gd name="connsiteX19333" fmla="*/ 5531057 w 6785952"/>
              <a:gd name="connsiteY19333" fmla="*/ 4346571 h 5217112"/>
              <a:gd name="connsiteX19334" fmla="*/ 5507007 w 6785952"/>
              <a:gd name="connsiteY19334" fmla="*/ 4341370 h 5217112"/>
              <a:gd name="connsiteX19335" fmla="*/ 5507910 w 6785952"/>
              <a:gd name="connsiteY19335" fmla="*/ 4336279 h 5217112"/>
              <a:gd name="connsiteX19336" fmla="*/ 5503400 w 6785952"/>
              <a:gd name="connsiteY19336" fmla="*/ 4338160 h 5217112"/>
              <a:gd name="connsiteX19337" fmla="*/ 5480554 w 6785952"/>
              <a:gd name="connsiteY19337" fmla="*/ 4332295 h 5217112"/>
              <a:gd name="connsiteX19338" fmla="*/ 5473038 w 6785952"/>
              <a:gd name="connsiteY19338" fmla="*/ 4341702 h 5217112"/>
              <a:gd name="connsiteX19339" fmla="*/ 5437565 w 6785952"/>
              <a:gd name="connsiteY19339" fmla="*/ 4347678 h 5217112"/>
              <a:gd name="connsiteX19340" fmla="*/ 5422835 w 6785952"/>
              <a:gd name="connsiteY19340" fmla="*/ 4339488 h 5217112"/>
              <a:gd name="connsiteX19341" fmla="*/ 5403596 w 6785952"/>
              <a:gd name="connsiteY19341" fmla="*/ 4326761 h 5217112"/>
              <a:gd name="connsiteX19342" fmla="*/ 5403596 w 6785952"/>
              <a:gd name="connsiteY19342" fmla="*/ 4326872 h 5217112"/>
              <a:gd name="connsiteX19343" fmla="*/ 5398185 w 6785952"/>
              <a:gd name="connsiteY19343" fmla="*/ 4329860 h 5217112"/>
              <a:gd name="connsiteX19344" fmla="*/ 5395178 w 6785952"/>
              <a:gd name="connsiteY19344" fmla="*/ 4329085 h 5217112"/>
              <a:gd name="connsiteX19345" fmla="*/ 5399087 w 6785952"/>
              <a:gd name="connsiteY19345" fmla="*/ 4325323 h 5217112"/>
              <a:gd name="connsiteX19346" fmla="*/ 5400890 w 6785952"/>
              <a:gd name="connsiteY19346" fmla="*/ 4324216 h 5217112"/>
              <a:gd name="connsiteX19347" fmla="*/ 5386762 w 6785952"/>
              <a:gd name="connsiteY19347" fmla="*/ 4309164 h 5217112"/>
              <a:gd name="connsiteX19348" fmla="*/ 5381351 w 6785952"/>
              <a:gd name="connsiteY19348" fmla="*/ 4287805 h 5217112"/>
              <a:gd name="connsiteX19349" fmla="*/ 5370829 w 6785952"/>
              <a:gd name="connsiteY19349" fmla="*/ 4280058 h 5217112"/>
              <a:gd name="connsiteX19350" fmla="*/ 5368724 w 6785952"/>
              <a:gd name="connsiteY19350" fmla="*/ 4277402 h 5217112"/>
              <a:gd name="connsiteX19351" fmla="*/ 5368424 w 6785952"/>
              <a:gd name="connsiteY19351" fmla="*/ 4278177 h 5217112"/>
              <a:gd name="connsiteX19352" fmla="*/ 5360007 w 6785952"/>
              <a:gd name="connsiteY19352" fmla="*/ 4238003 h 5217112"/>
              <a:gd name="connsiteX19353" fmla="*/ 5372031 w 6785952"/>
              <a:gd name="connsiteY19353" fmla="*/ 4258034 h 5217112"/>
              <a:gd name="connsiteX19354" fmla="*/ 5374436 w 6785952"/>
              <a:gd name="connsiteY19354" fmla="*/ 4268659 h 5217112"/>
              <a:gd name="connsiteX19355" fmla="*/ 5378344 w 6785952"/>
              <a:gd name="connsiteY19355" fmla="*/ 4262793 h 5217112"/>
              <a:gd name="connsiteX19356" fmla="*/ 5372632 w 6785952"/>
              <a:gd name="connsiteY19356" fmla="*/ 4252501 h 5217112"/>
              <a:gd name="connsiteX19357" fmla="*/ 5409909 w 6785952"/>
              <a:gd name="connsiteY19357" fmla="*/ 4210446 h 5217112"/>
              <a:gd name="connsiteX19358" fmla="*/ 5420130 w 6785952"/>
              <a:gd name="connsiteY19358" fmla="*/ 4196280 h 5217112"/>
              <a:gd name="connsiteX19359" fmla="*/ 5419830 w 6785952"/>
              <a:gd name="connsiteY19359" fmla="*/ 4195505 h 5217112"/>
              <a:gd name="connsiteX19360" fmla="*/ 5406301 w 6785952"/>
              <a:gd name="connsiteY19360" fmla="*/ 4186319 h 5217112"/>
              <a:gd name="connsiteX19361" fmla="*/ 5398486 w 6785952"/>
              <a:gd name="connsiteY19361" fmla="*/ 4178019 h 5217112"/>
              <a:gd name="connsiteX19362" fmla="*/ 5396081 w 6785952"/>
              <a:gd name="connsiteY19362" fmla="*/ 4180343 h 5217112"/>
              <a:gd name="connsiteX19363" fmla="*/ 5395480 w 6785952"/>
              <a:gd name="connsiteY19363" fmla="*/ 4180564 h 5217112"/>
              <a:gd name="connsiteX19364" fmla="*/ 5395480 w 6785952"/>
              <a:gd name="connsiteY19364" fmla="*/ 4180675 h 5217112"/>
              <a:gd name="connsiteX19365" fmla="*/ 5399988 w 6785952"/>
              <a:gd name="connsiteY19365" fmla="*/ 4189418 h 5217112"/>
              <a:gd name="connsiteX19366" fmla="*/ 5400289 w 6785952"/>
              <a:gd name="connsiteY19366" fmla="*/ 4190746 h 5217112"/>
              <a:gd name="connsiteX19367" fmla="*/ 5403596 w 6785952"/>
              <a:gd name="connsiteY19367" fmla="*/ 4192185 h 5217112"/>
              <a:gd name="connsiteX19368" fmla="*/ 5404498 w 6785952"/>
              <a:gd name="connsiteY19368" fmla="*/ 4196612 h 5217112"/>
              <a:gd name="connsiteX19369" fmla="*/ 5401191 w 6785952"/>
              <a:gd name="connsiteY19369" fmla="*/ 4196612 h 5217112"/>
              <a:gd name="connsiteX19370" fmla="*/ 5401191 w 6785952"/>
              <a:gd name="connsiteY19370" fmla="*/ 4196833 h 5217112"/>
              <a:gd name="connsiteX19371" fmla="*/ 5401492 w 6785952"/>
              <a:gd name="connsiteY19371" fmla="*/ 4198493 h 5217112"/>
              <a:gd name="connsiteX19372" fmla="*/ 5402093 w 6785952"/>
              <a:gd name="connsiteY19372" fmla="*/ 4201924 h 5217112"/>
              <a:gd name="connsiteX19373" fmla="*/ 5397885 w 6785952"/>
              <a:gd name="connsiteY19373" fmla="*/ 4206461 h 5217112"/>
              <a:gd name="connsiteX19374" fmla="*/ 5397584 w 6785952"/>
              <a:gd name="connsiteY19374" fmla="*/ 4206019 h 5217112"/>
              <a:gd name="connsiteX19375" fmla="*/ 5394878 w 6785952"/>
              <a:gd name="connsiteY19375" fmla="*/ 4210667 h 5217112"/>
              <a:gd name="connsiteX19376" fmla="*/ 5370829 w 6785952"/>
              <a:gd name="connsiteY19376" fmla="*/ 4222509 h 5217112"/>
              <a:gd name="connsiteX19377" fmla="*/ 5357903 w 6785952"/>
              <a:gd name="connsiteY19377" fmla="*/ 4222620 h 5217112"/>
              <a:gd name="connsiteX19378" fmla="*/ 5363915 w 6785952"/>
              <a:gd name="connsiteY19378" fmla="*/ 4226382 h 5217112"/>
              <a:gd name="connsiteX19379" fmla="*/ 5376841 w 6785952"/>
              <a:gd name="connsiteY19379" fmla="*/ 4236232 h 5217112"/>
              <a:gd name="connsiteX19380" fmla="*/ 5376841 w 6785952"/>
              <a:gd name="connsiteY19380" fmla="*/ 4237781 h 5217112"/>
              <a:gd name="connsiteX19381" fmla="*/ 5373234 w 6785952"/>
              <a:gd name="connsiteY19381" fmla="*/ 4238888 h 5217112"/>
              <a:gd name="connsiteX19382" fmla="*/ 5367221 w 6785952"/>
              <a:gd name="connsiteY19382" fmla="*/ 4235125 h 5217112"/>
              <a:gd name="connsiteX19383" fmla="*/ 5356098 w 6785952"/>
              <a:gd name="connsiteY19383" fmla="*/ 4223284 h 5217112"/>
              <a:gd name="connsiteX19384" fmla="*/ 5355197 w 6785952"/>
              <a:gd name="connsiteY19384" fmla="*/ 4222730 h 5217112"/>
              <a:gd name="connsiteX19385" fmla="*/ 5351890 w 6785952"/>
              <a:gd name="connsiteY19385" fmla="*/ 4222730 h 5217112"/>
              <a:gd name="connsiteX19386" fmla="*/ 5347983 w 6785952"/>
              <a:gd name="connsiteY19386" fmla="*/ 4221181 h 5217112"/>
              <a:gd name="connsiteX19387" fmla="*/ 5343172 w 6785952"/>
              <a:gd name="connsiteY19387" fmla="*/ 4222620 h 5217112"/>
              <a:gd name="connsiteX19388" fmla="*/ 5341670 w 6785952"/>
              <a:gd name="connsiteY19388" fmla="*/ 4217639 h 5217112"/>
              <a:gd name="connsiteX19389" fmla="*/ 5340467 w 6785952"/>
              <a:gd name="connsiteY19389" fmla="*/ 4229924 h 5217112"/>
              <a:gd name="connsiteX19390" fmla="*/ 5341068 w 6785952"/>
              <a:gd name="connsiteY19390" fmla="*/ 4235015 h 5217112"/>
              <a:gd name="connsiteX19391" fmla="*/ 5341369 w 6785952"/>
              <a:gd name="connsiteY19391" fmla="*/ 4236232 h 5217112"/>
              <a:gd name="connsiteX19392" fmla="*/ 5341970 w 6785952"/>
              <a:gd name="connsiteY19392" fmla="*/ 4236343 h 5217112"/>
              <a:gd name="connsiteX19393" fmla="*/ 5343773 w 6785952"/>
              <a:gd name="connsiteY19393" fmla="*/ 4245860 h 5217112"/>
              <a:gd name="connsiteX19394" fmla="*/ 5342571 w 6785952"/>
              <a:gd name="connsiteY19394" fmla="*/ 4250509 h 5217112"/>
              <a:gd name="connsiteX19395" fmla="*/ 5342872 w 6785952"/>
              <a:gd name="connsiteY19395" fmla="*/ 4250287 h 5217112"/>
              <a:gd name="connsiteX19396" fmla="*/ 5345878 w 6785952"/>
              <a:gd name="connsiteY19396" fmla="*/ 4251173 h 5217112"/>
              <a:gd name="connsiteX19397" fmla="*/ 5347983 w 6785952"/>
              <a:gd name="connsiteY19397" fmla="*/ 4273418 h 5217112"/>
              <a:gd name="connsiteX19398" fmla="*/ 5347081 w 6785952"/>
              <a:gd name="connsiteY19398" fmla="*/ 4276516 h 5217112"/>
              <a:gd name="connsiteX19399" fmla="*/ 5348584 w 6785952"/>
              <a:gd name="connsiteY19399" fmla="*/ 4276738 h 5217112"/>
              <a:gd name="connsiteX19400" fmla="*/ 5346780 w 6785952"/>
              <a:gd name="connsiteY19400" fmla="*/ 4278177 h 5217112"/>
              <a:gd name="connsiteX19401" fmla="*/ 5346780 w 6785952"/>
              <a:gd name="connsiteY19401" fmla="*/ 4278398 h 5217112"/>
              <a:gd name="connsiteX19402" fmla="*/ 5346780 w 6785952"/>
              <a:gd name="connsiteY19402" fmla="*/ 4279947 h 5217112"/>
              <a:gd name="connsiteX19403" fmla="*/ 5342571 w 6785952"/>
              <a:gd name="connsiteY19403" fmla="*/ 4284595 h 5217112"/>
              <a:gd name="connsiteX19404" fmla="*/ 5338663 w 6785952"/>
              <a:gd name="connsiteY19404" fmla="*/ 4283599 h 5217112"/>
              <a:gd name="connsiteX19405" fmla="*/ 5338062 w 6785952"/>
              <a:gd name="connsiteY19405" fmla="*/ 4282825 h 5217112"/>
              <a:gd name="connsiteX19406" fmla="*/ 5329344 w 6785952"/>
              <a:gd name="connsiteY19406" fmla="*/ 4284374 h 5217112"/>
              <a:gd name="connsiteX19407" fmla="*/ 5331148 w 6785952"/>
              <a:gd name="connsiteY19407" fmla="*/ 4275631 h 5217112"/>
              <a:gd name="connsiteX19408" fmla="*/ 5332651 w 6785952"/>
              <a:gd name="connsiteY19408" fmla="*/ 4275188 h 5217112"/>
              <a:gd name="connsiteX19409" fmla="*/ 5328442 w 6785952"/>
              <a:gd name="connsiteY19409" fmla="*/ 4273971 h 5217112"/>
              <a:gd name="connsiteX19410" fmla="*/ 5304994 w 6785952"/>
              <a:gd name="connsiteY19410" fmla="*/ 4270762 h 5217112"/>
              <a:gd name="connsiteX19411" fmla="*/ 5304994 w 6785952"/>
              <a:gd name="connsiteY19411" fmla="*/ 4259473 h 5217112"/>
              <a:gd name="connsiteX19412" fmla="*/ 5306497 w 6785952"/>
              <a:gd name="connsiteY19412" fmla="*/ 4256596 h 5217112"/>
              <a:gd name="connsiteX19413" fmla="*/ 5304393 w 6785952"/>
              <a:gd name="connsiteY19413" fmla="*/ 4258034 h 5217112"/>
              <a:gd name="connsiteX19414" fmla="*/ 5300785 w 6785952"/>
              <a:gd name="connsiteY19414" fmla="*/ 4251505 h 5217112"/>
              <a:gd name="connsiteX19415" fmla="*/ 5307399 w 6785952"/>
              <a:gd name="connsiteY19415" fmla="*/ 4249402 h 5217112"/>
              <a:gd name="connsiteX19416" fmla="*/ 5309203 w 6785952"/>
              <a:gd name="connsiteY19416" fmla="*/ 4251062 h 5217112"/>
              <a:gd name="connsiteX19417" fmla="*/ 5310706 w 6785952"/>
              <a:gd name="connsiteY19417" fmla="*/ 4252501 h 5217112"/>
              <a:gd name="connsiteX19418" fmla="*/ 5313713 w 6785952"/>
              <a:gd name="connsiteY19418" fmla="*/ 4249845 h 5217112"/>
              <a:gd name="connsiteX19419" fmla="*/ 5328742 w 6785952"/>
              <a:gd name="connsiteY19419" fmla="*/ 4247853 h 5217112"/>
              <a:gd name="connsiteX19420" fmla="*/ 5331148 w 6785952"/>
              <a:gd name="connsiteY19420" fmla="*/ 4248959 h 5217112"/>
              <a:gd name="connsiteX19421" fmla="*/ 5331148 w 6785952"/>
              <a:gd name="connsiteY19421" fmla="*/ 4248517 h 5217112"/>
              <a:gd name="connsiteX19422" fmla="*/ 5332951 w 6785952"/>
              <a:gd name="connsiteY19422" fmla="*/ 4243979 h 5217112"/>
              <a:gd name="connsiteX19423" fmla="*/ 5329945 w 6785952"/>
              <a:gd name="connsiteY19423" fmla="*/ 4244422 h 5217112"/>
              <a:gd name="connsiteX19424" fmla="*/ 5335657 w 6785952"/>
              <a:gd name="connsiteY19424" fmla="*/ 4216754 h 5217112"/>
              <a:gd name="connsiteX19425" fmla="*/ 5337160 w 6785952"/>
              <a:gd name="connsiteY19425" fmla="*/ 4213876 h 5217112"/>
              <a:gd name="connsiteX19426" fmla="*/ 5338663 w 6785952"/>
              <a:gd name="connsiteY19426" fmla="*/ 4212991 h 5217112"/>
              <a:gd name="connsiteX19427" fmla="*/ 5339564 w 6785952"/>
              <a:gd name="connsiteY19427" fmla="*/ 4213434 h 5217112"/>
              <a:gd name="connsiteX19428" fmla="*/ 5340467 w 6785952"/>
              <a:gd name="connsiteY19428" fmla="*/ 4213434 h 5217112"/>
              <a:gd name="connsiteX19429" fmla="*/ 5340166 w 6785952"/>
              <a:gd name="connsiteY19429" fmla="*/ 4212659 h 5217112"/>
              <a:gd name="connsiteX19430" fmla="*/ 5341369 w 6785952"/>
              <a:gd name="connsiteY19430" fmla="*/ 4207126 h 5217112"/>
              <a:gd name="connsiteX19431" fmla="*/ 5337761 w 6785952"/>
              <a:gd name="connsiteY19431" fmla="*/ 4206904 h 5217112"/>
              <a:gd name="connsiteX19432" fmla="*/ 5332350 w 6785952"/>
              <a:gd name="connsiteY19432" fmla="*/ 4208675 h 5217112"/>
              <a:gd name="connsiteX19433" fmla="*/ 5329945 w 6785952"/>
              <a:gd name="connsiteY19433" fmla="*/ 4206351 h 5217112"/>
              <a:gd name="connsiteX19434" fmla="*/ 5333853 w 6785952"/>
              <a:gd name="connsiteY19434" fmla="*/ 4203252 h 5217112"/>
              <a:gd name="connsiteX19435" fmla="*/ 5338362 w 6785952"/>
              <a:gd name="connsiteY19435" fmla="*/ 4206240 h 5217112"/>
              <a:gd name="connsiteX19436" fmla="*/ 5341369 w 6785952"/>
              <a:gd name="connsiteY19436" fmla="*/ 4205908 h 5217112"/>
              <a:gd name="connsiteX19437" fmla="*/ 5342571 w 6785952"/>
              <a:gd name="connsiteY19437" fmla="*/ 4199600 h 5217112"/>
              <a:gd name="connsiteX19438" fmla="*/ 5350086 w 6785952"/>
              <a:gd name="connsiteY19438" fmla="*/ 4187537 h 5217112"/>
              <a:gd name="connsiteX19439" fmla="*/ 5347983 w 6785952"/>
              <a:gd name="connsiteY19439" fmla="*/ 4187758 h 5217112"/>
              <a:gd name="connsiteX19440" fmla="*/ 5343473 w 6785952"/>
              <a:gd name="connsiteY19440" fmla="*/ 4186762 h 5217112"/>
              <a:gd name="connsiteX19441" fmla="*/ 5342872 w 6785952"/>
              <a:gd name="connsiteY19441" fmla="*/ 4185213 h 5217112"/>
              <a:gd name="connsiteX19442" fmla="*/ 5340767 w 6785952"/>
              <a:gd name="connsiteY19442" fmla="*/ 4185655 h 5217112"/>
              <a:gd name="connsiteX19443" fmla="*/ 5333252 w 6785952"/>
              <a:gd name="connsiteY19443" fmla="*/ 4185102 h 5217112"/>
              <a:gd name="connsiteX19444" fmla="*/ 5342271 w 6785952"/>
              <a:gd name="connsiteY19444" fmla="*/ 4182888 h 5217112"/>
              <a:gd name="connsiteX19445" fmla="*/ 5342872 w 6785952"/>
              <a:gd name="connsiteY19445" fmla="*/ 4182888 h 5217112"/>
              <a:gd name="connsiteX19446" fmla="*/ 5342872 w 6785952"/>
              <a:gd name="connsiteY19446" fmla="*/ 4181450 h 5217112"/>
              <a:gd name="connsiteX19447" fmla="*/ 5341068 w 6785952"/>
              <a:gd name="connsiteY19447" fmla="*/ 4180786 h 5217112"/>
              <a:gd name="connsiteX19448" fmla="*/ 5342271 w 6785952"/>
              <a:gd name="connsiteY19448" fmla="*/ 4180011 h 5217112"/>
              <a:gd name="connsiteX19449" fmla="*/ 5342571 w 6785952"/>
              <a:gd name="connsiteY19449" fmla="*/ 4177798 h 5217112"/>
              <a:gd name="connsiteX19450" fmla="*/ 5349786 w 6785952"/>
              <a:gd name="connsiteY19450" fmla="*/ 4177244 h 5217112"/>
              <a:gd name="connsiteX19451" fmla="*/ 5349786 w 6785952"/>
              <a:gd name="connsiteY19451" fmla="*/ 4177355 h 5217112"/>
              <a:gd name="connsiteX19452" fmla="*/ 5356399 w 6785952"/>
              <a:gd name="connsiteY19452" fmla="*/ 4166288 h 5217112"/>
              <a:gd name="connsiteX19453" fmla="*/ 5359706 w 6785952"/>
              <a:gd name="connsiteY19453" fmla="*/ 4164406 h 5217112"/>
              <a:gd name="connsiteX19454" fmla="*/ 5360908 w 6785952"/>
              <a:gd name="connsiteY19454" fmla="*/ 4161529 h 5217112"/>
              <a:gd name="connsiteX19455" fmla="*/ 5362111 w 6785952"/>
              <a:gd name="connsiteY19455" fmla="*/ 4163300 h 5217112"/>
              <a:gd name="connsiteX19456" fmla="*/ 5362712 w 6785952"/>
              <a:gd name="connsiteY19456" fmla="*/ 4162857 h 5217112"/>
              <a:gd name="connsiteX19457" fmla="*/ 5363013 w 6785952"/>
              <a:gd name="connsiteY19457" fmla="*/ 4163632 h 5217112"/>
              <a:gd name="connsiteX19458" fmla="*/ 5363915 w 6785952"/>
              <a:gd name="connsiteY19458" fmla="*/ 4163410 h 5217112"/>
              <a:gd name="connsiteX19459" fmla="*/ 5364817 w 6785952"/>
              <a:gd name="connsiteY19459" fmla="*/ 4163632 h 5217112"/>
              <a:gd name="connsiteX19460" fmla="*/ 5367823 w 6785952"/>
              <a:gd name="connsiteY19460" fmla="*/ 4161750 h 5217112"/>
              <a:gd name="connsiteX19461" fmla="*/ 5362412 w 6785952"/>
              <a:gd name="connsiteY19461" fmla="*/ 4157545 h 5217112"/>
              <a:gd name="connsiteX19462" fmla="*/ 5350387 w 6785952"/>
              <a:gd name="connsiteY19462" fmla="*/ 4162525 h 5217112"/>
              <a:gd name="connsiteX19463" fmla="*/ 5346479 w 6785952"/>
              <a:gd name="connsiteY19463" fmla="*/ 4159758 h 5217112"/>
              <a:gd name="connsiteX19464" fmla="*/ 5345578 w 6785952"/>
              <a:gd name="connsiteY19464" fmla="*/ 4161086 h 5217112"/>
              <a:gd name="connsiteX19465" fmla="*/ 5328742 w 6785952"/>
              <a:gd name="connsiteY19465" fmla="*/ 4170161 h 5217112"/>
              <a:gd name="connsiteX19466" fmla="*/ 5319725 w 6785952"/>
              <a:gd name="connsiteY19466" fmla="*/ 4155774 h 5217112"/>
              <a:gd name="connsiteX19467" fmla="*/ 5321227 w 6785952"/>
              <a:gd name="connsiteY19467" fmla="*/ 4150572 h 5217112"/>
              <a:gd name="connsiteX19468" fmla="*/ 5313111 w 6785952"/>
              <a:gd name="connsiteY19468" fmla="*/ 4151569 h 5217112"/>
              <a:gd name="connsiteX19469" fmla="*/ 5313111 w 6785952"/>
              <a:gd name="connsiteY19469" fmla="*/ 4144707 h 5217112"/>
              <a:gd name="connsiteX19470" fmla="*/ 5301688 w 6785952"/>
              <a:gd name="connsiteY19470" fmla="*/ 4143711 h 5217112"/>
              <a:gd name="connsiteX19471" fmla="*/ 5295073 w 6785952"/>
              <a:gd name="connsiteY19471" fmla="*/ 4136739 h 5217112"/>
              <a:gd name="connsiteX19472" fmla="*/ 5294472 w 6785952"/>
              <a:gd name="connsiteY19472" fmla="*/ 4135632 h 5217112"/>
              <a:gd name="connsiteX19473" fmla="*/ 5290565 w 6785952"/>
              <a:gd name="connsiteY19473" fmla="*/ 4134636 h 5217112"/>
              <a:gd name="connsiteX19474" fmla="*/ 5290264 w 6785952"/>
              <a:gd name="connsiteY19474" fmla="*/ 4134636 h 5217112"/>
              <a:gd name="connsiteX19475" fmla="*/ 5286357 w 6785952"/>
              <a:gd name="connsiteY19475" fmla="*/ 4133640 h 5217112"/>
              <a:gd name="connsiteX19476" fmla="*/ 5283049 w 6785952"/>
              <a:gd name="connsiteY19476" fmla="*/ 4131869 h 5217112"/>
              <a:gd name="connsiteX19477" fmla="*/ 5282749 w 6785952"/>
              <a:gd name="connsiteY19477" fmla="*/ 4132312 h 5217112"/>
              <a:gd name="connsiteX19478" fmla="*/ 5278539 w 6785952"/>
              <a:gd name="connsiteY19478" fmla="*/ 4130984 h 5217112"/>
              <a:gd name="connsiteX19479" fmla="*/ 5278841 w 6785952"/>
              <a:gd name="connsiteY19479" fmla="*/ 4129545 h 5217112"/>
              <a:gd name="connsiteX19480" fmla="*/ 5276136 w 6785952"/>
              <a:gd name="connsiteY19480" fmla="*/ 4127996 h 5217112"/>
              <a:gd name="connsiteX19481" fmla="*/ 5276737 w 6785952"/>
              <a:gd name="connsiteY19481" fmla="*/ 4128549 h 5217112"/>
              <a:gd name="connsiteX19482" fmla="*/ 5272828 w 6785952"/>
              <a:gd name="connsiteY19482" fmla="*/ 4139063 h 5217112"/>
              <a:gd name="connsiteX19483" fmla="*/ 5269522 w 6785952"/>
              <a:gd name="connsiteY19483" fmla="*/ 4139727 h 5217112"/>
              <a:gd name="connsiteX19484" fmla="*/ 5271926 w 6785952"/>
              <a:gd name="connsiteY19484" fmla="*/ 4143711 h 5217112"/>
              <a:gd name="connsiteX19485" fmla="*/ 5271626 w 6785952"/>
              <a:gd name="connsiteY19485" fmla="*/ 4143932 h 5217112"/>
              <a:gd name="connsiteX19486" fmla="*/ 5285454 w 6785952"/>
              <a:gd name="connsiteY19486" fmla="*/ 4144928 h 5217112"/>
              <a:gd name="connsiteX19487" fmla="*/ 5288761 w 6785952"/>
              <a:gd name="connsiteY19487" fmla="*/ 4146920 h 5217112"/>
              <a:gd name="connsiteX19488" fmla="*/ 5292068 w 6785952"/>
              <a:gd name="connsiteY19488" fmla="*/ 4146699 h 5217112"/>
              <a:gd name="connsiteX19489" fmla="*/ 5290865 w 6785952"/>
              <a:gd name="connsiteY19489" fmla="*/ 4148691 h 5217112"/>
              <a:gd name="connsiteX19490" fmla="*/ 5291467 w 6785952"/>
              <a:gd name="connsiteY19490" fmla="*/ 4148912 h 5217112"/>
              <a:gd name="connsiteX19491" fmla="*/ 5290865 w 6785952"/>
              <a:gd name="connsiteY19491" fmla="*/ 4149355 h 5217112"/>
              <a:gd name="connsiteX19492" fmla="*/ 5291467 w 6785952"/>
              <a:gd name="connsiteY19492" fmla="*/ 4150019 h 5217112"/>
              <a:gd name="connsiteX19493" fmla="*/ 5291768 w 6785952"/>
              <a:gd name="connsiteY19493" fmla="*/ 4153671 h 5217112"/>
              <a:gd name="connsiteX19494" fmla="*/ 5284251 w 6785952"/>
              <a:gd name="connsiteY19494" fmla="*/ 4156549 h 5217112"/>
              <a:gd name="connsiteX19495" fmla="*/ 5277338 w 6785952"/>
              <a:gd name="connsiteY19495" fmla="*/ 4151126 h 5217112"/>
              <a:gd name="connsiteX19496" fmla="*/ 5272227 w 6785952"/>
              <a:gd name="connsiteY19496" fmla="*/ 4148248 h 5217112"/>
              <a:gd name="connsiteX19497" fmla="*/ 5271626 w 6785952"/>
              <a:gd name="connsiteY19497" fmla="*/ 4144928 h 5217112"/>
              <a:gd name="connsiteX19498" fmla="*/ 5271626 w 6785952"/>
              <a:gd name="connsiteY19498" fmla="*/ 4147252 h 5217112"/>
              <a:gd name="connsiteX19499" fmla="*/ 5269522 w 6785952"/>
              <a:gd name="connsiteY19499" fmla="*/ 4149798 h 5217112"/>
              <a:gd name="connsiteX19500" fmla="*/ 5265914 w 6785952"/>
              <a:gd name="connsiteY19500" fmla="*/ 4149576 h 5217112"/>
              <a:gd name="connsiteX19501" fmla="*/ 5260804 w 6785952"/>
              <a:gd name="connsiteY19501" fmla="*/ 4146367 h 5217112"/>
              <a:gd name="connsiteX19502" fmla="*/ 5259902 w 6785952"/>
              <a:gd name="connsiteY19502" fmla="*/ 4142161 h 5217112"/>
              <a:gd name="connsiteX19503" fmla="*/ 5261405 w 6785952"/>
              <a:gd name="connsiteY19503" fmla="*/ 4141165 h 5217112"/>
              <a:gd name="connsiteX19504" fmla="*/ 5259902 w 6785952"/>
              <a:gd name="connsiteY19504" fmla="*/ 4139727 h 5217112"/>
              <a:gd name="connsiteX19505" fmla="*/ 5257497 w 6785952"/>
              <a:gd name="connsiteY19505" fmla="*/ 4133197 h 5217112"/>
              <a:gd name="connsiteX19506" fmla="*/ 5262908 w 6785952"/>
              <a:gd name="connsiteY19506" fmla="*/ 4139173 h 5217112"/>
              <a:gd name="connsiteX19507" fmla="*/ 5260804 w 6785952"/>
              <a:gd name="connsiteY19507" fmla="*/ 4131648 h 5217112"/>
              <a:gd name="connsiteX19508" fmla="*/ 5261405 w 6785952"/>
              <a:gd name="connsiteY19508" fmla="*/ 4126335 h 5217112"/>
              <a:gd name="connsiteX19509" fmla="*/ 5263509 w 6785952"/>
              <a:gd name="connsiteY19509" fmla="*/ 4122905 h 5217112"/>
              <a:gd name="connsiteX19510" fmla="*/ 5259602 w 6785952"/>
              <a:gd name="connsiteY19510" fmla="*/ 4121023 h 5217112"/>
              <a:gd name="connsiteX19511" fmla="*/ 5245472 w 6785952"/>
              <a:gd name="connsiteY19511" fmla="*/ 4114162 h 5217112"/>
              <a:gd name="connsiteX19512" fmla="*/ 5233147 w 6785952"/>
              <a:gd name="connsiteY19512" fmla="*/ 4098336 h 5217112"/>
              <a:gd name="connsiteX19513" fmla="*/ 5228036 w 6785952"/>
              <a:gd name="connsiteY19513" fmla="*/ 4105197 h 5217112"/>
              <a:gd name="connsiteX19514" fmla="*/ 5223226 w 6785952"/>
              <a:gd name="connsiteY19514" fmla="*/ 4089482 h 5217112"/>
              <a:gd name="connsiteX19515" fmla="*/ 5241264 w 6785952"/>
              <a:gd name="connsiteY19515" fmla="*/ 4093355 h 5217112"/>
              <a:gd name="connsiteX19516" fmla="*/ 5225031 w 6785952"/>
              <a:gd name="connsiteY19516" fmla="*/ 4081514 h 5217112"/>
              <a:gd name="connsiteX19517" fmla="*/ 5206091 w 6785952"/>
              <a:gd name="connsiteY19517" fmla="*/ 4073656 h 5217112"/>
              <a:gd name="connsiteX19518" fmla="*/ 5218117 w 6785952"/>
              <a:gd name="connsiteY19518" fmla="*/ 4089482 h 5217112"/>
              <a:gd name="connsiteX19519" fmla="*/ 5199779 w 6785952"/>
              <a:gd name="connsiteY19519" fmla="*/ 4086494 h 5217112"/>
              <a:gd name="connsiteX19520" fmla="*/ 5200981 w 6785952"/>
              <a:gd name="connsiteY19520" fmla="*/ 4077640 h 5217112"/>
              <a:gd name="connsiteX19521" fmla="*/ 5182644 w 6785952"/>
              <a:gd name="connsiteY19521" fmla="*/ 4073656 h 5217112"/>
              <a:gd name="connsiteX19522" fmla="*/ 5188656 w 6785952"/>
              <a:gd name="connsiteY19522" fmla="*/ 4067790 h 5217112"/>
              <a:gd name="connsiteX19523" fmla="*/ 5175730 w 6785952"/>
              <a:gd name="connsiteY19523" fmla="*/ 4069672 h 5217112"/>
              <a:gd name="connsiteX19524" fmla="*/ 5164608 w 6785952"/>
              <a:gd name="connsiteY19524" fmla="*/ 4067790 h 5217112"/>
              <a:gd name="connsiteX19525" fmla="*/ 5158596 w 6785952"/>
              <a:gd name="connsiteY19525" fmla="*/ 4064359 h 5217112"/>
              <a:gd name="connsiteX19526" fmla="*/ 5157993 w 6785952"/>
              <a:gd name="connsiteY19526" fmla="*/ 4067348 h 5217112"/>
              <a:gd name="connsiteX19527" fmla="*/ 5140558 w 6785952"/>
              <a:gd name="connsiteY19527" fmla="*/ 4076201 h 5217112"/>
              <a:gd name="connsiteX19528" fmla="*/ 5131840 w 6785952"/>
              <a:gd name="connsiteY19528" fmla="*/ 4071885 h 5217112"/>
              <a:gd name="connsiteX19529" fmla="*/ 5128533 w 6785952"/>
              <a:gd name="connsiteY19529" fmla="*/ 4066573 h 5217112"/>
              <a:gd name="connsiteX19530" fmla="*/ 5128533 w 6785952"/>
              <a:gd name="connsiteY19530" fmla="*/ 4066352 h 5217112"/>
              <a:gd name="connsiteX19531" fmla="*/ 5118313 w 6785952"/>
              <a:gd name="connsiteY19531" fmla="*/ 4062921 h 5217112"/>
              <a:gd name="connsiteX19532" fmla="*/ 5117410 w 6785952"/>
              <a:gd name="connsiteY19532" fmla="*/ 4062367 h 5217112"/>
              <a:gd name="connsiteX19533" fmla="*/ 5117410 w 6785952"/>
              <a:gd name="connsiteY19533" fmla="*/ 4062478 h 5217112"/>
              <a:gd name="connsiteX19534" fmla="*/ 5093662 w 6785952"/>
              <a:gd name="connsiteY19534" fmla="*/ 4071664 h 5217112"/>
              <a:gd name="connsiteX19535" fmla="*/ 5080736 w 6785952"/>
              <a:gd name="connsiteY19535" fmla="*/ 4085276 h 5217112"/>
              <a:gd name="connsiteX19536" fmla="*/ 5100275 w 6785952"/>
              <a:gd name="connsiteY19536" fmla="*/ 4087932 h 5217112"/>
              <a:gd name="connsiteX19537" fmla="*/ 5104184 w 6785952"/>
              <a:gd name="connsiteY19537" fmla="*/ 4097229 h 5217112"/>
              <a:gd name="connsiteX19538" fmla="*/ 5080134 w 6785952"/>
              <a:gd name="connsiteY19538" fmla="*/ 4097229 h 5217112"/>
              <a:gd name="connsiteX19539" fmla="*/ 5079834 w 6785952"/>
              <a:gd name="connsiteY19539" fmla="*/ 4097008 h 5217112"/>
              <a:gd name="connsiteX19540" fmla="*/ 5079533 w 6785952"/>
              <a:gd name="connsiteY19540" fmla="*/ 4108185 h 5217112"/>
              <a:gd name="connsiteX19541" fmla="*/ 5088551 w 6785952"/>
              <a:gd name="connsiteY19541" fmla="*/ 4118035 h 5217112"/>
              <a:gd name="connsiteX19542" fmla="*/ 5093061 w 6785952"/>
              <a:gd name="connsiteY19542" fmla="*/ 4110399 h 5217112"/>
              <a:gd name="connsiteX19543" fmla="*/ 5092761 w 6785952"/>
              <a:gd name="connsiteY19543" fmla="*/ 4109624 h 5217112"/>
              <a:gd name="connsiteX19544" fmla="*/ 5100275 w 6785952"/>
              <a:gd name="connsiteY19544" fmla="*/ 4102873 h 5217112"/>
              <a:gd name="connsiteX19545" fmla="*/ 5106588 w 6785952"/>
              <a:gd name="connsiteY19545" fmla="*/ 4108075 h 5217112"/>
              <a:gd name="connsiteX19546" fmla="*/ 5105686 w 6785952"/>
              <a:gd name="connsiteY19546" fmla="*/ 4111727 h 5217112"/>
              <a:gd name="connsiteX19547" fmla="*/ 5104184 w 6785952"/>
              <a:gd name="connsiteY19547" fmla="*/ 4112502 h 5217112"/>
              <a:gd name="connsiteX19548" fmla="*/ 5101779 w 6785952"/>
              <a:gd name="connsiteY19548" fmla="*/ 4113608 h 5217112"/>
              <a:gd name="connsiteX19549" fmla="*/ 5112601 w 6785952"/>
              <a:gd name="connsiteY19549" fmla="*/ 4119363 h 5217112"/>
              <a:gd name="connsiteX19550" fmla="*/ 5120117 w 6785952"/>
              <a:gd name="connsiteY19550" fmla="*/ 4126889 h 5217112"/>
              <a:gd name="connsiteX19551" fmla="*/ 5124325 w 6785952"/>
              <a:gd name="connsiteY19551" fmla="*/ 4126446 h 5217112"/>
              <a:gd name="connsiteX19552" fmla="*/ 5125828 w 6785952"/>
              <a:gd name="connsiteY19552" fmla="*/ 4132976 h 5217112"/>
              <a:gd name="connsiteX19553" fmla="*/ 5127932 w 6785952"/>
              <a:gd name="connsiteY19553" fmla="*/ 4132644 h 5217112"/>
              <a:gd name="connsiteX19554" fmla="*/ 5127932 w 6785952"/>
              <a:gd name="connsiteY19554" fmla="*/ 4148248 h 5217112"/>
              <a:gd name="connsiteX19555" fmla="*/ 5148074 w 6785952"/>
              <a:gd name="connsiteY19555" fmla="*/ 4152454 h 5217112"/>
              <a:gd name="connsiteX19556" fmla="*/ 5165209 w 6785952"/>
              <a:gd name="connsiteY19556" fmla="*/ 4162636 h 5217112"/>
              <a:gd name="connsiteX19557" fmla="*/ 5163104 w 6785952"/>
              <a:gd name="connsiteY19557" fmla="*/ 4159869 h 5217112"/>
              <a:gd name="connsiteX19558" fmla="*/ 5160699 w 6785952"/>
              <a:gd name="connsiteY19558" fmla="*/ 4144043 h 5217112"/>
              <a:gd name="connsiteX19559" fmla="*/ 5176331 w 6785952"/>
              <a:gd name="connsiteY19559" fmla="*/ 4139727 h 5217112"/>
              <a:gd name="connsiteX19560" fmla="*/ 5193166 w 6785952"/>
              <a:gd name="connsiteY19560" fmla="*/ 4154889 h 5217112"/>
              <a:gd name="connsiteX19561" fmla="*/ 5192865 w 6785952"/>
              <a:gd name="connsiteY19561" fmla="*/ 4157213 h 5217112"/>
              <a:gd name="connsiteX19562" fmla="*/ 5193466 w 6785952"/>
              <a:gd name="connsiteY19562" fmla="*/ 4157102 h 5217112"/>
              <a:gd name="connsiteX19563" fmla="*/ 5196773 w 6785952"/>
              <a:gd name="connsiteY19563" fmla="*/ 4156770 h 5217112"/>
              <a:gd name="connsiteX19564" fmla="*/ 5194668 w 6785952"/>
              <a:gd name="connsiteY19564" fmla="*/ 4155221 h 5217112"/>
              <a:gd name="connsiteX19565" fmla="*/ 5199178 w 6785952"/>
              <a:gd name="connsiteY19565" fmla="*/ 4152343 h 5217112"/>
              <a:gd name="connsiteX19566" fmla="*/ 5202786 w 6785952"/>
              <a:gd name="connsiteY19566" fmla="*/ 4148802 h 5217112"/>
              <a:gd name="connsiteX19567" fmla="*/ 5205490 w 6785952"/>
              <a:gd name="connsiteY19567" fmla="*/ 4148138 h 5217112"/>
              <a:gd name="connsiteX19568" fmla="*/ 5215411 w 6785952"/>
              <a:gd name="connsiteY19568" fmla="*/ 4141719 h 5217112"/>
              <a:gd name="connsiteX19569" fmla="*/ 5222625 w 6785952"/>
              <a:gd name="connsiteY19569" fmla="*/ 4140169 h 5217112"/>
              <a:gd name="connsiteX19570" fmla="*/ 5222625 w 6785952"/>
              <a:gd name="connsiteY19570" fmla="*/ 4140059 h 5217112"/>
              <a:gd name="connsiteX19571" fmla="*/ 5220221 w 6785952"/>
              <a:gd name="connsiteY19571" fmla="*/ 4131869 h 5217112"/>
              <a:gd name="connsiteX19572" fmla="*/ 5222625 w 6785952"/>
              <a:gd name="connsiteY19572" fmla="*/ 4127885 h 5217112"/>
              <a:gd name="connsiteX19573" fmla="*/ 5232546 w 6785952"/>
              <a:gd name="connsiteY19573" fmla="*/ 4126999 h 5217112"/>
              <a:gd name="connsiteX19574" fmla="*/ 5242767 w 6785952"/>
              <a:gd name="connsiteY19574" fmla="*/ 4132201 h 5217112"/>
              <a:gd name="connsiteX19575" fmla="*/ 5247577 w 6785952"/>
              <a:gd name="connsiteY19575" fmla="*/ 4137735 h 5217112"/>
              <a:gd name="connsiteX19576" fmla="*/ 5251184 w 6785952"/>
              <a:gd name="connsiteY19576" fmla="*/ 4138067 h 5217112"/>
              <a:gd name="connsiteX19577" fmla="*/ 5249681 w 6785952"/>
              <a:gd name="connsiteY19577" fmla="*/ 4143268 h 5217112"/>
              <a:gd name="connsiteX19578" fmla="*/ 5249380 w 6785952"/>
              <a:gd name="connsiteY19578" fmla="*/ 4148027 h 5217112"/>
              <a:gd name="connsiteX19579" fmla="*/ 5244570 w 6785952"/>
              <a:gd name="connsiteY19579" fmla="*/ 4151126 h 5217112"/>
              <a:gd name="connsiteX19580" fmla="*/ 5242767 w 6785952"/>
              <a:gd name="connsiteY19580" fmla="*/ 4150572 h 5217112"/>
              <a:gd name="connsiteX19581" fmla="*/ 5236154 w 6785952"/>
              <a:gd name="connsiteY19581" fmla="*/ 4153229 h 5217112"/>
              <a:gd name="connsiteX19582" fmla="*/ 5234951 w 6785952"/>
              <a:gd name="connsiteY19582" fmla="*/ 4155885 h 5217112"/>
              <a:gd name="connsiteX19583" fmla="*/ 5237356 w 6785952"/>
              <a:gd name="connsiteY19583" fmla="*/ 4160644 h 5217112"/>
              <a:gd name="connsiteX19584" fmla="*/ 5240062 w 6785952"/>
              <a:gd name="connsiteY19584" fmla="*/ 4163078 h 5217112"/>
              <a:gd name="connsiteX19585" fmla="*/ 5243669 w 6785952"/>
              <a:gd name="connsiteY19585" fmla="*/ 4162304 h 5217112"/>
              <a:gd name="connsiteX19586" fmla="*/ 5258700 w 6785952"/>
              <a:gd name="connsiteY19586" fmla="*/ 4161529 h 5217112"/>
              <a:gd name="connsiteX19587" fmla="*/ 5257497 w 6785952"/>
              <a:gd name="connsiteY19587" fmla="*/ 4163521 h 5217112"/>
              <a:gd name="connsiteX19588" fmla="*/ 5245773 w 6785952"/>
              <a:gd name="connsiteY19588" fmla="*/ 4166066 h 5217112"/>
              <a:gd name="connsiteX19589" fmla="*/ 5243368 w 6785952"/>
              <a:gd name="connsiteY19589" fmla="*/ 4166509 h 5217112"/>
              <a:gd name="connsiteX19590" fmla="*/ 5246374 w 6785952"/>
              <a:gd name="connsiteY19590" fmla="*/ 4169165 h 5217112"/>
              <a:gd name="connsiteX19591" fmla="*/ 5251184 w 6785952"/>
              <a:gd name="connsiteY19591" fmla="*/ 4173592 h 5217112"/>
              <a:gd name="connsiteX19592" fmla="*/ 5251485 w 6785952"/>
              <a:gd name="connsiteY19592" fmla="*/ 4171157 h 5217112"/>
              <a:gd name="connsiteX19593" fmla="*/ 5256896 w 6785952"/>
              <a:gd name="connsiteY19593" fmla="*/ 4170161 h 5217112"/>
              <a:gd name="connsiteX19594" fmla="*/ 5260503 w 6785952"/>
              <a:gd name="connsiteY19594" fmla="*/ 4167395 h 5217112"/>
              <a:gd name="connsiteX19595" fmla="*/ 5262006 w 6785952"/>
              <a:gd name="connsiteY19595" fmla="*/ 4169276 h 5217112"/>
              <a:gd name="connsiteX19596" fmla="*/ 5265313 w 6785952"/>
              <a:gd name="connsiteY19596" fmla="*/ 4169719 h 5217112"/>
              <a:gd name="connsiteX19597" fmla="*/ 5267417 w 6785952"/>
              <a:gd name="connsiteY19597" fmla="*/ 4180011 h 5217112"/>
              <a:gd name="connsiteX19598" fmla="*/ 5265313 w 6785952"/>
              <a:gd name="connsiteY19598" fmla="*/ 4185213 h 5217112"/>
              <a:gd name="connsiteX19599" fmla="*/ 5261705 w 6785952"/>
              <a:gd name="connsiteY19599" fmla="*/ 4187205 h 5217112"/>
              <a:gd name="connsiteX19600" fmla="*/ 5262307 w 6785952"/>
              <a:gd name="connsiteY19600" fmla="*/ 4187869 h 5217112"/>
              <a:gd name="connsiteX19601" fmla="*/ 5263509 w 6785952"/>
              <a:gd name="connsiteY19601" fmla="*/ 4194841 h 5217112"/>
              <a:gd name="connsiteX19602" fmla="*/ 5269522 w 6785952"/>
              <a:gd name="connsiteY19602" fmla="*/ 4190193 h 5217112"/>
              <a:gd name="connsiteX19603" fmla="*/ 5275535 w 6785952"/>
              <a:gd name="connsiteY19603" fmla="*/ 4185323 h 5217112"/>
              <a:gd name="connsiteX19604" fmla="*/ 5286357 w 6785952"/>
              <a:gd name="connsiteY19604" fmla="*/ 4177023 h 5217112"/>
              <a:gd name="connsiteX19605" fmla="*/ 5288460 w 6785952"/>
              <a:gd name="connsiteY19605" fmla="*/ 4172928 h 5217112"/>
              <a:gd name="connsiteX19606" fmla="*/ 5289362 w 6785952"/>
              <a:gd name="connsiteY19606" fmla="*/ 4172264 h 5217112"/>
              <a:gd name="connsiteX19607" fmla="*/ 5289061 w 6785952"/>
              <a:gd name="connsiteY19607" fmla="*/ 4170604 h 5217112"/>
              <a:gd name="connsiteX19608" fmla="*/ 5290565 w 6785952"/>
              <a:gd name="connsiteY19608" fmla="*/ 4170051 h 5217112"/>
              <a:gd name="connsiteX19609" fmla="*/ 5290264 w 6785952"/>
              <a:gd name="connsiteY19609" fmla="*/ 4171600 h 5217112"/>
              <a:gd name="connsiteX19610" fmla="*/ 5292369 w 6785952"/>
              <a:gd name="connsiteY19610" fmla="*/ 4170383 h 5217112"/>
              <a:gd name="connsiteX19611" fmla="*/ 5303191 w 6785952"/>
              <a:gd name="connsiteY19611" fmla="*/ 4176359 h 5217112"/>
              <a:gd name="connsiteX19612" fmla="*/ 5302590 w 6785952"/>
              <a:gd name="connsiteY19612" fmla="*/ 4186098 h 5217112"/>
              <a:gd name="connsiteX19613" fmla="*/ 5287559 w 6785952"/>
              <a:gd name="connsiteY19613" fmla="*/ 4183885 h 5217112"/>
              <a:gd name="connsiteX19614" fmla="*/ 5287258 w 6785952"/>
              <a:gd name="connsiteY19614" fmla="*/ 4183442 h 5217112"/>
              <a:gd name="connsiteX19615" fmla="*/ 5286958 w 6785952"/>
              <a:gd name="connsiteY19615" fmla="*/ 4183663 h 5217112"/>
              <a:gd name="connsiteX19616" fmla="*/ 5274934 w 6785952"/>
              <a:gd name="connsiteY19616" fmla="*/ 4193956 h 5217112"/>
              <a:gd name="connsiteX19617" fmla="*/ 5271626 w 6785952"/>
              <a:gd name="connsiteY19617" fmla="*/ 4195837 h 5217112"/>
              <a:gd name="connsiteX19618" fmla="*/ 5268620 w 6785952"/>
              <a:gd name="connsiteY19618" fmla="*/ 4197829 h 5217112"/>
              <a:gd name="connsiteX19619" fmla="*/ 5262307 w 6785952"/>
              <a:gd name="connsiteY19619" fmla="*/ 4195948 h 5217112"/>
              <a:gd name="connsiteX19620" fmla="*/ 5262608 w 6785952"/>
              <a:gd name="connsiteY19620" fmla="*/ 4195616 h 5217112"/>
              <a:gd name="connsiteX19621" fmla="*/ 5256896 w 6785952"/>
              <a:gd name="connsiteY19621" fmla="*/ 4195173 h 5217112"/>
              <a:gd name="connsiteX19622" fmla="*/ 5245472 w 6785952"/>
              <a:gd name="connsiteY19622" fmla="*/ 4189529 h 5217112"/>
              <a:gd name="connsiteX19623" fmla="*/ 5236755 w 6785952"/>
              <a:gd name="connsiteY19623" fmla="*/ 4181118 h 5217112"/>
              <a:gd name="connsiteX19624" fmla="*/ 5235552 w 6785952"/>
              <a:gd name="connsiteY19624" fmla="*/ 4180786 h 5217112"/>
              <a:gd name="connsiteX19625" fmla="*/ 5228939 w 6785952"/>
              <a:gd name="connsiteY19625" fmla="*/ 4175252 h 5217112"/>
              <a:gd name="connsiteX19626" fmla="*/ 5228637 w 6785952"/>
              <a:gd name="connsiteY19626" fmla="*/ 4175584 h 5217112"/>
              <a:gd name="connsiteX19627" fmla="*/ 5224129 w 6785952"/>
              <a:gd name="connsiteY19627" fmla="*/ 4190635 h 5217112"/>
              <a:gd name="connsiteX19628" fmla="*/ 5222625 w 6785952"/>
              <a:gd name="connsiteY19628" fmla="*/ 4191189 h 5217112"/>
              <a:gd name="connsiteX19629" fmla="*/ 5220221 w 6785952"/>
              <a:gd name="connsiteY19629" fmla="*/ 4188422 h 5217112"/>
              <a:gd name="connsiteX19630" fmla="*/ 5221423 w 6785952"/>
              <a:gd name="connsiteY19630" fmla="*/ 4181892 h 5217112"/>
              <a:gd name="connsiteX19631" fmla="*/ 5225332 w 6785952"/>
              <a:gd name="connsiteY19631" fmla="*/ 4173592 h 5217112"/>
              <a:gd name="connsiteX19632" fmla="*/ 5225933 w 6785952"/>
              <a:gd name="connsiteY19632" fmla="*/ 4172485 h 5217112"/>
              <a:gd name="connsiteX19633" fmla="*/ 5214209 w 6785952"/>
              <a:gd name="connsiteY19633" fmla="*/ 4160533 h 5217112"/>
              <a:gd name="connsiteX19634" fmla="*/ 5209700 w 6785952"/>
              <a:gd name="connsiteY19634" fmla="*/ 4160644 h 5217112"/>
              <a:gd name="connsiteX19635" fmla="*/ 5210000 w 6785952"/>
              <a:gd name="connsiteY19635" fmla="*/ 4161086 h 5217112"/>
              <a:gd name="connsiteX19636" fmla="*/ 5201282 w 6785952"/>
              <a:gd name="connsiteY19636" fmla="*/ 4166620 h 5217112"/>
              <a:gd name="connsiteX19637" fmla="*/ 5196172 w 6785952"/>
              <a:gd name="connsiteY19637" fmla="*/ 4167505 h 5217112"/>
              <a:gd name="connsiteX19638" fmla="*/ 5196472 w 6785952"/>
              <a:gd name="connsiteY19638" fmla="*/ 4167616 h 5217112"/>
              <a:gd name="connsiteX19639" fmla="*/ 5196773 w 6785952"/>
              <a:gd name="connsiteY19639" fmla="*/ 4170493 h 5217112"/>
              <a:gd name="connsiteX19640" fmla="*/ 5187154 w 6785952"/>
              <a:gd name="connsiteY19640" fmla="*/ 4178904 h 5217112"/>
              <a:gd name="connsiteX19641" fmla="*/ 5179938 w 6785952"/>
              <a:gd name="connsiteY19641" fmla="*/ 4180343 h 5217112"/>
              <a:gd name="connsiteX19642" fmla="*/ 5184146 w 6785952"/>
              <a:gd name="connsiteY19642" fmla="*/ 4192738 h 5217112"/>
              <a:gd name="connsiteX19643" fmla="*/ 5190761 w 6785952"/>
              <a:gd name="connsiteY19643" fmla="*/ 4224612 h 5217112"/>
              <a:gd name="connsiteX19644" fmla="*/ 5173626 w 6785952"/>
              <a:gd name="connsiteY19644" fmla="*/ 4254714 h 5217112"/>
              <a:gd name="connsiteX19645" fmla="*/ 5162503 w 6785952"/>
              <a:gd name="connsiteY19645" fmla="*/ 4256374 h 5217112"/>
              <a:gd name="connsiteX19646" fmla="*/ 5153785 w 6785952"/>
              <a:gd name="connsiteY19646" fmla="*/ 4259694 h 5217112"/>
              <a:gd name="connsiteX19647" fmla="*/ 5154386 w 6785952"/>
              <a:gd name="connsiteY19647" fmla="*/ 4269212 h 5217112"/>
              <a:gd name="connsiteX19648" fmla="*/ 5151681 w 6785952"/>
              <a:gd name="connsiteY19648" fmla="*/ 4274192 h 5217112"/>
              <a:gd name="connsiteX19649" fmla="*/ 5127331 w 6785952"/>
              <a:gd name="connsiteY19649" fmla="*/ 4275520 h 5217112"/>
              <a:gd name="connsiteX19650" fmla="*/ 5126730 w 6785952"/>
              <a:gd name="connsiteY19650" fmla="*/ 4321449 h 5217112"/>
              <a:gd name="connsiteX19651" fmla="*/ 5161300 w 6785952"/>
              <a:gd name="connsiteY19651" fmla="*/ 4328532 h 5217112"/>
              <a:gd name="connsiteX19652" fmla="*/ 5163350 w 6785952"/>
              <a:gd name="connsiteY19652" fmla="*/ 4323297 h 5217112"/>
              <a:gd name="connsiteX19653" fmla="*/ 5164307 w 6785952"/>
              <a:gd name="connsiteY19653" fmla="*/ 4324105 h 5217112"/>
              <a:gd name="connsiteX19654" fmla="*/ 5163746 w 6785952"/>
              <a:gd name="connsiteY19654" fmla="*/ 4322284 h 5217112"/>
              <a:gd name="connsiteX19655" fmla="*/ 5167313 w 6785952"/>
              <a:gd name="connsiteY19655" fmla="*/ 4313176 h 5217112"/>
              <a:gd name="connsiteX19656" fmla="*/ 5174227 w 6785952"/>
              <a:gd name="connsiteY19656" fmla="*/ 4295331 h 5217112"/>
              <a:gd name="connsiteX19657" fmla="*/ 5172723 w 6785952"/>
              <a:gd name="connsiteY19657" fmla="*/ 4325655 h 5217112"/>
              <a:gd name="connsiteX19658" fmla="*/ 5188957 w 6785952"/>
              <a:gd name="connsiteY19658" fmla="*/ 4325876 h 5217112"/>
              <a:gd name="connsiteX19659" fmla="*/ 5189257 w 6785952"/>
              <a:gd name="connsiteY19659" fmla="*/ 4325987 h 5217112"/>
              <a:gd name="connsiteX19660" fmla="*/ 5196172 w 6785952"/>
              <a:gd name="connsiteY19660" fmla="*/ 4319789 h 5217112"/>
              <a:gd name="connsiteX19661" fmla="*/ 5219921 w 6785952"/>
              <a:gd name="connsiteY19661" fmla="*/ 4328311 h 5217112"/>
              <a:gd name="connsiteX19662" fmla="*/ 5216613 w 6785952"/>
              <a:gd name="connsiteY19662" fmla="*/ 4334508 h 5217112"/>
              <a:gd name="connsiteX19663" fmla="*/ 5221423 w 6785952"/>
              <a:gd name="connsiteY19663" fmla="*/ 4336500 h 5217112"/>
              <a:gd name="connsiteX19664" fmla="*/ 5228036 w 6785952"/>
              <a:gd name="connsiteY19664" fmla="*/ 4341481 h 5217112"/>
              <a:gd name="connsiteX19665" fmla="*/ 5127331 w 6785952"/>
              <a:gd name="connsiteY19665" fmla="*/ 4364279 h 5217112"/>
              <a:gd name="connsiteX19666" fmla="*/ 5121018 w 6785952"/>
              <a:gd name="connsiteY19666" fmla="*/ 4378002 h 5217112"/>
              <a:gd name="connsiteX19667" fmla="*/ 5122220 w 6785952"/>
              <a:gd name="connsiteY19667" fmla="*/ 4384974 h 5217112"/>
              <a:gd name="connsiteX19668" fmla="*/ 5129435 w 6785952"/>
              <a:gd name="connsiteY19668" fmla="*/ 4387520 h 5217112"/>
              <a:gd name="connsiteX19669" fmla="*/ 5121018 w 6785952"/>
              <a:gd name="connsiteY19669" fmla="*/ 4391947 h 5217112"/>
              <a:gd name="connsiteX19670" fmla="*/ 5119816 w 6785952"/>
              <a:gd name="connsiteY19670" fmla="*/ 4395820 h 5217112"/>
              <a:gd name="connsiteX19671" fmla="*/ 5116509 w 6785952"/>
              <a:gd name="connsiteY19671" fmla="*/ 4409986 h 5217112"/>
              <a:gd name="connsiteX19672" fmla="*/ 5108393 w 6785952"/>
              <a:gd name="connsiteY19672" fmla="*/ 4427361 h 5217112"/>
              <a:gd name="connsiteX19673" fmla="*/ 5107190 w 6785952"/>
              <a:gd name="connsiteY19673" fmla="*/ 4431235 h 5217112"/>
              <a:gd name="connsiteX19674" fmla="*/ 5112901 w 6785952"/>
              <a:gd name="connsiteY19674" fmla="*/ 4427694 h 5217112"/>
              <a:gd name="connsiteX19675" fmla="*/ 5121018 w 6785952"/>
              <a:gd name="connsiteY19675" fmla="*/ 4433006 h 5217112"/>
              <a:gd name="connsiteX19676" fmla="*/ 5105386 w 6785952"/>
              <a:gd name="connsiteY19676" fmla="*/ 4439646 h 5217112"/>
              <a:gd name="connsiteX19677" fmla="*/ 5105085 w 6785952"/>
              <a:gd name="connsiteY19677" fmla="*/ 4438761 h 5217112"/>
              <a:gd name="connsiteX19678" fmla="*/ 5103583 w 6785952"/>
              <a:gd name="connsiteY19678" fmla="*/ 4443077 h 5217112"/>
              <a:gd name="connsiteX19679" fmla="*/ 5115006 w 6785952"/>
              <a:gd name="connsiteY19679" fmla="*/ 4467203 h 5217112"/>
              <a:gd name="connsiteX19680" fmla="*/ 5144466 w 6785952"/>
              <a:gd name="connsiteY19680" fmla="*/ 4492879 h 5217112"/>
              <a:gd name="connsiteX19681" fmla="*/ 5145969 w 6785952"/>
              <a:gd name="connsiteY19681" fmla="*/ 4493543 h 5217112"/>
              <a:gd name="connsiteX19682" fmla="*/ 5147172 w 6785952"/>
              <a:gd name="connsiteY19682" fmla="*/ 4491994 h 5217112"/>
              <a:gd name="connsiteX19683" fmla="*/ 5150478 w 6785952"/>
              <a:gd name="connsiteY19683" fmla="*/ 4489448 h 5217112"/>
              <a:gd name="connsiteX19684" fmla="*/ 5155288 w 6785952"/>
              <a:gd name="connsiteY19684" fmla="*/ 4491219 h 5217112"/>
              <a:gd name="connsiteX19685" fmla="*/ 5152582 w 6785952"/>
              <a:gd name="connsiteY19685" fmla="*/ 4495978 h 5217112"/>
              <a:gd name="connsiteX19686" fmla="*/ 5157993 w 6785952"/>
              <a:gd name="connsiteY19686" fmla="*/ 4498080 h 5217112"/>
              <a:gd name="connsiteX19687" fmla="*/ 5163706 w 6785952"/>
              <a:gd name="connsiteY19687" fmla="*/ 4499630 h 5217112"/>
              <a:gd name="connsiteX19688" fmla="*/ 5187154 w 6785952"/>
              <a:gd name="connsiteY19688" fmla="*/ 4509480 h 5217112"/>
              <a:gd name="connsiteX19689" fmla="*/ 5192565 w 6785952"/>
              <a:gd name="connsiteY19689" fmla="*/ 4531061 h 5217112"/>
              <a:gd name="connsiteX19690" fmla="*/ 5110496 w 6785952"/>
              <a:gd name="connsiteY19690" fmla="*/ 4487677 h 5217112"/>
              <a:gd name="connsiteX19691" fmla="*/ 5107791 w 6785952"/>
              <a:gd name="connsiteY19691" fmla="*/ 4486903 h 5217112"/>
              <a:gd name="connsiteX19692" fmla="*/ 5105386 w 6785952"/>
              <a:gd name="connsiteY19692" fmla="*/ 4488895 h 5217112"/>
              <a:gd name="connsiteX19693" fmla="*/ 5099073 w 6785952"/>
              <a:gd name="connsiteY19693" fmla="*/ 4490001 h 5217112"/>
              <a:gd name="connsiteX19694" fmla="*/ 5096969 w 6785952"/>
              <a:gd name="connsiteY19694" fmla="*/ 4489337 h 5217112"/>
              <a:gd name="connsiteX19695" fmla="*/ 5103883 w 6785952"/>
              <a:gd name="connsiteY19695" fmla="*/ 4486349 h 5217112"/>
              <a:gd name="connsiteX19696" fmla="*/ 5105085 w 6785952"/>
              <a:gd name="connsiteY19696" fmla="*/ 4486128 h 5217112"/>
              <a:gd name="connsiteX19697" fmla="*/ 5097571 w 6785952"/>
              <a:gd name="connsiteY19697" fmla="*/ 4483804 h 5217112"/>
              <a:gd name="connsiteX19698" fmla="*/ 5087049 w 6785952"/>
              <a:gd name="connsiteY19698" fmla="*/ 4486349 h 5217112"/>
              <a:gd name="connsiteX19699" fmla="*/ 5084342 w 6785952"/>
              <a:gd name="connsiteY19699" fmla="*/ 4489448 h 5217112"/>
              <a:gd name="connsiteX19700" fmla="*/ 5082539 w 6785952"/>
              <a:gd name="connsiteY19700" fmla="*/ 4493211 h 5217112"/>
              <a:gd name="connsiteX19701" fmla="*/ 5086147 w 6785952"/>
              <a:gd name="connsiteY19701" fmla="*/ 4492547 h 5217112"/>
              <a:gd name="connsiteX19702" fmla="*/ 5082239 w 6785952"/>
              <a:gd name="connsiteY19702" fmla="*/ 4493875 h 5217112"/>
              <a:gd name="connsiteX19703" fmla="*/ 5081638 w 6785952"/>
              <a:gd name="connsiteY19703" fmla="*/ 4495203 h 5217112"/>
              <a:gd name="connsiteX19704" fmla="*/ 5072018 w 6785952"/>
              <a:gd name="connsiteY19704" fmla="*/ 4534159 h 5217112"/>
              <a:gd name="connsiteX19705" fmla="*/ 5077429 w 6785952"/>
              <a:gd name="connsiteY19705" fmla="*/ 4542460 h 5217112"/>
              <a:gd name="connsiteX19706" fmla="*/ 5082840 w 6785952"/>
              <a:gd name="connsiteY19706" fmla="*/ 4538808 h 5217112"/>
              <a:gd name="connsiteX19707" fmla="*/ 5088551 w 6785952"/>
              <a:gd name="connsiteY19707" fmla="*/ 4539472 h 5217112"/>
              <a:gd name="connsiteX19708" fmla="*/ 5090355 w 6785952"/>
              <a:gd name="connsiteY19708" fmla="*/ 4543013 h 5217112"/>
              <a:gd name="connsiteX19709" fmla="*/ 5091257 w 6785952"/>
              <a:gd name="connsiteY19709" fmla="*/ 4547551 h 5217112"/>
              <a:gd name="connsiteX19710" fmla="*/ 5084342 w 6785952"/>
              <a:gd name="connsiteY19710" fmla="*/ 4552088 h 5217112"/>
              <a:gd name="connsiteX19711" fmla="*/ 5086147 w 6785952"/>
              <a:gd name="connsiteY19711" fmla="*/ 4554191 h 5217112"/>
              <a:gd name="connsiteX19712" fmla="*/ 5087650 w 6785952"/>
              <a:gd name="connsiteY19712" fmla="*/ 4553416 h 5217112"/>
              <a:gd name="connsiteX19713" fmla="*/ 5088852 w 6785952"/>
              <a:gd name="connsiteY19713" fmla="*/ 4558507 h 5217112"/>
              <a:gd name="connsiteX19714" fmla="*/ 5088251 w 6785952"/>
              <a:gd name="connsiteY19714" fmla="*/ 4560610 h 5217112"/>
              <a:gd name="connsiteX19715" fmla="*/ 5090355 w 6785952"/>
              <a:gd name="connsiteY19715" fmla="*/ 4564151 h 5217112"/>
              <a:gd name="connsiteX19716" fmla="*/ 5086748 w 6785952"/>
              <a:gd name="connsiteY19716" fmla="*/ 4575108 h 5217112"/>
              <a:gd name="connsiteX19717" fmla="*/ 5044962 w 6785952"/>
              <a:gd name="connsiteY19717" fmla="*/ 4568910 h 5217112"/>
              <a:gd name="connsiteX19718" fmla="*/ 5029631 w 6785952"/>
              <a:gd name="connsiteY19718" fmla="*/ 4620040 h 5217112"/>
              <a:gd name="connsiteX19719" fmla="*/ 5029029 w 6785952"/>
              <a:gd name="connsiteY19719" fmla="*/ 4621368 h 5217112"/>
              <a:gd name="connsiteX19720" fmla="*/ 5034140 w 6785952"/>
              <a:gd name="connsiteY19720" fmla="*/ 4628230 h 5217112"/>
              <a:gd name="connsiteX19721" fmla="*/ 5081337 w 6785952"/>
              <a:gd name="connsiteY19721" fmla="*/ 4692641 h 5217112"/>
              <a:gd name="connsiteX19722" fmla="*/ 5024821 w 6785952"/>
              <a:gd name="connsiteY19722" fmla="*/ 4658001 h 5217112"/>
              <a:gd name="connsiteX19723" fmla="*/ 5020012 w 6785952"/>
              <a:gd name="connsiteY19723" fmla="*/ 4647708 h 5217112"/>
              <a:gd name="connsiteX19724" fmla="*/ 5014000 w 6785952"/>
              <a:gd name="connsiteY19724" fmla="*/ 4651692 h 5217112"/>
              <a:gd name="connsiteX19725" fmla="*/ 5006483 w 6785952"/>
              <a:gd name="connsiteY19725" fmla="*/ 4654902 h 5217112"/>
              <a:gd name="connsiteX19726" fmla="*/ 5000471 w 6785952"/>
              <a:gd name="connsiteY19726" fmla="*/ 4654570 h 5217112"/>
              <a:gd name="connsiteX19727" fmla="*/ 5005582 w 6785952"/>
              <a:gd name="connsiteY19727" fmla="*/ 4637748 h 5217112"/>
              <a:gd name="connsiteX19728" fmla="*/ 5007085 w 6785952"/>
              <a:gd name="connsiteY19728" fmla="*/ 4629669 h 5217112"/>
              <a:gd name="connsiteX19729" fmla="*/ 4999870 w 6785952"/>
              <a:gd name="connsiteY19729" fmla="*/ 4628562 h 5217112"/>
              <a:gd name="connsiteX19730" fmla="*/ 4975822 w 6785952"/>
              <a:gd name="connsiteY19730" fmla="*/ 4624688 h 5217112"/>
              <a:gd name="connsiteX19731" fmla="*/ 4966802 w 6785952"/>
              <a:gd name="connsiteY19731" fmla="*/ 4636420 h 5217112"/>
              <a:gd name="connsiteX19732" fmla="*/ 4967103 w 6785952"/>
              <a:gd name="connsiteY19732" fmla="*/ 4645827 h 5217112"/>
              <a:gd name="connsiteX19733" fmla="*/ 4969207 w 6785952"/>
              <a:gd name="connsiteY19733" fmla="*/ 4646380 h 5217112"/>
              <a:gd name="connsiteX19734" fmla="*/ 4969509 w 6785952"/>
              <a:gd name="connsiteY19734" fmla="*/ 4665526 h 5217112"/>
              <a:gd name="connsiteX19735" fmla="*/ 4969207 w 6785952"/>
              <a:gd name="connsiteY19735" fmla="*/ 4665748 h 5217112"/>
              <a:gd name="connsiteX19736" fmla="*/ 4965600 w 6785952"/>
              <a:gd name="connsiteY19736" fmla="*/ 4678253 h 5217112"/>
              <a:gd name="connsiteX19737" fmla="*/ 4953576 w 6785952"/>
              <a:gd name="connsiteY19737" fmla="*/ 4673273 h 5217112"/>
              <a:gd name="connsiteX19738" fmla="*/ 4947564 w 6785952"/>
              <a:gd name="connsiteY19738" fmla="*/ 4662870 h 5217112"/>
              <a:gd name="connsiteX19739" fmla="*/ 4906078 w 6785952"/>
              <a:gd name="connsiteY19739" fmla="*/ 4664530 h 5217112"/>
              <a:gd name="connsiteX19740" fmla="*/ 4894054 w 6785952"/>
              <a:gd name="connsiteY19740" fmla="*/ 4677479 h 5217112"/>
              <a:gd name="connsiteX19741" fmla="*/ 4894054 w 6785952"/>
              <a:gd name="connsiteY19741" fmla="*/ 4679803 h 5217112"/>
              <a:gd name="connsiteX19742" fmla="*/ 4892852 w 6785952"/>
              <a:gd name="connsiteY19742" fmla="*/ 4680467 h 5217112"/>
              <a:gd name="connsiteX19743" fmla="*/ 4891649 w 6785952"/>
              <a:gd name="connsiteY19743" fmla="*/ 4687771 h 5217112"/>
              <a:gd name="connsiteX19744" fmla="*/ 4896158 w 6785952"/>
              <a:gd name="connsiteY19744" fmla="*/ 4698949 h 5217112"/>
              <a:gd name="connsiteX19745" fmla="*/ 4900667 w 6785952"/>
              <a:gd name="connsiteY19745" fmla="*/ 4704815 h 5217112"/>
              <a:gd name="connsiteX19746" fmla="*/ 4904275 w 6785952"/>
              <a:gd name="connsiteY19746" fmla="*/ 4721858 h 5217112"/>
              <a:gd name="connsiteX19747" fmla="*/ 4894655 w 6785952"/>
              <a:gd name="connsiteY19747" fmla="*/ 4729273 h 5217112"/>
              <a:gd name="connsiteX19748" fmla="*/ 4881428 w 6785952"/>
              <a:gd name="connsiteY19748" fmla="*/ 4719645 h 5217112"/>
              <a:gd name="connsiteX19749" fmla="*/ 4876318 w 6785952"/>
              <a:gd name="connsiteY19749" fmla="*/ 4706032 h 5217112"/>
              <a:gd name="connsiteX19750" fmla="*/ 4876017 w 6785952"/>
              <a:gd name="connsiteY19750" fmla="*/ 4698174 h 5217112"/>
              <a:gd name="connsiteX19751" fmla="*/ 4869103 w 6785952"/>
              <a:gd name="connsiteY19751" fmla="*/ 4687660 h 5217112"/>
              <a:gd name="connsiteX19752" fmla="*/ 4864895 w 6785952"/>
              <a:gd name="connsiteY19752" fmla="*/ 4685447 h 5217112"/>
              <a:gd name="connsiteX19753" fmla="*/ 4859784 w 6785952"/>
              <a:gd name="connsiteY19753" fmla="*/ 4686664 h 5217112"/>
              <a:gd name="connsiteX19754" fmla="*/ 4856176 w 6785952"/>
              <a:gd name="connsiteY19754" fmla="*/ 4685447 h 5217112"/>
              <a:gd name="connsiteX19755" fmla="*/ 4855274 w 6785952"/>
              <a:gd name="connsiteY19755" fmla="*/ 4685668 h 5217112"/>
              <a:gd name="connsiteX19756" fmla="*/ 4848361 w 6785952"/>
              <a:gd name="connsiteY19756" fmla="*/ 4690317 h 5217112"/>
              <a:gd name="connsiteX19757" fmla="*/ 4829722 w 6785952"/>
              <a:gd name="connsiteY19757" fmla="*/ 4721083 h 5217112"/>
              <a:gd name="connsiteX19758" fmla="*/ 4782826 w 6785952"/>
              <a:gd name="connsiteY19758" fmla="*/ 4701052 h 5217112"/>
              <a:gd name="connsiteX19759" fmla="*/ 4776814 w 6785952"/>
              <a:gd name="connsiteY19759" fmla="*/ 4752625 h 5217112"/>
              <a:gd name="connsiteX19760" fmla="*/ 4764790 w 6785952"/>
              <a:gd name="connsiteY19760" fmla="*/ 4747644 h 5217112"/>
              <a:gd name="connsiteX19761" fmla="*/ 4765090 w 6785952"/>
              <a:gd name="connsiteY19761" fmla="*/ 4720641 h 5217112"/>
              <a:gd name="connsiteX19762" fmla="*/ 4735329 w 6785952"/>
              <a:gd name="connsiteY19762" fmla="*/ 4700720 h 5217112"/>
              <a:gd name="connsiteX19763" fmla="*/ 4723304 w 6785952"/>
              <a:gd name="connsiteY19763" fmla="*/ 4700166 h 5217112"/>
              <a:gd name="connsiteX19764" fmla="*/ 4723905 w 6785952"/>
              <a:gd name="connsiteY19764" fmla="*/ 4706032 h 5217112"/>
              <a:gd name="connsiteX19765" fmla="*/ 4711580 w 6785952"/>
              <a:gd name="connsiteY19765" fmla="*/ 4707028 h 5217112"/>
              <a:gd name="connsiteX19766" fmla="*/ 4710078 w 6785952"/>
              <a:gd name="connsiteY19766" fmla="*/ 4704925 h 5217112"/>
              <a:gd name="connsiteX19767" fmla="*/ 4705568 w 6785952"/>
              <a:gd name="connsiteY19767" fmla="*/ 4706917 h 5217112"/>
              <a:gd name="connsiteX19768" fmla="*/ 4673402 w 6785952"/>
              <a:gd name="connsiteY19768" fmla="*/ 4755059 h 5217112"/>
              <a:gd name="connsiteX19769" fmla="*/ 4668593 w 6785952"/>
              <a:gd name="connsiteY19769" fmla="*/ 4741447 h 5217112"/>
              <a:gd name="connsiteX19770" fmla="*/ 4663783 w 6785952"/>
              <a:gd name="connsiteY19770" fmla="*/ 4735581 h 5217112"/>
              <a:gd name="connsiteX19771" fmla="*/ 4646648 w 6785952"/>
              <a:gd name="connsiteY19771" fmla="*/ 4763138 h 5217112"/>
              <a:gd name="connsiteX19772" fmla="*/ 4648151 w 6785952"/>
              <a:gd name="connsiteY19772" fmla="*/ 4743550 h 5217112"/>
              <a:gd name="connsiteX19773" fmla="*/ 4640635 w 6785952"/>
              <a:gd name="connsiteY19773" fmla="*/ 4748751 h 5217112"/>
              <a:gd name="connsiteX19774" fmla="*/ 4627408 w 6785952"/>
              <a:gd name="connsiteY19774" fmla="*/ 4724957 h 5217112"/>
              <a:gd name="connsiteX19775" fmla="*/ 4626206 w 6785952"/>
              <a:gd name="connsiteY19775" fmla="*/ 4709795 h 5217112"/>
              <a:gd name="connsiteX19776" fmla="*/ 4621096 w 6785952"/>
              <a:gd name="connsiteY19776" fmla="*/ 4705811 h 5217112"/>
              <a:gd name="connsiteX19777" fmla="*/ 4619592 w 6785952"/>
              <a:gd name="connsiteY19777" fmla="*/ 4674269 h 5217112"/>
              <a:gd name="connsiteX19778" fmla="*/ 4582016 w 6785952"/>
              <a:gd name="connsiteY19778" fmla="*/ 4638965 h 5217112"/>
              <a:gd name="connsiteX19779" fmla="*/ 4545941 w 6785952"/>
              <a:gd name="connsiteY19779" fmla="*/ 4697178 h 5217112"/>
              <a:gd name="connsiteX19780" fmla="*/ 4534217 w 6785952"/>
              <a:gd name="connsiteY19780" fmla="*/ 4692198 h 5217112"/>
              <a:gd name="connsiteX19781" fmla="*/ 4545340 w 6785952"/>
              <a:gd name="connsiteY19781" fmla="*/ 4619487 h 5217112"/>
              <a:gd name="connsiteX19782" fmla="*/ 4533316 w 6785952"/>
              <a:gd name="connsiteY19782" fmla="*/ 4614507 h 5217112"/>
              <a:gd name="connsiteX19783" fmla="*/ 4533015 w 6785952"/>
              <a:gd name="connsiteY19783" fmla="*/ 4606649 h 5217112"/>
              <a:gd name="connsiteX19784" fmla="*/ 4525500 w 6785952"/>
              <a:gd name="connsiteY19784" fmla="*/ 4599566 h 5217112"/>
              <a:gd name="connsiteX19785" fmla="*/ 4525800 w 6785952"/>
              <a:gd name="connsiteY19785" fmla="*/ 4572562 h 5217112"/>
              <a:gd name="connsiteX19786" fmla="*/ 4506561 w 6785952"/>
              <a:gd name="connsiteY19786" fmla="*/ 4562713 h 5217112"/>
              <a:gd name="connsiteX19787" fmla="*/ 4501150 w 6785952"/>
              <a:gd name="connsiteY19787" fmla="*/ 4564041 h 5217112"/>
              <a:gd name="connsiteX19788" fmla="*/ 4496039 w 6785952"/>
              <a:gd name="connsiteY19788" fmla="*/ 4579313 h 5217112"/>
              <a:gd name="connsiteX19789" fmla="*/ 4484616 w 6785952"/>
              <a:gd name="connsiteY19789" fmla="*/ 4588942 h 5217112"/>
              <a:gd name="connsiteX19790" fmla="*/ 4488524 w 6785952"/>
              <a:gd name="connsiteY19790" fmla="*/ 4588610 h 5217112"/>
              <a:gd name="connsiteX19791" fmla="*/ 4493936 w 6785952"/>
              <a:gd name="connsiteY19791" fmla="*/ 4592483 h 5217112"/>
              <a:gd name="connsiteX19792" fmla="*/ 4495438 w 6785952"/>
              <a:gd name="connsiteY19792" fmla="*/ 4607202 h 5217112"/>
              <a:gd name="connsiteX19793" fmla="*/ 4492734 w 6785952"/>
              <a:gd name="connsiteY19793" fmla="*/ 4612072 h 5217112"/>
              <a:gd name="connsiteX19794" fmla="*/ 4463273 w 6785952"/>
              <a:gd name="connsiteY19794" fmla="*/ 4592040 h 5217112"/>
              <a:gd name="connsiteX19795" fmla="*/ 4463573 w 6785952"/>
              <a:gd name="connsiteY19795" fmla="*/ 4591487 h 5217112"/>
              <a:gd name="connsiteX19796" fmla="*/ 4463573 w 6785952"/>
              <a:gd name="connsiteY19796" fmla="*/ 4591376 h 5217112"/>
              <a:gd name="connsiteX19797" fmla="*/ 4449144 w 6785952"/>
              <a:gd name="connsiteY19797" fmla="*/ 4561384 h 5217112"/>
              <a:gd name="connsiteX19798" fmla="*/ 4450647 w 6785952"/>
              <a:gd name="connsiteY19798" fmla="*/ 4551424 h 5217112"/>
              <a:gd name="connsiteX19799" fmla="*/ 4446739 w 6785952"/>
              <a:gd name="connsiteY19799" fmla="*/ 4548768 h 5217112"/>
              <a:gd name="connsiteX19800" fmla="*/ 4442530 w 6785952"/>
              <a:gd name="connsiteY19800" fmla="*/ 4540578 h 5217112"/>
              <a:gd name="connsiteX19801" fmla="*/ 4446439 w 6785952"/>
              <a:gd name="connsiteY19801" fmla="*/ 4530397 h 5217112"/>
              <a:gd name="connsiteX19802" fmla="*/ 4452150 w 6785952"/>
              <a:gd name="connsiteY19802" fmla="*/ 4528626 h 5217112"/>
              <a:gd name="connsiteX19803" fmla="*/ 4450046 w 6785952"/>
              <a:gd name="connsiteY19803" fmla="*/ 4526966 h 5217112"/>
              <a:gd name="connsiteX19804" fmla="*/ 4446137 w 6785952"/>
              <a:gd name="connsiteY19804" fmla="*/ 4522871 h 5217112"/>
              <a:gd name="connsiteX19805" fmla="*/ 4451548 w 6785952"/>
              <a:gd name="connsiteY19805" fmla="*/ 4518665 h 5217112"/>
              <a:gd name="connsiteX19806" fmla="*/ 4455757 w 6785952"/>
              <a:gd name="connsiteY19806" fmla="*/ 4518333 h 5217112"/>
              <a:gd name="connsiteX19807" fmla="*/ 4455156 w 6785952"/>
              <a:gd name="connsiteY19807" fmla="*/ 4516341 h 5217112"/>
              <a:gd name="connsiteX19808" fmla="*/ 4470789 w 6785952"/>
              <a:gd name="connsiteY19808" fmla="*/ 4505606 h 5217112"/>
              <a:gd name="connsiteX19809" fmla="*/ 4474696 w 6785952"/>
              <a:gd name="connsiteY19809" fmla="*/ 4512689 h 5217112"/>
              <a:gd name="connsiteX19810" fmla="*/ 4476500 w 6785952"/>
              <a:gd name="connsiteY19810" fmla="*/ 4518333 h 5217112"/>
              <a:gd name="connsiteX19811" fmla="*/ 4466880 w 6785952"/>
              <a:gd name="connsiteY19811" fmla="*/ 4526744 h 5217112"/>
              <a:gd name="connsiteX19812" fmla="*/ 4466279 w 6785952"/>
              <a:gd name="connsiteY19812" fmla="*/ 4526744 h 5217112"/>
              <a:gd name="connsiteX19813" fmla="*/ 4466279 w 6785952"/>
              <a:gd name="connsiteY19813" fmla="*/ 4526966 h 5217112"/>
              <a:gd name="connsiteX19814" fmla="*/ 4464174 w 6785952"/>
              <a:gd name="connsiteY19814" fmla="*/ 4529400 h 5217112"/>
              <a:gd name="connsiteX19815" fmla="*/ 4467180 w 6785952"/>
              <a:gd name="connsiteY19815" fmla="*/ 4530397 h 5217112"/>
              <a:gd name="connsiteX19816" fmla="*/ 4469886 w 6785952"/>
              <a:gd name="connsiteY19816" fmla="*/ 4535930 h 5217112"/>
              <a:gd name="connsiteX19817" fmla="*/ 4475898 w 6785952"/>
              <a:gd name="connsiteY19817" fmla="*/ 4532389 h 5217112"/>
              <a:gd name="connsiteX19818" fmla="*/ 4484015 w 6785952"/>
              <a:gd name="connsiteY19818" fmla="*/ 4536926 h 5217112"/>
              <a:gd name="connsiteX19819" fmla="*/ 4486720 w 6785952"/>
              <a:gd name="connsiteY19819" fmla="*/ 4535155 h 5217112"/>
              <a:gd name="connsiteX19820" fmla="*/ 4487021 w 6785952"/>
              <a:gd name="connsiteY19820" fmla="*/ 4535045 h 5217112"/>
              <a:gd name="connsiteX19821" fmla="*/ 4484616 w 6785952"/>
              <a:gd name="connsiteY19821" fmla="*/ 4520325 h 5217112"/>
              <a:gd name="connsiteX19822" fmla="*/ 4475598 w 6785952"/>
              <a:gd name="connsiteY19822" fmla="*/ 4508705 h 5217112"/>
              <a:gd name="connsiteX19823" fmla="*/ 4474997 w 6785952"/>
              <a:gd name="connsiteY19823" fmla="*/ 4500847 h 5217112"/>
              <a:gd name="connsiteX19824" fmla="*/ 4407359 w 6785952"/>
              <a:gd name="connsiteY19824" fmla="*/ 4464326 h 5217112"/>
              <a:gd name="connsiteX19825" fmla="*/ 4417879 w 6785952"/>
              <a:gd name="connsiteY19825" fmla="*/ 4418508 h 5217112"/>
              <a:gd name="connsiteX19826" fmla="*/ 4424193 w 6785952"/>
              <a:gd name="connsiteY19826" fmla="*/ 4407109 h 5217112"/>
              <a:gd name="connsiteX19827" fmla="*/ 4413972 w 6785952"/>
              <a:gd name="connsiteY19827" fmla="*/ 4401796 h 5217112"/>
              <a:gd name="connsiteX19828" fmla="*/ 4401045 w 6785952"/>
              <a:gd name="connsiteY19828" fmla="*/ 4410871 h 5217112"/>
              <a:gd name="connsiteX19829" fmla="*/ 4394732 w 6785952"/>
              <a:gd name="connsiteY19829" fmla="*/ 4417954 h 5217112"/>
              <a:gd name="connsiteX19830" fmla="*/ 4401346 w 6785952"/>
              <a:gd name="connsiteY19830" fmla="*/ 4425369 h 5217112"/>
              <a:gd name="connsiteX19831" fmla="*/ 4391125 w 6785952"/>
              <a:gd name="connsiteY19831" fmla="*/ 4424484 h 5217112"/>
              <a:gd name="connsiteX19832" fmla="*/ 4390523 w 6785952"/>
              <a:gd name="connsiteY19832" fmla="*/ 4423488 h 5217112"/>
              <a:gd name="connsiteX19833" fmla="*/ 4387217 w 6785952"/>
              <a:gd name="connsiteY19833" fmla="*/ 4428579 h 5217112"/>
              <a:gd name="connsiteX19834" fmla="*/ 4374591 w 6785952"/>
              <a:gd name="connsiteY19834" fmla="*/ 4445290 h 5217112"/>
              <a:gd name="connsiteX19835" fmla="*/ 4380303 w 6785952"/>
              <a:gd name="connsiteY19835" fmla="*/ 4427915 h 5217112"/>
              <a:gd name="connsiteX19836" fmla="*/ 4389922 w 6785952"/>
              <a:gd name="connsiteY19836" fmla="*/ 4410318 h 5217112"/>
              <a:gd name="connsiteX19837" fmla="*/ 4376094 w 6785952"/>
              <a:gd name="connsiteY19837" fmla="*/ 4418397 h 5217112"/>
              <a:gd name="connsiteX19838" fmla="*/ 4375793 w 6785952"/>
              <a:gd name="connsiteY19838" fmla="*/ 4432784 h 5217112"/>
              <a:gd name="connsiteX19839" fmla="*/ 4366775 w 6785952"/>
              <a:gd name="connsiteY19839" fmla="*/ 4438871 h 5217112"/>
              <a:gd name="connsiteX19840" fmla="*/ 4367376 w 6785952"/>
              <a:gd name="connsiteY19840" fmla="*/ 4445954 h 5217112"/>
              <a:gd name="connsiteX19841" fmla="*/ 4360162 w 6785952"/>
              <a:gd name="connsiteY19841" fmla="*/ 4453591 h 5217112"/>
              <a:gd name="connsiteX19842" fmla="*/ 4350842 w 6785952"/>
              <a:gd name="connsiteY19842" fmla="*/ 4453812 h 5217112"/>
              <a:gd name="connsiteX19843" fmla="*/ 4351143 w 6785952"/>
              <a:gd name="connsiteY19843" fmla="*/ 4440310 h 5217112"/>
              <a:gd name="connsiteX19844" fmla="*/ 4358058 w 6785952"/>
              <a:gd name="connsiteY19844" fmla="*/ 4433116 h 5217112"/>
              <a:gd name="connsiteX19845" fmla="*/ 4356254 w 6785952"/>
              <a:gd name="connsiteY19845" fmla="*/ 4433227 h 5217112"/>
              <a:gd name="connsiteX19846" fmla="*/ 4337316 w 6785952"/>
              <a:gd name="connsiteY19846" fmla="*/ 4445622 h 5217112"/>
              <a:gd name="connsiteX19847" fmla="*/ 4335512 w 6785952"/>
              <a:gd name="connsiteY19847" fmla="*/ 4447282 h 5217112"/>
              <a:gd name="connsiteX19848" fmla="*/ 4336413 w 6785952"/>
              <a:gd name="connsiteY19848" fmla="*/ 4447504 h 5217112"/>
              <a:gd name="connsiteX19849" fmla="*/ 4339119 w 6785952"/>
              <a:gd name="connsiteY19849" fmla="*/ 4450270 h 5217112"/>
              <a:gd name="connsiteX19850" fmla="*/ 4334910 w 6785952"/>
              <a:gd name="connsiteY19850" fmla="*/ 4449606 h 5217112"/>
              <a:gd name="connsiteX19851" fmla="*/ 4334008 w 6785952"/>
              <a:gd name="connsiteY19851" fmla="*/ 4448721 h 5217112"/>
              <a:gd name="connsiteX19852" fmla="*/ 4326493 w 6785952"/>
              <a:gd name="connsiteY19852" fmla="*/ 4456468 h 5217112"/>
              <a:gd name="connsiteX19853" fmla="*/ 4321082 w 6785952"/>
              <a:gd name="connsiteY19853" fmla="*/ 4462444 h 5217112"/>
              <a:gd name="connsiteX19854" fmla="*/ 4316272 w 6785952"/>
              <a:gd name="connsiteY19854" fmla="*/ 4466428 h 5217112"/>
              <a:gd name="connsiteX19855" fmla="*/ 4322885 w 6785952"/>
              <a:gd name="connsiteY19855" fmla="*/ 4466539 h 5217112"/>
              <a:gd name="connsiteX19856" fmla="*/ 4345732 w 6785952"/>
              <a:gd name="connsiteY19856" fmla="*/ 4476278 h 5217112"/>
              <a:gd name="connsiteX19857" fmla="*/ 4314769 w 6785952"/>
              <a:gd name="connsiteY19857" fmla="*/ 4476832 h 5217112"/>
              <a:gd name="connsiteX19858" fmla="*/ 4308156 w 6785952"/>
              <a:gd name="connsiteY19858" fmla="*/ 4472847 h 5217112"/>
              <a:gd name="connsiteX19859" fmla="*/ 4300339 w 6785952"/>
              <a:gd name="connsiteY19859" fmla="*/ 4480262 h 5217112"/>
              <a:gd name="connsiteX19860" fmla="*/ 4274787 w 6785952"/>
              <a:gd name="connsiteY19860" fmla="*/ 4488452 h 5217112"/>
              <a:gd name="connsiteX19861" fmla="*/ 4264566 w 6785952"/>
              <a:gd name="connsiteY19861" fmla="*/ 4507377 h 5217112"/>
              <a:gd name="connsiteX19862" fmla="*/ 4261260 w 6785952"/>
              <a:gd name="connsiteY19862" fmla="*/ 4509369 h 5217112"/>
              <a:gd name="connsiteX19863" fmla="*/ 4264266 w 6785952"/>
              <a:gd name="connsiteY19863" fmla="*/ 4516784 h 5217112"/>
              <a:gd name="connsiteX19864" fmla="*/ 4266370 w 6785952"/>
              <a:gd name="connsiteY19864" fmla="*/ 4555298 h 5217112"/>
              <a:gd name="connsiteX19865" fmla="*/ 4250738 w 6785952"/>
              <a:gd name="connsiteY19865" fmla="*/ 4539250 h 5217112"/>
              <a:gd name="connsiteX19866" fmla="*/ 4242922 w 6785952"/>
              <a:gd name="connsiteY19866" fmla="*/ 4520547 h 5217112"/>
              <a:gd name="connsiteX19867" fmla="*/ 4219775 w 6785952"/>
              <a:gd name="connsiteY19867" fmla="*/ 4537147 h 5217112"/>
              <a:gd name="connsiteX19868" fmla="*/ 4206547 w 6785952"/>
              <a:gd name="connsiteY19868" fmla="*/ 4547219 h 5217112"/>
              <a:gd name="connsiteX19869" fmla="*/ 4194824 w 6785952"/>
              <a:gd name="connsiteY19869" fmla="*/ 4557622 h 5217112"/>
              <a:gd name="connsiteX19870" fmla="*/ 4172578 w 6785952"/>
              <a:gd name="connsiteY19870" fmla="*/ 4583740 h 5217112"/>
              <a:gd name="connsiteX19871" fmla="*/ 4162657 w 6785952"/>
              <a:gd name="connsiteY19871" fmla="*/ 4578871 h 5217112"/>
              <a:gd name="connsiteX19872" fmla="*/ 4178590 w 6785952"/>
              <a:gd name="connsiteY19872" fmla="*/ 4573005 h 5217112"/>
              <a:gd name="connsiteX19873" fmla="*/ 4138008 w 6785952"/>
              <a:gd name="connsiteY19873" fmla="*/ 4584957 h 5217112"/>
              <a:gd name="connsiteX19874" fmla="*/ 4147927 w 6785952"/>
              <a:gd name="connsiteY19874" fmla="*/ 4589938 h 5217112"/>
              <a:gd name="connsiteX19875" fmla="*/ 4103436 w 6785952"/>
              <a:gd name="connsiteY19875" fmla="*/ 4602886 h 5217112"/>
              <a:gd name="connsiteX19876" fmla="*/ 4099529 w 6785952"/>
              <a:gd name="connsiteY19876" fmla="*/ 4611076 h 5217112"/>
              <a:gd name="connsiteX19877" fmla="*/ 4102835 w 6785952"/>
              <a:gd name="connsiteY19877" fmla="*/ 4611408 h 5217112"/>
              <a:gd name="connsiteX19878" fmla="*/ 4106743 w 6785952"/>
              <a:gd name="connsiteY19878" fmla="*/ 4611740 h 5217112"/>
              <a:gd name="connsiteX19879" fmla="*/ 4103436 w 6785952"/>
              <a:gd name="connsiteY19879" fmla="*/ 4625021 h 5217112"/>
              <a:gd name="connsiteX19880" fmla="*/ 4097424 w 6785952"/>
              <a:gd name="connsiteY19880" fmla="*/ 4627455 h 5217112"/>
              <a:gd name="connsiteX19881" fmla="*/ 4090810 w 6785952"/>
              <a:gd name="connsiteY19881" fmla="*/ 4626570 h 5217112"/>
              <a:gd name="connsiteX19882" fmla="*/ 4079687 w 6785952"/>
              <a:gd name="connsiteY19882" fmla="*/ 4625353 h 5217112"/>
              <a:gd name="connsiteX19883" fmla="*/ 4079387 w 6785952"/>
              <a:gd name="connsiteY19883" fmla="*/ 4622918 h 5217112"/>
              <a:gd name="connsiteX19884" fmla="*/ 4072774 w 6785952"/>
              <a:gd name="connsiteY19884" fmla="*/ 4626570 h 5217112"/>
              <a:gd name="connsiteX19885" fmla="*/ 4069167 w 6785952"/>
              <a:gd name="connsiteY19885" fmla="*/ 4623692 h 5217112"/>
              <a:gd name="connsiteX19886" fmla="*/ 4067363 w 6785952"/>
              <a:gd name="connsiteY19886" fmla="*/ 4625242 h 5217112"/>
              <a:gd name="connsiteX19887" fmla="*/ 4076381 w 6785952"/>
              <a:gd name="connsiteY19887" fmla="*/ 4628230 h 5217112"/>
              <a:gd name="connsiteX19888" fmla="*/ 4037301 w 6785952"/>
              <a:gd name="connsiteY19888" fmla="*/ 4653463 h 5217112"/>
              <a:gd name="connsiteX19889" fmla="*/ 4016259 w 6785952"/>
              <a:gd name="connsiteY19889" fmla="*/ 4648151 h 5217112"/>
              <a:gd name="connsiteX19890" fmla="*/ 3983191 w 6785952"/>
              <a:gd name="connsiteY19890" fmla="*/ 4672277 h 5217112"/>
              <a:gd name="connsiteX19891" fmla="*/ 3962748 w 6785952"/>
              <a:gd name="connsiteY19891" fmla="*/ 4682902 h 5217112"/>
              <a:gd name="connsiteX19892" fmla="*/ 3941105 w 6785952"/>
              <a:gd name="connsiteY19892" fmla="*/ 4693305 h 5217112"/>
              <a:gd name="connsiteX19893" fmla="*/ 3895711 w 6785952"/>
              <a:gd name="connsiteY19893" fmla="*/ 4711565 h 5217112"/>
              <a:gd name="connsiteX19894" fmla="*/ 3851221 w 6785952"/>
              <a:gd name="connsiteY19894" fmla="*/ 4722301 h 5217112"/>
              <a:gd name="connsiteX19895" fmla="*/ 3850319 w 6785952"/>
              <a:gd name="connsiteY19895" fmla="*/ 4723075 h 5217112"/>
              <a:gd name="connsiteX19896" fmla="*/ 3852424 w 6785952"/>
              <a:gd name="connsiteY19896" fmla="*/ 4723739 h 5217112"/>
              <a:gd name="connsiteX19897" fmla="*/ 3847914 w 6785952"/>
              <a:gd name="connsiteY19897" fmla="*/ 4725731 h 5217112"/>
              <a:gd name="connsiteX19898" fmla="*/ 3847313 w 6785952"/>
              <a:gd name="connsiteY19898" fmla="*/ 4725621 h 5217112"/>
              <a:gd name="connsiteX19899" fmla="*/ 3837693 w 6785952"/>
              <a:gd name="connsiteY19899" fmla="*/ 4734364 h 5217112"/>
              <a:gd name="connsiteX19900" fmla="*/ 3848214 w 6785952"/>
              <a:gd name="connsiteY19900" fmla="*/ 4738569 h 5217112"/>
              <a:gd name="connsiteX19901" fmla="*/ 3852424 w 6785952"/>
              <a:gd name="connsiteY19901" fmla="*/ 4749636 h 5217112"/>
              <a:gd name="connsiteX19902" fmla="*/ 3851221 w 6785952"/>
              <a:gd name="connsiteY19902" fmla="*/ 4756055 h 5217112"/>
              <a:gd name="connsiteX19903" fmla="*/ 3853926 w 6785952"/>
              <a:gd name="connsiteY19903" fmla="*/ 4756941 h 5217112"/>
              <a:gd name="connsiteX19904" fmla="*/ 3852123 w 6785952"/>
              <a:gd name="connsiteY19904" fmla="*/ 4765684 h 5217112"/>
              <a:gd name="connsiteX19905" fmla="*/ 3847012 w 6785952"/>
              <a:gd name="connsiteY19905" fmla="*/ 4767897 h 5217112"/>
              <a:gd name="connsiteX19906" fmla="*/ 3845208 w 6785952"/>
              <a:gd name="connsiteY19906" fmla="*/ 4766569 h 5217112"/>
              <a:gd name="connsiteX19907" fmla="*/ 3833785 w 6785952"/>
              <a:gd name="connsiteY19907" fmla="*/ 4780071 h 5217112"/>
              <a:gd name="connsiteX19908" fmla="*/ 3815749 w 6785952"/>
              <a:gd name="connsiteY19908" fmla="*/ 4771328 h 5217112"/>
              <a:gd name="connsiteX19909" fmla="*/ 3826269 w 6785952"/>
              <a:gd name="connsiteY19909" fmla="*/ 4739123 h 5217112"/>
              <a:gd name="connsiteX19910" fmla="*/ 3828374 w 6785952"/>
              <a:gd name="connsiteY19910" fmla="*/ 4737684 h 5217112"/>
              <a:gd name="connsiteX19911" fmla="*/ 3815749 w 6785952"/>
              <a:gd name="connsiteY19911" fmla="*/ 4740783 h 5217112"/>
              <a:gd name="connsiteX19912" fmla="*/ 3777570 w 6785952"/>
              <a:gd name="connsiteY19912" fmla="*/ 4753510 h 5217112"/>
              <a:gd name="connsiteX19913" fmla="*/ 3758331 w 6785952"/>
              <a:gd name="connsiteY19913" fmla="*/ 4742332 h 5217112"/>
              <a:gd name="connsiteX19914" fmla="*/ 3755325 w 6785952"/>
              <a:gd name="connsiteY19914" fmla="*/ 4747644 h 5217112"/>
              <a:gd name="connsiteX19915" fmla="*/ 3754122 w 6785952"/>
              <a:gd name="connsiteY19915" fmla="*/ 4747312 h 5217112"/>
              <a:gd name="connsiteX19916" fmla="*/ 3738491 w 6785952"/>
              <a:gd name="connsiteY19916" fmla="*/ 4751629 h 5217112"/>
              <a:gd name="connsiteX19917" fmla="*/ 3737288 w 6785952"/>
              <a:gd name="connsiteY19917" fmla="*/ 4751297 h 5217112"/>
              <a:gd name="connsiteX19918" fmla="*/ 3736687 w 6785952"/>
              <a:gd name="connsiteY19918" fmla="*/ 4752625 h 5217112"/>
              <a:gd name="connsiteX19919" fmla="*/ 3736086 w 6785952"/>
              <a:gd name="connsiteY19919" fmla="*/ 4754063 h 5217112"/>
              <a:gd name="connsiteX19920" fmla="*/ 3729171 w 6785952"/>
              <a:gd name="connsiteY19920" fmla="*/ 4753399 h 5217112"/>
              <a:gd name="connsiteX19921" fmla="*/ 3731275 w 6785952"/>
              <a:gd name="connsiteY19921" fmla="*/ 4765241 h 5217112"/>
              <a:gd name="connsiteX19922" fmla="*/ 3716546 w 6785952"/>
              <a:gd name="connsiteY19922" fmla="*/ 4776308 h 5217112"/>
              <a:gd name="connsiteX19923" fmla="*/ 3710834 w 6785952"/>
              <a:gd name="connsiteY19923" fmla="*/ 4786047 h 5217112"/>
              <a:gd name="connsiteX19924" fmla="*/ 3712036 w 6785952"/>
              <a:gd name="connsiteY19924" fmla="*/ 4786822 h 5217112"/>
              <a:gd name="connsiteX19925" fmla="*/ 3710232 w 6785952"/>
              <a:gd name="connsiteY19925" fmla="*/ 4790474 h 5217112"/>
              <a:gd name="connsiteX19926" fmla="*/ 3712036 w 6785952"/>
              <a:gd name="connsiteY19926" fmla="*/ 4794901 h 5217112"/>
              <a:gd name="connsiteX19927" fmla="*/ 3700613 w 6785952"/>
              <a:gd name="connsiteY19927" fmla="*/ 4799992 h 5217112"/>
              <a:gd name="connsiteX19928" fmla="*/ 3699411 w 6785952"/>
              <a:gd name="connsiteY19928" fmla="*/ 4794569 h 5217112"/>
              <a:gd name="connsiteX19929" fmla="*/ 3699411 w 6785952"/>
              <a:gd name="connsiteY19929" fmla="*/ 4794348 h 5217112"/>
              <a:gd name="connsiteX19930" fmla="*/ 3699411 w 6785952"/>
              <a:gd name="connsiteY19930" fmla="*/ 4794237 h 5217112"/>
              <a:gd name="connsiteX19931" fmla="*/ 3699711 w 6785952"/>
              <a:gd name="connsiteY19931" fmla="*/ 4794237 h 5217112"/>
              <a:gd name="connsiteX19932" fmla="*/ 3699711 w 6785952"/>
              <a:gd name="connsiteY19932" fmla="*/ 4793241 h 5217112"/>
              <a:gd name="connsiteX19933" fmla="*/ 3695803 w 6785952"/>
              <a:gd name="connsiteY19933" fmla="*/ 4790806 h 5217112"/>
              <a:gd name="connsiteX19934" fmla="*/ 3699711 w 6785952"/>
              <a:gd name="connsiteY19934" fmla="*/ 4779960 h 5217112"/>
              <a:gd name="connsiteX19935" fmla="*/ 3704822 w 6785952"/>
              <a:gd name="connsiteY19935" fmla="*/ 4782838 h 5217112"/>
              <a:gd name="connsiteX19936" fmla="*/ 3708729 w 6785952"/>
              <a:gd name="connsiteY19936" fmla="*/ 4778411 h 5217112"/>
              <a:gd name="connsiteX19937" fmla="*/ 3716245 w 6785952"/>
              <a:gd name="connsiteY19937" fmla="*/ 4768119 h 5217112"/>
              <a:gd name="connsiteX19938" fmla="*/ 3704520 w 6785952"/>
              <a:gd name="connsiteY19938" fmla="*/ 4764356 h 5217112"/>
              <a:gd name="connsiteX19939" fmla="*/ 3703318 w 6785952"/>
              <a:gd name="connsiteY19939" fmla="*/ 4763913 h 5217112"/>
              <a:gd name="connsiteX19940" fmla="*/ 3702116 w 6785952"/>
              <a:gd name="connsiteY19940" fmla="*/ 4763470 h 5217112"/>
              <a:gd name="connsiteX19941" fmla="*/ 3700312 w 6785952"/>
              <a:gd name="connsiteY19941" fmla="*/ 4764466 h 5217112"/>
              <a:gd name="connsiteX19942" fmla="*/ 3693097 w 6785952"/>
              <a:gd name="connsiteY19942" fmla="*/ 4765241 h 5217112"/>
              <a:gd name="connsiteX19943" fmla="*/ 3680171 w 6785952"/>
              <a:gd name="connsiteY19943" fmla="*/ 4770443 h 5217112"/>
              <a:gd name="connsiteX19944" fmla="*/ 3683177 w 6785952"/>
              <a:gd name="connsiteY19944" fmla="*/ 4760261 h 5217112"/>
              <a:gd name="connsiteX19945" fmla="*/ 3625459 w 6785952"/>
              <a:gd name="connsiteY19945" fmla="*/ 4772877 h 5217112"/>
              <a:gd name="connsiteX19946" fmla="*/ 3625159 w 6785952"/>
              <a:gd name="connsiteY19946" fmla="*/ 4782506 h 5217112"/>
              <a:gd name="connsiteX19947" fmla="*/ 3619748 w 6785952"/>
              <a:gd name="connsiteY19947" fmla="*/ 4782174 h 5217112"/>
              <a:gd name="connsiteX19948" fmla="*/ 3614036 w 6785952"/>
              <a:gd name="connsiteY19948" fmla="*/ 4781952 h 5217112"/>
              <a:gd name="connsiteX19949" fmla="*/ 3605318 w 6785952"/>
              <a:gd name="connsiteY19949" fmla="*/ 4782284 h 5217112"/>
              <a:gd name="connsiteX19950" fmla="*/ 3586680 w 6785952"/>
              <a:gd name="connsiteY19950" fmla="*/ 4783834 h 5217112"/>
              <a:gd name="connsiteX19951" fmla="*/ 3548201 w 6785952"/>
              <a:gd name="connsiteY19951" fmla="*/ 4788593 h 5217112"/>
              <a:gd name="connsiteX19952" fmla="*/ 3509121 w 6785952"/>
              <a:gd name="connsiteY19952" fmla="*/ 4791470 h 5217112"/>
              <a:gd name="connsiteX19953" fmla="*/ 3488078 w 6785952"/>
              <a:gd name="connsiteY19953" fmla="*/ 4790806 h 5217112"/>
              <a:gd name="connsiteX19954" fmla="*/ 3467336 w 6785952"/>
              <a:gd name="connsiteY19954" fmla="*/ 4788703 h 5217112"/>
              <a:gd name="connsiteX19955" fmla="*/ 3463729 w 6785952"/>
              <a:gd name="connsiteY19955" fmla="*/ 4800324 h 5217112"/>
              <a:gd name="connsiteX19956" fmla="*/ 3426452 w 6785952"/>
              <a:gd name="connsiteY19956" fmla="*/ 4797336 h 5217112"/>
              <a:gd name="connsiteX19957" fmla="*/ 3403004 w 6785952"/>
              <a:gd name="connsiteY19957" fmla="*/ 4791028 h 5217112"/>
              <a:gd name="connsiteX19958" fmla="*/ 3394888 w 6785952"/>
              <a:gd name="connsiteY19958" fmla="*/ 4802759 h 5217112"/>
              <a:gd name="connsiteX19959" fmla="*/ 3386771 w 6785952"/>
              <a:gd name="connsiteY19959" fmla="*/ 4783945 h 5217112"/>
              <a:gd name="connsiteX19960" fmla="*/ 3345286 w 6785952"/>
              <a:gd name="connsiteY19960" fmla="*/ 4794126 h 5217112"/>
              <a:gd name="connsiteX19961" fmla="*/ 3362421 w 6785952"/>
              <a:gd name="connsiteY19961" fmla="*/ 4788703 h 5217112"/>
              <a:gd name="connsiteX19962" fmla="*/ 3333563 w 6785952"/>
              <a:gd name="connsiteY19962" fmla="*/ 4777304 h 5217112"/>
              <a:gd name="connsiteX19963" fmla="*/ 3327550 w 6785952"/>
              <a:gd name="connsiteY19963" fmla="*/ 4791360 h 5217112"/>
              <a:gd name="connsiteX19964" fmla="*/ 3298090 w 6785952"/>
              <a:gd name="connsiteY19964" fmla="*/ 4776751 h 5217112"/>
              <a:gd name="connsiteX19965" fmla="*/ 3294783 w 6785952"/>
              <a:gd name="connsiteY19965" fmla="*/ 4788261 h 5217112"/>
              <a:gd name="connsiteX19966" fmla="*/ 3267727 w 6785952"/>
              <a:gd name="connsiteY19966" fmla="*/ 4774427 h 5217112"/>
              <a:gd name="connsiteX19967" fmla="*/ 3235862 w 6785952"/>
              <a:gd name="connsiteY19967" fmla="*/ 4763802 h 5217112"/>
              <a:gd name="connsiteX19968" fmla="*/ 3246083 w 6785952"/>
              <a:gd name="connsiteY19968" fmla="*/ 4762364 h 5217112"/>
              <a:gd name="connsiteX19969" fmla="*/ 3229850 w 6785952"/>
              <a:gd name="connsiteY19969" fmla="*/ 4760150 h 5217112"/>
              <a:gd name="connsiteX19970" fmla="*/ 3236163 w 6785952"/>
              <a:gd name="connsiteY19970" fmla="*/ 4767012 h 5217112"/>
              <a:gd name="connsiteX19971" fmla="*/ 3220230 w 6785952"/>
              <a:gd name="connsiteY19971" fmla="*/ 4763360 h 5217112"/>
              <a:gd name="connsiteX19972" fmla="*/ 3200690 w 6785952"/>
              <a:gd name="connsiteY19972" fmla="*/ 4753510 h 5217112"/>
              <a:gd name="connsiteX19973" fmla="*/ 3204899 w 6785952"/>
              <a:gd name="connsiteY19973" fmla="*/ 4735803 h 5217112"/>
              <a:gd name="connsiteX19974" fmla="*/ 3186261 w 6785952"/>
              <a:gd name="connsiteY19974" fmla="*/ 4740783 h 5217112"/>
              <a:gd name="connsiteX19975" fmla="*/ 3200690 w 6785952"/>
              <a:gd name="connsiteY19975" fmla="*/ 4721637 h 5217112"/>
              <a:gd name="connsiteX19976" fmla="*/ 3194678 w 6785952"/>
              <a:gd name="connsiteY19976" fmla="*/ 4717984 h 5217112"/>
              <a:gd name="connsiteX19977" fmla="*/ 3181752 w 6785952"/>
              <a:gd name="connsiteY19977" fmla="*/ 4728056 h 5217112"/>
              <a:gd name="connsiteX19978" fmla="*/ 3161010 w 6785952"/>
              <a:gd name="connsiteY19978" fmla="*/ 4703486 h 5217112"/>
              <a:gd name="connsiteX19979" fmla="*/ 3180248 w 6785952"/>
              <a:gd name="connsiteY19979" fmla="*/ 4705147 h 5217112"/>
              <a:gd name="connsiteX19980" fmla="*/ 3163414 w 6785952"/>
              <a:gd name="connsiteY19980" fmla="*/ 4691534 h 5217112"/>
              <a:gd name="connsiteX19981" fmla="*/ 3183556 w 6785952"/>
              <a:gd name="connsiteY19981" fmla="*/ 4690317 h 5217112"/>
              <a:gd name="connsiteX19982" fmla="*/ 3143573 w 6785952"/>
              <a:gd name="connsiteY19982" fmla="*/ 4678475 h 5217112"/>
              <a:gd name="connsiteX19983" fmla="*/ 3104794 w 6785952"/>
              <a:gd name="connsiteY19983" fmla="*/ 4684562 h 5217112"/>
              <a:gd name="connsiteX19984" fmla="*/ 3093972 w 6785952"/>
              <a:gd name="connsiteY19984" fmla="*/ 4677700 h 5217112"/>
              <a:gd name="connsiteX19985" fmla="*/ 3085855 w 6785952"/>
              <a:gd name="connsiteY19985" fmla="*/ 4681463 h 5217112"/>
              <a:gd name="connsiteX19986" fmla="*/ 3052186 w 6785952"/>
              <a:gd name="connsiteY19986" fmla="*/ 4662206 h 5217112"/>
              <a:gd name="connsiteX19987" fmla="*/ 3034450 w 6785952"/>
              <a:gd name="connsiteY19987" fmla="*/ 4659439 h 5217112"/>
              <a:gd name="connsiteX19988" fmla="*/ 3022727 w 6785952"/>
              <a:gd name="connsiteY19988" fmla="*/ 4652246 h 5217112"/>
              <a:gd name="connsiteX19989" fmla="*/ 3040462 w 6785952"/>
              <a:gd name="connsiteY19989" fmla="*/ 4650143 h 5217112"/>
              <a:gd name="connsiteX19990" fmla="*/ 3040162 w 6785952"/>
              <a:gd name="connsiteY19990" fmla="*/ 4632546 h 5217112"/>
              <a:gd name="connsiteX19991" fmla="*/ 3010100 w 6785952"/>
              <a:gd name="connsiteY19991" fmla="*/ 4620040 h 5217112"/>
              <a:gd name="connsiteX19992" fmla="*/ 2986352 w 6785952"/>
              <a:gd name="connsiteY19992" fmla="*/ 4606096 h 5217112"/>
              <a:gd name="connsiteX19993" fmla="*/ 2986352 w 6785952"/>
              <a:gd name="connsiteY19993" fmla="*/ 4607202 h 5217112"/>
              <a:gd name="connsiteX19994" fmla="*/ 2983647 w 6785952"/>
              <a:gd name="connsiteY19994" fmla="*/ 4612072 h 5217112"/>
              <a:gd name="connsiteX19995" fmla="*/ 2954186 w 6785952"/>
              <a:gd name="connsiteY19995" fmla="*/ 4592040 h 5217112"/>
              <a:gd name="connsiteX19996" fmla="*/ 2956591 w 6785952"/>
              <a:gd name="connsiteY19996" fmla="*/ 4589495 h 5217112"/>
              <a:gd name="connsiteX19997" fmla="*/ 2952683 w 6785952"/>
              <a:gd name="connsiteY19997" fmla="*/ 4587282 h 5217112"/>
              <a:gd name="connsiteX19998" fmla="*/ 2924124 w 6785952"/>
              <a:gd name="connsiteY19998" fmla="*/ 4577653 h 5217112"/>
              <a:gd name="connsiteX19999" fmla="*/ 2921419 w 6785952"/>
              <a:gd name="connsiteY19999" fmla="*/ 4574444 h 5217112"/>
              <a:gd name="connsiteX20000" fmla="*/ 2918713 w 6785952"/>
              <a:gd name="connsiteY20000" fmla="*/ 4576325 h 5217112"/>
              <a:gd name="connsiteX20001" fmla="*/ 2873321 w 6785952"/>
              <a:gd name="connsiteY20001" fmla="*/ 4561052 h 5217112"/>
              <a:gd name="connsiteX20002" fmla="*/ 2891057 w 6785952"/>
              <a:gd name="connsiteY20002" fmla="*/ 4551867 h 5217112"/>
              <a:gd name="connsiteX20003" fmla="*/ 2897369 w 6785952"/>
              <a:gd name="connsiteY20003" fmla="*/ 4552199 h 5217112"/>
              <a:gd name="connsiteX20004" fmla="*/ 2884444 w 6785952"/>
              <a:gd name="connsiteY20004" fmla="*/ 4544230 h 5217112"/>
              <a:gd name="connsiteX20005" fmla="*/ 2868511 w 6785952"/>
              <a:gd name="connsiteY20005" fmla="*/ 4530064 h 5217112"/>
              <a:gd name="connsiteX20006" fmla="*/ 2882940 w 6785952"/>
              <a:gd name="connsiteY20006" fmla="*/ 4538033 h 5217112"/>
              <a:gd name="connsiteX20007" fmla="*/ 2899474 w 6785952"/>
              <a:gd name="connsiteY20007" fmla="*/ 4548436 h 5217112"/>
              <a:gd name="connsiteX20008" fmla="*/ 2905486 w 6785952"/>
              <a:gd name="connsiteY20008" fmla="*/ 4552531 h 5217112"/>
              <a:gd name="connsiteX20009" fmla="*/ 2905788 w 6785952"/>
              <a:gd name="connsiteY20009" fmla="*/ 4552531 h 5217112"/>
              <a:gd name="connsiteX20010" fmla="*/ 2918413 w 6785952"/>
              <a:gd name="connsiteY20010" fmla="*/ 4559614 h 5217112"/>
              <a:gd name="connsiteX20011" fmla="*/ 2927431 w 6785952"/>
              <a:gd name="connsiteY20011" fmla="*/ 4566697 h 5217112"/>
              <a:gd name="connsiteX20012" fmla="*/ 2934646 w 6785952"/>
              <a:gd name="connsiteY20012" fmla="*/ 4571566 h 5217112"/>
              <a:gd name="connsiteX20013" fmla="*/ 2959297 w 6785952"/>
              <a:gd name="connsiteY20013" fmla="*/ 4586175 h 5217112"/>
              <a:gd name="connsiteX20014" fmla="*/ 2962002 w 6785952"/>
              <a:gd name="connsiteY20014" fmla="*/ 4583076 h 5217112"/>
              <a:gd name="connsiteX20015" fmla="*/ 2984849 w 6785952"/>
              <a:gd name="connsiteY20015" fmla="*/ 4592483 h 5217112"/>
              <a:gd name="connsiteX20016" fmla="*/ 2985750 w 6785952"/>
              <a:gd name="connsiteY20016" fmla="*/ 4601448 h 5217112"/>
              <a:gd name="connsiteX20017" fmla="*/ 3009199 w 6785952"/>
              <a:gd name="connsiteY20017" fmla="*/ 4614175 h 5217112"/>
              <a:gd name="connsiteX20018" fmla="*/ 3041364 w 6785952"/>
              <a:gd name="connsiteY20018" fmla="*/ 4637748 h 5217112"/>
              <a:gd name="connsiteX20019" fmla="*/ 3073831 w 6785952"/>
              <a:gd name="connsiteY20019" fmla="*/ 4642285 h 5217112"/>
              <a:gd name="connsiteX20020" fmla="*/ 3089163 w 6785952"/>
              <a:gd name="connsiteY20020" fmla="*/ 4657005 h 5217112"/>
              <a:gd name="connsiteX20021" fmla="*/ 3096677 w 6785952"/>
              <a:gd name="connsiteY20021" fmla="*/ 4656230 h 5217112"/>
              <a:gd name="connsiteX20022" fmla="*/ 3103592 w 6785952"/>
              <a:gd name="connsiteY20022" fmla="*/ 4642728 h 5217112"/>
              <a:gd name="connsiteX20023" fmla="*/ 3114715 w 6785952"/>
              <a:gd name="connsiteY20023" fmla="*/ 4652688 h 5217112"/>
              <a:gd name="connsiteX20024" fmla="*/ 3140567 w 6785952"/>
              <a:gd name="connsiteY20024" fmla="*/ 4669400 h 5217112"/>
              <a:gd name="connsiteX20025" fmla="*/ 3170929 w 6785952"/>
              <a:gd name="connsiteY20025" fmla="*/ 4681242 h 5217112"/>
              <a:gd name="connsiteX20026" fmla="*/ 3205801 w 6785952"/>
              <a:gd name="connsiteY20026" fmla="*/ 4689763 h 5217112"/>
              <a:gd name="connsiteX20027" fmla="*/ 3208206 w 6785952"/>
              <a:gd name="connsiteY20027" fmla="*/ 4689099 h 5217112"/>
              <a:gd name="connsiteX20028" fmla="*/ 3209709 w 6785952"/>
              <a:gd name="connsiteY20028" fmla="*/ 4690759 h 5217112"/>
              <a:gd name="connsiteX20029" fmla="*/ 3227746 w 6785952"/>
              <a:gd name="connsiteY20029" fmla="*/ 4693858 h 5217112"/>
              <a:gd name="connsiteX20030" fmla="*/ 3248488 w 6785952"/>
              <a:gd name="connsiteY20030" fmla="*/ 4695961 h 5217112"/>
              <a:gd name="connsiteX20031" fmla="*/ 3274341 w 6785952"/>
              <a:gd name="connsiteY20031" fmla="*/ 4712672 h 5217112"/>
              <a:gd name="connsiteX20032" fmla="*/ 3304703 w 6785952"/>
              <a:gd name="connsiteY20032" fmla="*/ 4714996 h 5217112"/>
              <a:gd name="connsiteX20033" fmla="*/ 3289973 w 6785952"/>
              <a:gd name="connsiteY20033" fmla="*/ 4703597 h 5217112"/>
              <a:gd name="connsiteX20034" fmla="*/ 3315525 w 6785952"/>
              <a:gd name="connsiteY20034" fmla="*/ 4704151 h 5217112"/>
              <a:gd name="connsiteX20035" fmla="*/ 3359716 w 6785952"/>
              <a:gd name="connsiteY20035" fmla="*/ 4720641 h 5217112"/>
              <a:gd name="connsiteX20036" fmla="*/ 3352200 w 6785952"/>
              <a:gd name="connsiteY20036" fmla="*/ 4713226 h 5217112"/>
              <a:gd name="connsiteX20037" fmla="*/ 3337170 w 6785952"/>
              <a:gd name="connsiteY20037" fmla="*/ 4711344 h 5217112"/>
              <a:gd name="connsiteX20038" fmla="*/ 3350998 w 6785952"/>
              <a:gd name="connsiteY20038" fmla="*/ 4708024 h 5217112"/>
              <a:gd name="connsiteX20039" fmla="*/ 3364526 w 6785952"/>
              <a:gd name="connsiteY20039" fmla="*/ 4706143 h 5217112"/>
              <a:gd name="connsiteX20040" fmla="*/ 3392483 w 6785952"/>
              <a:gd name="connsiteY20040" fmla="*/ 4710791 h 5217112"/>
              <a:gd name="connsiteX20041" fmla="*/ 3453207 w 6785952"/>
              <a:gd name="connsiteY20041" fmla="*/ 4716767 h 5217112"/>
              <a:gd name="connsiteX20042" fmla="*/ 3462826 w 6785952"/>
              <a:gd name="connsiteY20042" fmla="*/ 4726285 h 5217112"/>
              <a:gd name="connsiteX20043" fmla="*/ 3485674 w 6785952"/>
              <a:gd name="connsiteY20043" fmla="*/ 4719866 h 5217112"/>
              <a:gd name="connsiteX20044" fmla="*/ 3506416 w 6785952"/>
              <a:gd name="connsiteY20044" fmla="*/ 4719423 h 5217112"/>
              <a:gd name="connsiteX20045" fmla="*/ 3506416 w 6785952"/>
              <a:gd name="connsiteY20045" fmla="*/ 4715439 h 5217112"/>
              <a:gd name="connsiteX20046" fmla="*/ 3509722 w 6785952"/>
              <a:gd name="connsiteY20046" fmla="*/ 4698174 h 5217112"/>
              <a:gd name="connsiteX20047" fmla="*/ 3518740 w 6785952"/>
              <a:gd name="connsiteY20047" fmla="*/ 4684340 h 5217112"/>
              <a:gd name="connsiteX20048" fmla="*/ 3508220 w 6785952"/>
              <a:gd name="connsiteY20048" fmla="*/ 4690649 h 5217112"/>
              <a:gd name="connsiteX20049" fmla="*/ 3492287 w 6785952"/>
              <a:gd name="connsiteY20049" fmla="*/ 4700941 h 5217112"/>
              <a:gd name="connsiteX20050" fmla="*/ 3492587 w 6785952"/>
              <a:gd name="connsiteY20050" fmla="*/ 4694743 h 5217112"/>
              <a:gd name="connsiteX20051" fmla="*/ 3489581 w 6785952"/>
              <a:gd name="connsiteY20051" fmla="*/ 4696404 h 5217112"/>
              <a:gd name="connsiteX20052" fmla="*/ 3488680 w 6785952"/>
              <a:gd name="connsiteY20052" fmla="*/ 4697510 h 5217112"/>
              <a:gd name="connsiteX20053" fmla="*/ 3488379 w 6785952"/>
              <a:gd name="connsiteY20053" fmla="*/ 4697178 h 5217112"/>
              <a:gd name="connsiteX20054" fmla="*/ 3485072 w 6785952"/>
              <a:gd name="connsiteY20054" fmla="*/ 4699060 h 5217112"/>
              <a:gd name="connsiteX20055" fmla="*/ 3463428 w 6785952"/>
              <a:gd name="connsiteY20055" fmla="*/ 4692973 h 5217112"/>
              <a:gd name="connsiteX20056" fmla="*/ 3478458 w 6785952"/>
              <a:gd name="connsiteY20056" fmla="*/ 4694743 h 5217112"/>
              <a:gd name="connsiteX20057" fmla="*/ 3482968 w 6785952"/>
              <a:gd name="connsiteY20057" fmla="*/ 4691534 h 5217112"/>
              <a:gd name="connsiteX20058" fmla="*/ 3482366 w 6785952"/>
              <a:gd name="connsiteY20058" fmla="*/ 4690870 h 5217112"/>
              <a:gd name="connsiteX20059" fmla="*/ 3481765 w 6785952"/>
              <a:gd name="connsiteY20059" fmla="*/ 4685336 h 5217112"/>
              <a:gd name="connsiteX20060" fmla="*/ 3479059 w 6785952"/>
              <a:gd name="connsiteY20060" fmla="*/ 4686664 h 5217112"/>
              <a:gd name="connsiteX20061" fmla="*/ 3443286 w 6785952"/>
              <a:gd name="connsiteY20061" fmla="*/ 4684672 h 5217112"/>
              <a:gd name="connsiteX20062" fmla="*/ 3415329 w 6785952"/>
              <a:gd name="connsiteY20062" fmla="*/ 4683234 h 5217112"/>
              <a:gd name="connsiteX20063" fmla="*/ 3387973 w 6785952"/>
              <a:gd name="connsiteY20063" fmla="*/ 4685226 h 5217112"/>
              <a:gd name="connsiteX20064" fmla="*/ 3385568 w 6785952"/>
              <a:gd name="connsiteY20064" fmla="*/ 4674823 h 5217112"/>
              <a:gd name="connsiteX20065" fmla="*/ 3385267 w 6785952"/>
              <a:gd name="connsiteY20065" fmla="*/ 4674823 h 5217112"/>
              <a:gd name="connsiteX20066" fmla="*/ 3385267 w 6785952"/>
              <a:gd name="connsiteY20066" fmla="*/ 4679803 h 5217112"/>
              <a:gd name="connsiteX20067" fmla="*/ 3371740 w 6785952"/>
              <a:gd name="connsiteY20067" fmla="*/ 4679471 h 5217112"/>
              <a:gd name="connsiteX20068" fmla="*/ 3372642 w 6785952"/>
              <a:gd name="connsiteY20068" fmla="*/ 4676593 h 5217112"/>
              <a:gd name="connsiteX20069" fmla="*/ 3371139 w 6785952"/>
              <a:gd name="connsiteY20069" fmla="*/ 4676815 h 5217112"/>
              <a:gd name="connsiteX20070" fmla="*/ 3356709 w 6785952"/>
              <a:gd name="connsiteY20070" fmla="*/ 4676372 h 5217112"/>
              <a:gd name="connsiteX20071" fmla="*/ 3325746 w 6785952"/>
              <a:gd name="connsiteY20071" fmla="*/ 4670728 h 5217112"/>
              <a:gd name="connsiteX20072" fmla="*/ 3298090 w 6785952"/>
              <a:gd name="connsiteY20072" fmla="*/ 4664641 h 5217112"/>
              <a:gd name="connsiteX20073" fmla="*/ 3274341 w 6785952"/>
              <a:gd name="connsiteY20073" fmla="*/ 4663091 h 5217112"/>
              <a:gd name="connsiteX20074" fmla="*/ 3275844 w 6785952"/>
              <a:gd name="connsiteY20074" fmla="*/ 4653906 h 5217112"/>
              <a:gd name="connsiteX20075" fmla="*/ 3243978 w 6785952"/>
              <a:gd name="connsiteY20075" fmla="*/ 4651360 h 5217112"/>
              <a:gd name="connsiteX20076" fmla="*/ 3269531 w 6785952"/>
              <a:gd name="connsiteY20076" fmla="*/ 4647044 h 5217112"/>
              <a:gd name="connsiteX20077" fmla="*/ 3223837 w 6785952"/>
              <a:gd name="connsiteY20077" fmla="*/ 4625463 h 5217112"/>
              <a:gd name="connsiteX20078" fmla="*/ 3225041 w 6785952"/>
              <a:gd name="connsiteY20078" fmla="*/ 4635313 h 5217112"/>
              <a:gd name="connsiteX20079" fmla="*/ 3199788 w 6785952"/>
              <a:gd name="connsiteY20079" fmla="*/ 4620594 h 5217112"/>
              <a:gd name="connsiteX20080" fmla="*/ 3185659 w 6785952"/>
              <a:gd name="connsiteY20080" fmla="*/ 4630222 h 5217112"/>
              <a:gd name="connsiteX20081" fmla="*/ 3151690 w 6785952"/>
              <a:gd name="connsiteY20081" fmla="*/ 4620372 h 5217112"/>
              <a:gd name="connsiteX20082" fmla="*/ 3116819 w 6785952"/>
              <a:gd name="connsiteY20082" fmla="*/ 4610191 h 5217112"/>
              <a:gd name="connsiteX20083" fmla="*/ 3128242 w 6785952"/>
              <a:gd name="connsiteY20083" fmla="*/ 4591598 h 5217112"/>
              <a:gd name="connsiteX20084" fmla="*/ 3159506 w 6785952"/>
              <a:gd name="connsiteY20084" fmla="*/ 4605321 h 5217112"/>
              <a:gd name="connsiteX20085" fmla="*/ 3188665 w 6785952"/>
              <a:gd name="connsiteY20085" fmla="*/ 4602333 h 5217112"/>
              <a:gd name="connsiteX20086" fmla="*/ 3189568 w 6785952"/>
              <a:gd name="connsiteY20086" fmla="*/ 4612404 h 5217112"/>
              <a:gd name="connsiteX20087" fmla="*/ 3197083 w 6785952"/>
              <a:gd name="connsiteY20087" fmla="*/ 4606870 h 5217112"/>
              <a:gd name="connsiteX20088" fmla="*/ 3176340 w 6785952"/>
              <a:gd name="connsiteY20088" fmla="*/ 4591819 h 5217112"/>
              <a:gd name="connsiteX20089" fmla="*/ 3152592 w 6785952"/>
              <a:gd name="connsiteY20089" fmla="*/ 4595139 h 5217112"/>
              <a:gd name="connsiteX20090" fmla="*/ 3129444 w 6785952"/>
              <a:gd name="connsiteY20090" fmla="*/ 4579203 h 5217112"/>
              <a:gd name="connsiteX20091" fmla="*/ 3137561 w 6785952"/>
              <a:gd name="connsiteY20091" fmla="*/ 4562934 h 5217112"/>
              <a:gd name="connsiteX20092" fmla="*/ 3139666 w 6785952"/>
              <a:gd name="connsiteY20092" fmla="*/ 4562049 h 5217112"/>
              <a:gd name="connsiteX20093" fmla="*/ 3136660 w 6785952"/>
              <a:gd name="connsiteY20093" fmla="*/ 4558618 h 5217112"/>
              <a:gd name="connsiteX20094" fmla="*/ 3121628 w 6785952"/>
              <a:gd name="connsiteY20094" fmla="*/ 4550981 h 5217112"/>
              <a:gd name="connsiteX20095" fmla="*/ 3119525 w 6785952"/>
              <a:gd name="connsiteY20095" fmla="*/ 4550539 h 5217112"/>
              <a:gd name="connsiteX20096" fmla="*/ 3116518 w 6785952"/>
              <a:gd name="connsiteY20096" fmla="*/ 4555187 h 5217112"/>
              <a:gd name="connsiteX20097" fmla="*/ 3109604 w 6785952"/>
              <a:gd name="connsiteY20097" fmla="*/ 4557179 h 5217112"/>
              <a:gd name="connsiteX20098" fmla="*/ 3104493 w 6785952"/>
              <a:gd name="connsiteY20098" fmla="*/ 4548768 h 5217112"/>
              <a:gd name="connsiteX20099" fmla="*/ 3106898 w 6785952"/>
              <a:gd name="connsiteY20099" fmla="*/ 4547772 h 5217112"/>
              <a:gd name="connsiteX20100" fmla="*/ 3103893 w 6785952"/>
              <a:gd name="connsiteY20100" fmla="*/ 4547108 h 5217112"/>
              <a:gd name="connsiteX20101" fmla="*/ 3087659 w 6785952"/>
              <a:gd name="connsiteY20101" fmla="*/ 4541353 h 5217112"/>
              <a:gd name="connsiteX20102" fmla="*/ 3077137 w 6785952"/>
              <a:gd name="connsiteY20102" fmla="*/ 4530507 h 5217112"/>
              <a:gd name="connsiteX20103" fmla="*/ 3076537 w 6785952"/>
              <a:gd name="connsiteY20103" fmla="*/ 4530618 h 5217112"/>
              <a:gd name="connsiteX20104" fmla="*/ 3075335 w 6785952"/>
              <a:gd name="connsiteY20104" fmla="*/ 4528847 h 5217112"/>
              <a:gd name="connsiteX20105" fmla="*/ 3067819 w 6785952"/>
              <a:gd name="connsiteY20105" fmla="*/ 4523424 h 5217112"/>
              <a:gd name="connsiteX20106" fmla="*/ 3060303 w 6785952"/>
              <a:gd name="connsiteY20106" fmla="*/ 4516120 h 5217112"/>
              <a:gd name="connsiteX20107" fmla="*/ 3022125 w 6785952"/>
              <a:gd name="connsiteY20107" fmla="*/ 4488895 h 5217112"/>
              <a:gd name="connsiteX20108" fmla="*/ 2983045 w 6785952"/>
              <a:gd name="connsiteY20108" fmla="*/ 4459678 h 5217112"/>
              <a:gd name="connsiteX20109" fmla="*/ 2955088 w 6785952"/>
              <a:gd name="connsiteY20109" fmla="*/ 4431124 h 5217112"/>
              <a:gd name="connsiteX20110" fmla="*/ 2943063 w 6785952"/>
              <a:gd name="connsiteY20110" fmla="*/ 4428800 h 5217112"/>
              <a:gd name="connsiteX20111" fmla="*/ 2934947 w 6785952"/>
              <a:gd name="connsiteY20111" fmla="*/ 4422824 h 5217112"/>
              <a:gd name="connsiteX20112" fmla="*/ 2921719 w 6785952"/>
              <a:gd name="connsiteY20112" fmla="*/ 4420057 h 5217112"/>
              <a:gd name="connsiteX20113" fmla="*/ 2931340 w 6785952"/>
              <a:gd name="connsiteY20113" fmla="*/ 4416737 h 5217112"/>
              <a:gd name="connsiteX20114" fmla="*/ 2886849 w 6785952"/>
              <a:gd name="connsiteY20114" fmla="*/ 4395599 h 5217112"/>
              <a:gd name="connsiteX20115" fmla="*/ 2866106 w 6785952"/>
              <a:gd name="connsiteY20115" fmla="*/ 4382650 h 5217112"/>
              <a:gd name="connsiteX20116" fmla="*/ 2857088 w 6785952"/>
              <a:gd name="connsiteY20116" fmla="*/ 4378887 h 5217112"/>
              <a:gd name="connsiteX20117" fmla="*/ 2856487 w 6785952"/>
              <a:gd name="connsiteY20117" fmla="*/ 4380105 h 5217112"/>
              <a:gd name="connsiteX20118" fmla="*/ 2848070 w 6785952"/>
              <a:gd name="connsiteY20118" fmla="*/ 4402128 h 5217112"/>
              <a:gd name="connsiteX20119" fmla="*/ 2829731 w 6785952"/>
              <a:gd name="connsiteY20119" fmla="*/ 4389955 h 5217112"/>
              <a:gd name="connsiteX20120" fmla="*/ 2821615 w 6785952"/>
              <a:gd name="connsiteY20120" fmla="*/ 4387962 h 5217112"/>
              <a:gd name="connsiteX20121" fmla="*/ 2821014 w 6785952"/>
              <a:gd name="connsiteY20121" fmla="*/ 4389512 h 5217112"/>
              <a:gd name="connsiteX20122" fmla="*/ 2821615 w 6785952"/>
              <a:gd name="connsiteY20122" fmla="*/ 4389733 h 5217112"/>
              <a:gd name="connsiteX20123" fmla="*/ 2814099 w 6785952"/>
              <a:gd name="connsiteY20123" fmla="*/ 4398476 h 5217112"/>
              <a:gd name="connsiteX20124" fmla="*/ 2808087 w 6785952"/>
              <a:gd name="connsiteY20124" fmla="*/ 4384532 h 5217112"/>
              <a:gd name="connsiteX20125" fmla="*/ 2808387 w 6785952"/>
              <a:gd name="connsiteY20125" fmla="*/ 4383757 h 5217112"/>
              <a:gd name="connsiteX20126" fmla="*/ 2803278 w 6785952"/>
              <a:gd name="connsiteY20126" fmla="*/ 4380105 h 5217112"/>
              <a:gd name="connsiteX20127" fmla="*/ 2799370 w 6785952"/>
              <a:gd name="connsiteY20127" fmla="*/ 4374129 h 5217112"/>
              <a:gd name="connsiteX20128" fmla="*/ 2797565 w 6785952"/>
              <a:gd name="connsiteY20128" fmla="*/ 4365939 h 5217112"/>
              <a:gd name="connsiteX20129" fmla="*/ 2793658 w 6785952"/>
              <a:gd name="connsiteY20129" fmla="*/ 4364832 h 5217112"/>
              <a:gd name="connsiteX20130" fmla="*/ 2794861 w 6785952"/>
              <a:gd name="connsiteY20130" fmla="*/ 4348010 h 5217112"/>
              <a:gd name="connsiteX20131" fmla="*/ 2795161 w 6785952"/>
              <a:gd name="connsiteY20131" fmla="*/ 4347457 h 5217112"/>
              <a:gd name="connsiteX20132" fmla="*/ 2789450 w 6785952"/>
              <a:gd name="connsiteY20132" fmla="*/ 4345133 h 5217112"/>
              <a:gd name="connsiteX20133" fmla="*/ 2790051 w 6785952"/>
              <a:gd name="connsiteY20133" fmla="*/ 4335172 h 5217112"/>
              <a:gd name="connsiteX20134" fmla="*/ 2789450 w 6785952"/>
              <a:gd name="connsiteY20134" fmla="*/ 4333955 h 5217112"/>
              <a:gd name="connsiteX20135" fmla="*/ 2784339 w 6785952"/>
              <a:gd name="connsiteY20135" fmla="*/ 4337054 h 5217112"/>
              <a:gd name="connsiteX20136" fmla="*/ 2776523 w 6785952"/>
              <a:gd name="connsiteY20136" fmla="*/ 4340595 h 5217112"/>
              <a:gd name="connsiteX20137" fmla="*/ 2772013 w 6785952"/>
              <a:gd name="connsiteY20137" fmla="*/ 4326540 h 5217112"/>
              <a:gd name="connsiteX20138" fmla="*/ 2772615 w 6785952"/>
              <a:gd name="connsiteY20138" fmla="*/ 4325987 h 5217112"/>
              <a:gd name="connsiteX20139" fmla="*/ 2771713 w 6785952"/>
              <a:gd name="connsiteY20139" fmla="*/ 4324880 h 5217112"/>
              <a:gd name="connsiteX20140" fmla="*/ 2777124 w 6785952"/>
              <a:gd name="connsiteY20140" fmla="*/ 4322002 h 5217112"/>
              <a:gd name="connsiteX20141" fmla="*/ 2778627 w 6785952"/>
              <a:gd name="connsiteY20141" fmla="*/ 4322224 h 5217112"/>
              <a:gd name="connsiteX20142" fmla="*/ 2782234 w 6785952"/>
              <a:gd name="connsiteY20142" fmla="*/ 4320121 h 5217112"/>
              <a:gd name="connsiteX20143" fmla="*/ 2769608 w 6785952"/>
              <a:gd name="connsiteY20143" fmla="*/ 4310271 h 5217112"/>
              <a:gd name="connsiteX20144" fmla="*/ 2755780 w 6785952"/>
              <a:gd name="connsiteY20144" fmla="*/ 4294003 h 5217112"/>
              <a:gd name="connsiteX20145" fmla="*/ 2747363 w 6785952"/>
              <a:gd name="connsiteY20145" fmla="*/ 4311931 h 5217112"/>
              <a:gd name="connsiteX20146" fmla="*/ 2765400 w 6785952"/>
              <a:gd name="connsiteY20146" fmla="*/ 4322666 h 5217112"/>
              <a:gd name="connsiteX20147" fmla="*/ 2731130 w 6785952"/>
              <a:gd name="connsiteY20147" fmla="*/ 4314366 h 5217112"/>
              <a:gd name="connsiteX20148" fmla="*/ 2743455 w 6785952"/>
              <a:gd name="connsiteY20148" fmla="*/ 4310603 h 5217112"/>
              <a:gd name="connsiteX20149" fmla="*/ 2747363 w 6785952"/>
              <a:gd name="connsiteY20149" fmla="*/ 4289465 h 5217112"/>
              <a:gd name="connsiteX20150" fmla="*/ 2730528 w 6785952"/>
              <a:gd name="connsiteY20150" fmla="*/ 4275852 h 5217112"/>
              <a:gd name="connsiteX20151" fmla="*/ 2734137 w 6785952"/>
              <a:gd name="connsiteY20151" fmla="*/ 4286588 h 5217112"/>
              <a:gd name="connsiteX20152" fmla="*/ 2713393 w 6785952"/>
              <a:gd name="connsiteY20152" fmla="*/ 4284485 h 5217112"/>
              <a:gd name="connsiteX20153" fmla="*/ 2723314 w 6785952"/>
              <a:gd name="connsiteY20153" fmla="*/ 4257481 h 5217112"/>
              <a:gd name="connsiteX20154" fmla="*/ 2719706 w 6785952"/>
              <a:gd name="connsiteY20154" fmla="*/ 4255378 h 5217112"/>
              <a:gd name="connsiteX20155" fmla="*/ 2718805 w 6785952"/>
              <a:gd name="connsiteY20155" fmla="*/ 4260690 h 5217112"/>
              <a:gd name="connsiteX20156" fmla="*/ 2714596 w 6785952"/>
              <a:gd name="connsiteY20156" fmla="*/ 4265892 h 5217112"/>
              <a:gd name="connsiteX20157" fmla="*/ 2705277 w 6785952"/>
              <a:gd name="connsiteY20157" fmla="*/ 4267552 h 5217112"/>
              <a:gd name="connsiteX20158" fmla="*/ 2704976 w 6785952"/>
              <a:gd name="connsiteY20158" fmla="*/ 4268880 h 5217112"/>
              <a:gd name="connsiteX20159" fmla="*/ 2693252 w 6785952"/>
              <a:gd name="connsiteY20159" fmla="*/ 4277845 h 5217112"/>
              <a:gd name="connsiteX20160" fmla="*/ 2684234 w 6785952"/>
              <a:gd name="connsiteY20160" fmla="*/ 4254604 h 5217112"/>
              <a:gd name="connsiteX20161" fmla="*/ 2681829 w 6785952"/>
              <a:gd name="connsiteY20161" fmla="*/ 4249291 h 5217112"/>
              <a:gd name="connsiteX20162" fmla="*/ 2679424 w 6785952"/>
              <a:gd name="connsiteY20162" fmla="*/ 4254604 h 5217112"/>
              <a:gd name="connsiteX20163" fmla="*/ 2671308 w 6785952"/>
              <a:gd name="connsiteY20163" fmla="*/ 4246746 h 5217112"/>
              <a:gd name="connsiteX20164" fmla="*/ 2669503 w 6785952"/>
              <a:gd name="connsiteY20164" fmla="*/ 4236121 h 5217112"/>
              <a:gd name="connsiteX20165" fmla="*/ 2669503 w 6785952"/>
              <a:gd name="connsiteY20165" fmla="*/ 4236011 h 5217112"/>
              <a:gd name="connsiteX20166" fmla="*/ 2665295 w 6785952"/>
              <a:gd name="connsiteY20166" fmla="*/ 4225608 h 5217112"/>
              <a:gd name="connsiteX20167" fmla="*/ 2664995 w 6785952"/>
              <a:gd name="connsiteY20167" fmla="*/ 4219631 h 5217112"/>
              <a:gd name="connsiteX20168" fmla="*/ 2642147 w 6785952"/>
              <a:gd name="connsiteY20168" fmla="*/ 4213655 h 5217112"/>
              <a:gd name="connsiteX20169" fmla="*/ 2626817 w 6785952"/>
              <a:gd name="connsiteY20169" fmla="*/ 4237007 h 5217112"/>
              <a:gd name="connsiteX20170" fmla="*/ 2610583 w 6785952"/>
              <a:gd name="connsiteY20170" fmla="*/ 4225054 h 5217112"/>
              <a:gd name="connsiteX20171" fmla="*/ 2604872 w 6785952"/>
              <a:gd name="connsiteY20171" fmla="*/ 4222509 h 5217112"/>
              <a:gd name="connsiteX20172" fmla="*/ 2593148 w 6785952"/>
              <a:gd name="connsiteY20172" fmla="*/ 4222620 h 5217112"/>
              <a:gd name="connsiteX20173" fmla="*/ 2599160 w 6785952"/>
              <a:gd name="connsiteY20173" fmla="*/ 4226382 h 5217112"/>
              <a:gd name="connsiteX20174" fmla="*/ 2612387 w 6785952"/>
              <a:gd name="connsiteY20174" fmla="*/ 4236232 h 5217112"/>
              <a:gd name="connsiteX20175" fmla="*/ 2612387 w 6785952"/>
              <a:gd name="connsiteY20175" fmla="*/ 4237781 h 5217112"/>
              <a:gd name="connsiteX20176" fmla="*/ 2608779 w 6785952"/>
              <a:gd name="connsiteY20176" fmla="*/ 4238888 h 5217112"/>
              <a:gd name="connsiteX20177" fmla="*/ 2602767 w 6785952"/>
              <a:gd name="connsiteY20177" fmla="*/ 4235125 h 5217112"/>
              <a:gd name="connsiteX20178" fmla="*/ 2591644 w 6785952"/>
              <a:gd name="connsiteY20178" fmla="*/ 4223284 h 5217112"/>
              <a:gd name="connsiteX20179" fmla="*/ 2590743 w 6785952"/>
              <a:gd name="connsiteY20179" fmla="*/ 4222730 h 5217112"/>
              <a:gd name="connsiteX20180" fmla="*/ 2588338 w 6785952"/>
              <a:gd name="connsiteY20180" fmla="*/ 4222730 h 5217112"/>
              <a:gd name="connsiteX20181" fmla="*/ 2586534 w 6785952"/>
              <a:gd name="connsiteY20181" fmla="*/ 4229149 h 5217112"/>
              <a:gd name="connsiteX20182" fmla="*/ 2589239 w 6785952"/>
              <a:gd name="connsiteY20182" fmla="*/ 4251947 h 5217112"/>
              <a:gd name="connsiteX20183" fmla="*/ 2584430 w 6785952"/>
              <a:gd name="connsiteY20183" fmla="*/ 4259252 h 5217112"/>
              <a:gd name="connsiteX20184" fmla="*/ 2585933 w 6785952"/>
              <a:gd name="connsiteY20184" fmla="*/ 4262572 h 5217112"/>
              <a:gd name="connsiteX20185" fmla="*/ 2583828 w 6785952"/>
              <a:gd name="connsiteY20185" fmla="*/ 4272311 h 5217112"/>
              <a:gd name="connsiteX20186" fmla="*/ 2588638 w 6785952"/>
              <a:gd name="connsiteY20186" fmla="*/ 4281054 h 5217112"/>
              <a:gd name="connsiteX20187" fmla="*/ 2616896 w 6785952"/>
              <a:gd name="connsiteY20187" fmla="*/ 4303299 h 5217112"/>
              <a:gd name="connsiteX20188" fmla="*/ 2619301 w 6785952"/>
              <a:gd name="connsiteY20188" fmla="*/ 4318461 h 5217112"/>
              <a:gd name="connsiteX20189" fmla="*/ 2631326 w 6785952"/>
              <a:gd name="connsiteY20189" fmla="*/ 4316026 h 5217112"/>
              <a:gd name="connsiteX20190" fmla="*/ 2634032 w 6785952"/>
              <a:gd name="connsiteY20190" fmla="*/ 4325655 h 5217112"/>
              <a:gd name="connsiteX20191" fmla="*/ 2634633 w 6785952"/>
              <a:gd name="connsiteY20191" fmla="*/ 4325323 h 5217112"/>
              <a:gd name="connsiteX20192" fmla="*/ 2639443 w 6785952"/>
              <a:gd name="connsiteY20192" fmla="*/ 4322445 h 5217112"/>
              <a:gd name="connsiteX20193" fmla="*/ 2643651 w 6785952"/>
              <a:gd name="connsiteY20193" fmla="*/ 4322777 h 5217112"/>
              <a:gd name="connsiteX20194" fmla="*/ 2638841 w 6785952"/>
              <a:gd name="connsiteY20194" fmla="*/ 4326872 h 5217112"/>
              <a:gd name="connsiteX20195" fmla="*/ 2635234 w 6785952"/>
              <a:gd name="connsiteY20195" fmla="*/ 4328864 h 5217112"/>
              <a:gd name="connsiteX20196" fmla="*/ 2635234 w 6785952"/>
              <a:gd name="connsiteY20196" fmla="*/ 4329749 h 5217112"/>
              <a:gd name="connsiteX20197" fmla="*/ 2671908 w 6785952"/>
              <a:gd name="connsiteY20197" fmla="*/ 4376121 h 5217112"/>
              <a:gd name="connsiteX20198" fmla="*/ 2633129 w 6785952"/>
              <a:gd name="connsiteY20198" fmla="*/ 4355204 h 5217112"/>
              <a:gd name="connsiteX20199" fmla="*/ 2648762 w 6785952"/>
              <a:gd name="connsiteY20199" fmla="*/ 4373243 h 5217112"/>
              <a:gd name="connsiteX20200" fmla="*/ 2664995 w 6785952"/>
              <a:gd name="connsiteY20200" fmla="*/ 4389844 h 5217112"/>
              <a:gd name="connsiteX20201" fmla="*/ 2698063 w 6785952"/>
              <a:gd name="connsiteY20201" fmla="*/ 4410539 h 5217112"/>
              <a:gd name="connsiteX20202" fmla="*/ 2706480 w 6785952"/>
              <a:gd name="connsiteY20202" fmla="*/ 4426144 h 5217112"/>
              <a:gd name="connsiteX20203" fmla="*/ 2706179 w 6785952"/>
              <a:gd name="connsiteY20203" fmla="*/ 4424484 h 5217112"/>
              <a:gd name="connsiteX20204" fmla="*/ 2708283 w 6785952"/>
              <a:gd name="connsiteY20204" fmla="*/ 4425037 h 5217112"/>
              <a:gd name="connsiteX20205" fmla="*/ 2708283 w 6785952"/>
              <a:gd name="connsiteY20205" fmla="*/ 4424484 h 5217112"/>
              <a:gd name="connsiteX20206" fmla="*/ 2711289 w 6785952"/>
              <a:gd name="connsiteY20206" fmla="*/ 4426919 h 5217112"/>
              <a:gd name="connsiteX20207" fmla="*/ 2711891 w 6785952"/>
              <a:gd name="connsiteY20207" fmla="*/ 4431788 h 5217112"/>
              <a:gd name="connsiteX20208" fmla="*/ 2709786 w 6785952"/>
              <a:gd name="connsiteY20208" fmla="*/ 4431899 h 5217112"/>
              <a:gd name="connsiteX20209" fmla="*/ 2724817 w 6785952"/>
              <a:gd name="connsiteY20209" fmla="*/ 4451488 h 5217112"/>
              <a:gd name="connsiteX20210" fmla="*/ 2741951 w 6785952"/>
              <a:gd name="connsiteY20210" fmla="*/ 4467092 h 5217112"/>
              <a:gd name="connsiteX20211" fmla="*/ 2739246 w 6785952"/>
              <a:gd name="connsiteY20211" fmla="*/ 4458571 h 5217112"/>
              <a:gd name="connsiteX20212" fmla="*/ 2757584 w 6785952"/>
              <a:gd name="connsiteY20212" fmla="*/ 4452373 h 5217112"/>
              <a:gd name="connsiteX20213" fmla="*/ 2759088 w 6785952"/>
              <a:gd name="connsiteY20213" fmla="*/ 4453812 h 5217112"/>
              <a:gd name="connsiteX20214" fmla="*/ 2760590 w 6785952"/>
              <a:gd name="connsiteY20214" fmla="*/ 4452816 h 5217112"/>
              <a:gd name="connsiteX20215" fmla="*/ 2772615 w 6785952"/>
              <a:gd name="connsiteY20215" fmla="*/ 4450934 h 5217112"/>
              <a:gd name="connsiteX20216" fmla="*/ 2768707 w 6785952"/>
              <a:gd name="connsiteY20216" fmla="*/ 4460342 h 5217112"/>
              <a:gd name="connsiteX20217" fmla="*/ 2762995 w 6785952"/>
              <a:gd name="connsiteY20217" fmla="*/ 4460784 h 5217112"/>
              <a:gd name="connsiteX20218" fmla="*/ 2763295 w 6785952"/>
              <a:gd name="connsiteY20218" fmla="*/ 4464990 h 5217112"/>
              <a:gd name="connsiteX20219" fmla="*/ 2754278 w 6785952"/>
              <a:gd name="connsiteY20219" fmla="*/ 4475614 h 5217112"/>
              <a:gd name="connsiteX20220" fmla="*/ 2749768 w 6785952"/>
              <a:gd name="connsiteY20220" fmla="*/ 4474175 h 5217112"/>
              <a:gd name="connsiteX20221" fmla="*/ 2761191 w 6785952"/>
              <a:gd name="connsiteY20221" fmla="*/ 4484468 h 5217112"/>
              <a:gd name="connsiteX20222" fmla="*/ 2799670 w 6785952"/>
              <a:gd name="connsiteY20222" fmla="*/ 4515013 h 5217112"/>
              <a:gd name="connsiteX20223" fmla="*/ 2832136 w 6785952"/>
              <a:gd name="connsiteY20223" fmla="*/ 4551535 h 5217112"/>
              <a:gd name="connsiteX20224" fmla="*/ 2866406 w 6785952"/>
              <a:gd name="connsiteY20224" fmla="*/ 4569353 h 5217112"/>
              <a:gd name="connsiteX20225" fmla="*/ 2858290 w 6785952"/>
              <a:gd name="connsiteY20225" fmla="*/ 4576436 h 5217112"/>
              <a:gd name="connsiteX20226" fmla="*/ 2898572 w 6785952"/>
              <a:gd name="connsiteY20226" fmla="*/ 4597795 h 5217112"/>
              <a:gd name="connsiteX20227" fmla="*/ 2922622 w 6785952"/>
              <a:gd name="connsiteY20227" fmla="*/ 4614617 h 5217112"/>
              <a:gd name="connsiteX20228" fmla="*/ 2922922 w 6785952"/>
              <a:gd name="connsiteY20228" fmla="*/ 4614949 h 5217112"/>
              <a:gd name="connsiteX20229" fmla="*/ 2931340 w 6785952"/>
              <a:gd name="connsiteY20229" fmla="*/ 4614396 h 5217112"/>
              <a:gd name="connsiteX20230" fmla="*/ 2943664 w 6785952"/>
              <a:gd name="connsiteY20230" fmla="*/ 4621700 h 5217112"/>
              <a:gd name="connsiteX20231" fmla="*/ 2946370 w 6785952"/>
              <a:gd name="connsiteY20231" fmla="*/ 4628562 h 5217112"/>
              <a:gd name="connsiteX20232" fmla="*/ 2949376 w 6785952"/>
              <a:gd name="connsiteY20232" fmla="*/ 4632878 h 5217112"/>
              <a:gd name="connsiteX20233" fmla="*/ 2948775 w 6785952"/>
              <a:gd name="connsiteY20233" fmla="*/ 4631550 h 5217112"/>
              <a:gd name="connsiteX20234" fmla="*/ 2952683 w 6785952"/>
              <a:gd name="connsiteY20234" fmla="*/ 4623692 h 5217112"/>
              <a:gd name="connsiteX20235" fmla="*/ 2950579 w 6785952"/>
              <a:gd name="connsiteY20235" fmla="*/ 4622586 h 5217112"/>
              <a:gd name="connsiteX20236" fmla="*/ 2953585 w 6785952"/>
              <a:gd name="connsiteY20236" fmla="*/ 4621590 h 5217112"/>
              <a:gd name="connsiteX20237" fmla="*/ 2955689 w 6785952"/>
              <a:gd name="connsiteY20237" fmla="*/ 4617052 h 5217112"/>
              <a:gd name="connsiteX20238" fmla="*/ 2963805 w 6785952"/>
              <a:gd name="connsiteY20238" fmla="*/ 4608420 h 5217112"/>
              <a:gd name="connsiteX20239" fmla="*/ 2964107 w 6785952"/>
              <a:gd name="connsiteY20239" fmla="*/ 4613179 h 5217112"/>
              <a:gd name="connsiteX20240" fmla="*/ 2963204 w 6785952"/>
              <a:gd name="connsiteY20240" fmla="*/ 4615171 h 5217112"/>
              <a:gd name="connsiteX20241" fmla="*/ 2963505 w 6785952"/>
              <a:gd name="connsiteY20241" fmla="*/ 4616609 h 5217112"/>
              <a:gd name="connsiteX20242" fmla="*/ 2962002 w 6785952"/>
              <a:gd name="connsiteY20242" fmla="*/ 4617274 h 5217112"/>
              <a:gd name="connsiteX20243" fmla="*/ 2962002 w 6785952"/>
              <a:gd name="connsiteY20243" fmla="*/ 4617716 h 5217112"/>
              <a:gd name="connsiteX20244" fmla="*/ 2961401 w 6785952"/>
              <a:gd name="connsiteY20244" fmla="*/ 4619487 h 5217112"/>
              <a:gd name="connsiteX20245" fmla="*/ 2968315 w 6785952"/>
              <a:gd name="connsiteY20245" fmla="*/ 4617606 h 5217112"/>
              <a:gd name="connsiteX20246" fmla="*/ 2987254 w 6785952"/>
              <a:gd name="connsiteY20246" fmla="*/ 4623471 h 5217112"/>
              <a:gd name="connsiteX20247" fmla="*/ 2967714 w 6785952"/>
              <a:gd name="connsiteY20247" fmla="*/ 4628009 h 5217112"/>
              <a:gd name="connsiteX20248" fmla="*/ 2959597 w 6785952"/>
              <a:gd name="connsiteY20248" fmla="*/ 4626570 h 5217112"/>
              <a:gd name="connsiteX20249" fmla="*/ 2959597 w 6785952"/>
              <a:gd name="connsiteY20249" fmla="*/ 4627234 h 5217112"/>
              <a:gd name="connsiteX20250" fmla="*/ 2959297 w 6785952"/>
              <a:gd name="connsiteY20250" fmla="*/ 4631661 h 5217112"/>
              <a:gd name="connsiteX20251" fmla="*/ 2952984 w 6785952"/>
              <a:gd name="connsiteY20251" fmla="*/ 4641179 h 5217112"/>
              <a:gd name="connsiteX20252" fmla="*/ 2948775 w 6785952"/>
              <a:gd name="connsiteY20252" fmla="*/ 4639740 h 5217112"/>
              <a:gd name="connsiteX20253" fmla="*/ 2946971 w 6785952"/>
              <a:gd name="connsiteY20253" fmla="*/ 4643945 h 5217112"/>
              <a:gd name="connsiteX20254" fmla="*/ 2944566 w 6785952"/>
              <a:gd name="connsiteY20254" fmla="*/ 4649147 h 5217112"/>
              <a:gd name="connsiteX20255" fmla="*/ 2940658 w 6785952"/>
              <a:gd name="connsiteY20255" fmla="*/ 4651582 h 5217112"/>
              <a:gd name="connsiteX20256" fmla="*/ 2940959 w 6785952"/>
              <a:gd name="connsiteY20256" fmla="*/ 4652024 h 5217112"/>
              <a:gd name="connsiteX20257" fmla="*/ 2938554 w 6785952"/>
              <a:gd name="connsiteY20257" fmla="*/ 4653131 h 5217112"/>
              <a:gd name="connsiteX20258" fmla="*/ 2937051 w 6785952"/>
              <a:gd name="connsiteY20258" fmla="*/ 4655012 h 5217112"/>
              <a:gd name="connsiteX20259" fmla="*/ 2921118 w 6785952"/>
              <a:gd name="connsiteY20259" fmla="*/ 4659661 h 5217112"/>
              <a:gd name="connsiteX20260" fmla="*/ 2916008 w 6785952"/>
              <a:gd name="connsiteY20260" fmla="*/ 4658665 h 5217112"/>
              <a:gd name="connsiteX20261" fmla="*/ 2914205 w 6785952"/>
              <a:gd name="connsiteY20261" fmla="*/ 4660657 h 5217112"/>
              <a:gd name="connsiteX20262" fmla="*/ 2912401 w 6785952"/>
              <a:gd name="connsiteY20262" fmla="*/ 4657890 h 5217112"/>
              <a:gd name="connsiteX20263" fmla="*/ 2911198 w 6785952"/>
              <a:gd name="connsiteY20263" fmla="*/ 4657669 h 5217112"/>
              <a:gd name="connsiteX20264" fmla="*/ 2900377 w 6785952"/>
              <a:gd name="connsiteY20264" fmla="*/ 4651803 h 5217112"/>
              <a:gd name="connsiteX20265" fmla="*/ 2900377 w 6785952"/>
              <a:gd name="connsiteY20265" fmla="*/ 4649922 h 5217112"/>
              <a:gd name="connsiteX20266" fmla="*/ 2898572 w 6785952"/>
              <a:gd name="connsiteY20266" fmla="*/ 4656562 h 5217112"/>
              <a:gd name="connsiteX20267" fmla="*/ 2890155 w 6785952"/>
              <a:gd name="connsiteY20267" fmla="*/ 4655787 h 5217112"/>
              <a:gd name="connsiteX20268" fmla="*/ 2888051 w 6785952"/>
              <a:gd name="connsiteY20268" fmla="*/ 4653574 h 5217112"/>
              <a:gd name="connsiteX20269" fmla="*/ 2887450 w 6785952"/>
              <a:gd name="connsiteY20269" fmla="*/ 4657669 h 5217112"/>
              <a:gd name="connsiteX20270" fmla="*/ 2876327 w 6785952"/>
              <a:gd name="connsiteY20270" fmla="*/ 4656230 h 5217112"/>
              <a:gd name="connsiteX20271" fmla="*/ 2877829 w 6785952"/>
              <a:gd name="connsiteY20271" fmla="*/ 4648483 h 5217112"/>
              <a:gd name="connsiteX20272" fmla="*/ 2883541 w 6785952"/>
              <a:gd name="connsiteY20272" fmla="*/ 4648261 h 5217112"/>
              <a:gd name="connsiteX20273" fmla="*/ 2881137 w 6785952"/>
              <a:gd name="connsiteY20273" fmla="*/ 4642175 h 5217112"/>
              <a:gd name="connsiteX20274" fmla="*/ 2882339 w 6785952"/>
              <a:gd name="connsiteY20274" fmla="*/ 4634760 h 5217112"/>
              <a:gd name="connsiteX20275" fmla="*/ 2894364 w 6785952"/>
              <a:gd name="connsiteY20275" fmla="*/ 4638080 h 5217112"/>
              <a:gd name="connsiteX20276" fmla="*/ 2900677 w 6785952"/>
              <a:gd name="connsiteY20276" fmla="*/ 4649368 h 5217112"/>
              <a:gd name="connsiteX20277" fmla="*/ 2901278 w 6785952"/>
              <a:gd name="connsiteY20277" fmla="*/ 4642839 h 5217112"/>
              <a:gd name="connsiteX20278" fmla="*/ 2891357 w 6785952"/>
              <a:gd name="connsiteY20278" fmla="*/ 4633764 h 5217112"/>
              <a:gd name="connsiteX20279" fmla="*/ 2888952 w 6785952"/>
              <a:gd name="connsiteY20279" fmla="*/ 4632214 h 5217112"/>
              <a:gd name="connsiteX20280" fmla="*/ 2885045 w 6785952"/>
              <a:gd name="connsiteY20280" fmla="*/ 4633210 h 5217112"/>
              <a:gd name="connsiteX20281" fmla="*/ 2872720 w 6785952"/>
              <a:gd name="connsiteY20281" fmla="*/ 4624467 h 5217112"/>
              <a:gd name="connsiteX20282" fmla="*/ 2873922 w 6785952"/>
              <a:gd name="connsiteY20282" fmla="*/ 4622586 h 5217112"/>
              <a:gd name="connsiteX20283" fmla="*/ 2858290 w 6785952"/>
              <a:gd name="connsiteY20283" fmla="*/ 4613068 h 5217112"/>
              <a:gd name="connsiteX20284" fmla="*/ 2869714 w 6785952"/>
              <a:gd name="connsiteY20284" fmla="*/ 4612183 h 5217112"/>
              <a:gd name="connsiteX20285" fmla="*/ 2843560 w 6785952"/>
              <a:gd name="connsiteY20285" fmla="*/ 4598681 h 5217112"/>
              <a:gd name="connsiteX20286" fmla="*/ 2837548 w 6785952"/>
              <a:gd name="connsiteY20286" fmla="*/ 4595914 h 5217112"/>
              <a:gd name="connsiteX20287" fmla="*/ 2832437 w 6785952"/>
              <a:gd name="connsiteY20287" fmla="*/ 4596689 h 5217112"/>
              <a:gd name="connsiteX20288" fmla="*/ 2821014 w 6785952"/>
              <a:gd name="connsiteY20288" fmla="*/ 4598791 h 5217112"/>
              <a:gd name="connsiteX20289" fmla="*/ 2826726 w 6785952"/>
              <a:gd name="connsiteY20289" fmla="*/ 4590712 h 5217112"/>
              <a:gd name="connsiteX20290" fmla="*/ 2819510 w 6785952"/>
              <a:gd name="connsiteY20290" fmla="*/ 4587282 h 5217112"/>
              <a:gd name="connsiteX20291" fmla="*/ 2796063 w 6785952"/>
              <a:gd name="connsiteY20291" fmla="*/ 4558618 h 5217112"/>
              <a:gd name="connsiteX20292" fmla="*/ 2777725 w 6785952"/>
              <a:gd name="connsiteY20292" fmla="*/ 4544452 h 5217112"/>
              <a:gd name="connsiteX20293" fmla="*/ 2757885 w 6785952"/>
              <a:gd name="connsiteY20293" fmla="*/ 4526523 h 5217112"/>
              <a:gd name="connsiteX20294" fmla="*/ 2739848 w 6785952"/>
              <a:gd name="connsiteY20294" fmla="*/ 4530064 h 5217112"/>
              <a:gd name="connsiteX20295" fmla="*/ 2742253 w 6785952"/>
              <a:gd name="connsiteY20295" fmla="*/ 4511361 h 5217112"/>
              <a:gd name="connsiteX20296" fmla="*/ 2729327 w 6785952"/>
              <a:gd name="connsiteY20296" fmla="*/ 4500515 h 5217112"/>
              <a:gd name="connsiteX20297" fmla="*/ 2726921 w 6785952"/>
              <a:gd name="connsiteY20297" fmla="*/ 4504831 h 5217112"/>
              <a:gd name="connsiteX20298" fmla="*/ 2707081 w 6785952"/>
              <a:gd name="connsiteY20298" fmla="*/ 4511472 h 5217112"/>
              <a:gd name="connsiteX20299" fmla="*/ 2695057 w 6785952"/>
              <a:gd name="connsiteY20299" fmla="*/ 4470745 h 5217112"/>
              <a:gd name="connsiteX20300" fmla="*/ 2698664 w 6785952"/>
              <a:gd name="connsiteY20300" fmla="*/ 4466428 h 5217112"/>
              <a:gd name="connsiteX20301" fmla="*/ 2696259 w 6785952"/>
              <a:gd name="connsiteY20301" fmla="*/ 4461006 h 5217112"/>
              <a:gd name="connsiteX20302" fmla="*/ 2685436 w 6785952"/>
              <a:gd name="connsiteY20302" fmla="*/ 4463883 h 5217112"/>
              <a:gd name="connsiteX20303" fmla="*/ 2682430 w 6785952"/>
              <a:gd name="connsiteY20303" fmla="*/ 4459124 h 5217112"/>
              <a:gd name="connsiteX20304" fmla="*/ 2682130 w 6785952"/>
              <a:gd name="connsiteY20304" fmla="*/ 4459124 h 5217112"/>
              <a:gd name="connsiteX20305" fmla="*/ 2680326 w 6785952"/>
              <a:gd name="connsiteY20305" fmla="*/ 4456689 h 5217112"/>
              <a:gd name="connsiteX20306" fmla="*/ 2680326 w 6785952"/>
              <a:gd name="connsiteY20306" fmla="*/ 4455915 h 5217112"/>
              <a:gd name="connsiteX20307" fmla="*/ 2675817 w 6785952"/>
              <a:gd name="connsiteY20307" fmla="*/ 4448500 h 5217112"/>
              <a:gd name="connsiteX20308" fmla="*/ 2666197 w 6785952"/>
              <a:gd name="connsiteY20308" fmla="*/ 4490333 h 5217112"/>
              <a:gd name="connsiteX20309" fmla="*/ 2661387 w 6785952"/>
              <a:gd name="connsiteY20309" fmla="*/ 4500847 h 5217112"/>
              <a:gd name="connsiteX20310" fmla="*/ 2661387 w 6785952"/>
              <a:gd name="connsiteY20310" fmla="*/ 4505717 h 5217112"/>
              <a:gd name="connsiteX20311" fmla="*/ 2658080 w 6785952"/>
              <a:gd name="connsiteY20311" fmla="*/ 4507820 h 5217112"/>
              <a:gd name="connsiteX20312" fmla="*/ 2655375 w 6785952"/>
              <a:gd name="connsiteY20312" fmla="*/ 4513464 h 5217112"/>
              <a:gd name="connsiteX20313" fmla="*/ 2638240 w 6785952"/>
              <a:gd name="connsiteY20313" fmla="*/ 4535487 h 5217112"/>
              <a:gd name="connsiteX20314" fmla="*/ 2636737 w 6785952"/>
              <a:gd name="connsiteY20314" fmla="*/ 4494207 h 5217112"/>
              <a:gd name="connsiteX20315" fmla="*/ 2644252 w 6785952"/>
              <a:gd name="connsiteY20315" fmla="*/ 4479156 h 5217112"/>
              <a:gd name="connsiteX20316" fmla="*/ 2643651 w 6785952"/>
              <a:gd name="connsiteY20316" fmla="*/ 4478270 h 5217112"/>
              <a:gd name="connsiteX20317" fmla="*/ 2651768 w 6785952"/>
              <a:gd name="connsiteY20317" fmla="*/ 4451709 h 5217112"/>
              <a:gd name="connsiteX20318" fmla="*/ 2659884 w 6785952"/>
              <a:gd name="connsiteY20318" fmla="*/ 4454033 h 5217112"/>
              <a:gd name="connsiteX20319" fmla="*/ 2660786 w 6785952"/>
              <a:gd name="connsiteY20319" fmla="*/ 4457575 h 5217112"/>
              <a:gd name="connsiteX20320" fmla="*/ 2674013 w 6785952"/>
              <a:gd name="connsiteY20320" fmla="*/ 4445622 h 5217112"/>
              <a:gd name="connsiteX20321" fmla="*/ 2670406 w 6785952"/>
              <a:gd name="connsiteY20321" fmla="*/ 4439646 h 5217112"/>
              <a:gd name="connsiteX20322" fmla="*/ 2659884 w 6785952"/>
              <a:gd name="connsiteY20322" fmla="*/ 4426919 h 5217112"/>
              <a:gd name="connsiteX20323" fmla="*/ 2656277 w 6785952"/>
              <a:gd name="connsiteY20323" fmla="*/ 4428358 h 5217112"/>
              <a:gd name="connsiteX20324" fmla="*/ 2650264 w 6785952"/>
              <a:gd name="connsiteY20324" fmla="*/ 4424705 h 5217112"/>
              <a:gd name="connsiteX20325" fmla="*/ 2646356 w 6785952"/>
              <a:gd name="connsiteY20325" fmla="*/ 4418950 h 5217112"/>
              <a:gd name="connsiteX20326" fmla="*/ 2644552 w 6785952"/>
              <a:gd name="connsiteY20326" fmla="*/ 4415077 h 5217112"/>
              <a:gd name="connsiteX20327" fmla="*/ 2635534 w 6785952"/>
              <a:gd name="connsiteY20327" fmla="*/ 4406445 h 5217112"/>
              <a:gd name="connsiteX20328" fmla="*/ 2634032 w 6785952"/>
              <a:gd name="connsiteY20328" fmla="*/ 4396816 h 5217112"/>
              <a:gd name="connsiteX20329" fmla="*/ 2623510 w 6785952"/>
              <a:gd name="connsiteY20329" fmla="*/ 4385528 h 5217112"/>
              <a:gd name="connsiteX20330" fmla="*/ 2619301 w 6785952"/>
              <a:gd name="connsiteY20330" fmla="*/ 4380658 h 5217112"/>
              <a:gd name="connsiteX20331" fmla="*/ 2618700 w 6785952"/>
              <a:gd name="connsiteY20331" fmla="*/ 4383868 h 5217112"/>
              <a:gd name="connsiteX20332" fmla="*/ 2613289 w 6785952"/>
              <a:gd name="connsiteY20332" fmla="*/ 4393164 h 5217112"/>
              <a:gd name="connsiteX20333" fmla="*/ 2614190 w 6785952"/>
              <a:gd name="connsiteY20333" fmla="*/ 4393717 h 5217112"/>
              <a:gd name="connsiteX20334" fmla="*/ 2614190 w 6785952"/>
              <a:gd name="connsiteY20334" fmla="*/ 4398255 h 5217112"/>
              <a:gd name="connsiteX20335" fmla="*/ 2607878 w 6785952"/>
              <a:gd name="connsiteY20335" fmla="*/ 4402792 h 5217112"/>
              <a:gd name="connsiteX20336" fmla="*/ 2607277 w 6785952"/>
              <a:gd name="connsiteY20336" fmla="*/ 4403899 h 5217112"/>
              <a:gd name="connsiteX20337" fmla="*/ 2589239 w 6785952"/>
              <a:gd name="connsiteY20337" fmla="*/ 4419504 h 5217112"/>
              <a:gd name="connsiteX20338" fmla="*/ 2572705 w 6785952"/>
              <a:gd name="connsiteY20338" fmla="*/ 4425591 h 5217112"/>
              <a:gd name="connsiteX20339" fmla="*/ 2566693 w 6785952"/>
              <a:gd name="connsiteY20339" fmla="*/ 4425701 h 5217112"/>
              <a:gd name="connsiteX20340" fmla="*/ 2563086 w 6785952"/>
              <a:gd name="connsiteY20340" fmla="*/ 4427583 h 5217112"/>
              <a:gd name="connsiteX20341" fmla="*/ 2542345 w 6785952"/>
              <a:gd name="connsiteY20341" fmla="*/ 4434555 h 5217112"/>
              <a:gd name="connsiteX20342" fmla="*/ 2554969 w 6785952"/>
              <a:gd name="connsiteY20342" fmla="*/ 4428800 h 5217112"/>
              <a:gd name="connsiteX20343" fmla="*/ 2566393 w 6785952"/>
              <a:gd name="connsiteY20343" fmla="*/ 4425701 h 5217112"/>
              <a:gd name="connsiteX20344" fmla="*/ 2557375 w 6785952"/>
              <a:gd name="connsiteY20344" fmla="*/ 4425812 h 5217112"/>
              <a:gd name="connsiteX20345" fmla="*/ 2524307 w 6785952"/>
              <a:gd name="connsiteY20345" fmla="*/ 4422492 h 5217112"/>
              <a:gd name="connsiteX20346" fmla="*/ 2500257 w 6785952"/>
              <a:gd name="connsiteY20346" fmla="*/ 4397370 h 5217112"/>
              <a:gd name="connsiteX20347" fmla="*/ 2501761 w 6785952"/>
              <a:gd name="connsiteY20347" fmla="*/ 4386634 h 5217112"/>
              <a:gd name="connsiteX20348" fmla="*/ 2500860 w 6785952"/>
              <a:gd name="connsiteY20348" fmla="*/ 4375125 h 5217112"/>
              <a:gd name="connsiteX20349" fmla="*/ 2493344 w 6785952"/>
              <a:gd name="connsiteY20349" fmla="*/ 4370255 h 5217112"/>
              <a:gd name="connsiteX20350" fmla="*/ 2492141 w 6785952"/>
              <a:gd name="connsiteY20350" fmla="*/ 4356089 h 5217112"/>
              <a:gd name="connsiteX20351" fmla="*/ 2498755 w 6785952"/>
              <a:gd name="connsiteY20351" fmla="*/ 4353212 h 5217112"/>
              <a:gd name="connsiteX20352" fmla="*/ 2498755 w 6785952"/>
              <a:gd name="connsiteY20352" fmla="*/ 4351220 h 5217112"/>
              <a:gd name="connsiteX20353" fmla="*/ 2517994 w 6785952"/>
              <a:gd name="connsiteY20353" fmla="*/ 4329860 h 5217112"/>
              <a:gd name="connsiteX20354" fmla="*/ 2520098 w 6785952"/>
              <a:gd name="connsiteY20354" fmla="*/ 4327647 h 5217112"/>
              <a:gd name="connsiteX20355" fmla="*/ 2514988 w 6785952"/>
              <a:gd name="connsiteY20355" fmla="*/ 4327093 h 5217112"/>
              <a:gd name="connsiteX20356" fmla="*/ 2508975 w 6785952"/>
              <a:gd name="connsiteY20356" fmla="*/ 4320674 h 5217112"/>
              <a:gd name="connsiteX20357" fmla="*/ 2502062 w 6785952"/>
              <a:gd name="connsiteY20357" fmla="*/ 4323220 h 5217112"/>
              <a:gd name="connsiteX20358" fmla="*/ 2485528 w 6785952"/>
              <a:gd name="connsiteY20358" fmla="*/ 4320785 h 5217112"/>
              <a:gd name="connsiteX20359" fmla="*/ 2479516 w 6785952"/>
              <a:gd name="connsiteY20359" fmla="*/ 4313923 h 5217112"/>
              <a:gd name="connsiteX20360" fmla="*/ 2478614 w 6785952"/>
              <a:gd name="connsiteY20360" fmla="*/ 4313923 h 5217112"/>
              <a:gd name="connsiteX20361" fmla="*/ 2475006 w 6785952"/>
              <a:gd name="connsiteY20361" fmla="*/ 4304738 h 5217112"/>
              <a:gd name="connsiteX20362" fmla="*/ 2482822 w 6785952"/>
              <a:gd name="connsiteY20362" fmla="*/ 4301528 h 5217112"/>
              <a:gd name="connsiteX20363" fmla="*/ 2483423 w 6785952"/>
              <a:gd name="connsiteY20363" fmla="*/ 4302082 h 5217112"/>
              <a:gd name="connsiteX20364" fmla="*/ 2483423 w 6785952"/>
              <a:gd name="connsiteY20364" fmla="*/ 4300975 h 5217112"/>
              <a:gd name="connsiteX20365" fmla="*/ 2488233 w 6785952"/>
              <a:gd name="connsiteY20365" fmla="*/ 4301307 h 5217112"/>
              <a:gd name="connsiteX20366" fmla="*/ 2492442 w 6785952"/>
              <a:gd name="connsiteY20366" fmla="*/ 4303742 h 5217112"/>
              <a:gd name="connsiteX20367" fmla="*/ 2496350 w 6785952"/>
              <a:gd name="connsiteY20367" fmla="*/ 4301085 h 5217112"/>
              <a:gd name="connsiteX20368" fmla="*/ 2521902 w 6785952"/>
              <a:gd name="connsiteY20368" fmla="*/ 4296769 h 5217112"/>
              <a:gd name="connsiteX20369" fmla="*/ 2518896 w 6785952"/>
              <a:gd name="connsiteY20369" fmla="*/ 4317133 h 5217112"/>
              <a:gd name="connsiteX20370" fmla="*/ 2518595 w 6785952"/>
              <a:gd name="connsiteY20370" fmla="*/ 4317354 h 5217112"/>
              <a:gd name="connsiteX20371" fmla="*/ 2518896 w 6785952"/>
              <a:gd name="connsiteY20371" fmla="*/ 4318461 h 5217112"/>
              <a:gd name="connsiteX20372" fmla="*/ 2522503 w 6785952"/>
              <a:gd name="connsiteY20372" fmla="*/ 4324326 h 5217112"/>
              <a:gd name="connsiteX20373" fmla="*/ 2520399 w 6785952"/>
              <a:gd name="connsiteY20373" fmla="*/ 4326983 h 5217112"/>
              <a:gd name="connsiteX20374" fmla="*/ 2537534 w 6785952"/>
              <a:gd name="connsiteY20374" fmla="*/ 4308279 h 5217112"/>
              <a:gd name="connsiteX20375" fmla="*/ 2551062 w 6785952"/>
              <a:gd name="connsiteY20375" fmla="*/ 4308168 h 5217112"/>
              <a:gd name="connsiteX20376" fmla="*/ 2551062 w 6785952"/>
              <a:gd name="connsiteY20376" fmla="*/ 4307947 h 5217112"/>
              <a:gd name="connsiteX20377" fmla="*/ 2550460 w 6785952"/>
              <a:gd name="connsiteY20377" fmla="*/ 4306398 h 5217112"/>
              <a:gd name="connsiteX20378" fmla="*/ 2548957 w 6785952"/>
              <a:gd name="connsiteY20378" fmla="*/ 4306176 h 5217112"/>
              <a:gd name="connsiteX20379" fmla="*/ 2550460 w 6785952"/>
              <a:gd name="connsiteY20379" fmla="*/ 4303299 h 5217112"/>
              <a:gd name="connsiteX20380" fmla="*/ 2555871 w 6785952"/>
              <a:gd name="connsiteY20380" fmla="*/ 4300311 h 5217112"/>
              <a:gd name="connsiteX20381" fmla="*/ 2541742 w 6785952"/>
              <a:gd name="connsiteY20381" fmla="*/ 4294113 h 5217112"/>
              <a:gd name="connsiteX20382" fmla="*/ 2535430 w 6785952"/>
              <a:gd name="connsiteY20382" fmla="*/ 4272422 h 5217112"/>
              <a:gd name="connsiteX20383" fmla="*/ 2527914 w 6785952"/>
              <a:gd name="connsiteY20383" fmla="*/ 4264675 h 5217112"/>
              <a:gd name="connsiteX20384" fmla="*/ 2519196 w 6785952"/>
              <a:gd name="connsiteY20384" fmla="*/ 4272422 h 5217112"/>
              <a:gd name="connsiteX20385" fmla="*/ 2497552 w 6785952"/>
              <a:gd name="connsiteY20385" fmla="*/ 4280390 h 5217112"/>
              <a:gd name="connsiteX20386" fmla="*/ 2511681 w 6785952"/>
              <a:gd name="connsiteY20386" fmla="*/ 4262461 h 5217112"/>
              <a:gd name="connsiteX20387" fmla="*/ 2514688 w 6785952"/>
              <a:gd name="connsiteY20387" fmla="*/ 4261576 h 5217112"/>
              <a:gd name="connsiteX20388" fmla="*/ 2514386 w 6785952"/>
              <a:gd name="connsiteY20388" fmla="*/ 4255046 h 5217112"/>
              <a:gd name="connsiteX20389" fmla="*/ 2513785 w 6785952"/>
              <a:gd name="connsiteY20389" fmla="*/ 4254825 h 5217112"/>
              <a:gd name="connsiteX20390" fmla="*/ 2512283 w 6785952"/>
              <a:gd name="connsiteY20390" fmla="*/ 4255600 h 5217112"/>
              <a:gd name="connsiteX20391" fmla="*/ 2511080 w 6785952"/>
              <a:gd name="connsiteY20391" fmla="*/ 4259916 h 5217112"/>
              <a:gd name="connsiteX20392" fmla="*/ 2496951 w 6785952"/>
              <a:gd name="connsiteY20392" fmla="*/ 4267884 h 5217112"/>
              <a:gd name="connsiteX20393" fmla="*/ 2491239 w 6785952"/>
              <a:gd name="connsiteY20393" fmla="*/ 4263789 h 5217112"/>
              <a:gd name="connsiteX20394" fmla="*/ 2489135 w 6785952"/>
              <a:gd name="connsiteY20394" fmla="*/ 4261354 h 5217112"/>
              <a:gd name="connsiteX20395" fmla="*/ 2491540 w 6785952"/>
              <a:gd name="connsiteY20395" fmla="*/ 4273418 h 5217112"/>
              <a:gd name="connsiteX20396" fmla="*/ 2487933 w 6785952"/>
              <a:gd name="connsiteY20396" fmla="*/ 4287362 h 5217112"/>
              <a:gd name="connsiteX20397" fmla="*/ 2479816 w 6785952"/>
              <a:gd name="connsiteY20397" fmla="*/ 4289465 h 5217112"/>
              <a:gd name="connsiteX20398" fmla="*/ 2480417 w 6785952"/>
              <a:gd name="connsiteY20398" fmla="*/ 4290461 h 5217112"/>
              <a:gd name="connsiteX20399" fmla="*/ 2478914 w 6785952"/>
              <a:gd name="connsiteY20399" fmla="*/ 4293781 h 5217112"/>
              <a:gd name="connsiteX20400" fmla="*/ 2479516 w 6785952"/>
              <a:gd name="connsiteY20400" fmla="*/ 4294113 h 5217112"/>
              <a:gd name="connsiteX20401" fmla="*/ 2481319 w 6785952"/>
              <a:gd name="connsiteY20401" fmla="*/ 4298429 h 5217112"/>
              <a:gd name="connsiteX20402" fmla="*/ 2478313 w 6785952"/>
              <a:gd name="connsiteY20402" fmla="*/ 4301750 h 5217112"/>
              <a:gd name="connsiteX20403" fmla="*/ 2476509 w 6785952"/>
              <a:gd name="connsiteY20403" fmla="*/ 4299979 h 5217112"/>
              <a:gd name="connsiteX20404" fmla="*/ 2475306 w 6785952"/>
              <a:gd name="connsiteY20404" fmla="*/ 4303078 h 5217112"/>
              <a:gd name="connsiteX20405" fmla="*/ 2414582 w 6785952"/>
              <a:gd name="connsiteY20405" fmla="*/ 4297655 h 5217112"/>
              <a:gd name="connsiteX20406" fmla="*/ 2414582 w 6785952"/>
              <a:gd name="connsiteY20406" fmla="*/ 4286477 h 5217112"/>
              <a:gd name="connsiteX20407" fmla="*/ 2421196 w 6785952"/>
              <a:gd name="connsiteY20407" fmla="*/ 4277402 h 5217112"/>
              <a:gd name="connsiteX20408" fmla="*/ 2427809 w 6785952"/>
              <a:gd name="connsiteY20408" fmla="*/ 4272975 h 5217112"/>
              <a:gd name="connsiteX20409" fmla="*/ 2429313 w 6785952"/>
              <a:gd name="connsiteY20409" fmla="*/ 4266888 h 5217112"/>
              <a:gd name="connsiteX20410" fmla="*/ 2445847 w 6785952"/>
              <a:gd name="connsiteY20410" fmla="*/ 4247521 h 5217112"/>
              <a:gd name="connsiteX20411" fmla="*/ 2459073 w 6785952"/>
              <a:gd name="connsiteY20411" fmla="*/ 4256374 h 5217112"/>
              <a:gd name="connsiteX20412" fmla="*/ 2447650 w 6785952"/>
              <a:gd name="connsiteY20412" fmla="*/ 4263679 h 5217112"/>
              <a:gd name="connsiteX20413" fmla="*/ 2445246 w 6785952"/>
              <a:gd name="connsiteY20413" fmla="*/ 4267995 h 5217112"/>
              <a:gd name="connsiteX20414" fmla="*/ 2453061 w 6785952"/>
              <a:gd name="connsiteY20414" fmla="*/ 4267773 h 5217112"/>
              <a:gd name="connsiteX20415" fmla="*/ 2465687 w 6785952"/>
              <a:gd name="connsiteY20415" fmla="*/ 4272200 h 5217112"/>
              <a:gd name="connsiteX20416" fmla="*/ 2465687 w 6785952"/>
              <a:gd name="connsiteY20416" fmla="*/ 4270208 h 5217112"/>
              <a:gd name="connsiteX20417" fmla="*/ 2470798 w 6785952"/>
              <a:gd name="connsiteY20417" fmla="*/ 4259694 h 5217112"/>
              <a:gd name="connsiteX20418" fmla="*/ 2477711 w 6785952"/>
              <a:gd name="connsiteY20418" fmla="*/ 4255268 h 5217112"/>
              <a:gd name="connsiteX20419" fmla="*/ 2477711 w 6785952"/>
              <a:gd name="connsiteY20419" fmla="*/ 4254161 h 5217112"/>
              <a:gd name="connsiteX20420" fmla="*/ 2471399 w 6785952"/>
              <a:gd name="connsiteY20420" fmla="*/ 4258034 h 5217112"/>
              <a:gd name="connsiteX20421" fmla="*/ 2460577 w 6785952"/>
              <a:gd name="connsiteY20421" fmla="*/ 4239995 h 5217112"/>
              <a:gd name="connsiteX20422" fmla="*/ 2459675 w 6785952"/>
              <a:gd name="connsiteY20422" fmla="*/ 4228485 h 5217112"/>
              <a:gd name="connsiteX20423" fmla="*/ 2455466 w 6785952"/>
              <a:gd name="connsiteY20423" fmla="*/ 4225386 h 5217112"/>
              <a:gd name="connsiteX20424" fmla="*/ 2453963 w 6785952"/>
              <a:gd name="connsiteY20424" fmla="*/ 4201481 h 5217112"/>
              <a:gd name="connsiteX20425" fmla="*/ 2443141 w 6785952"/>
              <a:gd name="connsiteY20425" fmla="*/ 4185545 h 5217112"/>
              <a:gd name="connsiteX20426" fmla="*/ 2438031 w 6785952"/>
              <a:gd name="connsiteY20426" fmla="*/ 4180564 h 5217112"/>
              <a:gd name="connsiteX20427" fmla="*/ 2435626 w 6785952"/>
              <a:gd name="connsiteY20427" fmla="*/ 4179347 h 5217112"/>
              <a:gd name="connsiteX20428" fmla="*/ 2431417 w 6785952"/>
              <a:gd name="connsiteY20428" fmla="*/ 4175584 h 5217112"/>
              <a:gd name="connsiteX20429" fmla="*/ 2431417 w 6785952"/>
              <a:gd name="connsiteY20429" fmla="*/ 4175363 h 5217112"/>
              <a:gd name="connsiteX20430" fmla="*/ 2428410 w 6785952"/>
              <a:gd name="connsiteY20430" fmla="*/ 4174035 h 5217112"/>
              <a:gd name="connsiteX20431" fmla="*/ 2422699 w 6785952"/>
              <a:gd name="connsiteY20431" fmla="*/ 4178904 h 5217112"/>
              <a:gd name="connsiteX20432" fmla="*/ 2418491 w 6785952"/>
              <a:gd name="connsiteY20432" fmla="*/ 4179790 h 5217112"/>
              <a:gd name="connsiteX20433" fmla="*/ 2416085 w 6785952"/>
              <a:gd name="connsiteY20433" fmla="*/ 4182224 h 5217112"/>
              <a:gd name="connsiteX20434" fmla="*/ 2419693 w 6785952"/>
              <a:gd name="connsiteY20434" fmla="*/ 4192738 h 5217112"/>
              <a:gd name="connsiteX20435" fmla="*/ 2426307 w 6785952"/>
              <a:gd name="connsiteY20435" fmla="*/ 4224612 h 5217112"/>
              <a:gd name="connsiteX20436" fmla="*/ 2426307 w 6785952"/>
              <a:gd name="connsiteY20436" fmla="*/ 4224722 h 5217112"/>
              <a:gd name="connsiteX20437" fmla="*/ 2431116 w 6785952"/>
              <a:gd name="connsiteY20437" fmla="*/ 4229260 h 5217112"/>
              <a:gd name="connsiteX20438" fmla="*/ 2433221 w 6785952"/>
              <a:gd name="connsiteY20438" fmla="*/ 4234461 h 5217112"/>
              <a:gd name="connsiteX20439" fmla="*/ 2432619 w 6785952"/>
              <a:gd name="connsiteY20439" fmla="*/ 4233244 h 5217112"/>
              <a:gd name="connsiteX20440" fmla="*/ 2432019 w 6785952"/>
              <a:gd name="connsiteY20440" fmla="*/ 4235236 h 5217112"/>
              <a:gd name="connsiteX20441" fmla="*/ 2423601 w 6785952"/>
              <a:gd name="connsiteY20441" fmla="*/ 4226714 h 5217112"/>
              <a:gd name="connsiteX20442" fmla="*/ 2416687 w 6785952"/>
              <a:gd name="connsiteY20442" fmla="*/ 4231473 h 5217112"/>
              <a:gd name="connsiteX20443" fmla="*/ 2409172 w 6785952"/>
              <a:gd name="connsiteY20443" fmla="*/ 4254714 h 5217112"/>
              <a:gd name="connsiteX20444" fmla="*/ 2364680 w 6785952"/>
              <a:gd name="connsiteY20444" fmla="*/ 4269876 h 5217112"/>
              <a:gd name="connsiteX20445" fmla="*/ 2338226 w 6785952"/>
              <a:gd name="connsiteY20445" fmla="*/ 4258034 h 5217112"/>
              <a:gd name="connsiteX20446" fmla="*/ 2327404 w 6785952"/>
              <a:gd name="connsiteY20446" fmla="*/ 4253386 h 5217112"/>
              <a:gd name="connsiteX20447" fmla="*/ 2322894 w 6785952"/>
              <a:gd name="connsiteY20447" fmla="*/ 4259694 h 5217112"/>
              <a:gd name="connsiteX20448" fmla="*/ 2318987 w 6785952"/>
              <a:gd name="connsiteY20448" fmla="*/ 4254604 h 5217112"/>
              <a:gd name="connsiteX20449" fmla="*/ 2320791 w 6785952"/>
              <a:gd name="connsiteY20449" fmla="*/ 4250287 h 5217112"/>
              <a:gd name="connsiteX20450" fmla="*/ 2311471 w 6785952"/>
              <a:gd name="connsiteY20450" fmla="*/ 4246192 h 5217112"/>
              <a:gd name="connsiteX20451" fmla="*/ 2306361 w 6785952"/>
              <a:gd name="connsiteY20451" fmla="*/ 4231031 h 5217112"/>
              <a:gd name="connsiteX20452" fmla="*/ 2301852 w 6785952"/>
              <a:gd name="connsiteY20452" fmla="*/ 4232359 h 5217112"/>
              <a:gd name="connsiteX20453" fmla="*/ 2296140 w 6785952"/>
              <a:gd name="connsiteY20453" fmla="*/ 4235679 h 5217112"/>
              <a:gd name="connsiteX20454" fmla="*/ 2295238 w 6785952"/>
              <a:gd name="connsiteY20454" fmla="*/ 4224280 h 5217112"/>
              <a:gd name="connsiteX20455" fmla="*/ 2297943 w 6785952"/>
              <a:gd name="connsiteY20455" fmla="*/ 4224058 h 5217112"/>
              <a:gd name="connsiteX20456" fmla="*/ 2301251 w 6785952"/>
              <a:gd name="connsiteY20456" fmla="*/ 4220849 h 5217112"/>
              <a:gd name="connsiteX20457" fmla="*/ 2297943 w 6785952"/>
              <a:gd name="connsiteY20457" fmla="*/ 4214430 h 5217112"/>
              <a:gd name="connsiteX20458" fmla="*/ 2292834 w 6785952"/>
              <a:gd name="connsiteY20458" fmla="*/ 4182446 h 5217112"/>
              <a:gd name="connsiteX20459" fmla="*/ 2293735 w 6785952"/>
              <a:gd name="connsiteY20459" fmla="*/ 4181782 h 5217112"/>
              <a:gd name="connsiteX20460" fmla="*/ 2299747 w 6785952"/>
              <a:gd name="connsiteY20460" fmla="*/ 4173260 h 5217112"/>
              <a:gd name="connsiteX20461" fmla="*/ 2306060 w 6785952"/>
              <a:gd name="connsiteY20461" fmla="*/ 4170936 h 5217112"/>
              <a:gd name="connsiteX20462" fmla="*/ 2308165 w 6785952"/>
              <a:gd name="connsiteY20462" fmla="*/ 4168280 h 5217112"/>
              <a:gd name="connsiteX20463" fmla="*/ 2316281 w 6785952"/>
              <a:gd name="connsiteY20463" fmla="*/ 4153671 h 5217112"/>
              <a:gd name="connsiteX20464" fmla="*/ 2360772 w 6785952"/>
              <a:gd name="connsiteY20464" fmla="*/ 4147695 h 5217112"/>
              <a:gd name="connsiteX20465" fmla="*/ 2383318 w 6785952"/>
              <a:gd name="connsiteY20465" fmla="*/ 4152343 h 5217112"/>
              <a:gd name="connsiteX20466" fmla="*/ 2383018 w 6785952"/>
              <a:gd name="connsiteY20466" fmla="*/ 4150351 h 5217112"/>
              <a:gd name="connsiteX20467" fmla="*/ 2377006 w 6785952"/>
              <a:gd name="connsiteY20467" fmla="*/ 4144928 h 5217112"/>
              <a:gd name="connsiteX20468" fmla="*/ 2377006 w 6785952"/>
              <a:gd name="connsiteY20468" fmla="*/ 4124565 h 5217112"/>
              <a:gd name="connsiteX20469" fmla="*/ 2361373 w 6785952"/>
              <a:gd name="connsiteY20469" fmla="*/ 4117039 h 5217112"/>
              <a:gd name="connsiteX20470" fmla="*/ 2356865 w 6785952"/>
              <a:gd name="connsiteY20470" fmla="*/ 4117924 h 5217112"/>
              <a:gd name="connsiteX20471" fmla="*/ 2354159 w 6785952"/>
              <a:gd name="connsiteY20471" fmla="*/ 4125561 h 5217112"/>
              <a:gd name="connsiteX20472" fmla="*/ 2356263 w 6785952"/>
              <a:gd name="connsiteY20472" fmla="*/ 4127553 h 5217112"/>
              <a:gd name="connsiteX20473" fmla="*/ 2362877 w 6785952"/>
              <a:gd name="connsiteY20473" fmla="*/ 4138952 h 5217112"/>
              <a:gd name="connsiteX20474" fmla="*/ 2341533 w 6785952"/>
              <a:gd name="connsiteY20474" fmla="*/ 4144818 h 5217112"/>
              <a:gd name="connsiteX20475" fmla="*/ 2337325 w 6785952"/>
              <a:gd name="connsiteY20475" fmla="*/ 4141165 h 5217112"/>
              <a:gd name="connsiteX20476" fmla="*/ 2335821 w 6785952"/>
              <a:gd name="connsiteY20476" fmla="*/ 4142383 h 5217112"/>
              <a:gd name="connsiteX20477" fmla="*/ 2314177 w 6785952"/>
              <a:gd name="connsiteY20477" fmla="*/ 4116043 h 5217112"/>
              <a:gd name="connsiteX20478" fmla="*/ 2314477 w 6785952"/>
              <a:gd name="connsiteY20478" fmla="*/ 4113387 h 5217112"/>
              <a:gd name="connsiteX20479" fmla="*/ 2310269 w 6785952"/>
              <a:gd name="connsiteY20479" fmla="*/ 4115600 h 5217112"/>
              <a:gd name="connsiteX20480" fmla="*/ 2301552 w 6785952"/>
              <a:gd name="connsiteY20480" fmla="*/ 4113166 h 5217112"/>
              <a:gd name="connsiteX20481" fmla="*/ 2309969 w 6785952"/>
              <a:gd name="connsiteY20481" fmla="*/ 4101434 h 5217112"/>
              <a:gd name="connsiteX20482" fmla="*/ 2315680 w 6785952"/>
              <a:gd name="connsiteY20482" fmla="*/ 4102873 h 5217112"/>
              <a:gd name="connsiteX20483" fmla="*/ 2316281 w 6785952"/>
              <a:gd name="connsiteY20483" fmla="*/ 4104644 h 5217112"/>
              <a:gd name="connsiteX20484" fmla="*/ 2336122 w 6785952"/>
              <a:gd name="connsiteY20484" fmla="*/ 4094019 h 5217112"/>
              <a:gd name="connsiteX20485" fmla="*/ 2343637 w 6785952"/>
              <a:gd name="connsiteY20485" fmla="*/ 4097782 h 5217112"/>
              <a:gd name="connsiteX20486" fmla="*/ 2344839 w 6785952"/>
              <a:gd name="connsiteY20486" fmla="*/ 4095569 h 5217112"/>
              <a:gd name="connsiteX20487" fmla="*/ 2345140 w 6785952"/>
              <a:gd name="connsiteY20487" fmla="*/ 4095569 h 5217112"/>
              <a:gd name="connsiteX20488" fmla="*/ 2344539 w 6785952"/>
              <a:gd name="connsiteY20488" fmla="*/ 4092027 h 5217112"/>
              <a:gd name="connsiteX20489" fmla="*/ 2340331 w 6785952"/>
              <a:gd name="connsiteY20489" fmla="*/ 4093466 h 5217112"/>
              <a:gd name="connsiteX20490" fmla="*/ 2343938 w 6785952"/>
              <a:gd name="connsiteY20490" fmla="*/ 4089039 h 5217112"/>
              <a:gd name="connsiteX20491" fmla="*/ 2343337 w 6785952"/>
              <a:gd name="connsiteY20491" fmla="*/ 4084834 h 5217112"/>
              <a:gd name="connsiteX20492" fmla="*/ 2335821 w 6785952"/>
              <a:gd name="connsiteY20492" fmla="*/ 4075980 h 5217112"/>
              <a:gd name="connsiteX20493" fmla="*/ 2335521 w 6785952"/>
              <a:gd name="connsiteY20493" fmla="*/ 4070114 h 5217112"/>
              <a:gd name="connsiteX20494" fmla="*/ 2332515 w 6785952"/>
              <a:gd name="connsiteY20494" fmla="*/ 4068122 h 5217112"/>
              <a:gd name="connsiteX20495" fmla="*/ 2328908 w 6785952"/>
              <a:gd name="connsiteY20495" fmla="*/ 4069340 h 5217112"/>
              <a:gd name="connsiteX20496" fmla="*/ 2325900 w 6785952"/>
              <a:gd name="connsiteY20496" fmla="*/ 4068012 h 5217112"/>
              <a:gd name="connsiteX20497" fmla="*/ 2321392 w 6785952"/>
              <a:gd name="connsiteY20497" fmla="*/ 4061703 h 5217112"/>
              <a:gd name="connsiteX20498" fmla="*/ 2308766 w 6785952"/>
              <a:gd name="connsiteY20498" fmla="*/ 4055616 h 5217112"/>
              <a:gd name="connsiteX20499" fmla="*/ 2289526 w 6785952"/>
              <a:gd name="connsiteY20499" fmla="*/ 4046763 h 5217112"/>
              <a:gd name="connsiteX20500" fmla="*/ 2288324 w 6785952"/>
              <a:gd name="connsiteY20500" fmla="*/ 4046209 h 5217112"/>
              <a:gd name="connsiteX20501" fmla="*/ 2286220 w 6785952"/>
              <a:gd name="connsiteY20501" fmla="*/ 4047537 h 5217112"/>
              <a:gd name="connsiteX20502" fmla="*/ 2286520 w 6785952"/>
              <a:gd name="connsiteY20502" fmla="*/ 4045324 h 5217112"/>
              <a:gd name="connsiteX20503" fmla="*/ 2279907 w 6785952"/>
              <a:gd name="connsiteY20503" fmla="*/ 4042336 h 5217112"/>
              <a:gd name="connsiteX20504" fmla="*/ 2288324 w 6785952"/>
              <a:gd name="connsiteY20504" fmla="*/ 4007585 h 5217112"/>
              <a:gd name="connsiteX20505" fmla="*/ 2293735 w 6785952"/>
              <a:gd name="connsiteY20505" fmla="*/ 3999063 h 5217112"/>
              <a:gd name="connsiteX20506" fmla="*/ 2291772 w 6785952"/>
              <a:gd name="connsiteY20506" fmla="*/ 3998141 h 5217112"/>
              <a:gd name="connsiteX20507" fmla="*/ 2276677 w 6785952"/>
              <a:gd name="connsiteY20507" fmla="*/ 4000408 h 5217112"/>
              <a:gd name="connsiteX20508" fmla="*/ 2274496 w 6785952"/>
              <a:gd name="connsiteY20508" fmla="*/ 4001830 h 5217112"/>
              <a:gd name="connsiteX20509" fmla="*/ 2263073 w 6785952"/>
              <a:gd name="connsiteY20509" fmla="*/ 4015221 h 5217112"/>
              <a:gd name="connsiteX20510" fmla="*/ 2252851 w 6785952"/>
              <a:gd name="connsiteY20510" fmla="*/ 4027949 h 5217112"/>
              <a:gd name="connsiteX20511" fmla="*/ 2257361 w 6785952"/>
              <a:gd name="connsiteY20511" fmla="*/ 4014668 h 5217112"/>
              <a:gd name="connsiteX20512" fmla="*/ 2265005 w 6785952"/>
              <a:gd name="connsiteY20512" fmla="*/ 4002161 h 5217112"/>
              <a:gd name="connsiteX20513" fmla="*/ 2263688 w 6785952"/>
              <a:gd name="connsiteY20513" fmla="*/ 4002359 h 5217112"/>
              <a:gd name="connsiteX20514" fmla="*/ 2254055 w 6785952"/>
              <a:gd name="connsiteY20514" fmla="*/ 4007585 h 5217112"/>
              <a:gd name="connsiteX20515" fmla="*/ 2253754 w 6785952"/>
              <a:gd name="connsiteY20515" fmla="*/ 4018431 h 5217112"/>
              <a:gd name="connsiteX20516" fmla="*/ 2235717 w 6785952"/>
              <a:gd name="connsiteY20516" fmla="*/ 4033482 h 5217112"/>
              <a:gd name="connsiteX20517" fmla="*/ 2235116 w 6785952"/>
              <a:gd name="connsiteY20517" fmla="*/ 4037356 h 5217112"/>
              <a:gd name="connsiteX20518" fmla="*/ 2218582 w 6785952"/>
              <a:gd name="connsiteY20518" fmla="*/ 4035474 h 5217112"/>
              <a:gd name="connsiteX20519" fmla="*/ 2219183 w 6785952"/>
              <a:gd name="connsiteY20519" fmla="*/ 4033814 h 5217112"/>
              <a:gd name="connsiteX20520" fmla="*/ 2217379 w 6785952"/>
              <a:gd name="connsiteY20520" fmla="*/ 4033593 h 5217112"/>
              <a:gd name="connsiteX20521" fmla="*/ 2216477 w 6785952"/>
              <a:gd name="connsiteY20521" fmla="*/ 4033261 h 5217112"/>
              <a:gd name="connsiteX20522" fmla="*/ 2213171 w 6785952"/>
              <a:gd name="connsiteY20522" fmla="*/ 4036360 h 5217112"/>
              <a:gd name="connsiteX20523" fmla="*/ 2210465 w 6785952"/>
              <a:gd name="connsiteY20523" fmla="*/ 4039458 h 5217112"/>
              <a:gd name="connsiteX20524" fmla="*/ 2210465 w 6785952"/>
              <a:gd name="connsiteY20524" fmla="*/ 4043996 h 5217112"/>
              <a:gd name="connsiteX20525" fmla="*/ 2205354 w 6785952"/>
              <a:gd name="connsiteY20525" fmla="*/ 4045656 h 5217112"/>
              <a:gd name="connsiteX20526" fmla="*/ 2202949 w 6785952"/>
              <a:gd name="connsiteY20526" fmla="*/ 4045213 h 5217112"/>
              <a:gd name="connsiteX20527" fmla="*/ 2201147 w 6785952"/>
              <a:gd name="connsiteY20527" fmla="*/ 4046652 h 5217112"/>
              <a:gd name="connsiteX20528" fmla="*/ 2199643 w 6785952"/>
              <a:gd name="connsiteY20528" fmla="*/ 4047759 h 5217112"/>
              <a:gd name="connsiteX20529" fmla="*/ 2191827 w 6785952"/>
              <a:gd name="connsiteY20529" fmla="*/ 4054399 h 5217112"/>
              <a:gd name="connsiteX20530" fmla="*/ 2186415 w 6785952"/>
              <a:gd name="connsiteY20530" fmla="*/ 4056280 h 5217112"/>
              <a:gd name="connsiteX20531" fmla="*/ 2191526 w 6785952"/>
              <a:gd name="connsiteY20531" fmla="*/ 4061150 h 5217112"/>
              <a:gd name="connsiteX20532" fmla="*/ 2192127 w 6785952"/>
              <a:gd name="connsiteY20532" fmla="*/ 4063917 h 5217112"/>
              <a:gd name="connsiteX20533" fmla="*/ 2193631 w 6785952"/>
              <a:gd name="connsiteY20533" fmla="*/ 4064138 h 5217112"/>
              <a:gd name="connsiteX20534" fmla="*/ 2203852 w 6785952"/>
              <a:gd name="connsiteY20534" fmla="*/ 4067458 h 5217112"/>
              <a:gd name="connsiteX20535" fmla="*/ 2205054 w 6785952"/>
              <a:gd name="connsiteY20535" fmla="*/ 4093023 h 5217112"/>
              <a:gd name="connsiteX20536" fmla="*/ 2196937 w 6785952"/>
              <a:gd name="connsiteY20536" fmla="*/ 4100217 h 5217112"/>
              <a:gd name="connsiteX20537" fmla="*/ 2177398 w 6785952"/>
              <a:gd name="connsiteY20537" fmla="*/ 4104312 h 5217112"/>
              <a:gd name="connsiteX20538" fmla="*/ 2178600 w 6785952"/>
              <a:gd name="connsiteY20538" fmla="*/ 4107632 h 5217112"/>
              <a:gd name="connsiteX20539" fmla="*/ 2169581 w 6785952"/>
              <a:gd name="connsiteY20539" fmla="*/ 4089150 h 5217112"/>
              <a:gd name="connsiteX20540" fmla="*/ 2184913 w 6785952"/>
              <a:gd name="connsiteY20540" fmla="*/ 4063695 h 5217112"/>
              <a:gd name="connsiteX20541" fmla="*/ 2185815 w 6785952"/>
              <a:gd name="connsiteY20541" fmla="*/ 4063695 h 5217112"/>
              <a:gd name="connsiteX20542" fmla="*/ 2182508 w 6785952"/>
              <a:gd name="connsiteY20542" fmla="*/ 4063363 h 5217112"/>
              <a:gd name="connsiteX20543" fmla="*/ 2178299 w 6785952"/>
              <a:gd name="connsiteY20543" fmla="*/ 4060154 h 5217112"/>
              <a:gd name="connsiteX20544" fmla="*/ 2178901 w 6785952"/>
              <a:gd name="connsiteY20544" fmla="*/ 4058051 h 5217112"/>
              <a:gd name="connsiteX20545" fmla="*/ 2176796 w 6785952"/>
              <a:gd name="connsiteY20545" fmla="*/ 4058383 h 5217112"/>
              <a:gd name="connsiteX20546" fmla="*/ 2170784 w 6785952"/>
              <a:gd name="connsiteY20546" fmla="*/ 4060707 h 5217112"/>
              <a:gd name="connsiteX20547" fmla="*/ 2162066 w 6785952"/>
              <a:gd name="connsiteY20547" fmla="*/ 4074984 h 5217112"/>
              <a:gd name="connsiteX20548" fmla="*/ 2159361 w 6785952"/>
              <a:gd name="connsiteY20548" fmla="*/ 4076644 h 5217112"/>
              <a:gd name="connsiteX20549" fmla="*/ 2162066 w 6785952"/>
              <a:gd name="connsiteY20549" fmla="*/ 4082178 h 5217112"/>
              <a:gd name="connsiteX20550" fmla="*/ 2168680 w 6785952"/>
              <a:gd name="connsiteY20550" fmla="*/ 4096676 h 5217112"/>
              <a:gd name="connsiteX20551" fmla="*/ 2167477 w 6785952"/>
              <a:gd name="connsiteY20551" fmla="*/ 4100881 h 5217112"/>
              <a:gd name="connsiteX20552" fmla="*/ 2170182 w 6785952"/>
              <a:gd name="connsiteY20552" fmla="*/ 4099442 h 5217112"/>
              <a:gd name="connsiteX20553" fmla="*/ 2174391 w 6785952"/>
              <a:gd name="connsiteY20553" fmla="*/ 4101434 h 5217112"/>
              <a:gd name="connsiteX20554" fmla="*/ 2179803 w 6785952"/>
              <a:gd name="connsiteY20554" fmla="*/ 4109845 h 5217112"/>
              <a:gd name="connsiteX20555" fmla="*/ 2146735 w 6785952"/>
              <a:gd name="connsiteY20555" fmla="*/ 4167505 h 5217112"/>
              <a:gd name="connsiteX20556" fmla="*/ 2136213 w 6785952"/>
              <a:gd name="connsiteY20556" fmla="*/ 4138952 h 5217112"/>
              <a:gd name="connsiteX20557" fmla="*/ 2146735 w 6785952"/>
              <a:gd name="connsiteY20557" fmla="*/ 4115268 h 5217112"/>
              <a:gd name="connsiteX20558" fmla="*/ 2156354 w 6785952"/>
              <a:gd name="connsiteY20558" fmla="*/ 4106636 h 5217112"/>
              <a:gd name="connsiteX20559" fmla="*/ 2150943 w 6785952"/>
              <a:gd name="connsiteY20559" fmla="*/ 4099110 h 5217112"/>
              <a:gd name="connsiteX20560" fmla="*/ 2144630 w 6785952"/>
              <a:gd name="connsiteY20560" fmla="*/ 4085055 h 5217112"/>
              <a:gd name="connsiteX20561" fmla="*/ 2125391 w 6785952"/>
              <a:gd name="connsiteY20561" fmla="*/ 4097672 h 5217112"/>
              <a:gd name="connsiteX20562" fmla="*/ 2121483 w 6785952"/>
              <a:gd name="connsiteY20562" fmla="*/ 4100438 h 5217112"/>
              <a:gd name="connsiteX20563" fmla="*/ 2121483 w 6785952"/>
              <a:gd name="connsiteY20563" fmla="*/ 4101545 h 5217112"/>
              <a:gd name="connsiteX20564" fmla="*/ 2120280 w 6785952"/>
              <a:gd name="connsiteY20564" fmla="*/ 4106636 h 5217112"/>
              <a:gd name="connsiteX20565" fmla="*/ 2113967 w 6785952"/>
              <a:gd name="connsiteY20565" fmla="*/ 4105861 h 5217112"/>
              <a:gd name="connsiteX20566" fmla="*/ 2104949 w 6785952"/>
              <a:gd name="connsiteY20566" fmla="*/ 4113166 h 5217112"/>
              <a:gd name="connsiteX20567" fmla="*/ 2098035 w 6785952"/>
              <a:gd name="connsiteY20567" fmla="*/ 4120581 h 5217112"/>
              <a:gd name="connsiteX20568" fmla="*/ 2097133 w 6785952"/>
              <a:gd name="connsiteY20568" fmla="*/ 4128549 h 5217112"/>
              <a:gd name="connsiteX20569" fmla="*/ 2099538 w 6785952"/>
              <a:gd name="connsiteY20569" fmla="*/ 4128770 h 5217112"/>
              <a:gd name="connsiteX20570" fmla="*/ 2103746 w 6785952"/>
              <a:gd name="connsiteY20570" fmla="*/ 4142715 h 5217112"/>
              <a:gd name="connsiteX20571" fmla="*/ 2092925 w 6785952"/>
              <a:gd name="connsiteY20571" fmla="*/ 4147695 h 5217112"/>
              <a:gd name="connsiteX20572" fmla="*/ 2089918 w 6785952"/>
              <a:gd name="connsiteY20572" fmla="*/ 4139173 h 5217112"/>
              <a:gd name="connsiteX20573" fmla="*/ 2092624 w 6785952"/>
              <a:gd name="connsiteY20573" fmla="*/ 4130541 h 5217112"/>
              <a:gd name="connsiteX20574" fmla="*/ 2087814 w 6785952"/>
              <a:gd name="connsiteY20574" fmla="*/ 4131869 h 5217112"/>
              <a:gd name="connsiteX20575" fmla="*/ 2086611 w 6785952"/>
              <a:gd name="connsiteY20575" fmla="*/ 4132976 h 5217112"/>
              <a:gd name="connsiteX20576" fmla="*/ 2085710 w 6785952"/>
              <a:gd name="connsiteY20576" fmla="*/ 4132312 h 5217112"/>
              <a:gd name="connsiteX20577" fmla="*/ 2079698 w 6785952"/>
              <a:gd name="connsiteY20577" fmla="*/ 4133861 h 5217112"/>
              <a:gd name="connsiteX20578" fmla="*/ 2064366 w 6785952"/>
              <a:gd name="connsiteY20578" fmla="*/ 4131537 h 5217112"/>
              <a:gd name="connsiteX20579" fmla="*/ 2062863 w 6785952"/>
              <a:gd name="connsiteY20579" fmla="*/ 4130762 h 5217112"/>
              <a:gd name="connsiteX20580" fmla="*/ 2059857 w 6785952"/>
              <a:gd name="connsiteY20580" fmla="*/ 4132754 h 5217112"/>
              <a:gd name="connsiteX20581" fmla="*/ 2061360 w 6785952"/>
              <a:gd name="connsiteY20581" fmla="*/ 4133972 h 5217112"/>
              <a:gd name="connsiteX20582" fmla="*/ 2062563 w 6785952"/>
              <a:gd name="connsiteY20582" fmla="*/ 4133972 h 5217112"/>
              <a:gd name="connsiteX20583" fmla="*/ 2066470 w 6785952"/>
              <a:gd name="connsiteY20583" fmla="*/ 4137624 h 5217112"/>
              <a:gd name="connsiteX20584" fmla="*/ 2065569 w 6785952"/>
              <a:gd name="connsiteY20584" fmla="*/ 4137735 h 5217112"/>
              <a:gd name="connsiteX20585" fmla="*/ 2065869 w 6785952"/>
              <a:gd name="connsiteY20585" fmla="*/ 4138288 h 5217112"/>
              <a:gd name="connsiteX20586" fmla="*/ 2067672 w 6785952"/>
              <a:gd name="connsiteY20586" fmla="*/ 4142493 h 5217112"/>
              <a:gd name="connsiteX20587" fmla="*/ 2069777 w 6785952"/>
              <a:gd name="connsiteY20587" fmla="*/ 4145260 h 5217112"/>
              <a:gd name="connsiteX20588" fmla="*/ 2070078 w 6785952"/>
              <a:gd name="connsiteY20588" fmla="*/ 4155553 h 5217112"/>
              <a:gd name="connsiteX20589" fmla="*/ 2055047 w 6785952"/>
              <a:gd name="connsiteY20589" fmla="*/ 4142604 h 5217112"/>
              <a:gd name="connsiteX20590" fmla="*/ 2052943 w 6785952"/>
              <a:gd name="connsiteY20590" fmla="*/ 4140169 h 5217112"/>
              <a:gd name="connsiteX20591" fmla="*/ 2040918 w 6785952"/>
              <a:gd name="connsiteY20591" fmla="*/ 4142604 h 5217112"/>
              <a:gd name="connsiteX20592" fmla="*/ 2024685 w 6785952"/>
              <a:gd name="connsiteY20592" fmla="*/ 4157434 h 5217112"/>
              <a:gd name="connsiteX20593" fmla="*/ 2019875 w 6785952"/>
              <a:gd name="connsiteY20593" fmla="*/ 4157987 h 5217112"/>
              <a:gd name="connsiteX20594" fmla="*/ 2019574 w 6785952"/>
              <a:gd name="connsiteY20594" fmla="*/ 4157877 h 5217112"/>
              <a:gd name="connsiteX20595" fmla="*/ 2004544 w 6785952"/>
              <a:gd name="connsiteY20595" fmla="*/ 4165292 h 5217112"/>
              <a:gd name="connsiteX20596" fmla="*/ 2001538 w 6785952"/>
              <a:gd name="connsiteY20596" fmla="*/ 4163300 h 5217112"/>
              <a:gd name="connsiteX20597" fmla="*/ 2000035 w 6785952"/>
              <a:gd name="connsiteY20597" fmla="*/ 4164406 h 5217112"/>
              <a:gd name="connsiteX20598" fmla="*/ 2007550 w 6785952"/>
              <a:gd name="connsiteY20598" fmla="*/ 4166730 h 5217112"/>
              <a:gd name="connsiteX20599" fmla="*/ 2001238 w 6785952"/>
              <a:gd name="connsiteY20599" fmla="*/ 4173371 h 5217112"/>
              <a:gd name="connsiteX20600" fmla="*/ 1998833 w 6785952"/>
              <a:gd name="connsiteY20600" fmla="*/ 4174145 h 5217112"/>
              <a:gd name="connsiteX20601" fmla="*/ 2001538 w 6785952"/>
              <a:gd name="connsiteY20601" fmla="*/ 4173924 h 5217112"/>
              <a:gd name="connsiteX20602" fmla="*/ 2005746 w 6785952"/>
              <a:gd name="connsiteY20602" fmla="*/ 4170493 h 5217112"/>
              <a:gd name="connsiteX20603" fmla="*/ 2019875 w 6785952"/>
              <a:gd name="connsiteY20603" fmla="*/ 4165845 h 5217112"/>
              <a:gd name="connsiteX20604" fmla="*/ 2022581 w 6785952"/>
              <a:gd name="connsiteY20604" fmla="*/ 4167837 h 5217112"/>
              <a:gd name="connsiteX20605" fmla="*/ 2036709 w 6785952"/>
              <a:gd name="connsiteY20605" fmla="*/ 4163300 h 5217112"/>
              <a:gd name="connsiteX20606" fmla="*/ 2052642 w 6785952"/>
              <a:gd name="connsiteY20606" fmla="*/ 4164406 h 5217112"/>
              <a:gd name="connsiteX20607" fmla="*/ 2022581 w 6785952"/>
              <a:gd name="connsiteY20607" fmla="*/ 4182778 h 5217112"/>
              <a:gd name="connsiteX20608" fmla="*/ 1996427 w 6785952"/>
              <a:gd name="connsiteY20608" fmla="*/ 4180564 h 5217112"/>
              <a:gd name="connsiteX20609" fmla="*/ 1992819 w 6785952"/>
              <a:gd name="connsiteY20609" fmla="*/ 4176027 h 5217112"/>
              <a:gd name="connsiteX20610" fmla="*/ 1984402 w 6785952"/>
              <a:gd name="connsiteY20610" fmla="*/ 4178683 h 5217112"/>
              <a:gd name="connsiteX20611" fmla="*/ 1981998 w 6785952"/>
              <a:gd name="connsiteY20611" fmla="*/ 4180564 h 5217112"/>
              <a:gd name="connsiteX20612" fmla="*/ 1988611 w 6785952"/>
              <a:gd name="connsiteY20612" fmla="*/ 4182667 h 5217112"/>
              <a:gd name="connsiteX20613" fmla="*/ 1978090 w 6785952"/>
              <a:gd name="connsiteY20613" fmla="*/ 4194177 h 5217112"/>
              <a:gd name="connsiteX20614" fmla="*/ 1962157 w 6785952"/>
              <a:gd name="connsiteY20614" fmla="*/ 4191410 h 5217112"/>
              <a:gd name="connsiteX20615" fmla="*/ 1970875 w 6785952"/>
              <a:gd name="connsiteY20615" fmla="*/ 4182667 h 5217112"/>
              <a:gd name="connsiteX20616" fmla="*/ 1972678 w 6785952"/>
              <a:gd name="connsiteY20616" fmla="*/ 4182224 h 5217112"/>
              <a:gd name="connsiteX20617" fmla="*/ 1972678 w 6785952"/>
              <a:gd name="connsiteY20617" fmla="*/ 4181892 h 5217112"/>
              <a:gd name="connsiteX20618" fmla="*/ 1957949 w 6785952"/>
              <a:gd name="connsiteY20618" fmla="*/ 4181671 h 5217112"/>
              <a:gd name="connsiteX20619" fmla="*/ 1930893 w 6785952"/>
              <a:gd name="connsiteY20619" fmla="*/ 4199932 h 5217112"/>
              <a:gd name="connsiteX20620" fmla="*/ 1914059 w 6785952"/>
              <a:gd name="connsiteY20620" fmla="*/ 4208122 h 5217112"/>
              <a:gd name="connsiteX20621" fmla="*/ 1896323 w 6785952"/>
              <a:gd name="connsiteY20621" fmla="*/ 4215979 h 5217112"/>
              <a:gd name="connsiteX20622" fmla="*/ 1863255 w 6785952"/>
              <a:gd name="connsiteY20622" fmla="*/ 4228264 h 5217112"/>
              <a:gd name="connsiteX20623" fmla="*/ 1862955 w 6785952"/>
              <a:gd name="connsiteY20623" fmla="*/ 4236453 h 5217112"/>
              <a:gd name="connsiteX20624" fmla="*/ 1860850 w 6785952"/>
              <a:gd name="connsiteY20624" fmla="*/ 4241544 h 5217112"/>
              <a:gd name="connsiteX20625" fmla="*/ 1861151 w 6785952"/>
              <a:gd name="connsiteY20625" fmla="*/ 4245528 h 5217112"/>
              <a:gd name="connsiteX20626" fmla="*/ 1861151 w 6785952"/>
              <a:gd name="connsiteY20626" fmla="*/ 4247521 h 5217112"/>
              <a:gd name="connsiteX20627" fmla="*/ 1862955 w 6785952"/>
              <a:gd name="connsiteY20627" fmla="*/ 4244090 h 5217112"/>
              <a:gd name="connsiteX20628" fmla="*/ 1862353 w 6785952"/>
              <a:gd name="connsiteY20628" fmla="*/ 4241212 h 5217112"/>
              <a:gd name="connsiteX20629" fmla="*/ 1866562 w 6785952"/>
              <a:gd name="connsiteY20629" fmla="*/ 4238113 h 5217112"/>
              <a:gd name="connsiteX20630" fmla="*/ 1862353 w 6785952"/>
              <a:gd name="connsiteY20630" fmla="*/ 4247299 h 5217112"/>
              <a:gd name="connsiteX20631" fmla="*/ 1861151 w 6785952"/>
              <a:gd name="connsiteY20631" fmla="*/ 4247963 h 5217112"/>
              <a:gd name="connsiteX20632" fmla="*/ 1861151 w 6785952"/>
              <a:gd name="connsiteY20632" fmla="*/ 4249734 h 5217112"/>
              <a:gd name="connsiteX20633" fmla="*/ 1861451 w 6785952"/>
              <a:gd name="connsiteY20633" fmla="*/ 4249623 h 5217112"/>
              <a:gd name="connsiteX20634" fmla="*/ 1861752 w 6785952"/>
              <a:gd name="connsiteY20634" fmla="*/ 4251062 h 5217112"/>
              <a:gd name="connsiteX20635" fmla="*/ 1861151 w 6785952"/>
              <a:gd name="connsiteY20635" fmla="*/ 4252279 h 5217112"/>
              <a:gd name="connsiteX20636" fmla="*/ 1861151 w 6785952"/>
              <a:gd name="connsiteY20636" fmla="*/ 4256485 h 5217112"/>
              <a:gd name="connsiteX20637" fmla="*/ 1860550 w 6785952"/>
              <a:gd name="connsiteY20637" fmla="*/ 4261465 h 5217112"/>
              <a:gd name="connsiteX20638" fmla="*/ 1865660 w 6785952"/>
              <a:gd name="connsiteY20638" fmla="*/ 4263457 h 5217112"/>
              <a:gd name="connsiteX20639" fmla="*/ 1866862 w 6785952"/>
              <a:gd name="connsiteY20639" fmla="*/ 4272200 h 5217112"/>
              <a:gd name="connsiteX20640" fmla="*/ 1862654 w 6785952"/>
              <a:gd name="connsiteY20640" fmla="*/ 4273860 h 5217112"/>
              <a:gd name="connsiteX20641" fmla="*/ 1851230 w 6785952"/>
              <a:gd name="connsiteY20641" fmla="*/ 4261354 h 5217112"/>
              <a:gd name="connsiteX20642" fmla="*/ 1856040 w 6785952"/>
              <a:gd name="connsiteY20642" fmla="*/ 4259916 h 5217112"/>
              <a:gd name="connsiteX20643" fmla="*/ 1857243 w 6785952"/>
              <a:gd name="connsiteY20643" fmla="*/ 4260358 h 5217112"/>
              <a:gd name="connsiteX20644" fmla="*/ 1857544 w 6785952"/>
              <a:gd name="connsiteY20644" fmla="*/ 4260137 h 5217112"/>
              <a:gd name="connsiteX20645" fmla="*/ 1857544 w 6785952"/>
              <a:gd name="connsiteY20645" fmla="*/ 4253939 h 5217112"/>
              <a:gd name="connsiteX20646" fmla="*/ 1859046 w 6785952"/>
              <a:gd name="connsiteY20646" fmla="*/ 4251947 h 5217112"/>
              <a:gd name="connsiteX20647" fmla="*/ 1860550 w 6785952"/>
              <a:gd name="connsiteY20647" fmla="*/ 4241876 h 5217112"/>
              <a:gd name="connsiteX20648" fmla="*/ 1856942 w 6785952"/>
              <a:gd name="connsiteY20648" fmla="*/ 4249513 h 5217112"/>
              <a:gd name="connsiteX20649" fmla="*/ 1840409 w 6785952"/>
              <a:gd name="connsiteY20649" fmla="*/ 4275852 h 5217112"/>
              <a:gd name="connsiteX20650" fmla="*/ 1819065 w 6785952"/>
              <a:gd name="connsiteY20650" fmla="*/ 4277180 h 5217112"/>
              <a:gd name="connsiteX20651" fmla="*/ 1814555 w 6785952"/>
              <a:gd name="connsiteY20651" fmla="*/ 4279947 h 5217112"/>
              <a:gd name="connsiteX20652" fmla="*/ 1812450 w 6785952"/>
              <a:gd name="connsiteY20652" fmla="*/ 4284042 h 5217112"/>
              <a:gd name="connsiteX20653" fmla="*/ 1809144 w 6785952"/>
              <a:gd name="connsiteY20653" fmla="*/ 4285591 h 5217112"/>
              <a:gd name="connsiteX20654" fmla="*/ 1807040 w 6785952"/>
              <a:gd name="connsiteY20654" fmla="*/ 4285038 h 5217112"/>
              <a:gd name="connsiteX20655" fmla="*/ 1805537 w 6785952"/>
              <a:gd name="connsiteY20655" fmla="*/ 4285924 h 5217112"/>
              <a:gd name="connsiteX20656" fmla="*/ 1783892 w 6785952"/>
              <a:gd name="connsiteY20656" fmla="*/ 4276295 h 5217112"/>
              <a:gd name="connsiteX20657" fmla="*/ 1777279 w 6785952"/>
              <a:gd name="connsiteY20657" fmla="*/ 4274192 h 5217112"/>
              <a:gd name="connsiteX20658" fmla="*/ 1777880 w 6785952"/>
              <a:gd name="connsiteY20658" fmla="*/ 4274524 h 5217112"/>
              <a:gd name="connsiteX20659" fmla="*/ 1781187 w 6785952"/>
              <a:gd name="connsiteY20659" fmla="*/ 4283931 h 5217112"/>
              <a:gd name="connsiteX20660" fmla="*/ 1777880 w 6785952"/>
              <a:gd name="connsiteY20660" fmla="*/ 4290904 h 5217112"/>
              <a:gd name="connsiteX20661" fmla="*/ 1743310 w 6785952"/>
              <a:gd name="connsiteY20661" fmla="*/ 4274303 h 5217112"/>
              <a:gd name="connsiteX20662" fmla="*/ 1754433 w 6785952"/>
              <a:gd name="connsiteY20662" fmla="*/ 4269101 h 5217112"/>
              <a:gd name="connsiteX20663" fmla="*/ 1761046 w 6785952"/>
              <a:gd name="connsiteY20663" fmla="*/ 4269323 h 5217112"/>
              <a:gd name="connsiteX20664" fmla="*/ 1759242 w 6785952"/>
              <a:gd name="connsiteY20664" fmla="*/ 4268548 h 5217112"/>
              <a:gd name="connsiteX20665" fmla="*/ 1754433 w 6785952"/>
              <a:gd name="connsiteY20665" fmla="*/ 4260137 h 5217112"/>
              <a:gd name="connsiteX20666" fmla="*/ 1752929 w 6785952"/>
              <a:gd name="connsiteY20666" fmla="*/ 4259805 h 5217112"/>
              <a:gd name="connsiteX20667" fmla="*/ 1746316 w 6785952"/>
              <a:gd name="connsiteY20667" fmla="*/ 4253165 h 5217112"/>
              <a:gd name="connsiteX20668" fmla="*/ 1743611 w 6785952"/>
              <a:gd name="connsiteY20668" fmla="*/ 4257260 h 5217112"/>
              <a:gd name="connsiteX20669" fmla="*/ 1742407 w 6785952"/>
              <a:gd name="connsiteY20669" fmla="*/ 4257038 h 5217112"/>
              <a:gd name="connsiteX20670" fmla="*/ 1729782 w 6785952"/>
              <a:gd name="connsiteY20670" fmla="*/ 4260248 h 5217112"/>
              <a:gd name="connsiteX20671" fmla="*/ 1728579 w 6785952"/>
              <a:gd name="connsiteY20671" fmla="*/ 4259916 h 5217112"/>
              <a:gd name="connsiteX20672" fmla="*/ 1728279 w 6785952"/>
              <a:gd name="connsiteY20672" fmla="*/ 4261022 h 5217112"/>
              <a:gd name="connsiteX20673" fmla="*/ 1727978 w 6785952"/>
              <a:gd name="connsiteY20673" fmla="*/ 4262129 h 5217112"/>
              <a:gd name="connsiteX20674" fmla="*/ 1722267 w 6785952"/>
              <a:gd name="connsiteY20674" fmla="*/ 4261576 h 5217112"/>
              <a:gd name="connsiteX20675" fmla="*/ 1723770 w 6785952"/>
              <a:gd name="connsiteY20675" fmla="*/ 4270651 h 5217112"/>
              <a:gd name="connsiteX20676" fmla="*/ 1711745 w 6785952"/>
              <a:gd name="connsiteY20676" fmla="*/ 4278951 h 5217112"/>
              <a:gd name="connsiteX20677" fmla="*/ 1706634 w 6785952"/>
              <a:gd name="connsiteY20677" fmla="*/ 4287141 h 5217112"/>
              <a:gd name="connsiteX20678" fmla="*/ 1704531 w 6785952"/>
              <a:gd name="connsiteY20678" fmla="*/ 4290018 h 5217112"/>
              <a:gd name="connsiteX20679" fmla="*/ 1703027 w 6785952"/>
              <a:gd name="connsiteY20679" fmla="*/ 4290793 h 5217112"/>
              <a:gd name="connsiteX20680" fmla="*/ 1697616 w 6785952"/>
              <a:gd name="connsiteY20680" fmla="*/ 4292896 h 5217112"/>
              <a:gd name="connsiteX20681" fmla="*/ 1699420 w 6785952"/>
              <a:gd name="connsiteY20681" fmla="*/ 4287362 h 5217112"/>
              <a:gd name="connsiteX20682" fmla="*/ 1701524 w 6785952"/>
              <a:gd name="connsiteY20682" fmla="*/ 4285370 h 5217112"/>
              <a:gd name="connsiteX20683" fmla="*/ 1701825 w 6785952"/>
              <a:gd name="connsiteY20683" fmla="*/ 4284374 h 5217112"/>
              <a:gd name="connsiteX20684" fmla="*/ 1705432 w 6785952"/>
              <a:gd name="connsiteY20684" fmla="*/ 4280501 h 5217112"/>
              <a:gd name="connsiteX20685" fmla="*/ 1711444 w 6785952"/>
              <a:gd name="connsiteY20685" fmla="*/ 4272754 h 5217112"/>
              <a:gd name="connsiteX20686" fmla="*/ 1702126 w 6785952"/>
              <a:gd name="connsiteY20686" fmla="*/ 4269876 h 5217112"/>
              <a:gd name="connsiteX20687" fmla="*/ 1700923 w 6785952"/>
              <a:gd name="connsiteY20687" fmla="*/ 4269544 h 5217112"/>
              <a:gd name="connsiteX20688" fmla="*/ 1700021 w 6785952"/>
              <a:gd name="connsiteY20688" fmla="*/ 4269212 h 5217112"/>
              <a:gd name="connsiteX20689" fmla="*/ 1698517 w 6785952"/>
              <a:gd name="connsiteY20689" fmla="*/ 4269987 h 5217112"/>
              <a:gd name="connsiteX20690" fmla="*/ 1692505 w 6785952"/>
              <a:gd name="connsiteY20690" fmla="*/ 4270540 h 5217112"/>
              <a:gd name="connsiteX20691" fmla="*/ 1681683 w 6785952"/>
              <a:gd name="connsiteY20691" fmla="*/ 4274524 h 5217112"/>
              <a:gd name="connsiteX20692" fmla="*/ 1684389 w 6785952"/>
              <a:gd name="connsiteY20692" fmla="*/ 4266777 h 5217112"/>
              <a:gd name="connsiteX20693" fmla="*/ 1674770 w 6785952"/>
              <a:gd name="connsiteY20693" fmla="*/ 4273086 h 5217112"/>
              <a:gd name="connsiteX20694" fmla="*/ 1668155 w 6785952"/>
              <a:gd name="connsiteY20694" fmla="*/ 4274967 h 5217112"/>
              <a:gd name="connsiteX20695" fmla="*/ 1664248 w 6785952"/>
              <a:gd name="connsiteY20695" fmla="*/ 4277845 h 5217112"/>
              <a:gd name="connsiteX20696" fmla="*/ 1663647 w 6785952"/>
              <a:gd name="connsiteY20696" fmla="*/ 4276184 h 5217112"/>
              <a:gd name="connsiteX20697" fmla="*/ 1663346 w 6785952"/>
              <a:gd name="connsiteY20697" fmla="*/ 4276184 h 5217112"/>
              <a:gd name="connsiteX20698" fmla="*/ 1636892 w 6785952"/>
              <a:gd name="connsiteY20698" fmla="*/ 4276406 h 5217112"/>
              <a:gd name="connsiteX20699" fmla="*/ 1636591 w 6785952"/>
              <a:gd name="connsiteY20699" fmla="*/ 4283599 h 5217112"/>
              <a:gd name="connsiteX20700" fmla="*/ 1632082 w 6785952"/>
              <a:gd name="connsiteY20700" fmla="*/ 4283378 h 5217112"/>
              <a:gd name="connsiteX20701" fmla="*/ 1627573 w 6785952"/>
              <a:gd name="connsiteY20701" fmla="*/ 4283267 h 5217112"/>
              <a:gd name="connsiteX20702" fmla="*/ 1620658 w 6785952"/>
              <a:gd name="connsiteY20702" fmla="*/ 4283489 h 5217112"/>
              <a:gd name="connsiteX20703" fmla="*/ 1605027 w 6785952"/>
              <a:gd name="connsiteY20703" fmla="*/ 4284706 h 5217112"/>
              <a:gd name="connsiteX20704" fmla="*/ 1573462 w 6785952"/>
              <a:gd name="connsiteY20704" fmla="*/ 4288358 h 5217112"/>
              <a:gd name="connsiteX20705" fmla="*/ 1541297 w 6785952"/>
              <a:gd name="connsiteY20705" fmla="*/ 4290461 h 5217112"/>
              <a:gd name="connsiteX20706" fmla="*/ 1523860 w 6785952"/>
              <a:gd name="connsiteY20706" fmla="*/ 4289908 h 5217112"/>
              <a:gd name="connsiteX20707" fmla="*/ 1507026 w 6785952"/>
              <a:gd name="connsiteY20707" fmla="*/ 4288358 h 5217112"/>
              <a:gd name="connsiteX20708" fmla="*/ 1504020 w 6785952"/>
              <a:gd name="connsiteY20708" fmla="*/ 4297101 h 5217112"/>
              <a:gd name="connsiteX20709" fmla="*/ 1492597 w 6785952"/>
              <a:gd name="connsiteY20709" fmla="*/ 4296991 h 5217112"/>
              <a:gd name="connsiteX20710" fmla="*/ 1496806 w 6785952"/>
              <a:gd name="connsiteY20710" fmla="*/ 4308058 h 5217112"/>
              <a:gd name="connsiteX20711" fmla="*/ 1489891 w 6785952"/>
              <a:gd name="connsiteY20711" fmla="*/ 4317133 h 5217112"/>
              <a:gd name="connsiteX20712" fmla="*/ 1489290 w 6785952"/>
              <a:gd name="connsiteY20712" fmla="*/ 4317354 h 5217112"/>
              <a:gd name="connsiteX20713" fmla="*/ 1489891 w 6785952"/>
              <a:gd name="connsiteY20713" fmla="*/ 4318461 h 5217112"/>
              <a:gd name="connsiteX20714" fmla="*/ 1493499 w 6785952"/>
              <a:gd name="connsiteY20714" fmla="*/ 4324326 h 5217112"/>
              <a:gd name="connsiteX20715" fmla="*/ 1491395 w 6785952"/>
              <a:gd name="connsiteY20715" fmla="*/ 4326983 h 5217112"/>
              <a:gd name="connsiteX20716" fmla="*/ 1508229 w 6785952"/>
              <a:gd name="connsiteY20716" fmla="*/ 4308279 h 5217112"/>
              <a:gd name="connsiteX20717" fmla="*/ 1521757 w 6785952"/>
              <a:gd name="connsiteY20717" fmla="*/ 4308168 h 5217112"/>
              <a:gd name="connsiteX20718" fmla="*/ 1522057 w 6785952"/>
              <a:gd name="connsiteY20718" fmla="*/ 4307947 h 5217112"/>
              <a:gd name="connsiteX20719" fmla="*/ 1521456 w 6785952"/>
              <a:gd name="connsiteY20719" fmla="*/ 4306398 h 5217112"/>
              <a:gd name="connsiteX20720" fmla="*/ 1519652 w 6785952"/>
              <a:gd name="connsiteY20720" fmla="*/ 4306176 h 5217112"/>
              <a:gd name="connsiteX20721" fmla="*/ 1521456 w 6785952"/>
              <a:gd name="connsiteY20721" fmla="*/ 4303299 h 5217112"/>
              <a:gd name="connsiteX20722" fmla="*/ 1532880 w 6785952"/>
              <a:gd name="connsiteY20722" fmla="*/ 4299979 h 5217112"/>
              <a:gd name="connsiteX20723" fmla="*/ 1534682 w 6785952"/>
              <a:gd name="connsiteY20723" fmla="*/ 4304516 h 5217112"/>
              <a:gd name="connsiteX20724" fmla="*/ 1533480 w 6785952"/>
              <a:gd name="connsiteY20724" fmla="*/ 4306730 h 5217112"/>
              <a:gd name="connsiteX20725" fmla="*/ 1543100 w 6785952"/>
              <a:gd name="connsiteY20725" fmla="*/ 4304959 h 5217112"/>
              <a:gd name="connsiteX20726" fmla="*/ 1575867 w 6785952"/>
              <a:gd name="connsiteY20726" fmla="*/ 4309829 h 5217112"/>
              <a:gd name="connsiteX20727" fmla="*/ 1596610 w 6785952"/>
              <a:gd name="connsiteY20727" fmla="*/ 4340484 h 5217112"/>
              <a:gd name="connsiteX20728" fmla="*/ 1595407 w 6785952"/>
              <a:gd name="connsiteY20728" fmla="*/ 4361733 h 5217112"/>
              <a:gd name="connsiteX20729" fmla="*/ 1592401 w 6785952"/>
              <a:gd name="connsiteY20729" fmla="*/ 4372801 h 5217112"/>
              <a:gd name="connsiteX20730" fmla="*/ 1596610 w 6785952"/>
              <a:gd name="connsiteY20730" fmla="*/ 4379109 h 5217112"/>
              <a:gd name="connsiteX20731" fmla="*/ 1590296 w 6785952"/>
              <a:gd name="connsiteY20731" fmla="*/ 4380326 h 5217112"/>
              <a:gd name="connsiteX20732" fmla="*/ 1589395 w 6785952"/>
              <a:gd name="connsiteY20732" fmla="*/ 4383868 h 5217112"/>
              <a:gd name="connsiteX20733" fmla="*/ 1584284 w 6785952"/>
              <a:gd name="connsiteY20733" fmla="*/ 4393164 h 5217112"/>
              <a:gd name="connsiteX20734" fmla="*/ 1585187 w 6785952"/>
              <a:gd name="connsiteY20734" fmla="*/ 4393717 h 5217112"/>
              <a:gd name="connsiteX20735" fmla="*/ 1585187 w 6785952"/>
              <a:gd name="connsiteY20735" fmla="*/ 4398255 h 5217112"/>
              <a:gd name="connsiteX20736" fmla="*/ 1578873 w 6785952"/>
              <a:gd name="connsiteY20736" fmla="*/ 4402792 h 5217112"/>
              <a:gd name="connsiteX20737" fmla="*/ 1577972 w 6785952"/>
              <a:gd name="connsiteY20737" fmla="*/ 4403899 h 5217112"/>
              <a:gd name="connsiteX20738" fmla="*/ 1560236 w 6785952"/>
              <a:gd name="connsiteY20738" fmla="*/ 4419504 h 5217112"/>
              <a:gd name="connsiteX20739" fmla="*/ 1543702 w 6785952"/>
              <a:gd name="connsiteY20739" fmla="*/ 4425591 h 5217112"/>
              <a:gd name="connsiteX20740" fmla="*/ 1537689 w 6785952"/>
              <a:gd name="connsiteY20740" fmla="*/ 4425701 h 5217112"/>
              <a:gd name="connsiteX20741" fmla="*/ 1533781 w 6785952"/>
              <a:gd name="connsiteY20741" fmla="*/ 4427583 h 5217112"/>
              <a:gd name="connsiteX20742" fmla="*/ 1513340 w 6785952"/>
              <a:gd name="connsiteY20742" fmla="*/ 4434555 h 5217112"/>
              <a:gd name="connsiteX20743" fmla="*/ 1525664 w 6785952"/>
              <a:gd name="connsiteY20743" fmla="*/ 4428800 h 5217112"/>
              <a:gd name="connsiteX20744" fmla="*/ 1537388 w 6785952"/>
              <a:gd name="connsiteY20744" fmla="*/ 4425701 h 5217112"/>
              <a:gd name="connsiteX20745" fmla="*/ 1528069 w 6785952"/>
              <a:gd name="connsiteY20745" fmla="*/ 4425812 h 5217112"/>
              <a:gd name="connsiteX20746" fmla="*/ 1495302 w 6785952"/>
              <a:gd name="connsiteY20746" fmla="*/ 4422492 h 5217112"/>
              <a:gd name="connsiteX20747" fmla="*/ 1471253 w 6785952"/>
              <a:gd name="connsiteY20747" fmla="*/ 4397370 h 5217112"/>
              <a:gd name="connsiteX20748" fmla="*/ 1472756 w 6785952"/>
              <a:gd name="connsiteY20748" fmla="*/ 4386634 h 5217112"/>
              <a:gd name="connsiteX20749" fmla="*/ 1471855 w 6785952"/>
              <a:gd name="connsiteY20749" fmla="*/ 4375125 h 5217112"/>
              <a:gd name="connsiteX20750" fmla="*/ 1464339 w 6785952"/>
              <a:gd name="connsiteY20750" fmla="*/ 4370255 h 5217112"/>
              <a:gd name="connsiteX20751" fmla="*/ 1463137 w 6785952"/>
              <a:gd name="connsiteY20751" fmla="*/ 4356089 h 5217112"/>
              <a:gd name="connsiteX20752" fmla="*/ 1469750 w 6785952"/>
              <a:gd name="connsiteY20752" fmla="*/ 4353212 h 5217112"/>
              <a:gd name="connsiteX20753" fmla="*/ 1469450 w 6785952"/>
              <a:gd name="connsiteY20753" fmla="*/ 4351220 h 5217112"/>
              <a:gd name="connsiteX20754" fmla="*/ 1488990 w 6785952"/>
              <a:gd name="connsiteY20754" fmla="*/ 4329860 h 5217112"/>
              <a:gd name="connsiteX20755" fmla="*/ 1490794 w 6785952"/>
              <a:gd name="connsiteY20755" fmla="*/ 4327647 h 5217112"/>
              <a:gd name="connsiteX20756" fmla="*/ 1485983 w 6785952"/>
              <a:gd name="connsiteY20756" fmla="*/ 4327093 h 5217112"/>
              <a:gd name="connsiteX20757" fmla="*/ 1479971 w 6785952"/>
              <a:gd name="connsiteY20757" fmla="*/ 4320674 h 5217112"/>
              <a:gd name="connsiteX20758" fmla="*/ 1473057 w 6785952"/>
              <a:gd name="connsiteY20758" fmla="*/ 4323220 h 5217112"/>
              <a:gd name="connsiteX20759" fmla="*/ 1456222 w 6785952"/>
              <a:gd name="connsiteY20759" fmla="*/ 4320785 h 5217112"/>
              <a:gd name="connsiteX20760" fmla="*/ 1450511 w 6785952"/>
              <a:gd name="connsiteY20760" fmla="*/ 4313923 h 5217112"/>
              <a:gd name="connsiteX20761" fmla="*/ 1449609 w 6785952"/>
              <a:gd name="connsiteY20761" fmla="*/ 4313923 h 5217112"/>
              <a:gd name="connsiteX20762" fmla="*/ 1446001 w 6785952"/>
              <a:gd name="connsiteY20762" fmla="*/ 4304738 h 5217112"/>
              <a:gd name="connsiteX20763" fmla="*/ 1453517 w 6785952"/>
              <a:gd name="connsiteY20763" fmla="*/ 4301528 h 5217112"/>
              <a:gd name="connsiteX20764" fmla="*/ 1457124 w 6785952"/>
              <a:gd name="connsiteY20764" fmla="*/ 4303742 h 5217112"/>
              <a:gd name="connsiteX20765" fmla="*/ 1457124 w 6785952"/>
              <a:gd name="connsiteY20765" fmla="*/ 4305291 h 5217112"/>
              <a:gd name="connsiteX20766" fmla="*/ 1457124 w 6785952"/>
              <a:gd name="connsiteY20766" fmla="*/ 4307947 h 5217112"/>
              <a:gd name="connsiteX20767" fmla="*/ 1467345 w 6785952"/>
              <a:gd name="connsiteY20767" fmla="*/ 4301085 h 5217112"/>
              <a:gd name="connsiteX20768" fmla="*/ 1474861 w 6785952"/>
              <a:gd name="connsiteY20768" fmla="*/ 4298761 h 5217112"/>
              <a:gd name="connsiteX20769" fmla="*/ 1469450 w 6785952"/>
              <a:gd name="connsiteY20769" fmla="*/ 4297987 h 5217112"/>
              <a:gd name="connsiteX20770" fmla="*/ 1453817 w 6785952"/>
              <a:gd name="connsiteY20770" fmla="*/ 4290129 h 5217112"/>
              <a:gd name="connsiteX20771" fmla="*/ 1451412 w 6785952"/>
              <a:gd name="connsiteY20771" fmla="*/ 4291236 h 5217112"/>
              <a:gd name="connsiteX20772" fmla="*/ 1450511 w 6785952"/>
              <a:gd name="connsiteY20772" fmla="*/ 4294003 h 5217112"/>
              <a:gd name="connsiteX20773" fmla="*/ 1450511 w 6785952"/>
              <a:gd name="connsiteY20773" fmla="*/ 4294113 h 5217112"/>
              <a:gd name="connsiteX20774" fmla="*/ 1452315 w 6785952"/>
              <a:gd name="connsiteY20774" fmla="*/ 4298429 h 5217112"/>
              <a:gd name="connsiteX20775" fmla="*/ 1449309 w 6785952"/>
              <a:gd name="connsiteY20775" fmla="*/ 4301750 h 5217112"/>
              <a:gd name="connsiteX20776" fmla="*/ 1445400 w 6785952"/>
              <a:gd name="connsiteY20776" fmla="*/ 4297765 h 5217112"/>
              <a:gd name="connsiteX20777" fmla="*/ 1443597 w 6785952"/>
              <a:gd name="connsiteY20777" fmla="*/ 4296437 h 5217112"/>
              <a:gd name="connsiteX20778" fmla="*/ 1443898 w 6785952"/>
              <a:gd name="connsiteY20778" fmla="*/ 4295773 h 5217112"/>
              <a:gd name="connsiteX20779" fmla="*/ 1442394 w 6785952"/>
              <a:gd name="connsiteY20779" fmla="*/ 4294224 h 5217112"/>
              <a:gd name="connsiteX20780" fmla="*/ 1444198 w 6785952"/>
              <a:gd name="connsiteY20780" fmla="*/ 4293117 h 5217112"/>
              <a:gd name="connsiteX20781" fmla="*/ 1444198 w 6785952"/>
              <a:gd name="connsiteY20781" fmla="*/ 4292342 h 5217112"/>
              <a:gd name="connsiteX20782" fmla="*/ 1444499 w 6785952"/>
              <a:gd name="connsiteY20782" fmla="*/ 4288801 h 5217112"/>
              <a:gd name="connsiteX20783" fmla="*/ 1442394 w 6785952"/>
              <a:gd name="connsiteY20783" fmla="*/ 4288358 h 5217112"/>
              <a:gd name="connsiteX20784" fmla="*/ 1439989 w 6785952"/>
              <a:gd name="connsiteY20784" fmla="*/ 4285149 h 5217112"/>
              <a:gd name="connsiteX20785" fmla="*/ 1436382 w 6785952"/>
              <a:gd name="connsiteY20785" fmla="*/ 4287805 h 5217112"/>
              <a:gd name="connsiteX20786" fmla="*/ 1438787 w 6785952"/>
              <a:gd name="connsiteY20786" fmla="*/ 4291678 h 5217112"/>
              <a:gd name="connsiteX20787" fmla="*/ 1438486 w 6785952"/>
              <a:gd name="connsiteY20787" fmla="*/ 4297212 h 5217112"/>
              <a:gd name="connsiteX20788" fmla="*/ 1436081 w 6785952"/>
              <a:gd name="connsiteY20788" fmla="*/ 4288137 h 5217112"/>
              <a:gd name="connsiteX20789" fmla="*/ 1433977 w 6785952"/>
              <a:gd name="connsiteY20789" fmla="*/ 4289576 h 5217112"/>
              <a:gd name="connsiteX20790" fmla="*/ 1406320 w 6785952"/>
              <a:gd name="connsiteY20790" fmla="*/ 4292342 h 5217112"/>
              <a:gd name="connsiteX20791" fmla="*/ 1420749 w 6785952"/>
              <a:gd name="connsiteY20791" fmla="*/ 4288358 h 5217112"/>
              <a:gd name="connsiteX20792" fmla="*/ 1412933 w 6785952"/>
              <a:gd name="connsiteY20792" fmla="*/ 4280279 h 5217112"/>
              <a:gd name="connsiteX20793" fmla="*/ 1408425 w 6785952"/>
              <a:gd name="connsiteY20793" fmla="*/ 4280169 h 5217112"/>
              <a:gd name="connsiteX20794" fmla="*/ 1405419 w 6785952"/>
              <a:gd name="connsiteY20794" fmla="*/ 4284595 h 5217112"/>
              <a:gd name="connsiteX20795" fmla="*/ 1394596 w 6785952"/>
              <a:gd name="connsiteY20795" fmla="*/ 4288469 h 5217112"/>
              <a:gd name="connsiteX20796" fmla="*/ 1397002 w 6785952"/>
              <a:gd name="connsiteY20796" fmla="*/ 4279726 h 5217112"/>
              <a:gd name="connsiteX20797" fmla="*/ 1392191 w 6785952"/>
              <a:gd name="connsiteY20797" fmla="*/ 4290350 h 5217112"/>
              <a:gd name="connsiteX20798" fmla="*/ 1367841 w 6785952"/>
              <a:gd name="connsiteY20798" fmla="*/ 4279283 h 5217112"/>
              <a:gd name="connsiteX20799" fmla="*/ 1364835 w 6785952"/>
              <a:gd name="connsiteY20799" fmla="*/ 4288026 h 5217112"/>
              <a:gd name="connsiteX20800" fmla="*/ 1342890 w 6785952"/>
              <a:gd name="connsiteY20800" fmla="*/ 4277623 h 5217112"/>
              <a:gd name="connsiteX20801" fmla="*/ 1316437 w 6785952"/>
              <a:gd name="connsiteY20801" fmla="*/ 4269433 h 5217112"/>
              <a:gd name="connsiteX20802" fmla="*/ 1324854 w 6785952"/>
              <a:gd name="connsiteY20802" fmla="*/ 4268327 h 5217112"/>
              <a:gd name="connsiteX20803" fmla="*/ 1311627 w 6785952"/>
              <a:gd name="connsiteY20803" fmla="*/ 4266667 h 5217112"/>
              <a:gd name="connsiteX20804" fmla="*/ 1316737 w 6785952"/>
              <a:gd name="connsiteY20804" fmla="*/ 4271979 h 5217112"/>
              <a:gd name="connsiteX20805" fmla="*/ 1303810 w 6785952"/>
              <a:gd name="connsiteY20805" fmla="*/ 4269212 h 5217112"/>
              <a:gd name="connsiteX20806" fmla="*/ 1287577 w 6785952"/>
              <a:gd name="connsiteY20806" fmla="*/ 4261686 h 5217112"/>
              <a:gd name="connsiteX20807" fmla="*/ 1289381 w 6785952"/>
              <a:gd name="connsiteY20807" fmla="*/ 4255821 h 5217112"/>
              <a:gd name="connsiteX20808" fmla="*/ 1290283 w 6785952"/>
              <a:gd name="connsiteY20808" fmla="*/ 4255046 h 5217112"/>
              <a:gd name="connsiteX20809" fmla="*/ 1289982 w 6785952"/>
              <a:gd name="connsiteY20809" fmla="*/ 4254604 h 5217112"/>
              <a:gd name="connsiteX20810" fmla="*/ 1291786 w 6785952"/>
              <a:gd name="connsiteY20810" fmla="*/ 4250398 h 5217112"/>
              <a:gd name="connsiteX20811" fmla="*/ 1291786 w 6785952"/>
              <a:gd name="connsiteY20811" fmla="*/ 4250287 h 5217112"/>
              <a:gd name="connsiteX20812" fmla="*/ 1289982 w 6785952"/>
              <a:gd name="connsiteY20812" fmla="*/ 4249623 h 5217112"/>
              <a:gd name="connsiteX20813" fmla="*/ 1286676 w 6785952"/>
              <a:gd name="connsiteY20813" fmla="*/ 4254714 h 5217112"/>
              <a:gd name="connsiteX20814" fmla="*/ 1275853 w 6785952"/>
              <a:gd name="connsiteY20814" fmla="*/ 4252058 h 5217112"/>
              <a:gd name="connsiteX20815" fmla="*/ 1283369 w 6785952"/>
              <a:gd name="connsiteY20815" fmla="*/ 4247963 h 5217112"/>
              <a:gd name="connsiteX20816" fmla="*/ 1283970 w 6785952"/>
              <a:gd name="connsiteY20816" fmla="*/ 4247078 h 5217112"/>
              <a:gd name="connsiteX20817" fmla="*/ 1282166 w 6785952"/>
              <a:gd name="connsiteY20817" fmla="*/ 4246192 h 5217112"/>
              <a:gd name="connsiteX20818" fmla="*/ 1278559 w 6785952"/>
              <a:gd name="connsiteY20818" fmla="*/ 4235236 h 5217112"/>
              <a:gd name="connsiteX20819" fmla="*/ 1277657 w 6785952"/>
              <a:gd name="connsiteY20819" fmla="*/ 4235347 h 5217112"/>
              <a:gd name="connsiteX20820" fmla="*/ 1271946 w 6785952"/>
              <a:gd name="connsiteY20820" fmla="*/ 4242319 h 5217112"/>
              <a:gd name="connsiteX20821" fmla="*/ 1274049 w 6785952"/>
              <a:gd name="connsiteY20821" fmla="*/ 4234240 h 5217112"/>
              <a:gd name="connsiteX20822" fmla="*/ 1272246 w 6785952"/>
              <a:gd name="connsiteY20822" fmla="*/ 4232469 h 5217112"/>
              <a:gd name="connsiteX20823" fmla="*/ 1268940 w 6785952"/>
              <a:gd name="connsiteY20823" fmla="*/ 4233687 h 5217112"/>
              <a:gd name="connsiteX20824" fmla="*/ 1268638 w 6785952"/>
              <a:gd name="connsiteY20824" fmla="*/ 4229592 h 5217112"/>
              <a:gd name="connsiteX20825" fmla="*/ 1262025 w 6785952"/>
              <a:gd name="connsiteY20825" fmla="*/ 4227157 h 5217112"/>
              <a:gd name="connsiteX20826" fmla="*/ 1255111 w 6785952"/>
              <a:gd name="connsiteY20826" fmla="*/ 4223726 h 5217112"/>
              <a:gd name="connsiteX20827" fmla="*/ 1261725 w 6785952"/>
              <a:gd name="connsiteY20827" fmla="*/ 4222620 h 5217112"/>
              <a:gd name="connsiteX20828" fmla="*/ 1268638 w 6785952"/>
              <a:gd name="connsiteY20828" fmla="*/ 4224390 h 5217112"/>
              <a:gd name="connsiteX20829" fmla="*/ 1268638 w 6785952"/>
              <a:gd name="connsiteY20829" fmla="*/ 4224280 h 5217112"/>
              <a:gd name="connsiteX20830" fmla="*/ 1269841 w 6785952"/>
              <a:gd name="connsiteY20830" fmla="*/ 4222841 h 5217112"/>
              <a:gd name="connsiteX20831" fmla="*/ 1267737 w 6785952"/>
              <a:gd name="connsiteY20831" fmla="*/ 4217750 h 5217112"/>
              <a:gd name="connsiteX20832" fmla="*/ 1256914 w 6785952"/>
              <a:gd name="connsiteY20832" fmla="*/ 4214651 h 5217112"/>
              <a:gd name="connsiteX20833" fmla="*/ 1262326 w 6785952"/>
              <a:gd name="connsiteY20833" fmla="*/ 4213655 h 5217112"/>
              <a:gd name="connsiteX20834" fmla="*/ 1268940 w 6785952"/>
              <a:gd name="connsiteY20834" fmla="*/ 4214873 h 5217112"/>
              <a:gd name="connsiteX20835" fmla="*/ 1268638 w 6785952"/>
              <a:gd name="connsiteY20835" fmla="*/ 4214430 h 5217112"/>
              <a:gd name="connsiteX20836" fmla="*/ 1267436 w 6785952"/>
              <a:gd name="connsiteY20836" fmla="*/ 4211442 h 5217112"/>
              <a:gd name="connsiteX20837" fmla="*/ 1259620 w 6785952"/>
              <a:gd name="connsiteY20837" fmla="*/ 4208675 h 5217112"/>
              <a:gd name="connsiteX20838" fmla="*/ 1240681 w 6785952"/>
              <a:gd name="connsiteY20838" fmla="*/ 4204691 h 5217112"/>
              <a:gd name="connsiteX20839" fmla="*/ 1222645 w 6785952"/>
              <a:gd name="connsiteY20839" fmla="*/ 4203695 h 5217112"/>
              <a:gd name="connsiteX20840" fmla="*/ 1220841 w 6785952"/>
              <a:gd name="connsiteY20840" fmla="*/ 4204580 h 5217112"/>
              <a:gd name="connsiteX20841" fmla="*/ 1216030 w 6785952"/>
              <a:gd name="connsiteY20841" fmla="*/ 4208786 h 5217112"/>
              <a:gd name="connsiteX20842" fmla="*/ 1196792 w 6785952"/>
              <a:gd name="connsiteY20842" fmla="*/ 4212659 h 5217112"/>
              <a:gd name="connsiteX20843" fmla="*/ 1202804 w 6785952"/>
              <a:gd name="connsiteY20843" fmla="*/ 4205797 h 5217112"/>
              <a:gd name="connsiteX20844" fmla="*/ 1200099 w 6785952"/>
              <a:gd name="connsiteY20844" fmla="*/ 4204248 h 5217112"/>
              <a:gd name="connsiteX20845" fmla="*/ 1193184 w 6785952"/>
              <a:gd name="connsiteY20845" fmla="*/ 4207015 h 5217112"/>
              <a:gd name="connsiteX20846" fmla="*/ 1181160 w 6785952"/>
              <a:gd name="connsiteY20846" fmla="*/ 4197054 h 5217112"/>
              <a:gd name="connsiteX20847" fmla="*/ 1173344 w 6785952"/>
              <a:gd name="connsiteY20847" fmla="*/ 4194730 h 5217112"/>
              <a:gd name="connsiteX20848" fmla="*/ 1173344 w 6785952"/>
              <a:gd name="connsiteY20848" fmla="*/ 4201924 h 5217112"/>
              <a:gd name="connsiteX20849" fmla="*/ 1170638 w 6785952"/>
              <a:gd name="connsiteY20849" fmla="*/ 4217971 h 5217112"/>
              <a:gd name="connsiteX20850" fmla="*/ 1163424 w 6785952"/>
              <a:gd name="connsiteY20850" fmla="*/ 4201260 h 5217112"/>
              <a:gd name="connsiteX20851" fmla="*/ 1165227 w 6785952"/>
              <a:gd name="connsiteY20851" fmla="*/ 4192406 h 5217112"/>
              <a:gd name="connsiteX20852" fmla="*/ 1151098 w 6785952"/>
              <a:gd name="connsiteY20852" fmla="*/ 4190303 h 5217112"/>
              <a:gd name="connsiteX20853" fmla="*/ 1141178 w 6785952"/>
              <a:gd name="connsiteY20853" fmla="*/ 4184881 h 5217112"/>
              <a:gd name="connsiteX20854" fmla="*/ 1155908 w 6785952"/>
              <a:gd name="connsiteY20854" fmla="*/ 4183221 h 5217112"/>
              <a:gd name="connsiteX20855" fmla="*/ 1155908 w 6785952"/>
              <a:gd name="connsiteY20855" fmla="*/ 4169940 h 5217112"/>
              <a:gd name="connsiteX20856" fmla="*/ 1130957 w 6785952"/>
              <a:gd name="connsiteY20856" fmla="*/ 4160533 h 5217112"/>
              <a:gd name="connsiteX20857" fmla="*/ 1120736 w 6785952"/>
              <a:gd name="connsiteY20857" fmla="*/ 4154999 h 5217112"/>
              <a:gd name="connsiteX20858" fmla="*/ 1119835 w 6785952"/>
              <a:gd name="connsiteY20858" fmla="*/ 4155110 h 5217112"/>
              <a:gd name="connsiteX20859" fmla="*/ 1113522 w 6785952"/>
              <a:gd name="connsiteY20859" fmla="*/ 4152897 h 5217112"/>
              <a:gd name="connsiteX20860" fmla="*/ 1112018 w 6785952"/>
              <a:gd name="connsiteY20860" fmla="*/ 4150240 h 5217112"/>
              <a:gd name="connsiteX20861" fmla="*/ 1107509 w 6785952"/>
              <a:gd name="connsiteY20861" fmla="*/ 4147695 h 5217112"/>
              <a:gd name="connsiteX20862" fmla="*/ 1060312 w 6785952"/>
              <a:gd name="connsiteY20862" fmla="*/ 4128217 h 5217112"/>
              <a:gd name="connsiteX20863" fmla="*/ 1058209 w 6785952"/>
              <a:gd name="connsiteY20863" fmla="*/ 4125893 h 5217112"/>
              <a:gd name="connsiteX20864" fmla="*/ 1055804 w 6785952"/>
              <a:gd name="connsiteY20864" fmla="*/ 4127221 h 5217112"/>
              <a:gd name="connsiteX20865" fmla="*/ 1018527 w 6785952"/>
              <a:gd name="connsiteY20865" fmla="*/ 4115711 h 5217112"/>
              <a:gd name="connsiteX20866" fmla="*/ 1033258 w 6785952"/>
              <a:gd name="connsiteY20866" fmla="*/ 4108739 h 5217112"/>
              <a:gd name="connsiteX20867" fmla="*/ 1038367 w 6785952"/>
              <a:gd name="connsiteY20867" fmla="*/ 4108960 h 5217112"/>
              <a:gd name="connsiteX20868" fmla="*/ 1027846 w 6785952"/>
              <a:gd name="connsiteY20868" fmla="*/ 4102984 h 5217112"/>
              <a:gd name="connsiteX20869" fmla="*/ 1014319 w 6785952"/>
              <a:gd name="connsiteY20869" fmla="*/ 4092249 h 5217112"/>
              <a:gd name="connsiteX20870" fmla="*/ 1026343 w 6785952"/>
              <a:gd name="connsiteY20870" fmla="*/ 4098336 h 5217112"/>
              <a:gd name="connsiteX20871" fmla="*/ 1039871 w 6785952"/>
              <a:gd name="connsiteY20871" fmla="*/ 4106083 h 5217112"/>
              <a:gd name="connsiteX20872" fmla="*/ 1044981 w 6785952"/>
              <a:gd name="connsiteY20872" fmla="*/ 4109292 h 5217112"/>
              <a:gd name="connsiteX20873" fmla="*/ 1045282 w 6785952"/>
              <a:gd name="connsiteY20873" fmla="*/ 4109292 h 5217112"/>
              <a:gd name="connsiteX20874" fmla="*/ 1055503 w 6785952"/>
              <a:gd name="connsiteY20874" fmla="*/ 4114604 h 5217112"/>
              <a:gd name="connsiteX20875" fmla="*/ 1063018 w 6785952"/>
              <a:gd name="connsiteY20875" fmla="*/ 4120027 h 5217112"/>
              <a:gd name="connsiteX20876" fmla="*/ 1069031 w 6785952"/>
              <a:gd name="connsiteY20876" fmla="*/ 4123569 h 5217112"/>
              <a:gd name="connsiteX20877" fmla="*/ 1099994 w 6785952"/>
              <a:gd name="connsiteY20877" fmla="*/ 4140833 h 5217112"/>
              <a:gd name="connsiteX20878" fmla="*/ 1109914 w 6785952"/>
              <a:gd name="connsiteY20878" fmla="*/ 4145814 h 5217112"/>
              <a:gd name="connsiteX20879" fmla="*/ 1109613 w 6785952"/>
              <a:gd name="connsiteY20879" fmla="*/ 4145150 h 5217112"/>
              <a:gd name="connsiteX20880" fmla="*/ 1128252 w 6785952"/>
              <a:gd name="connsiteY20880" fmla="*/ 4137292 h 5217112"/>
              <a:gd name="connsiteX20881" fmla="*/ 1133963 w 6785952"/>
              <a:gd name="connsiteY20881" fmla="*/ 4140612 h 5217112"/>
              <a:gd name="connsiteX20882" fmla="*/ 1126448 w 6785952"/>
              <a:gd name="connsiteY20882" fmla="*/ 4153782 h 5217112"/>
              <a:gd name="connsiteX20883" fmla="*/ 1126147 w 6785952"/>
              <a:gd name="connsiteY20883" fmla="*/ 4153893 h 5217112"/>
              <a:gd name="connsiteX20884" fmla="*/ 1130056 w 6785952"/>
              <a:gd name="connsiteY20884" fmla="*/ 4155995 h 5217112"/>
              <a:gd name="connsiteX20885" fmla="*/ 1156810 w 6785952"/>
              <a:gd name="connsiteY20885" fmla="*/ 4173924 h 5217112"/>
              <a:gd name="connsiteX20886" fmla="*/ 1183565 w 6785952"/>
              <a:gd name="connsiteY20886" fmla="*/ 4177244 h 5217112"/>
              <a:gd name="connsiteX20887" fmla="*/ 1196190 w 6785952"/>
              <a:gd name="connsiteY20887" fmla="*/ 4188422 h 5217112"/>
              <a:gd name="connsiteX20888" fmla="*/ 1202203 w 6785952"/>
              <a:gd name="connsiteY20888" fmla="*/ 4187869 h 5217112"/>
              <a:gd name="connsiteX20889" fmla="*/ 1207915 w 6785952"/>
              <a:gd name="connsiteY20889" fmla="*/ 4177576 h 5217112"/>
              <a:gd name="connsiteX20890" fmla="*/ 1216933 w 6785952"/>
              <a:gd name="connsiteY20890" fmla="*/ 4185323 h 5217112"/>
              <a:gd name="connsiteX20891" fmla="*/ 1225350 w 6785952"/>
              <a:gd name="connsiteY20891" fmla="*/ 4190193 h 5217112"/>
              <a:gd name="connsiteX20892" fmla="*/ 1228056 w 6785952"/>
              <a:gd name="connsiteY20892" fmla="*/ 4189861 h 5217112"/>
              <a:gd name="connsiteX20893" fmla="*/ 1233467 w 6785952"/>
              <a:gd name="connsiteY20893" fmla="*/ 4192849 h 5217112"/>
              <a:gd name="connsiteX20894" fmla="*/ 1231963 w 6785952"/>
              <a:gd name="connsiteY20894" fmla="*/ 4194177 h 5217112"/>
              <a:gd name="connsiteX20895" fmla="*/ 1238277 w 6785952"/>
              <a:gd name="connsiteY20895" fmla="*/ 4197940 h 5217112"/>
              <a:gd name="connsiteX20896" fmla="*/ 1263228 w 6785952"/>
              <a:gd name="connsiteY20896" fmla="*/ 4206794 h 5217112"/>
              <a:gd name="connsiteX20897" fmla="*/ 1265933 w 6785952"/>
              <a:gd name="connsiteY20897" fmla="*/ 4207458 h 5217112"/>
              <a:gd name="connsiteX20898" fmla="*/ 1262326 w 6785952"/>
              <a:gd name="connsiteY20898" fmla="*/ 4198382 h 5217112"/>
              <a:gd name="connsiteX20899" fmla="*/ 1263829 w 6785952"/>
              <a:gd name="connsiteY20899" fmla="*/ 4182446 h 5217112"/>
              <a:gd name="connsiteX20900" fmla="*/ 1264731 w 6785952"/>
              <a:gd name="connsiteY20900" fmla="*/ 4181782 h 5217112"/>
              <a:gd name="connsiteX20901" fmla="*/ 1270442 w 6785952"/>
              <a:gd name="connsiteY20901" fmla="*/ 4173260 h 5217112"/>
              <a:gd name="connsiteX20902" fmla="*/ 1277055 w 6785952"/>
              <a:gd name="connsiteY20902" fmla="*/ 4170936 h 5217112"/>
              <a:gd name="connsiteX20903" fmla="*/ 1279160 w 6785952"/>
              <a:gd name="connsiteY20903" fmla="*/ 4168280 h 5217112"/>
              <a:gd name="connsiteX20904" fmla="*/ 1283069 w 6785952"/>
              <a:gd name="connsiteY20904" fmla="*/ 4161529 h 5217112"/>
              <a:gd name="connsiteX20905" fmla="*/ 1277357 w 6785952"/>
              <a:gd name="connsiteY20905" fmla="*/ 4162414 h 5217112"/>
              <a:gd name="connsiteX20906" fmla="*/ 1275252 w 6785952"/>
              <a:gd name="connsiteY20906" fmla="*/ 4168169 h 5217112"/>
              <a:gd name="connsiteX20907" fmla="*/ 1247596 w 6785952"/>
              <a:gd name="connsiteY20907" fmla="*/ 4160754 h 5217112"/>
              <a:gd name="connsiteX20908" fmla="*/ 1230461 w 6785952"/>
              <a:gd name="connsiteY20908" fmla="*/ 4156217 h 5217112"/>
              <a:gd name="connsiteX20909" fmla="*/ 1229258 w 6785952"/>
              <a:gd name="connsiteY20909" fmla="*/ 4157102 h 5217112"/>
              <a:gd name="connsiteX20910" fmla="*/ 1225050 w 6785952"/>
              <a:gd name="connsiteY20910" fmla="*/ 4154667 h 5217112"/>
              <a:gd name="connsiteX20911" fmla="*/ 1218736 w 6785952"/>
              <a:gd name="connsiteY20911" fmla="*/ 4153007 h 5217112"/>
              <a:gd name="connsiteX20912" fmla="*/ 1221743 w 6785952"/>
              <a:gd name="connsiteY20912" fmla="*/ 4148691 h 5217112"/>
              <a:gd name="connsiteX20913" fmla="*/ 1225651 w 6785952"/>
              <a:gd name="connsiteY20913" fmla="*/ 4146810 h 5217112"/>
              <a:gd name="connsiteX20914" fmla="*/ 1225651 w 6785952"/>
              <a:gd name="connsiteY20914" fmla="*/ 4145924 h 5217112"/>
              <a:gd name="connsiteX20915" fmla="*/ 1228356 w 6785952"/>
              <a:gd name="connsiteY20915" fmla="*/ 4144043 h 5217112"/>
              <a:gd name="connsiteX20916" fmla="*/ 1228056 w 6785952"/>
              <a:gd name="connsiteY20916" fmla="*/ 4138952 h 5217112"/>
              <a:gd name="connsiteX20917" fmla="*/ 1236774 w 6785952"/>
              <a:gd name="connsiteY20917" fmla="*/ 4142493 h 5217112"/>
              <a:gd name="connsiteX20918" fmla="*/ 1237374 w 6785952"/>
              <a:gd name="connsiteY20918" fmla="*/ 4142604 h 5217112"/>
              <a:gd name="connsiteX20919" fmla="*/ 1237374 w 6785952"/>
              <a:gd name="connsiteY20919" fmla="*/ 4142715 h 5217112"/>
              <a:gd name="connsiteX20920" fmla="*/ 1241283 w 6785952"/>
              <a:gd name="connsiteY20920" fmla="*/ 4144264 h 5217112"/>
              <a:gd name="connsiteX20921" fmla="*/ 1249400 w 6785952"/>
              <a:gd name="connsiteY20921" fmla="*/ 4147474 h 5217112"/>
              <a:gd name="connsiteX20922" fmla="*/ 1251804 w 6785952"/>
              <a:gd name="connsiteY20922" fmla="*/ 4141497 h 5217112"/>
              <a:gd name="connsiteX20923" fmla="*/ 1256914 w 6785952"/>
              <a:gd name="connsiteY20923" fmla="*/ 4138399 h 5217112"/>
              <a:gd name="connsiteX20924" fmla="*/ 1262025 w 6785952"/>
              <a:gd name="connsiteY20924" fmla="*/ 4138067 h 5217112"/>
              <a:gd name="connsiteX20925" fmla="*/ 1256914 w 6785952"/>
              <a:gd name="connsiteY20925" fmla="*/ 4137292 h 5217112"/>
              <a:gd name="connsiteX20926" fmla="*/ 1248197 w 6785952"/>
              <a:gd name="connsiteY20926" fmla="*/ 4141497 h 5217112"/>
              <a:gd name="connsiteX20927" fmla="*/ 1228957 w 6785952"/>
              <a:gd name="connsiteY20927" fmla="*/ 4129434 h 5217112"/>
              <a:gd name="connsiteX20928" fmla="*/ 1235572 w 6785952"/>
              <a:gd name="connsiteY20928" fmla="*/ 4117150 h 5217112"/>
              <a:gd name="connsiteX20929" fmla="*/ 1237675 w 6785952"/>
              <a:gd name="connsiteY20929" fmla="*/ 4116486 h 5217112"/>
              <a:gd name="connsiteX20930" fmla="*/ 1234969 w 6785952"/>
              <a:gd name="connsiteY20930" fmla="*/ 4113830 h 5217112"/>
              <a:gd name="connsiteX20931" fmla="*/ 1222645 w 6785952"/>
              <a:gd name="connsiteY20931" fmla="*/ 4108185 h 5217112"/>
              <a:gd name="connsiteX20932" fmla="*/ 1194688 w 6785952"/>
              <a:gd name="connsiteY20932" fmla="*/ 4100770 h 5217112"/>
              <a:gd name="connsiteX20933" fmla="*/ 1185067 w 6785952"/>
              <a:gd name="connsiteY20933" fmla="*/ 4091695 h 5217112"/>
              <a:gd name="connsiteX20934" fmla="*/ 1178454 w 6785952"/>
              <a:gd name="connsiteY20934" fmla="*/ 4087158 h 5217112"/>
              <a:gd name="connsiteX20935" fmla="*/ 1172142 w 6785952"/>
              <a:gd name="connsiteY20935" fmla="*/ 4081514 h 5217112"/>
              <a:gd name="connsiteX20936" fmla="*/ 1140877 w 6785952"/>
              <a:gd name="connsiteY20936" fmla="*/ 4060929 h 5217112"/>
              <a:gd name="connsiteX20937" fmla="*/ 1108712 w 6785952"/>
              <a:gd name="connsiteY20937" fmla="*/ 4038905 h 5217112"/>
              <a:gd name="connsiteX20938" fmla="*/ 1085564 w 6785952"/>
              <a:gd name="connsiteY20938" fmla="*/ 4017324 h 5217112"/>
              <a:gd name="connsiteX20939" fmla="*/ 1075945 w 6785952"/>
              <a:gd name="connsiteY20939" fmla="*/ 4015332 h 5217112"/>
              <a:gd name="connsiteX20940" fmla="*/ 1074140 w 6785952"/>
              <a:gd name="connsiteY20940" fmla="*/ 4014225 h 5217112"/>
              <a:gd name="connsiteX20941" fmla="*/ 1081957 w 6785952"/>
              <a:gd name="connsiteY20941" fmla="*/ 4022194 h 5217112"/>
              <a:gd name="connsiteX20942" fmla="*/ 1081656 w 6785952"/>
              <a:gd name="connsiteY20942" fmla="*/ 4029941 h 5217112"/>
              <a:gd name="connsiteX20943" fmla="*/ 1084061 w 6785952"/>
              <a:gd name="connsiteY20943" fmla="*/ 4030162 h 5217112"/>
              <a:gd name="connsiteX20944" fmla="*/ 1087969 w 6785952"/>
              <a:gd name="connsiteY20944" fmla="*/ 4035806 h 5217112"/>
              <a:gd name="connsiteX20945" fmla="*/ 1088571 w 6785952"/>
              <a:gd name="connsiteY20945" fmla="*/ 4036028 h 5217112"/>
              <a:gd name="connsiteX20946" fmla="*/ 1089773 w 6785952"/>
              <a:gd name="connsiteY20946" fmla="*/ 4033593 h 5217112"/>
              <a:gd name="connsiteX20947" fmla="*/ 1106908 w 6785952"/>
              <a:gd name="connsiteY20947" fmla="*/ 4041229 h 5217112"/>
              <a:gd name="connsiteX20948" fmla="*/ 1107810 w 6785952"/>
              <a:gd name="connsiteY20948" fmla="*/ 4047537 h 5217112"/>
              <a:gd name="connsiteX20949" fmla="*/ 1099994 w 6785952"/>
              <a:gd name="connsiteY20949" fmla="*/ 4052518 h 5217112"/>
              <a:gd name="connsiteX20950" fmla="*/ 1097589 w 6785952"/>
              <a:gd name="connsiteY20950" fmla="*/ 4052407 h 5217112"/>
              <a:gd name="connsiteX20951" fmla="*/ 1098190 w 6785952"/>
              <a:gd name="connsiteY20951" fmla="*/ 4064581 h 5217112"/>
              <a:gd name="connsiteX20952" fmla="*/ 1084662 w 6785952"/>
              <a:gd name="connsiteY20952" fmla="*/ 4066905 h 5217112"/>
              <a:gd name="connsiteX20953" fmla="*/ 1060312 w 6785952"/>
              <a:gd name="connsiteY20953" fmla="*/ 4036360 h 5217112"/>
              <a:gd name="connsiteX20954" fmla="*/ 1069632 w 6785952"/>
              <a:gd name="connsiteY20954" fmla="*/ 4028945 h 5217112"/>
              <a:gd name="connsiteX20955" fmla="*/ 1072938 w 6785952"/>
              <a:gd name="connsiteY20955" fmla="*/ 4029277 h 5217112"/>
              <a:gd name="connsiteX20956" fmla="*/ 1069331 w 6785952"/>
              <a:gd name="connsiteY20956" fmla="*/ 4023854 h 5217112"/>
              <a:gd name="connsiteX20957" fmla="*/ 1071134 w 6785952"/>
              <a:gd name="connsiteY20957" fmla="*/ 4012233 h 5217112"/>
              <a:gd name="connsiteX20958" fmla="*/ 1069331 w 6785952"/>
              <a:gd name="connsiteY20958" fmla="*/ 4011016 h 5217112"/>
              <a:gd name="connsiteX20959" fmla="*/ 1058209 w 6785952"/>
              <a:gd name="connsiteY20959" fmla="*/ 4008692 h 5217112"/>
              <a:gd name="connsiteX20960" fmla="*/ 1066325 w 6785952"/>
              <a:gd name="connsiteY20960" fmla="*/ 4006368 h 5217112"/>
              <a:gd name="connsiteX20961" fmla="*/ 1029649 w 6785952"/>
              <a:gd name="connsiteY20961" fmla="*/ 3990210 h 5217112"/>
              <a:gd name="connsiteX20962" fmla="*/ 993576 w 6785952"/>
              <a:gd name="connsiteY20962" fmla="*/ 3972945 h 5217112"/>
              <a:gd name="connsiteX20963" fmla="*/ 998987 w 6785952"/>
              <a:gd name="connsiteY20963" fmla="*/ 3987996 h 5217112"/>
              <a:gd name="connsiteX20964" fmla="*/ 985459 w 6785952"/>
              <a:gd name="connsiteY20964" fmla="*/ 3976486 h 5217112"/>
              <a:gd name="connsiteX20965" fmla="*/ 975239 w 6785952"/>
              <a:gd name="connsiteY20965" fmla="*/ 3964866 h 5217112"/>
              <a:gd name="connsiteX20966" fmla="*/ 949385 w 6785952"/>
              <a:gd name="connsiteY20966" fmla="*/ 3952028 h 5217112"/>
              <a:gd name="connsiteX20967" fmla="*/ 947582 w 6785952"/>
              <a:gd name="connsiteY20967" fmla="*/ 3936866 h 5217112"/>
              <a:gd name="connsiteX20968" fmla="*/ 934956 w 6785952"/>
              <a:gd name="connsiteY20968" fmla="*/ 3936534 h 5217112"/>
              <a:gd name="connsiteX20969" fmla="*/ 944276 w 6785952"/>
              <a:gd name="connsiteY20969" fmla="*/ 3933435 h 5217112"/>
              <a:gd name="connsiteX20970" fmla="*/ 922030 w 6785952"/>
              <a:gd name="connsiteY20970" fmla="*/ 3913072 h 5217112"/>
              <a:gd name="connsiteX20971" fmla="*/ 922030 w 6785952"/>
              <a:gd name="connsiteY20971" fmla="*/ 3917499 h 5217112"/>
              <a:gd name="connsiteX20972" fmla="*/ 920527 w 6785952"/>
              <a:gd name="connsiteY20972" fmla="*/ 3919601 h 5217112"/>
              <a:gd name="connsiteX20973" fmla="*/ 922331 w 6785952"/>
              <a:gd name="connsiteY20973" fmla="*/ 3922147 h 5217112"/>
              <a:gd name="connsiteX20974" fmla="*/ 924736 w 6785952"/>
              <a:gd name="connsiteY20974" fmla="*/ 3930004 h 5217112"/>
              <a:gd name="connsiteX20975" fmla="*/ 924134 w 6785952"/>
              <a:gd name="connsiteY20975" fmla="*/ 3930226 h 5217112"/>
              <a:gd name="connsiteX20976" fmla="*/ 925938 w 6785952"/>
              <a:gd name="connsiteY20976" fmla="*/ 3930447 h 5217112"/>
              <a:gd name="connsiteX20977" fmla="*/ 929545 w 6785952"/>
              <a:gd name="connsiteY20977" fmla="*/ 3934985 h 5217112"/>
              <a:gd name="connsiteX20978" fmla="*/ 922631 w 6785952"/>
              <a:gd name="connsiteY20978" fmla="*/ 3934763 h 5217112"/>
              <a:gd name="connsiteX20979" fmla="*/ 916317 w 6785952"/>
              <a:gd name="connsiteY20979" fmla="*/ 3931775 h 5217112"/>
              <a:gd name="connsiteX20980" fmla="*/ 918422 w 6785952"/>
              <a:gd name="connsiteY20980" fmla="*/ 3935759 h 5217112"/>
              <a:gd name="connsiteX20981" fmla="*/ 909103 w 6785952"/>
              <a:gd name="connsiteY20981" fmla="*/ 3931222 h 5217112"/>
              <a:gd name="connsiteX20982" fmla="*/ 906698 w 6785952"/>
              <a:gd name="connsiteY20982" fmla="*/ 3928344 h 5217112"/>
              <a:gd name="connsiteX20983" fmla="*/ 903692 w 6785952"/>
              <a:gd name="connsiteY20983" fmla="*/ 3928566 h 5217112"/>
              <a:gd name="connsiteX20984" fmla="*/ 919023 w 6785952"/>
              <a:gd name="connsiteY20984" fmla="*/ 3944281 h 5217112"/>
              <a:gd name="connsiteX20985" fmla="*/ 923232 w 6785952"/>
              <a:gd name="connsiteY20985" fmla="*/ 3950257 h 5217112"/>
              <a:gd name="connsiteX20986" fmla="*/ 927140 w 6785952"/>
              <a:gd name="connsiteY20986" fmla="*/ 3954574 h 5217112"/>
              <a:gd name="connsiteX20987" fmla="*/ 927742 w 6785952"/>
              <a:gd name="connsiteY20987" fmla="*/ 3955127 h 5217112"/>
              <a:gd name="connsiteX20988" fmla="*/ 939165 w 6785952"/>
              <a:gd name="connsiteY20988" fmla="*/ 3961878 h 5217112"/>
              <a:gd name="connsiteX20989" fmla="*/ 946079 w 6785952"/>
              <a:gd name="connsiteY20989" fmla="*/ 3972613 h 5217112"/>
              <a:gd name="connsiteX20990" fmla="*/ 944276 w 6785952"/>
              <a:gd name="connsiteY20990" fmla="*/ 3985672 h 5217112"/>
              <a:gd name="connsiteX20991" fmla="*/ 940367 w 6785952"/>
              <a:gd name="connsiteY20991" fmla="*/ 3988660 h 5217112"/>
              <a:gd name="connsiteX20992" fmla="*/ 940668 w 6785952"/>
              <a:gd name="connsiteY20992" fmla="*/ 3988660 h 5217112"/>
              <a:gd name="connsiteX20993" fmla="*/ 947883 w 6785952"/>
              <a:gd name="connsiteY20993" fmla="*/ 4004486 h 5217112"/>
              <a:gd name="connsiteX20994" fmla="*/ 940668 w 6785952"/>
              <a:gd name="connsiteY20994" fmla="*/ 4008470 h 5217112"/>
              <a:gd name="connsiteX20995" fmla="*/ 939766 w 6785952"/>
              <a:gd name="connsiteY20995" fmla="*/ 4008802 h 5217112"/>
              <a:gd name="connsiteX20996" fmla="*/ 942772 w 6785952"/>
              <a:gd name="connsiteY20996" fmla="*/ 4018431 h 5217112"/>
              <a:gd name="connsiteX20997" fmla="*/ 940367 w 6785952"/>
              <a:gd name="connsiteY20997" fmla="*/ 4025846 h 5217112"/>
              <a:gd name="connsiteX20998" fmla="*/ 934355 w 6785952"/>
              <a:gd name="connsiteY20998" fmla="*/ 4028170 h 5217112"/>
              <a:gd name="connsiteX20999" fmla="*/ 933453 w 6785952"/>
              <a:gd name="connsiteY20999" fmla="*/ 4027727 h 5217112"/>
              <a:gd name="connsiteX21000" fmla="*/ 933153 w 6785952"/>
              <a:gd name="connsiteY21000" fmla="*/ 4027949 h 5217112"/>
              <a:gd name="connsiteX21001" fmla="*/ 927742 w 6785952"/>
              <a:gd name="connsiteY21001" fmla="*/ 4025957 h 5217112"/>
              <a:gd name="connsiteX21002" fmla="*/ 921729 w 6785952"/>
              <a:gd name="connsiteY21002" fmla="*/ 4030937 h 5217112"/>
              <a:gd name="connsiteX21003" fmla="*/ 911208 w 6785952"/>
              <a:gd name="connsiteY21003" fmla="*/ 4037466 h 5217112"/>
              <a:gd name="connsiteX21004" fmla="*/ 919325 w 6785952"/>
              <a:gd name="connsiteY21004" fmla="*/ 4040122 h 5217112"/>
              <a:gd name="connsiteX21005" fmla="*/ 919023 w 6785952"/>
              <a:gd name="connsiteY21005" fmla="*/ 4039790 h 5217112"/>
              <a:gd name="connsiteX21006" fmla="*/ 919023 w 6785952"/>
              <a:gd name="connsiteY21006" fmla="*/ 4036470 h 5217112"/>
              <a:gd name="connsiteX21007" fmla="*/ 923833 w 6785952"/>
              <a:gd name="connsiteY21007" fmla="*/ 4037356 h 5217112"/>
              <a:gd name="connsiteX21008" fmla="*/ 924434 w 6785952"/>
              <a:gd name="connsiteY21008" fmla="*/ 4040786 h 5217112"/>
              <a:gd name="connsiteX21009" fmla="*/ 925938 w 6785952"/>
              <a:gd name="connsiteY21009" fmla="*/ 4041008 h 5217112"/>
              <a:gd name="connsiteX21010" fmla="*/ 931048 w 6785952"/>
              <a:gd name="connsiteY21010" fmla="*/ 4039348 h 5217112"/>
              <a:gd name="connsiteX21011" fmla="*/ 928343 w 6785952"/>
              <a:gd name="connsiteY21011" fmla="*/ 4036138 h 5217112"/>
              <a:gd name="connsiteX21012" fmla="*/ 929244 w 6785952"/>
              <a:gd name="connsiteY21012" fmla="*/ 4029055 h 5217112"/>
              <a:gd name="connsiteX21013" fmla="*/ 933153 w 6785952"/>
              <a:gd name="connsiteY21013" fmla="*/ 4027949 h 5217112"/>
              <a:gd name="connsiteX21014" fmla="*/ 933754 w 6785952"/>
              <a:gd name="connsiteY21014" fmla="*/ 4028281 h 5217112"/>
              <a:gd name="connsiteX21015" fmla="*/ 934355 w 6785952"/>
              <a:gd name="connsiteY21015" fmla="*/ 4028170 h 5217112"/>
              <a:gd name="connsiteX21016" fmla="*/ 941268 w 6785952"/>
              <a:gd name="connsiteY21016" fmla="*/ 4029941 h 5217112"/>
              <a:gd name="connsiteX21017" fmla="*/ 937061 w 6785952"/>
              <a:gd name="connsiteY21017" fmla="*/ 4040565 h 5217112"/>
              <a:gd name="connsiteX21018" fmla="*/ 932851 w 6785952"/>
              <a:gd name="connsiteY21018" fmla="*/ 4040565 h 5217112"/>
              <a:gd name="connsiteX21019" fmla="*/ 931349 w 6785952"/>
              <a:gd name="connsiteY21019" fmla="*/ 4048091 h 5217112"/>
              <a:gd name="connsiteX21020" fmla="*/ 930447 w 6785952"/>
              <a:gd name="connsiteY21020" fmla="*/ 4049751 h 5217112"/>
              <a:gd name="connsiteX21021" fmla="*/ 930447 w 6785952"/>
              <a:gd name="connsiteY21021" fmla="*/ 4050636 h 5217112"/>
              <a:gd name="connsiteX21022" fmla="*/ 930748 w 6785952"/>
              <a:gd name="connsiteY21022" fmla="*/ 4052628 h 5217112"/>
              <a:gd name="connsiteX21023" fmla="*/ 929244 w 6785952"/>
              <a:gd name="connsiteY21023" fmla="*/ 4051854 h 5217112"/>
              <a:gd name="connsiteX21024" fmla="*/ 929244 w 6785952"/>
              <a:gd name="connsiteY21024" fmla="*/ 4051632 h 5217112"/>
              <a:gd name="connsiteX21025" fmla="*/ 926839 w 6785952"/>
              <a:gd name="connsiteY21025" fmla="*/ 4055506 h 5217112"/>
              <a:gd name="connsiteX21026" fmla="*/ 917821 w 6785952"/>
              <a:gd name="connsiteY21026" fmla="*/ 4047205 h 5217112"/>
              <a:gd name="connsiteX21027" fmla="*/ 911208 w 6785952"/>
              <a:gd name="connsiteY21027" fmla="*/ 4037577 h 5217112"/>
              <a:gd name="connsiteX21028" fmla="*/ 908803 w 6785952"/>
              <a:gd name="connsiteY21028" fmla="*/ 4038794 h 5217112"/>
              <a:gd name="connsiteX21029" fmla="*/ 906398 w 6785952"/>
              <a:gd name="connsiteY21029" fmla="*/ 4040897 h 5217112"/>
              <a:gd name="connsiteX21030" fmla="*/ 926238 w 6785952"/>
              <a:gd name="connsiteY21030" fmla="*/ 4057609 h 5217112"/>
              <a:gd name="connsiteX21031" fmla="*/ 936460 w 6785952"/>
              <a:gd name="connsiteY21031" fmla="*/ 4065134 h 5217112"/>
              <a:gd name="connsiteX21032" fmla="*/ 945778 w 6785952"/>
              <a:gd name="connsiteY21032" fmla="*/ 4067237 h 5217112"/>
              <a:gd name="connsiteX21033" fmla="*/ 943674 w 6785952"/>
              <a:gd name="connsiteY21033" fmla="*/ 4069229 h 5217112"/>
              <a:gd name="connsiteX21034" fmla="*/ 947883 w 6785952"/>
              <a:gd name="connsiteY21034" fmla="*/ 4073435 h 5217112"/>
              <a:gd name="connsiteX21035" fmla="*/ 958104 w 6785952"/>
              <a:gd name="connsiteY21035" fmla="*/ 4080850 h 5217112"/>
              <a:gd name="connsiteX21036" fmla="*/ 984558 w 6785952"/>
              <a:gd name="connsiteY21036" fmla="*/ 4108517 h 5217112"/>
              <a:gd name="connsiteX21037" fmla="*/ 1012815 w 6785952"/>
              <a:gd name="connsiteY21037" fmla="*/ 4122019 h 5217112"/>
              <a:gd name="connsiteX21038" fmla="*/ 1006202 w 6785952"/>
              <a:gd name="connsiteY21038" fmla="*/ 4127331 h 5217112"/>
              <a:gd name="connsiteX21039" fmla="*/ 1018226 w 6785952"/>
              <a:gd name="connsiteY21039" fmla="*/ 4134082 h 5217112"/>
              <a:gd name="connsiteX21040" fmla="*/ 1017325 w 6785952"/>
              <a:gd name="connsiteY21040" fmla="*/ 4133086 h 5217112"/>
              <a:gd name="connsiteX21041" fmla="*/ 1016122 w 6785952"/>
              <a:gd name="connsiteY21041" fmla="*/ 4129656 h 5217112"/>
              <a:gd name="connsiteX21042" fmla="*/ 1018527 w 6785952"/>
              <a:gd name="connsiteY21042" fmla="*/ 4126999 h 5217112"/>
              <a:gd name="connsiteX21043" fmla="*/ 1036865 w 6785952"/>
              <a:gd name="connsiteY21043" fmla="*/ 4138288 h 5217112"/>
              <a:gd name="connsiteX21044" fmla="*/ 1038367 w 6785952"/>
              <a:gd name="connsiteY21044" fmla="*/ 4142493 h 5217112"/>
              <a:gd name="connsiteX21045" fmla="*/ 1038969 w 6785952"/>
              <a:gd name="connsiteY21045" fmla="*/ 4143489 h 5217112"/>
              <a:gd name="connsiteX21046" fmla="*/ 1039270 w 6785952"/>
              <a:gd name="connsiteY21046" fmla="*/ 4143600 h 5217112"/>
              <a:gd name="connsiteX21047" fmla="*/ 1064521 w 6785952"/>
              <a:gd name="connsiteY21047" fmla="*/ 4164738 h 5217112"/>
              <a:gd name="connsiteX21048" fmla="*/ 1060614 w 6785952"/>
              <a:gd name="connsiteY21048" fmla="*/ 4164738 h 5217112"/>
              <a:gd name="connsiteX21049" fmla="*/ 1059411 w 6785952"/>
              <a:gd name="connsiteY21049" fmla="*/ 4163189 h 5217112"/>
              <a:gd name="connsiteX21050" fmla="*/ 1055503 w 6785952"/>
              <a:gd name="connsiteY21050" fmla="*/ 4169719 h 5217112"/>
              <a:gd name="connsiteX21051" fmla="*/ 1056104 w 6785952"/>
              <a:gd name="connsiteY21051" fmla="*/ 4171047 h 5217112"/>
              <a:gd name="connsiteX21052" fmla="*/ 1063318 w 6785952"/>
              <a:gd name="connsiteY21052" fmla="*/ 4176470 h 5217112"/>
              <a:gd name="connsiteX21053" fmla="*/ 1063620 w 6785952"/>
              <a:gd name="connsiteY21053" fmla="*/ 4176248 h 5217112"/>
              <a:gd name="connsiteX21054" fmla="*/ 1071736 w 6785952"/>
              <a:gd name="connsiteY21054" fmla="*/ 4170825 h 5217112"/>
              <a:gd name="connsiteX21055" fmla="*/ 1078951 w 6785952"/>
              <a:gd name="connsiteY21055" fmla="*/ 4154003 h 5217112"/>
              <a:gd name="connsiteX21056" fmla="*/ 1090674 w 6785952"/>
              <a:gd name="connsiteY21056" fmla="*/ 4177244 h 5217112"/>
              <a:gd name="connsiteX21057" fmla="*/ 1093680 w 6785952"/>
              <a:gd name="connsiteY21057" fmla="*/ 4196722 h 5217112"/>
              <a:gd name="connsiteX21058" fmla="*/ 1093380 w 6785952"/>
              <a:gd name="connsiteY21058" fmla="*/ 4189639 h 5217112"/>
              <a:gd name="connsiteX21059" fmla="*/ 1096688 w 6785952"/>
              <a:gd name="connsiteY21059" fmla="*/ 4186098 h 5217112"/>
              <a:gd name="connsiteX21060" fmla="*/ 1126748 w 6785952"/>
              <a:gd name="connsiteY21060" fmla="*/ 4201813 h 5217112"/>
              <a:gd name="connsiteX21061" fmla="*/ 1131859 w 6785952"/>
              <a:gd name="connsiteY21061" fmla="*/ 4234683 h 5217112"/>
              <a:gd name="connsiteX21062" fmla="*/ 1097890 w 6785952"/>
              <a:gd name="connsiteY21062" fmla="*/ 4208675 h 5217112"/>
              <a:gd name="connsiteX21063" fmla="*/ 1093982 w 6785952"/>
              <a:gd name="connsiteY21063" fmla="*/ 4198714 h 5217112"/>
              <a:gd name="connsiteX21064" fmla="*/ 1091577 w 6785952"/>
              <a:gd name="connsiteY21064" fmla="*/ 4211774 h 5217112"/>
              <a:gd name="connsiteX21065" fmla="*/ 1074140 w 6785952"/>
              <a:gd name="connsiteY21065" fmla="*/ 4185213 h 5217112"/>
              <a:gd name="connsiteX21066" fmla="*/ 1045883 w 6785952"/>
              <a:gd name="connsiteY21066" fmla="*/ 4192849 h 5217112"/>
              <a:gd name="connsiteX21067" fmla="*/ 1048288 w 6785952"/>
              <a:gd name="connsiteY21067" fmla="*/ 4186209 h 5217112"/>
              <a:gd name="connsiteX21068" fmla="*/ 1043177 w 6785952"/>
              <a:gd name="connsiteY21068" fmla="*/ 4178904 h 5217112"/>
              <a:gd name="connsiteX21069" fmla="*/ 1033558 w 6785952"/>
              <a:gd name="connsiteY21069" fmla="*/ 4170825 h 5217112"/>
              <a:gd name="connsiteX21070" fmla="*/ 1031454 w 6785952"/>
              <a:gd name="connsiteY21070" fmla="*/ 4169608 h 5217112"/>
              <a:gd name="connsiteX21071" fmla="*/ 1028147 w 6785952"/>
              <a:gd name="connsiteY21071" fmla="*/ 4170383 h 5217112"/>
              <a:gd name="connsiteX21072" fmla="*/ 1017926 w 6785952"/>
              <a:gd name="connsiteY21072" fmla="*/ 4163742 h 5217112"/>
              <a:gd name="connsiteX21073" fmla="*/ 1019129 w 6785952"/>
              <a:gd name="connsiteY21073" fmla="*/ 4162414 h 5217112"/>
              <a:gd name="connsiteX21074" fmla="*/ 1006202 w 6785952"/>
              <a:gd name="connsiteY21074" fmla="*/ 4155221 h 5217112"/>
              <a:gd name="connsiteX21075" fmla="*/ 1015821 w 6785952"/>
              <a:gd name="connsiteY21075" fmla="*/ 4154557 h 5217112"/>
              <a:gd name="connsiteX21076" fmla="*/ 974336 w 6785952"/>
              <a:gd name="connsiteY21076" fmla="*/ 4135632 h 5217112"/>
              <a:gd name="connsiteX21077" fmla="*/ 955097 w 6785952"/>
              <a:gd name="connsiteY21077" fmla="*/ 4113830 h 5217112"/>
              <a:gd name="connsiteX21078" fmla="*/ 941871 w 6785952"/>
              <a:gd name="connsiteY21078" fmla="*/ 4104312 h 5217112"/>
              <a:gd name="connsiteX21079" fmla="*/ 940668 w 6785952"/>
              <a:gd name="connsiteY21079" fmla="*/ 4106636 h 5217112"/>
              <a:gd name="connsiteX21080" fmla="*/ 932250 w 6785952"/>
              <a:gd name="connsiteY21080" fmla="*/ 4101324 h 5217112"/>
              <a:gd name="connsiteX21081" fmla="*/ 935256 w 6785952"/>
              <a:gd name="connsiteY21081" fmla="*/ 4099221 h 5217112"/>
              <a:gd name="connsiteX21082" fmla="*/ 923533 w 6785952"/>
              <a:gd name="connsiteY21082" fmla="*/ 4089593 h 5217112"/>
              <a:gd name="connsiteX21083" fmla="*/ 908803 w 6785952"/>
              <a:gd name="connsiteY21083" fmla="*/ 4092249 h 5217112"/>
              <a:gd name="connsiteX21084" fmla="*/ 910305 w 6785952"/>
              <a:gd name="connsiteY21084" fmla="*/ 4080296 h 5217112"/>
              <a:gd name="connsiteX21085" fmla="*/ 906698 w 6785952"/>
              <a:gd name="connsiteY21085" fmla="*/ 4080185 h 5217112"/>
              <a:gd name="connsiteX21086" fmla="*/ 909704 w 6785952"/>
              <a:gd name="connsiteY21086" fmla="*/ 4077308 h 5217112"/>
              <a:gd name="connsiteX21087" fmla="*/ 906698 w 6785952"/>
              <a:gd name="connsiteY21087" fmla="*/ 4074873 h 5217112"/>
              <a:gd name="connsiteX21088" fmla="*/ 895275 w 6785952"/>
              <a:gd name="connsiteY21088" fmla="*/ 4085940 h 5217112"/>
              <a:gd name="connsiteX21089" fmla="*/ 895576 w 6785952"/>
              <a:gd name="connsiteY21089" fmla="*/ 4066573 h 5217112"/>
              <a:gd name="connsiteX21090" fmla="*/ 881447 w 6785952"/>
              <a:gd name="connsiteY21090" fmla="*/ 4056391 h 5217112"/>
              <a:gd name="connsiteX21091" fmla="*/ 873931 w 6785952"/>
              <a:gd name="connsiteY21091" fmla="*/ 4042115 h 5217112"/>
              <a:gd name="connsiteX21092" fmla="*/ 857998 w 6785952"/>
              <a:gd name="connsiteY21092" fmla="*/ 4044992 h 5217112"/>
              <a:gd name="connsiteX21093" fmla="*/ 853490 w 6785952"/>
              <a:gd name="connsiteY21093" fmla="*/ 4040786 h 5217112"/>
              <a:gd name="connsiteX21094" fmla="*/ 850484 w 6785952"/>
              <a:gd name="connsiteY21094" fmla="*/ 4052628 h 5217112"/>
              <a:gd name="connsiteX21095" fmla="*/ 851085 w 6785952"/>
              <a:gd name="connsiteY21095" fmla="*/ 4052186 h 5217112"/>
              <a:gd name="connsiteX21096" fmla="*/ 857698 w 6785952"/>
              <a:gd name="connsiteY21096" fmla="*/ 4056723 h 5217112"/>
              <a:gd name="connsiteX21097" fmla="*/ 858300 w 6785952"/>
              <a:gd name="connsiteY21097" fmla="*/ 4063474 h 5217112"/>
              <a:gd name="connsiteX21098" fmla="*/ 855895 w 6785952"/>
              <a:gd name="connsiteY21098" fmla="*/ 4067237 h 5217112"/>
              <a:gd name="connsiteX21099" fmla="*/ 857698 w 6785952"/>
              <a:gd name="connsiteY21099" fmla="*/ 4067016 h 5217112"/>
              <a:gd name="connsiteX21100" fmla="*/ 859502 w 6785952"/>
              <a:gd name="connsiteY21100" fmla="*/ 4067126 h 5217112"/>
              <a:gd name="connsiteX21101" fmla="*/ 860103 w 6785952"/>
              <a:gd name="connsiteY21101" fmla="*/ 4064470 h 5217112"/>
              <a:gd name="connsiteX21102" fmla="*/ 866115 w 6785952"/>
              <a:gd name="connsiteY21102" fmla="*/ 4067016 h 5217112"/>
              <a:gd name="connsiteX21103" fmla="*/ 865514 w 6785952"/>
              <a:gd name="connsiteY21103" fmla="*/ 4067790 h 5217112"/>
              <a:gd name="connsiteX21104" fmla="*/ 870324 w 6785952"/>
              <a:gd name="connsiteY21104" fmla="*/ 4068233 h 5217112"/>
              <a:gd name="connsiteX21105" fmla="*/ 884453 w 6785952"/>
              <a:gd name="connsiteY21105" fmla="*/ 4073656 h 5217112"/>
              <a:gd name="connsiteX21106" fmla="*/ 886557 w 6785952"/>
              <a:gd name="connsiteY21106" fmla="*/ 4081514 h 5217112"/>
              <a:gd name="connsiteX21107" fmla="*/ 886257 w 6785952"/>
              <a:gd name="connsiteY21107" fmla="*/ 4084834 h 5217112"/>
              <a:gd name="connsiteX21108" fmla="*/ 887158 w 6785952"/>
              <a:gd name="connsiteY21108" fmla="*/ 4086272 h 5217112"/>
              <a:gd name="connsiteX21109" fmla="*/ 885054 w 6785952"/>
              <a:gd name="connsiteY21109" fmla="*/ 4092138 h 5217112"/>
              <a:gd name="connsiteX21110" fmla="*/ 882949 w 6785952"/>
              <a:gd name="connsiteY21110" fmla="*/ 4089261 h 5217112"/>
              <a:gd name="connsiteX21111" fmla="*/ 882348 w 6785952"/>
              <a:gd name="connsiteY21111" fmla="*/ 4087600 h 5217112"/>
              <a:gd name="connsiteX21112" fmla="*/ 877238 w 6785952"/>
              <a:gd name="connsiteY21112" fmla="*/ 4083838 h 5217112"/>
              <a:gd name="connsiteX21113" fmla="*/ 875735 w 6785952"/>
              <a:gd name="connsiteY21113" fmla="*/ 4083506 h 5217112"/>
              <a:gd name="connsiteX21114" fmla="*/ 875435 w 6785952"/>
              <a:gd name="connsiteY21114" fmla="*/ 4084170 h 5217112"/>
              <a:gd name="connsiteX21115" fmla="*/ 866416 w 6785952"/>
              <a:gd name="connsiteY21115" fmla="*/ 4087490 h 5217112"/>
              <a:gd name="connsiteX21116" fmla="*/ 864011 w 6785952"/>
              <a:gd name="connsiteY21116" fmla="*/ 4085276 h 5217112"/>
              <a:gd name="connsiteX21117" fmla="*/ 866717 w 6785952"/>
              <a:gd name="connsiteY21117" fmla="*/ 4080850 h 5217112"/>
              <a:gd name="connsiteX21118" fmla="*/ 865213 w 6785952"/>
              <a:gd name="connsiteY21118" fmla="*/ 4080517 h 5217112"/>
              <a:gd name="connsiteX21119" fmla="*/ 847478 w 6785952"/>
              <a:gd name="connsiteY21119" fmla="*/ 4078968 h 5217112"/>
              <a:gd name="connsiteX21120" fmla="*/ 840863 w 6785952"/>
              <a:gd name="connsiteY21120" fmla="*/ 4076644 h 5217112"/>
              <a:gd name="connsiteX21121" fmla="*/ 839361 w 6785952"/>
              <a:gd name="connsiteY21121" fmla="*/ 4079632 h 5217112"/>
              <a:gd name="connsiteX21122" fmla="*/ 825232 w 6785952"/>
              <a:gd name="connsiteY21122" fmla="*/ 4096344 h 5217112"/>
              <a:gd name="connsiteX21123" fmla="*/ 842667 w 6785952"/>
              <a:gd name="connsiteY21123" fmla="*/ 4038020 h 5217112"/>
              <a:gd name="connsiteX21124" fmla="*/ 847177 w 6785952"/>
              <a:gd name="connsiteY21124" fmla="*/ 4034478 h 5217112"/>
              <a:gd name="connsiteX21125" fmla="*/ 840863 w 6785952"/>
              <a:gd name="connsiteY21125" fmla="*/ 4028613 h 5217112"/>
              <a:gd name="connsiteX21126" fmla="*/ 820121 w 6785952"/>
              <a:gd name="connsiteY21126" fmla="*/ 4012897 h 5217112"/>
              <a:gd name="connsiteX21127" fmla="*/ 817115 w 6785952"/>
              <a:gd name="connsiteY21127" fmla="*/ 3986668 h 5217112"/>
              <a:gd name="connsiteX21128" fmla="*/ 813207 w 6785952"/>
              <a:gd name="connsiteY21128" fmla="*/ 3982573 h 5217112"/>
              <a:gd name="connsiteX21129" fmla="*/ 789158 w 6785952"/>
              <a:gd name="connsiteY21129" fmla="*/ 3957008 h 5217112"/>
              <a:gd name="connsiteX21130" fmla="*/ 778036 w 6785952"/>
              <a:gd name="connsiteY21130" fmla="*/ 3944170 h 5217112"/>
              <a:gd name="connsiteX21131" fmla="*/ 777735 w 6785952"/>
              <a:gd name="connsiteY21131" fmla="*/ 3943838 h 5217112"/>
              <a:gd name="connsiteX21132" fmla="*/ 777133 w 6785952"/>
              <a:gd name="connsiteY21132" fmla="*/ 3943728 h 5217112"/>
              <a:gd name="connsiteX21133" fmla="*/ 772624 w 6785952"/>
              <a:gd name="connsiteY21133" fmla="*/ 3938526 h 5217112"/>
              <a:gd name="connsiteX21134" fmla="*/ 772624 w 6785952"/>
              <a:gd name="connsiteY21134" fmla="*/ 3936866 h 5217112"/>
              <a:gd name="connsiteX21135" fmla="*/ 767213 w 6785952"/>
              <a:gd name="connsiteY21135" fmla="*/ 3929562 h 5217112"/>
              <a:gd name="connsiteX21136" fmla="*/ 772324 w 6785952"/>
              <a:gd name="connsiteY21136" fmla="*/ 3928787 h 5217112"/>
              <a:gd name="connsiteX21137" fmla="*/ 772022 w 6785952"/>
              <a:gd name="connsiteY21137" fmla="*/ 3926795 h 5217112"/>
              <a:gd name="connsiteX21138" fmla="*/ 773225 w 6785952"/>
              <a:gd name="connsiteY21138" fmla="*/ 3925799 h 5217112"/>
              <a:gd name="connsiteX21139" fmla="*/ 768415 w 6785952"/>
              <a:gd name="connsiteY21139" fmla="*/ 3923143 h 5217112"/>
              <a:gd name="connsiteX21140" fmla="*/ 768115 w 6785952"/>
              <a:gd name="connsiteY21140" fmla="*/ 3923807 h 5217112"/>
              <a:gd name="connsiteX21141" fmla="*/ 764508 w 6785952"/>
              <a:gd name="connsiteY21141" fmla="*/ 3923475 h 5217112"/>
              <a:gd name="connsiteX21142" fmla="*/ 765109 w 6785952"/>
              <a:gd name="connsiteY21142" fmla="*/ 3924692 h 5217112"/>
              <a:gd name="connsiteX21143" fmla="*/ 763907 w 6785952"/>
              <a:gd name="connsiteY21143" fmla="*/ 3931997 h 5217112"/>
              <a:gd name="connsiteX21144" fmla="*/ 761502 w 6785952"/>
              <a:gd name="connsiteY21144" fmla="*/ 3926020 h 5217112"/>
              <a:gd name="connsiteX21145" fmla="*/ 760900 w 6785952"/>
              <a:gd name="connsiteY21145" fmla="*/ 3923143 h 5217112"/>
              <a:gd name="connsiteX21146" fmla="*/ 756391 w 6785952"/>
              <a:gd name="connsiteY21146" fmla="*/ 3922700 h 5217112"/>
              <a:gd name="connsiteX21147" fmla="*/ 748875 w 6785952"/>
              <a:gd name="connsiteY21147" fmla="*/ 3914510 h 5217112"/>
              <a:gd name="connsiteX21148" fmla="*/ 745869 w 6785952"/>
              <a:gd name="connsiteY21148" fmla="*/ 3913182 h 5217112"/>
              <a:gd name="connsiteX21149" fmla="*/ 745869 w 6785952"/>
              <a:gd name="connsiteY21149" fmla="*/ 3906431 h 5217112"/>
              <a:gd name="connsiteX21150" fmla="*/ 741360 w 6785952"/>
              <a:gd name="connsiteY21150" fmla="*/ 3898020 h 5217112"/>
              <a:gd name="connsiteX21151" fmla="*/ 739557 w 6785952"/>
              <a:gd name="connsiteY21151" fmla="*/ 3902115 h 5217112"/>
              <a:gd name="connsiteX21152" fmla="*/ 721219 w 6785952"/>
              <a:gd name="connsiteY21152" fmla="*/ 3893594 h 5217112"/>
              <a:gd name="connsiteX21153" fmla="*/ 723624 w 6785952"/>
              <a:gd name="connsiteY21153" fmla="*/ 3888835 h 5217112"/>
              <a:gd name="connsiteX21154" fmla="*/ 722722 w 6785952"/>
              <a:gd name="connsiteY21154" fmla="*/ 3877104 h 5217112"/>
              <a:gd name="connsiteX21155" fmla="*/ 720017 w 6785952"/>
              <a:gd name="connsiteY21155" fmla="*/ 3869799 h 5217112"/>
              <a:gd name="connsiteX21156" fmla="*/ 719716 w 6785952"/>
              <a:gd name="connsiteY21156" fmla="*/ 3873230 h 5217112"/>
              <a:gd name="connsiteX21157" fmla="*/ 708293 w 6785952"/>
              <a:gd name="connsiteY21157" fmla="*/ 3886179 h 5217112"/>
              <a:gd name="connsiteX21158" fmla="*/ 693262 w 6785952"/>
              <a:gd name="connsiteY21158" fmla="*/ 3865815 h 5217112"/>
              <a:gd name="connsiteX21159" fmla="*/ 693262 w 6785952"/>
              <a:gd name="connsiteY21159" fmla="*/ 3862052 h 5217112"/>
              <a:gd name="connsiteX21160" fmla="*/ 691759 w 6785952"/>
              <a:gd name="connsiteY21160" fmla="*/ 3860835 h 5217112"/>
              <a:gd name="connsiteX21161" fmla="*/ 688452 w 6785952"/>
              <a:gd name="connsiteY21161" fmla="*/ 3849878 h 5217112"/>
              <a:gd name="connsiteX21162" fmla="*/ 682740 w 6785952"/>
              <a:gd name="connsiteY21162" fmla="*/ 3832503 h 5217112"/>
              <a:gd name="connsiteX21163" fmla="*/ 694465 w 6785952"/>
              <a:gd name="connsiteY21163" fmla="*/ 3825309 h 5217112"/>
              <a:gd name="connsiteX21164" fmla="*/ 697471 w 6785952"/>
              <a:gd name="connsiteY21164" fmla="*/ 3826969 h 5217112"/>
              <a:gd name="connsiteX21165" fmla="*/ 695967 w 6785952"/>
              <a:gd name="connsiteY21165" fmla="*/ 3823871 h 5217112"/>
              <a:gd name="connsiteX21166" fmla="*/ 685446 w 6785952"/>
              <a:gd name="connsiteY21166" fmla="*/ 3803507 h 5217112"/>
              <a:gd name="connsiteX21167" fmla="*/ 677931 w 6785952"/>
              <a:gd name="connsiteY21167" fmla="*/ 3804835 h 5217112"/>
              <a:gd name="connsiteX21168" fmla="*/ 666507 w 6785952"/>
              <a:gd name="connsiteY21168" fmla="*/ 3786796 h 5217112"/>
              <a:gd name="connsiteX21169" fmla="*/ 667409 w 6785952"/>
              <a:gd name="connsiteY21169" fmla="*/ 3764108 h 5217112"/>
              <a:gd name="connsiteX21170" fmla="*/ 666507 w 6785952"/>
              <a:gd name="connsiteY21170" fmla="*/ 3756361 h 5217112"/>
              <a:gd name="connsiteX21171" fmla="*/ 651476 w 6785952"/>
              <a:gd name="connsiteY21171" fmla="*/ 3742085 h 5217112"/>
              <a:gd name="connsiteX21172" fmla="*/ 652678 w 6785952"/>
              <a:gd name="connsiteY21172" fmla="*/ 3729136 h 5217112"/>
              <a:gd name="connsiteX21173" fmla="*/ 647569 w 6785952"/>
              <a:gd name="connsiteY21173" fmla="*/ 3716630 h 5217112"/>
              <a:gd name="connsiteX21174" fmla="*/ 637348 w 6785952"/>
              <a:gd name="connsiteY21174" fmla="*/ 3695160 h 5217112"/>
              <a:gd name="connsiteX21175" fmla="*/ 619612 w 6785952"/>
              <a:gd name="connsiteY21175" fmla="*/ 3684978 h 5217112"/>
              <a:gd name="connsiteX21176" fmla="*/ 619912 w 6785952"/>
              <a:gd name="connsiteY21176" fmla="*/ 3674354 h 5217112"/>
              <a:gd name="connsiteX21177" fmla="*/ 610292 w 6785952"/>
              <a:gd name="connsiteY21177" fmla="*/ 3671919 h 5217112"/>
              <a:gd name="connsiteX21178" fmla="*/ 592857 w 6785952"/>
              <a:gd name="connsiteY21178" fmla="*/ 3661294 h 5217112"/>
              <a:gd name="connsiteX21179" fmla="*/ 601274 w 6785952"/>
              <a:gd name="connsiteY21179" fmla="*/ 3647903 h 5217112"/>
              <a:gd name="connsiteX21180" fmla="*/ 606384 w 6785952"/>
              <a:gd name="connsiteY21180" fmla="*/ 3646686 h 5217112"/>
              <a:gd name="connsiteX21181" fmla="*/ 599770 w 6785952"/>
              <a:gd name="connsiteY21181" fmla="*/ 3637611 h 5217112"/>
              <a:gd name="connsiteX21182" fmla="*/ 608489 w 6785952"/>
              <a:gd name="connsiteY21182" fmla="*/ 3642702 h 5217112"/>
              <a:gd name="connsiteX21183" fmla="*/ 604280 w 6785952"/>
              <a:gd name="connsiteY21183" fmla="*/ 3631634 h 5217112"/>
              <a:gd name="connsiteX21184" fmla="*/ 600973 w 6785952"/>
              <a:gd name="connsiteY21184" fmla="*/ 3620899 h 5217112"/>
              <a:gd name="connsiteX21185" fmla="*/ 592256 w 6785952"/>
              <a:gd name="connsiteY21185" fmla="*/ 3597658 h 5217112"/>
              <a:gd name="connsiteX21186" fmla="*/ 585040 w 6785952"/>
              <a:gd name="connsiteY21186" fmla="*/ 3574749 h 5217112"/>
              <a:gd name="connsiteX21187" fmla="*/ 578127 w 6785952"/>
              <a:gd name="connsiteY21187" fmla="*/ 3550734 h 5217112"/>
              <a:gd name="connsiteX21188" fmla="*/ 569710 w 6785952"/>
              <a:gd name="connsiteY21188" fmla="*/ 3527493 h 5217112"/>
              <a:gd name="connsiteX21189" fmla="*/ 560991 w 6785952"/>
              <a:gd name="connsiteY21189" fmla="*/ 3505469 h 5217112"/>
              <a:gd name="connsiteX21190" fmla="*/ 550771 w 6785952"/>
              <a:gd name="connsiteY21190" fmla="*/ 3483999 h 5217112"/>
              <a:gd name="connsiteX21191" fmla="*/ 543856 w 6785952"/>
              <a:gd name="connsiteY21191" fmla="*/ 3473374 h 5217112"/>
              <a:gd name="connsiteX21192" fmla="*/ 542654 w 6785952"/>
              <a:gd name="connsiteY21192" fmla="*/ 3470608 h 5217112"/>
              <a:gd name="connsiteX21193" fmla="*/ 540249 w 6785952"/>
              <a:gd name="connsiteY21193" fmla="*/ 3456552 h 5217112"/>
              <a:gd name="connsiteX21194" fmla="*/ 539347 w 6785952"/>
              <a:gd name="connsiteY21194" fmla="*/ 3456331 h 5217112"/>
              <a:gd name="connsiteX21195" fmla="*/ 538745 w 6785952"/>
              <a:gd name="connsiteY21195" fmla="*/ 3454782 h 5217112"/>
              <a:gd name="connsiteX21196" fmla="*/ 535739 w 6785952"/>
              <a:gd name="connsiteY21196" fmla="*/ 3452679 h 5217112"/>
              <a:gd name="connsiteX21197" fmla="*/ 530629 w 6785952"/>
              <a:gd name="connsiteY21197" fmla="*/ 3457216 h 5217112"/>
              <a:gd name="connsiteX21198" fmla="*/ 531832 w 6785952"/>
              <a:gd name="connsiteY21198" fmla="*/ 3457548 h 5217112"/>
              <a:gd name="connsiteX21199" fmla="*/ 531231 w 6785952"/>
              <a:gd name="connsiteY21199" fmla="*/ 3458655 h 5217112"/>
              <a:gd name="connsiteX21200" fmla="*/ 533636 w 6785952"/>
              <a:gd name="connsiteY21200" fmla="*/ 3472710 h 5217112"/>
              <a:gd name="connsiteX21201" fmla="*/ 533334 w 6785952"/>
              <a:gd name="connsiteY21201" fmla="*/ 3473706 h 5217112"/>
              <a:gd name="connsiteX21202" fmla="*/ 530028 w 6785952"/>
              <a:gd name="connsiteY21202" fmla="*/ 3476473 h 5217112"/>
              <a:gd name="connsiteX21203" fmla="*/ 529427 w 6785952"/>
              <a:gd name="connsiteY21203" fmla="*/ 3475035 h 5217112"/>
              <a:gd name="connsiteX21204" fmla="*/ 528826 w 6785952"/>
              <a:gd name="connsiteY21204" fmla="*/ 3473485 h 5217112"/>
              <a:gd name="connsiteX21205" fmla="*/ 528525 w 6785952"/>
              <a:gd name="connsiteY21205" fmla="*/ 3472821 h 5217112"/>
              <a:gd name="connsiteX21206" fmla="*/ 528525 w 6785952"/>
              <a:gd name="connsiteY21206" fmla="*/ 3472710 h 5217112"/>
              <a:gd name="connsiteX21207" fmla="*/ 528525 w 6785952"/>
              <a:gd name="connsiteY21207" fmla="*/ 3472600 h 5217112"/>
              <a:gd name="connsiteX21208" fmla="*/ 526421 w 6785952"/>
              <a:gd name="connsiteY21208" fmla="*/ 3459541 h 5217112"/>
              <a:gd name="connsiteX21209" fmla="*/ 526721 w 6785952"/>
              <a:gd name="connsiteY21209" fmla="*/ 3458434 h 5217112"/>
              <a:gd name="connsiteX21210" fmla="*/ 525820 w 6785952"/>
              <a:gd name="connsiteY21210" fmla="*/ 3458102 h 5217112"/>
              <a:gd name="connsiteX21211" fmla="*/ 525219 w 6785952"/>
              <a:gd name="connsiteY21211" fmla="*/ 3456774 h 5217112"/>
              <a:gd name="connsiteX21212" fmla="*/ 523715 w 6785952"/>
              <a:gd name="connsiteY21212" fmla="*/ 3453786 h 5217112"/>
              <a:gd name="connsiteX21213" fmla="*/ 518604 w 6785952"/>
              <a:gd name="connsiteY21213" fmla="*/ 3448584 h 5217112"/>
              <a:gd name="connsiteX21214" fmla="*/ 525820 w 6785952"/>
              <a:gd name="connsiteY21214" fmla="*/ 3450908 h 5217112"/>
              <a:gd name="connsiteX21215" fmla="*/ 529427 w 6785952"/>
              <a:gd name="connsiteY21215" fmla="*/ 3443493 h 5217112"/>
              <a:gd name="connsiteX21216" fmla="*/ 522513 w 6785952"/>
              <a:gd name="connsiteY21216" fmla="*/ 3443715 h 5217112"/>
              <a:gd name="connsiteX21217" fmla="*/ 519205 w 6785952"/>
              <a:gd name="connsiteY21217" fmla="*/ 3436632 h 5217112"/>
              <a:gd name="connsiteX21218" fmla="*/ 525820 w 6785952"/>
              <a:gd name="connsiteY21218" fmla="*/ 3433865 h 5217112"/>
              <a:gd name="connsiteX21219" fmla="*/ 513494 w 6785952"/>
              <a:gd name="connsiteY21219" fmla="*/ 3432537 h 5217112"/>
              <a:gd name="connsiteX21220" fmla="*/ 514396 w 6785952"/>
              <a:gd name="connsiteY21220" fmla="*/ 3430323 h 5217112"/>
              <a:gd name="connsiteX21221" fmla="*/ 514997 w 6785952"/>
              <a:gd name="connsiteY21221" fmla="*/ 3428110 h 5217112"/>
              <a:gd name="connsiteX21222" fmla="*/ 520409 w 6785952"/>
              <a:gd name="connsiteY21222" fmla="*/ 3426228 h 5217112"/>
              <a:gd name="connsiteX21223" fmla="*/ 510788 w 6785952"/>
              <a:gd name="connsiteY21223" fmla="*/ 3392806 h 5217112"/>
              <a:gd name="connsiteX21224" fmla="*/ 506881 w 6785952"/>
              <a:gd name="connsiteY21224" fmla="*/ 3373438 h 5217112"/>
              <a:gd name="connsiteX21225" fmla="*/ 505377 w 6785952"/>
              <a:gd name="connsiteY21225" fmla="*/ 3364363 h 5217112"/>
              <a:gd name="connsiteX21226" fmla="*/ 505678 w 6785952"/>
              <a:gd name="connsiteY21226" fmla="*/ 3359715 h 5217112"/>
              <a:gd name="connsiteX21227" fmla="*/ 505377 w 6785952"/>
              <a:gd name="connsiteY21227" fmla="*/ 3357170 h 5217112"/>
              <a:gd name="connsiteX21228" fmla="*/ 505077 w 6785952"/>
              <a:gd name="connsiteY21228" fmla="*/ 3354735 h 5217112"/>
              <a:gd name="connsiteX21229" fmla="*/ 502071 w 6785952"/>
              <a:gd name="connsiteY21229" fmla="*/ 3306482 h 5217112"/>
              <a:gd name="connsiteX21230" fmla="*/ 501770 w 6785952"/>
              <a:gd name="connsiteY21230" fmla="*/ 3306482 h 5217112"/>
              <a:gd name="connsiteX21231" fmla="*/ 498764 w 6785952"/>
              <a:gd name="connsiteY21231" fmla="*/ 3304822 h 5217112"/>
              <a:gd name="connsiteX21232" fmla="*/ 498464 w 6785952"/>
              <a:gd name="connsiteY21232" fmla="*/ 3304158 h 5217112"/>
              <a:gd name="connsiteX21233" fmla="*/ 481930 w 6785952"/>
              <a:gd name="connsiteY21233" fmla="*/ 3307146 h 5217112"/>
              <a:gd name="connsiteX21234" fmla="*/ 436537 w 6785952"/>
              <a:gd name="connsiteY21234" fmla="*/ 3297186 h 5217112"/>
              <a:gd name="connsiteX21235" fmla="*/ 500268 w 6785952"/>
              <a:gd name="connsiteY21235" fmla="*/ 3284237 h 5217112"/>
              <a:gd name="connsiteX21236" fmla="*/ 501770 w 6785952"/>
              <a:gd name="connsiteY21236" fmla="*/ 3284459 h 5217112"/>
              <a:gd name="connsiteX21237" fmla="*/ 501770 w 6785952"/>
              <a:gd name="connsiteY21237" fmla="*/ 3283905 h 5217112"/>
              <a:gd name="connsiteX21238" fmla="*/ 503274 w 6785952"/>
              <a:gd name="connsiteY21238" fmla="*/ 3281360 h 5217112"/>
              <a:gd name="connsiteX21239" fmla="*/ 500568 w 6785952"/>
              <a:gd name="connsiteY21239" fmla="*/ 3247826 h 5217112"/>
              <a:gd name="connsiteX21240" fmla="*/ 513794 w 6785952"/>
              <a:gd name="connsiteY21240" fmla="*/ 3226356 h 5217112"/>
              <a:gd name="connsiteX21241" fmla="*/ 510488 w 6785952"/>
              <a:gd name="connsiteY21241" fmla="*/ 3191384 h 5217112"/>
              <a:gd name="connsiteX21242" fmla="*/ 523715 w 6785952"/>
              <a:gd name="connsiteY21242" fmla="*/ 3177218 h 5217112"/>
              <a:gd name="connsiteX21243" fmla="*/ 518604 w 6785952"/>
              <a:gd name="connsiteY21243" fmla="*/ 3151321 h 5217112"/>
              <a:gd name="connsiteX21244" fmla="*/ 510788 w 6785952"/>
              <a:gd name="connsiteY21244" fmla="*/ 3167257 h 5217112"/>
              <a:gd name="connsiteX21245" fmla="*/ 511390 w 6785952"/>
              <a:gd name="connsiteY21245" fmla="*/ 3189170 h 5217112"/>
              <a:gd name="connsiteX21246" fmla="*/ 507782 w 6785952"/>
              <a:gd name="connsiteY21246" fmla="*/ 3177550 h 5217112"/>
              <a:gd name="connsiteX21247" fmla="*/ 499365 w 6785952"/>
              <a:gd name="connsiteY21247" fmla="*/ 3171906 h 5217112"/>
              <a:gd name="connsiteX21248" fmla="*/ 500869 w 6785952"/>
              <a:gd name="connsiteY21248" fmla="*/ 3168475 h 5217112"/>
              <a:gd name="connsiteX21249" fmla="*/ 505979 w 6785952"/>
              <a:gd name="connsiteY21249" fmla="*/ 3172016 h 5217112"/>
              <a:gd name="connsiteX21250" fmla="*/ 507782 w 6785952"/>
              <a:gd name="connsiteY21250" fmla="*/ 3151653 h 5217112"/>
              <a:gd name="connsiteX21251" fmla="*/ 501770 w 6785952"/>
              <a:gd name="connsiteY21251" fmla="*/ 3118230 h 5217112"/>
              <a:gd name="connsiteX21252" fmla="*/ 510788 w 6785952"/>
              <a:gd name="connsiteY21252" fmla="*/ 3081044 h 5217112"/>
              <a:gd name="connsiteX21253" fmla="*/ 515298 w 6785952"/>
              <a:gd name="connsiteY21253" fmla="*/ 3064223 h 5217112"/>
              <a:gd name="connsiteX21254" fmla="*/ 516199 w 6785952"/>
              <a:gd name="connsiteY21254" fmla="*/ 3045076 h 5217112"/>
              <a:gd name="connsiteX21255" fmla="*/ 530328 w 6785952"/>
              <a:gd name="connsiteY21255" fmla="*/ 3044634 h 5217112"/>
              <a:gd name="connsiteX21256" fmla="*/ 517703 w 6785952"/>
              <a:gd name="connsiteY21256" fmla="*/ 3033456 h 5217112"/>
              <a:gd name="connsiteX21257" fmla="*/ 525219 w 6785952"/>
              <a:gd name="connsiteY21257" fmla="*/ 2984761 h 5217112"/>
              <a:gd name="connsiteX21258" fmla="*/ 528525 w 6785952"/>
              <a:gd name="connsiteY21258" fmla="*/ 2957867 h 5217112"/>
              <a:gd name="connsiteX21259" fmla="*/ 531832 w 6785952"/>
              <a:gd name="connsiteY21259" fmla="*/ 2944476 h 5217112"/>
              <a:gd name="connsiteX21260" fmla="*/ 534011 w 6785952"/>
              <a:gd name="connsiteY21260" fmla="*/ 2940318 h 5217112"/>
              <a:gd name="connsiteX21261" fmla="*/ 473144 w 6785952"/>
              <a:gd name="connsiteY21261" fmla="*/ 2900385 h 5217112"/>
              <a:gd name="connsiteX21262" fmla="*/ 388361 w 6785952"/>
              <a:gd name="connsiteY21262" fmla="*/ 2843866 h 5217112"/>
              <a:gd name="connsiteX21263" fmla="*/ 304946 w 6785952"/>
              <a:gd name="connsiteY21263" fmla="*/ 2783579 h 5217112"/>
              <a:gd name="connsiteX21264" fmla="*/ 226999 w 6785952"/>
              <a:gd name="connsiteY21264" fmla="*/ 2719523 h 5217112"/>
              <a:gd name="connsiteX21265" fmla="*/ 150422 w 6785952"/>
              <a:gd name="connsiteY21265" fmla="*/ 2654211 h 5217112"/>
              <a:gd name="connsiteX21266" fmla="*/ 75211 w 6785952"/>
              <a:gd name="connsiteY21266" fmla="*/ 2587644 h 5217112"/>
              <a:gd name="connsiteX21267" fmla="*/ 0 w 6785952"/>
              <a:gd name="connsiteY21267" fmla="*/ 2521076 h 5217112"/>
              <a:gd name="connsiteX21268" fmla="*/ 31452 w 6785952"/>
              <a:gd name="connsiteY21268" fmla="*/ 2508517 h 5217112"/>
              <a:gd name="connsiteX21269" fmla="*/ 23247 w 6785952"/>
              <a:gd name="connsiteY21269" fmla="*/ 2474605 h 5217112"/>
              <a:gd name="connsiteX21270" fmla="*/ 15042 w 6785952"/>
              <a:gd name="connsiteY21270" fmla="*/ 2443205 h 5217112"/>
              <a:gd name="connsiteX21271" fmla="*/ 8205 w 6785952"/>
              <a:gd name="connsiteY21271" fmla="*/ 2408038 h 5217112"/>
              <a:gd name="connsiteX21272" fmla="*/ 2735 w 6785952"/>
              <a:gd name="connsiteY21272" fmla="*/ 2372870 h 5217112"/>
              <a:gd name="connsiteX21273" fmla="*/ 19145 w 6785952"/>
              <a:gd name="connsiteY21273" fmla="*/ 2377894 h 5217112"/>
              <a:gd name="connsiteX21274" fmla="*/ 34187 w 6785952"/>
              <a:gd name="connsiteY21274" fmla="*/ 2381662 h 5217112"/>
              <a:gd name="connsiteX21275" fmla="*/ 49229 w 6785952"/>
              <a:gd name="connsiteY21275" fmla="*/ 2386686 h 5217112"/>
              <a:gd name="connsiteX21276" fmla="*/ 62904 w 6785952"/>
              <a:gd name="connsiteY21276" fmla="*/ 2392966 h 5217112"/>
              <a:gd name="connsiteX21277" fmla="*/ 71109 w 6785952"/>
              <a:gd name="connsiteY21277" fmla="*/ 2401758 h 5217112"/>
              <a:gd name="connsiteX21278" fmla="*/ 90254 w 6785952"/>
              <a:gd name="connsiteY21278" fmla="*/ 2424366 h 5217112"/>
              <a:gd name="connsiteX21279" fmla="*/ 112132 w 6785952"/>
              <a:gd name="connsiteY21279" fmla="*/ 2438181 h 5217112"/>
              <a:gd name="connsiteX21280" fmla="*/ 132644 w 6785952"/>
              <a:gd name="connsiteY21280" fmla="*/ 2446973 h 5217112"/>
              <a:gd name="connsiteX21281" fmla="*/ 155892 w 6785952"/>
              <a:gd name="connsiteY21281" fmla="*/ 2450741 h 5217112"/>
              <a:gd name="connsiteX21282" fmla="*/ 177771 w 6785952"/>
              <a:gd name="connsiteY21282" fmla="*/ 2450741 h 5217112"/>
              <a:gd name="connsiteX21283" fmla="*/ 201018 w 6785952"/>
              <a:gd name="connsiteY21283" fmla="*/ 2448229 h 5217112"/>
              <a:gd name="connsiteX21284" fmla="*/ 221529 w 6785952"/>
              <a:gd name="connsiteY21284" fmla="*/ 2444461 h 5217112"/>
              <a:gd name="connsiteX21285" fmla="*/ 242042 w 6785952"/>
              <a:gd name="connsiteY21285" fmla="*/ 2441949 h 5217112"/>
              <a:gd name="connsiteX21286" fmla="*/ 261186 w 6785952"/>
              <a:gd name="connsiteY21286" fmla="*/ 2438181 h 5217112"/>
              <a:gd name="connsiteX21287" fmla="*/ 278964 w 6785952"/>
              <a:gd name="connsiteY21287" fmla="*/ 2438181 h 5217112"/>
              <a:gd name="connsiteX21288" fmla="*/ 295373 w 6785952"/>
              <a:gd name="connsiteY21288" fmla="*/ 2443205 h 5217112"/>
              <a:gd name="connsiteX21289" fmla="*/ 322723 w 6785952"/>
              <a:gd name="connsiteY21289" fmla="*/ 2474605 h 5217112"/>
              <a:gd name="connsiteX21290" fmla="*/ 347338 w 6785952"/>
              <a:gd name="connsiteY21290" fmla="*/ 2502237 h 5217112"/>
              <a:gd name="connsiteX21291" fmla="*/ 369216 w 6785952"/>
              <a:gd name="connsiteY21291" fmla="*/ 2527357 h 5217112"/>
              <a:gd name="connsiteX21292" fmla="*/ 389728 w 6785952"/>
              <a:gd name="connsiteY21292" fmla="*/ 2552476 h 5217112"/>
              <a:gd name="connsiteX21293" fmla="*/ 408873 w 6785952"/>
              <a:gd name="connsiteY21293" fmla="*/ 2575084 h 5217112"/>
              <a:gd name="connsiteX21294" fmla="*/ 452632 w 6785952"/>
              <a:gd name="connsiteY21294" fmla="*/ 2547452 h 5217112"/>
              <a:gd name="connsiteX21295" fmla="*/ 417078 w 6785952"/>
              <a:gd name="connsiteY21295" fmla="*/ 2487165 h 5217112"/>
              <a:gd name="connsiteX21296" fmla="*/ 381524 w 6785952"/>
              <a:gd name="connsiteY21296" fmla="*/ 2423109 h 5217112"/>
              <a:gd name="connsiteX21297" fmla="*/ 345970 w 6785952"/>
              <a:gd name="connsiteY21297" fmla="*/ 2361566 h 5217112"/>
              <a:gd name="connsiteX21298" fmla="*/ 306313 w 6785952"/>
              <a:gd name="connsiteY21298" fmla="*/ 2300022 h 5217112"/>
              <a:gd name="connsiteX21299" fmla="*/ 265289 w 6785952"/>
              <a:gd name="connsiteY21299" fmla="*/ 2242247 h 5217112"/>
              <a:gd name="connsiteX21300" fmla="*/ 248879 w 6785952"/>
              <a:gd name="connsiteY21300" fmla="*/ 2215871 h 5217112"/>
              <a:gd name="connsiteX21301" fmla="*/ 239307 w 6785952"/>
              <a:gd name="connsiteY21301" fmla="*/ 2190752 h 5217112"/>
              <a:gd name="connsiteX21302" fmla="*/ 237940 w 6785952"/>
              <a:gd name="connsiteY21302" fmla="*/ 2165631 h 5217112"/>
              <a:gd name="connsiteX21303" fmla="*/ 239307 w 6785952"/>
              <a:gd name="connsiteY21303" fmla="*/ 2141768 h 5217112"/>
              <a:gd name="connsiteX21304" fmla="*/ 242042 w 6785952"/>
              <a:gd name="connsiteY21304" fmla="*/ 2117904 h 5217112"/>
              <a:gd name="connsiteX21305" fmla="*/ 247512 w 6785952"/>
              <a:gd name="connsiteY21305" fmla="*/ 2095296 h 5217112"/>
              <a:gd name="connsiteX21306" fmla="*/ 254349 w 6785952"/>
              <a:gd name="connsiteY21306" fmla="*/ 2065152 h 5217112"/>
              <a:gd name="connsiteX21307" fmla="*/ 263921 w 6785952"/>
              <a:gd name="connsiteY21307" fmla="*/ 2033753 h 5217112"/>
              <a:gd name="connsiteX21308" fmla="*/ 277596 w 6785952"/>
              <a:gd name="connsiteY21308" fmla="*/ 2003609 h 5217112"/>
              <a:gd name="connsiteX21309" fmla="*/ 287168 w 6785952"/>
              <a:gd name="connsiteY21309" fmla="*/ 1972209 h 5217112"/>
              <a:gd name="connsiteX21310" fmla="*/ 295373 w 6785952"/>
              <a:gd name="connsiteY21310" fmla="*/ 1943321 h 5217112"/>
              <a:gd name="connsiteX21311" fmla="*/ 292638 w 6785952"/>
              <a:gd name="connsiteY21311" fmla="*/ 1915690 h 5217112"/>
              <a:gd name="connsiteX21312" fmla="*/ 289903 w 6785952"/>
              <a:gd name="connsiteY21312" fmla="*/ 1884290 h 5217112"/>
              <a:gd name="connsiteX21313" fmla="*/ 292638 w 6785952"/>
              <a:gd name="connsiteY21313" fmla="*/ 1857914 h 5217112"/>
              <a:gd name="connsiteX21314" fmla="*/ 299476 w 6785952"/>
              <a:gd name="connsiteY21314" fmla="*/ 1832795 h 5217112"/>
              <a:gd name="connsiteX21315" fmla="*/ 307681 w 6785952"/>
              <a:gd name="connsiteY21315" fmla="*/ 1810186 h 5217112"/>
              <a:gd name="connsiteX21316" fmla="*/ 321355 w 6785952"/>
              <a:gd name="connsiteY21316" fmla="*/ 1788835 h 5217112"/>
              <a:gd name="connsiteX21317" fmla="*/ 336397 w 6785952"/>
              <a:gd name="connsiteY21317" fmla="*/ 1767483 h 5217112"/>
              <a:gd name="connsiteX21318" fmla="*/ 354174 w 6785952"/>
              <a:gd name="connsiteY21318" fmla="*/ 1744875 h 5217112"/>
              <a:gd name="connsiteX21319" fmla="*/ 369216 w 6785952"/>
              <a:gd name="connsiteY21319" fmla="*/ 1728547 h 5217112"/>
              <a:gd name="connsiteX21320" fmla="*/ 378789 w 6785952"/>
              <a:gd name="connsiteY21320" fmla="*/ 1715988 h 5217112"/>
              <a:gd name="connsiteX21321" fmla="*/ 388361 w 6785952"/>
              <a:gd name="connsiteY21321" fmla="*/ 1707195 h 5217112"/>
              <a:gd name="connsiteX21322" fmla="*/ 395198 w 6785952"/>
              <a:gd name="connsiteY21322" fmla="*/ 1704683 h 5217112"/>
              <a:gd name="connsiteX21323" fmla="*/ 402036 w 6785952"/>
              <a:gd name="connsiteY21323" fmla="*/ 1704683 h 5217112"/>
              <a:gd name="connsiteX21324" fmla="*/ 412975 w 6785952"/>
              <a:gd name="connsiteY21324" fmla="*/ 1708451 h 5217112"/>
              <a:gd name="connsiteX21325" fmla="*/ 425283 w 6785952"/>
              <a:gd name="connsiteY21325" fmla="*/ 1718499 h 5217112"/>
              <a:gd name="connsiteX21326" fmla="*/ 443060 w 6785952"/>
              <a:gd name="connsiteY21326" fmla="*/ 1729803 h 5217112"/>
              <a:gd name="connsiteX21327" fmla="*/ 452632 w 6785952"/>
              <a:gd name="connsiteY21327" fmla="*/ 1736083 h 5217112"/>
              <a:gd name="connsiteX21328" fmla="*/ 466306 w 6785952"/>
              <a:gd name="connsiteY21328" fmla="*/ 1741107 h 5217112"/>
              <a:gd name="connsiteX21329" fmla="*/ 478613 w 6785952"/>
              <a:gd name="connsiteY21329" fmla="*/ 1742363 h 5217112"/>
              <a:gd name="connsiteX21330" fmla="*/ 489553 w 6785952"/>
              <a:gd name="connsiteY21330" fmla="*/ 1741107 h 5217112"/>
              <a:gd name="connsiteX21331" fmla="*/ 500493 w 6785952"/>
              <a:gd name="connsiteY21331" fmla="*/ 1734827 h 5217112"/>
              <a:gd name="connsiteX21332" fmla="*/ 510065 w 6785952"/>
              <a:gd name="connsiteY21332" fmla="*/ 1723523 h 5217112"/>
              <a:gd name="connsiteX21333" fmla="*/ 516903 w 6785952"/>
              <a:gd name="connsiteY21333" fmla="*/ 1713476 h 5217112"/>
              <a:gd name="connsiteX21334" fmla="*/ 519638 w 6785952"/>
              <a:gd name="connsiteY21334" fmla="*/ 1700916 h 5217112"/>
              <a:gd name="connsiteX21335" fmla="*/ 518270 w 6785952"/>
              <a:gd name="connsiteY21335" fmla="*/ 1668260 h 5217112"/>
              <a:gd name="connsiteX21336" fmla="*/ 515535 w 6785952"/>
              <a:gd name="connsiteY21336" fmla="*/ 1633092 h 5217112"/>
              <a:gd name="connsiteX21337" fmla="*/ 512800 w 6785952"/>
              <a:gd name="connsiteY21337" fmla="*/ 1600437 h 5217112"/>
              <a:gd name="connsiteX21338" fmla="*/ 512800 w 6785952"/>
              <a:gd name="connsiteY21338" fmla="*/ 1566525 h 5217112"/>
              <a:gd name="connsiteX21339" fmla="*/ 516903 w 6785952"/>
              <a:gd name="connsiteY21339" fmla="*/ 1535125 h 5217112"/>
              <a:gd name="connsiteX21340" fmla="*/ 533312 w 6785952"/>
              <a:gd name="connsiteY21340" fmla="*/ 1493678 h 5217112"/>
              <a:gd name="connsiteX21341" fmla="*/ 555192 w 6785952"/>
              <a:gd name="connsiteY21341" fmla="*/ 1453485 h 5217112"/>
              <a:gd name="connsiteX21342" fmla="*/ 582542 w 6785952"/>
              <a:gd name="connsiteY21342" fmla="*/ 1415806 h 5217112"/>
              <a:gd name="connsiteX21343" fmla="*/ 611258 w 6785952"/>
              <a:gd name="connsiteY21343" fmla="*/ 1380638 h 5217112"/>
              <a:gd name="connsiteX21344" fmla="*/ 615360 w 6785952"/>
              <a:gd name="connsiteY21344" fmla="*/ 1379382 h 5217112"/>
              <a:gd name="connsiteX21345" fmla="*/ 624932 w 6785952"/>
              <a:gd name="connsiteY21345" fmla="*/ 1381894 h 5217112"/>
              <a:gd name="connsiteX21346" fmla="*/ 635872 w 6785952"/>
              <a:gd name="connsiteY21346" fmla="*/ 1385662 h 5217112"/>
              <a:gd name="connsiteX21347" fmla="*/ 650914 w 6785952"/>
              <a:gd name="connsiteY21347" fmla="*/ 1390686 h 5217112"/>
              <a:gd name="connsiteX21348" fmla="*/ 665957 w 6785952"/>
              <a:gd name="connsiteY21348" fmla="*/ 1396966 h 5217112"/>
              <a:gd name="connsiteX21349" fmla="*/ 682366 w 6785952"/>
              <a:gd name="connsiteY21349" fmla="*/ 1404502 h 5217112"/>
              <a:gd name="connsiteX21350" fmla="*/ 698776 w 6785952"/>
              <a:gd name="connsiteY21350" fmla="*/ 1410782 h 5217112"/>
              <a:gd name="connsiteX21351" fmla="*/ 712451 w 6785952"/>
              <a:gd name="connsiteY21351" fmla="*/ 1417062 h 5217112"/>
              <a:gd name="connsiteX21352" fmla="*/ 735698 w 6785952"/>
              <a:gd name="connsiteY21352" fmla="*/ 1424598 h 5217112"/>
              <a:gd name="connsiteX21353" fmla="*/ 760312 w 6785952"/>
              <a:gd name="connsiteY21353" fmla="*/ 1430878 h 5217112"/>
              <a:gd name="connsiteX21354" fmla="*/ 784926 w 6785952"/>
              <a:gd name="connsiteY21354" fmla="*/ 1438414 h 5217112"/>
              <a:gd name="connsiteX21355" fmla="*/ 806806 w 6785952"/>
              <a:gd name="connsiteY21355" fmla="*/ 1448462 h 5217112"/>
              <a:gd name="connsiteX21356" fmla="*/ 827318 w 6785952"/>
              <a:gd name="connsiteY21356" fmla="*/ 1459766 h 5217112"/>
              <a:gd name="connsiteX21357" fmla="*/ 833214 w 6785952"/>
              <a:gd name="connsiteY21357" fmla="*/ 1464897 h 5217112"/>
              <a:gd name="connsiteX21358" fmla="*/ 843392 w 6785952"/>
              <a:gd name="connsiteY21358" fmla="*/ 1471612 h 5217112"/>
              <a:gd name="connsiteX21359" fmla="*/ 842993 w 6785952"/>
              <a:gd name="connsiteY21359" fmla="*/ 1473406 h 5217112"/>
              <a:gd name="connsiteX21360" fmla="*/ 905263 w 6785952"/>
              <a:gd name="connsiteY21360" fmla="*/ 1527589 h 5217112"/>
              <a:gd name="connsiteX21361" fmla="*/ 925716 w 6785952"/>
              <a:gd name="connsiteY21361" fmla="*/ 1546717 h 5217112"/>
              <a:gd name="connsiteX21362" fmla="*/ 924358 w 6785952"/>
              <a:gd name="connsiteY21362" fmla="*/ 1544733 h 5217112"/>
              <a:gd name="connsiteX21363" fmla="*/ 923293 w 6785952"/>
              <a:gd name="connsiteY21363" fmla="*/ 1539461 h 5217112"/>
              <a:gd name="connsiteX21364" fmla="*/ 933457 w 6785952"/>
              <a:gd name="connsiteY21364" fmla="*/ 1538916 h 5217112"/>
              <a:gd name="connsiteX21365" fmla="*/ 933045 w 6785952"/>
              <a:gd name="connsiteY21365" fmla="*/ 1546626 h 5217112"/>
              <a:gd name="connsiteX21366" fmla="*/ 928383 w 6785952"/>
              <a:gd name="connsiteY21366" fmla="*/ 1549211 h 5217112"/>
              <a:gd name="connsiteX21367" fmla="*/ 932229 w 6785952"/>
              <a:gd name="connsiteY21367" fmla="*/ 1552807 h 5217112"/>
              <a:gd name="connsiteX21368" fmla="*/ 941697 w 6785952"/>
              <a:gd name="connsiteY21368" fmla="*/ 1539352 h 5217112"/>
              <a:gd name="connsiteX21369" fmla="*/ 942797 w 6785952"/>
              <a:gd name="connsiteY21369" fmla="*/ 1538916 h 5217112"/>
              <a:gd name="connsiteX21370" fmla="*/ 943071 w 6785952"/>
              <a:gd name="connsiteY21370" fmla="*/ 1540115 h 5217112"/>
              <a:gd name="connsiteX21371" fmla="*/ 940324 w 6785952"/>
              <a:gd name="connsiteY21371" fmla="*/ 1543820 h 5217112"/>
              <a:gd name="connsiteX21372" fmla="*/ 962575 w 6785952"/>
              <a:gd name="connsiteY21372" fmla="*/ 1528563 h 5217112"/>
              <a:gd name="connsiteX21373" fmla="*/ 963398 w 6785952"/>
              <a:gd name="connsiteY21373" fmla="*/ 1526929 h 5217112"/>
              <a:gd name="connsiteX21374" fmla="*/ 973837 w 6785952"/>
              <a:gd name="connsiteY21374" fmla="*/ 1514070 h 5217112"/>
              <a:gd name="connsiteX21375" fmla="*/ 977408 w 6785952"/>
              <a:gd name="connsiteY21375" fmla="*/ 1504917 h 5217112"/>
              <a:gd name="connsiteX21376" fmla="*/ 976859 w 6785952"/>
              <a:gd name="connsiteY21376" fmla="*/ 1495545 h 5217112"/>
              <a:gd name="connsiteX21377" fmla="*/ 972738 w 6785952"/>
              <a:gd name="connsiteY21377" fmla="*/ 1491404 h 5217112"/>
              <a:gd name="connsiteX21378" fmla="*/ 973837 w 6785952"/>
              <a:gd name="connsiteY21378" fmla="*/ 1489879 h 5217112"/>
              <a:gd name="connsiteX21379" fmla="*/ 975211 w 6785952"/>
              <a:gd name="connsiteY21379" fmla="*/ 1490641 h 5217112"/>
              <a:gd name="connsiteX21380" fmla="*/ 979056 w 6785952"/>
              <a:gd name="connsiteY21380" fmla="*/ 1493474 h 5217112"/>
              <a:gd name="connsiteX21381" fmla="*/ 978507 w 6785952"/>
              <a:gd name="connsiteY21381" fmla="*/ 1492276 h 5217112"/>
              <a:gd name="connsiteX21382" fmla="*/ 982903 w 6785952"/>
              <a:gd name="connsiteY21382" fmla="*/ 1488244 h 5217112"/>
              <a:gd name="connsiteX21383" fmla="*/ 980155 w 6785952"/>
              <a:gd name="connsiteY21383" fmla="*/ 1493148 h 5217112"/>
              <a:gd name="connsiteX21384" fmla="*/ 997186 w 6785952"/>
              <a:gd name="connsiteY21384" fmla="*/ 1478328 h 5217112"/>
              <a:gd name="connsiteX21385" fmla="*/ 991142 w 6785952"/>
              <a:gd name="connsiteY21385" fmla="*/ 1469392 h 5217112"/>
              <a:gd name="connsiteX21386" fmla="*/ 999934 w 6785952"/>
              <a:gd name="connsiteY21386" fmla="*/ 1466667 h 5217112"/>
              <a:gd name="connsiteX21387" fmla="*/ 1011745 w 6785952"/>
              <a:gd name="connsiteY21387" fmla="*/ 1465577 h 5217112"/>
              <a:gd name="connsiteX21388" fmla="*/ 1009273 w 6785952"/>
              <a:gd name="connsiteY21388" fmla="*/ 1470372 h 5217112"/>
              <a:gd name="connsiteX21389" fmla="*/ 1017239 w 6785952"/>
              <a:gd name="connsiteY21389" fmla="*/ 1465141 h 5217112"/>
              <a:gd name="connsiteX21390" fmla="*/ 1021909 w 6785952"/>
              <a:gd name="connsiteY21390" fmla="*/ 1459475 h 5217112"/>
              <a:gd name="connsiteX21391" fmla="*/ 1024930 w 6785952"/>
              <a:gd name="connsiteY21391" fmla="*/ 1459911 h 5217112"/>
              <a:gd name="connsiteX21392" fmla="*/ 1024656 w 6785952"/>
              <a:gd name="connsiteY21392" fmla="*/ 1462853 h 5217112"/>
              <a:gd name="connsiteX21393" fmla="*/ 1034819 w 6785952"/>
              <a:gd name="connsiteY21393" fmla="*/ 1460783 h 5217112"/>
              <a:gd name="connsiteX21394" fmla="*/ 1034819 w 6785952"/>
              <a:gd name="connsiteY21394" fmla="*/ 1456750 h 5217112"/>
              <a:gd name="connsiteX21395" fmla="*/ 1044983 w 6785952"/>
              <a:gd name="connsiteY21395" fmla="*/ 1442693 h 5217112"/>
              <a:gd name="connsiteX21396" fmla="*/ 1058169 w 6785952"/>
              <a:gd name="connsiteY21396" fmla="*/ 1433104 h 5217112"/>
              <a:gd name="connsiteX21397" fmla="*/ 1062288 w 6785952"/>
              <a:gd name="connsiteY21397" fmla="*/ 1437244 h 5217112"/>
              <a:gd name="connsiteX21398" fmla="*/ 1088934 w 6785952"/>
              <a:gd name="connsiteY21398" fmla="*/ 1427219 h 5217112"/>
              <a:gd name="connsiteX21399" fmla="*/ 1095801 w 6785952"/>
              <a:gd name="connsiteY21399" fmla="*/ 1421770 h 5217112"/>
              <a:gd name="connsiteX21400" fmla="*/ 1095252 w 6785952"/>
              <a:gd name="connsiteY21400" fmla="*/ 1421226 h 5217112"/>
              <a:gd name="connsiteX21401" fmla="*/ 1095252 w 6785952"/>
              <a:gd name="connsiteY21401" fmla="*/ 1416867 h 5217112"/>
              <a:gd name="connsiteX21402" fmla="*/ 1098274 w 6785952"/>
              <a:gd name="connsiteY21402" fmla="*/ 1413815 h 5217112"/>
              <a:gd name="connsiteX21403" fmla="*/ 1102394 w 6785952"/>
              <a:gd name="connsiteY21403" fmla="*/ 1411200 h 5217112"/>
              <a:gd name="connsiteX21404" fmla="*/ 1104867 w 6785952"/>
              <a:gd name="connsiteY21404" fmla="*/ 1410655 h 5217112"/>
              <a:gd name="connsiteX21405" fmla="*/ 1104592 w 6785952"/>
              <a:gd name="connsiteY21405" fmla="*/ 1408148 h 5217112"/>
              <a:gd name="connsiteX21406" fmla="*/ 1099922 w 6785952"/>
              <a:gd name="connsiteY21406" fmla="*/ 1403572 h 5217112"/>
              <a:gd name="connsiteX21407" fmla="*/ 1107614 w 6785952"/>
              <a:gd name="connsiteY21407" fmla="*/ 1398341 h 5217112"/>
              <a:gd name="connsiteX21408" fmla="*/ 1104592 w 6785952"/>
              <a:gd name="connsiteY21408" fmla="*/ 1393764 h 5217112"/>
              <a:gd name="connsiteX21409" fmla="*/ 1105141 w 6785952"/>
              <a:gd name="connsiteY21409" fmla="*/ 1394963 h 5217112"/>
              <a:gd name="connsiteX21410" fmla="*/ 1089484 w 6785952"/>
              <a:gd name="connsiteY21410" fmla="*/ 1401392 h 5217112"/>
              <a:gd name="connsiteX21411" fmla="*/ 1100471 w 6785952"/>
              <a:gd name="connsiteY21411" fmla="*/ 1389732 h 5217112"/>
              <a:gd name="connsiteX21412" fmla="*/ 1111459 w 6785952"/>
              <a:gd name="connsiteY21412" fmla="*/ 1378181 h 5217112"/>
              <a:gd name="connsiteX21413" fmla="*/ 1126293 w 6785952"/>
              <a:gd name="connsiteY21413" fmla="*/ 1373387 h 5217112"/>
              <a:gd name="connsiteX21414" fmla="*/ 1135083 w 6785952"/>
              <a:gd name="connsiteY21414" fmla="*/ 1362598 h 5217112"/>
              <a:gd name="connsiteX21415" fmla="*/ 1138654 w 6785952"/>
              <a:gd name="connsiteY21415" fmla="*/ 1361290 h 5217112"/>
              <a:gd name="connsiteX21416" fmla="*/ 1137555 w 6785952"/>
              <a:gd name="connsiteY21416" fmla="*/ 1365867 h 5217112"/>
              <a:gd name="connsiteX21417" fmla="*/ 1136182 w 6785952"/>
              <a:gd name="connsiteY21417" fmla="*/ 1366195 h 5217112"/>
              <a:gd name="connsiteX21418" fmla="*/ 1131238 w 6785952"/>
              <a:gd name="connsiteY21418" fmla="*/ 1371860 h 5217112"/>
              <a:gd name="connsiteX21419" fmla="*/ 1130413 w 6785952"/>
              <a:gd name="connsiteY21419" fmla="*/ 1373387 h 5217112"/>
              <a:gd name="connsiteX21420" fmla="*/ 1140028 w 6785952"/>
              <a:gd name="connsiteY21420" fmla="*/ 1373059 h 5217112"/>
              <a:gd name="connsiteX21421" fmla="*/ 1146621 w 6785952"/>
              <a:gd name="connsiteY21421" fmla="*/ 1368265 h 5217112"/>
              <a:gd name="connsiteX21422" fmla="*/ 1162827 w 6785952"/>
              <a:gd name="connsiteY21422" fmla="*/ 1360200 h 5217112"/>
              <a:gd name="connsiteX21423" fmla="*/ 1165025 w 6785952"/>
              <a:gd name="connsiteY21423" fmla="*/ 1362380 h 5217112"/>
              <a:gd name="connsiteX21424" fmla="*/ 1165574 w 6785952"/>
              <a:gd name="connsiteY21424" fmla="*/ 1363579 h 5217112"/>
              <a:gd name="connsiteX21425" fmla="*/ 1166673 w 6785952"/>
              <a:gd name="connsiteY21425" fmla="*/ 1363252 h 5217112"/>
              <a:gd name="connsiteX21426" fmla="*/ 1179035 w 6785952"/>
              <a:gd name="connsiteY21426" fmla="*/ 1355079 h 5217112"/>
              <a:gd name="connsiteX21427" fmla="*/ 1174090 w 6785952"/>
              <a:gd name="connsiteY21427" fmla="*/ 1356714 h 5217112"/>
              <a:gd name="connsiteX21428" fmla="*/ 1184253 w 6785952"/>
              <a:gd name="connsiteY21428" fmla="*/ 1350720 h 5217112"/>
              <a:gd name="connsiteX21429" fmla="*/ 1183430 w 6785952"/>
              <a:gd name="connsiteY21429" fmla="*/ 1352354 h 5217112"/>
              <a:gd name="connsiteX21430" fmla="*/ 1188099 w 6785952"/>
              <a:gd name="connsiteY21430" fmla="*/ 1349521 h 5217112"/>
              <a:gd name="connsiteX21431" fmla="*/ 1208975 w 6785952"/>
              <a:gd name="connsiteY21431" fmla="*/ 1334810 h 5217112"/>
              <a:gd name="connsiteX21432" fmla="*/ 1239467 w 6785952"/>
              <a:gd name="connsiteY21432" fmla="*/ 1320752 h 5217112"/>
              <a:gd name="connsiteX21433" fmla="*/ 1240841 w 6785952"/>
              <a:gd name="connsiteY21433" fmla="*/ 1320426 h 5217112"/>
              <a:gd name="connsiteX21434" fmla="*/ 1242488 w 6785952"/>
              <a:gd name="connsiteY21434" fmla="*/ 1317156 h 5217112"/>
              <a:gd name="connsiteX21435" fmla="*/ 1250181 w 6785952"/>
              <a:gd name="connsiteY21435" fmla="*/ 1316066 h 5217112"/>
              <a:gd name="connsiteX21436" fmla="*/ 1263915 w 6785952"/>
              <a:gd name="connsiteY21436" fmla="*/ 1311707 h 5217112"/>
              <a:gd name="connsiteX21437" fmla="*/ 1275452 w 6785952"/>
              <a:gd name="connsiteY21437" fmla="*/ 1305388 h 5217112"/>
              <a:gd name="connsiteX21438" fmla="*/ 1292483 w 6785952"/>
              <a:gd name="connsiteY21438" fmla="*/ 1299830 h 5217112"/>
              <a:gd name="connsiteX21439" fmla="*/ 1303746 w 6785952"/>
              <a:gd name="connsiteY21439" fmla="*/ 1292092 h 5217112"/>
              <a:gd name="connsiteX21440" fmla="*/ 1287265 w 6785952"/>
              <a:gd name="connsiteY21440" fmla="*/ 1296124 h 5217112"/>
              <a:gd name="connsiteX21441" fmla="*/ 1273529 w 6785952"/>
              <a:gd name="connsiteY21441" fmla="*/ 1292310 h 5217112"/>
              <a:gd name="connsiteX21442" fmla="*/ 1273255 w 6785952"/>
              <a:gd name="connsiteY21442" fmla="*/ 1291112 h 5217112"/>
              <a:gd name="connsiteX21443" fmla="*/ 1272430 w 6785952"/>
              <a:gd name="connsiteY21443" fmla="*/ 1292746 h 5217112"/>
              <a:gd name="connsiteX21444" fmla="*/ 1266937 w 6785952"/>
              <a:gd name="connsiteY21444" fmla="*/ 1293074 h 5217112"/>
              <a:gd name="connsiteX21445" fmla="*/ 1262542 w 6785952"/>
              <a:gd name="connsiteY21445" fmla="*/ 1296015 h 5217112"/>
              <a:gd name="connsiteX21446" fmla="*/ 1260894 w 6785952"/>
              <a:gd name="connsiteY21446" fmla="*/ 1295144 h 5217112"/>
              <a:gd name="connsiteX21447" fmla="*/ 1261717 w 6785952"/>
              <a:gd name="connsiteY21447" fmla="*/ 1293509 h 5217112"/>
              <a:gd name="connsiteX21448" fmla="*/ 1267760 w 6785952"/>
              <a:gd name="connsiteY21448" fmla="*/ 1291547 h 5217112"/>
              <a:gd name="connsiteX21449" fmla="*/ 1272156 w 6785952"/>
              <a:gd name="connsiteY21449" fmla="*/ 1288714 h 5217112"/>
              <a:gd name="connsiteX21450" fmla="*/ 1295779 w 6785952"/>
              <a:gd name="connsiteY21450" fmla="*/ 1273131 h 5217112"/>
              <a:gd name="connsiteX21451" fmla="*/ 1306767 w 6785952"/>
              <a:gd name="connsiteY21451" fmla="*/ 1269644 h 5217112"/>
              <a:gd name="connsiteX21452" fmla="*/ 1305394 w 6785952"/>
              <a:gd name="connsiteY21452" fmla="*/ 1274003 h 5217112"/>
              <a:gd name="connsiteX21453" fmla="*/ 1329017 w 6785952"/>
              <a:gd name="connsiteY21453" fmla="*/ 1274548 h 5217112"/>
              <a:gd name="connsiteX21454" fmla="*/ 1341928 w 6785952"/>
              <a:gd name="connsiteY21454" fmla="*/ 1272150 h 5217112"/>
              <a:gd name="connsiteX21455" fmla="*/ 1341654 w 6785952"/>
              <a:gd name="connsiteY21455" fmla="*/ 1270406 h 5217112"/>
              <a:gd name="connsiteX21456" fmla="*/ 1341105 w 6785952"/>
              <a:gd name="connsiteY21456" fmla="*/ 1263977 h 5217112"/>
              <a:gd name="connsiteX21457" fmla="*/ 1355114 w 6785952"/>
              <a:gd name="connsiteY21457" fmla="*/ 1254823 h 5217112"/>
              <a:gd name="connsiteX21458" fmla="*/ 1362531 w 6785952"/>
              <a:gd name="connsiteY21458" fmla="*/ 1252644 h 5217112"/>
              <a:gd name="connsiteX21459" fmla="*/ 1361981 w 6785952"/>
              <a:gd name="connsiteY21459" fmla="*/ 1251336 h 5217112"/>
              <a:gd name="connsiteX21460" fmla="*/ 1362256 w 6785952"/>
              <a:gd name="connsiteY21460" fmla="*/ 1250683 h 5217112"/>
              <a:gd name="connsiteX21461" fmla="*/ 1361981 w 6785952"/>
              <a:gd name="connsiteY21461" fmla="*/ 1250683 h 5217112"/>
              <a:gd name="connsiteX21462" fmla="*/ 1359509 w 6785952"/>
              <a:gd name="connsiteY21462" fmla="*/ 1245561 h 5217112"/>
              <a:gd name="connsiteX21463" fmla="*/ 1362806 w 6785952"/>
              <a:gd name="connsiteY21463" fmla="*/ 1240221 h 5217112"/>
              <a:gd name="connsiteX21464" fmla="*/ 1372969 w 6785952"/>
              <a:gd name="connsiteY21464" fmla="*/ 1235862 h 5217112"/>
              <a:gd name="connsiteX21465" fmla="*/ 1374617 w 6785952"/>
              <a:gd name="connsiteY21465" fmla="*/ 1241529 h 5217112"/>
              <a:gd name="connsiteX21466" fmla="*/ 1376815 w 6785952"/>
              <a:gd name="connsiteY21466" fmla="*/ 1237715 h 5217112"/>
              <a:gd name="connsiteX21467" fmla="*/ 1383682 w 6785952"/>
              <a:gd name="connsiteY21467" fmla="*/ 1227144 h 5217112"/>
              <a:gd name="connsiteX21468" fmla="*/ 1394395 w 6785952"/>
              <a:gd name="connsiteY21468" fmla="*/ 1224202 h 5217112"/>
              <a:gd name="connsiteX21469" fmla="*/ 1418568 w 6785952"/>
              <a:gd name="connsiteY21469" fmla="*/ 1227798 h 5217112"/>
              <a:gd name="connsiteX21470" fmla="*/ 1427908 w 6785952"/>
              <a:gd name="connsiteY21470" fmla="*/ 1225510 h 5217112"/>
              <a:gd name="connsiteX21471" fmla="*/ 1428183 w 6785952"/>
              <a:gd name="connsiteY21471" fmla="*/ 1222567 h 5217112"/>
              <a:gd name="connsiteX21472" fmla="*/ 1426808 w 6785952"/>
              <a:gd name="connsiteY21472" fmla="*/ 1218535 h 5217112"/>
              <a:gd name="connsiteX21473" fmla="*/ 1423238 w 6785952"/>
              <a:gd name="connsiteY21473" fmla="*/ 1209382 h 5217112"/>
              <a:gd name="connsiteX21474" fmla="*/ 1429282 w 6785952"/>
              <a:gd name="connsiteY21474" fmla="*/ 1204914 h 5217112"/>
              <a:gd name="connsiteX21475" fmla="*/ 1444665 w 6785952"/>
              <a:gd name="connsiteY21475" fmla="*/ 1221042 h 5217112"/>
              <a:gd name="connsiteX21476" fmla="*/ 1444939 w 6785952"/>
              <a:gd name="connsiteY21476" fmla="*/ 1221587 h 5217112"/>
              <a:gd name="connsiteX21477" fmla="*/ 1452356 w 6785952"/>
              <a:gd name="connsiteY21477" fmla="*/ 1228452 h 5217112"/>
              <a:gd name="connsiteX21478" fmla="*/ 1453729 w 6785952"/>
              <a:gd name="connsiteY21478" fmla="*/ 1228343 h 5217112"/>
              <a:gd name="connsiteX21479" fmla="*/ 1456476 w 6785952"/>
              <a:gd name="connsiteY21479" fmla="*/ 1228125 h 5217112"/>
              <a:gd name="connsiteX21480" fmla="*/ 1460047 w 6785952"/>
              <a:gd name="connsiteY21480" fmla="*/ 1225727 h 5217112"/>
              <a:gd name="connsiteX21481" fmla="*/ 1460871 w 6785952"/>
              <a:gd name="connsiteY21481" fmla="*/ 1224093 h 5217112"/>
              <a:gd name="connsiteX21482" fmla="*/ 1460322 w 6785952"/>
              <a:gd name="connsiteY21482" fmla="*/ 1222894 h 5217112"/>
              <a:gd name="connsiteX21483" fmla="*/ 1466640 w 6785952"/>
              <a:gd name="connsiteY21483" fmla="*/ 1219625 h 5217112"/>
              <a:gd name="connsiteX21484" fmla="*/ 1469387 w 6785952"/>
              <a:gd name="connsiteY21484" fmla="*/ 1218209 h 5217112"/>
              <a:gd name="connsiteX21485" fmla="*/ 1477902 w 6785952"/>
              <a:gd name="connsiteY21485" fmla="*/ 1218644 h 5217112"/>
              <a:gd name="connsiteX21486" fmla="*/ 1483945 w 6785952"/>
              <a:gd name="connsiteY21486" fmla="*/ 1219407 h 5217112"/>
              <a:gd name="connsiteX21487" fmla="*/ 1488615 w 6785952"/>
              <a:gd name="connsiteY21487" fmla="*/ 1217881 h 5217112"/>
              <a:gd name="connsiteX21488" fmla="*/ 1492461 w 6785952"/>
              <a:gd name="connsiteY21488" fmla="*/ 1220715 h 5217112"/>
              <a:gd name="connsiteX21489" fmla="*/ 1489165 w 6785952"/>
              <a:gd name="connsiteY21489" fmla="*/ 1223112 h 5217112"/>
              <a:gd name="connsiteX21490" fmla="*/ 1486692 w 6785952"/>
              <a:gd name="connsiteY21490" fmla="*/ 1223875 h 5217112"/>
              <a:gd name="connsiteX21491" fmla="*/ 1486692 w 6785952"/>
              <a:gd name="connsiteY21491" fmla="*/ 1226709 h 5217112"/>
              <a:gd name="connsiteX21492" fmla="*/ 1487517 w 6785952"/>
              <a:gd name="connsiteY21492" fmla="*/ 1225946 h 5217112"/>
              <a:gd name="connsiteX21493" fmla="*/ 1497680 w 6785952"/>
              <a:gd name="connsiteY21493" fmla="*/ 1226709 h 5217112"/>
              <a:gd name="connsiteX21494" fmla="*/ 1495758 w 6785952"/>
              <a:gd name="connsiteY21494" fmla="*/ 1228779 h 5217112"/>
              <a:gd name="connsiteX21495" fmla="*/ 1496581 w 6785952"/>
              <a:gd name="connsiteY21495" fmla="*/ 1229215 h 5217112"/>
              <a:gd name="connsiteX21496" fmla="*/ 1494110 w 6785952"/>
              <a:gd name="connsiteY21496" fmla="*/ 1230304 h 5217112"/>
              <a:gd name="connsiteX21497" fmla="*/ 1495758 w 6785952"/>
              <a:gd name="connsiteY21497" fmla="*/ 1230523 h 5217112"/>
              <a:gd name="connsiteX21498" fmla="*/ 1497405 w 6785952"/>
              <a:gd name="connsiteY21498" fmla="*/ 1229759 h 5217112"/>
              <a:gd name="connsiteX21499" fmla="*/ 1497680 w 6785952"/>
              <a:gd name="connsiteY21499" fmla="*/ 1229978 h 5217112"/>
              <a:gd name="connsiteX21500" fmla="*/ 1497680 w 6785952"/>
              <a:gd name="connsiteY21500" fmla="*/ 1229542 h 5217112"/>
              <a:gd name="connsiteX21501" fmla="*/ 1501251 w 6785952"/>
              <a:gd name="connsiteY21501" fmla="*/ 1227908 h 5217112"/>
              <a:gd name="connsiteX21502" fmla="*/ 1518832 w 6785952"/>
              <a:gd name="connsiteY21502" fmla="*/ 1229869 h 5217112"/>
              <a:gd name="connsiteX21503" fmla="*/ 1509493 w 6785952"/>
              <a:gd name="connsiteY21503" fmla="*/ 1234227 h 5217112"/>
              <a:gd name="connsiteX21504" fmla="*/ 1497131 w 6785952"/>
              <a:gd name="connsiteY21504" fmla="*/ 1234118 h 5217112"/>
              <a:gd name="connsiteX21505" fmla="*/ 1494658 w 6785952"/>
              <a:gd name="connsiteY21505" fmla="*/ 1234881 h 5217112"/>
              <a:gd name="connsiteX21506" fmla="*/ 1487242 w 6785952"/>
              <a:gd name="connsiteY21506" fmla="*/ 1233247 h 5217112"/>
              <a:gd name="connsiteX21507" fmla="*/ 1485868 w 6785952"/>
              <a:gd name="connsiteY21507" fmla="*/ 1233683 h 5217112"/>
              <a:gd name="connsiteX21508" fmla="*/ 1483122 w 6785952"/>
              <a:gd name="connsiteY21508" fmla="*/ 1233247 h 5217112"/>
              <a:gd name="connsiteX21509" fmla="*/ 1483945 w 6785952"/>
              <a:gd name="connsiteY21509" fmla="*/ 1235645 h 5217112"/>
              <a:gd name="connsiteX21510" fmla="*/ 1487792 w 6785952"/>
              <a:gd name="connsiteY21510" fmla="*/ 1238478 h 5217112"/>
              <a:gd name="connsiteX21511" fmla="*/ 1493011 w 6785952"/>
              <a:gd name="connsiteY21511" fmla="*/ 1238150 h 5217112"/>
              <a:gd name="connsiteX21512" fmla="*/ 1530369 w 6785952"/>
              <a:gd name="connsiteY21512" fmla="*/ 1235535 h 5217112"/>
              <a:gd name="connsiteX21513" fmla="*/ 1528720 w 6785952"/>
              <a:gd name="connsiteY21513" fmla="*/ 1234772 h 5217112"/>
              <a:gd name="connsiteX21514" fmla="*/ 1537511 w 6785952"/>
              <a:gd name="connsiteY21514" fmla="*/ 1235100 h 5217112"/>
              <a:gd name="connsiteX21515" fmla="*/ 1533390 w 6785952"/>
              <a:gd name="connsiteY21515" fmla="*/ 1231285 h 5217112"/>
              <a:gd name="connsiteX21516" fmla="*/ 1529270 w 6785952"/>
              <a:gd name="connsiteY21516" fmla="*/ 1226817 h 5217112"/>
              <a:gd name="connsiteX21517" fmla="*/ 1527072 w 6785952"/>
              <a:gd name="connsiteY21517" fmla="*/ 1226381 h 5217112"/>
              <a:gd name="connsiteX21518" fmla="*/ 1521854 w 6785952"/>
              <a:gd name="connsiteY21518" fmla="*/ 1224093 h 5217112"/>
              <a:gd name="connsiteX21519" fmla="*/ 1521304 w 6785952"/>
              <a:gd name="connsiteY21519" fmla="*/ 1221587 h 5217112"/>
              <a:gd name="connsiteX21520" fmla="*/ 1524875 w 6785952"/>
              <a:gd name="connsiteY21520" fmla="*/ 1222241 h 5217112"/>
              <a:gd name="connsiteX21521" fmla="*/ 1523776 w 6785952"/>
              <a:gd name="connsiteY21521" fmla="*/ 1221042 h 5217112"/>
              <a:gd name="connsiteX21522" fmla="*/ 1512239 w 6785952"/>
              <a:gd name="connsiteY21522" fmla="*/ 1210907 h 5217112"/>
              <a:gd name="connsiteX21523" fmla="*/ 1529545 w 6785952"/>
              <a:gd name="connsiteY21523" fmla="*/ 1200664 h 5217112"/>
              <a:gd name="connsiteX21524" fmla="*/ 1534215 w 6785952"/>
              <a:gd name="connsiteY21524" fmla="*/ 1194889 h 5217112"/>
              <a:gd name="connsiteX21525" fmla="*/ 1533116 w 6785952"/>
              <a:gd name="connsiteY21525" fmla="*/ 1193799 h 5217112"/>
              <a:gd name="connsiteX21526" fmla="*/ 1532567 w 6785952"/>
              <a:gd name="connsiteY21526" fmla="*/ 1194125 h 5217112"/>
              <a:gd name="connsiteX21527" fmla="*/ 1527622 w 6785952"/>
              <a:gd name="connsiteY21527" fmla="*/ 1184427 h 5217112"/>
              <a:gd name="connsiteX21528" fmla="*/ 1542181 w 6785952"/>
              <a:gd name="connsiteY21528" fmla="*/ 1185190 h 5217112"/>
              <a:gd name="connsiteX21529" fmla="*/ 1542730 w 6785952"/>
              <a:gd name="connsiteY21529" fmla="*/ 1185625 h 5217112"/>
              <a:gd name="connsiteX21530" fmla="*/ 1547675 w 6785952"/>
              <a:gd name="connsiteY21530" fmla="*/ 1182901 h 5217112"/>
              <a:gd name="connsiteX21531" fmla="*/ 1553169 w 6785952"/>
              <a:gd name="connsiteY21531" fmla="*/ 1182139 h 5217112"/>
              <a:gd name="connsiteX21532" fmla="*/ 1553443 w 6785952"/>
              <a:gd name="connsiteY21532" fmla="*/ 1181593 h 5217112"/>
              <a:gd name="connsiteX21533" fmla="*/ 1554542 w 6785952"/>
              <a:gd name="connsiteY21533" fmla="*/ 1180503 h 5217112"/>
              <a:gd name="connsiteX21534" fmla="*/ 1552070 w 6785952"/>
              <a:gd name="connsiteY21534" fmla="*/ 1176908 h 5217112"/>
              <a:gd name="connsiteX21535" fmla="*/ 1553718 w 6785952"/>
              <a:gd name="connsiteY21535" fmla="*/ 1158927 h 5217112"/>
              <a:gd name="connsiteX21536" fmla="*/ 1553443 w 6785952"/>
              <a:gd name="connsiteY21536" fmla="*/ 1153152 h 5217112"/>
              <a:gd name="connsiteX21537" fmla="*/ 1553443 w 6785952"/>
              <a:gd name="connsiteY21537" fmla="*/ 1153260 h 5217112"/>
              <a:gd name="connsiteX21538" fmla="*/ 1543280 w 6785952"/>
              <a:gd name="connsiteY21538" fmla="*/ 1157402 h 5217112"/>
              <a:gd name="connsiteX21539" fmla="*/ 1540258 w 6785952"/>
              <a:gd name="connsiteY21539" fmla="*/ 1158273 h 5217112"/>
              <a:gd name="connsiteX21540" fmla="*/ 1541082 w 6785952"/>
              <a:gd name="connsiteY21540" fmla="*/ 1159472 h 5217112"/>
              <a:gd name="connsiteX21541" fmla="*/ 1538885 w 6785952"/>
              <a:gd name="connsiteY21541" fmla="*/ 1159036 h 5217112"/>
              <a:gd name="connsiteX21542" fmla="*/ 1538610 w 6785952"/>
              <a:gd name="connsiteY21542" fmla="*/ 1159145 h 5217112"/>
              <a:gd name="connsiteX21543" fmla="*/ 1537511 w 6785952"/>
              <a:gd name="connsiteY21543" fmla="*/ 1160017 h 5217112"/>
              <a:gd name="connsiteX21544" fmla="*/ 1531468 w 6785952"/>
              <a:gd name="connsiteY21544" fmla="*/ 1159472 h 5217112"/>
              <a:gd name="connsiteX21545" fmla="*/ 1530369 w 6785952"/>
              <a:gd name="connsiteY21545" fmla="*/ 1155985 h 5217112"/>
              <a:gd name="connsiteX21546" fmla="*/ 1534764 w 6785952"/>
              <a:gd name="connsiteY21546" fmla="*/ 1148357 h 5217112"/>
              <a:gd name="connsiteX21547" fmla="*/ 1525150 w 6785952"/>
              <a:gd name="connsiteY21547" fmla="*/ 1133645 h 5217112"/>
              <a:gd name="connsiteX21548" fmla="*/ 1524875 w 6785952"/>
              <a:gd name="connsiteY21548" fmla="*/ 1132011 h 5217112"/>
              <a:gd name="connsiteX21549" fmla="*/ 1524050 w 6785952"/>
              <a:gd name="connsiteY21549" fmla="*/ 1132120 h 5217112"/>
              <a:gd name="connsiteX21550" fmla="*/ 1500427 w 6785952"/>
              <a:gd name="connsiteY21550" fmla="*/ 1136152 h 5217112"/>
              <a:gd name="connsiteX21551" fmla="*/ 1494110 w 6785952"/>
              <a:gd name="connsiteY21551" fmla="*/ 1131030 h 5217112"/>
              <a:gd name="connsiteX21552" fmla="*/ 1491911 w 6785952"/>
              <a:gd name="connsiteY21552" fmla="*/ 1129286 h 5217112"/>
              <a:gd name="connsiteX21553" fmla="*/ 1476529 w 6785952"/>
              <a:gd name="connsiteY21553" fmla="*/ 1115229 h 5217112"/>
              <a:gd name="connsiteX21554" fmla="*/ 1474605 w 6785952"/>
              <a:gd name="connsiteY21554" fmla="*/ 1113594 h 5217112"/>
              <a:gd name="connsiteX21555" fmla="*/ 1475705 w 6785952"/>
              <a:gd name="connsiteY21555" fmla="*/ 1105749 h 5217112"/>
              <a:gd name="connsiteX21556" fmla="*/ 1472683 w 6785952"/>
              <a:gd name="connsiteY21556" fmla="*/ 1096376 h 5217112"/>
              <a:gd name="connsiteX21557" fmla="*/ 1474331 w 6785952"/>
              <a:gd name="connsiteY21557" fmla="*/ 1092345 h 5217112"/>
              <a:gd name="connsiteX21558" fmla="*/ 1474880 w 6785952"/>
              <a:gd name="connsiteY21558" fmla="*/ 1089075 h 5217112"/>
              <a:gd name="connsiteX21559" fmla="*/ 1475705 w 6785952"/>
              <a:gd name="connsiteY21559" fmla="*/ 1087114 h 5217112"/>
              <a:gd name="connsiteX21560" fmla="*/ 1474057 w 6785952"/>
              <a:gd name="connsiteY21560" fmla="*/ 1086788 h 5217112"/>
              <a:gd name="connsiteX21561" fmla="*/ 1476254 w 6785952"/>
              <a:gd name="connsiteY21561" fmla="*/ 1085589 h 5217112"/>
              <a:gd name="connsiteX21562" fmla="*/ 1477079 w 6785952"/>
              <a:gd name="connsiteY21562" fmla="*/ 1083627 h 5217112"/>
              <a:gd name="connsiteX21563" fmla="*/ 1490538 w 6785952"/>
              <a:gd name="connsiteY21563" fmla="*/ 1075454 h 5217112"/>
              <a:gd name="connsiteX21564" fmla="*/ 1488615 w 6785952"/>
              <a:gd name="connsiteY21564" fmla="*/ 1075563 h 5217112"/>
              <a:gd name="connsiteX21565" fmla="*/ 1497405 w 6785952"/>
              <a:gd name="connsiteY21565" fmla="*/ 1067063 h 5217112"/>
              <a:gd name="connsiteX21566" fmla="*/ 1505646 w 6785952"/>
              <a:gd name="connsiteY21566" fmla="*/ 1068262 h 5217112"/>
              <a:gd name="connsiteX21567" fmla="*/ 1513612 w 6785952"/>
              <a:gd name="connsiteY21567" fmla="*/ 1050063 h 5217112"/>
              <a:gd name="connsiteX21568" fmla="*/ 1513337 w 6785952"/>
              <a:gd name="connsiteY21568" fmla="*/ 1048211 h 5217112"/>
              <a:gd name="connsiteX21569" fmla="*/ 1517184 w 6785952"/>
              <a:gd name="connsiteY21569" fmla="*/ 1045922 h 5217112"/>
              <a:gd name="connsiteX21570" fmla="*/ 1515261 w 6785952"/>
              <a:gd name="connsiteY21570" fmla="*/ 1046032 h 5217112"/>
              <a:gd name="connsiteX21571" fmla="*/ 1526249 w 6785952"/>
              <a:gd name="connsiteY21571" fmla="*/ 1037313 h 5217112"/>
              <a:gd name="connsiteX21572" fmla="*/ 1534764 w 6785952"/>
              <a:gd name="connsiteY21572" fmla="*/ 1032191 h 5217112"/>
              <a:gd name="connsiteX21573" fmla="*/ 1557014 w 6785952"/>
              <a:gd name="connsiteY21573" fmla="*/ 1028705 h 5217112"/>
              <a:gd name="connsiteX21574" fmla="*/ 1573221 w 6785952"/>
              <a:gd name="connsiteY21574" fmla="*/ 1033935 h 5217112"/>
              <a:gd name="connsiteX21575" fmla="*/ 1574320 w 6785952"/>
              <a:gd name="connsiteY21575" fmla="*/ 1034589 h 5217112"/>
              <a:gd name="connsiteX21576" fmla="*/ 1574045 w 6785952"/>
              <a:gd name="connsiteY21576" fmla="*/ 1031865 h 5217112"/>
              <a:gd name="connsiteX21577" fmla="*/ 1575694 w 6785952"/>
              <a:gd name="connsiteY21577" fmla="*/ 1031756 h 5217112"/>
              <a:gd name="connsiteX21578" fmla="*/ 1575969 w 6785952"/>
              <a:gd name="connsiteY21578" fmla="*/ 1034589 h 5217112"/>
              <a:gd name="connsiteX21579" fmla="*/ 1575419 w 6785952"/>
              <a:gd name="connsiteY21579" fmla="*/ 1035134 h 5217112"/>
              <a:gd name="connsiteX21580" fmla="*/ 1584209 w 6785952"/>
              <a:gd name="connsiteY21580" fmla="*/ 1040256 h 5217112"/>
              <a:gd name="connsiteX21581" fmla="*/ 1588878 w 6785952"/>
              <a:gd name="connsiteY21581" fmla="*/ 1050717 h 5217112"/>
              <a:gd name="connsiteX21582" fmla="*/ 1589153 w 6785952"/>
              <a:gd name="connsiteY21582" fmla="*/ 1052570 h 5217112"/>
              <a:gd name="connsiteX21583" fmla="*/ 1594373 w 6785952"/>
              <a:gd name="connsiteY21583" fmla="*/ 1065646 h 5217112"/>
              <a:gd name="connsiteX21584" fmla="*/ 1594098 w 6785952"/>
              <a:gd name="connsiteY21584" fmla="*/ 1066409 h 5217112"/>
              <a:gd name="connsiteX21585" fmla="*/ 1593548 w 6785952"/>
              <a:gd name="connsiteY21585" fmla="*/ 1068371 h 5217112"/>
              <a:gd name="connsiteX21586" fmla="*/ 1596845 w 6785952"/>
              <a:gd name="connsiteY21586" fmla="*/ 1087005 h 5217112"/>
              <a:gd name="connsiteX21587" fmla="*/ 1594922 w 6785952"/>
              <a:gd name="connsiteY21587" fmla="*/ 1090819 h 5217112"/>
              <a:gd name="connsiteX21588" fmla="*/ 1594098 w 6785952"/>
              <a:gd name="connsiteY21588" fmla="*/ 1094197 h 5217112"/>
              <a:gd name="connsiteX21589" fmla="*/ 1586956 w 6785952"/>
              <a:gd name="connsiteY21589" fmla="*/ 1101389 h 5217112"/>
              <a:gd name="connsiteX21590" fmla="*/ 1586956 w 6785952"/>
              <a:gd name="connsiteY21590" fmla="*/ 1088422 h 5217112"/>
              <a:gd name="connsiteX21591" fmla="*/ 1586132 w 6785952"/>
              <a:gd name="connsiteY21591" fmla="*/ 1090492 h 5217112"/>
              <a:gd name="connsiteX21592" fmla="*/ 1581737 w 6785952"/>
              <a:gd name="connsiteY21592" fmla="*/ 1095832 h 5217112"/>
              <a:gd name="connsiteX21593" fmla="*/ 1579539 w 6785952"/>
              <a:gd name="connsiteY21593" fmla="*/ 1094088 h 5217112"/>
              <a:gd name="connsiteX21594" fmla="*/ 1575969 w 6785952"/>
              <a:gd name="connsiteY21594" fmla="*/ 1098229 h 5217112"/>
              <a:gd name="connsiteX21595" fmla="*/ 1572672 w 6785952"/>
              <a:gd name="connsiteY21595" fmla="*/ 1098556 h 5217112"/>
              <a:gd name="connsiteX21596" fmla="*/ 1572947 w 6785952"/>
              <a:gd name="connsiteY21596" fmla="*/ 1098665 h 5217112"/>
              <a:gd name="connsiteX21597" fmla="*/ 1572122 w 6785952"/>
              <a:gd name="connsiteY21597" fmla="*/ 1106402 h 5217112"/>
              <a:gd name="connsiteX21598" fmla="*/ 1569101 w 6785952"/>
              <a:gd name="connsiteY21598" fmla="*/ 1099646 h 5217112"/>
              <a:gd name="connsiteX21599" fmla="*/ 1563882 w 6785952"/>
              <a:gd name="connsiteY21599" fmla="*/ 1101498 h 5217112"/>
              <a:gd name="connsiteX21600" fmla="*/ 1545751 w 6785952"/>
              <a:gd name="connsiteY21600" fmla="*/ 1112614 h 5217112"/>
              <a:gd name="connsiteX21601" fmla="*/ 1539433 w 6785952"/>
              <a:gd name="connsiteY21601" fmla="*/ 1115665 h 5217112"/>
              <a:gd name="connsiteX21602" fmla="*/ 1537237 w 6785952"/>
              <a:gd name="connsiteY21602" fmla="*/ 1118171 h 5217112"/>
              <a:gd name="connsiteX21603" fmla="*/ 1537511 w 6785952"/>
              <a:gd name="connsiteY21603" fmla="*/ 1118171 h 5217112"/>
              <a:gd name="connsiteX21604" fmla="*/ 1555641 w 6785952"/>
              <a:gd name="connsiteY21604" fmla="*/ 1137023 h 5217112"/>
              <a:gd name="connsiteX21605" fmla="*/ 1554268 w 6785952"/>
              <a:gd name="connsiteY21605" fmla="*/ 1137896 h 5217112"/>
              <a:gd name="connsiteX21606" fmla="*/ 1554817 w 6785952"/>
              <a:gd name="connsiteY21606" fmla="*/ 1139748 h 5217112"/>
              <a:gd name="connsiteX21607" fmla="*/ 1555916 w 6785952"/>
              <a:gd name="connsiteY21607" fmla="*/ 1139966 h 5217112"/>
              <a:gd name="connsiteX21608" fmla="*/ 1557839 w 6785952"/>
              <a:gd name="connsiteY21608" fmla="*/ 1135389 h 5217112"/>
              <a:gd name="connsiteX21609" fmla="*/ 1563882 w 6785952"/>
              <a:gd name="connsiteY21609" fmla="*/ 1133537 h 5217112"/>
              <a:gd name="connsiteX21610" fmla="*/ 1559487 w 6785952"/>
              <a:gd name="connsiteY21610" fmla="*/ 1168626 h 5217112"/>
              <a:gd name="connsiteX21611" fmla="*/ 1556739 w 6785952"/>
              <a:gd name="connsiteY21611" fmla="*/ 1182247 h 5217112"/>
              <a:gd name="connsiteX21612" fmla="*/ 1555916 w 6785952"/>
              <a:gd name="connsiteY21612" fmla="*/ 1182356 h 5217112"/>
              <a:gd name="connsiteX21613" fmla="*/ 1564706 w 6785952"/>
              <a:gd name="connsiteY21613" fmla="*/ 1184318 h 5217112"/>
              <a:gd name="connsiteX21614" fmla="*/ 1565256 w 6785952"/>
              <a:gd name="connsiteY21614" fmla="*/ 1181157 h 5217112"/>
              <a:gd name="connsiteX21615" fmla="*/ 1571573 w 6785952"/>
              <a:gd name="connsiteY21615" fmla="*/ 1187696 h 5217112"/>
              <a:gd name="connsiteX21616" fmla="*/ 1571573 w 6785952"/>
              <a:gd name="connsiteY21616" fmla="*/ 1188132 h 5217112"/>
              <a:gd name="connsiteX21617" fmla="*/ 1577342 w 6785952"/>
              <a:gd name="connsiteY21617" fmla="*/ 1192817 h 5217112"/>
              <a:gd name="connsiteX21618" fmla="*/ 1580089 w 6785952"/>
              <a:gd name="connsiteY21618" fmla="*/ 1182356 h 5217112"/>
              <a:gd name="connsiteX21619" fmla="*/ 1584483 w 6785952"/>
              <a:gd name="connsiteY21619" fmla="*/ 1171895 h 5217112"/>
              <a:gd name="connsiteX21620" fmla="*/ 1595196 w 6785952"/>
              <a:gd name="connsiteY21620" fmla="*/ 1156094 h 5217112"/>
              <a:gd name="connsiteX21621" fmla="*/ 1595746 w 6785952"/>
              <a:gd name="connsiteY21621" fmla="*/ 1156094 h 5217112"/>
              <a:gd name="connsiteX21622" fmla="*/ 1597944 w 6785952"/>
              <a:gd name="connsiteY21622" fmla="*/ 1152498 h 5217112"/>
              <a:gd name="connsiteX21623" fmla="*/ 1610305 w 6785952"/>
              <a:gd name="connsiteY21623" fmla="*/ 1152389 h 5217112"/>
              <a:gd name="connsiteX21624" fmla="*/ 1604811 w 6785952"/>
              <a:gd name="connsiteY21624" fmla="*/ 1160017 h 5217112"/>
              <a:gd name="connsiteX21625" fmla="*/ 1608108 w 6785952"/>
              <a:gd name="connsiteY21625" fmla="*/ 1162741 h 5217112"/>
              <a:gd name="connsiteX21626" fmla="*/ 1610031 w 6785952"/>
              <a:gd name="connsiteY21626" fmla="*/ 1175164 h 5217112"/>
              <a:gd name="connsiteX21627" fmla="*/ 1609481 w 6785952"/>
              <a:gd name="connsiteY21627" fmla="*/ 1176799 h 5217112"/>
              <a:gd name="connsiteX21628" fmla="*/ 1615249 w 6785952"/>
              <a:gd name="connsiteY21628" fmla="*/ 1176581 h 5217112"/>
              <a:gd name="connsiteX21629" fmla="*/ 1615249 w 6785952"/>
              <a:gd name="connsiteY21629" fmla="*/ 1176254 h 5217112"/>
              <a:gd name="connsiteX21630" fmla="*/ 1652333 w 6785952"/>
              <a:gd name="connsiteY21630" fmla="*/ 1148792 h 5217112"/>
              <a:gd name="connsiteX21631" fmla="*/ 1653158 w 6785952"/>
              <a:gd name="connsiteY21631" fmla="*/ 1148902 h 5217112"/>
              <a:gd name="connsiteX21632" fmla="*/ 1653707 w 6785952"/>
              <a:gd name="connsiteY21632" fmla="*/ 1145523 h 5217112"/>
              <a:gd name="connsiteX21633" fmla="*/ 1660299 w 6785952"/>
              <a:gd name="connsiteY21633" fmla="*/ 1140293 h 5217112"/>
              <a:gd name="connsiteX21634" fmla="*/ 1659750 w 6785952"/>
              <a:gd name="connsiteY21634" fmla="*/ 1149011 h 5217112"/>
              <a:gd name="connsiteX21635" fmla="*/ 1659476 w 6785952"/>
              <a:gd name="connsiteY21635" fmla="*/ 1149229 h 5217112"/>
              <a:gd name="connsiteX21636" fmla="*/ 1674034 w 6785952"/>
              <a:gd name="connsiteY21636" fmla="*/ 1150100 h 5217112"/>
              <a:gd name="connsiteX21637" fmla="*/ 1685846 w 6785952"/>
              <a:gd name="connsiteY21637" fmla="*/ 1155440 h 5217112"/>
              <a:gd name="connsiteX21638" fmla="*/ 1688319 w 6785952"/>
              <a:gd name="connsiteY21638" fmla="*/ 1152498 h 5217112"/>
              <a:gd name="connsiteX21639" fmla="*/ 1692713 w 6785952"/>
              <a:gd name="connsiteY21639" fmla="*/ 1154677 h 5217112"/>
              <a:gd name="connsiteX21640" fmla="*/ 1698207 w 6785952"/>
              <a:gd name="connsiteY21640" fmla="*/ 1152825 h 5217112"/>
              <a:gd name="connsiteX21641" fmla="*/ 1699856 w 6785952"/>
              <a:gd name="connsiteY21641" fmla="*/ 1153588 h 5217112"/>
              <a:gd name="connsiteX21642" fmla="*/ 1699856 w 6785952"/>
              <a:gd name="connsiteY21642" fmla="*/ 1152062 h 5217112"/>
              <a:gd name="connsiteX21643" fmla="*/ 1715239 w 6785952"/>
              <a:gd name="connsiteY21643" fmla="*/ 1153479 h 5217112"/>
              <a:gd name="connsiteX21644" fmla="*/ 1709195 w 6785952"/>
              <a:gd name="connsiteY21644" fmla="*/ 1151081 h 5217112"/>
              <a:gd name="connsiteX21645" fmla="*/ 1706723 w 6785952"/>
              <a:gd name="connsiteY21645" fmla="*/ 1146396 h 5217112"/>
              <a:gd name="connsiteX21646" fmla="*/ 1705075 w 6785952"/>
              <a:gd name="connsiteY21646" fmla="*/ 1146940 h 5217112"/>
              <a:gd name="connsiteX21647" fmla="*/ 1689143 w 6785952"/>
              <a:gd name="connsiteY21647" fmla="*/ 1150972 h 5217112"/>
              <a:gd name="connsiteX21648" fmla="*/ 1682000 w 6785952"/>
              <a:gd name="connsiteY21648" fmla="*/ 1146613 h 5217112"/>
              <a:gd name="connsiteX21649" fmla="*/ 1678430 w 6785952"/>
              <a:gd name="connsiteY21649" fmla="*/ 1134191 h 5217112"/>
              <a:gd name="connsiteX21650" fmla="*/ 1672661 w 6785952"/>
              <a:gd name="connsiteY21650" fmla="*/ 1138440 h 5217112"/>
              <a:gd name="connsiteX21651" fmla="*/ 1663596 w 6785952"/>
              <a:gd name="connsiteY21651" fmla="*/ 1125582 h 5217112"/>
              <a:gd name="connsiteX21652" fmla="*/ 1664694 w 6785952"/>
              <a:gd name="connsiteY21652" fmla="*/ 1109344 h 5217112"/>
              <a:gd name="connsiteX21653" fmla="*/ 1678704 w 6785952"/>
              <a:gd name="connsiteY21653" fmla="*/ 1107383 h 5217112"/>
              <a:gd name="connsiteX21654" fmla="*/ 1681176 w 6785952"/>
              <a:gd name="connsiteY21654" fmla="*/ 1132011 h 5217112"/>
              <a:gd name="connsiteX21655" fmla="*/ 1678979 w 6785952"/>
              <a:gd name="connsiteY21655" fmla="*/ 1133754 h 5217112"/>
              <a:gd name="connsiteX21656" fmla="*/ 1690242 w 6785952"/>
              <a:gd name="connsiteY21656" fmla="*/ 1135934 h 5217112"/>
              <a:gd name="connsiteX21657" fmla="*/ 1704251 w 6785952"/>
              <a:gd name="connsiteY21657" fmla="*/ 1135389 h 5217112"/>
              <a:gd name="connsiteX21658" fmla="*/ 1704526 w 6785952"/>
              <a:gd name="connsiteY21658" fmla="*/ 1134191 h 5217112"/>
              <a:gd name="connsiteX21659" fmla="*/ 1702328 w 6785952"/>
              <a:gd name="connsiteY21659" fmla="*/ 1132447 h 5217112"/>
              <a:gd name="connsiteX21660" fmla="*/ 1708921 w 6785952"/>
              <a:gd name="connsiteY21660" fmla="*/ 1127979 h 5217112"/>
              <a:gd name="connsiteX21661" fmla="*/ 1710844 w 6785952"/>
              <a:gd name="connsiteY21661" fmla="*/ 1126236 h 5217112"/>
              <a:gd name="connsiteX21662" fmla="*/ 1704251 w 6785952"/>
              <a:gd name="connsiteY21662" fmla="*/ 1123293 h 5217112"/>
              <a:gd name="connsiteX21663" fmla="*/ 1703976 w 6785952"/>
              <a:gd name="connsiteY21663" fmla="*/ 1120678 h 5217112"/>
              <a:gd name="connsiteX21664" fmla="*/ 1710295 w 6785952"/>
              <a:gd name="connsiteY21664" fmla="*/ 1122639 h 5217112"/>
              <a:gd name="connsiteX21665" fmla="*/ 1712217 w 6785952"/>
              <a:gd name="connsiteY21665" fmla="*/ 1124928 h 5217112"/>
              <a:gd name="connsiteX21666" fmla="*/ 1714414 w 6785952"/>
              <a:gd name="connsiteY21666" fmla="*/ 1122857 h 5217112"/>
              <a:gd name="connsiteX21667" fmla="*/ 1722930 w 6785952"/>
              <a:gd name="connsiteY21667" fmla="*/ 1120787 h 5217112"/>
              <a:gd name="connsiteX21668" fmla="*/ 1735566 w 6785952"/>
              <a:gd name="connsiteY21668" fmla="*/ 1126345 h 5217112"/>
              <a:gd name="connsiteX21669" fmla="*/ 1738313 w 6785952"/>
              <a:gd name="connsiteY21669" fmla="*/ 1137351 h 5217112"/>
              <a:gd name="connsiteX21670" fmla="*/ 1742708 w 6785952"/>
              <a:gd name="connsiteY21670" fmla="*/ 1134844 h 5217112"/>
              <a:gd name="connsiteX21671" fmla="*/ 1773199 w 6785952"/>
              <a:gd name="connsiteY21671" fmla="*/ 1146504 h 5217112"/>
              <a:gd name="connsiteX21672" fmla="*/ 1753971 w 6785952"/>
              <a:gd name="connsiteY21672" fmla="*/ 1147158 h 5217112"/>
              <a:gd name="connsiteX21673" fmla="*/ 1743807 w 6785952"/>
              <a:gd name="connsiteY21673" fmla="*/ 1145306 h 5217112"/>
              <a:gd name="connsiteX21674" fmla="*/ 1737214 w 6785952"/>
              <a:gd name="connsiteY21674" fmla="*/ 1142254 h 5217112"/>
              <a:gd name="connsiteX21675" fmla="*/ 1735017 w 6785952"/>
              <a:gd name="connsiteY21675" fmla="*/ 1148792 h 5217112"/>
              <a:gd name="connsiteX21676" fmla="*/ 1728424 w 6785952"/>
              <a:gd name="connsiteY21676" fmla="*/ 1155004 h 5217112"/>
              <a:gd name="connsiteX21677" fmla="*/ 1722381 w 6785952"/>
              <a:gd name="connsiteY21677" fmla="*/ 1153697 h 5217112"/>
              <a:gd name="connsiteX21678" fmla="*/ 1721557 w 6785952"/>
              <a:gd name="connsiteY21678" fmla="*/ 1154568 h 5217112"/>
              <a:gd name="connsiteX21679" fmla="*/ 1730347 w 6785952"/>
              <a:gd name="connsiteY21679" fmla="*/ 1158273 h 5217112"/>
              <a:gd name="connsiteX21680" fmla="*/ 1741335 w 6785952"/>
              <a:gd name="connsiteY21680" fmla="*/ 1165793 h 5217112"/>
              <a:gd name="connsiteX21681" fmla="*/ 1727326 w 6785952"/>
              <a:gd name="connsiteY21681" fmla="*/ 1178433 h 5217112"/>
              <a:gd name="connsiteX21682" fmla="*/ 1700130 w 6785952"/>
              <a:gd name="connsiteY21682" fmla="*/ 1161434 h 5217112"/>
              <a:gd name="connsiteX21683" fmla="*/ 1699856 w 6785952"/>
              <a:gd name="connsiteY21683" fmla="*/ 1155658 h 5217112"/>
              <a:gd name="connsiteX21684" fmla="*/ 1699032 w 6785952"/>
              <a:gd name="connsiteY21684" fmla="*/ 1155658 h 5217112"/>
              <a:gd name="connsiteX21685" fmla="*/ 1697658 w 6785952"/>
              <a:gd name="connsiteY21685" fmla="*/ 1154895 h 5217112"/>
              <a:gd name="connsiteX21686" fmla="*/ 1692164 w 6785952"/>
              <a:gd name="connsiteY21686" fmla="*/ 1155440 h 5217112"/>
              <a:gd name="connsiteX21687" fmla="*/ 1689143 w 6785952"/>
              <a:gd name="connsiteY21687" fmla="*/ 1156966 h 5217112"/>
              <a:gd name="connsiteX21688" fmla="*/ 1690790 w 6785952"/>
              <a:gd name="connsiteY21688" fmla="*/ 1157620 h 5217112"/>
              <a:gd name="connsiteX21689" fmla="*/ 1705625 w 6785952"/>
              <a:gd name="connsiteY21689" fmla="*/ 1185953 h 5217112"/>
              <a:gd name="connsiteX21690" fmla="*/ 1703426 w 6785952"/>
              <a:gd name="connsiteY21690" fmla="*/ 1200010 h 5217112"/>
              <a:gd name="connsiteX21691" fmla="*/ 1697658 w 6785952"/>
              <a:gd name="connsiteY21691" fmla="*/ 1209599 h 5217112"/>
              <a:gd name="connsiteX21692" fmla="*/ 1700130 w 6785952"/>
              <a:gd name="connsiteY21692" fmla="*/ 1208183 h 5217112"/>
              <a:gd name="connsiteX21693" fmla="*/ 1709470 w 6785952"/>
              <a:gd name="connsiteY21693" fmla="*/ 1213632 h 5217112"/>
              <a:gd name="connsiteX21694" fmla="*/ 1706174 w 6785952"/>
              <a:gd name="connsiteY21694" fmla="*/ 1213850 h 5217112"/>
              <a:gd name="connsiteX21695" fmla="*/ 1702603 w 6785952"/>
              <a:gd name="connsiteY21695" fmla="*/ 1213087 h 5217112"/>
              <a:gd name="connsiteX21696" fmla="*/ 1698757 w 6785952"/>
              <a:gd name="connsiteY21696" fmla="*/ 1212215 h 5217112"/>
              <a:gd name="connsiteX21697" fmla="*/ 1696010 w 6785952"/>
              <a:gd name="connsiteY21697" fmla="*/ 1212542 h 5217112"/>
              <a:gd name="connsiteX21698" fmla="*/ 1694912 w 6785952"/>
              <a:gd name="connsiteY21698" fmla="*/ 1214286 h 5217112"/>
              <a:gd name="connsiteX21699" fmla="*/ 1682000 w 6785952"/>
              <a:gd name="connsiteY21699" fmla="*/ 1225292 h 5217112"/>
              <a:gd name="connsiteX21700" fmla="*/ 1674584 w 6785952"/>
              <a:gd name="connsiteY21700" fmla="*/ 1227580 h 5217112"/>
              <a:gd name="connsiteX21701" fmla="*/ 1676781 w 6785952"/>
              <a:gd name="connsiteY21701" fmla="*/ 1227254 h 5217112"/>
              <a:gd name="connsiteX21702" fmla="*/ 1678430 w 6785952"/>
              <a:gd name="connsiteY21702" fmla="*/ 1226490 h 5217112"/>
              <a:gd name="connsiteX21703" fmla="*/ 1677056 w 6785952"/>
              <a:gd name="connsiteY21703" fmla="*/ 1233683 h 5217112"/>
              <a:gd name="connsiteX21704" fmla="*/ 1674584 w 6785952"/>
              <a:gd name="connsiteY21704" fmla="*/ 1236189 h 5217112"/>
              <a:gd name="connsiteX21705" fmla="*/ 1677606 w 6785952"/>
              <a:gd name="connsiteY21705" fmla="*/ 1236952 h 5217112"/>
              <a:gd name="connsiteX21706" fmla="*/ 1694087 w 6785952"/>
              <a:gd name="connsiteY21706" fmla="*/ 1241093 h 5217112"/>
              <a:gd name="connsiteX21707" fmla="*/ 1704251 w 6785952"/>
              <a:gd name="connsiteY21707" fmla="*/ 1247195 h 5217112"/>
              <a:gd name="connsiteX21708" fmla="*/ 1715513 w 6785952"/>
              <a:gd name="connsiteY21708" fmla="*/ 1255695 h 5217112"/>
              <a:gd name="connsiteX21709" fmla="*/ 1717161 w 6785952"/>
              <a:gd name="connsiteY21709" fmla="*/ 1256458 h 5217112"/>
              <a:gd name="connsiteX21710" fmla="*/ 1719634 w 6785952"/>
              <a:gd name="connsiteY21710" fmla="*/ 1257766 h 5217112"/>
              <a:gd name="connsiteX21711" fmla="*/ 1722106 w 6785952"/>
              <a:gd name="connsiteY21711" fmla="*/ 1255477 h 5217112"/>
              <a:gd name="connsiteX21712" fmla="*/ 1729522 w 6785952"/>
              <a:gd name="connsiteY21712" fmla="*/ 1252426 h 5217112"/>
              <a:gd name="connsiteX21713" fmla="*/ 1733918 w 6785952"/>
              <a:gd name="connsiteY21713" fmla="*/ 1254278 h 5217112"/>
              <a:gd name="connsiteX21714" fmla="*/ 1735291 w 6785952"/>
              <a:gd name="connsiteY21714" fmla="*/ 1256240 h 5217112"/>
              <a:gd name="connsiteX21715" fmla="*/ 1737489 w 6785952"/>
              <a:gd name="connsiteY21715" fmla="*/ 1257003 h 5217112"/>
              <a:gd name="connsiteX21716" fmla="*/ 1752048 w 6785952"/>
              <a:gd name="connsiteY21716" fmla="*/ 1253407 h 5217112"/>
              <a:gd name="connsiteX21717" fmla="*/ 1746279 w 6785952"/>
              <a:gd name="connsiteY21717" fmla="*/ 1252535 h 5217112"/>
              <a:gd name="connsiteX21718" fmla="*/ 1747927 w 6785952"/>
              <a:gd name="connsiteY21718" fmla="*/ 1252644 h 5217112"/>
              <a:gd name="connsiteX21719" fmla="*/ 1747652 w 6785952"/>
              <a:gd name="connsiteY21719" fmla="*/ 1249701 h 5217112"/>
              <a:gd name="connsiteX21720" fmla="*/ 1746279 w 6785952"/>
              <a:gd name="connsiteY21720" fmla="*/ 1249593 h 5217112"/>
              <a:gd name="connsiteX21721" fmla="*/ 1747652 w 6785952"/>
              <a:gd name="connsiteY21721" fmla="*/ 1246651 h 5217112"/>
              <a:gd name="connsiteX21722" fmla="*/ 1757541 w 6785952"/>
              <a:gd name="connsiteY21722" fmla="*/ 1242727 h 5217112"/>
              <a:gd name="connsiteX21723" fmla="*/ 1759190 w 6785952"/>
              <a:gd name="connsiteY21723" fmla="*/ 1247086 h 5217112"/>
              <a:gd name="connsiteX21724" fmla="*/ 1758365 w 6785952"/>
              <a:gd name="connsiteY21724" fmla="*/ 1248939 h 5217112"/>
              <a:gd name="connsiteX21725" fmla="*/ 1760563 w 6785952"/>
              <a:gd name="connsiteY21725" fmla="*/ 1251336 h 5217112"/>
              <a:gd name="connsiteX21726" fmla="*/ 1777594 w 6785952"/>
              <a:gd name="connsiteY21726" fmla="*/ 1247195 h 5217112"/>
              <a:gd name="connsiteX21727" fmla="*/ 1813855 w 6785952"/>
              <a:gd name="connsiteY21727" fmla="*/ 1274220 h 5217112"/>
              <a:gd name="connsiteX21728" fmla="*/ 1818249 w 6785952"/>
              <a:gd name="connsiteY21728" fmla="*/ 1284246 h 5217112"/>
              <a:gd name="connsiteX21729" fmla="*/ 1823194 w 6785952"/>
              <a:gd name="connsiteY21729" fmla="*/ 1285881 h 5217112"/>
              <a:gd name="connsiteX21730" fmla="*/ 1822919 w 6785952"/>
              <a:gd name="connsiteY21730" fmla="*/ 1280650 h 5217112"/>
              <a:gd name="connsiteX21731" fmla="*/ 1841873 w 6785952"/>
              <a:gd name="connsiteY21731" fmla="*/ 1292092 h 5217112"/>
              <a:gd name="connsiteX21732" fmla="*/ 1842972 w 6785952"/>
              <a:gd name="connsiteY21732" fmla="*/ 1293182 h 5217112"/>
              <a:gd name="connsiteX21733" fmla="*/ 1846543 w 6785952"/>
              <a:gd name="connsiteY21733" fmla="*/ 1290240 h 5217112"/>
              <a:gd name="connsiteX21734" fmla="*/ 1847092 w 6785952"/>
              <a:gd name="connsiteY21734" fmla="*/ 1284355 h 5217112"/>
              <a:gd name="connsiteX21735" fmla="*/ 1850938 w 6785952"/>
              <a:gd name="connsiteY21735" fmla="*/ 1281195 h 5217112"/>
              <a:gd name="connsiteX21736" fmla="*/ 1851213 w 6785952"/>
              <a:gd name="connsiteY21736" fmla="*/ 1282721 h 5217112"/>
              <a:gd name="connsiteX21737" fmla="*/ 1848740 w 6785952"/>
              <a:gd name="connsiteY21737" fmla="*/ 1285772 h 5217112"/>
              <a:gd name="connsiteX21738" fmla="*/ 1847367 w 6785952"/>
              <a:gd name="connsiteY21738" fmla="*/ 1296234 h 5217112"/>
              <a:gd name="connsiteX21739" fmla="*/ 1847092 w 6785952"/>
              <a:gd name="connsiteY21739" fmla="*/ 1296452 h 5217112"/>
              <a:gd name="connsiteX21740" fmla="*/ 1847642 w 6785952"/>
              <a:gd name="connsiteY21740" fmla="*/ 1296997 h 5217112"/>
              <a:gd name="connsiteX21741" fmla="*/ 1857531 w 6785952"/>
              <a:gd name="connsiteY21741" fmla="*/ 1297868 h 5217112"/>
              <a:gd name="connsiteX21742" fmla="*/ 1859728 w 6785952"/>
              <a:gd name="connsiteY21742" fmla="*/ 1299938 h 5217112"/>
              <a:gd name="connsiteX21743" fmla="*/ 1857531 w 6785952"/>
              <a:gd name="connsiteY21743" fmla="*/ 1301900 h 5217112"/>
              <a:gd name="connsiteX21744" fmla="*/ 1854234 w 6785952"/>
              <a:gd name="connsiteY21744" fmla="*/ 1300266 h 5217112"/>
              <a:gd name="connsiteX21745" fmla="*/ 1858904 w 6785952"/>
              <a:gd name="connsiteY21745" fmla="*/ 1305496 h 5217112"/>
              <a:gd name="connsiteX21746" fmla="*/ 1860552 w 6785952"/>
              <a:gd name="connsiteY21746" fmla="*/ 1306368 h 5217112"/>
              <a:gd name="connsiteX21747" fmla="*/ 1863848 w 6785952"/>
              <a:gd name="connsiteY21747" fmla="*/ 1308003 h 5217112"/>
              <a:gd name="connsiteX21748" fmla="*/ 1870716 w 6785952"/>
              <a:gd name="connsiteY21748" fmla="*/ 1304406 h 5217112"/>
              <a:gd name="connsiteX21749" fmla="*/ 1891318 w 6785952"/>
              <a:gd name="connsiteY21749" fmla="*/ 1312580 h 5217112"/>
              <a:gd name="connsiteX21750" fmla="*/ 1895439 w 6785952"/>
              <a:gd name="connsiteY21750" fmla="*/ 1314105 h 5217112"/>
              <a:gd name="connsiteX21751" fmla="*/ 1895713 w 6785952"/>
              <a:gd name="connsiteY21751" fmla="*/ 1313560 h 5217112"/>
              <a:gd name="connsiteX21752" fmla="*/ 1895713 w 6785952"/>
              <a:gd name="connsiteY21752" fmla="*/ 1313451 h 5217112"/>
              <a:gd name="connsiteX21753" fmla="*/ 1896537 w 6785952"/>
              <a:gd name="connsiteY21753" fmla="*/ 1311163 h 5217112"/>
              <a:gd name="connsiteX21754" fmla="*/ 1897086 w 6785952"/>
              <a:gd name="connsiteY21754" fmla="*/ 1310400 h 5217112"/>
              <a:gd name="connsiteX21755" fmla="*/ 1898734 w 6785952"/>
              <a:gd name="connsiteY21755" fmla="*/ 1306913 h 5217112"/>
              <a:gd name="connsiteX21756" fmla="*/ 1898460 w 6785952"/>
              <a:gd name="connsiteY21756" fmla="*/ 1305169 h 5217112"/>
              <a:gd name="connsiteX21757" fmla="*/ 1901207 w 6785952"/>
              <a:gd name="connsiteY21757" fmla="*/ 1300375 h 5217112"/>
              <a:gd name="connsiteX21758" fmla="*/ 1902855 w 6785952"/>
              <a:gd name="connsiteY21758" fmla="*/ 1293074 h 5217112"/>
              <a:gd name="connsiteX21759" fmla="*/ 1900108 w 6785952"/>
              <a:gd name="connsiteY21759" fmla="*/ 1292964 h 5217112"/>
              <a:gd name="connsiteX21760" fmla="*/ 1895988 w 6785952"/>
              <a:gd name="connsiteY21760" fmla="*/ 1290458 h 5217112"/>
              <a:gd name="connsiteX21761" fmla="*/ 1894339 w 6785952"/>
              <a:gd name="connsiteY21761" fmla="*/ 1287407 h 5217112"/>
              <a:gd name="connsiteX21762" fmla="*/ 1894064 w 6785952"/>
              <a:gd name="connsiteY21762" fmla="*/ 1290131 h 5217112"/>
              <a:gd name="connsiteX21763" fmla="*/ 1888296 w 6785952"/>
              <a:gd name="connsiteY21763" fmla="*/ 1287733 h 5217112"/>
              <a:gd name="connsiteX21764" fmla="*/ 1887197 w 6785952"/>
              <a:gd name="connsiteY21764" fmla="*/ 1283048 h 5217112"/>
              <a:gd name="connsiteX21765" fmla="*/ 1888570 w 6785952"/>
              <a:gd name="connsiteY21765" fmla="*/ 1283266 h 5217112"/>
              <a:gd name="connsiteX21766" fmla="*/ 1893515 w 6785952"/>
              <a:gd name="connsiteY21766" fmla="*/ 1282830 h 5217112"/>
              <a:gd name="connsiteX21767" fmla="*/ 1892966 w 6785952"/>
              <a:gd name="connsiteY21767" fmla="*/ 1277817 h 5217112"/>
              <a:gd name="connsiteX21768" fmla="*/ 1893790 w 6785952"/>
              <a:gd name="connsiteY21768" fmla="*/ 1275311 h 5217112"/>
              <a:gd name="connsiteX21769" fmla="*/ 1893240 w 6785952"/>
              <a:gd name="connsiteY21769" fmla="*/ 1273021 h 5217112"/>
              <a:gd name="connsiteX21770" fmla="*/ 1884176 w 6785952"/>
              <a:gd name="connsiteY21770" fmla="*/ 1275311 h 5217112"/>
              <a:gd name="connsiteX21771" fmla="*/ 1874013 w 6785952"/>
              <a:gd name="connsiteY21771" fmla="*/ 1276618 h 5217112"/>
              <a:gd name="connsiteX21772" fmla="*/ 1873463 w 6785952"/>
              <a:gd name="connsiteY21772" fmla="*/ 1276291 h 5217112"/>
              <a:gd name="connsiteX21773" fmla="*/ 1873463 w 6785952"/>
              <a:gd name="connsiteY21773" fmla="*/ 1276727 h 5217112"/>
              <a:gd name="connsiteX21774" fmla="*/ 1872914 w 6785952"/>
              <a:gd name="connsiteY21774" fmla="*/ 1276182 h 5217112"/>
              <a:gd name="connsiteX21775" fmla="*/ 1870166 w 6785952"/>
              <a:gd name="connsiteY21775" fmla="*/ 1275202 h 5217112"/>
              <a:gd name="connsiteX21776" fmla="*/ 1874013 w 6785952"/>
              <a:gd name="connsiteY21776" fmla="*/ 1272041 h 5217112"/>
              <a:gd name="connsiteX21777" fmla="*/ 1875935 w 6785952"/>
              <a:gd name="connsiteY21777" fmla="*/ 1271496 h 5217112"/>
              <a:gd name="connsiteX21778" fmla="*/ 1876759 w 6785952"/>
              <a:gd name="connsiteY21778" fmla="*/ 1270189 h 5217112"/>
              <a:gd name="connsiteX21779" fmla="*/ 1877858 w 6785952"/>
              <a:gd name="connsiteY21779" fmla="*/ 1270951 h 5217112"/>
              <a:gd name="connsiteX21780" fmla="*/ 1881978 w 6785952"/>
              <a:gd name="connsiteY21780" fmla="*/ 1269861 h 5217112"/>
              <a:gd name="connsiteX21781" fmla="*/ 1890219 w 6785952"/>
              <a:gd name="connsiteY21781" fmla="*/ 1264413 h 5217112"/>
              <a:gd name="connsiteX21782" fmla="*/ 1900383 w 6785952"/>
              <a:gd name="connsiteY21782" fmla="*/ 1263650 h 5217112"/>
              <a:gd name="connsiteX21783" fmla="*/ 1901207 w 6785952"/>
              <a:gd name="connsiteY21783" fmla="*/ 1267682 h 5217112"/>
              <a:gd name="connsiteX21784" fmla="*/ 1905052 w 6785952"/>
              <a:gd name="connsiteY21784" fmla="*/ 1266592 h 5217112"/>
              <a:gd name="connsiteX21785" fmla="*/ 1919062 w 6785952"/>
              <a:gd name="connsiteY21785" fmla="*/ 1277381 h 5217112"/>
              <a:gd name="connsiteX21786" fmla="*/ 1918513 w 6785952"/>
              <a:gd name="connsiteY21786" fmla="*/ 1286099 h 5217112"/>
              <a:gd name="connsiteX21787" fmla="*/ 1914941 w 6785952"/>
              <a:gd name="connsiteY21787" fmla="*/ 1290894 h 5217112"/>
              <a:gd name="connsiteX21788" fmla="*/ 1914667 w 6785952"/>
              <a:gd name="connsiteY21788" fmla="*/ 1291002 h 5217112"/>
              <a:gd name="connsiteX21789" fmla="*/ 1915491 w 6785952"/>
              <a:gd name="connsiteY21789" fmla="*/ 1300592 h 5217112"/>
              <a:gd name="connsiteX21790" fmla="*/ 1911096 w 6785952"/>
              <a:gd name="connsiteY21790" fmla="*/ 1311598 h 5217112"/>
              <a:gd name="connsiteX21791" fmla="*/ 1907250 w 6785952"/>
              <a:gd name="connsiteY21791" fmla="*/ 1313015 h 5217112"/>
              <a:gd name="connsiteX21792" fmla="*/ 1910546 w 6785952"/>
              <a:gd name="connsiteY21792" fmla="*/ 1317048 h 5217112"/>
              <a:gd name="connsiteX21793" fmla="*/ 1910821 w 6785952"/>
              <a:gd name="connsiteY21793" fmla="*/ 1319444 h 5217112"/>
              <a:gd name="connsiteX21794" fmla="*/ 1913293 w 6785952"/>
              <a:gd name="connsiteY21794" fmla="*/ 1320426 h 5217112"/>
              <a:gd name="connsiteX21795" fmla="*/ 1916590 w 6785952"/>
              <a:gd name="connsiteY21795" fmla="*/ 1318028 h 5217112"/>
              <a:gd name="connsiteX21796" fmla="*/ 1936368 w 6785952"/>
              <a:gd name="connsiteY21796" fmla="*/ 1331868 h 5217112"/>
              <a:gd name="connsiteX21797" fmla="*/ 1953398 w 6785952"/>
              <a:gd name="connsiteY21797" fmla="*/ 1345271 h 5217112"/>
              <a:gd name="connsiteX21798" fmla="*/ 1974825 w 6785952"/>
              <a:gd name="connsiteY21798" fmla="*/ 1355951 h 5217112"/>
              <a:gd name="connsiteX21799" fmla="*/ 1998174 w 6785952"/>
              <a:gd name="connsiteY21799" fmla="*/ 1367392 h 5217112"/>
              <a:gd name="connsiteX21800" fmla="*/ 2008338 w 6785952"/>
              <a:gd name="connsiteY21800" fmla="*/ 1378835 h 5217112"/>
              <a:gd name="connsiteX21801" fmla="*/ 2016853 w 6785952"/>
              <a:gd name="connsiteY21801" fmla="*/ 1388207 h 5217112"/>
              <a:gd name="connsiteX21802" fmla="*/ 2019601 w 6785952"/>
              <a:gd name="connsiteY21802" fmla="*/ 1389078 h 5217112"/>
              <a:gd name="connsiteX21803" fmla="*/ 2029489 w 6785952"/>
              <a:gd name="connsiteY21803" fmla="*/ 1393328 h 5217112"/>
              <a:gd name="connsiteX21804" fmla="*/ 2030863 w 6785952"/>
              <a:gd name="connsiteY21804" fmla="*/ 1394854 h 5217112"/>
              <a:gd name="connsiteX21805" fmla="*/ 2031412 w 6785952"/>
              <a:gd name="connsiteY21805" fmla="*/ 1395180 h 5217112"/>
              <a:gd name="connsiteX21806" fmla="*/ 2033060 w 6785952"/>
              <a:gd name="connsiteY21806" fmla="*/ 1398015 h 5217112"/>
              <a:gd name="connsiteX21807" fmla="*/ 2033060 w 6785952"/>
              <a:gd name="connsiteY21807" fmla="*/ 1398123 h 5217112"/>
              <a:gd name="connsiteX21808" fmla="*/ 2034983 w 6785952"/>
              <a:gd name="connsiteY21808" fmla="*/ 1393547 h 5217112"/>
              <a:gd name="connsiteX21809" fmla="*/ 2042675 w 6785952"/>
              <a:gd name="connsiteY21809" fmla="*/ 1394200 h 5217112"/>
              <a:gd name="connsiteX21810" fmla="*/ 2048169 w 6785952"/>
              <a:gd name="connsiteY21810" fmla="*/ 1399431 h 5217112"/>
              <a:gd name="connsiteX21811" fmla="*/ 2048718 w 6785952"/>
              <a:gd name="connsiteY21811" fmla="*/ 1398995 h 5217112"/>
              <a:gd name="connsiteX21812" fmla="*/ 2049542 w 6785952"/>
              <a:gd name="connsiteY21812" fmla="*/ 1395834 h 5217112"/>
              <a:gd name="connsiteX21813" fmla="*/ 2058882 w 6785952"/>
              <a:gd name="connsiteY21813" fmla="*/ 1378617 h 5217112"/>
              <a:gd name="connsiteX21814" fmla="*/ 2054761 w 6785952"/>
              <a:gd name="connsiteY21814" fmla="*/ 1378181 h 5217112"/>
              <a:gd name="connsiteX21815" fmla="*/ 2051464 w 6785952"/>
              <a:gd name="connsiteY21815" fmla="*/ 1377527 h 5217112"/>
              <a:gd name="connsiteX21816" fmla="*/ 2046795 w 6785952"/>
              <a:gd name="connsiteY21816" fmla="*/ 1368700 h 5217112"/>
              <a:gd name="connsiteX21817" fmla="*/ 2052289 w 6785952"/>
              <a:gd name="connsiteY21817" fmla="*/ 1362380 h 5217112"/>
              <a:gd name="connsiteX21818" fmla="*/ 2059431 w 6785952"/>
              <a:gd name="connsiteY21818" fmla="*/ 1359874 h 5217112"/>
              <a:gd name="connsiteX21819" fmla="*/ 2066298 w 6785952"/>
              <a:gd name="connsiteY21819" fmla="*/ 1368700 h 5217112"/>
              <a:gd name="connsiteX21820" fmla="*/ 2065474 w 6785952"/>
              <a:gd name="connsiteY21820" fmla="*/ 1372842 h 5217112"/>
              <a:gd name="connsiteX21821" fmla="*/ 2074814 w 6785952"/>
              <a:gd name="connsiteY21821" fmla="*/ 1365431 h 5217112"/>
              <a:gd name="connsiteX21822" fmla="*/ 2132774 w 6785952"/>
              <a:gd name="connsiteY21822" fmla="*/ 1371752 h 5217112"/>
              <a:gd name="connsiteX21823" fmla="*/ 2155025 w 6785952"/>
              <a:gd name="connsiteY21823" fmla="*/ 1399648 h 5217112"/>
              <a:gd name="connsiteX21824" fmla="*/ 2157223 w 6785952"/>
              <a:gd name="connsiteY21824" fmla="*/ 1444546 h 5217112"/>
              <a:gd name="connsiteX21825" fmla="*/ 2140466 w 6785952"/>
              <a:gd name="connsiteY21825" fmla="*/ 1462635 h 5217112"/>
              <a:gd name="connsiteX21826" fmla="*/ 2131676 w 6785952"/>
              <a:gd name="connsiteY21826" fmla="*/ 1472224 h 5217112"/>
              <a:gd name="connsiteX21827" fmla="*/ 2131126 w 6785952"/>
              <a:gd name="connsiteY21827" fmla="*/ 1476692 h 5217112"/>
              <a:gd name="connsiteX21828" fmla="*/ 2127280 w 6785952"/>
              <a:gd name="connsiteY21828" fmla="*/ 1477020 h 5217112"/>
              <a:gd name="connsiteX21829" fmla="*/ 2123710 w 6785952"/>
              <a:gd name="connsiteY21829" fmla="*/ 1480725 h 5217112"/>
              <a:gd name="connsiteX21830" fmla="*/ 2121786 w 6785952"/>
              <a:gd name="connsiteY21830" fmla="*/ 1480398 h 5217112"/>
              <a:gd name="connsiteX21831" fmla="*/ 2135796 w 6785952"/>
              <a:gd name="connsiteY21831" fmla="*/ 1507968 h 5217112"/>
              <a:gd name="connsiteX21832" fmla="*/ 2136895 w 6785952"/>
              <a:gd name="connsiteY21832" fmla="*/ 1510474 h 5217112"/>
              <a:gd name="connsiteX21833" fmla="*/ 2139093 w 6785952"/>
              <a:gd name="connsiteY21833" fmla="*/ 1513634 h 5217112"/>
              <a:gd name="connsiteX21834" fmla="*/ 2149256 w 6785952"/>
              <a:gd name="connsiteY21834" fmla="*/ 1513525 h 5217112"/>
              <a:gd name="connsiteX21835" fmla="*/ 2149806 w 6785952"/>
              <a:gd name="connsiteY21835" fmla="*/ 1513308 h 5217112"/>
              <a:gd name="connsiteX21836" fmla="*/ 2157223 w 6785952"/>
              <a:gd name="connsiteY21836" fmla="*/ 1505353 h 5217112"/>
              <a:gd name="connsiteX21837" fmla="*/ 2158870 w 6785952"/>
              <a:gd name="connsiteY21837" fmla="*/ 1504481 h 5217112"/>
              <a:gd name="connsiteX21838" fmla="*/ 2155575 w 6785952"/>
              <a:gd name="connsiteY21838" fmla="*/ 1497725 h 5217112"/>
              <a:gd name="connsiteX21839" fmla="*/ 2163815 w 6785952"/>
              <a:gd name="connsiteY21839" fmla="*/ 1500775 h 5217112"/>
              <a:gd name="connsiteX21840" fmla="*/ 2166562 w 6785952"/>
              <a:gd name="connsiteY21840" fmla="*/ 1503609 h 5217112"/>
              <a:gd name="connsiteX21841" fmla="*/ 2173704 w 6785952"/>
              <a:gd name="connsiteY21841" fmla="*/ 1507532 h 5217112"/>
              <a:gd name="connsiteX21842" fmla="*/ 2176726 w 6785952"/>
              <a:gd name="connsiteY21842" fmla="*/ 1507096 h 5217112"/>
              <a:gd name="connsiteX21843" fmla="*/ 2178649 w 6785952"/>
              <a:gd name="connsiteY21843" fmla="*/ 1507750 h 5217112"/>
              <a:gd name="connsiteX21844" fmla="*/ 2183593 w 6785952"/>
              <a:gd name="connsiteY21844" fmla="*/ 1498270 h 5217112"/>
              <a:gd name="connsiteX21845" fmla="*/ 2191010 w 6785952"/>
              <a:gd name="connsiteY21845" fmla="*/ 1490096 h 5217112"/>
              <a:gd name="connsiteX21846" fmla="*/ 2191010 w 6785952"/>
              <a:gd name="connsiteY21846" fmla="*/ 1494782 h 5217112"/>
              <a:gd name="connsiteX21847" fmla="*/ 2190186 w 6785952"/>
              <a:gd name="connsiteY21847" fmla="*/ 1496852 h 5217112"/>
              <a:gd name="connsiteX21848" fmla="*/ 2190460 w 6785952"/>
              <a:gd name="connsiteY21848" fmla="*/ 1498270 h 5217112"/>
              <a:gd name="connsiteX21849" fmla="*/ 2189087 w 6785952"/>
              <a:gd name="connsiteY21849" fmla="*/ 1498814 h 5217112"/>
              <a:gd name="connsiteX21850" fmla="*/ 2187439 w 6785952"/>
              <a:gd name="connsiteY21850" fmla="*/ 1502628 h 5217112"/>
              <a:gd name="connsiteX21851" fmla="*/ 2185791 w 6785952"/>
              <a:gd name="connsiteY21851" fmla="*/ 1512545 h 5217112"/>
              <a:gd name="connsiteX21852" fmla="*/ 2185516 w 6785952"/>
              <a:gd name="connsiteY21852" fmla="*/ 1513199 h 5217112"/>
              <a:gd name="connsiteX21853" fmla="*/ 2188263 w 6785952"/>
              <a:gd name="connsiteY21853" fmla="*/ 1517557 h 5217112"/>
              <a:gd name="connsiteX21854" fmla="*/ 2187439 w 6785952"/>
              <a:gd name="connsiteY21854" fmla="*/ 1528455 h 5217112"/>
              <a:gd name="connsiteX21855" fmla="*/ 2188263 w 6785952"/>
              <a:gd name="connsiteY21855" fmla="*/ 1530307 h 5217112"/>
              <a:gd name="connsiteX21856" fmla="*/ 2189362 w 6785952"/>
              <a:gd name="connsiteY21856" fmla="*/ 1543493 h 5217112"/>
              <a:gd name="connsiteX21857" fmla="*/ 2195130 w 6785952"/>
              <a:gd name="connsiteY21857" fmla="*/ 1548397 h 5217112"/>
              <a:gd name="connsiteX21858" fmla="*/ 2196778 w 6785952"/>
              <a:gd name="connsiteY21858" fmla="*/ 1550358 h 5217112"/>
              <a:gd name="connsiteX21859" fmla="*/ 2209414 w 6785952"/>
              <a:gd name="connsiteY21859" fmla="*/ 1551121 h 5217112"/>
              <a:gd name="connsiteX21860" fmla="*/ 2229467 w 6785952"/>
              <a:gd name="connsiteY21860" fmla="*/ 1558422 h 5217112"/>
              <a:gd name="connsiteX21861" fmla="*/ 2220127 w 6785952"/>
              <a:gd name="connsiteY21861" fmla="*/ 1564743 h 5217112"/>
              <a:gd name="connsiteX21862" fmla="*/ 2210514 w 6785952"/>
              <a:gd name="connsiteY21862" fmla="*/ 1563871 h 5217112"/>
              <a:gd name="connsiteX21863" fmla="*/ 2203371 w 6785952"/>
              <a:gd name="connsiteY21863" fmla="*/ 1561038 h 5217112"/>
              <a:gd name="connsiteX21864" fmla="*/ 2204745 w 6785952"/>
              <a:gd name="connsiteY21864" fmla="*/ 1564198 h 5217112"/>
              <a:gd name="connsiteX21865" fmla="*/ 2202821 w 6785952"/>
              <a:gd name="connsiteY21865" fmla="*/ 1566269 h 5217112"/>
              <a:gd name="connsiteX21866" fmla="*/ 2200899 w 6785952"/>
              <a:gd name="connsiteY21866" fmla="*/ 1565396 h 5217112"/>
              <a:gd name="connsiteX21867" fmla="*/ 2198976 w 6785952"/>
              <a:gd name="connsiteY21867" fmla="*/ 1563326 h 5217112"/>
              <a:gd name="connsiteX21868" fmla="*/ 2194307 w 6785952"/>
              <a:gd name="connsiteY21868" fmla="*/ 1555153 h 5217112"/>
              <a:gd name="connsiteX21869" fmla="*/ 2186614 w 6785952"/>
              <a:gd name="connsiteY21869" fmla="*/ 1549705 h 5217112"/>
              <a:gd name="connsiteX21870" fmla="*/ 2190186 w 6785952"/>
              <a:gd name="connsiteY21870" fmla="*/ 1549922 h 5217112"/>
              <a:gd name="connsiteX21871" fmla="*/ 2186065 w 6785952"/>
              <a:gd name="connsiteY21871" fmla="*/ 1545890 h 5217112"/>
              <a:gd name="connsiteX21872" fmla="*/ 2185241 w 6785952"/>
              <a:gd name="connsiteY21872" fmla="*/ 1543493 h 5217112"/>
              <a:gd name="connsiteX21873" fmla="*/ 2182220 w 6785952"/>
              <a:gd name="connsiteY21873" fmla="*/ 1539243 h 5217112"/>
              <a:gd name="connsiteX21874" fmla="*/ 2176176 w 6785952"/>
              <a:gd name="connsiteY21874" fmla="*/ 1542076 h 5217112"/>
              <a:gd name="connsiteX21875" fmla="*/ 2178374 w 6785952"/>
              <a:gd name="connsiteY21875" fmla="*/ 1547089 h 5217112"/>
              <a:gd name="connsiteX21876" fmla="*/ 2178923 w 6785952"/>
              <a:gd name="connsiteY21876" fmla="*/ 1545454 h 5217112"/>
              <a:gd name="connsiteX21877" fmla="*/ 2192383 w 6785952"/>
              <a:gd name="connsiteY21877" fmla="*/ 1568121 h 5217112"/>
              <a:gd name="connsiteX21878" fmla="*/ 2202547 w 6785952"/>
              <a:gd name="connsiteY21878" fmla="*/ 1576076 h 5217112"/>
              <a:gd name="connsiteX21879" fmla="*/ 2203645 w 6785952"/>
              <a:gd name="connsiteY21879" fmla="*/ 1574986 h 5217112"/>
              <a:gd name="connsiteX21880" fmla="*/ 2220677 w 6785952"/>
              <a:gd name="connsiteY21880" fmla="*/ 1571063 h 5217112"/>
              <a:gd name="connsiteX21881" fmla="*/ 2215733 w 6785952"/>
              <a:gd name="connsiteY21881" fmla="*/ 1578473 h 5217112"/>
              <a:gd name="connsiteX21882" fmla="*/ 2207217 w 6785952"/>
              <a:gd name="connsiteY21882" fmla="*/ 1584031 h 5217112"/>
              <a:gd name="connsiteX21883" fmla="*/ 2208315 w 6785952"/>
              <a:gd name="connsiteY21883" fmla="*/ 1585992 h 5217112"/>
              <a:gd name="connsiteX21884" fmla="*/ 2221501 w 6785952"/>
              <a:gd name="connsiteY21884" fmla="*/ 1608768 h 5217112"/>
              <a:gd name="connsiteX21885" fmla="*/ 2216007 w 6785952"/>
              <a:gd name="connsiteY21885" fmla="*/ 1584794 h 5217112"/>
              <a:gd name="connsiteX21886" fmla="*/ 2234961 w 6785952"/>
              <a:gd name="connsiteY21886" fmla="*/ 1604409 h 5217112"/>
              <a:gd name="connsiteX21887" fmla="*/ 2252541 w 6785952"/>
              <a:gd name="connsiteY21887" fmla="*/ 1631108 h 5217112"/>
              <a:gd name="connsiteX21888" fmla="*/ 2264628 w 6785952"/>
              <a:gd name="connsiteY21888" fmla="*/ 1654209 h 5217112"/>
              <a:gd name="connsiteX21889" fmla="*/ 2267233 w 6785952"/>
              <a:gd name="connsiteY21889" fmla="*/ 1656722 h 5217112"/>
              <a:gd name="connsiteX21890" fmla="*/ 2272730 w 6785952"/>
              <a:gd name="connsiteY21890" fmla="*/ 1653188 h 5217112"/>
              <a:gd name="connsiteX21891" fmla="*/ 2282302 w 6785952"/>
              <a:gd name="connsiteY21891" fmla="*/ 1636860 h 5217112"/>
              <a:gd name="connsiteX21892" fmla="*/ 2297339 w 6785952"/>
              <a:gd name="connsiteY21892" fmla="*/ 1612691 h 5217112"/>
              <a:gd name="connsiteX21893" fmla="*/ 2297592 w 6785952"/>
              <a:gd name="connsiteY21893" fmla="*/ 1596890 h 5217112"/>
              <a:gd name="connsiteX21894" fmla="*/ 2296218 w 6785952"/>
              <a:gd name="connsiteY21894" fmla="*/ 1596345 h 5217112"/>
              <a:gd name="connsiteX21895" fmla="*/ 2292922 w 6785952"/>
              <a:gd name="connsiteY21895" fmla="*/ 1589916 h 5217112"/>
              <a:gd name="connsiteX21896" fmla="*/ 2293746 w 6785952"/>
              <a:gd name="connsiteY21896" fmla="*/ 1591223 h 5217112"/>
              <a:gd name="connsiteX21897" fmla="*/ 2295943 w 6785952"/>
              <a:gd name="connsiteY21897" fmla="*/ 1589698 h 5217112"/>
              <a:gd name="connsiteX21898" fmla="*/ 2295119 w 6785952"/>
              <a:gd name="connsiteY21898" fmla="*/ 1588390 h 5217112"/>
              <a:gd name="connsiteX21899" fmla="*/ 2296493 w 6785952"/>
              <a:gd name="connsiteY21899" fmla="*/ 1588935 h 5217112"/>
              <a:gd name="connsiteX21900" fmla="*/ 2296493 w 6785952"/>
              <a:gd name="connsiteY21900" fmla="*/ 1581524 h 5217112"/>
              <a:gd name="connsiteX21901" fmla="*/ 2300613 w 6785952"/>
              <a:gd name="connsiteY21901" fmla="*/ 1579454 h 5217112"/>
              <a:gd name="connsiteX21902" fmla="*/ 2300888 w 6785952"/>
              <a:gd name="connsiteY21902" fmla="*/ 1577710 h 5217112"/>
              <a:gd name="connsiteX21903" fmla="*/ 2301162 w 6785952"/>
              <a:gd name="connsiteY21903" fmla="*/ 1576403 h 5217112"/>
              <a:gd name="connsiteX21904" fmla="*/ 2300064 w 6785952"/>
              <a:gd name="connsiteY21904" fmla="*/ 1576839 h 5217112"/>
              <a:gd name="connsiteX21905" fmla="*/ 2290999 w 6785952"/>
              <a:gd name="connsiteY21905" fmla="*/ 1575314 h 5217112"/>
              <a:gd name="connsiteX21906" fmla="*/ 2297317 w 6785952"/>
              <a:gd name="connsiteY21906" fmla="*/ 1559730 h 5217112"/>
              <a:gd name="connsiteX21907" fmla="*/ 2300338 w 6785952"/>
              <a:gd name="connsiteY21907" fmla="*/ 1559621 h 5217112"/>
              <a:gd name="connsiteX21908" fmla="*/ 2295394 w 6785952"/>
              <a:gd name="connsiteY21908" fmla="*/ 1551884 h 5217112"/>
              <a:gd name="connsiteX21909" fmla="*/ 2295394 w 6785952"/>
              <a:gd name="connsiteY21909" fmla="*/ 1545673 h 5217112"/>
              <a:gd name="connsiteX21910" fmla="*/ 2305008 w 6785952"/>
              <a:gd name="connsiteY21910" fmla="*/ 1537608 h 5217112"/>
              <a:gd name="connsiteX21911" fmla="*/ 2318469 w 6785952"/>
              <a:gd name="connsiteY21911" fmla="*/ 1547852 h 5217112"/>
              <a:gd name="connsiteX21912" fmla="*/ 2317644 w 6785952"/>
              <a:gd name="connsiteY21912" fmla="*/ 1551993 h 5217112"/>
              <a:gd name="connsiteX21913" fmla="*/ 2321215 w 6785952"/>
              <a:gd name="connsiteY21913" fmla="*/ 1545673 h 5217112"/>
              <a:gd name="connsiteX21914" fmla="*/ 2326160 w 6785952"/>
              <a:gd name="connsiteY21914" fmla="*/ 1523551 h 5217112"/>
              <a:gd name="connsiteX21915" fmla="*/ 2333851 w 6785952"/>
              <a:gd name="connsiteY21915" fmla="*/ 1509930 h 5217112"/>
              <a:gd name="connsiteX21916" fmla="*/ 2332203 w 6785952"/>
              <a:gd name="connsiteY21916" fmla="*/ 1508077 h 5217112"/>
              <a:gd name="connsiteX21917" fmla="*/ 2328632 w 6785952"/>
              <a:gd name="connsiteY21917" fmla="*/ 1503282 h 5217112"/>
              <a:gd name="connsiteX21918" fmla="*/ 2331104 w 6785952"/>
              <a:gd name="connsiteY21918" fmla="*/ 1500231 h 5217112"/>
              <a:gd name="connsiteX21919" fmla="*/ 2327808 w 6785952"/>
              <a:gd name="connsiteY21919" fmla="*/ 1497506 h 5217112"/>
              <a:gd name="connsiteX21920" fmla="*/ 2326709 w 6785952"/>
              <a:gd name="connsiteY21920" fmla="*/ 1478328 h 5217112"/>
              <a:gd name="connsiteX21921" fmla="*/ 2333027 w 6785952"/>
              <a:gd name="connsiteY21921" fmla="*/ 1473532 h 5217112"/>
              <a:gd name="connsiteX21922" fmla="*/ 2343465 w 6785952"/>
              <a:gd name="connsiteY21922" fmla="*/ 1475930 h 5217112"/>
              <a:gd name="connsiteX21923" fmla="*/ 2346762 w 6785952"/>
              <a:gd name="connsiteY21923" fmla="*/ 1481052 h 5217112"/>
              <a:gd name="connsiteX21924" fmla="*/ 2349783 w 6785952"/>
              <a:gd name="connsiteY21924" fmla="*/ 1478763 h 5217112"/>
              <a:gd name="connsiteX21925" fmla="*/ 2351157 w 6785952"/>
              <a:gd name="connsiteY21925" fmla="*/ 1478328 h 5217112"/>
              <a:gd name="connsiteX21926" fmla="*/ 2355277 w 6785952"/>
              <a:gd name="connsiteY21926" fmla="*/ 1470808 h 5217112"/>
              <a:gd name="connsiteX21927" fmla="*/ 2352531 w 6785952"/>
              <a:gd name="connsiteY21927" fmla="*/ 1469828 h 5217112"/>
              <a:gd name="connsiteX21928" fmla="*/ 2346487 w 6785952"/>
              <a:gd name="connsiteY21928" fmla="*/ 1464161 h 5217112"/>
              <a:gd name="connsiteX21929" fmla="*/ 2345664 w 6785952"/>
              <a:gd name="connsiteY21929" fmla="*/ 1465469 h 5217112"/>
              <a:gd name="connsiteX21930" fmla="*/ 2349234 w 6785952"/>
              <a:gd name="connsiteY21930" fmla="*/ 1456969 h 5217112"/>
              <a:gd name="connsiteX21931" fmla="*/ 2361321 w 6785952"/>
              <a:gd name="connsiteY21931" fmla="*/ 1455443 h 5217112"/>
              <a:gd name="connsiteX21932" fmla="*/ 2364617 w 6785952"/>
              <a:gd name="connsiteY21932" fmla="*/ 1463180 h 5217112"/>
              <a:gd name="connsiteX21933" fmla="*/ 2369012 w 6785952"/>
              <a:gd name="connsiteY21933" fmla="*/ 1457623 h 5217112"/>
              <a:gd name="connsiteX21934" fmla="*/ 2373408 w 6785952"/>
              <a:gd name="connsiteY21934" fmla="*/ 1449777 h 5217112"/>
              <a:gd name="connsiteX21935" fmla="*/ 2369012 w 6785952"/>
              <a:gd name="connsiteY21935" fmla="*/ 1451193 h 5217112"/>
              <a:gd name="connsiteX21936" fmla="*/ 2369562 w 6785952"/>
              <a:gd name="connsiteY21936" fmla="*/ 1446398 h 5217112"/>
              <a:gd name="connsiteX21937" fmla="*/ 2377253 w 6785952"/>
              <a:gd name="connsiteY21937" fmla="*/ 1421226 h 5217112"/>
              <a:gd name="connsiteX21938" fmla="*/ 2380275 w 6785952"/>
              <a:gd name="connsiteY21938" fmla="*/ 1415885 h 5217112"/>
              <a:gd name="connsiteX21939" fmla="*/ 2384395 w 6785952"/>
              <a:gd name="connsiteY21939" fmla="*/ 1421335 h 5217112"/>
              <a:gd name="connsiteX21940" fmla="*/ 2380824 w 6785952"/>
              <a:gd name="connsiteY21940" fmla="*/ 1431578 h 5217112"/>
              <a:gd name="connsiteX21941" fmla="*/ 2383846 w 6785952"/>
              <a:gd name="connsiteY21941" fmla="*/ 1426020 h 5217112"/>
              <a:gd name="connsiteX21942" fmla="*/ 2397306 w 6785952"/>
              <a:gd name="connsiteY21942" fmla="*/ 1410546 h 5217112"/>
              <a:gd name="connsiteX21943" fmla="*/ 2398679 w 6785952"/>
              <a:gd name="connsiteY21943" fmla="*/ 1407822 h 5217112"/>
              <a:gd name="connsiteX21944" fmla="*/ 2403623 w 6785952"/>
              <a:gd name="connsiteY21944" fmla="*/ 1401829 h 5217112"/>
              <a:gd name="connsiteX21945" fmla="*/ 2401426 w 6785952"/>
              <a:gd name="connsiteY21945" fmla="*/ 1402483 h 5217112"/>
              <a:gd name="connsiteX21946" fmla="*/ 2397031 w 6785952"/>
              <a:gd name="connsiteY21946" fmla="*/ 1390168 h 5217112"/>
              <a:gd name="connsiteX21947" fmla="*/ 2406096 w 6785952"/>
              <a:gd name="connsiteY21947" fmla="*/ 1374585 h 5217112"/>
              <a:gd name="connsiteX21948" fmla="*/ 2406646 w 6785952"/>
              <a:gd name="connsiteY21948" fmla="*/ 1373604 h 5217112"/>
              <a:gd name="connsiteX21949" fmla="*/ 2400602 w 6785952"/>
              <a:gd name="connsiteY21949" fmla="*/ 1378072 h 5217112"/>
              <a:gd name="connsiteX21950" fmla="*/ 2390439 w 6785952"/>
              <a:gd name="connsiteY21950" fmla="*/ 1371207 h 5217112"/>
              <a:gd name="connsiteX21951" fmla="*/ 2392361 w 6785952"/>
              <a:gd name="connsiteY21951" fmla="*/ 1357259 h 5217112"/>
              <a:gd name="connsiteX21952" fmla="*/ 2411316 w 6785952"/>
              <a:gd name="connsiteY21952" fmla="*/ 1362162 h 5217112"/>
              <a:gd name="connsiteX21953" fmla="*/ 2407195 w 6785952"/>
              <a:gd name="connsiteY21953" fmla="*/ 1372514 h 5217112"/>
              <a:gd name="connsiteX21954" fmla="*/ 2415985 w 6785952"/>
              <a:gd name="connsiteY21954" fmla="*/ 1356931 h 5217112"/>
              <a:gd name="connsiteX21955" fmla="*/ 2419830 w 6785952"/>
              <a:gd name="connsiteY21955" fmla="*/ 1348649 h 5217112"/>
              <a:gd name="connsiteX21956" fmla="*/ 2416809 w 6785952"/>
              <a:gd name="connsiteY21956" fmla="*/ 1349085 h 5217112"/>
              <a:gd name="connsiteX21957" fmla="*/ 2400053 w 6785952"/>
              <a:gd name="connsiteY21957" fmla="*/ 1333611 h 5217112"/>
              <a:gd name="connsiteX21958" fmla="*/ 2411316 w 6785952"/>
              <a:gd name="connsiteY21958" fmla="*/ 1300592 h 5217112"/>
              <a:gd name="connsiteX21959" fmla="*/ 2424226 w 6785952"/>
              <a:gd name="connsiteY21959" fmla="*/ 1306259 h 5217112"/>
              <a:gd name="connsiteX21960" fmla="*/ 2432192 w 6785952"/>
              <a:gd name="connsiteY21960" fmla="*/ 1313996 h 5217112"/>
              <a:gd name="connsiteX21961" fmla="*/ 2445377 w 6785952"/>
              <a:gd name="connsiteY21961" fmla="*/ 1300701 h 5217112"/>
              <a:gd name="connsiteX21962" fmla="*/ 2456914 w 6785952"/>
              <a:gd name="connsiteY21962" fmla="*/ 1284029 h 5217112"/>
              <a:gd name="connsiteX21963" fmla="*/ 2456365 w 6785952"/>
              <a:gd name="connsiteY21963" fmla="*/ 1282939 h 5217112"/>
              <a:gd name="connsiteX21964" fmla="*/ 2455816 w 6785952"/>
              <a:gd name="connsiteY21964" fmla="*/ 1281740 h 5217112"/>
              <a:gd name="connsiteX21965" fmla="*/ 2454717 w 6785952"/>
              <a:gd name="connsiteY21965" fmla="*/ 1283266 h 5217112"/>
              <a:gd name="connsiteX21966" fmla="*/ 2450047 w 6785952"/>
              <a:gd name="connsiteY21966" fmla="*/ 1282067 h 5217112"/>
              <a:gd name="connsiteX21967" fmla="*/ 2449773 w 6785952"/>
              <a:gd name="connsiteY21967" fmla="*/ 1280650 h 5217112"/>
              <a:gd name="connsiteX21968" fmla="*/ 2456914 w 6785952"/>
              <a:gd name="connsiteY21968" fmla="*/ 1280324 h 5217112"/>
              <a:gd name="connsiteX21969" fmla="*/ 2456365 w 6785952"/>
              <a:gd name="connsiteY21969" fmla="*/ 1280977 h 5217112"/>
              <a:gd name="connsiteX21970" fmla="*/ 2458013 w 6785952"/>
              <a:gd name="connsiteY21970" fmla="*/ 1279125 h 5217112"/>
              <a:gd name="connsiteX21971" fmla="*/ 2459936 w 6785952"/>
              <a:gd name="connsiteY21971" fmla="*/ 1280432 h 5217112"/>
              <a:gd name="connsiteX21972" fmla="*/ 2462134 w 6785952"/>
              <a:gd name="connsiteY21972" fmla="*/ 1277926 h 5217112"/>
              <a:gd name="connsiteX21973" fmla="*/ 2461584 w 6785952"/>
              <a:gd name="connsiteY21973" fmla="*/ 1277817 h 5217112"/>
              <a:gd name="connsiteX21974" fmla="*/ 2460760 w 6785952"/>
              <a:gd name="connsiteY21974" fmla="*/ 1277708 h 5217112"/>
              <a:gd name="connsiteX21975" fmla="*/ 2461035 w 6785952"/>
              <a:gd name="connsiteY21975" fmla="*/ 1278252 h 5217112"/>
              <a:gd name="connsiteX21976" fmla="*/ 2459936 w 6785952"/>
              <a:gd name="connsiteY21976" fmla="*/ 1278580 h 5217112"/>
              <a:gd name="connsiteX21977" fmla="*/ 2458013 w 6785952"/>
              <a:gd name="connsiteY21977" fmla="*/ 1279125 h 5217112"/>
              <a:gd name="connsiteX21978" fmla="*/ 2457464 w 6785952"/>
              <a:gd name="connsiteY21978" fmla="*/ 1279125 h 5217112"/>
              <a:gd name="connsiteX21979" fmla="*/ 2456091 w 6785952"/>
              <a:gd name="connsiteY21979" fmla="*/ 1277598 h 5217112"/>
              <a:gd name="connsiteX21980" fmla="*/ 2453618 w 6785952"/>
              <a:gd name="connsiteY21980" fmla="*/ 1277489 h 5217112"/>
              <a:gd name="connsiteX21981" fmla="*/ 2445652 w 6785952"/>
              <a:gd name="connsiteY21981" fmla="*/ 1276291 h 5217112"/>
              <a:gd name="connsiteX21982" fmla="*/ 2431368 w 6785952"/>
              <a:gd name="connsiteY21982" fmla="*/ 1260599 h 5217112"/>
              <a:gd name="connsiteX21983" fmla="*/ 2427797 w 6785952"/>
              <a:gd name="connsiteY21983" fmla="*/ 1254932 h 5217112"/>
              <a:gd name="connsiteX21984" fmla="*/ 2424226 w 6785952"/>
              <a:gd name="connsiteY21984" fmla="*/ 1250683 h 5217112"/>
              <a:gd name="connsiteX21985" fmla="*/ 2423951 w 6785952"/>
              <a:gd name="connsiteY21985" fmla="*/ 1250029 h 5217112"/>
              <a:gd name="connsiteX21986" fmla="*/ 2413513 w 6785952"/>
              <a:gd name="connsiteY21986" fmla="*/ 1243708 h 5217112"/>
              <a:gd name="connsiteX21987" fmla="*/ 2407195 w 6785952"/>
              <a:gd name="connsiteY21987" fmla="*/ 1233138 h 5217112"/>
              <a:gd name="connsiteX21988" fmla="*/ 2409117 w 6785952"/>
              <a:gd name="connsiteY21988" fmla="*/ 1220497 h 5217112"/>
              <a:gd name="connsiteX21989" fmla="*/ 2412414 w 6785952"/>
              <a:gd name="connsiteY21989" fmla="*/ 1217664 h 5217112"/>
              <a:gd name="connsiteX21990" fmla="*/ 2412689 w 6785952"/>
              <a:gd name="connsiteY21990" fmla="*/ 1208183 h 5217112"/>
              <a:gd name="connsiteX21991" fmla="*/ 2405272 w 6785952"/>
              <a:gd name="connsiteY21991" fmla="*/ 1208292 h 5217112"/>
              <a:gd name="connsiteX21992" fmla="*/ 2394834 w 6785952"/>
              <a:gd name="connsiteY21992" fmla="*/ 1203933 h 5217112"/>
              <a:gd name="connsiteX21993" fmla="*/ 2410491 w 6785952"/>
              <a:gd name="connsiteY21993" fmla="*/ 1192164 h 5217112"/>
              <a:gd name="connsiteX21994" fmla="*/ 2411316 w 6785952"/>
              <a:gd name="connsiteY21994" fmla="*/ 1192382 h 5217112"/>
              <a:gd name="connsiteX21995" fmla="*/ 2410216 w 6785952"/>
              <a:gd name="connsiteY21995" fmla="*/ 1188786 h 5217112"/>
              <a:gd name="connsiteX21996" fmla="*/ 2412414 w 6785952"/>
              <a:gd name="connsiteY21996" fmla="*/ 1181593 h 5217112"/>
              <a:gd name="connsiteX21997" fmla="*/ 2417633 w 6785952"/>
              <a:gd name="connsiteY21997" fmla="*/ 1179414 h 5217112"/>
              <a:gd name="connsiteX21998" fmla="*/ 2418732 w 6785952"/>
              <a:gd name="connsiteY21998" fmla="*/ 1179741 h 5217112"/>
              <a:gd name="connsiteX21999" fmla="*/ 2419007 w 6785952"/>
              <a:gd name="connsiteY21999" fmla="*/ 1179523 h 5217112"/>
              <a:gd name="connsiteX22000" fmla="*/ 2423677 w 6785952"/>
              <a:gd name="connsiteY22000" fmla="*/ 1181485 h 5217112"/>
              <a:gd name="connsiteX22001" fmla="*/ 2428896 w 6785952"/>
              <a:gd name="connsiteY22001" fmla="*/ 1176690 h 5217112"/>
              <a:gd name="connsiteX22002" fmla="*/ 2438510 w 6785952"/>
              <a:gd name="connsiteY22002" fmla="*/ 1170370 h 5217112"/>
              <a:gd name="connsiteX22003" fmla="*/ 2431093 w 6785952"/>
              <a:gd name="connsiteY22003" fmla="*/ 1167863 h 5217112"/>
              <a:gd name="connsiteX22004" fmla="*/ 2431368 w 6785952"/>
              <a:gd name="connsiteY22004" fmla="*/ 1168081 h 5217112"/>
              <a:gd name="connsiteX22005" fmla="*/ 2431642 w 6785952"/>
              <a:gd name="connsiteY22005" fmla="*/ 1171350 h 5217112"/>
              <a:gd name="connsiteX22006" fmla="*/ 2426973 w 6785952"/>
              <a:gd name="connsiteY22006" fmla="*/ 1170478 h 5217112"/>
              <a:gd name="connsiteX22007" fmla="*/ 2426698 w 6785952"/>
              <a:gd name="connsiteY22007" fmla="*/ 1167101 h 5217112"/>
              <a:gd name="connsiteX22008" fmla="*/ 2425324 w 6785952"/>
              <a:gd name="connsiteY22008" fmla="*/ 1166991 h 5217112"/>
              <a:gd name="connsiteX22009" fmla="*/ 2420929 w 6785952"/>
              <a:gd name="connsiteY22009" fmla="*/ 1168517 h 5217112"/>
              <a:gd name="connsiteX22010" fmla="*/ 2423127 w 6785952"/>
              <a:gd name="connsiteY22010" fmla="*/ 1171677 h 5217112"/>
              <a:gd name="connsiteX22011" fmla="*/ 2422303 w 6785952"/>
              <a:gd name="connsiteY22011" fmla="*/ 1178542 h 5217112"/>
              <a:gd name="connsiteX22012" fmla="*/ 2419007 w 6785952"/>
              <a:gd name="connsiteY22012" fmla="*/ 1179523 h 5217112"/>
              <a:gd name="connsiteX22013" fmla="*/ 2418183 w 6785952"/>
              <a:gd name="connsiteY22013" fmla="*/ 1179305 h 5217112"/>
              <a:gd name="connsiteX22014" fmla="*/ 2417633 w 6785952"/>
              <a:gd name="connsiteY22014" fmla="*/ 1179414 h 5217112"/>
              <a:gd name="connsiteX22015" fmla="*/ 2411590 w 6785952"/>
              <a:gd name="connsiteY22015" fmla="*/ 1177671 h 5217112"/>
              <a:gd name="connsiteX22016" fmla="*/ 2415435 w 6785952"/>
              <a:gd name="connsiteY22016" fmla="*/ 1167427 h 5217112"/>
              <a:gd name="connsiteX22017" fmla="*/ 2419281 w 6785952"/>
              <a:gd name="connsiteY22017" fmla="*/ 1167427 h 5217112"/>
              <a:gd name="connsiteX22018" fmla="*/ 2420380 w 6785952"/>
              <a:gd name="connsiteY22018" fmla="*/ 1160017 h 5217112"/>
              <a:gd name="connsiteX22019" fmla="*/ 2421479 w 6785952"/>
              <a:gd name="connsiteY22019" fmla="*/ 1158382 h 5217112"/>
              <a:gd name="connsiteX22020" fmla="*/ 2421204 w 6785952"/>
              <a:gd name="connsiteY22020" fmla="*/ 1157511 h 5217112"/>
              <a:gd name="connsiteX22021" fmla="*/ 2420929 w 6785952"/>
              <a:gd name="connsiteY22021" fmla="*/ 1156203 h 5217112"/>
              <a:gd name="connsiteX22022" fmla="*/ 2406920 w 6785952"/>
              <a:gd name="connsiteY22022" fmla="*/ 1147812 h 5217112"/>
              <a:gd name="connsiteX22023" fmla="*/ 2408019 w 6785952"/>
              <a:gd name="connsiteY22023" fmla="*/ 1138550 h 5217112"/>
              <a:gd name="connsiteX22024" fmla="*/ 2408568 w 6785952"/>
              <a:gd name="connsiteY22024" fmla="*/ 1138550 h 5217112"/>
              <a:gd name="connsiteX22025" fmla="*/ 2401152 w 6785952"/>
              <a:gd name="connsiteY22025" fmla="*/ 1130376 h 5217112"/>
              <a:gd name="connsiteX22026" fmla="*/ 2393185 w 6785952"/>
              <a:gd name="connsiteY22026" fmla="*/ 1117954 h 5217112"/>
              <a:gd name="connsiteX22027" fmla="*/ 2405272 w 6785952"/>
              <a:gd name="connsiteY22027" fmla="*/ 1121877 h 5217112"/>
              <a:gd name="connsiteX22028" fmla="*/ 2408568 w 6785952"/>
              <a:gd name="connsiteY22028" fmla="*/ 1126236 h 5217112"/>
              <a:gd name="connsiteX22029" fmla="*/ 2409392 w 6785952"/>
              <a:gd name="connsiteY22029" fmla="*/ 1125255 h 5217112"/>
              <a:gd name="connsiteX22030" fmla="*/ 2409667 w 6785952"/>
              <a:gd name="connsiteY22030" fmla="*/ 1127979 h 5217112"/>
              <a:gd name="connsiteX22031" fmla="*/ 2412963 w 6785952"/>
              <a:gd name="connsiteY22031" fmla="*/ 1132120 h 5217112"/>
              <a:gd name="connsiteX22032" fmla="*/ 2411865 w 6785952"/>
              <a:gd name="connsiteY22032" fmla="*/ 1136478 h 5217112"/>
              <a:gd name="connsiteX22033" fmla="*/ 2414337 w 6785952"/>
              <a:gd name="connsiteY22033" fmla="*/ 1133645 h 5217112"/>
              <a:gd name="connsiteX22034" fmla="*/ 2428072 w 6785952"/>
              <a:gd name="connsiteY22034" fmla="*/ 1128632 h 5217112"/>
              <a:gd name="connsiteX22035" fmla="*/ 2427523 w 6785952"/>
              <a:gd name="connsiteY22035" fmla="*/ 1126126 h 5217112"/>
              <a:gd name="connsiteX22036" fmla="*/ 2428621 w 6785952"/>
              <a:gd name="connsiteY22036" fmla="*/ 1117081 h 5217112"/>
              <a:gd name="connsiteX22037" fmla="*/ 2426698 w 6785952"/>
              <a:gd name="connsiteY22037" fmla="*/ 1116864 h 5217112"/>
              <a:gd name="connsiteX22038" fmla="*/ 2422853 w 6785952"/>
              <a:gd name="connsiteY22038" fmla="*/ 1103569 h 5217112"/>
              <a:gd name="connsiteX22039" fmla="*/ 2432467 w 6785952"/>
              <a:gd name="connsiteY22039" fmla="*/ 1098556 h 5217112"/>
              <a:gd name="connsiteX22040" fmla="*/ 2435214 w 6785952"/>
              <a:gd name="connsiteY22040" fmla="*/ 1106947 h 5217112"/>
              <a:gd name="connsiteX22041" fmla="*/ 2432742 w 6785952"/>
              <a:gd name="connsiteY22041" fmla="*/ 1115229 h 5217112"/>
              <a:gd name="connsiteX22042" fmla="*/ 2444004 w 6785952"/>
              <a:gd name="connsiteY22042" fmla="*/ 1111960 h 5217112"/>
              <a:gd name="connsiteX22043" fmla="*/ 2458013 w 6785952"/>
              <a:gd name="connsiteY22043" fmla="*/ 1114248 h 5217112"/>
              <a:gd name="connsiteX22044" fmla="*/ 2467628 w 6785952"/>
              <a:gd name="connsiteY22044" fmla="*/ 1120351 h 5217112"/>
              <a:gd name="connsiteX22045" fmla="*/ 2470924 w 6785952"/>
              <a:gd name="connsiteY22045" fmla="*/ 1124601 h 5217112"/>
              <a:gd name="connsiteX22046" fmla="*/ 2474495 w 6785952"/>
              <a:gd name="connsiteY22046" fmla="*/ 1122203 h 5217112"/>
              <a:gd name="connsiteX22047" fmla="*/ 2478341 w 6785952"/>
              <a:gd name="connsiteY22047" fmla="*/ 1121768 h 5217112"/>
              <a:gd name="connsiteX22048" fmla="*/ 2480538 w 6785952"/>
              <a:gd name="connsiteY22048" fmla="*/ 1123947 h 5217112"/>
              <a:gd name="connsiteX22049" fmla="*/ 2478066 w 6785952"/>
              <a:gd name="connsiteY22049" fmla="*/ 1128306 h 5217112"/>
              <a:gd name="connsiteX22050" fmla="*/ 2479439 w 6785952"/>
              <a:gd name="connsiteY22050" fmla="*/ 1128632 h 5217112"/>
              <a:gd name="connsiteX22051" fmla="*/ 2506909 w 6785952"/>
              <a:gd name="connsiteY22051" fmla="*/ 1138550 h 5217112"/>
              <a:gd name="connsiteX22052" fmla="*/ 2498119 w 6785952"/>
              <a:gd name="connsiteY22052" fmla="*/ 1139857 h 5217112"/>
              <a:gd name="connsiteX22053" fmla="*/ 2499218 w 6785952"/>
              <a:gd name="connsiteY22053" fmla="*/ 1141709 h 5217112"/>
              <a:gd name="connsiteX22054" fmla="*/ 2499218 w 6785952"/>
              <a:gd name="connsiteY22054" fmla="*/ 1149991 h 5217112"/>
              <a:gd name="connsiteX22055" fmla="*/ 2494548 w 6785952"/>
              <a:gd name="connsiteY22055" fmla="*/ 1155004 h 5217112"/>
              <a:gd name="connsiteX22056" fmla="*/ 2491801 w 6785952"/>
              <a:gd name="connsiteY22056" fmla="*/ 1156094 h 5217112"/>
              <a:gd name="connsiteX22057" fmla="*/ 2486306 w 6785952"/>
              <a:gd name="connsiteY22057" fmla="*/ 1151626 h 5217112"/>
              <a:gd name="connsiteX22058" fmla="*/ 2485483 w 6785952"/>
              <a:gd name="connsiteY22058" fmla="*/ 1145088 h 5217112"/>
              <a:gd name="connsiteX22059" fmla="*/ 2487681 w 6785952"/>
              <a:gd name="connsiteY22059" fmla="*/ 1141491 h 5217112"/>
              <a:gd name="connsiteX22060" fmla="*/ 2486033 w 6785952"/>
              <a:gd name="connsiteY22060" fmla="*/ 1141709 h 5217112"/>
              <a:gd name="connsiteX22061" fmla="*/ 2484659 w 6785952"/>
              <a:gd name="connsiteY22061" fmla="*/ 1141491 h 5217112"/>
              <a:gd name="connsiteX22062" fmla="*/ 2483835 w 6785952"/>
              <a:gd name="connsiteY22062" fmla="*/ 1144216 h 5217112"/>
              <a:gd name="connsiteX22063" fmla="*/ 2478615 w 6785952"/>
              <a:gd name="connsiteY22063" fmla="*/ 1141709 h 5217112"/>
              <a:gd name="connsiteX22064" fmla="*/ 2479165 w 6785952"/>
              <a:gd name="connsiteY22064" fmla="*/ 1140946 h 5217112"/>
              <a:gd name="connsiteX22065" fmla="*/ 2476968 w 6785952"/>
              <a:gd name="connsiteY22065" fmla="*/ 1140729 h 5217112"/>
              <a:gd name="connsiteX22066" fmla="*/ 2479714 w 6785952"/>
              <a:gd name="connsiteY22066" fmla="*/ 1153805 h 5217112"/>
              <a:gd name="connsiteX22067" fmla="*/ 2476418 w 6785952"/>
              <a:gd name="connsiteY22067" fmla="*/ 1157183 h 5217112"/>
              <a:gd name="connsiteX22068" fmla="*/ 2462134 w 6785952"/>
              <a:gd name="connsiteY22068" fmla="*/ 1159799 h 5217112"/>
              <a:gd name="connsiteX22069" fmla="*/ 2451695 w 6785952"/>
              <a:gd name="connsiteY22069" fmla="*/ 1157511 h 5217112"/>
              <a:gd name="connsiteX22070" fmla="*/ 2442905 w 6785952"/>
              <a:gd name="connsiteY22070" fmla="*/ 1152607 h 5217112"/>
              <a:gd name="connsiteX22071" fmla="*/ 2437686 w 6785952"/>
              <a:gd name="connsiteY22071" fmla="*/ 1156529 h 5217112"/>
              <a:gd name="connsiteX22072" fmla="*/ 2436587 w 6785952"/>
              <a:gd name="connsiteY22072" fmla="*/ 1145633 h 5217112"/>
              <a:gd name="connsiteX22073" fmla="*/ 2436861 w 6785952"/>
              <a:gd name="connsiteY22073" fmla="*/ 1145197 h 5217112"/>
              <a:gd name="connsiteX22074" fmla="*/ 2432192 w 6785952"/>
              <a:gd name="connsiteY22074" fmla="*/ 1139094 h 5217112"/>
              <a:gd name="connsiteX22075" fmla="*/ 2431093 w 6785952"/>
              <a:gd name="connsiteY22075" fmla="*/ 1140075 h 5217112"/>
              <a:gd name="connsiteX22076" fmla="*/ 2421754 w 6785952"/>
              <a:gd name="connsiteY22076" fmla="*/ 1142254 h 5217112"/>
              <a:gd name="connsiteX22077" fmla="*/ 2427523 w 6785952"/>
              <a:gd name="connsiteY22077" fmla="*/ 1146286 h 5217112"/>
              <a:gd name="connsiteX22078" fmla="*/ 2433840 w 6785952"/>
              <a:gd name="connsiteY22078" fmla="*/ 1156203 h 5217112"/>
              <a:gd name="connsiteX22079" fmla="*/ 2433291 w 6785952"/>
              <a:gd name="connsiteY22079" fmla="*/ 1162305 h 5217112"/>
              <a:gd name="connsiteX22080" fmla="*/ 2438510 w 6785952"/>
              <a:gd name="connsiteY22080" fmla="*/ 1170261 h 5217112"/>
              <a:gd name="connsiteX22081" fmla="*/ 2440433 w 6785952"/>
              <a:gd name="connsiteY22081" fmla="*/ 1168953 h 5217112"/>
              <a:gd name="connsiteX22082" fmla="*/ 2452245 w 6785952"/>
              <a:gd name="connsiteY22082" fmla="*/ 1159581 h 5217112"/>
              <a:gd name="connsiteX22083" fmla="*/ 2485757 w 6785952"/>
              <a:gd name="connsiteY22083" fmla="*/ 1163068 h 5217112"/>
              <a:gd name="connsiteX22084" fmla="*/ 2519545 w 6785952"/>
              <a:gd name="connsiteY22084" fmla="*/ 1194235 h 5217112"/>
              <a:gd name="connsiteX22085" fmla="*/ 2520095 w 6785952"/>
              <a:gd name="connsiteY22085" fmla="*/ 1201318 h 5217112"/>
              <a:gd name="connsiteX22086" fmla="*/ 2520369 w 6785952"/>
              <a:gd name="connsiteY22086" fmla="*/ 1201644 h 5217112"/>
              <a:gd name="connsiteX22087" fmla="*/ 2523940 w 6785952"/>
              <a:gd name="connsiteY22087" fmla="*/ 1196414 h 5217112"/>
              <a:gd name="connsiteX22088" fmla="*/ 2540696 w 6785952"/>
              <a:gd name="connsiteY22088" fmla="*/ 1174946 h 5217112"/>
              <a:gd name="connsiteX22089" fmla="*/ 2542894 w 6785952"/>
              <a:gd name="connsiteY22089" fmla="*/ 1174293 h 5217112"/>
              <a:gd name="connsiteX22090" fmla="*/ 2543718 w 6785952"/>
              <a:gd name="connsiteY22090" fmla="*/ 1176363 h 5217112"/>
              <a:gd name="connsiteX22091" fmla="*/ 2538773 w 6785952"/>
              <a:gd name="connsiteY22091" fmla="*/ 1182356 h 5217112"/>
              <a:gd name="connsiteX22092" fmla="*/ 2567616 w 6785952"/>
              <a:gd name="connsiteY22092" fmla="*/ 1161651 h 5217112"/>
              <a:gd name="connsiteX22093" fmla="*/ 2570913 w 6785952"/>
              <a:gd name="connsiteY22093" fmla="*/ 1159908 h 5217112"/>
              <a:gd name="connsiteX22094" fmla="*/ 2575308 w 6785952"/>
              <a:gd name="connsiteY22094" fmla="*/ 1157511 h 5217112"/>
              <a:gd name="connsiteX22095" fmla="*/ 2576681 w 6785952"/>
              <a:gd name="connsiteY22095" fmla="*/ 1156421 h 5217112"/>
              <a:gd name="connsiteX22096" fmla="*/ 2577505 w 6785952"/>
              <a:gd name="connsiteY22096" fmla="*/ 1155876 h 5217112"/>
              <a:gd name="connsiteX22097" fmla="*/ 2578055 w 6785952"/>
              <a:gd name="connsiteY22097" fmla="*/ 1154350 h 5217112"/>
              <a:gd name="connsiteX22098" fmla="*/ 2578329 w 6785952"/>
              <a:gd name="connsiteY22098" fmla="*/ 1154023 h 5217112"/>
              <a:gd name="connsiteX22099" fmla="*/ 2596734 w 6785952"/>
              <a:gd name="connsiteY22099" fmla="*/ 1132555 h 5217112"/>
              <a:gd name="connsiteX22100" fmla="*/ 2598382 w 6785952"/>
              <a:gd name="connsiteY22100" fmla="*/ 1121768 h 5217112"/>
              <a:gd name="connsiteX22101" fmla="*/ 2598932 w 6785952"/>
              <a:gd name="connsiteY22101" fmla="*/ 1121114 h 5217112"/>
              <a:gd name="connsiteX22102" fmla="*/ 2594812 w 6785952"/>
              <a:gd name="connsiteY22102" fmla="*/ 1118389 h 5217112"/>
              <a:gd name="connsiteX22103" fmla="*/ 2592339 w 6785952"/>
              <a:gd name="connsiteY22103" fmla="*/ 1111524 h 5217112"/>
              <a:gd name="connsiteX22104" fmla="*/ 2592888 w 6785952"/>
              <a:gd name="connsiteY22104" fmla="*/ 1109454 h 5217112"/>
              <a:gd name="connsiteX22105" fmla="*/ 2589592 w 6785952"/>
              <a:gd name="connsiteY22105" fmla="*/ 1109671 h 5217112"/>
              <a:gd name="connsiteX22106" fmla="*/ 2589317 w 6785952"/>
              <a:gd name="connsiteY22106" fmla="*/ 1107056 h 5217112"/>
              <a:gd name="connsiteX22107" fmla="*/ 2592339 w 6785952"/>
              <a:gd name="connsiteY22107" fmla="*/ 1108146 h 5217112"/>
              <a:gd name="connsiteX22108" fmla="*/ 2593163 w 6785952"/>
              <a:gd name="connsiteY22108" fmla="*/ 1108909 h 5217112"/>
              <a:gd name="connsiteX22109" fmla="*/ 2593987 w 6785952"/>
              <a:gd name="connsiteY22109" fmla="*/ 1106075 h 5217112"/>
              <a:gd name="connsiteX22110" fmla="*/ 2599481 w 6785952"/>
              <a:gd name="connsiteY22110" fmla="*/ 1100518 h 5217112"/>
              <a:gd name="connsiteX22111" fmla="*/ 2601954 w 6785952"/>
              <a:gd name="connsiteY22111" fmla="*/ 1101717 h 5217112"/>
              <a:gd name="connsiteX22112" fmla="*/ 2602228 w 6785952"/>
              <a:gd name="connsiteY22112" fmla="*/ 1101281 h 5217112"/>
              <a:gd name="connsiteX22113" fmla="*/ 2595086 w 6785952"/>
              <a:gd name="connsiteY22113" fmla="*/ 1094415 h 5217112"/>
              <a:gd name="connsiteX22114" fmla="*/ 2596460 w 6785952"/>
              <a:gd name="connsiteY22114" fmla="*/ 1091582 h 5217112"/>
              <a:gd name="connsiteX22115" fmla="*/ 2599206 w 6785952"/>
              <a:gd name="connsiteY22115" fmla="*/ 1093107 h 5217112"/>
              <a:gd name="connsiteX22116" fmla="*/ 2605799 w 6785952"/>
              <a:gd name="connsiteY22116" fmla="*/ 1097903 h 5217112"/>
              <a:gd name="connsiteX22117" fmla="*/ 2604975 w 6785952"/>
              <a:gd name="connsiteY22117" fmla="*/ 1095832 h 5217112"/>
              <a:gd name="connsiteX22118" fmla="*/ 2612117 w 6785952"/>
              <a:gd name="connsiteY22118" fmla="*/ 1089075 h 5217112"/>
              <a:gd name="connsiteX22119" fmla="*/ 2607722 w 6785952"/>
              <a:gd name="connsiteY22119" fmla="*/ 1097249 h 5217112"/>
              <a:gd name="connsiteX22120" fmla="*/ 2636839 w 6785952"/>
              <a:gd name="connsiteY22120" fmla="*/ 1072293 h 5217112"/>
              <a:gd name="connsiteX22121" fmla="*/ 2626676 w 6785952"/>
              <a:gd name="connsiteY22121" fmla="*/ 1057147 h 5217112"/>
              <a:gd name="connsiteX22122" fmla="*/ 2641784 w 6785952"/>
              <a:gd name="connsiteY22122" fmla="*/ 1052570 h 5217112"/>
              <a:gd name="connsiteX22123" fmla="*/ 2647553 w 6785952"/>
              <a:gd name="connsiteY22123" fmla="*/ 1052025 h 5217112"/>
              <a:gd name="connsiteX22124" fmla="*/ 2636565 w 6785952"/>
              <a:gd name="connsiteY22124" fmla="*/ 1028377 h 5217112"/>
              <a:gd name="connsiteX22125" fmla="*/ 2637114 w 6785952"/>
              <a:gd name="connsiteY22125" fmla="*/ 1012468 h 5217112"/>
              <a:gd name="connsiteX22126" fmla="*/ 2639312 w 6785952"/>
              <a:gd name="connsiteY22126" fmla="*/ 1007673 h 5217112"/>
              <a:gd name="connsiteX22127" fmla="*/ 2639037 w 6785952"/>
              <a:gd name="connsiteY22127" fmla="*/ 1003859 h 5217112"/>
              <a:gd name="connsiteX22128" fmla="*/ 2638762 w 6785952"/>
              <a:gd name="connsiteY22128" fmla="*/ 1001898 h 5217112"/>
              <a:gd name="connsiteX22129" fmla="*/ 2637114 w 6785952"/>
              <a:gd name="connsiteY22129" fmla="*/ 1005058 h 5217112"/>
              <a:gd name="connsiteX22130" fmla="*/ 2637938 w 6785952"/>
              <a:gd name="connsiteY22130" fmla="*/ 1007891 h 5217112"/>
              <a:gd name="connsiteX22131" fmla="*/ 2634093 w 6785952"/>
              <a:gd name="connsiteY22131" fmla="*/ 1010833 h 5217112"/>
              <a:gd name="connsiteX22132" fmla="*/ 2637938 w 6785952"/>
              <a:gd name="connsiteY22132" fmla="*/ 1002007 h 5217112"/>
              <a:gd name="connsiteX22133" fmla="*/ 2638762 w 6785952"/>
              <a:gd name="connsiteY22133" fmla="*/ 1001461 h 5217112"/>
              <a:gd name="connsiteX22134" fmla="*/ 2638762 w 6785952"/>
              <a:gd name="connsiteY22134" fmla="*/ 999826 h 5217112"/>
              <a:gd name="connsiteX22135" fmla="*/ 2638487 w 6785952"/>
              <a:gd name="connsiteY22135" fmla="*/ 998410 h 5217112"/>
              <a:gd name="connsiteX22136" fmla="*/ 2638762 w 6785952"/>
              <a:gd name="connsiteY22136" fmla="*/ 997212 h 5217112"/>
              <a:gd name="connsiteX22137" fmla="*/ 2638762 w 6785952"/>
              <a:gd name="connsiteY22137" fmla="*/ 993179 h 5217112"/>
              <a:gd name="connsiteX22138" fmla="*/ 2640136 w 6785952"/>
              <a:gd name="connsiteY22138" fmla="*/ 984353 h 5217112"/>
              <a:gd name="connsiteX22139" fmla="*/ 2640686 w 6785952"/>
              <a:gd name="connsiteY22139" fmla="*/ 993833 h 5217112"/>
              <a:gd name="connsiteX22140" fmla="*/ 2641509 w 6785952"/>
              <a:gd name="connsiteY22140" fmla="*/ 988930 h 5217112"/>
              <a:gd name="connsiteX22141" fmla="*/ 2640686 w 6785952"/>
              <a:gd name="connsiteY22141" fmla="*/ 984026 h 5217112"/>
              <a:gd name="connsiteX22142" fmla="*/ 2642883 w 6785952"/>
              <a:gd name="connsiteY22142" fmla="*/ 981628 h 5217112"/>
              <a:gd name="connsiteX22143" fmla="*/ 2645630 w 6785952"/>
              <a:gd name="connsiteY22143" fmla="*/ 985225 h 5217112"/>
              <a:gd name="connsiteX22144" fmla="*/ 2642059 w 6785952"/>
              <a:gd name="connsiteY22144" fmla="*/ 989474 h 5217112"/>
              <a:gd name="connsiteX22145" fmla="*/ 2642059 w 6785952"/>
              <a:gd name="connsiteY22145" fmla="*/ 995577 h 5217112"/>
              <a:gd name="connsiteX22146" fmla="*/ 2640686 w 6785952"/>
              <a:gd name="connsiteY22146" fmla="*/ 997647 h 5217112"/>
              <a:gd name="connsiteX22147" fmla="*/ 2639312 w 6785952"/>
              <a:gd name="connsiteY22147" fmla="*/ 1007346 h 5217112"/>
              <a:gd name="connsiteX22148" fmla="*/ 2642333 w 6785952"/>
              <a:gd name="connsiteY22148" fmla="*/ 999936 h 5217112"/>
              <a:gd name="connsiteX22149" fmla="*/ 2657167 w 6785952"/>
              <a:gd name="connsiteY22149" fmla="*/ 974327 h 5217112"/>
              <a:gd name="connsiteX22150" fmla="*/ 2688208 w 6785952"/>
              <a:gd name="connsiteY22150" fmla="*/ 964629 h 5217112"/>
              <a:gd name="connsiteX22151" fmla="*/ 2729686 w 6785952"/>
              <a:gd name="connsiteY22151" fmla="*/ 981302 h 5217112"/>
              <a:gd name="connsiteX22152" fmla="*/ 2738752 w 6785952"/>
              <a:gd name="connsiteY22152" fmla="*/ 999282 h 5217112"/>
              <a:gd name="connsiteX22153" fmla="*/ 2742598 w 6785952"/>
              <a:gd name="connsiteY22153" fmla="*/ 996122 h 5217112"/>
              <a:gd name="connsiteX22154" fmla="*/ 2749465 w 6785952"/>
              <a:gd name="connsiteY22154" fmla="*/ 1000371 h 5217112"/>
              <a:gd name="connsiteX22155" fmla="*/ 2749739 w 6785952"/>
              <a:gd name="connsiteY22155" fmla="*/ 1002878 h 5217112"/>
              <a:gd name="connsiteX22156" fmla="*/ 2753311 w 6785952"/>
              <a:gd name="connsiteY22156" fmla="*/ 1001679 h 5217112"/>
              <a:gd name="connsiteX22157" fmla="*/ 2753311 w 6785952"/>
              <a:gd name="connsiteY22157" fmla="*/ 1001789 h 5217112"/>
              <a:gd name="connsiteX22158" fmla="*/ 2773913 w 6785952"/>
              <a:gd name="connsiteY22158" fmla="*/ 995141 h 5217112"/>
              <a:gd name="connsiteX22159" fmla="*/ 2792592 w 6785952"/>
              <a:gd name="connsiteY22159" fmla="*/ 987513 h 5217112"/>
              <a:gd name="connsiteX22160" fmla="*/ 2795339 w 6785952"/>
              <a:gd name="connsiteY22160" fmla="*/ 983917 h 5217112"/>
              <a:gd name="connsiteX22161" fmla="*/ 2800008 w 6785952"/>
              <a:gd name="connsiteY22161" fmla="*/ 983046 h 5217112"/>
              <a:gd name="connsiteX22162" fmla="*/ 2807700 w 6785952"/>
              <a:gd name="connsiteY22162" fmla="*/ 977161 h 5217112"/>
              <a:gd name="connsiteX22163" fmla="*/ 2806875 w 6785952"/>
              <a:gd name="connsiteY22163" fmla="*/ 976180 h 5217112"/>
              <a:gd name="connsiteX22164" fmla="*/ 2806602 w 6785952"/>
              <a:gd name="connsiteY22164" fmla="*/ 968769 h 5217112"/>
              <a:gd name="connsiteX22165" fmla="*/ 2812095 w 6785952"/>
              <a:gd name="connsiteY22165" fmla="*/ 963757 h 5217112"/>
              <a:gd name="connsiteX22166" fmla="*/ 2819237 w 6785952"/>
              <a:gd name="connsiteY22166" fmla="*/ 959289 h 5217112"/>
              <a:gd name="connsiteX22167" fmla="*/ 2823633 w 6785952"/>
              <a:gd name="connsiteY22167" fmla="*/ 958199 h 5217112"/>
              <a:gd name="connsiteX22168" fmla="*/ 2823357 w 6785952"/>
              <a:gd name="connsiteY22168" fmla="*/ 954058 h 5217112"/>
              <a:gd name="connsiteX22169" fmla="*/ 2814842 w 6785952"/>
              <a:gd name="connsiteY22169" fmla="*/ 946213 h 5217112"/>
              <a:gd name="connsiteX22170" fmla="*/ 2828302 w 6785952"/>
              <a:gd name="connsiteY22170" fmla="*/ 937494 h 5217112"/>
              <a:gd name="connsiteX22171" fmla="*/ 2823083 w 6785952"/>
              <a:gd name="connsiteY22171" fmla="*/ 930084 h 5217112"/>
              <a:gd name="connsiteX22172" fmla="*/ 2823907 w 6785952"/>
              <a:gd name="connsiteY22172" fmla="*/ 932046 h 5217112"/>
              <a:gd name="connsiteX22173" fmla="*/ 2796987 w 6785952"/>
              <a:gd name="connsiteY22173" fmla="*/ 942725 h 5217112"/>
              <a:gd name="connsiteX22174" fmla="*/ 2815941 w 6785952"/>
              <a:gd name="connsiteY22174" fmla="*/ 923110 h 5217112"/>
              <a:gd name="connsiteX22175" fmla="*/ 2835170 w 6785952"/>
              <a:gd name="connsiteY22175" fmla="*/ 903604 h 5217112"/>
              <a:gd name="connsiteX22176" fmla="*/ 2860716 w 6785952"/>
              <a:gd name="connsiteY22176" fmla="*/ 895649 h 5217112"/>
              <a:gd name="connsiteX22177" fmla="*/ 2875549 w 6785952"/>
              <a:gd name="connsiteY22177" fmla="*/ 877341 h 5217112"/>
              <a:gd name="connsiteX22178" fmla="*/ 2876099 w 6785952"/>
              <a:gd name="connsiteY22178" fmla="*/ 877015 h 5217112"/>
              <a:gd name="connsiteX22179" fmla="*/ 2874176 w 6785952"/>
              <a:gd name="connsiteY22179" fmla="*/ 874181 h 5217112"/>
              <a:gd name="connsiteX22180" fmla="*/ 2879945 w 6785952"/>
              <a:gd name="connsiteY22180" fmla="*/ 873092 h 5217112"/>
              <a:gd name="connsiteX22181" fmla="*/ 2880769 w 6785952"/>
              <a:gd name="connsiteY22181" fmla="*/ 869713 h 5217112"/>
              <a:gd name="connsiteX22182" fmla="*/ 2885439 w 6785952"/>
              <a:gd name="connsiteY22182" fmla="*/ 860668 h 5217112"/>
              <a:gd name="connsiteX22183" fmla="*/ 2884889 w 6785952"/>
              <a:gd name="connsiteY22183" fmla="*/ 860015 h 5217112"/>
              <a:gd name="connsiteX22184" fmla="*/ 2884615 w 6785952"/>
              <a:gd name="connsiteY22184" fmla="*/ 855656 h 5217112"/>
              <a:gd name="connsiteX22185" fmla="*/ 2890383 w 6785952"/>
              <a:gd name="connsiteY22185" fmla="*/ 851297 h 5217112"/>
              <a:gd name="connsiteX22186" fmla="*/ 2890932 w 6785952"/>
              <a:gd name="connsiteY22186" fmla="*/ 850098 h 5217112"/>
              <a:gd name="connsiteX22187" fmla="*/ 2906865 w 6785952"/>
              <a:gd name="connsiteY22187" fmla="*/ 835060 h 5217112"/>
              <a:gd name="connsiteX22188" fmla="*/ 2921699 w 6785952"/>
              <a:gd name="connsiteY22188" fmla="*/ 829284 h 5217112"/>
              <a:gd name="connsiteX22189" fmla="*/ 2926917 w 6785952"/>
              <a:gd name="connsiteY22189" fmla="*/ 829175 h 5217112"/>
              <a:gd name="connsiteX22190" fmla="*/ 2930214 w 6785952"/>
              <a:gd name="connsiteY22190" fmla="*/ 827323 h 5217112"/>
              <a:gd name="connsiteX22191" fmla="*/ 2937630 w 6785952"/>
              <a:gd name="connsiteY22191" fmla="*/ 823945 h 5217112"/>
              <a:gd name="connsiteX22192" fmla="*/ 2938180 w 6785952"/>
              <a:gd name="connsiteY22192" fmla="*/ 822746 h 5217112"/>
              <a:gd name="connsiteX22193" fmla="*/ 2963727 w 6785952"/>
              <a:gd name="connsiteY22193" fmla="*/ 799317 h 5217112"/>
              <a:gd name="connsiteX22194" fmla="*/ 2967023 w 6785952"/>
              <a:gd name="connsiteY22194" fmla="*/ 797682 h 5217112"/>
              <a:gd name="connsiteX22195" fmla="*/ 2955761 w 6785952"/>
              <a:gd name="connsiteY22195" fmla="*/ 790381 h 5217112"/>
              <a:gd name="connsiteX22196" fmla="*/ 2973066 w 6785952"/>
              <a:gd name="connsiteY22196" fmla="*/ 790926 h 5217112"/>
              <a:gd name="connsiteX22197" fmla="*/ 2976088 w 6785952"/>
              <a:gd name="connsiteY22197" fmla="*/ 793105 h 5217112"/>
              <a:gd name="connsiteX22198" fmla="*/ 2978835 w 6785952"/>
              <a:gd name="connsiteY22198" fmla="*/ 791689 h 5217112"/>
              <a:gd name="connsiteX22199" fmla="*/ 2994218 w 6785952"/>
              <a:gd name="connsiteY22199" fmla="*/ 788746 h 5217112"/>
              <a:gd name="connsiteX22200" fmla="*/ 2971693 w 6785952"/>
              <a:gd name="connsiteY22200" fmla="*/ 821111 h 5217112"/>
              <a:gd name="connsiteX22201" fmla="*/ 2954387 w 6785952"/>
              <a:gd name="connsiteY22201" fmla="*/ 829067 h 5217112"/>
              <a:gd name="connsiteX22202" fmla="*/ 2950541 w 6785952"/>
              <a:gd name="connsiteY22202" fmla="*/ 831137 h 5217112"/>
              <a:gd name="connsiteX22203" fmla="*/ 2964825 w 6785952"/>
              <a:gd name="connsiteY22203" fmla="*/ 832117 h 5217112"/>
              <a:gd name="connsiteX22204" fmla="*/ 2973615 w 6785952"/>
              <a:gd name="connsiteY22204" fmla="*/ 849009 h 5217112"/>
              <a:gd name="connsiteX22205" fmla="*/ 2974440 w 6785952"/>
              <a:gd name="connsiteY22205" fmla="*/ 849444 h 5217112"/>
              <a:gd name="connsiteX22206" fmla="*/ 2983230 w 6785952"/>
              <a:gd name="connsiteY22206" fmla="*/ 841926 h 5217112"/>
              <a:gd name="connsiteX22207" fmla="*/ 2996140 w 6785952"/>
              <a:gd name="connsiteY22207" fmla="*/ 834733 h 5217112"/>
              <a:gd name="connsiteX22208" fmla="*/ 2994767 w 6785952"/>
              <a:gd name="connsiteY22208" fmla="*/ 833207 h 5217112"/>
              <a:gd name="connsiteX22209" fmla="*/ 2989548 w 6785952"/>
              <a:gd name="connsiteY22209" fmla="*/ 821002 h 5217112"/>
              <a:gd name="connsiteX22210" fmla="*/ 3000810 w 6785952"/>
              <a:gd name="connsiteY22210" fmla="*/ 811522 h 5217112"/>
              <a:gd name="connsiteX22211" fmla="*/ 3001909 w 6785952"/>
              <a:gd name="connsiteY22211" fmla="*/ 815880 h 5217112"/>
              <a:gd name="connsiteX22212" fmla="*/ 3008502 w 6785952"/>
              <a:gd name="connsiteY22212" fmla="*/ 808253 h 5217112"/>
              <a:gd name="connsiteX22213" fmla="*/ 3010974 w 6785952"/>
              <a:gd name="connsiteY22213" fmla="*/ 817951 h 5217112"/>
              <a:gd name="connsiteX22214" fmla="*/ 3005480 w 6785952"/>
              <a:gd name="connsiteY22214" fmla="*/ 825579 h 5217112"/>
              <a:gd name="connsiteX22215" fmla="*/ 3007952 w 6785952"/>
              <a:gd name="connsiteY22215" fmla="*/ 828413 h 5217112"/>
              <a:gd name="connsiteX22216" fmla="*/ 3029104 w 6785952"/>
              <a:gd name="connsiteY22216" fmla="*/ 818278 h 5217112"/>
              <a:gd name="connsiteX22217" fmla="*/ 3056849 w 6785952"/>
              <a:gd name="connsiteY22217" fmla="*/ 807054 h 5217112"/>
              <a:gd name="connsiteX22218" fmla="*/ 3058771 w 6785952"/>
              <a:gd name="connsiteY22218" fmla="*/ 806400 h 5217112"/>
              <a:gd name="connsiteX22219" fmla="*/ 3061793 w 6785952"/>
              <a:gd name="connsiteY22219" fmla="*/ 801060 h 5217112"/>
              <a:gd name="connsiteX22220" fmla="*/ 3075253 w 6785952"/>
              <a:gd name="connsiteY22220" fmla="*/ 799098 h 5217112"/>
              <a:gd name="connsiteX22221" fmla="*/ 3098602 w 6785952"/>
              <a:gd name="connsiteY22221" fmla="*/ 791797 h 5217112"/>
              <a:gd name="connsiteX22222" fmla="*/ 3102448 w 6785952"/>
              <a:gd name="connsiteY22222" fmla="*/ 788964 h 5217112"/>
              <a:gd name="connsiteX22223" fmla="*/ 3102448 w 6785952"/>
              <a:gd name="connsiteY22223" fmla="*/ 787766 h 5217112"/>
              <a:gd name="connsiteX22224" fmla="*/ 3103821 w 6785952"/>
              <a:gd name="connsiteY22224" fmla="*/ 787329 h 5217112"/>
              <a:gd name="connsiteX22225" fmla="*/ 3104096 w 6785952"/>
              <a:gd name="connsiteY22225" fmla="*/ 787657 h 5217112"/>
              <a:gd name="connsiteX22226" fmla="*/ 3105469 w 6785952"/>
              <a:gd name="connsiteY22226" fmla="*/ 786567 h 5217112"/>
              <a:gd name="connsiteX22227" fmla="*/ 3118655 w 6785952"/>
              <a:gd name="connsiteY22227" fmla="*/ 781009 h 5217112"/>
              <a:gd name="connsiteX22228" fmla="*/ 3148321 w 6785952"/>
              <a:gd name="connsiteY22228" fmla="*/ 771638 h 5217112"/>
              <a:gd name="connsiteX22229" fmla="*/ 3156563 w 6785952"/>
              <a:gd name="connsiteY22229" fmla="*/ 766189 h 5217112"/>
              <a:gd name="connsiteX22230" fmla="*/ 3155464 w 6785952"/>
              <a:gd name="connsiteY22230" fmla="*/ 763792 h 5217112"/>
              <a:gd name="connsiteX22231" fmla="*/ 3163704 w 6785952"/>
              <a:gd name="connsiteY22231" fmla="*/ 760958 h 5217112"/>
              <a:gd name="connsiteX22232" fmla="*/ 3164254 w 6785952"/>
              <a:gd name="connsiteY22232" fmla="*/ 761176 h 5217112"/>
              <a:gd name="connsiteX22233" fmla="*/ 3167550 w 6785952"/>
              <a:gd name="connsiteY22233" fmla="*/ 758887 h 5217112"/>
              <a:gd name="connsiteX22234" fmla="*/ 3163704 w 6785952"/>
              <a:gd name="connsiteY22234" fmla="*/ 759324 h 5217112"/>
              <a:gd name="connsiteX22235" fmla="*/ 3156563 w 6785952"/>
              <a:gd name="connsiteY22235" fmla="*/ 762157 h 5217112"/>
              <a:gd name="connsiteX22236" fmla="*/ 3145300 w 6785952"/>
              <a:gd name="connsiteY22236" fmla="*/ 764227 h 5217112"/>
              <a:gd name="connsiteX22237" fmla="*/ 3155739 w 6785952"/>
              <a:gd name="connsiteY22237" fmla="*/ 760195 h 5217112"/>
              <a:gd name="connsiteX22238" fmla="*/ 3153541 w 6785952"/>
              <a:gd name="connsiteY22238" fmla="*/ 760414 h 5217112"/>
              <a:gd name="connsiteX22239" fmla="*/ 3138982 w 6785952"/>
              <a:gd name="connsiteY22239" fmla="*/ 765535 h 5217112"/>
              <a:gd name="connsiteX22240" fmla="*/ 3135136 w 6785952"/>
              <a:gd name="connsiteY22240" fmla="*/ 767170 h 5217112"/>
              <a:gd name="connsiteX22241" fmla="*/ 3135686 w 6785952"/>
              <a:gd name="connsiteY22241" fmla="*/ 767387 h 5217112"/>
              <a:gd name="connsiteX22242" fmla="*/ 3123599 w 6785952"/>
              <a:gd name="connsiteY22242" fmla="*/ 771746 h 5217112"/>
              <a:gd name="connsiteX22243" fmla="*/ 3127171 w 6785952"/>
              <a:gd name="connsiteY22243" fmla="*/ 768804 h 5217112"/>
              <a:gd name="connsiteX22244" fmla="*/ 3125247 w 6785952"/>
              <a:gd name="connsiteY22244" fmla="*/ 769022 h 5217112"/>
              <a:gd name="connsiteX22245" fmla="*/ 3115358 w 6785952"/>
              <a:gd name="connsiteY22245" fmla="*/ 759215 h 5217112"/>
              <a:gd name="connsiteX22246" fmla="*/ 3114809 w 6785952"/>
              <a:gd name="connsiteY22246" fmla="*/ 757253 h 5217112"/>
              <a:gd name="connsiteX22247" fmla="*/ 3113435 w 6785952"/>
              <a:gd name="connsiteY22247" fmla="*/ 759977 h 5217112"/>
              <a:gd name="connsiteX22248" fmla="*/ 3104096 w 6785952"/>
              <a:gd name="connsiteY22248" fmla="*/ 760522 h 5217112"/>
              <a:gd name="connsiteX22249" fmla="*/ 3096405 w 6785952"/>
              <a:gd name="connsiteY22249" fmla="*/ 765208 h 5217112"/>
              <a:gd name="connsiteX22250" fmla="*/ 3093382 w 6785952"/>
              <a:gd name="connsiteY22250" fmla="*/ 763900 h 5217112"/>
              <a:gd name="connsiteX22251" fmla="*/ 3092284 w 6785952"/>
              <a:gd name="connsiteY22251" fmla="*/ 762375 h 5217112"/>
              <a:gd name="connsiteX22252" fmla="*/ 3091185 w 6785952"/>
              <a:gd name="connsiteY22252" fmla="*/ 764882 h 5217112"/>
              <a:gd name="connsiteX22253" fmla="*/ 3087889 w 6785952"/>
              <a:gd name="connsiteY22253" fmla="*/ 767278 h 5217112"/>
              <a:gd name="connsiteX22254" fmla="*/ 3083769 w 6785952"/>
              <a:gd name="connsiteY22254" fmla="*/ 765535 h 5217112"/>
              <a:gd name="connsiteX22255" fmla="*/ 3088987 w 6785952"/>
              <a:gd name="connsiteY22255" fmla="*/ 754856 h 5217112"/>
              <a:gd name="connsiteX22256" fmla="*/ 3093108 w 6785952"/>
              <a:gd name="connsiteY22256" fmla="*/ 760958 h 5217112"/>
              <a:gd name="connsiteX22257" fmla="*/ 3092559 w 6785952"/>
              <a:gd name="connsiteY22257" fmla="*/ 762157 h 5217112"/>
              <a:gd name="connsiteX22258" fmla="*/ 3094756 w 6785952"/>
              <a:gd name="connsiteY22258" fmla="*/ 761176 h 5217112"/>
              <a:gd name="connsiteX22259" fmla="*/ 3105469 w 6785952"/>
              <a:gd name="connsiteY22259" fmla="*/ 757798 h 5217112"/>
              <a:gd name="connsiteX22260" fmla="*/ 3113161 w 6785952"/>
              <a:gd name="connsiteY22260" fmla="*/ 753003 h 5217112"/>
              <a:gd name="connsiteX22261" fmla="*/ 3153815 w 6785952"/>
              <a:gd name="connsiteY22261" fmla="*/ 726850 h 5217112"/>
              <a:gd name="connsiteX22262" fmla="*/ 3159309 w 6785952"/>
              <a:gd name="connsiteY22262" fmla="*/ 727721 h 5217112"/>
              <a:gd name="connsiteX22263" fmla="*/ 3162057 w 6785952"/>
              <a:gd name="connsiteY22263" fmla="*/ 726305 h 5217112"/>
              <a:gd name="connsiteX22264" fmla="*/ 3158760 w 6785952"/>
              <a:gd name="connsiteY22264" fmla="*/ 724888 h 5217112"/>
              <a:gd name="connsiteX22265" fmla="*/ 3155739 w 6785952"/>
              <a:gd name="connsiteY22265" fmla="*/ 719767 h 5217112"/>
              <a:gd name="connsiteX22266" fmla="*/ 3160683 w 6785952"/>
              <a:gd name="connsiteY22266" fmla="*/ 710068 h 5217112"/>
              <a:gd name="connsiteX22267" fmla="*/ 3164528 w 6785952"/>
              <a:gd name="connsiteY22267" fmla="*/ 711267 h 5217112"/>
              <a:gd name="connsiteX22268" fmla="*/ 3167001 w 6785952"/>
              <a:gd name="connsiteY22268" fmla="*/ 719439 h 5217112"/>
              <a:gd name="connsiteX22269" fmla="*/ 3163430 w 6785952"/>
              <a:gd name="connsiteY22269" fmla="*/ 725651 h 5217112"/>
              <a:gd name="connsiteX22270" fmla="*/ 3173044 w 6785952"/>
              <a:gd name="connsiteY22270" fmla="*/ 720747 h 5217112"/>
              <a:gd name="connsiteX22271" fmla="*/ 3170846 w 6785952"/>
              <a:gd name="connsiteY22271" fmla="*/ 728375 h 5217112"/>
              <a:gd name="connsiteX22272" fmla="*/ 3211501 w 6785952"/>
              <a:gd name="connsiteY22272" fmla="*/ 729247 h 5217112"/>
              <a:gd name="connsiteX22273" fmla="*/ 3233752 w 6785952"/>
              <a:gd name="connsiteY22273" fmla="*/ 725106 h 5217112"/>
              <a:gd name="connsiteX22274" fmla="*/ 3233477 w 6785952"/>
              <a:gd name="connsiteY22274" fmla="*/ 722055 h 5217112"/>
              <a:gd name="connsiteX22275" fmla="*/ 3232378 w 6785952"/>
              <a:gd name="connsiteY22275" fmla="*/ 711267 h 5217112"/>
              <a:gd name="connsiteX22276" fmla="*/ 3280725 w 6785952"/>
              <a:gd name="connsiteY22276" fmla="*/ 680972 h 5217112"/>
              <a:gd name="connsiteX22277" fmla="*/ 3283197 w 6785952"/>
              <a:gd name="connsiteY22277" fmla="*/ 679447 h 5217112"/>
              <a:gd name="connsiteX22278" fmla="*/ 3278252 w 6785952"/>
              <a:gd name="connsiteY22278" fmla="*/ 680863 h 5217112"/>
              <a:gd name="connsiteX22279" fmla="*/ 3276879 w 6785952"/>
              <a:gd name="connsiteY22279" fmla="*/ 669638 h 5217112"/>
              <a:gd name="connsiteX22280" fmla="*/ 3284570 w 6785952"/>
              <a:gd name="connsiteY22280" fmla="*/ 660267 h 5217112"/>
              <a:gd name="connsiteX22281" fmla="*/ 3282922 w 6785952"/>
              <a:gd name="connsiteY22281" fmla="*/ 660812 h 5217112"/>
              <a:gd name="connsiteX22282" fmla="*/ 3282373 w 6785952"/>
              <a:gd name="connsiteY22282" fmla="*/ 662229 h 5217112"/>
              <a:gd name="connsiteX22283" fmla="*/ 3279076 w 6785952"/>
              <a:gd name="connsiteY22283" fmla="*/ 664518 h 5217112"/>
              <a:gd name="connsiteX22284" fmla="*/ 3277428 w 6785952"/>
              <a:gd name="connsiteY22284" fmla="*/ 662446 h 5217112"/>
              <a:gd name="connsiteX22285" fmla="*/ 3272758 w 6785952"/>
              <a:gd name="connsiteY22285" fmla="*/ 663864 h 5217112"/>
              <a:gd name="connsiteX22286" fmla="*/ 3254629 w 6785952"/>
              <a:gd name="connsiteY22286" fmla="*/ 661792 h 5217112"/>
              <a:gd name="connsiteX22287" fmla="*/ 3252156 w 6785952"/>
              <a:gd name="connsiteY22287" fmla="*/ 665280 h 5217112"/>
              <a:gd name="connsiteX22288" fmla="*/ 3245563 w 6785952"/>
              <a:gd name="connsiteY22288" fmla="*/ 671056 h 5217112"/>
              <a:gd name="connsiteX22289" fmla="*/ 3239246 w 6785952"/>
              <a:gd name="connsiteY22289" fmla="*/ 668113 h 5217112"/>
              <a:gd name="connsiteX22290" fmla="*/ 3239246 w 6785952"/>
              <a:gd name="connsiteY22290" fmla="*/ 662229 h 5217112"/>
              <a:gd name="connsiteX22291" fmla="*/ 3244739 w 6785952"/>
              <a:gd name="connsiteY22291" fmla="*/ 658306 h 5217112"/>
              <a:gd name="connsiteX22292" fmla="*/ 3247761 w 6785952"/>
              <a:gd name="connsiteY22292" fmla="*/ 657434 h 5217112"/>
              <a:gd name="connsiteX22293" fmla="*/ 3246663 w 6785952"/>
              <a:gd name="connsiteY22293" fmla="*/ 656562 h 5217112"/>
              <a:gd name="connsiteX22294" fmla="*/ 3242542 w 6785952"/>
              <a:gd name="connsiteY22294" fmla="*/ 648934 h 5217112"/>
              <a:gd name="connsiteX22295" fmla="*/ 3276330 w 6785952"/>
              <a:gd name="connsiteY22295" fmla="*/ 628338 h 5217112"/>
              <a:gd name="connsiteX22296" fmla="*/ 3287043 w 6785952"/>
              <a:gd name="connsiteY22296" fmla="*/ 659505 h 5217112"/>
              <a:gd name="connsiteX22297" fmla="*/ 3285119 w 6785952"/>
              <a:gd name="connsiteY22297" fmla="*/ 660050 h 5217112"/>
              <a:gd name="connsiteX22298" fmla="*/ 3291713 w 6785952"/>
              <a:gd name="connsiteY22298" fmla="*/ 659177 h 5217112"/>
              <a:gd name="connsiteX22299" fmla="*/ 3294184 w 6785952"/>
              <a:gd name="connsiteY22299" fmla="*/ 666043 h 5217112"/>
              <a:gd name="connsiteX22300" fmla="*/ 3293086 w 6785952"/>
              <a:gd name="connsiteY22300" fmla="*/ 668876 h 5217112"/>
              <a:gd name="connsiteX22301" fmla="*/ 3293361 w 6785952"/>
              <a:gd name="connsiteY22301" fmla="*/ 668658 h 5217112"/>
              <a:gd name="connsiteX22302" fmla="*/ 3294459 w 6785952"/>
              <a:gd name="connsiteY22302" fmla="*/ 667242 h 5217112"/>
              <a:gd name="connsiteX22303" fmla="*/ 3306272 w 6785952"/>
              <a:gd name="connsiteY22303" fmla="*/ 649479 h 5217112"/>
              <a:gd name="connsiteX22304" fmla="*/ 3324951 w 6785952"/>
              <a:gd name="connsiteY22304" fmla="*/ 644575 h 5217112"/>
              <a:gd name="connsiteX22305" fmla="*/ 3355716 w 6785952"/>
              <a:gd name="connsiteY22305" fmla="*/ 649915 h 5217112"/>
              <a:gd name="connsiteX22306" fmla="*/ 3362859 w 6785952"/>
              <a:gd name="connsiteY22306" fmla="*/ 650241 h 5217112"/>
              <a:gd name="connsiteX22307" fmla="*/ 3363682 w 6785952"/>
              <a:gd name="connsiteY22307" fmla="*/ 649806 h 5217112"/>
              <a:gd name="connsiteX22308" fmla="*/ 3367803 w 6785952"/>
              <a:gd name="connsiteY22308" fmla="*/ 650132 h 5217112"/>
              <a:gd name="connsiteX22309" fmla="*/ 3373022 w 6785952"/>
              <a:gd name="connsiteY22309" fmla="*/ 648934 h 5217112"/>
              <a:gd name="connsiteX22310" fmla="*/ 3368352 w 6785952"/>
              <a:gd name="connsiteY22310" fmla="*/ 648389 h 5217112"/>
              <a:gd name="connsiteX22311" fmla="*/ 3366978 w 6785952"/>
              <a:gd name="connsiteY22311" fmla="*/ 644902 h 5217112"/>
              <a:gd name="connsiteX22312" fmla="*/ 3366154 w 6785952"/>
              <a:gd name="connsiteY22312" fmla="*/ 640543 h 5217112"/>
              <a:gd name="connsiteX22313" fmla="*/ 3373297 w 6785952"/>
              <a:gd name="connsiteY22313" fmla="*/ 635203 h 5217112"/>
              <a:gd name="connsiteX22314" fmla="*/ 3375220 w 6785952"/>
              <a:gd name="connsiteY22314" fmla="*/ 635531 h 5217112"/>
              <a:gd name="connsiteX22315" fmla="*/ 3373022 w 6785952"/>
              <a:gd name="connsiteY22315" fmla="*/ 630954 h 5217112"/>
              <a:gd name="connsiteX22316" fmla="*/ 3391427 w 6785952"/>
              <a:gd name="connsiteY22316" fmla="*/ 598479 h 5217112"/>
              <a:gd name="connsiteX22317" fmla="*/ 3383460 w 6785952"/>
              <a:gd name="connsiteY22317" fmla="*/ 632697 h 5217112"/>
              <a:gd name="connsiteX22318" fmla="*/ 3380988 w 6785952"/>
              <a:gd name="connsiteY22318" fmla="*/ 636293 h 5217112"/>
              <a:gd name="connsiteX22319" fmla="*/ 3379615 w 6785952"/>
              <a:gd name="connsiteY22319" fmla="*/ 644466 h 5217112"/>
              <a:gd name="connsiteX22320" fmla="*/ 3373297 w 6785952"/>
              <a:gd name="connsiteY22320" fmla="*/ 648825 h 5217112"/>
              <a:gd name="connsiteX22321" fmla="*/ 3390053 w 6785952"/>
              <a:gd name="connsiteY22321" fmla="*/ 645011 h 5217112"/>
              <a:gd name="connsiteX22322" fmla="*/ 3402414 w 6785952"/>
              <a:gd name="connsiteY22322" fmla="*/ 631063 h 5217112"/>
              <a:gd name="connsiteX22323" fmla="*/ 3425214 w 6785952"/>
              <a:gd name="connsiteY22323" fmla="*/ 651549 h 5217112"/>
              <a:gd name="connsiteX22324" fmla="*/ 3427687 w 6785952"/>
              <a:gd name="connsiteY22324" fmla="*/ 651331 h 5217112"/>
              <a:gd name="connsiteX22325" fmla="*/ 3432081 w 6785952"/>
              <a:gd name="connsiteY22325" fmla="*/ 650896 h 5217112"/>
              <a:gd name="connsiteX22326" fmla="*/ 3438125 w 6785952"/>
              <a:gd name="connsiteY22326" fmla="*/ 647082 h 5217112"/>
              <a:gd name="connsiteX22327" fmla="*/ 3439498 w 6785952"/>
              <a:gd name="connsiteY22327" fmla="*/ 644357 h 5217112"/>
              <a:gd name="connsiteX22328" fmla="*/ 3438949 w 6785952"/>
              <a:gd name="connsiteY22328" fmla="*/ 642286 h 5217112"/>
              <a:gd name="connsiteX22329" fmla="*/ 3449662 w 6785952"/>
              <a:gd name="connsiteY22329" fmla="*/ 636838 h 5217112"/>
              <a:gd name="connsiteX22330" fmla="*/ 3438674 w 6785952"/>
              <a:gd name="connsiteY22330" fmla="*/ 618531 h 5217112"/>
              <a:gd name="connsiteX22331" fmla="*/ 3435652 w 6785952"/>
              <a:gd name="connsiteY22331" fmla="*/ 603711 h 5217112"/>
              <a:gd name="connsiteX22332" fmla="*/ 3449387 w 6785952"/>
              <a:gd name="connsiteY22332" fmla="*/ 630191 h 5217112"/>
              <a:gd name="connsiteX22333" fmla="*/ 3449937 w 6785952"/>
              <a:gd name="connsiteY22333" fmla="*/ 636729 h 5217112"/>
              <a:gd name="connsiteX22334" fmla="*/ 3454607 w 6785952"/>
              <a:gd name="connsiteY22334" fmla="*/ 634332 h 5217112"/>
              <a:gd name="connsiteX22335" fmla="*/ 3469440 w 6785952"/>
              <a:gd name="connsiteY22335" fmla="*/ 635094 h 5217112"/>
              <a:gd name="connsiteX22336" fmla="*/ 3479603 w 6785952"/>
              <a:gd name="connsiteY22336" fmla="*/ 636511 h 5217112"/>
              <a:gd name="connsiteX22337" fmla="*/ 3488119 w 6785952"/>
              <a:gd name="connsiteY22337" fmla="*/ 633787 h 5217112"/>
              <a:gd name="connsiteX22338" fmla="*/ 3494437 w 6785952"/>
              <a:gd name="connsiteY22338" fmla="*/ 638582 h 5217112"/>
              <a:gd name="connsiteX22339" fmla="*/ 3488943 w 6785952"/>
              <a:gd name="connsiteY22339" fmla="*/ 642614 h 5217112"/>
              <a:gd name="connsiteX22340" fmla="*/ 3484548 w 6785952"/>
              <a:gd name="connsiteY22340" fmla="*/ 643921 h 5217112"/>
              <a:gd name="connsiteX22341" fmla="*/ 3484548 w 6785952"/>
              <a:gd name="connsiteY22341" fmla="*/ 648716 h 5217112"/>
              <a:gd name="connsiteX22342" fmla="*/ 3485647 w 6785952"/>
              <a:gd name="connsiteY22342" fmla="*/ 647408 h 5217112"/>
              <a:gd name="connsiteX22343" fmla="*/ 3503502 w 6785952"/>
              <a:gd name="connsiteY22343" fmla="*/ 648607 h 5217112"/>
              <a:gd name="connsiteX22344" fmla="*/ 3500480 w 6785952"/>
              <a:gd name="connsiteY22344" fmla="*/ 651985 h 5217112"/>
              <a:gd name="connsiteX22345" fmla="*/ 3501579 w 6785952"/>
              <a:gd name="connsiteY22345" fmla="*/ 652639 h 5217112"/>
              <a:gd name="connsiteX22346" fmla="*/ 3497459 w 6785952"/>
              <a:gd name="connsiteY22346" fmla="*/ 654492 h 5217112"/>
              <a:gd name="connsiteX22347" fmla="*/ 3500206 w 6785952"/>
              <a:gd name="connsiteY22347" fmla="*/ 654928 h 5217112"/>
              <a:gd name="connsiteX22348" fmla="*/ 3503228 w 6785952"/>
              <a:gd name="connsiteY22348" fmla="*/ 653620 h 5217112"/>
              <a:gd name="connsiteX22349" fmla="*/ 3503777 w 6785952"/>
              <a:gd name="connsiteY22349" fmla="*/ 653947 h 5217112"/>
              <a:gd name="connsiteX22350" fmla="*/ 3503777 w 6785952"/>
              <a:gd name="connsiteY22350" fmla="*/ 653293 h 5217112"/>
              <a:gd name="connsiteX22351" fmla="*/ 3509820 w 6785952"/>
              <a:gd name="connsiteY22351" fmla="*/ 650569 h 5217112"/>
              <a:gd name="connsiteX22352" fmla="*/ 3540311 w 6785952"/>
              <a:gd name="connsiteY22352" fmla="*/ 653838 h 5217112"/>
              <a:gd name="connsiteX22353" fmla="*/ 3523829 w 6785952"/>
              <a:gd name="connsiteY22353" fmla="*/ 661248 h 5217112"/>
              <a:gd name="connsiteX22354" fmla="*/ 3502403 w 6785952"/>
              <a:gd name="connsiteY22354" fmla="*/ 661139 h 5217112"/>
              <a:gd name="connsiteX22355" fmla="*/ 3498283 w 6785952"/>
              <a:gd name="connsiteY22355" fmla="*/ 662446 h 5217112"/>
              <a:gd name="connsiteX22356" fmla="*/ 3485372 w 6785952"/>
              <a:gd name="connsiteY22356" fmla="*/ 659613 h 5217112"/>
              <a:gd name="connsiteX22357" fmla="*/ 3483175 w 6785952"/>
              <a:gd name="connsiteY22357" fmla="*/ 660376 h 5217112"/>
              <a:gd name="connsiteX22358" fmla="*/ 3478230 w 6785952"/>
              <a:gd name="connsiteY22358" fmla="*/ 659613 h 5217112"/>
              <a:gd name="connsiteX22359" fmla="*/ 3479878 w 6785952"/>
              <a:gd name="connsiteY22359" fmla="*/ 663645 h 5217112"/>
              <a:gd name="connsiteX22360" fmla="*/ 3486196 w 6785952"/>
              <a:gd name="connsiteY22360" fmla="*/ 668441 h 5217112"/>
              <a:gd name="connsiteX22361" fmla="*/ 3495536 w 6785952"/>
              <a:gd name="connsiteY22361" fmla="*/ 667896 h 5217112"/>
              <a:gd name="connsiteX22362" fmla="*/ 3527126 w 6785952"/>
              <a:gd name="connsiteY22362" fmla="*/ 665934 h 5217112"/>
              <a:gd name="connsiteX22363" fmla="*/ 3556518 w 6785952"/>
              <a:gd name="connsiteY22363" fmla="*/ 663754 h 5217112"/>
              <a:gd name="connsiteX22364" fmla="*/ 3558991 w 6785952"/>
              <a:gd name="connsiteY22364" fmla="*/ 656780 h 5217112"/>
              <a:gd name="connsiteX22365" fmla="*/ 3556792 w 6785952"/>
              <a:gd name="connsiteY22365" fmla="*/ 655145 h 5217112"/>
              <a:gd name="connsiteX22366" fmla="*/ 3554870 w 6785952"/>
              <a:gd name="connsiteY22366" fmla="*/ 638582 h 5217112"/>
              <a:gd name="connsiteX22367" fmla="*/ 3552123 w 6785952"/>
              <a:gd name="connsiteY22367" fmla="*/ 636620 h 5217112"/>
              <a:gd name="connsiteX22368" fmla="*/ 3549925 w 6785952"/>
              <a:gd name="connsiteY22368" fmla="*/ 630300 h 5217112"/>
              <a:gd name="connsiteX22369" fmla="*/ 3552673 w 6785952"/>
              <a:gd name="connsiteY22369" fmla="*/ 629319 h 5217112"/>
              <a:gd name="connsiteX22370" fmla="*/ 3556518 w 6785952"/>
              <a:gd name="connsiteY22370" fmla="*/ 635857 h 5217112"/>
              <a:gd name="connsiteX22371" fmla="*/ 3557892 w 6785952"/>
              <a:gd name="connsiteY22371" fmla="*/ 636076 h 5217112"/>
              <a:gd name="connsiteX22372" fmla="*/ 3560913 w 6785952"/>
              <a:gd name="connsiteY22372" fmla="*/ 633569 h 5217112"/>
              <a:gd name="connsiteX22373" fmla="*/ 3575198 w 6785952"/>
              <a:gd name="connsiteY22373" fmla="*/ 635857 h 5217112"/>
              <a:gd name="connsiteX22374" fmla="*/ 3578219 w 6785952"/>
              <a:gd name="connsiteY22374" fmla="*/ 652748 h 5217112"/>
              <a:gd name="connsiteX22375" fmla="*/ 3573549 w 6785952"/>
              <a:gd name="connsiteY22375" fmla="*/ 659505 h 5217112"/>
              <a:gd name="connsiteX22376" fmla="*/ 3570528 w 6785952"/>
              <a:gd name="connsiteY22376" fmla="*/ 659613 h 5217112"/>
              <a:gd name="connsiteX22377" fmla="*/ 3569978 w 6785952"/>
              <a:gd name="connsiteY22377" fmla="*/ 662556 h 5217112"/>
              <a:gd name="connsiteX22378" fmla="*/ 3569704 w 6785952"/>
              <a:gd name="connsiteY22378" fmla="*/ 662665 h 5217112"/>
              <a:gd name="connsiteX22379" fmla="*/ 3576845 w 6785952"/>
              <a:gd name="connsiteY22379" fmla="*/ 662991 h 5217112"/>
              <a:gd name="connsiteX22380" fmla="*/ 3612282 w 6785952"/>
              <a:gd name="connsiteY22380" fmla="*/ 663210 h 5217112"/>
              <a:gd name="connsiteX22381" fmla="*/ 3611457 w 6785952"/>
              <a:gd name="connsiteY22381" fmla="*/ 661139 h 5217112"/>
              <a:gd name="connsiteX22382" fmla="*/ 3621346 w 6785952"/>
              <a:gd name="connsiteY22382" fmla="*/ 659505 h 5217112"/>
              <a:gd name="connsiteX22383" fmla="*/ 3620797 w 6785952"/>
              <a:gd name="connsiteY22383" fmla="*/ 657216 h 5217112"/>
              <a:gd name="connsiteX22384" fmla="*/ 3627389 w 6785952"/>
              <a:gd name="connsiteY22384" fmla="*/ 647953 h 5217112"/>
              <a:gd name="connsiteX22385" fmla="*/ 3634257 w 6785952"/>
              <a:gd name="connsiteY22385" fmla="*/ 647191 h 5217112"/>
              <a:gd name="connsiteX22386" fmla="*/ 3637553 w 6785952"/>
              <a:gd name="connsiteY22386" fmla="*/ 654165 h 5217112"/>
              <a:gd name="connsiteX22387" fmla="*/ 3637278 w 6785952"/>
              <a:gd name="connsiteY22387" fmla="*/ 655799 h 5217112"/>
              <a:gd name="connsiteX22388" fmla="*/ 3646343 w 6785952"/>
              <a:gd name="connsiteY22388" fmla="*/ 652421 h 5217112"/>
              <a:gd name="connsiteX22389" fmla="*/ 3673538 w 6785952"/>
              <a:gd name="connsiteY22389" fmla="*/ 662229 h 5217112"/>
              <a:gd name="connsiteX22390" fmla="*/ 3682878 w 6785952"/>
              <a:gd name="connsiteY22390" fmla="*/ 661575 h 5217112"/>
              <a:gd name="connsiteX22391" fmla="*/ 3702106 w 6785952"/>
              <a:gd name="connsiteY22391" fmla="*/ 662446 h 5217112"/>
              <a:gd name="connsiteX22392" fmla="*/ 3717215 w 6785952"/>
              <a:gd name="connsiteY22392" fmla="*/ 657761 h 5217112"/>
              <a:gd name="connsiteX22393" fmla="*/ 3707051 w 6785952"/>
              <a:gd name="connsiteY22393" fmla="*/ 642723 h 5217112"/>
              <a:gd name="connsiteX22394" fmla="*/ 3722434 w 6785952"/>
              <a:gd name="connsiteY22394" fmla="*/ 644357 h 5217112"/>
              <a:gd name="connsiteX22395" fmla="*/ 3736443 w 6785952"/>
              <a:gd name="connsiteY22395" fmla="*/ 647953 h 5217112"/>
              <a:gd name="connsiteX22396" fmla="*/ 3736718 w 6785952"/>
              <a:gd name="connsiteY22396" fmla="*/ 646537 h 5217112"/>
              <a:gd name="connsiteX22397" fmla="*/ 3707600 w 6785952"/>
              <a:gd name="connsiteY22397" fmla="*/ 611992 h 5217112"/>
              <a:gd name="connsiteX22398" fmla="*/ 3705403 w 6785952"/>
              <a:gd name="connsiteY22398" fmla="*/ 602184 h 5217112"/>
              <a:gd name="connsiteX22399" fmla="*/ 3703205 w 6785952"/>
              <a:gd name="connsiteY22399" fmla="*/ 598698 h 5217112"/>
              <a:gd name="connsiteX22400" fmla="*/ 3695239 w 6785952"/>
              <a:gd name="connsiteY22400" fmla="*/ 577448 h 5217112"/>
              <a:gd name="connsiteX22401" fmla="*/ 3696887 w 6785952"/>
              <a:gd name="connsiteY22401" fmla="*/ 573525 h 5217112"/>
              <a:gd name="connsiteX22402" fmla="*/ 3696338 w 6785952"/>
              <a:gd name="connsiteY22402" fmla="*/ 572217 h 5217112"/>
              <a:gd name="connsiteX22403" fmla="*/ 3698535 w 6785952"/>
              <a:gd name="connsiteY22403" fmla="*/ 569602 h 5217112"/>
              <a:gd name="connsiteX22404" fmla="*/ 3702930 w 6785952"/>
              <a:gd name="connsiteY22404" fmla="*/ 576794 h 5217112"/>
              <a:gd name="connsiteX22405" fmla="*/ 3704304 w 6785952"/>
              <a:gd name="connsiteY22405" fmla="*/ 580063 h 5217112"/>
              <a:gd name="connsiteX22406" fmla="*/ 3705128 w 6785952"/>
              <a:gd name="connsiteY22406" fmla="*/ 582242 h 5217112"/>
              <a:gd name="connsiteX22407" fmla="*/ 3707051 w 6785952"/>
              <a:gd name="connsiteY22407" fmla="*/ 563826 h 5217112"/>
              <a:gd name="connsiteX22408" fmla="*/ 3771330 w 6785952"/>
              <a:gd name="connsiteY22408" fmla="*/ 517513 h 5217112"/>
              <a:gd name="connsiteX22409" fmla="*/ 3863627 w 6785952"/>
              <a:gd name="connsiteY22409" fmla="*/ 580063 h 5217112"/>
              <a:gd name="connsiteX22410" fmla="*/ 3795777 w 6785952"/>
              <a:gd name="connsiteY22410" fmla="*/ 653947 h 5217112"/>
              <a:gd name="connsiteX22411" fmla="*/ 3749903 w 6785952"/>
              <a:gd name="connsiteY22411" fmla="*/ 649697 h 5217112"/>
              <a:gd name="connsiteX22412" fmla="*/ 3750453 w 6785952"/>
              <a:gd name="connsiteY22412" fmla="*/ 651767 h 5217112"/>
              <a:gd name="connsiteX22413" fmla="*/ 3752650 w 6785952"/>
              <a:gd name="connsiteY22413" fmla="*/ 651114 h 5217112"/>
              <a:gd name="connsiteX22414" fmla="*/ 3775450 w 6785952"/>
              <a:gd name="connsiteY22414" fmla="*/ 662229 h 5217112"/>
              <a:gd name="connsiteX22415" fmla="*/ 3796327 w 6785952"/>
              <a:gd name="connsiteY22415" fmla="*/ 673889 h 5217112"/>
              <a:gd name="connsiteX22416" fmla="*/ 3798524 w 6785952"/>
              <a:gd name="connsiteY22416" fmla="*/ 674870 h 5217112"/>
              <a:gd name="connsiteX22417" fmla="*/ 3798799 w 6785952"/>
              <a:gd name="connsiteY22417" fmla="*/ 671056 h 5217112"/>
              <a:gd name="connsiteX22418" fmla="*/ 3800722 w 6785952"/>
              <a:gd name="connsiteY22418" fmla="*/ 668876 h 5217112"/>
              <a:gd name="connsiteX22419" fmla="*/ 3799074 w 6785952"/>
              <a:gd name="connsiteY22419" fmla="*/ 668441 h 5217112"/>
              <a:gd name="connsiteX22420" fmla="*/ 3795502 w 6785952"/>
              <a:gd name="connsiteY22420" fmla="*/ 665062 h 5217112"/>
              <a:gd name="connsiteX22421" fmla="*/ 3799074 w 6785952"/>
              <a:gd name="connsiteY22421" fmla="*/ 661684 h 5217112"/>
              <a:gd name="connsiteX22422" fmla="*/ 3805117 w 6785952"/>
              <a:gd name="connsiteY22422" fmla="*/ 663210 h 5217112"/>
              <a:gd name="connsiteX22423" fmla="*/ 3810336 w 6785952"/>
              <a:gd name="connsiteY22423" fmla="*/ 659505 h 5217112"/>
              <a:gd name="connsiteX22424" fmla="*/ 3816379 w 6785952"/>
              <a:gd name="connsiteY22424" fmla="*/ 656998 h 5217112"/>
              <a:gd name="connsiteX22425" fmla="*/ 3819676 w 6785952"/>
              <a:gd name="connsiteY22425" fmla="*/ 662120 h 5217112"/>
              <a:gd name="connsiteX22426" fmla="*/ 3818852 w 6785952"/>
              <a:gd name="connsiteY22426" fmla="*/ 667350 h 5217112"/>
              <a:gd name="connsiteX22427" fmla="*/ 3829840 w 6785952"/>
              <a:gd name="connsiteY22427" fmla="*/ 671600 h 5217112"/>
              <a:gd name="connsiteX22428" fmla="*/ 3843299 w 6785952"/>
              <a:gd name="connsiteY22428" fmla="*/ 672799 h 5217112"/>
              <a:gd name="connsiteX22429" fmla="*/ 3861154 w 6785952"/>
              <a:gd name="connsiteY22429" fmla="*/ 683042 h 5217112"/>
              <a:gd name="connsiteX22430" fmla="*/ 3880658 w 6785952"/>
              <a:gd name="connsiteY22430" fmla="*/ 697536 h 5217112"/>
              <a:gd name="connsiteX22431" fmla="*/ 3883405 w 6785952"/>
              <a:gd name="connsiteY22431" fmla="*/ 698844 h 5217112"/>
              <a:gd name="connsiteX22432" fmla="*/ 3889174 w 6785952"/>
              <a:gd name="connsiteY22432" fmla="*/ 701677 h 5217112"/>
              <a:gd name="connsiteX22433" fmla="*/ 3907029 w 6785952"/>
              <a:gd name="connsiteY22433" fmla="*/ 698408 h 5217112"/>
              <a:gd name="connsiteX22434" fmla="*/ 3910600 w 6785952"/>
              <a:gd name="connsiteY22434" fmla="*/ 708543 h 5217112"/>
              <a:gd name="connsiteX22435" fmla="*/ 3931476 w 6785952"/>
              <a:gd name="connsiteY22435" fmla="*/ 706690 h 5217112"/>
              <a:gd name="connsiteX22436" fmla="*/ 3962792 w 6785952"/>
              <a:gd name="connsiteY22436" fmla="*/ 708215 h 5217112"/>
              <a:gd name="connsiteX22437" fmla="*/ 3953452 w 6785952"/>
              <a:gd name="connsiteY22437" fmla="*/ 708869 h 5217112"/>
              <a:gd name="connsiteX22438" fmla="*/ 4004820 w 6785952"/>
              <a:gd name="connsiteY22438" fmla="*/ 726850 h 5217112"/>
              <a:gd name="connsiteX22439" fmla="*/ 4008941 w 6785952"/>
              <a:gd name="connsiteY22439" fmla="*/ 724780 h 5217112"/>
              <a:gd name="connsiteX22440" fmla="*/ 4009216 w 6785952"/>
              <a:gd name="connsiteY22440" fmla="*/ 722708 h 5217112"/>
              <a:gd name="connsiteX22441" fmla="*/ 4010589 w 6785952"/>
              <a:gd name="connsiteY22441" fmla="*/ 721401 h 5217112"/>
              <a:gd name="connsiteX22442" fmla="*/ 4010863 w 6785952"/>
              <a:gd name="connsiteY22442" fmla="*/ 723798 h 5217112"/>
              <a:gd name="connsiteX22443" fmla="*/ 4013885 w 6785952"/>
              <a:gd name="connsiteY22443" fmla="*/ 721946 h 5217112"/>
              <a:gd name="connsiteX22444" fmla="*/ 4025697 w 6785952"/>
              <a:gd name="connsiteY22444" fmla="*/ 724997 h 5217112"/>
              <a:gd name="connsiteX22445" fmla="*/ 4035036 w 6785952"/>
              <a:gd name="connsiteY22445" fmla="*/ 737856 h 5217112"/>
              <a:gd name="connsiteX22446" fmla="*/ 4067176 w 6785952"/>
              <a:gd name="connsiteY22446" fmla="*/ 748317 h 5217112"/>
              <a:gd name="connsiteX22447" fmla="*/ 4066352 w 6785952"/>
              <a:gd name="connsiteY22447" fmla="*/ 739490 h 5217112"/>
              <a:gd name="connsiteX22448" fmla="*/ 4084482 w 6785952"/>
              <a:gd name="connsiteY22448" fmla="*/ 746029 h 5217112"/>
              <a:gd name="connsiteX22449" fmla="*/ 4087503 w 6785952"/>
              <a:gd name="connsiteY22449" fmla="*/ 748644 h 5217112"/>
              <a:gd name="connsiteX22450" fmla="*/ 4088876 w 6785952"/>
              <a:gd name="connsiteY22450" fmla="*/ 747664 h 5217112"/>
              <a:gd name="connsiteX22451" fmla="*/ 4093546 w 6785952"/>
              <a:gd name="connsiteY22451" fmla="*/ 753766 h 5217112"/>
              <a:gd name="connsiteX22452" fmla="*/ 4099315 w 6785952"/>
              <a:gd name="connsiteY22452" fmla="*/ 758779 h 5217112"/>
              <a:gd name="connsiteX22453" fmla="*/ 4102886 w 6785952"/>
              <a:gd name="connsiteY22453" fmla="*/ 762157 h 5217112"/>
              <a:gd name="connsiteX22454" fmla="*/ 4109479 w 6785952"/>
              <a:gd name="connsiteY22454" fmla="*/ 766952 h 5217112"/>
              <a:gd name="connsiteX22455" fmla="*/ 4126510 w 6785952"/>
              <a:gd name="connsiteY22455" fmla="*/ 768368 h 5217112"/>
              <a:gd name="connsiteX22456" fmla="*/ 4130081 w 6785952"/>
              <a:gd name="connsiteY22456" fmla="*/ 771855 h 5217112"/>
              <a:gd name="connsiteX22457" fmla="*/ 4126510 w 6785952"/>
              <a:gd name="connsiteY22457" fmla="*/ 775234 h 5217112"/>
              <a:gd name="connsiteX22458" fmla="*/ 4120741 w 6785952"/>
              <a:gd name="connsiteY22458" fmla="*/ 772400 h 5217112"/>
              <a:gd name="connsiteX22459" fmla="*/ 4128708 w 6785952"/>
              <a:gd name="connsiteY22459" fmla="*/ 781336 h 5217112"/>
              <a:gd name="connsiteX22460" fmla="*/ 4131454 w 6785952"/>
              <a:gd name="connsiteY22460" fmla="*/ 782644 h 5217112"/>
              <a:gd name="connsiteX22461" fmla="*/ 4137223 w 6785952"/>
              <a:gd name="connsiteY22461" fmla="*/ 785368 h 5217112"/>
              <a:gd name="connsiteX22462" fmla="*/ 4149310 w 6785952"/>
              <a:gd name="connsiteY22462" fmla="*/ 779375 h 5217112"/>
              <a:gd name="connsiteX22463" fmla="*/ 4185020 w 6785952"/>
              <a:gd name="connsiteY22463" fmla="*/ 793323 h 5217112"/>
              <a:gd name="connsiteX22464" fmla="*/ 4218258 w 6785952"/>
              <a:gd name="connsiteY22464" fmla="*/ 804765 h 5217112"/>
              <a:gd name="connsiteX22465" fmla="*/ 4217709 w 6785952"/>
              <a:gd name="connsiteY22465" fmla="*/ 803894 h 5217112"/>
              <a:gd name="connsiteX22466" fmla="*/ 4223477 w 6785952"/>
              <a:gd name="connsiteY22466" fmla="*/ 802695 h 5217112"/>
              <a:gd name="connsiteX22467" fmla="*/ 4224301 w 6785952"/>
              <a:gd name="connsiteY22467" fmla="*/ 799426 h 5217112"/>
              <a:gd name="connsiteX22468" fmla="*/ 4228971 w 6785952"/>
              <a:gd name="connsiteY22468" fmla="*/ 790381 h 5217112"/>
              <a:gd name="connsiteX22469" fmla="*/ 4228147 w 6785952"/>
              <a:gd name="connsiteY22469" fmla="*/ 789618 h 5217112"/>
              <a:gd name="connsiteX22470" fmla="*/ 4228147 w 6785952"/>
              <a:gd name="connsiteY22470" fmla="*/ 785259 h 5217112"/>
              <a:gd name="connsiteX22471" fmla="*/ 4233641 w 6785952"/>
              <a:gd name="connsiteY22471" fmla="*/ 781009 h 5217112"/>
              <a:gd name="connsiteX22472" fmla="*/ 4234465 w 6785952"/>
              <a:gd name="connsiteY22472" fmla="*/ 779811 h 5217112"/>
              <a:gd name="connsiteX22473" fmla="*/ 4250397 w 6785952"/>
              <a:gd name="connsiteY22473" fmla="*/ 764772 h 5217112"/>
              <a:gd name="connsiteX22474" fmla="*/ 4264956 w 6785952"/>
              <a:gd name="connsiteY22474" fmla="*/ 758887 h 5217112"/>
              <a:gd name="connsiteX22475" fmla="*/ 4270176 w 6785952"/>
              <a:gd name="connsiteY22475" fmla="*/ 758779 h 5217112"/>
              <a:gd name="connsiteX22476" fmla="*/ 4270725 w 6785952"/>
              <a:gd name="connsiteY22476" fmla="*/ 758561 h 5217112"/>
              <a:gd name="connsiteX22477" fmla="*/ 4270725 w 6785952"/>
              <a:gd name="connsiteY22477" fmla="*/ 758125 h 5217112"/>
              <a:gd name="connsiteX22478" fmla="*/ 4279790 w 6785952"/>
              <a:gd name="connsiteY22478" fmla="*/ 747446 h 5217112"/>
              <a:gd name="connsiteX22479" fmla="*/ 4289953 w 6785952"/>
              <a:gd name="connsiteY22479" fmla="*/ 746465 h 5217112"/>
              <a:gd name="connsiteX22480" fmla="*/ 4289678 w 6785952"/>
              <a:gd name="connsiteY22480" fmla="*/ 750715 h 5217112"/>
              <a:gd name="connsiteX22481" fmla="*/ 4291877 w 6785952"/>
              <a:gd name="connsiteY22481" fmla="*/ 750061 h 5217112"/>
              <a:gd name="connsiteX22482" fmla="*/ 4289404 w 6785952"/>
              <a:gd name="connsiteY22482" fmla="*/ 751260 h 5217112"/>
              <a:gd name="connsiteX22483" fmla="*/ 4288854 w 6785952"/>
              <a:gd name="connsiteY22483" fmla="*/ 760086 h 5217112"/>
              <a:gd name="connsiteX22484" fmla="*/ 4292700 w 6785952"/>
              <a:gd name="connsiteY22484" fmla="*/ 760740 h 5217112"/>
              <a:gd name="connsiteX22485" fmla="*/ 4308084 w 6785952"/>
              <a:gd name="connsiteY22485" fmla="*/ 761830 h 5217112"/>
              <a:gd name="connsiteX22486" fmla="*/ 4329510 w 6785952"/>
              <a:gd name="connsiteY22486" fmla="*/ 786131 h 5217112"/>
              <a:gd name="connsiteX22487" fmla="*/ 4328136 w 6785952"/>
              <a:gd name="connsiteY22487" fmla="*/ 796702 h 5217112"/>
              <a:gd name="connsiteX22488" fmla="*/ 4328960 w 6785952"/>
              <a:gd name="connsiteY22488" fmla="*/ 807708 h 5217112"/>
              <a:gd name="connsiteX22489" fmla="*/ 4335553 w 6785952"/>
              <a:gd name="connsiteY22489" fmla="*/ 812393 h 5217112"/>
              <a:gd name="connsiteX22490" fmla="*/ 4336652 w 6785952"/>
              <a:gd name="connsiteY22490" fmla="*/ 826233 h 5217112"/>
              <a:gd name="connsiteX22491" fmla="*/ 4330883 w 6785952"/>
              <a:gd name="connsiteY22491" fmla="*/ 829175 h 5217112"/>
              <a:gd name="connsiteX22492" fmla="*/ 4330883 w 6785952"/>
              <a:gd name="connsiteY22492" fmla="*/ 830919 h 5217112"/>
              <a:gd name="connsiteX22493" fmla="*/ 4313577 w 6785952"/>
              <a:gd name="connsiteY22493" fmla="*/ 851733 h 5217112"/>
              <a:gd name="connsiteX22494" fmla="*/ 4311929 w 6785952"/>
              <a:gd name="connsiteY22494" fmla="*/ 853803 h 5217112"/>
              <a:gd name="connsiteX22495" fmla="*/ 4316324 w 6785952"/>
              <a:gd name="connsiteY22495" fmla="*/ 854239 h 5217112"/>
              <a:gd name="connsiteX22496" fmla="*/ 4321818 w 6785952"/>
              <a:gd name="connsiteY22496" fmla="*/ 860559 h 5217112"/>
              <a:gd name="connsiteX22497" fmla="*/ 4327861 w 6785952"/>
              <a:gd name="connsiteY22497" fmla="*/ 858162 h 5217112"/>
              <a:gd name="connsiteX22498" fmla="*/ 4342969 w 6785952"/>
              <a:gd name="connsiteY22498" fmla="*/ 860450 h 5217112"/>
              <a:gd name="connsiteX22499" fmla="*/ 4347914 w 6785952"/>
              <a:gd name="connsiteY22499" fmla="*/ 867098 h 5217112"/>
              <a:gd name="connsiteX22500" fmla="*/ 4348738 w 6785952"/>
              <a:gd name="connsiteY22500" fmla="*/ 867098 h 5217112"/>
              <a:gd name="connsiteX22501" fmla="*/ 4352035 w 6785952"/>
              <a:gd name="connsiteY22501" fmla="*/ 875925 h 5217112"/>
              <a:gd name="connsiteX22502" fmla="*/ 4349013 w 6785952"/>
              <a:gd name="connsiteY22502" fmla="*/ 878540 h 5217112"/>
              <a:gd name="connsiteX22503" fmla="*/ 4350111 w 6785952"/>
              <a:gd name="connsiteY22503" fmla="*/ 879194 h 5217112"/>
              <a:gd name="connsiteX22504" fmla="*/ 4369890 w 6785952"/>
              <a:gd name="connsiteY22504" fmla="*/ 885406 h 5217112"/>
              <a:gd name="connsiteX22505" fmla="*/ 4384449 w 6785952"/>
              <a:gd name="connsiteY22505" fmla="*/ 901642 h 5217112"/>
              <a:gd name="connsiteX22506" fmla="*/ 4388019 w 6785952"/>
              <a:gd name="connsiteY22506" fmla="*/ 895539 h 5217112"/>
              <a:gd name="connsiteX22507" fmla="*/ 4397634 w 6785952"/>
              <a:gd name="connsiteY22507" fmla="*/ 891835 h 5217112"/>
              <a:gd name="connsiteX22508" fmla="*/ 4393238 w 6785952"/>
              <a:gd name="connsiteY22508" fmla="*/ 910796 h 5217112"/>
              <a:gd name="connsiteX22509" fmla="*/ 4404226 w 6785952"/>
              <a:gd name="connsiteY22509" fmla="*/ 922347 h 5217112"/>
              <a:gd name="connsiteX22510" fmla="*/ 4407797 w 6785952"/>
              <a:gd name="connsiteY22510" fmla="*/ 925943 h 5217112"/>
              <a:gd name="connsiteX22511" fmla="*/ 4407248 w 6785952"/>
              <a:gd name="connsiteY22511" fmla="*/ 923764 h 5217112"/>
              <a:gd name="connsiteX22512" fmla="*/ 4410545 w 6785952"/>
              <a:gd name="connsiteY22512" fmla="*/ 925399 h 5217112"/>
              <a:gd name="connsiteX22513" fmla="*/ 4410820 w 6785952"/>
              <a:gd name="connsiteY22513" fmla="*/ 924418 h 5217112"/>
              <a:gd name="connsiteX22514" fmla="*/ 4450375 w 6785952"/>
              <a:gd name="connsiteY22514" fmla="*/ 909815 h 5217112"/>
              <a:gd name="connsiteX22515" fmla="*/ 4473999 w 6785952"/>
              <a:gd name="connsiteY22515" fmla="*/ 921257 h 5217112"/>
              <a:gd name="connsiteX22516" fmla="*/ 4483339 w 6785952"/>
              <a:gd name="connsiteY22516" fmla="*/ 925943 h 5217112"/>
              <a:gd name="connsiteX22517" fmla="*/ 4487459 w 6785952"/>
              <a:gd name="connsiteY22517" fmla="*/ 919623 h 5217112"/>
              <a:gd name="connsiteX22518" fmla="*/ 4491030 w 6785952"/>
              <a:gd name="connsiteY22518" fmla="*/ 924635 h 5217112"/>
              <a:gd name="connsiteX22519" fmla="*/ 4489382 w 6785952"/>
              <a:gd name="connsiteY22519" fmla="*/ 928777 h 5217112"/>
              <a:gd name="connsiteX22520" fmla="*/ 4497898 w 6785952"/>
              <a:gd name="connsiteY22520" fmla="*/ 932809 h 5217112"/>
              <a:gd name="connsiteX22521" fmla="*/ 4502017 w 6785952"/>
              <a:gd name="connsiteY22521" fmla="*/ 947520 h 5217112"/>
              <a:gd name="connsiteX22522" fmla="*/ 4509709 w 6785952"/>
              <a:gd name="connsiteY22522" fmla="*/ 944905 h 5217112"/>
              <a:gd name="connsiteX22523" fmla="*/ 4509984 w 6785952"/>
              <a:gd name="connsiteY22523" fmla="*/ 953949 h 5217112"/>
              <a:gd name="connsiteX22524" fmla="*/ 4506962 w 6785952"/>
              <a:gd name="connsiteY22524" fmla="*/ 957436 h 5217112"/>
              <a:gd name="connsiteX22525" fmla="*/ 4509984 w 6785952"/>
              <a:gd name="connsiteY22525" fmla="*/ 963539 h 5217112"/>
              <a:gd name="connsiteX22526" fmla="*/ 4510808 w 6785952"/>
              <a:gd name="connsiteY22526" fmla="*/ 961904 h 5217112"/>
              <a:gd name="connsiteX22527" fmla="*/ 4515203 w 6785952"/>
              <a:gd name="connsiteY22527" fmla="*/ 974110 h 5217112"/>
              <a:gd name="connsiteX22528" fmla="*/ 4521796 w 6785952"/>
              <a:gd name="connsiteY22528" fmla="*/ 992526 h 5217112"/>
              <a:gd name="connsiteX22529" fmla="*/ 4516851 w 6785952"/>
              <a:gd name="connsiteY22529" fmla="*/ 987186 h 5217112"/>
              <a:gd name="connsiteX22530" fmla="*/ 4514929 w 6785952"/>
              <a:gd name="connsiteY22530" fmla="*/ 987840 h 5217112"/>
              <a:gd name="connsiteX22531" fmla="*/ 4514379 w 6785952"/>
              <a:gd name="connsiteY22531" fmla="*/ 992417 h 5217112"/>
              <a:gd name="connsiteX22532" fmla="*/ 4520972 w 6785952"/>
              <a:gd name="connsiteY22532" fmla="*/ 992853 h 5217112"/>
              <a:gd name="connsiteX22533" fmla="*/ 4533333 w 6785952"/>
              <a:gd name="connsiteY22533" fmla="*/ 998192 h 5217112"/>
              <a:gd name="connsiteX22534" fmla="*/ 4559704 w 6785952"/>
              <a:gd name="connsiteY22534" fmla="*/ 985987 h 5217112"/>
              <a:gd name="connsiteX22535" fmla="*/ 4587997 w 6785952"/>
              <a:gd name="connsiteY22535" fmla="*/ 1002224 h 5217112"/>
              <a:gd name="connsiteX22536" fmla="*/ 4592942 w 6785952"/>
              <a:gd name="connsiteY22536" fmla="*/ 1000808 h 5217112"/>
              <a:gd name="connsiteX22537" fmla="*/ 4594315 w 6785952"/>
              <a:gd name="connsiteY22537" fmla="*/ 998628 h 5217112"/>
              <a:gd name="connsiteX22538" fmla="*/ 4595964 w 6785952"/>
              <a:gd name="connsiteY22538" fmla="*/ 993288 h 5217112"/>
              <a:gd name="connsiteX22539" fmla="*/ 4597886 w 6785952"/>
              <a:gd name="connsiteY22539" fmla="*/ 988494 h 5217112"/>
              <a:gd name="connsiteX22540" fmla="*/ 4594865 w 6785952"/>
              <a:gd name="connsiteY22540" fmla="*/ 991000 h 5217112"/>
              <a:gd name="connsiteX22541" fmla="*/ 4597062 w 6785952"/>
              <a:gd name="connsiteY22541" fmla="*/ 960161 h 5217112"/>
              <a:gd name="connsiteX22542" fmla="*/ 4600084 w 6785952"/>
              <a:gd name="connsiteY22542" fmla="*/ 964847 h 5217112"/>
              <a:gd name="connsiteX22543" fmla="*/ 4601732 w 6785952"/>
              <a:gd name="connsiteY22543" fmla="*/ 963103 h 5217112"/>
              <a:gd name="connsiteX22544" fmla="*/ 4603106 w 6785952"/>
              <a:gd name="connsiteY22544" fmla="*/ 964520 h 5217112"/>
              <a:gd name="connsiteX22545" fmla="*/ 4601732 w 6785952"/>
              <a:gd name="connsiteY22545" fmla="*/ 965827 h 5217112"/>
              <a:gd name="connsiteX22546" fmla="*/ 4601183 w 6785952"/>
              <a:gd name="connsiteY22546" fmla="*/ 966372 h 5217112"/>
              <a:gd name="connsiteX22547" fmla="*/ 4601732 w 6785952"/>
              <a:gd name="connsiteY22547" fmla="*/ 967244 h 5217112"/>
              <a:gd name="connsiteX22548" fmla="*/ 4602831 w 6785952"/>
              <a:gd name="connsiteY22548" fmla="*/ 972802 h 5217112"/>
              <a:gd name="connsiteX22549" fmla="*/ 4603106 w 6785952"/>
              <a:gd name="connsiteY22549" fmla="*/ 972693 h 5217112"/>
              <a:gd name="connsiteX22550" fmla="*/ 4612995 w 6785952"/>
              <a:gd name="connsiteY22550" fmla="*/ 971385 h 5217112"/>
              <a:gd name="connsiteX22551" fmla="*/ 4612995 w 6785952"/>
              <a:gd name="connsiteY22551" fmla="*/ 974110 h 5217112"/>
              <a:gd name="connsiteX22552" fmla="*/ 4624532 w 6785952"/>
              <a:gd name="connsiteY22552" fmla="*/ 961796 h 5217112"/>
              <a:gd name="connsiteX22553" fmla="*/ 4631124 w 6785952"/>
              <a:gd name="connsiteY22553" fmla="*/ 954712 h 5217112"/>
              <a:gd name="connsiteX22554" fmla="*/ 4630850 w 6785952"/>
              <a:gd name="connsiteY22554" fmla="*/ 952532 h 5217112"/>
              <a:gd name="connsiteX22555" fmla="*/ 4631674 w 6785952"/>
              <a:gd name="connsiteY22555" fmla="*/ 943924 h 5217112"/>
              <a:gd name="connsiteX22556" fmla="*/ 4641288 w 6785952"/>
              <a:gd name="connsiteY22556" fmla="*/ 943270 h 5217112"/>
              <a:gd name="connsiteX22557" fmla="*/ 4643211 w 6785952"/>
              <a:gd name="connsiteY22557" fmla="*/ 941200 h 5217112"/>
              <a:gd name="connsiteX22558" fmla="*/ 4644585 w 6785952"/>
              <a:gd name="connsiteY22558" fmla="*/ 938475 h 5217112"/>
              <a:gd name="connsiteX22559" fmla="*/ 4647331 w 6785952"/>
              <a:gd name="connsiteY22559" fmla="*/ 938475 h 5217112"/>
              <a:gd name="connsiteX22560" fmla="*/ 4647331 w 6785952"/>
              <a:gd name="connsiteY22560" fmla="*/ 939783 h 5217112"/>
              <a:gd name="connsiteX22561" fmla="*/ 4647331 w 6785952"/>
              <a:gd name="connsiteY22561" fmla="*/ 941200 h 5217112"/>
              <a:gd name="connsiteX22562" fmla="*/ 4653100 w 6785952"/>
              <a:gd name="connsiteY22562" fmla="*/ 938475 h 5217112"/>
              <a:gd name="connsiteX22563" fmla="*/ 4654749 w 6785952"/>
              <a:gd name="connsiteY22563" fmla="*/ 934334 h 5217112"/>
              <a:gd name="connsiteX22564" fmla="*/ 4656122 w 6785952"/>
              <a:gd name="connsiteY22564" fmla="*/ 933026 h 5217112"/>
              <a:gd name="connsiteX22565" fmla="*/ 4650353 w 6785952"/>
              <a:gd name="connsiteY22565" fmla="*/ 937059 h 5217112"/>
              <a:gd name="connsiteX22566" fmla="*/ 4653100 w 6785952"/>
              <a:gd name="connsiteY22566" fmla="*/ 930520 h 5217112"/>
              <a:gd name="connsiteX22567" fmla="*/ 4652276 w 6785952"/>
              <a:gd name="connsiteY22567" fmla="*/ 929648 h 5217112"/>
              <a:gd name="connsiteX22568" fmla="*/ 4647331 w 6785952"/>
              <a:gd name="connsiteY22568" fmla="*/ 931283 h 5217112"/>
              <a:gd name="connsiteX22569" fmla="*/ 4627554 w 6785952"/>
              <a:gd name="connsiteY22569" fmla="*/ 919078 h 5217112"/>
              <a:gd name="connsiteX22570" fmla="*/ 4607776 w 6785952"/>
              <a:gd name="connsiteY22570" fmla="*/ 933245 h 5217112"/>
              <a:gd name="connsiteX22571" fmla="*/ 4603380 w 6785952"/>
              <a:gd name="connsiteY22571" fmla="*/ 921040 h 5217112"/>
              <a:gd name="connsiteX22572" fmla="*/ 4605578 w 6785952"/>
              <a:gd name="connsiteY22572" fmla="*/ 902841 h 5217112"/>
              <a:gd name="connsiteX22573" fmla="*/ 4557507 w 6785952"/>
              <a:gd name="connsiteY22573" fmla="*/ 910905 h 5217112"/>
              <a:gd name="connsiteX22574" fmla="*/ 4553111 w 6785952"/>
              <a:gd name="connsiteY22574" fmla="*/ 906873 h 5217112"/>
              <a:gd name="connsiteX22575" fmla="*/ 4555308 w 6785952"/>
              <a:gd name="connsiteY22575" fmla="*/ 896738 h 5217112"/>
              <a:gd name="connsiteX22576" fmla="*/ 4537728 w 6785952"/>
              <a:gd name="connsiteY22576" fmla="*/ 880501 h 5217112"/>
              <a:gd name="connsiteX22577" fmla="*/ 4502567 w 6785952"/>
              <a:gd name="connsiteY22577" fmla="*/ 906873 h 5217112"/>
              <a:gd name="connsiteX22578" fmla="*/ 4502292 w 6785952"/>
              <a:gd name="connsiteY22578" fmla="*/ 906764 h 5217112"/>
              <a:gd name="connsiteX22579" fmla="*/ 4495974 w 6785952"/>
              <a:gd name="connsiteY22579" fmla="*/ 908943 h 5217112"/>
              <a:gd name="connsiteX22580" fmla="*/ 4497623 w 6785952"/>
              <a:gd name="connsiteY22580" fmla="*/ 904475 h 5217112"/>
              <a:gd name="connsiteX22581" fmla="*/ 4495700 w 6785952"/>
              <a:gd name="connsiteY22581" fmla="*/ 903604 h 5217112"/>
              <a:gd name="connsiteX22582" fmla="*/ 4493777 w 6785952"/>
              <a:gd name="connsiteY22582" fmla="*/ 898809 h 5217112"/>
              <a:gd name="connsiteX22583" fmla="*/ 4499546 w 6785952"/>
              <a:gd name="connsiteY22583" fmla="*/ 888566 h 5217112"/>
              <a:gd name="connsiteX22584" fmla="*/ 4501468 w 6785952"/>
              <a:gd name="connsiteY22584" fmla="*/ 887040 h 5217112"/>
              <a:gd name="connsiteX22585" fmla="*/ 4502017 w 6785952"/>
              <a:gd name="connsiteY22585" fmla="*/ 880938 h 5217112"/>
              <a:gd name="connsiteX22586" fmla="*/ 4502017 w 6785952"/>
              <a:gd name="connsiteY22586" fmla="*/ 880393 h 5217112"/>
              <a:gd name="connsiteX22587" fmla="*/ 4498172 w 6785952"/>
              <a:gd name="connsiteY22587" fmla="*/ 873854 h 5217112"/>
              <a:gd name="connsiteX22588" fmla="*/ 4497623 w 6785952"/>
              <a:gd name="connsiteY22588" fmla="*/ 867098 h 5217112"/>
              <a:gd name="connsiteX22589" fmla="*/ 4497898 w 6785952"/>
              <a:gd name="connsiteY22589" fmla="*/ 866553 h 5217112"/>
              <a:gd name="connsiteX22590" fmla="*/ 4496798 w 6785952"/>
              <a:gd name="connsiteY22590" fmla="*/ 866771 h 5217112"/>
              <a:gd name="connsiteX22591" fmla="*/ 4493777 w 6785952"/>
              <a:gd name="connsiteY22591" fmla="*/ 867425 h 5217112"/>
              <a:gd name="connsiteX22592" fmla="*/ 4490755 w 6785952"/>
              <a:gd name="connsiteY22592" fmla="*/ 864156 h 5217112"/>
              <a:gd name="connsiteX22593" fmla="*/ 4492129 w 6785952"/>
              <a:gd name="connsiteY22593" fmla="*/ 863393 h 5217112"/>
              <a:gd name="connsiteX22594" fmla="*/ 4497073 w 6785952"/>
              <a:gd name="connsiteY22594" fmla="*/ 859360 h 5217112"/>
              <a:gd name="connsiteX22595" fmla="*/ 4499271 w 6785952"/>
              <a:gd name="connsiteY22595" fmla="*/ 864701 h 5217112"/>
              <a:gd name="connsiteX22596" fmla="*/ 4502567 w 6785952"/>
              <a:gd name="connsiteY22596" fmla="*/ 859905 h 5217112"/>
              <a:gd name="connsiteX22597" fmla="*/ 4508611 w 6785952"/>
              <a:gd name="connsiteY22597" fmla="*/ 857726 h 5217112"/>
              <a:gd name="connsiteX22598" fmla="*/ 4510808 w 6785952"/>
              <a:gd name="connsiteY22598" fmla="*/ 853258 h 5217112"/>
              <a:gd name="connsiteX22599" fmla="*/ 4513005 w 6785952"/>
              <a:gd name="connsiteY22599" fmla="*/ 856745 h 5217112"/>
              <a:gd name="connsiteX22600" fmla="*/ 4522070 w 6785952"/>
              <a:gd name="connsiteY22600" fmla="*/ 858271 h 5217112"/>
              <a:gd name="connsiteX22601" fmla="*/ 4526740 w 6785952"/>
              <a:gd name="connsiteY22601" fmla="*/ 862303 h 5217112"/>
              <a:gd name="connsiteX22602" fmla="*/ 4520148 w 6785952"/>
              <a:gd name="connsiteY22602" fmla="*/ 844431 h 5217112"/>
              <a:gd name="connsiteX22603" fmla="*/ 4511357 w 6785952"/>
              <a:gd name="connsiteY22603" fmla="*/ 823617 h 5217112"/>
              <a:gd name="connsiteX22604" fmla="*/ 4478669 w 6785952"/>
              <a:gd name="connsiteY22604" fmla="*/ 809451 h 5217112"/>
              <a:gd name="connsiteX22605" fmla="*/ 4497073 w 6785952"/>
              <a:gd name="connsiteY22605" fmla="*/ 781772 h 5217112"/>
              <a:gd name="connsiteX22606" fmla="*/ 4498996 w 6785952"/>
              <a:gd name="connsiteY22606" fmla="*/ 772836 h 5217112"/>
              <a:gd name="connsiteX22607" fmla="*/ 4498172 w 6785952"/>
              <a:gd name="connsiteY22607" fmla="*/ 771965 h 5217112"/>
              <a:gd name="connsiteX22608" fmla="*/ 4498996 w 6785952"/>
              <a:gd name="connsiteY22608" fmla="*/ 771746 h 5217112"/>
              <a:gd name="connsiteX22609" fmla="*/ 4500095 w 6785952"/>
              <a:gd name="connsiteY22609" fmla="*/ 766734 h 5217112"/>
              <a:gd name="connsiteX22610" fmla="*/ 4497348 w 6785952"/>
              <a:gd name="connsiteY22610" fmla="*/ 762048 h 5217112"/>
              <a:gd name="connsiteX22611" fmla="*/ 4495700 w 6785952"/>
              <a:gd name="connsiteY22611" fmla="*/ 753439 h 5217112"/>
              <a:gd name="connsiteX22612" fmla="*/ 4496524 w 6785952"/>
              <a:gd name="connsiteY22612" fmla="*/ 753439 h 5217112"/>
              <a:gd name="connsiteX22613" fmla="*/ 4493777 w 6785952"/>
              <a:gd name="connsiteY22613" fmla="*/ 748644 h 5217112"/>
              <a:gd name="connsiteX22614" fmla="*/ 4486361 w 6785952"/>
              <a:gd name="connsiteY22614" fmla="*/ 747227 h 5217112"/>
              <a:gd name="connsiteX22615" fmla="*/ 4486086 w 6785952"/>
              <a:gd name="connsiteY22615" fmla="*/ 747446 h 5217112"/>
              <a:gd name="connsiteX22616" fmla="*/ 4486086 w 6785952"/>
              <a:gd name="connsiteY22616" fmla="*/ 747227 h 5217112"/>
              <a:gd name="connsiteX22617" fmla="*/ 4481141 w 6785952"/>
              <a:gd name="connsiteY22617" fmla="*/ 746356 h 5217112"/>
              <a:gd name="connsiteX22618" fmla="*/ 4465484 w 6785952"/>
              <a:gd name="connsiteY22618" fmla="*/ 742542 h 5217112"/>
              <a:gd name="connsiteX22619" fmla="*/ 4474548 w 6785952"/>
              <a:gd name="connsiteY22619" fmla="*/ 736112 h 5217112"/>
              <a:gd name="connsiteX22620" fmla="*/ 4472900 w 6785952"/>
              <a:gd name="connsiteY22620" fmla="*/ 735567 h 5217112"/>
              <a:gd name="connsiteX22621" fmla="*/ 4472351 w 6785952"/>
              <a:gd name="connsiteY22621" fmla="*/ 732298 h 5217112"/>
              <a:gd name="connsiteX22622" fmla="*/ 4472076 w 6785952"/>
              <a:gd name="connsiteY22622" fmla="*/ 732407 h 5217112"/>
              <a:gd name="connsiteX22623" fmla="*/ 4458616 w 6785952"/>
              <a:gd name="connsiteY22623" fmla="*/ 720203 h 5217112"/>
              <a:gd name="connsiteX22624" fmla="*/ 4450101 w 6785952"/>
              <a:gd name="connsiteY22624" fmla="*/ 712138 h 5217112"/>
              <a:gd name="connsiteX22625" fmla="*/ 4436915 w 6785952"/>
              <a:gd name="connsiteY22625" fmla="*/ 714100 h 5217112"/>
              <a:gd name="connsiteX22626" fmla="*/ 4430322 w 6785952"/>
              <a:gd name="connsiteY22626" fmla="*/ 710068 h 5217112"/>
              <a:gd name="connsiteX22627" fmla="*/ 4445705 w 6785952"/>
              <a:gd name="connsiteY22627" fmla="*/ 706036 h 5217112"/>
              <a:gd name="connsiteX22628" fmla="*/ 4443508 w 6785952"/>
              <a:gd name="connsiteY22628" fmla="*/ 695901 h 5217112"/>
              <a:gd name="connsiteX22629" fmla="*/ 4441310 w 6785952"/>
              <a:gd name="connsiteY22629" fmla="*/ 695901 h 5217112"/>
              <a:gd name="connsiteX22630" fmla="*/ 4441310 w 6785952"/>
              <a:gd name="connsiteY22630" fmla="*/ 671491 h 5217112"/>
              <a:gd name="connsiteX22631" fmla="*/ 4450101 w 6785952"/>
              <a:gd name="connsiteY22631" fmla="*/ 651222 h 5217112"/>
              <a:gd name="connsiteX22632" fmla="*/ 4445705 w 6785952"/>
              <a:gd name="connsiteY22632" fmla="*/ 639017 h 5217112"/>
              <a:gd name="connsiteX22633" fmla="*/ 4447628 w 6785952"/>
              <a:gd name="connsiteY22633" fmla="*/ 636947 h 5217112"/>
              <a:gd name="connsiteX22634" fmla="*/ 4447353 w 6785952"/>
              <a:gd name="connsiteY22634" fmla="*/ 633569 h 5217112"/>
              <a:gd name="connsiteX22635" fmla="*/ 4446804 w 6785952"/>
              <a:gd name="connsiteY22635" fmla="*/ 628447 h 5217112"/>
              <a:gd name="connsiteX22636" fmla="*/ 4454496 w 6785952"/>
              <a:gd name="connsiteY22636" fmla="*/ 622018 h 5217112"/>
              <a:gd name="connsiteX22637" fmla="*/ 4463011 w 6785952"/>
              <a:gd name="connsiteY22637" fmla="*/ 620383 h 5217112"/>
              <a:gd name="connsiteX22638" fmla="*/ 4471527 w 6785952"/>
              <a:gd name="connsiteY22638" fmla="*/ 630300 h 5217112"/>
              <a:gd name="connsiteX22639" fmla="*/ 4471527 w 6785952"/>
              <a:gd name="connsiteY22639" fmla="*/ 633787 h 5217112"/>
              <a:gd name="connsiteX22640" fmla="*/ 4473449 w 6785952"/>
              <a:gd name="connsiteY22640" fmla="*/ 633133 h 5217112"/>
              <a:gd name="connsiteX22641" fmla="*/ 4487185 w 6785952"/>
              <a:gd name="connsiteY22641" fmla="*/ 606544 h 5217112"/>
              <a:gd name="connsiteX22642" fmla="*/ 4489382 w 6785952"/>
              <a:gd name="connsiteY22642" fmla="*/ 602947 h 5217112"/>
              <a:gd name="connsiteX22643" fmla="*/ 4492679 w 6785952"/>
              <a:gd name="connsiteY22643" fmla="*/ 598806 h 5217112"/>
              <a:gd name="connsiteX22644" fmla="*/ 4486635 w 6785952"/>
              <a:gd name="connsiteY22644" fmla="*/ 599678 h 5217112"/>
              <a:gd name="connsiteX22645" fmla="*/ 4498996 w 6785952"/>
              <a:gd name="connsiteY22645" fmla="*/ 588127 h 5217112"/>
              <a:gd name="connsiteX22646" fmla="*/ 4502842 w 6785952"/>
              <a:gd name="connsiteY22646" fmla="*/ 587800 h 5217112"/>
              <a:gd name="connsiteX22647" fmla="*/ 4506687 w 6785952"/>
              <a:gd name="connsiteY22647" fmla="*/ 581807 h 5217112"/>
              <a:gd name="connsiteX22648" fmla="*/ 4512456 w 6785952"/>
              <a:gd name="connsiteY22648" fmla="*/ 578101 h 5217112"/>
              <a:gd name="connsiteX22649" fmla="*/ 4511083 w 6785952"/>
              <a:gd name="connsiteY22649" fmla="*/ 578647 h 5217112"/>
              <a:gd name="connsiteX22650" fmla="*/ 4492129 w 6785952"/>
              <a:gd name="connsiteY22650" fmla="*/ 564371 h 5217112"/>
              <a:gd name="connsiteX22651" fmla="*/ 4496798 w 6785952"/>
              <a:gd name="connsiteY22651" fmla="*/ 564262 h 5217112"/>
              <a:gd name="connsiteX22652" fmla="*/ 4498447 w 6785952"/>
              <a:gd name="connsiteY22652" fmla="*/ 565134 h 5217112"/>
              <a:gd name="connsiteX22653" fmla="*/ 4499820 w 6785952"/>
              <a:gd name="connsiteY22653" fmla="*/ 564589 h 5217112"/>
              <a:gd name="connsiteX22654" fmla="*/ 4500095 w 6785952"/>
              <a:gd name="connsiteY22654" fmla="*/ 566005 h 5217112"/>
              <a:gd name="connsiteX22655" fmla="*/ 4503666 w 6785952"/>
              <a:gd name="connsiteY22655" fmla="*/ 567749 h 5217112"/>
              <a:gd name="connsiteX22656" fmla="*/ 4513005 w 6785952"/>
              <a:gd name="connsiteY22656" fmla="*/ 568839 h 5217112"/>
              <a:gd name="connsiteX22657" fmla="*/ 4520697 w 6785952"/>
              <a:gd name="connsiteY22657" fmla="*/ 575050 h 5217112"/>
              <a:gd name="connsiteX22658" fmla="*/ 4518774 w 6785952"/>
              <a:gd name="connsiteY22658" fmla="*/ 578864 h 5217112"/>
              <a:gd name="connsiteX22659" fmla="*/ 4522070 w 6785952"/>
              <a:gd name="connsiteY22659" fmla="*/ 580608 h 5217112"/>
              <a:gd name="connsiteX22660" fmla="*/ 4528388 w 6785952"/>
              <a:gd name="connsiteY22660" fmla="*/ 587037 h 5217112"/>
              <a:gd name="connsiteX22661" fmla="*/ 4531136 w 6785952"/>
              <a:gd name="connsiteY22661" fmla="*/ 586275 h 5217112"/>
              <a:gd name="connsiteX22662" fmla="*/ 4544321 w 6785952"/>
              <a:gd name="connsiteY22662" fmla="*/ 592486 h 5217112"/>
              <a:gd name="connsiteX22663" fmla="*/ 4531410 w 6785952"/>
              <a:gd name="connsiteY22663" fmla="*/ 566115 h 5217112"/>
              <a:gd name="connsiteX22664" fmla="*/ 4570692 w 6785952"/>
              <a:gd name="connsiteY22664" fmla="*/ 586275 h 5217112"/>
              <a:gd name="connsiteX22665" fmla="*/ 4581405 w 6785952"/>
              <a:gd name="connsiteY22665" fmla="*/ 585185 h 5217112"/>
              <a:gd name="connsiteX22666" fmla="*/ 4587722 w 6785952"/>
              <a:gd name="connsiteY22666" fmla="*/ 581589 h 5217112"/>
              <a:gd name="connsiteX22667" fmla="*/ 4586075 w 6785952"/>
              <a:gd name="connsiteY22667" fmla="*/ 578538 h 5217112"/>
              <a:gd name="connsiteX22668" fmla="*/ 4587997 w 6785952"/>
              <a:gd name="connsiteY22668" fmla="*/ 565679 h 5217112"/>
              <a:gd name="connsiteX22669" fmla="*/ 4596238 w 6785952"/>
              <a:gd name="connsiteY22669" fmla="*/ 557942 h 5217112"/>
              <a:gd name="connsiteX22670" fmla="*/ 4596788 w 6785952"/>
              <a:gd name="connsiteY22670" fmla="*/ 554999 h 5217112"/>
              <a:gd name="connsiteX22671" fmla="*/ 4603380 w 6785952"/>
              <a:gd name="connsiteY22671" fmla="*/ 549768 h 5217112"/>
              <a:gd name="connsiteX22672" fmla="*/ 4623159 w 6785952"/>
              <a:gd name="connsiteY22672" fmla="*/ 557942 h 5217112"/>
              <a:gd name="connsiteX22673" fmla="*/ 4647331 w 6785952"/>
              <a:gd name="connsiteY22673" fmla="*/ 535602 h 5217112"/>
              <a:gd name="connsiteX22674" fmla="*/ 4656122 w 6785952"/>
              <a:gd name="connsiteY22674" fmla="*/ 537563 h 5217112"/>
              <a:gd name="connsiteX22675" fmla="*/ 4658319 w 6785952"/>
              <a:gd name="connsiteY22675" fmla="*/ 525468 h 5217112"/>
              <a:gd name="connsiteX22676" fmla="*/ 4651727 w 6785952"/>
              <a:gd name="connsiteY22676" fmla="*/ 495064 h 5217112"/>
              <a:gd name="connsiteX22677" fmla="*/ 4658319 w 6785952"/>
              <a:gd name="connsiteY22677" fmla="*/ 484821 h 5217112"/>
              <a:gd name="connsiteX22678" fmla="*/ 4667110 w 6785952"/>
              <a:gd name="connsiteY22678" fmla="*/ 491033 h 5217112"/>
              <a:gd name="connsiteX22679" fmla="*/ 4664912 w 6785952"/>
              <a:gd name="connsiteY22679" fmla="*/ 507160 h 5217112"/>
              <a:gd name="connsiteX22680" fmla="*/ 4680020 w 6785952"/>
              <a:gd name="connsiteY22680" fmla="*/ 529500 h 5217112"/>
              <a:gd name="connsiteX22681" fmla="*/ 4686613 w 6785952"/>
              <a:gd name="connsiteY22681" fmla="*/ 529282 h 5217112"/>
              <a:gd name="connsiteX22682" fmla="*/ 4688261 w 6785952"/>
              <a:gd name="connsiteY22682" fmla="*/ 528846 h 5217112"/>
              <a:gd name="connsiteX22683" fmla="*/ 4681119 w 6785952"/>
              <a:gd name="connsiteY22683" fmla="*/ 524595 h 5217112"/>
              <a:gd name="connsiteX22684" fmla="*/ 4684415 w 6785952"/>
              <a:gd name="connsiteY22684" fmla="*/ 507160 h 5217112"/>
              <a:gd name="connsiteX22685" fmla="*/ 4690458 w 6785952"/>
              <a:gd name="connsiteY22685" fmla="*/ 505634 h 5217112"/>
              <a:gd name="connsiteX22686" fmla="*/ 4700897 w 6785952"/>
              <a:gd name="connsiteY22686" fmla="*/ 509776 h 5217112"/>
              <a:gd name="connsiteX22687" fmla="*/ 4700897 w 6785952"/>
              <a:gd name="connsiteY22687" fmla="*/ 522634 h 5217112"/>
              <a:gd name="connsiteX22688" fmla="*/ 4699798 w 6785952"/>
              <a:gd name="connsiteY22688" fmla="*/ 524487 h 5217112"/>
              <a:gd name="connsiteX22689" fmla="*/ 4704194 w 6785952"/>
              <a:gd name="connsiteY22689" fmla="*/ 523506 h 5217112"/>
              <a:gd name="connsiteX22690" fmla="*/ 4717379 w 6785952"/>
              <a:gd name="connsiteY22690" fmla="*/ 533531 h 5217112"/>
              <a:gd name="connsiteX22691" fmla="*/ 4723971 w 6785952"/>
              <a:gd name="connsiteY22691" fmla="*/ 537563 h 5217112"/>
              <a:gd name="connsiteX22692" fmla="*/ 4726718 w 6785952"/>
              <a:gd name="connsiteY22692" fmla="*/ 536474 h 5217112"/>
              <a:gd name="connsiteX22693" fmla="*/ 4727268 w 6785952"/>
              <a:gd name="connsiteY22693" fmla="*/ 535602 h 5217112"/>
              <a:gd name="connsiteX22694" fmla="*/ 4734959 w 6785952"/>
              <a:gd name="connsiteY22694" fmla="*/ 528083 h 5217112"/>
              <a:gd name="connsiteX22695" fmla="*/ 4734410 w 6785952"/>
              <a:gd name="connsiteY22695" fmla="*/ 531897 h 5217112"/>
              <a:gd name="connsiteX22696" fmla="*/ 4738805 w 6785952"/>
              <a:gd name="connsiteY22696" fmla="*/ 525468 h 5217112"/>
              <a:gd name="connsiteX22697" fmla="*/ 4750342 w 6785952"/>
              <a:gd name="connsiteY22697" fmla="*/ 513263 h 5217112"/>
              <a:gd name="connsiteX22698" fmla="*/ 4800611 w 6785952"/>
              <a:gd name="connsiteY22698" fmla="*/ 582242 h 5217112"/>
              <a:gd name="connsiteX22699" fmla="*/ 4818192 w 6785952"/>
              <a:gd name="connsiteY22699" fmla="*/ 580172 h 5217112"/>
              <a:gd name="connsiteX22700" fmla="*/ 4831377 w 6785952"/>
              <a:gd name="connsiteY22700" fmla="*/ 586275 h 5217112"/>
              <a:gd name="connsiteX22701" fmla="*/ 4829180 w 6785952"/>
              <a:gd name="connsiteY22701" fmla="*/ 602512 h 5217112"/>
              <a:gd name="connsiteX22702" fmla="*/ 4870933 w 6785952"/>
              <a:gd name="connsiteY22702" fmla="*/ 643159 h 5217112"/>
              <a:gd name="connsiteX22703" fmla="*/ 4868186 w 6785952"/>
              <a:gd name="connsiteY22703" fmla="*/ 646428 h 5217112"/>
              <a:gd name="connsiteX22704" fmla="*/ 4878075 w 6785952"/>
              <a:gd name="connsiteY22704" fmla="*/ 642940 h 5217112"/>
              <a:gd name="connsiteX22705" fmla="*/ 4889887 w 6785952"/>
              <a:gd name="connsiteY22705" fmla="*/ 632915 h 5217112"/>
              <a:gd name="connsiteX22706" fmla="*/ 4898402 w 6785952"/>
              <a:gd name="connsiteY22706" fmla="*/ 610903 h 5217112"/>
              <a:gd name="connsiteX22707" fmla="*/ 4899776 w 6785952"/>
              <a:gd name="connsiteY22707" fmla="*/ 610903 h 5217112"/>
              <a:gd name="connsiteX22708" fmla="*/ 4904446 w 6785952"/>
              <a:gd name="connsiteY22708" fmla="*/ 604582 h 5217112"/>
              <a:gd name="connsiteX22709" fmla="*/ 4900875 w 6785952"/>
              <a:gd name="connsiteY22709" fmla="*/ 606871 h 5217112"/>
              <a:gd name="connsiteX22710" fmla="*/ 4895106 w 6785952"/>
              <a:gd name="connsiteY22710" fmla="*/ 607089 h 5217112"/>
              <a:gd name="connsiteX22711" fmla="*/ 4912961 w 6785952"/>
              <a:gd name="connsiteY22711" fmla="*/ 565461 h 5217112"/>
              <a:gd name="connsiteX22712" fmla="*/ 4913236 w 6785952"/>
              <a:gd name="connsiteY22712" fmla="*/ 592268 h 5217112"/>
              <a:gd name="connsiteX22713" fmla="*/ 4908566 w 6785952"/>
              <a:gd name="connsiteY22713" fmla="*/ 599569 h 5217112"/>
              <a:gd name="connsiteX22714" fmla="*/ 4918455 w 6785952"/>
              <a:gd name="connsiteY22714" fmla="*/ 591832 h 5217112"/>
              <a:gd name="connsiteX22715" fmla="*/ 4931366 w 6785952"/>
              <a:gd name="connsiteY22715" fmla="*/ 582133 h 5217112"/>
              <a:gd name="connsiteX22716" fmla="*/ 4934388 w 6785952"/>
              <a:gd name="connsiteY22716" fmla="*/ 580717 h 5217112"/>
              <a:gd name="connsiteX22717" fmla="*/ 4934388 w 6785952"/>
              <a:gd name="connsiteY22717" fmla="*/ 583441 h 5217112"/>
              <a:gd name="connsiteX22718" fmla="*/ 4920103 w 6785952"/>
              <a:gd name="connsiteY22718" fmla="*/ 594556 h 5217112"/>
              <a:gd name="connsiteX22719" fmla="*/ 4904171 w 6785952"/>
              <a:gd name="connsiteY22719" fmla="*/ 609595 h 5217112"/>
              <a:gd name="connsiteX22720" fmla="*/ 4915709 w 6785952"/>
              <a:gd name="connsiteY22720" fmla="*/ 612319 h 5217112"/>
              <a:gd name="connsiteX22721" fmla="*/ 4925597 w 6785952"/>
              <a:gd name="connsiteY22721" fmla="*/ 604037 h 5217112"/>
              <a:gd name="connsiteX22722" fmla="*/ 4925597 w 6785952"/>
              <a:gd name="connsiteY22722" fmla="*/ 601313 h 5217112"/>
              <a:gd name="connsiteX22723" fmla="*/ 4928619 w 6785952"/>
              <a:gd name="connsiteY22723" fmla="*/ 598589 h 5217112"/>
              <a:gd name="connsiteX22724" fmla="*/ 4929992 w 6785952"/>
              <a:gd name="connsiteY22724" fmla="*/ 601313 h 5217112"/>
              <a:gd name="connsiteX22725" fmla="*/ 4929992 w 6785952"/>
              <a:gd name="connsiteY22725" fmla="*/ 604037 h 5217112"/>
              <a:gd name="connsiteX22726" fmla="*/ 4935761 w 6785952"/>
              <a:gd name="connsiteY22726" fmla="*/ 605453 h 5217112"/>
              <a:gd name="connsiteX22727" fmla="*/ 4939881 w 6785952"/>
              <a:gd name="connsiteY22727" fmla="*/ 594556 h 5217112"/>
              <a:gd name="connsiteX22728" fmla="*/ 4950045 w 6785952"/>
              <a:gd name="connsiteY22728" fmla="*/ 591832 h 5217112"/>
              <a:gd name="connsiteX22729" fmla="*/ 4950045 w 6785952"/>
              <a:gd name="connsiteY22729" fmla="*/ 593140 h 5217112"/>
              <a:gd name="connsiteX22730" fmla="*/ 4948672 w 6785952"/>
              <a:gd name="connsiteY22730" fmla="*/ 593140 h 5217112"/>
              <a:gd name="connsiteX22731" fmla="*/ 4941529 w 6785952"/>
              <a:gd name="connsiteY22731" fmla="*/ 595864 h 5217112"/>
              <a:gd name="connsiteX22732" fmla="*/ 4938508 w 6785952"/>
              <a:gd name="connsiteY22732" fmla="*/ 604037 h 5217112"/>
              <a:gd name="connsiteX22733" fmla="*/ 4940156 w 6785952"/>
              <a:gd name="connsiteY22733" fmla="*/ 604800 h 5217112"/>
              <a:gd name="connsiteX22734" fmla="*/ 4941529 w 6785952"/>
              <a:gd name="connsiteY22734" fmla="*/ 605127 h 5217112"/>
              <a:gd name="connsiteX22735" fmla="*/ 4944002 w 6785952"/>
              <a:gd name="connsiteY22735" fmla="*/ 604800 h 5217112"/>
              <a:gd name="connsiteX22736" fmla="*/ 4947298 w 6785952"/>
              <a:gd name="connsiteY22736" fmla="*/ 602729 h 5217112"/>
              <a:gd name="connsiteX22737" fmla="*/ 4948672 w 6785952"/>
              <a:gd name="connsiteY22737" fmla="*/ 602729 h 5217112"/>
              <a:gd name="connsiteX22738" fmla="*/ 4948672 w 6785952"/>
              <a:gd name="connsiteY22738" fmla="*/ 604037 h 5217112"/>
              <a:gd name="connsiteX22739" fmla="*/ 4947298 w 6785952"/>
              <a:gd name="connsiteY22739" fmla="*/ 604037 h 5217112"/>
              <a:gd name="connsiteX22740" fmla="*/ 4946474 w 6785952"/>
              <a:gd name="connsiteY22740" fmla="*/ 604800 h 5217112"/>
              <a:gd name="connsiteX22741" fmla="*/ 4955814 w 6785952"/>
              <a:gd name="connsiteY22741" fmla="*/ 606435 h 5217112"/>
              <a:gd name="connsiteX22742" fmla="*/ 4955814 w 6785952"/>
              <a:gd name="connsiteY22742" fmla="*/ 604037 h 5217112"/>
              <a:gd name="connsiteX22743" fmla="*/ 4957187 w 6785952"/>
              <a:gd name="connsiteY22743" fmla="*/ 605453 h 5217112"/>
              <a:gd name="connsiteX22744" fmla="*/ 4958561 w 6785952"/>
              <a:gd name="connsiteY22744" fmla="*/ 605453 h 5217112"/>
              <a:gd name="connsiteX22745" fmla="*/ 4960209 w 6785952"/>
              <a:gd name="connsiteY22745" fmla="*/ 606761 h 5217112"/>
              <a:gd name="connsiteX22746" fmla="*/ 4984382 w 6785952"/>
              <a:gd name="connsiteY22746" fmla="*/ 595864 h 5217112"/>
              <a:gd name="connsiteX22747" fmla="*/ 5003062 w 6785952"/>
              <a:gd name="connsiteY22747" fmla="*/ 586166 h 5217112"/>
              <a:gd name="connsiteX22748" fmla="*/ 5008830 w 6785952"/>
              <a:gd name="connsiteY22748" fmla="*/ 583441 h 5217112"/>
              <a:gd name="connsiteX22749" fmla="*/ 5014873 w 6785952"/>
              <a:gd name="connsiteY22749" fmla="*/ 580717 h 5217112"/>
              <a:gd name="connsiteX22750" fmla="*/ 5008555 w 6785952"/>
              <a:gd name="connsiteY22750" fmla="*/ 578864 h 5217112"/>
              <a:gd name="connsiteX22751" fmla="*/ 4974218 w 6785952"/>
              <a:gd name="connsiteY22751" fmla="*/ 548788 h 5217112"/>
              <a:gd name="connsiteX22752" fmla="*/ 5031080 w 6785952"/>
              <a:gd name="connsiteY22752" fmla="*/ 546390 h 5217112"/>
              <a:gd name="connsiteX22753" fmla="*/ 5042892 w 6785952"/>
              <a:gd name="connsiteY22753" fmla="*/ 552384 h 5217112"/>
              <a:gd name="connsiteX22754" fmla="*/ 5061846 w 6785952"/>
              <a:gd name="connsiteY22754" fmla="*/ 545083 h 5217112"/>
              <a:gd name="connsiteX22755" fmla="*/ 5064868 w 6785952"/>
              <a:gd name="connsiteY22755" fmla="*/ 542359 h 5217112"/>
              <a:gd name="connsiteX22756" fmla="*/ 5066241 w 6785952"/>
              <a:gd name="connsiteY22756" fmla="*/ 541051 h 5217112"/>
              <a:gd name="connsiteX22757" fmla="*/ 5070636 w 6785952"/>
              <a:gd name="connsiteY22757" fmla="*/ 541051 h 5217112"/>
              <a:gd name="connsiteX22758" fmla="*/ 5070636 w 6785952"/>
              <a:gd name="connsiteY22758" fmla="*/ 543775 h 5217112"/>
              <a:gd name="connsiteX22759" fmla="*/ 5068988 w 6785952"/>
              <a:gd name="connsiteY22759" fmla="*/ 545083 h 5217112"/>
              <a:gd name="connsiteX22760" fmla="*/ 5067615 w 6785952"/>
              <a:gd name="connsiteY22760" fmla="*/ 546499 h 5217112"/>
              <a:gd name="connsiteX22761" fmla="*/ 5060472 w 6785952"/>
              <a:gd name="connsiteY22761" fmla="*/ 554673 h 5217112"/>
              <a:gd name="connsiteX22762" fmla="*/ 5066241 w 6785952"/>
              <a:gd name="connsiteY22762" fmla="*/ 557505 h 5217112"/>
              <a:gd name="connsiteX22763" fmla="*/ 5084921 w 6785952"/>
              <a:gd name="connsiteY22763" fmla="*/ 546499 h 5217112"/>
              <a:gd name="connsiteX22764" fmla="*/ 5084921 w 6785952"/>
              <a:gd name="connsiteY22764" fmla="*/ 545083 h 5217112"/>
              <a:gd name="connsiteX22765" fmla="*/ 5084921 w 6785952"/>
              <a:gd name="connsiteY22765" fmla="*/ 543775 h 5217112"/>
              <a:gd name="connsiteX22766" fmla="*/ 5086294 w 6785952"/>
              <a:gd name="connsiteY22766" fmla="*/ 541051 h 5217112"/>
              <a:gd name="connsiteX22767" fmla="*/ 5090689 w 6785952"/>
              <a:gd name="connsiteY22767" fmla="*/ 542359 h 5217112"/>
              <a:gd name="connsiteX22768" fmla="*/ 5090689 w 6785952"/>
              <a:gd name="connsiteY22768" fmla="*/ 543775 h 5217112"/>
              <a:gd name="connsiteX22769" fmla="*/ 5092062 w 6785952"/>
              <a:gd name="connsiteY22769" fmla="*/ 546499 h 5217112"/>
              <a:gd name="connsiteX22770" fmla="*/ 5092062 w 6785952"/>
              <a:gd name="connsiteY22770" fmla="*/ 547807 h 5217112"/>
              <a:gd name="connsiteX22771" fmla="*/ 5093436 w 6785952"/>
              <a:gd name="connsiteY22771" fmla="*/ 547807 h 5217112"/>
              <a:gd name="connsiteX22772" fmla="*/ 5096458 w 6785952"/>
              <a:gd name="connsiteY22772" fmla="*/ 546499 h 5217112"/>
              <a:gd name="connsiteX22773" fmla="*/ 5100578 w 6785952"/>
              <a:gd name="connsiteY22773" fmla="*/ 546499 h 5217112"/>
              <a:gd name="connsiteX22774" fmla="*/ 5099204 w 6785952"/>
              <a:gd name="connsiteY22774" fmla="*/ 549223 h 5217112"/>
              <a:gd name="connsiteX22775" fmla="*/ 5094810 w 6785952"/>
              <a:gd name="connsiteY22775" fmla="*/ 551948 h 5217112"/>
              <a:gd name="connsiteX22776" fmla="*/ 5081899 w 6785952"/>
              <a:gd name="connsiteY22776" fmla="*/ 564371 h 5217112"/>
              <a:gd name="connsiteX22777" fmla="*/ 5081899 w 6785952"/>
              <a:gd name="connsiteY22777" fmla="*/ 565679 h 5217112"/>
              <a:gd name="connsiteX22778" fmla="*/ 5083547 w 6785952"/>
              <a:gd name="connsiteY22778" fmla="*/ 565679 h 5217112"/>
              <a:gd name="connsiteX22779" fmla="*/ 5084921 w 6785952"/>
              <a:gd name="connsiteY22779" fmla="*/ 565679 h 5217112"/>
              <a:gd name="connsiteX22780" fmla="*/ 5094810 w 6785952"/>
              <a:gd name="connsiteY22780" fmla="*/ 560230 h 5217112"/>
              <a:gd name="connsiteX22781" fmla="*/ 5100578 w 6785952"/>
              <a:gd name="connsiteY22781" fmla="*/ 557505 h 5217112"/>
              <a:gd name="connsiteX22782" fmla="*/ 5103599 w 6785952"/>
              <a:gd name="connsiteY22782" fmla="*/ 558922 h 5217112"/>
              <a:gd name="connsiteX22783" fmla="*/ 5103599 w 6785952"/>
              <a:gd name="connsiteY22783" fmla="*/ 560230 h 5217112"/>
              <a:gd name="connsiteX22784" fmla="*/ 5096458 w 6785952"/>
              <a:gd name="connsiteY22784" fmla="*/ 562955 h 5217112"/>
              <a:gd name="connsiteX22785" fmla="*/ 5089316 w 6785952"/>
              <a:gd name="connsiteY22785" fmla="*/ 567095 h 5217112"/>
              <a:gd name="connsiteX22786" fmla="*/ 5093436 w 6785952"/>
              <a:gd name="connsiteY22786" fmla="*/ 568403 h 5217112"/>
              <a:gd name="connsiteX22787" fmla="*/ 5114313 w 6785952"/>
              <a:gd name="connsiteY22787" fmla="*/ 561102 h 5217112"/>
              <a:gd name="connsiteX22788" fmla="*/ 5121730 w 6785952"/>
              <a:gd name="connsiteY22788" fmla="*/ 551076 h 5217112"/>
              <a:gd name="connsiteX22789" fmla="*/ 5115686 w 6785952"/>
              <a:gd name="connsiteY22789" fmla="*/ 545300 h 5217112"/>
              <a:gd name="connsiteX22790" fmla="*/ 5106622 w 6785952"/>
              <a:gd name="connsiteY22790" fmla="*/ 526775 h 5217112"/>
              <a:gd name="connsiteX22791" fmla="*/ 5123652 w 6785952"/>
              <a:gd name="connsiteY22791" fmla="*/ 535166 h 5217112"/>
              <a:gd name="connsiteX22792" fmla="*/ 5128322 w 6785952"/>
              <a:gd name="connsiteY22792" fmla="*/ 543230 h 5217112"/>
              <a:gd name="connsiteX22793" fmla="*/ 5131069 w 6785952"/>
              <a:gd name="connsiteY22793" fmla="*/ 538108 h 5217112"/>
              <a:gd name="connsiteX22794" fmla="*/ 5136288 w 6785952"/>
              <a:gd name="connsiteY22794" fmla="*/ 535929 h 5217112"/>
              <a:gd name="connsiteX22795" fmla="*/ 5138486 w 6785952"/>
              <a:gd name="connsiteY22795" fmla="*/ 535711 h 5217112"/>
              <a:gd name="connsiteX22796" fmla="*/ 5143156 w 6785952"/>
              <a:gd name="connsiteY22796" fmla="*/ 532006 h 5217112"/>
              <a:gd name="connsiteX22797" fmla="*/ 5158813 w 6785952"/>
              <a:gd name="connsiteY22797" fmla="*/ 527320 h 5217112"/>
              <a:gd name="connsiteX22798" fmla="*/ 5153319 w 6785952"/>
              <a:gd name="connsiteY22798" fmla="*/ 533968 h 5217112"/>
              <a:gd name="connsiteX22799" fmla="*/ 5153044 w 6785952"/>
              <a:gd name="connsiteY22799" fmla="*/ 534185 h 5217112"/>
              <a:gd name="connsiteX22800" fmla="*/ 5155243 w 6785952"/>
              <a:gd name="connsiteY22800" fmla="*/ 534185 h 5217112"/>
              <a:gd name="connsiteX22801" fmla="*/ 5173921 w 6785952"/>
              <a:gd name="connsiteY22801" fmla="*/ 526557 h 5217112"/>
              <a:gd name="connsiteX22802" fmla="*/ 5179415 w 6785952"/>
              <a:gd name="connsiteY22802" fmla="*/ 525140 h 5217112"/>
              <a:gd name="connsiteX22803" fmla="*/ 5179965 w 6785952"/>
              <a:gd name="connsiteY22803" fmla="*/ 523506 h 5217112"/>
              <a:gd name="connsiteX22804" fmla="*/ 5180239 w 6785952"/>
              <a:gd name="connsiteY22804" fmla="*/ 524923 h 5217112"/>
              <a:gd name="connsiteX22805" fmla="*/ 5192327 w 6785952"/>
              <a:gd name="connsiteY22805" fmla="*/ 521871 h 5217112"/>
              <a:gd name="connsiteX22806" fmla="*/ 5195348 w 6785952"/>
              <a:gd name="connsiteY22806" fmla="*/ 524595 h 5217112"/>
              <a:gd name="connsiteX22807" fmla="*/ 5192327 w 6785952"/>
              <a:gd name="connsiteY22807" fmla="*/ 527320 h 5217112"/>
              <a:gd name="connsiteX22808" fmla="*/ 5181339 w 6785952"/>
              <a:gd name="connsiteY22808" fmla="*/ 529608 h 5217112"/>
              <a:gd name="connsiteX22809" fmla="*/ 5182163 w 6785952"/>
              <a:gd name="connsiteY22809" fmla="*/ 533531 h 5217112"/>
              <a:gd name="connsiteX22810" fmla="*/ 5181888 w 6785952"/>
              <a:gd name="connsiteY22810" fmla="*/ 538871 h 5217112"/>
              <a:gd name="connsiteX22811" fmla="*/ 5181064 w 6785952"/>
              <a:gd name="connsiteY22811" fmla="*/ 541705 h 5217112"/>
              <a:gd name="connsiteX22812" fmla="*/ 5199743 w 6785952"/>
              <a:gd name="connsiteY22812" fmla="*/ 539634 h 5217112"/>
              <a:gd name="connsiteX22813" fmla="*/ 5206610 w 6785952"/>
              <a:gd name="connsiteY22813" fmla="*/ 541051 h 5217112"/>
              <a:gd name="connsiteX22814" fmla="*/ 5208258 w 6785952"/>
              <a:gd name="connsiteY22814" fmla="*/ 539961 h 5217112"/>
              <a:gd name="connsiteX22815" fmla="*/ 5208258 w 6785952"/>
              <a:gd name="connsiteY22815" fmla="*/ 539743 h 5217112"/>
              <a:gd name="connsiteX22816" fmla="*/ 5216774 w 6785952"/>
              <a:gd name="connsiteY22816" fmla="*/ 532878 h 5217112"/>
              <a:gd name="connsiteX22817" fmla="*/ 5226938 w 6785952"/>
              <a:gd name="connsiteY22817" fmla="*/ 527320 h 5217112"/>
              <a:gd name="connsiteX22818" fmla="*/ 5226938 w 6785952"/>
              <a:gd name="connsiteY22818" fmla="*/ 526012 h 5217112"/>
              <a:gd name="connsiteX22819" fmla="*/ 5227487 w 6785952"/>
              <a:gd name="connsiteY22819" fmla="*/ 525903 h 5217112"/>
              <a:gd name="connsiteX22820" fmla="*/ 5229684 w 6785952"/>
              <a:gd name="connsiteY22820" fmla="*/ 510974 h 5217112"/>
              <a:gd name="connsiteX22821" fmla="*/ 5232432 w 6785952"/>
              <a:gd name="connsiteY22821" fmla="*/ 488961 h 5217112"/>
              <a:gd name="connsiteX22822" fmla="*/ 5232706 w 6785952"/>
              <a:gd name="connsiteY22822" fmla="*/ 489071 h 5217112"/>
              <a:gd name="connsiteX22823" fmla="*/ 5232157 w 6785952"/>
              <a:gd name="connsiteY22823" fmla="*/ 485148 h 5217112"/>
              <a:gd name="connsiteX22824" fmla="*/ 5238475 w 6785952"/>
              <a:gd name="connsiteY22824" fmla="*/ 479590 h 5217112"/>
              <a:gd name="connsiteX22825" fmla="*/ 5544484 w 6785952"/>
              <a:gd name="connsiteY22825" fmla="*/ 477084 h 5217112"/>
              <a:gd name="connsiteX22826" fmla="*/ 5546683 w 6785952"/>
              <a:gd name="connsiteY22826" fmla="*/ 485366 h 5217112"/>
              <a:gd name="connsiteX22827" fmla="*/ 5541738 w 6785952"/>
              <a:gd name="connsiteY22827" fmla="*/ 486128 h 5217112"/>
              <a:gd name="connsiteX22828" fmla="*/ 5535969 w 6785952"/>
              <a:gd name="connsiteY22828" fmla="*/ 484712 h 5217112"/>
              <a:gd name="connsiteX22829" fmla="*/ 5536793 w 6785952"/>
              <a:gd name="connsiteY22829" fmla="*/ 481552 h 5217112"/>
              <a:gd name="connsiteX22830" fmla="*/ 5540090 w 6785952"/>
              <a:gd name="connsiteY22830" fmla="*/ 477737 h 5217112"/>
              <a:gd name="connsiteX22831" fmla="*/ 5544484 w 6785952"/>
              <a:gd name="connsiteY22831" fmla="*/ 477084 h 5217112"/>
              <a:gd name="connsiteX22832" fmla="*/ 1555641 w 6785952"/>
              <a:gd name="connsiteY22832" fmla="*/ 476975 h 5217112"/>
              <a:gd name="connsiteX22833" fmla="*/ 1558938 w 6785952"/>
              <a:gd name="connsiteY22833" fmla="*/ 483295 h 5217112"/>
              <a:gd name="connsiteX22834" fmla="*/ 1536687 w 6785952"/>
              <a:gd name="connsiteY22834" fmla="*/ 500621 h 5217112"/>
              <a:gd name="connsiteX22835" fmla="*/ 1532567 w 6785952"/>
              <a:gd name="connsiteY22835" fmla="*/ 496917 h 5217112"/>
              <a:gd name="connsiteX22836" fmla="*/ 1536138 w 6785952"/>
              <a:gd name="connsiteY22836" fmla="*/ 487109 h 5217112"/>
              <a:gd name="connsiteX22837" fmla="*/ 1540258 w 6785952"/>
              <a:gd name="connsiteY22837" fmla="*/ 482423 h 5217112"/>
              <a:gd name="connsiteX22838" fmla="*/ 1546301 w 6785952"/>
              <a:gd name="connsiteY22838" fmla="*/ 480461 h 5217112"/>
              <a:gd name="connsiteX22839" fmla="*/ 1555641 w 6785952"/>
              <a:gd name="connsiteY22839" fmla="*/ 476975 h 5217112"/>
              <a:gd name="connsiteX22840" fmla="*/ 5498336 w 6785952"/>
              <a:gd name="connsiteY22840" fmla="*/ 475776 h 5217112"/>
              <a:gd name="connsiteX22841" fmla="*/ 5507676 w 6785952"/>
              <a:gd name="connsiteY22841" fmla="*/ 479590 h 5217112"/>
              <a:gd name="connsiteX22842" fmla="*/ 5500533 w 6785952"/>
              <a:gd name="connsiteY22842" fmla="*/ 488199 h 5217112"/>
              <a:gd name="connsiteX22843" fmla="*/ 5497238 w 6785952"/>
              <a:gd name="connsiteY22843" fmla="*/ 485257 h 5217112"/>
              <a:gd name="connsiteX22844" fmla="*/ 5498336 w 6785952"/>
              <a:gd name="connsiteY22844" fmla="*/ 475776 h 5217112"/>
              <a:gd name="connsiteX22845" fmla="*/ 6030970 w 6785952"/>
              <a:gd name="connsiteY22845" fmla="*/ 474577 h 5217112"/>
              <a:gd name="connsiteX22846" fmla="*/ 6043056 w 6785952"/>
              <a:gd name="connsiteY22846" fmla="*/ 480570 h 5217112"/>
              <a:gd name="connsiteX22847" fmla="*/ 6038386 w 6785952"/>
              <a:gd name="connsiteY22847" fmla="*/ 487981 h 5217112"/>
              <a:gd name="connsiteX22848" fmla="*/ 6030970 w 6785952"/>
              <a:gd name="connsiteY22848" fmla="*/ 474577 h 5217112"/>
              <a:gd name="connsiteX22849" fmla="*/ 5919443 w 6785952"/>
              <a:gd name="connsiteY22849" fmla="*/ 474577 h 5217112"/>
              <a:gd name="connsiteX22850" fmla="*/ 5921641 w 6785952"/>
              <a:gd name="connsiteY22850" fmla="*/ 476866 h 5217112"/>
              <a:gd name="connsiteX22851" fmla="*/ 5923014 w 6785952"/>
              <a:gd name="connsiteY22851" fmla="*/ 482532 h 5217112"/>
              <a:gd name="connsiteX22852" fmla="*/ 5921092 w 6785952"/>
              <a:gd name="connsiteY22852" fmla="*/ 486237 h 5217112"/>
              <a:gd name="connsiteX22853" fmla="*/ 5918070 w 6785952"/>
              <a:gd name="connsiteY22853" fmla="*/ 485911 h 5217112"/>
              <a:gd name="connsiteX22854" fmla="*/ 5915323 w 6785952"/>
              <a:gd name="connsiteY22854" fmla="*/ 486891 h 5217112"/>
              <a:gd name="connsiteX22855" fmla="*/ 5914774 w 6785952"/>
              <a:gd name="connsiteY22855" fmla="*/ 485474 h 5217112"/>
              <a:gd name="connsiteX22856" fmla="*/ 5913125 w 6785952"/>
              <a:gd name="connsiteY22856" fmla="*/ 484603 h 5217112"/>
              <a:gd name="connsiteX22857" fmla="*/ 5914499 w 6785952"/>
              <a:gd name="connsiteY22857" fmla="*/ 478065 h 5217112"/>
              <a:gd name="connsiteX22858" fmla="*/ 5916697 w 6785952"/>
              <a:gd name="connsiteY22858" fmla="*/ 475231 h 5217112"/>
              <a:gd name="connsiteX22859" fmla="*/ 5919443 w 6785952"/>
              <a:gd name="connsiteY22859" fmla="*/ 474577 h 5217112"/>
              <a:gd name="connsiteX22860" fmla="*/ 1459222 w 6785952"/>
              <a:gd name="connsiteY22860" fmla="*/ 473052 h 5217112"/>
              <a:gd name="connsiteX22861" fmla="*/ 1464991 w 6785952"/>
              <a:gd name="connsiteY22861" fmla="*/ 474032 h 5217112"/>
              <a:gd name="connsiteX22862" fmla="*/ 1467464 w 6785952"/>
              <a:gd name="connsiteY22862" fmla="*/ 477301 h 5217112"/>
              <a:gd name="connsiteX22863" fmla="*/ 1465816 w 6785952"/>
              <a:gd name="connsiteY22863" fmla="*/ 480026 h 5217112"/>
              <a:gd name="connsiteX22864" fmla="*/ 1465816 w 6785952"/>
              <a:gd name="connsiteY22864" fmla="*/ 482859 h 5217112"/>
              <a:gd name="connsiteX22865" fmla="*/ 1464442 w 6785952"/>
              <a:gd name="connsiteY22865" fmla="*/ 482641 h 5217112"/>
              <a:gd name="connsiteX22866" fmla="*/ 1462794 w 6785952"/>
              <a:gd name="connsiteY22866" fmla="*/ 483840 h 5217112"/>
              <a:gd name="connsiteX22867" fmla="*/ 1457300 w 6785952"/>
              <a:gd name="connsiteY22867" fmla="*/ 480026 h 5217112"/>
              <a:gd name="connsiteX22868" fmla="*/ 1455652 w 6785952"/>
              <a:gd name="connsiteY22868" fmla="*/ 476866 h 5217112"/>
              <a:gd name="connsiteX22869" fmla="*/ 1456201 w 6785952"/>
              <a:gd name="connsiteY22869" fmla="*/ 474032 h 5217112"/>
              <a:gd name="connsiteX22870" fmla="*/ 1459222 w 6785952"/>
              <a:gd name="connsiteY22870" fmla="*/ 473052 h 5217112"/>
              <a:gd name="connsiteX22871" fmla="*/ 1599866 w 6785952"/>
              <a:gd name="connsiteY22871" fmla="*/ 472289 h 5217112"/>
              <a:gd name="connsiteX22872" fmla="*/ 1607558 w 6785952"/>
              <a:gd name="connsiteY22872" fmla="*/ 485148 h 5217112"/>
              <a:gd name="connsiteX22873" fmla="*/ 1599866 w 6785952"/>
              <a:gd name="connsiteY22873" fmla="*/ 487327 h 5217112"/>
              <a:gd name="connsiteX22874" fmla="*/ 1594098 w 6785952"/>
              <a:gd name="connsiteY22874" fmla="*/ 482968 h 5217112"/>
              <a:gd name="connsiteX22875" fmla="*/ 1593274 w 6785952"/>
              <a:gd name="connsiteY22875" fmla="*/ 477846 h 5217112"/>
              <a:gd name="connsiteX22876" fmla="*/ 1599866 w 6785952"/>
              <a:gd name="connsiteY22876" fmla="*/ 472289 h 5217112"/>
              <a:gd name="connsiteX22877" fmla="*/ 3893294 w 6785952"/>
              <a:gd name="connsiteY22877" fmla="*/ 470436 h 5217112"/>
              <a:gd name="connsiteX22878" fmla="*/ 3920488 w 6785952"/>
              <a:gd name="connsiteY22878" fmla="*/ 500404 h 5217112"/>
              <a:gd name="connsiteX22879" fmla="*/ 3902634 w 6785952"/>
              <a:gd name="connsiteY22879" fmla="*/ 527974 h 5217112"/>
              <a:gd name="connsiteX22880" fmla="*/ 3892195 w 6785952"/>
              <a:gd name="connsiteY22880" fmla="*/ 525794 h 5217112"/>
              <a:gd name="connsiteX22881" fmla="*/ 3891371 w 6785952"/>
              <a:gd name="connsiteY22881" fmla="*/ 526667 h 5217112"/>
              <a:gd name="connsiteX22882" fmla="*/ 3890273 w 6785952"/>
              <a:gd name="connsiteY22882" fmla="*/ 529827 h 5217112"/>
              <a:gd name="connsiteX22883" fmla="*/ 3890547 w 6785952"/>
              <a:gd name="connsiteY22883" fmla="*/ 536909 h 5217112"/>
              <a:gd name="connsiteX22884" fmla="*/ 3877361 w 6785952"/>
              <a:gd name="connsiteY22884" fmla="*/ 524487 h 5217112"/>
              <a:gd name="connsiteX22885" fmla="*/ 3869670 w 6785952"/>
              <a:gd name="connsiteY22885" fmla="*/ 521326 h 5217112"/>
              <a:gd name="connsiteX22886" fmla="*/ 3859232 w 6785952"/>
              <a:gd name="connsiteY22886" fmla="*/ 502801 h 5217112"/>
              <a:gd name="connsiteX22887" fmla="*/ 3861429 w 6785952"/>
              <a:gd name="connsiteY22887" fmla="*/ 492884 h 5217112"/>
              <a:gd name="connsiteX22888" fmla="*/ 3857859 w 6785952"/>
              <a:gd name="connsiteY22888" fmla="*/ 489942 h 5217112"/>
              <a:gd name="connsiteX22889" fmla="*/ 3859781 w 6785952"/>
              <a:gd name="connsiteY22889" fmla="*/ 488526 h 5217112"/>
              <a:gd name="connsiteX22890" fmla="*/ 3857584 w 6785952"/>
              <a:gd name="connsiteY22890" fmla="*/ 484167 h 5217112"/>
              <a:gd name="connsiteX22891" fmla="*/ 3864726 w 6785952"/>
              <a:gd name="connsiteY22891" fmla="*/ 485148 h 5217112"/>
              <a:gd name="connsiteX22892" fmla="*/ 3869121 w 6785952"/>
              <a:gd name="connsiteY22892" fmla="*/ 482205 h 5217112"/>
              <a:gd name="connsiteX22893" fmla="*/ 3878736 w 6785952"/>
              <a:gd name="connsiteY22893" fmla="*/ 473814 h 5217112"/>
              <a:gd name="connsiteX22894" fmla="*/ 3893294 w 6785952"/>
              <a:gd name="connsiteY22894" fmla="*/ 470436 h 5217112"/>
              <a:gd name="connsiteX22895" fmla="*/ 5292315 w 6785952"/>
              <a:gd name="connsiteY22895" fmla="*/ 469783 h 5217112"/>
              <a:gd name="connsiteX22896" fmla="*/ 5292864 w 6785952"/>
              <a:gd name="connsiteY22896" fmla="*/ 488526 h 5217112"/>
              <a:gd name="connsiteX22897" fmla="*/ 5278305 w 6785952"/>
              <a:gd name="connsiteY22897" fmla="*/ 483077 h 5217112"/>
              <a:gd name="connsiteX22898" fmla="*/ 5282151 w 6785952"/>
              <a:gd name="connsiteY22898" fmla="*/ 473269 h 5217112"/>
              <a:gd name="connsiteX22899" fmla="*/ 5292315 w 6785952"/>
              <a:gd name="connsiteY22899" fmla="*/ 469783 h 5217112"/>
              <a:gd name="connsiteX22900" fmla="*/ 1905877 w 6785952"/>
              <a:gd name="connsiteY22900" fmla="*/ 469783 h 5217112"/>
              <a:gd name="connsiteX22901" fmla="*/ 1908074 w 6785952"/>
              <a:gd name="connsiteY22901" fmla="*/ 478065 h 5217112"/>
              <a:gd name="connsiteX22902" fmla="*/ 1902855 w 6785952"/>
              <a:gd name="connsiteY22902" fmla="*/ 478827 h 5217112"/>
              <a:gd name="connsiteX22903" fmla="*/ 1897361 w 6785952"/>
              <a:gd name="connsiteY22903" fmla="*/ 477411 h 5217112"/>
              <a:gd name="connsiteX22904" fmla="*/ 1897910 w 6785952"/>
              <a:gd name="connsiteY22904" fmla="*/ 474141 h 5217112"/>
              <a:gd name="connsiteX22905" fmla="*/ 1901482 w 6785952"/>
              <a:gd name="connsiteY22905" fmla="*/ 470436 h 5217112"/>
              <a:gd name="connsiteX22906" fmla="*/ 1905877 w 6785952"/>
              <a:gd name="connsiteY22906" fmla="*/ 469783 h 5217112"/>
              <a:gd name="connsiteX22907" fmla="*/ 4019654 w 6785952"/>
              <a:gd name="connsiteY22907" fmla="*/ 469238 h 5217112"/>
              <a:gd name="connsiteX22908" fmla="*/ 4029817 w 6785952"/>
              <a:gd name="connsiteY22908" fmla="*/ 470654 h 5217112"/>
              <a:gd name="connsiteX22909" fmla="*/ 4027894 w 6785952"/>
              <a:gd name="connsiteY22909" fmla="*/ 484058 h 5217112"/>
              <a:gd name="connsiteX22910" fmla="*/ 4017731 w 6785952"/>
              <a:gd name="connsiteY22910" fmla="*/ 488526 h 5217112"/>
              <a:gd name="connsiteX22911" fmla="*/ 4017456 w 6785952"/>
              <a:gd name="connsiteY22911" fmla="*/ 485148 h 5217112"/>
              <a:gd name="connsiteX22912" fmla="*/ 4012511 w 6785952"/>
              <a:gd name="connsiteY22912" fmla="*/ 472398 h 5217112"/>
              <a:gd name="connsiteX22913" fmla="*/ 4019654 w 6785952"/>
              <a:gd name="connsiteY22913" fmla="*/ 469238 h 5217112"/>
              <a:gd name="connsiteX22914" fmla="*/ 1859728 w 6785952"/>
              <a:gd name="connsiteY22914" fmla="*/ 468475 h 5217112"/>
              <a:gd name="connsiteX22915" fmla="*/ 1869068 w 6785952"/>
              <a:gd name="connsiteY22915" fmla="*/ 472289 h 5217112"/>
              <a:gd name="connsiteX22916" fmla="*/ 1861926 w 6785952"/>
              <a:gd name="connsiteY22916" fmla="*/ 480680 h 5217112"/>
              <a:gd name="connsiteX22917" fmla="*/ 1858355 w 6785952"/>
              <a:gd name="connsiteY22917" fmla="*/ 477955 h 5217112"/>
              <a:gd name="connsiteX22918" fmla="*/ 1859728 w 6785952"/>
              <a:gd name="connsiteY22918" fmla="*/ 468475 h 5217112"/>
              <a:gd name="connsiteX22919" fmla="*/ 3820225 w 6785952"/>
              <a:gd name="connsiteY22919" fmla="*/ 468256 h 5217112"/>
              <a:gd name="connsiteX22920" fmla="*/ 3824621 w 6785952"/>
              <a:gd name="connsiteY22920" fmla="*/ 469129 h 5217112"/>
              <a:gd name="connsiteX22921" fmla="*/ 3827642 w 6785952"/>
              <a:gd name="connsiteY22921" fmla="*/ 475558 h 5217112"/>
              <a:gd name="connsiteX22922" fmla="*/ 3815555 w 6785952"/>
              <a:gd name="connsiteY22922" fmla="*/ 480026 h 5217112"/>
              <a:gd name="connsiteX22923" fmla="*/ 3813084 w 6785952"/>
              <a:gd name="connsiteY22923" fmla="*/ 476321 h 5217112"/>
              <a:gd name="connsiteX22924" fmla="*/ 3820225 w 6785952"/>
              <a:gd name="connsiteY22924" fmla="*/ 468256 h 5217112"/>
              <a:gd name="connsiteX22925" fmla="*/ 5528277 w 6785952"/>
              <a:gd name="connsiteY22925" fmla="*/ 468148 h 5217112"/>
              <a:gd name="connsiteX22926" fmla="*/ 5538991 w 6785952"/>
              <a:gd name="connsiteY22926" fmla="*/ 471090 h 5217112"/>
              <a:gd name="connsiteX22927" fmla="*/ 5533771 w 6785952"/>
              <a:gd name="connsiteY22927" fmla="*/ 481660 h 5217112"/>
              <a:gd name="connsiteX22928" fmla="*/ 5523883 w 6785952"/>
              <a:gd name="connsiteY22928" fmla="*/ 475448 h 5217112"/>
              <a:gd name="connsiteX22929" fmla="*/ 5528277 w 6785952"/>
              <a:gd name="connsiteY22929" fmla="*/ 468148 h 5217112"/>
              <a:gd name="connsiteX22930" fmla="*/ 4473175 w 6785952"/>
              <a:gd name="connsiteY22930" fmla="*/ 467821 h 5217112"/>
              <a:gd name="connsiteX22931" fmla="*/ 4490206 w 6785952"/>
              <a:gd name="connsiteY22931" fmla="*/ 470981 h 5217112"/>
              <a:gd name="connsiteX22932" fmla="*/ 4486361 w 6785952"/>
              <a:gd name="connsiteY22932" fmla="*/ 472943 h 5217112"/>
              <a:gd name="connsiteX22933" fmla="*/ 4469329 w 6785952"/>
              <a:gd name="connsiteY22933" fmla="*/ 469673 h 5217112"/>
              <a:gd name="connsiteX22934" fmla="*/ 4473175 w 6785952"/>
              <a:gd name="connsiteY22934" fmla="*/ 467821 h 5217112"/>
              <a:gd name="connsiteX22935" fmla="*/ 4327861 w 6785952"/>
              <a:gd name="connsiteY22935" fmla="*/ 467821 h 5217112"/>
              <a:gd name="connsiteX22936" fmla="*/ 4336926 w 6785952"/>
              <a:gd name="connsiteY22936" fmla="*/ 472507 h 5217112"/>
              <a:gd name="connsiteX22937" fmla="*/ 4339123 w 6785952"/>
              <a:gd name="connsiteY22937" fmla="*/ 499205 h 5217112"/>
              <a:gd name="connsiteX22938" fmla="*/ 4336102 w 6785952"/>
              <a:gd name="connsiteY22938" fmla="*/ 501711 h 5217112"/>
              <a:gd name="connsiteX22939" fmla="*/ 4333080 w 6785952"/>
              <a:gd name="connsiteY22939" fmla="*/ 507160 h 5217112"/>
              <a:gd name="connsiteX22940" fmla="*/ 4316049 w 6785952"/>
              <a:gd name="connsiteY22940" fmla="*/ 497788 h 5217112"/>
              <a:gd name="connsiteX22941" fmla="*/ 4312479 w 6785952"/>
              <a:gd name="connsiteY22941" fmla="*/ 472507 h 5217112"/>
              <a:gd name="connsiteX22942" fmla="*/ 4327861 w 6785952"/>
              <a:gd name="connsiteY22942" fmla="*/ 467821 h 5217112"/>
              <a:gd name="connsiteX22943" fmla="*/ 2392361 w 6785952"/>
              <a:gd name="connsiteY22943" fmla="*/ 467276 h 5217112"/>
              <a:gd name="connsiteX22944" fmla="*/ 2404173 w 6785952"/>
              <a:gd name="connsiteY22944" fmla="*/ 473161 h 5217112"/>
              <a:gd name="connsiteX22945" fmla="*/ 2399503 w 6785952"/>
              <a:gd name="connsiteY22945" fmla="*/ 480570 h 5217112"/>
              <a:gd name="connsiteX22946" fmla="*/ 2392361 w 6785952"/>
              <a:gd name="connsiteY22946" fmla="*/ 467276 h 5217112"/>
              <a:gd name="connsiteX22947" fmla="*/ 2280835 w 6785952"/>
              <a:gd name="connsiteY22947" fmla="*/ 467276 h 5217112"/>
              <a:gd name="connsiteX22948" fmla="*/ 2283033 w 6785952"/>
              <a:gd name="connsiteY22948" fmla="*/ 469564 h 5217112"/>
              <a:gd name="connsiteX22949" fmla="*/ 2284406 w 6785952"/>
              <a:gd name="connsiteY22949" fmla="*/ 475122 h 5217112"/>
              <a:gd name="connsiteX22950" fmla="*/ 2282483 w 6785952"/>
              <a:gd name="connsiteY22950" fmla="*/ 478936 h 5217112"/>
              <a:gd name="connsiteX22951" fmla="*/ 2279461 w 6785952"/>
              <a:gd name="connsiteY22951" fmla="*/ 478500 h 5217112"/>
              <a:gd name="connsiteX22952" fmla="*/ 2276715 w 6785952"/>
              <a:gd name="connsiteY22952" fmla="*/ 479590 h 5217112"/>
              <a:gd name="connsiteX22953" fmla="*/ 2276166 w 6785952"/>
              <a:gd name="connsiteY22953" fmla="*/ 478174 h 5217112"/>
              <a:gd name="connsiteX22954" fmla="*/ 2274517 w 6785952"/>
              <a:gd name="connsiteY22954" fmla="*/ 477301 h 5217112"/>
              <a:gd name="connsiteX22955" fmla="*/ 2275891 w 6785952"/>
              <a:gd name="connsiteY22955" fmla="*/ 470654 h 5217112"/>
              <a:gd name="connsiteX22956" fmla="*/ 2278088 w 6785952"/>
              <a:gd name="connsiteY22956" fmla="*/ 467930 h 5217112"/>
              <a:gd name="connsiteX22957" fmla="*/ 2280835 w 6785952"/>
              <a:gd name="connsiteY22957" fmla="*/ 467276 h 5217112"/>
              <a:gd name="connsiteX22958" fmla="*/ 6057066 w 6785952"/>
              <a:gd name="connsiteY22958" fmla="*/ 466513 h 5217112"/>
              <a:gd name="connsiteX22959" fmla="*/ 6050473 w 6785952"/>
              <a:gd name="connsiteY22959" fmla="*/ 477192 h 5217112"/>
              <a:gd name="connsiteX22960" fmla="*/ 6046353 w 6785952"/>
              <a:gd name="connsiteY22960" fmla="*/ 476539 h 5217112"/>
              <a:gd name="connsiteX22961" fmla="*/ 6044155 w 6785952"/>
              <a:gd name="connsiteY22961" fmla="*/ 470218 h 5217112"/>
              <a:gd name="connsiteX22962" fmla="*/ 6057066 w 6785952"/>
              <a:gd name="connsiteY22962" fmla="*/ 466513 h 5217112"/>
              <a:gd name="connsiteX22963" fmla="*/ 2485757 w 6785952"/>
              <a:gd name="connsiteY22963" fmla="*/ 466513 h 5217112"/>
              <a:gd name="connsiteX22964" fmla="*/ 2475593 w 6785952"/>
              <a:gd name="connsiteY22964" fmla="*/ 491686 h 5217112"/>
              <a:gd name="connsiteX22965" fmla="*/ 2472847 w 6785952"/>
              <a:gd name="connsiteY22965" fmla="*/ 489725 h 5217112"/>
              <a:gd name="connsiteX22966" fmla="*/ 2472023 w 6785952"/>
              <a:gd name="connsiteY22966" fmla="*/ 485474 h 5217112"/>
              <a:gd name="connsiteX22967" fmla="*/ 2476693 w 6785952"/>
              <a:gd name="connsiteY22967" fmla="*/ 472507 h 5217112"/>
              <a:gd name="connsiteX22968" fmla="*/ 2478341 w 6785952"/>
              <a:gd name="connsiteY22968" fmla="*/ 469783 h 5217112"/>
              <a:gd name="connsiteX22969" fmla="*/ 2479989 w 6785952"/>
              <a:gd name="connsiteY22969" fmla="*/ 467058 h 5217112"/>
              <a:gd name="connsiteX22970" fmla="*/ 2485757 w 6785952"/>
              <a:gd name="connsiteY22970" fmla="*/ 466513 h 5217112"/>
              <a:gd name="connsiteX22971" fmla="*/ 3261221 w 6785952"/>
              <a:gd name="connsiteY22971" fmla="*/ 466077 h 5217112"/>
              <a:gd name="connsiteX22972" fmla="*/ 3262045 w 6785952"/>
              <a:gd name="connsiteY22972" fmla="*/ 471635 h 5217112"/>
              <a:gd name="connsiteX22973" fmla="*/ 3261221 w 6785952"/>
              <a:gd name="connsiteY22973" fmla="*/ 472398 h 5217112"/>
              <a:gd name="connsiteX22974" fmla="*/ 3265342 w 6785952"/>
              <a:gd name="connsiteY22974" fmla="*/ 475013 h 5217112"/>
              <a:gd name="connsiteX22975" fmla="*/ 3261770 w 6785952"/>
              <a:gd name="connsiteY22975" fmla="*/ 485474 h 5217112"/>
              <a:gd name="connsiteX22976" fmla="*/ 3251057 w 6785952"/>
              <a:gd name="connsiteY22976" fmla="*/ 478936 h 5217112"/>
              <a:gd name="connsiteX22977" fmla="*/ 3252705 w 6785952"/>
              <a:gd name="connsiteY22977" fmla="*/ 475231 h 5217112"/>
              <a:gd name="connsiteX22978" fmla="*/ 3251057 w 6785952"/>
              <a:gd name="connsiteY22978" fmla="*/ 470981 h 5217112"/>
              <a:gd name="connsiteX22979" fmla="*/ 3261221 w 6785952"/>
              <a:gd name="connsiteY22979" fmla="*/ 466077 h 5217112"/>
              <a:gd name="connsiteX22980" fmla="*/ 3746332 w 6785952"/>
              <a:gd name="connsiteY22980" fmla="*/ 463462 h 5217112"/>
              <a:gd name="connsiteX22981" fmla="*/ 3746607 w 6785952"/>
              <a:gd name="connsiteY22981" fmla="*/ 470872 h 5217112"/>
              <a:gd name="connsiteX22982" fmla="*/ 3742762 w 6785952"/>
              <a:gd name="connsiteY22982" fmla="*/ 473706 h 5217112"/>
              <a:gd name="connsiteX22983" fmla="*/ 3740838 w 6785952"/>
              <a:gd name="connsiteY22983" fmla="*/ 472834 h 5217112"/>
              <a:gd name="connsiteX22984" fmla="*/ 3740563 w 6785952"/>
              <a:gd name="connsiteY22984" fmla="*/ 470109 h 5217112"/>
              <a:gd name="connsiteX22985" fmla="*/ 3740838 w 6785952"/>
              <a:gd name="connsiteY22985" fmla="*/ 465423 h 5217112"/>
              <a:gd name="connsiteX22986" fmla="*/ 3742762 w 6785952"/>
              <a:gd name="connsiteY22986" fmla="*/ 464116 h 5217112"/>
              <a:gd name="connsiteX22987" fmla="*/ 3746332 w 6785952"/>
              <a:gd name="connsiteY22987" fmla="*/ 463462 h 5217112"/>
              <a:gd name="connsiteX22988" fmla="*/ 3345381 w 6785952"/>
              <a:gd name="connsiteY22988" fmla="*/ 463230 h 5217112"/>
              <a:gd name="connsiteX22989" fmla="*/ 3350497 w 6785952"/>
              <a:gd name="connsiteY22989" fmla="*/ 463898 h 5217112"/>
              <a:gd name="connsiteX22990" fmla="*/ 3353519 w 6785952"/>
              <a:gd name="connsiteY22990" fmla="*/ 464225 h 5217112"/>
              <a:gd name="connsiteX22991" fmla="*/ 3356815 w 6785952"/>
              <a:gd name="connsiteY22991" fmla="*/ 464661 h 5217112"/>
              <a:gd name="connsiteX22992" fmla="*/ 3359562 w 6785952"/>
              <a:gd name="connsiteY22992" fmla="*/ 469783 h 5217112"/>
              <a:gd name="connsiteX22993" fmla="*/ 3345003 w 6785952"/>
              <a:gd name="connsiteY22993" fmla="*/ 470545 h 5217112"/>
              <a:gd name="connsiteX22994" fmla="*/ 3332367 w 6785952"/>
              <a:gd name="connsiteY22994" fmla="*/ 470436 h 5217112"/>
              <a:gd name="connsiteX22995" fmla="*/ 3332916 w 6785952"/>
              <a:gd name="connsiteY22995" fmla="*/ 467167 h 5217112"/>
              <a:gd name="connsiteX22996" fmla="*/ 3336762 w 6785952"/>
              <a:gd name="connsiteY22996" fmla="*/ 464770 h 5217112"/>
              <a:gd name="connsiteX22997" fmla="*/ 3345381 w 6785952"/>
              <a:gd name="connsiteY22997" fmla="*/ 463230 h 5217112"/>
              <a:gd name="connsiteX22998" fmla="*/ 1653707 w 6785952"/>
              <a:gd name="connsiteY22998" fmla="*/ 462481 h 5217112"/>
              <a:gd name="connsiteX22999" fmla="*/ 1654256 w 6785952"/>
              <a:gd name="connsiteY22999" fmla="*/ 481115 h 5217112"/>
              <a:gd name="connsiteX23000" fmla="*/ 1639698 w 6785952"/>
              <a:gd name="connsiteY23000" fmla="*/ 475776 h 5217112"/>
              <a:gd name="connsiteX23001" fmla="*/ 1643543 w 6785952"/>
              <a:gd name="connsiteY23001" fmla="*/ 465968 h 5217112"/>
              <a:gd name="connsiteX23002" fmla="*/ 1653707 w 6785952"/>
              <a:gd name="connsiteY23002" fmla="*/ 462481 h 5217112"/>
              <a:gd name="connsiteX23003" fmla="*/ 2084153 w 6785952"/>
              <a:gd name="connsiteY23003" fmla="*/ 461937 h 5217112"/>
              <a:gd name="connsiteX23004" fmla="*/ 2088274 w 6785952"/>
              <a:gd name="connsiteY23004" fmla="*/ 465206 h 5217112"/>
              <a:gd name="connsiteX23005" fmla="*/ 2089647 w 6785952"/>
              <a:gd name="connsiteY23005" fmla="*/ 471199 h 5217112"/>
              <a:gd name="connsiteX23006" fmla="*/ 2084428 w 6785952"/>
              <a:gd name="connsiteY23006" fmla="*/ 474686 h 5217112"/>
              <a:gd name="connsiteX23007" fmla="*/ 2078110 w 6785952"/>
              <a:gd name="connsiteY23007" fmla="*/ 472616 h 5217112"/>
              <a:gd name="connsiteX23008" fmla="*/ 2079759 w 6785952"/>
              <a:gd name="connsiteY23008" fmla="*/ 464116 h 5217112"/>
              <a:gd name="connsiteX23009" fmla="*/ 2084153 w 6785952"/>
              <a:gd name="connsiteY23009" fmla="*/ 461937 h 5217112"/>
              <a:gd name="connsiteX23010" fmla="*/ 4354232 w 6785952"/>
              <a:gd name="connsiteY23010" fmla="*/ 461827 h 5217112"/>
              <a:gd name="connsiteX23011" fmla="*/ 4356430 w 6785952"/>
              <a:gd name="connsiteY23011" fmla="*/ 479590 h 5217112"/>
              <a:gd name="connsiteX23012" fmla="*/ 4346815 w 6785952"/>
              <a:gd name="connsiteY23012" fmla="*/ 475448 h 5217112"/>
              <a:gd name="connsiteX23013" fmla="*/ 4345442 w 6785952"/>
              <a:gd name="connsiteY23013" fmla="*/ 470981 h 5217112"/>
              <a:gd name="connsiteX23014" fmla="*/ 4347090 w 6785952"/>
              <a:gd name="connsiteY23014" fmla="*/ 462372 h 5217112"/>
              <a:gd name="connsiteX23015" fmla="*/ 4345717 w 6785952"/>
              <a:gd name="connsiteY23015" fmla="*/ 462154 h 5217112"/>
              <a:gd name="connsiteX23016" fmla="*/ 4354232 w 6785952"/>
              <a:gd name="connsiteY23016" fmla="*/ 461827 h 5217112"/>
              <a:gd name="connsiteX23017" fmla="*/ 4633872 w 6785952"/>
              <a:gd name="connsiteY23017" fmla="*/ 461173 h 5217112"/>
              <a:gd name="connsiteX23018" fmla="*/ 4618214 w 6785952"/>
              <a:gd name="connsiteY23018" fmla="*/ 496917 h 5217112"/>
              <a:gd name="connsiteX23019" fmla="*/ 4633872 w 6785952"/>
              <a:gd name="connsiteY23019" fmla="*/ 461173 h 5217112"/>
              <a:gd name="connsiteX23020" fmla="*/ 1889395 w 6785952"/>
              <a:gd name="connsiteY23020" fmla="*/ 460847 h 5217112"/>
              <a:gd name="connsiteX23021" fmla="*/ 1900383 w 6785952"/>
              <a:gd name="connsiteY23021" fmla="*/ 463680 h 5217112"/>
              <a:gd name="connsiteX23022" fmla="*/ 1895164 w 6785952"/>
              <a:gd name="connsiteY23022" fmla="*/ 474359 h 5217112"/>
              <a:gd name="connsiteX23023" fmla="*/ 1885275 w 6785952"/>
              <a:gd name="connsiteY23023" fmla="*/ 468148 h 5217112"/>
              <a:gd name="connsiteX23024" fmla="*/ 1889395 w 6785952"/>
              <a:gd name="connsiteY23024" fmla="*/ 460847 h 5217112"/>
              <a:gd name="connsiteX23025" fmla="*/ 3024984 w 6785952"/>
              <a:gd name="connsiteY23025" fmla="*/ 459866 h 5217112"/>
              <a:gd name="connsiteX23026" fmla="*/ 3028554 w 6785952"/>
              <a:gd name="connsiteY23026" fmla="*/ 467058 h 5217112"/>
              <a:gd name="connsiteX23027" fmla="*/ 3031027 w 6785952"/>
              <a:gd name="connsiteY23027" fmla="*/ 466404 h 5217112"/>
              <a:gd name="connsiteX23028" fmla="*/ 3036521 w 6785952"/>
              <a:gd name="connsiteY23028" fmla="*/ 465096 h 5217112"/>
              <a:gd name="connsiteX23029" fmla="*/ 3039268 w 6785952"/>
              <a:gd name="connsiteY23029" fmla="*/ 464116 h 5217112"/>
              <a:gd name="connsiteX23030" fmla="*/ 3039542 w 6785952"/>
              <a:gd name="connsiteY23030" fmla="*/ 464225 h 5217112"/>
              <a:gd name="connsiteX23031" fmla="*/ 3039542 w 6785952"/>
              <a:gd name="connsiteY23031" fmla="*/ 464007 h 5217112"/>
              <a:gd name="connsiteX23032" fmla="*/ 3042290 w 6785952"/>
              <a:gd name="connsiteY23032" fmla="*/ 460629 h 5217112"/>
              <a:gd name="connsiteX23033" fmla="*/ 3053827 w 6785952"/>
              <a:gd name="connsiteY23033" fmla="*/ 472398 h 5217112"/>
              <a:gd name="connsiteX23034" fmla="*/ 3071407 w 6785952"/>
              <a:gd name="connsiteY23034" fmla="*/ 509557 h 5217112"/>
              <a:gd name="connsiteX23035" fmla="*/ 3069759 w 6785952"/>
              <a:gd name="connsiteY23035" fmla="*/ 525903 h 5217112"/>
              <a:gd name="connsiteX23036" fmla="*/ 3040366 w 6785952"/>
              <a:gd name="connsiteY23036" fmla="*/ 472398 h 5217112"/>
              <a:gd name="connsiteX23037" fmla="*/ 3039817 w 6785952"/>
              <a:gd name="connsiteY23037" fmla="*/ 468693 h 5217112"/>
              <a:gd name="connsiteX23038" fmla="*/ 3037345 w 6785952"/>
              <a:gd name="connsiteY23038" fmla="*/ 470763 h 5217112"/>
              <a:gd name="connsiteX23039" fmla="*/ 3030752 w 6785952"/>
              <a:gd name="connsiteY23039" fmla="*/ 471635 h 5217112"/>
              <a:gd name="connsiteX23040" fmla="*/ 3024160 w 6785952"/>
              <a:gd name="connsiteY23040" fmla="*/ 474141 h 5217112"/>
              <a:gd name="connsiteX23041" fmla="*/ 3020589 w 6785952"/>
              <a:gd name="connsiteY23041" fmla="*/ 472398 h 5217112"/>
              <a:gd name="connsiteX23042" fmla="*/ 3020314 w 6785952"/>
              <a:gd name="connsiteY23042" fmla="*/ 471090 h 5217112"/>
              <a:gd name="connsiteX23043" fmla="*/ 3018940 w 6785952"/>
              <a:gd name="connsiteY23043" fmla="*/ 470000 h 5217112"/>
              <a:gd name="connsiteX23044" fmla="*/ 3018116 w 6785952"/>
              <a:gd name="connsiteY23044" fmla="*/ 466840 h 5217112"/>
              <a:gd name="connsiteX23045" fmla="*/ 3024984 w 6785952"/>
              <a:gd name="connsiteY23045" fmla="*/ 459866 h 5217112"/>
              <a:gd name="connsiteX23046" fmla="*/ 2418183 w 6785952"/>
              <a:gd name="connsiteY23046" fmla="*/ 459212 h 5217112"/>
              <a:gd name="connsiteX23047" fmla="*/ 2411865 w 6785952"/>
              <a:gd name="connsiteY23047" fmla="*/ 469891 h 5217112"/>
              <a:gd name="connsiteX23048" fmla="*/ 2410216 w 6785952"/>
              <a:gd name="connsiteY23048" fmla="*/ 469673 h 5217112"/>
              <a:gd name="connsiteX23049" fmla="*/ 2410766 w 6785952"/>
              <a:gd name="connsiteY23049" fmla="*/ 474577 h 5217112"/>
              <a:gd name="connsiteX23050" fmla="*/ 2411316 w 6785952"/>
              <a:gd name="connsiteY23050" fmla="*/ 481333 h 5217112"/>
              <a:gd name="connsiteX23051" fmla="*/ 2411316 w 6785952"/>
              <a:gd name="connsiteY23051" fmla="*/ 488307 h 5217112"/>
              <a:gd name="connsiteX23052" fmla="*/ 2416535 w 6785952"/>
              <a:gd name="connsiteY23052" fmla="*/ 492122 h 5217112"/>
              <a:gd name="connsiteX23053" fmla="*/ 2405272 w 6785952"/>
              <a:gd name="connsiteY23053" fmla="*/ 503564 h 5217112"/>
              <a:gd name="connsiteX23054" fmla="*/ 2399503 w 6785952"/>
              <a:gd name="connsiteY23054" fmla="*/ 503564 h 5217112"/>
              <a:gd name="connsiteX23055" fmla="*/ 2393460 w 6785952"/>
              <a:gd name="connsiteY23055" fmla="*/ 500513 h 5217112"/>
              <a:gd name="connsiteX23056" fmla="*/ 2399503 w 6785952"/>
              <a:gd name="connsiteY23056" fmla="*/ 490378 h 5217112"/>
              <a:gd name="connsiteX23057" fmla="*/ 2405547 w 6785952"/>
              <a:gd name="connsiteY23057" fmla="*/ 489071 h 5217112"/>
              <a:gd name="connsiteX23058" fmla="*/ 2404447 w 6785952"/>
              <a:gd name="connsiteY23058" fmla="*/ 482423 h 5217112"/>
              <a:gd name="connsiteX23059" fmla="*/ 2404722 w 6785952"/>
              <a:gd name="connsiteY23059" fmla="*/ 476975 h 5217112"/>
              <a:gd name="connsiteX23060" fmla="*/ 2404997 w 6785952"/>
              <a:gd name="connsiteY23060" fmla="*/ 473597 h 5217112"/>
              <a:gd name="connsiteX23061" fmla="*/ 2405547 w 6785952"/>
              <a:gd name="connsiteY23061" fmla="*/ 470328 h 5217112"/>
              <a:gd name="connsiteX23062" fmla="*/ 2406920 w 6785952"/>
              <a:gd name="connsiteY23062" fmla="*/ 467494 h 5217112"/>
              <a:gd name="connsiteX23063" fmla="*/ 2405272 w 6785952"/>
              <a:gd name="connsiteY23063" fmla="*/ 462917 h 5217112"/>
              <a:gd name="connsiteX23064" fmla="*/ 2418183 w 6785952"/>
              <a:gd name="connsiteY23064" fmla="*/ 459212 h 5217112"/>
              <a:gd name="connsiteX23065" fmla="*/ 4526740 w 6785952"/>
              <a:gd name="connsiteY23065" fmla="*/ 458994 h 5217112"/>
              <a:gd name="connsiteX23066" fmla="*/ 4530861 w 6785952"/>
              <a:gd name="connsiteY23066" fmla="*/ 463571 h 5217112"/>
              <a:gd name="connsiteX23067" fmla="*/ 4525642 w 6785952"/>
              <a:gd name="connsiteY23067" fmla="*/ 469673 h 5217112"/>
              <a:gd name="connsiteX23068" fmla="*/ 4523444 w 6785952"/>
              <a:gd name="connsiteY23068" fmla="*/ 469346 h 5217112"/>
              <a:gd name="connsiteX23069" fmla="*/ 4519324 w 6785952"/>
              <a:gd name="connsiteY23069" fmla="*/ 464770 h 5217112"/>
              <a:gd name="connsiteX23070" fmla="*/ 4526740 w 6785952"/>
              <a:gd name="connsiteY23070" fmla="*/ 458994 h 5217112"/>
              <a:gd name="connsiteX23071" fmla="*/ 5047287 w 6785952"/>
              <a:gd name="connsiteY23071" fmla="*/ 453763 h 5217112"/>
              <a:gd name="connsiteX23072" fmla="*/ 5054704 w 6785952"/>
              <a:gd name="connsiteY23072" fmla="*/ 462481 h 5217112"/>
              <a:gd name="connsiteX23073" fmla="*/ 5053056 w 6785952"/>
              <a:gd name="connsiteY23073" fmla="*/ 467167 h 5217112"/>
              <a:gd name="connsiteX23074" fmla="*/ 5050858 w 6785952"/>
              <a:gd name="connsiteY23074" fmla="*/ 467712 h 5217112"/>
              <a:gd name="connsiteX23075" fmla="*/ 5044265 w 6785952"/>
              <a:gd name="connsiteY23075" fmla="*/ 469129 h 5217112"/>
              <a:gd name="connsiteX23076" fmla="*/ 5044265 w 6785952"/>
              <a:gd name="connsiteY23076" fmla="*/ 470000 h 5217112"/>
              <a:gd name="connsiteX23077" fmla="*/ 5040695 w 6785952"/>
              <a:gd name="connsiteY23077" fmla="*/ 470218 h 5217112"/>
              <a:gd name="connsiteX23078" fmla="*/ 5037947 w 6785952"/>
              <a:gd name="connsiteY23078" fmla="*/ 470000 h 5217112"/>
              <a:gd name="connsiteX23079" fmla="*/ 5035201 w 6785952"/>
              <a:gd name="connsiteY23079" fmla="*/ 468148 h 5217112"/>
              <a:gd name="connsiteX23080" fmla="*/ 5034377 w 6785952"/>
              <a:gd name="connsiteY23080" fmla="*/ 465315 h 5217112"/>
              <a:gd name="connsiteX23081" fmla="*/ 5036574 w 6785952"/>
              <a:gd name="connsiteY23081" fmla="*/ 462917 h 5217112"/>
              <a:gd name="connsiteX23082" fmla="*/ 5035750 w 6785952"/>
              <a:gd name="connsiteY23082" fmla="*/ 460738 h 5217112"/>
              <a:gd name="connsiteX23083" fmla="*/ 5047287 w 6785952"/>
              <a:gd name="connsiteY23083" fmla="*/ 453763 h 5217112"/>
              <a:gd name="connsiteX23084" fmla="*/ 4133652 w 6785952"/>
              <a:gd name="connsiteY23084" fmla="*/ 453001 h 5217112"/>
              <a:gd name="connsiteX23085" fmla="*/ 4142991 w 6785952"/>
              <a:gd name="connsiteY23085" fmla="*/ 456924 h 5217112"/>
              <a:gd name="connsiteX23086" fmla="*/ 4129257 w 6785952"/>
              <a:gd name="connsiteY23086" fmla="*/ 470545 h 5217112"/>
              <a:gd name="connsiteX23087" fmla="*/ 4126235 w 6785952"/>
              <a:gd name="connsiteY23087" fmla="*/ 465860 h 5217112"/>
              <a:gd name="connsiteX23088" fmla="*/ 4133652 w 6785952"/>
              <a:gd name="connsiteY23088" fmla="*/ 453001 h 5217112"/>
              <a:gd name="connsiteX23089" fmla="*/ 4800886 w 6785952"/>
              <a:gd name="connsiteY23089" fmla="*/ 452673 h 5217112"/>
              <a:gd name="connsiteX23090" fmla="*/ 4806380 w 6785952"/>
              <a:gd name="connsiteY23090" fmla="*/ 456924 h 5217112"/>
              <a:gd name="connsiteX23091" fmla="*/ 4795117 w 6785952"/>
              <a:gd name="connsiteY23091" fmla="*/ 468366 h 5217112"/>
              <a:gd name="connsiteX23092" fmla="*/ 4789348 w 6785952"/>
              <a:gd name="connsiteY23092" fmla="*/ 468366 h 5217112"/>
              <a:gd name="connsiteX23093" fmla="*/ 4783305 w 6785952"/>
              <a:gd name="connsiteY23093" fmla="*/ 465315 h 5217112"/>
              <a:gd name="connsiteX23094" fmla="*/ 4800886 w 6785952"/>
              <a:gd name="connsiteY23094" fmla="*/ 452673 h 5217112"/>
              <a:gd name="connsiteX23095" fmla="*/ 1403185 w 6785952"/>
              <a:gd name="connsiteY23095" fmla="*/ 452673 h 5217112"/>
              <a:gd name="connsiteX23096" fmla="*/ 1407031 w 6785952"/>
              <a:gd name="connsiteY23096" fmla="*/ 454090 h 5217112"/>
              <a:gd name="connsiteX23097" fmla="*/ 1406756 w 6785952"/>
              <a:gd name="connsiteY23097" fmla="*/ 457360 h 5217112"/>
              <a:gd name="connsiteX23098" fmla="*/ 1407855 w 6785952"/>
              <a:gd name="connsiteY23098" fmla="*/ 459975 h 5217112"/>
              <a:gd name="connsiteX23099" fmla="*/ 1406482 w 6785952"/>
              <a:gd name="connsiteY23099" fmla="*/ 460629 h 5217112"/>
              <a:gd name="connsiteX23100" fmla="*/ 1405657 w 6785952"/>
              <a:gd name="connsiteY23100" fmla="*/ 462591 h 5217112"/>
              <a:gd name="connsiteX23101" fmla="*/ 1401812 w 6785952"/>
              <a:gd name="connsiteY23101" fmla="*/ 462917 h 5217112"/>
              <a:gd name="connsiteX23102" fmla="*/ 1399064 w 6785952"/>
              <a:gd name="connsiteY23102" fmla="*/ 462591 h 5217112"/>
              <a:gd name="connsiteX23103" fmla="*/ 1396593 w 6785952"/>
              <a:gd name="connsiteY23103" fmla="*/ 460847 h 5217112"/>
              <a:gd name="connsiteX23104" fmla="*/ 1395769 w 6785952"/>
              <a:gd name="connsiteY23104" fmla="*/ 458014 h 5217112"/>
              <a:gd name="connsiteX23105" fmla="*/ 1397966 w 6785952"/>
              <a:gd name="connsiteY23105" fmla="*/ 455398 h 5217112"/>
              <a:gd name="connsiteX23106" fmla="*/ 1403185 w 6785952"/>
              <a:gd name="connsiteY23106" fmla="*/ 452673 h 5217112"/>
              <a:gd name="connsiteX23107" fmla="*/ 4459990 w 6785952"/>
              <a:gd name="connsiteY23107" fmla="*/ 450167 h 5217112"/>
              <a:gd name="connsiteX23108" fmla="*/ 4470978 w 6785952"/>
              <a:gd name="connsiteY23108" fmla="*/ 455725 h 5217112"/>
              <a:gd name="connsiteX23109" fmla="*/ 4465209 w 6785952"/>
              <a:gd name="connsiteY23109" fmla="*/ 463244 h 5217112"/>
              <a:gd name="connsiteX23110" fmla="*/ 4459715 w 6785952"/>
              <a:gd name="connsiteY23110" fmla="*/ 458123 h 5217112"/>
              <a:gd name="connsiteX23111" fmla="*/ 4459990 w 6785952"/>
              <a:gd name="connsiteY23111" fmla="*/ 450167 h 5217112"/>
              <a:gd name="connsiteX23112" fmla="*/ 2137444 w 6785952"/>
              <a:gd name="connsiteY23112" fmla="*/ 446462 h 5217112"/>
              <a:gd name="connsiteX23113" fmla="*/ 2142114 w 6785952"/>
              <a:gd name="connsiteY23113" fmla="*/ 455725 h 5217112"/>
              <a:gd name="connsiteX23114" fmla="*/ 2134972 w 6785952"/>
              <a:gd name="connsiteY23114" fmla="*/ 458558 h 5217112"/>
              <a:gd name="connsiteX23115" fmla="*/ 2130028 w 6785952"/>
              <a:gd name="connsiteY23115" fmla="*/ 454744 h 5217112"/>
              <a:gd name="connsiteX23116" fmla="*/ 2137444 w 6785952"/>
              <a:gd name="connsiteY23116" fmla="*/ 446462 h 5217112"/>
              <a:gd name="connsiteX23117" fmla="*/ 2345664 w 6785952"/>
              <a:gd name="connsiteY23117" fmla="*/ 443083 h 5217112"/>
              <a:gd name="connsiteX23118" fmla="*/ 2348959 w 6785952"/>
              <a:gd name="connsiteY23118" fmla="*/ 489615 h 5217112"/>
              <a:gd name="connsiteX23119" fmla="*/ 2345664 w 6785952"/>
              <a:gd name="connsiteY23119" fmla="*/ 443083 h 5217112"/>
              <a:gd name="connsiteX23120" fmla="*/ 3945486 w 6785952"/>
              <a:gd name="connsiteY23120" fmla="*/ 441776 h 5217112"/>
              <a:gd name="connsiteX23121" fmla="*/ 3948783 w 6785952"/>
              <a:gd name="connsiteY23121" fmla="*/ 448205 h 5217112"/>
              <a:gd name="connsiteX23122" fmla="*/ 3926532 w 6785952"/>
              <a:gd name="connsiteY23122" fmla="*/ 465423 h 5217112"/>
              <a:gd name="connsiteX23123" fmla="*/ 3922412 w 6785952"/>
              <a:gd name="connsiteY23123" fmla="*/ 461827 h 5217112"/>
              <a:gd name="connsiteX23124" fmla="*/ 3925982 w 6785952"/>
              <a:gd name="connsiteY23124" fmla="*/ 452019 h 5217112"/>
              <a:gd name="connsiteX23125" fmla="*/ 3930103 w 6785952"/>
              <a:gd name="connsiteY23125" fmla="*/ 447225 h 5217112"/>
              <a:gd name="connsiteX23126" fmla="*/ 3936146 w 6785952"/>
              <a:gd name="connsiteY23126" fmla="*/ 445264 h 5217112"/>
              <a:gd name="connsiteX23127" fmla="*/ 3945486 w 6785952"/>
              <a:gd name="connsiteY23127" fmla="*/ 441776 h 5217112"/>
              <a:gd name="connsiteX23128" fmla="*/ 5078053 w 6785952"/>
              <a:gd name="connsiteY23128" fmla="*/ 438725 h 5217112"/>
              <a:gd name="connsiteX23129" fmla="*/ 5067615 w 6785952"/>
              <a:gd name="connsiteY23129" fmla="*/ 463898 h 5217112"/>
              <a:gd name="connsiteX23130" fmla="*/ 5064868 w 6785952"/>
              <a:gd name="connsiteY23130" fmla="*/ 461937 h 5217112"/>
              <a:gd name="connsiteX23131" fmla="*/ 5064318 w 6785952"/>
              <a:gd name="connsiteY23131" fmla="*/ 457795 h 5217112"/>
              <a:gd name="connsiteX23132" fmla="*/ 5068988 w 6785952"/>
              <a:gd name="connsiteY23132" fmla="*/ 444610 h 5217112"/>
              <a:gd name="connsiteX23133" fmla="*/ 5070636 w 6785952"/>
              <a:gd name="connsiteY23133" fmla="*/ 441994 h 5217112"/>
              <a:gd name="connsiteX23134" fmla="*/ 5072284 w 6785952"/>
              <a:gd name="connsiteY23134" fmla="*/ 439270 h 5217112"/>
              <a:gd name="connsiteX23135" fmla="*/ 5078053 w 6785952"/>
              <a:gd name="connsiteY23135" fmla="*/ 438725 h 5217112"/>
              <a:gd name="connsiteX23136" fmla="*/ 2308854 w 6785952"/>
              <a:gd name="connsiteY23136" fmla="*/ 438725 h 5217112"/>
              <a:gd name="connsiteX23137" fmla="*/ 2308305 w 6785952"/>
              <a:gd name="connsiteY23137" fmla="*/ 462591 h 5217112"/>
              <a:gd name="connsiteX23138" fmla="*/ 2296218 w 6785952"/>
              <a:gd name="connsiteY23138" fmla="*/ 460738 h 5217112"/>
              <a:gd name="connsiteX23139" fmla="*/ 2292922 w 6785952"/>
              <a:gd name="connsiteY23139" fmla="*/ 442757 h 5217112"/>
              <a:gd name="connsiteX23140" fmla="*/ 2297866 w 6785952"/>
              <a:gd name="connsiteY23140" fmla="*/ 438943 h 5217112"/>
              <a:gd name="connsiteX23141" fmla="*/ 2308854 w 6785952"/>
              <a:gd name="connsiteY23141" fmla="*/ 438725 h 5217112"/>
              <a:gd name="connsiteX23142" fmla="*/ 5002512 w 6785952"/>
              <a:gd name="connsiteY23142" fmla="*/ 438507 h 5217112"/>
              <a:gd name="connsiteX23143" fmla="*/ 5003611 w 6785952"/>
              <a:gd name="connsiteY23143" fmla="*/ 466622 h 5217112"/>
              <a:gd name="connsiteX23144" fmla="*/ 5000314 w 6785952"/>
              <a:gd name="connsiteY23144" fmla="*/ 466622 h 5217112"/>
              <a:gd name="connsiteX23145" fmla="*/ 4998117 w 6785952"/>
              <a:gd name="connsiteY23145" fmla="*/ 463462 h 5217112"/>
              <a:gd name="connsiteX23146" fmla="*/ 4997018 w 6785952"/>
              <a:gd name="connsiteY23146" fmla="*/ 449187 h 5217112"/>
              <a:gd name="connsiteX23147" fmla="*/ 4997293 w 6785952"/>
              <a:gd name="connsiteY23147" fmla="*/ 445809 h 5217112"/>
              <a:gd name="connsiteX23148" fmla="*/ 4997568 w 6785952"/>
              <a:gd name="connsiteY23148" fmla="*/ 442430 h 5217112"/>
              <a:gd name="connsiteX23149" fmla="*/ 5002512 w 6785952"/>
              <a:gd name="connsiteY23149" fmla="*/ 438507 h 5217112"/>
              <a:gd name="connsiteX23150" fmla="*/ 5853516 w 6785952"/>
              <a:gd name="connsiteY23150" fmla="*/ 438289 h 5217112"/>
              <a:gd name="connsiteX23151" fmla="*/ 5854341 w 6785952"/>
              <a:gd name="connsiteY23151" fmla="*/ 443847 h 5217112"/>
              <a:gd name="connsiteX23152" fmla="*/ 5853516 w 6785952"/>
              <a:gd name="connsiteY23152" fmla="*/ 444610 h 5217112"/>
              <a:gd name="connsiteX23153" fmla="*/ 5857637 w 6785952"/>
              <a:gd name="connsiteY23153" fmla="*/ 447116 h 5217112"/>
              <a:gd name="connsiteX23154" fmla="*/ 5854066 w 6785952"/>
              <a:gd name="connsiteY23154" fmla="*/ 457686 h 5217112"/>
              <a:gd name="connsiteX23155" fmla="*/ 5843078 w 6785952"/>
              <a:gd name="connsiteY23155" fmla="*/ 451039 h 5217112"/>
              <a:gd name="connsiteX23156" fmla="*/ 5844727 w 6785952"/>
              <a:gd name="connsiteY23156" fmla="*/ 447443 h 5217112"/>
              <a:gd name="connsiteX23157" fmla="*/ 5843078 w 6785952"/>
              <a:gd name="connsiteY23157" fmla="*/ 443193 h 5217112"/>
              <a:gd name="connsiteX23158" fmla="*/ 5853516 w 6785952"/>
              <a:gd name="connsiteY23158" fmla="*/ 438289 h 5217112"/>
              <a:gd name="connsiteX23159" fmla="*/ 3849068 w 6785952"/>
              <a:gd name="connsiteY23159" fmla="*/ 437853 h 5217112"/>
              <a:gd name="connsiteX23160" fmla="*/ 3854836 w 6785952"/>
              <a:gd name="connsiteY23160" fmla="*/ 438834 h 5217112"/>
              <a:gd name="connsiteX23161" fmla="*/ 3857584 w 6785952"/>
              <a:gd name="connsiteY23161" fmla="*/ 442212 h 5217112"/>
              <a:gd name="connsiteX23162" fmla="*/ 3855935 w 6785952"/>
              <a:gd name="connsiteY23162" fmla="*/ 444827 h 5217112"/>
              <a:gd name="connsiteX23163" fmla="*/ 3855660 w 6785952"/>
              <a:gd name="connsiteY23163" fmla="*/ 447770 h 5217112"/>
              <a:gd name="connsiteX23164" fmla="*/ 3854287 w 6785952"/>
              <a:gd name="connsiteY23164" fmla="*/ 447551 h 5217112"/>
              <a:gd name="connsiteX23165" fmla="*/ 3852639 w 6785952"/>
              <a:gd name="connsiteY23165" fmla="*/ 448750 h 5217112"/>
              <a:gd name="connsiteX23166" fmla="*/ 3847145 w 6785952"/>
              <a:gd name="connsiteY23166" fmla="*/ 444936 h 5217112"/>
              <a:gd name="connsiteX23167" fmla="*/ 3845497 w 6785952"/>
              <a:gd name="connsiteY23167" fmla="*/ 441667 h 5217112"/>
              <a:gd name="connsiteX23168" fmla="*/ 3846047 w 6785952"/>
              <a:gd name="connsiteY23168" fmla="*/ 438834 h 5217112"/>
              <a:gd name="connsiteX23169" fmla="*/ 3849068 w 6785952"/>
              <a:gd name="connsiteY23169" fmla="*/ 437853 h 5217112"/>
              <a:gd name="connsiteX23170" fmla="*/ 3989986 w 6785952"/>
              <a:gd name="connsiteY23170" fmla="*/ 437090 h 5217112"/>
              <a:gd name="connsiteX23171" fmla="*/ 3997404 w 6785952"/>
              <a:gd name="connsiteY23171" fmla="*/ 450058 h 5217112"/>
              <a:gd name="connsiteX23172" fmla="*/ 3989712 w 6785952"/>
              <a:gd name="connsiteY23172" fmla="*/ 452129 h 5217112"/>
              <a:gd name="connsiteX23173" fmla="*/ 3983943 w 6785952"/>
              <a:gd name="connsiteY23173" fmla="*/ 447770 h 5217112"/>
              <a:gd name="connsiteX23174" fmla="*/ 3983394 w 6785952"/>
              <a:gd name="connsiteY23174" fmla="*/ 442648 h 5217112"/>
              <a:gd name="connsiteX23175" fmla="*/ 3989986 w 6785952"/>
              <a:gd name="connsiteY23175" fmla="*/ 437090 h 5217112"/>
              <a:gd name="connsiteX23176" fmla="*/ 5937401 w 6785952"/>
              <a:gd name="connsiteY23176" fmla="*/ 435429 h 5217112"/>
              <a:gd name="connsiteX23177" fmla="*/ 5942518 w 6785952"/>
              <a:gd name="connsiteY23177" fmla="*/ 436001 h 5217112"/>
              <a:gd name="connsiteX23178" fmla="*/ 5945814 w 6785952"/>
              <a:gd name="connsiteY23178" fmla="*/ 436436 h 5217112"/>
              <a:gd name="connsiteX23179" fmla="*/ 5948836 w 6785952"/>
              <a:gd name="connsiteY23179" fmla="*/ 436873 h 5217112"/>
              <a:gd name="connsiteX23180" fmla="*/ 5951857 w 6785952"/>
              <a:gd name="connsiteY23180" fmla="*/ 441994 h 5217112"/>
              <a:gd name="connsiteX23181" fmla="*/ 5937024 w 6785952"/>
              <a:gd name="connsiteY23181" fmla="*/ 442648 h 5217112"/>
              <a:gd name="connsiteX23182" fmla="*/ 5924662 w 6785952"/>
              <a:gd name="connsiteY23182" fmla="*/ 442648 h 5217112"/>
              <a:gd name="connsiteX23183" fmla="*/ 5925212 w 6785952"/>
              <a:gd name="connsiteY23183" fmla="*/ 439270 h 5217112"/>
              <a:gd name="connsiteX23184" fmla="*/ 5928783 w 6785952"/>
              <a:gd name="connsiteY23184" fmla="*/ 436981 h 5217112"/>
              <a:gd name="connsiteX23185" fmla="*/ 5937401 w 6785952"/>
              <a:gd name="connsiteY23185" fmla="*/ 435429 h 5217112"/>
              <a:gd name="connsiteX23186" fmla="*/ 4295722 w 6785952"/>
              <a:gd name="connsiteY23186" fmla="*/ 434584 h 5217112"/>
              <a:gd name="connsiteX23187" fmla="*/ 4297920 w 6785952"/>
              <a:gd name="connsiteY23187" fmla="*/ 442866 h 5217112"/>
              <a:gd name="connsiteX23188" fmla="*/ 4292700 w 6785952"/>
              <a:gd name="connsiteY23188" fmla="*/ 443629 h 5217112"/>
              <a:gd name="connsiteX23189" fmla="*/ 4287207 w 6785952"/>
              <a:gd name="connsiteY23189" fmla="*/ 442212 h 5217112"/>
              <a:gd name="connsiteX23190" fmla="*/ 4287756 w 6785952"/>
              <a:gd name="connsiteY23190" fmla="*/ 439052 h 5217112"/>
              <a:gd name="connsiteX23191" fmla="*/ 4291327 w 6785952"/>
              <a:gd name="connsiteY23191" fmla="*/ 435238 h 5217112"/>
              <a:gd name="connsiteX23192" fmla="*/ 4295722 w 6785952"/>
              <a:gd name="connsiteY23192" fmla="*/ 434584 h 5217112"/>
              <a:gd name="connsiteX23193" fmla="*/ 4249573 w 6785952"/>
              <a:gd name="connsiteY23193" fmla="*/ 433276 h 5217112"/>
              <a:gd name="connsiteX23194" fmla="*/ 4258913 w 6785952"/>
              <a:gd name="connsiteY23194" fmla="*/ 437090 h 5217112"/>
              <a:gd name="connsiteX23195" fmla="*/ 4251770 w 6785952"/>
              <a:gd name="connsiteY23195" fmla="*/ 445590 h 5217112"/>
              <a:gd name="connsiteX23196" fmla="*/ 4248475 w 6785952"/>
              <a:gd name="connsiteY23196" fmla="*/ 442757 h 5217112"/>
              <a:gd name="connsiteX23197" fmla="*/ 4249573 w 6785952"/>
              <a:gd name="connsiteY23197" fmla="*/ 433276 h 5217112"/>
              <a:gd name="connsiteX23198" fmla="*/ 2329457 w 6785952"/>
              <a:gd name="connsiteY23198" fmla="*/ 433058 h 5217112"/>
              <a:gd name="connsiteX23199" fmla="*/ 2325885 w 6785952"/>
              <a:gd name="connsiteY23199" fmla="*/ 451148 h 5217112"/>
              <a:gd name="connsiteX23200" fmla="*/ 2323413 w 6785952"/>
              <a:gd name="connsiteY23200" fmla="*/ 451474 h 5217112"/>
              <a:gd name="connsiteX23201" fmla="*/ 2314348 w 6785952"/>
              <a:gd name="connsiteY23201" fmla="*/ 439597 h 5217112"/>
              <a:gd name="connsiteX23202" fmla="*/ 2329457 w 6785952"/>
              <a:gd name="connsiteY23202" fmla="*/ 433058 h 5217112"/>
              <a:gd name="connsiteX23203" fmla="*/ 4782481 w 6785952"/>
              <a:gd name="connsiteY23203" fmla="*/ 432078 h 5217112"/>
              <a:gd name="connsiteX23204" fmla="*/ 4794018 w 6785952"/>
              <a:gd name="connsiteY23204" fmla="*/ 438071 h 5217112"/>
              <a:gd name="connsiteX23205" fmla="*/ 4789623 w 6785952"/>
              <a:gd name="connsiteY23205" fmla="*/ 445372 h 5217112"/>
              <a:gd name="connsiteX23206" fmla="*/ 4782481 w 6785952"/>
              <a:gd name="connsiteY23206" fmla="*/ 432078 h 5217112"/>
              <a:gd name="connsiteX23207" fmla="*/ 4670681 w 6785952"/>
              <a:gd name="connsiteY23207" fmla="*/ 432078 h 5217112"/>
              <a:gd name="connsiteX23208" fmla="*/ 4672878 w 6785952"/>
              <a:gd name="connsiteY23208" fmla="*/ 434366 h 5217112"/>
              <a:gd name="connsiteX23209" fmla="*/ 4674251 w 6785952"/>
              <a:gd name="connsiteY23209" fmla="*/ 440033 h 5217112"/>
              <a:gd name="connsiteX23210" fmla="*/ 4672329 w 6785952"/>
              <a:gd name="connsiteY23210" fmla="*/ 443738 h 5217112"/>
              <a:gd name="connsiteX23211" fmla="*/ 4669307 w 6785952"/>
              <a:gd name="connsiteY23211" fmla="*/ 443411 h 5217112"/>
              <a:gd name="connsiteX23212" fmla="*/ 4666560 w 6785952"/>
              <a:gd name="connsiteY23212" fmla="*/ 444391 h 5217112"/>
              <a:gd name="connsiteX23213" fmla="*/ 4666011 w 6785952"/>
              <a:gd name="connsiteY23213" fmla="*/ 442975 h 5217112"/>
              <a:gd name="connsiteX23214" fmla="*/ 4664362 w 6785952"/>
              <a:gd name="connsiteY23214" fmla="*/ 442103 h 5217112"/>
              <a:gd name="connsiteX23215" fmla="*/ 4665736 w 6785952"/>
              <a:gd name="connsiteY23215" fmla="*/ 435456 h 5217112"/>
              <a:gd name="connsiteX23216" fmla="*/ 4667934 w 6785952"/>
              <a:gd name="connsiteY23216" fmla="*/ 432732 h 5217112"/>
              <a:gd name="connsiteX23217" fmla="*/ 4670681 w 6785952"/>
              <a:gd name="connsiteY23217" fmla="*/ 432078 h 5217112"/>
              <a:gd name="connsiteX23218" fmla="*/ 3752375 w 6785952"/>
              <a:gd name="connsiteY23218" fmla="*/ 431860 h 5217112"/>
              <a:gd name="connsiteX23219" fmla="*/ 3763363 w 6785952"/>
              <a:gd name="connsiteY23219" fmla="*/ 437199 h 5217112"/>
              <a:gd name="connsiteX23220" fmla="*/ 3760342 w 6785952"/>
              <a:gd name="connsiteY23220" fmla="*/ 440687 h 5217112"/>
              <a:gd name="connsiteX23221" fmla="*/ 3763638 w 6785952"/>
              <a:gd name="connsiteY23221" fmla="*/ 440359 h 5217112"/>
              <a:gd name="connsiteX23222" fmla="*/ 3759243 w 6785952"/>
              <a:gd name="connsiteY23222" fmla="*/ 441994 h 5217112"/>
              <a:gd name="connsiteX23223" fmla="*/ 3756770 w 6785952"/>
              <a:gd name="connsiteY23223" fmla="*/ 441013 h 5217112"/>
              <a:gd name="connsiteX23224" fmla="*/ 3752375 w 6785952"/>
              <a:gd name="connsiteY23224" fmla="*/ 431860 h 5217112"/>
              <a:gd name="connsiteX23225" fmla="*/ 1439445 w 6785952"/>
              <a:gd name="connsiteY23225" fmla="*/ 431315 h 5217112"/>
              <a:gd name="connsiteX23226" fmla="*/ 1429007 w 6785952"/>
              <a:gd name="connsiteY23226" fmla="*/ 456487 h 5217112"/>
              <a:gd name="connsiteX23227" fmla="*/ 1426260 w 6785952"/>
              <a:gd name="connsiteY23227" fmla="*/ 454635 h 5217112"/>
              <a:gd name="connsiteX23228" fmla="*/ 1425435 w 6785952"/>
              <a:gd name="connsiteY23228" fmla="*/ 450276 h 5217112"/>
              <a:gd name="connsiteX23229" fmla="*/ 1430380 w 6785952"/>
              <a:gd name="connsiteY23229" fmla="*/ 437309 h 5217112"/>
              <a:gd name="connsiteX23230" fmla="*/ 1431753 w 6785952"/>
              <a:gd name="connsiteY23230" fmla="*/ 434584 h 5217112"/>
              <a:gd name="connsiteX23231" fmla="*/ 1433402 w 6785952"/>
              <a:gd name="connsiteY23231" fmla="*/ 431860 h 5217112"/>
              <a:gd name="connsiteX23232" fmla="*/ 1439445 w 6785952"/>
              <a:gd name="connsiteY23232" fmla="*/ 431315 h 5217112"/>
              <a:gd name="connsiteX23233" fmla="*/ 1363904 w 6785952"/>
              <a:gd name="connsiteY23233" fmla="*/ 431097 h 5217112"/>
              <a:gd name="connsiteX23234" fmla="*/ 1365002 w 6785952"/>
              <a:gd name="connsiteY23234" fmla="*/ 459212 h 5217112"/>
              <a:gd name="connsiteX23235" fmla="*/ 1361706 w 6785952"/>
              <a:gd name="connsiteY23235" fmla="*/ 459212 h 5217112"/>
              <a:gd name="connsiteX23236" fmla="*/ 1359509 w 6785952"/>
              <a:gd name="connsiteY23236" fmla="*/ 456051 h 5217112"/>
              <a:gd name="connsiteX23237" fmla="*/ 1358410 w 6785952"/>
              <a:gd name="connsiteY23237" fmla="*/ 441776 h 5217112"/>
              <a:gd name="connsiteX23238" fmla="*/ 1358410 w 6785952"/>
              <a:gd name="connsiteY23238" fmla="*/ 438507 h 5217112"/>
              <a:gd name="connsiteX23239" fmla="*/ 1358959 w 6785952"/>
              <a:gd name="connsiteY23239" fmla="*/ 435129 h 5217112"/>
              <a:gd name="connsiteX23240" fmla="*/ 1363904 w 6785952"/>
              <a:gd name="connsiteY23240" fmla="*/ 431097 h 5217112"/>
              <a:gd name="connsiteX23241" fmla="*/ 2214633 w 6785952"/>
              <a:gd name="connsiteY23241" fmla="*/ 430988 h 5217112"/>
              <a:gd name="connsiteX23242" fmla="*/ 2215733 w 6785952"/>
              <a:gd name="connsiteY23242" fmla="*/ 436545 h 5217112"/>
              <a:gd name="connsiteX23243" fmla="*/ 2214633 w 6785952"/>
              <a:gd name="connsiteY23243" fmla="*/ 437199 h 5217112"/>
              <a:gd name="connsiteX23244" fmla="*/ 2219028 w 6785952"/>
              <a:gd name="connsiteY23244" fmla="*/ 439814 h 5217112"/>
              <a:gd name="connsiteX23245" fmla="*/ 2215183 w 6785952"/>
              <a:gd name="connsiteY23245" fmla="*/ 450276 h 5217112"/>
              <a:gd name="connsiteX23246" fmla="*/ 2204470 w 6785952"/>
              <a:gd name="connsiteY23246" fmla="*/ 443738 h 5217112"/>
              <a:gd name="connsiteX23247" fmla="*/ 2206118 w 6785952"/>
              <a:gd name="connsiteY23247" fmla="*/ 440142 h 5217112"/>
              <a:gd name="connsiteX23248" fmla="*/ 2204470 w 6785952"/>
              <a:gd name="connsiteY23248" fmla="*/ 435891 h 5217112"/>
              <a:gd name="connsiteX23249" fmla="*/ 2214633 w 6785952"/>
              <a:gd name="connsiteY23249" fmla="*/ 430988 h 5217112"/>
              <a:gd name="connsiteX23250" fmla="*/ 3430433 w 6785952"/>
              <a:gd name="connsiteY23250" fmla="*/ 430116 h 5217112"/>
              <a:gd name="connsiteX23251" fmla="*/ 3443344 w 6785952"/>
              <a:gd name="connsiteY23251" fmla="*/ 432841 h 5217112"/>
              <a:gd name="connsiteX23252" fmla="*/ 3446915 w 6785952"/>
              <a:gd name="connsiteY23252" fmla="*/ 436764 h 5217112"/>
              <a:gd name="connsiteX23253" fmla="*/ 3421918 w 6785952"/>
              <a:gd name="connsiteY23253" fmla="*/ 457904 h 5217112"/>
              <a:gd name="connsiteX23254" fmla="*/ 3418621 w 6785952"/>
              <a:gd name="connsiteY23254" fmla="*/ 454853 h 5217112"/>
              <a:gd name="connsiteX23255" fmla="*/ 3416149 w 6785952"/>
              <a:gd name="connsiteY23255" fmla="*/ 448205 h 5217112"/>
              <a:gd name="connsiteX23256" fmla="*/ 3430433 w 6785952"/>
              <a:gd name="connsiteY23256" fmla="*/ 430116 h 5217112"/>
              <a:gd name="connsiteX23257" fmla="*/ 1992955 w 6785952"/>
              <a:gd name="connsiteY23257" fmla="*/ 428918 h 5217112"/>
              <a:gd name="connsiteX23258" fmla="*/ 1996251 w 6785952"/>
              <a:gd name="connsiteY23258" fmla="*/ 430661 h 5217112"/>
              <a:gd name="connsiteX23259" fmla="*/ 1984439 w 6785952"/>
              <a:gd name="connsiteY23259" fmla="*/ 436545 h 5217112"/>
              <a:gd name="connsiteX23260" fmla="*/ 1977572 w 6785952"/>
              <a:gd name="connsiteY23260" fmla="*/ 439052 h 5217112"/>
              <a:gd name="connsiteX23261" fmla="*/ 1974001 w 6785952"/>
              <a:gd name="connsiteY23261" fmla="*/ 437309 h 5217112"/>
              <a:gd name="connsiteX23262" fmla="*/ 1973726 w 6785952"/>
              <a:gd name="connsiteY23262" fmla="*/ 435891 h 5217112"/>
              <a:gd name="connsiteX23263" fmla="*/ 1976474 w 6785952"/>
              <a:gd name="connsiteY23263" fmla="*/ 433712 h 5217112"/>
              <a:gd name="connsiteX23264" fmla="*/ 1990208 w 6785952"/>
              <a:gd name="connsiteY23264" fmla="*/ 429898 h 5217112"/>
              <a:gd name="connsiteX23265" fmla="*/ 1992955 w 6785952"/>
              <a:gd name="connsiteY23265" fmla="*/ 428918 h 5217112"/>
              <a:gd name="connsiteX23266" fmla="*/ 2960980 w 6785952"/>
              <a:gd name="connsiteY23266" fmla="*/ 428590 h 5217112"/>
              <a:gd name="connsiteX23267" fmla="*/ 2963177 w 6785952"/>
              <a:gd name="connsiteY23267" fmla="*/ 487218 h 5217112"/>
              <a:gd name="connsiteX23268" fmla="*/ 2938180 w 6785952"/>
              <a:gd name="connsiteY23268" fmla="*/ 435783 h 5217112"/>
              <a:gd name="connsiteX23269" fmla="*/ 2943399 w 6785952"/>
              <a:gd name="connsiteY23269" fmla="*/ 433603 h 5217112"/>
              <a:gd name="connsiteX23270" fmla="*/ 2960980 w 6785952"/>
              <a:gd name="connsiteY23270" fmla="*/ 428590 h 5217112"/>
              <a:gd name="connsiteX23271" fmla="*/ 2298793 w 6785952"/>
              <a:gd name="connsiteY23271" fmla="*/ 428087 h 5217112"/>
              <a:gd name="connsiteX23272" fmla="*/ 2303910 w 6785952"/>
              <a:gd name="connsiteY23272" fmla="*/ 428699 h 5217112"/>
              <a:gd name="connsiteX23273" fmla="*/ 2307206 w 6785952"/>
              <a:gd name="connsiteY23273" fmla="*/ 429136 h 5217112"/>
              <a:gd name="connsiteX23274" fmla="*/ 2310227 w 6785952"/>
              <a:gd name="connsiteY23274" fmla="*/ 429462 h 5217112"/>
              <a:gd name="connsiteX23275" fmla="*/ 2313249 w 6785952"/>
              <a:gd name="connsiteY23275" fmla="*/ 434584 h 5217112"/>
              <a:gd name="connsiteX23276" fmla="*/ 2298416 w 6785952"/>
              <a:gd name="connsiteY23276" fmla="*/ 435346 h 5217112"/>
              <a:gd name="connsiteX23277" fmla="*/ 2286055 w 6785952"/>
              <a:gd name="connsiteY23277" fmla="*/ 435238 h 5217112"/>
              <a:gd name="connsiteX23278" fmla="*/ 2286604 w 6785952"/>
              <a:gd name="connsiteY23278" fmla="*/ 431968 h 5217112"/>
              <a:gd name="connsiteX23279" fmla="*/ 2290174 w 6785952"/>
              <a:gd name="connsiteY23279" fmla="*/ 429681 h 5217112"/>
              <a:gd name="connsiteX23280" fmla="*/ 2298793 w 6785952"/>
              <a:gd name="connsiteY23280" fmla="*/ 428087 h 5217112"/>
              <a:gd name="connsiteX23281" fmla="*/ 4043552 w 6785952"/>
              <a:gd name="connsiteY23281" fmla="*/ 427283 h 5217112"/>
              <a:gd name="connsiteX23282" fmla="*/ 4044376 w 6785952"/>
              <a:gd name="connsiteY23282" fmla="*/ 445917 h 5217112"/>
              <a:gd name="connsiteX23283" fmla="*/ 4029542 w 6785952"/>
              <a:gd name="connsiteY23283" fmla="*/ 440578 h 5217112"/>
              <a:gd name="connsiteX23284" fmla="*/ 4033388 w 6785952"/>
              <a:gd name="connsiteY23284" fmla="*/ 430770 h 5217112"/>
              <a:gd name="connsiteX23285" fmla="*/ 4043552 w 6785952"/>
              <a:gd name="connsiteY23285" fmla="*/ 427283 h 5217112"/>
              <a:gd name="connsiteX23286" fmla="*/ 4473999 w 6785952"/>
              <a:gd name="connsiteY23286" fmla="*/ 426847 h 5217112"/>
              <a:gd name="connsiteX23287" fmla="*/ 4478119 w 6785952"/>
              <a:gd name="connsiteY23287" fmla="*/ 430007 h 5217112"/>
              <a:gd name="connsiteX23288" fmla="*/ 4479493 w 6785952"/>
              <a:gd name="connsiteY23288" fmla="*/ 436001 h 5217112"/>
              <a:gd name="connsiteX23289" fmla="*/ 4474273 w 6785952"/>
              <a:gd name="connsiteY23289" fmla="*/ 439488 h 5217112"/>
              <a:gd name="connsiteX23290" fmla="*/ 4467956 w 6785952"/>
              <a:gd name="connsiteY23290" fmla="*/ 437526 h 5217112"/>
              <a:gd name="connsiteX23291" fmla="*/ 4469604 w 6785952"/>
              <a:gd name="connsiteY23291" fmla="*/ 429027 h 5217112"/>
              <a:gd name="connsiteX23292" fmla="*/ 4473999 w 6785952"/>
              <a:gd name="connsiteY23292" fmla="*/ 426847 h 5217112"/>
              <a:gd name="connsiteX23293" fmla="*/ 4279515 w 6785952"/>
              <a:gd name="connsiteY23293" fmla="*/ 425649 h 5217112"/>
              <a:gd name="connsiteX23294" fmla="*/ 4290228 w 6785952"/>
              <a:gd name="connsiteY23294" fmla="*/ 428590 h 5217112"/>
              <a:gd name="connsiteX23295" fmla="*/ 4285009 w 6785952"/>
              <a:gd name="connsiteY23295" fmla="*/ 439161 h 5217112"/>
              <a:gd name="connsiteX23296" fmla="*/ 4274846 w 6785952"/>
              <a:gd name="connsiteY23296" fmla="*/ 432950 h 5217112"/>
              <a:gd name="connsiteX23297" fmla="*/ 4279515 w 6785952"/>
              <a:gd name="connsiteY23297" fmla="*/ 425649 h 5217112"/>
              <a:gd name="connsiteX23298" fmla="*/ 4808028 w 6785952"/>
              <a:gd name="connsiteY23298" fmla="*/ 424014 h 5217112"/>
              <a:gd name="connsiteX23299" fmla="*/ 4801710 w 6785952"/>
              <a:gd name="connsiteY23299" fmla="*/ 434693 h 5217112"/>
              <a:gd name="connsiteX23300" fmla="*/ 4797590 w 6785952"/>
              <a:gd name="connsiteY23300" fmla="*/ 434039 h 5217112"/>
              <a:gd name="connsiteX23301" fmla="*/ 4795117 w 6785952"/>
              <a:gd name="connsiteY23301" fmla="*/ 427719 h 5217112"/>
              <a:gd name="connsiteX23302" fmla="*/ 4808028 w 6785952"/>
              <a:gd name="connsiteY23302" fmla="*/ 424014 h 5217112"/>
              <a:gd name="connsiteX23303" fmla="*/ 2932136 w 6785952"/>
              <a:gd name="connsiteY23303" fmla="*/ 423251 h 5217112"/>
              <a:gd name="connsiteX23304" fmla="*/ 2933236 w 6785952"/>
              <a:gd name="connsiteY23304" fmla="*/ 427392 h 5217112"/>
              <a:gd name="connsiteX23305" fmla="*/ 2922523 w 6785952"/>
              <a:gd name="connsiteY23305" fmla="*/ 437199 h 5217112"/>
              <a:gd name="connsiteX23306" fmla="*/ 2928840 w 6785952"/>
              <a:gd name="connsiteY23306" fmla="*/ 424231 h 5217112"/>
              <a:gd name="connsiteX23307" fmla="*/ 2932136 w 6785952"/>
              <a:gd name="connsiteY23307" fmla="*/ 423251 h 5217112"/>
              <a:gd name="connsiteX23308" fmla="*/ 4865486 w 6785952"/>
              <a:gd name="connsiteY23308" fmla="*/ 422648 h 5217112"/>
              <a:gd name="connsiteX23309" fmla="*/ 4885766 w 6785952"/>
              <a:gd name="connsiteY23309" fmla="*/ 445481 h 5217112"/>
              <a:gd name="connsiteX23310" fmla="*/ 4856924 w 6785952"/>
              <a:gd name="connsiteY23310" fmla="*/ 429462 h 5217112"/>
              <a:gd name="connsiteX23311" fmla="*/ 4865486 w 6785952"/>
              <a:gd name="connsiteY23311" fmla="*/ 422648 h 5217112"/>
              <a:gd name="connsiteX23312" fmla="*/ 4729740 w 6785952"/>
              <a:gd name="connsiteY23312" fmla="*/ 418674 h 5217112"/>
              <a:gd name="connsiteX23313" fmla="*/ 4734135 w 6785952"/>
              <a:gd name="connsiteY23313" fmla="*/ 427937 h 5217112"/>
              <a:gd name="connsiteX23314" fmla="*/ 4726993 w 6785952"/>
              <a:gd name="connsiteY23314" fmla="*/ 430661 h 5217112"/>
              <a:gd name="connsiteX23315" fmla="*/ 4722049 w 6785952"/>
              <a:gd name="connsiteY23315" fmla="*/ 426956 h 5217112"/>
              <a:gd name="connsiteX23316" fmla="*/ 4729740 w 6785952"/>
              <a:gd name="connsiteY23316" fmla="*/ 418674 h 5217112"/>
              <a:gd name="connsiteX23317" fmla="*/ 3793305 w 6785952"/>
              <a:gd name="connsiteY23317" fmla="*/ 417475 h 5217112"/>
              <a:gd name="connsiteX23318" fmla="*/ 3796877 w 6785952"/>
              <a:gd name="connsiteY23318" fmla="*/ 418783 h 5217112"/>
              <a:gd name="connsiteX23319" fmla="*/ 3796602 w 6785952"/>
              <a:gd name="connsiteY23319" fmla="*/ 422161 h 5217112"/>
              <a:gd name="connsiteX23320" fmla="*/ 3797426 w 6785952"/>
              <a:gd name="connsiteY23320" fmla="*/ 424776 h 5217112"/>
              <a:gd name="connsiteX23321" fmla="*/ 3796327 w 6785952"/>
              <a:gd name="connsiteY23321" fmla="*/ 425539 h 5217112"/>
              <a:gd name="connsiteX23322" fmla="*/ 3795502 w 6785952"/>
              <a:gd name="connsiteY23322" fmla="*/ 427501 h 5217112"/>
              <a:gd name="connsiteX23323" fmla="*/ 3791657 w 6785952"/>
              <a:gd name="connsiteY23323" fmla="*/ 427719 h 5217112"/>
              <a:gd name="connsiteX23324" fmla="*/ 3788910 w 6785952"/>
              <a:gd name="connsiteY23324" fmla="*/ 427501 h 5217112"/>
              <a:gd name="connsiteX23325" fmla="*/ 3786438 w 6785952"/>
              <a:gd name="connsiteY23325" fmla="*/ 425649 h 5217112"/>
              <a:gd name="connsiteX23326" fmla="*/ 3785614 w 6785952"/>
              <a:gd name="connsiteY23326" fmla="*/ 422815 h 5217112"/>
              <a:gd name="connsiteX23327" fmla="*/ 3787811 w 6785952"/>
              <a:gd name="connsiteY23327" fmla="*/ 420091 h 5217112"/>
              <a:gd name="connsiteX23328" fmla="*/ 3793305 w 6785952"/>
              <a:gd name="connsiteY23328" fmla="*/ 417475 h 5217112"/>
              <a:gd name="connsiteX23329" fmla="*/ 5417645 w 6785952"/>
              <a:gd name="connsiteY23329" fmla="*/ 415778 h 5217112"/>
              <a:gd name="connsiteX23330" fmla="*/ 5426916 w 6785952"/>
              <a:gd name="connsiteY23330" fmla="*/ 419219 h 5217112"/>
              <a:gd name="connsiteX23331" fmla="*/ 5414004 w 6785952"/>
              <a:gd name="connsiteY23331" fmla="*/ 437199 h 5217112"/>
              <a:gd name="connsiteX23332" fmla="*/ 5407137 w 6785952"/>
              <a:gd name="connsiteY23332" fmla="*/ 433386 h 5217112"/>
              <a:gd name="connsiteX23333" fmla="*/ 5417645 w 6785952"/>
              <a:gd name="connsiteY23333" fmla="*/ 415778 h 5217112"/>
              <a:gd name="connsiteX23334" fmla="*/ 4937959 w 6785952"/>
              <a:gd name="connsiteY23334" fmla="*/ 415296 h 5217112"/>
              <a:gd name="connsiteX23335" fmla="*/ 4940980 w 6785952"/>
              <a:gd name="connsiteY23335" fmla="*/ 461827 h 5217112"/>
              <a:gd name="connsiteX23336" fmla="*/ 4937959 w 6785952"/>
              <a:gd name="connsiteY23336" fmla="*/ 415296 h 5217112"/>
              <a:gd name="connsiteX23337" fmla="*/ 5435946 w 6785952"/>
              <a:gd name="connsiteY23337" fmla="*/ 415241 h 5217112"/>
              <a:gd name="connsiteX23338" fmla="*/ 5442573 w 6785952"/>
              <a:gd name="connsiteY23338" fmla="*/ 416822 h 5217112"/>
              <a:gd name="connsiteX23339" fmla="*/ 5450814 w 6785952"/>
              <a:gd name="connsiteY23339" fmla="*/ 426956 h 5217112"/>
              <a:gd name="connsiteX23340" fmla="*/ 5453012 w 6785952"/>
              <a:gd name="connsiteY23340" fmla="*/ 439924 h 5217112"/>
              <a:gd name="connsiteX23341" fmla="*/ 5439277 w 6785952"/>
              <a:gd name="connsiteY23341" fmla="*/ 436764 h 5217112"/>
              <a:gd name="connsiteX23342" fmla="*/ 5432410 w 6785952"/>
              <a:gd name="connsiteY23342" fmla="*/ 419219 h 5217112"/>
              <a:gd name="connsiteX23343" fmla="*/ 5435946 w 6785952"/>
              <a:gd name="connsiteY23343" fmla="*/ 415241 h 5217112"/>
              <a:gd name="connsiteX23344" fmla="*/ 1091132 w 6785952"/>
              <a:gd name="connsiteY23344" fmla="*/ 411264 h 5217112"/>
              <a:gd name="connsiteX23345" fmla="*/ 1095527 w 6785952"/>
              <a:gd name="connsiteY23345" fmla="*/ 420527 h 5217112"/>
              <a:gd name="connsiteX23346" fmla="*/ 1088385 w 6785952"/>
              <a:gd name="connsiteY23346" fmla="*/ 423360 h 5217112"/>
              <a:gd name="connsiteX23347" fmla="*/ 1083440 w 6785952"/>
              <a:gd name="connsiteY23347" fmla="*/ 419437 h 5217112"/>
              <a:gd name="connsiteX23348" fmla="*/ 1091132 w 6785952"/>
              <a:gd name="connsiteY23348" fmla="*/ 411264 h 5217112"/>
              <a:gd name="connsiteX23349" fmla="*/ 4900875 w 6785952"/>
              <a:gd name="connsiteY23349" fmla="*/ 410937 h 5217112"/>
              <a:gd name="connsiteX23350" fmla="*/ 4900326 w 6785952"/>
              <a:gd name="connsiteY23350" fmla="*/ 434802 h 5217112"/>
              <a:gd name="connsiteX23351" fmla="*/ 4888514 w 6785952"/>
              <a:gd name="connsiteY23351" fmla="*/ 432950 h 5217112"/>
              <a:gd name="connsiteX23352" fmla="*/ 4885217 w 6785952"/>
              <a:gd name="connsiteY23352" fmla="*/ 414969 h 5217112"/>
              <a:gd name="connsiteX23353" fmla="*/ 4890162 w 6785952"/>
              <a:gd name="connsiteY23353" fmla="*/ 411046 h 5217112"/>
              <a:gd name="connsiteX23354" fmla="*/ 4900875 w 6785952"/>
              <a:gd name="connsiteY23354" fmla="*/ 410937 h 5217112"/>
              <a:gd name="connsiteX23355" fmla="*/ 3735893 w 6785952"/>
              <a:gd name="connsiteY23355" fmla="*/ 410065 h 5217112"/>
              <a:gd name="connsiteX23356" fmla="*/ 3751826 w 6785952"/>
              <a:gd name="connsiteY23356" fmla="*/ 431860 h 5217112"/>
              <a:gd name="connsiteX23357" fmla="*/ 3737268 w 6785952"/>
              <a:gd name="connsiteY23357" fmla="*/ 423360 h 5217112"/>
              <a:gd name="connsiteX23358" fmla="*/ 3735893 w 6785952"/>
              <a:gd name="connsiteY23358" fmla="*/ 410065 h 5217112"/>
              <a:gd name="connsiteX23359" fmla="*/ 2693427 w 6785952"/>
              <a:gd name="connsiteY23359" fmla="*/ 408757 h 5217112"/>
              <a:gd name="connsiteX23360" fmla="*/ 2696174 w 6785952"/>
              <a:gd name="connsiteY23360" fmla="*/ 409411 h 5217112"/>
              <a:gd name="connsiteX23361" fmla="*/ 2695075 w 6785952"/>
              <a:gd name="connsiteY23361" fmla="*/ 410174 h 5217112"/>
              <a:gd name="connsiteX23362" fmla="*/ 2693427 w 6785952"/>
              <a:gd name="connsiteY23362" fmla="*/ 408757 h 5217112"/>
              <a:gd name="connsiteX23363" fmla="*/ 4112501 w 6785952"/>
              <a:gd name="connsiteY23363" fmla="*/ 408322 h 5217112"/>
              <a:gd name="connsiteX23364" fmla="*/ 4120192 w 6785952"/>
              <a:gd name="connsiteY23364" fmla="*/ 417148 h 5217112"/>
              <a:gd name="connsiteX23365" fmla="*/ 4108380 w 6785952"/>
              <a:gd name="connsiteY23365" fmla="*/ 430879 h 5217112"/>
              <a:gd name="connsiteX23366" fmla="*/ 4104259 w 6785952"/>
              <a:gd name="connsiteY23366" fmla="*/ 421835 h 5217112"/>
              <a:gd name="connsiteX23367" fmla="*/ 4112501 w 6785952"/>
              <a:gd name="connsiteY23367" fmla="*/ 408322 h 5217112"/>
              <a:gd name="connsiteX23368" fmla="*/ 1299351 w 6785952"/>
              <a:gd name="connsiteY23368" fmla="*/ 407994 h 5217112"/>
              <a:gd name="connsiteX23369" fmla="*/ 1302372 w 6785952"/>
              <a:gd name="connsiteY23369" fmla="*/ 454526 h 5217112"/>
              <a:gd name="connsiteX23370" fmla="*/ 1299351 w 6785952"/>
              <a:gd name="connsiteY23370" fmla="*/ 407994 h 5217112"/>
              <a:gd name="connsiteX23371" fmla="*/ 1948729 w 6785952"/>
              <a:gd name="connsiteY23371" fmla="*/ 405379 h 5217112"/>
              <a:gd name="connsiteX23372" fmla="*/ 1950927 w 6785952"/>
              <a:gd name="connsiteY23372" fmla="*/ 407341 h 5217112"/>
              <a:gd name="connsiteX23373" fmla="*/ 1952300 w 6785952"/>
              <a:gd name="connsiteY23373" fmla="*/ 410283 h 5217112"/>
              <a:gd name="connsiteX23374" fmla="*/ 1950652 w 6785952"/>
              <a:gd name="connsiteY23374" fmla="*/ 411264 h 5217112"/>
              <a:gd name="connsiteX23375" fmla="*/ 1946806 w 6785952"/>
              <a:gd name="connsiteY23375" fmla="*/ 411046 h 5217112"/>
              <a:gd name="connsiteX23376" fmla="*/ 1946806 w 6785952"/>
              <a:gd name="connsiteY23376" fmla="*/ 408213 h 5217112"/>
              <a:gd name="connsiteX23377" fmla="*/ 1945433 w 6785952"/>
              <a:gd name="connsiteY23377" fmla="*/ 408104 h 5217112"/>
              <a:gd name="connsiteX23378" fmla="*/ 1946806 w 6785952"/>
              <a:gd name="connsiteY23378" fmla="*/ 405488 h 5217112"/>
              <a:gd name="connsiteX23379" fmla="*/ 1948454 w 6785952"/>
              <a:gd name="connsiteY23379" fmla="*/ 405598 h 5217112"/>
              <a:gd name="connsiteX23380" fmla="*/ 1948729 w 6785952"/>
              <a:gd name="connsiteY23380" fmla="*/ 405379 h 5217112"/>
              <a:gd name="connsiteX23381" fmla="*/ 4921477 w 6785952"/>
              <a:gd name="connsiteY23381" fmla="*/ 405161 h 5217112"/>
              <a:gd name="connsiteX23382" fmla="*/ 4918181 w 6785952"/>
              <a:gd name="connsiteY23382" fmla="*/ 423469 h 5217112"/>
              <a:gd name="connsiteX23383" fmla="*/ 4915434 w 6785952"/>
              <a:gd name="connsiteY23383" fmla="*/ 423686 h 5217112"/>
              <a:gd name="connsiteX23384" fmla="*/ 4906643 w 6785952"/>
              <a:gd name="connsiteY23384" fmla="*/ 411809 h 5217112"/>
              <a:gd name="connsiteX23385" fmla="*/ 4921477 w 6785952"/>
              <a:gd name="connsiteY23385" fmla="*/ 405161 h 5217112"/>
              <a:gd name="connsiteX23386" fmla="*/ 3197492 w 6785952"/>
              <a:gd name="connsiteY23386" fmla="*/ 404616 h 5217112"/>
              <a:gd name="connsiteX23387" fmla="*/ 3201063 w 6785952"/>
              <a:gd name="connsiteY23387" fmla="*/ 406360 h 5217112"/>
              <a:gd name="connsiteX23388" fmla="*/ 3202436 w 6785952"/>
              <a:gd name="connsiteY23388" fmla="*/ 405924 h 5217112"/>
              <a:gd name="connsiteX23389" fmla="*/ 3204359 w 6785952"/>
              <a:gd name="connsiteY23389" fmla="*/ 408213 h 5217112"/>
              <a:gd name="connsiteX23390" fmla="*/ 3196668 w 6785952"/>
              <a:gd name="connsiteY23390" fmla="*/ 412571 h 5217112"/>
              <a:gd name="connsiteX23391" fmla="*/ 3189801 w 6785952"/>
              <a:gd name="connsiteY23391" fmla="*/ 415078 h 5217112"/>
              <a:gd name="connsiteX23392" fmla="*/ 3173868 w 6785952"/>
              <a:gd name="connsiteY23392" fmla="*/ 418020 h 5217112"/>
              <a:gd name="connsiteX23393" fmla="*/ 3166452 w 6785952"/>
              <a:gd name="connsiteY23393" fmla="*/ 417475 h 5217112"/>
              <a:gd name="connsiteX23394" fmla="*/ 3175516 w 6785952"/>
              <a:gd name="connsiteY23394" fmla="*/ 412354 h 5217112"/>
              <a:gd name="connsiteX23395" fmla="*/ 3197492 w 6785952"/>
              <a:gd name="connsiteY23395" fmla="*/ 404616 h 5217112"/>
              <a:gd name="connsiteX23396" fmla="*/ 1262267 w 6785952"/>
              <a:gd name="connsiteY23396" fmla="*/ 403636 h 5217112"/>
              <a:gd name="connsiteX23397" fmla="*/ 1261717 w 6785952"/>
              <a:gd name="connsiteY23397" fmla="*/ 427501 h 5217112"/>
              <a:gd name="connsiteX23398" fmla="*/ 1249906 w 6785952"/>
              <a:gd name="connsiteY23398" fmla="*/ 425649 h 5217112"/>
              <a:gd name="connsiteX23399" fmla="*/ 1246334 w 6785952"/>
              <a:gd name="connsiteY23399" fmla="*/ 407668 h 5217112"/>
              <a:gd name="connsiteX23400" fmla="*/ 1251279 w 6785952"/>
              <a:gd name="connsiteY23400" fmla="*/ 403745 h 5217112"/>
              <a:gd name="connsiteX23401" fmla="*/ 1262267 w 6785952"/>
              <a:gd name="connsiteY23401" fmla="*/ 403636 h 5217112"/>
              <a:gd name="connsiteX23402" fmla="*/ 2904392 w 6785952"/>
              <a:gd name="connsiteY23402" fmla="*/ 402764 h 5217112"/>
              <a:gd name="connsiteX23403" fmla="*/ 2906865 w 6785952"/>
              <a:gd name="connsiteY23403" fmla="*/ 406360 h 5217112"/>
              <a:gd name="connsiteX23404" fmla="*/ 2904941 w 6785952"/>
              <a:gd name="connsiteY23404" fmla="*/ 410174 h 5217112"/>
              <a:gd name="connsiteX23405" fmla="*/ 2904118 w 6785952"/>
              <a:gd name="connsiteY23405" fmla="*/ 413444 h 5217112"/>
              <a:gd name="connsiteX23406" fmla="*/ 2902195 w 6785952"/>
              <a:gd name="connsiteY23406" fmla="*/ 415296 h 5217112"/>
              <a:gd name="connsiteX23407" fmla="*/ 2899997 w 6785952"/>
              <a:gd name="connsiteY23407" fmla="*/ 415078 h 5217112"/>
              <a:gd name="connsiteX23408" fmla="*/ 2900547 w 6785952"/>
              <a:gd name="connsiteY23408" fmla="*/ 411700 h 5217112"/>
              <a:gd name="connsiteX23409" fmla="*/ 2904392 w 6785952"/>
              <a:gd name="connsiteY23409" fmla="*/ 402764 h 5217112"/>
              <a:gd name="connsiteX23410" fmla="*/ 6022454 w 6785952"/>
              <a:gd name="connsiteY23410" fmla="*/ 402219 h 5217112"/>
              <a:gd name="connsiteX23411" fmla="*/ 6035640 w 6785952"/>
              <a:gd name="connsiteY23411" fmla="*/ 405053 h 5217112"/>
              <a:gd name="connsiteX23412" fmla="*/ 6039211 w 6785952"/>
              <a:gd name="connsiteY23412" fmla="*/ 408867 h 5217112"/>
              <a:gd name="connsiteX23413" fmla="*/ 6013938 w 6785952"/>
              <a:gd name="connsiteY23413" fmla="*/ 430116 h 5217112"/>
              <a:gd name="connsiteX23414" fmla="*/ 6010916 w 6785952"/>
              <a:gd name="connsiteY23414" fmla="*/ 426956 h 5217112"/>
              <a:gd name="connsiteX23415" fmla="*/ 6008445 w 6785952"/>
              <a:gd name="connsiteY23415" fmla="*/ 420417 h 5217112"/>
              <a:gd name="connsiteX23416" fmla="*/ 6022454 w 6785952"/>
              <a:gd name="connsiteY23416" fmla="*/ 402219 h 5217112"/>
              <a:gd name="connsiteX23417" fmla="*/ 2962078 w 6785952"/>
              <a:gd name="connsiteY23417" fmla="*/ 398296 h 5217112"/>
              <a:gd name="connsiteX23418" fmla="*/ 2964001 w 6785952"/>
              <a:gd name="connsiteY23418" fmla="*/ 399168 h 5217112"/>
              <a:gd name="connsiteX23419" fmla="*/ 2959606 w 6785952"/>
              <a:gd name="connsiteY23419" fmla="*/ 404616 h 5217112"/>
              <a:gd name="connsiteX23420" fmla="*/ 2957683 w 6785952"/>
              <a:gd name="connsiteY23420" fmla="*/ 404508 h 5217112"/>
              <a:gd name="connsiteX23421" fmla="*/ 2962078 w 6785952"/>
              <a:gd name="connsiteY23421" fmla="*/ 398296 h 5217112"/>
              <a:gd name="connsiteX23422" fmla="*/ 1282869 w 6785952"/>
              <a:gd name="connsiteY23422" fmla="*/ 397861 h 5217112"/>
              <a:gd name="connsiteX23423" fmla="*/ 1279572 w 6785952"/>
              <a:gd name="connsiteY23423" fmla="*/ 416059 h 5217112"/>
              <a:gd name="connsiteX23424" fmla="*/ 1276826 w 6785952"/>
              <a:gd name="connsiteY23424" fmla="*/ 416277 h 5217112"/>
              <a:gd name="connsiteX23425" fmla="*/ 1267760 w 6785952"/>
              <a:gd name="connsiteY23425" fmla="*/ 404508 h 5217112"/>
              <a:gd name="connsiteX23426" fmla="*/ 1282869 w 6785952"/>
              <a:gd name="connsiteY23426" fmla="*/ 397861 h 5217112"/>
              <a:gd name="connsiteX23427" fmla="*/ 3829291 w 6785952"/>
              <a:gd name="connsiteY23427" fmla="*/ 396226 h 5217112"/>
              <a:gd name="connsiteX23428" fmla="*/ 3818852 w 6785952"/>
              <a:gd name="connsiteY23428" fmla="*/ 421398 h 5217112"/>
              <a:gd name="connsiteX23429" fmla="*/ 3816105 w 6785952"/>
              <a:gd name="connsiteY23429" fmla="*/ 419328 h 5217112"/>
              <a:gd name="connsiteX23430" fmla="*/ 3815281 w 6785952"/>
              <a:gd name="connsiteY23430" fmla="*/ 415187 h 5217112"/>
              <a:gd name="connsiteX23431" fmla="*/ 3820225 w 6785952"/>
              <a:gd name="connsiteY23431" fmla="*/ 402110 h 5217112"/>
              <a:gd name="connsiteX23432" fmla="*/ 3821873 w 6785952"/>
              <a:gd name="connsiteY23432" fmla="*/ 399386 h 5217112"/>
              <a:gd name="connsiteX23433" fmla="*/ 3823522 w 6785952"/>
              <a:gd name="connsiteY23433" fmla="*/ 396771 h 5217112"/>
              <a:gd name="connsiteX23434" fmla="*/ 3829291 w 6785952"/>
              <a:gd name="connsiteY23434" fmla="*/ 396226 h 5217112"/>
              <a:gd name="connsiteX23435" fmla="*/ 3753475 w 6785952"/>
              <a:gd name="connsiteY23435" fmla="*/ 396008 h 5217112"/>
              <a:gd name="connsiteX23436" fmla="*/ 3754848 w 6785952"/>
              <a:gd name="connsiteY23436" fmla="*/ 424122 h 5217112"/>
              <a:gd name="connsiteX23437" fmla="*/ 3751826 w 6785952"/>
              <a:gd name="connsiteY23437" fmla="*/ 424122 h 5217112"/>
              <a:gd name="connsiteX23438" fmla="*/ 3749354 w 6785952"/>
              <a:gd name="connsiteY23438" fmla="*/ 420962 h 5217112"/>
              <a:gd name="connsiteX23439" fmla="*/ 3748255 w 6785952"/>
              <a:gd name="connsiteY23439" fmla="*/ 406578 h 5217112"/>
              <a:gd name="connsiteX23440" fmla="*/ 3748530 w 6785952"/>
              <a:gd name="connsiteY23440" fmla="*/ 403309 h 5217112"/>
              <a:gd name="connsiteX23441" fmla="*/ 3748805 w 6785952"/>
              <a:gd name="connsiteY23441" fmla="*/ 399931 h 5217112"/>
              <a:gd name="connsiteX23442" fmla="*/ 3753475 w 6785952"/>
              <a:gd name="connsiteY23442" fmla="*/ 396008 h 5217112"/>
              <a:gd name="connsiteX23443" fmla="*/ 4604479 w 6785952"/>
              <a:gd name="connsiteY23443" fmla="*/ 395790 h 5217112"/>
              <a:gd name="connsiteX23444" fmla="*/ 4605578 w 6785952"/>
              <a:gd name="connsiteY23444" fmla="*/ 401347 h 5217112"/>
              <a:gd name="connsiteX23445" fmla="*/ 4604479 w 6785952"/>
              <a:gd name="connsiteY23445" fmla="*/ 402110 h 5217112"/>
              <a:gd name="connsiteX23446" fmla="*/ 4608874 w 6785952"/>
              <a:gd name="connsiteY23446" fmla="*/ 404616 h 5217112"/>
              <a:gd name="connsiteX23447" fmla="*/ 4605028 w 6785952"/>
              <a:gd name="connsiteY23447" fmla="*/ 415078 h 5217112"/>
              <a:gd name="connsiteX23448" fmla="*/ 4594315 w 6785952"/>
              <a:gd name="connsiteY23448" fmla="*/ 408539 h 5217112"/>
              <a:gd name="connsiteX23449" fmla="*/ 4595964 w 6785952"/>
              <a:gd name="connsiteY23449" fmla="*/ 404944 h 5217112"/>
              <a:gd name="connsiteX23450" fmla="*/ 4594315 w 6785952"/>
              <a:gd name="connsiteY23450" fmla="*/ 400693 h 5217112"/>
              <a:gd name="connsiteX23451" fmla="*/ 4604479 w 6785952"/>
              <a:gd name="connsiteY23451" fmla="*/ 395790 h 5217112"/>
              <a:gd name="connsiteX23452" fmla="*/ 5524432 w 6785952"/>
              <a:gd name="connsiteY23452" fmla="*/ 395463 h 5217112"/>
              <a:gd name="connsiteX23453" fmla="*/ 5525531 w 6785952"/>
              <a:gd name="connsiteY23453" fmla="*/ 399495 h 5217112"/>
              <a:gd name="connsiteX23454" fmla="*/ 5514818 w 6785952"/>
              <a:gd name="connsiteY23454" fmla="*/ 409302 h 5217112"/>
              <a:gd name="connsiteX23455" fmla="*/ 5521136 w 6785952"/>
              <a:gd name="connsiteY23455" fmla="*/ 396334 h 5217112"/>
              <a:gd name="connsiteX23456" fmla="*/ 5524432 w 6785952"/>
              <a:gd name="connsiteY23456" fmla="*/ 395463 h 5217112"/>
              <a:gd name="connsiteX23457" fmla="*/ 5254407 w 6785952"/>
              <a:gd name="connsiteY23457" fmla="*/ 395463 h 5217112"/>
              <a:gd name="connsiteX23458" fmla="*/ 5259626 w 6785952"/>
              <a:gd name="connsiteY23458" fmla="*/ 400693 h 5217112"/>
              <a:gd name="connsiteX23459" fmla="*/ 5257429 w 6785952"/>
              <a:gd name="connsiteY23459" fmla="*/ 403854 h 5217112"/>
              <a:gd name="connsiteX23460" fmla="*/ 5252485 w 6785952"/>
              <a:gd name="connsiteY23460" fmla="*/ 403309 h 5217112"/>
              <a:gd name="connsiteX23461" fmla="*/ 5253858 w 6785952"/>
              <a:gd name="connsiteY23461" fmla="*/ 397424 h 5217112"/>
              <a:gd name="connsiteX23462" fmla="*/ 5254407 w 6785952"/>
              <a:gd name="connsiteY23462" fmla="*/ 395463 h 5217112"/>
              <a:gd name="connsiteX23463" fmla="*/ 2580253 w 6785952"/>
              <a:gd name="connsiteY23463" fmla="*/ 395245 h 5217112"/>
              <a:gd name="connsiteX23464" fmla="*/ 2578604 w 6785952"/>
              <a:gd name="connsiteY23464" fmla="*/ 419764 h 5217112"/>
              <a:gd name="connsiteX23465" fmla="*/ 2574210 w 6785952"/>
              <a:gd name="connsiteY23465" fmla="*/ 398623 h 5217112"/>
              <a:gd name="connsiteX23466" fmla="*/ 2580253 w 6785952"/>
              <a:gd name="connsiteY23466" fmla="*/ 395245 h 5217112"/>
              <a:gd name="connsiteX23467" fmla="*/ 2383846 w 6785952"/>
              <a:gd name="connsiteY23467" fmla="*/ 394918 h 5217112"/>
              <a:gd name="connsiteX23468" fmla="*/ 2397031 w 6785952"/>
              <a:gd name="connsiteY23468" fmla="*/ 397751 h 5217112"/>
              <a:gd name="connsiteX23469" fmla="*/ 2400602 w 6785952"/>
              <a:gd name="connsiteY23469" fmla="*/ 401565 h 5217112"/>
              <a:gd name="connsiteX23470" fmla="*/ 2375330 w 6785952"/>
              <a:gd name="connsiteY23470" fmla="*/ 422706 h 5217112"/>
              <a:gd name="connsiteX23471" fmla="*/ 2372308 w 6785952"/>
              <a:gd name="connsiteY23471" fmla="*/ 419546 h 5217112"/>
              <a:gd name="connsiteX23472" fmla="*/ 2369562 w 6785952"/>
              <a:gd name="connsiteY23472" fmla="*/ 413007 h 5217112"/>
              <a:gd name="connsiteX23473" fmla="*/ 2383846 w 6785952"/>
              <a:gd name="connsiteY23473" fmla="*/ 394918 h 5217112"/>
              <a:gd name="connsiteX23474" fmla="*/ 4382800 w 6785952"/>
              <a:gd name="connsiteY23474" fmla="*/ 393719 h 5217112"/>
              <a:gd name="connsiteX23475" fmla="*/ 4386371 w 6785952"/>
              <a:gd name="connsiteY23475" fmla="*/ 395463 h 5217112"/>
              <a:gd name="connsiteX23476" fmla="*/ 4374285 w 6785952"/>
              <a:gd name="connsiteY23476" fmla="*/ 401347 h 5217112"/>
              <a:gd name="connsiteX23477" fmla="*/ 4367418 w 6785952"/>
              <a:gd name="connsiteY23477" fmla="*/ 403854 h 5217112"/>
              <a:gd name="connsiteX23478" fmla="*/ 4363846 w 6785952"/>
              <a:gd name="connsiteY23478" fmla="*/ 402110 h 5217112"/>
              <a:gd name="connsiteX23479" fmla="*/ 4363572 w 6785952"/>
              <a:gd name="connsiteY23479" fmla="*/ 400802 h 5217112"/>
              <a:gd name="connsiteX23480" fmla="*/ 4366318 w 6785952"/>
              <a:gd name="connsiteY23480" fmla="*/ 398514 h 5217112"/>
              <a:gd name="connsiteX23481" fmla="*/ 4380053 w 6785952"/>
              <a:gd name="connsiteY23481" fmla="*/ 394809 h 5217112"/>
              <a:gd name="connsiteX23482" fmla="*/ 4382800 w 6785952"/>
              <a:gd name="connsiteY23482" fmla="*/ 393719 h 5217112"/>
              <a:gd name="connsiteX23483" fmla="*/ 2895877 w 6785952"/>
              <a:gd name="connsiteY23483" fmla="*/ 393719 h 5217112"/>
              <a:gd name="connsiteX23484" fmla="*/ 2895602 w 6785952"/>
              <a:gd name="connsiteY23484" fmla="*/ 403309 h 5217112"/>
              <a:gd name="connsiteX23485" fmla="*/ 2892031 w 6785952"/>
              <a:gd name="connsiteY23485" fmla="*/ 406252 h 5217112"/>
              <a:gd name="connsiteX23486" fmla="*/ 2890932 w 6785952"/>
              <a:gd name="connsiteY23486" fmla="*/ 403745 h 5217112"/>
              <a:gd name="connsiteX23487" fmla="*/ 2890932 w 6785952"/>
              <a:gd name="connsiteY23487" fmla="*/ 401892 h 5217112"/>
              <a:gd name="connsiteX23488" fmla="*/ 2893130 w 6785952"/>
              <a:gd name="connsiteY23488" fmla="*/ 399495 h 5217112"/>
              <a:gd name="connsiteX23489" fmla="*/ 2893405 w 6785952"/>
              <a:gd name="connsiteY23489" fmla="*/ 394700 h 5217112"/>
              <a:gd name="connsiteX23490" fmla="*/ 2895877 w 6785952"/>
              <a:gd name="connsiteY23490" fmla="*/ 393719 h 5217112"/>
              <a:gd name="connsiteX23491" fmla="*/ 4688742 w 6785952"/>
              <a:gd name="connsiteY23491" fmla="*/ 392888 h 5217112"/>
              <a:gd name="connsiteX23492" fmla="*/ 4693755 w 6785952"/>
              <a:gd name="connsiteY23492" fmla="*/ 393501 h 5217112"/>
              <a:gd name="connsiteX23493" fmla="*/ 4697051 w 6785952"/>
              <a:gd name="connsiteY23493" fmla="*/ 393937 h 5217112"/>
              <a:gd name="connsiteX23494" fmla="*/ 4700073 w 6785952"/>
              <a:gd name="connsiteY23494" fmla="*/ 394373 h 5217112"/>
              <a:gd name="connsiteX23495" fmla="*/ 4703095 w 6785952"/>
              <a:gd name="connsiteY23495" fmla="*/ 399495 h 5217112"/>
              <a:gd name="connsiteX23496" fmla="*/ 4688261 w 6785952"/>
              <a:gd name="connsiteY23496" fmla="*/ 400148 h 5217112"/>
              <a:gd name="connsiteX23497" fmla="*/ 4675625 w 6785952"/>
              <a:gd name="connsiteY23497" fmla="*/ 400148 h 5217112"/>
              <a:gd name="connsiteX23498" fmla="*/ 4676450 w 6785952"/>
              <a:gd name="connsiteY23498" fmla="*/ 396771 h 5217112"/>
              <a:gd name="connsiteX23499" fmla="*/ 4680020 w 6785952"/>
              <a:gd name="connsiteY23499" fmla="*/ 394482 h 5217112"/>
              <a:gd name="connsiteX23500" fmla="*/ 4688742 w 6785952"/>
              <a:gd name="connsiteY23500" fmla="*/ 392888 h 5217112"/>
              <a:gd name="connsiteX23501" fmla="*/ 2632719 w 6785952"/>
              <a:gd name="connsiteY23501" fmla="*/ 392520 h 5217112"/>
              <a:gd name="connsiteX23502" fmla="*/ 2642333 w 6785952"/>
              <a:gd name="connsiteY23502" fmla="*/ 392848 h 5217112"/>
              <a:gd name="connsiteX23503" fmla="*/ 2651399 w 6785952"/>
              <a:gd name="connsiteY23503" fmla="*/ 416604 h 5217112"/>
              <a:gd name="connsiteX23504" fmla="*/ 2649475 w 6785952"/>
              <a:gd name="connsiteY23504" fmla="*/ 420527 h 5217112"/>
              <a:gd name="connsiteX23505" fmla="*/ 2648102 w 6785952"/>
              <a:gd name="connsiteY23505" fmla="*/ 427065 h 5217112"/>
              <a:gd name="connsiteX23506" fmla="*/ 2636016 w 6785952"/>
              <a:gd name="connsiteY23506" fmla="*/ 427610 h 5217112"/>
              <a:gd name="connsiteX23507" fmla="*/ 2629698 w 6785952"/>
              <a:gd name="connsiteY23507" fmla="*/ 426193 h 5217112"/>
              <a:gd name="connsiteX23508" fmla="*/ 2618710 w 6785952"/>
              <a:gd name="connsiteY23508" fmla="*/ 416168 h 5217112"/>
              <a:gd name="connsiteX23509" fmla="*/ 2619534 w 6785952"/>
              <a:gd name="connsiteY23509" fmla="*/ 404180 h 5217112"/>
              <a:gd name="connsiteX23510" fmla="*/ 2632719 w 6785952"/>
              <a:gd name="connsiteY23510" fmla="*/ 392520 h 5217112"/>
              <a:gd name="connsiteX23511" fmla="*/ 2990097 w 6785952"/>
              <a:gd name="connsiteY23511" fmla="*/ 388271 h 5217112"/>
              <a:gd name="connsiteX23512" fmla="*/ 2988449 w 6785952"/>
              <a:gd name="connsiteY23512" fmla="*/ 388816 h 5217112"/>
              <a:gd name="connsiteX23513" fmla="*/ 2990372 w 6785952"/>
              <a:gd name="connsiteY23513" fmla="*/ 389578 h 5217112"/>
              <a:gd name="connsiteX23514" fmla="*/ 2971693 w 6785952"/>
              <a:gd name="connsiteY23514" fmla="*/ 399386 h 5217112"/>
              <a:gd name="connsiteX23515" fmla="*/ 2971144 w 6785952"/>
              <a:gd name="connsiteY23515" fmla="*/ 398078 h 5217112"/>
              <a:gd name="connsiteX23516" fmla="*/ 2984603 w 6785952"/>
              <a:gd name="connsiteY23516" fmla="*/ 389687 h 5217112"/>
              <a:gd name="connsiteX23517" fmla="*/ 2990097 w 6785952"/>
              <a:gd name="connsiteY23517" fmla="*/ 388271 h 5217112"/>
              <a:gd name="connsiteX23518" fmla="*/ 1885824 w 6785952"/>
              <a:gd name="connsiteY23518" fmla="*/ 388052 h 5217112"/>
              <a:gd name="connsiteX23519" fmla="*/ 1886648 w 6785952"/>
              <a:gd name="connsiteY23519" fmla="*/ 392194 h 5217112"/>
              <a:gd name="connsiteX23520" fmla="*/ 1875935 w 6785952"/>
              <a:gd name="connsiteY23520" fmla="*/ 402001 h 5217112"/>
              <a:gd name="connsiteX23521" fmla="*/ 1882527 w 6785952"/>
              <a:gd name="connsiteY23521" fmla="*/ 389033 h 5217112"/>
              <a:gd name="connsiteX23522" fmla="*/ 1885824 w 6785952"/>
              <a:gd name="connsiteY23522" fmla="*/ 388052 h 5217112"/>
              <a:gd name="connsiteX23523" fmla="*/ 3221391 w 6785952"/>
              <a:gd name="connsiteY23523" fmla="*/ 381950 h 5217112"/>
              <a:gd name="connsiteX23524" fmla="*/ 3220566 w 6785952"/>
              <a:gd name="connsiteY23524" fmla="*/ 401565 h 5217112"/>
              <a:gd name="connsiteX23525" fmla="*/ 3209029 w 6785952"/>
              <a:gd name="connsiteY23525" fmla="*/ 394046 h 5217112"/>
              <a:gd name="connsiteX23526" fmla="*/ 3221391 w 6785952"/>
              <a:gd name="connsiteY23526" fmla="*/ 381950 h 5217112"/>
              <a:gd name="connsiteX23527" fmla="*/ 5285448 w 6785952"/>
              <a:gd name="connsiteY23527" fmla="*/ 380970 h 5217112"/>
              <a:gd name="connsiteX23528" fmla="*/ 5288469 w 6785952"/>
              <a:gd name="connsiteY23528" fmla="*/ 381624 h 5217112"/>
              <a:gd name="connsiteX23529" fmla="*/ 5287096 w 6785952"/>
              <a:gd name="connsiteY23529" fmla="*/ 382386 h 5217112"/>
              <a:gd name="connsiteX23530" fmla="*/ 5285448 w 6785952"/>
              <a:gd name="connsiteY23530" fmla="*/ 380970 h 5217112"/>
              <a:gd name="connsiteX23531" fmla="*/ 2550860 w 6785952"/>
              <a:gd name="connsiteY23531" fmla="*/ 380206 h 5217112"/>
              <a:gd name="connsiteX23532" fmla="*/ 2555804 w 6785952"/>
              <a:gd name="connsiteY23532" fmla="*/ 394046 h 5217112"/>
              <a:gd name="connsiteX23533" fmla="*/ 2553058 w 6785952"/>
              <a:gd name="connsiteY23533" fmla="*/ 394809 h 5217112"/>
              <a:gd name="connsiteX23534" fmla="*/ 2548937 w 6785952"/>
              <a:gd name="connsiteY23534" fmla="*/ 393719 h 5217112"/>
              <a:gd name="connsiteX23535" fmla="*/ 2550860 w 6785952"/>
              <a:gd name="connsiteY23535" fmla="*/ 380206 h 5217112"/>
              <a:gd name="connsiteX23536" fmla="*/ 2916479 w 6785952"/>
              <a:gd name="connsiteY23536" fmla="*/ 378790 h 5217112"/>
              <a:gd name="connsiteX23537" fmla="*/ 2916754 w 6785952"/>
              <a:gd name="connsiteY23537" fmla="*/ 386309 h 5217112"/>
              <a:gd name="connsiteX23538" fmla="*/ 2909062 w 6785952"/>
              <a:gd name="connsiteY23538" fmla="*/ 396008 h 5217112"/>
              <a:gd name="connsiteX23539" fmla="*/ 2905492 w 6785952"/>
              <a:gd name="connsiteY23539" fmla="*/ 395027 h 5217112"/>
              <a:gd name="connsiteX23540" fmla="*/ 2904118 w 6785952"/>
              <a:gd name="connsiteY23540" fmla="*/ 389470 h 5217112"/>
              <a:gd name="connsiteX23541" fmla="*/ 2912908 w 6785952"/>
              <a:gd name="connsiteY23541" fmla="*/ 379117 h 5217112"/>
              <a:gd name="connsiteX23542" fmla="*/ 2916479 w 6785952"/>
              <a:gd name="connsiteY23542" fmla="*/ 378790 h 5217112"/>
              <a:gd name="connsiteX23543" fmla="*/ 5789788 w 6785952"/>
              <a:gd name="connsiteY23543" fmla="*/ 376719 h 5217112"/>
              <a:gd name="connsiteX23544" fmla="*/ 5793083 w 6785952"/>
              <a:gd name="connsiteY23544" fmla="*/ 378572 h 5217112"/>
              <a:gd name="connsiteX23545" fmla="*/ 5794457 w 6785952"/>
              <a:gd name="connsiteY23545" fmla="*/ 378027 h 5217112"/>
              <a:gd name="connsiteX23546" fmla="*/ 5796655 w 6785952"/>
              <a:gd name="connsiteY23546" fmla="*/ 380316 h 5217112"/>
              <a:gd name="connsiteX23547" fmla="*/ 5788688 w 6785952"/>
              <a:gd name="connsiteY23547" fmla="*/ 384783 h 5217112"/>
              <a:gd name="connsiteX23548" fmla="*/ 5782096 w 6785952"/>
              <a:gd name="connsiteY23548" fmla="*/ 387290 h 5217112"/>
              <a:gd name="connsiteX23549" fmla="*/ 5766163 w 6785952"/>
              <a:gd name="connsiteY23549" fmla="*/ 390341 h 5217112"/>
              <a:gd name="connsiteX23550" fmla="*/ 5758747 w 6785952"/>
              <a:gd name="connsiteY23550" fmla="*/ 389687 h 5217112"/>
              <a:gd name="connsiteX23551" fmla="*/ 5767812 w 6785952"/>
              <a:gd name="connsiteY23551" fmla="*/ 384565 h 5217112"/>
              <a:gd name="connsiteX23552" fmla="*/ 5789788 w 6785952"/>
              <a:gd name="connsiteY23552" fmla="*/ 376719 h 5217112"/>
              <a:gd name="connsiteX23553" fmla="*/ 3480977 w 6785952"/>
              <a:gd name="connsiteY23553" fmla="*/ 376174 h 5217112"/>
              <a:gd name="connsiteX23554" fmla="*/ 3485647 w 6785952"/>
              <a:gd name="connsiteY23554" fmla="*/ 385328 h 5217112"/>
              <a:gd name="connsiteX23555" fmla="*/ 3478230 w 6785952"/>
              <a:gd name="connsiteY23555" fmla="*/ 388162 h 5217112"/>
              <a:gd name="connsiteX23556" fmla="*/ 3473286 w 6785952"/>
              <a:gd name="connsiteY23556" fmla="*/ 384348 h 5217112"/>
              <a:gd name="connsiteX23557" fmla="*/ 3480977 w 6785952"/>
              <a:gd name="connsiteY23557" fmla="*/ 376174 h 5217112"/>
              <a:gd name="connsiteX23558" fmla="*/ 5496688 w 6785952"/>
              <a:gd name="connsiteY23558" fmla="*/ 374976 h 5217112"/>
              <a:gd name="connsiteX23559" fmla="*/ 5499160 w 6785952"/>
              <a:gd name="connsiteY23559" fmla="*/ 378572 h 5217112"/>
              <a:gd name="connsiteX23560" fmla="*/ 5496963 w 6785952"/>
              <a:gd name="connsiteY23560" fmla="*/ 382386 h 5217112"/>
              <a:gd name="connsiteX23561" fmla="*/ 5496414 w 6785952"/>
              <a:gd name="connsiteY23561" fmla="*/ 385655 h 5217112"/>
              <a:gd name="connsiteX23562" fmla="*/ 5494490 w 6785952"/>
              <a:gd name="connsiteY23562" fmla="*/ 387617 h 5217112"/>
              <a:gd name="connsiteX23563" fmla="*/ 5492018 w 6785952"/>
              <a:gd name="connsiteY23563" fmla="*/ 387290 h 5217112"/>
              <a:gd name="connsiteX23564" fmla="*/ 5492842 w 6785952"/>
              <a:gd name="connsiteY23564" fmla="*/ 383912 h 5217112"/>
              <a:gd name="connsiteX23565" fmla="*/ 5496688 w 6785952"/>
              <a:gd name="connsiteY23565" fmla="*/ 374976 h 5217112"/>
              <a:gd name="connsiteX23566" fmla="*/ 2655519 w 6785952"/>
              <a:gd name="connsiteY23566" fmla="*/ 374540 h 5217112"/>
              <a:gd name="connsiteX23567" fmla="*/ 2662661 w 6785952"/>
              <a:gd name="connsiteY23567" fmla="*/ 390232 h 5217112"/>
              <a:gd name="connsiteX23568" fmla="*/ 2657716 w 6785952"/>
              <a:gd name="connsiteY23568" fmla="*/ 391212 h 5217112"/>
              <a:gd name="connsiteX23569" fmla="*/ 2652223 w 6785952"/>
              <a:gd name="connsiteY23569" fmla="*/ 390995 h 5217112"/>
              <a:gd name="connsiteX23570" fmla="*/ 2649750 w 6785952"/>
              <a:gd name="connsiteY23570" fmla="*/ 387399 h 5217112"/>
              <a:gd name="connsiteX23571" fmla="*/ 2648102 w 6785952"/>
              <a:gd name="connsiteY23571" fmla="*/ 384565 h 5217112"/>
              <a:gd name="connsiteX23572" fmla="*/ 2649200 w 6785952"/>
              <a:gd name="connsiteY23572" fmla="*/ 378463 h 5217112"/>
              <a:gd name="connsiteX23573" fmla="*/ 2647553 w 6785952"/>
              <a:gd name="connsiteY23573" fmla="*/ 379007 h 5217112"/>
              <a:gd name="connsiteX23574" fmla="*/ 2655519 w 6785952"/>
              <a:gd name="connsiteY23574" fmla="*/ 374540 h 5217112"/>
              <a:gd name="connsiteX23575" fmla="*/ 2188538 w 6785952"/>
              <a:gd name="connsiteY23575" fmla="*/ 373668 h 5217112"/>
              <a:gd name="connsiteX23576" fmla="*/ 2189087 w 6785952"/>
              <a:gd name="connsiteY23576" fmla="*/ 385219 h 5217112"/>
              <a:gd name="connsiteX23577" fmla="*/ 2177001 w 6785952"/>
              <a:gd name="connsiteY23577" fmla="*/ 383149 h 5217112"/>
              <a:gd name="connsiteX23578" fmla="*/ 2177276 w 6785952"/>
              <a:gd name="connsiteY23578" fmla="*/ 374867 h 5217112"/>
              <a:gd name="connsiteX23579" fmla="*/ 2188538 w 6785952"/>
              <a:gd name="connsiteY23579" fmla="*/ 373668 h 5217112"/>
              <a:gd name="connsiteX23580" fmla="*/ 1646840 w 6785952"/>
              <a:gd name="connsiteY23580" fmla="*/ 373668 h 5217112"/>
              <a:gd name="connsiteX23581" fmla="*/ 1649861 w 6785952"/>
              <a:gd name="connsiteY23581" fmla="*/ 374213 h 5217112"/>
              <a:gd name="connsiteX23582" fmla="*/ 1648488 w 6785952"/>
              <a:gd name="connsiteY23582" fmla="*/ 375085 h 5217112"/>
              <a:gd name="connsiteX23583" fmla="*/ 1646840 w 6785952"/>
              <a:gd name="connsiteY23583" fmla="*/ 373668 h 5217112"/>
              <a:gd name="connsiteX23584" fmla="*/ 2490976 w 6785952"/>
              <a:gd name="connsiteY23584" fmla="*/ 373232 h 5217112"/>
              <a:gd name="connsiteX23585" fmla="*/ 2500316 w 6785952"/>
              <a:gd name="connsiteY23585" fmla="*/ 404725 h 5217112"/>
              <a:gd name="connsiteX23586" fmla="*/ 2495921 w 6785952"/>
              <a:gd name="connsiteY23586" fmla="*/ 406360 h 5217112"/>
              <a:gd name="connsiteX23587" fmla="*/ 2489054 w 6785952"/>
              <a:gd name="connsiteY23587" fmla="*/ 406033 h 5217112"/>
              <a:gd name="connsiteX23588" fmla="*/ 2478341 w 6785952"/>
              <a:gd name="connsiteY23588" fmla="*/ 385655 h 5217112"/>
              <a:gd name="connsiteX23589" fmla="*/ 2486033 w 6785952"/>
              <a:gd name="connsiteY23589" fmla="*/ 374867 h 5217112"/>
              <a:gd name="connsiteX23590" fmla="*/ 2490976 w 6785952"/>
              <a:gd name="connsiteY23590" fmla="*/ 373232 h 5217112"/>
              <a:gd name="connsiteX23591" fmla="*/ 4995645 w 6785952"/>
              <a:gd name="connsiteY23591" fmla="*/ 372859 h 5217112"/>
              <a:gd name="connsiteX23592" fmla="*/ 5030256 w 6785952"/>
              <a:gd name="connsiteY23592" fmla="*/ 435674 h 5217112"/>
              <a:gd name="connsiteX23593" fmla="*/ 5019818 w 6785952"/>
              <a:gd name="connsiteY23593" fmla="*/ 438398 h 5217112"/>
              <a:gd name="connsiteX23594" fmla="*/ 4973119 w 6785952"/>
              <a:gd name="connsiteY23594" fmla="*/ 384893 h 5217112"/>
              <a:gd name="connsiteX23595" fmla="*/ 4995645 w 6785952"/>
              <a:gd name="connsiteY23595" fmla="*/ 372859 h 5217112"/>
              <a:gd name="connsiteX23596" fmla="*/ 3689196 w 6785952"/>
              <a:gd name="connsiteY23596" fmla="*/ 372797 h 5217112"/>
              <a:gd name="connsiteX23597" fmla="*/ 3692217 w 6785952"/>
              <a:gd name="connsiteY23597" fmla="*/ 419219 h 5217112"/>
              <a:gd name="connsiteX23598" fmla="*/ 3689196 w 6785952"/>
              <a:gd name="connsiteY23598" fmla="*/ 372797 h 5217112"/>
              <a:gd name="connsiteX23599" fmla="*/ 2987076 w 6785952"/>
              <a:gd name="connsiteY23599" fmla="*/ 372469 h 5217112"/>
              <a:gd name="connsiteX23600" fmla="*/ 2988449 w 6785952"/>
              <a:gd name="connsiteY23600" fmla="*/ 378136 h 5217112"/>
              <a:gd name="connsiteX23601" fmla="*/ 2985703 w 6785952"/>
              <a:gd name="connsiteY23601" fmla="*/ 379117 h 5217112"/>
              <a:gd name="connsiteX23602" fmla="*/ 2967023 w 6785952"/>
              <a:gd name="connsiteY23602" fmla="*/ 393828 h 5217112"/>
              <a:gd name="connsiteX23603" fmla="*/ 2987076 w 6785952"/>
              <a:gd name="connsiteY23603" fmla="*/ 372469 h 5217112"/>
              <a:gd name="connsiteX23604" fmla="*/ 4338574 w 6785952"/>
              <a:gd name="connsiteY23604" fmla="*/ 370181 h 5217112"/>
              <a:gd name="connsiteX23605" fmla="*/ 4340772 w 6785952"/>
              <a:gd name="connsiteY23605" fmla="*/ 372143 h 5217112"/>
              <a:gd name="connsiteX23606" fmla="*/ 4342145 w 6785952"/>
              <a:gd name="connsiteY23606" fmla="*/ 375085 h 5217112"/>
              <a:gd name="connsiteX23607" fmla="*/ 4340498 w 6785952"/>
              <a:gd name="connsiteY23607" fmla="*/ 376066 h 5217112"/>
              <a:gd name="connsiteX23608" fmla="*/ 4336652 w 6785952"/>
              <a:gd name="connsiteY23608" fmla="*/ 375848 h 5217112"/>
              <a:gd name="connsiteX23609" fmla="*/ 4336652 w 6785952"/>
              <a:gd name="connsiteY23609" fmla="*/ 373123 h 5217112"/>
              <a:gd name="connsiteX23610" fmla="*/ 4335278 w 6785952"/>
              <a:gd name="connsiteY23610" fmla="*/ 372905 h 5217112"/>
              <a:gd name="connsiteX23611" fmla="*/ 4336652 w 6785952"/>
              <a:gd name="connsiteY23611" fmla="*/ 370290 h 5217112"/>
              <a:gd name="connsiteX23612" fmla="*/ 4338025 w 6785952"/>
              <a:gd name="connsiteY23612" fmla="*/ 370508 h 5217112"/>
              <a:gd name="connsiteX23613" fmla="*/ 4338574 w 6785952"/>
              <a:gd name="connsiteY23613" fmla="*/ 370181 h 5217112"/>
              <a:gd name="connsiteX23614" fmla="*/ 2150905 w 6785952"/>
              <a:gd name="connsiteY23614" fmla="*/ 369419 h 5217112"/>
              <a:gd name="connsiteX23615" fmla="*/ 2154475 w 6785952"/>
              <a:gd name="connsiteY23615" fmla="*/ 371271 h 5217112"/>
              <a:gd name="connsiteX23616" fmla="*/ 2155849 w 6785952"/>
              <a:gd name="connsiteY23616" fmla="*/ 370726 h 5217112"/>
              <a:gd name="connsiteX23617" fmla="*/ 2158046 w 6785952"/>
              <a:gd name="connsiteY23617" fmla="*/ 373014 h 5217112"/>
              <a:gd name="connsiteX23618" fmla="*/ 2150081 w 6785952"/>
              <a:gd name="connsiteY23618" fmla="*/ 377373 h 5217112"/>
              <a:gd name="connsiteX23619" fmla="*/ 2143487 w 6785952"/>
              <a:gd name="connsiteY23619" fmla="*/ 379880 h 5217112"/>
              <a:gd name="connsiteX23620" fmla="*/ 2127555 w 6785952"/>
              <a:gd name="connsiteY23620" fmla="*/ 382822 h 5217112"/>
              <a:gd name="connsiteX23621" fmla="*/ 2120139 w 6785952"/>
              <a:gd name="connsiteY23621" fmla="*/ 382278 h 5217112"/>
              <a:gd name="connsiteX23622" fmla="*/ 2129204 w 6785952"/>
              <a:gd name="connsiteY23622" fmla="*/ 377156 h 5217112"/>
              <a:gd name="connsiteX23623" fmla="*/ 2150905 w 6785952"/>
              <a:gd name="connsiteY23623" fmla="*/ 369419 h 5217112"/>
              <a:gd name="connsiteX23624" fmla="*/ 1858080 w 6785952"/>
              <a:gd name="connsiteY23624" fmla="*/ 367566 h 5217112"/>
              <a:gd name="connsiteX23625" fmla="*/ 1860552 w 6785952"/>
              <a:gd name="connsiteY23625" fmla="*/ 371271 h 5217112"/>
              <a:gd name="connsiteX23626" fmla="*/ 1858355 w 6785952"/>
              <a:gd name="connsiteY23626" fmla="*/ 374976 h 5217112"/>
              <a:gd name="connsiteX23627" fmla="*/ 1857805 w 6785952"/>
              <a:gd name="connsiteY23627" fmla="*/ 378354 h 5217112"/>
              <a:gd name="connsiteX23628" fmla="*/ 1855882 w 6785952"/>
              <a:gd name="connsiteY23628" fmla="*/ 380097 h 5217112"/>
              <a:gd name="connsiteX23629" fmla="*/ 1853410 w 6785952"/>
              <a:gd name="connsiteY23629" fmla="*/ 379880 h 5217112"/>
              <a:gd name="connsiteX23630" fmla="*/ 1853960 w 6785952"/>
              <a:gd name="connsiteY23630" fmla="*/ 376611 h 5217112"/>
              <a:gd name="connsiteX23631" fmla="*/ 1858080 w 6785952"/>
              <a:gd name="connsiteY23631" fmla="*/ 367566 h 5217112"/>
              <a:gd name="connsiteX23632" fmla="*/ 5172548 w 6785952"/>
              <a:gd name="connsiteY23632" fmla="*/ 367457 h 5217112"/>
              <a:gd name="connsiteX23633" fmla="*/ 5170900 w 6785952"/>
              <a:gd name="connsiteY23633" fmla="*/ 391976 h 5217112"/>
              <a:gd name="connsiteX23634" fmla="*/ 5166505 w 6785952"/>
              <a:gd name="connsiteY23634" fmla="*/ 370835 h 5217112"/>
              <a:gd name="connsiteX23635" fmla="*/ 5172548 w 6785952"/>
              <a:gd name="connsiteY23635" fmla="*/ 367457 h 5217112"/>
              <a:gd name="connsiteX23636" fmla="*/ 5488172 w 6785952"/>
              <a:gd name="connsiteY23636" fmla="*/ 365931 h 5217112"/>
              <a:gd name="connsiteX23637" fmla="*/ 5487623 w 6785952"/>
              <a:gd name="connsiteY23637" fmla="*/ 375521 h 5217112"/>
              <a:gd name="connsiteX23638" fmla="*/ 5484052 w 6785952"/>
              <a:gd name="connsiteY23638" fmla="*/ 378354 h 5217112"/>
              <a:gd name="connsiteX23639" fmla="*/ 5482953 w 6785952"/>
              <a:gd name="connsiteY23639" fmla="*/ 375848 h 5217112"/>
              <a:gd name="connsiteX23640" fmla="*/ 5482953 w 6785952"/>
              <a:gd name="connsiteY23640" fmla="*/ 374104 h 5217112"/>
              <a:gd name="connsiteX23641" fmla="*/ 5485426 w 6785952"/>
              <a:gd name="connsiteY23641" fmla="*/ 371706 h 5217112"/>
              <a:gd name="connsiteX23642" fmla="*/ 5485426 w 6785952"/>
              <a:gd name="connsiteY23642" fmla="*/ 366912 h 5217112"/>
              <a:gd name="connsiteX23643" fmla="*/ 5488172 w 6785952"/>
              <a:gd name="connsiteY23643" fmla="*/ 365931 h 5217112"/>
              <a:gd name="connsiteX23644" fmla="*/ 5225015 w 6785952"/>
              <a:gd name="connsiteY23644" fmla="*/ 364732 h 5217112"/>
              <a:gd name="connsiteX23645" fmla="*/ 5234354 w 6785952"/>
              <a:gd name="connsiteY23645" fmla="*/ 365059 h 5217112"/>
              <a:gd name="connsiteX23646" fmla="*/ 5243694 w 6785952"/>
              <a:gd name="connsiteY23646" fmla="*/ 388925 h 5217112"/>
              <a:gd name="connsiteX23647" fmla="*/ 5241497 w 6785952"/>
              <a:gd name="connsiteY23647" fmla="*/ 392739 h 5217112"/>
              <a:gd name="connsiteX23648" fmla="*/ 5240397 w 6785952"/>
              <a:gd name="connsiteY23648" fmla="*/ 399168 h 5217112"/>
              <a:gd name="connsiteX23649" fmla="*/ 5228036 w 6785952"/>
              <a:gd name="connsiteY23649" fmla="*/ 399822 h 5217112"/>
              <a:gd name="connsiteX23650" fmla="*/ 5221993 w 6785952"/>
              <a:gd name="connsiteY23650" fmla="*/ 398405 h 5217112"/>
              <a:gd name="connsiteX23651" fmla="*/ 5211005 w 6785952"/>
              <a:gd name="connsiteY23651" fmla="*/ 388488 h 5217112"/>
              <a:gd name="connsiteX23652" fmla="*/ 5211555 w 6785952"/>
              <a:gd name="connsiteY23652" fmla="*/ 376283 h 5217112"/>
              <a:gd name="connsiteX23653" fmla="*/ 5225015 w 6785952"/>
              <a:gd name="connsiteY23653" fmla="*/ 364732 h 5217112"/>
              <a:gd name="connsiteX23654" fmla="*/ 4944620 w 6785952"/>
              <a:gd name="connsiteY23654" fmla="*/ 363484 h 5217112"/>
              <a:gd name="connsiteX23655" fmla="*/ 4953891 w 6785952"/>
              <a:gd name="connsiteY23655" fmla="*/ 379007 h 5217112"/>
              <a:gd name="connsiteX23656" fmla="*/ 4948397 w 6785952"/>
              <a:gd name="connsiteY23656" fmla="*/ 379444 h 5217112"/>
              <a:gd name="connsiteX23657" fmla="*/ 4938508 w 6785952"/>
              <a:gd name="connsiteY23657" fmla="*/ 370835 h 5217112"/>
              <a:gd name="connsiteX23658" fmla="*/ 4944620 w 6785952"/>
              <a:gd name="connsiteY23658" fmla="*/ 363484 h 5217112"/>
              <a:gd name="connsiteX23659" fmla="*/ 1915765 w 6785952"/>
              <a:gd name="connsiteY23659" fmla="*/ 363098 h 5217112"/>
              <a:gd name="connsiteX23660" fmla="*/ 1917414 w 6785952"/>
              <a:gd name="connsiteY23660" fmla="*/ 363969 h 5217112"/>
              <a:gd name="connsiteX23661" fmla="*/ 1913293 w 6785952"/>
              <a:gd name="connsiteY23661" fmla="*/ 369419 h 5217112"/>
              <a:gd name="connsiteX23662" fmla="*/ 1911096 w 6785952"/>
              <a:gd name="connsiteY23662" fmla="*/ 369310 h 5217112"/>
              <a:gd name="connsiteX23663" fmla="*/ 1915765 w 6785952"/>
              <a:gd name="connsiteY23663" fmla="*/ 363098 h 5217112"/>
              <a:gd name="connsiteX23664" fmla="*/ 1533665 w 6785952"/>
              <a:gd name="connsiteY23664" fmla="*/ 360155 h 5217112"/>
              <a:gd name="connsiteX23665" fmla="*/ 1532017 w 6785952"/>
              <a:gd name="connsiteY23665" fmla="*/ 384565 h 5217112"/>
              <a:gd name="connsiteX23666" fmla="*/ 1527897 w 6785952"/>
              <a:gd name="connsiteY23666" fmla="*/ 363534 h 5217112"/>
              <a:gd name="connsiteX23667" fmla="*/ 1533665 w 6785952"/>
              <a:gd name="connsiteY23667" fmla="*/ 360155 h 5217112"/>
              <a:gd name="connsiteX23668" fmla="*/ 4773691 w 6785952"/>
              <a:gd name="connsiteY23668" fmla="*/ 359720 h 5217112"/>
              <a:gd name="connsiteX23669" fmla="*/ 4786877 w 6785952"/>
              <a:gd name="connsiteY23669" fmla="*/ 362553 h 5217112"/>
              <a:gd name="connsiteX23670" fmla="*/ 4790448 w 6785952"/>
              <a:gd name="connsiteY23670" fmla="*/ 366367 h 5217112"/>
              <a:gd name="connsiteX23671" fmla="*/ 4765176 w 6785952"/>
              <a:gd name="connsiteY23671" fmla="*/ 387617 h 5217112"/>
              <a:gd name="connsiteX23672" fmla="*/ 4761879 w 6785952"/>
              <a:gd name="connsiteY23672" fmla="*/ 384348 h 5217112"/>
              <a:gd name="connsiteX23673" fmla="*/ 4759407 w 6785952"/>
              <a:gd name="connsiteY23673" fmla="*/ 377810 h 5217112"/>
              <a:gd name="connsiteX23674" fmla="*/ 4773691 w 6785952"/>
              <a:gd name="connsiteY23674" fmla="*/ 359720 h 5217112"/>
              <a:gd name="connsiteX23675" fmla="*/ 1849564 w 6785952"/>
              <a:gd name="connsiteY23675" fmla="*/ 358630 h 5217112"/>
              <a:gd name="connsiteX23676" fmla="*/ 1849015 w 6785952"/>
              <a:gd name="connsiteY23676" fmla="*/ 368220 h 5217112"/>
              <a:gd name="connsiteX23677" fmla="*/ 1845444 w 6785952"/>
              <a:gd name="connsiteY23677" fmla="*/ 371053 h 5217112"/>
              <a:gd name="connsiteX23678" fmla="*/ 1844345 w 6785952"/>
              <a:gd name="connsiteY23678" fmla="*/ 368546 h 5217112"/>
              <a:gd name="connsiteX23679" fmla="*/ 1844345 w 6785952"/>
              <a:gd name="connsiteY23679" fmla="*/ 366803 h 5217112"/>
              <a:gd name="connsiteX23680" fmla="*/ 1846543 w 6785952"/>
              <a:gd name="connsiteY23680" fmla="*/ 364406 h 5217112"/>
              <a:gd name="connsiteX23681" fmla="*/ 1846817 w 6785952"/>
              <a:gd name="connsiteY23681" fmla="*/ 359611 h 5217112"/>
              <a:gd name="connsiteX23682" fmla="*/ 1849564 w 6785952"/>
              <a:gd name="connsiteY23682" fmla="*/ 358630 h 5217112"/>
              <a:gd name="connsiteX23683" fmla="*/ 1586132 w 6785952"/>
              <a:gd name="connsiteY23683" fmla="*/ 357431 h 5217112"/>
              <a:gd name="connsiteX23684" fmla="*/ 1595746 w 6785952"/>
              <a:gd name="connsiteY23684" fmla="*/ 357650 h 5217112"/>
              <a:gd name="connsiteX23685" fmla="*/ 1605086 w 6785952"/>
              <a:gd name="connsiteY23685" fmla="*/ 381514 h 5217112"/>
              <a:gd name="connsiteX23686" fmla="*/ 1602888 w 6785952"/>
              <a:gd name="connsiteY23686" fmla="*/ 385219 h 5217112"/>
              <a:gd name="connsiteX23687" fmla="*/ 1601790 w 6785952"/>
              <a:gd name="connsiteY23687" fmla="*/ 391866 h 5217112"/>
              <a:gd name="connsiteX23688" fmla="*/ 1589428 w 6785952"/>
              <a:gd name="connsiteY23688" fmla="*/ 392520 h 5217112"/>
              <a:gd name="connsiteX23689" fmla="*/ 1583385 w 6785952"/>
              <a:gd name="connsiteY23689" fmla="*/ 390995 h 5217112"/>
              <a:gd name="connsiteX23690" fmla="*/ 1572122 w 6785952"/>
              <a:gd name="connsiteY23690" fmla="*/ 380970 h 5217112"/>
              <a:gd name="connsiteX23691" fmla="*/ 1572947 w 6785952"/>
              <a:gd name="connsiteY23691" fmla="*/ 368982 h 5217112"/>
              <a:gd name="connsiteX23692" fmla="*/ 1586132 w 6785952"/>
              <a:gd name="connsiteY23692" fmla="*/ 357431 h 5217112"/>
              <a:gd name="connsiteX23693" fmla="*/ 5672767 w 6785952"/>
              <a:gd name="connsiteY23693" fmla="*/ 354925 h 5217112"/>
              <a:gd name="connsiteX23694" fmla="*/ 5689798 w 6785952"/>
              <a:gd name="connsiteY23694" fmla="*/ 366912 h 5217112"/>
              <a:gd name="connsiteX23695" fmla="*/ 5696116 w 6785952"/>
              <a:gd name="connsiteY23695" fmla="*/ 368220 h 5217112"/>
              <a:gd name="connsiteX23696" fmla="*/ 5696666 w 6785952"/>
              <a:gd name="connsiteY23696" fmla="*/ 366258 h 5217112"/>
              <a:gd name="connsiteX23697" fmla="*/ 5705181 w 6785952"/>
              <a:gd name="connsiteY23697" fmla="*/ 368002 h 5217112"/>
              <a:gd name="connsiteX23698" fmla="*/ 5728255 w 6785952"/>
              <a:gd name="connsiteY23698" fmla="*/ 391866 h 5217112"/>
              <a:gd name="connsiteX23699" fmla="*/ 5746661 w 6785952"/>
              <a:gd name="connsiteY23699" fmla="*/ 416604 h 5217112"/>
              <a:gd name="connsiteX23700" fmla="*/ 5751055 w 6785952"/>
              <a:gd name="connsiteY23700" fmla="*/ 425975 h 5217112"/>
              <a:gd name="connsiteX23701" fmla="*/ 5750506 w 6785952"/>
              <a:gd name="connsiteY23701" fmla="*/ 427937 h 5217112"/>
              <a:gd name="connsiteX23702" fmla="*/ 5757099 w 6785952"/>
              <a:gd name="connsiteY23702" fmla="*/ 437744 h 5217112"/>
              <a:gd name="connsiteX23703" fmla="*/ 5758198 w 6785952"/>
              <a:gd name="connsiteY23703" fmla="*/ 442103 h 5217112"/>
              <a:gd name="connsiteX23704" fmla="*/ 5752155 w 6785952"/>
              <a:gd name="connsiteY23704" fmla="*/ 457686 h 5217112"/>
              <a:gd name="connsiteX23705" fmla="*/ 5753802 w 6785952"/>
              <a:gd name="connsiteY23705" fmla="*/ 460084 h 5217112"/>
              <a:gd name="connsiteX23706" fmla="*/ 5751880 w 6785952"/>
              <a:gd name="connsiteY23706" fmla="*/ 468039 h 5217112"/>
              <a:gd name="connsiteX23707" fmla="*/ 5751880 w 6785952"/>
              <a:gd name="connsiteY23707" fmla="*/ 476430 h 5217112"/>
              <a:gd name="connsiteX23708" fmla="*/ 5748309 w 6785952"/>
              <a:gd name="connsiteY23708" fmla="*/ 481115 h 5217112"/>
              <a:gd name="connsiteX23709" fmla="*/ 5745287 w 6785952"/>
              <a:gd name="connsiteY23709" fmla="*/ 484167 h 5217112"/>
              <a:gd name="connsiteX23710" fmla="*/ 5746935 w 6785952"/>
              <a:gd name="connsiteY23710" fmla="*/ 483949 h 5217112"/>
              <a:gd name="connsiteX23711" fmla="*/ 5752704 w 6785952"/>
              <a:gd name="connsiteY23711" fmla="*/ 489506 h 5217112"/>
              <a:gd name="connsiteX23712" fmla="*/ 5750780 w 6785952"/>
              <a:gd name="connsiteY23712" fmla="*/ 498333 h 5217112"/>
              <a:gd name="connsiteX23713" fmla="*/ 5737870 w 6785952"/>
              <a:gd name="connsiteY23713" fmla="*/ 509776 h 5217112"/>
              <a:gd name="connsiteX23714" fmla="*/ 5733749 w 6785952"/>
              <a:gd name="connsiteY23714" fmla="*/ 504218 h 5217112"/>
              <a:gd name="connsiteX23715" fmla="*/ 5729904 w 6785952"/>
              <a:gd name="connsiteY23715" fmla="*/ 505634 h 5217112"/>
              <a:gd name="connsiteX23716" fmla="*/ 5726882 w 6785952"/>
              <a:gd name="connsiteY23716" fmla="*/ 506615 h 5217112"/>
              <a:gd name="connsiteX23717" fmla="*/ 5727157 w 6785952"/>
              <a:gd name="connsiteY23717" fmla="*/ 510647 h 5217112"/>
              <a:gd name="connsiteX23718" fmla="*/ 5731278 w 6785952"/>
              <a:gd name="connsiteY23718" fmla="*/ 510865 h 5217112"/>
              <a:gd name="connsiteX23719" fmla="*/ 5739243 w 6785952"/>
              <a:gd name="connsiteY23719" fmla="*/ 513480 h 5217112"/>
              <a:gd name="connsiteX23720" fmla="*/ 5735123 w 6785952"/>
              <a:gd name="connsiteY23720" fmla="*/ 515442 h 5217112"/>
              <a:gd name="connsiteX23721" fmla="*/ 5726608 w 6785952"/>
              <a:gd name="connsiteY23721" fmla="*/ 514897 h 5217112"/>
              <a:gd name="connsiteX23722" fmla="*/ 5723861 w 6785952"/>
              <a:gd name="connsiteY23722" fmla="*/ 520455 h 5217112"/>
              <a:gd name="connsiteX23723" fmla="*/ 5713423 w 6785952"/>
              <a:gd name="connsiteY23723" fmla="*/ 524814 h 5217112"/>
              <a:gd name="connsiteX23724" fmla="*/ 5693095 w 6785952"/>
              <a:gd name="connsiteY23724" fmla="*/ 535058 h 5217112"/>
              <a:gd name="connsiteX23725" fmla="*/ 5684579 w 6785952"/>
              <a:gd name="connsiteY23725" fmla="*/ 524923 h 5217112"/>
              <a:gd name="connsiteX23726" fmla="*/ 5662054 w 6785952"/>
              <a:gd name="connsiteY23726" fmla="*/ 534730 h 5217112"/>
              <a:gd name="connsiteX23727" fmla="*/ 5659033 w 6785952"/>
              <a:gd name="connsiteY23727" fmla="*/ 527538 h 5217112"/>
              <a:gd name="connsiteX23728" fmla="*/ 5657659 w 6785952"/>
              <a:gd name="connsiteY23728" fmla="*/ 526775 h 5217112"/>
              <a:gd name="connsiteX23729" fmla="*/ 5657659 w 6785952"/>
              <a:gd name="connsiteY23729" fmla="*/ 526884 h 5217112"/>
              <a:gd name="connsiteX23730" fmla="*/ 5655462 w 6785952"/>
              <a:gd name="connsiteY23730" fmla="*/ 525577 h 5217112"/>
              <a:gd name="connsiteX23731" fmla="*/ 5653539 w 6785952"/>
              <a:gd name="connsiteY23731" fmla="*/ 524487 h 5217112"/>
              <a:gd name="connsiteX23732" fmla="*/ 5635134 w 6785952"/>
              <a:gd name="connsiteY23732" fmla="*/ 526884 h 5217112"/>
              <a:gd name="connsiteX23733" fmla="*/ 5624696 w 6785952"/>
              <a:gd name="connsiteY23733" fmla="*/ 514134 h 5217112"/>
              <a:gd name="connsiteX23734" fmla="*/ 5615906 w 6785952"/>
              <a:gd name="connsiteY23734" fmla="*/ 514353 h 5217112"/>
              <a:gd name="connsiteX23735" fmla="*/ 5601896 w 6785952"/>
              <a:gd name="connsiteY23735" fmla="*/ 498878 h 5217112"/>
              <a:gd name="connsiteX23736" fmla="*/ 5587886 w 6785952"/>
              <a:gd name="connsiteY23736" fmla="*/ 483295 h 5217112"/>
              <a:gd name="connsiteX23737" fmla="*/ 5588436 w 6785952"/>
              <a:gd name="connsiteY23737" fmla="*/ 481224 h 5217112"/>
              <a:gd name="connsiteX23738" fmla="*/ 5583217 w 6785952"/>
              <a:gd name="connsiteY23738" fmla="*/ 457250 h 5217112"/>
              <a:gd name="connsiteX23739" fmla="*/ 5572504 w 6785952"/>
              <a:gd name="connsiteY23739" fmla="*/ 446462 h 5217112"/>
              <a:gd name="connsiteX23740" fmla="*/ 5571954 w 6785952"/>
              <a:gd name="connsiteY23740" fmla="*/ 448424 h 5217112"/>
              <a:gd name="connsiteX23741" fmla="*/ 5569208 w 6785952"/>
              <a:gd name="connsiteY23741" fmla="*/ 441558 h 5217112"/>
              <a:gd name="connsiteX23742" fmla="*/ 5572229 w 6785952"/>
              <a:gd name="connsiteY23742" fmla="*/ 438071 h 5217112"/>
              <a:gd name="connsiteX23743" fmla="*/ 5570581 w 6785952"/>
              <a:gd name="connsiteY23743" fmla="*/ 427283 h 5217112"/>
              <a:gd name="connsiteX23744" fmla="*/ 5584041 w 6785952"/>
              <a:gd name="connsiteY23744" fmla="*/ 417475 h 5217112"/>
              <a:gd name="connsiteX23745" fmla="*/ 5584316 w 6785952"/>
              <a:gd name="connsiteY23745" fmla="*/ 415405 h 5217112"/>
              <a:gd name="connsiteX23746" fmla="*/ 5584041 w 6785952"/>
              <a:gd name="connsiteY23746" fmla="*/ 415405 h 5217112"/>
              <a:gd name="connsiteX23747" fmla="*/ 5584316 w 6785952"/>
              <a:gd name="connsiteY23747" fmla="*/ 415078 h 5217112"/>
              <a:gd name="connsiteX23748" fmla="*/ 5584591 w 6785952"/>
              <a:gd name="connsiteY23748" fmla="*/ 412681 h 5217112"/>
              <a:gd name="connsiteX23749" fmla="*/ 5577173 w 6785952"/>
              <a:gd name="connsiteY23749" fmla="*/ 399386 h 5217112"/>
              <a:gd name="connsiteX23750" fmla="*/ 5596677 w 6785952"/>
              <a:gd name="connsiteY23750" fmla="*/ 393065 h 5217112"/>
              <a:gd name="connsiteX23751" fmla="*/ 5591458 w 6785952"/>
              <a:gd name="connsiteY23751" fmla="*/ 377265 h 5217112"/>
              <a:gd name="connsiteX23752" fmla="*/ 5594205 w 6785952"/>
              <a:gd name="connsiteY23752" fmla="*/ 375739 h 5217112"/>
              <a:gd name="connsiteX23753" fmla="*/ 5592556 w 6785952"/>
              <a:gd name="connsiteY23753" fmla="*/ 373342 h 5217112"/>
              <a:gd name="connsiteX23754" fmla="*/ 5594754 w 6785952"/>
              <a:gd name="connsiteY23754" fmla="*/ 373777 h 5217112"/>
              <a:gd name="connsiteX23755" fmla="*/ 5603269 w 6785952"/>
              <a:gd name="connsiteY23755" fmla="*/ 375521 h 5217112"/>
              <a:gd name="connsiteX23756" fmla="*/ 5613158 w 6785952"/>
              <a:gd name="connsiteY23756" fmla="*/ 371380 h 5217112"/>
              <a:gd name="connsiteX23757" fmla="*/ 5612884 w 6785952"/>
              <a:gd name="connsiteY23757" fmla="*/ 362989 h 5217112"/>
              <a:gd name="connsiteX23758" fmla="*/ 5641177 w 6785952"/>
              <a:gd name="connsiteY23758" fmla="*/ 356560 h 5217112"/>
              <a:gd name="connsiteX23759" fmla="*/ 5654912 w 6785952"/>
              <a:gd name="connsiteY23759" fmla="*/ 363643 h 5217112"/>
              <a:gd name="connsiteX23760" fmla="*/ 5672767 w 6785952"/>
              <a:gd name="connsiteY23760" fmla="*/ 354925 h 5217112"/>
              <a:gd name="connsiteX23761" fmla="*/ 5813686 w 6785952"/>
              <a:gd name="connsiteY23761" fmla="*/ 354162 h 5217112"/>
              <a:gd name="connsiteX23762" fmla="*/ 5812587 w 6785952"/>
              <a:gd name="connsiteY23762" fmla="*/ 373668 h 5217112"/>
              <a:gd name="connsiteX23763" fmla="*/ 5801050 w 6785952"/>
              <a:gd name="connsiteY23763" fmla="*/ 366149 h 5217112"/>
              <a:gd name="connsiteX23764" fmla="*/ 5813686 w 6785952"/>
              <a:gd name="connsiteY23764" fmla="*/ 354162 h 5217112"/>
              <a:gd name="connsiteX23765" fmla="*/ 1943510 w 6785952"/>
              <a:gd name="connsiteY23765" fmla="*/ 352963 h 5217112"/>
              <a:gd name="connsiteX23766" fmla="*/ 1942136 w 6785952"/>
              <a:gd name="connsiteY23766" fmla="*/ 353617 h 5217112"/>
              <a:gd name="connsiteX23767" fmla="*/ 1943785 w 6785952"/>
              <a:gd name="connsiteY23767" fmla="*/ 354489 h 5217112"/>
              <a:gd name="connsiteX23768" fmla="*/ 1925105 w 6785952"/>
              <a:gd name="connsiteY23768" fmla="*/ 364188 h 5217112"/>
              <a:gd name="connsiteX23769" fmla="*/ 1924830 w 6785952"/>
              <a:gd name="connsiteY23769" fmla="*/ 362880 h 5217112"/>
              <a:gd name="connsiteX23770" fmla="*/ 1938291 w 6785952"/>
              <a:gd name="connsiteY23770" fmla="*/ 354489 h 5217112"/>
              <a:gd name="connsiteX23771" fmla="*/ 1943510 w 6785952"/>
              <a:gd name="connsiteY23771" fmla="*/ 352963 h 5217112"/>
              <a:gd name="connsiteX23772" fmla="*/ 4275395 w 6785952"/>
              <a:gd name="connsiteY23772" fmla="*/ 352854 h 5217112"/>
              <a:gd name="connsiteX23773" fmla="*/ 4276493 w 6785952"/>
              <a:gd name="connsiteY23773" fmla="*/ 356995 h 5217112"/>
              <a:gd name="connsiteX23774" fmla="*/ 4265780 w 6785952"/>
              <a:gd name="connsiteY23774" fmla="*/ 366803 h 5217112"/>
              <a:gd name="connsiteX23775" fmla="*/ 4272373 w 6785952"/>
              <a:gd name="connsiteY23775" fmla="*/ 353835 h 5217112"/>
              <a:gd name="connsiteX23776" fmla="*/ 4275395 w 6785952"/>
              <a:gd name="connsiteY23776" fmla="*/ 352854 h 5217112"/>
              <a:gd name="connsiteX23777" fmla="*/ 5508500 w 6785952"/>
              <a:gd name="connsiteY23777" fmla="*/ 351002 h 5217112"/>
              <a:gd name="connsiteX23778" fmla="*/ 5509049 w 6785952"/>
              <a:gd name="connsiteY23778" fmla="*/ 358521 h 5217112"/>
              <a:gd name="connsiteX23779" fmla="*/ 5501358 w 6785952"/>
              <a:gd name="connsiteY23779" fmla="*/ 368220 h 5217112"/>
              <a:gd name="connsiteX23780" fmla="*/ 5497787 w 6785952"/>
              <a:gd name="connsiteY23780" fmla="*/ 367238 h 5217112"/>
              <a:gd name="connsiteX23781" fmla="*/ 5496414 w 6785952"/>
              <a:gd name="connsiteY23781" fmla="*/ 361681 h 5217112"/>
              <a:gd name="connsiteX23782" fmla="*/ 5504929 w 6785952"/>
              <a:gd name="connsiteY23782" fmla="*/ 351329 h 5217112"/>
              <a:gd name="connsiteX23783" fmla="*/ 5508500 w 6785952"/>
              <a:gd name="connsiteY23783" fmla="*/ 351002 h 5217112"/>
              <a:gd name="connsiteX23784" fmla="*/ 2833521 w 6785952"/>
              <a:gd name="connsiteY23784" fmla="*/ 350239 h 5217112"/>
              <a:gd name="connsiteX23785" fmla="*/ 2839290 w 6785952"/>
              <a:gd name="connsiteY23785" fmla="*/ 360265 h 5217112"/>
              <a:gd name="connsiteX23786" fmla="*/ 2837641 w 6785952"/>
              <a:gd name="connsiteY23786" fmla="*/ 362553 h 5217112"/>
              <a:gd name="connsiteX23787" fmla="*/ 2836818 w 6785952"/>
              <a:gd name="connsiteY23787" fmla="*/ 362553 h 5217112"/>
              <a:gd name="connsiteX23788" fmla="*/ 2833246 w 6785952"/>
              <a:gd name="connsiteY23788" fmla="*/ 360809 h 5217112"/>
              <a:gd name="connsiteX23789" fmla="*/ 2831049 w 6785952"/>
              <a:gd name="connsiteY23789" fmla="*/ 356668 h 5217112"/>
              <a:gd name="connsiteX23790" fmla="*/ 2831324 w 6785952"/>
              <a:gd name="connsiteY23790" fmla="*/ 352637 h 5217112"/>
              <a:gd name="connsiteX23791" fmla="*/ 2833521 w 6785952"/>
              <a:gd name="connsiteY23791" fmla="*/ 350239 h 5217112"/>
              <a:gd name="connsiteX23792" fmla="*/ 5780997 w 6785952"/>
              <a:gd name="connsiteY23792" fmla="*/ 349913 h 5217112"/>
              <a:gd name="connsiteX23793" fmla="*/ 5787590 w 6785952"/>
              <a:gd name="connsiteY23793" fmla="*/ 357105 h 5217112"/>
              <a:gd name="connsiteX23794" fmla="*/ 5781546 w 6785952"/>
              <a:gd name="connsiteY23794" fmla="*/ 360591 h 5217112"/>
              <a:gd name="connsiteX23795" fmla="*/ 5780997 w 6785952"/>
              <a:gd name="connsiteY23795" fmla="*/ 349913 h 5217112"/>
              <a:gd name="connsiteX23796" fmla="*/ 5247815 w 6785952"/>
              <a:gd name="connsiteY23796" fmla="*/ 346752 h 5217112"/>
              <a:gd name="connsiteX23797" fmla="*/ 5254682 w 6785952"/>
              <a:gd name="connsiteY23797" fmla="*/ 362444 h 5217112"/>
              <a:gd name="connsiteX23798" fmla="*/ 5249737 w 6785952"/>
              <a:gd name="connsiteY23798" fmla="*/ 363316 h 5217112"/>
              <a:gd name="connsiteX23799" fmla="*/ 5244518 w 6785952"/>
              <a:gd name="connsiteY23799" fmla="*/ 363207 h 5217112"/>
              <a:gd name="connsiteX23800" fmla="*/ 5242046 w 6785952"/>
              <a:gd name="connsiteY23800" fmla="*/ 359501 h 5217112"/>
              <a:gd name="connsiteX23801" fmla="*/ 5240397 w 6785952"/>
              <a:gd name="connsiteY23801" fmla="*/ 356886 h 5217112"/>
              <a:gd name="connsiteX23802" fmla="*/ 5241222 w 6785952"/>
              <a:gd name="connsiteY23802" fmla="*/ 350675 h 5217112"/>
              <a:gd name="connsiteX23803" fmla="*/ 5239848 w 6785952"/>
              <a:gd name="connsiteY23803" fmla="*/ 351111 h 5217112"/>
              <a:gd name="connsiteX23804" fmla="*/ 5247815 w 6785952"/>
              <a:gd name="connsiteY23804" fmla="*/ 346752 h 5217112"/>
              <a:gd name="connsiteX23805" fmla="*/ 2175077 w 6785952"/>
              <a:gd name="connsiteY23805" fmla="*/ 346752 h 5217112"/>
              <a:gd name="connsiteX23806" fmla="*/ 2173979 w 6785952"/>
              <a:gd name="connsiteY23806" fmla="*/ 366367 h 5217112"/>
              <a:gd name="connsiteX23807" fmla="*/ 2162442 w 6785952"/>
              <a:gd name="connsiteY23807" fmla="*/ 358848 h 5217112"/>
              <a:gd name="connsiteX23808" fmla="*/ 2175077 w 6785952"/>
              <a:gd name="connsiteY23808" fmla="*/ 346752 h 5217112"/>
              <a:gd name="connsiteX23809" fmla="*/ 4780559 w 6785952"/>
              <a:gd name="connsiteY23809" fmla="*/ 345880 h 5217112"/>
              <a:gd name="connsiteX23810" fmla="*/ 4781108 w 6785952"/>
              <a:gd name="connsiteY23810" fmla="*/ 357540 h 5217112"/>
              <a:gd name="connsiteX23811" fmla="*/ 4769022 w 6785952"/>
              <a:gd name="connsiteY23811" fmla="*/ 355470 h 5217112"/>
              <a:gd name="connsiteX23812" fmla="*/ 4769571 w 6785952"/>
              <a:gd name="connsiteY23812" fmla="*/ 347079 h 5217112"/>
              <a:gd name="connsiteX23813" fmla="*/ 4780559 w 6785952"/>
              <a:gd name="connsiteY23813" fmla="*/ 345880 h 5217112"/>
              <a:gd name="connsiteX23814" fmla="*/ 5083272 w 6785952"/>
              <a:gd name="connsiteY23814" fmla="*/ 345445 h 5217112"/>
              <a:gd name="connsiteX23815" fmla="*/ 5092337 w 6785952"/>
              <a:gd name="connsiteY23815" fmla="*/ 376937 h 5217112"/>
              <a:gd name="connsiteX23816" fmla="*/ 5088216 w 6785952"/>
              <a:gd name="connsiteY23816" fmla="*/ 378572 h 5217112"/>
              <a:gd name="connsiteX23817" fmla="*/ 5081349 w 6785952"/>
              <a:gd name="connsiteY23817" fmla="*/ 378245 h 5217112"/>
              <a:gd name="connsiteX23818" fmla="*/ 5070361 w 6785952"/>
              <a:gd name="connsiteY23818" fmla="*/ 357976 h 5217112"/>
              <a:gd name="connsiteX23819" fmla="*/ 5078328 w 6785952"/>
              <a:gd name="connsiteY23819" fmla="*/ 347079 h 5217112"/>
              <a:gd name="connsiteX23820" fmla="*/ 5083272 w 6785952"/>
              <a:gd name="connsiteY23820" fmla="*/ 345445 h 5217112"/>
              <a:gd name="connsiteX23821" fmla="*/ 1504548 w 6785952"/>
              <a:gd name="connsiteY23821" fmla="*/ 345117 h 5217112"/>
              <a:gd name="connsiteX23822" fmla="*/ 1509493 w 6785952"/>
              <a:gd name="connsiteY23822" fmla="*/ 358957 h 5217112"/>
              <a:gd name="connsiteX23823" fmla="*/ 1506471 w 6785952"/>
              <a:gd name="connsiteY23823" fmla="*/ 359611 h 5217112"/>
              <a:gd name="connsiteX23824" fmla="*/ 1502624 w 6785952"/>
              <a:gd name="connsiteY23824" fmla="*/ 358521 h 5217112"/>
              <a:gd name="connsiteX23825" fmla="*/ 1504548 w 6785952"/>
              <a:gd name="connsiteY23825" fmla="*/ 345117 h 5217112"/>
              <a:gd name="connsiteX23826" fmla="*/ 2849728 w 6785952"/>
              <a:gd name="connsiteY23826" fmla="*/ 344791 h 5217112"/>
              <a:gd name="connsiteX23827" fmla="*/ 2853574 w 6785952"/>
              <a:gd name="connsiteY23827" fmla="*/ 345771 h 5217112"/>
              <a:gd name="connsiteX23828" fmla="*/ 2850277 w 6785952"/>
              <a:gd name="connsiteY23828" fmla="*/ 351220 h 5217112"/>
              <a:gd name="connsiteX23829" fmla="*/ 2848080 w 6785952"/>
              <a:gd name="connsiteY23829" fmla="*/ 349259 h 5217112"/>
              <a:gd name="connsiteX23830" fmla="*/ 2847531 w 6785952"/>
              <a:gd name="connsiteY23830" fmla="*/ 346425 h 5217112"/>
              <a:gd name="connsiteX23831" fmla="*/ 2849728 w 6785952"/>
              <a:gd name="connsiteY23831" fmla="*/ 344791 h 5217112"/>
              <a:gd name="connsiteX23832" fmla="*/ 5579097 w 6785952"/>
              <a:gd name="connsiteY23832" fmla="*/ 344682 h 5217112"/>
              <a:gd name="connsiteX23833" fmla="*/ 5580745 w 6785952"/>
              <a:gd name="connsiteY23833" fmla="*/ 350348 h 5217112"/>
              <a:gd name="connsiteX23834" fmla="*/ 5577998 w 6785952"/>
              <a:gd name="connsiteY23834" fmla="*/ 351329 h 5217112"/>
              <a:gd name="connsiteX23835" fmla="*/ 5564263 w 6785952"/>
              <a:gd name="connsiteY23835" fmla="*/ 364297 h 5217112"/>
              <a:gd name="connsiteX23836" fmla="*/ 5560966 w 6785952"/>
              <a:gd name="connsiteY23836" fmla="*/ 365386 h 5217112"/>
              <a:gd name="connsiteX23837" fmla="*/ 5563988 w 6785952"/>
              <a:gd name="connsiteY23837" fmla="*/ 368002 h 5217112"/>
              <a:gd name="connsiteX23838" fmla="*/ 5565361 w 6785952"/>
              <a:gd name="connsiteY23838" fmla="*/ 369200 h 5217112"/>
              <a:gd name="connsiteX23839" fmla="*/ 5570031 w 6785952"/>
              <a:gd name="connsiteY23839" fmla="*/ 366803 h 5217112"/>
              <a:gd name="connsiteX23840" fmla="*/ 5576899 w 6785952"/>
              <a:gd name="connsiteY23840" fmla="*/ 361790 h 5217112"/>
              <a:gd name="connsiteX23841" fmla="*/ 5582118 w 6785952"/>
              <a:gd name="connsiteY23841" fmla="*/ 360483 h 5217112"/>
              <a:gd name="connsiteX23842" fmla="*/ 5580745 w 6785952"/>
              <a:gd name="connsiteY23842" fmla="*/ 360919 h 5217112"/>
              <a:gd name="connsiteX23843" fmla="*/ 5582392 w 6785952"/>
              <a:gd name="connsiteY23843" fmla="*/ 361790 h 5217112"/>
              <a:gd name="connsiteX23844" fmla="*/ 5571405 w 6785952"/>
              <a:gd name="connsiteY23844" fmla="*/ 368982 h 5217112"/>
              <a:gd name="connsiteX23845" fmla="*/ 5566735 w 6785952"/>
              <a:gd name="connsiteY23845" fmla="*/ 370508 h 5217112"/>
              <a:gd name="connsiteX23846" fmla="*/ 5573054 w 6785952"/>
              <a:gd name="connsiteY23846" fmla="*/ 376174 h 5217112"/>
              <a:gd name="connsiteX23847" fmla="*/ 5562615 w 6785952"/>
              <a:gd name="connsiteY23847" fmla="*/ 386963 h 5217112"/>
              <a:gd name="connsiteX23848" fmla="*/ 5555472 w 6785952"/>
              <a:gd name="connsiteY23848" fmla="*/ 386527 h 5217112"/>
              <a:gd name="connsiteX23849" fmla="*/ 5552726 w 6785952"/>
              <a:gd name="connsiteY23849" fmla="*/ 385002 h 5217112"/>
              <a:gd name="connsiteX23850" fmla="*/ 5536519 w 6785952"/>
              <a:gd name="connsiteY23850" fmla="*/ 365604 h 5217112"/>
              <a:gd name="connsiteX23851" fmla="*/ 5555472 w 6785952"/>
              <a:gd name="connsiteY23851" fmla="*/ 361245 h 5217112"/>
              <a:gd name="connsiteX23852" fmla="*/ 5559867 w 6785952"/>
              <a:gd name="connsiteY23852" fmla="*/ 364732 h 5217112"/>
              <a:gd name="connsiteX23853" fmla="*/ 5564263 w 6785952"/>
              <a:gd name="connsiteY23853" fmla="*/ 357213 h 5217112"/>
              <a:gd name="connsiteX23854" fmla="*/ 5579097 w 6785952"/>
              <a:gd name="connsiteY23854" fmla="*/ 344682 h 5217112"/>
              <a:gd name="connsiteX23855" fmla="*/ 1869892 w 6785952"/>
              <a:gd name="connsiteY23855" fmla="*/ 343592 h 5217112"/>
              <a:gd name="connsiteX23856" fmla="*/ 1870441 w 6785952"/>
              <a:gd name="connsiteY23856" fmla="*/ 351111 h 5217112"/>
              <a:gd name="connsiteX23857" fmla="*/ 1862750 w 6785952"/>
              <a:gd name="connsiteY23857" fmla="*/ 360809 h 5217112"/>
              <a:gd name="connsiteX23858" fmla="*/ 1859178 w 6785952"/>
              <a:gd name="connsiteY23858" fmla="*/ 359829 h 5217112"/>
              <a:gd name="connsiteX23859" fmla="*/ 1857805 w 6785952"/>
              <a:gd name="connsiteY23859" fmla="*/ 354271 h 5217112"/>
              <a:gd name="connsiteX23860" fmla="*/ 1866321 w 6785952"/>
              <a:gd name="connsiteY23860" fmla="*/ 343918 h 5217112"/>
              <a:gd name="connsiteX23861" fmla="*/ 1869892 w 6785952"/>
              <a:gd name="connsiteY23861" fmla="*/ 343592 h 5217112"/>
              <a:gd name="connsiteX23862" fmla="*/ 5179690 w 6785952"/>
              <a:gd name="connsiteY23862" fmla="*/ 342284 h 5217112"/>
              <a:gd name="connsiteX23863" fmla="*/ 5175295 w 6785952"/>
              <a:gd name="connsiteY23863" fmla="*/ 356451 h 5217112"/>
              <a:gd name="connsiteX23864" fmla="*/ 5158538 w 6785952"/>
              <a:gd name="connsiteY23864" fmla="*/ 359611 h 5217112"/>
              <a:gd name="connsiteX23865" fmla="*/ 5148650 w 6785952"/>
              <a:gd name="connsiteY23865" fmla="*/ 365386 h 5217112"/>
              <a:gd name="connsiteX23866" fmla="*/ 5148100 w 6785952"/>
              <a:gd name="connsiteY23866" fmla="*/ 366258 h 5217112"/>
              <a:gd name="connsiteX23867" fmla="*/ 5147276 w 6785952"/>
              <a:gd name="connsiteY23867" fmla="*/ 366258 h 5217112"/>
              <a:gd name="connsiteX23868" fmla="*/ 5143431 w 6785952"/>
              <a:gd name="connsiteY23868" fmla="*/ 368437 h 5217112"/>
              <a:gd name="connsiteX23869" fmla="*/ 5111291 w 6785952"/>
              <a:gd name="connsiteY23869" fmla="*/ 380534 h 5217112"/>
              <a:gd name="connsiteX23870" fmla="*/ 5179690 w 6785952"/>
              <a:gd name="connsiteY23870" fmla="*/ 342284 h 5217112"/>
              <a:gd name="connsiteX23871" fmla="*/ 1608931 w 6785952"/>
              <a:gd name="connsiteY23871" fmla="*/ 339450 h 5217112"/>
              <a:gd name="connsiteX23872" fmla="*/ 1616074 w 6785952"/>
              <a:gd name="connsiteY23872" fmla="*/ 355143 h 5217112"/>
              <a:gd name="connsiteX23873" fmla="*/ 1611129 w 6785952"/>
              <a:gd name="connsiteY23873" fmla="*/ 356015 h 5217112"/>
              <a:gd name="connsiteX23874" fmla="*/ 1605909 w 6785952"/>
              <a:gd name="connsiteY23874" fmla="*/ 355797 h 5217112"/>
              <a:gd name="connsiteX23875" fmla="*/ 1603438 w 6785952"/>
              <a:gd name="connsiteY23875" fmla="*/ 352092 h 5217112"/>
              <a:gd name="connsiteX23876" fmla="*/ 1601790 w 6785952"/>
              <a:gd name="connsiteY23876" fmla="*/ 349368 h 5217112"/>
              <a:gd name="connsiteX23877" fmla="*/ 1602614 w 6785952"/>
              <a:gd name="connsiteY23877" fmla="*/ 343264 h 5217112"/>
              <a:gd name="connsiteX23878" fmla="*/ 1601240 w 6785952"/>
              <a:gd name="connsiteY23878" fmla="*/ 343809 h 5217112"/>
              <a:gd name="connsiteX23879" fmla="*/ 1608931 w 6785952"/>
              <a:gd name="connsiteY23879" fmla="*/ 339450 h 5217112"/>
              <a:gd name="connsiteX23880" fmla="*/ 4036685 w 6785952"/>
              <a:gd name="connsiteY23880" fmla="*/ 338470 h 5217112"/>
              <a:gd name="connsiteX23881" fmla="*/ 4039706 w 6785952"/>
              <a:gd name="connsiteY23881" fmla="*/ 339015 h 5217112"/>
              <a:gd name="connsiteX23882" fmla="*/ 4038333 w 6785952"/>
              <a:gd name="connsiteY23882" fmla="*/ 339887 h 5217112"/>
              <a:gd name="connsiteX23883" fmla="*/ 4036685 w 6785952"/>
              <a:gd name="connsiteY23883" fmla="*/ 338470 h 5217112"/>
              <a:gd name="connsiteX23884" fmla="*/ 1141951 w 6785952"/>
              <a:gd name="connsiteY23884" fmla="*/ 338470 h 5217112"/>
              <a:gd name="connsiteX23885" fmla="*/ 1142499 w 6785952"/>
              <a:gd name="connsiteY23885" fmla="*/ 350021 h 5217112"/>
              <a:gd name="connsiteX23886" fmla="*/ 1130413 w 6785952"/>
              <a:gd name="connsiteY23886" fmla="*/ 347950 h 5217112"/>
              <a:gd name="connsiteX23887" fmla="*/ 1130688 w 6785952"/>
              <a:gd name="connsiteY23887" fmla="*/ 339778 h 5217112"/>
              <a:gd name="connsiteX23888" fmla="*/ 1141951 w 6785952"/>
              <a:gd name="connsiteY23888" fmla="*/ 338470 h 5217112"/>
              <a:gd name="connsiteX23889" fmla="*/ 1444665 w 6785952"/>
              <a:gd name="connsiteY23889" fmla="*/ 338143 h 5217112"/>
              <a:gd name="connsiteX23890" fmla="*/ 1453729 w 6785952"/>
              <a:gd name="connsiteY23890" fmla="*/ 369527 h 5217112"/>
              <a:gd name="connsiteX23891" fmla="*/ 1449609 w 6785952"/>
              <a:gd name="connsiteY23891" fmla="*/ 371271 h 5217112"/>
              <a:gd name="connsiteX23892" fmla="*/ 1442466 w 6785952"/>
              <a:gd name="connsiteY23892" fmla="*/ 370944 h 5217112"/>
              <a:gd name="connsiteX23893" fmla="*/ 1431753 w 6785952"/>
              <a:gd name="connsiteY23893" fmla="*/ 350566 h 5217112"/>
              <a:gd name="connsiteX23894" fmla="*/ 1439720 w 6785952"/>
              <a:gd name="connsiteY23894" fmla="*/ 339778 h 5217112"/>
              <a:gd name="connsiteX23895" fmla="*/ 1444665 w 6785952"/>
              <a:gd name="connsiteY23895" fmla="*/ 338143 h 5217112"/>
              <a:gd name="connsiteX23896" fmla="*/ 1940488 w 6785952"/>
              <a:gd name="connsiteY23896" fmla="*/ 337380 h 5217112"/>
              <a:gd name="connsiteX23897" fmla="*/ 1942136 w 6785952"/>
              <a:gd name="connsiteY23897" fmla="*/ 342938 h 5217112"/>
              <a:gd name="connsiteX23898" fmla="*/ 1939390 w 6785952"/>
              <a:gd name="connsiteY23898" fmla="*/ 344028 h 5217112"/>
              <a:gd name="connsiteX23899" fmla="*/ 1920435 w 6785952"/>
              <a:gd name="connsiteY23899" fmla="*/ 358739 h 5217112"/>
              <a:gd name="connsiteX23900" fmla="*/ 1940488 w 6785952"/>
              <a:gd name="connsiteY23900" fmla="*/ 337380 h 5217112"/>
              <a:gd name="connsiteX23901" fmla="*/ 4541025 w 6785952"/>
              <a:gd name="connsiteY23901" fmla="*/ 334220 h 5217112"/>
              <a:gd name="connsiteX23902" fmla="*/ 4544321 w 6785952"/>
              <a:gd name="connsiteY23902" fmla="*/ 336072 h 5217112"/>
              <a:gd name="connsiteX23903" fmla="*/ 4545695 w 6785952"/>
              <a:gd name="connsiteY23903" fmla="*/ 335527 h 5217112"/>
              <a:gd name="connsiteX23904" fmla="*/ 4547892 w 6785952"/>
              <a:gd name="connsiteY23904" fmla="*/ 337816 h 5217112"/>
              <a:gd name="connsiteX23905" fmla="*/ 4540200 w 6785952"/>
              <a:gd name="connsiteY23905" fmla="*/ 342284 h 5217112"/>
              <a:gd name="connsiteX23906" fmla="*/ 4533058 w 6785952"/>
              <a:gd name="connsiteY23906" fmla="*/ 344682 h 5217112"/>
              <a:gd name="connsiteX23907" fmla="*/ 4517401 w 6785952"/>
              <a:gd name="connsiteY23907" fmla="*/ 347732 h 5217112"/>
              <a:gd name="connsiteX23908" fmla="*/ 4509984 w 6785952"/>
              <a:gd name="connsiteY23908" fmla="*/ 347079 h 5217112"/>
              <a:gd name="connsiteX23909" fmla="*/ 4519049 w 6785952"/>
              <a:gd name="connsiteY23909" fmla="*/ 342066 h 5217112"/>
              <a:gd name="connsiteX23910" fmla="*/ 4541025 w 6785952"/>
              <a:gd name="connsiteY23910" fmla="*/ 334220 h 5217112"/>
              <a:gd name="connsiteX23911" fmla="*/ 4247925 w 6785952"/>
              <a:gd name="connsiteY23911" fmla="*/ 332477 h 5217112"/>
              <a:gd name="connsiteX23912" fmla="*/ 4250397 w 6785952"/>
              <a:gd name="connsiteY23912" fmla="*/ 336072 h 5217112"/>
              <a:gd name="connsiteX23913" fmla="*/ 4248200 w 6785952"/>
              <a:gd name="connsiteY23913" fmla="*/ 339887 h 5217112"/>
              <a:gd name="connsiteX23914" fmla="*/ 4247651 w 6785952"/>
              <a:gd name="connsiteY23914" fmla="*/ 343156 h 5217112"/>
              <a:gd name="connsiteX23915" fmla="*/ 4245727 w 6785952"/>
              <a:gd name="connsiteY23915" fmla="*/ 345008 h 5217112"/>
              <a:gd name="connsiteX23916" fmla="*/ 4243256 w 6785952"/>
              <a:gd name="connsiteY23916" fmla="*/ 344682 h 5217112"/>
              <a:gd name="connsiteX23917" fmla="*/ 4244079 w 6785952"/>
              <a:gd name="connsiteY23917" fmla="*/ 341412 h 5217112"/>
              <a:gd name="connsiteX23918" fmla="*/ 4247925 w 6785952"/>
              <a:gd name="connsiteY23918" fmla="*/ 332477 h 5217112"/>
              <a:gd name="connsiteX23919" fmla="*/ 2353355 w 6785952"/>
              <a:gd name="connsiteY23919" fmla="*/ 332367 h 5217112"/>
              <a:gd name="connsiteX23920" fmla="*/ 2365990 w 6785952"/>
              <a:gd name="connsiteY23920" fmla="*/ 333457 h 5217112"/>
              <a:gd name="connsiteX23921" fmla="*/ 2364617 w 6785952"/>
              <a:gd name="connsiteY23921" fmla="*/ 342284 h 5217112"/>
              <a:gd name="connsiteX23922" fmla="*/ 2353355 w 6785952"/>
              <a:gd name="connsiteY23922" fmla="*/ 332367 h 5217112"/>
              <a:gd name="connsiteX23923" fmla="*/ 2568165 w 6785952"/>
              <a:gd name="connsiteY23923" fmla="*/ 331823 h 5217112"/>
              <a:gd name="connsiteX23924" fmla="*/ 2572011 w 6785952"/>
              <a:gd name="connsiteY23924" fmla="*/ 338796 h 5217112"/>
              <a:gd name="connsiteX23925" fmla="*/ 2566518 w 6785952"/>
              <a:gd name="connsiteY23925" fmla="*/ 340867 h 5217112"/>
              <a:gd name="connsiteX23926" fmla="*/ 2568165 w 6785952"/>
              <a:gd name="connsiteY23926" fmla="*/ 331823 h 5217112"/>
              <a:gd name="connsiteX23927" fmla="*/ 6038386 w 6785952"/>
              <a:gd name="connsiteY23927" fmla="*/ 331713 h 5217112"/>
              <a:gd name="connsiteX23928" fmla="*/ 6049374 w 6785952"/>
              <a:gd name="connsiteY23928" fmla="*/ 342066 h 5217112"/>
              <a:gd name="connsiteX23929" fmla="*/ 6047177 w 6785952"/>
              <a:gd name="connsiteY23929" fmla="*/ 348277 h 5217112"/>
              <a:gd name="connsiteX23930" fmla="*/ 6037287 w 6785952"/>
              <a:gd name="connsiteY23930" fmla="*/ 352637 h 5217112"/>
              <a:gd name="connsiteX23931" fmla="*/ 6032617 w 6785952"/>
              <a:gd name="connsiteY23931" fmla="*/ 335092 h 5217112"/>
              <a:gd name="connsiteX23932" fmla="*/ 6038386 w 6785952"/>
              <a:gd name="connsiteY23932" fmla="*/ 331713 h 5217112"/>
              <a:gd name="connsiteX23933" fmla="*/ 2861265 w 6785952"/>
              <a:gd name="connsiteY23933" fmla="*/ 329316 h 5217112"/>
              <a:gd name="connsiteX23934" fmla="*/ 2865386 w 6785952"/>
              <a:gd name="connsiteY23934" fmla="*/ 333893 h 5217112"/>
              <a:gd name="connsiteX23935" fmla="*/ 2865935 w 6785952"/>
              <a:gd name="connsiteY23935" fmla="*/ 336726 h 5217112"/>
              <a:gd name="connsiteX23936" fmla="*/ 2854398 w 6785952"/>
              <a:gd name="connsiteY23936" fmla="*/ 343918 h 5217112"/>
              <a:gd name="connsiteX23937" fmla="*/ 2847531 w 6785952"/>
              <a:gd name="connsiteY23937" fmla="*/ 337707 h 5217112"/>
              <a:gd name="connsiteX23938" fmla="*/ 2847531 w 6785952"/>
              <a:gd name="connsiteY23938" fmla="*/ 334329 h 5217112"/>
              <a:gd name="connsiteX23939" fmla="*/ 2850003 w 6785952"/>
              <a:gd name="connsiteY23939" fmla="*/ 331932 h 5217112"/>
              <a:gd name="connsiteX23940" fmla="*/ 2853025 w 6785952"/>
              <a:gd name="connsiteY23940" fmla="*/ 329861 h 5217112"/>
              <a:gd name="connsiteX23941" fmla="*/ 2861265 w 6785952"/>
              <a:gd name="connsiteY23941" fmla="*/ 329316 h 5217112"/>
              <a:gd name="connsiteX23942" fmla="*/ 4305336 w 6785952"/>
              <a:gd name="connsiteY23942" fmla="*/ 327900 h 5217112"/>
              <a:gd name="connsiteX23943" fmla="*/ 4307260 w 6785952"/>
              <a:gd name="connsiteY23943" fmla="*/ 328771 h 5217112"/>
              <a:gd name="connsiteX23944" fmla="*/ 4303139 w 6785952"/>
              <a:gd name="connsiteY23944" fmla="*/ 334220 h 5217112"/>
              <a:gd name="connsiteX23945" fmla="*/ 4301216 w 6785952"/>
              <a:gd name="connsiteY23945" fmla="*/ 334220 h 5217112"/>
              <a:gd name="connsiteX23946" fmla="*/ 4305336 w 6785952"/>
              <a:gd name="connsiteY23946" fmla="*/ 327900 h 5217112"/>
              <a:gd name="connsiteX23947" fmla="*/ 3923785 w 6785952"/>
              <a:gd name="connsiteY23947" fmla="*/ 324957 h 5217112"/>
              <a:gd name="connsiteX23948" fmla="*/ 3922137 w 6785952"/>
              <a:gd name="connsiteY23948" fmla="*/ 349368 h 5217112"/>
              <a:gd name="connsiteX23949" fmla="*/ 3917742 w 6785952"/>
              <a:gd name="connsiteY23949" fmla="*/ 328335 h 5217112"/>
              <a:gd name="connsiteX23950" fmla="*/ 3923785 w 6785952"/>
              <a:gd name="connsiteY23950" fmla="*/ 324957 h 5217112"/>
              <a:gd name="connsiteX23951" fmla="*/ 4239409 w 6785952"/>
              <a:gd name="connsiteY23951" fmla="*/ 323432 h 5217112"/>
              <a:gd name="connsiteX23952" fmla="*/ 4239135 w 6785952"/>
              <a:gd name="connsiteY23952" fmla="*/ 333021 h 5217112"/>
              <a:gd name="connsiteX23953" fmla="*/ 4235289 w 6785952"/>
              <a:gd name="connsiteY23953" fmla="*/ 335855 h 5217112"/>
              <a:gd name="connsiteX23954" fmla="*/ 4234190 w 6785952"/>
              <a:gd name="connsiteY23954" fmla="*/ 333348 h 5217112"/>
              <a:gd name="connsiteX23955" fmla="*/ 4234190 w 6785952"/>
              <a:gd name="connsiteY23955" fmla="*/ 331604 h 5217112"/>
              <a:gd name="connsiteX23956" fmla="*/ 4236388 w 6785952"/>
              <a:gd name="connsiteY23956" fmla="*/ 329208 h 5217112"/>
              <a:gd name="connsiteX23957" fmla="*/ 4236663 w 6785952"/>
              <a:gd name="connsiteY23957" fmla="*/ 324412 h 5217112"/>
              <a:gd name="connsiteX23958" fmla="*/ 4239409 w 6785952"/>
              <a:gd name="connsiteY23958" fmla="*/ 323432 h 5217112"/>
              <a:gd name="connsiteX23959" fmla="*/ 5425817 w 6785952"/>
              <a:gd name="connsiteY23959" fmla="*/ 322560 h 5217112"/>
              <a:gd name="connsiteX23960" fmla="*/ 5431311 w 6785952"/>
              <a:gd name="connsiteY23960" fmla="*/ 332367 h 5217112"/>
              <a:gd name="connsiteX23961" fmla="*/ 5429937 w 6785952"/>
              <a:gd name="connsiteY23961" fmla="*/ 334765 h 5217112"/>
              <a:gd name="connsiteX23962" fmla="*/ 5428838 w 6785952"/>
              <a:gd name="connsiteY23962" fmla="*/ 334765 h 5217112"/>
              <a:gd name="connsiteX23963" fmla="*/ 5425542 w 6785952"/>
              <a:gd name="connsiteY23963" fmla="*/ 333021 h 5217112"/>
              <a:gd name="connsiteX23964" fmla="*/ 5423344 w 6785952"/>
              <a:gd name="connsiteY23964" fmla="*/ 328880 h 5217112"/>
              <a:gd name="connsiteX23965" fmla="*/ 5423344 w 6785952"/>
              <a:gd name="connsiteY23965" fmla="*/ 324848 h 5217112"/>
              <a:gd name="connsiteX23966" fmla="*/ 5425817 w 6785952"/>
              <a:gd name="connsiteY23966" fmla="*/ 322560 h 5217112"/>
              <a:gd name="connsiteX23967" fmla="*/ 3975978 w 6785952"/>
              <a:gd name="connsiteY23967" fmla="*/ 322233 h 5217112"/>
              <a:gd name="connsiteX23968" fmla="*/ 3985591 w 6785952"/>
              <a:gd name="connsiteY23968" fmla="*/ 322560 h 5217112"/>
              <a:gd name="connsiteX23969" fmla="*/ 3994931 w 6785952"/>
              <a:gd name="connsiteY23969" fmla="*/ 346316 h 5217112"/>
              <a:gd name="connsiteX23970" fmla="*/ 3993009 w 6785952"/>
              <a:gd name="connsiteY23970" fmla="*/ 350021 h 5217112"/>
              <a:gd name="connsiteX23971" fmla="*/ 3991635 w 6785952"/>
              <a:gd name="connsiteY23971" fmla="*/ 356668 h 5217112"/>
              <a:gd name="connsiteX23972" fmla="*/ 3979273 w 6785952"/>
              <a:gd name="connsiteY23972" fmla="*/ 357322 h 5217112"/>
              <a:gd name="connsiteX23973" fmla="*/ 3973230 w 6785952"/>
              <a:gd name="connsiteY23973" fmla="*/ 355906 h 5217112"/>
              <a:gd name="connsiteX23974" fmla="*/ 3961968 w 6785952"/>
              <a:gd name="connsiteY23974" fmla="*/ 345880 h 5217112"/>
              <a:gd name="connsiteX23975" fmla="*/ 3963066 w 6785952"/>
              <a:gd name="connsiteY23975" fmla="*/ 333784 h 5217112"/>
              <a:gd name="connsiteX23976" fmla="*/ 3975978 w 6785952"/>
              <a:gd name="connsiteY23976" fmla="*/ 322233 h 5217112"/>
              <a:gd name="connsiteX23977" fmla="*/ 4333355 w 6785952"/>
              <a:gd name="connsiteY23977" fmla="*/ 317874 h 5217112"/>
              <a:gd name="connsiteX23978" fmla="*/ 4331982 w 6785952"/>
              <a:gd name="connsiteY23978" fmla="*/ 318310 h 5217112"/>
              <a:gd name="connsiteX23979" fmla="*/ 4333629 w 6785952"/>
              <a:gd name="connsiteY23979" fmla="*/ 319182 h 5217112"/>
              <a:gd name="connsiteX23980" fmla="*/ 4314951 w 6785952"/>
              <a:gd name="connsiteY23980" fmla="*/ 329098 h 5217112"/>
              <a:gd name="connsiteX23981" fmla="*/ 4314676 w 6785952"/>
              <a:gd name="connsiteY23981" fmla="*/ 327681 h 5217112"/>
              <a:gd name="connsiteX23982" fmla="*/ 4327861 w 6785952"/>
              <a:gd name="connsiteY23982" fmla="*/ 319182 h 5217112"/>
              <a:gd name="connsiteX23983" fmla="*/ 4333355 w 6785952"/>
              <a:gd name="connsiteY23983" fmla="*/ 317874 h 5217112"/>
              <a:gd name="connsiteX23984" fmla="*/ 5441749 w 6785952"/>
              <a:gd name="connsiteY23984" fmla="*/ 316893 h 5217112"/>
              <a:gd name="connsiteX23985" fmla="*/ 5445595 w 6785952"/>
              <a:gd name="connsiteY23985" fmla="*/ 317874 h 5217112"/>
              <a:gd name="connsiteX23986" fmla="*/ 5442573 w 6785952"/>
              <a:gd name="connsiteY23986" fmla="*/ 323541 h 5217112"/>
              <a:gd name="connsiteX23987" fmla="*/ 5440101 w 6785952"/>
              <a:gd name="connsiteY23987" fmla="*/ 321470 h 5217112"/>
              <a:gd name="connsiteX23988" fmla="*/ 5439826 w 6785952"/>
              <a:gd name="connsiteY23988" fmla="*/ 318637 h 5217112"/>
              <a:gd name="connsiteX23989" fmla="*/ 5441749 w 6785952"/>
              <a:gd name="connsiteY23989" fmla="*/ 316893 h 5217112"/>
              <a:gd name="connsiteX23990" fmla="*/ 3606238 w 6785952"/>
              <a:gd name="connsiteY23990" fmla="*/ 315150 h 5217112"/>
              <a:gd name="connsiteX23991" fmla="*/ 3634257 w 6785952"/>
              <a:gd name="connsiteY23991" fmla="*/ 324086 h 5217112"/>
              <a:gd name="connsiteX23992" fmla="*/ 3636180 w 6785952"/>
              <a:gd name="connsiteY23992" fmla="*/ 325175 h 5217112"/>
              <a:gd name="connsiteX23993" fmla="*/ 3635630 w 6785952"/>
              <a:gd name="connsiteY23993" fmla="*/ 320707 h 5217112"/>
              <a:gd name="connsiteX23994" fmla="*/ 3638652 w 6785952"/>
              <a:gd name="connsiteY23994" fmla="*/ 320380 h 5217112"/>
              <a:gd name="connsiteX23995" fmla="*/ 3638927 w 6785952"/>
              <a:gd name="connsiteY23995" fmla="*/ 325175 h 5217112"/>
              <a:gd name="connsiteX23996" fmla="*/ 3637827 w 6785952"/>
              <a:gd name="connsiteY23996" fmla="*/ 326156 h 5217112"/>
              <a:gd name="connsiteX23997" fmla="*/ 3653211 w 6785952"/>
              <a:gd name="connsiteY23997" fmla="*/ 334656 h 5217112"/>
              <a:gd name="connsiteX23998" fmla="*/ 3661452 w 6785952"/>
              <a:gd name="connsiteY23998" fmla="*/ 352309 h 5217112"/>
              <a:gd name="connsiteX23999" fmla="*/ 3662001 w 6785952"/>
              <a:gd name="connsiteY23999" fmla="*/ 355688 h 5217112"/>
              <a:gd name="connsiteX24000" fmla="*/ 3665297 w 6785952"/>
              <a:gd name="connsiteY24000" fmla="*/ 357976 h 5217112"/>
              <a:gd name="connsiteX24001" fmla="*/ 3666122 w 6785952"/>
              <a:gd name="connsiteY24001" fmla="*/ 363534 h 5217112"/>
              <a:gd name="connsiteX24002" fmla="*/ 3667220 w 6785952"/>
              <a:gd name="connsiteY24002" fmla="*/ 362770 h 5217112"/>
              <a:gd name="connsiteX24003" fmla="*/ 3672714 w 6785952"/>
              <a:gd name="connsiteY24003" fmla="*/ 362662 h 5217112"/>
              <a:gd name="connsiteX24004" fmla="*/ 3672714 w 6785952"/>
              <a:gd name="connsiteY24004" fmla="*/ 377482 h 5217112"/>
              <a:gd name="connsiteX24005" fmla="*/ 3669967 w 6785952"/>
              <a:gd name="connsiteY24005" fmla="*/ 380316 h 5217112"/>
              <a:gd name="connsiteX24006" fmla="*/ 3668868 w 6785952"/>
              <a:gd name="connsiteY24006" fmla="*/ 383912 h 5217112"/>
              <a:gd name="connsiteX24007" fmla="*/ 3648815 w 6785952"/>
              <a:gd name="connsiteY24007" fmla="*/ 428264 h 5217112"/>
              <a:gd name="connsiteX24008" fmla="*/ 3645245 w 6785952"/>
              <a:gd name="connsiteY24008" fmla="*/ 425321 h 5217112"/>
              <a:gd name="connsiteX24009" fmla="*/ 3638927 w 6785952"/>
              <a:gd name="connsiteY24009" fmla="*/ 432405 h 5217112"/>
              <a:gd name="connsiteX24010" fmla="*/ 3633433 w 6785952"/>
              <a:gd name="connsiteY24010" fmla="*/ 432841 h 5217112"/>
              <a:gd name="connsiteX24011" fmla="*/ 3633708 w 6785952"/>
              <a:gd name="connsiteY24011" fmla="*/ 433167 h 5217112"/>
              <a:gd name="connsiteX24012" fmla="*/ 3632334 w 6785952"/>
              <a:gd name="connsiteY24012" fmla="*/ 446135 h 5217112"/>
              <a:gd name="connsiteX24013" fmla="*/ 3627389 w 6785952"/>
              <a:gd name="connsiteY24013" fmla="*/ 434693 h 5217112"/>
              <a:gd name="connsiteX24014" fmla="*/ 3618050 w 6785952"/>
              <a:gd name="connsiteY24014" fmla="*/ 437744 h 5217112"/>
              <a:gd name="connsiteX24015" fmla="*/ 3586735 w 6785952"/>
              <a:gd name="connsiteY24015" fmla="*/ 456706 h 5217112"/>
              <a:gd name="connsiteX24016" fmla="*/ 3555419 w 6785952"/>
              <a:gd name="connsiteY24016" fmla="*/ 485366 h 5217112"/>
              <a:gd name="connsiteX24017" fmla="*/ 3555694 w 6785952"/>
              <a:gd name="connsiteY24017" fmla="*/ 488744 h 5217112"/>
              <a:gd name="connsiteX24018" fmla="*/ 3552398 w 6785952"/>
              <a:gd name="connsiteY24018" fmla="*/ 489071 h 5217112"/>
              <a:gd name="connsiteX24019" fmla="*/ 3548827 w 6785952"/>
              <a:gd name="connsiteY24019" fmla="*/ 489289 h 5217112"/>
              <a:gd name="connsiteX24020" fmla="*/ 3508447 w 6785952"/>
              <a:gd name="connsiteY24020" fmla="*/ 496263 h 5217112"/>
              <a:gd name="connsiteX24021" fmla="*/ 3497184 w 6785952"/>
              <a:gd name="connsiteY24021" fmla="*/ 487436 h 5217112"/>
              <a:gd name="connsiteX24022" fmla="*/ 3493613 w 6785952"/>
              <a:gd name="connsiteY24022" fmla="*/ 484603 h 5217112"/>
              <a:gd name="connsiteX24023" fmla="*/ 3466968 w 6785952"/>
              <a:gd name="connsiteY24023" fmla="*/ 461064 h 5217112"/>
              <a:gd name="connsiteX24024" fmla="*/ 3463396 w 6785952"/>
              <a:gd name="connsiteY24024" fmla="*/ 458231 h 5217112"/>
              <a:gd name="connsiteX24025" fmla="*/ 3465320 w 6785952"/>
              <a:gd name="connsiteY24025" fmla="*/ 444936 h 5217112"/>
              <a:gd name="connsiteX24026" fmla="*/ 3460375 w 6785952"/>
              <a:gd name="connsiteY24026" fmla="*/ 429244 h 5217112"/>
              <a:gd name="connsiteX24027" fmla="*/ 3463122 w 6785952"/>
              <a:gd name="connsiteY24027" fmla="*/ 422488 h 5217112"/>
              <a:gd name="connsiteX24028" fmla="*/ 3490866 w 6785952"/>
              <a:gd name="connsiteY24028" fmla="*/ 393937 h 5217112"/>
              <a:gd name="connsiteX24029" fmla="*/ 3487570 w 6785952"/>
              <a:gd name="connsiteY24029" fmla="*/ 394264 h 5217112"/>
              <a:gd name="connsiteX24030" fmla="*/ 3503228 w 6785952"/>
              <a:gd name="connsiteY24030" fmla="*/ 379771 h 5217112"/>
              <a:gd name="connsiteX24031" fmla="*/ 3517237 w 6785952"/>
              <a:gd name="connsiteY24031" fmla="*/ 381732 h 5217112"/>
              <a:gd name="connsiteX24032" fmla="*/ 3531246 w 6785952"/>
              <a:gd name="connsiteY24032" fmla="*/ 351329 h 5217112"/>
              <a:gd name="connsiteX24033" fmla="*/ 3530697 w 6785952"/>
              <a:gd name="connsiteY24033" fmla="*/ 348060 h 5217112"/>
              <a:gd name="connsiteX24034" fmla="*/ 3537290 w 6785952"/>
              <a:gd name="connsiteY24034" fmla="*/ 344246 h 5217112"/>
              <a:gd name="connsiteX24035" fmla="*/ 3533993 w 6785952"/>
              <a:gd name="connsiteY24035" fmla="*/ 344572 h 5217112"/>
              <a:gd name="connsiteX24036" fmla="*/ 3552947 w 6785952"/>
              <a:gd name="connsiteY24036" fmla="*/ 329861 h 5217112"/>
              <a:gd name="connsiteX24037" fmla="*/ 3567780 w 6785952"/>
              <a:gd name="connsiteY24037" fmla="*/ 321252 h 5217112"/>
              <a:gd name="connsiteX24038" fmla="*/ 3606238 w 6785952"/>
              <a:gd name="connsiteY24038" fmla="*/ 315150 h 5217112"/>
              <a:gd name="connsiteX24039" fmla="*/ 1787209 w 6785952"/>
              <a:gd name="connsiteY24039" fmla="*/ 315041 h 5217112"/>
              <a:gd name="connsiteX24040" fmla="*/ 1792703 w 6785952"/>
              <a:gd name="connsiteY24040" fmla="*/ 325066 h 5217112"/>
              <a:gd name="connsiteX24041" fmla="*/ 1791329 w 6785952"/>
              <a:gd name="connsiteY24041" fmla="*/ 327464 h 5217112"/>
              <a:gd name="connsiteX24042" fmla="*/ 1790230 w 6785952"/>
              <a:gd name="connsiteY24042" fmla="*/ 327355 h 5217112"/>
              <a:gd name="connsiteX24043" fmla="*/ 1786934 w 6785952"/>
              <a:gd name="connsiteY24043" fmla="*/ 325720 h 5217112"/>
              <a:gd name="connsiteX24044" fmla="*/ 1784462 w 6785952"/>
              <a:gd name="connsiteY24044" fmla="*/ 321470 h 5217112"/>
              <a:gd name="connsiteX24045" fmla="*/ 1784736 w 6785952"/>
              <a:gd name="connsiteY24045" fmla="*/ 317438 h 5217112"/>
              <a:gd name="connsiteX24046" fmla="*/ 1787209 w 6785952"/>
              <a:gd name="connsiteY24046" fmla="*/ 315041 h 5217112"/>
              <a:gd name="connsiteX24047" fmla="*/ 4564923 w 6785952"/>
              <a:gd name="connsiteY24047" fmla="*/ 311553 h 5217112"/>
              <a:gd name="connsiteX24048" fmla="*/ 4563824 w 6785952"/>
              <a:gd name="connsiteY24048" fmla="*/ 331169 h 5217112"/>
              <a:gd name="connsiteX24049" fmla="*/ 4552287 w 6785952"/>
              <a:gd name="connsiteY24049" fmla="*/ 323650 h 5217112"/>
              <a:gd name="connsiteX24050" fmla="*/ 4564923 w 6785952"/>
              <a:gd name="connsiteY24050" fmla="*/ 311553 h 5217112"/>
              <a:gd name="connsiteX24051" fmla="*/ 2544542 w 6785952"/>
              <a:gd name="connsiteY24051" fmla="*/ 311227 h 5217112"/>
              <a:gd name="connsiteX24052" fmla="*/ 2543718 w 6785952"/>
              <a:gd name="connsiteY24052" fmla="*/ 351438 h 5217112"/>
              <a:gd name="connsiteX24053" fmla="*/ 2537675 w 6785952"/>
              <a:gd name="connsiteY24053" fmla="*/ 317983 h 5217112"/>
              <a:gd name="connsiteX24054" fmla="*/ 2544542 w 6785952"/>
              <a:gd name="connsiteY24054" fmla="*/ 311227 h 5217112"/>
              <a:gd name="connsiteX24055" fmla="*/ 3894393 w 6785952"/>
              <a:gd name="connsiteY24055" fmla="*/ 309919 h 5217112"/>
              <a:gd name="connsiteX24056" fmla="*/ 3899337 w 6785952"/>
              <a:gd name="connsiteY24056" fmla="*/ 323758 h 5217112"/>
              <a:gd name="connsiteX24057" fmla="*/ 3896316 w 6785952"/>
              <a:gd name="connsiteY24057" fmla="*/ 324521 h 5217112"/>
              <a:gd name="connsiteX24058" fmla="*/ 3892470 w 6785952"/>
              <a:gd name="connsiteY24058" fmla="*/ 323323 h 5217112"/>
              <a:gd name="connsiteX24059" fmla="*/ 3894393 w 6785952"/>
              <a:gd name="connsiteY24059" fmla="*/ 309919 h 5217112"/>
              <a:gd name="connsiteX24060" fmla="*/ 1803142 w 6785952"/>
              <a:gd name="connsiteY24060" fmla="*/ 309592 h 5217112"/>
              <a:gd name="connsiteX24061" fmla="*/ 1806986 w 6785952"/>
              <a:gd name="connsiteY24061" fmla="*/ 310573 h 5217112"/>
              <a:gd name="connsiteX24062" fmla="*/ 1803965 w 6785952"/>
              <a:gd name="connsiteY24062" fmla="*/ 316130 h 5217112"/>
              <a:gd name="connsiteX24063" fmla="*/ 1801493 w 6785952"/>
              <a:gd name="connsiteY24063" fmla="*/ 314060 h 5217112"/>
              <a:gd name="connsiteX24064" fmla="*/ 1800943 w 6785952"/>
              <a:gd name="connsiteY24064" fmla="*/ 311227 h 5217112"/>
              <a:gd name="connsiteX24065" fmla="*/ 1803142 w 6785952"/>
              <a:gd name="connsiteY24065" fmla="*/ 309592 h 5217112"/>
              <a:gd name="connsiteX24066" fmla="*/ 3032400 w 6785952"/>
              <a:gd name="connsiteY24066" fmla="*/ 308938 h 5217112"/>
              <a:gd name="connsiteX24067" fmla="*/ 3034597 w 6785952"/>
              <a:gd name="connsiteY24067" fmla="*/ 311227 h 5217112"/>
              <a:gd name="connsiteX24068" fmla="*/ 3029928 w 6785952"/>
              <a:gd name="connsiteY24068" fmla="*/ 317438 h 5217112"/>
              <a:gd name="connsiteX24069" fmla="*/ 3030478 w 6785952"/>
              <a:gd name="connsiteY24069" fmla="*/ 318746 h 5217112"/>
              <a:gd name="connsiteX24070" fmla="*/ 3034048 w 6785952"/>
              <a:gd name="connsiteY24070" fmla="*/ 320598 h 5217112"/>
              <a:gd name="connsiteX24071" fmla="*/ 3037345 w 6785952"/>
              <a:gd name="connsiteY24071" fmla="*/ 334438 h 5217112"/>
              <a:gd name="connsiteX24072" fmla="*/ 3023335 w 6785952"/>
              <a:gd name="connsiteY24072" fmla="*/ 344028 h 5217112"/>
              <a:gd name="connsiteX24073" fmla="*/ 3015369 w 6785952"/>
              <a:gd name="connsiteY24073" fmla="*/ 342502 h 5217112"/>
              <a:gd name="connsiteX24074" fmla="*/ 3012073 w 6785952"/>
              <a:gd name="connsiteY24074" fmla="*/ 336290 h 5217112"/>
              <a:gd name="connsiteX24075" fmla="*/ 3012347 w 6785952"/>
              <a:gd name="connsiteY24075" fmla="*/ 325393 h 5217112"/>
              <a:gd name="connsiteX24076" fmla="*/ 3026906 w 6785952"/>
              <a:gd name="connsiteY24076" fmla="*/ 317003 h 5217112"/>
              <a:gd name="connsiteX24077" fmla="*/ 3027456 w 6785952"/>
              <a:gd name="connsiteY24077" fmla="*/ 313733 h 5217112"/>
              <a:gd name="connsiteX24078" fmla="*/ 3032400 w 6785952"/>
              <a:gd name="connsiteY24078" fmla="*/ 308938 h 5217112"/>
              <a:gd name="connsiteX24079" fmla="*/ 4259737 w 6785952"/>
              <a:gd name="connsiteY24079" fmla="*/ 308503 h 5217112"/>
              <a:gd name="connsiteX24080" fmla="*/ 4260286 w 6785952"/>
              <a:gd name="connsiteY24080" fmla="*/ 315912 h 5217112"/>
              <a:gd name="connsiteX24081" fmla="*/ 4252595 w 6785952"/>
              <a:gd name="connsiteY24081" fmla="*/ 325720 h 5217112"/>
              <a:gd name="connsiteX24082" fmla="*/ 4249024 w 6785952"/>
              <a:gd name="connsiteY24082" fmla="*/ 324740 h 5217112"/>
              <a:gd name="connsiteX24083" fmla="*/ 4247651 w 6785952"/>
              <a:gd name="connsiteY24083" fmla="*/ 319073 h 5217112"/>
              <a:gd name="connsiteX24084" fmla="*/ 4256166 w 6785952"/>
              <a:gd name="connsiteY24084" fmla="*/ 308829 h 5217112"/>
              <a:gd name="connsiteX24085" fmla="*/ 4259737 w 6785952"/>
              <a:gd name="connsiteY24085" fmla="*/ 308503 h 5217112"/>
              <a:gd name="connsiteX24086" fmla="*/ 5751605 w 6785952"/>
              <a:gd name="connsiteY24086" fmla="*/ 306214 h 5217112"/>
              <a:gd name="connsiteX24087" fmla="*/ 5769735 w 6785952"/>
              <a:gd name="connsiteY24087" fmla="*/ 331713 h 5217112"/>
              <a:gd name="connsiteX24088" fmla="*/ 5761493 w 6785952"/>
              <a:gd name="connsiteY24088" fmla="*/ 336509 h 5217112"/>
              <a:gd name="connsiteX24089" fmla="*/ 5749956 w 6785952"/>
              <a:gd name="connsiteY24089" fmla="*/ 334220 h 5217112"/>
              <a:gd name="connsiteX24090" fmla="*/ 5740892 w 6785952"/>
              <a:gd name="connsiteY24090" fmla="*/ 325720 h 5217112"/>
              <a:gd name="connsiteX24091" fmla="*/ 5740342 w 6785952"/>
              <a:gd name="connsiteY24091" fmla="*/ 306650 h 5217112"/>
              <a:gd name="connsiteX24092" fmla="*/ 5751605 w 6785952"/>
              <a:gd name="connsiteY24092" fmla="*/ 306214 h 5217112"/>
              <a:gd name="connsiteX24093" fmla="*/ 2635603 w 6785952"/>
              <a:gd name="connsiteY24093" fmla="*/ 305001 h 5217112"/>
              <a:gd name="connsiteX24094" fmla="*/ 2651673 w 6785952"/>
              <a:gd name="connsiteY24094" fmla="*/ 310682 h 5217112"/>
              <a:gd name="connsiteX24095" fmla="*/ 2665958 w 6785952"/>
              <a:gd name="connsiteY24095" fmla="*/ 335746 h 5217112"/>
              <a:gd name="connsiteX24096" fmla="*/ 2622006 w 6785952"/>
              <a:gd name="connsiteY24096" fmla="*/ 306759 h 5217112"/>
              <a:gd name="connsiteX24097" fmla="*/ 2635603 w 6785952"/>
              <a:gd name="connsiteY24097" fmla="*/ 305001 h 5217112"/>
              <a:gd name="connsiteX24098" fmla="*/ 4945375 w 6785952"/>
              <a:gd name="connsiteY24098" fmla="*/ 304580 h 5217112"/>
              <a:gd name="connsiteX24099" fmla="*/ 4958286 w 6785952"/>
              <a:gd name="connsiteY24099" fmla="*/ 305669 h 5217112"/>
              <a:gd name="connsiteX24100" fmla="*/ 4956638 w 6785952"/>
              <a:gd name="connsiteY24100" fmla="*/ 314496 h 5217112"/>
              <a:gd name="connsiteX24101" fmla="*/ 4945375 w 6785952"/>
              <a:gd name="connsiteY24101" fmla="*/ 304580 h 5217112"/>
              <a:gd name="connsiteX24102" fmla="*/ 5916422 w 6785952"/>
              <a:gd name="connsiteY24102" fmla="*/ 304361 h 5217112"/>
              <a:gd name="connsiteX24103" fmla="*/ 5875217 w 6785952"/>
              <a:gd name="connsiteY24103" fmla="*/ 326047 h 5217112"/>
              <a:gd name="connsiteX24104" fmla="*/ 5916422 w 6785952"/>
              <a:gd name="connsiteY24104" fmla="*/ 304361 h 5217112"/>
              <a:gd name="connsiteX24105" fmla="*/ 3999052 w 6785952"/>
              <a:gd name="connsiteY24105" fmla="*/ 304252 h 5217112"/>
              <a:gd name="connsiteX24106" fmla="*/ 4005919 w 6785952"/>
              <a:gd name="connsiteY24106" fmla="*/ 319944 h 5217112"/>
              <a:gd name="connsiteX24107" fmla="*/ 4000974 w 6785952"/>
              <a:gd name="connsiteY24107" fmla="*/ 320817 h 5217112"/>
              <a:gd name="connsiteX24108" fmla="*/ 3995755 w 6785952"/>
              <a:gd name="connsiteY24108" fmla="*/ 320707 h 5217112"/>
              <a:gd name="connsiteX24109" fmla="*/ 3993283 w 6785952"/>
              <a:gd name="connsiteY24109" fmla="*/ 316893 h 5217112"/>
              <a:gd name="connsiteX24110" fmla="*/ 3991360 w 6785952"/>
              <a:gd name="connsiteY24110" fmla="*/ 314278 h 5217112"/>
              <a:gd name="connsiteX24111" fmla="*/ 3992459 w 6785952"/>
              <a:gd name="connsiteY24111" fmla="*/ 308175 h 5217112"/>
              <a:gd name="connsiteX24112" fmla="*/ 3991085 w 6785952"/>
              <a:gd name="connsiteY24112" fmla="*/ 308612 h 5217112"/>
              <a:gd name="connsiteX24113" fmla="*/ 3999052 w 6785952"/>
              <a:gd name="connsiteY24113" fmla="*/ 304252 h 5217112"/>
              <a:gd name="connsiteX24114" fmla="*/ 5160187 w 6785952"/>
              <a:gd name="connsiteY24114" fmla="*/ 304035 h 5217112"/>
              <a:gd name="connsiteX24115" fmla="*/ 5164307 w 6785952"/>
              <a:gd name="connsiteY24115" fmla="*/ 310899 h 5217112"/>
              <a:gd name="connsiteX24116" fmla="*/ 5158538 w 6785952"/>
              <a:gd name="connsiteY24116" fmla="*/ 312971 h 5217112"/>
              <a:gd name="connsiteX24117" fmla="*/ 5160187 w 6785952"/>
              <a:gd name="connsiteY24117" fmla="*/ 304035 h 5217112"/>
              <a:gd name="connsiteX24118" fmla="*/ 3531796 w 6785952"/>
              <a:gd name="connsiteY24118" fmla="*/ 303381 h 5217112"/>
              <a:gd name="connsiteX24119" fmla="*/ 3532345 w 6785952"/>
              <a:gd name="connsiteY24119" fmla="*/ 314932 h 5217112"/>
              <a:gd name="connsiteX24120" fmla="*/ 3520259 w 6785952"/>
              <a:gd name="connsiteY24120" fmla="*/ 312861 h 5217112"/>
              <a:gd name="connsiteX24121" fmla="*/ 3520533 w 6785952"/>
              <a:gd name="connsiteY24121" fmla="*/ 304580 h 5217112"/>
              <a:gd name="connsiteX24122" fmla="*/ 3531796 w 6785952"/>
              <a:gd name="connsiteY24122" fmla="*/ 303381 h 5217112"/>
              <a:gd name="connsiteX24123" fmla="*/ 4330608 w 6785952"/>
              <a:gd name="connsiteY24123" fmla="*/ 302182 h 5217112"/>
              <a:gd name="connsiteX24124" fmla="*/ 4331982 w 6785952"/>
              <a:gd name="connsiteY24124" fmla="*/ 307849 h 5217112"/>
              <a:gd name="connsiteX24125" fmla="*/ 4329235 w 6785952"/>
              <a:gd name="connsiteY24125" fmla="*/ 308829 h 5217112"/>
              <a:gd name="connsiteX24126" fmla="*/ 4310281 w 6785952"/>
              <a:gd name="connsiteY24126" fmla="*/ 323541 h 5217112"/>
              <a:gd name="connsiteX24127" fmla="*/ 4330608 w 6785952"/>
              <a:gd name="connsiteY24127" fmla="*/ 302182 h 5217112"/>
              <a:gd name="connsiteX24128" fmla="*/ 5453287 w 6785952"/>
              <a:gd name="connsiteY24128" fmla="*/ 301528 h 5217112"/>
              <a:gd name="connsiteX24129" fmla="*/ 5457406 w 6785952"/>
              <a:gd name="connsiteY24129" fmla="*/ 306105 h 5217112"/>
              <a:gd name="connsiteX24130" fmla="*/ 5458231 w 6785952"/>
              <a:gd name="connsiteY24130" fmla="*/ 308938 h 5217112"/>
              <a:gd name="connsiteX24131" fmla="*/ 5446693 w 6785952"/>
              <a:gd name="connsiteY24131" fmla="*/ 316130 h 5217112"/>
              <a:gd name="connsiteX24132" fmla="*/ 5439551 w 6785952"/>
              <a:gd name="connsiteY24132" fmla="*/ 309919 h 5217112"/>
              <a:gd name="connsiteX24133" fmla="*/ 5439826 w 6785952"/>
              <a:gd name="connsiteY24133" fmla="*/ 306541 h 5217112"/>
              <a:gd name="connsiteX24134" fmla="*/ 5442024 w 6785952"/>
              <a:gd name="connsiteY24134" fmla="*/ 304144 h 5217112"/>
              <a:gd name="connsiteX24135" fmla="*/ 5445045 w 6785952"/>
              <a:gd name="connsiteY24135" fmla="*/ 301964 h 5217112"/>
              <a:gd name="connsiteX24136" fmla="*/ 5453287 w 6785952"/>
              <a:gd name="connsiteY24136" fmla="*/ 301528 h 5217112"/>
              <a:gd name="connsiteX24137" fmla="*/ 3644146 w 6785952"/>
              <a:gd name="connsiteY24137" fmla="*/ 301092 h 5217112"/>
              <a:gd name="connsiteX24138" fmla="*/ 3635630 w 6785952"/>
              <a:gd name="connsiteY24138" fmla="*/ 318201 h 5217112"/>
              <a:gd name="connsiteX24139" fmla="*/ 3634257 w 6785952"/>
              <a:gd name="connsiteY24139" fmla="*/ 305342 h 5217112"/>
              <a:gd name="connsiteX24140" fmla="*/ 3637827 w 6785952"/>
              <a:gd name="connsiteY24140" fmla="*/ 302073 h 5217112"/>
              <a:gd name="connsiteX24141" fmla="*/ 3644146 w 6785952"/>
              <a:gd name="connsiteY24141" fmla="*/ 301092 h 5217112"/>
              <a:gd name="connsiteX24142" fmla="*/ 3816929 w 6785952"/>
              <a:gd name="connsiteY24142" fmla="*/ 299784 h 5217112"/>
              <a:gd name="connsiteX24143" fmla="*/ 3847145 w 6785952"/>
              <a:gd name="connsiteY24143" fmla="*/ 329425 h 5217112"/>
              <a:gd name="connsiteX24144" fmla="*/ 3842750 w 6785952"/>
              <a:gd name="connsiteY24144" fmla="*/ 332149 h 5217112"/>
              <a:gd name="connsiteX24145" fmla="*/ 3843574 w 6785952"/>
              <a:gd name="connsiteY24145" fmla="*/ 334438 h 5217112"/>
              <a:gd name="connsiteX24146" fmla="*/ 3839454 w 6785952"/>
              <a:gd name="connsiteY24146" fmla="*/ 336072 h 5217112"/>
              <a:gd name="connsiteX24147" fmla="*/ 3836707 w 6785952"/>
              <a:gd name="connsiteY24147" fmla="*/ 335964 h 5217112"/>
              <a:gd name="connsiteX24148" fmla="*/ 3836432 w 6785952"/>
              <a:gd name="connsiteY24148" fmla="*/ 336072 h 5217112"/>
              <a:gd name="connsiteX24149" fmla="*/ 3814731 w 6785952"/>
              <a:gd name="connsiteY24149" fmla="*/ 345335 h 5217112"/>
              <a:gd name="connsiteX24150" fmla="*/ 3804018 w 6785952"/>
              <a:gd name="connsiteY24150" fmla="*/ 339887 h 5217112"/>
              <a:gd name="connsiteX24151" fmla="*/ 3772428 w 6785952"/>
              <a:gd name="connsiteY24151" fmla="*/ 362335 h 5217112"/>
              <a:gd name="connsiteX24152" fmla="*/ 3752925 w 6785952"/>
              <a:gd name="connsiteY24152" fmla="*/ 338034 h 5217112"/>
              <a:gd name="connsiteX24153" fmla="*/ 3774076 w 6785952"/>
              <a:gd name="connsiteY24153" fmla="*/ 313406 h 5217112"/>
              <a:gd name="connsiteX24154" fmla="*/ 3794953 w 6785952"/>
              <a:gd name="connsiteY24154" fmla="*/ 317983 h 5217112"/>
              <a:gd name="connsiteX24155" fmla="*/ 3816929 w 6785952"/>
              <a:gd name="connsiteY24155" fmla="*/ 299784 h 5217112"/>
              <a:gd name="connsiteX24156" fmla="*/ 1306767 w 6785952"/>
              <a:gd name="connsiteY24156" fmla="*/ 297169 h 5217112"/>
              <a:gd name="connsiteX24157" fmla="*/ 1319679 w 6785952"/>
              <a:gd name="connsiteY24157" fmla="*/ 298259 h 5217112"/>
              <a:gd name="connsiteX24158" fmla="*/ 1318030 w 6785952"/>
              <a:gd name="connsiteY24158" fmla="*/ 307195 h 5217112"/>
              <a:gd name="connsiteX24159" fmla="*/ 1306767 w 6785952"/>
              <a:gd name="connsiteY24159" fmla="*/ 297169 h 5217112"/>
              <a:gd name="connsiteX24160" fmla="*/ 2277813 w 6785952"/>
              <a:gd name="connsiteY24160" fmla="*/ 296951 h 5217112"/>
              <a:gd name="connsiteX24161" fmla="*/ 2236609 w 6785952"/>
              <a:gd name="connsiteY24161" fmla="*/ 318637 h 5217112"/>
              <a:gd name="connsiteX24162" fmla="*/ 2277813 w 6785952"/>
              <a:gd name="connsiteY24162" fmla="*/ 296951 h 5217112"/>
              <a:gd name="connsiteX24163" fmla="*/ 1521579 w 6785952"/>
              <a:gd name="connsiteY24163" fmla="*/ 296733 h 5217112"/>
              <a:gd name="connsiteX24164" fmla="*/ 1525699 w 6785952"/>
              <a:gd name="connsiteY24164" fmla="*/ 303599 h 5217112"/>
              <a:gd name="connsiteX24165" fmla="*/ 1519931 w 6785952"/>
              <a:gd name="connsiteY24165" fmla="*/ 305669 h 5217112"/>
              <a:gd name="connsiteX24166" fmla="*/ 1521579 w 6785952"/>
              <a:gd name="connsiteY24166" fmla="*/ 296733 h 5217112"/>
              <a:gd name="connsiteX24167" fmla="*/ 2615963 w 6785952"/>
              <a:gd name="connsiteY24167" fmla="*/ 296298 h 5217112"/>
              <a:gd name="connsiteX24168" fmla="*/ 2618710 w 6785952"/>
              <a:gd name="connsiteY24168" fmla="*/ 297060 h 5217112"/>
              <a:gd name="connsiteX24169" fmla="*/ 2620907 w 6785952"/>
              <a:gd name="connsiteY24169" fmla="*/ 299131 h 5217112"/>
              <a:gd name="connsiteX24170" fmla="*/ 2615963 w 6785952"/>
              <a:gd name="connsiteY24170" fmla="*/ 302400 h 5217112"/>
              <a:gd name="connsiteX24171" fmla="*/ 2615139 w 6785952"/>
              <a:gd name="connsiteY24171" fmla="*/ 299784 h 5217112"/>
              <a:gd name="connsiteX24172" fmla="*/ 2613765 w 6785952"/>
              <a:gd name="connsiteY24172" fmla="*/ 300329 h 5217112"/>
              <a:gd name="connsiteX24173" fmla="*/ 2614315 w 6785952"/>
              <a:gd name="connsiteY24173" fmla="*/ 297169 h 5217112"/>
              <a:gd name="connsiteX24174" fmla="*/ 2615963 w 6785952"/>
              <a:gd name="connsiteY24174" fmla="*/ 296733 h 5217112"/>
              <a:gd name="connsiteX24175" fmla="*/ 2615963 w 6785952"/>
              <a:gd name="connsiteY24175" fmla="*/ 296298 h 5217112"/>
              <a:gd name="connsiteX24176" fmla="*/ 3428510 w 6785952"/>
              <a:gd name="connsiteY24176" fmla="*/ 294227 h 5217112"/>
              <a:gd name="connsiteX24177" fmla="*/ 3432631 w 6785952"/>
              <a:gd name="connsiteY24177" fmla="*/ 306323 h 5217112"/>
              <a:gd name="connsiteX24178" fmla="*/ 3424115 w 6785952"/>
              <a:gd name="connsiteY24178" fmla="*/ 308612 h 5217112"/>
              <a:gd name="connsiteX24179" fmla="*/ 3428510 w 6785952"/>
              <a:gd name="connsiteY24179" fmla="*/ 294227 h 5217112"/>
              <a:gd name="connsiteX24180" fmla="*/ 1814678 w 6785952"/>
              <a:gd name="connsiteY24180" fmla="*/ 294227 h 5217112"/>
              <a:gd name="connsiteX24181" fmla="*/ 1818799 w 6785952"/>
              <a:gd name="connsiteY24181" fmla="*/ 298804 h 5217112"/>
              <a:gd name="connsiteX24182" fmla="*/ 1819623 w 6785952"/>
              <a:gd name="connsiteY24182" fmla="*/ 301528 h 5217112"/>
              <a:gd name="connsiteX24183" fmla="*/ 1808086 w 6785952"/>
              <a:gd name="connsiteY24183" fmla="*/ 308829 h 5217112"/>
              <a:gd name="connsiteX24184" fmla="*/ 1800943 w 6785952"/>
              <a:gd name="connsiteY24184" fmla="*/ 302618 h 5217112"/>
              <a:gd name="connsiteX24185" fmla="*/ 1800943 w 6785952"/>
              <a:gd name="connsiteY24185" fmla="*/ 299131 h 5217112"/>
              <a:gd name="connsiteX24186" fmla="*/ 1803416 w 6785952"/>
              <a:gd name="connsiteY24186" fmla="*/ 296733 h 5217112"/>
              <a:gd name="connsiteX24187" fmla="*/ 1806437 w 6785952"/>
              <a:gd name="connsiteY24187" fmla="*/ 294663 h 5217112"/>
              <a:gd name="connsiteX24188" fmla="*/ 1814678 w 6785952"/>
              <a:gd name="connsiteY24188" fmla="*/ 294227 h 5217112"/>
              <a:gd name="connsiteX24189" fmla="*/ 4295447 w 6785952"/>
              <a:gd name="connsiteY24189" fmla="*/ 291067 h 5217112"/>
              <a:gd name="connsiteX24190" fmla="*/ 4303414 w 6785952"/>
              <a:gd name="connsiteY24190" fmla="*/ 293574 h 5217112"/>
              <a:gd name="connsiteX24191" fmla="*/ 4296821 w 6785952"/>
              <a:gd name="connsiteY24191" fmla="*/ 303816 h 5217112"/>
              <a:gd name="connsiteX24192" fmla="*/ 4292426 w 6785952"/>
              <a:gd name="connsiteY24192" fmla="*/ 297823 h 5217112"/>
              <a:gd name="connsiteX24193" fmla="*/ 4295447 w 6785952"/>
              <a:gd name="connsiteY24193" fmla="*/ 291067 h 5217112"/>
              <a:gd name="connsiteX24194" fmla="*/ 3365880 w 6785952"/>
              <a:gd name="connsiteY24194" fmla="*/ 286054 h 5217112"/>
              <a:gd name="connsiteX24195" fmla="*/ 3380439 w 6785952"/>
              <a:gd name="connsiteY24195" fmla="*/ 294445 h 5217112"/>
              <a:gd name="connsiteX24196" fmla="*/ 3414501 w 6785952"/>
              <a:gd name="connsiteY24196" fmla="*/ 326701 h 5217112"/>
              <a:gd name="connsiteX24197" fmla="*/ 3379889 w 6785952"/>
              <a:gd name="connsiteY24197" fmla="*/ 387943 h 5217112"/>
              <a:gd name="connsiteX24198" fmla="*/ 3359836 w 6785952"/>
              <a:gd name="connsiteY24198" fmla="*/ 392956 h 5217112"/>
              <a:gd name="connsiteX24199" fmla="*/ 3328796 w 6785952"/>
              <a:gd name="connsiteY24199" fmla="*/ 389360 h 5217112"/>
              <a:gd name="connsiteX24200" fmla="*/ 3304348 w 6785952"/>
              <a:gd name="connsiteY24200" fmla="*/ 363969 h 5217112"/>
              <a:gd name="connsiteX24201" fmla="*/ 3300777 w 6785952"/>
              <a:gd name="connsiteY24201" fmla="*/ 347732 h 5217112"/>
              <a:gd name="connsiteX24202" fmla="*/ 3293361 w 6785952"/>
              <a:gd name="connsiteY24202" fmla="*/ 351438 h 5217112"/>
              <a:gd name="connsiteX24203" fmla="*/ 3283197 w 6785952"/>
              <a:gd name="connsiteY24203" fmla="*/ 353944 h 5217112"/>
              <a:gd name="connsiteX24204" fmla="*/ 3287043 w 6785952"/>
              <a:gd name="connsiteY24204" fmla="*/ 343264 h 5217112"/>
              <a:gd name="connsiteX24205" fmla="*/ 3298030 w 6785952"/>
              <a:gd name="connsiteY24205" fmla="*/ 336726 h 5217112"/>
              <a:gd name="connsiteX24206" fmla="*/ 3299129 w 6785952"/>
              <a:gd name="connsiteY24206" fmla="*/ 331278 h 5217112"/>
              <a:gd name="connsiteX24207" fmla="*/ 3304074 w 6785952"/>
              <a:gd name="connsiteY24207" fmla="*/ 317438 h 5217112"/>
              <a:gd name="connsiteX24208" fmla="*/ 3307370 w 6785952"/>
              <a:gd name="connsiteY24208" fmla="*/ 317111 h 5217112"/>
              <a:gd name="connsiteX24209" fmla="*/ 3328247 w 6785952"/>
              <a:gd name="connsiteY24209" fmla="*/ 295099 h 5217112"/>
              <a:gd name="connsiteX24210" fmla="*/ 3365880 w 6785952"/>
              <a:gd name="connsiteY24210" fmla="*/ 286054 h 5217112"/>
              <a:gd name="connsiteX24211" fmla="*/ 2757706 w 6785952"/>
              <a:gd name="connsiteY24211" fmla="*/ 285945 h 5217112"/>
              <a:gd name="connsiteX24212" fmla="*/ 2762650 w 6785952"/>
              <a:gd name="connsiteY24212" fmla="*/ 286925 h 5217112"/>
              <a:gd name="connsiteX24213" fmla="*/ 2765397 w 6785952"/>
              <a:gd name="connsiteY24213" fmla="*/ 291938 h 5217112"/>
              <a:gd name="connsiteX24214" fmla="*/ 2754959 w 6785952"/>
              <a:gd name="connsiteY24214" fmla="*/ 298695 h 5217112"/>
              <a:gd name="connsiteX24215" fmla="*/ 2754135 w 6785952"/>
              <a:gd name="connsiteY24215" fmla="*/ 289977 h 5217112"/>
              <a:gd name="connsiteX24216" fmla="*/ 2757706 w 6785952"/>
              <a:gd name="connsiteY24216" fmla="*/ 285945 h 5217112"/>
              <a:gd name="connsiteX24217" fmla="*/ 3302975 w 6785952"/>
              <a:gd name="connsiteY24217" fmla="*/ 283656 h 5217112"/>
              <a:gd name="connsiteX24218" fmla="*/ 3308744 w 6785952"/>
              <a:gd name="connsiteY24218" fmla="*/ 286708 h 5217112"/>
              <a:gd name="connsiteX24219" fmla="*/ 3313139 w 6785952"/>
              <a:gd name="connsiteY24219" fmla="*/ 296624 h 5217112"/>
              <a:gd name="connsiteX24220" fmla="*/ 3296932 w 6785952"/>
              <a:gd name="connsiteY24220" fmla="*/ 307304 h 5217112"/>
              <a:gd name="connsiteX24221" fmla="*/ 3291163 w 6785952"/>
              <a:gd name="connsiteY24221" fmla="*/ 305778 h 5217112"/>
              <a:gd name="connsiteX24222" fmla="*/ 3288141 w 6785952"/>
              <a:gd name="connsiteY24222" fmla="*/ 294118 h 5217112"/>
              <a:gd name="connsiteX24223" fmla="*/ 3302975 w 6785952"/>
              <a:gd name="connsiteY24223" fmla="*/ 283656 h 5217112"/>
              <a:gd name="connsiteX24224" fmla="*/ 5136563 w 6785952"/>
              <a:gd name="connsiteY24224" fmla="*/ 283439 h 5217112"/>
              <a:gd name="connsiteX24225" fmla="*/ 5136013 w 6785952"/>
              <a:gd name="connsiteY24225" fmla="*/ 323758 h 5217112"/>
              <a:gd name="connsiteX24226" fmla="*/ 5129970 w 6785952"/>
              <a:gd name="connsiteY24226" fmla="*/ 290303 h 5217112"/>
              <a:gd name="connsiteX24227" fmla="*/ 5136563 w 6785952"/>
              <a:gd name="connsiteY24227" fmla="*/ 283439 h 5217112"/>
              <a:gd name="connsiteX24228" fmla="*/ 5624696 w 6785952"/>
              <a:gd name="connsiteY24228" fmla="*/ 281150 h 5217112"/>
              <a:gd name="connsiteX24229" fmla="*/ 5626619 w 6785952"/>
              <a:gd name="connsiteY24229" fmla="*/ 283439 h 5217112"/>
              <a:gd name="connsiteX24230" fmla="*/ 5622224 w 6785952"/>
              <a:gd name="connsiteY24230" fmla="*/ 289650 h 5217112"/>
              <a:gd name="connsiteX24231" fmla="*/ 5622499 w 6785952"/>
              <a:gd name="connsiteY24231" fmla="*/ 291067 h 5217112"/>
              <a:gd name="connsiteX24232" fmla="*/ 5626069 w 6785952"/>
              <a:gd name="connsiteY24232" fmla="*/ 292810 h 5217112"/>
              <a:gd name="connsiteX24233" fmla="*/ 5629640 w 6785952"/>
              <a:gd name="connsiteY24233" fmla="*/ 306541 h 5217112"/>
              <a:gd name="connsiteX24234" fmla="*/ 5615631 w 6785952"/>
              <a:gd name="connsiteY24234" fmla="*/ 316240 h 5217112"/>
              <a:gd name="connsiteX24235" fmla="*/ 5607390 w 6785952"/>
              <a:gd name="connsiteY24235" fmla="*/ 314605 h 5217112"/>
              <a:gd name="connsiteX24236" fmla="*/ 5604368 w 6785952"/>
              <a:gd name="connsiteY24236" fmla="*/ 308393 h 5217112"/>
              <a:gd name="connsiteX24237" fmla="*/ 5604643 w 6785952"/>
              <a:gd name="connsiteY24237" fmla="*/ 297605 h 5217112"/>
              <a:gd name="connsiteX24238" fmla="*/ 5619202 w 6785952"/>
              <a:gd name="connsiteY24238" fmla="*/ 289323 h 5217112"/>
              <a:gd name="connsiteX24239" fmla="*/ 5619751 w 6785952"/>
              <a:gd name="connsiteY24239" fmla="*/ 286054 h 5217112"/>
              <a:gd name="connsiteX24240" fmla="*/ 5624696 w 6785952"/>
              <a:gd name="connsiteY24240" fmla="*/ 281150 h 5217112"/>
              <a:gd name="connsiteX24241" fmla="*/ 4177054 w 6785952"/>
              <a:gd name="connsiteY24241" fmla="*/ 279951 h 5217112"/>
              <a:gd name="connsiteX24242" fmla="*/ 4182548 w 6785952"/>
              <a:gd name="connsiteY24242" fmla="*/ 289868 h 5217112"/>
              <a:gd name="connsiteX24243" fmla="*/ 4181174 w 6785952"/>
              <a:gd name="connsiteY24243" fmla="*/ 292266 h 5217112"/>
              <a:gd name="connsiteX24244" fmla="*/ 4180075 w 6785952"/>
              <a:gd name="connsiteY24244" fmla="*/ 292266 h 5217112"/>
              <a:gd name="connsiteX24245" fmla="*/ 4176779 w 6785952"/>
              <a:gd name="connsiteY24245" fmla="*/ 290522 h 5217112"/>
              <a:gd name="connsiteX24246" fmla="*/ 4174581 w 6785952"/>
              <a:gd name="connsiteY24246" fmla="*/ 286272 h 5217112"/>
              <a:gd name="connsiteX24247" fmla="*/ 4174581 w 6785952"/>
              <a:gd name="connsiteY24247" fmla="*/ 282240 h 5217112"/>
              <a:gd name="connsiteX24248" fmla="*/ 4177054 w 6785952"/>
              <a:gd name="connsiteY24248" fmla="*/ 279951 h 5217112"/>
              <a:gd name="connsiteX24249" fmla="*/ 5227762 w 6785952"/>
              <a:gd name="connsiteY24249" fmla="*/ 277214 h 5217112"/>
              <a:gd name="connsiteX24250" fmla="*/ 5243969 w 6785952"/>
              <a:gd name="connsiteY24250" fmla="*/ 282894 h 5217112"/>
              <a:gd name="connsiteX24251" fmla="*/ 5257979 w 6785952"/>
              <a:gd name="connsiteY24251" fmla="*/ 307958 h 5217112"/>
              <a:gd name="connsiteX24252" fmla="*/ 5214027 w 6785952"/>
              <a:gd name="connsiteY24252" fmla="*/ 278971 h 5217112"/>
              <a:gd name="connsiteX24253" fmla="*/ 5227762 w 6785952"/>
              <a:gd name="connsiteY24253" fmla="*/ 277214 h 5217112"/>
              <a:gd name="connsiteX24254" fmla="*/ 1497955 w 6785952"/>
              <a:gd name="connsiteY24254" fmla="*/ 276028 h 5217112"/>
              <a:gd name="connsiteX24255" fmla="*/ 1497131 w 6785952"/>
              <a:gd name="connsiteY24255" fmla="*/ 316349 h 5217112"/>
              <a:gd name="connsiteX24256" fmla="*/ 1491362 w 6785952"/>
              <a:gd name="connsiteY24256" fmla="*/ 282785 h 5217112"/>
              <a:gd name="connsiteX24257" fmla="*/ 1497955 w 6785952"/>
              <a:gd name="connsiteY24257" fmla="*/ 276028 h 5217112"/>
              <a:gd name="connsiteX24258" fmla="*/ 4192986 w 6785952"/>
              <a:gd name="connsiteY24258" fmla="*/ 274394 h 5217112"/>
              <a:gd name="connsiteX24259" fmla="*/ 4196832 w 6785952"/>
              <a:gd name="connsiteY24259" fmla="*/ 275374 h 5217112"/>
              <a:gd name="connsiteX24260" fmla="*/ 4193811 w 6785952"/>
              <a:gd name="connsiteY24260" fmla="*/ 280932 h 5217112"/>
              <a:gd name="connsiteX24261" fmla="*/ 4191338 w 6785952"/>
              <a:gd name="connsiteY24261" fmla="*/ 278862 h 5217112"/>
              <a:gd name="connsiteX24262" fmla="*/ 4191063 w 6785952"/>
              <a:gd name="connsiteY24262" fmla="*/ 276138 h 5217112"/>
              <a:gd name="connsiteX24263" fmla="*/ 4192986 w 6785952"/>
              <a:gd name="connsiteY24263" fmla="*/ 274394 h 5217112"/>
              <a:gd name="connsiteX24264" fmla="*/ 1985812 w 6785952"/>
              <a:gd name="connsiteY24264" fmla="*/ 273849 h 5217112"/>
              <a:gd name="connsiteX24265" fmla="*/ 1988011 w 6785952"/>
              <a:gd name="connsiteY24265" fmla="*/ 276028 h 5217112"/>
              <a:gd name="connsiteX24266" fmla="*/ 1983615 w 6785952"/>
              <a:gd name="connsiteY24266" fmla="*/ 282240 h 5217112"/>
              <a:gd name="connsiteX24267" fmla="*/ 1983890 w 6785952"/>
              <a:gd name="connsiteY24267" fmla="*/ 283656 h 5217112"/>
              <a:gd name="connsiteX24268" fmla="*/ 1987461 w 6785952"/>
              <a:gd name="connsiteY24268" fmla="*/ 285400 h 5217112"/>
              <a:gd name="connsiteX24269" fmla="*/ 1991032 w 6785952"/>
              <a:gd name="connsiteY24269" fmla="*/ 299239 h 5217112"/>
              <a:gd name="connsiteX24270" fmla="*/ 1976748 w 6785952"/>
              <a:gd name="connsiteY24270" fmla="*/ 308938 h 5217112"/>
              <a:gd name="connsiteX24271" fmla="*/ 1968782 w 6785952"/>
              <a:gd name="connsiteY24271" fmla="*/ 307304 h 5217112"/>
              <a:gd name="connsiteX24272" fmla="*/ 1965760 w 6785952"/>
              <a:gd name="connsiteY24272" fmla="*/ 301092 h 5217112"/>
              <a:gd name="connsiteX24273" fmla="*/ 1966035 w 6785952"/>
              <a:gd name="connsiteY24273" fmla="*/ 290303 h 5217112"/>
              <a:gd name="connsiteX24274" fmla="*/ 1980319 w 6785952"/>
              <a:gd name="connsiteY24274" fmla="*/ 281913 h 5217112"/>
              <a:gd name="connsiteX24275" fmla="*/ 1981143 w 6785952"/>
              <a:gd name="connsiteY24275" fmla="*/ 278644 h 5217112"/>
              <a:gd name="connsiteX24276" fmla="*/ 1985812 w 6785952"/>
              <a:gd name="connsiteY24276" fmla="*/ 273849 h 5217112"/>
              <a:gd name="connsiteX24277" fmla="*/ 1589051 w 6785952"/>
              <a:gd name="connsiteY24277" fmla="*/ 269803 h 5217112"/>
              <a:gd name="connsiteX24278" fmla="*/ 1605361 w 6785952"/>
              <a:gd name="connsiteY24278" fmla="*/ 275483 h 5217112"/>
              <a:gd name="connsiteX24279" fmla="*/ 1619370 w 6785952"/>
              <a:gd name="connsiteY24279" fmla="*/ 300547 h 5217112"/>
              <a:gd name="connsiteX24280" fmla="*/ 1575419 w 6785952"/>
              <a:gd name="connsiteY24280" fmla="*/ 271561 h 5217112"/>
              <a:gd name="connsiteX24281" fmla="*/ 1589051 w 6785952"/>
              <a:gd name="connsiteY24281" fmla="*/ 269803 h 5217112"/>
              <a:gd name="connsiteX24282" fmla="*/ 5208258 w 6785952"/>
              <a:gd name="connsiteY24282" fmla="*/ 268401 h 5217112"/>
              <a:gd name="connsiteX24283" fmla="*/ 5211005 w 6785952"/>
              <a:gd name="connsiteY24283" fmla="*/ 269272 h 5217112"/>
              <a:gd name="connsiteX24284" fmla="*/ 5212928 w 6785952"/>
              <a:gd name="connsiteY24284" fmla="*/ 271342 h 5217112"/>
              <a:gd name="connsiteX24285" fmla="*/ 5207983 w 6785952"/>
              <a:gd name="connsiteY24285" fmla="*/ 274612 h 5217112"/>
              <a:gd name="connsiteX24286" fmla="*/ 5207159 w 6785952"/>
              <a:gd name="connsiteY24286" fmla="*/ 271996 h 5217112"/>
              <a:gd name="connsiteX24287" fmla="*/ 5206061 w 6785952"/>
              <a:gd name="connsiteY24287" fmla="*/ 272432 h 5217112"/>
              <a:gd name="connsiteX24288" fmla="*/ 5206610 w 6785952"/>
              <a:gd name="connsiteY24288" fmla="*/ 269381 h 5217112"/>
              <a:gd name="connsiteX24289" fmla="*/ 5207983 w 6785952"/>
              <a:gd name="connsiteY24289" fmla="*/ 268836 h 5217112"/>
              <a:gd name="connsiteX24290" fmla="*/ 5208258 w 6785952"/>
              <a:gd name="connsiteY24290" fmla="*/ 268401 h 5217112"/>
              <a:gd name="connsiteX24291" fmla="*/ 6020806 w 6785952"/>
              <a:gd name="connsiteY24291" fmla="*/ 266439 h 5217112"/>
              <a:gd name="connsiteX24292" fmla="*/ 6024926 w 6785952"/>
              <a:gd name="connsiteY24292" fmla="*/ 278535 h 5217112"/>
              <a:gd name="connsiteX24293" fmla="*/ 6016136 w 6785952"/>
              <a:gd name="connsiteY24293" fmla="*/ 280715 h 5217112"/>
              <a:gd name="connsiteX24294" fmla="*/ 6020806 w 6785952"/>
              <a:gd name="connsiteY24294" fmla="*/ 266439 h 5217112"/>
              <a:gd name="connsiteX24295" fmla="*/ 3696887 w 6785952"/>
              <a:gd name="connsiteY24295" fmla="*/ 262080 h 5217112"/>
              <a:gd name="connsiteX24296" fmla="*/ 3709523 w 6785952"/>
              <a:gd name="connsiteY24296" fmla="*/ 263170 h 5217112"/>
              <a:gd name="connsiteX24297" fmla="*/ 3708149 w 6785952"/>
              <a:gd name="connsiteY24297" fmla="*/ 271996 h 5217112"/>
              <a:gd name="connsiteX24298" fmla="*/ 3696887 w 6785952"/>
              <a:gd name="connsiteY24298" fmla="*/ 262080 h 5217112"/>
              <a:gd name="connsiteX24299" fmla="*/ 4667659 w 6785952"/>
              <a:gd name="connsiteY24299" fmla="*/ 261862 h 5217112"/>
              <a:gd name="connsiteX24300" fmla="*/ 4626454 w 6785952"/>
              <a:gd name="connsiteY24300" fmla="*/ 283439 h 5217112"/>
              <a:gd name="connsiteX24301" fmla="*/ 4667659 w 6785952"/>
              <a:gd name="connsiteY24301" fmla="*/ 261862 h 5217112"/>
              <a:gd name="connsiteX24302" fmla="*/ 5528196 w 6785952"/>
              <a:gd name="connsiteY24302" fmla="*/ 261635 h 5217112"/>
              <a:gd name="connsiteX24303" fmla="*/ 5541738 w 6785952"/>
              <a:gd name="connsiteY24303" fmla="*/ 267638 h 5217112"/>
              <a:gd name="connsiteX24304" fmla="*/ 5530476 w 6785952"/>
              <a:gd name="connsiteY24304" fmla="*/ 302182 h 5217112"/>
              <a:gd name="connsiteX24305" fmla="*/ 5528196 w 6785952"/>
              <a:gd name="connsiteY24305" fmla="*/ 261635 h 5217112"/>
              <a:gd name="connsiteX24306" fmla="*/ 3911699 w 6785952"/>
              <a:gd name="connsiteY24306" fmla="*/ 261535 h 5217112"/>
              <a:gd name="connsiteX24307" fmla="*/ 3915544 w 6785952"/>
              <a:gd name="connsiteY24307" fmla="*/ 268401 h 5217112"/>
              <a:gd name="connsiteX24308" fmla="*/ 3909775 w 6785952"/>
              <a:gd name="connsiteY24308" fmla="*/ 270471 h 5217112"/>
              <a:gd name="connsiteX24309" fmla="*/ 3911699 w 6785952"/>
              <a:gd name="connsiteY24309" fmla="*/ 261535 h 5217112"/>
              <a:gd name="connsiteX24310" fmla="*/ 1569651 w 6785952"/>
              <a:gd name="connsiteY24310" fmla="*/ 261099 h 5217112"/>
              <a:gd name="connsiteX24311" fmla="*/ 1572397 w 6785952"/>
              <a:gd name="connsiteY24311" fmla="*/ 261862 h 5217112"/>
              <a:gd name="connsiteX24312" fmla="*/ 1574320 w 6785952"/>
              <a:gd name="connsiteY24312" fmla="*/ 264041 h 5217112"/>
              <a:gd name="connsiteX24313" fmla="*/ 1569376 w 6785952"/>
              <a:gd name="connsiteY24313" fmla="*/ 267311 h 5217112"/>
              <a:gd name="connsiteX24314" fmla="*/ 1568551 w 6785952"/>
              <a:gd name="connsiteY24314" fmla="*/ 264695 h 5217112"/>
              <a:gd name="connsiteX24315" fmla="*/ 1567452 w 6785952"/>
              <a:gd name="connsiteY24315" fmla="*/ 265131 h 5217112"/>
              <a:gd name="connsiteX24316" fmla="*/ 1568002 w 6785952"/>
              <a:gd name="connsiteY24316" fmla="*/ 262080 h 5217112"/>
              <a:gd name="connsiteX24317" fmla="*/ 1569376 w 6785952"/>
              <a:gd name="connsiteY24317" fmla="*/ 261535 h 5217112"/>
              <a:gd name="connsiteX24318" fmla="*/ 1569651 w 6785952"/>
              <a:gd name="connsiteY24318" fmla="*/ 261099 h 5217112"/>
              <a:gd name="connsiteX24319" fmla="*/ 2382197 w 6785952"/>
              <a:gd name="connsiteY24319" fmla="*/ 259137 h 5217112"/>
              <a:gd name="connsiteX24320" fmla="*/ 2386318 w 6785952"/>
              <a:gd name="connsiteY24320" fmla="*/ 271125 h 5217112"/>
              <a:gd name="connsiteX24321" fmla="*/ 2377527 w 6785952"/>
              <a:gd name="connsiteY24321" fmla="*/ 273413 h 5217112"/>
              <a:gd name="connsiteX24322" fmla="*/ 2382197 w 6785952"/>
              <a:gd name="connsiteY24322" fmla="*/ 259137 h 5217112"/>
              <a:gd name="connsiteX24323" fmla="*/ 4204524 w 6785952"/>
              <a:gd name="connsiteY24323" fmla="*/ 259028 h 5217112"/>
              <a:gd name="connsiteX24324" fmla="*/ 4208643 w 6785952"/>
              <a:gd name="connsiteY24324" fmla="*/ 263605 h 5217112"/>
              <a:gd name="connsiteX24325" fmla="*/ 4209468 w 6785952"/>
              <a:gd name="connsiteY24325" fmla="*/ 266439 h 5217112"/>
              <a:gd name="connsiteX24326" fmla="*/ 4197930 w 6785952"/>
              <a:gd name="connsiteY24326" fmla="*/ 273631 h 5217112"/>
              <a:gd name="connsiteX24327" fmla="*/ 4190788 w 6785952"/>
              <a:gd name="connsiteY24327" fmla="*/ 267419 h 5217112"/>
              <a:gd name="connsiteX24328" fmla="*/ 4190788 w 6785952"/>
              <a:gd name="connsiteY24328" fmla="*/ 264041 h 5217112"/>
              <a:gd name="connsiteX24329" fmla="*/ 4193261 w 6785952"/>
              <a:gd name="connsiteY24329" fmla="*/ 261644 h 5217112"/>
              <a:gd name="connsiteX24330" fmla="*/ 4196557 w 6785952"/>
              <a:gd name="connsiteY24330" fmla="*/ 259465 h 5217112"/>
              <a:gd name="connsiteX24331" fmla="*/ 4204524 w 6785952"/>
              <a:gd name="connsiteY24331" fmla="*/ 259028 h 5217112"/>
              <a:gd name="connsiteX24332" fmla="*/ 5350001 w 6785952"/>
              <a:gd name="connsiteY24332" fmla="*/ 258048 h 5217112"/>
              <a:gd name="connsiteX24333" fmla="*/ 5354946 w 6785952"/>
              <a:gd name="connsiteY24333" fmla="*/ 259137 h 5217112"/>
              <a:gd name="connsiteX24334" fmla="*/ 5357692 w 6785952"/>
              <a:gd name="connsiteY24334" fmla="*/ 264150 h 5217112"/>
              <a:gd name="connsiteX24335" fmla="*/ 5347254 w 6785952"/>
              <a:gd name="connsiteY24335" fmla="*/ 270906 h 5217112"/>
              <a:gd name="connsiteX24336" fmla="*/ 5346430 w 6785952"/>
              <a:gd name="connsiteY24336" fmla="*/ 262189 h 5217112"/>
              <a:gd name="connsiteX24337" fmla="*/ 5350001 w 6785952"/>
              <a:gd name="connsiteY24337" fmla="*/ 258048 h 5217112"/>
              <a:gd name="connsiteX24338" fmla="*/ 5895270 w 6785952"/>
              <a:gd name="connsiteY24338" fmla="*/ 255977 h 5217112"/>
              <a:gd name="connsiteX24339" fmla="*/ 5900764 w 6785952"/>
              <a:gd name="connsiteY24339" fmla="*/ 258920 h 5217112"/>
              <a:gd name="connsiteX24340" fmla="*/ 5905434 w 6785952"/>
              <a:gd name="connsiteY24340" fmla="*/ 268836 h 5217112"/>
              <a:gd name="connsiteX24341" fmla="*/ 5888952 w 6785952"/>
              <a:gd name="connsiteY24341" fmla="*/ 279516 h 5217112"/>
              <a:gd name="connsiteX24342" fmla="*/ 5883459 w 6785952"/>
              <a:gd name="connsiteY24342" fmla="*/ 277990 h 5217112"/>
              <a:gd name="connsiteX24343" fmla="*/ 5880162 w 6785952"/>
              <a:gd name="connsiteY24343" fmla="*/ 266329 h 5217112"/>
              <a:gd name="connsiteX24344" fmla="*/ 5895270 w 6785952"/>
              <a:gd name="connsiteY24344" fmla="*/ 255977 h 5217112"/>
              <a:gd name="connsiteX24345" fmla="*/ 3136784 w 6785952"/>
              <a:gd name="connsiteY24345" fmla="*/ 253689 h 5217112"/>
              <a:gd name="connsiteX24346" fmla="*/ 3132664 w 6785952"/>
              <a:gd name="connsiteY24346" fmla="*/ 266112 h 5217112"/>
              <a:gd name="connsiteX24347" fmla="*/ 3136784 w 6785952"/>
              <a:gd name="connsiteY24347" fmla="*/ 253689 h 5217112"/>
              <a:gd name="connsiteX24348" fmla="*/ 1711393 w 6785952"/>
              <a:gd name="connsiteY24348" fmla="*/ 250638 h 5217112"/>
              <a:gd name="connsiteX24349" fmla="*/ 1716063 w 6785952"/>
              <a:gd name="connsiteY24349" fmla="*/ 251728 h 5217112"/>
              <a:gd name="connsiteX24350" fmla="*/ 1719084 w 6785952"/>
              <a:gd name="connsiteY24350" fmla="*/ 256741 h 5217112"/>
              <a:gd name="connsiteX24351" fmla="*/ 1708646 w 6785952"/>
              <a:gd name="connsiteY24351" fmla="*/ 263605 h 5217112"/>
              <a:gd name="connsiteX24352" fmla="*/ 1707821 w 6785952"/>
              <a:gd name="connsiteY24352" fmla="*/ 254888 h 5217112"/>
              <a:gd name="connsiteX24353" fmla="*/ 1711393 w 6785952"/>
              <a:gd name="connsiteY24353" fmla="*/ 250638 h 5217112"/>
              <a:gd name="connsiteX24354" fmla="*/ 2256662 w 6785952"/>
              <a:gd name="connsiteY24354" fmla="*/ 248567 h 5217112"/>
              <a:gd name="connsiteX24355" fmla="*/ 2262156 w 6785952"/>
              <a:gd name="connsiteY24355" fmla="*/ 251400 h 5217112"/>
              <a:gd name="connsiteX24356" fmla="*/ 2266826 w 6785952"/>
              <a:gd name="connsiteY24356" fmla="*/ 261535 h 5217112"/>
              <a:gd name="connsiteX24357" fmla="*/ 2250344 w 6785952"/>
              <a:gd name="connsiteY24357" fmla="*/ 272215 h 5217112"/>
              <a:gd name="connsiteX24358" fmla="*/ 2244850 w 6785952"/>
              <a:gd name="connsiteY24358" fmla="*/ 270580 h 5217112"/>
              <a:gd name="connsiteX24359" fmla="*/ 2241553 w 6785952"/>
              <a:gd name="connsiteY24359" fmla="*/ 258920 h 5217112"/>
              <a:gd name="connsiteX24360" fmla="*/ 2256662 w 6785952"/>
              <a:gd name="connsiteY24360" fmla="*/ 248567 h 5217112"/>
              <a:gd name="connsiteX24361" fmla="*/ 2627774 w 6785952"/>
              <a:gd name="connsiteY24361" fmla="*/ 245407 h 5217112"/>
              <a:gd name="connsiteX24362" fmla="*/ 2620907 w 6785952"/>
              <a:gd name="connsiteY24362" fmla="*/ 264259 h 5217112"/>
              <a:gd name="connsiteX24363" fmla="*/ 2618161 w 6785952"/>
              <a:gd name="connsiteY24363" fmla="*/ 259791 h 5217112"/>
              <a:gd name="connsiteX24364" fmla="*/ 2616238 w 6785952"/>
              <a:gd name="connsiteY24364" fmla="*/ 253362 h 5217112"/>
              <a:gd name="connsiteX24365" fmla="*/ 2627774 w 6785952"/>
              <a:gd name="connsiteY24365" fmla="*/ 245407 h 5217112"/>
              <a:gd name="connsiteX24366" fmla="*/ 3085966 w 6785952"/>
              <a:gd name="connsiteY24366" fmla="*/ 242574 h 5217112"/>
              <a:gd name="connsiteX24367" fmla="*/ 3085417 w 6785952"/>
              <a:gd name="connsiteY24367" fmla="*/ 272759 h 5217112"/>
              <a:gd name="connsiteX24368" fmla="*/ 3078274 w 6785952"/>
              <a:gd name="connsiteY24368" fmla="*/ 262843 h 5217112"/>
              <a:gd name="connsiteX24369" fmla="*/ 3077999 w 6785952"/>
              <a:gd name="connsiteY24369" fmla="*/ 248676 h 5217112"/>
              <a:gd name="connsiteX24370" fmla="*/ 3085966 w 6785952"/>
              <a:gd name="connsiteY24370" fmla="*/ 242574 h 5217112"/>
              <a:gd name="connsiteX24371" fmla="*/ 3887800 w 6785952"/>
              <a:gd name="connsiteY24371" fmla="*/ 240939 h 5217112"/>
              <a:gd name="connsiteX24372" fmla="*/ 3886976 w 6785952"/>
              <a:gd name="connsiteY24372" fmla="*/ 281150 h 5217112"/>
              <a:gd name="connsiteX24373" fmla="*/ 3881207 w 6785952"/>
              <a:gd name="connsiteY24373" fmla="*/ 247695 h 5217112"/>
              <a:gd name="connsiteX24374" fmla="*/ 3887800 w 6785952"/>
              <a:gd name="connsiteY24374" fmla="*/ 240939 h 5217112"/>
              <a:gd name="connsiteX24375" fmla="*/ 4375658 w 6785952"/>
              <a:gd name="connsiteY24375" fmla="*/ 238651 h 5217112"/>
              <a:gd name="connsiteX24376" fmla="*/ 4377856 w 6785952"/>
              <a:gd name="connsiteY24376" fmla="*/ 240939 h 5217112"/>
              <a:gd name="connsiteX24377" fmla="*/ 4373461 w 6785952"/>
              <a:gd name="connsiteY24377" fmla="*/ 247042 h 5217112"/>
              <a:gd name="connsiteX24378" fmla="*/ 4373736 w 6785952"/>
              <a:gd name="connsiteY24378" fmla="*/ 248458 h 5217112"/>
              <a:gd name="connsiteX24379" fmla="*/ 4377306 w 6785952"/>
              <a:gd name="connsiteY24379" fmla="*/ 250201 h 5217112"/>
              <a:gd name="connsiteX24380" fmla="*/ 4380877 w 6785952"/>
              <a:gd name="connsiteY24380" fmla="*/ 264041 h 5217112"/>
              <a:gd name="connsiteX24381" fmla="*/ 4366593 w 6785952"/>
              <a:gd name="connsiteY24381" fmla="*/ 273740 h 5217112"/>
              <a:gd name="connsiteX24382" fmla="*/ 4358627 w 6785952"/>
              <a:gd name="connsiteY24382" fmla="*/ 272105 h 5217112"/>
              <a:gd name="connsiteX24383" fmla="*/ 4355605 w 6785952"/>
              <a:gd name="connsiteY24383" fmla="*/ 265894 h 5217112"/>
              <a:gd name="connsiteX24384" fmla="*/ 4355880 w 6785952"/>
              <a:gd name="connsiteY24384" fmla="*/ 255106 h 5217112"/>
              <a:gd name="connsiteX24385" fmla="*/ 4370439 w 6785952"/>
              <a:gd name="connsiteY24385" fmla="*/ 246715 h 5217112"/>
              <a:gd name="connsiteX24386" fmla="*/ 4370988 w 6785952"/>
              <a:gd name="connsiteY24386" fmla="*/ 243445 h 5217112"/>
              <a:gd name="connsiteX24387" fmla="*/ 4375658 w 6785952"/>
              <a:gd name="connsiteY24387" fmla="*/ 238651 h 5217112"/>
              <a:gd name="connsiteX24388" fmla="*/ 3978896 w 6785952"/>
              <a:gd name="connsiteY24388" fmla="*/ 234714 h 5217112"/>
              <a:gd name="connsiteX24389" fmla="*/ 3995206 w 6785952"/>
              <a:gd name="connsiteY24389" fmla="*/ 240394 h 5217112"/>
              <a:gd name="connsiteX24390" fmla="*/ 4009216 w 6785952"/>
              <a:gd name="connsiteY24390" fmla="*/ 265458 h 5217112"/>
              <a:gd name="connsiteX24391" fmla="*/ 3965264 w 6785952"/>
              <a:gd name="connsiteY24391" fmla="*/ 236471 h 5217112"/>
              <a:gd name="connsiteX24392" fmla="*/ 3978896 w 6785952"/>
              <a:gd name="connsiteY24392" fmla="*/ 234714 h 5217112"/>
              <a:gd name="connsiteX24393" fmla="*/ 6059812 w 6785952"/>
              <a:gd name="connsiteY24393" fmla="*/ 227645 h 5217112"/>
              <a:gd name="connsiteX24394" fmla="*/ 6066680 w 6785952"/>
              <a:gd name="connsiteY24394" fmla="*/ 228189 h 5217112"/>
              <a:gd name="connsiteX24395" fmla="*/ 6068328 w 6785952"/>
              <a:gd name="connsiteY24395" fmla="*/ 231240 h 5217112"/>
              <a:gd name="connsiteX24396" fmla="*/ 6068603 w 6785952"/>
              <a:gd name="connsiteY24396" fmla="*/ 236036 h 5217112"/>
              <a:gd name="connsiteX24397" fmla="*/ 6066680 w 6785952"/>
              <a:gd name="connsiteY24397" fmla="*/ 237888 h 5217112"/>
              <a:gd name="connsiteX24398" fmla="*/ 6063383 w 6785952"/>
              <a:gd name="connsiteY24398" fmla="*/ 237779 h 5217112"/>
              <a:gd name="connsiteX24399" fmla="*/ 6057615 w 6785952"/>
              <a:gd name="connsiteY24399" fmla="*/ 236471 h 5217112"/>
              <a:gd name="connsiteX24400" fmla="*/ 6053769 w 6785952"/>
              <a:gd name="connsiteY24400" fmla="*/ 231131 h 5217112"/>
              <a:gd name="connsiteX24401" fmla="*/ 6059812 w 6785952"/>
              <a:gd name="connsiteY24401" fmla="*/ 227645 h 5217112"/>
              <a:gd name="connsiteX24402" fmla="*/ 5729079 w 6785952"/>
              <a:gd name="connsiteY24402" fmla="*/ 225901 h 5217112"/>
              <a:gd name="connsiteX24403" fmla="*/ 5724685 w 6785952"/>
              <a:gd name="connsiteY24403" fmla="*/ 238324 h 5217112"/>
              <a:gd name="connsiteX24404" fmla="*/ 5729079 w 6785952"/>
              <a:gd name="connsiteY24404" fmla="*/ 225901 h 5217112"/>
              <a:gd name="connsiteX24405" fmla="*/ 3959496 w 6785952"/>
              <a:gd name="connsiteY24405" fmla="*/ 225901 h 5217112"/>
              <a:gd name="connsiteX24406" fmla="*/ 3962242 w 6785952"/>
              <a:gd name="connsiteY24406" fmla="*/ 226772 h 5217112"/>
              <a:gd name="connsiteX24407" fmla="*/ 3964165 w 6785952"/>
              <a:gd name="connsiteY24407" fmla="*/ 228844 h 5217112"/>
              <a:gd name="connsiteX24408" fmla="*/ 3959221 w 6785952"/>
              <a:gd name="connsiteY24408" fmla="*/ 232113 h 5217112"/>
              <a:gd name="connsiteX24409" fmla="*/ 3958671 w 6785952"/>
              <a:gd name="connsiteY24409" fmla="*/ 229496 h 5217112"/>
              <a:gd name="connsiteX24410" fmla="*/ 3957298 w 6785952"/>
              <a:gd name="connsiteY24410" fmla="*/ 229933 h 5217112"/>
              <a:gd name="connsiteX24411" fmla="*/ 3957847 w 6785952"/>
              <a:gd name="connsiteY24411" fmla="*/ 226882 h 5217112"/>
              <a:gd name="connsiteX24412" fmla="*/ 3959221 w 6785952"/>
              <a:gd name="connsiteY24412" fmla="*/ 226337 h 5217112"/>
              <a:gd name="connsiteX24413" fmla="*/ 3959496 w 6785952"/>
              <a:gd name="connsiteY24413" fmla="*/ 225901 h 5217112"/>
              <a:gd name="connsiteX24414" fmla="*/ 4772043 w 6785952"/>
              <a:gd name="connsiteY24414" fmla="*/ 223939 h 5217112"/>
              <a:gd name="connsiteX24415" fmla="*/ 4776163 w 6785952"/>
              <a:gd name="connsiteY24415" fmla="*/ 236036 h 5217112"/>
              <a:gd name="connsiteX24416" fmla="*/ 4767373 w 6785952"/>
              <a:gd name="connsiteY24416" fmla="*/ 238215 h 5217112"/>
              <a:gd name="connsiteX24417" fmla="*/ 4772043 w 6785952"/>
              <a:gd name="connsiteY24417" fmla="*/ 223939 h 5217112"/>
              <a:gd name="connsiteX24418" fmla="*/ 2942025 w 6785952"/>
              <a:gd name="connsiteY24418" fmla="*/ 219580 h 5217112"/>
              <a:gd name="connsiteX24419" fmla="*/ 2948069 w 6785952"/>
              <a:gd name="connsiteY24419" fmla="*/ 225029 h 5217112"/>
              <a:gd name="connsiteX24420" fmla="*/ 2934884 w 6785952"/>
              <a:gd name="connsiteY24420" fmla="*/ 238324 h 5217112"/>
              <a:gd name="connsiteX24421" fmla="*/ 2928840 w 6785952"/>
              <a:gd name="connsiteY24421" fmla="*/ 237343 h 5217112"/>
              <a:gd name="connsiteX24422" fmla="*/ 2942025 w 6785952"/>
              <a:gd name="connsiteY24422" fmla="*/ 219580 h 5217112"/>
              <a:gd name="connsiteX24423" fmla="*/ 2090472 w 6785952"/>
              <a:gd name="connsiteY24423" fmla="*/ 218491 h 5217112"/>
              <a:gd name="connsiteX24424" fmla="*/ 2086077 w 6785952"/>
              <a:gd name="connsiteY24424" fmla="*/ 231023 h 5217112"/>
              <a:gd name="connsiteX24425" fmla="*/ 2090472 w 6785952"/>
              <a:gd name="connsiteY24425" fmla="*/ 218491 h 5217112"/>
              <a:gd name="connsiteX24426" fmla="*/ 5220071 w 6785952"/>
              <a:gd name="connsiteY24426" fmla="*/ 217619 h 5217112"/>
              <a:gd name="connsiteX24427" fmla="*/ 5213202 w 6785952"/>
              <a:gd name="connsiteY24427" fmla="*/ 236362 h 5217112"/>
              <a:gd name="connsiteX24428" fmla="*/ 5210181 w 6785952"/>
              <a:gd name="connsiteY24428" fmla="*/ 232004 h 5217112"/>
              <a:gd name="connsiteX24429" fmla="*/ 5208258 w 6785952"/>
              <a:gd name="connsiteY24429" fmla="*/ 225465 h 5217112"/>
              <a:gd name="connsiteX24430" fmla="*/ 5220071 w 6785952"/>
              <a:gd name="connsiteY24430" fmla="*/ 217619 h 5217112"/>
              <a:gd name="connsiteX24431" fmla="*/ 4101238 w 6785952"/>
              <a:gd name="connsiteY24431" fmla="*/ 215440 h 5217112"/>
              <a:gd name="connsiteX24432" fmla="*/ 4106183 w 6785952"/>
              <a:gd name="connsiteY24432" fmla="*/ 216530 h 5217112"/>
              <a:gd name="connsiteX24433" fmla="*/ 4108929 w 6785952"/>
              <a:gd name="connsiteY24433" fmla="*/ 221542 h 5217112"/>
              <a:gd name="connsiteX24434" fmla="*/ 4098491 w 6785952"/>
              <a:gd name="connsiteY24434" fmla="*/ 228407 h 5217112"/>
              <a:gd name="connsiteX24435" fmla="*/ 4097667 w 6785952"/>
              <a:gd name="connsiteY24435" fmla="*/ 219690 h 5217112"/>
              <a:gd name="connsiteX24436" fmla="*/ 4101238 w 6785952"/>
              <a:gd name="connsiteY24436" fmla="*/ 215440 h 5217112"/>
              <a:gd name="connsiteX24437" fmla="*/ 5677987 w 6785952"/>
              <a:gd name="connsiteY24437" fmla="*/ 214677 h 5217112"/>
              <a:gd name="connsiteX24438" fmla="*/ 5677712 w 6785952"/>
              <a:gd name="connsiteY24438" fmla="*/ 244862 h 5217112"/>
              <a:gd name="connsiteX24439" fmla="*/ 5670295 w 6785952"/>
              <a:gd name="connsiteY24439" fmla="*/ 234946 h 5217112"/>
              <a:gd name="connsiteX24440" fmla="*/ 5670021 w 6785952"/>
              <a:gd name="connsiteY24440" fmla="*/ 220888 h 5217112"/>
              <a:gd name="connsiteX24441" fmla="*/ 5677987 w 6785952"/>
              <a:gd name="connsiteY24441" fmla="*/ 214677 h 5217112"/>
              <a:gd name="connsiteX24442" fmla="*/ 4646507 w 6785952"/>
              <a:gd name="connsiteY24442" fmla="*/ 213369 h 5217112"/>
              <a:gd name="connsiteX24443" fmla="*/ 4652001 w 6785952"/>
              <a:gd name="connsiteY24443" fmla="*/ 216311 h 5217112"/>
              <a:gd name="connsiteX24444" fmla="*/ 4656671 w 6785952"/>
              <a:gd name="connsiteY24444" fmla="*/ 226337 h 5217112"/>
              <a:gd name="connsiteX24445" fmla="*/ 4640190 w 6785952"/>
              <a:gd name="connsiteY24445" fmla="*/ 237016 h 5217112"/>
              <a:gd name="connsiteX24446" fmla="*/ 4634696 w 6785952"/>
              <a:gd name="connsiteY24446" fmla="*/ 235491 h 5217112"/>
              <a:gd name="connsiteX24447" fmla="*/ 4631399 w 6785952"/>
              <a:gd name="connsiteY24447" fmla="*/ 223721 h 5217112"/>
              <a:gd name="connsiteX24448" fmla="*/ 4646507 w 6785952"/>
              <a:gd name="connsiteY24448" fmla="*/ 213369 h 5217112"/>
              <a:gd name="connsiteX24449" fmla="*/ 1581462 w 6785952"/>
              <a:gd name="connsiteY24449" fmla="*/ 210318 h 5217112"/>
              <a:gd name="connsiteX24450" fmla="*/ 1574320 w 6785952"/>
              <a:gd name="connsiteY24450" fmla="*/ 229061 h 5217112"/>
              <a:gd name="connsiteX24451" fmla="*/ 1571573 w 6785952"/>
              <a:gd name="connsiteY24451" fmla="*/ 224593 h 5217112"/>
              <a:gd name="connsiteX24452" fmla="*/ 1569651 w 6785952"/>
              <a:gd name="connsiteY24452" fmla="*/ 218055 h 5217112"/>
              <a:gd name="connsiteX24453" fmla="*/ 1581462 w 6785952"/>
              <a:gd name="connsiteY24453" fmla="*/ 210318 h 5217112"/>
              <a:gd name="connsiteX24454" fmla="*/ 2039378 w 6785952"/>
              <a:gd name="connsiteY24454" fmla="*/ 207375 h 5217112"/>
              <a:gd name="connsiteX24455" fmla="*/ 2038829 w 6785952"/>
              <a:gd name="connsiteY24455" fmla="*/ 237561 h 5217112"/>
              <a:gd name="connsiteX24456" fmla="*/ 2031687 w 6785952"/>
              <a:gd name="connsiteY24456" fmla="*/ 227645 h 5217112"/>
              <a:gd name="connsiteX24457" fmla="*/ 2031412 w 6785952"/>
              <a:gd name="connsiteY24457" fmla="*/ 213478 h 5217112"/>
              <a:gd name="connsiteX24458" fmla="*/ 2039378 w 6785952"/>
              <a:gd name="connsiteY24458" fmla="*/ 207375 h 5217112"/>
              <a:gd name="connsiteX24459" fmla="*/ 5534321 w 6785952"/>
              <a:gd name="connsiteY24459" fmla="*/ 191792 h 5217112"/>
              <a:gd name="connsiteX24460" fmla="*/ 5540090 w 6785952"/>
              <a:gd name="connsiteY24460" fmla="*/ 197241 h 5217112"/>
              <a:gd name="connsiteX24461" fmla="*/ 5526904 w 6785952"/>
              <a:gd name="connsiteY24461" fmla="*/ 210427 h 5217112"/>
              <a:gd name="connsiteX24462" fmla="*/ 5521136 w 6785952"/>
              <a:gd name="connsiteY24462" fmla="*/ 209446 h 5217112"/>
              <a:gd name="connsiteX24463" fmla="*/ 5534321 w 6785952"/>
              <a:gd name="connsiteY24463" fmla="*/ 191792 h 5217112"/>
              <a:gd name="connsiteX24464" fmla="*/ 1895713 w 6785952"/>
              <a:gd name="connsiteY24464" fmla="*/ 184274 h 5217112"/>
              <a:gd name="connsiteX24465" fmla="*/ 1901482 w 6785952"/>
              <a:gd name="connsiteY24465" fmla="*/ 189940 h 5217112"/>
              <a:gd name="connsiteX24466" fmla="*/ 1888296 w 6785952"/>
              <a:gd name="connsiteY24466" fmla="*/ 203126 h 5217112"/>
              <a:gd name="connsiteX24467" fmla="*/ 1882527 w 6785952"/>
              <a:gd name="connsiteY24467" fmla="*/ 202144 h 5217112"/>
              <a:gd name="connsiteX24468" fmla="*/ 1895713 w 6785952"/>
              <a:gd name="connsiteY24468" fmla="*/ 184274 h 5217112"/>
              <a:gd name="connsiteX24469" fmla="*/ 4480317 w 6785952"/>
              <a:gd name="connsiteY24469" fmla="*/ 183292 h 5217112"/>
              <a:gd name="connsiteX24470" fmla="*/ 4475922 w 6785952"/>
              <a:gd name="connsiteY24470" fmla="*/ 195825 h 5217112"/>
              <a:gd name="connsiteX24471" fmla="*/ 4480317 w 6785952"/>
              <a:gd name="connsiteY24471" fmla="*/ 183292 h 5217112"/>
              <a:gd name="connsiteX24472" fmla="*/ 3870220 w 6785952"/>
              <a:gd name="connsiteY24472" fmla="*/ 181767 h 5217112"/>
              <a:gd name="connsiteX24473" fmla="*/ 3899887 w 6785952"/>
              <a:gd name="connsiteY24473" fmla="*/ 185908 h 5217112"/>
              <a:gd name="connsiteX24474" fmla="*/ 3879285 w 6785952"/>
              <a:gd name="connsiteY24474" fmla="*/ 236362 h 5217112"/>
              <a:gd name="connsiteX24475" fmla="*/ 3868022 w 6785952"/>
              <a:gd name="connsiteY24475" fmla="*/ 235708 h 5217112"/>
              <a:gd name="connsiteX24476" fmla="*/ 3870220 w 6785952"/>
              <a:gd name="connsiteY24476" fmla="*/ 181767 h 5217112"/>
              <a:gd name="connsiteX24477" fmla="*/ 3971033 w 6785952"/>
              <a:gd name="connsiteY24477" fmla="*/ 175120 h 5217112"/>
              <a:gd name="connsiteX24478" fmla="*/ 3964440 w 6785952"/>
              <a:gd name="connsiteY24478" fmla="*/ 193862 h 5217112"/>
              <a:gd name="connsiteX24479" fmla="*/ 3961418 w 6785952"/>
              <a:gd name="connsiteY24479" fmla="*/ 189395 h 5217112"/>
              <a:gd name="connsiteX24480" fmla="*/ 3959496 w 6785952"/>
              <a:gd name="connsiteY24480" fmla="*/ 182857 h 5217112"/>
              <a:gd name="connsiteX24481" fmla="*/ 3971033 w 6785952"/>
              <a:gd name="connsiteY24481" fmla="*/ 175120 h 5217112"/>
              <a:gd name="connsiteX24482" fmla="*/ 4429224 w 6785952"/>
              <a:gd name="connsiteY24482" fmla="*/ 172177 h 5217112"/>
              <a:gd name="connsiteX24483" fmla="*/ 4428674 w 6785952"/>
              <a:gd name="connsiteY24483" fmla="*/ 202363 h 5217112"/>
              <a:gd name="connsiteX24484" fmla="*/ 4421533 w 6785952"/>
              <a:gd name="connsiteY24484" fmla="*/ 192446 h 5217112"/>
              <a:gd name="connsiteX24485" fmla="*/ 4421258 w 6785952"/>
              <a:gd name="connsiteY24485" fmla="*/ 178280 h 5217112"/>
              <a:gd name="connsiteX24486" fmla="*/ 4429224 w 6785952"/>
              <a:gd name="connsiteY24486" fmla="*/ 172177 h 5217112"/>
              <a:gd name="connsiteX24487" fmla="*/ 3318358 w 6785952"/>
              <a:gd name="connsiteY24487" fmla="*/ 150382 h 5217112"/>
              <a:gd name="connsiteX24488" fmla="*/ 3324127 w 6785952"/>
              <a:gd name="connsiteY24488" fmla="*/ 160299 h 5217112"/>
              <a:gd name="connsiteX24489" fmla="*/ 3313688 w 6785952"/>
              <a:gd name="connsiteY24489" fmla="*/ 165312 h 5217112"/>
              <a:gd name="connsiteX24490" fmla="*/ 3310666 w 6785952"/>
              <a:gd name="connsiteY24490" fmla="*/ 153543 h 5217112"/>
              <a:gd name="connsiteX24491" fmla="*/ 3318358 w 6785952"/>
              <a:gd name="connsiteY24491" fmla="*/ 150382 h 5217112"/>
              <a:gd name="connsiteX24492" fmla="*/ 4285559 w 6785952"/>
              <a:gd name="connsiteY24492" fmla="*/ 149184 h 5217112"/>
              <a:gd name="connsiteX24493" fmla="*/ 4291327 w 6785952"/>
              <a:gd name="connsiteY24493" fmla="*/ 154741 h 5217112"/>
              <a:gd name="connsiteX24494" fmla="*/ 4278141 w 6785952"/>
              <a:gd name="connsiteY24494" fmla="*/ 167928 h 5217112"/>
              <a:gd name="connsiteX24495" fmla="*/ 4272373 w 6785952"/>
              <a:gd name="connsiteY24495" fmla="*/ 166947 h 5217112"/>
              <a:gd name="connsiteX24496" fmla="*/ 4285559 w 6785952"/>
              <a:gd name="connsiteY24496" fmla="*/ 149184 h 5217112"/>
              <a:gd name="connsiteX24497" fmla="*/ 2800557 w 6785952"/>
              <a:gd name="connsiteY24497" fmla="*/ 140248 h 5217112"/>
              <a:gd name="connsiteX24498" fmla="*/ 2804129 w 6785952"/>
              <a:gd name="connsiteY24498" fmla="*/ 157684 h 5217112"/>
              <a:gd name="connsiteX24499" fmla="*/ 2800008 w 6785952"/>
              <a:gd name="connsiteY24499" fmla="*/ 147767 h 5217112"/>
              <a:gd name="connsiteX24500" fmla="*/ 2800557 w 6785952"/>
              <a:gd name="connsiteY24500" fmla="*/ 140248 h 5217112"/>
              <a:gd name="connsiteX24501" fmla="*/ 5910653 w 6785952"/>
              <a:gd name="connsiteY24501" fmla="*/ 122703 h 5217112"/>
              <a:gd name="connsiteX24502" fmla="*/ 5916147 w 6785952"/>
              <a:gd name="connsiteY24502" fmla="*/ 132402 h 5217112"/>
              <a:gd name="connsiteX24503" fmla="*/ 5905709 w 6785952"/>
              <a:gd name="connsiteY24503" fmla="*/ 137523 h 5217112"/>
              <a:gd name="connsiteX24504" fmla="*/ 5902687 w 6785952"/>
              <a:gd name="connsiteY24504" fmla="*/ 125646 h 5217112"/>
              <a:gd name="connsiteX24505" fmla="*/ 5910653 w 6785952"/>
              <a:gd name="connsiteY24505" fmla="*/ 122703 h 5217112"/>
              <a:gd name="connsiteX24506" fmla="*/ 2272045 w 6785952"/>
              <a:gd name="connsiteY24506" fmla="*/ 115293 h 5217112"/>
              <a:gd name="connsiteX24507" fmla="*/ 2277539 w 6785952"/>
              <a:gd name="connsiteY24507" fmla="*/ 125101 h 5217112"/>
              <a:gd name="connsiteX24508" fmla="*/ 2267100 w 6785952"/>
              <a:gd name="connsiteY24508" fmla="*/ 130222 h 5217112"/>
              <a:gd name="connsiteX24509" fmla="*/ 2264079 w 6785952"/>
              <a:gd name="connsiteY24509" fmla="*/ 118345 h 5217112"/>
              <a:gd name="connsiteX24510" fmla="*/ 2272045 w 6785952"/>
              <a:gd name="connsiteY24510" fmla="*/ 115293 h 5217112"/>
              <a:gd name="connsiteX24511" fmla="*/ 5392578 w 6785952"/>
              <a:gd name="connsiteY24511" fmla="*/ 112460 h 5217112"/>
              <a:gd name="connsiteX24512" fmla="*/ 5396150 w 6785952"/>
              <a:gd name="connsiteY24512" fmla="*/ 129787 h 5217112"/>
              <a:gd name="connsiteX24513" fmla="*/ 5392029 w 6785952"/>
              <a:gd name="connsiteY24513" fmla="*/ 119979 h 5217112"/>
              <a:gd name="connsiteX24514" fmla="*/ 5392578 w 6785952"/>
              <a:gd name="connsiteY24514" fmla="*/ 112460 h 5217112"/>
              <a:gd name="connsiteX24515" fmla="*/ 1753971 w 6785952"/>
              <a:gd name="connsiteY24515" fmla="*/ 105158 h 5217112"/>
              <a:gd name="connsiteX24516" fmla="*/ 1757541 w 6785952"/>
              <a:gd name="connsiteY24516" fmla="*/ 122485 h 5217112"/>
              <a:gd name="connsiteX24517" fmla="*/ 1753421 w 6785952"/>
              <a:gd name="connsiteY24517" fmla="*/ 112569 h 5217112"/>
              <a:gd name="connsiteX24518" fmla="*/ 1753971 w 6785952"/>
              <a:gd name="connsiteY24518" fmla="*/ 105158 h 5217112"/>
              <a:gd name="connsiteX24519" fmla="*/ 5100578 w 6785952"/>
              <a:gd name="connsiteY24519" fmla="*/ 87505 h 5217112"/>
              <a:gd name="connsiteX24520" fmla="*/ 5102775 w 6785952"/>
              <a:gd name="connsiteY24520" fmla="*/ 121505 h 5217112"/>
              <a:gd name="connsiteX24521" fmla="*/ 5100578 w 6785952"/>
              <a:gd name="connsiteY24521" fmla="*/ 87505 h 5217112"/>
              <a:gd name="connsiteX24522" fmla="*/ 4661890 w 6785952"/>
              <a:gd name="connsiteY24522" fmla="*/ 80095 h 5217112"/>
              <a:gd name="connsiteX24523" fmla="*/ 4667384 w 6785952"/>
              <a:gd name="connsiteY24523" fmla="*/ 89903 h 5217112"/>
              <a:gd name="connsiteX24524" fmla="*/ 4656946 w 6785952"/>
              <a:gd name="connsiteY24524" fmla="*/ 95025 h 5217112"/>
              <a:gd name="connsiteX24525" fmla="*/ 4653924 w 6785952"/>
              <a:gd name="connsiteY24525" fmla="*/ 83037 h 5217112"/>
              <a:gd name="connsiteX24526" fmla="*/ 4661890 w 6785952"/>
              <a:gd name="connsiteY24526" fmla="*/ 80095 h 5217112"/>
              <a:gd name="connsiteX24527" fmla="*/ 2948618 w 6785952"/>
              <a:gd name="connsiteY24527" fmla="*/ 70288 h 5217112"/>
              <a:gd name="connsiteX24528" fmla="*/ 2950541 w 6785952"/>
              <a:gd name="connsiteY24528" fmla="*/ 81294 h 5217112"/>
              <a:gd name="connsiteX24529" fmla="*/ 2946970 w 6785952"/>
              <a:gd name="connsiteY24529" fmla="*/ 82819 h 5217112"/>
              <a:gd name="connsiteX24530" fmla="*/ 2940652 w 6785952"/>
              <a:gd name="connsiteY24530" fmla="*/ 76281 h 5217112"/>
              <a:gd name="connsiteX24531" fmla="*/ 2948618 w 6785952"/>
              <a:gd name="connsiteY24531" fmla="*/ 70288 h 5217112"/>
              <a:gd name="connsiteX24532" fmla="*/ 4143816 w 6785952"/>
              <a:gd name="connsiteY24532" fmla="*/ 69960 h 5217112"/>
              <a:gd name="connsiteX24533" fmla="*/ 4147387 w 6785952"/>
              <a:gd name="connsiteY24533" fmla="*/ 87287 h 5217112"/>
              <a:gd name="connsiteX24534" fmla="*/ 4143266 w 6785952"/>
              <a:gd name="connsiteY24534" fmla="*/ 77371 h 5217112"/>
              <a:gd name="connsiteX24535" fmla="*/ 4143816 w 6785952"/>
              <a:gd name="connsiteY24535" fmla="*/ 69960 h 5217112"/>
              <a:gd name="connsiteX24536" fmla="*/ 5540639 w 6785952"/>
              <a:gd name="connsiteY24536" fmla="*/ 42500 h 5217112"/>
              <a:gd name="connsiteX24537" fmla="*/ 5542562 w 6785952"/>
              <a:gd name="connsiteY24537" fmla="*/ 53506 h 5217112"/>
              <a:gd name="connsiteX24538" fmla="*/ 5539265 w 6785952"/>
              <a:gd name="connsiteY24538" fmla="*/ 55140 h 5217112"/>
              <a:gd name="connsiteX24539" fmla="*/ 5532947 w 6785952"/>
              <a:gd name="connsiteY24539" fmla="*/ 48493 h 5217112"/>
              <a:gd name="connsiteX24540" fmla="*/ 5540639 w 6785952"/>
              <a:gd name="connsiteY24540" fmla="*/ 42500 h 5217112"/>
              <a:gd name="connsiteX24541" fmla="*/ 1902031 w 6785952"/>
              <a:gd name="connsiteY24541" fmla="*/ 35198 h 5217112"/>
              <a:gd name="connsiteX24542" fmla="*/ 1903953 w 6785952"/>
              <a:gd name="connsiteY24542" fmla="*/ 46095 h 5217112"/>
              <a:gd name="connsiteX24543" fmla="*/ 1900658 w 6785952"/>
              <a:gd name="connsiteY24543" fmla="*/ 47621 h 5217112"/>
              <a:gd name="connsiteX24544" fmla="*/ 1894064 w 6785952"/>
              <a:gd name="connsiteY24544" fmla="*/ 41192 h 5217112"/>
              <a:gd name="connsiteX24545" fmla="*/ 1902031 w 6785952"/>
              <a:gd name="connsiteY24545" fmla="*/ 35198 h 5217112"/>
              <a:gd name="connsiteX24546" fmla="*/ 4291877 w 6785952"/>
              <a:gd name="connsiteY24546" fmla="*/ 0 h 5217112"/>
              <a:gd name="connsiteX24547" fmla="*/ 4293799 w 6785952"/>
              <a:gd name="connsiteY24547" fmla="*/ 10897 h 5217112"/>
              <a:gd name="connsiteX24548" fmla="*/ 4290503 w 6785952"/>
              <a:gd name="connsiteY24548" fmla="*/ 12532 h 5217112"/>
              <a:gd name="connsiteX24549" fmla="*/ 4283910 w 6785952"/>
              <a:gd name="connsiteY24549" fmla="*/ 5993 h 5217112"/>
              <a:gd name="connsiteX24550" fmla="*/ 4291877 w 6785952"/>
              <a:gd name="connsiteY24550" fmla="*/ 0 h 5217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</a:cxnLst>
            <a:rect l="l" t="t" r="r" b="b"/>
            <a:pathLst>
              <a:path w="6785952" h="5217112">
                <a:moveTo>
                  <a:pt x="5308903" y="5195199"/>
                </a:moveTo>
                <a:cubicBezTo>
                  <a:pt x="5312209" y="5194978"/>
                  <a:pt x="5314013" y="5198409"/>
                  <a:pt x="5315816" y="5201839"/>
                </a:cubicBezTo>
                <a:cubicBezTo>
                  <a:pt x="5313111" y="5203942"/>
                  <a:pt x="5312810" y="5207262"/>
                  <a:pt x="5307099" y="5208148"/>
                </a:cubicBezTo>
                <a:cubicBezTo>
                  <a:pt x="5305896" y="5204053"/>
                  <a:pt x="5306196" y="5200843"/>
                  <a:pt x="5304994" y="5196859"/>
                </a:cubicBezTo>
                <a:cubicBezTo>
                  <a:pt x="5306497" y="5195753"/>
                  <a:pt x="5307700" y="5195310"/>
                  <a:pt x="5308903" y="5195199"/>
                </a:cubicBezTo>
                <a:close/>
                <a:moveTo>
                  <a:pt x="4053234" y="5195199"/>
                </a:moveTo>
                <a:cubicBezTo>
                  <a:pt x="4056540" y="5194978"/>
                  <a:pt x="4058345" y="5198409"/>
                  <a:pt x="4060449" y="5201839"/>
                </a:cubicBezTo>
                <a:cubicBezTo>
                  <a:pt x="4057443" y="5203942"/>
                  <a:pt x="4057443" y="5207262"/>
                  <a:pt x="4051731" y="5208148"/>
                </a:cubicBezTo>
                <a:cubicBezTo>
                  <a:pt x="4050528" y="5204053"/>
                  <a:pt x="4050528" y="5200843"/>
                  <a:pt x="4049326" y="5196859"/>
                </a:cubicBezTo>
                <a:cubicBezTo>
                  <a:pt x="4050829" y="5195753"/>
                  <a:pt x="4052032" y="5195310"/>
                  <a:pt x="4053234" y="5195199"/>
                </a:cubicBezTo>
                <a:close/>
                <a:moveTo>
                  <a:pt x="2544147" y="5195199"/>
                </a:moveTo>
                <a:cubicBezTo>
                  <a:pt x="2547454" y="5194978"/>
                  <a:pt x="2549559" y="5198409"/>
                  <a:pt x="2551362" y="5201839"/>
                </a:cubicBezTo>
                <a:cubicBezTo>
                  <a:pt x="2548357" y="5203942"/>
                  <a:pt x="2548357" y="5207262"/>
                  <a:pt x="2542645" y="5208148"/>
                </a:cubicBezTo>
                <a:cubicBezTo>
                  <a:pt x="2541442" y="5204053"/>
                  <a:pt x="2541442" y="5200843"/>
                  <a:pt x="2540240" y="5196859"/>
                </a:cubicBezTo>
                <a:cubicBezTo>
                  <a:pt x="2541742" y="5195753"/>
                  <a:pt x="2542945" y="5195310"/>
                  <a:pt x="2544147" y="5195199"/>
                </a:cubicBezTo>
                <a:close/>
                <a:moveTo>
                  <a:pt x="1515143" y="5195199"/>
                </a:moveTo>
                <a:cubicBezTo>
                  <a:pt x="1518450" y="5194978"/>
                  <a:pt x="1520253" y="5198409"/>
                  <a:pt x="1522358" y="5201839"/>
                </a:cubicBezTo>
                <a:cubicBezTo>
                  <a:pt x="1519352" y="5203942"/>
                  <a:pt x="1519051" y="5207262"/>
                  <a:pt x="1513340" y="5208148"/>
                </a:cubicBezTo>
                <a:cubicBezTo>
                  <a:pt x="1512136" y="5204053"/>
                  <a:pt x="1512437" y="5200843"/>
                  <a:pt x="1511235" y="5196859"/>
                </a:cubicBezTo>
                <a:cubicBezTo>
                  <a:pt x="1512738" y="5195753"/>
                  <a:pt x="1513941" y="5195310"/>
                  <a:pt x="1515143" y="5195199"/>
                </a:cubicBezTo>
                <a:close/>
                <a:moveTo>
                  <a:pt x="3910142" y="5181919"/>
                </a:moveTo>
                <a:cubicBezTo>
                  <a:pt x="3915853" y="5187895"/>
                  <a:pt x="3916454" y="5196085"/>
                  <a:pt x="3914049" y="5203168"/>
                </a:cubicBezTo>
                <a:cubicBezTo>
                  <a:pt x="3911644" y="5210140"/>
                  <a:pt x="3905933" y="5215895"/>
                  <a:pt x="3899320" y="5217112"/>
                </a:cubicBezTo>
                <a:cubicBezTo>
                  <a:pt x="3878276" y="5204385"/>
                  <a:pt x="3897215" y="5180812"/>
                  <a:pt x="3910142" y="5181919"/>
                </a:cubicBezTo>
                <a:close/>
                <a:moveTo>
                  <a:pt x="5469131" y="5118172"/>
                </a:moveTo>
                <a:cubicBezTo>
                  <a:pt x="5470032" y="5122931"/>
                  <a:pt x="5472436" y="5125808"/>
                  <a:pt x="5473940" y="5128243"/>
                </a:cubicBezTo>
                <a:cubicBezTo>
                  <a:pt x="5475443" y="5130678"/>
                  <a:pt x="5476044" y="5132781"/>
                  <a:pt x="5473038" y="5135990"/>
                </a:cubicBezTo>
                <a:cubicBezTo>
                  <a:pt x="5466725" y="5134773"/>
                  <a:pt x="5464621" y="5123041"/>
                  <a:pt x="5469131" y="5118172"/>
                </a:cubicBezTo>
                <a:close/>
                <a:moveTo>
                  <a:pt x="4213763" y="5118172"/>
                </a:moveTo>
                <a:cubicBezTo>
                  <a:pt x="4214664" y="5122931"/>
                  <a:pt x="4216769" y="5125808"/>
                  <a:pt x="4218271" y="5128243"/>
                </a:cubicBezTo>
                <a:cubicBezTo>
                  <a:pt x="4219775" y="5130678"/>
                  <a:pt x="4220376" y="5132781"/>
                  <a:pt x="4217670" y="5135990"/>
                </a:cubicBezTo>
                <a:cubicBezTo>
                  <a:pt x="4211357" y="5134773"/>
                  <a:pt x="4209253" y="5123041"/>
                  <a:pt x="4213763" y="5118172"/>
                </a:cubicBezTo>
                <a:close/>
                <a:moveTo>
                  <a:pt x="2704676" y="5118172"/>
                </a:moveTo>
                <a:cubicBezTo>
                  <a:pt x="2705577" y="5122931"/>
                  <a:pt x="2707682" y="5125808"/>
                  <a:pt x="2709186" y="5128243"/>
                </a:cubicBezTo>
                <a:cubicBezTo>
                  <a:pt x="2710688" y="5130678"/>
                  <a:pt x="2711289" y="5132781"/>
                  <a:pt x="2708583" y="5135990"/>
                </a:cubicBezTo>
                <a:cubicBezTo>
                  <a:pt x="2702271" y="5134773"/>
                  <a:pt x="2700166" y="5123041"/>
                  <a:pt x="2704676" y="5118172"/>
                </a:cubicBezTo>
                <a:close/>
                <a:moveTo>
                  <a:pt x="1675671" y="5118172"/>
                </a:moveTo>
                <a:cubicBezTo>
                  <a:pt x="1676272" y="5122931"/>
                  <a:pt x="1678677" y="5125808"/>
                  <a:pt x="1680181" y="5128243"/>
                </a:cubicBezTo>
                <a:cubicBezTo>
                  <a:pt x="1681683" y="5130678"/>
                  <a:pt x="1682285" y="5132781"/>
                  <a:pt x="1679580" y="5135990"/>
                </a:cubicBezTo>
                <a:cubicBezTo>
                  <a:pt x="1673266" y="5134773"/>
                  <a:pt x="1670861" y="5123041"/>
                  <a:pt x="1675671" y="5118172"/>
                </a:cubicBezTo>
                <a:close/>
                <a:moveTo>
                  <a:pt x="4897060" y="5110093"/>
                </a:moveTo>
                <a:cubicBezTo>
                  <a:pt x="4898263" y="5114188"/>
                  <a:pt x="4899465" y="5118283"/>
                  <a:pt x="4900667" y="5122377"/>
                </a:cubicBezTo>
                <a:cubicBezTo>
                  <a:pt x="4897060" y="5122599"/>
                  <a:pt x="4894054" y="5124702"/>
                  <a:pt x="4891950" y="5125476"/>
                </a:cubicBezTo>
                <a:cubicBezTo>
                  <a:pt x="4887741" y="5123595"/>
                  <a:pt x="4885637" y="5120939"/>
                  <a:pt x="4885336" y="5115405"/>
                </a:cubicBezTo>
                <a:cubicBezTo>
                  <a:pt x="4891348" y="5111089"/>
                  <a:pt x="4889244" y="5111753"/>
                  <a:pt x="4897060" y="5110093"/>
                </a:cubicBezTo>
                <a:close/>
                <a:moveTo>
                  <a:pt x="3641693" y="5110093"/>
                </a:moveTo>
                <a:cubicBezTo>
                  <a:pt x="3642895" y="5114188"/>
                  <a:pt x="3643797" y="5118283"/>
                  <a:pt x="3644999" y="5122377"/>
                </a:cubicBezTo>
                <a:cubicBezTo>
                  <a:pt x="3641392" y="5122599"/>
                  <a:pt x="3638386" y="5124702"/>
                  <a:pt x="3636281" y="5125476"/>
                </a:cubicBezTo>
                <a:cubicBezTo>
                  <a:pt x="3632072" y="5123595"/>
                  <a:pt x="3630269" y="5120939"/>
                  <a:pt x="3629969" y="5115405"/>
                </a:cubicBezTo>
                <a:cubicBezTo>
                  <a:pt x="3635981" y="5111089"/>
                  <a:pt x="3633876" y="5111753"/>
                  <a:pt x="3641693" y="5110093"/>
                </a:cubicBezTo>
                <a:close/>
                <a:moveTo>
                  <a:pt x="2132606" y="5110093"/>
                </a:moveTo>
                <a:cubicBezTo>
                  <a:pt x="2133808" y="5114188"/>
                  <a:pt x="2134711" y="5118283"/>
                  <a:pt x="2135913" y="5122377"/>
                </a:cubicBezTo>
                <a:cubicBezTo>
                  <a:pt x="2132306" y="5122599"/>
                  <a:pt x="2129600" y="5124702"/>
                  <a:pt x="2127195" y="5125476"/>
                </a:cubicBezTo>
                <a:cubicBezTo>
                  <a:pt x="2123287" y="5123595"/>
                  <a:pt x="2121183" y="5120939"/>
                  <a:pt x="2120882" y="5115405"/>
                </a:cubicBezTo>
                <a:cubicBezTo>
                  <a:pt x="2126894" y="5111089"/>
                  <a:pt x="2124790" y="5111753"/>
                  <a:pt x="2132606" y="5110093"/>
                </a:cubicBezTo>
                <a:close/>
                <a:moveTo>
                  <a:pt x="1103601" y="5110093"/>
                </a:moveTo>
                <a:cubicBezTo>
                  <a:pt x="1104503" y="5114188"/>
                  <a:pt x="1105706" y="5118283"/>
                  <a:pt x="1106908" y="5122377"/>
                </a:cubicBezTo>
                <a:cubicBezTo>
                  <a:pt x="1103301" y="5122599"/>
                  <a:pt x="1100295" y="5124702"/>
                  <a:pt x="1098190" y="5125476"/>
                </a:cubicBezTo>
                <a:cubicBezTo>
                  <a:pt x="1093982" y="5123595"/>
                  <a:pt x="1092178" y="5120939"/>
                  <a:pt x="1091877" y="5115405"/>
                </a:cubicBezTo>
                <a:cubicBezTo>
                  <a:pt x="1097890" y="5111089"/>
                  <a:pt x="1095484" y="5111753"/>
                  <a:pt x="1103601" y="5110093"/>
                </a:cubicBezTo>
                <a:close/>
                <a:moveTo>
                  <a:pt x="3790798" y="5055864"/>
                </a:moveTo>
                <a:cubicBezTo>
                  <a:pt x="3792901" y="5055753"/>
                  <a:pt x="3795006" y="5055975"/>
                  <a:pt x="3796810" y="5056417"/>
                </a:cubicBezTo>
                <a:cubicBezTo>
                  <a:pt x="3808233" y="5059516"/>
                  <a:pt x="3815749" y="5073682"/>
                  <a:pt x="3810338" y="5086188"/>
                </a:cubicBezTo>
                <a:cubicBezTo>
                  <a:pt x="3805828" y="5088180"/>
                  <a:pt x="3800116" y="5093492"/>
                  <a:pt x="3792901" y="5094046"/>
                </a:cubicBezTo>
                <a:cubicBezTo>
                  <a:pt x="3779976" y="5083753"/>
                  <a:pt x="3778772" y="5070915"/>
                  <a:pt x="3784484" y="5057635"/>
                </a:cubicBezTo>
                <a:cubicBezTo>
                  <a:pt x="3786589" y="5056639"/>
                  <a:pt x="3788994" y="5056085"/>
                  <a:pt x="3790798" y="5055864"/>
                </a:cubicBezTo>
                <a:close/>
                <a:moveTo>
                  <a:pt x="3997921" y="5040481"/>
                </a:moveTo>
                <a:cubicBezTo>
                  <a:pt x="4013253" y="5041809"/>
                  <a:pt x="4023773" y="5061398"/>
                  <a:pt x="4021970" y="5077666"/>
                </a:cubicBezTo>
                <a:cubicBezTo>
                  <a:pt x="4021369" y="5083864"/>
                  <a:pt x="4018664" y="5089508"/>
                  <a:pt x="4014154" y="5093492"/>
                </a:cubicBezTo>
                <a:cubicBezTo>
                  <a:pt x="3988903" y="5100022"/>
                  <a:pt x="3978681" y="5059295"/>
                  <a:pt x="3991007" y="5041034"/>
                </a:cubicBezTo>
                <a:cubicBezTo>
                  <a:pt x="3993412" y="5040370"/>
                  <a:pt x="3995816" y="5040259"/>
                  <a:pt x="3997921" y="5040481"/>
                </a:cubicBezTo>
                <a:close/>
                <a:moveTo>
                  <a:pt x="5322429" y="5034947"/>
                </a:moveTo>
                <a:cubicBezTo>
                  <a:pt x="5324534" y="5034504"/>
                  <a:pt x="5326639" y="5034836"/>
                  <a:pt x="5329044" y="5035943"/>
                </a:cubicBezTo>
                <a:cubicBezTo>
                  <a:pt x="5335356" y="5048006"/>
                  <a:pt x="5323030" y="5056196"/>
                  <a:pt x="5314314" y="5054204"/>
                </a:cubicBezTo>
                <a:cubicBezTo>
                  <a:pt x="5311307" y="5053540"/>
                  <a:pt x="5308903" y="5051769"/>
                  <a:pt x="5307700" y="5048560"/>
                </a:cubicBezTo>
                <a:cubicBezTo>
                  <a:pt x="5312209" y="5042915"/>
                  <a:pt x="5316417" y="5036054"/>
                  <a:pt x="5322429" y="5034947"/>
                </a:cubicBezTo>
                <a:close/>
                <a:moveTo>
                  <a:pt x="4067062" y="5034947"/>
                </a:moveTo>
                <a:cubicBezTo>
                  <a:pt x="4068866" y="5034504"/>
                  <a:pt x="4070970" y="5034836"/>
                  <a:pt x="4073375" y="5035943"/>
                </a:cubicBezTo>
                <a:cubicBezTo>
                  <a:pt x="4076682" y="5041919"/>
                  <a:pt x="4075179" y="5047010"/>
                  <a:pt x="4071872" y="5050330"/>
                </a:cubicBezTo>
                <a:lnTo>
                  <a:pt x="4067964" y="5052544"/>
                </a:lnTo>
                <a:lnTo>
                  <a:pt x="4074277" y="5049888"/>
                </a:lnTo>
                <a:cubicBezTo>
                  <a:pt x="4080290" y="5063168"/>
                  <a:pt x="4084197" y="5072022"/>
                  <a:pt x="4085099" y="5079880"/>
                </a:cubicBezTo>
                <a:cubicBezTo>
                  <a:pt x="4071271" y="5092164"/>
                  <a:pt x="4055939" y="5072133"/>
                  <a:pt x="4061351" y="5059184"/>
                </a:cubicBezTo>
                <a:lnTo>
                  <a:pt x="4065258" y="5053983"/>
                </a:lnTo>
                <a:lnTo>
                  <a:pt x="4058645" y="5054204"/>
                </a:lnTo>
                <a:cubicBezTo>
                  <a:pt x="4055939" y="5053540"/>
                  <a:pt x="4053534" y="5051769"/>
                  <a:pt x="4052032" y="5048560"/>
                </a:cubicBezTo>
                <a:cubicBezTo>
                  <a:pt x="4056841" y="5042915"/>
                  <a:pt x="4061050" y="5036054"/>
                  <a:pt x="4067062" y="5034947"/>
                </a:cubicBezTo>
                <a:close/>
                <a:moveTo>
                  <a:pt x="2557976" y="5034947"/>
                </a:moveTo>
                <a:cubicBezTo>
                  <a:pt x="2559780" y="5034504"/>
                  <a:pt x="2561884" y="5034836"/>
                  <a:pt x="2564590" y="5035943"/>
                </a:cubicBezTo>
                <a:cubicBezTo>
                  <a:pt x="2570602" y="5048006"/>
                  <a:pt x="2558276" y="5056196"/>
                  <a:pt x="2549859" y="5054204"/>
                </a:cubicBezTo>
                <a:cubicBezTo>
                  <a:pt x="2546853" y="5053540"/>
                  <a:pt x="2544448" y="5051769"/>
                  <a:pt x="2542945" y="5048560"/>
                </a:cubicBezTo>
                <a:cubicBezTo>
                  <a:pt x="2547754" y="5042915"/>
                  <a:pt x="2551964" y="5036054"/>
                  <a:pt x="2557976" y="5034947"/>
                </a:cubicBezTo>
                <a:close/>
                <a:moveTo>
                  <a:pt x="1528971" y="5034947"/>
                </a:moveTo>
                <a:cubicBezTo>
                  <a:pt x="1530775" y="5034504"/>
                  <a:pt x="1532880" y="5034836"/>
                  <a:pt x="1535285" y="5035943"/>
                </a:cubicBezTo>
                <a:cubicBezTo>
                  <a:pt x="1541597" y="5048006"/>
                  <a:pt x="1529271" y="5056196"/>
                  <a:pt x="1520554" y="5054204"/>
                </a:cubicBezTo>
                <a:cubicBezTo>
                  <a:pt x="1517848" y="5053540"/>
                  <a:pt x="1515143" y="5051769"/>
                  <a:pt x="1513941" y="5048560"/>
                </a:cubicBezTo>
                <a:cubicBezTo>
                  <a:pt x="1518450" y="5042915"/>
                  <a:pt x="1522959" y="5036054"/>
                  <a:pt x="1528971" y="5034947"/>
                </a:cubicBezTo>
                <a:close/>
                <a:moveTo>
                  <a:pt x="3685582" y="5016465"/>
                </a:moveTo>
                <a:cubicBezTo>
                  <a:pt x="3688288" y="5016022"/>
                  <a:pt x="3690692" y="5016244"/>
                  <a:pt x="3692797" y="5017018"/>
                </a:cubicBezTo>
                <a:cubicBezTo>
                  <a:pt x="3696705" y="5025651"/>
                  <a:pt x="3697907" y="5034504"/>
                  <a:pt x="3696404" y="5042694"/>
                </a:cubicBezTo>
                <a:cubicBezTo>
                  <a:pt x="3694601" y="5050884"/>
                  <a:pt x="3689791" y="5058520"/>
                  <a:pt x="3681073" y="5064939"/>
                </a:cubicBezTo>
                <a:cubicBezTo>
                  <a:pt x="3665140" y="5063279"/>
                  <a:pt x="3662434" y="5040259"/>
                  <a:pt x="3659729" y="5028196"/>
                </a:cubicBezTo>
                <a:cubicBezTo>
                  <a:pt x="3668748" y="5022884"/>
                  <a:pt x="3677766" y="5017461"/>
                  <a:pt x="3685582" y="5016465"/>
                </a:cubicBezTo>
                <a:close/>
                <a:moveTo>
                  <a:pt x="5674751" y="5008165"/>
                </a:moveTo>
                <a:cubicBezTo>
                  <a:pt x="5676254" y="5008829"/>
                  <a:pt x="5677155" y="5010710"/>
                  <a:pt x="5678057" y="5012813"/>
                </a:cubicBezTo>
                <a:cubicBezTo>
                  <a:pt x="5678959" y="5015026"/>
                  <a:pt x="5679862" y="5017461"/>
                  <a:pt x="5680162" y="5019453"/>
                </a:cubicBezTo>
                <a:cubicBezTo>
                  <a:pt x="5677756" y="5023659"/>
                  <a:pt x="5672646" y="5026536"/>
                  <a:pt x="5667235" y="5027532"/>
                </a:cubicBezTo>
                <a:cubicBezTo>
                  <a:pt x="5664830" y="5019453"/>
                  <a:pt x="5668137" y="5013920"/>
                  <a:pt x="5674751" y="5008165"/>
                </a:cubicBezTo>
                <a:close/>
                <a:moveTo>
                  <a:pt x="4419383" y="5008165"/>
                </a:moveTo>
                <a:cubicBezTo>
                  <a:pt x="4420586" y="5008829"/>
                  <a:pt x="4421788" y="5010710"/>
                  <a:pt x="4422690" y="5012813"/>
                </a:cubicBezTo>
                <a:cubicBezTo>
                  <a:pt x="4423591" y="5015026"/>
                  <a:pt x="4424193" y="5017461"/>
                  <a:pt x="4424794" y="5019453"/>
                </a:cubicBezTo>
                <a:cubicBezTo>
                  <a:pt x="4422389" y="5023659"/>
                  <a:pt x="4417278" y="5026536"/>
                  <a:pt x="4411567" y="5027532"/>
                </a:cubicBezTo>
                <a:cubicBezTo>
                  <a:pt x="4409463" y="5019453"/>
                  <a:pt x="4412769" y="5013920"/>
                  <a:pt x="4419383" y="5008165"/>
                </a:cubicBezTo>
                <a:close/>
                <a:moveTo>
                  <a:pt x="2910296" y="5008165"/>
                </a:moveTo>
                <a:cubicBezTo>
                  <a:pt x="2911800" y="5008829"/>
                  <a:pt x="2912701" y="5010710"/>
                  <a:pt x="2913603" y="5012813"/>
                </a:cubicBezTo>
                <a:cubicBezTo>
                  <a:pt x="2914505" y="5015026"/>
                  <a:pt x="2915106" y="5017461"/>
                  <a:pt x="2915707" y="5019453"/>
                </a:cubicBezTo>
                <a:cubicBezTo>
                  <a:pt x="2913302" y="5023659"/>
                  <a:pt x="2908192" y="5026536"/>
                  <a:pt x="2902480" y="5027532"/>
                </a:cubicBezTo>
                <a:cubicBezTo>
                  <a:pt x="2900377" y="5019453"/>
                  <a:pt x="2903683" y="5013920"/>
                  <a:pt x="2910296" y="5008165"/>
                </a:cubicBezTo>
                <a:close/>
                <a:moveTo>
                  <a:pt x="1881292" y="5008165"/>
                </a:moveTo>
                <a:cubicBezTo>
                  <a:pt x="1882495" y="5008829"/>
                  <a:pt x="1883697" y="5010710"/>
                  <a:pt x="1884598" y="5012813"/>
                </a:cubicBezTo>
                <a:cubicBezTo>
                  <a:pt x="1885501" y="5015026"/>
                  <a:pt x="1886102" y="5017461"/>
                  <a:pt x="1886703" y="5019453"/>
                </a:cubicBezTo>
                <a:cubicBezTo>
                  <a:pt x="1884298" y="5023659"/>
                  <a:pt x="1879188" y="5026536"/>
                  <a:pt x="1873475" y="5027532"/>
                </a:cubicBezTo>
                <a:cubicBezTo>
                  <a:pt x="1871372" y="5019453"/>
                  <a:pt x="1874678" y="5013920"/>
                  <a:pt x="1881292" y="5008165"/>
                </a:cubicBezTo>
                <a:close/>
                <a:moveTo>
                  <a:pt x="4659274" y="5007833"/>
                </a:moveTo>
                <a:cubicBezTo>
                  <a:pt x="4666488" y="5031074"/>
                  <a:pt x="4682121" y="5034836"/>
                  <a:pt x="4679114" y="5057081"/>
                </a:cubicBezTo>
                <a:cubicBezTo>
                  <a:pt x="4651457" y="5079216"/>
                  <a:pt x="4626206" y="5046900"/>
                  <a:pt x="4636427" y="5024544"/>
                </a:cubicBezTo>
                <a:cubicBezTo>
                  <a:pt x="4639733" y="5017129"/>
                  <a:pt x="4646948" y="5010710"/>
                  <a:pt x="4659274" y="5007833"/>
                </a:cubicBezTo>
                <a:close/>
                <a:moveTo>
                  <a:pt x="5100576" y="5006173"/>
                </a:moveTo>
                <a:cubicBezTo>
                  <a:pt x="5103282" y="5017240"/>
                  <a:pt x="5099674" y="5020006"/>
                  <a:pt x="5095465" y="5019010"/>
                </a:cubicBezTo>
                <a:cubicBezTo>
                  <a:pt x="5088852" y="5017461"/>
                  <a:pt x="5081037" y="5005730"/>
                  <a:pt x="5100576" y="5006173"/>
                </a:cubicBezTo>
                <a:close/>
                <a:moveTo>
                  <a:pt x="3845208" y="5006173"/>
                </a:moveTo>
                <a:cubicBezTo>
                  <a:pt x="3847914" y="5017240"/>
                  <a:pt x="3844307" y="5020006"/>
                  <a:pt x="3840098" y="5019010"/>
                </a:cubicBezTo>
                <a:cubicBezTo>
                  <a:pt x="3833485" y="5017461"/>
                  <a:pt x="3825368" y="5005730"/>
                  <a:pt x="3845208" y="5006173"/>
                </a:cubicBezTo>
                <a:close/>
                <a:moveTo>
                  <a:pt x="2336122" y="5006173"/>
                </a:moveTo>
                <a:cubicBezTo>
                  <a:pt x="2338827" y="5017240"/>
                  <a:pt x="2335220" y="5020006"/>
                  <a:pt x="2331011" y="5019010"/>
                </a:cubicBezTo>
                <a:cubicBezTo>
                  <a:pt x="2324398" y="5017461"/>
                  <a:pt x="2316281" y="5005730"/>
                  <a:pt x="2336122" y="5006173"/>
                </a:cubicBezTo>
                <a:close/>
                <a:moveTo>
                  <a:pt x="1306817" y="5006173"/>
                </a:moveTo>
                <a:cubicBezTo>
                  <a:pt x="1309823" y="5017240"/>
                  <a:pt x="1306216" y="5020006"/>
                  <a:pt x="1302006" y="5019010"/>
                </a:cubicBezTo>
                <a:cubicBezTo>
                  <a:pt x="1295093" y="5017461"/>
                  <a:pt x="1287277" y="5005730"/>
                  <a:pt x="1306817" y="5006173"/>
                </a:cubicBezTo>
                <a:close/>
                <a:moveTo>
                  <a:pt x="5153485" y="4999422"/>
                </a:moveTo>
                <a:cubicBezTo>
                  <a:pt x="5157993" y="5000639"/>
                  <a:pt x="5160398" y="5004844"/>
                  <a:pt x="5161600" y="5009714"/>
                </a:cubicBezTo>
                <a:cubicBezTo>
                  <a:pt x="5162503" y="5014584"/>
                  <a:pt x="5162503" y="5020117"/>
                  <a:pt x="5161901" y="5024212"/>
                </a:cubicBezTo>
                <a:cubicBezTo>
                  <a:pt x="5157693" y="5025651"/>
                  <a:pt x="5157392" y="5029082"/>
                  <a:pt x="5152884" y="5030520"/>
                </a:cubicBezTo>
                <a:cubicBezTo>
                  <a:pt x="5149276" y="5018457"/>
                  <a:pt x="5144466" y="5005730"/>
                  <a:pt x="5153485" y="4999422"/>
                </a:cubicBezTo>
                <a:close/>
                <a:moveTo>
                  <a:pt x="3897816" y="4999422"/>
                </a:moveTo>
                <a:cubicBezTo>
                  <a:pt x="3902326" y="5000639"/>
                  <a:pt x="3904731" y="5004844"/>
                  <a:pt x="3905933" y="5009714"/>
                </a:cubicBezTo>
                <a:cubicBezTo>
                  <a:pt x="3907135" y="5014584"/>
                  <a:pt x="3906834" y="5020117"/>
                  <a:pt x="3906233" y="5024212"/>
                </a:cubicBezTo>
                <a:cubicBezTo>
                  <a:pt x="3902025" y="5025651"/>
                  <a:pt x="3901724" y="5029082"/>
                  <a:pt x="3897516" y="5030520"/>
                </a:cubicBezTo>
                <a:cubicBezTo>
                  <a:pt x="3893908" y="5018457"/>
                  <a:pt x="3889098" y="5005730"/>
                  <a:pt x="3897816" y="4999422"/>
                </a:cubicBezTo>
                <a:close/>
                <a:moveTo>
                  <a:pt x="2389030" y="4999422"/>
                </a:moveTo>
                <a:cubicBezTo>
                  <a:pt x="2393540" y="5000639"/>
                  <a:pt x="2395644" y="5004844"/>
                  <a:pt x="2396846" y="5009714"/>
                </a:cubicBezTo>
                <a:cubicBezTo>
                  <a:pt x="2398048" y="5014584"/>
                  <a:pt x="2397748" y="5020117"/>
                  <a:pt x="2397147" y="5024212"/>
                </a:cubicBezTo>
                <a:cubicBezTo>
                  <a:pt x="2392939" y="5025651"/>
                  <a:pt x="2392638" y="5029082"/>
                  <a:pt x="2388429" y="5030520"/>
                </a:cubicBezTo>
                <a:cubicBezTo>
                  <a:pt x="2384822" y="5018457"/>
                  <a:pt x="2380012" y="5005730"/>
                  <a:pt x="2389030" y="4999422"/>
                </a:cubicBezTo>
                <a:close/>
                <a:moveTo>
                  <a:pt x="1359725" y="4999422"/>
                </a:moveTo>
                <a:cubicBezTo>
                  <a:pt x="1364234" y="5000639"/>
                  <a:pt x="1366639" y="5004844"/>
                  <a:pt x="1367841" y="5009714"/>
                </a:cubicBezTo>
                <a:cubicBezTo>
                  <a:pt x="1369044" y="5014584"/>
                  <a:pt x="1368744" y="5020117"/>
                  <a:pt x="1368142" y="5024212"/>
                </a:cubicBezTo>
                <a:cubicBezTo>
                  <a:pt x="1363934" y="5025651"/>
                  <a:pt x="1363633" y="5029082"/>
                  <a:pt x="1359424" y="5030520"/>
                </a:cubicBezTo>
                <a:cubicBezTo>
                  <a:pt x="1355817" y="5018457"/>
                  <a:pt x="1351007" y="5005730"/>
                  <a:pt x="1359725" y="4999422"/>
                </a:cubicBezTo>
                <a:close/>
                <a:moveTo>
                  <a:pt x="5524444" y="4972528"/>
                </a:moveTo>
                <a:cubicBezTo>
                  <a:pt x="5526848" y="4974853"/>
                  <a:pt x="5525946" y="4978283"/>
                  <a:pt x="5525345" y="4981604"/>
                </a:cubicBezTo>
                <a:cubicBezTo>
                  <a:pt x="5524142" y="4984260"/>
                  <a:pt x="5522939" y="4985477"/>
                  <a:pt x="5521136" y="4985920"/>
                </a:cubicBezTo>
                <a:cubicBezTo>
                  <a:pt x="5519634" y="4986252"/>
                  <a:pt x="5517830" y="4985588"/>
                  <a:pt x="5515725" y="4984702"/>
                </a:cubicBezTo>
                <a:cubicBezTo>
                  <a:pt x="5511817" y="4982932"/>
                  <a:pt x="5512719" y="4979722"/>
                  <a:pt x="5512719" y="4979722"/>
                </a:cubicBezTo>
                <a:cubicBezTo>
                  <a:pt x="5514523" y="4974410"/>
                  <a:pt x="5518731" y="4971311"/>
                  <a:pt x="5524444" y="4972528"/>
                </a:cubicBezTo>
                <a:close/>
                <a:moveTo>
                  <a:pt x="4268775" y="4972528"/>
                </a:moveTo>
                <a:cubicBezTo>
                  <a:pt x="4271180" y="4974853"/>
                  <a:pt x="4270278" y="4978283"/>
                  <a:pt x="4269677" y="4981604"/>
                </a:cubicBezTo>
                <a:cubicBezTo>
                  <a:pt x="4268775" y="4984260"/>
                  <a:pt x="4267272" y="4985477"/>
                  <a:pt x="4265769" y="4985920"/>
                </a:cubicBezTo>
                <a:cubicBezTo>
                  <a:pt x="4263965" y="4986252"/>
                  <a:pt x="4262161" y="4985588"/>
                  <a:pt x="4260058" y="4984702"/>
                </a:cubicBezTo>
                <a:cubicBezTo>
                  <a:pt x="4256149" y="4982932"/>
                  <a:pt x="4257050" y="4979722"/>
                  <a:pt x="4257050" y="4979722"/>
                </a:cubicBezTo>
                <a:cubicBezTo>
                  <a:pt x="4259155" y="4974410"/>
                  <a:pt x="4263364" y="4971311"/>
                  <a:pt x="4268775" y="4972528"/>
                </a:cubicBezTo>
                <a:close/>
                <a:moveTo>
                  <a:pt x="2759688" y="4972528"/>
                </a:moveTo>
                <a:cubicBezTo>
                  <a:pt x="2762093" y="4974853"/>
                  <a:pt x="2761492" y="4978283"/>
                  <a:pt x="2760590" y="4981604"/>
                </a:cubicBezTo>
                <a:cubicBezTo>
                  <a:pt x="2759688" y="4984260"/>
                  <a:pt x="2758185" y="4985477"/>
                  <a:pt x="2756683" y="4985920"/>
                </a:cubicBezTo>
                <a:cubicBezTo>
                  <a:pt x="2755179" y="4986252"/>
                  <a:pt x="2753376" y="4985588"/>
                  <a:pt x="2751271" y="4984702"/>
                </a:cubicBezTo>
                <a:cubicBezTo>
                  <a:pt x="2747363" y="4982932"/>
                  <a:pt x="2747965" y="4979722"/>
                  <a:pt x="2747965" y="4979722"/>
                </a:cubicBezTo>
                <a:cubicBezTo>
                  <a:pt x="2750068" y="4974410"/>
                  <a:pt x="2754278" y="4971311"/>
                  <a:pt x="2759688" y="4972528"/>
                </a:cubicBezTo>
                <a:close/>
                <a:moveTo>
                  <a:pt x="1730684" y="4972528"/>
                </a:moveTo>
                <a:cubicBezTo>
                  <a:pt x="1733089" y="4974853"/>
                  <a:pt x="1732187" y="4978283"/>
                  <a:pt x="1731585" y="4981604"/>
                </a:cubicBezTo>
                <a:cubicBezTo>
                  <a:pt x="1730383" y="4984260"/>
                  <a:pt x="1729180" y="4985477"/>
                  <a:pt x="1727678" y="4985920"/>
                </a:cubicBezTo>
                <a:cubicBezTo>
                  <a:pt x="1725874" y="4986252"/>
                  <a:pt x="1724071" y="4985588"/>
                  <a:pt x="1722267" y="4984702"/>
                </a:cubicBezTo>
                <a:cubicBezTo>
                  <a:pt x="1718359" y="4982932"/>
                  <a:pt x="1718960" y="4979722"/>
                  <a:pt x="1718960" y="4979722"/>
                </a:cubicBezTo>
                <a:cubicBezTo>
                  <a:pt x="1720763" y="4974410"/>
                  <a:pt x="1724972" y="4971311"/>
                  <a:pt x="1730684" y="4972528"/>
                </a:cubicBezTo>
                <a:close/>
                <a:moveTo>
                  <a:pt x="5680763" y="4968766"/>
                </a:moveTo>
                <a:cubicBezTo>
                  <a:pt x="5679560" y="4970536"/>
                  <a:pt x="5679560" y="4970647"/>
                  <a:pt x="5681364" y="4971422"/>
                </a:cubicBezTo>
                <a:cubicBezTo>
                  <a:pt x="5681364" y="4971422"/>
                  <a:pt x="5681364" y="4971532"/>
                  <a:pt x="5682867" y="4970979"/>
                </a:cubicBezTo>
                <a:cubicBezTo>
                  <a:pt x="5683167" y="4972307"/>
                  <a:pt x="5681665" y="4972750"/>
                  <a:pt x="5681965" y="4974189"/>
                </a:cubicBezTo>
                <a:cubicBezTo>
                  <a:pt x="5681965" y="4974189"/>
                  <a:pt x="5680763" y="4974742"/>
                  <a:pt x="5680763" y="4974742"/>
                </a:cubicBezTo>
                <a:cubicBezTo>
                  <a:pt x="5680763" y="4975406"/>
                  <a:pt x="5680763" y="4975406"/>
                  <a:pt x="5680463" y="4975185"/>
                </a:cubicBezTo>
                <a:cubicBezTo>
                  <a:pt x="5679862" y="4974963"/>
                  <a:pt x="5678959" y="4974521"/>
                  <a:pt x="5677456" y="4974410"/>
                </a:cubicBezTo>
                <a:cubicBezTo>
                  <a:pt x="5675352" y="4973524"/>
                  <a:pt x="5673849" y="4973967"/>
                  <a:pt x="5675052" y="4972086"/>
                </a:cubicBezTo>
                <a:cubicBezTo>
                  <a:pt x="5675953" y="4970315"/>
                  <a:pt x="5676254" y="4970204"/>
                  <a:pt x="5680763" y="4968766"/>
                </a:cubicBezTo>
                <a:close/>
                <a:moveTo>
                  <a:pt x="4425095" y="4968766"/>
                </a:moveTo>
                <a:cubicBezTo>
                  <a:pt x="4423891" y="4970536"/>
                  <a:pt x="4423891" y="4970647"/>
                  <a:pt x="4425996" y="4971422"/>
                </a:cubicBezTo>
                <a:cubicBezTo>
                  <a:pt x="4425996" y="4971422"/>
                  <a:pt x="4425996" y="4971532"/>
                  <a:pt x="4427500" y="4970979"/>
                </a:cubicBezTo>
                <a:cubicBezTo>
                  <a:pt x="4427800" y="4972307"/>
                  <a:pt x="4426298" y="4972750"/>
                  <a:pt x="4426598" y="4974189"/>
                </a:cubicBezTo>
                <a:cubicBezTo>
                  <a:pt x="4426598" y="4974189"/>
                  <a:pt x="4425095" y="4974742"/>
                  <a:pt x="4425095" y="4974742"/>
                </a:cubicBezTo>
                <a:cubicBezTo>
                  <a:pt x="4425395" y="4975406"/>
                  <a:pt x="4425395" y="4975406"/>
                  <a:pt x="4424794" y="4975185"/>
                </a:cubicBezTo>
                <a:cubicBezTo>
                  <a:pt x="4424193" y="4974963"/>
                  <a:pt x="4423291" y="4974521"/>
                  <a:pt x="4421788" y="4974410"/>
                </a:cubicBezTo>
                <a:cubicBezTo>
                  <a:pt x="4419984" y="4973524"/>
                  <a:pt x="4418481" y="4973967"/>
                  <a:pt x="4419383" y="4972086"/>
                </a:cubicBezTo>
                <a:cubicBezTo>
                  <a:pt x="4420586" y="4970315"/>
                  <a:pt x="4420586" y="4970204"/>
                  <a:pt x="4425095" y="4968766"/>
                </a:cubicBezTo>
                <a:close/>
                <a:moveTo>
                  <a:pt x="2916008" y="4968766"/>
                </a:moveTo>
                <a:cubicBezTo>
                  <a:pt x="2915106" y="4970536"/>
                  <a:pt x="2915106" y="4970647"/>
                  <a:pt x="2916910" y="4971422"/>
                </a:cubicBezTo>
                <a:cubicBezTo>
                  <a:pt x="2916910" y="4971422"/>
                  <a:pt x="2916910" y="4971532"/>
                  <a:pt x="2918413" y="4970979"/>
                </a:cubicBezTo>
                <a:cubicBezTo>
                  <a:pt x="2918713" y="4972307"/>
                  <a:pt x="2917211" y="4972750"/>
                  <a:pt x="2917511" y="4974189"/>
                </a:cubicBezTo>
                <a:cubicBezTo>
                  <a:pt x="2917511" y="4974189"/>
                  <a:pt x="2916008" y="4974742"/>
                  <a:pt x="2916008" y="4974742"/>
                </a:cubicBezTo>
                <a:cubicBezTo>
                  <a:pt x="2916308" y="4975406"/>
                  <a:pt x="2916308" y="4975406"/>
                  <a:pt x="2916008" y="4975185"/>
                </a:cubicBezTo>
                <a:cubicBezTo>
                  <a:pt x="2915407" y="4974963"/>
                  <a:pt x="2914505" y="4974521"/>
                  <a:pt x="2912701" y="4974410"/>
                </a:cubicBezTo>
                <a:cubicBezTo>
                  <a:pt x="2910897" y="4973524"/>
                  <a:pt x="2909395" y="4973967"/>
                  <a:pt x="2910597" y="4972086"/>
                </a:cubicBezTo>
                <a:cubicBezTo>
                  <a:pt x="2911499" y="4970315"/>
                  <a:pt x="2911499" y="4970204"/>
                  <a:pt x="2916008" y="4968766"/>
                </a:cubicBezTo>
                <a:close/>
                <a:moveTo>
                  <a:pt x="1887003" y="4968766"/>
                </a:moveTo>
                <a:cubicBezTo>
                  <a:pt x="1885801" y="4970536"/>
                  <a:pt x="1885801" y="4970647"/>
                  <a:pt x="1887605" y="4971422"/>
                </a:cubicBezTo>
                <a:cubicBezTo>
                  <a:pt x="1887605" y="4971422"/>
                  <a:pt x="1887605" y="4971532"/>
                  <a:pt x="1889108" y="4970979"/>
                </a:cubicBezTo>
                <a:cubicBezTo>
                  <a:pt x="1889709" y="4972307"/>
                  <a:pt x="1888206" y="4972750"/>
                  <a:pt x="1888507" y="4974189"/>
                </a:cubicBezTo>
                <a:cubicBezTo>
                  <a:pt x="1888507" y="4974189"/>
                  <a:pt x="1887003" y="4974742"/>
                  <a:pt x="1887003" y="4974742"/>
                </a:cubicBezTo>
                <a:cubicBezTo>
                  <a:pt x="1887304" y="4975406"/>
                  <a:pt x="1887304" y="4975406"/>
                  <a:pt x="1886703" y="4975185"/>
                </a:cubicBezTo>
                <a:cubicBezTo>
                  <a:pt x="1886402" y="4974963"/>
                  <a:pt x="1885501" y="4974521"/>
                  <a:pt x="1883697" y="4974410"/>
                </a:cubicBezTo>
                <a:cubicBezTo>
                  <a:pt x="1881894" y="4973524"/>
                  <a:pt x="1880390" y="4973967"/>
                  <a:pt x="1881292" y="4972086"/>
                </a:cubicBezTo>
                <a:cubicBezTo>
                  <a:pt x="1882495" y="4970315"/>
                  <a:pt x="1882495" y="4970204"/>
                  <a:pt x="1887003" y="4968766"/>
                </a:cubicBezTo>
                <a:close/>
                <a:moveTo>
                  <a:pt x="4915999" y="4963675"/>
                </a:moveTo>
                <a:cubicBezTo>
                  <a:pt x="4918404" y="4963675"/>
                  <a:pt x="4920809" y="4964117"/>
                  <a:pt x="4922311" y="4965224"/>
                </a:cubicBezTo>
                <a:cubicBezTo>
                  <a:pt x="4923513" y="4969319"/>
                  <a:pt x="4924716" y="4973414"/>
                  <a:pt x="4925919" y="4977398"/>
                </a:cubicBezTo>
                <a:cubicBezTo>
                  <a:pt x="4923513" y="4985145"/>
                  <a:pt x="4915698" y="4989240"/>
                  <a:pt x="4908785" y="4988022"/>
                </a:cubicBezTo>
                <a:cubicBezTo>
                  <a:pt x="4906679" y="4987580"/>
                  <a:pt x="4904575" y="4986584"/>
                  <a:pt x="4902771" y="4984924"/>
                </a:cubicBezTo>
                <a:cubicBezTo>
                  <a:pt x="4900066" y="4982821"/>
                  <a:pt x="4898263" y="4979390"/>
                  <a:pt x="4897662" y="4974742"/>
                </a:cubicBezTo>
                <a:cubicBezTo>
                  <a:pt x="4898563" y="4968544"/>
                  <a:pt x="4908484" y="4963785"/>
                  <a:pt x="4915999" y="4963675"/>
                </a:cubicBezTo>
                <a:close/>
                <a:moveTo>
                  <a:pt x="3660330" y="4963675"/>
                </a:moveTo>
                <a:cubicBezTo>
                  <a:pt x="3663035" y="4963675"/>
                  <a:pt x="3665140" y="4964117"/>
                  <a:pt x="3666644" y="4965224"/>
                </a:cubicBezTo>
                <a:cubicBezTo>
                  <a:pt x="3667846" y="4969319"/>
                  <a:pt x="3669049" y="4973414"/>
                  <a:pt x="3670251" y="4977398"/>
                </a:cubicBezTo>
                <a:cubicBezTo>
                  <a:pt x="3667846" y="4985145"/>
                  <a:pt x="3660330" y="4989240"/>
                  <a:pt x="3653416" y="4988022"/>
                </a:cubicBezTo>
                <a:cubicBezTo>
                  <a:pt x="3651312" y="4987580"/>
                  <a:pt x="3648907" y="4986584"/>
                  <a:pt x="3647104" y="4984924"/>
                </a:cubicBezTo>
                <a:cubicBezTo>
                  <a:pt x="3644699" y="4982821"/>
                  <a:pt x="3642895" y="4979390"/>
                  <a:pt x="3641993" y="4974742"/>
                </a:cubicBezTo>
                <a:cubicBezTo>
                  <a:pt x="3642895" y="4968544"/>
                  <a:pt x="3652815" y="4963785"/>
                  <a:pt x="3660330" y="4963675"/>
                </a:cubicBezTo>
                <a:close/>
                <a:moveTo>
                  <a:pt x="2151545" y="4963675"/>
                </a:moveTo>
                <a:cubicBezTo>
                  <a:pt x="2153950" y="4963675"/>
                  <a:pt x="2156054" y="4964117"/>
                  <a:pt x="2157557" y="4965224"/>
                </a:cubicBezTo>
                <a:cubicBezTo>
                  <a:pt x="2158759" y="4969319"/>
                  <a:pt x="2159962" y="4973414"/>
                  <a:pt x="2161164" y="4977398"/>
                </a:cubicBezTo>
                <a:cubicBezTo>
                  <a:pt x="2158759" y="4985145"/>
                  <a:pt x="2151245" y="4989240"/>
                  <a:pt x="2144330" y="4988022"/>
                </a:cubicBezTo>
                <a:cubicBezTo>
                  <a:pt x="2142225" y="4987580"/>
                  <a:pt x="2140122" y="4986584"/>
                  <a:pt x="2138017" y="4984924"/>
                </a:cubicBezTo>
                <a:cubicBezTo>
                  <a:pt x="2135612" y="4982821"/>
                  <a:pt x="2133808" y="4979390"/>
                  <a:pt x="2132906" y="4974742"/>
                </a:cubicBezTo>
                <a:cubicBezTo>
                  <a:pt x="2133808" y="4968544"/>
                  <a:pt x="2143729" y="4963785"/>
                  <a:pt x="2151545" y="4963675"/>
                </a:cubicBezTo>
                <a:close/>
                <a:moveTo>
                  <a:pt x="1122240" y="4963675"/>
                </a:moveTo>
                <a:cubicBezTo>
                  <a:pt x="1124645" y="4963675"/>
                  <a:pt x="1127049" y="4964117"/>
                  <a:pt x="1128552" y="4965224"/>
                </a:cubicBezTo>
                <a:cubicBezTo>
                  <a:pt x="1129754" y="4969319"/>
                  <a:pt x="1130957" y="4973414"/>
                  <a:pt x="1132159" y="4977398"/>
                </a:cubicBezTo>
                <a:cubicBezTo>
                  <a:pt x="1129754" y="4985145"/>
                  <a:pt x="1121939" y="4989240"/>
                  <a:pt x="1115325" y="4988022"/>
                </a:cubicBezTo>
                <a:cubicBezTo>
                  <a:pt x="1112920" y="4987580"/>
                  <a:pt x="1110816" y="4986584"/>
                  <a:pt x="1109012" y="4984924"/>
                </a:cubicBezTo>
                <a:cubicBezTo>
                  <a:pt x="1106607" y="4982821"/>
                  <a:pt x="1104803" y="4979390"/>
                  <a:pt x="1103902" y="4974742"/>
                </a:cubicBezTo>
                <a:cubicBezTo>
                  <a:pt x="1104803" y="4968544"/>
                  <a:pt x="1114724" y="4963785"/>
                  <a:pt x="1122240" y="4963675"/>
                </a:cubicBezTo>
                <a:close/>
                <a:moveTo>
                  <a:pt x="4773206" y="4962457"/>
                </a:moveTo>
                <a:cubicBezTo>
                  <a:pt x="4776213" y="4968987"/>
                  <a:pt x="4773807" y="4972971"/>
                  <a:pt x="4768095" y="4977177"/>
                </a:cubicBezTo>
                <a:cubicBezTo>
                  <a:pt x="4764188" y="4975295"/>
                  <a:pt x="4761182" y="4968876"/>
                  <a:pt x="4763587" y="4964781"/>
                </a:cubicBezTo>
                <a:cubicBezTo>
                  <a:pt x="4768397" y="4962015"/>
                  <a:pt x="4770502" y="4964560"/>
                  <a:pt x="4773206" y="4962457"/>
                </a:cubicBezTo>
                <a:close/>
                <a:moveTo>
                  <a:pt x="3517839" y="4962457"/>
                </a:moveTo>
                <a:cubicBezTo>
                  <a:pt x="3520845" y="4968987"/>
                  <a:pt x="3518440" y="4972971"/>
                  <a:pt x="3512428" y="4977177"/>
                </a:cubicBezTo>
                <a:cubicBezTo>
                  <a:pt x="3508520" y="4975295"/>
                  <a:pt x="3505514" y="4968876"/>
                  <a:pt x="3507919" y="4964781"/>
                </a:cubicBezTo>
                <a:cubicBezTo>
                  <a:pt x="3513029" y="4962015"/>
                  <a:pt x="3514833" y="4964560"/>
                  <a:pt x="3517839" y="4962457"/>
                </a:cubicBezTo>
                <a:close/>
                <a:moveTo>
                  <a:pt x="2008752" y="4962457"/>
                </a:moveTo>
                <a:cubicBezTo>
                  <a:pt x="2011758" y="4968987"/>
                  <a:pt x="2009353" y="4972971"/>
                  <a:pt x="2003642" y="4977177"/>
                </a:cubicBezTo>
                <a:cubicBezTo>
                  <a:pt x="1999734" y="4975295"/>
                  <a:pt x="1996427" y="4968876"/>
                  <a:pt x="1998833" y="4964781"/>
                </a:cubicBezTo>
                <a:cubicBezTo>
                  <a:pt x="2003942" y="4962015"/>
                  <a:pt x="2005746" y="4964560"/>
                  <a:pt x="2008752" y="4962457"/>
                </a:cubicBezTo>
                <a:close/>
                <a:moveTo>
                  <a:pt x="979447" y="4962457"/>
                </a:moveTo>
                <a:cubicBezTo>
                  <a:pt x="982453" y="4968987"/>
                  <a:pt x="980349" y="4972971"/>
                  <a:pt x="974638" y="4977177"/>
                </a:cubicBezTo>
                <a:cubicBezTo>
                  <a:pt x="970429" y="4975295"/>
                  <a:pt x="967423" y="4968876"/>
                  <a:pt x="969828" y="4964781"/>
                </a:cubicBezTo>
                <a:cubicBezTo>
                  <a:pt x="974638" y="4962015"/>
                  <a:pt x="976741" y="4964560"/>
                  <a:pt x="979447" y="4962457"/>
                </a:cubicBezTo>
                <a:close/>
                <a:moveTo>
                  <a:pt x="3053991" y="4956038"/>
                </a:moveTo>
                <a:cubicBezTo>
                  <a:pt x="3065414" y="4961683"/>
                  <a:pt x="3066917" y="4975406"/>
                  <a:pt x="3063008" y="4988133"/>
                </a:cubicBezTo>
                <a:cubicBezTo>
                  <a:pt x="3059101" y="5000860"/>
                  <a:pt x="3049481" y="5012591"/>
                  <a:pt x="3038960" y="5014694"/>
                </a:cubicBezTo>
                <a:cubicBezTo>
                  <a:pt x="3030542" y="4989351"/>
                  <a:pt x="3029941" y="4970315"/>
                  <a:pt x="3053991" y="4956038"/>
                </a:cubicBezTo>
                <a:close/>
                <a:moveTo>
                  <a:pt x="5624549" y="4934458"/>
                </a:moveTo>
                <a:cubicBezTo>
                  <a:pt x="5637775" y="4951058"/>
                  <a:pt x="5663026" y="4943643"/>
                  <a:pt x="5673849" y="4964339"/>
                </a:cubicBezTo>
                <a:cubicBezTo>
                  <a:pt x="5666032" y="4968544"/>
                  <a:pt x="5651904" y="4966220"/>
                  <a:pt x="5640480" y="4960244"/>
                </a:cubicBezTo>
                <a:cubicBezTo>
                  <a:pt x="5628757" y="4954268"/>
                  <a:pt x="5620339" y="4944750"/>
                  <a:pt x="5624549" y="4934458"/>
                </a:cubicBezTo>
                <a:close/>
                <a:moveTo>
                  <a:pt x="4368880" y="4934458"/>
                </a:moveTo>
                <a:cubicBezTo>
                  <a:pt x="4382107" y="4951058"/>
                  <a:pt x="4407659" y="4943643"/>
                  <a:pt x="4418481" y="4964339"/>
                </a:cubicBezTo>
                <a:cubicBezTo>
                  <a:pt x="4410665" y="4968544"/>
                  <a:pt x="4396235" y="4966220"/>
                  <a:pt x="4384812" y="4960244"/>
                </a:cubicBezTo>
                <a:cubicBezTo>
                  <a:pt x="4373388" y="4954268"/>
                  <a:pt x="4364671" y="4944750"/>
                  <a:pt x="4368880" y="4934458"/>
                </a:cubicBezTo>
                <a:close/>
                <a:moveTo>
                  <a:pt x="2859793" y="4934458"/>
                </a:moveTo>
                <a:cubicBezTo>
                  <a:pt x="2873020" y="4951058"/>
                  <a:pt x="2898572" y="4943643"/>
                  <a:pt x="2909395" y="4964339"/>
                </a:cubicBezTo>
                <a:lnTo>
                  <a:pt x="2897971" y="4965556"/>
                </a:lnTo>
                <a:lnTo>
                  <a:pt x="2903683" y="4974963"/>
                </a:lnTo>
                <a:cubicBezTo>
                  <a:pt x="2904885" y="4978947"/>
                  <a:pt x="2904885" y="4982932"/>
                  <a:pt x="2904284" y="4986694"/>
                </a:cubicBezTo>
                <a:cubicBezTo>
                  <a:pt x="2900075" y="5008829"/>
                  <a:pt x="2865204" y="5021667"/>
                  <a:pt x="2857088" y="4990789"/>
                </a:cubicBezTo>
                <a:cubicBezTo>
                  <a:pt x="2860394" y="4980607"/>
                  <a:pt x="2875124" y="4970094"/>
                  <a:pt x="2886548" y="4965335"/>
                </a:cubicBezTo>
                <a:lnTo>
                  <a:pt x="2889254" y="4964560"/>
                </a:lnTo>
                <a:lnTo>
                  <a:pt x="2875726" y="4960244"/>
                </a:lnTo>
                <a:cubicBezTo>
                  <a:pt x="2864303" y="4954268"/>
                  <a:pt x="2855886" y="4944750"/>
                  <a:pt x="2859793" y="4934458"/>
                </a:cubicBezTo>
                <a:close/>
                <a:moveTo>
                  <a:pt x="1830788" y="4934458"/>
                </a:moveTo>
                <a:cubicBezTo>
                  <a:pt x="1844016" y="4951058"/>
                  <a:pt x="1869267" y="4943643"/>
                  <a:pt x="1880390" y="4964339"/>
                </a:cubicBezTo>
                <a:cubicBezTo>
                  <a:pt x="1872574" y="4968544"/>
                  <a:pt x="1858144" y="4966220"/>
                  <a:pt x="1846721" y="4960244"/>
                </a:cubicBezTo>
                <a:cubicBezTo>
                  <a:pt x="1835298" y="4954268"/>
                  <a:pt x="1826580" y="4944750"/>
                  <a:pt x="1830788" y="4934458"/>
                </a:cubicBezTo>
                <a:close/>
                <a:moveTo>
                  <a:pt x="4173479" y="4934126"/>
                </a:moveTo>
                <a:cubicBezTo>
                  <a:pt x="4183100" y="4967106"/>
                  <a:pt x="4206547" y="4934126"/>
                  <a:pt x="4215266" y="4959359"/>
                </a:cubicBezTo>
                <a:cubicBezTo>
                  <a:pt x="4214364" y="4970204"/>
                  <a:pt x="4216769" y="4982157"/>
                  <a:pt x="4211958" y="4993335"/>
                </a:cubicBezTo>
                <a:cubicBezTo>
                  <a:pt x="4210456" y="4996987"/>
                  <a:pt x="4208051" y="5000528"/>
                  <a:pt x="4204444" y="5004070"/>
                </a:cubicBezTo>
                <a:cubicBezTo>
                  <a:pt x="4188811" y="4980165"/>
                  <a:pt x="4171676" y="4970758"/>
                  <a:pt x="4153940" y="4953604"/>
                </a:cubicBezTo>
                <a:cubicBezTo>
                  <a:pt x="4156044" y="4946963"/>
                  <a:pt x="4161155" y="4941208"/>
                  <a:pt x="4173479" y="4934126"/>
                </a:cubicBezTo>
                <a:close/>
                <a:moveTo>
                  <a:pt x="5736076" y="4929145"/>
                </a:moveTo>
                <a:cubicBezTo>
                  <a:pt x="5737278" y="4933129"/>
                  <a:pt x="5738480" y="4937003"/>
                  <a:pt x="5734272" y="4938442"/>
                </a:cubicBezTo>
                <a:cubicBezTo>
                  <a:pt x="5732168" y="4935786"/>
                  <a:pt x="5730064" y="4936560"/>
                  <a:pt x="5729764" y="4931359"/>
                </a:cubicBezTo>
                <a:cubicBezTo>
                  <a:pt x="5731867" y="4930584"/>
                  <a:pt x="5733972" y="4929920"/>
                  <a:pt x="5736076" y="4929145"/>
                </a:cubicBezTo>
                <a:close/>
                <a:moveTo>
                  <a:pt x="4480408" y="4929145"/>
                </a:moveTo>
                <a:cubicBezTo>
                  <a:pt x="4481611" y="4933129"/>
                  <a:pt x="4482813" y="4937003"/>
                  <a:pt x="4478604" y="4938442"/>
                </a:cubicBezTo>
                <a:cubicBezTo>
                  <a:pt x="4476801" y="4935786"/>
                  <a:pt x="4474696" y="4936560"/>
                  <a:pt x="4474095" y="4931359"/>
                </a:cubicBezTo>
                <a:cubicBezTo>
                  <a:pt x="4476200" y="4930584"/>
                  <a:pt x="4478303" y="4929920"/>
                  <a:pt x="4480408" y="4929145"/>
                </a:cubicBezTo>
                <a:close/>
                <a:moveTo>
                  <a:pt x="2971321" y="4929145"/>
                </a:moveTo>
                <a:cubicBezTo>
                  <a:pt x="2972524" y="4933129"/>
                  <a:pt x="2974027" y="4937003"/>
                  <a:pt x="2969517" y="4938442"/>
                </a:cubicBezTo>
                <a:cubicBezTo>
                  <a:pt x="2967714" y="4935786"/>
                  <a:pt x="2965609" y="4936560"/>
                  <a:pt x="2965008" y="4931359"/>
                </a:cubicBezTo>
                <a:cubicBezTo>
                  <a:pt x="2967113" y="4930584"/>
                  <a:pt x="2969216" y="4929920"/>
                  <a:pt x="2971321" y="4929145"/>
                </a:cubicBezTo>
                <a:close/>
                <a:moveTo>
                  <a:pt x="1942316" y="4929145"/>
                </a:moveTo>
                <a:cubicBezTo>
                  <a:pt x="1943519" y="4933129"/>
                  <a:pt x="1944721" y="4937003"/>
                  <a:pt x="1940513" y="4938442"/>
                </a:cubicBezTo>
                <a:cubicBezTo>
                  <a:pt x="1938709" y="4935786"/>
                  <a:pt x="1936304" y="4936560"/>
                  <a:pt x="1936004" y="4931359"/>
                </a:cubicBezTo>
                <a:cubicBezTo>
                  <a:pt x="1938108" y="4930584"/>
                  <a:pt x="1940213" y="4929920"/>
                  <a:pt x="1942316" y="4929145"/>
                </a:cubicBezTo>
                <a:close/>
                <a:moveTo>
                  <a:pt x="5962740" y="4927596"/>
                </a:moveTo>
                <a:cubicBezTo>
                  <a:pt x="5970556" y="4927707"/>
                  <a:pt x="5973562" y="4931248"/>
                  <a:pt x="5975366" y="4937888"/>
                </a:cubicBezTo>
                <a:cubicBezTo>
                  <a:pt x="5971758" y="4940434"/>
                  <a:pt x="5964243" y="4940434"/>
                  <a:pt x="5961236" y="4936782"/>
                </a:cubicBezTo>
                <a:cubicBezTo>
                  <a:pt x="5960334" y="4931469"/>
                  <a:pt x="5963642" y="4930916"/>
                  <a:pt x="5962740" y="4927596"/>
                </a:cubicBezTo>
                <a:close/>
                <a:moveTo>
                  <a:pt x="4707372" y="4927596"/>
                </a:moveTo>
                <a:cubicBezTo>
                  <a:pt x="4714888" y="4927707"/>
                  <a:pt x="4718193" y="4931248"/>
                  <a:pt x="4719999" y="4937888"/>
                </a:cubicBezTo>
                <a:cubicBezTo>
                  <a:pt x="4716390" y="4940434"/>
                  <a:pt x="4708574" y="4940434"/>
                  <a:pt x="4705568" y="4936782"/>
                </a:cubicBezTo>
                <a:cubicBezTo>
                  <a:pt x="4704667" y="4931469"/>
                  <a:pt x="4708274" y="4930916"/>
                  <a:pt x="4707372" y="4927596"/>
                </a:cubicBezTo>
                <a:close/>
                <a:moveTo>
                  <a:pt x="3198285" y="4927596"/>
                </a:moveTo>
                <a:cubicBezTo>
                  <a:pt x="3205801" y="4927707"/>
                  <a:pt x="3209108" y="4931248"/>
                  <a:pt x="3210911" y="4937888"/>
                </a:cubicBezTo>
                <a:cubicBezTo>
                  <a:pt x="3207304" y="4940434"/>
                  <a:pt x="3199487" y="4940434"/>
                  <a:pt x="3196481" y="4936782"/>
                </a:cubicBezTo>
                <a:cubicBezTo>
                  <a:pt x="3195580" y="4931469"/>
                  <a:pt x="3199187" y="4930916"/>
                  <a:pt x="3198285" y="4927596"/>
                </a:cubicBezTo>
                <a:close/>
                <a:moveTo>
                  <a:pt x="2168980" y="4927596"/>
                </a:moveTo>
                <a:cubicBezTo>
                  <a:pt x="2176796" y="4927707"/>
                  <a:pt x="2179803" y="4931248"/>
                  <a:pt x="2181606" y="4937888"/>
                </a:cubicBezTo>
                <a:cubicBezTo>
                  <a:pt x="2178299" y="4940434"/>
                  <a:pt x="2170484" y="4940434"/>
                  <a:pt x="2167477" y="4936782"/>
                </a:cubicBezTo>
                <a:cubicBezTo>
                  <a:pt x="2166575" y="4931469"/>
                  <a:pt x="2169882" y="4930916"/>
                  <a:pt x="2168980" y="4927596"/>
                </a:cubicBezTo>
                <a:close/>
                <a:moveTo>
                  <a:pt x="5412614" y="4925936"/>
                </a:moveTo>
                <a:cubicBezTo>
                  <a:pt x="5415621" y="4927264"/>
                  <a:pt x="5419529" y="4929145"/>
                  <a:pt x="5420431" y="4932355"/>
                </a:cubicBezTo>
                <a:cubicBezTo>
                  <a:pt x="5420731" y="4933351"/>
                  <a:pt x="5421032" y="4934568"/>
                  <a:pt x="5420431" y="4935896"/>
                </a:cubicBezTo>
                <a:cubicBezTo>
                  <a:pt x="5418927" y="4936450"/>
                  <a:pt x="5419229" y="4937778"/>
                  <a:pt x="5417725" y="4938331"/>
                </a:cubicBezTo>
                <a:cubicBezTo>
                  <a:pt x="5417725" y="4938331"/>
                  <a:pt x="5416522" y="4939548"/>
                  <a:pt x="5414118" y="4940544"/>
                </a:cubicBezTo>
                <a:cubicBezTo>
                  <a:pt x="5412013" y="4941540"/>
                  <a:pt x="5408707" y="4942094"/>
                  <a:pt x="5405099" y="4940987"/>
                </a:cubicBezTo>
                <a:cubicBezTo>
                  <a:pt x="5403296" y="4940102"/>
                  <a:pt x="5399087" y="4936782"/>
                  <a:pt x="5400589" y="4936228"/>
                </a:cubicBezTo>
                <a:cubicBezTo>
                  <a:pt x="5401492" y="4934347"/>
                  <a:pt x="5399988" y="4934900"/>
                  <a:pt x="5399688" y="4933461"/>
                </a:cubicBezTo>
                <a:cubicBezTo>
                  <a:pt x="5402995" y="4927596"/>
                  <a:pt x="5407203" y="4924608"/>
                  <a:pt x="5412614" y="4925936"/>
                </a:cubicBezTo>
                <a:close/>
                <a:moveTo>
                  <a:pt x="4156946" y="4925936"/>
                </a:moveTo>
                <a:cubicBezTo>
                  <a:pt x="4159953" y="4927264"/>
                  <a:pt x="4164161" y="4929145"/>
                  <a:pt x="4165062" y="4932355"/>
                </a:cubicBezTo>
                <a:cubicBezTo>
                  <a:pt x="4165364" y="4933351"/>
                  <a:pt x="4165364" y="4934568"/>
                  <a:pt x="4165062" y="4935896"/>
                </a:cubicBezTo>
                <a:cubicBezTo>
                  <a:pt x="4163560" y="4936450"/>
                  <a:pt x="4163860" y="4937778"/>
                  <a:pt x="4162357" y="4938331"/>
                </a:cubicBezTo>
                <a:cubicBezTo>
                  <a:pt x="4162357" y="4938331"/>
                  <a:pt x="4161155" y="4939548"/>
                  <a:pt x="4158750" y="4940544"/>
                </a:cubicBezTo>
                <a:cubicBezTo>
                  <a:pt x="4156645" y="4941540"/>
                  <a:pt x="4153339" y="4942094"/>
                  <a:pt x="4149732" y="4940987"/>
                </a:cubicBezTo>
                <a:cubicBezTo>
                  <a:pt x="4147927" y="4940102"/>
                  <a:pt x="4143419" y="4936782"/>
                  <a:pt x="4144921" y="4936228"/>
                </a:cubicBezTo>
                <a:cubicBezTo>
                  <a:pt x="4146123" y="4934347"/>
                  <a:pt x="4144621" y="4934900"/>
                  <a:pt x="4144320" y="4933461"/>
                </a:cubicBezTo>
                <a:cubicBezTo>
                  <a:pt x="4147627" y="4927596"/>
                  <a:pt x="4151835" y="4924608"/>
                  <a:pt x="4156946" y="4925936"/>
                </a:cubicBezTo>
                <a:close/>
                <a:moveTo>
                  <a:pt x="2648161" y="4925936"/>
                </a:moveTo>
                <a:cubicBezTo>
                  <a:pt x="2651167" y="4927264"/>
                  <a:pt x="2655074" y="4929145"/>
                  <a:pt x="2655976" y="4932355"/>
                </a:cubicBezTo>
                <a:cubicBezTo>
                  <a:pt x="2656277" y="4933351"/>
                  <a:pt x="2656277" y="4934568"/>
                  <a:pt x="2655976" y="4935896"/>
                </a:cubicBezTo>
                <a:cubicBezTo>
                  <a:pt x="2654473" y="4936450"/>
                  <a:pt x="2654774" y="4937778"/>
                  <a:pt x="2653270" y="4938331"/>
                </a:cubicBezTo>
                <a:cubicBezTo>
                  <a:pt x="2653270" y="4938331"/>
                  <a:pt x="2652068" y="4939548"/>
                  <a:pt x="2649663" y="4940544"/>
                </a:cubicBezTo>
                <a:cubicBezTo>
                  <a:pt x="2647558" y="4941540"/>
                  <a:pt x="2644252" y="4942094"/>
                  <a:pt x="2640645" y="4940987"/>
                </a:cubicBezTo>
                <a:cubicBezTo>
                  <a:pt x="2638841" y="4940102"/>
                  <a:pt x="2634332" y="4936782"/>
                  <a:pt x="2636135" y="4936228"/>
                </a:cubicBezTo>
                <a:cubicBezTo>
                  <a:pt x="2637038" y="4934347"/>
                  <a:pt x="2635534" y="4934900"/>
                  <a:pt x="2635234" y="4933461"/>
                </a:cubicBezTo>
                <a:cubicBezTo>
                  <a:pt x="2638540" y="4927596"/>
                  <a:pt x="2642749" y="4924608"/>
                  <a:pt x="2648161" y="4925936"/>
                </a:cubicBezTo>
                <a:close/>
                <a:moveTo>
                  <a:pt x="1619156" y="4925936"/>
                </a:moveTo>
                <a:cubicBezTo>
                  <a:pt x="1621862" y="4927264"/>
                  <a:pt x="1625769" y="4929145"/>
                  <a:pt x="1626972" y="4932355"/>
                </a:cubicBezTo>
                <a:cubicBezTo>
                  <a:pt x="1627272" y="4933351"/>
                  <a:pt x="1627272" y="4934568"/>
                  <a:pt x="1626672" y="4935896"/>
                </a:cubicBezTo>
                <a:cubicBezTo>
                  <a:pt x="1625168" y="4936450"/>
                  <a:pt x="1625769" y="4937778"/>
                  <a:pt x="1624267" y="4938331"/>
                </a:cubicBezTo>
                <a:cubicBezTo>
                  <a:pt x="1624267" y="4938331"/>
                  <a:pt x="1622763" y="4939548"/>
                  <a:pt x="1620658" y="4940544"/>
                </a:cubicBezTo>
                <a:cubicBezTo>
                  <a:pt x="1618253" y="4941540"/>
                  <a:pt x="1615247" y="4942094"/>
                  <a:pt x="1611640" y="4940987"/>
                </a:cubicBezTo>
                <a:cubicBezTo>
                  <a:pt x="1609536" y="4940102"/>
                  <a:pt x="1605328" y="4936782"/>
                  <a:pt x="1606830" y="4936228"/>
                </a:cubicBezTo>
                <a:cubicBezTo>
                  <a:pt x="1608033" y="4934347"/>
                  <a:pt x="1606530" y="4934900"/>
                  <a:pt x="1605929" y="4933461"/>
                </a:cubicBezTo>
                <a:cubicBezTo>
                  <a:pt x="1609536" y="4927596"/>
                  <a:pt x="1613745" y="4924608"/>
                  <a:pt x="1619156" y="4925936"/>
                </a:cubicBezTo>
                <a:close/>
                <a:moveTo>
                  <a:pt x="5223226" y="4925825"/>
                </a:moveTo>
                <a:cubicBezTo>
                  <a:pt x="5226534" y="4926157"/>
                  <a:pt x="5228637" y="4927043"/>
                  <a:pt x="5232246" y="4927485"/>
                </a:cubicBezTo>
                <a:cubicBezTo>
                  <a:pt x="5232847" y="4929588"/>
                  <a:pt x="5234651" y="4931359"/>
                  <a:pt x="5235552" y="4933904"/>
                </a:cubicBezTo>
                <a:cubicBezTo>
                  <a:pt x="5236755" y="4936450"/>
                  <a:pt x="5237356" y="4939770"/>
                  <a:pt x="5235552" y="4945082"/>
                </a:cubicBezTo>
                <a:cubicBezTo>
                  <a:pt x="5230141" y="4956260"/>
                  <a:pt x="5218718" y="4952165"/>
                  <a:pt x="5219018" y="4953604"/>
                </a:cubicBezTo>
                <a:cubicBezTo>
                  <a:pt x="5217816" y="4955596"/>
                  <a:pt x="5217816" y="4955596"/>
                  <a:pt x="5218417" y="4957034"/>
                </a:cubicBezTo>
                <a:cubicBezTo>
                  <a:pt x="5216914" y="4957588"/>
                  <a:pt x="5214209" y="4960023"/>
                  <a:pt x="5213006" y="4962015"/>
                </a:cubicBezTo>
                <a:cubicBezTo>
                  <a:pt x="5212405" y="4960576"/>
                  <a:pt x="5212104" y="4959137"/>
                  <a:pt x="5210601" y="4959580"/>
                </a:cubicBezTo>
                <a:cubicBezTo>
                  <a:pt x="5213006" y="4955706"/>
                  <a:pt x="5214510" y="4955264"/>
                  <a:pt x="5215411" y="4953272"/>
                </a:cubicBezTo>
                <a:cubicBezTo>
                  <a:pt x="5213909" y="4953825"/>
                  <a:pt x="5215111" y="4951833"/>
                  <a:pt x="5215111" y="4951833"/>
                </a:cubicBezTo>
                <a:cubicBezTo>
                  <a:pt x="5215111" y="4951833"/>
                  <a:pt x="5215111" y="4951833"/>
                  <a:pt x="5211202" y="4950062"/>
                </a:cubicBezTo>
                <a:cubicBezTo>
                  <a:pt x="5211202" y="4950062"/>
                  <a:pt x="5203086" y="4945082"/>
                  <a:pt x="5207295" y="4935786"/>
                </a:cubicBezTo>
                <a:cubicBezTo>
                  <a:pt x="5209099" y="4936671"/>
                  <a:pt x="5216012" y="4925050"/>
                  <a:pt x="5223226" y="4925825"/>
                </a:cubicBezTo>
                <a:close/>
                <a:moveTo>
                  <a:pt x="3967559" y="4925825"/>
                </a:moveTo>
                <a:cubicBezTo>
                  <a:pt x="3971167" y="4926157"/>
                  <a:pt x="3972970" y="4927043"/>
                  <a:pt x="3976577" y="4927485"/>
                </a:cubicBezTo>
                <a:cubicBezTo>
                  <a:pt x="3977179" y="4929588"/>
                  <a:pt x="3978982" y="4931359"/>
                  <a:pt x="3980185" y="4933904"/>
                </a:cubicBezTo>
                <a:cubicBezTo>
                  <a:pt x="3981086" y="4936450"/>
                  <a:pt x="3981687" y="4939770"/>
                  <a:pt x="3979884" y="4945082"/>
                </a:cubicBezTo>
                <a:cubicBezTo>
                  <a:pt x="3974473" y="4956260"/>
                  <a:pt x="3963050" y="4952165"/>
                  <a:pt x="3963651" y="4953604"/>
                </a:cubicBezTo>
                <a:cubicBezTo>
                  <a:pt x="3962448" y="4955596"/>
                  <a:pt x="3962448" y="4955596"/>
                  <a:pt x="3962748" y="4957034"/>
                </a:cubicBezTo>
                <a:cubicBezTo>
                  <a:pt x="3961246" y="4957588"/>
                  <a:pt x="3958540" y="4960023"/>
                  <a:pt x="3957338" y="4962015"/>
                </a:cubicBezTo>
                <a:cubicBezTo>
                  <a:pt x="3957037" y="4960576"/>
                  <a:pt x="3956736" y="4959137"/>
                  <a:pt x="3954933" y="4959580"/>
                </a:cubicBezTo>
                <a:cubicBezTo>
                  <a:pt x="3957338" y="4955706"/>
                  <a:pt x="3958841" y="4955264"/>
                  <a:pt x="3960044" y="4953272"/>
                </a:cubicBezTo>
                <a:cubicBezTo>
                  <a:pt x="3958540" y="4953825"/>
                  <a:pt x="3959742" y="4951833"/>
                  <a:pt x="3959742" y="4951833"/>
                </a:cubicBezTo>
                <a:cubicBezTo>
                  <a:pt x="3959742" y="4951833"/>
                  <a:pt x="3959742" y="4951833"/>
                  <a:pt x="3955835" y="4950062"/>
                </a:cubicBezTo>
                <a:cubicBezTo>
                  <a:pt x="3955835" y="4950062"/>
                  <a:pt x="3947418" y="4945082"/>
                  <a:pt x="3951626" y="4935786"/>
                </a:cubicBezTo>
                <a:cubicBezTo>
                  <a:pt x="3953730" y="4936671"/>
                  <a:pt x="3960645" y="4925050"/>
                  <a:pt x="3967559" y="4925825"/>
                </a:cubicBezTo>
                <a:close/>
                <a:moveTo>
                  <a:pt x="2458772" y="4925825"/>
                </a:moveTo>
                <a:cubicBezTo>
                  <a:pt x="2462080" y="4926157"/>
                  <a:pt x="2464184" y="4927043"/>
                  <a:pt x="2467491" y="4927485"/>
                </a:cubicBezTo>
                <a:cubicBezTo>
                  <a:pt x="2468092" y="4929588"/>
                  <a:pt x="2469895" y="4931359"/>
                  <a:pt x="2471098" y="4933904"/>
                </a:cubicBezTo>
                <a:cubicBezTo>
                  <a:pt x="2472300" y="4936450"/>
                  <a:pt x="2472901" y="4939770"/>
                  <a:pt x="2470798" y="4945082"/>
                </a:cubicBezTo>
                <a:cubicBezTo>
                  <a:pt x="2465687" y="4956260"/>
                  <a:pt x="2454264" y="4952165"/>
                  <a:pt x="2454565" y="4953604"/>
                </a:cubicBezTo>
                <a:cubicBezTo>
                  <a:pt x="2453361" y="4955596"/>
                  <a:pt x="2453361" y="4955596"/>
                  <a:pt x="2453963" y="4957034"/>
                </a:cubicBezTo>
                <a:cubicBezTo>
                  <a:pt x="2452160" y="4957588"/>
                  <a:pt x="2449454" y="4960023"/>
                  <a:pt x="2448552" y="4962015"/>
                </a:cubicBezTo>
                <a:cubicBezTo>
                  <a:pt x="2447950" y="4960576"/>
                  <a:pt x="2447650" y="4959137"/>
                  <a:pt x="2445847" y="4959580"/>
                </a:cubicBezTo>
                <a:cubicBezTo>
                  <a:pt x="2448252" y="4955706"/>
                  <a:pt x="2449754" y="4955264"/>
                  <a:pt x="2450958" y="4953272"/>
                </a:cubicBezTo>
                <a:cubicBezTo>
                  <a:pt x="2449454" y="4953825"/>
                  <a:pt x="2450656" y="4951833"/>
                  <a:pt x="2450656" y="4951833"/>
                </a:cubicBezTo>
                <a:cubicBezTo>
                  <a:pt x="2450656" y="4951833"/>
                  <a:pt x="2450656" y="4951833"/>
                  <a:pt x="2446748" y="4950062"/>
                </a:cubicBezTo>
                <a:cubicBezTo>
                  <a:pt x="2446748" y="4950062"/>
                  <a:pt x="2438331" y="4945082"/>
                  <a:pt x="2442540" y="4935786"/>
                </a:cubicBezTo>
                <a:cubicBezTo>
                  <a:pt x="2444644" y="4936671"/>
                  <a:pt x="2451558" y="4925050"/>
                  <a:pt x="2458772" y="4925825"/>
                </a:cubicBezTo>
                <a:close/>
                <a:moveTo>
                  <a:pt x="1429467" y="4925825"/>
                </a:moveTo>
                <a:cubicBezTo>
                  <a:pt x="1433075" y="4926157"/>
                  <a:pt x="1434878" y="4927043"/>
                  <a:pt x="1438486" y="4927485"/>
                </a:cubicBezTo>
                <a:cubicBezTo>
                  <a:pt x="1439087" y="4929588"/>
                  <a:pt x="1440891" y="4931359"/>
                  <a:pt x="1441793" y="4933904"/>
                </a:cubicBezTo>
                <a:cubicBezTo>
                  <a:pt x="1442995" y="4936450"/>
                  <a:pt x="1443597" y="4939770"/>
                  <a:pt x="1441793" y="4945082"/>
                </a:cubicBezTo>
                <a:cubicBezTo>
                  <a:pt x="1436382" y="4956260"/>
                  <a:pt x="1424959" y="4952165"/>
                  <a:pt x="1425560" y="4953604"/>
                </a:cubicBezTo>
                <a:cubicBezTo>
                  <a:pt x="1424358" y="4955596"/>
                  <a:pt x="1424358" y="4955596"/>
                  <a:pt x="1424658" y="4957034"/>
                </a:cubicBezTo>
                <a:cubicBezTo>
                  <a:pt x="1423155" y="4957588"/>
                  <a:pt x="1420449" y="4960023"/>
                  <a:pt x="1419247" y="4962015"/>
                </a:cubicBezTo>
                <a:cubicBezTo>
                  <a:pt x="1418946" y="4960576"/>
                  <a:pt x="1418344" y="4959137"/>
                  <a:pt x="1416842" y="4959580"/>
                </a:cubicBezTo>
                <a:cubicBezTo>
                  <a:pt x="1419247" y="4955706"/>
                  <a:pt x="1420749" y="4955264"/>
                  <a:pt x="1421953" y="4953272"/>
                </a:cubicBezTo>
                <a:cubicBezTo>
                  <a:pt x="1420449" y="4953825"/>
                  <a:pt x="1421652" y="4951833"/>
                  <a:pt x="1421652" y="4951833"/>
                </a:cubicBezTo>
                <a:cubicBezTo>
                  <a:pt x="1421652" y="4951833"/>
                  <a:pt x="1421652" y="4951833"/>
                  <a:pt x="1417743" y="4950062"/>
                </a:cubicBezTo>
                <a:cubicBezTo>
                  <a:pt x="1417743" y="4950062"/>
                  <a:pt x="1409326" y="4945082"/>
                  <a:pt x="1413535" y="4935786"/>
                </a:cubicBezTo>
                <a:cubicBezTo>
                  <a:pt x="1415639" y="4936671"/>
                  <a:pt x="1422554" y="4925050"/>
                  <a:pt x="1429467" y="4925825"/>
                </a:cubicBezTo>
                <a:close/>
                <a:moveTo>
                  <a:pt x="5417423" y="4918300"/>
                </a:moveTo>
                <a:cubicBezTo>
                  <a:pt x="5418326" y="4918742"/>
                  <a:pt x="5419229" y="4919628"/>
                  <a:pt x="5420130" y="4920513"/>
                </a:cubicBezTo>
                <a:cubicBezTo>
                  <a:pt x="5420731" y="4921398"/>
                  <a:pt x="5421032" y="4922505"/>
                  <a:pt x="5420431" y="4923390"/>
                </a:cubicBezTo>
                <a:cubicBezTo>
                  <a:pt x="5420130" y="4925050"/>
                  <a:pt x="5419229" y="4925272"/>
                  <a:pt x="5418026" y="4925161"/>
                </a:cubicBezTo>
                <a:cubicBezTo>
                  <a:pt x="5416822" y="4924940"/>
                  <a:pt x="5415621" y="4924276"/>
                  <a:pt x="5413818" y="4924054"/>
                </a:cubicBezTo>
                <a:close/>
                <a:moveTo>
                  <a:pt x="4161756" y="4918300"/>
                </a:moveTo>
                <a:cubicBezTo>
                  <a:pt x="4162657" y="4918742"/>
                  <a:pt x="4163860" y="4919628"/>
                  <a:pt x="4164461" y="4920513"/>
                </a:cubicBezTo>
                <a:cubicBezTo>
                  <a:pt x="4165062" y="4921398"/>
                  <a:pt x="4165364" y="4922505"/>
                  <a:pt x="4164762" y="4923390"/>
                </a:cubicBezTo>
                <a:cubicBezTo>
                  <a:pt x="4164461" y="4925050"/>
                  <a:pt x="4163860" y="4925272"/>
                  <a:pt x="4162657" y="4925161"/>
                </a:cubicBezTo>
                <a:cubicBezTo>
                  <a:pt x="4161455" y="4924940"/>
                  <a:pt x="4159953" y="4924276"/>
                  <a:pt x="4158149" y="4924054"/>
                </a:cubicBezTo>
                <a:close/>
                <a:moveTo>
                  <a:pt x="2652669" y="4918300"/>
                </a:moveTo>
                <a:cubicBezTo>
                  <a:pt x="2653572" y="4918742"/>
                  <a:pt x="2654774" y="4919628"/>
                  <a:pt x="2655375" y="4920513"/>
                </a:cubicBezTo>
                <a:cubicBezTo>
                  <a:pt x="2656277" y="4921398"/>
                  <a:pt x="2656578" y="4922505"/>
                  <a:pt x="2655976" y="4923390"/>
                </a:cubicBezTo>
                <a:cubicBezTo>
                  <a:pt x="2655375" y="4925050"/>
                  <a:pt x="2654774" y="4925272"/>
                  <a:pt x="2653572" y="4925161"/>
                </a:cubicBezTo>
                <a:cubicBezTo>
                  <a:pt x="2652369" y="4924940"/>
                  <a:pt x="2651167" y="4924276"/>
                  <a:pt x="2649363" y="4924054"/>
                </a:cubicBezTo>
                <a:close/>
                <a:moveTo>
                  <a:pt x="1623664" y="4918300"/>
                </a:moveTo>
                <a:cubicBezTo>
                  <a:pt x="1624567" y="4918742"/>
                  <a:pt x="1625769" y="4919628"/>
                  <a:pt x="1626370" y="4920513"/>
                </a:cubicBezTo>
                <a:cubicBezTo>
                  <a:pt x="1626972" y="4921398"/>
                  <a:pt x="1627272" y="4922505"/>
                  <a:pt x="1626672" y="4923390"/>
                </a:cubicBezTo>
                <a:cubicBezTo>
                  <a:pt x="1626370" y="4925050"/>
                  <a:pt x="1625469" y="4925272"/>
                  <a:pt x="1624567" y="4925161"/>
                </a:cubicBezTo>
                <a:cubicBezTo>
                  <a:pt x="1623364" y="4924940"/>
                  <a:pt x="1621862" y="4924276"/>
                  <a:pt x="1620057" y="4924054"/>
                </a:cubicBezTo>
                <a:close/>
                <a:moveTo>
                  <a:pt x="5761629" y="4918078"/>
                </a:moveTo>
                <a:cubicBezTo>
                  <a:pt x="5762530" y="4928924"/>
                  <a:pt x="5761929" y="4939327"/>
                  <a:pt x="5768242" y="4952718"/>
                </a:cubicBezTo>
                <a:cubicBezTo>
                  <a:pt x="5764034" y="4954157"/>
                  <a:pt x="5766438" y="4958805"/>
                  <a:pt x="5760726" y="4959580"/>
                </a:cubicBezTo>
                <a:cubicBezTo>
                  <a:pt x="5749603" y="4954489"/>
                  <a:pt x="5745395" y="4924608"/>
                  <a:pt x="5761629" y="4918078"/>
                </a:cubicBezTo>
                <a:close/>
                <a:moveTo>
                  <a:pt x="4505960" y="4918078"/>
                </a:moveTo>
                <a:cubicBezTo>
                  <a:pt x="4506861" y="4928924"/>
                  <a:pt x="4506260" y="4939327"/>
                  <a:pt x="4512573" y="4952718"/>
                </a:cubicBezTo>
                <a:cubicBezTo>
                  <a:pt x="4508365" y="4954157"/>
                  <a:pt x="4511070" y="4958805"/>
                  <a:pt x="4505058" y="4959580"/>
                </a:cubicBezTo>
                <a:cubicBezTo>
                  <a:pt x="4493936" y="4954489"/>
                  <a:pt x="4490027" y="4924608"/>
                  <a:pt x="4505960" y="4918078"/>
                </a:cubicBezTo>
                <a:close/>
                <a:moveTo>
                  <a:pt x="1967868" y="4918078"/>
                </a:moveTo>
                <a:cubicBezTo>
                  <a:pt x="1968771" y="4928924"/>
                  <a:pt x="1968170" y="4939327"/>
                  <a:pt x="1974783" y="4952718"/>
                </a:cubicBezTo>
                <a:cubicBezTo>
                  <a:pt x="1970273" y="4954157"/>
                  <a:pt x="1972678" y="4958805"/>
                  <a:pt x="1966967" y="4959580"/>
                </a:cubicBezTo>
                <a:cubicBezTo>
                  <a:pt x="1955844" y="4954489"/>
                  <a:pt x="1951937" y="4924608"/>
                  <a:pt x="1967868" y="4918078"/>
                </a:cubicBezTo>
                <a:close/>
                <a:moveTo>
                  <a:pt x="4931631" y="4915754"/>
                </a:moveTo>
                <a:cubicBezTo>
                  <a:pt x="4934035" y="4932687"/>
                  <a:pt x="4896459" y="4939880"/>
                  <a:pt x="4885336" y="4938220"/>
                </a:cubicBezTo>
                <a:cubicBezTo>
                  <a:pt x="4897060" y="4929699"/>
                  <a:pt x="4917201" y="4916197"/>
                  <a:pt x="4931631" y="4915754"/>
                </a:cubicBezTo>
                <a:close/>
                <a:moveTo>
                  <a:pt x="3675962" y="4915754"/>
                </a:moveTo>
                <a:cubicBezTo>
                  <a:pt x="3678668" y="4932687"/>
                  <a:pt x="3641092" y="4939880"/>
                  <a:pt x="3629667" y="4938220"/>
                </a:cubicBezTo>
                <a:cubicBezTo>
                  <a:pt x="3641693" y="4929699"/>
                  <a:pt x="3661833" y="4916197"/>
                  <a:pt x="3675962" y="4915754"/>
                </a:cubicBezTo>
                <a:close/>
                <a:moveTo>
                  <a:pt x="2166876" y="4915754"/>
                </a:moveTo>
                <a:cubicBezTo>
                  <a:pt x="2169581" y="4932687"/>
                  <a:pt x="2132005" y="4939880"/>
                  <a:pt x="2120582" y="4938220"/>
                </a:cubicBezTo>
                <a:cubicBezTo>
                  <a:pt x="2132606" y="4929699"/>
                  <a:pt x="2152747" y="4916197"/>
                  <a:pt x="2166876" y="4915754"/>
                </a:cubicBezTo>
                <a:close/>
                <a:moveTo>
                  <a:pt x="1137871" y="4915754"/>
                </a:moveTo>
                <a:cubicBezTo>
                  <a:pt x="1140276" y="4932687"/>
                  <a:pt x="1103000" y="4939880"/>
                  <a:pt x="1091577" y="4938220"/>
                </a:cubicBezTo>
                <a:cubicBezTo>
                  <a:pt x="1103601" y="4929699"/>
                  <a:pt x="1123742" y="4916197"/>
                  <a:pt x="1137871" y="4915754"/>
                </a:cubicBezTo>
                <a:close/>
                <a:moveTo>
                  <a:pt x="5431553" y="4906679"/>
                </a:moveTo>
                <a:cubicBezTo>
                  <a:pt x="5432154" y="4906236"/>
                  <a:pt x="5432455" y="4906015"/>
                  <a:pt x="5432455" y="4906679"/>
                </a:cubicBezTo>
                <a:cubicBezTo>
                  <a:pt x="5433957" y="4906236"/>
                  <a:pt x="5434559" y="4907675"/>
                  <a:pt x="5436364" y="4908560"/>
                </a:cubicBezTo>
                <a:cubicBezTo>
                  <a:pt x="5437565" y="4909667"/>
                  <a:pt x="5438467" y="4911327"/>
                  <a:pt x="5439068" y="4912877"/>
                </a:cubicBezTo>
                <a:cubicBezTo>
                  <a:pt x="5439368" y="4914537"/>
                  <a:pt x="5439368" y="4915975"/>
                  <a:pt x="5438767" y="4916972"/>
                </a:cubicBezTo>
                <a:cubicBezTo>
                  <a:pt x="5437565" y="4918964"/>
                  <a:pt x="5436063" y="4919406"/>
                  <a:pt x="5436063" y="4919406"/>
                </a:cubicBezTo>
                <a:cubicBezTo>
                  <a:pt x="5430652" y="4918078"/>
                  <a:pt x="5426443" y="4914979"/>
                  <a:pt x="5429749" y="4909225"/>
                </a:cubicBezTo>
                <a:cubicBezTo>
                  <a:pt x="5430351" y="4908228"/>
                  <a:pt x="5430952" y="4907232"/>
                  <a:pt x="5431553" y="4906679"/>
                </a:cubicBezTo>
                <a:close/>
                <a:moveTo>
                  <a:pt x="4175885" y="4906679"/>
                </a:moveTo>
                <a:cubicBezTo>
                  <a:pt x="4176487" y="4906236"/>
                  <a:pt x="4176787" y="4906015"/>
                  <a:pt x="4177088" y="4906679"/>
                </a:cubicBezTo>
                <a:cubicBezTo>
                  <a:pt x="4178590" y="4906236"/>
                  <a:pt x="4178891" y="4907675"/>
                  <a:pt x="4180995" y="4908560"/>
                </a:cubicBezTo>
                <a:cubicBezTo>
                  <a:pt x="4182198" y="4909667"/>
                  <a:pt x="4182799" y="4911327"/>
                  <a:pt x="4183400" y="4912877"/>
                </a:cubicBezTo>
                <a:cubicBezTo>
                  <a:pt x="4183701" y="4914537"/>
                  <a:pt x="4184001" y="4915975"/>
                  <a:pt x="4183400" y="4916972"/>
                </a:cubicBezTo>
                <a:cubicBezTo>
                  <a:pt x="4182198" y="4918964"/>
                  <a:pt x="4180695" y="4919406"/>
                  <a:pt x="4180695" y="4919406"/>
                </a:cubicBezTo>
                <a:cubicBezTo>
                  <a:pt x="4175284" y="4918078"/>
                  <a:pt x="4171076" y="4914979"/>
                  <a:pt x="4174382" y="4909225"/>
                </a:cubicBezTo>
                <a:cubicBezTo>
                  <a:pt x="4174983" y="4908228"/>
                  <a:pt x="4175584" y="4907232"/>
                  <a:pt x="4175885" y="4906679"/>
                </a:cubicBezTo>
                <a:close/>
                <a:moveTo>
                  <a:pt x="2666798" y="4906679"/>
                </a:moveTo>
                <a:cubicBezTo>
                  <a:pt x="2667400" y="4906236"/>
                  <a:pt x="2667700" y="4906015"/>
                  <a:pt x="2668001" y="4906679"/>
                </a:cubicBezTo>
                <a:cubicBezTo>
                  <a:pt x="2669503" y="4906236"/>
                  <a:pt x="2669804" y="4907675"/>
                  <a:pt x="2671908" y="4908560"/>
                </a:cubicBezTo>
                <a:cubicBezTo>
                  <a:pt x="2673112" y="4909667"/>
                  <a:pt x="2674013" y="4911327"/>
                  <a:pt x="2674314" y="4912877"/>
                </a:cubicBezTo>
                <a:cubicBezTo>
                  <a:pt x="2674915" y="4914537"/>
                  <a:pt x="2674915" y="4915975"/>
                  <a:pt x="2674314" y="4916972"/>
                </a:cubicBezTo>
                <a:cubicBezTo>
                  <a:pt x="2673112" y="4918964"/>
                  <a:pt x="2671608" y="4919406"/>
                  <a:pt x="2671608" y="4919406"/>
                </a:cubicBezTo>
                <a:cubicBezTo>
                  <a:pt x="2666197" y="4918078"/>
                  <a:pt x="2661989" y="4914979"/>
                  <a:pt x="2665295" y="4909225"/>
                </a:cubicBezTo>
                <a:cubicBezTo>
                  <a:pt x="2665896" y="4908228"/>
                  <a:pt x="2666497" y="4907232"/>
                  <a:pt x="2666798" y="4906679"/>
                </a:cubicBezTo>
                <a:close/>
                <a:moveTo>
                  <a:pt x="1637794" y="4906679"/>
                </a:moveTo>
                <a:cubicBezTo>
                  <a:pt x="1638395" y="4906236"/>
                  <a:pt x="1638696" y="4906015"/>
                  <a:pt x="1638996" y="4906679"/>
                </a:cubicBezTo>
                <a:cubicBezTo>
                  <a:pt x="1640499" y="4906236"/>
                  <a:pt x="1640800" y="4907675"/>
                  <a:pt x="1642603" y="4908560"/>
                </a:cubicBezTo>
                <a:cubicBezTo>
                  <a:pt x="1643806" y="4909667"/>
                  <a:pt x="1645008" y="4911327"/>
                  <a:pt x="1645309" y="4912877"/>
                </a:cubicBezTo>
                <a:cubicBezTo>
                  <a:pt x="1645609" y="4914537"/>
                  <a:pt x="1645609" y="4915975"/>
                  <a:pt x="1645309" y="4916972"/>
                </a:cubicBezTo>
                <a:cubicBezTo>
                  <a:pt x="1644107" y="4918964"/>
                  <a:pt x="1642603" y="4919406"/>
                  <a:pt x="1642603" y="4919406"/>
                </a:cubicBezTo>
                <a:cubicBezTo>
                  <a:pt x="1637192" y="4918078"/>
                  <a:pt x="1632684" y="4914979"/>
                  <a:pt x="1636291" y="4909225"/>
                </a:cubicBezTo>
                <a:cubicBezTo>
                  <a:pt x="1636892" y="4908228"/>
                  <a:pt x="1637493" y="4907232"/>
                  <a:pt x="1637794" y="4906679"/>
                </a:cubicBezTo>
                <a:close/>
                <a:moveTo>
                  <a:pt x="3518440" y="4904244"/>
                </a:moveTo>
                <a:cubicBezTo>
                  <a:pt x="3522949" y="4914205"/>
                  <a:pt x="3522949" y="4922173"/>
                  <a:pt x="3519342" y="4928260"/>
                </a:cubicBezTo>
                <a:cubicBezTo>
                  <a:pt x="3515734" y="4934347"/>
                  <a:pt x="3508520" y="4938774"/>
                  <a:pt x="3498599" y="4941651"/>
                </a:cubicBezTo>
                <a:cubicBezTo>
                  <a:pt x="3494091" y="4935564"/>
                  <a:pt x="3488379" y="4932687"/>
                  <a:pt x="3481164" y="4925272"/>
                </a:cubicBezTo>
                <a:cubicBezTo>
                  <a:pt x="3485372" y="4915533"/>
                  <a:pt x="3502508" y="4900371"/>
                  <a:pt x="3518440" y="4904244"/>
                </a:cubicBezTo>
                <a:close/>
                <a:moveTo>
                  <a:pt x="3017015" y="4901256"/>
                </a:moveTo>
                <a:cubicBezTo>
                  <a:pt x="3019118" y="4901146"/>
                  <a:pt x="3021524" y="4901478"/>
                  <a:pt x="3023628" y="4902142"/>
                </a:cubicBezTo>
                <a:cubicBezTo>
                  <a:pt x="3017616" y="4910442"/>
                  <a:pt x="3013407" y="4918742"/>
                  <a:pt x="3009499" y="4926932"/>
                </a:cubicBezTo>
                <a:lnTo>
                  <a:pt x="3001683" y="4945414"/>
                </a:lnTo>
                <a:lnTo>
                  <a:pt x="3003788" y="4952718"/>
                </a:lnTo>
                <a:cubicBezTo>
                  <a:pt x="2999278" y="4954157"/>
                  <a:pt x="3001984" y="4958805"/>
                  <a:pt x="2996272" y="4959580"/>
                </a:cubicBezTo>
                <a:lnTo>
                  <a:pt x="2995371" y="4958584"/>
                </a:lnTo>
                <a:lnTo>
                  <a:pt x="2986653" y="4975517"/>
                </a:lnTo>
                <a:cubicBezTo>
                  <a:pt x="2981542" y="4983596"/>
                  <a:pt x="2975530" y="4991675"/>
                  <a:pt x="2967413" y="4999754"/>
                </a:cubicBezTo>
                <a:cubicBezTo>
                  <a:pt x="2952382" y="4971864"/>
                  <a:pt x="2984849" y="4901588"/>
                  <a:pt x="3017015" y="4901256"/>
                </a:cubicBezTo>
                <a:close/>
                <a:moveTo>
                  <a:pt x="6159943" y="4883438"/>
                </a:moveTo>
                <a:cubicBezTo>
                  <a:pt x="6164452" y="4884102"/>
                  <a:pt x="6168962" y="4884655"/>
                  <a:pt x="6173470" y="4885430"/>
                </a:cubicBezTo>
                <a:cubicBezTo>
                  <a:pt x="6172268" y="4888418"/>
                  <a:pt x="6173170" y="4891849"/>
                  <a:pt x="6173170" y="4893952"/>
                </a:cubicBezTo>
                <a:cubicBezTo>
                  <a:pt x="6169563" y="4896608"/>
                  <a:pt x="6165955" y="4897161"/>
                  <a:pt x="6160544" y="4895280"/>
                </a:cubicBezTo>
                <a:cubicBezTo>
                  <a:pt x="6158440" y="4888418"/>
                  <a:pt x="6158440" y="4890742"/>
                  <a:pt x="6159943" y="4883438"/>
                </a:cubicBezTo>
                <a:close/>
                <a:moveTo>
                  <a:pt x="4904575" y="4883438"/>
                </a:moveTo>
                <a:cubicBezTo>
                  <a:pt x="4909085" y="4884102"/>
                  <a:pt x="4913594" y="4884655"/>
                  <a:pt x="4918102" y="4885430"/>
                </a:cubicBezTo>
                <a:cubicBezTo>
                  <a:pt x="4916600" y="4888418"/>
                  <a:pt x="4917501" y="4891849"/>
                  <a:pt x="4917501" y="4893952"/>
                </a:cubicBezTo>
                <a:cubicBezTo>
                  <a:pt x="4913894" y="4896608"/>
                  <a:pt x="4910588" y="4897161"/>
                  <a:pt x="4904876" y="4895280"/>
                </a:cubicBezTo>
                <a:cubicBezTo>
                  <a:pt x="4903073" y="4888418"/>
                  <a:pt x="4903073" y="4890742"/>
                  <a:pt x="4904575" y="4883438"/>
                </a:cubicBezTo>
                <a:close/>
                <a:moveTo>
                  <a:pt x="3395489" y="4883438"/>
                </a:moveTo>
                <a:cubicBezTo>
                  <a:pt x="3399998" y="4884102"/>
                  <a:pt x="3404507" y="4884655"/>
                  <a:pt x="3409016" y="4885430"/>
                </a:cubicBezTo>
                <a:cubicBezTo>
                  <a:pt x="3407513" y="4888418"/>
                  <a:pt x="3408415" y="4891849"/>
                  <a:pt x="3408415" y="4893952"/>
                </a:cubicBezTo>
                <a:cubicBezTo>
                  <a:pt x="3404807" y="4896608"/>
                  <a:pt x="3401501" y="4897161"/>
                  <a:pt x="3395789" y="4895280"/>
                </a:cubicBezTo>
                <a:cubicBezTo>
                  <a:pt x="3393985" y="4888418"/>
                  <a:pt x="3393985" y="4890742"/>
                  <a:pt x="3395489" y="4883438"/>
                </a:cubicBezTo>
                <a:close/>
                <a:moveTo>
                  <a:pt x="2366183" y="4883438"/>
                </a:moveTo>
                <a:cubicBezTo>
                  <a:pt x="2370693" y="4884102"/>
                  <a:pt x="2375202" y="4884655"/>
                  <a:pt x="2379711" y="4885430"/>
                </a:cubicBezTo>
                <a:cubicBezTo>
                  <a:pt x="2378508" y="4888418"/>
                  <a:pt x="2379411" y="4891849"/>
                  <a:pt x="2379411" y="4893952"/>
                </a:cubicBezTo>
                <a:cubicBezTo>
                  <a:pt x="2375803" y="4896608"/>
                  <a:pt x="2372496" y="4897161"/>
                  <a:pt x="2366784" y="4895280"/>
                </a:cubicBezTo>
                <a:cubicBezTo>
                  <a:pt x="2364981" y="4888418"/>
                  <a:pt x="2364680" y="4890742"/>
                  <a:pt x="2366183" y="4883438"/>
                </a:cubicBezTo>
                <a:close/>
                <a:moveTo>
                  <a:pt x="5633866" y="4877351"/>
                </a:moveTo>
                <a:cubicBezTo>
                  <a:pt x="5635671" y="4876798"/>
                  <a:pt x="5637775" y="4876466"/>
                  <a:pt x="5639879" y="4877462"/>
                </a:cubicBezTo>
                <a:cubicBezTo>
                  <a:pt x="5639879" y="4877462"/>
                  <a:pt x="5641683" y="4878347"/>
                  <a:pt x="5642585" y="4881225"/>
                </a:cubicBezTo>
                <a:cubicBezTo>
                  <a:pt x="5643486" y="4882110"/>
                  <a:pt x="5644087" y="4883106"/>
                  <a:pt x="5644388" y="4884102"/>
                </a:cubicBezTo>
                <a:cubicBezTo>
                  <a:pt x="5645291" y="4887090"/>
                  <a:pt x="5643186" y="4890410"/>
                  <a:pt x="5643186" y="4890410"/>
                </a:cubicBezTo>
                <a:cubicBezTo>
                  <a:pt x="5643186" y="4890410"/>
                  <a:pt x="5643486" y="4890300"/>
                  <a:pt x="5644989" y="4889857"/>
                </a:cubicBezTo>
                <a:cubicBezTo>
                  <a:pt x="5641683" y="4890853"/>
                  <a:pt x="5639277" y="4893288"/>
                  <a:pt x="5635972" y="4894284"/>
                </a:cubicBezTo>
                <a:cubicBezTo>
                  <a:pt x="5621241" y="4889857"/>
                  <a:pt x="5625150" y="4885430"/>
                  <a:pt x="5628155" y="4878237"/>
                </a:cubicBezTo>
                <a:cubicBezTo>
                  <a:pt x="5629960" y="4878458"/>
                  <a:pt x="5631763" y="4877794"/>
                  <a:pt x="5633866" y="4877351"/>
                </a:cubicBezTo>
                <a:close/>
                <a:moveTo>
                  <a:pt x="4378199" y="4877351"/>
                </a:moveTo>
                <a:cubicBezTo>
                  <a:pt x="4380303" y="4876798"/>
                  <a:pt x="4382107" y="4876466"/>
                  <a:pt x="4384211" y="4877462"/>
                </a:cubicBezTo>
                <a:cubicBezTo>
                  <a:pt x="4384211" y="4877462"/>
                  <a:pt x="4386015" y="4878347"/>
                  <a:pt x="4386916" y="4881225"/>
                </a:cubicBezTo>
                <a:cubicBezTo>
                  <a:pt x="4387819" y="4882110"/>
                  <a:pt x="4388420" y="4883106"/>
                  <a:pt x="4388720" y="4884102"/>
                </a:cubicBezTo>
                <a:cubicBezTo>
                  <a:pt x="4389622" y="4887090"/>
                  <a:pt x="4387819" y="4890410"/>
                  <a:pt x="4387819" y="4890410"/>
                </a:cubicBezTo>
                <a:cubicBezTo>
                  <a:pt x="4387819" y="4890410"/>
                  <a:pt x="4387819" y="4890300"/>
                  <a:pt x="4389321" y="4889857"/>
                </a:cubicBezTo>
                <a:cubicBezTo>
                  <a:pt x="4386315" y="4890853"/>
                  <a:pt x="4383610" y="4893288"/>
                  <a:pt x="4380604" y="4894284"/>
                </a:cubicBezTo>
                <a:cubicBezTo>
                  <a:pt x="4365874" y="4889857"/>
                  <a:pt x="4369781" y="4885430"/>
                  <a:pt x="4372487" y="4878237"/>
                </a:cubicBezTo>
                <a:cubicBezTo>
                  <a:pt x="4374291" y="4878458"/>
                  <a:pt x="4376396" y="4877794"/>
                  <a:pt x="4378199" y="4877351"/>
                </a:cubicBezTo>
                <a:close/>
                <a:moveTo>
                  <a:pt x="2869112" y="4877351"/>
                </a:moveTo>
                <a:cubicBezTo>
                  <a:pt x="2871216" y="4876798"/>
                  <a:pt x="2873321" y="4876466"/>
                  <a:pt x="2875124" y="4877462"/>
                </a:cubicBezTo>
                <a:cubicBezTo>
                  <a:pt x="2875124" y="4877462"/>
                  <a:pt x="2877228" y="4878347"/>
                  <a:pt x="2877829" y="4881225"/>
                </a:cubicBezTo>
                <a:cubicBezTo>
                  <a:pt x="2879033" y="4882110"/>
                  <a:pt x="2879634" y="4883106"/>
                  <a:pt x="2879934" y="4884102"/>
                </a:cubicBezTo>
                <a:cubicBezTo>
                  <a:pt x="2880837" y="4887090"/>
                  <a:pt x="2878732" y="4890410"/>
                  <a:pt x="2878732" y="4890410"/>
                </a:cubicBezTo>
                <a:cubicBezTo>
                  <a:pt x="2878732" y="4890410"/>
                  <a:pt x="2878732" y="4890300"/>
                  <a:pt x="2880535" y="4889857"/>
                </a:cubicBezTo>
                <a:cubicBezTo>
                  <a:pt x="2877228" y="4890853"/>
                  <a:pt x="2874523" y="4893288"/>
                  <a:pt x="2871517" y="4894284"/>
                </a:cubicBezTo>
                <a:cubicBezTo>
                  <a:pt x="2856787" y="4889857"/>
                  <a:pt x="2860695" y="4885430"/>
                  <a:pt x="2863701" y="4878237"/>
                </a:cubicBezTo>
                <a:cubicBezTo>
                  <a:pt x="2865204" y="4878458"/>
                  <a:pt x="2867309" y="4877794"/>
                  <a:pt x="2869112" y="4877351"/>
                </a:cubicBezTo>
                <a:close/>
                <a:moveTo>
                  <a:pt x="1840107" y="4877351"/>
                </a:moveTo>
                <a:cubicBezTo>
                  <a:pt x="1842212" y="4876798"/>
                  <a:pt x="1844016" y="4876466"/>
                  <a:pt x="1846120" y="4877462"/>
                </a:cubicBezTo>
                <a:cubicBezTo>
                  <a:pt x="1846120" y="4877462"/>
                  <a:pt x="1847923" y="4878347"/>
                  <a:pt x="1848826" y="4881225"/>
                </a:cubicBezTo>
                <a:cubicBezTo>
                  <a:pt x="1850028" y="4882110"/>
                  <a:pt x="1850629" y="4883106"/>
                  <a:pt x="1850929" y="4884102"/>
                </a:cubicBezTo>
                <a:cubicBezTo>
                  <a:pt x="1851531" y="4887090"/>
                  <a:pt x="1849727" y="4890410"/>
                  <a:pt x="1849727" y="4890410"/>
                </a:cubicBezTo>
                <a:cubicBezTo>
                  <a:pt x="1849727" y="4890410"/>
                  <a:pt x="1849727" y="4890300"/>
                  <a:pt x="1851230" y="4889857"/>
                </a:cubicBezTo>
                <a:cubicBezTo>
                  <a:pt x="1848224" y="4890853"/>
                  <a:pt x="1845518" y="4893288"/>
                  <a:pt x="1842512" y="4894284"/>
                </a:cubicBezTo>
                <a:cubicBezTo>
                  <a:pt x="1827782" y="4889857"/>
                  <a:pt x="1831389" y="4885430"/>
                  <a:pt x="1834395" y="4878237"/>
                </a:cubicBezTo>
                <a:cubicBezTo>
                  <a:pt x="1836200" y="4878458"/>
                  <a:pt x="1838004" y="4877794"/>
                  <a:pt x="1840107" y="4877351"/>
                </a:cubicBezTo>
                <a:close/>
                <a:moveTo>
                  <a:pt x="5286357" y="4874474"/>
                </a:moveTo>
                <a:cubicBezTo>
                  <a:pt x="5279442" y="4891185"/>
                  <a:pt x="5268019" y="4887090"/>
                  <a:pt x="5263811" y="4896497"/>
                </a:cubicBezTo>
                <a:cubicBezTo>
                  <a:pt x="5261405" y="4894063"/>
                  <a:pt x="5261405" y="4894063"/>
                  <a:pt x="5262307" y="4890632"/>
                </a:cubicBezTo>
                <a:cubicBezTo>
                  <a:pt x="5263811" y="4890078"/>
                  <a:pt x="5263209" y="4888640"/>
                  <a:pt x="5265313" y="4889636"/>
                </a:cubicBezTo>
                <a:cubicBezTo>
                  <a:pt x="5267116" y="4884213"/>
                  <a:pt x="5279743" y="4875138"/>
                  <a:pt x="5286357" y="4874474"/>
                </a:cubicBezTo>
                <a:close/>
                <a:moveTo>
                  <a:pt x="4030988" y="4874474"/>
                </a:moveTo>
                <a:cubicBezTo>
                  <a:pt x="4023773" y="4891185"/>
                  <a:pt x="4012350" y="4887090"/>
                  <a:pt x="4008442" y="4896497"/>
                </a:cubicBezTo>
                <a:cubicBezTo>
                  <a:pt x="4006037" y="4894063"/>
                  <a:pt x="4005737" y="4894063"/>
                  <a:pt x="4006638" y="4890632"/>
                </a:cubicBezTo>
                <a:cubicBezTo>
                  <a:pt x="4008142" y="4890078"/>
                  <a:pt x="4007841" y="4888640"/>
                  <a:pt x="4009644" y="4889636"/>
                </a:cubicBezTo>
                <a:cubicBezTo>
                  <a:pt x="4011749" y="4884213"/>
                  <a:pt x="4024375" y="4875138"/>
                  <a:pt x="4030988" y="4874474"/>
                </a:cubicBezTo>
                <a:close/>
                <a:moveTo>
                  <a:pt x="2521902" y="4874474"/>
                </a:moveTo>
                <a:cubicBezTo>
                  <a:pt x="2514688" y="4891185"/>
                  <a:pt x="2503264" y="4887090"/>
                  <a:pt x="2499356" y="4896497"/>
                </a:cubicBezTo>
                <a:cubicBezTo>
                  <a:pt x="2496951" y="4894063"/>
                  <a:pt x="2496951" y="4894063"/>
                  <a:pt x="2497552" y="4890632"/>
                </a:cubicBezTo>
                <a:cubicBezTo>
                  <a:pt x="2499356" y="4890078"/>
                  <a:pt x="2498755" y="4888640"/>
                  <a:pt x="2500860" y="4889636"/>
                </a:cubicBezTo>
                <a:cubicBezTo>
                  <a:pt x="2502662" y="4884213"/>
                  <a:pt x="2515289" y="4875138"/>
                  <a:pt x="2521902" y="4874474"/>
                </a:cubicBezTo>
                <a:close/>
                <a:moveTo>
                  <a:pt x="1492897" y="4874474"/>
                </a:moveTo>
                <a:cubicBezTo>
                  <a:pt x="1485683" y="4891185"/>
                  <a:pt x="1474260" y="4887090"/>
                  <a:pt x="1470051" y="4896497"/>
                </a:cubicBezTo>
                <a:cubicBezTo>
                  <a:pt x="1467646" y="4894063"/>
                  <a:pt x="1467946" y="4894063"/>
                  <a:pt x="1468548" y="4890632"/>
                </a:cubicBezTo>
                <a:cubicBezTo>
                  <a:pt x="1470051" y="4890078"/>
                  <a:pt x="1469750" y="4888640"/>
                  <a:pt x="1471554" y="4889636"/>
                </a:cubicBezTo>
                <a:cubicBezTo>
                  <a:pt x="1473357" y="4884213"/>
                  <a:pt x="1486284" y="4875138"/>
                  <a:pt x="1492897" y="4874474"/>
                </a:cubicBezTo>
                <a:close/>
                <a:moveTo>
                  <a:pt x="5751107" y="4873478"/>
                </a:moveTo>
                <a:cubicBezTo>
                  <a:pt x="5752610" y="4873478"/>
                  <a:pt x="5753812" y="4873920"/>
                  <a:pt x="5755615" y="4874695"/>
                </a:cubicBezTo>
                <a:cubicBezTo>
                  <a:pt x="5755014" y="4881114"/>
                  <a:pt x="5755014" y="4885430"/>
                  <a:pt x="5753512" y="4888418"/>
                </a:cubicBezTo>
                <a:cubicBezTo>
                  <a:pt x="5744793" y="4888861"/>
                  <a:pt x="5742990" y="4877351"/>
                  <a:pt x="5748101" y="4874252"/>
                </a:cubicBezTo>
                <a:cubicBezTo>
                  <a:pt x="5749002" y="4873699"/>
                  <a:pt x="5749904" y="4873478"/>
                  <a:pt x="5751107" y="4873478"/>
                </a:cubicBezTo>
                <a:close/>
                <a:moveTo>
                  <a:pt x="2986653" y="4873478"/>
                </a:moveTo>
                <a:cubicBezTo>
                  <a:pt x="2987855" y="4873478"/>
                  <a:pt x="2989358" y="4873920"/>
                  <a:pt x="2990861" y="4874695"/>
                </a:cubicBezTo>
                <a:cubicBezTo>
                  <a:pt x="2990560" y="4881114"/>
                  <a:pt x="2990260" y="4885430"/>
                  <a:pt x="2989058" y="4888418"/>
                </a:cubicBezTo>
                <a:cubicBezTo>
                  <a:pt x="2980339" y="4888861"/>
                  <a:pt x="2978236" y="4877351"/>
                  <a:pt x="2983647" y="4874252"/>
                </a:cubicBezTo>
                <a:cubicBezTo>
                  <a:pt x="2984248" y="4873699"/>
                  <a:pt x="2985450" y="4873478"/>
                  <a:pt x="2986653" y="4873478"/>
                </a:cubicBezTo>
                <a:close/>
                <a:moveTo>
                  <a:pt x="1957348" y="4873478"/>
                </a:moveTo>
                <a:cubicBezTo>
                  <a:pt x="1958850" y="4873478"/>
                  <a:pt x="1960354" y="4873920"/>
                  <a:pt x="1961856" y="4874695"/>
                </a:cubicBezTo>
                <a:cubicBezTo>
                  <a:pt x="1961556" y="4881114"/>
                  <a:pt x="1961255" y="4885430"/>
                  <a:pt x="1960053" y="4888418"/>
                </a:cubicBezTo>
                <a:cubicBezTo>
                  <a:pt x="1951336" y="4888861"/>
                  <a:pt x="1949231" y="4877351"/>
                  <a:pt x="1954342" y="4874252"/>
                </a:cubicBezTo>
                <a:cubicBezTo>
                  <a:pt x="1955243" y="4873699"/>
                  <a:pt x="1956145" y="4873478"/>
                  <a:pt x="1957348" y="4873478"/>
                </a:cubicBezTo>
                <a:close/>
                <a:moveTo>
                  <a:pt x="5351289" y="4872371"/>
                </a:moveTo>
                <a:cubicBezTo>
                  <a:pt x="5352492" y="4872260"/>
                  <a:pt x="5353995" y="4872592"/>
                  <a:pt x="5355197" y="4873256"/>
                </a:cubicBezTo>
                <a:cubicBezTo>
                  <a:pt x="5355798" y="4874695"/>
                  <a:pt x="5355497" y="4879675"/>
                  <a:pt x="5357001" y="4879122"/>
                </a:cubicBezTo>
                <a:cubicBezTo>
                  <a:pt x="5354295" y="4883549"/>
                  <a:pt x="5350989" y="4888197"/>
                  <a:pt x="5347081" y="4889746"/>
                </a:cubicBezTo>
                <a:cubicBezTo>
                  <a:pt x="5345878" y="4890189"/>
                  <a:pt x="5344675" y="4890300"/>
                  <a:pt x="5343172" y="4889968"/>
                </a:cubicBezTo>
                <a:cubicBezTo>
                  <a:pt x="5339564" y="4889525"/>
                  <a:pt x="5340467" y="4886205"/>
                  <a:pt x="5342571" y="4882221"/>
                </a:cubicBezTo>
                <a:cubicBezTo>
                  <a:pt x="5344675" y="4875691"/>
                  <a:pt x="5347382" y="4872371"/>
                  <a:pt x="5351289" y="4872371"/>
                </a:cubicBezTo>
                <a:close/>
                <a:moveTo>
                  <a:pt x="4095620" y="4872371"/>
                </a:moveTo>
                <a:cubicBezTo>
                  <a:pt x="4096823" y="4872260"/>
                  <a:pt x="4098326" y="4872592"/>
                  <a:pt x="4099829" y="4873256"/>
                </a:cubicBezTo>
                <a:cubicBezTo>
                  <a:pt x="4100130" y="4874695"/>
                  <a:pt x="4099829" y="4879675"/>
                  <a:pt x="4101332" y="4879122"/>
                </a:cubicBezTo>
                <a:cubicBezTo>
                  <a:pt x="4098928" y="4883549"/>
                  <a:pt x="4095620" y="4888197"/>
                  <a:pt x="4091713" y="4889746"/>
                </a:cubicBezTo>
                <a:cubicBezTo>
                  <a:pt x="4090510" y="4890189"/>
                  <a:pt x="4089007" y="4890300"/>
                  <a:pt x="4087504" y="4889968"/>
                </a:cubicBezTo>
                <a:cubicBezTo>
                  <a:pt x="4084197" y="4889525"/>
                  <a:pt x="4084798" y="4886205"/>
                  <a:pt x="4087203" y="4882221"/>
                </a:cubicBezTo>
                <a:cubicBezTo>
                  <a:pt x="4089007" y="4875691"/>
                  <a:pt x="4092013" y="4872371"/>
                  <a:pt x="4095620" y="4872371"/>
                </a:cubicBezTo>
                <a:close/>
                <a:moveTo>
                  <a:pt x="1557530" y="4872371"/>
                </a:moveTo>
                <a:cubicBezTo>
                  <a:pt x="1558732" y="4872260"/>
                  <a:pt x="1560236" y="4872592"/>
                  <a:pt x="1561738" y="4873256"/>
                </a:cubicBezTo>
                <a:cubicBezTo>
                  <a:pt x="1562039" y="4874695"/>
                  <a:pt x="1561738" y="4879675"/>
                  <a:pt x="1563242" y="4879122"/>
                </a:cubicBezTo>
                <a:cubicBezTo>
                  <a:pt x="1560837" y="4883549"/>
                  <a:pt x="1557228" y="4888197"/>
                  <a:pt x="1553621" y="4889746"/>
                </a:cubicBezTo>
                <a:cubicBezTo>
                  <a:pt x="1552119" y="4890189"/>
                  <a:pt x="1550916" y="4890300"/>
                  <a:pt x="1549714" y="4889968"/>
                </a:cubicBezTo>
                <a:cubicBezTo>
                  <a:pt x="1546106" y="4889525"/>
                  <a:pt x="1546708" y="4886205"/>
                  <a:pt x="1549113" y="4882221"/>
                </a:cubicBezTo>
                <a:cubicBezTo>
                  <a:pt x="1550916" y="4875691"/>
                  <a:pt x="1553922" y="4872371"/>
                  <a:pt x="1557530" y="4872371"/>
                </a:cubicBezTo>
                <a:close/>
                <a:moveTo>
                  <a:pt x="4491230" y="4870822"/>
                </a:moveTo>
                <a:cubicBezTo>
                  <a:pt x="4493635" y="4871264"/>
                  <a:pt x="4496039" y="4872371"/>
                  <a:pt x="4498445" y="4873920"/>
                </a:cubicBezTo>
                <a:lnTo>
                  <a:pt x="4499647" y="4874695"/>
                </a:lnTo>
                <a:lnTo>
                  <a:pt x="4499948" y="4874695"/>
                </a:lnTo>
                <a:lnTo>
                  <a:pt x="4499948" y="4875138"/>
                </a:lnTo>
                <a:lnTo>
                  <a:pt x="4505960" y="4880229"/>
                </a:lnTo>
                <a:cubicBezTo>
                  <a:pt x="4502653" y="4890078"/>
                  <a:pt x="4489726" y="4900260"/>
                  <a:pt x="4481009" y="4897272"/>
                </a:cubicBezTo>
                <a:cubicBezTo>
                  <a:pt x="4474095" y="4887754"/>
                  <a:pt x="4478904" y="4882110"/>
                  <a:pt x="4474095" y="4876798"/>
                </a:cubicBezTo>
                <a:cubicBezTo>
                  <a:pt x="4480708" y="4871818"/>
                  <a:pt x="4486119" y="4870047"/>
                  <a:pt x="4491230" y="4870822"/>
                </a:cubicBezTo>
                <a:close/>
                <a:moveTo>
                  <a:pt x="5281246" y="4868829"/>
                </a:moveTo>
                <a:cubicBezTo>
                  <a:pt x="5281547" y="4870268"/>
                  <a:pt x="5281547" y="4870158"/>
                  <a:pt x="5281547" y="4870158"/>
                </a:cubicBezTo>
                <a:cubicBezTo>
                  <a:pt x="5276737" y="4870711"/>
                  <a:pt x="5272227" y="4876244"/>
                  <a:pt x="5266515" y="4878901"/>
                </a:cubicBezTo>
                <a:cubicBezTo>
                  <a:pt x="5264712" y="4879786"/>
                  <a:pt x="5262608" y="4880229"/>
                  <a:pt x="5260503" y="4880229"/>
                </a:cubicBezTo>
                <a:cubicBezTo>
                  <a:pt x="5260503" y="4880229"/>
                  <a:pt x="5260503" y="4880339"/>
                  <a:pt x="5262307" y="4879786"/>
                </a:cubicBezTo>
                <a:cubicBezTo>
                  <a:pt x="5262307" y="4879786"/>
                  <a:pt x="5260503" y="4880229"/>
                  <a:pt x="5260203" y="4878901"/>
                </a:cubicBezTo>
                <a:cubicBezTo>
                  <a:pt x="5266816" y="4872150"/>
                  <a:pt x="5279743" y="4869383"/>
                  <a:pt x="5281246" y="4868829"/>
                </a:cubicBezTo>
                <a:close/>
                <a:moveTo>
                  <a:pt x="4025577" y="4868829"/>
                </a:moveTo>
                <a:cubicBezTo>
                  <a:pt x="4025878" y="4870268"/>
                  <a:pt x="4026178" y="4870158"/>
                  <a:pt x="4026178" y="4870158"/>
                </a:cubicBezTo>
                <a:cubicBezTo>
                  <a:pt x="4021069" y="4870711"/>
                  <a:pt x="4016559" y="4876244"/>
                  <a:pt x="4011148" y="4878901"/>
                </a:cubicBezTo>
                <a:cubicBezTo>
                  <a:pt x="4009043" y="4879786"/>
                  <a:pt x="4007240" y="4880229"/>
                  <a:pt x="4005136" y="4880229"/>
                </a:cubicBezTo>
                <a:cubicBezTo>
                  <a:pt x="4005136" y="4880229"/>
                  <a:pt x="4005136" y="4880339"/>
                  <a:pt x="4006638" y="4879786"/>
                </a:cubicBezTo>
                <a:cubicBezTo>
                  <a:pt x="4006638" y="4879786"/>
                  <a:pt x="4005136" y="4880229"/>
                  <a:pt x="4004535" y="4878901"/>
                </a:cubicBezTo>
                <a:cubicBezTo>
                  <a:pt x="4011148" y="4872150"/>
                  <a:pt x="4024075" y="4869383"/>
                  <a:pt x="4025577" y="4868829"/>
                </a:cubicBezTo>
                <a:close/>
                <a:moveTo>
                  <a:pt x="2516791" y="4868829"/>
                </a:moveTo>
                <a:cubicBezTo>
                  <a:pt x="2517092" y="4870268"/>
                  <a:pt x="2517092" y="4870158"/>
                  <a:pt x="2517092" y="4870158"/>
                </a:cubicBezTo>
                <a:cubicBezTo>
                  <a:pt x="2511982" y="4870711"/>
                  <a:pt x="2507472" y="4876244"/>
                  <a:pt x="2502062" y="4878901"/>
                </a:cubicBezTo>
                <a:cubicBezTo>
                  <a:pt x="2500257" y="4879786"/>
                  <a:pt x="2498154" y="4880229"/>
                  <a:pt x="2496049" y="4880229"/>
                </a:cubicBezTo>
                <a:cubicBezTo>
                  <a:pt x="2496049" y="4880229"/>
                  <a:pt x="2496049" y="4880339"/>
                  <a:pt x="2497552" y="4879786"/>
                </a:cubicBezTo>
                <a:cubicBezTo>
                  <a:pt x="2497552" y="4879786"/>
                  <a:pt x="2496049" y="4880229"/>
                  <a:pt x="2495749" y="4878901"/>
                </a:cubicBezTo>
                <a:cubicBezTo>
                  <a:pt x="2502362" y="4872150"/>
                  <a:pt x="2514988" y="4869383"/>
                  <a:pt x="2516791" y="4868829"/>
                </a:cubicBezTo>
                <a:close/>
                <a:moveTo>
                  <a:pt x="1487486" y="4868829"/>
                </a:moveTo>
                <a:cubicBezTo>
                  <a:pt x="1488088" y="4870268"/>
                  <a:pt x="1488088" y="4870158"/>
                  <a:pt x="1488088" y="4870158"/>
                </a:cubicBezTo>
                <a:cubicBezTo>
                  <a:pt x="1482977" y="4870711"/>
                  <a:pt x="1478468" y="4876244"/>
                  <a:pt x="1472756" y="4878901"/>
                </a:cubicBezTo>
                <a:cubicBezTo>
                  <a:pt x="1470952" y="4879786"/>
                  <a:pt x="1469149" y="4880229"/>
                  <a:pt x="1467045" y="4880229"/>
                </a:cubicBezTo>
                <a:cubicBezTo>
                  <a:pt x="1467045" y="4880229"/>
                  <a:pt x="1466744" y="4880339"/>
                  <a:pt x="1468548" y="4879786"/>
                </a:cubicBezTo>
                <a:cubicBezTo>
                  <a:pt x="1468548" y="4879786"/>
                  <a:pt x="1467045" y="4880229"/>
                  <a:pt x="1466444" y="4878901"/>
                </a:cubicBezTo>
                <a:cubicBezTo>
                  <a:pt x="1473057" y="4872150"/>
                  <a:pt x="1485983" y="4869383"/>
                  <a:pt x="1487486" y="4868829"/>
                </a:cubicBezTo>
                <a:close/>
                <a:moveTo>
                  <a:pt x="5001674" y="4866616"/>
                </a:moveTo>
                <a:cubicBezTo>
                  <a:pt x="5006483" y="4867169"/>
                  <a:pt x="5011594" y="4867723"/>
                  <a:pt x="5014601" y="4874363"/>
                </a:cubicBezTo>
                <a:cubicBezTo>
                  <a:pt x="5013097" y="4880450"/>
                  <a:pt x="5009190" y="4883881"/>
                  <a:pt x="5000471" y="4886758"/>
                </a:cubicBezTo>
                <a:cubicBezTo>
                  <a:pt x="4993858" y="4883549"/>
                  <a:pt x="4990852" y="4870158"/>
                  <a:pt x="5001674" y="4866616"/>
                </a:cubicBezTo>
                <a:close/>
                <a:moveTo>
                  <a:pt x="3746306" y="4866616"/>
                </a:moveTo>
                <a:cubicBezTo>
                  <a:pt x="3751116" y="4867169"/>
                  <a:pt x="3755926" y="4867723"/>
                  <a:pt x="3759233" y="4874363"/>
                </a:cubicBezTo>
                <a:cubicBezTo>
                  <a:pt x="3757428" y="4880450"/>
                  <a:pt x="3753521" y="4883881"/>
                  <a:pt x="3745104" y="4886758"/>
                </a:cubicBezTo>
                <a:cubicBezTo>
                  <a:pt x="3738190" y="4883549"/>
                  <a:pt x="3735485" y="4870158"/>
                  <a:pt x="3746306" y="4866616"/>
                </a:cubicBezTo>
                <a:close/>
                <a:moveTo>
                  <a:pt x="2237220" y="4866616"/>
                </a:moveTo>
                <a:cubicBezTo>
                  <a:pt x="2242029" y="4867169"/>
                  <a:pt x="2247140" y="4867723"/>
                  <a:pt x="2250146" y="4874363"/>
                </a:cubicBezTo>
                <a:cubicBezTo>
                  <a:pt x="2248343" y="4880450"/>
                  <a:pt x="2244735" y="4883881"/>
                  <a:pt x="2236017" y="4886758"/>
                </a:cubicBezTo>
                <a:cubicBezTo>
                  <a:pt x="2229103" y="4883549"/>
                  <a:pt x="2226398" y="4870158"/>
                  <a:pt x="2237220" y="4866616"/>
                </a:cubicBezTo>
                <a:close/>
                <a:moveTo>
                  <a:pt x="1208215" y="4866616"/>
                </a:moveTo>
                <a:cubicBezTo>
                  <a:pt x="1213024" y="4867169"/>
                  <a:pt x="1217835" y="4867723"/>
                  <a:pt x="1221141" y="4874363"/>
                </a:cubicBezTo>
                <a:cubicBezTo>
                  <a:pt x="1219338" y="4880450"/>
                  <a:pt x="1215730" y="4883881"/>
                  <a:pt x="1207012" y="4886758"/>
                </a:cubicBezTo>
                <a:cubicBezTo>
                  <a:pt x="1200099" y="4883549"/>
                  <a:pt x="1197393" y="4870158"/>
                  <a:pt x="1208215" y="4866616"/>
                </a:cubicBezTo>
                <a:close/>
                <a:moveTo>
                  <a:pt x="3244280" y="4864403"/>
                </a:moveTo>
                <a:cubicBezTo>
                  <a:pt x="3249992" y="4871264"/>
                  <a:pt x="3251194" y="4876798"/>
                  <a:pt x="3249992" y="4881667"/>
                </a:cubicBezTo>
                <a:cubicBezTo>
                  <a:pt x="3248488" y="4886537"/>
                  <a:pt x="3245181" y="4890853"/>
                  <a:pt x="3241574" y="4895169"/>
                </a:cubicBezTo>
                <a:cubicBezTo>
                  <a:pt x="3235561" y="4884323"/>
                  <a:pt x="3224138" y="4894505"/>
                  <a:pt x="3223837" y="4878569"/>
                </a:cubicBezTo>
                <a:cubicBezTo>
                  <a:pt x="3226844" y="4871928"/>
                  <a:pt x="3232555" y="4866837"/>
                  <a:pt x="3244280" y="4864403"/>
                </a:cubicBezTo>
                <a:close/>
                <a:moveTo>
                  <a:pt x="5294472" y="4863407"/>
                </a:moveTo>
                <a:cubicBezTo>
                  <a:pt x="5295073" y="4863075"/>
                  <a:pt x="5295675" y="4863075"/>
                  <a:pt x="5296879" y="4863517"/>
                </a:cubicBezTo>
                <a:cubicBezTo>
                  <a:pt x="5295675" y="4865509"/>
                  <a:pt x="5292970" y="4867944"/>
                  <a:pt x="5291768" y="4869936"/>
                </a:cubicBezTo>
                <a:cubicBezTo>
                  <a:pt x="5291768" y="4869936"/>
                  <a:pt x="5291768" y="4870047"/>
                  <a:pt x="5289662" y="4869051"/>
                </a:cubicBezTo>
                <a:cubicBezTo>
                  <a:pt x="5292068" y="4868276"/>
                  <a:pt x="5292669" y="4864513"/>
                  <a:pt x="5294472" y="4863407"/>
                </a:cubicBezTo>
                <a:close/>
                <a:moveTo>
                  <a:pt x="4039105" y="4863407"/>
                </a:moveTo>
                <a:cubicBezTo>
                  <a:pt x="4039706" y="4863075"/>
                  <a:pt x="4040307" y="4863075"/>
                  <a:pt x="4041210" y="4863517"/>
                </a:cubicBezTo>
                <a:cubicBezTo>
                  <a:pt x="4040307" y="4865509"/>
                  <a:pt x="4037602" y="4867944"/>
                  <a:pt x="4036400" y="4869936"/>
                </a:cubicBezTo>
                <a:cubicBezTo>
                  <a:pt x="4036400" y="4869936"/>
                  <a:pt x="4036400" y="4870047"/>
                  <a:pt x="4034295" y="4869051"/>
                </a:cubicBezTo>
                <a:cubicBezTo>
                  <a:pt x="4036700" y="4868276"/>
                  <a:pt x="4037301" y="4864513"/>
                  <a:pt x="4039105" y="4863407"/>
                </a:cubicBezTo>
                <a:close/>
                <a:moveTo>
                  <a:pt x="2530018" y="4863407"/>
                </a:moveTo>
                <a:cubicBezTo>
                  <a:pt x="2530620" y="4863075"/>
                  <a:pt x="2531220" y="4863075"/>
                  <a:pt x="2532424" y="4863517"/>
                </a:cubicBezTo>
                <a:cubicBezTo>
                  <a:pt x="2531220" y="4865509"/>
                  <a:pt x="2528516" y="4867944"/>
                  <a:pt x="2527313" y="4869936"/>
                </a:cubicBezTo>
                <a:cubicBezTo>
                  <a:pt x="2527313" y="4869936"/>
                  <a:pt x="2527313" y="4870047"/>
                  <a:pt x="2525208" y="4869051"/>
                </a:cubicBezTo>
                <a:cubicBezTo>
                  <a:pt x="2527613" y="4868276"/>
                  <a:pt x="2528215" y="4864513"/>
                  <a:pt x="2530018" y="4863407"/>
                </a:cubicBezTo>
                <a:close/>
                <a:moveTo>
                  <a:pt x="1500713" y="4863407"/>
                </a:moveTo>
                <a:cubicBezTo>
                  <a:pt x="1501314" y="4863075"/>
                  <a:pt x="1502217" y="4863075"/>
                  <a:pt x="1503118" y="4863517"/>
                </a:cubicBezTo>
                <a:cubicBezTo>
                  <a:pt x="1501916" y="4865509"/>
                  <a:pt x="1499211" y="4867944"/>
                  <a:pt x="1498008" y="4869936"/>
                </a:cubicBezTo>
                <a:cubicBezTo>
                  <a:pt x="1498008" y="4869936"/>
                  <a:pt x="1498008" y="4870047"/>
                  <a:pt x="1496204" y="4869051"/>
                </a:cubicBezTo>
                <a:cubicBezTo>
                  <a:pt x="1498609" y="4868276"/>
                  <a:pt x="1498909" y="4864513"/>
                  <a:pt x="1500713" y="4863407"/>
                </a:cubicBezTo>
                <a:close/>
                <a:moveTo>
                  <a:pt x="5370529" y="4861747"/>
                </a:moveTo>
                <a:cubicBezTo>
                  <a:pt x="5370829" y="4862521"/>
                  <a:pt x="5371430" y="4863517"/>
                  <a:pt x="5372031" y="4864292"/>
                </a:cubicBezTo>
                <a:cubicBezTo>
                  <a:pt x="5372332" y="4865177"/>
                  <a:pt x="5372632" y="4865841"/>
                  <a:pt x="5371731" y="4866173"/>
                </a:cubicBezTo>
                <a:cubicBezTo>
                  <a:pt x="5372332" y="4867612"/>
                  <a:pt x="5369327" y="4868608"/>
                  <a:pt x="5369327" y="4868608"/>
                </a:cubicBezTo>
                <a:cubicBezTo>
                  <a:pt x="5369627" y="4870158"/>
                  <a:pt x="5370228" y="4871596"/>
                  <a:pt x="5369026" y="4873588"/>
                </a:cubicBezTo>
                <a:cubicBezTo>
                  <a:pt x="5367221" y="4872592"/>
                  <a:pt x="5367521" y="4874142"/>
                  <a:pt x="5366019" y="4874584"/>
                </a:cubicBezTo>
                <a:cubicBezTo>
                  <a:pt x="5367221" y="4872592"/>
                  <a:pt x="5365718" y="4868165"/>
                  <a:pt x="5366620" y="4864624"/>
                </a:cubicBezTo>
                <a:cubicBezTo>
                  <a:pt x="5368123" y="4864181"/>
                  <a:pt x="5369026" y="4862300"/>
                  <a:pt x="5370529" y="4861747"/>
                </a:cubicBezTo>
                <a:close/>
                <a:moveTo>
                  <a:pt x="4115160" y="4861747"/>
                </a:moveTo>
                <a:cubicBezTo>
                  <a:pt x="4115462" y="4862521"/>
                  <a:pt x="4116063" y="4863517"/>
                  <a:pt x="4116363" y="4864292"/>
                </a:cubicBezTo>
                <a:cubicBezTo>
                  <a:pt x="4116964" y="4865177"/>
                  <a:pt x="4116964" y="4865841"/>
                  <a:pt x="4116363" y="4866173"/>
                </a:cubicBezTo>
                <a:cubicBezTo>
                  <a:pt x="4116664" y="4867612"/>
                  <a:pt x="4113658" y="4868608"/>
                  <a:pt x="4113658" y="4868608"/>
                </a:cubicBezTo>
                <a:cubicBezTo>
                  <a:pt x="4114259" y="4870158"/>
                  <a:pt x="4114559" y="4871596"/>
                  <a:pt x="4113658" y="4873588"/>
                </a:cubicBezTo>
                <a:cubicBezTo>
                  <a:pt x="4111553" y="4872592"/>
                  <a:pt x="4112154" y="4874142"/>
                  <a:pt x="4110652" y="4874584"/>
                </a:cubicBezTo>
                <a:cubicBezTo>
                  <a:pt x="4111553" y="4872592"/>
                  <a:pt x="4110351" y="4868165"/>
                  <a:pt x="4110952" y="4864624"/>
                </a:cubicBezTo>
                <a:cubicBezTo>
                  <a:pt x="4112455" y="4864181"/>
                  <a:pt x="4113658" y="4862300"/>
                  <a:pt x="4115160" y="4861747"/>
                </a:cubicBezTo>
                <a:close/>
                <a:moveTo>
                  <a:pt x="1577070" y="4861747"/>
                </a:moveTo>
                <a:cubicBezTo>
                  <a:pt x="1577070" y="4862521"/>
                  <a:pt x="1577972" y="4863517"/>
                  <a:pt x="1578272" y="4864292"/>
                </a:cubicBezTo>
                <a:cubicBezTo>
                  <a:pt x="1578873" y="4865177"/>
                  <a:pt x="1578873" y="4865841"/>
                  <a:pt x="1578272" y="4866173"/>
                </a:cubicBezTo>
                <a:cubicBezTo>
                  <a:pt x="1578572" y="4867612"/>
                  <a:pt x="1575566" y="4868608"/>
                  <a:pt x="1575566" y="4868608"/>
                </a:cubicBezTo>
                <a:cubicBezTo>
                  <a:pt x="1575867" y="4870158"/>
                  <a:pt x="1576468" y="4871596"/>
                  <a:pt x="1575266" y="4873588"/>
                </a:cubicBezTo>
                <a:cubicBezTo>
                  <a:pt x="1573462" y="4872592"/>
                  <a:pt x="1573762" y="4874142"/>
                  <a:pt x="1572260" y="4874584"/>
                </a:cubicBezTo>
                <a:cubicBezTo>
                  <a:pt x="1573462" y="4872592"/>
                  <a:pt x="1572260" y="4868165"/>
                  <a:pt x="1572861" y="4864624"/>
                </a:cubicBezTo>
                <a:cubicBezTo>
                  <a:pt x="1574364" y="4864181"/>
                  <a:pt x="1575566" y="4862300"/>
                  <a:pt x="1577070" y="4861747"/>
                </a:cubicBezTo>
                <a:close/>
                <a:moveTo>
                  <a:pt x="5815138" y="4861525"/>
                </a:moveTo>
                <a:cubicBezTo>
                  <a:pt x="5816941" y="4861304"/>
                  <a:pt x="5819647" y="4861414"/>
                  <a:pt x="5822954" y="4861857"/>
                </a:cubicBezTo>
                <a:cubicBezTo>
                  <a:pt x="5819948" y="4876355"/>
                  <a:pt x="5837083" y="4871375"/>
                  <a:pt x="5835280" y="4882774"/>
                </a:cubicBezTo>
                <a:cubicBezTo>
                  <a:pt x="5832273" y="4886426"/>
                  <a:pt x="5830770" y="4891406"/>
                  <a:pt x="5826260" y="4893952"/>
                </a:cubicBezTo>
                <a:cubicBezTo>
                  <a:pt x="5824758" y="4894837"/>
                  <a:pt x="5822954" y="4895501"/>
                  <a:pt x="5820549" y="4895723"/>
                </a:cubicBezTo>
                <a:cubicBezTo>
                  <a:pt x="5819347" y="4882663"/>
                  <a:pt x="5814236" y="4874474"/>
                  <a:pt x="5810628" y="4863185"/>
                </a:cubicBezTo>
                <a:cubicBezTo>
                  <a:pt x="5811531" y="4862300"/>
                  <a:pt x="5813034" y="4861747"/>
                  <a:pt x="5815138" y="4861525"/>
                </a:cubicBezTo>
                <a:close/>
                <a:moveTo>
                  <a:pt x="4559470" y="4861525"/>
                </a:moveTo>
                <a:cubicBezTo>
                  <a:pt x="4561574" y="4861304"/>
                  <a:pt x="4563979" y="4861414"/>
                  <a:pt x="4567285" y="4861857"/>
                </a:cubicBezTo>
                <a:cubicBezTo>
                  <a:pt x="4564279" y="4876355"/>
                  <a:pt x="4581415" y="4871375"/>
                  <a:pt x="4579610" y="4882774"/>
                </a:cubicBezTo>
                <a:cubicBezTo>
                  <a:pt x="4576905" y="4886426"/>
                  <a:pt x="4575101" y="4891406"/>
                  <a:pt x="4570893" y="4893952"/>
                </a:cubicBezTo>
                <a:cubicBezTo>
                  <a:pt x="4569390" y="4894837"/>
                  <a:pt x="4567586" y="4895501"/>
                  <a:pt x="4565182" y="4895723"/>
                </a:cubicBezTo>
                <a:cubicBezTo>
                  <a:pt x="4563678" y="4882663"/>
                  <a:pt x="4558567" y="4874474"/>
                  <a:pt x="4554960" y="4863185"/>
                </a:cubicBezTo>
                <a:cubicBezTo>
                  <a:pt x="4556162" y="4862300"/>
                  <a:pt x="4557666" y="4861747"/>
                  <a:pt x="4559470" y="4861525"/>
                </a:cubicBezTo>
                <a:close/>
                <a:moveTo>
                  <a:pt x="3050383" y="4861525"/>
                </a:moveTo>
                <a:cubicBezTo>
                  <a:pt x="3052487" y="4861304"/>
                  <a:pt x="3054892" y="4861414"/>
                  <a:pt x="3058500" y="4861857"/>
                </a:cubicBezTo>
                <a:cubicBezTo>
                  <a:pt x="3055193" y="4876355"/>
                  <a:pt x="3072328" y="4871375"/>
                  <a:pt x="3070524" y="4882774"/>
                </a:cubicBezTo>
                <a:cubicBezTo>
                  <a:pt x="3067819" y="4886426"/>
                  <a:pt x="3066015" y="4891406"/>
                  <a:pt x="3061806" y="4893952"/>
                </a:cubicBezTo>
                <a:cubicBezTo>
                  <a:pt x="3060303" y="4894837"/>
                  <a:pt x="3058500" y="4895501"/>
                  <a:pt x="3056095" y="4895723"/>
                </a:cubicBezTo>
                <a:cubicBezTo>
                  <a:pt x="3054892" y="4882663"/>
                  <a:pt x="3049481" y="4874474"/>
                  <a:pt x="3045874" y="4863185"/>
                </a:cubicBezTo>
                <a:cubicBezTo>
                  <a:pt x="3047076" y="4862300"/>
                  <a:pt x="3048579" y="4861747"/>
                  <a:pt x="3050383" y="4861525"/>
                </a:cubicBezTo>
                <a:close/>
                <a:moveTo>
                  <a:pt x="2021379" y="4861525"/>
                </a:moveTo>
                <a:cubicBezTo>
                  <a:pt x="2023483" y="4861304"/>
                  <a:pt x="2025887" y="4861414"/>
                  <a:pt x="2029195" y="4861857"/>
                </a:cubicBezTo>
                <a:cubicBezTo>
                  <a:pt x="2026189" y="4876355"/>
                  <a:pt x="2043324" y="4871375"/>
                  <a:pt x="2041519" y="4882774"/>
                </a:cubicBezTo>
                <a:cubicBezTo>
                  <a:pt x="2038513" y="4886426"/>
                  <a:pt x="2037010" y="4891406"/>
                  <a:pt x="2032501" y="4893952"/>
                </a:cubicBezTo>
                <a:cubicBezTo>
                  <a:pt x="2030998" y="4894837"/>
                  <a:pt x="2029195" y="4895501"/>
                  <a:pt x="2027090" y="4895723"/>
                </a:cubicBezTo>
                <a:cubicBezTo>
                  <a:pt x="2025587" y="4882663"/>
                  <a:pt x="2020476" y="4874474"/>
                  <a:pt x="2016869" y="4863185"/>
                </a:cubicBezTo>
                <a:cubicBezTo>
                  <a:pt x="2018072" y="4862300"/>
                  <a:pt x="2019274" y="4861747"/>
                  <a:pt x="2021379" y="4861525"/>
                </a:cubicBezTo>
                <a:close/>
                <a:moveTo>
                  <a:pt x="5591781" y="4857541"/>
                </a:moveTo>
                <a:cubicBezTo>
                  <a:pt x="5592082" y="4857873"/>
                  <a:pt x="5592683" y="4858537"/>
                  <a:pt x="5593584" y="4859090"/>
                </a:cubicBezTo>
                <a:cubicBezTo>
                  <a:pt x="5592082" y="4859533"/>
                  <a:pt x="5593584" y="4859090"/>
                  <a:pt x="5590278" y="4858426"/>
                </a:cubicBezTo>
                <a:cubicBezTo>
                  <a:pt x="5590879" y="4857430"/>
                  <a:pt x="5591180" y="4857320"/>
                  <a:pt x="5591781" y="4857541"/>
                </a:cubicBezTo>
                <a:close/>
                <a:moveTo>
                  <a:pt x="4336113" y="4857541"/>
                </a:moveTo>
                <a:cubicBezTo>
                  <a:pt x="4336714" y="4857873"/>
                  <a:pt x="4337316" y="4858537"/>
                  <a:pt x="4338217" y="4859090"/>
                </a:cubicBezTo>
                <a:cubicBezTo>
                  <a:pt x="4336714" y="4859533"/>
                  <a:pt x="4337917" y="4859090"/>
                  <a:pt x="4334910" y="4858426"/>
                </a:cubicBezTo>
                <a:cubicBezTo>
                  <a:pt x="4335210" y="4857430"/>
                  <a:pt x="4335812" y="4857320"/>
                  <a:pt x="4336113" y="4857541"/>
                </a:cubicBezTo>
                <a:close/>
                <a:moveTo>
                  <a:pt x="2827026" y="4857541"/>
                </a:moveTo>
                <a:cubicBezTo>
                  <a:pt x="2827627" y="4857873"/>
                  <a:pt x="2828229" y="4858537"/>
                  <a:pt x="2829131" y="4859090"/>
                </a:cubicBezTo>
                <a:cubicBezTo>
                  <a:pt x="2827627" y="4859533"/>
                  <a:pt x="2829131" y="4859090"/>
                  <a:pt x="2825824" y="4858426"/>
                </a:cubicBezTo>
                <a:cubicBezTo>
                  <a:pt x="2826425" y="4857430"/>
                  <a:pt x="2826726" y="4857320"/>
                  <a:pt x="2827026" y="4857541"/>
                </a:cubicBezTo>
                <a:close/>
                <a:moveTo>
                  <a:pt x="1798021" y="4857541"/>
                </a:moveTo>
                <a:cubicBezTo>
                  <a:pt x="1798322" y="4857873"/>
                  <a:pt x="1798924" y="4858537"/>
                  <a:pt x="1799825" y="4859090"/>
                </a:cubicBezTo>
                <a:cubicBezTo>
                  <a:pt x="1798622" y="4859533"/>
                  <a:pt x="1800126" y="4859090"/>
                  <a:pt x="1796819" y="4858426"/>
                </a:cubicBezTo>
                <a:cubicBezTo>
                  <a:pt x="1797120" y="4857430"/>
                  <a:pt x="1797420" y="4857320"/>
                  <a:pt x="1798021" y="4857541"/>
                </a:cubicBezTo>
                <a:close/>
                <a:moveTo>
                  <a:pt x="5359105" y="4852339"/>
                </a:moveTo>
                <a:cubicBezTo>
                  <a:pt x="5359706" y="4852118"/>
                  <a:pt x="5360608" y="4852118"/>
                  <a:pt x="5361810" y="4852561"/>
                </a:cubicBezTo>
                <a:cubicBezTo>
                  <a:pt x="5361810" y="4852561"/>
                  <a:pt x="5360908" y="4855992"/>
                  <a:pt x="5360908" y="4855992"/>
                </a:cubicBezTo>
                <a:cubicBezTo>
                  <a:pt x="5358504" y="4859976"/>
                  <a:pt x="5357301" y="4861968"/>
                  <a:pt x="5356700" y="4865399"/>
                </a:cubicBezTo>
                <a:cubicBezTo>
                  <a:pt x="5353093" y="4864956"/>
                  <a:pt x="5352492" y="4863517"/>
                  <a:pt x="5353694" y="4861525"/>
                </a:cubicBezTo>
                <a:cubicBezTo>
                  <a:pt x="5353694" y="4861525"/>
                  <a:pt x="5354896" y="4859533"/>
                  <a:pt x="5356098" y="4857541"/>
                </a:cubicBezTo>
                <a:cubicBezTo>
                  <a:pt x="5357301" y="4855660"/>
                  <a:pt x="5357001" y="4854221"/>
                  <a:pt x="5357001" y="4854221"/>
                </a:cubicBezTo>
                <a:cubicBezTo>
                  <a:pt x="5357602" y="4853225"/>
                  <a:pt x="5358204" y="4852671"/>
                  <a:pt x="5359105" y="4852339"/>
                </a:cubicBezTo>
                <a:close/>
                <a:moveTo>
                  <a:pt x="4103436" y="4852339"/>
                </a:moveTo>
                <a:cubicBezTo>
                  <a:pt x="4104339" y="4852118"/>
                  <a:pt x="4105241" y="4852118"/>
                  <a:pt x="4106142" y="4852561"/>
                </a:cubicBezTo>
                <a:cubicBezTo>
                  <a:pt x="4106142" y="4852561"/>
                  <a:pt x="4105541" y="4855992"/>
                  <a:pt x="4105541" y="4855992"/>
                </a:cubicBezTo>
                <a:cubicBezTo>
                  <a:pt x="4103136" y="4859976"/>
                  <a:pt x="4101632" y="4861968"/>
                  <a:pt x="4101031" y="4865399"/>
                </a:cubicBezTo>
                <a:cubicBezTo>
                  <a:pt x="4097424" y="4864956"/>
                  <a:pt x="4097124" y="4863517"/>
                  <a:pt x="4098025" y="4861525"/>
                </a:cubicBezTo>
                <a:cubicBezTo>
                  <a:pt x="4098025" y="4861525"/>
                  <a:pt x="4099529" y="4859533"/>
                  <a:pt x="4100731" y="4857541"/>
                </a:cubicBezTo>
                <a:cubicBezTo>
                  <a:pt x="4101933" y="4855660"/>
                  <a:pt x="4101332" y="4854221"/>
                  <a:pt x="4101332" y="4854221"/>
                </a:cubicBezTo>
                <a:cubicBezTo>
                  <a:pt x="4101933" y="4853225"/>
                  <a:pt x="4102535" y="4852671"/>
                  <a:pt x="4103436" y="4852339"/>
                </a:cubicBezTo>
                <a:close/>
                <a:moveTo>
                  <a:pt x="1565345" y="4852339"/>
                </a:moveTo>
                <a:cubicBezTo>
                  <a:pt x="1565947" y="4852118"/>
                  <a:pt x="1566849" y="4852118"/>
                  <a:pt x="1568051" y="4852561"/>
                </a:cubicBezTo>
                <a:cubicBezTo>
                  <a:pt x="1568051" y="4852561"/>
                  <a:pt x="1567149" y="4855992"/>
                  <a:pt x="1567149" y="4855992"/>
                </a:cubicBezTo>
                <a:cubicBezTo>
                  <a:pt x="1564744" y="4859976"/>
                  <a:pt x="1563542" y="4861968"/>
                  <a:pt x="1562941" y="4865399"/>
                </a:cubicBezTo>
                <a:cubicBezTo>
                  <a:pt x="1559333" y="4864956"/>
                  <a:pt x="1559033" y="4863517"/>
                  <a:pt x="1560236" y="4861525"/>
                </a:cubicBezTo>
                <a:cubicBezTo>
                  <a:pt x="1560236" y="4861525"/>
                  <a:pt x="1561137" y="4859533"/>
                  <a:pt x="1562339" y="4857541"/>
                </a:cubicBezTo>
                <a:cubicBezTo>
                  <a:pt x="1563542" y="4855660"/>
                  <a:pt x="1563242" y="4854221"/>
                  <a:pt x="1563242" y="4854221"/>
                </a:cubicBezTo>
                <a:cubicBezTo>
                  <a:pt x="1563843" y="4853225"/>
                  <a:pt x="1564444" y="4852671"/>
                  <a:pt x="1565345" y="4852339"/>
                </a:cubicBezTo>
                <a:close/>
                <a:moveTo>
                  <a:pt x="5053981" y="4849462"/>
                </a:moveTo>
                <a:cubicBezTo>
                  <a:pt x="5056385" y="4849130"/>
                  <a:pt x="5059092" y="4849241"/>
                  <a:pt x="5062397" y="4850126"/>
                </a:cubicBezTo>
                <a:cubicBezTo>
                  <a:pt x="5058791" y="4852450"/>
                  <a:pt x="5055484" y="4854110"/>
                  <a:pt x="5052177" y="4855328"/>
                </a:cubicBezTo>
                <a:cubicBezTo>
                  <a:pt x="5042257" y="4858980"/>
                  <a:pt x="5033839" y="4858980"/>
                  <a:pt x="5027527" y="4863407"/>
                </a:cubicBezTo>
                <a:cubicBezTo>
                  <a:pt x="5027527" y="4863407"/>
                  <a:pt x="5027527" y="4863407"/>
                  <a:pt x="5023619" y="4861525"/>
                </a:cubicBezTo>
                <a:cubicBezTo>
                  <a:pt x="5022115" y="4862079"/>
                  <a:pt x="5022115" y="4862079"/>
                  <a:pt x="5022115" y="4862079"/>
                </a:cubicBezTo>
                <a:cubicBezTo>
                  <a:pt x="5020613" y="4862632"/>
                  <a:pt x="5019712" y="4859754"/>
                  <a:pt x="5019712" y="4859754"/>
                </a:cubicBezTo>
                <a:cubicBezTo>
                  <a:pt x="5020613" y="4856324"/>
                  <a:pt x="5025423" y="4856213"/>
                  <a:pt x="5028428" y="4855217"/>
                </a:cubicBezTo>
                <a:cubicBezTo>
                  <a:pt x="5029331" y="4851786"/>
                  <a:pt x="5035343" y="4855992"/>
                  <a:pt x="5036245" y="4852561"/>
                </a:cubicBezTo>
                <a:cubicBezTo>
                  <a:pt x="5041957" y="4855438"/>
                  <a:pt x="5046466" y="4850458"/>
                  <a:pt x="5053981" y="4849462"/>
                </a:cubicBezTo>
                <a:close/>
                <a:moveTo>
                  <a:pt x="3798312" y="4849462"/>
                </a:moveTo>
                <a:cubicBezTo>
                  <a:pt x="3800717" y="4849130"/>
                  <a:pt x="3803423" y="4849241"/>
                  <a:pt x="3806730" y="4850126"/>
                </a:cubicBezTo>
                <a:cubicBezTo>
                  <a:pt x="3803123" y="4852450"/>
                  <a:pt x="3799816" y="4854110"/>
                  <a:pt x="3796509" y="4855328"/>
                </a:cubicBezTo>
                <a:cubicBezTo>
                  <a:pt x="3786889" y="4858980"/>
                  <a:pt x="3778171" y="4858980"/>
                  <a:pt x="3771859" y="4863407"/>
                </a:cubicBezTo>
                <a:cubicBezTo>
                  <a:pt x="3771859" y="4863407"/>
                  <a:pt x="3771859" y="4863407"/>
                  <a:pt x="3767950" y="4861525"/>
                </a:cubicBezTo>
                <a:cubicBezTo>
                  <a:pt x="3766448" y="4862079"/>
                  <a:pt x="3766448" y="4862079"/>
                  <a:pt x="3766448" y="4862079"/>
                </a:cubicBezTo>
                <a:cubicBezTo>
                  <a:pt x="3764944" y="4862632"/>
                  <a:pt x="3764043" y="4859754"/>
                  <a:pt x="3764043" y="4859754"/>
                </a:cubicBezTo>
                <a:cubicBezTo>
                  <a:pt x="3764944" y="4856324"/>
                  <a:pt x="3770055" y="4856213"/>
                  <a:pt x="3773061" y="4855217"/>
                </a:cubicBezTo>
                <a:cubicBezTo>
                  <a:pt x="3773662" y="4851786"/>
                  <a:pt x="3779976" y="4855992"/>
                  <a:pt x="3780577" y="4852561"/>
                </a:cubicBezTo>
                <a:cubicBezTo>
                  <a:pt x="3786589" y="4855438"/>
                  <a:pt x="3791098" y="4850458"/>
                  <a:pt x="3798312" y="4849462"/>
                </a:cubicBezTo>
                <a:close/>
                <a:moveTo>
                  <a:pt x="2289226" y="4849462"/>
                </a:moveTo>
                <a:cubicBezTo>
                  <a:pt x="2291931" y="4849130"/>
                  <a:pt x="2294637" y="4849241"/>
                  <a:pt x="2297643" y="4850126"/>
                </a:cubicBezTo>
                <a:cubicBezTo>
                  <a:pt x="2294336" y="4852450"/>
                  <a:pt x="2290729" y="4854110"/>
                  <a:pt x="2287423" y="4855328"/>
                </a:cubicBezTo>
                <a:cubicBezTo>
                  <a:pt x="2277802" y="4858980"/>
                  <a:pt x="2269385" y="4858980"/>
                  <a:pt x="2263073" y="4863407"/>
                </a:cubicBezTo>
                <a:cubicBezTo>
                  <a:pt x="2263073" y="4863407"/>
                  <a:pt x="2263073" y="4863407"/>
                  <a:pt x="2259164" y="4861525"/>
                </a:cubicBezTo>
                <a:cubicBezTo>
                  <a:pt x="2257662" y="4862079"/>
                  <a:pt x="2257662" y="4862079"/>
                  <a:pt x="2257662" y="4862079"/>
                </a:cubicBezTo>
                <a:cubicBezTo>
                  <a:pt x="2256158" y="4862632"/>
                  <a:pt x="2255256" y="4859754"/>
                  <a:pt x="2255256" y="4859754"/>
                </a:cubicBezTo>
                <a:cubicBezTo>
                  <a:pt x="2255857" y="4856324"/>
                  <a:pt x="2260968" y="4856213"/>
                  <a:pt x="2263974" y="4855217"/>
                </a:cubicBezTo>
                <a:cubicBezTo>
                  <a:pt x="2264575" y="4851786"/>
                  <a:pt x="2270889" y="4855992"/>
                  <a:pt x="2271490" y="4852561"/>
                </a:cubicBezTo>
                <a:cubicBezTo>
                  <a:pt x="2277502" y="4855438"/>
                  <a:pt x="2282012" y="4850458"/>
                  <a:pt x="2289226" y="4849462"/>
                </a:cubicBezTo>
                <a:close/>
                <a:moveTo>
                  <a:pt x="1260221" y="4849462"/>
                </a:moveTo>
                <a:cubicBezTo>
                  <a:pt x="1262626" y="4849130"/>
                  <a:pt x="1265332" y="4849241"/>
                  <a:pt x="1268638" y="4850126"/>
                </a:cubicBezTo>
                <a:cubicBezTo>
                  <a:pt x="1265031" y="4852450"/>
                  <a:pt x="1261725" y="4854110"/>
                  <a:pt x="1258418" y="4855328"/>
                </a:cubicBezTo>
                <a:cubicBezTo>
                  <a:pt x="1248497" y="4858980"/>
                  <a:pt x="1240080" y="4858980"/>
                  <a:pt x="1233767" y="4863407"/>
                </a:cubicBezTo>
                <a:cubicBezTo>
                  <a:pt x="1233767" y="4863407"/>
                  <a:pt x="1233767" y="4863407"/>
                  <a:pt x="1229859" y="4861525"/>
                </a:cubicBezTo>
                <a:cubicBezTo>
                  <a:pt x="1228356" y="4862079"/>
                  <a:pt x="1228356" y="4862079"/>
                  <a:pt x="1228356" y="4862079"/>
                </a:cubicBezTo>
                <a:cubicBezTo>
                  <a:pt x="1226853" y="4862632"/>
                  <a:pt x="1226252" y="4859754"/>
                  <a:pt x="1226252" y="4859754"/>
                </a:cubicBezTo>
                <a:cubicBezTo>
                  <a:pt x="1226853" y="4856324"/>
                  <a:pt x="1231663" y="4856213"/>
                  <a:pt x="1234969" y="4855217"/>
                </a:cubicBezTo>
                <a:cubicBezTo>
                  <a:pt x="1235572" y="4851786"/>
                  <a:pt x="1241884" y="4855992"/>
                  <a:pt x="1242485" y="4852561"/>
                </a:cubicBezTo>
                <a:cubicBezTo>
                  <a:pt x="1248197" y="4855438"/>
                  <a:pt x="1253007" y="4850458"/>
                  <a:pt x="1260221" y="4849462"/>
                </a:cubicBezTo>
                <a:close/>
                <a:moveTo>
                  <a:pt x="5722247" y="4847802"/>
                </a:moveTo>
                <a:cubicBezTo>
                  <a:pt x="5731266" y="4851454"/>
                  <a:pt x="5732168" y="4863517"/>
                  <a:pt x="5727358" y="4869494"/>
                </a:cubicBezTo>
                <a:cubicBezTo>
                  <a:pt x="5725555" y="4871486"/>
                  <a:pt x="5723450" y="4872924"/>
                  <a:pt x="5720444" y="4873035"/>
                </a:cubicBezTo>
                <a:cubicBezTo>
                  <a:pt x="5708420" y="4868165"/>
                  <a:pt x="5713230" y="4850679"/>
                  <a:pt x="5722247" y="4847802"/>
                </a:cubicBezTo>
                <a:close/>
                <a:moveTo>
                  <a:pt x="4466880" y="4847802"/>
                </a:moveTo>
                <a:cubicBezTo>
                  <a:pt x="4475898" y="4851454"/>
                  <a:pt x="4476801" y="4863517"/>
                  <a:pt x="4471690" y="4869494"/>
                </a:cubicBezTo>
                <a:cubicBezTo>
                  <a:pt x="4470187" y="4871486"/>
                  <a:pt x="4467781" y="4872924"/>
                  <a:pt x="4465077" y="4873035"/>
                </a:cubicBezTo>
                <a:cubicBezTo>
                  <a:pt x="4453052" y="4868165"/>
                  <a:pt x="4457561" y="4850679"/>
                  <a:pt x="4466880" y="4847802"/>
                </a:cubicBezTo>
                <a:close/>
                <a:moveTo>
                  <a:pt x="2957793" y="4847802"/>
                </a:moveTo>
                <a:cubicBezTo>
                  <a:pt x="2966812" y="4851454"/>
                  <a:pt x="2967714" y="4863517"/>
                  <a:pt x="2962904" y="4869494"/>
                </a:cubicBezTo>
                <a:cubicBezTo>
                  <a:pt x="2961100" y="4871486"/>
                  <a:pt x="2958696" y="4872924"/>
                  <a:pt x="2955990" y="4873035"/>
                </a:cubicBezTo>
                <a:cubicBezTo>
                  <a:pt x="2943965" y="4868165"/>
                  <a:pt x="2948475" y="4850679"/>
                  <a:pt x="2957793" y="4847802"/>
                </a:cubicBezTo>
                <a:close/>
                <a:moveTo>
                  <a:pt x="1928789" y="4847802"/>
                </a:moveTo>
                <a:cubicBezTo>
                  <a:pt x="1937808" y="4851454"/>
                  <a:pt x="1938709" y="4863517"/>
                  <a:pt x="1933599" y="4869494"/>
                </a:cubicBezTo>
                <a:cubicBezTo>
                  <a:pt x="1932096" y="4871486"/>
                  <a:pt x="1929691" y="4872924"/>
                  <a:pt x="1926985" y="4873035"/>
                </a:cubicBezTo>
                <a:cubicBezTo>
                  <a:pt x="1914960" y="4868165"/>
                  <a:pt x="1919470" y="4850679"/>
                  <a:pt x="1928789" y="4847802"/>
                </a:cubicBezTo>
                <a:close/>
                <a:moveTo>
                  <a:pt x="2582025" y="4842490"/>
                </a:moveTo>
                <a:cubicBezTo>
                  <a:pt x="2584430" y="4847470"/>
                  <a:pt x="2586835" y="4851897"/>
                  <a:pt x="2589841" y="4855992"/>
                </a:cubicBezTo>
                <a:lnTo>
                  <a:pt x="2591344" y="4858094"/>
                </a:lnTo>
                <a:lnTo>
                  <a:pt x="2591644" y="4857541"/>
                </a:lnTo>
                <a:cubicBezTo>
                  <a:pt x="2592847" y="4855660"/>
                  <a:pt x="2592245" y="4854221"/>
                  <a:pt x="2592245" y="4854221"/>
                </a:cubicBezTo>
                <a:cubicBezTo>
                  <a:pt x="2593448" y="4852229"/>
                  <a:pt x="2594951" y="4851675"/>
                  <a:pt x="2597055" y="4852561"/>
                </a:cubicBezTo>
                <a:cubicBezTo>
                  <a:pt x="2597055" y="4852561"/>
                  <a:pt x="2596454" y="4855992"/>
                  <a:pt x="2596454" y="4855992"/>
                </a:cubicBezTo>
                <a:cubicBezTo>
                  <a:pt x="2595252" y="4857984"/>
                  <a:pt x="2594350" y="4859422"/>
                  <a:pt x="2593448" y="4860861"/>
                </a:cubicBezTo>
                <a:lnTo>
                  <a:pt x="2593448" y="4861193"/>
                </a:lnTo>
                <a:lnTo>
                  <a:pt x="2597958" y="4867501"/>
                </a:lnTo>
                <a:cubicBezTo>
                  <a:pt x="2599460" y="4869604"/>
                  <a:pt x="2600362" y="4871375"/>
                  <a:pt x="2601565" y="4873367"/>
                </a:cubicBezTo>
                <a:cubicBezTo>
                  <a:pt x="2602166" y="4871154"/>
                  <a:pt x="2601565" y="4867723"/>
                  <a:pt x="2601866" y="4864624"/>
                </a:cubicBezTo>
                <a:cubicBezTo>
                  <a:pt x="2603368" y="4864181"/>
                  <a:pt x="2604571" y="4862300"/>
                  <a:pt x="2606074" y="4861747"/>
                </a:cubicBezTo>
                <a:cubicBezTo>
                  <a:pt x="2606375" y="4862521"/>
                  <a:pt x="2606976" y="4863517"/>
                  <a:pt x="2607277" y="4864292"/>
                </a:cubicBezTo>
                <a:cubicBezTo>
                  <a:pt x="2607878" y="4865177"/>
                  <a:pt x="2607878" y="4865841"/>
                  <a:pt x="2607277" y="4866173"/>
                </a:cubicBezTo>
                <a:cubicBezTo>
                  <a:pt x="2607577" y="4867612"/>
                  <a:pt x="2604571" y="4868608"/>
                  <a:pt x="2604571" y="4868608"/>
                </a:cubicBezTo>
                <a:cubicBezTo>
                  <a:pt x="2605172" y="4870158"/>
                  <a:pt x="2605473" y="4871596"/>
                  <a:pt x="2604571" y="4873588"/>
                </a:cubicBezTo>
                <a:cubicBezTo>
                  <a:pt x="2603067" y="4872814"/>
                  <a:pt x="2602767" y="4873588"/>
                  <a:pt x="2602166" y="4874142"/>
                </a:cubicBezTo>
                <a:cubicBezTo>
                  <a:pt x="2604571" y="4878569"/>
                  <a:pt x="2606375" y="4882885"/>
                  <a:pt x="2606074" y="4887090"/>
                </a:cubicBezTo>
                <a:cubicBezTo>
                  <a:pt x="2605473" y="4891406"/>
                  <a:pt x="2602767" y="4895723"/>
                  <a:pt x="2597356" y="4900371"/>
                </a:cubicBezTo>
                <a:cubicBezTo>
                  <a:pt x="2594350" y="4898600"/>
                  <a:pt x="2590142" y="4894505"/>
                  <a:pt x="2585933" y="4889525"/>
                </a:cubicBezTo>
                <a:lnTo>
                  <a:pt x="2585031" y="4887754"/>
                </a:lnTo>
                <a:lnTo>
                  <a:pt x="2582626" y="4889746"/>
                </a:lnTo>
                <a:cubicBezTo>
                  <a:pt x="2581424" y="4890189"/>
                  <a:pt x="2579921" y="4890300"/>
                  <a:pt x="2578719" y="4889968"/>
                </a:cubicBezTo>
                <a:cubicBezTo>
                  <a:pt x="2575110" y="4889525"/>
                  <a:pt x="2576013" y="4886205"/>
                  <a:pt x="2578116" y="4882221"/>
                </a:cubicBezTo>
                <a:lnTo>
                  <a:pt x="2579620" y="4879675"/>
                </a:lnTo>
                <a:lnTo>
                  <a:pt x="2574509" y="4872039"/>
                </a:lnTo>
                <a:cubicBezTo>
                  <a:pt x="2568498" y="4859533"/>
                  <a:pt x="2567294" y="4847027"/>
                  <a:pt x="2582025" y="4842490"/>
                </a:cubicBezTo>
                <a:close/>
                <a:moveTo>
                  <a:pt x="5657917" y="4839612"/>
                </a:moveTo>
                <a:cubicBezTo>
                  <a:pt x="5660020" y="4839723"/>
                  <a:pt x="5662125" y="4840276"/>
                  <a:pt x="5664830" y="4841272"/>
                </a:cubicBezTo>
                <a:cubicBezTo>
                  <a:pt x="5672345" y="4843375"/>
                  <a:pt x="5675953" y="4847249"/>
                  <a:pt x="5677456" y="4851454"/>
                </a:cubicBezTo>
                <a:cubicBezTo>
                  <a:pt x="5678959" y="4855660"/>
                  <a:pt x="5678057" y="4860308"/>
                  <a:pt x="5676554" y="4863849"/>
                </a:cubicBezTo>
                <a:cubicBezTo>
                  <a:pt x="5675052" y="4863185"/>
                  <a:pt x="5670843" y="4873035"/>
                  <a:pt x="5661824" y="4875802"/>
                </a:cubicBezTo>
                <a:cubicBezTo>
                  <a:pt x="5658818" y="4876798"/>
                  <a:pt x="5655210" y="4876908"/>
                  <a:pt x="5651002" y="4875580"/>
                </a:cubicBezTo>
                <a:cubicBezTo>
                  <a:pt x="5641683" y="4872482"/>
                  <a:pt x="5632965" y="4865952"/>
                  <a:pt x="5640480" y="4850901"/>
                </a:cubicBezTo>
                <a:cubicBezTo>
                  <a:pt x="5641383" y="4847581"/>
                  <a:pt x="5641683" y="4849019"/>
                  <a:pt x="5642885" y="4847138"/>
                </a:cubicBezTo>
                <a:cubicBezTo>
                  <a:pt x="5644087" y="4845146"/>
                  <a:pt x="5644688" y="4841715"/>
                  <a:pt x="5644388" y="4840276"/>
                </a:cubicBezTo>
                <a:cubicBezTo>
                  <a:pt x="5649799" y="4841936"/>
                  <a:pt x="5652506" y="4839391"/>
                  <a:pt x="5657917" y="4839612"/>
                </a:cubicBezTo>
                <a:close/>
                <a:moveTo>
                  <a:pt x="4402549" y="4839612"/>
                </a:moveTo>
                <a:cubicBezTo>
                  <a:pt x="4404353" y="4839723"/>
                  <a:pt x="4406757" y="4840276"/>
                  <a:pt x="4409463" y="4841272"/>
                </a:cubicBezTo>
                <a:cubicBezTo>
                  <a:pt x="4416978" y="4843375"/>
                  <a:pt x="4420586" y="4847249"/>
                  <a:pt x="4421788" y="4851454"/>
                </a:cubicBezTo>
                <a:cubicBezTo>
                  <a:pt x="4423291" y="4855660"/>
                  <a:pt x="4422389" y="4860308"/>
                  <a:pt x="4420887" y="4863849"/>
                </a:cubicBezTo>
                <a:cubicBezTo>
                  <a:pt x="4419383" y="4863185"/>
                  <a:pt x="4415175" y="4873035"/>
                  <a:pt x="4406156" y="4875802"/>
                </a:cubicBezTo>
                <a:cubicBezTo>
                  <a:pt x="4403150" y="4876798"/>
                  <a:pt x="4399543" y="4876908"/>
                  <a:pt x="4395333" y="4875580"/>
                </a:cubicBezTo>
                <a:cubicBezTo>
                  <a:pt x="4386015" y="4872482"/>
                  <a:pt x="4377297" y="4865952"/>
                  <a:pt x="4385112" y="4850901"/>
                </a:cubicBezTo>
                <a:cubicBezTo>
                  <a:pt x="4385714" y="4847581"/>
                  <a:pt x="4386315" y="4849019"/>
                  <a:pt x="4387217" y="4847138"/>
                </a:cubicBezTo>
                <a:cubicBezTo>
                  <a:pt x="4388420" y="4845146"/>
                  <a:pt x="4389321" y="4841715"/>
                  <a:pt x="4388720" y="4840276"/>
                </a:cubicBezTo>
                <a:cubicBezTo>
                  <a:pt x="4394432" y="4841936"/>
                  <a:pt x="4396837" y="4839391"/>
                  <a:pt x="4402549" y="4839612"/>
                </a:cubicBezTo>
                <a:close/>
                <a:moveTo>
                  <a:pt x="2893462" y="4839612"/>
                </a:moveTo>
                <a:cubicBezTo>
                  <a:pt x="2895266" y="4839723"/>
                  <a:pt x="2897671" y="4840276"/>
                  <a:pt x="2900377" y="4841272"/>
                </a:cubicBezTo>
                <a:cubicBezTo>
                  <a:pt x="2907891" y="4843375"/>
                  <a:pt x="2911499" y="4847249"/>
                  <a:pt x="2913002" y="4851454"/>
                </a:cubicBezTo>
                <a:cubicBezTo>
                  <a:pt x="2914205" y="4855660"/>
                  <a:pt x="2913603" y="4860308"/>
                  <a:pt x="2911800" y="4863849"/>
                </a:cubicBezTo>
                <a:cubicBezTo>
                  <a:pt x="2910597" y="4863185"/>
                  <a:pt x="2906389" y="4873035"/>
                  <a:pt x="2897069" y="4875802"/>
                </a:cubicBezTo>
                <a:cubicBezTo>
                  <a:pt x="2894063" y="4876798"/>
                  <a:pt x="2890456" y="4876908"/>
                  <a:pt x="2886548" y="4875580"/>
                </a:cubicBezTo>
                <a:lnTo>
                  <a:pt x="2875726" y="4868276"/>
                </a:lnTo>
                <a:lnTo>
                  <a:pt x="2857689" y="4877683"/>
                </a:lnTo>
                <a:cubicBezTo>
                  <a:pt x="2844461" y="4881557"/>
                  <a:pt x="2831235" y="4879011"/>
                  <a:pt x="2824321" y="4863628"/>
                </a:cubicBezTo>
                <a:cubicBezTo>
                  <a:pt x="2840253" y="4860640"/>
                  <a:pt x="2857388" y="4853778"/>
                  <a:pt x="2874222" y="4852007"/>
                </a:cubicBezTo>
                <a:lnTo>
                  <a:pt x="2875726" y="4852007"/>
                </a:lnTo>
                <a:lnTo>
                  <a:pt x="2876026" y="4850901"/>
                </a:lnTo>
                <a:cubicBezTo>
                  <a:pt x="2876627" y="4847581"/>
                  <a:pt x="2877228" y="4849019"/>
                  <a:pt x="2878432" y="4847138"/>
                </a:cubicBezTo>
                <a:cubicBezTo>
                  <a:pt x="2879333" y="4845146"/>
                  <a:pt x="2880234" y="4841715"/>
                  <a:pt x="2879634" y="4840276"/>
                </a:cubicBezTo>
                <a:cubicBezTo>
                  <a:pt x="2885345" y="4841936"/>
                  <a:pt x="2887750" y="4839391"/>
                  <a:pt x="2893462" y="4839612"/>
                </a:cubicBezTo>
                <a:close/>
                <a:moveTo>
                  <a:pt x="1864157" y="4839612"/>
                </a:moveTo>
                <a:cubicBezTo>
                  <a:pt x="1866261" y="4839723"/>
                  <a:pt x="1868366" y="4840276"/>
                  <a:pt x="1871372" y="4841272"/>
                </a:cubicBezTo>
                <a:cubicBezTo>
                  <a:pt x="1878586" y="4843375"/>
                  <a:pt x="1882495" y="4847249"/>
                  <a:pt x="1883697" y="4851454"/>
                </a:cubicBezTo>
                <a:cubicBezTo>
                  <a:pt x="1885200" y="4855660"/>
                  <a:pt x="1884298" y="4860308"/>
                  <a:pt x="1882795" y="4863849"/>
                </a:cubicBezTo>
                <a:cubicBezTo>
                  <a:pt x="1881292" y="4863185"/>
                  <a:pt x="1877083" y="4873035"/>
                  <a:pt x="1868065" y="4875802"/>
                </a:cubicBezTo>
                <a:cubicBezTo>
                  <a:pt x="1865058" y="4876798"/>
                  <a:pt x="1861451" y="4876908"/>
                  <a:pt x="1857243" y="4875580"/>
                </a:cubicBezTo>
                <a:cubicBezTo>
                  <a:pt x="1847923" y="4872482"/>
                  <a:pt x="1839206" y="4865952"/>
                  <a:pt x="1846721" y="4850901"/>
                </a:cubicBezTo>
                <a:cubicBezTo>
                  <a:pt x="1847623" y="4847581"/>
                  <a:pt x="1847923" y="4849019"/>
                  <a:pt x="1849126" y="4847138"/>
                </a:cubicBezTo>
                <a:cubicBezTo>
                  <a:pt x="1850328" y="4845146"/>
                  <a:pt x="1850929" y="4841715"/>
                  <a:pt x="1850629" y="4840276"/>
                </a:cubicBezTo>
                <a:cubicBezTo>
                  <a:pt x="1856341" y="4841936"/>
                  <a:pt x="1858746" y="4839391"/>
                  <a:pt x="1864157" y="4839612"/>
                </a:cubicBezTo>
                <a:close/>
                <a:moveTo>
                  <a:pt x="3708128" y="4834300"/>
                </a:moveTo>
                <a:cubicBezTo>
                  <a:pt x="3720754" y="4852561"/>
                  <a:pt x="3719251" y="4871707"/>
                  <a:pt x="3717748" y="4890964"/>
                </a:cubicBezTo>
                <a:cubicBezTo>
                  <a:pt x="3683478" y="4922173"/>
                  <a:pt x="3685281" y="4871154"/>
                  <a:pt x="3678367" y="4847802"/>
                </a:cubicBezTo>
                <a:cubicBezTo>
                  <a:pt x="3689791" y="4837399"/>
                  <a:pt x="3694000" y="4835407"/>
                  <a:pt x="3708128" y="4834300"/>
                </a:cubicBezTo>
                <a:close/>
                <a:moveTo>
                  <a:pt x="5336259" y="4829873"/>
                </a:moveTo>
                <a:cubicBezTo>
                  <a:pt x="5334755" y="4833747"/>
                  <a:pt x="5332350" y="4840608"/>
                  <a:pt x="5329044" y="4843264"/>
                </a:cubicBezTo>
                <a:cubicBezTo>
                  <a:pt x="5327841" y="4844150"/>
                  <a:pt x="5326939" y="4844482"/>
                  <a:pt x="5325437" y="4844150"/>
                </a:cubicBezTo>
                <a:cubicBezTo>
                  <a:pt x="5323633" y="4843264"/>
                  <a:pt x="5324836" y="4841383"/>
                  <a:pt x="5324234" y="4839944"/>
                </a:cubicBezTo>
                <a:cubicBezTo>
                  <a:pt x="5325136" y="4836624"/>
                  <a:pt x="5334153" y="4828988"/>
                  <a:pt x="5336259" y="4829873"/>
                </a:cubicBezTo>
                <a:close/>
                <a:moveTo>
                  <a:pt x="4080590" y="4829873"/>
                </a:moveTo>
                <a:cubicBezTo>
                  <a:pt x="4079387" y="4833747"/>
                  <a:pt x="4076983" y="4840608"/>
                  <a:pt x="4073675" y="4843264"/>
                </a:cubicBezTo>
                <a:cubicBezTo>
                  <a:pt x="4072473" y="4844150"/>
                  <a:pt x="4071271" y="4844482"/>
                  <a:pt x="4070068" y="4844150"/>
                </a:cubicBezTo>
                <a:cubicBezTo>
                  <a:pt x="4067964" y="4843264"/>
                  <a:pt x="4069167" y="4841383"/>
                  <a:pt x="4068566" y="4839944"/>
                </a:cubicBezTo>
                <a:cubicBezTo>
                  <a:pt x="4069467" y="4836624"/>
                  <a:pt x="4078786" y="4828988"/>
                  <a:pt x="4080590" y="4829873"/>
                </a:cubicBezTo>
                <a:close/>
                <a:moveTo>
                  <a:pt x="2571804" y="4829873"/>
                </a:moveTo>
                <a:cubicBezTo>
                  <a:pt x="2570301" y="4833747"/>
                  <a:pt x="2567896" y="4840608"/>
                  <a:pt x="2564590" y="4843264"/>
                </a:cubicBezTo>
                <a:cubicBezTo>
                  <a:pt x="2563387" y="4844150"/>
                  <a:pt x="2562185" y="4844482"/>
                  <a:pt x="2560982" y="4844150"/>
                </a:cubicBezTo>
                <a:cubicBezTo>
                  <a:pt x="2558877" y="4843264"/>
                  <a:pt x="2560080" y="4841383"/>
                  <a:pt x="2559780" y="4839944"/>
                </a:cubicBezTo>
                <a:cubicBezTo>
                  <a:pt x="2560381" y="4836624"/>
                  <a:pt x="2569700" y="4828988"/>
                  <a:pt x="2571804" y="4829873"/>
                </a:cubicBezTo>
                <a:close/>
                <a:moveTo>
                  <a:pt x="1542499" y="4829873"/>
                </a:moveTo>
                <a:cubicBezTo>
                  <a:pt x="1541297" y="4833747"/>
                  <a:pt x="1538892" y="4840608"/>
                  <a:pt x="1535585" y="4843264"/>
                </a:cubicBezTo>
                <a:cubicBezTo>
                  <a:pt x="1534382" y="4844150"/>
                  <a:pt x="1533180" y="4844482"/>
                  <a:pt x="1531677" y="4844150"/>
                </a:cubicBezTo>
                <a:cubicBezTo>
                  <a:pt x="1529873" y="4843264"/>
                  <a:pt x="1531075" y="4841383"/>
                  <a:pt x="1530775" y="4839944"/>
                </a:cubicBezTo>
                <a:cubicBezTo>
                  <a:pt x="1531376" y="4836624"/>
                  <a:pt x="1540696" y="4828988"/>
                  <a:pt x="1542499" y="4829873"/>
                </a:cubicBezTo>
                <a:close/>
                <a:moveTo>
                  <a:pt x="5252688" y="4820245"/>
                </a:moveTo>
                <a:cubicBezTo>
                  <a:pt x="5253289" y="4820134"/>
                  <a:pt x="5254491" y="4820245"/>
                  <a:pt x="5256896" y="4820466"/>
                </a:cubicBezTo>
                <a:cubicBezTo>
                  <a:pt x="5255393" y="4821683"/>
                  <a:pt x="5255393" y="4821794"/>
                  <a:pt x="5256896" y="4823454"/>
                </a:cubicBezTo>
                <a:cubicBezTo>
                  <a:pt x="5256896" y="4823454"/>
                  <a:pt x="5256896" y="4823344"/>
                  <a:pt x="5258400" y="4823565"/>
                </a:cubicBezTo>
                <a:cubicBezTo>
                  <a:pt x="5258400" y="4825004"/>
                  <a:pt x="5256595" y="4824782"/>
                  <a:pt x="5256595" y="4826221"/>
                </a:cubicBezTo>
                <a:cubicBezTo>
                  <a:pt x="5256595" y="4826221"/>
                  <a:pt x="5255092" y="4826000"/>
                  <a:pt x="5255092" y="4826000"/>
                </a:cubicBezTo>
                <a:cubicBezTo>
                  <a:pt x="5255092" y="4826664"/>
                  <a:pt x="5255092" y="4826774"/>
                  <a:pt x="5254792" y="4826332"/>
                </a:cubicBezTo>
                <a:cubicBezTo>
                  <a:pt x="5254491" y="4825889"/>
                  <a:pt x="5253590" y="4825225"/>
                  <a:pt x="5252086" y="4824340"/>
                </a:cubicBezTo>
                <a:cubicBezTo>
                  <a:pt x="5250582" y="4822680"/>
                  <a:pt x="5249080" y="4822569"/>
                  <a:pt x="5250582" y="4821241"/>
                </a:cubicBezTo>
                <a:cubicBezTo>
                  <a:pt x="5251485" y="4820687"/>
                  <a:pt x="5251785" y="4820355"/>
                  <a:pt x="5252688" y="4820245"/>
                </a:cubicBezTo>
                <a:close/>
                <a:moveTo>
                  <a:pt x="3997019" y="4820245"/>
                </a:moveTo>
                <a:cubicBezTo>
                  <a:pt x="3997921" y="4820134"/>
                  <a:pt x="3999124" y="4820245"/>
                  <a:pt x="4001227" y="4820466"/>
                </a:cubicBezTo>
                <a:cubicBezTo>
                  <a:pt x="3999725" y="4821683"/>
                  <a:pt x="3999725" y="4821794"/>
                  <a:pt x="4001227" y="4823454"/>
                </a:cubicBezTo>
                <a:cubicBezTo>
                  <a:pt x="4001227" y="4823454"/>
                  <a:pt x="4001227" y="4823344"/>
                  <a:pt x="4002731" y="4823565"/>
                </a:cubicBezTo>
                <a:cubicBezTo>
                  <a:pt x="4002731" y="4825004"/>
                  <a:pt x="4001227" y="4824782"/>
                  <a:pt x="4001227" y="4826221"/>
                </a:cubicBezTo>
                <a:cubicBezTo>
                  <a:pt x="4001227" y="4826221"/>
                  <a:pt x="3999725" y="4826000"/>
                  <a:pt x="3999725" y="4826000"/>
                </a:cubicBezTo>
                <a:cubicBezTo>
                  <a:pt x="3999725" y="4826664"/>
                  <a:pt x="3999725" y="4826774"/>
                  <a:pt x="3999124" y="4826332"/>
                </a:cubicBezTo>
                <a:cubicBezTo>
                  <a:pt x="3998822" y="4825889"/>
                  <a:pt x="3997921" y="4825225"/>
                  <a:pt x="3996418" y="4824340"/>
                </a:cubicBezTo>
                <a:cubicBezTo>
                  <a:pt x="3994915" y="4822680"/>
                  <a:pt x="3993713" y="4822569"/>
                  <a:pt x="3995215" y="4821241"/>
                </a:cubicBezTo>
                <a:cubicBezTo>
                  <a:pt x="3996118" y="4820687"/>
                  <a:pt x="3996418" y="4820355"/>
                  <a:pt x="3997019" y="4820245"/>
                </a:cubicBezTo>
                <a:close/>
                <a:moveTo>
                  <a:pt x="2488233" y="4820245"/>
                </a:moveTo>
                <a:cubicBezTo>
                  <a:pt x="2488834" y="4820134"/>
                  <a:pt x="2490037" y="4820245"/>
                  <a:pt x="2492141" y="4820466"/>
                </a:cubicBezTo>
                <a:cubicBezTo>
                  <a:pt x="2490638" y="4821683"/>
                  <a:pt x="2490638" y="4821794"/>
                  <a:pt x="2492141" y="4823454"/>
                </a:cubicBezTo>
                <a:cubicBezTo>
                  <a:pt x="2492141" y="4823454"/>
                  <a:pt x="2492141" y="4823344"/>
                  <a:pt x="2493644" y="4823565"/>
                </a:cubicBezTo>
                <a:cubicBezTo>
                  <a:pt x="2493644" y="4825004"/>
                  <a:pt x="2492141" y="4824782"/>
                  <a:pt x="2492141" y="4826221"/>
                </a:cubicBezTo>
                <a:cubicBezTo>
                  <a:pt x="2492141" y="4826221"/>
                  <a:pt x="2490638" y="4826000"/>
                  <a:pt x="2490638" y="4826000"/>
                </a:cubicBezTo>
                <a:cubicBezTo>
                  <a:pt x="2490638" y="4826664"/>
                  <a:pt x="2490638" y="4826774"/>
                  <a:pt x="2490037" y="4826332"/>
                </a:cubicBezTo>
                <a:cubicBezTo>
                  <a:pt x="2489737" y="4825889"/>
                  <a:pt x="2489135" y="4825225"/>
                  <a:pt x="2487632" y="4824340"/>
                </a:cubicBezTo>
                <a:cubicBezTo>
                  <a:pt x="2486128" y="4822680"/>
                  <a:pt x="2484626" y="4822569"/>
                  <a:pt x="2486128" y="4821241"/>
                </a:cubicBezTo>
                <a:cubicBezTo>
                  <a:pt x="2487031" y="4820687"/>
                  <a:pt x="2487332" y="4820355"/>
                  <a:pt x="2488233" y="4820245"/>
                </a:cubicBezTo>
                <a:close/>
                <a:moveTo>
                  <a:pt x="1458928" y="4820245"/>
                </a:moveTo>
                <a:cubicBezTo>
                  <a:pt x="1459829" y="4820134"/>
                  <a:pt x="1460732" y="4820245"/>
                  <a:pt x="1463137" y="4820466"/>
                </a:cubicBezTo>
                <a:cubicBezTo>
                  <a:pt x="1461633" y="4821683"/>
                  <a:pt x="1461633" y="4821794"/>
                  <a:pt x="1463137" y="4823454"/>
                </a:cubicBezTo>
                <a:cubicBezTo>
                  <a:pt x="1463137" y="4823454"/>
                  <a:pt x="1463137" y="4823344"/>
                  <a:pt x="1464639" y="4823565"/>
                </a:cubicBezTo>
                <a:cubicBezTo>
                  <a:pt x="1464639" y="4825004"/>
                  <a:pt x="1463137" y="4824782"/>
                  <a:pt x="1463137" y="4826221"/>
                </a:cubicBezTo>
                <a:cubicBezTo>
                  <a:pt x="1463137" y="4826221"/>
                  <a:pt x="1461633" y="4826000"/>
                  <a:pt x="1461633" y="4826000"/>
                </a:cubicBezTo>
                <a:cubicBezTo>
                  <a:pt x="1461633" y="4826664"/>
                  <a:pt x="1461333" y="4826774"/>
                  <a:pt x="1461032" y="4826332"/>
                </a:cubicBezTo>
                <a:cubicBezTo>
                  <a:pt x="1460732" y="4825889"/>
                  <a:pt x="1460130" y="4825225"/>
                  <a:pt x="1458627" y="4824340"/>
                </a:cubicBezTo>
                <a:cubicBezTo>
                  <a:pt x="1457124" y="4822680"/>
                  <a:pt x="1455321" y="4822569"/>
                  <a:pt x="1457124" y="4821241"/>
                </a:cubicBezTo>
                <a:cubicBezTo>
                  <a:pt x="1457726" y="4820687"/>
                  <a:pt x="1458327" y="4820355"/>
                  <a:pt x="1458928" y="4820245"/>
                </a:cubicBezTo>
                <a:close/>
                <a:moveTo>
                  <a:pt x="6009034" y="4815043"/>
                </a:moveTo>
                <a:cubicBezTo>
                  <a:pt x="6012040" y="4815707"/>
                  <a:pt x="6015647" y="4819027"/>
                  <a:pt x="6018955" y="4827217"/>
                </a:cubicBezTo>
                <a:cubicBezTo>
                  <a:pt x="6010537" y="4834521"/>
                  <a:pt x="6005126" y="4835739"/>
                  <a:pt x="6002421" y="4834079"/>
                </a:cubicBezTo>
                <a:cubicBezTo>
                  <a:pt x="5997010" y="4830980"/>
                  <a:pt x="6000015" y="4817699"/>
                  <a:pt x="6006028" y="4815265"/>
                </a:cubicBezTo>
                <a:cubicBezTo>
                  <a:pt x="6006930" y="4814933"/>
                  <a:pt x="6007832" y="4814822"/>
                  <a:pt x="6009034" y="4815043"/>
                </a:cubicBezTo>
                <a:close/>
                <a:moveTo>
                  <a:pt x="3244580" y="4815043"/>
                </a:moveTo>
                <a:cubicBezTo>
                  <a:pt x="3247587" y="4815707"/>
                  <a:pt x="3251194" y="4819027"/>
                  <a:pt x="3254500" y="4827217"/>
                </a:cubicBezTo>
                <a:cubicBezTo>
                  <a:pt x="3246083" y="4834521"/>
                  <a:pt x="3240672" y="4835739"/>
                  <a:pt x="3237666" y="4834079"/>
                </a:cubicBezTo>
                <a:cubicBezTo>
                  <a:pt x="3232255" y="4830980"/>
                  <a:pt x="3235561" y="4817699"/>
                  <a:pt x="3241574" y="4815265"/>
                </a:cubicBezTo>
                <a:cubicBezTo>
                  <a:pt x="3242476" y="4814933"/>
                  <a:pt x="3243377" y="4814822"/>
                  <a:pt x="3244580" y="4815043"/>
                </a:cubicBezTo>
                <a:close/>
                <a:moveTo>
                  <a:pt x="2215275" y="4815043"/>
                </a:moveTo>
                <a:cubicBezTo>
                  <a:pt x="2218582" y="4815707"/>
                  <a:pt x="2221888" y="4819027"/>
                  <a:pt x="2225495" y="4827217"/>
                </a:cubicBezTo>
                <a:cubicBezTo>
                  <a:pt x="2216778" y="4834521"/>
                  <a:pt x="2211367" y="4835739"/>
                  <a:pt x="2208661" y="4834079"/>
                </a:cubicBezTo>
                <a:cubicBezTo>
                  <a:pt x="2203250" y="4830980"/>
                  <a:pt x="2206256" y="4817699"/>
                  <a:pt x="2212269" y="4815265"/>
                </a:cubicBezTo>
                <a:cubicBezTo>
                  <a:pt x="2213171" y="4814933"/>
                  <a:pt x="2214373" y="4814822"/>
                  <a:pt x="2215275" y="4815043"/>
                </a:cubicBezTo>
                <a:close/>
                <a:moveTo>
                  <a:pt x="3520244" y="4808514"/>
                </a:moveTo>
                <a:cubicBezTo>
                  <a:pt x="3521446" y="4809178"/>
                  <a:pt x="3522649" y="4810063"/>
                  <a:pt x="3523851" y="4811723"/>
                </a:cubicBezTo>
                <a:cubicBezTo>
                  <a:pt x="3524754" y="4813272"/>
                  <a:pt x="3525655" y="4815486"/>
                  <a:pt x="3526556" y="4818474"/>
                </a:cubicBezTo>
                <a:cubicBezTo>
                  <a:pt x="3510925" y="4821573"/>
                  <a:pt x="3522649" y="4834079"/>
                  <a:pt x="3510625" y="4837177"/>
                </a:cubicBezTo>
                <a:cubicBezTo>
                  <a:pt x="3505815" y="4836292"/>
                  <a:pt x="3500103" y="4836956"/>
                  <a:pt x="3495894" y="4834189"/>
                </a:cubicBezTo>
                <a:cubicBezTo>
                  <a:pt x="3494391" y="4833304"/>
                  <a:pt x="3493188" y="4832087"/>
                  <a:pt x="3491986" y="4830316"/>
                </a:cubicBezTo>
                <a:cubicBezTo>
                  <a:pt x="3504311" y="4823897"/>
                  <a:pt x="3510625" y="4816261"/>
                  <a:pt x="3520244" y="4808514"/>
                </a:cubicBezTo>
                <a:close/>
                <a:moveTo>
                  <a:pt x="2011157" y="4808514"/>
                </a:moveTo>
                <a:cubicBezTo>
                  <a:pt x="2012360" y="4809178"/>
                  <a:pt x="2013562" y="4810063"/>
                  <a:pt x="2014764" y="4811723"/>
                </a:cubicBezTo>
                <a:cubicBezTo>
                  <a:pt x="2015667" y="4813272"/>
                  <a:pt x="2016568" y="4815486"/>
                  <a:pt x="2017470" y="4818474"/>
                </a:cubicBezTo>
                <a:cubicBezTo>
                  <a:pt x="2001839" y="4821573"/>
                  <a:pt x="2013562" y="4834079"/>
                  <a:pt x="2001538" y="4837177"/>
                </a:cubicBezTo>
                <a:cubicBezTo>
                  <a:pt x="1996728" y="4836292"/>
                  <a:pt x="1991317" y="4836956"/>
                  <a:pt x="1986807" y="4834189"/>
                </a:cubicBezTo>
                <a:cubicBezTo>
                  <a:pt x="1985305" y="4833304"/>
                  <a:pt x="1984102" y="4832087"/>
                  <a:pt x="1982900" y="4830316"/>
                </a:cubicBezTo>
                <a:cubicBezTo>
                  <a:pt x="1995224" y="4823897"/>
                  <a:pt x="2001538" y="4816261"/>
                  <a:pt x="2011157" y="4808514"/>
                </a:cubicBezTo>
                <a:close/>
                <a:moveTo>
                  <a:pt x="981852" y="4808514"/>
                </a:moveTo>
                <a:cubicBezTo>
                  <a:pt x="983356" y="4809178"/>
                  <a:pt x="984558" y="4810063"/>
                  <a:pt x="985459" y="4811723"/>
                </a:cubicBezTo>
                <a:cubicBezTo>
                  <a:pt x="986662" y="4813272"/>
                  <a:pt x="987564" y="4815486"/>
                  <a:pt x="988465" y="4818474"/>
                </a:cubicBezTo>
                <a:cubicBezTo>
                  <a:pt x="972533" y="4821573"/>
                  <a:pt x="984558" y="4834079"/>
                  <a:pt x="972533" y="4837177"/>
                </a:cubicBezTo>
                <a:cubicBezTo>
                  <a:pt x="967723" y="4836292"/>
                  <a:pt x="962312" y="4836956"/>
                  <a:pt x="957802" y="4834189"/>
                </a:cubicBezTo>
                <a:cubicBezTo>
                  <a:pt x="956300" y="4833304"/>
                  <a:pt x="955097" y="4832087"/>
                  <a:pt x="953895" y="4830316"/>
                </a:cubicBezTo>
                <a:cubicBezTo>
                  <a:pt x="966220" y="4823897"/>
                  <a:pt x="972233" y="4816261"/>
                  <a:pt x="981852" y="4808514"/>
                </a:cubicBezTo>
                <a:close/>
                <a:moveTo>
                  <a:pt x="6220667" y="4807850"/>
                </a:moveTo>
                <a:cubicBezTo>
                  <a:pt x="6222771" y="4808403"/>
                  <a:pt x="6224275" y="4810063"/>
                  <a:pt x="6226078" y="4811723"/>
                </a:cubicBezTo>
                <a:cubicBezTo>
                  <a:pt x="6220967" y="4814601"/>
                  <a:pt x="6224876" y="4819913"/>
                  <a:pt x="6217661" y="4820134"/>
                </a:cubicBezTo>
                <a:cubicBezTo>
                  <a:pt x="6214955" y="4818806"/>
                  <a:pt x="6212852" y="4816150"/>
                  <a:pt x="6212551" y="4810727"/>
                </a:cubicBezTo>
                <a:cubicBezTo>
                  <a:pt x="6215857" y="4807850"/>
                  <a:pt x="6218563" y="4807296"/>
                  <a:pt x="6220667" y="4807850"/>
                </a:cubicBezTo>
                <a:close/>
                <a:moveTo>
                  <a:pt x="4964999" y="4807850"/>
                </a:moveTo>
                <a:cubicBezTo>
                  <a:pt x="4967403" y="4808403"/>
                  <a:pt x="4968907" y="4810063"/>
                  <a:pt x="4970711" y="4811723"/>
                </a:cubicBezTo>
                <a:cubicBezTo>
                  <a:pt x="4965300" y="4814601"/>
                  <a:pt x="4969509" y="4819913"/>
                  <a:pt x="4962293" y="4820134"/>
                </a:cubicBezTo>
                <a:cubicBezTo>
                  <a:pt x="4959288" y="4818806"/>
                  <a:pt x="4957484" y="4816150"/>
                  <a:pt x="4956882" y="4810727"/>
                </a:cubicBezTo>
                <a:cubicBezTo>
                  <a:pt x="4960490" y="4807850"/>
                  <a:pt x="4962895" y="4807296"/>
                  <a:pt x="4964999" y="4807850"/>
                </a:cubicBezTo>
                <a:close/>
                <a:moveTo>
                  <a:pt x="3456213" y="4807850"/>
                </a:moveTo>
                <a:cubicBezTo>
                  <a:pt x="3458318" y="4808403"/>
                  <a:pt x="3459820" y="4810063"/>
                  <a:pt x="3461624" y="4811723"/>
                </a:cubicBezTo>
                <a:cubicBezTo>
                  <a:pt x="3456513" y="4814601"/>
                  <a:pt x="3460421" y="4819913"/>
                  <a:pt x="3453207" y="4820134"/>
                </a:cubicBezTo>
                <a:cubicBezTo>
                  <a:pt x="3450201" y="4818806"/>
                  <a:pt x="3448397" y="4816150"/>
                  <a:pt x="3448096" y="4810727"/>
                </a:cubicBezTo>
                <a:cubicBezTo>
                  <a:pt x="3451403" y="4807850"/>
                  <a:pt x="3453808" y="4807296"/>
                  <a:pt x="3456213" y="4807850"/>
                </a:cubicBezTo>
                <a:close/>
                <a:moveTo>
                  <a:pt x="2426908" y="4807850"/>
                </a:moveTo>
                <a:cubicBezTo>
                  <a:pt x="2429012" y="4808403"/>
                  <a:pt x="2430815" y="4810063"/>
                  <a:pt x="2432619" y="4811723"/>
                </a:cubicBezTo>
                <a:cubicBezTo>
                  <a:pt x="2427208" y="4814601"/>
                  <a:pt x="2431116" y="4819913"/>
                  <a:pt x="2423902" y="4820134"/>
                </a:cubicBezTo>
                <a:cubicBezTo>
                  <a:pt x="2421196" y="4818806"/>
                  <a:pt x="2419392" y="4816150"/>
                  <a:pt x="2418791" y="4810727"/>
                </a:cubicBezTo>
                <a:cubicBezTo>
                  <a:pt x="2422398" y="4807850"/>
                  <a:pt x="2424803" y="4807296"/>
                  <a:pt x="2426908" y="4807850"/>
                </a:cubicBezTo>
                <a:close/>
                <a:moveTo>
                  <a:pt x="6025869" y="4803533"/>
                </a:moveTo>
                <a:cubicBezTo>
                  <a:pt x="6030378" y="4804197"/>
                  <a:pt x="6034888" y="4804861"/>
                  <a:pt x="6039397" y="4805525"/>
                </a:cubicBezTo>
                <a:cubicBezTo>
                  <a:pt x="6046011" y="4810616"/>
                  <a:pt x="6047213" y="4818806"/>
                  <a:pt x="6043304" y="4824008"/>
                </a:cubicBezTo>
                <a:cubicBezTo>
                  <a:pt x="6041802" y="4825668"/>
                  <a:pt x="6039998" y="4827106"/>
                  <a:pt x="6037592" y="4827992"/>
                </a:cubicBezTo>
                <a:cubicBezTo>
                  <a:pt x="6034586" y="4829209"/>
                  <a:pt x="6030378" y="4829430"/>
                  <a:pt x="6025268" y="4828102"/>
                </a:cubicBezTo>
                <a:cubicBezTo>
                  <a:pt x="6017752" y="4823897"/>
                  <a:pt x="6018955" y="4806854"/>
                  <a:pt x="6025869" y="4803533"/>
                </a:cubicBezTo>
                <a:close/>
                <a:moveTo>
                  <a:pt x="4770502" y="4803533"/>
                </a:moveTo>
                <a:cubicBezTo>
                  <a:pt x="4775010" y="4804197"/>
                  <a:pt x="4779218" y="4804861"/>
                  <a:pt x="4783728" y="4805525"/>
                </a:cubicBezTo>
                <a:cubicBezTo>
                  <a:pt x="4790341" y="4810616"/>
                  <a:pt x="4791544" y="4818806"/>
                  <a:pt x="4787636" y="4824008"/>
                </a:cubicBezTo>
                <a:cubicBezTo>
                  <a:pt x="4786434" y="4825668"/>
                  <a:pt x="4784629" y="4827106"/>
                  <a:pt x="4782225" y="4827992"/>
                </a:cubicBezTo>
                <a:lnTo>
                  <a:pt x="4772605" y="4828102"/>
                </a:lnTo>
                <a:lnTo>
                  <a:pt x="4771704" y="4833304"/>
                </a:lnTo>
                <a:cubicBezTo>
                  <a:pt x="4770802" y="4834964"/>
                  <a:pt x="4769299" y="4836403"/>
                  <a:pt x="4766292" y="4837177"/>
                </a:cubicBezTo>
                <a:cubicBezTo>
                  <a:pt x="4761482" y="4836292"/>
                  <a:pt x="4755771" y="4836956"/>
                  <a:pt x="4751562" y="4834189"/>
                </a:cubicBezTo>
                <a:lnTo>
                  <a:pt x="4751261" y="4833968"/>
                </a:lnTo>
                <a:lnTo>
                  <a:pt x="4746753" y="4834079"/>
                </a:lnTo>
                <a:cubicBezTo>
                  <a:pt x="4741341" y="4830980"/>
                  <a:pt x="4744347" y="4817699"/>
                  <a:pt x="4750660" y="4815265"/>
                </a:cubicBezTo>
                <a:cubicBezTo>
                  <a:pt x="4753367" y="4814269"/>
                  <a:pt x="4756672" y="4815375"/>
                  <a:pt x="4760280" y="4820577"/>
                </a:cubicBezTo>
                <a:lnTo>
                  <a:pt x="4760581" y="4821241"/>
                </a:lnTo>
                <a:lnTo>
                  <a:pt x="4762684" y="4819802"/>
                </a:lnTo>
                <a:lnTo>
                  <a:pt x="4764790" y="4817810"/>
                </a:lnTo>
                <a:lnTo>
                  <a:pt x="4764489" y="4815486"/>
                </a:lnTo>
                <a:cubicBezTo>
                  <a:pt x="4764790" y="4810284"/>
                  <a:pt x="4766893" y="4805193"/>
                  <a:pt x="4770502" y="4803533"/>
                </a:cubicBezTo>
                <a:close/>
                <a:moveTo>
                  <a:pt x="3261415" y="4803533"/>
                </a:moveTo>
                <a:cubicBezTo>
                  <a:pt x="3265923" y="4804197"/>
                  <a:pt x="3270433" y="4804861"/>
                  <a:pt x="3274943" y="4805525"/>
                </a:cubicBezTo>
                <a:cubicBezTo>
                  <a:pt x="3281556" y="4810616"/>
                  <a:pt x="3282758" y="4818806"/>
                  <a:pt x="3278850" y="4824008"/>
                </a:cubicBezTo>
                <a:cubicBezTo>
                  <a:pt x="3277347" y="4825668"/>
                  <a:pt x="3275544" y="4827106"/>
                  <a:pt x="3273139" y="4827992"/>
                </a:cubicBezTo>
                <a:cubicBezTo>
                  <a:pt x="3269832" y="4829209"/>
                  <a:pt x="3265923" y="4829430"/>
                  <a:pt x="3260813" y="4828102"/>
                </a:cubicBezTo>
                <a:cubicBezTo>
                  <a:pt x="3252998" y="4823897"/>
                  <a:pt x="3254500" y="4806854"/>
                  <a:pt x="3261415" y="4803533"/>
                </a:cubicBezTo>
                <a:close/>
                <a:moveTo>
                  <a:pt x="2232410" y="4803533"/>
                </a:moveTo>
                <a:cubicBezTo>
                  <a:pt x="2236919" y="4804197"/>
                  <a:pt x="2241428" y="4804861"/>
                  <a:pt x="2245938" y="4805525"/>
                </a:cubicBezTo>
                <a:cubicBezTo>
                  <a:pt x="2252551" y="4810616"/>
                  <a:pt x="2253453" y="4818806"/>
                  <a:pt x="2249545" y="4824008"/>
                </a:cubicBezTo>
                <a:cubicBezTo>
                  <a:pt x="2248343" y="4825668"/>
                  <a:pt x="2246239" y="4827106"/>
                  <a:pt x="2243834" y="4827992"/>
                </a:cubicBezTo>
                <a:cubicBezTo>
                  <a:pt x="2240827" y="4829209"/>
                  <a:pt x="2236618" y="4829430"/>
                  <a:pt x="2231809" y="4828102"/>
                </a:cubicBezTo>
                <a:cubicBezTo>
                  <a:pt x="2223993" y="4823897"/>
                  <a:pt x="2225195" y="4806854"/>
                  <a:pt x="2232410" y="4803533"/>
                </a:cubicBezTo>
                <a:close/>
                <a:moveTo>
                  <a:pt x="4861887" y="4795454"/>
                </a:moveTo>
                <a:cubicBezTo>
                  <a:pt x="4866698" y="4795122"/>
                  <a:pt x="4870606" y="4794790"/>
                  <a:pt x="4876017" y="4795454"/>
                </a:cubicBezTo>
                <a:cubicBezTo>
                  <a:pt x="4876318" y="4796893"/>
                  <a:pt x="4875115" y="4797446"/>
                  <a:pt x="4875416" y="4798996"/>
                </a:cubicBezTo>
                <a:cubicBezTo>
                  <a:pt x="4874814" y="4799881"/>
                  <a:pt x="4873311" y="4800656"/>
                  <a:pt x="4871207" y="4801320"/>
                </a:cubicBezTo>
                <a:cubicBezTo>
                  <a:pt x="4865496" y="4803201"/>
                  <a:pt x="4856176" y="4803423"/>
                  <a:pt x="4855875" y="4802316"/>
                </a:cubicBezTo>
                <a:cubicBezTo>
                  <a:pt x="4854072" y="4802869"/>
                  <a:pt x="4853772" y="4801320"/>
                  <a:pt x="4852268" y="4801873"/>
                </a:cubicBezTo>
                <a:cubicBezTo>
                  <a:pt x="4852268" y="4801873"/>
                  <a:pt x="4850765" y="4802427"/>
                  <a:pt x="4848661" y="4801541"/>
                </a:cubicBezTo>
                <a:cubicBezTo>
                  <a:pt x="4846857" y="4800656"/>
                  <a:pt x="4844753" y="4799660"/>
                  <a:pt x="4845654" y="4796229"/>
                </a:cubicBezTo>
                <a:cubicBezTo>
                  <a:pt x="4852569" y="4796340"/>
                  <a:pt x="4857379" y="4795786"/>
                  <a:pt x="4861887" y="4795454"/>
                </a:cubicBezTo>
                <a:close/>
                <a:moveTo>
                  <a:pt x="3606520" y="4795454"/>
                </a:moveTo>
                <a:cubicBezTo>
                  <a:pt x="3611030" y="4795122"/>
                  <a:pt x="3615238" y="4794790"/>
                  <a:pt x="3620649" y="4795454"/>
                </a:cubicBezTo>
                <a:cubicBezTo>
                  <a:pt x="3620950" y="4796893"/>
                  <a:pt x="3619447" y="4797446"/>
                  <a:pt x="3619748" y="4798996"/>
                </a:cubicBezTo>
                <a:cubicBezTo>
                  <a:pt x="3619147" y="4799881"/>
                  <a:pt x="3617943" y="4800656"/>
                  <a:pt x="3615839" y="4801320"/>
                </a:cubicBezTo>
                <a:cubicBezTo>
                  <a:pt x="3610127" y="4803201"/>
                  <a:pt x="3600508" y="4803423"/>
                  <a:pt x="3600208" y="4802316"/>
                </a:cubicBezTo>
                <a:cubicBezTo>
                  <a:pt x="3598704" y="4802869"/>
                  <a:pt x="3598404" y="4801320"/>
                  <a:pt x="3596601" y="4801873"/>
                </a:cubicBezTo>
                <a:cubicBezTo>
                  <a:pt x="3596601" y="4801873"/>
                  <a:pt x="3595097" y="4802427"/>
                  <a:pt x="3593293" y="4801541"/>
                </a:cubicBezTo>
                <a:cubicBezTo>
                  <a:pt x="3591189" y="4800656"/>
                  <a:pt x="3589385" y="4799660"/>
                  <a:pt x="3589986" y="4796229"/>
                </a:cubicBezTo>
                <a:cubicBezTo>
                  <a:pt x="3596901" y="4796340"/>
                  <a:pt x="3601710" y="4795786"/>
                  <a:pt x="3606520" y="4795454"/>
                </a:cubicBezTo>
                <a:close/>
                <a:moveTo>
                  <a:pt x="2097434" y="4795454"/>
                </a:moveTo>
                <a:cubicBezTo>
                  <a:pt x="2101943" y="4795122"/>
                  <a:pt x="2106151" y="4794790"/>
                  <a:pt x="2111562" y="4795454"/>
                </a:cubicBezTo>
                <a:cubicBezTo>
                  <a:pt x="2111863" y="4796893"/>
                  <a:pt x="2110360" y="4797446"/>
                  <a:pt x="2110661" y="4798996"/>
                </a:cubicBezTo>
                <a:cubicBezTo>
                  <a:pt x="2110060" y="4799881"/>
                  <a:pt x="2108857" y="4800656"/>
                  <a:pt x="2106753" y="4801320"/>
                </a:cubicBezTo>
                <a:cubicBezTo>
                  <a:pt x="2101041" y="4803201"/>
                  <a:pt x="2091422" y="4803423"/>
                  <a:pt x="2091121" y="4802316"/>
                </a:cubicBezTo>
                <a:cubicBezTo>
                  <a:pt x="2089617" y="4802869"/>
                  <a:pt x="2089317" y="4801320"/>
                  <a:pt x="2087814" y="4801873"/>
                </a:cubicBezTo>
                <a:cubicBezTo>
                  <a:pt x="2087814" y="4801873"/>
                  <a:pt x="2086311" y="4802427"/>
                  <a:pt x="2084206" y="4801541"/>
                </a:cubicBezTo>
                <a:cubicBezTo>
                  <a:pt x="2082403" y="4800656"/>
                  <a:pt x="2080299" y="4799660"/>
                  <a:pt x="2080900" y="4796229"/>
                </a:cubicBezTo>
                <a:cubicBezTo>
                  <a:pt x="2087814" y="4796340"/>
                  <a:pt x="2092925" y="4795786"/>
                  <a:pt x="2097434" y="4795454"/>
                </a:cubicBezTo>
                <a:close/>
                <a:moveTo>
                  <a:pt x="1068128" y="4795454"/>
                </a:moveTo>
                <a:cubicBezTo>
                  <a:pt x="1072938" y="4795122"/>
                  <a:pt x="1077147" y="4794790"/>
                  <a:pt x="1082257" y="4795454"/>
                </a:cubicBezTo>
                <a:cubicBezTo>
                  <a:pt x="1082859" y="4796893"/>
                  <a:pt x="1081356" y="4797446"/>
                  <a:pt x="1081656" y="4798996"/>
                </a:cubicBezTo>
                <a:cubicBezTo>
                  <a:pt x="1081055" y="4799881"/>
                  <a:pt x="1079552" y="4800656"/>
                  <a:pt x="1077749" y="4801320"/>
                </a:cubicBezTo>
                <a:cubicBezTo>
                  <a:pt x="1072037" y="4803201"/>
                  <a:pt x="1062417" y="4803423"/>
                  <a:pt x="1062116" y="4802316"/>
                </a:cubicBezTo>
                <a:cubicBezTo>
                  <a:pt x="1060614" y="4802869"/>
                  <a:pt x="1060012" y="4801320"/>
                  <a:pt x="1058509" y="4801873"/>
                </a:cubicBezTo>
                <a:cubicBezTo>
                  <a:pt x="1058509" y="4801873"/>
                  <a:pt x="1057006" y="4802427"/>
                  <a:pt x="1055203" y="4801541"/>
                </a:cubicBezTo>
                <a:cubicBezTo>
                  <a:pt x="1053098" y="4800656"/>
                  <a:pt x="1050994" y="4799660"/>
                  <a:pt x="1051895" y="4796229"/>
                </a:cubicBezTo>
                <a:cubicBezTo>
                  <a:pt x="1058810" y="4796340"/>
                  <a:pt x="1063620" y="4795786"/>
                  <a:pt x="1068128" y="4795454"/>
                </a:cubicBezTo>
                <a:close/>
                <a:moveTo>
                  <a:pt x="5222325" y="4791581"/>
                </a:moveTo>
                <a:cubicBezTo>
                  <a:pt x="5222325" y="4791581"/>
                  <a:pt x="5222325" y="4791581"/>
                  <a:pt x="5226233" y="4793462"/>
                </a:cubicBezTo>
                <a:lnTo>
                  <a:pt x="5226534" y="4794901"/>
                </a:lnTo>
                <a:cubicBezTo>
                  <a:pt x="5226534" y="4795676"/>
                  <a:pt x="5225332" y="4796450"/>
                  <a:pt x="5223528" y="4797114"/>
                </a:cubicBezTo>
                <a:cubicBezTo>
                  <a:pt x="5218718" y="4799217"/>
                  <a:pt x="5209399" y="4800656"/>
                  <a:pt x="5208197" y="4801099"/>
                </a:cubicBezTo>
                <a:cubicBezTo>
                  <a:pt x="5208197" y="4801099"/>
                  <a:pt x="5206692" y="4801541"/>
                  <a:pt x="5205190" y="4802095"/>
                </a:cubicBezTo>
                <a:cubicBezTo>
                  <a:pt x="5203086" y="4801209"/>
                  <a:pt x="5202786" y="4799771"/>
                  <a:pt x="5201282" y="4800324"/>
                </a:cubicBezTo>
                <a:cubicBezTo>
                  <a:pt x="5204589" y="4794569"/>
                  <a:pt x="5209700" y="4794348"/>
                  <a:pt x="5214810" y="4794237"/>
                </a:cubicBezTo>
                <a:cubicBezTo>
                  <a:pt x="5218117" y="4794569"/>
                  <a:pt x="5219620" y="4794016"/>
                  <a:pt x="5222325" y="4791581"/>
                </a:cubicBezTo>
                <a:close/>
                <a:moveTo>
                  <a:pt x="3966958" y="4791581"/>
                </a:moveTo>
                <a:cubicBezTo>
                  <a:pt x="3966958" y="4791581"/>
                  <a:pt x="3966657" y="4791581"/>
                  <a:pt x="3970565" y="4793462"/>
                </a:cubicBezTo>
                <a:lnTo>
                  <a:pt x="3970865" y="4794901"/>
                </a:lnTo>
                <a:cubicBezTo>
                  <a:pt x="3970865" y="4795676"/>
                  <a:pt x="3969663" y="4796450"/>
                  <a:pt x="3968160" y="4797114"/>
                </a:cubicBezTo>
                <a:cubicBezTo>
                  <a:pt x="3963050" y="4799217"/>
                  <a:pt x="3953730" y="4800656"/>
                  <a:pt x="3952528" y="4801099"/>
                </a:cubicBezTo>
                <a:cubicBezTo>
                  <a:pt x="3952528" y="4801099"/>
                  <a:pt x="3951025" y="4801541"/>
                  <a:pt x="3949522" y="4802095"/>
                </a:cubicBezTo>
                <a:cubicBezTo>
                  <a:pt x="3947718" y="4801209"/>
                  <a:pt x="3947117" y="4799771"/>
                  <a:pt x="3945614" y="4800324"/>
                </a:cubicBezTo>
                <a:cubicBezTo>
                  <a:pt x="3949222" y="4794569"/>
                  <a:pt x="3954031" y="4794348"/>
                  <a:pt x="3959141" y="4794237"/>
                </a:cubicBezTo>
                <a:cubicBezTo>
                  <a:pt x="3962448" y="4794569"/>
                  <a:pt x="3964252" y="4794016"/>
                  <a:pt x="3966958" y="4791581"/>
                </a:cubicBezTo>
                <a:close/>
                <a:moveTo>
                  <a:pt x="2457871" y="4791581"/>
                </a:moveTo>
                <a:cubicBezTo>
                  <a:pt x="2457871" y="4791581"/>
                  <a:pt x="2457871" y="4791581"/>
                  <a:pt x="2461779" y="4793462"/>
                </a:cubicBezTo>
                <a:lnTo>
                  <a:pt x="2462080" y="4794901"/>
                </a:lnTo>
                <a:cubicBezTo>
                  <a:pt x="2461779" y="4795676"/>
                  <a:pt x="2460877" y="4796450"/>
                  <a:pt x="2459073" y="4797114"/>
                </a:cubicBezTo>
                <a:cubicBezTo>
                  <a:pt x="2454264" y="4799217"/>
                  <a:pt x="2444944" y="4800656"/>
                  <a:pt x="2443742" y="4801099"/>
                </a:cubicBezTo>
                <a:cubicBezTo>
                  <a:pt x="2443742" y="4801099"/>
                  <a:pt x="2441938" y="4801541"/>
                  <a:pt x="2440436" y="4802095"/>
                </a:cubicBezTo>
                <a:cubicBezTo>
                  <a:pt x="2438631" y="4801209"/>
                  <a:pt x="2438331" y="4799771"/>
                  <a:pt x="2436527" y="4800324"/>
                </a:cubicBezTo>
                <a:cubicBezTo>
                  <a:pt x="2440135" y="4794569"/>
                  <a:pt x="2444944" y="4794348"/>
                  <a:pt x="2450055" y="4794237"/>
                </a:cubicBezTo>
                <a:cubicBezTo>
                  <a:pt x="2453663" y="4794569"/>
                  <a:pt x="2455165" y="4794016"/>
                  <a:pt x="2457871" y="4791581"/>
                </a:cubicBezTo>
                <a:close/>
                <a:moveTo>
                  <a:pt x="1428566" y="4791581"/>
                </a:moveTo>
                <a:cubicBezTo>
                  <a:pt x="1428566" y="4791581"/>
                  <a:pt x="1428566" y="4791581"/>
                  <a:pt x="1432474" y="4793462"/>
                </a:cubicBezTo>
                <a:lnTo>
                  <a:pt x="1433075" y="4794901"/>
                </a:lnTo>
                <a:cubicBezTo>
                  <a:pt x="1432775" y="4795676"/>
                  <a:pt x="1431572" y="4796450"/>
                  <a:pt x="1430069" y="4797114"/>
                </a:cubicBezTo>
                <a:cubicBezTo>
                  <a:pt x="1424959" y="4799217"/>
                  <a:pt x="1415639" y="4800656"/>
                  <a:pt x="1414437" y="4801099"/>
                </a:cubicBezTo>
                <a:cubicBezTo>
                  <a:pt x="1414437" y="4801099"/>
                  <a:pt x="1412933" y="4801541"/>
                  <a:pt x="1411431" y="4802095"/>
                </a:cubicBezTo>
                <a:cubicBezTo>
                  <a:pt x="1409326" y="4801209"/>
                  <a:pt x="1409026" y="4799771"/>
                  <a:pt x="1407523" y="4800324"/>
                </a:cubicBezTo>
                <a:cubicBezTo>
                  <a:pt x="1410830" y="4794569"/>
                  <a:pt x="1415940" y="4794348"/>
                  <a:pt x="1421050" y="4794237"/>
                </a:cubicBezTo>
                <a:cubicBezTo>
                  <a:pt x="1424358" y="4794569"/>
                  <a:pt x="1425860" y="4794016"/>
                  <a:pt x="1428566" y="4791581"/>
                </a:cubicBezTo>
                <a:close/>
                <a:moveTo>
                  <a:pt x="4955379" y="4779960"/>
                </a:moveTo>
                <a:cubicBezTo>
                  <a:pt x="4959588" y="4782284"/>
                  <a:pt x="4963496" y="4784498"/>
                  <a:pt x="4967704" y="4786822"/>
                </a:cubicBezTo>
                <a:lnTo>
                  <a:pt x="4965600" y="4790474"/>
                </a:lnTo>
                <a:lnTo>
                  <a:pt x="4967704" y="4794901"/>
                </a:lnTo>
                <a:cubicBezTo>
                  <a:pt x="4964699" y="4797004"/>
                  <a:pt x="4960189" y="4798442"/>
                  <a:pt x="4955980" y="4799992"/>
                </a:cubicBezTo>
                <a:cubicBezTo>
                  <a:pt x="4954177" y="4797778"/>
                  <a:pt x="4954177" y="4795786"/>
                  <a:pt x="4955079" y="4794237"/>
                </a:cubicBezTo>
                <a:lnTo>
                  <a:pt x="4955980" y="4793573"/>
                </a:lnTo>
                <a:lnTo>
                  <a:pt x="4951170" y="4790806"/>
                </a:lnTo>
                <a:cubicBezTo>
                  <a:pt x="4952072" y="4784055"/>
                  <a:pt x="4951170" y="4785937"/>
                  <a:pt x="4955379" y="4779960"/>
                </a:cubicBezTo>
                <a:close/>
                <a:moveTo>
                  <a:pt x="1161920" y="4779960"/>
                </a:moveTo>
                <a:cubicBezTo>
                  <a:pt x="1165828" y="4782284"/>
                  <a:pt x="1170037" y="4784498"/>
                  <a:pt x="1173945" y="4786822"/>
                </a:cubicBezTo>
                <a:lnTo>
                  <a:pt x="1172142" y="4790474"/>
                </a:lnTo>
                <a:lnTo>
                  <a:pt x="1173945" y="4794901"/>
                </a:lnTo>
                <a:cubicBezTo>
                  <a:pt x="1170938" y="4797004"/>
                  <a:pt x="1166731" y="4798442"/>
                  <a:pt x="1162221" y="4799992"/>
                </a:cubicBezTo>
                <a:cubicBezTo>
                  <a:pt x="1160417" y="4797778"/>
                  <a:pt x="1160417" y="4795786"/>
                  <a:pt x="1161319" y="4794237"/>
                </a:cubicBezTo>
                <a:lnTo>
                  <a:pt x="1162221" y="4793573"/>
                </a:lnTo>
                <a:lnTo>
                  <a:pt x="1157411" y="4790806"/>
                </a:lnTo>
                <a:cubicBezTo>
                  <a:pt x="1158313" y="4784055"/>
                  <a:pt x="1157411" y="4785937"/>
                  <a:pt x="1161920" y="4779960"/>
                </a:cubicBezTo>
                <a:close/>
                <a:moveTo>
                  <a:pt x="5980476" y="4775755"/>
                </a:moveTo>
                <a:cubicBezTo>
                  <a:pt x="5998212" y="4780403"/>
                  <a:pt x="5990095" y="4814822"/>
                  <a:pt x="5983783" y="4823676"/>
                </a:cubicBezTo>
                <a:cubicBezTo>
                  <a:pt x="5980176" y="4810174"/>
                  <a:pt x="5975065" y="4787818"/>
                  <a:pt x="5980476" y="4775755"/>
                </a:cubicBezTo>
                <a:close/>
                <a:moveTo>
                  <a:pt x="4724808" y="4775755"/>
                </a:moveTo>
                <a:cubicBezTo>
                  <a:pt x="4742845" y="4780403"/>
                  <a:pt x="4734727" y="4814822"/>
                  <a:pt x="4728415" y="4823676"/>
                </a:cubicBezTo>
                <a:cubicBezTo>
                  <a:pt x="4724808" y="4810174"/>
                  <a:pt x="4719396" y="4787818"/>
                  <a:pt x="4724808" y="4775755"/>
                </a:cubicBezTo>
                <a:close/>
                <a:moveTo>
                  <a:pt x="3215721" y="4775755"/>
                </a:moveTo>
                <a:cubicBezTo>
                  <a:pt x="3233758" y="4780403"/>
                  <a:pt x="3225642" y="4814822"/>
                  <a:pt x="3219329" y="4823676"/>
                </a:cubicBezTo>
                <a:cubicBezTo>
                  <a:pt x="3215721" y="4810174"/>
                  <a:pt x="3210610" y="4787818"/>
                  <a:pt x="3215721" y="4775755"/>
                </a:cubicBezTo>
                <a:close/>
                <a:moveTo>
                  <a:pt x="2186716" y="4775755"/>
                </a:moveTo>
                <a:lnTo>
                  <a:pt x="2192127" y="4780624"/>
                </a:lnTo>
                <a:lnTo>
                  <a:pt x="2202949" y="4786822"/>
                </a:lnTo>
                <a:lnTo>
                  <a:pt x="2201147" y="4790474"/>
                </a:lnTo>
                <a:lnTo>
                  <a:pt x="2202949" y="4794901"/>
                </a:lnTo>
                <a:lnTo>
                  <a:pt x="2197538" y="4797336"/>
                </a:lnTo>
                <a:lnTo>
                  <a:pt x="2197538" y="4798110"/>
                </a:lnTo>
                <a:cubicBezTo>
                  <a:pt x="2196937" y="4808403"/>
                  <a:pt x="2193330" y="4819249"/>
                  <a:pt x="2190324" y="4823676"/>
                </a:cubicBezTo>
                <a:cubicBezTo>
                  <a:pt x="2186716" y="4810174"/>
                  <a:pt x="2181305" y="4787818"/>
                  <a:pt x="2186716" y="4775755"/>
                </a:cubicBezTo>
                <a:close/>
                <a:moveTo>
                  <a:pt x="5838285" y="4773541"/>
                </a:moveTo>
                <a:cubicBezTo>
                  <a:pt x="5839788" y="4773873"/>
                  <a:pt x="5839788" y="4775312"/>
                  <a:pt x="5841292" y="4775644"/>
                </a:cubicBezTo>
                <a:cubicBezTo>
                  <a:pt x="5842193" y="4776530"/>
                  <a:pt x="5842193" y="4778079"/>
                  <a:pt x="5842193" y="4779850"/>
                </a:cubicBezTo>
                <a:cubicBezTo>
                  <a:pt x="5841592" y="4785494"/>
                  <a:pt x="5837984" y="4793573"/>
                  <a:pt x="5836782" y="4793462"/>
                </a:cubicBezTo>
                <a:cubicBezTo>
                  <a:pt x="5836782" y="4794901"/>
                  <a:pt x="5834978" y="4794680"/>
                  <a:pt x="5834978" y="4796229"/>
                </a:cubicBezTo>
                <a:cubicBezTo>
                  <a:pt x="5834978" y="4796229"/>
                  <a:pt x="5834678" y="4797778"/>
                  <a:pt x="5833174" y="4799107"/>
                </a:cubicBezTo>
                <a:cubicBezTo>
                  <a:pt x="5831371" y="4800324"/>
                  <a:pt x="5829568" y="4801541"/>
                  <a:pt x="5826561" y="4799549"/>
                </a:cubicBezTo>
                <a:cubicBezTo>
                  <a:pt x="5832273" y="4788039"/>
                  <a:pt x="5832874" y="4781952"/>
                  <a:pt x="5838285" y="4773541"/>
                </a:cubicBezTo>
                <a:close/>
                <a:moveTo>
                  <a:pt x="4582617" y="4773541"/>
                </a:moveTo>
                <a:cubicBezTo>
                  <a:pt x="4584119" y="4773873"/>
                  <a:pt x="4584119" y="4775312"/>
                  <a:pt x="4585924" y="4775644"/>
                </a:cubicBezTo>
                <a:cubicBezTo>
                  <a:pt x="4586525" y="4776530"/>
                  <a:pt x="4586826" y="4778079"/>
                  <a:pt x="4586525" y="4779850"/>
                </a:cubicBezTo>
                <a:cubicBezTo>
                  <a:pt x="4586224" y="4785494"/>
                  <a:pt x="4582617" y="4793573"/>
                  <a:pt x="4581415" y="4793462"/>
                </a:cubicBezTo>
                <a:cubicBezTo>
                  <a:pt x="4581115" y="4794901"/>
                  <a:pt x="4579610" y="4794680"/>
                  <a:pt x="4579309" y="4796229"/>
                </a:cubicBezTo>
                <a:cubicBezTo>
                  <a:pt x="4579309" y="4796229"/>
                  <a:pt x="4579309" y="4797778"/>
                  <a:pt x="4577506" y="4799107"/>
                </a:cubicBezTo>
                <a:cubicBezTo>
                  <a:pt x="4576004" y="4800324"/>
                  <a:pt x="4574200" y="4801541"/>
                  <a:pt x="4570893" y="4799549"/>
                </a:cubicBezTo>
                <a:cubicBezTo>
                  <a:pt x="4576605" y="4788039"/>
                  <a:pt x="4577206" y="4781952"/>
                  <a:pt x="4582617" y="4773541"/>
                </a:cubicBezTo>
                <a:close/>
                <a:moveTo>
                  <a:pt x="3073530" y="4773541"/>
                </a:moveTo>
                <a:cubicBezTo>
                  <a:pt x="3075335" y="4773873"/>
                  <a:pt x="3075034" y="4775312"/>
                  <a:pt x="3076837" y="4775644"/>
                </a:cubicBezTo>
                <a:cubicBezTo>
                  <a:pt x="3077438" y="4776530"/>
                  <a:pt x="3077739" y="4778079"/>
                  <a:pt x="3077438" y="4779850"/>
                </a:cubicBezTo>
                <a:cubicBezTo>
                  <a:pt x="3077137" y="4785494"/>
                  <a:pt x="3073530" y="4793573"/>
                  <a:pt x="3072328" y="4793462"/>
                </a:cubicBezTo>
                <a:cubicBezTo>
                  <a:pt x="3072027" y="4794901"/>
                  <a:pt x="3070524" y="4794680"/>
                  <a:pt x="3070524" y="4796229"/>
                </a:cubicBezTo>
                <a:cubicBezTo>
                  <a:pt x="3070524" y="4796229"/>
                  <a:pt x="3070224" y="4797778"/>
                  <a:pt x="3068420" y="4799107"/>
                </a:cubicBezTo>
                <a:cubicBezTo>
                  <a:pt x="3066917" y="4800324"/>
                  <a:pt x="3065113" y="4801541"/>
                  <a:pt x="3061806" y="4799549"/>
                </a:cubicBezTo>
                <a:cubicBezTo>
                  <a:pt x="3067518" y="4788039"/>
                  <a:pt x="3068119" y="4781952"/>
                  <a:pt x="3073530" y="4773541"/>
                </a:cubicBezTo>
                <a:close/>
                <a:moveTo>
                  <a:pt x="2044525" y="4773541"/>
                </a:moveTo>
                <a:cubicBezTo>
                  <a:pt x="2046029" y="4773873"/>
                  <a:pt x="2046029" y="4775312"/>
                  <a:pt x="2047532" y="4775644"/>
                </a:cubicBezTo>
                <a:cubicBezTo>
                  <a:pt x="2048434" y="4776530"/>
                  <a:pt x="2048434" y="4778079"/>
                  <a:pt x="2048434" y="4779850"/>
                </a:cubicBezTo>
                <a:cubicBezTo>
                  <a:pt x="2047832" y="4785494"/>
                  <a:pt x="2044225" y="4793573"/>
                  <a:pt x="2043023" y="4793462"/>
                </a:cubicBezTo>
                <a:cubicBezTo>
                  <a:pt x="2043023" y="4794901"/>
                  <a:pt x="2041519" y="4794680"/>
                  <a:pt x="2041219" y="4796229"/>
                </a:cubicBezTo>
                <a:cubicBezTo>
                  <a:pt x="2041219" y="4796229"/>
                  <a:pt x="2041219" y="4797778"/>
                  <a:pt x="2039415" y="4799107"/>
                </a:cubicBezTo>
                <a:cubicBezTo>
                  <a:pt x="2037612" y="4800324"/>
                  <a:pt x="2035808" y="4801541"/>
                  <a:pt x="2032802" y="4799549"/>
                </a:cubicBezTo>
                <a:cubicBezTo>
                  <a:pt x="2038513" y="4788039"/>
                  <a:pt x="2039114" y="4781952"/>
                  <a:pt x="2044525" y="4773541"/>
                </a:cubicBezTo>
                <a:close/>
                <a:moveTo>
                  <a:pt x="5910132" y="4770775"/>
                </a:moveTo>
                <a:cubicBezTo>
                  <a:pt x="5911635" y="4770111"/>
                  <a:pt x="5912236" y="4771439"/>
                  <a:pt x="5913740" y="4770775"/>
                </a:cubicBezTo>
                <a:cubicBezTo>
                  <a:pt x="5914641" y="4771107"/>
                  <a:pt x="5915543" y="4772435"/>
                  <a:pt x="5916144" y="4774095"/>
                </a:cubicBezTo>
                <a:cubicBezTo>
                  <a:pt x="5918248" y="4779186"/>
                  <a:pt x="5918850" y="4788261"/>
                  <a:pt x="5917647" y="4788814"/>
                </a:cubicBezTo>
                <a:cubicBezTo>
                  <a:pt x="5918248" y="4790142"/>
                  <a:pt x="5916745" y="4790806"/>
                  <a:pt x="5917347" y="4792134"/>
                </a:cubicBezTo>
                <a:cubicBezTo>
                  <a:pt x="5917347" y="4792134"/>
                  <a:pt x="5917948" y="4793573"/>
                  <a:pt x="5917046" y="4795676"/>
                </a:cubicBezTo>
                <a:cubicBezTo>
                  <a:pt x="5915843" y="4797778"/>
                  <a:pt x="5915242" y="4799881"/>
                  <a:pt x="5911635" y="4799881"/>
                </a:cubicBezTo>
                <a:cubicBezTo>
                  <a:pt x="5911334" y="4786711"/>
                  <a:pt x="5908930" y="4781067"/>
                  <a:pt x="5910132" y="4770775"/>
                </a:cubicBezTo>
                <a:close/>
                <a:moveTo>
                  <a:pt x="4654464" y="4770775"/>
                </a:moveTo>
                <a:cubicBezTo>
                  <a:pt x="4655967" y="4770111"/>
                  <a:pt x="4656568" y="4771439"/>
                  <a:pt x="4658071" y="4770775"/>
                </a:cubicBezTo>
                <a:cubicBezTo>
                  <a:pt x="4659274" y="4771107"/>
                  <a:pt x="4660176" y="4772435"/>
                  <a:pt x="4660777" y="4774095"/>
                </a:cubicBezTo>
                <a:cubicBezTo>
                  <a:pt x="4662880" y="4779186"/>
                  <a:pt x="4663182" y="4788261"/>
                  <a:pt x="4661979" y="4788814"/>
                </a:cubicBezTo>
                <a:cubicBezTo>
                  <a:pt x="4662580" y="4790142"/>
                  <a:pt x="4661077" y="4790806"/>
                  <a:pt x="4661678" y="4792134"/>
                </a:cubicBezTo>
                <a:cubicBezTo>
                  <a:pt x="4661678" y="4792134"/>
                  <a:pt x="4662279" y="4793573"/>
                  <a:pt x="4661378" y="4795676"/>
                </a:cubicBezTo>
                <a:cubicBezTo>
                  <a:pt x="4660476" y="4797778"/>
                  <a:pt x="4659575" y="4799881"/>
                  <a:pt x="4655967" y="4799881"/>
                </a:cubicBezTo>
                <a:cubicBezTo>
                  <a:pt x="4655666" y="4786711"/>
                  <a:pt x="4653563" y="4781067"/>
                  <a:pt x="4654464" y="4770775"/>
                </a:cubicBezTo>
                <a:close/>
                <a:moveTo>
                  <a:pt x="3145378" y="4770775"/>
                </a:moveTo>
                <a:cubicBezTo>
                  <a:pt x="3146880" y="4770111"/>
                  <a:pt x="3147482" y="4771439"/>
                  <a:pt x="3148985" y="4770775"/>
                </a:cubicBezTo>
                <a:cubicBezTo>
                  <a:pt x="3150187" y="4771107"/>
                  <a:pt x="3151089" y="4772435"/>
                  <a:pt x="3151690" y="4774095"/>
                </a:cubicBezTo>
                <a:cubicBezTo>
                  <a:pt x="3153794" y="4779186"/>
                  <a:pt x="3154095" y="4788261"/>
                  <a:pt x="3152893" y="4788814"/>
                </a:cubicBezTo>
                <a:cubicBezTo>
                  <a:pt x="3153494" y="4790142"/>
                  <a:pt x="3152291" y="4790806"/>
                  <a:pt x="3152893" y="4792134"/>
                </a:cubicBezTo>
                <a:cubicBezTo>
                  <a:pt x="3152893" y="4792134"/>
                  <a:pt x="3153193" y="4793573"/>
                  <a:pt x="3152291" y="4795676"/>
                </a:cubicBezTo>
                <a:cubicBezTo>
                  <a:pt x="3151390" y="4797778"/>
                  <a:pt x="3150488" y="4799881"/>
                  <a:pt x="3146880" y="4799881"/>
                </a:cubicBezTo>
                <a:cubicBezTo>
                  <a:pt x="3146880" y="4786711"/>
                  <a:pt x="3144476" y="4781067"/>
                  <a:pt x="3145378" y="4770775"/>
                </a:cubicBezTo>
                <a:close/>
                <a:moveTo>
                  <a:pt x="2116372" y="4770775"/>
                </a:moveTo>
                <a:cubicBezTo>
                  <a:pt x="2117876" y="4770111"/>
                  <a:pt x="2118477" y="4771439"/>
                  <a:pt x="2119980" y="4770775"/>
                </a:cubicBezTo>
                <a:cubicBezTo>
                  <a:pt x="2120882" y="4771107"/>
                  <a:pt x="2121784" y="4772435"/>
                  <a:pt x="2122685" y="4774095"/>
                </a:cubicBezTo>
                <a:cubicBezTo>
                  <a:pt x="2124489" y="4779186"/>
                  <a:pt x="2125090" y="4788261"/>
                  <a:pt x="2123888" y="4788814"/>
                </a:cubicBezTo>
                <a:cubicBezTo>
                  <a:pt x="2124489" y="4790142"/>
                  <a:pt x="2122986" y="4790806"/>
                  <a:pt x="2123588" y="4792134"/>
                </a:cubicBezTo>
                <a:cubicBezTo>
                  <a:pt x="2123588" y="4792134"/>
                  <a:pt x="2124189" y="4793573"/>
                  <a:pt x="2123287" y="4795676"/>
                </a:cubicBezTo>
                <a:cubicBezTo>
                  <a:pt x="2122385" y="4797778"/>
                  <a:pt x="2121483" y="4799881"/>
                  <a:pt x="2117876" y="4799881"/>
                </a:cubicBezTo>
                <a:cubicBezTo>
                  <a:pt x="2117876" y="4786711"/>
                  <a:pt x="2115171" y="4781067"/>
                  <a:pt x="2116372" y="4770775"/>
                </a:cubicBezTo>
                <a:close/>
                <a:moveTo>
                  <a:pt x="5868648" y="4767012"/>
                </a:moveTo>
                <a:cubicBezTo>
                  <a:pt x="5869850" y="4766901"/>
                  <a:pt x="5870451" y="4766901"/>
                  <a:pt x="5871653" y="4767233"/>
                </a:cubicBezTo>
                <a:cubicBezTo>
                  <a:pt x="5872555" y="4767565"/>
                  <a:pt x="5873757" y="4768340"/>
                  <a:pt x="5874660" y="4769225"/>
                </a:cubicBezTo>
                <a:cubicBezTo>
                  <a:pt x="5875561" y="4770000"/>
                  <a:pt x="5875862" y="4771107"/>
                  <a:pt x="5875561" y="4772103"/>
                </a:cubicBezTo>
                <a:cubicBezTo>
                  <a:pt x="5874059" y="4772767"/>
                  <a:pt x="5874660" y="4774095"/>
                  <a:pt x="5873156" y="4774870"/>
                </a:cubicBezTo>
                <a:cubicBezTo>
                  <a:pt x="5870751" y="4777526"/>
                  <a:pt x="5869249" y="4778190"/>
                  <a:pt x="5867144" y="4777526"/>
                </a:cubicBezTo>
                <a:cubicBezTo>
                  <a:pt x="5865641" y="4778190"/>
                  <a:pt x="5865040" y="4776862"/>
                  <a:pt x="5862936" y="4776198"/>
                </a:cubicBezTo>
                <a:cubicBezTo>
                  <a:pt x="5862334" y="4774759"/>
                  <a:pt x="5863237" y="4772767"/>
                  <a:pt x="5863237" y="4772767"/>
                </a:cubicBezTo>
                <a:cubicBezTo>
                  <a:pt x="5864138" y="4770775"/>
                  <a:pt x="5864138" y="4770775"/>
                  <a:pt x="5862034" y="4770111"/>
                </a:cubicBezTo>
                <a:cubicBezTo>
                  <a:pt x="5862034" y="4770111"/>
                  <a:pt x="5863537" y="4769447"/>
                  <a:pt x="5863537" y="4769447"/>
                </a:cubicBezTo>
                <a:cubicBezTo>
                  <a:pt x="5864138" y="4770775"/>
                  <a:pt x="5863537" y="4769447"/>
                  <a:pt x="5864439" y="4767344"/>
                </a:cubicBezTo>
                <a:cubicBezTo>
                  <a:pt x="5866242" y="4767344"/>
                  <a:pt x="5867445" y="4767123"/>
                  <a:pt x="5868648" y="4767012"/>
                </a:cubicBezTo>
                <a:close/>
                <a:moveTo>
                  <a:pt x="4612978" y="4767012"/>
                </a:moveTo>
                <a:cubicBezTo>
                  <a:pt x="4614181" y="4766901"/>
                  <a:pt x="4615084" y="4766901"/>
                  <a:pt x="4616286" y="4767233"/>
                </a:cubicBezTo>
                <a:cubicBezTo>
                  <a:pt x="4617187" y="4767565"/>
                  <a:pt x="4618389" y="4768340"/>
                  <a:pt x="4619292" y="4769225"/>
                </a:cubicBezTo>
                <a:cubicBezTo>
                  <a:pt x="4619893" y="4770000"/>
                  <a:pt x="4620495" y="4771107"/>
                  <a:pt x="4619893" y="4772103"/>
                </a:cubicBezTo>
                <a:cubicBezTo>
                  <a:pt x="4618389" y="4772767"/>
                  <a:pt x="4618991" y="4774095"/>
                  <a:pt x="4617488" y="4774870"/>
                </a:cubicBezTo>
                <a:cubicBezTo>
                  <a:pt x="4615084" y="4777526"/>
                  <a:pt x="4613580" y="4778190"/>
                  <a:pt x="4611476" y="4777526"/>
                </a:cubicBezTo>
                <a:cubicBezTo>
                  <a:pt x="4609973" y="4778190"/>
                  <a:pt x="4609372" y="4776862"/>
                  <a:pt x="4607568" y="4776198"/>
                </a:cubicBezTo>
                <a:cubicBezTo>
                  <a:pt x="4606966" y="4774759"/>
                  <a:pt x="4607568" y="4772767"/>
                  <a:pt x="4607568" y="4772767"/>
                </a:cubicBezTo>
                <a:cubicBezTo>
                  <a:pt x="4608470" y="4770775"/>
                  <a:pt x="4608770" y="4770775"/>
                  <a:pt x="4606665" y="4770111"/>
                </a:cubicBezTo>
                <a:cubicBezTo>
                  <a:pt x="4606665" y="4770111"/>
                  <a:pt x="4608169" y="4769447"/>
                  <a:pt x="4608169" y="4769447"/>
                </a:cubicBezTo>
                <a:cubicBezTo>
                  <a:pt x="4608770" y="4770775"/>
                  <a:pt x="4608169" y="4769447"/>
                  <a:pt x="4609072" y="4767344"/>
                </a:cubicBezTo>
                <a:cubicBezTo>
                  <a:pt x="4610875" y="4767344"/>
                  <a:pt x="4612077" y="4767123"/>
                  <a:pt x="4612978" y="4767012"/>
                </a:cubicBezTo>
                <a:close/>
                <a:moveTo>
                  <a:pt x="2075188" y="4767012"/>
                </a:moveTo>
                <a:cubicBezTo>
                  <a:pt x="2076091" y="4766901"/>
                  <a:pt x="2076992" y="4766901"/>
                  <a:pt x="2077894" y="4767233"/>
                </a:cubicBezTo>
                <a:cubicBezTo>
                  <a:pt x="2079097" y="4767565"/>
                  <a:pt x="2080299" y="4768340"/>
                  <a:pt x="2081200" y="4769225"/>
                </a:cubicBezTo>
                <a:cubicBezTo>
                  <a:pt x="2081802" y="4770000"/>
                  <a:pt x="2082403" y="4771107"/>
                  <a:pt x="2081802" y="4772103"/>
                </a:cubicBezTo>
                <a:cubicBezTo>
                  <a:pt x="2080299" y="4772767"/>
                  <a:pt x="2080900" y="4774095"/>
                  <a:pt x="2079397" y="4774870"/>
                </a:cubicBezTo>
                <a:cubicBezTo>
                  <a:pt x="2076992" y="4777526"/>
                  <a:pt x="2075489" y="4778190"/>
                  <a:pt x="2073385" y="4777526"/>
                </a:cubicBezTo>
                <a:cubicBezTo>
                  <a:pt x="2071882" y="4778190"/>
                  <a:pt x="2071281" y="4776862"/>
                  <a:pt x="2069176" y="4776198"/>
                </a:cubicBezTo>
                <a:cubicBezTo>
                  <a:pt x="2068575" y="4774759"/>
                  <a:pt x="2069777" y="4772767"/>
                  <a:pt x="2069777" y="4772767"/>
                </a:cubicBezTo>
                <a:cubicBezTo>
                  <a:pt x="2070680" y="4770775"/>
                  <a:pt x="2070378" y="4770775"/>
                  <a:pt x="2068275" y="4770111"/>
                </a:cubicBezTo>
                <a:cubicBezTo>
                  <a:pt x="2068275" y="4770111"/>
                  <a:pt x="2070078" y="4769447"/>
                  <a:pt x="2070078" y="4769447"/>
                </a:cubicBezTo>
                <a:cubicBezTo>
                  <a:pt x="2070680" y="4770775"/>
                  <a:pt x="2070078" y="4769447"/>
                  <a:pt x="2070980" y="4767344"/>
                </a:cubicBezTo>
                <a:cubicBezTo>
                  <a:pt x="2072783" y="4767344"/>
                  <a:pt x="2073986" y="4767123"/>
                  <a:pt x="2075188" y="4767012"/>
                </a:cubicBezTo>
                <a:close/>
                <a:moveTo>
                  <a:pt x="4734727" y="4759818"/>
                </a:moveTo>
                <a:cubicBezTo>
                  <a:pt x="4736532" y="4759597"/>
                  <a:pt x="4738035" y="4759708"/>
                  <a:pt x="4739537" y="4760482"/>
                </a:cubicBezTo>
                <a:cubicBezTo>
                  <a:pt x="4741041" y="4761478"/>
                  <a:pt x="4742244" y="4763581"/>
                  <a:pt x="4741942" y="4767012"/>
                </a:cubicBezTo>
                <a:cubicBezTo>
                  <a:pt x="4735329" y="4769336"/>
                  <a:pt x="4731121" y="4770775"/>
                  <a:pt x="4727513" y="4770885"/>
                </a:cubicBezTo>
                <a:cubicBezTo>
                  <a:pt x="4724507" y="4765573"/>
                  <a:pt x="4729618" y="4760704"/>
                  <a:pt x="4734727" y="4759818"/>
                </a:cubicBezTo>
                <a:close/>
                <a:moveTo>
                  <a:pt x="1970273" y="4759818"/>
                </a:moveTo>
                <a:cubicBezTo>
                  <a:pt x="1971777" y="4759597"/>
                  <a:pt x="1973581" y="4759708"/>
                  <a:pt x="1974783" y="4760482"/>
                </a:cubicBezTo>
                <a:cubicBezTo>
                  <a:pt x="1976587" y="4761478"/>
                  <a:pt x="1977789" y="4763581"/>
                  <a:pt x="1977489" y="4767012"/>
                </a:cubicBezTo>
                <a:cubicBezTo>
                  <a:pt x="1970875" y="4769336"/>
                  <a:pt x="1966366" y="4770775"/>
                  <a:pt x="1962759" y="4770885"/>
                </a:cubicBezTo>
                <a:cubicBezTo>
                  <a:pt x="1960053" y="4765573"/>
                  <a:pt x="1965164" y="4760704"/>
                  <a:pt x="1970273" y="4759818"/>
                </a:cubicBezTo>
                <a:close/>
                <a:moveTo>
                  <a:pt x="940968" y="4759818"/>
                </a:moveTo>
                <a:cubicBezTo>
                  <a:pt x="942772" y="4759597"/>
                  <a:pt x="944276" y="4759708"/>
                  <a:pt x="945778" y="4760482"/>
                </a:cubicBezTo>
                <a:cubicBezTo>
                  <a:pt x="947282" y="4761478"/>
                  <a:pt x="948484" y="4763581"/>
                  <a:pt x="948484" y="4767012"/>
                </a:cubicBezTo>
                <a:cubicBezTo>
                  <a:pt x="941871" y="4769336"/>
                  <a:pt x="937361" y="4770775"/>
                  <a:pt x="933754" y="4770885"/>
                </a:cubicBezTo>
                <a:cubicBezTo>
                  <a:pt x="930748" y="4765573"/>
                  <a:pt x="936159" y="4760704"/>
                  <a:pt x="940968" y="4759818"/>
                </a:cubicBezTo>
                <a:close/>
                <a:moveTo>
                  <a:pt x="5314915" y="4755170"/>
                </a:moveTo>
                <a:cubicBezTo>
                  <a:pt x="5318822" y="4757383"/>
                  <a:pt x="5322429" y="4759486"/>
                  <a:pt x="5326038" y="4761589"/>
                </a:cubicBezTo>
                <a:cubicBezTo>
                  <a:pt x="5323332" y="4763913"/>
                  <a:pt x="5322429" y="4767233"/>
                  <a:pt x="5321227" y="4769225"/>
                </a:cubicBezTo>
                <a:cubicBezTo>
                  <a:pt x="5316417" y="4770443"/>
                  <a:pt x="5313111" y="4769889"/>
                  <a:pt x="5309203" y="4766237"/>
                </a:cubicBezTo>
                <a:cubicBezTo>
                  <a:pt x="5311006" y="4759486"/>
                  <a:pt x="5309804" y="4761368"/>
                  <a:pt x="5314915" y="4755170"/>
                </a:cubicBezTo>
                <a:close/>
                <a:moveTo>
                  <a:pt x="4059246" y="4755170"/>
                </a:moveTo>
                <a:cubicBezTo>
                  <a:pt x="4063155" y="4757383"/>
                  <a:pt x="4066762" y="4759486"/>
                  <a:pt x="4070669" y="4761589"/>
                </a:cubicBezTo>
                <a:cubicBezTo>
                  <a:pt x="4067663" y="4763913"/>
                  <a:pt x="4066762" y="4767233"/>
                  <a:pt x="4065560" y="4769225"/>
                </a:cubicBezTo>
                <a:cubicBezTo>
                  <a:pt x="4060750" y="4770443"/>
                  <a:pt x="4057443" y="4769889"/>
                  <a:pt x="4053534" y="4766237"/>
                </a:cubicBezTo>
                <a:cubicBezTo>
                  <a:pt x="4055338" y="4759486"/>
                  <a:pt x="4054135" y="4761368"/>
                  <a:pt x="4059246" y="4755170"/>
                </a:cubicBezTo>
                <a:close/>
                <a:moveTo>
                  <a:pt x="2550460" y="4755170"/>
                </a:moveTo>
                <a:cubicBezTo>
                  <a:pt x="2554068" y="4757383"/>
                  <a:pt x="2557675" y="4759486"/>
                  <a:pt x="2561583" y="4761589"/>
                </a:cubicBezTo>
                <a:cubicBezTo>
                  <a:pt x="2558577" y="4763913"/>
                  <a:pt x="2557675" y="4767233"/>
                  <a:pt x="2556473" y="4769225"/>
                </a:cubicBezTo>
                <a:cubicBezTo>
                  <a:pt x="2551964" y="4770443"/>
                  <a:pt x="2548357" y="4769889"/>
                  <a:pt x="2544448" y="4766237"/>
                </a:cubicBezTo>
                <a:cubicBezTo>
                  <a:pt x="2546252" y="4759486"/>
                  <a:pt x="2545049" y="4761368"/>
                  <a:pt x="2550460" y="4755170"/>
                </a:cubicBezTo>
                <a:close/>
                <a:moveTo>
                  <a:pt x="1521155" y="4755170"/>
                </a:moveTo>
                <a:cubicBezTo>
                  <a:pt x="1525063" y="4757383"/>
                  <a:pt x="1528670" y="4759486"/>
                  <a:pt x="1532277" y="4761589"/>
                </a:cubicBezTo>
                <a:cubicBezTo>
                  <a:pt x="1529573" y="4763913"/>
                  <a:pt x="1528670" y="4767233"/>
                  <a:pt x="1527468" y="4769225"/>
                </a:cubicBezTo>
                <a:cubicBezTo>
                  <a:pt x="1522959" y="4770443"/>
                  <a:pt x="1519352" y="4769889"/>
                  <a:pt x="1515443" y="4766237"/>
                </a:cubicBezTo>
                <a:cubicBezTo>
                  <a:pt x="1517247" y="4759486"/>
                  <a:pt x="1516045" y="4761368"/>
                  <a:pt x="1521155" y="4755170"/>
                </a:cubicBezTo>
                <a:close/>
                <a:moveTo>
                  <a:pt x="5102380" y="4754838"/>
                </a:moveTo>
                <a:cubicBezTo>
                  <a:pt x="5104785" y="4754506"/>
                  <a:pt x="5107190" y="4755170"/>
                  <a:pt x="5109595" y="4756941"/>
                </a:cubicBezTo>
                <a:cubicBezTo>
                  <a:pt x="5111097" y="4760040"/>
                  <a:pt x="5109294" y="4762917"/>
                  <a:pt x="5107490" y="4765684"/>
                </a:cubicBezTo>
                <a:cubicBezTo>
                  <a:pt x="5105987" y="4767787"/>
                  <a:pt x="5104484" y="4768340"/>
                  <a:pt x="5102681" y="4767897"/>
                </a:cubicBezTo>
                <a:cubicBezTo>
                  <a:pt x="5101177" y="4767565"/>
                  <a:pt x="5099374" y="4766348"/>
                  <a:pt x="5097871" y="4764688"/>
                </a:cubicBezTo>
                <a:cubicBezTo>
                  <a:pt x="5094864" y="4761368"/>
                  <a:pt x="5096368" y="4758490"/>
                  <a:pt x="5096368" y="4758490"/>
                </a:cubicBezTo>
                <a:cubicBezTo>
                  <a:pt x="5098172" y="4756387"/>
                  <a:pt x="5100275" y="4755170"/>
                  <a:pt x="5102380" y="4754838"/>
                </a:cubicBezTo>
                <a:close/>
                <a:moveTo>
                  <a:pt x="2337926" y="4754838"/>
                </a:moveTo>
                <a:cubicBezTo>
                  <a:pt x="2340331" y="4754506"/>
                  <a:pt x="2342434" y="4755170"/>
                  <a:pt x="2344839" y="4756941"/>
                </a:cubicBezTo>
                <a:cubicBezTo>
                  <a:pt x="2346643" y="4760040"/>
                  <a:pt x="2344839" y="4762917"/>
                  <a:pt x="2343036" y="4765684"/>
                </a:cubicBezTo>
                <a:cubicBezTo>
                  <a:pt x="2341533" y="4767787"/>
                  <a:pt x="2339729" y="4768340"/>
                  <a:pt x="2338226" y="4767897"/>
                </a:cubicBezTo>
                <a:cubicBezTo>
                  <a:pt x="2336422" y="4767565"/>
                  <a:pt x="2334920" y="4766348"/>
                  <a:pt x="2333416" y="4764688"/>
                </a:cubicBezTo>
                <a:cubicBezTo>
                  <a:pt x="2330410" y="4761368"/>
                  <a:pt x="2331914" y="4758490"/>
                  <a:pt x="2331914" y="4758490"/>
                </a:cubicBezTo>
                <a:cubicBezTo>
                  <a:pt x="2333717" y="4756387"/>
                  <a:pt x="2335821" y="4755170"/>
                  <a:pt x="2337926" y="4754838"/>
                </a:cubicBezTo>
                <a:close/>
                <a:moveTo>
                  <a:pt x="1308921" y="4754838"/>
                </a:moveTo>
                <a:cubicBezTo>
                  <a:pt x="1311026" y="4754506"/>
                  <a:pt x="1313431" y="4755170"/>
                  <a:pt x="1315835" y="4756941"/>
                </a:cubicBezTo>
                <a:cubicBezTo>
                  <a:pt x="1317338" y="4760040"/>
                  <a:pt x="1315835" y="4762917"/>
                  <a:pt x="1314032" y="4765684"/>
                </a:cubicBezTo>
                <a:cubicBezTo>
                  <a:pt x="1312228" y="4767787"/>
                  <a:pt x="1310725" y="4768340"/>
                  <a:pt x="1308921" y="4767897"/>
                </a:cubicBezTo>
                <a:cubicBezTo>
                  <a:pt x="1307418" y="4767565"/>
                  <a:pt x="1305915" y="4766348"/>
                  <a:pt x="1304411" y="4764688"/>
                </a:cubicBezTo>
                <a:cubicBezTo>
                  <a:pt x="1301105" y="4761368"/>
                  <a:pt x="1302909" y="4758490"/>
                  <a:pt x="1302909" y="4758490"/>
                </a:cubicBezTo>
                <a:cubicBezTo>
                  <a:pt x="1304411" y="4756387"/>
                  <a:pt x="1306516" y="4755170"/>
                  <a:pt x="1308921" y="4754838"/>
                </a:cubicBezTo>
                <a:close/>
                <a:moveTo>
                  <a:pt x="5306196" y="4750632"/>
                </a:moveTo>
                <a:cubicBezTo>
                  <a:pt x="5308302" y="4750964"/>
                  <a:pt x="5310706" y="4751850"/>
                  <a:pt x="5312510" y="4752071"/>
                </a:cubicBezTo>
                <a:cubicBezTo>
                  <a:pt x="5311307" y="4753953"/>
                  <a:pt x="5310105" y="4755945"/>
                  <a:pt x="5311607" y="4755391"/>
                </a:cubicBezTo>
                <a:cubicBezTo>
                  <a:pt x="5310405" y="4757383"/>
                  <a:pt x="5309203" y="4758601"/>
                  <a:pt x="5307700" y="4759265"/>
                </a:cubicBezTo>
                <a:cubicBezTo>
                  <a:pt x="5306196" y="4759929"/>
                  <a:pt x="5304694" y="4760150"/>
                  <a:pt x="5302891" y="4759929"/>
                </a:cubicBezTo>
                <a:cubicBezTo>
                  <a:pt x="5300785" y="4759044"/>
                  <a:pt x="5299883" y="4756166"/>
                  <a:pt x="5300484" y="4751407"/>
                </a:cubicBezTo>
                <a:cubicBezTo>
                  <a:pt x="5301688" y="4750190"/>
                  <a:pt x="5303792" y="4750190"/>
                  <a:pt x="5306196" y="4750632"/>
                </a:cubicBezTo>
                <a:close/>
                <a:moveTo>
                  <a:pt x="4050528" y="4750632"/>
                </a:moveTo>
                <a:cubicBezTo>
                  <a:pt x="4052633" y="4750964"/>
                  <a:pt x="4055038" y="4751850"/>
                  <a:pt x="4056841" y="4752071"/>
                </a:cubicBezTo>
                <a:cubicBezTo>
                  <a:pt x="4055639" y="4753953"/>
                  <a:pt x="4054437" y="4755945"/>
                  <a:pt x="4055939" y="4755391"/>
                </a:cubicBezTo>
                <a:cubicBezTo>
                  <a:pt x="4055038" y="4757383"/>
                  <a:pt x="4053534" y="4758601"/>
                  <a:pt x="4052032" y="4759265"/>
                </a:cubicBezTo>
                <a:cubicBezTo>
                  <a:pt x="4050528" y="4759929"/>
                  <a:pt x="4049026" y="4760150"/>
                  <a:pt x="4047222" y="4759929"/>
                </a:cubicBezTo>
                <a:cubicBezTo>
                  <a:pt x="4045418" y="4759044"/>
                  <a:pt x="4044516" y="4756166"/>
                  <a:pt x="4044817" y="4751407"/>
                </a:cubicBezTo>
                <a:cubicBezTo>
                  <a:pt x="4046320" y="4750190"/>
                  <a:pt x="4048424" y="4750190"/>
                  <a:pt x="4050528" y="4750632"/>
                </a:cubicBezTo>
                <a:close/>
                <a:moveTo>
                  <a:pt x="2541442" y="4750632"/>
                </a:moveTo>
                <a:cubicBezTo>
                  <a:pt x="2543847" y="4750964"/>
                  <a:pt x="2546252" y="4751850"/>
                  <a:pt x="2547754" y="4752071"/>
                </a:cubicBezTo>
                <a:cubicBezTo>
                  <a:pt x="2546853" y="4753953"/>
                  <a:pt x="2545651" y="4755945"/>
                  <a:pt x="2547154" y="4755391"/>
                </a:cubicBezTo>
                <a:cubicBezTo>
                  <a:pt x="2545952" y="4757383"/>
                  <a:pt x="2544748" y="4758601"/>
                  <a:pt x="2543246" y="4759265"/>
                </a:cubicBezTo>
                <a:cubicBezTo>
                  <a:pt x="2541742" y="4759929"/>
                  <a:pt x="2539939" y="4760150"/>
                  <a:pt x="2538436" y="4759929"/>
                </a:cubicBezTo>
                <a:cubicBezTo>
                  <a:pt x="2536331" y="4759044"/>
                  <a:pt x="2535430" y="4756166"/>
                  <a:pt x="2535730" y="4751407"/>
                </a:cubicBezTo>
                <a:cubicBezTo>
                  <a:pt x="2537234" y="4750190"/>
                  <a:pt x="2539337" y="4750190"/>
                  <a:pt x="2541442" y="4750632"/>
                </a:cubicBezTo>
                <a:close/>
                <a:moveTo>
                  <a:pt x="1512437" y="4750632"/>
                </a:moveTo>
                <a:cubicBezTo>
                  <a:pt x="1514542" y="4750964"/>
                  <a:pt x="1516947" y="4751850"/>
                  <a:pt x="1518751" y="4752071"/>
                </a:cubicBezTo>
                <a:cubicBezTo>
                  <a:pt x="1517548" y="4753953"/>
                  <a:pt x="1516346" y="4755945"/>
                  <a:pt x="1518149" y="4755391"/>
                </a:cubicBezTo>
                <a:cubicBezTo>
                  <a:pt x="1516947" y="4757383"/>
                  <a:pt x="1515443" y="4758601"/>
                  <a:pt x="1514241" y="4759265"/>
                </a:cubicBezTo>
                <a:cubicBezTo>
                  <a:pt x="1512738" y="4759929"/>
                  <a:pt x="1510934" y="4760150"/>
                  <a:pt x="1509131" y="4759929"/>
                </a:cubicBezTo>
                <a:cubicBezTo>
                  <a:pt x="1507326" y="4759044"/>
                  <a:pt x="1506425" y="4756166"/>
                  <a:pt x="1506725" y="4751407"/>
                </a:cubicBezTo>
                <a:cubicBezTo>
                  <a:pt x="1507929" y="4750190"/>
                  <a:pt x="1510032" y="4750190"/>
                  <a:pt x="1512437" y="4750632"/>
                </a:cubicBezTo>
                <a:close/>
                <a:moveTo>
                  <a:pt x="4886539" y="4749747"/>
                </a:moveTo>
                <a:cubicBezTo>
                  <a:pt x="4886539" y="4749747"/>
                  <a:pt x="4886840" y="4751297"/>
                  <a:pt x="4886840" y="4751297"/>
                </a:cubicBezTo>
                <a:cubicBezTo>
                  <a:pt x="4885336" y="4751739"/>
                  <a:pt x="4886840" y="4751186"/>
                  <a:pt x="4888943" y="4752182"/>
                </a:cubicBezTo>
                <a:cubicBezTo>
                  <a:pt x="4888042" y="4755613"/>
                  <a:pt x="4888643" y="4757051"/>
                  <a:pt x="4887441" y="4759044"/>
                </a:cubicBezTo>
                <a:cubicBezTo>
                  <a:pt x="4886840" y="4760040"/>
                  <a:pt x="4885937" y="4761146"/>
                  <a:pt x="4884734" y="4761810"/>
                </a:cubicBezTo>
                <a:cubicBezTo>
                  <a:pt x="4883832" y="4762585"/>
                  <a:pt x="4882630" y="4763028"/>
                  <a:pt x="4881729" y="4762585"/>
                </a:cubicBezTo>
                <a:cubicBezTo>
                  <a:pt x="4881428" y="4761036"/>
                  <a:pt x="4879624" y="4761589"/>
                  <a:pt x="4879323" y="4760150"/>
                </a:cubicBezTo>
                <a:cubicBezTo>
                  <a:pt x="4876919" y="4757826"/>
                  <a:pt x="4876618" y="4756387"/>
                  <a:pt x="4877820" y="4754395"/>
                </a:cubicBezTo>
                <a:cubicBezTo>
                  <a:pt x="4877219" y="4752957"/>
                  <a:pt x="4878722" y="4752403"/>
                  <a:pt x="4879925" y="4750522"/>
                </a:cubicBezTo>
                <a:cubicBezTo>
                  <a:pt x="4881428" y="4749968"/>
                  <a:pt x="4883532" y="4750854"/>
                  <a:pt x="4883532" y="4750854"/>
                </a:cubicBezTo>
                <a:cubicBezTo>
                  <a:pt x="4885336" y="4751739"/>
                  <a:pt x="4885336" y="4751739"/>
                  <a:pt x="4886539" y="4749747"/>
                </a:cubicBezTo>
                <a:close/>
                <a:moveTo>
                  <a:pt x="2122084" y="4749747"/>
                </a:moveTo>
                <a:cubicBezTo>
                  <a:pt x="2122084" y="4749747"/>
                  <a:pt x="2122385" y="4751297"/>
                  <a:pt x="2122385" y="4751297"/>
                </a:cubicBezTo>
                <a:cubicBezTo>
                  <a:pt x="2120882" y="4751739"/>
                  <a:pt x="2122385" y="4751186"/>
                  <a:pt x="2124489" y="4752182"/>
                </a:cubicBezTo>
                <a:cubicBezTo>
                  <a:pt x="2123588" y="4755613"/>
                  <a:pt x="2124189" y="4757051"/>
                  <a:pt x="2122986" y="4759044"/>
                </a:cubicBezTo>
                <a:cubicBezTo>
                  <a:pt x="2122385" y="4760040"/>
                  <a:pt x="2121483" y="4761146"/>
                  <a:pt x="2120280" y="4761810"/>
                </a:cubicBezTo>
                <a:cubicBezTo>
                  <a:pt x="2119379" y="4762585"/>
                  <a:pt x="2118177" y="4763028"/>
                  <a:pt x="2117274" y="4762585"/>
                </a:cubicBezTo>
                <a:cubicBezTo>
                  <a:pt x="2116673" y="4761036"/>
                  <a:pt x="2115171" y="4761589"/>
                  <a:pt x="2114869" y="4760150"/>
                </a:cubicBezTo>
                <a:cubicBezTo>
                  <a:pt x="2112465" y="4757826"/>
                  <a:pt x="2112165" y="4756387"/>
                  <a:pt x="2113367" y="4754395"/>
                </a:cubicBezTo>
                <a:cubicBezTo>
                  <a:pt x="2112765" y="4752957"/>
                  <a:pt x="2114268" y="4752403"/>
                  <a:pt x="2115471" y="4750522"/>
                </a:cubicBezTo>
                <a:cubicBezTo>
                  <a:pt x="2116974" y="4749968"/>
                  <a:pt x="2118778" y="4750854"/>
                  <a:pt x="2118778" y="4750854"/>
                </a:cubicBezTo>
                <a:cubicBezTo>
                  <a:pt x="2120882" y="4751739"/>
                  <a:pt x="2120882" y="4751739"/>
                  <a:pt x="2122084" y="4749747"/>
                </a:cubicBezTo>
                <a:close/>
                <a:moveTo>
                  <a:pt x="1093079" y="4749747"/>
                </a:moveTo>
                <a:cubicBezTo>
                  <a:pt x="1093079" y="4749747"/>
                  <a:pt x="1093380" y="4751297"/>
                  <a:pt x="1093380" y="4751297"/>
                </a:cubicBezTo>
                <a:cubicBezTo>
                  <a:pt x="1091877" y="4751739"/>
                  <a:pt x="1093380" y="4751186"/>
                  <a:pt x="1095184" y="4752182"/>
                </a:cubicBezTo>
                <a:cubicBezTo>
                  <a:pt x="1094583" y="4755613"/>
                  <a:pt x="1094883" y="4757051"/>
                  <a:pt x="1093680" y="4759044"/>
                </a:cubicBezTo>
                <a:cubicBezTo>
                  <a:pt x="1093380" y="4760040"/>
                  <a:pt x="1092178" y="4761146"/>
                  <a:pt x="1091276" y="4761810"/>
                </a:cubicBezTo>
                <a:cubicBezTo>
                  <a:pt x="1090073" y="4762585"/>
                  <a:pt x="1088871" y="4763028"/>
                  <a:pt x="1087969" y="4762585"/>
                </a:cubicBezTo>
                <a:cubicBezTo>
                  <a:pt x="1087668" y="4761036"/>
                  <a:pt x="1086166" y="4761589"/>
                  <a:pt x="1085564" y="4760150"/>
                </a:cubicBezTo>
                <a:cubicBezTo>
                  <a:pt x="1083460" y="4757826"/>
                  <a:pt x="1082859" y="4756387"/>
                  <a:pt x="1084061" y="4754395"/>
                </a:cubicBezTo>
                <a:cubicBezTo>
                  <a:pt x="1083761" y="4752957"/>
                  <a:pt x="1085263" y="4752403"/>
                  <a:pt x="1086466" y="4750522"/>
                </a:cubicBezTo>
                <a:cubicBezTo>
                  <a:pt x="1087969" y="4749968"/>
                  <a:pt x="1089773" y="4750854"/>
                  <a:pt x="1089773" y="4750854"/>
                </a:cubicBezTo>
                <a:cubicBezTo>
                  <a:pt x="1091577" y="4751739"/>
                  <a:pt x="1091877" y="4751739"/>
                  <a:pt x="1093079" y="4749747"/>
                </a:cubicBezTo>
                <a:close/>
                <a:moveTo>
                  <a:pt x="4748256" y="4748751"/>
                </a:moveTo>
                <a:cubicBezTo>
                  <a:pt x="4755771" y="4751629"/>
                  <a:pt x="4757274" y="4756055"/>
                  <a:pt x="4756372" y="4762585"/>
                </a:cubicBezTo>
                <a:cubicBezTo>
                  <a:pt x="4752164" y="4763581"/>
                  <a:pt x="4744648" y="4760704"/>
                  <a:pt x="4743145" y="4756277"/>
                </a:cubicBezTo>
                <a:cubicBezTo>
                  <a:pt x="4744648" y="4751297"/>
                  <a:pt x="4747956" y="4752071"/>
                  <a:pt x="4748256" y="4748751"/>
                </a:cubicBezTo>
                <a:close/>
                <a:moveTo>
                  <a:pt x="1983801" y="4748751"/>
                </a:moveTo>
                <a:cubicBezTo>
                  <a:pt x="1991317" y="4751629"/>
                  <a:pt x="1992819" y="4756055"/>
                  <a:pt x="1991918" y="4762585"/>
                </a:cubicBezTo>
                <a:cubicBezTo>
                  <a:pt x="1987710" y="4763581"/>
                  <a:pt x="1980194" y="4760704"/>
                  <a:pt x="1978691" y="4756277"/>
                </a:cubicBezTo>
                <a:cubicBezTo>
                  <a:pt x="1979894" y="4751297"/>
                  <a:pt x="1983501" y="4752071"/>
                  <a:pt x="1983801" y="4748751"/>
                </a:cubicBezTo>
                <a:close/>
                <a:moveTo>
                  <a:pt x="954796" y="4748751"/>
                </a:moveTo>
                <a:cubicBezTo>
                  <a:pt x="962012" y="4751629"/>
                  <a:pt x="963816" y="4756055"/>
                  <a:pt x="962913" y="4762585"/>
                </a:cubicBezTo>
                <a:cubicBezTo>
                  <a:pt x="958404" y="4763581"/>
                  <a:pt x="951189" y="4760704"/>
                  <a:pt x="949687" y="4756277"/>
                </a:cubicBezTo>
                <a:cubicBezTo>
                  <a:pt x="950889" y="4751297"/>
                  <a:pt x="954195" y="4752071"/>
                  <a:pt x="954796" y="4748751"/>
                </a:cubicBezTo>
                <a:close/>
                <a:moveTo>
                  <a:pt x="5352191" y="4748530"/>
                </a:moveTo>
                <a:cubicBezTo>
                  <a:pt x="5353995" y="4749526"/>
                  <a:pt x="5355197" y="4750411"/>
                  <a:pt x="5356098" y="4751518"/>
                </a:cubicBezTo>
                <a:cubicBezTo>
                  <a:pt x="5358204" y="4754506"/>
                  <a:pt x="5356399" y="4757937"/>
                  <a:pt x="5354596" y="4761257"/>
                </a:cubicBezTo>
                <a:cubicBezTo>
                  <a:pt x="5350387" y="4757826"/>
                  <a:pt x="5346179" y="4763802"/>
                  <a:pt x="5344074" y="4757383"/>
                </a:cubicBezTo>
                <a:cubicBezTo>
                  <a:pt x="5344675" y="4754285"/>
                  <a:pt x="5346780" y="4751297"/>
                  <a:pt x="5352191" y="4748530"/>
                </a:cubicBezTo>
                <a:close/>
                <a:moveTo>
                  <a:pt x="4096522" y="4748530"/>
                </a:moveTo>
                <a:cubicBezTo>
                  <a:pt x="4098326" y="4749526"/>
                  <a:pt x="4099529" y="4750411"/>
                  <a:pt x="4100430" y="4751518"/>
                </a:cubicBezTo>
                <a:cubicBezTo>
                  <a:pt x="4102835" y="4754506"/>
                  <a:pt x="4101031" y="4757937"/>
                  <a:pt x="4099228" y="4761257"/>
                </a:cubicBezTo>
                <a:cubicBezTo>
                  <a:pt x="4095019" y="4757826"/>
                  <a:pt x="4090510" y="4763802"/>
                  <a:pt x="4088707" y="4757383"/>
                </a:cubicBezTo>
                <a:cubicBezTo>
                  <a:pt x="4089007" y="4754285"/>
                  <a:pt x="4091412" y="4751297"/>
                  <a:pt x="4096522" y="4748530"/>
                </a:cubicBezTo>
                <a:close/>
                <a:moveTo>
                  <a:pt x="2587737" y="4748530"/>
                </a:moveTo>
                <a:cubicBezTo>
                  <a:pt x="2589541" y="4749526"/>
                  <a:pt x="2590743" y="4750411"/>
                  <a:pt x="2591344" y="4751518"/>
                </a:cubicBezTo>
                <a:cubicBezTo>
                  <a:pt x="2593749" y="4754506"/>
                  <a:pt x="2591945" y="4757937"/>
                  <a:pt x="2590142" y="4761257"/>
                </a:cubicBezTo>
                <a:cubicBezTo>
                  <a:pt x="2585933" y="4757826"/>
                  <a:pt x="2581725" y="4763802"/>
                  <a:pt x="2579620" y="4757383"/>
                </a:cubicBezTo>
                <a:cubicBezTo>
                  <a:pt x="2580221" y="4754285"/>
                  <a:pt x="2582326" y="4751297"/>
                  <a:pt x="2587737" y="4748530"/>
                </a:cubicBezTo>
                <a:close/>
                <a:moveTo>
                  <a:pt x="1558431" y="4748530"/>
                </a:moveTo>
                <a:cubicBezTo>
                  <a:pt x="1560236" y="4749526"/>
                  <a:pt x="1561438" y="4750411"/>
                  <a:pt x="1562339" y="4751518"/>
                </a:cubicBezTo>
                <a:cubicBezTo>
                  <a:pt x="1564744" y="4754506"/>
                  <a:pt x="1562941" y="4757937"/>
                  <a:pt x="1560837" y="4761257"/>
                </a:cubicBezTo>
                <a:cubicBezTo>
                  <a:pt x="1556928" y="4757826"/>
                  <a:pt x="1552419" y="4763802"/>
                  <a:pt x="1550315" y="4757383"/>
                </a:cubicBezTo>
                <a:cubicBezTo>
                  <a:pt x="1550916" y="4754285"/>
                  <a:pt x="1553321" y="4751297"/>
                  <a:pt x="1558431" y="4748530"/>
                </a:cubicBezTo>
                <a:close/>
                <a:moveTo>
                  <a:pt x="5585167" y="4748198"/>
                </a:moveTo>
                <a:cubicBezTo>
                  <a:pt x="5591781" y="4749194"/>
                  <a:pt x="5598394" y="4750079"/>
                  <a:pt x="5601701" y="4753731"/>
                </a:cubicBezTo>
                <a:cubicBezTo>
                  <a:pt x="5601401" y="4757937"/>
                  <a:pt x="5599897" y="4761478"/>
                  <a:pt x="5597493" y="4763913"/>
                </a:cubicBezTo>
                <a:cubicBezTo>
                  <a:pt x="5594786" y="4766348"/>
                  <a:pt x="5591180" y="4767676"/>
                  <a:pt x="5586070" y="4767455"/>
                </a:cubicBezTo>
                <a:cubicBezTo>
                  <a:pt x="5579756" y="4762364"/>
                  <a:pt x="5583664" y="4753289"/>
                  <a:pt x="5585167" y="4748198"/>
                </a:cubicBezTo>
                <a:close/>
                <a:moveTo>
                  <a:pt x="4329800" y="4748198"/>
                </a:moveTo>
                <a:cubicBezTo>
                  <a:pt x="4336413" y="4749194"/>
                  <a:pt x="4343027" y="4750079"/>
                  <a:pt x="4346032" y="4753731"/>
                </a:cubicBezTo>
                <a:cubicBezTo>
                  <a:pt x="4345732" y="4757937"/>
                  <a:pt x="4344229" y="4761478"/>
                  <a:pt x="4341824" y="4763913"/>
                </a:cubicBezTo>
                <a:cubicBezTo>
                  <a:pt x="4339119" y="4766348"/>
                  <a:pt x="4335512" y="4767676"/>
                  <a:pt x="4330401" y="4767455"/>
                </a:cubicBezTo>
                <a:cubicBezTo>
                  <a:pt x="4324087" y="4762364"/>
                  <a:pt x="4328296" y="4753289"/>
                  <a:pt x="4329800" y="4748198"/>
                </a:cubicBezTo>
                <a:close/>
                <a:moveTo>
                  <a:pt x="2820714" y="4748198"/>
                </a:moveTo>
                <a:cubicBezTo>
                  <a:pt x="2827326" y="4749194"/>
                  <a:pt x="2833941" y="4750079"/>
                  <a:pt x="2836947" y="4753731"/>
                </a:cubicBezTo>
                <a:cubicBezTo>
                  <a:pt x="2836646" y="4757937"/>
                  <a:pt x="2835443" y="4761478"/>
                  <a:pt x="2833038" y="4763913"/>
                </a:cubicBezTo>
                <a:cubicBezTo>
                  <a:pt x="2830333" y="4766348"/>
                  <a:pt x="2826425" y="4767676"/>
                  <a:pt x="2821615" y="4767455"/>
                </a:cubicBezTo>
                <a:cubicBezTo>
                  <a:pt x="2815002" y="4762364"/>
                  <a:pt x="2819210" y="4753289"/>
                  <a:pt x="2820714" y="4748198"/>
                </a:cubicBezTo>
                <a:close/>
                <a:moveTo>
                  <a:pt x="1791408" y="4748198"/>
                </a:moveTo>
                <a:cubicBezTo>
                  <a:pt x="1798322" y="4749194"/>
                  <a:pt x="1804936" y="4750079"/>
                  <a:pt x="1807942" y="4753731"/>
                </a:cubicBezTo>
                <a:cubicBezTo>
                  <a:pt x="1807642" y="4757937"/>
                  <a:pt x="1806438" y="4761478"/>
                  <a:pt x="1803733" y="4763913"/>
                </a:cubicBezTo>
                <a:cubicBezTo>
                  <a:pt x="1801328" y="4766348"/>
                  <a:pt x="1797420" y="4767676"/>
                  <a:pt x="1792310" y="4767455"/>
                </a:cubicBezTo>
                <a:cubicBezTo>
                  <a:pt x="1785997" y="4762364"/>
                  <a:pt x="1789904" y="4753289"/>
                  <a:pt x="1791408" y="4748198"/>
                </a:cubicBezTo>
                <a:close/>
                <a:moveTo>
                  <a:pt x="5800408" y="4745320"/>
                </a:moveTo>
                <a:cubicBezTo>
                  <a:pt x="5803414" y="4747312"/>
                  <a:pt x="5804916" y="4747644"/>
                  <a:pt x="5806420" y="4749304"/>
                </a:cubicBezTo>
                <a:cubicBezTo>
                  <a:pt x="5807321" y="4750190"/>
                  <a:pt x="5807924" y="4751407"/>
                  <a:pt x="5808224" y="4752625"/>
                </a:cubicBezTo>
                <a:cubicBezTo>
                  <a:pt x="5808525" y="4753842"/>
                  <a:pt x="5808525" y="4754949"/>
                  <a:pt x="5807623" y="4755502"/>
                </a:cubicBezTo>
                <a:cubicBezTo>
                  <a:pt x="5806119" y="4755281"/>
                  <a:pt x="5805818" y="4756830"/>
                  <a:pt x="5804315" y="4756609"/>
                </a:cubicBezTo>
                <a:cubicBezTo>
                  <a:pt x="5801009" y="4757605"/>
                  <a:pt x="5799505" y="4757273"/>
                  <a:pt x="5798003" y="4755502"/>
                </a:cubicBezTo>
                <a:cubicBezTo>
                  <a:pt x="5796500" y="4755281"/>
                  <a:pt x="5796500" y="4753731"/>
                  <a:pt x="5794997" y="4752071"/>
                </a:cubicBezTo>
                <a:cubicBezTo>
                  <a:pt x="5794997" y="4750522"/>
                  <a:pt x="5796801" y="4749304"/>
                  <a:pt x="5796801" y="4749304"/>
                </a:cubicBezTo>
                <a:cubicBezTo>
                  <a:pt x="5798604" y="4748087"/>
                  <a:pt x="5798604" y="4748087"/>
                  <a:pt x="5797101" y="4746316"/>
                </a:cubicBezTo>
                <a:cubicBezTo>
                  <a:pt x="5797101" y="4746316"/>
                  <a:pt x="5798604" y="4746648"/>
                  <a:pt x="5798604" y="4746648"/>
                </a:cubicBezTo>
                <a:cubicBezTo>
                  <a:pt x="5798604" y="4748087"/>
                  <a:pt x="5798604" y="4746538"/>
                  <a:pt x="5800408" y="4745320"/>
                </a:cubicBezTo>
                <a:close/>
                <a:moveTo>
                  <a:pt x="4544739" y="4745320"/>
                </a:moveTo>
                <a:cubicBezTo>
                  <a:pt x="4547745" y="4747312"/>
                  <a:pt x="4549549" y="4747644"/>
                  <a:pt x="4551052" y="4749304"/>
                </a:cubicBezTo>
                <a:cubicBezTo>
                  <a:pt x="4551654" y="4750190"/>
                  <a:pt x="4552255" y="4751407"/>
                  <a:pt x="4552555" y="4752625"/>
                </a:cubicBezTo>
                <a:cubicBezTo>
                  <a:pt x="4553156" y="4753842"/>
                  <a:pt x="4552856" y="4754949"/>
                  <a:pt x="4551954" y="4755502"/>
                </a:cubicBezTo>
                <a:cubicBezTo>
                  <a:pt x="4550451" y="4755281"/>
                  <a:pt x="4550451" y="4756830"/>
                  <a:pt x="4548648" y="4756609"/>
                </a:cubicBezTo>
                <a:cubicBezTo>
                  <a:pt x="4545340" y="4757605"/>
                  <a:pt x="4543838" y="4757273"/>
                  <a:pt x="4542334" y="4755502"/>
                </a:cubicBezTo>
                <a:cubicBezTo>
                  <a:pt x="4540832" y="4755281"/>
                  <a:pt x="4540832" y="4753731"/>
                  <a:pt x="4539328" y="4752071"/>
                </a:cubicBezTo>
                <a:cubicBezTo>
                  <a:pt x="4539629" y="4750522"/>
                  <a:pt x="4541433" y="4749304"/>
                  <a:pt x="4541433" y="4749304"/>
                </a:cubicBezTo>
                <a:cubicBezTo>
                  <a:pt x="4542936" y="4748087"/>
                  <a:pt x="4542936" y="4748087"/>
                  <a:pt x="4541433" y="4746316"/>
                </a:cubicBezTo>
                <a:cubicBezTo>
                  <a:pt x="4541433" y="4746316"/>
                  <a:pt x="4542936" y="4746648"/>
                  <a:pt x="4542936" y="4746648"/>
                </a:cubicBezTo>
                <a:cubicBezTo>
                  <a:pt x="4542936" y="4748087"/>
                  <a:pt x="4542936" y="4746538"/>
                  <a:pt x="4544739" y="4745320"/>
                </a:cubicBezTo>
                <a:close/>
                <a:moveTo>
                  <a:pt x="3035652" y="4745320"/>
                </a:moveTo>
                <a:cubicBezTo>
                  <a:pt x="3038960" y="4747312"/>
                  <a:pt x="3040462" y="4747644"/>
                  <a:pt x="3041966" y="4749304"/>
                </a:cubicBezTo>
                <a:cubicBezTo>
                  <a:pt x="3042567" y="4750190"/>
                  <a:pt x="3043469" y="4751407"/>
                  <a:pt x="3043769" y="4752625"/>
                </a:cubicBezTo>
                <a:cubicBezTo>
                  <a:pt x="3044070" y="4753842"/>
                  <a:pt x="3044070" y="4754949"/>
                  <a:pt x="3043168" y="4755502"/>
                </a:cubicBezTo>
                <a:cubicBezTo>
                  <a:pt x="3041664" y="4755281"/>
                  <a:pt x="3041364" y="4756830"/>
                  <a:pt x="3039862" y="4756609"/>
                </a:cubicBezTo>
                <a:cubicBezTo>
                  <a:pt x="3036555" y="4757605"/>
                  <a:pt x="3034751" y="4757273"/>
                  <a:pt x="3033247" y="4755502"/>
                </a:cubicBezTo>
                <a:cubicBezTo>
                  <a:pt x="3031745" y="4755281"/>
                  <a:pt x="3031745" y="4753731"/>
                  <a:pt x="3030241" y="4752071"/>
                </a:cubicBezTo>
                <a:cubicBezTo>
                  <a:pt x="3030542" y="4750522"/>
                  <a:pt x="3032346" y="4749304"/>
                  <a:pt x="3032346" y="4749304"/>
                </a:cubicBezTo>
                <a:cubicBezTo>
                  <a:pt x="3033850" y="4748087"/>
                  <a:pt x="3033850" y="4748087"/>
                  <a:pt x="3032346" y="4746316"/>
                </a:cubicBezTo>
                <a:cubicBezTo>
                  <a:pt x="3032346" y="4746316"/>
                  <a:pt x="3034150" y="4746648"/>
                  <a:pt x="3034150" y="4746648"/>
                </a:cubicBezTo>
                <a:cubicBezTo>
                  <a:pt x="3033850" y="4748087"/>
                  <a:pt x="3034150" y="4746538"/>
                  <a:pt x="3035652" y="4745320"/>
                </a:cubicBezTo>
                <a:close/>
                <a:moveTo>
                  <a:pt x="2006648" y="4745320"/>
                </a:moveTo>
                <a:cubicBezTo>
                  <a:pt x="2009655" y="4747312"/>
                  <a:pt x="2011458" y="4747644"/>
                  <a:pt x="2012961" y="4749304"/>
                </a:cubicBezTo>
                <a:cubicBezTo>
                  <a:pt x="2013562" y="4750190"/>
                  <a:pt x="2014464" y="4751407"/>
                  <a:pt x="2014764" y="4752625"/>
                </a:cubicBezTo>
                <a:cubicBezTo>
                  <a:pt x="2015066" y="4753842"/>
                  <a:pt x="2014764" y="4754949"/>
                  <a:pt x="2014163" y="4755502"/>
                </a:cubicBezTo>
                <a:cubicBezTo>
                  <a:pt x="2012360" y="4755281"/>
                  <a:pt x="2012360" y="4756830"/>
                  <a:pt x="2010857" y="4756609"/>
                </a:cubicBezTo>
                <a:cubicBezTo>
                  <a:pt x="2007550" y="4757605"/>
                  <a:pt x="2005746" y="4757273"/>
                  <a:pt x="2004244" y="4755502"/>
                </a:cubicBezTo>
                <a:cubicBezTo>
                  <a:pt x="2002740" y="4755281"/>
                  <a:pt x="2002740" y="4753731"/>
                  <a:pt x="2001238" y="4752071"/>
                </a:cubicBezTo>
                <a:cubicBezTo>
                  <a:pt x="2001238" y="4750522"/>
                  <a:pt x="2003041" y="4749304"/>
                  <a:pt x="2003041" y="4749304"/>
                </a:cubicBezTo>
                <a:cubicBezTo>
                  <a:pt x="2004845" y="4748087"/>
                  <a:pt x="2004845" y="4748087"/>
                  <a:pt x="2003341" y="4746316"/>
                </a:cubicBezTo>
                <a:cubicBezTo>
                  <a:pt x="2003341" y="4746316"/>
                  <a:pt x="2004845" y="4746648"/>
                  <a:pt x="2004845" y="4746648"/>
                </a:cubicBezTo>
                <a:cubicBezTo>
                  <a:pt x="2004845" y="4748087"/>
                  <a:pt x="2004845" y="4746538"/>
                  <a:pt x="2006648" y="4745320"/>
                </a:cubicBezTo>
                <a:close/>
                <a:moveTo>
                  <a:pt x="5646192" y="4741779"/>
                </a:moveTo>
                <a:cubicBezTo>
                  <a:pt x="5648898" y="4742332"/>
                  <a:pt x="5651603" y="4743992"/>
                  <a:pt x="5652806" y="4746316"/>
                </a:cubicBezTo>
                <a:cubicBezTo>
                  <a:pt x="5653708" y="4747866"/>
                  <a:pt x="5654008" y="4749636"/>
                  <a:pt x="5653708" y="4751629"/>
                </a:cubicBezTo>
                <a:cubicBezTo>
                  <a:pt x="5651904" y="4753067"/>
                  <a:pt x="5649499" y="4756055"/>
                  <a:pt x="5646192" y="4757383"/>
                </a:cubicBezTo>
                <a:cubicBezTo>
                  <a:pt x="5638676" y="4755170"/>
                  <a:pt x="5636573" y="4750300"/>
                  <a:pt x="5637775" y="4743992"/>
                </a:cubicBezTo>
                <a:cubicBezTo>
                  <a:pt x="5640480" y="4741889"/>
                  <a:pt x="5643486" y="4741225"/>
                  <a:pt x="5646192" y="4741779"/>
                </a:cubicBezTo>
                <a:close/>
                <a:moveTo>
                  <a:pt x="4390825" y="4741779"/>
                </a:moveTo>
                <a:cubicBezTo>
                  <a:pt x="4393530" y="4742332"/>
                  <a:pt x="4395934" y="4743992"/>
                  <a:pt x="4397137" y="4746316"/>
                </a:cubicBezTo>
                <a:cubicBezTo>
                  <a:pt x="4398039" y="4747866"/>
                  <a:pt x="4398341" y="4749636"/>
                  <a:pt x="4398039" y="4751629"/>
                </a:cubicBezTo>
                <a:cubicBezTo>
                  <a:pt x="4396235" y="4753067"/>
                  <a:pt x="4394131" y="4756055"/>
                  <a:pt x="4390825" y="4757383"/>
                </a:cubicBezTo>
                <a:cubicBezTo>
                  <a:pt x="4383309" y="4755170"/>
                  <a:pt x="4380904" y="4750300"/>
                  <a:pt x="4382107" y="4743992"/>
                </a:cubicBezTo>
                <a:cubicBezTo>
                  <a:pt x="4384812" y="4741889"/>
                  <a:pt x="4388119" y="4741225"/>
                  <a:pt x="4390825" y="4741779"/>
                </a:cubicBezTo>
                <a:close/>
                <a:moveTo>
                  <a:pt x="2881738" y="4741779"/>
                </a:moveTo>
                <a:cubicBezTo>
                  <a:pt x="2884444" y="4742332"/>
                  <a:pt x="2886849" y="4743992"/>
                  <a:pt x="2888351" y="4746316"/>
                </a:cubicBezTo>
                <a:cubicBezTo>
                  <a:pt x="2889254" y="4747866"/>
                  <a:pt x="2889554" y="4749636"/>
                  <a:pt x="2889254" y="4751629"/>
                </a:cubicBezTo>
                <a:cubicBezTo>
                  <a:pt x="2887149" y="4753067"/>
                  <a:pt x="2885045" y="4756055"/>
                  <a:pt x="2881738" y="4757383"/>
                </a:cubicBezTo>
                <a:cubicBezTo>
                  <a:pt x="2874222" y="4755170"/>
                  <a:pt x="2872118" y="4750300"/>
                  <a:pt x="2873020" y="4743992"/>
                </a:cubicBezTo>
                <a:cubicBezTo>
                  <a:pt x="2876026" y="4741889"/>
                  <a:pt x="2879033" y="4741225"/>
                  <a:pt x="2881738" y="4741779"/>
                </a:cubicBezTo>
                <a:close/>
                <a:moveTo>
                  <a:pt x="1852733" y="4741779"/>
                </a:moveTo>
                <a:cubicBezTo>
                  <a:pt x="1855439" y="4742332"/>
                  <a:pt x="1857844" y="4743992"/>
                  <a:pt x="1859046" y="4746316"/>
                </a:cubicBezTo>
                <a:cubicBezTo>
                  <a:pt x="1859949" y="4747866"/>
                  <a:pt x="1860249" y="4749636"/>
                  <a:pt x="1859949" y="4751629"/>
                </a:cubicBezTo>
                <a:cubicBezTo>
                  <a:pt x="1858144" y="4753067"/>
                  <a:pt x="1856040" y="4756055"/>
                  <a:pt x="1852733" y="4757383"/>
                </a:cubicBezTo>
                <a:cubicBezTo>
                  <a:pt x="1845218" y="4755170"/>
                  <a:pt x="1842813" y="4750300"/>
                  <a:pt x="1844016" y="4743992"/>
                </a:cubicBezTo>
                <a:cubicBezTo>
                  <a:pt x="1846721" y="4741889"/>
                  <a:pt x="1849727" y="4741225"/>
                  <a:pt x="1852733" y="4741779"/>
                </a:cubicBezTo>
                <a:close/>
                <a:moveTo>
                  <a:pt x="3130046" y="4739897"/>
                </a:moveTo>
                <a:cubicBezTo>
                  <a:pt x="3139065" y="4742221"/>
                  <a:pt x="3143874" y="4751739"/>
                  <a:pt x="3143573" y="4761700"/>
                </a:cubicBezTo>
                <a:cubicBezTo>
                  <a:pt x="3143273" y="4767676"/>
                  <a:pt x="3141469" y="4773763"/>
                  <a:pt x="3137561" y="4778522"/>
                </a:cubicBezTo>
                <a:cubicBezTo>
                  <a:pt x="3132451" y="4784941"/>
                  <a:pt x="3123432" y="4789146"/>
                  <a:pt x="3110806" y="4787707"/>
                </a:cubicBezTo>
                <a:lnTo>
                  <a:pt x="3106898" y="4776198"/>
                </a:lnTo>
                <a:lnTo>
                  <a:pt x="3105395" y="4777415"/>
                </a:lnTo>
                <a:cubicBezTo>
                  <a:pt x="3104493" y="4777858"/>
                  <a:pt x="3103592" y="4777858"/>
                  <a:pt x="3102690" y="4777526"/>
                </a:cubicBezTo>
                <a:cubicBezTo>
                  <a:pt x="3101187" y="4778190"/>
                  <a:pt x="3100586" y="4776862"/>
                  <a:pt x="3098481" y="4776198"/>
                </a:cubicBezTo>
                <a:cubicBezTo>
                  <a:pt x="3097881" y="4774759"/>
                  <a:pt x="3098782" y="4772767"/>
                  <a:pt x="3098782" y="4772767"/>
                </a:cubicBezTo>
                <a:cubicBezTo>
                  <a:pt x="3099683" y="4770775"/>
                  <a:pt x="3099683" y="4770775"/>
                  <a:pt x="3097580" y="4770111"/>
                </a:cubicBezTo>
                <a:cubicBezTo>
                  <a:pt x="3097580" y="4770111"/>
                  <a:pt x="3099082" y="4769447"/>
                  <a:pt x="3099082" y="4769447"/>
                </a:cubicBezTo>
                <a:cubicBezTo>
                  <a:pt x="3099683" y="4770775"/>
                  <a:pt x="3099082" y="4769447"/>
                  <a:pt x="3099985" y="4767344"/>
                </a:cubicBezTo>
                <a:cubicBezTo>
                  <a:pt x="3101788" y="4767344"/>
                  <a:pt x="3102991" y="4767123"/>
                  <a:pt x="3104193" y="4767012"/>
                </a:cubicBezTo>
                <a:lnTo>
                  <a:pt x="3102389" y="4750854"/>
                </a:lnTo>
                <a:cubicBezTo>
                  <a:pt x="3109003" y="4744988"/>
                  <a:pt x="3114715" y="4741668"/>
                  <a:pt x="3119825" y="4740229"/>
                </a:cubicBezTo>
                <a:cubicBezTo>
                  <a:pt x="3123733" y="4739123"/>
                  <a:pt x="3127039" y="4739123"/>
                  <a:pt x="3130046" y="4739897"/>
                </a:cubicBezTo>
                <a:close/>
                <a:moveTo>
                  <a:pt x="5112299" y="4730380"/>
                </a:moveTo>
                <a:cubicBezTo>
                  <a:pt x="5115908" y="4731708"/>
                  <a:pt x="5117711" y="4733478"/>
                  <a:pt x="5118613" y="4735692"/>
                </a:cubicBezTo>
                <a:cubicBezTo>
                  <a:pt x="5119516" y="4737905"/>
                  <a:pt x="5119214" y="4740672"/>
                  <a:pt x="5118313" y="4743882"/>
                </a:cubicBezTo>
                <a:cubicBezTo>
                  <a:pt x="5113804" y="4745210"/>
                  <a:pt x="5106889" y="4742443"/>
                  <a:pt x="5105987" y="4738127"/>
                </a:cubicBezTo>
                <a:cubicBezTo>
                  <a:pt x="5108091" y="4733036"/>
                  <a:pt x="5111398" y="4733700"/>
                  <a:pt x="5112299" y="4730380"/>
                </a:cubicBezTo>
                <a:close/>
                <a:moveTo>
                  <a:pt x="3856932" y="4730380"/>
                </a:moveTo>
                <a:cubicBezTo>
                  <a:pt x="3860240" y="4731708"/>
                  <a:pt x="3862343" y="4733478"/>
                  <a:pt x="3863246" y="4735692"/>
                </a:cubicBezTo>
                <a:cubicBezTo>
                  <a:pt x="3864147" y="4737905"/>
                  <a:pt x="3863847" y="4740672"/>
                  <a:pt x="3862945" y="4743882"/>
                </a:cubicBezTo>
                <a:cubicBezTo>
                  <a:pt x="3858436" y="4745210"/>
                  <a:pt x="3851221" y="4742443"/>
                  <a:pt x="3850319" y="4738127"/>
                </a:cubicBezTo>
                <a:cubicBezTo>
                  <a:pt x="3852724" y="4733036"/>
                  <a:pt x="3856031" y="4733700"/>
                  <a:pt x="3856932" y="4730380"/>
                </a:cubicBezTo>
                <a:close/>
                <a:moveTo>
                  <a:pt x="2347845" y="4730380"/>
                </a:moveTo>
                <a:cubicBezTo>
                  <a:pt x="2351454" y="4731708"/>
                  <a:pt x="2353257" y="4733478"/>
                  <a:pt x="2354159" y="4735692"/>
                </a:cubicBezTo>
                <a:cubicBezTo>
                  <a:pt x="2355061" y="4737905"/>
                  <a:pt x="2354760" y="4740672"/>
                  <a:pt x="2353859" y="4743882"/>
                </a:cubicBezTo>
                <a:cubicBezTo>
                  <a:pt x="2349349" y="4745210"/>
                  <a:pt x="2342434" y="4742443"/>
                  <a:pt x="2341533" y="4738127"/>
                </a:cubicBezTo>
                <a:cubicBezTo>
                  <a:pt x="2343637" y="4733036"/>
                  <a:pt x="2346944" y="4733700"/>
                  <a:pt x="2347845" y="4730380"/>
                </a:cubicBezTo>
                <a:close/>
                <a:moveTo>
                  <a:pt x="1318842" y="4730380"/>
                </a:moveTo>
                <a:cubicBezTo>
                  <a:pt x="1322148" y="4731708"/>
                  <a:pt x="1324253" y="4733478"/>
                  <a:pt x="1325154" y="4735692"/>
                </a:cubicBezTo>
                <a:cubicBezTo>
                  <a:pt x="1326056" y="4737905"/>
                  <a:pt x="1325755" y="4740672"/>
                  <a:pt x="1324854" y="4743882"/>
                </a:cubicBezTo>
                <a:cubicBezTo>
                  <a:pt x="1320344" y="4745210"/>
                  <a:pt x="1313431" y="4742443"/>
                  <a:pt x="1312528" y="4738127"/>
                </a:cubicBezTo>
                <a:cubicBezTo>
                  <a:pt x="1314633" y="4733036"/>
                  <a:pt x="1317939" y="4733700"/>
                  <a:pt x="1318842" y="4730380"/>
                </a:cubicBezTo>
                <a:close/>
                <a:moveTo>
                  <a:pt x="5717438" y="4728166"/>
                </a:moveTo>
                <a:cubicBezTo>
                  <a:pt x="5720444" y="4729494"/>
                  <a:pt x="5721646" y="4730269"/>
                  <a:pt x="5721947" y="4731929"/>
                </a:cubicBezTo>
                <a:cubicBezTo>
                  <a:pt x="5721947" y="4733700"/>
                  <a:pt x="5720444" y="4736467"/>
                  <a:pt x="5718039" y="4742000"/>
                </a:cubicBezTo>
                <a:cubicBezTo>
                  <a:pt x="5716836" y="4743992"/>
                  <a:pt x="5715333" y="4745652"/>
                  <a:pt x="5713230" y="4746870"/>
                </a:cubicBezTo>
                <a:cubicBezTo>
                  <a:pt x="5711425" y="4748087"/>
                  <a:pt x="5709021" y="4748862"/>
                  <a:pt x="5706616" y="4748862"/>
                </a:cubicBezTo>
                <a:cubicBezTo>
                  <a:pt x="5703910" y="4751297"/>
                  <a:pt x="5699401" y="4752846"/>
                  <a:pt x="5696094" y="4752514"/>
                </a:cubicBezTo>
                <a:cubicBezTo>
                  <a:pt x="5692187" y="4750632"/>
                  <a:pt x="5691285" y="4747866"/>
                  <a:pt x="5692487" y="4745984"/>
                </a:cubicBezTo>
                <a:cubicBezTo>
                  <a:pt x="5699401" y="4729605"/>
                  <a:pt x="5714733" y="4730601"/>
                  <a:pt x="5717438" y="4728166"/>
                </a:cubicBezTo>
                <a:close/>
                <a:moveTo>
                  <a:pt x="4461769" y="4728166"/>
                </a:moveTo>
                <a:cubicBezTo>
                  <a:pt x="4464775" y="4729494"/>
                  <a:pt x="4466279" y="4730269"/>
                  <a:pt x="4466279" y="4731929"/>
                </a:cubicBezTo>
                <a:cubicBezTo>
                  <a:pt x="4466279" y="4733700"/>
                  <a:pt x="4465077" y="4736467"/>
                  <a:pt x="4462370" y="4742000"/>
                </a:cubicBezTo>
                <a:cubicBezTo>
                  <a:pt x="4461469" y="4743992"/>
                  <a:pt x="4459666" y="4745652"/>
                  <a:pt x="4457862" y="4746870"/>
                </a:cubicBezTo>
                <a:cubicBezTo>
                  <a:pt x="4455757" y="4748087"/>
                  <a:pt x="4453653" y="4748862"/>
                  <a:pt x="4450947" y="4748862"/>
                </a:cubicBezTo>
                <a:cubicBezTo>
                  <a:pt x="4448543" y="4751297"/>
                  <a:pt x="4443733" y="4752846"/>
                  <a:pt x="4440425" y="4752514"/>
                </a:cubicBezTo>
                <a:cubicBezTo>
                  <a:pt x="4436518" y="4750632"/>
                  <a:pt x="4435616" y="4747866"/>
                  <a:pt x="4436818" y="4745984"/>
                </a:cubicBezTo>
                <a:cubicBezTo>
                  <a:pt x="4443733" y="4729605"/>
                  <a:pt x="4459364" y="4730601"/>
                  <a:pt x="4461769" y="4728166"/>
                </a:cubicBezTo>
                <a:close/>
                <a:moveTo>
                  <a:pt x="2952683" y="4728166"/>
                </a:moveTo>
                <a:cubicBezTo>
                  <a:pt x="2955689" y="4729494"/>
                  <a:pt x="2957192" y="4730269"/>
                  <a:pt x="2957192" y="4731929"/>
                </a:cubicBezTo>
                <a:cubicBezTo>
                  <a:pt x="2957192" y="4733700"/>
                  <a:pt x="2955990" y="4736467"/>
                  <a:pt x="2953285" y="4742000"/>
                </a:cubicBezTo>
                <a:cubicBezTo>
                  <a:pt x="2952382" y="4743992"/>
                  <a:pt x="2950579" y="4745652"/>
                  <a:pt x="2948775" y="4746870"/>
                </a:cubicBezTo>
                <a:cubicBezTo>
                  <a:pt x="2946670" y="4748087"/>
                  <a:pt x="2944566" y="4748862"/>
                  <a:pt x="2941861" y="4748862"/>
                </a:cubicBezTo>
                <a:cubicBezTo>
                  <a:pt x="2939456" y="4751297"/>
                  <a:pt x="2934646" y="4752846"/>
                  <a:pt x="2931340" y="4752514"/>
                </a:cubicBezTo>
                <a:cubicBezTo>
                  <a:pt x="2927431" y="4750632"/>
                  <a:pt x="2926830" y="4747866"/>
                  <a:pt x="2928033" y="4745984"/>
                </a:cubicBezTo>
                <a:cubicBezTo>
                  <a:pt x="2934947" y="4729605"/>
                  <a:pt x="2950279" y="4730601"/>
                  <a:pt x="2952683" y="4728166"/>
                </a:cubicBezTo>
                <a:close/>
                <a:moveTo>
                  <a:pt x="1923679" y="4728166"/>
                </a:moveTo>
                <a:cubicBezTo>
                  <a:pt x="1926685" y="4729494"/>
                  <a:pt x="1928187" y="4730269"/>
                  <a:pt x="1928187" y="4731929"/>
                </a:cubicBezTo>
                <a:cubicBezTo>
                  <a:pt x="1928187" y="4733700"/>
                  <a:pt x="1926985" y="4736467"/>
                  <a:pt x="1924280" y="4742000"/>
                </a:cubicBezTo>
                <a:cubicBezTo>
                  <a:pt x="1923077" y="4743992"/>
                  <a:pt x="1921574" y="4745652"/>
                  <a:pt x="1919770" y="4746870"/>
                </a:cubicBezTo>
                <a:cubicBezTo>
                  <a:pt x="1917666" y="4748087"/>
                  <a:pt x="1915262" y="4748862"/>
                  <a:pt x="1912857" y="4748862"/>
                </a:cubicBezTo>
                <a:cubicBezTo>
                  <a:pt x="1910151" y="4751297"/>
                  <a:pt x="1905641" y="4752846"/>
                  <a:pt x="1902335" y="4752514"/>
                </a:cubicBezTo>
                <a:cubicBezTo>
                  <a:pt x="1898426" y="4750632"/>
                  <a:pt x="1897525" y="4747866"/>
                  <a:pt x="1898728" y="4745984"/>
                </a:cubicBezTo>
                <a:cubicBezTo>
                  <a:pt x="1905942" y="4729605"/>
                  <a:pt x="1920973" y="4730601"/>
                  <a:pt x="1923679" y="4728166"/>
                </a:cubicBezTo>
                <a:close/>
                <a:moveTo>
                  <a:pt x="4742244" y="4725067"/>
                </a:moveTo>
                <a:cubicBezTo>
                  <a:pt x="4744347" y="4724735"/>
                  <a:pt x="4746452" y="4724735"/>
                  <a:pt x="4748557" y="4725067"/>
                </a:cubicBezTo>
                <a:cubicBezTo>
                  <a:pt x="4751261" y="4725510"/>
                  <a:pt x="4753667" y="4726617"/>
                  <a:pt x="4755470" y="4728277"/>
                </a:cubicBezTo>
                <a:cubicBezTo>
                  <a:pt x="4755470" y="4737352"/>
                  <a:pt x="4743746" y="4742885"/>
                  <a:pt x="4735630" y="4741225"/>
                </a:cubicBezTo>
                <a:cubicBezTo>
                  <a:pt x="4732924" y="4740672"/>
                  <a:pt x="4730820" y="4739233"/>
                  <a:pt x="4729316" y="4736909"/>
                </a:cubicBezTo>
                <a:cubicBezTo>
                  <a:pt x="4729316" y="4730158"/>
                  <a:pt x="4735630" y="4726063"/>
                  <a:pt x="4742244" y="4725067"/>
                </a:cubicBezTo>
                <a:close/>
                <a:moveTo>
                  <a:pt x="1977489" y="4725067"/>
                </a:moveTo>
                <a:cubicBezTo>
                  <a:pt x="1979593" y="4724735"/>
                  <a:pt x="1981998" y="4724735"/>
                  <a:pt x="1984102" y="4725067"/>
                </a:cubicBezTo>
                <a:cubicBezTo>
                  <a:pt x="1986807" y="4725510"/>
                  <a:pt x="1989212" y="4726617"/>
                  <a:pt x="1990716" y="4728277"/>
                </a:cubicBezTo>
                <a:cubicBezTo>
                  <a:pt x="1990716" y="4737352"/>
                  <a:pt x="1978992" y="4742885"/>
                  <a:pt x="1971176" y="4741225"/>
                </a:cubicBezTo>
                <a:cubicBezTo>
                  <a:pt x="1968470" y="4740672"/>
                  <a:pt x="1966366" y="4739233"/>
                  <a:pt x="1964862" y="4736909"/>
                </a:cubicBezTo>
                <a:cubicBezTo>
                  <a:pt x="1964862" y="4730158"/>
                  <a:pt x="1970875" y="4726063"/>
                  <a:pt x="1977489" y="4725067"/>
                </a:cubicBezTo>
                <a:close/>
                <a:moveTo>
                  <a:pt x="948484" y="4725067"/>
                </a:moveTo>
                <a:cubicBezTo>
                  <a:pt x="950588" y="4724735"/>
                  <a:pt x="952693" y="4724735"/>
                  <a:pt x="954796" y="4725067"/>
                </a:cubicBezTo>
                <a:cubicBezTo>
                  <a:pt x="957502" y="4725510"/>
                  <a:pt x="960207" y="4726617"/>
                  <a:pt x="961711" y="4728277"/>
                </a:cubicBezTo>
                <a:cubicBezTo>
                  <a:pt x="961711" y="4737352"/>
                  <a:pt x="949987" y="4742885"/>
                  <a:pt x="941871" y="4741225"/>
                </a:cubicBezTo>
                <a:cubicBezTo>
                  <a:pt x="939165" y="4740672"/>
                  <a:pt x="937061" y="4739233"/>
                  <a:pt x="935859" y="4736909"/>
                </a:cubicBezTo>
                <a:cubicBezTo>
                  <a:pt x="935859" y="4730158"/>
                  <a:pt x="941871" y="4726063"/>
                  <a:pt x="948484" y="4725067"/>
                </a:cubicBezTo>
                <a:close/>
                <a:moveTo>
                  <a:pt x="5044661" y="4723739"/>
                </a:moveTo>
                <a:cubicBezTo>
                  <a:pt x="5045262" y="4723629"/>
                  <a:pt x="5046165" y="4723739"/>
                  <a:pt x="5047067" y="4724182"/>
                </a:cubicBezTo>
                <a:cubicBezTo>
                  <a:pt x="5049171" y="4725067"/>
                  <a:pt x="5050974" y="4725953"/>
                  <a:pt x="5051877" y="4728830"/>
                </a:cubicBezTo>
                <a:cubicBezTo>
                  <a:pt x="5049472" y="4732704"/>
                  <a:pt x="5044661" y="4732814"/>
                  <a:pt x="5043459" y="4734806"/>
                </a:cubicBezTo>
                <a:cubicBezTo>
                  <a:pt x="5043159" y="4733368"/>
                  <a:pt x="5042257" y="4730490"/>
                  <a:pt x="5038649" y="4730048"/>
                </a:cubicBezTo>
                <a:cubicBezTo>
                  <a:pt x="5040453" y="4727170"/>
                  <a:pt x="5042257" y="4724293"/>
                  <a:pt x="5044661" y="4723739"/>
                </a:cubicBezTo>
                <a:close/>
                <a:moveTo>
                  <a:pt x="2279907" y="4723739"/>
                </a:moveTo>
                <a:cubicBezTo>
                  <a:pt x="2280809" y="4723629"/>
                  <a:pt x="2281711" y="4723739"/>
                  <a:pt x="2282613" y="4724182"/>
                </a:cubicBezTo>
                <a:cubicBezTo>
                  <a:pt x="2284417" y="4725067"/>
                  <a:pt x="2286520" y="4725953"/>
                  <a:pt x="2287423" y="4728830"/>
                </a:cubicBezTo>
                <a:cubicBezTo>
                  <a:pt x="2285018" y="4732704"/>
                  <a:pt x="2279907" y="4732814"/>
                  <a:pt x="2278705" y="4734806"/>
                </a:cubicBezTo>
                <a:cubicBezTo>
                  <a:pt x="2278403" y="4733368"/>
                  <a:pt x="2277502" y="4730490"/>
                  <a:pt x="2274195" y="4730048"/>
                </a:cubicBezTo>
                <a:cubicBezTo>
                  <a:pt x="2275698" y="4727170"/>
                  <a:pt x="2277502" y="4724293"/>
                  <a:pt x="2279907" y="4723739"/>
                </a:cubicBezTo>
                <a:close/>
                <a:moveTo>
                  <a:pt x="1250902" y="4723739"/>
                </a:moveTo>
                <a:cubicBezTo>
                  <a:pt x="1251503" y="4723629"/>
                  <a:pt x="1252406" y="4723739"/>
                  <a:pt x="1253608" y="4724182"/>
                </a:cubicBezTo>
                <a:cubicBezTo>
                  <a:pt x="1255412" y="4725067"/>
                  <a:pt x="1257215" y="4725953"/>
                  <a:pt x="1258118" y="4728830"/>
                </a:cubicBezTo>
                <a:cubicBezTo>
                  <a:pt x="1256013" y="4732704"/>
                  <a:pt x="1250902" y="4732814"/>
                  <a:pt x="1249700" y="4734806"/>
                </a:cubicBezTo>
                <a:cubicBezTo>
                  <a:pt x="1249400" y="4733368"/>
                  <a:pt x="1248497" y="4730490"/>
                  <a:pt x="1244890" y="4730048"/>
                </a:cubicBezTo>
                <a:cubicBezTo>
                  <a:pt x="1246694" y="4727170"/>
                  <a:pt x="1248497" y="4724293"/>
                  <a:pt x="1250902" y="4723739"/>
                </a:cubicBezTo>
                <a:close/>
                <a:moveTo>
                  <a:pt x="5489571" y="4722854"/>
                </a:moveTo>
                <a:cubicBezTo>
                  <a:pt x="5491376" y="4724514"/>
                  <a:pt x="5492578" y="4726063"/>
                  <a:pt x="5493179" y="4727724"/>
                </a:cubicBezTo>
                <a:cubicBezTo>
                  <a:pt x="5494682" y="4732482"/>
                  <a:pt x="5491677" y="4736799"/>
                  <a:pt x="5484762" y="4740893"/>
                </a:cubicBezTo>
                <a:cubicBezTo>
                  <a:pt x="5482056" y="4739123"/>
                  <a:pt x="5478750" y="4738791"/>
                  <a:pt x="5474240" y="4736909"/>
                </a:cubicBezTo>
                <a:cubicBezTo>
                  <a:pt x="5475143" y="4732372"/>
                  <a:pt x="5481455" y="4723739"/>
                  <a:pt x="5489571" y="4722854"/>
                </a:cubicBezTo>
                <a:close/>
                <a:moveTo>
                  <a:pt x="4234204" y="4722854"/>
                </a:moveTo>
                <a:cubicBezTo>
                  <a:pt x="4236008" y="4724514"/>
                  <a:pt x="4236909" y="4726063"/>
                  <a:pt x="4237512" y="4727724"/>
                </a:cubicBezTo>
                <a:cubicBezTo>
                  <a:pt x="4239315" y="4732482"/>
                  <a:pt x="4236008" y="4736799"/>
                  <a:pt x="4229394" y="4740893"/>
                </a:cubicBezTo>
                <a:cubicBezTo>
                  <a:pt x="4226389" y="4739123"/>
                  <a:pt x="4223382" y="4738791"/>
                  <a:pt x="4218873" y="4736909"/>
                </a:cubicBezTo>
                <a:cubicBezTo>
                  <a:pt x="4219775" y="4732372"/>
                  <a:pt x="4226087" y="4723739"/>
                  <a:pt x="4234204" y="4722854"/>
                </a:cubicBezTo>
                <a:close/>
                <a:moveTo>
                  <a:pt x="2725117" y="4722854"/>
                </a:moveTo>
                <a:cubicBezTo>
                  <a:pt x="2726921" y="4724514"/>
                  <a:pt x="2727823" y="4726063"/>
                  <a:pt x="2728425" y="4727724"/>
                </a:cubicBezTo>
                <a:cubicBezTo>
                  <a:pt x="2730228" y="4732482"/>
                  <a:pt x="2726921" y="4736799"/>
                  <a:pt x="2720308" y="4740893"/>
                </a:cubicBezTo>
                <a:cubicBezTo>
                  <a:pt x="2717302" y="4739123"/>
                  <a:pt x="2714295" y="4738791"/>
                  <a:pt x="2709786" y="4736909"/>
                </a:cubicBezTo>
                <a:cubicBezTo>
                  <a:pt x="2710688" y="4732372"/>
                  <a:pt x="2717000" y="4723739"/>
                  <a:pt x="2725117" y="4722854"/>
                </a:cubicBezTo>
                <a:close/>
                <a:moveTo>
                  <a:pt x="1696114" y="4722854"/>
                </a:moveTo>
                <a:cubicBezTo>
                  <a:pt x="1697616" y="4724514"/>
                  <a:pt x="1698819" y="4726063"/>
                  <a:pt x="1699420" y="4727724"/>
                </a:cubicBezTo>
                <a:cubicBezTo>
                  <a:pt x="1700923" y="4732482"/>
                  <a:pt x="1697916" y="4736799"/>
                  <a:pt x="1691003" y="4740893"/>
                </a:cubicBezTo>
                <a:cubicBezTo>
                  <a:pt x="1688297" y="4739123"/>
                  <a:pt x="1684991" y="4738791"/>
                  <a:pt x="1680782" y="4736909"/>
                </a:cubicBezTo>
                <a:cubicBezTo>
                  <a:pt x="1681383" y="4732372"/>
                  <a:pt x="1687997" y="4723739"/>
                  <a:pt x="1696114" y="4722854"/>
                </a:cubicBezTo>
                <a:close/>
                <a:moveTo>
                  <a:pt x="5088852" y="4720530"/>
                </a:moveTo>
                <a:cubicBezTo>
                  <a:pt x="5094564" y="4719645"/>
                  <a:pt x="5103583" y="4721747"/>
                  <a:pt x="5107791" y="4723739"/>
                </a:cubicBezTo>
                <a:cubicBezTo>
                  <a:pt x="5106889" y="4724846"/>
                  <a:pt x="5105386" y="4725510"/>
                  <a:pt x="5103583" y="4725731"/>
                </a:cubicBezTo>
                <a:cubicBezTo>
                  <a:pt x="5097571" y="4726617"/>
                  <a:pt x="5088551" y="4724403"/>
                  <a:pt x="5084342" y="4722411"/>
                </a:cubicBezTo>
                <a:cubicBezTo>
                  <a:pt x="5085245" y="4721305"/>
                  <a:pt x="5086748" y="4720751"/>
                  <a:pt x="5088852" y="4720530"/>
                </a:cubicBezTo>
                <a:close/>
                <a:moveTo>
                  <a:pt x="2324098" y="4720530"/>
                </a:moveTo>
                <a:cubicBezTo>
                  <a:pt x="2330110" y="4719645"/>
                  <a:pt x="2339128" y="4721747"/>
                  <a:pt x="2343337" y="4723739"/>
                </a:cubicBezTo>
                <a:cubicBezTo>
                  <a:pt x="2342434" y="4724846"/>
                  <a:pt x="2340631" y="4725510"/>
                  <a:pt x="2338827" y="4725731"/>
                </a:cubicBezTo>
                <a:cubicBezTo>
                  <a:pt x="2333116" y="4726617"/>
                  <a:pt x="2324098" y="4724403"/>
                  <a:pt x="2319588" y="4722411"/>
                </a:cubicBezTo>
                <a:cubicBezTo>
                  <a:pt x="2320490" y="4721305"/>
                  <a:pt x="2322293" y="4720751"/>
                  <a:pt x="2324098" y="4720530"/>
                </a:cubicBezTo>
                <a:close/>
                <a:moveTo>
                  <a:pt x="1295093" y="4720530"/>
                </a:moveTo>
                <a:cubicBezTo>
                  <a:pt x="1300804" y="4719645"/>
                  <a:pt x="1309823" y="4721747"/>
                  <a:pt x="1314332" y="4723739"/>
                </a:cubicBezTo>
                <a:cubicBezTo>
                  <a:pt x="1313431" y="4724846"/>
                  <a:pt x="1311627" y="4725510"/>
                  <a:pt x="1309823" y="4725731"/>
                </a:cubicBezTo>
                <a:cubicBezTo>
                  <a:pt x="1303810" y="4726617"/>
                  <a:pt x="1294792" y="4724403"/>
                  <a:pt x="1290583" y="4722411"/>
                </a:cubicBezTo>
                <a:cubicBezTo>
                  <a:pt x="1291486" y="4721305"/>
                  <a:pt x="1293289" y="4720751"/>
                  <a:pt x="1295093" y="4720530"/>
                </a:cubicBezTo>
                <a:close/>
                <a:moveTo>
                  <a:pt x="5923659" y="4719534"/>
                </a:moveTo>
                <a:cubicBezTo>
                  <a:pt x="5924562" y="4719977"/>
                  <a:pt x="5925464" y="4720087"/>
                  <a:pt x="5925764" y="4720530"/>
                </a:cubicBezTo>
                <a:cubicBezTo>
                  <a:pt x="5926365" y="4720862"/>
                  <a:pt x="5926666" y="4721637"/>
                  <a:pt x="5926365" y="4723297"/>
                </a:cubicBezTo>
                <a:cubicBezTo>
                  <a:pt x="5926666" y="4724735"/>
                  <a:pt x="5925464" y="4726727"/>
                  <a:pt x="5925764" y="4728166"/>
                </a:cubicBezTo>
                <a:cubicBezTo>
                  <a:pt x="5925764" y="4728166"/>
                  <a:pt x="5924863" y="4728830"/>
                  <a:pt x="5923659" y="4729494"/>
                </a:cubicBezTo>
                <a:cubicBezTo>
                  <a:pt x="5922156" y="4730158"/>
                  <a:pt x="5920653" y="4730601"/>
                  <a:pt x="5919752" y="4730158"/>
                </a:cubicBezTo>
                <a:cubicBezTo>
                  <a:pt x="5916144" y="4729826"/>
                  <a:pt x="5919752" y="4723961"/>
                  <a:pt x="5919151" y="4722522"/>
                </a:cubicBezTo>
                <a:cubicBezTo>
                  <a:pt x="5920353" y="4720530"/>
                  <a:pt x="5921555" y="4718648"/>
                  <a:pt x="5923659" y="4719534"/>
                </a:cubicBezTo>
                <a:close/>
                <a:moveTo>
                  <a:pt x="3158905" y="4719534"/>
                </a:moveTo>
                <a:cubicBezTo>
                  <a:pt x="3159807" y="4719977"/>
                  <a:pt x="3160708" y="4720087"/>
                  <a:pt x="3161310" y="4720530"/>
                </a:cubicBezTo>
                <a:cubicBezTo>
                  <a:pt x="3161911" y="4720862"/>
                  <a:pt x="3162212" y="4721637"/>
                  <a:pt x="3161611" y="4723297"/>
                </a:cubicBezTo>
                <a:cubicBezTo>
                  <a:pt x="3162212" y="4724735"/>
                  <a:pt x="3161010" y="4726727"/>
                  <a:pt x="3161310" y="4728166"/>
                </a:cubicBezTo>
                <a:cubicBezTo>
                  <a:pt x="3161310" y="4728166"/>
                  <a:pt x="3160408" y="4728830"/>
                  <a:pt x="3158905" y="4729494"/>
                </a:cubicBezTo>
                <a:cubicBezTo>
                  <a:pt x="3157702" y="4730158"/>
                  <a:pt x="3156200" y="4730601"/>
                  <a:pt x="3155297" y="4730158"/>
                </a:cubicBezTo>
                <a:cubicBezTo>
                  <a:pt x="3151690" y="4729826"/>
                  <a:pt x="3154997" y="4723961"/>
                  <a:pt x="3154696" y="4722522"/>
                </a:cubicBezTo>
                <a:cubicBezTo>
                  <a:pt x="3155899" y="4720530"/>
                  <a:pt x="3157101" y="4718648"/>
                  <a:pt x="3158905" y="4719534"/>
                </a:cubicBezTo>
                <a:close/>
                <a:moveTo>
                  <a:pt x="2129901" y="4719534"/>
                </a:moveTo>
                <a:cubicBezTo>
                  <a:pt x="2130802" y="4719977"/>
                  <a:pt x="2131704" y="4720087"/>
                  <a:pt x="2132306" y="4720530"/>
                </a:cubicBezTo>
                <a:cubicBezTo>
                  <a:pt x="2132906" y="4720862"/>
                  <a:pt x="2132906" y="4721637"/>
                  <a:pt x="2132606" y="4723297"/>
                </a:cubicBezTo>
                <a:cubicBezTo>
                  <a:pt x="2132906" y="4724735"/>
                  <a:pt x="2131704" y="4726727"/>
                  <a:pt x="2132306" y="4728166"/>
                </a:cubicBezTo>
                <a:cubicBezTo>
                  <a:pt x="2132306" y="4728166"/>
                  <a:pt x="2131102" y="4728830"/>
                  <a:pt x="2129901" y="4729494"/>
                </a:cubicBezTo>
                <a:cubicBezTo>
                  <a:pt x="2128697" y="4730158"/>
                  <a:pt x="2127195" y="4730601"/>
                  <a:pt x="2125992" y="4730158"/>
                </a:cubicBezTo>
                <a:cubicBezTo>
                  <a:pt x="2122685" y="4729826"/>
                  <a:pt x="2125992" y="4723961"/>
                  <a:pt x="2125691" y="4722522"/>
                </a:cubicBezTo>
                <a:cubicBezTo>
                  <a:pt x="2126894" y="4720530"/>
                  <a:pt x="2127796" y="4718648"/>
                  <a:pt x="2129901" y="4719534"/>
                </a:cubicBezTo>
                <a:close/>
                <a:moveTo>
                  <a:pt x="5234651" y="4713447"/>
                </a:moveTo>
                <a:cubicBezTo>
                  <a:pt x="5237657" y="4715328"/>
                  <a:pt x="5242467" y="4714443"/>
                  <a:pt x="5245472" y="4717763"/>
                </a:cubicBezTo>
                <a:cubicBezTo>
                  <a:pt x="5245472" y="4717763"/>
                  <a:pt x="5247277" y="4719423"/>
                  <a:pt x="5246976" y="4722411"/>
                </a:cubicBezTo>
                <a:cubicBezTo>
                  <a:pt x="5249981" y="4727281"/>
                  <a:pt x="5245171" y="4731265"/>
                  <a:pt x="5245171" y="4731265"/>
                </a:cubicBezTo>
                <a:cubicBezTo>
                  <a:pt x="5245171" y="4731265"/>
                  <a:pt x="5245171" y="4731376"/>
                  <a:pt x="5246976" y="4731486"/>
                </a:cubicBezTo>
                <a:cubicBezTo>
                  <a:pt x="5243669" y="4731154"/>
                  <a:pt x="5240362" y="4732372"/>
                  <a:pt x="5237356" y="4731929"/>
                </a:cubicBezTo>
                <a:cubicBezTo>
                  <a:pt x="5224730" y="4721526"/>
                  <a:pt x="5229540" y="4718980"/>
                  <a:pt x="5234651" y="4713447"/>
                </a:cubicBezTo>
                <a:close/>
                <a:moveTo>
                  <a:pt x="3978982" y="4713447"/>
                </a:moveTo>
                <a:cubicBezTo>
                  <a:pt x="3981988" y="4715328"/>
                  <a:pt x="3986798" y="4714443"/>
                  <a:pt x="3990105" y="4717763"/>
                </a:cubicBezTo>
                <a:cubicBezTo>
                  <a:pt x="3990105" y="4717763"/>
                  <a:pt x="3991608" y="4719423"/>
                  <a:pt x="3991608" y="4722411"/>
                </a:cubicBezTo>
                <a:cubicBezTo>
                  <a:pt x="3994614" y="4727281"/>
                  <a:pt x="3989804" y="4731265"/>
                  <a:pt x="3989804" y="4731265"/>
                </a:cubicBezTo>
                <a:cubicBezTo>
                  <a:pt x="3989804" y="4731265"/>
                  <a:pt x="3989804" y="4731376"/>
                  <a:pt x="3991308" y="4731486"/>
                </a:cubicBezTo>
                <a:cubicBezTo>
                  <a:pt x="3988001" y="4731154"/>
                  <a:pt x="3984995" y="4732372"/>
                  <a:pt x="3981687" y="4731929"/>
                </a:cubicBezTo>
                <a:cubicBezTo>
                  <a:pt x="3969363" y="4721526"/>
                  <a:pt x="3974173" y="4718980"/>
                  <a:pt x="3978982" y="4713447"/>
                </a:cubicBezTo>
                <a:close/>
                <a:moveTo>
                  <a:pt x="2470196" y="4713447"/>
                </a:moveTo>
                <a:cubicBezTo>
                  <a:pt x="2473203" y="4715328"/>
                  <a:pt x="2478012" y="4714443"/>
                  <a:pt x="2481018" y="4717763"/>
                </a:cubicBezTo>
                <a:cubicBezTo>
                  <a:pt x="2481018" y="4717763"/>
                  <a:pt x="2482521" y="4719423"/>
                  <a:pt x="2482521" y="4722411"/>
                </a:cubicBezTo>
                <a:cubicBezTo>
                  <a:pt x="2485528" y="4727281"/>
                  <a:pt x="2480718" y="4731265"/>
                  <a:pt x="2480718" y="4731265"/>
                </a:cubicBezTo>
                <a:cubicBezTo>
                  <a:pt x="2480718" y="4731265"/>
                  <a:pt x="2480718" y="4731376"/>
                  <a:pt x="2482221" y="4731486"/>
                </a:cubicBezTo>
                <a:cubicBezTo>
                  <a:pt x="2478914" y="4731154"/>
                  <a:pt x="2475909" y="4732372"/>
                  <a:pt x="2472601" y="4731929"/>
                </a:cubicBezTo>
                <a:cubicBezTo>
                  <a:pt x="2460276" y="4721526"/>
                  <a:pt x="2465086" y="4718980"/>
                  <a:pt x="2470196" y="4713447"/>
                </a:cubicBezTo>
                <a:close/>
                <a:moveTo>
                  <a:pt x="1440891" y="4713447"/>
                </a:moveTo>
                <a:cubicBezTo>
                  <a:pt x="1444198" y="4715328"/>
                  <a:pt x="1449007" y="4714443"/>
                  <a:pt x="1452014" y="4717763"/>
                </a:cubicBezTo>
                <a:cubicBezTo>
                  <a:pt x="1452014" y="4717763"/>
                  <a:pt x="1453517" y="4719423"/>
                  <a:pt x="1453517" y="4722411"/>
                </a:cubicBezTo>
                <a:cubicBezTo>
                  <a:pt x="1456523" y="4727281"/>
                  <a:pt x="1451412" y="4731265"/>
                  <a:pt x="1451412" y="4731265"/>
                </a:cubicBezTo>
                <a:cubicBezTo>
                  <a:pt x="1451412" y="4731265"/>
                  <a:pt x="1451412" y="4731376"/>
                  <a:pt x="1453216" y="4731486"/>
                </a:cubicBezTo>
                <a:cubicBezTo>
                  <a:pt x="1449910" y="4731154"/>
                  <a:pt x="1446603" y="4732372"/>
                  <a:pt x="1443597" y="4731929"/>
                </a:cubicBezTo>
                <a:cubicBezTo>
                  <a:pt x="1430971" y="4721526"/>
                  <a:pt x="1436081" y="4718980"/>
                  <a:pt x="1440891" y="4713447"/>
                </a:cubicBezTo>
                <a:close/>
                <a:moveTo>
                  <a:pt x="5841893" y="4713004"/>
                </a:moveTo>
                <a:cubicBezTo>
                  <a:pt x="5840691" y="4714996"/>
                  <a:pt x="5842794" y="4715992"/>
                  <a:pt x="5844597" y="4716878"/>
                </a:cubicBezTo>
                <a:cubicBezTo>
                  <a:pt x="5843095" y="4719755"/>
                  <a:pt x="5840991" y="4724514"/>
                  <a:pt x="5836782" y="4725178"/>
                </a:cubicBezTo>
                <a:cubicBezTo>
                  <a:pt x="5835280" y="4725399"/>
                  <a:pt x="5833776" y="4725178"/>
                  <a:pt x="5831672" y="4724293"/>
                </a:cubicBezTo>
                <a:cubicBezTo>
                  <a:pt x="5830169" y="4724846"/>
                  <a:pt x="5827162" y="4719645"/>
                  <a:pt x="5828365" y="4717652"/>
                </a:cubicBezTo>
                <a:cubicBezTo>
                  <a:pt x="5830169" y="4712340"/>
                  <a:pt x="5835280" y="4713668"/>
                  <a:pt x="5841893" y="4713004"/>
                </a:cubicBezTo>
                <a:close/>
                <a:moveTo>
                  <a:pt x="4586525" y="4713004"/>
                </a:moveTo>
                <a:cubicBezTo>
                  <a:pt x="4585323" y="4714996"/>
                  <a:pt x="4587127" y="4715992"/>
                  <a:pt x="4589230" y="4716878"/>
                </a:cubicBezTo>
                <a:cubicBezTo>
                  <a:pt x="4587427" y="4719755"/>
                  <a:pt x="4585323" y="4724514"/>
                  <a:pt x="4581115" y="4725178"/>
                </a:cubicBezTo>
                <a:cubicBezTo>
                  <a:pt x="4579911" y="4725399"/>
                  <a:pt x="4578107" y="4725178"/>
                  <a:pt x="4576304" y="4724293"/>
                </a:cubicBezTo>
                <a:cubicBezTo>
                  <a:pt x="4574801" y="4724846"/>
                  <a:pt x="4571494" y="4719645"/>
                  <a:pt x="4572696" y="4717652"/>
                </a:cubicBezTo>
                <a:cubicBezTo>
                  <a:pt x="4574500" y="4712340"/>
                  <a:pt x="4579911" y="4713668"/>
                  <a:pt x="4586525" y="4713004"/>
                </a:cubicBezTo>
                <a:close/>
                <a:moveTo>
                  <a:pt x="3077438" y="4713004"/>
                </a:moveTo>
                <a:cubicBezTo>
                  <a:pt x="3076236" y="4714996"/>
                  <a:pt x="3078040" y="4715992"/>
                  <a:pt x="3080144" y="4716878"/>
                </a:cubicBezTo>
                <a:cubicBezTo>
                  <a:pt x="3078340" y="4719755"/>
                  <a:pt x="3076537" y="4724514"/>
                  <a:pt x="3072328" y="4725178"/>
                </a:cubicBezTo>
                <a:cubicBezTo>
                  <a:pt x="3070825" y="4725399"/>
                  <a:pt x="3069021" y="4725178"/>
                  <a:pt x="3067218" y="4724293"/>
                </a:cubicBezTo>
                <a:cubicBezTo>
                  <a:pt x="3065714" y="4724846"/>
                  <a:pt x="3062408" y="4719645"/>
                  <a:pt x="3063610" y="4717652"/>
                </a:cubicBezTo>
                <a:cubicBezTo>
                  <a:pt x="3065414" y="4712340"/>
                  <a:pt x="3070825" y="4713668"/>
                  <a:pt x="3077438" y="4713004"/>
                </a:cubicBezTo>
                <a:close/>
                <a:moveTo>
                  <a:pt x="2048434" y="4713004"/>
                </a:moveTo>
                <a:cubicBezTo>
                  <a:pt x="2047231" y="4714996"/>
                  <a:pt x="2049035" y="4715992"/>
                  <a:pt x="2051140" y="4716878"/>
                </a:cubicBezTo>
                <a:cubicBezTo>
                  <a:pt x="2049336" y="4719755"/>
                  <a:pt x="2047231" y="4724514"/>
                  <a:pt x="2043023" y="4725178"/>
                </a:cubicBezTo>
                <a:cubicBezTo>
                  <a:pt x="2041820" y="4725399"/>
                  <a:pt x="2040016" y="4725178"/>
                  <a:pt x="2038213" y="4724293"/>
                </a:cubicBezTo>
                <a:cubicBezTo>
                  <a:pt x="2036709" y="4724846"/>
                  <a:pt x="2033403" y="4719645"/>
                  <a:pt x="2034606" y="4717652"/>
                </a:cubicBezTo>
                <a:cubicBezTo>
                  <a:pt x="2036409" y="4712340"/>
                  <a:pt x="2041820" y="4713668"/>
                  <a:pt x="2048434" y="4713004"/>
                </a:cubicBezTo>
                <a:close/>
                <a:moveTo>
                  <a:pt x="4940649" y="4695629"/>
                </a:moveTo>
                <a:cubicBezTo>
                  <a:pt x="4945759" y="4711787"/>
                  <a:pt x="4934336" y="4722190"/>
                  <a:pt x="4922912" y="4732593"/>
                </a:cubicBezTo>
                <a:cubicBezTo>
                  <a:pt x="4913594" y="4721194"/>
                  <a:pt x="4928924" y="4704040"/>
                  <a:pt x="4940649" y="4695629"/>
                </a:cubicBezTo>
                <a:close/>
                <a:moveTo>
                  <a:pt x="1147190" y="4695629"/>
                </a:moveTo>
                <a:cubicBezTo>
                  <a:pt x="1152000" y="4711787"/>
                  <a:pt x="1140576" y="4722190"/>
                  <a:pt x="1129454" y="4732593"/>
                </a:cubicBezTo>
                <a:cubicBezTo>
                  <a:pt x="1119835" y="4721194"/>
                  <a:pt x="1135165" y="4704040"/>
                  <a:pt x="1147190" y="4695629"/>
                </a:cubicBezTo>
                <a:close/>
                <a:moveTo>
                  <a:pt x="5871653" y="4695518"/>
                </a:moveTo>
                <a:cubicBezTo>
                  <a:pt x="5872555" y="4695518"/>
                  <a:pt x="5873457" y="4695739"/>
                  <a:pt x="5874660" y="4696514"/>
                </a:cubicBezTo>
                <a:cubicBezTo>
                  <a:pt x="5875561" y="4699834"/>
                  <a:pt x="5875261" y="4704040"/>
                  <a:pt x="5874960" y="4708245"/>
                </a:cubicBezTo>
                <a:cubicBezTo>
                  <a:pt x="5866542" y="4710237"/>
                  <a:pt x="5865641" y="4699502"/>
                  <a:pt x="5869549" y="4696404"/>
                </a:cubicBezTo>
                <a:cubicBezTo>
                  <a:pt x="5870150" y="4695850"/>
                  <a:pt x="5870751" y="4695518"/>
                  <a:pt x="5871653" y="4695518"/>
                </a:cubicBezTo>
                <a:close/>
                <a:moveTo>
                  <a:pt x="4616286" y="4695518"/>
                </a:moveTo>
                <a:cubicBezTo>
                  <a:pt x="4617187" y="4695518"/>
                  <a:pt x="4618089" y="4695739"/>
                  <a:pt x="4618991" y="4696514"/>
                </a:cubicBezTo>
                <a:cubicBezTo>
                  <a:pt x="4619893" y="4699834"/>
                  <a:pt x="4619893" y="4704040"/>
                  <a:pt x="4619592" y="4708245"/>
                </a:cubicBezTo>
                <a:cubicBezTo>
                  <a:pt x="4610875" y="4710237"/>
                  <a:pt x="4610274" y="4699502"/>
                  <a:pt x="4613881" y="4696404"/>
                </a:cubicBezTo>
                <a:cubicBezTo>
                  <a:pt x="4614483" y="4695850"/>
                  <a:pt x="4615384" y="4695518"/>
                  <a:pt x="4616286" y="4695518"/>
                </a:cubicBezTo>
                <a:close/>
                <a:moveTo>
                  <a:pt x="3107199" y="4695518"/>
                </a:moveTo>
                <a:cubicBezTo>
                  <a:pt x="3108100" y="4695518"/>
                  <a:pt x="3109003" y="4695739"/>
                  <a:pt x="3110205" y="4696514"/>
                </a:cubicBezTo>
                <a:cubicBezTo>
                  <a:pt x="3111108" y="4699834"/>
                  <a:pt x="3110806" y="4704040"/>
                  <a:pt x="3110505" y="4708245"/>
                </a:cubicBezTo>
                <a:cubicBezTo>
                  <a:pt x="3101788" y="4710237"/>
                  <a:pt x="3101187" y="4699502"/>
                  <a:pt x="3104794" y="4696404"/>
                </a:cubicBezTo>
                <a:cubicBezTo>
                  <a:pt x="3105395" y="4695850"/>
                  <a:pt x="3106298" y="4695518"/>
                  <a:pt x="3107199" y="4695518"/>
                </a:cubicBezTo>
                <a:close/>
                <a:moveTo>
                  <a:pt x="2078194" y="4695518"/>
                </a:moveTo>
                <a:cubicBezTo>
                  <a:pt x="2079097" y="4695518"/>
                  <a:pt x="2079998" y="4695739"/>
                  <a:pt x="2081200" y="4696514"/>
                </a:cubicBezTo>
                <a:cubicBezTo>
                  <a:pt x="2082103" y="4699834"/>
                  <a:pt x="2081501" y="4704040"/>
                  <a:pt x="2081200" y="4708245"/>
                </a:cubicBezTo>
                <a:cubicBezTo>
                  <a:pt x="2072783" y="4710237"/>
                  <a:pt x="2071882" y="4699502"/>
                  <a:pt x="2075789" y="4696404"/>
                </a:cubicBezTo>
                <a:cubicBezTo>
                  <a:pt x="2076391" y="4695850"/>
                  <a:pt x="2077293" y="4695518"/>
                  <a:pt x="2078194" y="4695518"/>
                </a:cubicBezTo>
                <a:close/>
                <a:moveTo>
                  <a:pt x="5314614" y="4693083"/>
                </a:moveTo>
                <a:cubicBezTo>
                  <a:pt x="5314614" y="4693083"/>
                  <a:pt x="5314614" y="4693194"/>
                  <a:pt x="5317319" y="4695518"/>
                </a:cubicBezTo>
                <a:cubicBezTo>
                  <a:pt x="5317619" y="4697068"/>
                  <a:pt x="5317921" y="4698506"/>
                  <a:pt x="5316718" y="4700498"/>
                </a:cubicBezTo>
                <a:cubicBezTo>
                  <a:pt x="5315516" y="4702490"/>
                  <a:pt x="5312510" y="4703597"/>
                  <a:pt x="5311006" y="4704151"/>
                </a:cubicBezTo>
                <a:cubicBezTo>
                  <a:pt x="5310405" y="4702712"/>
                  <a:pt x="5308903" y="4703154"/>
                  <a:pt x="5308602" y="4701605"/>
                </a:cubicBezTo>
                <a:cubicBezTo>
                  <a:pt x="5305896" y="4699281"/>
                  <a:pt x="5306196" y="4699281"/>
                  <a:pt x="5307099" y="4697289"/>
                </a:cubicBezTo>
                <a:cubicBezTo>
                  <a:pt x="5308302" y="4695297"/>
                  <a:pt x="5313411" y="4695075"/>
                  <a:pt x="5314614" y="4693083"/>
                </a:cubicBezTo>
                <a:close/>
                <a:moveTo>
                  <a:pt x="4059246" y="4693083"/>
                </a:moveTo>
                <a:cubicBezTo>
                  <a:pt x="4059246" y="4693083"/>
                  <a:pt x="4059246" y="4693194"/>
                  <a:pt x="4061651" y="4695518"/>
                </a:cubicBezTo>
                <a:cubicBezTo>
                  <a:pt x="4062252" y="4697068"/>
                  <a:pt x="4062553" y="4698506"/>
                  <a:pt x="4061351" y="4700498"/>
                </a:cubicBezTo>
                <a:cubicBezTo>
                  <a:pt x="4060149" y="4702490"/>
                  <a:pt x="4056841" y="4703597"/>
                  <a:pt x="4055338" y="4704151"/>
                </a:cubicBezTo>
                <a:cubicBezTo>
                  <a:pt x="4055038" y="4702601"/>
                  <a:pt x="4053234" y="4703154"/>
                  <a:pt x="4052933" y="4701605"/>
                </a:cubicBezTo>
                <a:cubicBezTo>
                  <a:pt x="4050528" y="4699281"/>
                  <a:pt x="4050528" y="4699281"/>
                  <a:pt x="4051731" y="4697289"/>
                </a:cubicBezTo>
                <a:cubicBezTo>
                  <a:pt x="4052933" y="4695297"/>
                  <a:pt x="4058044" y="4695075"/>
                  <a:pt x="4059246" y="4693083"/>
                </a:cubicBezTo>
                <a:close/>
                <a:moveTo>
                  <a:pt x="1521155" y="4693083"/>
                </a:moveTo>
                <a:cubicBezTo>
                  <a:pt x="1521155" y="4693083"/>
                  <a:pt x="1521155" y="4693194"/>
                  <a:pt x="1523560" y="4695518"/>
                </a:cubicBezTo>
                <a:cubicBezTo>
                  <a:pt x="1523860" y="4697068"/>
                  <a:pt x="1524462" y="4698506"/>
                  <a:pt x="1523259" y="4700498"/>
                </a:cubicBezTo>
                <a:cubicBezTo>
                  <a:pt x="1522057" y="4702490"/>
                  <a:pt x="1518751" y="4703597"/>
                  <a:pt x="1517247" y="4704151"/>
                </a:cubicBezTo>
                <a:cubicBezTo>
                  <a:pt x="1516646" y="4702712"/>
                  <a:pt x="1515143" y="4703154"/>
                  <a:pt x="1514842" y="4701605"/>
                </a:cubicBezTo>
                <a:cubicBezTo>
                  <a:pt x="1512437" y="4699281"/>
                  <a:pt x="1512437" y="4699281"/>
                  <a:pt x="1513340" y="4697289"/>
                </a:cubicBezTo>
                <a:cubicBezTo>
                  <a:pt x="1514542" y="4695297"/>
                  <a:pt x="1519953" y="4695075"/>
                  <a:pt x="1521155" y="4693083"/>
                </a:cubicBezTo>
                <a:close/>
                <a:moveTo>
                  <a:pt x="5555406" y="4691755"/>
                </a:moveTo>
                <a:cubicBezTo>
                  <a:pt x="5556309" y="4691423"/>
                  <a:pt x="5556910" y="4691423"/>
                  <a:pt x="5557812" y="4692309"/>
                </a:cubicBezTo>
                <a:cubicBezTo>
                  <a:pt x="5559315" y="4693969"/>
                  <a:pt x="5560817" y="4694190"/>
                  <a:pt x="5559315" y="4697068"/>
                </a:cubicBezTo>
                <a:cubicBezTo>
                  <a:pt x="5559315" y="4698506"/>
                  <a:pt x="5557511" y="4699945"/>
                  <a:pt x="5557511" y="4701384"/>
                </a:cubicBezTo>
                <a:cubicBezTo>
                  <a:pt x="5557511" y="4701384"/>
                  <a:pt x="5556309" y="4701605"/>
                  <a:pt x="5554805" y="4701605"/>
                </a:cubicBezTo>
                <a:cubicBezTo>
                  <a:pt x="5553603" y="4701716"/>
                  <a:pt x="5551799" y="4701494"/>
                  <a:pt x="5551198" y="4700609"/>
                </a:cubicBezTo>
                <a:cubicBezTo>
                  <a:pt x="5547891" y="4698728"/>
                  <a:pt x="5553002" y="4694854"/>
                  <a:pt x="5553002" y="4693305"/>
                </a:cubicBezTo>
                <a:cubicBezTo>
                  <a:pt x="5553904" y="4692641"/>
                  <a:pt x="5554505" y="4691977"/>
                  <a:pt x="5555406" y="4691755"/>
                </a:cubicBezTo>
                <a:close/>
                <a:moveTo>
                  <a:pt x="4299738" y="4691755"/>
                </a:moveTo>
                <a:cubicBezTo>
                  <a:pt x="4300640" y="4691423"/>
                  <a:pt x="4301541" y="4691423"/>
                  <a:pt x="4302444" y="4692309"/>
                </a:cubicBezTo>
                <a:cubicBezTo>
                  <a:pt x="4303946" y="4693969"/>
                  <a:pt x="4305450" y="4694190"/>
                  <a:pt x="4303646" y="4697068"/>
                </a:cubicBezTo>
                <a:cubicBezTo>
                  <a:pt x="4303646" y="4698506"/>
                  <a:pt x="4302143" y="4699945"/>
                  <a:pt x="4302143" y="4701384"/>
                </a:cubicBezTo>
                <a:cubicBezTo>
                  <a:pt x="4302143" y="4701384"/>
                  <a:pt x="4300640" y="4701605"/>
                  <a:pt x="4299438" y="4701605"/>
                </a:cubicBezTo>
                <a:cubicBezTo>
                  <a:pt x="4297934" y="4701716"/>
                  <a:pt x="4296432" y="4701494"/>
                  <a:pt x="4295529" y="4700609"/>
                </a:cubicBezTo>
                <a:cubicBezTo>
                  <a:pt x="4292523" y="4698728"/>
                  <a:pt x="4297333" y="4694854"/>
                  <a:pt x="4297634" y="4693305"/>
                </a:cubicBezTo>
                <a:cubicBezTo>
                  <a:pt x="4298235" y="4692641"/>
                  <a:pt x="4299137" y="4691977"/>
                  <a:pt x="4299738" y="4691755"/>
                </a:cubicBezTo>
                <a:close/>
                <a:moveTo>
                  <a:pt x="2790952" y="4691755"/>
                </a:moveTo>
                <a:cubicBezTo>
                  <a:pt x="2791854" y="4691423"/>
                  <a:pt x="2792456" y="4691423"/>
                  <a:pt x="2793357" y="4692309"/>
                </a:cubicBezTo>
                <a:cubicBezTo>
                  <a:pt x="2794861" y="4693969"/>
                  <a:pt x="2796363" y="4694190"/>
                  <a:pt x="2794861" y="4697068"/>
                </a:cubicBezTo>
                <a:cubicBezTo>
                  <a:pt x="2794559" y="4698506"/>
                  <a:pt x="2793057" y="4699945"/>
                  <a:pt x="2793057" y="4701384"/>
                </a:cubicBezTo>
                <a:cubicBezTo>
                  <a:pt x="2793057" y="4701384"/>
                  <a:pt x="2791854" y="4701605"/>
                  <a:pt x="2790351" y="4701605"/>
                </a:cubicBezTo>
                <a:cubicBezTo>
                  <a:pt x="2789148" y="4701716"/>
                  <a:pt x="2787345" y="4701494"/>
                  <a:pt x="2786744" y="4700609"/>
                </a:cubicBezTo>
                <a:cubicBezTo>
                  <a:pt x="2783436" y="4698728"/>
                  <a:pt x="2788547" y="4694854"/>
                  <a:pt x="2788547" y="4693305"/>
                </a:cubicBezTo>
                <a:cubicBezTo>
                  <a:pt x="2789148" y="4692641"/>
                  <a:pt x="2790051" y="4691977"/>
                  <a:pt x="2790952" y="4691755"/>
                </a:cubicBezTo>
                <a:close/>
                <a:moveTo>
                  <a:pt x="1761647" y="4691755"/>
                </a:moveTo>
                <a:cubicBezTo>
                  <a:pt x="1762548" y="4691423"/>
                  <a:pt x="1763451" y="4691423"/>
                  <a:pt x="1764052" y="4692309"/>
                </a:cubicBezTo>
                <a:cubicBezTo>
                  <a:pt x="1765556" y="4693969"/>
                  <a:pt x="1767358" y="4694190"/>
                  <a:pt x="1765556" y="4697068"/>
                </a:cubicBezTo>
                <a:cubicBezTo>
                  <a:pt x="1765556" y="4698506"/>
                  <a:pt x="1764052" y="4699945"/>
                  <a:pt x="1763751" y="4701384"/>
                </a:cubicBezTo>
                <a:cubicBezTo>
                  <a:pt x="1763751" y="4701384"/>
                  <a:pt x="1762850" y="4701605"/>
                  <a:pt x="1761346" y="4701605"/>
                </a:cubicBezTo>
                <a:cubicBezTo>
                  <a:pt x="1759844" y="4701716"/>
                  <a:pt x="1758340" y="4701494"/>
                  <a:pt x="1757439" y="4700609"/>
                </a:cubicBezTo>
                <a:cubicBezTo>
                  <a:pt x="1754433" y="4698728"/>
                  <a:pt x="1759242" y="4694854"/>
                  <a:pt x="1759242" y="4693305"/>
                </a:cubicBezTo>
                <a:cubicBezTo>
                  <a:pt x="1760144" y="4692641"/>
                  <a:pt x="1761046" y="4691977"/>
                  <a:pt x="1761647" y="4691755"/>
                </a:cubicBezTo>
                <a:close/>
                <a:moveTo>
                  <a:pt x="5972961" y="4689099"/>
                </a:moveTo>
                <a:cubicBezTo>
                  <a:pt x="5978372" y="4693083"/>
                  <a:pt x="5980176" y="4697621"/>
                  <a:pt x="5979575" y="4706032"/>
                </a:cubicBezTo>
                <a:cubicBezTo>
                  <a:pt x="5973562" y="4710569"/>
                  <a:pt x="5959132" y="4707471"/>
                  <a:pt x="5959733" y="4696957"/>
                </a:cubicBezTo>
                <a:cubicBezTo>
                  <a:pt x="5962439" y="4692973"/>
                  <a:pt x="5965144" y="4689099"/>
                  <a:pt x="5972961" y="4689099"/>
                </a:cubicBezTo>
                <a:close/>
                <a:moveTo>
                  <a:pt x="2179201" y="4689099"/>
                </a:moveTo>
                <a:cubicBezTo>
                  <a:pt x="2184613" y="4693083"/>
                  <a:pt x="2186415" y="4697621"/>
                  <a:pt x="2185815" y="4706032"/>
                </a:cubicBezTo>
                <a:lnTo>
                  <a:pt x="2174692" y="4706917"/>
                </a:lnTo>
                <a:lnTo>
                  <a:pt x="2173490" y="4716324"/>
                </a:lnTo>
                <a:cubicBezTo>
                  <a:pt x="2169882" y="4722190"/>
                  <a:pt x="2164170" y="4727391"/>
                  <a:pt x="2158459" y="4732593"/>
                </a:cubicBezTo>
                <a:cubicBezTo>
                  <a:pt x="2151545" y="4724071"/>
                  <a:pt x="2158158" y="4712230"/>
                  <a:pt x="2166876" y="4703376"/>
                </a:cubicBezTo>
                <a:lnTo>
                  <a:pt x="2169581" y="4701273"/>
                </a:lnTo>
                <a:lnTo>
                  <a:pt x="2166275" y="4696957"/>
                </a:lnTo>
                <a:cubicBezTo>
                  <a:pt x="2168680" y="4692973"/>
                  <a:pt x="2171385" y="4689099"/>
                  <a:pt x="2179201" y="4689099"/>
                </a:cubicBezTo>
                <a:close/>
                <a:moveTo>
                  <a:pt x="5767941" y="4688657"/>
                </a:moveTo>
                <a:cubicBezTo>
                  <a:pt x="5765536" y="4699613"/>
                  <a:pt x="5742089" y="4710348"/>
                  <a:pt x="5735776" y="4708135"/>
                </a:cubicBezTo>
                <a:cubicBezTo>
                  <a:pt x="5738480" y="4702048"/>
                  <a:pt x="5745095" y="4700830"/>
                  <a:pt x="5749002" y="4693969"/>
                </a:cubicBezTo>
                <a:cubicBezTo>
                  <a:pt x="5754714" y="4694743"/>
                  <a:pt x="5760425" y="4687218"/>
                  <a:pt x="5767941" y="4688657"/>
                </a:cubicBezTo>
                <a:close/>
                <a:moveTo>
                  <a:pt x="4512573" y="4688657"/>
                </a:moveTo>
                <a:cubicBezTo>
                  <a:pt x="4510169" y="4699613"/>
                  <a:pt x="4486420" y="4710459"/>
                  <a:pt x="4480408" y="4708245"/>
                </a:cubicBezTo>
                <a:cubicBezTo>
                  <a:pt x="4482813" y="4702158"/>
                  <a:pt x="4489426" y="4700830"/>
                  <a:pt x="4493635" y="4693969"/>
                </a:cubicBezTo>
                <a:cubicBezTo>
                  <a:pt x="4499347" y="4694743"/>
                  <a:pt x="4504758" y="4687218"/>
                  <a:pt x="4512573" y="4688657"/>
                </a:cubicBezTo>
                <a:close/>
                <a:moveTo>
                  <a:pt x="3003487" y="4688657"/>
                </a:moveTo>
                <a:cubicBezTo>
                  <a:pt x="3001082" y="4699613"/>
                  <a:pt x="2977634" y="4710348"/>
                  <a:pt x="2971321" y="4708135"/>
                </a:cubicBezTo>
                <a:cubicBezTo>
                  <a:pt x="2974027" y="4702048"/>
                  <a:pt x="2980339" y="4700830"/>
                  <a:pt x="2984548" y="4693969"/>
                </a:cubicBezTo>
                <a:cubicBezTo>
                  <a:pt x="2990260" y="4694743"/>
                  <a:pt x="2995972" y="4687218"/>
                  <a:pt x="3003487" y="4688657"/>
                </a:cubicBezTo>
                <a:close/>
                <a:moveTo>
                  <a:pt x="1974483" y="4688657"/>
                </a:moveTo>
                <a:cubicBezTo>
                  <a:pt x="1972077" y="4699613"/>
                  <a:pt x="1948328" y="4710348"/>
                  <a:pt x="1942316" y="4708135"/>
                </a:cubicBezTo>
                <a:cubicBezTo>
                  <a:pt x="1945022" y="4702048"/>
                  <a:pt x="1951336" y="4700830"/>
                  <a:pt x="1955544" y="4693969"/>
                </a:cubicBezTo>
                <a:cubicBezTo>
                  <a:pt x="1960955" y="4694743"/>
                  <a:pt x="1966666" y="4687218"/>
                  <a:pt x="1974483" y="4688657"/>
                </a:cubicBezTo>
                <a:close/>
                <a:moveTo>
                  <a:pt x="5089453" y="4687107"/>
                </a:moveTo>
                <a:cubicBezTo>
                  <a:pt x="5096067" y="4691977"/>
                  <a:pt x="5093362" y="4701052"/>
                  <a:pt x="5086748" y="4702380"/>
                </a:cubicBezTo>
                <a:cubicBezTo>
                  <a:pt x="5075325" y="4697178"/>
                  <a:pt x="5082840" y="4686886"/>
                  <a:pt x="5089453" y="4687107"/>
                </a:cubicBezTo>
                <a:close/>
                <a:moveTo>
                  <a:pt x="2324698" y="4687107"/>
                </a:moveTo>
                <a:cubicBezTo>
                  <a:pt x="2331613" y="4691977"/>
                  <a:pt x="2328606" y="4701052"/>
                  <a:pt x="2322293" y="4702380"/>
                </a:cubicBezTo>
                <a:cubicBezTo>
                  <a:pt x="2310870" y="4697178"/>
                  <a:pt x="2318386" y="4686886"/>
                  <a:pt x="2324698" y="4687107"/>
                </a:cubicBezTo>
                <a:close/>
                <a:moveTo>
                  <a:pt x="1295694" y="4687107"/>
                </a:moveTo>
                <a:cubicBezTo>
                  <a:pt x="1302308" y="4691977"/>
                  <a:pt x="1299602" y="4701052"/>
                  <a:pt x="1293289" y="4702380"/>
                </a:cubicBezTo>
                <a:cubicBezTo>
                  <a:pt x="1281865" y="4697178"/>
                  <a:pt x="1289381" y="4686886"/>
                  <a:pt x="1295694" y="4687107"/>
                </a:cubicBezTo>
                <a:close/>
                <a:moveTo>
                  <a:pt x="5134545" y="4685336"/>
                </a:moveTo>
                <a:cubicBezTo>
                  <a:pt x="5141460" y="4686111"/>
                  <a:pt x="5146570" y="4686000"/>
                  <a:pt x="5153485" y="4686775"/>
                </a:cubicBezTo>
                <a:cubicBezTo>
                  <a:pt x="5154386" y="4687218"/>
                  <a:pt x="5156189" y="4688657"/>
                  <a:pt x="5157392" y="4690095"/>
                </a:cubicBezTo>
                <a:cubicBezTo>
                  <a:pt x="5158896" y="4691645"/>
                  <a:pt x="5159497" y="4693305"/>
                  <a:pt x="5159196" y="4694301"/>
                </a:cubicBezTo>
                <a:cubicBezTo>
                  <a:pt x="5157993" y="4696293"/>
                  <a:pt x="5156490" y="4696846"/>
                  <a:pt x="5154987" y="4697400"/>
                </a:cubicBezTo>
                <a:cubicBezTo>
                  <a:pt x="5151380" y="4696957"/>
                  <a:pt x="5148074" y="4696514"/>
                  <a:pt x="5144466" y="4696072"/>
                </a:cubicBezTo>
                <a:cubicBezTo>
                  <a:pt x="5138754" y="4693415"/>
                  <a:pt x="5132742" y="4690649"/>
                  <a:pt x="5134545" y="4685336"/>
                </a:cubicBezTo>
                <a:close/>
                <a:moveTo>
                  <a:pt x="2370091" y="4685336"/>
                </a:moveTo>
                <a:cubicBezTo>
                  <a:pt x="2377006" y="4686111"/>
                  <a:pt x="2382116" y="4686000"/>
                  <a:pt x="2389030" y="4686775"/>
                </a:cubicBezTo>
                <a:cubicBezTo>
                  <a:pt x="2389932" y="4687218"/>
                  <a:pt x="2391735" y="4688657"/>
                  <a:pt x="2392939" y="4690095"/>
                </a:cubicBezTo>
                <a:cubicBezTo>
                  <a:pt x="2394141" y="4691645"/>
                  <a:pt x="2395042" y="4693305"/>
                  <a:pt x="2394441" y="4694301"/>
                </a:cubicBezTo>
                <a:cubicBezTo>
                  <a:pt x="2393540" y="4696293"/>
                  <a:pt x="2392036" y="4696846"/>
                  <a:pt x="2390534" y="4697400"/>
                </a:cubicBezTo>
                <a:cubicBezTo>
                  <a:pt x="2386925" y="4696957"/>
                  <a:pt x="2383318" y="4696514"/>
                  <a:pt x="2380012" y="4696072"/>
                </a:cubicBezTo>
                <a:cubicBezTo>
                  <a:pt x="2374000" y="4693415"/>
                  <a:pt x="2368288" y="4690649"/>
                  <a:pt x="2370091" y="4685336"/>
                </a:cubicBezTo>
                <a:close/>
                <a:moveTo>
                  <a:pt x="1341087" y="4685336"/>
                </a:moveTo>
                <a:cubicBezTo>
                  <a:pt x="1348001" y="4686111"/>
                  <a:pt x="1353112" y="4686000"/>
                  <a:pt x="1360025" y="4686775"/>
                </a:cubicBezTo>
                <a:cubicBezTo>
                  <a:pt x="1360928" y="4687218"/>
                  <a:pt x="1362430" y="4688657"/>
                  <a:pt x="1363934" y="4690095"/>
                </a:cubicBezTo>
                <a:cubicBezTo>
                  <a:pt x="1365136" y="4691645"/>
                  <a:pt x="1366038" y="4693305"/>
                  <a:pt x="1365436" y="4694301"/>
                </a:cubicBezTo>
                <a:cubicBezTo>
                  <a:pt x="1364234" y="4696293"/>
                  <a:pt x="1362731" y="4696846"/>
                  <a:pt x="1361228" y="4697400"/>
                </a:cubicBezTo>
                <a:cubicBezTo>
                  <a:pt x="1357922" y="4696957"/>
                  <a:pt x="1354314" y="4696514"/>
                  <a:pt x="1350706" y="4696072"/>
                </a:cubicBezTo>
                <a:cubicBezTo>
                  <a:pt x="1344995" y="4693415"/>
                  <a:pt x="1339283" y="4690649"/>
                  <a:pt x="1341087" y="4685336"/>
                </a:cubicBezTo>
                <a:close/>
                <a:moveTo>
                  <a:pt x="5260804" y="4685115"/>
                </a:moveTo>
                <a:cubicBezTo>
                  <a:pt x="5267116" y="4690317"/>
                  <a:pt x="5270424" y="4686222"/>
                  <a:pt x="5280043" y="4694743"/>
                </a:cubicBezTo>
                <a:cubicBezTo>
                  <a:pt x="5292669" y="4705257"/>
                  <a:pt x="5289061" y="4715328"/>
                  <a:pt x="5283951" y="4720862"/>
                </a:cubicBezTo>
                <a:cubicBezTo>
                  <a:pt x="5282749" y="4719534"/>
                  <a:pt x="5276136" y="4726949"/>
                  <a:pt x="5266816" y="4725621"/>
                </a:cubicBezTo>
                <a:cubicBezTo>
                  <a:pt x="5263509" y="4725178"/>
                  <a:pt x="5260203" y="4723850"/>
                  <a:pt x="5256595" y="4720862"/>
                </a:cubicBezTo>
                <a:cubicBezTo>
                  <a:pt x="5248779" y="4713890"/>
                  <a:pt x="5242767" y="4704151"/>
                  <a:pt x="5254191" y="4693415"/>
                </a:cubicBezTo>
                <a:cubicBezTo>
                  <a:pt x="5255994" y="4690538"/>
                  <a:pt x="5255994" y="4692087"/>
                  <a:pt x="5257497" y="4690759"/>
                </a:cubicBezTo>
                <a:cubicBezTo>
                  <a:pt x="5259301" y="4689431"/>
                  <a:pt x="5260804" y="4686554"/>
                  <a:pt x="5260804" y="4685115"/>
                </a:cubicBezTo>
                <a:close/>
                <a:moveTo>
                  <a:pt x="4005436" y="4685115"/>
                </a:moveTo>
                <a:cubicBezTo>
                  <a:pt x="4011749" y="4690317"/>
                  <a:pt x="4015056" y="4686222"/>
                  <a:pt x="4024375" y="4694743"/>
                </a:cubicBezTo>
                <a:cubicBezTo>
                  <a:pt x="4037001" y="4705257"/>
                  <a:pt x="4033393" y="4715328"/>
                  <a:pt x="4028583" y="4720862"/>
                </a:cubicBezTo>
                <a:cubicBezTo>
                  <a:pt x="4027381" y="4719534"/>
                  <a:pt x="4020467" y="4726949"/>
                  <a:pt x="4011148" y="4725621"/>
                </a:cubicBezTo>
                <a:cubicBezTo>
                  <a:pt x="4008142" y="4725178"/>
                  <a:pt x="4004535" y="4723850"/>
                  <a:pt x="4000927" y="4720862"/>
                </a:cubicBezTo>
                <a:cubicBezTo>
                  <a:pt x="3993111" y="4713890"/>
                  <a:pt x="3987098" y="4704151"/>
                  <a:pt x="3998822" y="4693415"/>
                </a:cubicBezTo>
                <a:cubicBezTo>
                  <a:pt x="4000326" y="4690538"/>
                  <a:pt x="4000326" y="4692087"/>
                  <a:pt x="4002130" y="4690759"/>
                </a:cubicBezTo>
                <a:cubicBezTo>
                  <a:pt x="4003632" y="4689431"/>
                  <a:pt x="4005436" y="4686554"/>
                  <a:pt x="4005436" y="4685115"/>
                </a:cubicBezTo>
                <a:close/>
                <a:moveTo>
                  <a:pt x="1467345" y="4685115"/>
                </a:moveTo>
                <a:cubicBezTo>
                  <a:pt x="1473357" y="4690317"/>
                  <a:pt x="1476965" y="4686222"/>
                  <a:pt x="1486284" y="4694743"/>
                </a:cubicBezTo>
                <a:cubicBezTo>
                  <a:pt x="1498909" y="4705257"/>
                  <a:pt x="1495302" y="4715328"/>
                  <a:pt x="1490492" y="4720862"/>
                </a:cubicBezTo>
                <a:cubicBezTo>
                  <a:pt x="1489290" y="4719534"/>
                  <a:pt x="1482375" y="4726949"/>
                  <a:pt x="1473057" y="4725621"/>
                </a:cubicBezTo>
                <a:cubicBezTo>
                  <a:pt x="1469750" y="4725178"/>
                  <a:pt x="1466444" y="4723850"/>
                  <a:pt x="1463137" y="4720862"/>
                </a:cubicBezTo>
                <a:cubicBezTo>
                  <a:pt x="1455321" y="4713890"/>
                  <a:pt x="1449007" y="4704151"/>
                  <a:pt x="1460431" y="4693415"/>
                </a:cubicBezTo>
                <a:cubicBezTo>
                  <a:pt x="1462234" y="4690538"/>
                  <a:pt x="1462234" y="4692087"/>
                  <a:pt x="1464038" y="4690759"/>
                </a:cubicBezTo>
                <a:cubicBezTo>
                  <a:pt x="1465541" y="4689431"/>
                  <a:pt x="1467045" y="4686554"/>
                  <a:pt x="1467345" y="4685115"/>
                </a:cubicBezTo>
                <a:close/>
                <a:moveTo>
                  <a:pt x="3523851" y="4681242"/>
                </a:moveTo>
                <a:lnTo>
                  <a:pt x="3519042" y="4684119"/>
                </a:lnTo>
                <a:lnTo>
                  <a:pt x="3526857" y="4681352"/>
                </a:lnTo>
                <a:close/>
                <a:moveTo>
                  <a:pt x="4961992" y="4679581"/>
                </a:moveTo>
                <a:cubicBezTo>
                  <a:pt x="4961692" y="4686332"/>
                  <a:pt x="4959889" y="4692530"/>
                  <a:pt x="4955379" y="4697400"/>
                </a:cubicBezTo>
                <a:cubicBezTo>
                  <a:pt x="4948465" y="4694190"/>
                  <a:pt x="4943956" y="4686886"/>
                  <a:pt x="4940047" y="4681574"/>
                </a:cubicBezTo>
                <a:cubicBezTo>
                  <a:pt x="4947262" y="4681352"/>
                  <a:pt x="4951170" y="4686664"/>
                  <a:pt x="4961992" y="4679581"/>
                </a:cubicBezTo>
                <a:close/>
                <a:moveTo>
                  <a:pt x="2197538" y="4679581"/>
                </a:moveTo>
                <a:cubicBezTo>
                  <a:pt x="2197238" y="4686332"/>
                  <a:pt x="2195435" y="4692530"/>
                  <a:pt x="2190925" y="4697400"/>
                </a:cubicBezTo>
                <a:cubicBezTo>
                  <a:pt x="2184010" y="4694190"/>
                  <a:pt x="2179502" y="4686886"/>
                  <a:pt x="2175593" y="4681574"/>
                </a:cubicBezTo>
                <a:cubicBezTo>
                  <a:pt x="2182508" y="4681352"/>
                  <a:pt x="2186415" y="4686664"/>
                  <a:pt x="2197538" y="4679581"/>
                </a:cubicBezTo>
                <a:close/>
                <a:moveTo>
                  <a:pt x="1168534" y="4679581"/>
                </a:moveTo>
                <a:cubicBezTo>
                  <a:pt x="1167933" y="4686332"/>
                  <a:pt x="1166129" y="4692530"/>
                  <a:pt x="1161620" y="4697400"/>
                </a:cubicBezTo>
                <a:cubicBezTo>
                  <a:pt x="1154705" y="4694190"/>
                  <a:pt x="1150497" y="4686886"/>
                  <a:pt x="1146589" y="4681574"/>
                </a:cubicBezTo>
                <a:cubicBezTo>
                  <a:pt x="1153503" y="4681352"/>
                  <a:pt x="1157411" y="4686664"/>
                  <a:pt x="1168534" y="4679581"/>
                </a:cubicBezTo>
                <a:close/>
                <a:moveTo>
                  <a:pt x="4669194" y="4679139"/>
                </a:moveTo>
                <a:lnTo>
                  <a:pt x="4669795" y="4691313"/>
                </a:lnTo>
                <a:lnTo>
                  <a:pt x="4669194" y="4705700"/>
                </a:lnTo>
                <a:lnTo>
                  <a:pt x="4671899" y="4701384"/>
                </a:lnTo>
                <a:cubicBezTo>
                  <a:pt x="4674605" y="4695629"/>
                  <a:pt x="4675508" y="4690317"/>
                  <a:pt x="4673101" y="4685447"/>
                </a:cubicBezTo>
                <a:close/>
                <a:moveTo>
                  <a:pt x="5764935" y="4679028"/>
                </a:moveTo>
                <a:cubicBezTo>
                  <a:pt x="5782971" y="4681352"/>
                  <a:pt x="5788683" y="4695075"/>
                  <a:pt x="5794395" y="4708799"/>
                </a:cubicBezTo>
                <a:cubicBezTo>
                  <a:pt x="5779364" y="4712119"/>
                  <a:pt x="5768543" y="4692419"/>
                  <a:pt x="5764935" y="4679028"/>
                </a:cubicBezTo>
                <a:close/>
                <a:moveTo>
                  <a:pt x="4509568" y="4679028"/>
                </a:moveTo>
                <a:cubicBezTo>
                  <a:pt x="4527604" y="4681352"/>
                  <a:pt x="4533316" y="4695075"/>
                  <a:pt x="4539028" y="4708799"/>
                </a:cubicBezTo>
                <a:cubicBezTo>
                  <a:pt x="4523997" y="4712119"/>
                  <a:pt x="4512875" y="4692419"/>
                  <a:pt x="4509568" y="4679028"/>
                </a:cubicBezTo>
                <a:close/>
                <a:moveTo>
                  <a:pt x="3000481" y="4679028"/>
                </a:moveTo>
                <a:cubicBezTo>
                  <a:pt x="3018518" y="4681352"/>
                  <a:pt x="3024229" y="4695075"/>
                  <a:pt x="3029941" y="4708799"/>
                </a:cubicBezTo>
                <a:cubicBezTo>
                  <a:pt x="3014911" y="4712119"/>
                  <a:pt x="3003788" y="4692419"/>
                  <a:pt x="3000481" y="4679028"/>
                </a:cubicBezTo>
                <a:close/>
                <a:moveTo>
                  <a:pt x="1971476" y="4679028"/>
                </a:moveTo>
                <a:cubicBezTo>
                  <a:pt x="1989513" y="4681352"/>
                  <a:pt x="1995224" y="4695075"/>
                  <a:pt x="2000936" y="4708799"/>
                </a:cubicBezTo>
                <a:cubicBezTo>
                  <a:pt x="1985906" y="4712119"/>
                  <a:pt x="1974783" y="4692419"/>
                  <a:pt x="1971476" y="4679028"/>
                </a:cubicBezTo>
                <a:close/>
                <a:moveTo>
                  <a:pt x="5206692" y="4678585"/>
                </a:moveTo>
                <a:cubicBezTo>
                  <a:pt x="5206994" y="4679028"/>
                  <a:pt x="5207295" y="4679913"/>
                  <a:pt x="5207896" y="4680799"/>
                </a:cubicBezTo>
                <a:cubicBezTo>
                  <a:pt x="5206392" y="4680578"/>
                  <a:pt x="5207896" y="4680688"/>
                  <a:pt x="5205190" y="4678807"/>
                </a:cubicBezTo>
                <a:cubicBezTo>
                  <a:pt x="5205791" y="4678032"/>
                  <a:pt x="5206091" y="4678032"/>
                  <a:pt x="5206692" y="4678585"/>
                </a:cubicBezTo>
                <a:close/>
                <a:moveTo>
                  <a:pt x="2441938" y="4678585"/>
                </a:moveTo>
                <a:cubicBezTo>
                  <a:pt x="2442540" y="4679028"/>
                  <a:pt x="2442841" y="4679913"/>
                  <a:pt x="2443442" y="4680799"/>
                </a:cubicBezTo>
                <a:cubicBezTo>
                  <a:pt x="2441938" y="4680578"/>
                  <a:pt x="2443442" y="4680688"/>
                  <a:pt x="2440736" y="4678807"/>
                </a:cubicBezTo>
                <a:cubicBezTo>
                  <a:pt x="2441337" y="4678032"/>
                  <a:pt x="2441638" y="4678032"/>
                  <a:pt x="2441938" y="4678585"/>
                </a:cubicBezTo>
                <a:close/>
                <a:moveTo>
                  <a:pt x="1412933" y="4678585"/>
                </a:moveTo>
                <a:cubicBezTo>
                  <a:pt x="1413235" y="4679028"/>
                  <a:pt x="1413535" y="4679913"/>
                  <a:pt x="1414437" y="4680799"/>
                </a:cubicBezTo>
                <a:cubicBezTo>
                  <a:pt x="1412933" y="4680578"/>
                  <a:pt x="1414437" y="4680688"/>
                  <a:pt x="1411431" y="4678807"/>
                </a:cubicBezTo>
                <a:cubicBezTo>
                  <a:pt x="1412332" y="4678032"/>
                  <a:pt x="1412633" y="4678032"/>
                  <a:pt x="1412933" y="4678585"/>
                </a:cubicBezTo>
                <a:close/>
                <a:moveTo>
                  <a:pt x="6252232" y="4678253"/>
                </a:moveTo>
                <a:cubicBezTo>
                  <a:pt x="6254035" y="4678143"/>
                  <a:pt x="6255539" y="4678475"/>
                  <a:pt x="6256741" y="4679360"/>
                </a:cubicBezTo>
                <a:cubicBezTo>
                  <a:pt x="6259146" y="4680910"/>
                  <a:pt x="6260950" y="4684230"/>
                  <a:pt x="6261551" y="4688989"/>
                </a:cubicBezTo>
                <a:cubicBezTo>
                  <a:pt x="6258545" y="4691202"/>
                  <a:pt x="6257042" y="4693969"/>
                  <a:pt x="6253134" y="4697510"/>
                </a:cubicBezTo>
                <a:cubicBezTo>
                  <a:pt x="6249225" y="4695518"/>
                  <a:pt x="6243213" y="4687550"/>
                  <a:pt x="6245920" y="4680024"/>
                </a:cubicBezTo>
                <a:cubicBezTo>
                  <a:pt x="6248324" y="4678917"/>
                  <a:pt x="6250428" y="4678253"/>
                  <a:pt x="6252232" y="4678253"/>
                </a:cubicBezTo>
                <a:close/>
                <a:moveTo>
                  <a:pt x="4996563" y="4678253"/>
                </a:moveTo>
                <a:cubicBezTo>
                  <a:pt x="4998368" y="4678143"/>
                  <a:pt x="4999870" y="4678475"/>
                  <a:pt x="5001072" y="4679360"/>
                </a:cubicBezTo>
                <a:cubicBezTo>
                  <a:pt x="5003779" y="4680910"/>
                  <a:pt x="5005281" y="4684230"/>
                  <a:pt x="5005882" y="4688989"/>
                </a:cubicBezTo>
                <a:cubicBezTo>
                  <a:pt x="5003178" y="4691202"/>
                  <a:pt x="5001372" y="4693969"/>
                  <a:pt x="4997767" y="4697510"/>
                </a:cubicBezTo>
                <a:cubicBezTo>
                  <a:pt x="4993557" y="4695518"/>
                  <a:pt x="4987545" y="4687550"/>
                  <a:pt x="4990250" y="4680024"/>
                </a:cubicBezTo>
                <a:cubicBezTo>
                  <a:pt x="4992656" y="4678917"/>
                  <a:pt x="4994759" y="4678253"/>
                  <a:pt x="4996563" y="4678253"/>
                </a:cubicBezTo>
                <a:close/>
                <a:moveTo>
                  <a:pt x="2505969" y="4676593"/>
                </a:moveTo>
                <a:cubicBezTo>
                  <a:pt x="2509577" y="4677036"/>
                  <a:pt x="2513184" y="4678253"/>
                  <a:pt x="2514688" y="4677589"/>
                </a:cubicBezTo>
                <a:cubicBezTo>
                  <a:pt x="2518896" y="4679692"/>
                  <a:pt x="2522803" y="4681684"/>
                  <a:pt x="2520700" y="4686222"/>
                </a:cubicBezTo>
                <a:cubicBezTo>
                  <a:pt x="2519797" y="4688435"/>
                  <a:pt x="2519497" y="4690427"/>
                  <a:pt x="2518595" y="4691755"/>
                </a:cubicBezTo>
                <a:lnTo>
                  <a:pt x="2513184" y="4693194"/>
                </a:lnTo>
                <a:lnTo>
                  <a:pt x="2515589" y="4694743"/>
                </a:lnTo>
                <a:cubicBezTo>
                  <a:pt x="2527914" y="4705257"/>
                  <a:pt x="2524608" y="4715328"/>
                  <a:pt x="2519497" y="4720862"/>
                </a:cubicBezTo>
                <a:cubicBezTo>
                  <a:pt x="2518295" y="4719534"/>
                  <a:pt x="2511380" y="4726949"/>
                  <a:pt x="2502062" y="4725621"/>
                </a:cubicBezTo>
                <a:cubicBezTo>
                  <a:pt x="2499055" y="4725178"/>
                  <a:pt x="2495749" y="4723850"/>
                  <a:pt x="2492141" y="4720862"/>
                </a:cubicBezTo>
                <a:cubicBezTo>
                  <a:pt x="2484326" y="4713890"/>
                  <a:pt x="2478012" y="4704151"/>
                  <a:pt x="2489737" y="4693415"/>
                </a:cubicBezTo>
                <a:cubicBezTo>
                  <a:pt x="2491239" y="4690538"/>
                  <a:pt x="2491239" y="4692087"/>
                  <a:pt x="2493043" y="4690759"/>
                </a:cubicBezTo>
                <a:cubicBezTo>
                  <a:pt x="2494546" y="4689431"/>
                  <a:pt x="2496350" y="4686554"/>
                  <a:pt x="2496350" y="4685115"/>
                </a:cubicBezTo>
                <a:lnTo>
                  <a:pt x="2499657" y="4686886"/>
                </a:lnTo>
                <a:lnTo>
                  <a:pt x="2498455" y="4680578"/>
                </a:lnTo>
                <a:cubicBezTo>
                  <a:pt x="2499055" y="4676593"/>
                  <a:pt x="2502362" y="4676261"/>
                  <a:pt x="2505969" y="4676593"/>
                </a:cubicBezTo>
                <a:close/>
                <a:moveTo>
                  <a:pt x="5243068" y="4673827"/>
                </a:moveTo>
                <a:cubicBezTo>
                  <a:pt x="5239159" y="4678143"/>
                  <a:pt x="5237957" y="4680135"/>
                  <a:pt x="5235252" y="4682570"/>
                </a:cubicBezTo>
                <a:cubicBezTo>
                  <a:pt x="5235552" y="4684008"/>
                  <a:pt x="5236154" y="4685447"/>
                  <a:pt x="5234951" y="4687328"/>
                </a:cubicBezTo>
                <a:cubicBezTo>
                  <a:pt x="5232546" y="4691202"/>
                  <a:pt x="5228939" y="4690759"/>
                  <a:pt x="5226233" y="4693194"/>
                </a:cubicBezTo>
                <a:cubicBezTo>
                  <a:pt x="5224429" y="4692309"/>
                  <a:pt x="5222024" y="4690095"/>
                  <a:pt x="5224429" y="4686222"/>
                </a:cubicBezTo>
                <a:cubicBezTo>
                  <a:pt x="5226233" y="4680910"/>
                  <a:pt x="5231044" y="4679360"/>
                  <a:pt x="5236154" y="4679249"/>
                </a:cubicBezTo>
                <a:cubicBezTo>
                  <a:pt x="5238859" y="4676704"/>
                  <a:pt x="5239460" y="4673495"/>
                  <a:pt x="5243068" y="4673827"/>
                </a:cubicBezTo>
                <a:close/>
                <a:moveTo>
                  <a:pt x="3987699" y="4673827"/>
                </a:moveTo>
                <a:cubicBezTo>
                  <a:pt x="3983792" y="4678143"/>
                  <a:pt x="3982590" y="4680135"/>
                  <a:pt x="3979584" y="4682570"/>
                </a:cubicBezTo>
                <a:cubicBezTo>
                  <a:pt x="3980185" y="4684008"/>
                  <a:pt x="3980485" y="4685447"/>
                  <a:pt x="3979282" y="4687328"/>
                </a:cubicBezTo>
                <a:cubicBezTo>
                  <a:pt x="3976878" y="4691202"/>
                  <a:pt x="3973571" y="4690759"/>
                  <a:pt x="3970865" y="4693194"/>
                </a:cubicBezTo>
                <a:cubicBezTo>
                  <a:pt x="3968762" y="4692309"/>
                  <a:pt x="3966357" y="4690095"/>
                  <a:pt x="3968762" y="4686222"/>
                </a:cubicBezTo>
                <a:cubicBezTo>
                  <a:pt x="3970865" y="4680910"/>
                  <a:pt x="3975375" y="4679360"/>
                  <a:pt x="3980485" y="4679249"/>
                </a:cubicBezTo>
                <a:cubicBezTo>
                  <a:pt x="3983191" y="4676704"/>
                  <a:pt x="3984092" y="4673495"/>
                  <a:pt x="3987699" y="4673827"/>
                </a:cubicBezTo>
                <a:close/>
                <a:moveTo>
                  <a:pt x="2478614" y="4673827"/>
                </a:moveTo>
                <a:cubicBezTo>
                  <a:pt x="2474705" y="4678143"/>
                  <a:pt x="2473503" y="4680135"/>
                  <a:pt x="2470798" y="4682570"/>
                </a:cubicBezTo>
                <a:cubicBezTo>
                  <a:pt x="2471098" y="4684008"/>
                  <a:pt x="2471699" y="4685447"/>
                  <a:pt x="2470497" y="4687328"/>
                </a:cubicBezTo>
                <a:cubicBezTo>
                  <a:pt x="2469294" y="4689210"/>
                  <a:pt x="2467792" y="4690095"/>
                  <a:pt x="2466288" y="4690870"/>
                </a:cubicBezTo>
                <a:lnTo>
                  <a:pt x="2465988" y="4690870"/>
                </a:lnTo>
                <a:lnTo>
                  <a:pt x="2459375" y="4697510"/>
                </a:lnTo>
                <a:cubicBezTo>
                  <a:pt x="2455466" y="4695518"/>
                  <a:pt x="2449454" y="4687550"/>
                  <a:pt x="2452160" y="4680024"/>
                </a:cubicBezTo>
                <a:cubicBezTo>
                  <a:pt x="2454565" y="4678917"/>
                  <a:pt x="2456669" y="4678253"/>
                  <a:pt x="2458472" y="4678253"/>
                </a:cubicBezTo>
                <a:cubicBezTo>
                  <a:pt x="2460276" y="4678143"/>
                  <a:pt x="2461779" y="4678475"/>
                  <a:pt x="2462982" y="4679360"/>
                </a:cubicBezTo>
                <a:lnTo>
                  <a:pt x="2463883" y="4681352"/>
                </a:lnTo>
                <a:lnTo>
                  <a:pt x="2464484" y="4680799"/>
                </a:lnTo>
                <a:cubicBezTo>
                  <a:pt x="2466589" y="4679692"/>
                  <a:pt x="2468994" y="4679249"/>
                  <a:pt x="2471399" y="4679249"/>
                </a:cubicBezTo>
                <a:cubicBezTo>
                  <a:pt x="2474104" y="4676704"/>
                  <a:pt x="2475006" y="4673495"/>
                  <a:pt x="2478614" y="4673827"/>
                </a:cubicBezTo>
                <a:close/>
                <a:moveTo>
                  <a:pt x="1449309" y="4673827"/>
                </a:moveTo>
                <a:cubicBezTo>
                  <a:pt x="1445400" y="4678143"/>
                  <a:pt x="1444499" y="4680135"/>
                  <a:pt x="1441793" y="4682570"/>
                </a:cubicBezTo>
                <a:cubicBezTo>
                  <a:pt x="1442093" y="4684008"/>
                  <a:pt x="1442394" y="4685447"/>
                  <a:pt x="1441192" y="4687328"/>
                </a:cubicBezTo>
                <a:cubicBezTo>
                  <a:pt x="1439087" y="4691202"/>
                  <a:pt x="1435480" y="4690759"/>
                  <a:pt x="1432775" y="4693194"/>
                </a:cubicBezTo>
                <a:cubicBezTo>
                  <a:pt x="1430670" y="4692309"/>
                  <a:pt x="1428265" y="4690095"/>
                  <a:pt x="1430670" y="4686222"/>
                </a:cubicBezTo>
                <a:cubicBezTo>
                  <a:pt x="1432474" y="4680910"/>
                  <a:pt x="1437283" y="4679360"/>
                  <a:pt x="1442394" y="4679249"/>
                </a:cubicBezTo>
                <a:cubicBezTo>
                  <a:pt x="1445100" y="4676704"/>
                  <a:pt x="1446001" y="4673495"/>
                  <a:pt x="1449309" y="4673827"/>
                </a:cubicBezTo>
                <a:close/>
                <a:moveTo>
                  <a:pt x="6138900" y="4670396"/>
                </a:moveTo>
                <a:cubicBezTo>
                  <a:pt x="6150924" y="4672499"/>
                  <a:pt x="6152127" y="4676704"/>
                  <a:pt x="6149721" y="4679803"/>
                </a:cubicBezTo>
                <a:cubicBezTo>
                  <a:pt x="6145213" y="4684894"/>
                  <a:pt x="6130483" y="4686775"/>
                  <a:pt x="6138900" y="4670396"/>
                </a:cubicBezTo>
                <a:close/>
                <a:moveTo>
                  <a:pt x="2345140" y="4670396"/>
                </a:moveTo>
                <a:cubicBezTo>
                  <a:pt x="2357466" y="4672499"/>
                  <a:pt x="2358668" y="4676704"/>
                  <a:pt x="2355962" y="4679803"/>
                </a:cubicBezTo>
                <a:cubicBezTo>
                  <a:pt x="2351754" y="4684894"/>
                  <a:pt x="2336723" y="4686775"/>
                  <a:pt x="2345140" y="4670396"/>
                </a:cubicBezTo>
                <a:close/>
                <a:moveTo>
                  <a:pt x="5572541" y="4665858"/>
                </a:moveTo>
                <a:cubicBezTo>
                  <a:pt x="5576750" y="4668625"/>
                  <a:pt x="5579155" y="4671834"/>
                  <a:pt x="5580959" y="4675487"/>
                </a:cubicBezTo>
                <a:cubicBezTo>
                  <a:pt x="5582762" y="4679139"/>
                  <a:pt x="5583664" y="4683123"/>
                  <a:pt x="5584266" y="4687107"/>
                </a:cubicBezTo>
                <a:cubicBezTo>
                  <a:pt x="5571940" y="4704815"/>
                  <a:pt x="5566228" y="4684119"/>
                  <a:pt x="5559916" y="4675819"/>
                </a:cubicBezTo>
                <a:cubicBezTo>
                  <a:pt x="5564125" y="4669953"/>
                  <a:pt x="5565928" y="4668514"/>
                  <a:pt x="5572541" y="4665858"/>
                </a:cubicBezTo>
                <a:close/>
                <a:moveTo>
                  <a:pt x="4317174" y="4665858"/>
                </a:moveTo>
                <a:cubicBezTo>
                  <a:pt x="4321082" y="4668625"/>
                  <a:pt x="4323787" y="4671834"/>
                  <a:pt x="4325591" y="4675487"/>
                </a:cubicBezTo>
                <a:cubicBezTo>
                  <a:pt x="4327094" y="4679139"/>
                  <a:pt x="4327996" y="4683123"/>
                  <a:pt x="4328897" y="4687107"/>
                </a:cubicBezTo>
                <a:cubicBezTo>
                  <a:pt x="4316272" y="4704815"/>
                  <a:pt x="4310561" y="4684119"/>
                  <a:pt x="4304248" y="4675819"/>
                </a:cubicBezTo>
                <a:cubicBezTo>
                  <a:pt x="4308456" y="4669953"/>
                  <a:pt x="4310260" y="4668514"/>
                  <a:pt x="4317174" y="4665858"/>
                </a:cubicBezTo>
                <a:close/>
                <a:moveTo>
                  <a:pt x="3630870" y="4665858"/>
                </a:moveTo>
                <a:cubicBezTo>
                  <a:pt x="3626361" y="4666080"/>
                  <a:pt x="3622153" y="4666190"/>
                  <a:pt x="3617943" y="4666412"/>
                </a:cubicBezTo>
                <a:lnTo>
                  <a:pt x="3614336" y="4667076"/>
                </a:lnTo>
                <a:lnTo>
                  <a:pt x="3614637" y="4667186"/>
                </a:lnTo>
                <a:cubicBezTo>
                  <a:pt x="3619147" y="4674159"/>
                  <a:pt x="3616741" y="4681795"/>
                  <a:pt x="3611030" y="4685115"/>
                </a:cubicBezTo>
                <a:cubicBezTo>
                  <a:pt x="3608925" y="4686111"/>
                  <a:pt x="3606821" y="4686775"/>
                  <a:pt x="3604115" y="4686664"/>
                </a:cubicBezTo>
                <a:cubicBezTo>
                  <a:pt x="3600508" y="4686554"/>
                  <a:pt x="3596601" y="4685336"/>
                  <a:pt x="3592091" y="4682348"/>
                </a:cubicBezTo>
                <a:lnTo>
                  <a:pt x="3590888" y="4678364"/>
                </a:lnTo>
                <a:lnTo>
                  <a:pt x="3590888" y="4678475"/>
                </a:lnTo>
                <a:cubicBezTo>
                  <a:pt x="3579465" y="4679913"/>
                  <a:pt x="3563533" y="4676593"/>
                  <a:pt x="3568944" y="4686775"/>
                </a:cubicBezTo>
                <a:cubicBezTo>
                  <a:pt x="3557520" y="4690981"/>
                  <a:pt x="3551207" y="4688767"/>
                  <a:pt x="3545195" y="4685226"/>
                </a:cubicBezTo>
                <a:lnTo>
                  <a:pt x="3538582" y="4682791"/>
                </a:lnTo>
                <a:lnTo>
                  <a:pt x="3542189" y="4691313"/>
                </a:lnTo>
                <a:cubicBezTo>
                  <a:pt x="3533471" y="4697732"/>
                  <a:pt x="3527760" y="4705147"/>
                  <a:pt x="3522649" y="4712340"/>
                </a:cubicBezTo>
                <a:lnTo>
                  <a:pt x="3516336" y="4719755"/>
                </a:lnTo>
                <a:lnTo>
                  <a:pt x="3531367" y="4720641"/>
                </a:lnTo>
                <a:cubicBezTo>
                  <a:pt x="3538582" y="4719866"/>
                  <a:pt x="3547299" y="4719534"/>
                  <a:pt x="3553913" y="4716878"/>
                </a:cubicBezTo>
                <a:cubicBezTo>
                  <a:pt x="3578263" y="4720309"/>
                  <a:pt x="3595397" y="4719645"/>
                  <a:pt x="3613133" y="4717542"/>
                </a:cubicBezTo>
                <a:cubicBezTo>
                  <a:pt x="3623655" y="4715439"/>
                  <a:pt x="3634477" y="4712783"/>
                  <a:pt x="3646502" y="4709463"/>
                </a:cubicBezTo>
                <a:lnTo>
                  <a:pt x="3680472" y="4699724"/>
                </a:lnTo>
                <a:lnTo>
                  <a:pt x="3681073" y="4699170"/>
                </a:lnTo>
                <a:lnTo>
                  <a:pt x="3680472" y="4697621"/>
                </a:lnTo>
                <a:lnTo>
                  <a:pt x="3679871" y="4687660"/>
                </a:lnTo>
                <a:lnTo>
                  <a:pt x="3676263" y="4691977"/>
                </a:lnTo>
                <a:cubicBezTo>
                  <a:pt x="3671152" y="4693858"/>
                  <a:pt x="3664539" y="4685668"/>
                  <a:pt x="3657625" y="4684562"/>
                </a:cubicBezTo>
                <a:cubicBezTo>
                  <a:pt x="3654017" y="4686554"/>
                  <a:pt x="3650410" y="4688546"/>
                  <a:pt x="3646201" y="4688657"/>
                </a:cubicBezTo>
                <a:cubicBezTo>
                  <a:pt x="3653116" y="4694190"/>
                  <a:pt x="3668146" y="4691202"/>
                  <a:pt x="3671152" y="4700166"/>
                </a:cubicBezTo>
                <a:cubicBezTo>
                  <a:pt x="3659428" y="4701052"/>
                  <a:pt x="3656122" y="4693637"/>
                  <a:pt x="3638686" y="4699060"/>
                </a:cubicBezTo>
                <a:cubicBezTo>
                  <a:pt x="3633876" y="4687771"/>
                  <a:pt x="3642895" y="4681242"/>
                  <a:pt x="3621250" y="4686775"/>
                </a:cubicBezTo>
                <a:cubicBezTo>
                  <a:pt x="3630870" y="4683566"/>
                  <a:pt x="3630870" y="4674048"/>
                  <a:pt x="3643797" y="4673605"/>
                </a:cubicBezTo>
                <a:cubicBezTo>
                  <a:pt x="3644098" y="4668846"/>
                  <a:pt x="3637483" y="4666633"/>
                  <a:pt x="3630870" y="4665858"/>
                </a:cubicBezTo>
                <a:close/>
                <a:moveTo>
                  <a:pt x="2808087" y="4665858"/>
                </a:moveTo>
                <a:cubicBezTo>
                  <a:pt x="2812296" y="4668625"/>
                  <a:pt x="2814701" y="4671834"/>
                  <a:pt x="2816504" y="4675487"/>
                </a:cubicBezTo>
                <a:cubicBezTo>
                  <a:pt x="2818008" y="4679139"/>
                  <a:pt x="2818909" y="4683123"/>
                  <a:pt x="2819812" y="4687107"/>
                </a:cubicBezTo>
                <a:cubicBezTo>
                  <a:pt x="2807185" y="4704815"/>
                  <a:pt x="2801775" y="4684119"/>
                  <a:pt x="2795462" y="4675819"/>
                </a:cubicBezTo>
                <a:cubicBezTo>
                  <a:pt x="2799670" y="4669953"/>
                  <a:pt x="2801173" y="4668514"/>
                  <a:pt x="2808087" y="4665858"/>
                </a:cubicBezTo>
                <a:close/>
                <a:moveTo>
                  <a:pt x="1778782" y="4665858"/>
                </a:moveTo>
                <a:cubicBezTo>
                  <a:pt x="1782991" y="4668625"/>
                  <a:pt x="1785696" y="4671834"/>
                  <a:pt x="1787199" y="4675487"/>
                </a:cubicBezTo>
                <a:cubicBezTo>
                  <a:pt x="1789003" y="4679139"/>
                  <a:pt x="1789904" y="4683123"/>
                  <a:pt x="1790807" y="4687107"/>
                </a:cubicBezTo>
                <a:cubicBezTo>
                  <a:pt x="1778181" y="4704815"/>
                  <a:pt x="1772469" y="4684119"/>
                  <a:pt x="1766156" y="4675819"/>
                </a:cubicBezTo>
                <a:cubicBezTo>
                  <a:pt x="1770365" y="4669953"/>
                  <a:pt x="1772169" y="4668514"/>
                  <a:pt x="1778782" y="4665858"/>
                </a:cubicBezTo>
                <a:close/>
                <a:moveTo>
                  <a:pt x="5011894" y="4663313"/>
                </a:moveTo>
                <a:cubicBezTo>
                  <a:pt x="5014300" y="4662981"/>
                  <a:pt x="5016704" y="4663534"/>
                  <a:pt x="5018809" y="4665305"/>
                </a:cubicBezTo>
                <a:cubicBezTo>
                  <a:pt x="5022115" y="4668736"/>
                  <a:pt x="5026625" y="4673937"/>
                  <a:pt x="5023317" y="4678032"/>
                </a:cubicBezTo>
                <a:cubicBezTo>
                  <a:pt x="5021514" y="4677921"/>
                  <a:pt x="5021514" y="4679360"/>
                  <a:pt x="5020012" y="4679249"/>
                </a:cubicBezTo>
                <a:cubicBezTo>
                  <a:pt x="5020012" y="4679249"/>
                  <a:pt x="5018508" y="4679803"/>
                  <a:pt x="5016103" y="4679803"/>
                </a:cubicBezTo>
                <a:cubicBezTo>
                  <a:pt x="5013698" y="4679692"/>
                  <a:pt x="5010692" y="4678917"/>
                  <a:pt x="5007386" y="4676261"/>
                </a:cubicBezTo>
                <a:cubicBezTo>
                  <a:pt x="5005882" y="4674601"/>
                  <a:pt x="5002877" y="4669732"/>
                  <a:pt x="5004380" y="4669842"/>
                </a:cubicBezTo>
                <a:cubicBezTo>
                  <a:pt x="5006183" y="4668514"/>
                  <a:pt x="5004380" y="4668293"/>
                  <a:pt x="5004680" y="4666854"/>
                </a:cubicBezTo>
                <a:cubicBezTo>
                  <a:pt x="5007085" y="4664752"/>
                  <a:pt x="5009490" y="4663645"/>
                  <a:pt x="5011894" y="4663313"/>
                </a:cubicBezTo>
                <a:close/>
                <a:moveTo>
                  <a:pt x="2247140" y="4663313"/>
                </a:moveTo>
                <a:cubicBezTo>
                  <a:pt x="2249545" y="4662981"/>
                  <a:pt x="2251950" y="4663534"/>
                  <a:pt x="2254355" y="4665305"/>
                </a:cubicBezTo>
                <a:cubicBezTo>
                  <a:pt x="2257361" y="4668736"/>
                  <a:pt x="2261870" y="4673937"/>
                  <a:pt x="2258563" y="4678032"/>
                </a:cubicBezTo>
                <a:cubicBezTo>
                  <a:pt x="2257061" y="4677921"/>
                  <a:pt x="2257061" y="4679360"/>
                  <a:pt x="2255557" y="4679249"/>
                </a:cubicBezTo>
                <a:cubicBezTo>
                  <a:pt x="2255557" y="4679249"/>
                  <a:pt x="2254055" y="4679803"/>
                  <a:pt x="2251649" y="4679803"/>
                </a:cubicBezTo>
                <a:cubicBezTo>
                  <a:pt x="2249244" y="4679692"/>
                  <a:pt x="2245938" y="4678917"/>
                  <a:pt x="2242932" y="4676261"/>
                </a:cubicBezTo>
                <a:cubicBezTo>
                  <a:pt x="2241428" y="4674601"/>
                  <a:pt x="2238422" y="4669732"/>
                  <a:pt x="2239926" y="4669842"/>
                </a:cubicBezTo>
                <a:cubicBezTo>
                  <a:pt x="2241428" y="4668514"/>
                  <a:pt x="2239926" y="4668293"/>
                  <a:pt x="2239926" y="4666854"/>
                </a:cubicBezTo>
                <a:cubicBezTo>
                  <a:pt x="2242330" y="4664752"/>
                  <a:pt x="2244735" y="4663645"/>
                  <a:pt x="2247140" y="4663313"/>
                </a:cubicBezTo>
                <a:close/>
                <a:moveTo>
                  <a:pt x="1218135" y="4663313"/>
                </a:moveTo>
                <a:cubicBezTo>
                  <a:pt x="1220540" y="4662981"/>
                  <a:pt x="1222945" y="4663534"/>
                  <a:pt x="1225050" y="4665305"/>
                </a:cubicBezTo>
                <a:cubicBezTo>
                  <a:pt x="1228356" y="4668736"/>
                  <a:pt x="1232866" y="4673937"/>
                  <a:pt x="1229558" y="4678032"/>
                </a:cubicBezTo>
                <a:cubicBezTo>
                  <a:pt x="1228056" y="4677921"/>
                  <a:pt x="1228056" y="4679360"/>
                  <a:pt x="1226252" y="4679249"/>
                </a:cubicBezTo>
                <a:cubicBezTo>
                  <a:pt x="1226252" y="4679249"/>
                  <a:pt x="1224749" y="4679803"/>
                  <a:pt x="1222344" y="4679803"/>
                </a:cubicBezTo>
                <a:cubicBezTo>
                  <a:pt x="1219939" y="4679692"/>
                  <a:pt x="1216933" y="4678917"/>
                  <a:pt x="1213626" y="4676261"/>
                </a:cubicBezTo>
                <a:cubicBezTo>
                  <a:pt x="1212123" y="4674601"/>
                  <a:pt x="1209117" y="4669732"/>
                  <a:pt x="1210921" y="4669842"/>
                </a:cubicBezTo>
                <a:cubicBezTo>
                  <a:pt x="1212423" y="4668514"/>
                  <a:pt x="1210921" y="4668293"/>
                  <a:pt x="1210921" y="4666854"/>
                </a:cubicBezTo>
                <a:cubicBezTo>
                  <a:pt x="1213326" y="4664752"/>
                  <a:pt x="1215730" y="4663645"/>
                  <a:pt x="1218135" y="4663313"/>
                </a:cubicBezTo>
                <a:close/>
                <a:moveTo>
                  <a:pt x="2093526" y="4660657"/>
                </a:moveTo>
                <a:cubicBezTo>
                  <a:pt x="2097434" y="4662759"/>
                  <a:pt x="2101643" y="4664973"/>
                  <a:pt x="2105550" y="4667186"/>
                </a:cubicBezTo>
                <a:cubicBezTo>
                  <a:pt x="2110060" y="4674159"/>
                  <a:pt x="2107955" y="4681795"/>
                  <a:pt x="2101943" y="4685115"/>
                </a:cubicBezTo>
                <a:cubicBezTo>
                  <a:pt x="2100139" y="4686111"/>
                  <a:pt x="2097734" y="4686775"/>
                  <a:pt x="2095029" y="4686664"/>
                </a:cubicBezTo>
                <a:cubicBezTo>
                  <a:pt x="2091422" y="4686554"/>
                  <a:pt x="2087514" y="4685336"/>
                  <a:pt x="2083004" y="4682348"/>
                </a:cubicBezTo>
                <a:cubicBezTo>
                  <a:pt x="2077593" y="4675819"/>
                  <a:pt x="2085409" y="4660989"/>
                  <a:pt x="2093526" y="4660657"/>
                </a:cubicBezTo>
                <a:close/>
                <a:moveTo>
                  <a:pt x="1064221" y="4660657"/>
                </a:moveTo>
                <a:cubicBezTo>
                  <a:pt x="1068429" y="4662759"/>
                  <a:pt x="1072337" y="4664973"/>
                  <a:pt x="1076546" y="4667186"/>
                </a:cubicBezTo>
                <a:cubicBezTo>
                  <a:pt x="1080755" y="4674159"/>
                  <a:pt x="1078650" y="4681795"/>
                  <a:pt x="1072938" y="4685115"/>
                </a:cubicBezTo>
                <a:cubicBezTo>
                  <a:pt x="1071134" y="4686111"/>
                  <a:pt x="1068729" y="4686775"/>
                  <a:pt x="1066024" y="4686664"/>
                </a:cubicBezTo>
                <a:cubicBezTo>
                  <a:pt x="1062417" y="4686554"/>
                  <a:pt x="1058509" y="4685336"/>
                  <a:pt x="1054000" y="4682348"/>
                </a:cubicBezTo>
                <a:cubicBezTo>
                  <a:pt x="1048288" y="4675819"/>
                  <a:pt x="1056405" y="4660989"/>
                  <a:pt x="1064221" y="4660657"/>
                </a:cubicBezTo>
                <a:close/>
                <a:moveTo>
                  <a:pt x="5025423" y="4660435"/>
                </a:moveTo>
                <a:cubicBezTo>
                  <a:pt x="5026926" y="4661985"/>
                  <a:pt x="5028428" y="4665084"/>
                  <a:pt x="5026926" y="4666412"/>
                </a:cubicBezTo>
                <a:cubicBezTo>
                  <a:pt x="5026024" y="4667740"/>
                  <a:pt x="5025123" y="4667740"/>
                  <a:pt x="5024220" y="4667076"/>
                </a:cubicBezTo>
                <a:cubicBezTo>
                  <a:pt x="5023317" y="4666412"/>
                  <a:pt x="5022115" y="4665084"/>
                  <a:pt x="5020613" y="4664198"/>
                </a:cubicBezTo>
                <a:close/>
                <a:moveTo>
                  <a:pt x="2260968" y="4660435"/>
                </a:moveTo>
                <a:cubicBezTo>
                  <a:pt x="2262472" y="4661985"/>
                  <a:pt x="2263974" y="4665084"/>
                  <a:pt x="2262472" y="4666412"/>
                </a:cubicBezTo>
                <a:cubicBezTo>
                  <a:pt x="2261569" y="4667740"/>
                  <a:pt x="2260668" y="4667740"/>
                  <a:pt x="2259766" y="4667076"/>
                </a:cubicBezTo>
                <a:cubicBezTo>
                  <a:pt x="2258563" y="4666412"/>
                  <a:pt x="2257361" y="4665084"/>
                  <a:pt x="2255857" y="4664198"/>
                </a:cubicBezTo>
                <a:close/>
                <a:moveTo>
                  <a:pt x="1231663" y="4660435"/>
                </a:moveTo>
                <a:cubicBezTo>
                  <a:pt x="1233467" y="4661985"/>
                  <a:pt x="1234969" y="4665084"/>
                  <a:pt x="1233166" y="4666412"/>
                </a:cubicBezTo>
                <a:cubicBezTo>
                  <a:pt x="1232264" y="4667740"/>
                  <a:pt x="1231663" y="4667740"/>
                  <a:pt x="1230461" y="4667076"/>
                </a:cubicBezTo>
                <a:cubicBezTo>
                  <a:pt x="1229558" y="4666412"/>
                  <a:pt x="1228356" y="4665084"/>
                  <a:pt x="1226853" y="4664198"/>
                </a:cubicBezTo>
                <a:close/>
                <a:moveTo>
                  <a:pt x="2557675" y="4657115"/>
                </a:moveTo>
                <a:cubicBezTo>
                  <a:pt x="2565191" y="4657890"/>
                  <a:pt x="2572705" y="4663202"/>
                  <a:pt x="2578418" y="4675155"/>
                </a:cubicBezTo>
                <a:cubicBezTo>
                  <a:pt x="2560681" y="4691091"/>
                  <a:pt x="2561884" y="4708688"/>
                  <a:pt x="2541742" y="4713890"/>
                </a:cubicBezTo>
                <a:cubicBezTo>
                  <a:pt x="2514988" y="4693083"/>
                  <a:pt x="2535730" y="4654791"/>
                  <a:pt x="2557675" y="4657115"/>
                </a:cubicBezTo>
                <a:close/>
                <a:moveTo>
                  <a:pt x="2277502" y="4655676"/>
                </a:moveTo>
                <a:cubicBezTo>
                  <a:pt x="2278103" y="4655344"/>
                  <a:pt x="2278705" y="4655344"/>
                  <a:pt x="2278705" y="4656119"/>
                </a:cubicBezTo>
                <a:cubicBezTo>
                  <a:pt x="2280208" y="4656230"/>
                  <a:pt x="2280208" y="4657669"/>
                  <a:pt x="2281711" y="4659329"/>
                </a:cubicBezTo>
                <a:cubicBezTo>
                  <a:pt x="2283214" y="4662538"/>
                  <a:pt x="2282913" y="4666965"/>
                  <a:pt x="2281411" y="4668293"/>
                </a:cubicBezTo>
                <a:cubicBezTo>
                  <a:pt x="2279607" y="4669621"/>
                  <a:pt x="2278103" y="4669400"/>
                  <a:pt x="2278103" y="4669400"/>
                </a:cubicBezTo>
                <a:cubicBezTo>
                  <a:pt x="2273594" y="4665858"/>
                  <a:pt x="2270588" y="4661099"/>
                  <a:pt x="2275397" y="4657226"/>
                </a:cubicBezTo>
                <a:cubicBezTo>
                  <a:pt x="2276300" y="4656562"/>
                  <a:pt x="2276901" y="4655898"/>
                  <a:pt x="2277502" y="4655676"/>
                </a:cubicBezTo>
                <a:close/>
                <a:moveTo>
                  <a:pt x="1248497" y="4655676"/>
                </a:moveTo>
                <a:cubicBezTo>
                  <a:pt x="1249098" y="4655344"/>
                  <a:pt x="1249400" y="4655344"/>
                  <a:pt x="1249400" y="4656119"/>
                </a:cubicBezTo>
                <a:cubicBezTo>
                  <a:pt x="1250902" y="4656230"/>
                  <a:pt x="1251203" y="4657669"/>
                  <a:pt x="1252706" y="4659329"/>
                </a:cubicBezTo>
                <a:cubicBezTo>
                  <a:pt x="1254209" y="4662538"/>
                  <a:pt x="1253908" y="4666965"/>
                  <a:pt x="1252406" y="4668293"/>
                </a:cubicBezTo>
                <a:cubicBezTo>
                  <a:pt x="1250602" y="4669621"/>
                  <a:pt x="1249098" y="4669400"/>
                  <a:pt x="1249098" y="4669400"/>
                </a:cubicBezTo>
                <a:cubicBezTo>
                  <a:pt x="1244289" y="4665858"/>
                  <a:pt x="1241283" y="4661099"/>
                  <a:pt x="1246393" y="4657226"/>
                </a:cubicBezTo>
                <a:cubicBezTo>
                  <a:pt x="1246995" y="4656562"/>
                  <a:pt x="1247896" y="4655898"/>
                  <a:pt x="1248497" y="4655676"/>
                </a:cubicBezTo>
                <a:close/>
                <a:moveTo>
                  <a:pt x="5757721" y="4654459"/>
                </a:moveTo>
                <a:cubicBezTo>
                  <a:pt x="5764034" y="4657558"/>
                  <a:pt x="5769745" y="4661542"/>
                  <a:pt x="5772751" y="4667408"/>
                </a:cubicBezTo>
                <a:cubicBezTo>
                  <a:pt x="5766738" y="4671834"/>
                  <a:pt x="5757420" y="4672609"/>
                  <a:pt x="5750806" y="4673716"/>
                </a:cubicBezTo>
                <a:cubicBezTo>
                  <a:pt x="5753211" y="4667629"/>
                  <a:pt x="5760125" y="4666522"/>
                  <a:pt x="5757721" y="4654459"/>
                </a:cubicBezTo>
                <a:close/>
                <a:moveTo>
                  <a:pt x="4502052" y="4654459"/>
                </a:moveTo>
                <a:cubicBezTo>
                  <a:pt x="4508665" y="4657558"/>
                  <a:pt x="4514076" y="4661542"/>
                  <a:pt x="4517083" y="4667408"/>
                </a:cubicBezTo>
                <a:cubicBezTo>
                  <a:pt x="4511070" y="4671834"/>
                  <a:pt x="4502052" y="4672609"/>
                  <a:pt x="4495138" y="4673716"/>
                </a:cubicBezTo>
                <a:cubicBezTo>
                  <a:pt x="4497843" y="4667629"/>
                  <a:pt x="4504758" y="4666522"/>
                  <a:pt x="4502052" y="4654459"/>
                </a:cubicBezTo>
                <a:close/>
                <a:moveTo>
                  <a:pt x="2992965" y="4654459"/>
                </a:moveTo>
                <a:cubicBezTo>
                  <a:pt x="2999579" y="4657558"/>
                  <a:pt x="3004990" y="4661542"/>
                  <a:pt x="3007996" y="4667408"/>
                </a:cubicBezTo>
                <a:cubicBezTo>
                  <a:pt x="3001984" y="4671834"/>
                  <a:pt x="2992965" y="4672609"/>
                  <a:pt x="2986051" y="4673716"/>
                </a:cubicBezTo>
                <a:cubicBezTo>
                  <a:pt x="2988756" y="4667629"/>
                  <a:pt x="2995671" y="4666522"/>
                  <a:pt x="2992965" y="4654459"/>
                </a:cubicBezTo>
                <a:close/>
                <a:moveTo>
                  <a:pt x="1963961" y="4654459"/>
                </a:moveTo>
                <a:cubicBezTo>
                  <a:pt x="1970574" y="4657558"/>
                  <a:pt x="1975985" y="4661542"/>
                  <a:pt x="1978992" y="4667408"/>
                </a:cubicBezTo>
                <a:cubicBezTo>
                  <a:pt x="1972979" y="4671834"/>
                  <a:pt x="1963961" y="4672609"/>
                  <a:pt x="1957047" y="4673716"/>
                </a:cubicBezTo>
                <a:cubicBezTo>
                  <a:pt x="1959753" y="4667629"/>
                  <a:pt x="1966666" y="4666522"/>
                  <a:pt x="1963961" y="4654459"/>
                </a:cubicBezTo>
                <a:close/>
                <a:moveTo>
                  <a:pt x="5471835" y="4647819"/>
                </a:moveTo>
                <a:cubicBezTo>
                  <a:pt x="5474842" y="4647265"/>
                  <a:pt x="5478750" y="4649590"/>
                  <a:pt x="5483258" y="4651250"/>
                </a:cubicBezTo>
                <a:cubicBezTo>
                  <a:pt x="5481756" y="4652578"/>
                  <a:pt x="5483258" y="4654348"/>
                  <a:pt x="5484762" y="4656008"/>
                </a:cubicBezTo>
                <a:cubicBezTo>
                  <a:pt x="5482357" y="4658001"/>
                  <a:pt x="5479050" y="4661542"/>
                  <a:pt x="5474842" y="4660435"/>
                </a:cubicBezTo>
                <a:cubicBezTo>
                  <a:pt x="5473639" y="4659993"/>
                  <a:pt x="5472136" y="4658997"/>
                  <a:pt x="5470633" y="4657337"/>
                </a:cubicBezTo>
                <a:cubicBezTo>
                  <a:pt x="5469131" y="4657115"/>
                  <a:pt x="5467627" y="4651028"/>
                  <a:pt x="5469131" y="4649700"/>
                </a:cubicBezTo>
                <a:cubicBezTo>
                  <a:pt x="5470032" y="4648594"/>
                  <a:pt x="5470934" y="4648040"/>
                  <a:pt x="5471835" y="4647819"/>
                </a:cubicBezTo>
                <a:close/>
                <a:moveTo>
                  <a:pt x="4216468" y="4647819"/>
                </a:moveTo>
                <a:cubicBezTo>
                  <a:pt x="4219474" y="4647265"/>
                  <a:pt x="4223081" y="4649590"/>
                  <a:pt x="4227891" y="4651250"/>
                </a:cubicBezTo>
                <a:cubicBezTo>
                  <a:pt x="4226389" y="4652578"/>
                  <a:pt x="4227891" y="4654348"/>
                  <a:pt x="4229394" y="4656008"/>
                </a:cubicBezTo>
                <a:cubicBezTo>
                  <a:pt x="4226990" y="4658001"/>
                  <a:pt x="4223682" y="4661542"/>
                  <a:pt x="4219474" y="4660435"/>
                </a:cubicBezTo>
                <a:cubicBezTo>
                  <a:pt x="4217971" y="4659993"/>
                  <a:pt x="4216468" y="4658997"/>
                  <a:pt x="4214965" y="4657337"/>
                </a:cubicBezTo>
                <a:cubicBezTo>
                  <a:pt x="4213462" y="4657115"/>
                  <a:pt x="4211958" y="4651028"/>
                  <a:pt x="4213763" y="4649700"/>
                </a:cubicBezTo>
                <a:cubicBezTo>
                  <a:pt x="4214364" y="4648594"/>
                  <a:pt x="4215266" y="4648040"/>
                  <a:pt x="4216468" y="4647819"/>
                </a:cubicBezTo>
                <a:close/>
                <a:moveTo>
                  <a:pt x="2707381" y="4647819"/>
                </a:moveTo>
                <a:cubicBezTo>
                  <a:pt x="2710387" y="4647265"/>
                  <a:pt x="2714295" y="4649590"/>
                  <a:pt x="2718805" y="4651250"/>
                </a:cubicBezTo>
                <a:cubicBezTo>
                  <a:pt x="2717302" y="4652578"/>
                  <a:pt x="2718805" y="4654348"/>
                  <a:pt x="2720308" y="4656008"/>
                </a:cubicBezTo>
                <a:cubicBezTo>
                  <a:pt x="2717903" y="4658001"/>
                  <a:pt x="2714596" y="4661542"/>
                  <a:pt x="2710387" y="4660435"/>
                </a:cubicBezTo>
                <a:cubicBezTo>
                  <a:pt x="2708885" y="4659993"/>
                  <a:pt x="2707682" y="4658997"/>
                  <a:pt x="2706179" y="4657337"/>
                </a:cubicBezTo>
                <a:cubicBezTo>
                  <a:pt x="2704375" y="4657115"/>
                  <a:pt x="2703172" y="4651028"/>
                  <a:pt x="2704676" y="4649700"/>
                </a:cubicBezTo>
                <a:cubicBezTo>
                  <a:pt x="2705577" y="4648594"/>
                  <a:pt x="2706480" y="4648040"/>
                  <a:pt x="2707381" y="4647819"/>
                </a:cubicBezTo>
                <a:close/>
                <a:moveTo>
                  <a:pt x="1678377" y="4647819"/>
                </a:moveTo>
                <a:cubicBezTo>
                  <a:pt x="1681383" y="4647265"/>
                  <a:pt x="1684991" y="4649590"/>
                  <a:pt x="1689800" y="4651250"/>
                </a:cubicBezTo>
                <a:cubicBezTo>
                  <a:pt x="1687997" y="4652578"/>
                  <a:pt x="1689800" y="4654348"/>
                  <a:pt x="1691303" y="4656008"/>
                </a:cubicBezTo>
                <a:cubicBezTo>
                  <a:pt x="1688898" y="4658001"/>
                  <a:pt x="1685291" y="4661542"/>
                  <a:pt x="1681383" y="4660435"/>
                </a:cubicBezTo>
                <a:cubicBezTo>
                  <a:pt x="1679880" y="4659993"/>
                  <a:pt x="1678377" y="4658997"/>
                  <a:pt x="1676874" y="4657337"/>
                </a:cubicBezTo>
                <a:cubicBezTo>
                  <a:pt x="1675371" y="4657115"/>
                  <a:pt x="1673868" y="4651028"/>
                  <a:pt x="1675671" y="4649700"/>
                </a:cubicBezTo>
                <a:cubicBezTo>
                  <a:pt x="1676572" y="4648594"/>
                  <a:pt x="1677475" y="4648040"/>
                  <a:pt x="1678377" y="4647819"/>
                </a:cubicBezTo>
                <a:close/>
                <a:moveTo>
                  <a:pt x="2199643" y="4645052"/>
                </a:moveTo>
                <a:cubicBezTo>
                  <a:pt x="2201447" y="4644941"/>
                  <a:pt x="2203250" y="4645384"/>
                  <a:pt x="2204453" y="4646380"/>
                </a:cubicBezTo>
                <a:cubicBezTo>
                  <a:pt x="2214072" y="4663755"/>
                  <a:pt x="2200845" y="4673384"/>
                  <a:pt x="2190925" y="4667297"/>
                </a:cubicBezTo>
                <a:cubicBezTo>
                  <a:pt x="2187919" y="4665194"/>
                  <a:pt x="2184913" y="4661321"/>
                  <a:pt x="2183410" y="4655566"/>
                </a:cubicBezTo>
                <a:cubicBezTo>
                  <a:pt x="2185214" y="4649922"/>
                  <a:pt x="2193631" y="4645384"/>
                  <a:pt x="2199643" y="4645052"/>
                </a:cubicBezTo>
                <a:close/>
                <a:moveTo>
                  <a:pt x="1170338" y="4645052"/>
                </a:moveTo>
                <a:cubicBezTo>
                  <a:pt x="1172442" y="4644941"/>
                  <a:pt x="1174245" y="4645384"/>
                  <a:pt x="1175448" y="4646380"/>
                </a:cubicBezTo>
                <a:cubicBezTo>
                  <a:pt x="1185067" y="4663755"/>
                  <a:pt x="1171841" y="4673384"/>
                  <a:pt x="1161920" y="4667297"/>
                </a:cubicBezTo>
                <a:cubicBezTo>
                  <a:pt x="1158614" y="4665194"/>
                  <a:pt x="1155908" y="4661321"/>
                  <a:pt x="1154405" y="4655566"/>
                </a:cubicBezTo>
                <a:cubicBezTo>
                  <a:pt x="1156209" y="4649922"/>
                  <a:pt x="1164325" y="4645384"/>
                  <a:pt x="1170338" y="4645052"/>
                </a:cubicBezTo>
                <a:close/>
                <a:moveTo>
                  <a:pt x="5967850" y="4639297"/>
                </a:moveTo>
                <a:cubicBezTo>
                  <a:pt x="5969053" y="4643171"/>
                  <a:pt x="5969053" y="4646823"/>
                  <a:pt x="5969053" y="4650032"/>
                </a:cubicBezTo>
                <a:cubicBezTo>
                  <a:pt x="5968753" y="4659771"/>
                  <a:pt x="5965144" y="4666965"/>
                  <a:pt x="5967249" y="4674048"/>
                </a:cubicBezTo>
                <a:cubicBezTo>
                  <a:pt x="5967249" y="4674048"/>
                  <a:pt x="5967249" y="4674048"/>
                  <a:pt x="5963642" y="4676483"/>
                </a:cubicBezTo>
                <a:cubicBezTo>
                  <a:pt x="5963642" y="4678032"/>
                  <a:pt x="5963642" y="4677921"/>
                  <a:pt x="5963642" y="4677921"/>
                </a:cubicBezTo>
                <a:cubicBezTo>
                  <a:pt x="5963341" y="4679471"/>
                  <a:pt x="5960334" y="4679028"/>
                  <a:pt x="5960334" y="4679028"/>
                </a:cubicBezTo>
                <a:cubicBezTo>
                  <a:pt x="5957028" y="4677036"/>
                  <a:pt x="5959132" y="4672720"/>
                  <a:pt x="5959433" y="4669732"/>
                </a:cubicBezTo>
                <a:cubicBezTo>
                  <a:pt x="5956427" y="4667740"/>
                  <a:pt x="5963041" y="4664309"/>
                  <a:pt x="5959733" y="4662317"/>
                </a:cubicBezTo>
                <a:cubicBezTo>
                  <a:pt x="5966647" y="4657337"/>
                  <a:pt x="5959132" y="4648594"/>
                  <a:pt x="5967850" y="4639297"/>
                </a:cubicBezTo>
                <a:close/>
                <a:moveTo>
                  <a:pt x="3203396" y="4639297"/>
                </a:moveTo>
                <a:cubicBezTo>
                  <a:pt x="3204298" y="4643171"/>
                  <a:pt x="3204598" y="4646823"/>
                  <a:pt x="3204598" y="4650032"/>
                </a:cubicBezTo>
                <a:cubicBezTo>
                  <a:pt x="3204298" y="4659771"/>
                  <a:pt x="3200690" y="4666965"/>
                  <a:pt x="3202493" y="4674048"/>
                </a:cubicBezTo>
                <a:cubicBezTo>
                  <a:pt x="3202493" y="4674048"/>
                  <a:pt x="3202493" y="4674048"/>
                  <a:pt x="3199187" y="4676483"/>
                </a:cubicBezTo>
                <a:cubicBezTo>
                  <a:pt x="3199187" y="4678032"/>
                  <a:pt x="3199187" y="4677921"/>
                  <a:pt x="3199187" y="4677921"/>
                </a:cubicBezTo>
                <a:cubicBezTo>
                  <a:pt x="3198886" y="4679471"/>
                  <a:pt x="3195580" y="4679028"/>
                  <a:pt x="3195580" y="4679028"/>
                </a:cubicBezTo>
                <a:cubicBezTo>
                  <a:pt x="3192574" y="4677036"/>
                  <a:pt x="3194678" y="4672720"/>
                  <a:pt x="3194678" y="4669732"/>
                </a:cubicBezTo>
                <a:cubicBezTo>
                  <a:pt x="3191672" y="4667740"/>
                  <a:pt x="3198586" y="4664309"/>
                  <a:pt x="3195279" y="4662317"/>
                </a:cubicBezTo>
                <a:cubicBezTo>
                  <a:pt x="3202193" y="4657337"/>
                  <a:pt x="3194678" y="4648594"/>
                  <a:pt x="3203396" y="4639297"/>
                </a:cubicBezTo>
                <a:close/>
                <a:moveTo>
                  <a:pt x="2174391" y="4639297"/>
                </a:moveTo>
                <a:cubicBezTo>
                  <a:pt x="2175293" y="4643171"/>
                  <a:pt x="2175593" y="4646823"/>
                  <a:pt x="2175593" y="4650032"/>
                </a:cubicBezTo>
                <a:cubicBezTo>
                  <a:pt x="2174993" y="4659771"/>
                  <a:pt x="2171686" y="4666965"/>
                  <a:pt x="2173490" y="4674048"/>
                </a:cubicBezTo>
                <a:cubicBezTo>
                  <a:pt x="2173490" y="4674048"/>
                  <a:pt x="2173490" y="4674048"/>
                  <a:pt x="2170182" y="4676483"/>
                </a:cubicBezTo>
                <a:cubicBezTo>
                  <a:pt x="2169882" y="4678032"/>
                  <a:pt x="2169882" y="4677921"/>
                  <a:pt x="2169882" y="4677921"/>
                </a:cubicBezTo>
                <a:cubicBezTo>
                  <a:pt x="2169882" y="4679471"/>
                  <a:pt x="2166575" y="4679028"/>
                  <a:pt x="2166575" y="4679028"/>
                </a:cubicBezTo>
                <a:cubicBezTo>
                  <a:pt x="2163569" y="4677036"/>
                  <a:pt x="2165373" y="4672720"/>
                  <a:pt x="2165674" y="4669732"/>
                </a:cubicBezTo>
                <a:cubicBezTo>
                  <a:pt x="2162668" y="4667740"/>
                  <a:pt x="2169281" y="4664309"/>
                  <a:pt x="2166275" y="4662317"/>
                </a:cubicBezTo>
                <a:cubicBezTo>
                  <a:pt x="2173189" y="4657337"/>
                  <a:pt x="2165674" y="4648594"/>
                  <a:pt x="2174391" y="4639297"/>
                </a:cubicBezTo>
                <a:close/>
                <a:moveTo>
                  <a:pt x="5235552" y="4638522"/>
                </a:moveTo>
                <a:cubicBezTo>
                  <a:pt x="5239460" y="4640625"/>
                  <a:pt x="5243068" y="4642617"/>
                  <a:pt x="5246976" y="4644720"/>
                </a:cubicBezTo>
                <a:cubicBezTo>
                  <a:pt x="5250282" y="4651582"/>
                  <a:pt x="5246675" y="4659329"/>
                  <a:pt x="5240362" y="4662759"/>
                </a:cubicBezTo>
                <a:cubicBezTo>
                  <a:pt x="5238258" y="4663866"/>
                  <a:pt x="5235854" y="4664530"/>
                  <a:pt x="5233448" y="4664530"/>
                </a:cubicBezTo>
                <a:cubicBezTo>
                  <a:pt x="5229840" y="4664530"/>
                  <a:pt x="5225933" y="4663423"/>
                  <a:pt x="5222024" y="4660657"/>
                </a:cubicBezTo>
                <a:cubicBezTo>
                  <a:pt x="5219620" y="4657447"/>
                  <a:pt x="5221123" y="4652024"/>
                  <a:pt x="5224129" y="4647376"/>
                </a:cubicBezTo>
                <a:lnTo>
                  <a:pt x="5222325" y="4647819"/>
                </a:lnTo>
                <a:cubicBezTo>
                  <a:pt x="5222625" y="4646823"/>
                  <a:pt x="5223226" y="4646823"/>
                  <a:pt x="5223528" y="4646823"/>
                </a:cubicBezTo>
                <a:lnTo>
                  <a:pt x="5224429" y="4646933"/>
                </a:lnTo>
                <a:lnTo>
                  <a:pt x="5229540" y="4641289"/>
                </a:lnTo>
                <a:cubicBezTo>
                  <a:pt x="5231344" y="4639740"/>
                  <a:pt x="5233748" y="4638633"/>
                  <a:pt x="5235552" y="4638522"/>
                </a:cubicBezTo>
                <a:close/>
                <a:moveTo>
                  <a:pt x="2471098" y="4638522"/>
                </a:moveTo>
                <a:cubicBezTo>
                  <a:pt x="2474705" y="4640625"/>
                  <a:pt x="2478614" y="4642617"/>
                  <a:pt x="2482221" y="4644720"/>
                </a:cubicBezTo>
                <a:cubicBezTo>
                  <a:pt x="2485528" y="4651582"/>
                  <a:pt x="2482221" y="4659329"/>
                  <a:pt x="2475909" y="4662759"/>
                </a:cubicBezTo>
                <a:cubicBezTo>
                  <a:pt x="2473804" y="4663866"/>
                  <a:pt x="2471399" y="4664530"/>
                  <a:pt x="2468693" y="4664530"/>
                </a:cubicBezTo>
                <a:cubicBezTo>
                  <a:pt x="2465387" y="4664530"/>
                  <a:pt x="2461478" y="4663423"/>
                  <a:pt x="2457570" y="4660657"/>
                </a:cubicBezTo>
                <a:cubicBezTo>
                  <a:pt x="2455165" y="4657447"/>
                  <a:pt x="2456669" y="4652024"/>
                  <a:pt x="2459375" y="4647376"/>
                </a:cubicBezTo>
                <a:lnTo>
                  <a:pt x="2457871" y="4647819"/>
                </a:lnTo>
                <a:cubicBezTo>
                  <a:pt x="2458172" y="4646823"/>
                  <a:pt x="2458472" y="4646823"/>
                  <a:pt x="2459073" y="4646823"/>
                </a:cubicBezTo>
                <a:lnTo>
                  <a:pt x="2459975" y="4646933"/>
                </a:lnTo>
                <a:lnTo>
                  <a:pt x="2464786" y="4641289"/>
                </a:lnTo>
                <a:cubicBezTo>
                  <a:pt x="2466889" y="4639740"/>
                  <a:pt x="2468994" y="4638633"/>
                  <a:pt x="2471098" y="4638522"/>
                </a:cubicBezTo>
                <a:close/>
                <a:moveTo>
                  <a:pt x="1442093" y="4638522"/>
                </a:moveTo>
                <a:cubicBezTo>
                  <a:pt x="1445701" y="4640625"/>
                  <a:pt x="1449609" y="4642617"/>
                  <a:pt x="1453216" y="4644720"/>
                </a:cubicBezTo>
                <a:cubicBezTo>
                  <a:pt x="1456523" y="4651582"/>
                  <a:pt x="1453216" y="4659329"/>
                  <a:pt x="1446903" y="4662759"/>
                </a:cubicBezTo>
                <a:cubicBezTo>
                  <a:pt x="1444799" y="4663866"/>
                  <a:pt x="1442394" y="4664530"/>
                  <a:pt x="1439688" y="4664530"/>
                </a:cubicBezTo>
                <a:cubicBezTo>
                  <a:pt x="1436081" y="4664530"/>
                  <a:pt x="1432173" y="4663423"/>
                  <a:pt x="1428265" y="4660657"/>
                </a:cubicBezTo>
                <a:cubicBezTo>
                  <a:pt x="1426161" y="4657447"/>
                  <a:pt x="1427364" y="4652024"/>
                  <a:pt x="1430370" y="4647376"/>
                </a:cubicBezTo>
                <a:lnTo>
                  <a:pt x="1428566" y="4647819"/>
                </a:lnTo>
                <a:cubicBezTo>
                  <a:pt x="1429167" y="4646823"/>
                  <a:pt x="1429467" y="4646823"/>
                  <a:pt x="1429769" y="4646823"/>
                </a:cubicBezTo>
                <a:lnTo>
                  <a:pt x="1430971" y="4646933"/>
                </a:lnTo>
                <a:lnTo>
                  <a:pt x="1435781" y="4641289"/>
                </a:lnTo>
                <a:cubicBezTo>
                  <a:pt x="1437884" y="4639740"/>
                  <a:pt x="1439989" y="4638633"/>
                  <a:pt x="1442093" y="4638522"/>
                </a:cubicBezTo>
                <a:close/>
                <a:moveTo>
                  <a:pt x="5101177" y="4636862"/>
                </a:moveTo>
                <a:cubicBezTo>
                  <a:pt x="5105686" y="4640072"/>
                  <a:pt x="5107490" y="4643503"/>
                  <a:pt x="5107490" y="4646712"/>
                </a:cubicBezTo>
                <a:cubicBezTo>
                  <a:pt x="5107190" y="4656340"/>
                  <a:pt x="5091557" y="4663091"/>
                  <a:pt x="5084644" y="4650143"/>
                </a:cubicBezTo>
                <a:cubicBezTo>
                  <a:pt x="5085545" y="4644167"/>
                  <a:pt x="5096368" y="4637305"/>
                  <a:pt x="5101177" y="4636862"/>
                </a:cubicBezTo>
                <a:close/>
                <a:moveTo>
                  <a:pt x="2336723" y="4636862"/>
                </a:moveTo>
                <a:cubicBezTo>
                  <a:pt x="2341232" y="4640072"/>
                  <a:pt x="2343036" y="4643503"/>
                  <a:pt x="2342736" y="4646712"/>
                </a:cubicBezTo>
                <a:cubicBezTo>
                  <a:pt x="2342736" y="4656340"/>
                  <a:pt x="2326803" y="4663091"/>
                  <a:pt x="2320189" y="4650143"/>
                </a:cubicBezTo>
                <a:cubicBezTo>
                  <a:pt x="2321091" y="4644167"/>
                  <a:pt x="2331914" y="4637305"/>
                  <a:pt x="2336723" y="4636862"/>
                </a:cubicBezTo>
                <a:close/>
                <a:moveTo>
                  <a:pt x="1307719" y="4636862"/>
                </a:moveTo>
                <a:cubicBezTo>
                  <a:pt x="1311927" y="4640072"/>
                  <a:pt x="1313731" y="4643503"/>
                  <a:pt x="1313731" y="4646712"/>
                </a:cubicBezTo>
                <a:cubicBezTo>
                  <a:pt x="1313731" y="4656340"/>
                  <a:pt x="1297798" y="4663091"/>
                  <a:pt x="1291185" y="4650143"/>
                </a:cubicBezTo>
                <a:cubicBezTo>
                  <a:pt x="1291786" y="4644167"/>
                  <a:pt x="1302608" y="4637305"/>
                  <a:pt x="1307719" y="4636862"/>
                </a:cubicBezTo>
                <a:close/>
                <a:moveTo>
                  <a:pt x="833649" y="4636752"/>
                </a:moveTo>
                <a:cubicBezTo>
                  <a:pt x="835152" y="4636309"/>
                  <a:pt x="836956" y="4636309"/>
                  <a:pt x="838760" y="4636862"/>
                </a:cubicBezTo>
                <a:cubicBezTo>
                  <a:pt x="840863" y="4637305"/>
                  <a:pt x="843268" y="4638190"/>
                  <a:pt x="846275" y="4639850"/>
                </a:cubicBezTo>
                <a:cubicBezTo>
                  <a:pt x="837557" y="4651692"/>
                  <a:pt x="856195" y="4653463"/>
                  <a:pt x="849883" y="4662981"/>
                </a:cubicBezTo>
                <a:cubicBezTo>
                  <a:pt x="845674" y="4665194"/>
                  <a:pt x="842066" y="4669178"/>
                  <a:pt x="836956" y="4669842"/>
                </a:cubicBezTo>
                <a:cubicBezTo>
                  <a:pt x="835152" y="4670064"/>
                  <a:pt x="833047" y="4669953"/>
                  <a:pt x="830944" y="4669289"/>
                </a:cubicBezTo>
                <a:cubicBezTo>
                  <a:pt x="834551" y="4657115"/>
                  <a:pt x="833047" y="4648040"/>
                  <a:pt x="833649" y="4636752"/>
                </a:cubicBezTo>
                <a:close/>
                <a:moveTo>
                  <a:pt x="5727358" y="4635092"/>
                </a:moveTo>
                <a:cubicBezTo>
                  <a:pt x="5748702" y="4633985"/>
                  <a:pt x="5752911" y="4649258"/>
                  <a:pt x="5742690" y="4655012"/>
                </a:cubicBezTo>
                <a:cubicBezTo>
                  <a:pt x="5739383" y="4656894"/>
                  <a:pt x="5734272" y="4657669"/>
                  <a:pt x="5727959" y="4656562"/>
                </a:cubicBezTo>
                <a:cubicBezTo>
                  <a:pt x="5721646" y="4651471"/>
                  <a:pt x="5721646" y="4637526"/>
                  <a:pt x="5727358" y="4635092"/>
                </a:cubicBezTo>
                <a:close/>
                <a:moveTo>
                  <a:pt x="4471690" y="4635092"/>
                </a:moveTo>
                <a:cubicBezTo>
                  <a:pt x="4493034" y="4633985"/>
                  <a:pt x="4497242" y="4649258"/>
                  <a:pt x="4487021" y="4655012"/>
                </a:cubicBezTo>
                <a:cubicBezTo>
                  <a:pt x="4483714" y="4656894"/>
                  <a:pt x="4478904" y="4657669"/>
                  <a:pt x="4472291" y="4656562"/>
                </a:cubicBezTo>
                <a:cubicBezTo>
                  <a:pt x="4465978" y="4651471"/>
                  <a:pt x="4465978" y="4637526"/>
                  <a:pt x="4471690" y="4635092"/>
                </a:cubicBezTo>
                <a:close/>
                <a:moveTo>
                  <a:pt x="2962904" y="4635092"/>
                </a:moveTo>
                <a:cubicBezTo>
                  <a:pt x="2984248" y="4633985"/>
                  <a:pt x="2988155" y="4649258"/>
                  <a:pt x="2978236" y="4655012"/>
                </a:cubicBezTo>
                <a:cubicBezTo>
                  <a:pt x="2974628" y="4656894"/>
                  <a:pt x="2969819" y="4657669"/>
                  <a:pt x="2963505" y="4656562"/>
                </a:cubicBezTo>
                <a:cubicBezTo>
                  <a:pt x="2957192" y="4651471"/>
                  <a:pt x="2957192" y="4637526"/>
                  <a:pt x="2962904" y="4635092"/>
                </a:cubicBezTo>
                <a:close/>
                <a:moveTo>
                  <a:pt x="1933899" y="4635092"/>
                </a:moveTo>
                <a:cubicBezTo>
                  <a:pt x="1954943" y="4633985"/>
                  <a:pt x="1959151" y="4649258"/>
                  <a:pt x="1948930" y="4655012"/>
                </a:cubicBezTo>
                <a:cubicBezTo>
                  <a:pt x="1945623" y="4656894"/>
                  <a:pt x="1940814" y="4657669"/>
                  <a:pt x="1934500" y="4656562"/>
                </a:cubicBezTo>
                <a:cubicBezTo>
                  <a:pt x="1927887" y="4651471"/>
                  <a:pt x="1927887" y="4637526"/>
                  <a:pt x="1933899" y="4635092"/>
                </a:cubicBezTo>
                <a:close/>
                <a:moveTo>
                  <a:pt x="5497989" y="4634096"/>
                </a:moveTo>
                <a:cubicBezTo>
                  <a:pt x="5500694" y="4637748"/>
                  <a:pt x="5502198" y="4641511"/>
                  <a:pt x="5501897" y="4645052"/>
                </a:cubicBezTo>
                <a:cubicBezTo>
                  <a:pt x="5501897" y="4648594"/>
                  <a:pt x="5500093" y="4652024"/>
                  <a:pt x="5496486" y="4655123"/>
                </a:cubicBezTo>
                <a:cubicBezTo>
                  <a:pt x="5488369" y="4654902"/>
                  <a:pt x="5485063" y="4645052"/>
                  <a:pt x="5482657" y="4639961"/>
                </a:cubicBezTo>
                <a:cubicBezTo>
                  <a:pt x="5488069" y="4636530"/>
                  <a:pt x="5493179" y="4633100"/>
                  <a:pt x="5497989" y="4634096"/>
                </a:cubicBezTo>
                <a:close/>
                <a:moveTo>
                  <a:pt x="4242321" y="4634096"/>
                </a:moveTo>
                <a:cubicBezTo>
                  <a:pt x="4245026" y="4637748"/>
                  <a:pt x="4246530" y="4641511"/>
                  <a:pt x="4246530" y="4645052"/>
                </a:cubicBezTo>
                <a:cubicBezTo>
                  <a:pt x="4246228" y="4648594"/>
                  <a:pt x="4244726" y="4652024"/>
                  <a:pt x="4241119" y="4655123"/>
                </a:cubicBezTo>
                <a:cubicBezTo>
                  <a:pt x="4233002" y="4654902"/>
                  <a:pt x="4229394" y="4645052"/>
                  <a:pt x="4226990" y="4639961"/>
                </a:cubicBezTo>
                <a:cubicBezTo>
                  <a:pt x="4232401" y="4636530"/>
                  <a:pt x="4237812" y="4633100"/>
                  <a:pt x="4242321" y="4634096"/>
                </a:cubicBezTo>
                <a:close/>
                <a:moveTo>
                  <a:pt x="2733234" y="4634096"/>
                </a:moveTo>
                <a:cubicBezTo>
                  <a:pt x="2735939" y="4637748"/>
                  <a:pt x="2737443" y="4641511"/>
                  <a:pt x="2737443" y="4645052"/>
                </a:cubicBezTo>
                <a:cubicBezTo>
                  <a:pt x="2737142" y="4648594"/>
                  <a:pt x="2735639" y="4652024"/>
                  <a:pt x="2732032" y="4655123"/>
                </a:cubicBezTo>
                <a:cubicBezTo>
                  <a:pt x="2723915" y="4654902"/>
                  <a:pt x="2720609" y="4645052"/>
                  <a:pt x="2718204" y="4639961"/>
                </a:cubicBezTo>
                <a:cubicBezTo>
                  <a:pt x="2723314" y="4636530"/>
                  <a:pt x="2728725" y="4633100"/>
                  <a:pt x="2733234" y="4634096"/>
                </a:cubicBezTo>
                <a:close/>
                <a:moveTo>
                  <a:pt x="1704229" y="4634096"/>
                </a:moveTo>
                <a:cubicBezTo>
                  <a:pt x="1706935" y="4637748"/>
                  <a:pt x="1708438" y="4641511"/>
                  <a:pt x="1708138" y="4645052"/>
                </a:cubicBezTo>
                <a:cubicBezTo>
                  <a:pt x="1708138" y="4648594"/>
                  <a:pt x="1706634" y="4652024"/>
                  <a:pt x="1703027" y="4655123"/>
                </a:cubicBezTo>
                <a:cubicBezTo>
                  <a:pt x="1694910" y="4654902"/>
                  <a:pt x="1691604" y="4645052"/>
                  <a:pt x="1688898" y="4639961"/>
                </a:cubicBezTo>
                <a:cubicBezTo>
                  <a:pt x="1694309" y="4636530"/>
                  <a:pt x="1699420" y="4633100"/>
                  <a:pt x="1704229" y="4634096"/>
                </a:cubicBezTo>
                <a:close/>
                <a:moveTo>
                  <a:pt x="4976423" y="4630886"/>
                </a:moveTo>
                <a:cubicBezTo>
                  <a:pt x="4982435" y="4633542"/>
                  <a:pt x="4982435" y="4639740"/>
                  <a:pt x="4988747" y="4643945"/>
                </a:cubicBezTo>
                <a:cubicBezTo>
                  <a:pt x="4986944" y="4649258"/>
                  <a:pt x="4993557" y="4654791"/>
                  <a:pt x="4990551" y="4662095"/>
                </a:cubicBezTo>
                <a:cubicBezTo>
                  <a:pt x="4979429" y="4659550"/>
                  <a:pt x="4973115" y="4636641"/>
                  <a:pt x="4976423" y="4630886"/>
                </a:cubicBezTo>
                <a:close/>
                <a:moveTo>
                  <a:pt x="2211968" y="4630886"/>
                </a:moveTo>
                <a:cubicBezTo>
                  <a:pt x="2217981" y="4633542"/>
                  <a:pt x="2217981" y="4639740"/>
                  <a:pt x="2224293" y="4643945"/>
                </a:cubicBezTo>
                <a:cubicBezTo>
                  <a:pt x="2222189" y="4649258"/>
                  <a:pt x="2228803" y="4654791"/>
                  <a:pt x="2225796" y="4662095"/>
                </a:cubicBezTo>
                <a:cubicBezTo>
                  <a:pt x="2214975" y="4659550"/>
                  <a:pt x="2208661" y="4636641"/>
                  <a:pt x="2211968" y="4630886"/>
                </a:cubicBezTo>
                <a:close/>
                <a:moveTo>
                  <a:pt x="1182964" y="4630886"/>
                </a:moveTo>
                <a:cubicBezTo>
                  <a:pt x="1188675" y="4633542"/>
                  <a:pt x="1188675" y="4639740"/>
                  <a:pt x="1194988" y="4643945"/>
                </a:cubicBezTo>
                <a:cubicBezTo>
                  <a:pt x="1193184" y="4649258"/>
                  <a:pt x="1199798" y="4654791"/>
                  <a:pt x="1196792" y="4662095"/>
                </a:cubicBezTo>
                <a:cubicBezTo>
                  <a:pt x="1185970" y="4659550"/>
                  <a:pt x="1179356" y="4636641"/>
                  <a:pt x="1182964" y="4630886"/>
                </a:cubicBezTo>
                <a:close/>
                <a:moveTo>
                  <a:pt x="5178435" y="4628783"/>
                </a:moveTo>
                <a:cubicBezTo>
                  <a:pt x="5184447" y="4630886"/>
                  <a:pt x="5186252" y="4636641"/>
                  <a:pt x="5185650" y="4642285"/>
                </a:cubicBezTo>
                <a:cubicBezTo>
                  <a:pt x="5184749" y="4647819"/>
                  <a:pt x="5181141" y="4653131"/>
                  <a:pt x="5176331" y="4654459"/>
                </a:cubicBezTo>
                <a:cubicBezTo>
                  <a:pt x="5169718" y="4643835"/>
                  <a:pt x="5167613" y="4635756"/>
                  <a:pt x="5178435" y="4628783"/>
                </a:cubicBezTo>
                <a:close/>
                <a:moveTo>
                  <a:pt x="2413680" y="4628783"/>
                </a:moveTo>
                <a:cubicBezTo>
                  <a:pt x="2419993" y="4630886"/>
                  <a:pt x="2421797" y="4636641"/>
                  <a:pt x="2421196" y="4642285"/>
                </a:cubicBezTo>
                <a:cubicBezTo>
                  <a:pt x="2420295" y="4647819"/>
                  <a:pt x="2416687" y="4653131"/>
                  <a:pt x="2411876" y="4654459"/>
                </a:cubicBezTo>
                <a:cubicBezTo>
                  <a:pt x="2405263" y="4643835"/>
                  <a:pt x="2403159" y="4635756"/>
                  <a:pt x="2413680" y="4628783"/>
                </a:cubicBezTo>
                <a:close/>
                <a:moveTo>
                  <a:pt x="1384676" y="4628783"/>
                </a:moveTo>
                <a:cubicBezTo>
                  <a:pt x="1390688" y="4630886"/>
                  <a:pt x="1392792" y="4636641"/>
                  <a:pt x="1391891" y="4642285"/>
                </a:cubicBezTo>
                <a:cubicBezTo>
                  <a:pt x="1391290" y="4647819"/>
                  <a:pt x="1387682" y="4653131"/>
                  <a:pt x="1382572" y="4654459"/>
                </a:cubicBezTo>
                <a:cubicBezTo>
                  <a:pt x="1376259" y="4643835"/>
                  <a:pt x="1374154" y="4635756"/>
                  <a:pt x="1384676" y="4628783"/>
                </a:cubicBezTo>
                <a:close/>
                <a:moveTo>
                  <a:pt x="1798622" y="4624135"/>
                </a:moveTo>
                <a:cubicBezTo>
                  <a:pt x="1800426" y="4623803"/>
                  <a:pt x="1803132" y="4624578"/>
                  <a:pt x="1805537" y="4627234"/>
                </a:cubicBezTo>
                <a:cubicBezTo>
                  <a:pt x="1802831" y="4632878"/>
                  <a:pt x="1800727" y="4636530"/>
                  <a:pt x="1798322" y="4638744"/>
                </a:cubicBezTo>
                <a:cubicBezTo>
                  <a:pt x="1789904" y="4635977"/>
                  <a:pt x="1792310" y="4625021"/>
                  <a:pt x="1798622" y="4624135"/>
                </a:cubicBezTo>
                <a:close/>
                <a:moveTo>
                  <a:pt x="769318" y="4624135"/>
                </a:moveTo>
                <a:cubicBezTo>
                  <a:pt x="771421" y="4623803"/>
                  <a:pt x="773826" y="4624578"/>
                  <a:pt x="776532" y="4627234"/>
                </a:cubicBezTo>
                <a:cubicBezTo>
                  <a:pt x="773526" y="4632878"/>
                  <a:pt x="771722" y="4636530"/>
                  <a:pt x="769016" y="4638744"/>
                </a:cubicBezTo>
                <a:cubicBezTo>
                  <a:pt x="760599" y="4635977"/>
                  <a:pt x="763305" y="4625021"/>
                  <a:pt x="769318" y="4624135"/>
                </a:cubicBezTo>
                <a:close/>
                <a:moveTo>
                  <a:pt x="2243834" y="4621590"/>
                </a:moveTo>
                <a:cubicBezTo>
                  <a:pt x="2245637" y="4621147"/>
                  <a:pt x="2247140" y="4621147"/>
                  <a:pt x="2248944" y="4621590"/>
                </a:cubicBezTo>
                <a:cubicBezTo>
                  <a:pt x="2251048" y="4622032"/>
                  <a:pt x="2253152" y="4623028"/>
                  <a:pt x="2255857" y="4624578"/>
                </a:cubicBezTo>
                <a:cubicBezTo>
                  <a:pt x="2245337" y="4636641"/>
                  <a:pt x="2263674" y="4637858"/>
                  <a:pt x="2255857" y="4647597"/>
                </a:cubicBezTo>
                <a:cubicBezTo>
                  <a:pt x="2251349" y="4650032"/>
                  <a:pt x="2247441" y="4654016"/>
                  <a:pt x="2242029" y="4654902"/>
                </a:cubicBezTo>
                <a:cubicBezTo>
                  <a:pt x="2240226" y="4655123"/>
                  <a:pt x="2238122" y="4655123"/>
                  <a:pt x="2236017" y="4654570"/>
                </a:cubicBezTo>
                <a:cubicBezTo>
                  <a:pt x="2241729" y="4642285"/>
                  <a:pt x="2241428" y="4633100"/>
                  <a:pt x="2243834" y="4621590"/>
                </a:cubicBezTo>
                <a:close/>
                <a:moveTo>
                  <a:pt x="1214828" y="4621590"/>
                </a:moveTo>
                <a:cubicBezTo>
                  <a:pt x="1216332" y="4621147"/>
                  <a:pt x="1217835" y="4621147"/>
                  <a:pt x="1219939" y="4621590"/>
                </a:cubicBezTo>
                <a:cubicBezTo>
                  <a:pt x="1221743" y="4622032"/>
                  <a:pt x="1224147" y="4623028"/>
                  <a:pt x="1226853" y="4624578"/>
                </a:cubicBezTo>
                <a:cubicBezTo>
                  <a:pt x="1216332" y="4636641"/>
                  <a:pt x="1234669" y="4637858"/>
                  <a:pt x="1226853" y="4647597"/>
                </a:cubicBezTo>
                <a:cubicBezTo>
                  <a:pt x="1222344" y="4650032"/>
                  <a:pt x="1218435" y="4654016"/>
                  <a:pt x="1212724" y="4654902"/>
                </a:cubicBezTo>
                <a:cubicBezTo>
                  <a:pt x="1210921" y="4655123"/>
                  <a:pt x="1209117" y="4655123"/>
                  <a:pt x="1206712" y="4654570"/>
                </a:cubicBezTo>
                <a:cubicBezTo>
                  <a:pt x="1212423" y="4642285"/>
                  <a:pt x="1212423" y="4633100"/>
                  <a:pt x="1214828" y="4621590"/>
                </a:cubicBezTo>
                <a:close/>
                <a:moveTo>
                  <a:pt x="6149421" y="4621036"/>
                </a:moveTo>
                <a:cubicBezTo>
                  <a:pt x="6150323" y="4621258"/>
                  <a:pt x="6151527" y="4621700"/>
                  <a:pt x="6152428" y="4622475"/>
                </a:cubicBezTo>
                <a:cubicBezTo>
                  <a:pt x="6153329" y="4623250"/>
                  <a:pt x="6153930" y="4624246"/>
                  <a:pt x="6153630" y="4625353"/>
                </a:cubicBezTo>
                <a:cubicBezTo>
                  <a:pt x="6152127" y="4626127"/>
                  <a:pt x="6153029" y="4627455"/>
                  <a:pt x="6151527" y="4628230"/>
                </a:cubicBezTo>
                <a:cubicBezTo>
                  <a:pt x="6149421" y="4631218"/>
                  <a:pt x="6147918" y="4631993"/>
                  <a:pt x="6145815" y="4631550"/>
                </a:cubicBezTo>
                <a:cubicBezTo>
                  <a:pt x="6144310" y="4632325"/>
                  <a:pt x="6143709" y="4631107"/>
                  <a:pt x="6141305" y="4630665"/>
                </a:cubicBezTo>
                <a:cubicBezTo>
                  <a:pt x="6140704" y="4629337"/>
                  <a:pt x="6141305" y="4627123"/>
                  <a:pt x="6141305" y="4627123"/>
                </a:cubicBezTo>
                <a:cubicBezTo>
                  <a:pt x="6142207" y="4625021"/>
                  <a:pt x="6142207" y="4625131"/>
                  <a:pt x="6139802" y="4624688"/>
                </a:cubicBezTo>
                <a:cubicBezTo>
                  <a:pt x="6139802" y="4624688"/>
                  <a:pt x="6141305" y="4623692"/>
                  <a:pt x="6141305" y="4623692"/>
                </a:cubicBezTo>
                <a:cubicBezTo>
                  <a:pt x="6142207" y="4625021"/>
                  <a:pt x="6141305" y="4623803"/>
                  <a:pt x="6142207" y="4621700"/>
                </a:cubicBezTo>
                <a:cubicBezTo>
                  <a:pt x="6145815" y="4621368"/>
                  <a:pt x="6147017" y="4620594"/>
                  <a:pt x="6149421" y="4621036"/>
                </a:cubicBezTo>
                <a:close/>
                <a:moveTo>
                  <a:pt x="2355662" y="4621036"/>
                </a:moveTo>
                <a:cubicBezTo>
                  <a:pt x="2356865" y="4621258"/>
                  <a:pt x="2358067" y="4621700"/>
                  <a:pt x="2358968" y="4622475"/>
                </a:cubicBezTo>
                <a:cubicBezTo>
                  <a:pt x="2359871" y="4623250"/>
                  <a:pt x="2360171" y="4624246"/>
                  <a:pt x="2359871" y="4625353"/>
                </a:cubicBezTo>
                <a:cubicBezTo>
                  <a:pt x="2358367" y="4626127"/>
                  <a:pt x="2359270" y="4627455"/>
                  <a:pt x="2357766" y="4628230"/>
                </a:cubicBezTo>
                <a:cubicBezTo>
                  <a:pt x="2355662" y="4631218"/>
                  <a:pt x="2354159" y="4631993"/>
                  <a:pt x="2352055" y="4631550"/>
                </a:cubicBezTo>
                <a:cubicBezTo>
                  <a:pt x="2350551" y="4632325"/>
                  <a:pt x="2349950" y="4631107"/>
                  <a:pt x="2347845" y="4630665"/>
                </a:cubicBezTo>
                <a:cubicBezTo>
                  <a:pt x="2346944" y="4629337"/>
                  <a:pt x="2347845" y="4627123"/>
                  <a:pt x="2347845" y="4627123"/>
                </a:cubicBezTo>
                <a:cubicBezTo>
                  <a:pt x="2348448" y="4625021"/>
                  <a:pt x="2348448" y="4625131"/>
                  <a:pt x="2346343" y="4624688"/>
                </a:cubicBezTo>
                <a:cubicBezTo>
                  <a:pt x="2346343" y="4624688"/>
                  <a:pt x="2347845" y="4623692"/>
                  <a:pt x="2347845" y="4623692"/>
                </a:cubicBezTo>
                <a:cubicBezTo>
                  <a:pt x="2348448" y="4625021"/>
                  <a:pt x="2347845" y="4623803"/>
                  <a:pt x="2348448" y="4621700"/>
                </a:cubicBezTo>
                <a:cubicBezTo>
                  <a:pt x="2352055" y="4621368"/>
                  <a:pt x="2353557" y="4620594"/>
                  <a:pt x="2355662" y="4621036"/>
                </a:cubicBezTo>
                <a:close/>
                <a:moveTo>
                  <a:pt x="6191808" y="4620372"/>
                </a:moveTo>
                <a:cubicBezTo>
                  <a:pt x="6192710" y="4620594"/>
                  <a:pt x="6193912" y="4621811"/>
                  <a:pt x="6194814" y="4623360"/>
                </a:cubicBezTo>
                <a:cubicBezTo>
                  <a:pt x="6197219" y="4628230"/>
                  <a:pt x="6198722" y="4637084"/>
                  <a:pt x="6197520" y="4637748"/>
                </a:cubicBezTo>
                <a:cubicBezTo>
                  <a:pt x="6198421" y="4639076"/>
                  <a:pt x="6196919" y="4639961"/>
                  <a:pt x="6197520" y="4641179"/>
                </a:cubicBezTo>
                <a:cubicBezTo>
                  <a:pt x="6197520" y="4641179"/>
                  <a:pt x="6198421" y="4642507"/>
                  <a:pt x="6197820" y="4644609"/>
                </a:cubicBezTo>
                <a:cubicBezTo>
                  <a:pt x="6196919" y="4646712"/>
                  <a:pt x="6196318" y="4648926"/>
                  <a:pt x="6192710" y="4649258"/>
                </a:cubicBezTo>
                <a:cubicBezTo>
                  <a:pt x="6191207" y="4636309"/>
                  <a:pt x="6188200" y="4630997"/>
                  <a:pt x="6188200" y="4620704"/>
                </a:cubicBezTo>
                <a:cubicBezTo>
                  <a:pt x="6189704" y="4619930"/>
                  <a:pt x="6190306" y="4621147"/>
                  <a:pt x="6191808" y="4620372"/>
                </a:cubicBezTo>
                <a:close/>
                <a:moveTo>
                  <a:pt x="6159342" y="4620372"/>
                </a:moveTo>
                <a:cubicBezTo>
                  <a:pt x="6161747" y="4620040"/>
                  <a:pt x="6164152" y="4620151"/>
                  <a:pt x="6166857" y="4620704"/>
                </a:cubicBezTo>
                <a:cubicBezTo>
                  <a:pt x="6172268" y="4621700"/>
                  <a:pt x="6177678" y="4624024"/>
                  <a:pt x="6181587" y="4626238"/>
                </a:cubicBezTo>
                <a:cubicBezTo>
                  <a:pt x="6181287" y="4630443"/>
                  <a:pt x="6184593" y="4631993"/>
                  <a:pt x="6184293" y="4636309"/>
                </a:cubicBezTo>
                <a:cubicBezTo>
                  <a:pt x="6170765" y="4634317"/>
                  <a:pt x="6156035" y="4633321"/>
                  <a:pt x="6153329" y="4623250"/>
                </a:cubicBezTo>
                <a:cubicBezTo>
                  <a:pt x="6154832" y="4621590"/>
                  <a:pt x="6156938" y="4620704"/>
                  <a:pt x="6159342" y="4620372"/>
                </a:cubicBezTo>
                <a:close/>
                <a:moveTo>
                  <a:pt x="2398048" y="4620372"/>
                </a:moveTo>
                <a:cubicBezTo>
                  <a:pt x="2399251" y="4620594"/>
                  <a:pt x="2400153" y="4621811"/>
                  <a:pt x="2401055" y="4623360"/>
                </a:cubicBezTo>
                <a:cubicBezTo>
                  <a:pt x="2403761" y="4628230"/>
                  <a:pt x="2404963" y="4637084"/>
                  <a:pt x="2404061" y="4637748"/>
                </a:cubicBezTo>
                <a:cubicBezTo>
                  <a:pt x="2404662" y="4639076"/>
                  <a:pt x="2403159" y="4639961"/>
                  <a:pt x="2404061" y="4641179"/>
                </a:cubicBezTo>
                <a:cubicBezTo>
                  <a:pt x="2404061" y="4641179"/>
                  <a:pt x="2404662" y="4642507"/>
                  <a:pt x="2404061" y="4644609"/>
                </a:cubicBezTo>
                <a:cubicBezTo>
                  <a:pt x="2403159" y="4646712"/>
                  <a:pt x="2402558" y="4648926"/>
                  <a:pt x="2398951" y="4649258"/>
                </a:cubicBezTo>
                <a:cubicBezTo>
                  <a:pt x="2397447" y="4636309"/>
                  <a:pt x="2394441" y="4630997"/>
                  <a:pt x="2394441" y="4620704"/>
                </a:cubicBezTo>
                <a:cubicBezTo>
                  <a:pt x="2395945" y="4619930"/>
                  <a:pt x="2396546" y="4621147"/>
                  <a:pt x="2398048" y="4620372"/>
                </a:cubicBezTo>
                <a:close/>
                <a:moveTo>
                  <a:pt x="2365582" y="4620372"/>
                </a:moveTo>
                <a:cubicBezTo>
                  <a:pt x="2367988" y="4620040"/>
                  <a:pt x="2370693" y="4620151"/>
                  <a:pt x="2373399" y="4620704"/>
                </a:cubicBezTo>
                <a:cubicBezTo>
                  <a:pt x="2378508" y="4621700"/>
                  <a:pt x="2384221" y="4624024"/>
                  <a:pt x="2387828" y="4626238"/>
                </a:cubicBezTo>
                <a:cubicBezTo>
                  <a:pt x="2387527" y="4630443"/>
                  <a:pt x="2390834" y="4631993"/>
                  <a:pt x="2390534" y="4636309"/>
                </a:cubicBezTo>
                <a:cubicBezTo>
                  <a:pt x="2377306" y="4634317"/>
                  <a:pt x="2362576" y="4633321"/>
                  <a:pt x="2359871" y="4623250"/>
                </a:cubicBezTo>
                <a:cubicBezTo>
                  <a:pt x="2361373" y="4621590"/>
                  <a:pt x="2363478" y="4620704"/>
                  <a:pt x="2365582" y="4620372"/>
                </a:cubicBezTo>
                <a:close/>
                <a:moveTo>
                  <a:pt x="2060458" y="4619487"/>
                </a:moveTo>
                <a:cubicBezTo>
                  <a:pt x="2075789" y="4630111"/>
                  <a:pt x="2054747" y="4658001"/>
                  <a:pt x="2045126" y="4663534"/>
                </a:cubicBezTo>
                <a:cubicBezTo>
                  <a:pt x="2046931" y="4650254"/>
                  <a:pt x="2050538" y="4628341"/>
                  <a:pt x="2060458" y="4619487"/>
                </a:cubicBezTo>
                <a:close/>
                <a:moveTo>
                  <a:pt x="1031454" y="4619487"/>
                </a:moveTo>
                <a:cubicBezTo>
                  <a:pt x="1046785" y="4630111"/>
                  <a:pt x="1025742" y="4658001"/>
                  <a:pt x="1016122" y="4663534"/>
                </a:cubicBezTo>
                <a:cubicBezTo>
                  <a:pt x="1017926" y="4650254"/>
                  <a:pt x="1021533" y="4628341"/>
                  <a:pt x="1031454" y="4619487"/>
                </a:cubicBezTo>
                <a:close/>
                <a:moveTo>
                  <a:pt x="3130647" y="4617827"/>
                </a:moveTo>
                <a:cubicBezTo>
                  <a:pt x="3132751" y="4622254"/>
                  <a:pt x="3137862" y="4627787"/>
                  <a:pt x="3138763" y="4635424"/>
                </a:cubicBezTo>
                <a:cubicBezTo>
                  <a:pt x="3122230" y="4655787"/>
                  <a:pt x="3113512" y="4619487"/>
                  <a:pt x="3130647" y="4617827"/>
                </a:cubicBezTo>
                <a:close/>
                <a:moveTo>
                  <a:pt x="5836181" y="4616499"/>
                </a:moveTo>
                <a:cubicBezTo>
                  <a:pt x="5840389" y="4617938"/>
                  <a:pt x="5840389" y="4622696"/>
                  <a:pt x="5842494" y="4623360"/>
                </a:cubicBezTo>
                <a:cubicBezTo>
                  <a:pt x="5840991" y="4624135"/>
                  <a:pt x="5837984" y="4625463"/>
                  <a:pt x="5837684" y="4628783"/>
                </a:cubicBezTo>
                <a:cubicBezTo>
                  <a:pt x="5833474" y="4627455"/>
                  <a:pt x="5829568" y="4626127"/>
                  <a:pt x="5831371" y="4622032"/>
                </a:cubicBezTo>
                <a:cubicBezTo>
                  <a:pt x="5832273" y="4620040"/>
                  <a:pt x="5833174" y="4617827"/>
                  <a:pt x="5836181" y="4616499"/>
                </a:cubicBezTo>
                <a:close/>
                <a:moveTo>
                  <a:pt x="3071726" y="4616499"/>
                </a:moveTo>
                <a:cubicBezTo>
                  <a:pt x="3075635" y="4617938"/>
                  <a:pt x="3075935" y="4622696"/>
                  <a:pt x="3078040" y="4623360"/>
                </a:cubicBezTo>
                <a:cubicBezTo>
                  <a:pt x="3076537" y="4624135"/>
                  <a:pt x="3073530" y="4625463"/>
                  <a:pt x="3073230" y="4628783"/>
                </a:cubicBezTo>
                <a:cubicBezTo>
                  <a:pt x="3069021" y="4627455"/>
                  <a:pt x="3065113" y="4626127"/>
                  <a:pt x="3066917" y="4622032"/>
                </a:cubicBezTo>
                <a:cubicBezTo>
                  <a:pt x="3067819" y="4620040"/>
                  <a:pt x="3068720" y="4617827"/>
                  <a:pt x="3071726" y="4616499"/>
                </a:cubicBezTo>
                <a:close/>
                <a:moveTo>
                  <a:pt x="2042421" y="4616499"/>
                </a:moveTo>
                <a:cubicBezTo>
                  <a:pt x="2046630" y="4617938"/>
                  <a:pt x="2046931" y="4622696"/>
                  <a:pt x="2049035" y="4623360"/>
                </a:cubicBezTo>
                <a:cubicBezTo>
                  <a:pt x="2047532" y="4624135"/>
                  <a:pt x="2044525" y="4625463"/>
                  <a:pt x="2044225" y="4628783"/>
                </a:cubicBezTo>
                <a:cubicBezTo>
                  <a:pt x="2040016" y="4627455"/>
                  <a:pt x="2035808" y="4626127"/>
                  <a:pt x="2037612" y="4622032"/>
                </a:cubicBezTo>
                <a:cubicBezTo>
                  <a:pt x="2038513" y="4620040"/>
                  <a:pt x="2039415" y="4617827"/>
                  <a:pt x="2042421" y="4616499"/>
                </a:cubicBezTo>
                <a:close/>
                <a:moveTo>
                  <a:pt x="5351289" y="4610523"/>
                </a:moveTo>
                <a:cubicBezTo>
                  <a:pt x="5356399" y="4610744"/>
                  <a:pt x="5360908" y="4612404"/>
                  <a:pt x="5362412" y="4611740"/>
                </a:cubicBezTo>
                <a:cubicBezTo>
                  <a:pt x="5366920" y="4616831"/>
                  <a:pt x="5366920" y="4616831"/>
                  <a:pt x="5358805" y="4625021"/>
                </a:cubicBezTo>
                <a:cubicBezTo>
                  <a:pt x="5357301" y="4626349"/>
                  <a:pt x="5355197" y="4627123"/>
                  <a:pt x="5353093" y="4627455"/>
                </a:cubicBezTo>
                <a:cubicBezTo>
                  <a:pt x="5350989" y="4627787"/>
                  <a:pt x="5348584" y="4627566"/>
                  <a:pt x="5346179" y="4626570"/>
                </a:cubicBezTo>
                <a:cubicBezTo>
                  <a:pt x="5343172" y="4627677"/>
                  <a:pt x="5338362" y="4627123"/>
                  <a:pt x="5335356" y="4625353"/>
                </a:cubicBezTo>
                <a:cubicBezTo>
                  <a:pt x="5332050" y="4621922"/>
                  <a:pt x="5332350" y="4618934"/>
                  <a:pt x="5333853" y="4617606"/>
                </a:cubicBezTo>
                <a:cubicBezTo>
                  <a:pt x="5339564" y="4611519"/>
                  <a:pt x="5345878" y="4610301"/>
                  <a:pt x="5351289" y="4610523"/>
                </a:cubicBezTo>
                <a:close/>
                <a:moveTo>
                  <a:pt x="2586534" y="4610523"/>
                </a:moveTo>
                <a:cubicBezTo>
                  <a:pt x="2591945" y="4610744"/>
                  <a:pt x="2596454" y="4612404"/>
                  <a:pt x="2597958" y="4611740"/>
                </a:cubicBezTo>
                <a:cubicBezTo>
                  <a:pt x="2602466" y="4616831"/>
                  <a:pt x="2602466" y="4616831"/>
                  <a:pt x="2594350" y="4625021"/>
                </a:cubicBezTo>
                <a:cubicBezTo>
                  <a:pt x="2592847" y="4626349"/>
                  <a:pt x="2590743" y="4627123"/>
                  <a:pt x="2588638" y="4627455"/>
                </a:cubicBezTo>
                <a:cubicBezTo>
                  <a:pt x="2586233" y="4627787"/>
                  <a:pt x="2583828" y="4627566"/>
                  <a:pt x="2581725" y="4626570"/>
                </a:cubicBezTo>
                <a:cubicBezTo>
                  <a:pt x="2578418" y="4627677"/>
                  <a:pt x="2573608" y="4627123"/>
                  <a:pt x="2570602" y="4625353"/>
                </a:cubicBezTo>
                <a:cubicBezTo>
                  <a:pt x="2567596" y="4621922"/>
                  <a:pt x="2567596" y="4618934"/>
                  <a:pt x="2569098" y="4617606"/>
                </a:cubicBezTo>
                <a:cubicBezTo>
                  <a:pt x="2574810" y="4611519"/>
                  <a:pt x="2581424" y="4610301"/>
                  <a:pt x="2586534" y="4610523"/>
                </a:cubicBezTo>
                <a:close/>
                <a:moveTo>
                  <a:pt x="1557530" y="4610523"/>
                </a:moveTo>
                <a:cubicBezTo>
                  <a:pt x="1562941" y="4610744"/>
                  <a:pt x="1567149" y="4612404"/>
                  <a:pt x="1568953" y="4611740"/>
                </a:cubicBezTo>
                <a:cubicBezTo>
                  <a:pt x="1573462" y="4616831"/>
                  <a:pt x="1573462" y="4616831"/>
                  <a:pt x="1565345" y="4625021"/>
                </a:cubicBezTo>
                <a:cubicBezTo>
                  <a:pt x="1563542" y="4626349"/>
                  <a:pt x="1561438" y="4627123"/>
                  <a:pt x="1559333" y="4627455"/>
                </a:cubicBezTo>
                <a:cubicBezTo>
                  <a:pt x="1557228" y="4627787"/>
                  <a:pt x="1554824" y="4627566"/>
                  <a:pt x="1552419" y="4626570"/>
                </a:cubicBezTo>
                <a:cubicBezTo>
                  <a:pt x="1549413" y="4627677"/>
                  <a:pt x="1544603" y="4627123"/>
                  <a:pt x="1541597" y="4625353"/>
                </a:cubicBezTo>
                <a:cubicBezTo>
                  <a:pt x="1538291" y="4621922"/>
                  <a:pt x="1538591" y="4618934"/>
                  <a:pt x="1540094" y="4617606"/>
                </a:cubicBezTo>
                <a:cubicBezTo>
                  <a:pt x="1545805" y="4611519"/>
                  <a:pt x="1552119" y="4610301"/>
                  <a:pt x="1557530" y="4610523"/>
                </a:cubicBezTo>
                <a:close/>
                <a:moveTo>
                  <a:pt x="2909094" y="4609305"/>
                </a:moveTo>
                <a:lnTo>
                  <a:pt x="2913302" y="4619598"/>
                </a:lnTo>
                <a:lnTo>
                  <a:pt x="2913302" y="4619487"/>
                </a:lnTo>
                <a:lnTo>
                  <a:pt x="2918713" y="4616499"/>
                </a:lnTo>
                <a:lnTo>
                  <a:pt x="2917211" y="4613953"/>
                </a:lnTo>
                <a:cubicBezTo>
                  <a:pt x="2915407" y="4611851"/>
                  <a:pt x="2912701" y="4610080"/>
                  <a:pt x="2909094" y="4609305"/>
                </a:cubicBezTo>
                <a:close/>
                <a:moveTo>
                  <a:pt x="5728259" y="4608420"/>
                </a:moveTo>
                <a:cubicBezTo>
                  <a:pt x="5728861" y="4609748"/>
                  <a:pt x="5729462" y="4611076"/>
                  <a:pt x="5728561" y="4613179"/>
                </a:cubicBezTo>
                <a:cubicBezTo>
                  <a:pt x="5727658" y="4615171"/>
                  <a:pt x="5727057" y="4613843"/>
                  <a:pt x="5727658" y="4615171"/>
                </a:cubicBezTo>
                <a:cubicBezTo>
                  <a:pt x="5726757" y="4617274"/>
                  <a:pt x="5728259" y="4616609"/>
                  <a:pt x="5728259" y="4616609"/>
                </a:cubicBezTo>
                <a:cubicBezTo>
                  <a:pt x="5728259" y="4616609"/>
                  <a:pt x="5726757" y="4617274"/>
                  <a:pt x="5726757" y="4617274"/>
                </a:cubicBezTo>
                <a:cubicBezTo>
                  <a:pt x="5726757" y="4617274"/>
                  <a:pt x="5726757" y="4617274"/>
                  <a:pt x="5726456" y="4617716"/>
                </a:cubicBezTo>
                <a:lnTo>
                  <a:pt x="5725855" y="4619487"/>
                </a:lnTo>
                <a:lnTo>
                  <a:pt x="5732769" y="4617606"/>
                </a:lnTo>
                <a:cubicBezTo>
                  <a:pt x="5737579" y="4621368"/>
                  <a:pt x="5745696" y="4618048"/>
                  <a:pt x="5751708" y="4623471"/>
                </a:cubicBezTo>
                <a:cubicBezTo>
                  <a:pt x="5748101" y="4627566"/>
                  <a:pt x="5740285" y="4628673"/>
                  <a:pt x="5732468" y="4628009"/>
                </a:cubicBezTo>
                <a:lnTo>
                  <a:pt x="5724051" y="4626570"/>
                </a:lnTo>
                <a:lnTo>
                  <a:pt x="5724051" y="4627234"/>
                </a:lnTo>
                <a:cubicBezTo>
                  <a:pt x="5724051" y="4628673"/>
                  <a:pt x="5724353" y="4629890"/>
                  <a:pt x="5724051" y="4631661"/>
                </a:cubicBezTo>
                <a:cubicBezTo>
                  <a:pt x="5722247" y="4635756"/>
                  <a:pt x="5720745" y="4636420"/>
                  <a:pt x="5717438" y="4641179"/>
                </a:cubicBezTo>
                <a:cubicBezTo>
                  <a:pt x="5714132" y="4641179"/>
                  <a:pt x="5714132" y="4641179"/>
                  <a:pt x="5713531" y="4639740"/>
                </a:cubicBezTo>
                <a:cubicBezTo>
                  <a:pt x="5714132" y="4641179"/>
                  <a:pt x="5712628" y="4641843"/>
                  <a:pt x="5711726" y="4643945"/>
                </a:cubicBezTo>
                <a:cubicBezTo>
                  <a:pt x="5710824" y="4648372"/>
                  <a:pt x="5708420" y="4650696"/>
                  <a:pt x="5704812" y="4651692"/>
                </a:cubicBezTo>
                <a:lnTo>
                  <a:pt x="5704211" y="4651692"/>
                </a:lnTo>
                <a:lnTo>
                  <a:pt x="5701505" y="4655012"/>
                </a:lnTo>
                <a:cubicBezTo>
                  <a:pt x="5693088" y="4661210"/>
                  <a:pt x="5679862" y="4662427"/>
                  <a:pt x="5664830" y="4651803"/>
                </a:cubicBezTo>
                <a:lnTo>
                  <a:pt x="5665131" y="4649922"/>
                </a:lnTo>
                <a:lnTo>
                  <a:pt x="5663026" y="4656562"/>
                </a:lnTo>
                <a:cubicBezTo>
                  <a:pt x="5660020" y="4657447"/>
                  <a:pt x="5657315" y="4657005"/>
                  <a:pt x="5654910" y="4655787"/>
                </a:cubicBezTo>
                <a:lnTo>
                  <a:pt x="5652506" y="4653574"/>
                </a:lnTo>
                <a:lnTo>
                  <a:pt x="5651904" y="4657669"/>
                </a:lnTo>
                <a:cubicBezTo>
                  <a:pt x="5647395" y="4657115"/>
                  <a:pt x="5644087" y="4657669"/>
                  <a:pt x="5640781" y="4656230"/>
                </a:cubicBezTo>
                <a:cubicBezTo>
                  <a:pt x="5639277" y="4652246"/>
                  <a:pt x="5640180" y="4649811"/>
                  <a:pt x="5642284" y="4648483"/>
                </a:cubicBezTo>
                <a:lnTo>
                  <a:pt x="5647996" y="4648261"/>
                </a:lnTo>
                <a:lnTo>
                  <a:pt x="5645891" y="4642175"/>
                </a:lnTo>
                <a:cubicBezTo>
                  <a:pt x="5645291" y="4639408"/>
                  <a:pt x="5645591" y="4636862"/>
                  <a:pt x="5646794" y="4634760"/>
                </a:cubicBezTo>
                <a:cubicBezTo>
                  <a:pt x="5651303" y="4633432"/>
                  <a:pt x="5655511" y="4635092"/>
                  <a:pt x="5659119" y="4638080"/>
                </a:cubicBezTo>
                <a:lnTo>
                  <a:pt x="5665131" y="4649368"/>
                </a:lnTo>
                <a:lnTo>
                  <a:pt x="5666633" y="4636530"/>
                </a:lnTo>
                <a:cubicBezTo>
                  <a:pt x="5671143" y="4622364"/>
                  <a:pt x="5682266" y="4612404"/>
                  <a:pt x="5695794" y="4614396"/>
                </a:cubicBezTo>
                <a:cubicBezTo>
                  <a:pt x="5701505" y="4615835"/>
                  <a:pt x="5705413" y="4618491"/>
                  <a:pt x="5708119" y="4621700"/>
                </a:cubicBezTo>
                <a:lnTo>
                  <a:pt x="5710824" y="4628562"/>
                </a:lnTo>
                <a:lnTo>
                  <a:pt x="5714132" y="4632878"/>
                </a:lnTo>
                <a:cubicBezTo>
                  <a:pt x="5714132" y="4632878"/>
                  <a:pt x="5714132" y="4632878"/>
                  <a:pt x="5713531" y="4631550"/>
                </a:cubicBezTo>
                <a:lnTo>
                  <a:pt x="5717136" y="4623692"/>
                </a:lnTo>
                <a:lnTo>
                  <a:pt x="5715033" y="4622586"/>
                </a:lnTo>
                <a:lnTo>
                  <a:pt x="5718039" y="4621590"/>
                </a:lnTo>
                <a:lnTo>
                  <a:pt x="5720144" y="4617052"/>
                </a:lnTo>
                <a:cubicBezTo>
                  <a:pt x="5722849" y="4612404"/>
                  <a:pt x="5725855" y="4608752"/>
                  <a:pt x="5728259" y="4608420"/>
                </a:cubicBezTo>
                <a:close/>
                <a:moveTo>
                  <a:pt x="1934500" y="4608420"/>
                </a:moveTo>
                <a:cubicBezTo>
                  <a:pt x="1935102" y="4609748"/>
                  <a:pt x="1935703" y="4611076"/>
                  <a:pt x="1934802" y="4613179"/>
                </a:cubicBezTo>
                <a:cubicBezTo>
                  <a:pt x="1933899" y="4615171"/>
                  <a:pt x="1933298" y="4613843"/>
                  <a:pt x="1933899" y="4615171"/>
                </a:cubicBezTo>
                <a:cubicBezTo>
                  <a:pt x="1932998" y="4617274"/>
                  <a:pt x="1934500" y="4616609"/>
                  <a:pt x="1934500" y="4616609"/>
                </a:cubicBezTo>
                <a:cubicBezTo>
                  <a:pt x="1934500" y="4616609"/>
                  <a:pt x="1932998" y="4617274"/>
                  <a:pt x="1932998" y="4617274"/>
                </a:cubicBezTo>
                <a:cubicBezTo>
                  <a:pt x="1932998" y="4617274"/>
                  <a:pt x="1932998" y="4617274"/>
                  <a:pt x="1932998" y="4617716"/>
                </a:cubicBezTo>
                <a:lnTo>
                  <a:pt x="1932096" y="4619487"/>
                </a:lnTo>
                <a:lnTo>
                  <a:pt x="1939310" y="4617606"/>
                </a:lnTo>
                <a:cubicBezTo>
                  <a:pt x="1943820" y="4621368"/>
                  <a:pt x="1951937" y="4618048"/>
                  <a:pt x="1957949" y="4623471"/>
                </a:cubicBezTo>
                <a:cubicBezTo>
                  <a:pt x="1954642" y="4627566"/>
                  <a:pt x="1946526" y="4628673"/>
                  <a:pt x="1938709" y="4628009"/>
                </a:cubicBezTo>
                <a:lnTo>
                  <a:pt x="1930593" y="4626570"/>
                </a:lnTo>
                <a:lnTo>
                  <a:pt x="1930593" y="4627234"/>
                </a:lnTo>
                <a:cubicBezTo>
                  <a:pt x="1930292" y="4628673"/>
                  <a:pt x="1930593" y="4629890"/>
                  <a:pt x="1930292" y="4631661"/>
                </a:cubicBezTo>
                <a:cubicBezTo>
                  <a:pt x="1928488" y="4635756"/>
                  <a:pt x="1926985" y="4636420"/>
                  <a:pt x="1923679" y="4641179"/>
                </a:cubicBezTo>
                <a:cubicBezTo>
                  <a:pt x="1920371" y="4641179"/>
                  <a:pt x="1920371" y="4641179"/>
                  <a:pt x="1919770" y="4639740"/>
                </a:cubicBezTo>
                <a:cubicBezTo>
                  <a:pt x="1920371" y="4641179"/>
                  <a:pt x="1918869" y="4641843"/>
                  <a:pt x="1917967" y="4643945"/>
                </a:cubicBezTo>
                <a:cubicBezTo>
                  <a:pt x="1917065" y="4648372"/>
                  <a:pt x="1914660" y="4650696"/>
                  <a:pt x="1911053" y="4651692"/>
                </a:cubicBezTo>
                <a:lnTo>
                  <a:pt x="1910752" y="4651692"/>
                </a:lnTo>
                <a:lnTo>
                  <a:pt x="1908047" y="4655012"/>
                </a:lnTo>
                <a:cubicBezTo>
                  <a:pt x="1901434" y="4659661"/>
                  <a:pt x="1892414" y="4661542"/>
                  <a:pt x="1882194" y="4657669"/>
                </a:cubicBezTo>
                <a:lnTo>
                  <a:pt x="1878887" y="4656119"/>
                </a:lnTo>
                <a:lnTo>
                  <a:pt x="1879789" y="4657005"/>
                </a:lnTo>
                <a:cubicBezTo>
                  <a:pt x="1880390" y="4658665"/>
                  <a:pt x="1880390" y="4660546"/>
                  <a:pt x="1878887" y="4662981"/>
                </a:cubicBezTo>
                <a:cubicBezTo>
                  <a:pt x="1874678" y="4665194"/>
                  <a:pt x="1871372" y="4669178"/>
                  <a:pt x="1865961" y="4669842"/>
                </a:cubicBezTo>
                <a:cubicBezTo>
                  <a:pt x="1864157" y="4670064"/>
                  <a:pt x="1862353" y="4669953"/>
                  <a:pt x="1859949" y="4669289"/>
                </a:cubicBezTo>
                <a:lnTo>
                  <a:pt x="1862052" y="4655898"/>
                </a:lnTo>
                <a:lnTo>
                  <a:pt x="1861151" y="4655787"/>
                </a:lnTo>
                <a:lnTo>
                  <a:pt x="1858746" y="4653574"/>
                </a:lnTo>
                <a:lnTo>
                  <a:pt x="1858144" y="4657669"/>
                </a:lnTo>
                <a:cubicBezTo>
                  <a:pt x="1853935" y="4657115"/>
                  <a:pt x="1850328" y="4657669"/>
                  <a:pt x="1847022" y="4656230"/>
                </a:cubicBezTo>
                <a:cubicBezTo>
                  <a:pt x="1845820" y="4652246"/>
                  <a:pt x="1846421" y="4649811"/>
                  <a:pt x="1848524" y="4648483"/>
                </a:cubicBezTo>
                <a:lnTo>
                  <a:pt x="1854237" y="4648261"/>
                </a:lnTo>
                <a:lnTo>
                  <a:pt x="1852132" y="4642175"/>
                </a:lnTo>
                <a:cubicBezTo>
                  <a:pt x="1851832" y="4639408"/>
                  <a:pt x="1852132" y="4636862"/>
                  <a:pt x="1853034" y="4634760"/>
                </a:cubicBezTo>
                <a:cubicBezTo>
                  <a:pt x="1855439" y="4634096"/>
                  <a:pt x="1857544" y="4634206"/>
                  <a:pt x="1859647" y="4634760"/>
                </a:cubicBezTo>
                <a:lnTo>
                  <a:pt x="1862955" y="4636752"/>
                </a:lnTo>
                <a:cubicBezTo>
                  <a:pt x="1864457" y="4636309"/>
                  <a:pt x="1865961" y="4636309"/>
                  <a:pt x="1868065" y="4636862"/>
                </a:cubicBezTo>
                <a:lnTo>
                  <a:pt x="1872874" y="4638854"/>
                </a:lnTo>
                <a:lnTo>
                  <a:pt x="1873175" y="4636530"/>
                </a:lnTo>
                <a:cubicBezTo>
                  <a:pt x="1877384" y="4622364"/>
                  <a:pt x="1888507" y="4612404"/>
                  <a:pt x="1902034" y="4614396"/>
                </a:cubicBezTo>
                <a:cubicBezTo>
                  <a:pt x="1907746" y="4615835"/>
                  <a:pt x="1911654" y="4618491"/>
                  <a:pt x="1914359" y="4621700"/>
                </a:cubicBezTo>
                <a:lnTo>
                  <a:pt x="1917065" y="4628562"/>
                </a:lnTo>
                <a:lnTo>
                  <a:pt x="1920371" y="4632878"/>
                </a:lnTo>
                <a:cubicBezTo>
                  <a:pt x="1920371" y="4632878"/>
                  <a:pt x="1920371" y="4632878"/>
                  <a:pt x="1919770" y="4631550"/>
                </a:cubicBezTo>
                <a:lnTo>
                  <a:pt x="1923377" y="4623692"/>
                </a:lnTo>
                <a:lnTo>
                  <a:pt x="1921274" y="4622586"/>
                </a:lnTo>
                <a:lnTo>
                  <a:pt x="1924580" y="4621590"/>
                </a:lnTo>
                <a:lnTo>
                  <a:pt x="1926685" y="4617052"/>
                </a:lnTo>
                <a:cubicBezTo>
                  <a:pt x="1929391" y="4612404"/>
                  <a:pt x="1932096" y="4608752"/>
                  <a:pt x="1934500" y="4608420"/>
                </a:cubicBezTo>
                <a:close/>
                <a:moveTo>
                  <a:pt x="5087650" y="4605874"/>
                </a:moveTo>
                <a:cubicBezTo>
                  <a:pt x="5090956" y="4606206"/>
                  <a:pt x="5092761" y="4609969"/>
                  <a:pt x="5094864" y="4613732"/>
                </a:cubicBezTo>
                <a:cubicBezTo>
                  <a:pt x="5091859" y="4615392"/>
                  <a:pt x="5091859" y="4618712"/>
                  <a:pt x="5086147" y="4618712"/>
                </a:cubicBezTo>
                <a:cubicBezTo>
                  <a:pt x="5084944" y="4614507"/>
                  <a:pt x="5084944" y="4611076"/>
                  <a:pt x="5083741" y="4606981"/>
                </a:cubicBezTo>
                <a:cubicBezTo>
                  <a:pt x="5085245" y="4606096"/>
                  <a:pt x="5086448" y="4605874"/>
                  <a:pt x="5087650" y="4605874"/>
                </a:cubicBezTo>
                <a:close/>
                <a:moveTo>
                  <a:pt x="2322894" y="4605874"/>
                </a:moveTo>
                <a:cubicBezTo>
                  <a:pt x="2326202" y="4606206"/>
                  <a:pt x="2328306" y="4609969"/>
                  <a:pt x="2330410" y="4613732"/>
                </a:cubicBezTo>
                <a:cubicBezTo>
                  <a:pt x="2327404" y="4615392"/>
                  <a:pt x="2327404" y="4618712"/>
                  <a:pt x="2321692" y="4618712"/>
                </a:cubicBezTo>
                <a:cubicBezTo>
                  <a:pt x="2320490" y="4614507"/>
                  <a:pt x="2320490" y="4611076"/>
                  <a:pt x="2319287" y="4606981"/>
                </a:cubicBezTo>
                <a:cubicBezTo>
                  <a:pt x="2320490" y="4606096"/>
                  <a:pt x="2321993" y="4605874"/>
                  <a:pt x="2322894" y="4605874"/>
                </a:cubicBezTo>
                <a:close/>
                <a:moveTo>
                  <a:pt x="1293891" y="4605874"/>
                </a:moveTo>
                <a:cubicBezTo>
                  <a:pt x="1297197" y="4606206"/>
                  <a:pt x="1299302" y="4609969"/>
                  <a:pt x="1301105" y="4613732"/>
                </a:cubicBezTo>
                <a:cubicBezTo>
                  <a:pt x="1298399" y="4615392"/>
                  <a:pt x="1298099" y="4618712"/>
                  <a:pt x="1292387" y="4618712"/>
                </a:cubicBezTo>
                <a:cubicBezTo>
                  <a:pt x="1291185" y="4614507"/>
                  <a:pt x="1291486" y="4611076"/>
                  <a:pt x="1289982" y="4606981"/>
                </a:cubicBezTo>
                <a:cubicBezTo>
                  <a:pt x="1291486" y="4606096"/>
                  <a:pt x="1292688" y="4605874"/>
                  <a:pt x="1293891" y="4605874"/>
                </a:cubicBezTo>
                <a:close/>
                <a:moveTo>
                  <a:pt x="5445682" y="4601337"/>
                </a:moveTo>
                <a:cubicBezTo>
                  <a:pt x="5446283" y="4602665"/>
                  <a:pt x="5447486" y="4605542"/>
                  <a:pt x="5446584" y="4607645"/>
                </a:cubicBezTo>
                <a:cubicBezTo>
                  <a:pt x="5447186" y="4608973"/>
                  <a:pt x="5442075" y="4609748"/>
                  <a:pt x="5442075" y="4609748"/>
                </a:cubicBezTo>
                <a:cubicBezTo>
                  <a:pt x="5439971" y="4609084"/>
                  <a:pt x="5441174" y="4603440"/>
                  <a:pt x="5440572" y="4602001"/>
                </a:cubicBezTo>
                <a:cubicBezTo>
                  <a:pt x="5442075" y="4601337"/>
                  <a:pt x="5444179" y="4602001"/>
                  <a:pt x="5445682" y="4601337"/>
                </a:cubicBezTo>
                <a:close/>
                <a:moveTo>
                  <a:pt x="4190314" y="4601337"/>
                </a:moveTo>
                <a:cubicBezTo>
                  <a:pt x="4190915" y="4602665"/>
                  <a:pt x="4192118" y="4605542"/>
                  <a:pt x="4191216" y="4607645"/>
                </a:cubicBezTo>
                <a:cubicBezTo>
                  <a:pt x="4191817" y="4608973"/>
                  <a:pt x="4186406" y="4609748"/>
                  <a:pt x="4186406" y="4609748"/>
                </a:cubicBezTo>
                <a:cubicBezTo>
                  <a:pt x="4184302" y="4609084"/>
                  <a:pt x="4185805" y="4603440"/>
                  <a:pt x="4185203" y="4602001"/>
                </a:cubicBezTo>
                <a:cubicBezTo>
                  <a:pt x="4186707" y="4601337"/>
                  <a:pt x="4188811" y="4602001"/>
                  <a:pt x="4190314" y="4601337"/>
                </a:cubicBezTo>
                <a:close/>
                <a:moveTo>
                  <a:pt x="1651923" y="4601337"/>
                </a:moveTo>
                <a:cubicBezTo>
                  <a:pt x="1652524" y="4602665"/>
                  <a:pt x="1653726" y="4605542"/>
                  <a:pt x="1652825" y="4607645"/>
                </a:cubicBezTo>
                <a:cubicBezTo>
                  <a:pt x="1653426" y="4608973"/>
                  <a:pt x="1648315" y="4609748"/>
                  <a:pt x="1648315" y="4609748"/>
                </a:cubicBezTo>
                <a:cubicBezTo>
                  <a:pt x="1646211" y="4609084"/>
                  <a:pt x="1647714" y="4603440"/>
                  <a:pt x="1647113" y="4602001"/>
                </a:cubicBezTo>
                <a:cubicBezTo>
                  <a:pt x="1648615" y="4601337"/>
                  <a:pt x="1650419" y="4602001"/>
                  <a:pt x="1651923" y="4601337"/>
                </a:cubicBezTo>
                <a:close/>
                <a:moveTo>
                  <a:pt x="5843095" y="4599013"/>
                </a:moveTo>
                <a:cubicBezTo>
                  <a:pt x="5846101" y="4602554"/>
                  <a:pt x="5843996" y="4606760"/>
                  <a:pt x="5845500" y="4608530"/>
                </a:cubicBezTo>
                <a:cubicBezTo>
                  <a:pt x="5843996" y="4608309"/>
                  <a:pt x="5840691" y="4607756"/>
                  <a:pt x="5838886" y="4610523"/>
                </a:cubicBezTo>
                <a:cubicBezTo>
                  <a:pt x="5835881" y="4607092"/>
                  <a:pt x="5833174" y="4603550"/>
                  <a:pt x="5836482" y="4601115"/>
                </a:cubicBezTo>
                <a:cubicBezTo>
                  <a:pt x="5838285" y="4599787"/>
                  <a:pt x="5839788" y="4598570"/>
                  <a:pt x="5843095" y="4599013"/>
                </a:cubicBezTo>
                <a:close/>
                <a:moveTo>
                  <a:pt x="3078641" y="4599013"/>
                </a:moveTo>
                <a:cubicBezTo>
                  <a:pt x="3081347" y="4602554"/>
                  <a:pt x="3079542" y="4606760"/>
                  <a:pt x="3081046" y="4608530"/>
                </a:cubicBezTo>
                <a:cubicBezTo>
                  <a:pt x="3079242" y="4608309"/>
                  <a:pt x="3076236" y="4607756"/>
                  <a:pt x="3074432" y="4610523"/>
                </a:cubicBezTo>
                <a:cubicBezTo>
                  <a:pt x="3071426" y="4607092"/>
                  <a:pt x="3068420" y="4603550"/>
                  <a:pt x="3072027" y="4601115"/>
                </a:cubicBezTo>
                <a:cubicBezTo>
                  <a:pt x="3073530" y="4599787"/>
                  <a:pt x="3075335" y="4598570"/>
                  <a:pt x="3078641" y="4599013"/>
                </a:cubicBezTo>
                <a:close/>
                <a:moveTo>
                  <a:pt x="2049336" y="4599013"/>
                </a:moveTo>
                <a:cubicBezTo>
                  <a:pt x="2052342" y="4602554"/>
                  <a:pt x="2050237" y="4606760"/>
                  <a:pt x="2051741" y="4608530"/>
                </a:cubicBezTo>
                <a:cubicBezTo>
                  <a:pt x="2050237" y="4608309"/>
                  <a:pt x="2047231" y="4607756"/>
                  <a:pt x="2045427" y="4610523"/>
                </a:cubicBezTo>
                <a:cubicBezTo>
                  <a:pt x="2042421" y="4607092"/>
                  <a:pt x="2039415" y="4603550"/>
                  <a:pt x="2042721" y="4601115"/>
                </a:cubicBezTo>
                <a:cubicBezTo>
                  <a:pt x="2044525" y="4599787"/>
                  <a:pt x="2046330" y="4598570"/>
                  <a:pt x="2049336" y="4599013"/>
                </a:cubicBezTo>
                <a:close/>
                <a:moveTo>
                  <a:pt x="5209099" y="4598127"/>
                </a:moveTo>
                <a:cubicBezTo>
                  <a:pt x="5210601" y="4599455"/>
                  <a:pt x="5211803" y="4601005"/>
                  <a:pt x="5212405" y="4602776"/>
                </a:cubicBezTo>
                <a:cubicBezTo>
                  <a:pt x="5216613" y="4615171"/>
                  <a:pt x="5196172" y="4637748"/>
                  <a:pt x="5186853" y="4642949"/>
                </a:cubicBezTo>
                <a:cubicBezTo>
                  <a:pt x="5190761" y="4629447"/>
                  <a:pt x="5197675" y="4607424"/>
                  <a:pt x="5209099" y="4598127"/>
                </a:cubicBezTo>
                <a:close/>
                <a:moveTo>
                  <a:pt x="1415338" y="4598127"/>
                </a:moveTo>
                <a:cubicBezTo>
                  <a:pt x="1417142" y="4599455"/>
                  <a:pt x="1418344" y="4601005"/>
                  <a:pt x="1418946" y="4602776"/>
                </a:cubicBezTo>
                <a:cubicBezTo>
                  <a:pt x="1423155" y="4615171"/>
                  <a:pt x="1402413" y="4637748"/>
                  <a:pt x="1393093" y="4642949"/>
                </a:cubicBezTo>
                <a:cubicBezTo>
                  <a:pt x="1397002" y="4629447"/>
                  <a:pt x="1403915" y="4607424"/>
                  <a:pt x="1415338" y="4598127"/>
                </a:cubicBezTo>
                <a:close/>
                <a:moveTo>
                  <a:pt x="5351289" y="4595471"/>
                </a:moveTo>
                <a:cubicBezTo>
                  <a:pt x="5352492" y="4595803"/>
                  <a:pt x="5352793" y="4596467"/>
                  <a:pt x="5352793" y="4597353"/>
                </a:cubicBezTo>
                <a:cubicBezTo>
                  <a:pt x="5352793" y="4598238"/>
                  <a:pt x="5352191" y="4599234"/>
                  <a:pt x="5351890" y="4600341"/>
                </a:cubicBezTo>
                <a:cubicBezTo>
                  <a:pt x="5350989" y="4602333"/>
                  <a:pt x="5349786" y="4604546"/>
                  <a:pt x="5348884" y="4606649"/>
                </a:cubicBezTo>
                <a:cubicBezTo>
                  <a:pt x="5348884" y="4606649"/>
                  <a:pt x="5348884" y="4606649"/>
                  <a:pt x="5351289" y="4595471"/>
                </a:cubicBezTo>
                <a:close/>
                <a:moveTo>
                  <a:pt x="2586835" y="4595471"/>
                </a:moveTo>
                <a:cubicBezTo>
                  <a:pt x="2588037" y="4595803"/>
                  <a:pt x="2588338" y="4596467"/>
                  <a:pt x="2588338" y="4597353"/>
                </a:cubicBezTo>
                <a:cubicBezTo>
                  <a:pt x="2588037" y="4598238"/>
                  <a:pt x="2587737" y="4599234"/>
                  <a:pt x="2587136" y="4600341"/>
                </a:cubicBezTo>
                <a:cubicBezTo>
                  <a:pt x="2586233" y="4602333"/>
                  <a:pt x="2585332" y="4604546"/>
                  <a:pt x="2584430" y="4606649"/>
                </a:cubicBezTo>
                <a:cubicBezTo>
                  <a:pt x="2584430" y="4606649"/>
                  <a:pt x="2584430" y="4606649"/>
                  <a:pt x="2586835" y="4595471"/>
                </a:cubicBezTo>
                <a:close/>
                <a:moveTo>
                  <a:pt x="1557831" y="4595471"/>
                </a:moveTo>
                <a:cubicBezTo>
                  <a:pt x="1558732" y="4595803"/>
                  <a:pt x="1559333" y="4596467"/>
                  <a:pt x="1559033" y="4597353"/>
                </a:cubicBezTo>
                <a:cubicBezTo>
                  <a:pt x="1559033" y="4598238"/>
                  <a:pt x="1558431" y="4599234"/>
                  <a:pt x="1558131" y="4600341"/>
                </a:cubicBezTo>
                <a:cubicBezTo>
                  <a:pt x="1557228" y="4602333"/>
                  <a:pt x="1556327" y="4604546"/>
                  <a:pt x="1555426" y="4606649"/>
                </a:cubicBezTo>
                <a:cubicBezTo>
                  <a:pt x="1555426" y="4606649"/>
                  <a:pt x="1555426" y="4606649"/>
                  <a:pt x="1557831" y="4595471"/>
                </a:cubicBezTo>
                <a:close/>
                <a:moveTo>
                  <a:pt x="2169882" y="4594697"/>
                </a:moveTo>
                <a:lnTo>
                  <a:pt x="2165373" y="4599787"/>
                </a:lnTo>
                <a:lnTo>
                  <a:pt x="2167176" y="4599234"/>
                </a:lnTo>
                <a:lnTo>
                  <a:pt x="2167778" y="4597685"/>
                </a:lnTo>
                <a:lnTo>
                  <a:pt x="2170182" y="4596025"/>
                </a:lnTo>
                <a:close/>
                <a:moveTo>
                  <a:pt x="1784193" y="4591155"/>
                </a:moveTo>
                <a:cubicBezTo>
                  <a:pt x="1791408" y="4597685"/>
                  <a:pt x="1787499" y="4608862"/>
                  <a:pt x="1780586" y="4612515"/>
                </a:cubicBezTo>
                <a:cubicBezTo>
                  <a:pt x="1778181" y="4613732"/>
                  <a:pt x="1775475" y="4614064"/>
                  <a:pt x="1772469" y="4613179"/>
                </a:cubicBezTo>
                <a:cubicBezTo>
                  <a:pt x="1762850" y="4604436"/>
                  <a:pt x="1774273" y="4590491"/>
                  <a:pt x="1784193" y="4591155"/>
                </a:cubicBezTo>
                <a:close/>
                <a:moveTo>
                  <a:pt x="755188" y="4591155"/>
                </a:moveTo>
                <a:cubicBezTo>
                  <a:pt x="762403" y="4597685"/>
                  <a:pt x="758496" y="4608862"/>
                  <a:pt x="751280" y="4612515"/>
                </a:cubicBezTo>
                <a:cubicBezTo>
                  <a:pt x="748875" y="4613732"/>
                  <a:pt x="746170" y="4614064"/>
                  <a:pt x="743464" y="4613179"/>
                </a:cubicBezTo>
                <a:cubicBezTo>
                  <a:pt x="733845" y="4604436"/>
                  <a:pt x="744968" y="4590491"/>
                  <a:pt x="755188" y="4591155"/>
                </a:cubicBezTo>
                <a:close/>
                <a:moveTo>
                  <a:pt x="6054126" y="4590934"/>
                </a:moveTo>
                <a:cubicBezTo>
                  <a:pt x="6058936" y="4597131"/>
                  <a:pt x="6064648" y="4598127"/>
                  <a:pt x="6067955" y="4602222"/>
                </a:cubicBezTo>
                <a:cubicBezTo>
                  <a:pt x="6068857" y="4603550"/>
                  <a:pt x="6069759" y="4605321"/>
                  <a:pt x="6070059" y="4607645"/>
                </a:cubicBezTo>
                <a:cubicBezTo>
                  <a:pt x="6059237" y="4620704"/>
                  <a:pt x="6043004" y="4611629"/>
                  <a:pt x="6045108" y="4601115"/>
                </a:cubicBezTo>
                <a:cubicBezTo>
                  <a:pt x="6046011" y="4597574"/>
                  <a:pt x="6048715" y="4593922"/>
                  <a:pt x="6054126" y="4590934"/>
                </a:cubicBezTo>
                <a:close/>
                <a:moveTo>
                  <a:pt x="5322429" y="4590934"/>
                </a:moveTo>
                <a:cubicBezTo>
                  <a:pt x="5324534" y="4590823"/>
                  <a:pt x="5327240" y="4591598"/>
                  <a:pt x="5329945" y="4592483"/>
                </a:cubicBezTo>
                <a:cubicBezTo>
                  <a:pt x="5329645" y="4595803"/>
                  <a:pt x="5332050" y="4598349"/>
                  <a:pt x="5328442" y="4602333"/>
                </a:cubicBezTo>
                <a:cubicBezTo>
                  <a:pt x="5324534" y="4600230"/>
                  <a:pt x="5322129" y="4597685"/>
                  <a:pt x="5317921" y="4595582"/>
                </a:cubicBezTo>
                <a:cubicBezTo>
                  <a:pt x="5318522" y="4592262"/>
                  <a:pt x="5320025" y="4591044"/>
                  <a:pt x="5322429" y="4590934"/>
                </a:cubicBezTo>
                <a:close/>
                <a:moveTo>
                  <a:pt x="2557675" y="4590934"/>
                </a:moveTo>
                <a:cubicBezTo>
                  <a:pt x="2559780" y="4590823"/>
                  <a:pt x="2562786" y="4591598"/>
                  <a:pt x="2565491" y="4592483"/>
                </a:cubicBezTo>
                <a:cubicBezTo>
                  <a:pt x="2564890" y="4595803"/>
                  <a:pt x="2567596" y="4598349"/>
                  <a:pt x="2563988" y="4602333"/>
                </a:cubicBezTo>
                <a:cubicBezTo>
                  <a:pt x="2560080" y="4600230"/>
                  <a:pt x="2557675" y="4597685"/>
                  <a:pt x="2553467" y="4595582"/>
                </a:cubicBezTo>
                <a:cubicBezTo>
                  <a:pt x="2554068" y="4592262"/>
                  <a:pt x="2555570" y="4591044"/>
                  <a:pt x="2557675" y="4590934"/>
                </a:cubicBezTo>
                <a:close/>
                <a:moveTo>
                  <a:pt x="1528670" y="4590934"/>
                </a:moveTo>
                <a:cubicBezTo>
                  <a:pt x="1530775" y="4590823"/>
                  <a:pt x="1533480" y="4591598"/>
                  <a:pt x="1536186" y="4592483"/>
                </a:cubicBezTo>
                <a:cubicBezTo>
                  <a:pt x="1535886" y="4595803"/>
                  <a:pt x="1538291" y="4598349"/>
                  <a:pt x="1534983" y="4602333"/>
                </a:cubicBezTo>
                <a:cubicBezTo>
                  <a:pt x="1530775" y="4600230"/>
                  <a:pt x="1528370" y="4597685"/>
                  <a:pt x="1524462" y="4595582"/>
                </a:cubicBezTo>
                <a:cubicBezTo>
                  <a:pt x="1524763" y="4592262"/>
                  <a:pt x="1526265" y="4591044"/>
                  <a:pt x="1528670" y="4590934"/>
                </a:cubicBezTo>
                <a:close/>
                <a:moveTo>
                  <a:pt x="5560817" y="4590712"/>
                </a:moveTo>
                <a:cubicBezTo>
                  <a:pt x="5561719" y="4590159"/>
                  <a:pt x="5562020" y="4590048"/>
                  <a:pt x="5562321" y="4590712"/>
                </a:cubicBezTo>
                <a:cubicBezTo>
                  <a:pt x="5563824" y="4590048"/>
                  <a:pt x="5564425" y="4591376"/>
                  <a:pt x="5562922" y="4592040"/>
                </a:cubicBezTo>
                <a:cubicBezTo>
                  <a:pt x="5562621" y="4595471"/>
                  <a:pt x="5558714" y="4593922"/>
                  <a:pt x="5556609" y="4593147"/>
                </a:cubicBezTo>
                <a:cubicBezTo>
                  <a:pt x="5558714" y="4592262"/>
                  <a:pt x="5559916" y="4591266"/>
                  <a:pt x="5560817" y="4590712"/>
                </a:cubicBezTo>
                <a:close/>
                <a:moveTo>
                  <a:pt x="4305450" y="4590712"/>
                </a:moveTo>
                <a:cubicBezTo>
                  <a:pt x="4306051" y="4590159"/>
                  <a:pt x="4306351" y="4590048"/>
                  <a:pt x="4306652" y="4590712"/>
                </a:cubicBezTo>
                <a:cubicBezTo>
                  <a:pt x="4308156" y="4590048"/>
                  <a:pt x="4308757" y="4591376"/>
                  <a:pt x="4307253" y="4592040"/>
                </a:cubicBezTo>
                <a:cubicBezTo>
                  <a:pt x="4306952" y="4595471"/>
                  <a:pt x="4303045" y="4593922"/>
                  <a:pt x="4301241" y="4593147"/>
                </a:cubicBezTo>
                <a:cubicBezTo>
                  <a:pt x="4303345" y="4592262"/>
                  <a:pt x="4304549" y="4591266"/>
                  <a:pt x="4305450" y="4590712"/>
                </a:cubicBezTo>
                <a:close/>
                <a:moveTo>
                  <a:pt x="2796363" y="4590712"/>
                </a:moveTo>
                <a:cubicBezTo>
                  <a:pt x="2796964" y="4590159"/>
                  <a:pt x="2797565" y="4590048"/>
                  <a:pt x="2797867" y="4590712"/>
                </a:cubicBezTo>
                <a:cubicBezTo>
                  <a:pt x="2799069" y="4590048"/>
                  <a:pt x="2799670" y="4591376"/>
                  <a:pt x="2798168" y="4592040"/>
                </a:cubicBezTo>
                <a:cubicBezTo>
                  <a:pt x="2798168" y="4595471"/>
                  <a:pt x="2794259" y="4593922"/>
                  <a:pt x="2792155" y="4593147"/>
                </a:cubicBezTo>
                <a:cubicBezTo>
                  <a:pt x="2794259" y="4592262"/>
                  <a:pt x="2795462" y="4591266"/>
                  <a:pt x="2796363" y="4590712"/>
                </a:cubicBezTo>
                <a:close/>
                <a:moveTo>
                  <a:pt x="1767058" y="4590712"/>
                </a:moveTo>
                <a:cubicBezTo>
                  <a:pt x="1767959" y="4590159"/>
                  <a:pt x="1768261" y="4590048"/>
                  <a:pt x="1768562" y="4590712"/>
                </a:cubicBezTo>
                <a:cubicBezTo>
                  <a:pt x="1770064" y="4590048"/>
                  <a:pt x="1770665" y="4591376"/>
                  <a:pt x="1769163" y="4592040"/>
                </a:cubicBezTo>
                <a:cubicBezTo>
                  <a:pt x="1768862" y="4595471"/>
                  <a:pt x="1764953" y="4593922"/>
                  <a:pt x="1763150" y="4593147"/>
                </a:cubicBezTo>
                <a:cubicBezTo>
                  <a:pt x="1765254" y="4592262"/>
                  <a:pt x="1766457" y="4591266"/>
                  <a:pt x="1767058" y="4590712"/>
                </a:cubicBezTo>
                <a:close/>
                <a:moveTo>
                  <a:pt x="5943500" y="4589606"/>
                </a:moveTo>
                <a:cubicBezTo>
                  <a:pt x="5952820" y="4596689"/>
                  <a:pt x="5948310" y="4610855"/>
                  <a:pt x="5938690" y="4613289"/>
                </a:cubicBezTo>
                <a:cubicBezTo>
                  <a:pt x="5922156" y="4606206"/>
                  <a:pt x="5933881" y="4589606"/>
                  <a:pt x="5943500" y="4589606"/>
                </a:cubicBezTo>
                <a:close/>
                <a:moveTo>
                  <a:pt x="5549093" y="4588610"/>
                </a:moveTo>
                <a:cubicBezTo>
                  <a:pt x="5548793" y="4592815"/>
                  <a:pt x="5549694" y="4596246"/>
                  <a:pt x="5549394" y="4598349"/>
                </a:cubicBezTo>
                <a:cubicBezTo>
                  <a:pt x="5542480" y="4599566"/>
                  <a:pt x="5538271" y="4596799"/>
                  <a:pt x="5538572" y="4590380"/>
                </a:cubicBezTo>
                <a:cubicBezTo>
                  <a:pt x="5543081" y="4591044"/>
                  <a:pt x="5544584" y="4587946"/>
                  <a:pt x="5549093" y="4588610"/>
                </a:cubicBezTo>
                <a:close/>
                <a:moveTo>
                  <a:pt x="4293726" y="4588610"/>
                </a:moveTo>
                <a:cubicBezTo>
                  <a:pt x="4293125" y="4592815"/>
                  <a:pt x="4294027" y="4596246"/>
                  <a:pt x="4294027" y="4598349"/>
                </a:cubicBezTo>
                <a:cubicBezTo>
                  <a:pt x="4287112" y="4599566"/>
                  <a:pt x="4282604" y="4596799"/>
                  <a:pt x="4283205" y="4590380"/>
                </a:cubicBezTo>
                <a:cubicBezTo>
                  <a:pt x="4287714" y="4591044"/>
                  <a:pt x="4288916" y="4587946"/>
                  <a:pt x="4293726" y="4588610"/>
                </a:cubicBezTo>
                <a:close/>
                <a:moveTo>
                  <a:pt x="2784639" y="4588610"/>
                </a:moveTo>
                <a:cubicBezTo>
                  <a:pt x="2784339" y="4592815"/>
                  <a:pt x="2784940" y="4596246"/>
                  <a:pt x="2784940" y="4598349"/>
                </a:cubicBezTo>
                <a:cubicBezTo>
                  <a:pt x="2778026" y="4599566"/>
                  <a:pt x="2773517" y="4596799"/>
                  <a:pt x="2774118" y="4590380"/>
                </a:cubicBezTo>
                <a:cubicBezTo>
                  <a:pt x="2778627" y="4591044"/>
                  <a:pt x="2780130" y="4587946"/>
                  <a:pt x="2784639" y="4588610"/>
                </a:cubicBezTo>
                <a:close/>
                <a:moveTo>
                  <a:pt x="1755334" y="4588610"/>
                </a:moveTo>
                <a:cubicBezTo>
                  <a:pt x="1755034" y="4592815"/>
                  <a:pt x="1755935" y="4596246"/>
                  <a:pt x="1755635" y="4598349"/>
                </a:cubicBezTo>
                <a:cubicBezTo>
                  <a:pt x="1748721" y="4599566"/>
                  <a:pt x="1744512" y="4596799"/>
                  <a:pt x="1745113" y="4590380"/>
                </a:cubicBezTo>
                <a:cubicBezTo>
                  <a:pt x="1749623" y="4591044"/>
                  <a:pt x="1750825" y="4587946"/>
                  <a:pt x="1755334" y="4588610"/>
                </a:cubicBezTo>
                <a:close/>
                <a:moveTo>
                  <a:pt x="2233913" y="4587392"/>
                </a:moveTo>
                <a:cubicBezTo>
                  <a:pt x="2233913" y="4589052"/>
                  <a:pt x="2235416" y="4592372"/>
                  <a:pt x="2233612" y="4592151"/>
                </a:cubicBezTo>
                <a:cubicBezTo>
                  <a:pt x="2233612" y="4593701"/>
                  <a:pt x="2230606" y="4593369"/>
                  <a:pt x="2230606" y="4593369"/>
                </a:cubicBezTo>
                <a:cubicBezTo>
                  <a:pt x="2230606" y="4595029"/>
                  <a:pt x="2230606" y="4596578"/>
                  <a:pt x="2229103" y="4597906"/>
                </a:cubicBezTo>
                <a:cubicBezTo>
                  <a:pt x="2227600" y="4596135"/>
                  <a:pt x="2227300" y="4597795"/>
                  <a:pt x="2225796" y="4597574"/>
                </a:cubicBezTo>
                <a:cubicBezTo>
                  <a:pt x="2227600" y="4596246"/>
                  <a:pt x="2227600" y="4591376"/>
                  <a:pt x="2229103" y="4588499"/>
                </a:cubicBezTo>
                <a:cubicBezTo>
                  <a:pt x="2230907" y="4588610"/>
                  <a:pt x="2232410" y="4587282"/>
                  <a:pt x="2233913" y="4587392"/>
                </a:cubicBezTo>
                <a:close/>
                <a:moveTo>
                  <a:pt x="1204908" y="4587392"/>
                </a:moveTo>
                <a:cubicBezTo>
                  <a:pt x="1204607" y="4589052"/>
                  <a:pt x="1206111" y="4592372"/>
                  <a:pt x="1204607" y="4592151"/>
                </a:cubicBezTo>
                <a:cubicBezTo>
                  <a:pt x="1204607" y="4593701"/>
                  <a:pt x="1201601" y="4593369"/>
                  <a:pt x="1201601" y="4593369"/>
                </a:cubicBezTo>
                <a:cubicBezTo>
                  <a:pt x="1201601" y="4595029"/>
                  <a:pt x="1201301" y="4596578"/>
                  <a:pt x="1199798" y="4597906"/>
                </a:cubicBezTo>
                <a:cubicBezTo>
                  <a:pt x="1198295" y="4596135"/>
                  <a:pt x="1198295" y="4597795"/>
                  <a:pt x="1196792" y="4597574"/>
                </a:cubicBezTo>
                <a:cubicBezTo>
                  <a:pt x="1198295" y="4596246"/>
                  <a:pt x="1198595" y="4591376"/>
                  <a:pt x="1200099" y="4588499"/>
                </a:cubicBezTo>
                <a:cubicBezTo>
                  <a:pt x="1201601" y="4588610"/>
                  <a:pt x="1203105" y="4587282"/>
                  <a:pt x="1204908" y="4587392"/>
                </a:cubicBezTo>
                <a:close/>
                <a:moveTo>
                  <a:pt x="5437265" y="4585843"/>
                </a:moveTo>
                <a:cubicBezTo>
                  <a:pt x="5439068" y="4585954"/>
                  <a:pt x="5440271" y="4586064"/>
                  <a:pt x="5441174" y="4586950"/>
                </a:cubicBezTo>
                <a:cubicBezTo>
                  <a:pt x="5442075" y="4587835"/>
                  <a:pt x="5442075" y="4589274"/>
                  <a:pt x="5441775" y="4592040"/>
                </a:cubicBezTo>
                <a:cubicBezTo>
                  <a:pt x="5441775" y="4592040"/>
                  <a:pt x="5440271" y="4592704"/>
                  <a:pt x="5440271" y="4592704"/>
                </a:cubicBezTo>
                <a:cubicBezTo>
                  <a:pt x="5434559" y="4591930"/>
                  <a:pt x="5435461" y="4589938"/>
                  <a:pt x="5437265" y="4585843"/>
                </a:cubicBezTo>
                <a:close/>
                <a:moveTo>
                  <a:pt x="4181897" y="4585843"/>
                </a:moveTo>
                <a:cubicBezTo>
                  <a:pt x="4183400" y="4585954"/>
                  <a:pt x="4184903" y="4586064"/>
                  <a:pt x="4185505" y="4586950"/>
                </a:cubicBezTo>
                <a:cubicBezTo>
                  <a:pt x="4186406" y="4587835"/>
                  <a:pt x="4186707" y="4589274"/>
                  <a:pt x="4186106" y="4592040"/>
                </a:cubicBezTo>
                <a:cubicBezTo>
                  <a:pt x="4186106" y="4592040"/>
                  <a:pt x="4184602" y="4592704"/>
                  <a:pt x="4184602" y="4592704"/>
                </a:cubicBezTo>
                <a:cubicBezTo>
                  <a:pt x="4179191" y="4591930"/>
                  <a:pt x="4180094" y="4589938"/>
                  <a:pt x="4181897" y="4585843"/>
                </a:cubicBezTo>
                <a:close/>
                <a:moveTo>
                  <a:pt x="1643506" y="4585843"/>
                </a:moveTo>
                <a:cubicBezTo>
                  <a:pt x="1645309" y="4585954"/>
                  <a:pt x="1646813" y="4586064"/>
                  <a:pt x="1647413" y="4586950"/>
                </a:cubicBezTo>
                <a:cubicBezTo>
                  <a:pt x="1648315" y="4587835"/>
                  <a:pt x="1648615" y="4589274"/>
                  <a:pt x="1648015" y="4592040"/>
                </a:cubicBezTo>
                <a:cubicBezTo>
                  <a:pt x="1648015" y="4592040"/>
                  <a:pt x="1646512" y="4592704"/>
                  <a:pt x="1646512" y="4592704"/>
                </a:cubicBezTo>
                <a:cubicBezTo>
                  <a:pt x="1641101" y="4591930"/>
                  <a:pt x="1642002" y="4589938"/>
                  <a:pt x="1643506" y="4585843"/>
                </a:cubicBezTo>
                <a:close/>
                <a:moveTo>
                  <a:pt x="5601401" y="4585511"/>
                </a:moveTo>
                <a:cubicBezTo>
                  <a:pt x="5604106" y="4585511"/>
                  <a:pt x="5607112" y="4586286"/>
                  <a:pt x="5610419" y="4588388"/>
                </a:cubicBezTo>
                <a:cubicBezTo>
                  <a:pt x="5610118" y="4590491"/>
                  <a:pt x="5609818" y="4592594"/>
                  <a:pt x="5609818" y="4594807"/>
                </a:cubicBezTo>
                <a:cubicBezTo>
                  <a:pt x="5599596" y="4594365"/>
                  <a:pt x="5593584" y="4598902"/>
                  <a:pt x="5585769" y="4598791"/>
                </a:cubicBezTo>
                <a:cubicBezTo>
                  <a:pt x="5588774" y="4593590"/>
                  <a:pt x="5593584" y="4585622"/>
                  <a:pt x="5601401" y="4585511"/>
                </a:cubicBezTo>
                <a:close/>
                <a:moveTo>
                  <a:pt x="4346032" y="4585511"/>
                </a:moveTo>
                <a:cubicBezTo>
                  <a:pt x="4348739" y="4585511"/>
                  <a:pt x="4351443" y="4586286"/>
                  <a:pt x="4354751" y="4588388"/>
                </a:cubicBezTo>
                <a:cubicBezTo>
                  <a:pt x="4354451" y="4590491"/>
                  <a:pt x="4354451" y="4592594"/>
                  <a:pt x="4354451" y="4594807"/>
                </a:cubicBezTo>
                <a:cubicBezTo>
                  <a:pt x="4344229" y="4594365"/>
                  <a:pt x="4338217" y="4598902"/>
                  <a:pt x="4330101" y="4598791"/>
                </a:cubicBezTo>
                <a:cubicBezTo>
                  <a:pt x="4333107" y="4593590"/>
                  <a:pt x="4338217" y="4585622"/>
                  <a:pt x="4346032" y="4585511"/>
                </a:cubicBezTo>
                <a:close/>
                <a:moveTo>
                  <a:pt x="1807942" y="4585511"/>
                </a:moveTo>
                <a:cubicBezTo>
                  <a:pt x="1810347" y="4585511"/>
                  <a:pt x="1813353" y="4586286"/>
                  <a:pt x="1816660" y="4588388"/>
                </a:cubicBezTo>
                <a:cubicBezTo>
                  <a:pt x="1816660" y="4590491"/>
                  <a:pt x="1816359" y="4592594"/>
                  <a:pt x="1816059" y="4594807"/>
                </a:cubicBezTo>
                <a:cubicBezTo>
                  <a:pt x="1805837" y="4594365"/>
                  <a:pt x="1799825" y="4598902"/>
                  <a:pt x="1792009" y="4598791"/>
                </a:cubicBezTo>
                <a:cubicBezTo>
                  <a:pt x="1795015" y="4593590"/>
                  <a:pt x="1800126" y="4585622"/>
                  <a:pt x="1807942" y="4585511"/>
                </a:cubicBezTo>
                <a:close/>
                <a:moveTo>
                  <a:pt x="6238102" y="4585289"/>
                </a:moveTo>
                <a:cubicBezTo>
                  <a:pt x="6242612" y="4584736"/>
                  <a:pt x="6246821" y="4585068"/>
                  <a:pt x="6251029" y="4585289"/>
                </a:cubicBezTo>
                <a:cubicBezTo>
                  <a:pt x="6263054" y="4601226"/>
                  <a:pt x="6240208" y="4600894"/>
                  <a:pt x="6229386" y="4604436"/>
                </a:cubicBezTo>
                <a:cubicBezTo>
                  <a:pt x="6225177" y="4599123"/>
                  <a:pt x="6224576" y="4597131"/>
                  <a:pt x="6224876" y="4590380"/>
                </a:cubicBezTo>
                <a:cubicBezTo>
                  <a:pt x="6229386" y="4587282"/>
                  <a:pt x="6233894" y="4585843"/>
                  <a:pt x="6238102" y="4585289"/>
                </a:cubicBezTo>
                <a:close/>
                <a:moveTo>
                  <a:pt x="2444644" y="4585289"/>
                </a:moveTo>
                <a:cubicBezTo>
                  <a:pt x="2448853" y="4584736"/>
                  <a:pt x="2453061" y="4585068"/>
                  <a:pt x="2457270" y="4585289"/>
                </a:cubicBezTo>
                <a:cubicBezTo>
                  <a:pt x="2463582" y="4593258"/>
                  <a:pt x="2460877" y="4597131"/>
                  <a:pt x="2455165" y="4599455"/>
                </a:cubicBezTo>
                <a:lnTo>
                  <a:pt x="2447049" y="4601558"/>
                </a:lnTo>
                <a:lnTo>
                  <a:pt x="2447950" y="4602776"/>
                </a:lnTo>
                <a:cubicBezTo>
                  <a:pt x="2452160" y="4615171"/>
                  <a:pt x="2431417" y="4637748"/>
                  <a:pt x="2422398" y="4642949"/>
                </a:cubicBezTo>
                <a:cubicBezTo>
                  <a:pt x="2425104" y="4632878"/>
                  <a:pt x="2429914" y="4617938"/>
                  <a:pt x="2436828" y="4607202"/>
                </a:cubicBezTo>
                <a:lnTo>
                  <a:pt x="2440135" y="4603329"/>
                </a:lnTo>
                <a:lnTo>
                  <a:pt x="2435626" y="4604436"/>
                </a:lnTo>
                <a:cubicBezTo>
                  <a:pt x="2431718" y="4599123"/>
                  <a:pt x="2431116" y="4597131"/>
                  <a:pt x="2431417" y="4590380"/>
                </a:cubicBezTo>
                <a:cubicBezTo>
                  <a:pt x="2435926" y="4587282"/>
                  <a:pt x="2440135" y="4585843"/>
                  <a:pt x="2444644" y="4585289"/>
                </a:cubicBezTo>
                <a:close/>
                <a:moveTo>
                  <a:pt x="5726456" y="4583076"/>
                </a:moveTo>
                <a:cubicBezTo>
                  <a:pt x="5734272" y="4596799"/>
                  <a:pt x="5742990" y="4581969"/>
                  <a:pt x="5749603" y="4592483"/>
                </a:cubicBezTo>
                <a:cubicBezTo>
                  <a:pt x="5749904" y="4597131"/>
                  <a:pt x="5752310" y="4602222"/>
                  <a:pt x="5751107" y="4607202"/>
                </a:cubicBezTo>
                <a:cubicBezTo>
                  <a:pt x="5750506" y="4608862"/>
                  <a:pt x="5749603" y="4610412"/>
                  <a:pt x="5748401" y="4612072"/>
                </a:cubicBezTo>
                <a:cubicBezTo>
                  <a:pt x="5738180" y="4602333"/>
                  <a:pt x="5729162" y="4598791"/>
                  <a:pt x="5718942" y="4592040"/>
                </a:cubicBezTo>
                <a:cubicBezTo>
                  <a:pt x="5719242" y="4589163"/>
                  <a:pt x="5721045" y="4586507"/>
                  <a:pt x="5726456" y="4583076"/>
                </a:cubicBezTo>
                <a:close/>
                <a:moveTo>
                  <a:pt x="1932697" y="4583076"/>
                </a:moveTo>
                <a:cubicBezTo>
                  <a:pt x="1940513" y="4596799"/>
                  <a:pt x="1949231" y="4581969"/>
                  <a:pt x="1955844" y="4592483"/>
                </a:cubicBezTo>
                <a:cubicBezTo>
                  <a:pt x="1956145" y="4597131"/>
                  <a:pt x="1958550" y="4602222"/>
                  <a:pt x="1957348" y="4607202"/>
                </a:cubicBezTo>
                <a:cubicBezTo>
                  <a:pt x="1957047" y="4608862"/>
                  <a:pt x="1956145" y="4610412"/>
                  <a:pt x="1954642" y="4612072"/>
                </a:cubicBezTo>
                <a:cubicBezTo>
                  <a:pt x="1944721" y="4602333"/>
                  <a:pt x="1935403" y="4598791"/>
                  <a:pt x="1925182" y="4592040"/>
                </a:cubicBezTo>
                <a:cubicBezTo>
                  <a:pt x="1925482" y="4589163"/>
                  <a:pt x="1927587" y="4586507"/>
                  <a:pt x="1932697" y="4583076"/>
                </a:cubicBezTo>
                <a:close/>
                <a:moveTo>
                  <a:pt x="2071882" y="4582965"/>
                </a:moveTo>
                <a:cubicBezTo>
                  <a:pt x="2073686" y="4582744"/>
                  <a:pt x="2075489" y="4582855"/>
                  <a:pt x="2076992" y="4583851"/>
                </a:cubicBezTo>
                <a:cubicBezTo>
                  <a:pt x="2080299" y="4585732"/>
                  <a:pt x="2081802" y="4587392"/>
                  <a:pt x="2085109" y="4589274"/>
                </a:cubicBezTo>
                <a:cubicBezTo>
                  <a:pt x="2084808" y="4593701"/>
                  <a:pt x="2089617" y="4598902"/>
                  <a:pt x="2082704" y="4607202"/>
                </a:cubicBezTo>
                <a:cubicBezTo>
                  <a:pt x="2074587" y="4615281"/>
                  <a:pt x="2064967" y="4606649"/>
                  <a:pt x="2064967" y="4608198"/>
                </a:cubicBezTo>
                <a:cubicBezTo>
                  <a:pt x="2063464" y="4609527"/>
                  <a:pt x="2063164" y="4609527"/>
                  <a:pt x="2063164" y="4610965"/>
                </a:cubicBezTo>
                <a:cubicBezTo>
                  <a:pt x="2061660" y="4610855"/>
                  <a:pt x="2058354" y="4611961"/>
                  <a:pt x="2056851" y="4613289"/>
                </a:cubicBezTo>
                <a:cubicBezTo>
                  <a:pt x="2056851" y="4611740"/>
                  <a:pt x="2056851" y="4610301"/>
                  <a:pt x="2055348" y="4610080"/>
                </a:cubicBezTo>
                <a:cubicBezTo>
                  <a:pt x="2058654" y="4607424"/>
                  <a:pt x="2060158" y="4607645"/>
                  <a:pt x="2061660" y="4606317"/>
                </a:cubicBezTo>
                <a:cubicBezTo>
                  <a:pt x="2060158" y="4606096"/>
                  <a:pt x="2061961" y="4604768"/>
                  <a:pt x="2061961" y="4604768"/>
                </a:cubicBezTo>
                <a:cubicBezTo>
                  <a:pt x="2061961" y="4604768"/>
                  <a:pt x="2061961" y="4604768"/>
                  <a:pt x="2058654" y="4601448"/>
                </a:cubicBezTo>
                <a:cubicBezTo>
                  <a:pt x="2058654" y="4601448"/>
                  <a:pt x="2052642" y="4593258"/>
                  <a:pt x="2059255" y="4586396"/>
                </a:cubicBezTo>
                <a:cubicBezTo>
                  <a:pt x="2060458" y="4587724"/>
                  <a:pt x="2066170" y="4583519"/>
                  <a:pt x="2071882" y="4582965"/>
                </a:cubicBezTo>
                <a:close/>
                <a:moveTo>
                  <a:pt x="1042576" y="4582965"/>
                </a:moveTo>
                <a:cubicBezTo>
                  <a:pt x="1044380" y="4582744"/>
                  <a:pt x="1046183" y="4582855"/>
                  <a:pt x="1047987" y="4583851"/>
                </a:cubicBezTo>
                <a:cubicBezTo>
                  <a:pt x="1050994" y="4585732"/>
                  <a:pt x="1052798" y="4587392"/>
                  <a:pt x="1055804" y="4589274"/>
                </a:cubicBezTo>
                <a:cubicBezTo>
                  <a:pt x="1055804" y="4593701"/>
                  <a:pt x="1060312" y="4598902"/>
                  <a:pt x="1053699" y="4607202"/>
                </a:cubicBezTo>
                <a:cubicBezTo>
                  <a:pt x="1045282" y="4615281"/>
                  <a:pt x="1035963" y="4606649"/>
                  <a:pt x="1035963" y="4608198"/>
                </a:cubicBezTo>
                <a:cubicBezTo>
                  <a:pt x="1034159" y="4609527"/>
                  <a:pt x="1034159" y="4609527"/>
                  <a:pt x="1034159" y="4610965"/>
                </a:cubicBezTo>
                <a:cubicBezTo>
                  <a:pt x="1032656" y="4610855"/>
                  <a:pt x="1029349" y="4611961"/>
                  <a:pt x="1027546" y="4613289"/>
                </a:cubicBezTo>
                <a:cubicBezTo>
                  <a:pt x="1027546" y="4611740"/>
                  <a:pt x="1027846" y="4610301"/>
                  <a:pt x="1026042" y="4610080"/>
                </a:cubicBezTo>
                <a:cubicBezTo>
                  <a:pt x="1029349" y="4607424"/>
                  <a:pt x="1031153" y="4607645"/>
                  <a:pt x="1032656" y="4606317"/>
                </a:cubicBezTo>
                <a:cubicBezTo>
                  <a:pt x="1031153" y="4606096"/>
                  <a:pt x="1032656" y="4604768"/>
                  <a:pt x="1032656" y="4604768"/>
                </a:cubicBezTo>
                <a:cubicBezTo>
                  <a:pt x="1032656" y="4604768"/>
                  <a:pt x="1032656" y="4604768"/>
                  <a:pt x="1029649" y="4601448"/>
                </a:cubicBezTo>
                <a:cubicBezTo>
                  <a:pt x="1029649" y="4601448"/>
                  <a:pt x="1023337" y="4593258"/>
                  <a:pt x="1029950" y="4586396"/>
                </a:cubicBezTo>
                <a:cubicBezTo>
                  <a:pt x="1031153" y="4587724"/>
                  <a:pt x="1037165" y="4583519"/>
                  <a:pt x="1042576" y="4582965"/>
                </a:cubicBezTo>
                <a:close/>
                <a:moveTo>
                  <a:pt x="2254355" y="4582191"/>
                </a:moveTo>
                <a:cubicBezTo>
                  <a:pt x="2259766" y="4585289"/>
                  <a:pt x="2262472" y="4587835"/>
                  <a:pt x="2263073" y="4589938"/>
                </a:cubicBezTo>
                <a:lnTo>
                  <a:pt x="2262171" y="4592262"/>
                </a:lnTo>
                <a:lnTo>
                  <a:pt x="2267883" y="4597353"/>
                </a:lnTo>
                <a:cubicBezTo>
                  <a:pt x="2270288" y="4598902"/>
                  <a:pt x="2272692" y="4600119"/>
                  <a:pt x="2274195" y="4602222"/>
                </a:cubicBezTo>
                <a:cubicBezTo>
                  <a:pt x="2275097" y="4603550"/>
                  <a:pt x="2275999" y="4605321"/>
                  <a:pt x="2276300" y="4607645"/>
                </a:cubicBezTo>
                <a:cubicBezTo>
                  <a:pt x="2265778" y="4620704"/>
                  <a:pt x="2249244" y="4611629"/>
                  <a:pt x="2251349" y="4601115"/>
                </a:cubicBezTo>
                <a:lnTo>
                  <a:pt x="2257662" y="4594254"/>
                </a:lnTo>
                <a:lnTo>
                  <a:pt x="2249846" y="4593701"/>
                </a:lnTo>
                <a:cubicBezTo>
                  <a:pt x="2247140" y="4591819"/>
                  <a:pt x="2247140" y="4587946"/>
                  <a:pt x="2254355" y="4582191"/>
                </a:cubicBezTo>
                <a:close/>
                <a:moveTo>
                  <a:pt x="1225350" y="4582191"/>
                </a:moveTo>
                <a:cubicBezTo>
                  <a:pt x="1236173" y="4588388"/>
                  <a:pt x="1235572" y="4592594"/>
                  <a:pt x="1231963" y="4594475"/>
                </a:cubicBezTo>
                <a:cubicBezTo>
                  <a:pt x="1225951" y="4597463"/>
                  <a:pt x="1210921" y="4593701"/>
                  <a:pt x="1225350" y="4582191"/>
                </a:cubicBezTo>
                <a:close/>
                <a:moveTo>
                  <a:pt x="5962439" y="4582080"/>
                </a:moveTo>
                <a:cubicBezTo>
                  <a:pt x="5964844" y="4584957"/>
                  <a:pt x="5966647" y="4587835"/>
                  <a:pt x="5968150" y="4590712"/>
                </a:cubicBezTo>
                <a:cubicBezTo>
                  <a:pt x="5972058" y="4599345"/>
                  <a:pt x="5972359" y="4607534"/>
                  <a:pt x="5977169" y="4612625"/>
                </a:cubicBezTo>
                <a:cubicBezTo>
                  <a:pt x="5977169" y="4612625"/>
                  <a:pt x="5977169" y="4612515"/>
                  <a:pt x="5975366" y="4616609"/>
                </a:cubicBezTo>
                <a:cubicBezTo>
                  <a:pt x="5975666" y="4618048"/>
                  <a:pt x="5975967" y="4618048"/>
                  <a:pt x="5975967" y="4618048"/>
                </a:cubicBezTo>
                <a:cubicBezTo>
                  <a:pt x="5976267" y="4619376"/>
                  <a:pt x="5973261" y="4620704"/>
                  <a:pt x="5973261" y="4620704"/>
                </a:cubicBezTo>
                <a:cubicBezTo>
                  <a:pt x="5969955" y="4620704"/>
                  <a:pt x="5969654" y="4615945"/>
                  <a:pt x="5968452" y="4613289"/>
                </a:cubicBezTo>
                <a:cubicBezTo>
                  <a:pt x="5964844" y="4613289"/>
                  <a:pt x="5969053" y="4606538"/>
                  <a:pt x="5965445" y="4606538"/>
                </a:cubicBezTo>
                <a:cubicBezTo>
                  <a:pt x="5969053" y="4598349"/>
                  <a:pt x="5958832" y="4594918"/>
                  <a:pt x="5962439" y="4582080"/>
                </a:cubicBezTo>
                <a:close/>
                <a:moveTo>
                  <a:pt x="1865360" y="4582080"/>
                </a:moveTo>
                <a:lnTo>
                  <a:pt x="1862654" y="4589052"/>
                </a:lnTo>
                <a:lnTo>
                  <a:pt x="1870770" y="4586507"/>
                </a:lnTo>
                <a:cubicBezTo>
                  <a:pt x="1875580" y="4591044"/>
                  <a:pt x="1876181" y="4597242"/>
                  <a:pt x="1874077" y="4602554"/>
                </a:cubicBezTo>
                <a:cubicBezTo>
                  <a:pt x="1871973" y="4607866"/>
                  <a:pt x="1867764" y="4612293"/>
                  <a:pt x="1862353" y="4613289"/>
                </a:cubicBezTo>
                <a:lnTo>
                  <a:pt x="1855739" y="4606096"/>
                </a:lnTo>
                <a:lnTo>
                  <a:pt x="1845218" y="4625021"/>
                </a:lnTo>
                <a:cubicBezTo>
                  <a:pt x="1834998" y="4612515"/>
                  <a:pt x="1847623" y="4578317"/>
                  <a:pt x="1865360" y="4582080"/>
                </a:cubicBezTo>
                <a:close/>
                <a:moveTo>
                  <a:pt x="836054" y="4582080"/>
                </a:moveTo>
                <a:cubicBezTo>
                  <a:pt x="827336" y="4596799"/>
                  <a:pt x="829741" y="4610412"/>
                  <a:pt x="815912" y="4625021"/>
                </a:cubicBezTo>
                <a:cubicBezTo>
                  <a:pt x="805993" y="4612515"/>
                  <a:pt x="818618" y="4578317"/>
                  <a:pt x="836054" y="4582080"/>
                </a:cubicBezTo>
                <a:close/>
                <a:moveTo>
                  <a:pt x="5057588" y="4581748"/>
                </a:moveTo>
                <a:cubicBezTo>
                  <a:pt x="5059392" y="4581527"/>
                  <a:pt x="5061195" y="4581859"/>
                  <a:pt x="5062999" y="4582744"/>
                </a:cubicBezTo>
                <a:cubicBezTo>
                  <a:pt x="5066005" y="4584072"/>
                  <a:pt x="5069012" y="4586950"/>
                  <a:pt x="5070816" y="4590270"/>
                </a:cubicBezTo>
                <a:lnTo>
                  <a:pt x="5071417" y="4592151"/>
                </a:lnTo>
                <a:lnTo>
                  <a:pt x="5072318" y="4591930"/>
                </a:lnTo>
                <a:cubicBezTo>
                  <a:pt x="5077429" y="4590380"/>
                  <a:pt x="5083140" y="4589274"/>
                  <a:pt x="5088551" y="4589716"/>
                </a:cubicBezTo>
                <a:cubicBezTo>
                  <a:pt x="5086448" y="4594586"/>
                  <a:pt x="5080736" y="4599455"/>
                  <a:pt x="5074723" y="4601558"/>
                </a:cubicBezTo>
                <a:lnTo>
                  <a:pt x="5070215" y="4601890"/>
                </a:lnTo>
                <a:lnTo>
                  <a:pt x="5066005" y="4608198"/>
                </a:lnTo>
                <a:cubicBezTo>
                  <a:pt x="5063902" y="4610080"/>
                  <a:pt x="5061796" y="4611076"/>
                  <a:pt x="5059392" y="4611851"/>
                </a:cubicBezTo>
                <a:cubicBezTo>
                  <a:pt x="5059392" y="4611851"/>
                  <a:pt x="5059392" y="4611961"/>
                  <a:pt x="5060895" y="4611408"/>
                </a:cubicBezTo>
                <a:cubicBezTo>
                  <a:pt x="5068711" y="4615060"/>
                  <a:pt x="5082539" y="4621368"/>
                  <a:pt x="5082239" y="4626127"/>
                </a:cubicBezTo>
                <a:cubicBezTo>
                  <a:pt x="5080736" y="4626681"/>
                  <a:pt x="5079233" y="4627123"/>
                  <a:pt x="5077128" y="4626238"/>
                </a:cubicBezTo>
                <a:cubicBezTo>
                  <a:pt x="5075325" y="4625353"/>
                  <a:pt x="5076828" y="4624799"/>
                  <a:pt x="5075325" y="4625353"/>
                </a:cubicBezTo>
                <a:cubicBezTo>
                  <a:pt x="5073220" y="4624467"/>
                  <a:pt x="5073520" y="4625906"/>
                  <a:pt x="5073520" y="4625906"/>
                </a:cubicBezTo>
                <a:cubicBezTo>
                  <a:pt x="5073520" y="4625906"/>
                  <a:pt x="5073220" y="4624467"/>
                  <a:pt x="5073220" y="4624467"/>
                </a:cubicBezTo>
                <a:cubicBezTo>
                  <a:pt x="5073220" y="4624467"/>
                  <a:pt x="5073220" y="4624467"/>
                  <a:pt x="5069312" y="4622586"/>
                </a:cubicBezTo>
                <a:cubicBezTo>
                  <a:pt x="5063902" y="4621368"/>
                  <a:pt x="5062397" y="4621811"/>
                  <a:pt x="5058791" y="4621479"/>
                </a:cubicBezTo>
                <a:cubicBezTo>
                  <a:pt x="5054883" y="4619708"/>
                  <a:pt x="5054582" y="4618270"/>
                  <a:pt x="5050073" y="4615060"/>
                </a:cubicBezTo>
                <a:cubicBezTo>
                  <a:pt x="5050974" y="4611740"/>
                  <a:pt x="5050974" y="4611629"/>
                  <a:pt x="5052478" y="4611076"/>
                </a:cubicBezTo>
                <a:cubicBezTo>
                  <a:pt x="5050974" y="4611629"/>
                  <a:pt x="5050373" y="4610301"/>
                  <a:pt x="5048570" y="4609416"/>
                </a:cubicBezTo>
                <a:cubicBezTo>
                  <a:pt x="5039551" y="4607756"/>
                  <a:pt x="5040453" y="4599566"/>
                  <a:pt x="5044661" y="4590380"/>
                </a:cubicBezTo>
                <a:cubicBezTo>
                  <a:pt x="5046766" y="4591266"/>
                  <a:pt x="5048570" y="4585954"/>
                  <a:pt x="5051275" y="4583519"/>
                </a:cubicBezTo>
                <a:cubicBezTo>
                  <a:pt x="5053681" y="4582744"/>
                  <a:pt x="5055784" y="4582080"/>
                  <a:pt x="5057588" y="4581748"/>
                </a:cubicBezTo>
                <a:close/>
                <a:moveTo>
                  <a:pt x="2293134" y="4581748"/>
                </a:moveTo>
                <a:cubicBezTo>
                  <a:pt x="2294937" y="4581527"/>
                  <a:pt x="2296741" y="4581859"/>
                  <a:pt x="2298545" y="4582744"/>
                </a:cubicBezTo>
                <a:cubicBezTo>
                  <a:pt x="2301552" y="4584072"/>
                  <a:pt x="2304257" y="4586950"/>
                  <a:pt x="2306060" y="4590270"/>
                </a:cubicBezTo>
                <a:lnTo>
                  <a:pt x="2306963" y="4592151"/>
                </a:lnTo>
                <a:lnTo>
                  <a:pt x="2307864" y="4591930"/>
                </a:lnTo>
                <a:cubicBezTo>
                  <a:pt x="2312975" y="4590380"/>
                  <a:pt x="2318386" y="4589274"/>
                  <a:pt x="2324098" y="4589716"/>
                </a:cubicBezTo>
                <a:cubicBezTo>
                  <a:pt x="2321692" y="4594586"/>
                  <a:pt x="2316281" y="4599455"/>
                  <a:pt x="2309969" y="4601558"/>
                </a:cubicBezTo>
                <a:lnTo>
                  <a:pt x="2305760" y="4601890"/>
                </a:lnTo>
                <a:lnTo>
                  <a:pt x="2301552" y="4608198"/>
                </a:lnTo>
                <a:cubicBezTo>
                  <a:pt x="2299447" y="4610080"/>
                  <a:pt x="2297342" y="4611076"/>
                  <a:pt x="2294937" y="4611851"/>
                </a:cubicBezTo>
                <a:cubicBezTo>
                  <a:pt x="2294937" y="4611851"/>
                  <a:pt x="2294937" y="4611961"/>
                  <a:pt x="2296441" y="4611408"/>
                </a:cubicBezTo>
                <a:cubicBezTo>
                  <a:pt x="2304257" y="4615060"/>
                  <a:pt x="2318085" y="4621368"/>
                  <a:pt x="2317785" y="4626127"/>
                </a:cubicBezTo>
                <a:cubicBezTo>
                  <a:pt x="2316281" y="4626681"/>
                  <a:pt x="2314477" y="4627123"/>
                  <a:pt x="2312674" y="4626238"/>
                </a:cubicBezTo>
                <a:cubicBezTo>
                  <a:pt x="2310570" y="4625353"/>
                  <a:pt x="2312073" y="4624799"/>
                  <a:pt x="2310570" y="4625353"/>
                </a:cubicBezTo>
                <a:cubicBezTo>
                  <a:pt x="2308766" y="4624467"/>
                  <a:pt x="2309066" y="4625906"/>
                  <a:pt x="2309066" y="4625906"/>
                </a:cubicBezTo>
                <a:cubicBezTo>
                  <a:pt x="2309066" y="4625906"/>
                  <a:pt x="2308766" y="4624467"/>
                  <a:pt x="2308766" y="4624467"/>
                </a:cubicBezTo>
                <a:cubicBezTo>
                  <a:pt x="2308766" y="4624467"/>
                  <a:pt x="2308766" y="4624467"/>
                  <a:pt x="2304558" y="4622586"/>
                </a:cubicBezTo>
                <a:cubicBezTo>
                  <a:pt x="2299146" y="4621368"/>
                  <a:pt x="2297643" y="4621811"/>
                  <a:pt x="2294336" y="4621479"/>
                </a:cubicBezTo>
                <a:cubicBezTo>
                  <a:pt x="2290429" y="4619708"/>
                  <a:pt x="2289827" y="4618270"/>
                  <a:pt x="2285619" y="4615060"/>
                </a:cubicBezTo>
                <a:cubicBezTo>
                  <a:pt x="2286220" y="4611740"/>
                  <a:pt x="2286220" y="4611629"/>
                  <a:pt x="2288024" y="4611076"/>
                </a:cubicBezTo>
                <a:cubicBezTo>
                  <a:pt x="2286220" y="4611629"/>
                  <a:pt x="2285919" y="4610301"/>
                  <a:pt x="2283815" y="4609416"/>
                </a:cubicBezTo>
                <a:cubicBezTo>
                  <a:pt x="2275097" y="4607756"/>
                  <a:pt x="2275999" y="4599566"/>
                  <a:pt x="2280208" y="4590380"/>
                </a:cubicBezTo>
                <a:cubicBezTo>
                  <a:pt x="2282312" y="4591266"/>
                  <a:pt x="2284115" y="4585954"/>
                  <a:pt x="2286821" y="4583519"/>
                </a:cubicBezTo>
                <a:cubicBezTo>
                  <a:pt x="2289226" y="4582744"/>
                  <a:pt x="2291330" y="4582080"/>
                  <a:pt x="2293134" y="4581748"/>
                </a:cubicBezTo>
                <a:close/>
                <a:moveTo>
                  <a:pt x="1263829" y="4581748"/>
                </a:moveTo>
                <a:cubicBezTo>
                  <a:pt x="1265933" y="4581527"/>
                  <a:pt x="1267436" y="4581859"/>
                  <a:pt x="1269541" y="4582744"/>
                </a:cubicBezTo>
                <a:cubicBezTo>
                  <a:pt x="1272246" y="4584072"/>
                  <a:pt x="1275252" y="4586950"/>
                  <a:pt x="1277055" y="4590270"/>
                </a:cubicBezTo>
                <a:lnTo>
                  <a:pt x="1277657" y="4592151"/>
                </a:lnTo>
                <a:lnTo>
                  <a:pt x="1278559" y="4591930"/>
                </a:lnTo>
                <a:cubicBezTo>
                  <a:pt x="1283970" y="4590380"/>
                  <a:pt x="1289381" y="4589274"/>
                  <a:pt x="1295093" y="4589716"/>
                </a:cubicBezTo>
                <a:cubicBezTo>
                  <a:pt x="1292688" y="4594586"/>
                  <a:pt x="1286976" y="4599455"/>
                  <a:pt x="1280964" y="4601558"/>
                </a:cubicBezTo>
                <a:lnTo>
                  <a:pt x="1276454" y="4601890"/>
                </a:lnTo>
                <a:lnTo>
                  <a:pt x="1272547" y="4608198"/>
                </a:lnTo>
                <a:cubicBezTo>
                  <a:pt x="1270442" y="4610080"/>
                  <a:pt x="1268037" y="4611076"/>
                  <a:pt x="1265632" y="4611851"/>
                </a:cubicBezTo>
                <a:cubicBezTo>
                  <a:pt x="1265632" y="4611851"/>
                  <a:pt x="1265933" y="4611961"/>
                  <a:pt x="1267436" y="4611408"/>
                </a:cubicBezTo>
                <a:cubicBezTo>
                  <a:pt x="1275252" y="4615060"/>
                  <a:pt x="1289081" y="4621368"/>
                  <a:pt x="1288480" y="4626127"/>
                </a:cubicBezTo>
                <a:cubicBezTo>
                  <a:pt x="1286976" y="4626681"/>
                  <a:pt x="1285474" y="4627123"/>
                  <a:pt x="1283369" y="4626238"/>
                </a:cubicBezTo>
                <a:cubicBezTo>
                  <a:pt x="1281565" y="4625353"/>
                  <a:pt x="1283069" y="4624799"/>
                  <a:pt x="1281565" y="4625353"/>
                </a:cubicBezTo>
                <a:cubicBezTo>
                  <a:pt x="1279460" y="4624467"/>
                  <a:pt x="1280062" y="4625906"/>
                  <a:pt x="1280062" y="4625906"/>
                </a:cubicBezTo>
                <a:cubicBezTo>
                  <a:pt x="1280062" y="4625906"/>
                  <a:pt x="1279460" y="4624467"/>
                  <a:pt x="1279460" y="4624467"/>
                </a:cubicBezTo>
                <a:cubicBezTo>
                  <a:pt x="1279460" y="4624467"/>
                  <a:pt x="1279460" y="4624467"/>
                  <a:pt x="1275553" y="4622586"/>
                </a:cubicBezTo>
                <a:cubicBezTo>
                  <a:pt x="1270142" y="4621368"/>
                  <a:pt x="1268638" y="4621811"/>
                  <a:pt x="1265031" y="4621479"/>
                </a:cubicBezTo>
                <a:cubicBezTo>
                  <a:pt x="1261124" y="4619708"/>
                  <a:pt x="1260823" y="4618270"/>
                  <a:pt x="1256313" y="4615060"/>
                </a:cubicBezTo>
                <a:cubicBezTo>
                  <a:pt x="1257215" y="4611740"/>
                  <a:pt x="1257215" y="4611629"/>
                  <a:pt x="1258719" y="4611076"/>
                </a:cubicBezTo>
                <a:cubicBezTo>
                  <a:pt x="1257215" y="4611629"/>
                  <a:pt x="1256914" y="4610301"/>
                  <a:pt x="1254810" y="4609416"/>
                </a:cubicBezTo>
                <a:cubicBezTo>
                  <a:pt x="1245792" y="4607756"/>
                  <a:pt x="1246995" y="4599566"/>
                  <a:pt x="1251203" y="4590380"/>
                </a:cubicBezTo>
                <a:cubicBezTo>
                  <a:pt x="1253007" y="4591266"/>
                  <a:pt x="1255111" y="4585954"/>
                  <a:pt x="1257817" y="4583519"/>
                </a:cubicBezTo>
                <a:cubicBezTo>
                  <a:pt x="1260221" y="4582744"/>
                  <a:pt x="1262025" y="4582080"/>
                  <a:pt x="1263829" y="4581748"/>
                </a:cubicBezTo>
                <a:close/>
                <a:moveTo>
                  <a:pt x="3174236" y="4580531"/>
                </a:moveTo>
                <a:lnTo>
                  <a:pt x="3174536" y="4583076"/>
                </a:lnTo>
                <a:cubicBezTo>
                  <a:pt x="3174536" y="4585068"/>
                  <a:pt x="3175138" y="4586950"/>
                  <a:pt x="3176040" y="4588499"/>
                </a:cubicBezTo>
                <a:lnTo>
                  <a:pt x="3183255" y="4584072"/>
                </a:lnTo>
                <a:lnTo>
                  <a:pt x="3181451" y="4583961"/>
                </a:lnTo>
                <a:close/>
                <a:moveTo>
                  <a:pt x="3196481" y="4579313"/>
                </a:moveTo>
                <a:cubicBezTo>
                  <a:pt x="3193175" y="4579867"/>
                  <a:pt x="3188665" y="4581527"/>
                  <a:pt x="3191973" y="4584293"/>
                </a:cubicBezTo>
                <a:lnTo>
                  <a:pt x="3186261" y="4584072"/>
                </a:lnTo>
                <a:lnTo>
                  <a:pt x="3187764" y="4584515"/>
                </a:lnTo>
                <a:cubicBezTo>
                  <a:pt x="3188665" y="4585400"/>
                  <a:pt x="3189868" y="4586839"/>
                  <a:pt x="3191371" y="4588942"/>
                </a:cubicBezTo>
                <a:cubicBezTo>
                  <a:pt x="3193776" y="4588056"/>
                  <a:pt x="3195580" y="4586728"/>
                  <a:pt x="3197384" y="4585068"/>
                </a:cubicBezTo>
                <a:lnTo>
                  <a:pt x="3197684" y="4584847"/>
                </a:lnTo>
                <a:lnTo>
                  <a:pt x="3197684" y="4582080"/>
                </a:lnTo>
                <a:lnTo>
                  <a:pt x="3198886" y="4583740"/>
                </a:lnTo>
                <a:lnTo>
                  <a:pt x="3200390" y="4582080"/>
                </a:lnTo>
                <a:close/>
                <a:moveTo>
                  <a:pt x="2172287" y="4578428"/>
                </a:moveTo>
                <a:lnTo>
                  <a:pt x="2173791" y="4589938"/>
                </a:lnTo>
                <a:lnTo>
                  <a:pt x="2174391" y="4590712"/>
                </a:lnTo>
                <a:lnTo>
                  <a:pt x="2176496" y="4596689"/>
                </a:lnTo>
                <a:lnTo>
                  <a:pt x="2178600" y="4596025"/>
                </a:lnTo>
                <a:lnTo>
                  <a:pt x="2198742" y="4598238"/>
                </a:lnTo>
                <a:lnTo>
                  <a:pt x="2201747" y="4594697"/>
                </a:lnTo>
                <a:cubicBezTo>
                  <a:pt x="2204152" y="4591155"/>
                  <a:pt x="2206557" y="4589052"/>
                  <a:pt x="2208961" y="4588610"/>
                </a:cubicBezTo>
                <a:cubicBezTo>
                  <a:pt x="2211367" y="4588056"/>
                  <a:pt x="2213772" y="4589163"/>
                  <a:pt x="2216177" y="4591708"/>
                </a:cubicBezTo>
                <a:cubicBezTo>
                  <a:pt x="2216177" y="4593258"/>
                  <a:pt x="2214373" y="4597574"/>
                  <a:pt x="2216177" y="4597685"/>
                </a:cubicBezTo>
                <a:cubicBezTo>
                  <a:pt x="2214373" y="4599234"/>
                  <a:pt x="2212269" y="4600783"/>
                  <a:pt x="2210165" y="4601890"/>
                </a:cubicBezTo>
                <a:lnTo>
                  <a:pt x="2206557" y="4602776"/>
                </a:lnTo>
                <a:lnTo>
                  <a:pt x="2207759" y="4603550"/>
                </a:lnTo>
                <a:cubicBezTo>
                  <a:pt x="2209864" y="4605764"/>
                  <a:pt x="2211667" y="4608420"/>
                  <a:pt x="2212269" y="4611408"/>
                </a:cubicBezTo>
                <a:cubicBezTo>
                  <a:pt x="2215576" y="4632546"/>
                  <a:pt x="2190625" y="4640625"/>
                  <a:pt x="2174391" y="4632767"/>
                </a:cubicBezTo>
                <a:cubicBezTo>
                  <a:pt x="2164771" y="4628009"/>
                  <a:pt x="2158158" y="4617495"/>
                  <a:pt x="2162668" y="4600562"/>
                </a:cubicBezTo>
                <a:lnTo>
                  <a:pt x="2164471" y="4600009"/>
                </a:lnTo>
                <a:lnTo>
                  <a:pt x="2157257" y="4600894"/>
                </a:lnTo>
                <a:cubicBezTo>
                  <a:pt x="2155152" y="4598791"/>
                  <a:pt x="2154250" y="4596246"/>
                  <a:pt x="2154551" y="4593701"/>
                </a:cubicBezTo>
                <a:lnTo>
                  <a:pt x="2155753" y="4590934"/>
                </a:lnTo>
                <a:lnTo>
                  <a:pt x="2151545" y="4592040"/>
                </a:lnTo>
                <a:cubicBezTo>
                  <a:pt x="2150342" y="4588056"/>
                  <a:pt x="2148238" y="4585511"/>
                  <a:pt x="2148539" y="4582191"/>
                </a:cubicBezTo>
                <a:cubicBezTo>
                  <a:pt x="2151845" y="4579424"/>
                  <a:pt x="2154551" y="4578981"/>
                  <a:pt x="2156655" y="4580199"/>
                </a:cubicBezTo>
                <a:lnTo>
                  <a:pt x="2159361" y="4584957"/>
                </a:lnTo>
                <a:lnTo>
                  <a:pt x="2164471" y="4580641"/>
                </a:lnTo>
                <a:cubicBezTo>
                  <a:pt x="2167176" y="4579203"/>
                  <a:pt x="2169882" y="4578317"/>
                  <a:pt x="2172287" y="4578428"/>
                </a:cubicBezTo>
                <a:close/>
                <a:moveTo>
                  <a:pt x="1143282" y="4578428"/>
                </a:moveTo>
                <a:cubicBezTo>
                  <a:pt x="1146288" y="4581527"/>
                  <a:pt x="1146288" y="4586064"/>
                  <a:pt x="1144786" y="4590159"/>
                </a:cubicBezTo>
                <a:lnTo>
                  <a:pt x="1136068" y="4599787"/>
                </a:lnTo>
                <a:lnTo>
                  <a:pt x="1138171" y="4599234"/>
                </a:lnTo>
                <a:lnTo>
                  <a:pt x="1138473" y="4597685"/>
                </a:lnTo>
                <a:cubicBezTo>
                  <a:pt x="1139374" y="4596799"/>
                  <a:pt x="1140576" y="4596025"/>
                  <a:pt x="1142080" y="4595471"/>
                </a:cubicBezTo>
                <a:lnTo>
                  <a:pt x="1144185" y="4597463"/>
                </a:lnTo>
                <a:lnTo>
                  <a:pt x="1149596" y="4596025"/>
                </a:lnTo>
                <a:lnTo>
                  <a:pt x="1169736" y="4598238"/>
                </a:lnTo>
                <a:lnTo>
                  <a:pt x="1172743" y="4594697"/>
                </a:lnTo>
                <a:cubicBezTo>
                  <a:pt x="1175148" y="4591155"/>
                  <a:pt x="1177553" y="4589052"/>
                  <a:pt x="1179957" y="4588610"/>
                </a:cubicBezTo>
                <a:cubicBezTo>
                  <a:pt x="1182362" y="4588056"/>
                  <a:pt x="1184767" y="4589163"/>
                  <a:pt x="1187172" y="4591708"/>
                </a:cubicBezTo>
                <a:cubicBezTo>
                  <a:pt x="1187172" y="4593258"/>
                  <a:pt x="1185368" y="4597574"/>
                  <a:pt x="1186871" y="4597685"/>
                </a:cubicBezTo>
                <a:cubicBezTo>
                  <a:pt x="1185067" y="4599234"/>
                  <a:pt x="1182964" y="4600783"/>
                  <a:pt x="1180859" y="4601890"/>
                </a:cubicBezTo>
                <a:lnTo>
                  <a:pt x="1177252" y="4602776"/>
                </a:lnTo>
                <a:lnTo>
                  <a:pt x="1178755" y="4603550"/>
                </a:lnTo>
                <a:cubicBezTo>
                  <a:pt x="1180859" y="4605764"/>
                  <a:pt x="1182362" y="4608420"/>
                  <a:pt x="1183264" y="4611408"/>
                </a:cubicBezTo>
                <a:cubicBezTo>
                  <a:pt x="1186571" y="4632546"/>
                  <a:pt x="1161319" y="4640625"/>
                  <a:pt x="1145387" y="4632767"/>
                </a:cubicBezTo>
                <a:cubicBezTo>
                  <a:pt x="1135466" y="4628009"/>
                  <a:pt x="1128853" y="4617495"/>
                  <a:pt x="1133362" y="4600562"/>
                </a:cubicBezTo>
                <a:lnTo>
                  <a:pt x="1135466" y="4600009"/>
                </a:lnTo>
                <a:lnTo>
                  <a:pt x="1127951" y="4600894"/>
                </a:lnTo>
                <a:cubicBezTo>
                  <a:pt x="1125847" y="4598791"/>
                  <a:pt x="1125246" y="4596246"/>
                  <a:pt x="1125546" y="4593701"/>
                </a:cubicBezTo>
                <a:lnTo>
                  <a:pt x="1126748" y="4590934"/>
                </a:lnTo>
                <a:lnTo>
                  <a:pt x="1122540" y="4592040"/>
                </a:lnTo>
                <a:cubicBezTo>
                  <a:pt x="1121036" y="4588056"/>
                  <a:pt x="1119234" y="4585511"/>
                  <a:pt x="1119234" y="4582191"/>
                </a:cubicBezTo>
                <a:cubicBezTo>
                  <a:pt x="1122540" y="4579424"/>
                  <a:pt x="1125546" y="4578981"/>
                  <a:pt x="1127651" y="4580199"/>
                </a:cubicBezTo>
                <a:lnTo>
                  <a:pt x="1130356" y="4584957"/>
                </a:lnTo>
                <a:lnTo>
                  <a:pt x="1135466" y="4580641"/>
                </a:lnTo>
                <a:cubicBezTo>
                  <a:pt x="1137871" y="4579203"/>
                  <a:pt x="1140576" y="4578317"/>
                  <a:pt x="1143282" y="4578428"/>
                </a:cubicBezTo>
                <a:close/>
                <a:moveTo>
                  <a:pt x="2225796" y="4573669"/>
                </a:moveTo>
                <a:cubicBezTo>
                  <a:pt x="2226698" y="4573780"/>
                  <a:pt x="2227600" y="4574333"/>
                  <a:pt x="2228502" y="4575108"/>
                </a:cubicBezTo>
                <a:cubicBezTo>
                  <a:pt x="2228502" y="4575108"/>
                  <a:pt x="2226398" y="4577985"/>
                  <a:pt x="2226398" y="4577985"/>
                </a:cubicBezTo>
                <a:cubicBezTo>
                  <a:pt x="2223090" y="4580641"/>
                  <a:pt x="2221588" y="4581859"/>
                  <a:pt x="2219784" y="4584736"/>
                </a:cubicBezTo>
                <a:cubicBezTo>
                  <a:pt x="2216477" y="4582855"/>
                  <a:pt x="2216477" y="4581305"/>
                  <a:pt x="2218281" y="4579977"/>
                </a:cubicBezTo>
                <a:cubicBezTo>
                  <a:pt x="2218281" y="4579977"/>
                  <a:pt x="2219784" y="4578760"/>
                  <a:pt x="2221588" y="4577432"/>
                </a:cubicBezTo>
                <a:cubicBezTo>
                  <a:pt x="2223392" y="4576104"/>
                  <a:pt x="2223392" y="4574554"/>
                  <a:pt x="2223392" y="4574554"/>
                </a:cubicBezTo>
                <a:cubicBezTo>
                  <a:pt x="2224293" y="4573890"/>
                  <a:pt x="2225195" y="4573558"/>
                  <a:pt x="2225796" y="4573669"/>
                </a:cubicBezTo>
                <a:close/>
                <a:moveTo>
                  <a:pt x="1196792" y="4573669"/>
                </a:moveTo>
                <a:cubicBezTo>
                  <a:pt x="1197694" y="4573780"/>
                  <a:pt x="1198295" y="4574333"/>
                  <a:pt x="1199196" y="4575108"/>
                </a:cubicBezTo>
                <a:cubicBezTo>
                  <a:pt x="1199196" y="4575108"/>
                  <a:pt x="1197393" y="4577985"/>
                  <a:pt x="1197393" y="4577985"/>
                </a:cubicBezTo>
                <a:cubicBezTo>
                  <a:pt x="1194087" y="4580641"/>
                  <a:pt x="1192282" y="4581859"/>
                  <a:pt x="1190779" y="4584736"/>
                </a:cubicBezTo>
                <a:cubicBezTo>
                  <a:pt x="1187472" y="4582855"/>
                  <a:pt x="1187472" y="4581305"/>
                  <a:pt x="1188976" y="4579977"/>
                </a:cubicBezTo>
                <a:cubicBezTo>
                  <a:pt x="1188976" y="4579977"/>
                  <a:pt x="1190779" y="4578760"/>
                  <a:pt x="1192583" y="4577432"/>
                </a:cubicBezTo>
                <a:cubicBezTo>
                  <a:pt x="1194087" y="4576104"/>
                  <a:pt x="1194087" y="4574554"/>
                  <a:pt x="1194087" y="4574554"/>
                </a:cubicBezTo>
                <a:cubicBezTo>
                  <a:pt x="1194988" y="4573890"/>
                  <a:pt x="1195889" y="4573558"/>
                  <a:pt x="1196792" y="4573669"/>
                </a:cubicBezTo>
                <a:close/>
                <a:moveTo>
                  <a:pt x="3144476" y="4573116"/>
                </a:moveTo>
                <a:lnTo>
                  <a:pt x="3146279" y="4575661"/>
                </a:lnTo>
                <a:cubicBezTo>
                  <a:pt x="3147181" y="4576989"/>
                  <a:pt x="3147783" y="4578317"/>
                  <a:pt x="3147181" y="4580420"/>
                </a:cubicBezTo>
                <a:cubicBezTo>
                  <a:pt x="3152291" y="4580973"/>
                  <a:pt x="3165819" y="4583408"/>
                  <a:pt x="3168825" y="4579424"/>
                </a:cubicBezTo>
                <a:lnTo>
                  <a:pt x="3169125" y="4578207"/>
                </a:lnTo>
                <a:lnTo>
                  <a:pt x="3156500" y="4573780"/>
                </a:lnTo>
                <a:close/>
                <a:moveTo>
                  <a:pt x="3543391" y="4572673"/>
                </a:moveTo>
                <a:cubicBezTo>
                  <a:pt x="3545195" y="4578649"/>
                  <a:pt x="3546698" y="4584736"/>
                  <a:pt x="3544594" y="4588831"/>
                </a:cubicBezTo>
                <a:cubicBezTo>
                  <a:pt x="3540084" y="4590270"/>
                  <a:pt x="3536177" y="4590491"/>
                  <a:pt x="3532569" y="4589384"/>
                </a:cubicBezTo>
                <a:cubicBezTo>
                  <a:pt x="3529262" y="4588167"/>
                  <a:pt x="3526556" y="4585511"/>
                  <a:pt x="3524453" y="4581195"/>
                </a:cubicBezTo>
                <a:cubicBezTo>
                  <a:pt x="3527157" y="4573780"/>
                  <a:pt x="3537679" y="4573448"/>
                  <a:pt x="3543391" y="4572673"/>
                </a:cubicBezTo>
                <a:close/>
                <a:moveTo>
                  <a:pt x="1005301" y="4572673"/>
                </a:moveTo>
                <a:cubicBezTo>
                  <a:pt x="1006803" y="4578649"/>
                  <a:pt x="1008908" y="4584736"/>
                  <a:pt x="1006503" y="4588831"/>
                </a:cubicBezTo>
                <a:cubicBezTo>
                  <a:pt x="1001993" y="4590270"/>
                  <a:pt x="998085" y="4590491"/>
                  <a:pt x="994478" y="4589384"/>
                </a:cubicBezTo>
                <a:cubicBezTo>
                  <a:pt x="991171" y="4588167"/>
                  <a:pt x="988165" y="4585511"/>
                  <a:pt x="986362" y="4581195"/>
                </a:cubicBezTo>
                <a:cubicBezTo>
                  <a:pt x="989067" y="4573780"/>
                  <a:pt x="999589" y="4573448"/>
                  <a:pt x="1005301" y="4572673"/>
                </a:cubicBezTo>
                <a:close/>
                <a:moveTo>
                  <a:pt x="3143573" y="4570792"/>
                </a:moveTo>
                <a:lnTo>
                  <a:pt x="3143573" y="4571566"/>
                </a:lnTo>
                <a:lnTo>
                  <a:pt x="3144174" y="4572784"/>
                </a:lnTo>
                <a:close/>
                <a:moveTo>
                  <a:pt x="6420876" y="4568799"/>
                </a:moveTo>
                <a:cubicBezTo>
                  <a:pt x="6421778" y="4572120"/>
                  <a:pt x="6425085" y="4573669"/>
                  <a:pt x="6423583" y="4578760"/>
                </a:cubicBezTo>
                <a:cubicBezTo>
                  <a:pt x="6419073" y="4578096"/>
                  <a:pt x="6415766" y="4576657"/>
                  <a:pt x="6411257" y="4576104"/>
                </a:cubicBezTo>
                <a:cubicBezTo>
                  <a:pt x="6409453" y="4569463"/>
                  <a:pt x="6415165" y="4569131"/>
                  <a:pt x="6420876" y="4568799"/>
                </a:cubicBezTo>
                <a:close/>
                <a:moveTo>
                  <a:pt x="5165209" y="4568799"/>
                </a:moveTo>
                <a:cubicBezTo>
                  <a:pt x="5166110" y="4572120"/>
                  <a:pt x="5169418" y="4573669"/>
                  <a:pt x="5167914" y="4578760"/>
                </a:cubicBezTo>
                <a:cubicBezTo>
                  <a:pt x="5163706" y="4578096"/>
                  <a:pt x="5160398" y="4576657"/>
                  <a:pt x="5155889" y="4576104"/>
                </a:cubicBezTo>
                <a:cubicBezTo>
                  <a:pt x="5154086" y="4569463"/>
                  <a:pt x="5159797" y="4569131"/>
                  <a:pt x="5165209" y="4568799"/>
                </a:cubicBezTo>
                <a:close/>
                <a:moveTo>
                  <a:pt x="2627418" y="4568799"/>
                </a:moveTo>
                <a:cubicBezTo>
                  <a:pt x="2628019" y="4572120"/>
                  <a:pt x="2631326" y="4573669"/>
                  <a:pt x="2629823" y="4578760"/>
                </a:cubicBezTo>
                <a:cubicBezTo>
                  <a:pt x="2625313" y="4578096"/>
                  <a:pt x="2622307" y="4576657"/>
                  <a:pt x="2617798" y="4576104"/>
                </a:cubicBezTo>
                <a:cubicBezTo>
                  <a:pt x="2615994" y="4569463"/>
                  <a:pt x="2621706" y="4569131"/>
                  <a:pt x="2627418" y="4568799"/>
                </a:cubicBezTo>
                <a:close/>
                <a:moveTo>
                  <a:pt x="5829266" y="4564151"/>
                </a:moveTo>
                <a:cubicBezTo>
                  <a:pt x="5830470" y="4564815"/>
                  <a:pt x="5831371" y="4566143"/>
                  <a:pt x="5831672" y="4567914"/>
                </a:cubicBezTo>
                <a:cubicBezTo>
                  <a:pt x="5832573" y="4573337"/>
                  <a:pt x="5830770" y="4582412"/>
                  <a:pt x="5828665" y="4586839"/>
                </a:cubicBezTo>
                <a:cubicBezTo>
                  <a:pt x="5824157" y="4584183"/>
                  <a:pt x="5826861" y="4570128"/>
                  <a:pt x="5829266" y="4564151"/>
                </a:cubicBezTo>
                <a:close/>
                <a:moveTo>
                  <a:pt x="3064813" y="4564151"/>
                </a:moveTo>
                <a:cubicBezTo>
                  <a:pt x="3066015" y="4564815"/>
                  <a:pt x="3066616" y="4566143"/>
                  <a:pt x="3067218" y="4567914"/>
                </a:cubicBezTo>
                <a:cubicBezTo>
                  <a:pt x="3068119" y="4573337"/>
                  <a:pt x="3066015" y="4582412"/>
                  <a:pt x="3064212" y="4586839"/>
                </a:cubicBezTo>
                <a:cubicBezTo>
                  <a:pt x="3059401" y="4584183"/>
                  <a:pt x="3062107" y="4570128"/>
                  <a:pt x="3064813" y="4564151"/>
                </a:cubicBezTo>
                <a:close/>
                <a:moveTo>
                  <a:pt x="2035808" y="4564151"/>
                </a:moveTo>
                <a:cubicBezTo>
                  <a:pt x="2037010" y="4564815"/>
                  <a:pt x="2037612" y="4566143"/>
                  <a:pt x="2037912" y="4567914"/>
                </a:cubicBezTo>
                <a:cubicBezTo>
                  <a:pt x="2038513" y="4570681"/>
                  <a:pt x="2038213" y="4574222"/>
                  <a:pt x="2037612" y="4577764"/>
                </a:cubicBezTo>
                <a:lnTo>
                  <a:pt x="2036409" y="4582080"/>
                </a:lnTo>
                <a:lnTo>
                  <a:pt x="2035507" y="4588831"/>
                </a:lnTo>
                <a:cubicBezTo>
                  <a:pt x="2031298" y="4590270"/>
                  <a:pt x="2027090" y="4590491"/>
                  <a:pt x="2023784" y="4589384"/>
                </a:cubicBezTo>
                <a:cubicBezTo>
                  <a:pt x="2020175" y="4588167"/>
                  <a:pt x="2017470" y="4585511"/>
                  <a:pt x="2015366" y="4581195"/>
                </a:cubicBezTo>
                <a:cubicBezTo>
                  <a:pt x="2016869" y="4577542"/>
                  <a:pt x="2020175" y="4575550"/>
                  <a:pt x="2023784" y="4574444"/>
                </a:cubicBezTo>
                <a:lnTo>
                  <a:pt x="2033403" y="4572894"/>
                </a:lnTo>
                <a:lnTo>
                  <a:pt x="2033703" y="4569906"/>
                </a:lnTo>
                <a:cubicBezTo>
                  <a:pt x="2034304" y="4567693"/>
                  <a:pt x="2035207" y="4565590"/>
                  <a:pt x="2035808" y="4564151"/>
                </a:cubicBezTo>
                <a:close/>
                <a:moveTo>
                  <a:pt x="3660330" y="4563155"/>
                </a:moveTo>
                <a:cubicBezTo>
                  <a:pt x="3648907" y="4575772"/>
                  <a:pt x="3639588" y="4567029"/>
                  <a:pt x="3632975" y="4574001"/>
                </a:cubicBezTo>
                <a:cubicBezTo>
                  <a:pt x="3631171" y="4570792"/>
                  <a:pt x="3631171" y="4570681"/>
                  <a:pt x="3632975" y="4567803"/>
                </a:cubicBezTo>
                <a:cubicBezTo>
                  <a:pt x="3634477" y="4568025"/>
                  <a:pt x="3634477" y="4566475"/>
                  <a:pt x="3636281" y="4568135"/>
                </a:cubicBezTo>
                <a:cubicBezTo>
                  <a:pt x="3639588" y="4563930"/>
                  <a:pt x="3654017" y="4560942"/>
                  <a:pt x="3660330" y="4563155"/>
                </a:cubicBezTo>
                <a:close/>
                <a:moveTo>
                  <a:pt x="2151545" y="4563155"/>
                </a:moveTo>
                <a:cubicBezTo>
                  <a:pt x="2139820" y="4575772"/>
                  <a:pt x="2130501" y="4567029"/>
                  <a:pt x="2123888" y="4574001"/>
                </a:cubicBezTo>
                <a:cubicBezTo>
                  <a:pt x="2122385" y="4570792"/>
                  <a:pt x="2122084" y="4570681"/>
                  <a:pt x="2123888" y="4567803"/>
                </a:cubicBezTo>
                <a:cubicBezTo>
                  <a:pt x="2125391" y="4568025"/>
                  <a:pt x="2125391" y="4566475"/>
                  <a:pt x="2127195" y="4568135"/>
                </a:cubicBezTo>
                <a:cubicBezTo>
                  <a:pt x="2130501" y="4563930"/>
                  <a:pt x="2145231" y="4560942"/>
                  <a:pt x="2151545" y="4563155"/>
                </a:cubicBezTo>
                <a:close/>
                <a:moveTo>
                  <a:pt x="1122540" y="4563155"/>
                </a:moveTo>
                <a:cubicBezTo>
                  <a:pt x="1110816" y="4575772"/>
                  <a:pt x="1101196" y="4567029"/>
                  <a:pt x="1094583" y="4574001"/>
                </a:cubicBezTo>
                <a:cubicBezTo>
                  <a:pt x="1093079" y="4570792"/>
                  <a:pt x="1093079" y="4570681"/>
                  <a:pt x="1094883" y="4567803"/>
                </a:cubicBezTo>
                <a:cubicBezTo>
                  <a:pt x="1096386" y="4568025"/>
                  <a:pt x="1096386" y="4566475"/>
                  <a:pt x="1097890" y="4568135"/>
                </a:cubicBezTo>
                <a:cubicBezTo>
                  <a:pt x="1101196" y="4563930"/>
                  <a:pt x="1115926" y="4560942"/>
                  <a:pt x="1122540" y="4563155"/>
                </a:cubicBezTo>
                <a:close/>
                <a:moveTo>
                  <a:pt x="5289662" y="4562159"/>
                </a:moveTo>
                <a:cubicBezTo>
                  <a:pt x="5291467" y="4562491"/>
                  <a:pt x="5292970" y="4563155"/>
                  <a:pt x="5294172" y="4564373"/>
                </a:cubicBezTo>
                <a:cubicBezTo>
                  <a:pt x="5296577" y="4567029"/>
                  <a:pt x="5295374" y="4572341"/>
                  <a:pt x="5285755" y="4581084"/>
                </a:cubicBezTo>
                <a:cubicBezTo>
                  <a:pt x="5276436" y="4576436"/>
                  <a:pt x="5273730" y="4572120"/>
                  <a:pt x="5274632" y="4568799"/>
                </a:cubicBezTo>
                <a:cubicBezTo>
                  <a:pt x="5275835" y="4564151"/>
                  <a:pt x="5283951" y="4561384"/>
                  <a:pt x="5289662" y="4562159"/>
                </a:cubicBezTo>
                <a:close/>
                <a:moveTo>
                  <a:pt x="2525208" y="4562159"/>
                </a:moveTo>
                <a:cubicBezTo>
                  <a:pt x="2527013" y="4562491"/>
                  <a:pt x="2528516" y="4563155"/>
                  <a:pt x="2529718" y="4564373"/>
                </a:cubicBezTo>
                <a:cubicBezTo>
                  <a:pt x="2531823" y="4567029"/>
                  <a:pt x="2530620" y="4572341"/>
                  <a:pt x="2521001" y="4581084"/>
                </a:cubicBezTo>
                <a:cubicBezTo>
                  <a:pt x="2511681" y="4576436"/>
                  <a:pt x="2509277" y="4572120"/>
                  <a:pt x="2510178" y="4568799"/>
                </a:cubicBezTo>
                <a:cubicBezTo>
                  <a:pt x="2511380" y="4564151"/>
                  <a:pt x="2519497" y="4561384"/>
                  <a:pt x="2525208" y="4562159"/>
                </a:cubicBezTo>
                <a:close/>
                <a:moveTo>
                  <a:pt x="1495903" y="4562159"/>
                </a:moveTo>
                <a:cubicBezTo>
                  <a:pt x="1498008" y="4562491"/>
                  <a:pt x="1499511" y="4563155"/>
                  <a:pt x="1500413" y="4564373"/>
                </a:cubicBezTo>
                <a:cubicBezTo>
                  <a:pt x="1502818" y="4567029"/>
                  <a:pt x="1501615" y="4572341"/>
                  <a:pt x="1491996" y="4581084"/>
                </a:cubicBezTo>
                <a:cubicBezTo>
                  <a:pt x="1482677" y="4576436"/>
                  <a:pt x="1479971" y="4572120"/>
                  <a:pt x="1480873" y="4568799"/>
                </a:cubicBezTo>
                <a:cubicBezTo>
                  <a:pt x="1482075" y="4564151"/>
                  <a:pt x="1490492" y="4561384"/>
                  <a:pt x="1495903" y="4562159"/>
                </a:cubicBezTo>
                <a:close/>
                <a:moveTo>
                  <a:pt x="3671152" y="4556294"/>
                </a:moveTo>
                <a:cubicBezTo>
                  <a:pt x="3672055" y="4556294"/>
                  <a:pt x="3672656" y="4556626"/>
                  <a:pt x="3673557" y="4557400"/>
                </a:cubicBezTo>
                <a:cubicBezTo>
                  <a:pt x="3671754" y="4558839"/>
                  <a:pt x="3668447" y="4559946"/>
                  <a:pt x="3666944" y="4561274"/>
                </a:cubicBezTo>
                <a:cubicBezTo>
                  <a:pt x="3666944" y="4561274"/>
                  <a:pt x="3666944" y="4561274"/>
                  <a:pt x="3665140" y="4559614"/>
                </a:cubicBezTo>
                <a:cubicBezTo>
                  <a:pt x="3667545" y="4559835"/>
                  <a:pt x="3669349" y="4556515"/>
                  <a:pt x="3671152" y="4556294"/>
                </a:cubicBezTo>
                <a:close/>
                <a:moveTo>
                  <a:pt x="2162066" y="4556294"/>
                </a:moveTo>
                <a:cubicBezTo>
                  <a:pt x="2162968" y="4556294"/>
                  <a:pt x="2163569" y="4556626"/>
                  <a:pt x="2164471" y="4557400"/>
                </a:cubicBezTo>
                <a:cubicBezTo>
                  <a:pt x="2162668" y="4558839"/>
                  <a:pt x="2159361" y="4559946"/>
                  <a:pt x="2157857" y="4561274"/>
                </a:cubicBezTo>
                <a:cubicBezTo>
                  <a:pt x="2157857" y="4561274"/>
                  <a:pt x="2157857" y="4561274"/>
                  <a:pt x="2156054" y="4559614"/>
                </a:cubicBezTo>
                <a:cubicBezTo>
                  <a:pt x="2158759" y="4559835"/>
                  <a:pt x="2160262" y="4556515"/>
                  <a:pt x="2162066" y="4556294"/>
                </a:cubicBezTo>
                <a:close/>
                <a:moveTo>
                  <a:pt x="1133062" y="4556294"/>
                </a:moveTo>
                <a:cubicBezTo>
                  <a:pt x="1133663" y="4556294"/>
                  <a:pt x="1134564" y="4556626"/>
                  <a:pt x="1135165" y="4557400"/>
                </a:cubicBezTo>
                <a:cubicBezTo>
                  <a:pt x="1133663" y="4558839"/>
                  <a:pt x="1130356" y="4559946"/>
                  <a:pt x="1128552" y="4561274"/>
                </a:cubicBezTo>
                <a:cubicBezTo>
                  <a:pt x="1128552" y="4561274"/>
                  <a:pt x="1128552" y="4561274"/>
                  <a:pt x="1127049" y="4559614"/>
                </a:cubicBezTo>
                <a:cubicBezTo>
                  <a:pt x="1129454" y="4559835"/>
                  <a:pt x="1130957" y="4556515"/>
                  <a:pt x="1133062" y="4556294"/>
                </a:cubicBezTo>
                <a:close/>
                <a:moveTo>
                  <a:pt x="5409007" y="4554744"/>
                </a:moveTo>
                <a:cubicBezTo>
                  <a:pt x="5413818" y="4557732"/>
                  <a:pt x="5415921" y="4560167"/>
                  <a:pt x="5416522" y="4562159"/>
                </a:cubicBezTo>
                <a:cubicBezTo>
                  <a:pt x="5416822" y="4564262"/>
                  <a:pt x="5415621" y="4565701"/>
                  <a:pt x="5413517" y="4566697"/>
                </a:cubicBezTo>
                <a:cubicBezTo>
                  <a:pt x="5406903" y="4569906"/>
                  <a:pt x="5392774" y="4566807"/>
                  <a:pt x="5409007" y="4554744"/>
                </a:cubicBezTo>
                <a:close/>
                <a:moveTo>
                  <a:pt x="2644252" y="4554744"/>
                </a:moveTo>
                <a:cubicBezTo>
                  <a:pt x="2649363" y="4557732"/>
                  <a:pt x="2651467" y="4560167"/>
                  <a:pt x="2652068" y="4562159"/>
                </a:cubicBezTo>
                <a:cubicBezTo>
                  <a:pt x="2652369" y="4564262"/>
                  <a:pt x="2651167" y="4565701"/>
                  <a:pt x="2649062" y="4566697"/>
                </a:cubicBezTo>
                <a:cubicBezTo>
                  <a:pt x="2642449" y="4569906"/>
                  <a:pt x="2628019" y="4566807"/>
                  <a:pt x="2644252" y="4554744"/>
                </a:cubicBezTo>
                <a:close/>
                <a:moveTo>
                  <a:pt x="1615247" y="4554744"/>
                </a:moveTo>
                <a:cubicBezTo>
                  <a:pt x="1620057" y="4557732"/>
                  <a:pt x="1622462" y="4560167"/>
                  <a:pt x="1622763" y="4562159"/>
                </a:cubicBezTo>
                <a:cubicBezTo>
                  <a:pt x="1623364" y="4564262"/>
                  <a:pt x="1622162" y="4565701"/>
                  <a:pt x="1620057" y="4566697"/>
                </a:cubicBezTo>
                <a:cubicBezTo>
                  <a:pt x="1613444" y="4569906"/>
                  <a:pt x="1599015" y="4566807"/>
                  <a:pt x="1615247" y="4554744"/>
                </a:cubicBezTo>
                <a:close/>
                <a:moveTo>
                  <a:pt x="3641392" y="4554523"/>
                </a:moveTo>
                <a:cubicBezTo>
                  <a:pt x="3643797" y="4554302"/>
                  <a:pt x="3646201" y="4554412"/>
                  <a:pt x="3648306" y="4554523"/>
                </a:cubicBezTo>
                <a:cubicBezTo>
                  <a:pt x="3652815" y="4554855"/>
                  <a:pt x="3656422" y="4555519"/>
                  <a:pt x="3657324" y="4555630"/>
                </a:cubicBezTo>
                <a:cubicBezTo>
                  <a:pt x="3657324" y="4557068"/>
                  <a:pt x="3657023" y="4557068"/>
                  <a:pt x="3657023" y="4557068"/>
                </a:cubicBezTo>
                <a:cubicBezTo>
                  <a:pt x="3652214" y="4555519"/>
                  <a:pt x="3646502" y="4558728"/>
                  <a:pt x="3640489" y="4558839"/>
                </a:cubicBezTo>
                <a:cubicBezTo>
                  <a:pt x="3638686" y="4558839"/>
                  <a:pt x="3636582" y="4558396"/>
                  <a:pt x="3634477" y="4557400"/>
                </a:cubicBezTo>
                <a:cubicBezTo>
                  <a:pt x="3634477" y="4557400"/>
                  <a:pt x="3634477" y="4557511"/>
                  <a:pt x="3636281" y="4557622"/>
                </a:cubicBezTo>
                <a:cubicBezTo>
                  <a:pt x="3636281" y="4557622"/>
                  <a:pt x="3634477" y="4557400"/>
                  <a:pt x="3634477" y="4555962"/>
                </a:cubicBezTo>
                <a:cubicBezTo>
                  <a:pt x="3636582" y="4555076"/>
                  <a:pt x="3638987" y="4554744"/>
                  <a:pt x="3641392" y="4554523"/>
                </a:cubicBezTo>
                <a:close/>
                <a:moveTo>
                  <a:pt x="2132306" y="4554523"/>
                </a:moveTo>
                <a:cubicBezTo>
                  <a:pt x="2134711" y="4554302"/>
                  <a:pt x="2137115" y="4554412"/>
                  <a:pt x="2139219" y="4554523"/>
                </a:cubicBezTo>
                <a:cubicBezTo>
                  <a:pt x="2143729" y="4554855"/>
                  <a:pt x="2147336" y="4555519"/>
                  <a:pt x="2148238" y="4555630"/>
                </a:cubicBezTo>
                <a:cubicBezTo>
                  <a:pt x="2148238" y="4557068"/>
                  <a:pt x="2148238" y="4557068"/>
                  <a:pt x="2148238" y="4557068"/>
                </a:cubicBezTo>
                <a:cubicBezTo>
                  <a:pt x="2143428" y="4555519"/>
                  <a:pt x="2137416" y="4558618"/>
                  <a:pt x="2131403" y="4558728"/>
                </a:cubicBezTo>
                <a:cubicBezTo>
                  <a:pt x="2129600" y="4558728"/>
                  <a:pt x="2127495" y="4558396"/>
                  <a:pt x="2125391" y="4557400"/>
                </a:cubicBezTo>
                <a:cubicBezTo>
                  <a:pt x="2125391" y="4557400"/>
                  <a:pt x="2125391" y="4557511"/>
                  <a:pt x="2127195" y="4557622"/>
                </a:cubicBezTo>
                <a:cubicBezTo>
                  <a:pt x="2127195" y="4557622"/>
                  <a:pt x="2125691" y="4557400"/>
                  <a:pt x="2125691" y="4555962"/>
                </a:cubicBezTo>
                <a:cubicBezTo>
                  <a:pt x="2127796" y="4555076"/>
                  <a:pt x="2129901" y="4554744"/>
                  <a:pt x="2132306" y="4554523"/>
                </a:cubicBezTo>
                <a:close/>
                <a:moveTo>
                  <a:pt x="1103301" y="4554523"/>
                </a:moveTo>
                <a:cubicBezTo>
                  <a:pt x="1105706" y="4554302"/>
                  <a:pt x="1108111" y="4554412"/>
                  <a:pt x="1110214" y="4554523"/>
                </a:cubicBezTo>
                <a:cubicBezTo>
                  <a:pt x="1114724" y="4554855"/>
                  <a:pt x="1118331" y="4555519"/>
                  <a:pt x="1119234" y="4555630"/>
                </a:cubicBezTo>
                <a:cubicBezTo>
                  <a:pt x="1118933" y="4557068"/>
                  <a:pt x="1119234" y="4557068"/>
                  <a:pt x="1119234" y="4557068"/>
                </a:cubicBezTo>
                <a:cubicBezTo>
                  <a:pt x="1114423" y="4555519"/>
                  <a:pt x="1108411" y="4558618"/>
                  <a:pt x="1102399" y="4558728"/>
                </a:cubicBezTo>
                <a:cubicBezTo>
                  <a:pt x="1100295" y="4558728"/>
                  <a:pt x="1098491" y="4558396"/>
                  <a:pt x="1096386" y="4557400"/>
                </a:cubicBezTo>
                <a:cubicBezTo>
                  <a:pt x="1096386" y="4557400"/>
                  <a:pt x="1096386" y="4557511"/>
                  <a:pt x="1097890" y="4557622"/>
                </a:cubicBezTo>
                <a:cubicBezTo>
                  <a:pt x="1097890" y="4557622"/>
                  <a:pt x="1096386" y="4557400"/>
                  <a:pt x="1096386" y="4555962"/>
                </a:cubicBezTo>
                <a:cubicBezTo>
                  <a:pt x="1098491" y="4555076"/>
                  <a:pt x="1100896" y="4554744"/>
                  <a:pt x="1103301" y="4554523"/>
                </a:cubicBezTo>
                <a:close/>
                <a:moveTo>
                  <a:pt x="6036991" y="4553416"/>
                </a:moveTo>
                <a:cubicBezTo>
                  <a:pt x="6035789" y="4564373"/>
                  <a:pt x="6013243" y="4577321"/>
                  <a:pt x="6006629" y="4575772"/>
                </a:cubicBezTo>
                <a:cubicBezTo>
                  <a:pt x="6008734" y="4569463"/>
                  <a:pt x="6015046" y="4567471"/>
                  <a:pt x="6018655" y="4560388"/>
                </a:cubicBezTo>
                <a:cubicBezTo>
                  <a:pt x="6024366" y="4560610"/>
                  <a:pt x="6029175" y="4552752"/>
                  <a:pt x="6036991" y="4553416"/>
                </a:cubicBezTo>
                <a:close/>
                <a:moveTo>
                  <a:pt x="2243232" y="4553416"/>
                </a:moveTo>
                <a:cubicBezTo>
                  <a:pt x="2242029" y="4564373"/>
                  <a:pt x="2219483" y="4577321"/>
                  <a:pt x="2212870" y="4575772"/>
                </a:cubicBezTo>
                <a:cubicBezTo>
                  <a:pt x="2214975" y="4569463"/>
                  <a:pt x="2221588" y="4567471"/>
                  <a:pt x="2224895" y="4560388"/>
                </a:cubicBezTo>
                <a:cubicBezTo>
                  <a:pt x="2230606" y="4560610"/>
                  <a:pt x="2235416" y="4552752"/>
                  <a:pt x="2243232" y="4553416"/>
                </a:cubicBezTo>
                <a:close/>
                <a:moveTo>
                  <a:pt x="1293891" y="4553416"/>
                </a:moveTo>
                <a:cubicBezTo>
                  <a:pt x="1297498" y="4562159"/>
                  <a:pt x="1293891" y="4562159"/>
                  <a:pt x="1286075" y="4563709"/>
                </a:cubicBezTo>
                <a:cubicBezTo>
                  <a:pt x="1284271" y="4557732"/>
                  <a:pt x="1287277" y="4555630"/>
                  <a:pt x="1293891" y="4553416"/>
                </a:cubicBezTo>
                <a:close/>
                <a:moveTo>
                  <a:pt x="5246675" y="4552531"/>
                </a:moveTo>
                <a:cubicBezTo>
                  <a:pt x="5248479" y="4562381"/>
                  <a:pt x="5256294" y="4565369"/>
                  <a:pt x="5250883" y="4571013"/>
                </a:cubicBezTo>
                <a:cubicBezTo>
                  <a:pt x="5244570" y="4568799"/>
                  <a:pt x="5242166" y="4556736"/>
                  <a:pt x="5246675" y="4552531"/>
                </a:cubicBezTo>
                <a:close/>
                <a:moveTo>
                  <a:pt x="2482221" y="4552531"/>
                </a:moveTo>
                <a:cubicBezTo>
                  <a:pt x="2484024" y="4562381"/>
                  <a:pt x="2491840" y="4565369"/>
                  <a:pt x="2486429" y="4571013"/>
                </a:cubicBezTo>
                <a:cubicBezTo>
                  <a:pt x="2480116" y="4568799"/>
                  <a:pt x="2477411" y="4556736"/>
                  <a:pt x="2482221" y="4552531"/>
                </a:cubicBezTo>
                <a:close/>
                <a:moveTo>
                  <a:pt x="1452916" y="4552531"/>
                </a:moveTo>
                <a:cubicBezTo>
                  <a:pt x="1454720" y="4562381"/>
                  <a:pt x="1462535" y="4565369"/>
                  <a:pt x="1457425" y="4571013"/>
                </a:cubicBezTo>
                <a:cubicBezTo>
                  <a:pt x="1450811" y="4568799"/>
                  <a:pt x="1448406" y="4556736"/>
                  <a:pt x="1452916" y="4552531"/>
                </a:cubicBezTo>
                <a:close/>
                <a:moveTo>
                  <a:pt x="4352947" y="4550981"/>
                </a:moveTo>
                <a:cubicBezTo>
                  <a:pt x="4355052" y="4550760"/>
                  <a:pt x="4357155" y="4550981"/>
                  <a:pt x="4359260" y="4551313"/>
                </a:cubicBezTo>
                <a:cubicBezTo>
                  <a:pt x="4383309" y="4556294"/>
                  <a:pt x="4398942" y="4605210"/>
                  <a:pt x="4401646" y="4632546"/>
                </a:cubicBezTo>
                <a:lnTo>
                  <a:pt x="4401948" y="4637194"/>
                </a:lnTo>
                <a:lnTo>
                  <a:pt x="4403450" y="4638080"/>
                </a:lnTo>
                <a:lnTo>
                  <a:pt x="4409463" y="4649368"/>
                </a:lnTo>
                <a:lnTo>
                  <a:pt x="4411266" y="4636530"/>
                </a:lnTo>
                <a:cubicBezTo>
                  <a:pt x="4415776" y="4622364"/>
                  <a:pt x="4426899" y="4612404"/>
                  <a:pt x="4440125" y="4614396"/>
                </a:cubicBezTo>
                <a:cubicBezTo>
                  <a:pt x="4445836" y="4615835"/>
                  <a:pt x="4450046" y="4618491"/>
                  <a:pt x="4452751" y="4621700"/>
                </a:cubicBezTo>
                <a:lnTo>
                  <a:pt x="4455156" y="4628562"/>
                </a:lnTo>
                <a:lnTo>
                  <a:pt x="4458463" y="4632989"/>
                </a:lnTo>
                <a:cubicBezTo>
                  <a:pt x="4458463" y="4632989"/>
                  <a:pt x="4458463" y="4632878"/>
                  <a:pt x="4457862" y="4631550"/>
                </a:cubicBezTo>
                <a:lnTo>
                  <a:pt x="4461769" y="4623692"/>
                </a:lnTo>
                <a:lnTo>
                  <a:pt x="4459364" y="4622586"/>
                </a:lnTo>
                <a:lnTo>
                  <a:pt x="4462671" y="4621590"/>
                </a:lnTo>
                <a:lnTo>
                  <a:pt x="4464775" y="4617052"/>
                </a:lnTo>
                <a:cubicBezTo>
                  <a:pt x="4467481" y="4612404"/>
                  <a:pt x="4470187" y="4608752"/>
                  <a:pt x="4472592" y="4608420"/>
                </a:cubicBezTo>
                <a:cubicBezTo>
                  <a:pt x="4473193" y="4609748"/>
                  <a:pt x="4473794" y="4611076"/>
                  <a:pt x="4472892" y="4613179"/>
                </a:cubicBezTo>
                <a:cubicBezTo>
                  <a:pt x="4472291" y="4615171"/>
                  <a:pt x="4471390" y="4613843"/>
                  <a:pt x="4471991" y="4615171"/>
                </a:cubicBezTo>
                <a:cubicBezTo>
                  <a:pt x="4471089" y="4617274"/>
                  <a:pt x="4472592" y="4616609"/>
                  <a:pt x="4472592" y="4616609"/>
                </a:cubicBezTo>
                <a:cubicBezTo>
                  <a:pt x="4472592" y="4616609"/>
                  <a:pt x="4471089" y="4617274"/>
                  <a:pt x="4471089" y="4617274"/>
                </a:cubicBezTo>
                <a:cubicBezTo>
                  <a:pt x="4471089" y="4617274"/>
                  <a:pt x="4471089" y="4617274"/>
                  <a:pt x="4471089" y="4617716"/>
                </a:cubicBezTo>
                <a:lnTo>
                  <a:pt x="4470187" y="4619487"/>
                </a:lnTo>
                <a:lnTo>
                  <a:pt x="4477402" y="4617606"/>
                </a:lnTo>
                <a:cubicBezTo>
                  <a:pt x="4481911" y="4621368"/>
                  <a:pt x="4490027" y="4618048"/>
                  <a:pt x="4496039" y="4623471"/>
                </a:cubicBezTo>
                <a:cubicBezTo>
                  <a:pt x="4492734" y="4627566"/>
                  <a:pt x="4484616" y="4628673"/>
                  <a:pt x="4476801" y="4628009"/>
                </a:cubicBezTo>
                <a:lnTo>
                  <a:pt x="4468684" y="4626570"/>
                </a:lnTo>
                <a:lnTo>
                  <a:pt x="4468684" y="4627234"/>
                </a:lnTo>
                <a:cubicBezTo>
                  <a:pt x="4468684" y="4628673"/>
                  <a:pt x="4468684" y="4629890"/>
                  <a:pt x="4468382" y="4631661"/>
                </a:cubicBezTo>
                <a:cubicBezTo>
                  <a:pt x="4466579" y="4635756"/>
                  <a:pt x="4465377" y="4636420"/>
                  <a:pt x="4462070" y="4641179"/>
                </a:cubicBezTo>
                <a:cubicBezTo>
                  <a:pt x="4458463" y="4641179"/>
                  <a:pt x="4458463" y="4641179"/>
                  <a:pt x="4457862" y="4639740"/>
                </a:cubicBezTo>
                <a:cubicBezTo>
                  <a:pt x="4458463" y="4641179"/>
                  <a:pt x="4456959" y="4641843"/>
                  <a:pt x="4456058" y="4643945"/>
                </a:cubicBezTo>
                <a:cubicBezTo>
                  <a:pt x="4455457" y="4648372"/>
                  <a:pt x="4452751" y="4650696"/>
                  <a:pt x="4449445" y="4651692"/>
                </a:cubicBezTo>
                <a:lnTo>
                  <a:pt x="4448844" y="4651692"/>
                </a:lnTo>
                <a:lnTo>
                  <a:pt x="4446137" y="4655012"/>
                </a:lnTo>
                <a:cubicBezTo>
                  <a:pt x="4437420" y="4661210"/>
                  <a:pt x="4424494" y="4662427"/>
                  <a:pt x="4409463" y="4651803"/>
                </a:cubicBezTo>
                <a:lnTo>
                  <a:pt x="4409463" y="4649922"/>
                </a:lnTo>
                <a:lnTo>
                  <a:pt x="4407359" y="4656562"/>
                </a:lnTo>
                <a:cubicBezTo>
                  <a:pt x="4404353" y="4657447"/>
                  <a:pt x="4401646" y="4657005"/>
                  <a:pt x="4399242" y="4655787"/>
                </a:cubicBezTo>
                <a:lnTo>
                  <a:pt x="4396837" y="4653574"/>
                </a:lnTo>
                <a:lnTo>
                  <a:pt x="4396235" y="4657669"/>
                </a:lnTo>
                <a:cubicBezTo>
                  <a:pt x="4391726" y="4657115"/>
                  <a:pt x="4388420" y="4657669"/>
                  <a:pt x="4385112" y="4656230"/>
                </a:cubicBezTo>
                <a:cubicBezTo>
                  <a:pt x="4383910" y="4652246"/>
                  <a:pt x="4384511" y="4649811"/>
                  <a:pt x="4386616" y="4648483"/>
                </a:cubicBezTo>
                <a:lnTo>
                  <a:pt x="4392628" y="4648261"/>
                </a:lnTo>
                <a:lnTo>
                  <a:pt x="4390223" y="4642175"/>
                </a:lnTo>
                <a:cubicBezTo>
                  <a:pt x="4389922" y="4639408"/>
                  <a:pt x="4389922" y="4636862"/>
                  <a:pt x="4391125" y="4634760"/>
                </a:cubicBezTo>
                <a:lnTo>
                  <a:pt x="4395033" y="4634760"/>
                </a:lnTo>
                <a:lnTo>
                  <a:pt x="4385414" y="4623914"/>
                </a:lnTo>
                <a:cubicBezTo>
                  <a:pt x="4367977" y="4602886"/>
                  <a:pt x="4349340" y="4576214"/>
                  <a:pt x="4346634" y="4552752"/>
                </a:cubicBezTo>
                <a:cubicBezTo>
                  <a:pt x="4349039" y="4551756"/>
                  <a:pt x="4350842" y="4551203"/>
                  <a:pt x="4352947" y="4550981"/>
                </a:cubicBezTo>
                <a:close/>
                <a:moveTo>
                  <a:pt x="5860530" y="4549875"/>
                </a:moveTo>
                <a:cubicBezTo>
                  <a:pt x="5861131" y="4551092"/>
                  <a:pt x="5861433" y="4552641"/>
                  <a:pt x="5860831" y="4554412"/>
                </a:cubicBezTo>
                <a:cubicBezTo>
                  <a:pt x="5859328" y="4559614"/>
                  <a:pt x="5853617" y="4566365"/>
                  <a:pt x="5849708" y="4569131"/>
                </a:cubicBezTo>
                <a:cubicBezTo>
                  <a:pt x="5847003" y="4564262"/>
                  <a:pt x="5855720" y="4553637"/>
                  <a:pt x="5860530" y="4549875"/>
                </a:cubicBezTo>
                <a:close/>
                <a:moveTo>
                  <a:pt x="3096076" y="4549875"/>
                </a:moveTo>
                <a:cubicBezTo>
                  <a:pt x="3096677" y="4551092"/>
                  <a:pt x="3096677" y="4552641"/>
                  <a:pt x="3096377" y="4554412"/>
                </a:cubicBezTo>
                <a:cubicBezTo>
                  <a:pt x="3094874" y="4559614"/>
                  <a:pt x="3088861" y="4566365"/>
                  <a:pt x="3085254" y="4569131"/>
                </a:cubicBezTo>
                <a:cubicBezTo>
                  <a:pt x="3082549" y="4564262"/>
                  <a:pt x="3090966" y="4553637"/>
                  <a:pt x="3096076" y="4549875"/>
                </a:cubicBezTo>
                <a:close/>
                <a:moveTo>
                  <a:pt x="2067071" y="4549875"/>
                </a:moveTo>
                <a:cubicBezTo>
                  <a:pt x="2067672" y="4551092"/>
                  <a:pt x="2067672" y="4552641"/>
                  <a:pt x="2067071" y="4554412"/>
                </a:cubicBezTo>
                <a:cubicBezTo>
                  <a:pt x="2065569" y="4559614"/>
                  <a:pt x="2059857" y="4566365"/>
                  <a:pt x="2056249" y="4569131"/>
                </a:cubicBezTo>
                <a:cubicBezTo>
                  <a:pt x="2053243" y="4564262"/>
                  <a:pt x="2061961" y="4553637"/>
                  <a:pt x="2067071" y="4549875"/>
                </a:cubicBezTo>
                <a:close/>
                <a:moveTo>
                  <a:pt x="5345276" y="4549211"/>
                </a:moveTo>
                <a:cubicBezTo>
                  <a:pt x="5348584" y="4554523"/>
                  <a:pt x="5346479" y="4559835"/>
                  <a:pt x="5341970" y="4563155"/>
                </a:cubicBezTo>
                <a:cubicBezTo>
                  <a:pt x="5337461" y="4566586"/>
                  <a:pt x="5330547" y="4568025"/>
                  <a:pt x="5325737" y="4565811"/>
                </a:cubicBezTo>
                <a:cubicBezTo>
                  <a:pt x="5327841" y="4554302"/>
                  <a:pt x="5331749" y="4547329"/>
                  <a:pt x="5345276" y="4549211"/>
                </a:cubicBezTo>
                <a:close/>
                <a:moveTo>
                  <a:pt x="2580522" y="4549211"/>
                </a:moveTo>
                <a:cubicBezTo>
                  <a:pt x="2584130" y="4554523"/>
                  <a:pt x="2581725" y="4559835"/>
                  <a:pt x="2577215" y="4563155"/>
                </a:cubicBezTo>
                <a:cubicBezTo>
                  <a:pt x="2572705" y="4566586"/>
                  <a:pt x="2566092" y="4568025"/>
                  <a:pt x="2561282" y="4565811"/>
                </a:cubicBezTo>
                <a:cubicBezTo>
                  <a:pt x="2563387" y="4554302"/>
                  <a:pt x="2567294" y="4547329"/>
                  <a:pt x="2580522" y="4549211"/>
                </a:cubicBezTo>
                <a:close/>
                <a:moveTo>
                  <a:pt x="1551517" y="4549211"/>
                </a:moveTo>
                <a:cubicBezTo>
                  <a:pt x="1555125" y="4554523"/>
                  <a:pt x="1552720" y="4559835"/>
                  <a:pt x="1548210" y="4563155"/>
                </a:cubicBezTo>
                <a:cubicBezTo>
                  <a:pt x="1543702" y="4566586"/>
                  <a:pt x="1537088" y="4568025"/>
                  <a:pt x="1532277" y="4565811"/>
                </a:cubicBezTo>
                <a:cubicBezTo>
                  <a:pt x="1534082" y="4554302"/>
                  <a:pt x="1537990" y="4547329"/>
                  <a:pt x="1551517" y="4549211"/>
                </a:cubicBezTo>
                <a:close/>
                <a:moveTo>
                  <a:pt x="5876763" y="4545558"/>
                </a:moveTo>
                <a:cubicBezTo>
                  <a:pt x="5879470" y="4545780"/>
                  <a:pt x="5882175" y="4547108"/>
                  <a:pt x="5884880" y="4549211"/>
                </a:cubicBezTo>
                <a:cubicBezTo>
                  <a:pt x="5884279" y="4553527"/>
                  <a:pt x="5878868" y="4558175"/>
                  <a:pt x="5874059" y="4557179"/>
                </a:cubicBezTo>
                <a:cubicBezTo>
                  <a:pt x="5869850" y="4553416"/>
                  <a:pt x="5871953" y="4550871"/>
                  <a:pt x="5868948" y="4548768"/>
                </a:cubicBezTo>
                <a:cubicBezTo>
                  <a:pt x="5871653" y="4546444"/>
                  <a:pt x="5874359" y="4545448"/>
                  <a:pt x="5876763" y="4545558"/>
                </a:cubicBezTo>
                <a:close/>
                <a:moveTo>
                  <a:pt x="2294036" y="4544784"/>
                </a:moveTo>
                <a:cubicBezTo>
                  <a:pt x="2300949" y="4546333"/>
                  <a:pt x="2308465" y="4553084"/>
                  <a:pt x="2312674" y="4558064"/>
                </a:cubicBezTo>
                <a:cubicBezTo>
                  <a:pt x="2310870" y="4561716"/>
                  <a:pt x="2313275" y="4564262"/>
                  <a:pt x="2311471" y="4567914"/>
                </a:cubicBezTo>
                <a:cubicBezTo>
                  <a:pt x="2299146" y="4561384"/>
                  <a:pt x="2285619" y="4555187"/>
                  <a:pt x="2287122" y="4545226"/>
                </a:cubicBezTo>
                <a:cubicBezTo>
                  <a:pt x="2289226" y="4544341"/>
                  <a:pt x="2291631" y="4544341"/>
                  <a:pt x="2294036" y="4544784"/>
                </a:cubicBezTo>
                <a:close/>
                <a:moveTo>
                  <a:pt x="1264731" y="4544784"/>
                </a:moveTo>
                <a:cubicBezTo>
                  <a:pt x="1271946" y="4546333"/>
                  <a:pt x="1279460" y="4553084"/>
                  <a:pt x="1283670" y="4558064"/>
                </a:cubicBezTo>
                <a:cubicBezTo>
                  <a:pt x="1281865" y="4561716"/>
                  <a:pt x="1284271" y="4564262"/>
                  <a:pt x="1282466" y="4567914"/>
                </a:cubicBezTo>
                <a:cubicBezTo>
                  <a:pt x="1270142" y="4561384"/>
                  <a:pt x="1256614" y="4555187"/>
                  <a:pt x="1257817" y="4545226"/>
                </a:cubicBezTo>
                <a:cubicBezTo>
                  <a:pt x="1259920" y="4544341"/>
                  <a:pt x="1262326" y="4544341"/>
                  <a:pt x="1264731" y="4544784"/>
                </a:cubicBezTo>
                <a:close/>
                <a:moveTo>
                  <a:pt x="2208661" y="4542460"/>
                </a:moveTo>
                <a:cubicBezTo>
                  <a:pt x="2209864" y="4542349"/>
                  <a:pt x="2211066" y="4542460"/>
                  <a:pt x="2211367" y="4542902"/>
                </a:cubicBezTo>
                <a:cubicBezTo>
                  <a:pt x="2208961" y="4546001"/>
                  <a:pt x="2204453" y="4551313"/>
                  <a:pt x="2200544" y="4552420"/>
                </a:cubicBezTo>
                <a:cubicBezTo>
                  <a:pt x="2199342" y="4552752"/>
                  <a:pt x="2198139" y="4552531"/>
                  <a:pt x="2196937" y="4551645"/>
                </a:cubicBezTo>
                <a:cubicBezTo>
                  <a:pt x="2195435" y="4550096"/>
                  <a:pt x="2196937" y="4548768"/>
                  <a:pt x="2196937" y="4547329"/>
                </a:cubicBezTo>
                <a:cubicBezTo>
                  <a:pt x="2198441" y="4545226"/>
                  <a:pt x="2204754" y="4542792"/>
                  <a:pt x="2208661" y="4542460"/>
                </a:cubicBezTo>
                <a:close/>
                <a:moveTo>
                  <a:pt x="1179356" y="4542460"/>
                </a:moveTo>
                <a:cubicBezTo>
                  <a:pt x="1180859" y="4542349"/>
                  <a:pt x="1181761" y="4542460"/>
                  <a:pt x="1182061" y="4542902"/>
                </a:cubicBezTo>
                <a:cubicBezTo>
                  <a:pt x="1179656" y="4546001"/>
                  <a:pt x="1175448" y="4551313"/>
                  <a:pt x="1171540" y="4552420"/>
                </a:cubicBezTo>
                <a:cubicBezTo>
                  <a:pt x="1170338" y="4552752"/>
                  <a:pt x="1168834" y="4552531"/>
                  <a:pt x="1167933" y="4551645"/>
                </a:cubicBezTo>
                <a:cubicBezTo>
                  <a:pt x="1166430" y="4550096"/>
                  <a:pt x="1167933" y="4548768"/>
                  <a:pt x="1167933" y="4547329"/>
                </a:cubicBezTo>
                <a:cubicBezTo>
                  <a:pt x="1169136" y="4545226"/>
                  <a:pt x="1175749" y="4542792"/>
                  <a:pt x="1179356" y="4542460"/>
                </a:cubicBezTo>
                <a:close/>
                <a:moveTo>
                  <a:pt x="6338507" y="4538808"/>
                </a:moveTo>
                <a:cubicBezTo>
                  <a:pt x="6340313" y="4538476"/>
                  <a:pt x="6342416" y="4538697"/>
                  <a:pt x="6344220" y="4539472"/>
                </a:cubicBezTo>
                <a:cubicBezTo>
                  <a:pt x="6344521" y="4540578"/>
                  <a:pt x="6345122" y="4541685"/>
                  <a:pt x="6345724" y="4543013"/>
                </a:cubicBezTo>
                <a:cubicBezTo>
                  <a:pt x="6346325" y="4544341"/>
                  <a:pt x="6346625" y="4545780"/>
                  <a:pt x="6346625" y="4547551"/>
                </a:cubicBezTo>
                <a:cubicBezTo>
                  <a:pt x="6341214" y="4553748"/>
                  <a:pt x="6335502" y="4554523"/>
                  <a:pt x="6329791" y="4551977"/>
                </a:cubicBezTo>
                <a:cubicBezTo>
                  <a:pt x="6327987" y="4545890"/>
                  <a:pt x="6332796" y="4540025"/>
                  <a:pt x="6338507" y="4538808"/>
                </a:cubicBezTo>
                <a:close/>
                <a:moveTo>
                  <a:pt x="2545049" y="4538808"/>
                </a:moveTo>
                <a:cubicBezTo>
                  <a:pt x="2546853" y="4538476"/>
                  <a:pt x="2548657" y="4538697"/>
                  <a:pt x="2550460" y="4539472"/>
                </a:cubicBezTo>
                <a:cubicBezTo>
                  <a:pt x="2550761" y="4540578"/>
                  <a:pt x="2551362" y="4541685"/>
                  <a:pt x="2551964" y="4543013"/>
                </a:cubicBezTo>
                <a:cubicBezTo>
                  <a:pt x="2552564" y="4544341"/>
                  <a:pt x="2553166" y="4545780"/>
                  <a:pt x="2553166" y="4547551"/>
                </a:cubicBezTo>
                <a:cubicBezTo>
                  <a:pt x="2547754" y="4553748"/>
                  <a:pt x="2541742" y="4554523"/>
                  <a:pt x="2536031" y="4551977"/>
                </a:cubicBezTo>
                <a:cubicBezTo>
                  <a:pt x="2534228" y="4545890"/>
                  <a:pt x="2539337" y="4540025"/>
                  <a:pt x="2545049" y="4538808"/>
                </a:cubicBezTo>
                <a:close/>
                <a:moveTo>
                  <a:pt x="5823555" y="4538476"/>
                </a:moveTo>
                <a:cubicBezTo>
                  <a:pt x="5825359" y="4538476"/>
                  <a:pt x="5826861" y="4539250"/>
                  <a:pt x="5827162" y="4540025"/>
                </a:cubicBezTo>
                <a:cubicBezTo>
                  <a:pt x="5825960" y="4541906"/>
                  <a:pt x="5822653" y="4542902"/>
                  <a:pt x="5821450" y="4544894"/>
                </a:cubicBezTo>
                <a:cubicBezTo>
                  <a:pt x="5821150" y="4543456"/>
                  <a:pt x="5819046" y="4542570"/>
                  <a:pt x="5818746" y="4541132"/>
                </a:cubicBezTo>
                <a:cubicBezTo>
                  <a:pt x="5819948" y="4539140"/>
                  <a:pt x="5822051" y="4538476"/>
                  <a:pt x="5823555" y="4538476"/>
                </a:cubicBezTo>
                <a:close/>
                <a:moveTo>
                  <a:pt x="3059101" y="4538476"/>
                </a:moveTo>
                <a:cubicBezTo>
                  <a:pt x="3060603" y="4538476"/>
                  <a:pt x="3062107" y="4539250"/>
                  <a:pt x="3062408" y="4540025"/>
                </a:cubicBezTo>
                <a:cubicBezTo>
                  <a:pt x="3061206" y="4541906"/>
                  <a:pt x="3058198" y="4542902"/>
                  <a:pt x="3056996" y="4544894"/>
                </a:cubicBezTo>
                <a:cubicBezTo>
                  <a:pt x="3056696" y="4543456"/>
                  <a:pt x="3054591" y="4542570"/>
                  <a:pt x="3054291" y="4541132"/>
                </a:cubicBezTo>
                <a:cubicBezTo>
                  <a:pt x="3055493" y="4539140"/>
                  <a:pt x="3057297" y="4538476"/>
                  <a:pt x="3059101" y="4538476"/>
                </a:cubicBezTo>
                <a:close/>
                <a:moveTo>
                  <a:pt x="2029796" y="4538476"/>
                </a:moveTo>
                <a:cubicBezTo>
                  <a:pt x="2031599" y="4538476"/>
                  <a:pt x="2033102" y="4539250"/>
                  <a:pt x="2033403" y="4540025"/>
                </a:cubicBezTo>
                <a:cubicBezTo>
                  <a:pt x="2032201" y="4541906"/>
                  <a:pt x="2029195" y="4542902"/>
                  <a:pt x="2027992" y="4544894"/>
                </a:cubicBezTo>
                <a:cubicBezTo>
                  <a:pt x="2027391" y="4543456"/>
                  <a:pt x="2025587" y="4542570"/>
                  <a:pt x="2024986" y="4541132"/>
                </a:cubicBezTo>
                <a:cubicBezTo>
                  <a:pt x="2026189" y="4539140"/>
                  <a:pt x="2028292" y="4538476"/>
                  <a:pt x="2029796" y="4538476"/>
                </a:cubicBezTo>
                <a:close/>
                <a:moveTo>
                  <a:pt x="3587281" y="4538365"/>
                </a:moveTo>
                <a:cubicBezTo>
                  <a:pt x="3589986" y="4537811"/>
                  <a:pt x="3592692" y="4537922"/>
                  <a:pt x="3596601" y="4539250"/>
                </a:cubicBezTo>
                <a:cubicBezTo>
                  <a:pt x="3600208" y="4544784"/>
                  <a:pt x="3600208" y="4549432"/>
                  <a:pt x="3596299" y="4556736"/>
                </a:cubicBezTo>
                <a:cubicBezTo>
                  <a:pt x="3590888" y="4558175"/>
                  <a:pt x="3582772" y="4554191"/>
                  <a:pt x="3580668" y="4548547"/>
                </a:cubicBezTo>
                <a:cubicBezTo>
                  <a:pt x="3575858" y="4553305"/>
                  <a:pt x="3570446" y="4554302"/>
                  <a:pt x="3565336" y="4551977"/>
                </a:cubicBezTo>
                <a:cubicBezTo>
                  <a:pt x="3563231" y="4545890"/>
                  <a:pt x="3568342" y="4540025"/>
                  <a:pt x="3574054" y="4538808"/>
                </a:cubicBezTo>
                <a:cubicBezTo>
                  <a:pt x="3575858" y="4538476"/>
                  <a:pt x="3577662" y="4538697"/>
                  <a:pt x="3579465" y="4539472"/>
                </a:cubicBezTo>
                <a:cubicBezTo>
                  <a:pt x="3579765" y="4540357"/>
                  <a:pt x="3580367" y="4541464"/>
                  <a:pt x="3580968" y="4542570"/>
                </a:cubicBezTo>
                <a:cubicBezTo>
                  <a:pt x="3580968" y="4542238"/>
                  <a:pt x="3580968" y="4541906"/>
                  <a:pt x="3580968" y="4541574"/>
                </a:cubicBezTo>
                <a:cubicBezTo>
                  <a:pt x="3583073" y="4540246"/>
                  <a:pt x="3584876" y="4539029"/>
                  <a:pt x="3587281" y="4538365"/>
                </a:cubicBezTo>
                <a:close/>
                <a:moveTo>
                  <a:pt x="2078495" y="4538365"/>
                </a:moveTo>
                <a:cubicBezTo>
                  <a:pt x="2080900" y="4537811"/>
                  <a:pt x="2083605" y="4537922"/>
                  <a:pt x="2087514" y="4539250"/>
                </a:cubicBezTo>
                <a:cubicBezTo>
                  <a:pt x="2089317" y="4542017"/>
                  <a:pt x="2090220" y="4544562"/>
                  <a:pt x="2090220" y="4547329"/>
                </a:cubicBezTo>
                <a:lnTo>
                  <a:pt x="2089918" y="4548547"/>
                </a:lnTo>
                <a:lnTo>
                  <a:pt x="2091422" y="4549211"/>
                </a:lnTo>
                <a:lnTo>
                  <a:pt x="2087814" y="4554412"/>
                </a:lnTo>
                <a:lnTo>
                  <a:pt x="2087214" y="4556736"/>
                </a:lnTo>
                <a:lnTo>
                  <a:pt x="2083004" y="4556515"/>
                </a:lnTo>
                <a:lnTo>
                  <a:pt x="2080599" y="4557179"/>
                </a:lnTo>
                <a:lnTo>
                  <a:pt x="2079698" y="4555740"/>
                </a:lnTo>
                <a:lnTo>
                  <a:pt x="2074888" y="4553305"/>
                </a:lnTo>
                <a:cubicBezTo>
                  <a:pt x="2071581" y="4550428"/>
                  <a:pt x="2069477" y="4546112"/>
                  <a:pt x="2071882" y="4541574"/>
                </a:cubicBezTo>
                <a:cubicBezTo>
                  <a:pt x="2073986" y="4540246"/>
                  <a:pt x="2075789" y="4539029"/>
                  <a:pt x="2078495" y="4538365"/>
                </a:cubicBezTo>
                <a:close/>
                <a:moveTo>
                  <a:pt x="1049189" y="4538365"/>
                </a:moveTo>
                <a:cubicBezTo>
                  <a:pt x="1051594" y="4537811"/>
                  <a:pt x="1054601" y="4537922"/>
                  <a:pt x="1058209" y="4539250"/>
                </a:cubicBezTo>
                <a:cubicBezTo>
                  <a:pt x="1061816" y="4544784"/>
                  <a:pt x="1062116" y="4549432"/>
                  <a:pt x="1058209" y="4556736"/>
                </a:cubicBezTo>
                <a:cubicBezTo>
                  <a:pt x="1050693" y="4558618"/>
                  <a:pt x="1038067" y="4550649"/>
                  <a:pt x="1042877" y="4541574"/>
                </a:cubicBezTo>
                <a:cubicBezTo>
                  <a:pt x="1044981" y="4540246"/>
                  <a:pt x="1046785" y="4539029"/>
                  <a:pt x="1049189" y="4538365"/>
                </a:cubicBezTo>
                <a:close/>
                <a:moveTo>
                  <a:pt x="2695357" y="4535266"/>
                </a:moveTo>
                <a:cubicBezTo>
                  <a:pt x="2716099" y="4540800"/>
                  <a:pt x="2718504" y="4559724"/>
                  <a:pt x="2711591" y="4579313"/>
                </a:cubicBezTo>
                <a:cubicBezTo>
                  <a:pt x="2700166" y="4611961"/>
                  <a:pt x="2662890" y="4646601"/>
                  <a:pt x="2640645" y="4625131"/>
                </a:cubicBezTo>
                <a:cubicBezTo>
                  <a:pt x="2646957" y="4593701"/>
                  <a:pt x="2660786" y="4560942"/>
                  <a:pt x="2695357" y="4535266"/>
                </a:cubicBezTo>
                <a:close/>
                <a:moveTo>
                  <a:pt x="5197375" y="4534049"/>
                </a:moveTo>
                <a:cubicBezTo>
                  <a:pt x="5200981" y="4535266"/>
                  <a:pt x="5203687" y="4538918"/>
                  <a:pt x="5204288" y="4542681"/>
                </a:cubicBezTo>
                <a:cubicBezTo>
                  <a:pt x="5204889" y="4545226"/>
                  <a:pt x="5204589" y="4547772"/>
                  <a:pt x="5203086" y="4549985"/>
                </a:cubicBezTo>
                <a:cubicBezTo>
                  <a:pt x="5200981" y="4552973"/>
                  <a:pt x="5197074" y="4555076"/>
                  <a:pt x="5190761" y="4554855"/>
                </a:cubicBezTo>
                <a:cubicBezTo>
                  <a:pt x="5185049" y="4548989"/>
                  <a:pt x="5185650" y="4544452"/>
                  <a:pt x="5183245" y="4539250"/>
                </a:cubicBezTo>
                <a:cubicBezTo>
                  <a:pt x="5188656" y="4533938"/>
                  <a:pt x="5193466" y="4532721"/>
                  <a:pt x="5197375" y="4534049"/>
                </a:cubicBezTo>
                <a:close/>
                <a:moveTo>
                  <a:pt x="2432619" y="4534049"/>
                </a:moveTo>
                <a:cubicBezTo>
                  <a:pt x="2436527" y="4535266"/>
                  <a:pt x="2439233" y="4538918"/>
                  <a:pt x="2439835" y="4542681"/>
                </a:cubicBezTo>
                <a:cubicBezTo>
                  <a:pt x="2440436" y="4545226"/>
                  <a:pt x="2440135" y="4547772"/>
                  <a:pt x="2438631" y="4549985"/>
                </a:cubicBezTo>
                <a:cubicBezTo>
                  <a:pt x="2436527" y="4552973"/>
                  <a:pt x="2432619" y="4555076"/>
                  <a:pt x="2426006" y="4554855"/>
                </a:cubicBezTo>
                <a:cubicBezTo>
                  <a:pt x="2420595" y="4548989"/>
                  <a:pt x="2421196" y="4544452"/>
                  <a:pt x="2418791" y="4539250"/>
                </a:cubicBezTo>
                <a:cubicBezTo>
                  <a:pt x="2423902" y="4533938"/>
                  <a:pt x="2429012" y="4532721"/>
                  <a:pt x="2432619" y="4534049"/>
                </a:cubicBezTo>
                <a:close/>
                <a:moveTo>
                  <a:pt x="1403615" y="4534049"/>
                </a:moveTo>
                <a:cubicBezTo>
                  <a:pt x="1407523" y="4535266"/>
                  <a:pt x="1409927" y="4538918"/>
                  <a:pt x="1410830" y="4542681"/>
                </a:cubicBezTo>
                <a:cubicBezTo>
                  <a:pt x="1411130" y="4545226"/>
                  <a:pt x="1410830" y="4547772"/>
                  <a:pt x="1409326" y="4549985"/>
                </a:cubicBezTo>
                <a:cubicBezTo>
                  <a:pt x="1407523" y="4552973"/>
                  <a:pt x="1403314" y="4555076"/>
                  <a:pt x="1397002" y="4554855"/>
                </a:cubicBezTo>
                <a:cubicBezTo>
                  <a:pt x="1391290" y="4548989"/>
                  <a:pt x="1392191" y="4544452"/>
                  <a:pt x="1389486" y="4539250"/>
                </a:cubicBezTo>
                <a:cubicBezTo>
                  <a:pt x="1394897" y="4533938"/>
                  <a:pt x="1399707" y="4532721"/>
                  <a:pt x="1403615" y="4534049"/>
                </a:cubicBezTo>
                <a:close/>
                <a:moveTo>
                  <a:pt x="5347382" y="4532721"/>
                </a:moveTo>
                <a:cubicBezTo>
                  <a:pt x="5350086" y="4536373"/>
                  <a:pt x="5353093" y="4538586"/>
                  <a:pt x="5354596" y="4540468"/>
                </a:cubicBezTo>
                <a:cubicBezTo>
                  <a:pt x="5350387" y="4545780"/>
                  <a:pt x="5345578" y="4546112"/>
                  <a:pt x="5341369" y="4540689"/>
                </a:cubicBezTo>
                <a:cubicBezTo>
                  <a:pt x="5344975" y="4538365"/>
                  <a:pt x="5343773" y="4535045"/>
                  <a:pt x="5347382" y="4532721"/>
                </a:cubicBezTo>
                <a:close/>
                <a:moveTo>
                  <a:pt x="2582927" y="4532721"/>
                </a:moveTo>
                <a:cubicBezTo>
                  <a:pt x="2585632" y="4536373"/>
                  <a:pt x="2588338" y="4538586"/>
                  <a:pt x="2589841" y="4540468"/>
                </a:cubicBezTo>
                <a:cubicBezTo>
                  <a:pt x="2585933" y="4545780"/>
                  <a:pt x="2580822" y="4546112"/>
                  <a:pt x="2576914" y="4540689"/>
                </a:cubicBezTo>
                <a:cubicBezTo>
                  <a:pt x="2580522" y="4538365"/>
                  <a:pt x="2579320" y="4535045"/>
                  <a:pt x="2582927" y="4532721"/>
                </a:cubicBezTo>
                <a:close/>
                <a:moveTo>
                  <a:pt x="1553621" y="4532721"/>
                </a:moveTo>
                <a:cubicBezTo>
                  <a:pt x="1556327" y="4536373"/>
                  <a:pt x="1559333" y="4538586"/>
                  <a:pt x="1560837" y="4540468"/>
                </a:cubicBezTo>
                <a:cubicBezTo>
                  <a:pt x="1556628" y="4545780"/>
                  <a:pt x="1551819" y="4546112"/>
                  <a:pt x="1547609" y="4540689"/>
                </a:cubicBezTo>
                <a:cubicBezTo>
                  <a:pt x="1551216" y="4538365"/>
                  <a:pt x="1550014" y="4535045"/>
                  <a:pt x="1553621" y="4532721"/>
                </a:cubicBezTo>
                <a:close/>
                <a:moveTo>
                  <a:pt x="2302153" y="4531282"/>
                </a:moveTo>
                <a:cubicBezTo>
                  <a:pt x="2304858" y="4530839"/>
                  <a:pt x="2308465" y="4534381"/>
                  <a:pt x="2309969" y="4538365"/>
                </a:cubicBezTo>
                <a:cubicBezTo>
                  <a:pt x="2311471" y="4542349"/>
                  <a:pt x="2310570" y="4546887"/>
                  <a:pt x="2304558" y="4548436"/>
                </a:cubicBezTo>
                <a:cubicBezTo>
                  <a:pt x="2302754" y="4548989"/>
                  <a:pt x="2301251" y="4548325"/>
                  <a:pt x="2300048" y="4547108"/>
                </a:cubicBezTo>
                <a:cubicBezTo>
                  <a:pt x="2296441" y="4543345"/>
                  <a:pt x="2295539" y="4533606"/>
                  <a:pt x="2302153" y="4531282"/>
                </a:cubicBezTo>
                <a:close/>
                <a:moveTo>
                  <a:pt x="1272847" y="4531282"/>
                </a:moveTo>
                <a:cubicBezTo>
                  <a:pt x="1275853" y="4530839"/>
                  <a:pt x="1279460" y="4534381"/>
                  <a:pt x="1280964" y="4538365"/>
                </a:cubicBezTo>
                <a:cubicBezTo>
                  <a:pt x="1282166" y="4542349"/>
                  <a:pt x="1281565" y="4546887"/>
                  <a:pt x="1275252" y="4548436"/>
                </a:cubicBezTo>
                <a:cubicBezTo>
                  <a:pt x="1273749" y="4548989"/>
                  <a:pt x="1272246" y="4548325"/>
                  <a:pt x="1271043" y="4547108"/>
                </a:cubicBezTo>
                <a:cubicBezTo>
                  <a:pt x="1267136" y="4543345"/>
                  <a:pt x="1266234" y="4533606"/>
                  <a:pt x="1272847" y="4531282"/>
                </a:cubicBezTo>
                <a:close/>
                <a:moveTo>
                  <a:pt x="5224429" y="4529179"/>
                </a:moveTo>
                <a:cubicBezTo>
                  <a:pt x="5221123" y="4533938"/>
                  <a:pt x="5211803" y="4541464"/>
                  <a:pt x="5210000" y="4540800"/>
                </a:cubicBezTo>
                <a:cubicBezTo>
                  <a:pt x="5212104" y="4538033"/>
                  <a:pt x="5220822" y="4529068"/>
                  <a:pt x="5224429" y="4529179"/>
                </a:cubicBezTo>
                <a:close/>
                <a:moveTo>
                  <a:pt x="2459675" y="4529179"/>
                </a:moveTo>
                <a:cubicBezTo>
                  <a:pt x="2456368" y="4533938"/>
                  <a:pt x="2447349" y="4541464"/>
                  <a:pt x="2445246" y="4540800"/>
                </a:cubicBezTo>
                <a:cubicBezTo>
                  <a:pt x="2447650" y="4538033"/>
                  <a:pt x="2456067" y="4529068"/>
                  <a:pt x="2459675" y="4529179"/>
                </a:cubicBezTo>
                <a:close/>
                <a:moveTo>
                  <a:pt x="1430670" y="4529179"/>
                </a:moveTo>
                <a:cubicBezTo>
                  <a:pt x="1427364" y="4533938"/>
                  <a:pt x="1418344" y="4541464"/>
                  <a:pt x="1416241" y="4540800"/>
                </a:cubicBezTo>
                <a:cubicBezTo>
                  <a:pt x="1418646" y="4538033"/>
                  <a:pt x="1427063" y="4529068"/>
                  <a:pt x="1430670" y="4529179"/>
                </a:cubicBezTo>
                <a:close/>
                <a:moveTo>
                  <a:pt x="6121464" y="4527740"/>
                </a:moveTo>
                <a:cubicBezTo>
                  <a:pt x="6124471" y="4527740"/>
                  <a:pt x="6128078" y="4528626"/>
                  <a:pt x="6132586" y="4532389"/>
                </a:cubicBezTo>
                <a:cubicBezTo>
                  <a:pt x="6141606" y="4541464"/>
                  <a:pt x="6132887" y="4549321"/>
                  <a:pt x="6134691" y="4549543"/>
                </a:cubicBezTo>
                <a:cubicBezTo>
                  <a:pt x="6135894" y="4551313"/>
                  <a:pt x="6135894" y="4551313"/>
                  <a:pt x="6137697" y="4551535"/>
                </a:cubicBezTo>
                <a:cubicBezTo>
                  <a:pt x="6137397" y="4553084"/>
                  <a:pt x="6138900" y="4556404"/>
                  <a:pt x="6140404" y="4558175"/>
                </a:cubicBezTo>
                <a:cubicBezTo>
                  <a:pt x="6138599" y="4557843"/>
                  <a:pt x="6137096" y="4557622"/>
                  <a:pt x="6137096" y="4559171"/>
                </a:cubicBezTo>
                <a:cubicBezTo>
                  <a:pt x="6134090" y="4555630"/>
                  <a:pt x="6134391" y="4554080"/>
                  <a:pt x="6132887" y="4552420"/>
                </a:cubicBezTo>
                <a:cubicBezTo>
                  <a:pt x="6132586" y="4553859"/>
                  <a:pt x="6131084" y="4552199"/>
                  <a:pt x="6131084" y="4552199"/>
                </a:cubicBezTo>
                <a:cubicBezTo>
                  <a:pt x="6131084" y="4552199"/>
                  <a:pt x="6131084" y="4552199"/>
                  <a:pt x="6127777" y="4554744"/>
                </a:cubicBezTo>
                <a:cubicBezTo>
                  <a:pt x="6127777" y="4554744"/>
                  <a:pt x="6119360" y="4559614"/>
                  <a:pt x="6111845" y="4552420"/>
                </a:cubicBezTo>
                <a:cubicBezTo>
                  <a:pt x="6113649" y="4551092"/>
                  <a:pt x="6104930" y="4540468"/>
                  <a:pt x="6108538" y="4534934"/>
                </a:cubicBezTo>
                <a:cubicBezTo>
                  <a:pt x="6110341" y="4532057"/>
                  <a:pt x="6112145" y="4530839"/>
                  <a:pt x="6113949" y="4528072"/>
                </a:cubicBezTo>
                <a:cubicBezTo>
                  <a:pt x="6116053" y="4528404"/>
                  <a:pt x="6118459" y="4527630"/>
                  <a:pt x="6121464" y="4527740"/>
                </a:cubicBezTo>
                <a:close/>
                <a:moveTo>
                  <a:pt x="3357010" y="4527740"/>
                </a:moveTo>
                <a:cubicBezTo>
                  <a:pt x="3360016" y="4527740"/>
                  <a:pt x="3363624" y="4528626"/>
                  <a:pt x="3368133" y="4532389"/>
                </a:cubicBezTo>
                <a:cubicBezTo>
                  <a:pt x="3377151" y="4541464"/>
                  <a:pt x="3368433" y="4549321"/>
                  <a:pt x="3369937" y="4549543"/>
                </a:cubicBezTo>
                <a:cubicBezTo>
                  <a:pt x="3371439" y="4551313"/>
                  <a:pt x="3371439" y="4551313"/>
                  <a:pt x="3373243" y="4551535"/>
                </a:cubicBezTo>
                <a:cubicBezTo>
                  <a:pt x="3372943" y="4553084"/>
                  <a:pt x="3374445" y="4556404"/>
                  <a:pt x="3375949" y="4558175"/>
                </a:cubicBezTo>
                <a:cubicBezTo>
                  <a:pt x="3374145" y="4557843"/>
                  <a:pt x="3372642" y="4557622"/>
                  <a:pt x="3372342" y="4559171"/>
                </a:cubicBezTo>
                <a:cubicBezTo>
                  <a:pt x="3369636" y="4555630"/>
                  <a:pt x="3369636" y="4554080"/>
                  <a:pt x="3368133" y="4552420"/>
                </a:cubicBezTo>
                <a:cubicBezTo>
                  <a:pt x="3368133" y="4553859"/>
                  <a:pt x="3366630" y="4552199"/>
                  <a:pt x="3366630" y="4552199"/>
                </a:cubicBezTo>
                <a:cubicBezTo>
                  <a:pt x="3366630" y="4552199"/>
                  <a:pt x="3366630" y="4552199"/>
                  <a:pt x="3363323" y="4554744"/>
                </a:cubicBezTo>
                <a:cubicBezTo>
                  <a:pt x="3363323" y="4554744"/>
                  <a:pt x="3354905" y="4559614"/>
                  <a:pt x="3347391" y="4552420"/>
                </a:cubicBezTo>
                <a:cubicBezTo>
                  <a:pt x="3349194" y="4551092"/>
                  <a:pt x="3340175" y="4540468"/>
                  <a:pt x="3343783" y="4534934"/>
                </a:cubicBezTo>
                <a:cubicBezTo>
                  <a:pt x="3345587" y="4532057"/>
                  <a:pt x="3347391" y="4530839"/>
                  <a:pt x="3349194" y="4528072"/>
                </a:cubicBezTo>
                <a:cubicBezTo>
                  <a:pt x="3351599" y="4528404"/>
                  <a:pt x="3354004" y="4527630"/>
                  <a:pt x="3357010" y="4527740"/>
                </a:cubicBezTo>
                <a:close/>
                <a:moveTo>
                  <a:pt x="2328005" y="4527740"/>
                </a:moveTo>
                <a:cubicBezTo>
                  <a:pt x="2331011" y="4527740"/>
                  <a:pt x="2334319" y="4528626"/>
                  <a:pt x="2338827" y="4532389"/>
                </a:cubicBezTo>
                <a:cubicBezTo>
                  <a:pt x="2347845" y="4541464"/>
                  <a:pt x="2339428" y="4549321"/>
                  <a:pt x="2340932" y="4549543"/>
                </a:cubicBezTo>
                <a:cubicBezTo>
                  <a:pt x="2342434" y="4551313"/>
                  <a:pt x="2342434" y="4551313"/>
                  <a:pt x="2343938" y="4551535"/>
                </a:cubicBezTo>
                <a:cubicBezTo>
                  <a:pt x="2343938" y="4553084"/>
                  <a:pt x="2345140" y="4556404"/>
                  <a:pt x="2346643" y="4558175"/>
                </a:cubicBezTo>
                <a:cubicBezTo>
                  <a:pt x="2345140" y="4557843"/>
                  <a:pt x="2343337" y="4557622"/>
                  <a:pt x="2343337" y="4559171"/>
                </a:cubicBezTo>
                <a:cubicBezTo>
                  <a:pt x="2340331" y="4555630"/>
                  <a:pt x="2340631" y="4554080"/>
                  <a:pt x="2339128" y="4552420"/>
                </a:cubicBezTo>
                <a:cubicBezTo>
                  <a:pt x="2338827" y="4553859"/>
                  <a:pt x="2337625" y="4552199"/>
                  <a:pt x="2337625" y="4552199"/>
                </a:cubicBezTo>
                <a:cubicBezTo>
                  <a:pt x="2337625" y="4552199"/>
                  <a:pt x="2337625" y="4552199"/>
                  <a:pt x="2334017" y="4554744"/>
                </a:cubicBezTo>
                <a:cubicBezTo>
                  <a:pt x="2334017" y="4554744"/>
                  <a:pt x="2329509" y="4557400"/>
                  <a:pt x="2324098" y="4555740"/>
                </a:cubicBezTo>
                <a:lnTo>
                  <a:pt x="2323497" y="4555519"/>
                </a:lnTo>
                <a:lnTo>
                  <a:pt x="2324398" y="4558507"/>
                </a:lnTo>
                <a:cubicBezTo>
                  <a:pt x="2324698" y="4562270"/>
                  <a:pt x="2321091" y="4562602"/>
                  <a:pt x="2315079" y="4563709"/>
                </a:cubicBezTo>
                <a:cubicBezTo>
                  <a:pt x="2314177" y="4560720"/>
                  <a:pt x="2314477" y="4558728"/>
                  <a:pt x="2315981" y="4557068"/>
                </a:cubicBezTo>
                <a:lnTo>
                  <a:pt x="2321392" y="4554191"/>
                </a:lnTo>
                <a:lnTo>
                  <a:pt x="2318386" y="4552420"/>
                </a:lnTo>
                <a:cubicBezTo>
                  <a:pt x="2319888" y="4551092"/>
                  <a:pt x="2311171" y="4540468"/>
                  <a:pt x="2314778" y="4534934"/>
                </a:cubicBezTo>
                <a:cubicBezTo>
                  <a:pt x="2316582" y="4532057"/>
                  <a:pt x="2318386" y="4530839"/>
                  <a:pt x="2320189" y="4528072"/>
                </a:cubicBezTo>
                <a:cubicBezTo>
                  <a:pt x="2322293" y="4528404"/>
                  <a:pt x="2324999" y="4527630"/>
                  <a:pt x="2328005" y="4527740"/>
                </a:cubicBezTo>
                <a:close/>
                <a:moveTo>
                  <a:pt x="3447195" y="4526080"/>
                </a:moveTo>
                <a:cubicBezTo>
                  <a:pt x="3458919" y="4527187"/>
                  <a:pt x="3466133" y="4537922"/>
                  <a:pt x="3461624" y="4548657"/>
                </a:cubicBezTo>
                <a:cubicBezTo>
                  <a:pt x="3460121" y="4552199"/>
                  <a:pt x="3457114" y="4555740"/>
                  <a:pt x="3452906" y="4558950"/>
                </a:cubicBezTo>
                <a:cubicBezTo>
                  <a:pt x="3444790" y="4547440"/>
                  <a:pt x="3436673" y="4535930"/>
                  <a:pt x="3447195" y="4526080"/>
                </a:cubicBezTo>
                <a:close/>
                <a:moveTo>
                  <a:pt x="2071581" y="4523092"/>
                </a:moveTo>
                <a:cubicBezTo>
                  <a:pt x="2073385" y="4523203"/>
                  <a:pt x="2075188" y="4523646"/>
                  <a:pt x="2076091" y="4523424"/>
                </a:cubicBezTo>
                <a:cubicBezTo>
                  <a:pt x="2076992" y="4523867"/>
                  <a:pt x="2077894" y="4524310"/>
                  <a:pt x="2078495" y="4524863"/>
                </a:cubicBezTo>
                <a:cubicBezTo>
                  <a:pt x="2079097" y="4525416"/>
                  <a:pt x="2079397" y="4526080"/>
                  <a:pt x="2078795" y="4527076"/>
                </a:cubicBezTo>
                <a:cubicBezTo>
                  <a:pt x="2077894" y="4529068"/>
                  <a:pt x="2078194" y="4530397"/>
                  <a:pt x="2074888" y="4530175"/>
                </a:cubicBezTo>
                <a:cubicBezTo>
                  <a:pt x="2073385" y="4530729"/>
                  <a:pt x="2071281" y="4529954"/>
                  <a:pt x="2069777" y="4530507"/>
                </a:cubicBezTo>
                <a:cubicBezTo>
                  <a:pt x="2069777" y="4530507"/>
                  <a:pt x="2068876" y="4529622"/>
                  <a:pt x="2068275" y="4528515"/>
                </a:cubicBezTo>
                <a:cubicBezTo>
                  <a:pt x="2067672" y="4527298"/>
                  <a:pt x="2067372" y="4525859"/>
                  <a:pt x="2067974" y="4524863"/>
                </a:cubicBezTo>
                <a:cubicBezTo>
                  <a:pt x="2068275" y="4523203"/>
                  <a:pt x="2069777" y="4522982"/>
                  <a:pt x="2071581" y="4523092"/>
                </a:cubicBezTo>
                <a:close/>
                <a:moveTo>
                  <a:pt x="1042576" y="4523092"/>
                </a:moveTo>
                <a:cubicBezTo>
                  <a:pt x="1044380" y="4523203"/>
                  <a:pt x="1046183" y="4523646"/>
                  <a:pt x="1046785" y="4523424"/>
                </a:cubicBezTo>
                <a:cubicBezTo>
                  <a:pt x="1047987" y="4523867"/>
                  <a:pt x="1048889" y="4524310"/>
                  <a:pt x="1049490" y="4524863"/>
                </a:cubicBezTo>
                <a:cubicBezTo>
                  <a:pt x="1050092" y="4525416"/>
                  <a:pt x="1050393" y="4526080"/>
                  <a:pt x="1049792" y="4527076"/>
                </a:cubicBezTo>
                <a:cubicBezTo>
                  <a:pt x="1048588" y="4529068"/>
                  <a:pt x="1049189" y="4530397"/>
                  <a:pt x="1045582" y="4530175"/>
                </a:cubicBezTo>
                <a:cubicBezTo>
                  <a:pt x="1044080" y="4530729"/>
                  <a:pt x="1042276" y="4529954"/>
                  <a:pt x="1040772" y="4530507"/>
                </a:cubicBezTo>
                <a:cubicBezTo>
                  <a:pt x="1040772" y="4530507"/>
                  <a:pt x="1039871" y="4529622"/>
                  <a:pt x="1039270" y="4528515"/>
                </a:cubicBezTo>
                <a:cubicBezTo>
                  <a:pt x="1038669" y="4527298"/>
                  <a:pt x="1038367" y="4525859"/>
                  <a:pt x="1038669" y="4524863"/>
                </a:cubicBezTo>
                <a:cubicBezTo>
                  <a:pt x="1038969" y="4523203"/>
                  <a:pt x="1040772" y="4522982"/>
                  <a:pt x="1042576" y="4523092"/>
                </a:cubicBezTo>
                <a:close/>
                <a:moveTo>
                  <a:pt x="5797402" y="4521100"/>
                </a:moveTo>
                <a:cubicBezTo>
                  <a:pt x="5799505" y="4521875"/>
                  <a:pt x="5800106" y="4523314"/>
                  <a:pt x="5800708" y="4524642"/>
                </a:cubicBezTo>
                <a:cubicBezTo>
                  <a:pt x="5800408" y="4528072"/>
                  <a:pt x="5800106" y="4531393"/>
                  <a:pt x="5799806" y="4534823"/>
                </a:cubicBezTo>
                <a:cubicBezTo>
                  <a:pt x="5797101" y="4540910"/>
                  <a:pt x="5794094" y="4546997"/>
                  <a:pt x="5788683" y="4546333"/>
                </a:cubicBezTo>
                <a:cubicBezTo>
                  <a:pt x="5789284" y="4539472"/>
                  <a:pt x="5788984" y="4534823"/>
                  <a:pt x="5789886" y="4528072"/>
                </a:cubicBezTo>
                <a:cubicBezTo>
                  <a:pt x="5790789" y="4525970"/>
                  <a:pt x="5795297" y="4520436"/>
                  <a:pt x="5797402" y="4521100"/>
                </a:cubicBezTo>
                <a:close/>
                <a:moveTo>
                  <a:pt x="3032947" y="4521100"/>
                </a:moveTo>
                <a:cubicBezTo>
                  <a:pt x="3035052" y="4521875"/>
                  <a:pt x="3035652" y="4523314"/>
                  <a:pt x="3036255" y="4524642"/>
                </a:cubicBezTo>
                <a:cubicBezTo>
                  <a:pt x="3035953" y="4528072"/>
                  <a:pt x="3035652" y="4531393"/>
                  <a:pt x="3035052" y="4534823"/>
                </a:cubicBezTo>
                <a:cubicBezTo>
                  <a:pt x="3032346" y="4540910"/>
                  <a:pt x="3029640" y="4546997"/>
                  <a:pt x="3024229" y="4546333"/>
                </a:cubicBezTo>
                <a:cubicBezTo>
                  <a:pt x="3024830" y="4539472"/>
                  <a:pt x="3024530" y="4534823"/>
                  <a:pt x="3025132" y="4528072"/>
                </a:cubicBezTo>
                <a:cubicBezTo>
                  <a:pt x="3026033" y="4525970"/>
                  <a:pt x="3030843" y="4520436"/>
                  <a:pt x="3032947" y="4521100"/>
                </a:cubicBezTo>
                <a:close/>
                <a:moveTo>
                  <a:pt x="2003942" y="4521100"/>
                </a:moveTo>
                <a:cubicBezTo>
                  <a:pt x="2006047" y="4521875"/>
                  <a:pt x="2006347" y="4523314"/>
                  <a:pt x="2006949" y="4524642"/>
                </a:cubicBezTo>
                <a:cubicBezTo>
                  <a:pt x="2006648" y="4528072"/>
                  <a:pt x="2006347" y="4531393"/>
                  <a:pt x="2006047" y="4534823"/>
                </a:cubicBezTo>
                <a:cubicBezTo>
                  <a:pt x="2003341" y="4540910"/>
                  <a:pt x="2000636" y="4546997"/>
                  <a:pt x="1994924" y="4546333"/>
                </a:cubicBezTo>
                <a:cubicBezTo>
                  <a:pt x="1995525" y="4539472"/>
                  <a:pt x="1995525" y="4534823"/>
                  <a:pt x="1996127" y="4528072"/>
                </a:cubicBezTo>
                <a:cubicBezTo>
                  <a:pt x="1997028" y="4525970"/>
                  <a:pt x="2001839" y="4520436"/>
                  <a:pt x="2003942" y="4521100"/>
                </a:cubicBezTo>
                <a:close/>
                <a:moveTo>
                  <a:pt x="2474705" y="4516341"/>
                </a:moveTo>
                <a:cubicBezTo>
                  <a:pt x="2477111" y="4515567"/>
                  <a:pt x="2480116" y="4515677"/>
                  <a:pt x="2483723" y="4517005"/>
                </a:cubicBezTo>
                <a:cubicBezTo>
                  <a:pt x="2486429" y="4522317"/>
                  <a:pt x="2485828" y="4526966"/>
                  <a:pt x="2480718" y="4534491"/>
                </a:cubicBezTo>
                <a:cubicBezTo>
                  <a:pt x="2472901" y="4536594"/>
                  <a:pt x="2461478" y="4528958"/>
                  <a:pt x="2467792" y="4519661"/>
                </a:cubicBezTo>
                <a:cubicBezTo>
                  <a:pt x="2469895" y="4518333"/>
                  <a:pt x="2472300" y="4517005"/>
                  <a:pt x="2474705" y="4516341"/>
                </a:cubicBezTo>
                <a:close/>
                <a:moveTo>
                  <a:pt x="1445701" y="4516341"/>
                </a:moveTo>
                <a:cubicBezTo>
                  <a:pt x="1448106" y="4515567"/>
                  <a:pt x="1451112" y="4515677"/>
                  <a:pt x="1454418" y="4517005"/>
                </a:cubicBezTo>
                <a:cubicBezTo>
                  <a:pt x="1457425" y="4522317"/>
                  <a:pt x="1456523" y="4526966"/>
                  <a:pt x="1451713" y="4534491"/>
                </a:cubicBezTo>
                <a:cubicBezTo>
                  <a:pt x="1443898" y="4536594"/>
                  <a:pt x="1432474" y="4528958"/>
                  <a:pt x="1438787" y="4519661"/>
                </a:cubicBezTo>
                <a:cubicBezTo>
                  <a:pt x="1440891" y="4518333"/>
                  <a:pt x="1442995" y="4517005"/>
                  <a:pt x="1445701" y="4516341"/>
                </a:cubicBezTo>
                <a:close/>
                <a:moveTo>
                  <a:pt x="5454099" y="4516009"/>
                </a:moveTo>
                <a:lnTo>
                  <a:pt x="5458609" y="4517891"/>
                </a:lnTo>
                <a:lnTo>
                  <a:pt x="5459811" y="4516784"/>
                </a:lnTo>
                <a:cubicBezTo>
                  <a:pt x="5462517" y="4518887"/>
                  <a:pt x="5465523" y="4520989"/>
                  <a:pt x="5466725" y="4524310"/>
                </a:cubicBezTo>
                <a:lnTo>
                  <a:pt x="5471234" y="4528626"/>
                </a:lnTo>
                <a:cubicBezTo>
                  <a:pt x="5468529" y="4532389"/>
                  <a:pt x="5470934" y="4534823"/>
                  <a:pt x="5468228" y="4538586"/>
                </a:cubicBezTo>
                <a:cubicBezTo>
                  <a:pt x="5457105" y="4532389"/>
                  <a:pt x="5444179" y="4526634"/>
                  <a:pt x="5447186" y="4516673"/>
                </a:cubicBezTo>
                <a:cubicBezTo>
                  <a:pt x="5449289" y="4515677"/>
                  <a:pt x="5451694" y="4515567"/>
                  <a:pt x="5454099" y="4516009"/>
                </a:cubicBezTo>
                <a:close/>
                <a:moveTo>
                  <a:pt x="2689645" y="4516009"/>
                </a:moveTo>
                <a:lnTo>
                  <a:pt x="2694154" y="4517891"/>
                </a:lnTo>
                <a:lnTo>
                  <a:pt x="2695057" y="4516784"/>
                </a:lnTo>
                <a:cubicBezTo>
                  <a:pt x="2698063" y="4518887"/>
                  <a:pt x="2701069" y="4520989"/>
                  <a:pt x="2701970" y="4524310"/>
                </a:cubicBezTo>
                <a:lnTo>
                  <a:pt x="2706480" y="4528626"/>
                </a:lnTo>
                <a:cubicBezTo>
                  <a:pt x="2704075" y="4532389"/>
                  <a:pt x="2706179" y="4534823"/>
                  <a:pt x="2703774" y="4538586"/>
                </a:cubicBezTo>
                <a:cubicBezTo>
                  <a:pt x="2692351" y="4532389"/>
                  <a:pt x="2679725" y="4526634"/>
                  <a:pt x="2682731" y="4516673"/>
                </a:cubicBezTo>
                <a:cubicBezTo>
                  <a:pt x="2684835" y="4515677"/>
                  <a:pt x="2687240" y="4515567"/>
                  <a:pt x="2689645" y="4516009"/>
                </a:cubicBezTo>
                <a:close/>
                <a:moveTo>
                  <a:pt x="1660340" y="4516009"/>
                </a:moveTo>
                <a:lnTo>
                  <a:pt x="1664849" y="4517891"/>
                </a:lnTo>
                <a:lnTo>
                  <a:pt x="1666052" y="4516784"/>
                </a:lnTo>
                <a:cubicBezTo>
                  <a:pt x="1669058" y="4518887"/>
                  <a:pt x="1671763" y="4520989"/>
                  <a:pt x="1672965" y="4524310"/>
                </a:cubicBezTo>
                <a:lnTo>
                  <a:pt x="1677475" y="4528626"/>
                </a:lnTo>
                <a:cubicBezTo>
                  <a:pt x="1675070" y="4532389"/>
                  <a:pt x="1677175" y="4534823"/>
                  <a:pt x="1674469" y="4538586"/>
                </a:cubicBezTo>
                <a:cubicBezTo>
                  <a:pt x="1663346" y="4532389"/>
                  <a:pt x="1650720" y="4526634"/>
                  <a:pt x="1653426" y="4516673"/>
                </a:cubicBezTo>
                <a:cubicBezTo>
                  <a:pt x="1655831" y="4515677"/>
                  <a:pt x="1658236" y="4515567"/>
                  <a:pt x="1660340" y="4516009"/>
                </a:cubicBezTo>
                <a:close/>
                <a:moveTo>
                  <a:pt x="2183410" y="4512689"/>
                </a:moveTo>
                <a:cubicBezTo>
                  <a:pt x="2189722" y="4513021"/>
                  <a:pt x="2199643" y="4513906"/>
                  <a:pt x="2202949" y="4520436"/>
                </a:cubicBezTo>
                <a:cubicBezTo>
                  <a:pt x="2204152" y="4522650"/>
                  <a:pt x="2204453" y="4525416"/>
                  <a:pt x="2203551" y="4529068"/>
                </a:cubicBezTo>
                <a:cubicBezTo>
                  <a:pt x="2201447" y="4529732"/>
                  <a:pt x="2199342" y="4530507"/>
                  <a:pt x="2196937" y="4531282"/>
                </a:cubicBezTo>
                <a:cubicBezTo>
                  <a:pt x="2193330" y="4522539"/>
                  <a:pt x="2186415" y="4519440"/>
                  <a:pt x="2183410" y="4512689"/>
                </a:cubicBezTo>
                <a:close/>
                <a:moveTo>
                  <a:pt x="1154104" y="4512689"/>
                </a:moveTo>
                <a:cubicBezTo>
                  <a:pt x="1160718" y="4513021"/>
                  <a:pt x="1170638" y="4513906"/>
                  <a:pt x="1173945" y="4520436"/>
                </a:cubicBezTo>
                <a:cubicBezTo>
                  <a:pt x="1174847" y="4522650"/>
                  <a:pt x="1175448" y="4525416"/>
                  <a:pt x="1174547" y="4529068"/>
                </a:cubicBezTo>
                <a:cubicBezTo>
                  <a:pt x="1172442" y="4529732"/>
                  <a:pt x="1170037" y="4530507"/>
                  <a:pt x="1167933" y="4531282"/>
                </a:cubicBezTo>
                <a:cubicBezTo>
                  <a:pt x="1164325" y="4522539"/>
                  <a:pt x="1157411" y="4519440"/>
                  <a:pt x="1154104" y="4512689"/>
                </a:cubicBezTo>
                <a:close/>
                <a:moveTo>
                  <a:pt x="5618535" y="4510808"/>
                </a:moveTo>
                <a:cubicBezTo>
                  <a:pt x="5618535" y="4512357"/>
                  <a:pt x="5620039" y="4515456"/>
                  <a:pt x="5618535" y="4517005"/>
                </a:cubicBezTo>
                <a:cubicBezTo>
                  <a:pt x="5617032" y="4518444"/>
                  <a:pt x="5617032" y="4518444"/>
                  <a:pt x="5614027" y="4518333"/>
                </a:cubicBezTo>
                <a:cubicBezTo>
                  <a:pt x="5615229" y="4513796"/>
                  <a:pt x="5615229" y="4513685"/>
                  <a:pt x="5618535" y="4510808"/>
                </a:cubicBezTo>
                <a:close/>
                <a:moveTo>
                  <a:pt x="4362867" y="4510808"/>
                </a:moveTo>
                <a:cubicBezTo>
                  <a:pt x="4362867" y="4512357"/>
                  <a:pt x="4364671" y="4515456"/>
                  <a:pt x="4363168" y="4517005"/>
                </a:cubicBezTo>
                <a:cubicBezTo>
                  <a:pt x="4361665" y="4518444"/>
                  <a:pt x="4361665" y="4518444"/>
                  <a:pt x="4358358" y="4518333"/>
                </a:cubicBezTo>
                <a:cubicBezTo>
                  <a:pt x="4359862" y="4513796"/>
                  <a:pt x="4359862" y="4513685"/>
                  <a:pt x="4362867" y="4510808"/>
                </a:cubicBezTo>
                <a:close/>
                <a:moveTo>
                  <a:pt x="2853781" y="4510808"/>
                </a:moveTo>
                <a:cubicBezTo>
                  <a:pt x="2853781" y="4512357"/>
                  <a:pt x="2855584" y="4515456"/>
                  <a:pt x="2854081" y="4517005"/>
                </a:cubicBezTo>
                <a:cubicBezTo>
                  <a:pt x="2852578" y="4518444"/>
                  <a:pt x="2852578" y="4518444"/>
                  <a:pt x="2849572" y="4518333"/>
                </a:cubicBezTo>
                <a:cubicBezTo>
                  <a:pt x="2850775" y="4513796"/>
                  <a:pt x="2850775" y="4513685"/>
                  <a:pt x="2853781" y="4510808"/>
                </a:cubicBezTo>
                <a:close/>
                <a:moveTo>
                  <a:pt x="1824776" y="4510808"/>
                </a:moveTo>
                <a:cubicBezTo>
                  <a:pt x="1824776" y="4512357"/>
                  <a:pt x="1826580" y="4515456"/>
                  <a:pt x="1825077" y="4517005"/>
                </a:cubicBezTo>
                <a:cubicBezTo>
                  <a:pt x="1823573" y="4518444"/>
                  <a:pt x="1823573" y="4518444"/>
                  <a:pt x="1820267" y="4518333"/>
                </a:cubicBezTo>
                <a:cubicBezTo>
                  <a:pt x="1821770" y="4513796"/>
                  <a:pt x="1821470" y="4513685"/>
                  <a:pt x="1824776" y="4510808"/>
                </a:cubicBezTo>
                <a:close/>
                <a:moveTo>
                  <a:pt x="1985305" y="4508705"/>
                </a:moveTo>
                <a:cubicBezTo>
                  <a:pt x="1987108" y="4508262"/>
                  <a:pt x="1988611" y="4508594"/>
                  <a:pt x="1990115" y="4510697"/>
                </a:cubicBezTo>
                <a:cubicBezTo>
                  <a:pt x="1989813" y="4514017"/>
                  <a:pt x="1988010" y="4517669"/>
                  <a:pt x="1985906" y="4521321"/>
                </a:cubicBezTo>
                <a:cubicBezTo>
                  <a:pt x="1976888" y="4519993"/>
                  <a:pt x="1980495" y="4510144"/>
                  <a:pt x="1985305" y="4508705"/>
                </a:cubicBezTo>
                <a:close/>
                <a:moveTo>
                  <a:pt x="956300" y="4508705"/>
                </a:moveTo>
                <a:cubicBezTo>
                  <a:pt x="957802" y="4508262"/>
                  <a:pt x="959606" y="4508594"/>
                  <a:pt x="961110" y="4510697"/>
                </a:cubicBezTo>
                <a:cubicBezTo>
                  <a:pt x="960810" y="4514017"/>
                  <a:pt x="958705" y="4517669"/>
                  <a:pt x="956901" y="4521321"/>
                </a:cubicBezTo>
                <a:cubicBezTo>
                  <a:pt x="947883" y="4519993"/>
                  <a:pt x="951189" y="4510144"/>
                  <a:pt x="956300" y="4508705"/>
                </a:cubicBezTo>
                <a:close/>
                <a:moveTo>
                  <a:pt x="5856022" y="4507598"/>
                </a:moveTo>
                <a:cubicBezTo>
                  <a:pt x="5857525" y="4507488"/>
                  <a:pt x="5858727" y="4507598"/>
                  <a:pt x="5860230" y="4508262"/>
                </a:cubicBezTo>
                <a:cubicBezTo>
                  <a:pt x="5861131" y="4511250"/>
                  <a:pt x="5861433" y="4512689"/>
                  <a:pt x="5860831" y="4516120"/>
                </a:cubicBezTo>
                <a:cubicBezTo>
                  <a:pt x="5851211" y="4530397"/>
                  <a:pt x="5842193" y="4528626"/>
                  <a:pt x="5840991" y="4530618"/>
                </a:cubicBezTo>
                <a:cubicBezTo>
                  <a:pt x="5835280" y="4527851"/>
                  <a:pt x="5837383" y="4523867"/>
                  <a:pt x="5838886" y="4517005"/>
                </a:cubicBezTo>
                <a:cubicBezTo>
                  <a:pt x="5840991" y="4517891"/>
                  <a:pt x="5844297" y="4512025"/>
                  <a:pt x="5845500" y="4510144"/>
                </a:cubicBezTo>
                <a:cubicBezTo>
                  <a:pt x="5848506" y="4511472"/>
                  <a:pt x="5851814" y="4508152"/>
                  <a:pt x="5856022" y="4507598"/>
                </a:cubicBezTo>
                <a:close/>
                <a:moveTo>
                  <a:pt x="2062262" y="4507598"/>
                </a:moveTo>
                <a:cubicBezTo>
                  <a:pt x="2063765" y="4507488"/>
                  <a:pt x="2064967" y="4507598"/>
                  <a:pt x="2066470" y="4508262"/>
                </a:cubicBezTo>
                <a:cubicBezTo>
                  <a:pt x="2067372" y="4511250"/>
                  <a:pt x="2067672" y="4512689"/>
                  <a:pt x="2067071" y="4516120"/>
                </a:cubicBezTo>
                <a:cubicBezTo>
                  <a:pt x="2057452" y="4530397"/>
                  <a:pt x="2048434" y="4528626"/>
                  <a:pt x="2047532" y="4530618"/>
                </a:cubicBezTo>
                <a:cubicBezTo>
                  <a:pt x="2041519" y="4527851"/>
                  <a:pt x="2043925" y="4523867"/>
                  <a:pt x="2045427" y="4517005"/>
                </a:cubicBezTo>
                <a:cubicBezTo>
                  <a:pt x="2047231" y="4517891"/>
                  <a:pt x="2050838" y="4512025"/>
                  <a:pt x="2051741" y="4510144"/>
                </a:cubicBezTo>
                <a:cubicBezTo>
                  <a:pt x="2054747" y="4511472"/>
                  <a:pt x="2058354" y="4508152"/>
                  <a:pt x="2062262" y="4507598"/>
                </a:cubicBezTo>
                <a:close/>
                <a:moveTo>
                  <a:pt x="5618235" y="4506381"/>
                </a:moveTo>
                <a:cubicBezTo>
                  <a:pt x="5619738" y="4506491"/>
                  <a:pt x="5619738" y="4508041"/>
                  <a:pt x="5618535" y="4509701"/>
                </a:cubicBezTo>
                <a:cubicBezTo>
                  <a:pt x="5618535" y="4509701"/>
                  <a:pt x="5617032" y="4509701"/>
                  <a:pt x="5617032" y="4509701"/>
                </a:cubicBezTo>
                <a:cubicBezTo>
                  <a:pt x="5617032" y="4508041"/>
                  <a:pt x="5616731" y="4506270"/>
                  <a:pt x="5618235" y="4506381"/>
                </a:cubicBezTo>
                <a:close/>
                <a:moveTo>
                  <a:pt x="4362867" y="4506381"/>
                </a:moveTo>
                <a:cubicBezTo>
                  <a:pt x="4364370" y="4506491"/>
                  <a:pt x="4364370" y="4508041"/>
                  <a:pt x="4362867" y="4509701"/>
                </a:cubicBezTo>
                <a:cubicBezTo>
                  <a:pt x="4362867" y="4509701"/>
                  <a:pt x="4361364" y="4509701"/>
                  <a:pt x="4361364" y="4509701"/>
                </a:cubicBezTo>
                <a:cubicBezTo>
                  <a:pt x="4361364" y="4508041"/>
                  <a:pt x="4361364" y="4506270"/>
                  <a:pt x="4362867" y="4506381"/>
                </a:cubicBezTo>
                <a:close/>
                <a:moveTo>
                  <a:pt x="2853781" y="4506381"/>
                </a:moveTo>
                <a:cubicBezTo>
                  <a:pt x="2855284" y="4506491"/>
                  <a:pt x="2855284" y="4508041"/>
                  <a:pt x="2853781" y="4509701"/>
                </a:cubicBezTo>
                <a:cubicBezTo>
                  <a:pt x="2853781" y="4509701"/>
                  <a:pt x="2852277" y="4509701"/>
                  <a:pt x="2852277" y="4509701"/>
                </a:cubicBezTo>
                <a:cubicBezTo>
                  <a:pt x="2852277" y="4508041"/>
                  <a:pt x="2852277" y="4506270"/>
                  <a:pt x="2853781" y="4506381"/>
                </a:cubicBezTo>
                <a:close/>
                <a:moveTo>
                  <a:pt x="1824776" y="4506381"/>
                </a:moveTo>
                <a:cubicBezTo>
                  <a:pt x="1825978" y="4506491"/>
                  <a:pt x="1826279" y="4508041"/>
                  <a:pt x="1824776" y="4509701"/>
                </a:cubicBezTo>
                <a:cubicBezTo>
                  <a:pt x="1824776" y="4509701"/>
                  <a:pt x="1823273" y="4509701"/>
                  <a:pt x="1823273" y="4509701"/>
                </a:cubicBezTo>
                <a:cubicBezTo>
                  <a:pt x="1823273" y="4508041"/>
                  <a:pt x="1823273" y="4506270"/>
                  <a:pt x="1824776" y="4506381"/>
                </a:cubicBezTo>
                <a:close/>
                <a:moveTo>
                  <a:pt x="5726456" y="4505606"/>
                </a:moveTo>
                <a:cubicBezTo>
                  <a:pt x="5728259" y="4508041"/>
                  <a:pt x="5729462" y="4510476"/>
                  <a:pt x="5730365" y="4512689"/>
                </a:cubicBezTo>
                <a:cubicBezTo>
                  <a:pt x="5730966" y="4514903"/>
                  <a:pt x="5731567" y="4516784"/>
                  <a:pt x="5732168" y="4518333"/>
                </a:cubicBezTo>
                <a:cubicBezTo>
                  <a:pt x="5728259" y="4521100"/>
                  <a:pt x="5726156" y="4523978"/>
                  <a:pt x="5722548" y="4526744"/>
                </a:cubicBezTo>
                <a:lnTo>
                  <a:pt x="5721947" y="4526744"/>
                </a:lnTo>
                <a:lnTo>
                  <a:pt x="5721947" y="4526966"/>
                </a:lnTo>
                <a:lnTo>
                  <a:pt x="5719543" y="4529400"/>
                </a:lnTo>
                <a:lnTo>
                  <a:pt x="5722849" y="4530397"/>
                </a:lnTo>
                <a:cubicBezTo>
                  <a:pt x="5728861" y="4535930"/>
                  <a:pt x="5730064" y="4540689"/>
                  <a:pt x="5729764" y="4545226"/>
                </a:cubicBezTo>
                <a:cubicBezTo>
                  <a:pt x="5729764" y="4545226"/>
                  <a:pt x="5729764" y="4545337"/>
                  <a:pt x="5729764" y="4543788"/>
                </a:cubicBezTo>
                <a:cubicBezTo>
                  <a:pt x="5736677" y="4538697"/>
                  <a:pt x="5748401" y="4529622"/>
                  <a:pt x="5752911" y="4531835"/>
                </a:cubicBezTo>
                <a:cubicBezTo>
                  <a:pt x="5752911" y="4533385"/>
                  <a:pt x="5752911" y="4534934"/>
                  <a:pt x="5751107" y="4536262"/>
                </a:cubicBezTo>
                <a:cubicBezTo>
                  <a:pt x="5749303" y="4537479"/>
                  <a:pt x="5749603" y="4535930"/>
                  <a:pt x="5749603" y="4537479"/>
                </a:cubicBezTo>
                <a:cubicBezTo>
                  <a:pt x="5747800" y="4538808"/>
                  <a:pt x="5749303" y="4539029"/>
                  <a:pt x="5749303" y="4539029"/>
                </a:cubicBezTo>
                <a:cubicBezTo>
                  <a:pt x="5749303" y="4539029"/>
                  <a:pt x="5747800" y="4538697"/>
                  <a:pt x="5747800" y="4538697"/>
                </a:cubicBezTo>
                <a:cubicBezTo>
                  <a:pt x="5747800" y="4538697"/>
                  <a:pt x="5747800" y="4538808"/>
                  <a:pt x="5744192" y="4541353"/>
                </a:cubicBezTo>
                <a:cubicBezTo>
                  <a:pt x="5740887" y="4545448"/>
                  <a:pt x="5740585" y="4546997"/>
                  <a:pt x="5738781" y="4549764"/>
                </a:cubicBezTo>
                <a:cubicBezTo>
                  <a:pt x="5735475" y="4552309"/>
                  <a:pt x="5733972" y="4552088"/>
                  <a:pt x="5729162" y="4554412"/>
                </a:cubicBezTo>
                <a:cubicBezTo>
                  <a:pt x="5726156" y="4552420"/>
                  <a:pt x="5726156" y="4552420"/>
                  <a:pt x="5726156" y="4550871"/>
                </a:cubicBezTo>
                <a:cubicBezTo>
                  <a:pt x="5726156" y="4552420"/>
                  <a:pt x="5724353" y="4552088"/>
                  <a:pt x="5722849" y="4553416"/>
                </a:cubicBezTo>
                <a:lnTo>
                  <a:pt x="5718641" y="4556404"/>
                </a:lnTo>
                <a:lnTo>
                  <a:pt x="5718340" y="4560056"/>
                </a:lnTo>
                <a:cubicBezTo>
                  <a:pt x="5718340" y="4561606"/>
                  <a:pt x="5718039" y="4563155"/>
                  <a:pt x="5715934" y="4565258"/>
                </a:cubicBezTo>
                <a:cubicBezTo>
                  <a:pt x="5712027" y="4563155"/>
                  <a:pt x="5709922" y="4560831"/>
                  <a:pt x="5706315" y="4558839"/>
                </a:cubicBezTo>
                <a:lnTo>
                  <a:pt x="5710824" y="4554523"/>
                </a:lnTo>
                <a:lnTo>
                  <a:pt x="5702408" y="4548768"/>
                </a:lnTo>
                <a:cubicBezTo>
                  <a:pt x="5703910" y="4547440"/>
                  <a:pt x="5699401" y="4543788"/>
                  <a:pt x="5698199" y="4540578"/>
                </a:cubicBezTo>
                <a:cubicBezTo>
                  <a:pt x="5698499" y="4536041"/>
                  <a:pt x="5698800" y="4532942"/>
                  <a:pt x="5702107" y="4530397"/>
                </a:cubicBezTo>
                <a:lnTo>
                  <a:pt x="5707819" y="4528626"/>
                </a:lnTo>
                <a:lnTo>
                  <a:pt x="5705413" y="4526966"/>
                </a:lnTo>
                <a:cubicBezTo>
                  <a:pt x="5704511" y="4525416"/>
                  <a:pt x="5703610" y="4523756"/>
                  <a:pt x="5701505" y="4522871"/>
                </a:cubicBezTo>
                <a:cubicBezTo>
                  <a:pt x="5703009" y="4521543"/>
                  <a:pt x="5704511" y="4519772"/>
                  <a:pt x="5706916" y="4518665"/>
                </a:cubicBezTo>
                <a:lnTo>
                  <a:pt x="5711124" y="4518333"/>
                </a:lnTo>
                <a:lnTo>
                  <a:pt x="5710824" y="4516341"/>
                </a:lnTo>
                <a:cubicBezTo>
                  <a:pt x="5712027" y="4510586"/>
                  <a:pt x="5717739" y="4504831"/>
                  <a:pt x="5726456" y="4505606"/>
                </a:cubicBezTo>
                <a:close/>
                <a:moveTo>
                  <a:pt x="2961702" y="4505606"/>
                </a:moveTo>
                <a:cubicBezTo>
                  <a:pt x="2963805" y="4508041"/>
                  <a:pt x="2965008" y="4510476"/>
                  <a:pt x="2965609" y="4512689"/>
                </a:cubicBezTo>
                <a:cubicBezTo>
                  <a:pt x="2966511" y="4514903"/>
                  <a:pt x="2967113" y="4516784"/>
                  <a:pt x="2967413" y="4518333"/>
                </a:cubicBezTo>
                <a:cubicBezTo>
                  <a:pt x="2963805" y="4521100"/>
                  <a:pt x="2961702" y="4523978"/>
                  <a:pt x="2958094" y="4526744"/>
                </a:cubicBezTo>
                <a:lnTo>
                  <a:pt x="2957192" y="4526744"/>
                </a:lnTo>
                <a:lnTo>
                  <a:pt x="2957493" y="4526966"/>
                </a:lnTo>
                <a:lnTo>
                  <a:pt x="2955088" y="4529400"/>
                </a:lnTo>
                <a:lnTo>
                  <a:pt x="2958094" y="4530397"/>
                </a:lnTo>
                <a:cubicBezTo>
                  <a:pt x="2964107" y="4535930"/>
                  <a:pt x="2965609" y="4540689"/>
                  <a:pt x="2965309" y="4545226"/>
                </a:cubicBezTo>
                <a:cubicBezTo>
                  <a:pt x="2965309" y="4545226"/>
                  <a:pt x="2965309" y="4545337"/>
                  <a:pt x="2965309" y="4543788"/>
                </a:cubicBezTo>
                <a:cubicBezTo>
                  <a:pt x="2972222" y="4538697"/>
                  <a:pt x="2983947" y="4529622"/>
                  <a:pt x="2988456" y="4531835"/>
                </a:cubicBezTo>
                <a:cubicBezTo>
                  <a:pt x="2988456" y="4533385"/>
                  <a:pt x="2988155" y="4534934"/>
                  <a:pt x="2986653" y="4536262"/>
                </a:cubicBezTo>
                <a:cubicBezTo>
                  <a:pt x="2984849" y="4537479"/>
                  <a:pt x="2984849" y="4535930"/>
                  <a:pt x="2984849" y="4537479"/>
                </a:cubicBezTo>
                <a:cubicBezTo>
                  <a:pt x="2983045" y="4538808"/>
                  <a:pt x="2984849" y="4539029"/>
                  <a:pt x="2984849" y="4539029"/>
                </a:cubicBezTo>
                <a:cubicBezTo>
                  <a:pt x="2984849" y="4539029"/>
                  <a:pt x="2983345" y="4538697"/>
                  <a:pt x="2983345" y="4538697"/>
                </a:cubicBezTo>
                <a:cubicBezTo>
                  <a:pt x="2983345" y="4538697"/>
                  <a:pt x="2983045" y="4538808"/>
                  <a:pt x="2979738" y="4541353"/>
                </a:cubicBezTo>
                <a:cubicBezTo>
                  <a:pt x="2976432" y="4545448"/>
                  <a:pt x="2976131" y="4546997"/>
                  <a:pt x="2974327" y="4549764"/>
                </a:cubicBezTo>
                <a:cubicBezTo>
                  <a:pt x="2971020" y="4552309"/>
                  <a:pt x="2969517" y="4552088"/>
                  <a:pt x="2964407" y="4554412"/>
                </a:cubicBezTo>
                <a:cubicBezTo>
                  <a:pt x="2961401" y="4552420"/>
                  <a:pt x="2961401" y="4552420"/>
                  <a:pt x="2961401" y="4550871"/>
                </a:cubicBezTo>
                <a:cubicBezTo>
                  <a:pt x="2961401" y="4552420"/>
                  <a:pt x="2959898" y="4552088"/>
                  <a:pt x="2958094" y="4553416"/>
                </a:cubicBezTo>
                <a:lnTo>
                  <a:pt x="2954186" y="4556404"/>
                </a:lnTo>
                <a:lnTo>
                  <a:pt x="2953886" y="4560056"/>
                </a:lnTo>
                <a:cubicBezTo>
                  <a:pt x="2953886" y="4561606"/>
                  <a:pt x="2953285" y="4563155"/>
                  <a:pt x="2951481" y="4565258"/>
                </a:cubicBezTo>
                <a:cubicBezTo>
                  <a:pt x="2947573" y="4563155"/>
                  <a:pt x="2945468" y="4560831"/>
                  <a:pt x="2941560" y="4558839"/>
                </a:cubicBezTo>
                <a:lnTo>
                  <a:pt x="2946069" y="4554523"/>
                </a:lnTo>
                <a:lnTo>
                  <a:pt x="2937953" y="4548768"/>
                </a:lnTo>
                <a:cubicBezTo>
                  <a:pt x="2939456" y="4547440"/>
                  <a:pt x="2934947" y="4543788"/>
                  <a:pt x="2933443" y="4540578"/>
                </a:cubicBezTo>
                <a:cubicBezTo>
                  <a:pt x="2933745" y="4536041"/>
                  <a:pt x="2934045" y="4532942"/>
                  <a:pt x="2937352" y="4530397"/>
                </a:cubicBezTo>
                <a:lnTo>
                  <a:pt x="2943364" y="4528626"/>
                </a:lnTo>
                <a:lnTo>
                  <a:pt x="2940959" y="4526966"/>
                </a:lnTo>
                <a:cubicBezTo>
                  <a:pt x="2940057" y="4525416"/>
                  <a:pt x="2938854" y="4523756"/>
                  <a:pt x="2937051" y="4522871"/>
                </a:cubicBezTo>
                <a:cubicBezTo>
                  <a:pt x="2938253" y="4521543"/>
                  <a:pt x="2940057" y="4519772"/>
                  <a:pt x="2942462" y="4518665"/>
                </a:cubicBezTo>
                <a:lnTo>
                  <a:pt x="2946670" y="4518333"/>
                </a:lnTo>
                <a:lnTo>
                  <a:pt x="2946069" y="4516341"/>
                </a:lnTo>
                <a:cubicBezTo>
                  <a:pt x="2947271" y="4510586"/>
                  <a:pt x="2952984" y="4504831"/>
                  <a:pt x="2961702" y="4505606"/>
                </a:cubicBezTo>
                <a:close/>
                <a:moveTo>
                  <a:pt x="1932697" y="4505606"/>
                </a:moveTo>
                <a:cubicBezTo>
                  <a:pt x="1934500" y="4508041"/>
                  <a:pt x="1935703" y="4510476"/>
                  <a:pt x="1936605" y="4512689"/>
                </a:cubicBezTo>
                <a:cubicBezTo>
                  <a:pt x="1937507" y="4514903"/>
                  <a:pt x="1937808" y="4516784"/>
                  <a:pt x="1938409" y="4518333"/>
                </a:cubicBezTo>
                <a:cubicBezTo>
                  <a:pt x="1934802" y="4521100"/>
                  <a:pt x="1932697" y="4523978"/>
                  <a:pt x="1928789" y="4526744"/>
                </a:cubicBezTo>
                <a:lnTo>
                  <a:pt x="1928187" y="4526744"/>
                </a:lnTo>
                <a:lnTo>
                  <a:pt x="1928187" y="4526966"/>
                </a:lnTo>
                <a:lnTo>
                  <a:pt x="1926083" y="4529400"/>
                </a:lnTo>
                <a:lnTo>
                  <a:pt x="1929090" y="4530397"/>
                </a:lnTo>
                <a:cubicBezTo>
                  <a:pt x="1935102" y="4535930"/>
                  <a:pt x="1936304" y="4540689"/>
                  <a:pt x="1936004" y="4545226"/>
                </a:cubicBezTo>
                <a:cubicBezTo>
                  <a:pt x="1936004" y="4545226"/>
                  <a:pt x="1936004" y="4545337"/>
                  <a:pt x="1936304" y="4543788"/>
                </a:cubicBezTo>
                <a:cubicBezTo>
                  <a:pt x="1942918" y="4538697"/>
                  <a:pt x="1954642" y="4529622"/>
                  <a:pt x="1959451" y="4531835"/>
                </a:cubicBezTo>
                <a:cubicBezTo>
                  <a:pt x="1959451" y="4533385"/>
                  <a:pt x="1959151" y="4534934"/>
                  <a:pt x="1957348" y="4536262"/>
                </a:cubicBezTo>
                <a:cubicBezTo>
                  <a:pt x="1955844" y="4537479"/>
                  <a:pt x="1955844" y="4535930"/>
                  <a:pt x="1955844" y="4537479"/>
                </a:cubicBezTo>
                <a:cubicBezTo>
                  <a:pt x="1954041" y="4538808"/>
                  <a:pt x="1955544" y="4539029"/>
                  <a:pt x="1955544" y="4539029"/>
                </a:cubicBezTo>
                <a:cubicBezTo>
                  <a:pt x="1955544" y="4539029"/>
                  <a:pt x="1954041" y="4538697"/>
                  <a:pt x="1954041" y="4538697"/>
                </a:cubicBezTo>
                <a:cubicBezTo>
                  <a:pt x="1954041" y="4538697"/>
                  <a:pt x="1954041" y="4538808"/>
                  <a:pt x="1950733" y="4541353"/>
                </a:cubicBezTo>
                <a:cubicBezTo>
                  <a:pt x="1947126" y="4545448"/>
                  <a:pt x="1947126" y="4546997"/>
                  <a:pt x="1945322" y="4549764"/>
                </a:cubicBezTo>
                <a:cubicBezTo>
                  <a:pt x="1942016" y="4552309"/>
                  <a:pt x="1940213" y="4552088"/>
                  <a:pt x="1935403" y="4554412"/>
                </a:cubicBezTo>
                <a:cubicBezTo>
                  <a:pt x="1932397" y="4552420"/>
                  <a:pt x="1932397" y="4552420"/>
                  <a:pt x="1932397" y="4550871"/>
                </a:cubicBezTo>
                <a:cubicBezTo>
                  <a:pt x="1932397" y="4552420"/>
                  <a:pt x="1930893" y="4552088"/>
                  <a:pt x="1929090" y="4553416"/>
                </a:cubicBezTo>
                <a:lnTo>
                  <a:pt x="1925182" y="4556404"/>
                </a:lnTo>
                <a:lnTo>
                  <a:pt x="1924881" y="4560056"/>
                </a:lnTo>
                <a:cubicBezTo>
                  <a:pt x="1924580" y="4561606"/>
                  <a:pt x="1924280" y="4563155"/>
                  <a:pt x="1922175" y="4565258"/>
                </a:cubicBezTo>
                <a:cubicBezTo>
                  <a:pt x="1918568" y="4563155"/>
                  <a:pt x="1916163" y="4560831"/>
                  <a:pt x="1912556" y="4558839"/>
                </a:cubicBezTo>
                <a:lnTo>
                  <a:pt x="1917065" y="4554523"/>
                </a:lnTo>
                <a:lnTo>
                  <a:pt x="1908648" y="4548768"/>
                </a:lnTo>
                <a:cubicBezTo>
                  <a:pt x="1910452" y="4547440"/>
                  <a:pt x="1905641" y="4543788"/>
                  <a:pt x="1904440" y="4540578"/>
                </a:cubicBezTo>
                <a:cubicBezTo>
                  <a:pt x="1904740" y="4536041"/>
                  <a:pt x="1905041" y="4532942"/>
                  <a:pt x="1908347" y="4530397"/>
                </a:cubicBezTo>
                <a:lnTo>
                  <a:pt x="1914059" y="4528626"/>
                </a:lnTo>
                <a:lnTo>
                  <a:pt x="1911954" y="4526966"/>
                </a:lnTo>
                <a:cubicBezTo>
                  <a:pt x="1910752" y="4525416"/>
                  <a:pt x="1909851" y="4523756"/>
                  <a:pt x="1907746" y="4522871"/>
                </a:cubicBezTo>
                <a:cubicBezTo>
                  <a:pt x="1909249" y="4521543"/>
                  <a:pt x="1911053" y="4519772"/>
                  <a:pt x="1913157" y="4518665"/>
                </a:cubicBezTo>
                <a:lnTo>
                  <a:pt x="1917666" y="4518333"/>
                </a:lnTo>
                <a:lnTo>
                  <a:pt x="1917065" y="4516341"/>
                </a:lnTo>
                <a:cubicBezTo>
                  <a:pt x="1918268" y="4510586"/>
                  <a:pt x="1923980" y="4504831"/>
                  <a:pt x="1932697" y="4505606"/>
                </a:cubicBezTo>
                <a:close/>
                <a:moveTo>
                  <a:pt x="5223226" y="4505053"/>
                </a:moveTo>
                <a:cubicBezTo>
                  <a:pt x="5224730" y="4504389"/>
                  <a:pt x="5224730" y="4504389"/>
                  <a:pt x="5225332" y="4505827"/>
                </a:cubicBezTo>
                <a:lnTo>
                  <a:pt x="5225332" y="4505163"/>
                </a:lnTo>
                <a:lnTo>
                  <a:pt x="5228036" y="4507820"/>
                </a:lnTo>
                <a:cubicBezTo>
                  <a:pt x="5228337" y="4509369"/>
                  <a:pt x="5228337" y="4511029"/>
                  <a:pt x="5228036" y="4512800"/>
                </a:cubicBezTo>
                <a:cubicBezTo>
                  <a:pt x="5226834" y="4513464"/>
                  <a:pt x="5226834" y="4513464"/>
                  <a:pt x="5224730" y="4512689"/>
                </a:cubicBezTo>
                <a:cubicBezTo>
                  <a:pt x="5223226" y="4513353"/>
                  <a:pt x="5223828" y="4506381"/>
                  <a:pt x="5223226" y="4505053"/>
                </a:cubicBezTo>
                <a:close/>
                <a:moveTo>
                  <a:pt x="5208798" y="4505053"/>
                </a:moveTo>
                <a:cubicBezTo>
                  <a:pt x="5209399" y="4506381"/>
                  <a:pt x="5210000" y="4507709"/>
                  <a:pt x="5210601" y="4509037"/>
                </a:cubicBezTo>
                <a:cubicBezTo>
                  <a:pt x="5210000" y="4511029"/>
                  <a:pt x="5210000" y="4511029"/>
                  <a:pt x="5208197" y="4510365"/>
                </a:cubicBezTo>
                <a:cubicBezTo>
                  <a:pt x="5207595" y="4508926"/>
                  <a:pt x="5206692" y="4507709"/>
                  <a:pt x="5208197" y="4507045"/>
                </a:cubicBezTo>
                <a:cubicBezTo>
                  <a:pt x="5207595" y="4505717"/>
                  <a:pt x="5207595" y="4505606"/>
                  <a:pt x="5208798" y="4505053"/>
                </a:cubicBezTo>
                <a:close/>
                <a:moveTo>
                  <a:pt x="2458772" y="4505053"/>
                </a:moveTo>
                <a:cubicBezTo>
                  <a:pt x="2459975" y="4504389"/>
                  <a:pt x="2459975" y="4504389"/>
                  <a:pt x="2460577" y="4505827"/>
                </a:cubicBezTo>
                <a:lnTo>
                  <a:pt x="2460877" y="4505163"/>
                </a:lnTo>
                <a:lnTo>
                  <a:pt x="2463282" y="4507820"/>
                </a:lnTo>
                <a:cubicBezTo>
                  <a:pt x="2463883" y="4509369"/>
                  <a:pt x="2463883" y="4511029"/>
                  <a:pt x="2463582" y="4512800"/>
                </a:cubicBezTo>
                <a:cubicBezTo>
                  <a:pt x="2462381" y="4513464"/>
                  <a:pt x="2462080" y="4513464"/>
                  <a:pt x="2460276" y="4512689"/>
                </a:cubicBezTo>
                <a:cubicBezTo>
                  <a:pt x="2458772" y="4513353"/>
                  <a:pt x="2459375" y="4506381"/>
                  <a:pt x="2458772" y="4505053"/>
                </a:cubicBezTo>
                <a:close/>
                <a:moveTo>
                  <a:pt x="2444343" y="4505053"/>
                </a:moveTo>
                <a:cubicBezTo>
                  <a:pt x="2444944" y="4506381"/>
                  <a:pt x="2445546" y="4507709"/>
                  <a:pt x="2446147" y="4509037"/>
                </a:cubicBezTo>
                <a:cubicBezTo>
                  <a:pt x="2445246" y="4511029"/>
                  <a:pt x="2445246" y="4511029"/>
                  <a:pt x="2443442" y="4510365"/>
                </a:cubicBezTo>
                <a:cubicBezTo>
                  <a:pt x="2442841" y="4508926"/>
                  <a:pt x="2442239" y="4507709"/>
                  <a:pt x="2443742" y="4507045"/>
                </a:cubicBezTo>
                <a:cubicBezTo>
                  <a:pt x="2443141" y="4505717"/>
                  <a:pt x="2443141" y="4505606"/>
                  <a:pt x="2444343" y="4505053"/>
                </a:cubicBezTo>
                <a:close/>
                <a:moveTo>
                  <a:pt x="1429467" y="4505053"/>
                </a:moveTo>
                <a:cubicBezTo>
                  <a:pt x="1430971" y="4504389"/>
                  <a:pt x="1430971" y="4504389"/>
                  <a:pt x="1431572" y="4505827"/>
                </a:cubicBezTo>
                <a:lnTo>
                  <a:pt x="1431872" y="4505163"/>
                </a:lnTo>
                <a:lnTo>
                  <a:pt x="1434277" y="4507820"/>
                </a:lnTo>
                <a:cubicBezTo>
                  <a:pt x="1434578" y="4509369"/>
                  <a:pt x="1434578" y="4511029"/>
                  <a:pt x="1434578" y="4512800"/>
                </a:cubicBezTo>
                <a:cubicBezTo>
                  <a:pt x="1433075" y="4513464"/>
                  <a:pt x="1433075" y="4513464"/>
                  <a:pt x="1430971" y="4512689"/>
                </a:cubicBezTo>
                <a:cubicBezTo>
                  <a:pt x="1429769" y="4513353"/>
                  <a:pt x="1430069" y="4506381"/>
                  <a:pt x="1429467" y="4505053"/>
                </a:cubicBezTo>
                <a:close/>
                <a:moveTo>
                  <a:pt x="1415338" y="4505053"/>
                </a:moveTo>
                <a:cubicBezTo>
                  <a:pt x="1415940" y="4506381"/>
                  <a:pt x="1416541" y="4507709"/>
                  <a:pt x="1417142" y="4509037"/>
                </a:cubicBezTo>
                <a:cubicBezTo>
                  <a:pt x="1416241" y="4511029"/>
                  <a:pt x="1416241" y="4511029"/>
                  <a:pt x="1414437" y="4510365"/>
                </a:cubicBezTo>
                <a:cubicBezTo>
                  <a:pt x="1413836" y="4508926"/>
                  <a:pt x="1413235" y="4507709"/>
                  <a:pt x="1414437" y="4507045"/>
                </a:cubicBezTo>
                <a:cubicBezTo>
                  <a:pt x="1413836" y="4505717"/>
                  <a:pt x="1413836" y="4505606"/>
                  <a:pt x="1415338" y="4505053"/>
                </a:cubicBezTo>
                <a:close/>
                <a:moveTo>
                  <a:pt x="5225632" y="4504167"/>
                </a:moveTo>
                <a:lnTo>
                  <a:pt x="5225332" y="4505163"/>
                </a:lnTo>
                <a:lnTo>
                  <a:pt x="5224730" y="4504389"/>
                </a:lnTo>
                <a:cubicBezTo>
                  <a:pt x="5225332" y="4504057"/>
                  <a:pt x="5225632" y="4503946"/>
                  <a:pt x="5225632" y="4504167"/>
                </a:cubicBezTo>
                <a:close/>
                <a:moveTo>
                  <a:pt x="2461177" y="4504167"/>
                </a:moveTo>
                <a:lnTo>
                  <a:pt x="2460877" y="4505163"/>
                </a:lnTo>
                <a:lnTo>
                  <a:pt x="2459975" y="4504389"/>
                </a:lnTo>
                <a:cubicBezTo>
                  <a:pt x="2460877" y="4504057"/>
                  <a:pt x="2461177" y="4503946"/>
                  <a:pt x="2461177" y="4504167"/>
                </a:cubicBezTo>
                <a:close/>
                <a:moveTo>
                  <a:pt x="1432173" y="4504167"/>
                </a:moveTo>
                <a:lnTo>
                  <a:pt x="1431872" y="4505163"/>
                </a:lnTo>
                <a:lnTo>
                  <a:pt x="1430971" y="4504389"/>
                </a:lnTo>
                <a:cubicBezTo>
                  <a:pt x="1431572" y="4504057"/>
                  <a:pt x="1432173" y="4503946"/>
                  <a:pt x="1432173" y="4504167"/>
                </a:cubicBezTo>
                <a:close/>
                <a:moveTo>
                  <a:pt x="5259001" y="4503393"/>
                </a:moveTo>
                <a:cubicBezTo>
                  <a:pt x="5261104" y="4503171"/>
                  <a:pt x="5263509" y="4503282"/>
                  <a:pt x="5265614" y="4503393"/>
                </a:cubicBezTo>
                <a:cubicBezTo>
                  <a:pt x="5270123" y="4503835"/>
                  <a:pt x="5274632" y="4504942"/>
                  <a:pt x="5277037" y="4506381"/>
                </a:cubicBezTo>
                <a:cubicBezTo>
                  <a:pt x="5278239" y="4511472"/>
                  <a:pt x="5277338" y="4515013"/>
                  <a:pt x="5274934" y="4517227"/>
                </a:cubicBezTo>
                <a:cubicBezTo>
                  <a:pt x="5268319" y="4523867"/>
                  <a:pt x="5250883" y="4518444"/>
                  <a:pt x="5254191" y="4505274"/>
                </a:cubicBezTo>
                <a:cubicBezTo>
                  <a:pt x="5255393" y="4504389"/>
                  <a:pt x="5257197" y="4503725"/>
                  <a:pt x="5259001" y="4503393"/>
                </a:cubicBezTo>
                <a:close/>
                <a:moveTo>
                  <a:pt x="2494546" y="4503393"/>
                </a:moveTo>
                <a:cubicBezTo>
                  <a:pt x="2496650" y="4503171"/>
                  <a:pt x="2499055" y="4503282"/>
                  <a:pt x="2501160" y="4503393"/>
                </a:cubicBezTo>
                <a:cubicBezTo>
                  <a:pt x="2505669" y="4503835"/>
                  <a:pt x="2510178" y="4504942"/>
                  <a:pt x="2512283" y="4506381"/>
                </a:cubicBezTo>
                <a:cubicBezTo>
                  <a:pt x="2513785" y="4511472"/>
                  <a:pt x="2512583" y="4515013"/>
                  <a:pt x="2510479" y="4517227"/>
                </a:cubicBezTo>
                <a:cubicBezTo>
                  <a:pt x="2503865" y="4523867"/>
                  <a:pt x="2486128" y="4518444"/>
                  <a:pt x="2489737" y="4505274"/>
                </a:cubicBezTo>
                <a:cubicBezTo>
                  <a:pt x="2490939" y="4504389"/>
                  <a:pt x="2492442" y="4503725"/>
                  <a:pt x="2494546" y="4503393"/>
                </a:cubicBezTo>
                <a:close/>
                <a:moveTo>
                  <a:pt x="1465541" y="4503393"/>
                </a:moveTo>
                <a:cubicBezTo>
                  <a:pt x="1467646" y="4503171"/>
                  <a:pt x="1469750" y="4503282"/>
                  <a:pt x="1472155" y="4503393"/>
                </a:cubicBezTo>
                <a:cubicBezTo>
                  <a:pt x="1476664" y="4503835"/>
                  <a:pt x="1481173" y="4504942"/>
                  <a:pt x="1483278" y="4506381"/>
                </a:cubicBezTo>
                <a:cubicBezTo>
                  <a:pt x="1484780" y="4511472"/>
                  <a:pt x="1483578" y="4515013"/>
                  <a:pt x="1481173" y="4517227"/>
                </a:cubicBezTo>
                <a:cubicBezTo>
                  <a:pt x="1474560" y="4523867"/>
                  <a:pt x="1457124" y="4518444"/>
                  <a:pt x="1460431" y="4505274"/>
                </a:cubicBezTo>
                <a:cubicBezTo>
                  <a:pt x="1461633" y="4504389"/>
                  <a:pt x="1463437" y="4503725"/>
                  <a:pt x="1465541" y="4503393"/>
                </a:cubicBezTo>
                <a:close/>
                <a:moveTo>
                  <a:pt x="1250902" y="4503282"/>
                </a:moveTo>
                <a:cubicBezTo>
                  <a:pt x="1252104" y="4503393"/>
                  <a:pt x="1253007" y="4503835"/>
                  <a:pt x="1255111" y="4504499"/>
                </a:cubicBezTo>
                <a:cubicBezTo>
                  <a:pt x="1253608" y="4505163"/>
                  <a:pt x="1250902" y="4507820"/>
                  <a:pt x="1249098" y="4507156"/>
                </a:cubicBezTo>
                <a:cubicBezTo>
                  <a:pt x="1246995" y="4506491"/>
                  <a:pt x="1246995" y="4506491"/>
                  <a:pt x="1245792" y="4503835"/>
                </a:cubicBezTo>
                <a:cubicBezTo>
                  <a:pt x="1248197" y="4503393"/>
                  <a:pt x="1249700" y="4503282"/>
                  <a:pt x="1250902" y="4503282"/>
                </a:cubicBezTo>
                <a:close/>
                <a:moveTo>
                  <a:pt x="5662726" y="4502839"/>
                </a:moveTo>
                <a:cubicBezTo>
                  <a:pt x="5667235" y="4503282"/>
                  <a:pt x="5671143" y="4505717"/>
                  <a:pt x="5670242" y="4511582"/>
                </a:cubicBezTo>
                <a:cubicBezTo>
                  <a:pt x="5670242" y="4513132"/>
                  <a:pt x="5669040" y="4514238"/>
                  <a:pt x="5667235" y="4514681"/>
                </a:cubicBezTo>
                <a:cubicBezTo>
                  <a:pt x="5662125" y="4516231"/>
                  <a:pt x="5651904" y="4513132"/>
                  <a:pt x="5652506" y="4506713"/>
                </a:cubicBezTo>
                <a:cubicBezTo>
                  <a:pt x="5653107" y="4504167"/>
                  <a:pt x="5657917" y="4502507"/>
                  <a:pt x="5662726" y="4502839"/>
                </a:cubicBezTo>
                <a:close/>
                <a:moveTo>
                  <a:pt x="4407057" y="4502839"/>
                </a:moveTo>
                <a:cubicBezTo>
                  <a:pt x="4411567" y="4503282"/>
                  <a:pt x="4415776" y="4505717"/>
                  <a:pt x="4414873" y="4511582"/>
                </a:cubicBezTo>
                <a:cubicBezTo>
                  <a:pt x="4414873" y="4513132"/>
                  <a:pt x="4413671" y="4514238"/>
                  <a:pt x="4411867" y="4514681"/>
                </a:cubicBezTo>
                <a:cubicBezTo>
                  <a:pt x="4406456" y="4516231"/>
                  <a:pt x="4396536" y="4513132"/>
                  <a:pt x="4396837" y="4506713"/>
                </a:cubicBezTo>
                <a:cubicBezTo>
                  <a:pt x="4397438" y="4504167"/>
                  <a:pt x="4402549" y="4502507"/>
                  <a:pt x="4407057" y="4502839"/>
                </a:cubicBezTo>
                <a:close/>
                <a:moveTo>
                  <a:pt x="2897971" y="4502839"/>
                </a:moveTo>
                <a:cubicBezTo>
                  <a:pt x="2902480" y="4503282"/>
                  <a:pt x="2906689" y="4505717"/>
                  <a:pt x="2905788" y="4511582"/>
                </a:cubicBezTo>
                <a:cubicBezTo>
                  <a:pt x="2905788" y="4513132"/>
                  <a:pt x="2904585" y="4514238"/>
                  <a:pt x="2902780" y="4514681"/>
                </a:cubicBezTo>
                <a:cubicBezTo>
                  <a:pt x="2897369" y="4516231"/>
                  <a:pt x="2887450" y="4513132"/>
                  <a:pt x="2887750" y="4506713"/>
                </a:cubicBezTo>
                <a:cubicBezTo>
                  <a:pt x="2888652" y="4504167"/>
                  <a:pt x="2893462" y="4502507"/>
                  <a:pt x="2897971" y="4502839"/>
                </a:cubicBezTo>
                <a:close/>
                <a:moveTo>
                  <a:pt x="1868967" y="4502839"/>
                </a:moveTo>
                <a:cubicBezTo>
                  <a:pt x="1873475" y="4503282"/>
                  <a:pt x="1877685" y="4505717"/>
                  <a:pt x="1876783" y="4511582"/>
                </a:cubicBezTo>
                <a:cubicBezTo>
                  <a:pt x="1876483" y="4513132"/>
                  <a:pt x="1875279" y="4514238"/>
                  <a:pt x="1873475" y="4514681"/>
                </a:cubicBezTo>
                <a:cubicBezTo>
                  <a:pt x="1868366" y="4516231"/>
                  <a:pt x="1858445" y="4513132"/>
                  <a:pt x="1858746" y="4506713"/>
                </a:cubicBezTo>
                <a:cubicBezTo>
                  <a:pt x="1859647" y="4504167"/>
                  <a:pt x="1864457" y="4502507"/>
                  <a:pt x="1868967" y="4502839"/>
                </a:cubicBezTo>
                <a:close/>
                <a:moveTo>
                  <a:pt x="1257817" y="4501954"/>
                </a:moveTo>
                <a:cubicBezTo>
                  <a:pt x="1258719" y="4501843"/>
                  <a:pt x="1259019" y="4501954"/>
                  <a:pt x="1259320" y="4502507"/>
                </a:cubicBezTo>
                <a:cubicBezTo>
                  <a:pt x="1259920" y="4503835"/>
                  <a:pt x="1258418" y="4504499"/>
                  <a:pt x="1256313" y="4504057"/>
                </a:cubicBezTo>
                <a:cubicBezTo>
                  <a:pt x="1256313" y="4504057"/>
                  <a:pt x="1255712" y="4502729"/>
                  <a:pt x="1255712" y="4502729"/>
                </a:cubicBezTo>
                <a:cubicBezTo>
                  <a:pt x="1256313" y="4502397"/>
                  <a:pt x="1257215" y="4502065"/>
                  <a:pt x="1257817" y="4501954"/>
                </a:cubicBezTo>
                <a:close/>
                <a:moveTo>
                  <a:pt x="5608916" y="4501401"/>
                </a:moveTo>
                <a:cubicBezTo>
                  <a:pt x="5610118" y="4501622"/>
                  <a:pt x="5610419" y="4502397"/>
                  <a:pt x="5610419" y="4503171"/>
                </a:cubicBezTo>
                <a:cubicBezTo>
                  <a:pt x="5610419" y="4504057"/>
                  <a:pt x="5610118" y="4505053"/>
                  <a:pt x="5609818" y="4506159"/>
                </a:cubicBezTo>
                <a:cubicBezTo>
                  <a:pt x="5609217" y="4508262"/>
                  <a:pt x="5608315" y="4510586"/>
                  <a:pt x="5607714" y="4512689"/>
                </a:cubicBezTo>
                <a:cubicBezTo>
                  <a:pt x="5607714" y="4512689"/>
                  <a:pt x="5607714" y="4512689"/>
                  <a:pt x="5608916" y="4501401"/>
                </a:cubicBezTo>
                <a:close/>
                <a:moveTo>
                  <a:pt x="4353548" y="4501401"/>
                </a:moveTo>
                <a:cubicBezTo>
                  <a:pt x="4354451" y="4501622"/>
                  <a:pt x="4355052" y="4502397"/>
                  <a:pt x="4355052" y="4503171"/>
                </a:cubicBezTo>
                <a:cubicBezTo>
                  <a:pt x="4355052" y="4504057"/>
                  <a:pt x="4354751" y="4505053"/>
                  <a:pt x="4354451" y="4506159"/>
                </a:cubicBezTo>
                <a:cubicBezTo>
                  <a:pt x="4353548" y="4508262"/>
                  <a:pt x="4352947" y="4510586"/>
                  <a:pt x="4352046" y="4512689"/>
                </a:cubicBezTo>
                <a:cubicBezTo>
                  <a:pt x="4352046" y="4512689"/>
                  <a:pt x="4352046" y="4512689"/>
                  <a:pt x="4353548" y="4501401"/>
                </a:cubicBezTo>
                <a:close/>
                <a:moveTo>
                  <a:pt x="2844461" y="4501401"/>
                </a:moveTo>
                <a:cubicBezTo>
                  <a:pt x="2845665" y="4501622"/>
                  <a:pt x="2845965" y="4502397"/>
                  <a:pt x="2845965" y="4503171"/>
                </a:cubicBezTo>
                <a:cubicBezTo>
                  <a:pt x="2845965" y="4504057"/>
                  <a:pt x="2845665" y="4505053"/>
                  <a:pt x="2845364" y="4506159"/>
                </a:cubicBezTo>
                <a:cubicBezTo>
                  <a:pt x="2844461" y="4508262"/>
                  <a:pt x="2843860" y="4510586"/>
                  <a:pt x="2843259" y="4512689"/>
                </a:cubicBezTo>
                <a:cubicBezTo>
                  <a:pt x="2843259" y="4512689"/>
                  <a:pt x="2843259" y="4512689"/>
                  <a:pt x="2844461" y="4501401"/>
                </a:cubicBezTo>
                <a:close/>
                <a:moveTo>
                  <a:pt x="1815458" y="4501401"/>
                </a:moveTo>
                <a:cubicBezTo>
                  <a:pt x="1816359" y="4501622"/>
                  <a:pt x="1816660" y="4502397"/>
                  <a:pt x="1816660" y="4503171"/>
                </a:cubicBezTo>
                <a:cubicBezTo>
                  <a:pt x="1816660" y="4504057"/>
                  <a:pt x="1816660" y="4505053"/>
                  <a:pt x="1816059" y="4506159"/>
                </a:cubicBezTo>
                <a:cubicBezTo>
                  <a:pt x="1815458" y="4508262"/>
                  <a:pt x="1814856" y="4510586"/>
                  <a:pt x="1813954" y="4512689"/>
                </a:cubicBezTo>
                <a:cubicBezTo>
                  <a:pt x="1813954" y="4512689"/>
                  <a:pt x="1813954" y="4512689"/>
                  <a:pt x="1815458" y="4501401"/>
                </a:cubicBezTo>
                <a:close/>
                <a:moveTo>
                  <a:pt x="2182808" y="4501069"/>
                </a:moveTo>
                <a:lnTo>
                  <a:pt x="2181606" y="4501954"/>
                </a:lnTo>
                <a:lnTo>
                  <a:pt x="2183410" y="4503503"/>
                </a:lnTo>
                <a:cubicBezTo>
                  <a:pt x="2183410" y="4503503"/>
                  <a:pt x="2183410" y="4503614"/>
                  <a:pt x="2182508" y="4502286"/>
                </a:cubicBezTo>
                <a:close/>
                <a:moveTo>
                  <a:pt x="5976568" y="4500958"/>
                </a:moveTo>
                <a:lnTo>
                  <a:pt x="5975366" y="4501954"/>
                </a:lnTo>
                <a:lnTo>
                  <a:pt x="5976868" y="4503503"/>
                </a:lnTo>
                <a:cubicBezTo>
                  <a:pt x="5976868" y="4503503"/>
                  <a:pt x="5976868" y="4503614"/>
                  <a:pt x="5976267" y="4502286"/>
                </a:cubicBezTo>
                <a:close/>
                <a:moveTo>
                  <a:pt x="1266835" y="4499187"/>
                </a:moveTo>
                <a:cubicBezTo>
                  <a:pt x="1266835" y="4499187"/>
                  <a:pt x="1265933" y="4501069"/>
                  <a:pt x="1265933" y="4501069"/>
                </a:cubicBezTo>
                <a:cubicBezTo>
                  <a:pt x="1263829" y="4500626"/>
                  <a:pt x="1264130" y="4501843"/>
                  <a:pt x="1263228" y="4499409"/>
                </a:cubicBezTo>
                <a:cubicBezTo>
                  <a:pt x="1265332" y="4499851"/>
                  <a:pt x="1265332" y="4499851"/>
                  <a:pt x="1266835" y="4499187"/>
                </a:cubicBezTo>
                <a:close/>
                <a:moveTo>
                  <a:pt x="5704211" y="4498302"/>
                </a:moveTo>
                <a:cubicBezTo>
                  <a:pt x="5705112" y="4499630"/>
                  <a:pt x="5706616" y="4502175"/>
                  <a:pt x="5705713" y="4504389"/>
                </a:cubicBezTo>
                <a:cubicBezTo>
                  <a:pt x="5706616" y="4505717"/>
                  <a:pt x="5701505" y="4506824"/>
                  <a:pt x="5701505" y="4506824"/>
                </a:cubicBezTo>
                <a:cubicBezTo>
                  <a:pt x="5699401" y="4506270"/>
                  <a:pt x="5700002" y="4500737"/>
                  <a:pt x="5699401" y="4499409"/>
                </a:cubicBezTo>
                <a:cubicBezTo>
                  <a:pt x="5700604" y="4498523"/>
                  <a:pt x="5703009" y="4499077"/>
                  <a:pt x="5704211" y="4498302"/>
                </a:cubicBezTo>
                <a:close/>
                <a:moveTo>
                  <a:pt x="4448844" y="4498302"/>
                </a:moveTo>
                <a:cubicBezTo>
                  <a:pt x="4449445" y="4499630"/>
                  <a:pt x="4450947" y="4502175"/>
                  <a:pt x="4450346" y="4504389"/>
                </a:cubicBezTo>
                <a:cubicBezTo>
                  <a:pt x="4450947" y="4505717"/>
                  <a:pt x="4445836" y="4506824"/>
                  <a:pt x="4445836" y="4506824"/>
                </a:cubicBezTo>
                <a:cubicBezTo>
                  <a:pt x="4443733" y="4506270"/>
                  <a:pt x="4444334" y="4500737"/>
                  <a:pt x="4443733" y="4499409"/>
                </a:cubicBezTo>
                <a:cubicBezTo>
                  <a:pt x="4445235" y="4498523"/>
                  <a:pt x="4447340" y="4499077"/>
                  <a:pt x="4448844" y="4498302"/>
                </a:cubicBezTo>
                <a:close/>
                <a:moveTo>
                  <a:pt x="2939757" y="4498302"/>
                </a:moveTo>
                <a:cubicBezTo>
                  <a:pt x="2940658" y="4499630"/>
                  <a:pt x="2941861" y="4502175"/>
                  <a:pt x="2941259" y="4504389"/>
                </a:cubicBezTo>
                <a:cubicBezTo>
                  <a:pt x="2942162" y="4505717"/>
                  <a:pt x="2937051" y="4506824"/>
                  <a:pt x="2937051" y="4506824"/>
                </a:cubicBezTo>
                <a:cubicBezTo>
                  <a:pt x="2934646" y="4506270"/>
                  <a:pt x="2935247" y="4500737"/>
                  <a:pt x="2934646" y="4499409"/>
                </a:cubicBezTo>
                <a:cubicBezTo>
                  <a:pt x="2936149" y="4498523"/>
                  <a:pt x="2938253" y="4499077"/>
                  <a:pt x="2939757" y="4498302"/>
                </a:cubicBezTo>
                <a:close/>
                <a:moveTo>
                  <a:pt x="1910752" y="4498302"/>
                </a:moveTo>
                <a:cubicBezTo>
                  <a:pt x="1911353" y="4499630"/>
                  <a:pt x="1912857" y="4502175"/>
                  <a:pt x="1912255" y="4504389"/>
                </a:cubicBezTo>
                <a:cubicBezTo>
                  <a:pt x="1912857" y="4505717"/>
                  <a:pt x="1907746" y="4506824"/>
                  <a:pt x="1907746" y="4506824"/>
                </a:cubicBezTo>
                <a:cubicBezTo>
                  <a:pt x="1905641" y="4506270"/>
                  <a:pt x="1906243" y="4500737"/>
                  <a:pt x="1905641" y="4499409"/>
                </a:cubicBezTo>
                <a:cubicBezTo>
                  <a:pt x="1906843" y="4498523"/>
                  <a:pt x="1909249" y="4499077"/>
                  <a:pt x="1910752" y="4498302"/>
                </a:cubicBezTo>
                <a:close/>
                <a:moveTo>
                  <a:pt x="2918413" y="4498080"/>
                </a:moveTo>
                <a:cubicBezTo>
                  <a:pt x="2928634" y="4498412"/>
                  <a:pt x="2927131" y="4501401"/>
                  <a:pt x="2925328" y="4508705"/>
                </a:cubicBezTo>
                <a:cubicBezTo>
                  <a:pt x="2918713" y="4507820"/>
                  <a:pt x="2917812" y="4504389"/>
                  <a:pt x="2918413" y="4498080"/>
                </a:cubicBezTo>
                <a:close/>
                <a:moveTo>
                  <a:pt x="5584566" y="4497970"/>
                </a:moveTo>
                <a:cubicBezTo>
                  <a:pt x="5586671" y="4498855"/>
                  <a:pt x="5587572" y="4500405"/>
                  <a:pt x="5587572" y="4502286"/>
                </a:cubicBezTo>
                <a:cubicBezTo>
                  <a:pt x="5587572" y="4504167"/>
                  <a:pt x="5586971" y="4506381"/>
                  <a:pt x="5586070" y="4508262"/>
                </a:cubicBezTo>
                <a:cubicBezTo>
                  <a:pt x="5585769" y="4509922"/>
                  <a:pt x="5584266" y="4511250"/>
                  <a:pt x="5582462" y="4512025"/>
                </a:cubicBezTo>
                <a:cubicBezTo>
                  <a:pt x="5580959" y="4512800"/>
                  <a:pt x="5578855" y="4513021"/>
                  <a:pt x="5577050" y="4512800"/>
                </a:cubicBezTo>
                <a:cubicBezTo>
                  <a:pt x="5575248" y="4511914"/>
                  <a:pt x="5575248" y="4511914"/>
                  <a:pt x="5573143" y="4511029"/>
                </a:cubicBezTo>
                <a:cubicBezTo>
                  <a:pt x="5572541" y="4508152"/>
                  <a:pt x="5570137" y="4505938"/>
                  <a:pt x="5570738" y="4502507"/>
                </a:cubicBezTo>
                <a:cubicBezTo>
                  <a:pt x="5573143" y="4498634"/>
                  <a:pt x="5581260" y="4497527"/>
                  <a:pt x="5584566" y="4497970"/>
                </a:cubicBezTo>
                <a:close/>
                <a:moveTo>
                  <a:pt x="4329198" y="4497970"/>
                </a:moveTo>
                <a:cubicBezTo>
                  <a:pt x="4331002" y="4498855"/>
                  <a:pt x="4331905" y="4500405"/>
                  <a:pt x="4332205" y="4502286"/>
                </a:cubicBezTo>
                <a:cubicBezTo>
                  <a:pt x="4332205" y="4504167"/>
                  <a:pt x="4331603" y="4506381"/>
                  <a:pt x="4330401" y="4508262"/>
                </a:cubicBezTo>
                <a:cubicBezTo>
                  <a:pt x="4330101" y="4509922"/>
                  <a:pt x="4328597" y="4511250"/>
                  <a:pt x="4327094" y="4512025"/>
                </a:cubicBezTo>
                <a:cubicBezTo>
                  <a:pt x="4325290" y="4512800"/>
                  <a:pt x="4323186" y="4513021"/>
                  <a:pt x="4321683" y="4512800"/>
                </a:cubicBezTo>
                <a:cubicBezTo>
                  <a:pt x="4319579" y="4511914"/>
                  <a:pt x="4319579" y="4511914"/>
                  <a:pt x="4317775" y="4511029"/>
                </a:cubicBezTo>
                <a:cubicBezTo>
                  <a:pt x="4316873" y="4508152"/>
                  <a:pt x="4314468" y="4505938"/>
                  <a:pt x="4315371" y="4502507"/>
                </a:cubicBezTo>
                <a:cubicBezTo>
                  <a:pt x="4317474" y="4498634"/>
                  <a:pt x="4325591" y="4497527"/>
                  <a:pt x="4329198" y="4497970"/>
                </a:cubicBezTo>
                <a:close/>
                <a:moveTo>
                  <a:pt x="2820112" y="4497970"/>
                </a:moveTo>
                <a:cubicBezTo>
                  <a:pt x="2821915" y="4498855"/>
                  <a:pt x="2822818" y="4500405"/>
                  <a:pt x="2823119" y="4502286"/>
                </a:cubicBezTo>
                <a:cubicBezTo>
                  <a:pt x="2823119" y="4504167"/>
                  <a:pt x="2822516" y="4506381"/>
                  <a:pt x="2821314" y="4508262"/>
                </a:cubicBezTo>
                <a:cubicBezTo>
                  <a:pt x="2821014" y="4509922"/>
                  <a:pt x="2819812" y="4511250"/>
                  <a:pt x="2818008" y="4512025"/>
                </a:cubicBezTo>
                <a:cubicBezTo>
                  <a:pt x="2816504" y="4512800"/>
                  <a:pt x="2814401" y="4513021"/>
                  <a:pt x="2812597" y="4512800"/>
                </a:cubicBezTo>
                <a:cubicBezTo>
                  <a:pt x="2810492" y="4511914"/>
                  <a:pt x="2810792" y="4511914"/>
                  <a:pt x="2808689" y="4511029"/>
                </a:cubicBezTo>
                <a:cubicBezTo>
                  <a:pt x="2807787" y="4508152"/>
                  <a:pt x="2805382" y="4505938"/>
                  <a:pt x="2806284" y="4502507"/>
                </a:cubicBezTo>
                <a:cubicBezTo>
                  <a:pt x="2808387" y="4498634"/>
                  <a:pt x="2816504" y="4497527"/>
                  <a:pt x="2820112" y="4497970"/>
                </a:cubicBezTo>
                <a:close/>
                <a:moveTo>
                  <a:pt x="3740594" y="4496420"/>
                </a:moveTo>
                <a:cubicBezTo>
                  <a:pt x="3735485" y="4494760"/>
                  <a:pt x="3727368" y="4503171"/>
                  <a:pt x="3730374" y="4502507"/>
                </a:cubicBezTo>
                <a:cubicBezTo>
                  <a:pt x="3728870" y="4502065"/>
                  <a:pt x="3725864" y="4502729"/>
                  <a:pt x="3722858" y="4503282"/>
                </a:cubicBezTo>
                <a:cubicBezTo>
                  <a:pt x="3721656" y="4502950"/>
                  <a:pt x="3719852" y="4503835"/>
                  <a:pt x="3718650" y="4503393"/>
                </a:cubicBezTo>
                <a:cubicBezTo>
                  <a:pt x="3718650" y="4503393"/>
                  <a:pt x="3718650" y="4503503"/>
                  <a:pt x="3718048" y="4504942"/>
                </a:cubicBezTo>
                <a:cubicBezTo>
                  <a:pt x="3718048" y="4504942"/>
                  <a:pt x="3718048" y="4504831"/>
                  <a:pt x="3707226" y="4507598"/>
                </a:cubicBezTo>
                <a:cubicBezTo>
                  <a:pt x="3707226" y="4507598"/>
                  <a:pt x="3707526" y="4507709"/>
                  <a:pt x="3706024" y="4507266"/>
                </a:cubicBezTo>
                <a:cubicBezTo>
                  <a:pt x="3706024" y="4507266"/>
                  <a:pt x="3706024" y="4507266"/>
                  <a:pt x="3706625" y="4505827"/>
                </a:cubicBezTo>
                <a:cubicBezTo>
                  <a:pt x="3706625" y="4505827"/>
                  <a:pt x="3706625" y="4505827"/>
                  <a:pt x="3705122" y="4505385"/>
                </a:cubicBezTo>
                <a:cubicBezTo>
                  <a:pt x="3700913" y="4505495"/>
                  <a:pt x="3697907" y="4506159"/>
                  <a:pt x="3694901" y="4506713"/>
                </a:cubicBezTo>
                <a:cubicBezTo>
                  <a:pt x="3687085" y="4508926"/>
                  <a:pt x="3680171" y="4512910"/>
                  <a:pt x="3674460" y="4522207"/>
                </a:cubicBezTo>
                <a:cubicBezTo>
                  <a:pt x="3674460" y="4522207"/>
                  <a:pt x="3674460" y="4522207"/>
                  <a:pt x="3673257" y="4521875"/>
                </a:cubicBezTo>
                <a:cubicBezTo>
                  <a:pt x="3673257" y="4521875"/>
                  <a:pt x="3673257" y="4521875"/>
                  <a:pt x="3671453" y="4522871"/>
                </a:cubicBezTo>
                <a:cubicBezTo>
                  <a:pt x="3671453" y="4522871"/>
                  <a:pt x="3671453" y="4522871"/>
                  <a:pt x="3670251" y="4522428"/>
                </a:cubicBezTo>
                <a:cubicBezTo>
                  <a:pt x="3670251" y="4522428"/>
                  <a:pt x="3670251" y="4522317"/>
                  <a:pt x="3662735" y="4523092"/>
                </a:cubicBezTo>
                <a:cubicBezTo>
                  <a:pt x="3658527" y="4523203"/>
                  <a:pt x="3652515" y="4524531"/>
                  <a:pt x="3648306" y="4524642"/>
                </a:cubicBezTo>
                <a:cubicBezTo>
                  <a:pt x="3638987" y="4526412"/>
                  <a:pt x="3628766" y="4527740"/>
                  <a:pt x="3620048" y="4528072"/>
                </a:cubicBezTo>
                <a:cubicBezTo>
                  <a:pt x="3615538" y="4529622"/>
                  <a:pt x="3611330" y="4529843"/>
                  <a:pt x="3606520" y="4531393"/>
                </a:cubicBezTo>
                <a:cubicBezTo>
                  <a:pt x="3606520" y="4531393"/>
                  <a:pt x="3606520" y="4531393"/>
                  <a:pt x="3603514" y="4531946"/>
                </a:cubicBezTo>
                <a:cubicBezTo>
                  <a:pt x="3603514" y="4531946"/>
                  <a:pt x="3603214" y="4531946"/>
                  <a:pt x="3600809" y="4531061"/>
                </a:cubicBezTo>
                <a:cubicBezTo>
                  <a:pt x="3600809" y="4531061"/>
                  <a:pt x="3600809" y="4531171"/>
                  <a:pt x="3594797" y="4532278"/>
                </a:cubicBezTo>
                <a:cubicBezTo>
                  <a:pt x="3586079" y="4532610"/>
                  <a:pt x="3578263" y="4534713"/>
                  <a:pt x="3571047" y="4535487"/>
                </a:cubicBezTo>
                <a:cubicBezTo>
                  <a:pt x="3563833" y="4536262"/>
                  <a:pt x="3556318" y="4536926"/>
                  <a:pt x="3547900" y="4537258"/>
                </a:cubicBezTo>
                <a:cubicBezTo>
                  <a:pt x="3540385" y="4538033"/>
                  <a:pt x="3533772" y="4537258"/>
                  <a:pt x="3525054" y="4537590"/>
                </a:cubicBezTo>
                <a:cubicBezTo>
                  <a:pt x="3510925" y="4537701"/>
                  <a:pt x="3495894" y="4535819"/>
                  <a:pt x="3481164" y="4532499"/>
                </a:cubicBezTo>
                <a:cubicBezTo>
                  <a:pt x="3484471" y="4499962"/>
                  <a:pt x="3437274" y="4509812"/>
                  <a:pt x="3420440" y="4518555"/>
                </a:cubicBezTo>
                <a:cubicBezTo>
                  <a:pt x="3408415" y="4516120"/>
                  <a:pt x="3396090" y="4515124"/>
                  <a:pt x="3383465" y="4514128"/>
                </a:cubicBezTo>
                <a:cubicBezTo>
                  <a:pt x="3380458" y="4514792"/>
                  <a:pt x="3378053" y="4513906"/>
                  <a:pt x="3375048" y="4514460"/>
                </a:cubicBezTo>
                <a:cubicBezTo>
                  <a:pt x="3371139" y="4513242"/>
                  <a:pt x="3368133" y="4513796"/>
                  <a:pt x="3365427" y="4512910"/>
                </a:cubicBezTo>
                <a:cubicBezTo>
                  <a:pt x="3360016" y="4512689"/>
                  <a:pt x="3353102" y="4511914"/>
                  <a:pt x="3347691" y="4511693"/>
                </a:cubicBezTo>
                <a:lnTo>
                  <a:pt x="3314323" y="4508705"/>
                </a:lnTo>
                <a:lnTo>
                  <a:pt x="3311918" y="4509148"/>
                </a:lnTo>
                <a:lnTo>
                  <a:pt x="3311017" y="4508484"/>
                </a:lnTo>
                <a:lnTo>
                  <a:pt x="3273139" y="4505274"/>
                </a:lnTo>
                <a:lnTo>
                  <a:pt x="3277347" y="4517005"/>
                </a:lnTo>
                <a:cubicBezTo>
                  <a:pt x="3277949" y="4520989"/>
                  <a:pt x="3277347" y="4524642"/>
                  <a:pt x="3275844" y="4528183"/>
                </a:cubicBezTo>
                <a:cubicBezTo>
                  <a:pt x="3274341" y="4531614"/>
                  <a:pt x="3271935" y="4534934"/>
                  <a:pt x="3268629" y="4538033"/>
                </a:cubicBezTo>
                <a:lnTo>
                  <a:pt x="3257506" y="4545890"/>
                </a:lnTo>
                <a:lnTo>
                  <a:pt x="3262917" y="4547329"/>
                </a:lnTo>
                <a:cubicBezTo>
                  <a:pt x="3256304" y="4554744"/>
                  <a:pt x="3247887" y="4555076"/>
                  <a:pt x="3237365" y="4548325"/>
                </a:cubicBezTo>
                <a:cubicBezTo>
                  <a:pt x="3236163" y="4551203"/>
                  <a:pt x="3238869" y="4551977"/>
                  <a:pt x="3241273" y="4552863"/>
                </a:cubicBezTo>
                <a:cubicBezTo>
                  <a:pt x="3238869" y="4556736"/>
                  <a:pt x="3235261" y="4554080"/>
                  <a:pt x="3232856" y="4553195"/>
                </a:cubicBezTo>
                <a:lnTo>
                  <a:pt x="3251194" y="4564041"/>
                </a:lnTo>
                <a:lnTo>
                  <a:pt x="3253899" y="4560388"/>
                </a:lnTo>
                <a:cubicBezTo>
                  <a:pt x="3259611" y="4560610"/>
                  <a:pt x="3264721" y="4552752"/>
                  <a:pt x="3272538" y="4553416"/>
                </a:cubicBezTo>
                <a:cubicBezTo>
                  <a:pt x="3272237" y="4556183"/>
                  <a:pt x="3270433" y="4558950"/>
                  <a:pt x="3268028" y="4561716"/>
                </a:cubicBezTo>
                <a:lnTo>
                  <a:pt x="3259310" y="4569021"/>
                </a:lnTo>
                <a:lnTo>
                  <a:pt x="3269231" y="4576657"/>
                </a:lnTo>
                <a:cubicBezTo>
                  <a:pt x="3274040" y="4579756"/>
                  <a:pt x="3279151" y="4581637"/>
                  <a:pt x="3285163" y="4585179"/>
                </a:cubicBezTo>
                <a:cubicBezTo>
                  <a:pt x="3283961" y="4587724"/>
                  <a:pt x="3283360" y="4589827"/>
                  <a:pt x="3283360" y="4591487"/>
                </a:cubicBezTo>
                <a:lnTo>
                  <a:pt x="3284261" y="4594586"/>
                </a:lnTo>
                <a:lnTo>
                  <a:pt x="3286065" y="4593036"/>
                </a:lnTo>
                <a:lnTo>
                  <a:pt x="3288169" y="4592483"/>
                </a:lnTo>
                <a:lnTo>
                  <a:pt x="3289672" y="4590934"/>
                </a:lnTo>
                <a:lnTo>
                  <a:pt x="3290874" y="4591819"/>
                </a:lnTo>
                <a:lnTo>
                  <a:pt x="3293279" y="4591155"/>
                </a:lnTo>
                <a:lnTo>
                  <a:pt x="3294483" y="4595139"/>
                </a:lnTo>
                <a:lnTo>
                  <a:pt x="3297188" y="4597353"/>
                </a:lnTo>
                <a:lnTo>
                  <a:pt x="3299292" y="4599013"/>
                </a:lnTo>
                <a:cubicBezTo>
                  <a:pt x="3305605" y="4599123"/>
                  <a:pt x="3312819" y="4599898"/>
                  <a:pt x="3323642" y="4601226"/>
                </a:cubicBezTo>
                <a:cubicBezTo>
                  <a:pt x="3325145" y="4596799"/>
                  <a:pt x="3325145" y="4592151"/>
                  <a:pt x="3322440" y="4591266"/>
                </a:cubicBezTo>
                <a:cubicBezTo>
                  <a:pt x="3327249" y="4592040"/>
                  <a:pt x="3332660" y="4592372"/>
                  <a:pt x="3338973" y="4592372"/>
                </a:cubicBezTo>
                <a:lnTo>
                  <a:pt x="3357611" y="4592262"/>
                </a:lnTo>
                <a:lnTo>
                  <a:pt x="3362421" y="4585400"/>
                </a:lnTo>
                <a:cubicBezTo>
                  <a:pt x="3365728" y="4582523"/>
                  <a:pt x="3369937" y="4581084"/>
                  <a:pt x="3374445" y="4582080"/>
                </a:cubicBezTo>
                <a:lnTo>
                  <a:pt x="3371139" y="4590380"/>
                </a:lnTo>
                <a:lnTo>
                  <a:pt x="3397894" y="4586175"/>
                </a:lnTo>
                <a:cubicBezTo>
                  <a:pt x="3392182" y="4603550"/>
                  <a:pt x="3418035" y="4584957"/>
                  <a:pt x="3424949" y="4603329"/>
                </a:cubicBezTo>
                <a:cubicBezTo>
                  <a:pt x="3429758" y="4596910"/>
                  <a:pt x="3442385" y="4597906"/>
                  <a:pt x="3444189" y="4587282"/>
                </a:cubicBezTo>
                <a:cubicBezTo>
                  <a:pt x="3456513" y="4588278"/>
                  <a:pt x="3437575" y="4594807"/>
                  <a:pt x="3446593" y="4602554"/>
                </a:cubicBezTo>
                <a:cubicBezTo>
                  <a:pt x="3449298" y="4602333"/>
                  <a:pt x="3452606" y="4601115"/>
                  <a:pt x="3455612" y="4599455"/>
                </a:cubicBezTo>
                <a:lnTo>
                  <a:pt x="3460723" y="4596578"/>
                </a:lnTo>
                <a:lnTo>
                  <a:pt x="3460421" y="4590380"/>
                </a:lnTo>
                <a:cubicBezTo>
                  <a:pt x="3469440" y="4584183"/>
                  <a:pt x="3477857" y="4584736"/>
                  <a:pt x="3486575" y="4585289"/>
                </a:cubicBezTo>
                <a:cubicBezTo>
                  <a:pt x="3489581" y="4589274"/>
                  <a:pt x="3490182" y="4592262"/>
                  <a:pt x="3489581" y="4594586"/>
                </a:cubicBezTo>
                <a:lnTo>
                  <a:pt x="3485072" y="4598902"/>
                </a:lnTo>
                <a:lnTo>
                  <a:pt x="3485674" y="4599566"/>
                </a:lnTo>
                <a:cubicBezTo>
                  <a:pt x="3492888" y="4598902"/>
                  <a:pt x="3497097" y="4590712"/>
                  <a:pt x="3505815" y="4590380"/>
                </a:cubicBezTo>
                <a:cubicBezTo>
                  <a:pt x="3505815" y="4590380"/>
                  <a:pt x="3504011" y="4596135"/>
                  <a:pt x="3502508" y="4595693"/>
                </a:cubicBezTo>
                <a:cubicBezTo>
                  <a:pt x="3507017" y="4595471"/>
                  <a:pt x="3516035" y="4589052"/>
                  <a:pt x="3520244" y="4588942"/>
                </a:cubicBezTo>
                <a:cubicBezTo>
                  <a:pt x="3528962" y="4588610"/>
                  <a:pt x="3537679" y="4601005"/>
                  <a:pt x="3547900" y="4599677"/>
                </a:cubicBezTo>
                <a:cubicBezTo>
                  <a:pt x="3557219" y="4598017"/>
                  <a:pt x="3562931" y="4583961"/>
                  <a:pt x="3570747" y="4581748"/>
                </a:cubicBezTo>
                <a:cubicBezTo>
                  <a:pt x="3578563" y="4579645"/>
                  <a:pt x="3586079" y="4582080"/>
                  <a:pt x="3592692" y="4584293"/>
                </a:cubicBezTo>
                <a:cubicBezTo>
                  <a:pt x="3596299" y="4585622"/>
                  <a:pt x="3599607" y="4584957"/>
                  <a:pt x="3602613" y="4584404"/>
                </a:cubicBezTo>
                <a:cubicBezTo>
                  <a:pt x="3603815" y="4584847"/>
                  <a:pt x="3605018" y="4585289"/>
                  <a:pt x="3605018" y="4585289"/>
                </a:cubicBezTo>
                <a:cubicBezTo>
                  <a:pt x="3606821" y="4584293"/>
                  <a:pt x="3606821" y="4584293"/>
                  <a:pt x="3608625" y="4583297"/>
                </a:cubicBezTo>
                <a:cubicBezTo>
                  <a:pt x="3610127" y="4582301"/>
                  <a:pt x="3611931" y="4581195"/>
                  <a:pt x="3613735" y="4580199"/>
                </a:cubicBezTo>
                <a:cubicBezTo>
                  <a:pt x="3624558" y="4577432"/>
                  <a:pt x="3626060" y="4585954"/>
                  <a:pt x="3634778" y="4585622"/>
                </a:cubicBezTo>
                <a:lnTo>
                  <a:pt x="3656122" y="4578096"/>
                </a:lnTo>
                <a:lnTo>
                  <a:pt x="3646803" y="4576104"/>
                </a:lnTo>
                <a:cubicBezTo>
                  <a:pt x="3644999" y="4569463"/>
                  <a:pt x="3650711" y="4569131"/>
                  <a:pt x="3656422" y="4568799"/>
                </a:cubicBezTo>
                <a:cubicBezTo>
                  <a:pt x="3656723" y="4570460"/>
                  <a:pt x="3657926" y="4571677"/>
                  <a:pt x="3658527" y="4573116"/>
                </a:cubicBezTo>
                <a:lnTo>
                  <a:pt x="3658827" y="4577100"/>
                </a:lnTo>
                <a:lnTo>
                  <a:pt x="3660330" y="4576657"/>
                </a:lnTo>
                <a:cubicBezTo>
                  <a:pt x="3664839" y="4574997"/>
                  <a:pt x="3668447" y="4572894"/>
                  <a:pt x="3672656" y="4572784"/>
                </a:cubicBezTo>
                <a:cubicBezTo>
                  <a:pt x="3672656" y="4572784"/>
                  <a:pt x="3672656" y="4572784"/>
                  <a:pt x="3676263" y="4570792"/>
                </a:cubicBezTo>
                <a:cubicBezTo>
                  <a:pt x="3676263" y="4570792"/>
                  <a:pt x="3676263" y="4570792"/>
                  <a:pt x="3677466" y="4571234"/>
                </a:cubicBezTo>
                <a:cubicBezTo>
                  <a:pt x="3678067" y="4569796"/>
                  <a:pt x="3679269" y="4570238"/>
                  <a:pt x="3679269" y="4570238"/>
                </a:cubicBezTo>
                <a:cubicBezTo>
                  <a:pt x="3679269" y="4570238"/>
                  <a:pt x="3679269" y="4570238"/>
                  <a:pt x="3682275" y="4569574"/>
                </a:cubicBezTo>
                <a:cubicBezTo>
                  <a:pt x="3689190" y="4565590"/>
                  <a:pt x="3699109" y="4560831"/>
                  <a:pt x="3707828" y="4555740"/>
                </a:cubicBezTo>
                <a:lnTo>
                  <a:pt x="3708128" y="4552199"/>
                </a:lnTo>
                <a:lnTo>
                  <a:pt x="3705723" y="4551645"/>
                </a:lnTo>
                <a:cubicBezTo>
                  <a:pt x="3704220" y="4550096"/>
                  <a:pt x="3706024" y="4548768"/>
                  <a:pt x="3706024" y="4547329"/>
                </a:cubicBezTo>
                <a:lnTo>
                  <a:pt x="3709030" y="4545337"/>
                </a:lnTo>
                <a:lnTo>
                  <a:pt x="3709931" y="4537479"/>
                </a:lnTo>
                <a:lnTo>
                  <a:pt x="3709631" y="4530064"/>
                </a:lnTo>
                <a:lnTo>
                  <a:pt x="3706024" y="4531282"/>
                </a:lnTo>
                <a:cubicBezTo>
                  <a:pt x="3702417" y="4522539"/>
                  <a:pt x="3695502" y="4519440"/>
                  <a:pt x="3692196" y="4512689"/>
                </a:cubicBezTo>
                <a:cubicBezTo>
                  <a:pt x="3698508" y="4513021"/>
                  <a:pt x="3708429" y="4513906"/>
                  <a:pt x="3711736" y="4520436"/>
                </a:cubicBezTo>
                <a:lnTo>
                  <a:pt x="3712337" y="4525638"/>
                </a:lnTo>
                <a:lnTo>
                  <a:pt x="3722257" y="4523867"/>
                </a:lnTo>
                <a:cubicBezTo>
                  <a:pt x="3722257" y="4523867"/>
                  <a:pt x="3722257" y="4523756"/>
                  <a:pt x="3723459" y="4524199"/>
                </a:cubicBezTo>
                <a:cubicBezTo>
                  <a:pt x="3723459" y="4524199"/>
                  <a:pt x="3723459" y="4524199"/>
                  <a:pt x="3725263" y="4523203"/>
                </a:cubicBezTo>
                <a:cubicBezTo>
                  <a:pt x="3725564" y="4521764"/>
                  <a:pt x="3727067" y="4522207"/>
                  <a:pt x="3728570" y="4521100"/>
                </a:cubicBezTo>
                <a:cubicBezTo>
                  <a:pt x="3733981" y="4518112"/>
                  <a:pt x="3738491" y="4516563"/>
                  <a:pt x="3742699" y="4513021"/>
                </a:cubicBezTo>
                <a:cubicBezTo>
                  <a:pt x="3746306" y="4510254"/>
                  <a:pt x="3748711" y="4507488"/>
                  <a:pt x="3748711" y="4504721"/>
                </a:cubicBezTo>
                <a:cubicBezTo>
                  <a:pt x="3748711" y="4501843"/>
                  <a:pt x="3746306" y="4499077"/>
                  <a:pt x="3740594" y="4496420"/>
                </a:cubicBezTo>
                <a:close/>
                <a:moveTo>
                  <a:pt x="5279142" y="4496088"/>
                </a:moveTo>
                <a:cubicBezTo>
                  <a:pt x="5277938" y="4498080"/>
                  <a:pt x="5277638" y="4502839"/>
                  <a:pt x="5274031" y="4502397"/>
                </a:cubicBezTo>
                <a:cubicBezTo>
                  <a:pt x="5274934" y="4499077"/>
                  <a:pt x="5276136" y="4497195"/>
                  <a:pt x="5279142" y="4496088"/>
                </a:cubicBezTo>
                <a:close/>
                <a:moveTo>
                  <a:pt x="2514386" y="4496088"/>
                </a:moveTo>
                <a:cubicBezTo>
                  <a:pt x="2513485" y="4498080"/>
                  <a:pt x="2513184" y="4502839"/>
                  <a:pt x="2509577" y="4502397"/>
                </a:cubicBezTo>
                <a:cubicBezTo>
                  <a:pt x="2510178" y="4499077"/>
                  <a:pt x="2511380" y="4497195"/>
                  <a:pt x="2514386" y="4496088"/>
                </a:cubicBezTo>
                <a:close/>
                <a:moveTo>
                  <a:pt x="1485383" y="4496088"/>
                </a:moveTo>
                <a:cubicBezTo>
                  <a:pt x="1484179" y="4498080"/>
                  <a:pt x="1483879" y="4502839"/>
                  <a:pt x="1480572" y="4502397"/>
                </a:cubicBezTo>
                <a:cubicBezTo>
                  <a:pt x="1481173" y="4499077"/>
                  <a:pt x="1482375" y="4497195"/>
                  <a:pt x="1485383" y="4496088"/>
                </a:cubicBezTo>
                <a:close/>
                <a:moveTo>
                  <a:pt x="2253152" y="4495535"/>
                </a:moveTo>
                <a:cubicBezTo>
                  <a:pt x="2255256" y="4495092"/>
                  <a:pt x="2257361" y="4495535"/>
                  <a:pt x="2259766" y="4497638"/>
                </a:cubicBezTo>
                <a:cubicBezTo>
                  <a:pt x="2266379" y="4503946"/>
                  <a:pt x="2261870" y="4509812"/>
                  <a:pt x="2255857" y="4515677"/>
                </a:cubicBezTo>
                <a:cubicBezTo>
                  <a:pt x="2252851" y="4514017"/>
                  <a:pt x="2249545" y="4513906"/>
                  <a:pt x="2246539" y="4512246"/>
                </a:cubicBezTo>
                <a:cubicBezTo>
                  <a:pt x="2243834" y="4507598"/>
                  <a:pt x="2247140" y="4497084"/>
                  <a:pt x="2253152" y="4495535"/>
                </a:cubicBezTo>
                <a:close/>
                <a:moveTo>
                  <a:pt x="1224147" y="4495535"/>
                </a:moveTo>
                <a:cubicBezTo>
                  <a:pt x="1225951" y="4495092"/>
                  <a:pt x="1228356" y="4495535"/>
                  <a:pt x="1230761" y="4497638"/>
                </a:cubicBezTo>
                <a:cubicBezTo>
                  <a:pt x="1237374" y="4503946"/>
                  <a:pt x="1232866" y="4509812"/>
                  <a:pt x="1226853" y="4515677"/>
                </a:cubicBezTo>
                <a:cubicBezTo>
                  <a:pt x="1223546" y="4514017"/>
                  <a:pt x="1220540" y="4513906"/>
                  <a:pt x="1217233" y="4512246"/>
                </a:cubicBezTo>
                <a:cubicBezTo>
                  <a:pt x="1214828" y="4507598"/>
                  <a:pt x="1218135" y="4497084"/>
                  <a:pt x="1224147" y="4495535"/>
                </a:cubicBezTo>
                <a:close/>
                <a:moveTo>
                  <a:pt x="5847304" y="4494650"/>
                </a:moveTo>
                <a:cubicBezTo>
                  <a:pt x="5849407" y="4494207"/>
                  <a:pt x="5851211" y="4494096"/>
                  <a:pt x="5852114" y="4494982"/>
                </a:cubicBezTo>
                <a:cubicBezTo>
                  <a:pt x="5853617" y="4496752"/>
                  <a:pt x="5853316" y="4498191"/>
                  <a:pt x="5853316" y="4499741"/>
                </a:cubicBezTo>
                <a:cubicBezTo>
                  <a:pt x="5851512" y="4502507"/>
                  <a:pt x="5849708" y="4505163"/>
                  <a:pt x="5847905" y="4507930"/>
                </a:cubicBezTo>
                <a:cubicBezTo>
                  <a:pt x="5842794" y="4511693"/>
                  <a:pt x="5837684" y="4515567"/>
                  <a:pt x="5833174" y="4511914"/>
                </a:cubicBezTo>
                <a:cubicBezTo>
                  <a:pt x="5836782" y="4506381"/>
                  <a:pt x="5838886" y="4502065"/>
                  <a:pt x="5842494" y="4496531"/>
                </a:cubicBezTo>
                <a:cubicBezTo>
                  <a:pt x="5843395" y="4495978"/>
                  <a:pt x="5845199" y="4495092"/>
                  <a:pt x="5847304" y="4494650"/>
                </a:cubicBezTo>
                <a:close/>
                <a:moveTo>
                  <a:pt x="2053544" y="4494650"/>
                </a:moveTo>
                <a:cubicBezTo>
                  <a:pt x="2055648" y="4494207"/>
                  <a:pt x="2057753" y="4494096"/>
                  <a:pt x="2058354" y="4494982"/>
                </a:cubicBezTo>
                <a:cubicBezTo>
                  <a:pt x="2059857" y="4496752"/>
                  <a:pt x="2059857" y="4498191"/>
                  <a:pt x="2059557" y="4499741"/>
                </a:cubicBezTo>
                <a:cubicBezTo>
                  <a:pt x="2057753" y="4502507"/>
                  <a:pt x="2056249" y="4505163"/>
                  <a:pt x="2054446" y="4507930"/>
                </a:cubicBezTo>
                <a:cubicBezTo>
                  <a:pt x="2049336" y="4511693"/>
                  <a:pt x="2044225" y="4515567"/>
                  <a:pt x="2039715" y="4511914"/>
                </a:cubicBezTo>
                <a:cubicBezTo>
                  <a:pt x="2043324" y="4506381"/>
                  <a:pt x="2045126" y="4502065"/>
                  <a:pt x="2048735" y="4496531"/>
                </a:cubicBezTo>
                <a:cubicBezTo>
                  <a:pt x="2049636" y="4495978"/>
                  <a:pt x="2051741" y="4495092"/>
                  <a:pt x="2053544" y="4494650"/>
                </a:cubicBezTo>
                <a:close/>
                <a:moveTo>
                  <a:pt x="5389767" y="4494096"/>
                </a:moveTo>
                <a:cubicBezTo>
                  <a:pt x="5391272" y="4495867"/>
                  <a:pt x="5392474" y="4497638"/>
                  <a:pt x="5393976" y="4499519"/>
                </a:cubicBezTo>
                <a:cubicBezTo>
                  <a:pt x="5386461" y="4505606"/>
                  <a:pt x="5385559" y="4513021"/>
                  <a:pt x="5379847" y="4518001"/>
                </a:cubicBezTo>
                <a:cubicBezTo>
                  <a:pt x="5377743" y="4509922"/>
                  <a:pt x="5375038" y="4495535"/>
                  <a:pt x="5389767" y="4494096"/>
                </a:cubicBezTo>
                <a:close/>
                <a:moveTo>
                  <a:pt x="2625313" y="4494096"/>
                </a:moveTo>
                <a:cubicBezTo>
                  <a:pt x="2626817" y="4495867"/>
                  <a:pt x="2628019" y="4497638"/>
                  <a:pt x="2629522" y="4499519"/>
                </a:cubicBezTo>
                <a:cubicBezTo>
                  <a:pt x="2622006" y="4505606"/>
                  <a:pt x="2621105" y="4513021"/>
                  <a:pt x="2615393" y="4518001"/>
                </a:cubicBezTo>
                <a:cubicBezTo>
                  <a:pt x="2613289" y="4509922"/>
                  <a:pt x="2610583" y="4495535"/>
                  <a:pt x="2625313" y="4494096"/>
                </a:cubicBezTo>
                <a:close/>
                <a:moveTo>
                  <a:pt x="1596309" y="4494096"/>
                </a:moveTo>
                <a:cubicBezTo>
                  <a:pt x="1597511" y="4495867"/>
                  <a:pt x="1599015" y="4497638"/>
                  <a:pt x="1600217" y="4499519"/>
                </a:cubicBezTo>
                <a:cubicBezTo>
                  <a:pt x="1593002" y="4505606"/>
                  <a:pt x="1591800" y="4513021"/>
                  <a:pt x="1586389" y="4518001"/>
                </a:cubicBezTo>
                <a:cubicBezTo>
                  <a:pt x="1584284" y="4509922"/>
                  <a:pt x="1581278" y="4495535"/>
                  <a:pt x="1596309" y="4494096"/>
                </a:cubicBezTo>
                <a:close/>
                <a:moveTo>
                  <a:pt x="6091704" y="4493543"/>
                </a:moveTo>
                <a:cubicBezTo>
                  <a:pt x="6094108" y="4501179"/>
                  <a:pt x="6083587" y="4509922"/>
                  <a:pt x="6076372" y="4509148"/>
                </a:cubicBezTo>
                <a:cubicBezTo>
                  <a:pt x="6073968" y="4508926"/>
                  <a:pt x="6071862" y="4507709"/>
                  <a:pt x="6070961" y="4505053"/>
                </a:cubicBezTo>
                <a:cubicBezTo>
                  <a:pt x="6072765" y="4495424"/>
                  <a:pt x="6082083" y="4497859"/>
                  <a:pt x="6091704" y="4493543"/>
                </a:cubicBezTo>
                <a:close/>
                <a:moveTo>
                  <a:pt x="2321392" y="4492547"/>
                </a:moveTo>
                <a:cubicBezTo>
                  <a:pt x="2318686" y="4493875"/>
                  <a:pt x="2301552" y="4499962"/>
                  <a:pt x="2296140" y="4499409"/>
                </a:cubicBezTo>
                <a:cubicBezTo>
                  <a:pt x="2303957" y="4497306"/>
                  <a:pt x="2313876" y="4491219"/>
                  <a:pt x="2321392" y="4492547"/>
                </a:cubicBezTo>
                <a:close/>
                <a:moveTo>
                  <a:pt x="1292387" y="4492547"/>
                </a:moveTo>
                <a:cubicBezTo>
                  <a:pt x="1289381" y="4493875"/>
                  <a:pt x="1272547" y="4499962"/>
                  <a:pt x="1267136" y="4499409"/>
                </a:cubicBezTo>
                <a:cubicBezTo>
                  <a:pt x="1274952" y="4497306"/>
                  <a:pt x="1284872" y="4491219"/>
                  <a:pt x="1292387" y="4492547"/>
                </a:cubicBezTo>
                <a:close/>
                <a:moveTo>
                  <a:pt x="1777880" y="4491330"/>
                </a:moveTo>
                <a:cubicBezTo>
                  <a:pt x="1779985" y="4491994"/>
                  <a:pt x="1782089" y="4493100"/>
                  <a:pt x="1783892" y="4494539"/>
                </a:cubicBezTo>
                <a:lnTo>
                  <a:pt x="1787199" y="4498302"/>
                </a:lnTo>
                <a:lnTo>
                  <a:pt x="1791108" y="4497970"/>
                </a:lnTo>
                <a:cubicBezTo>
                  <a:pt x="1792911" y="4498855"/>
                  <a:pt x="1793813" y="4500405"/>
                  <a:pt x="1793813" y="4502286"/>
                </a:cubicBezTo>
                <a:cubicBezTo>
                  <a:pt x="1794114" y="4504167"/>
                  <a:pt x="1793513" y="4506381"/>
                  <a:pt x="1792310" y="4508262"/>
                </a:cubicBezTo>
                <a:cubicBezTo>
                  <a:pt x="1792009" y="4509922"/>
                  <a:pt x="1790507" y="4511250"/>
                  <a:pt x="1789003" y="4512025"/>
                </a:cubicBezTo>
                <a:lnTo>
                  <a:pt x="1788703" y="4512025"/>
                </a:lnTo>
                <a:lnTo>
                  <a:pt x="1788703" y="4513906"/>
                </a:lnTo>
                <a:cubicBezTo>
                  <a:pt x="1785096" y="4515456"/>
                  <a:pt x="1780586" y="4519329"/>
                  <a:pt x="1774574" y="4519772"/>
                </a:cubicBezTo>
                <a:cubicBezTo>
                  <a:pt x="1764052" y="4512025"/>
                  <a:pt x="1762850" y="4502397"/>
                  <a:pt x="1767659" y="4492326"/>
                </a:cubicBezTo>
                <a:cubicBezTo>
                  <a:pt x="1771267" y="4490776"/>
                  <a:pt x="1774574" y="4490555"/>
                  <a:pt x="1777880" y="4491330"/>
                </a:cubicBezTo>
                <a:close/>
                <a:moveTo>
                  <a:pt x="6260950" y="4490555"/>
                </a:moveTo>
                <a:cubicBezTo>
                  <a:pt x="6275379" y="4490223"/>
                  <a:pt x="6278686" y="4503946"/>
                  <a:pt x="6273275" y="4510476"/>
                </a:cubicBezTo>
                <a:cubicBezTo>
                  <a:pt x="6271470" y="4512578"/>
                  <a:pt x="6268466" y="4513906"/>
                  <a:pt x="6264857" y="4513685"/>
                </a:cubicBezTo>
                <a:cubicBezTo>
                  <a:pt x="6259747" y="4505495"/>
                  <a:pt x="6252533" y="4496974"/>
                  <a:pt x="6260950" y="4490555"/>
                </a:cubicBezTo>
                <a:close/>
                <a:moveTo>
                  <a:pt x="5410810" y="4490001"/>
                </a:moveTo>
                <a:cubicBezTo>
                  <a:pt x="5427044" y="4489116"/>
                  <a:pt x="5430051" y="4499519"/>
                  <a:pt x="5425842" y="4505717"/>
                </a:cubicBezTo>
                <a:cubicBezTo>
                  <a:pt x="5424338" y="4507820"/>
                  <a:pt x="5422234" y="4509369"/>
                  <a:pt x="5419529" y="4510033"/>
                </a:cubicBezTo>
                <a:cubicBezTo>
                  <a:pt x="5415921" y="4510808"/>
                  <a:pt x="5411111" y="4509701"/>
                  <a:pt x="5406301" y="4505495"/>
                </a:cubicBezTo>
                <a:cubicBezTo>
                  <a:pt x="5405700" y="4497859"/>
                  <a:pt x="5409308" y="4495203"/>
                  <a:pt x="5410810" y="4490001"/>
                </a:cubicBezTo>
                <a:close/>
                <a:moveTo>
                  <a:pt x="2388429" y="4489337"/>
                </a:moveTo>
                <a:cubicBezTo>
                  <a:pt x="2389330" y="4489669"/>
                  <a:pt x="2390233" y="4490333"/>
                  <a:pt x="2390834" y="4491219"/>
                </a:cubicBezTo>
                <a:cubicBezTo>
                  <a:pt x="2389932" y="4494650"/>
                  <a:pt x="2387227" y="4498302"/>
                  <a:pt x="2384822" y="4502065"/>
                </a:cubicBezTo>
                <a:cubicBezTo>
                  <a:pt x="2375803" y="4501069"/>
                  <a:pt x="2380913" y="4491108"/>
                  <a:pt x="2386024" y="4489448"/>
                </a:cubicBezTo>
                <a:cubicBezTo>
                  <a:pt x="2386925" y="4489227"/>
                  <a:pt x="2387828" y="4489116"/>
                  <a:pt x="2388429" y="4489337"/>
                </a:cubicBezTo>
                <a:close/>
                <a:moveTo>
                  <a:pt x="1359424" y="4489337"/>
                </a:moveTo>
                <a:cubicBezTo>
                  <a:pt x="1360327" y="4489669"/>
                  <a:pt x="1360928" y="4490333"/>
                  <a:pt x="1361529" y="4491219"/>
                </a:cubicBezTo>
                <a:cubicBezTo>
                  <a:pt x="1360627" y="4494650"/>
                  <a:pt x="1358222" y="4498302"/>
                  <a:pt x="1355517" y="4502065"/>
                </a:cubicBezTo>
                <a:cubicBezTo>
                  <a:pt x="1346799" y="4501069"/>
                  <a:pt x="1351908" y="4491108"/>
                  <a:pt x="1357019" y="4489448"/>
                </a:cubicBezTo>
                <a:cubicBezTo>
                  <a:pt x="1357922" y="4489227"/>
                  <a:pt x="1358523" y="4489116"/>
                  <a:pt x="1359424" y="4489337"/>
                </a:cubicBezTo>
                <a:close/>
                <a:moveTo>
                  <a:pt x="3223837" y="4486792"/>
                </a:moveTo>
                <a:lnTo>
                  <a:pt x="3223537" y="4487013"/>
                </a:lnTo>
                <a:cubicBezTo>
                  <a:pt x="3223537" y="4487013"/>
                  <a:pt x="3223537" y="4486903"/>
                  <a:pt x="3222033" y="4491108"/>
                </a:cubicBezTo>
                <a:cubicBezTo>
                  <a:pt x="3221432" y="4496642"/>
                  <a:pt x="3222335" y="4497970"/>
                  <a:pt x="3222335" y="4501401"/>
                </a:cubicBezTo>
                <a:lnTo>
                  <a:pt x="3220531" y="4505495"/>
                </a:lnTo>
                <a:lnTo>
                  <a:pt x="3230150" y="4512246"/>
                </a:lnTo>
                <a:cubicBezTo>
                  <a:pt x="3235261" y="4518776"/>
                  <a:pt x="3241875" y="4524199"/>
                  <a:pt x="3248788" y="4529732"/>
                </a:cubicBezTo>
                <a:cubicBezTo>
                  <a:pt x="3243377" y="4537590"/>
                  <a:pt x="3216924" y="4509369"/>
                  <a:pt x="3207604" y="4520657"/>
                </a:cubicBezTo>
                <a:cubicBezTo>
                  <a:pt x="3213616" y="4529068"/>
                  <a:pt x="3221432" y="4534934"/>
                  <a:pt x="3231954" y="4538365"/>
                </a:cubicBezTo>
                <a:lnTo>
                  <a:pt x="3254801" y="4545005"/>
                </a:lnTo>
                <a:lnTo>
                  <a:pt x="3250893" y="4534270"/>
                </a:lnTo>
                <a:cubicBezTo>
                  <a:pt x="3250893" y="4530397"/>
                  <a:pt x="3252396" y="4527076"/>
                  <a:pt x="3254500" y="4523867"/>
                </a:cubicBezTo>
                <a:lnTo>
                  <a:pt x="3271635" y="4505053"/>
                </a:lnTo>
                <a:lnTo>
                  <a:pt x="3270132" y="4504942"/>
                </a:lnTo>
                <a:cubicBezTo>
                  <a:pt x="3267427" y="4500737"/>
                  <a:pt x="3270433" y="4500183"/>
                  <a:pt x="3271635" y="4495867"/>
                </a:cubicBezTo>
                <a:cubicBezTo>
                  <a:pt x="3266525" y="4494207"/>
                  <a:pt x="3262617" y="4497527"/>
                  <a:pt x="3262016" y="4503835"/>
                </a:cubicBezTo>
                <a:cubicBezTo>
                  <a:pt x="3260212" y="4500737"/>
                  <a:pt x="3256304" y="4498745"/>
                  <a:pt x="3252095" y="4496974"/>
                </a:cubicBezTo>
                <a:lnTo>
                  <a:pt x="3248788" y="4496088"/>
                </a:lnTo>
                <a:lnTo>
                  <a:pt x="3243377" y="4497416"/>
                </a:lnTo>
                <a:cubicBezTo>
                  <a:pt x="3241574" y="4496088"/>
                  <a:pt x="3240972" y="4494982"/>
                  <a:pt x="3241273" y="4494096"/>
                </a:cubicBezTo>
                <a:lnTo>
                  <a:pt x="3241574" y="4493764"/>
                </a:lnTo>
                <a:lnTo>
                  <a:pt x="3237666" y="4492658"/>
                </a:lnTo>
                <a:lnTo>
                  <a:pt x="3231353" y="4489559"/>
                </a:lnTo>
                <a:lnTo>
                  <a:pt x="3232555" y="4490665"/>
                </a:lnTo>
                <a:cubicBezTo>
                  <a:pt x="3229549" y="4490333"/>
                  <a:pt x="3227144" y="4488784"/>
                  <a:pt x="3224438" y="4487124"/>
                </a:cubicBezTo>
                <a:close/>
                <a:moveTo>
                  <a:pt x="2006047" y="4486460"/>
                </a:moveTo>
                <a:cubicBezTo>
                  <a:pt x="2010857" y="4496531"/>
                  <a:pt x="2014163" y="4503282"/>
                  <a:pt x="2014764" y="4509148"/>
                </a:cubicBezTo>
                <a:cubicBezTo>
                  <a:pt x="1999434" y="4521543"/>
                  <a:pt x="1982299" y="4490555"/>
                  <a:pt x="2006047" y="4486460"/>
                </a:cubicBezTo>
                <a:close/>
                <a:moveTo>
                  <a:pt x="1272847" y="4484800"/>
                </a:moveTo>
                <a:cubicBezTo>
                  <a:pt x="1276454" y="4484800"/>
                  <a:pt x="1280062" y="4487456"/>
                  <a:pt x="1280964" y="4492990"/>
                </a:cubicBezTo>
                <a:cubicBezTo>
                  <a:pt x="1274049" y="4497527"/>
                  <a:pt x="1269240" y="4496531"/>
                  <a:pt x="1265031" y="4492658"/>
                </a:cubicBezTo>
                <a:cubicBezTo>
                  <a:pt x="1265632" y="4487456"/>
                  <a:pt x="1269240" y="4484800"/>
                  <a:pt x="1272847" y="4484800"/>
                </a:cubicBezTo>
                <a:close/>
                <a:moveTo>
                  <a:pt x="2345742" y="4484689"/>
                </a:moveTo>
                <a:cubicBezTo>
                  <a:pt x="2343637" y="4487345"/>
                  <a:pt x="2338527" y="4491330"/>
                  <a:pt x="2334319" y="4490001"/>
                </a:cubicBezTo>
                <a:cubicBezTo>
                  <a:pt x="2334319" y="4490001"/>
                  <a:pt x="2334319" y="4490001"/>
                  <a:pt x="2332214" y="4489337"/>
                </a:cubicBezTo>
                <a:cubicBezTo>
                  <a:pt x="2336723" y="4487345"/>
                  <a:pt x="2342434" y="4484689"/>
                  <a:pt x="2345742" y="4484689"/>
                </a:cubicBezTo>
                <a:close/>
                <a:moveTo>
                  <a:pt x="1316737" y="4484689"/>
                </a:moveTo>
                <a:cubicBezTo>
                  <a:pt x="1314332" y="4487345"/>
                  <a:pt x="1309222" y="4491330"/>
                  <a:pt x="1305314" y="4490001"/>
                </a:cubicBezTo>
                <a:cubicBezTo>
                  <a:pt x="1305314" y="4490001"/>
                  <a:pt x="1305314" y="4490001"/>
                  <a:pt x="1303209" y="4489337"/>
                </a:cubicBezTo>
                <a:cubicBezTo>
                  <a:pt x="1307418" y="4487345"/>
                  <a:pt x="1313431" y="4484689"/>
                  <a:pt x="1316737" y="4484689"/>
                </a:cubicBezTo>
                <a:close/>
                <a:moveTo>
                  <a:pt x="587145" y="4484689"/>
                </a:moveTo>
                <a:cubicBezTo>
                  <a:pt x="591052" y="4484911"/>
                  <a:pt x="594961" y="4487124"/>
                  <a:pt x="598869" y="4492215"/>
                </a:cubicBezTo>
                <a:cubicBezTo>
                  <a:pt x="591353" y="4499298"/>
                  <a:pt x="593157" y="4506934"/>
                  <a:pt x="583538" y="4509480"/>
                </a:cubicBezTo>
                <a:cubicBezTo>
                  <a:pt x="568807" y="4501069"/>
                  <a:pt x="576323" y="4484136"/>
                  <a:pt x="587145" y="4484689"/>
                </a:cubicBezTo>
                <a:close/>
                <a:moveTo>
                  <a:pt x="5693990" y="4483693"/>
                </a:moveTo>
                <a:cubicBezTo>
                  <a:pt x="5695794" y="4483583"/>
                  <a:pt x="5697297" y="4483583"/>
                  <a:pt x="5698199" y="4484357"/>
                </a:cubicBezTo>
                <a:cubicBezTo>
                  <a:pt x="5699100" y="4485132"/>
                  <a:pt x="5699401" y="4486681"/>
                  <a:pt x="5699100" y="4489448"/>
                </a:cubicBezTo>
                <a:cubicBezTo>
                  <a:pt x="5699100" y="4489448"/>
                  <a:pt x="5697898" y="4490223"/>
                  <a:pt x="5697898" y="4490223"/>
                </a:cubicBezTo>
                <a:cubicBezTo>
                  <a:pt x="5692187" y="4490001"/>
                  <a:pt x="5692788" y="4487899"/>
                  <a:pt x="5693990" y="4483693"/>
                </a:cubicBezTo>
                <a:close/>
                <a:moveTo>
                  <a:pt x="4438622" y="4483693"/>
                </a:moveTo>
                <a:cubicBezTo>
                  <a:pt x="4440425" y="4483583"/>
                  <a:pt x="4441628" y="4483583"/>
                  <a:pt x="4442530" y="4484357"/>
                </a:cubicBezTo>
                <a:cubicBezTo>
                  <a:pt x="4443433" y="4485132"/>
                  <a:pt x="4444033" y="4486681"/>
                  <a:pt x="4443733" y="4489448"/>
                </a:cubicBezTo>
                <a:cubicBezTo>
                  <a:pt x="4443733" y="4489448"/>
                  <a:pt x="4442229" y="4490223"/>
                  <a:pt x="4442229" y="4490223"/>
                </a:cubicBezTo>
                <a:cubicBezTo>
                  <a:pt x="4436518" y="4490001"/>
                  <a:pt x="4437420" y="4487899"/>
                  <a:pt x="4438622" y="4483693"/>
                </a:cubicBezTo>
                <a:close/>
                <a:moveTo>
                  <a:pt x="2929536" y="4483693"/>
                </a:moveTo>
                <a:cubicBezTo>
                  <a:pt x="2931340" y="4483583"/>
                  <a:pt x="2932842" y="4483583"/>
                  <a:pt x="2933745" y="4484357"/>
                </a:cubicBezTo>
                <a:cubicBezTo>
                  <a:pt x="2934646" y="4485132"/>
                  <a:pt x="2934947" y="4486681"/>
                  <a:pt x="2934646" y="4489448"/>
                </a:cubicBezTo>
                <a:cubicBezTo>
                  <a:pt x="2934646" y="4489448"/>
                  <a:pt x="2933443" y="4490223"/>
                  <a:pt x="2933443" y="4490223"/>
                </a:cubicBezTo>
                <a:cubicBezTo>
                  <a:pt x="2927732" y="4490001"/>
                  <a:pt x="2928334" y="4487899"/>
                  <a:pt x="2929536" y="4483693"/>
                </a:cubicBezTo>
                <a:close/>
                <a:moveTo>
                  <a:pt x="3216021" y="4483361"/>
                </a:moveTo>
                <a:lnTo>
                  <a:pt x="3214819" y="4491108"/>
                </a:lnTo>
                <a:lnTo>
                  <a:pt x="3213918" y="4496310"/>
                </a:lnTo>
                <a:lnTo>
                  <a:pt x="3216924" y="4487456"/>
                </a:lnTo>
                <a:lnTo>
                  <a:pt x="3218426" y="4484468"/>
                </a:lnTo>
                <a:close/>
                <a:moveTo>
                  <a:pt x="3209709" y="4483361"/>
                </a:moveTo>
                <a:lnTo>
                  <a:pt x="3206402" y="4483583"/>
                </a:lnTo>
                <a:cubicBezTo>
                  <a:pt x="3205199" y="4485907"/>
                  <a:pt x="3205199" y="4487456"/>
                  <a:pt x="3205801" y="4488673"/>
                </a:cubicBezTo>
                <a:lnTo>
                  <a:pt x="3208807" y="4491108"/>
                </a:lnTo>
                <a:lnTo>
                  <a:pt x="3209408" y="4488784"/>
                </a:lnTo>
                <a:close/>
                <a:moveTo>
                  <a:pt x="5185049" y="4481480"/>
                </a:moveTo>
                <a:cubicBezTo>
                  <a:pt x="5186252" y="4483251"/>
                  <a:pt x="5189257" y="4485353"/>
                  <a:pt x="5190460" y="4488673"/>
                </a:cubicBezTo>
                <a:cubicBezTo>
                  <a:pt x="5184146" y="4497970"/>
                  <a:pt x="5176632" y="4482697"/>
                  <a:pt x="5185049" y="4481480"/>
                </a:cubicBezTo>
                <a:close/>
                <a:moveTo>
                  <a:pt x="2420295" y="4481480"/>
                </a:moveTo>
                <a:cubicBezTo>
                  <a:pt x="2421797" y="4483251"/>
                  <a:pt x="2424803" y="4485353"/>
                  <a:pt x="2426006" y="4488673"/>
                </a:cubicBezTo>
                <a:cubicBezTo>
                  <a:pt x="2419693" y="4497970"/>
                  <a:pt x="2411876" y="4482697"/>
                  <a:pt x="2420295" y="4481480"/>
                </a:cubicBezTo>
                <a:close/>
                <a:moveTo>
                  <a:pt x="1391290" y="4481480"/>
                </a:moveTo>
                <a:cubicBezTo>
                  <a:pt x="1392492" y="4483251"/>
                  <a:pt x="1395498" y="4485353"/>
                  <a:pt x="1396701" y="4488673"/>
                </a:cubicBezTo>
                <a:cubicBezTo>
                  <a:pt x="1390387" y="4497970"/>
                  <a:pt x="1382873" y="4482697"/>
                  <a:pt x="1391290" y="4481480"/>
                </a:cubicBezTo>
                <a:close/>
                <a:moveTo>
                  <a:pt x="5515425" y="4479930"/>
                </a:moveTo>
                <a:cubicBezTo>
                  <a:pt x="5516326" y="4479820"/>
                  <a:pt x="5516927" y="4480041"/>
                  <a:pt x="5517830" y="4480484"/>
                </a:cubicBezTo>
                <a:cubicBezTo>
                  <a:pt x="5519333" y="4481258"/>
                  <a:pt x="5520836" y="4482476"/>
                  <a:pt x="5520535" y="4483251"/>
                </a:cubicBezTo>
                <a:cubicBezTo>
                  <a:pt x="5519033" y="4484579"/>
                  <a:pt x="5515725" y="4484247"/>
                  <a:pt x="5513922" y="4485685"/>
                </a:cubicBezTo>
                <a:cubicBezTo>
                  <a:pt x="5514223" y="4484136"/>
                  <a:pt x="5512419" y="4482476"/>
                  <a:pt x="5512719" y="4480926"/>
                </a:cubicBezTo>
                <a:cubicBezTo>
                  <a:pt x="5513321" y="4480262"/>
                  <a:pt x="5514223" y="4479930"/>
                  <a:pt x="5515425" y="4479930"/>
                </a:cubicBezTo>
                <a:close/>
                <a:moveTo>
                  <a:pt x="1721666" y="4479930"/>
                </a:moveTo>
                <a:cubicBezTo>
                  <a:pt x="1722567" y="4479820"/>
                  <a:pt x="1723469" y="4480041"/>
                  <a:pt x="1724371" y="4480484"/>
                </a:cubicBezTo>
                <a:cubicBezTo>
                  <a:pt x="1725874" y="4481258"/>
                  <a:pt x="1727077" y="4482476"/>
                  <a:pt x="1727077" y="4483251"/>
                </a:cubicBezTo>
                <a:cubicBezTo>
                  <a:pt x="1725273" y="4484579"/>
                  <a:pt x="1721966" y="4484247"/>
                  <a:pt x="1720462" y="4485685"/>
                </a:cubicBezTo>
                <a:cubicBezTo>
                  <a:pt x="1720462" y="4484136"/>
                  <a:pt x="1718960" y="4482476"/>
                  <a:pt x="1718960" y="4480926"/>
                </a:cubicBezTo>
                <a:cubicBezTo>
                  <a:pt x="1719861" y="4480262"/>
                  <a:pt x="1720763" y="4479930"/>
                  <a:pt x="1721666" y="4479930"/>
                </a:cubicBezTo>
                <a:close/>
                <a:moveTo>
                  <a:pt x="1943219" y="4479156"/>
                </a:moveTo>
                <a:cubicBezTo>
                  <a:pt x="1955544" y="4480262"/>
                  <a:pt x="1964261" y="4495092"/>
                  <a:pt x="1962759" y="4507377"/>
                </a:cubicBezTo>
                <a:cubicBezTo>
                  <a:pt x="1962458" y="4512136"/>
                  <a:pt x="1960354" y="4516452"/>
                  <a:pt x="1956445" y="4519551"/>
                </a:cubicBezTo>
                <a:cubicBezTo>
                  <a:pt x="1935703" y="4524531"/>
                  <a:pt x="1927286" y="4493543"/>
                  <a:pt x="1937507" y="4479709"/>
                </a:cubicBezTo>
                <a:cubicBezTo>
                  <a:pt x="1939310" y="4479156"/>
                  <a:pt x="1941415" y="4479045"/>
                  <a:pt x="1943219" y="4479156"/>
                </a:cubicBezTo>
                <a:close/>
                <a:moveTo>
                  <a:pt x="5988592" y="4477938"/>
                </a:moveTo>
                <a:cubicBezTo>
                  <a:pt x="5989194" y="4479266"/>
                  <a:pt x="5990095" y="4480594"/>
                  <a:pt x="5989194" y="4482697"/>
                </a:cubicBezTo>
                <a:cubicBezTo>
                  <a:pt x="5988592" y="4484800"/>
                  <a:pt x="5987991" y="4483583"/>
                  <a:pt x="5988592" y="4484800"/>
                </a:cubicBezTo>
                <a:cubicBezTo>
                  <a:pt x="5987991" y="4486903"/>
                  <a:pt x="5989494" y="4486128"/>
                  <a:pt x="5989494" y="4486128"/>
                </a:cubicBezTo>
                <a:cubicBezTo>
                  <a:pt x="5989494" y="4486128"/>
                  <a:pt x="5987991" y="4487013"/>
                  <a:pt x="5987991" y="4487013"/>
                </a:cubicBezTo>
                <a:cubicBezTo>
                  <a:pt x="5987991" y="4487013"/>
                  <a:pt x="5987991" y="4486903"/>
                  <a:pt x="5986488" y="4491108"/>
                </a:cubicBezTo>
                <a:cubicBezTo>
                  <a:pt x="5985887" y="4496642"/>
                  <a:pt x="5986789" y="4497970"/>
                  <a:pt x="5986789" y="4501401"/>
                </a:cubicBezTo>
                <a:cubicBezTo>
                  <a:pt x="5985587" y="4505606"/>
                  <a:pt x="5984083" y="4506381"/>
                  <a:pt x="5981378" y="4511472"/>
                </a:cubicBezTo>
                <a:cubicBezTo>
                  <a:pt x="5977770" y="4511804"/>
                  <a:pt x="5977770" y="4511693"/>
                  <a:pt x="5977169" y="4510476"/>
                </a:cubicBezTo>
                <a:cubicBezTo>
                  <a:pt x="5977770" y="4511693"/>
                  <a:pt x="5976267" y="4512468"/>
                  <a:pt x="5975666" y="4514571"/>
                </a:cubicBezTo>
                <a:cubicBezTo>
                  <a:pt x="5975065" y="4523535"/>
                  <a:pt x="5966647" y="4524974"/>
                  <a:pt x="5956727" y="4523756"/>
                </a:cubicBezTo>
                <a:cubicBezTo>
                  <a:pt x="5957329" y="4521653"/>
                  <a:pt x="5951618" y="4521432"/>
                  <a:pt x="5948911" y="4519661"/>
                </a:cubicBezTo>
                <a:cubicBezTo>
                  <a:pt x="5946507" y="4515788"/>
                  <a:pt x="5945003" y="4513132"/>
                  <a:pt x="5946507" y="4508926"/>
                </a:cubicBezTo>
                <a:cubicBezTo>
                  <a:pt x="5948611" y="4502618"/>
                  <a:pt x="5957028" y="4494428"/>
                  <a:pt x="5963341" y="4495867"/>
                </a:cubicBezTo>
                <a:cubicBezTo>
                  <a:pt x="5967249" y="4496199"/>
                  <a:pt x="5970255" y="4497195"/>
                  <a:pt x="5972359" y="4498634"/>
                </a:cubicBezTo>
                <a:lnTo>
                  <a:pt x="5973863" y="4500183"/>
                </a:lnTo>
                <a:lnTo>
                  <a:pt x="5972058" y="4495314"/>
                </a:lnTo>
                <a:cubicBezTo>
                  <a:pt x="5972058" y="4493100"/>
                  <a:pt x="5972961" y="4490887"/>
                  <a:pt x="5973863" y="4488784"/>
                </a:cubicBezTo>
                <a:cubicBezTo>
                  <a:pt x="5975666" y="4486017"/>
                  <a:pt x="5975967" y="4484579"/>
                  <a:pt x="5974464" y="4481369"/>
                </a:cubicBezTo>
                <a:cubicBezTo>
                  <a:pt x="5974464" y="4481369"/>
                  <a:pt x="5974464" y="4481258"/>
                  <a:pt x="5977770" y="4478713"/>
                </a:cubicBezTo>
                <a:lnTo>
                  <a:pt x="5979575" y="4478934"/>
                </a:lnTo>
                <a:cubicBezTo>
                  <a:pt x="5980176" y="4479488"/>
                  <a:pt x="5980476" y="4480816"/>
                  <a:pt x="5980476" y="4482476"/>
                </a:cubicBezTo>
                <a:cubicBezTo>
                  <a:pt x="5980777" y="4485021"/>
                  <a:pt x="5980176" y="4488231"/>
                  <a:pt x="5979575" y="4491108"/>
                </a:cubicBezTo>
                <a:lnTo>
                  <a:pt x="5978372" y="4496310"/>
                </a:lnTo>
                <a:lnTo>
                  <a:pt x="5981678" y="4487456"/>
                </a:lnTo>
                <a:cubicBezTo>
                  <a:pt x="5983783" y="4482586"/>
                  <a:pt x="5986188" y="4478492"/>
                  <a:pt x="5988592" y="4477938"/>
                </a:cubicBezTo>
                <a:close/>
                <a:moveTo>
                  <a:pt x="5820248" y="4476500"/>
                </a:moveTo>
                <a:cubicBezTo>
                  <a:pt x="5821450" y="4475725"/>
                  <a:pt x="5822352" y="4476942"/>
                  <a:pt x="5820849" y="4477717"/>
                </a:cubicBezTo>
                <a:cubicBezTo>
                  <a:pt x="5821150" y="4481037"/>
                  <a:pt x="5816941" y="4480041"/>
                  <a:pt x="5814837" y="4479598"/>
                </a:cubicBezTo>
                <a:cubicBezTo>
                  <a:pt x="5818746" y="4477274"/>
                  <a:pt x="5819347" y="4475172"/>
                  <a:pt x="5820248" y="4476500"/>
                </a:cubicBezTo>
                <a:close/>
                <a:moveTo>
                  <a:pt x="2026489" y="4476500"/>
                </a:moveTo>
                <a:cubicBezTo>
                  <a:pt x="2027992" y="4475725"/>
                  <a:pt x="2028593" y="4476942"/>
                  <a:pt x="2027090" y="4477717"/>
                </a:cubicBezTo>
                <a:cubicBezTo>
                  <a:pt x="2027391" y="4481037"/>
                  <a:pt x="2023182" y="4480041"/>
                  <a:pt x="2021078" y="4479598"/>
                </a:cubicBezTo>
                <a:cubicBezTo>
                  <a:pt x="2025286" y="4477274"/>
                  <a:pt x="2025887" y="4475172"/>
                  <a:pt x="2026489" y="4476500"/>
                </a:cubicBezTo>
                <a:close/>
                <a:moveTo>
                  <a:pt x="6097716" y="4475725"/>
                </a:moveTo>
                <a:cubicBezTo>
                  <a:pt x="6102225" y="4476721"/>
                  <a:pt x="6102826" y="4481480"/>
                  <a:pt x="6104930" y="4481922"/>
                </a:cubicBezTo>
                <a:cubicBezTo>
                  <a:pt x="6103427" y="4482697"/>
                  <a:pt x="6100722" y="4484247"/>
                  <a:pt x="6100722" y="4487677"/>
                </a:cubicBezTo>
                <a:cubicBezTo>
                  <a:pt x="6096514" y="4486681"/>
                  <a:pt x="6092305" y="4485796"/>
                  <a:pt x="6093507" y="4481590"/>
                </a:cubicBezTo>
                <a:cubicBezTo>
                  <a:pt x="6094108" y="4479488"/>
                  <a:pt x="6095010" y="4477274"/>
                  <a:pt x="6097716" y="4475725"/>
                </a:cubicBezTo>
                <a:close/>
                <a:moveTo>
                  <a:pt x="5621842" y="4474618"/>
                </a:moveTo>
                <a:cubicBezTo>
                  <a:pt x="5621842" y="4476057"/>
                  <a:pt x="5621541" y="4481037"/>
                  <a:pt x="5621241" y="4486128"/>
                </a:cubicBezTo>
                <a:lnTo>
                  <a:pt x="5620339" y="4490444"/>
                </a:lnTo>
                <a:lnTo>
                  <a:pt x="5622743" y="4490555"/>
                </a:lnTo>
                <a:cubicBezTo>
                  <a:pt x="5627253" y="4492547"/>
                  <a:pt x="5628456" y="4499077"/>
                  <a:pt x="5633566" y="4504278"/>
                </a:cubicBezTo>
                <a:cubicBezTo>
                  <a:pt x="5629960" y="4506934"/>
                  <a:pt x="5625450" y="4506824"/>
                  <a:pt x="5621541" y="4505274"/>
                </a:cubicBezTo>
                <a:lnTo>
                  <a:pt x="5616731" y="4501843"/>
                </a:lnTo>
                <a:lnTo>
                  <a:pt x="5614027" y="4497084"/>
                </a:lnTo>
                <a:cubicBezTo>
                  <a:pt x="5613726" y="4494871"/>
                  <a:pt x="5614327" y="4492547"/>
                  <a:pt x="5616731" y="4490333"/>
                </a:cubicBezTo>
                <a:lnTo>
                  <a:pt x="5618535" y="4490333"/>
                </a:lnTo>
                <a:lnTo>
                  <a:pt x="5618837" y="4486017"/>
                </a:lnTo>
                <a:cubicBezTo>
                  <a:pt x="5618837" y="4481590"/>
                  <a:pt x="5619438" y="4477496"/>
                  <a:pt x="5621842" y="4474618"/>
                </a:cubicBezTo>
                <a:close/>
                <a:moveTo>
                  <a:pt x="4366174" y="4474618"/>
                </a:moveTo>
                <a:cubicBezTo>
                  <a:pt x="4366174" y="4476057"/>
                  <a:pt x="4366174" y="4481037"/>
                  <a:pt x="4365573" y="4486128"/>
                </a:cubicBezTo>
                <a:lnTo>
                  <a:pt x="4364971" y="4490444"/>
                </a:lnTo>
                <a:lnTo>
                  <a:pt x="4367376" y="4490555"/>
                </a:lnTo>
                <a:lnTo>
                  <a:pt x="4369781" y="4493322"/>
                </a:lnTo>
                <a:lnTo>
                  <a:pt x="4373689" y="4487235"/>
                </a:lnTo>
                <a:cubicBezTo>
                  <a:pt x="4375493" y="4485575"/>
                  <a:pt x="4378199" y="4484579"/>
                  <a:pt x="4380904" y="4484689"/>
                </a:cubicBezTo>
                <a:cubicBezTo>
                  <a:pt x="4384511" y="4484911"/>
                  <a:pt x="4388720" y="4487124"/>
                  <a:pt x="4392628" y="4492215"/>
                </a:cubicBezTo>
                <a:cubicBezTo>
                  <a:pt x="4384812" y="4499298"/>
                  <a:pt x="4386916" y="4506934"/>
                  <a:pt x="4377297" y="4509480"/>
                </a:cubicBezTo>
                <a:lnTo>
                  <a:pt x="4373689" y="4505717"/>
                </a:lnTo>
                <a:lnTo>
                  <a:pt x="4372186" y="4506270"/>
                </a:lnTo>
                <a:cubicBezTo>
                  <a:pt x="4370082" y="4506381"/>
                  <a:pt x="4367977" y="4506049"/>
                  <a:pt x="4366174" y="4505274"/>
                </a:cubicBezTo>
                <a:lnTo>
                  <a:pt x="4361364" y="4501843"/>
                </a:lnTo>
                <a:lnTo>
                  <a:pt x="4361064" y="4501843"/>
                </a:lnTo>
                <a:lnTo>
                  <a:pt x="4358659" y="4497084"/>
                </a:lnTo>
                <a:cubicBezTo>
                  <a:pt x="4358358" y="4494871"/>
                  <a:pt x="4358959" y="4492547"/>
                  <a:pt x="4361364" y="4490333"/>
                </a:cubicBezTo>
                <a:lnTo>
                  <a:pt x="4363168" y="4490333"/>
                </a:lnTo>
                <a:lnTo>
                  <a:pt x="4363168" y="4486017"/>
                </a:lnTo>
                <a:cubicBezTo>
                  <a:pt x="4363469" y="4481590"/>
                  <a:pt x="4364070" y="4477496"/>
                  <a:pt x="4366174" y="4474618"/>
                </a:cubicBezTo>
                <a:close/>
                <a:moveTo>
                  <a:pt x="2857088" y="4474618"/>
                </a:moveTo>
                <a:cubicBezTo>
                  <a:pt x="2857088" y="4476057"/>
                  <a:pt x="2857088" y="4481037"/>
                  <a:pt x="2856487" y="4486128"/>
                </a:cubicBezTo>
                <a:lnTo>
                  <a:pt x="2855886" y="4490444"/>
                </a:lnTo>
                <a:lnTo>
                  <a:pt x="2858290" y="4490555"/>
                </a:lnTo>
                <a:cubicBezTo>
                  <a:pt x="2862799" y="4492547"/>
                  <a:pt x="2864001" y="4499077"/>
                  <a:pt x="2869112" y="4504278"/>
                </a:cubicBezTo>
                <a:cubicBezTo>
                  <a:pt x="2865505" y="4506934"/>
                  <a:pt x="2860995" y="4506824"/>
                  <a:pt x="2857088" y="4505274"/>
                </a:cubicBezTo>
                <a:lnTo>
                  <a:pt x="2852277" y="4501843"/>
                </a:lnTo>
                <a:lnTo>
                  <a:pt x="2849572" y="4497084"/>
                </a:lnTo>
                <a:cubicBezTo>
                  <a:pt x="2849272" y="4494871"/>
                  <a:pt x="2849872" y="4492547"/>
                  <a:pt x="2852277" y="4490333"/>
                </a:cubicBezTo>
                <a:lnTo>
                  <a:pt x="2854081" y="4490333"/>
                </a:lnTo>
                <a:lnTo>
                  <a:pt x="2854382" y="4486017"/>
                </a:lnTo>
                <a:cubicBezTo>
                  <a:pt x="2854382" y="4481590"/>
                  <a:pt x="2854983" y="4477496"/>
                  <a:pt x="2857088" y="4474618"/>
                </a:cubicBezTo>
                <a:close/>
                <a:moveTo>
                  <a:pt x="1828083" y="4474618"/>
                </a:moveTo>
                <a:cubicBezTo>
                  <a:pt x="1828083" y="4476057"/>
                  <a:pt x="1827782" y="4481037"/>
                  <a:pt x="1827482" y="4486128"/>
                </a:cubicBezTo>
                <a:lnTo>
                  <a:pt x="1826580" y="4490444"/>
                </a:lnTo>
                <a:lnTo>
                  <a:pt x="1828984" y="4490555"/>
                </a:lnTo>
                <a:cubicBezTo>
                  <a:pt x="1833494" y="4492547"/>
                  <a:pt x="1834696" y="4499077"/>
                  <a:pt x="1839807" y="4504278"/>
                </a:cubicBezTo>
                <a:cubicBezTo>
                  <a:pt x="1836500" y="4506934"/>
                  <a:pt x="1831690" y="4506824"/>
                  <a:pt x="1828083" y="4505274"/>
                </a:cubicBezTo>
                <a:lnTo>
                  <a:pt x="1822972" y="4501843"/>
                </a:lnTo>
                <a:lnTo>
                  <a:pt x="1820567" y="4497084"/>
                </a:lnTo>
                <a:cubicBezTo>
                  <a:pt x="1819966" y="4494871"/>
                  <a:pt x="1820869" y="4492547"/>
                  <a:pt x="1823273" y="4490333"/>
                </a:cubicBezTo>
                <a:lnTo>
                  <a:pt x="1824776" y="4490333"/>
                </a:lnTo>
                <a:lnTo>
                  <a:pt x="1825077" y="4486017"/>
                </a:lnTo>
                <a:cubicBezTo>
                  <a:pt x="1825377" y="4481590"/>
                  <a:pt x="1825678" y="4477496"/>
                  <a:pt x="1828083" y="4474618"/>
                </a:cubicBezTo>
                <a:close/>
                <a:moveTo>
                  <a:pt x="2530319" y="4473733"/>
                </a:moveTo>
                <a:cubicBezTo>
                  <a:pt x="2541442" y="4476500"/>
                  <a:pt x="2538436" y="4488784"/>
                  <a:pt x="2539337" y="4503061"/>
                </a:cubicBezTo>
                <a:cubicBezTo>
                  <a:pt x="2535430" y="4501069"/>
                  <a:pt x="2533325" y="4505606"/>
                  <a:pt x="2531220" y="4510144"/>
                </a:cubicBezTo>
                <a:cubicBezTo>
                  <a:pt x="2525208" y="4507045"/>
                  <a:pt x="2515289" y="4503614"/>
                  <a:pt x="2514086" y="4494428"/>
                </a:cubicBezTo>
                <a:cubicBezTo>
                  <a:pt x="2513485" y="4491330"/>
                  <a:pt x="2514086" y="4487677"/>
                  <a:pt x="2516190" y="4483140"/>
                </a:cubicBezTo>
                <a:cubicBezTo>
                  <a:pt x="2515289" y="4479930"/>
                  <a:pt x="2526411" y="4471630"/>
                  <a:pt x="2530319" y="4473733"/>
                </a:cubicBezTo>
                <a:close/>
                <a:moveTo>
                  <a:pt x="5449890" y="4472958"/>
                </a:moveTo>
                <a:cubicBezTo>
                  <a:pt x="5452597" y="4474618"/>
                  <a:pt x="5454700" y="4480926"/>
                  <a:pt x="5455602" y="4485021"/>
                </a:cubicBezTo>
                <a:cubicBezTo>
                  <a:pt x="5453498" y="4488895"/>
                  <a:pt x="5448388" y="4491108"/>
                  <a:pt x="5442676" y="4491108"/>
                </a:cubicBezTo>
                <a:cubicBezTo>
                  <a:pt x="5440271" y="4482808"/>
                  <a:pt x="5443578" y="4477717"/>
                  <a:pt x="5449890" y="4472958"/>
                </a:cubicBezTo>
                <a:close/>
                <a:moveTo>
                  <a:pt x="2685436" y="4472958"/>
                </a:moveTo>
                <a:cubicBezTo>
                  <a:pt x="2688142" y="4474618"/>
                  <a:pt x="2689946" y="4480926"/>
                  <a:pt x="2691148" y="4485021"/>
                </a:cubicBezTo>
                <a:cubicBezTo>
                  <a:pt x="2688743" y="4488895"/>
                  <a:pt x="2683934" y="4491108"/>
                  <a:pt x="2678221" y="4491108"/>
                </a:cubicBezTo>
                <a:cubicBezTo>
                  <a:pt x="2675817" y="4482808"/>
                  <a:pt x="2678823" y="4477717"/>
                  <a:pt x="2685436" y="4472958"/>
                </a:cubicBezTo>
                <a:close/>
                <a:moveTo>
                  <a:pt x="1656432" y="4472958"/>
                </a:moveTo>
                <a:cubicBezTo>
                  <a:pt x="1659137" y="4474618"/>
                  <a:pt x="1660941" y="4480926"/>
                  <a:pt x="1662143" y="4485021"/>
                </a:cubicBezTo>
                <a:cubicBezTo>
                  <a:pt x="1659738" y="4488895"/>
                  <a:pt x="1654629" y="4491108"/>
                  <a:pt x="1649217" y="4491108"/>
                </a:cubicBezTo>
                <a:cubicBezTo>
                  <a:pt x="1646813" y="4482808"/>
                  <a:pt x="1649818" y="4477717"/>
                  <a:pt x="1656432" y="4472958"/>
                </a:cubicBezTo>
                <a:close/>
                <a:moveTo>
                  <a:pt x="2172587" y="4469749"/>
                </a:moveTo>
                <a:cubicBezTo>
                  <a:pt x="2173791" y="4473733"/>
                  <a:pt x="2177398" y="4473733"/>
                  <a:pt x="2178600" y="4477717"/>
                </a:cubicBezTo>
                <a:cubicBezTo>
                  <a:pt x="2174391" y="4479156"/>
                  <a:pt x="2171385" y="4481258"/>
                  <a:pt x="2168980" y="4482033"/>
                </a:cubicBezTo>
                <a:cubicBezTo>
                  <a:pt x="2165073" y="4476721"/>
                  <a:pt x="2165974" y="4471962"/>
                  <a:pt x="2172587" y="4469749"/>
                </a:cubicBezTo>
                <a:close/>
                <a:moveTo>
                  <a:pt x="1143582" y="4469749"/>
                </a:moveTo>
                <a:cubicBezTo>
                  <a:pt x="1144786" y="4473733"/>
                  <a:pt x="1148393" y="4473733"/>
                  <a:pt x="1149596" y="4477717"/>
                </a:cubicBezTo>
                <a:cubicBezTo>
                  <a:pt x="1145086" y="4479156"/>
                  <a:pt x="1142080" y="4481258"/>
                  <a:pt x="1139975" y="4482033"/>
                </a:cubicBezTo>
                <a:cubicBezTo>
                  <a:pt x="1136068" y="4476721"/>
                  <a:pt x="1136969" y="4471962"/>
                  <a:pt x="1143582" y="4469749"/>
                </a:cubicBezTo>
                <a:close/>
                <a:moveTo>
                  <a:pt x="5206994" y="4465211"/>
                </a:moveTo>
                <a:cubicBezTo>
                  <a:pt x="5221123" y="4470081"/>
                  <a:pt x="5219018" y="4483583"/>
                  <a:pt x="5211202" y="4487456"/>
                </a:cubicBezTo>
                <a:cubicBezTo>
                  <a:pt x="5208498" y="4488673"/>
                  <a:pt x="5205190" y="4488895"/>
                  <a:pt x="5201883" y="4487345"/>
                </a:cubicBezTo>
                <a:cubicBezTo>
                  <a:pt x="5200079" y="4478160"/>
                  <a:pt x="5196472" y="4467867"/>
                  <a:pt x="5206994" y="4465211"/>
                </a:cubicBezTo>
                <a:close/>
                <a:moveTo>
                  <a:pt x="1413535" y="4465211"/>
                </a:moveTo>
                <a:cubicBezTo>
                  <a:pt x="1427664" y="4470081"/>
                  <a:pt x="1425259" y="4483583"/>
                  <a:pt x="1417443" y="4487456"/>
                </a:cubicBezTo>
                <a:cubicBezTo>
                  <a:pt x="1414737" y="4488673"/>
                  <a:pt x="1411731" y="4488895"/>
                  <a:pt x="1408124" y="4487345"/>
                </a:cubicBezTo>
                <a:cubicBezTo>
                  <a:pt x="1406621" y="4478160"/>
                  <a:pt x="1402713" y="4467867"/>
                  <a:pt x="1413535" y="4465211"/>
                </a:cubicBezTo>
                <a:close/>
                <a:moveTo>
                  <a:pt x="6075170" y="4463108"/>
                </a:moveTo>
                <a:cubicBezTo>
                  <a:pt x="6076672" y="4463330"/>
                  <a:pt x="6076672" y="4463330"/>
                  <a:pt x="6076672" y="4463330"/>
                </a:cubicBezTo>
                <a:cubicBezTo>
                  <a:pt x="6075170" y="4467646"/>
                  <a:pt x="6078777" y="4473733"/>
                  <a:pt x="6079379" y="4479377"/>
                </a:cubicBezTo>
                <a:cubicBezTo>
                  <a:pt x="6079379" y="4481369"/>
                  <a:pt x="6079379" y="4483251"/>
                  <a:pt x="6078176" y="4485021"/>
                </a:cubicBezTo>
                <a:cubicBezTo>
                  <a:pt x="6078176" y="4485021"/>
                  <a:pt x="6078476" y="4485021"/>
                  <a:pt x="6078476" y="4483472"/>
                </a:cubicBezTo>
                <a:cubicBezTo>
                  <a:pt x="6078476" y="4483472"/>
                  <a:pt x="6078176" y="4485021"/>
                  <a:pt x="6076672" y="4484800"/>
                </a:cubicBezTo>
                <a:cubicBezTo>
                  <a:pt x="6072765" y="4476500"/>
                  <a:pt x="6075170" y="4464658"/>
                  <a:pt x="6075170" y="4463108"/>
                </a:cubicBezTo>
                <a:close/>
                <a:moveTo>
                  <a:pt x="2281711" y="4463108"/>
                </a:moveTo>
                <a:cubicBezTo>
                  <a:pt x="2283214" y="4463330"/>
                  <a:pt x="2283214" y="4463330"/>
                  <a:pt x="2283214" y="4463330"/>
                </a:cubicBezTo>
                <a:cubicBezTo>
                  <a:pt x="2281711" y="4467646"/>
                  <a:pt x="2285318" y="4473733"/>
                  <a:pt x="2285619" y="4479377"/>
                </a:cubicBezTo>
                <a:cubicBezTo>
                  <a:pt x="2285919" y="4481369"/>
                  <a:pt x="2285619" y="4483251"/>
                  <a:pt x="2284717" y="4485021"/>
                </a:cubicBezTo>
                <a:cubicBezTo>
                  <a:pt x="2284717" y="4485021"/>
                  <a:pt x="2284717" y="4485021"/>
                  <a:pt x="2284717" y="4483472"/>
                </a:cubicBezTo>
                <a:cubicBezTo>
                  <a:pt x="2284717" y="4483472"/>
                  <a:pt x="2284717" y="4485021"/>
                  <a:pt x="2283214" y="4484800"/>
                </a:cubicBezTo>
                <a:cubicBezTo>
                  <a:pt x="2279006" y="4476500"/>
                  <a:pt x="2281411" y="4464658"/>
                  <a:pt x="2281711" y="4463108"/>
                </a:cubicBezTo>
                <a:close/>
                <a:moveTo>
                  <a:pt x="5132742" y="4462776"/>
                </a:moveTo>
                <a:cubicBezTo>
                  <a:pt x="5133343" y="4464768"/>
                  <a:pt x="5133944" y="4465986"/>
                  <a:pt x="5134545" y="4466760"/>
                </a:cubicBezTo>
                <a:cubicBezTo>
                  <a:pt x="5134846" y="4467535"/>
                  <a:pt x="5134846" y="4467867"/>
                  <a:pt x="5134244" y="4468199"/>
                </a:cubicBezTo>
                <a:cubicBezTo>
                  <a:pt x="5134545" y="4469527"/>
                  <a:pt x="5133042" y="4470081"/>
                  <a:pt x="5132742" y="4468753"/>
                </a:cubicBezTo>
                <a:cubicBezTo>
                  <a:pt x="5129135" y="4468421"/>
                  <a:pt x="5131540" y="4464658"/>
                  <a:pt x="5132742" y="4462776"/>
                </a:cubicBezTo>
                <a:close/>
                <a:moveTo>
                  <a:pt x="2368288" y="4462776"/>
                </a:moveTo>
                <a:cubicBezTo>
                  <a:pt x="2368889" y="4464768"/>
                  <a:pt x="2369490" y="4465986"/>
                  <a:pt x="2369790" y="4466760"/>
                </a:cubicBezTo>
                <a:cubicBezTo>
                  <a:pt x="2370393" y="4467535"/>
                  <a:pt x="2370393" y="4467867"/>
                  <a:pt x="2369790" y="4468199"/>
                </a:cubicBezTo>
                <a:cubicBezTo>
                  <a:pt x="2370091" y="4469527"/>
                  <a:pt x="2368588" y="4470081"/>
                  <a:pt x="2368288" y="4468753"/>
                </a:cubicBezTo>
                <a:cubicBezTo>
                  <a:pt x="2364680" y="4468421"/>
                  <a:pt x="2367085" y="4464658"/>
                  <a:pt x="2368288" y="4462776"/>
                </a:cubicBezTo>
                <a:close/>
                <a:moveTo>
                  <a:pt x="1338983" y="4462776"/>
                </a:moveTo>
                <a:cubicBezTo>
                  <a:pt x="1339584" y="4464768"/>
                  <a:pt x="1340485" y="4465986"/>
                  <a:pt x="1340786" y="4466760"/>
                </a:cubicBezTo>
                <a:cubicBezTo>
                  <a:pt x="1341087" y="4467535"/>
                  <a:pt x="1341388" y="4467867"/>
                  <a:pt x="1340485" y="4468199"/>
                </a:cubicBezTo>
                <a:cubicBezTo>
                  <a:pt x="1340786" y="4469527"/>
                  <a:pt x="1339584" y="4470081"/>
                  <a:pt x="1338983" y="4468753"/>
                </a:cubicBezTo>
                <a:cubicBezTo>
                  <a:pt x="1335676" y="4468421"/>
                  <a:pt x="1337780" y="4464658"/>
                  <a:pt x="1338983" y="4462776"/>
                </a:cubicBezTo>
                <a:close/>
                <a:moveTo>
                  <a:pt x="6082985" y="4460895"/>
                </a:moveTo>
                <a:cubicBezTo>
                  <a:pt x="6096814" y="4473733"/>
                  <a:pt x="6088096" y="4481590"/>
                  <a:pt x="6095611" y="4488895"/>
                </a:cubicBezTo>
                <a:cubicBezTo>
                  <a:pt x="6092305" y="4489891"/>
                  <a:pt x="6092305" y="4489891"/>
                  <a:pt x="6089299" y="4487899"/>
                </a:cubicBezTo>
                <a:cubicBezTo>
                  <a:pt x="6089299" y="4486349"/>
                  <a:pt x="6087795" y="4486239"/>
                  <a:pt x="6089599" y="4484911"/>
                </a:cubicBezTo>
                <a:cubicBezTo>
                  <a:pt x="6084790" y="4481148"/>
                  <a:pt x="6081182" y="4466760"/>
                  <a:pt x="6082985" y="4460895"/>
                </a:cubicBezTo>
                <a:close/>
                <a:moveTo>
                  <a:pt x="5474542" y="4459346"/>
                </a:moveTo>
                <a:cubicBezTo>
                  <a:pt x="5486566" y="4457907"/>
                  <a:pt x="5495885" y="4467646"/>
                  <a:pt x="5498590" y="4479045"/>
                </a:cubicBezTo>
                <a:lnTo>
                  <a:pt x="5498891" y="4482476"/>
                </a:lnTo>
                <a:lnTo>
                  <a:pt x="5501296" y="4484579"/>
                </a:lnTo>
                <a:cubicBezTo>
                  <a:pt x="5502499" y="4485907"/>
                  <a:pt x="5502799" y="4487456"/>
                  <a:pt x="5502499" y="4489891"/>
                </a:cubicBezTo>
                <a:lnTo>
                  <a:pt x="5499191" y="4487124"/>
                </a:lnTo>
                <a:lnTo>
                  <a:pt x="5499191" y="4490776"/>
                </a:lnTo>
                <a:cubicBezTo>
                  <a:pt x="5497689" y="4501401"/>
                  <a:pt x="5489271" y="4510697"/>
                  <a:pt x="5471535" y="4511472"/>
                </a:cubicBezTo>
                <a:cubicBezTo>
                  <a:pt x="5456203" y="4494318"/>
                  <a:pt x="5452897" y="4470745"/>
                  <a:pt x="5467326" y="4461559"/>
                </a:cubicBezTo>
                <a:cubicBezTo>
                  <a:pt x="5469732" y="4460342"/>
                  <a:pt x="5472136" y="4459678"/>
                  <a:pt x="5474542" y="4459346"/>
                </a:cubicBezTo>
                <a:close/>
                <a:moveTo>
                  <a:pt x="5268319" y="4458239"/>
                </a:moveTo>
                <a:cubicBezTo>
                  <a:pt x="5257798" y="4475614"/>
                  <a:pt x="5256294" y="4491662"/>
                  <a:pt x="5247577" y="4508373"/>
                </a:cubicBezTo>
                <a:lnTo>
                  <a:pt x="5241866" y="4516563"/>
                </a:lnTo>
                <a:lnTo>
                  <a:pt x="5248178" y="4517005"/>
                </a:lnTo>
                <a:cubicBezTo>
                  <a:pt x="5251184" y="4522317"/>
                  <a:pt x="5250282" y="4526966"/>
                  <a:pt x="5245472" y="4534491"/>
                </a:cubicBezTo>
                <a:cubicBezTo>
                  <a:pt x="5237657" y="4536594"/>
                  <a:pt x="5225933" y="4528958"/>
                  <a:pt x="5232246" y="4519661"/>
                </a:cubicBezTo>
                <a:lnTo>
                  <a:pt x="5232847" y="4519551"/>
                </a:lnTo>
                <a:lnTo>
                  <a:pt x="5231645" y="4517005"/>
                </a:lnTo>
                <a:cubicBezTo>
                  <a:pt x="5226534" y="4494428"/>
                  <a:pt x="5245773" y="4454144"/>
                  <a:pt x="5268319" y="4458239"/>
                </a:cubicBezTo>
                <a:close/>
                <a:moveTo>
                  <a:pt x="2109157" y="4456136"/>
                </a:moveTo>
                <a:lnTo>
                  <a:pt x="2107655" y="4457353"/>
                </a:lnTo>
                <a:lnTo>
                  <a:pt x="2107955" y="4457464"/>
                </a:lnTo>
                <a:lnTo>
                  <a:pt x="2111262" y="4457796"/>
                </a:lnTo>
                <a:close/>
                <a:moveTo>
                  <a:pt x="1891813" y="4455693"/>
                </a:moveTo>
                <a:lnTo>
                  <a:pt x="1899629" y="4461780"/>
                </a:lnTo>
                <a:lnTo>
                  <a:pt x="1901434" y="4460563"/>
                </a:lnTo>
                <a:cubicBezTo>
                  <a:pt x="1902636" y="4460231"/>
                  <a:pt x="1904139" y="4460231"/>
                  <a:pt x="1908047" y="4459899"/>
                </a:cubicBezTo>
                <a:cubicBezTo>
                  <a:pt x="1909249" y="4464215"/>
                  <a:pt x="1910452" y="4468421"/>
                  <a:pt x="1911654" y="4472626"/>
                </a:cubicBezTo>
                <a:cubicBezTo>
                  <a:pt x="1909851" y="4472515"/>
                  <a:pt x="1908347" y="4472847"/>
                  <a:pt x="1906843" y="4473290"/>
                </a:cubicBezTo>
                <a:lnTo>
                  <a:pt x="1906243" y="4473401"/>
                </a:lnTo>
                <a:lnTo>
                  <a:pt x="1908347" y="4492879"/>
                </a:lnTo>
                <a:lnTo>
                  <a:pt x="1900531" y="4488895"/>
                </a:lnTo>
                <a:lnTo>
                  <a:pt x="1899629" y="4488452"/>
                </a:lnTo>
                <a:lnTo>
                  <a:pt x="1899629" y="4488341"/>
                </a:lnTo>
                <a:lnTo>
                  <a:pt x="1899029" y="4487899"/>
                </a:lnTo>
                <a:cubicBezTo>
                  <a:pt x="1891513" y="4480152"/>
                  <a:pt x="1890311" y="4465543"/>
                  <a:pt x="1891813" y="4455693"/>
                </a:cubicBezTo>
                <a:close/>
                <a:moveTo>
                  <a:pt x="862808" y="4455693"/>
                </a:moveTo>
                <a:lnTo>
                  <a:pt x="870324" y="4461780"/>
                </a:lnTo>
                <a:lnTo>
                  <a:pt x="872429" y="4460563"/>
                </a:lnTo>
                <a:cubicBezTo>
                  <a:pt x="873631" y="4460231"/>
                  <a:pt x="874834" y="4460231"/>
                  <a:pt x="878741" y="4459899"/>
                </a:cubicBezTo>
                <a:cubicBezTo>
                  <a:pt x="880244" y="4464215"/>
                  <a:pt x="881447" y="4468421"/>
                  <a:pt x="882649" y="4472626"/>
                </a:cubicBezTo>
                <a:cubicBezTo>
                  <a:pt x="880846" y="4472515"/>
                  <a:pt x="879342" y="4472847"/>
                  <a:pt x="877840" y="4473290"/>
                </a:cubicBezTo>
                <a:lnTo>
                  <a:pt x="877238" y="4473401"/>
                </a:lnTo>
                <a:lnTo>
                  <a:pt x="879342" y="4492879"/>
                </a:lnTo>
                <a:cubicBezTo>
                  <a:pt x="863409" y="4490444"/>
                  <a:pt x="860704" y="4468863"/>
                  <a:pt x="862808" y="4455693"/>
                </a:cubicBezTo>
                <a:close/>
                <a:moveTo>
                  <a:pt x="2486730" y="4454587"/>
                </a:moveTo>
                <a:cubicBezTo>
                  <a:pt x="2492743" y="4472294"/>
                  <a:pt x="2505669" y="4474950"/>
                  <a:pt x="2503264" y="4491994"/>
                </a:cubicBezTo>
                <a:cubicBezTo>
                  <a:pt x="2497552" y="4496088"/>
                  <a:pt x="2492141" y="4497638"/>
                  <a:pt x="2487031" y="4497416"/>
                </a:cubicBezTo>
                <a:lnTo>
                  <a:pt x="2476810" y="4493432"/>
                </a:lnTo>
                <a:lnTo>
                  <a:pt x="2481018" y="4497970"/>
                </a:lnTo>
                <a:cubicBezTo>
                  <a:pt x="2482822" y="4502065"/>
                  <a:pt x="2482521" y="4507156"/>
                  <a:pt x="2479516" y="4510476"/>
                </a:cubicBezTo>
                <a:cubicBezTo>
                  <a:pt x="2477711" y="4512578"/>
                  <a:pt x="2475006" y="4513906"/>
                  <a:pt x="2471399" y="4513685"/>
                </a:cubicBezTo>
                <a:cubicBezTo>
                  <a:pt x="2466288" y="4505495"/>
                  <a:pt x="2458772" y="4496974"/>
                  <a:pt x="2467491" y="4490555"/>
                </a:cubicBezTo>
                <a:lnTo>
                  <a:pt x="2473804" y="4492104"/>
                </a:lnTo>
                <a:lnTo>
                  <a:pt x="2466589" y="4480594"/>
                </a:lnTo>
                <a:cubicBezTo>
                  <a:pt x="2465687" y="4476168"/>
                  <a:pt x="2465988" y="4471409"/>
                  <a:pt x="2468092" y="4467092"/>
                </a:cubicBezTo>
                <a:cubicBezTo>
                  <a:pt x="2470798" y="4461448"/>
                  <a:pt x="2476509" y="4456800"/>
                  <a:pt x="2486730" y="4454587"/>
                </a:cubicBezTo>
                <a:close/>
                <a:moveTo>
                  <a:pt x="2200845" y="4454255"/>
                </a:moveTo>
                <a:cubicBezTo>
                  <a:pt x="2204152" y="4453148"/>
                  <a:pt x="2208661" y="4458128"/>
                  <a:pt x="2211968" y="4460010"/>
                </a:cubicBezTo>
                <a:cubicBezTo>
                  <a:pt x="2210165" y="4461338"/>
                  <a:pt x="2208661" y="4462666"/>
                  <a:pt x="2210165" y="4462887"/>
                </a:cubicBezTo>
                <a:lnTo>
                  <a:pt x="2205956" y="4464658"/>
                </a:lnTo>
                <a:lnTo>
                  <a:pt x="2209263" y="4466760"/>
                </a:lnTo>
                <a:cubicBezTo>
                  <a:pt x="2211066" y="4470081"/>
                  <a:pt x="2211667" y="4474175"/>
                  <a:pt x="2210766" y="4478492"/>
                </a:cubicBezTo>
                <a:cubicBezTo>
                  <a:pt x="2209564" y="4485685"/>
                  <a:pt x="2205054" y="4493322"/>
                  <a:pt x="2199342" y="4498080"/>
                </a:cubicBezTo>
                <a:lnTo>
                  <a:pt x="2193030" y="4501069"/>
                </a:lnTo>
                <a:lnTo>
                  <a:pt x="2193030" y="4501401"/>
                </a:lnTo>
                <a:cubicBezTo>
                  <a:pt x="2191827" y="4505606"/>
                  <a:pt x="2190324" y="4506381"/>
                  <a:pt x="2187619" y="4511472"/>
                </a:cubicBezTo>
                <a:cubicBezTo>
                  <a:pt x="2184010" y="4511804"/>
                  <a:pt x="2184312" y="4511693"/>
                  <a:pt x="2183410" y="4510476"/>
                </a:cubicBezTo>
                <a:cubicBezTo>
                  <a:pt x="2184312" y="4511693"/>
                  <a:pt x="2182808" y="4512468"/>
                  <a:pt x="2182208" y="4514571"/>
                </a:cubicBezTo>
                <a:cubicBezTo>
                  <a:pt x="2181606" y="4523535"/>
                  <a:pt x="2172888" y="4524974"/>
                  <a:pt x="2162968" y="4523756"/>
                </a:cubicBezTo>
                <a:cubicBezTo>
                  <a:pt x="2163569" y="4521653"/>
                  <a:pt x="2157857" y="4521432"/>
                  <a:pt x="2155152" y="4519661"/>
                </a:cubicBezTo>
                <a:cubicBezTo>
                  <a:pt x="2152747" y="4515788"/>
                  <a:pt x="2151545" y="4513132"/>
                  <a:pt x="2152747" y="4508926"/>
                </a:cubicBezTo>
                <a:cubicBezTo>
                  <a:pt x="2154852" y="4502618"/>
                  <a:pt x="2163269" y="4494428"/>
                  <a:pt x="2169581" y="4495867"/>
                </a:cubicBezTo>
                <a:cubicBezTo>
                  <a:pt x="2173490" y="4496199"/>
                  <a:pt x="2176496" y="4497195"/>
                  <a:pt x="2178600" y="4498634"/>
                </a:cubicBezTo>
                <a:lnTo>
                  <a:pt x="2180103" y="4500183"/>
                </a:lnTo>
                <a:lnTo>
                  <a:pt x="2178299" y="4495314"/>
                </a:lnTo>
                <a:cubicBezTo>
                  <a:pt x="2178299" y="4493100"/>
                  <a:pt x="2179502" y="4490887"/>
                  <a:pt x="2180403" y="4488784"/>
                </a:cubicBezTo>
                <a:cubicBezTo>
                  <a:pt x="2182208" y="4486017"/>
                  <a:pt x="2182208" y="4484579"/>
                  <a:pt x="2181005" y="4481369"/>
                </a:cubicBezTo>
                <a:cubicBezTo>
                  <a:pt x="2181005" y="4481369"/>
                  <a:pt x="2181005" y="4481258"/>
                  <a:pt x="2184312" y="4478713"/>
                </a:cubicBezTo>
                <a:lnTo>
                  <a:pt x="2184613" y="4478824"/>
                </a:lnTo>
                <a:lnTo>
                  <a:pt x="2198742" y="4460120"/>
                </a:lnTo>
                <a:lnTo>
                  <a:pt x="2200845" y="4461338"/>
                </a:lnTo>
                <a:close/>
                <a:moveTo>
                  <a:pt x="1171841" y="4454255"/>
                </a:moveTo>
                <a:cubicBezTo>
                  <a:pt x="1174847" y="4453148"/>
                  <a:pt x="1179656" y="4458128"/>
                  <a:pt x="1182662" y="4460010"/>
                </a:cubicBezTo>
                <a:cubicBezTo>
                  <a:pt x="1181160" y="4461338"/>
                  <a:pt x="1179356" y="4462666"/>
                  <a:pt x="1181160" y="4462887"/>
                </a:cubicBezTo>
                <a:lnTo>
                  <a:pt x="1176650" y="4464658"/>
                </a:lnTo>
                <a:lnTo>
                  <a:pt x="1180258" y="4466760"/>
                </a:lnTo>
                <a:cubicBezTo>
                  <a:pt x="1182061" y="4470081"/>
                  <a:pt x="1182362" y="4474175"/>
                  <a:pt x="1181761" y="4478492"/>
                </a:cubicBezTo>
                <a:cubicBezTo>
                  <a:pt x="1179055" y="4492879"/>
                  <a:pt x="1163724" y="4508926"/>
                  <a:pt x="1150798" y="4500405"/>
                </a:cubicBezTo>
                <a:cubicBezTo>
                  <a:pt x="1151098" y="4486792"/>
                  <a:pt x="1155006" y="4472294"/>
                  <a:pt x="1169736" y="4460120"/>
                </a:cubicBezTo>
                <a:lnTo>
                  <a:pt x="1171540" y="4461338"/>
                </a:lnTo>
                <a:close/>
                <a:moveTo>
                  <a:pt x="5547891" y="4454033"/>
                </a:moveTo>
                <a:cubicBezTo>
                  <a:pt x="5550897" y="4454144"/>
                  <a:pt x="5554204" y="4454919"/>
                  <a:pt x="5557210" y="4456357"/>
                </a:cubicBezTo>
                <a:lnTo>
                  <a:pt x="5553603" y="4465100"/>
                </a:lnTo>
                <a:lnTo>
                  <a:pt x="5557511" y="4465543"/>
                </a:lnTo>
                <a:cubicBezTo>
                  <a:pt x="5558714" y="4465986"/>
                  <a:pt x="5559916" y="4466760"/>
                  <a:pt x="5561118" y="4468089"/>
                </a:cubicBezTo>
                <a:lnTo>
                  <a:pt x="5560517" y="4470302"/>
                </a:lnTo>
                <a:lnTo>
                  <a:pt x="5570437" y="4466428"/>
                </a:lnTo>
                <a:cubicBezTo>
                  <a:pt x="5573143" y="4466096"/>
                  <a:pt x="5575548" y="4466207"/>
                  <a:pt x="5578252" y="4466539"/>
                </a:cubicBezTo>
                <a:cubicBezTo>
                  <a:pt x="5586070" y="4467757"/>
                  <a:pt x="5593584" y="4472073"/>
                  <a:pt x="5601100" y="4476278"/>
                </a:cubicBezTo>
                <a:cubicBezTo>
                  <a:pt x="5594786" y="4485464"/>
                  <a:pt x="5581560" y="4482476"/>
                  <a:pt x="5570137" y="4476832"/>
                </a:cubicBezTo>
                <a:lnTo>
                  <a:pt x="5560517" y="4470855"/>
                </a:lnTo>
                <a:lnTo>
                  <a:pt x="5559315" y="4475504"/>
                </a:lnTo>
                <a:cubicBezTo>
                  <a:pt x="5546087" y="4484800"/>
                  <a:pt x="5538271" y="4479266"/>
                  <a:pt x="5536769" y="4480705"/>
                </a:cubicBezTo>
                <a:cubicBezTo>
                  <a:pt x="5531959" y="4475504"/>
                  <a:pt x="5535265" y="4472847"/>
                  <a:pt x="5538572" y="4466982"/>
                </a:cubicBezTo>
                <a:cubicBezTo>
                  <a:pt x="5539473" y="4467867"/>
                  <a:pt x="5540977" y="4467314"/>
                  <a:pt x="5542781" y="4466318"/>
                </a:cubicBezTo>
                <a:lnTo>
                  <a:pt x="5544884" y="4464768"/>
                </a:lnTo>
                <a:lnTo>
                  <a:pt x="5543382" y="4460895"/>
                </a:lnTo>
                <a:cubicBezTo>
                  <a:pt x="5542180" y="4459235"/>
                  <a:pt x="5540676" y="4457243"/>
                  <a:pt x="5537971" y="4455140"/>
                </a:cubicBezTo>
                <a:cubicBezTo>
                  <a:pt x="5541278" y="4454365"/>
                  <a:pt x="5544584" y="4453923"/>
                  <a:pt x="5547891" y="4454033"/>
                </a:cubicBezTo>
                <a:close/>
                <a:moveTo>
                  <a:pt x="2783436" y="4454033"/>
                </a:moveTo>
                <a:cubicBezTo>
                  <a:pt x="2786443" y="4454144"/>
                  <a:pt x="2789750" y="4454919"/>
                  <a:pt x="2792756" y="4456357"/>
                </a:cubicBezTo>
                <a:lnTo>
                  <a:pt x="2789148" y="4465100"/>
                </a:lnTo>
                <a:lnTo>
                  <a:pt x="2792756" y="4465543"/>
                </a:lnTo>
                <a:cubicBezTo>
                  <a:pt x="2793958" y="4465986"/>
                  <a:pt x="2795462" y="4466760"/>
                  <a:pt x="2796664" y="4468089"/>
                </a:cubicBezTo>
                <a:lnTo>
                  <a:pt x="2796063" y="4470302"/>
                </a:lnTo>
                <a:lnTo>
                  <a:pt x="2805983" y="4466428"/>
                </a:lnTo>
                <a:cubicBezTo>
                  <a:pt x="2808689" y="4466096"/>
                  <a:pt x="2811093" y="4466207"/>
                  <a:pt x="2813799" y="4466539"/>
                </a:cubicBezTo>
                <a:cubicBezTo>
                  <a:pt x="2821314" y="4467757"/>
                  <a:pt x="2829131" y="4472073"/>
                  <a:pt x="2836646" y="4476278"/>
                </a:cubicBezTo>
                <a:cubicBezTo>
                  <a:pt x="2830333" y="4485464"/>
                  <a:pt x="2816805" y="4482476"/>
                  <a:pt x="2805682" y="4476832"/>
                </a:cubicBezTo>
                <a:lnTo>
                  <a:pt x="2796063" y="4470855"/>
                </a:lnTo>
                <a:lnTo>
                  <a:pt x="2794861" y="4475504"/>
                </a:lnTo>
                <a:cubicBezTo>
                  <a:pt x="2781634" y="4484800"/>
                  <a:pt x="2773517" y="4479266"/>
                  <a:pt x="2772013" y="4480705"/>
                </a:cubicBezTo>
                <a:cubicBezTo>
                  <a:pt x="2767204" y="4475504"/>
                  <a:pt x="2770811" y="4472847"/>
                  <a:pt x="2774118" y="4466982"/>
                </a:cubicBezTo>
                <a:cubicBezTo>
                  <a:pt x="2775019" y="4467867"/>
                  <a:pt x="2776523" y="4467314"/>
                  <a:pt x="2778026" y="4466318"/>
                </a:cubicBezTo>
                <a:lnTo>
                  <a:pt x="2780130" y="4464768"/>
                </a:lnTo>
                <a:lnTo>
                  <a:pt x="2778627" y="4460895"/>
                </a:lnTo>
                <a:cubicBezTo>
                  <a:pt x="2777424" y="4459235"/>
                  <a:pt x="2775922" y="4457243"/>
                  <a:pt x="2773216" y="4455140"/>
                </a:cubicBezTo>
                <a:cubicBezTo>
                  <a:pt x="2776824" y="4454365"/>
                  <a:pt x="2780130" y="4453923"/>
                  <a:pt x="2783436" y="4454033"/>
                </a:cubicBezTo>
                <a:close/>
                <a:moveTo>
                  <a:pt x="1754131" y="4454033"/>
                </a:moveTo>
                <a:cubicBezTo>
                  <a:pt x="1757439" y="4454144"/>
                  <a:pt x="1760445" y="4454919"/>
                  <a:pt x="1763751" y="4456357"/>
                </a:cubicBezTo>
                <a:lnTo>
                  <a:pt x="1759844" y="4465100"/>
                </a:lnTo>
                <a:lnTo>
                  <a:pt x="1763751" y="4465543"/>
                </a:lnTo>
                <a:cubicBezTo>
                  <a:pt x="1764953" y="4465986"/>
                  <a:pt x="1766156" y="4466760"/>
                  <a:pt x="1767358" y="4468089"/>
                </a:cubicBezTo>
                <a:lnTo>
                  <a:pt x="1767058" y="4470302"/>
                </a:lnTo>
                <a:lnTo>
                  <a:pt x="1776979" y="4466428"/>
                </a:lnTo>
                <a:cubicBezTo>
                  <a:pt x="1779384" y="4466096"/>
                  <a:pt x="1782089" y="4466207"/>
                  <a:pt x="1784493" y="4466539"/>
                </a:cubicBezTo>
                <a:cubicBezTo>
                  <a:pt x="1792310" y="4467757"/>
                  <a:pt x="1799825" y="4472073"/>
                  <a:pt x="1807341" y="4476278"/>
                </a:cubicBezTo>
                <a:cubicBezTo>
                  <a:pt x="1801328" y="4485464"/>
                  <a:pt x="1787801" y="4482476"/>
                  <a:pt x="1776377" y="4476832"/>
                </a:cubicBezTo>
                <a:lnTo>
                  <a:pt x="1766757" y="4470855"/>
                </a:lnTo>
                <a:lnTo>
                  <a:pt x="1765556" y="4475504"/>
                </a:lnTo>
                <a:cubicBezTo>
                  <a:pt x="1752328" y="4484800"/>
                  <a:pt x="1744512" y="4479266"/>
                  <a:pt x="1743008" y="4480705"/>
                </a:cubicBezTo>
                <a:cubicBezTo>
                  <a:pt x="1738199" y="4475504"/>
                  <a:pt x="1741506" y="4472847"/>
                  <a:pt x="1745113" y="4466982"/>
                </a:cubicBezTo>
                <a:cubicBezTo>
                  <a:pt x="1745714" y="4467867"/>
                  <a:pt x="1747518" y="4467314"/>
                  <a:pt x="1749022" y="4466318"/>
                </a:cubicBezTo>
                <a:lnTo>
                  <a:pt x="1751125" y="4464768"/>
                </a:lnTo>
                <a:lnTo>
                  <a:pt x="1749623" y="4460895"/>
                </a:lnTo>
                <a:cubicBezTo>
                  <a:pt x="1748420" y="4459235"/>
                  <a:pt x="1746917" y="4457243"/>
                  <a:pt x="1744212" y="4455140"/>
                </a:cubicBezTo>
                <a:cubicBezTo>
                  <a:pt x="1747518" y="4454365"/>
                  <a:pt x="1750825" y="4453923"/>
                  <a:pt x="1754131" y="4454033"/>
                </a:cubicBezTo>
                <a:close/>
                <a:moveTo>
                  <a:pt x="1691604" y="4453037"/>
                </a:moveTo>
                <a:cubicBezTo>
                  <a:pt x="1697616" y="4456247"/>
                  <a:pt x="1703628" y="4459567"/>
                  <a:pt x="1705432" y="4463883"/>
                </a:cubicBezTo>
                <a:lnTo>
                  <a:pt x="1699420" y="4469527"/>
                </a:lnTo>
                <a:lnTo>
                  <a:pt x="1705132" y="4479045"/>
                </a:lnTo>
                <a:lnTo>
                  <a:pt x="1705132" y="4482476"/>
                </a:lnTo>
                <a:lnTo>
                  <a:pt x="1707837" y="4484579"/>
                </a:lnTo>
                <a:cubicBezTo>
                  <a:pt x="1708739" y="4485907"/>
                  <a:pt x="1709039" y="4487456"/>
                  <a:pt x="1709039" y="4489891"/>
                </a:cubicBezTo>
                <a:lnTo>
                  <a:pt x="1705432" y="4487124"/>
                </a:lnTo>
                <a:lnTo>
                  <a:pt x="1705733" y="4490776"/>
                </a:lnTo>
                <a:cubicBezTo>
                  <a:pt x="1703929" y="4501401"/>
                  <a:pt x="1695812" y="4510697"/>
                  <a:pt x="1678076" y="4511472"/>
                </a:cubicBezTo>
                <a:cubicBezTo>
                  <a:pt x="1670260" y="4502950"/>
                  <a:pt x="1665450" y="4492658"/>
                  <a:pt x="1664548" y="4483472"/>
                </a:cubicBezTo>
                <a:lnTo>
                  <a:pt x="1665751" y="4473179"/>
                </a:lnTo>
                <a:lnTo>
                  <a:pt x="1665149" y="4469859"/>
                </a:lnTo>
                <a:lnTo>
                  <a:pt x="1668155" y="4468421"/>
                </a:lnTo>
                <a:lnTo>
                  <a:pt x="1673566" y="4461559"/>
                </a:lnTo>
                <a:cubicBezTo>
                  <a:pt x="1675972" y="4460342"/>
                  <a:pt x="1678377" y="4459678"/>
                  <a:pt x="1680782" y="4459346"/>
                </a:cubicBezTo>
                <a:lnTo>
                  <a:pt x="1686193" y="4459899"/>
                </a:lnTo>
                <a:close/>
                <a:moveTo>
                  <a:pt x="662599" y="4453037"/>
                </a:moveTo>
                <a:cubicBezTo>
                  <a:pt x="668611" y="4456247"/>
                  <a:pt x="674623" y="4459567"/>
                  <a:pt x="676127" y="4463883"/>
                </a:cubicBezTo>
                <a:cubicBezTo>
                  <a:pt x="674323" y="4467535"/>
                  <a:pt x="671617" y="4470191"/>
                  <a:pt x="668010" y="4471409"/>
                </a:cubicBezTo>
                <a:cubicBezTo>
                  <a:pt x="664704" y="4472626"/>
                  <a:pt x="660494" y="4472515"/>
                  <a:pt x="655986" y="4470523"/>
                </a:cubicBezTo>
                <a:cubicBezTo>
                  <a:pt x="651777" y="4463662"/>
                  <a:pt x="658992" y="4457021"/>
                  <a:pt x="662599" y="4453037"/>
                </a:cubicBezTo>
                <a:close/>
                <a:moveTo>
                  <a:pt x="5591781" y="4451820"/>
                </a:moveTo>
                <a:cubicBezTo>
                  <a:pt x="5593584" y="4452705"/>
                  <a:pt x="5594486" y="4454033"/>
                  <a:pt x="5594786" y="4455472"/>
                </a:cubicBezTo>
                <a:cubicBezTo>
                  <a:pt x="5594786" y="4456800"/>
                  <a:pt x="5594486" y="4458017"/>
                  <a:pt x="5593885" y="4459013"/>
                </a:cubicBezTo>
                <a:cubicBezTo>
                  <a:pt x="5593584" y="4461448"/>
                  <a:pt x="5592082" y="4463219"/>
                  <a:pt x="5589677" y="4464326"/>
                </a:cubicBezTo>
                <a:cubicBezTo>
                  <a:pt x="5587572" y="4465432"/>
                  <a:pt x="5584566" y="4466096"/>
                  <a:pt x="5582161" y="4466096"/>
                </a:cubicBezTo>
                <a:cubicBezTo>
                  <a:pt x="5583664" y="4465654"/>
                  <a:pt x="5583664" y="4465543"/>
                  <a:pt x="5583664" y="4465543"/>
                </a:cubicBezTo>
                <a:cubicBezTo>
                  <a:pt x="5584867" y="4463551"/>
                  <a:pt x="5583063" y="4464215"/>
                  <a:pt x="5582762" y="4462776"/>
                </a:cubicBezTo>
                <a:cubicBezTo>
                  <a:pt x="5582762" y="4462776"/>
                  <a:pt x="5583363" y="4464215"/>
                  <a:pt x="5581260" y="4463330"/>
                </a:cubicBezTo>
                <a:cubicBezTo>
                  <a:pt x="5582762" y="4462776"/>
                  <a:pt x="5582462" y="4461227"/>
                  <a:pt x="5582161" y="4459788"/>
                </a:cubicBezTo>
                <a:cubicBezTo>
                  <a:pt x="5584266" y="4455915"/>
                  <a:pt x="5588173" y="4451377"/>
                  <a:pt x="5591781" y="4451820"/>
                </a:cubicBezTo>
                <a:close/>
                <a:moveTo>
                  <a:pt x="4336113" y="4451820"/>
                </a:moveTo>
                <a:cubicBezTo>
                  <a:pt x="4338217" y="4452705"/>
                  <a:pt x="4338818" y="4454033"/>
                  <a:pt x="4339119" y="4455472"/>
                </a:cubicBezTo>
                <a:cubicBezTo>
                  <a:pt x="4339419" y="4456800"/>
                  <a:pt x="4338818" y="4458017"/>
                  <a:pt x="4338217" y="4459013"/>
                </a:cubicBezTo>
                <a:cubicBezTo>
                  <a:pt x="4338217" y="4461448"/>
                  <a:pt x="4336413" y="4463219"/>
                  <a:pt x="4334309" y="4464326"/>
                </a:cubicBezTo>
                <a:cubicBezTo>
                  <a:pt x="4331905" y="4465432"/>
                  <a:pt x="4329198" y="4466096"/>
                  <a:pt x="4326493" y="4466096"/>
                </a:cubicBezTo>
                <a:cubicBezTo>
                  <a:pt x="4328296" y="4465654"/>
                  <a:pt x="4327996" y="4465543"/>
                  <a:pt x="4327996" y="4465543"/>
                </a:cubicBezTo>
                <a:cubicBezTo>
                  <a:pt x="4329198" y="4463551"/>
                  <a:pt x="4327695" y="4464215"/>
                  <a:pt x="4327395" y="4462776"/>
                </a:cubicBezTo>
                <a:cubicBezTo>
                  <a:pt x="4327395" y="4462776"/>
                  <a:pt x="4327695" y="4464215"/>
                  <a:pt x="4325591" y="4463330"/>
                </a:cubicBezTo>
                <a:cubicBezTo>
                  <a:pt x="4327395" y="4462776"/>
                  <a:pt x="4326794" y="4461227"/>
                  <a:pt x="4326493" y="4459788"/>
                </a:cubicBezTo>
                <a:cubicBezTo>
                  <a:pt x="4328897" y="4455915"/>
                  <a:pt x="4332506" y="4451377"/>
                  <a:pt x="4336113" y="4451820"/>
                </a:cubicBezTo>
                <a:close/>
                <a:moveTo>
                  <a:pt x="2827326" y="4451820"/>
                </a:moveTo>
                <a:cubicBezTo>
                  <a:pt x="2829131" y="4452705"/>
                  <a:pt x="2830032" y="4454033"/>
                  <a:pt x="2830333" y="4455472"/>
                </a:cubicBezTo>
                <a:cubicBezTo>
                  <a:pt x="2830333" y="4456800"/>
                  <a:pt x="2829731" y="4458017"/>
                  <a:pt x="2829131" y="4459013"/>
                </a:cubicBezTo>
                <a:cubicBezTo>
                  <a:pt x="2829131" y="4461448"/>
                  <a:pt x="2827326" y="4463219"/>
                  <a:pt x="2825222" y="4464326"/>
                </a:cubicBezTo>
                <a:cubicBezTo>
                  <a:pt x="2822818" y="4465432"/>
                  <a:pt x="2820112" y="4466096"/>
                  <a:pt x="2817407" y="4466096"/>
                </a:cubicBezTo>
                <a:cubicBezTo>
                  <a:pt x="2819210" y="4465654"/>
                  <a:pt x="2819210" y="4465543"/>
                  <a:pt x="2819210" y="4465543"/>
                </a:cubicBezTo>
                <a:cubicBezTo>
                  <a:pt x="2820413" y="4463551"/>
                  <a:pt x="2818609" y="4464215"/>
                  <a:pt x="2818308" y="4462776"/>
                </a:cubicBezTo>
                <a:cubicBezTo>
                  <a:pt x="2818308" y="4462776"/>
                  <a:pt x="2818609" y="4464215"/>
                  <a:pt x="2816805" y="4463330"/>
                </a:cubicBezTo>
                <a:cubicBezTo>
                  <a:pt x="2818308" y="4462776"/>
                  <a:pt x="2817707" y="4461227"/>
                  <a:pt x="2817407" y="4459788"/>
                </a:cubicBezTo>
                <a:cubicBezTo>
                  <a:pt x="2819812" y="4455915"/>
                  <a:pt x="2823719" y="4451377"/>
                  <a:pt x="2827326" y="4451820"/>
                </a:cubicBezTo>
                <a:close/>
                <a:moveTo>
                  <a:pt x="1798021" y="4451820"/>
                </a:moveTo>
                <a:cubicBezTo>
                  <a:pt x="1800126" y="4452705"/>
                  <a:pt x="1801027" y="4454033"/>
                  <a:pt x="1801027" y="4455472"/>
                </a:cubicBezTo>
                <a:cubicBezTo>
                  <a:pt x="1801328" y="4456800"/>
                  <a:pt x="1800727" y="4458017"/>
                  <a:pt x="1800126" y="4459013"/>
                </a:cubicBezTo>
                <a:cubicBezTo>
                  <a:pt x="1799825" y="4461448"/>
                  <a:pt x="1798322" y="4463219"/>
                  <a:pt x="1795918" y="4464326"/>
                </a:cubicBezTo>
                <a:cubicBezTo>
                  <a:pt x="1793813" y="4465432"/>
                  <a:pt x="1791108" y="4466096"/>
                  <a:pt x="1788402" y="4466096"/>
                </a:cubicBezTo>
                <a:cubicBezTo>
                  <a:pt x="1789904" y="4465654"/>
                  <a:pt x="1789904" y="4465543"/>
                  <a:pt x="1789904" y="4465543"/>
                </a:cubicBezTo>
                <a:cubicBezTo>
                  <a:pt x="1791108" y="4463551"/>
                  <a:pt x="1789604" y="4464215"/>
                  <a:pt x="1789303" y="4462776"/>
                </a:cubicBezTo>
                <a:cubicBezTo>
                  <a:pt x="1789303" y="4462776"/>
                  <a:pt x="1789604" y="4464215"/>
                  <a:pt x="1787499" y="4463330"/>
                </a:cubicBezTo>
                <a:cubicBezTo>
                  <a:pt x="1789003" y="4462776"/>
                  <a:pt x="1788703" y="4461227"/>
                  <a:pt x="1788402" y="4459788"/>
                </a:cubicBezTo>
                <a:cubicBezTo>
                  <a:pt x="1790507" y="4455915"/>
                  <a:pt x="1794715" y="4451377"/>
                  <a:pt x="1798021" y="4451820"/>
                </a:cubicBezTo>
                <a:close/>
                <a:moveTo>
                  <a:pt x="5416222" y="4451709"/>
                </a:moveTo>
                <a:cubicBezTo>
                  <a:pt x="5418627" y="4451820"/>
                  <a:pt x="5421332" y="4452595"/>
                  <a:pt x="5424338" y="4454033"/>
                </a:cubicBezTo>
                <a:cubicBezTo>
                  <a:pt x="5426443" y="4464658"/>
                  <a:pt x="5433957" y="4483029"/>
                  <a:pt x="5416522" y="4488341"/>
                </a:cubicBezTo>
                <a:cubicBezTo>
                  <a:pt x="5402093" y="4478492"/>
                  <a:pt x="5400289" y="4450713"/>
                  <a:pt x="5416222" y="4451709"/>
                </a:cubicBezTo>
                <a:close/>
                <a:moveTo>
                  <a:pt x="1622763" y="4451709"/>
                </a:moveTo>
                <a:cubicBezTo>
                  <a:pt x="1625168" y="4451820"/>
                  <a:pt x="1627874" y="4452595"/>
                  <a:pt x="1630880" y="4454033"/>
                </a:cubicBezTo>
                <a:cubicBezTo>
                  <a:pt x="1632383" y="4462002"/>
                  <a:pt x="1636892" y="4474397"/>
                  <a:pt x="1631781" y="4482254"/>
                </a:cubicBezTo>
                <a:lnTo>
                  <a:pt x="1623364" y="4487899"/>
                </a:lnTo>
                <a:lnTo>
                  <a:pt x="1627272" y="4491662"/>
                </a:lnTo>
                <a:lnTo>
                  <a:pt x="1632082" y="4495203"/>
                </a:lnTo>
                <a:cubicBezTo>
                  <a:pt x="1634487" y="4498412"/>
                  <a:pt x="1634186" y="4502618"/>
                  <a:pt x="1632082" y="4505717"/>
                </a:cubicBezTo>
                <a:cubicBezTo>
                  <a:pt x="1630880" y="4507820"/>
                  <a:pt x="1628775" y="4509369"/>
                  <a:pt x="1625769" y="4510033"/>
                </a:cubicBezTo>
                <a:cubicBezTo>
                  <a:pt x="1623966" y="4510365"/>
                  <a:pt x="1622162" y="4510254"/>
                  <a:pt x="1619757" y="4509480"/>
                </a:cubicBezTo>
                <a:lnTo>
                  <a:pt x="1615548" y="4507156"/>
                </a:lnTo>
                <a:lnTo>
                  <a:pt x="1612843" y="4509480"/>
                </a:lnTo>
                <a:cubicBezTo>
                  <a:pt x="1598112" y="4501069"/>
                  <a:pt x="1605328" y="4484136"/>
                  <a:pt x="1616450" y="4484689"/>
                </a:cubicBezTo>
                <a:lnTo>
                  <a:pt x="1621260" y="4486460"/>
                </a:lnTo>
                <a:lnTo>
                  <a:pt x="1614646" y="4478270"/>
                </a:lnTo>
                <a:cubicBezTo>
                  <a:pt x="1608634" y="4466428"/>
                  <a:pt x="1610739" y="4450934"/>
                  <a:pt x="1622763" y="4451709"/>
                </a:cubicBezTo>
                <a:close/>
                <a:moveTo>
                  <a:pt x="5623646" y="4451045"/>
                </a:moveTo>
                <a:cubicBezTo>
                  <a:pt x="5625450" y="4454033"/>
                  <a:pt x="5627253" y="4459899"/>
                  <a:pt x="5624549" y="4462776"/>
                </a:cubicBezTo>
                <a:cubicBezTo>
                  <a:pt x="5624549" y="4462776"/>
                  <a:pt x="5624549" y="4462776"/>
                  <a:pt x="5623045" y="4464215"/>
                </a:cubicBezTo>
                <a:cubicBezTo>
                  <a:pt x="5622743" y="4459788"/>
                  <a:pt x="5622443" y="4453923"/>
                  <a:pt x="5623646" y="4451045"/>
                </a:cubicBezTo>
                <a:close/>
                <a:moveTo>
                  <a:pt x="4368278" y="4451045"/>
                </a:moveTo>
                <a:cubicBezTo>
                  <a:pt x="4369781" y="4454033"/>
                  <a:pt x="4371886" y="4459899"/>
                  <a:pt x="4368880" y="4462776"/>
                </a:cubicBezTo>
                <a:cubicBezTo>
                  <a:pt x="4368880" y="4462776"/>
                  <a:pt x="4368880" y="4462776"/>
                  <a:pt x="4367376" y="4464215"/>
                </a:cubicBezTo>
                <a:cubicBezTo>
                  <a:pt x="4367076" y="4459788"/>
                  <a:pt x="4366775" y="4453923"/>
                  <a:pt x="4368278" y="4451045"/>
                </a:cubicBezTo>
                <a:close/>
                <a:moveTo>
                  <a:pt x="2859192" y="4451045"/>
                </a:moveTo>
                <a:cubicBezTo>
                  <a:pt x="2860995" y="4454033"/>
                  <a:pt x="2862799" y="4459899"/>
                  <a:pt x="2859793" y="4462776"/>
                </a:cubicBezTo>
                <a:cubicBezTo>
                  <a:pt x="2859793" y="4462776"/>
                  <a:pt x="2859793" y="4462776"/>
                  <a:pt x="2858290" y="4464215"/>
                </a:cubicBezTo>
                <a:cubicBezTo>
                  <a:pt x="2857989" y="4459788"/>
                  <a:pt x="2857989" y="4453923"/>
                  <a:pt x="2859192" y="4451045"/>
                </a:cubicBezTo>
                <a:close/>
                <a:moveTo>
                  <a:pt x="1830188" y="4451045"/>
                </a:moveTo>
                <a:cubicBezTo>
                  <a:pt x="1831991" y="4454033"/>
                  <a:pt x="1833494" y="4459899"/>
                  <a:pt x="1830788" y="4462776"/>
                </a:cubicBezTo>
                <a:cubicBezTo>
                  <a:pt x="1830788" y="4462776"/>
                  <a:pt x="1830788" y="4462776"/>
                  <a:pt x="1829286" y="4464215"/>
                </a:cubicBezTo>
                <a:cubicBezTo>
                  <a:pt x="1828984" y="4459788"/>
                  <a:pt x="1828684" y="4453923"/>
                  <a:pt x="1830188" y="4451045"/>
                </a:cubicBezTo>
                <a:close/>
                <a:moveTo>
                  <a:pt x="5537069" y="4450934"/>
                </a:moveTo>
                <a:cubicBezTo>
                  <a:pt x="5537370" y="4455804"/>
                  <a:pt x="5536168" y="4458792"/>
                  <a:pt x="5533161" y="4460342"/>
                </a:cubicBezTo>
                <a:lnTo>
                  <a:pt x="5527449" y="4460784"/>
                </a:lnTo>
                <a:lnTo>
                  <a:pt x="5528050" y="4464990"/>
                </a:lnTo>
                <a:cubicBezTo>
                  <a:pt x="5526848" y="4468642"/>
                  <a:pt x="5523842" y="4472515"/>
                  <a:pt x="5518731" y="4475614"/>
                </a:cubicBezTo>
                <a:cubicBezTo>
                  <a:pt x="5510615" y="4475393"/>
                  <a:pt x="5501296" y="4464215"/>
                  <a:pt x="5503701" y="4458571"/>
                </a:cubicBezTo>
                <a:cubicBezTo>
                  <a:pt x="5510615" y="4451488"/>
                  <a:pt x="5517529" y="4450381"/>
                  <a:pt x="5522038" y="4452373"/>
                </a:cubicBezTo>
                <a:lnTo>
                  <a:pt x="5523842" y="4453812"/>
                </a:lnTo>
                <a:lnTo>
                  <a:pt x="5525345" y="4452816"/>
                </a:lnTo>
                <a:cubicBezTo>
                  <a:pt x="5528652" y="4451820"/>
                  <a:pt x="5533161" y="4451931"/>
                  <a:pt x="5537069" y="4450934"/>
                </a:cubicBezTo>
                <a:close/>
                <a:moveTo>
                  <a:pt x="1743611" y="4450934"/>
                </a:moveTo>
                <a:cubicBezTo>
                  <a:pt x="1743611" y="4455804"/>
                  <a:pt x="1742407" y="4458792"/>
                  <a:pt x="1739702" y="4460342"/>
                </a:cubicBezTo>
                <a:lnTo>
                  <a:pt x="1733990" y="4460784"/>
                </a:lnTo>
                <a:lnTo>
                  <a:pt x="1734291" y="4464990"/>
                </a:lnTo>
                <a:cubicBezTo>
                  <a:pt x="1733089" y="4468642"/>
                  <a:pt x="1730383" y="4472515"/>
                  <a:pt x="1724972" y="4475614"/>
                </a:cubicBezTo>
                <a:cubicBezTo>
                  <a:pt x="1717156" y="4475393"/>
                  <a:pt x="1707537" y="4464215"/>
                  <a:pt x="1709942" y="4458571"/>
                </a:cubicBezTo>
                <a:cubicBezTo>
                  <a:pt x="1717156" y="4451488"/>
                  <a:pt x="1723770" y="4450381"/>
                  <a:pt x="1728579" y="4452373"/>
                </a:cubicBezTo>
                <a:lnTo>
                  <a:pt x="1730083" y="4453812"/>
                </a:lnTo>
                <a:lnTo>
                  <a:pt x="1731585" y="4452816"/>
                </a:lnTo>
                <a:cubicBezTo>
                  <a:pt x="1734893" y="4451820"/>
                  <a:pt x="1739401" y="4451931"/>
                  <a:pt x="1743611" y="4450934"/>
                </a:cubicBezTo>
                <a:close/>
                <a:moveTo>
                  <a:pt x="5447186" y="4450713"/>
                </a:moveTo>
                <a:cubicBezTo>
                  <a:pt x="5448388" y="4449938"/>
                  <a:pt x="5450191" y="4449717"/>
                  <a:pt x="5451995" y="4450824"/>
                </a:cubicBezTo>
                <a:cubicBezTo>
                  <a:pt x="5451995" y="4452927"/>
                  <a:pt x="5452897" y="4456357"/>
                  <a:pt x="5451694" y="4459346"/>
                </a:cubicBezTo>
                <a:cubicBezTo>
                  <a:pt x="5442977" y="4461227"/>
                  <a:pt x="5443277" y="4453037"/>
                  <a:pt x="5447186" y="4450713"/>
                </a:cubicBezTo>
                <a:close/>
                <a:moveTo>
                  <a:pt x="1653426" y="4450713"/>
                </a:moveTo>
                <a:cubicBezTo>
                  <a:pt x="1654929" y="4449938"/>
                  <a:pt x="1656432" y="4449717"/>
                  <a:pt x="1658536" y="4450824"/>
                </a:cubicBezTo>
                <a:cubicBezTo>
                  <a:pt x="1658236" y="4452927"/>
                  <a:pt x="1659137" y="4456357"/>
                  <a:pt x="1657935" y="4459346"/>
                </a:cubicBezTo>
                <a:cubicBezTo>
                  <a:pt x="1649217" y="4461227"/>
                  <a:pt x="1649518" y="4453037"/>
                  <a:pt x="1653426" y="4450713"/>
                </a:cubicBezTo>
                <a:close/>
                <a:moveTo>
                  <a:pt x="5268319" y="4450602"/>
                </a:moveTo>
                <a:cubicBezTo>
                  <a:pt x="5278239" y="4455140"/>
                  <a:pt x="5290565" y="4458017"/>
                  <a:pt x="5298982" y="4465654"/>
                </a:cubicBezTo>
                <a:cubicBezTo>
                  <a:pt x="5288460" y="4469527"/>
                  <a:pt x="5267417" y="4465432"/>
                  <a:pt x="5268319" y="4450602"/>
                </a:cubicBezTo>
                <a:close/>
                <a:moveTo>
                  <a:pt x="2503865" y="4450602"/>
                </a:moveTo>
                <a:cubicBezTo>
                  <a:pt x="2513785" y="4455140"/>
                  <a:pt x="2526111" y="4458017"/>
                  <a:pt x="2534528" y="4465654"/>
                </a:cubicBezTo>
                <a:cubicBezTo>
                  <a:pt x="2524006" y="4469527"/>
                  <a:pt x="2502963" y="4465432"/>
                  <a:pt x="2503865" y="4450602"/>
                </a:cubicBezTo>
                <a:close/>
                <a:moveTo>
                  <a:pt x="1474861" y="4450602"/>
                </a:moveTo>
                <a:cubicBezTo>
                  <a:pt x="1484780" y="4455140"/>
                  <a:pt x="1496806" y="4458017"/>
                  <a:pt x="1505523" y="4465654"/>
                </a:cubicBezTo>
                <a:cubicBezTo>
                  <a:pt x="1495002" y="4469527"/>
                  <a:pt x="1473658" y="4465432"/>
                  <a:pt x="1474861" y="4450602"/>
                </a:cubicBezTo>
                <a:close/>
                <a:moveTo>
                  <a:pt x="5567732" y="4449828"/>
                </a:moveTo>
                <a:cubicBezTo>
                  <a:pt x="5571038" y="4451488"/>
                  <a:pt x="5572541" y="4453148"/>
                  <a:pt x="5574346" y="4454697"/>
                </a:cubicBezTo>
                <a:cubicBezTo>
                  <a:pt x="5577651" y="4456468"/>
                  <a:pt x="5577651" y="4458017"/>
                  <a:pt x="5574647" y="4461006"/>
                </a:cubicBezTo>
                <a:cubicBezTo>
                  <a:pt x="5571339" y="4459346"/>
                  <a:pt x="5566529" y="4452816"/>
                  <a:pt x="5567732" y="4449828"/>
                </a:cubicBezTo>
                <a:close/>
                <a:moveTo>
                  <a:pt x="2803278" y="4449828"/>
                </a:moveTo>
                <a:cubicBezTo>
                  <a:pt x="2806585" y="4451488"/>
                  <a:pt x="2808087" y="4453148"/>
                  <a:pt x="2809891" y="4454697"/>
                </a:cubicBezTo>
                <a:cubicBezTo>
                  <a:pt x="2812897" y="4456468"/>
                  <a:pt x="2812897" y="4458017"/>
                  <a:pt x="2810192" y="4461006"/>
                </a:cubicBezTo>
                <a:cubicBezTo>
                  <a:pt x="2806885" y="4459346"/>
                  <a:pt x="2801775" y="4452816"/>
                  <a:pt x="2803278" y="4449828"/>
                </a:cubicBezTo>
                <a:close/>
                <a:moveTo>
                  <a:pt x="1774273" y="4449828"/>
                </a:moveTo>
                <a:cubicBezTo>
                  <a:pt x="1777279" y="4451488"/>
                  <a:pt x="1779082" y="4453148"/>
                  <a:pt x="1780586" y="4454697"/>
                </a:cubicBezTo>
                <a:cubicBezTo>
                  <a:pt x="1783892" y="4456468"/>
                  <a:pt x="1783892" y="4458017"/>
                  <a:pt x="1780886" y="4461006"/>
                </a:cubicBezTo>
                <a:cubicBezTo>
                  <a:pt x="1777880" y="4459346"/>
                  <a:pt x="1772770" y="4452816"/>
                  <a:pt x="1774273" y="4449828"/>
                </a:cubicBezTo>
                <a:close/>
                <a:moveTo>
                  <a:pt x="5474542" y="4448278"/>
                </a:moveTo>
                <a:cubicBezTo>
                  <a:pt x="5471535" y="4453369"/>
                  <a:pt x="5463419" y="4461559"/>
                  <a:pt x="5461013" y="4461006"/>
                </a:cubicBezTo>
                <a:cubicBezTo>
                  <a:pt x="5463118" y="4458128"/>
                  <a:pt x="5470934" y="4448610"/>
                  <a:pt x="5474542" y="4448278"/>
                </a:cubicBezTo>
                <a:close/>
                <a:moveTo>
                  <a:pt x="1680782" y="4448278"/>
                </a:moveTo>
                <a:cubicBezTo>
                  <a:pt x="1678076" y="4453369"/>
                  <a:pt x="1669659" y="4461559"/>
                  <a:pt x="1667554" y="4461006"/>
                </a:cubicBezTo>
                <a:cubicBezTo>
                  <a:pt x="1669659" y="4458128"/>
                  <a:pt x="1677175" y="4448610"/>
                  <a:pt x="1680782" y="4448278"/>
                </a:cubicBezTo>
                <a:close/>
                <a:moveTo>
                  <a:pt x="6076372" y="4447836"/>
                </a:moveTo>
                <a:cubicBezTo>
                  <a:pt x="6077875" y="4449606"/>
                  <a:pt x="6079077" y="4452816"/>
                  <a:pt x="6080581" y="4454587"/>
                </a:cubicBezTo>
                <a:cubicBezTo>
                  <a:pt x="6080581" y="4454587"/>
                  <a:pt x="6080581" y="4454697"/>
                  <a:pt x="6079077" y="4456025"/>
                </a:cubicBezTo>
                <a:cubicBezTo>
                  <a:pt x="6079077" y="4452927"/>
                  <a:pt x="6072765" y="4450381"/>
                  <a:pt x="6076372" y="4447836"/>
                </a:cubicBezTo>
                <a:close/>
                <a:moveTo>
                  <a:pt x="2282613" y="4447836"/>
                </a:moveTo>
                <a:cubicBezTo>
                  <a:pt x="2284115" y="4449606"/>
                  <a:pt x="2285619" y="4452816"/>
                  <a:pt x="2287122" y="4454587"/>
                </a:cubicBezTo>
                <a:cubicBezTo>
                  <a:pt x="2287122" y="4454587"/>
                  <a:pt x="2287122" y="4454697"/>
                  <a:pt x="2285318" y="4456025"/>
                </a:cubicBezTo>
                <a:cubicBezTo>
                  <a:pt x="2285619" y="4452927"/>
                  <a:pt x="2279306" y="4450381"/>
                  <a:pt x="2282613" y="4447836"/>
                </a:cubicBezTo>
                <a:close/>
                <a:moveTo>
                  <a:pt x="2332815" y="4447614"/>
                </a:moveTo>
                <a:cubicBezTo>
                  <a:pt x="2334619" y="4447504"/>
                  <a:pt x="2336723" y="4448057"/>
                  <a:pt x="2339428" y="4449606"/>
                </a:cubicBezTo>
                <a:cubicBezTo>
                  <a:pt x="2346042" y="4462555"/>
                  <a:pt x="2333717" y="4468974"/>
                  <a:pt x="2324999" y="4465654"/>
                </a:cubicBezTo>
                <a:cubicBezTo>
                  <a:pt x="2321993" y="4464547"/>
                  <a:pt x="2319588" y="4462555"/>
                  <a:pt x="2318085" y="4459124"/>
                </a:cubicBezTo>
                <a:cubicBezTo>
                  <a:pt x="2322594" y="4454144"/>
                  <a:pt x="2326803" y="4447946"/>
                  <a:pt x="2332815" y="4447614"/>
                </a:cubicBezTo>
                <a:close/>
                <a:moveTo>
                  <a:pt x="1303510" y="4447614"/>
                </a:moveTo>
                <a:cubicBezTo>
                  <a:pt x="1305615" y="4447504"/>
                  <a:pt x="1307719" y="4448057"/>
                  <a:pt x="1310123" y="4449606"/>
                </a:cubicBezTo>
                <a:cubicBezTo>
                  <a:pt x="1316737" y="4462555"/>
                  <a:pt x="1304712" y="4468974"/>
                  <a:pt x="1295994" y="4465654"/>
                </a:cubicBezTo>
                <a:cubicBezTo>
                  <a:pt x="1292988" y="4464547"/>
                  <a:pt x="1290583" y="4462555"/>
                  <a:pt x="1289081" y="4459124"/>
                </a:cubicBezTo>
                <a:cubicBezTo>
                  <a:pt x="1293589" y="4454144"/>
                  <a:pt x="1297498" y="4447946"/>
                  <a:pt x="1303510" y="4447614"/>
                </a:cubicBezTo>
                <a:close/>
                <a:moveTo>
                  <a:pt x="5773953" y="4445180"/>
                </a:moveTo>
                <a:cubicBezTo>
                  <a:pt x="5778463" y="4447946"/>
                  <a:pt x="5780567" y="4448832"/>
                  <a:pt x="5783272" y="4450934"/>
                </a:cubicBezTo>
                <a:cubicBezTo>
                  <a:pt x="5784775" y="4450270"/>
                  <a:pt x="5786279" y="4449496"/>
                  <a:pt x="5788383" y="4450270"/>
                </a:cubicBezTo>
                <a:lnTo>
                  <a:pt x="5790789" y="4452373"/>
                </a:lnTo>
                <a:lnTo>
                  <a:pt x="5792291" y="4451156"/>
                </a:lnTo>
                <a:cubicBezTo>
                  <a:pt x="5793493" y="4450049"/>
                  <a:pt x="5794395" y="4449053"/>
                  <a:pt x="5795598" y="4447504"/>
                </a:cubicBezTo>
                <a:cubicBezTo>
                  <a:pt x="5801009" y="4455029"/>
                  <a:pt x="5807623" y="4457243"/>
                  <a:pt x="5808525" y="4462334"/>
                </a:cubicBezTo>
                <a:cubicBezTo>
                  <a:pt x="5808825" y="4463994"/>
                  <a:pt x="5808525" y="4466096"/>
                  <a:pt x="5807321" y="4468753"/>
                </a:cubicBezTo>
                <a:cubicBezTo>
                  <a:pt x="5804015" y="4469195"/>
                  <a:pt x="5800708" y="4467314"/>
                  <a:pt x="5797702" y="4464547"/>
                </a:cubicBezTo>
                <a:lnTo>
                  <a:pt x="5792892" y="4459567"/>
                </a:lnTo>
                <a:lnTo>
                  <a:pt x="5792291" y="4460231"/>
                </a:lnTo>
                <a:cubicBezTo>
                  <a:pt x="5791089" y="4461006"/>
                  <a:pt x="5789586" y="4461338"/>
                  <a:pt x="5787481" y="4460563"/>
                </a:cubicBezTo>
                <a:cubicBezTo>
                  <a:pt x="5781769" y="4459788"/>
                  <a:pt x="5779966" y="4455583"/>
                  <a:pt x="5779666" y="4450824"/>
                </a:cubicBezTo>
                <a:cubicBezTo>
                  <a:pt x="5777260" y="4448721"/>
                  <a:pt x="5773653" y="4448610"/>
                  <a:pt x="5773953" y="4445180"/>
                </a:cubicBezTo>
                <a:close/>
                <a:moveTo>
                  <a:pt x="1980194" y="4445180"/>
                </a:moveTo>
                <a:cubicBezTo>
                  <a:pt x="1985004" y="4447946"/>
                  <a:pt x="1987108" y="4448832"/>
                  <a:pt x="1989513" y="4450934"/>
                </a:cubicBezTo>
                <a:cubicBezTo>
                  <a:pt x="1991016" y="4450270"/>
                  <a:pt x="1992519" y="4449496"/>
                  <a:pt x="1994623" y="4450270"/>
                </a:cubicBezTo>
                <a:lnTo>
                  <a:pt x="1997028" y="4452373"/>
                </a:lnTo>
                <a:lnTo>
                  <a:pt x="1998833" y="4451156"/>
                </a:lnTo>
                <a:cubicBezTo>
                  <a:pt x="1999734" y="4450049"/>
                  <a:pt x="2000936" y="4449053"/>
                  <a:pt x="2001839" y="4447504"/>
                </a:cubicBezTo>
                <a:cubicBezTo>
                  <a:pt x="2007550" y="4455029"/>
                  <a:pt x="2014163" y="4457243"/>
                  <a:pt x="2014764" y="4462334"/>
                </a:cubicBezTo>
                <a:cubicBezTo>
                  <a:pt x="2015066" y="4463994"/>
                  <a:pt x="2014764" y="4466096"/>
                  <a:pt x="2013562" y="4468753"/>
                </a:cubicBezTo>
                <a:cubicBezTo>
                  <a:pt x="2010256" y="4469195"/>
                  <a:pt x="2007250" y="4467314"/>
                  <a:pt x="2003942" y="4464547"/>
                </a:cubicBezTo>
                <a:lnTo>
                  <a:pt x="1999133" y="4459567"/>
                </a:lnTo>
                <a:lnTo>
                  <a:pt x="1998532" y="4460231"/>
                </a:lnTo>
                <a:cubicBezTo>
                  <a:pt x="1997329" y="4461006"/>
                  <a:pt x="1995826" y="4461338"/>
                  <a:pt x="1993722" y="4460563"/>
                </a:cubicBezTo>
                <a:cubicBezTo>
                  <a:pt x="1988010" y="4459788"/>
                  <a:pt x="1986507" y="4455583"/>
                  <a:pt x="1985906" y="4450824"/>
                </a:cubicBezTo>
                <a:cubicBezTo>
                  <a:pt x="1983501" y="4448721"/>
                  <a:pt x="1979894" y="4448610"/>
                  <a:pt x="1980194" y="4445180"/>
                </a:cubicBezTo>
                <a:close/>
                <a:moveTo>
                  <a:pt x="5564726" y="4444516"/>
                </a:moveTo>
                <a:cubicBezTo>
                  <a:pt x="5565327" y="4444737"/>
                  <a:pt x="5565627" y="4445180"/>
                  <a:pt x="5565627" y="4445180"/>
                </a:cubicBezTo>
                <a:cubicBezTo>
                  <a:pt x="5567431" y="4446729"/>
                  <a:pt x="5569235" y="4448278"/>
                  <a:pt x="5567431" y="4449828"/>
                </a:cubicBezTo>
                <a:cubicBezTo>
                  <a:pt x="5567431" y="4449828"/>
                  <a:pt x="5565928" y="4449717"/>
                  <a:pt x="5562621" y="4446508"/>
                </a:cubicBezTo>
                <a:cubicBezTo>
                  <a:pt x="5564125" y="4446618"/>
                  <a:pt x="5564125" y="4445069"/>
                  <a:pt x="5564125" y="4445069"/>
                </a:cubicBezTo>
                <a:cubicBezTo>
                  <a:pt x="5564125" y="4445069"/>
                  <a:pt x="5564125" y="4444958"/>
                  <a:pt x="5562621" y="4444958"/>
                </a:cubicBezTo>
                <a:cubicBezTo>
                  <a:pt x="5563223" y="4444184"/>
                  <a:pt x="5564125" y="4444294"/>
                  <a:pt x="5564726" y="4444516"/>
                </a:cubicBezTo>
                <a:close/>
                <a:moveTo>
                  <a:pt x="2799970" y="4444516"/>
                </a:moveTo>
                <a:cubicBezTo>
                  <a:pt x="2800573" y="4444737"/>
                  <a:pt x="2801173" y="4445180"/>
                  <a:pt x="2801173" y="4445180"/>
                </a:cubicBezTo>
                <a:cubicBezTo>
                  <a:pt x="2802977" y="4446729"/>
                  <a:pt x="2804480" y="4448278"/>
                  <a:pt x="2802977" y="4449828"/>
                </a:cubicBezTo>
                <a:cubicBezTo>
                  <a:pt x="2802977" y="4449828"/>
                  <a:pt x="2801474" y="4449717"/>
                  <a:pt x="2798168" y="4446508"/>
                </a:cubicBezTo>
                <a:cubicBezTo>
                  <a:pt x="2799670" y="4446618"/>
                  <a:pt x="2799670" y="4445069"/>
                  <a:pt x="2799670" y="4445069"/>
                </a:cubicBezTo>
                <a:cubicBezTo>
                  <a:pt x="2799670" y="4445069"/>
                  <a:pt x="2799670" y="4444958"/>
                  <a:pt x="2798168" y="4444958"/>
                </a:cubicBezTo>
                <a:cubicBezTo>
                  <a:pt x="2798768" y="4444184"/>
                  <a:pt x="2799370" y="4444294"/>
                  <a:pt x="2799970" y="4444516"/>
                </a:cubicBezTo>
                <a:close/>
                <a:moveTo>
                  <a:pt x="1770967" y="4444516"/>
                </a:moveTo>
                <a:cubicBezTo>
                  <a:pt x="1771568" y="4444737"/>
                  <a:pt x="1772169" y="4445180"/>
                  <a:pt x="1772169" y="4445180"/>
                </a:cubicBezTo>
                <a:cubicBezTo>
                  <a:pt x="1773671" y="4446729"/>
                  <a:pt x="1775475" y="4448278"/>
                  <a:pt x="1773973" y="4449828"/>
                </a:cubicBezTo>
                <a:cubicBezTo>
                  <a:pt x="1773973" y="4449828"/>
                  <a:pt x="1772169" y="4449717"/>
                  <a:pt x="1768862" y="4446508"/>
                </a:cubicBezTo>
                <a:cubicBezTo>
                  <a:pt x="1770365" y="4446618"/>
                  <a:pt x="1770365" y="4445069"/>
                  <a:pt x="1770365" y="4445069"/>
                </a:cubicBezTo>
                <a:cubicBezTo>
                  <a:pt x="1770365" y="4445069"/>
                  <a:pt x="1770365" y="4444958"/>
                  <a:pt x="1768862" y="4444958"/>
                </a:cubicBezTo>
                <a:cubicBezTo>
                  <a:pt x="1769764" y="4444184"/>
                  <a:pt x="1770365" y="4444294"/>
                  <a:pt x="1770967" y="4444516"/>
                </a:cubicBezTo>
                <a:close/>
                <a:moveTo>
                  <a:pt x="5208197" y="4444184"/>
                </a:moveTo>
                <a:cubicBezTo>
                  <a:pt x="5211503" y="4449606"/>
                  <a:pt x="5204589" y="4454144"/>
                  <a:pt x="5200680" y="4452373"/>
                </a:cubicBezTo>
                <a:cubicBezTo>
                  <a:pt x="5199478" y="4451820"/>
                  <a:pt x="5198577" y="4450492"/>
                  <a:pt x="5198577" y="4448278"/>
                </a:cubicBezTo>
                <a:cubicBezTo>
                  <a:pt x="5201583" y="4446286"/>
                  <a:pt x="5203687" y="4445512"/>
                  <a:pt x="5208197" y="4444184"/>
                </a:cubicBezTo>
                <a:close/>
                <a:moveTo>
                  <a:pt x="1414437" y="4444184"/>
                </a:moveTo>
                <a:cubicBezTo>
                  <a:pt x="1417743" y="4449606"/>
                  <a:pt x="1410830" y="4454144"/>
                  <a:pt x="1407222" y="4452373"/>
                </a:cubicBezTo>
                <a:cubicBezTo>
                  <a:pt x="1406020" y="4451820"/>
                  <a:pt x="1405118" y="4450492"/>
                  <a:pt x="1405118" y="4448278"/>
                </a:cubicBezTo>
                <a:cubicBezTo>
                  <a:pt x="1407824" y="4446286"/>
                  <a:pt x="1410228" y="4445512"/>
                  <a:pt x="1414437" y="4444184"/>
                </a:cubicBezTo>
                <a:close/>
                <a:moveTo>
                  <a:pt x="1071435" y="4442745"/>
                </a:moveTo>
                <a:cubicBezTo>
                  <a:pt x="1077147" y="4445844"/>
                  <a:pt x="1082558" y="4448942"/>
                  <a:pt x="1083460" y="4453259"/>
                </a:cubicBezTo>
                <a:lnTo>
                  <a:pt x="1078650" y="4457353"/>
                </a:lnTo>
                <a:lnTo>
                  <a:pt x="1078951" y="4457464"/>
                </a:lnTo>
                <a:cubicBezTo>
                  <a:pt x="1081957" y="4459346"/>
                  <a:pt x="1083460" y="4459456"/>
                  <a:pt x="1086767" y="4458349"/>
                </a:cubicBezTo>
                <a:cubicBezTo>
                  <a:pt x="1086767" y="4458349"/>
                  <a:pt x="1086767" y="4458349"/>
                  <a:pt x="1089773" y="4461780"/>
                </a:cubicBezTo>
                <a:lnTo>
                  <a:pt x="1089773" y="4463219"/>
                </a:lnTo>
                <a:cubicBezTo>
                  <a:pt x="1089472" y="4463883"/>
                  <a:pt x="1088269" y="4464104"/>
                  <a:pt x="1086466" y="4464104"/>
                </a:cubicBezTo>
                <a:cubicBezTo>
                  <a:pt x="1081356" y="4463883"/>
                  <a:pt x="1072037" y="4461227"/>
                  <a:pt x="1070834" y="4461006"/>
                </a:cubicBezTo>
                <a:lnTo>
                  <a:pt x="1069031" y="4460784"/>
                </a:lnTo>
                <a:lnTo>
                  <a:pt x="1062116" y="4460452"/>
                </a:lnTo>
                <a:cubicBezTo>
                  <a:pt x="1059110" y="4453701"/>
                  <a:pt x="1067527" y="4446950"/>
                  <a:pt x="1071435" y="4442745"/>
                </a:cubicBezTo>
                <a:close/>
                <a:moveTo>
                  <a:pt x="5131840" y="4441085"/>
                </a:moveTo>
                <a:cubicBezTo>
                  <a:pt x="5135748" y="4440642"/>
                  <a:pt x="5139655" y="4441970"/>
                  <a:pt x="5141761" y="4445180"/>
                </a:cubicBezTo>
                <a:cubicBezTo>
                  <a:pt x="5142963" y="4447282"/>
                  <a:pt x="5143564" y="4450160"/>
                  <a:pt x="5142663" y="4453701"/>
                </a:cubicBezTo>
                <a:cubicBezTo>
                  <a:pt x="5138754" y="4458903"/>
                  <a:pt x="5133042" y="4461559"/>
                  <a:pt x="5128232" y="4460784"/>
                </a:cubicBezTo>
                <a:cubicBezTo>
                  <a:pt x="5123422" y="4460120"/>
                  <a:pt x="5119816" y="4456247"/>
                  <a:pt x="5119816" y="4448389"/>
                </a:cubicBezTo>
                <a:cubicBezTo>
                  <a:pt x="5123122" y="4443962"/>
                  <a:pt x="5127631" y="4441527"/>
                  <a:pt x="5131840" y="4441085"/>
                </a:cubicBezTo>
                <a:close/>
                <a:moveTo>
                  <a:pt x="2367085" y="4441085"/>
                </a:moveTo>
                <a:cubicBezTo>
                  <a:pt x="2371294" y="4440642"/>
                  <a:pt x="2375202" y="4441970"/>
                  <a:pt x="2377006" y="4445180"/>
                </a:cubicBezTo>
                <a:cubicBezTo>
                  <a:pt x="2378508" y="4447282"/>
                  <a:pt x="2379110" y="4450160"/>
                  <a:pt x="2378208" y="4453701"/>
                </a:cubicBezTo>
                <a:cubicBezTo>
                  <a:pt x="2374300" y="4458903"/>
                  <a:pt x="2368588" y="4461559"/>
                  <a:pt x="2363778" y="4460784"/>
                </a:cubicBezTo>
                <a:cubicBezTo>
                  <a:pt x="2358968" y="4460120"/>
                  <a:pt x="2355061" y="4456247"/>
                  <a:pt x="2355361" y="4448389"/>
                </a:cubicBezTo>
                <a:cubicBezTo>
                  <a:pt x="2358367" y="4443962"/>
                  <a:pt x="2362877" y="4441527"/>
                  <a:pt x="2367085" y="4441085"/>
                </a:cubicBezTo>
                <a:close/>
                <a:moveTo>
                  <a:pt x="1338080" y="4441085"/>
                </a:moveTo>
                <a:cubicBezTo>
                  <a:pt x="1341989" y="4440642"/>
                  <a:pt x="1345896" y="4441970"/>
                  <a:pt x="1348001" y="4445180"/>
                </a:cubicBezTo>
                <a:cubicBezTo>
                  <a:pt x="1349504" y="4447282"/>
                  <a:pt x="1349805" y="4450160"/>
                  <a:pt x="1349203" y="4453701"/>
                </a:cubicBezTo>
                <a:cubicBezTo>
                  <a:pt x="1345295" y="4458903"/>
                  <a:pt x="1339584" y="4461559"/>
                  <a:pt x="1334774" y="4460784"/>
                </a:cubicBezTo>
                <a:cubicBezTo>
                  <a:pt x="1329965" y="4460120"/>
                  <a:pt x="1326056" y="4456247"/>
                  <a:pt x="1326056" y="4448389"/>
                </a:cubicBezTo>
                <a:cubicBezTo>
                  <a:pt x="1329362" y="4443962"/>
                  <a:pt x="1333872" y="4441527"/>
                  <a:pt x="1338080" y="4441085"/>
                </a:cubicBezTo>
                <a:close/>
                <a:moveTo>
                  <a:pt x="5291166" y="4440089"/>
                </a:moveTo>
                <a:cubicBezTo>
                  <a:pt x="5292369" y="4440089"/>
                  <a:pt x="5293270" y="4440310"/>
                  <a:pt x="5295675" y="4440753"/>
                </a:cubicBezTo>
                <a:cubicBezTo>
                  <a:pt x="5294172" y="4441638"/>
                  <a:pt x="5292068" y="4444516"/>
                  <a:pt x="5289662" y="4444073"/>
                </a:cubicBezTo>
                <a:cubicBezTo>
                  <a:pt x="5287559" y="4443520"/>
                  <a:pt x="5287559" y="4443520"/>
                  <a:pt x="5286056" y="4440974"/>
                </a:cubicBezTo>
                <a:cubicBezTo>
                  <a:pt x="5288761" y="4440421"/>
                  <a:pt x="5289964" y="4440089"/>
                  <a:pt x="5291166" y="4440089"/>
                </a:cubicBezTo>
                <a:close/>
                <a:moveTo>
                  <a:pt x="2526411" y="4440089"/>
                </a:moveTo>
                <a:cubicBezTo>
                  <a:pt x="2527613" y="4440089"/>
                  <a:pt x="2528816" y="4440310"/>
                  <a:pt x="2530920" y="4440753"/>
                </a:cubicBezTo>
                <a:cubicBezTo>
                  <a:pt x="2529418" y="4441638"/>
                  <a:pt x="2527313" y="4444516"/>
                  <a:pt x="2525208" y="4444073"/>
                </a:cubicBezTo>
                <a:cubicBezTo>
                  <a:pt x="2523105" y="4443520"/>
                  <a:pt x="2523105" y="4443520"/>
                  <a:pt x="2521601" y="4440974"/>
                </a:cubicBezTo>
                <a:cubicBezTo>
                  <a:pt x="2524006" y="4440421"/>
                  <a:pt x="2525208" y="4440089"/>
                  <a:pt x="2526411" y="4440089"/>
                </a:cubicBezTo>
                <a:close/>
                <a:moveTo>
                  <a:pt x="1497407" y="4440089"/>
                </a:moveTo>
                <a:cubicBezTo>
                  <a:pt x="1498609" y="4440089"/>
                  <a:pt x="1499511" y="4440310"/>
                  <a:pt x="1501916" y="4440753"/>
                </a:cubicBezTo>
                <a:cubicBezTo>
                  <a:pt x="1500413" y="4441638"/>
                  <a:pt x="1498308" y="4444516"/>
                  <a:pt x="1495903" y="4444073"/>
                </a:cubicBezTo>
                <a:cubicBezTo>
                  <a:pt x="1493800" y="4443520"/>
                  <a:pt x="1493800" y="4443520"/>
                  <a:pt x="1492597" y="4440974"/>
                </a:cubicBezTo>
                <a:cubicBezTo>
                  <a:pt x="1495002" y="4440421"/>
                  <a:pt x="1496204" y="4440089"/>
                  <a:pt x="1497407" y="4440089"/>
                </a:cubicBezTo>
                <a:close/>
                <a:moveTo>
                  <a:pt x="5711425" y="4439535"/>
                </a:moveTo>
                <a:cubicBezTo>
                  <a:pt x="5714132" y="4438982"/>
                  <a:pt x="5716535" y="4439425"/>
                  <a:pt x="5717136" y="4441638"/>
                </a:cubicBezTo>
                <a:cubicBezTo>
                  <a:pt x="5717438" y="4443187"/>
                  <a:pt x="5716836" y="4445512"/>
                  <a:pt x="5714432" y="4448721"/>
                </a:cubicBezTo>
                <a:cubicBezTo>
                  <a:pt x="5708720" y="4447172"/>
                  <a:pt x="5706616" y="4445290"/>
                  <a:pt x="5706616" y="4443630"/>
                </a:cubicBezTo>
                <a:cubicBezTo>
                  <a:pt x="5706616" y="4441749"/>
                  <a:pt x="5709021" y="4440089"/>
                  <a:pt x="5711425" y="4439535"/>
                </a:cubicBezTo>
                <a:close/>
                <a:moveTo>
                  <a:pt x="5373535" y="4439535"/>
                </a:moveTo>
                <a:cubicBezTo>
                  <a:pt x="5382553" y="4445512"/>
                  <a:pt x="5389466" y="4441970"/>
                  <a:pt x="5390669" y="4449938"/>
                </a:cubicBezTo>
                <a:cubicBezTo>
                  <a:pt x="5385258" y="4452927"/>
                  <a:pt x="5374136" y="4445844"/>
                  <a:pt x="5373535" y="4439535"/>
                </a:cubicBezTo>
                <a:close/>
                <a:moveTo>
                  <a:pt x="2946971" y="4439535"/>
                </a:moveTo>
                <a:cubicBezTo>
                  <a:pt x="2949376" y="4438982"/>
                  <a:pt x="2952082" y="4439425"/>
                  <a:pt x="2952683" y="4441638"/>
                </a:cubicBezTo>
                <a:lnTo>
                  <a:pt x="2949977" y="4447836"/>
                </a:lnTo>
                <a:lnTo>
                  <a:pt x="2952984" y="4448168"/>
                </a:lnTo>
                <a:cubicBezTo>
                  <a:pt x="2950880" y="4452816"/>
                  <a:pt x="2963204" y="4459013"/>
                  <a:pt x="2967413" y="4461006"/>
                </a:cubicBezTo>
                <a:cubicBezTo>
                  <a:pt x="2963204" y="4470302"/>
                  <a:pt x="2976432" y="4479709"/>
                  <a:pt x="2970119" y="4493543"/>
                </a:cubicBezTo>
                <a:cubicBezTo>
                  <a:pt x="2964107" y="4496088"/>
                  <a:pt x="2961100" y="4497416"/>
                  <a:pt x="2953886" y="4496642"/>
                </a:cubicBezTo>
                <a:cubicBezTo>
                  <a:pt x="2924124" y="4478934"/>
                  <a:pt x="2928334" y="4458460"/>
                  <a:pt x="2924124" y="4456468"/>
                </a:cubicBezTo>
                <a:cubicBezTo>
                  <a:pt x="2927431" y="4449496"/>
                  <a:pt x="2931039" y="4447172"/>
                  <a:pt x="2935548" y="4446618"/>
                </a:cubicBezTo>
                <a:cubicBezTo>
                  <a:pt x="2937953" y="4446397"/>
                  <a:pt x="2940358" y="4446618"/>
                  <a:pt x="2943364" y="4446950"/>
                </a:cubicBezTo>
                <a:lnTo>
                  <a:pt x="2948174" y="4447504"/>
                </a:lnTo>
                <a:lnTo>
                  <a:pt x="2942162" y="4443630"/>
                </a:lnTo>
                <a:cubicBezTo>
                  <a:pt x="2942162" y="4441749"/>
                  <a:pt x="2944265" y="4440089"/>
                  <a:pt x="2946971" y="4439535"/>
                </a:cubicBezTo>
                <a:close/>
                <a:moveTo>
                  <a:pt x="2609081" y="4439535"/>
                </a:moveTo>
                <a:cubicBezTo>
                  <a:pt x="2617798" y="4445512"/>
                  <a:pt x="2625012" y="4441970"/>
                  <a:pt x="2626216" y="4449938"/>
                </a:cubicBezTo>
                <a:cubicBezTo>
                  <a:pt x="2620504" y="4452927"/>
                  <a:pt x="2609682" y="4445844"/>
                  <a:pt x="2609081" y="4439535"/>
                </a:cubicBezTo>
                <a:close/>
                <a:moveTo>
                  <a:pt x="1579775" y="4439535"/>
                </a:moveTo>
                <a:cubicBezTo>
                  <a:pt x="1588794" y="4445512"/>
                  <a:pt x="1596008" y="4441970"/>
                  <a:pt x="1597211" y="4449938"/>
                </a:cubicBezTo>
                <a:cubicBezTo>
                  <a:pt x="1591499" y="4452927"/>
                  <a:pt x="1580377" y="4445844"/>
                  <a:pt x="1579775" y="4439535"/>
                </a:cubicBezTo>
                <a:close/>
                <a:moveTo>
                  <a:pt x="5674751" y="4438207"/>
                </a:moveTo>
                <a:cubicBezTo>
                  <a:pt x="5672947" y="4441085"/>
                  <a:pt x="5670242" y="4446950"/>
                  <a:pt x="5667235" y="4448942"/>
                </a:cubicBezTo>
                <a:cubicBezTo>
                  <a:pt x="5666333" y="4449606"/>
                  <a:pt x="5665131" y="4449938"/>
                  <a:pt x="5664229" y="4449496"/>
                </a:cubicBezTo>
                <a:cubicBezTo>
                  <a:pt x="5666633" y="4445512"/>
                  <a:pt x="5668137" y="4438761"/>
                  <a:pt x="5674751" y="4438207"/>
                </a:cubicBezTo>
                <a:close/>
                <a:moveTo>
                  <a:pt x="2909996" y="4438207"/>
                </a:moveTo>
                <a:cubicBezTo>
                  <a:pt x="2908192" y="4441085"/>
                  <a:pt x="2905486" y="4446950"/>
                  <a:pt x="2902480" y="4448942"/>
                </a:cubicBezTo>
                <a:cubicBezTo>
                  <a:pt x="2901578" y="4449606"/>
                  <a:pt x="2900677" y="4449938"/>
                  <a:pt x="2899774" y="4449496"/>
                </a:cubicBezTo>
                <a:cubicBezTo>
                  <a:pt x="2902179" y="4445512"/>
                  <a:pt x="2903383" y="4438761"/>
                  <a:pt x="2909996" y="4438207"/>
                </a:cubicBezTo>
                <a:close/>
                <a:moveTo>
                  <a:pt x="1880991" y="4438207"/>
                </a:moveTo>
                <a:cubicBezTo>
                  <a:pt x="1879188" y="4441085"/>
                  <a:pt x="1876483" y="4446950"/>
                  <a:pt x="1873475" y="4448942"/>
                </a:cubicBezTo>
                <a:cubicBezTo>
                  <a:pt x="1872574" y="4449606"/>
                  <a:pt x="1871672" y="4449938"/>
                  <a:pt x="1870770" y="4449496"/>
                </a:cubicBezTo>
                <a:cubicBezTo>
                  <a:pt x="1872874" y="4445512"/>
                  <a:pt x="1874378" y="4438761"/>
                  <a:pt x="1880991" y="4438207"/>
                </a:cubicBezTo>
                <a:close/>
                <a:moveTo>
                  <a:pt x="5298080" y="4438097"/>
                </a:moveTo>
                <a:cubicBezTo>
                  <a:pt x="5298681" y="4437875"/>
                  <a:pt x="5299282" y="4437875"/>
                  <a:pt x="5299883" y="4438539"/>
                </a:cubicBezTo>
                <a:cubicBezTo>
                  <a:pt x="5300484" y="4439646"/>
                  <a:pt x="5298982" y="4440531"/>
                  <a:pt x="5296577" y="4440199"/>
                </a:cubicBezTo>
                <a:cubicBezTo>
                  <a:pt x="5296577" y="4440199"/>
                  <a:pt x="5295976" y="4439093"/>
                  <a:pt x="5295976" y="4439093"/>
                </a:cubicBezTo>
                <a:cubicBezTo>
                  <a:pt x="5296577" y="4438650"/>
                  <a:pt x="5297480" y="4438207"/>
                  <a:pt x="5298080" y="4438097"/>
                </a:cubicBezTo>
                <a:close/>
                <a:moveTo>
                  <a:pt x="2533625" y="4438097"/>
                </a:moveTo>
                <a:cubicBezTo>
                  <a:pt x="2534228" y="4437875"/>
                  <a:pt x="2534829" y="4437875"/>
                  <a:pt x="2535129" y="4438539"/>
                </a:cubicBezTo>
                <a:cubicBezTo>
                  <a:pt x="2535730" y="4439646"/>
                  <a:pt x="2534228" y="4440531"/>
                  <a:pt x="2532123" y="4440199"/>
                </a:cubicBezTo>
                <a:cubicBezTo>
                  <a:pt x="2532123" y="4440199"/>
                  <a:pt x="2531522" y="4439093"/>
                  <a:pt x="2531522" y="4439093"/>
                </a:cubicBezTo>
                <a:cubicBezTo>
                  <a:pt x="2532123" y="4438650"/>
                  <a:pt x="2533025" y="4438207"/>
                  <a:pt x="2533625" y="4438097"/>
                </a:cubicBezTo>
                <a:close/>
                <a:moveTo>
                  <a:pt x="1504622" y="4438097"/>
                </a:moveTo>
                <a:cubicBezTo>
                  <a:pt x="1505223" y="4437875"/>
                  <a:pt x="1505523" y="4437875"/>
                  <a:pt x="1506124" y="4438539"/>
                </a:cubicBezTo>
                <a:cubicBezTo>
                  <a:pt x="1506725" y="4439646"/>
                  <a:pt x="1505223" y="4440531"/>
                  <a:pt x="1502818" y="4440199"/>
                </a:cubicBezTo>
                <a:cubicBezTo>
                  <a:pt x="1502818" y="4440199"/>
                  <a:pt x="1502217" y="4439093"/>
                  <a:pt x="1502217" y="4439093"/>
                </a:cubicBezTo>
                <a:cubicBezTo>
                  <a:pt x="1503118" y="4438650"/>
                  <a:pt x="1503719" y="4438207"/>
                  <a:pt x="1504622" y="4438097"/>
                </a:cubicBezTo>
                <a:close/>
                <a:moveTo>
                  <a:pt x="2324398" y="4437211"/>
                </a:moveTo>
                <a:cubicBezTo>
                  <a:pt x="2324098" y="4440642"/>
                  <a:pt x="2323196" y="4442634"/>
                  <a:pt x="2321993" y="4444737"/>
                </a:cubicBezTo>
                <a:cubicBezTo>
                  <a:pt x="2321692" y="4448057"/>
                  <a:pt x="2320189" y="4448832"/>
                  <a:pt x="2315981" y="4447504"/>
                </a:cubicBezTo>
                <a:cubicBezTo>
                  <a:pt x="2316281" y="4444184"/>
                  <a:pt x="2320791" y="4437322"/>
                  <a:pt x="2324398" y="4437211"/>
                </a:cubicBezTo>
                <a:close/>
                <a:moveTo>
                  <a:pt x="1295393" y="4437211"/>
                </a:moveTo>
                <a:cubicBezTo>
                  <a:pt x="1295093" y="4440642"/>
                  <a:pt x="1293891" y="4442634"/>
                  <a:pt x="1292988" y="4444737"/>
                </a:cubicBezTo>
                <a:cubicBezTo>
                  <a:pt x="1292688" y="4448057"/>
                  <a:pt x="1291185" y="4448832"/>
                  <a:pt x="1286976" y="4447504"/>
                </a:cubicBezTo>
                <a:cubicBezTo>
                  <a:pt x="1287277" y="4444184"/>
                  <a:pt x="1291786" y="4437322"/>
                  <a:pt x="1295393" y="4437211"/>
                </a:cubicBezTo>
                <a:close/>
                <a:moveTo>
                  <a:pt x="5900513" y="4436437"/>
                </a:moveTo>
                <a:cubicBezTo>
                  <a:pt x="5901414" y="4436437"/>
                  <a:pt x="5902317" y="4437433"/>
                  <a:pt x="5902918" y="4438871"/>
                </a:cubicBezTo>
                <a:cubicBezTo>
                  <a:pt x="5905322" y="4443077"/>
                  <a:pt x="5907126" y="4451820"/>
                  <a:pt x="5907427" y="4452816"/>
                </a:cubicBezTo>
                <a:cubicBezTo>
                  <a:pt x="5907427" y="4452816"/>
                  <a:pt x="5908028" y="4454144"/>
                  <a:pt x="5908629" y="4455583"/>
                </a:cubicBezTo>
                <a:cubicBezTo>
                  <a:pt x="5907728" y="4457575"/>
                  <a:pt x="5906224" y="4458239"/>
                  <a:pt x="5906825" y="4459567"/>
                </a:cubicBezTo>
                <a:cubicBezTo>
                  <a:pt x="5900813" y="4457464"/>
                  <a:pt x="5900513" y="4452705"/>
                  <a:pt x="5900211" y="4447946"/>
                </a:cubicBezTo>
                <a:cubicBezTo>
                  <a:pt x="5900513" y="4444626"/>
                  <a:pt x="5899910" y="4443298"/>
                  <a:pt x="5897506" y="4441195"/>
                </a:cubicBezTo>
                <a:cubicBezTo>
                  <a:pt x="5897506" y="4441195"/>
                  <a:pt x="5897206" y="4441195"/>
                  <a:pt x="5899009" y="4437101"/>
                </a:cubicBezTo>
                <a:close/>
                <a:moveTo>
                  <a:pt x="1056405" y="4435440"/>
                </a:moveTo>
                <a:cubicBezTo>
                  <a:pt x="1057607" y="4435773"/>
                  <a:pt x="1058810" y="4436215"/>
                  <a:pt x="1059411" y="4436879"/>
                </a:cubicBezTo>
                <a:cubicBezTo>
                  <a:pt x="1061215" y="4439203"/>
                  <a:pt x="1060312" y="4443409"/>
                  <a:pt x="1060614" y="4447946"/>
                </a:cubicBezTo>
                <a:cubicBezTo>
                  <a:pt x="1058509" y="4447172"/>
                  <a:pt x="1057607" y="4449164"/>
                  <a:pt x="1056405" y="4451156"/>
                </a:cubicBezTo>
                <a:cubicBezTo>
                  <a:pt x="1053399" y="4449938"/>
                  <a:pt x="1048588" y="4448500"/>
                  <a:pt x="1047987" y="4444626"/>
                </a:cubicBezTo>
                <a:cubicBezTo>
                  <a:pt x="1047987" y="4443298"/>
                  <a:pt x="1048288" y="4441749"/>
                  <a:pt x="1049189" y="4439757"/>
                </a:cubicBezTo>
                <a:cubicBezTo>
                  <a:pt x="1048889" y="4438318"/>
                  <a:pt x="1054300" y="4434666"/>
                  <a:pt x="1056405" y="4435440"/>
                </a:cubicBezTo>
                <a:close/>
                <a:moveTo>
                  <a:pt x="5306798" y="4434334"/>
                </a:moveTo>
                <a:cubicBezTo>
                  <a:pt x="5306798" y="4434334"/>
                  <a:pt x="5305896" y="4436326"/>
                  <a:pt x="5305896" y="4436326"/>
                </a:cubicBezTo>
                <a:cubicBezTo>
                  <a:pt x="5303792" y="4436105"/>
                  <a:pt x="5304393" y="4437322"/>
                  <a:pt x="5303191" y="4434998"/>
                </a:cubicBezTo>
                <a:cubicBezTo>
                  <a:pt x="5305295" y="4435330"/>
                  <a:pt x="5305295" y="4435219"/>
                  <a:pt x="5306798" y="4434334"/>
                </a:cubicBezTo>
                <a:close/>
                <a:moveTo>
                  <a:pt x="2542345" y="4434334"/>
                </a:moveTo>
                <a:cubicBezTo>
                  <a:pt x="2542345" y="4434334"/>
                  <a:pt x="2541442" y="4436326"/>
                  <a:pt x="2541442" y="4436326"/>
                </a:cubicBezTo>
                <a:cubicBezTo>
                  <a:pt x="2539337" y="4436105"/>
                  <a:pt x="2539939" y="4437322"/>
                  <a:pt x="2538736" y="4434998"/>
                </a:cubicBezTo>
                <a:cubicBezTo>
                  <a:pt x="2540841" y="4435330"/>
                  <a:pt x="2540841" y="4435219"/>
                  <a:pt x="2542345" y="4434334"/>
                </a:cubicBezTo>
                <a:close/>
                <a:moveTo>
                  <a:pt x="1513340" y="4434334"/>
                </a:moveTo>
                <a:cubicBezTo>
                  <a:pt x="1513340" y="4434334"/>
                  <a:pt x="1512437" y="4436326"/>
                  <a:pt x="1512437" y="4436326"/>
                </a:cubicBezTo>
                <a:cubicBezTo>
                  <a:pt x="1510032" y="4436105"/>
                  <a:pt x="1510934" y="4437322"/>
                  <a:pt x="1509431" y="4434998"/>
                </a:cubicBezTo>
                <a:cubicBezTo>
                  <a:pt x="1511836" y="4435330"/>
                  <a:pt x="1511836" y="4435219"/>
                  <a:pt x="1513340" y="4434334"/>
                </a:cubicBezTo>
                <a:close/>
                <a:moveTo>
                  <a:pt x="1910452" y="4433338"/>
                </a:moveTo>
                <a:cubicBezTo>
                  <a:pt x="1912255" y="4433559"/>
                  <a:pt x="1914359" y="4434112"/>
                  <a:pt x="1915863" y="4434334"/>
                </a:cubicBezTo>
                <a:cubicBezTo>
                  <a:pt x="1917666" y="4431456"/>
                  <a:pt x="1922175" y="4438097"/>
                  <a:pt x="1923679" y="4435219"/>
                </a:cubicBezTo>
                <a:cubicBezTo>
                  <a:pt x="1929992" y="4442081"/>
                  <a:pt x="1938108" y="4435330"/>
                  <a:pt x="1948930" y="4444184"/>
                </a:cubicBezTo>
                <a:cubicBezTo>
                  <a:pt x="1945022" y="4444848"/>
                  <a:pt x="1941114" y="4444958"/>
                  <a:pt x="1937808" y="4444737"/>
                </a:cubicBezTo>
                <a:cubicBezTo>
                  <a:pt x="1932697" y="4444294"/>
                  <a:pt x="1928187" y="4443187"/>
                  <a:pt x="1923980" y="4442302"/>
                </a:cubicBezTo>
                <a:lnTo>
                  <a:pt x="1923077" y="4442191"/>
                </a:lnTo>
                <a:lnTo>
                  <a:pt x="1920672" y="4448721"/>
                </a:lnTo>
                <a:cubicBezTo>
                  <a:pt x="1915262" y="4447172"/>
                  <a:pt x="1913157" y="4445290"/>
                  <a:pt x="1913157" y="4443630"/>
                </a:cubicBezTo>
                <a:lnTo>
                  <a:pt x="1915262" y="4441749"/>
                </a:lnTo>
                <a:lnTo>
                  <a:pt x="1912556" y="4441638"/>
                </a:lnTo>
                <a:cubicBezTo>
                  <a:pt x="1912556" y="4441638"/>
                  <a:pt x="1912556" y="4441527"/>
                  <a:pt x="1909249" y="4438207"/>
                </a:cubicBezTo>
                <a:cubicBezTo>
                  <a:pt x="1907746" y="4437986"/>
                  <a:pt x="1907746" y="4438097"/>
                  <a:pt x="1907746" y="4438097"/>
                </a:cubicBezTo>
                <a:cubicBezTo>
                  <a:pt x="1906243" y="4437875"/>
                  <a:pt x="1906243" y="4434776"/>
                  <a:pt x="1906243" y="4434776"/>
                </a:cubicBezTo>
                <a:cubicBezTo>
                  <a:pt x="1907145" y="4433338"/>
                  <a:pt x="1908648" y="4433116"/>
                  <a:pt x="1910452" y="4433338"/>
                </a:cubicBezTo>
                <a:close/>
                <a:moveTo>
                  <a:pt x="881447" y="4433338"/>
                </a:moveTo>
                <a:cubicBezTo>
                  <a:pt x="883251" y="4433559"/>
                  <a:pt x="885054" y="4434112"/>
                  <a:pt x="886858" y="4434334"/>
                </a:cubicBezTo>
                <a:cubicBezTo>
                  <a:pt x="888360" y="4431456"/>
                  <a:pt x="893171" y="4438097"/>
                  <a:pt x="894674" y="4435219"/>
                </a:cubicBezTo>
                <a:cubicBezTo>
                  <a:pt x="900987" y="4442081"/>
                  <a:pt x="909103" y="4435330"/>
                  <a:pt x="919926" y="4444184"/>
                </a:cubicBezTo>
                <a:cubicBezTo>
                  <a:pt x="916017" y="4444848"/>
                  <a:pt x="912109" y="4444958"/>
                  <a:pt x="908803" y="4444737"/>
                </a:cubicBezTo>
                <a:cubicBezTo>
                  <a:pt x="898582" y="4443962"/>
                  <a:pt x="890465" y="4440199"/>
                  <a:pt x="883251" y="4441638"/>
                </a:cubicBezTo>
                <a:cubicBezTo>
                  <a:pt x="883251" y="4441638"/>
                  <a:pt x="883251" y="4441527"/>
                  <a:pt x="880244" y="4438207"/>
                </a:cubicBezTo>
                <a:cubicBezTo>
                  <a:pt x="878741" y="4437986"/>
                  <a:pt x="878741" y="4438097"/>
                  <a:pt x="878741" y="4438097"/>
                </a:cubicBezTo>
                <a:cubicBezTo>
                  <a:pt x="876937" y="4437875"/>
                  <a:pt x="877238" y="4434776"/>
                  <a:pt x="877238" y="4434776"/>
                </a:cubicBezTo>
                <a:cubicBezTo>
                  <a:pt x="878140" y="4433338"/>
                  <a:pt x="879643" y="4433116"/>
                  <a:pt x="881447" y="4433338"/>
                </a:cubicBezTo>
                <a:close/>
                <a:moveTo>
                  <a:pt x="5615229" y="4431567"/>
                </a:moveTo>
                <a:cubicBezTo>
                  <a:pt x="5618535" y="4432674"/>
                  <a:pt x="5620640" y="4434334"/>
                  <a:pt x="5622142" y="4436215"/>
                </a:cubicBezTo>
                <a:cubicBezTo>
                  <a:pt x="5626051" y="4442081"/>
                  <a:pt x="5622142" y="4450602"/>
                  <a:pt x="5615830" y="4453591"/>
                </a:cubicBezTo>
                <a:cubicBezTo>
                  <a:pt x="5613124" y="4455029"/>
                  <a:pt x="5609818" y="4455251"/>
                  <a:pt x="5606511" y="4453812"/>
                </a:cubicBezTo>
                <a:cubicBezTo>
                  <a:pt x="5606211" y="4444737"/>
                  <a:pt x="5604106" y="4434555"/>
                  <a:pt x="5615229" y="4431567"/>
                </a:cubicBezTo>
                <a:close/>
                <a:moveTo>
                  <a:pt x="2850474" y="4431567"/>
                </a:moveTo>
                <a:cubicBezTo>
                  <a:pt x="2853781" y="4432674"/>
                  <a:pt x="2856186" y="4434334"/>
                  <a:pt x="2857689" y="4436215"/>
                </a:cubicBezTo>
                <a:cubicBezTo>
                  <a:pt x="2861597" y="4442081"/>
                  <a:pt x="2857388" y="4450602"/>
                  <a:pt x="2851075" y="4453591"/>
                </a:cubicBezTo>
                <a:cubicBezTo>
                  <a:pt x="2848370" y="4455029"/>
                  <a:pt x="2845063" y="4455251"/>
                  <a:pt x="2842057" y="4453812"/>
                </a:cubicBezTo>
                <a:cubicBezTo>
                  <a:pt x="2841756" y="4444737"/>
                  <a:pt x="2839652" y="4434555"/>
                  <a:pt x="2850474" y="4431567"/>
                </a:cubicBezTo>
                <a:close/>
                <a:moveTo>
                  <a:pt x="1821470" y="4431567"/>
                </a:moveTo>
                <a:cubicBezTo>
                  <a:pt x="1824776" y="4432674"/>
                  <a:pt x="1827181" y="4434334"/>
                  <a:pt x="1828383" y="4436215"/>
                </a:cubicBezTo>
                <a:cubicBezTo>
                  <a:pt x="1832593" y="4442081"/>
                  <a:pt x="1828383" y="4450602"/>
                  <a:pt x="1822071" y="4453591"/>
                </a:cubicBezTo>
                <a:cubicBezTo>
                  <a:pt x="1819365" y="4455029"/>
                  <a:pt x="1816059" y="4455251"/>
                  <a:pt x="1812752" y="4453812"/>
                </a:cubicBezTo>
                <a:cubicBezTo>
                  <a:pt x="1812752" y="4444737"/>
                  <a:pt x="1810347" y="4434555"/>
                  <a:pt x="1821470" y="4431567"/>
                </a:cubicBezTo>
                <a:close/>
                <a:moveTo>
                  <a:pt x="1894218" y="4431014"/>
                </a:moveTo>
                <a:cubicBezTo>
                  <a:pt x="1899329" y="4436215"/>
                  <a:pt x="1902936" y="4441749"/>
                  <a:pt x="1903838" y="4447946"/>
                </a:cubicBezTo>
                <a:cubicBezTo>
                  <a:pt x="1896323" y="4449828"/>
                  <a:pt x="1887003" y="4447282"/>
                  <a:pt x="1880090" y="4445844"/>
                </a:cubicBezTo>
                <a:cubicBezTo>
                  <a:pt x="1884900" y="4441417"/>
                  <a:pt x="1892114" y="4442855"/>
                  <a:pt x="1894218" y="4431014"/>
                </a:cubicBezTo>
                <a:close/>
                <a:moveTo>
                  <a:pt x="865213" y="4431014"/>
                </a:moveTo>
                <a:cubicBezTo>
                  <a:pt x="870324" y="4436215"/>
                  <a:pt x="873931" y="4441749"/>
                  <a:pt x="874532" y="4447946"/>
                </a:cubicBezTo>
                <a:cubicBezTo>
                  <a:pt x="867018" y="4449828"/>
                  <a:pt x="857998" y="4447282"/>
                  <a:pt x="851085" y="4445844"/>
                </a:cubicBezTo>
                <a:cubicBezTo>
                  <a:pt x="855895" y="4441417"/>
                  <a:pt x="863109" y="4442855"/>
                  <a:pt x="865213" y="4431014"/>
                </a:cubicBezTo>
                <a:close/>
                <a:moveTo>
                  <a:pt x="2327104" y="4430903"/>
                </a:moveTo>
                <a:cubicBezTo>
                  <a:pt x="2328005" y="4431346"/>
                  <a:pt x="2328306" y="4431899"/>
                  <a:pt x="2328306" y="4432563"/>
                </a:cubicBezTo>
                <a:cubicBezTo>
                  <a:pt x="2328306" y="4433116"/>
                  <a:pt x="2328306" y="4433670"/>
                  <a:pt x="2328306" y="4433670"/>
                </a:cubicBezTo>
                <a:cubicBezTo>
                  <a:pt x="2327404" y="4435662"/>
                  <a:pt x="2326503" y="4437765"/>
                  <a:pt x="2324398" y="4436990"/>
                </a:cubicBezTo>
                <a:cubicBezTo>
                  <a:pt x="2324398" y="4436990"/>
                  <a:pt x="2323797" y="4435662"/>
                  <a:pt x="2325600" y="4431678"/>
                </a:cubicBezTo>
                <a:cubicBezTo>
                  <a:pt x="2326202" y="4433006"/>
                  <a:pt x="2327705" y="4432342"/>
                  <a:pt x="2327705" y="4432342"/>
                </a:cubicBezTo>
                <a:cubicBezTo>
                  <a:pt x="2327705" y="4432342"/>
                  <a:pt x="2327705" y="4432342"/>
                  <a:pt x="2327104" y="4430903"/>
                </a:cubicBezTo>
                <a:close/>
                <a:moveTo>
                  <a:pt x="1297798" y="4430903"/>
                </a:moveTo>
                <a:cubicBezTo>
                  <a:pt x="1299000" y="4431346"/>
                  <a:pt x="1299302" y="4431899"/>
                  <a:pt x="1299302" y="4432563"/>
                </a:cubicBezTo>
                <a:cubicBezTo>
                  <a:pt x="1299302" y="4433116"/>
                  <a:pt x="1299302" y="4433670"/>
                  <a:pt x="1299302" y="4433670"/>
                </a:cubicBezTo>
                <a:cubicBezTo>
                  <a:pt x="1298399" y="4435662"/>
                  <a:pt x="1297197" y="4437765"/>
                  <a:pt x="1295093" y="4436990"/>
                </a:cubicBezTo>
                <a:cubicBezTo>
                  <a:pt x="1295093" y="4436990"/>
                  <a:pt x="1294792" y="4435662"/>
                  <a:pt x="1296596" y="4431678"/>
                </a:cubicBezTo>
                <a:cubicBezTo>
                  <a:pt x="1296897" y="4433006"/>
                  <a:pt x="1298399" y="4432342"/>
                  <a:pt x="1298399" y="4432342"/>
                </a:cubicBezTo>
                <a:cubicBezTo>
                  <a:pt x="1298399" y="4432342"/>
                  <a:pt x="1298399" y="4432342"/>
                  <a:pt x="1297798" y="4430903"/>
                </a:cubicBezTo>
                <a:close/>
                <a:moveTo>
                  <a:pt x="6220967" y="4429575"/>
                </a:moveTo>
                <a:cubicBezTo>
                  <a:pt x="6223674" y="4432231"/>
                  <a:pt x="6225778" y="4434887"/>
                  <a:pt x="6227581" y="4437654"/>
                </a:cubicBezTo>
                <a:cubicBezTo>
                  <a:pt x="6232391" y="4445733"/>
                  <a:pt x="6233594" y="4453812"/>
                  <a:pt x="6239005" y="4458349"/>
                </a:cubicBezTo>
                <a:cubicBezTo>
                  <a:pt x="6239005" y="4458349"/>
                  <a:pt x="6238703" y="4458349"/>
                  <a:pt x="6237501" y="4462555"/>
                </a:cubicBezTo>
                <a:cubicBezTo>
                  <a:pt x="6238102" y="4463772"/>
                  <a:pt x="6238102" y="4463772"/>
                  <a:pt x="6238102" y="4463772"/>
                </a:cubicBezTo>
                <a:cubicBezTo>
                  <a:pt x="6239005" y="4464990"/>
                  <a:pt x="6235999" y="4466650"/>
                  <a:pt x="6235999" y="4466650"/>
                </a:cubicBezTo>
                <a:cubicBezTo>
                  <a:pt x="6232391" y="4467092"/>
                  <a:pt x="6231790" y="4462334"/>
                  <a:pt x="6230287" y="4459788"/>
                </a:cubicBezTo>
                <a:cubicBezTo>
                  <a:pt x="6226679" y="4460120"/>
                  <a:pt x="6230287" y="4453037"/>
                  <a:pt x="6226679" y="4453369"/>
                </a:cubicBezTo>
                <a:cubicBezTo>
                  <a:pt x="6229386" y="4444958"/>
                  <a:pt x="6218864" y="4442634"/>
                  <a:pt x="6220967" y="4429575"/>
                </a:cubicBezTo>
                <a:close/>
                <a:moveTo>
                  <a:pt x="2427208" y="4429575"/>
                </a:moveTo>
                <a:cubicBezTo>
                  <a:pt x="2430214" y="4432231"/>
                  <a:pt x="2432319" y="4434887"/>
                  <a:pt x="2433821" y="4437654"/>
                </a:cubicBezTo>
                <a:lnTo>
                  <a:pt x="2438031" y="4446508"/>
                </a:lnTo>
                <a:lnTo>
                  <a:pt x="2443442" y="4444184"/>
                </a:lnTo>
                <a:cubicBezTo>
                  <a:pt x="2445246" y="4446840"/>
                  <a:pt x="2444343" y="4449274"/>
                  <a:pt x="2442540" y="4450934"/>
                </a:cubicBezTo>
                <a:lnTo>
                  <a:pt x="2440736" y="4451377"/>
                </a:lnTo>
                <a:lnTo>
                  <a:pt x="2445246" y="4458349"/>
                </a:lnTo>
                <a:cubicBezTo>
                  <a:pt x="2445246" y="4458349"/>
                  <a:pt x="2445246" y="4458349"/>
                  <a:pt x="2443742" y="4462555"/>
                </a:cubicBezTo>
                <a:cubicBezTo>
                  <a:pt x="2444644" y="4463772"/>
                  <a:pt x="2444644" y="4463772"/>
                  <a:pt x="2444644" y="4463772"/>
                </a:cubicBezTo>
                <a:lnTo>
                  <a:pt x="2443141" y="4465654"/>
                </a:lnTo>
                <a:lnTo>
                  <a:pt x="2450355" y="4470191"/>
                </a:lnTo>
                <a:cubicBezTo>
                  <a:pt x="2455165" y="4476168"/>
                  <a:pt x="2452460" y="4484579"/>
                  <a:pt x="2446748" y="4487456"/>
                </a:cubicBezTo>
                <a:cubicBezTo>
                  <a:pt x="2444043" y="4488673"/>
                  <a:pt x="2440736" y="4488895"/>
                  <a:pt x="2437129" y="4487345"/>
                </a:cubicBezTo>
                <a:cubicBezTo>
                  <a:pt x="2435926" y="4480484"/>
                  <a:pt x="2433521" y="4472958"/>
                  <a:pt x="2437129" y="4468531"/>
                </a:cubicBezTo>
                <a:lnTo>
                  <a:pt x="2441337" y="4465986"/>
                </a:lnTo>
                <a:lnTo>
                  <a:pt x="2438631" y="4464326"/>
                </a:lnTo>
                <a:cubicBezTo>
                  <a:pt x="2437730" y="4462887"/>
                  <a:pt x="2437129" y="4461116"/>
                  <a:pt x="2436527" y="4459788"/>
                </a:cubicBezTo>
                <a:cubicBezTo>
                  <a:pt x="2432920" y="4460120"/>
                  <a:pt x="2436527" y="4453037"/>
                  <a:pt x="2432920" y="4453369"/>
                </a:cubicBezTo>
                <a:cubicBezTo>
                  <a:pt x="2435926" y="4444958"/>
                  <a:pt x="2425104" y="4442634"/>
                  <a:pt x="2427208" y="4429575"/>
                </a:cubicBezTo>
                <a:close/>
                <a:moveTo>
                  <a:pt x="3231053" y="4428911"/>
                </a:moveTo>
                <a:lnTo>
                  <a:pt x="3220831" y="4436215"/>
                </a:lnTo>
                <a:lnTo>
                  <a:pt x="3223537" y="4438207"/>
                </a:lnTo>
                <a:lnTo>
                  <a:pt x="3231053" y="4442855"/>
                </a:lnTo>
                <a:lnTo>
                  <a:pt x="3233157" y="4442855"/>
                </a:lnTo>
                <a:lnTo>
                  <a:pt x="3232555" y="4444184"/>
                </a:lnTo>
                <a:lnTo>
                  <a:pt x="3234059" y="4445069"/>
                </a:lnTo>
                <a:cubicBezTo>
                  <a:pt x="3237666" y="4446840"/>
                  <a:pt x="3241273" y="4447946"/>
                  <a:pt x="3244580" y="4448278"/>
                </a:cubicBezTo>
                <a:cubicBezTo>
                  <a:pt x="3250292" y="4448610"/>
                  <a:pt x="3256605" y="4450824"/>
                  <a:pt x="3262917" y="4452927"/>
                </a:cubicBezTo>
                <a:cubicBezTo>
                  <a:pt x="3270132" y="4456911"/>
                  <a:pt x="3277949" y="4459456"/>
                  <a:pt x="3285463" y="4462112"/>
                </a:cubicBezTo>
                <a:cubicBezTo>
                  <a:pt x="3293279" y="4464658"/>
                  <a:pt x="3300495" y="4468753"/>
                  <a:pt x="3309513" y="4471741"/>
                </a:cubicBezTo>
                <a:lnTo>
                  <a:pt x="3310114" y="4471851"/>
                </a:lnTo>
                <a:lnTo>
                  <a:pt x="3309813" y="4471409"/>
                </a:lnTo>
                <a:cubicBezTo>
                  <a:pt x="3310114" y="4467203"/>
                  <a:pt x="3310715" y="4463883"/>
                  <a:pt x="3310715" y="4463108"/>
                </a:cubicBezTo>
                <a:cubicBezTo>
                  <a:pt x="3312218" y="4463330"/>
                  <a:pt x="3312218" y="4463330"/>
                  <a:pt x="3312218" y="4463330"/>
                </a:cubicBezTo>
                <a:lnTo>
                  <a:pt x="3313722" y="4472847"/>
                </a:lnTo>
                <a:lnTo>
                  <a:pt x="3319434" y="4474507"/>
                </a:lnTo>
                <a:lnTo>
                  <a:pt x="3319132" y="4473733"/>
                </a:lnTo>
                <a:cubicBezTo>
                  <a:pt x="3317930" y="4468863"/>
                  <a:pt x="3317329" y="4463883"/>
                  <a:pt x="3318531" y="4460895"/>
                </a:cubicBezTo>
                <a:cubicBezTo>
                  <a:pt x="3321838" y="4464104"/>
                  <a:pt x="3323942" y="4467092"/>
                  <a:pt x="3325145" y="4469749"/>
                </a:cubicBezTo>
                <a:lnTo>
                  <a:pt x="3326948" y="4476500"/>
                </a:lnTo>
                <a:lnTo>
                  <a:pt x="3331758" y="4477717"/>
                </a:lnTo>
                <a:lnTo>
                  <a:pt x="3333262" y="4475725"/>
                </a:lnTo>
                <a:cubicBezTo>
                  <a:pt x="3337470" y="4476721"/>
                  <a:pt x="3338372" y="4481480"/>
                  <a:pt x="3340476" y="4481922"/>
                </a:cubicBezTo>
                <a:lnTo>
                  <a:pt x="3337170" y="4486460"/>
                </a:lnTo>
                <a:lnTo>
                  <a:pt x="3339575" y="4489669"/>
                </a:lnTo>
                <a:lnTo>
                  <a:pt x="3358814" y="4493432"/>
                </a:lnTo>
                <a:cubicBezTo>
                  <a:pt x="3365127" y="4495092"/>
                  <a:pt x="3371139" y="4497195"/>
                  <a:pt x="3376850" y="4499187"/>
                </a:cubicBezTo>
                <a:cubicBezTo>
                  <a:pt x="3390078" y="4502065"/>
                  <a:pt x="3403004" y="4506270"/>
                  <a:pt x="3415630" y="4507266"/>
                </a:cubicBezTo>
                <a:cubicBezTo>
                  <a:pt x="3422544" y="4507930"/>
                  <a:pt x="3429157" y="4508705"/>
                  <a:pt x="3436673" y="4507930"/>
                </a:cubicBezTo>
                <a:cubicBezTo>
                  <a:pt x="3442685" y="4506824"/>
                  <a:pt x="3449900" y="4506049"/>
                  <a:pt x="3457715" y="4503946"/>
                </a:cubicBezTo>
                <a:cubicBezTo>
                  <a:pt x="3455913" y="4491330"/>
                  <a:pt x="3453808" y="4481701"/>
                  <a:pt x="3453507" y="4473179"/>
                </a:cubicBezTo>
                <a:lnTo>
                  <a:pt x="3454709" y="4463108"/>
                </a:lnTo>
                <a:lnTo>
                  <a:pt x="3431262" y="4462998"/>
                </a:lnTo>
                <a:lnTo>
                  <a:pt x="3418035" y="4462887"/>
                </a:lnTo>
                <a:lnTo>
                  <a:pt x="3420740" y="4472626"/>
                </a:lnTo>
                <a:cubicBezTo>
                  <a:pt x="3418936" y="4472515"/>
                  <a:pt x="3417133" y="4472847"/>
                  <a:pt x="3415930" y="4473290"/>
                </a:cubicBezTo>
                <a:lnTo>
                  <a:pt x="3415329" y="4473401"/>
                </a:lnTo>
                <a:lnTo>
                  <a:pt x="3417434" y="4492879"/>
                </a:lnTo>
                <a:cubicBezTo>
                  <a:pt x="3405409" y="4490998"/>
                  <a:pt x="3401200" y="4478492"/>
                  <a:pt x="3400299" y="4466650"/>
                </a:cubicBezTo>
                <a:lnTo>
                  <a:pt x="3400599" y="4462666"/>
                </a:lnTo>
                <a:lnTo>
                  <a:pt x="3381961" y="4462444"/>
                </a:lnTo>
                <a:cubicBezTo>
                  <a:pt x="3365127" y="4461559"/>
                  <a:pt x="3348893" y="4459346"/>
                  <a:pt x="3333262" y="4458903"/>
                </a:cubicBezTo>
                <a:lnTo>
                  <a:pt x="3315224" y="4455251"/>
                </a:lnTo>
                <a:lnTo>
                  <a:pt x="3314323" y="4456025"/>
                </a:lnTo>
                <a:lnTo>
                  <a:pt x="3313722" y="4454919"/>
                </a:lnTo>
                <a:lnTo>
                  <a:pt x="3285463" y="4449164"/>
                </a:lnTo>
                <a:cubicBezTo>
                  <a:pt x="3270733" y="4445954"/>
                  <a:pt x="3255403" y="4440753"/>
                  <a:pt x="3241875" y="4434555"/>
                </a:cubicBezTo>
                <a:close/>
                <a:moveTo>
                  <a:pt x="1319443" y="4427694"/>
                </a:moveTo>
                <a:cubicBezTo>
                  <a:pt x="1322449" y="4427251"/>
                  <a:pt x="1325455" y="4428690"/>
                  <a:pt x="1327259" y="4433006"/>
                </a:cubicBezTo>
                <a:cubicBezTo>
                  <a:pt x="1325154" y="4437101"/>
                  <a:pt x="1315835" y="4441527"/>
                  <a:pt x="1311627" y="4439646"/>
                </a:cubicBezTo>
                <a:cubicBezTo>
                  <a:pt x="1311026" y="4437654"/>
                  <a:pt x="1310425" y="4435662"/>
                  <a:pt x="1309823" y="4433670"/>
                </a:cubicBezTo>
                <a:cubicBezTo>
                  <a:pt x="1312528" y="4430571"/>
                  <a:pt x="1316136" y="4428136"/>
                  <a:pt x="1319443" y="4427694"/>
                </a:cubicBezTo>
                <a:close/>
                <a:moveTo>
                  <a:pt x="5456504" y="4426033"/>
                </a:moveTo>
                <a:cubicBezTo>
                  <a:pt x="5457105" y="4427251"/>
                  <a:pt x="5457706" y="4428579"/>
                  <a:pt x="5458609" y="4429796"/>
                </a:cubicBezTo>
                <a:cubicBezTo>
                  <a:pt x="5458008" y="4431899"/>
                  <a:pt x="5458008" y="4431788"/>
                  <a:pt x="5456203" y="4431235"/>
                </a:cubicBezTo>
                <a:cubicBezTo>
                  <a:pt x="5455301" y="4430018"/>
                  <a:pt x="5454700" y="4428690"/>
                  <a:pt x="5455902" y="4427915"/>
                </a:cubicBezTo>
                <a:cubicBezTo>
                  <a:pt x="5455301" y="4426587"/>
                  <a:pt x="5455301" y="4426697"/>
                  <a:pt x="5456504" y="4426033"/>
                </a:cubicBezTo>
                <a:close/>
                <a:moveTo>
                  <a:pt x="1662745" y="4426033"/>
                </a:moveTo>
                <a:cubicBezTo>
                  <a:pt x="1663647" y="4427251"/>
                  <a:pt x="1664248" y="4428579"/>
                  <a:pt x="1664849" y="4429796"/>
                </a:cubicBezTo>
                <a:cubicBezTo>
                  <a:pt x="1664248" y="4431899"/>
                  <a:pt x="1664248" y="4431788"/>
                  <a:pt x="1662444" y="4431235"/>
                </a:cubicBezTo>
                <a:cubicBezTo>
                  <a:pt x="1661542" y="4430018"/>
                  <a:pt x="1660941" y="4428690"/>
                  <a:pt x="1662143" y="4427915"/>
                </a:cubicBezTo>
                <a:cubicBezTo>
                  <a:pt x="1661542" y="4426587"/>
                  <a:pt x="1661542" y="4426697"/>
                  <a:pt x="1662745" y="4426033"/>
                </a:cubicBezTo>
                <a:close/>
                <a:moveTo>
                  <a:pt x="6085692" y="4424595"/>
                </a:moveTo>
                <a:cubicBezTo>
                  <a:pt x="6086894" y="4425148"/>
                  <a:pt x="6087495" y="4426476"/>
                  <a:pt x="6088096" y="4428247"/>
                </a:cubicBezTo>
                <a:cubicBezTo>
                  <a:pt x="6089900" y="4433448"/>
                  <a:pt x="6088697" y="4442523"/>
                  <a:pt x="6087194" y="4447172"/>
                </a:cubicBezTo>
                <a:cubicBezTo>
                  <a:pt x="6082384" y="4444958"/>
                  <a:pt x="6083587" y="4430792"/>
                  <a:pt x="6085692" y="4424595"/>
                </a:cubicBezTo>
                <a:close/>
                <a:moveTo>
                  <a:pt x="5470633" y="4424484"/>
                </a:moveTo>
                <a:cubicBezTo>
                  <a:pt x="5472136" y="4423709"/>
                  <a:pt x="5472136" y="4423709"/>
                  <a:pt x="5472737" y="4425037"/>
                </a:cubicBezTo>
                <a:lnTo>
                  <a:pt x="5473038" y="4424484"/>
                </a:lnTo>
                <a:lnTo>
                  <a:pt x="5475744" y="4426919"/>
                </a:lnTo>
                <a:cubicBezTo>
                  <a:pt x="5476345" y="4428358"/>
                  <a:pt x="5476645" y="4430018"/>
                  <a:pt x="5476645" y="4431788"/>
                </a:cubicBezTo>
                <a:cubicBezTo>
                  <a:pt x="5475143" y="4432452"/>
                  <a:pt x="5475143" y="4432563"/>
                  <a:pt x="5473038" y="4432010"/>
                </a:cubicBezTo>
                <a:cubicBezTo>
                  <a:pt x="5471835" y="4432784"/>
                  <a:pt x="5471535" y="4425812"/>
                  <a:pt x="5470633" y="4424484"/>
                </a:cubicBezTo>
                <a:close/>
                <a:moveTo>
                  <a:pt x="1677175" y="4424484"/>
                </a:moveTo>
                <a:cubicBezTo>
                  <a:pt x="1678377" y="4423709"/>
                  <a:pt x="1678377" y="4423709"/>
                  <a:pt x="1679278" y="4425037"/>
                </a:cubicBezTo>
                <a:lnTo>
                  <a:pt x="1679278" y="4424484"/>
                </a:lnTo>
                <a:lnTo>
                  <a:pt x="1682285" y="4426919"/>
                </a:lnTo>
                <a:cubicBezTo>
                  <a:pt x="1682886" y="4428358"/>
                  <a:pt x="1682886" y="4430018"/>
                  <a:pt x="1682886" y="4431788"/>
                </a:cubicBezTo>
                <a:cubicBezTo>
                  <a:pt x="1681383" y="4432452"/>
                  <a:pt x="1681683" y="4432563"/>
                  <a:pt x="1679580" y="4432010"/>
                </a:cubicBezTo>
                <a:cubicBezTo>
                  <a:pt x="1678076" y="4432784"/>
                  <a:pt x="1677776" y="4425812"/>
                  <a:pt x="1677175" y="4424484"/>
                </a:cubicBezTo>
                <a:close/>
                <a:moveTo>
                  <a:pt x="5611020" y="4423377"/>
                </a:moveTo>
                <a:cubicBezTo>
                  <a:pt x="5613124" y="4423709"/>
                  <a:pt x="5614628" y="4423599"/>
                  <a:pt x="5615529" y="4423488"/>
                </a:cubicBezTo>
                <a:cubicBezTo>
                  <a:pt x="5616431" y="4423488"/>
                  <a:pt x="5617032" y="4423599"/>
                  <a:pt x="5617032" y="4424263"/>
                </a:cubicBezTo>
                <a:cubicBezTo>
                  <a:pt x="5618535" y="4424484"/>
                  <a:pt x="5618235" y="4426033"/>
                  <a:pt x="5616731" y="4425812"/>
                </a:cubicBezTo>
                <a:cubicBezTo>
                  <a:pt x="5614928" y="4428579"/>
                  <a:pt x="5612223" y="4425148"/>
                  <a:pt x="5611020" y="4423377"/>
                </a:cubicBezTo>
                <a:close/>
                <a:moveTo>
                  <a:pt x="5473038" y="4423377"/>
                </a:moveTo>
                <a:lnTo>
                  <a:pt x="5473038" y="4424484"/>
                </a:lnTo>
                <a:lnTo>
                  <a:pt x="5472136" y="4423820"/>
                </a:lnTo>
                <a:cubicBezTo>
                  <a:pt x="5472737" y="4423488"/>
                  <a:pt x="5473038" y="4423267"/>
                  <a:pt x="5473038" y="4423377"/>
                </a:cubicBezTo>
                <a:close/>
                <a:moveTo>
                  <a:pt x="2846265" y="4423377"/>
                </a:moveTo>
                <a:cubicBezTo>
                  <a:pt x="2848670" y="4423709"/>
                  <a:pt x="2850173" y="4423599"/>
                  <a:pt x="2851075" y="4423488"/>
                </a:cubicBezTo>
                <a:cubicBezTo>
                  <a:pt x="2851977" y="4423488"/>
                  <a:pt x="2852578" y="4423599"/>
                  <a:pt x="2852277" y="4424263"/>
                </a:cubicBezTo>
                <a:cubicBezTo>
                  <a:pt x="2853781" y="4424484"/>
                  <a:pt x="2853781" y="4426033"/>
                  <a:pt x="2852277" y="4425812"/>
                </a:cubicBezTo>
                <a:cubicBezTo>
                  <a:pt x="2850474" y="4428579"/>
                  <a:pt x="2847769" y="4425148"/>
                  <a:pt x="2846265" y="4423377"/>
                </a:cubicBezTo>
                <a:close/>
                <a:moveTo>
                  <a:pt x="2708583" y="4423377"/>
                </a:moveTo>
                <a:lnTo>
                  <a:pt x="2708283" y="4424484"/>
                </a:lnTo>
                <a:lnTo>
                  <a:pt x="2707682" y="4423820"/>
                </a:lnTo>
                <a:cubicBezTo>
                  <a:pt x="2708283" y="4423488"/>
                  <a:pt x="2708583" y="4423267"/>
                  <a:pt x="2708583" y="4423377"/>
                </a:cubicBezTo>
                <a:close/>
                <a:moveTo>
                  <a:pt x="1817261" y="4423377"/>
                </a:moveTo>
                <a:cubicBezTo>
                  <a:pt x="1819666" y="4423709"/>
                  <a:pt x="1820869" y="4423599"/>
                  <a:pt x="1822071" y="4423488"/>
                </a:cubicBezTo>
                <a:cubicBezTo>
                  <a:pt x="1822972" y="4423488"/>
                  <a:pt x="1823273" y="4423599"/>
                  <a:pt x="1823273" y="4424263"/>
                </a:cubicBezTo>
                <a:cubicBezTo>
                  <a:pt x="1824776" y="4424484"/>
                  <a:pt x="1824776" y="4426033"/>
                  <a:pt x="1823273" y="4425812"/>
                </a:cubicBezTo>
                <a:cubicBezTo>
                  <a:pt x="1821470" y="4428579"/>
                  <a:pt x="1818764" y="4425148"/>
                  <a:pt x="1817261" y="4423377"/>
                </a:cubicBezTo>
                <a:close/>
                <a:moveTo>
                  <a:pt x="1679580" y="4423377"/>
                </a:moveTo>
                <a:lnTo>
                  <a:pt x="1679278" y="4424484"/>
                </a:lnTo>
                <a:lnTo>
                  <a:pt x="1678377" y="4423820"/>
                </a:lnTo>
                <a:cubicBezTo>
                  <a:pt x="1678978" y="4423488"/>
                  <a:pt x="1679580" y="4423267"/>
                  <a:pt x="1679580" y="4423377"/>
                </a:cubicBezTo>
                <a:close/>
                <a:moveTo>
                  <a:pt x="5865641" y="4416073"/>
                </a:moveTo>
                <a:cubicBezTo>
                  <a:pt x="5868346" y="4421164"/>
                  <a:pt x="5869850" y="4422935"/>
                  <a:pt x="5871352" y="4426255"/>
                </a:cubicBezTo>
                <a:cubicBezTo>
                  <a:pt x="5872856" y="4426476"/>
                  <a:pt x="5874359" y="4426697"/>
                  <a:pt x="5875862" y="4428468"/>
                </a:cubicBezTo>
                <a:cubicBezTo>
                  <a:pt x="5878568" y="4432010"/>
                  <a:pt x="5876763" y="4434776"/>
                  <a:pt x="5878267" y="4438097"/>
                </a:cubicBezTo>
                <a:cubicBezTo>
                  <a:pt x="5876463" y="4439314"/>
                  <a:pt x="5873457" y="4440421"/>
                  <a:pt x="5870451" y="4436879"/>
                </a:cubicBezTo>
                <a:cubicBezTo>
                  <a:pt x="5865941" y="4433116"/>
                  <a:pt x="5866242" y="4428579"/>
                  <a:pt x="5868046" y="4424152"/>
                </a:cubicBezTo>
                <a:cubicBezTo>
                  <a:pt x="5866843" y="4420943"/>
                  <a:pt x="5863838" y="4418840"/>
                  <a:pt x="5865641" y="4416073"/>
                </a:cubicBezTo>
                <a:close/>
                <a:moveTo>
                  <a:pt x="2071882" y="4416073"/>
                </a:moveTo>
                <a:cubicBezTo>
                  <a:pt x="2074888" y="4421164"/>
                  <a:pt x="2076391" y="4422935"/>
                  <a:pt x="2077593" y="4426255"/>
                </a:cubicBezTo>
                <a:cubicBezTo>
                  <a:pt x="2079097" y="4426476"/>
                  <a:pt x="2080599" y="4426697"/>
                  <a:pt x="2082103" y="4428468"/>
                </a:cubicBezTo>
                <a:lnTo>
                  <a:pt x="2083906" y="4435883"/>
                </a:lnTo>
                <a:lnTo>
                  <a:pt x="2085409" y="4435440"/>
                </a:lnTo>
                <a:cubicBezTo>
                  <a:pt x="2086912" y="4435773"/>
                  <a:pt x="2087814" y="4436215"/>
                  <a:pt x="2088415" y="4436879"/>
                </a:cubicBezTo>
                <a:cubicBezTo>
                  <a:pt x="2090220" y="4439203"/>
                  <a:pt x="2089317" y="4443409"/>
                  <a:pt x="2089617" y="4447946"/>
                </a:cubicBezTo>
                <a:cubicBezTo>
                  <a:pt x="2087814" y="4447172"/>
                  <a:pt x="2086611" y="4449164"/>
                  <a:pt x="2085710" y="4451156"/>
                </a:cubicBezTo>
                <a:cubicBezTo>
                  <a:pt x="2082704" y="4449938"/>
                  <a:pt x="2077593" y="4448500"/>
                  <a:pt x="2076992" y="4444626"/>
                </a:cubicBezTo>
                <a:cubicBezTo>
                  <a:pt x="2076992" y="4443298"/>
                  <a:pt x="2077293" y="4441749"/>
                  <a:pt x="2078495" y="4439757"/>
                </a:cubicBezTo>
                <a:lnTo>
                  <a:pt x="2079397" y="4438429"/>
                </a:lnTo>
                <a:lnTo>
                  <a:pt x="2076692" y="4436879"/>
                </a:lnTo>
                <a:cubicBezTo>
                  <a:pt x="2072182" y="4433116"/>
                  <a:pt x="2072783" y="4428579"/>
                  <a:pt x="2074587" y="4424152"/>
                </a:cubicBezTo>
                <a:cubicBezTo>
                  <a:pt x="2073084" y="4420943"/>
                  <a:pt x="2070078" y="4418840"/>
                  <a:pt x="2071882" y="4416073"/>
                </a:cubicBezTo>
                <a:close/>
                <a:moveTo>
                  <a:pt x="5648597" y="4415962"/>
                </a:moveTo>
                <a:cubicBezTo>
                  <a:pt x="5651303" y="4418065"/>
                  <a:pt x="5654008" y="4421717"/>
                  <a:pt x="5656714" y="4425369"/>
                </a:cubicBezTo>
                <a:cubicBezTo>
                  <a:pt x="5650702" y="4434666"/>
                  <a:pt x="5638676" y="4416848"/>
                  <a:pt x="5648597" y="4415962"/>
                </a:cubicBezTo>
                <a:close/>
                <a:moveTo>
                  <a:pt x="2883843" y="4415962"/>
                </a:moveTo>
                <a:cubicBezTo>
                  <a:pt x="2886849" y="4418065"/>
                  <a:pt x="2889554" y="4421717"/>
                  <a:pt x="2892260" y="4425369"/>
                </a:cubicBezTo>
                <a:cubicBezTo>
                  <a:pt x="2885946" y="4434666"/>
                  <a:pt x="2873922" y="4416848"/>
                  <a:pt x="2883843" y="4415962"/>
                </a:cubicBezTo>
                <a:close/>
                <a:moveTo>
                  <a:pt x="1854838" y="4415962"/>
                </a:moveTo>
                <a:cubicBezTo>
                  <a:pt x="1857544" y="4418065"/>
                  <a:pt x="1860550" y="4421717"/>
                  <a:pt x="1863255" y="4425369"/>
                </a:cubicBezTo>
                <a:cubicBezTo>
                  <a:pt x="1856942" y="4434666"/>
                  <a:pt x="1844917" y="4416848"/>
                  <a:pt x="1854838" y="4415962"/>
                </a:cubicBezTo>
                <a:close/>
                <a:moveTo>
                  <a:pt x="1167332" y="4415298"/>
                </a:moveTo>
                <a:cubicBezTo>
                  <a:pt x="1176650" y="4419614"/>
                  <a:pt x="1177853" y="4429907"/>
                  <a:pt x="1174547" y="4439535"/>
                </a:cubicBezTo>
                <a:cubicBezTo>
                  <a:pt x="1171239" y="4449164"/>
                  <a:pt x="1163424" y="4458239"/>
                  <a:pt x="1154705" y="4459788"/>
                </a:cubicBezTo>
                <a:lnTo>
                  <a:pt x="1151399" y="4437543"/>
                </a:lnTo>
                <a:lnTo>
                  <a:pt x="1151098" y="4441859"/>
                </a:lnTo>
                <a:cubicBezTo>
                  <a:pt x="1149896" y="4448832"/>
                  <a:pt x="1147190" y="4455583"/>
                  <a:pt x="1141479" y="4462112"/>
                </a:cubicBezTo>
                <a:cubicBezTo>
                  <a:pt x="1129153" y="4447061"/>
                  <a:pt x="1142981" y="4428468"/>
                  <a:pt x="1152301" y="4421164"/>
                </a:cubicBezTo>
                <a:lnTo>
                  <a:pt x="1151399" y="4433559"/>
                </a:lnTo>
                <a:close/>
                <a:moveTo>
                  <a:pt x="2306963" y="4414413"/>
                </a:moveTo>
                <a:cubicBezTo>
                  <a:pt x="2309066" y="4416848"/>
                  <a:pt x="2310870" y="4419504"/>
                  <a:pt x="2312073" y="4422271"/>
                </a:cubicBezTo>
                <a:cubicBezTo>
                  <a:pt x="2313275" y="4425037"/>
                  <a:pt x="2313876" y="4427915"/>
                  <a:pt x="2313576" y="4431014"/>
                </a:cubicBezTo>
                <a:lnTo>
                  <a:pt x="2303355" y="4431567"/>
                </a:lnTo>
                <a:lnTo>
                  <a:pt x="2304558" y="4434887"/>
                </a:lnTo>
                <a:cubicBezTo>
                  <a:pt x="2304558" y="4436215"/>
                  <a:pt x="2304558" y="4437543"/>
                  <a:pt x="2303655" y="4439093"/>
                </a:cubicBezTo>
                <a:lnTo>
                  <a:pt x="2300949" y="4439535"/>
                </a:lnTo>
                <a:lnTo>
                  <a:pt x="2308766" y="4446286"/>
                </a:lnTo>
                <a:cubicBezTo>
                  <a:pt x="2310269" y="4448278"/>
                  <a:pt x="2311171" y="4450492"/>
                  <a:pt x="2312073" y="4452816"/>
                </a:cubicBezTo>
                <a:cubicBezTo>
                  <a:pt x="2312975" y="4456357"/>
                  <a:pt x="2312975" y="4460120"/>
                  <a:pt x="2312975" y="4463994"/>
                </a:cubicBezTo>
                <a:lnTo>
                  <a:pt x="2312674" y="4464990"/>
                </a:lnTo>
                <a:lnTo>
                  <a:pt x="2317483" y="4466982"/>
                </a:lnTo>
                <a:cubicBezTo>
                  <a:pt x="2316281" y="4468310"/>
                  <a:pt x="2314477" y="4469638"/>
                  <a:pt x="2312374" y="4470523"/>
                </a:cubicBezTo>
                <a:lnTo>
                  <a:pt x="2312073" y="4470523"/>
                </a:lnTo>
                <a:lnTo>
                  <a:pt x="2311471" y="4475946"/>
                </a:lnTo>
                <a:cubicBezTo>
                  <a:pt x="2308766" y="4475614"/>
                  <a:pt x="2306361" y="4474618"/>
                  <a:pt x="2304558" y="4472958"/>
                </a:cubicBezTo>
                <a:lnTo>
                  <a:pt x="2303957" y="4472073"/>
                </a:lnTo>
                <a:lnTo>
                  <a:pt x="2296441" y="4470966"/>
                </a:lnTo>
                <a:lnTo>
                  <a:pt x="2297943" y="4476942"/>
                </a:lnTo>
                <a:lnTo>
                  <a:pt x="2300949" y="4485243"/>
                </a:lnTo>
                <a:lnTo>
                  <a:pt x="2301251" y="4485132"/>
                </a:lnTo>
                <a:lnTo>
                  <a:pt x="2300048" y="4481590"/>
                </a:lnTo>
                <a:cubicBezTo>
                  <a:pt x="2300649" y="4479488"/>
                  <a:pt x="2301251" y="4477274"/>
                  <a:pt x="2303957" y="4475725"/>
                </a:cubicBezTo>
                <a:cubicBezTo>
                  <a:pt x="2308465" y="4476721"/>
                  <a:pt x="2309066" y="4481480"/>
                  <a:pt x="2311471" y="4481922"/>
                </a:cubicBezTo>
                <a:lnTo>
                  <a:pt x="2307263" y="4487345"/>
                </a:lnTo>
                <a:lnTo>
                  <a:pt x="2309969" y="4492990"/>
                </a:lnTo>
                <a:cubicBezTo>
                  <a:pt x="2306662" y="4495203"/>
                  <a:pt x="2303655" y="4496199"/>
                  <a:pt x="2300949" y="4495978"/>
                </a:cubicBezTo>
                <a:lnTo>
                  <a:pt x="2297643" y="4494318"/>
                </a:lnTo>
                <a:lnTo>
                  <a:pt x="2295840" y="4499187"/>
                </a:lnTo>
                <a:lnTo>
                  <a:pt x="2296140" y="4499187"/>
                </a:lnTo>
                <a:lnTo>
                  <a:pt x="2295539" y="4499851"/>
                </a:lnTo>
                <a:lnTo>
                  <a:pt x="2294036" y="4504499"/>
                </a:lnTo>
                <a:cubicBezTo>
                  <a:pt x="2290729" y="4507488"/>
                  <a:pt x="2286220" y="4509590"/>
                  <a:pt x="2282613" y="4509148"/>
                </a:cubicBezTo>
                <a:lnTo>
                  <a:pt x="2279607" y="4506824"/>
                </a:lnTo>
                <a:lnTo>
                  <a:pt x="2278103" y="4507156"/>
                </a:lnTo>
                <a:cubicBezTo>
                  <a:pt x="2275999" y="4506491"/>
                  <a:pt x="2275999" y="4506491"/>
                  <a:pt x="2274796" y="4503835"/>
                </a:cubicBezTo>
                <a:lnTo>
                  <a:pt x="2277802" y="4503393"/>
                </a:lnTo>
                <a:lnTo>
                  <a:pt x="2279907" y="4499741"/>
                </a:lnTo>
                <a:cubicBezTo>
                  <a:pt x="2281109" y="4498523"/>
                  <a:pt x="2282913" y="4497748"/>
                  <a:pt x="2284717" y="4497195"/>
                </a:cubicBezTo>
                <a:lnTo>
                  <a:pt x="2296741" y="4493875"/>
                </a:lnTo>
                <a:lnTo>
                  <a:pt x="2294036" y="4492658"/>
                </a:lnTo>
                <a:lnTo>
                  <a:pt x="2296441" y="4488341"/>
                </a:lnTo>
                <a:lnTo>
                  <a:pt x="2295539" y="4487899"/>
                </a:lnTo>
                <a:cubicBezTo>
                  <a:pt x="2295840" y="4486349"/>
                  <a:pt x="2294036" y="4486239"/>
                  <a:pt x="2295840" y="4484911"/>
                </a:cubicBezTo>
                <a:cubicBezTo>
                  <a:pt x="2292533" y="4482144"/>
                  <a:pt x="2289226" y="4473290"/>
                  <a:pt x="2288925" y="4466539"/>
                </a:cubicBezTo>
                <a:lnTo>
                  <a:pt x="2288925" y="4465654"/>
                </a:lnTo>
                <a:lnTo>
                  <a:pt x="2288625" y="4465432"/>
                </a:lnTo>
                <a:lnTo>
                  <a:pt x="2288925" y="4465211"/>
                </a:lnTo>
                <a:lnTo>
                  <a:pt x="2289226" y="4460895"/>
                </a:lnTo>
                <a:lnTo>
                  <a:pt x="2291631" y="4463772"/>
                </a:lnTo>
                <a:lnTo>
                  <a:pt x="2296441" y="4460895"/>
                </a:lnTo>
                <a:lnTo>
                  <a:pt x="2299447" y="4460784"/>
                </a:lnTo>
                <a:lnTo>
                  <a:pt x="2298545" y="4450270"/>
                </a:lnTo>
                <a:lnTo>
                  <a:pt x="2300348" y="4439646"/>
                </a:lnTo>
                <a:lnTo>
                  <a:pt x="2295238" y="4440531"/>
                </a:lnTo>
                <a:lnTo>
                  <a:pt x="2294637" y="4440089"/>
                </a:lnTo>
                <a:lnTo>
                  <a:pt x="2293435" y="4447172"/>
                </a:lnTo>
                <a:cubicBezTo>
                  <a:pt x="2291030" y="4446065"/>
                  <a:pt x="2290128" y="4441970"/>
                  <a:pt x="2290128" y="4437433"/>
                </a:cubicBezTo>
                <a:lnTo>
                  <a:pt x="2290128" y="4435773"/>
                </a:lnTo>
                <a:lnTo>
                  <a:pt x="2283514" y="4429575"/>
                </a:lnTo>
                <a:cubicBezTo>
                  <a:pt x="2282012" y="4426365"/>
                  <a:pt x="2282012" y="4423931"/>
                  <a:pt x="2281109" y="4423488"/>
                </a:cubicBezTo>
                <a:cubicBezTo>
                  <a:pt x="2284115" y="4417512"/>
                  <a:pt x="2288324" y="4419172"/>
                  <a:pt x="2295238" y="4419725"/>
                </a:cubicBezTo>
                <a:cubicBezTo>
                  <a:pt x="2294937" y="4420721"/>
                  <a:pt x="2296140" y="4421828"/>
                  <a:pt x="2297643" y="4422824"/>
                </a:cubicBezTo>
                <a:lnTo>
                  <a:pt x="2300048" y="4423931"/>
                </a:lnTo>
                <a:lnTo>
                  <a:pt x="2303355" y="4421164"/>
                </a:lnTo>
                <a:cubicBezTo>
                  <a:pt x="2304558" y="4419504"/>
                  <a:pt x="2305760" y="4417401"/>
                  <a:pt x="2306963" y="4414413"/>
                </a:cubicBezTo>
                <a:close/>
                <a:moveTo>
                  <a:pt x="1277657" y="4414413"/>
                </a:moveTo>
                <a:cubicBezTo>
                  <a:pt x="1280062" y="4416848"/>
                  <a:pt x="1281865" y="4419504"/>
                  <a:pt x="1283069" y="4422271"/>
                </a:cubicBezTo>
                <a:cubicBezTo>
                  <a:pt x="1284271" y="4425037"/>
                  <a:pt x="1284872" y="4427915"/>
                  <a:pt x="1284571" y="4431014"/>
                </a:cubicBezTo>
                <a:lnTo>
                  <a:pt x="1274351" y="4431567"/>
                </a:lnTo>
                <a:lnTo>
                  <a:pt x="1275252" y="4434887"/>
                </a:lnTo>
                <a:cubicBezTo>
                  <a:pt x="1275553" y="4436215"/>
                  <a:pt x="1275252" y="4437543"/>
                  <a:pt x="1274351" y="4439093"/>
                </a:cubicBezTo>
                <a:lnTo>
                  <a:pt x="1271946" y="4439535"/>
                </a:lnTo>
                <a:lnTo>
                  <a:pt x="1279761" y="4446286"/>
                </a:lnTo>
                <a:cubicBezTo>
                  <a:pt x="1281264" y="4448278"/>
                  <a:pt x="1282166" y="4450492"/>
                  <a:pt x="1282768" y="4452816"/>
                </a:cubicBezTo>
                <a:cubicBezTo>
                  <a:pt x="1283670" y="4456357"/>
                  <a:pt x="1283970" y="4460120"/>
                  <a:pt x="1283670" y="4463994"/>
                </a:cubicBezTo>
                <a:lnTo>
                  <a:pt x="1283670" y="4464990"/>
                </a:lnTo>
                <a:lnTo>
                  <a:pt x="1288178" y="4466982"/>
                </a:lnTo>
                <a:cubicBezTo>
                  <a:pt x="1287277" y="4468310"/>
                  <a:pt x="1285474" y="4469638"/>
                  <a:pt x="1283069" y="4470523"/>
                </a:cubicBezTo>
                <a:lnTo>
                  <a:pt x="1282466" y="4475946"/>
                </a:lnTo>
                <a:cubicBezTo>
                  <a:pt x="1279460" y="4475614"/>
                  <a:pt x="1277357" y="4474618"/>
                  <a:pt x="1275252" y="4472958"/>
                </a:cubicBezTo>
                <a:lnTo>
                  <a:pt x="1274651" y="4472073"/>
                </a:lnTo>
                <a:lnTo>
                  <a:pt x="1266835" y="4470966"/>
                </a:lnTo>
                <a:cubicBezTo>
                  <a:pt x="1264130" y="4469970"/>
                  <a:pt x="1261424" y="4468089"/>
                  <a:pt x="1259620" y="4465432"/>
                </a:cubicBezTo>
                <a:cubicBezTo>
                  <a:pt x="1262326" y="4462998"/>
                  <a:pt x="1264731" y="4461670"/>
                  <a:pt x="1267436" y="4460895"/>
                </a:cubicBezTo>
                <a:lnTo>
                  <a:pt x="1270442" y="4460784"/>
                </a:lnTo>
                <a:lnTo>
                  <a:pt x="1269240" y="4450270"/>
                </a:lnTo>
                <a:lnTo>
                  <a:pt x="1271344" y="4439646"/>
                </a:lnTo>
                <a:lnTo>
                  <a:pt x="1266234" y="4440531"/>
                </a:lnTo>
                <a:cubicBezTo>
                  <a:pt x="1251804" y="4433227"/>
                  <a:pt x="1253908" y="4424373"/>
                  <a:pt x="1251804" y="4423488"/>
                </a:cubicBezTo>
                <a:cubicBezTo>
                  <a:pt x="1255111" y="4417512"/>
                  <a:pt x="1259019" y="4419172"/>
                  <a:pt x="1266234" y="4419725"/>
                </a:cubicBezTo>
                <a:cubicBezTo>
                  <a:pt x="1265632" y="4420721"/>
                  <a:pt x="1266835" y="4421828"/>
                  <a:pt x="1268638" y="4422824"/>
                </a:cubicBezTo>
                <a:lnTo>
                  <a:pt x="1271043" y="4423931"/>
                </a:lnTo>
                <a:lnTo>
                  <a:pt x="1274351" y="4421164"/>
                </a:lnTo>
                <a:cubicBezTo>
                  <a:pt x="1275553" y="4419504"/>
                  <a:pt x="1276755" y="4417401"/>
                  <a:pt x="1277657" y="4414413"/>
                </a:cubicBezTo>
                <a:close/>
                <a:moveTo>
                  <a:pt x="1016122" y="4413085"/>
                </a:moveTo>
                <a:cubicBezTo>
                  <a:pt x="1020030" y="4413306"/>
                  <a:pt x="1023337" y="4415409"/>
                  <a:pt x="1024840" y="4418065"/>
                </a:cubicBezTo>
                <a:lnTo>
                  <a:pt x="1022135" y="4426033"/>
                </a:lnTo>
                <a:lnTo>
                  <a:pt x="1029349" y="4422381"/>
                </a:lnTo>
                <a:cubicBezTo>
                  <a:pt x="1032355" y="4421164"/>
                  <a:pt x="1035361" y="4420389"/>
                  <a:pt x="1037466" y="4420389"/>
                </a:cubicBezTo>
                <a:cubicBezTo>
                  <a:pt x="1043478" y="4426476"/>
                  <a:pt x="1045282" y="4432895"/>
                  <a:pt x="1044080" y="4438539"/>
                </a:cubicBezTo>
                <a:cubicBezTo>
                  <a:pt x="1040472" y="4455251"/>
                  <a:pt x="1011613" y="4464990"/>
                  <a:pt x="1005301" y="4441638"/>
                </a:cubicBezTo>
                <a:cubicBezTo>
                  <a:pt x="1006803" y="4436547"/>
                  <a:pt x="1012815" y="4431235"/>
                  <a:pt x="1019429" y="4427251"/>
                </a:cubicBezTo>
                <a:lnTo>
                  <a:pt x="1020932" y="4426476"/>
                </a:lnTo>
                <a:lnTo>
                  <a:pt x="1015521" y="4420057"/>
                </a:lnTo>
                <a:cubicBezTo>
                  <a:pt x="1014018" y="4417622"/>
                  <a:pt x="1014018" y="4415298"/>
                  <a:pt x="1016122" y="4413085"/>
                </a:cubicBezTo>
                <a:close/>
                <a:moveTo>
                  <a:pt x="5782671" y="4412974"/>
                </a:moveTo>
                <a:cubicBezTo>
                  <a:pt x="5786279" y="4413417"/>
                  <a:pt x="5789586" y="4415409"/>
                  <a:pt x="5792892" y="4418176"/>
                </a:cubicBezTo>
                <a:lnTo>
                  <a:pt x="5796801" y="4422603"/>
                </a:lnTo>
                <a:lnTo>
                  <a:pt x="5798303" y="4422160"/>
                </a:lnTo>
                <a:cubicBezTo>
                  <a:pt x="5801610" y="4420832"/>
                  <a:pt x="5804616" y="4419836"/>
                  <a:pt x="5807321" y="4420168"/>
                </a:cubicBezTo>
                <a:cubicBezTo>
                  <a:pt x="5808525" y="4420500"/>
                  <a:pt x="5809426" y="4420832"/>
                  <a:pt x="5810027" y="4421607"/>
                </a:cubicBezTo>
                <a:cubicBezTo>
                  <a:pt x="5810628" y="4422381"/>
                  <a:pt x="5810628" y="4423488"/>
                  <a:pt x="5809727" y="4425591"/>
                </a:cubicBezTo>
                <a:cubicBezTo>
                  <a:pt x="5809426" y="4428911"/>
                  <a:pt x="5807924" y="4429686"/>
                  <a:pt x="5802212" y="4429022"/>
                </a:cubicBezTo>
                <a:lnTo>
                  <a:pt x="5808825" y="4440974"/>
                </a:lnTo>
                <a:cubicBezTo>
                  <a:pt x="5810628" y="4444848"/>
                  <a:pt x="5811831" y="4448389"/>
                  <a:pt x="5812132" y="4450824"/>
                </a:cubicBezTo>
                <a:cubicBezTo>
                  <a:pt x="5800408" y="4442081"/>
                  <a:pt x="5781168" y="4427361"/>
                  <a:pt x="5776659" y="4414081"/>
                </a:cubicBezTo>
                <a:cubicBezTo>
                  <a:pt x="5778463" y="4413085"/>
                  <a:pt x="5780567" y="4412864"/>
                  <a:pt x="5782671" y="4412974"/>
                </a:cubicBezTo>
                <a:close/>
                <a:moveTo>
                  <a:pt x="1988912" y="4412974"/>
                </a:moveTo>
                <a:cubicBezTo>
                  <a:pt x="1992519" y="4413417"/>
                  <a:pt x="1996127" y="4415409"/>
                  <a:pt x="1999434" y="4418176"/>
                </a:cubicBezTo>
                <a:lnTo>
                  <a:pt x="2003041" y="4422603"/>
                </a:lnTo>
                <a:lnTo>
                  <a:pt x="2004544" y="4422160"/>
                </a:lnTo>
                <a:cubicBezTo>
                  <a:pt x="2007851" y="4420832"/>
                  <a:pt x="2010857" y="4419836"/>
                  <a:pt x="2013863" y="4420168"/>
                </a:cubicBezTo>
                <a:cubicBezTo>
                  <a:pt x="2014764" y="4420500"/>
                  <a:pt x="2015967" y="4420832"/>
                  <a:pt x="2016568" y="4421607"/>
                </a:cubicBezTo>
                <a:cubicBezTo>
                  <a:pt x="2017169" y="4422381"/>
                  <a:pt x="2017169" y="4423488"/>
                  <a:pt x="2016268" y="4425591"/>
                </a:cubicBezTo>
                <a:cubicBezTo>
                  <a:pt x="2015667" y="4428911"/>
                  <a:pt x="2014163" y="4429686"/>
                  <a:pt x="2008752" y="4429022"/>
                </a:cubicBezTo>
                <a:lnTo>
                  <a:pt x="2008452" y="4429022"/>
                </a:lnTo>
                <a:lnTo>
                  <a:pt x="2015366" y="4440974"/>
                </a:lnTo>
                <a:cubicBezTo>
                  <a:pt x="2016869" y="4444848"/>
                  <a:pt x="2018072" y="4448389"/>
                  <a:pt x="2018372" y="4450824"/>
                </a:cubicBezTo>
                <a:cubicBezTo>
                  <a:pt x="2006648" y="4442081"/>
                  <a:pt x="1987710" y="4427361"/>
                  <a:pt x="1982900" y="4414081"/>
                </a:cubicBezTo>
                <a:cubicBezTo>
                  <a:pt x="1985004" y="4413085"/>
                  <a:pt x="1986807" y="4412864"/>
                  <a:pt x="1988912" y="4412974"/>
                </a:cubicBezTo>
                <a:close/>
                <a:moveTo>
                  <a:pt x="2903383" y="4409322"/>
                </a:moveTo>
                <a:cubicBezTo>
                  <a:pt x="2907591" y="4411425"/>
                  <a:pt x="2908794" y="4415520"/>
                  <a:pt x="2908794" y="4419393"/>
                </a:cubicBezTo>
                <a:cubicBezTo>
                  <a:pt x="2908492" y="4423156"/>
                  <a:pt x="2906990" y="4426697"/>
                  <a:pt x="2905486" y="4427361"/>
                </a:cubicBezTo>
                <a:cubicBezTo>
                  <a:pt x="2901278" y="4425259"/>
                  <a:pt x="2899474" y="4418508"/>
                  <a:pt x="2895266" y="4416405"/>
                </a:cubicBezTo>
                <a:cubicBezTo>
                  <a:pt x="2898272" y="4415077"/>
                  <a:pt x="2900377" y="4410539"/>
                  <a:pt x="2903383" y="4409322"/>
                </a:cubicBezTo>
                <a:close/>
                <a:moveTo>
                  <a:pt x="5139655" y="4409101"/>
                </a:moveTo>
                <a:cubicBezTo>
                  <a:pt x="5141159" y="4408990"/>
                  <a:pt x="5142663" y="4409211"/>
                  <a:pt x="5143264" y="4409765"/>
                </a:cubicBezTo>
                <a:cubicBezTo>
                  <a:pt x="5144466" y="4413085"/>
                  <a:pt x="5133343" y="4424373"/>
                  <a:pt x="5129435" y="4417401"/>
                </a:cubicBezTo>
                <a:cubicBezTo>
                  <a:pt x="5127631" y="4412532"/>
                  <a:pt x="5134846" y="4409433"/>
                  <a:pt x="5139655" y="4409101"/>
                </a:cubicBezTo>
                <a:close/>
                <a:moveTo>
                  <a:pt x="2374901" y="4409101"/>
                </a:moveTo>
                <a:cubicBezTo>
                  <a:pt x="2376705" y="4408990"/>
                  <a:pt x="2378208" y="4409211"/>
                  <a:pt x="2378810" y="4409765"/>
                </a:cubicBezTo>
                <a:cubicBezTo>
                  <a:pt x="2380012" y="4413085"/>
                  <a:pt x="2368588" y="4424373"/>
                  <a:pt x="2364981" y="4417401"/>
                </a:cubicBezTo>
                <a:cubicBezTo>
                  <a:pt x="2363177" y="4412532"/>
                  <a:pt x="2370091" y="4409433"/>
                  <a:pt x="2374901" y="4409101"/>
                </a:cubicBezTo>
                <a:close/>
                <a:moveTo>
                  <a:pt x="1345896" y="4409101"/>
                </a:moveTo>
                <a:cubicBezTo>
                  <a:pt x="1347700" y="4408990"/>
                  <a:pt x="1348902" y="4409211"/>
                  <a:pt x="1349805" y="4409765"/>
                </a:cubicBezTo>
                <a:cubicBezTo>
                  <a:pt x="1351007" y="4413085"/>
                  <a:pt x="1339584" y="4424373"/>
                  <a:pt x="1335676" y="4417401"/>
                </a:cubicBezTo>
                <a:cubicBezTo>
                  <a:pt x="1334173" y="4412532"/>
                  <a:pt x="1341087" y="4409433"/>
                  <a:pt x="1345896" y="4409101"/>
                </a:cubicBezTo>
                <a:close/>
                <a:moveTo>
                  <a:pt x="6147618" y="4408326"/>
                </a:moveTo>
                <a:cubicBezTo>
                  <a:pt x="6148820" y="4412310"/>
                  <a:pt x="6150624" y="4415077"/>
                  <a:pt x="6151827" y="4419061"/>
                </a:cubicBezTo>
                <a:cubicBezTo>
                  <a:pt x="6148519" y="4428026"/>
                  <a:pt x="6141305" y="4429575"/>
                  <a:pt x="6136495" y="4427029"/>
                </a:cubicBezTo>
                <a:cubicBezTo>
                  <a:pt x="6131385" y="4424484"/>
                  <a:pt x="6128078" y="4417733"/>
                  <a:pt x="6132586" y="4410097"/>
                </a:cubicBezTo>
                <a:cubicBezTo>
                  <a:pt x="6139201" y="4407883"/>
                  <a:pt x="6144010" y="4408437"/>
                  <a:pt x="6147618" y="4408326"/>
                </a:cubicBezTo>
                <a:close/>
                <a:moveTo>
                  <a:pt x="2353859" y="4408326"/>
                </a:moveTo>
                <a:cubicBezTo>
                  <a:pt x="2355061" y="4412310"/>
                  <a:pt x="2357165" y="4415077"/>
                  <a:pt x="2358367" y="4419061"/>
                </a:cubicBezTo>
                <a:cubicBezTo>
                  <a:pt x="2355962" y="4424816"/>
                  <a:pt x="2352355" y="4427251"/>
                  <a:pt x="2348748" y="4427804"/>
                </a:cubicBezTo>
                <a:cubicBezTo>
                  <a:pt x="2351754" y="4427472"/>
                  <a:pt x="2354760" y="4428800"/>
                  <a:pt x="2356564" y="4433006"/>
                </a:cubicBezTo>
                <a:cubicBezTo>
                  <a:pt x="2354159" y="4437101"/>
                  <a:pt x="2344839" y="4441527"/>
                  <a:pt x="2340932" y="4439646"/>
                </a:cubicBezTo>
                <a:cubicBezTo>
                  <a:pt x="2340331" y="4437654"/>
                  <a:pt x="2339729" y="4435662"/>
                  <a:pt x="2339128" y="4433670"/>
                </a:cubicBezTo>
                <a:cubicBezTo>
                  <a:pt x="2341533" y="4430792"/>
                  <a:pt x="2344539" y="4428690"/>
                  <a:pt x="2347545" y="4428026"/>
                </a:cubicBezTo>
                <a:cubicBezTo>
                  <a:pt x="2346042" y="4428136"/>
                  <a:pt x="2344238" y="4427804"/>
                  <a:pt x="2342736" y="4427029"/>
                </a:cubicBezTo>
                <a:cubicBezTo>
                  <a:pt x="2337625" y="4424484"/>
                  <a:pt x="2334619" y="4417733"/>
                  <a:pt x="2338827" y="4410097"/>
                </a:cubicBezTo>
                <a:cubicBezTo>
                  <a:pt x="2345441" y="4407883"/>
                  <a:pt x="2350251" y="4408437"/>
                  <a:pt x="2353859" y="4408326"/>
                </a:cubicBezTo>
                <a:close/>
                <a:moveTo>
                  <a:pt x="5886985" y="4407109"/>
                </a:moveTo>
                <a:cubicBezTo>
                  <a:pt x="5893297" y="4409654"/>
                  <a:pt x="5901414" y="4409433"/>
                  <a:pt x="5905924" y="4413085"/>
                </a:cubicBezTo>
                <a:cubicBezTo>
                  <a:pt x="5906825" y="4413970"/>
                  <a:pt x="5907427" y="4414856"/>
                  <a:pt x="5907728" y="4415852"/>
                </a:cubicBezTo>
                <a:cubicBezTo>
                  <a:pt x="5907728" y="4416848"/>
                  <a:pt x="5907126" y="4417844"/>
                  <a:pt x="5905622" y="4419061"/>
                </a:cubicBezTo>
                <a:cubicBezTo>
                  <a:pt x="5903819" y="4421828"/>
                  <a:pt x="5902016" y="4421607"/>
                  <a:pt x="5897506" y="4417844"/>
                </a:cubicBezTo>
                <a:cubicBezTo>
                  <a:pt x="5894499" y="4414413"/>
                  <a:pt x="5891494" y="4412421"/>
                  <a:pt x="5891494" y="4410871"/>
                </a:cubicBezTo>
                <a:cubicBezTo>
                  <a:pt x="5889991" y="4410650"/>
                  <a:pt x="5888487" y="4408879"/>
                  <a:pt x="5886985" y="4408658"/>
                </a:cubicBezTo>
                <a:cubicBezTo>
                  <a:pt x="5886985" y="4408658"/>
                  <a:pt x="5886684" y="4408658"/>
                  <a:pt x="5886985" y="4407109"/>
                </a:cubicBezTo>
                <a:close/>
                <a:moveTo>
                  <a:pt x="3173936" y="4406998"/>
                </a:moveTo>
                <a:lnTo>
                  <a:pt x="3176340" y="4415520"/>
                </a:lnTo>
                <a:lnTo>
                  <a:pt x="3176941" y="4414413"/>
                </a:lnTo>
                <a:lnTo>
                  <a:pt x="3187163" y="4423599"/>
                </a:lnTo>
                <a:lnTo>
                  <a:pt x="3195279" y="4426144"/>
                </a:lnTo>
                <a:cubicBezTo>
                  <a:pt x="3198886" y="4427029"/>
                  <a:pt x="3202493" y="4427804"/>
                  <a:pt x="3205199" y="4428800"/>
                </a:cubicBezTo>
                <a:lnTo>
                  <a:pt x="3212114" y="4431456"/>
                </a:lnTo>
                <a:lnTo>
                  <a:pt x="3210310" y="4429354"/>
                </a:lnTo>
                <a:cubicBezTo>
                  <a:pt x="3208507" y="4427694"/>
                  <a:pt x="3206703" y="4425480"/>
                  <a:pt x="3205501" y="4421496"/>
                </a:cubicBezTo>
                <a:lnTo>
                  <a:pt x="3207003" y="4420500"/>
                </a:lnTo>
                <a:lnTo>
                  <a:pt x="3204298" y="4416405"/>
                </a:lnTo>
                <a:lnTo>
                  <a:pt x="3204298" y="4414856"/>
                </a:lnTo>
                <a:lnTo>
                  <a:pt x="3200390" y="4412642"/>
                </a:lnTo>
                <a:cubicBezTo>
                  <a:pt x="3195279" y="4410982"/>
                  <a:pt x="3201592" y="4417954"/>
                  <a:pt x="3194979" y="4420611"/>
                </a:cubicBezTo>
                <a:cubicBezTo>
                  <a:pt x="3190169" y="4409322"/>
                  <a:pt x="3178145" y="4416405"/>
                  <a:pt x="3173936" y="4406998"/>
                </a:cubicBezTo>
                <a:close/>
                <a:moveTo>
                  <a:pt x="6399532" y="4406113"/>
                </a:moveTo>
                <a:cubicBezTo>
                  <a:pt x="6404643" y="4407441"/>
                  <a:pt x="6408552" y="4406666"/>
                  <a:pt x="6411558" y="4406334"/>
                </a:cubicBezTo>
                <a:cubicBezTo>
                  <a:pt x="6414564" y="4406113"/>
                  <a:pt x="6416969" y="4406445"/>
                  <a:pt x="6419073" y="4409986"/>
                </a:cubicBezTo>
                <a:cubicBezTo>
                  <a:pt x="6415165" y="4414856"/>
                  <a:pt x="6402539" y="4412089"/>
                  <a:pt x="6399532" y="4406113"/>
                </a:cubicBezTo>
                <a:close/>
                <a:moveTo>
                  <a:pt x="5144165" y="4406113"/>
                </a:moveTo>
                <a:cubicBezTo>
                  <a:pt x="5149276" y="4407441"/>
                  <a:pt x="5152884" y="4406666"/>
                  <a:pt x="5155889" y="4406334"/>
                </a:cubicBezTo>
                <a:cubicBezTo>
                  <a:pt x="5159196" y="4406113"/>
                  <a:pt x="5161300" y="4406445"/>
                  <a:pt x="5163405" y="4409986"/>
                </a:cubicBezTo>
                <a:cubicBezTo>
                  <a:pt x="5159497" y="4414856"/>
                  <a:pt x="5147172" y="4412089"/>
                  <a:pt x="5144165" y="4406113"/>
                </a:cubicBezTo>
                <a:close/>
                <a:moveTo>
                  <a:pt x="2606074" y="4406113"/>
                </a:moveTo>
                <a:cubicBezTo>
                  <a:pt x="2611184" y="4407441"/>
                  <a:pt x="2614792" y="4406666"/>
                  <a:pt x="2617798" y="4406334"/>
                </a:cubicBezTo>
                <a:cubicBezTo>
                  <a:pt x="2620804" y="4406113"/>
                  <a:pt x="2623209" y="4406445"/>
                  <a:pt x="2625313" y="4409986"/>
                </a:cubicBezTo>
                <a:cubicBezTo>
                  <a:pt x="2621405" y="4414856"/>
                  <a:pt x="2609081" y="4412089"/>
                  <a:pt x="2606074" y="4406113"/>
                </a:cubicBezTo>
                <a:close/>
                <a:moveTo>
                  <a:pt x="2231509" y="4406113"/>
                </a:moveTo>
                <a:cubicBezTo>
                  <a:pt x="2231509" y="4406113"/>
                  <a:pt x="2231509" y="4406113"/>
                  <a:pt x="2233011" y="4409433"/>
                </a:cubicBezTo>
                <a:cubicBezTo>
                  <a:pt x="2233011" y="4410982"/>
                  <a:pt x="2233011" y="4412532"/>
                  <a:pt x="2231207" y="4413970"/>
                </a:cubicBezTo>
                <a:cubicBezTo>
                  <a:pt x="2229705" y="4415298"/>
                  <a:pt x="2226398" y="4414856"/>
                  <a:pt x="2224594" y="4414745"/>
                </a:cubicBezTo>
                <a:cubicBezTo>
                  <a:pt x="2224594" y="4413196"/>
                  <a:pt x="2223090" y="4412974"/>
                  <a:pt x="2223090" y="4411425"/>
                </a:cubicBezTo>
                <a:cubicBezTo>
                  <a:pt x="2221588" y="4408105"/>
                  <a:pt x="2221588" y="4408215"/>
                  <a:pt x="2223090" y="4406777"/>
                </a:cubicBezTo>
                <a:cubicBezTo>
                  <a:pt x="2224895" y="4405449"/>
                  <a:pt x="2229705" y="4407551"/>
                  <a:pt x="2231509" y="4406113"/>
                </a:cubicBezTo>
                <a:close/>
                <a:moveTo>
                  <a:pt x="1202504" y="4406113"/>
                </a:moveTo>
                <a:cubicBezTo>
                  <a:pt x="1202504" y="4406113"/>
                  <a:pt x="1202504" y="4406113"/>
                  <a:pt x="1204006" y="4409433"/>
                </a:cubicBezTo>
                <a:cubicBezTo>
                  <a:pt x="1204006" y="4410982"/>
                  <a:pt x="1204006" y="4412532"/>
                  <a:pt x="1202203" y="4413970"/>
                </a:cubicBezTo>
                <a:cubicBezTo>
                  <a:pt x="1200399" y="4415298"/>
                  <a:pt x="1197093" y="4414856"/>
                  <a:pt x="1195589" y="4414745"/>
                </a:cubicBezTo>
                <a:cubicBezTo>
                  <a:pt x="1195589" y="4413196"/>
                  <a:pt x="1193785" y="4412974"/>
                  <a:pt x="1194087" y="4411425"/>
                </a:cubicBezTo>
                <a:cubicBezTo>
                  <a:pt x="1192282" y="4408105"/>
                  <a:pt x="1192282" y="4408215"/>
                  <a:pt x="1194087" y="4406777"/>
                </a:cubicBezTo>
                <a:cubicBezTo>
                  <a:pt x="1195889" y="4405449"/>
                  <a:pt x="1200700" y="4407551"/>
                  <a:pt x="1202504" y="4406113"/>
                </a:cubicBezTo>
                <a:close/>
                <a:moveTo>
                  <a:pt x="5445983" y="4405449"/>
                </a:moveTo>
                <a:cubicBezTo>
                  <a:pt x="5447486" y="4407109"/>
                  <a:pt x="5447787" y="4407109"/>
                  <a:pt x="5445983" y="4406998"/>
                </a:cubicBezTo>
                <a:cubicBezTo>
                  <a:pt x="5447787" y="4410207"/>
                  <a:pt x="5448087" y="4411757"/>
                  <a:pt x="5448087" y="4413417"/>
                </a:cubicBezTo>
                <a:cubicBezTo>
                  <a:pt x="5446584" y="4414856"/>
                  <a:pt x="5443277" y="4414745"/>
                  <a:pt x="5439971" y="4412974"/>
                </a:cubicBezTo>
                <a:cubicBezTo>
                  <a:pt x="5441474" y="4411535"/>
                  <a:pt x="5439669" y="4408326"/>
                  <a:pt x="5441174" y="4406777"/>
                </a:cubicBezTo>
                <a:cubicBezTo>
                  <a:pt x="5441174" y="4406777"/>
                  <a:pt x="5445983" y="4405449"/>
                  <a:pt x="5445983" y="4405449"/>
                </a:cubicBezTo>
                <a:close/>
                <a:moveTo>
                  <a:pt x="1652224" y="4405449"/>
                </a:moveTo>
                <a:cubicBezTo>
                  <a:pt x="1654027" y="4407109"/>
                  <a:pt x="1654027" y="4407109"/>
                  <a:pt x="1652524" y="4406998"/>
                </a:cubicBezTo>
                <a:cubicBezTo>
                  <a:pt x="1654327" y="4410207"/>
                  <a:pt x="1654327" y="4411757"/>
                  <a:pt x="1654327" y="4413417"/>
                </a:cubicBezTo>
                <a:cubicBezTo>
                  <a:pt x="1652825" y="4414856"/>
                  <a:pt x="1649518" y="4414745"/>
                  <a:pt x="1646211" y="4412974"/>
                </a:cubicBezTo>
                <a:cubicBezTo>
                  <a:pt x="1647714" y="4411535"/>
                  <a:pt x="1645910" y="4408326"/>
                  <a:pt x="1647413" y="4406777"/>
                </a:cubicBezTo>
                <a:cubicBezTo>
                  <a:pt x="1647413" y="4406777"/>
                  <a:pt x="1652224" y="4405449"/>
                  <a:pt x="1652224" y="4405449"/>
                </a:cubicBezTo>
                <a:close/>
                <a:moveTo>
                  <a:pt x="1241884" y="4403456"/>
                </a:moveTo>
                <a:cubicBezTo>
                  <a:pt x="1243989" y="4404342"/>
                  <a:pt x="1244590" y="4406113"/>
                  <a:pt x="1244590" y="4407773"/>
                </a:cubicBezTo>
                <a:cubicBezTo>
                  <a:pt x="1244289" y="4409433"/>
                  <a:pt x="1243687" y="4410982"/>
                  <a:pt x="1242786" y="4411203"/>
                </a:cubicBezTo>
                <a:cubicBezTo>
                  <a:pt x="1240681" y="4410318"/>
                  <a:pt x="1239780" y="4407551"/>
                  <a:pt x="1237675" y="4406666"/>
                </a:cubicBezTo>
                <a:cubicBezTo>
                  <a:pt x="1239479" y="4406113"/>
                  <a:pt x="1240381" y="4404010"/>
                  <a:pt x="1241884" y="4403456"/>
                </a:cubicBezTo>
                <a:close/>
                <a:moveTo>
                  <a:pt x="1872874" y="4403124"/>
                </a:moveTo>
                <a:cubicBezTo>
                  <a:pt x="1893617" y="4409765"/>
                  <a:pt x="1891813" y="4424705"/>
                  <a:pt x="1879789" y="4426255"/>
                </a:cubicBezTo>
                <a:cubicBezTo>
                  <a:pt x="1875880" y="4426697"/>
                  <a:pt x="1870770" y="4425701"/>
                  <a:pt x="1865058" y="4422381"/>
                </a:cubicBezTo>
                <a:cubicBezTo>
                  <a:pt x="1860850" y="4415520"/>
                  <a:pt x="1866261" y="4403124"/>
                  <a:pt x="1872874" y="4403124"/>
                </a:cubicBezTo>
                <a:close/>
                <a:moveTo>
                  <a:pt x="843869" y="4403124"/>
                </a:moveTo>
                <a:cubicBezTo>
                  <a:pt x="864612" y="4409765"/>
                  <a:pt x="862508" y="4424705"/>
                  <a:pt x="850784" y="4426255"/>
                </a:cubicBezTo>
                <a:cubicBezTo>
                  <a:pt x="846575" y="4426697"/>
                  <a:pt x="841766" y="4425701"/>
                  <a:pt x="836054" y="4422381"/>
                </a:cubicBezTo>
                <a:cubicBezTo>
                  <a:pt x="831845" y="4415520"/>
                  <a:pt x="837256" y="4403124"/>
                  <a:pt x="843869" y="4403124"/>
                </a:cubicBezTo>
                <a:close/>
                <a:moveTo>
                  <a:pt x="5509413" y="4402903"/>
                </a:moveTo>
                <a:cubicBezTo>
                  <a:pt x="5510615" y="4406998"/>
                  <a:pt x="5511817" y="4411093"/>
                  <a:pt x="5507608" y="4411867"/>
                </a:cubicBezTo>
                <a:cubicBezTo>
                  <a:pt x="5505504" y="4408990"/>
                  <a:pt x="5503701" y="4409433"/>
                  <a:pt x="5503100" y="4404121"/>
                </a:cubicBezTo>
                <a:cubicBezTo>
                  <a:pt x="5505203" y="4403678"/>
                  <a:pt x="5507308" y="4403235"/>
                  <a:pt x="5509413" y="4402903"/>
                </a:cubicBezTo>
                <a:close/>
                <a:moveTo>
                  <a:pt x="2744959" y="4402903"/>
                </a:moveTo>
                <a:cubicBezTo>
                  <a:pt x="2746161" y="4406998"/>
                  <a:pt x="2747363" y="4411093"/>
                  <a:pt x="2743155" y="4411867"/>
                </a:cubicBezTo>
                <a:cubicBezTo>
                  <a:pt x="2741050" y="4408990"/>
                  <a:pt x="2738946" y="4409433"/>
                  <a:pt x="2738645" y="4404121"/>
                </a:cubicBezTo>
                <a:cubicBezTo>
                  <a:pt x="2740750" y="4403678"/>
                  <a:pt x="2742854" y="4403235"/>
                  <a:pt x="2744959" y="4402903"/>
                </a:cubicBezTo>
                <a:close/>
                <a:moveTo>
                  <a:pt x="1715653" y="4402903"/>
                </a:moveTo>
                <a:cubicBezTo>
                  <a:pt x="1717156" y="4406998"/>
                  <a:pt x="1718359" y="4411093"/>
                  <a:pt x="1714150" y="4411867"/>
                </a:cubicBezTo>
                <a:cubicBezTo>
                  <a:pt x="1712045" y="4408990"/>
                  <a:pt x="1709942" y="4409433"/>
                  <a:pt x="1709340" y="4404121"/>
                </a:cubicBezTo>
                <a:cubicBezTo>
                  <a:pt x="1711444" y="4403678"/>
                  <a:pt x="1713549" y="4403235"/>
                  <a:pt x="1715653" y="4402903"/>
                </a:cubicBezTo>
                <a:close/>
                <a:moveTo>
                  <a:pt x="6109740" y="4402682"/>
                </a:moveTo>
                <a:cubicBezTo>
                  <a:pt x="6111244" y="4402903"/>
                  <a:pt x="6116053" y="4405117"/>
                  <a:pt x="6116053" y="4403678"/>
                </a:cubicBezTo>
                <a:cubicBezTo>
                  <a:pt x="6119360" y="4407551"/>
                  <a:pt x="6122667" y="4412310"/>
                  <a:pt x="6122667" y="4416184"/>
                </a:cubicBezTo>
                <a:cubicBezTo>
                  <a:pt x="6122667" y="4417512"/>
                  <a:pt x="6122366" y="4418508"/>
                  <a:pt x="6121464" y="4419614"/>
                </a:cubicBezTo>
                <a:cubicBezTo>
                  <a:pt x="6119661" y="4422271"/>
                  <a:pt x="6116654" y="4420389"/>
                  <a:pt x="6113649" y="4416848"/>
                </a:cubicBezTo>
                <a:cubicBezTo>
                  <a:pt x="6105832" y="4411203"/>
                  <a:pt x="6104629" y="4406445"/>
                  <a:pt x="6109740" y="4402682"/>
                </a:cubicBezTo>
                <a:close/>
                <a:moveTo>
                  <a:pt x="2315981" y="4402682"/>
                </a:moveTo>
                <a:cubicBezTo>
                  <a:pt x="2317483" y="4402903"/>
                  <a:pt x="2322293" y="4405117"/>
                  <a:pt x="2322594" y="4403678"/>
                </a:cubicBezTo>
                <a:cubicBezTo>
                  <a:pt x="2325900" y="4407551"/>
                  <a:pt x="2329208" y="4412310"/>
                  <a:pt x="2328908" y="4416184"/>
                </a:cubicBezTo>
                <a:cubicBezTo>
                  <a:pt x="2328908" y="4417512"/>
                  <a:pt x="2328606" y="4418508"/>
                  <a:pt x="2327705" y="4419614"/>
                </a:cubicBezTo>
                <a:cubicBezTo>
                  <a:pt x="2325900" y="4422271"/>
                  <a:pt x="2322894" y="4420389"/>
                  <a:pt x="2319888" y="4416848"/>
                </a:cubicBezTo>
                <a:cubicBezTo>
                  <a:pt x="2312374" y="4411203"/>
                  <a:pt x="2310870" y="4406445"/>
                  <a:pt x="2315981" y="4402682"/>
                </a:cubicBezTo>
                <a:close/>
                <a:moveTo>
                  <a:pt x="5838285" y="4401132"/>
                </a:moveTo>
                <a:cubicBezTo>
                  <a:pt x="5846402" y="4401243"/>
                  <a:pt x="5852715" y="4407109"/>
                  <a:pt x="5853617" y="4413860"/>
                </a:cubicBezTo>
                <a:cubicBezTo>
                  <a:pt x="5853917" y="4416073"/>
                  <a:pt x="5853617" y="4418397"/>
                  <a:pt x="5852415" y="4420611"/>
                </a:cubicBezTo>
                <a:cubicBezTo>
                  <a:pt x="5851211" y="4423488"/>
                  <a:pt x="5848205" y="4426365"/>
                  <a:pt x="5843996" y="4428468"/>
                </a:cubicBezTo>
                <a:cubicBezTo>
                  <a:pt x="5839788" y="4429132"/>
                  <a:pt x="5835280" y="4425812"/>
                  <a:pt x="5831672" y="4421496"/>
                </a:cubicBezTo>
                <a:lnTo>
                  <a:pt x="5831672" y="4421275"/>
                </a:lnTo>
                <a:lnTo>
                  <a:pt x="5831371" y="4423045"/>
                </a:lnTo>
                <a:cubicBezTo>
                  <a:pt x="5830770" y="4422271"/>
                  <a:pt x="5830770" y="4421939"/>
                  <a:pt x="5831071" y="4421607"/>
                </a:cubicBezTo>
                <a:lnTo>
                  <a:pt x="5831371" y="4420943"/>
                </a:lnTo>
                <a:lnTo>
                  <a:pt x="5827763" y="4414524"/>
                </a:lnTo>
                <a:cubicBezTo>
                  <a:pt x="5827162" y="4412200"/>
                  <a:pt x="5826861" y="4409875"/>
                  <a:pt x="5827462" y="4408105"/>
                </a:cubicBezTo>
                <a:cubicBezTo>
                  <a:pt x="5831071" y="4405781"/>
                  <a:pt x="5834678" y="4403456"/>
                  <a:pt x="5838285" y="4401132"/>
                </a:cubicBezTo>
                <a:close/>
                <a:moveTo>
                  <a:pt x="2044525" y="4401132"/>
                </a:moveTo>
                <a:cubicBezTo>
                  <a:pt x="2052943" y="4401243"/>
                  <a:pt x="2058955" y="4407109"/>
                  <a:pt x="2059857" y="4413860"/>
                </a:cubicBezTo>
                <a:cubicBezTo>
                  <a:pt x="2060158" y="4416073"/>
                  <a:pt x="2059857" y="4418397"/>
                  <a:pt x="2058955" y="4420611"/>
                </a:cubicBezTo>
                <a:cubicBezTo>
                  <a:pt x="2057452" y="4423488"/>
                  <a:pt x="2054747" y="4426365"/>
                  <a:pt x="2050237" y="4428468"/>
                </a:cubicBezTo>
                <a:cubicBezTo>
                  <a:pt x="2046330" y="4429132"/>
                  <a:pt x="2041519" y="4425812"/>
                  <a:pt x="2037912" y="4421496"/>
                </a:cubicBezTo>
                <a:lnTo>
                  <a:pt x="2037912" y="4423045"/>
                </a:lnTo>
                <a:cubicBezTo>
                  <a:pt x="2037010" y="4422271"/>
                  <a:pt x="2037010" y="4421939"/>
                  <a:pt x="2037311" y="4421607"/>
                </a:cubicBezTo>
                <a:lnTo>
                  <a:pt x="2037612" y="4420943"/>
                </a:lnTo>
                <a:lnTo>
                  <a:pt x="2034304" y="4414524"/>
                </a:lnTo>
                <a:cubicBezTo>
                  <a:pt x="2033403" y="4412200"/>
                  <a:pt x="2033403" y="4409875"/>
                  <a:pt x="2034004" y="4408105"/>
                </a:cubicBezTo>
                <a:cubicBezTo>
                  <a:pt x="2037612" y="4405781"/>
                  <a:pt x="2040918" y="4403456"/>
                  <a:pt x="2044525" y="4401132"/>
                </a:cubicBezTo>
                <a:close/>
                <a:moveTo>
                  <a:pt x="5227435" y="4401022"/>
                </a:moveTo>
                <a:cubicBezTo>
                  <a:pt x="5240362" y="4408769"/>
                  <a:pt x="5255092" y="4413749"/>
                  <a:pt x="5260804" y="4433891"/>
                </a:cubicBezTo>
                <a:cubicBezTo>
                  <a:pt x="5257197" y="4437322"/>
                  <a:pt x="5255994" y="4445512"/>
                  <a:pt x="5248178" y="4443741"/>
                </a:cubicBezTo>
                <a:lnTo>
                  <a:pt x="5246976" y="4439314"/>
                </a:lnTo>
                <a:lnTo>
                  <a:pt x="5239760" y="4447061"/>
                </a:lnTo>
                <a:cubicBezTo>
                  <a:pt x="5235552" y="4443077"/>
                  <a:pt x="5235552" y="4440089"/>
                  <a:pt x="5237056" y="4437101"/>
                </a:cubicBezTo>
                <a:lnTo>
                  <a:pt x="5243068" y="4429354"/>
                </a:lnTo>
                <a:lnTo>
                  <a:pt x="5235854" y="4421496"/>
                </a:lnTo>
                <a:cubicBezTo>
                  <a:pt x="5229840" y="4415630"/>
                  <a:pt x="5224129" y="4409986"/>
                  <a:pt x="5227435" y="4401022"/>
                </a:cubicBezTo>
                <a:close/>
                <a:moveTo>
                  <a:pt x="2462982" y="4401022"/>
                </a:moveTo>
                <a:cubicBezTo>
                  <a:pt x="2475909" y="4408769"/>
                  <a:pt x="2490338" y="4413749"/>
                  <a:pt x="2496350" y="4433891"/>
                </a:cubicBezTo>
                <a:cubicBezTo>
                  <a:pt x="2492442" y="4437322"/>
                  <a:pt x="2491540" y="4445512"/>
                  <a:pt x="2483723" y="4443741"/>
                </a:cubicBezTo>
                <a:lnTo>
                  <a:pt x="2482521" y="4439314"/>
                </a:lnTo>
                <a:lnTo>
                  <a:pt x="2475306" y="4447061"/>
                </a:lnTo>
                <a:cubicBezTo>
                  <a:pt x="2470798" y="4443077"/>
                  <a:pt x="2471098" y="4440089"/>
                  <a:pt x="2472601" y="4437101"/>
                </a:cubicBezTo>
                <a:lnTo>
                  <a:pt x="2478614" y="4429354"/>
                </a:lnTo>
                <a:lnTo>
                  <a:pt x="2471399" y="4421496"/>
                </a:lnTo>
                <a:cubicBezTo>
                  <a:pt x="2465086" y="4415630"/>
                  <a:pt x="2459675" y="4409986"/>
                  <a:pt x="2462982" y="4401022"/>
                </a:cubicBezTo>
                <a:close/>
                <a:moveTo>
                  <a:pt x="1433977" y="4401022"/>
                </a:moveTo>
                <a:cubicBezTo>
                  <a:pt x="1446903" y="4408769"/>
                  <a:pt x="1461333" y="4413749"/>
                  <a:pt x="1467345" y="4433891"/>
                </a:cubicBezTo>
                <a:cubicBezTo>
                  <a:pt x="1463437" y="4437322"/>
                  <a:pt x="1462234" y="4445512"/>
                  <a:pt x="1454720" y="4443741"/>
                </a:cubicBezTo>
                <a:lnTo>
                  <a:pt x="1453216" y="4439314"/>
                </a:lnTo>
                <a:lnTo>
                  <a:pt x="1446001" y="4447061"/>
                </a:lnTo>
                <a:cubicBezTo>
                  <a:pt x="1441793" y="4443077"/>
                  <a:pt x="1441793" y="4440089"/>
                  <a:pt x="1443597" y="4437101"/>
                </a:cubicBezTo>
                <a:lnTo>
                  <a:pt x="1449609" y="4429354"/>
                </a:lnTo>
                <a:lnTo>
                  <a:pt x="1442394" y="4421496"/>
                </a:lnTo>
                <a:cubicBezTo>
                  <a:pt x="1436081" y="4415630"/>
                  <a:pt x="1430670" y="4409986"/>
                  <a:pt x="1433977" y="4401022"/>
                </a:cubicBezTo>
                <a:close/>
                <a:moveTo>
                  <a:pt x="5785678" y="4400358"/>
                </a:moveTo>
                <a:cubicBezTo>
                  <a:pt x="5791690" y="4404674"/>
                  <a:pt x="5797702" y="4403678"/>
                  <a:pt x="5800106" y="4406223"/>
                </a:cubicBezTo>
                <a:cubicBezTo>
                  <a:pt x="5801009" y="4407109"/>
                  <a:pt x="5801309" y="4408326"/>
                  <a:pt x="5801309" y="4410318"/>
                </a:cubicBezTo>
                <a:cubicBezTo>
                  <a:pt x="5795297" y="4413528"/>
                  <a:pt x="5785378" y="4406777"/>
                  <a:pt x="5785678" y="4400358"/>
                </a:cubicBezTo>
                <a:close/>
                <a:moveTo>
                  <a:pt x="1992218" y="4400358"/>
                </a:moveTo>
                <a:cubicBezTo>
                  <a:pt x="1998230" y="4404674"/>
                  <a:pt x="2003942" y="4403678"/>
                  <a:pt x="2006347" y="4406223"/>
                </a:cubicBezTo>
                <a:cubicBezTo>
                  <a:pt x="2007250" y="4407109"/>
                  <a:pt x="2007550" y="4408326"/>
                  <a:pt x="2007550" y="4410318"/>
                </a:cubicBezTo>
                <a:cubicBezTo>
                  <a:pt x="2001538" y="4413528"/>
                  <a:pt x="1991918" y="4406777"/>
                  <a:pt x="1992218" y="4400358"/>
                </a:cubicBezTo>
                <a:close/>
                <a:moveTo>
                  <a:pt x="2087214" y="4398698"/>
                </a:moveTo>
                <a:cubicBezTo>
                  <a:pt x="2088415" y="4401796"/>
                  <a:pt x="2089317" y="4404010"/>
                  <a:pt x="2090821" y="4405781"/>
                </a:cubicBezTo>
                <a:lnTo>
                  <a:pt x="2093226" y="4407994"/>
                </a:lnTo>
                <a:lnTo>
                  <a:pt x="2093226" y="4407109"/>
                </a:lnTo>
                <a:cubicBezTo>
                  <a:pt x="2096232" y="4408437"/>
                  <a:pt x="2100139" y="4408990"/>
                  <a:pt x="2103446" y="4409654"/>
                </a:cubicBezTo>
                <a:lnTo>
                  <a:pt x="2105250" y="4410429"/>
                </a:lnTo>
                <a:lnTo>
                  <a:pt x="2114569" y="4410207"/>
                </a:lnTo>
                <a:cubicBezTo>
                  <a:pt x="2117574" y="4410982"/>
                  <a:pt x="2119980" y="4412974"/>
                  <a:pt x="2121784" y="4417733"/>
                </a:cubicBezTo>
                <a:cubicBezTo>
                  <a:pt x="2121183" y="4426033"/>
                  <a:pt x="2122986" y="4434998"/>
                  <a:pt x="2119379" y="4443520"/>
                </a:cubicBezTo>
                <a:lnTo>
                  <a:pt x="2113367" y="4451156"/>
                </a:lnTo>
                <a:lnTo>
                  <a:pt x="2113967" y="4452816"/>
                </a:lnTo>
                <a:cubicBezTo>
                  <a:pt x="2113967" y="4452816"/>
                  <a:pt x="2114569" y="4454144"/>
                  <a:pt x="2115171" y="4455583"/>
                </a:cubicBezTo>
                <a:lnTo>
                  <a:pt x="2113967" y="4458128"/>
                </a:lnTo>
                <a:lnTo>
                  <a:pt x="2116072" y="4458349"/>
                </a:lnTo>
                <a:cubicBezTo>
                  <a:pt x="2116072" y="4458349"/>
                  <a:pt x="2115772" y="4458349"/>
                  <a:pt x="2119078" y="4461780"/>
                </a:cubicBezTo>
                <a:lnTo>
                  <a:pt x="2119078" y="4463219"/>
                </a:lnTo>
                <a:cubicBezTo>
                  <a:pt x="2118477" y="4463883"/>
                  <a:pt x="2117274" y="4464104"/>
                  <a:pt x="2115471" y="4464104"/>
                </a:cubicBezTo>
                <a:cubicBezTo>
                  <a:pt x="2110360" y="4463883"/>
                  <a:pt x="2101041" y="4461227"/>
                  <a:pt x="2099839" y="4461006"/>
                </a:cubicBezTo>
                <a:lnTo>
                  <a:pt x="2098035" y="4460784"/>
                </a:lnTo>
                <a:lnTo>
                  <a:pt x="2091121" y="4460452"/>
                </a:lnTo>
                <a:cubicBezTo>
                  <a:pt x="2088115" y="4453701"/>
                  <a:pt x="2096532" y="4446950"/>
                  <a:pt x="2100440" y="4442745"/>
                </a:cubicBezTo>
                <a:lnTo>
                  <a:pt x="2106452" y="4447946"/>
                </a:lnTo>
                <a:cubicBezTo>
                  <a:pt x="2106753" y="4444626"/>
                  <a:pt x="2106151" y="4443298"/>
                  <a:pt x="2103746" y="4441195"/>
                </a:cubicBezTo>
                <a:lnTo>
                  <a:pt x="2103746" y="4440753"/>
                </a:lnTo>
                <a:lnTo>
                  <a:pt x="2103145" y="4439867"/>
                </a:lnTo>
                <a:cubicBezTo>
                  <a:pt x="2092925" y="4429575"/>
                  <a:pt x="2082403" y="4423267"/>
                  <a:pt x="2071281" y="4413528"/>
                </a:cubicBezTo>
                <a:cubicBezTo>
                  <a:pt x="2073084" y="4408326"/>
                  <a:pt x="2077293" y="4404010"/>
                  <a:pt x="2087214" y="4398698"/>
                </a:cubicBezTo>
                <a:close/>
                <a:moveTo>
                  <a:pt x="5595388" y="4397812"/>
                </a:moveTo>
                <a:cubicBezTo>
                  <a:pt x="5599596" y="4399362"/>
                  <a:pt x="5601701" y="4402792"/>
                  <a:pt x="5602904" y="4406666"/>
                </a:cubicBezTo>
                <a:lnTo>
                  <a:pt x="5603205" y="4410429"/>
                </a:lnTo>
                <a:lnTo>
                  <a:pt x="5605909" y="4411203"/>
                </a:lnTo>
                <a:cubicBezTo>
                  <a:pt x="5609517" y="4416626"/>
                  <a:pt x="5609818" y="4422603"/>
                  <a:pt x="5607112" y="4426365"/>
                </a:cubicBezTo>
                <a:lnTo>
                  <a:pt x="5602604" y="4429132"/>
                </a:lnTo>
                <a:lnTo>
                  <a:pt x="5602002" y="4430571"/>
                </a:lnTo>
                <a:cubicBezTo>
                  <a:pt x="5601100" y="4431899"/>
                  <a:pt x="5599897" y="4432231"/>
                  <a:pt x="5598094" y="4431235"/>
                </a:cubicBezTo>
                <a:cubicBezTo>
                  <a:pt x="5596290" y="4431124"/>
                  <a:pt x="5595689" y="4430128"/>
                  <a:pt x="5594786" y="4429022"/>
                </a:cubicBezTo>
                <a:lnTo>
                  <a:pt x="5594486" y="4428911"/>
                </a:lnTo>
                <a:lnTo>
                  <a:pt x="5591481" y="4428358"/>
                </a:lnTo>
                <a:lnTo>
                  <a:pt x="5590278" y="4425923"/>
                </a:lnTo>
                <a:lnTo>
                  <a:pt x="5585769" y="4426697"/>
                </a:lnTo>
                <a:cubicBezTo>
                  <a:pt x="5583964" y="4427694"/>
                  <a:pt x="5581861" y="4429243"/>
                  <a:pt x="5579756" y="4430571"/>
                </a:cubicBezTo>
                <a:lnTo>
                  <a:pt x="5578554" y="4431124"/>
                </a:lnTo>
                <a:lnTo>
                  <a:pt x="5576750" y="4436990"/>
                </a:lnTo>
                <a:cubicBezTo>
                  <a:pt x="5574647" y="4436658"/>
                  <a:pt x="5572240" y="4436326"/>
                  <a:pt x="5570137" y="4435994"/>
                </a:cubicBezTo>
                <a:lnTo>
                  <a:pt x="5569536" y="4434002"/>
                </a:lnTo>
                <a:lnTo>
                  <a:pt x="5562922" y="4433780"/>
                </a:lnTo>
                <a:cubicBezTo>
                  <a:pt x="5565327" y="4429907"/>
                  <a:pt x="5556910" y="4424705"/>
                  <a:pt x="5560216" y="4418840"/>
                </a:cubicBezTo>
                <a:cubicBezTo>
                  <a:pt x="5568633" y="4400358"/>
                  <a:pt x="5574346" y="4401686"/>
                  <a:pt x="5586370" y="4402350"/>
                </a:cubicBezTo>
                <a:cubicBezTo>
                  <a:pt x="5584867" y="4402792"/>
                  <a:pt x="5586971" y="4403788"/>
                  <a:pt x="5586971" y="4403788"/>
                </a:cubicBezTo>
                <a:cubicBezTo>
                  <a:pt x="5590879" y="4405559"/>
                  <a:pt x="5589977" y="4396484"/>
                  <a:pt x="5595388" y="4397812"/>
                </a:cubicBezTo>
                <a:close/>
                <a:moveTo>
                  <a:pt x="2830935" y="4397812"/>
                </a:moveTo>
                <a:cubicBezTo>
                  <a:pt x="2835143" y="4399362"/>
                  <a:pt x="2837247" y="4402792"/>
                  <a:pt x="2838149" y="4406666"/>
                </a:cubicBezTo>
                <a:lnTo>
                  <a:pt x="2838750" y="4410429"/>
                </a:lnTo>
                <a:lnTo>
                  <a:pt x="2841455" y="4411203"/>
                </a:lnTo>
                <a:cubicBezTo>
                  <a:pt x="2845063" y="4416626"/>
                  <a:pt x="2845364" y="4422603"/>
                  <a:pt x="2842658" y="4426365"/>
                </a:cubicBezTo>
                <a:lnTo>
                  <a:pt x="2838149" y="4429132"/>
                </a:lnTo>
                <a:lnTo>
                  <a:pt x="2837548" y="4430571"/>
                </a:lnTo>
                <a:cubicBezTo>
                  <a:pt x="2836646" y="4431899"/>
                  <a:pt x="2835443" y="4432231"/>
                  <a:pt x="2833640" y="4431235"/>
                </a:cubicBezTo>
                <a:cubicBezTo>
                  <a:pt x="2831836" y="4431124"/>
                  <a:pt x="2830935" y="4430128"/>
                  <a:pt x="2830333" y="4429022"/>
                </a:cubicBezTo>
                <a:lnTo>
                  <a:pt x="2830032" y="4428911"/>
                </a:lnTo>
                <a:lnTo>
                  <a:pt x="2826726" y="4428358"/>
                </a:lnTo>
                <a:lnTo>
                  <a:pt x="2825824" y="4425923"/>
                </a:lnTo>
                <a:lnTo>
                  <a:pt x="2821314" y="4426697"/>
                </a:lnTo>
                <a:cubicBezTo>
                  <a:pt x="2819510" y="4427694"/>
                  <a:pt x="2817407" y="4429243"/>
                  <a:pt x="2815302" y="4430571"/>
                </a:cubicBezTo>
                <a:lnTo>
                  <a:pt x="2814099" y="4431124"/>
                </a:lnTo>
                <a:lnTo>
                  <a:pt x="2812296" y="4436990"/>
                </a:lnTo>
                <a:cubicBezTo>
                  <a:pt x="2810192" y="4436658"/>
                  <a:pt x="2807787" y="4436326"/>
                  <a:pt x="2805682" y="4435994"/>
                </a:cubicBezTo>
                <a:lnTo>
                  <a:pt x="2805081" y="4434002"/>
                </a:lnTo>
                <a:lnTo>
                  <a:pt x="2798168" y="4433780"/>
                </a:lnTo>
                <a:cubicBezTo>
                  <a:pt x="2800573" y="4429907"/>
                  <a:pt x="2792456" y="4424705"/>
                  <a:pt x="2795762" y="4418840"/>
                </a:cubicBezTo>
                <a:cubicBezTo>
                  <a:pt x="2804180" y="4400358"/>
                  <a:pt x="2809591" y="4401686"/>
                  <a:pt x="2821915" y="4402350"/>
                </a:cubicBezTo>
                <a:cubicBezTo>
                  <a:pt x="2820413" y="4402792"/>
                  <a:pt x="2822216" y="4403788"/>
                  <a:pt x="2822216" y="4403788"/>
                </a:cubicBezTo>
                <a:cubicBezTo>
                  <a:pt x="2826124" y="4405559"/>
                  <a:pt x="2825222" y="4396484"/>
                  <a:pt x="2830935" y="4397812"/>
                </a:cubicBezTo>
                <a:close/>
                <a:moveTo>
                  <a:pt x="1801629" y="4397812"/>
                </a:moveTo>
                <a:cubicBezTo>
                  <a:pt x="1805837" y="4399362"/>
                  <a:pt x="1807942" y="4402792"/>
                  <a:pt x="1809144" y="4406666"/>
                </a:cubicBezTo>
                <a:lnTo>
                  <a:pt x="1809444" y="4410429"/>
                </a:lnTo>
                <a:lnTo>
                  <a:pt x="1812450" y="4411203"/>
                </a:lnTo>
                <a:cubicBezTo>
                  <a:pt x="1816059" y="4416626"/>
                  <a:pt x="1816359" y="4422603"/>
                  <a:pt x="1813654" y="4426365"/>
                </a:cubicBezTo>
                <a:lnTo>
                  <a:pt x="1809144" y="4429132"/>
                </a:lnTo>
                <a:lnTo>
                  <a:pt x="1808543" y="4430571"/>
                </a:lnTo>
                <a:cubicBezTo>
                  <a:pt x="1807642" y="4431899"/>
                  <a:pt x="1806438" y="4432231"/>
                  <a:pt x="1804335" y="4431235"/>
                </a:cubicBezTo>
                <a:cubicBezTo>
                  <a:pt x="1802531" y="4431124"/>
                  <a:pt x="1801930" y="4430128"/>
                  <a:pt x="1801328" y="4429022"/>
                </a:cubicBezTo>
                <a:lnTo>
                  <a:pt x="1801027" y="4428911"/>
                </a:lnTo>
                <a:lnTo>
                  <a:pt x="1797721" y="4428358"/>
                </a:lnTo>
                <a:lnTo>
                  <a:pt x="1796819" y="4425923"/>
                </a:lnTo>
                <a:lnTo>
                  <a:pt x="1792009" y="4426697"/>
                </a:lnTo>
                <a:cubicBezTo>
                  <a:pt x="1790205" y="4427694"/>
                  <a:pt x="1788402" y="4429243"/>
                  <a:pt x="1786297" y="4430571"/>
                </a:cubicBezTo>
                <a:lnTo>
                  <a:pt x="1785096" y="4431124"/>
                </a:lnTo>
                <a:lnTo>
                  <a:pt x="1783291" y="4436990"/>
                </a:lnTo>
                <a:cubicBezTo>
                  <a:pt x="1780886" y="4436658"/>
                  <a:pt x="1778782" y="4436326"/>
                  <a:pt x="1776377" y="4435994"/>
                </a:cubicBezTo>
                <a:lnTo>
                  <a:pt x="1776076" y="4434002"/>
                </a:lnTo>
                <a:lnTo>
                  <a:pt x="1769163" y="4433780"/>
                </a:lnTo>
                <a:cubicBezTo>
                  <a:pt x="1771568" y="4429907"/>
                  <a:pt x="1763150" y="4424705"/>
                  <a:pt x="1766757" y="4418840"/>
                </a:cubicBezTo>
                <a:cubicBezTo>
                  <a:pt x="1775175" y="4400358"/>
                  <a:pt x="1780586" y="4401686"/>
                  <a:pt x="1792610" y="4402350"/>
                </a:cubicBezTo>
                <a:cubicBezTo>
                  <a:pt x="1791108" y="4402792"/>
                  <a:pt x="1793212" y="4403788"/>
                  <a:pt x="1793212" y="4403788"/>
                </a:cubicBezTo>
                <a:cubicBezTo>
                  <a:pt x="1797120" y="4405559"/>
                  <a:pt x="1796218" y="4396484"/>
                  <a:pt x="1801629" y="4397812"/>
                </a:cubicBezTo>
                <a:close/>
                <a:moveTo>
                  <a:pt x="5534664" y="4395709"/>
                </a:moveTo>
                <a:cubicBezTo>
                  <a:pt x="5535867" y="4406666"/>
                  <a:pt x="5535567" y="4416737"/>
                  <a:pt x="5542180" y="4431124"/>
                </a:cubicBezTo>
                <a:cubicBezTo>
                  <a:pt x="5537971" y="4432010"/>
                  <a:pt x="5540676" y="4437101"/>
                  <a:pt x="5534965" y="4436990"/>
                </a:cubicBezTo>
                <a:cubicBezTo>
                  <a:pt x="5523541" y="4430239"/>
                  <a:pt x="5518731" y="4399804"/>
                  <a:pt x="5534664" y="4395709"/>
                </a:cubicBezTo>
                <a:close/>
                <a:moveTo>
                  <a:pt x="1740905" y="4395709"/>
                </a:moveTo>
                <a:cubicBezTo>
                  <a:pt x="1742107" y="4406666"/>
                  <a:pt x="1741806" y="4416737"/>
                  <a:pt x="1748721" y="4431124"/>
                </a:cubicBezTo>
                <a:cubicBezTo>
                  <a:pt x="1744212" y="4432010"/>
                  <a:pt x="1746917" y="4437101"/>
                  <a:pt x="1741205" y="4436990"/>
                </a:cubicBezTo>
                <a:cubicBezTo>
                  <a:pt x="1729782" y="4430239"/>
                  <a:pt x="1724972" y="4399804"/>
                  <a:pt x="1740905" y="4395709"/>
                </a:cubicBezTo>
                <a:close/>
                <a:moveTo>
                  <a:pt x="2778627" y="4393496"/>
                </a:moveTo>
                <a:cubicBezTo>
                  <a:pt x="2784940" y="4395599"/>
                  <a:pt x="2786142" y="4405006"/>
                  <a:pt x="2787345" y="4414302"/>
                </a:cubicBezTo>
                <a:cubicBezTo>
                  <a:pt x="2784039" y="4415409"/>
                  <a:pt x="2781634" y="4417733"/>
                  <a:pt x="2778627" y="4419614"/>
                </a:cubicBezTo>
                <a:lnTo>
                  <a:pt x="2774719" y="4421275"/>
                </a:lnTo>
                <a:lnTo>
                  <a:pt x="2777725" y="4431124"/>
                </a:lnTo>
                <a:cubicBezTo>
                  <a:pt x="2773517" y="4432010"/>
                  <a:pt x="2775922" y="4437101"/>
                  <a:pt x="2770210" y="4436990"/>
                </a:cubicBezTo>
                <a:cubicBezTo>
                  <a:pt x="2761793" y="4431899"/>
                  <a:pt x="2756983" y="4413528"/>
                  <a:pt x="2761793" y="4402903"/>
                </a:cubicBezTo>
                <a:lnTo>
                  <a:pt x="2770210" y="4395709"/>
                </a:lnTo>
                <a:lnTo>
                  <a:pt x="2770511" y="4394049"/>
                </a:lnTo>
                <a:cubicBezTo>
                  <a:pt x="2773817" y="4392943"/>
                  <a:pt x="2776523" y="4392832"/>
                  <a:pt x="2778627" y="4393496"/>
                </a:cubicBezTo>
                <a:close/>
                <a:moveTo>
                  <a:pt x="5397584" y="4391725"/>
                </a:moveTo>
                <a:cubicBezTo>
                  <a:pt x="5411411" y="4410318"/>
                  <a:pt x="5436364" y="4406555"/>
                  <a:pt x="5447787" y="4428911"/>
                </a:cubicBezTo>
                <a:cubicBezTo>
                  <a:pt x="5444179" y="4430460"/>
                  <a:pt x="5438467" y="4430018"/>
                  <a:pt x="5432455" y="4428358"/>
                </a:cubicBezTo>
                <a:lnTo>
                  <a:pt x="5426142" y="4425480"/>
                </a:lnTo>
                <a:lnTo>
                  <a:pt x="5426142" y="4426144"/>
                </a:lnTo>
                <a:cubicBezTo>
                  <a:pt x="5424338" y="4428247"/>
                  <a:pt x="5422835" y="4428800"/>
                  <a:pt x="5421032" y="4428358"/>
                </a:cubicBezTo>
                <a:cubicBezTo>
                  <a:pt x="5418927" y="4427915"/>
                  <a:pt x="5417123" y="4426587"/>
                  <a:pt x="5414719" y="4424705"/>
                </a:cubicBezTo>
                <a:cubicBezTo>
                  <a:pt x="5412314" y="4422935"/>
                  <a:pt x="5411411" y="4420943"/>
                  <a:pt x="5410810" y="4418950"/>
                </a:cubicBezTo>
                <a:lnTo>
                  <a:pt x="5409007" y="4415077"/>
                </a:lnTo>
                <a:lnTo>
                  <a:pt x="5399988" y="4406445"/>
                </a:lnTo>
                <a:cubicBezTo>
                  <a:pt x="5396983" y="4401575"/>
                  <a:pt x="5395480" y="4396595"/>
                  <a:pt x="5397584" y="4391725"/>
                </a:cubicBezTo>
                <a:close/>
                <a:moveTo>
                  <a:pt x="1603824" y="4391725"/>
                </a:moveTo>
                <a:cubicBezTo>
                  <a:pt x="1617652" y="4410318"/>
                  <a:pt x="1642904" y="4406555"/>
                  <a:pt x="1654327" y="4428911"/>
                </a:cubicBezTo>
                <a:cubicBezTo>
                  <a:pt x="1650419" y="4430460"/>
                  <a:pt x="1645008" y="4430018"/>
                  <a:pt x="1638996" y="4428358"/>
                </a:cubicBezTo>
                <a:lnTo>
                  <a:pt x="1632684" y="4425480"/>
                </a:lnTo>
                <a:lnTo>
                  <a:pt x="1632383" y="4426144"/>
                </a:lnTo>
                <a:cubicBezTo>
                  <a:pt x="1630579" y="4428247"/>
                  <a:pt x="1629076" y="4428800"/>
                  <a:pt x="1627272" y="4428358"/>
                </a:cubicBezTo>
                <a:cubicBezTo>
                  <a:pt x="1625469" y="4427915"/>
                  <a:pt x="1623364" y="4426587"/>
                  <a:pt x="1620959" y="4424705"/>
                </a:cubicBezTo>
                <a:cubicBezTo>
                  <a:pt x="1618555" y="4422935"/>
                  <a:pt x="1617652" y="4420943"/>
                  <a:pt x="1617051" y="4418950"/>
                </a:cubicBezTo>
                <a:lnTo>
                  <a:pt x="1615548" y="4415077"/>
                </a:lnTo>
                <a:lnTo>
                  <a:pt x="1606530" y="4406445"/>
                </a:lnTo>
                <a:cubicBezTo>
                  <a:pt x="1603223" y="4401575"/>
                  <a:pt x="1602021" y="4396595"/>
                  <a:pt x="1603824" y="4391725"/>
                </a:cubicBezTo>
                <a:close/>
                <a:moveTo>
                  <a:pt x="5971758" y="4389623"/>
                </a:moveTo>
                <a:cubicBezTo>
                  <a:pt x="5973261" y="4391283"/>
                  <a:pt x="5974765" y="4393053"/>
                  <a:pt x="5974765" y="4391615"/>
                </a:cubicBezTo>
                <a:cubicBezTo>
                  <a:pt x="5976267" y="4393385"/>
                  <a:pt x="5976868" y="4394935"/>
                  <a:pt x="5976868" y="4396484"/>
                </a:cubicBezTo>
                <a:cubicBezTo>
                  <a:pt x="5977169" y="4398034"/>
                  <a:pt x="5976568" y="4399472"/>
                  <a:pt x="5975666" y="4400800"/>
                </a:cubicBezTo>
                <a:cubicBezTo>
                  <a:pt x="5973863" y="4402128"/>
                  <a:pt x="5970856" y="4401575"/>
                  <a:pt x="5966046" y="4399362"/>
                </a:cubicBezTo>
                <a:cubicBezTo>
                  <a:pt x="5964844" y="4396152"/>
                  <a:pt x="5969955" y="4392389"/>
                  <a:pt x="5971758" y="4389623"/>
                </a:cubicBezTo>
                <a:close/>
                <a:moveTo>
                  <a:pt x="6091704" y="4388848"/>
                </a:moveTo>
                <a:cubicBezTo>
                  <a:pt x="6091704" y="4388848"/>
                  <a:pt x="6094710" y="4390951"/>
                  <a:pt x="6094710" y="4390951"/>
                </a:cubicBezTo>
                <a:cubicBezTo>
                  <a:pt x="6097716" y="4394492"/>
                  <a:pt x="6099218" y="4396374"/>
                  <a:pt x="6102225" y="4398366"/>
                </a:cubicBezTo>
                <a:cubicBezTo>
                  <a:pt x="6100421" y="4401243"/>
                  <a:pt x="6098918" y="4401022"/>
                  <a:pt x="6097415" y="4399251"/>
                </a:cubicBezTo>
                <a:cubicBezTo>
                  <a:pt x="6097415" y="4399251"/>
                  <a:pt x="6095913" y="4397480"/>
                  <a:pt x="6094408" y="4395709"/>
                </a:cubicBezTo>
                <a:cubicBezTo>
                  <a:pt x="6092906" y="4393828"/>
                  <a:pt x="6091403" y="4393607"/>
                  <a:pt x="6091403" y="4393607"/>
                </a:cubicBezTo>
                <a:cubicBezTo>
                  <a:pt x="6089900" y="4391836"/>
                  <a:pt x="6089900" y="4390176"/>
                  <a:pt x="6091704" y="4388848"/>
                </a:cubicBezTo>
                <a:close/>
                <a:moveTo>
                  <a:pt x="2162066" y="4387077"/>
                </a:moveTo>
                <a:cubicBezTo>
                  <a:pt x="2171385" y="4390840"/>
                  <a:pt x="2172287" y="4405117"/>
                  <a:pt x="2171385" y="4413085"/>
                </a:cubicBezTo>
                <a:cubicBezTo>
                  <a:pt x="2166876" y="4413970"/>
                  <a:pt x="2166876" y="4417290"/>
                  <a:pt x="2162668" y="4418065"/>
                </a:cubicBezTo>
                <a:cubicBezTo>
                  <a:pt x="2158759" y="4405449"/>
                  <a:pt x="2153348" y="4392057"/>
                  <a:pt x="2162066" y="4387077"/>
                </a:cubicBezTo>
                <a:close/>
                <a:moveTo>
                  <a:pt x="2289526" y="4386856"/>
                </a:moveTo>
                <a:lnTo>
                  <a:pt x="2297943" y="4391504"/>
                </a:lnTo>
                <a:lnTo>
                  <a:pt x="2297943" y="4388848"/>
                </a:lnTo>
                <a:cubicBezTo>
                  <a:pt x="2297943" y="4388848"/>
                  <a:pt x="2301251" y="4390951"/>
                  <a:pt x="2301251" y="4390951"/>
                </a:cubicBezTo>
                <a:cubicBezTo>
                  <a:pt x="2303957" y="4394492"/>
                  <a:pt x="2305459" y="4396374"/>
                  <a:pt x="2308766" y="4398366"/>
                </a:cubicBezTo>
                <a:cubicBezTo>
                  <a:pt x="2306963" y="4401243"/>
                  <a:pt x="2305159" y="4401022"/>
                  <a:pt x="2303655" y="4399251"/>
                </a:cubicBezTo>
                <a:lnTo>
                  <a:pt x="2302453" y="4397591"/>
                </a:lnTo>
                <a:lnTo>
                  <a:pt x="2303355" y="4399915"/>
                </a:lnTo>
                <a:lnTo>
                  <a:pt x="2302453" y="4401907"/>
                </a:lnTo>
                <a:lnTo>
                  <a:pt x="2303957" y="4402792"/>
                </a:lnTo>
                <a:cubicBezTo>
                  <a:pt x="2306361" y="4405117"/>
                  <a:pt x="2308165" y="4408990"/>
                  <a:pt x="2310870" y="4411978"/>
                </a:cubicBezTo>
                <a:cubicBezTo>
                  <a:pt x="2306060" y="4414192"/>
                  <a:pt x="2302453" y="4414302"/>
                  <a:pt x="2299747" y="4412532"/>
                </a:cubicBezTo>
                <a:lnTo>
                  <a:pt x="2297042" y="4407994"/>
                </a:lnTo>
                <a:lnTo>
                  <a:pt x="2293134" y="4409875"/>
                </a:lnTo>
                <a:cubicBezTo>
                  <a:pt x="2288925" y="4410539"/>
                  <a:pt x="2284115" y="4409654"/>
                  <a:pt x="2279006" y="4406445"/>
                </a:cubicBezTo>
                <a:cubicBezTo>
                  <a:pt x="2275999" y="4399694"/>
                  <a:pt x="2282913" y="4387077"/>
                  <a:pt x="2289526" y="4386856"/>
                </a:cubicBezTo>
                <a:close/>
                <a:moveTo>
                  <a:pt x="1260523" y="4386856"/>
                </a:moveTo>
                <a:cubicBezTo>
                  <a:pt x="1270442" y="4389844"/>
                  <a:pt x="1274351" y="4395156"/>
                  <a:pt x="1274351" y="4399915"/>
                </a:cubicBezTo>
                <a:lnTo>
                  <a:pt x="1273448" y="4401907"/>
                </a:lnTo>
                <a:lnTo>
                  <a:pt x="1274952" y="4402792"/>
                </a:lnTo>
                <a:cubicBezTo>
                  <a:pt x="1277357" y="4405117"/>
                  <a:pt x="1279160" y="4408990"/>
                  <a:pt x="1281865" y="4411978"/>
                </a:cubicBezTo>
                <a:cubicBezTo>
                  <a:pt x="1277055" y="4414192"/>
                  <a:pt x="1273448" y="4414302"/>
                  <a:pt x="1270743" y="4412532"/>
                </a:cubicBezTo>
                <a:lnTo>
                  <a:pt x="1268037" y="4407994"/>
                </a:lnTo>
                <a:lnTo>
                  <a:pt x="1263829" y="4409875"/>
                </a:lnTo>
                <a:cubicBezTo>
                  <a:pt x="1259920" y="4410539"/>
                  <a:pt x="1255111" y="4409654"/>
                  <a:pt x="1249700" y="4406445"/>
                </a:cubicBezTo>
                <a:cubicBezTo>
                  <a:pt x="1246694" y="4399694"/>
                  <a:pt x="1253908" y="4387077"/>
                  <a:pt x="1260523" y="4386856"/>
                </a:cubicBezTo>
                <a:close/>
                <a:moveTo>
                  <a:pt x="2109157" y="4386081"/>
                </a:moveTo>
                <a:cubicBezTo>
                  <a:pt x="2112465" y="4397591"/>
                  <a:pt x="2108857" y="4399694"/>
                  <a:pt x="2104649" y="4398144"/>
                </a:cubicBezTo>
                <a:cubicBezTo>
                  <a:pt x="2097734" y="4395599"/>
                  <a:pt x="2089617" y="4382761"/>
                  <a:pt x="2109157" y="4386081"/>
                </a:cubicBezTo>
                <a:close/>
                <a:moveTo>
                  <a:pt x="1080154" y="4386081"/>
                </a:moveTo>
                <a:cubicBezTo>
                  <a:pt x="1083460" y="4397591"/>
                  <a:pt x="1079852" y="4399694"/>
                  <a:pt x="1075644" y="4398144"/>
                </a:cubicBezTo>
                <a:cubicBezTo>
                  <a:pt x="1068729" y="4395599"/>
                  <a:pt x="1060614" y="4382761"/>
                  <a:pt x="1080154" y="4386081"/>
                </a:cubicBezTo>
                <a:close/>
                <a:moveTo>
                  <a:pt x="6049016" y="4385417"/>
                </a:moveTo>
                <a:cubicBezTo>
                  <a:pt x="6051120" y="4385860"/>
                  <a:pt x="6051722" y="4387188"/>
                  <a:pt x="6052624" y="4388405"/>
                </a:cubicBezTo>
                <a:lnTo>
                  <a:pt x="6052624" y="4397812"/>
                </a:lnTo>
                <a:lnTo>
                  <a:pt x="6056832" y="4397702"/>
                </a:lnTo>
                <a:cubicBezTo>
                  <a:pt x="6059838" y="4398366"/>
                  <a:pt x="6061943" y="4399694"/>
                  <a:pt x="6063146" y="4401132"/>
                </a:cubicBezTo>
                <a:lnTo>
                  <a:pt x="6064047" y="4402903"/>
                </a:lnTo>
                <a:lnTo>
                  <a:pt x="6065550" y="4401907"/>
                </a:lnTo>
                <a:cubicBezTo>
                  <a:pt x="6067354" y="4402018"/>
                  <a:pt x="6069158" y="4403346"/>
                  <a:pt x="6071562" y="4406223"/>
                </a:cubicBezTo>
                <a:lnTo>
                  <a:pt x="6067354" y="4409986"/>
                </a:lnTo>
                <a:lnTo>
                  <a:pt x="6068557" y="4411535"/>
                </a:lnTo>
                <a:lnTo>
                  <a:pt x="6069759" y="4411535"/>
                </a:lnTo>
                <a:cubicBezTo>
                  <a:pt x="6070360" y="4412974"/>
                  <a:pt x="6073065" y="4415077"/>
                  <a:pt x="6075170" y="4415741"/>
                </a:cubicBezTo>
                <a:cubicBezTo>
                  <a:pt x="6073667" y="4416405"/>
                  <a:pt x="6072163" y="4417069"/>
                  <a:pt x="6072765" y="4418397"/>
                </a:cubicBezTo>
                <a:cubicBezTo>
                  <a:pt x="6070660" y="4417733"/>
                  <a:pt x="6069458" y="4417069"/>
                  <a:pt x="6068557" y="4416405"/>
                </a:cubicBezTo>
                <a:lnTo>
                  <a:pt x="6067955" y="4416073"/>
                </a:lnTo>
                <a:lnTo>
                  <a:pt x="6066151" y="4416184"/>
                </a:lnTo>
                <a:lnTo>
                  <a:pt x="6064949" y="4415741"/>
                </a:lnTo>
                <a:lnTo>
                  <a:pt x="6064648" y="4415630"/>
                </a:lnTo>
                <a:cubicBezTo>
                  <a:pt x="6064648" y="4415630"/>
                  <a:pt x="6064648" y="4415630"/>
                  <a:pt x="6062845" y="4419725"/>
                </a:cubicBezTo>
                <a:cubicBezTo>
                  <a:pt x="6062845" y="4419725"/>
                  <a:pt x="6057734" y="4428579"/>
                  <a:pt x="6048114" y="4426476"/>
                </a:cubicBezTo>
                <a:cubicBezTo>
                  <a:pt x="6049016" y="4424373"/>
                  <a:pt x="6036691" y="4420057"/>
                  <a:pt x="6037292" y="4413196"/>
                </a:cubicBezTo>
                <a:cubicBezTo>
                  <a:pt x="6037592" y="4409875"/>
                  <a:pt x="6038494" y="4407773"/>
                  <a:pt x="6038794" y="4404342"/>
                </a:cubicBezTo>
                <a:lnTo>
                  <a:pt x="6042403" y="4401796"/>
                </a:lnTo>
                <a:lnTo>
                  <a:pt x="6042102" y="4392832"/>
                </a:lnTo>
                <a:cubicBezTo>
                  <a:pt x="6042703" y="4390729"/>
                  <a:pt x="6046912" y="4384974"/>
                  <a:pt x="6049016" y="4385417"/>
                </a:cubicBezTo>
                <a:close/>
                <a:moveTo>
                  <a:pt x="6107637" y="4385085"/>
                </a:moveTo>
                <a:cubicBezTo>
                  <a:pt x="6108538" y="4385085"/>
                  <a:pt x="6109440" y="4385085"/>
                  <a:pt x="6109440" y="4385860"/>
                </a:cubicBezTo>
                <a:cubicBezTo>
                  <a:pt x="6110942" y="4386081"/>
                  <a:pt x="6110642" y="4388959"/>
                  <a:pt x="6110642" y="4388959"/>
                </a:cubicBezTo>
                <a:cubicBezTo>
                  <a:pt x="6112446" y="4389291"/>
                  <a:pt x="6113949" y="4389512"/>
                  <a:pt x="6115752" y="4391283"/>
                </a:cubicBezTo>
                <a:cubicBezTo>
                  <a:pt x="6113949" y="4392500"/>
                  <a:pt x="6115452" y="4392721"/>
                  <a:pt x="6115452" y="4394160"/>
                </a:cubicBezTo>
                <a:cubicBezTo>
                  <a:pt x="6113949" y="4392500"/>
                  <a:pt x="6108839" y="4391725"/>
                  <a:pt x="6105832" y="4389844"/>
                </a:cubicBezTo>
                <a:cubicBezTo>
                  <a:pt x="6105832" y="4388295"/>
                  <a:pt x="6104329" y="4386634"/>
                  <a:pt x="6104329" y="4385196"/>
                </a:cubicBezTo>
                <a:cubicBezTo>
                  <a:pt x="6105230" y="4385306"/>
                  <a:pt x="6106433" y="4385085"/>
                  <a:pt x="6107637" y="4385085"/>
                </a:cubicBezTo>
                <a:close/>
                <a:moveTo>
                  <a:pt x="2313876" y="4385085"/>
                </a:moveTo>
                <a:cubicBezTo>
                  <a:pt x="2315079" y="4385085"/>
                  <a:pt x="2315680" y="4385085"/>
                  <a:pt x="2315680" y="4385860"/>
                </a:cubicBezTo>
                <a:cubicBezTo>
                  <a:pt x="2317183" y="4386081"/>
                  <a:pt x="2317183" y="4388959"/>
                  <a:pt x="2317183" y="4388959"/>
                </a:cubicBezTo>
                <a:cubicBezTo>
                  <a:pt x="2318686" y="4389291"/>
                  <a:pt x="2320490" y="4389512"/>
                  <a:pt x="2321993" y="4391283"/>
                </a:cubicBezTo>
                <a:cubicBezTo>
                  <a:pt x="2320189" y="4392500"/>
                  <a:pt x="2321993" y="4392721"/>
                  <a:pt x="2321692" y="4394160"/>
                </a:cubicBezTo>
                <a:cubicBezTo>
                  <a:pt x="2320189" y="4392500"/>
                  <a:pt x="2315380" y="4391725"/>
                  <a:pt x="2312073" y="4389844"/>
                </a:cubicBezTo>
                <a:cubicBezTo>
                  <a:pt x="2312073" y="4388295"/>
                  <a:pt x="2310570" y="4386634"/>
                  <a:pt x="2310870" y="4385196"/>
                </a:cubicBezTo>
                <a:cubicBezTo>
                  <a:pt x="2311471" y="4385306"/>
                  <a:pt x="2312975" y="4385085"/>
                  <a:pt x="2313876" y="4385085"/>
                </a:cubicBezTo>
                <a:close/>
                <a:moveTo>
                  <a:pt x="756692" y="4384421"/>
                </a:moveTo>
                <a:cubicBezTo>
                  <a:pt x="759097" y="4383978"/>
                  <a:pt x="762403" y="4384974"/>
                  <a:pt x="765710" y="4387298"/>
                </a:cubicBezTo>
                <a:cubicBezTo>
                  <a:pt x="765409" y="4390619"/>
                  <a:pt x="764808" y="4393939"/>
                  <a:pt x="762403" y="4396152"/>
                </a:cubicBezTo>
                <a:cubicBezTo>
                  <a:pt x="758194" y="4393939"/>
                  <a:pt x="754587" y="4393275"/>
                  <a:pt x="752182" y="4390840"/>
                </a:cubicBezTo>
                <a:cubicBezTo>
                  <a:pt x="752182" y="4386856"/>
                  <a:pt x="753986" y="4384864"/>
                  <a:pt x="756692" y="4384421"/>
                </a:cubicBezTo>
                <a:close/>
                <a:moveTo>
                  <a:pt x="2354159" y="4383646"/>
                </a:moveTo>
                <a:cubicBezTo>
                  <a:pt x="2358367" y="4383536"/>
                  <a:pt x="2362276" y="4384642"/>
                  <a:pt x="2364981" y="4387520"/>
                </a:cubicBezTo>
                <a:cubicBezTo>
                  <a:pt x="2354460" y="4392943"/>
                  <a:pt x="2344238" y="4396816"/>
                  <a:pt x="2332515" y="4408326"/>
                </a:cubicBezTo>
                <a:cubicBezTo>
                  <a:pt x="2330110" y="4405006"/>
                  <a:pt x="2325900" y="4409322"/>
                  <a:pt x="2323797" y="4404453"/>
                </a:cubicBezTo>
                <a:cubicBezTo>
                  <a:pt x="2325299" y="4395267"/>
                  <a:pt x="2341833" y="4383868"/>
                  <a:pt x="2354159" y="4383646"/>
                </a:cubicBezTo>
                <a:close/>
                <a:moveTo>
                  <a:pt x="1325154" y="4383646"/>
                </a:moveTo>
                <a:cubicBezTo>
                  <a:pt x="1329362" y="4383536"/>
                  <a:pt x="1332971" y="4384642"/>
                  <a:pt x="1335676" y="4387520"/>
                </a:cubicBezTo>
                <a:cubicBezTo>
                  <a:pt x="1325154" y="4392943"/>
                  <a:pt x="1314933" y="4396816"/>
                  <a:pt x="1303510" y="4408326"/>
                </a:cubicBezTo>
                <a:cubicBezTo>
                  <a:pt x="1300804" y="4405006"/>
                  <a:pt x="1296897" y="4409322"/>
                  <a:pt x="1294492" y="4404453"/>
                </a:cubicBezTo>
                <a:cubicBezTo>
                  <a:pt x="1296295" y="4395267"/>
                  <a:pt x="1312528" y="4383868"/>
                  <a:pt x="1325154" y="4383646"/>
                </a:cubicBezTo>
                <a:close/>
                <a:moveTo>
                  <a:pt x="5250883" y="4378998"/>
                </a:moveTo>
                <a:cubicBezTo>
                  <a:pt x="5255693" y="4379994"/>
                  <a:pt x="5262908" y="4387520"/>
                  <a:pt x="5262307" y="4391836"/>
                </a:cubicBezTo>
                <a:cubicBezTo>
                  <a:pt x="5260503" y="4392943"/>
                  <a:pt x="5258700" y="4394049"/>
                  <a:pt x="5256896" y="4395267"/>
                </a:cubicBezTo>
                <a:cubicBezTo>
                  <a:pt x="5249080" y="4392057"/>
                  <a:pt x="5243669" y="4384864"/>
                  <a:pt x="5250883" y="4378998"/>
                </a:cubicBezTo>
                <a:close/>
                <a:moveTo>
                  <a:pt x="2486429" y="4378998"/>
                </a:moveTo>
                <a:cubicBezTo>
                  <a:pt x="2491239" y="4379994"/>
                  <a:pt x="2498154" y="4387520"/>
                  <a:pt x="2497552" y="4391836"/>
                </a:cubicBezTo>
                <a:cubicBezTo>
                  <a:pt x="2495749" y="4392943"/>
                  <a:pt x="2493945" y="4394049"/>
                  <a:pt x="2492141" y="4395267"/>
                </a:cubicBezTo>
                <a:cubicBezTo>
                  <a:pt x="2484626" y="4392057"/>
                  <a:pt x="2479215" y="4384864"/>
                  <a:pt x="2486429" y="4378998"/>
                </a:cubicBezTo>
                <a:close/>
                <a:moveTo>
                  <a:pt x="1457425" y="4378998"/>
                </a:moveTo>
                <a:cubicBezTo>
                  <a:pt x="1462234" y="4379994"/>
                  <a:pt x="1469149" y="4387520"/>
                  <a:pt x="1468548" y="4391836"/>
                </a:cubicBezTo>
                <a:cubicBezTo>
                  <a:pt x="1466744" y="4392943"/>
                  <a:pt x="1464940" y="4394049"/>
                  <a:pt x="1463137" y="4395267"/>
                </a:cubicBezTo>
                <a:cubicBezTo>
                  <a:pt x="1455621" y="4392057"/>
                  <a:pt x="1449910" y="4384864"/>
                  <a:pt x="1457425" y="4378998"/>
                </a:cubicBezTo>
                <a:close/>
                <a:moveTo>
                  <a:pt x="2181005" y="4377891"/>
                </a:moveTo>
                <a:cubicBezTo>
                  <a:pt x="2181005" y="4377891"/>
                  <a:pt x="2181005" y="4377891"/>
                  <a:pt x="2182508" y="4378113"/>
                </a:cubicBezTo>
                <a:cubicBezTo>
                  <a:pt x="2181606" y="4380990"/>
                  <a:pt x="2181305" y="4384421"/>
                  <a:pt x="2181005" y="4387630"/>
                </a:cubicBezTo>
                <a:lnTo>
                  <a:pt x="2180103" y="4391725"/>
                </a:lnTo>
                <a:lnTo>
                  <a:pt x="2180103" y="4391836"/>
                </a:lnTo>
                <a:cubicBezTo>
                  <a:pt x="2180704" y="4392279"/>
                  <a:pt x="2181005" y="4392389"/>
                  <a:pt x="2181005" y="4391615"/>
                </a:cubicBezTo>
                <a:cubicBezTo>
                  <a:pt x="2182508" y="4393385"/>
                  <a:pt x="2183109" y="4394935"/>
                  <a:pt x="2183410" y="4396484"/>
                </a:cubicBezTo>
                <a:cubicBezTo>
                  <a:pt x="2183410" y="4398034"/>
                  <a:pt x="2182808" y="4399472"/>
                  <a:pt x="2181907" y="4400800"/>
                </a:cubicBezTo>
                <a:cubicBezTo>
                  <a:pt x="2180403" y="4402128"/>
                  <a:pt x="2177097" y="4401575"/>
                  <a:pt x="2172287" y="4399362"/>
                </a:cubicBezTo>
                <a:lnTo>
                  <a:pt x="2173490" y="4396041"/>
                </a:lnTo>
                <a:lnTo>
                  <a:pt x="2172287" y="4395377"/>
                </a:lnTo>
                <a:cubicBezTo>
                  <a:pt x="2168980" y="4393385"/>
                  <a:pt x="2169281" y="4391836"/>
                  <a:pt x="2172587" y="4387630"/>
                </a:cubicBezTo>
                <a:cubicBezTo>
                  <a:pt x="2175894" y="4384974"/>
                  <a:pt x="2177398" y="4382208"/>
                  <a:pt x="2179201" y="4382318"/>
                </a:cubicBezTo>
                <a:cubicBezTo>
                  <a:pt x="2179201" y="4380880"/>
                  <a:pt x="2180704" y="4379330"/>
                  <a:pt x="2181005" y="4377891"/>
                </a:cubicBezTo>
                <a:close/>
                <a:moveTo>
                  <a:pt x="1151699" y="4377891"/>
                </a:moveTo>
                <a:cubicBezTo>
                  <a:pt x="1151699" y="4377891"/>
                  <a:pt x="1151699" y="4377891"/>
                  <a:pt x="1153203" y="4378113"/>
                </a:cubicBezTo>
                <a:cubicBezTo>
                  <a:pt x="1151699" y="4383978"/>
                  <a:pt x="1152902" y="4391725"/>
                  <a:pt x="1149596" y="4396041"/>
                </a:cubicBezTo>
                <a:cubicBezTo>
                  <a:pt x="1148693" y="4396706"/>
                  <a:pt x="1148092" y="4397370"/>
                  <a:pt x="1146890" y="4397480"/>
                </a:cubicBezTo>
                <a:cubicBezTo>
                  <a:pt x="1145988" y="4397591"/>
                  <a:pt x="1144786" y="4397038"/>
                  <a:pt x="1143282" y="4395377"/>
                </a:cubicBezTo>
                <a:cubicBezTo>
                  <a:pt x="1139975" y="4393385"/>
                  <a:pt x="1139975" y="4391836"/>
                  <a:pt x="1143282" y="4387630"/>
                </a:cubicBezTo>
                <a:cubicBezTo>
                  <a:pt x="1146589" y="4384974"/>
                  <a:pt x="1148393" y="4382208"/>
                  <a:pt x="1149896" y="4382318"/>
                </a:cubicBezTo>
                <a:cubicBezTo>
                  <a:pt x="1150197" y="4380880"/>
                  <a:pt x="1151699" y="4379330"/>
                  <a:pt x="1151699" y="4377891"/>
                </a:cubicBezTo>
                <a:close/>
                <a:moveTo>
                  <a:pt x="1141779" y="4374350"/>
                </a:moveTo>
                <a:lnTo>
                  <a:pt x="1134564" y="4388184"/>
                </a:lnTo>
                <a:lnTo>
                  <a:pt x="1138473" y="4391615"/>
                </a:lnTo>
                <a:cubicBezTo>
                  <a:pt x="1142681" y="4397591"/>
                  <a:pt x="1142981" y="4407109"/>
                  <a:pt x="1142080" y="4413085"/>
                </a:cubicBezTo>
                <a:cubicBezTo>
                  <a:pt x="1137871" y="4413970"/>
                  <a:pt x="1137871" y="4417290"/>
                  <a:pt x="1133362" y="4418065"/>
                </a:cubicBezTo>
                <a:cubicBezTo>
                  <a:pt x="1131558" y="4411757"/>
                  <a:pt x="1129153" y="4405338"/>
                  <a:pt x="1128552" y="4399694"/>
                </a:cubicBezTo>
                <a:lnTo>
                  <a:pt x="1128552" y="4399140"/>
                </a:lnTo>
                <a:lnTo>
                  <a:pt x="1121939" y="4411646"/>
                </a:lnTo>
                <a:cubicBezTo>
                  <a:pt x="1115926" y="4423931"/>
                  <a:pt x="1109313" y="4436105"/>
                  <a:pt x="1095785" y="4448389"/>
                </a:cubicBezTo>
                <a:cubicBezTo>
                  <a:pt x="1082859" y="4425923"/>
                  <a:pt x="1113822" y="4366714"/>
                  <a:pt x="1141779" y="4374350"/>
                </a:cubicBezTo>
                <a:close/>
                <a:moveTo>
                  <a:pt x="5714132" y="4373354"/>
                </a:moveTo>
                <a:cubicBezTo>
                  <a:pt x="5717438" y="4378002"/>
                  <a:pt x="5721346" y="4388627"/>
                  <a:pt x="5719843" y="4390065"/>
                </a:cubicBezTo>
                <a:cubicBezTo>
                  <a:pt x="5718039" y="4386966"/>
                  <a:pt x="5712628" y="4376231"/>
                  <a:pt x="5714132" y="4373354"/>
                </a:cubicBezTo>
                <a:close/>
                <a:moveTo>
                  <a:pt x="5166110" y="4373022"/>
                </a:moveTo>
                <a:cubicBezTo>
                  <a:pt x="5167312" y="4372801"/>
                  <a:pt x="5168816" y="4373022"/>
                  <a:pt x="5170620" y="4373686"/>
                </a:cubicBezTo>
                <a:cubicBezTo>
                  <a:pt x="5170319" y="4378445"/>
                  <a:pt x="5171221" y="4383093"/>
                  <a:pt x="5171822" y="4387077"/>
                </a:cubicBezTo>
                <a:lnTo>
                  <a:pt x="5171221" y="4394160"/>
                </a:lnTo>
                <a:lnTo>
                  <a:pt x="5179638" y="4390287"/>
                </a:lnTo>
                <a:cubicBezTo>
                  <a:pt x="5188055" y="4387298"/>
                  <a:pt x="5192565" y="4389180"/>
                  <a:pt x="5194067" y="4393053"/>
                </a:cubicBezTo>
                <a:cubicBezTo>
                  <a:pt x="5197976" y="4401686"/>
                  <a:pt x="5188055" y="4420279"/>
                  <a:pt x="5179638" y="4418840"/>
                </a:cubicBezTo>
                <a:cubicBezTo>
                  <a:pt x="5176331" y="4418286"/>
                  <a:pt x="5173024" y="4414524"/>
                  <a:pt x="5171221" y="4405559"/>
                </a:cubicBezTo>
                <a:lnTo>
                  <a:pt x="5170019" y="4396706"/>
                </a:lnTo>
                <a:lnTo>
                  <a:pt x="5164307" y="4398587"/>
                </a:lnTo>
                <a:cubicBezTo>
                  <a:pt x="5161600" y="4393496"/>
                  <a:pt x="5157392" y="4374239"/>
                  <a:pt x="5166110" y="4373022"/>
                </a:cubicBezTo>
                <a:close/>
                <a:moveTo>
                  <a:pt x="1372651" y="4373022"/>
                </a:moveTo>
                <a:cubicBezTo>
                  <a:pt x="1373853" y="4372801"/>
                  <a:pt x="1375357" y="4373022"/>
                  <a:pt x="1377161" y="4373686"/>
                </a:cubicBezTo>
                <a:cubicBezTo>
                  <a:pt x="1376860" y="4378445"/>
                  <a:pt x="1377762" y="4383093"/>
                  <a:pt x="1378063" y="4387077"/>
                </a:cubicBezTo>
                <a:lnTo>
                  <a:pt x="1377462" y="4394160"/>
                </a:lnTo>
                <a:lnTo>
                  <a:pt x="1385879" y="4390287"/>
                </a:lnTo>
                <a:cubicBezTo>
                  <a:pt x="1394596" y="4387298"/>
                  <a:pt x="1398804" y="4389180"/>
                  <a:pt x="1400609" y="4393053"/>
                </a:cubicBezTo>
                <a:cubicBezTo>
                  <a:pt x="1404216" y="4401686"/>
                  <a:pt x="1394296" y="4420279"/>
                  <a:pt x="1385879" y="4418840"/>
                </a:cubicBezTo>
                <a:cubicBezTo>
                  <a:pt x="1382572" y="4418286"/>
                  <a:pt x="1379265" y="4414524"/>
                  <a:pt x="1377462" y="4405559"/>
                </a:cubicBezTo>
                <a:lnTo>
                  <a:pt x="1376259" y="4396706"/>
                </a:lnTo>
                <a:lnTo>
                  <a:pt x="1370547" y="4398587"/>
                </a:lnTo>
                <a:cubicBezTo>
                  <a:pt x="1367841" y="4393496"/>
                  <a:pt x="1363934" y="4374239"/>
                  <a:pt x="1372651" y="4373022"/>
                </a:cubicBezTo>
                <a:close/>
                <a:moveTo>
                  <a:pt x="6034888" y="4372026"/>
                </a:moveTo>
                <a:cubicBezTo>
                  <a:pt x="6030679" y="4397702"/>
                  <a:pt x="6001519" y="4415298"/>
                  <a:pt x="5979875" y="4434666"/>
                </a:cubicBezTo>
                <a:cubicBezTo>
                  <a:pt x="5977469" y="4430018"/>
                  <a:pt x="5972359" y="4429464"/>
                  <a:pt x="5969955" y="4421496"/>
                </a:cubicBezTo>
                <a:cubicBezTo>
                  <a:pt x="5994906" y="4405338"/>
                  <a:pt x="6013844" y="4384642"/>
                  <a:pt x="6034888" y="4372026"/>
                </a:cubicBezTo>
                <a:close/>
                <a:moveTo>
                  <a:pt x="6194814" y="4371804"/>
                </a:moveTo>
                <a:cubicBezTo>
                  <a:pt x="6196017" y="4371915"/>
                  <a:pt x="6197219" y="4372247"/>
                  <a:pt x="6198421" y="4373243"/>
                </a:cubicBezTo>
                <a:cubicBezTo>
                  <a:pt x="6198121" y="4374682"/>
                  <a:pt x="6199925" y="4375014"/>
                  <a:pt x="6199925" y="4376453"/>
                </a:cubicBezTo>
                <a:cubicBezTo>
                  <a:pt x="6199925" y="4376453"/>
                  <a:pt x="6200526" y="4378113"/>
                  <a:pt x="6200526" y="4380326"/>
                </a:cubicBezTo>
                <a:lnTo>
                  <a:pt x="6198121" y="4385970"/>
                </a:lnTo>
                <a:lnTo>
                  <a:pt x="6208342" y="4391172"/>
                </a:lnTo>
                <a:cubicBezTo>
                  <a:pt x="6211649" y="4393385"/>
                  <a:pt x="6214955" y="4396263"/>
                  <a:pt x="6218263" y="4399915"/>
                </a:cubicBezTo>
                <a:cubicBezTo>
                  <a:pt x="6204133" y="4407994"/>
                  <a:pt x="6170765" y="4391393"/>
                  <a:pt x="6176777" y="4375014"/>
                </a:cubicBezTo>
                <a:lnTo>
                  <a:pt x="6184293" y="4379330"/>
                </a:lnTo>
                <a:lnTo>
                  <a:pt x="6185496" y="4375789"/>
                </a:lnTo>
                <a:cubicBezTo>
                  <a:pt x="6187900" y="4373907"/>
                  <a:pt x="6191508" y="4371362"/>
                  <a:pt x="6194814" y="4371804"/>
                </a:cubicBezTo>
                <a:close/>
                <a:moveTo>
                  <a:pt x="5811531" y="4371694"/>
                </a:moveTo>
                <a:cubicBezTo>
                  <a:pt x="5813635" y="4372579"/>
                  <a:pt x="5815138" y="4374350"/>
                  <a:pt x="5816039" y="4376563"/>
                </a:cubicBezTo>
                <a:cubicBezTo>
                  <a:pt x="5816941" y="4378887"/>
                  <a:pt x="5816941" y="4381544"/>
                  <a:pt x="5815138" y="4384532"/>
                </a:cubicBezTo>
                <a:cubicBezTo>
                  <a:pt x="5813335" y="4389844"/>
                  <a:pt x="5807021" y="4391947"/>
                  <a:pt x="5803714" y="4397812"/>
                </a:cubicBezTo>
                <a:cubicBezTo>
                  <a:pt x="5796199" y="4395599"/>
                  <a:pt x="5794395" y="4394603"/>
                  <a:pt x="5795598" y="4386413"/>
                </a:cubicBezTo>
                <a:cubicBezTo>
                  <a:pt x="5795598" y="4386413"/>
                  <a:pt x="5796500" y="4384532"/>
                  <a:pt x="5796500" y="4384532"/>
                </a:cubicBezTo>
                <a:cubicBezTo>
                  <a:pt x="5799505" y="4377227"/>
                  <a:pt x="5808224" y="4371251"/>
                  <a:pt x="5811531" y="4371694"/>
                </a:cubicBezTo>
                <a:close/>
                <a:moveTo>
                  <a:pt x="2018072" y="4371694"/>
                </a:moveTo>
                <a:cubicBezTo>
                  <a:pt x="2019875" y="4372579"/>
                  <a:pt x="2021679" y="4374350"/>
                  <a:pt x="2022581" y="4376563"/>
                </a:cubicBezTo>
                <a:cubicBezTo>
                  <a:pt x="2023483" y="4378887"/>
                  <a:pt x="2023182" y="4381544"/>
                  <a:pt x="2021679" y="4384532"/>
                </a:cubicBezTo>
                <a:cubicBezTo>
                  <a:pt x="2019574" y="4389844"/>
                  <a:pt x="2013562" y="4391947"/>
                  <a:pt x="2010256" y="4397812"/>
                </a:cubicBezTo>
                <a:cubicBezTo>
                  <a:pt x="2002740" y="4395599"/>
                  <a:pt x="2000636" y="4394603"/>
                  <a:pt x="2001839" y="4386413"/>
                </a:cubicBezTo>
                <a:cubicBezTo>
                  <a:pt x="2001839" y="4386413"/>
                  <a:pt x="2003041" y="4384532"/>
                  <a:pt x="2003041" y="4384532"/>
                </a:cubicBezTo>
                <a:cubicBezTo>
                  <a:pt x="2006047" y="4377227"/>
                  <a:pt x="2014464" y="4371251"/>
                  <a:pt x="2018072" y="4371694"/>
                </a:cubicBezTo>
                <a:close/>
                <a:moveTo>
                  <a:pt x="1176049" y="4370808"/>
                </a:moveTo>
                <a:cubicBezTo>
                  <a:pt x="1178755" y="4370366"/>
                  <a:pt x="1182061" y="4371362"/>
                  <a:pt x="1184767" y="4373575"/>
                </a:cubicBezTo>
                <a:cubicBezTo>
                  <a:pt x="1183865" y="4376895"/>
                  <a:pt x="1182964" y="4380215"/>
                  <a:pt x="1179957" y="4382429"/>
                </a:cubicBezTo>
                <a:cubicBezTo>
                  <a:pt x="1176350" y="4380437"/>
                  <a:pt x="1173043" y="4379883"/>
                  <a:pt x="1170638" y="4377449"/>
                </a:cubicBezTo>
                <a:cubicBezTo>
                  <a:pt x="1171540" y="4373354"/>
                  <a:pt x="1173644" y="4371362"/>
                  <a:pt x="1176049" y="4370808"/>
                </a:cubicBezTo>
                <a:close/>
                <a:moveTo>
                  <a:pt x="808698" y="4370144"/>
                </a:moveTo>
                <a:cubicBezTo>
                  <a:pt x="813207" y="4370034"/>
                  <a:pt x="817416" y="4371030"/>
                  <a:pt x="821624" y="4373243"/>
                </a:cubicBezTo>
                <a:cubicBezTo>
                  <a:pt x="840563" y="4386524"/>
                  <a:pt x="829140" y="4407330"/>
                  <a:pt x="811103" y="4411425"/>
                </a:cubicBezTo>
                <a:cubicBezTo>
                  <a:pt x="800582" y="4413970"/>
                  <a:pt x="787354" y="4410429"/>
                  <a:pt x="777133" y="4395599"/>
                </a:cubicBezTo>
                <a:cubicBezTo>
                  <a:pt x="782845" y="4380880"/>
                  <a:pt x="795771" y="4370587"/>
                  <a:pt x="808698" y="4370144"/>
                </a:cubicBezTo>
                <a:close/>
                <a:moveTo>
                  <a:pt x="5152582" y="4369480"/>
                </a:moveTo>
                <a:cubicBezTo>
                  <a:pt x="5159497" y="4380548"/>
                  <a:pt x="5147773" y="4389623"/>
                  <a:pt x="5140558" y="4385860"/>
                </a:cubicBezTo>
                <a:cubicBezTo>
                  <a:pt x="5138153" y="4384642"/>
                  <a:pt x="5136350" y="4381986"/>
                  <a:pt x="5136050" y="4377449"/>
                </a:cubicBezTo>
                <a:cubicBezTo>
                  <a:pt x="5139956" y="4370587"/>
                  <a:pt x="5147473" y="4372358"/>
                  <a:pt x="5152582" y="4369480"/>
                </a:cubicBezTo>
                <a:close/>
                <a:moveTo>
                  <a:pt x="1359124" y="4369480"/>
                </a:moveTo>
                <a:cubicBezTo>
                  <a:pt x="1366038" y="4380548"/>
                  <a:pt x="1354013" y="4389623"/>
                  <a:pt x="1346799" y="4385860"/>
                </a:cubicBezTo>
                <a:cubicBezTo>
                  <a:pt x="1344394" y="4384642"/>
                  <a:pt x="1342590" y="4381986"/>
                  <a:pt x="1342289" y="4377449"/>
                </a:cubicBezTo>
                <a:cubicBezTo>
                  <a:pt x="1346197" y="4370587"/>
                  <a:pt x="1354013" y="4372358"/>
                  <a:pt x="1359124" y="4369480"/>
                </a:cubicBezTo>
                <a:close/>
                <a:moveTo>
                  <a:pt x="5799806" y="4369370"/>
                </a:moveTo>
                <a:cubicBezTo>
                  <a:pt x="5801911" y="4370144"/>
                  <a:pt x="5803113" y="4372911"/>
                  <a:pt x="5803714" y="4374350"/>
                </a:cubicBezTo>
                <a:cubicBezTo>
                  <a:pt x="5802212" y="4375014"/>
                  <a:pt x="5802813" y="4376453"/>
                  <a:pt x="5801309" y="4377227"/>
                </a:cubicBezTo>
                <a:cubicBezTo>
                  <a:pt x="5798904" y="4379994"/>
                  <a:pt x="5798904" y="4379994"/>
                  <a:pt x="5796801" y="4379330"/>
                </a:cubicBezTo>
                <a:cubicBezTo>
                  <a:pt x="5794695" y="4378555"/>
                  <a:pt x="5794395" y="4373575"/>
                  <a:pt x="5792291" y="4372911"/>
                </a:cubicBezTo>
                <a:cubicBezTo>
                  <a:pt x="5792291" y="4372911"/>
                  <a:pt x="5792291" y="4372911"/>
                  <a:pt x="5794695" y="4370034"/>
                </a:cubicBezTo>
                <a:cubicBezTo>
                  <a:pt x="5796199" y="4369370"/>
                  <a:pt x="5797702" y="4368706"/>
                  <a:pt x="5799806" y="4369370"/>
                </a:cubicBezTo>
                <a:close/>
                <a:moveTo>
                  <a:pt x="2006347" y="4369370"/>
                </a:moveTo>
                <a:cubicBezTo>
                  <a:pt x="2008452" y="4370144"/>
                  <a:pt x="2009655" y="4372911"/>
                  <a:pt x="2010256" y="4374350"/>
                </a:cubicBezTo>
                <a:cubicBezTo>
                  <a:pt x="2008752" y="4375014"/>
                  <a:pt x="2009353" y="4376453"/>
                  <a:pt x="2007851" y="4377227"/>
                </a:cubicBezTo>
                <a:cubicBezTo>
                  <a:pt x="2005446" y="4379994"/>
                  <a:pt x="2005446" y="4379994"/>
                  <a:pt x="2003341" y="4379330"/>
                </a:cubicBezTo>
                <a:cubicBezTo>
                  <a:pt x="2001238" y="4378555"/>
                  <a:pt x="2000936" y="4373575"/>
                  <a:pt x="1998833" y="4372911"/>
                </a:cubicBezTo>
                <a:cubicBezTo>
                  <a:pt x="1998833" y="4372911"/>
                  <a:pt x="1998833" y="4372911"/>
                  <a:pt x="2001238" y="4370034"/>
                </a:cubicBezTo>
                <a:cubicBezTo>
                  <a:pt x="2002740" y="4369370"/>
                  <a:pt x="2004244" y="4368706"/>
                  <a:pt x="2006347" y="4369370"/>
                </a:cubicBezTo>
                <a:close/>
                <a:moveTo>
                  <a:pt x="5454700" y="4368927"/>
                </a:moveTo>
                <a:cubicBezTo>
                  <a:pt x="5459510" y="4368263"/>
                  <a:pt x="5467025" y="4372358"/>
                  <a:pt x="5467928" y="4374793"/>
                </a:cubicBezTo>
                <a:cubicBezTo>
                  <a:pt x="5466424" y="4377781"/>
                  <a:pt x="5449590" y="4378666"/>
                  <a:pt x="5451093" y="4371472"/>
                </a:cubicBezTo>
                <a:cubicBezTo>
                  <a:pt x="5451694" y="4369923"/>
                  <a:pt x="5452897" y="4369148"/>
                  <a:pt x="5454700" y="4368927"/>
                </a:cubicBezTo>
                <a:close/>
                <a:moveTo>
                  <a:pt x="2690247" y="4368927"/>
                </a:moveTo>
                <a:cubicBezTo>
                  <a:pt x="2695057" y="4368263"/>
                  <a:pt x="2702571" y="4372358"/>
                  <a:pt x="2703172" y="4374793"/>
                </a:cubicBezTo>
                <a:cubicBezTo>
                  <a:pt x="2701670" y="4377781"/>
                  <a:pt x="2684835" y="4378666"/>
                  <a:pt x="2686338" y="4371472"/>
                </a:cubicBezTo>
                <a:cubicBezTo>
                  <a:pt x="2687240" y="4369923"/>
                  <a:pt x="2688442" y="4369148"/>
                  <a:pt x="2690247" y="4368927"/>
                </a:cubicBezTo>
                <a:close/>
                <a:moveTo>
                  <a:pt x="1660941" y="4368927"/>
                </a:moveTo>
                <a:cubicBezTo>
                  <a:pt x="1665751" y="4368263"/>
                  <a:pt x="1673266" y="4372358"/>
                  <a:pt x="1674169" y="4374793"/>
                </a:cubicBezTo>
                <a:cubicBezTo>
                  <a:pt x="1672665" y="4377781"/>
                  <a:pt x="1655831" y="4378666"/>
                  <a:pt x="1657334" y="4371472"/>
                </a:cubicBezTo>
                <a:cubicBezTo>
                  <a:pt x="1657935" y="4369923"/>
                  <a:pt x="1659438" y="4369148"/>
                  <a:pt x="1660941" y="4368927"/>
                </a:cubicBezTo>
                <a:close/>
                <a:moveTo>
                  <a:pt x="5526247" y="4368816"/>
                </a:moveTo>
                <a:cubicBezTo>
                  <a:pt x="5539775" y="4367599"/>
                  <a:pt x="5544283" y="4381212"/>
                  <a:pt x="5537670" y="4385638"/>
                </a:cubicBezTo>
                <a:cubicBezTo>
                  <a:pt x="5535265" y="4387077"/>
                  <a:pt x="5531959" y="4387520"/>
                  <a:pt x="5527148" y="4386081"/>
                </a:cubicBezTo>
                <a:cubicBezTo>
                  <a:pt x="5522038" y="4379994"/>
                  <a:pt x="5526848" y="4374239"/>
                  <a:pt x="5526247" y="4368816"/>
                </a:cubicBezTo>
                <a:close/>
                <a:moveTo>
                  <a:pt x="2761793" y="4368816"/>
                </a:moveTo>
                <a:cubicBezTo>
                  <a:pt x="2775320" y="4367599"/>
                  <a:pt x="2779829" y="4381212"/>
                  <a:pt x="2773216" y="4385638"/>
                </a:cubicBezTo>
                <a:cubicBezTo>
                  <a:pt x="2770811" y="4387077"/>
                  <a:pt x="2767505" y="4387520"/>
                  <a:pt x="2762695" y="4386081"/>
                </a:cubicBezTo>
                <a:cubicBezTo>
                  <a:pt x="2757584" y="4379994"/>
                  <a:pt x="2762394" y="4374239"/>
                  <a:pt x="2761793" y="4368816"/>
                </a:cubicBezTo>
                <a:close/>
                <a:moveTo>
                  <a:pt x="1732488" y="4368816"/>
                </a:moveTo>
                <a:cubicBezTo>
                  <a:pt x="1746316" y="4367599"/>
                  <a:pt x="1750524" y="4381212"/>
                  <a:pt x="1743911" y="4385638"/>
                </a:cubicBezTo>
                <a:cubicBezTo>
                  <a:pt x="1741806" y="4387077"/>
                  <a:pt x="1738199" y="4387520"/>
                  <a:pt x="1733690" y="4386081"/>
                </a:cubicBezTo>
                <a:cubicBezTo>
                  <a:pt x="1728279" y="4379994"/>
                  <a:pt x="1733389" y="4374239"/>
                  <a:pt x="1732488" y="4368816"/>
                </a:cubicBezTo>
                <a:close/>
                <a:moveTo>
                  <a:pt x="5977770" y="4368706"/>
                </a:moveTo>
                <a:cubicBezTo>
                  <a:pt x="5978372" y="4373354"/>
                  <a:pt x="5984384" y="4376563"/>
                  <a:pt x="5987390" y="4381322"/>
                </a:cubicBezTo>
                <a:lnTo>
                  <a:pt x="5987991" y="4383536"/>
                </a:lnTo>
                <a:lnTo>
                  <a:pt x="5992200" y="4389291"/>
                </a:lnTo>
                <a:cubicBezTo>
                  <a:pt x="5991599" y="4393607"/>
                  <a:pt x="5989795" y="4396263"/>
                  <a:pt x="5984384" y="4398144"/>
                </a:cubicBezTo>
                <a:cubicBezTo>
                  <a:pt x="5978372" y="4393828"/>
                  <a:pt x="5979875" y="4395709"/>
                  <a:pt x="5975967" y="4388737"/>
                </a:cubicBezTo>
                <a:lnTo>
                  <a:pt x="5984384" y="4383536"/>
                </a:lnTo>
                <a:lnTo>
                  <a:pt x="5979273" y="4377006"/>
                </a:lnTo>
                <a:cubicBezTo>
                  <a:pt x="5977469" y="4373354"/>
                  <a:pt x="5976568" y="4370034"/>
                  <a:pt x="5976267" y="4369370"/>
                </a:cubicBezTo>
                <a:cubicBezTo>
                  <a:pt x="5977770" y="4368706"/>
                  <a:pt x="5977770" y="4368706"/>
                  <a:pt x="5977770" y="4368706"/>
                </a:cubicBezTo>
                <a:close/>
                <a:moveTo>
                  <a:pt x="2184010" y="4368706"/>
                </a:moveTo>
                <a:cubicBezTo>
                  <a:pt x="2184613" y="4373354"/>
                  <a:pt x="2190625" y="4376563"/>
                  <a:pt x="2193631" y="4381322"/>
                </a:cubicBezTo>
                <a:lnTo>
                  <a:pt x="2194232" y="4383536"/>
                </a:lnTo>
                <a:lnTo>
                  <a:pt x="2198742" y="4389291"/>
                </a:lnTo>
                <a:cubicBezTo>
                  <a:pt x="2198139" y="4393607"/>
                  <a:pt x="2196036" y="4396263"/>
                  <a:pt x="2190625" y="4398144"/>
                </a:cubicBezTo>
                <a:cubicBezTo>
                  <a:pt x="2184613" y="4393828"/>
                  <a:pt x="2186115" y="4395709"/>
                  <a:pt x="2182208" y="4388737"/>
                </a:cubicBezTo>
                <a:lnTo>
                  <a:pt x="2190625" y="4383536"/>
                </a:lnTo>
                <a:lnTo>
                  <a:pt x="2185815" y="4377006"/>
                </a:lnTo>
                <a:cubicBezTo>
                  <a:pt x="2184010" y="4373354"/>
                  <a:pt x="2183109" y="4370034"/>
                  <a:pt x="2182808" y="4369370"/>
                </a:cubicBezTo>
                <a:cubicBezTo>
                  <a:pt x="2184010" y="4368706"/>
                  <a:pt x="2184010" y="4368706"/>
                  <a:pt x="2184010" y="4368706"/>
                </a:cubicBezTo>
                <a:close/>
                <a:moveTo>
                  <a:pt x="6182789" y="4367488"/>
                </a:moveTo>
                <a:cubicBezTo>
                  <a:pt x="6183992" y="4367267"/>
                  <a:pt x="6185195" y="4367378"/>
                  <a:pt x="6186097" y="4368263"/>
                </a:cubicBezTo>
                <a:cubicBezTo>
                  <a:pt x="6187599" y="4369259"/>
                  <a:pt x="6187299" y="4370034"/>
                  <a:pt x="6186698" y="4370808"/>
                </a:cubicBezTo>
                <a:cubicBezTo>
                  <a:pt x="6186097" y="4371694"/>
                  <a:pt x="6184895" y="4372690"/>
                  <a:pt x="6183992" y="4374129"/>
                </a:cubicBezTo>
                <a:lnTo>
                  <a:pt x="6179784" y="4368816"/>
                </a:lnTo>
                <a:cubicBezTo>
                  <a:pt x="6180686" y="4368152"/>
                  <a:pt x="6181587" y="4367710"/>
                  <a:pt x="6182789" y="4367488"/>
                </a:cubicBezTo>
                <a:close/>
                <a:moveTo>
                  <a:pt x="2389330" y="4367488"/>
                </a:moveTo>
                <a:cubicBezTo>
                  <a:pt x="2390534" y="4367267"/>
                  <a:pt x="2391435" y="4367378"/>
                  <a:pt x="2392336" y="4368263"/>
                </a:cubicBezTo>
                <a:cubicBezTo>
                  <a:pt x="2393840" y="4369259"/>
                  <a:pt x="2393840" y="4370034"/>
                  <a:pt x="2392939" y="4370808"/>
                </a:cubicBezTo>
                <a:cubicBezTo>
                  <a:pt x="2392336" y="4371694"/>
                  <a:pt x="2391134" y="4372690"/>
                  <a:pt x="2390233" y="4374129"/>
                </a:cubicBezTo>
                <a:lnTo>
                  <a:pt x="2388128" y="4371472"/>
                </a:lnTo>
                <a:lnTo>
                  <a:pt x="2387828" y="4377670"/>
                </a:lnTo>
                <a:lnTo>
                  <a:pt x="2390534" y="4379330"/>
                </a:lnTo>
                <a:lnTo>
                  <a:pt x="2391735" y="4375789"/>
                </a:lnTo>
                <a:cubicBezTo>
                  <a:pt x="2394141" y="4373907"/>
                  <a:pt x="2397748" y="4371362"/>
                  <a:pt x="2401356" y="4371804"/>
                </a:cubicBezTo>
                <a:cubicBezTo>
                  <a:pt x="2402558" y="4371915"/>
                  <a:pt x="2403459" y="4372247"/>
                  <a:pt x="2404662" y="4373243"/>
                </a:cubicBezTo>
                <a:lnTo>
                  <a:pt x="2404963" y="4373465"/>
                </a:lnTo>
                <a:lnTo>
                  <a:pt x="2406165" y="4373686"/>
                </a:lnTo>
                <a:lnTo>
                  <a:pt x="2406767" y="4379330"/>
                </a:lnTo>
                <a:lnTo>
                  <a:pt x="2406767" y="4380326"/>
                </a:lnTo>
                <a:lnTo>
                  <a:pt x="2406767" y="4380658"/>
                </a:lnTo>
                <a:lnTo>
                  <a:pt x="2407368" y="4387077"/>
                </a:lnTo>
                <a:lnTo>
                  <a:pt x="2407368" y="4387298"/>
                </a:lnTo>
                <a:lnTo>
                  <a:pt x="2413981" y="4390840"/>
                </a:lnTo>
                <a:lnTo>
                  <a:pt x="2415184" y="4390287"/>
                </a:lnTo>
                <a:cubicBezTo>
                  <a:pt x="2423601" y="4387298"/>
                  <a:pt x="2428110" y="4389180"/>
                  <a:pt x="2429614" y="4393053"/>
                </a:cubicBezTo>
                <a:cubicBezTo>
                  <a:pt x="2433221" y="4401686"/>
                  <a:pt x="2423301" y="4420279"/>
                  <a:pt x="2414883" y="4418840"/>
                </a:cubicBezTo>
                <a:cubicBezTo>
                  <a:pt x="2411576" y="4418286"/>
                  <a:pt x="2408570" y="4414524"/>
                  <a:pt x="2406466" y="4405559"/>
                </a:cubicBezTo>
                <a:lnTo>
                  <a:pt x="2405864" y="4399804"/>
                </a:lnTo>
                <a:lnTo>
                  <a:pt x="2401055" y="4398144"/>
                </a:lnTo>
                <a:lnTo>
                  <a:pt x="2399852" y="4398587"/>
                </a:lnTo>
                <a:lnTo>
                  <a:pt x="2399552" y="4397702"/>
                </a:lnTo>
                <a:lnTo>
                  <a:pt x="2396546" y="4396706"/>
                </a:lnTo>
                <a:cubicBezTo>
                  <a:pt x="2391735" y="4394049"/>
                  <a:pt x="2387828" y="4390729"/>
                  <a:pt x="2385122" y="4386966"/>
                </a:cubicBezTo>
                <a:lnTo>
                  <a:pt x="2384822" y="4384753"/>
                </a:lnTo>
                <a:lnTo>
                  <a:pt x="2381816" y="4386524"/>
                </a:lnTo>
                <a:cubicBezTo>
                  <a:pt x="2380012" y="4387077"/>
                  <a:pt x="2377907" y="4386856"/>
                  <a:pt x="2376104" y="4385860"/>
                </a:cubicBezTo>
                <a:cubicBezTo>
                  <a:pt x="2373699" y="4384642"/>
                  <a:pt x="2371895" y="4381986"/>
                  <a:pt x="2371294" y="4377449"/>
                </a:cubicBezTo>
                <a:cubicBezTo>
                  <a:pt x="2373399" y="4374018"/>
                  <a:pt x="2376405" y="4372690"/>
                  <a:pt x="2379411" y="4372026"/>
                </a:cubicBezTo>
                <a:lnTo>
                  <a:pt x="2386925" y="4369812"/>
                </a:lnTo>
                <a:lnTo>
                  <a:pt x="2386024" y="4368816"/>
                </a:lnTo>
                <a:cubicBezTo>
                  <a:pt x="2386925" y="4368152"/>
                  <a:pt x="2388128" y="4367710"/>
                  <a:pt x="2389330" y="4367488"/>
                </a:cubicBezTo>
                <a:close/>
                <a:moveTo>
                  <a:pt x="5506105" y="4366492"/>
                </a:moveTo>
                <a:cubicBezTo>
                  <a:pt x="5507910" y="4366714"/>
                  <a:pt x="5509413" y="4368484"/>
                  <a:pt x="5510915" y="4368706"/>
                </a:cubicBezTo>
                <a:cubicBezTo>
                  <a:pt x="5510915" y="4370255"/>
                  <a:pt x="5510615" y="4373354"/>
                  <a:pt x="5508812" y="4374682"/>
                </a:cubicBezTo>
                <a:cubicBezTo>
                  <a:pt x="5508812" y="4376231"/>
                  <a:pt x="5504001" y="4373907"/>
                  <a:pt x="5504001" y="4373907"/>
                </a:cubicBezTo>
                <a:cubicBezTo>
                  <a:pt x="5502499" y="4372136"/>
                  <a:pt x="5506105" y="4368042"/>
                  <a:pt x="5506105" y="4366492"/>
                </a:cubicBezTo>
                <a:close/>
                <a:moveTo>
                  <a:pt x="2741651" y="4366492"/>
                </a:moveTo>
                <a:cubicBezTo>
                  <a:pt x="2743155" y="4366714"/>
                  <a:pt x="2744959" y="4368484"/>
                  <a:pt x="2746461" y="4368706"/>
                </a:cubicBezTo>
                <a:cubicBezTo>
                  <a:pt x="2746461" y="4370255"/>
                  <a:pt x="2746161" y="4373354"/>
                  <a:pt x="2744357" y="4374682"/>
                </a:cubicBezTo>
                <a:cubicBezTo>
                  <a:pt x="2744357" y="4376231"/>
                  <a:pt x="2739548" y="4373907"/>
                  <a:pt x="2739548" y="4373907"/>
                </a:cubicBezTo>
                <a:cubicBezTo>
                  <a:pt x="2738044" y="4372136"/>
                  <a:pt x="2741651" y="4368042"/>
                  <a:pt x="2741651" y="4366492"/>
                </a:cubicBezTo>
                <a:close/>
                <a:moveTo>
                  <a:pt x="1712646" y="4366492"/>
                </a:moveTo>
                <a:cubicBezTo>
                  <a:pt x="1714150" y="4366714"/>
                  <a:pt x="1715653" y="4368484"/>
                  <a:pt x="1717456" y="4368706"/>
                </a:cubicBezTo>
                <a:cubicBezTo>
                  <a:pt x="1717156" y="4370255"/>
                  <a:pt x="1716855" y="4373354"/>
                  <a:pt x="1715352" y="4374682"/>
                </a:cubicBezTo>
                <a:cubicBezTo>
                  <a:pt x="1715051" y="4376231"/>
                  <a:pt x="1710242" y="4373907"/>
                  <a:pt x="1710242" y="4373907"/>
                </a:cubicBezTo>
                <a:cubicBezTo>
                  <a:pt x="1708739" y="4372136"/>
                  <a:pt x="1712346" y="4368042"/>
                  <a:pt x="1712646" y="4366492"/>
                </a:cubicBezTo>
                <a:close/>
                <a:moveTo>
                  <a:pt x="5672947" y="4363725"/>
                </a:moveTo>
                <a:lnTo>
                  <a:pt x="5686174" y="4371362"/>
                </a:lnTo>
                <a:lnTo>
                  <a:pt x="5687376" y="4369259"/>
                </a:lnTo>
                <a:cubicBezTo>
                  <a:pt x="5694590" y="4369148"/>
                  <a:pt x="5700002" y="4373243"/>
                  <a:pt x="5703009" y="4378998"/>
                </a:cubicBezTo>
                <a:lnTo>
                  <a:pt x="5703309" y="4380880"/>
                </a:lnTo>
                <a:lnTo>
                  <a:pt x="5707518" y="4383314"/>
                </a:lnTo>
                <a:lnTo>
                  <a:pt x="5735174" y="4399140"/>
                </a:lnTo>
                <a:lnTo>
                  <a:pt x="5735776" y="4391947"/>
                </a:lnTo>
                <a:cubicBezTo>
                  <a:pt x="5737579" y="4389401"/>
                  <a:pt x="5740887" y="4387630"/>
                  <a:pt x="5746297" y="4387852"/>
                </a:cubicBezTo>
                <a:cubicBezTo>
                  <a:pt x="5749002" y="4397480"/>
                  <a:pt x="5751107" y="4403899"/>
                  <a:pt x="5750806" y="4409101"/>
                </a:cubicBezTo>
                <a:cubicBezTo>
                  <a:pt x="5746899" y="4410982"/>
                  <a:pt x="5743591" y="4410650"/>
                  <a:pt x="5740585" y="4408990"/>
                </a:cubicBezTo>
                <a:lnTo>
                  <a:pt x="5735174" y="4401464"/>
                </a:lnTo>
                <a:lnTo>
                  <a:pt x="5719242" y="4402239"/>
                </a:lnTo>
                <a:lnTo>
                  <a:pt x="5705112" y="4398144"/>
                </a:lnTo>
                <a:lnTo>
                  <a:pt x="5698199" y="4406998"/>
                </a:lnTo>
                <a:cubicBezTo>
                  <a:pt x="5688879" y="4407219"/>
                  <a:pt x="5683167" y="4400247"/>
                  <a:pt x="5681665" y="4392057"/>
                </a:cubicBezTo>
                <a:lnTo>
                  <a:pt x="5681665" y="4387741"/>
                </a:lnTo>
                <a:lnTo>
                  <a:pt x="5681064" y="4387520"/>
                </a:lnTo>
                <a:cubicBezTo>
                  <a:pt x="5674751" y="4384310"/>
                  <a:pt x="5668739" y="4380990"/>
                  <a:pt x="5662726" y="4378223"/>
                </a:cubicBezTo>
                <a:cubicBezTo>
                  <a:pt x="5666633" y="4373907"/>
                  <a:pt x="5665732" y="4369259"/>
                  <a:pt x="5672947" y="4363725"/>
                </a:cubicBezTo>
                <a:close/>
                <a:moveTo>
                  <a:pt x="1879488" y="4363725"/>
                </a:moveTo>
                <a:cubicBezTo>
                  <a:pt x="1894819" y="4374461"/>
                  <a:pt x="1911053" y="4381765"/>
                  <a:pt x="1925782" y="4389623"/>
                </a:cubicBezTo>
                <a:cubicBezTo>
                  <a:pt x="1923980" y="4386192"/>
                  <a:pt x="1919169" y="4376231"/>
                  <a:pt x="1920371" y="4373354"/>
                </a:cubicBezTo>
                <a:cubicBezTo>
                  <a:pt x="1923980" y="4377891"/>
                  <a:pt x="1927286" y="4387630"/>
                  <a:pt x="1926083" y="4389623"/>
                </a:cubicBezTo>
                <a:cubicBezTo>
                  <a:pt x="1932998" y="4393164"/>
                  <a:pt x="1939310" y="4397038"/>
                  <a:pt x="1945022" y="4401354"/>
                </a:cubicBezTo>
                <a:cubicBezTo>
                  <a:pt x="1918568" y="4408326"/>
                  <a:pt x="1893617" y="4389401"/>
                  <a:pt x="1868967" y="4378223"/>
                </a:cubicBezTo>
                <a:cubicBezTo>
                  <a:pt x="1872874" y="4373907"/>
                  <a:pt x="1871973" y="4369259"/>
                  <a:pt x="1879488" y="4363725"/>
                </a:cubicBezTo>
                <a:close/>
                <a:moveTo>
                  <a:pt x="5981979" y="4363172"/>
                </a:moveTo>
                <a:cubicBezTo>
                  <a:pt x="5999715" y="4366603"/>
                  <a:pt x="5995807" y="4378334"/>
                  <a:pt x="6005728" y="4380437"/>
                </a:cubicBezTo>
                <a:cubicBezTo>
                  <a:pt x="6003323" y="4383204"/>
                  <a:pt x="6003323" y="4383093"/>
                  <a:pt x="5999715" y="4383204"/>
                </a:cubicBezTo>
                <a:cubicBezTo>
                  <a:pt x="5999114" y="4381765"/>
                  <a:pt x="5997611" y="4382540"/>
                  <a:pt x="5998513" y="4380437"/>
                </a:cubicBezTo>
                <a:cubicBezTo>
                  <a:pt x="5992801" y="4379773"/>
                  <a:pt x="5982880" y="4369370"/>
                  <a:pt x="5981979" y="4363172"/>
                </a:cubicBezTo>
                <a:close/>
                <a:moveTo>
                  <a:pt x="2188520" y="4363172"/>
                </a:moveTo>
                <a:cubicBezTo>
                  <a:pt x="2192729" y="4364057"/>
                  <a:pt x="2196036" y="4365386"/>
                  <a:pt x="2198139" y="4367046"/>
                </a:cubicBezTo>
                <a:lnTo>
                  <a:pt x="2202949" y="4372247"/>
                </a:lnTo>
                <a:lnTo>
                  <a:pt x="2205354" y="4370808"/>
                </a:lnTo>
                <a:cubicBezTo>
                  <a:pt x="2207759" y="4370366"/>
                  <a:pt x="2211066" y="4371362"/>
                  <a:pt x="2214072" y="4373575"/>
                </a:cubicBezTo>
                <a:lnTo>
                  <a:pt x="2210766" y="4379662"/>
                </a:lnTo>
                <a:lnTo>
                  <a:pt x="2211968" y="4380437"/>
                </a:lnTo>
                <a:cubicBezTo>
                  <a:pt x="2209564" y="4383204"/>
                  <a:pt x="2209564" y="4383093"/>
                  <a:pt x="2205956" y="4383204"/>
                </a:cubicBezTo>
                <a:cubicBezTo>
                  <a:pt x="2205354" y="4381765"/>
                  <a:pt x="2203852" y="4382540"/>
                  <a:pt x="2204754" y="4380437"/>
                </a:cubicBezTo>
                <a:cubicBezTo>
                  <a:pt x="2199042" y="4379773"/>
                  <a:pt x="2189422" y="4369370"/>
                  <a:pt x="2188520" y="4363172"/>
                </a:cubicBezTo>
                <a:close/>
                <a:moveTo>
                  <a:pt x="5917347" y="4362729"/>
                </a:moveTo>
                <a:cubicBezTo>
                  <a:pt x="5918850" y="4362951"/>
                  <a:pt x="5920653" y="4363172"/>
                  <a:pt x="5922156" y="4364943"/>
                </a:cubicBezTo>
                <a:cubicBezTo>
                  <a:pt x="5923659" y="4366824"/>
                  <a:pt x="5923359" y="4369812"/>
                  <a:pt x="5923359" y="4371472"/>
                </a:cubicBezTo>
                <a:cubicBezTo>
                  <a:pt x="5921555" y="4371140"/>
                  <a:pt x="5921555" y="4372801"/>
                  <a:pt x="5920052" y="4372579"/>
                </a:cubicBezTo>
                <a:cubicBezTo>
                  <a:pt x="5916745" y="4373575"/>
                  <a:pt x="5916444" y="4373575"/>
                  <a:pt x="5914942" y="4371804"/>
                </a:cubicBezTo>
                <a:cubicBezTo>
                  <a:pt x="5913439" y="4369923"/>
                  <a:pt x="5915543" y="4365607"/>
                  <a:pt x="5914040" y="4363725"/>
                </a:cubicBezTo>
                <a:cubicBezTo>
                  <a:pt x="5914040" y="4363725"/>
                  <a:pt x="5914040" y="4363836"/>
                  <a:pt x="5917347" y="4362729"/>
                </a:cubicBezTo>
                <a:close/>
                <a:moveTo>
                  <a:pt x="2123588" y="4362729"/>
                </a:moveTo>
                <a:cubicBezTo>
                  <a:pt x="2125391" y="4362951"/>
                  <a:pt x="2126894" y="4363172"/>
                  <a:pt x="2128397" y="4364943"/>
                </a:cubicBezTo>
                <a:cubicBezTo>
                  <a:pt x="2129901" y="4366824"/>
                  <a:pt x="2129901" y="4369812"/>
                  <a:pt x="2129600" y="4371472"/>
                </a:cubicBezTo>
                <a:cubicBezTo>
                  <a:pt x="2128096" y="4371140"/>
                  <a:pt x="2127796" y="4372801"/>
                  <a:pt x="2126293" y="4372579"/>
                </a:cubicBezTo>
                <a:cubicBezTo>
                  <a:pt x="2122986" y="4373575"/>
                  <a:pt x="2122986" y="4373575"/>
                  <a:pt x="2121183" y="4371804"/>
                </a:cubicBezTo>
                <a:cubicBezTo>
                  <a:pt x="2119679" y="4369923"/>
                  <a:pt x="2121784" y="4365607"/>
                  <a:pt x="2120280" y="4363725"/>
                </a:cubicBezTo>
                <a:cubicBezTo>
                  <a:pt x="2120280" y="4363725"/>
                  <a:pt x="2120280" y="4363836"/>
                  <a:pt x="2123588" y="4362729"/>
                </a:cubicBezTo>
                <a:close/>
                <a:moveTo>
                  <a:pt x="5694290" y="4361623"/>
                </a:moveTo>
                <a:cubicBezTo>
                  <a:pt x="5696094" y="4361844"/>
                  <a:pt x="5697598" y="4362619"/>
                  <a:pt x="5699401" y="4363393"/>
                </a:cubicBezTo>
                <a:cubicBezTo>
                  <a:pt x="5699401" y="4364832"/>
                  <a:pt x="5699401" y="4364832"/>
                  <a:pt x="5697898" y="4366271"/>
                </a:cubicBezTo>
                <a:cubicBezTo>
                  <a:pt x="5697898" y="4367710"/>
                  <a:pt x="5691285" y="4364500"/>
                  <a:pt x="5689481" y="4364389"/>
                </a:cubicBezTo>
                <a:cubicBezTo>
                  <a:pt x="5689481" y="4362951"/>
                  <a:pt x="5689481" y="4363061"/>
                  <a:pt x="5691285" y="4363061"/>
                </a:cubicBezTo>
                <a:cubicBezTo>
                  <a:pt x="5690985" y="4362840"/>
                  <a:pt x="5690985" y="4362951"/>
                  <a:pt x="5690683" y="4362729"/>
                </a:cubicBezTo>
                <a:cubicBezTo>
                  <a:pt x="5691886" y="4362065"/>
                  <a:pt x="5693088" y="4361401"/>
                  <a:pt x="5694290" y="4361623"/>
                </a:cubicBezTo>
                <a:close/>
                <a:moveTo>
                  <a:pt x="1900831" y="4361623"/>
                </a:moveTo>
                <a:cubicBezTo>
                  <a:pt x="1902335" y="4361844"/>
                  <a:pt x="1903838" y="4362619"/>
                  <a:pt x="1905641" y="4363393"/>
                </a:cubicBezTo>
                <a:cubicBezTo>
                  <a:pt x="1905641" y="4364832"/>
                  <a:pt x="1905641" y="4364832"/>
                  <a:pt x="1904139" y="4366271"/>
                </a:cubicBezTo>
                <a:cubicBezTo>
                  <a:pt x="1904139" y="4367710"/>
                  <a:pt x="1897525" y="4364500"/>
                  <a:pt x="1896022" y="4364389"/>
                </a:cubicBezTo>
                <a:cubicBezTo>
                  <a:pt x="1896022" y="4362951"/>
                  <a:pt x="1896022" y="4363061"/>
                  <a:pt x="1897525" y="4363061"/>
                </a:cubicBezTo>
                <a:cubicBezTo>
                  <a:pt x="1897224" y="4362840"/>
                  <a:pt x="1897224" y="4362951"/>
                  <a:pt x="1896924" y="4362729"/>
                </a:cubicBezTo>
                <a:cubicBezTo>
                  <a:pt x="1898126" y="4362065"/>
                  <a:pt x="1899629" y="4361401"/>
                  <a:pt x="1900831" y="4361623"/>
                </a:cubicBezTo>
                <a:close/>
                <a:moveTo>
                  <a:pt x="5198877" y="4361069"/>
                </a:moveTo>
                <a:cubicBezTo>
                  <a:pt x="5198877" y="4361069"/>
                  <a:pt x="5200981" y="4361955"/>
                  <a:pt x="5200981" y="4361955"/>
                </a:cubicBezTo>
                <a:cubicBezTo>
                  <a:pt x="5208498" y="4363947"/>
                  <a:pt x="5214209" y="4371251"/>
                  <a:pt x="5213607" y="4374682"/>
                </a:cubicBezTo>
                <a:cubicBezTo>
                  <a:pt x="5211503" y="4378666"/>
                  <a:pt x="5206091" y="4382318"/>
                  <a:pt x="5200079" y="4379773"/>
                </a:cubicBezTo>
                <a:lnTo>
                  <a:pt x="5197375" y="4378223"/>
                </a:lnTo>
                <a:lnTo>
                  <a:pt x="5197375" y="4378445"/>
                </a:lnTo>
                <a:cubicBezTo>
                  <a:pt x="5196172" y="4379551"/>
                  <a:pt x="5194668" y="4380658"/>
                  <a:pt x="5192565" y="4381544"/>
                </a:cubicBezTo>
                <a:cubicBezTo>
                  <a:pt x="5184749" y="4379883"/>
                  <a:pt x="5184146" y="4372026"/>
                  <a:pt x="5179938" y="4368042"/>
                </a:cubicBezTo>
                <a:cubicBezTo>
                  <a:pt x="5182043" y="4365607"/>
                  <a:pt x="5184447" y="4364389"/>
                  <a:pt x="5186853" y="4363947"/>
                </a:cubicBezTo>
                <a:lnTo>
                  <a:pt x="5189858" y="4364722"/>
                </a:lnTo>
                <a:lnTo>
                  <a:pt x="5190761" y="4363061"/>
                </a:lnTo>
                <a:cubicBezTo>
                  <a:pt x="5192264" y="4361623"/>
                  <a:pt x="5194668" y="4361069"/>
                  <a:pt x="5198877" y="4361069"/>
                </a:cubicBezTo>
                <a:close/>
                <a:moveTo>
                  <a:pt x="2434424" y="4361069"/>
                </a:moveTo>
                <a:cubicBezTo>
                  <a:pt x="2434424" y="4361069"/>
                  <a:pt x="2436527" y="4361955"/>
                  <a:pt x="2436527" y="4361955"/>
                </a:cubicBezTo>
                <a:cubicBezTo>
                  <a:pt x="2444043" y="4363947"/>
                  <a:pt x="2449754" y="4371251"/>
                  <a:pt x="2449153" y="4374682"/>
                </a:cubicBezTo>
                <a:cubicBezTo>
                  <a:pt x="2447049" y="4378666"/>
                  <a:pt x="2441638" y="4382318"/>
                  <a:pt x="2435626" y="4379773"/>
                </a:cubicBezTo>
                <a:lnTo>
                  <a:pt x="2432920" y="4378223"/>
                </a:lnTo>
                <a:lnTo>
                  <a:pt x="2432920" y="4378445"/>
                </a:lnTo>
                <a:cubicBezTo>
                  <a:pt x="2431718" y="4379551"/>
                  <a:pt x="2430214" y="4380658"/>
                  <a:pt x="2427809" y="4381544"/>
                </a:cubicBezTo>
                <a:cubicBezTo>
                  <a:pt x="2419993" y="4379883"/>
                  <a:pt x="2419693" y="4372026"/>
                  <a:pt x="2415184" y="4368042"/>
                </a:cubicBezTo>
                <a:cubicBezTo>
                  <a:pt x="2417589" y="4365607"/>
                  <a:pt x="2419993" y="4364389"/>
                  <a:pt x="2422398" y="4363947"/>
                </a:cubicBezTo>
                <a:lnTo>
                  <a:pt x="2425104" y="4364722"/>
                </a:lnTo>
                <a:lnTo>
                  <a:pt x="2426006" y="4363061"/>
                </a:lnTo>
                <a:cubicBezTo>
                  <a:pt x="2427809" y="4361623"/>
                  <a:pt x="2430214" y="4361069"/>
                  <a:pt x="2434424" y="4361069"/>
                </a:cubicBezTo>
                <a:close/>
                <a:moveTo>
                  <a:pt x="1405419" y="4361069"/>
                </a:moveTo>
                <a:cubicBezTo>
                  <a:pt x="1405419" y="4361069"/>
                  <a:pt x="1407222" y="4361955"/>
                  <a:pt x="1407222" y="4361955"/>
                </a:cubicBezTo>
                <a:cubicBezTo>
                  <a:pt x="1414737" y="4363947"/>
                  <a:pt x="1420749" y="4371251"/>
                  <a:pt x="1420148" y="4374682"/>
                </a:cubicBezTo>
                <a:cubicBezTo>
                  <a:pt x="1418044" y="4378666"/>
                  <a:pt x="1412332" y="4382318"/>
                  <a:pt x="1406320" y="4379773"/>
                </a:cubicBezTo>
                <a:lnTo>
                  <a:pt x="1403915" y="4378223"/>
                </a:lnTo>
                <a:lnTo>
                  <a:pt x="1403615" y="4378445"/>
                </a:lnTo>
                <a:cubicBezTo>
                  <a:pt x="1402713" y="4379551"/>
                  <a:pt x="1400909" y="4380658"/>
                  <a:pt x="1398804" y="4381544"/>
                </a:cubicBezTo>
                <a:cubicBezTo>
                  <a:pt x="1390989" y="4379883"/>
                  <a:pt x="1390387" y="4372026"/>
                  <a:pt x="1386179" y="4368042"/>
                </a:cubicBezTo>
                <a:cubicBezTo>
                  <a:pt x="1388284" y="4365607"/>
                  <a:pt x="1390688" y="4364389"/>
                  <a:pt x="1393093" y="4363947"/>
                </a:cubicBezTo>
                <a:lnTo>
                  <a:pt x="1396099" y="4364722"/>
                </a:lnTo>
                <a:lnTo>
                  <a:pt x="1397002" y="4363061"/>
                </a:lnTo>
                <a:cubicBezTo>
                  <a:pt x="1398804" y="4361623"/>
                  <a:pt x="1401210" y="4361069"/>
                  <a:pt x="1405419" y="4361069"/>
                </a:cubicBezTo>
                <a:close/>
                <a:moveTo>
                  <a:pt x="2166275" y="4357196"/>
                </a:moveTo>
                <a:cubicBezTo>
                  <a:pt x="2167477" y="4356642"/>
                  <a:pt x="2168680" y="4356421"/>
                  <a:pt x="2170182" y="4357307"/>
                </a:cubicBezTo>
                <a:cubicBezTo>
                  <a:pt x="2165373" y="4359741"/>
                  <a:pt x="2163569" y="4361069"/>
                  <a:pt x="2160262" y="4362176"/>
                </a:cubicBezTo>
                <a:cubicBezTo>
                  <a:pt x="2160262" y="4363615"/>
                  <a:pt x="2160262" y="4365054"/>
                  <a:pt x="2158759" y="4366382"/>
                </a:cubicBezTo>
                <a:cubicBezTo>
                  <a:pt x="2155452" y="4368927"/>
                  <a:pt x="2152146" y="4367156"/>
                  <a:pt x="2148839" y="4368263"/>
                </a:cubicBezTo>
                <a:cubicBezTo>
                  <a:pt x="2147336" y="4366603"/>
                  <a:pt x="2145833" y="4363393"/>
                  <a:pt x="2149140" y="4360848"/>
                </a:cubicBezTo>
                <a:cubicBezTo>
                  <a:pt x="2152447" y="4356753"/>
                  <a:pt x="2157257" y="4357307"/>
                  <a:pt x="2162066" y="4359409"/>
                </a:cubicBezTo>
                <a:cubicBezTo>
                  <a:pt x="2163569" y="4358856"/>
                  <a:pt x="2164771" y="4357860"/>
                  <a:pt x="2166275" y="4357196"/>
                </a:cubicBezTo>
                <a:close/>
                <a:moveTo>
                  <a:pt x="1136969" y="4357196"/>
                </a:moveTo>
                <a:cubicBezTo>
                  <a:pt x="1138171" y="4356642"/>
                  <a:pt x="1139675" y="4356421"/>
                  <a:pt x="1141178" y="4357307"/>
                </a:cubicBezTo>
                <a:cubicBezTo>
                  <a:pt x="1136368" y="4359741"/>
                  <a:pt x="1134564" y="4361069"/>
                  <a:pt x="1131258" y="4362176"/>
                </a:cubicBezTo>
                <a:cubicBezTo>
                  <a:pt x="1131258" y="4363615"/>
                  <a:pt x="1131258" y="4365054"/>
                  <a:pt x="1129454" y="4366382"/>
                </a:cubicBezTo>
                <a:cubicBezTo>
                  <a:pt x="1126147" y="4368927"/>
                  <a:pt x="1122841" y="4367156"/>
                  <a:pt x="1119835" y="4368263"/>
                </a:cubicBezTo>
                <a:cubicBezTo>
                  <a:pt x="1118030" y="4366603"/>
                  <a:pt x="1116528" y="4363393"/>
                  <a:pt x="1119835" y="4360848"/>
                </a:cubicBezTo>
                <a:cubicBezTo>
                  <a:pt x="1123442" y="4356753"/>
                  <a:pt x="1128252" y="4357307"/>
                  <a:pt x="1133062" y="4359409"/>
                </a:cubicBezTo>
                <a:cubicBezTo>
                  <a:pt x="1134564" y="4358856"/>
                  <a:pt x="1135767" y="4357860"/>
                  <a:pt x="1136969" y="4357196"/>
                </a:cubicBezTo>
                <a:close/>
                <a:moveTo>
                  <a:pt x="5970556" y="4355536"/>
                </a:moveTo>
                <a:cubicBezTo>
                  <a:pt x="5972660" y="4356200"/>
                  <a:pt x="5975065" y="4358303"/>
                  <a:pt x="5977169" y="4358967"/>
                </a:cubicBezTo>
                <a:cubicBezTo>
                  <a:pt x="5977169" y="4358967"/>
                  <a:pt x="5977169" y="4358967"/>
                  <a:pt x="5976267" y="4361069"/>
                </a:cubicBezTo>
                <a:cubicBezTo>
                  <a:pt x="5975065" y="4358303"/>
                  <a:pt x="5968452" y="4359631"/>
                  <a:pt x="5970556" y="4355536"/>
                </a:cubicBezTo>
                <a:close/>
                <a:moveTo>
                  <a:pt x="2176796" y="4355536"/>
                </a:moveTo>
                <a:cubicBezTo>
                  <a:pt x="2178901" y="4356200"/>
                  <a:pt x="2181606" y="4358303"/>
                  <a:pt x="2183710" y="4358967"/>
                </a:cubicBezTo>
                <a:cubicBezTo>
                  <a:pt x="2183710" y="4358967"/>
                  <a:pt x="2183710" y="4358967"/>
                  <a:pt x="2182808" y="4361069"/>
                </a:cubicBezTo>
                <a:cubicBezTo>
                  <a:pt x="2181606" y="4358303"/>
                  <a:pt x="2174993" y="4359631"/>
                  <a:pt x="2176796" y="4355536"/>
                </a:cubicBezTo>
                <a:close/>
                <a:moveTo>
                  <a:pt x="2259766" y="4355093"/>
                </a:moveTo>
                <a:cubicBezTo>
                  <a:pt x="2264275" y="4354761"/>
                  <a:pt x="2268183" y="4355646"/>
                  <a:pt x="2272091" y="4357639"/>
                </a:cubicBezTo>
                <a:cubicBezTo>
                  <a:pt x="2274195" y="4359299"/>
                  <a:pt x="2275698" y="4360959"/>
                  <a:pt x="2276901" y="4362729"/>
                </a:cubicBezTo>
                <a:cubicBezTo>
                  <a:pt x="2283214" y="4372247"/>
                  <a:pt x="2277502" y="4384089"/>
                  <a:pt x="2267281" y="4391172"/>
                </a:cubicBezTo>
                <a:lnTo>
                  <a:pt x="2258864" y="4394935"/>
                </a:lnTo>
                <a:lnTo>
                  <a:pt x="2259164" y="4397812"/>
                </a:lnTo>
                <a:lnTo>
                  <a:pt x="2263373" y="4397702"/>
                </a:lnTo>
                <a:cubicBezTo>
                  <a:pt x="2266379" y="4398366"/>
                  <a:pt x="2268183" y="4399694"/>
                  <a:pt x="2269686" y="4401132"/>
                </a:cubicBezTo>
                <a:lnTo>
                  <a:pt x="2270588" y="4402903"/>
                </a:lnTo>
                <a:lnTo>
                  <a:pt x="2272091" y="4401907"/>
                </a:lnTo>
                <a:cubicBezTo>
                  <a:pt x="2273594" y="4402018"/>
                  <a:pt x="2275698" y="4403346"/>
                  <a:pt x="2277802" y="4406223"/>
                </a:cubicBezTo>
                <a:lnTo>
                  <a:pt x="2273895" y="4409986"/>
                </a:lnTo>
                <a:lnTo>
                  <a:pt x="2274796" y="4411535"/>
                </a:lnTo>
                <a:lnTo>
                  <a:pt x="2276300" y="4411535"/>
                </a:lnTo>
                <a:cubicBezTo>
                  <a:pt x="2276901" y="4412974"/>
                  <a:pt x="2279306" y="4415077"/>
                  <a:pt x="2281411" y="4415741"/>
                </a:cubicBezTo>
                <a:cubicBezTo>
                  <a:pt x="2279907" y="4416405"/>
                  <a:pt x="2278705" y="4417069"/>
                  <a:pt x="2279306" y="4418397"/>
                </a:cubicBezTo>
                <a:cubicBezTo>
                  <a:pt x="2277201" y="4417733"/>
                  <a:pt x="2275999" y="4417069"/>
                  <a:pt x="2275097" y="4416405"/>
                </a:cubicBezTo>
                <a:lnTo>
                  <a:pt x="2274496" y="4416073"/>
                </a:lnTo>
                <a:lnTo>
                  <a:pt x="2272692" y="4416184"/>
                </a:lnTo>
                <a:lnTo>
                  <a:pt x="2271490" y="4415741"/>
                </a:lnTo>
                <a:lnTo>
                  <a:pt x="2270889" y="4415630"/>
                </a:lnTo>
                <a:cubicBezTo>
                  <a:pt x="2270889" y="4415630"/>
                  <a:pt x="2270889" y="4415630"/>
                  <a:pt x="2269085" y="4419725"/>
                </a:cubicBezTo>
                <a:cubicBezTo>
                  <a:pt x="2269085" y="4419725"/>
                  <a:pt x="2263974" y="4428579"/>
                  <a:pt x="2254355" y="4426476"/>
                </a:cubicBezTo>
                <a:cubicBezTo>
                  <a:pt x="2255256" y="4424373"/>
                  <a:pt x="2242932" y="4420057"/>
                  <a:pt x="2243533" y="4413196"/>
                </a:cubicBezTo>
                <a:cubicBezTo>
                  <a:pt x="2243834" y="4409875"/>
                  <a:pt x="2244735" y="4407773"/>
                  <a:pt x="2245035" y="4404342"/>
                </a:cubicBezTo>
                <a:lnTo>
                  <a:pt x="2248643" y="4401796"/>
                </a:lnTo>
                <a:lnTo>
                  <a:pt x="2248343" y="4397148"/>
                </a:lnTo>
                <a:lnTo>
                  <a:pt x="2247140" y="4397259"/>
                </a:lnTo>
                <a:cubicBezTo>
                  <a:pt x="2244434" y="4397148"/>
                  <a:pt x="2241428" y="4396595"/>
                  <a:pt x="2238723" y="4395488"/>
                </a:cubicBezTo>
                <a:lnTo>
                  <a:pt x="2232711" y="4391504"/>
                </a:lnTo>
                <a:lnTo>
                  <a:pt x="2220386" y="4405670"/>
                </a:lnTo>
                <a:cubicBezTo>
                  <a:pt x="2209564" y="4415741"/>
                  <a:pt x="2196937" y="4424927"/>
                  <a:pt x="2186115" y="4434666"/>
                </a:cubicBezTo>
                <a:cubicBezTo>
                  <a:pt x="2184913" y="4432342"/>
                  <a:pt x="2183109" y="4431124"/>
                  <a:pt x="2181305" y="4429354"/>
                </a:cubicBezTo>
                <a:lnTo>
                  <a:pt x="2181005" y="4428911"/>
                </a:lnTo>
                <a:lnTo>
                  <a:pt x="2180103" y="4441859"/>
                </a:lnTo>
                <a:cubicBezTo>
                  <a:pt x="2179201" y="4448832"/>
                  <a:pt x="2176496" y="4455583"/>
                  <a:pt x="2170784" y="4462112"/>
                </a:cubicBezTo>
                <a:cubicBezTo>
                  <a:pt x="2161464" y="4450824"/>
                  <a:pt x="2166876" y="4437543"/>
                  <a:pt x="2174091" y="4428468"/>
                </a:cubicBezTo>
                <a:lnTo>
                  <a:pt x="2178299" y="4424373"/>
                </a:lnTo>
                <a:lnTo>
                  <a:pt x="2176496" y="4421496"/>
                </a:lnTo>
                <a:cubicBezTo>
                  <a:pt x="2188821" y="4413417"/>
                  <a:pt x="2199944" y="4404231"/>
                  <a:pt x="2210465" y="4395488"/>
                </a:cubicBezTo>
                <a:lnTo>
                  <a:pt x="2225495" y="4383204"/>
                </a:lnTo>
                <a:lnTo>
                  <a:pt x="2223993" y="4381433"/>
                </a:lnTo>
                <a:cubicBezTo>
                  <a:pt x="2232110" y="4366492"/>
                  <a:pt x="2246839" y="4355978"/>
                  <a:pt x="2259766" y="4355093"/>
                </a:cubicBezTo>
                <a:close/>
                <a:moveTo>
                  <a:pt x="1230761" y="4355093"/>
                </a:moveTo>
                <a:cubicBezTo>
                  <a:pt x="1234969" y="4354761"/>
                  <a:pt x="1239179" y="4355646"/>
                  <a:pt x="1243086" y="4357639"/>
                </a:cubicBezTo>
                <a:cubicBezTo>
                  <a:pt x="1245191" y="4359299"/>
                  <a:pt x="1246694" y="4360959"/>
                  <a:pt x="1247896" y="4362729"/>
                </a:cubicBezTo>
                <a:cubicBezTo>
                  <a:pt x="1256313" y="4375457"/>
                  <a:pt x="1243086" y="4392279"/>
                  <a:pt x="1226853" y="4396374"/>
                </a:cubicBezTo>
                <a:cubicBezTo>
                  <a:pt x="1215430" y="4399140"/>
                  <a:pt x="1203105" y="4396041"/>
                  <a:pt x="1194988" y="4381433"/>
                </a:cubicBezTo>
                <a:cubicBezTo>
                  <a:pt x="1203105" y="4366492"/>
                  <a:pt x="1217534" y="4355978"/>
                  <a:pt x="1230761" y="4355093"/>
                </a:cubicBezTo>
                <a:close/>
                <a:moveTo>
                  <a:pt x="2055047" y="4353544"/>
                </a:moveTo>
                <a:cubicBezTo>
                  <a:pt x="2062563" y="4353544"/>
                  <a:pt x="2070078" y="4356532"/>
                  <a:pt x="2070378" y="4362287"/>
                </a:cubicBezTo>
                <a:cubicBezTo>
                  <a:pt x="2070680" y="4363947"/>
                  <a:pt x="2070378" y="4365828"/>
                  <a:pt x="2069176" y="4367931"/>
                </a:cubicBezTo>
                <a:lnTo>
                  <a:pt x="2068275" y="4368374"/>
                </a:lnTo>
                <a:lnTo>
                  <a:pt x="2068575" y="4370698"/>
                </a:lnTo>
                <a:cubicBezTo>
                  <a:pt x="2067672" y="4372801"/>
                  <a:pt x="2064666" y="4374129"/>
                  <a:pt x="2059557" y="4374793"/>
                </a:cubicBezTo>
                <a:lnTo>
                  <a:pt x="2059255" y="4372690"/>
                </a:lnTo>
                <a:lnTo>
                  <a:pt x="2053544" y="4374018"/>
                </a:lnTo>
                <a:cubicBezTo>
                  <a:pt x="2048735" y="4374239"/>
                  <a:pt x="2043624" y="4372469"/>
                  <a:pt x="2038814" y="4367599"/>
                </a:cubicBezTo>
                <a:cubicBezTo>
                  <a:pt x="2040618" y="4366382"/>
                  <a:pt x="2039114" y="4364611"/>
                  <a:pt x="2037912" y="4362729"/>
                </a:cubicBezTo>
                <a:cubicBezTo>
                  <a:pt x="2039415" y="4356421"/>
                  <a:pt x="2047532" y="4353433"/>
                  <a:pt x="2055047" y="4353544"/>
                </a:cubicBezTo>
                <a:close/>
                <a:moveTo>
                  <a:pt x="1026042" y="4353544"/>
                </a:moveTo>
                <a:cubicBezTo>
                  <a:pt x="1033558" y="4353544"/>
                  <a:pt x="1040772" y="4356532"/>
                  <a:pt x="1041374" y="4362287"/>
                </a:cubicBezTo>
                <a:cubicBezTo>
                  <a:pt x="1041675" y="4363947"/>
                  <a:pt x="1041073" y="4365828"/>
                  <a:pt x="1040171" y="4367931"/>
                </a:cubicBezTo>
                <a:cubicBezTo>
                  <a:pt x="1029349" y="4374903"/>
                  <a:pt x="1019429" y="4377338"/>
                  <a:pt x="1009809" y="4367599"/>
                </a:cubicBezTo>
                <a:cubicBezTo>
                  <a:pt x="1011613" y="4366382"/>
                  <a:pt x="1010110" y="4364611"/>
                  <a:pt x="1008607" y="4362729"/>
                </a:cubicBezTo>
                <a:cubicBezTo>
                  <a:pt x="1010410" y="4356421"/>
                  <a:pt x="1018226" y="4353433"/>
                  <a:pt x="1026042" y="4353544"/>
                </a:cubicBezTo>
                <a:close/>
                <a:moveTo>
                  <a:pt x="5988592" y="4352769"/>
                </a:moveTo>
                <a:cubicBezTo>
                  <a:pt x="5992801" y="4352105"/>
                  <a:pt x="5995507" y="4354982"/>
                  <a:pt x="5997912" y="4357860"/>
                </a:cubicBezTo>
                <a:cubicBezTo>
                  <a:pt x="5992801" y="4359963"/>
                  <a:pt x="5997010" y="4365939"/>
                  <a:pt x="5989795" y="4365164"/>
                </a:cubicBezTo>
                <a:cubicBezTo>
                  <a:pt x="5987089" y="4363393"/>
                  <a:pt x="5984986" y="4360405"/>
                  <a:pt x="5984384" y="4354872"/>
                </a:cubicBezTo>
                <a:cubicBezTo>
                  <a:pt x="5985887" y="4353654"/>
                  <a:pt x="5987390" y="4353101"/>
                  <a:pt x="5988592" y="4352769"/>
                </a:cubicBezTo>
                <a:close/>
                <a:moveTo>
                  <a:pt x="2195133" y="4352769"/>
                </a:moveTo>
                <a:cubicBezTo>
                  <a:pt x="2199042" y="4352105"/>
                  <a:pt x="2201747" y="4354982"/>
                  <a:pt x="2204152" y="4357860"/>
                </a:cubicBezTo>
                <a:cubicBezTo>
                  <a:pt x="2199042" y="4359963"/>
                  <a:pt x="2203250" y="4365939"/>
                  <a:pt x="2196036" y="4365164"/>
                </a:cubicBezTo>
                <a:cubicBezTo>
                  <a:pt x="2193330" y="4363393"/>
                  <a:pt x="2191226" y="4360405"/>
                  <a:pt x="2190625" y="4354872"/>
                </a:cubicBezTo>
                <a:cubicBezTo>
                  <a:pt x="2192428" y="4353654"/>
                  <a:pt x="2193631" y="4353101"/>
                  <a:pt x="2195133" y="4352769"/>
                </a:cubicBezTo>
                <a:close/>
                <a:moveTo>
                  <a:pt x="1348902" y="4351773"/>
                </a:moveTo>
                <a:cubicBezTo>
                  <a:pt x="1350706" y="4351773"/>
                  <a:pt x="1352511" y="4352105"/>
                  <a:pt x="1353412" y="4351773"/>
                </a:cubicBezTo>
                <a:cubicBezTo>
                  <a:pt x="1353713" y="4353212"/>
                  <a:pt x="1352511" y="4355204"/>
                  <a:pt x="1352811" y="4356642"/>
                </a:cubicBezTo>
                <a:cubicBezTo>
                  <a:pt x="1351307" y="4357196"/>
                  <a:pt x="1348301" y="4358303"/>
                  <a:pt x="1346197" y="4357307"/>
                </a:cubicBezTo>
                <a:cubicBezTo>
                  <a:pt x="1344694" y="4357860"/>
                  <a:pt x="1344995" y="4352990"/>
                  <a:pt x="1344995" y="4353101"/>
                </a:cubicBezTo>
                <a:cubicBezTo>
                  <a:pt x="1345596" y="4352105"/>
                  <a:pt x="1347400" y="4351773"/>
                  <a:pt x="1348902" y="4351773"/>
                </a:cubicBezTo>
                <a:close/>
                <a:moveTo>
                  <a:pt x="2348748" y="4350666"/>
                </a:moveTo>
                <a:cubicBezTo>
                  <a:pt x="2352956" y="4351330"/>
                  <a:pt x="2356564" y="4353765"/>
                  <a:pt x="2360772" y="4357749"/>
                </a:cubicBezTo>
                <a:cubicBezTo>
                  <a:pt x="2358668" y="4363393"/>
                  <a:pt x="2352355" y="4369038"/>
                  <a:pt x="2346042" y="4370587"/>
                </a:cubicBezTo>
                <a:lnTo>
                  <a:pt x="2345140" y="4370587"/>
                </a:lnTo>
                <a:lnTo>
                  <a:pt x="2342134" y="4372579"/>
                </a:lnTo>
                <a:cubicBezTo>
                  <a:pt x="2340631" y="4373133"/>
                  <a:pt x="2338827" y="4373022"/>
                  <a:pt x="2337625" y="4371472"/>
                </a:cubicBezTo>
                <a:lnTo>
                  <a:pt x="2339428" y="4368374"/>
                </a:lnTo>
                <a:lnTo>
                  <a:pt x="2336723" y="4361733"/>
                </a:lnTo>
                <a:cubicBezTo>
                  <a:pt x="2336422" y="4359299"/>
                  <a:pt x="2336723" y="4357196"/>
                  <a:pt x="2334619" y="4355204"/>
                </a:cubicBezTo>
                <a:cubicBezTo>
                  <a:pt x="2340030" y="4351330"/>
                  <a:pt x="2344539" y="4350113"/>
                  <a:pt x="2348748" y="4350666"/>
                </a:cubicBezTo>
                <a:close/>
                <a:moveTo>
                  <a:pt x="6183090" y="4348563"/>
                </a:moveTo>
                <a:cubicBezTo>
                  <a:pt x="6184895" y="4348785"/>
                  <a:pt x="6186397" y="4349338"/>
                  <a:pt x="6186998" y="4350224"/>
                </a:cubicBezTo>
                <a:cubicBezTo>
                  <a:pt x="6188501" y="4351994"/>
                  <a:pt x="6188200" y="4353544"/>
                  <a:pt x="6188200" y="4353544"/>
                </a:cubicBezTo>
                <a:cubicBezTo>
                  <a:pt x="6184895" y="4357528"/>
                  <a:pt x="6180085" y="4359852"/>
                  <a:pt x="6175575" y="4354650"/>
                </a:cubicBezTo>
                <a:cubicBezTo>
                  <a:pt x="6174072" y="4352880"/>
                  <a:pt x="6172869" y="4351109"/>
                  <a:pt x="6174373" y="4351330"/>
                </a:cubicBezTo>
                <a:cubicBezTo>
                  <a:pt x="6174373" y="4349892"/>
                  <a:pt x="6175875" y="4350002"/>
                  <a:pt x="6177678" y="4348785"/>
                </a:cubicBezTo>
                <a:cubicBezTo>
                  <a:pt x="6179183" y="4348231"/>
                  <a:pt x="6181287" y="4348231"/>
                  <a:pt x="6183090" y="4348563"/>
                </a:cubicBezTo>
                <a:close/>
                <a:moveTo>
                  <a:pt x="5711726" y="4348231"/>
                </a:moveTo>
                <a:cubicBezTo>
                  <a:pt x="5718039" y="4348010"/>
                  <a:pt x="5722548" y="4350556"/>
                  <a:pt x="5727959" y="4357749"/>
                </a:cubicBezTo>
                <a:cubicBezTo>
                  <a:pt x="5726757" y="4365164"/>
                  <a:pt x="5714733" y="4371804"/>
                  <a:pt x="5708119" y="4362729"/>
                </a:cubicBezTo>
                <a:cubicBezTo>
                  <a:pt x="5707217" y="4357971"/>
                  <a:pt x="5706315" y="4353101"/>
                  <a:pt x="5711726" y="4348231"/>
                </a:cubicBezTo>
                <a:close/>
                <a:moveTo>
                  <a:pt x="1917967" y="4348231"/>
                </a:moveTo>
                <a:cubicBezTo>
                  <a:pt x="1924280" y="4348010"/>
                  <a:pt x="1928789" y="4350556"/>
                  <a:pt x="1934200" y="4357749"/>
                </a:cubicBezTo>
                <a:cubicBezTo>
                  <a:pt x="1933298" y="4365164"/>
                  <a:pt x="1920973" y="4371804"/>
                  <a:pt x="1914359" y="4362729"/>
                </a:cubicBezTo>
                <a:cubicBezTo>
                  <a:pt x="1913458" y="4357971"/>
                  <a:pt x="1912556" y="4353101"/>
                  <a:pt x="1917967" y="4348231"/>
                </a:cubicBezTo>
                <a:close/>
                <a:moveTo>
                  <a:pt x="2395344" y="4347678"/>
                </a:moveTo>
                <a:cubicBezTo>
                  <a:pt x="2396546" y="4347457"/>
                  <a:pt x="2398048" y="4348121"/>
                  <a:pt x="2399852" y="4349006"/>
                </a:cubicBezTo>
                <a:cubicBezTo>
                  <a:pt x="2399552" y="4350666"/>
                  <a:pt x="2398951" y="4351994"/>
                  <a:pt x="2398048" y="4352658"/>
                </a:cubicBezTo>
                <a:lnTo>
                  <a:pt x="2394441" y="4352880"/>
                </a:lnTo>
                <a:lnTo>
                  <a:pt x="2394741" y="4353544"/>
                </a:lnTo>
                <a:cubicBezTo>
                  <a:pt x="2392939" y="4355536"/>
                  <a:pt x="2390834" y="4356975"/>
                  <a:pt x="2388729" y="4357417"/>
                </a:cubicBezTo>
                <a:lnTo>
                  <a:pt x="2382417" y="4354650"/>
                </a:lnTo>
                <a:lnTo>
                  <a:pt x="2382116" y="4356642"/>
                </a:lnTo>
                <a:cubicBezTo>
                  <a:pt x="2380312" y="4357196"/>
                  <a:pt x="2377306" y="4358303"/>
                  <a:pt x="2375202" y="4357307"/>
                </a:cubicBezTo>
                <a:cubicBezTo>
                  <a:pt x="2373699" y="4357860"/>
                  <a:pt x="2374000" y="4352990"/>
                  <a:pt x="2374000" y="4353101"/>
                </a:cubicBezTo>
                <a:cubicBezTo>
                  <a:pt x="2374601" y="4352105"/>
                  <a:pt x="2376405" y="4351773"/>
                  <a:pt x="2378208" y="4351773"/>
                </a:cubicBezTo>
                <a:lnTo>
                  <a:pt x="2380312" y="4351773"/>
                </a:lnTo>
                <a:lnTo>
                  <a:pt x="2380613" y="4351330"/>
                </a:lnTo>
                <a:cubicBezTo>
                  <a:pt x="2380913" y="4349892"/>
                  <a:pt x="2382417" y="4350002"/>
                  <a:pt x="2383919" y="4348785"/>
                </a:cubicBezTo>
                <a:cubicBezTo>
                  <a:pt x="2385723" y="4348231"/>
                  <a:pt x="2387527" y="4348231"/>
                  <a:pt x="2389330" y="4348563"/>
                </a:cubicBezTo>
                <a:lnTo>
                  <a:pt x="2393239" y="4350224"/>
                </a:lnTo>
                <a:close/>
                <a:moveTo>
                  <a:pt x="1366038" y="4347678"/>
                </a:moveTo>
                <a:cubicBezTo>
                  <a:pt x="1367541" y="4347457"/>
                  <a:pt x="1368744" y="4348121"/>
                  <a:pt x="1370847" y="4349006"/>
                </a:cubicBezTo>
                <a:cubicBezTo>
                  <a:pt x="1370547" y="4350666"/>
                  <a:pt x="1369946" y="4351994"/>
                  <a:pt x="1368744" y="4352658"/>
                </a:cubicBezTo>
                <a:cubicBezTo>
                  <a:pt x="1367841" y="4353433"/>
                  <a:pt x="1366339" y="4353654"/>
                  <a:pt x="1363333" y="4353101"/>
                </a:cubicBezTo>
                <a:cubicBezTo>
                  <a:pt x="1363333" y="4353101"/>
                  <a:pt x="1363031" y="4351552"/>
                  <a:pt x="1363031" y="4351552"/>
                </a:cubicBezTo>
                <a:cubicBezTo>
                  <a:pt x="1364234" y="4349006"/>
                  <a:pt x="1364835" y="4347899"/>
                  <a:pt x="1366038" y="4347678"/>
                </a:cubicBezTo>
                <a:close/>
                <a:moveTo>
                  <a:pt x="1323350" y="4345797"/>
                </a:moveTo>
                <a:cubicBezTo>
                  <a:pt x="1328161" y="4350998"/>
                  <a:pt x="1329062" y="4355204"/>
                  <a:pt x="1328161" y="4358856"/>
                </a:cubicBezTo>
                <a:cubicBezTo>
                  <a:pt x="1326957" y="4362619"/>
                  <a:pt x="1323951" y="4365828"/>
                  <a:pt x="1321246" y="4369038"/>
                </a:cubicBezTo>
                <a:cubicBezTo>
                  <a:pt x="1320044" y="4367046"/>
                  <a:pt x="1318540" y="4365939"/>
                  <a:pt x="1317038" y="4365386"/>
                </a:cubicBezTo>
                <a:lnTo>
                  <a:pt x="1314933" y="4364832"/>
                </a:lnTo>
                <a:lnTo>
                  <a:pt x="1318240" y="4369148"/>
                </a:lnTo>
                <a:cubicBezTo>
                  <a:pt x="1314633" y="4371915"/>
                  <a:pt x="1311026" y="4374682"/>
                  <a:pt x="1308621" y="4371472"/>
                </a:cubicBezTo>
                <a:cubicBezTo>
                  <a:pt x="1309522" y="4370034"/>
                  <a:pt x="1309823" y="4368927"/>
                  <a:pt x="1310425" y="4367820"/>
                </a:cubicBezTo>
                <a:lnTo>
                  <a:pt x="1314032" y="4364611"/>
                </a:lnTo>
                <a:lnTo>
                  <a:pt x="1312228" y="4364168"/>
                </a:lnTo>
                <a:cubicBezTo>
                  <a:pt x="1309222" y="4363615"/>
                  <a:pt x="1306817" y="4362619"/>
                  <a:pt x="1306817" y="4356532"/>
                </a:cubicBezTo>
                <a:cubicBezTo>
                  <a:pt x="1309222" y="4351552"/>
                  <a:pt x="1314032" y="4347567"/>
                  <a:pt x="1323350" y="4345797"/>
                </a:cubicBezTo>
                <a:close/>
                <a:moveTo>
                  <a:pt x="5508511" y="4345575"/>
                </a:moveTo>
                <a:cubicBezTo>
                  <a:pt x="5510915" y="4345243"/>
                  <a:pt x="5513321" y="4346239"/>
                  <a:pt x="5514824" y="4348453"/>
                </a:cubicBezTo>
                <a:cubicBezTo>
                  <a:pt x="5516026" y="4349892"/>
                  <a:pt x="5516627" y="4351773"/>
                  <a:pt x="5517228" y="4354208"/>
                </a:cubicBezTo>
                <a:lnTo>
                  <a:pt x="5513020" y="4354872"/>
                </a:lnTo>
                <a:lnTo>
                  <a:pt x="5511516" y="4358413"/>
                </a:lnTo>
                <a:cubicBezTo>
                  <a:pt x="5511516" y="4358413"/>
                  <a:pt x="5510014" y="4358192"/>
                  <a:pt x="5510014" y="4358192"/>
                </a:cubicBezTo>
                <a:lnTo>
                  <a:pt x="5508211" y="4355536"/>
                </a:lnTo>
                <a:lnTo>
                  <a:pt x="5507910" y="4355536"/>
                </a:lnTo>
                <a:cubicBezTo>
                  <a:pt x="5505203" y="4354761"/>
                  <a:pt x="5503400" y="4352990"/>
                  <a:pt x="5501897" y="4350666"/>
                </a:cubicBezTo>
                <a:cubicBezTo>
                  <a:pt x="5503701" y="4347567"/>
                  <a:pt x="5506105" y="4345907"/>
                  <a:pt x="5508511" y="4345575"/>
                </a:cubicBezTo>
                <a:close/>
                <a:moveTo>
                  <a:pt x="2744056" y="4345575"/>
                </a:moveTo>
                <a:cubicBezTo>
                  <a:pt x="2746461" y="4345243"/>
                  <a:pt x="2748866" y="4346239"/>
                  <a:pt x="2750369" y="4348453"/>
                </a:cubicBezTo>
                <a:cubicBezTo>
                  <a:pt x="2751572" y="4349892"/>
                  <a:pt x="2752173" y="4351773"/>
                  <a:pt x="2752473" y="4354208"/>
                </a:cubicBezTo>
                <a:lnTo>
                  <a:pt x="2748566" y="4354872"/>
                </a:lnTo>
                <a:lnTo>
                  <a:pt x="2747062" y="4358413"/>
                </a:lnTo>
                <a:cubicBezTo>
                  <a:pt x="2747062" y="4358413"/>
                  <a:pt x="2745560" y="4358192"/>
                  <a:pt x="2745560" y="4358192"/>
                </a:cubicBezTo>
                <a:lnTo>
                  <a:pt x="2743756" y="4355536"/>
                </a:lnTo>
                <a:lnTo>
                  <a:pt x="2743155" y="4355536"/>
                </a:lnTo>
                <a:cubicBezTo>
                  <a:pt x="2740750" y="4354761"/>
                  <a:pt x="2738645" y="4352990"/>
                  <a:pt x="2737443" y="4350666"/>
                </a:cubicBezTo>
                <a:cubicBezTo>
                  <a:pt x="2739246" y="4347567"/>
                  <a:pt x="2741651" y="4345907"/>
                  <a:pt x="2744056" y="4345575"/>
                </a:cubicBezTo>
                <a:close/>
                <a:moveTo>
                  <a:pt x="2243232" y="4345022"/>
                </a:moveTo>
                <a:cubicBezTo>
                  <a:pt x="2246539" y="4344911"/>
                  <a:pt x="2249846" y="4345907"/>
                  <a:pt x="2253754" y="4347789"/>
                </a:cubicBezTo>
                <a:cubicBezTo>
                  <a:pt x="2253152" y="4350666"/>
                  <a:pt x="2247741" y="4354761"/>
                  <a:pt x="2243834" y="4357417"/>
                </a:cubicBezTo>
                <a:cubicBezTo>
                  <a:pt x="2239324" y="4357085"/>
                  <a:pt x="2235116" y="4353654"/>
                  <a:pt x="2232711" y="4349006"/>
                </a:cubicBezTo>
                <a:cubicBezTo>
                  <a:pt x="2236318" y="4346350"/>
                  <a:pt x="2239624" y="4345133"/>
                  <a:pt x="2243232" y="4345022"/>
                </a:cubicBezTo>
                <a:close/>
                <a:moveTo>
                  <a:pt x="1213927" y="4345022"/>
                </a:moveTo>
                <a:cubicBezTo>
                  <a:pt x="1217534" y="4344911"/>
                  <a:pt x="1220841" y="4345907"/>
                  <a:pt x="1224449" y="4347789"/>
                </a:cubicBezTo>
                <a:cubicBezTo>
                  <a:pt x="1224147" y="4350666"/>
                  <a:pt x="1218435" y="4354761"/>
                  <a:pt x="1214828" y="4357417"/>
                </a:cubicBezTo>
                <a:cubicBezTo>
                  <a:pt x="1210018" y="4357085"/>
                  <a:pt x="1205810" y="4353654"/>
                  <a:pt x="1203405" y="4349006"/>
                </a:cubicBezTo>
                <a:cubicBezTo>
                  <a:pt x="1207313" y="4346350"/>
                  <a:pt x="1210620" y="4345133"/>
                  <a:pt x="1213927" y="4345022"/>
                </a:cubicBezTo>
                <a:close/>
                <a:moveTo>
                  <a:pt x="5992200" y="4337718"/>
                </a:moveTo>
                <a:cubicBezTo>
                  <a:pt x="5993402" y="4337828"/>
                  <a:pt x="5993702" y="4337828"/>
                  <a:pt x="5994003" y="4338160"/>
                </a:cubicBezTo>
                <a:cubicBezTo>
                  <a:pt x="5994303" y="4338492"/>
                  <a:pt x="5994003" y="4338935"/>
                  <a:pt x="5993402" y="4339931"/>
                </a:cubicBezTo>
                <a:cubicBezTo>
                  <a:pt x="5991299" y="4339710"/>
                  <a:pt x="5992801" y="4338935"/>
                  <a:pt x="5992200" y="4337718"/>
                </a:cubicBezTo>
                <a:close/>
                <a:moveTo>
                  <a:pt x="2198441" y="4337718"/>
                </a:moveTo>
                <a:cubicBezTo>
                  <a:pt x="2199643" y="4337828"/>
                  <a:pt x="2199944" y="4337828"/>
                  <a:pt x="2200244" y="4338160"/>
                </a:cubicBezTo>
                <a:cubicBezTo>
                  <a:pt x="2200544" y="4338492"/>
                  <a:pt x="2200244" y="4338935"/>
                  <a:pt x="2199643" y="4339931"/>
                </a:cubicBezTo>
                <a:cubicBezTo>
                  <a:pt x="2197538" y="4339710"/>
                  <a:pt x="2199042" y="4338935"/>
                  <a:pt x="2198441" y="4337718"/>
                </a:cubicBezTo>
                <a:close/>
                <a:moveTo>
                  <a:pt x="2418791" y="4337164"/>
                </a:moveTo>
                <a:cubicBezTo>
                  <a:pt x="2420896" y="4336611"/>
                  <a:pt x="2423301" y="4337164"/>
                  <a:pt x="2426307" y="4338160"/>
                </a:cubicBezTo>
                <a:cubicBezTo>
                  <a:pt x="2423301" y="4342809"/>
                  <a:pt x="2419693" y="4342698"/>
                  <a:pt x="2412779" y="4342698"/>
                </a:cubicBezTo>
                <a:cubicBezTo>
                  <a:pt x="2414883" y="4339378"/>
                  <a:pt x="2416687" y="4337718"/>
                  <a:pt x="2418791" y="4337164"/>
                </a:cubicBezTo>
                <a:close/>
                <a:moveTo>
                  <a:pt x="1389786" y="4337164"/>
                </a:moveTo>
                <a:cubicBezTo>
                  <a:pt x="1391891" y="4336611"/>
                  <a:pt x="1394296" y="4337164"/>
                  <a:pt x="1397302" y="4338160"/>
                </a:cubicBezTo>
                <a:cubicBezTo>
                  <a:pt x="1393995" y="4342809"/>
                  <a:pt x="1390688" y="4342698"/>
                  <a:pt x="1383774" y="4342698"/>
                </a:cubicBezTo>
                <a:cubicBezTo>
                  <a:pt x="1385879" y="4339378"/>
                  <a:pt x="1387682" y="4337718"/>
                  <a:pt x="1389786" y="4337164"/>
                </a:cubicBezTo>
                <a:close/>
                <a:moveTo>
                  <a:pt x="2269987" y="4335726"/>
                </a:moveTo>
                <a:cubicBezTo>
                  <a:pt x="2273294" y="4334951"/>
                  <a:pt x="2277201" y="4336390"/>
                  <a:pt x="2276600" y="4340484"/>
                </a:cubicBezTo>
                <a:cubicBezTo>
                  <a:pt x="2274195" y="4341259"/>
                  <a:pt x="2271490" y="4343473"/>
                  <a:pt x="2267883" y="4343583"/>
                </a:cubicBezTo>
                <a:cubicBezTo>
                  <a:pt x="2264275" y="4339267"/>
                  <a:pt x="2266680" y="4336390"/>
                  <a:pt x="2269987" y="4335726"/>
                </a:cubicBezTo>
                <a:close/>
                <a:moveTo>
                  <a:pt x="1240981" y="4335726"/>
                </a:moveTo>
                <a:cubicBezTo>
                  <a:pt x="1243989" y="4334951"/>
                  <a:pt x="1247896" y="4336390"/>
                  <a:pt x="1247295" y="4340484"/>
                </a:cubicBezTo>
                <a:cubicBezTo>
                  <a:pt x="1245191" y="4341259"/>
                  <a:pt x="1242185" y="4343473"/>
                  <a:pt x="1238878" y="4343583"/>
                </a:cubicBezTo>
                <a:cubicBezTo>
                  <a:pt x="1235270" y="4339267"/>
                  <a:pt x="1237675" y="4336390"/>
                  <a:pt x="1240981" y="4335726"/>
                </a:cubicBezTo>
                <a:close/>
                <a:moveTo>
                  <a:pt x="6060739" y="4335394"/>
                </a:moveTo>
                <a:cubicBezTo>
                  <a:pt x="6062845" y="4335172"/>
                  <a:pt x="6064949" y="4335394"/>
                  <a:pt x="6066753" y="4336058"/>
                </a:cubicBezTo>
                <a:cubicBezTo>
                  <a:pt x="6070360" y="4337275"/>
                  <a:pt x="6073065" y="4340263"/>
                  <a:pt x="6076071" y="4344469"/>
                </a:cubicBezTo>
                <a:cubicBezTo>
                  <a:pt x="6072765" y="4350334"/>
                  <a:pt x="6062243" y="4354872"/>
                  <a:pt x="6056231" y="4351552"/>
                </a:cubicBezTo>
                <a:cubicBezTo>
                  <a:pt x="6052323" y="4344358"/>
                  <a:pt x="6056531" y="4341591"/>
                  <a:pt x="6053525" y="4337386"/>
                </a:cubicBezTo>
                <a:cubicBezTo>
                  <a:pt x="6056231" y="4336279"/>
                  <a:pt x="6058636" y="4335504"/>
                  <a:pt x="6060739" y="4335394"/>
                </a:cubicBezTo>
                <a:close/>
                <a:moveTo>
                  <a:pt x="2007250" y="4334398"/>
                </a:moveTo>
                <a:cubicBezTo>
                  <a:pt x="2008452" y="4333844"/>
                  <a:pt x="2010256" y="4333955"/>
                  <a:pt x="2012059" y="4334508"/>
                </a:cubicBezTo>
                <a:cubicBezTo>
                  <a:pt x="2017770" y="4336279"/>
                  <a:pt x="2025587" y="4342145"/>
                  <a:pt x="2028893" y="4345797"/>
                </a:cubicBezTo>
                <a:cubicBezTo>
                  <a:pt x="2027691" y="4346461"/>
                  <a:pt x="2026189" y="4346239"/>
                  <a:pt x="2024084" y="4345686"/>
                </a:cubicBezTo>
                <a:cubicBezTo>
                  <a:pt x="2018372" y="4344026"/>
                  <a:pt x="2010857" y="4338160"/>
                  <a:pt x="2007250" y="4334398"/>
                </a:cubicBezTo>
                <a:close/>
                <a:moveTo>
                  <a:pt x="778937" y="4329196"/>
                </a:moveTo>
                <a:cubicBezTo>
                  <a:pt x="786152" y="4344247"/>
                  <a:pt x="799981" y="4353322"/>
                  <a:pt x="798778" y="4362951"/>
                </a:cubicBezTo>
                <a:cubicBezTo>
                  <a:pt x="798177" y="4366160"/>
                  <a:pt x="796072" y="4369480"/>
                  <a:pt x="791563" y="4373133"/>
                </a:cubicBezTo>
                <a:cubicBezTo>
                  <a:pt x="782544" y="4367488"/>
                  <a:pt x="754888" y="4335947"/>
                  <a:pt x="778937" y="4329196"/>
                </a:cubicBezTo>
                <a:close/>
                <a:moveTo>
                  <a:pt x="5777260" y="4328864"/>
                </a:moveTo>
                <a:cubicBezTo>
                  <a:pt x="5780868" y="4327979"/>
                  <a:pt x="5785678" y="4331188"/>
                  <a:pt x="5790789" y="4342809"/>
                </a:cubicBezTo>
                <a:cubicBezTo>
                  <a:pt x="5782370" y="4348785"/>
                  <a:pt x="5776959" y="4349228"/>
                  <a:pt x="5773953" y="4347235"/>
                </a:cubicBezTo>
                <a:cubicBezTo>
                  <a:pt x="5768543" y="4343251"/>
                  <a:pt x="5771248" y="4330413"/>
                  <a:pt x="5777260" y="4328864"/>
                </a:cubicBezTo>
                <a:close/>
                <a:moveTo>
                  <a:pt x="1983801" y="4328864"/>
                </a:moveTo>
                <a:cubicBezTo>
                  <a:pt x="1987409" y="4327979"/>
                  <a:pt x="1992218" y="4331188"/>
                  <a:pt x="1997028" y="4342809"/>
                </a:cubicBezTo>
                <a:cubicBezTo>
                  <a:pt x="1988611" y="4348785"/>
                  <a:pt x="1983501" y="4349228"/>
                  <a:pt x="1980495" y="4347235"/>
                </a:cubicBezTo>
                <a:cubicBezTo>
                  <a:pt x="1974783" y="4343251"/>
                  <a:pt x="1977789" y="4330413"/>
                  <a:pt x="1983801" y="4328864"/>
                </a:cubicBezTo>
                <a:close/>
                <a:moveTo>
                  <a:pt x="5830770" y="4327979"/>
                </a:moveTo>
                <a:lnTo>
                  <a:pt x="5831972" y="4332184"/>
                </a:lnTo>
                <a:lnTo>
                  <a:pt x="5834978" y="4332405"/>
                </a:lnTo>
                <a:cubicBezTo>
                  <a:pt x="5836482" y="4332627"/>
                  <a:pt x="5837984" y="4333180"/>
                  <a:pt x="5837984" y="4334840"/>
                </a:cubicBezTo>
                <a:cubicBezTo>
                  <a:pt x="5836181" y="4335062"/>
                  <a:pt x="5834678" y="4335062"/>
                  <a:pt x="5833474" y="4334619"/>
                </a:cubicBezTo>
                <a:lnTo>
                  <a:pt x="5832273" y="4333512"/>
                </a:lnTo>
                <a:lnTo>
                  <a:pt x="5832573" y="4334730"/>
                </a:lnTo>
                <a:cubicBezTo>
                  <a:pt x="5838886" y="4347014"/>
                  <a:pt x="5855119" y="4335394"/>
                  <a:pt x="5858126" y="4350888"/>
                </a:cubicBezTo>
                <a:lnTo>
                  <a:pt x="5854518" y="4363393"/>
                </a:lnTo>
                <a:lnTo>
                  <a:pt x="5856623" y="4363947"/>
                </a:lnTo>
                <a:cubicBezTo>
                  <a:pt x="5857224" y="4364057"/>
                  <a:pt x="5857525" y="4363947"/>
                  <a:pt x="5857525" y="4363283"/>
                </a:cubicBezTo>
                <a:cubicBezTo>
                  <a:pt x="5859328" y="4363947"/>
                  <a:pt x="5860530" y="4364943"/>
                  <a:pt x="5861433" y="4366271"/>
                </a:cubicBezTo>
                <a:cubicBezTo>
                  <a:pt x="5862334" y="4367488"/>
                  <a:pt x="5862334" y="4369038"/>
                  <a:pt x="5862334" y="4370698"/>
                </a:cubicBezTo>
                <a:cubicBezTo>
                  <a:pt x="5861433" y="4372801"/>
                  <a:pt x="5858427" y="4374129"/>
                  <a:pt x="5853316" y="4374793"/>
                </a:cubicBezTo>
                <a:lnTo>
                  <a:pt x="5852715" y="4370144"/>
                </a:lnTo>
                <a:lnTo>
                  <a:pt x="5852114" y="4372469"/>
                </a:lnTo>
                <a:cubicBezTo>
                  <a:pt x="5850309" y="4374571"/>
                  <a:pt x="5848205" y="4376563"/>
                  <a:pt x="5845500" y="4378334"/>
                </a:cubicBezTo>
                <a:cubicBezTo>
                  <a:pt x="5836782" y="4360295"/>
                  <a:pt x="5825359" y="4351552"/>
                  <a:pt x="5814537" y="4337607"/>
                </a:cubicBezTo>
                <a:cubicBezTo>
                  <a:pt x="5816941" y="4333512"/>
                  <a:pt x="5821150" y="4330745"/>
                  <a:pt x="5830770" y="4327979"/>
                </a:cubicBezTo>
                <a:close/>
                <a:moveTo>
                  <a:pt x="5598995" y="4325433"/>
                </a:moveTo>
                <a:cubicBezTo>
                  <a:pt x="5612523" y="4324216"/>
                  <a:pt x="5625450" y="4330524"/>
                  <a:pt x="5629358" y="4348785"/>
                </a:cubicBezTo>
                <a:lnTo>
                  <a:pt x="5628757" y="4355868"/>
                </a:lnTo>
                <a:lnTo>
                  <a:pt x="5629358" y="4356089"/>
                </a:lnTo>
                <a:lnTo>
                  <a:pt x="5628757" y="4358856"/>
                </a:lnTo>
                <a:lnTo>
                  <a:pt x="5628456" y="4361180"/>
                </a:lnTo>
                <a:cubicBezTo>
                  <a:pt x="5625450" y="4373465"/>
                  <a:pt x="5617032" y="4385749"/>
                  <a:pt x="5612824" y="4402128"/>
                </a:cubicBezTo>
                <a:cubicBezTo>
                  <a:pt x="5608315" y="4394824"/>
                  <a:pt x="5601401" y="4391836"/>
                  <a:pt x="5594185" y="4389955"/>
                </a:cubicBezTo>
                <a:lnTo>
                  <a:pt x="5586370" y="4387962"/>
                </a:lnTo>
                <a:lnTo>
                  <a:pt x="5585469" y="4389512"/>
                </a:lnTo>
                <a:cubicBezTo>
                  <a:pt x="5585469" y="4389955"/>
                  <a:pt x="5585469" y="4389955"/>
                  <a:pt x="5586070" y="4389733"/>
                </a:cubicBezTo>
                <a:cubicBezTo>
                  <a:pt x="5583964" y="4393496"/>
                  <a:pt x="5581861" y="4398808"/>
                  <a:pt x="5578554" y="4398476"/>
                </a:cubicBezTo>
                <a:cubicBezTo>
                  <a:pt x="5572841" y="4396484"/>
                  <a:pt x="5572240" y="4390508"/>
                  <a:pt x="5572841" y="4384532"/>
                </a:cubicBezTo>
                <a:lnTo>
                  <a:pt x="5572841" y="4383757"/>
                </a:lnTo>
                <a:lnTo>
                  <a:pt x="5567732" y="4380105"/>
                </a:lnTo>
                <a:cubicBezTo>
                  <a:pt x="5566228" y="4378555"/>
                  <a:pt x="5564726" y="4376563"/>
                  <a:pt x="5563824" y="4374129"/>
                </a:cubicBezTo>
                <a:lnTo>
                  <a:pt x="5562020" y="4365939"/>
                </a:lnTo>
                <a:lnTo>
                  <a:pt x="5558413" y="4364832"/>
                </a:lnTo>
                <a:cubicBezTo>
                  <a:pt x="5556007" y="4348563"/>
                  <a:pt x="5560216" y="4343251"/>
                  <a:pt x="5566228" y="4343473"/>
                </a:cubicBezTo>
                <a:lnTo>
                  <a:pt x="5567431" y="4343915"/>
                </a:lnTo>
                <a:lnTo>
                  <a:pt x="5573443" y="4336611"/>
                </a:lnTo>
                <a:cubicBezTo>
                  <a:pt x="5580659" y="4330413"/>
                  <a:pt x="5589977" y="4326208"/>
                  <a:pt x="5598995" y="4325433"/>
                </a:cubicBezTo>
                <a:close/>
                <a:moveTo>
                  <a:pt x="1805236" y="4325433"/>
                </a:moveTo>
                <a:cubicBezTo>
                  <a:pt x="1818764" y="4324216"/>
                  <a:pt x="1831690" y="4330524"/>
                  <a:pt x="1835598" y="4348785"/>
                </a:cubicBezTo>
                <a:lnTo>
                  <a:pt x="1835298" y="4355868"/>
                </a:lnTo>
                <a:lnTo>
                  <a:pt x="1835598" y="4356089"/>
                </a:lnTo>
                <a:lnTo>
                  <a:pt x="1834998" y="4358856"/>
                </a:lnTo>
                <a:lnTo>
                  <a:pt x="1834998" y="4361180"/>
                </a:lnTo>
                <a:lnTo>
                  <a:pt x="1830788" y="4371804"/>
                </a:lnTo>
                <a:lnTo>
                  <a:pt x="1838004" y="4370144"/>
                </a:lnTo>
                <a:cubicBezTo>
                  <a:pt x="1842212" y="4370034"/>
                  <a:pt x="1846721" y="4371030"/>
                  <a:pt x="1850629" y="4373243"/>
                </a:cubicBezTo>
                <a:cubicBezTo>
                  <a:pt x="1869868" y="4386524"/>
                  <a:pt x="1858445" y="4407330"/>
                  <a:pt x="1840409" y="4411425"/>
                </a:cubicBezTo>
                <a:cubicBezTo>
                  <a:pt x="1829586" y="4413970"/>
                  <a:pt x="1816359" y="4410429"/>
                  <a:pt x="1806138" y="4395599"/>
                </a:cubicBezTo>
                <a:lnTo>
                  <a:pt x="1807942" y="4392832"/>
                </a:lnTo>
                <a:lnTo>
                  <a:pt x="1800727" y="4389955"/>
                </a:lnTo>
                <a:lnTo>
                  <a:pt x="1794414" y="4388405"/>
                </a:lnTo>
                <a:lnTo>
                  <a:pt x="1791408" y="4396152"/>
                </a:lnTo>
                <a:lnTo>
                  <a:pt x="1789303" y="4395045"/>
                </a:lnTo>
                <a:lnTo>
                  <a:pt x="1789303" y="4395709"/>
                </a:lnTo>
                <a:cubicBezTo>
                  <a:pt x="1788101" y="4397370"/>
                  <a:pt x="1786598" y="4398698"/>
                  <a:pt x="1784795" y="4398476"/>
                </a:cubicBezTo>
                <a:cubicBezTo>
                  <a:pt x="1779384" y="4396484"/>
                  <a:pt x="1778481" y="4390508"/>
                  <a:pt x="1779082" y="4384532"/>
                </a:cubicBezTo>
                <a:lnTo>
                  <a:pt x="1779082" y="4383757"/>
                </a:lnTo>
                <a:lnTo>
                  <a:pt x="1773973" y="4380105"/>
                </a:lnTo>
                <a:cubicBezTo>
                  <a:pt x="1772469" y="4378555"/>
                  <a:pt x="1771267" y="4376563"/>
                  <a:pt x="1770064" y="4374129"/>
                </a:cubicBezTo>
                <a:lnTo>
                  <a:pt x="1768562" y="4365939"/>
                </a:lnTo>
                <a:lnTo>
                  <a:pt x="1764653" y="4364832"/>
                </a:lnTo>
                <a:cubicBezTo>
                  <a:pt x="1762248" y="4348563"/>
                  <a:pt x="1766757" y="4343251"/>
                  <a:pt x="1772770" y="4343473"/>
                </a:cubicBezTo>
                <a:lnTo>
                  <a:pt x="1773973" y="4343915"/>
                </a:lnTo>
                <a:lnTo>
                  <a:pt x="1779985" y="4336611"/>
                </a:lnTo>
                <a:cubicBezTo>
                  <a:pt x="1787199" y="4330413"/>
                  <a:pt x="1796519" y="4326208"/>
                  <a:pt x="1805236" y="4325433"/>
                </a:cubicBezTo>
                <a:close/>
                <a:moveTo>
                  <a:pt x="6125072" y="4324769"/>
                </a:moveTo>
                <a:cubicBezTo>
                  <a:pt x="6126875" y="4324990"/>
                  <a:pt x="6128679" y="4325876"/>
                  <a:pt x="6130784" y="4327647"/>
                </a:cubicBezTo>
                <a:cubicBezTo>
                  <a:pt x="6128979" y="4333734"/>
                  <a:pt x="6118158" y="4337164"/>
                  <a:pt x="6108538" y="4341370"/>
                </a:cubicBezTo>
                <a:cubicBezTo>
                  <a:pt x="6107336" y="4337275"/>
                  <a:pt x="6106734" y="4335394"/>
                  <a:pt x="6104930" y="4332737"/>
                </a:cubicBezTo>
                <a:cubicBezTo>
                  <a:pt x="6114550" y="4329639"/>
                  <a:pt x="6119661" y="4324216"/>
                  <a:pt x="6125072" y="4324769"/>
                </a:cubicBezTo>
                <a:close/>
                <a:moveTo>
                  <a:pt x="5934482" y="4324769"/>
                </a:moveTo>
                <a:cubicBezTo>
                  <a:pt x="5938389" y="4325212"/>
                  <a:pt x="5945604" y="4326097"/>
                  <a:pt x="5948310" y="4328753"/>
                </a:cubicBezTo>
                <a:cubicBezTo>
                  <a:pt x="5949512" y="4329749"/>
                  <a:pt x="5949813" y="4330856"/>
                  <a:pt x="5949512" y="4332184"/>
                </a:cubicBezTo>
                <a:cubicBezTo>
                  <a:pt x="5948611" y="4334176"/>
                  <a:pt x="5946808" y="4333402"/>
                  <a:pt x="5945304" y="4334066"/>
                </a:cubicBezTo>
                <a:cubicBezTo>
                  <a:pt x="5941697" y="4334066"/>
                  <a:pt x="5933580" y="4326761"/>
                  <a:pt x="5934482" y="4324769"/>
                </a:cubicBezTo>
                <a:close/>
                <a:moveTo>
                  <a:pt x="2331312" y="4324769"/>
                </a:moveTo>
                <a:cubicBezTo>
                  <a:pt x="2333116" y="4324990"/>
                  <a:pt x="2334920" y="4325876"/>
                  <a:pt x="2337023" y="4327647"/>
                </a:cubicBezTo>
                <a:cubicBezTo>
                  <a:pt x="2335521" y="4333734"/>
                  <a:pt x="2324398" y="4337164"/>
                  <a:pt x="2315079" y="4341370"/>
                </a:cubicBezTo>
                <a:cubicBezTo>
                  <a:pt x="2313876" y="4337275"/>
                  <a:pt x="2313275" y="4335394"/>
                  <a:pt x="2311171" y="4332737"/>
                </a:cubicBezTo>
                <a:cubicBezTo>
                  <a:pt x="2321091" y="4329639"/>
                  <a:pt x="2325900" y="4324216"/>
                  <a:pt x="2331312" y="4324769"/>
                </a:cubicBezTo>
                <a:close/>
                <a:moveTo>
                  <a:pt x="2140723" y="4324769"/>
                </a:moveTo>
                <a:cubicBezTo>
                  <a:pt x="2144630" y="4325212"/>
                  <a:pt x="2151845" y="4326097"/>
                  <a:pt x="2154852" y="4328753"/>
                </a:cubicBezTo>
                <a:cubicBezTo>
                  <a:pt x="2155753" y="4329749"/>
                  <a:pt x="2156354" y="4330856"/>
                  <a:pt x="2156054" y="4332184"/>
                </a:cubicBezTo>
                <a:cubicBezTo>
                  <a:pt x="2155152" y="4334176"/>
                  <a:pt x="2153047" y="4333402"/>
                  <a:pt x="2151545" y="4334066"/>
                </a:cubicBezTo>
                <a:cubicBezTo>
                  <a:pt x="2147937" y="4334066"/>
                  <a:pt x="2139820" y="4326761"/>
                  <a:pt x="2140723" y="4324769"/>
                </a:cubicBezTo>
                <a:close/>
                <a:moveTo>
                  <a:pt x="2745860" y="4323994"/>
                </a:moveTo>
                <a:cubicBezTo>
                  <a:pt x="2747363" y="4326208"/>
                  <a:pt x="2747965" y="4328200"/>
                  <a:pt x="2747664" y="4330192"/>
                </a:cubicBezTo>
                <a:lnTo>
                  <a:pt x="2745860" y="4334398"/>
                </a:lnTo>
                <a:lnTo>
                  <a:pt x="2756983" y="4336500"/>
                </a:lnTo>
                <a:cubicBezTo>
                  <a:pt x="2761191" y="4336943"/>
                  <a:pt x="2764499" y="4337607"/>
                  <a:pt x="2766001" y="4339710"/>
                </a:cubicBezTo>
                <a:cubicBezTo>
                  <a:pt x="2766903" y="4341149"/>
                  <a:pt x="2767204" y="4343362"/>
                  <a:pt x="2766602" y="4346571"/>
                </a:cubicBezTo>
                <a:cubicBezTo>
                  <a:pt x="2759989" y="4347899"/>
                  <a:pt x="2734737" y="4346239"/>
                  <a:pt x="2743455" y="4333955"/>
                </a:cubicBezTo>
                <a:lnTo>
                  <a:pt x="2743756" y="4333955"/>
                </a:lnTo>
                <a:lnTo>
                  <a:pt x="2741951" y="4329860"/>
                </a:lnTo>
                <a:cubicBezTo>
                  <a:pt x="2742253" y="4327868"/>
                  <a:pt x="2743756" y="4326097"/>
                  <a:pt x="2745860" y="4323994"/>
                </a:cubicBezTo>
                <a:close/>
                <a:moveTo>
                  <a:pt x="1716855" y="4323994"/>
                </a:moveTo>
                <a:cubicBezTo>
                  <a:pt x="1718359" y="4326208"/>
                  <a:pt x="1718960" y="4328200"/>
                  <a:pt x="1718659" y="4330192"/>
                </a:cubicBezTo>
                <a:lnTo>
                  <a:pt x="1716855" y="4334398"/>
                </a:lnTo>
                <a:lnTo>
                  <a:pt x="1727978" y="4336500"/>
                </a:lnTo>
                <a:cubicBezTo>
                  <a:pt x="1731886" y="4336943"/>
                  <a:pt x="1735193" y="4337607"/>
                  <a:pt x="1736996" y="4339710"/>
                </a:cubicBezTo>
                <a:cubicBezTo>
                  <a:pt x="1737899" y="4341149"/>
                  <a:pt x="1738199" y="4343362"/>
                  <a:pt x="1737297" y="4346571"/>
                </a:cubicBezTo>
                <a:cubicBezTo>
                  <a:pt x="1730984" y="4347899"/>
                  <a:pt x="1705432" y="4346239"/>
                  <a:pt x="1714450" y="4333955"/>
                </a:cubicBezTo>
                <a:lnTo>
                  <a:pt x="1712948" y="4329860"/>
                </a:lnTo>
                <a:cubicBezTo>
                  <a:pt x="1713248" y="4327868"/>
                  <a:pt x="1714450" y="4326097"/>
                  <a:pt x="1716855" y="4323994"/>
                </a:cubicBezTo>
                <a:close/>
                <a:moveTo>
                  <a:pt x="2159962" y="4323773"/>
                </a:moveTo>
                <a:cubicBezTo>
                  <a:pt x="2160262" y="4323994"/>
                  <a:pt x="2160563" y="4324437"/>
                  <a:pt x="2161464" y="4324548"/>
                </a:cubicBezTo>
                <a:cubicBezTo>
                  <a:pt x="2159962" y="4325987"/>
                  <a:pt x="2159662" y="4325987"/>
                  <a:pt x="2158459" y="4324216"/>
                </a:cubicBezTo>
                <a:cubicBezTo>
                  <a:pt x="2159059" y="4323441"/>
                  <a:pt x="2159662" y="4323441"/>
                  <a:pt x="2159962" y="4323773"/>
                </a:cubicBezTo>
                <a:close/>
                <a:moveTo>
                  <a:pt x="1130657" y="4323773"/>
                </a:moveTo>
                <a:cubicBezTo>
                  <a:pt x="1131258" y="4323994"/>
                  <a:pt x="1131558" y="4324437"/>
                  <a:pt x="1132159" y="4324548"/>
                </a:cubicBezTo>
                <a:cubicBezTo>
                  <a:pt x="1130657" y="4325987"/>
                  <a:pt x="1130657" y="4325987"/>
                  <a:pt x="1129153" y="4324216"/>
                </a:cubicBezTo>
                <a:cubicBezTo>
                  <a:pt x="1130056" y="4323441"/>
                  <a:pt x="1130356" y="4323441"/>
                  <a:pt x="1130657" y="4323773"/>
                </a:cubicBezTo>
                <a:close/>
                <a:moveTo>
                  <a:pt x="1704831" y="4322998"/>
                </a:moveTo>
                <a:cubicBezTo>
                  <a:pt x="1709942" y="4329860"/>
                  <a:pt x="1712346" y="4336943"/>
                  <a:pt x="1713248" y="4344137"/>
                </a:cubicBezTo>
                <a:lnTo>
                  <a:pt x="1713248" y="4346903"/>
                </a:lnTo>
                <a:lnTo>
                  <a:pt x="1715051" y="4345575"/>
                </a:lnTo>
                <a:cubicBezTo>
                  <a:pt x="1717156" y="4345243"/>
                  <a:pt x="1719561" y="4346239"/>
                  <a:pt x="1721365" y="4348453"/>
                </a:cubicBezTo>
                <a:cubicBezTo>
                  <a:pt x="1722267" y="4349892"/>
                  <a:pt x="1723168" y="4351773"/>
                  <a:pt x="1723469" y="4354208"/>
                </a:cubicBezTo>
                <a:lnTo>
                  <a:pt x="1719260" y="4354872"/>
                </a:lnTo>
                <a:lnTo>
                  <a:pt x="1717757" y="4358413"/>
                </a:lnTo>
                <a:cubicBezTo>
                  <a:pt x="1717757" y="4358413"/>
                  <a:pt x="1716254" y="4358192"/>
                  <a:pt x="1716254" y="4358192"/>
                </a:cubicBezTo>
                <a:lnTo>
                  <a:pt x="1714751" y="4355536"/>
                </a:lnTo>
                <a:lnTo>
                  <a:pt x="1714150" y="4355536"/>
                </a:lnTo>
                <a:lnTo>
                  <a:pt x="1712948" y="4354650"/>
                </a:lnTo>
                <a:lnTo>
                  <a:pt x="1712948" y="4365939"/>
                </a:lnTo>
                <a:cubicBezTo>
                  <a:pt x="1684689" y="4389623"/>
                  <a:pt x="1686193" y="4350777"/>
                  <a:pt x="1680481" y="4333070"/>
                </a:cubicBezTo>
                <a:cubicBezTo>
                  <a:pt x="1689800" y="4325212"/>
                  <a:pt x="1693106" y="4323773"/>
                  <a:pt x="1704831" y="4322998"/>
                </a:cubicBezTo>
                <a:close/>
                <a:moveTo>
                  <a:pt x="1610138" y="4322445"/>
                </a:moveTo>
                <a:cubicBezTo>
                  <a:pt x="1611340" y="4322224"/>
                  <a:pt x="1612843" y="4322224"/>
                  <a:pt x="1614646" y="4322777"/>
                </a:cubicBezTo>
                <a:cubicBezTo>
                  <a:pt x="1611941" y="4324880"/>
                  <a:pt x="1607733" y="4329196"/>
                  <a:pt x="1604425" y="4329860"/>
                </a:cubicBezTo>
                <a:cubicBezTo>
                  <a:pt x="1603223" y="4330081"/>
                  <a:pt x="1602321" y="4329860"/>
                  <a:pt x="1601419" y="4329085"/>
                </a:cubicBezTo>
                <a:cubicBezTo>
                  <a:pt x="1603824" y="4326983"/>
                  <a:pt x="1606530" y="4323330"/>
                  <a:pt x="1610138" y="4322445"/>
                </a:cubicBezTo>
                <a:close/>
                <a:moveTo>
                  <a:pt x="2220686" y="4321670"/>
                </a:moveTo>
                <a:cubicBezTo>
                  <a:pt x="2228201" y="4334840"/>
                  <a:pt x="2219183" y="4341591"/>
                  <a:pt x="2211367" y="4340595"/>
                </a:cubicBezTo>
                <a:cubicBezTo>
                  <a:pt x="2208661" y="4340374"/>
                  <a:pt x="2206256" y="4339156"/>
                  <a:pt x="2204453" y="4337164"/>
                </a:cubicBezTo>
                <a:cubicBezTo>
                  <a:pt x="2202048" y="4334398"/>
                  <a:pt x="2201447" y="4330192"/>
                  <a:pt x="2203551" y="4324216"/>
                </a:cubicBezTo>
                <a:cubicBezTo>
                  <a:pt x="2210766" y="4320674"/>
                  <a:pt x="2214975" y="4322445"/>
                  <a:pt x="2220686" y="4321670"/>
                </a:cubicBezTo>
                <a:close/>
                <a:moveTo>
                  <a:pt x="1191682" y="4321670"/>
                </a:moveTo>
                <a:cubicBezTo>
                  <a:pt x="1198896" y="4334840"/>
                  <a:pt x="1189877" y="4341591"/>
                  <a:pt x="1182061" y="4340595"/>
                </a:cubicBezTo>
                <a:cubicBezTo>
                  <a:pt x="1179656" y="4340374"/>
                  <a:pt x="1176951" y="4339156"/>
                  <a:pt x="1175448" y="4337164"/>
                </a:cubicBezTo>
                <a:cubicBezTo>
                  <a:pt x="1173043" y="4334398"/>
                  <a:pt x="1172142" y="4330192"/>
                  <a:pt x="1174245" y="4324216"/>
                </a:cubicBezTo>
                <a:cubicBezTo>
                  <a:pt x="1181761" y="4320674"/>
                  <a:pt x="1185970" y="4322445"/>
                  <a:pt x="1191682" y="4321670"/>
                </a:cubicBezTo>
                <a:close/>
                <a:moveTo>
                  <a:pt x="1826279" y="4321338"/>
                </a:moveTo>
                <a:cubicBezTo>
                  <a:pt x="1827181" y="4321781"/>
                  <a:pt x="1827482" y="4322002"/>
                  <a:pt x="1828083" y="4322556"/>
                </a:cubicBezTo>
                <a:cubicBezTo>
                  <a:pt x="1828383" y="4323220"/>
                  <a:pt x="1828684" y="4324326"/>
                  <a:pt x="1829286" y="4326319"/>
                </a:cubicBezTo>
                <a:cubicBezTo>
                  <a:pt x="1827482" y="4325544"/>
                  <a:pt x="1827482" y="4325433"/>
                  <a:pt x="1826580" y="4327315"/>
                </a:cubicBezTo>
                <a:cubicBezTo>
                  <a:pt x="1826580" y="4327315"/>
                  <a:pt x="1826580" y="4327315"/>
                  <a:pt x="1826881" y="4328643"/>
                </a:cubicBezTo>
                <a:cubicBezTo>
                  <a:pt x="1825678" y="4329196"/>
                  <a:pt x="1825077" y="4327979"/>
                  <a:pt x="1823573" y="4328421"/>
                </a:cubicBezTo>
                <a:cubicBezTo>
                  <a:pt x="1823573" y="4328421"/>
                  <a:pt x="1823273" y="4327093"/>
                  <a:pt x="1823273" y="4327093"/>
                </a:cubicBezTo>
                <a:cubicBezTo>
                  <a:pt x="1822371" y="4327425"/>
                  <a:pt x="1822672" y="4327315"/>
                  <a:pt x="1822672" y="4326872"/>
                </a:cubicBezTo>
                <a:cubicBezTo>
                  <a:pt x="1822972" y="4326429"/>
                  <a:pt x="1823573" y="4325433"/>
                  <a:pt x="1823875" y="4323884"/>
                </a:cubicBezTo>
                <a:cubicBezTo>
                  <a:pt x="1824776" y="4321892"/>
                  <a:pt x="1824476" y="4320564"/>
                  <a:pt x="1826279" y="4321338"/>
                </a:cubicBezTo>
                <a:close/>
                <a:moveTo>
                  <a:pt x="797275" y="4321338"/>
                </a:moveTo>
                <a:cubicBezTo>
                  <a:pt x="798177" y="4321781"/>
                  <a:pt x="798477" y="4322002"/>
                  <a:pt x="798778" y="4322556"/>
                </a:cubicBezTo>
                <a:cubicBezTo>
                  <a:pt x="799378" y="4323220"/>
                  <a:pt x="799679" y="4324326"/>
                  <a:pt x="800281" y="4326319"/>
                </a:cubicBezTo>
                <a:cubicBezTo>
                  <a:pt x="798477" y="4325544"/>
                  <a:pt x="798477" y="4325433"/>
                  <a:pt x="797576" y="4327315"/>
                </a:cubicBezTo>
                <a:cubicBezTo>
                  <a:pt x="797576" y="4327315"/>
                  <a:pt x="797275" y="4327315"/>
                  <a:pt x="797876" y="4328643"/>
                </a:cubicBezTo>
                <a:cubicBezTo>
                  <a:pt x="796372" y="4329196"/>
                  <a:pt x="796072" y="4327979"/>
                  <a:pt x="794569" y="4328421"/>
                </a:cubicBezTo>
                <a:cubicBezTo>
                  <a:pt x="794569" y="4328421"/>
                  <a:pt x="793967" y="4327093"/>
                  <a:pt x="793967" y="4327093"/>
                </a:cubicBezTo>
                <a:cubicBezTo>
                  <a:pt x="793366" y="4327425"/>
                  <a:pt x="793366" y="4327315"/>
                  <a:pt x="793667" y="4326872"/>
                </a:cubicBezTo>
                <a:cubicBezTo>
                  <a:pt x="793967" y="4326429"/>
                  <a:pt x="794268" y="4325433"/>
                  <a:pt x="794569" y="4323884"/>
                </a:cubicBezTo>
                <a:cubicBezTo>
                  <a:pt x="795771" y="4321892"/>
                  <a:pt x="795170" y="4320564"/>
                  <a:pt x="797275" y="4321338"/>
                </a:cubicBezTo>
                <a:close/>
                <a:moveTo>
                  <a:pt x="5547891" y="4319678"/>
                </a:moveTo>
                <a:cubicBezTo>
                  <a:pt x="5551198" y="4318682"/>
                  <a:pt x="5554505" y="4318793"/>
                  <a:pt x="5556007" y="4319678"/>
                </a:cubicBezTo>
                <a:cubicBezTo>
                  <a:pt x="5559014" y="4322998"/>
                  <a:pt x="5560517" y="4329196"/>
                  <a:pt x="5555706" y="4333180"/>
                </a:cubicBezTo>
                <a:cubicBezTo>
                  <a:pt x="5552401" y="4337386"/>
                  <a:pt x="5545787" y="4336611"/>
                  <a:pt x="5540977" y="4340595"/>
                </a:cubicBezTo>
                <a:cubicBezTo>
                  <a:pt x="5534664" y="4335394"/>
                  <a:pt x="5533161" y="4333734"/>
                  <a:pt x="5536468" y="4326540"/>
                </a:cubicBezTo>
                <a:cubicBezTo>
                  <a:pt x="5536468" y="4326540"/>
                  <a:pt x="5538271" y="4325212"/>
                  <a:pt x="5538271" y="4325212"/>
                </a:cubicBezTo>
                <a:cubicBezTo>
                  <a:pt x="5540676" y="4322445"/>
                  <a:pt x="5544283" y="4320564"/>
                  <a:pt x="5547891" y="4319678"/>
                </a:cubicBezTo>
                <a:close/>
                <a:moveTo>
                  <a:pt x="2438932" y="4319457"/>
                </a:moveTo>
                <a:cubicBezTo>
                  <a:pt x="2446748" y="4320010"/>
                  <a:pt x="2454565" y="4323330"/>
                  <a:pt x="2455466" y="4328311"/>
                </a:cubicBezTo>
                <a:cubicBezTo>
                  <a:pt x="2456067" y="4332737"/>
                  <a:pt x="2450656" y="4338492"/>
                  <a:pt x="2435024" y="4344690"/>
                </a:cubicBezTo>
                <a:cubicBezTo>
                  <a:pt x="2417890" y="4328975"/>
                  <a:pt x="2422398" y="4321560"/>
                  <a:pt x="2431718" y="4319789"/>
                </a:cubicBezTo>
                <a:cubicBezTo>
                  <a:pt x="2433821" y="4319346"/>
                  <a:pt x="2436527" y="4319236"/>
                  <a:pt x="2438932" y="4319457"/>
                </a:cubicBezTo>
                <a:close/>
                <a:moveTo>
                  <a:pt x="1409927" y="4319457"/>
                </a:moveTo>
                <a:cubicBezTo>
                  <a:pt x="1417743" y="4320010"/>
                  <a:pt x="1425560" y="4323330"/>
                  <a:pt x="1426161" y="4328311"/>
                </a:cubicBezTo>
                <a:cubicBezTo>
                  <a:pt x="1426762" y="4332737"/>
                  <a:pt x="1421652" y="4338492"/>
                  <a:pt x="1405719" y="4344690"/>
                </a:cubicBezTo>
                <a:cubicBezTo>
                  <a:pt x="1388584" y="4328975"/>
                  <a:pt x="1393393" y="4321560"/>
                  <a:pt x="1402413" y="4319789"/>
                </a:cubicBezTo>
                <a:cubicBezTo>
                  <a:pt x="1404818" y="4319346"/>
                  <a:pt x="1407222" y="4319236"/>
                  <a:pt x="1409927" y="4319457"/>
                </a:cubicBezTo>
                <a:close/>
                <a:moveTo>
                  <a:pt x="1969672" y="4318682"/>
                </a:moveTo>
                <a:cubicBezTo>
                  <a:pt x="1970273" y="4318793"/>
                  <a:pt x="1971176" y="4319236"/>
                  <a:pt x="1972077" y="4320121"/>
                </a:cubicBezTo>
                <a:cubicBezTo>
                  <a:pt x="1973581" y="4321781"/>
                  <a:pt x="1975083" y="4323552"/>
                  <a:pt x="1975083" y="4326540"/>
                </a:cubicBezTo>
                <a:cubicBezTo>
                  <a:pt x="1971777" y="4329196"/>
                  <a:pt x="1966967" y="4327093"/>
                  <a:pt x="1965464" y="4328421"/>
                </a:cubicBezTo>
                <a:cubicBezTo>
                  <a:pt x="1965464" y="4326983"/>
                  <a:pt x="1965464" y="4323884"/>
                  <a:pt x="1962458" y="4322002"/>
                </a:cubicBezTo>
                <a:cubicBezTo>
                  <a:pt x="1963961" y="4320674"/>
                  <a:pt x="1965765" y="4319346"/>
                  <a:pt x="1967267" y="4318793"/>
                </a:cubicBezTo>
                <a:cubicBezTo>
                  <a:pt x="1968170" y="4318461"/>
                  <a:pt x="1968771" y="4318461"/>
                  <a:pt x="1969672" y="4318682"/>
                </a:cubicBezTo>
                <a:close/>
                <a:moveTo>
                  <a:pt x="940367" y="4318682"/>
                </a:moveTo>
                <a:cubicBezTo>
                  <a:pt x="941268" y="4318793"/>
                  <a:pt x="942171" y="4319236"/>
                  <a:pt x="943073" y="4320121"/>
                </a:cubicBezTo>
                <a:cubicBezTo>
                  <a:pt x="944576" y="4321781"/>
                  <a:pt x="946079" y="4323552"/>
                  <a:pt x="945778" y="4326540"/>
                </a:cubicBezTo>
                <a:cubicBezTo>
                  <a:pt x="942772" y="4329196"/>
                  <a:pt x="937962" y="4327093"/>
                  <a:pt x="936460" y="4328421"/>
                </a:cubicBezTo>
                <a:cubicBezTo>
                  <a:pt x="936460" y="4326983"/>
                  <a:pt x="936460" y="4323884"/>
                  <a:pt x="933153" y="4322002"/>
                </a:cubicBezTo>
                <a:cubicBezTo>
                  <a:pt x="934956" y="4320674"/>
                  <a:pt x="936460" y="4319346"/>
                  <a:pt x="938262" y="4318793"/>
                </a:cubicBezTo>
                <a:cubicBezTo>
                  <a:pt x="938865" y="4318461"/>
                  <a:pt x="939766" y="4318461"/>
                  <a:pt x="940367" y="4318682"/>
                </a:cubicBezTo>
                <a:close/>
                <a:moveTo>
                  <a:pt x="894072" y="4316137"/>
                </a:moveTo>
                <a:cubicBezTo>
                  <a:pt x="896477" y="4316469"/>
                  <a:pt x="898882" y="4317354"/>
                  <a:pt x="900386" y="4318793"/>
                </a:cubicBezTo>
                <a:cubicBezTo>
                  <a:pt x="901588" y="4322998"/>
                  <a:pt x="903091" y="4327204"/>
                  <a:pt x="904293" y="4331409"/>
                </a:cubicBezTo>
                <a:cubicBezTo>
                  <a:pt x="901888" y="4338714"/>
                  <a:pt x="894374" y="4341702"/>
                  <a:pt x="887459" y="4339488"/>
                </a:cubicBezTo>
                <a:cubicBezTo>
                  <a:pt x="885354" y="4338824"/>
                  <a:pt x="882949" y="4337496"/>
                  <a:pt x="881146" y="4335615"/>
                </a:cubicBezTo>
                <a:cubicBezTo>
                  <a:pt x="878741" y="4332959"/>
                  <a:pt x="876637" y="4329307"/>
                  <a:pt x="875735" y="4324548"/>
                </a:cubicBezTo>
                <a:cubicBezTo>
                  <a:pt x="876637" y="4318572"/>
                  <a:pt x="886557" y="4315141"/>
                  <a:pt x="894072" y="4316137"/>
                </a:cubicBezTo>
                <a:close/>
                <a:moveTo>
                  <a:pt x="1909851" y="4313923"/>
                </a:moveTo>
                <a:cubicBezTo>
                  <a:pt x="1910452" y="4314809"/>
                  <a:pt x="1911954" y="4315805"/>
                  <a:pt x="1913157" y="4317022"/>
                </a:cubicBezTo>
                <a:lnTo>
                  <a:pt x="1913157" y="4317576"/>
                </a:lnTo>
                <a:lnTo>
                  <a:pt x="1923077" y="4316137"/>
                </a:lnTo>
                <a:cubicBezTo>
                  <a:pt x="1925482" y="4316469"/>
                  <a:pt x="1927887" y="4317354"/>
                  <a:pt x="1929391" y="4318793"/>
                </a:cubicBezTo>
                <a:cubicBezTo>
                  <a:pt x="1930893" y="4322998"/>
                  <a:pt x="1932096" y="4327204"/>
                  <a:pt x="1933298" y="4331409"/>
                </a:cubicBezTo>
                <a:cubicBezTo>
                  <a:pt x="1931194" y="4338714"/>
                  <a:pt x="1923679" y="4341702"/>
                  <a:pt x="1916764" y="4339488"/>
                </a:cubicBezTo>
                <a:cubicBezTo>
                  <a:pt x="1914359" y="4338824"/>
                  <a:pt x="1912255" y="4337496"/>
                  <a:pt x="1910452" y="4335615"/>
                </a:cubicBezTo>
                <a:cubicBezTo>
                  <a:pt x="1907746" y="4332959"/>
                  <a:pt x="1905942" y="4329307"/>
                  <a:pt x="1905041" y="4324548"/>
                </a:cubicBezTo>
                <a:cubicBezTo>
                  <a:pt x="1905341" y="4321560"/>
                  <a:pt x="1908047" y="4319236"/>
                  <a:pt x="1911654" y="4317797"/>
                </a:cubicBezTo>
                <a:lnTo>
                  <a:pt x="1912255" y="4317686"/>
                </a:lnTo>
                <a:close/>
                <a:moveTo>
                  <a:pt x="1763751" y="4313149"/>
                </a:moveTo>
                <a:cubicBezTo>
                  <a:pt x="1768862" y="4312042"/>
                  <a:pt x="1773973" y="4313149"/>
                  <a:pt x="1778782" y="4319236"/>
                </a:cubicBezTo>
                <a:cubicBezTo>
                  <a:pt x="1777880" y="4321117"/>
                  <a:pt x="1776678" y="4322888"/>
                  <a:pt x="1775776" y="4324769"/>
                </a:cubicBezTo>
                <a:lnTo>
                  <a:pt x="1763451" y="4322002"/>
                </a:lnTo>
                <a:lnTo>
                  <a:pt x="1765254" y="4326208"/>
                </a:lnTo>
                <a:cubicBezTo>
                  <a:pt x="1765254" y="4328643"/>
                  <a:pt x="1764352" y="4331188"/>
                  <a:pt x="1761947" y="4333180"/>
                </a:cubicBezTo>
                <a:cubicBezTo>
                  <a:pt x="1758641" y="4337386"/>
                  <a:pt x="1752328" y="4336611"/>
                  <a:pt x="1747218" y="4340595"/>
                </a:cubicBezTo>
                <a:cubicBezTo>
                  <a:pt x="1740905" y="4335394"/>
                  <a:pt x="1739401" y="4333734"/>
                  <a:pt x="1743008" y="4326540"/>
                </a:cubicBezTo>
                <a:cubicBezTo>
                  <a:pt x="1743008" y="4326540"/>
                  <a:pt x="1744512" y="4325212"/>
                  <a:pt x="1744512" y="4325212"/>
                </a:cubicBezTo>
                <a:lnTo>
                  <a:pt x="1753230" y="4320121"/>
                </a:lnTo>
                <a:lnTo>
                  <a:pt x="1751125" y="4319789"/>
                </a:lnTo>
                <a:cubicBezTo>
                  <a:pt x="1754131" y="4317354"/>
                  <a:pt x="1758641" y="4314145"/>
                  <a:pt x="1763751" y="4313149"/>
                </a:cubicBezTo>
                <a:close/>
                <a:moveTo>
                  <a:pt x="734747" y="4313149"/>
                </a:moveTo>
                <a:cubicBezTo>
                  <a:pt x="739557" y="4312042"/>
                  <a:pt x="744968" y="4313149"/>
                  <a:pt x="749476" y="4319236"/>
                </a:cubicBezTo>
                <a:cubicBezTo>
                  <a:pt x="748575" y="4321117"/>
                  <a:pt x="747673" y="4322888"/>
                  <a:pt x="746771" y="4324769"/>
                </a:cubicBezTo>
                <a:cubicBezTo>
                  <a:pt x="737152" y="4320785"/>
                  <a:pt x="729636" y="4322666"/>
                  <a:pt x="721820" y="4319789"/>
                </a:cubicBezTo>
                <a:cubicBezTo>
                  <a:pt x="725127" y="4317354"/>
                  <a:pt x="729636" y="4314145"/>
                  <a:pt x="734747" y="4313149"/>
                </a:cubicBezTo>
                <a:close/>
                <a:moveTo>
                  <a:pt x="6017452" y="4312706"/>
                </a:moveTo>
                <a:cubicBezTo>
                  <a:pt x="6022562" y="4315030"/>
                  <a:pt x="6024667" y="4315583"/>
                  <a:pt x="6027371" y="4317465"/>
                </a:cubicBezTo>
                <a:cubicBezTo>
                  <a:pt x="6028875" y="4316579"/>
                  <a:pt x="6030078" y="4315915"/>
                  <a:pt x="6032181" y="4316358"/>
                </a:cubicBezTo>
                <a:cubicBezTo>
                  <a:pt x="6036691" y="4317465"/>
                  <a:pt x="6036691" y="4320785"/>
                  <a:pt x="6039397" y="4322556"/>
                </a:cubicBezTo>
                <a:cubicBezTo>
                  <a:pt x="6038794" y="4324658"/>
                  <a:pt x="6036691" y="4327647"/>
                  <a:pt x="6032482" y="4326651"/>
                </a:cubicBezTo>
                <a:cubicBezTo>
                  <a:pt x="6026770" y="4326429"/>
                  <a:pt x="6024667" y="4322445"/>
                  <a:pt x="6023765" y="4317797"/>
                </a:cubicBezTo>
                <a:cubicBezTo>
                  <a:pt x="6021059" y="4315915"/>
                  <a:pt x="6017452" y="4316137"/>
                  <a:pt x="6017452" y="4312706"/>
                </a:cubicBezTo>
                <a:close/>
                <a:moveTo>
                  <a:pt x="2667400" y="4311157"/>
                </a:moveTo>
                <a:cubicBezTo>
                  <a:pt x="2668001" y="4312042"/>
                  <a:pt x="2668001" y="4312706"/>
                  <a:pt x="2667400" y="4313481"/>
                </a:cubicBezTo>
                <a:cubicBezTo>
                  <a:pt x="2667098" y="4314145"/>
                  <a:pt x="2666197" y="4314809"/>
                  <a:pt x="2665295" y="4315473"/>
                </a:cubicBezTo>
                <a:cubicBezTo>
                  <a:pt x="2663491" y="4316801"/>
                  <a:pt x="2661688" y="4318129"/>
                  <a:pt x="2660185" y="4319457"/>
                </a:cubicBezTo>
                <a:cubicBezTo>
                  <a:pt x="2660185" y="4319457"/>
                  <a:pt x="2660185" y="4319457"/>
                  <a:pt x="2667400" y="4311157"/>
                </a:cubicBezTo>
                <a:close/>
                <a:moveTo>
                  <a:pt x="1638095" y="4311157"/>
                </a:moveTo>
                <a:cubicBezTo>
                  <a:pt x="1638996" y="4312042"/>
                  <a:pt x="1638696" y="4312706"/>
                  <a:pt x="1638395" y="4313481"/>
                </a:cubicBezTo>
                <a:cubicBezTo>
                  <a:pt x="1637794" y="4314145"/>
                  <a:pt x="1637192" y="4314809"/>
                  <a:pt x="1636291" y="4315473"/>
                </a:cubicBezTo>
                <a:cubicBezTo>
                  <a:pt x="1634487" y="4316801"/>
                  <a:pt x="1632684" y="4318129"/>
                  <a:pt x="1630880" y="4319457"/>
                </a:cubicBezTo>
                <a:cubicBezTo>
                  <a:pt x="1630880" y="4319457"/>
                  <a:pt x="1631180" y="4319457"/>
                  <a:pt x="1638095" y="4311157"/>
                </a:cubicBezTo>
                <a:close/>
                <a:moveTo>
                  <a:pt x="2062563" y="4308722"/>
                </a:moveTo>
                <a:cubicBezTo>
                  <a:pt x="2066771" y="4309939"/>
                  <a:pt x="2069777" y="4311710"/>
                  <a:pt x="2071882" y="4313813"/>
                </a:cubicBezTo>
                <a:lnTo>
                  <a:pt x="2073084" y="4315362"/>
                </a:lnTo>
                <a:lnTo>
                  <a:pt x="2075489" y="4314809"/>
                </a:lnTo>
                <a:cubicBezTo>
                  <a:pt x="2092925" y="4314366"/>
                  <a:pt x="2111562" y="4324990"/>
                  <a:pt x="2120280" y="4342366"/>
                </a:cubicBezTo>
                <a:cubicBezTo>
                  <a:pt x="2118778" y="4343805"/>
                  <a:pt x="2117274" y="4345133"/>
                  <a:pt x="2118778" y="4346682"/>
                </a:cubicBezTo>
                <a:cubicBezTo>
                  <a:pt x="2100740" y="4367046"/>
                  <a:pt x="2055348" y="4356089"/>
                  <a:pt x="2047532" y="4328643"/>
                </a:cubicBezTo>
                <a:lnTo>
                  <a:pt x="2057753" y="4320342"/>
                </a:lnTo>
                <a:lnTo>
                  <a:pt x="2055348" y="4313038"/>
                </a:lnTo>
                <a:cubicBezTo>
                  <a:pt x="2057452" y="4309054"/>
                  <a:pt x="2060458" y="4307947"/>
                  <a:pt x="2062563" y="4308722"/>
                </a:cubicBezTo>
                <a:close/>
                <a:moveTo>
                  <a:pt x="1033558" y="4308722"/>
                </a:moveTo>
                <a:cubicBezTo>
                  <a:pt x="1037766" y="4309939"/>
                  <a:pt x="1040772" y="4311710"/>
                  <a:pt x="1042877" y="4313813"/>
                </a:cubicBezTo>
                <a:lnTo>
                  <a:pt x="1044080" y="4315362"/>
                </a:lnTo>
                <a:lnTo>
                  <a:pt x="1046183" y="4314809"/>
                </a:lnTo>
                <a:cubicBezTo>
                  <a:pt x="1063620" y="4314366"/>
                  <a:pt x="1082257" y="4324990"/>
                  <a:pt x="1091276" y="4342366"/>
                </a:cubicBezTo>
                <a:cubicBezTo>
                  <a:pt x="1089773" y="4343805"/>
                  <a:pt x="1087969" y="4345133"/>
                  <a:pt x="1089773" y="4346682"/>
                </a:cubicBezTo>
                <a:cubicBezTo>
                  <a:pt x="1075945" y="4361955"/>
                  <a:pt x="1047086" y="4359631"/>
                  <a:pt x="1030252" y="4345907"/>
                </a:cubicBezTo>
                <a:lnTo>
                  <a:pt x="1027546" y="4342034"/>
                </a:lnTo>
                <a:lnTo>
                  <a:pt x="1021533" y="4348231"/>
                </a:lnTo>
                <a:cubicBezTo>
                  <a:pt x="1007104" y="4358303"/>
                  <a:pt x="986662" y="4362619"/>
                  <a:pt x="978245" y="4345133"/>
                </a:cubicBezTo>
                <a:lnTo>
                  <a:pt x="989067" y="4342587"/>
                </a:lnTo>
                <a:lnTo>
                  <a:pt x="985761" y="4340816"/>
                </a:lnTo>
                <a:cubicBezTo>
                  <a:pt x="982753" y="4338714"/>
                  <a:pt x="979747" y="4336279"/>
                  <a:pt x="978245" y="4334398"/>
                </a:cubicBezTo>
                <a:cubicBezTo>
                  <a:pt x="979447" y="4333844"/>
                  <a:pt x="980950" y="4333955"/>
                  <a:pt x="983055" y="4334508"/>
                </a:cubicBezTo>
                <a:cubicBezTo>
                  <a:pt x="985761" y="4335394"/>
                  <a:pt x="989067" y="4337275"/>
                  <a:pt x="992374" y="4339378"/>
                </a:cubicBezTo>
                <a:lnTo>
                  <a:pt x="994478" y="4341370"/>
                </a:lnTo>
                <a:lnTo>
                  <a:pt x="998386" y="4340374"/>
                </a:lnTo>
                <a:cubicBezTo>
                  <a:pt x="1005301" y="4338714"/>
                  <a:pt x="1012214" y="4337054"/>
                  <a:pt x="1019429" y="4336390"/>
                </a:cubicBezTo>
                <a:lnTo>
                  <a:pt x="1023637" y="4336500"/>
                </a:lnTo>
                <a:lnTo>
                  <a:pt x="1018527" y="4328643"/>
                </a:lnTo>
                <a:lnTo>
                  <a:pt x="1028748" y="4320342"/>
                </a:lnTo>
                <a:lnTo>
                  <a:pt x="1026343" y="4313038"/>
                </a:lnTo>
                <a:cubicBezTo>
                  <a:pt x="1028447" y="4309054"/>
                  <a:pt x="1031454" y="4307947"/>
                  <a:pt x="1033558" y="4308722"/>
                </a:cubicBezTo>
                <a:close/>
                <a:moveTo>
                  <a:pt x="1326056" y="4307504"/>
                </a:moveTo>
                <a:cubicBezTo>
                  <a:pt x="1327860" y="4307504"/>
                  <a:pt x="1329062" y="4308279"/>
                  <a:pt x="1329965" y="4309497"/>
                </a:cubicBezTo>
                <a:cubicBezTo>
                  <a:pt x="1332670" y="4313370"/>
                  <a:pt x="1331467" y="4321228"/>
                  <a:pt x="1329362" y="4322777"/>
                </a:cubicBezTo>
                <a:cubicBezTo>
                  <a:pt x="1325755" y="4322888"/>
                  <a:pt x="1318240" y="4309054"/>
                  <a:pt x="1326056" y="4307504"/>
                </a:cubicBezTo>
                <a:close/>
                <a:moveTo>
                  <a:pt x="2253754" y="4305180"/>
                </a:moveTo>
                <a:cubicBezTo>
                  <a:pt x="2257061" y="4305623"/>
                  <a:pt x="2259766" y="4307394"/>
                  <a:pt x="2261269" y="4310825"/>
                </a:cubicBezTo>
                <a:cubicBezTo>
                  <a:pt x="2261870" y="4312817"/>
                  <a:pt x="2262171" y="4315362"/>
                  <a:pt x="2262171" y="4318572"/>
                </a:cubicBezTo>
                <a:cubicBezTo>
                  <a:pt x="2252250" y="4324658"/>
                  <a:pt x="2236919" y="4338271"/>
                  <a:pt x="2224895" y="4325876"/>
                </a:cubicBezTo>
                <a:lnTo>
                  <a:pt x="2230305" y="4318461"/>
                </a:lnTo>
                <a:lnTo>
                  <a:pt x="2230305" y="4317797"/>
                </a:lnTo>
                <a:cubicBezTo>
                  <a:pt x="2227300" y="4315915"/>
                  <a:pt x="2223693" y="4316137"/>
                  <a:pt x="2223693" y="4312706"/>
                </a:cubicBezTo>
                <a:lnTo>
                  <a:pt x="2231809" y="4316469"/>
                </a:lnTo>
                <a:lnTo>
                  <a:pt x="2236618" y="4310271"/>
                </a:lnTo>
                <a:cubicBezTo>
                  <a:pt x="2242029" y="4306398"/>
                  <a:pt x="2248643" y="4304406"/>
                  <a:pt x="2253754" y="4305180"/>
                </a:cubicBezTo>
                <a:close/>
                <a:moveTo>
                  <a:pt x="1224449" y="4305180"/>
                </a:moveTo>
                <a:cubicBezTo>
                  <a:pt x="1227755" y="4305623"/>
                  <a:pt x="1230761" y="4307394"/>
                  <a:pt x="1231963" y="4310825"/>
                </a:cubicBezTo>
                <a:cubicBezTo>
                  <a:pt x="1232866" y="4312817"/>
                  <a:pt x="1233166" y="4315362"/>
                  <a:pt x="1232866" y="4318572"/>
                </a:cubicBezTo>
                <a:cubicBezTo>
                  <a:pt x="1223246" y="4324658"/>
                  <a:pt x="1207915" y="4338271"/>
                  <a:pt x="1195589" y="4325876"/>
                </a:cubicBezTo>
                <a:cubicBezTo>
                  <a:pt x="1198595" y="4313813"/>
                  <a:pt x="1214528" y="4303631"/>
                  <a:pt x="1224449" y="4305180"/>
                </a:cubicBezTo>
                <a:close/>
                <a:moveTo>
                  <a:pt x="2563687" y="4303963"/>
                </a:moveTo>
                <a:lnTo>
                  <a:pt x="2563687" y="4304516"/>
                </a:lnTo>
                <a:lnTo>
                  <a:pt x="2562485" y="4306730"/>
                </a:lnTo>
                <a:lnTo>
                  <a:pt x="2566994" y="4305955"/>
                </a:lnTo>
                <a:close/>
                <a:moveTo>
                  <a:pt x="5619137" y="4303852"/>
                </a:moveTo>
                <a:cubicBezTo>
                  <a:pt x="5623646" y="4303299"/>
                  <a:pt x="5628456" y="4303188"/>
                  <a:pt x="5634168" y="4303963"/>
                </a:cubicBezTo>
                <a:cubicBezTo>
                  <a:pt x="5635972" y="4308500"/>
                  <a:pt x="5643787" y="4312817"/>
                  <a:pt x="5638676" y="4318572"/>
                </a:cubicBezTo>
                <a:cubicBezTo>
                  <a:pt x="5621541" y="4310493"/>
                  <a:pt x="5607112" y="4326429"/>
                  <a:pt x="5593584" y="4321892"/>
                </a:cubicBezTo>
                <a:lnTo>
                  <a:pt x="5588173" y="4318793"/>
                </a:lnTo>
                <a:lnTo>
                  <a:pt x="5585469" y="4321449"/>
                </a:lnTo>
                <a:cubicBezTo>
                  <a:pt x="5584266" y="4323441"/>
                  <a:pt x="5583063" y="4325323"/>
                  <a:pt x="5581861" y="4326540"/>
                </a:cubicBezTo>
                <a:cubicBezTo>
                  <a:pt x="5580358" y="4327757"/>
                  <a:pt x="5578855" y="4328200"/>
                  <a:pt x="5577050" y="4327315"/>
                </a:cubicBezTo>
                <a:cubicBezTo>
                  <a:pt x="5577351" y="4322556"/>
                  <a:pt x="5577952" y="4319346"/>
                  <a:pt x="5580058" y="4314034"/>
                </a:cubicBezTo>
                <a:cubicBezTo>
                  <a:pt x="5580058" y="4314034"/>
                  <a:pt x="5584566" y="4306287"/>
                  <a:pt x="5589977" y="4307615"/>
                </a:cubicBezTo>
                <a:cubicBezTo>
                  <a:pt x="5590578" y="4307394"/>
                  <a:pt x="5591481" y="4308611"/>
                  <a:pt x="5592082" y="4310161"/>
                </a:cubicBezTo>
                <a:cubicBezTo>
                  <a:pt x="5592382" y="4311821"/>
                  <a:pt x="5592683" y="4313591"/>
                  <a:pt x="5592082" y="4314587"/>
                </a:cubicBezTo>
                <a:lnTo>
                  <a:pt x="5588173" y="4318461"/>
                </a:lnTo>
                <a:lnTo>
                  <a:pt x="5607413" y="4307283"/>
                </a:lnTo>
                <a:cubicBezTo>
                  <a:pt x="5611020" y="4305734"/>
                  <a:pt x="5614928" y="4304516"/>
                  <a:pt x="5619137" y="4303852"/>
                </a:cubicBezTo>
                <a:close/>
                <a:moveTo>
                  <a:pt x="5768242" y="4303742"/>
                </a:moveTo>
                <a:cubicBezTo>
                  <a:pt x="5770346" y="4304627"/>
                  <a:pt x="5771248" y="4305070"/>
                  <a:pt x="5771548" y="4305955"/>
                </a:cubicBezTo>
                <a:cubicBezTo>
                  <a:pt x="5771849" y="4306840"/>
                  <a:pt x="5771248" y="4308058"/>
                  <a:pt x="5770346" y="4310603"/>
                </a:cubicBezTo>
                <a:cubicBezTo>
                  <a:pt x="5769144" y="4312595"/>
                  <a:pt x="5766137" y="4315141"/>
                  <a:pt x="5762530" y="4317133"/>
                </a:cubicBezTo>
                <a:cubicBezTo>
                  <a:pt x="5758923" y="4319014"/>
                  <a:pt x="5755014" y="4320342"/>
                  <a:pt x="5752310" y="4319789"/>
                </a:cubicBezTo>
                <a:cubicBezTo>
                  <a:pt x="5753211" y="4316469"/>
                  <a:pt x="5753812" y="4313149"/>
                  <a:pt x="5754714" y="4309829"/>
                </a:cubicBezTo>
                <a:cubicBezTo>
                  <a:pt x="5755014" y="4311267"/>
                  <a:pt x="5768242" y="4303742"/>
                  <a:pt x="5768242" y="4303742"/>
                </a:cubicBezTo>
                <a:close/>
                <a:moveTo>
                  <a:pt x="1974783" y="4303742"/>
                </a:moveTo>
                <a:cubicBezTo>
                  <a:pt x="1976587" y="4304627"/>
                  <a:pt x="1977489" y="4305070"/>
                  <a:pt x="1977789" y="4305955"/>
                </a:cubicBezTo>
                <a:cubicBezTo>
                  <a:pt x="1978090" y="4306840"/>
                  <a:pt x="1977489" y="4308058"/>
                  <a:pt x="1976587" y="4310603"/>
                </a:cubicBezTo>
                <a:cubicBezTo>
                  <a:pt x="1975384" y="4312595"/>
                  <a:pt x="1972378" y="4315141"/>
                  <a:pt x="1968771" y="4317133"/>
                </a:cubicBezTo>
                <a:cubicBezTo>
                  <a:pt x="1965464" y="4319014"/>
                  <a:pt x="1961556" y="4320342"/>
                  <a:pt x="1958550" y="4319789"/>
                </a:cubicBezTo>
                <a:cubicBezTo>
                  <a:pt x="1959451" y="4316469"/>
                  <a:pt x="1960354" y="4313149"/>
                  <a:pt x="1960955" y="4309829"/>
                </a:cubicBezTo>
                <a:cubicBezTo>
                  <a:pt x="1961556" y="4311267"/>
                  <a:pt x="1974783" y="4303742"/>
                  <a:pt x="1974783" y="4303742"/>
                </a:cubicBezTo>
                <a:close/>
                <a:moveTo>
                  <a:pt x="6277182" y="4300975"/>
                </a:moveTo>
                <a:cubicBezTo>
                  <a:pt x="6280189" y="4299868"/>
                  <a:pt x="6283195" y="4301860"/>
                  <a:pt x="6286502" y="4303852"/>
                </a:cubicBezTo>
                <a:cubicBezTo>
                  <a:pt x="6288605" y="4305734"/>
                  <a:pt x="6289207" y="4307504"/>
                  <a:pt x="6288907" y="4308943"/>
                </a:cubicBezTo>
                <a:cubicBezTo>
                  <a:pt x="6288605" y="4310493"/>
                  <a:pt x="6287403" y="4311710"/>
                  <a:pt x="6285600" y="4313038"/>
                </a:cubicBezTo>
                <a:cubicBezTo>
                  <a:pt x="6282293" y="4315583"/>
                  <a:pt x="6279288" y="4313591"/>
                  <a:pt x="6279288" y="4313591"/>
                </a:cubicBezTo>
                <a:cubicBezTo>
                  <a:pt x="6274778" y="4309829"/>
                  <a:pt x="6273576" y="4305070"/>
                  <a:pt x="6277182" y="4300975"/>
                </a:cubicBezTo>
                <a:close/>
                <a:moveTo>
                  <a:pt x="1165227" y="4300089"/>
                </a:moveTo>
                <a:cubicBezTo>
                  <a:pt x="1170338" y="4298872"/>
                  <a:pt x="1175448" y="4299757"/>
                  <a:pt x="1179055" y="4305734"/>
                </a:cubicBezTo>
                <a:cubicBezTo>
                  <a:pt x="1177853" y="4307615"/>
                  <a:pt x="1176650" y="4309607"/>
                  <a:pt x="1175448" y="4311489"/>
                </a:cubicBezTo>
                <a:cubicBezTo>
                  <a:pt x="1166430" y="4307726"/>
                  <a:pt x="1158313" y="4309829"/>
                  <a:pt x="1151399" y="4307172"/>
                </a:cubicBezTo>
                <a:cubicBezTo>
                  <a:pt x="1155006" y="4304627"/>
                  <a:pt x="1160116" y="4301307"/>
                  <a:pt x="1165227" y="4300089"/>
                </a:cubicBezTo>
                <a:close/>
                <a:moveTo>
                  <a:pt x="5286357" y="4296769"/>
                </a:moveTo>
                <a:cubicBezTo>
                  <a:pt x="5293871" y="4304738"/>
                  <a:pt x="5290865" y="4312042"/>
                  <a:pt x="5283650" y="4317133"/>
                </a:cubicBezTo>
                <a:lnTo>
                  <a:pt x="5283049" y="4317354"/>
                </a:lnTo>
                <a:lnTo>
                  <a:pt x="5283650" y="4318461"/>
                </a:lnTo>
                <a:cubicBezTo>
                  <a:pt x="5285154" y="4321449"/>
                  <a:pt x="5286958" y="4324326"/>
                  <a:pt x="5286958" y="4324326"/>
                </a:cubicBezTo>
                <a:lnTo>
                  <a:pt x="5285154" y="4326983"/>
                </a:lnTo>
                <a:lnTo>
                  <a:pt x="5301988" y="4308279"/>
                </a:lnTo>
                <a:lnTo>
                  <a:pt x="5315516" y="4308168"/>
                </a:lnTo>
                <a:lnTo>
                  <a:pt x="5315516" y="4307947"/>
                </a:lnTo>
                <a:cubicBezTo>
                  <a:pt x="5315516" y="4307504"/>
                  <a:pt x="5314915" y="4307172"/>
                  <a:pt x="5315215" y="4306398"/>
                </a:cubicBezTo>
                <a:cubicBezTo>
                  <a:pt x="5315215" y="4306398"/>
                  <a:pt x="5314915" y="4307836"/>
                  <a:pt x="5313411" y="4306176"/>
                </a:cubicBezTo>
                <a:cubicBezTo>
                  <a:pt x="5315215" y="4306287"/>
                  <a:pt x="5315215" y="4304848"/>
                  <a:pt x="5315215" y="4303299"/>
                </a:cubicBezTo>
                <a:cubicBezTo>
                  <a:pt x="5318522" y="4300643"/>
                  <a:pt x="5323332" y="4298097"/>
                  <a:pt x="5326639" y="4299979"/>
                </a:cubicBezTo>
                <a:cubicBezTo>
                  <a:pt x="5328141" y="4301639"/>
                  <a:pt x="5328442" y="4303299"/>
                  <a:pt x="5328442" y="4304516"/>
                </a:cubicBezTo>
                <a:lnTo>
                  <a:pt x="5326939" y="4306730"/>
                </a:lnTo>
                <a:lnTo>
                  <a:pt x="5336860" y="4304959"/>
                </a:lnTo>
                <a:cubicBezTo>
                  <a:pt x="5348884" y="4302856"/>
                  <a:pt x="5360608" y="4302303"/>
                  <a:pt x="5369327" y="4309829"/>
                </a:cubicBezTo>
                <a:cubicBezTo>
                  <a:pt x="5372632" y="4328753"/>
                  <a:pt x="5384055" y="4330524"/>
                  <a:pt x="5390369" y="4340484"/>
                </a:cubicBezTo>
                <a:cubicBezTo>
                  <a:pt x="5390669" y="4347125"/>
                  <a:pt x="5390068" y="4354318"/>
                  <a:pt x="5388865" y="4361733"/>
                </a:cubicBezTo>
                <a:lnTo>
                  <a:pt x="5386161" y="4372801"/>
                </a:lnTo>
                <a:lnTo>
                  <a:pt x="5390369" y="4379109"/>
                </a:lnTo>
                <a:lnTo>
                  <a:pt x="5384055" y="4380326"/>
                </a:lnTo>
                <a:lnTo>
                  <a:pt x="5383154" y="4383868"/>
                </a:lnTo>
                <a:lnTo>
                  <a:pt x="5377743" y="4393164"/>
                </a:lnTo>
                <a:lnTo>
                  <a:pt x="5378644" y="4393717"/>
                </a:lnTo>
                <a:cubicBezTo>
                  <a:pt x="5379847" y="4395156"/>
                  <a:pt x="5379547" y="4396706"/>
                  <a:pt x="5378644" y="4398255"/>
                </a:cubicBezTo>
                <a:lnTo>
                  <a:pt x="5372332" y="4402792"/>
                </a:lnTo>
                <a:lnTo>
                  <a:pt x="5371731" y="4403899"/>
                </a:lnTo>
                <a:cubicBezTo>
                  <a:pt x="5366920" y="4409986"/>
                  <a:pt x="5360908" y="4415409"/>
                  <a:pt x="5353694" y="4419504"/>
                </a:cubicBezTo>
                <a:cubicBezTo>
                  <a:pt x="5347983" y="4422824"/>
                  <a:pt x="5342271" y="4424705"/>
                  <a:pt x="5337160" y="4425591"/>
                </a:cubicBezTo>
                <a:lnTo>
                  <a:pt x="5331148" y="4425701"/>
                </a:lnTo>
                <a:lnTo>
                  <a:pt x="5327540" y="4427583"/>
                </a:lnTo>
                <a:cubicBezTo>
                  <a:pt x="5321528" y="4430350"/>
                  <a:pt x="5311307" y="4434666"/>
                  <a:pt x="5307099" y="4434555"/>
                </a:cubicBezTo>
                <a:cubicBezTo>
                  <a:pt x="5311006" y="4433116"/>
                  <a:pt x="5315215" y="4430792"/>
                  <a:pt x="5319424" y="4428800"/>
                </a:cubicBezTo>
                <a:lnTo>
                  <a:pt x="5330848" y="4425701"/>
                </a:lnTo>
                <a:lnTo>
                  <a:pt x="5321828" y="4425812"/>
                </a:lnTo>
                <a:cubicBezTo>
                  <a:pt x="5311607" y="4424705"/>
                  <a:pt x="5301387" y="4422160"/>
                  <a:pt x="5289061" y="4422492"/>
                </a:cubicBezTo>
                <a:cubicBezTo>
                  <a:pt x="5285755" y="4403567"/>
                  <a:pt x="5273730" y="4403235"/>
                  <a:pt x="5264712" y="4397370"/>
                </a:cubicBezTo>
                <a:cubicBezTo>
                  <a:pt x="5265914" y="4393939"/>
                  <a:pt x="5266215" y="4390397"/>
                  <a:pt x="5266215" y="4386634"/>
                </a:cubicBezTo>
                <a:lnTo>
                  <a:pt x="5265614" y="4375125"/>
                </a:lnTo>
                <a:lnTo>
                  <a:pt x="5258099" y="4370255"/>
                </a:lnTo>
                <a:cubicBezTo>
                  <a:pt x="5254191" y="4365718"/>
                  <a:pt x="5253590" y="4359852"/>
                  <a:pt x="5256896" y="4356089"/>
                </a:cubicBezTo>
                <a:lnTo>
                  <a:pt x="5263509" y="4353212"/>
                </a:lnTo>
                <a:lnTo>
                  <a:pt x="5263209" y="4351220"/>
                </a:lnTo>
                <a:cubicBezTo>
                  <a:pt x="5270724" y="4344247"/>
                  <a:pt x="5276737" y="4337054"/>
                  <a:pt x="5282448" y="4329860"/>
                </a:cubicBezTo>
                <a:lnTo>
                  <a:pt x="5284553" y="4327647"/>
                </a:lnTo>
                <a:lnTo>
                  <a:pt x="5279743" y="4327093"/>
                </a:lnTo>
                <a:lnTo>
                  <a:pt x="5273730" y="4320674"/>
                </a:lnTo>
                <a:lnTo>
                  <a:pt x="5266816" y="4323220"/>
                </a:lnTo>
                <a:cubicBezTo>
                  <a:pt x="5260503" y="4323884"/>
                  <a:pt x="5254491" y="4323330"/>
                  <a:pt x="5249981" y="4320785"/>
                </a:cubicBezTo>
                <a:lnTo>
                  <a:pt x="5244270" y="4313923"/>
                </a:lnTo>
                <a:lnTo>
                  <a:pt x="5243068" y="4313923"/>
                </a:lnTo>
                <a:cubicBezTo>
                  <a:pt x="5239760" y="4310825"/>
                  <a:pt x="5237957" y="4306176"/>
                  <a:pt x="5239460" y="4304738"/>
                </a:cubicBezTo>
                <a:cubicBezTo>
                  <a:pt x="5241866" y="4302635"/>
                  <a:pt x="5243969" y="4300421"/>
                  <a:pt x="5247277" y="4301528"/>
                </a:cubicBezTo>
                <a:cubicBezTo>
                  <a:pt x="5248178" y="4301860"/>
                  <a:pt x="5249380" y="4302635"/>
                  <a:pt x="5250582" y="4303742"/>
                </a:cubicBezTo>
                <a:cubicBezTo>
                  <a:pt x="5250582" y="4303742"/>
                  <a:pt x="5250582" y="4303742"/>
                  <a:pt x="5250883" y="4305291"/>
                </a:cubicBezTo>
                <a:lnTo>
                  <a:pt x="5250883" y="4307947"/>
                </a:lnTo>
                <a:lnTo>
                  <a:pt x="5260804" y="4301085"/>
                </a:lnTo>
                <a:cubicBezTo>
                  <a:pt x="5267717" y="4298097"/>
                  <a:pt x="5276136" y="4296437"/>
                  <a:pt x="5286357" y="4296769"/>
                </a:cubicBezTo>
                <a:close/>
                <a:moveTo>
                  <a:pt x="5957329" y="4295884"/>
                </a:moveTo>
                <a:cubicBezTo>
                  <a:pt x="5957329" y="4295884"/>
                  <a:pt x="5960935" y="4295884"/>
                  <a:pt x="5960935" y="4295884"/>
                </a:cubicBezTo>
                <a:cubicBezTo>
                  <a:pt x="5965144" y="4297323"/>
                  <a:pt x="5967249" y="4298208"/>
                  <a:pt x="5970856" y="4298208"/>
                </a:cubicBezTo>
                <a:cubicBezTo>
                  <a:pt x="5970556" y="4301750"/>
                  <a:pt x="5969053" y="4302414"/>
                  <a:pt x="5966948" y="4301639"/>
                </a:cubicBezTo>
                <a:cubicBezTo>
                  <a:pt x="5966948" y="4301639"/>
                  <a:pt x="5964844" y="4300864"/>
                  <a:pt x="5962740" y="4300200"/>
                </a:cubicBezTo>
                <a:cubicBezTo>
                  <a:pt x="5960635" y="4299425"/>
                  <a:pt x="5959132" y="4300200"/>
                  <a:pt x="5959132" y="4300200"/>
                </a:cubicBezTo>
                <a:cubicBezTo>
                  <a:pt x="5957329" y="4299425"/>
                  <a:pt x="5956427" y="4297987"/>
                  <a:pt x="5957329" y="4295884"/>
                </a:cubicBezTo>
                <a:close/>
                <a:moveTo>
                  <a:pt x="2163870" y="4295884"/>
                </a:moveTo>
                <a:cubicBezTo>
                  <a:pt x="2163870" y="4295884"/>
                  <a:pt x="2167477" y="4295884"/>
                  <a:pt x="2167477" y="4295884"/>
                </a:cubicBezTo>
                <a:cubicBezTo>
                  <a:pt x="2171385" y="4297323"/>
                  <a:pt x="2173490" y="4298208"/>
                  <a:pt x="2177097" y="4298208"/>
                </a:cubicBezTo>
                <a:cubicBezTo>
                  <a:pt x="2176796" y="4301750"/>
                  <a:pt x="2175293" y="4302414"/>
                  <a:pt x="2173189" y="4301639"/>
                </a:cubicBezTo>
                <a:cubicBezTo>
                  <a:pt x="2173189" y="4301639"/>
                  <a:pt x="2171385" y="4300864"/>
                  <a:pt x="2169281" y="4300200"/>
                </a:cubicBezTo>
                <a:cubicBezTo>
                  <a:pt x="2167176" y="4299425"/>
                  <a:pt x="2165674" y="4300200"/>
                  <a:pt x="2165674" y="4300200"/>
                </a:cubicBezTo>
                <a:cubicBezTo>
                  <a:pt x="2163569" y="4299425"/>
                  <a:pt x="2162968" y="4297987"/>
                  <a:pt x="2163870" y="4295884"/>
                </a:cubicBezTo>
                <a:close/>
                <a:moveTo>
                  <a:pt x="1709039" y="4295331"/>
                </a:moveTo>
                <a:cubicBezTo>
                  <a:pt x="1713248" y="4297544"/>
                  <a:pt x="1715653" y="4295220"/>
                  <a:pt x="1719861" y="4297433"/>
                </a:cubicBezTo>
                <a:cubicBezTo>
                  <a:pt x="1717757" y="4301196"/>
                  <a:pt x="1717456" y="4304516"/>
                  <a:pt x="1716254" y="4306398"/>
                </a:cubicBezTo>
                <a:cubicBezTo>
                  <a:pt x="1709340" y="4304959"/>
                  <a:pt x="1706033" y="4300864"/>
                  <a:pt x="1709039" y="4295331"/>
                </a:cubicBezTo>
                <a:close/>
                <a:moveTo>
                  <a:pt x="680034" y="4295331"/>
                </a:moveTo>
                <a:cubicBezTo>
                  <a:pt x="684244" y="4297544"/>
                  <a:pt x="686649" y="4295220"/>
                  <a:pt x="690556" y="4297433"/>
                </a:cubicBezTo>
                <a:cubicBezTo>
                  <a:pt x="688752" y="4301196"/>
                  <a:pt x="688151" y="4304516"/>
                  <a:pt x="687250" y="4306398"/>
                </a:cubicBezTo>
                <a:cubicBezTo>
                  <a:pt x="680034" y="4304959"/>
                  <a:pt x="677028" y="4300864"/>
                  <a:pt x="680034" y="4295331"/>
                </a:cubicBezTo>
                <a:close/>
                <a:moveTo>
                  <a:pt x="5985286" y="4295109"/>
                </a:moveTo>
                <a:cubicBezTo>
                  <a:pt x="5989795" y="4296659"/>
                  <a:pt x="5994906" y="4298872"/>
                  <a:pt x="5996409" y="4302192"/>
                </a:cubicBezTo>
                <a:cubicBezTo>
                  <a:pt x="5997010" y="4303299"/>
                  <a:pt x="5997010" y="4304516"/>
                  <a:pt x="5996710" y="4305955"/>
                </a:cubicBezTo>
                <a:cubicBezTo>
                  <a:pt x="5996409" y="4309275"/>
                  <a:pt x="5993101" y="4309275"/>
                  <a:pt x="5988892" y="4307947"/>
                </a:cubicBezTo>
                <a:cubicBezTo>
                  <a:pt x="5979575" y="4307283"/>
                  <a:pt x="5976267" y="4303963"/>
                  <a:pt x="5979273" y="4297765"/>
                </a:cubicBezTo>
                <a:cubicBezTo>
                  <a:pt x="5980777" y="4297101"/>
                  <a:pt x="5985887" y="4296437"/>
                  <a:pt x="5985286" y="4295109"/>
                </a:cubicBezTo>
                <a:close/>
                <a:moveTo>
                  <a:pt x="2191526" y="4295109"/>
                </a:moveTo>
                <a:lnTo>
                  <a:pt x="2199643" y="4300200"/>
                </a:lnTo>
                <a:lnTo>
                  <a:pt x="2201747" y="4300311"/>
                </a:lnTo>
                <a:cubicBezTo>
                  <a:pt x="2204152" y="4301085"/>
                  <a:pt x="2206256" y="4302746"/>
                  <a:pt x="2208361" y="4305734"/>
                </a:cubicBezTo>
                <a:cubicBezTo>
                  <a:pt x="2206858" y="4307615"/>
                  <a:pt x="2205956" y="4309607"/>
                  <a:pt x="2204453" y="4311489"/>
                </a:cubicBezTo>
                <a:cubicBezTo>
                  <a:pt x="2195435" y="4307726"/>
                  <a:pt x="2187619" y="4309829"/>
                  <a:pt x="2180403" y="4307172"/>
                </a:cubicBezTo>
                <a:lnTo>
                  <a:pt x="2185815" y="4303631"/>
                </a:lnTo>
                <a:lnTo>
                  <a:pt x="2185514" y="4297765"/>
                </a:lnTo>
                <a:cubicBezTo>
                  <a:pt x="2187017" y="4297101"/>
                  <a:pt x="2192127" y="4296437"/>
                  <a:pt x="2191526" y="4295109"/>
                </a:cubicBezTo>
                <a:close/>
                <a:moveTo>
                  <a:pt x="1473357" y="4294888"/>
                </a:moveTo>
                <a:lnTo>
                  <a:pt x="1475762" y="4298540"/>
                </a:lnTo>
                <a:lnTo>
                  <a:pt x="1478768" y="4297655"/>
                </a:lnTo>
                <a:lnTo>
                  <a:pt x="1490191" y="4296880"/>
                </a:lnTo>
                <a:lnTo>
                  <a:pt x="1486885" y="4296880"/>
                </a:lnTo>
                <a:cubicBezTo>
                  <a:pt x="1482677" y="4296659"/>
                  <a:pt x="1479069" y="4296105"/>
                  <a:pt x="1473357" y="4294888"/>
                </a:cubicBezTo>
                <a:close/>
                <a:moveTo>
                  <a:pt x="1779985" y="4293892"/>
                </a:moveTo>
                <a:cubicBezTo>
                  <a:pt x="1781487" y="4297323"/>
                  <a:pt x="1781788" y="4299979"/>
                  <a:pt x="1780886" y="4302192"/>
                </a:cubicBezTo>
                <a:lnTo>
                  <a:pt x="1776377" y="4306619"/>
                </a:lnTo>
                <a:lnTo>
                  <a:pt x="1777880" y="4307062"/>
                </a:lnTo>
                <a:lnTo>
                  <a:pt x="1787801" y="4311931"/>
                </a:lnTo>
                <a:lnTo>
                  <a:pt x="1789303" y="4310271"/>
                </a:lnTo>
                <a:cubicBezTo>
                  <a:pt x="1791108" y="4308500"/>
                  <a:pt x="1793513" y="4306951"/>
                  <a:pt x="1796218" y="4307615"/>
                </a:cubicBezTo>
                <a:cubicBezTo>
                  <a:pt x="1797120" y="4307394"/>
                  <a:pt x="1797721" y="4308611"/>
                  <a:pt x="1798322" y="4310161"/>
                </a:cubicBezTo>
                <a:cubicBezTo>
                  <a:pt x="1798622" y="4311821"/>
                  <a:pt x="1798924" y="4313591"/>
                  <a:pt x="1798322" y="4314587"/>
                </a:cubicBezTo>
                <a:lnTo>
                  <a:pt x="1794715" y="4318461"/>
                </a:lnTo>
                <a:lnTo>
                  <a:pt x="1813954" y="4307283"/>
                </a:lnTo>
                <a:cubicBezTo>
                  <a:pt x="1817261" y="4305734"/>
                  <a:pt x="1821169" y="4304516"/>
                  <a:pt x="1825678" y="4303852"/>
                </a:cubicBezTo>
                <a:cubicBezTo>
                  <a:pt x="1829887" y="4303299"/>
                  <a:pt x="1834998" y="4303188"/>
                  <a:pt x="1840409" y="4303963"/>
                </a:cubicBezTo>
                <a:cubicBezTo>
                  <a:pt x="1842512" y="4308500"/>
                  <a:pt x="1850028" y="4312817"/>
                  <a:pt x="1845218" y="4318572"/>
                </a:cubicBezTo>
                <a:cubicBezTo>
                  <a:pt x="1827782" y="4310493"/>
                  <a:pt x="1813353" y="4326429"/>
                  <a:pt x="1799825" y="4321892"/>
                </a:cubicBezTo>
                <a:lnTo>
                  <a:pt x="1794414" y="4318793"/>
                </a:lnTo>
                <a:lnTo>
                  <a:pt x="1792009" y="4321449"/>
                </a:lnTo>
                <a:cubicBezTo>
                  <a:pt x="1790807" y="4323441"/>
                  <a:pt x="1789604" y="4325323"/>
                  <a:pt x="1788101" y="4326540"/>
                </a:cubicBezTo>
                <a:cubicBezTo>
                  <a:pt x="1786898" y="4327757"/>
                  <a:pt x="1785396" y="4328200"/>
                  <a:pt x="1783291" y="4327315"/>
                </a:cubicBezTo>
                <a:cubicBezTo>
                  <a:pt x="1783592" y="4324990"/>
                  <a:pt x="1783892" y="4322998"/>
                  <a:pt x="1784193" y="4320896"/>
                </a:cubicBezTo>
                <a:lnTo>
                  <a:pt x="1785696" y="4316469"/>
                </a:lnTo>
                <a:lnTo>
                  <a:pt x="1784795" y="4316579"/>
                </a:lnTo>
                <a:cubicBezTo>
                  <a:pt x="1778782" y="4315915"/>
                  <a:pt x="1769764" y="4312042"/>
                  <a:pt x="1769764" y="4310825"/>
                </a:cubicBezTo>
                <a:cubicBezTo>
                  <a:pt x="1768261" y="4310714"/>
                  <a:pt x="1768261" y="4309164"/>
                  <a:pt x="1766757" y="4308943"/>
                </a:cubicBezTo>
                <a:cubicBezTo>
                  <a:pt x="1766757" y="4308943"/>
                  <a:pt x="1764953" y="4308722"/>
                  <a:pt x="1763451" y="4307062"/>
                </a:cubicBezTo>
                <a:cubicBezTo>
                  <a:pt x="1761947" y="4305291"/>
                  <a:pt x="1760445" y="4303631"/>
                  <a:pt x="1762248" y="4300753"/>
                </a:cubicBezTo>
                <a:lnTo>
                  <a:pt x="1773070" y="4305180"/>
                </a:lnTo>
                <a:lnTo>
                  <a:pt x="1770365" y="4301750"/>
                </a:lnTo>
                <a:cubicBezTo>
                  <a:pt x="1769163" y="4299204"/>
                  <a:pt x="1769163" y="4296659"/>
                  <a:pt x="1770064" y="4294777"/>
                </a:cubicBezTo>
                <a:cubicBezTo>
                  <a:pt x="1775175" y="4292674"/>
                  <a:pt x="1776979" y="4295552"/>
                  <a:pt x="1779985" y="4293892"/>
                </a:cubicBezTo>
                <a:close/>
                <a:moveTo>
                  <a:pt x="750980" y="4293892"/>
                </a:moveTo>
                <a:cubicBezTo>
                  <a:pt x="752482" y="4297323"/>
                  <a:pt x="752482" y="4299979"/>
                  <a:pt x="751581" y="4302192"/>
                </a:cubicBezTo>
                <a:lnTo>
                  <a:pt x="747373" y="4306619"/>
                </a:lnTo>
                <a:lnTo>
                  <a:pt x="748575" y="4307062"/>
                </a:lnTo>
                <a:cubicBezTo>
                  <a:pt x="753085" y="4308722"/>
                  <a:pt x="756992" y="4310382"/>
                  <a:pt x="761802" y="4313259"/>
                </a:cubicBezTo>
                <a:cubicBezTo>
                  <a:pt x="761802" y="4314809"/>
                  <a:pt x="759998" y="4314477"/>
                  <a:pt x="759998" y="4316026"/>
                </a:cubicBezTo>
                <a:cubicBezTo>
                  <a:pt x="759097" y="4316690"/>
                  <a:pt x="757593" y="4316911"/>
                  <a:pt x="755490" y="4316579"/>
                </a:cubicBezTo>
                <a:cubicBezTo>
                  <a:pt x="749777" y="4315915"/>
                  <a:pt x="740759" y="4312042"/>
                  <a:pt x="740759" y="4310825"/>
                </a:cubicBezTo>
                <a:cubicBezTo>
                  <a:pt x="739256" y="4310714"/>
                  <a:pt x="739256" y="4309164"/>
                  <a:pt x="737452" y="4308943"/>
                </a:cubicBezTo>
                <a:cubicBezTo>
                  <a:pt x="737452" y="4308943"/>
                  <a:pt x="735949" y="4308722"/>
                  <a:pt x="734446" y="4307062"/>
                </a:cubicBezTo>
                <a:cubicBezTo>
                  <a:pt x="732943" y="4305291"/>
                  <a:pt x="731440" y="4303631"/>
                  <a:pt x="732943" y="4300753"/>
                </a:cubicBezTo>
                <a:lnTo>
                  <a:pt x="743765" y="4305180"/>
                </a:lnTo>
                <a:lnTo>
                  <a:pt x="741059" y="4301750"/>
                </a:lnTo>
                <a:cubicBezTo>
                  <a:pt x="740158" y="4299204"/>
                  <a:pt x="739857" y="4296659"/>
                  <a:pt x="741059" y="4294777"/>
                </a:cubicBezTo>
                <a:cubicBezTo>
                  <a:pt x="745869" y="4292674"/>
                  <a:pt x="747974" y="4295552"/>
                  <a:pt x="750980" y="4293892"/>
                </a:cubicBezTo>
                <a:close/>
                <a:moveTo>
                  <a:pt x="2040317" y="4293117"/>
                </a:moveTo>
                <a:cubicBezTo>
                  <a:pt x="2041219" y="4293449"/>
                  <a:pt x="2042120" y="4294335"/>
                  <a:pt x="2043023" y="4295109"/>
                </a:cubicBezTo>
                <a:cubicBezTo>
                  <a:pt x="2044525" y="4296659"/>
                  <a:pt x="2046330" y="4298319"/>
                  <a:pt x="2048133" y="4299979"/>
                </a:cubicBezTo>
                <a:cubicBezTo>
                  <a:pt x="2048133" y="4299979"/>
                  <a:pt x="2047832" y="4299979"/>
                  <a:pt x="2037912" y="4293449"/>
                </a:cubicBezTo>
                <a:cubicBezTo>
                  <a:pt x="2038513" y="4292674"/>
                  <a:pt x="2039415" y="4292674"/>
                  <a:pt x="2040317" y="4293117"/>
                </a:cubicBezTo>
                <a:close/>
                <a:moveTo>
                  <a:pt x="5239460" y="4292121"/>
                </a:moveTo>
                <a:cubicBezTo>
                  <a:pt x="5243068" y="4291789"/>
                  <a:pt x="5246675" y="4295441"/>
                  <a:pt x="5246074" y="4298429"/>
                </a:cubicBezTo>
                <a:cubicBezTo>
                  <a:pt x="5245773" y="4299868"/>
                  <a:pt x="5244871" y="4301085"/>
                  <a:pt x="5242767" y="4301750"/>
                </a:cubicBezTo>
                <a:cubicBezTo>
                  <a:pt x="5239760" y="4299647"/>
                  <a:pt x="5238558" y="4297876"/>
                  <a:pt x="5235854" y="4294224"/>
                </a:cubicBezTo>
                <a:cubicBezTo>
                  <a:pt x="5237056" y="4293006"/>
                  <a:pt x="5238258" y="4292342"/>
                  <a:pt x="5239460" y="4292121"/>
                </a:cubicBezTo>
                <a:close/>
                <a:moveTo>
                  <a:pt x="6143709" y="4291900"/>
                </a:moveTo>
                <a:cubicBezTo>
                  <a:pt x="6144612" y="4291900"/>
                  <a:pt x="6145513" y="4292785"/>
                  <a:pt x="6146416" y="4294113"/>
                </a:cubicBezTo>
                <a:cubicBezTo>
                  <a:pt x="6149120" y="4298097"/>
                  <a:pt x="6151827" y="4306398"/>
                  <a:pt x="6152428" y="4307394"/>
                </a:cubicBezTo>
                <a:cubicBezTo>
                  <a:pt x="6152428" y="4307394"/>
                  <a:pt x="6153029" y="4308722"/>
                  <a:pt x="6153630" y="4309939"/>
                </a:cubicBezTo>
                <a:cubicBezTo>
                  <a:pt x="6153029" y="4312042"/>
                  <a:pt x="6151527" y="4312817"/>
                  <a:pt x="6152428" y="4314145"/>
                </a:cubicBezTo>
                <a:cubicBezTo>
                  <a:pt x="6146115" y="4312706"/>
                  <a:pt x="6145213" y="4307947"/>
                  <a:pt x="6144612" y="4303299"/>
                </a:cubicBezTo>
                <a:cubicBezTo>
                  <a:pt x="6144310" y="4299979"/>
                  <a:pt x="6143709" y="4298651"/>
                  <a:pt x="6141005" y="4296880"/>
                </a:cubicBezTo>
                <a:cubicBezTo>
                  <a:pt x="6141005" y="4296880"/>
                  <a:pt x="6141005" y="4296880"/>
                  <a:pt x="6142207" y="4292674"/>
                </a:cubicBezTo>
                <a:close/>
                <a:moveTo>
                  <a:pt x="2349950" y="4291900"/>
                </a:moveTo>
                <a:cubicBezTo>
                  <a:pt x="2350852" y="4291900"/>
                  <a:pt x="2351754" y="4292785"/>
                  <a:pt x="2352656" y="4294113"/>
                </a:cubicBezTo>
                <a:cubicBezTo>
                  <a:pt x="2355361" y="4298097"/>
                  <a:pt x="2358067" y="4306398"/>
                  <a:pt x="2358668" y="4307394"/>
                </a:cubicBezTo>
                <a:cubicBezTo>
                  <a:pt x="2358668" y="4307394"/>
                  <a:pt x="2359270" y="4308722"/>
                  <a:pt x="2360171" y="4309939"/>
                </a:cubicBezTo>
                <a:lnTo>
                  <a:pt x="2359570" y="4311710"/>
                </a:lnTo>
                <a:lnTo>
                  <a:pt x="2360472" y="4317133"/>
                </a:lnTo>
                <a:cubicBezTo>
                  <a:pt x="2360472" y="4319789"/>
                  <a:pt x="2359570" y="4322002"/>
                  <a:pt x="2358367" y="4322777"/>
                </a:cubicBezTo>
                <a:cubicBezTo>
                  <a:pt x="2355962" y="4322888"/>
                  <a:pt x="2350852" y="4315141"/>
                  <a:pt x="2351754" y="4310493"/>
                </a:cubicBezTo>
                <a:lnTo>
                  <a:pt x="2352656" y="4309718"/>
                </a:lnTo>
                <a:lnTo>
                  <a:pt x="2350852" y="4303299"/>
                </a:lnTo>
                <a:cubicBezTo>
                  <a:pt x="2350852" y="4299979"/>
                  <a:pt x="2349950" y="4298651"/>
                  <a:pt x="2347244" y="4296880"/>
                </a:cubicBezTo>
                <a:cubicBezTo>
                  <a:pt x="2347244" y="4296880"/>
                  <a:pt x="2347244" y="4296880"/>
                  <a:pt x="2348448" y="4292674"/>
                </a:cubicBezTo>
                <a:close/>
                <a:moveTo>
                  <a:pt x="5140558" y="4288358"/>
                </a:moveTo>
                <a:cubicBezTo>
                  <a:pt x="5148525" y="4290959"/>
                  <a:pt x="5154311" y="4297239"/>
                  <a:pt x="5158182" y="4304198"/>
                </a:cubicBezTo>
                <a:lnTo>
                  <a:pt x="5163746" y="4322284"/>
                </a:lnTo>
                <a:lnTo>
                  <a:pt x="5163350" y="4323297"/>
                </a:lnTo>
                <a:lnTo>
                  <a:pt x="5145443" y="4308182"/>
                </a:lnTo>
                <a:cubicBezTo>
                  <a:pt x="5141159" y="4301196"/>
                  <a:pt x="5139206" y="4293560"/>
                  <a:pt x="5140558" y="4288358"/>
                </a:cubicBezTo>
                <a:close/>
                <a:moveTo>
                  <a:pt x="2375803" y="4288358"/>
                </a:moveTo>
                <a:cubicBezTo>
                  <a:pt x="2392036" y="4293560"/>
                  <a:pt x="2399251" y="4313481"/>
                  <a:pt x="2399852" y="4324105"/>
                </a:cubicBezTo>
                <a:cubicBezTo>
                  <a:pt x="2383619" y="4318904"/>
                  <a:pt x="2373097" y="4298761"/>
                  <a:pt x="2375803" y="4288358"/>
                </a:cubicBezTo>
                <a:close/>
                <a:moveTo>
                  <a:pt x="1346799" y="4288358"/>
                </a:moveTo>
                <a:cubicBezTo>
                  <a:pt x="1362731" y="4293560"/>
                  <a:pt x="1369946" y="4313481"/>
                  <a:pt x="1370547" y="4324105"/>
                </a:cubicBezTo>
                <a:cubicBezTo>
                  <a:pt x="1354614" y="4318904"/>
                  <a:pt x="1344093" y="4298761"/>
                  <a:pt x="1346799" y="4288358"/>
                </a:cubicBezTo>
                <a:close/>
                <a:moveTo>
                  <a:pt x="2082103" y="4286366"/>
                </a:moveTo>
                <a:cubicBezTo>
                  <a:pt x="2083305" y="4286698"/>
                  <a:pt x="2083906" y="4287362"/>
                  <a:pt x="2084508" y="4288248"/>
                </a:cubicBezTo>
                <a:cubicBezTo>
                  <a:pt x="2085409" y="4290018"/>
                  <a:pt x="2085710" y="4292785"/>
                  <a:pt x="2086010" y="4295441"/>
                </a:cubicBezTo>
                <a:cubicBezTo>
                  <a:pt x="2082403" y="4296327"/>
                  <a:pt x="2081200" y="4299536"/>
                  <a:pt x="2075789" y="4298208"/>
                </a:cubicBezTo>
                <a:cubicBezTo>
                  <a:pt x="2076091" y="4294003"/>
                  <a:pt x="2077593" y="4290793"/>
                  <a:pt x="2078194" y="4286477"/>
                </a:cubicBezTo>
                <a:cubicBezTo>
                  <a:pt x="2079698" y="4286034"/>
                  <a:pt x="2081200" y="4286145"/>
                  <a:pt x="2082103" y="4286366"/>
                </a:cubicBezTo>
                <a:close/>
                <a:moveTo>
                  <a:pt x="1053098" y="4286366"/>
                </a:moveTo>
                <a:cubicBezTo>
                  <a:pt x="1054000" y="4286698"/>
                  <a:pt x="1054901" y="4287362"/>
                  <a:pt x="1055503" y="4288248"/>
                </a:cubicBezTo>
                <a:cubicBezTo>
                  <a:pt x="1056405" y="4290018"/>
                  <a:pt x="1056705" y="4292785"/>
                  <a:pt x="1057006" y="4295441"/>
                </a:cubicBezTo>
                <a:cubicBezTo>
                  <a:pt x="1053399" y="4296327"/>
                  <a:pt x="1051895" y="4299536"/>
                  <a:pt x="1046484" y="4298208"/>
                </a:cubicBezTo>
                <a:cubicBezTo>
                  <a:pt x="1047086" y="4294003"/>
                  <a:pt x="1048588" y="4290793"/>
                  <a:pt x="1048889" y="4286477"/>
                </a:cubicBezTo>
                <a:cubicBezTo>
                  <a:pt x="1050693" y="4286034"/>
                  <a:pt x="1051895" y="4286145"/>
                  <a:pt x="1053098" y="4286366"/>
                </a:cubicBezTo>
                <a:close/>
                <a:moveTo>
                  <a:pt x="6048415" y="4284817"/>
                </a:moveTo>
                <a:cubicBezTo>
                  <a:pt x="6049617" y="4285038"/>
                  <a:pt x="6050519" y="4285259"/>
                  <a:pt x="6051120" y="4285924"/>
                </a:cubicBezTo>
                <a:cubicBezTo>
                  <a:pt x="6051722" y="4286698"/>
                  <a:pt x="6052023" y="4287805"/>
                  <a:pt x="6051421" y="4289908"/>
                </a:cubicBezTo>
                <a:cubicBezTo>
                  <a:pt x="6051421" y="4293338"/>
                  <a:pt x="6049917" y="4294224"/>
                  <a:pt x="6044206" y="4294113"/>
                </a:cubicBezTo>
                <a:cubicBezTo>
                  <a:pt x="6039998" y="4293117"/>
                  <a:pt x="6036090" y="4293449"/>
                  <a:pt x="6035489" y="4292121"/>
                </a:cubicBezTo>
                <a:cubicBezTo>
                  <a:pt x="6033985" y="4293006"/>
                  <a:pt x="6031881" y="4292564"/>
                  <a:pt x="6030378" y="4293449"/>
                </a:cubicBezTo>
                <a:cubicBezTo>
                  <a:pt x="6030378" y="4293449"/>
                  <a:pt x="6030679" y="4293338"/>
                  <a:pt x="6029777" y="4292010"/>
                </a:cubicBezTo>
                <a:cubicBezTo>
                  <a:pt x="6036390" y="4290018"/>
                  <a:pt x="6042703" y="4284706"/>
                  <a:pt x="6048415" y="4284817"/>
                </a:cubicBezTo>
                <a:close/>
                <a:moveTo>
                  <a:pt x="2142225" y="4283931"/>
                </a:moveTo>
                <a:cubicBezTo>
                  <a:pt x="2145833" y="4286034"/>
                  <a:pt x="2148839" y="4283710"/>
                  <a:pt x="2152747" y="4285702"/>
                </a:cubicBezTo>
                <a:cubicBezTo>
                  <a:pt x="2150041" y="4289465"/>
                  <a:pt x="2149140" y="4292896"/>
                  <a:pt x="2147937" y="4294777"/>
                </a:cubicBezTo>
                <a:cubicBezTo>
                  <a:pt x="2141023" y="4293560"/>
                  <a:pt x="2138318" y="4289576"/>
                  <a:pt x="2142225" y="4283931"/>
                </a:cubicBezTo>
                <a:close/>
                <a:moveTo>
                  <a:pt x="1113220" y="4283931"/>
                </a:moveTo>
                <a:cubicBezTo>
                  <a:pt x="1116828" y="4286034"/>
                  <a:pt x="1119835" y="4283710"/>
                  <a:pt x="1123442" y="4285702"/>
                </a:cubicBezTo>
                <a:cubicBezTo>
                  <a:pt x="1121036" y="4289465"/>
                  <a:pt x="1120135" y="4292896"/>
                  <a:pt x="1118631" y="4294777"/>
                </a:cubicBezTo>
                <a:cubicBezTo>
                  <a:pt x="1111718" y="4293560"/>
                  <a:pt x="1109313" y="4289576"/>
                  <a:pt x="1113220" y="4283931"/>
                </a:cubicBezTo>
                <a:close/>
                <a:moveTo>
                  <a:pt x="5971157" y="4283378"/>
                </a:moveTo>
                <a:cubicBezTo>
                  <a:pt x="5972961" y="4282714"/>
                  <a:pt x="5973863" y="4285370"/>
                  <a:pt x="5973863" y="4285370"/>
                </a:cubicBezTo>
                <a:cubicBezTo>
                  <a:pt x="5975666" y="4284706"/>
                  <a:pt x="5977169" y="4284042"/>
                  <a:pt x="5979273" y="4284595"/>
                </a:cubicBezTo>
                <a:cubicBezTo>
                  <a:pt x="5978071" y="4286588"/>
                  <a:pt x="5979575" y="4285924"/>
                  <a:pt x="5980176" y="4287252"/>
                </a:cubicBezTo>
                <a:cubicBezTo>
                  <a:pt x="5978071" y="4286588"/>
                  <a:pt x="5973562" y="4288690"/>
                  <a:pt x="5969955" y="4288801"/>
                </a:cubicBezTo>
                <a:cubicBezTo>
                  <a:pt x="5969354" y="4287473"/>
                  <a:pt x="5967249" y="4286809"/>
                  <a:pt x="5966647" y="4285481"/>
                </a:cubicBezTo>
                <a:cubicBezTo>
                  <a:pt x="5968150" y="4284817"/>
                  <a:pt x="5970856" y="4282050"/>
                  <a:pt x="5971157" y="4283378"/>
                </a:cubicBezTo>
                <a:close/>
                <a:moveTo>
                  <a:pt x="2177698" y="4283378"/>
                </a:moveTo>
                <a:cubicBezTo>
                  <a:pt x="2179201" y="4282714"/>
                  <a:pt x="2180403" y="4285370"/>
                  <a:pt x="2180403" y="4285370"/>
                </a:cubicBezTo>
                <a:cubicBezTo>
                  <a:pt x="2181907" y="4284706"/>
                  <a:pt x="2183410" y="4284042"/>
                  <a:pt x="2185514" y="4284595"/>
                </a:cubicBezTo>
                <a:cubicBezTo>
                  <a:pt x="2184613" y="4286588"/>
                  <a:pt x="2186115" y="4285924"/>
                  <a:pt x="2186716" y="4287252"/>
                </a:cubicBezTo>
                <a:cubicBezTo>
                  <a:pt x="2184613" y="4286588"/>
                  <a:pt x="2179803" y="4288690"/>
                  <a:pt x="2176196" y="4288801"/>
                </a:cubicBezTo>
                <a:cubicBezTo>
                  <a:pt x="2175894" y="4287473"/>
                  <a:pt x="2173490" y="4286809"/>
                  <a:pt x="2172888" y="4285481"/>
                </a:cubicBezTo>
                <a:cubicBezTo>
                  <a:pt x="2174391" y="4284817"/>
                  <a:pt x="2177097" y="4282050"/>
                  <a:pt x="2177698" y="4283378"/>
                </a:cubicBezTo>
                <a:close/>
                <a:moveTo>
                  <a:pt x="2119379" y="4279505"/>
                </a:moveTo>
                <a:cubicBezTo>
                  <a:pt x="2121784" y="4279394"/>
                  <a:pt x="2124189" y="4279505"/>
                  <a:pt x="2126293" y="4280058"/>
                </a:cubicBezTo>
                <a:cubicBezTo>
                  <a:pt x="2130501" y="4281386"/>
                  <a:pt x="2133508" y="4284595"/>
                  <a:pt x="2135311" y="4290572"/>
                </a:cubicBezTo>
                <a:cubicBezTo>
                  <a:pt x="2131403" y="4295663"/>
                  <a:pt x="2125090" y="4295773"/>
                  <a:pt x="2119980" y="4293449"/>
                </a:cubicBezTo>
                <a:cubicBezTo>
                  <a:pt x="2114869" y="4291014"/>
                  <a:pt x="2110661" y="4286034"/>
                  <a:pt x="2110962" y="4281054"/>
                </a:cubicBezTo>
                <a:cubicBezTo>
                  <a:pt x="2113967" y="4280279"/>
                  <a:pt x="2116673" y="4279726"/>
                  <a:pt x="2119379" y="4279505"/>
                </a:cubicBezTo>
                <a:close/>
                <a:moveTo>
                  <a:pt x="1090374" y="4279505"/>
                </a:moveTo>
                <a:cubicBezTo>
                  <a:pt x="1092779" y="4279394"/>
                  <a:pt x="1095184" y="4279505"/>
                  <a:pt x="1097289" y="4280058"/>
                </a:cubicBezTo>
                <a:cubicBezTo>
                  <a:pt x="1101196" y="4281386"/>
                  <a:pt x="1104202" y="4284595"/>
                  <a:pt x="1106006" y="4290572"/>
                </a:cubicBezTo>
                <a:cubicBezTo>
                  <a:pt x="1102399" y="4295663"/>
                  <a:pt x="1096085" y="4295773"/>
                  <a:pt x="1090975" y="4293449"/>
                </a:cubicBezTo>
                <a:cubicBezTo>
                  <a:pt x="1085564" y="4291014"/>
                  <a:pt x="1081356" y="4286034"/>
                  <a:pt x="1081656" y="4281054"/>
                </a:cubicBezTo>
                <a:cubicBezTo>
                  <a:pt x="1084963" y="4280279"/>
                  <a:pt x="1087668" y="4279726"/>
                  <a:pt x="1090374" y="4279505"/>
                </a:cubicBezTo>
                <a:close/>
                <a:moveTo>
                  <a:pt x="5654910" y="4277734"/>
                </a:moveTo>
                <a:cubicBezTo>
                  <a:pt x="5655210" y="4279283"/>
                  <a:pt x="5657315" y="4282161"/>
                  <a:pt x="5655811" y="4283821"/>
                </a:cubicBezTo>
                <a:cubicBezTo>
                  <a:pt x="5654609" y="4285481"/>
                  <a:pt x="5654609" y="4285481"/>
                  <a:pt x="5651303" y="4285591"/>
                </a:cubicBezTo>
                <a:cubicBezTo>
                  <a:pt x="5652205" y="4280943"/>
                  <a:pt x="5652205" y="4280943"/>
                  <a:pt x="5654910" y="4277734"/>
                </a:cubicBezTo>
                <a:close/>
                <a:moveTo>
                  <a:pt x="1861151" y="4277734"/>
                </a:moveTo>
                <a:cubicBezTo>
                  <a:pt x="1861451" y="4279283"/>
                  <a:pt x="1863556" y="4282161"/>
                  <a:pt x="1862353" y="4283821"/>
                </a:cubicBezTo>
                <a:cubicBezTo>
                  <a:pt x="1860850" y="4285481"/>
                  <a:pt x="1860850" y="4285481"/>
                  <a:pt x="1857544" y="4285591"/>
                </a:cubicBezTo>
                <a:cubicBezTo>
                  <a:pt x="1858445" y="4280943"/>
                  <a:pt x="1858445" y="4280943"/>
                  <a:pt x="1861151" y="4277734"/>
                </a:cubicBezTo>
                <a:close/>
                <a:moveTo>
                  <a:pt x="5654309" y="4273196"/>
                </a:moveTo>
                <a:cubicBezTo>
                  <a:pt x="5655811" y="4273196"/>
                  <a:pt x="5656112" y="4274856"/>
                  <a:pt x="5654910" y="4276627"/>
                </a:cubicBezTo>
                <a:cubicBezTo>
                  <a:pt x="5654910" y="4276627"/>
                  <a:pt x="5653407" y="4276738"/>
                  <a:pt x="5653407" y="4276738"/>
                </a:cubicBezTo>
                <a:cubicBezTo>
                  <a:pt x="5653107" y="4275078"/>
                  <a:pt x="5652806" y="4273307"/>
                  <a:pt x="5654309" y="4273196"/>
                </a:cubicBezTo>
                <a:close/>
                <a:moveTo>
                  <a:pt x="1860850" y="4273196"/>
                </a:moveTo>
                <a:cubicBezTo>
                  <a:pt x="1862052" y="4273196"/>
                  <a:pt x="1862353" y="4274856"/>
                  <a:pt x="1861151" y="4276627"/>
                </a:cubicBezTo>
                <a:cubicBezTo>
                  <a:pt x="1861151" y="4276627"/>
                  <a:pt x="1859647" y="4276738"/>
                  <a:pt x="1859647" y="4276738"/>
                </a:cubicBezTo>
                <a:cubicBezTo>
                  <a:pt x="1859346" y="4275078"/>
                  <a:pt x="1859346" y="4273307"/>
                  <a:pt x="1860850" y="4273196"/>
                </a:cubicBezTo>
                <a:close/>
                <a:moveTo>
                  <a:pt x="778637" y="4272864"/>
                </a:moveTo>
                <a:cubicBezTo>
                  <a:pt x="780441" y="4273086"/>
                  <a:pt x="781943" y="4274635"/>
                  <a:pt x="781943" y="4274635"/>
                </a:cubicBezTo>
                <a:cubicBezTo>
                  <a:pt x="783447" y="4276406"/>
                  <a:pt x="783447" y="4276406"/>
                  <a:pt x="784949" y="4275078"/>
                </a:cubicBezTo>
                <a:cubicBezTo>
                  <a:pt x="784949" y="4275078"/>
                  <a:pt x="784949" y="4276627"/>
                  <a:pt x="784949" y="4276627"/>
                </a:cubicBezTo>
                <a:cubicBezTo>
                  <a:pt x="783447" y="4276406"/>
                  <a:pt x="784949" y="4276627"/>
                  <a:pt x="786453" y="4278287"/>
                </a:cubicBezTo>
                <a:cubicBezTo>
                  <a:pt x="784949" y="4281165"/>
                  <a:pt x="784949" y="4282714"/>
                  <a:pt x="783145" y="4284042"/>
                </a:cubicBezTo>
                <a:cubicBezTo>
                  <a:pt x="782544" y="4284706"/>
                  <a:pt x="781042" y="4285370"/>
                  <a:pt x="779839" y="4285591"/>
                </a:cubicBezTo>
                <a:cubicBezTo>
                  <a:pt x="778637" y="4285924"/>
                  <a:pt x="777434" y="4285702"/>
                  <a:pt x="776833" y="4284817"/>
                </a:cubicBezTo>
                <a:cubicBezTo>
                  <a:pt x="776833" y="4283267"/>
                  <a:pt x="775330" y="4283157"/>
                  <a:pt x="775330" y="4281718"/>
                </a:cubicBezTo>
                <a:cubicBezTo>
                  <a:pt x="773826" y="4278509"/>
                  <a:pt x="773826" y="4276848"/>
                  <a:pt x="775631" y="4275520"/>
                </a:cubicBezTo>
                <a:cubicBezTo>
                  <a:pt x="775631" y="4273971"/>
                  <a:pt x="777133" y="4274192"/>
                  <a:pt x="778637" y="4272864"/>
                </a:cubicBezTo>
                <a:close/>
                <a:moveTo>
                  <a:pt x="2313275" y="4270762"/>
                </a:moveTo>
                <a:cubicBezTo>
                  <a:pt x="2306963" y="4280279"/>
                  <a:pt x="2307263" y="4290018"/>
                  <a:pt x="2306662" y="4299647"/>
                </a:cubicBezTo>
                <a:lnTo>
                  <a:pt x="2306662" y="4300311"/>
                </a:lnTo>
                <a:lnTo>
                  <a:pt x="2310870" y="4306951"/>
                </a:lnTo>
                <a:cubicBezTo>
                  <a:pt x="2311772" y="4309497"/>
                  <a:pt x="2312073" y="4311821"/>
                  <a:pt x="2311471" y="4313923"/>
                </a:cubicBezTo>
                <a:lnTo>
                  <a:pt x="2311171" y="4314587"/>
                </a:lnTo>
                <a:lnTo>
                  <a:pt x="2312674" y="4314255"/>
                </a:lnTo>
                <a:cubicBezTo>
                  <a:pt x="2313576" y="4313702"/>
                  <a:pt x="2314778" y="4313259"/>
                  <a:pt x="2315981" y="4313591"/>
                </a:cubicBezTo>
                <a:cubicBezTo>
                  <a:pt x="2315981" y="4313591"/>
                  <a:pt x="2319287" y="4317133"/>
                  <a:pt x="2319287" y="4317133"/>
                </a:cubicBezTo>
                <a:cubicBezTo>
                  <a:pt x="2318386" y="4319125"/>
                  <a:pt x="2318085" y="4319125"/>
                  <a:pt x="2317483" y="4317797"/>
                </a:cubicBezTo>
                <a:cubicBezTo>
                  <a:pt x="2315079" y="4320564"/>
                  <a:pt x="2313576" y="4321228"/>
                  <a:pt x="2312073" y="4321892"/>
                </a:cubicBezTo>
                <a:lnTo>
                  <a:pt x="2309668" y="4316358"/>
                </a:lnTo>
                <a:lnTo>
                  <a:pt x="2306060" y="4321449"/>
                </a:lnTo>
                <a:lnTo>
                  <a:pt x="2299447" y="4323662"/>
                </a:lnTo>
                <a:lnTo>
                  <a:pt x="2296741" y="4328089"/>
                </a:lnTo>
                <a:lnTo>
                  <a:pt x="2294036" y="4324548"/>
                </a:lnTo>
                <a:lnTo>
                  <a:pt x="2284115" y="4323109"/>
                </a:lnTo>
                <a:cubicBezTo>
                  <a:pt x="2280208" y="4321560"/>
                  <a:pt x="2276901" y="4319014"/>
                  <a:pt x="2274496" y="4315251"/>
                </a:cubicBezTo>
                <a:cubicBezTo>
                  <a:pt x="2274496" y="4308390"/>
                  <a:pt x="2279607" y="4303742"/>
                  <a:pt x="2285919" y="4301085"/>
                </a:cubicBezTo>
                <a:lnTo>
                  <a:pt x="2286821" y="4300864"/>
                </a:lnTo>
                <a:lnTo>
                  <a:pt x="2287423" y="4298429"/>
                </a:lnTo>
                <a:cubicBezTo>
                  <a:pt x="2288024" y="4295773"/>
                  <a:pt x="2289827" y="4294335"/>
                  <a:pt x="2291330" y="4293117"/>
                </a:cubicBezTo>
                <a:lnTo>
                  <a:pt x="2294637" y="4289908"/>
                </a:lnTo>
                <a:lnTo>
                  <a:pt x="2299447" y="4278841"/>
                </a:lnTo>
                <a:cubicBezTo>
                  <a:pt x="2303054" y="4274192"/>
                  <a:pt x="2307564" y="4271094"/>
                  <a:pt x="2313275" y="4270762"/>
                </a:cubicBezTo>
                <a:close/>
                <a:moveTo>
                  <a:pt x="1284271" y="4270762"/>
                </a:moveTo>
                <a:cubicBezTo>
                  <a:pt x="1277657" y="4280279"/>
                  <a:pt x="1277958" y="4290018"/>
                  <a:pt x="1277657" y="4299647"/>
                </a:cubicBezTo>
                <a:lnTo>
                  <a:pt x="1277657" y="4300311"/>
                </a:lnTo>
                <a:lnTo>
                  <a:pt x="1281865" y="4306951"/>
                </a:lnTo>
                <a:cubicBezTo>
                  <a:pt x="1282768" y="4309497"/>
                  <a:pt x="1283069" y="4311821"/>
                  <a:pt x="1282466" y="4313923"/>
                </a:cubicBezTo>
                <a:lnTo>
                  <a:pt x="1281865" y="4314587"/>
                </a:lnTo>
                <a:lnTo>
                  <a:pt x="1283369" y="4314255"/>
                </a:lnTo>
                <a:cubicBezTo>
                  <a:pt x="1284571" y="4313702"/>
                  <a:pt x="1285774" y="4313259"/>
                  <a:pt x="1286676" y="4313591"/>
                </a:cubicBezTo>
                <a:cubicBezTo>
                  <a:pt x="1286676" y="4313591"/>
                  <a:pt x="1289982" y="4317133"/>
                  <a:pt x="1289982" y="4317133"/>
                </a:cubicBezTo>
                <a:cubicBezTo>
                  <a:pt x="1289081" y="4319125"/>
                  <a:pt x="1289081" y="4319125"/>
                  <a:pt x="1288480" y="4317797"/>
                </a:cubicBezTo>
                <a:cubicBezTo>
                  <a:pt x="1286075" y="4320564"/>
                  <a:pt x="1284571" y="4321228"/>
                  <a:pt x="1283069" y="4321892"/>
                </a:cubicBezTo>
                <a:lnTo>
                  <a:pt x="1280663" y="4316358"/>
                </a:lnTo>
                <a:lnTo>
                  <a:pt x="1277055" y="4321449"/>
                </a:lnTo>
                <a:lnTo>
                  <a:pt x="1270142" y="4323662"/>
                </a:lnTo>
                <a:lnTo>
                  <a:pt x="1267737" y="4328089"/>
                </a:lnTo>
                <a:lnTo>
                  <a:pt x="1265031" y="4324548"/>
                </a:lnTo>
                <a:lnTo>
                  <a:pt x="1255111" y="4323109"/>
                </a:lnTo>
                <a:cubicBezTo>
                  <a:pt x="1251203" y="4321560"/>
                  <a:pt x="1247896" y="4319014"/>
                  <a:pt x="1245191" y="4315251"/>
                </a:cubicBezTo>
                <a:cubicBezTo>
                  <a:pt x="1245491" y="4308390"/>
                  <a:pt x="1250602" y="4303742"/>
                  <a:pt x="1256914" y="4301085"/>
                </a:cubicBezTo>
                <a:lnTo>
                  <a:pt x="1257817" y="4300864"/>
                </a:lnTo>
                <a:lnTo>
                  <a:pt x="1258118" y="4298429"/>
                </a:lnTo>
                <a:cubicBezTo>
                  <a:pt x="1259019" y="4295773"/>
                  <a:pt x="1260523" y="4294335"/>
                  <a:pt x="1262326" y="4293117"/>
                </a:cubicBezTo>
                <a:lnTo>
                  <a:pt x="1265632" y="4289908"/>
                </a:lnTo>
                <a:lnTo>
                  <a:pt x="1270442" y="4278841"/>
                </a:lnTo>
                <a:cubicBezTo>
                  <a:pt x="1274049" y="4274192"/>
                  <a:pt x="1278559" y="4271094"/>
                  <a:pt x="1284271" y="4270762"/>
                </a:cubicBezTo>
                <a:close/>
                <a:moveTo>
                  <a:pt x="2255857" y="4269987"/>
                </a:moveTo>
                <a:cubicBezTo>
                  <a:pt x="2254656" y="4274856"/>
                  <a:pt x="2255857" y="4278509"/>
                  <a:pt x="2256158" y="4281497"/>
                </a:cubicBezTo>
                <a:lnTo>
                  <a:pt x="2254355" y="4284927"/>
                </a:lnTo>
                <a:lnTo>
                  <a:pt x="2254656" y="4284817"/>
                </a:lnTo>
                <a:cubicBezTo>
                  <a:pt x="2255857" y="4285038"/>
                  <a:pt x="2257061" y="4285259"/>
                  <a:pt x="2257662" y="4285924"/>
                </a:cubicBezTo>
                <a:cubicBezTo>
                  <a:pt x="2258263" y="4286698"/>
                  <a:pt x="2258263" y="4287805"/>
                  <a:pt x="2257662" y="4289908"/>
                </a:cubicBezTo>
                <a:cubicBezTo>
                  <a:pt x="2257662" y="4293338"/>
                  <a:pt x="2256158" y="4294224"/>
                  <a:pt x="2250446" y="4294113"/>
                </a:cubicBezTo>
                <a:cubicBezTo>
                  <a:pt x="2246239" y="4293117"/>
                  <a:pt x="2242632" y="4293449"/>
                  <a:pt x="2241729" y="4292121"/>
                </a:cubicBezTo>
                <a:cubicBezTo>
                  <a:pt x="2240527" y="4293006"/>
                  <a:pt x="2238122" y="4292564"/>
                  <a:pt x="2236919" y="4293449"/>
                </a:cubicBezTo>
                <a:cubicBezTo>
                  <a:pt x="2236919" y="4293449"/>
                  <a:pt x="2236919" y="4293338"/>
                  <a:pt x="2236017" y="4292010"/>
                </a:cubicBezTo>
                <a:cubicBezTo>
                  <a:pt x="2239324" y="4291014"/>
                  <a:pt x="2242632" y="4289244"/>
                  <a:pt x="2245637" y="4287694"/>
                </a:cubicBezTo>
                <a:lnTo>
                  <a:pt x="2250747" y="4286034"/>
                </a:lnTo>
                <a:lnTo>
                  <a:pt x="2249846" y="4284595"/>
                </a:lnTo>
                <a:cubicBezTo>
                  <a:pt x="2248643" y="4279615"/>
                  <a:pt x="2251349" y="4272311"/>
                  <a:pt x="2255857" y="4269987"/>
                </a:cubicBezTo>
                <a:close/>
                <a:moveTo>
                  <a:pt x="725127" y="4269101"/>
                </a:moveTo>
                <a:cubicBezTo>
                  <a:pt x="729336" y="4268327"/>
                  <a:pt x="734146" y="4268437"/>
                  <a:pt x="738354" y="4269433"/>
                </a:cubicBezTo>
                <a:cubicBezTo>
                  <a:pt x="746771" y="4271315"/>
                  <a:pt x="753385" y="4276406"/>
                  <a:pt x="752182" y="4283931"/>
                </a:cubicBezTo>
                <a:cubicBezTo>
                  <a:pt x="751581" y="4286034"/>
                  <a:pt x="750679" y="4288469"/>
                  <a:pt x="748875" y="4290904"/>
                </a:cubicBezTo>
                <a:cubicBezTo>
                  <a:pt x="737753" y="4290129"/>
                  <a:pt x="718213" y="4292010"/>
                  <a:pt x="714005" y="4274303"/>
                </a:cubicBezTo>
                <a:cubicBezTo>
                  <a:pt x="717011" y="4271647"/>
                  <a:pt x="720918" y="4269876"/>
                  <a:pt x="725127" y="4269101"/>
                </a:cubicBezTo>
                <a:close/>
                <a:moveTo>
                  <a:pt x="5666633" y="4268216"/>
                </a:moveTo>
                <a:cubicBezTo>
                  <a:pt x="5671744" y="4268327"/>
                  <a:pt x="5675052" y="4270098"/>
                  <a:pt x="5676554" y="4272754"/>
                </a:cubicBezTo>
                <a:cubicBezTo>
                  <a:pt x="5681665" y="4280833"/>
                  <a:pt x="5671744" y="4295995"/>
                  <a:pt x="5659419" y="4289354"/>
                </a:cubicBezTo>
                <a:cubicBezTo>
                  <a:pt x="5657315" y="4283821"/>
                  <a:pt x="5662726" y="4271647"/>
                  <a:pt x="5666633" y="4268216"/>
                </a:cubicBezTo>
                <a:close/>
                <a:moveTo>
                  <a:pt x="1872874" y="4268216"/>
                </a:moveTo>
                <a:cubicBezTo>
                  <a:pt x="1878285" y="4268327"/>
                  <a:pt x="1881592" y="4270098"/>
                  <a:pt x="1883096" y="4272754"/>
                </a:cubicBezTo>
                <a:cubicBezTo>
                  <a:pt x="1887906" y="4280833"/>
                  <a:pt x="1877985" y="4295995"/>
                  <a:pt x="1865961" y="4289354"/>
                </a:cubicBezTo>
                <a:cubicBezTo>
                  <a:pt x="1863556" y="4283821"/>
                  <a:pt x="1868967" y="4271647"/>
                  <a:pt x="1872874" y="4268216"/>
                </a:cubicBezTo>
                <a:close/>
                <a:moveTo>
                  <a:pt x="5653107" y="4265560"/>
                </a:moveTo>
                <a:cubicBezTo>
                  <a:pt x="5653107" y="4265560"/>
                  <a:pt x="5654910" y="4267109"/>
                  <a:pt x="5654910" y="4267109"/>
                </a:cubicBezTo>
                <a:cubicBezTo>
                  <a:pt x="5653708" y="4268880"/>
                  <a:pt x="5655210" y="4268769"/>
                  <a:pt x="5652205" y="4268991"/>
                </a:cubicBezTo>
                <a:cubicBezTo>
                  <a:pt x="5653407" y="4267220"/>
                  <a:pt x="5653407" y="4267220"/>
                  <a:pt x="5653107" y="4265560"/>
                </a:cubicBezTo>
                <a:close/>
                <a:moveTo>
                  <a:pt x="5857525" y="4264896"/>
                </a:moveTo>
                <a:cubicBezTo>
                  <a:pt x="5861733" y="4270430"/>
                  <a:pt x="5871953" y="4271647"/>
                  <a:pt x="5872856" y="4288358"/>
                </a:cubicBezTo>
                <a:cubicBezTo>
                  <a:pt x="5872555" y="4297433"/>
                  <a:pt x="5867445" y="4301750"/>
                  <a:pt x="5862936" y="4304074"/>
                </a:cubicBezTo>
                <a:lnTo>
                  <a:pt x="5861433" y="4304738"/>
                </a:lnTo>
                <a:lnTo>
                  <a:pt x="5864739" y="4310050"/>
                </a:lnTo>
                <a:cubicBezTo>
                  <a:pt x="5866242" y="4317133"/>
                  <a:pt x="5860530" y="4324216"/>
                  <a:pt x="5853316" y="4331188"/>
                </a:cubicBezTo>
                <a:cubicBezTo>
                  <a:pt x="5848806" y="4328864"/>
                  <a:pt x="5843996" y="4328753"/>
                  <a:pt x="5839488" y="4326429"/>
                </a:cubicBezTo>
                <a:cubicBezTo>
                  <a:pt x="5837684" y="4322888"/>
                  <a:pt x="5838285" y="4317133"/>
                  <a:pt x="5840389" y="4311931"/>
                </a:cubicBezTo>
                <a:lnTo>
                  <a:pt x="5843696" y="4306398"/>
                </a:lnTo>
                <a:lnTo>
                  <a:pt x="5841592" y="4306176"/>
                </a:lnTo>
                <a:cubicBezTo>
                  <a:pt x="5841592" y="4306176"/>
                  <a:pt x="5826861" y="4302635"/>
                  <a:pt x="5827162" y="4287805"/>
                </a:cubicBezTo>
                <a:cubicBezTo>
                  <a:pt x="5830770" y="4288137"/>
                  <a:pt x="5833474" y="4268659"/>
                  <a:pt x="5843696" y="4266556"/>
                </a:cubicBezTo>
                <a:cubicBezTo>
                  <a:pt x="5849107" y="4265560"/>
                  <a:pt x="5852415" y="4265892"/>
                  <a:pt x="5857525" y="4264896"/>
                </a:cubicBezTo>
                <a:close/>
                <a:moveTo>
                  <a:pt x="1883997" y="4264564"/>
                </a:moveTo>
                <a:cubicBezTo>
                  <a:pt x="1893617" y="4268548"/>
                  <a:pt x="1891212" y="4270762"/>
                  <a:pt x="1886703" y="4276738"/>
                </a:cubicBezTo>
                <a:cubicBezTo>
                  <a:pt x="1884298" y="4275410"/>
                  <a:pt x="1883697" y="4274192"/>
                  <a:pt x="1883096" y="4272754"/>
                </a:cubicBezTo>
                <a:cubicBezTo>
                  <a:pt x="1881894" y="4270540"/>
                  <a:pt x="1882194" y="4267995"/>
                  <a:pt x="1883997" y="4264564"/>
                </a:cubicBezTo>
                <a:close/>
                <a:moveTo>
                  <a:pt x="854992" y="4264564"/>
                </a:moveTo>
                <a:cubicBezTo>
                  <a:pt x="864612" y="4268548"/>
                  <a:pt x="862207" y="4270762"/>
                  <a:pt x="857698" y="4276738"/>
                </a:cubicBezTo>
                <a:cubicBezTo>
                  <a:pt x="851385" y="4273418"/>
                  <a:pt x="851986" y="4270098"/>
                  <a:pt x="854992" y="4264564"/>
                </a:cubicBezTo>
                <a:close/>
                <a:moveTo>
                  <a:pt x="5160699" y="4264343"/>
                </a:moveTo>
                <a:cubicBezTo>
                  <a:pt x="5160699" y="4264343"/>
                  <a:pt x="5160699" y="4264232"/>
                  <a:pt x="5171822" y="4266888"/>
                </a:cubicBezTo>
                <a:cubicBezTo>
                  <a:pt x="5171221" y="4267884"/>
                  <a:pt x="5170620" y="4268105"/>
                  <a:pt x="5169718" y="4267995"/>
                </a:cubicBezTo>
                <a:cubicBezTo>
                  <a:pt x="5168816" y="4267995"/>
                  <a:pt x="5167613" y="4267441"/>
                  <a:pt x="5166711" y="4266999"/>
                </a:cubicBezTo>
                <a:cubicBezTo>
                  <a:pt x="5164608" y="4266113"/>
                  <a:pt x="5162804" y="4265228"/>
                  <a:pt x="5160699" y="4264343"/>
                </a:cubicBezTo>
                <a:close/>
                <a:moveTo>
                  <a:pt x="2396245" y="4264343"/>
                </a:moveTo>
                <a:cubicBezTo>
                  <a:pt x="2396245" y="4264343"/>
                  <a:pt x="2396245" y="4264232"/>
                  <a:pt x="2407368" y="4266888"/>
                </a:cubicBezTo>
                <a:cubicBezTo>
                  <a:pt x="2406767" y="4267884"/>
                  <a:pt x="2405864" y="4268105"/>
                  <a:pt x="2405263" y="4267995"/>
                </a:cubicBezTo>
                <a:cubicBezTo>
                  <a:pt x="2404362" y="4267995"/>
                  <a:pt x="2403159" y="4267441"/>
                  <a:pt x="2402257" y="4266999"/>
                </a:cubicBezTo>
                <a:cubicBezTo>
                  <a:pt x="2400153" y="4266113"/>
                  <a:pt x="2398048" y="4265228"/>
                  <a:pt x="2396245" y="4264343"/>
                </a:cubicBezTo>
                <a:close/>
                <a:moveTo>
                  <a:pt x="2648762" y="4262904"/>
                </a:moveTo>
                <a:cubicBezTo>
                  <a:pt x="2650866" y="4262129"/>
                  <a:pt x="2653270" y="4262351"/>
                  <a:pt x="2656277" y="4263125"/>
                </a:cubicBezTo>
                <a:cubicBezTo>
                  <a:pt x="2653572" y="4267884"/>
                  <a:pt x="2650264" y="4268216"/>
                  <a:pt x="2643350" y="4268880"/>
                </a:cubicBezTo>
                <a:cubicBezTo>
                  <a:pt x="2644853" y="4265339"/>
                  <a:pt x="2646657" y="4263568"/>
                  <a:pt x="2648762" y="4262904"/>
                </a:cubicBezTo>
                <a:close/>
                <a:moveTo>
                  <a:pt x="888360" y="4262904"/>
                </a:moveTo>
                <a:cubicBezTo>
                  <a:pt x="891066" y="4262019"/>
                  <a:pt x="894072" y="4263236"/>
                  <a:pt x="897680" y="4264232"/>
                </a:cubicBezTo>
                <a:cubicBezTo>
                  <a:pt x="897380" y="4265892"/>
                  <a:pt x="897981" y="4267663"/>
                  <a:pt x="898582" y="4269544"/>
                </a:cubicBezTo>
                <a:lnTo>
                  <a:pt x="898281" y="4271204"/>
                </a:lnTo>
                <a:lnTo>
                  <a:pt x="908502" y="4270540"/>
                </a:lnTo>
                <a:lnTo>
                  <a:pt x="907900" y="4273971"/>
                </a:lnTo>
                <a:lnTo>
                  <a:pt x="908202" y="4273528"/>
                </a:lnTo>
                <a:cubicBezTo>
                  <a:pt x="912410" y="4270762"/>
                  <a:pt x="918122" y="4269876"/>
                  <a:pt x="925637" y="4272532"/>
                </a:cubicBezTo>
                <a:cubicBezTo>
                  <a:pt x="929244" y="4272864"/>
                  <a:pt x="927742" y="4273418"/>
                  <a:pt x="929845" y="4274192"/>
                </a:cubicBezTo>
                <a:cubicBezTo>
                  <a:pt x="931950" y="4275078"/>
                  <a:pt x="935256" y="4275410"/>
                  <a:pt x="936760" y="4274856"/>
                </a:cubicBezTo>
                <a:cubicBezTo>
                  <a:pt x="934054" y="4282161"/>
                  <a:pt x="939466" y="4283378"/>
                  <a:pt x="934956" y="4294777"/>
                </a:cubicBezTo>
                <a:cubicBezTo>
                  <a:pt x="929545" y="4309607"/>
                  <a:pt x="918122" y="4310714"/>
                  <a:pt x="910606" y="4308722"/>
                </a:cubicBezTo>
                <a:cubicBezTo>
                  <a:pt x="911208" y="4307283"/>
                  <a:pt x="900987" y="4304516"/>
                  <a:pt x="898582" y="4296105"/>
                </a:cubicBezTo>
                <a:cubicBezTo>
                  <a:pt x="897680" y="4293338"/>
                  <a:pt x="897981" y="4289908"/>
                  <a:pt x="899483" y="4285702"/>
                </a:cubicBezTo>
                <a:lnTo>
                  <a:pt x="902791" y="4281386"/>
                </a:lnTo>
                <a:lnTo>
                  <a:pt x="890765" y="4286034"/>
                </a:lnTo>
                <a:cubicBezTo>
                  <a:pt x="880545" y="4288248"/>
                  <a:pt x="868220" y="4287805"/>
                  <a:pt x="862508" y="4286034"/>
                </a:cubicBezTo>
                <a:lnTo>
                  <a:pt x="882048" y="4276406"/>
                </a:lnTo>
                <a:lnTo>
                  <a:pt x="880545" y="4273860"/>
                </a:lnTo>
                <a:cubicBezTo>
                  <a:pt x="883251" y="4266556"/>
                  <a:pt x="885655" y="4263679"/>
                  <a:pt x="888360" y="4262904"/>
                </a:cubicBezTo>
                <a:close/>
                <a:moveTo>
                  <a:pt x="827035" y="4259916"/>
                </a:moveTo>
                <a:cubicBezTo>
                  <a:pt x="833349" y="4260137"/>
                  <a:pt x="842367" y="4264896"/>
                  <a:pt x="837557" y="4272200"/>
                </a:cubicBezTo>
                <a:cubicBezTo>
                  <a:pt x="836956" y="4273639"/>
                  <a:pt x="835452" y="4274082"/>
                  <a:pt x="833349" y="4273860"/>
                </a:cubicBezTo>
                <a:cubicBezTo>
                  <a:pt x="827938" y="4273418"/>
                  <a:pt x="819219" y="4266999"/>
                  <a:pt x="822226" y="4261354"/>
                </a:cubicBezTo>
                <a:cubicBezTo>
                  <a:pt x="823128" y="4260358"/>
                  <a:pt x="824932" y="4259805"/>
                  <a:pt x="827035" y="4259916"/>
                </a:cubicBezTo>
                <a:close/>
                <a:moveTo>
                  <a:pt x="5298982" y="4258698"/>
                </a:moveTo>
                <a:cubicBezTo>
                  <a:pt x="5294172" y="4263347"/>
                  <a:pt x="5289362" y="4268327"/>
                  <a:pt x="5283650" y="4272422"/>
                </a:cubicBezTo>
                <a:cubicBezTo>
                  <a:pt x="5277938" y="4276516"/>
                  <a:pt x="5271325" y="4279505"/>
                  <a:pt x="5262307" y="4280390"/>
                </a:cubicBezTo>
                <a:cubicBezTo>
                  <a:pt x="5262307" y="4262240"/>
                  <a:pt x="5286657" y="4258034"/>
                  <a:pt x="5298982" y="4258698"/>
                </a:cubicBezTo>
                <a:close/>
                <a:moveTo>
                  <a:pt x="1859346" y="4255821"/>
                </a:moveTo>
                <a:lnTo>
                  <a:pt x="1858144" y="4260690"/>
                </a:lnTo>
                <a:lnTo>
                  <a:pt x="1859647" y="4261244"/>
                </a:lnTo>
                <a:close/>
                <a:moveTo>
                  <a:pt x="1229558" y="4251394"/>
                </a:moveTo>
                <a:cubicBezTo>
                  <a:pt x="1236774" y="4253054"/>
                  <a:pt x="1240681" y="4260358"/>
                  <a:pt x="1240681" y="4267884"/>
                </a:cubicBezTo>
                <a:cubicBezTo>
                  <a:pt x="1240381" y="4272422"/>
                  <a:pt x="1238878" y="4276959"/>
                  <a:pt x="1235572" y="4280611"/>
                </a:cubicBezTo>
                <a:cubicBezTo>
                  <a:pt x="1233467" y="4283046"/>
                  <a:pt x="1230761" y="4285149"/>
                  <a:pt x="1227154" y="4286366"/>
                </a:cubicBezTo>
                <a:lnTo>
                  <a:pt x="1224449" y="4286588"/>
                </a:lnTo>
                <a:lnTo>
                  <a:pt x="1223546" y="4288580"/>
                </a:lnTo>
                <a:lnTo>
                  <a:pt x="1222344" y="4286698"/>
                </a:lnTo>
                <a:lnTo>
                  <a:pt x="1213626" y="4287584"/>
                </a:lnTo>
                <a:cubicBezTo>
                  <a:pt x="1206411" y="4276738"/>
                  <a:pt x="1209117" y="4268880"/>
                  <a:pt x="1207012" y="4259584"/>
                </a:cubicBezTo>
                <a:cubicBezTo>
                  <a:pt x="1212423" y="4255157"/>
                  <a:pt x="1216933" y="4252722"/>
                  <a:pt x="1221141" y="4251615"/>
                </a:cubicBezTo>
                <a:cubicBezTo>
                  <a:pt x="1224449" y="4250730"/>
                  <a:pt x="1227154" y="4250730"/>
                  <a:pt x="1229558" y="4251394"/>
                </a:cubicBezTo>
                <a:close/>
                <a:moveTo>
                  <a:pt x="5719242" y="4250066"/>
                </a:moveTo>
                <a:cubicBezTo>
                  <a:pt x="5719543" y="4251505"/>
                  <a:pt x="5717438" y="4255268"/>
                  <a:pt x="5716235" y="4257260"/>
                </a:cubicBezTo>
                <a:cubicBezTo>
                  <a:pt x="5716535" y="4258588"/>
                  <a:pt x="5715634" y="4260690"/>
                  <a:pt x="5714132" y="4261133"/>
                </a:cubicBezTo>
                <a:cubicBezTo>
                  <a:pt x="5714132" y="4261133"/>
                  <a:pt x="5712928" y="4263015"/>
                  <a:pt x="5713531" y="4264453"/>
                </a:cubicBezTo>
                <a:cubicBezTo>
                  <a:pt x="5711124" y="4268327"/>
                  <a:pt x="5709622" y="4268769"/>
                  <a:pt x="5708119" y="4269323"/>
                </a:cubicBezTo>
                <a:cubicBezTo>
                  <a:pt x="5708119" y="4269323"/>
                  <a:pt x="5709321" y="4267441"/>
                  <a:pt x="5708720" y="4266003"/>
                </a:cubicBezTo>
                <a:cubicBezTo>
                  <a:pt x="5708720" y="4266003"/>
                  <a:pt x="5709922" y="4264121"/>
                  <a:pt x="5711124" y="4262129"/>
                </a:cubicBezTo>
                <a:cubicBezTo>
                  <a:pt x="5711124" y="4262129"/>
                  <a:pt x="5710523" y="4260690"/>
                  <a:pt x="5710223" y="4259252"/>
                </a:cubicBezTo>
                <a:cubicBezTo>
                  <a:pt x="5712027" y="4253939"/>
                  <a:pt x="5712628" y="4250730"/>
                  <a:pt x="5719242" y="4250066"/>
                </a:cubicBezTo>
                <a:close/>
                <a:moveTo>
                  <a:pt x="1925482" y="4250066"/>
                </a:moveTo>
                <a:cubicBezTo>
                  <a:pt x="1926083" y="4251505"/>
                  <a:pt x="1923679" y="4255268"/>
                  <a:pt x="1922476" y="4257260"/>
                </a:cubicBezTo>
                <a:cubicBezTo>
                  <a:pt x="1923077" y="4258588"/>
                  <a:pt x="1921875" y="4260690"/>
                  <a:pt x="1920371" y="4261133"/>
                </a:cubicBezTo>
                <a:cubicBezTo>
                  <a:pt x="1920371" y="4261133"/>
                  <a:pt x="1920071" y="4261576"/>
                  <a:pt x="1919770" y="4262240"/>
                </a:cubicBezTo>
                <a:lnTo>
                  <a:pt x="1919770" y="4262904"/>
                </a:lnTo>
                <a:lnTo>
                  <a:pt x="1921875" y="4262904"/>
                </a:lnTo>
                <a:cubicBezTo>
                  <a:pt x="1923377" y="4263125"/>
                  <a:pt x="1924881" y="4263679"/>
                  <a:pt x="1926985" y="4264232"/>
                </a:cubicBezTo>
                <a:cubicBezTo>
                  <a:pt x="1926685" y="4265892"/>
                  <a:pt x="1927286" y="4267663"/>
                  <a:pt x="1927587" y="4269544"/>
                </a:cubicBezTo>
                <a:lnTo>
                  <a:pt x="1927587" y="4271204"/>
                </a:lnTo>
                <a:lnTo>
                  <a:pt x="1937507" y="4270540"/>
                </a:lnTo>
                <a:lnTo>
                  <a:pt x="1937245" y="4273526"/>
                </a:lnTo>
                <a:lnTo>
                  <a:pt x="1937206" y="4273528"/>
                </a:lnTo>
                <a:lnTo>
                  <a:pt x="1937206" y="4273971"/>
                </a:lnTo>
                <a:lnTo>
                  <a:pt x="1937245" y="4273526"/>
                </a:lnTo>
                <a:lnTo>
                  <a:pt x="1954943" y="4272532"/>
                </a:lnTo>
                <a:cubicBezTo>
                  <a:pt x="1958249" y="4272864"/>
                  <a:pt x="1957047" y="4273418"/>
                  <a:pt x="1958850" y="4274192"/>
                </a:cubicBezTo>
                <a:cubicBezTo>
                  <a:pt x="1960955" y="4275078"/>
                  <a:pt x="1964261" y="4275410"/>
                  <a:pt x="1966065" y="4274856"/>
                </a:cubicBezTo>
                <a:cubicBezTo>
                  <a:pt x="1963360" y="4282161"/>
                  <a:pt x="1968771" y="4283378"/>
                  <a:pt x="1963961" y="4294777"/>
                </a:cubicBezTo>
                <a:cubicBezTo>
                  <a:pt x="1958550" y="4309607"/>
                  <a:pt x="1947126" y="4310714"/>
                  <a:pt x="1939611" y="4308722"/>
                </a:cubicBezTo>
                <a:cubicBezTo>
                  <a:pt x="1940513" y="4307283"/>
                  <a:pt x="1930292" y="4304516"/>
                  <a:pt x="1927887" y="4296105"/>
                </a:cubicBezTo>
                <a:cubicBezTo>
                  <a:pt x="1926985" y="4293338"/>
                  <a:pt x="1926985" y="4289908"/>
                  <a:pt x="1928488" y="4285702"/>
                </a:cubicBezTo>
                <a:lnTo>
                  <a:pt x="1931795" y="4281386"/>
                </a:lnTo>
                <a:lnTo>
                  <a:pt x="1920071" y="4286034"/>
                </a:lnTo>
                <a:cubicBezTo>
                  <a:pt x="1909549" y="4288248"/>
                  <a:pt x="1897224" y="4287805"/>
                  <a:pt x="1891813" y="4286034"/>
                </a:cubicBezTo>
                <a:lnTo>
                  <a:pt x="1911053" y="4276406"/>
                </a:lnTo>
                <a:lnTo>
                  <a:pt x="1909851" y="4273860"/>
                </a:lnTo>
                <a:cubicBezTo>
                  <a:pt x="1911053" y="4270208"/>
                  <a:pt x="1912255" y="4267663"/>
                  <a:pt x="1913758" y="4265892"/>
                </a:cubicBezTo>
                <a:lnTo>
                  <a:pt x="1916464" y="4263568"/>
                </a:lnTo>
                <a:lnTo>
                  <a:pt x="1917365" y="4262129"/>
                </a:lnTo>
                <a:cubicBezTo>
                  <a:pt x="1917365" y="4262129"/>
                  <a:pt x="1917065" y="4260690"/>
                  <a:pt x="1916464" y="4259252"/>
                </a:cubicBezTo>
                <a:cubicBezTo>
                  <a:pt x="1918268" y="4253939"/>
                  <a:pt x="1919169" y="4250730"/>
                  <a:pt x="1925482" y="4250066"/>
                </a:cubicBezTo>
                <a:close/>
                <a:moveTo>
                  <a:pt x="5210301" y="4247521"/>
                </a:moveTo>
                <a:cubicBezTo>
                  <a:pt x="5214810" y="4249955"/>
                  <a:pt x="5222926" y="4248738"/>
                  <a:pt x="5223528" y="4256374"/>
                </a:cubicBezTo>
                <a:cubicBezTo>
                  <a:pt x="5203387" y="4261244"/>
                  <a:pt x="5207595" y="4289465"/>
                  <a:pt x="5188356" y="4288469"/>
                </a:cubicBezTo>
                <a:cubicBezTo>
                  <a:pt x="5191964" y="4273971"/>
                  <a:pt x="5192565" y="4258920"/>
                  <a:pt x="5210301" y="4247521"/>
                </a:cubicBezTo>
                <a:close/>
                <a:moveTo>
                  <a:pt x="2293435" y="4243868"/>
                </a:moveTo>
                <a:cubicBezTo>
                  <a:pt x="2294637" y="4243758"/>
                  <a:pt x="2296441" y="4243758"/>
                  <a:pt x="2297943" y="4244090"/>
                </a:cubicBezTo>
                <a:cubicBezTo>
                  <a:pt x="2301251" y="4244864"/>
                  <a:pt x="2304558" y="4246635"/>
                  <a:pt x="2305459" y="4249291"/>
                </a:cubicBezTo>
                <a:cubicBezTo>
                  <a:pt x="2306060" y="4251062"/>
                  <a:pt x="2305459" y="4253275"/>
                  <a:pt x="2303655" y="4255710"/>
                </a:cubicBezTo>
                <a:cubicBezTo>
                  <a:pt x="2302754" y="4257149"/>
                  <a:pt x="2300949" y="4257702"/>
                  <a:pt x="2299146" y="4257592"/>
                </a:cubicBezTo>
                <a:cubicBezTo>
                  <a:pt x="2293735" y="4257260"/>
                  <a:pt x="2286220" y="4251062"/>
                  <a:pt x="2289827" y="4245418"/>
                </a:cubicBezTo>
                <a:cubicBezTo>
                  <a:pt x="2290729" y="4244532"/>
                  <a:pt x="2291931" y="4244090"/>
                  <a:pt x="2293435" y="4243868"/>
                </a:cubicBezTo>
                <a:close/>
                <a:moveTo>
                  <a:pt x="1264130" y="4243868"/>
                </a:moveTo>
                <a:cubicBezTo>
                  <a:pt x="1265632" y="4243758"/>
                  <a:pt x="1267436" y="4243758"/>
                  <a:pt x="1268940" y="4244090"/>
                </a:cubicBezTo>
                <a:cubicBezTo>
                  <a:pt x="1272246" y="4244864"/>
                  <a:pt x="1275252" y="4246635"/>
                  <a:pt x="1276154" y="4249291"/>
                </a:cubicBezTo>
                <a:cubicBezTo>
                  <a:pt x="1276755" y="4251062"/>
                  <a:pt x="1276454" y="4253275"/>
                  <a:pt x="1274351" y="4255710"/>
                </a:cubicBezTo>
                <a:cubicBezTo>
                  <a:pt x="1273448" y="4257149"/>
                  <a:pt x="1271946" y="4257702"/>
                  <a:pt x="1270142" y="4257592"/>
                </a:cubicBezTo>
                <a:cubicBezTo>
                  <a:pt x="1264430" y="4257260"/>
                  <a:pt x="1256914" y="4251062"/>
                  <a:pt x="1260823" y="4245418"/>
                </a:cubicBezTo>
                <a:cubicBezTo>
                  <a:pt x="1261424" y="4244532"/>
                  <a:pt x="1262626" y="4244090"/>
                  <a:pt x="1264130" y="4243868"/>
                </a:cubicBezTo>
                <a:close/>
                <a:moveTo>
                  <a:pt x="5810628" y="4240991"/>
                </a:moveTo>
                <a:cubicBezTo>
                  <a:pt x="5814837" y="4241212"/>
                  <a:pt x="5816340" y="4244422"/>
                  <a:pt x="5817543" y="4247742"/>
                </a:cubicBezTo>
                <a:cubicBezTo>
                  <a:pt x="5811831" y="4248627"/>
                  <a:pt x="5813034" y="4255378"/>
                  <a:pt x="5806420" y="4252943"/>
                </a:cubicBezTo>
                <a:cubicBezTo>
                  <a:pt x="5804616" y="4250619"/>
                  <a:pt x="5804015" y="4247299"/>
                  <a:pt x="5805818" y="4241876"/>
                </a:cubicBezTo>
                <a:cubicBezTo>
                  <a:pt x="5807924" y="4241102"/>
                  <a:pt x="5809426" y="4240880"/>
                  <a:pt x="5810628" y="4240991"/>
                </a:cubicBezTo>
                <a:close/>
                <a:moveTo>
                  <a:pt x="2076391" y="4240991"/>
                </a:moveTo>
                <a:cubicBezTo>
                  <a:pt x="2076391" y="4240991"/>
                  <a:pt x="2076091" y="4240991"/>
                  <a:pt x="2077593" y="4241766"/>
                </a:cubicBezTo>
                <a:cubicBezTo>
                  <a:pt x="2080599" y="4243315"/>
                  <a:pt x="2082103" y="4243979"/>
                  <a:pt x="2083305" y="4244754"/>
                </a:cubicBezTo>
                <a:cubicBezTo>
                  <a:pt x="2084206" y="4246746"/>
                  <a:pt x="2085109" y="4252279"/>
                  <a:pt x="2083004" y="4252833"/>
                </a:cubicBezTo>
                <a:cubicBezTo>
                  <a:pt x="2078795" y="4253939"/>
                  <a:pt x="2073686" y="4252943"/>
                  <a:pt x="2073084" y="4250951"/>
                </a:cubicBezTo>
                <a:cubicBezTo>
                  <a:pt x="2071882" y="4247853"/>
                  <a:pt x="2070680" y="4244754"/>
                  <a:pt x="2072783" y="4242651"/>
                </a:cubicBezTo>
                <a:cubicBezTo>
                  <a:pt x="2073686" y="4241987"/>
                  <a:pt x="2074587" y="4241434"/>
                  <a:pt x="2076391" y="4240991"/>
                </a:cubicBezTo>
                <a:close/>
                <a:moveTo>
                  <a:pt x="1047086" y="4240991"/>
                </a:moveTo>
                <a:cubicBezTo>
                  <a:pt x="1047086" y="4240991"/>
                  <a:pt x="1047086" y="4240991"/>
                  <a:pt x="1048588" y="4241766"/>
                </a:cubicBezTo>
                <a:cubicBezTo>
                  <a:pt x="1051294" y="4243315"/>
                  <a:pt x="1052798" y="4243979"/>
                  <a:pt x="1054300" y="4244754"/>
                </a:cubicBezTo>
                <a:cubicBezTo>
                  <a:pt x="1054901" y="4246746"/>
                  <a:pt x="1055804" y="4252279"/>
                  <a:pt x="1053699" y="4252833"/>
                </a:cubicBezTo>
                <a:cubicBezTo>
                  <a:pt x="1049490" y="4253939"/>
                  <a:pt x="1044681" y="4252943"/>
                  <a:pt x="1043778" y="4250951"/>
                </a:cubicBezTo>
                <a:cubicBezTo>
                  <a:pt x="1042576" y="4247853"/>
                  <a:pt x="1041675" y="4244754"/>
                  <a:pt x="1043778" y="4242651"/>
                </a:cubicBezTo>
                <a:cubicBezTo>
                  <a:pt x="1044380" y="4241987"/>
                  <a:pt x="1045582" y="4241434"/>
                  <a:pt x="1047086" y="4240991"/>
                </a:cubicBezTo>
                <a:close/>
                <a:moveTo>
                  <a:pt x="2511380" y="4239995"/>
                </a:moveTo>
                <a:lnTo>
                  <a:pt x="2509878" y="4242208"/>
                </a:lnTo>
                <a:lnTo>
                  <a:pt x="2512283" y="4246082"/>
                </a:lnTo>
                <a:cubicBezTo>
                  <a:pt x="2513485" y="4249070"/>
                  <a:pt x="2513184" y="4251837"/>
                  <a:pt x="2513785" y="4251505"/>
                </a:cubicBezTo>
                <a:lnTo>
                  <a:pt x="2514086" y="4251505"/>
                </a:lnTo>
                <a:lnTo>
                  <a:pt x="2513785" y="4246414"/>
                </a:lnTo>
                <a:close/>
                <a:moveTo>
                  <a:pt x="6296423" y="4238778"/>
                </a:moveTo>
                <a:cubicBezTo>
                  <a:pt x="6308747" y="4240438"/>
                  <a:pt x="6306042" y="4252279"/>
                  <a:pt x="6307545" y="4251505"/>
                </a:cubicBezTo>
                <a:cubicBezTo>
                  <a:pt x="6309649" y="4251947"/>
                  <a:pt x="6309649" y="4251947"/>
                  <a:pt x="6310851" y="4251173"/>
                </a:cubicBezTo>
                <a:cubicBezTo>
                  <a:pt x="6311753" y="4252390"/>
                  <a:pt x="6314459" y="4254272"/>
                  <a:pt x="6316564" y="4254714"/>
                </a:cubicBezTo>
                <a:cubicBezTo>
                  <a:pt x="6315360" y="4255489"/>
                  <a:pt x="6313858" y="4256374"/>
                  <a:pt x="6314759" y="4257702"/>
                </a:cubicBezTo>
                <a:cubicBezTo>
                  <a:pt x="6310250" y="4256706"/>
                  <a:pt x="6309649" y="4255378"/>
                  <a:pt x="6307545" y="4254825"/>
                </a:cubicBezTo>
                <a:cubicBezTo>
                  <a:pt x="6308146" y="4256153"/>
                  <a:pt x="6306042" y="4255600"/>
                  <a:pt x="6306042" y="4255600"/>
                </a:cubicBezTo>
                <a:cubicBezTo>
                  <a:pt x="6306042" y="4255600"/>
                  <a:pt x="6306042" y="4255710"/>
                  <a:pt x="6304538" y="4259916"/>
                </a:cubicBezTo>
                <a:cubicBezTo>
                  <a:pt x="6304538" y="4259916"/>
                  <a:pt x="6300631" y="4269101"/>
                  <a:pt x="6290411" y="4267884"/>
                </a:cubicBezTo>
                <a:cubicBezTo>
                  <a:pt x="6291312" y="4265781"/>
                  <a:pt x="6278385" y="4262793"/>
                  <a:pt x="6278385" y="4255932"/>
                </a:cubicBezTo>
                <a:cubicBezTo>
                  <a:pt x="6278385" y="4252611"/>
                  <a:pt x="6278987" y="4250509"/>
                  <a:pt x="6278987" y="4247078"/>
                </a:cubicBezTo>
                <a:cubicBezTo>
                  <a:pt x="6283195" y="4244643"/>
                  <a:pt x="6285300" y="4238335"/>
                  <a:pt x="6296423" y="4238778"/>
                </a:cubicBezTo>
                <a:close/>
                <a:moveTo>
                  <a:pt x="2686940" y="4238556"/>
                </a:moveTo>
                <a:lnTo>
                  <a:pt x="2686037" y="4239331"/>
                </a:lnTo>
                <a:lnTo>
                  <a:pt x="2686940" y="4240216"/>
                </a:lnTo>
                <a:lnTo>
                  <a:pt x="2688442" y="4241323"/>
                </a:lnTo>
                <a:lnTo>
                  <a:pt x="2691148" y="4240106"/>
                </a:lnTo>
                <a:close/>
                <a:moveTo>
                  <a:pt x="2595252" y="4238003"/>
                </a:moveTo>
                <a:cubicBezTo>
                  <a:pt x="2597958" y="4242651"/>
                  <a:pt x="2603970" y="4250398"/>
                  <a:pt x="2607577" y="4258034"/>
                </a:cubicBezTo>
                <a:cubicBezTo>
                  <a:pt x="2610884" y="4265671"/>
                  <a:pt x="2611786" y="4273307"/>
                  <a:pt x="2603670" y="4278177"/>
                </a:cubicBezTo>
                <a:cubicBezTo>
                  <a:pt x="2600061" y="4269544"/>
                  <a:pt x="2582927" y="4244422"/>
                  <a:pt x="2595252" y="4238003"/>
                </a:cubicBezTo>
                <a:close/>
                <a:moveTo>
                  <a:pt x="5273128" y="4236675"/>
                </a:moveTo>
                <a:cubicBezTo>
                  <a:pt x="5274632" y="4238556"/>
                  <a:pt x="5272527" y="4239995"/>
                  <a:pt x="5274031" y="4241876"/>
                </a:cubicBezTo>
                <a:cubicBezTo>
                  <a:pt x="5273730" y="4243536"/>
                  <a:pt x="5272227" y="4245196"/>
                  <a:pt x="5269823" y="4246967"/>
                </a:cubicBezTo>
                <a:cubicBezTo>
                  <a:pt x="5266515" y="4249513"/>
                  <a:pt x="5261405" y="4251947"/>
                  <a:pt x="5256896" y="4253607"/>
                </a:cubicBezTo>
                <a:lnTo>
                  <a:pt x="5248779" y="4255268"/>
                </a:lnTo>
                <a:lnTo>
                  <a:pt x="5253289" y="4258920"/>
                </a:lnTo>
                <a:cubicBezTo>
                  <a:pt x="5258099" y="4266888"/>
                  <a:pt x="5256595" y="4280058"/>
                  <a:pt x="5252386" y="4287362"/>
                </a:cubicBezTo>
                <a:cubicBezTo>
                  <a:pt x="5245171" y="4290572"/>
                  <a:pt x="5240062" y="4290461"/>
                  <a:pt x="5236154" y="4288358"/>
                </a:cubicBezTo>
                <a:cubicBezTo>
                  <a:pt x="5227736" y="4283599"/>
                  <a:pt x="5227736" y="4268880"/>
                  <a:pt x="5235552" y="4259694"/>
                </a:cubicBezTo>
                <a:lnTo>
                  <a:pt x="5239460" y="4257038"/>
                </a:lnTo>
                <a:lnTo>
                  <a:pt x="5237957" y="4257370"/>
                </a:lnTo>
                <a:cubicBezTo>
                  <a:pt x="5234651" y="4256928"/>
                  <a:pt x="5231344" y="4256374"/>
                  <a:pt x="5230141" y="4251283"/>
                </a:cubicBezTo>
                <a:lnTo>
                  <a:pt x="5235252" y="4249402"/>
                </a:lnTo>
                <a:lnTo>
                  <a:pt x="5237657" y="4244090"/>
                </a:lnTo>
                <a:cubicBezTo>
                  <a:pt x="5240062" y="4241655"/>
                  <a:pt x="5243368" y="4239884"/>
                  <a:pt x="5247577" y="4238335"/>
                </a:cubicBezTo>
                <a:cubicBezTo>
                  <a:pt x="5248479" y="4239442"/>
                  <a:pt x="5248779" y="4241544"/>
                  <a:pt x="5248779" y="4243868"/>
                </a:cubicBezTo>
                <a:lnTo>
                  <a:pt x="5248479" y="4244422"/>
                </a:lnTo>
                <a:lnTo>
                  <a:pt x="5252989" y="4242872"/>
                </a:lnTo>
                <a:cubicBezTo>
                  <a:pt x="5259301" y="4240327"/>
                  <a:pt x="5265313" y="4238224"/>
                  <a:pt x="5273128" y="4236675"/>
                </a:cubicBezTo>
                <a:close/>
                <a:moveTo>
                  <a:pt x="2006648" y="4231695"/>
                </a:moveTo>
                <a:cubicBezTo>
                  <a:pt x="2011758" y="4233023"/>
                  <a:pt x="2016568" y="4234351"/>
                  <a:pt x="2019875" y="4241434"/>
                </a:cubicBezTo>
                <a:lnTo>
                  <a:pt x="2019574" y="4241987"/>
                </a:lnTo>
                <a:lnTo>
                  <a:pt x="2020476" y="4242098"/>
                </a:lnTo>
                <a:cubicBezTo>
                  <a:pt x="2021980" y="4243426"/>
                  <a:pt x="2022881" y="4245528"/>
                  <a:pt x="2023784" y="4247742"/>
                </a:cubicBezTo>
                <a:cubicBezTo>
                  <a:pt x="2018072" y="4248627"/>
                  <a:pt x="2019574" y="4255378"/>
                  <a:pt x="2012961" y="4252943"/>
                </a:cubicBezTo>
                <a:lnTo>
                  <a:pt x="2011458" y="4249623"/>
                </a:lnTo>
                <a:lnTo>
                  <a:pt x="2006047" y="4251726"/>
                </a:lnTo>
                <a:cubicBezTo>
                  <a:pt x="1999133" y="4247521"/>
                  <a:pt x="1995826" y="4233797"/>
                  <a:pt x="2006648" y="4231695"/>
                </a:cubicBezTo>
                <a:close/>
                <a:moveTo>
                  <a:pt x="977644" y="4231695"/>
                </a:moveTo>
                <a:cubicBezTo>
                  <a:pt x="982453" y="4233023"/>
                  <a:pt x="987564" y="4234351"/>
                  <a:pt x="990870" y="4241434"/>
                </a:cubicBezTo>
                <a:cubicBezTo>
                  <a:pt x="989067" y="4247299"/>
                  <a:pt x="985459" y="4250066"/>
                  <a:pt x="977042" y="4251726"/>
                </a:cubicBezTo>
                <a:cubicBezTo>
                  <a:pt x="969828" y="4247521"/>
                  <a:pt x="966822" y="4233797"/>
                  <a:pt x="977644" y="4231695"/>
                </a:cubicBezTo>
                <a:close/>
                <a:moveTo>
                  <a:pt x="2694154" y="4228485"/>
                </a:moveTo>
                <a:cubicBezTo>
                  <a:pt x="2693252" y="4230477"/>
                  <a:pt x="2693854" y="4232912"/>
                  <a:pt x="2695357" y="4235347"/>
                </a:cubicBezTo>
                <a:lnTo>
                  <a:pt x="2699265" y="4241102"/>
                </a:lnTo>
                <a:lnTo>
                  <a:pt x="2695357" y="4229924"/>
                </a:lnTo>
                <a:lnTo>
                  <a:pt x="2695357" y="4228928"/>
                </a:lnTo>
                <a:close/>
                <a:moveTo>
                  <a:pt x="6029777" y="4225497"/>
                </a:moveTo>
                <a:cubicBezTo>
                  <a:pt x="6031580" y="4225608"/>
                  <a:pt x="6031580" y="4226272"/>
                  <a:pt x="6031580" y="4227378"/>
                </a:cubicBezTo>
                <a:cubicBezTo>
                  <a:pt x="6031280" y="4228485"/>
                  <a:pt x="6030979" y="4230034"/>
                  <a:pt x="6030679" y="4231695"/>
                </a:cubicBezTo>
                <a:lnTo>
                  <a:pt x="6024667" y="4229481"/>
                </a:lnTo>
                <a:cubicBezTo>
                  <a:pt x="6025268" y="4227489"/>
                  <a:pt x="6027672" y="4224833"/>
                  <a:pt x="6029777" y="4225497"/>
                </a:cubicBezTo>
                <a:close/>
                <a:moveTo>
                  <a:pt x="2236017" y="4225497"/>
                </a:moveTo>
                <a:cubicBezTo>
                  <a:pt x="2237821" y="4225608"/>
                  <a:pt x="2238122" y="4226272"/>
                  <a:pt x="2237821" y="4227378"/>
                </a:cubicBezTo>
                <a:cubicBezTo>
                  <a:pt x="2237821" y="4228485"/>
                  <a:pt x="2237220" y="4230034"/>
                  <a:pt x="2236919" y="4231695"/>
                </a:cubicBezTo>
                <a:lnTo>
                  <a:pt x="2230907" y="4229481"/>
                </a:lnTo>
                <a:cubicBezTo>
                  <a:pt x="2231809" y="4227489"/>
                  <a:pt x="2234213" y="4224833"/>
                  <a:pt x="2236017" y="4225497"/>
                </a:cubicBezTo>
                <a:close/>
                <a:moveTo>
                  <a:pt x="1949531" y="4225386"/>
                </a:moveTo>
                <a:cubicBezTo>
                  <a:pt x="1950433" y="4225718"/>
                  <a:pt x="1950733" y="4226050"/>
                  <a:pt x="1950433" y="4226493"/>
                </a:cubicBezTo>
                <a:cubicBezTo>
                  <a:pt x="1950133" y="4227046"/>
                  <a:pt x="1949231" y="4227600"/>
                  <a:pt x="1948630" y="4228596"/>
                </a:cubicBezTo>
                <a:cubicBezTo>
                  <a:pt x="1948328" y="4227268"/>
                  <a:pt x="1948630" y="4228596"/>
                  <a:pt x="1949531" y="4225386"/>
                </a:cubicBezTo>
                <a:close/>
                <a:moveTo>
                  <a:pt x="920226" y="4225386"/>
                </a:moveTo>
                <a:cubicBezTo>
                  <a:pt x="921428" y="4225718"/>
                  <a:pt x="921428" y="4226050"/>
                  <a:pt x="921128" y="4226493"/>
                </a:cubicBezTo>
                <a:cubicBezTo>
                  <a:pt x="920827" y="4227046"/>
                  <a:pt x="920226" y="4227600"/>
                  <a:pt x="919625" y="4228596"/>
                </a:cubicBezTo>
                <a:cubicBezTo>
                  <a:pt x="919325" y="4227268"/>
                  <a:pt x="919625" y="4228596"/>
                  <a:pt x="920226" y="4225386"/>
                </a:cubicBezTo>
                <a:close/>
                <a:moveTo>
                  <a:pt x="5824758" y="4225276"/>
                </a:moveTo>
                <a:cubicBezTo>
                  <a:pt x="5827162" y="4225718"/>
                  <a:pt x="5828063" y="4227378"/>
                  <a:pt x="5828063" y="4229481"/>
                </a:cubicBezTo>
                <a:cubicBezTo>
                  <a:pt x="5828665" y="4236343"/>
                  <a:pt x="5819647" y="4247189"/>
                  <a:pt x="5814236" y="4228706"/>
                </a:cubicBezTo>
                <a:cubicBezTo>
                  <a:pt x="5819347" y="4225718"/>
                  <a:pt x="5822653" y="4224833"/>
                  <a:pt x="5824758" y="4225276"/>
                </a:cubicBezTo>
                <a:close/>
                <a:moveTo>
                  <a:pt x="6092605" y="4223948"/>
                </a:moveTo>
                <a:cubicBezTo>
                  <a:pt x="6094710" y="4224390"/>
                  <a:pt x="6096213" y="4225386"/>
                  <a:pt x="6097115" y="4226493"/>
                </a:cubicBezTo>
                <a:cubicBezTo>
                  <a:pt x="6098016" y="4227710"/>
                  <a:pt x="6098317" y="4229149"/>
                  <a:pt x="6098317" y="4230809"/>
                </a:cubicBezTo>
                <a:cubicBezTo>
                  <a:pt x="6097415" y="4232912"/>
                  <a:pt x="6094710" y="4234572"/>
                  <a:pt x="6089599" y="4235679"/>
                </a:cubicBezTo>
                <a:cubicBezTo>
                  <a:pt x="6086894" y="4233908"/>
                  <a:pt x="6088998" y="4227710"/>
                  <a:pt x="6088998" y="4224280"/>
                </a:cubicBezTo>
                <a:cubicBezTo>
                  <a:pt x="6091103" y="4224722"/>
                  <a:pt x="6093206" y="4225276"/>
                  <a:pt x="6092605" y="4223948"/>
                </a:cubicBezTo>
                <a:close/>
                <a:moveTo>
                  <a:pt x="6042703" y="4222952"/>
                </a:moveTo>
                <a:cubicBezTo>
                  <a:pt x="6043304" y="4224280"/>
                  <a:pt x="6044808" y="4223616"/>
                  <a:pt x="6045409" y="4224944"/>
                </a:cubicBezTo>
                <a:cubicBezTo>
                  <a:pt x="6045409" y="4224944"/>
                  <a:pt x="6046612" y="4225940"/>
                  <a:pt x="6047814" y="4227932"/>
                </a:cubicBezTo>
                <a:cubicBezTo>
                  <a:pt x="6048715" y="4229813"/>
                  <a:pt x="6049617" y="4232691"/>
                  <a:pt x="6048415" y="4236453"/>
                </a:cubicBezTo>
                <a:cubicBezTo>
                  <a:pt x="6047513" y="4238556"/>
                  <a:pt x="6044206" y="4243204"/>
                  <a:pt x="6043605" y="4241876"/>
                </a:cubicBezTo>
                <a:cubicBezTo>
                  <a:pt x="6041501" y="4241212"/>
                  <a:pt x="6042403" y="4242540"/>
                  <a:pt x="6040900" y="4243204"/>
                </a:cubicBezTo>
                <a:lnTo>
                  <a:pt x="6038794" y="4241987"/>
                </a:lnTo>
                <a:lnTo>
                  <a:pt x="6037893" y="4242983"/>
                </a:lnTo>
                <a:cubicBezTo>
                  <a:pt x="6035789" y="4245971"/>
                  <a:pt x="6035789" y="4245971"/>
                  <a:pt x="6033383" y="4245528"/>
                </a:cubicBezTo>
                <a:cubicBezTo>
                  <a:pt x="6032482" y="4245196"/>
                  <a:pt x="6031580" y="4243868"/>
                  <a:pt x="6030679" y="4242540"/>
                </a:cubicBezTo>
                <a:lnTo>
                  <a:pt x="6029477" y="4241102"/>
                </a:lnTo>
                <a:lnTo>
                  <a:pt x="6026470" y="4243426"/>
                </a:lnTo>
                <a:cubicBezTo>
                  <a:pt x="6025268" y="4244643"/>
                  <a:pt x="6024066" y="4246082"/>
                  <a:pt x="6022261" y="4247521"/>
                </a:cubicBezTo>
                <a:cubicBezTo>
                  <a:pt x="6018053" y="4244975"/>
                  <a:pt x="6012040" y="4236121"/>
                  <a:pt x="6014445" y="4228928"/>
                </a:cubicBezTo>
                <a:cubicBezTo>
                  <a:pt x="6016851" y="4228153"/>
                  <a:pt x="6018955" y="4227932"/>
                  <a:pt x="6020758" y="4228153"/>
                </a:cubicBezTo>
                <a:cubicBezTo>
                  <a:pt x="6023464" y="4228374"/>
                  <a:pt x="6025268" y="4229592"/>
                  <a:pt x="6027071" y="4231584"/>
                </a:cubicBezTo>
                <a:lnTo>
                  <a:pt x="6029477" y="4238003"/>
                </a:lnTo>
                <a:lnTo>
                  <a:pt x="6030378" y="4236675"/>
                </a:lnTo>
                <a:lnTo>
                  <a:pt x="6033383" y="4236011"/>
                </a:lnTo>
                <a:lnTo>
                  <a:pt x="6032482" y="4232359"/>
                </a:lnTo>
                <a:cubicBezTo>
                  <a:pt x="6034286" y="4228374"/>
                  <a:pt x="6037292" y="4222287"/>
                  <a:pt x="6042703" y="4222952"/>
                </a:cubicBezTo>
                <a:close/>
                <a:moveTo>
                  <a:pt x="2249244" y="4222952"/>
                </a:moveTo>
                <a:cubicBezTo>
                  <a:pt x="2249545" y="4224280"/>
                  <a:pt x="2251349" y="4223616"/>
                  <a:pt x="2251950" y="4224944"/>
                </a:cubicBezTo>
                <a:cubicBezTo>
                  <a:pt x="2251950" y="4224944"/>
                  <a:pt x="2253152" y="4225940"/>
                  <a:pt x="2254055" y="4227932"/>
                </a:cubicBezTo>
                <a:cubicBezTo>
                  <a:pt x="2255256" y="4229813"/>
                  <a:pt x="2255857" y="4232691"/>
                  <a:pt x="2254956" y="4236453"/>
                </a:cubicBezTo>
                <a:cubicBezTo>
                  <a:pt x="2254055" y="4238556"/>
                  <a:pt x="2250747" y="4243204"/>
                  <a:pt x="2250146" y="4241876"/>
                </a:cubicBezTo>
                <a:cubicBezTo>
                  <a:pt x="2248041" y="4241212"/>
                  <a:pt x="2248643" y="4242540"/>
                  <a:pt x="2247140" y="4243204"/>
                </a:cubicBezTo>
                <a:lnTo>
                  <a:pt x="2245035" y="4241987"/>
                </a:lnTo>
                <a:lnTo>
                  <a:pt x="2244134" y="4242983"/>
                </a:lnTo>
                <a:cubicBezTo>
                  <a:pt x="2242029" y="4245971"/>
                  <a:pt x="2242029" y="4245971"/>
                  <a:pt x="2239624" y="4245528"/>
                </a:cubicBezTo>
                <a:cubicBezTo>
                  <a:pt x="2238723" y="4245196"/>
                  <a:pt x="2237821" y="4243868"/>
                  <a:pt x="2237220" y="4242540"/>
                </a:cubicBezTo>
                <a:lnTo>
                  <a:pt x="2235717" y="4241102"/>
                </a:lnTo>
                <a:lnTo>
                  <a:pt x="2233011" y="4243426"/>
                </a:lnTo>
                <a:cubicBezTo>
                  <a:pt x="2231809" y="4244643"/>
                  <a:pt x="2230305" y="4246082"/>
                  <a:pt x="2228502" y="4247521"/>
                </a:cubicBezTo>
                <a:cubicBezTo>
                  <a:pt x="2224293" y="4244975"/>
                  <a:pt x="2218281" y="4236121"/>
                  <a:pt x="2220686" y="4228928"/>
                </a:cubicBezTo>
                <a:cubicBezTo>
                  <a:pt x="2223090" y="4228153"/>
                  <a:pt x="2225195" y="4227932"/>
                  <a:pt x="2226999" y="4228153"/>
                </a:cubicBezTo>
                <a:cubicBezTo>
                  <a:pt x="2229705" y="4228374"/>
                  <a:pt x="2231809" y="4229592"/>
                  <a:pt x="2233312" y="4231584"/>
                </a:cubicBezTo>
                <a:lnTo>
                  <a:pt x="2235717" y="4238003"/>
                </a:lnTo>
                <a:lnTo>
                  <a:pt x="2236919" y="4236675"/>
                </a:lnTo>
                <a:lnTo>
                  <a:pt x="2239624" y="4236011"/>
                </a:lnTo>
                <a:lnTo>
                  <a:pt x="2239023" y="4232359"/>
                </a:lnTo>
                <a:cubicBezTo>
                  <a:pt x="2240827" y="4228374"/>
                  <a:pt x="2243533" y="4222287"/>
                  <a:pt x="2249244" y="4222952"/>
                </a:cubicBezTo>
                <a:close/>
                <a:moveTo>
                  <a:pt x="1560236" y="4222730"/>
                </a:moveTo>
                <a:lnTo>
                  <a:pt x="1552419" y="4230477"/>
                </a:lnTo>
                <a:lnTo>
                  <a:pt x="1547609" y="4235789"/>
                </a:lnTo>
                <a:lnTo>
                  <a:pt x="1547609" y="4236121"/>
                </a:lnTo>
                <a:lnTo>
                  <a:pt x="1559633" y="4236675"/>
                </a:lnTo>
                <a:lnTo>
                  <a:pt x="1573161" y="4234683"/>
                </a:lnTo>
                <a:lnTo>
                  <a:pt x="1566849" y="4228485"/>
                </a:lnTo>
                <a:cubicBezTo>
                  <a:pt x="1565045" y="4226161"/>
                  <a:pt x="1563242" y="4224169"/>
                  <a:pt x="1562640" y="4223284"/>
                </a:cubicBezTo>
                <a:lnTo>
                  <a:pt x="1561738" y="4222730"/>
                </a:lnTo>
                <a:close/>
                <a:moveTo>
                  <a:pt x="2545049" y="4221513"/>
                </a:moveTo>
                <a:lnTo>
                  <a:pt x="2545651" y="4224169"/>
                </a:lnTo>
                <a:cubicBezTo>
                  <a:pt x="2551964" y="4234129"/>
                  <a:pt x="2566092" y="4240659"/>
                  <a:pt x="2564890" y="4247521"/>
                </a:cubicBezTo>
                <a:lnTo>
                  <a:pt x="2565792" y="4244422"/>
                </a:lnTo>
                <a:lnTo>
                  <a:pt x="2565491" y="4244422"/>
                </a:lnTo>
                <a:cubicBezTo>
                  <a:pt x="2563086" y="4242319"/>
                  <a:pt x="2562185" y="4239774"/>
                  <a:pt x="2562185" y="4237117"/>
                </a:cubicBezTo>
                <a:lnTo>
                  <a:pt x="2563988" y="4229149"/>
                </a:lnTo>
                <a:lnTo>
                  <a:pt x="2561583" y="4227157"/>
                </a:lnTo>
                <a:cubicBezTo>
                  <a:pt x="2557375" y="4224501"/>
                  <a:pt x="2553467" y="4222620"/>
                  <a:pt x="2549258" y="4221623"/>
                </a:cubicBezTo>
                <a:close/>
                <a:moveTo>
                  <a:pt x="704084" y="4219410"/>
                </a:moveTo>
                <a:cubicBezTo>
                  <a:pt x="707391" y="4222509"/>
                  <a:pt x="709195" y="4224169"/>
                  <a:pt x="712501" y="4225718"/>
                </a:cubicBezTo>
                <a:cubicBezTo>
                  <a:pt x="703182" y="4234240"/>
                  <a:pt x="703483" y="4243094"/>
                  <a:pt x="692060" y="4239663"/>
                </a:cubicBezTo>
                <a:cubicBezTo>
                  <a:pt x="690256" y="4233576"/>
                  <a:pt x="698072" y="4226604"/>
                  <a:pt x="704084" y="4219410"/>
                </a:cubicBezTo>
                <a:close/>
                <a:moveTo>
                  <a:pt x="2271189" y="4217861"/>
                </a:moveTo>
                <a:cubicBezTo>
                  <a:pt x="2275999" y="4217971"/>
                  <a:pt x="2280508" y="4224169"/>
                  <a:pt x="2279907" y="4227600"/>
                </a:cubicBezTo>
                <a:cubicBezTo>
                  <a:pt x="2273895" y="4235568"/>
                  <a:pt x="2266079" y="4224612"/>
                  <a:pt x="2266680" y="4220074"/>
                </a:cubicBezTo>
                <a:cubicBezTo>
                  <a:pt x="2268183" y="4218525"/>
                  <a:pt x="2269686" y="4217861"/>
                  <a:pt x="2271189" y="4217861"/>
                </a:cubicBezTo>
                <a:close/>
                <a:moveTo>
                  <a:pt x="1242185" y="4217861"/>
                </a:moveTo>
                <a:cubicBezTo>
                  <a:pt x="1246995" y="4217971"/>
                  <a:pt x="1251203" y="4224169"/>
                  <a:pt x="1250902" y="4227600"/>
                </a:cubicBezTo>
                <a:cubicBezTo>
                  <a:pt x="1244890" y="4235568"/>
                  <a:pt x="1237074" y="4224612"/>
                  <a:pt x="1237675" y="4220074"/>
                </a:cubicBezTo>
                <a:cubicBezTo>
                  <a:pt x="1239179" y="4218525"/>
                  <a:pt x="1240681" y="4217861"/>
                  <a:pt x="1242185" y="4217861"/>
                </a:cubicBezTo>
                <a:close/>
                <a:moveTo>
                  <a:pt x="6214054" y="4217750"/>
                </a:moveTo>
                <a:cubicBezTo>
                  <a:pt x="6215256" y="4222287"/>
                  <a:pt x="6221268" y="4224833"/>
                  <a:pt x="6224876" y="4229260"/>
                </a:cubicBezTo>
                <a:cubicBezTo>
                  <a:pt x="6225778" y="4230699"/>
                  <a:pt x="6226679" y="4232469"/>
                  <a:pt x="6226980" y="4234461"/>
                </a:cubicBezTo>
                <a:cubicBezTo>
                  <a:pt x="6226980" y="4234461"/>
                  <a:pt x="6226980" y="4234461"/>
                  <a:pt x="6226379" y="4233244"/>
                </a:cubicBezTo>
                <a:cubicBezTo>
                  <a:pt x="6226379" y="4233244"/>
                  <a:pt x="6226980" y="4234461"/>
                  <a:pt x="6225477" y="4235236"/>
                </a:cubicBezTo>
                <a:cubicBezTo>
                  <a:pt x="6217962" y="4231031"/>
                  <a:pt x="6213453" y="4219853"/>
                  <a:pt x="6212551" y="4218525"/>
                </a:cubicBezTo>
                <a:cubicBezTo>
                  <a:pt x="6214054" y="4217750"/>
                  <a:pt x="6214054" y="4217750"/>
                  <a:pt x="6214054" y="4217750"/>
                </a:cubicBezTo>
                <a:close/>
                <a:moveTo>
                  <a:pt x="5875561" y="4216643"/>
                </a:moveTo>
                <a:cubicBezTo>
                  <a:pt x="5877364" y="4216643"/>
                  <a:pt x="5880672" y="4216865"/>
                  <a:pt x="5882175" y="4218414"/>
                </a:cubicBezTo>
                <a:cubicBezTo>
                  <a:pt x="5883979" y="4218525"/>
                  <a:pt x="5882475" y="4223062"/>
                  <a:pt x="5882475" y="4223062"/>
                </a:cubicBezTo>
                <a:cubicBezTo>
                  <a:pt x="5880973" y="4224501"/>
                  <a:pt x="5875862" y="4221181"/>
                  <a:pt x="5874059" y="4221181"/>
                </a:cubicBezTo>
                <a:cubicBezTo>
                  <a:pt x="5874059" y="4219631"/>
                  <a:pt x="5875862" y="4218193"/>
                  <a:pt x="5875561" y="4216643"/>
                </a:cubicBezTo>
                <a:close/>
                <a:moveTo>
                  <a:pt x="5859328" y="4214651"/>
                </a:moveTo>
                <a:cubicBezTo>
                  <a:pt x="5860530" y="4214319"/>
                  <a:pt x="5862334" y="4214762"/>
                  <a:pt x="5864739" y="4216311"/>
                </a:cubicBezTo>
                <a:cubicBezTo>
                  <a:pt x="5864739" y="4216311"/>
                  <a:pt x="5864739" y="4217750"/>
                  <a:pt x="5864739" y="4217750"/>
                </a:cubicBezTo>
                <a:cubicBezTo>
                  <a:pt x="5861733" y="4222066"/>
                  <a:pt x="5860230" y="4220517"/>
                  <a:pt x="5856623" y="4217418"/>
                </a:cubicBezTo>
                <a:cubicBezTo>
                  <a:pt x="5857525" y="4215979"/>
                  <a:pt x="5858126" y="4214873"/>
                  <a:pt x="5859328" y="4214651"/>
                </a:cubicBezTo>
                <a:close/>
                <a:moveTo>
                  <a:pt x="2065869" y="4214651"/>
                </a:moveTo>
                <a:cubicBezTo>
                  <a:pt x="2067071" y="4214319"/>
                  <a:pt x="2068575" y="4214762"/>
                  <a:pt x="2070980" y="4216311"/>
                </a:cubicBezTo>
                <a:cubicBezTo>
                  <a:pt x="2070980" y="4216311"/>
                  <a:pt x="2071281" y="4217750"/>
                  <a:pt x="2071281" y="4217750"/>
                </a:cubicBezTo>
                <a:cubicBezTo>
                  <a:pt x="2068275" y="4222066"/>
                  <a:pt x="2066470" y="4220517"/>
                  <a:pt x="2063164" y="4217418"/>
                </a:cubicBezTo>
                <a:cubicBezTo>
                  <a:pt x="2063765" y="4215979"/>
                  <a:pt x="2064666" y="4214873"/>
                  <a:pt x="2065869" y="4214651"/>
                </a:cubicBezTo>
                <a:close/>
                <a:moveTo>
                  <a:pt x="5730665" y="4214319"/>
                </a:moveTo>
                <a:cubicBezTo>
                  <a:pt x="5734573" y="4214762"/>
                  <a:pt x="5737579" y="4217861"/>
                  <a:pt x="5739383" y="4221734"/>
                </a:cubicBezTo>
                <a:cubicBezTo>
                  <a:pt x="5741488" y="4226825"/>
                  <a:pt x="5741488" y="4233465"/>
                  <a:pt x="5737879" y="4237449"/>
                </a:cubicBezTo>
                <a:cubicBezTo>
                  <a:pt x="5727057" y="4232580"/>
                  <a:pt x="5721045" y="4227157"/>
                  <a:pt x="5726456" y="4214983"/>
                </a:cubicBezTo>
                <a:cubicBezTo>
                  <a:pt x="5727959" y="4214430"/>
                  <a:pt x="5729462" y="4214208"/>
                  <a:pt x="5730665" y="4214319"/>
                </a:cubicBezTo>
                <a:close/>
                <a:moveTo>
                  <a:pt x="6217661" y="4211884"/>
                </a:moveTo>
                <a:cubicBezTo>
                  <a:pt x="6235698" y="4213544"/>
                  <a:pt x="6232992" y="4225497"/>
                  <a:pt x="6243213" y="4226493"/>
                </a:cubicBezTo>
                <a:cubicBezTo>
                  <a:pt x="6241109" y="4229481"/>
                  <a:pt x="6241109" y="4229592"/>
                  <a:pt x="6237501" y="4229924"/>
                </a:cubicBezTo>
                <a:cubicBezTo>
                  <a:pt x="6236600" y="4228596"/>
                  <a:pt x="6235097" y="4229481"/>
                  <a:pt x="6235999" y="4227378"/>
                </a:cubicBezTo>
                <a:cubicBezTo>
                  <a:pt x="6230287" y="4227157"/>
                  <a:pt x="6219164" y="4217971"/>
                  <a:pt x="6217661" y="4211884"/>
                </a:cubicBezTo>
                <a:close/>
                <a:moveTo>
                  <a:pt x="2424202" y="4211884"/>
                </a:moveTo>
                <a:cubicBezTo>
                  <a:pt x="2442239" y="4213544"/>
                  <a:pt x="2439533" y="4225497"/>
                  <a:pt x="2449454" y="4226493"/>
                </a:cubicBezTo>
                <a:cubicBezTo>
                  <a:pt x="2447349" y="4229481"/>
                  <a:pt x="2447349" y="4229592"/>
                  <a:pt x="2443742" y="4229924"/>
                </a:cubicBezTo>
                <a:cubicBezTo>
                  <a:pt x="2443141" y="4228596"/>
                  <a:pt x="2441638" y="4229481"/>
                  <a:pt x="2442239" y="4227378"/>
                </a:cubicBezTo>
                <a:cubicBezTo>
                  <a:pt x="2436527" y="4227157"/>
                  <a:pt x="2425705" y="4217971"/>
                  <a:pt x="2424202" y="4211884"/>
                </a:cubicBezTo>
                <a:close/>
                <a:moveTo>
                  <a:pt x="5353694" y="4210003"/>
                </a:moveTo>
                <a:lnTo>
                  <a:pt x="5353394" y="4212770"/>
                </a:lnTo>
                <a:lnTo>
                  <a:pt x="5356098" y="4211995"/>
                </a:lnTo>
                <a:lnTo>
                  <a:pt x="5356098" y="4210778"/>
                </a:lnTo>
                <a:lnTo>
                  <a:pt x="5354896" y="4210335"/>
                </a:lnTo>
                <a:close/>
                <a:moveTo>
                  <a:pt x="6022562" y="4209339"/>
                </a:moveTo>
                <a:cubicBezTo>
                  <a:pt x="6024667" y="4210003"/>
                  <a:pt x="6025268" y="4211331"/>
                  <a:pt x="6025268" y="4211331"/>
                </a:cubicBezTo>
                <a:cubicBezTo>
                  <a:pt x="6024066" y="4216754"/>
                  <a:pt x="6020758" y="4221402"/>
                  <a:pt x="6014746" y="4219299"/>
                </a:cubicBezTo>
                <a:cubicBezTo>
                  <a:pt x="6012643" y="4218635"/>
                  <a:pt x="6010837" y="4217971"/>
                  <a:pt x="6012040" y="4217307"/>
                </a:cubicBezTo>
                <a:cubicBezTo>
                  <a:pt x="6011439" y="4215979"/>
                  <a:pt x="6012943" y="4215315"/>
                  <a:pt x="6013844" y="4213212"/>
                </a:cubicBezTo>
                <a:cubicBezTo>
                  <a:pt x="6016248" y="4210556"/>
                  <a:pt x="6020458" y="4208564"/>
                  <a:pt x="6022562" y="4209339"/>
                </a:cubicBezTo>
                <a:close/>
                <a:moveTo>
                  <a:pt x="1663346" y="4209339"/>
                </a:moveTo>
                <a:cubicBezTo>
                  <a:pt x="1660340" y="4210888"/>
                  <a:pt x="1657334" y="4212438"/>
                  <a:pt x="1654027" y="4212548"/>
                </a:cubicBezTo>
                <a:cubicBezTo>
                  <a:pt x="1656732" y="4214651"/>
                  <a:pt x="1661242" y="4215094"/>
                  <a:pt x="1665450" y="4215979"/>
                </a:cubicBezTo>
                <a:lnTo>
                  <a:pt x="1667254" y="4216533"/>
                </a:lnTo>
                <a:lnTo>
                  <a:pt x="1667855" y="4211442"/>
                </a:lnTo>
                <a:close/>
                <a:moveTo>
                  <a:pt x="1057607" y="4209118"/>
                </a:moveTo>
                <a:cubicBezTo>
                  <a:pt x="1059711" y="4208564"/>
                  <a:pt x="1061215" y="4208675"/>
                  <a:pt x="1063018" y="4209228"/>
                </a:cubicBezTo>
                <a:cubicBezTo>
                  <a:pt x="1053699" y="4214762"/>
                  <a:pt x="1054000" y="4222509"/>
                  <a:pt x="1046183" y="4220295"/>
                </a:cubicBezTo>
                <a:cubicBezTo>
                  <a:pt x="1045883" y="4215647"/>
                  <a:pt x="1052195" y="4210446"/>
                  <a:pt x="1057607" y="4209118"/>
                </a:cubicBezTo>
                <a:close/>
                <a:moveTo>
                  <a:pt x="1567750" y="4208786"/>
                </a:moveTo>
                <a:lnTo>
                  <a:pt x="1567149" y="4210335"/>
                </a:lnTo>
                <a:lnTo>
                  <a:pt x="1569554" y="4209560"/>
                </a:lnTo>
                <a:close/>
                <a:moveTo>
                  <a:pt x="1522658" y="4208232"/>
                </a:moveTo>
                <a:lnTo>
                  <a:pt x="1510634" y="4211110"/>
                </a:lnTo>
                <a:lnTo>
                  <a:pt x="1506725" y="4216865"/>
                </a:lnTo>
                <a:lnTo>
                  <a:pt x="1509731" y="4217861"/>
                </a:lnTo>
                <a:cubicBezTo>
                  <a:pt x="1511836" y="4218082"/>
                  <a:pt x="1514241" y="4217750"/>
                  <a:pt x="1516045" y="4217197"/>
                </a:cubicBezTo>
                <a:cubicBezTo>
                  <a:pt x="1519953" y="4215979"/>
                  <a:pt x="1523560" y="4212216"/>
                  <a:pt x="1522658" y="4208232"/>
                </a:cubicBezTo>
                <a:close/>
                <a:moveTo>
                  <a:pt x="6446129" y="4207458"/>
                </a:moveTo>
                <a:cubicBezTo>
                  <a:pt x="6449434" y="4207568"/>
                  <a:pt x="6453343" y="4208564"/>
                  <a:pt x="6457853" y="4210556"/>
                </a:cubicBezTo>
                <a:cubicBezTo>
                  <a:pt x="6460257" y="4226714"/>
                  <a:pt x="6469576" y="4254382"/>
                  <a:pt x="6443723" y="4263679"/>
                </a:cubicBezTo>
                <a:cubicBezTo>
                  <a:pt x="6422981" y="4249513"/>
                  <a:pt x="6422079" y="4207015"/>
                  <a:pt x="6446129" y="4207458"/>
                </a:cubicBezTo>
                <a:close/>
                <a:moveTo>
                  <a:pt x="2256460" y="4207015"/>
                </a:moveTo>
                <a:cubicBezTo>
                  <a:pt x="2254956" y="4208343"/>
                  <a:pt x="2253152" y="4212659"/>
                  <a:pt x="2249846" y="4210778"/>
                </a:cubicBezTo>
                <a:cubicBezTo>
                  <a:pt x="2251649" y="4207900"/>
                  <a:pt x="2253152" y="4206683"/>
                  <a:pt x="2256460" y="4207015"/>
                </a:cubicBezTo>
                <a:close/>
                <a:moveTo>
                  <a:pt x="1227455" y="4207015"/>
                </a:moveTo>
                <a:cubicBezTo>
                  <a:pt x="1225651" y="4208343"/>
                  <a:pt x="1223847" y="4212659"/>
                  <a:pt x="1220841" y="4210778"/>
                </a:cubicBezTo>
                <a:cubicBezTo>
                  <a:pt x="1222645" y="4207900"/>
                  <a:pt x="1224147" y="4206683"/>
                  <a:pt x="1227455" y="4207015"/>
                </a:cubicBezTo>
                <a:close/>
                <a:moveTo>
                  <a:pt x="6205335" y="4205465"/>
                </a:moveTo>
                <a:cubicBezTo>
                  <a:pt x="6207441" y="4205908"/>
                  <a:pt x="6210446" y="4207790"/>
                  <a:pt x="6212551" y="4208232"/>
                </a:cubicBezTo>
                <a:cubicBezTo>
                  <a:pt x="6212551" y="4208232"/>
                  <a:pt x="6212551" y="4208343"/>
                  <a:pt x="6211649" y="4210446"/>
                </a:cubicBezTo>
                <a:cubicBezTo>
                  <a:pt x="6210145" y="4207790"/>
                  <a:pt x="6203833" y="4209782"/>
                  <a:pt x="6205335" y="4205465"/>
                </a:cubicBezTo>
                <a:close/>
                <a:moveTo>
                  <a:pt x="716409" y="4203363"/>
                </a:moveTo>
                <a:cubicBezTo>
                  <a:pt x="719416" y="4203584"/>
                  <a:pt x="722422" y="4204580"/>
                  <a:pt x="723624" y="4204137"/>
                </a:cubicBezTo>
                <a:cubicBezTo>
                  <a:pt x="726930" y="4205687"/>
                  <a:pt x="730237" y="4207236"/>
                  <a:pt x="728735" y="4210667"/>
                </a:cubicBezTo>
                <a:cubicBezTo>
                  <a:pt x="726930" y="4214098"/>
                  <a:pt x="727833" y="4216643"/>
                  <a:pt x="722120" y="4216090"/>
                </a:cubicBezTo>
                <a:cubicBezTo>
                  <a:pt x="719416" y="4216975"/>
                  <a:pt x="716108" y="4215426"/>
                  <a:pt x="713703" y="4216422"/>
                </a:cubicBezTo>
                <a:cubicBezTo>
                  <a:pt x="713703" y="4216422"/>
                  <a:pt x="712501" y="4214762"/>
                  <a:pt x="711299" y="4212659"/>
                </a:cubicBezTo>
                <a:cubicBezTo>
                  <a:pt x="710397" y="4210667"/>
                  <a:pt x="709495" y="4208122"/>
                  <a:pt x="710397" y="4206351"/>
                </a:cubicBezTo>
                <a:cubicBezTo>
                  <a:pt x="710697" y="4203363"/>
                  <a:pt x="713703" y="4203031"/>
                  <a:pt x="716409" y="4203363"/>
                </a:cubicBezTo>
                <a:close/>
                <a:moveTo>
                  <a:pt x="1933599" y="4202809"/>
                </a:moveTo>
                <a:cubicBezTo>
                  <a:pt x="1936004" y="4205244"/>
                  <a:pt x="1936605" y="4208011"/>
                  <a:pt x="1937206" y="4210888"/>
                </a:cubicBezTo>
                <a:lnTo>
                  <a:pt x="1939310" y="4215537"/>
                </a:lnTo>
                <a:lnTo>
                  <a:pt x="1940814" y="4215647"/>
                </a:lnTo>
                <a:cubicBezTo>
                  <a:pt x="1942918" y="4216865"/>
                  <a:pt x="1944721" y="4219078"/>
                  <a:pt x="1945623" y="4221734"/>
                </a:cubicBezTo>
                <a:cubicBezTo>
                  <a:pt x="1947728" y="4226825"/>
                  <a:pt x="1947728" y="4233465"/>
                  <a:pt x="1944120" y="4237449"/>
                </a:cubicBezTo>
                <a:lnTo>
                  <a:pt x="1938409" y="4233465"/>
                </a:lnTo>
                <a:lnTo>
                  <a:pt x="1937206" y="4237781"/>
                </a:lnTo>
                <a:cubicBezTo>
                  <a:pt x="1927887" y="4230699"/>
                  <a:pt x="1928488" y="4206683"/>
                  <a:pt x="1933599" y="4202809"/>
                </a:cubicBezTo>
                <a:close/>
                <a:moveTo>
                  <a:pt x="904293" y="4202809"/>
                </a:moveTo>
                <a:cubicBezTo>
                  <a:pt x="909103" y="4207790"/>
                  <a:pt x="907299" y="4213544"/>
                  <a:pt x="912109" y="4220074"/>
                </a:cubicBezTo>
                <a:cubicBezTo>
                  <a:pt x="908803" y="4224280"/>
                  <a:pt x="913311" y="4232359"/>
                  <a:pt x="908202" y="4237781"/>
                </a:cubicBezTo>
                <a:cubicBezTo>
                  <a:pt x="898882" y="4230699"/>
                  <a:pt x="899483" y="4206683"/>
                  <a:pt x="904293" y="4202809"/>
                </a:cubicBezTo>
                <a:close/>
                <a:moveTo>
                  <a:pt x="1391891" y="4199157"/>
                </a:moveTo>
                <a:lnTo>
                  <a:pt x="1397302" y="4224612"/>
                </a:lnTo>
                <a:cubicBezTo>
                  <a:pt x="1392792" y="4226825"/>
                  <a:pt x="1389786" y="4229038"/>
                  <a:pt x="1387682" y="4231473"/>
                </a:cubicBezTo>
                <a:lnTo>
                  <a:pt x="1386480" y="4233576"/>
                </a:lnTo>
                <a:lnTo>
                  <a:pt x="1392792" y="4235457"/>
                </a:lnTo>
                <a:cubicBezTo>
                  <a:pt x="1402112" y="4236564"/>
                  <a:pt x="1414136" y="4235900"/>
                  <a:pt x="1418344" y="4236675"/>
                </a:cubicBezTo>
                <a:cubicBezTo>
                  <a:pt x="1418646" y="4233023"/>
                  <a:pt x="1415338" y="4232137"/>
                  <a:pt x="1412332" y="4231141"/>
                </a:cubicBezTo>
                <a:cubicBezTo>
                  <a:pt x="1408725" y="4231252"/>
                  <a:pt x="1404216" y="4231031"/>
                  <a:pt x="1400008" y="4229702"/>
                </a:cubicBezTo>
                <a:cubicBezTo>
                  <a:pt x="1403915" y="4228485"/>
                  <a:pt x="1407824" y="4227378"/>
                  <a:pt x="1411130" y="4227268"/>
                </a:cubicBezTo>
                <a:cubicBezTo>
                  <a:pt x="1415038" y="4226050"/>
                  <a:pt x="1418646" y="4225829"/>
                  <a:pt x="1422253" y="4225718"/>
                </a:cubicBezTo>
                <a:cubicBezTo>
                  <a:pt x="1430370" y="4225829"/>
                  <a:pt x="1438186" y="4226936"/>
                  <a:pt x="1445400" y="4229260"/>
                </a:cubicBezTo>
                <a:cubicBezTo>
                  <a:pt x="1461633" y="4233023"/>
                  <a:pt x="1478768" y="4237228"/>
                  <a:pt x="1495302" y="4233797"/>
                </a:cubicBezTo>
                <a:cubicBezTo>
                  <a:pt x="1494401" y="4239552"/>
                  <a:pt x="1503118" y="4237449"/>
                  <a:pt x="1503118" y="4241102"/>
                </a:cubicBezTo>
                <a:cubicBezTo>
                  <a:pt x="1509431" y="4238224"/>
                  <a:pt x="1515745" y="4236785"/>
                  <a:pt x="1522057" y="4236121"/>
                </a:cubicBezTo>
                <a:lnTo>
                  <a:pt x="1533480" y="4236011"/>
                </a:lnTo>
                <a:lnTo>
                  <a:pt x="1534983" y="4229038"/>
                </a:lnTo>
                <a:cubicBezTo>
                  <a:pt x="1537388" y="4223726"/>
                  <a:pt x="1540996" y="4218857"/>
                  <a:pt x="1541898" y="4216754"/>
                </a:cubicBezTo>
                <a:cubicBezTo>
                  <a:pt x="1541898" y="4216754"/>
                  <a:pt x="1541898" y="4215205"/>
                  <a:pt x="1543702" y="4213876"/>
                </a:cubicBezTo>
                <a:cubicBezTo>
                  <a:pt x="1544002" y="4213212"/>
                  <a:pt x="1544603" y="4212991"/>
                  <a:pt x="1544904" y="4212991"/>
                </a:cubicBezTo>
                <a:lnTo>
                  <a:pt x="1545805" y="4213434"/>
                </a:lnTo>
                <a:lnTo>
                  <a:pt x="1546106" y="4213434"/>
                </a:lnTo>
                <a:lnTo>
                  <a:pt x="1546708" y="4212770"/>
                </a:lnTo>
                <a:lnTo>
                  <a:pt x="1546708" y="4212659"/>
                </a:lnTo>
                <a:lnTo>
                  <a:pt x="1547008" y="4210335"/>
                </a:lnTo>
                <a:lnTo>
                  <a:pt x="1540394" y="4213876"/>
                </a:lnTo>
                <a:cubicBezTo>
                  <a:pt x="1536787" y="4217197"/>
                  <a:pt x="1532880" y="4220517"/>
                  <a:pt x="1527168" y="4221845"/>
                </a:cubicBezTo>
                <a:cubicBezTo>
                  <a:pt x="1528370" y="4222177"/>
                  <a:pt x="1527769" y="4217086"/>
                  <a:pt x="1527769" y="4217086"/>
                </a:cubicBezTo>
                <a:cubicBezTo>
                  <a:pt x="1522658" y="4219189"/>
                  <a:pt x="1512437" y="4226493"/>
                  <a:pt x="1507026" y="4223173"/>
                </a:cubicBezTo>
                <a:lnTo>
                  <a:pt x="1505223" y="4219189"/>
                </a:lnTo>
                <a:lnTo>
                  <a:pt x="1504320" y="4220849"/>
                </a:lnTo>
                <a:cubicBezTo>
                  <a:pt x="1500112" y="4224058"/>
                  <a:pt x="1495002" y="4225497"/>
                  <a:pt x="1488689" y="4224390"/>
                </a:cubicBezTo>
                <a:cubicBezTo>
                  <a:pt x="1489590" y="4222398"/>
                  <a:pt x="1487486" y="4221734"/>
                  <a:pt x="1485383" y="4221070"/>
                </a:cubicBezTo>
                <a:lnTo>
                  <a:pt x="1489290" y="4209671"/>
                </a:lnTo>
                <a:lnTo>
                  <a:pt x="1487185" y="4209450"/>
                </a:lnTo>
                <a:cubicBezTo>
                  <a:pt x="1480272" y="4209671"/>
                  <a:pt x="1472456" y="4208454"/>
                  <a:pt x="1464339" y="4208343"/>
                </a:cubicBezTo>
                <a:cubicBezTo>
                  <a:pt x="1456523" y="4207236"/>
                  <a:pt x="1449309" y="4207458"/>
                  <a:pt x="1441492" y="4209892"/>
                </a:cubicBezTo>
                <a:cubicBezTo>
                  <a:pt x="1439388" y="4209228"/>
                  <a:pt x="1439388" y="4205576"/>
                  <a:pt x="1439688" y="4201924"/>
                </a:cubicBezTo>
                <a:cubicBezTo>
                  <a:pt x="1432173" y="4203252"/>
                  <a:pt x="1423756" y="4204359"/>
                  <a:pt x="1415940" y="4203252"/>
                </a:cubicBezTo>
                <a:close/>
                <a:moveTo>
                  <a:pt x="5298381" y="4198493"/>
                </a:moveTo>
                <a:cubicBezTo>
                  <a:pt x="5301387" y="4197940"/>
                  <a:pt x="5304093" y="4198604"/>
                  <a:pt x="5305896" y="4200817"/>
                </a:cubicBezTo>
                <a:cubicBezTo>
                  <a:pt x="5306798" y="4202145"/>
                  <a:pt x="5307399" y="4203916"/>
                  <a:pt x="5307700" y="4206240"/>
                </a:cubicBezTo>
                <a:cubicBezTo>
                  <a:pt x="5302289" y="4218414"/>
                  <a:pt x="5295374" y="4226604"/>
                  <a:pt x="5282448" y="4224390"/>
                </a:cubicBezTo>
                <a:cubicBezTo>
                  <a:pt x="5283049" y="4222398"/>
                  <a:pt x="5280946" y="4221734"/>
                  <a:pt x="5279142" y="4221070"/>
                </a:cubicBezTo>
                <a:cubicBezTo>
                  <a:pt x="5276136" y="4211663"/>
                  <a:pt x="5288761" y="4199932"/>
                  <a:pt x="5298381" y="4198493"/>
                </a:cubicBezTo>
                <a:close/>
                <a:moveTo>
                  <a:pt x="1626672" y="4196280"/>
                </a:moveTo>
                <a:lnTo>
                  <a:pt x="1625769" y="4196390"/>
                </a:lnTo>
                <a:cubicBezTo>
                  <a:pt x="1624567" y="4196169"/>
                  <a:pt x="1623364" y="4195837"/>
                  <a:pt x="1623063" y="4196944"/>
                </a:cubicBezTo>
                <a:cubicBezTo>
                  <a:pt x="1622162" y="4196612"/>
                  <a:pt x="1622162" y="4196612"/>
                  <a:pt x="1620658" y="4197386"/>
                </a:cubicBezTo>
                <a:cubicBezTo>
                  <a:pt x="1609536" y="4198825"/>
                  <a:pt x="1601419" y="4202367"/>
                  <a:pt x="1615548" y="4201813"/>
                </a:cubicBezTo>
                <a:cubicBezTo>
                  <a:pt x="1614045" y="4203584"/>
                  <a:pt x="1611640" y="4204359"/>
                  <a:pt x="1608634" y="4204691"/>
                </a:cubicBezTo>
                <a:lnTo>
                  <a:pt x="1605628" y="4204801"/>
                </a:lnTo>
                <a:lnTo>
                  <a:pt x="1604125" y="4206461"/>
                </a:lnTo>
                <a:lnTo>
                  <a:pt x="1604125" y="4206019"/>
                </a:lnTo>
                <a:lnTo>
                  <a:pt x="1601118" y="4210667"/>
                </a:lnTo>
                <a:cubicBezTo>
                  <a:pt x="1596309" y="4215979"/>
                  <a:pt x="1586990" y="4220517"/>
                  <a:pt x="1577070" y="4222509"/>
                </a:cubicBezTo>
                <a:lnTo>
                  <a:pt x="1564143" y="4222620"/>
                </a:lnTo>
                <a:lnTo>
                  <a:pt x="1570155" y="4226382"/>
                </a:lnTo>
                <a:cubicBezTo>
                  <a:pt x="1572861" y="4228264"/>
                  <a:pt x="1575566" y="4230256"/>
                  <a:pt x="1577671" y="4232027"/>
                </a:cubicBezTo>
                <a:lnTo>
                  <a:pt x="1580377" y="4234129"/>
                </a:lnTo>
                <a:lnTo>
                  <a:pt x="1604425" y="4235679"/>
                </a:lnTo>
                <a:cubicBezTo>
                  <a:pt x="1612241" y="4235679"/>
                  <a:pt x="1619456" y="4235236"/>
                  <a:pt x="1626672" y="4234461"/>
                </a:cubicBezTo>
                <a:cubicBezTo>
                  <a:pt x="1635389" y="4232912"/>
                  <a:pt x="1644107" y="4230809"/>
                  <a:pt x="1654027" y="4228264"/>
                </a:cubicBezTo>
                <a:lnTo>
                  <a:pt x="1666653" y="4224944"/>
                </a:lnTo>
                <a:lnTo>
                  <a:pt x="1666953" y="4220074"/>
                </a:lnTo>
                <a:lnTo>
                  <a:pt x="1662745" y="4219521"/>
                </a:lnTo>
                <a:cubicBezTo>
                  <a:pt x="1659137" y="4218746"/>
                  <a:pt x="1654929" y="4218303"/>
                  <a:pt x="1647714" y="4220295"/>
                </a:cubicBezTo>
                <a:cubicBezTo>
                  <a:pt x="1645609" y="4216090"/>
                  <a:pt x="1646512" y="4212659"/>
                  <a:pt x="1645910" y="4210888"/>
                </a:cubicBezTo>
                <a:lnTo>
                  <a:pt x="1644708" y="4210446"/>
                </a:lnTo>
                <a:lnTo>
                  <a:pt x="1646211" y="4223394"/>
                </a:lnTo>
                <a:cubicBezTo>
                  <a:pt x="1641702" y="4222177"/>
                  <a:pt x="1638395" y="4219631"/>
                  <a:pt x="1635990" y="4216533"/>
                </a:cubicBezTo>
                <a:lnTo>
                  <a:pt x="1633886" y="4210999"/>
                </a:lnTo>
                <a:lnTo>
                  <a:pt x="1633585" y="4211110"/>
                </a:lnTo>
                <a:lnTo>
                  <a:pt x="1633886" y="4210778"/>
                </a:lnTo>
                <a:lnTo>
                  <a:pt x="1631781" y="4205465"/>
                </a:lnTo>
                <a:lnTo>
                  <a:pt x="1631781" y="4200264"/>
                </a:lnTo>
                <a:lnTo>
                  <a:pt x="1626972" y="4197276"/>
                </a:lnTo>
                <a:close/>
                <a:moveTo>
                  <a:pt x="1643204" y="4195616"/>
                </a:moveTo>
                <a:lnTo>
                  <a:pt x="1642002" y="4197718"/>
                </a:lnTo>
                <a:lnTo>
                  <a:pt x="1643806" y="4200707"/>
                </a:lnTo>
                <a:lnTo>
                  <a:pt x="1644107" y="4204248"/>
                </a:lnTo>
                <a:lnTo>
                  <a:pt x="1651923" y="4201039"/>
                </a:lnTo>
                <a:cubicBezTo>
                  <a:pt x="1652224" y="4199268"/>
                  <a:pt x="1650720" y="4197940"/>
                  <a:pt x="1648615" y="4197054"/>
                </a:cubicBezTo>
                <a:close/>
                <a:moveTo>
                  <a:pt x="2017470" y="4190746"/>
                </a:moveTo>
                <a:cubicBezTo>
                  <a:pt x="2022280" y="4191189"/>
                  <a:pt x="2025587" y="4191632"/>
                  <a:pt x="2028893" y="4194952"/>
                </a:cubicBezTo>
                <a:cubicBezTo>
                  <a:pt x="2033403" y="4200043"/>
                  <a:pt x="2036409" y="4210888"/>
                  <a:pt x="2031599" y="4214873"/>
                </a:cubicBezTo>
                <a:cubicBezTo>
                  <a:pt x="2026489" y="4220295"/>
                  <a:pt x="2021679" y="4221181"/>
                  <a:pt x="2016869" y="4220738"/>
                </a:cubicBezTo>
                <a:cubicBezTo>
                  <a:pt x="2016869" y="4220738"/>
                  <a:pt x="2016869" y="4220738"/>
                  <a:pt x="2018372" y="4220959"/>
                </a:cubicBezTo>
                <a:lnTo>
                  <a:pt x="2023784" y="4227268"/>
                </a:lnTo>
                <a:lnTo>
                  <a:pt x="2026790" y="4225718"/>
                </a:lnTo>
                <a:cubicBezTo>
                  <a:pt x="2028593" y="4225276"/>
                  <a:pt x="2030096" y="4225054"/>
                  <a:pt x="2031298" y="4225276"/>
                </a:cubicBezTo>
                <a:cubicBezTo>
                  <a:pt x="2033403" y="4225718"/>
                  <a:pt x="2034304" y="4227378"/>
                  <a:pt x="2034606" y="4229481"/>
                </a:cubicBezTo>
                <a:cubicBezTo>
                  <a:pt x="2034606" y="4231141"/>
                  <a:pt x="2034304" y="4233244"/>
                  <a:pt x="2033403" y="4234904"/>
                </a:cubicBezTo>
                <a:lnTo>
                  <a:pt x="2030998" y="4237339"/>
                </a:lnTo>
                <a:lnTo>
                  <a:pt x="2033703" y="4243647"/>
                </a:lnTo>
                <a:cubicBezTo>
                  <a:pt x="2032201" y="4243536"/>
                  <a:pt x="2030697" y="4243315"/>
                  <a:pt x="2028893" y="4241655"/>
                </a:cubicBezTo>
                <a:cubicBezTo>
                  <a:pt x="2027391" y="4239995"/>
                  <a:pt x="2029195" y="4240106"/>
                  <a:pt x="2027691" y="4239995"/>
                </a:cubicBezTo>
                <a:cubicBezTo>
                  <a:pt x="2025887" y="4238335"/>
                  <a:pt x="2025887" y="4239774"/>
                  <a:pt x="2025887" y="4239774"/>
                </a:cubicBezTo>
                <a:cubicBezTo>
                  <a:pt x="2025887" y="4239774"/>
                  <a:pt x="2025887" y="4238224"/>
                  <a:pt x="2025887" y="4238224"/>
                </a:cubicBezTo>
                <a:cubicBezTo>
                  <a:pt x="2025887" y="4238224"/>
                  <a:pt x="2025887" y="4238224"/>
                  <a:pt x="2025587" y="4237781"/>
                </a:cubicBezTo>
                <a:lnTo>
                  <a:pt x="2025286" y="4237560"/>
                </a:lnTo>
                <a:lnTo>
                  <a:pt x="2024986" y="4237560"/>
                </a:lnTo>
                <a:lnTo>
                  <a:pt x="2024986" y="4237228"/>
                </a:lnTo>
                <a:lnTo>
                  <a:pt x="2022881" y="4234904"/>
                </a:lnTo>
                <a:cubicBezTo>
                  <a:pt x="2018072" y="4231363"/>
                  <a:pt x="2016568" y="4231252"/>
                  <a:pt x="2013262" y="4229370"/>
                </a:cubicBezTo>
                <a:cubicBezTo>
                  <a:pt x="2010256" y="4226050"/>
                  <a:pt x="2010256" y="4224501"/>
                  <a:pt x="2006949" y="4219631"/>
                </a:cubicBezTo>
                <a:cubicBezTo>
                  <a:pt x="2008752" y="4216865"/>
                  <a:pt x="2008752" y="4216754"/>
                  <a:pt x="2010256" y="4216975"/>
                </a:cubicBezTo>
                <a:cubicBezTo>
                  <a:pt x="2008752" y="4216754"/>
                  <a:pt x="2008752" y="4215315"/>
                  <a:pt x="2007250" y="4213544"/>
                </a:cubicBezTo>
                <a:lnTo>
                  <a:pt x="2004544" y="4208011"/>
                </a:lnTo>
                <a:lnTo>
                  <a:pt x="2004244" y="4209007"/>
                </a:lnTo>
                <a:cubicBezTo>
                  <a:pt x="2004244" y="4209007"/>
                  <a:pt x="2003942" y="4208896"/>
                  <a:pt x="2004845" y="4212106"/>
                </a:cubicBezTo>
                <a:cubicBezTo>
                  <a:pt x="2002139" y="4213323"/>
                  <a:pt x="2001238" y="4210114"/>
                  <a:pt x="1998230" y="4211331"/>
                </a:cubicBezTo>
                <a:cubicBezTo>
                  <a:pt x="1998230" y="4211331"/>
                  <a:pt x="1997329" y="4208122"/>
                  <a:pt x="1997329" y="4208122"/>
                </a:cubicBezTo>
                <a:cubicBezTo>
                  <a:pt x="1995826" y="4208786"/>
                  <a:pt x="1995826" y="4208675"/>
                  <a:pt x="1996427" y="4207568"/>
                </a:cubicBezTo>
                <a:cubicBezTo>
                  <a:pt x="1996728" y="4206461"/>
                  <a:pt x="1997930" y="4204359"/>
                  <a:pt x="1998230" y="4200596"/>
                </a:cubicBezTo>
                <a:cubicBezTo>
                  <a:pt x="2000335" y="4196280"/>
                  <a:pt x="1999133" y="4192960"/>
                  <a:pt x="2003041" y="4194952"/>
                </a:cubicBezTo>
                <a:cubicBezTo>
                  <a:pt x="2004845" y="4195948"/>
                  <a:pt x="2006047" y="4196501"/>
                  <a:pt x="2006949" y="4197940"/>
                </a:cubicBezTo>
                <a:lnTo>
                  <a:pt x="2006949" y="4198272"/>
                </a:lnTo>
                <a:lnTo>
                  <a:pt x="2009353" y="4194288"/>
                </a:lnTo>
                <a:cubicBezTo>
                  <a:pt x="2011157" y="4195948"/>
                  <a:pt x="2014464" y="4191853"/>
                  <a:pt x="2017470" y="4190746"/>
                </a:cubicBezTo>
                <a:close/>
                <a:moveTo>
                  <a:pt x="988465" y="4190746"/>
                </a:moveTo>
                <a:cubicBezTo>
                  <a:pt x="993275" y="4191189"/>
                  <a:pt x="996582" y="4191632"/>
                  <a:pt x="999589" y="4194952"/>
                </a:cubicBezTo>
                <a:cubicBezTo>
                  <a:pt x="1004398" y="4200043"/>
                  <a:pt x="1007404" y="4210888"/>
                  <a:pt x="1002293" y="4214873"/>
                </a:cubicBezTo>
                <a:cubicBezTo>
                  <a:pt x="997484" y="4220295"/>
                  <a:pt x="992374" y="4221181"/>
                  <a:pt x="987564" y="4220738"/>
                </a:cubicBezTo>
                <a:cubicBezTo>
                  <a:pt x="987564" y="4220738"/>
                  <a:pt x="987564" y="4220738"/>
                  <a:pt x="989368" y="4220959"/>
                </a:cubicBezTo>
                <a:cubicBezTo>
                  <a:pt x="995380" y="4227600"/>
                  <a:pt x="1006503" y="4239331"/>
                  <a:pt x="1004698" y="4243647"/>
                </a:cubicBezTo>
                <a:cubicBezTo>
                  <a:pt x="1003196" y="4243536"/>
                  <a:pt x="1001392" y="4243315"/>
                  <a:pt x="999889" y="4241655"/>
                </a:cubicBezTo>
                <a:cubicBezTo>
                  <a:pt x="998386" y="4239995"/>
                  <a:pt x="1000190" y="4240106"/>
                  <a:pt x="998386" y="4239995"/>
                </a:cubicBezTo>
                <a:cubicBezTo>
                  <a:pt x="996883" y="4238335"/>
                  <a:pt x="996582" y="4239774"/>
                  <a:pt x="996582" y="4239774"/>
                </a:cubicBezTo>
                <a:cubicBezTo>
                  <a:pt x="996582" y="4239774"/>
                  <a:pt x="996883" y="4238224"/>
                  <a:pt x="996883" y="4238224"/>
                </a:cubicBezTo>
                <a:cubicBezTo>
                  <a:pt x="996883" y="4238224"/>
                  <a:pt x="996883" y="4238224"/>
                  <a:pt x="993576" y="4234904"/>
                </a:cubicBezTo>
                <a:cubicBezTo>
                  <a:pt x="988767" y="4231363"/>
                  <a:pt x="987263" y="4231252"/>
                  <a:pt x="984257" y="4229370"/>
                </a:cubicBezTo>
                <a:cubicBezTo>
                  <a:pt x="980950" y="4226050"/>
                  <a:pt x="980950" y="4224501"/>
                  <a:pt x="977944" y="4219631"/>
                </a:cubicBezTo>
                <a:cubicBezTo>
                  <a:pt x="979747" y="4216865"/>
                  <a:pt x="979747" y="4216754"/>
                  <a:pt x="981251" y="4216975"/>
                </a:cubicBezTo>
                <a:cubicBezTo>
                  <a:pt x="979747" y="4216754"/>
                  <a:pt x="979747" y="4215315"/>
                  <a:pt x="978245" y="4213544"/>
                </a:cubicBezTo>
                <a:cubicBezTo>
                  <a:pt x="970128" y="4208232"/>
                  <a:pt x="973735" y="4201039"/>
                  <a:pt x="980349" y="4194288"/>
                </a:cubicBezTo>
                <a:cubicBezTo>
                  <a:pt x="981852" y="4195948"/>
                  <a:pt x="985159" y="4191853"/>
                  <a:pt x="988465" y="4190746"/>
                </a:cubicBezTo>
                <a:close/>
                <a:moveTo>
                  <a:pt x="2257061" y="4189861"/>
                </a:moveTo>
                <a:cubicBezTo>
                  <a:pt x="2258864" y="4190414"/>
                  <a:pt x="2260668" y="4191300"/>
                  <a:pt x="2262472" y="4192849"/>
                </a:cubicBezTo>
                <a:cubicBezTo>
                  <a:pt x="2256158" y="4198161"/>
                  <a:pt x="2240527" y="4216754"/>
                  <a:pt x="2230005" y="4214873"/>
                </a:cubicBezTo>
                <a:lnTo>
                  <a:pt x="2229705" y="4214762"/>
                </a:lnTo>
                <a:lnTo>
                  <a:pt x="2228201" y="4218082"/>
                </a:lnTo>
                <a:cubicBezTo>
                  <a:pt x="2226398" y="4219631"/>
                  <a:pt x="2224293" y="4220406"/>
                  <a:pt x="2220987" y="4219299"/>
                </a:cubicBezTo>
                <a:cubicBezTo>
                  <a:pt x="2219183" y="4218635"/>
                  <a:pt x="2217078" y="4217971"/>
                  <a:pt x="2218582" y="4217307"/>
                </a:cubicBezTo>
                <a:cubicBezTo>
                  <a:pt x="2217981" y="4215979"/>
                  <a:pt x="2219483" y="4215315"/>
                  <a:pt x="2220386" y="4213212"/>
                </a:cubicBezTo>
                <a:cubicBezTo>
                  <a:pt x="2221288" y="4211884"/>
                  <a:pt x="2223090" y="4210667"/>
                  <a:pt x="2224594" y="4210003"/>
                </a:cubicBezTo>
                <a:lnTo>
                  <a:pt x="2228803" y="4209339"/>
                </a:lnTo>
                <a:lnTo>
                  <a:pt x="2231809" y="4205797"/>
                </a:lnTo>
                <a:cubicBezTo>
                  <a:pt x="2238422" y="4197718"/>
                  <a:pt x="2247741" y="4187315"/>
                  <a:pt x="2257061" y="4189861"/>
                </a:cubicBezTo>
                <a:close/>
                <a:moveTo>
                  <a:pt x="759097" y="4188533"/>
                </a:moveTo>
                <a:cubicBezTo>
                  <a:pt x="765109" y="4189086"/>
                  <a:pt x="771421" y="4193181"/>
                  <a:pt x="776232" y="4202145"/>
                </a:cubicBezTo>
                <a:cubicBezTo>
                  <a:pt x="761201" y="4214319"/>
                  <a:pt x="762403" y="4227600"/>
                  <a:pt x="745869" y="4231584"/>
                </a:cubicBezTo>
                <a:cubicBezTo>
                  <a:pt x="723924" y="4215869"/>
                  <a:pt x="741059" y="4186762"/>
                  <a:pt x="759097" y="4188533"/>
                </a:cubicBezTo>
                <a:close/>
                <a:moveTo>
                  <a:pt x="6379392" y="4187979"/>
                </a:moveTo>
                <a:cubicBezTo>
                  <a:pt x="6381796" y="4188090"/>
                  <a:pt x="6384503" y="4188643"/>
                  <a:pt x="6386907" y="4188975"/>
                </a:cubicBezTo>
                <a:cubicBezTo>
                  <a:pt x="6389913" y="4192738"/>
                  <a:pt x="6390816" y="4198161"/>
                  <a:pt x="6389613" y="4203252"/>
                </a:cubicBezTo>
                <a:cubicBezTo>
                  <a:pt x="6380594" y="4201813"/>
                  <a:pt x="6376385" y="4196833"/>
                  <a:pt x="6373380" y="4188865"/>
                </a:cubicBezTo>
                <a:cubicBezTo>
                  <a:pt x="6374582" y="4187979"/>
                  <a:pt x="6376686" y="4187869"/>
                  <a:pt x="6379392" y="4187979"/>
                </a:cubicBezTo>
                <a:close/>
                <a:moveTo>
                  <a:pt x="502071" y="4186319"/>
                </a:moveTo>
                <a:cubicBezTo>
                  <a:pt x="504476" y="4186651"/>
                  <a:pt x="507181" y="4187537"/>
                  <a:pt x="510187" y="4189086"/>
                </a:cubicBezTo>
                <a:cubicBezTo>
                  <a:pt x="511390" y="4195062"/>
                  <a:pt x="507181" y="4198936"/>
                  <a:pt x="501470" y="4200375"/>
                </a:cubicBezTo>
                <a:cubicBezTo>
                  <a:pt x="495758" y="4201813"/>
                  <a:pt x="488843" y="4200817"/>
                  <a:pt x="485236" y="4197054"/>
                </a:cubicBezTo>
                <a:cubicBezTo>
                  <a:pt x="490046" y="4189861"/>
                  <a:pt x="494856" y="4185323"/>
                  <a:pt x="502071" y="4186319"/>
                </a:cubicBezTo>
                <a:close/>
                <a:moveTo>
                  <a:pt x="2202349" y="4186209"/>
                </a:moveTo>
                <a:cubicBezTo>
                  <a:pt x="2201747" y="4196390"/>
                  <a:pt x="2203852" y="4207679"/>
                  <a:pt x="2199643" y="4217971"/>
                </a:cubicBezTo>
                <a:cubicBezTo>
                  <a:pt x="2191827" y="4210778"/>
                  <a:pt x="2187318" y="4191300"/>
                  <a:pt x="2202349" y="4186209"/>
                </a:cubicBezTo>
                <a:close/>
                <a:moveTo>
                  <a:pt x="5326639" y="4184106"/>
                </a:moveTo>
                <a:cubicBezTo>
                  <a:pt x="5328742" y="4184217"/>
                  <a:pt x="5331148" y="4184327"/>
                  <a:pt x="5333252" y="4184327"/>
                </a:cubicBezTo>
                <a:cubicBezTo>
                  <a:pt x="5332651" y="4188533"/>
                  <a:pt x="5332350" y="4192738"/>
                  <a:pt x="5327841" y="4192628"/>
                </a:cubicBezTo>
                <a:cubicBezTo>
                  <a:pt x="5327240" y="4189418"/>
                  <a:pt x="5324836" y="4189418"/>
                  <a:pt x="5326639" y="4184106"/>
                </a:cubicBezTo>
                <a:close/>
                <a:moveTo>
                  <a:pt x="6112747" y="4182335"/>
                </a:moveTo>
                <a:cubicBezTo>
                  <a:pt x="6119360" y="4183221"/>
                  <a:pt x="6129281" y="4184549"/>
                  <a:pt x="6129882" y="4192960"/>
                </a:cubicBezTo>
                <a:cubicBezTo>
                  <a:pt x="6127777" y="4194398"/>
                  <a:pt x="6129281" y="4196280"/>
                  <a:pt x="6127476" y="4197718"/>
                </a:cubicBezTo>
                <a:cubicBezTo>
                  <a:pt x="6127476" y="4197718"/>
                  <a:pt x="6126274" y="4199932"/>
                  <a:pt x="6123870" y="4202256"/>
                </a:cubicBezTo>
                <a:cubicBezTo>
                  <a:pt x="6121163" y="4204691"/>
                  <a:pt x="6116955" y="4207015"/>
                  <a:pt x="6111244" y="4207015"/>
                </a:cubicBezTo>
                <a:cubicBezTo>
                  <a:pt x="6107937" y="4206572"/>
                  <a:pt x="6099819" y="4203805"/>
                  <a:pt x="6101624" y="4202367"/>
                </a:cubicBezTo>
                <a:cubicBezTo>
                  <a:pt x="6102225" y="4199157"/>
                  <a:pt x="6100121" y="4200596"/>
                  <a:pt x="6098918" y="4198714"/>
                </a:cubicBezTo>
                <a:cubicBezTo>
                  <a:pt x="6100121" y="4188865"/>
                  <a:pt x="6104329" y="4182888"/>
                  <a:pt x="6112747" y="4182335"/>
                </a:cubicBezTo>
                <a:close/>
                <a:moveTo>
                  <a:pt x="951790" y="4180122"/>
                </a:moveTo>
                <a:cubicBezTo>
                  <a:pt x="953895" y="4180343"/>
                  <a:pt x="956600" y="4181118"/>
                  <a:pt x="959306" y="4182667"/>
                </a:cubicBezTo>
                <a:cubicBezTo>
                  <a:pt x="959907" y="4188643"/>
                  <a:pt x="954796" y="4192628"/>
                  <a:pt x="949085" y="4194177"/>
                </a:cubicBezTo>
                <a:cubicBezTo>
                  <a:pt x="943073" y="4195837"/>
                  <a:pt x="936159" y="4195062"/>
                  <a:pt x="933153" y="4191410"/>
                </a:cubicBezTo>
                <a:cubicBezTo>
                  <a:pt x="938865" y="4184106"/>
                  <a:pt x="944576" y="4179347"/>
                  <a:pt x="951790" y="4180122"/>
                </a:cubicBezTo>
                <a:close/>
                <a:moveTo>
                  <a:pt x="6165654" y="4178572"/>
                </a:moveTo>
                <a:cubicBezTo>
                  <a:pt x="6169863" y="4178683"/>
                  <a:pt x="6177378" y="4178904"/>
                  <a:pt x="6180385" y="4181228"/>
                </a:cubicBezTo>
                <a:cubicBezTo>
                  <a:pt x="6181587" y="4182003"/>
                  <a:pt x="6182188" y="4182999"/>
                  <a:pt x="6181888" y="4184327"/>
                </a:cubicBezTo>
                <a:cubicBezTo>
                  <a:pt x="6181287" y="4186430"/>
                  <a:pt x="6179183" y="4185987"/>
                  <a:pt x="6177678" y="4186762"/>
                </a:cubicBezTo>
                <a:cubicBezTo>
                  <a:pt x="6174373" y="4187094"/>
                  <a:pt x="6165053" y="4180564"/>
                  <a:pt x="6165654" y="4178572"/>
                </a:cubicBezTo>
                <a:close/>
                <a:moveTo>
                  <a:pt x="6033083" y="4173039"/>
                </a:moveTo>
                <a:cubicBezTo>
                  <a:pt x="6036090" y="4172043"/>
                  <a:pt x="6039397" y="4173149"/>
                  <a:pt x="6041802" y="4177134"/>
                </a:cubicBezTo>
                <a:cubicBezTo>
                  <a:pt x="6036390" y="4181339"/>
                  <a:pt x="6030679" y="4185434"/>
                  <a:pt x="6026770" y="4180564"/>
                </a:cubicBezTo>
                <a:cubicBezTo>
                  <a:pt x="6027672" y="4176802"/>
                  <a:pt x="6030078" y="4173924"/>
                  <a:pt x="6033083" y="4173039"/>
                </a:cubicBezTo>
                <a:close/>
                <a:moveTo>
                  <a:pt x="6329490" y="4171932"/>
                </a:moveTo>
                <a:cubicBezTo>
                  <a:pt x="6330392" y="4180122"/>
                  <a:pt x="6322275" y="4191410"/>
                  <a:pt x="6311753" y="4198604"/>
                </a:cubicBezTo>
                <a:lnTo>
                  <a:pt x="6302435" y="4202256"/>
                </a:lnTo>
                <a:lnTo>
                  <a:pt x="6303937" y="4203805"/>
                </a:lnTo>
                <a:cubicBezTo>
                  <a:pt x="6304839" y="4205908"/>
                  <a:pt x="6305441" y="4208564"/>
                  <a:pt x="6305741" y="4211110"/>
                </a:cubicBezTo>
                <a:cubicBezTo>
                  <a:pt x="6306042" y="4215315"/>
                  <a:pt x="6304839" y="4217639"/>
                  <a:pt x="6302735" y="4218857"/>
                </a:cubicBezTo>
                <a:cubicBezTo>
                  <a:pt x="6300631" y="4220074"/>
                  <a:pt x="6297625" y="4220185"/>
                  <a:pt x="6294318" y="4219742"/>
                </a:cubicBezTo>
                <a:cubicBezTo>
                  <a:pt x="6287704" y="4218967"/>
                  <a:pt x="6286802" y="4213766"/>
                  <a:pt x="6286802" y="4213766"/>
                </a:cubicBezTo>
                <a:lnTo>
                  <a:pt x="6289207" y="4205244"/>
                </a:lnTo>
                <a:lnTo>
                  <a:pt x="6286802" y="4205133"/>
                </a:lnTo>
                <a:cubicBezTo>
                  <a:pt x="6284097" y="4204469"/>
                  <a:pt x="6281692" y="4203363"/>
                  <a:pt x="6279588" y="4201371"/>
                </a:cubicBezTo>
                <a:cubicBezTo>
                  <a:pt x="6301233" y="4196944"/>
                  <a:pt x="6304238" y="4172707"/>
                  <a:pt x="6329490" y="4171932"/>
                </a:cubicBezTo>
                <a:close/>
                <a:moveTo>
                  <a:pt x="6114550" y="4169608"/>
                </a:moveTo>
                <a:cubicBezTo>
                  <a:pt x="6117857" y="4169940"/>
                  <a:pt x="6122667" y="4172043"/>
                  <a:pt x="6122065" y="4175252"/>
                </a:cubicBezTo>
                <a:cubicBezTo>
                  <a:pt x="6122667" y="4177798"/>
                  <a:pt x="6121764" y="4178462"/>
                  <a:pt x="6119961" y="4178794"/>
                </a:cubicBezTo>
                <a:cubicBezTo>
                  <a:pt x="6118158" y="4179015"/>
                  <a:pt x="6115752" y="4178794"/>
                  <a:pt x="6113048" y="4179347"/>
                </a:cubicBezTo>
                <a:close/>
                <a:moveTo>
                  <a:pt x="5633866" y="4168169"/>
                </a:moveTo>
                <a:cubicBezTo>
                  <a:pt x="5629358" y="4168612"/>
                  <a:pt x="5624549" y="4169940"/>
                  <a:pt x="5621842" y="4170383"/>
                </a:cubicBezTo>
                <a:cubicBezTo>
                  <a:pt x="5621842" y="4172375"/>
                  <a:pt x="5624849" y="4171379"/>
                  <a:pt x="5626953" y="4172264"/>
                </a:cubicBezTo>
                <a:lnTo>
                  <a:pt x="5621241" y="4173039"/>
                </a:lnTo>
                <a:lnTo>
                  <a:pt x="5635371" y="4184106"/>
                </a:lnTo>
                <a:lnTo>
                  <a:pt x="5635671" y="4183995"/>
                </a:lnTo>
                <a:cubicBezTo>
                  <a:pt x="5636573" y="4182999"/>
                  <a:pt x="5637174" y="4181228"/>
                  <a:pt x="5637174" y="4178240"/>
                </a:cubicBezTo>
                <a:cubicBezTo>
                  <a:pt x="5643186" y="4186209"/>
                  <a:pt x="5650100" y="4184106"/>
                  <a:pt x="5657315" y="4180232"/>
                </a:cubicBezTo>
                <a:cubicBezTo>
                  <a:pt x="5664229" y="4177244"/>
                  <a:pt x="5673548" y="4172264"/>
                  <a:pt x="5683468" y="4175252"/>
                </a:cubicBezTo>
                <a:cubicBezTo>
                  <a:pt x="5681665" y="4168391"/>
                  <a:pt x="5675653" y="4169387"/>
                  <a:pt x="5669340" y="4172264"/>
                </a:cubicBezTo>
                <a:cubicBezTo>
                  <a:pt x="5663328" y="4174256"/>
                  <a:pt x="5657315" y="4176359"/>
                  <a:pt x="5655210" y="4170383"/>
                </a:cubicBezTo>
                <a:cubicBezTo>
                  <a:pt x="5646192" y="4171379"/>
                  <a:pt x="5643186" y="4178240"/>
                  <a:pt x="5635069" y="4174367"/>
                </a:cubicBezTo>
                <a:cubicBezTo>
                  <a:pt x="5635069" y="4170383"/>
                  <a:pt x="5643186" y="4173371"/>
                  <a:pt x="5645291" y="4170383"/>
                </a:cubicBezTo>
                <a:cubicBezTo>
                  <a:pt x="5643186" y="4167948"/>
                  <a:pt x="5638676" y="4167616"/>
                  <a:pt x="5633866" y="4168169"/>
                </a:cubicBezTo>
                <a:close/>
                <a:moveTo>
                  <a:pt x="721219" y="4167616"/>
                </a:moveTo>
                <a:cubicBezTo>
                  <a:pt x="724826" y="4167837"/>
                  <a:pt x="729336" y="4169608"/>
                  <a:pt x="733545" y="4170161"/>
                </a:cubicBezTo>
                <a:cubicBezTo>
                  <a:pt x="731741" y="4174588"/>
                  <a:pt x="729336" y="4176802"/>
                  <a:pt x="726029" y="4177244"/>
                </a:cubicBezTo>
                <a:cubicBezTo>
                  <a:pt x="722722" y="4177687"/>
                  <a:pt x="718513" y="4176248"/>
                  <a:pt x="713403" y="4173592"/>
                </a:cubicBezTo>
                <a:cubicBezTo>
                  <a:pt x="714606" y="4168391"/>
                  <a:pt x="717612" y="4167284"/>
                  <a:pt x="721219" y="4167616"/>
                </a:cubicBezTo>
                <a:close/>
                <a:moveTo>
                  <a:pt x="5793794" y="4167395"/>
                </a:moveTo>
                <a:cubicBezTo>
                  <a:pt x="5787181" y="4168833"/>
                  <a:pt x="5786580" y="4170604"/>
                  <a:pt x="5787181" y="4172817"/>
                </a:cubicBezTo>
                <a:lnTo>
                  <a:pt x="5787181" y="4174588"/>
                </a:lnTo>
                <a:lnTo>
                  <a:pt x="5795297" y="4173924"/>
                </a:lnTo>
                <a:lnTo>
                  <a:pt x="5798003" y="4171821"/>
                </a:lnTo>
                <a:close/>
                <a:moveTo>
                  <a:pt x="5543081" y="4167395"/>
                </a:moveTo>
                <a:cubicBezTo>
                  <a:pt x="5540676" y="4169276"/>
                  <a:pt x="5536769" y="4170161"/>
                  <a:pt x="5532259" y="4170272"/>
                </a:cubicBezTo>
                <a:lnTo>
                  <a:pt x="5528050" y="4169940"/>
                </a:lnTo>
                <a:lnTo>
                  <a:pt x="5516026" y="4197276"/>
                </a:lnTo>
                <a:cubicBezTo>
                  <a:pt x="5513020" y="4194509"/>
                  <a:pt x="5510014" y="4193181"/>
                  <a:pt x="5507308" y="4192738"/>
                </a:cubicBezTo>
                <a:lnTo>
                  <a:pt x="5506406" y="4192849"/>
                </a:lnTo>
                <a:lnTo>
                  <a:pt x="5504602" y="4193845"/>
                </a:lnTo>
                <a:cubicBezTo>
                  <a:pt x="5503400" y="4194398"/>
                  <a:pt x="5501897" y="4194509"/>
                  <a:pt x="5500393" y="4193956"/>
                </a:cubicBezTo>
                <a:lnTo>
                  <a:pt x="5499191" y="4193624"/>
                </a:lnTo>
                <a:lnTo>
                  <a:pt x="5498590" y="4193624"/>
                </a:lnTo>
                <a:lnTo>
                  <a:pt x="5496486" y="4194509"/>
                </a:lnTo>
                <a:lnTo>
                  <a:pt x="5497088" y="4195726"/>
                </a:lnTo>
                <a:lnTo>
                  <a:pt x="5491076" y="4196612"/>
                </a:lnTo>
                <a:lnTo>
                  <a:pt x="5490173" y="4196944"/>
                </a:lnTo>
                <a:cubicBezTo>
                  <a:pt x="5487167" y="4198050"/>
                  <a:pt x="5484161" y="4199379"/>
                  <a:pt x="5480554" y="4199932"/>
                </a:cubicBezTo>
                <a:cubicBezTo>
                  <a:pt x="5479651" y="4202367"/>
                  <a:pt x="5478750" y="4203916"/>
                  <a:pt x="5478148" y="4205576"/>
                </a:cubicBezTo>
                <a:lnTo>
                  <a:pt x="5478148" y="4207458"/>
                </a:lnTo>
                <a:lnTo>
                  <a:pt x="5481455" y="4212659"/>
                </a:lnTo>
                <a:lnTo>
                  <a:pt x="5481756" y="4214319"/>
                </a:lnTo>
                <a:lnTo>
                  <a:pt x="5483859" y="4216422"/>
                </a:lnTo>
                <a:cubicBezTo>
                  <a:pt x="5490173" y="4220295"/>
                  <a:pt x="5496486" y="4221623"/>
                  <a:pt x="5503400" y="4229481"/>
                </a:cubicBezTo>
                <a:cubicBezTo>
                  <a:pt x="5507007" y="4226382"/>
                  <a:pt x="5509112" y="4221623"/>
                  <a:pt x="5516026" y="4218746"/>
                </a:cubicBezTo>
                <a:cubicBezTo>
                  <a:pt x="5525045" y="4232580"/>
                  <a:pt x="5512419" y="4243315"/>
                  <a:pt x="5513321" y="4254936"/>
                </a:cubicBezTo>
                <a:lnTo>
                  <a:pt x="5517228" y="4260248"/>
                </a:lnTo>
                <a:lnTo>
                  <a:pt x="5518731" y="4257592"/>
                </a:lnTo>
                <a:cubicBezTo>
                  <a:pt x="5520836" y="4255932"/>
                  <a:pt x="5523241" y="4254714"/>
                  <a:pt x="5525345" y="4253275"/>
                </a:cubicBezTo>
                <a:cubicBezTo>
                  <a:pt x="5524142" y="4248185"/>
                  <a:pt x="5535567" y="4251283"/>
                  <a:pt x="5534664" y="4246192"/>
                </a:cubicBezTo>
                <a:lnTo>
                  <a:pt x="5540075" y="4245196"/>
                </a:lnTo>
                <a:lnTo>
                  <a:pt x="5539173" y="4243536"/>
                </a:lnTo>
                <a:lnTo>
                  <a:pt x="5537971" y="4241212"/>
                </a:lnTo>
                <a:lnTo>
                  <a:pt x="5535265" y="4245086"/>
                </a:lnTo>
                <a:cubicBezTo>
                  <a:pt x="5533762" y="4246303"/>
                  <a:pt x="5530156" y="4247299"/>
                  <a:pt x="5526247" y="4247631"/>
                </a:cubicBezTo>
                <a:cubicBezTo>
                  <a:pt x="5522338" y="4247963"/>
                  <a:pt x="5518431" y="4247410"/>
                  <a:pt x="5516026" y="4245750"/>
                </a:cubicBezTo>
                <a:cubicBezTo>
                  <a:pt x="5517830" y="4242983"/>
                  <a:pt x="5519333" y="4240216"/>
                  <a:pt x="5521136" y="4237449"/>
                </a:cubicBezTo>
                <a:cubicBezTo>
                  <a:pt x="5521136" y="4238999"/>
                  <a:pt x="5535567" y="4237671"/>
                  <a:pt x="5535567" y="4237671"/>
                </a:cubicBezTo>
                <a:lnTo>
                  <a:pt x="5537370" y="4240438"/>
                </a:lnTo>
                <a:lnTo>
                  <a:pt x="5525646" y="4218635"/>
                </a:lnTo>
                <a:cubicBezTo>
                  <a:pt x="5534965" y="4207126"/>
                  <a:pt x="5534062" y="4186209"/>
                  <a:pt x="5542480" y="4172928"/>
                </a:cubicBezTo>
                <a:lnTo>
                  <a:pt x="5547891" y="4168391"/>
                </a:lnTo>
                <a:lnTo>
                  <a:pt x="5547591" y="4167948"/>
                </a:lnTo>
                <a:cubicBezTo>
                  <a:pt x="5546388" y="4167395"/>
                  <a:pt x="5545186" y="4167062"/>
                  <a:pt x="5543081" y="4167395"/>
                </a:cubicBezTo>
                <a:close/>
                <a:moveTo>
                  <a:pt x="6339711" y="4167173"/>
                </a:moveTo>
                <a:cubicBezTo>
                  <a:pt x="6341214" y="4167395"/>
                  <a:pt x="6340914" y="4168833"/>
                  <a:pt x="6342416" y="4169055"/>
                </a:cubicBezTo>
                <a:cubicBezTo>
                  <a:pt x="6342416" y="4169055"/>
                  <a:pt x="6342416" y="4170493"/>
                  <a:pt x="6342416" y="4170493"/>
                </a:cubicBezTo>
                <a:cubicBezTo>
                  <a:pt x="6343017" y="4170604"/>
                  <a:pt x="6343017" y="4170604"/>
                  <a:pt x="6342717" y="4170936"/>
                </a:cubicBezTo>
                <a:cubicBezTo>
                  <a:pt x="6342416" y="4171268"/>
                  <a:pt x="6341515" y="4171932"/>
                  <a:pt x="6340613" y="4173260"/>
                </a:cubicBezTo>
                <a:cubicBezTo>
                  <a:pt x="6339110" y="4174477"/>
                  <a:pt x="6339110" y="4175916"/>
                  <a:pt x="6337606" y="4174256"/>
                </a:cubicBezTo>
                <a:cubicBezTo>
                  <a:pt x="6336103" y="4172596"/>
                  <a:pt x="6336103" y="4172485"/>
                  <a:pt x="6336404" y="4168169"/>
                </a:cubicBezTo>
                <a:cubicBezTo>
                  <a:pt x="6337906" y="4169829"/>
                  <a:pt x="6337906" y="4169829"/>
                  <a:pt x="6339410" y="4168612"/>
                </a:cubicBezTo>
                <a:cubicBezTo>
                  <a:pt x="6339410" y="4168612"/>
                  <a:pt x="6339410" y="4168612"/>
                  <a:pt x="6339711" y="4167173"/>
                </a:cubicBezTo>
                <a:close/>
                <a:moveTo>
                  <a:pt x="5902918" y="4165734"/>
                </a:moveTo>
                <a:cubicBezTo>
                  <a:pt x="5902617" y="4179236"/>
                  <a:pt x="5898107" y="4185766"/>
                  <a:pt x="5893297" y="4190857"/>
                </a:cubicBezTo>
                <a:lnTo>
                  <a:pt x="5887285" y="4197608"/>
                </a:lnTo>
                <a:lnTo>
                  <a:pt x="5889690" y="4198936"/>
                </a:lnTo>
                <a:cubicBezTo>
                  <a:pt x="5890593" y="4203363"/>
                  <a:pt x="5888187" y="4208564"/>
                  <a:pt x="5884279" y="4212659"/>
                </a:cubicBezTo>
                <a:cubicBezTo>
                  <a:pt x="5877064" y="4208454"/>
                  <a:pt x="5875862" y="4202588"/>
                  <a:pt x="5877364" y="4194398"/>
                </a:cubicBezTo>
                <a:lnTo>
                  <a:pt x="5882175" y="4195284"/>
                </a:lnTo>
                <a:lnTo>
                  <a:pt x="5883377" y="4188754"/>
                </a:lnTo>
                <a:cubicBezTo>
                  <a:pt x="5887285" y="4179790"/>
                  <a:pt x="5896003" y="4168612"/>
                  <a:pt x="5902918" y="4165734"/>
                </a:cubicBezTo>
                <a:close/>
                <a:moveTo>
                  <a:pt x="5367823" y="4165070"/>
                </a:moveTo>
                <a:lnTo>
                  <a:pt x="5368724" y="4167948"/>
                </a:lnTo>
                <a:cubicBezTo>
                  <a:pt x="5368724" y="4169608"/>
                  <a:pt x="5368123" y="4171489"/>
                  <a:pt x="5367521" y="4172043"/>
                </a:cubicBezTo>
                <a:cubicBezTo>
                  <a:pt x="5364216" y="4174699"/>
                  <a:pt x="5362412" y="4176027"/>
                  <a:pt x="5359406" y="4175695"/>
                </a:cubicBezTo>
                <a:cubicBezTo>
                  <a:pt x="5357602" y="4177023"/>
                  <a:pt x="5356098" y="4178240"/>
                  <a:pt x="5354596" y="4178904"/>
                </a:cubicBezTo>
                <a:lnTo>
                  <a:pt x="5350687" y="4177798"/>
                </a:lnTo>
                <a:lnTo>
                  <a:pt x="5353093" y="4179015"/>
                </a:lnTo>
                <a:cubicBezTo>
                  <a:pt x="5354295" y="4179790"/>
                  <a:pt x="5354896" y="4180786"/>
                  <a:pt x="5354596" y="4181782"/>
                </a:cubicBezTo>
                <a:cubicBezTo>
                  <a:pt x="5353394" y="4182556"/>
                  <a:pt x="5354295" y="4183774"/>
                  <a:pt x="5353093" y="4184659"/>
                </a:cubicBezTo>
                <a:cubicBezTo>
                  <a:pt x="5352492" y="4185655"/>
                  <a:pt x="5351890" y="4186209"/>
                  <a:pt x="5351289" y="4186762"/>
                </a:cubicBezTo>
                <a:cubicBezTo>
                  <a:pt x="5353995" y="4184659"/>
                  <a:pt x="5357001" y="4183110"/>
                  <a:pt x="5360307" y="4182999"/>
                </a:cubicBezTo>
                <a:cubicBezTo>
                  <a:pt x="5358504" y="4188422"/>
                  <a:pt x="5356700" y="4193513"/>
                  <a:pt x="5355197" y="4199157"/>
                </a:cubicBezTo>
                <a:lnTo>
                  <a:pt x="5353995" y="4209118"/>
                </a:lnTo>
                <a:lnTo>
                  <a:pt x="5354896" y="4209560"/>
                </a:lnTo>
                <a:lnTo>
                  <a:pt x="5356700" y="4208896"/>
                </a:lnTo>
                <a:lnTo>
                  <a:pt x="5356700" y="4208343"/>
                </a:lnTo>
                <a:cubicBezTo>
                  <a:pt x="5360007" y="4204359"/>
                  <a:pt x="5358504" y="4199711"/>
                  <a:pt x="5362111" y="4195616"/>
                </a:cubicBezTo>
                <a:cubicBezTo>
                  <a:pt x="5362111" y="4195616"/>
                  <a:pt x="5362111" y="4195726"/>
                  <a:pt x="5363615" y="4197386"/>
                </a:cubicBezTo>
                <a:cubicBezTo>
                  <a:pt x="5361810" y="4200817"/>
                  <a:pt x="5361810" y="4204469"/>
                  <a:pt x="5361509" y="4208122"/>
                </a:cubicBezTo>
                <a:lnTo>
                  <a:pt x="5360608" y="4210335"/>
                </a:lnTo>
                <a:lnTo>
                  <a:pt x="5364817" y="4209118"/>
                </a:lnTo>
                <a:cubicBezTo>
                  <a:pt x="5372632" y="4205908"/>
                  <a:pt x="5380149" y="4202367"/>
                  <a:pt x="5389767" y="4203252"/>
                </a:cubicBezTo>
                <a:lnTo>
                  <a:pt x="5397284" y="4204912"/>
                </a:lnTo>
                <a:lnTo>
                  <a:pt x="5395178" y="4198050"/>
                </a:lnTo>
                <a:lnTo>
                  <a:pt x="5394577" y="4196390"/>
                </a:lnTo>
                <a:lnTo>
                  <a:pt x="5390369" y="4196390"/>
                </a:lnTo>
                <a:cubicBezTo>
                  <a:pt x="5390369" y="4196390"/>
                  <a:pt x="5382252" y="4193624"/>
                  <a:pt x="5383454" y="4188201"/>
                </a:cubicBezTo>
                <a:cubicBezTo>
                  <a:pt x="5383154" y="4187537"/>
                  <a:pt x="5384657" y="4186651"/>
                  <a:pt x="5386161" y="4185877"/>
                </a:cubicBezTo>
                <a:lnTo>
                  <a:pt x="5390669" y="4184991"/>
                </a:lnTo>
                <a:lnTo>
                  <a:pt x="5388865" y="4178683"/>
                </a:lnTo>
                <a:lnTo>
                  <a:pt x="5385559" y="4175363"/>
                </a:lnTo>
                <a:lnTo>
                  <a:pt x="5385258" y="4174256"/>
                </a:lnTo>
                <a:lnTo>
                  <a:pt x="5383454" y="4173592"/>
                </a:lnTo>
                <a:cubicBezTo>
                  <a:pt x="5383454" y="4173592"/>
                  <a:pt x="5383454" y="4173592"/>
                  <a:pt x="5383454" y="4172153"/>
                </a:cubicBezTo>
                <a:lnTo>
                  <a:pt x="5384958" y="4173149"/>
                </a:lnTo>
                <a:lnTo>
                  <a:pt x="5384657" y="4171379"/>
                </a:lnTo>
                <a:lnTo>
                  <a:pt x="5383454" y="4171821"/>
                </a:lnTo>
                <a:cubicBezTo>
                  <a:pt x="5383454" y="4171821"/>
                  <a:pt x="5382853" y="4170715"/>
                  <a:pt x="5383454" y="4168833"/>
                </a:cubicBezTo>
                <a:cubicBezTo>
                  <a:pt x="5383454" y="4168833"/>
                  <a:pt x="5384055" y="4169055"/>
                  <a:pt x="5384357" y="4169387"/>
                </a:cubicBezTo>
                <a:lnTo>
                  <a:pt x="5384657" y="4170715"/>
                </a:lnTo>
                <a:lnTo>
                  <a:pt x="5387663" y="4166066"/>
                </a:lnTo>
                <a:lnTo>
                  <a:pt x="5381952" y="4167395"/>
                </a:lnTo>
                <a:close/>
                <a:moveTo>
                  <a:pt x="6237501" y="4164185"/>
                </a:moveTo>
                <a:cubicBezTo>
                  <a:pt x="6240809" y="4164738"/>
                  <a:pt x="6243213" y="4167727"/>
                  <a:pt x="6243213" y="4167727"/>
                </a:cubicBezTo>
                <a:cubicBezTo>
                  <a:pt x="6243213" y="4167727"/>
                  <a:pt x="6243213" y="4167616"/>
                  <a:pt x="6243513" y="4166066"/>
                </a:cubicBezTo>
                <a:cubicBezTo>
                  <a:pt x="6243213" y="4169165"/>
                  <a:pt x="6244716" y="4172375"/>
                  <a:pt x="6244416" y="4175363"/>
                </a:cubicBezTo>
                <a:cubicBezTo>
                  <a:pt x="6233894" y="4185877"/>
                  <a:pt x="6231189" y="4181007"/>
                  <a:pt x="6225177" y="4175584"/>
                </a:cubicBezTo>
                <a:cubicBezTo>
                  <a:pt x="6226980" y="4172817"/>
                  <a:pt x="6225778" y="4168059"/>
                  <a:pt x="6229085" y="4165513"/>
                </a:cubicBezTo>
                <a:cubicBezTo>
                  <a:pt x="6229085" y="4165513"/>
                  <a:pt x="6230888" y="4164296"/>
                  <a:pt x="6233894" y="4164738"/>
                </a:cubicBezTo>
                <a:cubicBezTo>
                  <a:pt x="6235097" y="4164185"/>
                  <a:pt x="6236299" y="4164074"/>
                  <a:pt x="6237501" y="4164185"/>
                </a:cubicBezTo>
                <a:close/>
                <a:moveTo>
                  <a:pt x="5891795" y="4159980"/>
                </a:moveTo>
                <a:cubicBezTo>
                  <a:pt x="5893297" y="4161861"/>
                  <a:pt x="5893297" y="4161861"/>
                  <a:pt x="5893297" y="4161861"/>
                </a:cubicBezTo>
                <a:cubicBezTo>
                  <a:pt x="5886384" y="4164738"/>
                  <a:pt x="5883377" y="4174588"/>
                  <a:pt x="5877064" y="4180786"/>
                </a:cubicBezTo>
                <a:cubicBezTo>
                  <a:pt x="5874960" y="4182888"/>
                  <a:pt x="5872555" y="4184659"/>
                  <a:pt x="5869549" y="4185545"/>
                </a:cubicBezTo>
                <a:cubicBezTo>
                  <a:pt x="5869549" y="4185545"/>
                  <a:pt x="5869549" y="4185434"/>
                  <a:pt x="5871352" y="4183995"/>
                </a:cubicBezTo>
                <a:cubicBezTo>
                  <a:pt x="5871352" y="4183995"/>
                  <a:pt x="5869549" y="4185545"/>
                  <a:pt x="5868046" y="4183663"/>
                </a:cubicBezTo>
                <a:cubicBezTo>
                  <a:pt x="5873457" y="4171157"/>
                  <a:pt x="5889991" y="4161418"/>
                  <a:pt x="5891795" y="4159980"/>
                </a:cubicBezTo>
                <a:close/>
                <a:moveTo>
                  <a:pt x="596764" y="4159758"/>
                </a:moveTo>
                <a:cubicBezTo>
                  <a:pt x="612396" y="4164849"/>
                  <a:pt x="611194" y="4175141"/>
                  <a:pt x="604881" y="4179236"/>
                </a:cubicBezTo>
                <a:cubicBezTo>
                  <a:pt x="602776" y="4180564"/>
                  <a:pt x="600071" y="4181118"/>
                  <a:pt x="597065" y="4180675"/>
                </a:cubicBezTo>
                <a:cubicBezTo>
                  <a:pt x="593458" y="4180011"/>
                  <a:pt x="589249" y="4177576"/>
                  <a:pt x="586243" y="4171932"/>
                </a:cubicBezTo>
                <a:cubicBezTo>
                  <a:pt x="588647" y="4164960"/>
                  <a:pt x="593157" y="4163853"/>
                  <a:pt x="596764" y="4159758"/>
                </a:cubicBezTo>
                <a:close/>
                <a:moveTo>
                  <a:pt x="1230160" y="4158873"/>
                </a:moveTo>
                <a:cubicBezTo>
                  <a:pt x="1231963" y="4162193"/>
                  <a:pt x="1235872" y="4166288"/>
                  <a:pt x="1236774" y="4172043"/>
                </a:cubicBezTo>
                <a:cubicBezTo>
                  <a:pt x="1223246" y="4187537"/>
                  <a:pt x="1216030" y="4160090"/>
                  <a:pt x="1230160" y="4158873"/>
                </a:cubicBezTo>
                <a:close/>
                <a:moveTo>
                  <a:pt x="777133" y="4156549"/>
                </a:moveTo>
                <a:cubicBezTo>
                  <a:pt x="778637" y="4156327"/>
                  <a:pt x="780741" y="4156659"/>
                  <a:pt x="783145" y="4157655"/>
                </a:cubicBezTo>
                <a:cubicBezTo>
                  <a:pt x="784649" y="4162082"/>
                  <a:pt x="781342" y="4170825"/>
                  <a:pt x="777133" y="4171932"/>
                </a:cubicBezTo>
                <a:cubicBezTo>
                  <a:pt x="775030" y="4170825"/>
                  <a:pt x="772925" y="4169829"/>
                  <a:pt x="771121" y="4168723"/>
                </a:cubicBezTo>
                <a:cubicBezTo>
                  <a:pt x="770219" y="4162968"/>
                  <a:pt x="772022" y="4157213"/>
                  <a:pt x="777133" y="4156549"/>
                </a:cubicBezTo>
                <a:close/>
                <a:moveTo>
                  <a:pt x="2202949" y="4154557"/>
                </a:moveTo>
                <a:cubicBezTo>
                  <a:pt x="2206557" y="4154667"/>
                  <a:pt x="2210766" y="4156217"/>
                  <a:pt x="2214975" y="4156659"/>
                </a:cubicBezTo>
                <a:cubicBezTo>
                  <a:pt x="2212570" y="4161197"/>
                  <a:pt x="2209864" y="4163410"/>
                  <a:pt x="2206256" y="4163964"/>
                </a:cubicBezTo>
                <a:cubicBezTo>
                  <a:pt x="2202949" y="4164517"/>
                  <a:pt x="2199042" y="4163300"/>
                  <a:pt x="2194232" y="4160754"/>
                </a:cubicBezTo>
                <a:cubicBezTo>
                  <a:pt x="2196336" y="4155442"/>
                  <a:pt x="2199643" y="4154335"/>
                  <a:pt x="2202949" y="4154557"/>
                </a:cubicBezTo>
                <a:close/>
                <a:moveTo>
                  <a:pt x="1173945" y="4154557"/>
                </a:moveTo>
                <a:cubicBezTo>
                  <a:pt x="1177553" y="4154667"/>
                  <a:pt x="1181761" y="4156217"/>
                  <a:pt x="1185970" y="4156659"/>
                </a:cubicBezTo>
                <a:cubicBezTo>
                  <a:pt x="1183565" y="4161197"/>
                  <a:pt x="1180559" y="4163410"/>
                  <a:pt x="1177252" y="4163964"/>
                </a:cubicBezTo>
                <a:cubicBezTo>
                  <a:pt x="1173945" y="4164517"/>
                  <a:pt x="1169736" y="4163300"/>
                  <a:pt x="1165227" y="4160754"/>
                </a:cubicBezTo>
                <a:cubicBezTo>
                  <a:pt x="1167332" y="4155442"/>
                  <a:pt x="1170338" y="4154335"/>
                  <a:pt x="1173945" y="4154557"/>
                </a:cubicBezTo>
                <a:close/>
                <a:moveTo>
                  <a:pt x="2107955" y="4154003"/>
                </a:moveTo>
                <a:cubicBezTo>
                  <a:pt x="2113367" y="4162082"/>
                  <a:pt x="2117274" y="4169829"/>
                  <a:pt x="2119980" y="4177244"/>
                </a:cubicBezTo>
                <a:lnTo>
                  <a:pt x="2122685" y="4196722"/>
                </a:lnTo>
                <a:lnTo>
                  <a:pt x="2122385" y="4189639"/>
                </a:lnTo>
                <a:cubicBezTo>
                  <a:pt x="2122986" y="4188090"/>
                  <a:pt x="2123888" y="4186873"/>
                  <a:pt x="2125691" y="4186098"/>
                </a:cubicBezTo>
                <a:cubicBezTo>
                  <a:pt x="2135612" y="4181118"/>
                  <a:pt x="2149741" y="4188643"/>
                  <a:pt x="2155753" y="4201813"/>
                </a:cubicBezTo>
                <a:cubicBezTo>
                  <a:pt x="2165674" y="4221955"/>
                  <a:pt x="2160864" y="4234683"/>
                  <a:pt x="2160864" y="4234683"/>
                </a:cubicBezTo>
                <a:cubicBezTo>
                  <a:pt x="2142827" y="4241876"/>
                  <a:pt x="2133207" y="4221845"/>
                  <a:pt x="2127195" y="4208675"/>
                </a:cubicBezTo>
                <a:lnTo>
                  <a:pt x="2122986" y="4198714"/>
                </a:lnTo>
                <a:lnTo>
                  <a:pt x="2120582" y="4211774"/>
                </a:lnTo>
                <a:cubicBezTo>
                  <a:pt x="2107955" y="4209118"/>
                  <a:pt x="2106753" y="4195062"/>
                  <a:pt x="2103446" y="4185213"/>
                </a:cubicBezTo>
                <a:cubicBezTo>
                  <a:pt x="2098937" y="4188090"/>
                  <a:pt x="2094127" y="4192296"/>
                  <a:pt x="2089016" y="4194620"/>
                </a:cubicBezTo>
                <a:lnTo>
                  <a:pt x="2087214" y="4195062"/>
                </a:lnTo>
                <a:lnTo>
                  <a:pt x="2089617" y="4195505"/>
                </a:lnTo>
                <a:cubicBezTo>
                  <a:pt x="2091722" y="4196501"/>
                  <a:pt x="2094127" y="4197829"/>
                  <a:pt x="2095931" y="4198936"/>
                </a:cubicBezTo>
                <a:cubicBezTo>
                  <a:pt x="2096833" y="4203363"/>
                  <a:pt x="2094728" y="4208564"/>
                  <a:pt x="2090821" y="4212659"/>
                </a:cubicBezTo>
                <a:lnTo>
                  <a:pt x="2089617" y="4211442"/>
                </a:lnTo>
                <a:lnTo>
                  <a:pt x="2083906" y="4217086"/>
                </a:lnTo>
                <a:lnTo>
                  <a:pt x="2088716" y="4218414"/>
                </a:lnTo>
                <a:cubicBezTo>
                  <a:pt x="2090220" y="4218525"/>
                  <a:pt x="2088716" y="4223062"/>
                  <a:pt x="2088716" y="4223062"/>
                </a:cubicBezTo>
                <a:cubicBezTo>
                  <a:pt x="2087214" y="4224501"/>
                  <a:pt x="2082103" y="4221181"/>
                  <a:pt x="2080599" y="4221181"/>
                </a:cubicBezTo>
                <a:lnTo>
                  <a:pt x="2081200" y="4219299"/>
                </a:lnTo>
                <a:lnTo>
                  <a:pt x="2079998" y="4220185"/>
                </a:lnTo>
                <a:cubicBezTo>
                  <a:pt x="2078795" y="4220738"/>
                  <a:pt x="2077293" y="4220849"/>
                  <a:pt x="2075489" y="4220295"/>
                </a:cubicBezTo>
                <a:cubicBezTo>
                  <a:pt x="2075188" y="4215647"/>
                  <a:pt x="2081200" y="4210446"/>
                  <a:pt x="2086912" y="4209118"/>
                </a:cubicBezTo>
                <a:lnTo>
                  <a:pt x="2087514" y="4209118"/>
                </a:lnTo>
                <a:lnTo>
                  <a:pt x="2083906" y="4205023"/>
                </a:lnTo>
                <a:lnTo>
                  <a:pt x="2083906" y="4195837"/>
                </a:lnTo>
                <a:lnTo>
                  <a:pt x="2081802" y="4196390"/>
                </a:lnTo>
                <a:cubicBezTo>
                  <a:pt x="2079397" y="4196280"/>
                  <a:pt x="2076992" y="4195173"/>
                  <a:pt x="2074888" y="4192849"/>
                </a:cubicBezTo>
                <a:cubicBezTo>
                  <a:pt x="2075188" y="4180675"/>
                  <a:pt x="2091422" y="4179568"/>
                  <a:pt x="2100740" y="4170825"/>
                </a:cubicBezTo>
                <a:cubicBezTo>
                  <a:pt x="2103145" y="4165292"/>
                  <a:pt x="2097434" y="4159426"/>
                  <a:pt x="2107955" y="4154003"/>
                </a:cubicBezTo>
                <a:close/>
                <a:moveTo>
                  <a:pt x="803287" y="4153671"/>
                </a:moveTo>
                <a:cubicBezTo>
                  <a:pt x="804790" y="4153450"/>
                  <a:pt x="806293" y="4153561"/>
                  <a:pt x="807796" y="4153893"/>
                </a:cubicBezTo>
                <a:cubicBezTo>
                  <a:pt x="810201" y="4154667"/>
                  <a:pt x="812906" y="4156438"/>
                  <a:pt x="815311" y="4159426"/>
                </a:cubicBezTo>
                <a:cubicBezTo>
                  <a:pt x="816815" y="4165513"/>
                  <a:pt x="814410" y="4170936"/>
                  <a:pt x="810501" y="4173371"/>
                </a:cubicBezTo>
                <a:lnTo>
                  <a:pt x="803588" y="4174367"/>
                </a:lnTo>
                <a:lnTo>
                  <a:pt x="803888" y="4176802"/>
                </a:lnTo>
                <a:cubicBezTo>
                  <a:pt x="801483" y="4179347"/>
                  <a:pt x="797876" y="4179015"/>
                  <a:pt x="794569" y="4178794"/>
                </a:cubicBezTo>
                <a:cubicBezTo>
                  <a:pt x="791563" y="4178130"/>
                  <a:pt x="790360" y="4177134"/>
                  <a:pt x="790060" y="4175584"/>
                </a:cubicBezTo>
                <a:cubicBezTo>
                  <a:pt x="789759" y="4174035"/>
                  <a:pt x="790661" y="4172153"/>
                  <a:pt x="791563" y="4170161"/>
                </a:cubicBezTo>
                <a:lnTo>
                  <a:pt x="794569" y="4167505"/>
                </a:lnTo>
                <a:lnTo>
                  <a:pt x="794569" y="4162414"/>
                </a:lnTo>
                <a:cubicBezTo>
                  <a:pt x="795471" y="4157655"/>
                  <a:pt x="799078" y="4154446"/>
                  <a:pt x="803287" y="4153671"/>
                </a:cubicBezTo>
                <a:close/>
                <a:moveTo>
                  <a:pt x="630734" y="4153229"/>
                </a:moveTo>
                <a:cubicBezTo>
                  <a:pt x="636747" y="4153671"/>
                  <a:pt x="643360" y="4158541"/>
                  <a:pt x="643961" y="4166952"/>
                </a:cubicBezTo>
                <a:cubicBezTo>
                  <a:pt x="639152" y="4171268"/>
                  <a:pt x="634642" y="4172596"/>
                  <a:pt x="631335" y="4174035"/>
                </a:cubicBezTo>
                <a:cubicBezTo>
                  <a:pt x="628029" y="4170825"/>
                  <a:pt x="625022" y="4169165"/>
                  <a:pt x="621715" y="4165956"/>
                </a:cubicBezTo>
                <a:cubicBezTo>
                  <a:pt x="619612" y="4156770"/>
                  <a:pt x="624721" y="4152786"/>
                  <a:pt x="630734" y="4153229"/>
                </a:cubicBezTo>
                <a:close/>
                <a:moveTo>
                  <a:pt x="2079698" y="4150572"/>
                </a:moveTo>
                <a:cubicBezTo>
                  <a:pt x="2087214" y="4152786"/>
                  <a:pt x="2090220" y="4156549"/>
                  <a:pt x="2090520" y="4160201"/>
                </a:cubicBezTo>
                <a:cubicBezTo>
                  <a:pt x="2090821" y="4163964"/>
                  <a:pt x="2088115" y="4167616"/>
                  <a:pt x="2084808" y="4169719"/>
                </a:cubicBezTo>
                <a:cubicBezTo>
                  <a:pt x="2082403" y="4171157"/>
                  <a:pt x="2079698" y="4171932"/>
                  <a:pt x="2076992" y="4171489"/>
                </a:cubicBezTo>
                <a:cubicBezTo>
                  <a:pt x="2073084" y="4171047"/>
                  <a:pt x="2069477" y="4168501"/>
                  <a:pt x="2067071" y="4163078"/>
                </a:cubicBezTo>
                <a:cubicBezTo>
                  <a:pt x="2070680" y="4155995"/>
                  <a:pt x="2075489" y="4154778"/>
                  <a:pt x="2079698" y="4150572"/>
                </a:cubicBezTo>
                <a:close/>
                <a:moveTo>
                  <a:pt x="933754" y="4149576"/>
                </a:moveTo>
                <a:cubicBezTo>
                  <a:pt x="937661" y="4148802"/>
                  <a:pt x="942472" y="4150351"/>
                  <a:pt x="941570" y="4154999"/>
                </a:cubicBezTo>
                <a:cubicBezTo>
                  <a:pt x="938564" y="4156659"/>
                  <a:pt x="934355" y="4157545"/>
                  <a:pt x="929845" y="4158319"/>
                </a:cubicBezTo>
                <a:cubicBezTo>
                  <a:pt x="926238" y="4153450"/>
                  <a:pt x="929545" y="4150351"/>
                  <a:pt x="933754" y="4149576"/>
                </a:cubicBezTo>
                <a:close/>
                <a:moveTo>
                  <a:pt x="1205810" y="4148691"/>
                </a:moveTo>
                <a:cubicBezTo>
                  <a:pt x="1215730" y="4149023"/>
                  <a:pt x="1222645" y="4161197"/>
                  <a:pt x="1214828" y="4168280"/>
                </a:cubicBezTo>
                <a:cubicBezTo>
                  <a:pt x="1211522" y="4166620"/>
                  <a:pt x="1208215" y="4166509"/>
                  <a:pt x="1204908" y="4164849"/>
                </a:cubicBezTo>
                <a:cubicBezTo>
                  <a:pt x="1204607" y="4158983"/>
                  <a:pt x="1197994" y="4154225"/>
                  <a:pt x="1205810" y="4148691"/>
                </a:cubicBezTo>
                <a:close/>
                <a:moveTo>
                  <a:pt x="6316262" y="4147031"/>
                </a:moveTo>
                <a:cubicBezTo>
                  <a:pt x="6316262" y="4152233"/>
                  <a:pt x="6319269" y="4156549"/>
                  <a:pt x="6320171" y="4159648"/>
                </a:cubicBezTo>
                <a:cubicBezTo>
                  <a:pt x="6316864" y="4165734"/>
                  <a:pt x="6312355" y="4168612"/>
                  <a:pt x="6303937" y="4169165"/>
                </a:cubicBezTo>
                <a:cubicBezTo>
                  <a:pt x="6297625" y="4160533"/>
                  <a:pt x="6298827" y="4163742"/>
                  <a:pt x="6297024" y="4152233"/>
                </a:cubicBezTo>
                <a:cubicBezTo>
                  <a:pt x="6303336" y="4150462"/>
                  <a:pt x="6309949" y="4148802"/>
                  <a:pt x="6316262" y="4147031"/>
                </a:cubicBezTo>
                <a:close/>
                <a:moveTo>
                  <a:pt x="5886083" y="4146256"/>
                </a:moveTo>
                <a:lnTo>
                  <a:pt x="5885482" y="4146699"/>
                </a:lnTo>
                <a:lnTo>
                  <a:pt x="5886083" y="4146920"/>
                </a:lnTo>
                <a:close/>
                <a:moveTo>
                  <a:pt x="6132286" y="4146146"/>
                </a:moveTo>
                <a:cubicBezTo>
                  <a:pt x="6133187" y="4146478"/>
                  <a:pt x="6134391" y="4147031"/>
                  <a:pt x="6135894" y="4147142"/>
                </a:cubicBezTo>
                <a:cubicBezTo>
                  <a:pt x="6140704" y="4149355"/>
                  <a:pt x="6144912" y="4154778"/>
                  <a:pt x="6144310" y="4157987"/>
                </a:cubicBezTo>
                <a:cubicBezTo>
                  <a:pt x="6144010" y="4161197"/>
                  <a:pt x="6142207" y="4162746"/>
                  <a:pt x="6142207" y="4162746"/>
                </a:cubicBezTo>
                <a:cubicBezTo>
                  <a:pt x="6133790" y="4163410"/>
                  <a:pt x="6125673" y="4160644"/>
                  <a:pt x="6127175" y="4151015"/>
                </a:cubicBezTo>
                <a:cubicBezTo>
                  <a:pt x="6127476" y="4147806"/>
                  <a:pt x="6128078" y="4144596"/>
                  <a:pt x="6129281" y="4146367"/>
                </a:cubicBezTo>
                <a:cubicBezTo>
                  <a:pt x="6130183" y="4145703"/>
                  <a:pt x="6131084" y="4145814"/>
                  <a:pt x="6132286" y="4146146"/>
                </a:cubicBezTo>
                <a:close/>
                <a:moveTo>
                  <a:pt x="1354013" y="4146146"/>
                </a:moveTo>
                <a:lnTo>
                  <a:pt x="1353713" y="4146256"/>
                </a:lnTo>
                <a:lnTo>
                  <a:pt x="1354314" y="4146256"/>
                </a:lnTo>
                <a:close/>
                <a:moveTo>
                  <a:pt x="704685" y="4140059"/>
                </a:moveTo>
                <a:cubicBezTo>
                  <a:pt x="709796" y="4139284"/>
                  <a:pt x="715207" y="4155442"/>
                  <a:pt x="700477" y="4148027"/>
                </a:cubicBezTo>
                <a:cubicBezTo>
                  <a:pt x="701378" y="4142493"/>
                  <a:pt x="703182" y="4140391"/>
                  <a:pt x="704685" y="4140059"/>
                </a:cubicBezTo>
                <a:close/>
                <a:moveTo>
                  <a:pt x="1262927" y="4138288"/>
                </a:moveTo>
                <a:lnTo>
                  <a:pt x="1269240" y="4143379"/>
                </a:lnTo>
                <a:lnTo>
                  <a:pt x="1268037" y="4150240"/>
                </a:lnTo>
                <a:lnTo>
                  <a:pt x="1277657" y="4147031"/>
                </a:lnTo>
                <a:cubicBezTo>
                  <a:pt x="1280964" y="4148027"/>
                  <a:pt x="1278859" y="4151015"/>
                  <a:pt x="1278559" y="4154667"/>
                </a:cubicBezTo>
                <a:cubicBezTo>
                  <a:pt x="1281264" y="4154225"/>
                  <a:pt x="1281565" y="4149466"/>
                  <a:pt x="1284872" y="4150462"/>
                </a:cubicBezTo>
                <a:cubicBezTo>
                  <a:pt x="1282466" y="4147252"/>
                  <a:pt x="1274651" y="4142493"/>
                  <a:pt x="1267737" y="4139063"/>
                </a:cubicBezTo>
                <a:close/>
                <a:moveTo>
                  <a:pt x="2291631" y="4138067"/>
                </a:moveTo>
                <a:cubicBezTo>
                  <a:pt x="2294336" y="4138620"/>
                  <a:pt x="2296741" y="4140391"/>
                  <a:pt x="2298545" y="4143379"/>
                </a:cubicBezTo>
                <a:cubicBezTo>
                  <a:pt x="2298846" y="4149466"/>
                  <a:pt x="2295840" y="4154889"/>
                  <a:pt x="2291631" y="4157434"/>
                </a:cubicBezTo>
                <a:cubicBezTo>
                  <a:pt x="2287122" y="4159980"/>
                  <a:pt x="2281411" y="4159648"/>
                  <a:pt x="2275999" y="4154003"/>
                </a:cubicBezTo>
                <a:cubicBezTo>
                  <a:pt x="2275097" y="4143822"/>
                  <a:pt x="2284115" y="4136185"/>
                  <a:pt x="2291631" y="4138067"/>
                </a:cubicBezTo>
                <a:close/>
                <a:moveTo>
                  <a:pt x="647268" y="4137735"/>
                </a:moveTo>
                <a:cubicBezTo>
                  <a:pt x="648771" y="4137513"/>
                  <a:pt x="650274" y="4137956"/>
                  <a:pt x="651777" y="4139616"/>
                </a:cubicBezTo>
                <a:cubicBezTo>
                  <a:pt x="650875" y="4141497"/>
                  <a:pt x="650575" y="4144818"/>
                  <a:pt x="647869" y="4147031"/>
                </a:cubicBezTo>
                <a:cubicBezTo>
                  <a:pt x="638850" y="4145703"/>
                  <a:pt x="642458" y="4138399"/>
                  <a:pt x="647268" y="4137735"/>
                </a:cubicBezTo>
                <a:close/>
                <a:moveTo>
                  <a:pt x="1488689" y="4131537"/>
                </a:moveTo>
                <a:lnTo>
                  <a:pt x="1488388" y="4132312"/>
                </a:lnTo>
                <a:cubicBezTo>
                  <a:pt x="1487486" y="4133750"/>
                  <a:pt x="1485983" y="4134746"/>
                  <a:pt x="1484480" y="4135300"/>
                </a:cubicBezTo>
                <a:lnTo>
                  <a:pt x="1480572" y="4135410"/>
                </a:lnTo>
                <a:lnTo>
                  <a:pt x="1479369" y="4139063"/>
                </a:lnTo>
                <a:lnTo>
                  <a:pt x="1475762" y="4139727"/>
                </a:lnTo>
                <a:lnTo>
                  <a:pt x="1478167" y="4143711"/>
                </a:lnTo>
                <a:lnTo>
                  <a:pt x="1478167" y="4143932"/>
                </a:lnTo>
                <a:lnTo>
                  <a:pt x="1479069" y="4143932"/>
                </a:lnTo>
                <a:lnTo>
                  <a:pt x="1480873" y="4142936"/>
                </a:lnTo>
                <a:cubicBezTo>
                  <a:pt x="1484179" y="4141497"/>
                  <a:pt x="1487185" y="4139727"/>
                  <a:pt x="1487786" y="4135632"/>
                </a:cubicBezTo>
                <a:cubicBezTo>
                  <a:pt x="1495603" y="4136185"/>
                  <a:pt x="1488689" y="4139063"/>
                  <a:pt x="1487786" y="4143047"/>
                </a:cubicBezTo>
                <a:lnTo>
                  <a:pt x="1488689" y="4144707"/>
                </a:lnTo>
                <a:lnTo>
                  <a:pt x="1491695" y="4144928"/>
                </a:lnTo>
                <a:lnTo>
                  <a:pt x="1493499" y="4146035"/>
                </a:lnTo>
                <a:lnTo>
                  <a:pt x="1497106" y="4144928"/>
                </a:lnTo>
                <a:cubicBezTo>
                  <a:pt x="1502217" y="4142493"/>
                  <a:pt x="1507628" y="4139063"/>
                  <a:pt x="1512437" y="4137845"/>
                </a:cubicBezTo>
                <a:lnTo>
                  <a:pt x="1517548" y="4138067"/>
                </a:lnTo>
                <a:lnTo>
                  <a:pt x="1516947" y="4137845"/>
                </a:lnTo>
                <a:lnTo>
                  <a:pt x="1516346" y="4136849"/>
                </a:lnTo>
                <a:lnTo>
                  <a:pt x="1506725" y="4137071"/>
                </a:lnTo>
                <a:lnTo>
                  <a:pt x="1496806" y="4134636"/>
                </a:lnTo>
                <a:lnTo>
                  <a:pt x="1492597" y="4133640"/>
                </a:lnTo>
                <a:close/>
                <a:moveTo>
                  <a:pt x="1265933" y="4130541"/>
                </a:moveTo>
                <a:lnTo>
                  <a:pt x="1266234" y="4132422"/>
                </a:lnTo>
                <a:cubicBezTo>
                  <a:pt x="1266234" y="4133861"/>
                  <a:pt x="1266535" y="4135410"/>
                  <a:pt x="1267436" y="4136628"/>
                </a:cubicBezTo>
                <a:lnTo>
                  <a:pt x="1273448" y="4133086"/>
                </a:lnTo>
                <a:lnTo>
                  <a:pt x="1271946" y="4133086"/>
                </a:lnTo>
                <a:close/>
                <a:moveTo>
                  <a:pt x="1283970" y="4129545"/>
                </a:moveTo>
                <a:cubicBezTo>
                  <a:pt x="1281565" y="4129988"/>
                  <a:pt x="1277657" y="4131205"/>
                  <a:pt x="1280363" y="4133308"/>
                </a:cubicBezTo>
                <a:lnTo>
                  <a:pt x="1275853" y="4133197"/>
                </a:lnTo>
                <a:lnTo>
                  <a:pt x="1276755" y="4133529"/>
                </a:lnTo>
                <a:cubicBezTo>
                  <a:pt x="1277657" y="4134193"/>
                  <a:pt x="1278859" y="4135189"/>
                  <a:pt x="1280062" y="4136849"/>
                </a:cubicBezTo>
                <a:cubicBezTo>
                  <a:pt x="1281865" y="4136185"/>
                  <a:pt x="1283369" y="4135189"/>
                  <a:pt x="1284872" y="4133972"/>
                </a:cubicBezTo>
                <a:lnTo>
                  <a:pt x="1287577" y="4131648"/>
                </a:lnTo>
                <a:close/>
                <a:moveTo>
                  <a:pt x="1217835" y="4129102"/>
                </a:moveTo>
                <a:cubicBezTo>
                  <a:pt x="1218135" y="4129213"/>
                  <a:pt x="1218135" y="4129545"/>
                  <a:pt x="1217534" y="4130320"/>
                </a:cubicBezTo>
                <a:cubicBezTo>
                  <a:pt x="1221442" y="4130430"/>
                  <a:pt x="1222945" y="4131205"/>
                  <a:pt x="1224147" y="4131980"/>
                </a:cubicBezTo>
                <a:cubicBezTo>
                  <a:pt x="1225050" y="4134082"/>
                  <a:pt x="1223546" y="4136849"/>
                  <a:pt x="1220841" y="4138731"/>
                </a:cubicBezTo>
                <a:cubicBezTo>
                  <a:pt x="1219939" y="4136628"/>
                  <a:pt x="1216332" y="4136296"/>
                  <a:pt x="1215430" y="4134193"/>
                </a:cubicBezTo>
                <a:cubicBezTo>
                  <a:pt x="1215430" y="4134193"/>
                  <a:pt x="1216332" y="4129434"/>
                  <a:pt x="1216332" y="4129434"/>
                </a:cubicBezTo>
                <a:cubicBezTo>
                  <a:pt x="1217233" y="4129213"/>
                  <a:pt x="1217835" y="4128992"/>
                  <a:pt x="1217835" y="4129102"/>
                </a:cubicBezTo>
                <a:close/>
                <a:moveTo>
                  <a:pt x="2133508" y="4126778"/>
                </a:moveTo>
                <a:cubicBezTo>
                  <a:pt x="2135011" y="4126446"/>
                  <a:pt x="2136513" y="4126889"/>
                  <a:pt x="2137716" y="4128549"/>
                </a:cubicBezTo>
                <a:cubicBezTo>
                  <a:pt x="2136513" y="4130430"/>
                  <a:pt x="2135612" y="4133861"/>
                  <a:pt x="2132906" y="4136075"/>
                </a:cubicBezTo>
                <a:cubicBezTo>
                  <a:pt x="2124189" y="4134968"/>
                  <a:pt x="2128697" y="4127663"/>
                  <a:pt x="2133508" y="4126778"/>
                </a:cubicBezTo>
                <a:close/>
                <a:moveTo>
                  <a:pt x="1104503" y="4126778"/>
                </a:moveTo>
                <a:cubicBezTo>
                  <a:pt x="1106006" y="4126446"/>
                  <a:pt x="1107509" y="4126889"/>
                  <a:pt x="1108712" y="4128549"/>
                </a:cubicBezTo>
                <a:cubicBezTo>
                  <a:pt x="1107509" y="4130430"/>
                  <a:pt x="1106607" y="4133861"/>
                  <a:pt x="1103601" y="4136075"/>
                </a:cubicBezTo>
                <a:cubicBezTo>
                  <a:pt x="1094883" y="4134968"/>
                  <a:pt x="1099694" y="4127663"/>
                  <a:pt x="1104503" y="4126778"/>
                </a:cubicBezTo>
                <a:close/>
                <a:moveTo>
                  <a:pt x="6379993" y="4126446"/>
                </a:moveTo>
                <a:cubicBezTo>
                  <a:pt x="6388410" y="4139395"/>
                  <a:pt x="6372177" y="4151790"/>
                  <a:pt x="6362859" y="4147142"/>
                </a:cubicBezTo>
                <a:cubicBezTo>
                  <a:pt x="6359551" y="4145703"/>
                  <a:pt x="6357147" y="4142383"/>
                  <a:pt x="6356545" y="4136517"/>
                </a:cubicBezTo>
                <a:cubicBezTo>
                  <a:pt x="6367367" y="4132865"/>
                  <a:pt x="6370073" y="4125339"/>
                  <a:pt x="6379993" y="4126446"/>
                </a:cubicBezTo>
                <a:close/>
                <a:moveTo>
                  <a:pt x="1241584" y="4124897"/>
                </a:moveTo>
                <a:lnTo>
                  <a:pt x="1242786" y="4126889"/>
                </a:lnTo>
                <a:cubicBezTo>
                  <a:pt x="1243687" y="4127774"/>
                  <a:pt x="1244289" y="4128881"/>
                  <a:pt x="1243687" y="4130541"/>
                </a:cubicBezTo>
                <a:cubicBezTo>
                  <a:pt x="1247896" y="4130873"/>
                  <a:pt x="1259019" y="4132754"/>
                  <a:pt x="1261725" y="4129656"/>
                </a:cubicBezTo>
                <a:lnTo>
                  <a:pt x="1261725" y="4128770"/>
                </a:lnTo>
                <a:lnTo>
                  <a:pt x="1251503" y="4125450"/>
                </a:lnTo>
                <a:close/>
                <a:moveTo>
                  <a:pt x="6218263" y="4123237"/>
                </a:moveTo>
                <a:cubicBezTo>
                  <a:pt x="6223072" y="4123790"/>
                  <a:pt x="6227280" y="4126446"/>
                  <a:pt x="6230287" y="4129102"/>
                </a:cubicBezTo>
                <a:cubicBezTo>
                  <a:pt x="6229085" y="4130098"/>
                  <a:pt x="6237201" y="4137624"/>
                  <a:pt x="6236299" y="4146367"/>
                </a:cubicBezTo>
                <a:cubicBezTo>
                  <a:pt x="6235999" y="4149355"/>
                  <a:pt x="6234797" y="4152343"/>
                  <a:pt x="6231790" y="4155331"/>
                </a:cubicBezTo>
                <a:cubicBezTo>
                  <a:pt x="6224876" y="4161861"/>
                  <a:pt x="6214955" y="4166509"/>
                  <a:pt x="6202931" y="4154003"/>
                </a:cubicBezTo>
                <a:cubicBezTo>
                  <a:pt x="6199925" y="4152011"/>
                  <a:pt x="6201429" y="4152343"/>
                  <a:pt x="6200226" y="4150572"/>
                </a:cubicBezTo>
                <a:lnTo>
                  <a:pt x="6199323" y="4150130"/>
                </a:lnTo>
                <a:lnTo>
                  <a:pt x="6198722" y="4152233"/>
                </a:lnTo>
                <a:cubicBezTo>
                  <a:pt x="6198121" y="4152786"/>
                  <a:pt x="6197219" y="4153007"/>
                  <a:pt x="6196017" y="4152675"/>
                </a:cubicBezTo>
                <a:cubicBezTo>
                  <a:pt x="6196017" y="4152675"/>
                  <a:pt x="6193912" y="4152122"/>
                  <a:pt x="6191808" y="4151569"/>
                </a:cubicBezTo>
                <a:cubicBezTo>
                  <a:pt x="6189704" y="4151015"/>
                  <a:pt x="6188200" y="4151901"/>
                  <a:pt x="6188200" y="4151901"/>
                </a:cubicBezTo>
                <a:cubicBezTo>
                  <a:pt x="6186097" y="4151347"/>
                  <a:pt x="6185195" y="4150019"/>
                  <a:pt x="6186097" y="4147806"/>
                </a:cubicBezTo>
                <a:cubicBezTo>
                  <a:pt x="6186097" y="4147806"/>
                  <a:pt x="6189403" y="4147584"/>
                  <a:pt x="6189403" y="4147584"/>
                </a:cubicBezTo>
                <a:cubicBezTo>
                  <a:pt x="6191808" y="4148138"/>
                  <a:pt x="6193311" y="4148470"/>
                  <a:pt x="6194814" y="4148802"/>
                </a:cubicBezTo>
                <a:lnTo>
                  <a:pt x="6197520" y="4148912"/>
                </a:lnTo>
                <a:lnTo>
                  <a:pt x="6193912" y="4146588"/>
                </a:lnTo>
                <a:cubicBezTo>
                  <a:pt x="6195115" y="4145260"/>
                  <a:pt x="6196017" y="4144043"/>
                  <a:pt x="6196318" y="4142825"/>
                </a:cubicBezTo>
                <a:lnTo>
                  <a:pt x="6197219" y="4139284"/>
                </a:lnTo>
                <a:lnTo>
                  <a:pt x="6194212" y="4136849"/>
                </a:lnTo>
                <a:cubicBezTo>
                  <a:pt x="6195716" y="4135964"/>
                  <a:pt x="6197820" y="4133086"/>
                  <a:pt x="6198722" y="4134304"/>
                </a:cubicBezTo>
                <a:lnTo>
                  <a:pt x="6199323" y="4134414"/>
                </a:lnTo>
                <a:lnTo>
                  <a:pt x="6203232" y="4129545"/>
                </a:lnTo>
                <a:cubicBezTo>
                  <a:pt x="6208342" y="4124233"/>
                  <a:pt x="6213753" y="4122794"/>
                  <a:pt x="6218263" y="4123237"/>
                </a:cubicBezTo>
                <a:close/>
                <a:moveTo>
                  <a:pt x="1240681" y="4123126"/>
                </a:moveTo>
                <a:lnTo>
                  <a:pt x="1240681" y="4123679"/>
                </a:lnTo>
                <a:lnTo>
                  <a:pt x="1241283" y="4124675"/>
                </a:lnTo>
                <a:close/>
                <a:moveTo>
                  <a:pt x="1579174" y="4117150"/>
                </a:moveTo>
                <a:cubicBezTo>
                  <a:pt x="1580677" y="4118810"/>
                  <a:pt x="1580677" y="4120359"/>
                  <a:pt x="1580977" y="4121798"/>
                </a:cubicBezTo>
                <a:cubicBezTo>
                  <a:pt x="1579474" y="4123237"/>
                  <a:pt x="1577972" y="4123237"/>
                  <a:pt x="1576468" y="4124675"/>
                </a:cubicBezTo>
                <a:cubicBezTo>
                  <a:pt x="1576468" y="4126114"/>
                  <a:pt x="1576468" y="4129213"/>
                  <a:pt x="1574965" y="4130652"/>
                </a:cubicBezTo>
                <a:cubicBezTo>
                  <a:pt x="1573462" y="4132090"/>
                  <a:pt x="1570456" y="4133308"/>
                  <a:pt x="1570456" y="4133308"/>
                </a:cubicBezTo>
                <a:cubicBezTo>
                  <a:pt x="1568653" y="4131758"/>
                  <a:pt x="1568653" y="4131758"/>
                  <a:pt x="1570456" y="4131869"/>
                </a:cubicBezTo>
                <a:cubicBezTo>
                  <a:pt x="1571659" y="4128881"/>
                  <a:pt x="1571659" y="4130430"/>
                  <a:pt x="1573161" y="4128992"/>
                </a:cubicBezTo>
                <a:cubicBezTo>
                  <a:pt x="1574665" y="4127553"/>
                  <a:pt x="1577671" y="4120138"/>
                  <a:pt x="1575867" y="4118588"/>
                </a:cubicBezTo>
                <a:cubicBezTo>
                  <a:pt x="1577671" y="4118588"/>
                  <a:pt x="1579174" y="4117150"/>
                  <a:pt x="1579174" y="4117150"/>
                </a:cubicBezTo>
                <a:close/>
                <a:moveTo>
                  <a:pt x="440144" y="4117150"/>
                </a:moveTo>
                <a:cubicBezTo>
                  <a:pt x="441647" y="4116818"/>
                  <a:pt x="443451" y="4116928"/>
                  <a:pt x="445555" y="4117371"/>
                </a:cubicBezTo>
                <a:cubicBezTo>
                  <a:pt x="451568" y="4118810"/>
                  <a:pt x="459083" y="4123347"/>
                  <a:pt x="461488" y="4126446"/>
                </a:cubicBezTo>
                <a:cubicBezTo>
                  <a:pt x="460886" y="4131426"/>
                  <a:pt x="458481" y="4134193"/>
                  <a:pt x="455475" y="4135300"/>
                </a:cubicBezTo>
                <a:cubicBezTo>
                  <a:pt x="446457" y="4138841"/>
                  <a:pt x="431727" y="4127774"/>
                  <a:pt x="440144" y="4117150"/>
                </a:cubicBezTo>
                <a:close/>
                <a:moveTo>
                  <a:pt x="2294336" y="4113830"/>
                </a:moveTo>
                <a:cubicBezTo>
                  <a:pt x="2297042" y="4114162"/>
                  <a:pt x="2298245" y="4115158"/>
                  <a:pt x="2298545" y="4116596"/>
                </a:cubicBezTo>
                <a:cubicBezTo>
                  <a:pt x="2299146" y="4118146"/>
                  <a:pt x="2298545" y="4120138"/>
                  <a:pt x="2297643" y="4122130"/>
                </a:cubicBezTo>
                <a:cubicBezTo>
                  <a:pt x="2295840" y="4126225"/>
                  <a:pt x="2292533" y="4126225"/>
                  <a:pt x="2292533" y="4126225"/>
                </a:cubicBezTo>
                <a:cubicBezTo>
                  <a:pt x="2286821" y="4125450"/>
                  <a:pt x="2283514" y="4121909"/>
                  <a:pt x="2284717" y="4116375"/>
                </a:cubicBezTo>
                <a:cubicBezTo>
                  <a:pt x="2287122" y="4113719"/>
                  <a:pt x="2290729" y="4113719"/>
                  <a:pt x="2294336" y="4113830"/>
                </a:cubicBezTo>
                <a:close/>
                <a:moveTo>
                  <a:pt x="6093507" y="4113608"/>
                </a:moveTo>
                <a:cubicBezTo>
                  <a:pt x="6105230" y="4116928"/>
                  <a:pt x="6110942" y="4128106"/>
                  <a:pt x="6108238" y="4138067"/>
                </a:cubicBezTo>
                <a:cubicBezTo>
                  <a:pt x="6107336" y="4141387"/>
                  <a:pt x="6105531" y="4144596"/>
                  <a:pt x="6102826" y="4147252"/>
                </a:cubicBezTo>
                <a:cubicBezTo>
                  <a:pt x="6099218" y="4150904"/>
                  <a:pt x="6093807" y="4153782"/>
                  <a:pt x="6086293" y="4155110"/>
                </a:cubicBezTo>
                <a:cubicBezTo>
                  <a:pt x="6073667" y="4153561"/>
                  <a:pt x="6066451" y="4128217"/>
                  <a:pt x="6074268" y="4119142"/>
                </a:cubicBezTo>
                <a:lnTo>
                  <a:pt x="6078777" y="4117814"/>
                </a:lnTo>
                <a:lnTo>
                  <a:pt x="6078476" y="4116375"/>
                </a:lnTo>
                <a:cubicBezTo>
                  <a:pt x="6080881" y="4113719"/>
                  <a:pt x="6084488" y="4113719"/>
                  <a:pt x="6087795" y="4113830"/>
                </a:cubicBezTo>
                <a:lnTo>
                  <a:pt x="6089599" y="4114826"/>
                </a:lnTo>
                <a:close/>
                <a:moveTo>
                  <a:pt x="2119379" y="4113387"/>
                </a:moveTo>
                <a:cubicBezTo>
                  <a:pt x="2119679" y="4113387"/>
                  <a:pt x="2119980" y="4113719"/>
                  <a:pt x="2119980" y="4114494"/>
                </a:cubicBezTo>
                <a:cubicBezTo>
                  <a:pt x="2123287" y="4116043"/>
                  <a:pt x="2120280" y="4118699"/>
                  <a:pt x="2118778" y="4120138"/>
                </a:cubicBezTo>
                <a:cubicBezTo>
                  <a:pt x="2118778" y="4115822"/>
                  <a:pt x="2116974" y="4114272"/>
                  <a:pt x="2118477" y="4114383"/>
                </a:cubicBezTo>
                <a:cubicBezTo>
                  <a:pt x="2118477" y="4113608"/>
                  <a:pt x="2119078" y="4113387"/>
                  <a:pt x="2119379" y="4113387"/>
                </a:cubicBezTo>
                <a:close/>
                <a:moveTo>
                  <a:pt x="5271626" y="4113166"/>
                </a:moveTo>
                <a:lnTo>
                  <a:pt x="5272227" y="4119363"/>
                </a:lnTo>
                <a:lnTo>
                  <a:pt x="5274031" y="4115379"/>
                </a:lnTo>
                <a:close/>
                <a:moveTo>
                  <a:pt x="2129299" y="4113055"/>
                </a:moveTo>
                <a:cubicBezTo>
                  <a:pt x="2129299" y="4117260"/>
                  <a:pt x="2130802" y="4118810"/>
                  <a:pt x="2129299" y="4118699"/>
                </a:cubicBezTo>
                <a:cubicBezTo>
                  <a:pt x="2128999" y="4120027"/>
                  <a:pt x="2127495" y="4119916"/>
                  <a:pt x="2127495" y="4118588"/>
                </a:cubicBezTo>
                <a:cubicBezTo>
                  <a:pt x="2124489" y="4116707"/>
                  <a:pt x="2127796" y="4114272"/>
                  <a:pt x="2129299" y="4113055"/>
                </a:cubicBezTo>
                <a:close/>
                <a:moveTo>
                  <a:pt x="1100295" y="4113055"/>
                </a:moveTo>
                <a:cubicBezTo>
                  <a:pt x="1099994" y="4117260"/>
                  <a:pt x="1101797" y="4118810"/>
                  <a:pt x="1099994" y="4118699"/>
                </a:cubicBezTo>
                <a:cubicBezTo>
                  <a:pt x="1099994" y="4120027"/>
                  <a:pt x="1098491" y="4119916"/>
                  <a:pt x="1098491" y="4118588"/>
                </a:cubicBezTo>
                <a:cubicBezTo>
                  <a:pt x="1095184" y="4116707"/>
                  <a:pt x="1098491" y="4114272"/>
                  <a:pt x="1100295" y="4113055"/>
                </a:cubicBezTo>
                <a:close/>
                <a:moveTo>
                  <a:pt x="900085" y="4112723"/>
                </a:moveTo>
                <a:cubicBezTo>
                  <a:pt x="906398" y="4110952"/>
                  <a:pt x="917821" y="4117260"/>
                  <a:pt x="920226" y="4121245"/>
                </a:cubicBezTo>
                <a:cubicBezTo>
                  <a:pt x="918723" y="4126335"/>
                  <a:pt x="916017" y="4129102"/>
                  <a:pt x="912710" y="4130430"/>
                </a:cubicBezTo>
                <a:cubicBezTo>
                  <a:pt x="903091" y="4134193"/>
                  <a:pt x="890164" y="4123569"/>
                  <a:pt x="900085" y="4112723"/>
                </a:cubicBezTo>
                <a:close/>
                <a:moveTo>
                  <a:pt x="387837" y="4112502"/>
                </a:moveTo>
                <a:cubicBezTo>
                  <a:pt x="394752" y="4118699"/>
                  <a:pt x="390242" y="4129102"/>
                  <a:pt x="382125" y="4128770"/>
                </a:cubicBezTo>
                <a:cubicBezTo>
                  <a:pt x="380321" y="4127221"/>
                  <a:pt x="377015" y="4125561"/>
                  <a:pt x="375211" y="4122462"/>
                </a:cubicBezTo>
                <a:cubicBezTo>
                  <a:pt x="376414" y="4115047"/>
                  <a:pt x="381224" y="4112170"/>
                  <a:pt x="387837" y="4112502"/>
                </a:cubicBezTo>
                <a:close/>
                <a:moveTo>
                  <a:pt x="5140558" y="4110399"/>
                </a:moveTo>
                <a:cubicBezTo>
                  <a:pt x="5142663" y="4110288"/>
                  <a:pt x="5144466" y="4110509"/>
                  <a:pt x="5146570" y="4110952"/>
                </a:cubicBezTo>
                <a:cubicBezTo>
                  <a:pt x="5158295" y="4113719"/>
                  <a:pt x="5167312" y="4126114"/>
                  <a:pt x="5170620" y="4134193"/>
                </a:cubicBezTo>
                <a:cubicBezTo>
                  <a:pt x="5163706" y="4131980"/>
                  <a:pt x="5156791" y="4130209"/>
                  <a:pt x="5150478" y="4126999"/>
                </a:cubicBezTo>
                <a:cubicBezTo>
                  <a:pt x="5144165" y="4123790"/>
                  <a:pt x="5138454" y="4119363"/>
                  <a:pt x="5133643" y="4111948"/>
                </a:cubicBezTo>
                <a:cubicBezTo>
                  <a:pt x="5136050" y="4111063"/>
                  <a:pt x="5138153" y="4110620"/>
                  <a:pt x="5140558" y="4110399"/>
                </a:cubicBezTo>
                <a:close/>
                <a:moveTo>
                  <a:pt x="1346799" y="4110399"/>
                </a:moveTo>
                <a:cubicBezTo>
                  <a:pt x="1348902" y="4110288"/>
                  <a:pt x="1351007" y="4110509"/>
                  <a:pt x="1352811" y="4110952"/>
                </a:cubicBezTo>
                <a:cubicBezTo>
                  <a:pt x="1364835" y="4113719"/>
                  <a:pt x="1373553" y="4126114"/>
                  <a:pt x="1376860" y="4134193"/>
                </a:cubicBezTo>
                <a:cubicBezTo>
                  <a:pt x="1369946" y="4131980"/>
                  <a:pt x="1363333" y="4130209"/>
                  <a:pt x="1356719" y="4126999"/>
                </a:cubicBezTo>
                <a:cubicBezTo>
                  <a:pt x="1350406" y="4123790"/>
                  <a:pt x="1344694" y="4119363"/>
                  <a:pt x="1340185" y="4111948"/>
                </a:cubicBezTo>
                <a:cubicBezTo>
                  <a:pt x="1342289" y="4111063"/>
                  <a:pt x="1344394" y="4110620"/>
                  <a:pt x="1346799" y="4110399"/>
                </a:cubicBezTo>
                <a:close/>
                <a:moveTo>
                  <a:pt x="5225933" y="4107411"/>
                </a:moveTo>
                <a:cubicBezTo>
                  <a:pt x="5226534" y="4118367"/>
                  <a:pt x="5205791" y="4130762"/>
                  <a:pt x="5199178" y="4129102"/>
                </a:cubicBezTo>
                <a:cubicBezTo>
                  <a:pt x="5200079" y="4122905"/>
                  <a:pt x="5206392" y="4121134"/>
                  <a:pt x="5208798" y="4114051"/>
                </a:cubicBezTo>
                <a:cubicBezTo>
                  <a:pt x="5214510" y="4114383"/>
                  <a:pt x="5217816" y="4106525"/>
                  <a:pt x="5225933" y="4107411"/>
                </a:cubicBezTo>
                <a:close/>
                <a:moveTo>
                  <a:pt x="1432173" y="4107411"/>
                </a:moveTo>
                <a:cubicBezTo>
                  <a:pt x="1432474" y="4112834"/>
                  <a:pt x="1427664" y="4118699"/>
                  <a:pt x="1421652" y="4122905"/>
                </a:cubicBezTo>
                <a:lnTo>
                  <a:pt x="1418344" y="4124897"/>
                </a:lnTo>
                <a:lnTo>
                  <a:pt x="1416241" y="4127221"/>
                </a:lnTo>
                <a:cubicBezTo>
                  <a:pt x="1415038" y="4128217"/>
                  <a:pt x="1413235" y="4128881"/>
                  <a:pt x="1411130" y="4128770"/>
                </a:cubicBezTo>
                <a:lnTo>
                  <a:pt x="1410529" y="4128328"/>
                </a:lnTo>
                <a:lnTo>
                  <a:pt x="1405719" y="4129102"/>
                </a:lnTo>
                <a:lnTo>
                  <a:pt x="1407523" y="4125671"/>
                </a:lnTo>
                <a:lnTo>
                  <a:pt x="1404216" y="4122462"/>
                </a:lnTo>
                <a:cubicBezTo>
                  <a:pt x="1405419" y="4115047"/>
                  <a:pt x="1410228" y="4112170"/>
                  <a:pt x="1416842" y="4112502"/>
                </a:cubicBezTo>
                <a:lnTo>
                  <a:pt x="1417142" y="4113498"/>
                </a:lnTo>
                <a:lnTo>
                  <a:pt x="1418946" y="4113055"/>
                </a:lnTo>
                <a:cubicBezTo>
                  <a:pt x="1422854" y="4110952"/>
                  <a:pt x="1426161" y="4106747"/>
                  <a:pt x="1432173" y="4107411"/>
                </a:cubicBezTo>
                <a:close/>
                <a:moveTo>
                  <a:pt x="6319570" y="4105529"/>
                </a:moveTo>
                <a:cubicBezTo>
                  <a:pt x="6323779" y="4106193"/>
                  <a:pt x="6328287" y="4106747"/>
                  <a:pt x="6327987" y="4110841"/>
                </a:cubicBezTo>
                <a:cubicBezTo>
                  <a:pt x="6324680" y="4111505"/>
                  <a:pt x="6324380" y="4113608"/>
                  <a:pt x="6318969" y="4111727"/>
                </a:cubicBezTo>
                <a:cubicBezTo>
                  <a:pt x="6319269" y="4109735"/>
                  <a:pt x="6319269" y="4107632"/>
                  <a:pt x="6319570" y="4105529"/>
                </a:cubicBezTo>
                <a:close/>
                <a:moveTo>
                  <a:pt x="5836782" y="4105197"/>
                </a:moveTo>
                <a:lnTo>
                  <a:pt x="5834978" y="4106304"/>
                </a:lnTo>
                <a:cubicBezTo>
                  <a:pt x="5832273" y="4107189"/>
                  <a:pt x="5829568" y="4107743"/>
                  <a:pt x="5828063" y="4107300"/>
                </a:cubicBezTo>
                <a:cubicBezTo>
                  <a:pt x="5825960" y="4109292"/>
                  <a:pt x="5826861" y="4112170"/>
                  <a:pt x="5828063" y="4119142"/>
                </a:cubicBezTo>
                <a:lnTo>
                  <a:pt x="5838886" y="4114936"/>
                </a:lnTo>
                <a:close/>
                <a:moveTo>
                  <a:pt x="1473357" y="4103205"/>
                </a:moveTo>
                <a:cubicBezTo>
                  <a:pt x="1474260" y="4103426"/>
                  <a:pt x="1475462" y="4104090"/>
                  <a:pt x="1476965" y="4105087"/>
                </a:cubicBezTo>
                <a:cubicBezTo>
                  <a:pt x="1476965" y="4105087"/>
                  <a:pt x="1476965" y="4105087"/>
                  <a:pt x="1477266" y="4106636"/>
                </a:cubicBezTo>
                <a:cubicBezTo>
                  <a:pt x="1477566" y="4109624"/>
                  <a:pt x="1477867" y="4111063"/>
                  <a:pt x="1478167" y="4112612"/>
                </a:cubicBezTo>
                <a:cubicBezTo>
                  <a:pt x="1476664" y="4114162"/>
                  <a:pt x="1472456" y="4117482"/>
                  <a:pt x="1470652" y="4116043"/>
                </a:cubicBezTo>
                <a:cubicBezTo>
                  <a:pt x="1467045" y="4113276"/>
                  <a:pt x="1464639" y="4108739"/>
                  <a:pt x="1466143" y="4107189"/>
                </a:cubicBezTo>
                <a:cubicBezTo>
                  <a:pt x="1468246" y="4104755"/>
                  <a:pt x="1470051" y="4102430"/>
                  <a:pt x="1473357" y="4103205"/>
                </a:cubicBezTo>
                <a:close/>
                <a:moveTo>
                  <a:pt x="6103728" y="4101434"/>
                </a:moveTo>
                <a:cubicBezTo>
                  <a:pt x="6105531" y="4101324"/>
                  <a:pt x="6107637" y="4101766"/>
                  <a:pt x="6109440" y="4102873"/>
                </a:cubicBezTo>
                <a:cubicBezTo>
                  <a:pt x="6110041" y="4104976"/>
                  <a:pt x="6112145" y="4107964"/>
                  <a:pt x="6112145" y="4111284"/>
                </a:cubicBezTo>
                <a:cubicBezTo>
                  <a:pt x="6107036" y="4116707"/>
                  <a:pt x="6101022" y="4116596"/>
                  <a:pt x="6095311" y="4113166"/>
                </a:cubicBezTo>
                <a:cubicBezTo>
                  <a:pt x="6093206" y="4106747"/>
                  <a:pt x="6098016" y="4101656"/>
                  <a:pt x="6103728" y="4101434"/>
                </a:cubicBezTo>
                <a:close/>
                <a:moveTo>
                  <a:pt x="1190779" y="4100217"/>
                </a:moveTo>
                <a:cubicBezTo>
                  <a:pt x="1194988" y="4100106"/>
                  <a:pt x="1199798" y="4102652"/>
                  <a:pt x="1206111" y="4108960"/>
                </a:cubicBezTo>
                <a:cubicBezTo>
                  <a:pt x="1189277" y="4114494"/>
                  <a:pt x="1182964" y="4135964"/>
                  <a:pt x="1167332" y="4134082"/>
                </a:cubicBezTo>
                <a:cubicBezTo>
                  <a:pt x="1174847" y="4123126"/>
                  <a:pt x="1178755" y="4100328"/>
                  <a:pt x="1190779" y="4100217"/>
                </a:cubicBezTo>
                <a:close/>
                <a:moveTo>
                  <a:pt x="872128" y="4096233"/>
                </a:moveTo>
                <a:cubicBezTo>
                  <a:pt x="889263" y="4100438"/>
                  <a:pt x="891366" y="4114715"/>
                  <a:pt x="885655" y="4129545"/>
                </a:cubicBezTo>
                <a:cubicBezTo>
                  <a:pt x="876336" y="4154335"/>
                  <a:pt x="845373" y="4180564"/>
                  <a:pt x="827035" y="4164296"/>
                </a:cubicBezTo>
                <a:cubicBezTo>
                  <a:pt x="829741" y="4152454"/>
                  <a:pt x="833950" y="4140169"/>
                  <a:pt x="840863" y="4128549"/>
                </a:cubicBezTo>
                <a:lnTo>
                  <a:pt x="853490" y="4115600"/>
                </a:lnTo>
                <a:lnTo>
                  <a:pt x="854692" y="4113055"/>
                </a:lnTo>
                <a:lnTo>
                  <a:pt x="855293" y="4113830"/>
                </a:lnTo>
                <a:close/>
                <a:moveTo>
                  <a:pt x="5109595" y="4095569"/>
                </a:moveTo>
                <a:cubicBezTo>
                  <a:pt x="5111097" y="4095901"/>
                  <a:pt x="5112299" y="4096786"/>
                  <a:pt x="5112901" y="4097672"/>
                </a:cubicBezTo>
                <a:cubicBezTo>
                  <a:pt x="5114706" y="4100549"/>
                  <a:pt x="5112299" y="4104976"/>
                  <a:pt x="5109294" y="4105751"/>
                </a:cubicBezTo>
                <a:cubicBezTo>
                  <a:pt x="5107791" y="4106193"/>
                  <a:pt x="5106287" y="4105861"/>
                  <a:pt x="5104785" y="4104312"/>
                </a:cubicBezTo>
                <a:cubicBezTo>
                  <a:pt x="5105686" y="4100992"/>
                  <a:pt x="5106889" y="4099221"/>
                  <a:pt x="5109595" y="4095569"/>
                </a:cubicBezTo>
                <a:close/>
                <a:moveTo>
                  <a:pt x="1627272" y="4093134"/>
                </a:moveTo>
                <a:cubicBezTo>
                  <a:pt x="1627573" y="4093023"/>
                  <a:pt x="1628474" y="4093023"/>
                  <a:pt x="1629076" y="4093687"/>
                </a:cubicBezTo>
                <a:cubicBezTo>
                  <a:pt x="1629076" y="4093687"/>
                  <a:pt x="1629076" y="4093687"/>
                  <a:pt x="1629376" y="4095126"/>
                </a:cubicBezTo>
                <a:cubicBezTo>
                  <a:pt x="1629376" y="4095126"/>
                  <a:pt x="1627874" y="4095015"/>
                  <a:pt x="1626370" y="4093577"/>
                </a:cubicBezTo>
                <a:cubicBezTo>
                  <a:pt x="1626370" y="4093577"/>
                  <a:pt x="1626672" y="4093355"/>
                  <a:pt x="1627272" y="4093134"/>
                </a:cubicBezTo>
                <a:close/>
                <a:moveTo>
                  <a:pt x="766311" y="4089371"/>
                </a:moveTo>
                <a:cubicBezTo>
                  <a:pt x="771121" y="4092581"/>
                  <a:pt x="775631" y="4091253"/>
                  <a:pt x="782544" y="4097561"/>
                </a:cubicBezTo>
                <a:cubicBezTo>
                  <a:pt x="769318" y="4121023"/>
                  <a:pt x="764207" y="4146367"/>
                  <a:pt x="752482" y="4165292"/>
                </a:cubicBezTo>
                <a:lnTo>
                  <a:pt x="750078" y="4153229"/>
                </a:lnTo>
                <a:lnTo>
                  <a:pt x="748575" y="4153782"/>
                </a:lnTo>
                <a:cubicBezTo>
                  <a:pt x="744968" y="4158209"/>
                  <a:pt x="749476" y="4166398"/>
                  <a:pt x="740458" y="4167395"/>
                </a:cubicBezTo>
                <a:cubicBezTo>
                  <a:pt x="735648" y="4165734"/>
                  <a:pt x="730237" y="4165624"/>
                  <a:pt x="725728" y="4162304"/>
                </a:cubicBezTo>
                <a:cubicBezTo>
                  <a:pt x="724225" y="4161197"/>
                  <a:pt x="722722" y="4159758"/>
                  <a:pt x="721519" y="4157766"/>
                </a:cubicBezTo>
                <a:cubicBezTo>
                  <a:pt x="733845" y="4153118"/>
                  <a:pt x="739857" y="4146478"/>
                  <a:pt x="749176" y="4140169"/>
                </a:cubicBezTo>
                <a:lnTo>
                  <a:pt x="749777" y="4140723"/>
                </a:lnTo>
                <a:lnTo>
                  <a:pt x="752182" y="4127553"/>
                </a:lnTo>
                <a:lnTo>
                  <a:pt x="757894" y="4111837"/>
                </a:lnTo>
                <a:lnTo>
                  <a:pt x="754888" y="4111616"/>
                </a:lnTo>
                <a:cubicBezTo>
                  <a:pt x="753385" y="4111173"/>
                  <a:pt x="751581" y="4110067"/>
                  <a:pt x="749476" y="4108628"/>
                </a:cubicBezTo>
                <a:cubicBezTo>
                  <a:pt x="746771" y="4101324"/>
                  <a:pt x="753686" y="4098004"/>
                  <a:pt x="755188" y="4092802"/>
                </a:cubicBezTo>
                <a:cubicBezTo>
                  <a:pt x="758796" y="4093798"/>
                  <a:pt x="761201" y="4095347"/>
                  <a:pt x="763004" y="4097229"/>
                </a:cubicBezTo>
                <a:lnTo>
                  <a:pt x="763004" y="4097672"/>
                </a:lnTo>
                <a:close/>
                <a:moveTo>
                  <a:pt x="705286" y="4085608"/>
                </a:moveTo>
                <a:cubicBezTo>
                  <a:pt x="709796" y="4084723"/>
                  <a:pt x="714906" y="4086826"/>
                  <a:pt x="714606" y="4093577"/>
                </a:cubicBezTo>
                <a:cubicBezTo>
                  <a:pt x="707992" y="4094905"/>
                  <a:pt x="703483" y="4095790"/>
                  <a:pt x="700176" y="4095458"/>
                </a:cubicBezTo>
                <a:cubicBezTo>
                  <a:pt x="697471" y="4090367"/>
                  <a:pt x="701078" y="4086494"/>
                  <a:pt x="705286" y="4085608"/>
                </a:cubicBezTo>
                <a:close/>
                <a:moveTo>
                  <a:pt x="5885482" y="4083727"/>
                </a:moveTo>
                <a:lnTo>
                  <a:pt x="5877364" y="4085498"/>
                </a:lnTo>
                <a:lnTo>
                  <a:pt x="5867745" y="4088375"/>
                </a:lnTo>
                <a:lnTo>
                  <a:pt x="5875561" y="4092249"/>
                </a:lnTo>
                <a:lnTo>
                  <a:pt x="5877364" y="4094683"/>
                </a:lnTo>
                <a:lnTo>
                  <a:pt x="5886384" y="4090589"/>
                </a:lnTo>
                <a:lnTo>
                  <a:pt x="5884880" y="4088375"/>
                </a:lnTo>
                <a:close/>
                <a:moveTo>
                  <a:pt x="1514842" y="4082731"/>
                </a:moveTo>
                <a:lnTo>
                  <a:pt x="1516045" y="4083838"/>
                </a:lnTo>
                <a:lnTo>
                  <a:pt x="1516045" y="4083395"/>
                </a:lnTo>
                <a:close/>
                <a:moveTo>
                  <a:pt x="6318969" y="4079632"/>
                </a:moveTo>
                <a:cubicBezTo>
                  <a:pt x="6330091" y="4083395"/>
                  <a:pt x="6340012" y="4087932"/>
                  <a:pt x="6355944" y="4087932"/>
                </a:cubicBezTo>
                <a:cubicBezTo>
                  <a:pt x="6355643" y="4092249"/>
                  <a:pt x="6361355" y="4092027"/>
                  <a:pt x="6359851" y="4097229"/>
                </a:cubicBezTo>
                <a:cubicBezTo>
                  <a:pt x="6350232" y="4104533"/>
                  <a:pt x="6318969" y="4095790"/>
                  <a:pt x="6318969" y="4079632"/>
                </a:cubicBezTo>
                <a:close/>
                <a:moveTo>
                  <a:pt x="2248643" y="4078415"/>
                </a:moveTo>
                <a:cubicBezTo>
                  <a:pt x="2251950" y="4079189"/>
                  <a:pt x="2254355" y="4080739"/>
                  <a:pt x="2255557" y="4082620"/>
                </a:cubicBezTo>
                <a:lnTo>
                  <a:pt x="2256158" y="4086936"/>
                </a:lnTo>
                <a:lnTo>
                  <a:pt x="2260668" y="4088486"/>
                </a:lnTo>
                <a:cubicBezTo>
                  <a:pt x="2267883" y="4089261"/>
                  <a:pt x="2264877" y="4090478"/>
                  <a:pt x="2268785" y="4092581"/>
                </a:cubicBezTo>
                <a:cubicBezTo>
                  <a:pt x="2272992" y="4094683"/>
                  <a:pt x="2279907" y="4095569"/>
                  <a:pt x="2282913" y="4094351"/>
                </a:cubicBezTo>
                <a:cubicBezTo>
                  <a:pt x="2277802" y="4111395"/>
                  <a:pt x="2288925" y="4114272"/>
                  <a:pt x="2279907" y="4140391"/>
                </a:cubicBezTo>
                <a:lnTo>
                  <a:pt x="2272091" y="4156106"/>
                </a:lnTo>
                <a:lnTo>
                  <a:pt x="2273594" y="4160201"/>
                </a:lnTo>
                <a:cubicBezTo>
                  <a:pt x="2275097" y="4167173"/>
                  <a:pt x="2275698" y="4173481"/>
                  <a:pt x="2275397" y="4177687"/>
                </a:cubicBezTo>
                <a:lnTo>
                  <a:pt x="2264275" y="4165070"/>
                </a:lnTo>
                <a:lnTo>
                  <a:pt x="2257361" y="4170604"/>
                </a:lnTo>
                <a:lnTo>
                  <a:pt x="2244434" y="4173592"/>
                </a:lnTo>
                <a:lnTo>
                  <a:pt x="2248343" y="4177134"/>
                </a:lnTo>
                <a:cubicBezTo>
                  <a:pt x="2242632" y="4181339"/>
                  <a:pt x="2237220" y="4185434"/>
                  <a:pt x="2233011" y="4180564"/>
                </a:cubicBezTo>
                <a:cubicBezTo>
                  <a:pt x="2233913" y="4176802"/>
                  <a:pt x="2236318" y="4173924"/>
                  <a:pt x="2239324" y="4173039"/>
                </a:cubicBezTo>
                <a:lnTo>
                  <a:pt x="2231207" y="4171600"/>
                </a:lnTo>
                <a:cubicBezTo>
                  <a:pt x="2232410" y="4169055"/>
                  <a:pt x="2221288" y="4164517"/>
                  <a:pt x="2213171" y="4154114"/>
                </a:cubicBezTo>
                <a:lnTo>
                  <a:pt x="2211066" y="4150130"/>
                </a:lnTo>
                <a:lnTo>
                  <a:pt x="2202349" y="4150904"/>
                </a:lnTo>
                <a:cubicBezTo>
                  <a:pt x="2198139" y="4144928"/>
                  <a:pt x="2197538" y="4142936"/>
                  <a:pt x="2197538" y="4136185"/>
                </a:cubicBezTo>
                <a:lnTo>
                  <a:pt x="2207459" y="4133861"/>
                </a:lnTo>
                <a:lnTo>
                  <a:pt x="2207459" y="4131094"/>
                </a:lnTo>
                <a:lnTo>
                  <a:pt x="2206858" y="4131758"/>
                </a:lnTo>
                <a:cubicBezTo>
                  <a:pt x="2203551" y="4133529"/>
                  <a:pt x="2200244" y="4134525"/>
                  <a:pt x="2196336" y="4134082"/>
                </a:cubicBezTo>
                <a:cubicBezTo>
                  <a:pt x="2202048" y="4125893"/>
                  <a:pt x="2205655" y="4110952"/>
                  <a:pt x="2212269" y="4103980"/>
                </a:cubicBezTo>
                <a:lnTo>
                  <a:pt x="2216177" y="4101988"/>
                </a:lnTo>
                <a:lnTo>
                  <a:pt x="2219784" y="4095458"/>
                </a:lnTo>
                <a:cubicBezTo>
                  <a:pt x="2224895" y="4089261"/>
                  <a:pt x="2231509" y="4085055"/>
                  <a:pt x="2240527" y="4084391"/>
                </a:cubicBezTo>
                <a:lnTo>
                  <a:pt x="2243834" y="4084612"/>
                </a:lnTo>
                <a:close/>
                <a:moveTo>
                  <a:pt x="1361228" y="4074431"/>
                </a:moveTo>
                <a:lnTo>
                  <a:pt x="1359725" y="4075537"/>
                </a:lnTo>
                <a:lnTo>
                  <a:pt x="1348301" y="4075980"/>
                </a:lnTo>
                <a:lnTo>
                  <a:pt x="1350706" y="4082288"/>
                </a:lnTo>
                <a:cubicBezTo>
                  <a:pt x="1351007" y="4085276"/>
                  <a:pt x="1350706" y="4088043"/>
                  <a:pt x="1349504" y="4090699"/>
                </a:cubicBezTo>
                <a:cubicBezTo>
                  <a:pt x="1348301" y="4093355"/>
                  <a:pt x="1346197" y="4095901"/>
                  <a:pt x="1343491" y="4098225"/>
                </a:cubicBezTo>
                <a:lnTo>
                  <a:pt x="1334473" y="4104090"/>
                </a:lnTo>
                <a:lnTo>
                  <a:pt x="1338983" y="4105308"/>
                </a:lnTo>
                <a:cubicBezTo>
                  <a:pt x="1333572" y="4110952"/>
                  <a:pt x="1326356" y="4111173"/>
                  <a:pt x="1317639" y="4105972"/>
                </a:cubicBezTo>
                <a:cubicBezTo>
                  <a:pt x="1317038" y="4108185"/>
                  <a:pt x="1319142" y="4108849"/>
                  <a:pt x="1321246" y="4109513"/>
                </a:cubicBezTo>
                <a:cubicBezTo>
                  <a:pt x="1318842" y="4112502"/>
                  <a:pt x="1316136" y="4110399"/>
                  <a:pt x="1314032" y="4109735"/>
                </a:cubicBezTo>
                <a:cubicBezTo>
                  <a:pt x="1323651" y="4112723"/>
                  <a:pt x="1329062" y="4116818"/>
                  <a:pt x="1334774" y="4121023"/>
                </a:cubicBezTo>
                <a:cubicBezTo>
                  <a:pt x="1337479" y="4123126"/>
                  <a:pt x="1340485" y="4125118"/>
                  <a:pt x="1344093" y="4127553"/>
                </a:cubicBezTo>
                <a:cubicBezTo>
                  <a:pt x="1348001" y="4129988"/>
                  <a:pt x="1352210" y="4131205"/>
                  <a:pt x="1357019" y="4133972"/>
                </a:cubicBezTo>
                <a:cubicBezTo>
                  <a:pt x="1354916" y="4137845"/>
                  <a:pt x="1355216" y="4140391"/>
                  <a:pt x="1356719" y="4141940"/>
                </a:cubicBezTo>
                <a:lnTo>
                  <a:pt x="1364234" y="4145150"/>
                </a:lnTo>
                <a:lnTo>
                  <a:pt x="1366940" y="4144818"/>
                </a:lnTo>
                <a:lnTo>
                  <a:pt x="1366940" y="4144043"/>
                </a:lnTo>
                <a:cubicBezTo>
                  <a:pt x="1371148" y="4145703"/>
                  <a:pt x="1376860" y="4137181"/>
                  <a:pt x="1382873" y="4139727"/>
                </a:cubicBezTo>
                <a:lnTo>
                  <a:pt x="1389185" y="4142825"/>
                </a:lnTo>
                <a:lnTo>
                  <a:pt x="1389486" y="4141387"/>
                </a:lnTo>
                <a:cubicBezTo>
                  <a:pt x="1389486" y="4140059"/>
                  <a:pt x="1388885" y="4138952"/>
                  <a:pt x="1387682" y="4138620"/>
                </a:cubicBezTo>
                <a:cubicBezTo>
                  <a:pt x="1395498" y="4139837"/>
                  <a:pt x="1406320" y="4139395"/>
                  <a:pt x="1417743" y="4139395"/>
                </a:cubicBezTo>
                <a:lnTo>
                  <a:pt x="1428265" y="4137956"/>
                </a:lnTo>
                <a:lnTo>
                  <a:pt x="1426461" y="4131869"/>
                </a:lnTo>
                <a:cubicBezTo>
                  <a:pt x="1428566" y="4132201"/>
                  <a:pt x="1428866" y="4129988"/>
                  <a:pt x="1428866" y="4127885"/>
                </a:cubicBezTo>
                <a:cubicBezTo>
                  <a:pt x="1431872" y="4126225"/>
                  <a:pt x="1435480" y="4126114"/>
                  <a:pt x="1439087" y="4126999"/>
                </a:cubicBezTo>
                <a:cubicBezTo>
                  <a:pt x="1442694" y="4127885"/>
                  <a:pt x="1446302" y="4129766"/>
                  <a:pt x="1449309" y="4132201"/>
                </a:cubicBezTo>
                <a:lnTo>
                  <a:pt x="1453817" y="4137735"/>
                </a:lnTo>
                <a:lnTo>
                  <a:pt x="1457425" y="4138067"/>
                </a:lnTo>
                <a:lnTo>
                  <a:pt x="1456523" y="4140944"/>
                </a:lnTo>
                <a:lnTo>
                  <a:pt x="1457124" y="4140944"/>
                </a:lnTo>
                <a:cubicBezTo>
                  <a:pt x="1459829" y="4140944"/>
                  <a:pt x="1462835" y="4140833"/>
                  <a:pt x="1465541" y="4141608"/>
                </a:cubicBezTo>
                <a:lnTo>
                  <a:pt x="1466143" y="4142161"/>
                </a:lnTo>
                <a:lnTo>
                  <a:pt x="1467646" y="4141165"/>
                </a:lnTo>
                <a:lnTo>
                  <a:pt x="1466444" y="4139727"/>
                </a:lnTo>
                <a:cubicBezTo>
                  <a:pt x="1464339" y="4136849"/>
                  <a:pt x="1463437" y="4134193"/>
                  <a:pt x="1464038" y="4133197"/>
                </a:cubicBezTo>
                <a:lnTo>
                  <a:pt x="1469149" y="4139173"/>
                </a:lnTo>
                <a:lnTo>
                  <a:pt x="1467045" y="4131648"/>
                </a:lnTo>
                <a:lnTo>
                  <a:pt x="1467646" y="4126778"/>
                </a:lnTo>
                <a:lnTo>
                  <a:pt x="1466744" y="4125007"/>
                </a:lnTo>
                <a:cubicBezTo>
                  <a:pt x="1466444" y="4122462"/>
                  <a:pt x="1467045" y="4119806"/>
                  <a:pt x="1469149" y="4117150"/>
                </a:cubicBezTo>
                <a:cubicBezTo>
                  <a:pt x="1470652" y="4116818"/>
                  <a:pt x="1472756" y="4116928"/>
                  <a:pt x="1474560" y="4117371"/>
                </a:cubicBezTo>
                <a:lnTo>
                  <a:pt x="1478768" y="4119142"/>
                </a:lnTo>
                <a:lnTo>
                  <a:pt x="1480572" y="4114604"/>
                </a:lnTo>
                <a:cubicBezTo>
                  <a:pt x="1482677" y="4112391"/>
                  <a:pt x="1484780" y="4110841"/>
                  <a:pt x="1487486" y="4109735"/>
                </a:cubicBezTo>
                <a:lnTo>
                  <a:pt x="1491695" y="4108739"/>
                </a:lnTo>
                <a:lnTo>
                  <a:pt x="1486885" y="4101213"/>
                </a:lnTo>
                <a:cubicBezTo>
                  <a:pt x="1485383" y="4097008"/>
                  <a:pt x="1485983" y="4092913"/>
                  <a:pt x="1490191" y="4089261"/>
                </a:cubicBezTo>
                <a:cubicBezTo>
                  <a:pt x="1500112" y="4090035"/>
                  <a:pt x="1505824" y="4098114"/>
                  <a:pt x="1502217" y="4106304"/>
                </a:cubicBezTo>
                <a:lnTo>
                  <a:pt x="1501014" y="4107632"/>
                </a:lnTo>
                <a:lnTo>
                  <a:pt x="1505223" y="4107632"/>
                </a:lnTo>
                <a:lnTo>
                  <a:pt x="1509431" y="4108075"/>
                </a:lnTo>
                <a:lnTo>
                  <a:pt x="1510334" y="4106525"/>
                </a:lnTo>
                <a:cubicBezTo>
                  <a:pt x="1511235" y="4105419"/>
                  <a:pt x="1512437" y="4104423"/>
                  <a:pt x="1513039" y="4103648"/>
                </a:cubicBezTo>
                <a:cubicBezTo>
                  <a:pt x="1513039" y="4102098"/>
                  <a:pt x="1514542" y="4100660"/>
                  <a:pt x="1516045" y="4100770"/>
                </a:cubicBezTo>
                <a:cubicBezTo>
                  <a:pt x="1516045" y="4100770"/>
                  <a:pt x="1517548" y="4099332"/>
                  <a:pt x="1517548" y="4097782"/>
                </a:cubicBezTo>
                <a:lnTo>
                  <a:pt x="1519953" y="4096122"/>
                </a:lnTo>
                <a:lnTo>
                  <a:pt x="1518450" y="4095790"/>
                </a:lnTo>
                <a:cubicBezTo>
                  <a:pt x="1511836" y="4093134"/>
                  <a:pt x="1505523" y="4088486"/>
                  <a:pt x="1503419" y="4082731"/>
                </a:cubicBezTo>
                <a:lnTo>
                  <a:pt x="1504020" y="4077861"/>
                </a:lnTo>
                <a:lnTo>
                  <a:pt x="1495302" y="4077087"/>
                </a:lnTo>
                <a:cubicBezTo>
                  <a:pt x="1491094" y="4077197"/>
                  <a:pt x="1486584" y="4077972"/>
                  <a:pt x="1482375" y="4078857"/>
                </a:cubicBezTo>
                <a:lnTo>
                  <a:pt x="1476664" y="4080739"/>
                </a:lnTo>
                <a:lnTo>
                  <a:pt x="1478468" y="4081182"/>
                </a:lnTo>
                <a:lnTo>
                  <a:pt x="1473357" y="4081735"/>
                </a:lnTo>
                <a:lnTo>
                  <a:pt x="1468246" y="4083506"/>
                </a:lnTo>
                <a:cubicBezTo>
                  <a:pt x="1458327" y="4081624"/>
                  <a:pt x="1448106" y="4080960"/>
                  <a:pt x="1437884" y="4080185"/>
                </a:cubicBezTo>
                <a:cubicBezTo>
                  <a:pt x="1435480" y="4080628"/>
                  <a:pt x="1433376" y="4079964"/>
                  <a:pt x="1430971" y="4080407"/>
                </a:cubicBezTo>
                <a:cubicBezTo>
                  <a:pt x="1427965" y="4079411"/>
                  <a:pt x="1425259" y="4079853"/>
                  <a:pt x="1423155" y="4079189"/>
                </a:cubicBezTo>
                <a:cubicBezTo>
                  <a:pt x="1418646" y="4078968"/>
                  <a:pt x="1412933" y="4078525"/>
                  <a:pt x="1408425" y="4078304"/>
                </a:cubicBezTo>
                <a:close/>
                <a:moveTo>
                  <a:pt x="475317" y="4073435"/>
                </a:moveTo>
                <a:cubicBezTo>
                  <a:pt x="482831" y="4081071"/>
                  <a:pt x="493653" y="4088043"/>
                  <a:pt x="498764" y="4097893"/>
                </a:cubicBezTo>
                <a:cubicBezTo>
                  <a:pt x="487341" y="4097561"/>
                  <a:pt x="468402" y="4086272"/>
                  <a:pt x="475317" y="4073435"/>
                </a:cubicBezTo>
                <a:close/>
                <a:moveTo>
                  <a:pt x="1723168" y="4072660"/>
                </a:moveTo>
                <a:lnTo>
                  <a:pt x="1725874" y="4077308"/>
                </a:lnTo>
                <a:cubicBezTo>
                  <a:pt x="1724672" y="4078415"/>
                  <a:pt x="1719861" y="4077640"/>
                  <a:pt x="1715954" y="4075759"/>
                </a:cubicBezTo>
                <a:lnTo>
                  <a:pt x="1712346" y="4073324"/>
                </a:lnTo>
                <a:lnTo>
                  <a:pt x="1712045" y="4073435"/>
                </a:lnTo>
                <a:cubicBezTo>
                  <a:pt x="1710843" y="4073656"/>
                  <a:pt x="1708739" y="4074209"/>
                  <a:pt x="1704229" y="4075205"/>
                </a:cubicBezTo>
                <a:cubicBezTo>
                  <a:pt x="1704229" y="4075205"/>
                  <a:pt x="1704229" y="4075205"/>
                  <a:pt x="1703027" y="4074873"/>
                </a:cubicBezTo>
                <a:cubicBezTo>
                  <a:pt x="1703027" y="4074873"/>
                  <a:pt x="1703027" y="4074873"/>
                  <a:pt x="1703628" y="4073767"/>
                </a:cubicBezTo>
                <a:cubicBezTo>
                  <a:pt x="1703628" y="4073767"/>
                  <a:pt x="1703628" y="4073767"/>
                  <a:pt x="1702426" y="4073435"/>
                </a:cubicBezTo>
                <a:cubicBezTo>
                  <a:pt x="1699120" y="4073545"/>
                  <a:pt x="1696414" y="4073988"/>
                  <a:pt x="1694009" y="4074431"/>
                </a:cubicBezTo>
                <a:cubicBezTo>
                  <a:pt x="1687696" y="4076091"/>
                  <a:pt x="1681984" y="4079300"/>
                  <a:pt x="1677175" y="4086272"/>
                </a:cubicBezTo>
                <a:cubicBezTo>
                  <a:pt x="1677175" y="4086272"/>
                  <a:pt x="1677175" y="4086272"/>
                  <a:pt x="1675972" y="4085940"/>
                </a:cubicBezTo>
                <a:cubicBezTo>
                  <a:pt x="1675972" y="4085940"/>
                  <a:pt x="1675972" y="4085940"/>
                  <a:pt x="1674770" y="4086715"/>
                </a:cubicBezTo>
                <a:cubicBezTo>
                  <a:pt x="1674770" y="4086715"/>
                  <a:pt x="1674770" y="4086715"/>
                  <a:pt x="1673566" y="4086383"/>
                </a:cubicBezTo>
                <a:cubicBezTo>
                  <a:pt x="1673566" y="4086383"/>
                  <a:pt x="1673566" y="4086383"/>
                  <a:pt x="1667554" y="4086936"/>
                </a:cubicBezTo>
                <a:lnTo>
                  <a:pt x="1662143" y="4087379"/>
                </a:lnTo>
                <a:lnTo>
                  <a:pt x="1656432" y="4099000"/>
                </a:lnTo>
                <a:cubicBezTo>
                  <a:pt x="1656432" y="4099000"/>
                  <a:pt x="1650419" y="4104865"/>
                  <a:pt x="1645609" y="4101656"/>
                </a:cubicBezTo>
                <a:cubicBezTo>
                  <a:pt x="1644107" y="4101545"/>
                  <a:pt x="1643806" y="4095458"/>
                  <a:pt x="1645309" y="4094019"/>
                </a:cubicBezTo>
                <a:cubicBezTo>
                  <a:pt x="1648315" y="4091253"/>
                  <a:pt x="1649818" y="4089925"/>
                  <a:pt x="1652825" y="4090035"/>
                </a:cubicBezTo>
                <a:lnTo>
                  <a:pt x="1655230" y="4088154"/>
                </a:lnTo>
                <a:lnTo>
                  <a:pt x="1632684" y="4090699"/>
                </a:lnTo>
                <a:cubicBezTo>
                  <a:pt x="1628775" y="4091917"/>
                  <a:pt x="1625168" y="4091917"/>
                  <a:pt x="1621260" y="4093134"/>
                </a:cubicBezTo>
                <a:cubicBezTo>
                  <a:pt x="1621260" y="4093134"/>
                  <a:pt x="1621260" y="4093134"/>
                  <a:pt x="1618555" y="4093577"/>
                </a:cubicBezTo>
                <a:lnTo>
                  <a:pt x="1617953" y="4093355"/>
                </a:lnTo>
                <a:lnTo>
                  <a:pt x="1608334" y="4096011"/>
                </a:lnTo>
                <a:cubicBezTo>
                  <a:pt x="1607733" y="4094683"/>
                  <a:pt x="1605628" y="4094130"/>
                  <a:pt x="1604125" y="4095015"/>
                </a:cubicBezTo>
                <a:cubicBezTo>
                  <a:pt x="1602021" y="4094462"/>
                  <a:pt x="1599916" y="4094019"/>
                  <a:pt x="1600518" y="4095347"/>
                </a:cubicBezTo>
                <a:lnTo>
                  <a:pt x="1592100" y="4096344"/>
                </a:lnTo>
                <a:cubicBezTo>
                  <a:pt x="1586088" y="4096897"/>
                  <a:pt x="1580076" y="4097450"/>
                  <a:pt x="1573161" y="4097672"/>
                </a:cubicBezTo>
                <a:cubicBezTo>
                  <a:pt x="1566849" y="4098225"/>
                  <a:pt x="1561438" y="4097782"/>
                  <a:pt x="1554222" y="4098004"/>
                </a:cubicBezTo>
                <a:lnTo>
                  <a:pt x="1525364" y="4094905"/>
                </a:lnTo>
                <a:lnTo>
                  <a:pt x="1528069" y="4097893"/>
                </a:lnTo>
                <a:lnTo>
                  <a:pt x="1522658" y="4096786"/>
                </a:lnTo>
                <a:lnTo>
                  <a:pt x="1522057" y="4098004"/>
                </a:lnTo>
                <a:cubicBezTo>
                  <a:pt x="1522057" y="4098004"/>
                  <a:pt x="1520854" y="4099442"/>
                  <a:pt x="1519352" y="4100881"/>
                </a:cubicBezTo>
                <a:cubicBezTo>
                  <a:pt x="1519352" y="4100881"/>
                  <a:pt x="1519352" y="4102430"/>
                  <a:pt x="1519352" y="4103869"/>
                </a:cubicBezTo>
                <a:lnTo>
                  <a:pt x="1515443" y="4108849"/>
                </a:lnTo>
                <a:lnTo>
                  <a:pt x="1516947" y="4108960"/>
                </a:lnTo>
                <a:cubicBezTo>
                  <a:pt x="1524462" y="4109845"/>
                  <a:pt x="1532277" y="4111395"/>
                  <a:pt x="1534983" y="4115379"/>
                </a:cubicBezTo>
                <a:cubicBezTo>
                  <a:pt x="1536186" y="4116707"/>
                  <a:pt x="1536487" y="4118367"/>
                  <a:pt x="1536186" y="4120249"/>
                </a:cubicBezTo>
                <a:cubicBezTo>
                  <a:pt x="1535585" y="4125671"/>
                  <a:pt x="1531677" y="4130430"/>
                  <a:pt x="1526265" y="4133529"/>
                </a:cubicBezTo>
                <a:lnTo>
                  <a:pt x="1519352" y="4135964"/>
                </a:lnTo>
                <a:lnTo>
                  <a:pt x="1522057" y="4136628"/>
                </a:lnTo>
                <a:cubicBezTo>
                  <a:pt x="1524462" y="4137071"/>
                  <a:pt x="1526566" y="4137845"/>
                  <a:pt x="1526265" y="4138841"/>
                </a:cubicBezTo>
                <a:cubicBezTo>
                  <a:pt x="1526265" y="4138841"/>
                  <a:pt x="1524162" y="4138067"/>
                  <a:pt x="1522057" y="4137403"/>
                </a:cubicBezTo>
                <a:cubicBezTo>
                  <a:pt x="1521155" y="4137071"/>
                  <a:pt x="1520554" y="4136849"/>
                  <a:pt x="1520253" y="4137071"/>
                </a:cubicBezTo>
                <a:lnTo>
                  <a:pt x="1519352" y="4138177"/>
                </a:lnTo>
                <a:lnTo>
                  <a:pt x="1519652" y="4138177"/>
                </a:lnTo>
                <a:cubicBezTo>
                  <a:pt x="1519652" y="4138177"/>
                  <a:pt x="1520554" y="4145814"/>
                  <a:pt x="1522057" y="4145039"/>
                </a:cubicBezTo>
                <a:cubicBezTo>
                  <a:pt x="1525063" y="4144707"/>
                  <a:pt x="1527468" y="4142936"/>
                  <a:pt x="1529873" y="4141276"/>
                </a:cubicBezTo>
                <a:lnTo>
                  <a:pt x="1530775" y="4140944"/>
                </a:lnTo>
                <a:lnTo>
                  <a:pt x="1531075" y="4139948"/>
                </a:lnTo>
                <a:lnTo>
                  <a:pt x="1529271" y="4139063"/>
                </a:lnTo>
                <a:cubicBezTo>
                  <a:pt x="1528370" y="4138509"/>
                  <a:pt x="1527769" y="4137956"/>
                  <a:pt x="1527769" y="4137956"/>
                </a:cubicBezTo>
                <a:cubicBezTo>
                  <a:pt x="1528670" y="4135853"/>
                  <a:pt x="1528670" y="4135853"/>
                  <a:pt x="1529271" y="4137292"/>
                </a:cubicBezTo>
                <a:cubicBezTo>
                  <a:pt x="1531075" y="4137292"/>
                  <a:pt x="1531376" y="4137403"/>
                  <a:pt x="1531677" y="4137735"/>
                </a:cubicBezTo>
                <a:lnTo>
                  <a:pt x="1532277" y="4138067"/>
                </a:lnTo>
                <a:lnTo>
                  <a:pt x="1537088" y="4130762"/>
                </a:lnTo>
                <a:cubicBezTo>
                  <a:pt x="1540996" y="4124786"/>
                  <a:pt x="1545805" y="4118920"/>
                  <a:pt x="1550916" y="4118035"/>
                </a:cubicBezTo>
                <a:cubicBezTo>
                  <a:pt x="1552720" y="4117814"/>
                  <a:pt x="1554222" y="4118035"/>
                  <a:pt x="1556026" y="4119142"/>
                </a:cubicBezTo>
                <a:cubicBezTo>
                  <a:pt x="1561137" y="4121798"/>
                  <a:pt x="1564444" y="4126999"/>
                  <a:pt x="1565345" y="4132865"/>
                </a:cubicBezTo>
                <a:lnTo>
                  <a:pt x="1565045" y="4139616"/>
                </a:lnTo>
                <a:lnTo>
                  <a:pt x="1566548" y="4137513"/>
                </a:lnTo>
                <a:cubicBezTo>
                  <a:pt x="1568051" y="4135632"/>
                  <a:pt x="1569855" y="4134082"/>
                  <a:pt x="1570456" y="4134857"/>
                </a:cubicBezTo>
                <a:cubicBezTo>
                  <a:pt x="1570456" y="4134857"/>
                  <a:pt x="1568953" y="4136407"/>
                  <a:pt x="1567450" y="4137956"/>
                </a:cubicBezTo>
                <a:cubicBezTo>
                  <a:pt x="1565947" y="4139395"/>
                  <a:pt x="1565947" y="4139505"/>
                  <a:pt x="1567750" y="4141055"/>
                </a:cubicBezTo>
                <a:cubicBezTo>
                  <a:pt x="1566849" y="4141829"/>
                  <a:pt x="1566548" y="4142161"/>
                  <a:pt x="1565947" y="4142383"/>
                </a:cubicBezTo>
                <a:lnTo>
                  <a:pt x="1564744" y="4142383"/>
                </a:lnTo>
                <a:lnTo>
                  <a:pt x="1564444" y="4142936"/>
                </a:lnTo>
                <a:lnTo>
                  <a:pt x="1567149" y="4144154"/>
                </a:lnTo>
                <a:cubicBezTo>
                  <a:pt x="1569254" y="4144928"/>
                  <a:pt x="1571057" y="4145260"/>
                  <a:pt x="1573161" y="4145039"/>
                </a:cubicBezTo>
                <a:cubicBezTo>
                  <a:pt x="1580677" y="4143711"/>
                  <a:pt x="1585487" y="4133086"/>
                  <a:pt x="1591800" y="4131426"/>
                </a:cubicBezTo>
                <a:cubicBezTo>
                  <a:pt x="1595106" y="4130541"/>
                  <a:pt x="1598112" y="4130652"/>
                  <a:pt x="1601118" y="4131205"/>
                </a:cubicBezTo>
                <a:lnTo>
                  <a:pt x="1607432" y="4132754"/>
                </a:lnTo>
                <a:lnTo>
                  <a:pt x="1611941" y="4131426"/>
                </a:lnTo>
                <a:lnTo>
                  <a:pt x="1625168" y="4131426"/>
                </a:lnTo>
                <a:lnTo>
                  <a:pt x="1627272" y="4130320"/>
                </a:lnTo>
                <a:lnTo>
                  <a:pt x="1628775" y="4130098"/>
                </a:lnTo>
                <a:lnTo>
                  <a:pt x="1624267" y="4114936"/>
                </a:lnTo>
                <a:cubicBezTo>
                  <a:pt x="1623364" y="4109513"/>
                  <a:pt x="1624267" y="4104865"/>
                  <a:pt x="1629978" y="4102320"/>
                </a:cubicBezTo>
                <a:cubicBezTo>
                  <a:pt x="1638996" y="4105087"/>
                  <a:pt x="1638996" y="4114604"/>
                  <a:pt x="1641101" y="4123901"/>
                </a:cubicBezTo>
                <a:lnTo>
                  <a:pt x="1642303" y="4127663"/>
                </a:lnTo>
                <a:lnTo>
                  <a:pt x="1644708" y="4129766"/>
                </a:lnTo>
                <a:lnTo>
                  <a:pt x="1650119" y="4132533"/>
                </a:lnTo>
                <a:lnTo>
                  <a:pt x="1655530" y="4130873"/>
                </a:lnTo>
                <a:lnTo>
                  <a:pt x="1655831" y="4129213"/>
                </a:lnTo>
                <a:cubicBezTo>
                  <a:pt x="1656732" y="4127774"/>
                  <a:pt x="1658236" y="4126225"/>
                  <a:pt x="1659137" y="4125007"/>
                </a:cubicBezTo>
                <a:cubicBezTo>
                  <a:pt x="1657334" y="4122130"/>
                  <a:pt x="1665450" y="4121245"/>
                  <a:pt x="1663647" y="4118478"/>
                </a:cubicBezTo>
                <a:cubicBezTo>
                  <a:pt x="1672665" y="4116264"/>
                  <a:pt x="1670561" y="4105972"/>
                  <a:pt x="1683487" y="4100660"/>
                </a:cubicBezTo>
                <a:lnTo>
                  <a:pt x="1678978" y="4109845"/>
                </a:lnTo>
                <a:lnTo>
                  <a:pt x="1681383" y="4113055"/>
                </a:lnTo>
                <a:cubicBezTo>
                  <a:pt x="1681683" y="4115047"/>
                  <a:pt x="1680481" y="4117260"/>
                  <a:pt x="1678978" y="4120138"/>
                </a:cubicBezTo>
                <a:cubicBezTo>
                  <a:pt x="1676874" y="4118588"/>
                  <a:pt x="1675972" y="4116928"/>
                  <a:pt x="1675972" y="4114936"/>
                </a:cubicBezTo>
                <a:lnTo>
                  <a:pt x="1675972" y="4114051"/>
                </a:lnTo>
                <a:lnTo>
                  <a:pt x="1669959" y="4121577"/>
                </a:lnTo>
                <a:lnTo>
                  <a:pt x="1666653" y="4127221"/>
                </a:lnTo>
                <a:lnTo>
                  <a:pt x="1675671" y="4124675"/>
                </a:lnTo>
                <a:cubicBezTo>
                  <a:pt x="1675671" y="4124675"/>
                  <a:pt x="1675671" y="4124565"/>
                  <a:pt x="1678677" y="4123015"/>
                </a:cubicBezTo>
                <a:cubicBezTo>
                  <a:pt x="1678677" y="4123015"/>
                  <a:pt x="1678677" y="4123015"/>
                  <a:pt x="1679580" y="4123347"/>
                </a:cubicBezTo>
                <a:cubicBezTo>
                  <a:pt x="1680181" y="4122241"/>
                  <a:pt x="1681082" y="4122683"/>
                  <a:pt x="1681082" y="4122683"/>
                </a:cubicBezTo>
                <a:cubicBezTo>
                  <a:pt x="1681082" y="4122683"/>
                  <a:pt x="1681082" y="4122683"/>
                  <a:pt x="1683487" y="4122241"/>
                </a:cubicBezTo>
                <a:cubicBezTo>
                  <a:pt x="1689199" y="4119142"/>
                  <a:pt x="1697315" y="4115600"/>
                  <a:pt x="1704531" y="4111727"/>
                </a:cubicBezTo>
                <a:cubicBezTo>
                  <a:pt x="1704229" y="4105640"/>
                  <a:pt x="1710242" y="4088043"/>
                  <a:pt x="1702426" y="4090478"/>
                </a:cubicBezTo>
                <a:cubicBezTo>
                  <a:pt x="1703929" y="4089703"/>
                  <a:pt x="1705132" y="4090035"/>
                  <a:pt x="1706334" y="4089261"/>
                </a:cubicBezTo>
                <a:cubicBezTo>
                  <a:pt x="1706334" y="4089261"/>
                  <a:pt x="1706334" y="4089261"/>
                  <a:pt x="1716254" y="4087490"/>
                </a:cubicBezTo>
                <a:cubicBezTo>
                  <a:pt x="1716254" y="4087490"/>
                  <a:pt x="1716555" y="4087379"/>
                  <a:pt x="1717456" y="4087711"/>
                </a:cubicBezTo>
                <a:cubicBezTo>
                  <a:pt x="1717456" y="4087711"/>
                  <a:pt x="1717456" y="4087822"/>
                  <a:pt x="1718960" y="4087047"/>
                </a:cubicBezTo>
                <a:cubicBezTo>
                  <a:pt x="1719260" y="4085940"/>
                  <a:pt x="1720162" y="4086272"/>
                  <a:pt x="1721666" y="4085498"/>
                </a:cubicBezTo>
                <a:lnTo>
                  <a:pt x="1725874" y="4083284"/>
                </a:lnTo>
                <a:lnTo>
                  <a:pt x="1723770" y="4081071"/>
                </a:lnTo>
                <a:lnTo>
                  <a:pt x="1727077" y="4082620"/>
                </a:lnTo>
                <a:lnTo>
                  <a:pt x="1733089" y="4079300"/>
                </a:lnTo>
                <a:lnTo>
                  <a:pt x="1737597" y="4073545"/>
                </a:lnTo>
                <a:lnTo>
                  <a:pt x="1731585" y="4073767"/>
                </a:lnTo>
                <a:close/>
                <a:moveTo>
                  <a:pt x="6251029" y="4071553"/>
                </a:moveTo>
                <a:cubicBezTo>
                  <a:pt x="6252833" y="4071442"/>
                  <a:pt x="6253434" y="4072106"/>
                  <a:pt x="6253134" y="4073213"/>
                </a:cubicBezTo>
                <a:cubicBezTo>
                  <a:pt x="6253134" y="4074320"/>
                  <a:pt x="6252833" y="4075869"/>
                  <a:pt x="6252833" y="4077640"/>
                </a:cubicBezTo>
                <a:lnTo>
                  <a:pt x="6246220" y="4075980"/>
                </a:lnTo>
                <a:cubicBezTo>
                  <a:pt x="6247122" y="4073988"/>
                  <a:pt x="6248925" y="4071000"/>
                  <a:pt x="6251029" y="4071553"/>
                </a:cubicBezTo>
                <a:close/>
                <a:moveTo>
                  <a:pt x="2292834" y="4068565"/>
                </a:moveTo>
                <a:cubicBezTo>
                  <a:pt x="2296741" y="4067126"/>
                  <a:pt x="2300649" y="4069008"/>
                  <a:pt x="2303355" y="4072438"/>
                </a:cubicBezTo>
                <a:cubicBezTo>
                  <a:pt x="2308766" y="4079411"/>
                  <a:pt x="2310570" y="4092470"/>
                  <a:pt x="2304257" y="4095901"/>
                </a:cubicBezTo>
                <a:cubicBezTo>
                  <a:pt x="2300048" y="4098225"/>
                  <a:pt x="2292232" y="4096233"/>
                  <a:pt x="2279907" y="4085387"/>
                </a:cubicBezTo>
                <a:cubicBezTo>
                  <a:pt x="2284115" y="4074984"/>
                  <a:pt x="2288625" y="4070114"/>
                  <a:pt x="2292834" y="4068565"/>
                </a:cubicBezTo>
                <a:close/>
                <a:moveTo>
                  <a:pt x="6263956" y="4067680"/>
                </a:moveTo>
                <a:cubicBezTo>
                  <a:pt x="6264857" y="4069008"/>
                  <a:pt x="6266059" y="4068233"/>
                  <a:pt x="6266962" y="4069450"/>
                </a:cubicBezTo>
                <a:cubicBezTo>
                  <a:pt x="6266962" y="4069450"/>
                  <a:pt x="6268165" y="4070336"/>
                  <a:pt x="6269668" y="4072217"/>
                </a:cubicBezTo>
                <a:cubicBezTo>
                  <a:pt x="6270269" y="4073103"/>
                  <a:pt x="6270569" y="4074209"/>
                  <a:pt x="6271170" y="4075537"/>
                </a:cubicBezTo>
                <a:cubicBezTo>
                  <a:pt x="6271470" y="4076976"/>
                  <a:pt x="6271470" y="4078636"/>
                  <a:pt x="6271170" y="4080517"/>
                </a:cubicBezTo>
                <a:cubicBezTo>
                  <a:pt x="6270569" y="4082620"/>
                  <a:pt x="6267563" y="4087711"/>
                  <a:pt x="6266962" y="4086383"/>
                </a:cubicBezTo>
                <a:cubicBezTo>
                  <a:pt x="6264857" y="4085940"/>
                  <a:pt x="6265458" y="4087158"/>
                  <a:pt x="6263956" y="4087932"/>
                </a:cubicBezTo>
                <a:cubicBezTo>
                  <a:pt x="6257643" y="4086604"/>
                  <a:pt x="6254035" y="4083506"/>
                  <a:pt x="6254636" y="4078083"/>
                </a:cubicBezTo>
                <a:cubicBezTo>
                  <a:pt x="6256140" y="4073877"/>
                  <a:pt x="6258244" y="4067569"/>
                  <a:pt x="6263956" y="4067680"/>
                </a:cubicBezTo>
                <a:close/>
                <a:moveTo>
                  <a:pt x="686348" y="4067348"/>
                </a:moveTo>
                <a:cubicBezTo>
                  <a:pt x="691458" y="4068454"/>
                  <a:pt x="697169" y="4074763"/>
                  <a:pt x="696869" y="4077308"/>
                </a:cubicBezTo>
                <a:cubicBezTo>
                  <a:pt x="694163" y="4079521"/>
                  <a:pt x="677629" y="4074099"/>
                  <a:pt x="682139" y="4068233"/>
                </a:cubicBezTo>
                <a:cubicBezTo>
                  <a:pt x="683342" y="4067126"/>
                  <a:pt x="684845" y="4067016"/>
                  <a:pt x="686348" y="4067348"/>
                </a:cubicBezTo>
                <a:close/>
                <a:moveTo>
                  <a:pt x="2232711" y="4066794"/>
                </a:moveTo>
                <a:cubicBezTo>
                  <a:pt x="2235116" y="4066573"/>
                  <a:pt x="2236919" y="4067237"/>
                  <a:pt x="2238122" y="4068897"/>
                </a:cubicBezTo>
                <a:cubicBezTo>
                  <a:pt x="2238723" y="4069893"/>
                  <a:pt x="2239324" y="4071221"/>
                  <a:pt x="2239324" y="4072992"/>
                </a:cubicBezTo>
                <a:cubicBezTo>
                  <a:pt x="2229705" y="4076312"/>
                  <a:pt x="2222189" y="4083616"/>
                  <a:pt x="2216778" y="4082399"/>
                </a:cubicBezTo>
                <a:cubicBezTo>
                  <a:pt x="2214975" y="4081956"/>
                  <a:pt x="2213471" y="4080517"/>
                  <a:pt x="2211968" y="4077640"/>
                </a:cubicBezTo>
                <a:cubicBezTo>
                  <a:pt x="2214975" y="4074431"/>
                  <a:pt x="2225495" y="4067348"/>
                  <a:pt x="2232711" y="4066794"/>
                </a:cubicBezTo>
                <a:close/>
                <a:moveTo>
                  <a:pt x="1425259" y="4064138"/>
                </a:moveTo>
                <a:cubicBezTo>
                  <a:pt x="1427063" y="4065688"/>
                  <a:pt x="1427063" y="4065688"/>
                  <a:pt x="1428566" y="4066020"/>
                </a:cubicBezTo>
                <a:cubicBezTo>
                  <a:pt x="1428566" y="4066020"/>
                  <a:pt x="1426762" y="4067126"/>
                  <a:pt x="1426762" y="4067126"/>
                </a:cubicBezTo>
                <a:cubicBezTo>
                  <a:pt x="1425259" y="4065466"/>
                  <a:pt x="1425259" y="4066794"/>
                  <a:pt x="1425259" y="4064138"/>
                </a:cubicBezTo>
                <a:close/>
                <a:moveTo>
                  <a:pt x="805090" y="4063695"/>
                </a:moveTo>
                <a:cubicBezTo>
                  <a:pt x="807195" y="4066573"/>
                  <a:pt x="809299" y="4069340"/>
                  <a:pt x="811404" y="4072106"/>
                </a:cubicBezTo>
                <a:cubicBezTo>
                  <a:pt x="810201" y="4071332"/>
                  <a:pt x="806894" y="4084834"/>
                  <a:pt x="806894" y="4084834"/>
                </a:cubicBezTo>
                <a:lnTo>
                  <a:pt x="803888" y="4085166"/>
                </a:lnTo>
                <a:lnTo>
                  <a:pt x="809600" y="4089039"/>
                </a:lnTo>
                <a:cubicBezTo>
                  <a:pt x="815912" y="4096233"/>
                  <a:pt x="819520" y="4108849"/>
                  <a:pt x="813809" y="4112059"/>
                </a:cubicBezTo>
                <a:cubicBezTo>
                  <a:pt x="809900" y="4114272"/>
                  <a:pt x="802084" y="4112170"/>
                  <a:pt x="787655" y="4100992"/>
                </a:cubicBezTo>
                <a:cubicBezTo>
                  <a:pt x="790360" y="4090699"/>
                  <a:pt x="794268" y="4085719"/>
                  <a:pt x="798177" y="4084391"/>
                </a:cubicBezTo>
                <a:lnTo>
                  <a:pt x="802084" y="4084170"/>
                </a:lnTo>
                <a:lnTo>
                  <a:pt x="799679" y="4081182"/>
                </a:lnTo>
                <a:cubicBezTo>
                  <a:pt x="799078" y="4079189"/>
                  <a:pt x="799078" y="4075427"/>
                  <a:pt x="799981" y="4071885"/>
                </a:cubicBezTo>
                <a:cubicBezTo>
                  <a:pt x="800882" y="4068344"/>
                  <a:pt x="802686" y="4065024"/>
                  <a:pt x="805090" y="4063695"/>
                </a:cubicBezTo>
                <a:close/>
                <a:moveTo>
                  <a:pt x="641556" y="4058162"/>
                </a:moveTo>
                <a:cubicBezTo>
                  <a:pt x="642759" y="4058383"/>
                  <a:pt x="643961" y="4058937"/>
                  <a:pt x="645164" y="4059933"/>
                </a:cubicBezTo>
                <a:cubicBezTo>
                  <a:pt x="649071" y="4069229"/>
                  <a:pt x="639152" y="4070336"/>
                  <a:pt x="633138" y="4077751"/>
                </a:cubicBezTo>
                <a:cubicBezTo>
                  <a:pt x="626826" y="4071774"/>
                  <a:pt x="631035" y="4060265"/>
                  <a:pt x="637949" y="4058273"/>
                </a:cubicBezTo>
                <a:cubicBezTo>
                  <a:pt x="639152" y="4057941"/>
                  <a:pt x="640354" y="4057830"/>
                  <a:pt x="641556" y="4058162"/>
                </a:cubicBezTo>
                <a:close/>
                <a:moveTo>
                  <a:pt x="1299602" y="4056612"/>
                </a:moveTo>
                <a:lnTo>
                  <a:pt x="1297798" y="4056723"/>
                </a:lnTo>
                <a:lnTo>
                  <a:pt x="1296596" y="4057055"/>
                </a:lnTo>
                <a:lnTo>
                  <a:pt x="1295694" y="4056723"/>
                </a:lnTo>
                <a:lnTo>
                  <a:pt x="1292387" y="4056945"/>
                </a:lnTo>
                <a:cubicBezTo>
                  <a:pt x="1287577" y="4064027"/>
                  <a:pt x="1302308" y="4062367"/>
                  <a:pt x="1293589" y="4067016"/>
                </a:cubicBezTo>
                <a:cubicBezTo>
                  <a:pt x="1300504" y="4070446"/>
                  <a:pt x="1306216" y="4074541"/>
                  <a:pt x="1311927" y="4078747"/>
                </a:cubicBezTo>
                <a:lnTo>
                  <a:pt x="1320945" y="4086604"/>
                </a:lnTo>
                <a:lnTo>
                  <a:pt x="1321246" y="4086494"/>
                </a:lnTo>
                <a:lnTo>
                  <a:pt x="1321246" y="4086715"/>
                </a:lnTo>
                <a:lnTo>
                  <a:pt x="1327259" y="4091917"/>
                </a:lnTo>
                <a:cubicBezTo>
                  <a:pt x="1326056" y="4093466"/>
                  <a:pt x="1323951" y="4093134"/>
                  <a:pt x="1321246" y="4092138"/>
                </a:cubicBezTo>
                <a:lnTo>
                  <a:pt x="1317639" y="4090589"/>
                </a:lnTo>
                <a:lnTo>
                  <a:pt x="1316737" y="4091585"/>
                </a:lnTo>
                <a:cubicBezTo>
                  <a:pt x="1315234" y="4092691"/>
                  <a:pt x="1313731" y="4093355"/>
                  <a:pt x="1311326" y="4093466"/>
                </a:cubicBezTo>
                <a:lnTo>
                  <a:pt x="1314633" y="4089150"/>
                </a:lnTo>
                <a:lnTo>
                  <a:pt x="1311326" y="4087490"/>
                </a:lnTo>
                <a:cubicBezTo>
                  <a:pt x="1304411" y="4084059"/>
                  <a:pt x="1297197" y="4080850"/>
                  <a:pt x="1293289" y="4085166"/>
                </a:cubicBezTo>
                <a:cubicBezTo>
                  <a:pt x="1298099" y="4091474"/>
                  <a:pt x="1304712" y="4096011"/>
                  <a:pt x="1313129" y="4098557"/>
                </a:cubicBezTo>
                <a:lnTo>
                  <a:pt x="1314032" y="4098778"/>
                </a:lnTo>
                <a:lnTo>
                  <a:pt x="1315835" y="4095569"/>
                </a:lnTo>
                <a:cubicBezTo>
                  <a:pt x="1317639" y="4095901"/>
                  <a:pt x="1318540" y="4096786"/>
                  <a:pt x="1319142" y="4097672"/>
                </a:cubicBezTo>
                <a:lnTo>
                  <a:pt x="1319142" y="4100217"/>
                </a:lnTo>
                <a:lnTo>
                  <a:pt x="1332068" y="4103537"/>
                </a:lnTo>
                <a:lnTo>
                  <a:pt x="1328762" y="4095458"/>
                </a:lnTo>
                <a:cubicBezTo>
                  <a:pt x="1328762" y="4092581"/>
                  <a:pt x="1330265" y="4090035"/>
                  <a:pt x="1332068" y="4087490"/>
                </a:cubicBezTo>
                <a:lnTo>
                  <a:pt x="1344694" y="4074541"/>
                </a:lnTo>
                <a:lnTo>
                  <a:pt x="1343793" y="4073877"/>
                </a:lnTo>
                <a:lnTo>
                  <a:pt x="1338382" y="4071885"/>
                </a:lnTo>
                <a:lnTo>
                  <a:pt x="1338080" y="4072328"/>
                </a:lnTo>
                <a:cubicBezTo>
                  <a:pt x="1336578" y="4070004"/>
                  <a:pt x="1333572" y="4068454"/>
                  <a:pt x="1329965" y="4067126"/>
                </a:cubicBezTo>
                <a:lnTo>
                  <a:pt x="1327259" y="4066462"/>
                </a:lnTo>
                <a:lnTo>
                  <a:pt x="1322749" y="4067569"/>
                </a:lnTo>
                <a:cubicBezTo>
                  <a:pt x="1321246" y="4066573"/>
                  <a:pt x="1320645" y="4065688"/>
                  <a:pt x="1320945" y="4065024"/>
                </a:cubicBezTo>
                <a:lnTo>
                  <a:pt x="1321246" y="4064802"/>
                </a:lnTo>
                <a:lnTo>
                  <a:pt x="1317939" y="4063806"/>
                </a:lnTo>
                <a:lnTo>
                  <a:pt x="1312829" y="4061482"/>
                </a:lnTo>
                <a:lnTo>
                  <a:pt x="1314032" y="4062367"/>
                </a:lnTo>
                <a:cubicBezTo>
                  <a:pt x="1308921" y="4061703"/>
                  <a:pt x="1305615" y="4057609"/>
                  <a:pt x="1299602" y="4056612"/>
                </a:cubicBezTo>
                <a:close/>
                <a:moveTo>
                  <a:pt x="6242311" y="4056170"/>
                </a:moveTo>
                <a:cubicBezTo>
                  <a:pt x="6244416" y="4056723"/>
                  <a:pt x="6245017" y="4058051"/>
                  <a:pt x="6245017" y="4058051"/>
                </a:cubicBezTo>
                <a:cubicBezTo>
                  <a:pt x="6244416" y="4063474"/>
                  <a:pt x="6241710" y="4068344"/>
                  <a:pt x="6235398" y="4066905"/>
                </a:cubicBezTo>
                <a:cubicBezTo>
                  <a:pt x="6233293" y="4066462"/>
                  <a:pt x="6231189" y="4065909"/>
                  <a:pt x="6232691" y="4065134"/>
                </a:cubicBezTo>
                <a:cubicBezTo>
                  <a:pt x="6231790" y="4063806"/>
                  <a:pt x="6233293" y="4063031"/>
                  <a:pt x="6233894" y="4060929"/>
                </a:cubicBezTo>
                <a:cubicBezTo>
                  <a:pt x="6235999" y="4058051"/>
                  <a:pt x="6240208" y="4055727"/>
                  <a:pt x="6242311" y="4056170"/>
                </a:cubicBezTo>
                <a:close/>
                <a:moveTo>
                  <a:pt x="932250" y="4053292"/>
                </a:moveTo>
                <a:cubicBezTo>
                  <a:pt x="932250" y="4053292"/>
                  <a:pt x="933153" y="4055395"/>
                  <a:pt x="933754" y="4057498"/>
                </a:cubicBezTo>
                <a:cubicBezTo>
                  <a:pt x="934655" y="4059711"/>
                  <a:pt x="934655" y="4059601"/>
                  <a:pt x="937061" y="4059047"/>
                </a:cubicBezTo>
                <a:cubicBezTo>
                  <a:pt x="937661" y="4061150"/>
                  <a:pt x="937661" y="4061150"/>
                  <a:pt x="936460" y="4063806"/>
                </a:cubicBezTo>
                <a:cubicBezTo>
                  <a:pt x="935557" y="4061703"/>
                  <a:pt x="930146" y="4053846"/>
                  <a:pt x="932250" y="4053292"/>
                </a:cubicBezTo>
                <a:close/>
                <a:moveTo>
                  <a:pt x="5124325" y="4044549"/>
                </a:moveTo>
                <a:lnTo>
                  <a:pt x="5123724" y="4046209"/>
                </a:lnTo>
                <a:lnTo>
                  <a:pt x="5123122" y="4048091"/>
                </a:lnTo>
                <a:lnTo>
                  <a:pt x="5123724" y="4048755"/>
                </a:lnTo>
                <a:lnTo>
                  <a:pt x="5124927" y="4049640"/>
                </a:lnTo>
                <a:lnTo>
                  <a:pt x="5132141" y="4050083"/>
                </a:lnTo>
                <a:lnTo>
                  <a:pt x="5134244" y="4050858"/>
                </a:lnTo>
                <a:lnTo>
                  <a:pt x="5135447" y="4050194"/>
                </a:lnTo>
                <a:lnTo>
                  <a:pt x="5126129" y="4044992"/>
                </a:lnTo>
                <a:close/>
                <a:moveTo>
                  <a:pt x="991171" y="4042447"/>
                </a:moveTo>
                <a:cubicBezTo>
                  <a:pt x="992975" y="4043885"/>
                  <a:pt x="993876" y="4045767"/>
                  <a:pt x="994478" y="4047980"/>
                </a:cubicBezTo>
                <a:lnTo>
                  <a:pt x="993876" y="4053071"/>
                </a:lnTo>
                <a:lnTo>
                  <a:pt x="994779" y="4053071"/>
                </a:lnTo>
                <a:lnTo>
                  <a:pt x="994478" y="4046652"/>
                </a:lnTo>
                <a:cubicBezTo>
                  <a:pt x="995680" y="4046873"/>
                  <a:pt x="996281" y="4047537"/>
                  <a:pt x="996281" y="4048423"/>
                </a:cubicBezTo>
                <a:cubicBezTo>
                  <a:pt x="996582" y="4049308"/>
                  <a:pt x="996281" y="4050304"/>
                  <a:pt x="995981" y="4051300"/>
                </a:cubicBezTo>
                <a:lnTo>
                  <a:pt x="995981" y="4053071"/>
                </a:lnTo>
                <a:lnTo>
                  <a:pt x="999287" y="4052850"/>
                </a:lnTo>
                <a:cubicBezTo>
                  <a:pt x="1004698" y="4058162"/>
                  <a:pt x="1006503" y="4063031"/>
                  <a:pt x="1005902" y="4067126"/>
                </a:cubicBezTo>
                <a:cubicBezTo>
                  <a:pt x="1004698" y="4079300"/>
                  <a:pt x="983055" y="4083838"/>
                  <a:pt x="972834" y="4070225"/>
                </a:cubicBezTo>
                <a:cubicBezTo>
                  <a:pt x="972834" y="4066130"/>
                  <a:pt x="975239" y="4062478"/>
                  <a:pt x="978846" y="4059490"/>
                </a:cubicBezTo>
                <a:lnTo>
                  <a:pt x="980650" y="4058494"/>
                </a:lnTo>
                <a:lnTo>
                  <a:pt x="981551" y="4053514"/>
                </a:lnTo>
                <a:cubicBezTo>
                  <a:pt x="983055" y="4047980"/>
                  <a:pt x="986061" y="4043885"/>
                  <a:pt x="991171" y="4042447"/>
                </a:cubicBezTo>
                <a:close/>
                <a:moveTo>
                  <a:pt x="1379867" y="4039348"/>
                </a:moveTo>
                <a:cubicBezTo>
                  <a:pt x="1381369" y="4040122"/>
                  <a:pt x="1384976" y="4040344"/>
                  <a:pt x="1385578" y="4042447"/>
                </a:cubicBezTo>
                <a:cubicBezTo>
                  <a:pt x="1386480" y="4044549"/>
                  <a:pt x="1386480" y="4044549"/>
                  <a:pt x="1385277" y="4047205"/>
                </a:cubicBezTo>
                <a:cubicBezTo>
                  <a:pt x="1381369" y="4043553"/>
                  <a:pt x="1381369" y="4043553"/>
                  <a:pt x="1379867" y="4039348"/>
                </a:cubicBezTo>
                <a:close/>
                <a:moveTo>
                  <a:pt x="713403" y="4038462"/>
                </a:moveTo>
                <a:cubicBezTo>
                  <a:pt x="715808" y="4038794"/>
                  <a:pt x="717612" y="4040233"/>
                  <a:pt x="720618" y="4043443"/>
                </a:cubicBezTo>
                <a:cubicBezTo>
                  <a:pt x="720618" y="4043443"/>
                  <a:pt x="721519" y="4045545"/>
                  <a:pt x="721519" y="4045545"/>
                </a:cubicBezTo>
                <a:lnTo>
                  <a:pt x="723323" y="4054731"/>
                </a:lnTo>
                <a:lnTo>
                  <a:pt x="725428" y="4055948"/>
                </a:lnTo>
                <a:lnTo>
                  <a:pt x="729336" y="4051522"/>
                </a:lnTo>
                <a:cubicBezTo>
                  <a:pt x="731741" y="4049862"/>
                  <a:pt x="735047" y="4048644"/>
                  <a:pt x="736551" y="4049419"/>
                </a:cubicBezTo>
                <a:cubicBezTo>
                  <a:pt x="745869" y="4051522"/>
                  <a:pt x="743164" y="4060929"/>
                  <a:pt x="744065" y="4071774"/>
                </a:cubicBezTo>
                <a:cubicBezTo>
                  <a:pt x="740759" y="4070225"/>
                  <a:pt x="738956" y="4073656"/>
                  <a:pt x="737152" y="4077087"/>
                </a:cubicBezTo>
                <a:cubicBezTo>
                  <a:pt x="732342" y="4074763"/>
                  <a:pt x="723924" y="4072217"/>
                  <a:pt x="723023" y="4065245"/>
                </a:cubicBezTo>
                <a:lnTo>
                  <a:pt x="723924" y="4061150"/>
                </a:lnTo>
                <a:lnTo>
                  <a:pt x="720317" y="4066352"/>
                </a:lnTo>
                <a:lnTo>
                  <a:pt x="717311" y="4066462"/>
                </a:lnTo>
                <a:lnTo>
                  <a:pt x="716710" y="4069561"/>
                </a:lnTo>
                <a:cubicBezTo>
                  <a:pt x="713403" y="4068454"/>
                  <a:pt x="710096" y="4069561"/>
                  <a:pt x="707691" y="4069450"/>
                </a:cubicBezTo>
                <a:lnTo>
                  <a:pt x="705888" y="4065466"/>
                </a:lnTo>
                <a:lnTo>
                  <a:pt x="701078" y="4061703"/>
                </a:lnTo>
                <a:cubicBezTo>
                  <a:pt x="701078" y="4058715"/>
                  <a:pt x="702280" y="4056391"/>
                  <a:pt x="704084" y="4054731"/>
                </a:cubicBezTo>
                <a:lnTo>
                  <a:pt x="707391" y="4053403"/>
                </a:lnTo>
                <a:lnTo>
                  <a:pt x="706790" y="4049308"/>
                </a:lnTo>
                <a:cubicBezTo>
                  <a:pt x="706790" y="4046541"/>
                  <a:pt x="706790" y="4043775"/>
                  <a:pt x="705588" y="4040676"/>
                </a:cubicBezTo>
                <a:cubicBezTo>
                  <a:pt x="709195" y="4039126"/>
                  <a:pt x="711299" y="4038241"/>
                  <a:pt x="713403" y="4038462"/>
                </a:cubicBezTo>
                <a:close/>
                <a:moveTo>
                  <a:pt x="1377161" y="4036692"/>
                </a:moveTo>
                <a:cubicBezTo>
                  <a:pt x="1377762" y="4037024"/>
                  <a:pt x="1378363" y="4037688"/>
                  <a:pt x="1378964" y="4038684"/>
                </a:cubicBezTo>
                <a:cubicBezTo>
                  <a:pt x="1378964" y="4038684"/>
                  <a:pt x="1378063" y="4040012"/>
                  <a:pt x="1378063" y="4040012"/>
                </a:cubicBezTo>
                <a:cubicBezTo>
                  <a:pt x="1376559" y="4039126"/>
                  <a:pt x="1375057" y="4038241"/>
                  <a:pt x="1375658" y="4037024"/>
                </a:cubicBezTo>
                <a:cubicBezTo>
                  <a:pt x="1375958" y="4036470"/>
                  <a:pt x="1376559" y="4036360"/>
                  <a:pt x="1377161" y="4036692"/>
                </a:cubicBezTo>
                <a:close/>
                <a:moveTo>
                  <a:pt x="573617" y="4036028"/>
                </a:moveTo>
                <a:cubicBezTo>
                  <a:pt x="576323" y="4035364"/>
                  <a:pt x="578728" y="4035585"/>
                  <a:pt x="580832" y="4036360"/>
                </a:cubicBezTo>
                <a:cubicBezTo>
                  <a:pt x="586544" y="4038573"/>
                  <a:pt x="588948" y="4045656"/>
                  <a:pt x="582034" y="4049751"/>
                </a:cubicBezTo>
                <a:cubicBezTo>
                  <a:pt x="573918" y="4045435"/>
                  <a:pt x="572415" y="4041119"/>
                  <a:pt x="573617" y="4036028"/>
                </a:cubicBezTo>
                <a:close/>
                <a:moveTo>
                  <a:pt x="1372050" y="4033704"/>
                </a:moveTo>
                <a:lnTo>
                  <a:pt x="1372952" y="4035696"/>
                </a:lnTo>
                <a:cubicBezTo>
                  <a:pt x="1372651" y="4037798"/>
                  <a:pt x="1371750" y="4036470"/>
                  <a:pt x="1372651" y="4037798"/>
                </a:cubicBezTo>
                <a:cubicBezTo>
                  <a:pt x="1372351" y="4039901"/>
                  <a:pt x="1373553" y="4039016"/>
                  <a:pt x="1373553" y="4039016"/>
                </a:cubicBezTo>
                <a:cubicBezTo>
                  <a:pt x="1373553" y="4039016"/>
                  <a:pt x="1372050" y="4039790"/>
                  <a:pt x="1372050" y="4039790"/>
                </a:cubicBezTo>
                <a:cubicBezTo>
                  <a:pt x="1372050" y="4039790"/>
                  <a:pt x="1372351" y="4039901"/>
                  <a:pt x="1371449" y="4044107"/>
                </a:cubicBezTo>
                <a:lnTo>
                  <a:pt x="1371750" y="4046099"/>
                </a:lnTo>
                <a:lnTo>
                  <a:pt x="1377161" y="4047980"/>
                </a:lnTo>
                <a:cubicBezTo>
                  <a:pt x="1383474" y="4049972"/>
                  <a:pt x="1390688" y="4052186"/>
                  <a:pt x="1397603" y="4053071"/>
                </a:cubicBezTo>
                <a:cubicBezTo>
                  <a:pt x="1397903" y="4055063"/>
                  <a:pt x="1398204" y="4056834"/>
                  <a:pt x="1399105" y="4058273"/>
                </a:cubicBezTo>
                <a:lnTo>
                  <a:pt x="1401811" y="4061593"/>
                </a:lnTo>
                <a:lnTo>
                  <a:pt x="1409627" y="4062921"/>
                </a:lnTo>
                <a:cubicBezTo>
                  <a:pt x="1408124" y="4061261"/>
                  <a:pt x="1408124" y="4061261"/>
                  <a:pt x="1408425" y="4058273"/>
                </a:cubicBezTo>
                <a:cubicBezTo>
                  <a:pt x="1412933" y="4060486"/>
                  <a:pt x="1412933" y="4060486"/>
                  <a:pt x="1415940" y="4063917"/>
                </a:cubicBezTo>
                <a:lnTo>
                  <a:pt x="1414737" y="4063917"/>
                </a:lnTo>
                <a:lnTo>
                  <a:pt x="1417443" y="4064470"/>
                </a:lnTo>
                <a:cubicBezTo>
                  <a:pt x="1417443" y="4064359"/>
                  <a:pt x="1417142" y="4064359"/>
                  <a:pt x="1417142" y="4064249"/>
                </a:cubicBezTo>
                <a:cubicBezTo>
                  <a:pt x="1417142" y="4064249"/>
                  <a:pt x="1417142" y="4062810"/>
                  <a:pt x="1417142" y="4062810"/>
                </a:cubicBezTo>
                <a:cubicBezTo>
                  <a:pt x="1418946" y="4063142"/>
                  <a:pt x="1420749" y="4063363"/>
                  <a:pt x="1420449" y="4064802"/>
                </a:cubicBezTo>
                <a:cubicBezTo>
                  <a:pt x="1420449" y="4065024"/>
                  <a:pt x="1420148" y="4064913"/>
                  <a:pt x="1420148" y="4065134"/>
                </a:cubicBezTo>
                <a:cubicBezTo>
                  <a:pt x="1422253" y="4065688"/>
                  <a:pt x="1424658" y="4066462"/>
                  <a:pt x="1426762" y="4067126"/>
                </a:cubicBezTo>
                <a:cubicBezTo>
                  <a:pt x="1428866" y="4067680"/>
                  <a:pt x="1430670" y="4068233"/>
                  <a:pt x="1432474" y="4068786"/>
                </a:cubicBezTo>
                <a:lnTo>
                  <a:pt x="1437884" y="4070114"/>
                </a:lnTo>
                <a:lnTo>
                  <a:pt x="1428566" y="4066241"/>
                </a:lnTo>
                <a:cubicBezTo>
                  <a:pt x="1432474" y="4067569"/>
                  <a:pt x="1437283" y="4068344"/>
                  <a:pt x="1441793" y="4069340"/>
                </a:cubicBezTo>
                <a:lnTo>
                  <a:pt x="1449309" y="4072549"/>
                </a:lnTo>
                <a:lnTo>
                  <a:pt x="1464339" y="4074873"/>
                </a:lnTo>
                <a:cubicBezTo>
                  <a:pt x="1470051" y="4075427"/>
                  <a:pt x="1475462" y="4075980"/>
                  <a:pt x="1481474" y="4075427"/>
                </a:cubicBezTo>
                <a:cubicBezTo>
                  <a:pt x="1486584" y="4074541"/>
                  <a:pt x="1492597" y="4073988"/>
                  <a:pt x="1498909" y="4072328"/>
                </a:cubicBezTo>
                <a:lnTo>
                  <a:pt x="1497407" y="4062367"/>
                </a:lnTo>
                <a:lnTo>
                  <a:pt x="1497106" y="4062589"/>
                </a:lnTo>
                <a:cubicBezTo>
                  <a:pt x="1494100" y="4065134"/>
                  <a:pt x="1489290" y="4065688"/>
                  <a:pt x="1485383" y="4063695"/>
                </a:cubicBezTo>
                <a:cubicBezTo>
                  <a:pt x="1482677" y="4062478"/>
                  <a:pt x="1480272" y="4060043"/>
                  <a:pt x="1479369" y="4056502"/>
                </a:cubicBezTo>
                <a:cubicBezTo>
                  <a:pt x="1480572" y="4054510"/>
                  <a:pt x="1483879" y="4052075"/>
                  <a:pt x="1487786" y="4050526"/>
                </a:cubicBezTo>
                <a:lnTo>
                  <a:pt x="1495603" y="4049530"/>
                </a:lnTo>
                <a:lnTo>
                  <a:pt x="1495603" y="4049087"/>
                </a:lnTo>
                <a:lnTo>
                  <a:pt x="1496806" y="4041451"/>
                </a:lnTo>
                <a:lnTo>
                  <a:pt x="1487185" y="4041451"/>
                </a:lnTo>
                <a:lnTo>
                  <a:pt x="1479671" y="4049419"/>
                </a:lnTo>
                <a:cubicBezTo>
                  <a:pt x="1476063" y="4051522"/>
                  <a:pt x="1472155" y="4052739"/>
                  <a:pt x="1468246" y="4054067"/>
                </a:cubicBezTo>
                <a:cubicBezTo>
                  <a:pt x="1463437" y="4051632"/>
                  <a:pt x="1460732" y="4049308"/>
                  <a:pt x="1460130" y="4047095"/>
                </a:cubicBezTo>
                <a:lnTo>
                  <a:pt x="1461333" y="4043000"/>
                </a:lnTo>
                <a:lnTo>
                  <a:pt x="1459228" y="4041229"/>
                </a:lnTo>
                <a:lnTo>
                  <a:pt x="1446302" y="4041008"/>
                </a:lnTo>
                <a:lnTo>
                  <a:pt x="1442394" y="4049972"/>
                </a:lnTo>
                <a:cubicBezTo>
                  <a:pt x="1439388" y="4054952"/>
                  <a:pt x="1435781" y="4058383"/>
                  <a:pt x="1429769" y="4056945"/>
                </a:cubicBezTo>
                <a:cubicBezTo>
                  <a:pt x="1426762" y="4051854"/>
                  <a:pt x="1428566" y="4046541"/>
                  <a:pt x="1431572" y="4041008"/>
                </a:cubicBezTo>
                <a:lnTo>
                  <a:pt x="1431572" y="4040676"/>
                </a:lnTo>
                <a:lnTo>
                  <a:pt x="1396701" y="4038241"/>
                </a:lnTo>
                <a:close/>
                <a:moveTo>
                  <a:pt x="447660" y="4029166"/>
                </a:moveTo>
                <a:cubicBezTo>
                  <a:pt x="454273" y="4032375"/>
                  <a:pt x="455777" y="4033925"/>
                  <a:pt x="459384" y="4040122"/>
                </a:cubicBezTo>
                <a:cubicBezTo>
                  <a:pt x="454874" y="4048865"/>
                  <a:pt x="447058" y="4051411"/>
                  <a:pt x="439243" y="4054067"/>
                </a:cubicBezTo>
                <a:cubicBezTo>
                  <a:pt x="419401" y="4044328"/>
                  <a:pt x="439844" y="4036249"/>
                  <a:pt x="447660" y="4029166"/>
                </a:cubicBezTo>
                <a:close/>
                <a:moveTo>
                  <a:pt x="1046484" y="4027063"/>
                </a:moveTo>
                <a:cubicBezTo>
                  <a:pt x="1051895" y="4025625"/>
                  <a:pt x="1056104" y="4027506"/>
                  <a:pt x="1057607" y="4030494"/>
                </a:cubicBezTo>
                <a:cubicBezTo>
                  <a:pt x="1058810" y="4033482"/>
                  <a:pt x="1057607" y="4037577"/>
                  <a:pt x="1052497" y="4040565"/>
                </a:cubicBezTo>
                <a:cubicBezTo>
                  <a:pt x="1045282" y="4036470"/>
                  <a:pt x="1044380" y="4032265"/>
                  <a:pt x="1046484" y="4027063"/>
                </a:cubicBezTo>
                <a:close/>
                <a:moveTo>
                  <a:pt x="596163" y="4021087"/>
                </a:moveTo>
                <a:cubicBezTo>
                  <a:pt x="611194" y="4026953"/>
                  <a:pt x="609991" y="4036802"/>
                  <a:pt x="610292" y="4046320"/>
                </a:cubicBezTo>
                <a:cubicBezTo>
                  <a:pt x="603078" y="4044881"/>
                  <a:pt x="590451" y="4032043"/>
                  <a:pt x="596163" y="4021087"/>
                </a:cubicBezTo>
                <a:close/>
                <a:moveTo>
                  <a:pt x="2242029" y="4018542"/>
                </a:moveTo>
                <a:lnTo>
                  <a:pt x="2236919" y="4019759"/>
                </a:lnTo>
                <a:lnTo>
                  <a:pt x="2233011" y="4026842"/>
                </a:lnTo>
                <a:lnTo>
                  <a:pt x="2236318" y="4028723"/>
                </a:lnTo>
                <a:lnTo>
                  <a:pt x="2236017" y="4029719"/>
                </a:lnTo>
                <a:lnTo>
                  <a:pt x="2237220" y="4028281"/>
                </a:lnTo>
                <a:cubicBezTo>
                  <a:pt x="2240527" y="4024739"/>
                  <a:pt x="2244434" y="4020423"/>
                  <a:pt x="2242029" y="4018542"/>
                </a:cubicBezTo>
                <a:close/>
                <a:moveTo>
                  <a:pt x="1312528" y="4015443"/>
                </a:moveTo>
                <a:lnTo>
                  <a:pt x="1304111" y="4021087"/>
                </a:lnTo>
                <a:lnTo>
                  <a:pt x="1306516" y="4022526"/>
                </a:lnTo>
                <a:lnTo>
                  <a:pt x="1312528" y="4026178"/>
                </a:lnTo>
                <a:lnTo>
                  <a:pt x="1314332" y="4026067"/>
                </a:lnTo>
                <a:lnTo>
                  <a:pt x="1314032" y="4026953"/>
                </a:lnTo>
                <a:lnTo>
                  <a:pt x="1315234" y="4027727"/>
                </a:lnTo>
                <a:cubicBezTo>
                  <a:pt x="1317939" y="4029166"/>
                  <a:pt x="1320945" y="4029941"/>
                  <a:pt x="1323651" y="4030273"/>
                </a:cubicBezTo>
                <a:cubicBezTo>
                  <a:pt x="1328161" y="4030494"/>
                  <a:pt x="1333572" y="4032154"/>
                  <a:pt x="1338682" y="4033704"/>
                </a:cubicBezTo>
                <a:cubicBezTo>
                  <a:pt x="1344694" y="4036802"/>
                  <a:pt x="1351007" y="4038684"/>
                  <a:pt x="1357320" y="4040676"/>
                </a:cubicBezTo>
                <a:lnTo>
                  <a:pt x="1365136" y="4043443"/>
                </a:lnTo>
                <a:lnTo>
                  <a:pt x="1368142" y="4034036"/>
                </a:lnTo>
                <a:lnTo>
                  <a:pt x="1368744" y="4033372"/>
                </a:lnTo>
                <a:lnTo>
                  <a:pt x="1368142" y="4033150"/>
                </a:lnTo>
                <a:lnTo>
                  <a:pt x="1368744" y="4033039"/>
                </a:lnTo>
                <a:lnTo>
                  <a:pt x="1357320" y="4030937"/>
                </a:lnTo>
                <a:lnTo>
                  <a:pt x="1338983" y="4025292"/>
                </a:lnTo>
                <a:lnTo>
                  <a:pt x="1329965" y="4027174"/>
                </a:lnTo>
                <a:lnTo>
                  <a:pt x="1323651" y="4020534"/>
                </a:lnTo>
                <a:lnTo>
                  <a:pt x="1321246" y="4019759"/>
                </a:lnTo>
                <a:close/>
                <a:moveTo>
                  <a:pt x="6205035" y="4014004"/>
                </a:moveTo>
                <a:cubicBezTo>
                  <a:pt x="6210446" y="4015000"/>
                  <a:pt x="6215556" y="4018874"/>
                  <a:pt x="6216759" y="4024739"/>
                </a:cubicBezTo>
                <a:cubicBezTo>
                  <a:pt x="6214955" y="4027506"/>
                  <a:pt x="6213753" y="4032707"/>
                  <a:pt x="6209845" y="4036028"/>
                </a:cubicBezTo>
                <a:cubicBezTo>
                  <a:pt x="6197820" y="4036028"/>
                  <a:pt x="6191808" y="4030051"/>
                  <a:pt x="6189704" y="4020644"/>
                </a:cubicBezTo>
                <a:cubicBezTo>
                  <a:pt x="6193311" y="4015000"/>
                  <a:pt x="6199323" y="4013119"/>
                  <a:pt x="6205035" y="4014004"/>
                </a:cubicBezTo>
                <a:close/>
                <a:moveTo>
                  <a:pt x="5076527" y="4012897"/>
                </a:moveTo>
                <a:cubicBezTo>
                  <a:pt x="5077729" y="4024628"/>
                  <a:pt x="5068411" y="4035585"/>
                  <a:pt x="5059392" y="4042336"/>
                </a:cubicBezTo>
                <a:lnTo>
                  <a:pt x="5057588" y="4045877"/>
                </a:lnTo>
                <a:lnTo>
                  <a:pt x="5055183" y="4044660"/>
                </a:lnTo>
                <a:lnTo>
                  <a:pt x="5050674" y="4047537"/>
                </a:lnTo>
                <a:lnTo>
                  <a:pt x="5051576" y="4041893"/>
                </a:lnTo>
                <a:lnTo>
                  <a:pt x="5050073" y="4039016"/>
                </a:lnTo>
                <a:cubicBezTo>
                  <a:pt x="5050073" y="4037577"/>
                  <a:pt x="5050674" y="4036028"/>
                  <a:pt x="5051576" y="4034589"/>
                </a:cubicBezTo>
                <a:lnTo>
                  <a:pt x="5054582" y="4032154"/>
                </a:lnTo>
                <a:lnTo>
                  <a:pt x="5058791" y="4025071"/>
                </a:lnTo>
                <a:cubicBezTo>
                  <a:pt x="5063902" y="4018652"/>
                  <a:pt x="5070816" y="4013893"/>
                  <a:pt x="5076527" y="4012897"/>
                </a:cubicBezTo>
                <a:close/>
                <a:moveTo>
                  <a:pt x="6405545" y="4012787"/>
                </a:moveTo>
                <a:cubicBezTo>
                  <a:pt x="6405545" y="4012787"/>
                  <a:pt x="6408852" y="4013119"/>
                  <a:pt x="6411558" y="4016881"/>
                </a:cubicBezTo>
                <a:cubicBezTo>
                  <a:pt x="6419674" y="4019538"/>
                  <a:pt x="6418472" y="4029387"/>
                  <a:pt x="6418472" y="4029387"/>
                </a:cubicBezTo>
                <a:cubicBezTo>
                  <a:pt x="6418472" y="4029387"/>
                  <a:pt x="6418472" y="4029277"/>
                  <a:pt x="6420275" y="4027949"/>
                </a:cubicBezTo>
                <a:cubicBezTo>
                  <a:pt x="6416668" y="4030715"/>
                  <a:pt x="6414263" y="4035474"/>
                  <a:pt x="6410655" y="4038241"/>
                </a:cubicBezTo>
                <a:cubicBezTo>
                  <a:pt x="6386907" y="4038573"/>
                  <a:pt x="6389613" y="4030605"/>
                  <a:pt x="6389613" y="4018984"/>
                </a:cubicBezTo>
                <a:cubicBezTo>
                  <a:pt x="6394723" y="4017988"/>
                  <a:pt x="6398931" y="4011901"/>
                  <a:pt x="6405545" y="4012787"/>
                </a:cubicBezTo>
                <a:close/>
                <a:moveTo>
                  <a:pt x="6325582" y="4006036"/>
                </a:moveTo>
                <a:cubicBezTo>
                  <a:pt x="6326483" y="4006257"/>
                  <a:pt x="6327686" y="4006921"/>
                  <a:pt x="6329190" y="4007253"/>
                </a:cubicBezTo>
                <a:cubicBezTo>
                  <a:pt x="6327385" y="4008581"/>
                  <a:pt x="6329190" y="4007253"/>
                  <a:pt x="6324079" y="4007806"/>
                </a:cubicBezTo>
                <a:cubicBezTo>
                  <a:pt x="6324380" y="4006146"/>
                  <a:pt x="6324680" y="4005814"/>
                  <a:pt x="6325582" y="4006036"/>
                </a:cubicBezTo>
                <a:close/>
                <a:moveTo>
                  <a:pt x="6054427" y="4005925"/>
                </a:moveTo>
                <a:lnTo>
                  <a:pt x="6052323" y="4007806"/>
                </a:lnTo>
                <a:cubicBezTo>
                  <a:pt x="6048114" y="4010241"/>
                  <a:pt x="6044206" y="4012012"/>
                  <a:pt x="6039998" y="4013451"/>
                </a:cubicBezTo>
                <a:lnTo>
                  <a:pt x="6029477" y="4017435"/>
                </a:lnTo>
                <a:lnTo>
                  <a:pt x="6030679" y="4019427"/>
                </a:lnTo>
                <a:lnTo>
                  <a:pt x="6026770" y="4026842"/>
                </a:lnTo>
                <a:lnTo>
                  <a:pt x="6029777" y="4028723"/>
                </a:lnTo>
                <a:cubicBezTo>
                  <a:pt x="6029477" y="4030826"/>
                  <a:pt x="6030378" y="4034146"/>
                  <a:pt x="6028875" y="4037356"/>
                </a:cubicBezTo>
                <a:cubicBezTo>
                  <a:pt x="6021660" y="4041340"/>
                  <a:pt x="6016248" y="4040012"/>
                  <a:pt x="6012040" y="4035474"/>
                </a:cubicBezTo>
                <a:lnTo>
                  <a:pt x="6012943" y="4033814"/>
                </a:lnTo>
                <a:lnTo>
                  <a:pt x="6010837" y="4033593"/>
                </a:lnTo>
                <a:cubicBezTo>
                  <a:pt x="6009034" y="4033150"/>
                  <a:pt x="6007532" y="4032265"/>
                  <a:pt x="6005728" y="4030715"/>
                </a:cubicBezTo>
                <a:lnTo>
                  <a:pt x="6002421" y="4024628"/>
                </a:lnTo>
                <a:lnTo>
                  <a:pt x="5997611" y="4026289"/>
                </a:lnTo>
                <a:lnTo>
                  <a:pt x="5996109" y="4026842"/>
                </a:lnTo>
                <a:lnTo>
                  <a:pt x="6003623" y="4032265"/>
                </a:lnTo>
                <a:cubicBezTo>
                  <a:pt x="6005426" y="4035364"/>
                  <a:pt x="6005728" y="4039348"/>
                  <a:pt x="6004224" y="4043996"/>
                </a:cubicBezTo>
                <a:cubicBezTo>
                  <a:pt x="5997311" y="4048755"/>
                  <a:pt x="5989494" y="4042557"/>
                  <a:pt x="5984986" y="4039790"/>
                </a:cubicBezTo>
                <a:lnTo>
                  <a:pt x="5986188" y="4037245"/>
                </a:lnTo>
                <a:lnTo>
                  <a:pt x="5982580" y="4037466"/>
                </a:lnTo>
                <a:lnTo>
                  <a:pt x="5981378" y="4037134"/>
                </a:lnTo>
                <a:lnTo>
                  <a:pt x="5965445" y="4043664"/>
                </a:lnTo>
                <a:cubicBezTo>
                  <a:pt x="5957930" y="4046763"/>
                  <a:pt x="5950113" y="4050083"/>
                  <a:pt x="5946207" y="4052075"/>
                </a:cubicBezTo>
                <a:cubicBezTo>
                  <a:pt x="5947108" y="4053956"/>
                  <a:pt x="5948310" y="4056945"/>
                  <a:pt x="5949212" y="4058937"/>
                </a:cubicBezTo>
                <a:cubicBezTo>
                  <a:pt x="5940193" y="4062810"/>
                  <a:pt x="5949212" y="4055948"/>
                  <a:pt x="5941997" y="4054952"/>
                </a:cubicBezTo>
                <a:cubicBezTo>
                  <a:pt x="5941997" y="4056945"/>
                  <a:pt x="5940193" y="4057941"/>
                  <a:pt x="5938089" y="4058937"/>
                </a:cubicBezTo>
                <a:cubicBezTo>
                  <a:pt x="5935985" y="4059933"/>
                  <a:pt x="5933881" y="4059933"/>
                  <a:pt x="5932077" y="4059933"/>
                </a:cubicBezTo>
                <a:cubicBezTo>
                  <a:pt x="5926966" y="4059933"/>
                  <a:pt x="5922758" y="4060929"/>
                  <a:pt x="5921855" y="4067790"/>
                </a:cubicBezTo>
                <a:cubicBezTo>
                  <a:pt x="5916745" y="4067790"/>
                  <a:pt x="5915843" y="4065798"/>
                  <a:pt x="5917948" y="4062810"/>
                </a:cubicBezTo>
                <a:cubicBezTo>
                  <a:pt x="5914942" y="4064802"/>
                  <a:pt x="5903819" y="4072660"/>
                  <a:pt x="5911635" y="4074652"/>
                </a:cubicBezTo>
                <a:cubicBezTo>
                  <a:pt x="5913740" y="4079632"/>
                  <a:pt x="5900813" y="4076644"/>
                  <a:pt x="5906825" y="4082620"/>
                </a:cubicBezTo>
                <a:cubicBezTo>
                  <a:pt x="5901716" y="4082620"/>
                  <a:pt x="5904721" y="4079521"/>
                  <a:pt x="5904721" y="4076644"/>
                </a:cubicBezTo>
                <a:lnTo>
                  <a:pt x="5891795" y="4082178"/>
                </a:lnTo>
                <a:lnTo>
                  <a:pt x="5896304" y="4086051"/>
                </a:lnTo>
                <a:lnTo>
                  <a:pt x="5899610" y="4084502"/>
                </a:lnTo>
                <a:lnTo>
                  <a:pt x="5896905" y="4086383"/>
                </a:lnTo>
                <a:lnTo>
                  <a:pt x="5898107" y="4087600"/>
                </a:lnTo>
                <a:lnTo>
                  <a:pt x="5901716" y="4089482"/>
                </a:lnTo>
                <a:lnTo>
                  <a:pt x="5904721" y="4088154"/>
                </a:lnTo>
                <a:cubicBezTo>
                  <a:pt x="5910733" y="4085055"/>
                  <a:pt x="5916144" y="4081071"/>
                  <a:pt x="5916745" y="4077640"/>
                </a:cubicBezTo>
                <a:cubicBezTo>
                  <a:pt x="5919752" y="4079632"/>
                  <a:pt x="5920052" y="4082620"/>
                  <a:pt x="5926966" y="4083616"/>
                </a:cubicBezTo>
                <a:cubicBezTo>
                  <a:pt x="5930875" y="4078636"/>
                  <a:pt x="5938990" y="4077640"/>
                  <a:pt x="5945003" y="4075648"/>
                </a:cubicBezTo>
                <a:lnTo>
                  <a:pt x="5954022" y="4072549"/>
                </a:lnTo>
                <a:lnTo>
                  <a:pt x="5954923" y="4066241"/>
                </a:lnTo>
                <a:cubicBezTo>
                  <a:pt x="5957028" y="4061039"/>
                  <a:pt x="5960935" y="4056059"/>
                  <a:pt x="5966647" y="4053735"/>
                </a:cubicBezTo>
                <a:lnTo>
                  <a:pt x="5972359" y="4057830"/>
                </a:lnTo>
                <a:lnTo>
                  <a:pt x="5976267" y="4055948"/>
                </a:lnTo>
                <a:cubicBezTo>
                  <a:pt x="5980176" y="4055174"/>
                  <a:pt x="5984384" y="4055506"/>
                  <a:pt x="5988592" y="4055948"/>
                </a:cubicBezTo>
                <a:cubicBezTo>
                  <a:pt x="5997611" y="4055948"/>
                  <a:pt x="6005728" y="4055948"/>
                  <a:pt x="6009635" y="4049972"/>
                </a:cubicBezTo>
                <a:cubicBezTo>
                  <a:pt x="6016851" y="4048976"/>
                  <a:pt x="6008734" y="4054952"/>
                  <a:pt x="6012643" y="4057830"/>
                </a:cubicBezTo>
                <a:cubicBezTo>
                  <a:pt x="6020758" y="4049972"/>
                  <a:pt x="6024967" y="4050083"/>
                  <a:pt x="6034888" y="4044107"/>
                </a:cubicBezTo>
                <a:cubicBezTo>
                  <a:pt x="6023765" y="4044107"/>
                  <a:pt x="6021960" y="4047095"/>
                  <a:pt x="6008734" y="4048091"/>
                </a:cubicBezTo>
                <a:cubicBezTo>
                  <a:pt x="6011740" y="4043111"/>
                  <a:pt x="6018955" y="4042115"/>
                  <a:pt x="6025869" y="4040233"/>
                </a:cubicBezTo>
                <a:cubicBezTo>
                  <a:pt x="6027071" y="4040233"/>
                  <a:pt x="6028875" y="4040122"/>
                  <a:pt x="6030979" y="4039126"/>
                </a:cubicBezTo>
                <a:cubicBezTo>
                  <a:pt x="6031881" y="4039126"/>
                  <a:pt x="6033985" y="4038130"/>
                  <a:pt x="6036090" y="4037134"/>
                </a:cubicBezTo>
                <a:cubicBezTo>
                  <a:pt x="6039096" y="4036138"/>
                  <a:pt x="6043004" y="4034257"/>
                  <a:pt x="6045108" y="4031269"/>
                </a:cubicBezTo>
                <a:cubicBezTo>
                  <a:pt x="6045108" y="4034257"/>
                  <a:pt x="6043004" y="4036138"/>
                  <a:pt x="6039096" y="4038130"/>
                </a:cubicBezTo>
                <a:cubicBezTo>
                  <a:pt x="6057133" y="4034257"/>
                  <a:pt x="6046912" y="4029277"/>
                  <a:pt x="6064348" y="4036249"/>
                </a:cubicBezTo>
                <a:cubicBezTo>
                  <a:pt x="6073366" y="4033261"/>
                  <a:pt x="6070360" y="4029277"/>
                  <a:pt x="6075470" y="4026289"/>
                </a:cubicBezTo>
                <a:cubicBezTo>
                  <a:pt x="6070360" y="4022415"/>
                  <a:pt x="6064348" y="4032154"/>
                  <a:pt x="6059237" y="4033150"/>
                </a:cubicBezTo>
                <a:cubicBezTo>
                  <a:pt x="6062243" y="4029277"/>
                  <a:pt x="6064348" y="4024407"/>
                  <a:pt x="6065249" y="4019427"/>
                </a:cubicBezTo>
                <a:lnTo>
                  <a:pt x="6065850" y="4019427"/>
                </a:lnTo>
                <a:lnTo>
                  <a:pt x="6064949" y="4018984"/>
                </a:lnTo>
                <a:close/>
                <a:moveTo>
                  <a:pt x="1043478" y="4000613"/>
                </a:moveTo>
                <a:cubicBezTo>
                  <a:pt x="1046785" y="4002162"/>
                  <a:pt x="1047687" y="4005372"/>
                  <a:pt x="1047687" y="4008249"/>
                </a:cubicBezTo>
                <a:cubicBezTo>
                  <a:pt x="1047386" y="4011237"/>
                  <a:pt x="1046183" y="4013783"/>
                  <a:pt x="1044981" y="4014225"/>
                </a:cubicBezTo>
                <a:cubicBezTo>
                  <a:pt x="1041675" y="4012676"/>
                  <a:pt x="1039871" y="4007585"/>
                  <a:pt x="1036564" y="4006036"/>
                </a:cubicBezTo>
                <a:cubicBezTo>
                  <a:pt x="1038969" y="4005040"/>
                  <a:pt x="1040772" y="4001609"/>
                  <a:pt x="1043478" y="4000613"/>
                </a:cubicBezTo>
                <a:close/>
                <a:moveTo>
                  <a:pt x="1265632" y="3998953"/>
                </a:moveTo>
                <a:lnTo>
                  <a:pt x="1267436" y="4005372"/>
                </a:lnTo>
                <a:lnTo>
                  <a:pt x="1268037" y="4004597"/>
                </a:lnTo>
                <a:lnTo>
                  <a:pt x="1276454" y="4011569"/>
                </a:lnTo>
                <a:lnTo>
                  <a:pt x="1282466" y="4013119"/>
                </a:lnTo>
                <a:lnTo>
                  <a:pt x="1282768" y="4012897"/>
                </a:lnTo>
                <a:lnTo>
                  <a:pt x="1282768" y="4013229"/>
                </a:lnTo>
                <a:lnTo>
                  <a:pt x="1283369" y="4013451"/>
                </a:lnTo>
                <a:cubicBezTo>
                  <a:pt x="1286375" y="4014115"/>
                  <a:pt x="1289081" y="4014668"/>
                  <a:pt x="1291486" y="4015332"/>
                </a:cubicBezTo>
                <a:cubicBezTo>
                  <a:pt x="1293589" y="4015443"/>
                  <a:pt x="1296295" y="4016549"/>
                  <a:pt x="1299000" y="4017988"/>
                </a:cubicBezTo>
                <a:lnTo>
                  <a:pt x="1290583" y="4006036"/>
                </a:lnTo>
                <a:lnTo>
                  <a:pt x="1290583" y="4004818"/>
                </a:lnTo>
                <a:lnTo>
                  <a:pt x="1287577" y="4003158"/>
                </a:lnTo>
                <a:cubicBezTo>
                  <a:pt x="1283369" y="4001941"/>
                  <a:pt x="1288480" y="4007142"/>
                  <a:pt x="1283069" y="4009134"/>
                </a:cubicBezTo>
                <a:cubicBezTo>
                  <a:pt x="1278859" y="4000613"/>
                  <a:pt x="1268940" y="4006036"/>
                  <a:pt x="1265632" y="3998953"/>
                </a:cubicBezTo>
                <a:close/>
                <a:moveTo>
                  <a:pt x="1017024" y="3991095"/>
                </a:moveTo>
                <a:cubicBezTo>
                  <a:pt x="1020932" y="3990874"/>
                  <a:pt x="1024840" y="3991648"/>
                  <a:pt x="1026944" y="3993862"/>
                </a:cubicBezTo>
                <a:cubicBezTo>
                  <a:pt x="1028147" y="3995301"/>
                  <a:pt x="1028748" y="3997403"/>
                  <a:pt x="1027546" y="4000281"/>
                </a:cubicBezTo>
                <a:cubicBezTo>
                  <a:pt x="1023938" y="4008360"/>
                  <a:pt x="1016423" y="4007032"/>
                  <a:pt x="1008006" y="4004376"/>
                </a:cubicBezTo>
                <a:cubicBezTo>
                  <a:pt x="1008607" y="4000945"/>
                  <a:pt x="1007404" y="3998289"/>
                  <a:pt x="1007704" y="3994858"/>
                </a:cubicBezTo>
                <a:cubicBezTo>
                  <a:pt x="1009509" y="3992866"/>
                  <a:pt x="1013116" y="3991427"/>
                  <a:pt x="1017024" y="3991095"/>
                </a:cubicBezTo>
                <a:close/>
                <a:moveTo>
                  <a:pt x="6092004" y="3986668"/>
                </a:moveTo>
                <a:lnTo>
                  <a:pt x="6091403" y="3986890"/>
                </a:lnTo>
                <a:cubicBezTo>
                  <a:pt x="6089299" y="3987886"/>
                  <a:pt x="6086593" y="3987886"/>
                  <a:pt x="6084488" y="3988882"/>
                </a:cubicBezTo>
                <a:cubicBezTo>
                  <a:pt x="6082384" y="3988882"/>
                  <a:pt x="6081482" y="3988771"/>
                  <a:pt x="6080280" y="3989767"/>
                </a:cubicBezTo>
                <a:cubicBezTo>
                  <a:pt x="6079379" y="3989767"/>
                  <a:pt x="6078476" y="3989767"/>
                  <a:pt x="6078476" y="3989767"/>
                </a:cubicBezTo>
                <a:cubicBezTo>
                  <a:pt x="6077574" y="3989767"/>
                  <a:pt x="6077273" y="3989767"/>
                  <a:pt x="6075470" y="3989767"/>
                </a:cubicBezTo>
                <a:cubicBezTo>
                  <a:pt x="6072464" y="3991759"/>
                  <a:pt x="6073366" y="3992866"/>
                  <a:pt x="6075470" y="3992866"/>
                </a:cubicBezTo>
                <a:cubicBezTo>
                  <a:pt x="6076372" y="3992866"/>
                  <a:pt x="6076372" y="3992866"/>
                  <a:pt x="6077273" y="3992866"/>
                </a:cubicBezTo>
                <a:cubicBezTo>
                  <a:pt x="6078476" y="3992866"/>
                  <a:pt x="6078476" y="3992866"/>
                  <a:pt x="6079379" y="3992866"/>
                </a:cubicBezTo>
                <a:cubicBezTo>
                  <a:pt x="6079379" y="3992866"/>
                  <a:pt x="6080280" y="3992755"/>
                  <a:pt x="6080280" y="3991870"/>
                </a:cubicBezTo>
                <a:cubicBezTo>
                  <a:pt x="6080280" y="3993751"/>
                  <a:pt x="6080581" y="3993751"/>
                  <a:pt x="6079379" y="3994747"/>
                </a:cubicBezTo>
                <a:cubicBezTo>
                  <a:pt x="6078476" y="3995743"/>
                  <a:pt x="6076372" y="3996739"/>
                  <a:pt x="6074268" y="3997625"/>
                </a:cubicBezTo>
                <a:lnTo>
                  <a:pt x="6073065" y="3997957"/>
                </a:lnTo>
                <a:lnTo>
                  <a:pt x="6078777" y="4013783"/>
                </a:lnTo>
                <a:lnTo>
                  <a:pt x="6079679" y="4021308"/>
                </a:lnTo>
                <a:lnTo>
                  <a:pt x="6088396" y="4020423"/>
                </a:lnTo>
                <a:cubicBezTo>
                  <a:pt x="6089599" y="4020423"/>
                  <a:pt x="6089599" y="4020423"/>
                  <a:pt x="6090502" y="4019427"/>
                </a:cubicBezTo>
                <a:cubicBezTo>
                  <a:pt x="6090502" y="4019427"/>
                  <a:pt x="6090502" y="4019427"/>
                  <a:pt x="6091403" y="4019427"/>
                </a:cubicBezTo>
                <a:cubicBezTo>
                  <a:pt x="6091403" y="4019427"/>
                  <a:pt x="6092605" y="4019427"/>
                  <a:pt x="6092605" y="4019427"/>
                </a:cubicBezTo>
                <a:cubicBezTo>
                  <a:pt x="6093507" y="4019427"/>
                  <a:pt x="6094408" y="4019427"/>
                  <a:pt x="6094408" y="4018431"/>
                </a:cubicBezTo>
                <a:cubicBezTo>
                  <a:pt x="6096514" y="4017435"/>
                  <a:pt x="6093507" y="4013561"/>
                  <a:pt x="6092605" y="4011569"/>
                </a:cubicBezTo>
                <a:cubicBezTo>
                  <a:pt x="6094710" y="4008581"/>
                  <a:pt x="6095611" y="4012565"/>
                  <a:pt x="6097716" y="4015443"/>
                </a:cubicBezTo>
                <a:lnTo>
                  <a:pt x="6098317" y="4014225"/>
                </a:lnTo>
                <a:lnTo>
                  <a:pt x="6095010" y="4008360"/>
                </a:lnTo>
                <a:cubicBezTo>
                  <a:pt x="6094108" y="4005482"/>
                  <a:pt x="6093206" y="4002384"/>
                  <a:pt x="6090802" y="3999285"/>
                </a:cubicBezTo>
                <a:cubicBezTo>
                  <a:pt x="6092305" y="3997071"/>
                  <a:pt x="6091704" y="3993973"/>
                  <a:pt x="6091403" y="3990763"/>
                </a:cubicBezTo>
                <a:close/>
                <a:moveTo>
                  <a:pt x="665605" y="3978589"/>
                </a:moveTo>
                <a:cubicBezTo>
                  <a:pt x="666808" y="3978589"/>
                  <a:pt x="667710" y="3978921"/>
                  <a:pt x="670115" y="3979364"/>
                </a:cubicBezTo>
                <a:cubicBezTo>
                  <a:pt x="668912" y="3980249"/>
                  <a:pt x="667109" y="3983127"/>
                  <a:pt x="665004" y="3982573"/>
                </a:cubicBezTo>
                <a:cubicBezTo>
                  <a:pt x="662599" y="3982020"/>
                  <a:pt x="662599" y="3982020"/>
                  <a:pt x="660795" y="3979364"/>
                </a:cubicBezTo>
                <a:cubicBezTo>
                  <a:pt x="663200" y="3978921"/>
                  <a:pt x="664403" y="3978589"/>
                  <a:pt x="665605" y="3978589"/>
                </a:cubicBezTo>
                <a:close/>
                <a:moveTo>
                  <a:pt x="672219" y="3976708"/>
                </a:moveTo>
                <a:cubicBezTo>
                  <a:pt x="672820" y="3976486"/>
                  <a:pt x="673722" y="3976708"/>
                  <a:pt x="674022" y="3977261"/>
                </a:cubicBezTo>
                <a:cubicBezTo>
                  <a:pt x="674924" y="3978479"/>
                  <a:pt x="673421" y="3979253"/>
                  <a:pt x="671317" y="3978921"/>
                </a:cubicBezTo>
                <a:cubicBezTo>
                  <a:pt x="671317" y="3978921"/>
                  <a:pt x="670415" y="3977704"/>
                  <a:pt x="670415" y="3977704"/>
                </a:cubicBezTo>
                <a:cubicBezTo>
                  <a:pt x="671016" y="3977261"/>
                  <a:pt x="671617" y="3976929"/>
                  <a:pt x="672219" y="3976708"/>
                </a:cubicBezTo>
                <a:close/>
                <a:moveTo>
                  <a:pt x="680636" y="3973166"/>
                </a:moveTo>
                <a:cubicBezTo>
                  <a:pt x="680636" y="3973166"/>
                  <a:pt x="680034" y="3975380"/>
                  <a:pt x="680034" y="3975380"/>
                </a:cubicBezTo>
                <a:cubicBezTo>
                  <a:pt x="677629" y="3975048"/>
                  <a:pt x="678532" y="3976154"/>
                  <a:pt x="676728" y="3973830"/>
                </a:cubicBezTo>
                <a:cubicBezTo>
                  <a:pt x="679133" y="3974162"/>
                  <a:pt x="679133" y="3974052"/>
                  <a:pt x="680636" y="3973166"/>
                </a:cubicBezTo>
                <a:close/>
                <a:moveTo>
                  <a:pt x="5067207" y="3972281"/>
                </a:moveTo>
                <a:lnTo>
                  <a:pt x="5062097" y="3981024"/>
                </a:lnTo>
                <a:cubicBezTo>
                  <a:pt x="5054282" y="3988107"/>
                  <a:pt x="5044661" y="3989878"/>
                  <a:pt x="5035643" y="3988107"/>
                </a:cubicBezTo>
                <a:lnTo>
                  <a:pt x="5035343" y="3987886"/>
                </a:lnTo>
                <a:lnTo>
                  <a:pt x="5035944" y="3995743"/>
                </a:lnTo>
                <a:cubicBezTo>
                  <a:pt x="5033238" y="4006146"/>
                  <a:pt x="5020913" y="4014779"/>
                  <a:pt x="5022115" y="4018210"/>
                </a:cubicBezTo>
                <a:cubicBezTo>
                  <a:pt x="5023619" y="4022747"/>
                  <a:pt x="5041355" y="4030162"/>
                  <a:pt x="5044661" y="4039237"/>
                </a:cubicBezTo>
                <a:cubicBezTo>
                  <a:pt x="5047669" y="4040565"/>
                  <a:pt x="5047969" y="4048423"/>
                  <a:pt x="5049472" y="4053071"/>
                </a:cubicBezTo>
                <a:cubicBezTo>
                  <a:pt x="5055484" y="4059490"/>
                  <a:pt x="5061796" y="4063031"/>
                  <a:pt x="5068110" y="4064359"/>
                </a:cubicBezTo>
                <a:lnTo>
                  <a:pt x="5080736" y="4062367"/>
                </a:lnTo>
                <a:lnTo>
                  <a:pt x="5079233" y="4054731"/>
                </a:lnTo>
                <a:cubicBezTo>
                  <a:pt x="5079533" y="4050747"/>
                  <a:pt x="5080134" y="4047205"/>
                  <a:pt x="5079834" y="4043000"/>
                </a:cubicBezTo>
                <a:cubicBezTo>
                  <a:pt x="5085245" y="4040233"/>
                  <a:pt x="5089753" y="4038905"/>
                  <a:pt x="5093662" y="4038684"/>
                </a:cubicBezTo>
                <a:cubicBezTo>
                  <a:pt x="5099374" y="4038462"/>
                  <a:pt x="5103583" y="4040786"/>
                  <a:pt x="5105987" y="4044107"/>
                </a:cubicBezTo>
                <a:lnTo>
                  <a:pt x="5105987" y="4044881"/>
                </a:lnTo>
                <a:lnTo>
                  <a:pt x="5107791" y="4043000"/>
                </a:lnTo>
                <a:lnTo>
                  <a:pt x="5112601" y="4041119"/>
                </a:lnTo>
                <a:lnTo>
                  <a:pt x="5102982" y="4038130"/>
                </a:lnTo>
                <a:cubicBezTo>
                  <a:pt x="5113202" y="4038130"/>
                  <a:pt x="5111999" y="4033150"/>
                  <a:pt x="5123122" y="4033150"/>
                </a:cubicBezTo>
                <a:cubicBezTo>
                  <a:pt x="5124024" y="4031269"/>
                  <a:pt x="5120117" y="4029277"/>
                  <a:pt x="5118914" y="4031269"/>
                </a:cubicBezTo>
                <a:lnTo>
                  <a:pt x="5120117" y="4023632"/>
                </a:lnTo>
                <a:lnTo>
                  <a:pt x="5111698" y="4014225"/>
                </a:lnTo>
                <a:lnTo>
                  <a:pt x="5105386" y="4011237"/>
                </a:lnTo>
                <a:cubicBezTo>
                  <a:pt x="5102982" y="4010352"/>
                  <a:pt x="5100576" y="4009577"/>
                  <a:pt x="5097871" y="4008581"/>
                </a:cubicBezTo>
                <a:cubicBezTo>
                  <a:pt x="5093963" y="4006589"/>
                  <a:pt x="5088852" y="4005593"/>
                  <a:pt x="5084944" y="4003601"/>
                </a:cubicBezTo>
                <a:cubicBezTo>
                  <a:pt x="5088852" y="4001720"/>
                  <a:pt x="5092761" y="4002716"/>
                  <a:pt x="5096969" y="4003601"/>
                </a:cubicBezTo>
                <a:lnTo>
                  <a:pt x="5100876" y="4004818"/>
                </a:lnTo>
                <a:lnTo>
                  <a:pt x="5094864" y="3999727"/>
                </a:lnTo>
                <a:lnTo>
                  <a:pt x="5092761" y="4001609"/>
                </a:lnTo>
                <a:cubicBezTo>
                  <a:pt x="5087650" y="3994747"/>
                  <a:pt x="5083741" y="3994747"/>
                  <a:pt x="5075626" y="3990763"/>
                </a:cubicBezTo>
                <a:cubicBezTo>
                  <a:pt x="5071717" y="3983901"/>
                  <a:pt x="5087950" y="3996739"/>
                  <a:pt x="5089753" y="3991870"/>
                </a:cubicBezTo>
                <a:cubicBezTo>
                  <a:pt x="5089152" y="3984455"/>
                  <a:pt x="5075325" y="3976486"/>
                  <a:pt x="5067508" y="3972502"/>
                </a:cubicBezTo>
                <a:close/>
                <a:moveTo>
                  <a:pt x="575421" y="3970067"/>
                </a:moveTo>
                <a:cubicBezTo>
                  <a:pt x="578728" y="3970842"/>
                  <a:pt x="580531" y="3974162"/>
                  <a:pt x="584139" y="3978479"/>
                </a:cubicBezTo>
                <a:cubicBezTo>
                  <a:pt x="582034" y="3979032"/>
                  <a:pt x="584139" y="3985340"/>
                  <a:pt x="585040" y="3987443"/>
                </a:cubicBezTo>
                <a:cubicBezTo>
                  <a:pt x="580832" y="3988550"/>
                  <a:pt x="582635" y="3996186"/>
                  <a:pt x="576022" y="3997957"/>
                </a:cubicBezTo>
                <a:cubicBezTo>
                  <a:pt x="573016" y="3996407"/>
                  <a:pt x="571813" y="3995633"/>
                  <a:pt x="569408" y="3992755"/>
                </a:cubicBezTo>
                <a:cubicBezTo>
                  <a:pt x="564599" y="3976708"/>
                  <a:pt x="572114" y="3972392"/>
                  <a:pt x="571513" y="3970289"/>
                </a:cubicBezTo>
                <a:cubicBezTo>
                  <a:pt x="573016" y="3969846"/>
                  <a:pt x="574218" y="3969846"/>
                  <a:pt x="575421" y="3970067"/>
                </a:cubicBezTo>
                <a:close/>
                <a:moveTo>
                  <a:pt x="952693" y="3967522"/>
                </a:moveTo>
                <a:cubicBezTo>
                  <a:pt x="955398" y="3967743"/>
                  <a:pt x="960207" y="3972392"/>
                  <a:pt x="962312" y="3975490"/>
                </a:cubicBezTo>
                <a:cubicBezTo>
                  <a:pt x="962913" y="3976486"/>
                  <a:pt x="963214" y="3977372"/>
                  <a:pt x="962913" y="3977814"/>
                </a:cubicBezTo>
                <a:cubicBezTo>
                  <a:pt x="958705" y="3977040"/>
                  <a:pt x="951790" y="3975601"/>
                  <a:pt x="949085" y="3972724"/>
                </a:cubicBezTo>
                <a:cubicBezTo>
                  <a:pt x="948183" y="3971838"/>
                  <a:pt x="947883" y="3970621"/>
                  <a:pt x="948183" y="3969293"/>
                </a:cubicBezTo>
                <a:cubicBezTo>
                  <a:pt x="949385" y="3967301"/>
                  <a:pt x="951189" y="3968186"/>
                  <a:pt x="952693" y="3967522"/>
                </a:cubicBezTo>
                <a:close/>
                <a:moveTo>
                  <a:pt x="407678" y="3967411"/>
                </a:moveTo>
                <a:cubicBezTo>
                  <a:pt x="408881" y="3967743"/>
                  <a:pt x="410083" y="3968518"/>
                  <a:pt x="411586" y="3969735"/>
                </a:cubicBezTo>
                <a:cubicBezTo>
                  <a:pt x="407377" y="3978036"/>
                  <a:pt x="407978" y="3987775"/>
                  <a:pt x="402867" y="3990099"/>
                </a:cubicBezTo>
                <a:cubicBezTo>
                  <a:pt x="401365" y="3990874"/>
                  <a:pt x="398960" y="3990874"/>
                  <a:pt x="395653" y="3989656"/>
                </a:cubicBezTo>
                <a:cubicBezTo>
                  <a:pt x="395353" y="3984233"/>
                  <a:pt x="398960" y="3965419"/>
                  <a:pt x="407678" y="3967411"/>
                </a:cubicBezTo>
                <a:close/>
                <a:moveTo>
                  <a:pt x="704084" y="3964866"/>
                </a:moveTo>
                <a:cubicBezTo>
                  <a:pt x="701378" y="3966415"/>
                  <a:pt x="686348" y="3973720"/>
                  <a:pt x="680636" y="3973498"/>
                </a:cubicBezTo>
                <a:cubicBezTo>
                  <a:pt x="687851" y="3970953"/>
                  <a:pt x="695967" y="3964202"/>
                  <a:pt x="704084" y="3964866"/>
                </a:cubicBezTo>
                <a:close/>
                <a:moveTo>
                  <a:pt x="6297925" y="3955902"/>
                </a:moveTo>
                <a:cubicBezTo>
                  <a:pt x="6300631" y="3956012"/>
                  <a:pt x="6302134" y="3956787"/>
                  <a:pt x="6302735" y="3958226"/>
                </a:cubicBezTo>
                <a:cubicBezTo>
                  <a:pt x="6303336" y="3959664"/>
                  <a:pt x="6302735" y="3961546"/>
                  <a:pt x="6302134" y="3963649"/>
                </a:cubicBezTo>
                <a:cubicBezTo>
                  <a:pt x="6300931" y="3967854"/>
                  <a:pt x="6297324" y="3968186"/>
                  <a:pt x="6297324" y="3968186"/>
                </a:cubicBezTo>
                <a:cubicBezTo>
                  <a:pt x="6291612" y="3967965"/>
                  <a:pt x="6288004" y="3964866"/>
                  <a:pt x="6288605" y="3959332"/>
                </a:cubicBezTo>
                <a:cubicBezTo>
                  <a:pt x="6290711" y="3956455"/>
                  <a:pt x="6294318" y="3956123"/>
                  <a:pt x="6297925" y="3955902"/>
                </a:cubicBezTo>
                <a:close/>
                <a:moveTo>
                  <a:pt x="726029" y="3955238"/>
                </a:moveTo>
                <a:cubicBezTo>
                  <a:pt x="724525" y="3958115"/>
                  <a:pt x="720317" y="3962431"/>
                  <a:pt x="716108" y="3961324"/>
                </a:cubicBezTo>
                <a:cubicBezTo>
                  <a:pt x="716108" y="3961324"/>
                  <a:pt x="716108" y="3961324"/>
                  <a:pt x="714005" y="3960771"/>
                </a:cubicBezTo>
                <a:cubicBezTo>
                  <a:pt x="717612" y="3958558"/>
                  <a:pt x="722722" y="3955570"/>
                  <a:pt x="726029" y="3955238"/>
                </a:cubicBezTo>
                <a:close/>
                <a:moveTo>
                  <a:pt x="373708" y="3954906"/>
                </a:moveTo>
                <a:cubicBezTo>
                  <a:pt x="378518" y="3955127"/>
                  <a:pt x="388138" y="3960218"/>
                  <a:pt x="390242" y="3967965"/>
                </a:cubicBezTo>
                <a:cubicBezTo>
                  <a:pt x="384230" y="3975269"/>
                  <a:pt x="377916" y="3973498"/>
                  <a:pt x="371003" y="3965530"/>
                </a:cubicBezTo>
                <a:cubicBezTo>
                  <a:pt x="372505" y="3962542"/>
                  <a:pt x="372505" y="3959443"/>
                  <a:pt x="373708" y="3954906"/>
                </a:cubicBezTo>
                <a:close/>
                <a:moveTo>
                  <a:pt x="739557" y="3952471"/>
                </a:moveTo>
                <a:cubicBezTo>
                  <a:pt x="749476" y="3955238"/>
                  <a:pt x="758796" y="3965751"/>
                  <a:pt x="761502" y="3973388"/>
                </a:cubicBezTo>
                <a:cubicBezTo>
                  <a:pt x="759097" y="3980028"/>
                  <a:pt x="754888" y="3983237"/>
                  <a:pt x="750679" y="3984012"/>
                </a:cubicBezTo>
                <a:cubicBezTo>
                  <a:pt x="737452" y="3986336"/>
                  <a:pt x="720918" y="3966858"/>
                  <a:pt x="729336" y="3952803"/>
                </a:cubicBezTo>
                <a:cubicBezTo>
                  <a:pt x="732642" y="3951585"/>
                  <a:pt x="735949" y="3951585"/>
                  <a:pt x="739557" y="3952471"/>
                </a:cubicBezTo>
                <a:close/>
                <a:moveTo>
                  <a:pt x="6419674" y="3950257"/>
                </a:moveTo>
                <a:cubicBezTo>
                  <a:pt x="6443122" y="3949815"/>
                  <a:pt x="6449434" y="3965530"/>
                  <a:pt x="6449434" y="3977150"/>
                </a:cubicBezTo>
                <a:cubicBezTo>
                  <a:pt x="6447030" y="3976818"/>
                  <a:pt x="6447030" y="3992755"/>
                  <a:pt x="6435908" y="4000723"/>
                </a:cubicBezTo>
                <a:cubicBezTo>
                  <a:pt x="6431999" y="4003380"/>
                  <a:pt x="6427189" y="4005150"/>
                  <a:pt x="6420275" y="4005150"/>
                </a:cubicBezTo>
                <a:cubicBezTo>
                  <a:pt x="6405245" y="4004929"/>
                  <a:pt x="6389012" y="3999617"/>
                  <a:pt x="6390816" y="3974937"/>
                </a:cubicBezTo>
                <a:cubicBezTo>
                  <a:pt x="6389913" y="3969846"/>
                  <a:pt x="6391116" y="3971617"/>
                  <a:pt x="6391717" y="3968407"/>
                </a:cubicBezTo>
                <a:cubicBezTo>
                  <a:pt x="6392018" y="3965087"/>
                  <a:pt x="6391116" y="3960107"/>
                  <a:pt x="6389613" y="3958226"/>
                </a:cubicBezTo>
                <a:cubicBezTo>
                  <a:pt x="6401638" y="3958004"/>
                  <a:pt x="6401037" y="3949593"/>
                  <a:pt x="6419674" y="3950257"/>
                </a:cubicBezTo>
                <a:close/>
                <a:moveTo>
                  <a:pt x="573617" y="3948044"/>
                </a:moveTo>
                <a:cubicBezTo>
                  <a:pt x="575121" y="3948819"/>
                  <a:pt x="577224" y="3948155"/>
                  <a:pt x="578728" y="3948929"/>
                </a:cubicBezTo>
                <a:cubicBezTo>
                  <a:pt x="580230" y="3953245"/>
                  <a:pt x="575421" y="3955680"/>
                  <a:pt x="573918" y="3954906"/>
                </a:cubicBezTo>
                <a:cubicBezTo>
                  <a:pt x="573016" y="3952803"/>
                  <a:pt x="574519" y="3950147"/>
                  <a:pt x="573617" y="3948044"/>
                </a:cubicBezTo>
                <a:close/>
                <a:moveTo>
                  <a:pt x="6348428" y="3945498"/>
                </a:moveTo>
                <a:cubicBezTo>
                  <a:pt x="6353539" y="3944392"/>
                  <a:pt x="6358649" y="3947823"/>
                  <a:pt x="6358950" y="3952471"/>
                </a:cubicBezTo>
                <a:cubicBezTo>
                  <a:pt x="6352337" y="3962763"/>
                  <a:pt x="6342717" y="3954131"/>
                  <a:pt x="6343618" y="3948044"/>
                </a:cubicBezTo>
                <a:cubicBezTo>
                  <a:pt x="6345122" y="3946605"/>
                  <a:pt x="6346926" y="3945830"/>
                  <a:pt x="6348428" y="3945498"/>
                </a:cubicBezTo>
                <a:close/>
                <a:moveTo>
                  <a:pt x="923833" y="3938415"/>
                </a:moveTo>
                <a:cubicBezTo>
                  <a:pt x="924736" y="3940518"/>
                  <a:pt x="928643" y="3940518"/>
                  <a:pt x="929545" y="3942068"/>
                </a:cubicBezTo>
                <a:cubicBezTo>
                  <a:pt x="929845" y="3942621"/>
                  <a:pt x="929845" y="3943396"/>
                  <a:pt x="929545" y="3944392"/>
                </a:cubicBezTo>
                <a:cubicBezTo>
                  <a:pt x="927441" y="3943506"/>
                  <a:pt x="925036" y="3941293"/>
                  <a:pt x="922932" y="3940408"/>
                </a:cubicBezTo>
                <a:cubicBezTo>
                  <a:pt x="922932" y="3940408"/>
                  <a:pt x="922932" y="3940408"/>
                  <a:pt x="923833" y="3938415"/>
                </a:cubicBezTo>
                <a:close/>
                <a:moveTo>
                  <a:pt x="526721" y="3937198"/>
                </a:moveTo>
                <a:cubicBezTo>
                  <a:pt x="534838" y="3937087"/>
                  <a:pt x="543555" y="3938415"/>
                  <a:pt x="553176" y="3942400"/>
                </a:cubicBezTo>
                <a:cubicBezTo>
                  <a:pt x="557083" y="3952249"/>
                  <a:pt x="551372" y="3957672"/>
                  <a:pt x="542353" y="3959554"/>
                </a:cubicBezTo>
                <a:cubicBezTo>
                  <a:pt x="527623" y="3962763"/>
                  <a:pt x="504476" y="3955791"/>
                  <a:pt x="505377" y="3941514"/>
                </a:cubicBezTo>
                <a:cubicBezTo>
                  <a:pt x="511991" y="3939080"/>
                  <a:pt x="518905" y="3937419"/>
                  <a:pt x="526721" y="3937198"/>
                </a:cubicBezTo>
                <a:close/>
                <a:moveTo>
                  <a:pt x="4961091" y="3924250"/>
                </a:moveTo>
                <a:cubicBezTo>
                  <a:pt x="4961992" y="3923918"/>
                  <a:pt x="4963195" y="3924028"/>
                  <a:pt x="4964098" y="3924803"/>
                </a:cubicBezTo>
                <a:cubicBezTo>
                  <a:pt x="4964098" y="3926352"/>
                  <a:pt x="4965901" y="3926463"/>
                  <a:pt x="4965901" y="3928012"/>
                </a:cubicBezTo>
                <a:cubicBezTo>
                  <a:pt x="4967704" y="3931111"/>
                  <a:pt x="4967704" y="3932661"/>
                  <a:pt x="4966201" y="3934099"/>
                </a:cubicBezTo>
                <a:cubicBezTo>
                  <a:pt x="4966201" y="3935649"/>
                  <a:pt x="4964699" y="3935538"/>
                  <a:pt x="4962895" y="3936977"/>
                </a:cubicBezTo>
                <a:cubicBezTo>
                  <a:pt x="4961391" y="3936977"/>
                  <a:pt x="4959889" y="3935317"/>
                  <a:pt x="4959889" y="3935317"/>
                </a:cubicBezTo>
                <a:cubicBezTo>
                  <a:pt x="4958085" y="3933767"/>
                  <a:pt x="4958085" y="3933767"/>
                  <a:pt x="4956581" y="3935206"/>
                </a:cubicBezTo>
                <a:cubicBezTo>
                  <a:pt x="4956581" y="3935206"/>
                  <a:pt x="4956581" y="3933767"/>
                  <a:pt x="4956581" y="3933767"/>
                </a:cubicBezTo>
                <a:cubicBezTo>
                  <a:pt x="4958085" y="3933767"/>
                  <a:pt x="4956581" y="3933657"/>
                  <a:pt x="4955079" y="3932107"/>
                </a:cubicBezTo>
                <a:cubicBezTo>
                  <a:pt x="4956281" y="3929008"/>
                  <a:pt x="4956281" y="3927570"/>
                  <a:pt x="4957784" y="3926131"/>
                </a:cubicBezTo>
                <a:cubicBezTo>
                  <a:pt x="4958385" y="3925356"/>
                  <a:pt x="4959889" y="3924582"/>
                  <a:pt x="4961091" y="3924250"/>
                </a:cubicBezTo>
                <a:close/>
                <a:moveTo>
                  <a:pt x="918122" y="3921815"/>
                </a:moveTo>
                <a:lnTo>
                  <a:pt x="917521" y="3922479"/>
                </a:lnTo>
                <a:cubicBezTo>
                  <a:pt x="916619" y="3923475"/>
                  <a:pt x="915717" y="3924803"/>
                  <a:pt x="914815" y="3926795"/>
                </a:cubicBezTo>
                <a:cubicBezTo>
                  <a:pt x="917220" y="3930447"/>
                  <a:pt x="919625" y="3930004"/>
                  <a:pt x="922331" y="3929894"/>
                </a:cubicBezTo>
                <a:lnTo>
                  <a:pt x="922932" y="3930004"/>
                </a:lnTo>
                <a:lnTo>
                  <a:pt x="919625" y="3924028"/>
                </a:lnTo>
                <a:close/>
                <a:moveTo>
                  <a:pt x="814410" y="3910748"/>
                </a:moveTo>
                <a:cubicBezTo>
                  <a:pt x="823428" y="3913182"/>
                  <a:pt x="819219" y="3923586"/>
                  <a:pt x="814410" y="3924692"/>
                </a:cubicBezTo>
                <a:cubicBezTo>
                  <a:pt x="803888" y="3922700"/>
                  <a:pt x="809900" y="3911854"/>
                  <a:pt x="814410" y="3910748"/>
                </a:cubicBezTo>
                <a:close/>
                <a:moveTo>
                  <a:pt x="556783" y="3908202"/>
                </a:moveTo>
                <a:cubicBezTo>
                  <a:pt x="565200" y="3907981"/>
                  <a:pt x="574519" y="3910526"/>
                  <a:pt x="580230" y="3912961"/>
                </a:cubicBezTo>
                <a:cubicBezTo>
                  <a:pt x="573918" y="3915396"/>
                  <a:pt x="567305" y="3918163"/>
                  <a:pt x="560390" y="3919823"/>
                </a:cubicBezTo>
                <a:cubicBezTo>
                  <a:pt x="553176" y="3921372"/>
                  <a:pt x="545359" y="3921704"/>
                  <a:pt x="536341" y="3919159"/>
                </a:cubicBezTo>
                <a:cubicBezTo>
                  <a:pt x="539948" y="3911080"/>
                  <a:pt x="548065" y="3908313"/>
                  <a:pt x="556783" y="3908202"/>
                </a:cubicBezTo>
                <a:close/>
                <a:moveTo>
                  <a:pt x="527322" y="3902558"/>
                </a:moveTo>
                <a:cubicBezTo>
                  <a:pt x="532733" y="3901562"/>
                  <a:pt x="538144" y="3908313"/>
                  <a:pt x="537543" y="3912740"/>
                </a:cubicBezTo>
                <a:cubicBezTo>
                  <a:pt x="531832" y="3917720"/>
                  <a:pt x="522814" y="3912629"/>
                  <a:pt x="521911" y="3906321"/>
                </a:cubicBezTo>
                <a:cubicBezTo>
                  <a:pt x="523415" y="3903997"/>
                  <a:pt x="525519" y="3902779"/>
                  <a:pt x="527322" y="3902558"/>
                </a:cubicBezTo>
                <a:close/>
                <a:moveTo>
                  <a:pt x="863711" y="3900345"/>
                </a:moveTo>
                <a:cubicBezTo>
                  <a:pt x="874834" y="3896250"/>
                  <a:pt x="885354" y="3914953"/>
                  <a:pt x="888962" y="3918495"/>
                </a:cubicBezTo>
                <a:cubicBezTo>
                  <a:pt x="888962" y="3918495"/>
                  <a:pt x="890465" y="3919269"/>
                  <a:pt x="891066" y="3921372"/>
                </a:cubicBezTo>
                <a:cubicBezTo>
                  <a:pt x="893471" y="3924139"/>
                  <a:pt x="888360" y="3923254"/>
                  <a:pt x="889263" y="3925246"/>
                </a:cubicBezTo>
                <a:cubicBezTo>
                  <a:pt x="879042" y="3916724"/>
                  <a:pt x="867618" y="3914068"/>
                  <a:pt x="867618" y="3914068"/>
                </a:cubicBezTo>
                <a:cubicBezTo>
                  <a:pt x="865514" y="3911190"/>
                  <a:pt x="866115" y="3909973"/>
                  <a:pt x="865514" y="3911301"/>
                </a:cubicBezTo>
                <a:cubicBezTo>
                  <a:pt x="864011" y="3907206"/>
                  <a:pt x="861005" y="3902226"/>
                  <a:pt x="863711" y="3900345"/>
                </a:cubicBezTo>
                <a:close/>
                <a:moveTo>
                  <a:pt x="6232691" y="3895475"/>
                </a:moveTo>
                <a:lnTo>
                  <a:pt x="6219765" y="3903001"/>
                </a:lnTo>
                <a:cubicBezTo>
                  <a:pt x="6208643" y="3908866"/>
                  <a:pt x="6198421" y="3915839"/>
                  <a:pt x="6193611" y="3924692"/>
                </a:cubicBezTo>
                <a:cubicBezTo>
                  <a:pt x="6195415" y="3926684"/>
                  <a:pt x="6199623" y="3922811"/>
                  <a:pt x="6202631" y="3921815"/>
                </a:cubicBezTo>
                <a:cubicBezTo>
                  <a:pt x="6198421" y="3927680"/>
                  <a:pt x="6199623" y="3926684"/>
                  <a:pt x="6201429" y="3931665"/>
                </a:cubicBezTo>
                <a:cubicBezTo>
                  <a:pt x="6199623" y="3930669"/>
                  <a:pt x="6190306" y="3936534"/>
                  <a:pt x="6197520" y="3934542"/>
                </a:cubicBezTo>
                <a:cubicBezTo>
                  <a:pt x="6194514" y="3940408"/>
                  <a:pt x="6177378" y="3936645"/>
                  <a:pt x="6173470" y="3945498"/>
                </a:cubicBezTo>
                <a:cubicBezTo>
                  <a:pt x="6174373" y="3943506"/>
                  <a:pt x="6174373" y="3941514"/>
                  <a:pt x="6172268" y="3939522"/>
                </a:cubicBezTo>
                <a:cubicBezTo>
                  <a:pt x="6169262" y="3940518"/>
                  <a:pt x="6167158" y="3942510"/>
                  <a:pt x="6164152" y="3944502"/>
                </a:cubicBezTo>
                <a:cubicBezTo>
                  <a:pt x="6166255" y="3945498"/>
                  <a:pt x="6168361" y="3946384"/>
                  <a:pt x="6170164" y="3944502"/>
                </a:cubicBezTo>
                <a:cubicBezTo>
                  <a:pt x="6154231" y="3953356"/>
                  <a:pt x="6137096" y="3963206"/>
                  <a:pt x="6119961" y="3973056"/>
                </a:cubicBezTo>
                <a:cubicBezTo>
                  <a:pt x="6116654" y="3974052"/>
                  <a:pt x="6114851" y="3976044"/>
                  <a:pt x="6112747" y="3977040"/>
                </a:cubicBezTo>
                <a:cubicBezTo>
                  <a:pt x="6112747" y="3977040"/>
                  <a:pt x="6112747" y="3976929"/>
                  <a:pt x="6102526" y="3981909"/>
                </a:cubicBezTo>
                <a:cubicBezTo>
                  <a:pt x="6102526" y="3981909"/>
                  <a:pt x="6102526" y="3981909"/>
                  <a:pt x="6101624" y="3981909"/>
                </a:cubicBezTo>
                <a:cubicBezTo>
                  <a:pt x="6101624" y="3981909"/>
                  <a:pt x="6101624" y="3981909"/>
                  <a:pt x="6101624" y="3982905"/>
                </a:cubicBezTo>
                <a:cubicBezTo>
                  <a:pt x="6101624" y="3982905"/>
                  <a:pt x="6101624" y="3982905"/>
                  <a:pt x="6099519" y="3983901"/>
                </a:cubicBezTo>
                <a:lnTo>
                  <a:pt x="6095913" y="3985119"/>
                </a:lnTo>
                <a:lnTo>
                  <a:pt x="6098918" y="3988882"/>
                </a:lnTo>
                <a:cubicBezTo>
                  <a:pt x="6100421" y="3992091"/>
                  <a:pt x="6101323" y="3995854"/>
                  <a:pt x="6101624" y="3999617"/>
                </a:cubicBezTo>
                <a:lnTo>
                  <a:pt x="6101925" y="4009134"/>
                </a:lnTo>
                <a:lnTo>
                  <a:pt x="6106734" y="4004708"/>
                </a:lnTo>
                <a:cubicBezTo>
                  <a:pt x="6107637" y="4003712"/>
                  <a:pt x="6108839" y="4003601"/>
                  <a:pt x="6109740" y="4002605"/>
                </a:cubicBezTo>
                <a:cubicBezTo>
                  <a:pt x="6109740" y="4002605"/>
                  <a:pt x="6109740" y="4002605"/>
                  <a:pt x="6111845" y="4001609"/>
                </a:cubicBezTo>
                <a:cubicBezTo>
                  <a:pt x="6111845" y="4001609"/>
                  <a:pt x="6111845" y="4001720"/>
                  <a:pt x="6111845" y="4000723"/>
                </a:cubicBezTo>
                <a:cubicBezTo>
                  <a:pt x="6111845" y="4000723"/>
                  <a:pt x="6111544" y="4000723"/>
                  <a:pt x="6112747" y="4000723"/>
                </a:cubicBezTo>
                <a:cubicBezTo>
                  <a:pt x="6112747" y="4000723"/>
                  <a:pt x="6112747" y="4000723"/>
                  <a:pt x="6122967" y="3995743"/>
                </a:cubicBezTo>
                <a:cubicBezTo>
                  <a:pt x="6126875" y="3992755"/>
                  <a:pt x="6130784" y="3990874"/>
                  <a:pt x="6134993" y="3988882"/>
                </a:cubicBezTo>
                <a:cubicBezTo>
                  <a:pt x="6143108" y="3983901"/>
                  <a:pt x="6151225" y="3978921"/>
                  <a:pt x="6159342" y="3975048"/>
                </a:cubicBezTo>
                <a:cubicBezTo>
                  <a:pt x="6167158" y="3970067"/>
                  <a:pt x="6175274" y="3964091"/>
                  <a:pt x="6182489" y="3958226"/>
                </a:cubicBezTo>
                <a:cubicBezTo>
                  <a:pt x="6187599" y="3955238"/>
                  <a:pt x="6192409" y="3951364"/>
                  <a:pt x="6197520" y="3947380"/>
                </a:cubicBezTo>
                <a:cubicBezTo>
                  <a:pt x="6199623" y="3945388"/>
                  <a:pt x="6201729" y="3943506"/>
                  <a:pt x="6204734" y="3941514"/>
                </a:cubicBezTo>
                <a:cubicBezTo>
                  <a:pt x="6206538" y="3939522"/>
                  <a:pt x="6208643" y="3937530"/>
                  <a:pt x="6211649" y="3935538"/>
                </a:cubicBezTo>
                <a:lnTo>
                  <a:pt x="6212250" y="3935095"/>
                </a:lnTo>
                <a:lnTo>
                  <a:pt x="6212250" y="3933767"/>
                </a:lnTo>
                <a:cubicBezTo>
                  <a:pt x="6213753" y="3933767"/>
                  <a:pt x="6211949" y="3933657"/>
                  <a:pt x="6210446" y="3932107"/>
                </a:cubicBezTo>
                <a:cubicBezTo>
                  <a:pt x="6211949" y="3929008"/>
                  <a:pt x="6211949" y="3927570"/>
                  <a:pt x="6213453" y="3926131"/>
                </a:cubicBezTo>
                <a:cubicBezTo>
                  <a:pt x="6214054" y="3925356"/>
                  <a:pt x="6215256" y="3924582"/>
                  <a:pt x="6216458" y="3924250"/>
                </a:cubicBezTo>
                <a:cubicBezTo>
                  <a:pt x="6217661" y="3923918"/>
                  <a:pt x="6218864" y="3924028"/>
                  <a:pt x="6219465" y="3924803"/>
                </a:cubicBezTo>
                <a:lnTo>
                  <a:pt x="6221268" y="3927680"/>
                </a:lnTo>
                <a:lnTo>
                  <a:pt x="6224576" y="3924692"/>
                </a:lnTo>
                <a:cubicBezTo>
                  <a:pt x="6228784" y="3921483"/>
                  <a:pt x="6232992" y="3918827"/>
                  <a:pt x="6236900" y="3916835"/>
                </a:cubicBezTo>
                <a:cubicBezTo>
                  <a:pt x="6239305" y="3915396"/>
                  <a:pt x="6242612" y="3912408"/>
                  <a:pt x="6245618" y="3908977"/>
                </a:cubicBezTo>
                <a:lnTo>
                  <a:pt x="6251331" y="3902337"/>
                </a:lnTo>
                <a:lnTo>
                  <a:pt x="6245920" y="3900455"/>
                </a:lnTo>
                <a:close/>
                <a:moveTo>
                  <a:pt x="669814" y="3888724"/>
                </a:moveTo>
                <a:cubicBezTo>
                  <a:pt x="671918" y="3889167"/>
                  <a:pt x="674022" y="3889831"/>
                  <a:pt x="676127" y="3889167"/>
                </a:cubicBezTo>
                <a:lnTo>
                  <a:pt x="675826" y="3894258"/>
                </a:lnTo>
                <a:lnTo>
                  <a:pt x="689354" y="3898574"/>
                </a:lnTo>
                <a:lnTo>
                  <a:pt x="692360" y="3904550"/>
                </a:lnTo>
                <a:lnTo>
                  <a:pt x="693262" y="3904993"/>
                </a:lnTo>
                <a:cubicBezTo>
                  <a:pt x="693562" y="3904993"/>
                  <a:pt x="693863" y="3904771"/>
                  <a:pt x="693863" y="3904771"/>
                </a:cubicBezTo>
                <a:cubicBezTo>
                  <a:pt x="693863" y="3904771"/>
                  <a:pt x="693863" y="3904771"/>
                  <a:pt x="692961" y="3903443"/>
                </a:cubicBezTo>
                <a:cubicBezTo>
                  <a:pt x="694163" y="3903665"/>
                  <a:pt x="694465" y="3904439"/>
                  <a:pt x="694765" y="3904993"/>
                </a:cubicBezTo>
                <a:cubicBezTo>
                  <a:pt x="695066" y="3905546"/>
                  <a:pt x="694765" y="3905989"/>
                  <a:pt x="694765" y="3905989"/>
                </a:cubicBezTo>
                <a:lnTo>
                  <a:pt x="694163" y="3908424"/>
                </a:lnTo>
                <a:lnTo>
                  <a:pt x="695366" y="3910526"/>
                </a:lnTo>
                <a:cubicBezTo>
                  <a:pt x="695066" y="3913404"/>
                  <a:pt x="693863" y="3916613"/>
                  <a:pt x="691157" y="3920155"/>
                </a:cubicBezTo>
                <a:lnTo>
                  <a:pt x="691157" y="3920265"/>
                </a:lnTo>
                <a:lnTo>
                  <a:pt x="690857" y="3920819"/>
                </a:lnTo>
                <a:lnTo>
                  <a:pt x="689955" y="3920819"/>
                </a:lnTo>
                <a:lnTo>
                  <a:pt x="676728" y="3926684"/>
                </a:lnTo>
                <a:cubicBezTo>
                  <a:pt x="662900" y="3931333"/>
                  <a:pt x="650875" y="3929672"/>
                  <a:pt x="641255" y="3916060"/>
                </a:cubicBezTo>
                <a:cubicBezTo>
                  <a:pt x="644563" y="3914289"/>
                  <a:pt x="643059" y="3910969"/>
                  <a:pt x="641556" y="3907649"/>
                </a:cubicBezTo>
                <a:cubicBezTo>
                  <a:pt x="643961" y="3902115"/>
                  <a:pt x="648771" y="3898352"/>
                  <a:pt x="654482" y="3896028"/>
                </a:cubicBezTo>
                <a:lnTo>
                  <a:pt x="658089" y="3895475"/>
                </a:lnTo>
                <a:lnTo>
                  <a:pt x="657789" y="3893040"/>
                </a:lnTo>
                <a:cubicBezTo>
                  <a:pt x="658692" y="3891602"/>
                  <a:pt x="660795" y="3890495"/>
                  <a:pt x="663200" y="3889167"/>
                </a:cubicBezTo>
                <a:cubicBezTo>
                  <a:pt x="665605" y="3887949"/>
                  <a:pt x="668010" y="3888281"/>
                  <a:pt x="669814" y="3888724"/>
                </a:cubicBezTo>
                <a:close/>
                <a:moveTo>
                  <a:pt x="353868" y="3878542"/>
                </a:moveTo>
                <a:cubicBezTo>
                  <a:pt x="354769" y="3877989"/>
                  <a:pt x="355370" y="3878210"/>
                  <a:pt x="355972" y="3878542"/>
                </a:cubicBezTo>
                <a:cubicBezTo>
                  <a:pt x="358076" y="3879538"/>
                  <a:pt x="359579" y="3883080"/>
                  <a:pt x="360781" y="3883744"/>
                </a:cubicBezTo>
                <a:cubicBezTo>
                  <a:pt x="361383" y="3885736"/>
                  <a:pt x="361985" y="3887728"/>
                  <a:pt x="359880" y="3888281"/>
                </a:cubicBezTo>
                <a:cubicBezTo>
                  <a:pt x="357775" y="3888835"/>
                  <a:pt x="357475" y="3890273"/>
                  <a:pt x="355070" y="3887396"/>
                </a:cubicBezTo>
                <a:cubicBezTo>
                  <a:pt x="353567" y="3886621"/>
                  <a:pt x="352965" y="3884519"/>
                  <a:pt x="351463" y="3883855"/>
                </a:cubicBezTo>
                <a:cubicBezTo>
                  <a:pt x="351463" y="3883855"/>
                  <a:pt x="351463" y="3882637"/>
                  <a:pt x="352064" y="3881420"/>
                </a:cubicBezTo>
                <a:cubicBezTo>
                  <a:pt x="352364" y="3880202"/>
                  <a:pt x="352965" y="3878764"/>
                  <a:pt x="353868" y="3878542"/>
                </a:cubicBezTo>
                <a:close/>
                <a:moveTo>
                  <a:pt x="655986" y="3868914"/>
                </a:moveTo>
                <a:cubicBezTo>
                  <a:pt x="661698" y="3868028"/>
                  <a:pt x="662299" y="3871127"/>
                  <a:pt x="665906" y="3870131"/>
                </a:cubicBezTo>
                <a:cubicBezTo>
                  <a:pt x="665906" y="3877546"/>
                  <a:pt x="662299" y="3880645"/>
                  <a:pt x="655384" y="3882526"/>
                </a:cubicBezTo>
                <a:cubicBezTo>
                  <a:pt x="652678" y="3879317"/>
                  <a:pt x="652378" y="3872013"/>
                  <a:pt x="655986" y="3868914"/>
                </a:cubicBezTo>
                <a:close/>
                <a:moveTo>
                  <a:pt x="4924115" y="3855301"/>
                </a:moveTo>
                <a:lnTo>
                  <a:pt x="4924115" y="3867254"/>
                </a:lnTo>
                <a:lnTo>
                  <a:pt x="4924716" y="3868250"/>
                </a:lnTo>
                <a:lnTo>
                  <a:pt x="4924115" y="3867918"/>
                </a:lnTo>
                <a:lnTo>
                  <a:pt x="4924115" y="3869578"/>
                </a:lnTo>
                <a:cubicBezTo>
                  <a:pt x="4921410" y="3875444"/>
                  <a:pt x="4916299" y="3881088"/>
                  <a:pt x="4909987" y="3886068"/>
                </a:cubicBezTo>
                <a:lnTo>
                  <a:pt x="4908785" y="3886621"/>
                </a:lnTo>
                <a:lnTo>
                  <a:pt x="4908785" y="3886843"/>
                </a:lnTo>
                <a:lnTo>
                  <a:pt x="4908183" y="3886953"/>
                </a:lnTo>
                <a:lnTo>
                  <a:pt x="4905477" y="3888724"/>
                </a:lnTo>
                <a:lnTo>
                  <a:pt x="4903073" y="3894147"/>
                </a:lnTo>
                <a:cubicBezTo>
                  <a:pt x="4903373" y="3902115"/>
                  <a:pt x="4907882" y="3907870"/>
                  <a:pt x="4909386" y="3912408"/>
                </a:cubicBezTo>
                <a:cubicBezTo>
                  <a:pt x="4912391" y="3911744"/>
                  <a:pt x="4916900" y="3913736"/>
                  <a:pt x="4921710" y="3917277"/>
                </a:cubicBezTo>
                <a:lnTo>
                  <a:pt x="4929527" y="3924360"/>
                </a:lnTo>
                <a:lnTo>
                  <a:pt x="4936140" y="3918052"/>
                </a:lnTo>
                <a:cubicBezTo>
                  <a:pt x="4938845" y="3916835"/>
                  <a:pt x="4941852" y="3916503"/>
                  <a:pt x="4944256" y="3917277"/>
                </a:cubicBezTo>
                <a:cubicBezTo>
                  <a:pt x="4949367" y="3918827"/>
                  <a:pt x="4952975" y="3924139"/>
                  <a:pt x="4951170" y="3932329"/>
                </a:cubicBezTo>
                <a:lnTo>
                  <a:pt x="4946361" y="3932439"/>
                </a:lnTo>
                <a:lnTo>
                  <a:pt x="4953576" y="3941736"/>
                </a:lnTo>
                <a:lnTo>
                  <a:pt x="4951772" y="3948155"/>
                </a:lnTo>
                <a:lnTo>
                  <a:pt x="4957484" y="3955902"/>
                </a:lnTo>
                <a:lnTo>
                  <a:pt x="4960189" y="3953577"/>
                </a:lnTo>
                <a:lnTo>
                  <a:pt x="4979729" y="3940740"/>
                </a:lnTo>
                <a:lnTo>
                  <a:pt x="4978827" y="3939854"/>
                </a:lnTo>
                <a:lnTo>
                  <a:pt x="4980030" y="3940629"/>
                </a:lnTo>
                <a:lnTo>
                  <a:pt x="4982735" y="3938858"/>
                </a:lnTo>
                <a:lnTo>
                  <a:pt x="4981834" y="3941957"/>
                </a:lnTo>
                <a:lnTo>
                  <a:pt x="4988447" y="3947048"/>
                </a:lnTo>
                <a:cubicBezTo>
                  <a:pt x="4987846" y="3947712"/>
                  <a:pt x="4986944" y="3947601"/>
                  <a:pt x="4986042" y="3947159"/>
                </a:cubicBezTo>
                <a:cubicBezTo>
                  <a:pt x="4985140" y="3946716"/>
                  <a:pt x="4984538" y="3945941"/>
                  <a:pt x="4983637" y="3945056"/>
                </a:cubicBezTo>
                <a:lnTo>
                  <a:pt x="4981533" y="3942732"/>
                </a:lnTo>
                <a:lnTo>
                  <a:pt x="4978827" y="3951364"/>
                </a:lnTo>
                <a:lnTo>
                  <a:pt x="4969509" y="3961435"/>
                </a:lnTo>
                <a:lnTo>
                  <a:pt x="4970410" y="3961988"/>
                </a:lnTo>
                <a:cubicBezTo>
                  <a:pt x="4976122" y="3962874"/>
                  <a:pt x="4982134" y="3962542"/>
                  <a:pt x="4986343" y="3960439"/>
                </a:cubicBezTo>
                <a:lnTo>
                  <a:pt x="5002275" y="3948155"/>
                </a:lnTo>
                <a:lnTo>
                  <a:pt x="5005882" y="3937641"/>
                </a:lnTo>
                <a:lnTo>
                  <a:pt x="5012797" y="3931665"/>
                </a:lnTo>
                <a:lnTo>
                  <a:pt x="5010392" y="3929230"/>
                </a:lnTo>
                <a:cubicBezTo>
                  <a:pt x="5005582" y="3924914"/>
                  <a:pt x="4999870" y="3920265"/>
                  <a:pt x="4993858" y="3915839"/>
                </a:cubicBezTo>
                <a:cubicBezTo>
                  <a:pt x="4990852" y="3913846"/>
                  <a:pt x="4987846" y="3911854"/>
                  <a:pt x="4984840" y="3908977"/>
                </a:cubicBezTo>
                <a:cubicBezTo>
                  <a:pt x="4981834" y="3906985"/>
                  <a:pt x="4978827" y="3904993"/>
                  <a:pt x="4975822" y="3903001"/>
                </a:cubicBezTo>
                <a:lnTo>
                  <a:pt x="4969809" y="3900123"/>
                </a:lnTo>
                <a:lnTo>
                  <a:pt x="4967103" y="3900898"/>
                </a:lnTo>
                <a:cubicBezTo>
                  <a:pt x="4958687" y="3901894"/>
                  <a:pt x="4947864" y="3899902"/>
                  <a:pt x="4940950" y="3892819"/>
                </a:cubicBezTo>
                <a:lnTo>
                  <a:pt x="4936742" y="3885183"/>
                </a:lnTo>
                <a:lnTo>
                  <a:pt x="4936441" y="3886289"/>
                </a:lnTo>
                <a:cubicBezTo>
                  <a:pt x="4933434" y="3892044"/>
                  <a:pt x="4929225" y="3890605"/>
                  <a:pt x="4923513" y="3890163"/>
                </a:cubicBezTo>
                <a:cubicBezTo>
                  <a:pt x="4923513" y="3886732"/>
                  <a:pt x="4919907" y="3883744"/>
                  <a:pt x="4921109" y="3879538"/>
                </a:cubicBezTo>
                <a:cubicBezTo>
                  <a:pt x="4921109" y="3879538"/>
                  <a:pt x="4921710" y="3877436"/>
                  <a:pt x="4924716" y="3875776"/>
                </a:cubicBezTo>
                <a:cubicBezTo>
                  <a:pt x="4927422" y="3870795"/>
                  <a:pt x="4933735" y="3872234"/>
                  <a:pt x="4933735" y="3872234"/>
                </a:cubicBezTo>
                <a:cubicBezTo>
                  <a:pt x="4933735" y="3872234"/>
                  <a:pt x="4933735" y="3872234"/>
                  <a:pt x="4933134" y="3870906"/>
                </a:cubicBezTo>
                <a:cubicBezTo>
                  <a:pt x="4934636" y="3873562"/>
                  <a:pt x="4937343" y="3875222"/>
                  <a:pt x="4938845" y="3877878"/>
                </a:cubicBezTo>
                <a:lnTo>
                  <a:pt x="4937042" y="3883855"/>
                </a:lnTo>
                <a:lnTo>
                  <a:pt x="4949968" y="3880756"/>
                </a:lnTo>
                <a:cubicBezTo>
                  <a:pt x="4953877" y="3880756"/>
                  <a:pt x="4957183" y="3881862"/>
                  <a:pt x="4960490" y="3883633"/>
                </a:cubicBezTo>
                <a:lnTo>
                  <a:pt x="4962293" y="3885515"/>
                </a:lnTo>
                <a:lnTo>
                  <a:pt x="4959889" y="3880756"/>
                </a:lnTo>
                <a:cubicBezTo>
                  <a:pt x="4955980" y="3876329"/>
                  <a:pt x="4950569" y="3872455"/>
                  <a:pt x="4946361" y="3869467"/>
                </a:cubicBezTo>
                <a:cubicBezTo>
                  <a:pt x="4946361" y="3871459"/>
                  <a:pt x="4949367" y="3874447"/>
                  <a:pt x="4945458" y="3877436"/>
                </a:cubicBezTo>
                <a:lnTo>
                  <a:pt x="4940950" y="3868914"/>
                </a:lnTo>
                <a:lnTo>
                  <a:pt x="4940348" y="3870685"/>
                </a:lnTo>
                <a:cubicBezTo>
                  <a:pt x="4938545" y="3873451"/>
                  <a:pt x="4934035" y="3868250"/>
                  <a:pt x="4932533" y="3868028"/>
                </a:cubicBezTo>
                <a:cubicBezTo>
                  <a:pt x="4931030" y="3866258"/>
                  <a:pt x="4929527" y="3864598"/>
                  <a:pt x="4931331" y="3863270"/>
                </a:cubicBezTo>
                <a:cubicBezTo>
                  <a:pt x="4932232" y="3862606"/>
                  <a:pt x="4932533" y="3861831"/>
                  <a:pt x="4933134" y="3861610"/>
                </a:cubicBezTo>
                <a:cubicBezTo>
                  <a:pt x="4933735" y="3861278"/>
                  <a:pt x="4934636" y="3861499"/>
                  <a:pt x="4936140" y="3862495"/>
                </a:cubicBezTo>
                <a:lnTo>
                  <a:pt x="4937944" y="3863270"/>
                </a:lnTo>
                <a:lnTo>
                  <a:pt x="4934938" y="3857404"/>
                </a:lnTo>
                <a:lnTo>
                  <a:pt x="4933134" y="3855523"/>
                </a:lnTo>
                <a:close/>
                <a:moveTo>
                  <a:pt x="4918102" y="3855191"/>
                </a:moveTo>
                <a:lnTo>
                  <a:pt x="4917501" y="3855301"/>
                </a:lnTo>
                <a:lnTo>
                  <a:pt x="4918102" y="3855633"/>
                </a:lnTo>
                <a:lnTo>
                  <a:pt x="4918102" y="3855744"/>
                </a:lnTo>
                <a:lnTo>
                  <a:pt x="4919005" y="3855191"/>
                </a:lnTo>
                <a:close/>
                <a:moveTo>
                  <a:pt x="806293" y="3854969"/>
                </a:moveTo>
                <a:cubicBezTo>
                  <a:pt x="805692" y="3856297"/>
                  <a:pt x="805692" y="3856297"/>
                  <a:pt x="805692" y="3856297"/>
                </a:cubicBezTo>
                <a:cubicBezTo>
                  <a:pt x="806594" y="3858400"/>
                  <a:pt x="807195" y="3856961"/>
                  <a:pt x="808698" y="3857736"/>
                </a:cubicBezTo>
                <a:cubicBezTo>
                  <a:pt x="808698" y="3857736"/>
                  <a:pt x="807195" y="3856961"/>
                  <a:pt x="809299" y="3856408"/>
                </a:cubicBezTo>
                <a:cubicBezTo>
                  <a:pt x="808698" y="3857736"/>
                  <a:pt x="809900" y="3858621"/>
                  <a:pt x="811404" y="3859396"/>
                </a:cubicBezTo>
                <a:cubicBezTo>
                  <a:pt x="812906" y="3863602"/>
                  <a:pt x="814109" y="3869025"/>
                  <a:pt x="811103" y="3870906"/>
                </a:cubicBezTo>
                <a:cubicBezTo>
                  <a:pt x="806894" y="3872123"/>
                  <a:pt x="804790" y="3869357"/>
                  <a:pt x="803888" y="3867254"/>
                </a:cubicBezTo>
                <a:cubicBezTo>
                  <a:pt x="802084" y="3865372"/>
                  <a:pt x="801784" y="3863159"/>
                  <a:pt x="802385" y="3860946"/>
                </a:cubicBezTo>
                <a:cubicBezTo>
                  <a:pt x="802987" y="3858732"/>
                  <a:pt x="804489" y="3856629"/>
                  <a:pt x="806293" y="3854969"/>
                </a:cubicBezTo>
                <a:close/>
                <a:moveTo>
                  <a:pt x="303063" y="3838147"/>
                </a:moveTo>
                <a:cubicBezTo>
                  <a:pt x="306371" y="3839697"/>
                  <a:pt x="306070" y="3839697"/>
                  <a:pt x="308474" y="3846890"/>
                </a:cubicBezTo>
                <a:cubicBezTo>
                  <a:pt x="305468" y="3845452"/>
                  <a:pt x="305468" y="3845452"/>
                  <a:pt x="303665" y="3848772"/>
                </a:cubicBezTo>
                <a:cubicBezTo>
                  <a:pt x="303665" y="3848772"/>
                  <a:pt x="303966" y="3848661"/>
                  <a:pt x="304567" y="3851096"/>
                </a:cubicBezTo>
                <a:cubicBezTo>
                  <a:pt x="302162" y="3851981"/>
                  <a:pt x="301561" y="3849657"/>
                  <a:pt x="299156" y="3850542"/>
                </a:cubicBezTo>
                <a:cubicBezTo>
                  <a:pt x="299156" y="3850542"/>
                  <a:pt x="298254" y="3848108"/>
                  <a:pt x="298254" y="3848108"/>
                </a:cubicBezTo>
                <a:cubicBezTo>
                  <a:pt x="297051" y="3848550"/>
                  <a:pt x="297051" y="3848550"/>
                  <a:pt x="297653" y="3847776"/>
                </a:cubicBezTo>
                <a:cubicBezTo>
                  <a:pt x="297954" y="3846890"/>
                  <a:pt x="298855" y="3845230"/>
                  <a:pt x="299156" y="3842353"/>
                </a:cubicBezTo>
                <a:cubicBezTo>
                  <a:pt x="300659" y="3839033"/>
                  <a:pt x="300057" y="3836598"/>
                  <a:pt x="303063" y="3838147"/>
                </a:cubicBezTo>
                <a:close/>
                <a:moveTo>
                  <a:pt x="335830" y="3832835"/>
                </a:moveTo>
                <a:cubicBezTo>
                  <a:pt x="339137" y="3832946"/>
                  <a:pt x="342445" y="3834606"/>
                  <a:pt x="346052" y="3839365"/>
                </a:cubicBezTo>
                <a:cubicBezTo>
                  <a:pt x="343046" y="3846890"/>
                  <a:pt x="338235" y="3845230"/>
                  <a:pt x="333125" y="3843459"/>
                </a:cubicBezTo>
                <a:cubicBezTo>
                  <a:pt x="336131" y="3839033"/>
                  <a:pt x="329518" y="3835602"/>
                  <a:pt x="335830" y="3832835"/>
                </a:cubicBezTo>
                <a:close/>
                <a:moveTo>
                  <a:pt x="420905" y="3828076"/>
                </a:moveTo>
                <a:cubicBezTo>
                  <a:pt x="421205" y="3827412"/>
                  <a:pt x="423009" y="3827633"/>
                  <a:pt x="424812" y="3828076"/>
                </a:cubicBezTo>
                <a:cubicBezTo>
                  <a:pt x="426616" y="3828629"/>
                  <a:pt x="428421" y="3829515"/>
                  <a:pt x="428721" y="3830622"/>
                </a:cubicBezTo>
                <a:cubicBezTo>
                  <a:pt x="431727" y="3835491"/>
                  <a:pt x="426917" y="3837815"/>
                  <a:pt x="422709" y="3842353"/>
                </a:cubicBezTo>
                <a:cubicBezTo>
                  <a:pt x="422107" y="3840250"/>
                  <a:pt x="420003" y="3840803"/>
                  <a:pt x="417899" y="3841357"/>
                </a:cubicBezTo>
                <a:cubicBezTo>
                  <a:pt x="416696" y="3838258"/>
                  <a:pt x="414292" y="3833610"/>
                  <a:pt x="416696" y="3830511"/>
                </a:cubicBezTo>
                <a:cubicBezTo>
                  <a:pt x="417298" y="3829404"/>
                  <a:pt x="418800" y="3828629"/>
                  <a:pt x="420905" y="3828076"/>
                </a:cubicBezTo>
                <a:close/>
                <a:moveTo>
                  <a:pt x="776232" y="3817894"/>
                </a:moveTo>
                <a:cubicBezTo>
                  <a:pt x="779238" y="3819333"/>
                  <a:pt x="782544" y="3819554"/>
                  <a:pt x="784949" y="3822321"/>
                </a:cubicBezTo>
                <a:cubicBezTo>
                  <a:pt x="786453" y="3826527"/>
                  <a:pt x="781643" y="3832282"/>
                  <a:pt x="778937" y="3834163"/>
                </a:cubicBezTo>
                <a:cubicBezTo>
                  <a:pt x="774728" y="3835380"/>
                  <a:pt x="771121" y="3831839"/>
                  <a:pt x="769618" y="3827633"/>
                </a:cubicBezTo>
                <a:cubicBezTo>
                  <a:pt x="768415" y="3826305"/>
                  <a:pt x="768415" y="3824535"/>
                  <a:pt x="769016" y="3822875"/>
                </a:cubicBezTo>
                <a:cubicBezTo>
                  <a:pt x="769318" y="3821325"/>
                  <a:pt x="770520" y="3819886"/>
                  <a:pt x="772022" y="3819001"/>
                </a:cubicBezTo>
                <a:cubicBezTo>
                  <a:pt x="774127" y="3818448"/>
                  <a:pt x="774127" y="3818448"/>
                  <a:pt x="776232" y="3817894"/>
                </a:cubicBezTo>
                <a:close/>
                <a:moveTo>
                  <a:pt x="4816495" y="3817009"/>
                </a:moveTo>
                <a:lnTo>
                  <a:pt x="4812286" y="3824203"/>
                </a:lnTo>
                <a:cubicBezTo>
                  <a:pt x="4809581" y="3828076"/>
                  <a:pt x="4805372" y="3832946"/>
                  <a:pt x="4802667" y="3836930"/>
                </a:cubicBezTo>
                <a:lnTo>
                  <a:pt x="4799360" y="3847665"/>
                </a:lnTo>
                <a:lnTo>
                  <a:pt x="4810783" y="3839697"/>
                </a:lnTo>
                <a:cubicBezTo>
                  <a:pt x="4825213" y="3846558"/>
                  <a:pt x="4824612" y="3859285"/>
                  <a:pt x="4817697" y="3870906"/>
                </a:cubicBezTo>
                <a:lnTo>
                  <a:pt x="4815894" y="3872787"/>
                </a:lnTo>
                <a:lnTo>
                  <a:pt x="4816495" y="3874669"/>
                </a:lnTo>
                <a:cubicBezTo>
                  <a:pt x="4816495" y="3879649"/>
                  <a:pt x="4816495" y="3884408"/>
                  <a:pt x="4816495" y="3888281"/>
                </a:cubicBezTo>
                <a:cubicBezTo>
                  <a:pt x="4818600" y="3892044"/>
                  <a:pt x="4822507" y="3894922"/>
                  <a:pt x="4827017" y="3897024"/>
                </a:cubicBezTo>
                <a:lnTo>
                  <a:pt x="4839041" y="3900013"/>
                </a:lnTo>
                <a:lnTo>
                  <a:pt x="4842649" y="3899238"/>
                </a:lnTo>
                <a:cubicBezTo>
                  <a:pt x="4846857" y="3899016"/>
                  <a:pt x="4851366" y="3899459"/>
                  <a:pt x="4855274" y="3900234"/>
                </a:cubicBezTo>
                <a:lnTo>
                  <a:pt x="4859784" y="3901673"/>
                </a:lnTo>
                <a:lnTo>
                  <a:pt x="4870306" y="3899570"/>
                </a:lnTo>
                <a:cubicBezTo>
                  <a:pt x="4875717" y="3896139"/>
                  <a:pt x="4879323" y="3892598"/>
                  <a:pt x="4881729" y="3888945"/>
                </a:cubicBezTo>
                <a:lnTo>
                  <a:pt x="4882630" y="3886289"/>
                </a:lnTo>
                <a:lnTo>
                  <a:pt x="4882330" y="3886289"/>
                </a:lnTo>
                <a:lnTo>
                  <a:pt x="4882330" y="3885847"/>
                </a:lnTo>
                <a:lnTo>
                  <a:pt x="4869403" y="3891712"/>
                </a:lnTo>
                <a:cubicBezTo>
                  <a:pt x="4866998" y="3888392"/>
                  <a:pt x="4863692" y="3889720"/>
                  <a:pt x="4860986" y="3886400"/>
                </a:cubicBezTo>
                <a:cubicBezTo>
                  <a:pt x="4865195" y="3883301"/>
                  <a:pt x="4869403" y="3879981"/>
                  <a:pt x="4873311" y="3877214"/>
                </a:cubicBezTo>
                <a:lnTo>
                  <a:pt x="4880225" y="3874226"/>
                </a:lnTo>
                <a:lnTo>
                  <a:pt x="4879925" y="3873673"/>
                </a:lnTo>
                <a:cubicBezTo>
                  <a:pt x="4879925" y="3871902"/>
                  <a:pt x="4880225" y="3869578"/>
                  <a:pt x="4880828" y="3866700"/>
                </a:cubicBezTo>
                <a:cubicBezTo>
                  <a:pt x="4882931" y="3855301"/>
                  <a:pt x="4889544" y="3850653"/>
                  <a:pt x="4896158" y="3849436"/>
                </a:cubicBezTo>
                <a:lnTo>
                  <a:pt x="4901569" y="3849104"/>
                </a:lnTo>
                <a:lnTo>
                  <a:pt x="4903073" y="3844677"/>
                </a:lnTo>
                <a:cubicBezTo>
                  <a:pt x="4908183" y="3847222"/>
                  <a:pt x="4911189" y="3846337"/>
                  <a:pt x="4913594" y="3844455"/>
                </a:cubicBezTo>
                <a:lnTo>
                  <a:pt x="4919005" y="3839697"/>
                </a:lnTo>
                <a:lnTo>
                  <a:pt x="4911489" y="3832946"/>
                </a:lnTo>
                <a:cubicBezTo>
                  <a:pt x="4909987" y="3831507"/>
                  <a:pt x="4908484" y="3830511"/>
                  <a:pt x="4906078" y="3828962"/>
                </a:cubicBezTo>
                <a:cubicBezTo>
                  <a:pt x="4903073" y="3830954"/>
                  <a:pt x="4905176" y="3832946"/>
                  <a:pt x="4906078" y="3835934"/>
                </a:cubicBezTo>
                <a:lnTo>
                  <a:pt x="4904575" y="3835270"/>
                </a:lnTo>
                <a:lnTo>
                  <a:pt x="4906078" y="3837926"/>
                </a:lnTo>
                <a:lnTo>
                  <a:pt x="4901870" y="3837594"/>
                </a:lnTo>
                <a:lnTo>
                  <a:pt x="4902170" y="3839475"/>
                </a:lnTo>
                <a:cubicBezTo>
                  <a:pt x="4898263" y="3844123"/>
                  <a:pt x="4892551" y="3845894"/>
                  <a:pt x="4887741" y="3844455"/>
                </a:cubicBezTo>
                <a:lnTo>
                  <a:pt x="4882630" y="3840471"/>
                </a:lnTo>
                <a:lnTo>
                  <a:pt x="4873010" y="3845120"/>
                </a:lnTo>
                <a:cubicBezTo>
                  <a:pt x="4869705" y="3846669"/>
                  <a:pt x="4866397" y="3848108"/>
                  <a:pt x="4863091" y="3848882"/>
                </a:cubicBezTo>
                <a:cubicBezTo>
                  <a:pt x="4858582" y="3849878"/>
                  <a:pt x="4853772" y="3849657"/>
                  <a:pt x="4848661" y="3847444"/>
                </a:cubicBezTo>
                <a:cubicBezTo>
                  <a:pt x="4839041" y="3843791"/>
                  <a:pt x="4832728" y="3837705"/>
                  <a:pt x="4829120" y="3830622"/>
                </a:cubicBezTo>
                <a:lnTo>
                  <a:pt x="4828519" y="3824424"/>
                </a:lnTo>
                <a:lnTo>
                  <a:pt x="4825514" y="3826084"/>
                </a:lnTo>
                <a:cubicBezTo>
                  <a:pt x="4824311" y="3826195"/>
                  <a:pt x="4823108" y="3825863"/>
                  <a:pt x="4821906" y="3824977"/>
                </a:cubicBezTo>
                <a:close/>
                <a:moveTo>
                  <a:pt x="4814392" y="3813468"/>
                </a:moveTo>
                <a:lnTo>
                  <a:pt x="4809281" y="3819997"/>
                </a:lnTo>
                <a:lnTo>
                  <a:pt x="4816195" y="3816566"/>
                </a:lnTo>
                <a:lnTo>
                  <a:pt x="4815293" y="3815238"/>
                </a:lnTo>
                <a:close/>
                <a:moveTo>
                  <a:pt x="759097" y="3803839"/>
                </a:moveTo>
                <a:cubicBezTo>
                  <a:pt x="760900" y="3803175"/>
                  <a:pt x="763305" y="3803396"/>
                  <a:pt x="766612" y="3804171"/>
                </a:cubicBezTo>
                <a:cubicBezTo>
                  <a:pt x="764508" y="3809041"/>
                  <a:pt x="761201" y="3809262"/>
                  <a:pt x="754287" y="3809705"/>
                </a:cubicBezTo>
                <a:cubicBezTo>
                  <a:pt x="755490" y="3806274"/>
                  <a:pt x="756992" y="3804614"/>
                  <a:pt x="759097" y="3803839"/>
                </a:cubicBezTo>
                <a:close/>
                <a:moveTo>
                  <a:pt x="650575" y="3788345"/>
                </a:moveTo>
                <a:cubicBezTo>
                  <a:pt x="650575" y="3788345"/>
                  <a:pt x="654482" y="3791444"/>
                  <a:pt x="654482" y="3791444"/>
                </a:cubicBezTo>
                <a:cubicBezTo>
                  <a:pt x="654182" y="3793547"/>
                  <a:pt x="654482" y="3793547"/>
                  <a:pt x="653280" y="3792219"/>
                </a:cubicBezTo>
                <a:cubicBezTo>
                  <a:pt x="651777" y="3795207"/>
                  <a:pt x="650274" y="3795981"/>
                  <a:pt x="649071" y="3796756"/>
                </a:cubicBezTo>
                <a:cubicBezTo>
                  <a:pt x="646666" y="3796203"/>
                  <a:pt x="644863" y="3793547"/>
                  <a:pt x="644261" y="3790116"/>
                </a:cubicBezTo>
                <a:cubicBezTo>
                  <a:pt x="646366" y="3790669"/>
                  <a:pt x="648170" y="3787792"/>
                  <a:pt x="650575" y="3788345"/>
                </a:cubicBezTo>
                <a:close/>
                <a:moveTo>
                  <a:pt x="599770" y="3778827"/>
                </a:moveTo>
                <a:cubicBezTo>
                  <a:pt x="615102" y="3783476"/>
                  <a:pt x="611194" y="3794543"/>
                  <a:pt x="602175" y="3796645"/>
                </a:cubicBezTo>
                <a:cubicBezTo>
                  <a:pt x="599169" y="3797310"/>
                  <a:pt x="595863" y="3796977"/>
                  <a:pt x="592256" y="3795096"/>
                </a:cubicBezTo>
                <a:cubicBezTo>
                  <a:pt x="590451" y="3790669"/>
                  <a:pt x="594961" y="3779934"/>
                  <a:pt x="599770" y="3778827"/>
                </a:cubicBezTo>
                <a:close/>
                <a:moveTo>
                  <a:pt x="6471981" y="3777831"/>
                </a:moveTo>
                <a:cubicBezTo>
                  <a:pt x="6474386" y="3777278"/>
                  <a:pt x="6477393" y="3777499"/>
                  <a:pt x="6481000" y="3778606"/>
                </a:cubicBezTo>
                <a:lnTo>
                  <a:pt x="6489116" y="3787902"/>
                </a:lnTo>
                <a:lnTo>
                  <a:pt x="6489116" y="3821879"/>
                </a:lnTo>
                <a:lnTo>
                  <a:pt x="6486711" y="3821547"/>
                </a:lnTo>
                <a:cubicBezTo>
                  <a:pt x="6485509" y="3822100"/>
                  <a:pt x="6484307" y="3823207"/>
                  <a:pt x="6483405" y="3824424"/>
                </a:cubicBezTo>
                <a:cubicBezTo>
                  <a:pt x="6462663" y="3822432"/>
                  <a:pt x="6454545" y="3781816"/>
                  <a:pt x="6471981" y="3777831"/>
                </a:cubicBezTo>
                <a:close/>
                <a:moveTo>
                  <a:pt x="558285" y="3768646"/>
                </a:moveTo>
                <a:cubicBezTo>
                  <a:pt x="572114" y="3766654"/>
                  <a:pt x="586243" y="3791112"/>
                  <a:pt x="576323" y="3796424"/>
                </a:cubicBezTo>
                <a:cubicBezTo>
                  <a:pt x="574819" y="3797199"/>
                  <a:pt x="572716" y="3797531"/>
                  <a:pt x="570311" y="3797310"/>
                </a:cubicBezTo>
                <a:cubicBezTo>
                  <a:pt x="557985" y="3790891"/>
                  <a:pt x="550470" y="3783365"/>
                  <a:pt x="554378" y="3771302"/>
                </a:cubicBezTo>
                <a:cubicBezTo>
                  <a:pt x="556482" y="3772408"/>
                  <a:pt x="557384" y="3770527"/>
                  <a:pt x="558285" y="3768646"/>
                </a:cubicBezTo>
                <a:close/>
                <a:moveTo>
                  <a:pt x="4835734" y="3755033"/>
                </a:moveTo>
                <a:lnTo>
                  <a:pt x="4834531" y="3758575"/>
                </a:lnTo>
                <a:cubicBezTo>
                  <a:pt x="4832728" y="3764661"/>
                  <a:pt x="4830624" y="3768646"/>
                  <a:pt x="4828820" y="3762448"/>
                </a:cubicBezTo>
                <a:cubicBezTo>
                  <a:pt x="4828519" y="3766322"/>
                  <a:pt x="4827918" y="3770195"/>
                  <a:pt x="4827918" y="3773737"/>
                </a:cubicBezTo>
                <a:lnTo>
                  <a:pt x="4827918" y="3774290"/>
                </a:lnTo>
                <a:lnTo>
                  <a:pt x="4834832" y="3775175"/>
                </a:lnTo>
                <a:cubicBezTo>
                  <a:pt x="4839041" y="3775729"/>
                  <a:pt x="4842950" y="3775950"/>
                  <a:pt x="4846557" y="3774843"/>
                </a:cubicBezTo>
                <a:cubicBezTo>
                  <a:pt x="4846557" y="3774843"/>
                  <a:pt x="4846557" y="3774954"/>
                  <a:pt x="4849863" y="3778163"/>
                </a:cubicBezTo>
                <a:cubicBezTo>
                  <a:pt x="4851366" y="3778274"/>
                  <a:pt x="4851366" y="3778163"/>
                  <a:pt x="4851366" y="3778163"/>
                </a:cubicBezTo>
                <a:cubicBezTo>
                  <a:pt x="4852869" y="3778274"/>
                  <a:pt x="4853171" y="3781373"/>
                  <a:pt x="4853171" y="3781373"/>
                </a:cubicBezTo>
                <a:cubicBezTo>
                  <a:pt x="4851667" y="3784361"/>
                  <a:pt x="4846857" y="3782590"/>
                  <a:pt x="4843551" y="3782480"/>
                </a:cubicBezTo>
                <a:cubicBezTo>
                  <a:pt x="4842048" y="3785468"/>
                  <a:pt x="4837238" y="3779159"/>
                  <a:pt x="4835734" y="3782148"/>
                </a:cubicBezTo>
                <a:cubicBezTo>
                  <a:pt x="4834231" y="3780487"/>
                  <a:pt x="4832428" y="3779823"/>
                  <a:pt x="4830624" y="3779491"/>
                </a:cubicBezTo>
                <a:lnTo>
                  <a:pt x="4828519" y="3779381"/>
                </a:lnTo>
                <a:lnTo>
                  <a:pt x="4828820" y="3780487"/>
                </a:lnTo>
                <a:lnTo>
                  <a:pt x="4833630" y="3787792"/>
                </a:lnTo>
                <a:lnTo>
                  <a:pt x="4828519" y="3788345"/>
                </a:lnTo>
                <a:lnTo>
                  <a:pt x="4831526" y="3796092"/>
                </a:lnTo>
                <a:lnTo>
                  <a:pt x="4837238" y="3789009"/>
                </a:lnTo>
                <a:cubicBezTo>
                  <a:pt x="4842950" y="3784361"/>
                  <a:pt x="4850464" y="3781926"/>
                  <a:pt x="4859183" y="3783254"/>
                </a:cubicBezTo>
                <a:lnTo>
                  <a:pt x="4864294" y="3785136"/>
                </a:lnTo>
                <a:lnTo>
                  <a:pt x="4858582" y="3780598"/>
                </a:lnTo>
                <a:cubicBezTo>
                  <a:pt x="4855575" y="3776725"/>
                  <a:pt x="4851366" y="3772740"/>
                  <a:pt x="4847459" y="3768756"/>
                </a:cubicBezTo>
                <a:cubicBezTo>
                  <a:pt x="4843250" y="3764883"/>
                  <a:pt x="4839342" y="3759903"/>
                  <a:pt x="4836337" y="3755918"/>
                </a:cubicBezTo>
                <a:close/>
                <a:moveTo>
                  <a:pt x="452469" y="3738543"/>
                </a:moveTo>
                <a:cubicBezTo>
                  <a:pt x="456979" y="3737215"/>
                  <a:pt x="461789" y="3739539"/>
                  <a:pt x="468101" y="3741420"/>
                </a:cubicBezTo>
                <a:cubicBezTo>
                  <a:pt x="467200" y="3747397"/>
                  <a:pt x="472309" y="3753926"/>
                  <a:pt x="469003" y="3760788"/>
                </a:cubicBezTo>
                <a:cubicBezTo>
                  <a:pt x="469003" y="3760788"/>
                  <a:pt x="467200" y="3764329"/>
                  <a:pt x="462390" y="3766211"/>
                </a:cubicBezTo>
                <a:cubicBezTo>
                  <a:pt x="456378" y="3774069"/>
                  <a:pt x="446457" y="3769420"/>
                  <a:pt x="446457" y="3769420"/>
                </a:cubicBezTo>
                <a:cubicBezTo>
                  <a:pt x="446457" y="3769420"/>
                  <a:pt x="446457" y="3769310"/>
                  <a:pt x="447358" y="3771855"/>
                </a:cubicBezTo>
                <a:cubicBezTo>
                  <a:pt x="445555" y="3766875"/>
                  <a:pt x="441346" y="3762891"/>
                  <a:pt x="439844" y="3757911"/>
                </a:cubicBezTo>
                <a:cubicBezTo>
                  <a:pt x="444052" y="3745073"/>
                  <a:pt x="447960" y="3739982"/>
                  <a:pt x="452469" y="3738543"/>
                </a:cubicBezTo>
                <a:close/>
                <a:moveTo>
                  <a:pt x="493954" y="3723934"/>
                </a:moveTo>
                <a:cubicBezTo>
                  <a:pt x="496058" y="3723381"/>
                  <a:pt x="497562" y="3723492"/>
                  <a:pt x="499065" y="3723934"/>
                </a:cubicBezTo>
                <a:cubicBezTo>
                  <a:pt x="500268" y="3724377"/>
                  <a:pt x="501169" y="3725373"/>
                  <a:pt x="501470" y="3726369"/>
                </a:cubicBezTo>
                <a:cubicBezTo>
                  <a:pt x="505678" y="3734338"/>
                  <a:pt x="504776" y="3740535"/>
                  <a:pt x="502973" y="3745183"/>
                </a:cubicBezTo>
                <a:lnTo>
                  <a:pt x="498464" y="3754258"/>
                </a:lnTo>
                <a:lnTo>
                  <a:pt x="513794" y="3757136"/>
                </a:lnTo>
                <a:lnTo>
                  <a:pt x="509286" y="3754148"/>
                </a:lnTo>
                <a:cubicBezTo>
                  <a:pt x="512592" y="3744519"/>
                  <a:pt x="516801" y="3741531"/>
                  <a:pt x="520409" y="3741974"/>
                </a:cubicBezTo>
                <a:cubicBezTo>
                  <a:pt x="527022" y="3742749"/>
                  <a:pt x="531531" y="3755697"/>
                  <a:pt x="527623" y="3760013"/>
                </a:cubicBezTo>
                <a:lnTo>
                  <a:pt x="525219" y="3760899"/>
                </a:lnTo>
                <a:lnTo>
                  <a:pt x="533034" y="3761673"/>
                </a:lnTo>
                <a:cubicBezTo>
                  <a:pt x="528826" y="3774622"/>
                  <a:pt x="538144" y="3776946"/>
                  <a:pt x="530629" y="3796756"/>
                </a:cubicBezTo>
                <a:cubicBezTo>
                  <a:pt x="522212" y="3822653"/>
                  <a:pt x="503274" y="3824203"/>
                  <a:pt x="490647" y="3820440"/>
                </a:cubicBezTo>
                <a:cubicBezTo>
                  <a:pt x="491850" y="3817894"/>
                  <a:pt x="475015" y="3812471"/>
                  <a:pt x="470506" y="3797642"/>
                </a:cubicBezTo>
                <a:cubicBezTo>
                  <a:pt x="469303" y="3792772"/>
                  <a:pt x="469303" y="3786685"/>
                  <a:pt x="471708" y="3779381"/>
                </a:cubicBezTo>
                <a:cubicBezTo>
                  <a:pt x="475015" y="3770195"/>
                  <a:pt x="480126" y="3761231"/>
                  <a:pt x="488543" y="3756804"/>
                </a:cubicBezTo>
                <a:lnTo>
                  <a:pt x="497260" y="3754369"/>
                </a:lnTo>
                <a:lnTo>
                  <a:pt x="492151" y="3754480"/>
                </a:lnTo>
                <a:cubicBezTo>
                  <a:pt x="490647" y="3753373"/>
                  <a:pt x="489445" y="3750496"/>
                  <a:pt x="486740" y="3745073"/>
                </a:cubicBezTo>
                <a:cubicBezTo>
                  <a:pt x="485837" y="3742970"/>
                  <a:pt x="485837" y="3740756"/>
                  <a:pt x="486138" y="3738654"/>
                </a:cubicBezTo>
                <a:cubicBezTo>
                  <a:pt x="486439" y="3736662"/>
                  <a:pt x="487341" y="3734670"/>
                  <a:pt x="489145" y="3733120"/>
                </a:cubicBezTo>
                <a:cubicBezTo>
                  <a:pt x="489145" y="3729689"/>
                  <a:pt x="490948" y="3725816"/>
                  <a:pt x="493954" y="3723934"/>
                </a:cubicBezTo>
                <a:close/>
                <a:moveTo>
                  <a:pt x="206867" y="3711429"/>
                </a:moveTo>
                <a:cubicBezTo>
                  <a:pt x="228812" y="3708772"/>
                  <a:pt x="252861" y="3721057"/>
                  <a:pt x="245947" y="3740424"/>
                </a:cubicBezTo>
                <a:cubicBezTo>
                  <a:pt x="244744" y="3744077"/>
                  <a:pt x="242038" y="3748061"/>
                  <a:pt x="238431" y="3752266"/>
                </a:cubicBezTo>
                <a:cubicBezTo>
                  <a:pt x="220095" y="3749499"/>
                  <a:pt x="187027" y="3750496"/>
                  <a:pt x="186726" y="3719176"/>
                </a:cubicBezTo>
                <a:cubicBezTo>
                  <a:pt x="192438" y="3714749"/>
                  <a:pt x="199652" y="3712314"/>
                  <a:pt x="206867" y="3711429"/>
                </a:cubicBezTo>
                <a:close/>
                <a:moveTo>
                  <a:pt x="504476" y="3674022"/>
                </a:moveTo>
                <a:cubicBezTo>
                  <a:pt x="505979" y="3674575"/>
                  <a:pt x="506280" y="3675239"/>
                  <a:pt x="505979" y="3676014"/>
                </a:cubicBezTo>
                <a:cubicBezTo>
                  <a:pt x="505377" y="3676899"/>
                  <a:pt x="504175" y="3678006"/>
                  <a:pt x="503274" y="3679666"/>
                </a:cubicBezTo>
                <a:cubicBezTo>
                  <a:pt x="502371" y="3677342"/>
                  <a:pt x="503274" y="3679555"/>
                  <a:pt x="504476" y="3674022"/>
                </a:cubicBezTo>
                <a:close/>
                <a:moveTo>
                  <a:pt x="432929" y="3607397"/>
                </a:moveTo>
                <a:cubicBezTo>
                  <a:pt x="440144" y="3606291"/>
                  <a:pt x="447960" y="3608725"/>
                  <a:pt x="453071" y="3620235"/>
                </a:cubicBezTo>
                <a:cubicBezTo>
                  <a:pt x="455175" y="3623002"/>
                  <a:pt x="453672" y="3622338"/>
                  <a:pt x="454273" y="3624330"/>
                </a:cubicBezTo>
                <a:cubicBezTo>
                  <a:pt x="455175" y="3626433"/>
                  <a:pt x="457279" y="3629421"/>
                  <a:pt x="458783" y="3630085"/>
                </a:cubicBezTo>
                <a:cubicBezTo>
                  <a:pt x="451868" y="3633184"/>
                  <a:pt x="454874" y="3638053"/>
                  <a:pt x="443751" y="3642259"/>
                </a:cubicBezTo>
                <a:cubicBezTo>
                  <a:pt x="429623" y="3648457"/>
                  <a:pt x="420905" y="3640488"/>
                  <a:pt x="416997" y="3633516"/>
                </a:cubicBezTo>
                <a:cubicBezTo>
                  <a:pt x="418800" y="3633073"/>
                  <a:pt x="413690" y="3623445"/>
                  <a:pt x="417899" y="3615809"/>
                </a:cubicBezTo>
                <a:cubicBezTo>
                  <a:pt x="419101" y="3613263"/>
                  <a:pt x="421506" y="3611050"/>
                  <a:pt x="425715" y="3609390"/>
                </a:cubicBezTo>
                <a:cubicBezTo>
                  <a:pt x="427818" y="3608504"/>
                  <a:pt x="430224" y="3607729"/>
                  <a:pt x="432929" y="3607397"/>
                </a:cubicBezTo>
                <a:close/>
                <a:moveTo>
                  <a:pt x="349358" y="3595445"/>
                </a:moveTo>
                <a:cubicBezTo>
                  <a:pt x="351463" y="3595224"/>
                  <a:pt x="353567" y="3595666"/>
                  <a:pt x="360181" y="3596662"/>
                </a:cubicBezTo>
                <a:cubicBezTo>
                  <a:pt x="359579" y="3604299"/>
                  <a:pt x="358979" y="3611824"/>
                  <a:pt x="358678" y="3619461"/>
                </a:cubicBezTo>
                <a:cubicBezTo>
                  <a:pt x="352965" y="3617579"/>
                  <a:pt x="347254" y="3619461"/>
                  <a:pt x="343647" y="3619461"/>
                </a:cubicBezTo>
                <a:cubicBezTo>
                  <a:pt x="338235" y="3613706"/>
                  <a:pt x="337033" y="3608062"/>
                  <a:pt x="339439" y="3598544"/>
                </a:cubicBezTo>
                <a:cubicBezTo>
                  <a:pt x="345150" y="3596662"/>
                  <a:pt x="347254" y="3595666"/>
                  <a:pt x="349358" y="3595445"/>
                </a:cubicBezTo>
                <a:close/>
                <a:moveTo>
                  <a:pt x="429022" y="3584378"/>
                </a:moveTo>
                <a:cubicBezTo>
                  <a:pt x="435334" y="3583714"/>
                  <a:pt x="436838" y="3588141"/>
                  <a:pt x="439543" y="3593342"/>
                </a:cubicBezTo>
                <a:cubicBezTo>
                  <a:pt x="436838" y="3595224"/>
                  <a:pt x="436236" y="3599872"/>
                  <a:pt x="432028" y="3601089"/>
                </a:cubicBezTo>
                <a:cubicBezTo>
                  <a:pt x="432028" y="3601089"/>
                  <a:pt x="429923" y="3601643"/>
                  <a:pt x="426917" y="3600093"/>
                </a:cubicBezTo>
                <a:cubicBezTo>
                  <a:pt x="421506" y="3600536"/>
                  <a:pt x="418800" y="3594228"/>
                  <a:pt x="418800" y="3594228"/>
                </a:cubicBezTo>
                <a:cubicBezTo>
                  <a:pt x="418800" y="3594228"/>
                  <a:pt x="419101" y="3594338"/>
                  <a:pt x="418199" y="3595666"/>
                </a:cubicBezTo>
                <a:cubicBezTo>
                  <a:pt x="419703" y="3593010"/>
                  <a:pt x="419703" y="3589579"/>
                  <a:pt x="420905" y="3586923"/>
                </a:cubicBezTo>
                <a:cubicBezTo>
                  <a:pt x="424512" y="3585485"/>
                  <a:pt x="426917" y="3584599"/>
                  <a:pt x="429022" y="3584378"/>
                </a:cubicBezTo>
                <a:close/>
                <a:moveTo>
                  <a:pt x="297954" y="3565232"/>
                </a:moveTo>
                <a:cubicBezTo>
                  <a:pt x="307272" y="3567445"/>
                  <a:pt x="312082" y="3574196"/>
                  <a:pt x="309677" y="3583714"/>
                </a:cubicBezTo>
                <a:cubicBezTo>
                  <a:pt x="305468" y="3588141"/>
                  <a:pt x="299757" y="3587477"/>
                  <a:pt x="294045" y="3586813"/>
                </a:cubicBezTo>
                <a:cubicBezTo>
                  <a:pt x="289536" y="3585706"/>
                  <a:pt x="287432" y="3583603"/>
                  <a:pt x="286831" y="3580947"/>
                </a:cubicBezTo>
                <a:cubicBezTo>
                  <a:pt x="286229" y="3578291"/>
                  <a:pt x="287432" y="3574971"/>
                  <a:pt x="288934" y="3571540"/>
                </a:cubicBezTo>
                <a:cubicBezTo>
                  <a:pt x="292242" y="3564568"/>
                  <a:pt x="297954" y="3565232"/>
                  <a:pt x="297954" y="3565232"/>
                </a:cubicBezTo>
                <a:close/>
                <a:moveTo>
                  <a:pt x="329217" y="3555271"/>
                </a:moveTo>
                <a:cubicBezTo>
                  <a:pt x="329518" y="3555161"/>
                  <a:pt x="329818" y="3555271"/>
                  <a:pt x="330419" y="3556267"/>
                </a:cubicBezTo>
                <a:cubicBezTo>
                  <a:pt x="331021" y="3558259"/>
                  <a:pt x="331021" y="3558370"/>
                  <a:pt x="329217" y="3562133"/>
                </a:cubicBezTo>
                <a:cubicBezTo>
                  <a:pt x="328316" y="3560141"/>
                  <a:pt x="328316" y="3560141"/>
                  <a:pt x="326512" y="3560694"/>
                </a:cubicBezTo>
                <a:cubicBezTo>
                  <a:pt x="326512" y="3560694"/>
                  <a:pt x="326211" y="3560805"/>
                  <a:pt x="325610" y="3562022"/>
                </a:cubicBezTo>
                <a:cubicBezTo>
                  <a:pt x="324407" y="3561358"/>
                  <a:pt x="325008" y="3560030"/>
                  <a:pt x="323506" y="3559366"/>
                </a:cubicBezTo>
                <a:cubicBezTo>
                  <a:pt x="323506" y="3559366"/>
                  <a:pt x="324407" y="3557927"/>
                  <a:pt x="324407" y="3557927"/>
                </a:cubicBezTo>
                <a:cubicBezTo>
                  <a:pt x="323506" y="3557595"/>
                  <a:pt x="323506" y="3557706"/>
                  <a:pt x="324107" y="3557485"/>
                </a:cubicBezTo>
                <a:cubicBezTo>
                  <a:pt x="324708" y="3557374"/>
                  <a:pt x="325610" y="3557042"/>
                  <a:pt x="326812" y="3556157"/>
                </a:cubicBezTo>
                <a:cubicBezTo>
                  <a:pt x="328014" y="3555935"/>
                  <a:pt x="328616" y="3555382"/>
                  <a:pt x="329217" y="3555271"/>
                </a:cubicBezTo>
                <a:close/>
                <a:moveTo>
                  <a:pt x="6484908" y="3537121"/>
                </a:moveTo>
                <a:lnTo>
                  <a:pt x="6489116" y="3540884"/>
                </a:lnTo>
                <a:lnTo>
                  <a:pt x="6489116" y="3550734"/>
                </a:lnTo>
                <a:lnTo>
                  <a:pt x="6484608" y="3551508"/>
                </a:lnTo>
                <a:cubicBezTo>
                  <a:pt x="6481901" y="3551951"/>
                  <a:pt x="6478896" y="3552394"/>
                  <a:pt x="6475889" y="3553390"/>
                </a:cubicBezTo>
                <a:cubicBezTo>
                  <a:pt x="6469877" y="3544868"/>
                  <a:pt x="6477393" y="3540995"/>
                  <a:pt x="6484908" y="3537121"/>
                </a:cubicBezTo>
                <a:close/>
                <a:moveTo>
                  <a:pt x="540549" y="3523619"/>
                </a:moveTo>
                <a:cubicBezTo>
                  <a:pt x="545059" y="3529374"/>
                  <a:pt x="544759" y="3536678"/>
                  <a:pt x="541751" y="3542433"/>
                </a:cubicBezTo>
                <a:cubicBezTo>
                  <a:pt x="538745" y="3548188"/>
                  <a:pt x="532733" y="3552283"/>
                  <a:pt x="526120" y="3551730"/>
                </a:cubicBezTo>
                <a:cubicBezTo>
                  <a:pt x="523715" y="3548963"/>
                  <a:pt x="518604" y="3545753"/>
                  <a:pt x="516500" y="3540331"/>
                </a:cubicBezTo>
                <a:cubicBezTo>
                  <a:pt x="521010" y="3527271"/>
                  <a:pt x="529727" y="3522734"/>
                  <a:pt x="540549" y="3523619"/>
                </a:cubicBezTo>
                <a:close/>
                <a:moveTo>
                  <a:pt x="6048415" y="3518639"/>
                </a:moveTo>
                <a:lnTo>
                  <a:pt x="6046011" y="3525169"/>
                </a:lnTo>
                <a:lnTo>
                  <a:pt x="6049617" y="3521849"/>
                </a:lnTo>
                <a:lnTo>
                  <a:pt x="6049316" y="3521627"/>
                </a:lnTo>
                <a:close/>
                <a:moveTo>
                  <a:pt x="483432" y="3484110"/>
                </a:moveTo>
                <a:cubicBezTo>
                  <a:pt x="499966" y="3489754"/>
                  <a:pt x="510187" y="3516536"/>
                  <a:pt x="494856" y="3520078"/>
                </a:cubicBezTo>
                <a:cubicBezTo>
                  <a:pt x="492752" y="3520631"/>
                  <a:pt x="489746" y="3520520"/>
                  <a:pt x="486439" y="3519967"/>
                </a:cubicBezTo>
                <a:cubicBezTo>
                  <a:pt x="481329" y="3510117"/>
                  <a:pt x="469003" y="3494070"/>
                  <a:pt x="483432" y="3484110"/>
                </a:cubicBezTo>
                <a:close/>
                <a:moveTo>
                  <a:pt x="6462362" y="3451572"/>
                </a:moveTo>
                <a:cubicBezTo>
                  <a:pt x="6464766" y="3450797"/>
                  <a:pt x="6467472" y="3451019"/>
                  <a:pt x="6468074" y="3452015"/>
                </a:cubicBezTo>
                <a:cubicBezTo>
                  <a:pt x="6467773" y="3455335"/>
                  <a:pt x="6463865" y="3458212"/>
                  <a:pt x="6463564" y="3461533"/>
                </a:cubicBezTo>
                <a:cubicBezTo>
                  <a:pt x="6462061" y="3459762"/>
                  <a:pt x="6458454" y="3459208"/>
                  <a:pt x="6457252" y="3457327"/>
                </a:cubicBezTo>
                <a:cubicBezTo>
                  <a:pt x="6457552" y="3454007"/>
                  <a:pt x="6459956" y="3452236"/>
                  <a:pt x="6462362" y="3451572"/>
                </a:cubicBezTo>
                <a:close/>
                <a:moveTo>
                  <a:pt x="432328" y="3448584"/>
                </a:moveTo>
                <a:cubicBezTo>
                  <a:pt x="436537" y="3447477"/>
                  <a:pt x="438641" y="3450244"/>
                  <a:pt x="438641" y="3450244"/>
                </a:cubicBezTo>
                <a:cubicBezTo>
                  <a:pt x="441647" y="3455114"/>
                  <a:pt x="441046" y="3459983"/>
                  <a:pt x="436236" y="3462529"/>
                </a:cubicBezTo>
                <a:cubicBezTo>
                  <a:pt x="432629" y="3462307"/>
                  <a:pt x="430524" y="3459430"/>
                  <a:pt x="428421" y="3456663"/>
                </a:cubicBezTo>
                <a:cubicBezTo>
                  <a:pt x="426917" y="3454118"/>
                  <a:pt x="426616" y="3452458"/>
                  <a:pt x="427518" y="3451240"/>
                </a:cubicBezTo>
                <a:cubicBezTo>
                  <a:pt x="428421" y="3449912"/>
                  <a:pt x="430224" y="3449248"/>
                  <a:pt x="432328" y="3448584"/>
                </a:cubicBezTo>
                <a:close/>
                <a:moveTo>
                  <a:pt x="417598" y="3411067"/>
                </a:moveTo>
                <a:cubicBezTo>
                  <a:pt x="419703" y="3410845"/>
                  <a:pt x="421806" y="3411288"/>
                  <a:pt x="424211" y="3412395"/>
                </a:cubicBezTo>
                <a:cubicBezTo>
                  <a:pt x="427518" y="3413944"/>
                  <a:pt x="430826" y="3415604"/>
                  <a:pt x="428421" y="3416489"/>
                </a:cubicBezTo>
                <a:cubicBezTo>
                  <a:pt x="428721" y="3417707"/>
                  <a:pt x="428421" y="3418592"/>
                  <a:pt x="427518" y="3419477"/>
                </a:cubicBezTo>
                <a:cubicBezTo>
                  <a:pt x="426917" y="3420474"/>
                  <a:pt x="426015" y="3421691"/>
                  <a:pt x="425113" y="3423351"/>
                </a:cubicBezTo>
                <a:cubicBezTo>
                  <a:pt x="421205" y="3427778"/>
                  <a:pt x="413690" y="3430545"/>
                  <a:pt x="410383" y="3428995"/>
                </a:cubicBezTo>
                <a:cubicBezTo>
                  <a:pt x="407076" y="3427446"/>
                  <a:pt x="406175" y="3424900"/>
                  <a:pt x="406175" y="3424900"/>
                </a:cubicBezTo>
                <a:cubicBezTo>
                  <a:pt x="408278" y="3417928"/>
                  <a:pt x="411887" y="3411730"/>
                  <a:pt x="417598" y="3411067"/>
                </a:cubicBezTo>
                <a:close/>
                <a:moveTo>
                  <a:pt x="580531" y="3403984"/>
                </a:moveTo>
                <a:lnTo>
                  <a:pt x="578127" y="3413612"/>
                </a:lnTo>
                <a:cubicBezTo>
                  <a:pt x="577825" y="3414719"/>
                  <a:pt x="577825" y="3414829"/>
                  <a:pt x="578427" y="3416268"/>
                </a:cubicBezTo>
                <a:cubicBezTo>
                  <a:pt x="578427" y="3416268"/>
                  <a:pt x="578427" y="3416157"/>
                  <a:pt x="578127" y="3417264"/>
                </a:cubicBezTo>
                <a:cubicBezTo>
                  <a:pt x="578127" y="3417264"/>
                  <a:pt x="577825" y="3418371"/>
                  <a:pt x="577825" y="3418371"/>
                </a:cubicBezTo>
                <a:cubicBezTo>
                  <a:pt x="577525" y="3419477"/>
                  <a:pt x="576924" y="3420584"/>
                  <a:pt x="578127" y="3420916"/>
                </a:cubicBezTo>
                <a:cubicBezTo>
                  <a:pt x="578427" y="3423351"/>
                  <a:pt x="583838" y="3421470"/>
                  <a:pt x="586243" y="3421027"/>
                </a:cubicBezTo>
                <a:cubicBezTo>
                  <a:pt x="588647" y="3424126"/>
                  <a:pt x="584139" y="3423904"/>
                  <a:pt x="580230" y="3425122"/>
                </a:cubicBezTo>
                <a:cubicBezTo>
                  <a:pt x="584740" y="3428995"/>
                  <a:pt x="586243" y="3434418"/>
                  <a:pt x="588347" y="3438734"/>
                </a:cubicBezTo>
                <a:cubicBezTo>
                  <a:pt x="588948" y="3440173"/>
                  <a:pt x="588647" y="3441169"/>
                  <a:pt x="589249" y="3442608"/>
                </a:cubicBezTo>
                <a:cubicBezTo>
                  <a:pt x="589249" y="3442608"/>
                  <a:pt x="589249" y="3442608"/>
                  <a:pt x="589550" y="3445153"/>
                </a:cubicBezTo>
                <a:cubicBezTo>
                  <a:pt x="589550" y="3445153"/>
                  <a:pt x="589550" y="3445153"/>
                  <a:pt x="590752" y="3445485"/>
                </a:cubicBezTo>
                <a:cubicBezTo>
                  <a:pt x="590752" y="3445485"/>
                  <a:pt x="590752" y="3445485"/>
                  <a:pt x="590151" y="3446592"/>
                </a:cubicBezTo>
                <a:cubicBezTo>
                  <a:pt x="590151" y="3446592"/>
                  <a:pt x="590451" y="3446592"/>
                  <a:pt x="591955" y="3459208"/>
                </a:cubicBezTo>
                <a:cubicBezTo>
                  <a:pt x="593458" y="3464631"/>
                  <a:pt x="594058" y="3469612"/>
                  <a:pt x="594661" y="3474702"/>
                </a:cubicBezTo>
                <a:cubicBezTo>
                  <a:pt x="597065" y="3485106"/>
                  <a:pt x="599169" y="3495509"/>
                  <a:pt x="600372" y="3505580"/>
                </a:cubicBezTo>
                <a:cubicBezTo>
                  <a:pt x="602776" y="3515983"/>
                  <a:pt x="606084" y="3526718"/>
                  <a:pt x="609691" y="3536346"/>
                </a:cubicBezTo>
                <a:cubicBezTo>
                  <a:pt x="611194" y="3542765"/>
                  <a:pt x="613598" y="3549627"/>
                  <a:pt x="615703" y="3556378"/>
                </a:cubicBezTo>
                <a:cubicBezTo>
                  <a:pt x="617207" y="3559255"/>
                  <a:pt x="618409" y="3562022"/>
                  <a:pt x="619612" y="3566006"/>
                </a:cubicBezTo>
                <a:cubicBezTo>
                  <a:pt x="620814" y="3568884"/>
                  <a:pt x="622317" y="3571761"/>
                  <a:pt x="623219" y="3575635"/>
                </a:cubicBezTo>
                <a:cubicBezTo>
                  <a:pt x="628329" y="3588141"/>
                  <a:pt x="632537" y="3599208"/>
                  <a:pt x="633740" y="3609279"/>
                </a:cubicBezTo>
                <a:cubicBezTo>
                  <a:pt x="635243" y="3615698"/>
                  <a:pt x="642158" y="3626322"/>
                  <a:pt x="647268" y="3635176"/>
                </a:cubicBezTo>
                <a:cubicBezTo>
                  <a:pt x="652077" y="3645136"/>
                  <a:pt x="655986" y="3653658"/>
                  <a:pt x="652077" y="3658528"/>
                </a:cubicBezTo>
                <a:cubicBezTo>
                  <a:pt x="655986" y="3670701"/>
                  <a:pt x="660494" y="3681879"/>
                  <a:pt x="663801" y="3692614"/>
                </a:cubicBezTo>
                <a:cubicBezTo>
                  <a:pt x="668611" y="3702575"/>
                  <a:pt x="673421" y="3712535"/>
                  <a:pt x="677028" y="3722164"/>
                </a:cubicBezTo>
                <a:cubicBezTo>
                  <a:pt x="682139" y="3731017"/>
                  <a:pt x="687250" y="3739871"/>
                  <a:pt x="692060" y="3749831"/>
                </a:cubicBezTo>
                <a:cubicBezTo>
                  <a:pt x="696268" y="3758464"/>
                  <a:pt x="701378" y="3767207"/>
                  <a:pt x="705286" y="3775839"/>
                </a:cubicBezTo>
                <a:cubicBezTo>
                  <a:pt x="702580" y="3777389"/>
                  <a:pt x="700176" y="3774179"/>
                  <a:pt x="697169" y="3775729"/>
                </a:cubicBezTo>
                <a:cubicBezTo>
                  <a:pt x="691759" y="3777721"/>
                  <a:pt x="700176" y="3783918"/>
                  <a:pt x="701378" y="3787902"/>
                </a:cubicBezTo>
                <a:cubicBezTo>
                  <a:pt x="709796" y="3786906"/>
                  <a:pt x="698372" y="3779602"/>
                  <a:pt x="706790" y="3778606"/>
                </a:cubicBezTo>
                <a:cubicBezTo>
                  <a:pt x="713703" y="3785578"/>
                  <a:pt x="720918" y="3798748"/>
                  <a:pt x="728134" y="3811918"/>
                </a:cubicBezTo>
                <a:cubicBezTo>
                  <a:pt x="735047" y="3824977"/>
                  <a:pt x="742262" y="3838147"/>
                  <a:pt x="750078" y="3846558"/>
                </a:cubicBezTo>
                <a:cubicBezTo>
                  <a:pt x="745569" y="3848882"/>
                  <a:pt x="743765" y="3841025"/>
                  <a:pt x="740158" y="3844788"/>
                </a:cubicBezTo>
                <a:cubicBezTo>
                  <a:pt x="744667" y="3855855"/>
                  <a:pt x="757894" y="3844234"/>
                  <a:pt x="756391" y="3858289"/>
                </a:cubicBezTo>
                <a:cubicBezTo>
                  <a:pt x="752482" y="3859507"/>
                  <a:pt x="749777" y="3857515"/>
                  <a:pt x="747071" y="3851760"/>
                </a:cubicBezTo>
                <a:cubicBezTo>
                  <a:pt x="744968" y="3864487"/>
                  <a:pt x="766010" y="3871017"/>
                  <a:pt x="765109" y="3877989"/>
                </a:cubicBezTo>
                <a:cubicBezTo>
                  <a:pt x="766913" y="3876108"/>
                  <a:pt x="767213" y="3874890"/>
                  <a:pt x="766913" y="3872455"/>
                </a:cubicBezTo>
                <a:cubicBezTo>
                  <a:pt x="768716" y="3876661"/>
                  <a:pt x="770820" y="3880977"/>
                  <a:pt x="774728" y="3886953"/>
                </a:cubicBezTo>
                <a:cubicBezTo>
                  <a:pt x="777735" y="3891602"/>
                  <a:pt x="780139" y="3898352"/>
                  <a:pt x="784348" y="3903333"/>
                </a:cubicBezTo>
                <a:cubicBezTo>
                  <a:pt x="792164" y="3914289"/>
                  <a:pt x="800882" y="3923032"/>
                  <a:pt x="807796" y="3920265"/>
                </a:cubicBezTo>
                <a:cubicBezTo>
                  <a:pt x="810802" y="3924803"/>
                  <a:pt x="804189" y="3926463"/>
                  <a:pt x="809600" y="3931775"/>
                </a:cubicBezTo>
                <a:cubicBezTo>
                  <a:pt x="812906" y="3935206"/>
                  <a:pt x="816213" y="3932661"/>
                  <a:pt x="819520" y="3930004"/>
                </a:cubicBezTo>
                <a:cubicBezTo>
                  <a:pt x="818918" y="3932550"/>
                  <a:pt x="820121" y="3936202"/>
                  <a:pt x="822827" y="3940297"/>
                </a:cubicBezTo>
                <a:lnTo>
                  <a:pt x="827336" y="3946273"/>
                </a:lnTo>
                <a:lnTo>
                  <a:pt x="836355" y="3935095"/>
                </a:lnTo>
                <a:cubicBezTo>
                  <a:pt x="843268" y="3926352"/>
                  <a:pt x="851385" y="3918716"/>
                  <a:pt x="863711" y="3918827"/>
                </a:cubicBezTo>
                <a:cubicBezTo>
                  <a:pt x="872429" y="3924692"/>
                  <a:pt x="879042" y="3926131"/>
                  <a:pt x="885354" y="3926684"/>
                </a:cubicBezTo>
                <a:lnTo>
                  <a:pt x="885956" y="3926684"/>
                </a:lnTo>
                <a:lnTo>
                  <a:pt x="885655" y="3926242"/>
                </a:lnTo>
                <a:cubicBezTo>
                  <a:pt x="885655" y="3925910"/>
                  <a:pt x="885956" y="3926131"/>
                  <a:pt x="887158" y="3925910"/>
                </a:cubicBezTo>
                <a:cubicBezTo>
                  <a:pt x="887158" y="3925910"/>
                  <a:pt x="887158" y="3925910"/>
                  <a:pt x="889263" y="3925246"/>
                </a:cubicBezTo>
                <a:cubicBezTo>
                  <a:pt x="889263" y="3925246"/>
                  <a:pt x="889263" y="3924914"/>
                  <a:pt x="889864" y="3925135"/>
                </a:cubicBezTo>
                <a:lnTo>
                  <a:pt x="891366" y="3926906"/>
                </a:lnTo>
                <a:lnTo>
                  <a:pt x="894072" y="3927016"/>
                </a:lnTo>
                <a:lnTo>
                  <a:pt x="901888" y="3928012"/>
                </a:lnTo>
                <a:lnTo>
                  <a:pt x="904293" y="3925024"/>
                </a:lnTo>
                <a:lnTo>
                  <a:pt x="901588" y="3920376"/>
                </a:lnTo>
                <a:cubicBezTo>
                  <a:pt x="900386" y="3918827"/>
                  <a:pt x="898882" y="3917609"/>
                  <a:pt x="896477" y="3916945"/>
                </a:cubicBezTo>
                <a:cubicBezTo>
                  <a:pt x="899183" y="3914400"/>
                  <a:pt x="899183" y="3914289"/>
                  <a:pt x="902791" y="3914621"/>
                </a:cubicBezTo>
                <a:cubicBezTo>
                  <a:pt x="903091" y="3916060"/>
                  <a:pt x="904594" y="3915396"/>
                  <a:pt x="903692" y="3917388"/>
                </a:cubicBezTo>
                <a:cubicBezTo>
                  <a:pt x="904894" y="3917720"/>
                  <a:pt x="906698" y="3918605"/>
                  <a:pt x="908202" y="3919933"/>
                </a:cubicBezTo>
                <a:lnTo>
                  <a:pt x="912109" y="3923918"/>
                </a:lnTo>
                <a:lnTo>
                  <a:pt x="914214" y="3914068"/>
                </a:lnTo>
                <a:lnTo>
                  <a:pt x="913613" y="3911744"/>
                </a:lnTo>
                <a:cubicBezTo>
                  <a:pt x="913613" y="3911744"/>
                  <a:pt x="913613" y="3911744"/>
                  <a:pt x="914214" y="3913072"/>
                </a:cubicBezTo>
                <a:lnTo>
                  <a:pt x="914515" y="3912408"/>
                </a:lnTo>
                <a:lnTo>
                  <a:pt x="914815" y="3909752"/>
                </a:lnTo>
                <a:cubicBezTo>
                  <a:pt x="912109" y="3903997"/>
                  <a:pt x="907600" y="3900234"/>
                  <a:pt x="900987" y="3899349"/>
                </a:cubicBezTo>
                <a:cubicBezTo>
                  <a:pt x="898882" y="3902337"/>
                  <a:pt x="902791" y="3904771"/>
                  <a:pt x="903993" y="3907649"/>
                </a:cubicBezTo>
                <a:cubicBezTo>
                  <a:pt x="898882" y="3905989"/>
                  <a:pt x="892569" y="3910194"/>
                  <a:pt x="887158" y="3905989"/>
                </a:cubicBezTo>
                <a:cubicBezTo>
                  <a:pt x="893471" y="3900787"/>
                  <a:pt x="894374" y="3894922"/>
                  <a:pt x="895275" y="3885515"/>
                </a:cubicBezTo>
                <a:cubicBezTo>
                  <a:pt x="890465" y="3885293"/>
                  <a:pt x="886557" y="3880313"/>
                  <a:pt x="882649" y="3874337"/>
                </a:cubicBezTo>
                <a:cubicBezTo>
                  <a:pt x="879643" y="3869689"/>
                  <a:pt x="875735" y="3863712"/>
                  <a:pt x="871225" y="3863491"/>
                </a:cubicBezTo>
                <a:cubicBezTo>
                  <a:pt x="867919" y="3869799"/>
                  <a:pt x="886858" y="3879317"/>
                  <a:pt x="875735" y="3884408"/>
                </a:cubicBezTo>
                <a:cubicBezTo>
                  <a:pt x="875735" y="3877657"/>
                  <a:pt x="873330" y="3874558"/>
                  <a:pt x="869723" y="3872677"/>
                </a:cubicBezTo>
                <a:lnTo>
                  <a:pt x="859502" y="3869467"/>
                </a:lnTo>
                <a:lnTo>
                  <a:pt x="860704" y="3871127"/>
                </a:lnTo>
                <a:cubicBezTo>
                  <a:pt x="862808" y="3872787"/>
                  <a:pt x="865213" y="3874669"/>
                  <a:pt x="866416" y="3876882"/>
                </a:cubicBezTo>
                <a:cubicBezTo>
                  <a:pt x="867318" y="3878432"/>
                  <a:pt x="867919" y="3879981"/>
                  <a:pt x="867618" y="3881641"/>
                </a:cubicBezTo>
                <a:cubicBezTo>
                  <a:pt x="867018" y="3885072"/>
                  <a:pt x="866115" y="3887064"/>
                  <a:pt x="865514" y="3890495"/>
                </a:cubicBezTo>
                <a:lnTo>
                  <a:pt x="864312" y="3891270"/>
                </a:lnTo>
                <a:lnTo>
                  <a:pt x="864312" y="3892819"/>
                </a:lnTo>
                <a:cubicBezTo>
                  <a:pt x="863109" y="3896582"/>
                  <a:pt x="859502" y="3899016"/>
                  <a:pt x="854992" y="3902558"/>
                </a:cubicBezTo>
                <a:cubicBezTo>
                  <a:pt x="855594" y="3901230"/>
                  <a:pt x="853790" y="3901783"/>
                  <a:pt x="853790" y="3901783"/>
                </a:cubicBezTo>
                <a:cubicBezTo>
                  <a:pt x="849581" y="3902890"/>
                  <a:pt x="857397" y="3908866"/>
                  <a:pt x="852588" y="3911301"/>
                </a:cubicBezTo>
                <a:cubicBezTo>
                  <a:pt x="844170" y="3914510"/>
                  <a:pt x="834851" y="3906874"/>
                  <a:pt x="830343" y="3902558"/>
                </a:cubicBezTo>
                <a:lnTo>
                  <a:pt x="827637" y="3900013"/>
                </a:lnTo>
                <a:lnTo>
                  <a:pt x="827035" y="3901341"/>
                </a:lnTo>
                <a:lnTo>
                  <a:pt x="826134" y="3899127"/>
                </a:lnTo>
                <a:lnTo>
                  <a:pt x="825833" y="3899016"/>
                </a:lnTo>
                <a:cubicBezTo>
                  <a:pt x="826434" y="3897688"/>
                  <a:pt x="824932" y="3896914"/>
                  <a:pt x="824330" y="3898242"/>
                </a:cubicBezTo>
                <a:cubicBezTo>
                  <a:pt x="822827" y="3895807"/>
                  <a:pt x="821624" y="3893815"/>
                  <a:pt x="821323" y="3892376"/>
                </a:cubicBezTo>
                <a:lnTo>
                  <a:pt x="821924" y="3891159"/>
                </a:lnTo>
                <a:lnTo>
                  <a:pt x="818618" y="3889831"/>
                </a:lnTo>
                <a:lnTo>
                  <a:pt x="817115" y="3891159"/>
                </a:lnTo>
                <a:cubicBezTo>
                  <a:pt x="804790" y="3896250"/>
                  <a:pt x="782544" y="3891491"/>
                  <a:pt x="775631" y="3887175"/>
                </a:cubicBezTo>
                <a:cubicBezTo>
                  <a:pt x="782544" y="3885293"/>
                  <a:pt x="791864" y="3882748"/>
                  <a:pt x="801183" y="3881420"/>
                </a:cubicBezTo>
                <a:lnTo>
                  <a:pt x="802686" y="3881309"/>
                </a:lnTo>
                <a:lnTo>
                  <a:pt x="802385" y="3881198"/>
                </a:lnTo>
                <a:cubicBezTo>
                  <a:pt x="799981" y="3878764"/>
                  <a:pt x="798477" y="3875997"/>
                  <a:pt x="799679" y="3873009"/>
                </a:cubicBezTo>
                <a:cubicBezTo>
                  <a:pt x="805090" y="3874779"/>
                  <a:pt x="815612" y="3876550"/>
                  <a:pt x="824330" y="3879981"/>
                </a:cubicBezTo>
                <a:lnTo>
                  <a:pt x="834551" y="3886400"/>
                </a:lnTo>
                <a:lnTo>
                  <a:pt x="835753" y="3885072"/>
                </a:lnTo>
                <a:lnTo>
                  <a:pt x="836355" y="3881198"/>
                </a:lnTo>
                <a:lnTo>
                  <a:pt x="835152" y="3881088"/>
                </a:lnTo>
                <a:cubicBezTo>
                  <a:pt x="834851" y="3879649"/>
                  <a:pt x="832146" y="3877436"/>
                  <a:pt x="830343" y="3876550"/>
                </a:cubicBezTo>
                <a:cubicBezTo>
                  <a:pt x="831845" y="3875997"/>
                  <a:pt x="833349" y="3875444"/>
                  <a:pt x="832747" y="3874005"/>
                </a:cubicBezTo>
                <a:cubicBezTo>
                  <a:pt x="834851" y="3874890"/>
                  <a:pt x="836054" y="3875665"/>
                  <a:pt x="836655" y="3876329"/>
                </a:cubicBezTo>
                <a:lnTo>
                  <a:pt x="837256" y="3876661"/>
                </a:lnTo>
                <a:lnTo>
                  <a:pt x="837557" y="3875001"/>
                </a:lnTo>
                <a:cubicBezTo>
                  <a:pt x="838760" y="3871459"/>
                  <a:pt x="840863" y="3868028"/>
                  <a:pt x="846275" y="3865815"/>
                </a:cubicBezTo>
                <a:cubicBezTo>
                  <a:pt x="846575" y="3866811"/>
                  <a:pt x="847478" y="3867475"/>
                  <a:pt x="848680" y="3868028"/>
                </a:cubicBezTo>
                <a:lnTo>
                  <a:pt x="849581" y="3868361"/>
                </a:lnTo>
                <a:lnTo>
                  <a:pt x="851686" y="3867475"/>
                </a:lnTo>
                <a:lnTo>
                  <a:pt x="857097" y="3867696"/>
                </a:lnTo>
                <a:lnTo>
                  <a:pt x="859802" y="3860614"/>
                </a:lnTo>
                <a:cubicBezTo>
                  <a:pt x="858901" y="3856961"/>
                  <a:pt x="856195" y="3852756"/>
                  <a:pt x="852889" y="3849325"/>
                </a:cubicBezTo>
                <a:cubicBezTo>
                  <a:pt x="846275" y="3841246"/>
                  <a:pt x="836655" y="3834606"/>
                  <a:pt x="829741" y="3838479"/>
                </a:cubicBezTo>
                <a:cubicBezTo>
                  <a:pt x="822226" y="3832614"/>
                  <a:pt x="832446" y="3819886"/>
                  <a:pt x="821323" y="3822432"/>
                </a:cubicBezTo>
                <a:cubicBezTo>
                  <a:pt x="823428" y="3819554"/>
                  <a:pt x="822527" y="3814464"/>
                  <a:pt x="821624" y="3810479"/>
                </a:cubicBezTo>
                <a:cubicBezTo>
                  <a:pt x="820121" y="3805167"/>
                  <a:pt x="816815" y="3800519"/>
                  <a:pt x="814109" y="3794875"/>
                </a:cubicBezTo>
                <a:cubicBezTo>
                  <a:pt x="811404" y="3796424"/>
                  <a:pt x="811704" y="3798970"/>
                  <a:pt x="813207" y="3801847"/>
                </a:cubicBezTo>
                <a:cubicBezTo>
                  <a:pt x="808096" y="3802732"/>
                  <a:pt x="808698" y="3794432"/>
                  <a:pt x="807796" y="3786796"/>
                </a:cubicBezTo>
                <a:cubicBezTo>
                  <a:pt x="806894" y="3779270"/>
                  <a:pt x="804489" y="3772408"/>
                  <a:pt x="795771" y="3773404"/>
                </a:cubicBezTo>
                <a:cubicBezTo>
                  <a:pt x="797576" y="3771523"/>
                  <a:pt x="799078" y="3770748"/>
                  <a:pt x="798778" y="3768203"/>
                </a:cubicBezTo>
                <a:cubicBezTo>
                  <a:pt x="794569" y="3766986"/>
                  <a:pt x="795170" y="3772076"/>
                  <a:pt x="789759" y="3767871"/>
                </a:cubicBezTo>
                <a:cubicBezTo>
                  <a:pt x="788256" y="3761452"/>
                  <a:pt x="791262" y="3763444"/>
                  <a:pt x="796372" y="3761452"/>
                </a:cubicBezTo>
                <a:lnTo>
                  <a:pt x="785250" y="3757689"/>
                </a:lnTo>
                <a:lnTo>
                  <a:pt x="775931" y="3769310"/>
                </a:lnTo>
                <a:cubicBezTo>
                  <a:pt x="770520" y="3774179"/>
                  <a:pt x="764207" y="3777721"/>
                  <a:pt x="757593" y="3779934"/>
                </a:cubicBezTo>
                <a:cubicBezTo>
                  <a:pt x="753385" y="3781484"/>
                  <a:pt x="748875" y="3782369"/>
                  <a:pt x="744065" y="3782812"/>
                </a:cubicBezTo>
                <a:cubicBezTo>
                  <a:pt x="739857" y="3771080"/>
                  <a:pt x="752482" y="3764883"/>
                  <a:pt x="759698" y="3758243"/>
                </a:cubicBezTo>
                <a:cubicBezTo>
                  <a:pt x="749777" y="3752820"/>
                  <a:pt x="732943" y="3747397"/>
                  <a:pt x="737452" y="3736772"/>
                </a:cubicBezTo>
                <a:cubicBezTo>
                  <a:pt x="740158" y="3735666"/>
                  <a:pt x="742863" y="3735666"/>
                  <a:pt x="745569" y="3736330"/>
                </a:cubicBezTo>
                <a:cubicBezTo>
                  <a:pt x="753986" y="3738432"/>
                  <a:pt x="761802" y="3746954"/>
                  <a:pt x="771722" y="3750385"/>
                </a:cubicBezTo>
                <a:lnTo>
                  <a:pt x="772324" y="3750164"/>
                </a:lnTo>
                <a:lnTo>
                  <a:pt x="776232" y="3745515"/>
                </a:lnTo>
                <a:cubicBezTo>
                  <a:pt x="776833" y="3742970"/>
                  <a:pt x="776532" y="3739539"/>
                  <a:pt x="774127" y="3735112"/>
                </a:cubicBezTo>
                <a:cubicBezTo>
                  <a:pt x="772022" y="3751492"/>
                  <a:pt x="756692" y="3731017"/>
                  <a:pt x="766913" y="3725594"/>
                </a:cubicBezTo>
                <a:cubicBezTo>
                  <a:pt x="763907" y="3723602"/>
                  <a:pt x="754888" y="3719508"/>
                  <a:pt x="756091" y="3725926"/>
                </a:cubicBezTo>
                <a:cubicBezTo>
                  <a:pt x="755188" y="3723824"/>
                  <a:pt x="757894" y="3712646"/>
                  <a:pt x="752784" y="3707223"/>
                </a:cubicBezTo>
                <a:lnTo>
                  <a:pt x="748274" y="3705563"/>
                </a:lnTo>
                <a:lnTo>
                  <a:pt x="746771" y="3705674"/>
                </a:lnTo>
                <a:cubicBezTo>
                  <a:pt x="742262" y="3705563"/>
                  <a:pt x="738053" y="3705010"/>
                  <a:pt x="732943" y="3703682"/>
                </a:cubicBezTo>
                <a:cubicBezTo>
                  <a:pt x="735047" y="3700251"/>
                  <a:pt x="738956" y="3697484"/>
                  <a:pt x="743765" y="3695492"/>
                </a:cubicBezTo>
                <a:lnTo>
                  <a:pt x="744367" y="3695381"/>
                </a:lnTo>
                <a:lnTo>
                  <a:pt x="743765" y="3689405"/>
                </a:lnTo>
                <a:cubicBezTo>
                  <a:pt x="742262" y="3684646"/>
                  <a:pt x="739857" y="3680219"/>
                  <a:pt x="736851" y="3676346"/>
                </a:cubicBezTo>
                <a:cubicBezTo>
                  <a:pt x="731440" y="3668599"/>
                  <a:pt x="723624" y="3663729"/>
                  <a:pt x="717311" y="3665389"/>
                </a:cubicBezTo>
                <a:cubicBezTo>
                  <a:pt x="713403" y="3666607"/>
                  <a:pt x="713403" y="3653215"/>
                  <a:pt x="714305" y="3650006"/>
                </a:cubicBezTo>
                <a:cubicBezTo>
                  <a:pt x="711600" y="3644251"/>
                  <a:pt x="704384" y="3651777"/>
                  <a:pt x="703483" y="3644251"/>
                </a:cubicBezTo>
                <a:lnTo>
                  <a:pt x="707992" y="3662290"/>
                </a:lnTo>
                <a:lnTo>
                  <a:pt x="710998" y="3661848"/>
                </a:lnTo>
                <a:cubicBezTo>
                  <a:pt x="712802" y="3662180"/>
                  <a:pt x="714005" y="3662844"/>
                  <a:pt x="714906" y="3664061"/>
                </a:cubicBezTo>
                <a:cubicBezTo>
                  <a:pt x="716108" y="3665721"/>
                  <a:pt x="716108" y="3668045"/>
                  <a:pt x="714606" y="3671255"/>
                </a:cubicBezTo>
                <a:lnTo>
                  <a:pt x="710998" y="3670812"/>
                </a:lnTo>
                <a:lnTo>
                  <a:pt x="721820" y="3693500"/>
                </a:lnTo>
                <a:cubicBezTo>
                  <a:pt x="729035" y="3689626"/>
                  <a:pt x="718814" y="3678116"/>
                  <a:pt x="726930" y="3674575"/>
                </a:cubicBezTo>
                <a:cubicBezTo>
                  <a:pt x="728434" y="3680994"/>
                  <a:pt x="731440" y="3681879"/>
                  <a:pt x="734747" y="3682875"/>
                </a:cubicBezTo>
                <a:cubicBezTo>
                  <a:pt x="737753" y="3683871"/>
                  <a:pt x="741059" y="3684867"/>
                  <a:pt x="742262" y="3691397"/>
                </a:cubicBezTo>
                <a:cubicBezTo>
                  <a:pt x="739256" y="3692946"/>
                  <a:pt x="738354" y="3688852"/>
                  <a:pt x="737152" y="3686085"/>
                </a:cubicBezTo>
                <a:cubicBezTo>
                  <a:pt x="727231" y="3697595"/>
                  <a:pt x="729936" y="3714195"/>
                  <a:pt x="735648" y="3731681"/>
                </a:cubicBezTo>
                <a:lnTo>
                  <a:pt x="729636" y="3725816"/>
                </a:lnTo>
                <a:lnTo>
                  <a:pt x="730237" y="3727587"/>
                </a:lnTo>
                <a:cubicBezTo>
                  <a:pt x="730539" y="3729468"/>
                  <a:pt x="730539" y="3731903"/>
                  <a:pt x="730237" y="3735112"/>
                </a:cubicBezTo>
                <a:cubicBezTo>
                  <a:pt x="714906" y="3732456"/>
                  <a:pt x="720618" y="3748725"/>
                  <a:pt x="708594" y="3747286"/>
                </a:cubicBezTo>
                <a:cubicBezTo>
                  <a:pt x="704685" y="3744741"/>
                  <a:pt x="699574" y="3743413"/>
                  <a:pt x="696869" y="3739318"/>
                </a:cubicBezTo>
                <a:cubicBezTo>
                  <a:pt x="695667" y="3737879"/>
                  <a:pt x="695066" y="3736108"/>
                  <a:pt x="694765" y="3734005"/>
                </a:cubicBezTo>
                <a:cubicBezTo>
                  <a:pt x="701679" y="3733120"/>
                  <a:pt x="707090" y="3731460"/>
                  <a:pt x="712201" y="3729468"/>
                </a:cubicBezTo>
                <a:lnTo>
                  <a:pt x="728434" y="3723270"/>
                </a:lnTo>
                <a:lnTo>
                  <a:pt x="725728" y="3716630"/>
                </a:lnTo>
                <a:cubicBezTo>
                  <a:pt x="724525" y="3710432"/>
                  <a:pt x="724525" y="3704013"/>
                  <a:pt x="725127" y="3700583"/>
                </a:cubicBezTo>
                <a:cubicBezTo>
                  <a:pt x="710697" y="3694939"/>
                  <a:pt x="707391" y="3659966"/>
                  <a:pt x="687250" y="3671808"/>
                </a:cubicBezTo>
                <a:cubicBezTo>
                  <a:pt x="689955" y="3653326"/>
                  <a:pt x="673121" y="3651777"/>
                  <a:pt x="663200" y="3642702"/>
                </a:cubicBezTo>
                <a:cubicBezTo>
                  <a:pt x="669514" y="3627650"/>
                  <a:pt x="675526" y="3651334"/>
                  <a:pt x="681538" y="3650781"/>
                </a:cubicBezTo>
                <a:cubicBezTo>
                  <a:pt x="690857" y="3643919"/>
                  <a:pt x="668611" y="3640710"/>
                  <a:pt x="673421" y="3629974"/>
                </a:cubicBezTo>
                <a:cubicBezTo>
                  <a:pt x="667710" y="3623334"/>
                  <a:pt x="670115" y="3639824"/>
                  <a:pt x="662900" y="3633959"/>
                </a:cubicBezTo>
                <a:cubicBezTo>
                  <a:pt x="659593" y="3623223"/>
                  <a:pt x="657188" y="3609168"/>
                  <a:pt x="655083" y="3595224"/>
                </a:cubicBezTo>
                <a:cubicBezTo>
                  <a:pt x="652678" y="3581168"/>
                  <a:pt x="649372" y="3567888"/>
                  <a:pt x="641556" y="3559477"/>
                </a:cubicBezTo>
                <a:cubicBezTo>
                  <a:pt x="638850" y="3561026"/>
                  <a:pt x="641556" y="3566781"/>
                  <a:pt x="641255" y="3570433"/>
                </a:cubicBezTo>
                <a:cubicBezTo>
                  <a:pt x="636446" y="3564014"/>
                  <a:pt x="637047" y="3565453"/>
                  <a:pt x="631035" y="3566006"/>
                </a:cubicBezTo>
                <a:cubicBezTo>
                  <a:pt x="632838" y="3564125"/>
                  <a:pt x="630132" y="3552283"/>
                  <a:pt x="629531" y="3560584"/>
                </a:cubicBezTo>
                <a:cubicBezTo>
                  <a:pt x="624421" y="3555271"/>
                  <a:pt x="634942" y="3538007"/>
                  <a:pt x="626826" y="3530702"/>
                </a:cubicBezTo>
                <a:cubicBezTo>
                  <a:pt x="628630" y="3532473"/>
                  <a:pt x="630734" y="3533137"/>
                  <a:pt x="633740" y="3531588"/>
                </a:cubicBezTo>
                <a:cubicBezTo>
                  <a:pt x="633740" y="3527935"/>
                  <a:pt x="632237" y="3525058"/>
                  <a:pt x="631335" y="3521074"/>
                </a:cubicBezTo>
                <a:cubicBezTo>
                  <a:pt x="629531" y="3522955"/>
                  <a:pt x="627727" y="3524947"/>
                  <a:pt x="629231" y="3527714"/>
                </a:cubicBezTo>
                <a:cubicBezTo>
                  <a:pt x="625624" y="3507240"/>
                  <a:pt x="621415" y="3485327"/>
                  <a:pt x="617207" y="3463414"/>
                </a:cubicBezTo>
                <a:cubicBezTo>
                  <a:pt x="617207" y="3459762"/>
                  <a:pt x="616004" y="3456884"/>
                  <a:pt x="615703" y="3454339"/>
                </a:cubicBezTo>
                <a:cubicBezTo>
                  <a:pt x="615703" y="3454339"/>
                  <a:pt x="615703" y="3454339"/>
                  <a:pt x="614201" y="3441722"/>
                </a:cubicBezTo>
                <a:cubicBezTo>
                  <a:pt x="614201" y="3441722"/>
                  <a:pt x="614201" y="3441833"/>
                  <a:pt x="614501" y="3440726"/>
                </a:cubicBezTo>
                <a:cubicBezTo>
                  <a:pt x="614501" y="3440726"/>
                  <a:pt x="614501" y="3440726"/>
                  <a:pt x="613298" y="3440394"/>
                </a:cubicBezTo>
                <a:cubicBezTo>
                  <a:pt x="613298" y="3440394"/>
                  <a:pt x="613298" y="3440284"/>
                  <a:pt x="612997" y="3437849"/>
                </a:cubicBezTo>
                <a:cubicBezTo>
                  <a:pt x="613298" y="3434197"/>
                  <a:pt x="612697" y="3431762"/>
                  <a:pt x="612997" y="3428110"/>
                </a:cubicBezTo>
                <a:cubicBezTo>
                  <a:pt x="612697" y="3425564"/>
                  <a:pt x="613899" y="3422244"/>
                  <a:pt x="613598" y="3419810"/>
                </a:cubicBezTo>
                <a:cubicBezTo>
                  <a:pt x="614201" y="3417596"/>
                  <a:pt x="614501" y="3416489"/>
                  <a:pt x="613899" y="3415051"/>
                </a:cubicBezTo>
                <a:cubicBezTo>
                  <a:pt x="614201" y="3413944"/>
                  <a:pt x="614501" y="3412837"/>
                  <a:pt x="614501" y="3412837"/>
                </a:cubicBezTo>
                <a:cubicBezTo>
                  <a:pt x="615102" y="3411730"/>
                  <a:pt x="615102" y="3411730"/>
                  <a:pt x="615703" y="3409517"/>
                </a:cubicBezTo>
                <a:cubicBezTo>
                  <a:pt x="614802" y="3405533"/>
                  <a:pt x="613298" y="3406418"/>
                  <a:pt x="612697" y="3408632"/>
                </a:cubicBezTo>
                <a:cubicBezTo>
                  <a:pt x="612396" y="3409738"/>
                  <a:pt x="612096" y="3409628"/>
                  <a:pt x="611795" y="3410734"/>
                </a:cubicBezTo>
                <a:cubicBezTo>
                  <a:pt x="611495" y="3411841"/>
                  <a:pt x="611495" y="3411841"/>
                  <a:pt x="610893" y="3412948"/>
                </a:cubicBezTo>
                <a:cubicBezTo>
                  <a:pt x="610893" y="3412948"/>
                  <a:pt x="610592" y="3414055"/>
                  <a:pt x="611795" y="3414387"/>
                </a:cubicBezTo>
                <a:cubicBezTo>
                  <a:pt x="609691" y="3413723"/>
                  <a:pt x="609691" y="3413723"/>
                  <a:pt x="609090" y="3412284"/>
                </a:cubicBezTo>
                <a:cubicBezTo>
                  <a:pt x="608187" y="3410845"/>
                  <a:pt x="607887" y="3408410"/>
                  <a:pt x="607586" y="3405865"/>
                </a:cubicBezTo>
                <a:lnTo>
                  <a:pt x="607887" y="3404316"/>
                </a:lnTo>
                <a:lnTo>
                  <a:pt x="588948" y="3405312"/>
                </a:lnTo>
                <a:close/>
                <a:moveTo>
                  <a:pt x="6489116" y="3393912"/>
                </a:moveTo>
                <a:lnTo>
                  <a:pt x="6489116" y="3427003"/>
                </a:lnTo>
                <a:lnTo>
                  <a:pt x="6484908" y="3430102"/>
                </a:lnTo>
                <a:cubicBezTo>
                  <a:pt x="6483405" y="3431098"/>
                  <a:pt x="6482502" y="3431762"/>
                  <a:pt x="6482502" y="3432647"/>
                </a:cubicBezTo>
                <a:cubicBezTo>
                  <a:pt x="6472582" y="3431319"/>
                  <a:pt x="6473184" y="3424679"/>
                  <a:pt x="6471379" y="3414387"/>
                </a:cubicBezTo>
                <a:cubicBezTo>
                  <a:pt x="6474687" y="3414829"/>
                  <a:pt x="6475889" y="3404758"/>
                  <a:pt x="6476490" y="3401438"/>
                </a:cubicBezTo>
                <a:cubicBezTo>
                  <a:pt x="6479798" y="3401991"/>
                  <a:pt x="6482202" y="3399335"/>
                  <a:pt x="6484908" y="3396790"/>
                </a:cubicBezTo>
                <a:close/>
                <a:moveTo>
                  <a:pt x="399260" y="3387936"/>
                </a:moveTo>
                <a:lnTo>
                  <a:pt x="409181" y="3392806"/>
                </a:lnTo>
                <a:cubicBezTo>
                  <a:pt x="407678" y="3396237"/>
                  <a:pt x="403469" y="3400663"/>
                  <a:pt x="400162" y="3399003"/>
                </a:cubicBezTo>
                <a:cubicBezTo>
                  <a:pt x="397456" y="3398671"/>
                  <a:pt x="396855" y="3397454"/>
                  <a:pt x="397456" y="3395462"/>
                </a:cubicBezTo>
                <a:cubicBezTo>
                  <a:pt x="397758" y="3393580"/>
                  <a:pt x="398960" y="3390924"/>
                  <a:pt x="399260" y="3387936"/>
                </a:cubicBezTo>
                <a:close/>
                <a:moveTo>
                  <a:pt x="383930" y="3366023"/>
                </a:moveTo>
                <a:cubicBezTo>
                  <a:pt x="393849" y="3370561"/>
                  <a:pt x="398960" y="3376980"/>
                  <a:pt x="396254" y="3386387"/>
                </a:cubicBezTo>
                <a:cubicBezTo>
                  <a:pt x="392948" y="3393248"/>
                  <a:pt x="387837" y="3403541"/>
                  <a:pt x="378518" y="3401438"/>
                </a:cubicBezTo>
                <a:cubicBezTo>
                  <a:pt x="377616" y="3399003"/>
                  <a:pt x="375211" y="3399999"/>
                  <a:pt x="374309" y="3397565"/>
                </a:cubicBezTo>
                <a:cubicBezTo>
                  <a:pt x="374309" y="3397565"/>
                  <a:pt x="372505" y="3395462"/>
                  <a:pt x="370702" y="3391920"/>
                </a:cubicBezTo>
                <a:cubicBezTo>
                  <a:pt x="369199" y="3388268"/>
                  <a:pt x="368297" y="3383067"/>
                  <a:pt x="370402" y="3376648"/>
                </a:cubicBezTo>
                <a:cubicBezTo>
                  <a:pt x="371904" y="3373217"/>
                  <a:pt x="377916" y="3365359"/>
                  <a:pt x="378819" y="3367905"/>
                </a:cubicBezTo>
                <a:cubicBezTo>
                  <a:pt x="382125" y="3369454"/>
                  <a:pt x="381224" y="3366909"/>
                  <a:pt x="383930" y="3366023"/>
                </a:cubicBezTo>
                <a:close/>
                <a:moveTo>
                  <a:pt x="456378" y="3356948"/>
                </a:moveTo>
                <a:cubicBezTo>
                  <a:pt x="465396" y="3356837"/>
                  <a:pt x="474714" y="3359936"/>
                  <a:pt x="478022" y="3365691"/>
                </a:cubicBezTo>
                <a:cubicBezTo>
                  <a:pt x="477721" y="3373217"/>
                  <a:pt x="477120" y="3380743"/>
                  <a:pt x="476819" y="3388268"/>
                </a:cubicBezTo>
                <a:cubicBezTo>
                  <a:pt x="468702" y="3399889"/>
                  <a:pt x="454874" y="3402434"/>
                  <a:pt x="445255" y="3396347"/>
                </a:cubicBezTo>
                <a:cubicBezTo>
                  <a:pt x="441948" y="3394244"/>
                  <a:pt x="439243" y="3391256"/>
                  <a:pt x="437439" y="3387383"/>
                </a:cubicBezTo>
                <a:cubicBezTo>
                  <a:pt x="434733" y="3382181"/>
                  <a:pt x="433832" y="3375209"/>
                  <a:pt x="435034" y="3366798"/>
                </a:cubicBezTo>
                <a:cubicBezTo>
                  <a:pt x="438340" y="3360158"/>
                  <a:pt x="447358" y="3357059"/>
                  <a:pt x="456378" y="3356948"/>
                </a:cubicBezTo>
                <a:close/>
                <a:moveTo>
                  <a:pt x="241738" y="3268854"/>
                </a:moveTo>
                <a:cubicBezTo>
                  <a:pt x="246248" y="3269629"/>
                  <a:pt x="248352" y="3272395"/>
                  <a:pt x="252560" y="3271067"/>
                </a:cubicBezTo>
                <a:cubicBezTo>
                  <a:pt x="252861" y="3277486"/>
                  <a:pt x="251659" y="3282134"/>
                  <a:pt x="248953" y="3285565"/>
                </a:cubicBezTo>
                <a:cubicBezTo>
                  <a:pt x="246248" y="3288996"/>
                  <a:pt x="242038" y="3291320"/>
                  <a:pt x="236628" y="3293091"/>
                </a:cubicBezTo>
                <a:cubicBezTo>
                  <a:pt x="231518" y="3287557"/>
                  <a:pt x="230615" y="3274609"/>
                  <a:pt x="236327" y="3269075"/>
                </a:cubicBezTo>
                <a:cubicBezTo>
                  <a:pt x="238732" y="3268632"/>
                  <a:pt x="240235" y="3268632"/>
                  <a:pt x="241738" y="3268854"/>
                </a:cubicBezTo>
                <a:close/>
                <a:moveTo>
                  <a:pt x="466297" y="3258008"/>
                </a:moveTo>
                <a:cubicBezTo>
                  <a:pt x="469003" y="3257787"/>
                  <a:pt x="472009" y="3258561"/>
                  <a:pt x="475317" y="3260111"/>
                </a:cubicBezTo>
                <a:cubicBezTo>
                  <a:pt x="490347" y="3262767"/>
                  <a:pt x="495457" y="3269518"/>
                  <a:pt x="490347" y="3279810"/>
                </a:cubicBezTo>
                <a:cubicBezTo>
                  <a:pt x="487641" y="3280806"/>
                  <a:pt x="479525" y="3281028"/>
                  <a:pt x="480126" y="3283573"/>
                </a:cubicBezTo>
                <a:cubicBezTo>
                  <a:pt x="472611" y="3280142"/>
                  <a:pt x="464795" y="3275273"/>
                  <a:pt x="462390" y="3269075"/>
                </a:cubicBezTo>
                <a:cubicBezTo>
                  <a:pt x="461488" y="3267083"/>
                  <a:pt x="461488" y="3264870"/>
                  <a:pt x="462089" y="3262435"/>
                </a:cubicBezTo>
                <a:cubicBezTo>
                  <a:pt x="462390" y="3259447"/>
                  <a:pt x="463892" y="3258229"/>
                  <a:pt x="466297" y="3258008"/>
                </a:cubicBezTo>
                <a:close/>
                <a:moveTo>
                  <a:pt x="6405846" y="3235984"/>
                </a:moveTo>
                <a:lnTo>
                  <a:pt x="6398030" y="3246387"/>
                </a:lnTo>
                <a:lnTo>
                  <a:pt x="6396828" y="3246719"/>
                </a:lnTo>
                <a:lnTo>
                  <a:pt x="6396527" y="3249818"/>
                </a:lnTo>
                <a:cubicBezTo>
                  <a:pt x="6396527" y="3253802"/>
                  <a:pt x="6399532" y="3247937"/>
                  <a:pt x="6402539" y="3251921"/>
                </a:cubicBezTo>
                <a:cubicBezTo>
                  <a:pt x="6396527" y="3257787"/>
                  <a:pt x="6403441" y="3264648"/>
                  <a:pt x="6398330" y="3269629"/>
                </a:cubicBezTo>
                <a:lnTo>
                  <a:pt x="6403441" y="3266198"/>
                </a:lnTo>
                <a:lnTo>
                  <a:pt x="6402539" y="3265976"/>
                </a:lnTo>
                <a:lnTo>
                  <a:pt x="6406146" y="3256680"/>
                </a:lnTo>
                <a:lnTo>
                  <a:pt x="6406146" y="3250482"/>
                </a:lnTo>
                <a:cubicBezTo>
                  <a:pt x="6405846" y="3247826"/>
                  <a:pt x="6405545" y="3245170"/>
                  <a:pt x="6405545" y="3242957"/>
                </a:cubicBezTo>
                <a:cubicBezTo>
                  <a:pt x="6404943" y="3240965"/>
                  <a:pt x="6405245" y="3238530"/>
                  <a:pt x="6405846" y="3235984"/>
                </a:cubicBezTo>
                <a:close/>
                <a:moveTo>
                  <a:pt x="6439815" y="3180206"/>
                </a:moveTo>
                <a:lnTo>
                  <a:pt x="6439815" y="3181202"/>
                </a:lnTo>
                <a:cubicBezTo>
                  <a:pt x="6438011" y="3184190"/>
                  <a:pt x="6436809" y="3182088"/>
                  <a:pt x="6433803" y="3182088"/>
                </a:cubicBezTo>
                <a:cubicBezTo>
                  <a:pt x="6433803" y="3186072"/>
                  <a:pt x="6436809" y="3188064"/>
                  <a:pt x="6441018" y="3187068"/>
                </a:cubicBezTo>
                <a:cubicBezTo>
                  <a:pt x="6439515" y="3189060"/>
                  <a:pt x="6438914" y="3192159"/>
                  <a:pt x="6438914" y="3195589"/>
                </a:cubicBezTo>
                <a:lnTo>
                  <a:pt x="6438914" y="3198024"/>
                </a:lnTo>
                <a:lnTo>
                  <a:pt x="6441018" y="3201566"/>
                </a:lnTo>
                <a:cubicBezTo>
                  <a:pt x="6440417" y="3203115"/>
                  <a:pt x="6439815" y="3203668"/>
                  <a:pt x="6439214" y="3203779"/>
                </a:cubicBezTo>
                <a:lnTo>
                  <a:pt x="6438914" y="3203668"/>
                </a:lnTo>
                <a:lnTo>
                  <a:pt x="6438914" y="3206546"/>
                </a:lnTo>
                <a:lnTo>
                  <a:pt x="6438613" y="3211526"/>
                </a:lnTo>
                <a:lnTo>
                  <a:pt x="6438914" y="3210419"/>
                </a:lnTo>
                <a:cubicBezTo>
                  <a:pt x="6439515" y="3214846"/>
                  <a:pt x="6437110" y="3218720"/>
                  <a:pt x="6437711" y="3224143"/>
                </a:cubicBezTo>
                <a:lnTo>
                  <a:pt x="6438312" y="3225581"/>
                </a:lnTo>
                <a:lnTo>
                  <a:pt x="6438914" y="3226577"/>
                </a:lnTo>
                <a:lnTo>
                  <a:pt x="6438914" y="3227463"/>
                </a:lnTo>
                <a:lnTo>
                  <a:pt x="6439815" y="3230119"/>
                </a:lnTo>
                <a:cubicBezTo>
                  <a:pt x="6447030" y="3232111"/>
                  <a:pt x="6441920" y="3220269"/>
                  <a:pt x="6447932" y="3226135"/>
                </a:cubicBezTo>
                <a:cubicBezTo>
                  <a:pt x="6448833" y="3219273"/>
                  <a:pt x="6450938" y="3213408"/>
                  <a:pt x="6453042" y="3207431"/>
                </a:cubicBezTo>
                <a:cubicBezTo>
                  <a:pt x="6456049" y="3202562"/>
                  <a:pt x="6458153" y="3196585"/>
                  <a:pt x="6459956" y="3190609"/>
                </a:cubicBezTo>
                <a:cubicBezTo>
                  <a:pt x="6466270" y="3192601"/>
                  <a:pt x="6453944" y="3217392"/>
                  <a:pt x="6463264" y="3221376"/>
                </a:cubicBezTo>
                <a:cubicBezTo>
                  <a:pt x="6467171" y="3215400"/>
                  <a:pt x="6469276" y="3208427"/>
                  <a:pt x="6469276" y="3200570"/>
                </a:cubicBezTo>
                <a:lnTo>
                  <a:pt x="6468374" y="3183084"/>
                </a:lnTo>
                <a:lnTo>
                  <a:pt x="6462663" y="3188174"/>
                </a:lnTo>
                <a:cubicBezTo>
                  <a:pt x="6460257" y="3188949"/>
                  <a:pt x="6457552" y="3188728"/>
                  <a:pt x="6455147" y="3187842"/>
                </a:cubicBezTo>
                <a:close/>
                <a:moveTo>
                  <a:pt x="459083" y="3125756"/>
                </a:moveTo>
                <a:cubicBezTo>
                  <a:pt x="460285" y="3125202"/>
                  <a:pt x="461789" y="3125424"/>
                  <a:pt x="464795" y="3125756"/>
                </a:cubicBezTo>
                <a:cubicBezTo>
                  <a:pt x="465696" y="3128190"/>
                  <a:pt x="468101" y="3127305"/>
                  <a:pt x="466297" y="3130847"/>
                </a:cubicBezTo>
                <a:cubicBezTo>
                  <a:pt x="475617" y="3132949"/>
                  <a:pt x="490948" y="3152760"/>
                  <a:pt x="491549" y="3163827"/>
                </a:cubicBezTo>
                <a:cubicBezTo>
                  <a:pt x="462991" y="3154862"/>
                  <a:pt x="470807" y="3134831"/>
                  <a:pt x="454574" y="3129519"/>
                </a:cubicBezTo>
                <a:cubicBezTo>
                  <a:pt x="456678" y="3127305"/>
                  <a:pt x="457880" y="3126198"/>
                  <a:pt x="459083" y="3125756"/>
                </a:cubicBezTo>
                <a:close/>
                <a:moveTo>
                  <a:pt x="485236" y="3120222"/>
                </a:moveTo>
                <a:cubicBezTo>
                  <a:pt x="496659" y="3130072"/>
                  <a:pt x="500869" y="3151210"/>
                  <a:pt x="501770" y="3153756"/>
                </a:cubicBezTo>
                <a:cubicBezTo>
                  <a:pt x="499365" y="3154752"/>
                  <a:pt x="499365" y="3154641"/>
                  <a:pt x="499365" y="3154641"/>
                </a:cubicBezTo>
                <a:cubicBezTo>
                  <a:pt x="498764" y="3146451"/>
                  <a:pt x="489445" y="3139811"/>
                  <a:pt x="485236" y="3130957"/>
                </a:cubicBezTo>
                <a:cubicBezTo>
                  <a:pt x="483734" y="3127969"/>
                  <a:pt x="482831" y="3124760"/>
                  <a:pt x="482831" y="3121108"/>
                </a:cubicBezTo>
                <a:cubicBezTo>
                  <a:pt x="482831" y="3121108"/>
                  <a:pt x="482831" y="3121108"/>
                  <a:pt x="483734" y="3123653"/>
                </a:cubicBezTo>
                <a:cubicBezTo>
                  <a:pt x="483734" y="3123653"/>
                  <a:pt x="482831" y="3121108"/>
                  <a:pt x="485236" y="3120222"/>
                </a:cubicBezTo>
                <a:close/>
                <a:moveTo>
                  <a:pt x="569408" y="3097977"/>
                </a:moveTo>
                <a:cubicBezTo>
                  <a:pt x="569108" y="3112475"/>
                  <a:pt x="567905" y="3132728"/>
                  <a:pt x="578728" y="3128744"/>
                </a:cubicBezTo>
                <a:cubicBezTo>
                  <a:pt x="577825" y="3134609"/>
                  <a:pt x="570912" y="3131179"/>
                  <a:pt x="570912" y="3137376"/>
                </a:cubicBezTo>
                <a:cubicBezTo>
                  <a:pt x="573617" y="3150214"/>
                  <a:pt x="580832" y="3159732"/>
                  <a:pt x="579629" y="3187289"/>
                </a:cubicBezTo>
                <a:cubicBezTo>
                  <a:pt x="574218" y="3185629"/>
                  <a:pt x="581433" y="3172127"/>
                  <a:pt x="573918" y="3173455"/>
                </a:cubicBezTo>
                <a:cubicBezTo>
                  <a:pt x="572114" y="3178878"/>
                  <a:pt x="573617" y="3204886"/>
                  <a:pt x="580531" y="3208206"/>
                </a:cubicBezTo>
                <a:cubicBezTo>
                  <a:pt x="577224" y="3210862"/>
                  <a:pt x="574218" y="3209866"/>
                  <a:pt x="570611" y="3217281"/>
                </a:cubicBezTo>
                <a:cubicBezTo>
                  <a:pt x="574218" y="3223257"/>
                  <a:pt x="572415" y="3232332"/>
                  <a:pt x="572114" y="3239637"/>
                </a:cubicBezTo>
                <a:lnTo>
                  <a:pt x="572415" y="3250372"/>
                </a:lnTo>
                <a:lnTo>
                  <a:pt x="578728" y="3253471"/>
                </a:lnTo>
                <a:cubicBezTo>
                  <a:pt x="583538" y="3257565"/>
                  <a:pt x="587445" y="3263320"/>
                  <a:pt x="587746" y="3270182"/>
                </a:cubicBezTo>
                <a:lnTo>
                  <a:pt x="581133" y="3275273"/>
                </a:lnTo>
                <a:lnTo>
                  <a:pt x="581734" y="3279810"/>
                </a:lnTo>
                <a:cubicBezTo>
                  <a:pt x="581133" y="3284459"/>
                  <a:pt x="579329" y="3288996"/>
                  <a:pt x="577224" y="3293202"/>
                </a:cubicBezTo>
                <a:cubicBezTo>
                  <a:pt x="573918" y="3303162"/>
                  <a:pt x="570912" y="3311905"/>
                  <a:pt x="575722" y="3318324"/>
                </a:cubicBezTo>
                <a:cubicBezTo>
                  <a:pt x="574218" y="3326292"/>
                  <a:pt x="570912" y="3315557"/>
                  <a:pt x="566101" y="3318988"/>
                </a:cubicBezTo>
                <a:cubicBezTo>
                  <a:pt x="571813" y="3330387"/>
                  <a:pt x="570010" y="3334814"/>
                  <a:pt x="572716" y="3347762"/>
                </a:cubicBezTo>
                <a:cubicBezTo>
                  <a:pt x="576924" y="3335589"/>
                  <a:pt x="574519" y="3332379"/>
                  <a:pt x="578127" y="3317881"/>
                </a:cubicBezTo>
                <a:cubicBezTo>
                  <a:pt x="582335" y="3322751"/>
                  <a:pt x="580832" y="3330830"/>
                  <a:pt x="580230" y="3339130"/>
                </a:cubicBezTo>
                <a:cubicBezTo>
                  <a:pt x="579930" y="3340237"/>
                  <a:pt x="579329" y="3342340"/>
                  <a:pt x="579629" y="3344885"/>
                </a:cubicBezTo>
                <a:cubicBezTo>
                  <a:pt x="579028" y="3345992"/>
                  <a:pt x="579329" y="3348537"/>
                  <a:pt x="579629" y="3351083"/>
                </a:cubicBezTo>
                <a:cubicBezTo>
                  <a:pt x="579629" y="3354735"/>
                  <a:pt x="580230" y="3359715"/>
                  <a:pt x="582635" y="3362924"/>
                </a:cubicBezTo>
                <a:cubicBezTo>
                  <a:pt x="579629" y="3361928"/>
                  <a:pt x="578127" y="3359051"/>
                  <a:pt x="577525" y="3354071"/>
                </a:cubicBezTo>
                <a:cubicBezTo>
                  <a:pt x="575121" y="3375098"/>
                  <a:pt x="584139" y="3365691"/>
                  <a:pt x="570311" y="3382071"/>
                </a:cubicBezTo>
                <a:cubicBezTo>
                  <a:pt x="570010" y="3392916"/>
                  <a:pt x="575421" y="3390924"/>
                  <a:pt x="576924" y="3397454"/>
                </a:cubicBezTo>
                <a:cubicBezTo>
                  <a:pt x="582936" y="3393248"/>
                  <a:pt x="574519" y="3383399"/>
                  <a:pt x="575421" y="3377644"/>
                </a:cubicBezTo>
                <a:cubicBezTo>
                  <a:pt x="578427" y="3382181"/>
                  <a:pt x="582936" y="3386055"/>
                  <a:pt x="587746" y="3388711"/>
                </a:cubicBezTo>
                <a:lnTo>
                  <a:pt x="587746" y="3389264"/>
                </a:lnTo>
                <a:lnTo>
                  <a:pt x="588347" y="3388490"/>
                </a:lnTo>
                <a:lnTo>
                  <a:pt x="606384" y="3381407"/>
                </a:lnTo>
                <a:lnTo>
                  <a:pt x="605181" y="3378418"/>
                </a:lnTo>
                <a:cubicBezTo>
                  <a:pt x="603979" y="3373217"/>
                  <a:pt x="603679" y="3368126"/>
                  <a:pt x="603679" y="3363256"/>
                </a:cubicBezTo>
                <a:cubicBezTo>
                  <a:pt x="603078" y="3358276"/>
                  <a:pt x="603679" y="3352411"/>
                  <a:pt x="603078" y="3347320"/>
                </a:cubicBezTo>
                <a:cubicBezTo>
                  <a:pt x="602476" y="3345992"/>
                  <a:pt x="602776" y="3344885"/>
                  <a:pt x="602175" y="3343446"/>
                </a:cubicBezTo>
                <a:cubicBezTo>
                  <a:pt x="602476" y="3342340"/>
                  <a:pt x="601875" y="3340901"/>
                  <a:pt x="600973" y="3339462"/>
                </a:cubicBezTo>
                <a:cubicBezTo>
                  <a:pt x="600673" y="3336917"/>
                  <a:pt x="600372" y="3334482"/>
                  <a:pt x="599169" y="3331604"/>
                </a:cubicBezTo>
                <a:cubicBezTo>
                  <a:pt x="606985" y="3329170"/>
                  <a:pt x="606384" y="3320537"/>
                  <a:pt x="605482" y="3313012"/>
                </a:cubicBezTo>
                <a:cubicBezTo>
                  <a:pt x="604580" y="3305375"/>
                  <a:pt x="603679" y="3297850"/>
                  <a:pt x="609390" y="3298292"/>
                </a:cubicBezTo>
                <a:cubicBezTo>
                  <a:pt x="611194" y="3285565"/>
                  <a:pt x="599169" y="3301280"/>
                  <a:pt x="600372" y="3294419"/>
                </a:cubicBezTo>
                <a:cubicBezTo>
                  <a:pt x="599470" y="3286783"/>
                  <a:pt x="598268" y="3258561"/>
                  <a:pt x="597065" y="3248490"/>
                </a:cubicBezTo>
                <a:cubicBezTo>
                  <a:pt x="594661" y="3248933"/>
                  <a:pt x="591052" y="3249044"/>
                  <a:pt x="588647" y="3249486"/>
                </a:cubicBezTo>
                <a:cubicBezTo>
                  <a:pt x="587746" y="3238309"/>
                  <a:pt x="591955" y="3250593"/>
                  <a:pt x="595562" y="3243178"/>
                </a:cubicBezTo>
                <a:cubicBezTo>
                  <a:pt x="593458" y="3242514"/>
                  <a:pt x="593157" y="3239969"/>
                  <a:pt x="592857" y="3237423"/>
                </a:cubicBezTo>
                <a:cubicBezTo>
                  <a:pt x="592556" y="3234878"/>
                  <a:pt x="593157" y="3232775"/>
                  <a:pt x="594058" y="3230562"/>
                </a:cubicBezTo>
                <a:cubicBezTo>
                  <a:pt x="595863" y="3225139"/>
                  <a:pt x="596464" y="3220269"/>
                  <a:pt x="589249" y="3216949"/>
                </a:cubicBezTo>
                <a:cubicBezTo>
                  <a:pt x="591052" y="3211415"/>
                  <a:pt x="593758" y="3211083"/>
                  <a:pt x="596163" y="3214182"/>
                </a:cubicBezTo>
                <a:cubicBezTo>
                  <a:pt x="594961" y="3210309"/>
                  <a:pt x="590752" y="3195589"/>
                  <a:pt x="585641" y="3203779"/>
                </a:cubicBezTo>
                <a:cubicBezTo>
                  <a:pt x="579629" y="3204332"/>
                  <a:pt x="587746" y="3190941"/>
                  <a:pt x="579028" y="3195589"/>
                </a:cubicBezTo>
                <a:cubicBezTo>
                  <a:pt x="581133" y="3190166"/>
                  <a:pt x="582936" y="3194372"/>
                  <a:pt x="586243" y="3195368"/>
                </a:cubicBezTo>
                <a:cubicBezTo>
                  <a:pt x="583838" y="3184965"/>
                  <a:pt x="585040" y="3174451"/>
                  <a:pt x="586844" y="3162831"/>
                </a:cubicBezTo>
                <a:cubicBezTo>
                  <a:pt x="587445" y="3150878"/>
                  <a:pt x="588647" y="3140364"/>
                  <a:pt x="587445" y="3130183"/>
                </a:cubicBezTo>
                <a:cubicBezTo>
                  <a:pt x="590752" y="3133724"/>
                  <a:pt x="593458" y="3133281"/>
                  <a:pt x="595262" y="3127748"/>
                </a:cubicBezTo>
                <a:cubicBezTo>
                  <a:pt x="589550" y="3127194"/>
                  <a:pt x="588046" y="3111036"/>
                  <a:pt x="582034" y="3118894"/>
                </a:cubicBezTo>
                <a:cubicBezTo>
                  <a:pt x="579930" y="3114578"/>
                  <a:pt x="579629" y="3104839"/>
                  <a:pt x="582034" y="3101851"/>
                </a:cubicBezTo>
                <a:cubicBezTo>
                  <a:pt x="580531" y="3098973"/>
                  <a:pt x="576924" y="3099195"/>
                  <a:pt x="569408" y="3097977"/>
                </a:cubicBezTo>
                <a:close/>
                <a:moveTo>
                  <a:pt x="6399532" y="3050942"/>
                </a:moveTo>
                <a:cubicBezTo>
                  <a:pt x="6392018" y="3054926"/>
                  <a:pt x="6386306" y="3058578"/>
                  <a:pt x="6380895" y="3060570"/>
                </a:cubicBezTo>
                <a:lnTo>
                  <a:pt x="6374282" y="3061788"/>
                </a:lnTo>
                <a:lnTo>
                  <a:pt x="6379392" y="3078278"/>
                </a:lnTo>
                <a:cubicBezTo>
                  <a:pt x="6383300" y="3090120"/>
                  <a:pt x="6386306" y="3101851"/>
                  <a:pt x="6389312" y="3112807"/>
                </a:cubicBezTo>
                <a:cubicBezTo>
                  <a:pt x="6392318" y="3124538"/>
                  <a:pt x="6394423" y="3136380"/>
                  <a:pt x="6397429" y="3147226"/>
                </a:cubicBezTo>
                <a:cubicBezTo>
                  <a:pt x="6399532" y="3159068"/>
                  <a:pt x="6400435" y="3170910"/>
                  <a:pt x="6401638" y="3182751"/>
                </a:cubicBezTo>
                <a:cubicBezTo>
                  <a:pt x="6402539" y="3193597"/>
                  <a:pt x="6402539" y="3205550"/>
                  <a:pt x="6401638" y="3216396"/>
                </a:cubicBezTo>
                <a:lnTo>
                  <a:pt x="6400134" y="3225028"/>
                </a:lnTo>
                <a:lnTo>
                  <a:pt x="6407049" y="3230672"/>
                </a:lnTo>
                <a:lnTo>
                  <a:pt x="6407650" y="3228237"/>
                </a:lnTo>
                <a:lnTo>
                  <a:pt x="6409153" y="3222040"/>
                </a:lnTo>
                <a:lnTo>
                  <a:pt x="6408552" y="3220601"/>
                </a:lnTo>
                <a:lnTo>
                  <a:pt x="6409453" y="3220601"/>
                </a:lnTo>
                <a:lnTo>
                  <a:pt x="6409753" y="3219384"/>
                </a:lnTo>
                <a:cubicBezTo>
                  <a:pt x="6410054" y="3216617"/>
                  <a:pt x="6410054" y="3213850"/>
                  <a:pt x="6409753" y="3211415"/>
                </a:cubicBezTo>
                <a:cubicBezTo>
                  <a:pt x="6408552" y="3207431"/>
                  <a:pt x="6408552" y="3202562"/>
                  <a:pt x="6408552" y="3197692"/>
                </a:cubicBezTo>
                <a:cubicBezTo>
                  <a:pt x="6409753" y="3191716"/>
                  <a:pt x="6409753" y="3185740"/>
                  <a:pt x="6409753" y="3179874"/>
                </a:cubicBezTo>
                <a:cubicBezTo>
                  <a:pt x="6409753" y="3173898"/>
                  <a:pt x="6410655" y="3168032"/>
                  <a:pt x="6410655" y="3161171"/>
                </a:cubicBezTo>
                <a:cubicBezTo>
                  <a:pt x="6410655" y="3155194"/>
                  <a:pt x="6410655" y="3148333"/>
                  <a:pt x="6409753" y="3142356"/>
                </a:cubicBezTo>
                <a:cubicBezTo>
                  <a:pt x="6411257" y="3141582"/>
                  <a:pt x="6412460" y="3140475"/>
                  <a:pt x="6413662" y="3139479"/>
                </a:cubicBezTo>
                <a:lnTo>
                  <a:pt x="6415766" y="3136269"/>
                </a:lnTo>
                <a:lnTo>
                  <a:pt x="6413963" y="3122104"/>
                </a:lnTo>
                <a:cubicBezTo>
                  <a:pt x="6413662" y="3117345"/>
                  <a:pt x="6413662" y="3112586"/>
                  <a:pt x="6413662" y="3108159"/>
                </a:cubicBezTo>
                <a:cubicBezTo>
                  <a:pt x="6412761" y="3098309"/>
                  <a:pt x="6412761" y="3088349"/>
                  <a:pt x="6410655" y="3079495"/>
                </a:cubicBezTo>
                <a:cubicBezTo>
                  <a:pt x="6409453" y="3074515"/>
                  <a:pt x="6408552" y="3069645"/>
                  <a:pt x="6406447" y="3064776"/>
                </a:cubicBezTo>
                <a:cubicBezTo>
                  <a:pt x="6404643" y="3060792"/>
                  <a:pt x="6402539" y="3055922"/>
                  <a:pt x="6399532" y="3050942"/>
                </a:cubicBezTo>
                <a:close/>
                <a:moveTo>
                  <a:pt x="10265" y="3048839"/>
                </a:moveTo>
                <a:cubicBezTo>
                  <a:pt x="19584" y="3047843"/>
                  <a:pt x="26198" y="3060128"/>
                  <a:pt x="23793" y="3067875"/>
                </a:cubicBezTo>
                <a:cubicBezTo>
                  <a:pt x="12670" y="3075843"/>
                  <a:pt x="-858" y="3065883"/>
                  <a:pt x="44" y="3054815"/>
                </a:cubicBezTo>
                <a:cubicBezTo>
                  <a:pt x="3652" y="3050831"/>
                  <a:pt x="6958" y="3049171"/>
                  <a:pt x="10265" y="3048839"/>
                </a:cubicBezTo>
                <a:close/>
                <a:moveTo>
                  <a:pt x="378819" y="3040649"/>
                </a:moveTo>
                <a:cubicBezTo>
                  <a:pt x="381825" y="3039986"/>
                  <a:pt x="385432" y="3040096"/>
                  <a:pt x="389341" y="3041424"/>
                </a:cubicBezTo>
                <a:cubicBezTo>
                  <a:pt x="387537" y="3044855"/>
                  <a:pt x="407377" y="3054262"/>
                  <a:pt x="405874" y="3066325"/>
                </a:cubicBezTo>
                <a:cubicBezTo>
                  <a:pt x="404972" y="3072301"/>
                  <a:pt x="403469" y="3075843"/>
                  <a:pt x="402567" y="3081819"/>
                </a:cubicBezTo>
                <a:cubicBezTo>
                  <a:pt x="395052" y="3084697"/>
                  <a:pt x="389942" y="3095100"/>
                  <a:pt x="371904" y="3090673"/>
                </a:cubicBezTo>
                <a:cubicBezTo>
                  <a:pt x="362285" y="3087131"/>
                  <a:pt x="359279" y="3080491"/>
                  <a:pt x="358678" y="3074736"/>
                </a:cubicBezTo>
                <a:lnTo>
                  <a:pt x="358376" y="3072855"/>
                </a:lnTo>
                <a:lnTo>
                  <a:pt x="351463" y="3074626"/>
                </a:lnTo>
                <a:cubicBezTo>
                  <a:pt x="343647" y="3073962"/>
                  <a:pt x="337935" y="3065440"/>
                  <a:pt x="333125" y="3055479"/>
                </a:cubicBezTo>
                <a:cubicBezTo>
                  <a:pt x="337334" y="3051163"/>
                  <a:pt x="339137" y="3046072"/>
                  <a:pt x="343346" y="3041756"/>
                </a:cubicBezTo>
                <a:cubicBezTo>
                  <a:pt x="347856" y="3040981"/>
                  <a:pt x="353868" y="3043527"/>
                  <a:pt x="358678" y="3047622"/>
                </a:cubicBezTo>
                <a:lnTo>
                  <a:pt x="363487" y="3053045"/>
                </a:lnTo>
                <a:lnTo>
                  <a:pt x="364390" y="3050831"/>
                </a:lnTo>
                <a:cubicBezTo>
                  <a:pt x="364390" y="3050831"/>
                  <a:pt x="369499" y="3042531"/>
                  <a:pt x="378819" y="3040649"/>
                </a:cubicBezTo>
                <a:close/>
                <a:moveTo>
                  <a:pt x="6426888" y="3038436"/>
                </a:moveTo>
                <a:cubicBezTo>
                  <a:pt x="6429595" y="3038768"/>
                  <a:pt x="6432299" y="3039875"/>
                  <a:pt x="6435307" y="3042199"/>
                </a:cubicBezTo>
                <a:cubicBezTo>
                  <a:pt x="6429895" y="3050389"/>
                  <a:pt x="6424184" y="3058578"/>
                  <a:pt x="6415766" y="3053377"/>
                </a:cubicBezTo>
                <a:cubicBezTo>
                  <a:pt x="6413963" y="3044855"/>
                  <a:pt x="6419073" y="3037661"/>
                  <a:pt x="6426888" y="3038436"/>
                </a:cubicBezTo>
                <a:close/>
                <a:moveTo>
                  <a:pt x="340641" y="3010990"/>
                </a:moveTo>
                <a:cubicBezTo>
                  <a:pt x="344248" y="3014752"/>
                  <a:pt x="345751" y="3020507"/>
                  <a:pt x="345150" y="3031796"/>
                </a:cubicBezTo>
                <a:cubicBezTo>
                  <a:pt x="319297" y="3027701"/>
                  <a:pt x="330720" y="3056033"/>
                  <a:pt x="310579" y="3053930"/>
                </a:cubicBezTo>
                <a:cubicBezTo>
                  <a:pt x="303665" y="3049614"/>
                  <a:pt x="294646" y="3047400"/>
                  <a:pt x="289536" y="3040096"/>
                </a:cubicBezTo>
                <a:cubicBezTo>
                  <a:pt x="287732" y="3037772"/>
                  <a:pt x="286529" y="3034784"/>
                  <a:pt x="285928" y="3031021"/>
                </a:cubicBezTo>
                <a:cubicBezTo>
                  <a:pt x="308174" y="3027480"/>
                  <a:pt x="321702" y="3018294"/>
                  <a:pt x="340641" y="3010990"/>
                </a:cubicBezTo>
                <a:close/>
                <a:moveTo>
                  <a:pt x="302462" y="2903528"/>
                </a:moveTo>
                <a:cubicBezTo>
                  <a:pt x="309978" y="2903528"/>
                  <a:pt x="316591" y="2908840"/>
                  <a:pt x="312082" y="2920350"/>
                </a:cubicBezTo>
                <a:cubicBezTo>
                  <a:pt x="300960" y="2920239"/>
                  <a:pt x="293444" y="2920128"/>
                  <a:pt x="288033" y="2918136"/>
                </a:cubicBezTo>
                <a:cubicBezTo>
                  <a:pt x="286529" y="2908619"/>
                  <a:pt x="294948" y="2903417"/>
                  <a:pt x="302462" y="2903528"/>
                </a:cubicBezTo>
                <a:close/>
                <a:moveTo>
                  <a:pt x="331923" y="2848635"/>
                </a:moveTo>
                <a:cubicBezTo>
                  <a:pt x="341242" y="2849520"/>
                  <a:pt x="350561" y="2854832"/>
                  <a:pt x="353868" y="2862469"/>
                </a:cubicBezTo>
                <a:cubicBezTo>
                  <a:pt x="349058" y="2877852"/>
                  <a:pt x="328014" y="2880287"/>
                  <a:pt x="316591" y="2872650"/>
                </a:cubicBezTo>
                <a:cubicBezTo>
                  <a:pt x="312984" y="2869994"/>
                  <a:pt x="310278" y="2866342"/>
                  <a:pt x="309677" y="2861694"/>
                </a:cubicBezTo>
                <a:cubicBezTo>
                  <a:pt x="312984" y="2851401"/>
                  <a:pt x="322303" y="2847749"/>
                  <a:pt x="331923" y="2848635"/>
                </a:cubicBezTo>
                <a:close/>
                <a:moveTo>
                  <a:pt x="851932" y="2802418"/>
                </a:moveTo>
                <a:lnTo>
                  <a:pt x="857200" y="2826611"/>
                </a:lnTo>
                <a:lnTo>
                  <a:pt x="894481" y="2826611"/>
                </a:lnTo>
                <a:close/>
                <a:moveTo>
                  <a:pt x="6113103" y="1844259"/>
                </a:moveTo>
                <a:cubicBezTo>
                  <a:pt x="6111730" y="1846983"/>
                  <a:pt x="6108708" y="1848290"/>
                  <a:pt x="6110082" y="1849707"/>
                </a:cubicBezTo>
                <a:lnTo>
                  <a:pt x="6113053" y="1844293"/>
                </a:lnTo>
                <a:close/>
                <a:moveTo>
                  <a:pt x="6129035" y="1828348"/>
                </a:moveTo>
                <a:cubicBezTo>
                  <a:pt x="6130684" y="1827368"/>
                  <a:pt x="6132607" y="1827150"/>
                  <a:pt x="6135353" y="1828348"/>
                </a:cubicBezTo>
                <a:cubicBezTo>
                  <a:pt x="6142496" y="1832707"/>
                  <a:pt x="6140298" y="1839573"/>
                  <a:pt x="6137002" y="1846765"/>
                </a:cubicBezTo>
                <a:cubicBezTo>
                  <a:pt x="6133705" y="1846002"/>
                  <a:pt x="6131233" y="1846656"/>
                  <a:pt x="6127937" y="1846002"/>
                </a:cubicBezTo>
                <a:cubicBezTo>
                  <a:pt x="6124640" y="1842188"/>
                  <a:pt x="6124640" y="1831508"/>
                  <a:pt x="6129035" y="1828348"/>
                </a:cubicBezTo>
                <a:close/>
                <a:moveTo>
                  <a:pt x="6183425" y="1792387"/>
                </a:moveTo>
                <a:lnTo>
                  <a:pt x="6184798" y="1793041"/>
                </a:lnTo>
                <a:cubicBezTo>
                  <a:pt x="6185348" y="1793804"/>
                  <a:pt x="6185073" y="1795003"/>
                  <a:pt x="6184524" y="1796419"/>
                </a:cubicBezTo>
                <a:cubicBezTo>
                  <a:pt x="6182876" y="1800887"/>
                  <a:pt x="6178206" y="1807425"/>
                  <a:pt x="6177657" y="1808407"/>
                </a:cubicBezTo>
                <a:cubicBezTo>
                  <a:pt x="6177657" y="1808407"/>
                  <a:pt x="6177107" y="1809714"/>
                  <a:pt x="6176558" y="1811022"/>
                </a:cubicBezTo>
                <a:cubicBezTo>
                  <a:pt x="6174635" y="1811566"/>
                  <a:pt x="6173261" y="1810803"/>
                  <a:pt x="6172712" y="1812111"/>
                </a:cubicBezTo>
                <a:cubicBezTo>
                  <a:pt x="6170789" y="1806118"/>
                  <a:pt x="6173811" y="1802958"/>
                  <a:pt x="6176833" y="1799906"/>
                </a:cubicBezTo>
                <a:cubicBezTo>
                  <a:pt x="6179304" y="1798054"/>
                  <a:pt x="6179854" y="1796747"/>
                  <a:pt x="6179854" y="1793477"/>
                </a:cubicBezTo>
                <a:cubicBezTo>
                  <a:pt x="6179854" y="1793477"/>
                  <a:pt x="6179854" y="1793477"/>
                  <a:pt x="6183425" y="1792387"/>
                </a:cubicBezTo>
                <a:close/>
                <a:moveTo>
                  <a:pt x="6345083" y="1774312"/>
                </a:moveTo>
                <a:cubicBezTo>
                  <a:pt x="6347350" y="1775088"/>
                  <a:pt x="6349067" y="1776641"/>
                  <a:pt x="6349067" y="1777676"/>
                </a:cubicBezTo>
                <a:cubicBezTo>
                  <a:pt x="6346868" y="1779746"/>
                  <a:pt x="6342198" y="1779746"/>
                  <a:pt x="6340001" y="1781817"/>
                </a:cubicBezTo>
                <a:cubicBezTo>
                  <a:pt x="6340001" y="1779746"/>
                  <a:pt x="6337804" y="1777676"/>
                  <a:pt x="6337804" y="1775606"/>
                </a:cubicBezTo>
                <a:cubicBezTo>
                  <a:pt x="6340001" y="1773535"/>
                  <a:pt x="6342817" y="1773535"/>
                  <a:pt x="6345083" y="1774312"/>
                </a:cubicBezTo>
                <a:close/>
                <a:moveTo>
                  <a:pt x="6402769" y="1769530"/>
                </a:moveTo>
                <a:cubicBezTo>
                  <a:pt x="6404966" y="1769585"/>
                  <a:pt x="6407027" y="1770375"/>
                  <a:pt x="6408400" y="1772773"/>
                </a:cubicBezTo>
                <a:cubicBezTo>
                  <a:pt x="6407850" y="1773970"/>
                  <a:pt x="6409225" y="1774734"/>
                  <a:pt x="6408675" y="1776042"/>
                </a:cubicBezTo>
                <a:cubicBezTo>
                  <a:pt x="6408675" y="1776042"/>
                  <a:pt x="6408675" y="1777676"/>
                  <a:pt x="6407850" y="1779637"/>
                </a:cubicBezTo>
                <a:cubicBezTo>
                  <a:pt x="6407301" y="1781599"/>
                  <a:pt x="6405653" y="1783996"/>
                  <a:pt x="6402631" y="1785413"/>
                </a:cubicBezTo>
                <a:cubicBezTo>
                  <a:pt x="6401533" y="1785740"/>
                  <a:pt x="6399885" y="1785849"/>
                  <a:pt x="6398512" y="1785849"/>
                </a:cubicBezTo>
                <a:cubicBezTo>
                  <a:pt x="6397138" y="1785849"/>
                  <a:pt x="6395764" y="1785631"/>
                  <a:pt x="6396313" y="1784977"/>
                </a:cubicBezTo>
                <a:cubicBezTo>
                  <a:pt x="6395489" y="1783015"/>
                  <a:pt x="6394940" y="1784323"/>
                  <a:pt x="6393567" y="1783560"/>
                </a:cubicBezTo>
                <a:cubicBezTo>
                  <a:pt x="6391369" y="1777567"/>
                  <a:pt x="6391919" y="1772990"/>
                  <a:pt x="6396313" y="1770701"/>
                </a:cubicBezTo>
                <a:cubicBezTo>
                  <a:pt x="6398236" y="1770157"/>
                  <a:pt x="6400571" y="1769476"/>
                  <a:pt x="6402769" y="1769530"/>
                </a:cubicBezTo>
                <a:close/>
                <a:moveTo>
                  <a:pt x="6322421" y="1769285"/>
                </a:moveTo>
                <a:cubicBezTo>
                  <a:pt x="6323520" y="1769939"/>
                  <a:pt x="6326816" y="1773426"/>
                  <a:pt x="6327366" y="1772228"/>
                </a:cubicBezTo>
                <a:cubicBezTo>
                  <a:pt x="6329014" y="1776696"/>
                  <a:pt x="6330387" y="1781926"/>
                  <a:pt x="6329014" y="1785304"/>
                </a:cubicBezTo>
                <a:cubicBezTo>
                  <a:pt x="6328464" y="1786394"/>
                  <a:pt x="6327915" y="1787266"/>
                  <a:pt x="6326816" y="1787811"/>
                </a:cubicBezTo>
                <a:cubicBezTo>
                  <a:pt x="6324344" y="1789663"/>
                  <a:pt x="6322147" y="1786938"/>
                  <a:pt x="6320772" y="1782907"/>
                </a:cubicBezTo>
                <a:cubicBezTo>
                  <a:pt x="6316103" y="1775388"/>
                  <a:pt x="6316652" y="1770811"/>
                  <a:pt x="6322421" y="1769285"/>
                </a:cubicBezTo>
                <a:close/>
                <a:moveTo>
                  <a:pt x="6323520" y="1752068"/>
                </a:moveTo>
                <a:cubicBezTo>
                  <a:pt x="6324893" y="1752830"/>
                  <a:pt x="6328190" y="1753157"/>
                  <a:pt x="6327640" y="1754356"/>
                </a:cubicBezTo>
                <a:cubicBezTo>
                  <a:pt x="6328739" y="1755118"/>
                  <a:pt x="6327640" y="1757625"/>
                  <a:pt x="6327640" y="1757625"/>
                </a:cubicBezTo>
                <a:cubicBezTo>
                  <a:pt x="6329014" y="1758387"/>
                  <a:pt x="6330387" y="1759151"/>
                  <a:pt x="6331211" y="1761112"/>
                </a:cubicBezTo>
                <a:cubicBezTo>
                  <a:pt x="6329288" y="1761657"/>
                  <a:pt x="6330661" y="1762420"/>
                  <a:pt x="6330112" y="1763618"/>
                </a:cubicBezTo>
                <a:cubicBezTo>
                  <a:pt x="6329288" y="1761657"/>
                  <a:pt x="6325168" y="1759369"/>
                  <a:pt x="6323245" y="1756535"/>
                </a:cubicBezTo>
                <a:cubicBezTo>
                  <a:pt x="6323794" y="1755337"/>
                  <a:pt x="6322970" y="1753266"/>
                  <a:pt x="6323520" y="1752068"/>
                </a:cubicBezTo>
                <a:close/>
                <a:moveTo>
                  <a:pt x="6311433" y="1751195"/>
                </a:moveTo>
                <a:cubicBezTo>
                  <a:pt x="6311433" y="1751195"/>
                  <a:pt x="6313356" y="1754029"/>
                  <a:pt x="6313356" y="1754029"/>
                </a:cubicBezTo>
                <a:cubicBezTo>
                  <a:pt x="6314729" y="1758170"/>
                  <a:pt x="6315278" y="1760240"/>
                  <a:pt x="6317202" y="1762964"/>
                </a:cubicBezTo>
                <a:cubicBezTo>
                  <a:pt x="6316103" y="1763945"/>
                  <a:pt x="6315004" y="1764272"/>
                  <a:pt x="6314180" y="1764054"/>
                </a:cubicBezTo>
                <a:cubicBezTo>
                  <a:pt x="6313631" y="1763945"/>
                  <a:pt x="6313081" y="1763183"/>
                  <a:pt x="6312806" y="1762093"/>
                </a:cubicBezTo>
                <a:cubicBezTo>
                  <a:pt x="6312806" y="1762093"/>
                  <a:pt x="6312257" y="1760022"/>
                  <a:pt x="6311433" y="1757952"/>
                </a:cubicBezTo>
                <a:cubicBezTo>
                  <a:pt x="6310884" y="1755881"/>
                  <a:pt x="6309510" y="1755227"/>
                  <a:pt x="6309510" y="1755227"/>
                </a:cubicBezTo>
                <a:cubicBezTo>
                  <a:pt x="6308960" y="1753157"/>
                  <a:pt x="6309510" y="1751849"/>
                  <a:pt x="6311433" y="1751195"/>
                </a:cubicBezTo>
                <a:close/>
                <a:moveTo>
                  <a:pt x="6398786" y="1744439"/>
                </a:moveTo>
                <a:cubicBezTo>
                  <a:pt x="6401807" y="1744548"/>
                  <a:pt x="6405653" y="1746837"/>
                  <a:pt x="6406203" y="1748798"/>
                </a:cubicBezTo>
                <a:cubicBezTo>
                  <a:pt x="6407026" y="1750760"/>
                  <a:pt x="6406477" y="1752068"/>
                  <a:pt x="6406477" y="1752068"/>
                </a:cubicBezTo>
                <a:lnTo>
                  <a:pt x="6403456" y="1752722"/>
                </a:lnTo>
                <a:lnTo>
                  <a:pt x="6403456" y="1756208"/>
                </a:lnTo>
                <a:cubicBezTo>
                  <a:pt x="6403181" y="1757734"/>
                  <a:pt x="6402631" y="1759260"/>
                  <a:pt x="6401533" y="1761330"/>
                </a:cubicBezTo>
                <a:lnTo>
                  <a:pt x="6398237" y="1763400"/>
                </a:lnTo>
                <a:lnTo>
                  <a:pt x="6399335" y="1764163"/>
                </a:lnTo>
                <a:cubicBezTo>
                  <a:pt x="6400434" y="1765580"/>
                  <a:pt x="6399885" y="1766234"/>
                  <a:pt x="6399061" y="1766778"/>
                </a:cubicBezTo>
                <a:cubicBezTo>
                  <a:pt x="6398237" y="1767323"/>
                  <a:pt x="6396863" y="1767760"/>
                  <a:pt x="6395764" y="1768740"/>
                </a:cubicBezTo>
                <a:lnTo>
                  <a:pt x="6394666" y="1765689"/>
                </a:lnTo>
                <a:lnTo>
                  <a:pt x="6389446" y="1768849"/>
                </a:lnTo>
                <a:cubicBezTo>
                  <a:pt x="6379008" y="1773317"/>
                  <a:pt x="6372141" y="1770157"/>
                  <a:pt x="6370493" y="1771791"/>
                </a:cubicBezTo>
                <a:cubicBezTo>
                  <a:pt x="6363900" y="1765580"/>
                  <a:pt x="6368295" y="1761439"/>
                  <a:pt x="6372690" y="1753157"/>
                </a:cubicBezTo>
                <a:cubicBezTo>
                  <a:pt x="6374887" y="1755227"/>
                  <a:pt x="6381755" y="1749016"/>
                  <a:pt x="6383952" y="1746946"/>
                </a:cubicBezTo>
                <a:cubicBezTo>
                  <a:pt x="6386150" y="1749016"/>
                  <a:pt x="6389446" y="1748471"/>
                  <a:pt x="6393018" y="1748254"/>
                </a:cubicBezTo>
                <a:lnTo>
                  <a:pt x="6394940" y="1748254"/>
                </a:lnTo>
                <a:lnTo>
                  <a:pt x="6394391" y="1746183"/>
                </a:lnTo>
                <a:cubicBezTo>
                  <a:pt x="6394116" y="1745529"/>
                  <a:pt x="6394391" y="1745202"/>
                  <a:pt x="6394940" y="1745529"/>
                </a:cubicBezTo>
                <a:cubicBezTo>
                  <a:pt x="6395489" y="1744221"/>
                  <a:pt x="6396863" y="1744984"/>
                  <a:pt x="6398786" y="1744439"/>
                </a:cubicBezTo>
                <a:close/>
                <a:moveTo>
                  <a:pt x="6331760" y="1712619"/>
                </a:moveTo>
                <a:cubicBezTo>
                  <a:pt x="6333958" y="1711856"/>
                  <a:pt x="6335606" y="1712619"/>
                  <a:pt x="6337254" y="1713382"/>
                </a:cubicBezTo>
                <a:cubicBezTo>
                  <a:pt x="6340276" y="1714907"/>
                  <a:pt x="6342473" y="1717959"/>
                  <a:pt x="6340825" y="1720901"/>
                </a:cubicBezTo>
                <a:cubicBezTo>
                  <a:pt x="6340551" y="1721664"/>
                  <a:pt x="6338903" y="1721773"/>
                  <a:pt x="6337529" y="1721773"/>
                </a:cubicBezTo>
                <a:cubicBezTo>
                  <a:pt x="6335881" y="1721773"/>
                  <a:pt x="6334507" y="1721554"/>
                  <a:pt x="6334507" y="1721554"/>
                </a:cubicBezTo>
                <a:cubicBezTo>
                  <a:pt x="6330936" y="1717850"/>
                  <a:pt x="6331485" y="1716324"/>
                  <a:pt x="6331760" y="1712619"/>
                </a:cubicBezTo>
                <a:close/>
                <a:moveTo>
                  <a:pt x="6194138" y="1703792"/>
                </a:moveTo>
                <a:lnTo>
                  <a:pt x="6193314" y="1704446"/>
                </a:lnTo>
                <a:cubicBezTo>
                  <a:pt x="6192765" y="1705754"/>
                  <a:pt x="6193863" y="1706190"/>
                  <a:pt x="6195237" y="1706081"/>
                </a:cubicBezTo>
                <a:lnTo>
                  <a:pt x="6195237" y="1705971"/>
                </a:lnTo>
                <a:close/>
                <a:moveTo>
                  <a:pt x="6213642" y="1700087"/>
                </a:moveTo>
                <a:lnTo>
                  <a:pt x="6212268" y="1700196"/>
                </a:lnTo>
                <a:lnTo>
                  <a:pt x="6211993" y="1700306"/>
                </a:lnTo>
                <a:lnTo>
                  <a:pt x="6213093" y="1700741"/>
                </a:lnTo>
                <a:lnTo>
                  <a:pt x="6213093" y="1701068"/>
                </a:lnTo>
                <a:lnTo>
                  <a:pt x="6213642" y="1700414"/>
                </a:lnTo>
                <a:close/>
                <a:moveTo>
                  <a:pt x="6276547" y="1691696"/>
                </a:moveTo>
                <a:cubicBezTo>
                  <a:pt x="6289458" y="1703575"/>
                  <a:pt x="6302094" y="1705100"/>
                  <a:pt x="6314455" y="1721228"/>
                </a:cubicBezTo>
                <a:cubicBezTo>
                  <a:pt x="6313081" y="1721991"/>
                  <a:pt x="6311159" y="1722318"/>
                  <a:pt x="6309235" y="1722318"/>
                </a:cubicBezTo>
                <a:cubicBezTo>
                  <a:pt x="6307038" y="1722318"/>
                  <a:pt x="6305115" y="1721882"/>
                  <a:pt x="6302643" y="1721228"/>
                </a:cubicBezTo>
                <a:cubicBezTo>
                  <a:pt x="6289183" y="1717305"/>
                  <a:pt x="6272701" y="1703138"/>
                  <a:pt x="6276547" y="1691696"/>
                </a:cubicBezTo>
                <a:close/>
                <a:moveTo>
                  <a:pt x="6447957" y="1679491"/>
                </a:moveTo>
                <a:cubicBezTo>
                  <a:pt x="6449879" y="1678947"/>
                  <a:pt x="6452352" y="1678947"/>
                  <a:pt x="6455098" y="1679491"/>
                </a:cubicBezTo>
                <a:cubicBezTo>
                  <a:pt x="6459768" y="1689081"/>
                  <a:pt x="6470756" y="1704664"/>
                  <a:pt x="6457846" y="1714362"/>
                </a:cubicBezTo>
                <a:cubicBezTo>
                  <a:pt x="6443287" y="1708914"/>
                  <a:pt x="6434221" y="1682870"/>
                  <a:pt x="6447957" y="1679491"/>
                </a:cubicBezTo>
                <a:close/>
                <a:moveTo>
                  <a:pt x="6261713" y="1640370"/>
                </a:moveTo>
                <a:cubicBezTo>
                  <a:pt x="6264460" y="1643313"/>
                  <a:pt x="6267482" y="1646363"/>
                  <a:pt x="6264735" y="1649088"/>
                </a:cubicBezTo>
                <a:cubicBezTo>
                  <a:pt x="6261988" y="1647562"/>
                  <a:pt x="6260614" y="1648761"/>
                  <a:pt x="6257593" y="1644402"/>
                </a:cubicBezTo>
                <a:cubicBezTo>
                  <a:pt x="6258966" y="1642985"/>
                  <a:pt x="6260340" y="1641678"/>
                  <a:pt x="6261713" y="1640370"/>
                </a:cubicBezTo>
                <a:close/>
                <a:moveTo>
                  <a:pt x="6276272" y="1621735"/>
                </a:moveTo>
                <a:cubicBezTo>
                  <a:pt x="6282590" y="1630889"/>
                  <a:pt x="6287260" y="1639934"/>
                  <a:pt x="6299071" y="1649306"/>
                </a:cubicBezTo>
                <a:cubicBezTo>
                  <a:pt x="6296325" y="1652139"/>
                  <a:pt x="6300720" y="1655190"/>
                  <a:pt x="6296599" y="1657915"/>
                </a:cubicBezTo>
                <a:cubicBezTo>
                  <a:pt x="6285062" y="1657370"/>
                  <a:pt x="6266932" y="1633069"/>
                  <a:pt x="6276272" y="1621735"/>
                </a:cubicBezTo>
                <a:close/>
                <a:moveTo>
                  <a:pt x="2247047" y="1615525"/>
                </a:moveTo>
                <a:cubicBezTo>
                  <a:pt x="2250893" y="1617595"/>
                  <a:pt x="2252541" y="1616941"/>
                  <a:pt x="2251992" y="1618249"/>
                </a:cubicBezTo>
                <a:cubicBezTo>
                  <a:pt x="2253366" y="1618902"/>
                  <a:pt x="2252541" y="1620319"/>
                  <a:pt x="2251443" y="1619556"/>
                </a:cubicBezTo>
                <a:cubicBezTo>
                  <a:pt x="2248971" y="1621409"/>
                  <a:pt x="2247872" y="1617486"/>
                  <a:pt x="2247047" y="1615525"/>
                </a:cubicBezTo>
                <a:close/>
                <a:moveTo>
                  <a:pt x="2276715" y="1615088"/>
                </a:moveTo>
                <a:cubicBezTo>
                  <a:pt x="2278088" y="1615088"/>
                  <a:pt x="2279187" y="1616178"/>
                  <a:pt x="2279736" y="1617812"/>
                </a:cubicBezTo>
                <a:cubicBezTo>
                  <a:pt x="2281385" y="1622608"/>
                  <a:pt x="2278637" y="1632088"/>
                  <a:pt x="2272594" y="1631979"/>
                </a:cubicBezTo>
                <a:cubicBezTo>
                  <a:pt x="2271496" y="1631653"/>
                  <a:pt x="2270397" y="1630235"/>
                  <a:pt x="2269573" y="1628492"/>
                </a:cubicBezTo>
                <a:cubicBezTo>
                  <a:pt x="2267650" y="1623370"/>
                  <a:pt x="2268473" y="1614108"/>
                  <a:pt x="2276715" y="1615088"/>
                </a:cubicBezTo>
                <a:close/>
                <a:moveTo>
                  <a:pt x="6340551" y="1610948"/>
                </a:moveTo>
                <a:cubicBezTo>
                  <a:pt x="6342748" y="1611492"/>
                  <a:pt x="6347418" y="1613781"/>
                  <a:pt x="6347143" y="1615742"/>
                </a:cubicBezTo>
                <a:cubicBezTo>
                  <a:pt x="6346594" y="1619774"/>
                  <a:pt x="6343847" y="1623262"/>
                  <a:pt x="6341924" y="1622717"/>
                </a:cubicBezTo>
                <a:cubicBezTo>
                  <a:pt x="6338903" y="1621954"/>
                  <a:pt x="6335881" y="1621300"/>
                  <a:pt x="6335057" y="1618357"/>
                </a:cubicBezTo>
                <a:cubicBezTo>
                  <a:pt x="6334782" y="1617377"/>
                  <a:pt x="6334782" y="1616178"/>
                  <a:pt x="6335057" y="1614652"/>
                </a:cubicBezTo>
                <a:cubicBezTo>
                  <a:pt x="6335057" y="1614652"/>
                  <a:pt x="6335057" y="1614761"/>
                  <a:pt x="6336155" y="1613998"/>
                </a:cubicBezTo>
                <a:cubicBezTo>
                  <a:pt x="6338353" y="1612473"/>
                  <a:pt x="6339452" y="1611710"/>
                  <a:pt x="6340551" y="1610948"/>
                </a:cubicBezTo>
                <a:close/>
                <a:moveTo>
                  <a:pt x="6503994" y="1600922"/>
                </a:moveTo>
                <a:cubicBezTo>
                  <a:pt x="6503994" y="1600922"/>
                  <a:pt x="6505917" y="1600268"/>
                  <a:pt x="6508389" y="1601793"/>
                </a:cubicBezTo>
                <a:cubicBezTo>
                  <a:pt x="6513334" y="1601358"/>
                  <a:pt x="6515531" y="1607460"/>
                  <a:pt x="6515531" y="1607460"/>
                </a:cubicBezTo>
                <a:cubicBezTo>
                  <a:pt x="6515531" y="1607460"/>
                  <a:pt x="6515531" y="1607460"/>
                  <a:pt x="6516080" y="1606261"/>
                </a:cubicBezTo>
                <a:cubicBezTo>
                  <a:pt x="6514707" y="1608768"/>
                  <a:pt x="6514982" y="1612146"/>
                  <a:pt x="6513883" y="1614652"/>
                </a:cubicBezTo>
                <a:cubicBezTo>
                  <a:pt x="6510586" y="1616069"/>
                  <a:pt x="6508389" y="1616832"/>
                  <a:pt x="6506467" y="1617050"/>
                </a:cubicBezTo>
                <a:cubicBezTo>
                  <a:pt x="6500698" y="1617704"/>
                  <a:pt x="6499599" y="1613344"/>
                  <a:pt x="6497127" y="1608332"/>
                </a:cubicBezTo>
                <a:cubicBezTo>
                  <a:pt x="6499599" y="1606480"/>
                  <a:pt x="6500148" y="1602012"/>
                  <a:pt x="6503994" y="1600922"/>
                </a:cubicBezTo>
                <a:close/>
                <a:moveTo>
                  <a:pt x="2258310" y="1589480"/>
                </a:moveTo>
                <a:cubicBezTo>
                  <a:pt x="2260233" y="1590024"/>
                  <a:pt x="2261881" y="1591986"/>
                  <a:pt x="2263254" y="1594275"/>
                </a:cubicBezTo>
                <a:lnTo>
                  <a:pt x="2264628" y="1598198"/>
                </a:lnTo>
                <a:lnTo>
                  <a:pt x="2266002" y="1596454"/>
                </a:lnTo>
                <a:cubicBezTo>
                  <a:pt x="2267650" y="1595800"/>
                  <a:pt x="2270122" y="1596345"/>
                  <a:pt x="2273418" y="1596999"/>
                </a:cubicBezTo>
                <a:cubicBezTo>
                  <a:pt x="2272869" y="1603319"/>
                  <a:pt x="2269573" y="1604300"/>
                  <a:pt x="2263529" y="1604082"/>
                </a:cubicBezTo>
                <a:lnTo>
                  <a:pt x="2263804" y="1603428"/>
                </a:lnTo>
                <a:lnTo>
                  <a:pt x="2262705" y="1604736"/>
                </a:lnTo>
                <a:cubicBezTo>
                  <a:pt x="2261057" y="1605281"/>
                  <a:pt x="2258860" y="1605281"/>
                  <a:pt x="2256936" y="1604845"/>
                </a:cubicBezTo>
                <a:cubicBezTo>
                  <a:pt x="2255289" y="1604953"/>
                  <a:pt x="2253915" y="1604082"/>
                  <a:pt x="2252816" y="1602774"/>
                </a:cubicBezTo>
                <a:cubicBezTo>
                  <a:pt x="2251717" y="1601358"/>
                  <a:pt x="2251168" y="1599723"/>
                  <a:pt x="2250893" y="1598089"/>
                </a:cubicBezTo>
                <a:cubicBezTo>
                  <a:pt x="2251168" y="1596019"/>
                  <a:pt x="2251168" y="1596019"/>
                  <a:pt x="2251443" y="1593947"/>
                </a:cubicBezTo>
                <a:cubicBezTo>
                  <a:pt x="2253641" y="1592531"/>
                  <a:pt x="2255289" y="1589698"/>
                  <a:pt x="2258310" y="1589480"/>
                </a:cubicBezTo>
                <a:close/>
                <a:moveTo>
                  <a:pt x="6469726" y="1583064"/>
                </a:moveTo>
                <a:cubicBezTo>
                  <a:pt x="6473091" y="1581988"/>
                  <a:pt x="6477349" y="1581579"/>
                  <a:pt x="6480920" y="1584249"/>
                </a:cubicBezTo>
                <a:cubicBezTo>
                  <a:pt x="6480920" y="1584249"/>
                  <a:pt x="6488885" y="1591986"/>
                  <a:pt x="6486139" y="1600595"/>
                </a:cubicBezTo>
                <a:cubicBezTo>
                  <a:pt x="6482568" y="1606806"/>
                  <a:pt x="6479272" y="1605172"/>
                  <a:pt x="6477623" y="1608332"/>
                </a:cubicBezTo>
                <a:cubicBezTo>
                  <a:pt x="6475975" y="1611383"/>
                  <a:pt x="6483117" y="1616832"/>
                  <a:pt x="6479547" y="1623043"/>
                </a:cubicBezTo>
                <a:cubicBezTo>
                  <a:pt x="6476250" y="1629255"/>
                  <a:pt x="6472404" y="1631434"/>
                  <a:pt x="6468559" y="1631653"/>
                </a:cubicBezTo>
                <a:cubicBezTo>
                  <a:pt x="6464713" y="1631761"/>
                  <a:pt x="6460867" y="1629800"/>
                  <a:pt x="6456746" y="1627838"/>
                </a:cubicBezTo>
                <a:cubicBezTo>
                  <a:pt x="6457296" y="1616287"/>
                  <a:pt x="6456197" y="1617704"/>
                  <a:pt x="6458944" y="1609204"/>
                </a:cubicBezTo>
                <a:cubicBezTo>
                  <a:pt x="6461416" y="1608441"/>
                  <a:pt x="6463889" y="1607678"/>
                  <a:pt x="6464713" y="1606152"/>
                </a:cubicBezTo>
                <a:cubicBezTo>
                  <a:pt x="6457846" y="1600704"/>
                  <a:pt x="6459494" y="1593730"/>
                  <a:pt x="6463889" y="1585884"/>
                </a:cubicBezTo>
                <a:cubicBezTo>
                  <a:pt x="6463889" y="1585884"/>
                  <a:pt x="6466361" y="1584140"/>
                  <a:pt x="6469726" y="1583064"/>
                </a:cubicBezTo>
                <a:close/>
                <a:moveTo>
                  <a:pt x="6361084" y="1582901"/>
                </a:moveTo>
                <a:cubicBezTo>
                  <a:pt x="6364724" y="1581716"/>
                  <a:pt x="6368707" y="1581688"/>
                  <a:pt x="6372690" y="1583595"/>
                </a:cubicBezTo>
                <a:cubicBezTo>
                  <a:pt x="6374338" y="1584358"/>
                  <a:pt x="6375162" y="1586755"/>
                  <a:pt x="6376811" y="1587518"/>
                </a:cubicBezTo>
                <a:cubicBezTo>
                  <a:pt x="6376811" y="1587518"/>
                  <a:pt x="6376811" y="1587518"/>
                  <a:pt x="6379283" y="1586755"/>
                </a:cubicBezTo>
                <a:cubicBezTo>
                  <a:pt x="6376536" y="1595364"/>
                  <a:pt x="6384502" y="1595255"/>
                  <a:pt x="6377635" y="1607787"/>
                </a:cubicBezTo>
                <a:cubicBezTo>
                  <a:pt x="6374887" y="1612473"/>
                  <a:pt x="6371042" y="1614434"/>
                  <a:pt x="6366647" y="1614652"/>
                </a:cubicBezTo>
                <a:cubicBezTo>
                  <a:pt x="6362526" y="1614871"/>
                  <a:pt x="6358405" y="1613344"/>
                  <a:pt x="6355659" y="1611057"/>
                </a:cubicBezTo>
                <a:cubicBezTo>
                  <a:pt x="6349341" y="1608005"/>
                  <a:pt x="6347967" y="1599396"/>
                  <a:pt x="6347967" y="1595474"/>
                </a:cubicBezTo>
                <a:cubicBezTo>
                  <a:pt x="6347967" y="1595474"/>
                  <a:pt x="6351539" y="1593185"/>
                  <a:pt x="6352362" y="1591551"/>
                </a:cubicBezTo>
                <a:cubicBezTo>
                  <a:pt x="6352362" y="1591551"/>
                  <a:pt x="6351539" y="1589153"/>
                  <a:pt x="6351539" y="1589153"/>
                </a:cubicBezTo>
                <a:cubicBezTo>
                  <a:pt x="6354148" y="1586429"/>
                  <a:pt x="6357444" y="1584086"/>
                  <a:pt x="6361084" y="1582901"/>
                </a:cubicBezTo>
                <a:close/>
                <a:moveTo>
                  <a:pt x="6508767" y="1560452"/>
                </a:moveTo>
                <a:cubicBezTo>
                  <a:pt x="6512716" y="1562482"/>
                  <a:pt x="6515531" y="1566105"/>
                  <a:pt x="6517180" y="1569538"/>
                </a:cubicBezTo>
                <a:cubicBezTo>
                  <a:pt x="6515806" y="1569973"/>
                  <a:pt x="6520201" y="1579237"/>
                  <a:pt x="6516630" y="1586538"/>
                </a:cubicBezTo>
                <a:cubicBezTo>
                  <a:pt x="6515256" y="1589044"/>
                  <a:pt x="6513059" y="1591114"/>
                  <a:pt x="6509488" y="1592749"/>
                </a:cubicBezTo>
                <a:cubicBezTo>
                  <a:pt x="6507565" y="1593621"/>
                  <a:pt x="6505367" y="1594383"/>
                  <a:pt x="6503170" y="1594710"/>
                </a:cubicBezTo>
                <a:cubicBezTo>
                  <a:pt x="6496578" y="1595800"/>
                  <a:pt x="6489710" y="1593403"/>
                  <a:pt x="6485315" y="1582287"/>
                </a:cubicBezTo>
                <a:cubicBezTo>
                  <a:pt x="6483117" y="1579563"/>
                  <a:pt x="6484491" y="1580217"/>
                  <a:pt x="6483941" y="1578255"/>
                </a:cubicBezTo>
                <a:cubicBezTo>
                  <a:pt x="6483117" y="1576185"/>
                  <a:pt x="6481194" y="1573461"/>
                  <a:pt x="6479821" y="1572807"/>
                </a:cubicBezTo>
                <a:cubicBezTo>
                  <a:pt x="6486139" y="1569864"/>
                  <a:pt x="6483392" y="1565070"/>
                  <a:pt x="6493556" y="1560928"/>
                </a:cubicBezTo>
                <a:cubicBezTo>
                  <a:pt x="6499737" y="1557986"/>
                  <a:pt x="6504818" y="1558422"/>
                  <a:pt x="6508767" y="1560452"/>
                </a:cubicBezTo>
                <a:close/>
                <a:moveTo>
                  <a:pt x="2260156" y="1557617"/>
                </a:moveTo>
                <a:cubicBezTo>
                  <a:pt x="2270483" y="1562618"/>
                  <a:pt x="2279187" y="1581334"/>
                  <a:pt x="2280011" y="1589262"/>
                </a:cubicBezTo>
                <a:cubicBezTo>
                  <a:pt x="2269848" y="1582397"/>
                  <a:pt x="2253366" y="1570409"/>
                  <a:pt x="2249520" y="1558096"/>
                </a:cubicBezTo>
                <a:cubicBezTo>
                  <a:pt x="2253091" y="1555807"/>
                  <a:pt x="2256713" y="1555950"/>
                  <a:pt x="2260156" y="1557617"/>
                </a:cubicBezTo>
                <a:close/>
                <a:moveTo>
                  <a:pt x="2314623" y="1557442"/>
                </a:moveTo>
                <a:lnTo>
                  <a:pt x="2309403" y="1563326"/>
                </a:lnTo>
                <a:lnTo>
                  <a:pt x="2306107" y="1563217"/>
                </a:lnTo>
                <a:lnTo>
                  <a:pt x="2307206" y="1565179"/>
                </a:lnTo>
                <a:lnTo>
                  <a:pt x="2307206" y="1568557"/>
                </a:lnTo>
                <a:lnTo>
                  <a:pt x="2309953" y="1565724"/>
                </a:lnTo>
                <a:close/>
                <a:moveTo>
                  <a:pt x="2226171" y="1520064"/>
                </a:moveTo>
                <a:cubicBezTo>
                  <a:pt x="2229192" y="1522025"/>
                  <a:pt x="2231390" y="1525622"/>
                  <a:pt x="2231940" y="1531506"/>
                </a:cubicBezTo>
                <a:cubicBezTo>
                  <a:pt x="2224797" y="1532923"/>
                  <a:pt x="2221776" y="1537173"/>
                  <a:pt x="2216831" y="1538153"/>
                </a:cubicBezTo>
                <a:cubicBezTo>
                  <a:pt x="2215458" y="1538481"/>
                  <a:pt x="2213535" y="1538372"/>
                  <a:pt x="2211337" y="1537718"/>
                </a:cubicBezTo>
                <a:cubicBezTo>
                  <a:pt x="2203645" y="1523878"/>
                  <a:pt x="2217655" y="1514288"/>
                  <a:pt x="2226171" y="1520064"/>
                </a:cubicBezTo>
                <a:close/>
                <a:moveTo>
                  <a:pt x="885661" y="1507968"/>
                </a:moveTo>
                <a:cubicBezTo>
                  <a:pt x="887308" y="1507423"/>
                  <a:pt x="885661" y="1507968"/>
                  <a:pt x="889506" y="1508840"/>
                </a:cubicBezTo>
                <a:cubicBezTo>
                  <a:pt x="889231" y="1510039"/>
                  <a:pt x="888682" y="1510256"/>
                  <a:pt x="888132" y="1509930"/>
                </a:cubicBezTo>
                <a:cubicBezTo>
                  <a:pt x="887583" y="1509602"/>
                  <a:pt x="886759" y="1508622"/>
                  <a:pt x="885661" y="1507968"/>
                </a:cubicBezTo>
                <a:close/>
                <a:moveTo>
                  <a:pt x="2338246" y="1502519"/>
                </a:moveTo>
                <a:lnTo>
                  <a:pt x="2337148" y="1502847"/>
                </a:lnTo>
                <a:lnTo>
                  <a:pt x="2337971" y="1502737"/>
                </a:lnTo>
                <a:close/>
                <a:moveTo>
                  <a:pt x="2194032" y="1502410"/>
                </a:moveTo>
                <a:cubicBezTo>
                  <a:pt x="2199800" y="1501429"/>
                  <a:pt x="2203645" y="1503282"/>
                  <a:pt x="2208315" y="1509602"/>
                </a:cubicBezTo>
                <a:cubicBezTo>
                  <a:pt x="2207491" y="1515051"/>
                  <a:pt x="2200899" y="1520936"/>
                  <a:pt x="2195405" y="1520172"/>
                </a:cubicBezTo>
                <a:cubicBezTo>
                  <a:pt x="2193483" y="1519955"/>
                  <a:pt x="2191559" y="1518975"/>
                  <a:pt x="2190186" y="1517013"/>
                </a:cubicBezTo>
                <a:cubicBezTo>
                  <a:pt x="2189637" y="1512545"/>
                  <a:pt x="2189087" y="1507859"/>
                  <a:pt x="2194032" y="1502410"/>
                </a:cubicBezTo>
                <a:close/>
                <a:moveTo>
                  <a:pt x="2262430" y="1498705"/>
                </a:moveTo>
                <a:cubicBezTo>
                  <a:pt x="2267375" y="1502847"/>
                  <a:pt x="2266826" y="1508840"/>
                  <a:pt x="2271770" y="1514397"/>
                </a:cubicBezTo>
                <a:cubicBezTo>
                  <a:pt x="2269573" y="1518975"/>
                  <a:pt x="2274792" y="1526058"/>
                  <a:pt x="2271496" y="1532160"/>
                </a:cubicBezTo>
                <a:cubicBezTo>
                  <a:pt x="2262156" y="1526711"/>
                  <a:pt x="2258860" y="1503282"/>
                  <a:pt x="2262430" y="1498705"/>
                </a:cubicBezTo>
                <a:close/>
                <a:moveTo>
                  <a:pt x="2283307" y="1492167"/>
                </a:moveTo>
                <a:cubicBezTo>
                  <a:pt x="2285780" y="1492494"/>
                  <a:pt x="2290174" y="1500775"/>
                  <a:pt x="2289350" y="1505134"/>
                </a:cubicBezTo>
                <a:lnTo>
                  <a:pt x="2287153" y="1507205"/>
                </a:lnTo>
                <a:lnTo>
                  <a:pt x="2289076" y="1509385"/>
                </a:lnTo>
                <a:cubicBezTo>
                  <a:pt x="2289625" y="1510801"/>
                  <a:pt x="2290174" y="1512218"/>
                  <a:pt x="2290999" y="1512654"/>
                </a:cubicBezTo>
                <a:cubicBezTo>
                  <a:pt x="2289625" y="1513199"/>
                  <a:pt x="2286879" y="1514288"/>
                  <a:pt x="2286329" y="1517557"/>
                </a:cubicBezTo>
                <a:cubicBezTo>
                  <a:pt x="2284680" y="1516795"/>
                  <a:pt x="2282758" y="1516032"/>
                  <a:pt x="2281659" y="1514942"/>
                </a:cubicBezTo>
                <a:cubicBezTo>
                  <a:pt x="2280561" y="1513853"/>
                  <a:pt x="2280286" y="1512545"/>
                  <a:pt x="2281110" y="1510584"/>
                </a:cubicBezTo>
                <a:lnTo>
                  <a:pt x="2284955" y="1506442"/>
                </a:lnTo>
                <a:lnTo>
                  <a:pt x="2283033" y="1505134"/>
                </a:lnTo>
                <a:cubicBezTo>
                  <a:pt x="2280561" y="1500994"/>
                  <a:pt x="2281385" y="1493366"/>
                  <a:pt x="2283307" y="1492167"/>
                </a:cubicBezTo>
                <a:close/>
                <a:moveTo>
                  <a:pt x="6333134" y="1484866"/>
                </a:moveTo>
                <a:cubicBezTo>
                  <a:pt x="6333958" y="1483340"/>
                  <a:pt x="6337254" y="1484757"/>
                  <a:pt x="6338903" y="1485520"/>
                </a:cubicBezTo>
                <a:cubicBezTo>
                  <a:pt x="6340551" y="1486282"/>
                  <a:pt x="6341100" y="1488680"/>
                  <a:pt x="6342748" y="1489443"/>
                </a:cubicBezTo>
                <a:cubicBezTo>
                  <a:pt x="6353461" y="1484648"/>
                  <a:pt x="6363900" y="1483776"/>
                  <a:pt x="6376536" y="1489879"/>
                </a:cubicBezTo>
                <a:cubicBezTo>
                  <a:pt x="6398786" y="1500666"/>
                  <a:pt x="6403456" y="1524640"/>
                  <a:pt x="6392194" y="1541205"/>
                </a:cubicBezTo>
                <a:lnTo>
                  <a:pt x="6383678" y="1553082"/>
                </a:lnTo>
                <a:lnTo>
                  <a:pt x="6390820" y="1552320"/>
                </a:lnTo>
                <a:cubicBezTo>
                  <a:pt x="6395215" y="1556460"/>
                  <a:pt x="6397413" y="1564525"/>
                  <a:pt x="6390820" y="1570627"/>
                </a:cubicBezTo>
                <a:cubicBezTo>
                  <a:pt x="6386425" y="1576730"/>
                  <a:pt x="6377635" y="1576730"/>
                  <a:pt x="6371042" y="1582832"/>
                </a:cubicBezTo>
                <a:cubicBezTo>
                  <a:pt x="6366647" y="1579781"/>
                  <a:pt x="6363900" y="1577710"/>
                  <a:pt x="6362801" y="1575204"/>
                </a:cubicBezTo>
                <a:lnTo>
                  <a:pt x="6364174" y="1566050"/>
                </a:lnTo>
                <a:lnTo>
                  <a:pt x="6361702" y="1567140"/>
                </a:lnTo>
                <a:cubicBezTo>
                  <a:pt x="6357856" y="1568121"/>
                  <a:pt x="6354011" y="1568448"/>
                  <a:pt x="6350165" y="1568230"/>
                </a:cubicBezTo>
                <a:cubicBezTo>
                  <a:pt x="6345221" y="1567794"/>
                  <a:pt x="6340276" y="1566378"/>
                  <a:pt x="6335606" y="1563762"/>
                </a:cubicBezTo>
                <a:lnTo>
                  <a:pt x="6325992" y="1555371"/>
                </a:lnTo>
                <a:lnTo>
                  <a:pt x="6317202" y="1553301"/>
                </a:lnTo>
                <a:cubicBezTo>
                  <a:pt x="6314180" y="1552320"/>
                  <a:pt x="6311433" y="1550903"/>
                  <a:pt x="6309785" y="1548942"/>
                </a:cubicBezTo>
                <a:cubicBezTo>
                  <a:pt x="6308686" y="1547634"/>
                  <a:pt x="6308137" y="1546218"/>
                  <a:pt x="6308137" y="1544365"/>
                </a:cubicBezTo>
                <a:cubicBezTo>
                  <a:pt x="6307862" y="1539025"/>
                  <a:pt x="6310609" y="1534448"/>
                  <a:pt x="6315004" y="1531615"/>
                </a:cubicBezTo>
                <a:lnTo>
                  <a:pt x="6317477" y="1530634"/>
                </a:lnTo>
                <a:lnTo>
                  <a:pt x="6316927" y="1526929"/>
                </a:lnTo>
                <a:cubicBezTo>
                  <a:pt x="6317477" y="1522025"/>
                  <a:pt x="6318850" y="1517231"/>
                  <a:pt x="6321597" y="1513089"/>
                </a:cubicBezTo>
                <a:cubicBezTo>
                  <a:pt x="6325992" y="1505243"/>
                  <a:pt x="6332035" y="1498051"/>
                  <a:pt x="6339452" y="1491730"/>
                </a:cubicBezTo>
                <a:cubicBezTo>
                  <a:pt x="6337254" y="1488680"/>
                  <a:pt x="6335606" y="1488026"/>
                  <a:pt x="6333134" y="1484866"/>
                </a:cubicBezTo>
                <a:close/>
                <a:moveTo>
                  <a:pt x="2321078" y="1473628"/>
                </a:moveTo>
                <a:cubicBezTo>
                  <a:pt x="2324511" y="1474867"/>
                  <a:pt x="2326984" y="1478327"/>
                  <a:pt x="2323413" y="1481597"/>
                </a:cubicBezTo>
                <a:cubicBezTo>
                  <a:pt x="2320391" y="1481597"/>
                  <a:pt x="2316820" y="1480289"/>
                  <a:pt x="2312975" y="1478981"/>
                </a:cubicBezTo>
                <a:cubicBezTo>
                  <a:pt x="2313249" y="1473369"/>
                  <a:pt x="2317644" y="1472388"/>
                  <a:pt x="2321078" y="1473628"/>
                </a:cubicBezTo>
                <a:close/>
                <a:moveTo>
                  <a:pt x="2283307" y="1454026"/>
                </a:moveTo>
                <a:cubicBezTo>
                  <a:pt x="2284406" y="1454789"/>
                  <a:pt x="2284955" y="1456096"/>
                  <a:pt x="2284955" y="1457840"/>
                </a:cubicBezTo>
                <a:cubicBezTo>
                  <a:pt x="2285505" y="1463180"/>
                  <a:pt x="2283307" y="1471898"/>
                  <a:pt x="2281110" y="1476147"/>
                </a:cubicBezTo>
                <a:cubicBezTo>
                  <a:pt x="2280286" y="1475385"/>
                  <a:pt x="2279736" y="1474077"/>
                  <a:pt x="2279461" y="1472334"/>
                </a:cubicBezTo>
                <a:cubicBezTo>
                  <a:pt x="2278912" y="1466994"/>
                  <a:pt x="2281385" y="1458277"/>
                  <a:pt x="2283307" y="1454026"/>
                </a:cubicBezTo>
                <a:close/>
                <a:moveTo>
                  <a:pt x="2243202" y="1452718"/>
                </a:moveTo>
                <a:cubicBezTo>
                  <a:pt x="2244301" y="1449885"/>
                  <a:pt x="2248696" y="1455988"/>
                  <a:pt x="2250069" y="1453046"/>
                </a:cubicBezTo>
                <a:cubicBezTo>
                  <a:pt x="2255838" y="1459257"/>
                  <a:pt x="2262705" y="1452173"/>
                  <a:pt x="2272869" y="1460020"/>
                </a:cubicBezTo>
                <a:cubicBezTo>
                  <a:pt x="2269573" y="1461001"/>
                  <a:pt x="2266276" y="1461328"/>
                  <a:pt x="2263254" y="1461218"/>
                </a:cubicBezTo>
                <a:cubicBezTo>
                  <a:pt x="2254190" y="1461218"/>
                  <a:pt x="2246773" y="1458168"/>
                  <a:pt x="2240455" y="1460020"/>
                </a:cubicBezTo>
                <a:cubicBezTo>
                  <a:pt x="2240455" y="1460020"/>
                  <a:pt x="2240455" y="1460129"/>
                  <a:pt x="2237708" y="1456969"/>
                </a:cubicBezTo>
                <a:cubicBezTo>
                  <a:pt x="2236059" y="1456969"/>
                  <a:pt x="2236059" y="1456860"/>
                  <a:pt x="2236059" y="1456860"/>
                </a:cubicBezTo>
                <a:cubicBezTo>
                  <a:pt x="2234686" y="1456860"/>
                  <a:pt x="2234686" y="1453808"/>
                  <a:pt x="2234686" y="1453808"/>
                </a:cubicBezTo>
                <a:cubicBezTo>
                  <a:pt x="2236059" y="1450975"/>
                  <a:pt x="2240180" y="1452610"/>
                  <a:pt x="2243202" y="1452718"/>
                </a:cubicBezTo>
                <a:close/>
                <a:moveTo>
                  <a:pt x="2181395" y="1446616"/>
                </a:moveTo>
                <a:cubicBezTo>
                  <a:pt x="2184143" y="1449558"/>
                  <a:pt x="2184967" y="1454026"/>
                  <a:pt x="2183593" y="1455443"/>
                </a:cubicBezTo>
                <a:cubicBezTo>
                  <a:pt x="2181121" y="1457623"/>
                  <a:pt x="2178649" y="1459802"/>
                  <a:pt x="2176176" y="1458821"/>
                </a:cubicBezTo>
                <a:cubicBezTo>
                  <a:pt x="2175352" y="1458603"/>
                  <a:pt x="2174253" y="1457949"/>
                  <a:pt x="2173430" y="1456750"/>
                </a:cubicBezTo>
                <a:cubicBezTo>
                  <a:pt x="2173430" y="1456750"/>
                  <a:pt x="2173430" y="1456750"/>
                  <a:pt x="2173430" y="1455225"/>
                </a:cubicBezTo>
                <a:cubicBezTo>
                  <a:pt x="2173704" y="1452283"/>
                  <a:pt x="2173979" y="1450975"/>
                  <a:pt x="2174253" y="1449449"/>
                </a:cubicBezTo>
                <a:cubicBezTo>
                  <a:pt x="2175627" y="1448033"/>
                  <a:pt x="2180297" y="1445090"/>
                  <a:pt x="2181395" y="1446616"/>
                </a:cubicBezTo>
                <a:close/>
                <a:moveTo>
                  <a:pt x="930161" y="1446616"/>
                </a:moveTo>
                <a:cubicBezTo>
                  <a:pt x="934556" y="1446180"/>
                  <a:pt x="936204" y="1452065"/>
                  <a:pt x="938127" y="1455225"/>
                </a:cubicBezTo>
                <a:cubicBezTo>
                  <a:pt x="942522" y="1454789"/>
                  <a:pt x="938951" y="1463725"/>
                  <a:pt x="943345" y="1463289"/>
                </a:cubicBezTo>
                <a:cubicBezTo>
                  <a:pt x="940874" y="1473751"/>
                  <a:pt x="954608" y="1476692"/>
                  <a:pt x="953510" y="1492929"/>
                </a:cubicBezTo>
                <a:cubicBezTo>
                  <a:pt x="949664" y="1489769"/>
                  <a:pt x="946642" y="1486282"/>
                  <a:pt x="944170" y="1482904"/>
                </a:cubicBezTo>
                <a:cubicBezTo>
                  <a:pt x="937028" y="1472769"/>
                  <a:pt x="934831" y="1462745"/>
                  <a:pt x="927688" y="1457078"/>
                </a:cubicBezTo>
                <a:cubicBezTo>
                  <a:pt x="927688" y="1457078"/>
                  <a:pt x="927688" y="1457078"/>
                  <a:pt x="929062" y="1451847"/>
                </a:cubicBezTo>
                <a:cubicBezTo>
                  <a:pt x="927963" y="1450212"/>
                  <a:pt x="927963" y="1450212"/>
                  <a:pt x="927963" y="1450212"/>
                </a:cubicBezTo>
                <a:cubicBezTo>
                  <a:pt x="926864" y="1448578"/>
                  <a:pt x="930161" y="1446616"/>
                  <a:pt x="930161" y="1446616"/>
                </a:cubicBezTo>
                <a:close/>
                <a:moveTo>
                  <a:pt x="6421929" y="1445363"/>
                </a:moveTo>
                <a:cubicBezTo>
                  <a:pt x="6424745" y="1445309"/>
                  <a:pt x="6429002" y="1447216"/>
                  <a:pt x="6435045" y="1452392"/>
                </a:cubicBezTo>
                <a:lnTo>
                  <a:pt x="6431200" y="1459802"/>
                </a:lnTo>
                <a:lnTo>
                  <a:pt x="6438617" y="1463725"/>
                </a:lnTo>
                <a:lnTo>
                  <a:pt x="6440814" y="1465469"/>
                </a:lnTo>
                <a:lnTo>
                  <a:pt x="6440539" y="1461109"/>
                </a:lnTo>
                <a:cubicBezTo>
                  <a:pt x="6442188" y="1456750"/>
                  <a:pt x="6444660" y="1453808"/>
                  <a:pt x="6444660" y="1452173"/>
                </a:cubicBezTo>
                <a:cubicBezTo>
                  <a:pt x="6450428" y="1450539"/>
                  <a:pt x="6450428" y="1450539"/>
                  <a:pt x="6455098" y="1461218"/>
                </a:cubicBezTo>
                <a:cubicBezTo>
                  <a:pt x="6455922" y="1463289"/>
                  <a:pt x="6455922" y="1465360"/>
                  <a:pt x="6455648" y="1467430"/>
                </a:cubicBezTo>
                <a:cubicBezTo>
                  <a:pt x="6455373" y="1469392"/>
                  <a:pt x="6454549" y="1471353"/>
                  <a:pt x="6452901" y="1472878"/>
                </a:cubicBezTo>
                <a:cubicBezTo>
                  <a:pt x="6452901" y="1474513"/>
                  <a:pt x="6452627" y="1476257"/>
                  <a:pt x="6451802" y="1477891"/>
                </a:cubicBezTo>
                <a:lnTo>
                  <a:pt x="6449879" y="1480398"/>
                </a:lnTo>
                <a:lnTo>
                  <a:pt x="6449879" y="1481814"/>
                </a:lnTo>
                <a:lnTo>
                  <a:pt x="6449330" y="1481269"/>
                </a:lnTo>
                <a:lnTo>
                  <a:pt x="6448781" y="1481705"/>
                </a:lnTo>
                <a:cubicBezTo>
                  <a:pt x="6447133" y="1482250"/>
                  <a:pt x="6445484" y="1482142"/>
                  <a:pt x="6444111" y="1481705"/>
                </a:cubicBezTo>
                <a:cubicBezTo>
                  <a:pt x="6443012" y="1481269"/>
                  <a:pt x="6442188" y="1480289"/>
                  <a:pt x="6441913" y="1479308"/>
                </a:cubicBezTo>
                <a:lnTo>
                  <a:pt x="6441639" y="1475058"/>
                </a:lnTo>
                <a:lnTo>
                  <a:pt x="6439990" y="1473860"/>
                </a:lnTo>
                <a:cubicBezTo>
                  <a:pt x="6438342" y="1472443"/>
                  <a:pt x="6436694" y="1470808"/>
                  <a:pt x="6434221" y="1468847"/>
                </a:cubicBezTo>
                <a:lnTo>
                  <a:pt x="6427079" y="1463398"/>
                </a:lnTo>
                <a:lnTo>
                  <a:pt x="6425157" y="1464270"/>
                </a:lnTo>
                <a:cubicBezTo>
                  <a:pt x="6422959" y="1463943"/>
                  <a:pt x="6420762" y="1461763"/>
                  <a:pt x="6419388" y="1458930"/>
                </a:cubicBezTo>
                <a:lnTo>
                  <a:pt x="6418838" y="1456206"/>
                </a:lnTo>
                <a:lnTo>
                  <a:pt x="6415542" y="1453046"/>
                </a:lnTo>
                <a:cubicBezTo>
                  <a:pt x="6416366" y="1451520"/>
                  <a:pt x="6417465" y="1449885"/>
                  <a:pt x="6417465" y="1449885"/>
                </a:cubicBezTo>
                <a:lnTo>
                  <a:pt x="6417465" y="1450103"/>
                </a:lnTo>
                <a:cubicBezTo>
                  <a:pt x="6417740" y="1447434"/>
                  <a:pt x="6419113" y="1445418"/>
                  <a:pt x="6421929" y="1445363"/>
                </a:cubicBezTo>
                <a:close/>
                <a:moveTo>
                  <a:pt x="6359505" y="1445200"/>
                </a:moveTo>
                <a:cubicBezTo>
                  <a:pt x="6363900" y="1449123"/>
                  <a:pt x="6363900" y="1449123"/>
                  <a:pt x="6359505" y="1455007"/>
                </a:cubicBezTo>
                <a:cubicBezTo>
                  <a:pt x="6357307" y="1456969"/>
                  <a:pt x="6352362" y="1459039"/>
                  <a:pt x="6347143" y="1460019"/>
                </a:cubicBezTo>
                <a:cubicBezTo>
                  <a:pt x="6344397" y="1460564"/>
                  <a:pt x="6341924" y="1460783"/>
                  <a:pt x="6339452" y="1460564"/>
                </a:cubicBezTo>
                <a:cubicBezTo>
                  <a:pt x="6336979" y="1460456"/>
                  <a:pt x="6334782" y="1460019"/>
                  <a:pt x="6333134" y="1459039"/>
                </a:cubicBezTo>
                <a:cubicBezTo>
                  <a:pt x="6335331" y="1455116"/>
                  <a:pt x="6337529" y="1451084"/>
                  <a:pt x="6339727" y="1447161"/>
                </a:cubicBezTo>
                <a:cubicBezTo>
                  <a:pt x="6339727" y="1449123"/>
                  <a:pt x="6359505" y="1445200"/>
                  <a:pt x="6359505" y="1445200"/>
                </a:cubicBezTo>
                <a:close/>
                <a:moveTo>
                  <a:pt x="6511686" y="1424059"/>
                </a:moveTo>
                <a:cubicBezTo>
                  <a:pt x="6513334" y="1424821"/>
                  <a:pt x="6515531" y="1427982"/>
                  <a:pt x="6517180" y="1428744"/>
                </a:cubicBezTo>
                <a:cubicBezTo>
                  <a:pt x="6518828" y="1429616"/>
                  <a:pt x="6522948" y="1429398"/>
                  <a:pt x="6525969" y="1431033"/>
                </a:cubicBezTo>
                <a:cubicBezTo>
                  <a:pt x="6527618" y="1431796"/>
                  <a:pt x="6529266" y="1432559"/>
                  <a:pt x="6528442" y="1434193"/>
                </a:cubicBezTo>
                <a:cubicBezTo>
                  <a:pt x="6530090" y="1434956"/>
                  <a:pt x="6539430" y="1443456"/>
                  <a:pt x="6533387" y="1454353"/>
                </a:cubicBezTo>
                <a:cubicBezTo>
                  <a:pt x="6534211" y="1452827"/>
                  <a:pt x="6534211" y="1452827"/>
                  <a:pt x="6534211" y="1452827"/>
                </a:cubicBezTo>
                <a:cubicBezTo>
                  <a:pt x="6535859" y="1453590"/>
                  <a:pt x="6535310" y="1461437"/>
                  <a:pt x="6536134" y="1463833"/>
                </a:cubicBezTo>
                <a:cubicBezTo>
                  <a:pt x="6535310" y="1465360"/>
                  <a:pt x="6532837" y="1466122"/>
                  <a:pt x="6531189" y="1469283"/>
                </a:cubicBezTo>
                <a:cubicBezTo>
                  <a:pt x="6528442" y="1473968"/>
                  <a:pt x="6539430" y="1483231"/>
                  <a:pt x="6541078" y="1483994"/>
                </a:cubicBezTo>
                <a:cubicBezTo>
                  <a:pt x="6541078" y="1483994"/>
                  <a:pt x="6541078" y="1483994"/>
                  <a:pt x="6542451" y="1484757"/>
                </a:cubicBezTo>
                <a:cubicBezTo>
                  <a:pt x="6542451" y="1484757"/>
                  <a:pt x="6540803" y="1487917"/>
                  <a:pt x="6542451" y="1488680"/>
                </a:cubicBezTo>
                <a:cubicBezTo>
                  <a:pt x="6542451" y="1488680"/>
                  <a:pt x="6542451" y="1488789"/>
                  <a:pt x="6543275" y="1487154"/>
                </a:cubicBezTo>
                <a:cubicBezTo>
                  <a:pt x="6542451" y="1488789"/>
                  <a:pt x="6547121" y="1494891"/>
                  <a:pt x="6544375" y="1499686"/>
                </a:cubicBezTo>
                <a:cubicBezTo>
                  <a:pt x="6546022" y="1500449"/>
                  <a:pt x="6544649" y="1513634"/>
                  <a:pt x="6535310" y="1526929"/>
                </a:cubicBezTo>
                <a:cubicBezTo>
                  <a:pt x="6533936" y="1526384"/>
                  <a:pt x="6523223" y="1539025"/>
                  <a:pt x="6512235" y="1541859"/>
                </a:cubicBezTo>
                <a:cubicBezTo>
                  <a:pt x="6510586" y="1542295"/>
                  <a:pt x="6508664" y="1542621"/>
                  <a:pt x="6506741" y="1542404"/>
                </a:cubicBezTo>
                <a:cubicBezTo>
                  <a:pt x="6505093" y="1542185"/>
                  <a:pt x="6503170" y="1541641"/>
                  <a:pt x="6501522" y="1540551"/>
                </a:cubicBezTo>
                <a:cubicBezTo>
                  <a:pt x="6499873" y="1539788"/>
                  <a:pt x="6499873" y="1539788"/>
                  <a:pt x="6499873" y="1539788"/>
                </a:cubicBezTo>
                <a:cubicBezTo>
                  <a:pt x="6498226" y="1542948"/>
                  <a:pt x="6491908" y="1535865"/>
                  <a:pt x="6486963" y="1537499"/>
                </a:cubicBezTo>
                <a:cubicBezTo>
                  <a:pt x="6488611" y="1538262"/>
                  <a:pt x="6467459" y="1518102"/>
                  <a:pt x="6470207" y="1513417"/>
                </a:cubicBezTo>
                <a:cubicBezTo>
                  <a:pt x="6471031" y="1511891"/>
                  <a:pt x="6472678" y="1512654"/>
                  <a:pt x="6472678" y="1512654"/>
                </a:cubicBezTo>
                <a:cubicBezTo>
                  <a:pt x="6474328" y="1509494"/>
                  <a:pt x="6471305" y="1507968"/>
                  <a:pt x="6471305" y="1507968"/>
                </a:cubicBezTo>
                <a:cubicBezTo>
                  <a:pt x="6472129" y="1506333"/>
                  <a:pt x="6472129" y="1506333"/>
                  <a:pt x="6472953" y="1504808"/>
                </a:cubicBezTo>
                <a:cubicBezTo>
                  <a:pt x="6478173" y="1495327"/>
                  <a:pt x="6471305" y="1482142"/>
                  <a:pt x="6475426" y="1478219"/>
                </a:cubicBezTo>
                <a:cubicBezTo>
                  <a:pt x="6479821" y="1470372"/>
                  <a:pt x="6469932" y="1459584"/>
                  <a:pt x="6471580" y="1456424"/>
                </a:cubicBezTo>
                <a:cubicBezTo>
                  <a:pt x="6471580" y="1456424"/>
                  <a:pt x="6471580" y="1456315"/>
                  <a:pt x="6469932" y="1455552"/>
                </a:cubicBezTo>
                <a:cubicBezTo>
                  <a:pt x="6469932" y="1455552"/>
                  <a:pt x="6470756" y="1454026"/>
                  <a:pt x="6470756" y="1454026"/>
                </a:cubicBezTo>
                <a:cubicBezTo>
                  <a:pt x="6470756" y="1454026"/>
                  <a:pt x="6471855" y="1452501"/>
                  <a:pt x="6471855" y="1452501"/>
                </a:cubicBezTo>
                <a:cubicBezTo>
                  <a:pt x="6475151" y="1446289"/>
                  <a:pt x="6477074" y="1439206"/>
                  <a:pt x="6480645" y="1432995"/>
                </a:cubicBezTo>
                <a:cubicBezTo>
                  <a:pt x="6482293" y="1433757"/>
                  <a:pt x="6483941" y="1430597"/>
                  <a:pt x="6488062" y="1430597"/>
                </a:cubicBezTo>
                <a:cubicBezTo>
                  <a:pt x="6490535" y="1429726"/>
                  <a:pt x="6490535" y="1429834"/>
                  <a:pt x="6490535" y="1429834"/>
                </a:cubicBezTo>
                <a:cubicBezTo>
                  <a:pt x="6493830" y="1423514"/>
                  <a:pt x="6507565" y="1424059"/>
                  <a:pt x="6509213" y="1424821"/>
                </a:cubicBezTo>
                <a:cubicBezTo>
                  <a:pt x="6509213" y="1424821"/>
                  <a:pt x="6511686" y="1424059"/>
                  <a:pt x="6511686" y="1424059"/>
                </a:cubicBezTo>
                <a:close/>
                <a:moveTo>
                  <a:pt x="2288527" y="1412616"/>
                </a:moveTo>
                <a:cubicBezTo>
                  <a:pt x="2298416" y="1418501"/>
                  <a:pt x="2304184" y="1425584"/>
                  <a:pt x="2299240" y="1437463"/>
                </a:cubicBezTo>
                <a:cubicBezTo>
                  <a:pt x="2297592" y="1436482"/>
                  <a:pt x="2296218" y="1438225"/>
                  <a:pt x="2295119" y="1440078"/>
                </a:cubicBezTo>
                <a:cubicBezTo>
                  <a:pt x="2289076" y="1441277"/>
                  <a:pt x="2283582" y="1436155"/>
                  <a:pt x="2280835" y="1429943"/>
                </a:cubicBezTo>
                <a:cubicBezTo>
                  <a:pt x="2278088" y="1423731"/>
                  <a:pt x="2278088" y="1416431"/>
                  <a:pt x="2283033" y="1413706"/>
                </a:cubicBezTo>
                <a:cubicBezTo>
                  <a:pt x="2284406" y="1412944"/>
                  <a:pt x="2286329" y="1412508"/>
                  <a:pt x="2288527" y="1412616"/>
                </a:cubicBezTo>
                <a:close/>
                <a:moveTo>
                  <a:pt x="2323688" y="1412508"/>
                </a:moveTo>
                <a:cubicBezTo>
                  <a:pt x="2328082" y="1411091"/>
                  <a:pt x="2331104" y="1411527"/>
                  <a:pt x="2333576" y="1413598"/>
                </a:cubicBezTo>
                <a:cubicBezTo>
                  <a:pt x="2336049" y="1415668"/>
                  <a:pt x="2337971" y="1419264"/>
                  <a:pt x="2339345" y="1424385"/>
                </a:cubicBezTo>
                <a:cubicBezTo>
                  <a:pt x="2337148" y="1425475"/>
                  <a:pt x="2335225" y="1425584"/>
                  <a:pt x="2333851" y="1425149"/>
                </a:cubicBezTo>
                <a:cubicBezTo>
                  <a:pt x="2329182" y="1423950"/>
                  <a:pt x="2327533" y="1417412"/>
                  <a:pt x="2323688" y="1412508"/>
                </a:cubicBezTo>
                <a:close/>
                <a:moveTo>
                  <a:pt x="6352362" y="1411200"/>
                </a:moveTo>
                <a:cubicBezTo>
                  <a:pt x="6354835" y="1410546"/>
                  <a:pt x="6358131" y="1410873"/>
                  <a:pt x="6361153" y="1412725"/>
                </a:cubicBezTo>
                <a:cubicBezTo>
                  <a:pt x="6362526" y="1416976"/>
                  <a:pt x="6358680" y="1427328"/>
                  <a:pt x="6354560" y="1428418"/>
                </a:cubicBezTo>
                <a:cubicBezTo>
                  <a:pt x="6341100" y="1424059"/>
                  <a:pt x="6344397" y="1413161"/>
                  <a:pt x="6352362" y="1411200"/>
                </a:cubicBezTo>
                <a:close/>
                <a:moveTo>
                  <a:pt x="6380656" y="1410546"/>
                </a:moveTo>
                <a:cubicBezTo>
                  <a:pt x="6391369" y="1416758"/>
                  <a:pt x="6398237" y="1424168"/>
                  <a:pt x="6394940" y="1435828"/>
                </a:cubicBezTo>
                <a:cubicBezTo>
                  <a:pt x="6393018" y="1434738"/>
                  <a:pt x="6392194" y="1436590"/>
                  <a:pt x="6391369" y="1438334"/>
                </a:cubicBezTo>
                <a:cubicBezTo>
                  <a:pt x="6379283" y="1440296"/>
                  <a:pt x="6366372" y="1416648"/>
                  <a:pt x="6375437" y="1411527"/>
                </a:cubicBezTo>
                <a:cubicBezTo>
                  <a:pt x="6376811" y="1410764"/>
                  <a:pt x="6378459" y="1410437"/>
                  <a:pt x="6380656" y="1410546"/>
                </a:cubicBezTo>
                <a:close/>
                <a:moveTo>
                  <a:pt x="2347586" y="1404335"/>
                </a:moveTo>
                <a:cubicBezTo>
                  <a:pt x="2345938" y="1408693"/>
                  <a:pt x="2344015" y="1413270"/>
                  <a:pt x="2340994" y="1414360"/>
                </a:cubicBezTo>
                <a:cubicBezTo>
                  <a:pt x="2339895" y="1414687"/>
                  <a:pt x="2338521" y="1414796"/>
                  <a:pt x="2337148" y="1414251"/>
                </a:cubicBezTo>
                <a:cubicBezTo>
                  <a:pt x="2334676" y="1407713"/>
                  <a:pt x="2339895" y="1400411"/>
                  <a:pt x="2347586" y="1404335"/>
                </a:cubicBezTo>
                <a:close/>
                <a:moveTo>
                  <a:pt x="6207599" y="1401610"/>
                </a:moveTo>
                <a:lnTo>
                  <a:pt x="6207874" y="1401719"/>
                </a:lnTo>
                <a:lnTo>
                  <a:pt x="6207874" y="1401610"/>
                </a:lnTo>
                <a:close/>
                <a:moveTo>
                  <a:pt x="1044983" y="1383194"/>
                </a:moveTo>
                <a:cubicBezTo>
                  <a:pt x="1046906" y="1383630"/>
                  <a:pt x="1046906" y="1383630"/>
                  <a:pt x="1048829" y="1387226"/>
                </a:cubicBezTo>
                <a:cubicBezTo>
                  <a:pt x="1046906" y="1386790"/>
                  <a:pt x="1046906" y="1386790"/>
                  <a:pt x="1046356" y="1388751"/>
                </a:cubicBezTo>
                <a:cubicBezTo>
                  <a:pt x="1046356" y="1388751"/>
                  <a:pt x="1046356" y="1388751"/>
                  <a:pt x="1046906" y="1389950"/>
                </a:cubicBezTo>
                <a:cubicBezTo>
                  <a:pt x="1045807" y="1390713"/>
                  <a:pt x="1045257" y="1389515"/>
                  <a:pt x="1043884" y="1390168"/>
                </a:cubicBezTo>
                <a:cubicBezTo>
                  <a:pt x="1043884" y="1390168"/>
                  <a:pt x="1043335" y="1388970"/>
                  <a:pt x="1043335" y="1388970"/>
                </a:cubicBezTo>
                <a:cubicBezTo>
                  <a:pt x="1042786" y="1389405"/>
                  <a:pt x="1042786" y="1389405"/>
                  <a:pt x="1042786" y="1388861"/>
                </a:cubicBezTo>
                <a:cubicBezTo>
                  <a:pt x="1043061" y="1388425"/>
                  <a:pt x="1043335" y="1387443"/>
                  <a:pt x="1043335" y="1385809"/>
                </a:cubicBezTo>
                <a:cubicBezTo>
                  <a:pt x="1043884" y="1383848"/>
                  <a:pt x="1043061" y="1382758"/>
                  <a:pt x="1044983" y="1383194"/>
                </a:cubicBezTo>
                <a:close/>
                <a:moveTo>
                  <a:pt x="6593819" y="1382172"/>
                </a:moveTo>
                <a:cubicBezTo>
                  <a:pt x="6599176" y="1381069"/>
                  <a:pt x="6606181" y="1381014"/>
                  <a:pt x="6613597" y="1385591"/>
                </a:cubicBezTo>
                <a:cubicBezTo>
                  <a:pt x="6613597" y="1385591"/>
                  <a:pt x="6612224" y="1384828"/>
                  <a:pt x="6613048" y="1383194"/>
                </a:cubicBezTo>
                <a:cubicBezTo>
                  <a:pt x="6614696" y="1383957"/>
                  <a:pt x="6625409" y="1393219"/>
                  <a:pt x="6624585" y="1394745"/>
                </a:cubicBezTo>
                <a:cubicBezTo>
                  <a:pt x="6624585" y="1394745"/>
                  <a:pt x="6624585" y="1394854"/>
                  <a:pt x="6623761" y="1396488"/>
                </a:cubicBezTo>
                <a:cubicBezTo>
                  <a:pt x="6631453" y="1404117"/>
                  <a:pt x="6627607" y="1418174"/>
                  <a:pt x="6620740" y="1430706"/>
                </a:cubicBezTo>
                <a:cubicBezTo>
                  <a:pt x="6618267" y="1431469"/>
                  <a:pt x="6614971" y="1433866"/>
                  <a:pt x="6612499" y="1434738"/>
                </a:cubicBezTo>
                <a:cubicBezTo>
                  <a:pt x="6611675" y="1435828"/>
                  <a:pt x="6605082" y="1441821"/>
                  <a:pt x="6596292" y="1442257"/>
                </a:cubicBezTo>
                <a:cubicBezTo>
                  <a:pt x="6593545" y="1442366"/>
                  <a:pt x="6590248" y="1441930"/>
                  <a:pt x="6587226" y="1440404"/>
                </a:cubicBezTo>
                <a:cubicBezTo>
                  <a:pt x="6579260" y="1436590"/>
                  <a:pt x="6562230" y="1420353"/>
                  <a:pt x="6569371" y="1407822"/>
                </a:cubicBezTo>
                <a:cubicBezTo>
                  <a:pt x="6569371" y="1403899"/>
                  <a:pt x="6571019" y="1400739"/>
                  <a:pt x="6572943" y="1397687"/>
                </a:cubicBezTo>
                <a:cubicBezTo>
                  <a:pt x="6576238" y="1391366"/>
                  <a:pt x="6580359" y="1391366"/>
                  <a:pt x="6583930" y="1385047"/>
                </a:cubicBezTo>
                <a:cubicBezTo>
                  <a:pt x="6584754" y="1385428"/>
                  <a:pt x="6588462" y="1383276"/>
                  <a:pt x="6593819" y="1382172"/>
                </a:cubicBezTo>
                <a:close/>
                <a:moveTo>
                  <a:pt x="2251717" y="1380470"/>
                </a:moveTo>
                <a:cubicBezTo>
                  <a:pt x="2261057" y="1383085"/>
                  <a:pt x="2267650" y="1390495"/>
                  <a:pt x="2271496" y="1399648"/>
                </a:cubicBezTo>
                <a:lnTo>
                  <a:pt x="2272594" y="1426020"/>
                </a:lnTo>
                <a:lnTo>
                  <a:pt x="2273143" y="1425693"/>
                </a:lnTo>
                <a:cubicBezTo>
                  <a:pt x="2273693" y="1425584"/>
                  <a:pt x="2273967" y="1425803"/>
                  <a:pt x="2274242" y="1426674"/>
                </a:cubicBezTo>
                <a:cubicBezTo>
                  <a:pt x="2274517" y="1428636"/>
                  <a:pt x="2274517" y="1428744"/>
                  <a:pt x="2272045" y="1432450"/>
                </a:cubicBezTo>
                <a:lnTo>
                  <a:pt x="2271496" y="1430815"/>
                </a:lnTo>
                <a:lnTo>
                  <a:pt x="2269023" y="1434520"/>
                </a:lnTo>
                <a:lnTo>
                  <a:pt x="2270397" y="1437463"/>
                </a:lnTo>
                <a:cubicBezTo>
                  <a:pt x="2269573" y="1438988"/>
                  <a:pt x="2268473" y="1439969"/>
                  <a:pt x="2267375" y="1440623"/>
                </a:cubicBezTo>
                <a:lnTo>
                  <a:pt x="2264628" y="1441386"/>
                </a:lnTo>
                <a:lnTo>
                  <a:pt x="2261606" y="1445635"/>
                </a:lnTo>
                <a:cubicBezTo>
                  <a:pt x="2250619" y="1443238"/>
                  <a:pt x="2243202" y="1436809"/>
                  <a:pt x="2239356" y="1428309"/>
                </a:cubicBezTo>
                <a:cubicBezTo>
                  <a:pt x="2237434" y="1424821"/>
                  <a:pt x="2236334" y="1421007"/>
                  <a:pt x="2236059" y="1416976"/>
                </a:cubicBezTo>
                <a:lnTo>
                  <a:pt x="2236059" y="1416867"/>
                </a:lnTo>
                <a:lnTo>
                  <a:pt x="2228643" y="1419046"/>
                </a:lnTo>
                <a:cubicBezTo>
                  <a:pt x="2207766" y="1421444"/>
                  <a:pt x="2220127" y="1387335"/>
                  <a:pt x="2230566" y="1390931"/>
                </a:cubicBezTo>
                <a:cubicBezTo>
                  <a:pt x="2232489" y="1391694"/>
                  <a:pt x="2234412" y="1393655"/>
                  <a:pt x="2236059" y="1397687"/>
                </a:cubicBezTo>
                <a:lnTo>
                  <a:pt x="2237159" y="1401284"/>
                </a:lnTo>
                <a:lnTo>
                  <a:pt x="2239905" y="1392348"/>
                </a:lnTo>
                <a:cubicBezTo>
                  <a:pt x="2241828" y="1388425"/>
                  <a:pt x="2244301" y="1384502"/>
                  <a:pt x="2247322" y="1381014"/>
                </a:cubicBezTo>
                <a:cubicBezTo>
                  <a:pt x="2249245" y="1381668"/>
                  <a:pt x="2250893" y="1382431"/>
                  <a:pt x="2251717" y="1380470"/>
                </a:cubicBezTo>
                <a:close/>
                <a:moveTo>
                  <a:pt x="2372308" y="1373822"/>
                </a:moveTo>
                <a:cubicBezTo>
                  <a:pt x="2376978" y="1377745"/>
                  <a:pt x="2376154" y="1384284"/>
                  <a:pt x="2387416" y="1384938"/>
                </a:cubicBezTo>
                <a:lnTo>
                  <a:pt x="2382747" y="1389623"/>
                </a:lnTo>
                <a:lnTo>
                  <a:pt x="2383846" y="1389623"/>
                </a:lnTo>
                <a:lnTo>
                  <a:pt x="2378077" y="1397033"/>
                </a:lnTo>
                <a:lnTo>
                  <a:pt x="2377527" y="1399103"/>
                </a:lnTo>
                <a:cubicBezTo>
                  <a:pt x="2377802" y="1401501"/>
                  <a:pt x="2377527" y="1404117"/>
                  <a:pt x="2375055" y="1405969"/>
                </a:cubicBezTo>
                <a:lnTo>
                  <a:pt x="2368463" y="1403463"/>
                </a:lnTo>
                <a:lnTo>
                  <a:pt x="2367364" y="1404335"/>
                </a:lnTo>
                <a:cubicBezTo>
                  <a:pt x="2360496" y="1407059"/>
                  <a:pt x="2353080" y="1407931"/>
                  <a:pt x="2348410" y="1407495"/>
                </a:cubicBezTo>
                <a:cubicBezTo>
                  <a:pt x="2350058" y="1403899"/>
                  <a:pt x="2352531" y="1400739"/>
                  <a:pt x="2355277" y="1398123"/>
                </a:cubicBezTo>
                <a:lnTo>
                  <a:pt x="2363244" y="1393002"/>
                </a:lnTo>
                <a:lnTo>
                  <a:pt x="2362420" y="1388642"/>
                </a:lnTo>
                <a:lnTo>
                  <a:pt x="2358299" y="1395072"/>
                </a:lnTo>
                <a:cubicBezTo>
                  <a:pt x="2351157" y="1402483"/>
                  <a:pt x="2341268" y="1403790"/>
                  <a:pt x="2331379" y="1405207"/>
                </a:cubicBezTo>
                <a:cubicBezTo>
                  <a:pt x="2331654" y="1397796"/>
                  <a:pt x="2336598" y="1392893"/>
                  <a:pt x="2343191" y="1389732"/>
                </a:cubicBezTo>
                <a:lnTo>
                  <a:pt x="2362145" y="1385918"/>
                </a:lnTo>
                <a:lnTo>
                  <a:pt x="2362145" y="1381559"/>
                </a:lnTo>
                <a:cubicBezTo>
                  <a:pt x="2364617" y="1379706"/>
                  <a:pt x="2366539" y="1379597"/>
                  <a:pt x="2368463" y="1380470"/>
                </a:cubicBezTo>
                <a:lnTo>
                  <a:pt x="2371484" y="1382540"/>
                </a:lnTo>
                <a:close/>
                <a:moveTo>
                  <a:pt x="6511961" y="1366957"/>
                </a:moveTo>
                <a:cubicBezTo>
                  <a:pt x="6512785" y="1368919"/>
                  <a:pt x="6514707" y="1368482"/>
                  <a:pt x="6516630" y="1367937"/>
                </a:cubicBezTo>
                <a:cubicBezTo>
                  <a:pt x="6517729" y="1370880"/>
                  <a:pt x="6519652" y="1375457"/>
                  <a:pt x="6517455" y="1378399"/>
                </a:cubicBezTo>
                <a:cubicBezTo>
                  <a:pt x="6516905" y="1379380"/>
                  <a:pt x="6515806" y="1380143"/>
                  <a:pt x="6513883" y="1380688"/>
                </a:cubicBezTo>
                <a:cubicBezTo>
                  <a:pt x="6513609" y="1381341"/>
                  <a:pt x="6511961" y="1381341"/>
                  <a:pt x="6510312" y="1380796"/>
                </a:cubicBezTo>
                <a:cubicBezTo>
                  <a:pt x="6508664" y="1380251"/>
                  <a:pt x="6507291" y="1379380"/>
                  <a:pt x="6506741" y="1378399"/>
                </a:cubicBezTo>
                <a:cubicBezTo>
                  <a:pt x="6504269" y="1373713"/>
                  <a:pt x="6508389" y="1371207"/>
                  <a:pt x="6511961" y="1366957"/>
                </a:cubicBezTo>
                <a:close/>
                <a:moveTo>
                  <a:pt x="6585544" y="1364491"/>
                </a:moveTo>
                <a:cubicBezTo>
                  <a:pt x="6587501" y="1364233"/>
                  <a:pt x="6589699" y="1365104"/>
                  <a:pt x="6591896" y="1365976"/>
                </a:cubicBezTo>
                <a:cubicBezTo>
                  <a:pt x="6589150" y="1370226"/>
                  <a:pt x="6594918" y="1373387"/>
                  <a:pt x="6589425" y="1376111"/>
                </a:cubicBezTo>
                <a:cubicBezTo>
                  <a:pt x="6586402" y="1376002"/>
                  <a:pt x="6583656" y="1374367"/>
                  <a:pt x="6580634" y="1369790"/>
                </a:cubicBezTo>
                <a:cubicBezTo>
                  <a:pt x="6581870" y="1366140"/>
                  <a:pt x="6583587" y="1364750"/>
                  <a:pt x="6585544" y="1364491"/>
                </a:cubicBezTo>
                <a:close/>
                <a:moveTo>
                  <a:pt x="767541" y="1359983"/>
                </a:moveTo>
                <a:cubicBezTo>
                  <a:pt x="768365" y="1360309"/>
                  <a:pt x="769464" y="1360854"/>
                  <a:pt x="771388" y="1361073"/>
                </a:cubicBezTo>
                <a:cubicBezTo>
                  <a:pt x="773859" y="1362271"/>
                  <a:pt x="775782" y="1361727"/>
                  <a:pt x="774409" y="1364014"/>
                </a:cubicBezTo>
                <a:cubicBezTo>
                  <a:pt x="773310" y="1366303"/>
                  <a:pt x="773310" y="1366303"/>
                  <a:pt x="767816" y="1368046"/>
                </a:cubicBezTo>
                <a:cubicBezTo>
                  <a:pt x="769189" y="1365758"/>
                  <a:pt x="769189" y="1365758"/>
                  <a:pt x="766718" y="1364668"/>
                </a:cubicBezTo>
                <a:cubicBezTo>
                  <a:pt x="766718" y="1364668"/>
                  <a:pt x="766718" y="1364560"/>
                  <a:pt x="764794" y="1365213"/>
                </a:cubicBezTo>
                <a:cubicBezTo>
                  <a:pt x="764244" y="1363469"/>
                  <a:pt x="766168" y="1362925"/>
                  <a:pt x="765344" y="1361182"/>
                </a:cubicBezTo>
                <a:cubicBezTo>
                  <a:pt x="765344" y="1361182"/>
                  <a:pt x="767266" y="1360528"/>
                  <a:pt x="767266" y="1360528"/>
                </a:cubicBezTo>
                <a:cubicBezTo>
                  <a:pt x="766992" y="1359765"/>
                  <a:pt x="766992" y="1359765"/>
                  <a:pt x="767541" y="1359983"/>
                </a:cubicBezTo>
                <a:close/>
                <a:moveTo>
                  <a:pt x="2361046" y="1359220"/>
                </a:moveTo>
                <a:cubicBezTo>
                  <a:pt x="2363793" y="1362707"/>
                  <a:pt x="2360496" y="1366630"/>
                  <a:pt x="2359123" y="1366412"/>
                </a:cubicBezTo>
                <a:cubicBezTo>
                  <a:pt x="2357750" y="1364668"/>
                  <a:pt x="2358025" y="1361727"/>
                  <a:pt x="2356651" y="1359983"/>
                </a:cubicBezTo>
                <a:cubicBezTo>
                  <a:pt x="2358025" y="1360309"/>
                  <a:pt x="2359672" y="1359002"/>
                  <a:pt x="2361046" y="1359220"/>
                </a:cubicBezTo>
                <a:close/>
                <a:moveTo>
                  <a:pt x="2144862" y="1358675"/>
                </a:moveTo>
                <a:cubicBezTo>
                  <a:pt x="2147333" y="1358239"/>
                  <a:pt x="2150905" y="1358675"/>
                  <a:pt x="2155575" y="1360092"/>
                </a:cubicBezTo>
                <a:cubicBezTo>
                  <a:pt x="2153651" y="1368265"/>
                  <a:pt x="2151729" y="1376437"/>
                  <a:pt x="2145685" y="1377418"/>
                </a:cubicBezTo>
                <a:cubicBezTo>
                  <a:pt x="2143762" y="1377745"/>
                  <a:pt x="2141290" y="1377310"/>
                  <a:pt x="2137993" y="1375783"/>
                </a:cubicBezTo>
                <a:cubicBezTo>
                  <a:pt x="2137169" y="1368591"/>
                  <a:pt x="2136895" y="1359983"/>
                  <a:pt x="2144862" y="1358675"/>
                </a:cubicBezTo>
                <a:close/>
                <a:moveTo>
                  <a:pt x="988671" y="1358457"/>
                </a:moveTo>
                <a:cubicBezTo>
                  <a:pt x="996087" y="1353444"/>
                  <a:pt x="1018887" y="1376220"/>
                  <a:pt x="988671" y="1374803"/>
                </a:cubicBezTo>
                <a:cubicBezTo>
                  <a:pt x="985099" y="1364887"/>
                  <a:pt x="985924" y="1360200"/>
                  <a:pt x="988671" y="1358457"/>
                </a:cubicBezTo>
                <a:close/>
                <a:moveTo>
                  <a:pt x="6315553" y="1353989"/>
                </a:moveTo>
                <a:cubicBezTo>
                  <a:pt x="6315553" y="1356060"/>
                  <a:pt x="6311433" y="1360092"/>
                  <a:pt x="6309235" y="1362162"/>
                </a:cubicBezTo>
                <a:cubicBezTo>
                  <a:pt x="6309235" y="1364123"/>
                  <a:pt x="6307038" y="1366194"/>
                  <a:pt x="6304840" y="1366194"/>
                </a:cubicBezTo>
                <a:cubicBezTo>
                  <a:pt x="6304840" y="1366194"/>
                  <a:pt x="6302917" y="1368156"/>
                  <a:pt x="6302917" y="1370226"/>
                </a:cubicBezTo>
                <a:cubicBezTo>
                  <a:pt x="6298522" y="1374258"/>
                  <a:pt x="6296325" y="1374258"/>
                  <a:pt x="6294127" y="1374258"/>
                </a:cubicBezTo>
                <a:cubicBezTo>
                  <a:pt x="6294127" y="1374258"/>
                  <a:pt x="6296325" y="1372188"/>
                  <a:pt x="6296325" y="1370226"/>
                </a:cubicBezTo>
                <a:cubicBezTo>
                  <a:pt x="6296325" y="1370226"/>
                  <a:pt x="6298522" y="1368156"/>
                  <a:pt x="6300720" y="1366194"/>
                </a:cubicBezTo>
                <a:cubicBezTo>
                  <a:pt x="6300720" y="1366194"/>
                  <a:pt x="6300720" y="1364123"/>
                  <a:pt x="6300720" y="1362162"/>
                </a:cubicBezTo>
                <a:cubicBezTo>
                  <a:pt x="6304840" y="1356060"/>
                  <a:pt x="6307038" y="1352028"/>
                  <a:pt x="6315553" y="1353989"/>
                </a:cubicBezTo>
                <a:close/>
                <a:moveTo>
                  <a:pt x="2006140" y="1353989"/>
                </a:moveTo>
                <a:cubicBezTo>
                  <a:pt x="2008063" y="1354534"/>
                  <a:pt x="2009712" y="1354643"/>
                  <a:pt x="2011085" y="1354861"/>
                </a:cubicBezTo>
                <a:lnTo>
                  <a:pt x="2013007" y="1355624"/>
                </a:lnTo>
                <a:lnTo>
                  <a:pt x="2013007" y="1355188"/>
                </a:lnTo>
                <a:lnTo>
                  <a:pt x="2016853" y="1355297"/>
                </a:lnTo>
                <a:lnTo>
                  <a:pt x="2018227" y="1354970"/>
                </a:lnTo>
                <a:lnTo>
                  <a:pt x="2018501" y="1355297"/>
                </a:lnTo>
                <a:lnTo>
                  <a:pt x="2020150" y="1355297"/>
                </a:lnTo>
                <a:cubicBezTo>
                  <a:pt x="2018501" y="1356822"/>
                  <a:pt x="2019601" y="1359983"/>
                  <a:pt x="2017952" y="1361399"/>
                </a:cubicBezTo>
                <a:cubicBezTo>
                  <a:pt x="2017952" y="1361399"/>
                  <a:pt x="2013557" y="1362925"/>
                  <a:pt x="2013557" y="1362925"/>
                </a:cubicBezTo>
                <a:cubicBezTo>
                  <a:pt x="2013007" y="1362053"/>
                  <a:pt x="2012458" y="1361727"/>
                  <a:pt x="2012733" y="1361508"/>
                </a:cubicBezTo>
                <a:cubicBezTo>
                  <a:pt x="2012733" y="1361399"/>
                  <a:pt x="2013007" y="1361290"/>
                  <a:pt x="2013832" y="1361290"/>
                </a:cubicBezTo>
                <a:lnTo>
                  <a:pt x="2013282" y="1359111"/>
                </a:lnTo>
                <a:lnTo>
                  <a:pt x="2011085" y="1360309"/>
                </a:lnTo>
                <a:cubicBezTo>
                  <a:pt x="2008613" y="1361835"/>
                  <a:pt x="2006140" y="1363034"/>
                  <a:pt x="2003668" y="1362925"/>
                </a:cubicBezTo>
                <a:cubicBezTo>
                  <a:pt x="2002569" y="1362598"/>
                  <a:pt x="2001470" y="1362380"/>
                  <a:pt x="2000921" y="1361617"/>
                </a:cubicBezTo>
                <a:cubicBezTo>
                  <a:pt x="2000372" y="1360963"/>
                  <a:pt x="1999822" y="1359874"/>
                  <a:pt x="2000372" y="1357804"/>
                </a:cubicBezTo>
                <a:cubicBezTo>
                  <a:pt x="1999822" y="1354534"/>
                  <a:pt x="2000921" y="1353771"/>
                  <a:pt x="2006140" y="1353989"/>
                </a:cubicBezTo>
                <a:close/>
                <a:moveTo>
                  <a:pt x="2297317" y="1353227"/>
                </a:moveTo>
                <a:cubicBezTo>
                  <a:pt x="2301437" y="1352246"/>
                  <a:pt x="2305557" y="1352354"/>
                  <a:pt x="2310502" y="1354534"/>
                </a:cubicBezTo>
                <a:cubicBezTo>
                  <a:pt x="2344564" y="1368374"/>
                  <a:pt x="2332203" y="1422097"/>
                  <a:pt x="2300888" y="1416867"/>
                </a:cubicBezTo>
                <a:cubicBezTo>
                  <a:pt x="2296493" y="1416104"/>
                  <a:pt x="2291549" y="1414251"/>
                  <a:pt x="2286604" y="1410764"/>
                </a:cubicBezTo>
                <a:cubicBezTo>
                  <a:pt x="2272869" y="1400521"/>
                  <a:pt x="2271221" y="1382322"/>
                  <a:pt x="2259135" y="1363906"/>
                </a:cubicBezTo>
                <a:lnTo>
                  <a:pt x="2262980" y="1364123"/>
                </a:lnTo>
                <a:lnTo>
                  <a:pt x="2262705" y="1362380"/>
                </a:lnTo>
                <a:cubicBezTo>
                  <a:pt x="2266002" y="1357804"/>
                  <a:pt x="2271221" y="1356169"/>
                  <a:pt x="2275342" y="1357476"/>
                </a:cubicBezTo>
                <a:lnTo>
                  <a:pt x="2280286" y="1361290"/>
                </a:lnTo>
                <a:lnTo>
                  <a:pt x="2288527" y="1356822"/>
                </a:lnTo>
                <a:cubicBezTo>
                  <a:pt x="2291549" y="1355297"/>
                  <a:pt x="2294295" y="1353989"/>
                  <a:pt x="2297317" y="1353227"/>
                </a:cubicBezTo>
                <a:close/>
                <a:moveTo>
                  <a:pt x="965321" y="1351265"/>
                </a:moveTo>
                <a:cubicBezTo>
                  <a:pt x="967245" y="1350938"/>
                  <a:pt x="969716" y="1351592"/>
                  <a:pt x="972189" y="1352791"/>
                </a:cubicBezTo>
                <a:cubicBezTo>
                  <a:pt x="977134" y="1355188"/>
                  <a:pt x="976584" y="1359329"/>
                  <a:pt x="976584" y="1359329"/>
                </a:cubicBezTo>
                <a:cubicBezTo>
                  <a:pt x="975211" y="1364342"/>
                  <a:pt x="971915" y="1367502"/>
                  <a:pt x="967245" y="1368156"/>
                </a:cubicBezTo>
                <a:cubicBezTo>
                  <a:pt x="965871" y="1368374"/>
                  <a:pt x="964223" y="1368265"/>
                  <a:pt x="962575" y="1367829"/>
                </a:cubicBezTo>
                <a:cubicBezTo>
                  <a:pt x="959278" y="1364777"/>
                  <a:pt x="960102" y="1360745"/>
                  <a:pt x="960652" y="1356496"/>
                </a:cubicBezTo>
                <a:cubicBezTo>
                  <a:pt x="961751" y="1353227"/>
                  <a:pt x="963398" y="1351701"/>
                  <a:pt x="965321" y="1351265"/>
                </a:cubicBezTo>
                <a:close/>
                <a:moveTo>
                  <a:pt x="2316820" y="1349303"/>
                </a:moveTo>
                <a:cubicBezTo>
                  <a:pt x="2320941" y="1346579"/>
                  <a:pt x="2332478" y="1354316"/>
                  <a:pt x="2336873" y="1358784"/>
                </a:cubicBezTo>
                <a:cubicBezTo>
                  <a:pt x="2335774" y="1359546"/>
                  <a:pt x="2334401" y="1359546"/>
                  <a:pt x="2332478" y="1359111"/>
                </a:cubicBezTo>
                <a:cubicBezTo>
                  <a:pt x="2327533" y="1357912"/>
                  <a:pt x="2320117" y="1352682"/>
                  <a:pt x="2316820" y="1349303"/>
                </a:cubicBezTo>
                <a:close/>
                <a:moveTo>
                  <a:pt x="2048443" y="1348649"/>
                </a:moveTo>
                <a:cubicBezTo>
                  <a:pt x="2048169" y="1352028"/>
                  <a:pt x="2049267" y="1354643"/>
                  <a:pt x="2048993" y="1357912"/>
                </a:cubicBezTo>
                <a:cubicBezTo>
                  <a:pt x="2045147" y="1359874"/>
                  <a:pt x="2043224" y="1364560"/>
                  <a:pt x="2039103" y="1364996"/>
                </a:cubicBezTo>
                <a:cubicBezTo>
                  <a:pt x="2037730" y="1365105"/>
                  <a:pt x="2036082" y="1364777"/>
                  <a:pt x="2034159" y="1363797"/>
                </a:cubicBezTo>
                <a:cubicBezTo>
                  <a:pt x="2031138" y="1355732"/>
                  <a:pt x="2039378" y="1345162"/>
                  <a:pt x="2048443" y="1348649"/>
                </a:cubicBezTo>
                <a:close/>
                <a:moveTo>
                  <a:pt x="2238258" y="1341676"/>
                </a:moveTo>
                <a:cubicBezTo>
                  <a:pt x="2247047" y="1345707"/>
                  <a:pt x="2249245" y="1351701"/>
                  <a:pt x="2247047" y="1355732"/>
                </a:cubicBezTo>
                <a:cubicBezTo>
                  <a:pt x="2234137" y="1389950"/>
                  <a:pt x="2200899" y="1386899"/>
                  <a:pt x="2195405" y="1391911"/>
                </a:cubicBezTo>
                <a:lnTo>
                  <a:pt x="2191010" y="1389515"/>
                </a:lnTo>
                <a:lnTo>
                  <a:pt x="2190186" y="1392456"/>
                </a:lnTo>
                <a:lnTo>
                  <a:pt x="2187439" y="1391694"/>
                </a:lnTo>
                <a:lnTo>
                  <a:pt x="2187989" y="1401392"/>
                </a:lnTo>
                <a:lnTo>
                  <a:pt x="2179198" y="1394091"/>
                </a:lnTo>
                <a:lnTo>
                  <a:pt x="2174528" y="1398450"/>
                </a:lnTo>
                <a:cubicBezTo>
                  <a:pt x="2173155" y="1399213"/>
                  <a:pt x="2171232" y="1399431"/>
                  <a:pt x="2169034" y="1398341"/>
                </a:cubicBezTo>
                <a:cubicBezTo>
                  <a:pt x="2166562" y="1394854"/>
                  <a:pt x="2162442" y="1392239"/>
                  <a:pt x="2161069" y="1387443"/>
                </a:cubicBezTo>
                <a:cubicBezTo>
                  <a:pt x="2160794" y="1385918"/>
                  <a:pt x="2160519" y="1384065"/>
                  <a:pt x="2161069" y="1381886"/>
                </a:cubicBezTo>
                <a:lnTo>
                  <a:pt x="2166562" y="1381995"/>
                </a:lnTo>
                <a:lnTo>
                  <a:pt x="2162991" y="1377636"/>
                </a:lnTo>
                <a:lnTo>
                  <a:pt x="2162167" y="1375675"/>
                </a:lnTo>
                <a:lnTo>
                  <a:pt x="2160794" y="1375239"/>
                </a:lnTo>
                <a:cubicBezTo>
                  <a:pt x="2159420" y="1375021"/>
                  <a:pt x="2158046" y="1373277"/>
                  <a:pt x="2156673" y="1373059"/>
                </a:cubicBezTo>
                <a:cubicBezTo>
                  <a:pt x="2156673" y="1373059"/>
                  <a:pt x="2156124" y="1371970"/>
                  <a:pt x="2156124" y="1370662"/>
                </a:cubicBezTo>
                <a:cubicBezTo>
                  <a:pt x="2156124" y="1369354"/>
                  <a:pt x="2156124" y="1367829"/>
                  <a:pt x="2156948" y="1367284"/>
                </a:cubicBezTo>
                <a:lnTo>
                  <a:pt x="2158321" y="1366630"/>
                </a:lnTo>
                <a:lnTo>
                  <a:pt x="2157497" y="1364777"/>
                </a:lnTo>
                <a:lnTo>
                  <a:pt x="2159420" y="1361944"/>
                </a:lnTo>
                <a:lnTo>
                  <a:pt x="2158321" y="1360200"/>
                </a:lnTo>
                <a:cubicBezTo>
                  <a:pt x="2160519" y="1345599"/>
                  <a:pt x="2165188" y="1347886"/>
                  <a:pt x="2172056" y="1348431"/>
                </a:cubicBezTo>
                <a:cubicBezTo>
                  <a:pt x="2172056" y="1351701"/>
                  <a:pt x="2175352" y="1354643"/>
                  <a:pt x="2173979" y="1358675"/>
                </a:cubicBezTo>
                <a:cubicBezTo>
                  <a:pt x="2173979" y="1358675"/>
                  <a:pt x="2173430" y="1360745"/>
                  <a:pt x="2170957" y="1362380"/>
                </a:cubicBezTo>
                <a:lnTo>
                  <a:pt x="2170133" y="1362816"/>
                </a:lnTo>
                <a:lnTo>
                  <a:pt x="2172056" y="1369899"/>
                </a:lnTo>
                <a:lnTo>
                  <a:pt x="2177825" y="1377418"/>
                </a:lnTo>
                <a:lnTo>
                  <a:pt x="2177001" y="1368374"/>
                </a:lnTo>
                <a:cubicBezTo>
                  <a:pt x="2178923" y="1358893"/>
                  <a:pt x="2183868" y="1349303"/>
                  <a:pt x="2198427" y="1351809"/>
                </a:cubicBezTo>
                <a:lnTo>
                  <a:pt x="2201723" y="1352682"/>
                </a:lnTo>
                <a:lnTo>
                  <a:pt x="2215733" y="1348649"/>
                </a:lnTo>
                <a:cubicBezTo>
                  <a:pt x="2218479" y="1346144"/>
                  <a:pt x="2222325" y="1344182"/>
                  <a:pt x="2226446" y="1342983"/>
                </a:cubicBezTo>
                <a:cubicBezTo>
                  <a:pt x="2230291" y="1341676"/>
                  <a:pt x="2234686" y="1341131"/>
                  <a:pt x="2238258" y="1341676"/>
                </a:cubicBezTo>
                <a:close/>
                <a:moveTo>
                  <a:pt x="2280457" y="1336799"/>
                </a:moveTo>
                <a:cubicBezTo>
                  <a:pt x="2281796" y="1336145"/>
                  <a:pt x="2283170" y="1336227"/>
                  <a:pt x="2284680" y="1337753"/>
                </a:cubicBezTo>
                <a:cubicBezTo>
                  <a:pt x="2286329" y="1339278"/>
                  <a:pt x="2287703" y="1340803"/>
                  <a:pt x="2287977" y="1343746"/>
                </a:cubicBezTo>
                <a:cubicBezTo>
                  <a:pt x="2285230" y="1346579"/>
                  <a:pt x="2280835" y="1344836"/>
                  <a:pt x="2279461" y="1346252"/>
                </a:cubicBezTo>
                <a:cubicBezTo>
                  <a:pt x="2279461" y="1344836"/>
                  <a:pt x="2279187" y="1341893"/>
                  <a:pt x="2276440" y="1340259"/>
                </a:cubicBezTo>
                <a:cubicBezTo>
                  <a:pt x="2277813" y="1338842"/>
                  <a:pt x="2279118" y="1337452"/>
                  <a:pt x="2280457" y="1336799"/>
                </a:cubicBezTo>
                <a:close/>
                <a:moveTo>
                  <a:pt x="2242653" y="1334483"/>
                </a:moveTo>
                <a:cubicBezTo>
                  <a:pt x="2246498" y="1337534"/>
                  <a:pt x="2248421" y="1338406"/>
                  <a:pt x="2250619" y="1340694"/>
                </a:cubicBezTo>
                <a:cubicBezTo>
                  <a:pt x="2251717" y="1340149"/>
                  <a:pt x="2253091" y="1339495"/>
                  <a:pt x="2255014" y="1340368"/>
                </a:cubicBezTo>
                <a:cubicBezTo>
                  <a:pt x="2258310" y="1342002"/>
                  <a:pt x="2258035" y="1345490"/>
                  <a:pt x="2260233" y="1347669"/>
                </a:cubicBezTo>
                <a:cubicBezTo>
                  <a:pt x="2259684" y="1348649"/>
                  <a:pt x="2258860" y="1349739"/>
                  <a:pt x="2257760" y="1350393"/>
                </a:cubicBezTo>
                <a:cubicBezTo>
                  <a:pt x="2256662" y="1351047"/>
                  <a:pt x="2255289" y="1351265"/>
                  <a:pt x="2253366" y="1350393"/>
                </a:cubicBezTo>
                <a:cubicBezTo>
                  <a:pt x="2248696" y="1349303"/>
                  <a:pt x="2247322" y="1345053"/>
                  <a:pt x="2247322" y="1340368"/>
                </a:cubicBezTo>
                <a:cubicBezTo>
                  <a:pt x="2245399" y="1338079"/>
                  <a:pt x="2242103" y="1337753"/>
                  <a:pt x="2242653" y="1334483"/>
                </a:cubicBezTo>
                <a:close/>
                <a:moveTo>
                  <a:pt x="2098163" y="1333176"/>
                </a:moveTo>
                <a:cubicBezTo>
                  <a:pt x="2109975" y="1338188"/>
                  <a:pt x="2115743" y="1338406"/>
                  <a:pt x="2124534" y="1343310"/>
                </a:cubicBezTo>
                <a:cubicBezTo>
                  <a:pt x="2124534" y="1344836"/>
                  <a:pt x="2123161" y="1344726"/>
                  <a:pt x="2123161" y="1346252"/>
                </a:cubicBezTo>
                <a:cubicBezTo>
                  <a:pt x="2122336" y="1347015"/>
                  <a:pt x="2120962" y="1347233"/>
                  <a:pt x="2119315" y="1347124"/>
                </a:cubicBezTo>
                <a:cubicBezTo>
                  <a:pt x="2114095" y="1346797"/>
                  <a:pt x="2105854" y="1343637"/>
                  <a:pt x="2105854" y="1342547"/>
                </a:cubicBezTo>
                <a:cubicBezTo>
                  <a:pt x="2104206" y="1342438"/>
                  <a:pt x="2104206" y="1340912"/>
                  <a:pt x="2102833" y="1340912"/>
                </a:cubicBezTo>
                <a:cubicBezTo>
                  <a:pt x="2102833" y="1340912"/>
                  <a:pt x="2101460" y="1340803"/>
                  <a:pt x="2100086" y="1339278"/>
                </a:cubicBezTo>
                <a:cubicBezTo>
                  <a:pt x="2098438" y="1337643"/>
                  <a:pt x="2096790" y="1336118"/>
                  <a:pt x="2098163" y="1333176"/>
                </a:cubicBezTo>
                <a:close/>
                <a:moveTo>
                  <a:pt x="2367364" y="1332740"/>
                </a:moveTo>
                <a:cubicBezTo>
                  <a:pt x="2373133" y="1335900"/>
                  <a:pt x="2377253" y="1337534"/>
                  <a:pt x="2383021" y="1340803"/>
                </a:cubicBezTo>
                <a:cubicBezTo>
                  <a:pt x="2384670" y="1342329"/>
                  <a:pt x="2387691" y="1348323"/>
                  <a:pt x="2386318" y="1349739"/>
                </a:cubicBezTo>
                <a:cubicBezTo>
                  <a:pt x="2384945" y="1351156"/>
                  <a:pt x="2383571" y="1351047"/>
                  <a:pt x="2382197" y="1350938"/>
                </a:cubicBezTo>
                <a:cubicBezTo>
                  <a:pt x="2379176" y="1349303"/>
                  <a:pt x="2376429" y="1347886"/>
                  <a:pt x="2373408" y="1346252"/>
                </a:cubicBezTo>
                <a:cubicBezTo>
                  <a:pt x="2370660" y="1343310"/>
                  <a:pt x="2368188" y="1340477"/>
                  <a:pt x="2367089" y="1337643"/>
                </a:cubicBezTo>
                <a:cubicBezTo>
                  <a:pt x="2367364" y="1342220"/>
                  <a:pt x="2364342" y="1344726"/>
                  <a:pt x="2359947" y="1343855"/>
                </a:cubicBezTo>
                <a:lnTo>
                  <a:pt x="2358574" y="1343092"/>
                </a:lnTo>
                <a:lnTo>
                  <a:pt x="2359123" y="1345271"/>
                </a:lnTo>
                <a:cubicBezTo>
                  <a:pt x="2359672" y="1348105"/>
                  <a:pt x="2359947" y="1350502"/>
                  <a:pt x="2359947" y="1351047"/>
                </a:cubicBezTo>
                <a:cubicBezTo>
                  <a:pt x="2359947" y="1351047"/>
                  <a:pt x="2360496" y="1352463"/>
                  <a:pt x="2360771" y="1353771"/>
                </a:cubicBezTo>
                <a:cubicBezTo>
                  <a:pt x="2359947" y="1355732"/>
                  <a:pt x="2358574" y="1356277"/>
                  <a:pt x="2358848" y="1357585"/>
                </a:cubicBezTo>
                <a:cubicBezTo>
                  <a:pt x="2356377" y="1356386"/>
                  <a:pt x="2355002" y="1354534"/>
                  <a:pt x="2354453" y="1352463"/>
                </a:cubicBezTo>
                <a:cubicBezTo>
                  <a:pt x="2353904" y="1350393"/>
                  <a:pt x="2353904" y="1348105"/>
                  <a:pt x="2353904" y="1345816"/>
                </a:cubicBezTo>
                <a:cubicBezTo>
                  <a:pt x="2354453" y="1342547"/>
                  <a:pt x="2353904" y="1341239"/>
                  <a:pt x="2351981" y="1339060"/>
                </a:cubicBezTo>
                <a:cubicBezTo>
                  <a:pt x="2351981" y="1339060"/>
                  <a:pt x="2351981" y="1339060"/>
                  <a:pt x="2353629" y="1335246"/>
                </a:cubicBezTo>
                <a:lnTo>
                  <a:pt x="2355002" y="1334701"/>
                </a:lnTo>
                <a:cubicBezTo>
                  <a:pt x="2355827" y="1334701"/>
                  <a:pt x="2356377" y="1335681"/>
                  <a:pt x="2356926" y="1337099"/>
                </a:cubicBezTo>
                <a:lnTo>
                  <a:pt x="2357201" y="1337753"/>
                </a:lnTo>
                <a:lnTo>
                  <a:pt x="2359398" y="1334701"/>
                </a:lnTo>
                <a:cubicBezTo>
                  <a:pt x="2361596" y="1333720"/>
                  <a:pt x="2364342" y="1333829"/>
                  <a:pt x="2366814" y="1334810"/>
                </a:cubicBezTo>
                <a:cubicBezTo>
                  <a:pt x="2366814" y="1334047"/>
                  <a:pt x="2366814" y="1333393"/>
                  <a:pt x="2367364" y="1332740"/>
                </a:cubicBezTo>
                <a:close/>
                <a:moveTo>
                  <a:pt x="1110360" y="1332086"/>
                </a:moveTo>
                <a:cubicBezTo>
                  <a:pt x="1112008" y="1329362"/>
                  <a:pt x="1116129" y="1334483"/>
                  <a:pt x="1117502" y="1334701"/>
                </a:cubicBezTo>
                <a:cubicBezTo>
                  <a:pt x="1118877" y="1336335"/>
                  <a:pt x="1119975" y="1338079"/>
                  <a:pt x="1118602" y="1339278"/>
                </a:cubicBezTo>
                <a:cubicBezTo>
                  <a:pt x="1117777" y="1339823"/>
                  <a:pt x="1117228" y="1340477"/>
                  <a:pt x="1116678" y="1340803"/>
                </a:cubicBezTo>
                <a:cubicBezTo>
                  <a:pt x="1116129" y="1341022"/>
                  <a:pt x="1115580" y="1341022"/>
                  <a:pt x="1114207" y="1340040"/>
                </a:cubicBezTo>
                <a:cubicBezTo>
                  <a:pt x="1112833" y="1339823"/>
                  <a:pt x="1111459" y="1338079"/>
                  <a:pt x="1110085" y="1337861"/>
                </a:cubicBezTo>
                <a:cubicBezTo>
                  <a:pt x="1110085" y="1337861"/>
                  <a:pt x="1109811" y="1336771"/>
                  <a:pt x="1109811" y="1335464"/>
                </a:cubicBezTo>
                <a:cubicBezTo>
                  <a:pt x="1109537" y="1334156"/>
                  <a:pt x="1109811" y="1332631"/>
                  <a:pt x="1110360" y="1332086"/>
                </a:cubicBezTo>
                <a:close/>
                <a:moveTo>
                  <a:pt x="6304840" y="1327835"/>
                </a:moveTo>
                <a:cubicBezTo>
                  <a:pt x="6307313" y="1330996"/>
                  <a:pt x="6307587" y="1338188"/>
                  <a:pt x="6304291" y="1341131"/>
                </a:cubicBezTo>
                <a:cubicBezTo>
                  <a:pt x="6299346" y="1342002"/>
                  <a:pt x="6298522" y="1338950"/>
                  <a:pt x="6295501" y="1339932"/>
                </a:cubicBezTo>
                <a:cubicBezTo>
                  <a:pt x="6295501" y="1332740"/>
                  <a:pt x="6298797" y="1329797"/>
                  <a:pt x="6304840" y="1327835"/>
                </a:cubicBezTo>
                <a:close/>
                <a:moveTo>
                  <a:pt x="6232595" y="1325329"/>
                </a:moveTo>
                <a:cubicBezTo>
                  <a:pt x="6234793" y="1327400"/>
                  <a:pt x="6234793" y="1327400"/>
                  <a:pt x="6232595" y="1327400"/>
                </a:cubicBezTo>
                <a:cubicBezTo>
                  <a:pt x="6230398" y="1331432"/>
                  <a:pt x="6230398" y="1329362"/>
                  <a:pt x="6228200" y="1331432"/>
                </a:cubicBezTo>
                <a:cubicBezTo>
                  <a:pt x="6226003" y="1333393"/>
                  <a:pt x="6221608" y="1343637"/>
                  <a:pt x="6223806" y="1345599"/>
                </a:cubicBezTo>
                <a:cubicBezTo>
                  <a:pt x="6221608" y="1345599"/>
                  <a:pt x="6219411" y="1347560"/>
                  <a:pt x="6219411" y="1347560"/>
                </a:cubicBezTo>
                <a:cubicBezTo>
                  <a:pt x="6217212" y="1345599"/>
                  <a:pt x="6217212" y="1343528"/>
                  <a:pt x="6217212" y="1341566"/>
                </a:cubicBezTo>
                <a:cubicBezTo>
                  <a:pt x="6219411" y="1339495"/>
                  <a:pt x="6221608" y="1339495"/>
                  <a:pt x="6223806" y="1337534"/>
                </a:cubicBezTo>
                <a:cubicBezTo>
                  <a:pt x="6223806" y="1335464"/>
                  <a:pt x="6223806" y="1331432"/>
                  <a:pt x="6226003" y="1329470"/>
                </a:cubicBezTo>
                <a:cubicBezTo>
                  <a:pt x="6228200" y="1327400"/>
                  <a:pt x="6232595" y="1325329"/>
                  <a:pt x="6232595" y="1325329"/>
                </a:cubicBezTo>
                <a:close/>
                <a:moveTo>
                  <a:pt x="2383296" y="1322823"/>
                </a:moveTo>
                <a:cubicBezTo>
                  <a:pt x="2387416" y="1321733"/>
                  <a:pt x="2388790" y="1324457"/>
                  <a:pt x="2388790" y="1324457"/>
                </a:cubicBezTo>
                <a:cubicBezTo>
                  <a:pt x="2390439" y="1329252"/>
                  <a:pt x="2389340" y="1333938"/>
                  <a:pt x="2384395" y="1336335"/>
                </a:cubicBezTo>
                <a:cubicBezTo>
                  <a:pt x="2381373" y="1336118"/>
                  <a:pt x="2380000" y="1333393"/>
                  <a:pt x="2378352" y="1330669"/>
                </a:cubicBezTo>
                <a:cubicBezTo>
                  <a:pt x="2377527" y="1328271"/>
                  <a:pt x="2377802" y="1326528"/>
                  <a:pt x="2378627" y="1325329"/>
                </a:cubicBezTo>
                <a:cubicBezTo>
                  <a:pt x="2379725" y="1324131"/>
                  <a:pt x="2381373" y="1323477"/>
                  <a:pt x="2383296" y="1322823"/>
                </a:cubicBezTo>
                <a:close/>
                <a:moveTo>
                  <a:pt x="6567998" y="1322278"/>
                </a:moveTo>
                <a:cubicBezTo>
                  <a:pt x="6569921" y="1321733"/>
                  <a:pt x="6570470" y="1320426"/>
                  <a:pt x="6572393" y="1323150"/>
                </a:cubicBezTo>
                <a:cubicBezTo>
                  <a:pt x="6573767" y="1323912"/>
                  <a:pt x="6574316" y="1325983"/>
                  <a:pt x="6575689" y="1326636"/>
                </a:cubicBezTo>
                <a:cubicBezTo>
                  <a:pt x="6575689" y="1326636"/>
                  <a:pt x="6575414" y="1327835"/>
                  <a:pt x="6575140" y="1329143"/>
                </a:cubicBezTo>
                <a:cubicBezTo>
                  <a:pt x="6574865" y="1330342"/>
                  <a:pt x="6574316" y="1331541"/>
                  <a:pt x="6573218" y="1331867"/>
                </a:cubicBezTo>
                <a:cubicBezTo>
                  <a:pt x="6572668" y="1332303"/>
                  <a:pt x="6572119" y="1332303"/>
                  <a:pt x="6571569" y="1331977"/>
                </a:cubicBezTo>
                <a:cubicBezTo>
                  <a:pt x="6569921" y="1330996"/>
                  <a:pt x="6568273" y="1327509"/>
                  <a:pt x="6567449" y="1326855"/>
                </a:cubicBezTo>
                <a:cubicBezTo>
                  <a:pt x="6566625" y="1324894"/>
                  <a:pt x="6566075" y="1322823"/>
                  <a:pt x="6567998" y="1322278"/>
                </a:cubicBezTo>
                <a:close/>
                <a:moveTo>
                  <a:pt x="2186889" y="1316938"/>
                </a:moveTo>
                <a:cubicBezTo>
                  <a:pt x="2192383" y="1314432"/>
                  <a:pt x="2200899" y="1319444"/>
                  <a:pt x="2194307" y="1327400"/>
                </a:cubicBezTo>
                <a:cubicBezTo>
                  <a:pt x="2188813" y="1325439"/>
                  <a:pt x="2184967" y="1324131"/>
                  <a:pt x="2182769" y="1322060"/>
                </a:cubicBezTo>
                <a:lnTo>
                  <a:pt x="2184967" y="1319118"/>
                </a:lnTo>
                <a:lnTo>
                  <a:pt x="2184143" y="1318464"/>
                </a:lnTo>
                <a:lnTo>
                  <a:pt x="2185516" y="1318573"/>
                </a:lnTo>
                <a:close/>
                <a:moveTo>
                  <a:pt x="1151839" y="1316611"/>
                </a:moveTo>
                <a:cubicBezTo>
                  <a:pt x="1155135" y="1316284"/>
                  <a:pt x="1153762" y="1317156"/>
                  <a:pt x="1155685" y="1317592"/>
                </a:cubicBezTo>
                <a:cubicBezTo>
                  <a:pt x="1157608" y="1318137"/>
                  <a:pt x="1160629" y="1317701"/>
                  <a:pt x="1162004" y="1316938"/>
                </a:cubicBezTo>
                <a:cubicBezTo>
                  <a:pt x="1160904" y="1324349"/>
                  <a:pt x="1165848" y="1324566"/>
                  <a:pt x="1163377" y="1336009"/>
                </a:cubicBezTo>
                <a:cubicBezTo>
                  <a:pt x="1161729" y="1347015"/>
                  <a:pt x="1155685" y="1351483"/>
                  <a:pt x="1149642" y="1352682"/>
                </a:cubicBezTo>
                <a:lnTo>
                  <a:pt x="1144972" y="1353008"/>
                </a:lnTo>
                <a:lnTo>
                  <a:pt x="1143599" y="1357259"/>
                </a:lnTo>
                <a:cubicBezTo>
                  <a:pt x="1134534" y="1352354"/>
                  <a:pt x="1132611" y="1360745"/>
                  <a:pt x="1127941" y="1363361"/>
                </a:cubicBezTo>
                <a:cubicBezTo>
                  <a:pt x="1126568" y="1364123"/>
                  <a:pt x="1124920" y="1364342"/>
                  <a:pt x="1122446" y="1363252"/>
                </a:cubicBezTo>
                <a:cubicBezTo>
                  <a:pt x="1119975" y="1359765"/>
                  <a:pt x="1115854" y="1357040"/>
                  <a:pt x="1114755" y="1352246"/>
                </a:cubicBezTo>
                <a:cubicBezTo>
                  <a:pt x="1114207" y="1350720"/>
                  <a:pt x="1113932" y="1348868"/>
                  <a:pt x="1114481" y="1346688"/>
                </a:cubicBezTo>
                <a:cubicBezTo>
                  <a:pt x="1120250" y="1347669"/>
                  <a:pt x="1125469" y="1347560"/>
                  <a:pt x="1130138" y="1347124"/>
                </a:cubicBezTo>
                <a:lnTo>
                  <a:pt x="1134259" y="1346688"/>
                </a:lnTo>
                <a:lnTo>
                  <a:pt x="1131512" y="1343092"/>
                </a:lnTo>
                <a:cubicBezTo>
                  <a:pt x="1130413" y="1340585"/>
                  <a:pt x="1129864" y="1337425"/>
                  <a:pt x="1130688" y="1333284"/>
                </a:cubicBezTo>
                <a:cubicBezTo>
                  <a:pt x="1132336" y="1323803"/>
                  <a:pt x="1137281" y="1314105"/>
                  <a:pt x="1151839" y="1316611"/>
                </a:cubicBezTo>
                <a:close/>
                <a:moveTo>
                  <a:pt x="1897910" y="1313560"/>
                </a:moveTo>
                <a:lnTo>
                  <a:pt x="1897636" y="1313669"/>
                </a:lnTo>
                <a:lnTo>
                  <a:pt x="1895713" y="1314105"/>
                </a:lnTo>
                <a:lnTo>
                  <a:pt x="1905602" y="1317592"/>
                </a:lnTo>
                <a:lnTo>
                  <a:pt x="1904228" y="1315849"/>
                </a:lnTo>
                <a:lnTo>
                  <a:pt x="1905602" y="1313669"/>
                </a:lnTo>
                <a:lnTo>
                  <a:pt x="1905052" y="1313996"/>
                </a:lnTo>
                <a:close/>
                <a:moveTo>
                  <a:pt x="1125469" y="1313233"/>
                </a:moveTo>
                <a:cubicBezTo>
                  <a:pt x="1125469" y="1316503"/>
                  <a:pt x="1128765" y="1319444"/>
                  <a:pt x="1127391" y="1323477"/>
                </a:cubicBezTo>
                <a:cubicBezTo>
                  <a:pt x="1127391" y="1323477"/>
                  <a:pt x="1127116" y="1325547"/>
                  <a:pt x="1124370" y="1327073"/>
                </a:cubicBezTo>
                <a:cubicBezTo>
                  <a:pt x="1121898" y="1331977"/>
                  <a:pt x="1116129" y="1330669"/>
                  <a:pt x="1116129" y="1330669"/>
                </a:cubicBezTo>
                <a:cubicBezTo>
                  <a:pt x="1116129" y="1330669"/>
                  <a:pt x="1116129" y="1330560"/>
                  <a:pt x="1116678" y="1331868"/>
                </a:cubicBezTo>
                <a:cubicBezTo>
                  <a:pt x="1115580" y="1329362"/>
                  <a:pt x="1113108" y="1327618"/>
                  <a:pt x="1111733" y="1325111"/>
                </a:cubicBezTo>
                <a:cubicBezTo>
                  <a:pt x="1114207" y="1310509"/>
                  <a:pt x="1118602" y="1312580"/>
                  <a:pt x="1125469" y="1313233"/>
                </a:cubicBezTo>
                <a:close/>
                <a:moveTo>
                  <a:pt x="2273967" y="1312361"/>
                </a:moveTo>
                <a:cubicBezTo>
                  <a:pt x="2274792" y="1312797"/>
                  <a:pt x="2275891" y="1313233"/>
                  <a:pt x="2276166" y="1313996"/>
                </a:cubicBezTo>
                <a:cubicBezTo>
                  <a:pt x="2276715" y="1314759"/>
                  <a:pt x="2276715" y="1315849"/>
                  <a:pt x="2275616" y="1317810"/>
                </a:cubicBezTo>
                <a:cubicBezTo>
                  <a:pt x="2275342" y="1319444"/>
                  <a:pt x="2274792" y="1320426"/>
                  <a:pt x="2273967" y="1320862"/>
                </a:cubicBezTo>
                <a:cubicBezTo>
                  <a:pt x="2272869" y="1321297"/>
                  <a:pt x="2271221" y="1321188"/>
                  <a:pt x="2268748" y="1320643"/>
                </a:cubicBezTo>
                <a:cubicBezTo>
                  <a:pt x="2265178" y="1319118"/>
                  <a:pt x="2262156" y="1318900"/>
                  <a:pt x="2261606" y="1317483"/>
                </a:cubicBezTo>
                <a:cubicBezTo>
                  <a:pt x="2260233" y="1318028"/>
                  <a:pt x="2258310" y="1317265"/>
                  <a:pt x="2256936" y="1317810"/>
                </a:cubicBezTo>
                <a:cubicBezTo>
                  <a:pt x="2256936" y="1317810"/>
                  <a:pt x="2257211" y="1317810"/>
                  <a:pt x="2256662" y="1316394"/>
                </a:cubicBezTo>
                <a:cubicBezTo>
                  <a:pt x="2262705" y="1315521"/>
                  <a:pt x="2269023" y="1311272"/>
                  <a:pt x="2273967" y="1312361"/>
                </a:cubicBezTo>
                <a:close/>
                <a:moveTo>
                  <a:pt x="2291823" y="1311707"/>
                </a:moveTo>
                <a:cubicBezTo>
                  <a:pt x="2294020" y="1314868"/>
                  <a:pt x="2297042" y="1313669"/>
                  <a:pt x="2299240" y="1316829"/>
                </a:cubicBezTo>
                <a:cubicBezTo>
                  <a:pt x="2292098" y="1322932"/>
                  <a:pt x="2284406" y="1329797"/>
                  <a:pt x="2278088" y="1330778"/>
                </a:cubicBezTo>
                <a:cubicBezTo>
                  <a:pt x="2275891" y="1330996"/>
                  <a:pt x="2273967" y="1330560"/>
                  <a:pt x="2272045" y="1329362"/>
                </a:cubicBezTo>
                <a:cubicBezTo>
                  <a:pt x="2272045" y="1320426"/>
                  <a:pt x="2284406" y="1313996"/>
                  <a:pt x="2291823" y="1311707"/>
                </a:cubicBezTo>
                <a:close/>
                <a:moveTo>
                  <a:pt x="1203482" y="1309964"/>
                </a:moveTo>
                <a:cubicBezTo>
                  <a:pt x="1201834" y="1317810"/>
                  <a:pt x="1193868" y="1320317"/>
                  <a:pt x="1190571" y="1329252"/>
                </a:cubicBezTo>
                <a:cubicBezTo>
                  <a:pt x="1183430" y="1328925"/>
                  <a:pt x="1178210" y="1338951"/>
                  <a:pt x="1168322" y="1338079"/>
                </a:cubicBezTo>
                <a:cubicBezTo>
                  <a:pt x="1168596" y="1327727"/>
                  <a:pt x="1183705" y="1316066"/>
                  <a:pt x="1194692" y="1311707"/>
                </a:cubicBezTo>
                <a:cubicBezTo>
                  <a:pt x="1198262" y="1310291"/>
                  <a:pt x="1201559" y="1309528"/>
                  <a:pt x="1203482" y="1309964"/>
                </a:cubicBezTo>
                <a:close/>
                <a:moveTo>
                  <a:pt x="6238639" y="1308874"/>
                </a:moveTo>
                <a:lnTo>
                  <a:pt x="6242485" y="1312906"/>
                </a:lnTo>
                <a:lnTo>
                  <a:pt x="6243583" y="1312797"/>
                </a:lnTo>
                <a:lnTo>
                  <a:pt x="6243034" y="1313451"/>
                </a:lnTo>
                <a:lnTo>
                  <a:pt x="6246331" y="1317265"/>
                </a:lnTo>
                <a:cubicBezTo>
                  <a:pt x="6244407" y="1319772"/>
                  <a:pt x="6244132" y="1322605"/>
                  <a:pt x="6242485" y="1325111"/>
                </a:cubicBezTo>
                <a:lnTo>
                  <a:pt x="6234518" y="1322823"/>
                </a:lnTo>
                <a:lnTo>
                  <a:pt x="6232321" y="1323258"/>
                </a:lnTo>
                <a:lnTo>
                  <a:pt x="6233419" y="1322278"/>
                </a:lnTo>
                <a:lnTo>
                  <a:pt x="6227651" y="1314650"/>
                </a:lnTo>
                <a:cubicBezTo>
                  <a:pt x="6227376" y="1312688"/>
                  <a:pt x="6227925" y="1310727"/>
                  <a:pt x="6229849" y="1308983"/>
                </a:cubicBezTo>
                <a:cubicBezTo>
                  <a:pt x="6233145" y="1306804"/>
                  <a:pt x="6235892" y="1307130"/>
                  <a:pt x="6238639" y="1308874"/>
                </a:cubicBezTo>
                <a:close/>
                <a:moveTo>
                  <a:pt x="1234007" y="1301655"/>
                </a:moveTo>
                <a:cubicBezTo>
                  <a:pt x="1235415" y="1300974"/>
                  <a:pt x="1236857" y="1301028"/>
                  <a:pt x="1238368" y="1302554"/>
                </a:cubicBezTo>
                <a:cubicBezTo>
                  <a:pt x="1239742" y="1304080"/>
                  <a:pt x="1241115" y="1305605"/>
                  <a:pt x="1241389" y="1308548"/>
                </a:cubicBezTo>
                <a:cubicBezTo>
                  <a:pt x="1238643" y="1311381"/>
                  <a:pt x="1234248" y="1309746"/>
                  <a:pt x="1233150" y="1311163"/>
                </a:cubicBezTo>
                <a:cubicBezTo>
                  <a:pt x="1232875" y="1309637"/>
                  <a:pt x="1232875" y="1306804"/>
                  <a:pt x="1229853" y="1305169"/>
                </a:cubicBezTo>
                <a:cubicBezTo>
                  <a:pt x="1231226" y="1303753"/>
                  <a:pt x="1232600" y="1302336"/>
                  <a:pt x="1234007" y="1301655"/>
                </a:cubicBezTo>
                <a:close/>
                <a:moveTo>
                  <a:pt x="1051850" y="1298086"/>
                </a:moveTo>
                <a:cubicBezTo>
                  <a:pt x="1063388" y="1303099"/>
                  <a:pt x="1069157" y="1303317"/>
                  <a:pt x="1077946" y="1308220"/>
                </a:cubicBezTo>
                <a:cubicBezTo>
                  <a:pt x="1077946" y="1309746"/>
                  <a:pt x="1076573" y="1309637"/>
                  <a:pt x="1076573" y="1311163"/>
                </a:cubicBezTo>
                <a:cubicBezTo>
                  <a:pt x="1076024" y="1311926"/>
                  <a:pt x="1074650" y="1312035"/>
                  <a:pt x="1072727" y="1311926"/>
                </a:cubicBezTo>
                <a:cubicBezTo>
                  <a:pt x="1067508" y="1311598"/>
                  <a:pt x="1059267" y="1308438"/>
                  <a:pt x="1059267" y="1307349"/>
                </a:cubicBezTo>
                <a:cubicBezTo>
                  <a:pt x="1057894" y="1307240"/>
                  <a:pt x="1057894" y="1305714"/>
                  <a:pt x="1056245" y="1305714"/>
                </a:cubicBezTo>
                <a:cubicBezTo>
                  <a:pt x="1056245" y="1305714"/>
                  <a:pt x="1054872" y="1305605"/>
                  <a:pt x="1053499" y="1304080"/>
                </a:cubicBezTo>
                <a:cubicBezTo>
                  <a:pt x="1051850" y="1302445"/>
                  <a:pt x="1050477" y="1300920"/>
                  <a:pt x="1051850" y="1298086"/>
                </a:cubicBezTo>
                <a:close/>
                <a:moveTo>
                  <a:pt x="2201174" y="1297650"/>
                </a:moveTo>
                <a:cubicBezTo>
                  <a:pt x="2205020" y="1301137"/>
                  <a:pt x="2201998" y="1305060"/>
                  <a:pt x="2200350" y="1310618"/>
                </a:cubicBezTo>
                <a:cubicBezTo>
                  <a:pt x="2198976" y="1308983"/>
                  <a:pt x="2197328" y="1310182"/>
                  <a:pt x="2195954" y="1311381"/>
                </a:cubicBezTo>
                <a:cubicBezTo>
                  <a:pt x="2193757" y="1308874"/>
                  <a:pt x="2190460" y="1305169"/>
                  <a:pt x="2191284" y="1301573"/>
                </a:cubicBezTo>
                <a:cubicBezTo>
                  <a:pt x="2191559" y="1300266"/>
                  <a:pt x="2192383" y="1299176"/>
                  <a:pt x="2193757" y="1297977"/>
                </a:cubicBezTo>
                <a:cubicBezTo>
                  <a:pt x="2194032" y="1296452"/>
                  <a:pt x="2199800" y="1295907"/>
                  <a:pt x="2201174" y="1297650"/>
                </a:cubicBezTo>
                <a:close/>
                <a:moveTo>
                  <a:pt x="2087999" y="1296124"/>
                </a:moveTo>
                <a:cubicBezTo>
                  <a:pt x="2097339" y="1297650"/>
                  <a:pt x="2090472" y="1308548"/>
                  <a:pt x="2086077" y="1309746"/>
                </a:cubicBezTo>
                <a:cubicBezTo>
                  <a:pt x="2084153" y="1309201"/>
                  <a:pt x="2083055" y="1308220"/>
                  <a:pt x="2082505" y="1306913"/>
                </a:cubicBezTo>
                <a:cubicBezTo>
                  <a:pt x="2081132" y="1303099"/>
                  <a:pt x="2084978" y="1296997"/>
                  <a:pt x="2087999" y="1296124"/>
                </a:cubicBezTo>
                <a:close/>
                <a:moveTo>
                  <a:pt x="2110799" y="1292746"/>
                </a:moveTo>
                <a:cubicBezTo>
                  <a:pt x="2110249" y="1294054"/>
                  <a:pt x="2109700" y="1295362"/>
                  <a:pt x="2109151" y="1296669"/>
                </a:cubicBezTo>
                <a:cubicBezTo>
                  <a:pt x="2108052" y="1296888"/>
                  <a:pt x="2107778" y="1297105"/>
                  <a:pt x="2107503" y="1296997"/>
                </a:cubicBezTo>
                <a:cubicBezTo>
                  <a:pt x="2107228" y="1296778"/>
                  <a:pt x="2106954" y="1296234"/>
                  <a:pt x="2106679" y="1295362"/>
                </a:cubicBezTo>
                <a:cubicBezTo>
                  <a:pt x="2107228" y="1294054"/>
                  <a:pt x="2107778" y="1292637"/>
                  <a:pt x="2109151" y="1293291"/>
                </a:cubicBezTo>
                <a:cubicBezTo>
                  <a:pt x="2109700" y="1292092"/>
                  <a:pt x="2109700" y="1292092"/>
                  <a:pt x="2110799" y="1292746"/>
                </a:cubicBezTo>
                <a:close/>
                <a:moveTo>
                  <a:pt x="2217380" y="1292638"/>
                </a:moveTo>
                <a:cubicBezTo>
                  <a:pt x="2221913" y="1294735"/>
                  <a:pt x="2225621" y="1299230"/>
                  <a:pt x="2225896" y="1303861"/>
                </a:cubicBezTo>
                <a:cubicBezTo>
                  <a:pt x="2223149" y="1307567"/>
                  <a:pt x="2219028" y="1308874"/>
                  <a:pt x="2215183" y="1308438"/>
                </a:cubicBezTo>
                <a:cubicBezTo>
                  <a:pt x="2211337" y="1308003"/>
                  <a:pt x="2207491" y="1305932"/>
                  <a:pt x="2205569" y="1302881"/>
                </a:cubicBezTo>
                <a:cubicBezTo>
                  <a:pt x="2204196" y="1300811"/>
                  <a:pt x="2203371" y="1298413"/>
                  <a:pt x="2203920" y="1295798"/>
                </a:cubicBezTo>
                <a:cubicBezTo>
                  <a:pt x="2207491" y="1290840"/>
                  <a:pt x="2212848" y="1290540"/>
                  <a:pt x="2217380" y="1292638"/>
                </a:cubicBezTo>
                <a:close/>
                <a:moveTo>
                  <a:pt x="1952025" y="1284792"/>
                </a:moveTo>
                <a:cubicBezTo>
                  <a:pt x="1951751" y="1300266"/>
                  <a:pt x="1945707" y="1318246"/>
                  <a:pt x="1944060" y="1322169"/>
                </a:cubicBezTo>
                <a:cubicBezTo>
                  <a:pt x="1943510" y="1324240"/>
                  <a:pt x="1942411" y="1325329"/>
                  <a:pt x="1941312" y="1325656"/>
                </a:cubicBezTo>
                <a:cubicBezTo>
                  <a:pt x="1940214" y="1326092"/>
                  <a:pt x="1938566" y="1325656"/>
                  <a:pt x="1936642" y="1324894"/>
                </a:cubicBezTo>
                <a:cubicBezTo>
                  <a:pt x="1929775" y="1317919"/>
                  <a:pt x="1934720" y="1309746"/>
                  <a:pt x="1935818" y="1300047"/>
                </a:cubicBezTo>
                <a:cubicBezTo>
                  <a:pt x="1937741" y="1299830"/>
                  <a:pt x="1939390" y="1297650"/>
                  <a:pt x="1939390" y="1295798"/>
                </a:cubicBezTo>
                <a:cubicBezTo>
                  <a:pt x="1941037" y="1293618"/>
                  <a:pt x="1942685" y="1291547"/>
                  <a:pt x="1940763" y="1291656"/>
                </a:cubicBezTo>
                <a:cubicBezTo>
                  <a:pt x="1943510" y="1288497"/>
                  <a:pt x="1944883" y="1286535"/>
                  <a:pt x="1946257" y="1285445"/>
                </a:cubicBezTo>
                <a:cubicBezTo>
                  <a:pt x="1947630" y="1284355"/>
                  <a:pt x="1949004" y="1284138"/>
                  <a:pt x="1952025" y="1284792"/>
                </a:cubicBezTo>
                <a:close/>
                <a:moveTo>
                  <a:pt x="1146105" y="1281658"/>
                </a:moveTo>
                <a:cubicBezTo>
                  <a:pt x="1149848" y="1282966"/>
                  <a:pt x="1152251" y="1286916"/>
                  <a:pt x="1147994" y="1292201"/>
                </a:cubicBezTo>
                <a:cubicBezTo>
                  <a:pt x="1142225" y="1290240"/>
                  <a:pt x="1138654" y="1289041"/>
                  <a:pt x="1136182" y="1286971"/>
                </a:cubicBezTo>
                <a:cubicBezTo>
                  <a:pt x="1137280" y="1281686"/>
                  <a:pt x="1142362" y="1280351"/>
                  <a:pt x="1146105" y="1281658"/>
                </a:cubicBezTo>
                <a:close/>
                <a:moveTo>
                  <a:pt x="2326434" y="1281086"/>
                </a:moveTo>
                <a:cubicBezTo>
                  <a:pt x="2327808" y="1280760"/>
                  <a:pt x="2329182" y="1281522"/>
                  <a:pt x="2330555" y="1282939"/>
                </a:cubicBezTo>
                <a:cubicBezTo>
                  <a:pt x="2332203" y="1285009"/>
                  <a:pt x="2333302" y="1288497"/>
                  <a:pt x="2333027" y="1291547"/>
                </a:cubicBezTo>
                <a:lnTo>
                  <a:pt x="2333027" y="1292637"/>
                </a:lnTo>
                <a:lnTo>
                  <a:pt x="2335500" y="1292964"/>
                </a:lnTo>
                <a:cubicBezTo>
                  <a:pt x="2331104" y="1301028"/>
                  <a:pt x="2323413" y="1303970"/>
                  <a:pt x="2315721" y="1304406"/>
                </a:cubicBezTo>
                <a:cubicBezTo>
                  <a:pt x="2308030" y="1304843"/>
                  <a:pt x="2300064" y="1302772"/>
                  <a:pt x="2295119" y="1300483"/>
                </a:cubicBezTo>
                <a:cubicBezTo>
                  <a:pt x="2301437" y="1297868"/>
                  <a:pt x="2307481" y="1294817"/>
                  <a:pt x="2314073" y="1293074"/>
                </a:cubicBezTo>
                <a:lnTo>
                  <a:pt x="2322863" y="1291766"/>
                </a:lnTo>
                <a:lnTo>
                  <a:pt x="2321764" y="1290022"/>
                </a:lnTo>
                <a:cubicBezTo>
                  <a:pt x="2320391" y="1285990"/>
                  <a:pt x="2320941" y="1281740"/>
                  <a:pt x="2326434" y="1281086"/>
                </a:cubicBezTo>
                <a:close/>
                <a:moveTo>
                  <a:pt x="1873188" y="1276727"/>
                </a:moveTo>
                <a:cubicBezTo>
                  <a:pt x="1870991" y="1284029"/>
                  <a:pt x="1871265" y="1294381"/>
                  <a:pt x="1866595" y="1300266"/>
                </a:cubicBezTo>
                <a:cubicBezTo>
                  <a:pt x="1866870" y="1297323"/>
                  <a:pt x="1869892" y="1281086"/>
                  <a:pt x="1873188" y="1276727"/>
                </a:cubicBezTo>
                <a:close/>
                <a:moveTo>
                  <a:pt x="6205401" y="1276400"/>
                </a:moveTo>
                <a:lnTo>
                  <a:pt x="6206224" y="1278252"/>
                </a:lnTo>
                <a:cubicBezTo>
                  <a:pt x="6206224" y="1279670"/>
                  <a:pt x="6204851" y="1279670"/>
                  <a:pt x="6203478" y="1279670"/>
                </a:cubicBezTo>
                <a:cubicBezTo>
                  <a:pt x="6203478" y="1279016"/>
                  <a:pt x="6203204" y="1278906"/>
                  <a:pt x="6202654" y="1279125"/>
                </a:cubicBezTo>
                <a:lnTo>
                  <a:pt x="6200731" y="1279670"/>
                </a:lnTo>
                <a:lnTo>
                  <a:pt x="6200731" y="1282721"/>
                </a:lnTo>
                <a:lnTo>
                  <a:pt x="6203478" y="1318028"/>
                </a:lnTo>
                <a:cubicBezTo>
                  <a:pt x="6204851" y="1326310"/>
                  <a:pt x="6207599" y="1334374"/>
                  <a:pt x="6206224" y="1345380"/>
                </a:cubicBezTo>
                <a:cubicBezTo>
                  <a:pt x="6207599" y="1345380"/>
                  <a:pt x="6207599" y="1345380"/>
                  <a:pt x="6207599" y="1345380"/>
                </a:cubicBezTo>
                <a:cubicBezTo>
                  <a:pt x="6207599" y="1342656"/>
                  <a:pt x="6207599" y="1341348"/>
                  <a:pt x="6207599" y="1338624"/>
                </a:cubicBezTo>
                <a:cubicBezTo>
                  <a:pt x="6207599" y="1338624"/>
                  <a:pt x="6207599" y="1338515"/>
                  <a:pt x="6207599" y="1337208"/>
                </a:cubicBezTo>
                <a:cubicBezTo>
                  <a:pt x="6207599" y="1335791"/>
                  <a:pt x="6207599" y="1335791"/>
                  <a:pt x="6207599" y="1334483"/>
                </a:cubicBezTo>
                <a:cubicBezTo>
                  <a:pt x="6209247" y="1334483"/>
                  <a:pt x="6210620" y="1334483"/>
                  <a:pt x="6211993" y="1335900"/>
                </a:cubicBezTo>
                <a:cubicBezTo>
                  <a:pt x="6213642" y="1339932"/>
                  <a:pt x="6211993" y="1344072"/>
                  <a:pt x="6211993" y="1346797"/>
                </a:cubicBezTo>
                <a:cubicBezTo>
                  <a:pt x="6211993" y="1349521"/>
                  <a:pt x="6211993" y="1353662"/>
                  <a:pt x="6213642" y="1354970"/>
                </a:cubicBezTo>
                <a:cubicBezTo>
                  <a:pt x="6213642" y="1354970"/>
                  <a:pt x="6213642" y="1353662"/>
                  <a:pt x="6213642" y="1353662"/>
                </a:cubicBezTo>
                <a:cubicBezTo>
                  <a:pt x="6213642" y="1352354"/>
                  <a:pt x="6215015" y="1350938"/>
                  <a:pt x="6216388" y="1350938"/>
                </a:cubicBezTo>
                <a:cubicBezTo>
                  <a:pt x="6217762" y="1352354"/>
                  <a:pt x="6217762" y="1352354"/>
                  <a:pt x="6217762" y="1353662"/>
                </a:cubicBezTo>
                <a:cubicBezTo>
                  <a:pt x="6217762" y="1356386"/>
                  <a:pt x="6217762" y="1357694"/>
                  <a:pt x="6217762" y="1360419"/>
                </a:cubicBezTo>
                <a:cubicBezTo>
                  <a:pt x="6217762" y="1361835"/>
                  <a:pt x="6219136" y="1364668"/>
                  <a:pt x="6219136" y="1367392"/>
                </a:cubicBezTo>
                <a:cubicBezTo>
                  <a:pt x="6219136" y="1367392"/>
                  <a:pt x="6219136" y="1368810"/>
                  <a:pt x="6219136" y="1368810"/>
                </a:cubicBezTo>
                <a:cubicBezTo>
                  <a:pt x="6222157" y="1370117"/>
                  <a:pt x="6220509" y="1374258"/>
                  <a:pt x="6220509" y="1376982"/>
                </a:cubicBezTo>
                <a:cubicBezTo>
                  <a:pt x="6219136" y="1375566"/>
                  <a:pt x="6217762" y="1372842"/>
                  <a:pt x="6217762" y="1370117"/>
                </a:cubicBezTo>
                <a:cubicBezTo>
                  <a:pt x="6217762" y="1370117"/>
                  <a:pt x="6217762" y="1370117"/>
                  <a:pt x="6217762" y="1368810"/>
                </a:cubicBezTo>
                <a:cubicBezTo>
                  <a:pt x="6217762" y="1368810"/>
                  <a:pt x="6216388" y="1368810"/>
                  <a:pt x="6216388" y="1368810"/>
                </a:cubicBezTo>
                <a:cubicBezTo>
                  <a:pt x="6215015" y="1368810"/>
                  <a:pt x="6215015" y="1368700"/>
                  <a:pt x="6215015" y="1367392"/>
                </a:cubicBezTo>
                <a:cubicBezTo>
                  <a:pt x="6213367" y="1368700"/>
                  <a:pt x="6213642" y="1368810"/>
                  <a:pt x="6211993" y="1368810"/>
                </a:cubicBezTo>
                <a:cubicBezTo>
                  <a:pt x="6210620" y="1374258"/>
                  <a:pt x="6210620" y="1381014"/>
                  <a:pt x="6210620" y="1387880"/>
                </a:cubicBezTo>
                <a:cubicBezTo>
                  <a:pt x="6211993" y="1387880"/>
                  <a:pt x="6211993" y="1389296"/>
                  <a:pt x="6213642" y="1389296"/>
                </a:cubicBezTo>
                <a:cubicBezTo>
                  <a:pt x="6215015" y="1389296"/>
                  <a:pt x="6215015" y="1392020"/>
                  <a:pt x="6215015" y="1393328"/>
                </a:cubicBezTo>
                <a:cubicBezTo>
                  <a:pt x="6213367" y="1394745"/>
                  <a:pt x="6211993" y="1396162"/>
                  <a:pt x="6210620" y="1396162"/>
                </a:cubicBezTo>
                <a:cubicBezTo>
                  <a:pt x="6210620" y="1394745"/>
                  <a:pt x="6207599" y="1394745"/>
                  <a:pt x="6207599" y="1393328"/>
                </a:cubicBezTo>
                <a:cubicBezTo>
                  <a:pt x="6207599" y="1393328"/>
                  <a:pt x="6207599" y="1393438"/>
                  <a:pt x="6206224" y="1392020"/>
                </a:cubicBezTo>
                <a:cubicBezTo>
                  <a:pt x="6206224" y="1392020"/>
                  <a:pt x="6206224" y="1392020"/>
                  <a:pt x="6206224" y="1390604"/>
                </a:cubicBezTo>
                <a:cubicBezTo>
                  <a:pt x="6206224" y="1385156"/>
                  <a:pt x="6206224" y="1379706"/>
                  <a:pt x="6206224" y="1374258"/>
                </a:cubicBezTo>
                <a:cubicBezTo>
                  <a:pt x="6206224" y="1371534"/>
                  <a:pt x="6206224" y="1368700"/>
                  <a:pt x="6206224" y="1365976"/>
                </a:cubicBezTo>
                <a:cubicBezTo>
                  <a:pt x="6206224" y="1364560"/>
                  <a:pt x="6206224" y="1363252"/>
                  <a:pt x="6206224" y="1361944"/>
                </a:cubicBezTo>
                <a:cubicBezTo>
                  <a:pt x="6204851" y="1363252"/>
                  <a:pt x="6204851" y="1365976"/>
                  <a:pt x="6203478" y="1367392"/>
                </a:cubicBezTo>
                <a:cubicBezTo>
                  <a:pt x="6203478" y="1370117"/>
                  <a:pt x="6203478" y="1371425"/>
                  <a:pt x="6203478" y="1372842"/>
                </a:cubicBezTo>
                <a:cubicBezTo>
                  <a:pt x="6206224" y="1376982"/>
                  <a:pt x="6203478" y="1383739"/>
                  <a:pt x="6203478" y="1390604"/>
                </a:cubicBezTo>
                <a:cubicBezTo>
                  <a:pt x="6202654" y="1393438"/>
                  <a:pt x="6202379" y="1395726"/>
                  <a:pt x="6203204" y="1397687"/>
                </a:cubicBezTo>
                <a:lnTo>
                  <a:pt x="6208423" y="1401065"/>
                </a:lnTo>
                <a:lnTo>
                  <a:pt x="6209796" y="1399648"/>
                </a:lnTo>
                <a:cubicBezTo>
                  <a:pt x="6211444" y="1398886"/>
                  <a:pt x="6213642" y="1398777"/>
                  <a:pt x="6216663" y="1398559"/>
                </a:cubicBezTo>
                <a:cubicBezTo>
                  <a:pt x="6215565" y="1401828"/>
                  <a:pt x="6214466" y="1403463"/>
                  <a:pt x="6212543" y="1404225"/>
                </a:cubicBezTo>
                <a:lnTo>
                  <a:pt x="6211993" y="1404225"/>
                </a:lnTo>
                <a:lnTo>
                  <a:pt x="6211993" y="1404334"/>
                </a:lnTo>
                <a:cubicBezTo>
                  <a:pt x="6211993" y="1405642"/>
                  <a:pt x="6211993" y="1407168"/>
                  <a:pt x="6213642" y="1409892"/>
                </a:cubicBezTo>
                <a:cubicBezTo>
                  <a:pt x="6213642" y="1409892"/>
                  <a:pt x="6213642" y="1411200"/>
                  <a:pt x="6211993" y="1411200"/>
                </a:cubicBezTo>
                <a:cubicBezTo>
                  <a:pt x="6211993" y="1411200"/>
                  <a:pt x="6211993" y="1411200"/>
                  <a:pt x="6210620" y="1411200"/>
                </a:cubicBezTo>
                <a:cubicBezTo>
                  <a:pt x="6210620" y="1408476"/>
                  <a:pt x="6209247" y="1407059"/>
                  <a:pt x="6209247" y="1405752"/>
                </a:cubicBezTo>
                <a:lnTo>
                  <a:pt x="6207874" y="1419155"/>
                </a:lnTo>
                <a:lnTo>
                  <a:pt x="6207599" y="1419373"/>
                </a:lnTo>
                <a:cubicBezTo>
                  <a:pt x="6207599" y="1419373"/>
                  <a:pt x="6207599" y="1420790"/>
                  <a:pt x="6207599" y="1420790"/>
                </a:cubicBezTo>
                <a:lnTo>
                  <a:pt x="6207874" y="1419155"/>
                </a:lnTo>
                <a:lnTo>
                  <a:pt x="6209247" y="1416648"/>
                </a:lnTo>
                <a:cubicBezTo>
                  <a:pt x="6210620" y="1416648"/>
                  <a:pt x="6210620" y="1418066"/>
                  <a:pt x="6210620" y="1419373"/>
                </a:cubicBezTo>
                <a:cubicBezTo>
                  <a:pt x="6210620" y="1422097"/>
                  <a:pt x="6210620" y="1423514"/>
                  <a:pt x="6210620" y="1424821"/>
                </a:cubicBezTo>
                <a:cubicBezTo>
                  <a:pt x="6210620" y="1424821"/>
                  <a:pt x="6210620" y="1424930"/>
                  <a:pt x="6210620" y="1426238"/>
                </a:cubicBezTo>
                <a:cubicBezTo>
                  <a:pt x="6210620" y="1426238"/>
                  <a:pt x="6210620" y="1426238"/>
                  <a:pt x="6209247" y="1426238"/>
                </a:cubicBezTo>
                <a:lnTo>
                  <a:pt x="6212268" y="1428308"/>
                </a:lnTo>
                <a:lnTo>
                  <a:pt x="6213642" y="1427328"/>
                </a:lnTo>
                <a:lnTo>
                  <a:pt x="6216114" y="1426783"/>
                </a:lnTo>
                <a:lnTo>
                  <a:pt x="6218312" y="1420572"/>
                </a:lnTo>
                <a:cubicBezTo>
                  <a:pt x="6218861" y="1416648"/>
                  <a:pt x="6219136" y="1412616"/>
                  <a:pt x="6220509" y="1409892"/>
                </a:cubicBezTo>
                <a:cubicBezTo>
                  <a:pt x="6220509" y="1409892"/>
                  <a:pt x="6220784" y="1409892"/>
                  <a:pt x="6222157" y="1409892"/>
                </a:cubicBezTo>
                <a:cubicBezTo>
                  <a:pt x="6222157" y="1408476"/>
                  <a:pt x="6222157" y="1408476"/>
                  <a:pt x="6222157" y="1408476"/>
                </a:cubicBezTo>
                <a:cubicBezTo>
                  <a:pt x="6222157" y="1407059"/>
                  <a:pt x="6222157" y="1405752"/>
                  <a:pt x="6222157" y="1405752"/>
                </a:cubicBezTo>
                <a:cubicBezTo>
                  <a:pt x="6220784" y="1404334"/>
                  <a:pt x="6219136" y="1404334"/>
                  <a:pt x="6217762" y="1404334"/>
                </a:cubicBezTo>
                <a:cubicBezTo>
                  <a:pt x="6217762" y="1398777"/>
                  <a:pt x="6220784" y="1392020"/>
                  <a:pt x="6224904" y="1387880"/>
                </a:cubicBezTo>
                <a:cubicBezTo>
                  <a:pt x="6224904" y="1385156"/>
                  <a:pt x="6224904" y="1382431"/>
                  <a:pt x="6224904" y="1379706"/>
                </a:cubicBezTo>
                <a:cubicBezTo>
                  <a:pt x="6224904" y="1378290"/>
                  <a:pt x="6226278" y="1376982"/>
                  <a:pt x="6227925" y="1376982"/>
                </a:cubicBezTo>
                <a:cubicBezTo>
                  <a:pt x="6229299" y="1376982"/>
                  <a:pt x="6229299" y="1378290"/>
                  <a:pt x="6229299" y="1379706"/>
                </a:cubicBezTo>
                <a:cubicBezTo>
                  <a:pt x="6229299" y="1382431"/>
                  <a:pt x="6229299" y="1386572"/>
                  <a:pt x="6229299" y="1389296"/>
                </a:cubicBezTo>
                <a:cubicBezTo>
                  <a:pt x="6227925" y="1396162"/>
                  <a:pt x="6232046" y="1405752"/>
                  <a:pt x="6227925" y="1409892"/>
                </a:cubicBezTo>
                <a:cubicBezTo>
                  <a:pt x="6230673" y="1416758"/>
                  <a:pt x="6226278" y="1426347"/>
                  <a:pt x="6229299" y="1433212"/>
                </a:cubicBezTo>
                <a:cubicBezTo>
                  <a:pt x="6232046" y="1431796"/>
                  <a:pt x="6236441" y="1429072"/>
                  <a:pt x="6240837" y="1426238"/>
                </a:cubicBezTo>
                <a:cubicBezTo>
                  <a:pt x="6240837" y="1415340"/>
                  <a:pt x="6242210" y="1411200"/>
                  <a:pt x="6245231" y="1408476"/>
                </a:cubicBezTo>
                <a:cubicBezTo>
                  <a:pt x="6247978" y="1405752"/>
                  <a:pt x="6252099" y="1404334"/>
                  <a:pt x="6255120" y="1397578"/>
                </a:cubicBezTo>
                <a:cubicBezTo>
                  <a:pt x="6255120" y="1397578"/>
                  <a:pt x="6255120" y="1397470"/>
                  <a:pt x="6255120" y="1393328"/>
                </a:cubicBezTo>
                <a:cubicBezTo>
                  <a:pt x="6253747" y="1392020"/>
                  <a:pt x="6253747" y="1390713"/>
                  <a:pt x="6253747" y="1389296"/>
                </a:cubicBezTo>
                <a:cubicBezTo>
                  <a:pt x="6253747" y="1389296"/>
                  <a:pt x="6253747" y="1389296"/>
                  <a:pt x="6253747" y="1387880"/>
                </a:cubicBezTo>
                <a:cubicBezTo>
                  <a:pt x="6253747" y="1387880"/>
                  <a:pt x="6253747" y="1386572"/>
                  <a:pt x="6255120" y="1386572"/>
                </a:cubicBezTo>
                <a:cubicBezTo>
                  <a:pt x="6256494" y="1386572"/>
                  <a:pt x="6256494" y="1387989"/>
                  <a:pt x="6256494" y="1389296"/>
                </a:cubicBezTo>
                <a:cubicBezTo>
                  <a:pt x="6256494" y="1389296"/>
                  <a:pt x="6256494" y="1389296"/>
                  <a:pt x="6258142" y="1389296"/>
                </a:cubicBezTo>
                <a:cubicBezTo>
                  <a:pt x="6262263" y="1390713"/>
                  <a:pt x="6263636" y="1387989"/>
                  <a:pt x="6265010" y="1386572"/>
                </a:cubicBezTo>
                <a:cubicBezTo>
                  <a:pt x="6269405" y="1367392"/>
                  <a:pt x="6269405" y="1348214"/>
                  <a:pt x="6268032" y="1329034"/>
                </a:cubicBezTo>
                <a:cubicBezTo>
                  <a:pt x="6268032" y="1329034"/>
                  <a:pt x="6268032" y="1329034"/>
                  <a:pt x="6266657" y="1308438"/>
                </a:cubicBezTo>
                <a:cubicBezTo>
                  <a:pt x="6266657" y="1307022"/>
                  <a:pt x="6266657" y="1307130"/>
                  <a:pt x="6266657" y="1307130"/>
                </a:cubicBezTo>
                <a:cubicBezTo>
                  <a:pt x="6266657" y="1294817"/>
                  <a:pt x="6266657" y="1287842"/>
                  <a:pt x="6263636" y="1278252"/>
                </a:cubicBezTo>
                <a:cubicBezTo>
                  <a:pt x="6257868" y="1276836"/>
                  <a:pt x="6260889" y="1283810"/>
                  <a:pt x="6258142" y="1285118"/>
                </a:cubicBezTo>
                <a:cubicBezTo>
                  <a:pt x="6258142" y="1289260"/>
                  <a:pt x="6258142" y="1291984"/>
                  <a:pt x="6258142" y="1294817"/>
                </a:cubicBezTo>
                <a:cubicBezTo>
                  <a:pt x="6256494" y="1296124"/>
                  <a:pt x="6256494" y="1297432"/>
                  <a:pt x="6256494" y="1298848"/>
                </a:cubicBezTo>
                <a:cubicBezTo>
                  <a:pt x="6256494" y="1298848"/>
                  <a:pt x="6256494" y="1298848"/>
                  <a:pt x="6258142" y="1298848"/>
                </a:cubicBezTo>
                <a:cubicBezTo>
                  <a:pt x="6258142" y="1304298"/>
                  <a:pt x="6257868" y="1309746"/>
                  <a:pt x="6253747" y="1308438"/>
                </a:cubicBezTo>
                <a:cubicBezTo>
                  <a:pt x="6253747" y="1305714"/>
                  <a:pt x="6247978" y="1300266"/>
                  <a:pt x="6252099" y="1297541"/>
                </a:cubicBezTo>
                <a:cubicBezTo>
                  <a:pt x="6252099" y="1296124"/>
                  <a:pt x="6252099" y="1294708"/>
                  <a:pt x="6252099" y="1293291"/>
                </a:cubicBezTo>
                <a:lnTo>
                  <a:pt x="6253198" y="1288387"/>
                </a:lnTo>
                <a:lnTo>
                  <a:pt x="6250176" y="1291984"/>
                </a:lnTo>
                <a:cubicBezTo>
                  <a:pt x="6246056" y="1294272"/>
                  <a:pt x="6241386" y="1294599"/>
                  <a:pt x="6236441" y="1293836"/>
                </a:cubicBezTo>
                <a:cubicBezTo>
                  <a:pt x="6232321" y="1293291"/>
                  <a:pt x="6227925" y="1291875"/>
                  <a:pt x="6223806" y="1289804"/>
                </a:cubicBezTo>
                <a:lnTo>
                  <a:pt x="6215565" y="1284792"/>
                </a:lnTo>
                <a:lnTo>
                  <a:pt x="6215839" y="1290022"/>
                </a:lnTo>
                <a:lnTo>
                  <a:pt x="6222432" y="1298086"/>
                </a:lnTo>
                <a:cubicBezTo>
                  <a:pt x="6221882" y="1299721"/>
                  <a:pt x="6220784" y="1300920"/>
                  <a:pt x="6219685" y="1301791"/>
                </a:cubicBezTo>
                <a:lnTo>
                  <a:pt x="6216663" y="1302881"/>
                </a:lnTo>
                <a:lnTo>
                  <a:pt x="6218312" y="1318464"/>
                </a:lnTo>
                <a:cubicBezTo>
                  <a:pt x="6218587" y="1325547"/>
                  <a:pt x="6218587" y="1332412"/>
                  <a:pt x="6217762" y="1338624"/>
                </a:cubicBezTo>
                <a:cubicBezTo>
                  <a:pt x="6216388" y="1339932"/>
                  <a:pt x="6216388" y="1339932"/>
                  <a:pt x="6215015" y="1339932"/>
                </a:cubicBezTo>
                <a:cubicBezTo>
                  <a:pt x="6213367" y="1339932"/>
                  <a:pt x="6213642" y="1338515"/>
                  <a:pt x="6213642" y="1337208"/>
                </a:cubicBezTo>
                <a:lnTo>
                  <a:pt x="6213642" y="1303426"/>
                </a:lnTo>
                <a:lnTo>
                  <a:pt x="6205950" y="1303644"/>
                </a:lnTo>
                <a:cubicBezTo>
                  <a:pt x="6204028" y="1297541"/>
                  <a:pt x="6202379" y="1291547"/>
                  <a:pt x="6204302" y="1287842"/>
                </a:cubicBezTo>
                <a:lnTo>
                  <a:pt x="6207599" y="1288169"/>
                </a:lnTo>
                <a:lnTo>
                  <a:pt x="6207324" y="1287079"/>
                </a:lnTo>
                <a:cubicBezTo>
                  <a:pt x="6206499" y="1284683"/>
                  <a:pt x="6206499" y="1282176"/>
                  <a:pt x="6208148" y="1279996"/>
                </a:cubicBezTo>
                <a:cubicBezTo>
                  <a:pt x="6208697" y="1281522"/>
                  <a:pt x="6209796" y="1283701"/>
                  <a:pt x="6210345" y="1285881"/>
                </a:cubicBezTo>
                <a:lnTo>
                  <a:pt x="6210895" y="1288496"/>
                </a:lnTo>
                <a:lnTo>
                  <a:pt x="6212268" y="1288714"/>
                </a:lnTo>
                <a:lnTo>
                  <a:pt x="6211444" y="1282067"/>
                </a:lnTo>
                <a:close/>
                <a:moveTo>
                  <a:pt x="6271877" y="1274112"/>
                </a:moveTo>
                <a:lnTo>
                  <a:pt x="6272426" y="1276945"/>
                </a:lnTo>
                <a:cubicBezTo>
                  <a:pt x="6273800" y="1279670"/>
                  <a:pt x="6275173" y="1283810"/>
                  <a:pt x="6276547" y="1287842"/>
                </a:cubicBezTo>
                <a:cubicBezTo>
                  <a:pt x="6275173" y="1286534"/>
                  <a:pt x="6273800" y="1286534"/>
                  <a:pt x="6273800" y="1285118"/>
                </a:cubicBezTo>
                <a:lnTo>
                  <a:pt x="6274624" y="1290894"/>
                </a:lnTo>
                <a:lnTo>
                  <a:pt x="6277370" y="1290894"/>
                </a:lnTo>
                <a:cubicBezTo>
                  <a:pt x="6277370" y="1292529"/>
                  <a:pt x="6277096" y="1295144"/>
                  <a:pt x="6276272" y="1297323"/>
                </a:cubicBezTo>
                <a:lnTo>
                  <a:pt x="6275997" y="1297541"/>
                </a:lnTo>
                <a:lnTo>
                  <a:pt x="6276547" y="1301573"/>
                </a:lnTo>
                <a:cubicBezTo>
                  <a:pt x="6272151" y="1301573"/>
                  <a:pt x="6273800" y="1308438"/>
                  <a:pt x="6272426" y="1309855"/>
                </a:cubicBezTo>
                <a:cubicBezTo>
                  <a:pt x="6272426" y="1309855"/>
                  <a:pt x="6272426" y="1309746"/>
                  <a:pt x="6272426" y="1329034"/>
                </a:cubicBezTo>
                <a:cubicBezTo>
                  <a:pt x="6273800" y="1342656"/>
                  <a:pt x="6275173" y="1357803"/>
                  <a:pt x="6273800" y="1372842"/>
                </a:cubicBezTo>
                <a:cubicBezTo>
                  <a:pt x="6273800" y="1372842"/>
                  <a:pt x="6275173" y="1372842"/>
                  <a:pt x="6276547" y="1374258"/>
                </a:cubicBezTo>
                <a:cubicBezTo>
                  <a:pt x="6276547" y="1370117"/>
                  <a:pt x="6276547" y="1364560"/>
                  <a:pt x="6275173" y="1360419"/>
                </a:cubicBezTo>
                <a:cubicBezTo>
                  <a:pt x="6275173" y="1360419"/>
                  <a:pt x="6275173" y="1360528"/>
                  <a:pt x="6275173" y="1357694"/>
                </a:cubicBezTo>
                <a:cubicBezTo>
                  <a:pt x="6275173" y="1356386"/>
                  <a:pt x="6275173" y="1356386"/>
                  <a:pt x="6275173" y="1356386"/>
                </a:cubicBezTo>
                <a:cubicBezTo>
                  <a:pt x="6275173" y="1356386"/>
                  <a:pt x="6275173" y="1354970"/>
                  <a:pt x="6275173" y="1354970"/>
                </a:cubicBezTo>
                <a:cubicBezTo>
                  <a:pt x="6276547" y="1354970"/>
                  <a:pt x="6276547" y="1355079"/>
                  <a:pt x="6276547" y="1356386"/>
                </a:cubicBezTo>
                <a:cubicBezTo>
                  <a:pt x="6276547" y="1356386"/>
                  <a:pt x="6276547" y="1356386"/>
                  <a:pt x="6277920" y="1359111"/>
                </a:cubicBezTo>
                <a:cubicBezTo>
                  <a:pt x="6279569" y="1364668"/>
                  <a:pt x="6279569" y="1371534"/>
                  <a:pt x="6277920" y="1376982"/>
                </a:cubicBezTo>
                <a:cubicBezTo>
                  <a:pt x="6279569" y="1376982"/>
                  <a:pt x="6280942" y="1376982"/>
                  <a:pt x="6280942" y="1376982"/>
                </a:cubicBezTo>
                <a:cubicBezTo>
                  <a:pt x="6282315" y="1367392"/>
                  <a:pt x="6282315" y="1356386"/>
                  <a:pt x="6282315" y="1344072"/>
                </a:cubicBezTo>
                <a:cubicBezTo>
                  <a:pt x="6282315" y="1338624"/>
                  <a:pt x="6282315" y="1331650"/>
                  <a:pt x="6282315" y="1324785"/>
                </a:cubicBezTo>
                <a:cubicBezTo>
                  <a:pt x="6282315" y="1324785"/>
                  <a:pt x="6282315" y="1324785"/>
                  <a:pt x="6280942" y="1324785"/>
                </a:cubicBezTo>
                <a:lnTo>
                  <a:pt x="6279019" y="1274983"/>
                </a:lnTo>
                <a:lnTo>
                  <a:pt x="6278195" y="1275528"/>
                </a:lnTo>
                <a:close/>
                <a:moveTo>
                  <a:pt x="2427797" y="1274003"/>
                </a:moveTo>
                <a:cubicBezTo>
                  <a:pt x="2428072" y="1278580"/>
                  <a:pt x="2433016" y="1282067"/>
                  <a:pt x="2435214" y="1286862"/>
                </a:cubicBezTo>
                <a:cubicBezTo>
                  <a:pt x="2436037" y="1288497"/>
                  <a:pt x="2436312" y="1290240"/>
                  <a:pt x="2436312" y="1292201"/>
                </a:cubicBezTo>
                <a:cubicBezTo>
                  <a:pt x="2436312" y="1292201"/>
                  <a:pt x="2436312" y="1292310"/>
                  <a:pt x="2435763" y="1290894"/>
                </a:cubicBezTo>
                <a:cubicBezTo>
                  <a:pt x="2435763" y="1290894"/>
                  <a:pt x="2436312" y="1292201"/>
                  <a:pt x="2434939" y="1292746"/>
                </a:cubicBezTo>
                <a:cubicBezTo>
                  <a:pt x="2431917" y="1290131"/>
                  <a:pt x="2429994" y="1285881"/>
                  <a:pt x="2428621" y="1282176"/>
                </a:cubicBezTo>
                <a:cubicBezTo>
                  <a:pt x="2427248" y="1278471"/>
                  <a:pt x="2426698" y="1275202"/>
                  <a:pt x="2426423" y="1274548"/>
                </a:cubicBezTo>
                <a:cubicBezTo>
                  <a:pt x="2427797" y="1274003"/>
                  <a:pt x="2427797" y="1274003"/>
                  <a:pt x="2427797" y="1274003"/>
                </a:cubicBezTo>
                <a:close/>
                <a:moveTo>
                  <a:pt x="6201280" y="1271714"/>
                </a:moveTo>
                <a:lnTo>
                  <a:pt x="6200731" y="1275528"/>
                </a:lnTo>
                <a:cubicBezTo>
                  <a:pt x="6201280" y="1275528"/>
                  <a:pt x="6202105" y="1275202"/>
                  <a:pt x="6202929" y="1275092"/>
                </a:cubicBezTo>
                <a:lnTo>
                  <a:pt x="6204302" y="1275419"/>
                </a:lnTo>
                <a:lnTo>
                  <a:pt x="6202654" y="1273894"/>
                </a:lnTo>
                <a:close/>
                <a:moveTo>
                  <a:pt x="1856707" y="1271714"/>
                </a:moveTo>
                <a:cubicBezTo>
                  <a:pt x="1855608" y="1273240"/>
                  <a:pt x="1852312" y="1281086"/>
                  <a:pt x="1850663" y="1279670"/>
                </a:cubicBezTo>
                <a:cubicBezTo>
                  <a:pt x="1850663" y="1279670"/>
                  <a:pt x="1851762" y="1278143"/>
                  <a:pt x="1853135" y="1276509"/>
                </a:cubicBezTo>
                <a:cubicBezTo>
                  <a:pt x="1854234" y="1274874"/>
                  <a:pt x="1854234" y="1274874"/>
                  <a:pt x="1852586" y="1273458"/>
                </a:cubicBezTo>
                <a:cubicBezTo>
                  <a:pt x="1853960" y="1271823"/>
                  <a:pt x="1853960" y="1271823"/>
                  <a:pt x="1856707" y="1271714"/>
                </a:cubicBezTo>
                <a:close/>
                <a:moveTo>
                  <a:pt x="2419556" y="1271060"/>
                </a:moveTo>
                <a:cubicBezTo>
                  <a:pt x="2420105" y="1272695"/>
                  <a:pt x="2420929" y="1274657"/>
                  <a:pt x="2421204" y="1276945"/>
                </a:cubicBezTo>
                <a:lnTo>
                  <a:pt x="2419830" y="1280541"/>
                </a:lnTo>
                <a:lnTo>
                  <a:pt x="2422029" y="1280977"/>
                </a:lnTo>
                <a:cubicBezTo>
                  <a:pt x="2426698" y="1284246"/>
                  <a:pt x="2429720" y="1291112"/>
                  <a:pt x="2425874" y="1297977"/>
                </a:cubicBezTo>
                <a:cubicBezTo>
                  <a:pt x="2422853" y="1298522"/>
                  <a:pt x="2420380" y="1298522"/>
                  <a:pt x="2418183" y="1298413"/>
                </a:cubicBezTo>
                <a:cubicBezTo>
                  <a:pt x="2415985" y="1298195"/>
                  <a:pt x="2414062" y="1297650"/>
                  <a:pt x="2412414" y="1297541"/>
                </a:cubicBezTo>
                <a:cubicBezTo>
                  <a:pt x="2411316" y="1293400"/>
                  <a:pt x="2409392" y="1290567"/>
                  <a:pt x="2408293" y="1286426"/>
                </a:cubicBezTo>
                <a:lnTo>
                  <a:pt x="2408568" y="1285881"/>
                </a:lnTo>
                <a:lnTo>
                  <a:pt x="2408568" y="1285772"/>
                </a:lnTo>
                <a:cubicBezTo>
                  <a:pt x="2406371" y="1283920"/>
                  <a:pt x="2405822" y="1282394"/>
                  <a:pt x="2406096" y="1280760"/>
                </a:cubicBezTo>
                <a:cubicBezTo>
                  <a:pt x="2406371" y="1279125"/>
                  <a:pt x="2407469" y="1277272"/>
                  <a:pt x="2409117" y="1275311"/>
                </a:cubicBezTo>
                <a:cubicBezTo>
                  <a:pt x="2412414" y="1271279"/>
                  <a:pt x="2416535" y="1273567"/>
                  <a:pt x="2419556" y="1271060"/>
                </a:cubicBezTo>
                <a:close/>
                <a:moveTo>
                  <a:pt x="2431917" y="1268881"/>
                </a:moveTo>
                <a:cubicBezTo>
                  <a:pt x="2447300" y="1273458"/>
                  <a:pt x="2442905" y="1284573"/>
                  <a:pt x="2451421" y="1287189"/>
                </a:cubicBezTo>
                <a:cubicBezTo>
                  <a:pt x="2449223" y="1289695"/>
                  <a:pt x="2449223" y="1289805"/>
                  <a:pt x="2445927" y="1289477"/>
                </a:cubicBezTo>
                <a:cubicBezTo>
                  <a:pt x="2445652" y="1288169"/>
                  <a:pt x="2444279" y="1288714"/>
                  <a:pt x="2445103" y="1286753"/>
                </a:cubicBezTo>
                <a:cubicBezTo>
                  <a:pt x="2444004" y="1286535"/>
                  <a:pt x="2442630" y="1285663"/>
                  <a:pt x="2440982" y="1284355"/>
                </a:cubicBezTo>
                <a:lnTo>
                  <a:pt x="2439609" y="1282721"/>
                </a:lnTo>
                <a:lnTo>
                  <a:pt x="2434390" y="1281740"/>
                </a:lnTo>
                <a:cubicBezTo>
                  <a:pt x="2433016" y="1281849"/>
                  <a:pt x="2433840" y="1277163"/>
                  <a:pt x="2433840" y="1277163"/>
                </a:cubicBezTo>
                <a:lnTo>
                  <a:pt x="2435763" y="1277163"/>
                </a:lnTo>
                <a:close/>
                <a:moveTo>
                  <a:pt x="1090032" y="1267791"/>
                </a:moveTo>
                <a:cubicBezTo>
                  <a:pt x="1091681" y="1267791"/>
                  <a:pt x="1093054" y="1269426"/>
                  <a:pt x="1093054" y="1269426"/>
                </a:cubicBezTo>
                <a:cubicBezTo>
                  <a:pt x="1094702" y="1270951"/>
                  <a:pt x="1094702" y="1270951"/>
                  <a:pt x="1095801" y="1269535"/>
                </a:cubicBezTo>
                <a:cubicBezTo>
                  <a:pt x="1095801" y="1269535"/>
                  <a:pt x="1095801" y="1270951"/>
                  <a:pt x="1095801" y="1270951"/>
                </a:cubicBezTo>
                <a:cubicBezTo>
                  <a:pt x="1094428" y="1270843"/>
                  <a:pt x="1096076" y="1271060"/>
                  <a:pt x="1097450" y="1272586"/>
                </a:cubicBezTo>
                <a:cubicBezTo>
                  <a:pt x="1096076" y="1275528"/>
                  <a:pt x="1096351" y="1276945"/>
                  <a:pt x="1094977" y="1278362"/>
                </a:cubicBezTo>
                <a:cubicBezTo>
                  <a:pt x="1094154" y="1279125"/>
                  <a:pt x="1093054" y="1279779"/>
                  <a:pt x="1092231" y="1280105"/>
                </a:cubicBezTo>
                <a:cubicBezTo>
                  <a:pt x="1091132" y="1280432"/>
                  <a:pt x="1090032" y="1280324"/>
                  <a:pt x="1089209" y="1279560"/>
                </a:cubicBezTo>
                <a:cubicBezTo>
                  <a:pt x="1089209" y="1278035"/>
                  <a:pt x="1087836" y="1278035"/>
                  <a:pt x="1087836" y="1276509"/>
                </a:cubicBezTo>
                <a:cubicBezTo>
                  <a:pt x="1086188" y="1273458"/>
                  <a:pt x="1086188" y="1272041"/>
                  <a:pt x="1087561" y="1270625"/>
                </a:cubicBezTo>
                <a:cubicBezTo>
                  <a:pt x="1087561" y="1269099"/>
                  <a:pt x="1088659" y="1269207"/>
                  <a:pt x="1090032" y="1267791"/>
                </a:cubicBezTo>
                <a:close/>
                <a:moveTo>
                  <a:pt x="1874562" y="1266048"/>
                </a:moveTo>
                <a:cubicBezTo>
                  <a:pt x="1874562" y="1266048"/>
                  <a:pt x="1875661" y="1266157"/>
                  <a:pt x="1875661" y="1266157"/>
                </a:cubicBezTo>
                <a:cubicBezTo>
                  <a:pt x="1875661" y="1267682"/>
                  <a:pt x="1875386" y="1269317"/>
                  <a:pt x="1874013" y="1269317"/>
                </a:cubicBezTo>
                <a:cubicBezTo>
                  <a:pt x="1873463" y="1269317"/>
                  <a:pt x="1873188" y="1268772"/>
                  <a:pt x="1873463" y="1268227"/>
                </a:cubicBezTo>
                <a:cubicBezTo>
                  <a:pt x="1873463" y="1267573"/>
                  <a:pt x="1873738" y="1266811"/>
                  <a:pt x="1874562" y="1266048"/>
                </a:cubicBezTo>
                <a:close/>
                <a:moveTo>
                  <a:pt x="6239188" y="1264849"/>
                </a:moveTo>
                <a:cubicBezTo>
                  <a:pt x="6237815" y="1263214"/>
                  <a:pt x="6235617" y="1263214"/>
                  <a:pt x="6232046" y="1265938"/>
                </a:cubicBezTo>
                <a:lnTo>
                  <a:pt x="6232046" y="1268772"/>
                </a:lnTo>
                <a:lnTo>
                  <a:pt x="6242210" y="1272586"/>
                </a:lnTo>
                <a:close/>
                <a:moveTo>
                  <a:pt x="2316545" y="1264631"/>
                </a:moveTo>
                <a:cubicBezTo>
                  <a:pt x="2318194" y="1270734"/>
                  <a:pt x="2315447" y="1272368"/>
                  <a:pt x="2309678" y="1273567"/>
                </a:cubicBezTo>
                <a:cubicBezTo>
                  <a:pt x="2306107" y="1264522"/>
                  <a:pt x="2309403" y="1264958"/>
                  <a:pt x="2316545" y="1264631"/>
                </a:cubicBezTo>
                <a:close/>
                <a:moveTo>
                  <a:pt x="2270946" y="1262560"/>
                </a:moveTo>
                <a:cubicBezTo>
                  <a:pt x="2272594" y="1263323"/>
                  <a:pt x="2273418" y="1266157"/>
                  <a:pt x="2273967" y="1267573"/>
                </a:cubicBezTo>
                <a:cubicBezTo>
                  <a:pt x="2272594" y="1268118"/>
                  <a:pt x="2272869" y="1269644"/>
                  <a:pt x="2271496" y="1270189"/>
                </a:cubicBezTo>
                <a:cubicBezTo>
                  <a:pt x="2270397" y="1271496"/>
                  <a:pt x="2269848" y="1272150"/>
                  <a:pt x="2269298" y="1272368"/>
                </a:cubicBezTo>
                <a:lnTo>
                  <a:pt x="2268199" y="1272041"/>
                </a:lnTo>
                <a:lnTo>
                  <a:pt x="2268473" y="1272804"/>
                </a:lnTo>
                <a:cubicBezTo>
                  <a:pt x="2266826" y="1272150"/>
                  <a:pt x="2266826" y="1272150"/>
                  <a:pt x="2266002" y="1274112"/>
                </a:cubicBezTo>
                <a:cubicBezTo>
                  <a:pt x="2266002" y="1274112"/>
                  <a:pt x="2266002" y="1274003"/>
                  <a:pt x="2266551" y="1275311"/>
                </a:cubicBezTo>
                <a:cubicBezTo>
                  <a:pt x="2265452" y="1275964"/>
                  <a:pt x="2264628" y="1274657"/>
                  <a:pt x="2263529" y="1275311"/>
                </a:cubicBezTo>
                <a:cubicBezTo>
                  <a:pt x="2263529" y="1275311"/>
                  <a:pt x="2262980" y="1274003"/>
                  <a:pt x="2262980" y="1274003"/>
                </a:cubicBezTo>
                <a:cubicBezTo>
                  <a:pt x="2262430" y="1274329"/>
                  <a:pt x="2262430" y="1274329"/>
                  <a:pt x="2262705" y="1273894"/>
                </a:cubicBezTo>
                <a:cubicBezTo>
                  <a:pt x="2262705" y="1273458"/>
                  <a:pt x="2263254" y="1272368"/>
                  <a:pt x="2263254" y="1270843"/>
                </a:cubicBezTo>
                <a:cubicBezTo>
                  <a:pt x="2264079" y="1268881"/>
                  <a:pt x="2263529" y="1267682"/>
                  <a:pt x="2265178" y="1268336"/>
                </a:cubicBezTo>
                <a:lnTo>
                  <a:pt x="2265727" y="1268554"/>
                </a:lnTo>
                <a:lnTo>
                  <a:pt x="2263804" y="1265394"/>
                </a:lnTo>
                <a:cubicBezTo>
                  <a:pt x="2263804" y="1265394"/>
                  <a:pt x="2263804" y="1265394"/>
                  <a:pt x="2266276" y="1262888"/>
                </a:cubicBezTo>
                <a:cubicBezTo>
                  <a:pt x="2267650" y="1262234"/>
                  <a:pt x="2269023" y="1261689"/>
                  <a:pt x="2270946" y="1262560"/>
                </a:cubicBezTo>
                <a:close/>
                <a:moveTo>
                  <a:pt x="1154586" y="1262451"/>
                </a:moveTo>
                <a:cubicBezTo>
                  <a:pt x="1158707" y="1265938"/>
                  <a:pt x="1155410" y="1269861"/>
                  <a:pt x="1153762" y="1275419"/>
                </a:cubicBezTo>
                <a:cubicBezTo>
                  <a:pt x="1152389" y="1273785"/>
                  <a:pt x="1151016" y="1274983"/>
                  <a:pt x="1149367" y="1276182"/>
                </a:cubicBezTo>
                <a:cubicBezTo>
                  <a:pt x="1147444" y="1273675"/>
                  <a:pt x="1143873" y="1269971"/>
                  <a:pt x="1144697" y="1266375"/>
                </a:cubicBezTo>
                <a:cubicBezTo>
                  <a:pt x="1144972" y="1265067"/>
                  <a:pt x="1145796" y="1263977"/>
                  <a:pt x="1147444" y="1262778"/>
                </a:cubicBezTo>
                <a:cubicBezTo>
                  <a:pt x="1147444" y="1261253"/>
                  <a:pt x="1153213" y="1260708"/>
                  <a:pt x="1154586" y="1262451"/>
                </a:cubicBezTo>
                <a:close/>
                <a:moveTo>
                  <a:pt x="2422029" y="1260599"/>
                </a:moveTo>
                <a:cubicBezTo>
                  <a:pt x="2423951" y="1261470"/>
                  <a:pt x="2426148" y="1263650"/>
                  <a:pt x="2428072" y="1264522"/>
                </a:cubicBezTo>
                <a:cubicBezTo>
                  <a:pt x="2428072" y="1264522"/>
                  <a:pt x="2428072" y="1264522"/>
                  <a:pt x="2426973" y="1266483"/>
                </a:cubicBezTo>
                <a:cubicBezTo>
                  <a:pt x="2426423" y="1264413"/>
                  <a:pt x="2422853" y="1264413"/>
                  <a:pt x="2422029" y="1262888"/>
                </a:cubicBezTo>
                <a:cubicBezTo>
                  <a:pt x="2421754" y="1262343"/>
                  <a:pt x="2421754" y="1261580"/>
                  <a:pt x="2422029" y="1260599"/>
                </a:cubicBezTo>
                <a:close/>
                <a:moveTo>
                  <a:pt x="2386043" y="1260599"/>
                </a:moveTo>
                <a:cubicBezTo>
                  <a:pt x="2390988" y="1264849"/>
                  <a:pt x="2387691" y="1268445"/>
                  <a:pt x="2384395" y="1272150"/>
                </a:cubicBezTo>
                <a:cubicBezTo>
                  <a:pt x="2381923" y="1270080"/>
                  <a:pt x="2378901" y="1270843"/>
                  <a:pt x="2376703" y="1265938"/>
                </a:cubicBezTo>
                <a:cubicBezTo>
                  <a:pt x="2380000" y="1263650"/>
                  <a:pt x="2382747" y="1262888"/>
                  <a:pt x="2386043" y="1260599"/>
                </a:cubicBezTo>
                <a:close/>
                <a:moveTo>
                  <a:pt x="1831160" y="1259400"/>
                </a:moveTo>
                <a:cubicBezTo>
                  <a:pt x="1828962" y="1261580"/>
                  <a:pt x="1825391" y="1266048"/>
                  <a:pt x="1822644" y="1266920"/>
                </a:cubicBezTo>
                <a:cubicBezTo>
                  <a:pt x="1821546" y="1267137"/>
                  <a:pt x="1820721" y="1267028"/>
                  <a:pt x="1819898" y="1266266"/>
                </a:cubicBezTo>
                <a:cubicBezTo>
                  <a:pt x="1822644" y="1263432"/>
                  <a:pt x="1825391" y="1257766"/>
                  <a:pt x="1831160" y="1259400"/>
                </a:cubicBezTo>
                <a:close/>
                <a:moveTo>
                  <a:pt x="2187989" y="1257875"/>
                </a:moveTo>
                <a:cubicBezTo>
                  <a:pt x="2188813" y="1258420"/>
                  <a:pt x="2189362" y="1259182"/>
                  <a:pt x="2190186" y="1259945"/>
                </a:cubicBezTo>
                <a:cubicBezTo>
                  <a:pt x="2191559" y="1261689"/>
                  <a:pt x="2192933" y="1263323"/>
                  <a:pt x="2194307" y="1265067"/>
                </a:cubicBezTo>
                <a:cubicBezTo>
                  <a:pt x="2194307" y="1265067"/>
                  <a:pt x="2194307" y="1265067"/>
                  <a:pt x="2185791" y="1257983"/>
                </a:cubicBezTo>
                <a:cubicBezTo>
                  <a:pt x="2186614" y="1257330"/>
                  <a:pt x="2187164" y="1257438"/>
                  <a:pt x="2187989" y="1257875"/>
                </a:cubicBezTo>
                <a:close/>
                <a:moveTo>
                  <a:pt x="1879781" y="1257547"/>
                </a:moveTo>
                <a:cubicBezTo>
                  <a:pt x="1877858" y="1262015"/>
                  <a:pt x="1877858" y="1262124"/>
                  <a:pt x="1874562" y="1265067"/>
                </a:cubicBezTo>
                <a:cubicBezTo>
                  <a:pt x="1874836" y="1263542"/>
                  <a:pt x="1873738" y="1260490"/>
                  <a:pt x="1875386" y="1258965"/>
                </a:cubicBezTo>
                <a:cubicBezTo>
                  <a:pt x="1876759" y="1257547"/>
                  <a:pt x="1876759" y="1257547"/>
                  <a:pt x="1879781" y="1257547"/>
                </a:cubicBezTo>
                <a:close/>
                <a:moveTo>
                  <a:pt x="1170828" y="1257480"/>
                </a:moveTo>
                <a:cubicBezTo>
                  <a:pt x="1175326" y="1259564"/>
                  <a:pt x="1179034" y="1264032"/>
                  <a:pt x="1179309" y="1268663"/>
                </a:cubicBezTo>
                <a:cubicBezTo>
                  <a:pt x="1176561" y="1272368"/>
                  <a:pt x="1172442" y="1273675"/>
                  <a:pt x="1168596" y="1273240"/>
                </a:cubicBezTo>
                <a:cubicBezTo>
                  <a:pt x="1164750" y="1272804"/>
                  <a:pt x="1160904" y="1270625"/>
                  <a:pt x="1158982" y="1267682"/>
                </a:cubicBezTo>
                <a:cubicBezTo>
                  <a:pt x="1157608" y="1265612"/>
                  <a:pt x="1157059" y="1263323"/>
                  <a:pt x="1157608" y="1260599"/>
                </a:cubicBezTo>
                <a:cubicBezTo>
                  <a:pt x="1161041" y="1255695"/>
                  <a:pt x="1166329" y="1255396"/>
                  <a:pt x="1170828" y="1257480"/>
                </a:cubicBezTo>
                <a:close/>
                <a:moveTo>
                  <a:pt x="6202105" y="1252208"/>
                </a:moveTo>
                <a:cubicBezTo>
                  <a:pt x="6199907" y="1252971"/>
                  <a:pt x="6199907" y="1255259"/>
                  <a:pt x="6200456" y="1257983"/>
                </a:cubicBezTo>
                <a:lnTo>
                  <a:pt x="6201830" y="1264849"/>
                </a:lnTo>
                <a:lnTo>
                  <a:pt x="6207049" y="1264195"/>
                </a:lnTo>
                <a:lnTo>
                  <a:pt x="6204851" y="1257657"/>
                </a:lnTo>
                <a:cubicBezTo>
                  <a:pt x="6203478" y="1256349"/>
                  <a:pt x="6203478" y="1253624"/>
                  <a:pt x="6202105" y="1252208"/>
                </a:cubicBezTo>
                <a:close/>
                <a:moveTo>
                  <a:pt x="6308411" y="1251772"/>
                </a:moveTo>
                <a:cubicBezTo>
                  <a:pt x="6309785" y="1252535"/>
                  <a:pt x="6310609" y="1254932"/>
                  <a:pt x="6310609" y="1254932"/>
                </a:cubicBezTo>
                <a:cubicBezTo>
                  <a:pt x="6309785" y="1256567"/>
                  <a:pt x="6306489" y="1258855"/>
                  <a:pt x="6304840" y="1258092"/>
                </a:cubicBezTo>
                <a:cubicBezTo>
                  <a:pt x="6301544" y="1256567"/>
                  <a:pt x="6303467" y="1253407"/>
                  <a:pt x="6303467" y="1253407"/>
                </a:cubicBezTo>
                <a:cubicBezTo>
                  <a:pt x="6304291" y="1251881"/>
                  <a:pt x="6306764" y="1251009"/>
                  <a:pt x="6308411" y="1251772"/>
                </a:cubicBezTo>
                <a:close/>
                <a:moveTo>
                  <a:pt x="1756718" y="1251009"/>
                </a:moveTo>
                <a:lnTo>
                  <a:pt x="1754245" y="1252862"/>
                </a:lnTo>
                <a:lnTo>
                  <a:pt x="1755893" y="1252426"/>
                </a:lnTo>
                <a:close/>
                <a:moveTo>
                  <a:pt x="1961365" y="1246215"/>
                </a:moveTo>
                <a:cubicBezTo>
                  <a:pt x="1964112" y="1249266"/>
                  <a:pt x="1966035" y="1255259"/>
                  <a:pt x="1961914" y="1259400"/>
                </a:cubicBezTo>
                <a:cubicBezTo>
                  <a:pt x="1959167" y="1263759"/>
                  <a:pt x="1953398" y="1263432"/>
                  <a:pt x="1949553" y="1267682"/>
                </a:cubicBezTo>
                <a:cubicBezTo>
                  <a:pt x="1943510" y="1262996"/>
                  <a:pt x="1942136" y="1261470"/>
                  <a:pt x="1944609" y="1254169"/>
                </a:cubicBezTo>
                <a:cubicBezTo>
                  <a:pt x="1944609" y="1254169"/>
                  <a:pt x="1945982" y="1252753"/>
                  <a:pt x="1945982" y="1252753"/>
                </a:cubicBezTo>
                <a:cubicBezTo>
                  <a:pt x="1949828" y="1247086"/>
                  <a:pt x="1958343" y="1244580"/>
                  <a:pt x="1961365" y="1246215"/>
                </a:cubicBezTo>
                <a:close/>
                <a:moveTo>
                  <a:pt x="6213093" y="1244035"/>
                </a:moveTo>
                <a:lnTo>
                  <a:pt x="6214741" y="1256676"/>
                </a:lnTo>
                <a:lnTo>
                  <a:pt x="6214741" y="1264304"/>
                </a:lnTo>
                <a:lnTo>
                  <a:pt x="6226278" y="1266483"/>
                </a:lnTo>
                <a:lnTo>
                  <a:pt x="6227925" y="1267028"/>
                </a:lnTo>
                <a:lnTo>
                  <a:pt x="6227925" y="1264631"/>
                </a:lnTo>
                <a:cubicBezTo>
                  <a:pt x="6227925" y="1264631"/>
                  <a:pt x="6227925" y="1264631"/>
                  <a:pt x="6226278" y="1264631"/>
                </a:cubicBezTo>
                <a:lnTo>
                  <a:pt x="6225728" y="1257766"/>
                </a:lnTo>
                <a:lnTo>
                  <a:pt x="6223531" y="1256785"/>
                </a:lnTo>
                <a:cubicBezTo>
                  <a:pt x="6221608" y="1255368"/>
                  <a:pt x="6219411" y="1253624"/>
                  <a:pt x="6217762" y="1251663"/>
                </a:cubicBezTo>
                <a:close/>
                <a:moveTo>
                  <a:pt x="6275173" y="1243599"/>
                </a:moveTo>
                <a:lnTo>
                  <a:pt x="6272151" y="1245125"/>
                </a:lnTo>
                <a:lnTo>
                  <a:pt x="6269405" y="1245997"/>
                </a:lnTo>
                <a:lnTo>
                  <a:pt x="6269405" y="1246760"/>
                </a:lnTo>
                <a:cubicBezTo>
                  <a:pt x="6272426" y="1250900"/>
                  <a:pt x="6273800" y="1253624"/>
                  <a:pt x="6273800" y="1260381"/>
                </a:cubicBezTo>
                <a:cubicBezTo>
                  <a:pt x="6273800" y="1260381"/>
                  <a:pt x="6273800" y="1260381"/>
                  <a:pt x="6270778" y="1260381"/>
                </a:cubicBezTo>
                <a:lnTo>
                  <a:pt x="6271877" y="1273785"/>
                </a:lnTo>
                <a:lnTo>
                  <a:pt x="6275723" y="1271279"/>
                </a:lnTo>
                <a:lnTo>
                  <a:pt x="6278470" y="1269644"/>
                </a:lnTo>
                <a:close/>
                <a:moveTo>
                  <a:pt x="2194032" y="1241202"/>
                </a:moveTo>
                <a:cubicBezTo>
                  <a:pt x="2198427" y="1239349"/>
                  <a:pt x="2207766" y="1243817"/>
                  <a:pt x="2208315" y="1249593"/>
                </a:cubicBezTo>
                <a:cubicBezTo>
                  <a:pt x="2208590" y="1251554"/>
                  <a:pt x="2208041" y="1253624"/>
                  <a:pt x="2205844" y="1255586"/>
                </a:cubicBezTo>
                <a:cubicBezTo>
                  <a:pt x="2204196" y="1257003"/>
                  <a:pt x="2202547" y="1257657"/>
                  <a:pt x="2201174" y="1257766"/>
                </a:cubicBezTo>
                <a:cubicBezTo>
                  <a:pt x="2196778" y="1258420"/>
                  <a:pt x="2193208" y="1254497"/>
                  <a:pt x="2189637" y="1249701"/>
                </a:cubicBezTo>
                <a:cubicBezTo>
                  <a:pt x="2191559" y="1246977"/>
                  <a:pt x="2192108" y="1244035"/>
                  <a:pt x="2194032" y="1241202"/>
                </a:cubicBezTo>
                <a:close/>
                <a:moveTo>
                  <a:pt x="1576792" y="1241093"/>
                </a:moveTo>
                <a:lnTo>
                  <a:pt x="1576517" y="1241202"/>
                </a:lnTo>
                <a:lnTo>
                  <a:pt x="1577067" y="1241202"/>
                </a:lnTo>
                <a:close/>
                <a:moveTo>
                  <a:pt x="6549284" y="1240712"/>
                </a:moveTo>
                <a:cubicBezTo>
                  <a:pt x="6552134" y="1241229"/>
                  <a:pt x="6555088" y="1243599"/>
                  <a:pt x="6558109" y="1247413"/>
                </a:cubicBezTo>
                <a:cubicBezTo>
                  <a:pt x="6556736" y="1250355"/>
                  <a:pt x="6557010" y="1253298"/>
                  <a:pt x="6555637" y="1257657"/>
                </a:cubicBezTo>
                <a:cubicBezTo>
                  <a:pt x="6551517" y="1257547"/>
                  <a:pt x="6542726" y="1252644"/>
                  <a:pt x="6541078" y="1245125"/>
                </a:cubicBezTo>
                <a:cubicBezTo>
                  <a:pt x="6543687" y="1241529"/>
                  <a:pt x="6546434" y="1240194"/>
                  <a:pt x="6549284" y="1240712"/>
                </a:cubicBezTo>
                <a:close/>
                <a:moveTo>
                  <a:pt x="1815433" y="1237824"/>
                </a:moveTo>
                <a:cubicBezTo>
                  <a:pt x="1818386" y="1238123"/>
                  <a:pt x="1821407" y="1240167"/>
                  <a:pt x="1822094" y="1242183"/>
                </a:cubicBezTo>
                <a:cubicBezTo>
                  <a:pt x="1821546" y="1246432"/>
                  <a:pt x="1818524" y="1247849"/>
                  <a:pt x="1815777" y="1247740"/>
                </a:cubicBezTo>
                <a:cubicBezTo>
                  <a:pt x="1812755" y="1247631"/>
                  <a:pt x="1810008" y="1245887"/>
                  <a:pt x="1809185" y="1243926"/>
                </a:cubicBezTo>
                <a:cubicBezTo>
                  <a:pt x="1809596" y="1238968"/>
                  <a:pt x="1812480" y="1237524"/>
                  <a:pt x="1815433" y="1237824"/>
                </a:cubicBezTo>
                <a:close/>
                <a:moveTo>
                  <a:pt x="1019986" y="1237606"/>
                </a:moveTo>
                <a:cubicBezTo>
                  <a:pt x="1022458" y="1237715"/>
                  <a:pt x="1024656" y="1238478"/>
                  <a:pt x="1026030" y="1239894"/>
                </a:cubicBezTo>
                <a:lnTo>
                  <a:pt x="1026304" y="1240657"/>
                </a:lnTo>
                <a:lnTo>
                  <a:pt x="1029051" y="1241747"/>
                </a:lnTo>
                <a:cubicBezTo>
                  <a:pt x="1030149" y="1243381"/>
                  <a:pt x="1029326" y="1245887"/>
                  <a:pt x="1029326" y="1245887"/>
                </a:cubicBezTo>
                <a:cubicBezTo>
                  <a:pt x="1028776" y="1248503"/>
                  <a:pt x="1028776" y="1248612"/>
                  <a:pt x="1031523" y="1249156"/>
                </a:cubicBezTo>
                <a:cubicBezTo>
                  <a:pt x="1031523" y="1249156"/>
                  <a:pt x="1029874" y="1250138"/>
                  <a:pt x="1029874" y="1250138"/>
                </a:cubicBezTo>
                <a:cubicBezTo>
                  <a:pt x="1028776" y="1248503"/>
                  <a:pt x="1029874" y="1250138"/>
                  <a:pt x="1029051" y="1252753"/>
                </a:cubicBezTo>
                <a:cubicBezTo>
                  <a:pt x="1024656" y="1253189"/>
                  <a:pt x="1023008" y="1254278"/>
                  <a:pt x="1020261" y="1253624"/>
                </a:cubicBezTo>
                <a:cubicBezTo>
                  <a:pt x="1018887" y="1253407"/>
                  <a:pt x="1017239" y="1252753"/>
                  <a:pt x="1016140" y="1251772"/>
                </a:cubicBezTo>
                <a:cubicBezTo>
                  <a:pt x="1015042" y="1250791"/>
                  <a:pt x="1013942" y="1249593"/>
                  <a:pt x="1014492" y="1248285"/>
                </a:cubicBezTo>
                <a:lnTo>
                  <a:pt x="1015317" y="1246760"/>
                </a:lnTo>
                <a:lnTo>
                  <a:pt x="1015591" y="1241964"/>
                </a:lnTo>
                <a:cubicBezTo>
                  <a:pt x="1016965" y="1237824"/>
                  <a:pt x="1019986" y="1237606"/>
                  <a:pt x="1019986" y="1237606"/>
                </a:cubicBezTo>
                <a:close/>
                <a:moveTo>
                  <a:pt x="1594647" y="1236625"/>
                </a:moveTo>
                <a:lnTo>
                  <a:pt x="1593823" y="1236734"/>
                </a:lnTo>
                <a:lnTo>
                  <a:pt x="1586682" y="1237715"/>
                </a:lnTo>
                <a:lnTo>
                  <a:pt x="1587505" y="1241855"/>
                </a:lnTo>
                <a:lnTo>
                  <a:pt x="1596021" y="1243817"/>
                </a:lnTo>
                <a:lnTo>
                  <a:pt x="1596296" y="1243054"/>
                </a:lnTo>
                <a:cubicBezTo>
                  <a:pt x="1596296" y="1243054"/>
                  <a:pt x="1596571" y="1243054"/>
                  <a:pt x="1597670" y="1243272"/>
                </a:cubicBezTo>
                <a:lnTo>
                  <a:pt x="1597120" y="1244144"/>
                </a:lnTo>
                <a:lnTo>
                  <a:pt x="1599043" y="1244471"/>
                </a:lnTo>
                <a:cubicBezTo>
                  <a:pt x="1602888" y="1245887"/>
                  <a:pt x="1607009" y="1247740"/>
                  <a:pt x="1610854" y="1250138"/>
                </a:cubicBezTo>
                <a:cubicBezTo>
                  <a:pt x="1614975" y="1250138"/>
                  <a:pt x="1610854" y="1246215"/>
                  <a:pt x="1609206" y="1245343"/>
                </a:cubicBezTo>
                <a:cubicBezTo>
                  <a:pt x="1610305" y="1244907"/>
                  <a:pt x="1613053" y="1244144"/>
                  <a:pt x="1615524" y="1243381"/>
                </a:cubicBezTo>
                <a:cubicBezTo>
                  <a:pt x="1617447" y="1241420"/>
                  <a:pt x="1623216" y="1242183"/>
                  <a:pt x="1626787" y="1245016"/>
                </a:cubicBezTo>
                <a:cubicBezTo>
                  <a:pt x="1626787" y="1245016"/>
                  <a:pt x="1628160" y="1244689"/>
                  <a:pt x="1628160" y="1244689"/>
                </a:cubicBezTo>
                <a:cubicBezTo>
                  <a:pt x="1630907" y="1245125"/>
                  <a:pt x="1633929" y="1245561"/>
                  <a:pt x="1635577" y="1246323"/>
                </a:cubicBezTo>
                <a:cubicBezTo>
                  <a:pt x="1635577" y="1246323"/>
                  <a:pt x="1635577" y="1246323"/>
                  <a:pt x="1635028" y="1245125"/>
                </a:cubicBezTo>
                <a:cubicBezTo>
                  <a:pt x="1636676" y="1245997"/>
                  <a:pt x="1636950" y="1245887"/>
                  <a:pt x="1636950" y="1245887"/>
                </a:cubicBezTo>
                <a:lnTo>
                  <a:pt x="1638598" y="1245997"/>
                </a:lnTo>
                <a:lnTo>
                  <a:pt x="1641346" y="1240221"/>
                </a:lnTo>
                <a:cubicBezTo>
                  <a:pt x="1648762" y="1241202"/>
                  <a:pt x="1653432" y="1243054"/>
                  <a:pt x="1655905" y="1245343"/>
                </a:cubicBezTo>
                <a:lnTo>
                  <a:pt x="1656454" y="1246323"/>
                </a:lnTo>
                <a:lnTo>
                  <a:pt x="1664420" y="1246541"/>
                </a:lnTo>
                <a:cubicBezTo>
                  <a:pt x="1668541" y="1246541"/>
                  <a:pt x="1674309" y="1247413"/>
                  <a:pt x="1678430" y="1247413"/>
                </a:cubicBezTo>
                <a:cubicBezTo>
                  <a:pt x="1676781" y="1246651"/>
                  <a:pt x="1674859" y="1244580"/>
                  <a:pt x="1675133" y="1241747"/>
                </a:cubicBezTo>
                <a:lnTo>
                  <a:pt x="1673760" y="1241093"/>
                </a:lnTo>
                <a:cubicBezTo>
                  <a:pt x="1674309" y="1242618"/>
                  <a:pt x="1674584" y="1244144"/>
                  <a:pt x="1674034" y="1246432"/>
                </a:cubicBezTo>
                <a:cubicBezTo>
                  <a:pt x="1672386" y="1244798"/>
                  <a:pt x="1671287" y="1243272"/>
                  <a:pt x="1670737" y="1241529"/>
                </a:cubicBezTo>
                <a:lnTo>
                  <a:pt x="1670737" y="1240112"/>
                </a:lnTo>
                <a:lnTo>
                  <a:pt x="1669364" y="1241310"/>
                </a:lnTo>
                <a:lnTo>
                  <a:pt x="1668266" y="1245016"/>
                </a:lnTo>
                <a:lnTo>
                  <a:pt x="1668266" y="1245343"/>
                </a:lnTo>
                <a:cubicBezTo>
                  <a:pt x="1666893" y="1245778"/>
                  <a:pt x="1666893" y="1245670"/>
                  <a:pt x="1665519" y="1246106"/>
                </a:cubicBezTo>
                <a:lnTo>
                  <a:pt x="1665244" y="1245887"/>
                </a:lnTo>
                <a:lnTo>
                  <a:pt x="1664146" y="1246106"/>
                </a:lnTo>
                <a:lnTo>
                  <a:pt x="1663046" y="1245452"/>
                </a:lnTo>
                <a:lnTo>
                  <a:pt x="1663321" y="1244035"/>
                </a:lnTo>
                <a:lnTo>
                  <a:pt x="1652608" y="1242618"/>
                </a:lnTo>
                <a:cubicBezTo>
                  <a:pt x="1649037" y="1241420"/>
                  <a:pt x="1645741" y="1239676"/>
                  <a:pt x="1642445" y="1238695"/>
                </a:cubicBezTo>
                <a:cubicBezTo>
                  <a:pt x="1638323" y="1238695"/>
                  <a:pt x="1631731" y="1239349"/>
                  <a:pt x="1626512" y="1239785"/>
                </a:cubicBezTo>
                <a:cubicBezTo>
                  <a:pt x="1623491" y="1239349"/>
                  <a:pt x="1620469" y="1239023"/>
                  <a:pt x="1617722" y="1238586"/>
                </a:cubicBezTo>
                <a:lnTo>
                  <a:pt x="1614701" y="1237496"/>
                </a:lnTo>
                <a:lnTo>
                  <a:pt x="1605909" y="1239349"/>
                </a:lnTo>
                <a:cubicBezTo>
                  <a:pt x="1602065" y="1239240"/>
                  <a:pt x="1598493" y="1238369"/>
                  <a:pt x="1594922" y="1236952"/>
                </a:cubicBezTo>
                <a:close/>
                <a:moveTo>
                  <a:pt x="1099111" y="1234648"/>
                </a:moveTo>
                <a:cubicBezTo>
                  <a:pt x="1103356" y="1233397"/>
                  <a:pt x="1107339" y="1233601"/>
                  <a:pt x="1110360" y="1235971"/>
                </a:cubicBezTo>
                <a:cubicBezTo>
                  <a:pt x="1095801" y="1245561"/>
                  <a:pt x="1090857" y="1258201"/>
                  <a:pt x="1072727" y="1266048"/>
                </a:cubicBezTo>
                <a:cubicBezTo>
                  <a:pt x="1071285" y="1255259"/>
                  <a:pt x="1086376" y="1238403"/>
                  <a:pt x="1099111" y="1234648"/>
                </a:cubicBezTo>
                <a:close/>
                <a:moveTo>
                  <a:pt x="6290831" y="1234446"/>
                </a:moveTo>
                <a:cubicBezTo>
                  <a:pt x="6290831" y="1234446"/>
                  <a:pt x="6291655" y="1235645"/>
                  <a:pt x="6291655" y="1235645"/>
                </a:cubicBezTo>
                <a:cubicBezTo>
                  <a:pt x="6290831" y="1236080"/>
                  <a:pt x="6290282" y="1236407"/>
                  <a:pt x="6289732" y="1236625"/>
                </a:cubicBezTo>
                <a:cubicBezTo>
                  <a:pt x="6289183" y="1236734"/>
                  <a:pt x="6288908" y="1236734"/>
                  <a:pt x="6288358" y="1236189"/>
                </a:cubicBezTo>
                <a:cubicBezTo>
                  <a:pt x="6287534" y="1234991"/>
                  <a:pt x="6288908" y="1234118"/>
                  <a:pt x="6290831" y="1234446"/>
                </a:cubicBezTo>
                <a:close/>
                <a:moveTo>
                  <a:pt x="1218865" y="1233247"/>
                </a:moveTo>
                <a:cubicBezTo>
                  <a:pt x="1220513" y="1233901"/>
                  <a:pt x="1220513" y="1233901"/>
                  <a:pt x="1221887" y="1237715"/>
                </a:cubicBezTo>
                <a:cubicBezTo>
                  <a:pt x="1220238" y="1237061"/>
                  <a:pt x="1220238" y="1236952"/>
                  <a:pt x="1219689" y="1238914"/>
                </a:cubicBezTo>
                <a:cubicBezTo>
                  <a:pt x="1219689" y="1238914"/>
                  <a:pt x="1219414" y="1238914"/>
                  <a:pt x="1219963" y="1240221"/>
                </a:cubicBezTo>
                <a:cubicBezTo>
                  <a:pt x="1218865" y="1240875"/>
                  <a:pt x="1218315" y="1239458"/>
                  <a:pt x="1216942" y="1240112"/>
                </a:cubicBezTo>
                <a:cubicBezTo>
                  <a:pt x="1216942" y="1240112"/>
                  <a:pt x="1216393" y="1238914"/>
                  <a:pt x="1216393" y="1238914"/>
                </a:cubicBezTo>
                <a:cubicBezTo>
                  <a:pt x="1215844" y="1239240"/>
                  <a:pt x="1215844" y="1239131"/>
                  <a:pt x="1216119" y="1238695"/>
                </a:cubicBezTo>
                <a:cubicBezTo>
                  <a:pt x="1216393" y="1238150"/>
                  <a:pt x="1216667" y="1237279"/>
                  <a:pt x="1216942" y="1235753"/>
                </a:cubicBezTo>
                <a:cubicBezTo>
                  <a:pt x="1217492" y="1233792"/>
                  <a:pt x="1216942" y="1232593"/>
                  <a:pt x="1218865" y="1233247"/>
                </a:cubicBezTo>
                <a:close/>
                <a:moveTo>
                  <a:pt x="6616379" y="1231803"/>
                </a:moveTo>
                <a:cubicBezTo>
                  <a:pt x="6624105" y="1233274"/>
                  <a:pt x="6631728" y="1235917"/>
                  <a:pt x="6634200" y="1237061"/>
                </a:cubicBezTo>
                <a:cubicBezTo>
                  <a:pt x="6634200" y="1237061"/>
                  <a:pt x="6637221" y="1238478"/>
                  <a:pt x="6636397" y="1240112"/>
                </a:cubicBezTo>
                <a:cubicBezTo>
                  <a:pt x="6634200" y="1242073"/>
                  <a:pt x="6632551" y="1242727"/>
                  <a:pt x="6630903" y="1242727"/>
                </a:cubicBezTo>
                <a:cubicBezTo>
                  <a:pt x="6629529" y="1242727"/>
                  <a:pt x="6628156" y="1242073"/>
                  <a:pt x="6627332" y="1241747"/>
                </a:cubicBezTo>
                <a:cubicBezTo>
                  <a:pt x="6627332" y="1241747"/>
                  <a:pt x="6607554" y="1238041"/>
                  <a:pt x="6605082" y="1238914"/>
                </a:cubicBezTo>
                <a:cubicBezTo>
                  <a:pt x="6601785" y="1237387"/>
                  <a:pt x="6600138" y="1236625"/>
                  <a:pt x="6597939" y="1233573"/>
                </a:cubicBezTo>
                <a:cubicBezTo>
                  <a:pt x="6600824" y="1230032"/>
                  <a:pt x="6608653" y="1230332"/>
                  <a:pt x="6616379" y="1231803"/>
                </a:cubicBezTo>
                <a:close/>
                <a:moveTo>
                  <a:pt x="1585033" y="1229869"/>
                </a:moveTo>
                <a:lnTo>
                  <a:pt x="1584483" y="1230523"/>
                </a:lnTo>
                <a:lnTo>
                  <a:pt x="1586132" y="1230958"/>
                </a:lnTo>
                <a:lnTo>
                  <a:pt x="1585583" y="1230740"/>
                </a:lnTo>
                <a:close/>
                <a:moveTo>
                  <a:pt x="1765233" y="1229759"/>
                </a:moveTo>
                <a:cubicBezTo>
                  <a:pt x="1765233" y="1229759"/>
                  <a:pt x="1767156" y="1230523"/>
                  <a:pt x="1767156" y="1230523"/>
                </a:cubicBezTo>
                <a:cubicBezTo>
                  <a:pt x="1774023" y="1231830"/>
                  <a:pt x="1779792" y="1238478"/>
                  <a:pt x="1779517" y="1241747"/>
                </a:cubicBezTo>
                <a:cubicBezTo>
                  <a:pt x="1778144" y="1244689"/>
                  <a:pt x="1775397" y="1247740"/>
                  <a:pt x="1771551" y="1248176"/>
                </a:cubicBezTo>
                <a:cubicBezTo>
                  <a:pt x="1770178" y="1248285"/>
                  <a:pt x="1769079" y="1248176"/>
                  <a:pt x="1767705" y="1247631"/>
                </a:cubicBezTo>
                <a:cubicBezTo>
                  <a:pt x="1762761" y="1246977"/>
                  <a:pt x="1760563" y="1241638"/>
                  <a:pt x="1755070" y="1239676"/>
                </a:cubicBezTo>
                <a:cubicBezTo>
                  <a:pt x="1756992" y="1232375"/>
                  <a:pt x="1757816" y="1230304"/>
                  <a:pt x="1765233" y="1229759"/>
                </a:cubicBezTo>
                <a:close/>
                <a:moveTo>
                  <a:pt x="1497955" y="1228561"/>
                </a:moveTo>
                <a:lnTo>
                  <a:pt x="1497680" y="1229542"/>
                </a:lnTo>
                <a:lnTo>
                  <a:pt x="1497405" y="1229759"/>
                </a:lnTo>
                <a:lnTo>
                  <a:pt x="1496581" y="1229215"/>
                </a:lnTo>
                <a:close/>
                <a:moveTo>
                  <a:pt x="2392361" y="1228234"/>
                </a:moveTo>
                <a:cubicBezTo>
                  <a:pt x="2395932" y="1228997"/>
                  <a:pt x="2402250" y="1230304"/>
                  <a:pt x="2404722" y="1233138"/>
                </a:cubicBezTo>
                <a:cubicBezTo>
                  <a:pt x="2405547" y="1234010"/>
                  <a:pt x="2405822" y="1235100"/>
                  <a:pt x="2405547" y="1236407"/>
                </a:cubicBezTo>
                <a:cubicBezTo>
                  <a:pt x="2404447" y="1238260"/>
                  <a:pt x="2402800" y="1237496"/>
                  <a:pt x="2401426" y="1238041"/>
                </a:cubicBezTo>
                <a:cubicBezTo>
                  <a:pt x="2398954" y="1237824"/>
                  <a:pt x="2394834" y="1233465"/>
                  <a:pt x="2393185" y="1230523"/>
                </a:cubicBezTo>
                <a:cubicBezTo>
                  <a:pt x="2392636" y="1229433"/>
                  <a:pt x="2392086" y="1228670"/>
                  <a:pt x="2392361" y="1228234"/>
                </a:cubicBezTo>
                <a:close/>
                <a:moveTo>
                  <a:pt x="6640517" y="1227908"/>
                </a:moveTo>
                <a:cubicBezTo>
                  <a:pt x="6642166" y="1228670"/>
                  <a:pt x="6642441" y="1229324"/>
                  <a:pt x="6642166" y="1230087"/>
                </a:cubicBezTo>
                <a:cubicBezTo>
                  <a:pt x="6642166" y="1230740"/>
                  <a:pt x="6641616" y="1231612"/>
                  <a:pt x="6641891" y="1232920"/>
                </a:cubicBezTo>
                <a:cubicBezTo>
                  <a:pt x="6640242" y="1232157"/>
                  <a:pt x="6637771" y="1233029"/>
                  <a:pt x="6636397" y="1232266"/>
                </a:cubicBezTo>
                <a:cubicBezTo>
                  <a:pt x="6637221" y="1230523"/>
                  <a:pt x="6635573" y="1229759"/>
                  <a:pt x="6636672" y="1228125"/>
                </a:cubicBezTo>
                <a:cubicBezTo>
                  <a:pt x="6639144" y="1227144"/>
                  <a:pt x="6639144" y="1227144"/>
                  <a:pt x="6640517" y="1227908"/>
                </a:cubicBezTo>
                <a:close/>
                <a:moveTo>
                  <a:pt x="1674584" y="1227689"/>
                </a:moveTo>
                <a:lnTo>
                  <a:pt x="1666618" y="1229978"/>
                </a:lnTo>
                <a:lnTo>
                  <a:pt x="1665519" y="1229869"/>
                </a:lnTo>
                <a:cubicBezTo>
                  <a:pt x="1665519" y="1232702"/>
                  <a:pt x="1665519" y="1234118"/>
                  <a:pt x="1665519" y="1235645"/>
                </a:cubicBezTo>
                <a:cubicBezTo>
                  <a:pt x="1664694" y="1236298"/>
                  <a:pt x="1663321" y="1237170"/>
                  <a:pt x="1661673" y="1237715"/>
                </a:cubicBezTo>
                <a:lnTo>
                  <a:pt x="1660024" y="1237715"/>
                </a:lnTo>
                <a:lnTo>
                  <a:pt x="1664969" y="1240548"/>
                </a:lnTo>
                <a:lnTo>
                  <a:pt x="1667168" y="1237279"/>
                </a:lnTo>
                <a:lnTo>
                  <a:pt x="1666343" y="1236407"/>
                </a:lnTo>
                <a:cubicBezTo>
                  <a:pt x="1667168" y="1234772"/>
                  <a:pt x="1668541" y="1234446"/>
                  <a:pt x="1668541" y="1234446"/>
                </a:cubicBezTo>
                <a:lnTo>
                  <a:pt x="1669090" y="1234663"/>
                </a:lnTo>
                <a:lnTo>
                  <a:pt x="1672936" y="1230195"/>
                </a:lnTo>
                <a:close/>
                <a:moveTo>
                  <a:pt x="1222985" y="1227580"/>
                </a:moveTo>
                <a:cubicBezTo>
                  <a:pt x="1224633" y="1227362"/>
                  <a:pt x="1224908" y="1229215"/>
                  <a:pt x="1225183" y="1231067"/>
                </a:cubicBezTo>
                <a:cubicBezTo>
                  <a:pt x="1225458" y="1232811"/>
                  <a:pt x="1223535" y="1233029"/>
                  <a:pt x="1221612" y="1233247"/>
                </a:cubicBezTo>
                <a:cubicBezTo>
                  <a:pt x="1219689" y="1233356"/>
                  <a:pt x="1219414" y="1231503"/>
                  <a:pt x="1219140" y="1227908"/>
                </a:cubicBezTo>
                <a:cubicBezTo>
                  <a:pt x="1221063" y="1227689"/>
                  <a:pt x="1221063" y="1227689"/>
                  <a:pt x="1222985" y="1227580"/>
                </a:cubicBezTo>
                <a:close/>
                <a:moveTo>
                  <a:pt x="1638873" y="1227144"/>
                </a:moveTo>
                <a:lnTo>
                  <a:pt x="1639972" y="1227471"/>
                </a:lnTo>
                <a:cubicBezTo>
                  <a:pt x="1639972" y="1227471"/>
                  <a:pt x="1640247" y="1228670"/>
                  <a:pt x="1640247" y="1228670"/>
                </a:cubicBezTo>
                <a:cubicBezTo>
                  <a:pt x="1640247" y="1228670"/>
                  <a:pt x="1641620" y="1228234"/>
                  <a:pt x="1641620" y="1228234"/>
                </a:cubicBezTo>
                <a:cubicBezTo>
                  <a:pt x="1644092" y="1231394"/>
                  <a:pt x="1648762" y="1232702"/>
                  <a:pt x="1654806" y="1234772"/>
                </a:cubicBezTo>
                <a:lnTo>
                  <a:pt x="1657553" y="1236298"/>
                </a:lnTo>
                <a:lnTo>
                  <a:pt x="1655355" y="1232484"/>
                </a:lnTo>
                <a:lnTo>
                  <a:pt x="1655630" y="1228888"/>
                </a:lnTo>
                <a:close/>
                <a:moveTo>
                  <a:pt x="1636676" y="1226926"/>
                </a:moveTo>
                <a:lnTo>
                  <a:pt x="1636401" y="1227144"/>
                </a:lnTo>
                <a:lnTo>
                  <a:pt x="1636950" y="1226926"/>
                </a:lnTo>
                <a:close/>
                <a:moveTo>
                  <a:pt x="1241664" y="1226272"/>
                </a:moveTo>
                <a:cubicBezTo>
                  <a:pt x="1243588" y="1225727"/>
                  <a:pt x="1246059" y="1225836"/>
                  <a:pt x="1249081" y="1226817"/>
                </a:cubicBezTo>
                <a:cubicBezTo>
                  <a:pt x="1252652" y="1231612"/>
                  <a:pt x="1253476" y="1239349"/>
                  <a:pt x="1250181" y="1248394"/>
                </a:cubicBezTo>
                <a:cubicBezTo>
                  <a:pt x="1243038" y="1246651"/>
                  <a:pt x="1238643" y="1246215"/>
                  <a:pt x="1231501" y="1244471"/>
                </a:cubicBezTo>
                <a:cubicBezTo>
                  <a:pt x="1233424" y="1236407"/>
                  <a:pt x="1235621" y="1228125"/>
                  <a:pt x="1241664" y="1226272"/>
                </a:cubicBezTo>
                <a:close/>
                <a:moveTo>
                  <a:pt x="2242653" y="1226055"/>
                </a:moveTo>
                <a:cubicBezTo>
                  <a:pt x="2247322" y="1230740"/>
                  <a:pt x="2245949" y="1236407"/>
                  <a:pt x="2250619" y="1242509"/>
                </a:cubicBezTo>
                <a:cubicBezTo>
                  <a:pt x="2247872" y="1246760"/>
                  <a:pt x="2252541" y="1254278"/>
                  <a:pt x="2248421" y="1259945"/>
                </a:cubicBezTo>
                <a:cubicBezTo>
                  <a:pt x="2239631" y="1253734"/>
                  <a:pt x="2238532" y="1230304"/>
                  <a:pt x="2242653" y="1226055"/>
                </a:cubicBezTo>
                <a:close/>
                <a:moveTo>
                  <a:pt x="2275273" y="1225987"/>
                </a:moveTo>
                <a:cubicBezTo>
                  <a:pt x="2279118" y="1225183"/>
                  <a:pt x="2283582" y="1226600"/>
                  <a:pt x="2286604" y="1231067"/>
                </a:cubicBezTo>
                <a:cubicBezTo>
                  <a:pt x="2284680" y="1233683"/>
                  <a:pt x="2284406" y="1236516"/>
                  <a:pt x="2282483" y="1239131"/>
                </a:cubicBezTo>
                <a:cubicBezTo>
                  <a:pt x="2279736" y="1238478"/>
                  <a:pt x="2277264" y="1239349"/>
                  <a:pt x="2274792" y="1239349"/>
                </a:cubicBezTo>
                <a:cubicBezTo>
                  <a:pt x="2272319" y="1239349"/>
                  <a:pt x="2269848" y="1238478"/>
                  <a:pt x="2267650" y="1234227"/>
                </a:cubicBezTo>
                <a:cubicBezTo>
                  <a:pt x="2268199" y="1229814"/>
                  <a:pt x="2271427" y="1226790"/>
                  <a:pt x="2275273" y="1225987"/>
                </a:cubicBezTo>
                <a:close/>
                <a:moveTo>
                  <a:pt x="1883351" y="1225836"/>
                </a:moveTo>
                <a:cubicBezTo>
                  <a:pt x="1883626" y="1227254"/>
                  <a:pt x="1885824" y="1229542"/>
                  <a:pt x="1885000" y="1231503"/>
                </a:cubicBezTo>
                <a:cubicBezTo>
                  <a:pt x="1883901" y="1233356"/>
                  <a:pt x="1883901" y="1233465"/>
                  <a:pt x="1881154" y="1234446"/>
                </a:cubicBezTo>
                <a:cubicBezTo>
                  <a:pt x="1881429" y="1229650"/>
                  <a:pt x="1881429" y="1229759"/>
                  <a:pt x="1883351" y="1225836"/>
                </a:cubicBezTo>
                <a:close/>
                <a:moveTo>
                  <a:pt x="1339456" y="1225510"/>
                </a:moveTo>
                <a:cubicBezTo>
                  <a:pt x="1344675" y="1229759"/>
                  <a:pt x="1341379" y="1233356"/>
                  <a:pt x="1338083" y="1237061"/>
                </a:cubicBezTo>
                <a:cubicBezTo>
                  <a:pt x="1335336" y="1234991"/>
                  <a:pt x="1332314" y="1235753"/>
                  <a:pt x="1330117" y="1230849"/>
                </a:cubicBezTo>
                <a:cubicBezTo>
                  <a:pt x="1333413" y="1228561"/>
                  <a:pt x="1336435" y="1227798"/>
                  <a:pt x="1339456" y="1225510"/>
                </a:cubicBezTo>
                <a:close/>
                <a:moveTo>
                  <a:pt x="1631457" y="1224529"/>
                </a:moveTo>
                <a:lnTo>
                  <a:pt x="1630632" y="1225836"/>
                </a:lnTo>
                <a:lnTo>
                  <a:pt x="1632280" y="1226272"/>
                </a:lnTo>
                <a:lnTo>
                  <a:pt x="1632280" y="1225401"/>
                </a:lnTo>
                <a:close/>
                <a:moveTo>
                  <a:pt x="1855882" y="1224093"/>
                </a:moveTo>
                <a:cubicBezTo>
                  <a:pt x="1853685" y="1234663"/>
                  <a:pt x="1853960" y="1263105"/>
                  <a:pt x="1837752" y="1261689"/>
                </a:cubicBezTo>
                <a:cubicBezTo>
                  <a:pt x="1840500" y="1252426"/>
                  <a:pt x="1844070" y="1222023"/>
                  <a:pt x="1855882" y="1224093"/>
                </a:cubicBezTo>
                <a:close/>
                <a:moveTo>
                  <a:pt x="6529541" y="1223657"/>
                </a:moveTo>
                <a:cubicBezTo>
                  <a:pt x="6531189" y="1222894"/>
                  <a:pt x="6533387" y="1222894"/>
                  <a:pt x="6536134" y="1223984"/>
                </a:cubicBezTo>
                <a:cubicBezTo>
                  <a:pt x="6536683" y="1229324"/>
                  <a:pt x="6533387" y="1247522"/>
                  <a:pt x="6525695" y="1245561"/>
                </a:cubicBezTo>
                <a:cubicBezTo>
                  <a:pt x="6524596" y="1245343"/>
                  <a:pt x="6523223" y="1244580"/>
                  <a:pt x="6521849" y="1243381"/>
                </a:cubicBezTo>
                <a:cubicBezTo>
                  <a:pt x="6525969" y="1235317"/>
                  <a:pt x="6525146" y="1225946"/>
                  <a:pt x="6529541" y="1223657"/>
                </a:cubicBezTo>
                <a:close/>
                <a:moveTo>
                  <a:pt x="1892966" y="1222349"/>
                </a:moveTo>
                <a:cubicBezTo>
                  <a:pt x="1905877" y="1221478"/>
                  <a:pt x="1915216" y="1239458"/>
                  <a:pt x="1915491" y="1249701"/>
                </a:cubicBezTo>
                <a:cubicBezTo>
                  <a:pt x="1911371" y="1255041"/>
                  <a:pt x="1907250" y="1256893"/>
                  <a:pt x="1903130" y="1256349"/>
                </a:cubicBezTo>
                <a:cubicBezTo>
                  <a:pt x="1891043" y="1254932"/>
                  <a:pt x="1881703" y="1232811"/>
                  <a:pt x="1892966" y="1222349"/>
                </a:cubicBezTo>
                <a:close/>
                <a:moveTo>
                  <a:pt x="1882527" y="1221696"/>
                </a:moveTo>
                <a:cubicBezTo>
                  <a:pt x="1883626" y="1221259"/>
                  <a:pt x="1884176" y="1222786"/>
                  <a:pt x="1883351" y="1224747"/>
                </a:cubicBezTo>
                <a:cubicBezTo>
                  <a:pt x="1883351" y="1224747"/>
                  <a:pt x="1881978" y="1225182"/>
                  <a:pt x="1881978" y="1225182"/>
                </a:cubicBezTo>
                <a:cubicBezTo>
                  <a:pt x="1881703" y="1223766"/>
                  <a:pt x="1881154" y="1222241"/>
                  <a:pt x="1882527" y="1221696"/>
                </a:cubicBezTo>
                <a:close/>
                <a:moveTo>
                  <a:pt x="6297423" y="1221042"/>
                </a:moveTo>
                <a:cubicBezTo>
                  <a:pt x="6299071" y="1221804"/>
                  <a:pt x="6301269" y="1221042"/>
                  <a:pt x="6304565" y="1222458"/>
                </a:cubicBezTo>
                <a:cubicBezTo>
                  <a:pt x="6305940" y="1223221"/>
                  <a:pt x="6307587" y="1227908"/>
                  <a:pt x="6304840" y="1232593"/>
                </a:cubicBezTo>
                <a:cubicBezTo>
                  <a:pt x="6304565" y="1233356"/>
                  <a:pt x="6303192" y="1233683"/>
                  <a:pt x="6301819" y="1233792"/>
                </a:cubicBezTo>
                <a:lnTo>
                  <a:pt x="6299896" y="1233573"/>
                </a:lnTo>
                <a:lnTo>
                  <a:pt x="6300171" y="1234010"/>
                </a:lnTo>
                <a:cubicBezTo>
                  <a:pt x="6297973" y="1234446"/>
                  <a:pt x="6296874" y="1234772"/>
                  <a:pt x="6295776" y="1234772"/>
                </a:cubicBezTo>
                <a:cubicBezTo>
                  <a:pt x="6294677" y="1234772"/>
                  <a:pt x="6293852" y="1234446"/>
                  <a:pt x="6291655" y="1234010"/>
                </a:cubicBezTo>
                <a:cubicBezTo>
                  <a:pt x="6292479" y="1233573"/>
                  <a:pt x="6293028" y="1232702"/>
                  <a:pt x="6293852" y="1232048"/>
                </a:cubicBezTo>
                <a:lnTo>
                  <a:pt x="6296050" y="1231067"/>
                </a:lnTo>
                <a:lnTo>
                  <a:pt x="6294677" y="1229542"/>
                </a:lnTo>
                <a:cubicBezTo>
                  <a:pt x="6293028" y="1228779"/>
                  <a:pt x="6295776" y="1224202"/>
                  <a:pt x="6297423" y="1221042"/>
                </a:cubicBezTo>
                <a:close/>
                <a:moveTo>
                  <a:pt x="962850" y="1218427"/>
                </a:moveTo>
                <a:cubicBezTo>
                  <a:pt x="964497" y="1226490"/>
                  <a:pt x="966420" y="1232266"/>
                  <a:pt x="968068" y="1237496"/>
                </a:cubicBezTo>
                <a:lnTo>
                  <a:pt x="970541" y="1248503"/>
                </a:lnTo>
                <a:lnTo>
                  <a:pt x="974661" y="1248939"/>
                </a:lnTo>
                <a:cubicBezTo>
                  <a:pt x="977408" y="1250464"/>
                  <a:pt x="979331" y="1254061"/>
                  <a:pt x="978781" y="1257003"/>
                </a:cubicBezTo>
                <a:cubicBezTo>
                  <a:pt x="977408" y="1258420"/>
                  <a:pt x="976034" y="1259182"/>
                  <a:pt x="974661" y="1259509"/>
                </a:cubicBezTo>
                <a:cubicBezTo>
                  <a:pt x="969991" y="1260599"/>
                  <a:pt x="965321" y="1257330"/>
                  <a:pt x="965046" y="1252753"/>
                </a:cubicBezTo>
                <a:lnTo>
                  <a:pt x="965321" y="1252535"/>
                </a:lnTo>
                <a:lnTo>
                  <a:pt x="963398" y="1250683"/>
                </a:lnTo>
                <a:cubicBezTo>
                  <a:pt x="959553" y="1244689"/>
                  <a:pt x="956806" y="1233683"/>
                  <a:pt x="957905" y="1232920"/>
                </a:cubicBezTo>
                <a:cubicBezTo>
                  <a:pt x="956806" y="1231285"/>
                  <a:pt x="958728" y="1230195"/>
                  <a:pt x="957630" y="1228561"/>
                </a:cubicBezTo>
                <a:cubicBezTo>
                  <a:pt x="957630" y="1228561"/>
                  <a:pt x="956532" y="1226926"/>
                  <a:pt x="957081" y="1224202"/>
                </a:cubicBezTo>
                <a:cubicBezTo>
                  <a:pt x="957630" y="1221587"/>
                  <a:pt x="958454" y="1218863"/>
                  <a:pt x="962850" y="1218427"/>
                </a:cubicBezTo>
                <a:close/>
                <a:moveTo>
                  <a:pt x="2143853" y="1218152"/>
                </a:moveTo>
                <a:cubicBezTo>
                  <a:pt x="2167970" y="1223459"/>
                  <a:pt x="2188881" y="1259645"/>
                  <a:pt x="2159420" y="1277381"/>
                </a:cubicBezTo>
                <a:cubicBezTo>
                  <a:pt x="2156124" y="1279125"/>
                  <a:pt x="2152553" y="1279996"/>
                  <a:pt x="2148707" y="1280215"/>
                </a:cubicBezTo>
                <a:lnTo>
                  <a:pt x="2146784" y="1280105"/>
                </a:lnTo>
                <a:lnTo>
                  <a:pt x="2139368" y="1286862"/>
                </a:lnTo>
                <a:lnTo>
                  <a:pt x="2127280" y="1295362"/>
                </a:lnTo>
                <a:lnTo>
                  <a:pt x="2134972" y="1303099"/>
                </a:lnTo>
                <a:lnTo>
                  <a:pt x="2135522" y="1304189"/>
                </a:lnTo>
                <a:lnTo>
                  <a:pt x="2136620" y="1302881"/>
                </a:lnTo>
                <a:cubicBezTo>
                  <a:pt x="2137993" y="1302881"/>
                  <a:pt x="2139642" y="1304515"/>
                  <a:pt x="2139642" y="1304515"/>
                </a:cubicBezTo>
                <a:cubicBezTo>
                  <a:pt x="2141016" y="1306041"/>
                  <a:pt x="2141016" y="1306041"/>
                  <a:pt x="2142389" y="1304624"/>
                </a:cubicBezTo>
                <a:cubicBezTo>
                  <a:pt x="2142389" y="1304624"/>
                  <a:pt x="2142389" y="1306150"/>
                  <a:pt x="2142389" y="1306150"/>
                </a:cubicBezTo>
                <a:cubicBezTo>
                  <a:pt x="2141016" y="1306041"/>
                  <a:pt x="2142389" y="1306150"/>
                  <a:pt x="2144037" y="1307675"/>
                </a:cubicBezTo>
                <a:cubicBezTo>
                  <a:pt x="2142663" y="1310618"/>
                  <a:pt x="2142663" y="1312035"/>
                  <a:pt x="2141290" y="1313451"/>
                </a:cubicBezTo>
                <a:cubicBezTo>
                  <a:pt x="2140741" y="1314214"/>
                  <a:pt x="2139642" y="1314868"/>
                  <a:pt x="2138543" y="1315195"/>
                </a:cubicBezTo>
                <a:lnTo>
                  <a:pt x="2137993" y="1315086"/>
                </a:lnTo>
                <a:lnTo>
                  <a:pt x="2136620" y="1321842"/>
                </a:lnTo>
                <a:cubicBezTo>
                  <a:pt x="2132774" y="1321951"/>
                  <a:pt x="2128929" y="1320752"/>
                  <a:pt x="2125358" y="1318682"/>
                </a:cubicBezTo>
                <a:lnTo>
                  <a:pt x="2117117" y="1311490"/>
                </a:lnTo>
                <a:lnTo>
                  <a:pt x="2116567" y="1312361"/>
                </a:lnTo>
                <a:cubicBezTo>
                  <a:pt x="2115194" y="1311707"/>
                  <a:pt x="2115194" y="1311707"/>
                  <a:pt x="2114645" y="1309746"/>
                </a:cubicBezTo>
                <a:lnTo>
                  <a:pt x="2115194" y="1308548"/>
                </a:lnTo>
                <a:lnTo>
                  <a:pt x="2111623" y="1300701"/>
                </a:lnTo>
                <a:cubicBezTo>
                  <a:pt x="2111348" y="1297432"/>
                  <a:pt x="2112448" y="1294381"/>
                  <a:pt x="2114919" y="1292201"/>
                </a:cubicBezTo>
                <a:cubicBezTo>
                  <a:pt x="2116567" y="1291002"/>
                  <a:pt x="2118765" y="1290131"/>
                  <a:pt x="2121512" y="1289477"/>
                </a:cubicBezTo>
                <a:lnTo>
                  <a:pt x="2122336" y="1290131"/>
                </a:lnTo>
                <a:lnTo>
                  <a:pt x="2122611" y="1289041"/>
                </a:lnTo>
                <a:lnTo>
                  <a:pt x="2131401" y="1278906"/>
                </a:lnTo>
                <a:lnTo>
                  <a:pt x="2130302" y="1278797"/>
                </a:lnTo>
                <a:cubicBezTo>
                  <a:pt x="2123710" y="1277926"/>
                  <a:pt x="2116567" y="1277163"/>
                  <a:pt x="2109151" y="1277598"/>
                </a:cubicBezTo>
                <a:cubicBezTo>
                  <a:pt x="2119315" y="1265503"/>
                  <a:pt x="2112173" y="1249266"/>
                  <a:pt x="2114095" y="1236516"/>
                </a:cubicBezTo>
                <a:cubicBezTo>
                  <a:pt x="2114919" y="1232266"/>
                  <a:pt x="2116567" y="1228234"/>
                  <a:pt x="2120413" y="1224965"/>
                </a:cubicBezTo>
                <a:cubicBezTo>
                  <a:pt x="2127418" y="1218045"/>
                  <a:pt x="2135813" y="1216383"/>
                  <a:pt x="2143853" y="1218152"/>
                </a:cubicBezTo>
                <a:close/>
                <a:moveTo>
                  <a:pt x="6375437" y="1216029"/>
                </a:moveTo>
                <a:cubicBezTo>
                  <a:pt x="6378184" y="1217555"/>
                  <a:pt x="6379557" y="1218318"/>
                  <a:pt x="6381481" y="1221042"/>
                </a:cubicBezTo>
                <a:cubicBezTo>
                  <a:pt x="6382579" y="1224965"/>
                  <a:pt x="6382854" y="1228234"/>
                  <a:pt x="6382854" y="1230849"/>
                </a:cubicBezTo>
                <a:lnTo>
                  <a:pt x="6382305" y="1234227"/>
                </a:lnTo>
                <a:lnTo>
                  <a:pt x="6388073" y="1230413"/>
                </a:lnTo>
                <a:cubicBezTo>
                  <a:pt x="6392743" y="1224529"/>
                  <a:pt x="6395489" y="1214612"/>
                  <a:pt x="6400159" y="1216901"/>
                </a:cubicBezTo>
                <a:cubicBezTo>
                  <a:pt x="6404829" y="1219189"/>
                  <a:pt x="6405379" y="1225401"/>
                  <a:pt x="6410049" y="1227798"/>
                </a:cubicBezTo>
                <a:cubicBezTo>
                  <a:pt x="6418014" y="1231612"/>
                  <a:pt x="6429552" y="1229215"/>
                  <a:pt x="6431200" y="1229978"/>
                </a:cubicBezTo>
                <a:cubicBezTo>
                  <a:pt x="6432574" y="1230740"/>
                  <a:pt x="6432574" y="1230740"/>
                  <a:pt x="6432574" y="1230740"/>
                </a:cubicBezTo>
                <a:cubicBezTo>
                  <a:pt x="6434221" y="1231503"/>
                  <a:pt x="6433672" y="1229215"/>
                  <a:pt x="6436694" y="1230740"/>
                </a:cubicBezTo>
                <a:cubicBezTo>
                  <a:pt x="6443836" y="1236080"/>
                  <a:pt x="6445758" y="1243054"/>
                  <a:pt x="6453725" y="1246868"/>
                </a:cubicBezTo>
                <a:cubicBezTo>
                  <a:pt x="6455373" y="1247631"/>
                  <a:pt x="6460318" y="1249920"/>
                  <a:pt x="6463340" y="1251445"/>
                </a:cubicBezTo>
                <a:cubicBezTo>
                  <a:pt x="6472953" y="1256022"/>
                  <a:pt x="6453450" y="1276618"/>
                  <a:pt x="6463065" y="1281195"/>
                </a:cubicBezTo>
                <a:cubicBezTo>
                  <a:pt x="6459219" y="1291330"/>
                  <a:pt x="6477074" y="1295798"/>
                  <a:pt x="6466636" y="1310727"/>
                </a:cubicBezTo>
                <a:cubicBezTo>
                  <a:pt x="6464164" y="1315413"/>
                  <a:pt x="6455098" y="1320971"/>
                  <a:pt x="6451527" y="1327182"/>
                </a:cubicBezTo>
                <a:cubicBezTo>
                  <a:pt x="6447957" y="1333502"/>
                  <a:pt x="6443287" y="1345271"/>
                  <a:pt x="6449879" y="1348323"/>
                </a:cubicBezTo>
                <a:cubicBezTo>
                  <a:pt x="6444111" y="1351483"/>
                  <a:pt x="6439990" y="1351592"/>
                  <a:pt x="6433398" y="1352354"/>
                </a:cubicBezTo>
                <a:cubicBezTo>
                  <a:pt x="6433398" y="1352354"/>
                  <a:pt x="6433398" y="1352354"/>
                  <a:pt x="6428178" y="1361727"/>
                </a:cubicBezTo>
                <a:cubicBezTo>
                  <a:pt x="6428178" y="1361727"/>
                  <a:pt x="6414719" y="1357149"/>
                  <a:pt x="6413070" y="1356386"/>
                </a:cubicBezTo>
                <a:cubicBezTo>
                  <a:pt x="6402631" y="1353336"/>
                  <a:pt x="6398237" y="1361182"/>
                  <a:pt x="6393018" y="1370662"/>
                </a:cubicBezTo>
                <a:cubicBezTo>
                  <a:pt x="6394666" y="1371425"/>
                  <a:pt x="6393842" y="1372950"/>
                  <a:pt x="6393018" y="1374585"/>
                </a:cubicBezTo>
                <a:cubicBezTo>
                  <a:pt x="6388622" y="1382431"/>
                  <a:pt x="6375437" y="1391803"/>
                  <a:pt x="6375437" y="1391803"/>
                </a:cubicBezTo>
                <a:cubicBezTo>
                  <a:pt x="6369393" y="1388970"/>
                  <a:pt x="6368844" y="1398777"/>
                  <a:pt x="6360604" y="1398995"/>
                </a:cubicBezTo>
                <a:cubicBezTo>
                  <a:pt x="6357856" y="1398995"/>
                  <a:pt x="6354286" y="1398123"/>
                  <a:pt x="6349341" y="1395180"/>
                </a:cubicBezTo>
                <a:cubicBezTo>
                  <a:pt x="6349341" y="1395180"/>
                  <a:pt x="6349341" y="1395290"/>
                  <a:pt x="6347693" y="1394418"/>
                </a:cubicBezTo>
                <a:cubicBezTo>
                  <a:pt x="6347693" y="1394418"/>
                  <a:pt x="6347693" y="1394418"/>
                  <a:pt x="6346868" y="1396053"/>
                </a:cubicBezTo>
                <a:cubicBezTo>
                  <a:pt x="6342748" y="1396053"/>
                  <a:pt x="6338903" y="1392130"/>
                  <a:pt x="6336430" y="1392893"/>
                </a:cubicBezTo>
                <a:cubicBezTo>
                  <a:pt x="6336430" y="1392893"/>
                  <a:pt x="6334782" y="1392130"/>
                  <a:pt x="6334782" y="1392130"/>
                </a:cubicBezTo>
                <a:cubicBezTo>
                  <a:pt x="6330112" y="1389841"/>
                  <a:pt x="6316103" y="1375130"/>
                  <a:pt x="6316652" y="1363469"/>
                </a:cubicBezTo>
                <a:cubicBezTo>
                  <a:pt x="6317477" y="1361835"/>
                  <a:pt x="6318301" y="1360309"/>
                  <a:pt x="6318301" y="1360309"/>
                </a:cubicBezTo>
                <a:cubicBezTo>
                  <a:pt x="6320223" y="1357259"/>
                  <a:pt x="6318026" y="1350175"/>
                  <a:pt x="6320498" y="1345489"/>
                </a:cubicBezTo>
                <a:cubicBezTo>
                  <a:pt x="6324893" y="1337643"/>
                  <a:pt x="6332860" y="1337534"/>
                  <a:pt x="6340551" y="1327290"/>
                </a:cubicBezTo>
                <a:cubicBezTo>
                  <a:pt x="6335057" y="1326636"/>
                  <a:pt x="6330936" y="1326636"/>
                  <a:pt x="6327915" y="1325111"/>
                </a:cubicBezTo>
                <a:cubicBezTo>
                  <a:pt x="6322970" y="1322823"/>
                  <a:pt x="6325717" y="1318137"/>
                  <a:pt x="6327366" y="1314976"/>
                </a:cubicBezTo>
                <a:cubicBezTo>
                  <a:pt x="6332310" y="1313342"/>
                  <a:pt x="6335881" y="1311053"/>
                  <a:pt x="6338353" y="1306368"/>
                </a:cubicBezTo>
                <a:cubicBezTo>
                  <a:pt x="6336155" y="1303207"/>
                  <a:pt x="6333684" y="1300156"/>
                  <a:pt x="6329838" y="1296343"/>
                </a:cubicBezTo>
                <a:cubicBezTo>
                  <a:pt x="6327640" y="1293182"/>
                  <a:pt x="6330112" y="1288387"/>
                  <a:pt x="6328464" y="1287624"/>
                </a:cubicBezTo>
                <a:cubicBezTo>
                  <a:pt x="6328464" y="1287624"/>
                  <a:pt x="6306214" y="1277054"/>
                  <a:pt x="6308137" y="1273894"/>
                </a:cubicBezTo>
                <a:cubicBezTo>
                  <a:pt x="6309785" y="1270734"/>
                  <a:pt x="6311433" y="1271496"/>
                  <a:pt x="6313081" y="1272259"/>
                </a:cubicBezTo>
                <a:cubicBezTo>
                  <a:pt x="6316103" y="1273785"/>
                  <a:pt x="6321597" y="1278362"/>
                  <a:pt x="6329563" y="1282176"/>
                </a:cubicBezTo>
                <a:cubicBezTo>
                  <a:pt x="6330661" y="1276727"/>
                  <a:pt x="6330112" y="1270515"/>
                  <a:pt x="6332585" y="1265830"/>
                </a:cubicBezTo>
                <a:cubicBezTo>
                  <a:pt x="6337804" y="1256349"/>
                  <a:pt x="6348242" y="1259400"/>
                  <a:pt x="6355934" y="1245343"/>
                </a:cubicBezTo>
                <a:cubicBezTo>
                  <a:pt x="6357032" y="1243817"/>
                  <a:pt x="6363076" y="1241747"/>
                  <a:pt x="6369119" y="1240003"/>
                </a:cubicBezTo>
                <a:lnTo>
                  <a:pt x="6371592" y="1239240"/>
                </a:lnTo>
                <a:lnTo>
                  <a:pt x="6368295" y="1234881"/>
                </a:lnTo>
                <a:cubicBezTo>
                  <a:pt x="6370218" y="1234337"/>
                  <a:pt x="6368295" y="1228234"/>
                  <a:pt x="6367471" y="1226164"/>
                </a:cubicBezTo>
                <a:cubicBezTo>
                  <a:pt x="6371317" y="1225074"/>
                  <a:pt x="6369668" y="1217664"/>
                  <a:pt x="6375437" y="1216029"/>
                </a:cubicBezTo>
                <a:close/>
                <a:moveTo>
                  <a:pt x="1880605" y="1214721"/>
                </a:moveTo>
                <a:cubicBezTo>
                  <a:pt x="1880605" y="1214721"/>
                  <a:pt x="1882253" y="1215702"/>
                  <a:pt x="1882253" y="1215702"/>
                </a:cubicBezTo>
                <a:cubicBezTo>
                  <a:pt x="1881429" y="1217664"/>
                  <a:pt x="1882802" y="1217228"/>
                  <a:pt x="1880330" y="1218099"/>
                </a:cubicBezTo>
                <a:cubicBezTo>
                  <a:pt x="1881154" y="1216138"/>
                  <a:pt x="1881154" y="1216247"/>
                  <a:pt x="1880605" y="1214721"/>
                </a:cubicBezTo>
                <a:close/>
                <a:moveTo>
                  <a:pt x="2376978" y="1212651"/>
                </a:moveTo>
                <a:cubicBezTo>
                  <a:pt x="2380275" y="1212651"/>
                  <a:pt x="2378901" y="1213305"/>
                  <a:pt x="2380824" y="1213959"/>
                </a:cubicBezTo>
                <a:cubicBezTo>
                  <a:pt x="2382472" y="1214612"/>
                  <a:pt x="2385769" y="1214721"/>
                  <a:pt x="2387142" y="1214067"/>
                </a:cubicBezTo>
                <a:cubicBezTo>
                  <a:pt x="2385219" y="1221369"/>
                  <a:pt x="2390164" y="1222023"/>
                  <a:pt x="2386593" y="1233356"/>
                </a:cubicBezTo>
                <a:cubicBezTo>
                  <a:pt x="2383846" y="1244253"/>
                  <a:pt x="2377253" y="1248067"/>
                  <a:pt x="2371484" y="1248721"/>
                </a:cubicBezTo>
                <a:cubicBezTo>
                  <a:pt x="2369562" y="1248939"/>
                  <a:pt x="2367639" y="1248721"/>
                  <a:pt x="2365716" y="1248394"/>
                </a:cubicBezTo>
                <a:cubicBezTo>
                  <a:pt x="2366539" y="1246868"/>
                  <a:pt x="2357201" y="1245016"/>
                  <a:pt x="2354453" y="1237170"/>
                </a:cubicBezTo>
                <a:cubicBezTo>
                  <a:pt x="2353355" y="1234555"/>
                  <a:pt x="2353355" y="1231177"/>
                  <a:pt x="2354453" y="1227035"/>
                </a:cubicBezTo>
                <a:cubicBezTo>
                  <a:pt x="2356926" y="1217773"/>
                  <a:pt x="2362969" y="1208510"/>
                  <a:pt x="2376978" y="1212651"/>
                </a:cubicBezTo>
                <a:close/>
                <a:moveTo>
                  <a:pt x="1811107" y="1210144"/>
                </a:moveTo>
                <a:cubicBezTo>
                  <a:pt x="1810833" y="1215375"/>
                  <a:pt x="1798746" y="1221804"/>
                  <a:pt x="1792977" y="1223330"/>
                </a:cubicBezTo>
                <a:cubicBezTo>
                  <a:pt x="1792977" y="1222023"/>
                  <a:pt x="1793802" y="1220715"/>
                  <a:pt x="1794900" y="1219298"/>
                </a:cubicBezTo>
                <a:cubicBezTo>
                  <a:pt x="1798746" y="1215266"/>
                  <a:pt x="1806711" y="1211343"/>
                  <a:pt x="1811107" y="1210144"/>
                </a:cubicBezTo>
                <a:close/>
                <a:moveTo>
                  <a:pt x="2150286" y="1208837"/>
                </a:moveTo>
                <a:cubicBezTo>
                  <a:pt x="2153033" y="1208401"/>
                  <a:pt x="2156536" y="1210036"/>
                  <a:pt x="2159420" y="1213850"/>
                </a:cubicBezTo>
                <a:cubicBezTo>
                  <a:pt x="2157497" y="1216683"/>
                  <a:pt x="2155300" y="1218209"/>
                  <a:pt x="2152827" y="1218427"/>
                </a:cubicBezTo>
                <a:cubicBezTo>
                  <a:pt x="2150355" y="1218753"/>
                  <a:pt x="2147883" y="1217881"/>
                  <a:pt x="2145685" y="1216247"/>
                </a:cubicBezTo>
                <a:cubicBezTo>
                  <a:pt x="2145548" y="1211779"/>
                  <a:pt x="2147539" y="1209273"/>
                  <a:pt x="2150286" y="1208837"/>
                </a:cubicBezTo>
                <a:close/>
                <a:moveTo>
                  <a:pt x="1497680" y="1207856"/>
                </a:moveTo>
                <a:cubicBezTo>
                  <a:pt x="1499603" y="1207638"/>
                  <a:pt x="1501526" y="1207420"/>
                  <a:pt x="1501801" y="1209164"/>
                </a:cubicBezTo>
                <a:cubicBezTo>
                  <a:pt x="1503724" y="1208945"/>
                  <a:pt x="1503724" y="1208945"/>
                  <a:pt x="1503998" y="1210689"/>
                </a:cubicBezTo>
                <a:cubicBezTo>
                  <a:pt x="1502075" y="1210907"/>
                  <a:pt x="1499878" y="1211016"/>
                  <a:pt x="1497955" y="1211234"/>
                </a:cubicBezTo>
                <a:cubicBezTo>
                  <a:pt x="1495758" y="1209709"/>
                  <a:pt x="1495758" y="1209818"/>
                  <a:pt x="1497680" y="1207856"/>
                </a:cubicBezTo>
                <a:close/>
                <a:moveTo>
                  <a:pt x="1978945" y="1207311"/>
                </a:moveTo>
                <a:cubicBezTo>
                  <a:pt x="1986362" y="1211888"/>
                  <a:pt x="1979495" y="1220061"/>
                  <a:pt x="1975099" y="1219843"/>
                </a:cubicBezTo>
                <a:cubicBezTo>
                  <a:pt x="1966310" y="1215157"/>
                  <a:pt x="1974550" y="1207093"/>
                  <a:pt x="1978945" y="1207311"/>
                </a:cubicBezTo>
                <a:close/>
                <a:moveTo>
                  <a:pt x="1147444" y="1206112"/>
                </a:moveTo>
                <a:cubicBezTo>
                  <a:pt x="1152114" y="1204260"/>
                  <a:pt x="1161179" y="1208619"/>
                  <a:pt x="1162004" y="1214395"/>
                </a:cubicBezTo>
                <a:cubicBezTo>
                  <a:pt x="1162278" y="1216356"/>
                  <a:pt x="1161454" y="1218427"/>
                  <a:pt x="1159256" y="1220388"/>
                </a:cubicBezTo>
                <a:cubicBezTo>
                  <a:pt x="1157608" y="1221804"/>
                  <a:pt x="1156235" y="1222567"/>
                  <a:pt x="1154860" y="1222677"/>
                </a:cubicBezTo>
                <a:cubicBezTo>
                  <a:pt x="1150466" y="1223330"/>
                  <a:pt x="1146621" y="1219407"/>
                  <a:pt x="1143324" y="1214612"/>
                </a:cubicBezTo>
                <a:cubicBezTo>
                  <a:pt x="1145247" y="1211779"/>
                  <a:pt x="1145522" y="1208945"/>
                  <a:pt x="1147444" y="1206112"/>
                </a:cubicBezTo>
                <a:close/>
                <a:moveTo>
                  <a:pt x="2314245" y="1203456"/>
                </a:moveTo>
                <a:cubicBezTo>
                  <a:pt x="2316752" y="1203851"/>
                  <a:pt x="2318880" y="1205295"/>
                  <a:pt x="2320666" y="1207529"/>
                </a:cubicBezTo>
                <a:lnTo>
                  <a:pt x="2319842" y="1209055"/>
                </a:lnTo>
                <a:lnTo>
                  <a:pt x="2321764" y="1209273"/>
                </a:lnTo>
                <a:cubicBezTo>
                  <a:pt x="2323413" y="1209709"/>
                  <a:pt x="2324787" y="1210472"/>
                  <a:pt x="2326160" y="1211997"/>
                </a:cubicBezTo>
                <a:cubicBezTo>
                  <a:pt x="2330830" y="1216574"/>
                  <a:pt x="2334126" y="1226926"/>
                  <a:pt x="2330006" y="1231177"/>
                </a:cubicBezTo>
                <a:cubicBezTo>
                  <a:pt x="2325885" y="1236842"/>
                  <a:pt x="2321764" y="1238150"/>
                  <a:pt x="2317369" y="1237933"/>
                </a:cubicBezTo>
                <a:cubicBezTo>
                  <a:pt x="2317369" y="1237933"/>
                  <a:pt x="2317369" y="1237824"/>
                  <a:pt x="2318743" y="1237933"/>
                </a:cubicBezTo>
                <a:cubicBezTo>
                  <a:pt x="2321764" y="1240984"/>
                  <a:pt x="2325885" y="1245233"/>
                  <a:pt x="2329182" y="1249156"/>
                </a:cubicBezTo>
                <a:lnTo>
                  <a:pt x="2332478" y="1255586"/>
                </a:lnTo>
                <a:lnTo>
                  <a:pt x="2335500" y="1253843"/>
                </a:lnTo>
                <a:cubicBezTo>
                  <a:pt x="2349234" y="1250355"/>
                  <a:pt x="2369012" y="1256349"/>
                  <a:pt x="2365990" y="1270298"/>
                </a:cubicBezTo>
                <a:cubicBezTo>
                  <a:pt x="2359947" y="1272804"/>
                  <a:pt x="2353355" y="1274765"/>
                  <a:pt x="2346213" y="1275202"/>
                </a:cubicBezTo>
                <a:cubicBezTo>
                  <a:pt x="2339070" y="1275637"/>
                  <a:pt x="2331654" y="1274548"/>
                  <a:pt x="2323688" y="1270951"/>
                </a:cubicBezTo>
                <a:lnTo>
                  <a:pt x="2323963" y="1268772"/>
                </a:lnTo>
                <a:lnTo>
                  <a:pt x="2317644" y="1271388"/>
                </a:lnTo>
                <a:cubicBezTo>
                  <a:pt x="2315447" y="1269207"/>
                  <a:pt x="2318194" y="1263542"/>
                  <a:pt x="2318743" y="1260163"/>
                </a:cubicBezTo>
                <a:cubicBezTo>
                  <a:pt x="2320391" y="1261035"/>
                  <a:pt x="2322314" y="1261798"/>
                  <a:pt x="2321764" y="1260381"/>
                </a:cubicBezTo>
                <a:lnTo>
                  <a:pt x="2325061" y="1263323"/>
                </a:lnTo>
                <a:lnTo>
                  <a:pt x="2325610" y="1259619"/>
                </a:lnTo>
                <a:lnTo>
                  <a:pt x="2329457" y="1257221"/>
                </a:lnTo>
                <a:lnTo>
                  <a:pt x="2328357" y="1255913"/>
                </a:lnTo>
                <a:cubicBezTo>
                  <a:pt x="2326709" y="1254388"/>
                  <a:pt x="2326709" y="1255804"/>
                  <a:pt x="2326709" y="1255804"/>
                </a:cubicBezTo>
                <a:cubicBezTo>
                  <a:pt x="2326709" y="1255804"/>
                  <a:pt x="2326709" y="1254388"/>
                  <a:pt x="2326709" y="1254388"/>
                </a:cubicBezTo>
                <a:cubicBezTo>
                  <a:pt x="2326709" y="1254388"/>
                  <a:pt x="2326709" y="1254388"/>
                  <a:pt x="2323688" y="1251336"/>
                </a:cubicBezTo>
                <a:cubicBezTo>
                  <a:pt x="2319293" y="1248285"/>
                  <a:pt x="2317919" y="1248176"/>
                  <a:pt x="2314897" y="1246541"/>
                </a:cubicBezTo>
                <a:cubicBezTo>
                  <a:pt x="2311875" y="1243491"/>
                  <a:pt x="2311875" y="1241964"/>
                  <a:pt x="2308854" y="1237496"/>
                </a:cubicBezTo>
                <a:cubicBezTo>
                  <a:pt x="2309953" y="1234663"/>
                  <a:pt x="2309953" y="1234663"/>
                  <a:pt x="2311601" y="1234772"/>
                </a:cubicBezTo>
                <a:cubicBezTo>
                  <a:pt x="2309953" y="1234663"/>
                  <a:pt x="2309953" y="1233247"/>
                  <a:pt x="2308580" y="1231721"/>
                </a:cubicBezTo>
                <a:cubicBezTo>
                  <a:pt x="2305008" y="1229324"/>
                  <a:pt x="2303635" y="1226272"/>
                  <a:pt x="2304184" y="1223003"/>
                </a:cubicBezTo>
                <a:lnTo>
                  <a:pt x="2307756" y="1215702"/>
                </a:lnTo>
                <a:lnTo>
                  <a:pt x="2304734" y="1214067"/>
                </a:lnTo>
                <a:cubicBezTo>
                  <a:pt x="2305008" y="1211997"/>
                  <a:pt x="2304184" y="1208728"/>
                  <a:pt x="2305557" y="1205676"/>
                </a:cubicBezTo>
                <a:cubicBezTo>
                  <a:pt x="2308854" y="1203715"/>
                  <a:pt x="2311738" y="1203061"/>
                  <a:pt x="2314245" y="1203456"/>
                </a:cubicBezTo>
                <a:close/>
                <a:moveTo>
                  <a:pt x="1458399" y="1200119"/>
                </a:moveTo>
                <a:cubicBezTo>
                  <a:pt x="1460322" y="1202735"/>
                  <a:pt x="1464991" y="1210362"/>
                  <a:pt x="1466366" y="1215702"/>
                </a:cubicBezTo>
                <a:lnTo>
                  <a:pt x="1466640" y="1219625"/>
                </a:lnTo>
                <a:lnTo>
                  <a:pt x="1460322" y="1208837"/>
                </a:lnTo>
                <a:cubicBezTo>
                  <a:pt x="1458399" y="1204696"/>
                  <a:pt x="1457574" y="1201099"/>
                  <a:pt x="1458399" y="1200119"/>
                </a:cubicBezTo>
                <a:close/>
                <a:moveTo>
                  <a:pt x="2336873" y="1198593"/>
                </a:moveTo>
                <a:lnTo>
                  <a:pt x="2340994" y="1200882"/>
                </a:lnTo>
                <a:lnTo>
                  <a:pt x="2341818" y="1200555"/>
                </a:lnTo>
                <a:cubicBezTo>
                  <a:pt x="2344839" y="1200228"/>
                  <a:pt x="2348410" y="1201099"/>
                  <a:pt x="2352256" y="1202407"/>
                </a:cubicBezTo>
                <a:cubicBezTo>
                  <a:pt x="2351981" y="1205676"/>
                  <a:pt x="2352805" y="1208401"/>
                  <a:pt x="2352531" y="1211670"/>
                </a:cubicBezTo>
                <a:lnTo>
                  <a:pt x="2351981" y="1211888"/>
                </a:lnTo>
                <a:lnTo>
                  <a:pt x="2352531" y="1217010"/>
                </a:lnTo>
                <a:cubicBezTo>
                  <a:pt x="2352531" y="1217010"/>
                  <a:pt x="2351707" y="1218972"/>
                  <a:pt x="2348959" y="1220279"/>
                </a:cubicBezTo>
                <a:cubicBezTo>
                  <a:pt x="2346213" y="1224965"/>
                  <a:pt x="2340719" y="1222894"/>
                  <a:pt x="2340719" y="1222894"/>
                </a:cubicBezTo>
                <a:cubicBezTo>
                  <a:pt x="2340719" y="1222894"/>
                  <a:pt x="2340444" y="1222894"/>
                  <a:pt x="2340994" y="1224202"/>
                </a:cubicBezTo>
                <a:cubicBezTo>
                  <a:pt x="2339895" y="1221587"/>
                  <a:pt x="2337697" y="1219625"/>
                  <a:pt x="2336598" y="1217010"/>
                </a:cubicBezTo>
                <a:lnTo>
                  <a:pt x="2337148" y="1215920"/>
                </a:lnTo>
                <a:lnTo>
                  <a:pt x="2336049" y="1216901"/>
                </a:lnTo>
                <a:cubicBezTo>
                  <a:pt x="2332478" y="1215594"/>
                  <a:pt x="2329731" y="1213413"/>
                  <a:pt x="2328357" y="1210472"/>
                </a:cubicBezTo>
                <a:cubicBezTo>
                  <a:pt x="2326709" y="1207529"/>
                  <a:pt x="2326434" y="1203824"/>
                  <a:pt x="2327808" y="1199247"/>
                </a:cubicBezTo>
                <a:cubicBezTo>
                  <a:pt x="2330555" y="1196959"/>
                  <a:pt x="2333851" y="1197285"/>
                  <a:pt x="2336873" y="1198593"/>
                </a:cubicBezTo>
                <a:close/>
                <a:moveTo>
                  <a:pt x="1746553" y="1191619"/>
                </a:moveTo>
                <a:lnTo>
                  <a:pt x="1745455" y="1192817"/>
                </a:lnTo>
                <a:lnTo>
                  <a:pt x="1746553" y="1192382"/>
                </a:lnTo>
                <a:close/>
                <a:moveTo>
                  <a:pt x="1879231" y="1190965"/>
                </a:moveTo>
                <a:cubicBezTo>
                  <a:pt x="1879781" y="1193799"/>
                  <a:pt x="1882527" y="1209491"/>
                  <a:pt x="1880879" y="1214612"/>
                </a:cubicBezTo>
                <a:cubicBezTo>
                  <a:pt x="1880330" y="1207202"/>
                  <a:pt x="1876484" y="1198048"/>
                  <a:pt x="1879231" y="1190965"/>
                </a:cubicBezTo>
                <a:close/>
                <a:moveTo>
                  <a:pt x="1196340" y="1190856"/>
                </a:moveTo>
                <a:cubicBezTo>
                  <a:pt x="1200736" y="1195543"/>
                  <a:pt x="1199636" y="1201318"/>
                  <a:pt x="1204031" y="1207420"/>
                </a:cubicBezTo>
                <a:cubicBezTo>
                  <a:pt x="1201559" y="1211670"/>
                  <a:pt x="1206229" y="1219080"/>
                  <a:pt x="1202109" y="1224747"/>
                </a:cubicBezTo>
                <a:cubicBezTo>
                  <a:pt x="1193318" y="1218535"/>
                  <a:pt x="1192219" y="1195106"/>
                  <a:pt x="1196340" y="1190856"/>
                </a:cubicBezTo>
                <a:close/>
                <a:moveTo>
                  <a:pt x="6322696" y="1189222"/>
                </a:moveTo>
                <a:cubicBezTo>
                  <a:pt x="6329014" y="1192382"/>
                  <a:pt x="6335057" y="1203388"/>
                  <a:pt x="6331485" y="1209709"/>
                </a:cubicBezTo>
                <a:cubicBezTo>
                  <a:pt x="6331485" y="1209709"/>
                  <a:pt x="6331485" y="1209599"/>
                  <a:pt x="6330661" y="1211234"/>
                </a:cubicBezTo>
                <a:cubicBezTo>
                  <a:pt x="6329838" y="1212868"/>
                  <a:pt x="6329563" y="1212868"/>
                  <a:pt x="6331211" y="1213632"/>
                </a:cubicBezTo>
                <a:cubicBezTo>
                  <a:pt x="6329563" y="1216791"/>
                  <a:pt x="6327091" y="1217664"/>
                  <a:pt x="6326266" y="1219189"/>
                </a:cubicBezTo>
                <a:cubicBezTo>
                  <a:pt x="6330387" y="1219189"/>
                  <a:pt x="6332035" y="1216029"/>
                  <a:pt x="6336705" y="1218318"/>
                </a:cubicBezTo>
                <a:cubicBezTo>
                  <a:pt x="6341649" y="1220606"/>
                  <a:pt x="6344671" y="1222241"/>
                  <a:pt x="6342198" y="1226926"/>
                </a:cubicBezTo>
                <a:cubicBezTo>
                  <a:pt x="6340825" y="1229324"/>
                  <a:pt x="6339177" y="1231177"/>
                  <a:pt x="6337254" y="1232048"/>
                </a:cubicBezTo>
                <a:cubicBezTo>
                  <a:pt x="6335331" y="1232811"/>
                  <a:pt x="6332860" y="1232593"/>
                  <a:pt x="6329838" y="1231067"/>
                </a:cubicBezTo>
                <a:cubicBezTo>
                  <a:pt x="6323245" y="1227908"/>
                  <a:pt x="6326816" y="1221587"/>
                  <a:pt x="6323794" y="1220061"/>
                </a:cubicBezTo>
                <a:cubicBezTo>
                  <a:pt x="6322147" y="1219298"/>
                  <a:pt x="6319674" y="1220170"/>
                  <a:pt x="6318850" y="1217773"/>
                </a:cubicBezTo>
                <a:cubicBezTo>
                  <a:pt x="6314180" y="1215484"/>
                  <a:pt x="6314180" y="1211561"/>
                  <a:pt x="6310334" y="1207638"/>
                </a:cubicBezTo>
                <a:cubicBezTo>
                  <a:pt x="6313905" y="1201208"/>
                  <a:pt x="6310884" y="1199683"/>
                  <a:pt x="6313356" y="1194998"/>
                </a:cubicBezTo>
                <a:cubicBezTo>
                  <a:pt x="6316103" y="1190202"/>
                  <a:pt x="6319399" y="1187696"/>
                  <a:pt x="6322696" y="1189222"/>
                </a:cubicBezTo>
                <a:close/>
                <a:moveTo>
                  <a:pt x="1729008" y="1188922"/>
                </a:moveTo>
                <a:cubicBezTo>
                  <a:pt x="1730897" y="1188514"/>
                  <a:pt x="1732957" y="1189167"/>
                  <a:pt x="1735566" y="1190312"/>
                </a:cubicBezTo>
                <a:cubicBezTo>
                  <a:pt x="1733918" y="1192491"/>
                  <a:pt x="1732544" y="1193581"/>
                  <a:pt x="1730621" y="1194016"/>
                </a:cubicBezTo>
                <a:cubicBezTo>
                  <a:pt x="1728699" y="1194344"/>
                  <a:pt x="1726501" y="1194125"/>
                  <a:pt x="1723479" y="1193907"/>
                </a:cubicBezTo>
                <a:cubicBezTo>
                  <a:pt x="1725402" y="1190802"/>
                  <a:pt x="1727119" y="1189331"/>
                  <a:pt x="1729008" y="1188922"/>
                </a:cubicBezTo>
                <a:close/>
                <a:moveTo>
                  <a:pt x="1715788" y="1188894"/>
                </a:moveTo>
                <a:cubicBezTo>
                  <a:pt x="1717436" y="1189876"/>
                  <a:pt x="1717436" y="1189876"/>
                  <a:pt x="1716063" y="1190312"/>
                </a:cubicBezTo>
                <a:cubicBezTo>
                  <a:pt x="1718260" y="1192709"/>
                  <a:pt x="1718535" y="1194125"/>
                  <a:pt x="1719084" y="1195651"/>
                </a:cubicBezTo>
                <a:cubicBezTo>
                  <a:pt x="1717986" y="1197504"/>
                  <a:pt x="1715239" y="1198484"/>
                  <a:pt x="1711943" y="1198158"/>
                </a:cubicBezTo>
                <a:cubicBezTo>
                  <a:pt x="1713041" y="1196196"/>
                  <a:pt x="1710844" y="1193799"/>
                  <a:pt x="1711943" y="1191837"/>
                </a:cubicBezTo>
                <a:cubicBezTo>
                  <a:pt x="1711943" y="1191837"/>
                  <a:pt x="1715788" y="1188894"/>
                  <a:pt x="1715788" y="1188894"/>
                </a:cubicBezTo>
                <a:close/>
                <a:moveTo>
                  <a:pt x="2384670" y="1188677"/>
                </a:moveTo>
                <a:cubicBezTo>
                  <a:pt x="2390713" y="1191837"/>
                  <a:pt x="2390713" y="1200337"/>
                  <a:pt x="2381923" y="1202735"/>
                </a:cubicBezTo>
                <a:cubicBezTo>
                  <a:pt x="2380275" y="1196850"/>
                  <a:pt x="2378627" y="1190965"/>
                  <a:pt x="2384670" y="1188677"/>
                </a:cubicBezTo>
                <a:close/>
                <a:moveTo>
                  <a:pt x="1468562" y="1185517"/>
                </a:moveTo>
                <a:cubicBezTo>
                  <a:pt x="1476804" y="1188894"/>
                  <a:pt x="1486418" y="1191183"/>
                  <a:pt x="1485044" y="1201318"/>
                </a:cubicBezTo>
                <a:cubicBezTo>
                  <a:pt x="1482847" y="1203606"/>
                  <a:pt x="1480649" y="1204805"/>
                  <a:pt x="1478452" y="1205131"/>
                </a:cubicBezTo>
                <a:cubicBezTo>
                  <a:pt x="1471859" y="1206112"/>
                  <a:pt x="1465816" y="1199574"/>
                  <a:pt x="1465266" y="1193145"/>
                </a:cubicBezTo>
                <a:cubicBezTo>
                  <a:pt x="1465266" y="1190421"/>
                  <a:pt x="1466091" y="1187587"/>
                  <a:pt x="1468562" y="1185517"/>
                </a:cubicBezTo>
                <a:close/>
                <a:moveTo>
                  <a:pt x="1824568" y="1183119"/>
                </a:moveTo>
                <a:cubicBezTo>
                  <a:pt x="1825117" y="1183119"/>
                  <a:pt x="1825666" y="1183337"/>
                  <a:pt x="1825666" y="1183337"/>
                </a:cubicBezTo>
                <a:cubicBezTo>
                  <a:pt x="1827314" y="1184209"/>
                  <a:pt x="1828962" y="1185080"/>
                  <a:pt x="1828138" y="1186933"/>
                </a:cubicBezTo>
                <a:cubicBezTo>
                  <a:pt x="1828138" y="1186933"/>
                  <a:pt x="1827864" y="1187152"/>
                  <a:pt x="1827039" y="1187042"/>
                </a:cubicBezTo>
                <a:cubicBezTo>
                  <a:pt x="1826216" y="1186933"/>
                  <a:pt x="1825117" y="1186606"/>
                  <a:pt x="1823194" y="1185734"/>
                </a:cubicBezTo>
                <a:cubicBezTo>
                  <a:pt x="1824568" y="1185299"/>
                  <a:pt x="1824293" y="1183773"/>
                  <a:pt x="1824293" y="1183773"/>
                </a:cubicBezTo>
                <a:cubicBezTo>
                  <a:pt x="1824293" y="1183773"/>
                  <a:pt x="1824293" y="1183882"/>
                  <a:pt x="1822919" y="1184318"/>
                </a:cubicBezTo>
                <a:cubicBezTo>
                  <a:pt x="1823468" y="1183446"/>
                  <a:pt x="1824018" y="1183119"/>
                  <a:pt x="1824568" y="1183119"/>
                </a:cubicBezTo>
                <a:close/>
                <a:moveTo>
                  <a:pt x="1809185" y="1182684"/>
                </a:moveTo>
                <a:cubicBezTo>
                  <a:pt x="1812480" y="1182465"/>
                  <a:pt x="1813855" y="1186933"/>
                  <a:pt x="1815503" y="1189439"/>
                </a:cubicBezTo>
                <a:cubicBezTo>
                  <a:pt x="1818524" y="1189222"/>
                  <a:pt x="1816601" y="1196087"/>
                  <a:pt x="1819623" y="1195869"/>
                </a:cubicBezTo>
                <a:cubicBezTo>
                  <a:pt x="1818249" y="1203933"/>
                  <a:pt x="1828138" y="1206330"/>
                  <a:pt x="1828412" y="1218972"/>
                </a:cubicBezTo>
                <a:lnTo>
                  <a:pt x="1821546" y="1211561"/>
                </a:lnTo>
                <a:lnTo>
                  <a:pt x="1817974" y="1212324"/>
                </a:lnTo>
                <a:cubicBezTo>
                  <a:pt x="1816051" y="1211670"/>
                  <a:pt x="1814678" y="1209927"/>
                  <a:pt x="1812755" y="1207529"/>
                </a:cubicBezTo>
                <a:cubicBezTo>
                  <a:pt x="1814678" y="1206439"/>
                  <a:pt x="1816601" y="1206439"/>
                  <a:pt x="1818249" y="1207093"/>
                </a:cubicBezTo>
                <a:lnTo>
                  <a:pt x="1819073" y="1207529"/>
                </a:lnTo>
                <a:lnTo>
                  <a:pt x="1814403" y="1199683"/>
                </a:lnTo>
                <a:cubicBezTo>
                  <a:pt x="1812755" y="1196087"/>
                  <a:pt x="1810833" y="1193036"/>
                  <a:pt x="1808086" y="1190747"/>
                </a:cubicBezTo>
                <a:cubicBezTo>
                  <a:pt x="1808086" y="1190747"/>
                  <a:pt x="1808086" y="1190747"/>
                  <a:pt x="1808635" y="1186715"/>
                </a:cubicBezTo>
                <a:cubicBezTo>
                  <a:pt x="1807811" y="1185517"/>
                  <a:pt x="1807811" y="1185408"/>
                  <a:pt x="1807811" y="1185408"/>
                </a:cubicBezTo>
                <a:cubicBezTo>
                  <a:pt x="1806986" y="1184209"/>
                  <a:pt x="1809185" y="1182684"/>
                  <a:pt x="1809185" y="1182684"/>
                </a:cubicBezTo>
                <a:close/>
                <a:moveTo>
                  <a:pt x="1930874" y="1179523"/>
                </a:moveTo>
                <a:cubicBezTo>
                  <a:pt x="1930874" y="1179523"/>
                  <a:pt x="1930874" y="1181048"/>
                  <a:pt x="1927853" y="1183446"/>
                </a:cubicBezTo>
                <a:cubicBezTo>
                  <a:pt x="1927853" y="1182030"/>
                  <a:pt x="1926478" y="1181702"/>
                  <a:pt x="1926478" y="1181702"/>
                </a:cubicBezTo>
                <a:cubicBezTo>
                  <a:pt x="1926478" y="1181702"/>
                  <a:pt x="1926478" y="1181811"/>
                  <a:pt x="1926478" y="1183229"/>
                </a:cubicBezTo>
                <a:cubicBezTo>
                  <a:pt x="1925654" y="1182356"/>
                  <a:pt x="1925654" y="1181702"/>
                  <a:pt x="1925929" y="1181157"/>
                </a:cubicBezTo>
                <a:cubicBezTo>
                  <a:pt x="1926204" y="1180613"/>
                  <a:pt x="1926478" y="1180286"/>
                  <a:pt x="1926478" y="1180286"/>
                </a:cubicBezTo>
                <a:cubicBezTo>
                  <a:pt x="1928127" y="1179087"/>
                  <a:pt x="1929500" y="1177888"/>
                  <a:pt x="1930874" y="1179523"/>
                </a:cubicBezTo>
                <a:close/>
                <a:moveTo>
                  <a:pt x="2183593" y="1178651"/>
                </a:moveTo>
                <a:cubicBezTo>
                  <a:pt x="2180297" y="1180831"/>
                  <a:pt x="2180297" y="1182792"/>
                  <a:pt x="2179198" y="1181485"/>
                </a:cubicBezTo>
                <a:cubicBezTo>
                  <a:pt x="2178374" y="1182247"/>
                  <a:pt x="2177276" y="1180940"/>
                  <a:pt x="2178374" y="1180177"/>
                </a:cubicBezTo>
                <a:cubicBezTo>
                  <a:pt x="2177825" y="1176908"/>
                  <a:pt x="2181670" y="1178107"/>
                  <a:pt x="2183593" y="1178651"/>
                </a:cubicBezTo>
                <a:close/>
                <a:moveTo>
                  <a:pt x="1835830" y="1177671"/>
                </a:moveTo>
                <a:lnTo>
                  <a:pt x="1835830" y="1178216"/>
                </a:lnTo>
                <a:lnTo>
                  <a:pt x="1836104" y="1178324"/>
                </a:lnTo>
                <a:lnTo>
                  <a:pt x="1838302" y="1177888"/>
                </a:lnTo>
                <a:close/>
                <a:moveTo>
                  <a:pt x="1330666" y="1177453"/>
                </a:moveTo>
                <a:cubicBezTo>
                  <a:pt x="1333687" y="1177453"/>
                  <a:pt x="1332314" y="1178216"/>
                  <a:pt x="1334236" y="1178869"/>
                </a:cubicBezTo>
                <a:cubicBezTo>
                  <a:pt x="1336160" y="1179523"/>
                  <a:pt x="1339181" y="1179523"/>
                  <a:pt x="1340555" y="1178869"/>
                </a:cubicBezTo>
                <a:cubicBezTo>
                  <a:pt x="1338631" y="1186170"/>
                  <a:pt x="1343576" y="1186824"/>
                  <a:pt x="1340280" y="1198158"/>
                </a:cubicBezTo>
                <a:cubicBezTo>
                  <a:pt x="1337258" y="1209055"/>
                  <a:pt x="1330940" y="1212868"/>
                  <a:pt x="1324897" y="1213522"/>
                </a:cubicBezTo>
                <a:cubicBezTo>
                  <a:pt x="1322974" y="1213741"/>
                  <a:pt x="1321052" y="1213632"/>
                  <a:pt x="1319404" y="1213305"/>
                </a:cubicBezTo>
                <a:cubicBezTo>
                  <a:pt x="1319953" y="1211779"/>
                  <a:pt x="1310613" y="1209818"/>
                  <a:pt x="1307866" y="1201972"/>
                </a:cubicBezTo>
                <a:cubicBezTo>
                  <a:pt x="1307042" y="1199356"/>
                  <a:pt x="1306767" y="1195978"/>
                  <a:pt x="1307866" y="1191837"/>
                </a:cubicBezTo>
                <a:cubicBezTo>
                  <a:pt x="1310613" y="1182575"/>
                  <a:pt x="1316382" y="1173311"/>
                  <a:pt x="1330666" y="1177453"/>
                </a:cubicBezTo>
                <a:close/>
                <a:moveTo>
                  <a:pt x="6549044" y="1176145"/>
                </a:moveTo>
                <a:cubicBezTo>
                  <a:pt x="6549868" y="1174619"/>
                  <a:pt x="6551517" y="1175273"/>
                  <a:pt x="6554538" y="1176799"/>
                </a:cubicBezTo>
                <a:cubicBezTo>
                  <a:pt x="6553714" y="1178324"/>
                  <a:pt x="6553714" y="1178324"/>
                  <a:pt x="6552890" y="1179850"/>
                </a:cubicBezTo>
                <a:cubicBezTo>
                  <a:pt x="6552340" y="1180613"/>
                  <a:pt x="6551791" y="1180831"/>
                  <a:pt x="6551242" y="1180722"/>
                </a:cubicBezTo>
                <a:cubicBezTo>
                  <a:pt x="6550418" y="1180613"/>
                  <a:pt x="6549594" y="1180286"/>
                  <a:pt x="6549044" y="1179959"/>
                </a:cubicBezTo>
                <a:cubicBezTo>
                  <a:pt x="6547396" y="1179196"/>
                  <a:pt x="6548220" y="1177671"/>
                  <a:pt x="6549044" y="1176145"/>
                </a:cubicBezTo>
                <a:close/>
                <a:moveTo>
                  <a:pt x="1427358" y="1174728"/>
                </a:moveTo>
                <a:cubicBezTo>
                  <a:pt x="1429556" y="1175273"/>
                  <a:pt x="1431204" y="1176690"/>
                  <a:pt x="1432303" y="1179523"/>
                </a:cubicBezTo>
                <a:cubicBezTo>
                  <a:pt x="1430655" y="1188568"/>
                  <a:pt x="1422414" y="1184863"/>
                  <a:pt x="1414173" y="1187696"/>
                </a:cubicBezTo>
                <a:cubicBezTo>
                  <a:pt x="1411976" y="1179959"/>
                  <a:pt x="1420765" y="1172985"/>
                  <a:pt x="1427358" y="1174728"/>
                </a:cubicBezTo>
                <a:close/>
                <a:moveTo>
                  <a:pt x="1481473" y="1173094"/>
                </a:moveTo>
                <a:cubicBezTo>
                  <a:pt x="1480374" y="1174184"/>
                  <a:pt x="1479550" y="1176799"/>
                  <a:pt x="1477902" y="1177453"/>
                </a:cubicBezTo>
                <a:cubicBezTo>
                  <a:pt x="1477353" y="1177671"/>
                  <a:pt x="1476529" y="1177671"/>
                  <a:pt x="1475979" y="1177234"/>
                </a:cubicBezTo>
                <a:cubicBezTo>
                  <a:pt x="1477353" y="1174401"/>
                  <a:pt x="1478452" y="1172985"/>
                  <a:pt x="1481473" y="1173094"/>
                </a:cubicBezTo>
                <a:close/>
                <a:moveTo>
                  <a:pt x="2286604" y="1170587"/>
                </a:moveTo>
                <a:cubicBezTo>
                  <a:pt x="2289076" y="1170805"/>
                  <a:pt x="2290174" y="1171350"/>
                  <a:pt x="2290724" y="1172440"/>
                </a:cubicBezTo>
                <a:lnTo>
                  <a:pt x="2290724" y="1173856"/>
                </a:lnTo>
                <a:lnTo>
                  <a:pt x="2291823" y="1174401"/>
                </a:lnTo>
                <a:cubicBezTo>
                  <a:pt x="2296768" y="1178761"/>
                  <a:pt x="2300888" y="1187478"/>
                  <a:pt x="2295943" y="1195651"/>
                </a:cubicBezTo>
                <a:cubicBezTo>
                  <a:pt x="2289625" y="1193036"/>
                  <a:pt x="2287153" y="1189331"/>
                  <a:pt x="2286329" y="1185080"/>
                </a:cubicBezTo>
                <a:lnTo>
                  <a:pt x="2286604" y="1175164"/>
                </a:lnTo>
                <a:lnTo>
                  <a:pt x="2285505" y="1171350"/>
                </a:lnTo>
                <a:cubicBezTo>
                  <a:pt x="2285505" y="1171350"/>
                  <a:pt x="2286604" y="1170587"/>
                  <a:pt x="2286604" y="1170587"/>
                </a:cubicBezTo>
                <a:close/>
                <a:moveTo>
                  <a:pt x="6345221" y="1169280"/>
                </a:moveTo>
                <a:cubicBezTo>
                  <a:pt x="6351539" y="1170696"/>
                  <a:pt x="6362801" y="1182901"/>
                  <a:pt x="6357581" y="1193471"/>
                </a:cubicBezTo>
                <a:cubicBezTo>
                  <a:pt x="6344122" y="1187914"/>
                  <a:pt x="6345495" y="1178433"/>
                  <a:pt x="6345221" y="1169280"/>
                </a:cubicBezTo>
                <a:close/>
                <a:moveTo>
                  <a:pt x="1876209" y="1168299"/>
                </a:moveTo>
                <a:cubicBezTo>
                  <a:pt x="1878408" y="1170478"/>
                  <a:pt x="1881154" y="1175273"/>
                  <a:pt x="1879231" y="1178978"/>
                </a:cubicBezTo>
                <a:cubicBezTo>
                  <a:pt x="1879231" y="1178978"/>
                  <a:pt x="1879231" y="1178978"/>
                  <a:pt x="1878133" y="1180831"/>
                </a:cubicBezTo>
                <a:cubicBezTo>
                  <a:pt x="1877034" y="1176799"/>
                  <a:pt x="1875661" y="1171459"/>
                  <a:pt x="1876209" y="1168299"/>
                </a:cubicBezTo>
                <a:close/>
                <a:moveTo>
                  <a:pt x="1267692" y="1168258"/>
                </a:moveTo>
                <a:cubicBezTo>
                  <a:pt x="1270164" y="1168653"/>
                  <a:pt x="1272293" y="1170097"/>
                  <a:pt x="1274078" y="1172331"/>
                </a:cubicBezTo>
                <a:lnTo>
                  <a:pt x="1273529" y="1173856"/>
                </a:lnTo>
                <a:lnTo>
                  <a:pt x="1275177" y="1174074"/>
                </a:lnTo>
                <a:cubicBezTo>
                  <a:pt x="1276826" y="1174510"/>
                  <a:pt x="1278199" y="1175273"/>
                  <a:pt x="1279847" y="1176799"/>
                </a:cubicBezTo>
                <a:cubicBezTo>
                  <a:pt x="1284242" y="1181376"/>
                  <a:pt x="1287539" y="1191837"/>
                  <a:pt x="1283418" y="1196087"/>
                </a:cubicBezTo>
                <a:cubicBezTo>
                  <a:pt x="1279298" y="1201644"/>
                  <a:pt x="1275177" y="1202952"/>
                  <a:pt x="1270782" y="1202735"/>
                </a:cubicBezTo>
                <a:cubicBezTo>
                  <a:pt x="1270782" y="1202735"/>
                  <a:pt x="1271057" y="1202735"/>
                  <a:pt x="1272430" y="1202843"/>
                </a:cubicBezTo>
                <a:cubicBezTo>
                  <a:pt x="1278473" y="1208945"/>
                  <a:pt x="1288912" y="1219625"/>
                  <a:pt x="1287539" y="1223875"/>
                </a:cubicBezTo>
                <a:cubicBezTo>
                  <a:pt x="1286165" y="1223875"/>
                  <a:pt x="1284791" y="1223766"/>
                  <a:pt x="1283143" y="1222241"/>
                </a:cubicBezTo>
                <a:cubicBezTo>
                  <a:pt x="1281770" y="1220715"/>
                  <a:pt x="1283143" y="1220824"/>
                  <a:pt x="1281770" y="1220715"/>
                </a:cubicBezTo>
                <a:cubicBezTo>
                  <a:pt x="1280121" y="1219189"/>
                  <a:pt x="1280121" y="1220606"/>
                  <a:pt x="1280121" y="1220606"/>
                </a:cubicBezTo>
                <a:cubicBezTo>
                  <a:pt x="1280121" y="1220606"/>
                  <a:pt x="1280121" y="1219189"/>
                  <a:pt x="1280121" y="1219189"/>
                </a:cubicBezTo>
                <a:cubicBezTo>
                  <a:pt x="1280121" y="1219189"/>
                  <a:pt x="1280121" y="1219189"/>
                  <a:pt x="1277100" y="1216138"/>
                </a:cubicBezTo>
                <a:cubicBezTo>
                  <a:pt x="1272705" y="1213087"/>
                  <a:pt x="1271332" y="1212978"/>
                  <a:pt x="1268310" y="1211343"/>
                </a:cubicBezTo>
                <a:cubicBezTo>
                  <a:pt x="1265564" y="1208292"/>
                  <a:pt x="1265289" y="1206875"/>
                  <a:pt x="1262267" y="1202407"/>
                </a:cubicBezTo>
                <a:cubicBezTo>
                  <a:pt x="1263640" y="1199574"/>
                  <a:pt x="1263640" y="1199465"/>
                  <a:pt x="1265014" y="1199574"/>
                </a:cubicBezTo>
                <a:cubicBezTo>
                  <a:pt x="1263640" y="1199465"/>
                  <a:pt x="1263640" y="1198048"/>
                  <a:pt x="1261992" y="1196523"/>
                </a:cubicBezTo>
                <a:cubicBezTo>
                  <a:pt x="1258420" y="1194125"/>
                  <a:pt x="1257047" y="1191074"/>
                  <a:pt x="1257597" y="1187805"/>
                </a:cubicBezTo>
                <a:lnTo>
                  <a:pt x="1261168" y="1180503"/>
                </a:lnTo>
                <a:lnTo>
                  <a:pt x="1258146" y="1178869"/>
                </a:lnTo>
                <a:cubicBezTo>
                  <a:pt x="1258420" y="1176799"/>
                  <a:pt x="1257872" y="1173530"/>
                  <a:pt x="1259245" y="1170478"/>
                </a:cubicBezTo>
                <a:cubicBezTo>
                  <a:pt x="1262404" y="1168516"/>
                  <a:pt x="1265220" y="1167863"/>
                  <a:pt x="1267692" y="1168258"/>
                </a:cubicBezTo>
                <a:close/>
                <a:moveTo>
                  <a:pt x="2022347" y="1167972"/>
                </a:moveTo>
                <a:cubicBezTo>
                  <a:pt x="2023720" y="1168735"/>
                  <a:pt x="2025369" y="1169607"/>
                  <a:pt x="2024820" y="1170805"/>
                </a:cubicBezTo>
                <a:cubicBezTo>
                  <a:pt x="2024545" y="1171350"/>
                  <a:pt x="2023995" y="1171459"/>
                  <a:pt x="2023446" y="1171132"/>
                </a:cubicBezTo>
                <a:cubicBezTo>
                  <a:pt x="2022896" y="1170805"/>
                  <a:pt x="2022347" y="1170151"/>
                  <a:pt x="2021798" y="1169171"/>
                </a:cubicBezTo>
                <a:cubicBezTo>
                  <a:pt x="2021798" y="1169171"/>
                  <a:pt x="2022347" y="1167972"/>
                  <a:pt x="2022347" y="1167972"/>
                </a:cubicBezTo>
                <a:close/>
                <a:moveTo>
                  <a:pt x="2312425" y="1167318"/>
                </a:moveTo>
                <a:cubicBezTo>
                  <a:pt x="2319018" y="1171241"/>
                  <a:pt x="2319842" y="1175382"/>
                  <a:pt x="2317919" y="1180395"/>
                </a:cubicBezTo>
                <a:cubicBezTo>
                  <a:pt x="2313249" y="1181811"/>
                  <a:pt x="2309403" y="1179959"/>
                  <a:pt x="2308305" y="1177017"/>
                </a:cubicBezTo>
                <a:cubicBezTo>
                  <a:pt x="2306931" y="1174074"/>
                  <a:pt x="2308030" y="1170151"/>
                  <a:pt x="2312425" y="1167318"/>
                </a:cubicBezTo>
                <a:close/>
                <a:moveTo>
                  <a:pt x="2106404" y="1166664"/>
                </a:moveTo>
                <a:lnTo>
                  <a:pt x="2111898" y="1168190"/>
                </a:lnTo>
                <a:cubicBezTo>
                  <a:pt x="2111348" y="1170151"/>
                  <a:pt x="2109700" y="1172985"/>
                  <a:pt x="2107778" y="1172440"/>
                </a:cubicBezTo>
                <a:cubicBezTo>
                  <a:pt x="2106129" y="1172549"/>
                  <a:pt x="2105854" y="1172004"/>
                  <a:pt x="2105854" y="1170915"/>
                </a:cubicBezTo>
                <a:cubicBezTo>
                  <a:pt x="2105854" y="1169825"/>
                  <a:pt x="2106404" y="1168299"/>
                  <a:pt x="2106404" y="1166664"/>
                </a:cubicBezTo>
                <a:close/>
                <a:moveTo>
                  <a:pt x="6370218" y="1165793"/>
                </a:moveTo>
                <a:cubicBezTo>
                  <a:pt x="6377360" y="1169933"/>
                  <a:pt x="6378733" y="1174184"/>
                  <a:pt x="6377635" y="1179087"/>
                </a:cubicBezTo>
                <a:cubicBezTo>
                  <a:pt x="6375162" y="1179741"/>
                  <a:pt x="6373239" y="1179523"/>
                  <a:pt x="6371317" y="1178761"/>
                </a:cubicBezTo>
                <a:cubicBezTo>
                  <a:pt x="6366097" y="1176581"/>
                  <a:pt x="6363900" y="1169716"/>
                  <a:pt x="6370218" y="1165793"/>
                </a:cubicBezTo>
                <a:close/>
                <a:moveTo>
                  <a:pt x="1447686" y="1165357"/>
                </a:moveTo>
                <a:cubicBezTo>
                  <a:pt x="1446038" y="1169280"/>
                  <a:pt x="1448509" y="1171241"/>
                  <a:pt x="1446861" y="1175273"/>
                </a:cubicBezTo>
                <a:cubicBezTo>
                  <a:pt x="1443290" y="1173856"/>
                  <a:pt x="1439995" y="1173856"/>
                  <a:pt x="1438346" y="1173203"/>
                </a:cubicBezTo>
                <a:cubicBezTo>
                  <a:pt x="1438896" y="1166555"/>
                  <a:pt x="1442191" y="1163286"/>
                  <a:pt x="1447686" y="1165357"/>
                </a:cubicBezTo>
                <a:close/>
                <a:moveTo>
                  <a:pt x="1775397" y="1164376"/>
                </a:moveTo>
                <a:cubicBezTo>
                  <a:pt x="1776771" y="1161434"/>
                  <a:pt x="1793252" y="1174074"/>
                  <a:pt x="1797647" y="1177234"/>
                </a:cubicBezTo>
                <a:cubicBezTo>
                  <a:pt x="1797647" y="1178761"/>
                  <a:pt x="1797647" y="1178761"/>
                  <a:pt x="1797647" y="1178761"/>
                </a:cubicBezTo>
                <a:cubicBezTo>
                  <a:pt x="1797098" y="1180177"/>
                  <a:pt x="1795998" y="1180503"/>
                  <a:pt x="1794625" y="1180068"/>
                </a:cubicBezTo>
                <a:cubicBezTo>
                  <a:pt x="1792977" y="1179632"/>
                  <a:pt x="1791054" y="1178324"/>
                  <a:pt x="1788857" y="1176799"/>
                </a:cubicBezTo>
                <a:cubicBezTo>
                  <a:pt x="1784462" y="1173639"/>
                  <a:pt x="1779792" y="1167536"/>
                  <a:pt x="1778419" y="1166010"/>
                </a:cubicBezTo>
                <a:cubicBezTo>
                  <a:pt x="1776771" y="1164376"/>
                  <a:pt x="1775397" y="1164376"/>
                  <a:pt x="1775397" y="1164376"/>
                </a:cubicBezTo>
                <a:close/>
                <a:moveTo>
                  <a:pt x="1415821" y="1163395"/>
                </a:moveTo>
                <a:cubicBezTo>
                  <a:pt x="1415821" y="1163395"/>
                  <a:pt x="1415821" y="1163286"/>
                  <a:pt x="1425435" y="1168843"/>
                </a:cubicBezTo>
                <a:cubicBezTo>
                  <a:pt x="1424886" y="1169607"/>
                  <a:pt x="1424062" y="1169716"/>
                  <a:pt x="1423238" y="1169388"/>
                </a:cubicBezTo>
                <a:cubicBezTo>
                  <a:pt x="1422414" y="1169062"/>
                  <a:pt x="1421590" y="1168299"/>
                  <a:pt x="1420765" y="1167645"/>
                </a:cubicBezTo>
                <a:cubicBezTo>
                  <a:pt x="1419117" y="1166228"/>
                  <a:pt x="1417469" y="1164812"/>
                  <a:pt x="1415821" y="1163395"/>
                </a:cubicBezTo>
                <a:close/>
                <a:moveTo>
                  <a:pt x="1290457" y="1163327"/>
                </a:moveTo>
                <a:cubicBezTo>
                  <a:pt x="1293445" y="1164567"/>
                  <a:pt x="1296191" y="1166719"/>
                  <a:pt x="1298252" y="1168081"/>
                </a:cubicBezTo>
                <a:lnTo>
                  <a:pt x="1297153" y="1170587"/>
                </a:lnTo>
                <a:lnTo>
                  <a:pt x="1300174" y="1170370"/>
                </a:lnTo>
                <a:cubicBezTo>
                  <a:pt x="1301548" y="1170587"/>
                  <a:pt x="1303196" y="1171023"/>
                  <a:pt x="1304844" y="1171350"/>
                </a:cubicBezTo>
                <a:cubicBezTo>
                  <a:pt x="1304570" y="1174619"/>
                  <a:pt x="1307591" y="1177998"/>
                  <a:pt x="1305943" y="1181921"/>
                </a:cubicBezTo>
                <a:cubicBezTo>
                  <a:pt x="1305943" y="1181921"/>
                  <a:pt x="1305119" y="1183882"/>
                  <a:pt x="1302372" y="1185190"/>
                </a:cubicBezTo>
                <a:cubicBezTo>
                  <a:pt x="1299626" y="1189876"/>
                  <a:pt x="1294131" y="1187805"/>
                  <a:pt x="1294131" y="1187805"/>
                </a:cubicBezTo>
                <a:cubicBezTo>
                  <a:pt x="1294131" y="1187805"/>
                  <a:pt x="1294131" y="1187805"/>
                  <a:pt x="1294681" y="1189113"/>
                </a:cubicBezTo>
                <a:cubicBezTo>
                  <a:pt x="1293582" y="1186498"/>
                  <a:pt x="1291109" y="1184427"/>
                  <a:pt x="1290286" y="1181811"/>
                </a:cubicBezTo>
                <a:lnTo>
                  <a:pt x="1290560" y="1180722"/>
                </a:lnTo>
                <a:lnTo>
                  <a:pt x="1289736" y="1181702"/>
                </a:lnTo>
                <a:cubicBezTo>
                  <a:pt x="1286165" y="1180395"/>
                  <a:pt x="1283143" y="1178216"/>
                  <a:pt x="1281770" y="1175273"/>
                </a:cubicBezTo>
                <a:cubicBezTo>
                  <a:pt x="1280121" y="1172331"/>
                  <a:pt x="1279847" y="1168626"/>
                  <a:pt x="1281221" y="1164049"/>
                </a:cubicBezTo>
                <a:cubicBezTo>
                  <a:pt x="1284243" y="1161760"/>
                  <a:pt x="1287470" y="1162087"/>
                  <a:pt x="1290457" y="1163327"/>
                </a:cubicBezTo>
                <a:close/>
                <a:moveTo>
                  <a:pt x="6259515" y="1161870"/>
                </a:moveTo>
                <a:lnTo>
                  <a:pt x="6258417" y="1162305"/>
                </a:lnTo>
                <a:lnTo>
                  <a:pt x="6259241" y="1166228"/>
                </a:lnTo>
                <a:cubicBezTo>
                  <a:pt x="6259241" y="1168843"/>
                  <a:pt x="6259241" y="1171569"/>
                  <a:pt x="6260065" y="1174619"/>
                </a:cubicBezTo>
                <a:cubicBezTo>
                  <a:pt x="6257044" y="1176036"/>
                  <a:pt x="6255120" y="1177017"/>
                  <a:pt x="6253198" y="1176690"/>
                </a:cubicBezTo>
                <a:lnTo>
                  <a:pt x="6255120" y="1179632"/>
                </a:lnTo>
                <a:cubicBezTo>
                  <a:pt x="6255120" y="1179632"/>
                  <a:pt x="6255120" y="1180940"/>
                  <a:pt x="6255120" y="1180940"/>
                </a:cubicBezTo>
                <a:cubicBezTo>
                  <a:pt x="6256494" y="1182356"/>
                  <a:pt x="6256494" y="1183664"/>
                  <a:pt x="6256494" y="1183664"/>
                </a:cubicBezTo>
                <a:cubicBezTo>
                  <a:pt x="6263636" y="1198812"/>
                  <a:pt x="6266383" y="1216683"/>
                  <a:pt x="6268032" y="1235862"/>
                </a:cubicBezTo>
                <a:lnTo>
                  <a:pt x="6269130" y="1244253"/>
                </a:lnTo>
                <a:lnTo>
                  <a:pt x="6270778" y="1243272"/>
                </a:lnTo>
                <a:lnTo>
                  <a:pt x="6274899" y="1242073"/>
                </a:lnTo>
                <a:lnTo>
                  <a:pt x="6272426" y="1222023"/>
                </a:lnTo>
                <a:cubicBezTo>
                  <a:pt x="6269405" y="1205568"/>
                  <a:pt x="6265833" y="1189222"/>
                  <a:pt x="6261988" y="1172766"/>
                </a:cubicBezTo>
                <a:close/>
                <a:moveTo>
                  <a:pt x="6497402" y="1161651"/>
                </a:moveTo>
                <a:cubicBezTo>
                  <a:pt x="6515256" y="1171132"/>
                  <a:pt x="6496852" y="1178869"/>
                  <a:pt x="6489985" y="1185734"/>
                </a:cubicBezTo>
                <a:cubicBezTo>
                  <a:pt x="6484216" y="1182575"/>
                  <a:pt x="6482568" y="1181048"/>
                  <a:pt x="6479272" y="1175164"/>
                </a:cubicBezTo>
                <a:cubicBezTo>
                  <a:pt x="6483392" y="1166664"/>
                  <a:pt x="6490535" y="1164158"/>
                  <a:pt x="6497402" y="1161651"/>
                </a:cubicBezTo>
                <a:close/>
                <a:moveTo>
                  <a:pt x="2016304" y="1160997"/>
                </a:moveTo>
                <a:cubicBezTo>
                  <a:pt x="2019601" y="1164485"/>
                  <a:pt x="2019601" y="1164485"/>
                  <a:pt x="2020974" y="1168517"/>
                </a:cubicBezTo>
                <a:cubicBezTo>
                  <a:pt x="2019601" y="1167754"/>
                  <a:pt x="2016579" y="1167536"/>
                  <a:pt x="2015755" y="1165574"/>
                </a:cubicBezTo>
                <a:cubicBezTo>
                  <a:pt x="2014931" y="1163504"/>
                  <a:pt x="2015205" y="1163504"/>
                  <a:pt x="2016304" y="1160997"/>
                </a:cubicBezTo>
                <a:close/>
                <a:moveTo>
                  <a:pt x="2130302" y="1160671"/>
                </a:moveTo>
                <a:lnTo>
                  <a:pt x="2129478" y="1166010"/>
                </a:lnTo>
                <a:lnTo>
                  <a:pt x="2130852" y="1168843"/>
                </a:lnTo>
                <a:cubicBezTo>
                  <a:pt x="2130852" y="1170261"/>
                  <a:pt x="2130577" y="1171786"/>
                  <a:pt x="2129478" y="1173203"/>
                </a:cubicBezTo>
                <a:lnTo>
                  <a:pt x="2126731" y="1175491"/>
                </a:lnTo>
                <a:lnTo>
                  <a:pt x="2123161" y="1182356"/>
                </a:lnTo>
                <a:lnTo>
                  <a:pt x="2123161" y="1182465"/>
                </a:lnTo>
                <a:lnTo>
                  <a:pt x="2123161" y="1182684"/>
                </a:lnTo>
                <a:lnTo>
                  <a:pt x="2119864" y="1185734"/>
                </a:lnTo>
                <a:lnTo>
                  <a:pt x="2115469" y="1190202"/>
                </a:lnTo>
                <a:cubicBezTo>
                  <a:pt x="2112722" y="1192273"/>
                  <a:pt x="2109975" y="1193690"/>
                  <a:pt x="2107503" y="1194235"/>
                </a:cubicBezTo>
                <a:cubicBezTo>
                  <a:pt x="2106404" y="1182792"/>
                  <a:pt x="2114645" y="1172113"/>
                  <a:pt x="2122886" y="1165683"/>
                </a:cubicBezTo>
                <a:lnTo>
                  <a:pt x="2124259" y="1162196"/>
                </a:lnTo>
                <a:lnTo>
                  <a:pt x="2126456" y="1163286"/>
                </a:lnTo>
                <a:close/>
                <a:moveTo>
                  <a:pt x="1763070" y="1157743"/>
                </a:moveTo>
                <a:cubicBezTo>
                  <a:pt x="1763791" y="1158328"/>
                  <a:pt x="1764546" y="1159091"/>
                  <a:pt x="1765233" y="1158382"/>
                </a:cubicBezTo>
                <a:lnTo>
                  <a:pt x="1764958" y="1169280"/>
                </a:lnTo>
                <a:lnTo>
                  <a:pt x="1773474" y="1169716"/>
                </a:lnTo>
                <a:cubicBezTo>
                  <a:pt x="1777869" y="1178216"/>
                  <a:pt x="1772101" y="1189222"/>
                  <a:pt x="1764958" y="1196196"/>
                </a:cubicBezTo>
                <a:lnTo>
                  <a:pt x="1764134" y="1196741"/>
                </a:lnTo>
                <a:lnTo>
                  <a:pt x="1764684" y="1196850"/>
                </a:lnTo>
                <a:cubicBezTo>
                  <a:pt x="1766332" y="1195760"/>
                  <a:pt x="1767980" y="1191510"/>
                  <a:pt x="1771276" y="1193907"/>
                </a:cubicBezTo>
                <a:cubicBezTo>
                  <a:pt x="1777869" y="1199683"/>
                  <a:pt x="1775946" y="1209927"/>
                  <a:pt x="1774572" y="1215375"/>
                </a:cubicBezTo>
                <a:lnTo>
                  <a:pt x="1773749" y="1218427"/>
                </a:lnTo>
                <a:lnTo>
                  <a:pt x="1775397" y="1218535"/>
                </a:lnTo>
                <a:lnTo>
                  <a:pt x="1773749" y="1220061"/>
                </a:lnTo>
                <a:lnTo>
                  <a:pt x="1773749" y="1220279"/>
                </a:lnTo>
                <a:cubicBezTo>
                  <a:pt x="1772375" y="1220279"/>
                  <a:pt x="1772375" y="1221804"/>
                  <a:pt x="1773749" y="1221804"/>
                </a:cubicBezTo>
                <a:cubicBezTo>
                  <a:pt x="1772375" y="1223984"/>
                  <a:pt x="1771551" y="1225727"/>
                  <a:pt x="1770453" y="1226600"/>
                </a:cubicBezTo>
                <a:cubicBezTo>
                  <a:pt x="1770178" y="1227035"/>
                  <a:pt x="1769628" y="1227254"/>
                  <a:pt x="1768804" y="1227144"/>
                </a:cubicBezTo>
                <a:cubicBezTo>
                  <a:pt x="1768254" y="1227144"/>
                  <a:pt x="1767705" y="1226709"/>
                  <a:pt x="1766881" y="1225836"/>
                </a:cubicBezTo>
                <a:cubicBezTo>
                  <a:pt x="1764134" y="1224311"/>
                  <a:pt x="1765233" y="1221369"/>
                  <a:pt x="1762211" y="1218318"/>
                </a:cubicBezTo>
                <a:cubicBezTo>
                  <a:pt x="1756443" y="1213632"/>
                  <a:pt x="1748202" y="1225074"/>
                  <a:pt x="1736390" y="1215702"/>
                </a:cubicBezTo>
                <a:cubicBezTo>
                  <a:pt x="1739137" y="1212868"/>
                  <a:pt x="1733094" y="1205241"/>
                  <a:pt x="1737214" y="1201099"/>
                </a:cubicBezTo>
                <a:lnTo>
                  <a:pt x="1739961" y="1198048"/>
                </a:lnTo>
                <a:lnTo>
                  <a:pt x="1736665" y="1197613"/>
                </a:lnTo>
                <a:cubicBezTo>
                  <a:pt x="1738588" y="1185953"/>
                  <a:pt x="1744631" y="1173311"/>
                  <a:pt x="1746005" y="1170587"/>
                </a:cubicBezTo>
                <a:cubicBezTo>
                  <a:pt x="1746828" y="1169171"/>
                  <a:pt x="1747378" y="1168517"/>
                  <a:pt x="1748477" y="1168517"/>
                </a:cubicBezTo>
                <a:cubicBezTo>
                  <a:pt x="1749301" y="1168408"/>
                  <a:pt x="1750400" y="1168843"/>
                  <a:pt x="1751773" y="1169825"/>
                </a:cubicBezTo>
                <a:cubicBezTo>
                  <a:pt x="1752871" y="1171459"/>
                  <a:pt x="1753146" y="1172985"/>
                  <a:pt x="1753421" y="1174510"/>
                </a:cubicBezTo>
                <a:lnTo>
                  <a:pt x="1754520" y="1173965"/>
                </a:lnTo>
                <a:lnTo>
                  <a:pt x="1754520" y="1173530"/>
                </a:lnTo>
                <a:cubicBezTo>
                  <a:pt x="1756168" y="1168190"/>
                  <a:pt x="1759190" y="1163178"/>
                  <a:pt x="1759740" y="1161106"/>
                </a:cubicBezTo>
                <a:cubicBezTo>
                  <a:pt x="1759740" y="1161106"/>
                  <a:pt x="1759740" y="1159581"/>
                  <a:pt x="1761113" y="1158165"/>
                </a:cubicBezTo>
                <a:cubicBezTo>
                  <a:pt x="1761662" y="1156748"/>
                  <a:pt x="1762349" y="1157157"/>
                  <a:pt x="1763070" y="1157743"/>
                </a:cubicBezTo>
                <a:close/>
                <a:moveTo>
                  <a:pt x="2221153" y="1156841"/>
                </a:moveTo>
                <a:cubicBezTo>
                  <a:pt x="2229021" y="1156469"/>
                  <a:pt x="2237708" y="1160071"/>
                  <a:pt x="2245949" y="1169607"/>
                </a:cubicBezTo>
                <a:cubicBezTo>
                  <a:pt x="2256387" y="1183229"/>
                  <a:pt x="2253091" y="1200664"/>
                  <a:pt x="2259684" y="1221478"/>
                </a:cubicBezTo>
                <a:cubicBezTo>
                  <a:pt x="2245399" y="1212106"/>
                  <a:pt x="2231940" y="1220824"/>
                  <a:pt x="2219028" y="1219843"/>
                </a:cubicBezTo>
                <a:cubicBezTo>
                  <a:pt x="2214908" y="1219517"/>
                  <a:pt x="2210788" y="1218209"/>
                  <a:pt x="2206668" y="1214721"/>
                </a:cubicBezTo>
                <a:cubicBezTo>
                  <a:pt x="2181327" y="1194861"/>
                  <a:pt x="2197551" y="1157960"/>
                  <a:pt x="2221153" y="1156841"/>
                </a:cubicBezTo>
                <a:close/>
                <a:moveTo>
                  <a:pt x="1355217" y="1156244"/>
                </a:moveTo>
                <a:cubicBezTo>
                  <a:pt x="1360470" y="1155985"/>
                  <a:pt x="1367475" y="1158165"/>
                  <a:pt x="1372419" y="1158382"/>
                </a:cubicBezTo>
                <a:cubicBezTo>
                  <a:pt x="1373793" y="1164812"/>
                  <a:pt x="1373519" y="1166773"/>
                  <a:pt x="1371046" y="1172985"/>
                </a:cubicBezTo>
                <a:cubicBezTo>
                  <a:pt x="1368574" y="1173639"/>
                  <a:pt x="1366376" y="1173965"/>
                  <a:pt x="1364454" y="1173965"/>
                </a:cubicBezTo>
                <a:cubicBezTo>
                  <a:pt x="1362531" y="1173965"/>
                  <a:pt x="1360607" y="1173639"/>
                  <a:pt x="1358685" y="1173203"/>
                </a:cubicBezTo>
                <a:cubicBezTo>
                  <a:pt x="1355114" y="1172222"/>
                  <a:pt x="1351818" y="1170478"/>
                  <a:pt x="1348521" y="1168735"/>
                </a:cubicBezTo>
                <a:cubicBezTo>
                  <a:pt x="1346461" y="1159200"/>
                  <a:pt x="1349963" y="1156503"/>
                  <a:pt x="1355217" y="1156244"/>
                </a:cubicBezTo>
                <a:close/>
                <a:moveTo>
                  <a:pt x="1904228" y="1156203"/>
                </a:moveTo>
                <a:cubicBezTo>
                  <a:pt x="1906152" y="1156748"/>
                  <a:pt x="1910546" y="1158818"/>
                  <a:pt x="1909722" y="1160889"/>
                </a:cubicBezTo>
                <a:cubicBezTo>
                  <a:pt x="1908623" y="1164920"/>
                  <a:pt x="1905602" y="1168517"/>
                  <a:pt x="1903679" y="1168081"/>
                </a:cubicBezTo>
                <a:cubicBezTo>
                  <a:pt x="1900658" y="1167318"/>
                  <a:pt x="1897910" y="1166664"/>
                  <a:pt x="1897361" y="1163831"/>
                </a:cubicBezTo>
                <a:cubicBezTo>
                  <a:pt x="1897361" y="1162850"/>
                  <a:pt x="1897361" y="1161542"/>
                  <a:pt x="1897910" y="1160017"/>
                </a:cubicBezTo>
                <a:cubicBezTo>
                  <a:pt x="1897910" y="1160017"/>
                  <a:pt x="1897910" y="1160126"/>
                  <a:pt x="1899009" y="1159254"/>
                </a:cubicBezTo>
                <a:cubicBezTo>
                  <a:pt x="1901756" y="1157728"/>
                  <a:pt x="1902855" y="1157074"/>
                  <a:pt x="1904228" y="1156203"/>
                </a:cubicBezTo>
                <a:close/>
                <a:moveTo>
                  <a:pt x="2093493" y="1155985"/>
                </a:moveTo>
                <a:lnTo>
                  <a:pt x="2094042" y="1157837"/>
                </a:lnTo>
                <a:lnTo>
                  <a:pt x="2094042" y="1157728"/>
                </a:lnTo>
                <a:lnTo>
                  <a:pt x="2094592" y="1156748"/>
                </a:lnTo>
                <a:lnTo>
                  <a:pt x="2094592" y="1157511"/>
                </a:lnTo>
                <a:lnTo>
                  <a:pt x="2096240" y="1156529"/>
                </a:lnTo>
                <a:cubicBezTo>
                  <a:pt x="2102009" y="1157947"/>
                  <a:pt x="2105305" y="1160780"/>
                  <a:pt x="2104481" y="1166119"/>
                </a:cubicBezTo>
                <a:cubicBezTo>
                  <a:pt x="2103382" y="1170151"/>
                  <a:pt x="2101460" y="1176254"/>
                  <a:pt x="2096240" y="1176145"/>
                </a:cubicBezTo>
                <a:cubicBezTo>
                  <a:pt x="2095691" y="1174946"/>
                  <a:pt x="2094317" y="1175709"/>
                  <a:pt x="2093768" y="1174510"/>
                </a:cubicBezTo>
                <a:cubicBezTo>
                  <a:pt x="2093768" y="1174510"/>
                  <a:pt x="2092394" y="1173639"/>
                  <a:pt x="2091296" y="1171895"/>
                </a:cubicBezTo>
                <a:cubicBezTo>
                  <a:pt x="2090747" y="1171023"/>
                  <a:pt x="2090197" y="1169825"/>
                  <a:pt x="2089922" y="1168517"/>
                </a:cubicBezTo>
                <a:cubicBezTo>
                  <a:pt x="2089647" y="1167101"/>
                  <a:pt x="2089647" y="1165574"/>
                  <a:pt x="2089922" y="1163831"/>
                </a:cubicBezTo>
                <a:cubicBezTo>
                  <a:pt x="2090197" y="1162741"/>
                  <a:pt x="2091021" y="1161106"/>
                  <a:pt x="2091845" y="1159690"/>
                </a:cubicBezTo>
                <a:lnTo>
                  <a:pt x="2090747" y="1159799"/>
                </a:lnTo>
                <a:cubicBezTo>
                  <a:pt x="2089922" y="1159799"/>
                  <a:pt x="2089372" y="1159472"/>
                  <a:pt x="2089098" y="1158382"/>
                </a:cubicBezTo>
                <a:cubicBezTo>
                  <a:pt x="2089098" y="1158382"/>
                  <a:pt x="2089647" y="1157074"/>
                  <a:pt x="2093493" y="1155985"/>
                </a:cubicBezTo>
                <a:close/>
                <a:moveTo>
                  <a:pt x="2280835" y="1154350"/>
                </a:moveTo>
                <a:cubicBezTo>
                  <a:pt x="2282758" y="1154895"/>
                  <a:pt x="2283033" y="1160452"/>
                  <a:pt x="2283857" y="1161760"/>
                </a:cubicBezTo>
                <a:lnTo>
                  <a:pt x="2281659" y="1162305"/>
                </a:lnTo>
                <a:lnTo>
                  <a:pt x="2283033" y="1165902"/>
                </a:lnTo>
                <a:cubicBezTo>
                  <a:pt x="2283033" y="1168626"/>
                  <a:pt x="2282209" y="1171677"/>
                  <a:pt x="2279461" y="1174074"/>
                </a:cubicBezTo>
                <a:cubicBezTo>
                  <a:pt x="2273418" y="1172440"/>
                  <a:pt x="2266551" y="1171459"/>
                  <a:pt x="2264079" y="1166773"/>
                </a:cubicBezTo>
                <a:cubicBezTo>
                  <a:pt x="2263254" y="1165139"/>
                  <a:pt x="2262980" y="1163178"/>
                  <a:pt x="2263529" y="1160671"/>
                </a:cubicBezTo>
                <a:cubicBezTo>
                  <a:pt x="2268199" y="1155331"/>
                  <a:pt x="2272869" y="1154568"/>
                  <a:pt x="2276440" y="1156094"/>
                </a:cubicBezTo>
                <a:lnTo>
                  <a:pt x="2277264" y="1156748"/>
                </a:lnTo>
                <a:cubicBezTo>
                  <a:pt x="2276440" y="1155440"/>
                  <a:pt x="2280835" y="1154350"/>
                  <a:pt x="2280835" y="1154350"/>
                </a:cubicBezTo>
                <a:close/>
                <a:moveTo>
                  <a:pt x="1766606" y="1154023"/>
                </a:moveTo>
                <a:cubicBezTo>
                  <a:pt x="1767980" y="1155549"/>
                  <a:pt x="1772375" y="1160235"/>
                  <a:pt x="1772375" y="1160235"/>
                </a:cubicBezTo>
                <a:cubicBezTo>
                  <a:pt x="1773749" y="1160235"/>
                  <a:pt x="1773749" y="1160235"/>
                  <a:pt x="1775397" y="1161760"/>
                </a:cubicBezTo>
                <a:cubicBezTo>
                  <a:pt x="1774023" y="1163068"/>
                  <a:pt x="1774023" y="1163068"/>
                  <a:pt x="1772650" y="1163068"/>
                </a:cubicBezTo>
                <a:cubicBezTo>
                  <a:pt x="1771002" y="1161542"/>
                  <a:pt x="1771002" y="1160017"/>
                  <a:pt x="1769353" y="1158491"/>
                </a:cubicBezTo>
                <a:cubicBezTo>
                  <a:pt x="1766881" y="1161325"/>
                  <a:pt x="1768254" y="1161325"/>
                  <a:pt x="1766881" y="1159799"/>
                </a:cubicBezTo>
                <a:cubicBezTo>
                  <a:pt x="1766881" y="1159799"/>
                  <a:pt x="1766881" y="1159908"/>
                  <a:pt x="1765233" y="1158382"/>
                </a:cubicBezTo>
                <a:cubicBezTo>
                  <a:pt x="1765233" y="1158382"/>
                  <a:pt x="1763859" y="1158273"/>
                  <a:pt x="1766606" y="1154023"/>
                </a:cubicBezTo>
                <a:close/>
                <a:moveTo>
                  <a:pt x="1338083" y="1153479"/>
                </a:moveTo>
                <a:cubicBezTo>
                  <a:pt x="1344126" y="1156529"/>
                  <a:pt x="1344126" y="1165139"/>
                  <a:pt x="1335336" y="1167536"/>
                </a:cubicBezTo>
                <a:cubicBezTo>
                  <a:pt x="1333687" y="1161651"/>
                  <a:pt x="1332314" y="1155767"/>
                  <a:pt x="1338083" y="1153479"/>
                </a:cubicBezTo>
                <a:close/>
                <a:moveTo>
                  <a:pt x="1462519" y="1151953"/>
                </a:moveTo>
                <a:cubicBezTo>
                  <a:pt x="1464167" y="1152498"/>
                  <a:pt x="1465816" y="1154350"/>
                  <a:pt x="1466640" y="1156639"/>
                </a:cubicBezTo>
                <a:lnTo>
                  <a:pt x="1468013" y="1162959"/>
                </a:lnTo>
                <a:lnTo>
                  <a:pt x="1469112" y="1162741"/>
                </a:lnTo>
                <a:cubicBezTo>
                  <a:pt x="1469112" y="1162741"/>
                  <a:pt x="1467739" y="1162524"/>
                  <a:pt x="1469387" y="1161325"/>
                </a:cubicBezTo>
                <a:cubicBezTo>
                  <a:pt x="1469112" y="1162741"/>
                  <a:pt x="1470485" y="1162959"/>
                  <a:pt x="1472134" y="1163286"/>
                </a:cubicBezTo>
                <a:cubicBezTo>
                  <a:pt x="1474605" y="1166664"/>
                  <a:pt x="1477353" y="1171569"/>
                  <a:pt x="1475705" y="1174293"/>
                </a:cubicBezTo>
                <a:cubicBezTo>
                  <a:pt x="1474057" y="1175491"/>
                  <a:pt x="1472683" y="1175709"/>
                  <a:pt x="1471310" y="1175273"/>
                </a:cubicBezTo>
                <a:cubicBezTo>
                  <a:pt x="1470210" y="1174838"/>
                  <a:pt x="1469112" y="1173965"/>
                  <a:pt x="1468288" y="1173094"/>
                </a:cubicBezTo>
                <a:cubicBezTo>
                  <a:pt x="1466366" y="1172004"/>
                  <a:pt x="1465541" y="1170042"/>
                  <a:pt x="1465266" y="1167754"/>
                </a:cubicBezTo>
                <a:lnTo>
                  <a:pt x="1465541" y="1166119"/>
                </a:lnTo>
                <a:lnTo>
                  <a:pt x="1464442" y="1167209"/>
                </a:lnTo>
                <a:cubicBezTo>
                  <a:pt x="1462794" y="1167863"/>
                  <a:pt x="1460597" y="1167863"/>
                  <a:pt x="1458674" y="1167427"/>
                </a:cubicBezTo>
                <a:cubicBezTo>
                  <a:pt x="1457300" y="1167536"/>
                  <a:pt x="1455927" y="1166773"/>
                  <a:pt x="1455103" y="1165465"/>
                </a:cubicBezTo>
                <a:cubicBezTo>
                  <a:pt x="1454278" y="1164158"/>
                  <a:pt x="1453729" y="1162414"/>
                  <a:pt x="1453729" y="1160780"/>
                </a:cubicBezTo>
                <a:cubicBezTo>
                  <a:pt x="1454278" y="1158710"/>
                  <a:pt x="1454278" y="1158710"/>
                  <a:pt x="1454828" y="1156639"/>
                </a:cubicBezTo>
                <a:cubicBezTo>
                  <a:pt x="1457300" y="1155113"/>
                  <a:pt x="1459222" y="1152280"/>
                  <a:pt x="1462519" y="1151953"/>
                </a:cubicBezTo>
                <a:close/>
                <a:moveTo>
                  <a:pt x="1589703" y="1149774"/>
                </a:moveTo>
                <a:lnTo>
                  <a:pt x="1589428" y="1150210"/>
                </a:lnTo>
                <a:lnTo>
                  <a:pt x="1589153" y="1151408"/>
                </a:lnTo>
                <a:close/>
                <a:moveTo>
                  <a:pt x="1502624" y="1149774"/>
                </a:moveTo>
                <a:cubicBezTo>
                  <a:pt x="1506471" y="1150754"/>
                  <a:pt x="1510866" y="1152934"/>
                  <a:pt x="1511141" y="1156203"/>
                </a:cubicBezTo>
                <a:lnTo>
                  <a:pt x="1508668" y="1159036"/>
                </a:lnTo>
                <a:lnTo>
                  <a:pt x="1512514" y="1159254"/>
                </a:lnTo>
                <a:cubicBezTo>
                  <a:pt x="1513887" y="1159581"/>
                  <a:pt x="1514986" y="1160344"/>
                  <a:pt x="1516085" y="1161651"/>
                </a:cubicBezTo>
                <a:lnTo>
                  <a:pt x="1520481" y="1167209"/>
                </a:lnTo>
                <a:lnTo>
                  <a:pt x="1522403" y="1164485"/>
                </a:lnTo>
                <a:cubicBezTo>
                  <a:pt x="1523227" y="1163395"/>
                  <a:pt x="1524325" y="1162633"/>
                  <a:pt x="1525699" y="1162633"/>
                </a:cubicBezTo>
                <a:cubicBezTo>
                  <a:pt x="1526524" y="1162524"/>
                  <a:pt x="1527897" y="1162850"/>
                  <a:pt x="1528995" y="1163504"/>
                </a:cubicBezTo>
                <a:cubicBezTo>
                  <a:pt x="1528995" y="1163504"/>
                  <a:pt x="1528995" y="1163395"/>
                  <a:pt x="1529270" y="1164812"/>
                </a:cubicBezTo>
                <a:cubicBezTo>
                  <a:pt x="1530094" y="1167536"/>
                  <a:pt x="1530369" y="1168953"/>
                  <a:pt x="1530919" y="1170370"/>
                </a:cubicBezTo>
                <a:cubicBezTo>
                  <a:pt x="1530369" y="1171241"/>
                  <a:pt x="1529270" y="1172766"/>
                  <a:pt x="1528172" y="1173965"/>
                </a:cubicBezTo>
                <a:lnTo>
                  <a:pt x="1524875" y="1175491"/>
                </a:lnTo>
                <a:lnTo>
                  <a:pt x="1525699" y="1177126"/>
                </a:lnTo>
                <a:cubicBezTo>
                  <a:pt x="1525974" y="1181048"/>
                  <a:pt x="1523776" y="1184536"/>
                  <a:pt x="1521304" y="1189331"/>
                </a:cubicBezTo>
                <a:cubicBezTo>
                  <a:pt x="1521579" y="1187914"/>
                  <a:pt x="1519931" y="1189004"/>
                  <a:pt x="1519931" y="1189004"/>
                </a:cubicBezTo>
                <a:cubicBezTo>
                  <a:pt x="1516909" y="1191510"/>
                  <a:pt x="1525425" y="1194452"/>
                  <a:pt x="1522128" y="1198484"/>
                </a:cubicBezTo>
                <a:cubicBezTo>
                  <a:pt x="1520755" y="1199901"/>
                  <a:pt x="1519106" y="1200664"/>
                  <a:pt x="1517184" y="1201099"/>
                </a:cubicBezTo>
                <a:cubicBezTo>
                  <a:pt x="1515536" y="1201427"/>
                  <a:pt x="1513612" y="1201427"/>
                  <a:pt x="1511689" y="1201099"/>
                </a:cubicBezTo>
                <a:cubicBezTo>
                  <a:pt x="1507844" y="1200446"/>
                  <a:pt x="1503998" y="1198702"/>
                  <a:pt x="1501251" y="1197504"/>
                </a:cubicBezTo>
                <a:lnTo>
                  <a:pt x="1498505" y="1196196"/>
                </a:lnTo>
                <a:lnTo>
                  <a:pt x="1498230" y="1197613"/>
                </a:lnTo>
                <a:lnTo>
                  <a:pt x="1496856" y="1195760"/>
                </a:lnTo>
                <a:lnTo>
                  <a:pt x="1496581" y="1195760"/>
                </a:lnTo>
                <a:cubicBezTo>
                  <a:pt x="1496581" y="1194235"/>
                  <a:pt x="1495208" y="1194016"/>
                  <a:pt x="1495208" y="1195543"/>
                </a:cubicBezTo>
                <a:cubicBezTo>
                  <a:pt x="1493285" y="1193690"/>
                  <a:pt x="1491636" y="1192273"/>
                  <a:pt x="1490813" y="1190965"/>
                </a:cubicBezTo>
                <a:cubicBezTo>
                  <a:pt x="1489989" y="1189767"/>
                  <a:pt x="1489989" y="1188677"/>
                  <a:pt x="1491362" y="1187369"/>
                </a:cubicBezTo>
                <a:cubicBezTo>
                  <a:pt x="1493011" y="1184645"/>
                  <a:pt x="1495758" y="1186606"/>
                  <a:pt x="1498780" y="1184100"/>
                </a:cubicBezTo>
                <a:cubicBezTo>
                  <a:pt x="1502350" y="1180177"/>
                  <a:pt x="1497131" y="1173311"/>
                  <a:pt x="1498230" y="1165683"/>
                </a:cubicBezTo>
                <a:lnTo>
                  <a:pt x="1501526" y="1158927"/>
                </a:lnTo>
                <a:lnTo>
                  <a:pt x="1499328" y="1158056"/>
                </a:lnTo>
                <a:cubicBezTo>
                  <a:pt x="1497955" y="1156421"/>
                  <a:pt x="1497131" y="1153914"/>
                  <a:pt x="1496856" y="1151626"/>
                </a:cubicBezTo>
                <a:cubicBezTo>
                  <a:pt x="1497405" y="1152934"/>
                  <a:pt x="1497405" y="1152934"/>
                  <a:pt x="1497405" y="1152934"/>
                </a:cubicBezTo>
                <a:cubicBezTo>
                  <a:pt x="1499328" y="1153479"/>
                  <a:pt x="1498780" y="1152171"/>
                  <a:pt x="1499878" y="1151299"/>
                </a:cubicBezTo>
                <a:cubicBezTo>
                  <a:pt x="1499878" y="1151299"/>
                  <a:pt x="1498780" y="1152171"/>
                  <a:pt x="1499328" y="1150100"/>
                </a:cubicBezTo>
                <a:cubicBezTo>
                  <a:pt x="1499878" y="1151408"/>
                  <a:pt x="1501251" y="1150536"/>
                  <a:pt x="1502624" y="1149774"/>
                </a:cubicBezTo>
                <a:close/>
                <a:moveTo>
                  <a:pt x="1870716" y="1148357"/>
                </a:moveTo>
                <a:cubicBezTo>
                  <a:pt x="1870991" y="1160344"/>
                  <a:pt x="1867145" y="1173965"/>
                  <a:pt x="1866321" y="1177017"/>
                </a:cubicBezTo>
                <a:cubicBezTo>
                  <a:pt x="1865771" y="1178542"/>
                  <a:pt x="1865222" y="1179414"/>
                  <a:pt x="1864398" y="1179632"/>
                </a:cubicBezTo>
                <a:cubicBezTo>
                  <a:pt x="1863300" y="1179850"/>
                  <a:pt x="1862201" y="1179523"/>
                  <a:pt x="1860826" y="1178869"/>
                </a:cubicBezTo>
                <a:cubicBezTo>
                  <a:pt x="1855608" y="1173203"/>
                  <a:pt x="1859178" y="1166991"/>
                  <a:pt x="1859453" y="1159472"/>
                </a:cubicBezTo>
                <a:cubicBezTo>
                  <a:pt x="1861101" y="1159472"/>
                  <a:pt x="1862201" y="1157837"/>
                  <a:pt x="1861926" y="1156312"/>
                </a:cubicBezTo>
                <a:cubicBezTo>
                  <a:pt x="1863300" y="1154787"/>
                  <a:pt x="1864398" y="1153369"/>
                  <a:pt x="1863025" y="1153369"/>
                </a:cubicBezTo>
                <a:cubicBezTo>
                  <a:pt x="1866595" y="1148684"/>
                  <a:pt x="1866321" y="1147158"/>
                  <a:pt x="1870716" y="1148357"/>
                </a:cubicBezTo>
                <a:close/>
                <a:moveTo>
                  <a:pt x="1974550" y="1145742"/>
                </a:moveTo>
                <a:cubicBezTo>
                  <a:pt x="1985263" y="1152171"/>
                  <a:pt x="1986637" y="1161106"/>
                  <a:pt x="1984165" y="1170151"/>
                </a:cubicBezTo>
                <a:lnTo>
                  <a:pt x="1982791" y="1173420"/>
                </a:lnTo>
                <a:lnTo>
                  <a:pt x="1993230" y="1180068"/>
                </a:lnTo>
                <a:cubicBezTo>
                  <a:pt x="1999548" y="1184536"/>
                  <a:pt x="2004492" y="1189876"/>
                  <a:pt x="2004492" y="1195760"/>
                </a:cubicBezTo>
                <a:lnTo>
                  <a:pt x="2003668" y="1198702"/>
                </a:lnTo>
                <a:lnTo>
                  <a:pt x="2006689" y="1195978"/>
                </a:lnTo>
                <a:cubicBezTo>
                  <a:pt x="2014931" y="1190421"/>
                  <a:pt x="2023995" y="1185844"/>
                  <a:pt x="2032786" y="1177998"/>
                </a:cubicBezTo>
                <a:lnTo>
                  <a:pt x="2036357" y="1179959"/>
                </a:lnTo>
                <a:lnTo>
                  <a:pt x="2034983" y="1178869"/>
                </a:lnTo>
                <a:cubicBezTo>
                  <a:pt x="2033335" y="1177344"/>
                  <a:pt x="2031962" y="1175927"/>
                  <a:pt x="2031138" y="1174728"/>
                </a:cubicBezTo>
                <a:cubicBezTo>
                  <a:pt x="2034159" y="1177126"/>
                  <a:pt x="2038005" y="1179305"/>
                  <a:pt x="2041576" y="1181702"/>
                </a:cubicBezTo>
                <a:lnTo>
                  <a:pt x="2042949" y="1183229"/>
                </a:lnTo>
                <a:lnTo>
                  <a:pt x="2050641" y="1183773"/>
                </a:lnTo>
                <a:cubicBezTo>
                  <a:pt x="2055860" y="1183229"/>
                  <a:pt x="2060530" y="1181048"/>
                  <a:pt x="2065474" y="1180286"/>
                </a:cubicBezTo>
                <a:cubicBezTo>
                  <a:pt x="2070694" y="1192164"/>
                  <a:pt x="2085527" y="1199792"/>
                  <a:pt x="2094866" y="1210472"/>
                </a:cubicBezTo>
                <a:cubicBezTo>
                  <a:pt x="2092669" y="1229106"/>
                  <a:pt x="2095691" y="1244580"/>
                  <a:pt x="2093218" y="1263214"/>
                </a:cubicBezTo>
                <a:cubicBezTo>
                  <a:pt x="2084703" y="1268009"/>
                  <a:pt x="2077561" y="1277926"/>
                  <a:pt x="2070144" y="1286644"/>
                </a:cubicBezTo>
                <a:lnTo>
                  <a:pt x="2067946" y="1288606"/>
                </a:lnTo>
                <a:lnTo>
                  <a:pt x="2069046" y="1308220"/>
                </a:lnTo>
                <a:lnTo>
                  <a:pt x="2063826" y="1324021"/>
                </a:lnTo>
                <a:lnTo>
                  <a:pt x="2072616" y="1327182"/>
                </a:lnTo>
                <a:lnTo>
                  <a:pt x="2075364" y="1328489"/>
                </a:lnTo>
                <a:lnTo>
                  <a:pt x="2075364" y="1326746"/>
                </a:lnTo>
                <a:lnTo>
                  <a:pt x="2075913" y="1328708"/>
                </a:lnTo>
                <a:lnTo>
                  <a:pt x="2083878" y="1331868"/>
                </a:lnTo>
                <a:cubicBezTo>
                  <a:pt x="2091296" y="1335355"/>
                  <a:pt x="2096790" y="1340040"/>
                  <a:pt x="2094317" y="1345925"/>
                </a:cubicBezTo>
                <a:cubicBezTo>
                  <a:pt x="2092120" y="1345271"/>
                  <a:pt x="2089372" y="1344617"/>
                  <a:pt x="2086077" y="1343855"/>
                </a:cubicBezTo>
                <a:lnTo>
                  <a:pt x="2079484" y="1342002"/>
                </a:lnTo>
                <a:lnTo>
                  <a:pt x="2079209" y="1343310"/>
                </a:lnTo>
                <a:lnTo>
                  <a:pt x="2078659" y="1341784"/>
                </a:lnTo>
                <a:lnTo>
                  <a:pt x="2075913" y="1341022"/>
                </a:lnTo>
                <a:cubicBezTo>
                  <a:pt x="2069320" y="1338733"/>
                  <a:pt x="2063552" y="1335246"/>
                  <a:pt x="2063002" y="1329579"/>
                </a:cubicBezTo>
                <a:lnTo>
                  <a:pt x="2063552" y="1325547"/>
                </a:lnTo>
                <a:lnTo>
                  <a:pt x="2062452" y="1327944"/>
                </a:lnTo>
                <a:cubicBezTo>
                  <a:pt x="2050641" y="1347995"/>
                  <a:pt x="2031962" y="1344072"/>
                  <a:pt x="2012733" y="1353444"/>
                </a:cubicBezTo>
                <a:cubicBezTo>
                  <a:pt x="2000646" y="1338297"/>
                  <a:pt x="1990757" y="1342329"/>
                  <a:pt x="1980868" y="1340368"/>
                </a:cubicBezTo>
                <a:cubicBezTo>
                  <a:pt x="1977298" y="1326964"/>
                  <a:pt x="1964112" y="1314650"/>
                  <a:pt x="1956421" y="1301137"/>
                </a:cubicBezTo>
                <a:cubicBezTo>
                  <a:pt x="1961090" y="1283701"/>
                  <a:pt x="1960541" y="1267573"/>
                  <a:pt x="1965486" y="1250246"/>
                </a:cubicBezTo>
                <a:cubicBezTo>
                  <a:pt x="1970155" y="1249375"/>
                  <a:pt x="1974275" y="1247086"/>
                  <a:pt x="1978671" y="1244253"/>
                </a:cubicBezTo>
                <a:lnTo>
                  <a:pt x="1984165" y="1240330"/>
                </a:lnTo>
                <a:lnTo>
                  <a:pt x="1987461" y="1219734"/>
                </a:lnTo>
                <a:cubicBezTo>
                  <a:pt x="1989659" y="1213850"/>
                  <a:pt x="1992406" y="1209382"/>
                  <a:pt x="1995702" y="1205568"/>
                </a:cubicBezTo>
                <a:lnTo>
                  <a:pt x="2002019" y="1200119"/>
                </a:lnTo>
                <a:lnTo>
                  <a:pt x="1994878" y="1194779"/>
                </a:lnTo>
                <a:cubicBezTo>
                  <a:pt x="1989659" y="1190965"/>
                  <a:pt x="1983615" y="1186498"/>
                  <a:pt x="1979769" y="1181921"/>
                </a:cubicBezTo>
                <a:lnTo>
                  <a:pt x="1979495" y="1180613"/>
                </a:lnTo>
                <a:lnTo>
                  <a:pt x="1978121" y="1183446"/>
                </a:lnTo>
                <a:lnTo>
                  <a:pt x="1971254" y="1193581"/>
                </a:lnTo>
                <a:lnTo>
                  <a:pt x="1971529" y="1195760"/>
                </a:lnTo>
                <a:cubicBezTo>
                  <a:pt x="1971529" y="1197394"/>
                  <a:pt x="1970980" y="1199465"/>
                  <a:pt x="1969605" y="1202081"/>
                </a:cubicBezTo>
                <a:lnTo>
                  <a:pt x="1966310" y="1200119"/>
                </a:lnTo>
                <a:lnTo>
                  <a:pt x="1961640" y="1206112"/>
                </a:lnTo>
                <a:cubicBezTo>
                  <a:pt x="1958618" y="1209164"/>
                  <a:pt x="1955322" y="1211452"/>
                  <a:pt x="1952025" y="1212106"/>
                </a:cubicBezTo>
                <a:lnTo>
                  <a:pt x="1949004" y="1211670"/>
                </a:lnTo>
                <a:lnTo>
                  <a:pt x="1949553" y="1214067"/>
                </a:lnTo>
                <a:cubicBezTo>
                  <a:pt x="1950377" y="1218535"/>
                  <a:pt x="1950377" y="1223440"/>
                  <a:pt x="1949828" y="1226381"/>
                </a:cubicBezTo>
                <a:cubicBezTo>
                  <a:pt x="1948729" y="1225836"/>
                  <a:pt x="1947630" y="1224638"/>
                  <a:pt x="1947081" y="1222894"/>
                </a:cubicBezTo>
                <a:cubicBezTo>
                  <a:pt x="1945982" y="1220388"/>
                  <a:pt x="1945158" y="1216901"/>
                  <a:pt x="1944883" y="1213522"/>
                </a:cubicBezTo>
                <a:lnTo>
                  <a:pt x="1945158" y="1210472"/>
                </a:lnTo>
                <a:lnTo>
                  <a:pt x="1942960" y="1208510"/>
                </a:lnTo>
                <a:lnTo>
                  <a:pt x="1937191" y="1208183"/>
                </a:lnTo>
                <a:cubicBezTo>
                  <a:pt x="1934445" y="1207420"/>
                  <a:pt x="1931698" y="1206549"/>
                  <a:pt x="1928127" y="1206984"/>
                </a:cubicBezTo>
                <a:cubicBezTo>
                  <a:pt x="1926478" y="1202189"/>
                  <a:pt x="1918238" y="1202407"/>
                  <a:pt x="1916040" y="1195651"/>
                </a:cubicBezTo>
                <a:cubicBezTo>
                  <a:pt x="1920984" y="1193254"/>
                  <a:pt x="1927853" y="1194998"/>
                  <a:pt x="1933896" y="1198158"/>
                </a:cubicBezTo>
                <a:lnTo>
                  <a:pt x="1937191" y="1201427"/>
                </a:lnTo>
                <a:lnTo>
                  <a:pt x="1934994" y="1194561"/>
                </a:lnTo>
                <a:lnTo>
                  <a:pt x="1936093" y="1189984"/>
                </a:lnTo>
                <a:lnTo>
                  <a:pt x="1935544" y="1190093"/>
                </a:lnTo>
                <a:cubicBezTo>
                  <a:pt x="1932797" y="1188459"/>
                  <a:pt x="1931698" y="1185625"/>
                  <a:pt x="1931148" y="1182356"/>
                </a:cubicBezTo>
                <a:lnTo>
                  <a:pt x="1931148" y="1179305"/>
                </a:lnTo>
                <a:lnTo>
                  <a:pt x="1930874" y="1179305"/>
                </a:lnTo>
                <a:lnTo>
                  <a:pt x="1931148" y="1178869"/>
                </a:lnTo>
                <a:lnTo>
                  <a:pt x="1931423" y="1177562"/>
                </a:lnTo>
                <a:lnTo>
                  <a:pt x="1930050" y="1178107"/>
                </a:lnTo>
                <a:cubicBezTo>
                  <a:pt x="1926753" y="1178651"/>
                  <a:pt x="1923183" y="1178542"/>
                  <a:pt x="1920984" y="1177017"/>
                </a:cubicBezTo>
                <a:cubicBezTo>
                  <a:pt x="1922084" y="1174184"/>
                  <a:pt x="1923457" y="1171350"/>
                  <a:pt x="1924830" y="1168626"/>
                </a:cubicBezTo>
                <a:lnTo>
                  <a:pt x="1925929" y="1168953"/>
                </a:lnTo>
                <a:lnTo>
                  <a:pt x="1926204" y="1168735"/>
                </a:lnTo>
                <a:cubicBezTo>
                  <a:pt x="1927028" y="1167863"/>
                  <a:pt x="1927303" y="1166664"/>
                  <a:pt x="1927028" y="1165030"/>
                </a:cubicBezTo>
                <a:cubicBezTo>
                  <a:pt x="1928951" y="1165465"/>
                  <a:pt x="1930874" y="1166119"/>
                  <a:pt x="1932247" y="1166991"/>
                </a:cubicBezTo>
                <a:lnTo>
                  <a:pt x="1933072" y="1168517"/>
                </a:lnTo>
                <a:lnTo>
                  <a:pt x="1933896" y="1168408"/>
                </a:lnTo>
                <a:lnTo>
                  <a:pt x="1934994" y="1166010"/>
                </a:lnTo>
                <a:lnTo>
                  <a:pt x="1934170" y="1163068"/>
                </a:lnTo>
                <a:lnTo>
                  <a:pt x="1939390" y="1162196"/>
                </a:lnTo>
                <a:lnTo>
                  <a:pt x="1943510" y="1160452"/>
                </a:lnTo>
                <a:cubicBezTo>
                  <a:pt x="1945158" y="1160671"/>
                  <a:pt x="1946531" y="1161651"/>
                  <a:pt x="1948179" y="1163286"/>
                </a:cubicBezTo>
                <a:lnTo>
                  <a:pt x="1948179" y="1163722"/>
                </a:lnTo>
                <a:lnTo>
                  <a:pt x="1950103" y="1161216"/>
                </a:lnTo>
                <a:cubicBezTo>
                  <a:pt x="1958892" y="1152171"/>
                  <a:pt x="1967134" y="1148248"/>
                  <a:pt x="1971529" y="1146722"/>
                </a:cubicBezTo>
                <a:cubicBezTo>
                  <a:pt x="1973451" y="1146068"/>
                  <a:pt x="1974550" y="1145742"/>
                  <a:pt x="1974550" y="1145742"/>
                </a:cubicBezTo>
                <a:close/>
                <a:moveTo>
                  <a:pt x="1927303" y="1144869"/>
                </a:moveTo>
                <a:cubicBezTo>
                  <a:pt x="1929500" y="1146177"/>
                  <a:pt x="1931698" y="1148466"/>
                  <a:pt x="1932522" y="1151844"/>
                </a:cubicBezTo>
                <a:cubicBezTo>
                  <a:pt x="1930874" y="1154895"/>
                  <a:pt x="1924556" y="1158382"/>
                  <a:pt x="1919886" y="1159145"/>
                </a:cubicBezTo>
                <a:cubicBezTo>
                  <a:pt x="1918513" y="1159472"/>
                  <a:pt x="1917139" y="1159363"/>
                  <a:pt x="1916315" y="1158818"/>
                </a:cubicBezTo>
                <a:cubicBezTo>
                  <a:pt x="1909722" y="1146613"/>
                  <a:pt x="1920160" y="1141055"/>
                  <a:pt x="1927303" y="1144869"/>
                </a:cubicBezTo>
                <a:close/>
                <a:moveTo>
                  <a:pt x="1988835" y="1144652"/>
                </a:moveTo>
                <a:cubicBezTo>
                  <a:pt x="1990208" y="1144869"/>
                  <a:pt x="1993230" y="1143998"/>
                  <a:pt x="1994603" y="1145633"/>
                </a:cubicBezTo>
                <a:cubicBezTo>
                  <a:pt x="1995976" y="1147376"/>
                  <a:pt x="1995976" y="1147376"/>
                  <a:pt x="1995702" y="1150210"/>
                </a:cubicBezTo>
                <a:cubicBezTo>
                  <a:pt x="1991581" y="1148030"/>
                  <a:pt x="1991581" y="1148030"/>
                  <a:pt x="1988835" y="1144652"/>
                </a:cubicBezTo>
                <a:close/>
                <a:moveTo>
                  <a:pt x="2214084" y="1143998"/>
                </a:moveTo>
                <a:cubicBezTo>
                  <a:pt x="2216557" y="1141819"/>
                  <a:pt x="2230566" y="1146613"/>
                  <a:pt x="2225896" y="1152389"/>
                </a:cubicBezTo>
                <a:cubicBezTo>
                  <a:pt x="2224797" y="1153260"/>
                  <a:pt x="2223698" y="1153479"/>
                  <a:pt x="2222600" y="1153479"/>
                </a:cubicBezTo>
                <a:cubicBezTo>
                  <a:pt x="2221776" y="1153479"/>
                  <a:pt x="2220677" y="1153152"/>
                  <a:pt x="2219578" y="1152498"/>
                </a:cubicBezTo>
                <a:cubicBezTo>
                  <a:pt x="2217655" y="1151299"/>
                  <a:pt x="2215733" y="1149229"/>
                  <a:pt x="2214633" y="1147267"/>
                </a:cubicBezTo>
                <a:cubicBezTo>
                  <a:pt x="2214084" y="1145959"/>
                  <a:pt x="2213809" y="1144761"/>
                  <a:pt x="2214084" y="1143998"/>
                </a:cubicBezTo>
                <a:close/>
                <a:moveTo>
                  <a:pt x="1984714" y="1143889"/>
                </a:moveTo>
                <a:cubicBezTo>
                  <a:pt x="1984714" y="1142581"/>
                  <a:pt x="1986362" y="1142799"/>
                  <a:pt x="1987736" y="1144325"/>
                </a:cubicBezTo>
                <a:cubicBezTo>
                  <a:pt x="1987736" y="1144325"/>
                  <a:pt x="1987736" y="1145742"/>
                  <a:pt x="1987736" y="1145742"/>
                </a:cubicBezTo>
                <a:cubicBezTo>
                  <a:pt x="1986087" y="1145523"/>
                  <a:pt x="1984714" y="1145197"/>
                  <a:pt x="1984714" y="1143889"/>
                </a:cubicBezTo>
                <a:close/>
                <a:moveTo>
                  <a:pt x="1075200" y="1141819"/>
                </a:moveTo>
                <a:cubicBezTo>
                  <a:pt x="1077123" y="1142254"/>
                  <a:pt x="1079045" y="1142799"/>
                  <a:pt x="1077671" y="1143562"/>
                </a:cubicBezTo>
                <a:cubicBezTo>
                  <a:pt x="1078221" y="1144761"/>
                  <a:pt x="1077123" y="1145633"/>
                  <a:pt x="1076573" y="1147594"/>
                </a:cubicBezTo>
                <a:cubicBezTo>
                  <a:pt x="1074650" y="1150427"/>
                  <a:pt x="1071079" y="1152715"/>
                  <a:pt x="1069157" y="1152171"/>
                </a:cubicBezTo>
                <a:cubicBezTo>
                  <a:pt x="1067233" y="1151735"/>
                  <a:pt x="1066409" y="1150427"/>
                  <a:pt x="1066409" y="1150427"/>
                </a:cubicBezTo>
                <a:cubicBezTo>
                  <a:pt x="1066958" y="1145197"/>
                  <a:pt x="1069432" y="1140401"/>
                  <a:pt x="1075200" y="1141819"/>
                </a:cubicBezTo>
                <a:close/>
                <a:moveTo>
                  <a:pt x="1979220" y="1141600"/>
                </a:moveTo>
                <a:cubicBezTo>
                  <a:pt x="1980593" y="1143127"/>
                  <a:pt x="1980593" y="1141928"/>
                  <a:pt x="1980593" y="1144543"/>
                </a:cubicBezTo>
                <a:cubicBezTo>
                  <a:pt x="1978945" y="1143017"/>
                  <a:pt x="1978945" y="1142908"/>
                  <a:pt x="1977572" y="1142690"/>
                </a:cubicBezTo>
                <a:cubicBezTo>
                  <a:pt x="1977572" y="1142690"/>
                  <a:pt x="1979220" y="1141600"/>
                  <a:pt x="1979220" y="1141600"/>
                </a:cubicBezTo>
                <a:close/>
                <a:moveTo>
                  <a:pt x="6286161" y="1141383"/>
                </a:moveTo>
                <a:cubicBezTo>
                  <a:pt x="6286710" y="1143344"/>
                  <a:pt x="6283964" y="1141819"/>
                  <a:pt x="6283964" y="1141819"/>
                </a:cubicBezTo>
                <a:cubicBezTo>
                  <a:pt x="6283964" y="1141819"/>
                  <a:pt x="6283964" y="1141819"/>
                  <a:pt x="6283689" y="1142473"/>
                </a:cubicBezTo>
                <a:lnTo>
                  <a:pt x="6281216" y="1146286"/>
                </a:lnTo>
                <a:lnTo>
                  <a:pt x="6281216" y="1147812"/>
                </a:lnTo>
                <a:lnTo>
                  <a:pt x="6279019" y="1148357"/>
                </a:lnTo>
                <a:lnTo>
                  <a:pt x="6277645" y="1149774"/>
                </a:lnTo>
                <a:cubicBezTo>
                  <a:pt x="6275448" y="1151299"/>
                  <a:pt x="6272151" y="1152934"/>
                  <a:pt x="6268306" y="1153152"/>
                </a:cubicBezTo>
                <a:lnTo>
                  <a:pt x="6267207" y="1152934"/>
                </a:lnTo>
                <a:lnTo>
                  <a:pt x="6270778" y="1162741"/>
                </a:lnTo>
                <a:lnTo>
                  <a:pt x="6272151" y="1159036"/>
                </a:lnTo>
                <a:cubicBezTo>
                  <a:pt x="6274349" y="1159036"/>
                  <a:pt x="6276547" y="1156966"/>
                  <a:pt x="6276547" y="1154895"/>
                </a:cubicBezTo>
                <a:cubicBezTo>
                  <a:pt x="6278745" y="1152934"/>
                  <a:pt x="6280942" y="1150864"/>
                  <a:pt x="6278745" y="1150864"/>
                </a:cubicBezTo>
                <a:cubicBezTo>
                  <a:pt x="6282040" y="1147812"/>
                  <a:pt x="6283689" y="1145633"/>
                  <a:pt x="6285337" y="1144652"/>
                </a:cubicBezTo>
                <a:lnTo>
                  <a:pt x="6290282" y="1144652"/>
                </a:lnTo>
                <a:lnTo>
                  <a:pt x="6289458" y="1143998"/>
                </a:lnTo>
                <a:cubicBezTo>
                  <a:pt x="6288358" y="1142908"/>
                  <a:pt x="6287534" y="1142145"/>
                  <a:pt x="6286161" y="1141383"/>
                </a:cubicBezTo>
                <a:close/>
                <a:moveTo>
                  <a:pt x="1178485" y="1140729"/>
                </a:moveTo>
                <a:cubicBezTo>
                  <a:pt x="1190571" y="1152934"/>
                  <a:pt x="1183979" y="1164920"/>
                  <a:pt x="1185352" y="1168081"/>
                </a:cubicBezTo>
                <a:cubicBezTo>
                  <a:pt x="1182880" y="1169825"/>
                  <a:pt x="1181781" y="1170805"/>
                  <a:pt x="1180408" y="1170261"/>
                </a:cubicBezTo>
                <a:cubicBezTo>
                  <a:pt x="1178760" y="1169607"/>
                  <a:pt x="1176836" y="1167427"/>
                  <a:pt x="1172717" y="1163178"/>
                </a:cubicBezTo>
                <a:cubicBezTo>
                  <a:pt x="1171343" y="1161434"/>
                  <a:pt x="1170518" y="1159472"/>
                  <a:pt x="1170244" y="1157402"/>
                </a:cubicBezTo>
                <a:cubicBezTo>
                  <a:pt x="1169695" y="1155331"/>
                  <a:pt x="1169969" y="1153152"/>
                  <a:pt x="1170793" y="1151081"/>
                </a:cubicBezTo>
                <a:cubicBezTo>
                  <a:pt x="1169420" y="1148030"/>
                  <a:pt x="1169969" y="1143671"/>
                  <a:pt x="1171343" y="1141055"/>
                </a:cubicBezTo>
                <a:cubicBezTo>
                  <a:pt x="1174365" y="1138659"/>
                  <a:pt x="1177386" y="1139094"/>
                  <a:pt x="1178485" y="1140729"/>
                </a:cubicBezTo>
                <a:close/>
                <a:moveTo>
                  <a:pt x="1781715" y="1138767"/>
                </a:moveTo>
                <a:cubicBezTo>
                  <a:pt x="1781715" y="1138767"/>
                  <a:pt x="1781715" y="1138767"/>
                  <a:pt x="1783088" y="1140293"/>
                </a:cubicBezTo>
                <a:cubicBezTo>
                  <a:pt x="1780616" y="1147376"/>
                  <a:pt x="1783637" y="1154568"/>
                  <a:pt x="1779517" y="1161651"/>
                </a:cubicBezTo>
                <a:cubicBezTo>
                  <a:pt x="1778144" y="1160126"/>
                  <a:pt x="1775122" y="1155767"/>
                  <a:pt x="1777869" y="1151517"/>
                </a:cubicBezTo>
                <a:cubicBezTo>
                  <a:pt x="1780616" y="1147376"/>
                  <a:pt x="1778967" y="1142908"/>
                  <a:pt x="1781715" y="1138767"/>
                </a:cubicBezTo>
                <a:close/>
                <a:moveTo>
                  <a:pt x="6324618" y="1138659"/>
                </a:moveTo>
                <a:cubicBezTo>
                  <a:pt x="6330387" y="1144434"/>
                  <a:pt x="6326541" y="1155658"/>
                  <a:pt x="6320498" y="1157511"/>
                </a:cubicBezTo>
                <a:cubicBezTo>
                  <a:pt x="6319399" y="1157837"/>
                  <a:pt x="6318301" y="1158056"/>
                  <a:pt x="6317202" y="1157728"/>
                </a:cubicBezTo>
                <a:cubicBezTo>
                  <a:pt x="6316103" y="1157511"/>
                  <a:pt x="6315004" y="1156857"/>
                  <a:pt x="6313905" y="1155876"/>
                </a:cubicBezTo>
                <a:cubicBezTo>
                  <a:pt x="6310609" y="1146940"/>
                  <a:pt x="6319124" y="1145742"/>
                  <a:pt x="6324618" y="1138659"/>
                </a:cubicBezTo>
                <a:close/>
                <a:moveTo>
                  <a:pt x="6232046" y="1138550"/>
                </a:moveTo>
                <a:cubicBezTo>
                  <a:pt x="6233419" y="1141274"/>
                  <a:pt x="6233694" y="1143998"/>
                  <a:pt x="6235068" y="1146722"/>
                </a:cubicBezTo>
                <a:cubicBezTo>
                  <a:pt x="6224904" y="1146722"/>
                  <a:pt x="6229299" y="1160452"/>
                  <a:pt x="6233694" y="1174184"/>
                </a:cubicBezTo>
                <a:cubicBezTo>
                  <a:pt x="6239462" y="1174184"/>
                  <a:pt x="6240837" y="1180940"/>
                  <a:pt x="6246605" y="1183664"/>
                </a:cubicBezTo>
                <a:cubicBezTo>
                  <a:pt x="6244957" y="1186388"/>
                  <a:pt x="6245231" y="1189222"/>
                  <a:pt x="6245231" y="1191946"/>
                </a:cubicBezTo>
                <a:cubicBezTo>
                  <a:pt x="6245231" y="1193362"/>
                  <a:pt x="6246605" y="1194779"/>
                  <a:pt x="6247978" y="1194779"/>
                </a:cubicBezTo>
                <a:cubicBezTo>
                  <a:pt x="6250725" y="1189222"/>
                  <a:pt x="6247978" y="1185080"/>
                  <a:pt x="6246605" y="1179632"/>
                </a:cubicBezTo>
                <a:cubicBezTo>
                  <a:pt x="6247978" y="1178978"/>
                  <a:pt x="6249352" y="1178651"/>
                  <a:pt x="6250450" y="1178107"/>
                </a:cubicBezTo>
                <a:lnTo>
                  <a:pt x="6252099" y="1175818"/>
                </a:lnTo>
                <a:lnTo>
                  <a:pt x="6246880" y="1171895"/>
                </a:lnTo>
                <a:cubicBezTo>
                  <a:pt x="6246880" y="1171895"/>
                  <a:pt x="6246056" y="1169933"/>
                  <a:pt x="6246056" y="1169933"/>
                </a:cubicBezTo>
                <a:lnTo>
                  <a:pt x="6244407" y="1160997"/>
                </a:lnTo>
                <a:lnTo>
                  <a:pt x="6241112" y="1158927"/>
                </a:lnTo>
                <a:lnTo>
                  <a:pt x="6245231" y="1152715"/>
                </a:lnTo>
                <a:lnTo>
                  <a:pt x="6245231" y="1152171"/>
                </a:lnTo>
                <a:cubicBezTo>
                  <a:pt x="6243583" y="1152171"/>
                  <a:pt x="6240837" y="1152171"/>
                  <a:pt x="6239188" y="1152171"/>
                </a:cubicBezTo>
                <a:cubicBezTo>
                  <a:pt x="6239188" y="1145306"/>
                  <a:pt x="6236441" y="1141274"/>
                  <a:pt x="6232046" y="1138550"/>
                </a:cubicBezTo>
                <a:close/>
                <a:moveTo>
                  <a:pt x="1429830" y="1135934"/>
                </a:moveTo>
                <a:cubicBezTo>
                  <a:pt x="1432577" y="1136370"/>
                  <a:pt x="1435599" y="1135389"/>
                  <a:pt x="1438346" y="1137351"/>
                </a:cubicBezTo>
                <a:cubicBezTo>
                  <a:pt x="1440818" y="1140729"/>
                  <a:pt x="1438896" y="1147812"/>
                  <a:pt x="1437247" y="1150427"/>
                </a:cubicBezTo>
                <a:cubicBezTo>
                  <a:pt x="1435874" y="1151626"/>
                  <a:pt x="1433952" y="1151735"/>
                  <a:pt x="1432303" y="1151081"/>
                </a:cubicBezTo>
                <a:cubicBezTo>
                  <a:pt x="1430655" y="1150427"/>
                  <a:pt x="1429007" y="1149120"/>
                  <a:pt x="1427633" y="1147376"/>
                </a:cubicBezTo>
                <a:cubicBezTo>
                  <a:pt x="1426260" y="1146396"/>
                  <a:pt x="1425710" y="1144761"/>
                  <a:pt x="1425435" y="1143127"/>
                </a:cubicBezTo>
                <a:cubicBezTo>
                  <a:pt x="1425435" y="1141491"/>
                  <a:pt x="1425985" y="1139748"/>
                  <a:pt x="1426808" y="1138440"/>
                </a:cubicBezTo>
                <a:cubicBezTo>
                  <a:pt x="1428183" y="1137242"/>
                  <a:pt x="1428183" y="1137132"/>
                  <a:pt x="1429830" y="1135934"/>
                </a:cubicBezTo>
                <a:close/>
                <a:moveTo>
                  <a:pt x="1955322" y="1134517"/>
                </a:moveTo>
                <a:cubicBezTo>
                  <a:pt x="1958068" y="1134953"/>
                  <a:pt x="1973451" y="1138985"/>
                  <a:pt x="1977572" y="1142473"/>
                </a:cubicBezTo>
                <a:cubicBezTo>
                  <a:pt x="1970430" y="1139857"/>
                  <a:pt x="1960541" y="1139639"/>
                  <a:pt x="1955322" y="1134517"/>
                </a:cubicBezTo>
                <a:close/>
                <a:moveTo>
                  <a:pt x="1824568" y="1134191"/>
                </a:moveTo>
                <a:cubicBezTo>
                  <a:pt x="1831984" y="1143562"/>
                  <a:pt x="1824293" y="1153805"/>
                  <a:pt x="1820721" y="1162633"/>
                </a:cubicBezTo>
                <a:cubicBezTo>
                  <a:pt x="1830611" y="1164158"/>
                  <a:pt x="1845719" y="1163286"/>
                  <a:pt x="1845994" y="1174728"/>
                </a:cubicBezTo>
                <a:lnTo>
                  <a:pt x="1839675" y="1177888"/>
                </a:lnTo>
                <a:lnTo>
                  <a:pt x="1840225" y="1183229"/>
                </a:lnTo>
                <a:lnTo>
                  <a:pt x="1839125" y="1184536"/>
                </a:lnTo>
                <a:lnTo>
                  <a:pt x="1840500" y="1186715"/>
                </a:lnTo>
                <a:cubicBezTo>
                  <a:pt x="1841049" y="1187805"/>
                  <a:pt x="1841599" y="1188350"/>
                  <a:pt x="1841599" y="1188350"/>
                </a:cubicBezTo>
                <a:cubicBezTo>
                  <a:pt x="1840774" y="1190312"/>
                  <a:pt x="1840225" y="1191401"/>
                  <a:pt x="1839675" y="1191728"/>
                </a:cubicBezTo>
                <a:lnTo>
                  <a:pt x="1837203" y="1191619"/>
                </a:lnTo>
                <a:lnTo>
                  <a:pt x="1836379" y="1195106"/>
                </a:lnTo>
                <a:cubicBezTo>
                  <a:pt x="1833082" y="1194561"/>
                  <a:pt x="1827589" y="1190312"/>
                  <a:pt x="1828412" y="1186933"/>
                </a:cubicBezTo>
                <a:lnTo>
                  <a:pt x="1831709" y="1188023"/>
                </a:lnTo>
                <a:lnTo>
                  <a:pt x="1828962" y="1185625"/>
                </a:lnTo>
                <a:cubicBezTo>
                  <a:pt x="1827314" y="1182792"/>
                  <a:pt x="1825941" y="1179414"/>
                  <a:pt x="1826216" y="1176799"/>
                </a:cubicBezTo>
                <a:lnTo>
                  <a:pt x="1830061" y="1176908"/>
                </a:lnTo>
                <a:lnTo>
                  <a:pt x="1822919" y="1175055"/>
                </a:lnTo>
                <a:cubicBezTo>
                  <a:pt x="1819898" y="1174293"/>
                  <a:pt x="1816876" y="1173748"/>
                  <a:pt x="1813855" y="1173856"/>
                </a:cubicBezTo>
                <a:cubicBezTo>
                  <a:pt x="1810008" y="1175600"/>
                  <a:pt x="1809459" y="1180177"/>
                  <a:pt x="1804789" y="1181157"/>
                </a:cubicBezTo>
                <a:cubicBezTo>
                  <a:pt x="1803142" y="1181485"/>
                  <a:pt x="1800943" y="1181485"/>
                  <a:pt x="1798472" y="1180831"/>
                </a:cubicBezTo>
                <a:cubicBezTo>
                  <a:pt x="1800119" y="1163286"/>
                  <a:pt x="1805888" y="1150319"/>
                  <a:pt x="1814678" y="1141600"/>
                </a:cubicBezTo>
                <a:cubicBezTo>
                  <a:pt x="1817699" y="1138659"/>
                  <a:pt x="1820996" y="1136152"/>
                  <a:pt x="1824568" y="1134191"/>
                </a:cubicBezTo>
                <a:close/>
                <a:moveTo>
                  <a:pt x="2050366" y="1132883"/>
                </a:moveTo>
                <a:cubicBezTo>
                  <a:pt x="2050091" y="1134844"/>
                  <a:pt x="2055310" y="1135171"/>
                  <a:pt x="2058058" y="1137023"/>
                </a:cubicBezTo>
                <a:cubicBezTo>
                  <a:pt x="2059431" y="1138876"/>
                  <a:pt x="2060255" y="1140511"/>
                  <a:pt x="2061079" y="1142145"/>
                </a:cubicBezTo>
                <a:lnTo>
                  <a:pt x="2061079" y="1142363"/>
                </a:lnTo>
                <a:lnTo>
                  <a:pt x="2070144" y="1145633"/>
                </a:lnTo>
                <a:lnTo>
                  <a:pt x="2071243" y="1146286"/>
                </a:lnTo>
                <a:lnTo>
                  <a:pt x="2071792" y="1146396"/>
                </a:lnTo>
                <a:cubicBezTo>
                  <a:pt x="2079759" y="1146613"/>
                  <a:pt x="2087175" y="1146940"/>
                  <a:pt x="2090197" y="1155004"/>
                </a:cubicBezTo>
                <a:lnTo>
                  <a:pt x="2078385" y="1157183"/>
                </a:lnTo>
                <a:lnTo>
                  <a:pt x="2078110" y="1158056"/>
                </a:lnTo>
                <a:lnTo>
                  <a:pt x="2083329" y="1156748"/>
                </a:lnTo>
                <a:cubicBezTo>
                  <a:pt x="2085527" y="1156748"/>
                  <a:pt x="2087999" y="1157293"/>
                  <a:pt x="2088823" y="1158601"/>
                </a:cubicBezTo>
                <a:cubicBezTo>
                  <a:pt x="2086351" y="1160452"/>
                  <a:pt x="2084428" y="1160889"/>
                  <a:pt x="2082505" y="1161434"/>
                </a:cubicBezTo>
                <a:cubicBezTo>
                  <a:pt x="2081407" y="1162305"/>
                  <a:pt x="2080308" y="1162524"/>
                  <a:pt x="2079484" y="1162088"/>
                </a:cubicBezTo>
                <a:lnTo>
                  <a:pt x="2078110" y="1159908"/>
                </a:lnTo>
                <a:lnTo>
                  <a:pt x="2078110" y="1160562"/>
                </a:lnTo>
                <a:cubicBezTo>
                  <a:pt x="2077561" y="1162959"/>
                  <a:pt x="2076187" y="1165793"/>
                  <a:pt x="2073990" y="1168953"/>
                </a:cubicBezTo>
                <a:cubicBezTo>
                  <a:pt x="2071792" y="1165139"/>
                  <a:pt x="2068496" y="1162088"/>
                  <a:pt x="2065200" y="1159363"/>
                </a:cubicBezTo>
                <a:lnTo>
                  <a:pt x="2064101" y="1158491"/>
                </a:lnTo>
                <a:lnTo>
                  <a:pt x="2057783" y="1158056"/>
                </a:lnTo>
                <a:lnTo>
                  <a:pt x="2055860" y="1157293"/>
                </a:lnTo>
                <a:lnTo>
                  <a:pt x="2053113" y="1159363"/>
                </a:lnTo>
                <a:cubicBezTo>
                  <a:pt x="2051739" y="1160017"/>
                  <a:pt x="2050091" y="1160235"/>
                  <a:pt x="2048718" y="1159799"/>
                </a:cubicBezTo>
                <a:lnTo>
                  <a:pt x="2044597" y="1158491"/>
                </a:lnTo>
                <a:lnTo>
                  <a:pt x="2047345" y="1164703"/>
                </a:lnTo>
                <a:lnTo>
                  <a:pt x="2034983" y="1160235"/>
                </a:lnTo>
                <a:lnTo>
                  <a:pt x="2034434" y="1164049"/>
                </a:lnTo>
                <a:cubicBezTo>
                  <a:pt x="2033610" y="1167754"/>
                  <a:pt x="2032511" y="1171350"/>
                  <a:pt x="2031412" y="1173748"/>
                </a:cubicBezTo>
                <a:lnTo>
                  <a:pt x="2030863" y="1174184"/>
                </a:lnTo>
                <a:lnTo>
                  <a:pt x="2031412" y="1174510"/>
                </a:lnTo>
                <a:lnTo>
                  <a:pt x="2030589" y="1174619"/>
                </a:lnTo>
                <a:lnTo>
                  <a:pt x="2028665" y="1176690"/>
                </a:lnTo>
                <a:cubicBezTo>
                  <a:pt x="2027841" y="1175382"/>
                  <a:pt x="2027017" y="1174074"/>
                  <a:pt x="2027292" y="1172113"/>
                </a:cubicBezTo>
                <a:cubicBezTo>
                  <a:pt x="2027566" y="1170042"/>
                  <a:pt x="2028390" y="1171350"/>
                  <a:pt x="2027566" y="1170042"/>
                </a:cubicBezTo>
                <a:cubicBezTo>
                  <a:pt x="2027841" y="1167972"/>
                  <a:pt x="2026742" y="1168735"/>
                  <a:pt x="2026742" y="1168735"/>
                </a:cubicBezTo>
                <a:cubicBezTo>
                  <a:pt x="2026742" y="1168735"/>
                  <a:pt x="2027841" y="1168081"/>
                  <a:pt x="2027841" y="1168081"/>
                </a:cubicBezTo>
                <a:cubicBezTo>
                  <a:pt x="2027841" y="1168081"/>
                  <a:pt x="2027841" y="1167972"/>
                  <a:pt x="2028390" y="1163940"/>
                </a:cubicBezTo>
                <a:lnTo>
                  <a:pt x="2027566" y="1158491"/>
                </a:lnTo>
                <a:lnTo>
                  <a:pt x="2014381" y="1156421"/>
                </a:lnTo>
                <a:cubicBezTo>
                  <a:pt x="2014656" y="1152280"/>
                  <a:pt x="2009437" y="1152607"/>
                  <a:pt x="2010810" y="1147594"/>
                </a:cubicBezTo>
                <a:cubicBezTo>
                  <a:pt x="2013007" y="1145851"/>
                  <a:pt x="2016579" y="1145088"/>
                  <a:pt x="2020150" y="1145088"/>
                </a:cubicBezTo>
                <a:lnTo>
                  <a:pt x="2029214" y="1146940"/>
                </a:lnTo>
                <a:lnTo>
                  <a:pt x="2030314" y="1144325"/>
                </a:lnTo>
                <a:cubicBezTo>
                  <a:pt x="2033335" y="1144107"/>
                  <a:pt x="2033335" y="1144107"/>
                  <a:pt x="2034159" y="1145414"/>
                </a:cubicBezTo>
                <a:cubicBezTo>
                  <a:pt x="2033335" y="1144107"/>
                  <a:pt x="2034434" y="1143453"/>
                  <a:pt x="2034708" y="1141383"/>
                </a:cubicBezTo>
                <a:cubicBezTo>
                  <a:pt x="2034434" y="1137023"/>
                  <a:pt x="2036082" y="1134626"/>
                  <a:pt x="2038829" y="1133428"/>
                </a:cubicBezTo>
                <a:lnTo>
                  <a:pt x="2042126" y="1133318"/>
                </a:lnTo>
                <a:lnTo>
                  <a:pt x="2042675" y="1133100"/>
                </a:lnTo>
                <a:lnTo>
                  <a:pt x="2044048" y="1133209"/>
                </a:lnTo>
                <a:close/>
                <a:moveTo>
                  <a:pt x="1059817" y="1131466"/>
                </a:moveTo>
                <a:lnTo>
                  <a:pt x="1065310" y="1132992"/>
                </a:lnTo>
                <a:cubicBezTo>
                  <a:pt x="1064762" y="1134953"/>
                  <a:pt x="1063113" y="1137786"/>
                  <a:pt x="1061190" y="1137242"/>
                </a:cubicBezTo>
                <a:cubicBezTo>
                  <a:pt x="1059542" y="1137351"/>
                  <a:pt x="1059267" y="1136806"/>
                  <a:pt x="1059542" y="1135716"/>
                </a:cubicBezTo>
                <a:cubicBezTo>
                  <a:pt x="1059542" y="1134626"/>
                  <a:pt x="1059817" y="1133100"/>
                  <a:pt x="1059817" y="1131466"/>
                </a:cubicBezTo>
                <a:close/>
                <a:moveTo>
                  <a:pt x="2238738" y="1129763"/>
                </a:moveTo>
                <a:cubicBezTo>
                  <a:pt x="2241279" y="1129559"/>
                  <a:pt x="2243889" y="1130431"/>
                  <a:pt x="2246498" y="1132120"/>
                </a:cubicBezTo>
                <a:cubicBezTo>
                  <a:pt x="2248421" y="1138222"/>
                  <a:pt x="2244026" y="1143127"/>
                  <a:pt x="2238807" y="1143453"/>
                </a:cubicBezTo>
                <a:cubicBezTo>
                  <a:pt x="2237159" y="1143562"/>
                  <a:pt x="2235510" y="1143235"/>
                  <a:pt x="2233862" y="1142145"/>
                </a:cubicBezTo>
                <a:cubicBezTo>
                  <a:pt x="2233313" y="1140075"/>
                  <a:pt x="2231390" y="1137132"/>
                  <a:pt x="2231390" y="1133863"/>
                </a:cubicBezTo>
                <a:cubicBezTo>
                  <a:pt x="2233724" y="1131248"/>
                  <a:pt x="2236197" y="1129967"/>
                  <a:pt x="2238738" y="1129763"/>
                </a:cubicBezTo>
                <a:close/>
                <a:moveTo>
                  <a:pt x="1644092" y="1128415"/>
                </a:moveTo>
                <a:cubicBezTo>
                  <a:pt x="1644092" y="1128415"/>
                  <a:pt x="1644642" y="1129505"/>
                  <a:pt x="1644092" y="1131357"/>
                </a:cubicBezTo>
                <a:cubicBezTo>
                  <a:pt x="1644092" y="1131357"/>
                  <a:pt x="1643818" y="1131248"/>
                  <a:pt x="1643543" y="1130921"/>
                </a:cubicBezTo>
                <a:cubicBezTo>
                  <a:pt x="1642993" y="1130594"/>
                  <a:pt x="1642719" y="1130049"/>
                  <a:pt x="1642993" y="1129178"/>
                </a:cubicBezTo>
                <a:cubicBezTo>
                  <a:pt x="1642993" y="1129178"/>
                  <a:pt x="1642993" y="1129069"/>
                  <a:pt x="1644092" y="1128415"/>
                </a:cubicBezTo>
                <a:close/>
                <a:moveTo>
                  <a:pt x="1933346" y="1127870"/>
                </a:moveTo>
                <a:cubicBezTo>
                  <a:pt x="1936093" y="1126890"/>
                  <a:pt x="1941861" y="1126453"/>
                  <a:pt x="1944334" y="1129723"/>
                </a:cubicBezTo>
                <a:cubicBezTo>
                  <a:pt x="1944334" y="1129723"/>
                  <a:pt x="1944334" y="1129723"/>
                  <a:pt x="1945433" y="1131357"/>
                </a:cubicBezTo>
                <a:cubicBezTo>
                  <a:pt x="1941312" y="1130594"/>
                  <a:pt x="1935818" y="1129723"/>
                  <a:pt x="1933346" y="1127870"/>
                </a:cubicBezTo>
                <a:close/>
                <a:moveTo>
                  <a:pt x="2192108" y="1126890"/>
                </a:moveTo>
                <a:cubicBezTo>
                  <a:pt x="2193757" y="1127216"/>
                  <a:pt x="2195130" y="1128632"/>
                  <a:pt x="2196504" y="1131466"/>
                </a:cubicBezTo>
                <a:cubicBezTo>
                  <a:pt x="2193757" y="1134517"/>
                  <a:pt x="2184417" y="1141383"/>
                  <a:pt x="2178099" y="1141928"/>
                </a:cubicBezTo>
                <a:cubicBezTo>
                  <a:pt x="2175901" y="1142036"/>
                  <a:pt x="2174253" y="1141491"/>
                  <a:pt x="2173155" y="1139857"/>
                </a:cubicBezTo>
                <a:cubicBezTo>
                  <a:pt x="2172606" y="1138876"/>
                  <a:pt x="2172056" y="1137677"/>
                  <a:pt x="2172056" y="1135934"/>
                </a:cubicBezTo>
                <a:cubicBezTo>
                  <a:pt x="2180846" y="1132774"/>
                  <a:pt x="2187164" y="1125582"/>
                  <a:pt x="2192108" y="1126890"/>
                </a:cubicBezTo>
                <a:close/>
                <a:moveTo>
                  <a:pt x="1872089" y="1125908"/>
                </a:moveTo>
                <a:cubicBezTo>
                  <a:pt x="1872089" y="1125908"/>
                  <a:pt x="1874013" y="1126562"/>
                  <a:pt x="1875386" y="1125908"/>
                </a:cubicBezTo>
                <a:cubicBezTo>
                  <a:pt x="1875386" y="1125908"/>
                  <a:pt x="1877034" y="1126671"/>
                  <a:pt x="1878957" y="1127325"/>
                </a:cubicBezTo>
                <a:cubicBezTo>
                  <a:pt x="1878957" y="1127325"/>
                  <a:pt x="1880330" y="1126562"/>
                  <a:pt x="1881429" y="1125908"/>
                </a:cubicBezTo>
                <a:cubicBezTo>
                  <a:pt x="1886373" y="1126562"/>
                  <a:pt x="1889670" y="1126562"/>
                  <a:pt x="1890219" y="1132447"/>
                </a:cubicBezTo>
                <a:cubicBezTo>
                  <a:pt x="1888845" y="1133100"/>
                  <a:pt x="1885275" y="1131793"/>
                  <a:pt x="1883626" y="1131139"/>
                </a:cubicBezTo>
                <a:cubicBezTo>
                  <a:pt x="1882253" y="1131793"/>
                  <a:pt x="1880330" y="1131030"/>
                  <a:pt x="1879781" y="1129831"/>
                </a:cubicBezTo>
                <a:cubicBezTo>
                  <a:pt x="1879781" y="1129831"/>
                  <a:pt x="1878133" y="1129178"/>
                  <a:pt x="1876759" y="1129831"/>
                </a:cubicBezTo>
                <a:cubicBezTo>
                  <a:pt x="1873188" y="1128524"/>
                  <a:pt x="1872639" y="1127216"/>
                  <a:pt x="1872089" y="1125908"/>
                </a:cubicBezTo>
                <a:close/>
                <a:moveTo>
                  <a:pt x="1614151" y="1125472"/>
                </a:moveTo>
                <a:cubicBezTo>
                  <a:pt x="1614151" y="1125472"/>
                  <a:pt x="1614151" y="1125582"/>
                  <a:pt x="1613601" y="1127652"/>
                </a:cubicBezTo>
                <a:cubicBezTo>
                  <a:pt x="1606184" y="1128851"/>
                  <a:pt x="1601515" y="1135280"/>
                  <a:pt x="1593274" y="1135280"/>
                </a:cubicBezTo>
                <a:cubicBezTo>
                  <a:pt x="1593823" y="1133209"/>
                  <a:pt x="1596296" y="1128306"/>
                  <a:pt x="1601240" y="1128632"/>
                </a:cubicBezTo>
                <a:cubicBezTo>
                  <a:pt x="1606184" y="1128851"/>
                  <a:pt x="1609206" y="1125255"/>
                  <a:pt x="1614151" y="1125472"/>
                </a:cubicBezTo>
                <a:close/>
                <a:moveTo>
                  <a:pt x="1049653" y="1121332"/>
                </a:moveTo>
                <a:cubicBezTo>
                  <a:pt x="1055422" y="1122748"/>
                  <a:pt x="1058718" y="1125691"/>
                  <a:pt x="1057894" y="1131030"/>
                </a:cubicBezTo>
                <a:cubicBezTo>
                  <a:pt x="1056795" y="1135062"/>
                  <a:pt x="1054872" y="1141055"/>
                  <a:pt x="1049927" y="1140946"/>
                </a:cubicBezTo>
                <a:cubicBezTo>
                  <a:pt x="1049104" y="1139748"/>
                  <a:pt x="1047731" y="1140511"/>
                  <a:pt x="1047181" y="1139312"/>
                </a:cubicBezTo>
                <a:cubicBezTo>
                  <a:pt x="1047181" y="1139312"/>
                  <a:pt x="1046082" y="1138440"/>
                  <a:pt x="1044983" y="1136697"/>
                </a:cubicBezTo>
                <a:cubicBezTo>
                  <a:pt x="1044434" y="1135825"/>
                  <a:pt x="1043884" y="1134626"/>
                  <a:pt x="1043335" y="1133318"/>
                </a:cubicBezTo>
                <a:cubicBezTo>
                  <a:pt x="1043061" y="1131902"/>
                  <a:pt x="1043061" y="1130376"/>
                  <a:pt x="1043335" y="1128632"/>
                </a:cubicBezTo>
                <a:cubicBezTo>
                  <a:pt x="1043884" y="1126562"/>
                  <a:pt x="1046631" y="1121658"/>
                  <a:pt x="1047181" y="1122857"/>
                </a:cubicBezTo>
                <a:cubicBezTo>
                  <a:pt x="1049104" y="1123402"/>
                  <a:pt x="1048279" y="1122203"/>
                  <a:pt x="1049653" y="1121332"/>
                </a:cubicBezTo>
                <a:close/>
                <a:moveTo>
                  <a:pt x="2585540" y="1120664"/>
                </a:moveTo>
                <a:cubicBezTo>
                  <a:pt x="2587257" y="1121059"/>
                  <a:pt x="2589180" y="1121604"/>
                  <a:pt x="2589867" y="1121549"/>
                </a:cubicBezTo>
                <a:cubicBezTo>
                  <a:pt x="2590141" y="1122966"/>
                  <a:pt x="2590141" y="1123075"/>
                  <a:pt x="2588768" y="1123075"/>
                </a:cubicBezTo>
                <a:cubicBezTo>
                  <a:pt x="2588768" y="1123293"/>
                  <a:pt x="2588768" y="1123293"/>
                  <a:pt x="2589042" y="1123402"/>
                </a:cubicBezTo>
                <a:cubicBezTo>
                  <a:pt x="2587944" y="1124164"/>
                  <a:pt x="2587120" y="1124928"/>
                  <a:pt x="2586021" y="1124818"/>
                </a:cubicBezTo>
                <a:cubicBezTo>
                  <a:pt x="2584372" y="1124818"/>
                  <a:pt x="2582999" y="1124164"/>
                  <a:pt x="2581351" y="1123511"/>
                </a:cubicBezTo>
                <a:cubicBezTo>
                  <a:pt x="2581351" y="1122203"/>
                  <a:pt x="2581077" y="1122203"/>
                  <a:pt x="2582450" y="1120678"/>
                </a:cubicBezTo>
                <a:cubicBezTo>
                  <a:pt x="2582313" y="1120024"/>
                  <a:pt x="2583823" y="1120269"/>
                  <a:pt x="2585540" y="1120664"/>
                </a:cubicBezTo>
                <a:close/>
                <a:moveTo>
                  <a:pt x="2254739" y="1119479"/>
                </a:moveTo>
                <a:cubicBezTo>
                  <a:pt x="2259684" y="1120242"/>
                  <a:pt x="2262705" y="1123620"/>
                  <a:pt x="2261606" y="1128960"/>
                </a:cubicBezTo>
                <a:cubicBezTo>
                  <a:pt x="2259409" y="1131575"/>
                  <a:pt x="2256387" y="1131575"/>
                  <a:pt x="2253091" y="1131575"/>
                </a:cubicBezTo>
                <a:cubicBezTo>
                  <a:pt x="2250619" y="1131139"/>
                  <a:pt x="2249520" y="1130159"/>
                  <a:pt x="2248971" y="1128741"/>
                </a:cubicBezTo>
                <a:cubicBezTo>
                  <a:pt x="2248696" y="1127216"/>
                  <a:pt x="2249245" y="1125472"/>
                  <a:pt x="2250069" y="1123402"/>
                </a:cubicBezTo>
                <a:cubicBezTo>
                  <a:pt x="2251443" y="1119479"/>
                  <a:pt x="2254739" y="1119479"/>
                  <a:pt x="2254739" y="1119479"/>
                </a:cubicBezTo>
                <a:close/>
                <a:moveTo>
                  <a:pt x="6444385" y="1119043"/>
                </a:moveTo>
                <a:cubicBezTo>
                  <a:pt x="6454824" y="1119370"/>
                  <a:pt x="6471305" y="1130268"/>
                  <a:pt x="6465262" y="1142799"/>
                </a:cubicBezTo>
                <a:cubicBezTo>
                  <a:pt x="6458395" y="1135389"/>
                  <a:pt x="6449055" y="1128632"/>
                  <a:pt x="6444385" y="1119043"/>
                </a:cubicBezTo>
                <a:close/>
                <a:moveTo>
                  <a:pt x="1231226" y="1115011"/>
                </a:moveTo>
                <a:cubicBezTo>
                  <a:pt x="1237269" y="1116319"/>
                  <a:pt x="1237544" y="1120133"/>
                  <a:pt x="1237819" y="1121985"/>
                </a:cubicBezTo>
                <a:cubicBezTo>
                  <a:pt x="1237819" y="1121985"/>
                  <a:pt x="1246059" y="1142363"/>
                  <a:pt x="1247982" y="1144107"/>
                </a:cubicBezTo>
                <a:cubicBezTo>
                  <a:pt x="1248532" y="1147921"/>
                  <a:pt x="1248532" y="1149774"/>
                  <a:pt x="1246884" y="1153697"/>
                </a:cubicBezTo>
                <a:cubicBezTo>
                  <a:pt x="1236994" y="1152715"/>
                  <a:pt x="1230127" y="1124710"/>
                  <a:pt x="1229578" y="1118934"/>
                </a:cubicBezTo>
                <a:cubicBezTo>
                  <a:pt x="1229578" y="1118934"/>
                  <a:pt x="1229303" y="1115229"/>
                  <a:pt x="1231226" y="1115011"/>
                </a:cubicBezTo>
                <a:close/>
                <a:moveTo>
                  <a:pt x="1799020" y="1114466"/>
                </a:moveTo>
                <a:cubicBezTo>
                  <a:pt x="1799020" y="1114466"/>
                  <a:pt x="1800119" y="1114466"/>
                  <a:pt x="1801493" y="1115883"/>
                </a:cubicBezTo>
                <a:cubicBezTo>
                  <a:pt x="1801493" y="1115883"/>
                  <a:pt x="1801218" y="1116210"/>
                  <a:pt x="1800668" y="1116319"/>
                </a:cubicBezTo>
                <a:cubicBezTo>
                  <a:pt x="1800394" y="1116537"/>
                  <a:pt x="1799570" y="1116537"/>
                  <a:pt x="1799020" y="1115774"/>
                </a:cubicBezTo>
                <a:cubicBezTo>
                  <a:pt x="1799020" y="1115774"/>
                  <a:pt x="1799020" y="1115774"/>
                  <a:pt x="1799020" y="1114466"/>
                </a:cubicBezTo>
                <a:close/>
                <a:moveTo>
                  <a:pt x="1221337" y="1114466"/>
                </a:moveTo>
                <a:cubicBezTo>
                  <a:pt x="1221337" y="1116427"/>
                  <a:pt x="1223810" y="1118062"/>
                  <a:pt x="1224084" y="1119915"/>
                </a:cubicBezTo>
                <a:cubicBezTo>
                  <a:pt x="1221887" y="1120133"/>
                  <a:pt x="1222162" y="1122094"/>
                  <a:pt x="1219963" y="1122203"/>
                </a:cubicBezTo>
                <a:cubicBezTo>
                  <a:pt x="1217492" y="1120569"/>
                  <a:pt x="1217492" y="1120678"/>
                  <a:pt x="1217492" y="1118716"/>
                </a:cubicBezTo>
                <a:cubicBezTo>
                  <a:pt x="1216942" y="1115011"/>
                  <a:pt x="1219140" y="1116537"/>
                  <a:pt x="1221337" y="1114466"/>
                </a:cubicBezTo>
                <a:close/>
                <a:moveTo>
                  <a:pt x="1817425" y="1113594"/>
                </a:moveTo>
                <a:cubicBezTo>
                  <a:pt x="1818249" y="1114902"/>
                  <a:pt x="1819898" y="1115338"/>
                  <a:pt x="1821271" y="1114575"/>
                </a:cubicBezTo>
                <a:cubicBezTo>
                  <a:pt x="1823194" y="1115011"/>
                  <a:pt x="1825117" y="1115556"/>
                  <a:pt x="1824568" y="1114248"/>
                </a:cubicBezTo>
                <a:cubicBezTo>
                  <a:pt x="1830336" y="1115665"/>
                  <a:pt x="1831434" y="1114793"/>
                  <a:pt x="1832259" y="1119370"/>
                </a:cubicBezTo>
                <a:cubicBezTo>
                  <a:pt x="1821546" y="1124492"/>
                  <a:pt x="1807261" y="1126562"/>
                  <a:pt x="1804240" y="1126890"/>
                </a:cubicBezTo>
                <a:cubicBezTo>
                  <a:pt x="1802592" y="1126998"/>
                  <a:pt x="1801767" y="1126780"/>
                  <a:pt x="1800943" y="1126017"/>
                </a:cubicBezTo>
                <a:lnTo>
                  <a:pt x="1800943" y="1125908"/>
                </a:lnTo>
                <a:lnTo>
                  <a:pt x="1800394" y="1129069"/>
                </a:lnTo>
                <a:cubicBezTo>
                  <a:pt x="1800394" y="1129069"/>
                  <a:pt x="1794625" y="1131575"/>
                  <a:pt x="1794625" y="1131575"/>
                </a:cubicBezTo>
                <a:cubicBezTo>
                  <a:pt x="1792428" y="1129831"/>
                  <a:pt x="1792428" y="1129723"/>
                  <a:pt x="1794625" y="1129614"/>
                </a:cubicBezTo>
                <a:cubicBezTo>
                  <a:pt x="1792154" y="1125908"/>
                  <a:pt x="1791879" y="1123947"/>
                  <a:pt x="1791604" y="1121985"/>
                </a:cubicBezTo>
                <a:cubicBezTo>
                  <a:pt x="1792428" y="1121004"/>
                  <a:pt x="1794076" y="1120351"/>
                  <a:pt x="1795724" y="1120133"/>
                </a:cubicBezTo>
                <a:lnTo>
                  <a:pt x="1801493" y="1120895"/>
                </a:lnTo>
                <a:lnTo>
                  <a:pt x="1803416" y="1118607"/>
                </a:lnTo>
                <a:cubicBezTo>
                  <a:pt x="1806986" y="1115774"/>
                  <a:pt x="1812206" y="1115665"/>
                  <a:pt x="1817425" y="1113594"/>
                </a:cubicBezTo>
                <a:close/>
                <a:moveTo>
                  <a:pt x="1585033" y="1113486"/>
                </a:moveTo>
                <a:cubicBezTo>
                  <a:pt x="1587231" y="1111960"/>
                  <a:pt x="1590802" y="1114031"/>
                  <a:pt x="1591626" y="1116755"/>
                </a:cubicBezTo>
                <a:lnTo>
                  <a:pt x="1590527" y="1120460"/>
                </a:lnTo>
                <a:lnTo>
                  <a:pt x="1593274" y="1120133"/>
                </a:lnTo>
                <a:cubicBezTo>
                  <a:pt x="1592725" y="1122203"/>
                  <a:pt x="1591077" y="1128306"/>
                  <a:pt x="1591077" y="1128306"/>
                </a:cubicBezTo>
                <a:cubicBezTo>
                  <a:pt x="1591626" y="1129505"/>
                  <a:pt x="1591626" y="1129505"/>
                  <a:pt x="1591077" y="1131575"/>
                </a:cubicBezTo>
                <a:cubicBezTo>
                  <a:pt x="1589153" y="1131030"/>
                  <a:pt x="1589153" y="1131030"/>
                  <a:pt x="1588330" y="1129831"/>
                </a:cubicBezTo>
                <a:cubicBezTo>
                  <a:pt x="1589153" y="1127761"/>
                  <a:pt x="1590252" y="1126998"/>
                  <a:pt x="1590802" y="1124928"/>
                </a:cubicBezTo>
                <a:cubicBezTo>
                  <a:pt x="1586956" y="1124056"/>
                  <a:pt x="1587780" y="1125255"/>
                  <a:pt x="1588330" y="1123184"/>
                </a:cubicBezTo>
                <a:cubicBezTo>
                  <a:pt x="1588330" y="1123184"/>
                  <a:pt x="1588330" y="1123293"/>
                  <a:pt x="1588878" y="1121223"/>
                </a:cubicBezTo>
                <a:lnTo>
                  <a:pt x="1589153" y="1120787"/>
                </a:lnTo>
                <a:lnTo>
                  <a:pt x="1588878" y="1120678"/>
                </a:lnTo>
                <a:lnTo>
                  <a:pt x="1588878" y="1121223"/>
                </a:lnTo>
                <a:lnTo>
                  <a:pt x="1575969" y="1128087"/>
                </a:lnTo>
                <a:lnTo>
                  <a:pt x="1575969" y="1129831"/>
                </a:lnTo>
                <a:cubicBezTo>
                  <a:pt x="1576792" y="1128524"/>
                  <a:pt x="1577067" y="1130594"/>
                  <a:pt x="1577067" y="1130594"/>
                </a:cubicBezTo>
                <a:cubicBezTo>
                  <a:pt x="1577067" y="1130594"/>
                  <a:pt x="1577342" y="1130594"/>
                  <a:pt x="1581187" y="1129505"/>
                </a:cubicBezTo>
                <a:cubicBezTo>
                  <a:pt x="1581187" y="1129505"/>
                  <a:pt x="1590252" y="1128087"/>
                  <a:pt x="1592725" y="1136915"/>
                </a:cubicBezTo>
                <a:cubicBezTo>
                  <a:pt x="1591901" y="1137132"/>
                  <a:pt x="1591626" y="1138985"/>
                  <a:pt x="1591626" y="1141383"/>
                </a:cubicBezTo>
                <a:lnTo>
                  <a:pt x="1591191" y="1143623"/>
                </a:lnTo>
                <a:lnTo>
                  <a:pt x="1591077" y="1143671"/>
                </a:lnTo>
                <a:lnTo>
                  <a:pt x="1590802" y="1145633"/>
                </a:lnTo>
                <a:lnTo>
                  <a:pt x="1591191" y="1143623"/>
                </a:lnTo>
                <a:lnTo>
                  <a:pt x="1597670" y="1140946"/>
                </a:lnTo>
                <a:cubicBezTo>
                  <a:pt x="1601790" y="1146286"/>
                  <a:pt x="1599866" y="1151299"/>
                  <a:pt x="1594922" y="1152280"/>
                </a:cubicBezTo>
                <a:lnTo>
                  <a:pt x="1589153" y="1151844"/>
                </a:lnTo>
                <a:lnTo>
                  <a:pt x="1589153" y="1151953"/>
                </a:lnTo>
                <a:cubicBezTo>
                  <a:pt x="1588878" y="1154677"/>
                  <a:pt x="1588604" y="1156966"/>
                  <a:pt x="1588330" y="1158273"/>
                </a:cubicBezTo>
                <a:cubicBezTo>
                  <a:pt x="1586956" y="1159145"/>
                  <a:pt x="1587231" y="1159036"/>
                  <a:pt x="1587231" y="1159036"/>
                </a:cubicBezTo>
                <a:cubicBezTo>
                  <a:pt x="1585583" y="1159254"/>
                  <a:pt x="1584758" y="1158491"/>
                  <a:pt x="1584483" y="1156966"/>
                </a:cubicBezTo>
                <a:lnTo>
                  <a:pt x="1584483" y="1154677"/>
                </a:lnTo>
                <a:lnTo>
                  <a:pt x="1579539" y="1157402"/>
                </a:lnTo>
                <a:cubicBezTo>
                  <a:pt x="1575969" y="1155222"/>
                  <a:pt x="1569926" y="1156966"/>
                  <a:pt x="1566354" y="1147376"/>
                </a:cubicBezTo>
                <a:cubicBezTo>
                  <a:pt x="1563607" y="1136478"/>
                  <a:pt x="1574320" y="1132338"/>
                  <a:pt x="1573221" y="1131684"/>
                </a:cubicBezTo>
                <a:lnTo>
                  <a:pt x="1572947" y="1130485"/>
                </a:lnTo>
                <a:lnTo>
                  <a:pt x="1571573" y="1131575"/>
                </a:lnTo>
                <a:cubicBezTo>
                  <a:pt x="1570749" y="1132338"/>
                  <a:pt x="1570200" y="1132883"/>
                  <a:pt x="1570200" y="1132883"/>
                </a:cubicBezTo>
                <a:cubicBezTo>
                  <a:pt x="1567178" y="1133100"/>
                  <a:pt x="1566354" y="1131902"/>
                  <a:pt x="1567178" y="1133209"/>
                </a:cubicBezTo>
                <a:cubicBezTo>
                  <a:pt x="1563332" y="1132229"/>
                  <a:pt x="1558388" y="1132120"/>
                  <a:pt x="1558388" y="1128851"/>
                </a:cubicBezTo>
                <a:cubicBezTo>
                  <a:pt x="1560036" y="1120242"/>
                  <a:pt x="1571024" y="1118934"/>
                  <a:pt x="1578440" y="1118280"/>
                </a:cubicBezTo>
                <a:lnTo>
                  <a:pt x="1583385" y="1117845"/>
                </a:lnTo>
                <a:close/>
                <a:moveTo>
                  <a:pt x="964497" y="1112396"/>
                </a:moveTo>
                <a:cubicBezTo>
                  <a:pt x="973013" y="1105312"/>
                  <a:pt x="1000757" y="1113812"/>
                  <a:pt x="1000757" y="1129505"/>
                </a:cubicBezTo>
                <a:cubicBezTo>
                  <a:pt x="990868" y="1125908"/>
                  <a:pt x="982078" y="1121440"/>
                  <a:pt x="967794" y="1121332"/>
                </a:cubicBezTo>
                <a:cubicBezTo>
                  <a:pt x="968068" y="1117191"/>
                  <a:pt x="963124" y="1117409"/>
                  <a:pt x="964497" y="1112396"/>
                </a:cubicBezTo>
                <a:close/>
                <a:moveTo>
                  <a:pt x="2162716" y="1112178"/>
                </a:moveTo>
                <a:cubicBezTo>
                  <a:pt x="2165188" y="1111633"/>
                  <a:pt x="2167936" y="1112287"/>
                  <a:pt x="2171232" y="1115120"/>
                </a:cubicBezTo>
                <a:cubicBezTo>
                  <a:pt x="2172606" y="1122203"/>
                  <a:pt x="2165738" y="1125582"/>
                  <a:pt x="2163815" y="1130703"/>
                </a:cubicBezTo>
                <a:cubicBezTo>
                  <a:pt x="2160794" y="1129831"/>
                  <a:pt x="2158870" y="1128415"/>
                  <a:pt x="2157772" y="1126671"/>
                </a:cubicBezTo>
                <a:cubicBezTo>
                  <a:pt x="2153926" y="1121332"/>
                  <a:pt x="2156948" y="1113486"/>
                  <a:pt x="2162716" y="1112178"/>
                </a:cubicBezTo>
                <a:close/>
                <a:moveTo>
                  <a:pt x="1784462" y="1108146"/>
                </a:moveTo>
                <a:cubicBezTo>
                  <a:pt x="1785835" y="1108255"/>
                  <a:pt x="1786110" y="1113922"/>
                  <a:pt x="1784736" y="1115338"/>
                </a:cubicBezTo>
                <a:cubicBezTo>
                  <a:pt x="1781989" y="1118171"/>
                  <a:pt x="1780616" y="1119479"/>
                  <a:pt x="1777869" y="1119370"/>
                </a:cubicBezTo>
                <a:cubicBezTo>
                  <a:pt x="1776496" y="1120787"/>
                  <a:pt x="1775122" y="1122203"/>
                  <a:pt x="1773749" y="1122857"/>
                </a:cubicBezTo>
                <a:cubicBezTo>
                  <a:pt x="1772924" y="1123184"/>
                  <a:pt x="1772375" y="1123402"/>
                  <a:pt x="1771551" y="1123184"/>
                </a:cubicBezTo>
                <a:cubicBezTo>
                  <a:pt x="1771002" y="1123075"/>
                  <a:pt x="1770178" y="1122639"/>
                  <a:pt x="1769353" y="1121877"/>
                </a:cubicBezTo>
                <a:cubicBezTo>
                  <a:pt x="1770727" y="1117626"/>
                  <a:pt x="1772101" y="1114793"/>
                  <a:pt x="1774572" y="1110543"/>
                </a:cubicBezTo>
                <a:cubicBezTo>
                  <a:pt x="1774572" y="1110543"/>
                  <a:pt x="1780066" y="1105095"/>
                  <a:pt x="1784462" y="1108146"/>
                </a:cubicBezTo>
                <a:close/>
                <a:moveTo>
                  <a:pt x="1635577" y="1105640"/>
                </a:moveTo>
                <a:cubicBezTo>
                  <a:pt x="1635577" y="1105640"/>
                  <a:pt x="1642993" y="1107492"/>
                  <a:pt x="1642445" y="1112723"/>
                </a:cubicBezTo>
                <a:cubicBezTo>
                  <a:pt x="1643268" y="1114031"/>
                  <a:pt x="1638323" y="1117191"/>
                  <a:pt x="1636401" y="1116646"/>
                </a:cubicBezTo>
                <a:cubicBezTo>
                  <a:pt x="1632555" y="1115665"/>
                  <a:pt x="1630632" y="1115229"/>
                  <a:pt x="1629259" y="1112723"/>
                </a:cubicBezTo>
                <a:cubicBezTo>
                  <a:pt x="1627336" y="1112287"/>
                  <a:pt x="1625688" y="1111742"/>
                  <a:pt x="1624315" y="1110870"/>
                </a:cubicBezTo>
                <a:cubicBezTo>
                  <a:pt x="1622941" y="1109998"/>
                  <a:pt x="1622392" y="1108800"/>
                  <a:pt x="1622941" y="1106839"/>
                </a:cubicBezTo>
                <a:cubicBezTo>
                  <a:pt x="1627336" y="1105749"/>
                  <a:pt x="1630632" y="1105421"/>
                  <a:pt x="1635577" y="1105640"/>
                </a:cubicBezTo>
                <a:close/>
                <a:moveTo>
                  <a:pt x="2078110" y="1104113"/>
                </a:moveTo>
                <a:cubicBezTo>
                  <a:pt x="2079484" y="1103678"/>
                  <a:pt x="2080857" y="1104005"/>
                  <a:pt x="2082231" y="1105421"/>
                </a:cubicBezTo>
                <a:cubicBezTo>
                  <a:pt x="2081407" y="1108581"/>
                  <a:pt x="2080308" y="1110434"/>
                  <a:pt x="2078110" y="1114031"/>
                </a:cubicBezTo>
                <a:cubicBezTo>
                  <a:pt x="2076737" y="1113703"/>
                  <a:pt x="2075638" y="1112941"/>
                  <a:pt x="2075089" y="1111960"/>
                </a:cubicBezTo>
                <a:cubicBezTo>
                  <a:pt x="2073440" y="1109235"/>
                  <a:pt x="2075364" y="1104986"/>
                  <a:pt x="2078110" y="1104113"/>
                </a:cubicBezTo>
                <a:close/>
                <a:moveTo>
                  <a:pt x="2412139" y="1103351"/>
                </a:moveTo>
                <a:cubicBezTo>
                  <a:pt x="2414611" y="1105095"/>
                  <a:pt x="2417633" y="1103787"/>
                  <a:pt x="2419830" y="1108473"/>
                </a:cubicBezTo>
                <a:cubicBezTo>
                  <a:pt x="2416535" y="1111197"/>
                  <a:pt x="2413513" y="1112396"/>
                  <a:pt x="2410216" y="1115120"/>
                </a:cubicBezTo>
                <a:cubicBezTo>
                  <a:pt x="2409117" y="1114248"/>
                  <a:pt x="2408293" y="1113377"/>
                  <a:pt x="2408019" y="1112396"/>
                </a:cubicBezTo>
                <a:cubicBezTo>
                  <a:pt x="2407195" y="1109563"/>
                  <a:pt x="2409667" y="1106402"/>
                  <a:pt x="2412139" y="1103351"/>
                </a:cubicBezTo>
                <a:close/>
                <a:moveTo>
                  <a:pt x="1361706" y="1103351"/>
                </a:moveTo>
                <a:cubicBezTo>
                  <a:pt x="1372969" y="1099973"/>
                  <a:pt x="1394120" y="1117735"/>
                  <a:pt x="1386429" y="1132011"/>
                </a:cubicBezTo>
                <a:cubicBezTo>
                  <a:pt x="1379287" y="1125146"/>
                  <a:pt x="1373244" y="1117954"/>
                  <a:pt x="1360607" y="1112723"/>
                </a:cubicBezTo>
                <a:cubicBezTo>
                  <a:pt x="1362806" y="1109018"/>
                  <a:pt x="1357861" y="1107383"/>
                  <a:pt x="1361706" y="1103351"/>
                </a:cubicBezTo>
                <a:close/>
                <a:moveTo>
                  <a:pt x="2008338" y="1099101"/>
                </a:moveTo>
                <a:cubicBezTo>
                  <a:pt x="2011085" y="1100518"/>
                  <a:pt x="2013282" y="1103896"/>
                  <a:pt x="2013832" y="1109563"/>
                </a:cubicBezTo>
                <a:cubicBezTo>
                  <a:pt x="2004218" y="1113049"/>
                  <a:pt x="2001745" y="1120242"/>
                  <a:pt x="1992955" y="1119152"/>
                </a:cubicBezTo>
                <a:cubicBezTo>
                  <a:pt x="1985538" y="1106620"/>
                  <a:pt x="1999822" y="1094633"/>
                  <a:pt x="2008338" y="1099101"/>
                </a:cubicBezTo>
                <a:close/>
                <a:moveTo>
                  <a:pt x="1000757" y="1098338"/>
                </a:moveTo>
                <a:cubicBezTo>
                  <a:pt x="1000482" y="1100300"/>
                  <a:pt x="1000482" y="1102261"/>
                  <a:pt x="1000208" y="1104332"/>
                </a:cubicBezTo>
                <a:cubicBezTo>
                  <a:pt x="996362" y="1103678"/>
                  <a:pt x="992516" y="1103242"/>
                  <a:pt x="992791" y="1099210"/>
                </a:cubicBezTo>
                <a:cubicBezTo>
                  <a:pt x="995812" y="1098556"/>
                  <a:pt x="995812" y="1096595"/>
                  <a:pt x="1000757" y="1098338"/>
                </a:cubicBezTo>
                <a:close/>
                <a:moveTo>
                  <a:pt x="2525039" y="1098011"/>
                </a:moveTo>
                <a:cubicBezTo>
                  <a:pt x="2528610" y="1095832"/>
                  <a:pt x="2535752" y="1097903"/>
                  <a:pt x="2548388" y="1108800"/>
                </a:cubicBezTo>
                <a:cubicBezTo>
                  <a:pt x="2545916" y="1118716"/>
                  <a:pt x="2542619" y="1123511"/>
                  <a:pt x="2539323" y="1124818"/>
                </a:cubicBezTo>
                <a:lnTo>
                  <a:pt x="2535752" y="1124928"/>
                </a:lnTo>
                <a:lnTo>
                  <a:pt x="2537675" y="1127979"/>
                </a:lnTo>
                <a:cubicBezTo>
                  <a:pt x="2538224" y="1129940"/>
                  <a:pt x="2538224" y="1133537"/>
                  <a:pt x="2537400" y="1137023"/>
                </a:cubicBezTo>
                <a:cubicBezTo>
                  <a:pt x="2536576" y="1140401"/>
                  <a:pt x="2534927" y="1143671"/>
                  <a:pt x="2533005" y="1144869"/>
                </a:cubicBezTo>
                <a:cubicBezTo>
                  <a:pt x="2531082" y="1142145"/>
                  <a:pt x="2529159" y="1139530"/>
                  <a:pt x="2527236" y="1136806"/>
                </a:cubicBezTo>
                <a:cubicBezTo>
                  <a:pt x="2528335" y="1137460"/>
                  <a:pt x="2531357" y="1124383"/>
                  <a:pt x="2531357" y="1124383"/>
                </a:cubicBezTo>
                <a:lnTo>
                  <a:pt x="2534104" y="1124056"/>
                </a:lnTo>
                <a:lnTo>
                  <a:pt x="2529983" y="1121114"/>
                </a:lnTo>
                <a:lnTo>
                  <a:pt x="2525589" y="1122966"/>
                </a:lnTo>
                <a:cubicBezTo>
                  <a:pt x="2523940" y="1123293"/>
                  <a:pt x="2522566" y="1122966"/>
                  <a:pt x="2520369" y="1121877"/>
                </a:cubicBezTo>
                <a:cubicBezTo>
                  <a:pt x="2522017" y="1120678"/>
                  <a:pt x="2523665" y="1119915"/>
                  <a:pt x="2525314" y="1119588"/>
                </a:cubicBezTo>
                <a:lnTo>
                  <a:pt x="2528884" y="1120351"/>
                </a:lnTo>
                <a:lnTo>
                  <a:pt x="2523116" y="1107710"/>
                </a:lnTo>
                <a:cubicBezTo>
                  <a:pt x="2522292" y="1103351"/>
                  <a:pt x="2522566" y="1099537"/>
                  <a:pt x="2525039" y="1098011"/>
                </a:cubicBezTo>
                <a:close/>
                <a:moveTo>
                  <a:pt x="1641346" y="1097903"/>
                </a:moveTo>
                <a:cubicBezTo>
                  <a:pt x="1641346" y="1097903"/>
                  <a:pt x="1643543" y="1097684"/>
                  <a:pt x="1647663" y="1101063"/>
                </a:cubicBezTo>
                <a:cubicBezTo>
                  <a:pt x="1645741" y="1101281"/>
                  <a:pt x="1646015" y="1103242"/>
                  <a:pt x="1646015" y="1103242"/>
                </a:cubicBezTo>
                <a:cubicBezTo>
                  <a:pt x="1646015" y="1103242"/>
                  <a:pt x="1646015" y="1103242"/>
                  <a:pt x="1647938" y="1103024"/>
                </a:cubicBezTo>
                <a:cubicBezTo>
                  <a:pt x="1647115" y="1104005"/>
                  <a:pt x="1646290" y="1104113"/>
                  <a:pt x="1645467" y="1104005"/>
                </a:cubicBezTo>
                <a:cubicBezTo>
                  <a:pt x="1644642" y="1103787"/>
                  <a:pt x="1644092" y="1103351"/>
                  <a:pt x="1644092" y="1103351"/>
                </a:cubicBezTo>
                <a:cubicBezTo>
                  <a:pt x="1641895" y="1101607"/>
                  <a:pt x="1639698" y="1099973"/>
                  <a:pt x="1641346" y="1097903"/>
                </a:cubicBezTo>
                <a:close/>
                <a:moveTo>
                  <a:pt x="1192219" y="1094633"/>
                </a:moveTo>
                <a:cubicBezTo>
                  <a:pt x="1194967" y="1094415"/>
                  <a:pt x="1197439" y="1095178"/>
                  <a:pt x="1199911" y="1096921"/>
                </a:cubicBezTo>
                <a:lnTo>
                  <a:pt x="1199362" y="1101717"/>
                </a:lnTo>
                <a:lnTo>
                  <a:pt x="1205680" y="1104113"/>
                </a:lnTo>
                <a:cubicBezTo>
                  <a:pt x="1216942" y="1114357"/>
                  <a:pt x="1200186" y="1129286"/>
                  <a:pt x="1185627" y="1130921"/>
                </a:cubicBezTo>
                <a:cubicBezTo>
                  <a:pt x="1174090" y="1132229"/>
                  <a:pt x="1163926" y="1125037"/>
                  <a:pt x="1171068" y="1100300"/>
                </a:cubicBezTo>
                <a:cubicBezTo>
                  <a:pt x="1171892" y="1099537"/>
                  <a:pt x="1172991" y="1099101"/>
                  <a:pt x="1174090" y="1098992"/>
                </a:cubicBezTo>
                <a:cubicBezTo>
                  <a:pt x="1177661" y="1098448"/>
                  <a:pt x="1182330" y="1099646"/>
                  <a:pt x="1184253" y="1096050"/>
                </a:cubicBezTo>
                <a:lnTo>
                  <a:pt x="1187549" y="1097249"/>
                </a:lnTo>
                <a:close/>
                <a:moveTo>
                  <a:pt x="1940214" y="1094197"/>
                </a:moveTo>
                <a:cubicBezTo>
                  <a:pt x="1943235" y="1096921"/>
                  <a:pt x="1945433" y="1101281"/>
                  <a:pt x="1944060" y="1102806"/>
                </a:cubicBezTo>
                <a:cubicBezTo>
                  <a:pt x="1942411" y="1105095"/>
                  <a:pt x="1940488" y="1107383"/>
                  <a:pt x="1937741" y="1106620"/>
                </a:cubicBezTo>
                <a:cubicBezTo>
                  <a:pt x="1936917" y="1106402"/>
                  <a:pt x="1935818" y="1105749"/>
                  <a:pt x="1934445" y="1104767"/>
                </a:cubicBezTo>
                <a:cubicBezTo>
                  <a:pt x="1934445" y="1104767"/>
                  <a:pt x="1934445" y="1104767"/>
                  <a:pt x="1934445" y="1103351"/>
                </a:cubicBezTo>
                <a:cubicBezTo>
                  <a:pt x="1933896" y="1100409"/>
                  <a:pt x="1933896" y="1098992"/>
                  <a:pt x="1933621" y="1097575"/>
                </a:cubicBezTo>
                <a:cubicBezTo>
                  <a:pt x="1934720" y="1096050"/>
                  <a:pt x="1938566" y="1092781"/>
                  <a:pt x="1940214" y="1094197"/>
                </a:cubicBezTo>
                <a:close/>
                <a:moveTo>
                  <a:pt x="2270122" y="1091582"/>
                </a:moveTo>
                <a:cubicBezTo>
                  <a:pt x="2270122" y="1090274"/>
                  <a:pt x="2271770" y="1090383"/>
                  <a:pt x="2271496" y="1091691"/>
                </a:cubicBezTo>
                <a:cubicBezTo>
                  <a:pt x="2274517" y="1093435"/>
                  <a:pt x="2271496" y="1095941"/>
                  <a:pt x="2270122" y="1097140"/>
                </a:cubicBezTo>
                <a:cubicBezTo>
                  <a:pt x="2270122" y="1092998"/>
                  <a:pt x="2268748" y="1091473"/>
                  <a:pt x="2270122" y="1091582"/>
                </a:cubicBezTo>
                <a:close/>
                <a:moveTo>
                  <a:pt x="1362806" y="1090165"/>
                </a:moveTo>
                <a:cubicBezTo>
                  <a:pt x="1363080" y="1094415"/>
                  <a:pt x="1364454" y="1095832"/>
                  <a:pt x="1363080" y="1095832"/>
                </a:cubicBezTo>
                <a:cubicBezTo>
                  <a:pt x="1363080" y="1096486"/>
                  <a:pt x="1362806" y="1096813"/>
                  <a:pt x="1362531" y="1096813"/>
                </a:cubicBezTo>
                <a:cubicBezTo>
                  <a:pt x="1361981" y="1096704"/>
                  <a:pt x="1361706" y="1096376"/>
                  <a:pt x="1361706" y="1095722"/>
                </a:cubicBezTo>
                <a:cubicBezTo>
                  <a:pt x="1358685" y="1094197"/>
                  <a:pt x="1361431" y="1091582"/>
                  <a:pt x="1362806" y="1090165"/>
                </a:cubicBezTo>
                <a:close/>
                <a:moveTo>
                  <a:pt x="6548494" y="1089075"/>
                </a:moveTo>
                <a:cubicBezTo>
                  <a:pt x="6549868" y="1090601"/>
                  <a:pt x="6552890" y="1092236"/>
                  <a:pt x="6554538" y="1095287"/>
                </a:cubicBezTo>
                <a:cubicBezTo>
                  <a:pt x="6553439" y="1102479"/>
                  <a:pt x="6549044" y="1105203"/>
                  <a:pt x="6543275" y="1104986"/>
                </a:cubicBezTo>
                <a:cubicBezTo>
                  <a:pt x="6537232" y="1098883"/>
                  <a:pt x="6541078" y="1088749"/>
                  <a:pt x="6548494" y="1089075"/>
                </a:cubicBezTo>
                <a:close/>
                <a:moveTo>
                  <a:pt x="2487681" y="1087114"/>
                </a:moveTo>
                <a:cubicBezTo>
                  <a:pt x="2488779" y="1086788"/>
                  <a:pt x="2490427" y="1087114"/>
                  <a:pt x="2492075" y="1088530"/>
                </a:cubicBezTo>
                <a:cubicBezTo>
                  <a:pt x="2491526" y="1091691"/>
                  <a:pt x="2490702" y="1093543"/>
                  <a:pt x="2489054" y="1097140"/>
                </a:cubicBezTo>
                <a:cubicBezTo>
                  <a:pt x="2482736" y="1095287"/>
                  <a:pt x="2483835" y="1088095"/>
                  <a:pt x="2487681" y="1087114"/>
                </a:cubicBezTo>
                <a:close/>
                <a:moveTo>
                  <a:pt x="1631731" y="1084935"/>
                </a:moveTo>
                <a:cubicBezTo>
                  <a:pt x="1635852" y="1086569"/>
                  <a:pt x="1642719" y="1093871"/>
                  <a:pt x="1641071" y="1098011"/>
                </a:cubicBezTo>
                <a:cubicBezTo>
                  <a:pt x="1636950" y="1096376"/>
                  <a:pt x="1634754" y="1094633"/>
                  <a:pt x="1632830" y="1092781"/>
                </a:cubicBezTo>
                <a:cubicBezTo>
                  <a:pt x="1628710" y="1091255"/>
                  <a:pt x="1628435" y="1089293"/>
                  <a:pt x="1631731" y="1084935"/>
                </a:cubicBezTo>
                <a:close/>
                <a:moveTo>
                  <a:pt x="2136105" y="1084839"/>
                </a:moveTo>
                <a:cubicBezTo>
                  <a:pt x="2140397" y="1084417"/>
                  <a:pt x="2145273" y="1086297"/>
                  <a:pt x="2150630" y="1092345"/>
                </a:cubicBezTo>
                <a:cubicBezTo>
                  <a:pt x="2153377" y="1094306"/>
                  <a:pt x="2152003" y="1094088"/>
                  <a:pt x="2153102" y="1095832"/>
                </a:cubicBezTo>
                <a:lnTo>
                  <a:pt x="2153926" y="1096376"/>
                </a:lnTo>
                <a:lnTo>
                  <a:pt x="2154475" y="1094197"/>
                </a:lnTo>
                <a:cubicBezTo>
                  <a:pt x="2155025" y="1093543"/>
                  <a:pt x="2155849" y="1093543"/>
                  <a:pt x="2156673" y="1093871"/>
                </a:cubicBezTo>
                <a:cubicBezTo>
                  <a:pt x="2156673" y="1093871"/>
                  <a:pt x="2158596" y="1094306"/>
                  <a:pt x="2160519" y="1094851"/>
                </a:cubicBezTo>
                <a:cubicBezTo>
                  <a:pt x="2162442" y="1095287"/>
                  <a:pt x="2163815" y="1094633"/>
                  <a:pt x="2163815" y="1094633"/>
                </a:cubicBezTo>
                <a:cubicBezTo>
                  <a:pt x="2165738" y="1095069"/>
                  <a:pt x="2166288" y="1096376"/>
                  <a:pt x="2165738" y="1098448"/>
                </a:cubicBezTo>
                <a:cubicBezTo>
                  <a:pt x="2165738" y="1098448"/>
                  <a:pt x="2162716" y="1098774"/>
                  <a:pt x="2162716" y="1098774"/>
                </a:cubicBezTo>
                <a:cubicBezTo>
                  <a:pt x="2160794" y="1098229"/>
                  <a:pt x="2159145" y="1097903"/>
                  <a:pt x="2157772" y="1097684"/>
                </a:cubicBezTo>
                <a:lnTo>
                  <a:pt x="2155575" y="1097575"/>
                </a:lnTo>
                <a:lnTo>
                  <a:pt x="2158596" y="1099755"/>
                </a:lnTo>
                <a:cubicBezTo>
                  <a:pt x="2157497" y="1101063"/>
                  <a:pt x="2156948" y="1102152"/>
                  <a:pt x="2156399" y="1103351"/>
                </a:cubicBezTo>
                <a:lnTo>
                  <a:pt x="2155849" y="1106839"/>
                </a:lnTo>
                <a:lnTo>
                  <a:pt x="2158321" y="1109235"/>
                </a:lnTo>
                <a:cubicBezTo>
                  <a:pt x="2157223" y="1109998"/>
                  <a:pt x="2155025" y="1112832"/>
                  <a:pt x="2154475" y="1111633"/>
                </a:cubicBezTo>
                <a:lnTo>
                  <a:pt x="2153926" y="1111524"/>
                </a:lnTo>
                <a:lnTo>
                  <a:pt x="2150355" y="1116101"/>
                </a:lnTo>
                <a:cubicBezTo>
                  <a:pt x="2145960" y="1121332"/>
                  <a:pt x="2141290" y="1122748"/>
                  <a:pt x="2136895" y="1122203"/>
                </a:cubicBezTo>
                <a:lnTo>
                  <a:pt x="2132225" y="1120678"/>
                </a:lnTo>
                <a:lnTo>
                  <a:pt x="2136071" y="1123729"/>
                </a:lnTo>
                <a:cubicBezTo>
                  <a:pt x="2132225" y="1133863"/>
                  <a:pt x="2128105" y="1138659"/>
                  <a:pt x="2124534" y="1140184"/>
                </a:cubicBezTo>
                <a:cubicBezTo>
                  <a:pt x="2120962" y="1141600"/>
                  <a:pt x="2117667" y="1139748"/>
                  <a:pt x="2115194" y="1136370"/>
                </a:cubicBezTo>
                <a:cubicBezTo>
                  <a:pt x="2110249" y="1129614"/>
                  <a:pt x="2108601" y="1117081"/>
                  <a:pt x="2114095" y="1113703"/>
                </a:cubicBezTo>
                <a:cubicBezTo>
                  <a:pt x="2116018" y="1112614"/>
                  <a:pt x="2118765" y="1112504"/>
                  <a:pt x="2122336" y="1114031"/>
                </a:cubicBezTo>
                <a:lnTo>
                  <a:pt x="2125907" y="1116101"/>
                </a:lnTo>
                <a:lnTo>
                  <a:pt x="2123710" y="1111088"/>
                </a:lnTo>
                <a:cubicBezTo>
                  <a:pt x="2122061" y="1108036"/>
                  <a:pt x="2120413" y="1104223"/>
                  <a:pt x="2120962" y="1099973"/>
                </a:cubicBezTo>
                <a:cubicBezTo>
                  <a:pt x="2121237" y="1097140"/>
                  <a:pt x="2122336" y="1094088"/>
                  <a:pt x="2125083" y="1091146"/>
                </a:cubicBezTo>
                <a:cubicBezTo>
                  <a:pt x="2128104" y="1087986"/>
                  <a:pt x="2131813" y="1085262"/>
                  <a:pt x="2136105" y="1084839"/>
                </a:cubicBezTo>
                <a:close/>
                <a:moveTo>
                  <a:pt x="1208152" y="1084281"/>
                </a:moveTo>
                <a:cubicBezTo>
                  <a:pt x="1213097" y="1085044"/>
                  <a:pt x="1216119" y="1088530"/>
                  <a:pt x="1215019" y="1093871"/>
                </a:cubicBezTo>
                <a:cubicBezTo>
                  <a:pt x="1212822" y="1096486"/>
                  <a:pt x="1209800" y="1096376"/>
                  <a:pt x="1206779" y="1096376"/>
                </a:cubicBezTo>
                <a:cubicBezTo>
                  <a:pt x="1204306" y="1095941"/>
                  <a:pt x="1202932" y="1094960"/>
                  <a:pt x="1202658" y="1093543"/>
                </a:cubicBezTo>
                <a:cubicBezTo>
                  <a:pt x="1202383" y="1092018"/>
                  <a:pt x="1202658" y="1090274"/>
                  <a:pt x="1203482" y="1088204"/>
                </a:cubicBezTo>
                <a:cubicBezTo>
                  <a:pt x="1205131" y="1084281"/>
                  <a:pt x="1208152" y="1084281"/>
                  <a:pt x="1208152" y="1084281"/>
                </a:cubicBezTo>
                <a:close/>
                <a:moveTo>
                  <a:pt x="2294295" y="1083300"/>
                </a:moveTo>
                <a:cubicBezTo>
                  <a:pt x="2300613" y="1081557"/>
                  <a:pt x="2308305" y="1081557"/>
                  <a:pt x="2317644" y="1084499"/>
                </a:cubicBezTo>
                <a:cubicBezTo>
                  <a:pt x="2338246" y="1091473"/>
                  <a:pt x="2358025" y="1105531"/>
                  <a:pt x="2343740" y="1136915"/>
                </a:cubicBezTo>
                <a:cubicBezTo>
                  <a:pt x="2342641" y="1143998"/>
                  <a:pt x="2341543" y="1140946"/>
                  <a:pt x="2339345" y="1144979"/>
                </a:cubicBezTo>
                <a:cubicBezTo>
                  <a:pt x="2337148" y="1149011"/>
                  <a:pt x="2336049" y="1156094"/>
                  <a:pt x="2337148" y="1159036"/>
                </a:cubicBezTo>
                <a:cubicBezTo>
                  <a:pt x="2324787" y="1155331"/>
                  <a:pt x="2319842" y="1160780"/>
                  <a:pt x="2307481" y="1159799"/>
                </a:cubicBezTo>
                <a:cubicBezTo>
                  <a:pt x="2303360" y="1159581"/>
                  <a:pt x="2298690" y="1158491"/>
                  <a:pt x="2292373" y="1156203"/>
                </a:cubicBezTo>
                <a:cubicBezTo>
                  <a:pt x="2259684" y="1146286"/>
                  <a:pt x="2258585" y="1123075"/>
                  <a:pt x="2264079" y="1107928"/>
                </a:cubicBezTo>
                <a:cubicBezTo>
                  <a:pt x="2267375" y="1109454"/>
                  <a:pt x="2275067" y="1088749"/>
                  <a:pt x="2294295" y="1083300"/>
                </a:cubicBezTo>
                <a:close/>
                <a:moveTo>
                  <a:pt x="6483117" y="1082755"/>
                </a:moveTo>
                <a:cubicBezTo>
                  <a:pt x="6491084" y="1079377"/>
                  <a:pt x="6504269" y="1090165"/>
                  <a:pt x="6496578" y="1100409"/>
                </a:cubicBezTo>
                <a:cubicBezTo>
                  <a:pt x="6495204" y="1100736"/>
                  <a:pt x="6493556" y="1100627"/>
                  <a:pt x="6491633" y="1100190"/>
                </a:cubicBezTo>
                <a:cubicBezTo>
                  <a:pt x="6486414" y="1098774"/>
                  <a:pt x="6479821" y="1094525"/>
                  <a:pt x="6477623" y="1091473"/>
                </a:cubicBezTo>
                <a:cubicBezTo>
                  <a:pt x="6478173" y="1086678"/>
                  <a:pt x="6480370" y="1083954"/>
                  <a:pt x="6483117" y="1082755"/>
                </a:cubicBezTo>
                <a:close/>
                <a:moveTo>
                  <a:pt x="1998174" y="1081447"/>
                </a:moveTo>
                <a:cubicBezTo>
                  <a:pt x="1997075" y="1087550"/>
                  <a:pt x="1991856" y="1089293"/>
                  <a:pt x="1989659" y="1096159"/>
                </a:cubicBezTo>
                <a:cubicBezTo>
                  <a:pt x="1984714" y="1095832"/>
                  <a:pt x="1981418" y="1103351"/>
                  <a:pt x="1974275" y="1102588"/>
                </a:cubicBezTo>
                <a:cubicBezTo>
                  <a:pt x="1973726" y="1091909"/>
                  <a:pt x="1992131" y="1079922"/>
                  <a:pt x="1998174" y="1081447"/>
                </a:cubicBezTo>
                <a:close/>
                <a:moveTo>
                  <a:pt x="2437136" y="1080139"/>
                </a:moveTo>
                <a:cubicBezTo>
                  <a:pt x="2445652" y="1076435"/>
                  <a:pt x="2457189" y="1086896"/>
                  <a:pt x="2448124" y="1097466"/>
                </a:cubicBezTo>
                <a:cubicBezTo>
                  <a:pt x="2442630" y="1099101"/>
                  <a:pt x="2432467" y="1092998"/>
                  <a:pt x="2430269" y="1089075"/>
                </a:cubicBezTo>
                <a:cubicBezTo>
                  <a:pt x="2431642" y="1084281"/>
                  <a:pt x="2434115" y="1081338"/>
                  <a:pt x="2437136" y="1080139"/>
                </a:cubicBezTo>
                <a:close/>
                <a:moveTo>
                  <a:pt x="2384395" y="1079486"/>
                </a:moveTo>
                <a:cubicBezTo>
                  <a:pt x="2392086" y="1087550"/>
                  <a:pt x="2394834" y="1097358"/>
                  <a:pt x="2393734" y="1107165"/>
                </a:cubicBezTo>
                <a:cubicBezTo>
                  <a:pt x="2393185" y="1115338"/>
                  <a:pt x="2389889" y="1123402"/>
                  <a:pt x="2384670" y="1130159"/>
                </a:cubicBezTo>
                <a:lnTo>
                  <a:pt x="2379176" y="1135280"/>
                </a:lnTo>
                <a:lnTo>
                  <a:pt x="2383571" y="1138659"/>
                </a:lnTo>
                <a:cubicBezTo>
                  <a:pt x="2383571" y="1142581"/>
                  <a:pt x="2381373" y="1146177"/>
                  <a:pt x="2378077" y="1149011"/>
                </a:cubicBezTo>
                <a:lnTo>
                  <a:pt x="2376429" y="1149991"/>
                </a:lnTo>
                <a:lnTo>
                  <a:pt x="2375879" y="1154677"/>
                </a:lnTo>
                <a:cubicBezTo>
                  <a:pt x="2374232" y="1160017"/>
                  <a:pt x="2372033" y="1164158"/>
                  <a:pt x="2367364" y="1165574"/>
                </a:cubicBezTo>
                <a:cubicBezTo>
                  <a:pt x="2365716" y="1164158"/>
                  <a:pt x="2364617" y="1162305"/>
                  <a:pt x="2364342" y="1160235"/>
                </a:cubicBezTo>
                <a:lnTo>
                  <a:pt x="2364617" y="1155222"/>
                </a:lnTo>
                <a:lnTo>
                  <a:pt x="2363793" y="1155222"/>
                </a:lnTo>
                <a:lnTo>
                  <a:pt x="2364068" y="1161542"/>
                </a:lnTo>
                <a:cubicBezTo>
                  <a:pt x="2363244" y="1161216"/>
                  <a:pt x="2362694" y="1160562"/>
                  <a:pt x="2362694" y="1159690"/>
                </a:cubicBezTo>
                <a:cubicBezTo>
                  <a:pt x="2362420" y="1158927"/>
                  <a:pt x="2362694" y="1157947"/>
                  <a:pt x="2362694" y="1156857"/>
                </a:cubicBezTo>
                <a:lnTo>
                  <a:pt x="2362969" y="1155222"/>
                </a:lnTo>
                <a:lnTo>
                  <a:pt x="2359947" y="1155440"/>
                </a:lnTo>
                <a:cubicBezTo>
                  <a:pt x="2355277" y="1150319"/>
                  <a:pt x="2353629" y="1145523"/>
                  <a:pt x="2353904" y="1141600"/>
                </a:cubicBezTo>
                <a:lnTo>
                  <a:pt x="2356102" y="1137351"/>
                </a:lnTo>
                <a:lnTo>
                  <a:pt x="2355002" y="1135389"/>
                </a:lnTo>
                <a:cubicBezTo>
                  <a:pt x="2347311" y="1114466"/>
                  <a:pt x="2361871" y="1082755"/>
                  <a:pt x="2384395" y="1079486"/>
                </a:cubicBezTo>
                <a:close/>
                <a:moveTo>
                  <a:pt x="1851487" y="1077307"/>
                </a:moveTo>
                <a:cubicBezTo>
                  <a:pt x="1852861" y="1078832"/>
                  <a:pt x="1852861" y="1078941"/>
                  <a:pt x="1851487" y="1078832"/>
                </a:cubicBezTo>
                <a:cubicBezTo>
                  <a:pt x="1850113" y="1081666"/>
                  <a:pt x="1850113" y="1080139"/>
                  <a:pt x="1848740" y="1081557"/>
                </a:cubicBezTo>
                <a:lnTo>
                  <a:pt x="1846817" y="1085806"/>
                </a:lnTo>
                <a:lnTo>
                  <a:pt x="1849564" y="1083954"/>
                </a:lnTo>
                <a:cubicBezTo>
                  <a:pt x="1851487" y="1083845"/>
                  <a:pt x="1853960" y="1089184"/>
                  <a:pt x="1853960" y="1089184"/>
                </a:cubicBezTo>
                <a:cubicBezTo>
                  <a:pt x="1852586" y="1094960"/>
                  <a:pt x="1850663" y="1095069"/>
                  <a:pt x="1847092" y="1097358"/>
                </a:cubicBezTo>
                <a:lnTo>
                  <a:pt x="1844894" y="1092345"/>
                </a:lnTo>
                <a:lnTo>
                  <a:pt x="1843521" y="1093107"/>
                </a:lnTo>
                <a:cubicBezTo>
                  <a:pt x="1842148" y="1091582"/>
                  <a:pt x="1842148" y="1090057"/>
                  <a:pt x="1841873" y="1088530"/>
                </a:cubicBezTo>
                <a:cubicBezTo>
                  <a:pt x="1843247" y="1087223"/>
                  <a:pt x="1844894" y="1087223"/>
                  <a:pt x="1845994" y="1085806"/>
                </a:cubicBezTo>
                <a:cubicBezTo>
                  <a:pt x="1845994" y="1084390"/>
                  <a:pt x="1845994" y="1081447"/>
                  <a:pt x="1847092" y="1080031"/>
                </a:cubicBezTo>
                <a:cubicBezTo>
                  <a:pt x="1848465" y="1078614"/>
                  <a:pt x="1851487" y="1077307"/>
                  <a:pt x="1851487" y="1077307"/>
                </a:cubicBezTo>
                <a:close/>
                <a:moveTo>
                  <a:pt x="2210514" y="1076653"/>
                </a:moveTo>
                <a:cubicBezTo>
                  <a:pt x="2203645" y="1087223"/>
                  <a:pt x="2200075" y="1109454"/>
                  <a:pt x="2189362" y="1109563"/>
                </a:cubicBezTo>
                <a:cubicBezTo>
                  <a:pt x="2185791" y="1109563"/>
                  <a:pt x="2181395" y="1107165"/>
                  <a:pt x="2175627" y="1101063"/>
                </a:cubicBezTo>
                <a:cubicBezTo>
                  <a:pt x="2190735" y="1095722"/>
                  <a:pt x="2196229" y="1074909"/>
                  <a:pt x="2210514" y="1076653"/>
                </a:cubicBezTo>
                <a:close/>
                <a:moveTo>
                  <a:pt x="6410598" y="1075890"/>
                </a:moveTo>
                <a:cubicBezTo>
                  <a:pt x="6414993" y="1079922"/>
                  <a:pt x="6417191" y="1086024"/>
                  <a:pt x="6414993" y="1087986"/>
                </a:cubicBezTo>
                <a:cubicBezTo>
                  <a:pt x="6411696" y="1091037"/>
                  <a:pt x="6408400" y="1094088"/>
                  <a:pt x="6404280" y="1092781"/>
                </a:cubicBezTo>
                <a:cubicBezTo>
                  <a:pt x="6402906" y="1092453"/>
                  <a:pt x="6401258" y="1091473"/>
                  <a:pt x="6399610" y="1089947"/>
                </a:cubicBezTo>
                <a:cubicBezTo>
                  <a:pt x="6399610" y="1089947"/>
                  <a:pt x="6399610" y="1090057"/>
                  <a:pt x="6399610" y="1087986"/>
                </a:cubicBezTo>
                <a:cubicBezTo>
                  <a:pt x="6399610" y="1083954"/>
                  <a:pt x="6399610" y="1081992"/>
                  <a:pt x="6399610" y="1079922"/>
                </a:cubicBezTo>
                <a:cubicBezTo>
                  <a:pt x="6401807" y="1077960"/>
                  <a:pt x="6408400" y="1073820"/>
                  <a:pt x="6410598" y="1075890"/>
                </a:cubicBezTo>
                <a:close/>
                <a:moveTo>
                  <a:pt x="2266826" y="1074691"/>
                </a:moveTo>
                <a:cubicBezTo>
                  <a:pt x="2274792" y="1075781"/>
                  <a:pt x="2270672" y="1082973"/>
                  <a:pt x="2266551" y="1083736"/>
                </a:cubicBezTo>
                <a:cubicBezTo>
                  <a:pt x="2265178" y="1084062"/>
                  <a:pt x="2263529" y="1083627"/>
                  <a:pt x="2262430" y="1081992"/>
                </a:cubicBezTo>
                <a:cubicBezTo>
                  <a:pt x="2263529" y="1080139"/>
                  <a:pt x="2264354" y="1076979"/>
                  <a:pt x="2266826" y="1074691"/>
                </a:cubicBezTo>
                <a:close/>
                <a:moveTo>
                  <a:pt x="6173261" y="1074146"/>
                </a:moveTo>
                <a:cubicBezTo>
                  <a:pt x="6171888" y="1075563"/>
                  <a:pt x="6171888" y="1076761"/>
                  <a:pt x="6171888" y="1078178"/>
                </a:cubicBezTo>
                <a:cubicBezTo>
                  <a:pt x="6171888" y="1078178"/>
                  <a:pt x="6171888" y="1078178"/>
                  <a:pt x="6170515" y="1078178"/>
                </a:cubicBezTo>
                <a:cubicBezTo>
                  <a:pt x="6171888" y="1080903"/>
                  <a:pt x="6173261" y="1082320"/>
                  <a:pt x="6174910" y="1083627"/>
                </a:cubicBezTo>
                <a:cubicBezTo>
                  <a:pt x="6174910" y="1085044"/>
                  <a:pt x="6174910" y="1086460"/>
                  <a:pt x="6174910" y="1087768"/>
                </a:cubicBezTo>
                <a:cubicBezTo>
                  <a:pt x="6173261" y="1087768"/>
                  <a:pt x="6173536" y="1089184"/>
                  <a:pt x="6171888" y="1087768"/>
                </a:cubicBezTo>
                <a:cubicBezTo>
                  <a:pt x="6173536" y="1091909"/>
                  <a:pt x="6171888" y="1096050"/>
                  <a:pt x="6171888" y="1097466"/>
                </a:cubicBezTo>
                <a:cubicBezTo>
                  <a:pt x="6171888" y="1097466"/>
                  <a:pt x="6171888" y="1097466"/>
                  <a:pt x="6170515" y="1097466"/>
                </a:cubicBezTo>
                <a:cubicBezTo>
                  <a:pt x="6171888" y="1100190"/>
                  <a:pt x="6173261" y="1101498"/>
                  <a:pt x="6173261" y="1102915"/>
                </a:cubicBezTo>
                <a:cubicBezTo>
                  <a:pt x="6174910" y="1104223"/>
                  <a:pt x="6174910" y="1104223"/>
                  <a:pt x="6176283" y="1104223"/>
                </a:cubicBezTo>
                <a:cubicBezTo>
                  <a:pt x="6176283" y="1104223"/>
                  <a:pt x="6176283" y="1102915"/>
                  <a:pt x="6176283" y="1102915"/>
                </a:cubicBezTo>
                <a:cubicBezTo>
                  <a:pt x="6174910" y="1101498"/>
                  <a:pt x="6176283" y="1100190"/>
                  <a:pt x="6177657" y="1100190"/>
                </a:cubicBezTo>
                <a:cubicBezTo>
                  <a:pt x="6179030" y="1098774"/>
                  <a:pt x="6180404" y="1100190"/>
                  <a:pt x="6180404" y="1102915"/>
                </a:cubicBezTo>
                <a:cubicBezTo>
                  <a:pt x="6180404" y="1102915"/>
                  <a:pt x="6180404" y="1104223"/>
                  <a:pt x="6180404" y="1105640"/>
                </a:cubicBezTo>
                <a:cubicBezTo>
                  <a:pt x="6180404" y="1105640"/>
                  <a:pt x="6180404" y="1105640"/>
                  <a:pt x="6182052" y="1105640"/>
                </a:cubicBezTo>
                <a:cubicBezTo>
                  <a:pt x="6182052" y="1105640"/>
                  <a:pt x="6181777" y="1105640"/>
                  <a:pt x="6183425" y="1111088"/>
                </a:cubicBezTo>
                <a:cubicBezTo>
                  <a:pt x="6183425" y="1111088"/>
                  <a:pt x="6183425" y="1111088"/>
                  <a:pt x="6182052" y="1111088"/>
                </a:cubicBezTo>
                <a:lnTo>
                  <a:pt x="6182601" y="1112723"/>
                </a:lnTo>
                <a:lnTo>
                  <a:pt x="6186996" y="1116210"/>
                </a:lnTo>
                <a:cubicBezTo>
                  <a:pt x="6185898" y="1121223"/>
                  <a:pt x="6184249" y="1124818"/>
                  <a:pt x="6182876" y="1127434"/>
                </a:cubicBezTo>
                <a:lnTo>
                  <a:pt x="6182601" y="1127761"/>
                </a:lnTo>
                <a:lnTo>
                  <a:pt x="6185623" y="1135607"/>
                </a:lnTo>
                <a:cubicBezTo>
                  <a:pt x="6188919" y="1144325"/>
                  <a:pt x="6191117" y="1152934"/>
                  <a:pt x="6193314" y="1161870"/>
                </a:cubicBezTo>
                <a:cubicBezTo>
                  <a:pt x="6194962" y="1161870"/>
                  <a:pt x="6194687" y="1161870"/>
                  <a:pt x="6194687" y="1161870"/>
                </a:cubicBezTo>
                <a:cubicBezTo>
                  <a:pt x="6196336" y="1161870"/>
                  <a:pt x="6196336" y="1161760"/>
                  <a:pt x="6197710" y="1160452"/>
                </a:cubicBezTo>
                <a:cubicBezTo>
                  <a:pt x="6197710" y="1159036"/>
                  <a:pt x="6197710" y="1156312"/>
                  <a:pt x="6196336" y="1152171"/>
                </a:cubicBezTo>
                <a:cubicBezTo>
                  <a:pt x="6196336" y="1150864"/>
                  <a:pt x="6196336" y="1149446"/>
                  <a:pt x="6196336" y="1146722"/>
                </a:cubicBezTo>
                <a:cubicBezTo>
                  <a:pt x="6194687" y="1146722"/>
                  <a:pt x="6194687" y="1146722"/>
                  <a:pt x="6194687" y="1145306"/>
                </a:cubicBezTo>
                <a:cubicBezTo>
                  <a:pt x="6194687" y="1145306"/>
                  <a:pt x="6194687" y="1145414"/>
                  <a:pt x="6194687" y="1143998"/>
                </a:cubicBezTo>
                <a:cubicBezTo>
                  <a:pt x="6194687" y="1142581"/>
                  <a:pt x="6193314" y="1142690"/>
                  <a:pt x="6193314" y="1141274"/>
                </a:cubicBezTo>
                <a:cubicBezTo>
                  <a:pt x="6191941" y="1141274"/>
                  <a:pt x="6191941" y="1141165"/>
                  <a:pt x="6191941" y="1139857"/>
                </a:cubicBezTo>
                <a:cubicBezTo>
                  <a:pt x="6191941" y="1138440"/>
                  <a:pt x="6193314" y="1138550"/>
                  <a:pt x="6193314" y="1138550"/>
                </a:cubicBezTo>
                <a:cubicBezTo>
                  <a:pt x="6194962" y="1139857"/>
                  <a:pt x="6196336" y="1141165"/>
                  <a:pt x="6196336" y="1142581"/>
                </a:cubicBezTo>
                <a:cubicBezTo>
                  <a:pt x="6196336" y="1142581"/>
                  <a:pt x="6196336" y="1142581"/>
                  <a:pt x="6197710" y="1142581"/>
                </a:cubicBezTo>
                <a:cubicBezTo>
                  <a:pt x="6199083" y="1142581"/>
                  <a:pt x="6199083" y="1143998"/>
                  <a:pt x="6200731" y="1143998"/>
                </a:cubicBezTo>
                <a:cubicBezTo>
                  <a:pt x="6202105" y="1145414"/>
                  <a:pt x="6202105" y="1145306"/>
                  <a:pt x="6202105" y="1145306"/>
                </a:cubicBezTo>
                <a:cubicBezTo>
                  <a:pt x="6203478" y="1146722"/>
                  <a:pt x="6203478" y="1148139"/>
                  <a:pt x="6203478" y="1149446"/>
                </a:cubicBezTo>
                <a:cubicBezTo>
                  <a:pt x="6203478" y="1149446"/>
                  <a:pt x="6203478" y="1150864"/>
                  <a:pt x="6202105" y="1150864"/>
                </a:cubicBezTo>
                <a:cubicBezTo>
                  <a:pt x="6203478" y="1153588"/>
                  <a:pt x="6204851" y="1156312"/>
                  <a:pt x="6204851" y="1160452"/>
                </a:cubicBezTo>
                <a:cubicBezTo>
                  <a:pt x="6207874" y="1165902"/>
                  <a:pt x="6209247" y="1171350"/>
                  <a:pt x="6209247" y="1178216"/>
                </a:cubicBezTo>
                <a:cubicBezTo>
                  <a:pt x="6207874" y="1179632"/>
                  <a:pt x="6207599" y="1179632"/>
                  <a:pt x="6206224" y="1179632"/>
                </a:cubicBezTo>
                <a:cubicBezTo>
                  <a:pt x="6206224" y="1178324"/>
                  <a:pt x="6206224" y="1178216"/>
                  <a:pt x="6206224" y="1178216"/>
                </a:cubicBezTo>
                <a:cubicBezTo>
                  <a:pt x="6206224" y="1178216"/>
                  <a:pt x="6206224" y="1176908"/>
                  <a:pt x="6206224" y="1176908"/>
                </a:cubicBezTo>
                <a:cubicBezTo>
                  <a:pt x="6206224" y="1171459"/>
                  <a:pt x="6204851" y="1167318"/>
                  <a:pt x="6203478" y="1161870"/>
                </a:cubicBezTo>
                <a:cubicBezTo>
                  <a:pt x="6202105" y="1157728"/>
                  <a:pt x="6200731" y="1153588"/>
                  <a:pt x="6199083" y="1149446"/>
                </a:cubicBezTo>
                <a:cubicBezTo>
                  <a:pt x="6199083" y="1149446"/>
                  <a:pt x="6199083" y="1148139"/>
                  <a:pt x="6197710" y="1148139"/>
                </a:cubicBezTo>
                <a:cubicBezTo>
                  <a:pt x="6197710" y="1149556"/>
                  <a:pt x="6199083" y="1150864"/>
                  <a:pt x="6199083" y="1152171"/>
                </a:cubicBezTo>
                <a:cubicBezTo>
                  <a:pt x="6199083" y="1156312"/>
                  <a:pt x="6200731" y="1160344"/>
                  <a:pt x="6199083" y="1163178"/>
                </a:cubicBezTo>
                <a:cubicBezTo>
                  <a:pt x="6197710" y="1164485"/>
                  <a:pt x="6196336" y="1164594"/>
                  <a:pt x="6194687" y="1164594"/>
                </a:cubicBezTo>
                <a:cubicBezTo>
                  <a:pt x="6196336" y="1167318"/>
                  <a:pt x="6196336" y="1168626"/>
                  <a:pt x="6196336" y="1170042"/>
                </a:cubicBezTo>
                <a:cubicBezTo>
                  <a:pt x="6197710" y="1175491"/>
                  <a:pt x="6199083" y="1179523"/>
                  <a:pt x="6199083" y="1183664"/>
                </a:cubicBezTo>
                <a:cubicBezTo>
                  <a:pt x="6199083" y="1183664"/>
                  <a:pt x="6199083" y="1183773"/>
                  <a:pt x="6199083" y="1185080"/>
                </a:cubicBezTo>
                <a:cubicBezTo>
                  <a:pt x="6200731" y="1186498"/>
                  <a:pt x="6203478" y="1186498"/>
                  <a:pt x="6206224" y="1185080"/>
                </a:cubicBezTo>
                <a:cubicBezTo>
                  <a:pt x="6206224" y="1191946"/>
                  <a:pt x="6203478" y="1196087"/>
                  <a:pt x="6202105" y="1198812"/>
                </a:cubicBezTo>
                <a:cubicBezTo>
                  <a:pt x="6202105" y="1201536"/>
                  <a:pt x="6203478" y="1205676"/>
                  <a:pt x="6206224" y="1209818"/>
                </a:cubicBezTo>
                <a:cubicBezTo>
                  <a:pt x="6209247" y="1217990"/>
                  <a:pt x="6211993" y="1226272"/>
                  <a:pt x="6211993" y="1235862"/>
                </a:cubicBezTo>
                <a:lnTo>
                  <a:pt x="6212268" y="1236734"/>
                </a:lnTo>
                <a:lnTo>
                  <a:pt x="6214741" y="1232484"/>
                </a:lnTo>
                <a:cubicBezTo>
                  <a:pt x="6216388" y="1230740"/>
                  <a:pt x="6218312" y="1229869"/>
                  <a:pt x="6220234" y="1229542"/>
                </a:cubicBezTo>
                <a:lnTo>
                  <a:pt x="6221333" y="1229759"/>
                </a:lnTo>
                <a:lnTo>
                  <a:pt x="6220509" y="1227689"/>
                </a:lnTo>
                <a:cubicBezTo>
                  <a:pt x="6227651" y="1224856"/>
                  <a:pt x="6230673" y="1226272"/>
                  <a:pt x="6236441" y="1230413"/>
                </a:cubicBezTo>
                <a:cubicBezTo>
                  <a:pt x="6237815" y="1224856"/>
                  <a:pt x="6235068" y="1217990"/>
                  <a:pt x="6233694" y="1211126"/>
                </a:cubicBezTo>
                <a:cubicBezTo>
                  <a:pt x="6232321" y="1205676"/>
                  <a:pt x="6230673" y="1200119"/>
                  <a:pt x="6232046" y="1196087"/>
                </a:cubicBezTo>
                <a:cubicBezTo>
                  <a:pt x="6232046" y="1196087"/>
                  <a:pt x="6230673" y="1194779"/>
                  <a:pt x="6229299" y="1194779"/>
                </a:cubicBezTo>
                <a:cubicBezTo>
                  <a:pt x="6226278" y="1196087"/>
                  <a:pt x="6227925" y="1197504"/>
                  <a:pt x="6223531" y="1200228"/>
                </a:cubicBezTo>
                <a:cubicBezTo>
                  <a:pt x="6223531" y="1191946"/>
                  <a:pt x="6219136" y="1191946"/>
                  <a:pt x="6216388" y="1187805"/>
                </a:cubicBezTo>
                <a:cubicBezTo>
                  <a:pt x="6217762" y="1178216"/>
                  <a:pt x="6220784" y="1176908"/>
                  <a:pt x="6223531" y="1171459"/>
                </a:cubicBezTo>
                <a:cubicBezTo>
                  <a:pt x="6223531" y="1166010"/>
                  <a:pt x="6220509" y="1165902"/>
                  <a:pt x="6219136" y="1161870"/>
                </a:cubicBezTo>
                <a:cubicBezTo>
                  <a:pt x="6217762" y="1160452"/>
                  <a:pt x="6217762" y="1160452"/>
                  <a:pt x="6216388" y="1160452"/>
                </a:cubicBezTo>
                <a:cubicBezTo>
                  <a:pt x="6216388" y="1160452"/>
                  <a:pt x="6216388" y="1160452"/>
                  <a:pt x="6216388" y="1159036"/>
                </a:cubicBezTo>
                <a:cubicBezTo>
                  <a:pt x="6216388" y="1157728"/>
                  <a:pt x="6216388" y="1157620"/>
                  <a:pt x="6217762" y="1157620"/>
                </a:cubicBezTo>
                <a:cubicBezTo>
                  <a:pt x="6217762" y="1157620"/>
                  <a:pt x="6219136" y="1159036"/>
                  <a:pt x="6220509" y="1159036"/>
                </a:cubicBezTo>
                <a:cubicBezTo>
                  <a:pt x="6223531" y="1152280"/>
                  <a:pt x="6219136" y="1143998"/>
                  <a:pt x="6215015" y="1137132"/>
                </a:cubicBezTo>
                <a:cubicBezTo>
                  <a:pt x="6213367" y="1132992"/>
                  <a:pt x="6211719" y="1129286"/>
                  <a:pt x="6210620" y="1125472"/>
                </a:cubicBezTo>
                <a:lnTo>
                  <a:pt x="6210620" y="1120678"/>
                </a:lnTo>
                <a:lnTo>
                  <a:pt x="6209247" y="1119697"/>
                </a:lnTo>
                <a:lnTo>
                  <a:pt x="6208972" y="1119370"/>
                </a:lnTo>
                <a:lnTo>
                  <a:pt x="6206224" y="1127434"/>
                </a:lnTo>
                <a:cubicBezTo>
                  <a:pt x="6201830" y="1124274"/>
                  <a:pt x="6197710" y="1125472"/>
                  <a:pt x="6191941" y="1119370"/>
                </a:cubicBezTo>
                <a:lnTo>
                  <a:pt x="6191941" y="1119261"/>
                </a:lnTo>
                <a:lnTo>
                  <a:pt x="6187821" y="1116537"/>
                </a:lnTo>
                <a:cubicBezTo>
                  <a:pt x="6184798" y="1102806"/>
                  <a:pt x="6179030" y="1087877"/>
                  <a:pt x="6173261" y="1074146"/>
                </a:cubicBezTo>
                <a:close/>
                <a:moveTo>
                  <a:pt x="2030863" y="1072947"/>
                </a:moveTo>
                <a:cubicBezTo>
                  <a:pt x="2031962" y="1074582"/>
                  <a:pt x="2031962" y="1074582"/>
                  <a:pt x="2031687" y="1078832"/>
                </a:cubicBezTo>
                <a:cubicBezTo>
                  <a:pt x="2030314" y="1077198"/>
                  <a:pt x="2030314" y="1077198"/>
                  <a:pt x="2028940" y="1078397"/>
                </a:cubicBezTo>
                <a:lnTo>
                  <a:pt x="2028940" y="1078614"/>
                </a:lnTo>
                <a:lnTo>
                  <a:pt x="2041576" y="1083518"/>
                </a:lnTo>
                <a:cubicBezTo>
                  <a:pt x="2047070" y="1086569"/>
                  <a:pt x="2052289" y="1090928"/>
                  <a:pt x="2056409" y="1098120"/>
                </a:cubicBezTo>
                <a:cubicBezTo>
                  <a:pt x="2054487" y="1098992"/>
                  <a:pt x="2052564" y="1099428"/>
                  <a:pt x="2050641" y="1099646"/>
                </a:cubicBezTo>
                <a:cubicBezTo>
                  <a:pt x="2048718" y="1099755"/>
                  <a:pt x="2046795" y="1099537"/>
                  <a:pt x="2045147" y="1099101"/>
                </a:cubicBezTo>
                <a:cubicBezTo>
                  <a:pt x="2034434" y="1096376"/>
                  <a:pt x="2026742" y="1084390"/>
                  <a:pt x="2023720" y="1076544"/>
                </a:cubicBezTo>
                <a:lnTo>
                  <a:pt x="2026468" y="1077524"/>
                </a:lnTo>
                <a:lnTo>
                  <a:pt x="2026468" y="1076544"/>
                </a:lnTo>
                <a:cubicBezTo>
                  <a:pt x="2025644" y="1076435"/>
                  <a:pt x="2025919" y="1076435"/>
                  <a:pt x="2026193" y="1076108"/>
                </a:cubicBezTo>
                <a:cubicBezTo>
                  <a:pt x="2026468" y="1075781"/>
                  <a:pt x="2027292" y="1075236"/>
                  <a:pt x="2027841" y="1073929"/>
                </a:cubicBezTo>
                <a:cubicBezTo>
                  <a:pt x="2029214" y="1072730"/>
                  <a:pt x="2029489" y="1071313"/>
                  <a:pt x="2030863" y="1072947"/>
                </a:cubicBezTo>
                <a:close/>
                <a:moveTo>
                  <a:pt x="2162716" y="1072185"/>
                </a:moveTo>
                <a:cubicBezTo>
                  <a:pt x="2163266" y="1074255"/>
                  <a:pt x="2166562" y="1074474"/>
                  <a:pt x="2167386" y="1076544"/>
                </a:cubicBezTo>
                <a:cubicBezTo>
                  <a:pt x="2167386" y="1076544"/>
                  <a:pt x="2166837" y="1081121"/>
                  <a:pt x="2166837" y="1081121"/>
                </a:cubicBezTo>
                <a:cubicBezTo>
                  <a:pt x="2166013" y="1081447"/>
                  <a:pt x="2165463" y="1081557"/>
                  <a:pt x="2165188" y="1081447"/>
                </a:cubicBezTo>
                <a:cubicBezTo>
                  <a:pt x="2165188" y="1081338"/>
                  <a:pt x="2165188" y="1081012"/>
                  <a:pt x="2165463" y="1080358"/>
                </a:cubicBezTo>
                <a:cubicBezTo>
                  <a:pt x="2162167" y="1080139"/>
                  <a:pt x="2160794" y="1079486"/>
                  <a:pt x="2159420" y="1078723"/>
                </a:cubicBezTo>
                <a:cubicBezTo>
                  <a:pt x="2158870" y="1076653"/>
                  <a:pt x="2159969" y="1074037"/>
                  <a:pt x="2162716" y="1072185"/>
                </a:cubicBezTo>
                <a:close/>
                <a:moveTo>
                  <a:pt x="6311708" y="1071531"/>
                </a:moveTo>
                <a:cubicBezTo>
                  <a:pt x="6319674" y="1072839"/>
                  <a:pt x="6316378" y="1079813"/>
                  <a:pt x="6312257" y="1080467"/>
                </a:cubicBezTo>
                <a:cubicBezTo>
                  <a:pt x="6310884" y="1080684"/>
                  <a:pt x="6309510" y="1080249"/>
                  <a:pt x="6308137" y="1078614"/>
                </a:cubicBezTo>
                <a:cubicBezTo>
                  <a:pt x="6308960" y="1076870"/>
                  <a:pt x="6309510" y="1073710"/>
                  <a:pt x="6311708" y="1071531"/>
                </a:cubicBezTo>
                <a:close/>
                <a:moveTo>
                  <a:pt x="6231771" y="1069678"/>
                </a:moveTo>
                <a:lnTo>
                  <a:pt x="6223806" y="1075999"/>
                </a:lnTo>
                <a:lnTo>
                  <a:pt x="6229299" y="1091909"/>
                </a:lnTo>
                <a:cubicBezTo>
                  <a:pt x="6229299" y="1091909"/>
                  <a:pt x="6229299" y="1091909"/>
                  <a:pt x="6227925" y="1091909"/>
                </a:cubicBezTo>
                <a:cubicBezTo>
                  <a:pt x="6230673" y="1093326"/>
                  <a:pt x="6230673" y="1097466"/>
                  <a:pt x="6232046" y="1100190"/>
                </a:cubicBezTo>
                <a:cubicBezTo>
                  <a:pt x="6232046" y="1100190"/>
                  <a:pt x="6232046" y="1101498"/>
                  <a:pt x="6232046" y="1101498"/>
                </a:cubicBezTo>
                <a:cubicBezTo>
                  <a:pt x="6230673" y="1101498"/>
                  <a:pt x="6230673" y="1101498"/>
                  <a:pt x="6230673" y="1100190"/>
                </a:cubicBezTo>
                <a:cubicBezTo>
                  <a:pt x="6229299" y="1098774"/>
                  <a:pt x="6229299" y="1096050"/>
                  <a:pt x="6227925" y="1093326"/>
                </a:cubicBezTo>
                <a:cubicBezTo>
                  <a:pt x="6224904" y="1093326"/>
                  <a:pt x="6224904" y="1089184"/>
                  <a:pt x="6222157" y="1089184"/>
                </a:cubicBezTo>
                <a:cubicBezTo>
                  <a:pt x="6222157" y="1089184"/>
                  <a:pt x="6220509" y="1089184"/>
                  <a:pt x="6220509" y="1090492"/>
                </a:cubicBezTo>
                <a:cubicBezTo>
                  <a:pt x="6220509" y="1089184"/>
                  <a:pt x="6219136" y="1087768"/>
                  <a:pt x="6219136" y="1087768"/>
                </a:cubicBezTo>
                <a:lnTo>
                  <a:pt x="6219136" y="1087550"/>
                </a:lnTo>
                <a:lnTo>
                  <a:pt x="6218587" y="1090274"/>
                </a:lnTo>
                <a:lnTo>
                  <a:pt x="6213642" y="1105640"/>
                </a:lnTo>
                <a:lnTo>
                  <a:pt x="6216114" y="1105749"/>
                </a:lnTo>
                <a:cubicBezTo>
                  <a:pt x="6217762" y="1106185"/>
                  <a:pt x="6219411" y="1107274"/>
                  <a:pt x="6221058" y="1108690"/>
                </a:cubicBezTo>
                <a:cubicBezTo>
                  <a:pt x="6222432" y="1112287"/>
                  <a:pt x="6221333" y="1114793"/>
                  <a:pt x="6219960" y="1117081"/>
                </a:cubicBezTo>
                <a:lnTo>
                  <a:pt x="6218587" y="1119261"/>
                </a:lnTo>
                <a:lnTo>
                  <a:pt x="6220234" y="1124056"/>
                </a:lnTo>
                <a:cubicBezTo>
                  <a:pt x="6221608" y="1128197"/>
                  <a:pt x="6223531" y="1131684"/>
                  <a:pt x="6227925" y="1131684"/>
                </a:cubicBezTo>
                <a:cubicBezTo>
                  <a:pt x="6226278" y="1127543"/>
                  <a:pt x="6223531" y="1126126"/>
                  <a:pt x="6222157" y="1119261"/>
                </a:cubicBezTo>
                <a:cubicBezTo>
                  <a:pt x="6224355" y="1117191"/>
                  <a:pt x="6226827" y="1117300"/>
                  <a:pt x="6229574" y="1118825"/>
                </a:cubicBezTo>
                <a:lnTo>
                  <a:pt x="6237266" y="1127107"/>
                </a:lnTo>
                <a:lnTo>
                  <a:pt x="6237815" y="1128960"/>
                </a:lnTo>
                <a:cubicBezTo>
                  <a:pt x="6237815" y="1127543"/>
                  <a:pt x="6237815" y="1127652"/>
                  <a:pt x="6237815" y="1127652"/>
                </a:cubicBezTo>
                <a:lnTo>
                  <a:pt x="6237266" y="1127107"/>
                </a:lnTo>
                <a:lnTo>
                  <a:pt x="6235068" y="1117954"/>
                </a:lnTo>
                <a:cubicBezTo>
                  <a:pt x="6235068" y="1117954"/>
                  <a:pt x="6235068" y="1116537"/>
                  <a:pt x="6235068" y="1116537"/>
                </a:cubicBezTo>
                <a:cubicBezTo>
                  <a:pt x="6236441" y="1115229"/>
                  <a:pt x="6237815" y="1116646"/>
                  <a:pt x="6237815" y="1117954"/>
                </a:cubicBezTo>
                <a:cubicBezTo>
                  <a:pt x="6240837" y="1124818"/>
                  <a:pt x="6243583" y="1133100"/>
                  <a:pt x="6246056" y="1141819"/>
                </a:cubicBezTo>
                <a:lnTo>
                  <a:pt x="6247429" y="1149665"/>
                </a:lnTo>
                <a:lnTo>
                  <a:pt x="6249901" y="1149556"/>
                </a:lnTo>
                <a:lnTo>
                  <a:pt x="6250176" y="1146504"/>
                </a:lnTo>
                <a:cubicBezTo>
                  <a:pt x="6251550" y="1147049"/>
                  <a:pt x="6253198" y="1147049"/>
                  <a:pt x="6254571" y="1146940"/>
                </a:cubicBezTo>
                <a:lnTo>
                  <a:pt x="6256219" y="1146831"/>
                </a:lnTo>
                <a:lnTo>
                  <a:pt x="6255944" y="1146286"/>
                </a:lnTo>
                <a:lnTo>
                  <a:pt x="6253473" y="1143780"/>
                </a:lnTo>
                <a:cubicBezTo>
                  <a:pt x="6249901" y="1140075"/>
                  <a:pt x="6246605" y="1135498"/>
                  <a:pt x="6247704" y="1131030"/>
                </a:cubicBezTo>
                <a:lnTo>
                  <a:pt x="6250725" y="1121768"/>
                </a:lnTo>
                <a:lnTo>
                  <a:pt x="6247978" y="1111088"/>
                </a:lnTo>
                <a:cubicBezTo>
                  <a:pt x="6246605" y="1102915"/>
                  <a:pt x="6244957" y="1096050"/>
                  <a:pt x="6240837" y="1090492"/>
                </a:cubicBezTo>
                <a:cubicBezTo>
                  <a:pt x="6239188" y="1089184"/>
                  <a:pt x="6239188" y="1089184"/>
                  <a:pt x="6239188" y="1089184"/>
                </a:cubicBezTo>
                <a:cubicBezTo>
                  <a:pt x="6239188" y="1089184"/>
                  <a:pt x="6239188" y="1087768"/>
                  <a:pt x="6239188" y="1087768"/>
                </a:cubicBezTo>
                <a:close/>
                <a:moveTo>
                  <a:pt x="6257915" y="1068785"/>
                </a:moveTo>
                <a:cubicBezTo>
                  <a:pt x="6259258" y="1068323"/>
                  <a:pt x="6261439" y="1068671"/>
                  <a:pt x="6264735" y="1070441"/>
                </a:cubicBezTo>
                <a:cubicBezTo>
                  <a:pt x="6263911" y="1075781"/>
                  <a:pt x="6262263" y="1077960"/>
                  <a:pt x="6260889" y="1078178"/>
                </a:cubicBezTo>
                <a:cubicBezTo>
                  <a:pt x="6257387" y="1078832"/>
                  <a:pt x="6253885" y="1070169"/>
                  <a:pt x="6257915" y="1068785"/>
                </a:cubicBezTo>
                <a:close/>
                <a:moveTo>
                  <a:pt x="2301266" y="1065170"/>
                </a:moveTo>
                <a:cubicBezTo>
                  <a:pt x="2303566" y="1064257"/>
                  <a:pt x="2305695" y="1064448"/>
                  <a:pt x="2307481" y="1066845"/>
                </a:cubicBezTo>
                <a:cubicBezTo>
                  <a:pt x="2306931" y="1070441"/>
                  <a:pt x="2304734" y="1073166"/>
                  <a:pt x="2301987" y="1074037"/>
                </a:cubicBezTo>
                <a:cubicBezTo>
                  <a:pt x="2299240" y="1074909"/>
                  <a:pt x="2296218" y="1074037"/>
                  <a:pt x="2294020" y="1070114"/>
                </a:cubicBezTo>
                <a:cubicBezTo>
                  <a:pt x="2296492" y="1068098"/>
                  <a:pt x="2298965" y="1066082"/>
                  <a:pt x="2301266" y="1065170"/>
                </a:cubicBezTo>
                <a:close/>
                <a:moveTo>
                  <a:pt x="2070659" y="1064189"/>
                </a:moveTo>
                <a:cubicBezTo>
                  <a:pt x="2074059" y="1063440"/>
                  <a:pt x="2077836" y="1064338"/>
                  <a:pt x="2081407" y="1066300"/>
                </a:cubicBezTo>
                <a:cubicBezTo>
                  <a:pt x="2090197" y="1071204"/>
                  <a:pt x="2097888" y="1082755"/>
                  <a:pt x="2096515" y="1092127"/>
                </a:cubicBezTo>
                <a:lnTo>
                  <a:pt x="2092669" y="1099646"/>
                </a:lnTo>
                <a:lnTo>
                  <a:pt x="2092944" y="1100409"/>
                </a:lnTo>
                <a:cubicBezTo>
                  <a:pt x="2091296" y="1104332"/>
                  <a:pt x="2087999" y="1107492"/>
                  <a:pt x="2086077" y="1106839"/>
                </a:cubicBezTo>
                <a:cubicBezTo>
                  <a:pt x="2083329" y="1105857"/>
                  <a:pt x="2080583" y="1104877"/>
                  <a:pt x="2080583" y="1101934"/>
                </a:cubicBezTo>
                <a:cubicBezTo>
                  <a:pt x="2080308" y="1100954"/>
                  <a:pt x="2080583" y="1099755"/>
                  <a:pt x="2081407" y="1098338"/>
                </a:cubicBezTo>
                <a:cubicBezTo>
                  <a:pt x="2081407" y="1098338"/>
                  <a:pt x="2081407" y="1098338"/>
                  <a:pt x="2082505" y="1097684"/>
                </a:cubicBezTo>
                <a:lnTo>
                  <a:pt x="2084978" y="1096486"/>
                </a:lnTo>
                <a:lnTo>
                  <a:pt x="2075364" y="1090928"/>
                </a:lnTo>
                <a:cubicBezTo>
                  <a:pt x="2070144" y="1086460"/>
                  <a:pt x="2065474" y="1080358"/>
                  <a:pt x="2062178" y="1071967"/>
                </a:cubicBezTo>
                <a:cubicBezTo>
                  <a:pt x="2064238" y="1067336"/>
                  <a:pt x="2067260" y="1064938"/>
                  <a:pt x="2070659" y="1064189"/>
                </a:cubicBezTo>
                <a:close/>
                <a:moveTo>
                  <a:pt x="961751" y="1063903"/>
                </a:moveTo>
                <a:cubicBezTo>
                  <a:pt x="964497" y="1065319"/>
                  <a:pt x="966970" y="1068698"/>
                  <a:pt x="967245" y="1074364"/>
                </a:cubicBezTo>
                <a:cubicBezTo>
                  <a:pt x="957630" y="1077852"/>
                  <a:pt x="955433" y="1085044"/>
                  <a:pt x="946642" y="1083954"/>
                </a:cubicBezTo>
                <a:cubicBezTo>
                  <a:pt x="939226" y="1071422"/>
                  <a:pt x="953235" y="1059435"/>
                  <a:pt x="961751" y="1063903"/>
                </a:cubicBezTo>
                <a:close/>
                <a:moveTo>
                  <a:pt x="2511888" y="1063835"/>
                </a:moveTo>
                <a:cubicBezTo>
                  <a:pt x="2516798" y="1064965"/>
                  <a:pt x="2520644" y="1067662"/>
                  <a:pt x="2522292" y="1072402"/>
                </a:cubicBezTo>
                <a:lnTo>
                  <a:pt x="2513777" y="1073166"/>
                </a:lnTo>
                <a:lnTo>
                  <a:pt x="2509931" y="1076435"/>
                </a:lnTo>
                <a:cubicBezTo>
                  <a:pt x="2506085" y="1078832"/>
                  <a:pt x="2501140" y="1080358"/>
                  <a:pt x="2497570" y="1081012"/>
                </a:cubicBezTo>
                <a:lnTo>
                  <a:pt x="2495097" y="1079159"/>
                </a:lnTo>
                <a:lnTo>
                  <a:pt x="2491801" y="1080249"/>
                </a:lnTo>
                <a:lnTo>
                  <a:pt x="2491526" y="1081229"/>
                </a:lnTo>
                <a:cubicBezTo>
                  <a:pt x="2490427" y="1082537"/>
                  <a:pt x="2488779" y="1083191"/>
                  <a:pt x="2487131" y="1083300"/>
                </a:cubicBezTo>
                <a:lnTo>
                  <a:pt x="2484659" y="1082755"/>
                </a:lnTo>
                <a:lnTo>
                  <a:pt x="2482736" y="1083518"/>
                </a:lnTo>
                <a:cubicBezTo>
                  <a:pt x="2480263" y="1083954"/>
                  <a:pt x="2478066" y="1084172"/>
                  <a:pt x="2475593" y="1083954"/>
                </a:cubicBezTo>
                <a:cubicBezTo>
                  <a:pt x="2473121" y="1083845"/>
                  <a:pt x="2470649" y="1083409"/>
                  <a:pt x="2468177" y="1082428"/>
                </a:cubicBezTo>
                <a:cubicBezTo>
                  <a:pt x="2471199" y="1074909"/>
                  <a:pt x="2483011" y="1067608"/>
                  <a:pt x="2495097" y="1064665"/>
                </a:cubicBezTo>
                <a:cubicBezTo>
                  <a:pt x="2501003" y="1063140"/>
                  <a:pt x="2506978" y="1062704"/>
                  <a:pt x="2511888" y="1063835"/>
                </a:cubicBezTo>
                <a:close/>
                <a:moveTo>
                  <a:pt x="6174910" y="1063794"/>
                </a:moveTo>
                <a:lnTo>
                  <a:pt x="6173536" y="1064121"/>
                </a:lnTo>
                <a:lnTo>
                  <a:pt x="6193314" y="1115229"/>
                </a:lnTo>
                <a:lnTo>
                  <a:pt x="6193314" y="1115447"/>
                </a:lnTo>
                <a:lnTo>
                  <a:pt x="6200731" y="1097358"/>
                </a:lnTo>
                <a:lnTo>
                  <a:pt x="6197710" y="1090492"/>
                </a:lnTo>
                <a:cubicBezTo>
                  <a:pt x="6196336" y="1087114"/>
                  <a:pt x="6194413" y="1083300"/>
                  <a:pt x="6192216" y="1080576"/>
                </a:cubicBezTo>
                <a:lnTo>
                  <a:pt x="6186996" y="1077960"/>
                </a:lnTo>
                <a:lnTo>
                  <a:pt x="6187821" y="1081992"/>
                </a:lnTo>
                <a:cubicBezTo>
                  <a:pt x="6187821" y="1081992"/>
                  <a:pt x="6187821" y="1081992"/>
                  <a:pt x="6187271" y="1080031"/>
                </a:cubicBezTo>
                <a:cubicBezTo>
                  <a:pt x="6187271" y="1080031"/>
                  <a:pt x="6187821" y="1082101"/>
                  <a:pt x="6185623" y="1082537"/>
                </a:cubicBezTo>
                <a:lnTo>
                  <a:pt x="6180404" y="1072730"/>
                </a:lnTo>
                <a:lnTo>
                  <a:pt x="6179030" y="1072730"/>
                </a:lnTo>
                <a:close/>
                <a:moveTo>
                  <a:pt x="1385880" y="1063467"/>
                </a:moveTo>
                <a:cubicBezTo>
                  <a:pt x="1387253" y="1064993"/>
                  <a:pt x="1388351" y="1068153"/>
                  <a:pt x="1388626" y="1071748"/>
                </a:cubicBezTo>
                <a:lnTo>
                  <a:pt x="1386429" y="1080031"/>
                </a:lnTo>
                <a:lnTo>
                  <a:pt x="1397691" y="1076870"/>
                </a:lnTo>
                <a:cubicBezTo>
                  <a:pt x="1402636" y="1076544"/>
                  <a:pt x="1407306" y="1077307"/>
                  <a:pt x="1411426" y="1079050"/>
                </a:cubicBezTo>
                <a:cubicBezTo>
                  <a:pt x="1425435" y="1084826"/>
                  <a:pt x="1434775" y="1100627"/>
                  <a:pt x="1433127" y="1118716"/>
                </a:cubicBezTo>
                <a:cubicBezTo>
                  <a:pt x="1431204" y="1119479"/>
                  <a:pt x="1429282" y="1120024"/>
                  <a:pt x="1429830" y="1121985"/>
                </a:cubicBezTo>
                <a:cubicBezTo>
                  <a:pt x="1425160" y="1124056"/>
                  <a:pt x="1420216" y="1124928"/>
                  <a:pt x="1415546" y="1124601"/>
                </a:cubicBezTo>
                <a:cubicBezTo>
                  <a:pt x="1401263" y="1123838"/>
                  <a:pt x="1387802" y="1113703"/>
                  <a:pt x="1383132" y="1100409"/>
                </a:cubicBezTo>
                <a:cubicBezTo>
                  <a:pt x="1382033" y="1097466"/>
                  <a:pt x="1381210" y="1094306"/>
                  <a:pt x="1381210" y="1091037"/>
                </a:cubicBezTo>
                <a:lnTo>
                  <a:pt x="1382308" y="1081883"/>
                </a:lnTo>
                <a:lnTo>
                  <a:pt x="1380111" y="1081774"/>
                </a:lnTo>
                <a:cubicBezTo>
                  <a:pt x="1375715" y="1080139"/>
                  <a:pt x="1374892" y="1075345"/>
                  <a:pt x="1376265" y="1068371"/>
                </a:cubicBezTo>
                <a:cubicBezTo>
                  <a:pt x="1379562" y="1067390"/>
                  <a:pt x="1381759" y="1065429"/>
                  <a:pt x="1385880" y="1063467"/>
                </a:cubicBezTo>
                <a:close/>
                <a:moveTo>
                  <a:pt x="2619306" y="1061422"/>
                </a:moveTo>
                <a:cubicBezTo>
                  <a:pt x="2620649" y="1060974"/>
                  <a:pt x="2622830" y="1061342"/>
                  <a:pt x="2626126" y="1063140"/>
                </a:cubicBezTo>
                <a:cubicBezTo>
                  <a:pt x="2625302" y="1068479"/>
                  <a:pt x="2623655" y="1070550"/>
                  <a:pt x="2622280" y="1070877"/>
                </a:cubicBezTo>
                <a:cubicBezTo>
                  <a:pt x="2618778" y="1071450"/>
                  <a:pt x="2615276" y="1062766"/>
                  <a:pt x="2619306" y="1061422"/>
                </a:cubicBezTo>
                <a:close/>
                <a:moveTo>
                  <a:pt x="1288638" y="1060416"/>
                </a:moveTo>
                <a:cubicBezTo>
                  <a:pt x="1292209" y="1066083"/>
                  <a:pt x="1292758" y="1068044"/>
                  <a:pt x="1292758" y="1074582"/>
                </a:cubicBezTo>
                <a:cubicBezTo>
                  <a:pt x="1288912" y="1076979"/>
                  <a:pt x="1285066" y="1077743"/>
                  <a:pt x="1281221" y="1077633"/>
                </a:cubicBezTo>
                <a:cubicBezTo>
                  <a:pt x="1277375" y="1077524"/>
                  <a:pt x="1273255" y="1076761"/>
                  <a:pt x="1269408" y="1075890"/>
                </a:cubicBezTo>
                <a:cubicBezTo>
                  <a:pt x="1258420" y="1058672"/>
                  <a:pt x="1279023" y="1062268"/>
                  <a:pt x="1288638" y="1060416"/>
                </a:cubicBezTo>
                <a:close/>
                <a:moveTo>
                  <a:pt x="1725951" y="1059326"/>
                </a:moveTo>
                <a:lnTo>
                  <a:pt x="1725951" y="1060307"/>
                </a:lnTo>
                <a:lnTo>
                  <a:pt x="1728699" y="1060307"/>
                </a:lnTo>
                <a:lnTo>
                  <a:pt x="1727326" y="1059871"/>
                </a:lnTo>
                <a:lnTo>
                  <a:pt x="1727051" y="1059980"/>
                </a:lnTo>
                <a:cubicBezTo>
                  <a:pt x="1726776" y="1059217"/>
                  <a:pt x="1726501" y="1059108"/>
                  <a:pt x="1725951" y="1059326"/>
                </a:cubicBezTo>
                <a:close/>
                <a:moveTo>
                  <a:pt x="2246567" y="1057514"/>
                </a:moveTo>
                <a:cubicBezTo>
                  <a:pt x="2250413" y="1055594"/>
                  <a:pt x="2255151" y="1055948"/>
                  <a:pt x="2258310" y="1058346"/>
                </a:cubicBezTo>
                <a:cubicBezTo>
                  <a:pt x="2260233" y="1059980"/>
                  <a:pt x="2261881" y="1062486"/>
                  <a:pt x="2261606" y="1065973"/>
                </a:cubicBezTo>
                <a:cubicBezTo>
                  <a:pt x="2256112" y="1069678"/>
                  <a:pt x="2250069" y="1074474"/>
                  <a:pt x="2245125" y="1073492"/>
                </a:cubicBezTo>
                <a:cubicBezTo>
                  <a:pt x="2243202" y="1073166"/>
                  <a:pt x="2241553" y="1072185"/>
                  <a:pt x="2240180" y="1070332"/>
                </a:cubicBezTo>
                <a:cubicBezTo>
                  <a:pt x="2239768" y="1063630"/>
                  <a:pt x="2242721" y="1059435"/>
                  <a:pt x="2246567" y="1057514"/>
                </a:cubicBezTo>
                <a:close/>
                <a:moveTo>
                  <a:pt x="1922359" y="1054858"/>
                </a:moveTo>
                <a:cubicBezTo>
                  <a:pt x="1925929" y="1056493"/>
                  <a:pt x="1927578" y="1057364"/>
                  <a:pt x="1928402" y="1060198"/>
                </a:cubicBezTo>
                <a:cubicBezTo>
                  <a:pt x="1930050" y="1060961"/>
                  <a:pt x="1931972" y="1061723"/>
                  <a:pt x="1933072" y="1062813"/>
                </a:cubicBezTo>
                <a:lnTo>
                  <a:pt x="1933346" y="1066191"/>
                </a:lnTo>
                <a:lnTo>
                  <a:pt x="1933621" y="1063903"/>
                </a:lnTo>
                <a:cubicBezTo>
                  <a:pt x="1933896" y="1062704"/>
                  <a:pt x="1934445" y="1061723"/>
                  <a:pt x="1935544" y="1061506"/>
                </a:cubicBezTo>
                <a:cubicBezTo>
                  <a:pt x="1936642" y="1062160"/>
                  <a:pt x="1937466" y="1060961"/>
                  <a:pt x="1938840" y="1061723"/>
                </a:cubicBezTo>
                <a:cubicBezTo>
                  <a:pt x="1941861" y="1061941"/>
                  <a:pt x="1942960" y="1062595"/>
                  <a:pt x="1943510" y="1064665"/>
                </a:cubicBezTo>
                <a:cubicBezTo>
                  <a:pt x="1944609" y="1065429"/>
                  <a:pt x="1943785" y="1066627"/>
                  <a:pt x="1944060" y="1068698"/>
                </a:cubicBezTo>
                <a:lnTo>
                  <a:pt x="1942685" y="1069787"/>
                </a:lnTo>
                <a:lnTo>
                  <a:pt x="1944060" y="1071204"/>
                </a:lnTo>
                <a:cubicBezTo>
                  <a:pt x="1945707" y="1073929"/>
                  <a:pt x="1946531" y="1076544"/>
                  <a:pt x="1946257" y="1077524"/>
                </a:cubicBezTo>
                <a:lnTo>
                  <a:pt x="1941587" y="1071748"/>
                </a:lnTo>
                <a:lnTo>
                  <a:pt x="1943235" y="1079050"/>
                </a:lnTo>
                <a:cubicBezTo>
                  <a:pt x="1943235" y="1082755"/>
                  <a:pt x="1942411" y="1086242"/>
                  <a:pt x="1940763" y="1087550"/>
                </a:cubicBezTo>
                <a:lnTo>
                  <a:pt x="1933896" y="1086460"/>
                </a:lnTo>
                <a:lnTo>
                  <a:pt x="1934720" y="1087005"/>
                </a:lnTo>
                <a:cubicBezTo>
                  <a:pt x="1931972" y="1101063"/>
                  <a:pt x="1920435" y="1103133"/>
                  <a:pt x="1909447" y="1102371"/>
                </a:cubicBezTo>
                <a:lnTo>
                  <a:pt x="1905602" y="1101826"/>
                </a:lnTo>
                <a:lnTo>
                  <a:pt x="1904777" y="1103460"/>
                </a:lnTo>
                <a:cubicBezTo>
                  <a:pt x="1903953" y="1104441"/>
                  <a:pt x="1902855" y="1105421"/>
                  <a:pt x="1902306" y="1106185"/>
                </a:cubicBezTo>
                <a:cubicBezTo>
                  <a:pt x="1902306" y="1107601"/>
                  <a:pt x="1900932" y="1109126"/>
                  <a:pt x="1899558" y="1109018"/>
                </a:cubicBezTo>
                <a:cubicBezTo>
                  <a:pt x="1899558" y="1109018"/>
                  <a:pt x="1898185" y="1110434"/>
                  <a:pt x="1898460" y="1111851"/>
                </a:cubicBezTo>
                <a:cubicBezTo>
                  <a:pt x="1895713" y="1114684"/>
                  <a:pt x="1894339" y="1114575"/>
                  <a:pt x="1892966" y="1114466"/>
                </a:cubicBezTo>
                <a:cubicBezTo>
                  <a:pt x="1892966" y="1114466"/>
                  <a:pt x="1894339" y="1113049"/>
                  <a:pt x="1894339" y="1111633"/>
                </a:cubicBezTo>
                <a:cubicBezTo>
                  <a:pt x="1894339" y="1111633"/>
                  <a:pt x="1895439" y="1110325"/>
                  <a:pt x="1896812" y="1108909"/>
                </a:cubicBezTo>
                <a:cubicBezTo>
                  <a:pt x="1896812" y="1108909"/>
                  <a:pt x="1896812" y="1107383"/>
                  <a:pt x="1896812" y="1105966"/>
                </a:cubicBezTo>
                <a:lnTo>
                  <a:pt x="1900108" y="1101172"/>
                </a:lnTo>
                <a:lnTo>
                  <a:pt x="1899009" y="1101063"/>
                </a:lnTo>
                <a:cubicBezTo>
                  <a:pt x="1892416" y="1100190"/>
                  <a:pt x="1885275" y="1098556"/>
                  <a:pt x="1882802" y="1094742"/>
                </a:cubicBezTo>
                <a:cubicBezTo>
                  <a:pt x="1881978" y="1093435"/>
                  <a:pt x="1881703" y="1091909"/>
                  <a:pt x="1881978" y="1090057"/>
                </a:cubicBezTo>
                <a:cubicBezTo>
                  <a:pt x="1882527" y="1084826"/>
                  <a:pt x="1885824" y="1080249"/>
                  <a:pt x="1890494" y="1077198"/>
                </a:cubicBezTo>
                <a:lnTo>
                  <a:pt x="1896812" y="1074800"/>
                </a:lnTo>
                <a:lnTo>
                  <a:pt x="1894339" y="1074255"/>
                </a:lnTo>
                <a:cubicBezTo>
                  <a:pt x="1892142" y="1073710"/>
                  <a:pt x="1890219" y="1073056"/>
                  <a:pt x="1890494" y="1072076"/>
                </a:cubicBezTo>
                <a:cubicBezTo>
                  <a:pt x="1890494" y="1072076"/>
                  <a:pt x="1892416" y="1072730"/>
                  <a:pt x="1894339" y="1073384"/>
                </a:cubicBezTo>
                <a:cubicBezTo>
                  <a:pt x="1896262" y="1074037"/>
                  <a:pt x="1896262" y="1074037"/>
                  <a:pt x="1897086" y="1072076"/>
                </a:cubicBezTo>
                <a:cubicBezTo>
                  <a:pt x="1897910" y="1072402"/>
                  <a:pt x="1898460" y="1072621"/>
                  <a:pt x="1899009" y="1073056"/>
                </a:cubicBezTo>
                <a:lnTo>
                  <a:pt x="1899284" y="1073929"/>
                </a:lnTo>
                <a:lnTo>
                  <a:pt x="1908074" y="1073820"/>
                </a:lnTo>
                <a:lnTo>
                  <a:pt x="1916865" y="1076108"/>
                </a:lnTo>
                <a:lnTo>
                  <a:pt x="1920435" y="1077089"/>
                </a:lnTo>
                <a:lnTo>
                  <a:pt x="1929500" y="1082537"/>
                </a:lnTo>
                <a:lnTo>
                  <a:pt x="1929226" y="1081992"/>
                </a:lnTo>
                <a:cubicBezTo>
                  <a:pt x="1928127" y="1078614"/>
                  <a:pt x="1929500" y="1074364"/>
                  <a:pt x="1932522" y="1071858"/>
                </a:cubicBezTo>
                <a:lnTo>
                  <a:pt x="1935544" y="1071204"/>
                </a:lnTo>
                <a:lnTo>
                  <a:pt x="1933346" y="1067281"/>
                </a:lnTo>
                <a:lnTo>
                  <a:pt x="1933346" y="1067172"/>
                </a:lnTo>
                <a:lnTo>
                  <a:pt x="1921259" y="1066191"/>
                </a:lnTo>
                <a:lnTo>
                  <a:pt x="1918513" y="1064121"/>
                </a:lnTo>
                <a:lnTo>
                  <a:pt x="1915491" y="1064448"/>
                </a:lnTo>
                <a:cubicBezTo>
                  <a:pt x="1915216" y="1063140"/>
                  <a:pt x="1915216" y="1063031"/>
                  <a:pt x="1916590" y="1062595"/>
                </a:cubicBezTo>
                <a:cubicBezTo>
                  <a:pt x="1916315" y="1062377"/>
                  <a:pt x="1916315" y="1062377"/>
                  <a:pt x="1916040" y="1062377"/>
                </a:cubicBezTo>
                <a:lnTo>
                  <a:pt x="1916590" y="1061941"/>
                </a:lnTo>
                <a:lnTo>
                  <a:pt x="1916040" y="1061178"/>
                </a:lnTo>
                <a:cubicBezTo>
                  <a:pt x="1915491" y="1060088"/>
                  <a:pt x="1915491" y="1058890"/>
                  <a:pt x="1915765" y="1057582"/>
                </a:cubicBezTo>
                <a:cubicBezTo>
                  <a:pt x="1915216" y="1056275"/>
                  <a:pt x="1920710" y="1054095"/>
                  <a:pt x="1922359" y="1054858"/>
                </a:cubicBezTo>
                <a:close/>
                <a:moveTo>
                  <a:pt x="2155300" y="1054313"/>
                </a:moveTo>
                <a:cubicBezTo>
                  <a:pt x="2156673" y="1055403"/>
                  <a:pt x="2158321" y="1056275"/>
                  <a:pt x="2159969" y="1057255"/>
                </a:cubicBezTo>
                <a:cubicBezTo>
                  <a:pt x="2159969" y="1062922"/>
                  <a:pt x="2157772" y="1068479"/>
                  <a:pt x="2153102" y="1069352"/>
                </a:cubicBezTo>
                <a:cubicBezTo>
                  <a:pt x="2151454" y="1069569"/>
                  <a:pt x="2149806" y="1069352"/>
                  <a:pt x="2147883" y="1068479"/>
                </a:cubicBezTo>
                <a:cubicBezTo>
                  <a:pt x="2147059" y="1064230"/>
                  <a:pt x="2151179" y="1055512"/>
                  <a:pt x="2155300" y="1054313"/>
                </a:cubicBezTo>
                <a:close/>
                <a:moveTo>
                  <a:pt x="2421754" y="1053115"/>
                </a:moveTo>
                <a:cubicBezTo>
                  <a:pt x="2425050" y="1057800"/>
                  <a:pt x="2422029" y="1060961"/>
                  <a:pt x="2418457" y="1061723"/>
                </a:cubicBezTo>
                <a:cubicBezTo>
                  <a:pt x="2414886" y="1062486"/>
                  <a:pt x="2410766" y="1060961"/>
                  <a:pt x="2411316" y="1056384"/>
                </a:cubicBezTo>
                <a:cubicBezTo>
                  <a:pt x="2414062" y="1054749"/>
                  <a:pt x="2417908" y="1053986"/>
                  <a:pt x="2421754" y="1053115"/>
                </a:cubicBezTo>
                <a:close/>
                <a:moveTo>
                  <a:pt x="2132191" y="1052720"/>
                </a:moveTo>
                <a:cubicBezTo>
                  <a:pt x="2134560" y="1053169"/>
                  <a:pt x="2137033" y="1054586"/>
                  <a:pt x="2139368" y="1057255"/>
                </a:cubicBezTo>
                <a:cubicBezTo>
                  <a:pt x="2139642" y="1062268"/>
                  <a:pt x="2137993" y="1066627"/>
                  <a:pt x="2135247" y="1069461"/>
                </a:cubicBezTo>
                <a:lnTo>
                  <a:pt x="2130577" y="1072512"/>
                </a:lnTo>
                <a:lnTo>
                  <a:pt x="2129753" y="1076544"/>
                </a:lnTo>
                <a:cubicBezTo>
                  <a:pt x="2129478" y="1078287"/>
                  <a:pt x="2128929" y="1080139"/>
                  <a:pt x="2127280" y="1081338"/>
                </a:cubicBezTo>
                <a:cubicBezTo>
                  <a:pt x="2127280" y="1081338"/>
                  <a:pt x="2125907" y="1082537"/>
                  <a:pt x="2123161" y="1082101"/>
                </a:cubicBezTo>
                <a:cubicBezTo>
                  <a:pt x="2121786" y="1082646"/>
                  <a:pt x="2120962" y="1082755"/>
                  <a:pt x="2119864" y="1082537"/>
                </a:cubicBezTo>
                <a:cubicBezTo>
                  <a:pt x="2116842" y="1082101"/>
                  <a:pt x="2114645" y="1079268"/>
                  <a:pt x="2114645" y="1079268"/>
                </a:cubicBezTo>
                <a:cubicBezTo>
                  <a:pt x="2114645" y="1079268"/>
                  <a:pt x="2114645" y="1079268"/>
                  <a:pt x="2114645" y="1080684"/>
                </a:cubicBezTo>
                <a:cubicBezTo>
                  <a:pt x="2114919" y="1077743"/>
                  <a:pt x="2113546" y="1074691"/>
                  <a:pt x="2113821" y="1071748"/>
                </a:cubicBezTo>
                <a:cubicBezTo>
                  <a:pt x="2116018" y="1069133"/>
                  <a:pt x="2117941" y="1067608"/>
                  <a:pt x="2119589" y="1066736"/>
                </a:cubicBezTo>
                <a:lnTo>
                  <a:pt x="2120962" y="1059653"/>
                </a:lnTo>
                <a:cubicBezTo>
                  <a:pt x="2122061" y="1057255"/>
                  <a:pt x="2123710" y="1055294"/>
                  <a:pt x="2125632" y="1053986"/>
                </a:cubicBezTo>
                <a:cubicBezTo>
                  <a:pt x="2127555" y="1052788"/>
                  <a:pt x="2129821" y="1052270"/>
                  <a:pt x="2132191" y="1052720"/>
                </a:cubicBezTo>
                <a:close/>
                <a:moveTo>
                  <a:pt x="1089621" y="1049750"/>
                </a:moveTo>
                <a:cubicBezTo>
                  <a:pt x="1093947" y="1049328"/>
                  <a:pt x="1098823" y="1051207"/>
                  <a:pt x="1104042" y="1057255"/>
                </a:cubicBezTo>
                <a:cubicBezTo>
                  <a:pt x="1106789" y="1059217"/>
                  <a:pt x="1105415" y="1058999"/>
                  <a:pt x="1106789" y="1060742"/>
                </a:cubicBezTo>
                <a:lnTo>
                  <a:pt x="1107339" y="1061178"/>
                </a:lnTo>
                <a:lnTo>
                  <a:pt x="1107889" y="1058999"/>
                </a:lnTo>
                <a:cubicBezTo>
                  <a:pt x="1108438" y="1058454"/>
                  <a:pt x="1109262" y="1058346"/>
                  <a:pt x="1110360" y="1058563"/>
                </a:cubicBezTo>
                <a:cubicBezTo>
                  <a:pt x="1110360" y="1058563"/>
                  <a:pt x="1112283" y="1059217"/>
                  <a:pt x="1114207" y="1059762"/>
                </a:cubicBezTo>
                <a:cubicBezTo>
                  <a:pt x="1116129" y="1060198"/>
                  <a:pt x="1117228" y="1059435"/>
                  <a:pt x="1117228" y="1059435"/>
                </a:cubicBezTo>
                <a:cubicBezTo>
                  <a:pt x="1119151" y="1059871"/>
                  <a:pt x="1119975" y="1061287"/>
                  <a:pt x="1119425" y="1063358"/>
                </a:cubicBezTo>
                <a:cubicBezTo>
                  <a:pt x="1119425" y="1063358"/>
                  <a:pt x="1116129" y="1063576"/>
                  <a:pt x="1116129" y="1063576"/>
                </a:cubicBezTo>
                <a:cubicBezTo>
                  <a:pt x="1114207" y="1063031"/>
                  <a:pt x="1112833" y="1062704"/>
                  <a:pt x="1111459" y="1062486"/>
                </a:cubicBezTo>
                <a:lnTo>
                  <a:pt x="1109262" y="1062377"/>
                </a:lnTo>
                <a:lnTo>
                  <a:pt x="1112283" y="1064556"/>
                </a:lnTo>
                <a:cubicBezTo>
                  <a:pt x="1111185" y="1065864"/>
                  <a:pt x="1110360" y="1067063"/>
                  <a:pt x="1110085" y="1068262"/>
                </a:cubicBezTo>
                <a:lnTo>
                  <a:pt x="1109262" y="1071640"/>
                </a:lnTo>
                <a:lnTo>
                  <a:pt x="1112008" y="1074037"/>
                </a:lnTo>
                <a:cubicBezTo>
                  <a:pt x="1110635" y="1074800"/>
                  <a:pt x="1108712" y="1077633"/>
                  <a:pt x="1108163" y="1076435"/>
                </a:cubicBezTo>
                <a:lnTo>
                  <a:pt x="1107614" y="1076325"/>
                </a:lnTo>
                <a:lnTo>
                  <a:pt x="1104042" y="1081012"/>
                </a:lnTo>
                <a:cubicBezTo>
                  <a:pt x="1099372" y="1086242"/>
                  <a:pt x="1094702" y="1087659"/>
                  <a:pt x="1090307" y="1087114"/>
                </a:cubicBezTo>
                <a:cubicBezTo>
                  <a:pt x="1086188" y="1086678"/>
                  <a:pt x="1082341" y="1084172"/>
                  <a:pt x="1079869" y="1081447"/>
                </a:cubicBezTo>
                <a:cubicBezTo>
                  <a:pt x="1080968" y="1080576"/>
                  <a:pt x="1073551" y="1073275"/>
                  <a:pt x="1074375" y="1064775"/>
                </a:cubicBezTo>
                <a:cubicBezTo>
                  <a:pt x="1074650" y="1061941"/>
                  <a:pt x="1075749" y="1058999"/>
                  <a:pt x="1078496" y="1056057"/>
                </a:cubicBezTo>
                <a:cubicBezTo>
                  <a:pt x="1081518" y="1052897"/>
                  <a:pt x="1085295" y="1050172"/>
                  <a:pt x="1089621" y="1049750"/>
                </a:cubicBezTo>
                <a:close/>
                <a:moveTo>
                  <a:pt x="6183425" y="1049301"/>
                </a:moveTo>
                <a:lnTo>
                  <a:pt x="6180953" y="1051697"/>
                </a:lnTo>
                <a:lnTo>
                  <a:pt x="6181228" y="1056493"/>
                </a:lnTo>
                <a:lnTo>
                  <a:pt x="6178755" y="1060525"/>
                </a:lnTo>
                <a:lnTo>
                  <a:pt x="6180404" y="1064448"/>
                </a:lnTo>
                <a:lnTo>
                  <a:pt x="6186172" y="1074037"/>
                </a:lnTo>
                <a:lnTo>
                  <a:pt x="6188919" y="1069133"/>
                </a:lnTo>
                <a:lnTo>
                  <a:pt x="6191667" y="1067063"/>
                </a:lnTo>
                <a:lnTo>
                  <a:pt x="6189743" y="1064884"/>
                </a:lnTo>
                <a:cubicBezTo>
                  <a:pt x="6187821" y="1062050"/>
                  <a:pt x="6186172" y="1059108"/>
                  <a:pt x="6185073" y="1056275"/>
                </a:cubicBezTo>
                <a:close/>
                <a:moveTo>
                  <a:pt x="2201448" y="1047666"/>
                </a:moveTo>
                <a:cubicBezTo>
                  <a:pt x="2204470" y="1047121"/>
                  <a:pt x="2208041" y="1048319"/>
                  <a:pt x="2212161" y="1050826"/>
                </a:cubicBezTo>
                <a:cubicBezTo>
                  <a:pt x="2210239" y="1055948"/>
                  <a:pt x="2207491" y="1057038"/>
                  <a:pt x="2204470" y="1056819"/>
                </a:cubicBezTo>
                <a:cubicBezTo>
                  <a:pt x="2201174" y="1056710"/>
                  <a:pt x="2197602" y="1055185"/>
                  <a:pt x="2193757" y="1054749"/>
                </a:cubicBezTo>
                <a:cubicBezTo>
                  <a:pt x="2195954" y="1050390"/>
                  <a:pt x="2198427" y="1048211"/>
                  <a:pt x="2201448" y="1047666"/>
                </a:cubicBezTo>
                <a:close/>
                <a:moveTo>
                  <a:pt x="1689143" y="1046576"/>
                </a:moveTo>
                <a:cubicBezTo>
                  <a:pt x="1689692" y="1047884"/>
                  <a:pt x="1691065" y="1047230"/>
                  <a:pt x="1692438" y="1046576"/>
                </a:cubicBezTo>
                <a:cubicBezTo>
                  <a:pt x="1696010" y="1047993"/>
                  <a:pt x="1700405" y="1050717"/>
                  <a:pt x="1700130" y="1053986"/>
                </a:cubicBezTo>
                <a:cubicBezTo>
                  <a:pt x="1699307" y="1056057"/>
                  <a:pt x="1698207" y="1057147"/>
                  <a:pt x="1696834" y="1057473"/>
                </a:cubicBezTo>
                <a:lnTo>
                  <a:pt x="1694912" y="1057364"/>
                </a:lnTo>
                <a:lnTo>
                  <a:pt x="1691340" y="1064993"/>
                </a:lnTo>
                <a:cubicBezTo>
                  <a:pt x="1686670" y="1071095"/>
                  <a:pt x="1679803" y="1071313"/>
                  <a:pt x="1672936" y="1072293"/>
                </a:cubicBezTo>
                <a:cubicBezTo>
                  <a:pt x="1673485" y="1067390"/>
                  <a:pt x="1679529" y="1058890"/>
                  <a:pt x="1687220" y="1056493"/>
                </a:cubicBezTo>
                <a:lnTo>
                  <a:pt x="1692164" y="1056602"/>
                </a:lnTo>
                <a:lnTo>
                  <a:pt x="1688594" y="1054640"/>
                </a:lnTo>
                <a:cubicBezTo>
                  <a:pt x="1687220" y="1052787"/>
                  <a:pt x="1686670" y="1050281"/>
                  <a:pt x="1686670" y="1047884"/>
                </a:cubicBezTo>
                <a:cubicBezTo>
                  <a:pt x="1687220" y="1049301"/>
                  <a:pt x="1687220" y="1049301"/>
                  <a:pt x="1687220" y="1049301"/>
                </a:cubicBezTo>
                <a:cubicBezTo>
                  <a:pt x="1689143" y="1049955"/>
                  <a:pt x="1688319" y="1048538"/>
                  <a:pt x="1689692" y="1047884"/>
                </a:cubicBezTo>
                <a:cubicBezTo>
                  <a:pt x="1689692" y="1047884"/>
                  <a:pt x="1688319" y="1048647"/>
                  <a:pt x="1689143" y="1046576"/>
                </a:cubicBezTo>
                <a:close/>
                <a:moveTo>
                  <a:pt x="2347037" y="1045595"/>
                </a:moveTo>
                <a:cubicBezTo>
                  <a:pt x="2379451" y="1055730"/>
                  <a:pt x="2372033" y="1064884"/>
                  <a:pt x="2366539" y="1080031"/>
                </a:cubicBezTo>
                <a:cubicBezTo>
                  <a:pt x="2362694" y="1079486"/>
                  <a:pt x="2358574" y="1080793"/>
                  <a:pt x="2354453" y="1081666"/>
                </a:cubicBezTo>
                <a:cubicBezTo>
                  <a:pt x="2352256" y="1082101"/>
                  <a:pt x="2350333" y="1082428"/>
                  <a:pt x="2348135" y="1082428"/>
                </a:cubicBezTo>
                <a:lnTo>
                  <a:pt x="2344289" y="1081666"/>
                </a:lnTo>
                <a:lnTo>
                  <a:pt x="2342641" y="1083518"/>
                </a:lnTo>
                <a:cubicBezTo>
                  <a:pt x="2335774" y="1084499"/>
                  <a:pt x="2332478" y="1077633"/>
                  <a:pt x="2326434" y="1072621"/>
                </a:cubicBezTo>
                <a:cubicBezTo>
                  <a:pt x="2326984" y="1071313"/>
                  <a:pt x="2326434" y="1069352"/>
                  <a:pt x="2325061" y="1068589"/>
                </a:cubicBezTo>
                <a:cubicBezTo>
                  <a:pt x="2324237" y="1066518"/>
                  <a:pt x="2323688" y="1064556"/>
                  <a:pt x="2323138" y="1065864"/>
                </a:cubicBezTo>
                <a:cubicBezTo>
                  <a:pt x="2320941" y="1059762"/>
                  <a:pt x="2319567" y="1058999"/>
                  <a:pt x="2322863" y="1055839"/>
                </a:cubicBezTo>
                <a:lnTo>
                  <a:pt x="2331104" y="1063794"/>
                </a:lnTo>
                <a:lnTo>
                  <a:pt x="2330006" y="1060742"/>
                </a:lnTo>
                <a:cubicBezTo>
                  <a:pt x="2330280" y="1056819"/>
                  <a:pt x="2331928" y="1053659"/>
                  <a:pt x="2331928" y="1053659"/>
                </a:cubicBezTo>
                <a:cubicBezTo>
                  <a:pt x="2331928" y="1053659"/>
                  <a:pt x="2331928" y="1053769"/>
                  <a:pt x="2328632" y="1054749"/>
                </a:cubicBezTo>
                <a:cubicBezTo>
                  <a:pt x="2335225" y="1052787"/>
                  <a:pt x="2340444" y="1047666"/>
                  <a:pt x="2347037" y="1045595"/>
                </a:cubicBezTo>
                <a:close/>
                <a:moveTo>
                  <a:pt x="1337808" y="1044288"/>
                </a:moveTo>
                <a:cubicBezTo>
                  <a:pt x="1345499" y="1052351"/>
                  <a:pt x="1348246" y="1062160"/>
                  <a:pt x="1347423" y="1071967"/>
                </a:cubicBezTo>
                <a:cubicBezTo>
                  <a:pt x="1345774" y="1088204"/>
                  <a:pt x="1333962" y="1104223"/>
                  <a:pt x="1317205" y="1110217"/>
                </a:cubicBezTo>
                <a:cubicBezTo>
                  <a:pt x="1316107" y="1108581"/>
                  <a:pt x="1315009" y="1106947"/>
                  <a:pt x="1313360" y="1108364"/>
                </a:cubicBezTo>
                <a:cubicBezTo>
                  <a:pt x="1311162" y="1105966"/>
                  <a:pt x="1309789" y="1103133"/>
                  <a:pt x="1308691" y="1100190"/>
                </a:cubicBezTo>
                <a:cubicBezTo>
                  <a:pt x="1300724" y="1079268"/>
                  <a:pt x="1315283" y="1047557"/>
                  <a:pt x="1337808" y="1044288"/>
                </a:cubicBezTo>
                <a:close/>
                <a:moveTo>
                  <a:pt x="2167936" y="1043525"/>
                </a:moveTo>
                <a:cubicBezTo>
                  <a:pt x="2170957" y="1045050"/>
                  <a:pt x="2173704" y="1045268"/>
                  <a:pt x="2176726" y="1046794"/>
                </a:cubicBezTo>
                <a:cubicBezTo>
                  <a:pt x="2176726" y="1049736"/>
                  <a:pt x="2178374" y="1052242"/>
                  <a:pt x="2178923" y="1054749"/>
                </a:cubicBezTo>
                <a:lnTo>
                  <a:pt x="2176176" y="1062160"/>
                </a:lnTo>
                <a:lnTo>
                  <a:pt x="2179747" y="1063903"/>
                </a:lnTo>
                <a:cubicBezTo>
                  <a:pt x="2182220" y="1065646"/>
                  <a:pt x="2184143" y="1067717"/>
                  <a:pt x="2183868" y="1068698"/>
                </a:cubicBezTo>
                <a:cubicBezTo>
                  <a:pt x="2180022" y="1068589"/>
                  <a:pt x="2173430" y="1068371"/>
                  <a:pt x="2170682" y="1066083"/>
                </a:cubicBezTo>
                <a:cubicBezTo>
                  <a:pt x="2169858" y="1065319"/>
                  <a:pt x="2169309" y="1064339"/>
                  <a:pt x="2169309" y="1063031"/>
                </a:cubicBezTo>
                <a:cubicBezTo>
                  <a:pt x="2169584" y="1061941"/>
                  <a:pt x="2170407" y="1061723"/>
                  <a:pt x="2170957" y="1061506"/>
                </a:cubicBezTo>
                <a:lnTo>
                  <a:pt x="2172056" y="1061178"/>
                </a:lnTo>
                <a:lnTo>
                  <a:pt x="2170133" y="1060416"/>
                </a:lnTo>
                <a:cubicBezTo>
                  <a:pt x="2164914" y="1056602"/>
                  <a:pt x="2162716" y="1048647"/>
                  <a:pt x="2167936" y="1043525"/>
                </a:cubicBezTo>
                <a:close/>
                <a:moveTo>
                  <a:pt x="6241935" y="1042109"/>
                </a:moveTo>
                <a:cubicBezTo>
                  <a:pt x="6244957" y="1041672"/>
                  <a:pt x="6248803" y="1043089"/>
                  <a:pt x="6253198" y="1045704"/>
                </a:cubicBezTo>
                <a:cubicBezTo>
                  <a:pt x="6252099" y="1050717"/>
                  <a:pt x="6249352" y="1051807"/>
                  <a:pt x="6246331" y="1051480"/>
                </a:cubicBezTo>
                <a:cubicBezTo>
                  <a:pt x="6243034" y="1051262"/>
                  <a:pt x="6239188" y="1049518"/>
                  <a:pt x="6235343" y="1048973"/>
                </a:cubicBezTo>
                <a:cubicBezTo>
                  <a:pt x="6236991" y="1044724"/>
                  <a:pt x="6239188" y="1042544"/>
                  <a:pt x="6241935" y="1042109"/>
                </a:cubicBezTo>
                <a:close/>
                <a:moveTo>
                  <a:pt x="1882802" y="1041672"/>
                </a:moveTo>
                <a:cubicBezTo>
                  <a:pt x="1894614" y="1049736"/>
                  <a:pt x="1891592" y="1061287"/>
                  <a:pt x="1886373" y="1070986"/>
                </a:cubicBezTo>
                <a:lnTo>
                  <a:pt x="1887746" y="1071858"/>
                </a:lnTo>
                <a:cubicBezTo>
                  <a:pt x="1888570" y="1072402"/>
                  <a:pt x="1889395" y="1072947"/>
                  <a:pt x="1889395" y="1072947"/>
                </a:cubicBezTo>
                <a:cubicBezTo>
                  <a:pt x="1888570" y="1074909"/>
                  <a:pt x="1888570" y="1074800"/>
                  <a:pt x="1888021" y="1073492"/>
                </a:cubicBezTo>
                <a:cubicBezTo>
                  <a:pt x="1886373" y="1073492"/>
                  <a:pt x="1886099" y="1073384"/>
                  <a:pt x="1885824" y="1073166"/>
                </a:cubicBezTo>
                <a:lnTo>
                  <a:pt x="1885275" y="1072839"/>
                </a:lnTo>
                <a:lnTo>
                  <a:pt x="1880879" y="1079922"/>
                </a:lnTo>
                <a:cubicBezTo>
                  <a:pt x="1877583" y="1085589"/>
                  <a:pt x="1873188" y="1091364"/>
                  <a:pt x="1868793" y="1092127"/>
                </a:cubicBezTo>
                <a:cubicBezTo>
                  <a:pt x="1867145" y="1092453"/>
                  <a:pt x="1865496" y="1092236"/>
                  <a:pt x="1864123" y="1091146"/>
                </a:cubicBezTo>
                <a:cubicBezTo>
                  <a:pt x="1859453" y="1088530"/>
                  <a:pt x="1856707" y="1083518"/>
                  <a:pt x="1855882" y="1077852"/>
                </a:cubicBezTo>
                <a:lnTo>
                  <a:pt x="1856157" y="1071313"/>
                </a:lnTo>
                <a:lnTo>
                  <a:pt x="1854509" y="1073384"/>
                </a:lnTo>
                <a:cubicBezTo>
                  <a:pt x="1853410" y="1075236"/>
                  <a:pt x="1851762" y="1076544"/>
                  <a:pt x="1851213" y="1075781"/>
                </a:cubicBezTo>
                <a:cubicBezTo>
                  <a:pt x="1851213" y="1075781"/>
                  <a:pt x="1852586" y="1074364"/>
                  <a:pt x="1853960" y="1072947"/>
                </a:cubicBezTo>
                <a:cubicBezTo>
                  <a:pt x="1855333" y="1071531"/>
                  <a:pt x="1855333" y="1071422"/>
                  <a:pt x="1853685" y="1069896"/>
                </a:cubicBezTo>
                <a:cubicBezTo>
                  <a:pt x="1854509" y="1069133"/>
                  <a:pt x="1854783" y="1068807"/>
                  <a:pt x="1855333" y="1068698"/>
                </a:cubicBezTo>
                <a:lnTo>
                  <a:pt x="1856432" y="1068698"/>
                </a:lnTo>
                <a:lnTo>
                  <a:pt x="1859728" y="1060633"/>
                </a:lnTo>
                <a:lnTo>
                  <a:pt x="1865496" y="1053441"/>
                </a:lnTo>
                <a:lnTo>
                  <a:pt x="1865496" y="1053332"/>
                </a:lnTo>
                <a:lnTo>
                  <a:pt x="1867695" y="1050499"/>
                </a:lnTo>
                <a:cubicBezTo>
                  <a:pt x="1875661" y="1042871"/>
                  <a:pt x="1882802" y="1041672"/>
                  <a:pt x="1882802" y="1041672"/>
                </a:cubicBezTo>
                <a:close/>
                <a:moveTo>
                  <a:pt x="2316820" y="1040365"/>
                </a:moveTo>
                <a:cubicBezTo>
                  <a:pt x="2320117" y="1040801"/>
                  <a:pt x="2323413" y="1043198"/>
                  <a:pt x="2325610" y="1048538"/>
                </a:cubicBezTo>
                <a:cubicBezTo>
                  <a:pt x="2322314" y="1055403"/>
                  <a:pt x="2317919" y="1056602"/>
                  <a:pt x="2314348" y="1060742"/>
                </a:cubicBezTo>
                <a:cubicBezTo>
                  <a:pt x="2307756" y="1058454"/>
                  <a:pt x="2305008" y="1054858"/>
                  <a:pt x="2304734" y="1051262"/>
                </a:cubicBezTo>
                <a:cubicBezTo>
                  <a:pt x="2304459" y="1047666"/>
                  <a:pt x="2306656" y="1044179"/>
                  <a:pt x="2309678" y="1042109"/>
                </a:cubicBezTo>
                <a:cubicBezTo>
                  <a:pt x="2311875" y="1040691"/>
                  <a:pt x="2314348" y="1040037"/>
                  <a:pt x="2316820" y="1040365"/>
                </a:cubicBezTo>
                <a:close/>
                <a:moveTo>
                  <a:pt x="2558002" y="1039929"/>
                </a:moveTo>
                <a:cubicBezTo>
                  <a:pt x="2559650" y="1041019"/>
                  <a:pt x="2561573" y="1041999"/>
                  <a:pt x="2563221" y="1043089"/>
                </a:cubicBezTo>
                <a:cubicBezTo>
                  <a:pt x="2564046" y="1048756"/>
                  <a:pt x="2562397" y="1054095"/>
                  <a:pt x="2558002" y="1054749"/>
                </a:cubicBezTo>
                <a:cubicBezTo>
                  <a:pt x="2556354" y="1055076"/>
                  <a:pt x="2554706" y="1054749"/>
                  <a:pt x="2552508" y="1053769"/>
                </a:cubicBezTo>
                <a:cubicBezTo>
                  <a:pt x="2551134" y="1049518"/>
                  <a:pt x="2553882" y="1041019"/>
                  <a:pt x="2558002" y="1039929"/>
                </a:cubicBezTo>
                <a:close/>
                <a:moveTo>
                  <a:pt x="6356758" y="1038839"/>
                </a:moveTo>
                <a:cubicBezTo>
                  <a:pt x="6360055" y="1039383"/>
                  <a:pt x="6363625" y="1041890"/>
                  <a:pt x="6366647" y="1047230"/>
                </a:cubicBezTo>
                <a:cubicBezTo>
                  <a:pt x="6364449" y="1053986"/>
                  <a:pt x="6360329" y="1055076"/>
                  <a:pt x="6357032" y="1058999"/>
                </a:cubicBezTo>
                <a:cubicBezTo>
                  <a:pt x="6343023" y="1054204"/>
                  <a:pt x="6344122" y="1044288"/>
                  <a:pt x="6349890" y="1040365"/>
                </a:cubicBezTo>
                <a:cubicBezTo>
                  <a:pt x="6351813" y="1039057"/>
                  <a:pt x="6354286" y="1038403"/>
                  <a:pt x="6356758" y="1038839"/>
                </a:cubicBezTo>
                <a:close/>
                <a:moveTo>
                  <a:pt x="1778967" y="1038730"/>
                </a:moveTo>
                <a:cubicBezTo>
                  <a:pt x="1781441" y="1038730"/>
                  <a:pt x="1779242" y="1050063"/>
                  <a:pt x="1777594" y="1057909"/>
                </a:cubicBezTo>
                <a:lnTo>
                  <a:pt x="1776496" y="1063140"/>
                </a:lnTo>
                <a:lnTo>
                  <a:pt x="1778419" y="1063358"/>
                </a:lnTo>
                <a:lnTo>
                  <a:pt x="1780616" y="1064993"/>
                </a:lnTo>
                <a:lnTo>
                  <a:pt x="1783912" y="1064448"/>
                </a:lnTo>
                <a:lnTo>
                  <a:pt x="1784187" y="1063685"/>
                </a:lnTo>
                <a:cubicBezTo>
                  <a:pt x="1785010" y="1061506"/>
                  <a:pt x="1785560" y="1059435"/>
                  <a:pt x="1784736" y="1058563"/>
                </a:cubicBezTo>
                <a:cubicBezTo>
                  <a:pt x="1786110" y="1058781"/>
                  <a:pt x="1787758" y="1057473"/>
                  <a:pt x="1787758" y="1057473"/>
                </a:cubicBezTo>
                <a:cubicBezTo>
                  <a:pt x="1789132" y="1059108"/>
                  <a:pt x="1788857" y="1060525"/>
                  <a:pt x="1788857" y="1062050"/>
                </a:cubicBezTo>
                <a:lnTo>
                  <a:pt x="1785010" y="1064230"/>
                </a:lnTo>
                <a:lnTo>
                  <a:pt x="1796548" y="1062160"/>
                </a:lnTo>
                <a:lnTo>
                  <a:pt x="1800943" y="1062922"/>
                </a:lnTo>
                <a:lnTo>
                  <a:pt x="1800394" y="1061178"/>
                </a:lnTo>
                <a:cubicBezTo>
                  <a:pt x="1803690" y="1061832"/>
                  <a:pt x="1804515" y="1060088"/>
                  <a:pt x="1808635" y="1063576"/>
                </a:cubicBezTo>
                <a:lnTo>
                  <a:pt x="1808360" y="1064121"/>
                </a:lnTo>
                <a:lnTo>
                  <a:pt x="1815777" y="1065319"/>
                </a:lnTo>
                <a:cubicBezTo>
                  <a:pt x="1819623" y="1066736"/>
                  <a:pt x="1823194" y="1068916"/>
                  <a:pt x="1826490" y="1071422"/>
                </a:cubicBezTo>
                <a:cubicBezTo>
                  <a:pt x="1820996" y="1081992"/>
                  <a:pt x="1808360" y="1079050"/>
                  <a:pt x="1799020" y="1079268"/>
                </a:cubicBezTo>
                <a:cubicBezTo>
                  <a:pt x="1801493" y="1088967"/>
                  <a:pt x="1808360" y="1102588"/>
                  <a:pt x="1798197" y="1107492"/>
                </a:cubicBezTo>
                <a:cubicBezTo>
                  <a:pt x="1790230" y="1104767"/>
                  <a:pt x="1789955" y="1095505"/>
                  <a:pt x="1788307" y="1086460"/>
                </a:cubicBezTo>
                <a:lnTo>
                  <a:pt x="1787484" y="1082755"/>
                </a:lnTo>
                <a:lnTo>
                  <a:pt x="1785010" y="1080793"/>
                </a:lnTo>
                <a:lnTo>
                  <a:pt x="1776496" y="1075890"/>
                </a:lnTo>
                <a:lnTo>
                  <a:pt x="1775946" y="1076544"/>
                </a:lnTo>
                <a:lnTo>
                  <a:pt x="1775946" y="1077089"/>
                </a:lnTo>
                <a:lnTo>
                  <a:pt x="1775946" y="1078178"/>
                </a:lnTo>
                <a:lnTo>
                  <a:pt x="1775946" y="1079595"/>
                </a:lnTo>
                <a:lnTo>
                  <a:pt x="1775672" y="1079704"/>
                </a:lnTo>
                <a:lnTo>
                  <a:pt x="1775397" y="1081338"/>
                </a:lnTo>
                <a:cubicBezTo>
                  <a:pt x="1774297" y="1082755"/>
                  <a:pt x="1772924" y="1084281"/>
                  <a:pt x="1772101" y="1085480"/>
                </a:cubicBezTo>
                <a:cubicBezTo>
                  <a:pt x="1773749" y="1088313"/>
                  <a:pt x="1766606" y="1089075"/>
                  <a:pt x="1768254" y="1091800"/>
                </a:cubicBezTo>
                <a:cubicBezTo>
                  <a:pt x="1760289" y="1093980"/>
                  <a:pt x="1761936" y="1104005"/>
                  <a:pt x="1750400" y="1109126"/>
                </a:cubicBezTo>
                <a:lnTo>
                  <a:pt x="1754520" y="1100190"/>
                </a:lnTo>
                <a:lnTo>
                  <a:pt x="1752322" y="1097140"/>
                </a:lnTo>
                <a:cubicBezTo>
                  <a:pt x="1752322" y="1095178"/>
                  <a:pt x="1753146" y="1092998"/>
                  <a:pt x="1754520" y="1090165"/>
                </a:cubicBezTo>
                <a:cubicBezTo>
                  <a:pt x="1756443" y="1091691"/>
                  <a:pt x="1757266" y="1093217"/>
                  <a:pt x="1757266" y="1095287"/>
                </a:cubicBezTo>
                <a:lnTo>
                  <a:pt x="1757266" y="1096159"/>
                </a:lnTo>
                <a:lnTo>
                  <a:pt x="1762486" y="1088749"/>
                </a:lnTo>
                <a:cubicBezTo>
                  <a:pt x="1764958" y="1085589"/>
                  <a:pt x="1767156" y="1082537"/>
                  <a:pt x="1767980" y="1079159"/>
                </a:cubicBezTo>
                <a:cubicBezTo>
                  <a:pt x="1767980" y="1079159"/>
                  <a:pt x="1767980" y="1079268"/>
                  <a:pt x="1772101" y="1078178"/>
                </a:cubicBezTo>
                <a:cubicBezTo>
                  <a:pt x="1772924" y="1076870"/>
                  <a:pt x="1772924" y="1076870"/>
                  <a:pt x="1772924" y="1076870"/>
                </a:cubicBezTo>
                <a:cubicBezTo>
                  <a:pt x="1773199" y="1076216"/>
                  <a:pt x="1774023" y="1076325"/>
                  <a:pt x="1774847" y="1076544"/>
                </a:cubicBezTo>
                <a:lnTo>
                  <a:pt x="1775122" y="1076108"/>
                </a:lnTo>
                <a:lnTo>
                  <a:pt x="1775946" y="1075454"/>
                </a:lnTo>
                <a:lnTo>
                  <a:pt x="1768529" y="1071313"/>
                </a:lnTo>
                <a:cubicBezTo>
                  <a:pt x="1770453" y="1067717"/>
                  <a:pt x="1765508" y="1065973"/>
                  <a:pt x="1768529" y="1062050"/>
                </a:cubicBezTo>
                <a:lnTo>
                  <a:pt x="1772375" y="1062595"/>
                </a:lnTo>
                <a:lnTo>
                  <a:pt x="1772375" y="1062486"/>
                </a:lnTo>
                <a:cubicBezTo>
                  <a:pt x="1772101" y="1060961"/>
                  <a:pt x="1772650" y="1058781"/>
                  <a:pt x="1773199" y="1056057"/>
                </a:cubicBezTo>
                <a:cubicBezTo>
                  <a:pt x="1774297" y="1050717"/>
                  <a:pt x="1777869" y="1044070"/>
                  <a:pt x="1778693" y="1042109"/>
                </a:cubicBezTo>
                <a:cubicBezTo>
                  <a:pt x="1779517" y="1040147"/>
                  <a:pt x="1778967" y="1038730"/>
                  <a:pt x="1778967" y="1038730"/>
                </a:cubicBezTo>
                <a:close/>
                <a:moveTo>
                  <a:pt x="2142663" y="1037858"/>
                </a:moveTo>
                <a:cubicBezTo>
                  <a:pt x="2144037" y="1040365"/>
                  <a:pt x="2149806" y="1038403"/>
                  <a:pt x="2148707" y="1042544"/>
                </a:cubicBezTo>
                <a:cubicBezTo>
                  <a:pt x="2146784" y="1042109"/>
                  <a:pt x="2144037" y="1040365"/>
                  <a:pt x="2142114" y="1039929"/>
                </a:cubicBezTo>
                <a:cubicBezTo>
                  <a:pt x="2142114" y="1039929"/>
                  <a:pt x="2142114" y="1039929"/>
                  <a:pt x="2142663" y="1037858"/>
                </a:cubicBezTo>
                <a:close/>
                <a:moveTo>
                  <a:pt x="984276" y="1037749"/>
                </a:moveTo>
                <a:cubicBezTo>
                  <a:pt x="985374" y="1039383"/>
                  <a:pt x="985374" y="1039383"/>
                  <a:pt x="985099" y="1043634"/>
                </a:cubicBezTo>
                <a:cubicBezTo>
                  <a:pt x="984001" y="1041999"/>
                  <a:pt x="984001" y="1041999"/>
                  <a:pt x="982628" y="1043198"/>
                </a:cubicBezTo>
                <a:cubicBezTo>
                  <a:pt x="982628" y="1043198"/>
                  <a:pt x="982628" y="1043198"/>
                  <a:pt x="982353" y="1044614"/>
                </a:cubicBezTo>
                <a:cubicBezTo>
                  <a:pt x="980979" y="1044397"/>
                  <a:pt x="981254" y="1042980"/>
                  <a:pt x="979881" y="1042762"/>
                </a:cubicBezTo>
                <a:cubicBezTo>
                  <a:pt x="979881" y="1042762"/>
                  <a:pt x="979881" y="1041345"/>
                  <a:pt x="979881" y="1041345"/>
                </a:cubicBezTo>
                <a:cubicBezTo>
                  <a:pt x="979331" y="1041236"/>
                  <a:pt x="979331" y="1041236"/>
                  <a:pt x="979606" y="1040910"/>
                </a:cubicBezTo>
                <a:cubicBezTo>
                  <a:pt x="979881" y="1040582"/>
                  <a:pt x="980704" y="1040037"/>
                  <a:pt x="981528" y="1038730"/>
                </a:cubicBezTo>
                <a:cubicBezTo>
                  <a:pt x="982903" y="1037531"/>
                  <a:pt x="982903" y="1036114"/>
                  <a:pt x="984276" y="1037749"/>
                </a:cubicBezTo>
                <a:close/>
                <a:moveTo>
                  <a:pt x="2434390" y="1035570"/>
                </a:moveTo>
                <a:cubicBezTo>
                  <a:pt x="2440707" y="1039711"/>
                  <a:pt x="2442081" y="1045487"/>
                  <a:pt x="2440707" y="1053332"/>
                </a:cubicBezTo>
                <a:cubicBezTo>
                  <a:pt x="2437961" y="1054204"/>
                  <a:pt x="2433016" y="1051044"/>
                  <a:pt x="2429720" y="1048973"/>
                </a:cubicBezTo>
                <a:cubicBezTo>
                  <a:pt x="2428896" y="1044724"/>
                  <a:pt x="2430818" y="1039602"/>
                  <a:pt x="2434390" y="1035570"/>
                </a:cubicBezTo>
                <a:close/>
                <a:moveTo>
                  <a:pt x="2603327" y="1034807"/>
                </a:moveTo>
                <a:cubicBezTo>
                  <a:pt x="2606348" y="1034371"/>
                  <a:pt x="2610194" y="1035788"/>
                  <a:pt x="2614589" y="1038403"/>
                </a:cubicBezTo>
                <a:cubicBezTo>
                  <a:pt x="2613491" y="1043416"/>
                  <a:pt x="2610743" y="1044505"/>
                  <a:pt x="2607448" y="1044179"/>
                </a:cubicBezTo>
                <a:cubicBezTo>
                  <a:pt x="2604425" y="1043851"/>
                  <a:pt x="2600580" y="1042217"/>
                  <a:pt x="2596734" y="1041672"/>
                </a:cubicBezTo>
                <a:cubicBezTo>
                  <a:pt x="2598382" y="1037422"/>
                  <a:pt x="2600305" y="1035243"/>
                  <a:pt x="2603327" y="1034807"/>
                </a:cubicBezTo>
                <a:close/>
                <a:moveTo>
                  <a:pt x="1077328" y="1030653"/>
                </a:moveTo>
                <a:cubicBezTo>
                  <a:pt x="1079801" y="1031238"/>
                  <a:pt x="1081792" y="1033772"/>
                  <a:pt x="1084539" y="1036442"/>
                </a:cubicBezTo>
                <a:cubicBezTo>
                  <a:pt x="1082891" y="1039057"/>
                  <a:pt x="1083989" y="1043743"/>
                  <a:pt x="1080968" y="1046140"/>
                </a:cubicBezTo>
                <a:cubicBezTo>
                  <a:pt x="1080968" y="1046140"/>
                  <a:pt x="1079319" y="1047339"/>
                  <a:pt x="1076573" y="1046903"/>
                </a:cubicBezTo>
                <a:cubicBezTo>
                  <a:pt x="1075475" y="1047448"/>
                  <a:pt x="1074375" y="1047666"/>
                  <a:pt x="1073276" y="1047448"/>
                </a:cubicBezTo>
                <a:cubicBezTo>
                  <a:pt x="1070530" y="1047012"/>
                  <a:pt x="1068057" y="1044070"/>
                  <a:pt x="1068057" y="1044070"/>
                </a:cubicBezTo>
                <a:cubicBezTo>
                  <a:pt x="1068057" y="1044070"/>
                  <a:pt x="1068057" y="1044070"/>
                  <a:pt x="1068057" y="1045487"/>
                </a:cubicBezTo>
                <a:cubicBezTo>
                  <a:pt x="1068332" y="1042544"/>
                  <a:pt x="1066958" y="1039493"/>
                  <a:pt x="1067233" y="1036551"/>
                </a:cubicBezTo>
                <a:cubicBezTo>
                  <a:pt x="1071903" y="1031429"/>
                  <a:pt x="1074856" y="1030067"/>
                  <a:pt x="1077328" y="1030653"/>
                </a:cubicBezTo>
                <a:close/>
                <a:moveTo>
                  <a:pt x="1254781" y="1029972"/>
                </a:moveTo>
                <a:cubicBezTo>
                  <a:pt x="1257116" y="1029059"/>
                  <a:pt x="1259245" y="1029249"/>
                  <a:pt x="1260894" y="1031646"/>
                </a:cubicBezTo>
                <a:cubicBezTo>
                  <a:pt x="1260344" y="1035243"/>
                  <a:pt x="1258146" y="1038076"/>
                  <a:pt x="1255674" y="1038948"/>
                </a:cubicBezTo>
                <a:cubicBezTo>
                  <a:pt x="1252927" y="1039820"/>
                  <a:pt x="1249906" y="1038730"/>
                  <a:pt x="1247433" y="1034916"/>
                </a:cubicBezTo>
                <a:cubicBezTo>
                  <a:pt x="1249905" y="1032900"/>
                  <a:pt x="1252446" y="1030884"/>
                  <a:pt x="1254781" y="1029972"/>
                </a:cubicBezTo>
                <a:close/>
                <a:moveTo>
                  <a:pt x="2318194" y="1029250"/>
                </a:moveTo>
                <a:cubicBezTo>
                  <a:pt x="2320117" y="1029903"/>
                  <a:pt x="2321764" y="1030557"/>
                  <a:pt x="2320666" y="1031211"/>
                </a:cubicBezTo>
                <a:cubicBezTo>
                  <a:pt x="2321215" y="1032519"/>
                  <a:pt x="2319842" y="1033173"/>
                  <a:pt x="2319018" y="1035134"/>
                </a:cubicBezTo>
                <a:cubicBezTo>
                  <a:pt x="2317095" y="1037749"/>
                  <a:pt x="2312975" y="1039602"/>
                  <a:pt x="2311326" y="1038948"/>
                </a:cubicBezTo>
                <a:cubicBezTo>
                  <a:pt x="2309403" y="1038294"/>
                  <a:pt x="2308854" y="1036987"/>
                  <a:pt x="2308854" y="1036987"/>
                </a:cubicBezTo>
                <a:cubicBezTo>
                  <a:pt x="2309953" y="1031756"/>
                  <a:pt x="2312975" y="1027179"/>
                  <a:pt x="2318194" y="1029250"/>
                </a:cubicBezTo>
                <a:close/>
                <a:moveTo>
                  <a:pt x="2455301" y="1028133"/>
                </a:moveTo>
                <a:cubicBezTo>
                  <a:pt x="2456434" y="1028351"/>
                  <a:pt x="2457602" y="1029468"/>
                  <a:pt x="2459113" y="1030993"/>
                </a:cubicBezTo>
                <a:cubicBezTo>
                  <a:pt x="2458288" y="1032300"/>
                  <a:pt x="2457738" y="1033390"/>
                  <a:pt x="2456640" y="1033718"/>
                </a:cubicBezTo>
                <a:cubicBezTo>
                  <a:pt x="2455541" y="1034044"/>
                  <a:pt x="2454168" y="1033608"/>
                  <a:pt x="2451970" y="1032083"/>
                </a:cubicBezTo>
                <a:cubicBezTo>
                  <a:pt x="2451970" y="1032083"/>
                  <a:pt x="2451695" y="1030666"/>
                  <a:pt x="2451695" y="1030666"/>
                </a:cubicBezTo>
                <a:cubicBezTo>
                  <a:pt x="2453069" y="1028596"/>
                  <a:pt x="2454168" y="1027915"/>
                  <a:pt x="2455301" y="1028133"/>
                </a:cubicBezTo>
                <a:close/>
                <a:moveTo>
                  <a:pt x="1784736" y="1026416"/>
                </a:moveTo>
                <a:cubicBezTo>
                  <a:pt x="1783912" y="1028377"/>
                  <a:pt x="1781715" y="1034262"/>
                  <a:pt x="1781715" y="1034262"/>
                </a:cubicBezTo>
                <a:cubicBezTo>
                  <a:pt x="1781989" y="1035570"/>
                  <a:pt x="1782264" y="1035570"/>
                  <a:pt x="1781441" y="1037531"/>
                </a:cubicBezTo>
                <a:cubicBezTo>
                  <a:pt x="1779517" y="1036878"/>
                  <a:pt x="1779517" y="1036878"/>
                  <a:pt x="1778967" y="1035570"/>
                </a:cubicBezTo>
                <a:cubicBezTo>
                  <a:pt x="1779792" y="1033608"/>
                  <a:pt x="1781166" y="1032954"/>
                  <a:pt x="1781989" y="1030993"/>
                </a:cubicBezTo>
                <a:cubicBezTo>
                  <a:pt x="1778419" y="1029576"/>
                  <a:pt x="1778693" y="1030993"/>
                  <a:pt x="1779517" y="1029031"/>
                </a:cubicBezTo>
                <a:cubicBezTo>
                  <a:pt x="1779517" y="1029031"/>
                  <a:pt x="1779517" y="1029031"/>
                  <a:pt x="1780341" y="1027070"/>
                </a:cubicBezTo>
                <a:cubicBezTo>
                  <a:pt x="1780341" y="1027070"/>
                  <a:pt x="1779792" y="1025653"/>
                  <a:pt x="1784736" y="1026416"/>
                </a:cubicBezTo>
                <a:close/>
                <a:moveTo>
                  <a:pt x="2436037" y="1025653"/>
                </a:moveTo>
                <a:cubicBezTo>
                  <a:pt x="2437411" y="1024128"/>
                  <a:pt x="2442081" y="1027288"/>
                  <a:pt x="2443455" y="1027397"/>
                </a:cubicBezTo>
                <a:cubicBezTo>
                  <a:pt x="2443455" y="1028813"/>
                  <a:pt x="2442081" y="1030339"/>
                  <a:pt x="2442081" y="1031865"/>
                </a:cubicBezTo>
                <a:cubicBezTo>
                  <a:pt x="2440707" y="1031756"/>
                  <a:pt x="2437686" y="1031646"/>
                  <a:pt x="2436312" y="1030121"/>
                </a:cubicBezTo>
                <a:cubicBezTo>
                  <a:pt x="2434664" y="1030012"/>
                  <a:pt x="2436037" y="1025653"/>
                  <a:pt x="2436037" y="1025653"/>
                </a:cubicBezTo>
                <a:close/>
                <a:moveTo>
                  <a:pt x="1126568" y="1025653"/>
                </a:moveTo>
                <a:cubicBezTo>
                  <a:pt x="1129864" y="1025327"/>
                  <a:pt x="1137830" y="1031429"/>
                  <a:pt x="1137281" y="1033499"/>
                </a:cubicBezTo>
                <a:cubicBezTo>
                  <a:pt x="1133434" y="1033390"/>
                  <a:pt x="1127116" y="1033281"/>
                  <a:pt x="1124370" y="1030993"/>
                </a:cubicBezTo>
                <a:cubicBezTo>
                  <a:pt x="1123271" y="1030230"/>
                  <a:pt x="1122721" y="1029250"/>
                  <a:pt x="1122996" y="1027942"/>
                </a:cubicBezTo>
                <a:cubicBezTo>
                  <a:pt x="1123546" y="1025871"/>
                  <a:pt x="1125469" y="1026416"/>
                  <a:pt x="1126568" y="1025653"/>
                </a:cubicBezTo>
                <a:close/>
                <a:moveTo>
                  <a:pt x="2292373" y="1024999"/>
                </a:moveTo>
                <a:lnTo>
                  <a:pt x="2293196" y="1027179"/>
                </a:lnTo>
                <a:lnTo>
                  <a:pt x="2295943" y="1025108"/>
                </a:lnTo>
                <a:cubicBezTo>
                  <a:pt x="2295119" y="1025544"/>
                  <a:pt x="2294295" y="1025871"/>
                  <a:pt x="2293196" y="1025762"/>
                </a:cubicBezTo>
                <a:close/>
                <a:moveTo>
                  <a:pt x="1775672" y="1022929"/>
                </a:moveTo>
                <a:cubicBezTo>
                  <a:pt x="1775672" y="1022929"/>
                  <a:pt x="1777045" y="1022384"/>
                  <a:pt x="1778693" y="1023038"/>
                </a:cubicBezTo>
                <a:cubicBezTo>
                  <a:pt x="1781989" y="1023147"/>
                  <a:pt x="1778693" y="1026307"/>
                  <a:pt x="1780341" y="1027070"/>
                </a:cubicBezTo>
                <a:cubicBezTo>
                  <a:pt x="1769079" y="1029576"/>
                  <a:pt x="1760838" y="1036768"/>
                  <a:pt x="1760838" y="1036768"/>
                </a:cubicBezTo>
                <a:cubicBezTo>
                  <a:pt x="1757816" y="1036768"/>
                  <a:pt x="1757266" y="1035461"/>
                  <a:pt x="1757541" y="1036768"/>
                </a:cubicBezTo>
                <a:cubicBezTo>
                  <a:pt x="1753971" y="1035352"/>
                  <a:pt x="1749027" y="1034698"/>
                  <a:pt x="1749301" y="1031429"/>
                </a:cubicBezTo>
                <a:cubicBezTo>
                  <a:pt x="1752871" y="1020205"/>
                  <a:pt x="1771276" y="1023583"/>
                  <a:pt x="1775672" y="1022929"/>
                </a:cubicBezTo>
                <a:close/>
                <a:moveTo>
                  <a:pt x="1578990" y="1020205"/>
                </a:moveTo>
                <a:cubicBezTo>
                  <a:pt x="1577617" y="1026198"/>
                  <a:pt x="1577617" y="1026307"/>
                  <a:pt x="1574045" y="1030557"/>
                </a:cubicBezTo>
                <a:cubicBezTo>
                  <a:pt x="1573770" y="1028596"/>
                  <a:pt x="1571573" y="1024890"/>
                  <a:pt x="1573221" y="1022711"/>
                </a:cubicBezTo>
                <a:cubicBezTo>
                  <a:pt x="1574045" y="1021730"/>
                  <a:pt x="1574595" y="1021186"/>
                  <a:pt x="1575144" y="1020859"/>
                </a:cubicBezTo>
                <a:cubicBezTo>
                  <a:pt x="1575969" y="1020531"/>
                  <a:pt x="1577067" y="1020422"/>
                  <a:pt x="1578990" y="1020205"/>
                </a:cubicBezTo>
                <a:close/>
                <a:moveTo>
                  <a:pt x="1883626" y="1019878"/>
                </a:moveTo>
                <a:cubicBezTo>
                  <a:pt x="1884176" y="1023038"/>
                  <a:pt x="1886099" y="1023038"/>
                  <a:pt x="1884725" y="1028160"/>
                </a:cubicBezTo>
                <a:cubicBezTo>
                  <a:pt x="1882527" y="1028051"/>
                  <a:pt x="1880879" y="1027942"/>
                  <a:pt x="1878682" y="1027942"/>
                </a:cubicBezTo>
                <a:cubicBezTo>
                  <a:pt x="1879231" y="1023800"/>
                  <a:pt x="1879506" y="1019769"/>
                  <a:pt x="1883626" y="1019878"/>
                </a:cubicBezTo>
                <a:close/>
                <a:moveTo>
                  <a:pt x="6441913" y="1019660"/>
                </a:moveTo>
                <a:cubicBezTo>
                  <a:pt x="6447133" y="1018352"/>
                  <a:pt x="6453176" y="1019442"/>
                  <a:pt x="6456472" y="1023038"/>
                </a:cubicBezTo>
                <a:cubicBezTo>
                  <a:pt x="6452352" y="1030012"/>
                  <a:pt x="6447957" y="1034262"/>
                  <a:pt x="6441364" y="1033390"/>
                </a:cubicBezTo>
                <a:cubicBezTo>
                  <a:pt x="6439166" y="1033064"/>
                  <a:pt x="6436969" y="1032191"/>
                  <a:pt x="6434221" y="1030666"/>
                </a:cubicBezTo>
                <a:cubicBezTo>
                  <a:pt x="6433123" y="1024782"/>
                  <a:pt x="6436969" y="1021076"/>
                  <a:pt x="6441913" y="1019660"/>
                </a:cubicBezTo>
                <a:close/>
                <a:moveTo>
                  <a:pt x="2521193" y="1018788"/>
                </a:moveTo>
                <a:cubicBezTo>
                  <a:pt x="2528610" y="1018026"/>
                  <a:pt x="2531357" y="1027942"/>
                  <a:pt x="2534927" y="1033390"/>
                </a:cubicBezTo>
                <a:lnTo>
                  <a:pt x="2536302" y="1034044"/>
                </a:lnTo>
                <a:lnTo>
                  <a:pt x="2537950" y="1033281"/>
                </a:lnTo>
                <a:cubicBezTo>
                  <a:pt x="2539323" y="1033064"/>
                  <a:pt x="2540971" y="1033173"/>
                  <a:pt x="2542345" y="1033390"/>
                </a:cubicBezTo>
                <a:cubicBezTo>
                  <a:pt x="2544817" y="1033935"/>
                  <a:pt x="2545916" y="1034916"/>
                  <a:pt x="2546190" y="1036442"/>
                </a:cubicBezTo>
                <a:cubicBezTo>
                  <a:pt x="2546466" y="1037858"/>
                  <a:pt x="2545916" y="1039711"/>
                  <a:pt x="2544817" y="1041672"/>
                </a:cubicBezTo>
                <a:lnTo>
                  <a:pt x="2542345" y="1044288"/>
                </a:lnTo>
                <a:lnTo>
                  <a:pt x="2542345" y="1045922"/>
                </a:lnTo>
                <a:lnTo>
                  <a:pt x="2543993" y="1046794"/>
                </a:lnTo>
                <a:cubicBezTo>
                  <a:pt x="2540696" y="1060088"/>
                  <a:pt x="2553058" y="1066083"/>
                  <a:pt x="2558827" y="1079922"/>
                </a:cubicBezTo>
                <a:lnTo>
                  <a:pt x="2560749" y="1093107"/>
                </a:lnTo>
                <a:lnTo>
                  <a:pt x="2567067" y="1077633"/>
                </a:lnTo>
                <a:cubicBezTo>
                  <a:pt x="2570913" y="1066409"/>
                  <a:pt x="2574484" y="1055621"/>
                  <a:pt x="2579703" y="1046358"/>
                </a:cubicBezTo>
                <a:lnTo>
                  <a:pt x="2581901" y="1058018"/>
                </a:lnTo>
                <a:lnTo>
                  <a:pt x="2583274" y="1057473"/>
                </a:lnTo>
                <a:cubicBezTo>
                  <a:pt x="2586571" y="1053224"/>
                  <a:pt x="2582450" y="1045159"/>
                  <a:pt x="2590416" y="1044288"/>
                </a:cubicBezTo>
                <a:cubicBezTo>
                  <a:pt x="2594812" y="1045813"/>
                  <a:pt x="2599756" y="1045922"/>
                  <a:pt x="2603602" y="1049192"/>
                </a:cubicBezTo>
                <a:cubicBezTo>
                  <a:pt x="2604975" y="1050281"/>
                  <a:pt x="2606073" y="1051807"/>
                  <a:pt x="2607173" y="1053659"/>
                </a:cubicBezTo>
                <a:cubicBezTo>
                  <a:pt x="2596185" y="1058127"/>
                  <a:pt x="2590966" y="1064665"/>
                  <a:pt x="2582725" y="1070768"/>
                </a:cubicBezTo>
                <a:lnTo>
                  <a:pt x="2582175" y="1070223"/>
                </a:lnTo>
                <a:lnTo>
                  <a:pt x="2579978" y="1082973"/>
                </a:lnTo>
                <a:lnTo>
                  <a:pt x="2575034" y="1098229"/>
                </a:lnTo>
                <a:lnTo>
                  <a:pt x="2577505" y="1098448"/>
                </a:lnTo>
                <a:cubicBezTo>
                  <a:pt x="2579153" y="1098883"/>
                  <a:pt x="2580802" y="1099755"/>
                  <a:pt x="2582450" y="1101281"/>
                </a:cubicBezTo>
                <a:cubicBezTo>
                  <a:pt x="2584923" y="1108364"/>
                  <a:pt x="2578604" y="1111633"/>
                  <a:pt x="2577231" y="1116646"/>
                </a:cubicBezTo>
                <a:cubicBezTo>
                  <a:pt x="2574210" y="1115774"/>
                  <a:pt x="2572011" y="1114248"/>
                  <a:pt x="2570364" y="1112396"/>
                </a:cubicBezTo>
                <a:lnTo>
                  <a:pt x="2570364" y="1111960"/>
                </a:lnTo>
                <a:lnTo>
                  <a:pt x="2567616" y="1120024"/>
                </a:lnTo>
                <a:cubicBezTo>
                  <a:pt x="2563221" y="1116972"/>
                  <a:pt x="2559101" y="1118171"/>
                  <a:pt x="2553333" y="1112069"/>
                </a:cubicBezTo>
                <a:lnTo>
                  <a:pt x="2559925" y="1095396"/>
                </a:lnTo>
                <a:lnTo>
                  <a:pt x="2545366" y="1080031"/>
                </a:lnTo>
                <a:lnTo>
                  <a:pt x="2531906" y="1057147"/>
                </a:lnTo>
                <a:lnTo>
                  <a:pt x="2530533" y="1057364"/>
                </a:lnTo>
                <a:cubicBezTo>
                  <a:pt x="2528335" y="1056710"/>
                  <a:pt x="2525863" y="1054967"/>
                  <a:pt x="2523940" y="1052025"/>
                </a:cubicBezTo>
                <a:lnTo>
                  <a:pt x="2524214" y="1046249"/>
                </a:lnTo>
                <a:lnTo>
                  <a:pt x="2516798" y="1036551"/>
                </a:lnTo>
                <a:cubicBezTo>
                  <a:pt x="2516798" y="1036551"/>
                  <a:pt x="2516798" y="1036551"/>
                  <a:pt x="2518995" y="1027723"/>
                </a:cubicBezTo>
                <a:cubicBezTo>
                  <a:pt x="2517073" y="1024999"/>
                  <a:pt x="2517073" y="1024999"/>
                  <a:pt x="2517073" y="1024999"/>
                </a:cubicBezTo>
                <a:cubicBezTo>
                  <a:pt x="2515425" y="1022384"/>
                  <a:pt x="2521193" y="1018788"/>
                  <a:pt x="2521193" y="1018788"/>
                </a:cubicBezTo>
                <a:close/>
                <a:moveTo>
                  <a:pt x="2404722" y="1018243"/>
                </a:moveTo>
                <a:cubicBezTo>
                  <a:pt x="2409941" y="1016718"/>
                  <a:pt x="2415985" y="1017590"/>
                  <a:pt x="2419007" y="1021076"/>
                </a:cubicBezTo>
                <a:cubicBezTo>
                  <a:pt x="2413787" y="1028160"/>
                  <a:pt x="2408843" y="1032736"/>
                  <a:pt x="2402250" y="1032083"/>
                </a:cubicBezTo>
                <a:cubicBezTo>
                  <a:pt x="2400328" y="1031865"/>
                  <a:pt x="2397855" y="1030993"/>
                  <a:pt x="2395383" y="1029576"/>
                </a:cubicBezTo>
                <a:cubicBezTo>
                  <a:pt x="2395108" y="1023692"/>
                  <a:pt x="2399503" y="1019769"/>
                  <a:pt x="2404722" y="1018243"/>
                </a:cubicBezTo>
                <a:close/>
                <a:moveTo>
                  <a:pt x="1955322" y="1014320"/>
                </a:moveTo>
                <a:cubicBezTo>
                  <a:pt x="1955322" y="1014320"/>
                  <a:pt x="1957244" y="1014103"/>
                  <a:pt x="1959717" y="1015737"/>
                </a:cubicBezTo>
                <a:cubicBezTo>
                  <a:pt x="1959992" y="1017698"/>
                  <a:pt x="1958068" y="1021730"/>
                  <a:pt x="1955871" y="1021839"/>
                </a:cubicBezTo>
                <a:cubicBezTo>
                  <a:pt x="1953948" y="1022058"/>
                  <a:pt x="1953673" y="1020205"/>
                  <a:pt x="1953398" y="1018243"/>
                </a:cubicBezTo>
                <a:cubicBezTo>
                  <a:pt x="1953124" y="1014538"/>
                  <a:pt x="1953124" y="1014538"/>
                  <a:pt x="1955322" y="1014320"/>
                </a:cubicBezTo>
                <a:close/>
                <a:moveTo>
                  <a:pt x="1750331" y="1014293"/>
                </a:moveTo>
                <a:cubicBezTo>
                  <a:pt x="1755619" y="1014048"/>
                  <a:pt x="1759876" y="1014211"/>
                  <a:pt x="1761388" y="1014320"/>
                </a:cubicBezTo>
                <a:cubicBezTo>
                  <a:pt x="1763035" y="1014429"/>
                  <a:pt x="1763859" y="1014865"/>
                  <a:pt x="1764134" y="1015628"/>
                </a:cubicBezTo>
                <a:cubicBezTo>
                  <a:pt x="1764684" y="1016391"/>
                  <a:pt x="1764684" y="1017590"/>
                  <a:pt x="1764409" y="1019224"/>
                </a:cubicBezTo>
                <a:cubicBezTo>
                  <a:pt x="1760289" y="1025653"/>
                  <a:pt x="1753421" y="1023800"/>
                  <a:pt x="1746279" y="1025217"/>
                </a:cubicBezTo>
                <a:cubicBezTo>
                  <a:pt x="1746005" y="1023910"/>
                  <a:pt x="1744082" y="1023038"/>
                  <a:pt x="1742708" y="1023583"/>
                </a:cubicBezTo>
                <a:lnTo>
                  <a:pt x="1740785" y="1022820"/>
                </a:lnTo>
                <a:lnTo>
                  <a:pt x="1744631" y="1026307"/>
                </a:lnTo>
                <a:cubicBezTo>
                  <a:pt x="1746279" y="1029576"/>
                  <a:pt x="1746005" y="1033718"/>
                  <a:pt x="1746005" y="1039383"/>
                </a:cubicBezTo>
                <a:cubicBezTo>
                  <a:pt x="1745455" y="1038076"/>
                  <a:pt x="1744631" y="1040037"/>
                  <a:pt x="1744631" y="1040037"/>
                </a:cubicBezTo>
                <a:cubicBezTo>
                  <a:pt x="1742983" y="1044070"/>
                  <a:pt x="1751498" y="1041455"/>
                  <a:pt x="1750400" y="1046794"/>
                </a:cubicBezTo>
                <a:cubicBezTo>
                  <a:pt x="1747652" y="1055294"/>
                  <a:pt x="1737489" y="1057692"/>
                  <a:pt x="1731995" y="1058563"/>
                </a:cubicBezTo>
                <a:lnTo>
                  <a:pt x="1728974" y="1059108"/>
                </a:lnTo>
                <a:lnTo>
                  <a:pt x="1729248" y="1060307"/>
                </a:lnTo>
                <a:lnTo>
                  <a:pt x="1732270" y="1060416"/>
                </a:lnTo>
                <a:cubicBezTo>
                  <a:pt x="1740785" y="1060961"/>
                  <a:pt x="1748202" y="1063031"/>
                  <a:pt x="1748752" y="1069352"/>
                </a:cubicBezTo>
                <a:cubicBezTo>
                  <a:pt x="1743532" y="1069569"/>
                  <a:pt x="1734742" y="1071640"/>
                  <a:pt x="1726776" y="1071531"/>
                </a:cubicBezTo>
                <a:cubicBezTo>
                  <a:pt x="1718809" y="1071313"/>
                  <a:pt x="1711668" y="1068916"/>
                  <a:pt x="1710020" y="1060525"/>
                </a:cubicBezTo>
                <a:cubicBezTo>
                  <a:pt x="1712491" y="1060525"/>
                  <a:pt x="1715788" y="1060416"/>
                  <a:pt x="1719634" y="1060307"/>
                </a:cubicBezTo>
                <a:lnTo>
                  <a:pt x="1724304" y="1060307"/>
                </a:lnTo>
                <a:lnTo>
                  <a:pt x="1720182" y="1059435"/>
                </a:lnTo>
                <a:cubicBezTo>
                  <a:pt x="1718809" y="1058781"/>
                  <a:pt x="1718535" y="1057909"/>
                  <a:pt x="1719359" y="1055839"/>
                </a:cubicBezTo>
                <a:cubicBezTo>
                  <a:pt x="1719634" y="1052570"/>
                  <a:pt x="1722656" y="1052570"/>
                  <a:pt x="1724304" y="1048538"/>
                </a:cubicBezTo>
                <a:cubicBezTo>
                  <a:pt x="1725127" y="1044942"/>
                  <a:pt x="1722381" y="1042326"/>
                  <a:pt x="1719634" y="1038948"/>
                </a:cubicBezTo>
                <a:lnTo>
                  <a:pt x="1719084" y="1038185"/>
                </a:lnTo>
                <a:cubicBezTo>
                  <a:pt x="1717986" y="1037204"/>
                  <a:pt x="1717161" y="1035788"/>
                  <a:pt x="1716887" y="1034262"/>
                </a:cubicBezTo>
                <a:lnTo>
                  <a:pt x="1716887" y="1034153"/>
                </a:lnTo>
                <a:lnTo>
                  <a:pt x="1716338" y="1032845"/>
                </a:lnTo>
                <a:cubicBezTo>
                  <a:pt x="1715513" y="1030339"/>
                  <a:pt x="1715239" y="1027397"/>
                  <a:pt x="1716338" y="1023692"/>
                </a:cubicBezTo>
                <a:cubicBezTo>
                  <a:pt x="1719908" y="1025108"/>
                  <a:pt x="1724578" y="1016500"/>
                  <a:pt x="1730072" y="1018570"/>
                </a:cubicBezTo>
                <a:lnTo>
                  <a:pt x="1733918" y="1019878"/>
                </a:lnTo>
                <a:lnTo>
                  <a:pt x="1733094" y="1016718"/>
                </a:lnTo>
                <a:cubicBezTo>
                  <a:pt x="1738725" y="1015192"/>
                  <a:pt x="1745043" y="1014538"/>
                  <a:pt x="1750331" y="1014293"/>
                </a:cubicBezTo>
                <a:close/>
                <a:moveTo>
                  <a:pt x="2130577" y="1013667"/>
                </a:moveTo>
                <a:cubicBezTo>
                  <a:pt x="2137444" y="1017698"/>
                  <a:pt x="2141290" y="1028596"/>
                  <a:pt x="2142114" y="1029903"/>
                </a:cubicBezTo>
                <a:cubicBezTo>
                  <a:pt x="2140741" y="1030666"/>
                  <a:pt x="2140741" y="1030666"/>
                  <a:pt x="2140741" y="1030666"/>
                </a:cubicBezTo>
                <a:cubicBezTo>
                  <a:pt x="2139917" y="1026307"/>
                  <a:pt x="2134148" y="1023800"/>
                  <a:pt x="2131126" y="1019442"/>
                </a:cubicBezTo>
                <a:cubicBezTo>
                  <a:pt x="2130302" y="1018026"/>
                  <a:pt x="2129478" y="1016391"/>
                  <a:pt x="2129204" y="1014429"/>
                </a:cubicBezTo>
                <a:cubicBezTo>
                  <a:pt x="2129204" y="1014429"/>
                  <a:pt x="2129204" y="1014538"/>
                  <a:pt x="2130028" y="1015737"/>
                </a:cubicBezTo>
                <a:cubicBezTo>
                  <a:pt x="2130028" y="1015737"/>
                  <a:pt x="2129204" y="1014429"/>
                  <a:pt x="2130577" y="1013667"/>
                </a:cubicBezTo>
                <a:close/>
                <a:moveTo>
                  <a:pt x="2564870" y="1011487"/>
                </a:moveTo>
                <a:cubicBezTo>
                  <a:pt x="2574484" y="1016282"/>
                  <a:pt x="2579703" y="1021621"/>
                  <a:pt x="2575034" y="1033499"/>
                </a:cubicBezTo>
                <a:cubicBezTo>
                  <a:pt x="2573660" y="1033935"/>
                  <a:pt x="2572561" y="1034044"/>
                  <a:pt x="2571187" y="1033935"/>
                </a:cubicBezTo>
                <a:cubicBezTo>
                  <a:pt x="2567616" y="1033499"/>
                  <a:pt x="2564870" y="1030666"/>
                  <a:pt x="2563496" y="1026961"/>
                </a:cubicBezTo>
                <a:cubicBezTo>
                  <a:pt x="2561573" y="1021949"/>
                  <a:pt x="2561848" y="1015410"/>
                  <a:pt x="2564870" y="1011487"/>
                </a:cubicBezTo>
                <a:close/>
                <a:moveTo>
                  <a:pt x="1418019" y="1011269"/>
                </a:moveTo>
                <a:cubicBezTo>
                  <a:pt x="1420216" y="1013013"/>
                  <a:pt x="1424337" y="1014647"/>
                  <a:pt x="1426534" y="1016282"/>
                </a:cubicBezTo>
                <a:cubicBezTo>
                  <a:pt x="1427908" y="1016173"/>
                  <a:pt x="1437521" y="1018461"/>
                  <a:pt x="1443016" y="1026089"/>
                </a:cubicBezTo>
                <a:lnTo>
                  <a:pt x="1444665" y="1031102"/>
                </a:lnTo>
                <a:lnTo>
                  <a:pt x="1448509" y="1029467"/>
                </a:lnTo>
                <a:cubicBezTo>
                  <a:pt x="1460597" y="1026416"/>
                  <a:pt x="1472683" y="1027723"/>
                  <a:pt x="1475705" y="1037204"/>
                </a:cubicBezTo>
                <a:lnTo>
                  <a:pt x="1467189" y="1038076"/>
                </a:lnTo>
                <a:lnTo>
                  <a:pt x="1463344" y="1041345"/>
                </a:lnTo>
                <a:cubicBezTo>
                  <a:pt x="1459497" y="1043743"/>
                  <a:pt x="1454828" y="1045159"/>
                  <a:pt x="1450983" y="1045813"/>
                </a:cubicBezTo>
                <a:lnTo>
                  <a:pt x="1448509" y="1043960"/>
                </a:lnTo>
                <a:lnTo>
                  <a:pt x="1445763" y="1044942"/>
                </a:lnTo>
                <a:cubicBezTo>
                  <a:pt x="1444115" y="1056165"/>
                  <a:pt x="1438071" y="1070768"/>
                  <a:pt x="1426260" y="1071858"/>
                </a:cubicBezTo>
                <a:cubicBezTo>
                  <a:pt x="1422689" y="1074146"/>
                  <a:pt x="1418568" y="1074474"/>
                  <a:pt x="1414722" y="1074800"/>
                </a:cubicBezTo>
                <a:cubicBezTo>
                  <a:pt x="1406756" y="1075563"/>
                  <a:pt x="1404559" y="1071967"/>
                  <a:pt x="1396593" y="1072730"/>
                </a:cubicBezTo>
                <a:cubicBezTo>
                  <a:pt x="1396593" y="1070768"/>
                  <a:pt x="1380111" y="1064665"/>
                  <a:pt x="1380111" y="1045487"/>
                </a:cubicBezTo>
                <a:cubicBezTo>
                  <a:pt x="1380111" y="1045487"/>
                  <a:pt x="1380385" y="1047339"/>
                  <a:pt x="1378188" y="1047557"/>
                </a:cubicBezTo>
                <a:cubicBezTo>
                  <a:pt x="1378188" y="1045704"/>
                  <a:pt x="1380385" y="1030121"/>
                  <a:pt x="1382583" y="1030012"/>
                </a:cubicBezTo>
                <a:cubicBezTo>
                  <a:pt x="1382583" y="1030012"/>
                  <a:pt x="1382583" y="1030012"/>
                  <a:pt x="1384507" y="1029903"/>
                </a:cubicBezTo>
                <a:cubicBezTo>
                  <a:pt x="1385880" y="1024019"/>
                  <a:pt x="1390275" y="1019660"/>
                  <a:pt x="1396593" y="1016718"/>
                </a:cubicBezTo>
                <a:cubicBezTo>
                  <a:pt x="1402636" y="1013775"/>
                  <a:pt x="1410327" y="1012032"/>
                  <a:pt x="1418019" y="1011269"/>
                </a:cubicBezTo>
                <a:close/>
                <a:moveTo>
                  <a:pt x="2305283" y="1011051"/>
                </a:moveTo>
                <a:lnTo>
                  <a:pt x="2304184" y="1012359"/>
                </a:lnTo>
                <a:lnTo>
                  <a:pt x="2301712" y="1012904"/>
                </a:lnTo>
                <a:lnTo>
                  <a:pt x="2302262" y="1016391"/>
                </a:lnTo>
                <a:cubicBezTo>
                  <a:pt x="2301437" y="1018680"/>
                  <a:pt x="2300064" y="1021513"/>
                  <a:pt x="2298416" y="1023365"/>
                </a:cubicBezTo>
                <a:lnTo>
                  <a:pt x="2303635" y="1019551"/>
                </a:lnTo>
                <a:lnTo>
                  <a:pt x="2304184" y="1017153"/>
                </a:lnTo>
                <a:lnTo>
                  <a:pt x="2305832" y="1017807"/>
                </a:lnTo>
                <a:lnTo>
                  <a:pt x="2307756" y="1017372"/>
                </a:lnTo>
                <a:lnTo>
                  <a:pt x="2307481" y="1017153"/>
                </a:lnTo>
                <a:close/>
                <a:moveTo>
                  <a:pt x="2488710" y="1010411"/>
                </a:moveTo>
                <a:cubicBezTo>
                  <a:pt x="2491251" y="1009198"/>
                  <a:pt x="2494410" y="1011051"/>
                  <a:pt x="2496746" y="1019987"/>
                </a:cubicBezTo>
                <a:cubicBezTo>
                  <a:pt x="2492350" y="1022929"/>
                  <a:pt x="2489328" y="1023692"/>
                  <a:pt x="2487406" y="1023256"/>
                </a:cubicBezTo>
                <a:cubicBezTo>
                  <a:pt x="2485483" y="1022929"/>
                  <a:pt x="2484659" y="1021295"/>
                  <a:pt x="2484384" y="1019224"/>
                </a:cubicBezTo>
                <a:cubicBezTo>
                  <a:pt x="2484246" y="1015901"/>
                  <a:pt x="2486169" y="1011623"/>
                  <a:pt x="2488710" y="1010411"/>
                </a:cubicBezTo>
                <a:close/>
                <a:moveTo>
                  <a:pt x="937852" y="1009635"/>
                </a:moveTo>
                <a:cubicBezTo>
                  <a:pt x="945819" y="1011051"/>
                  <a:pt x="949664" y="1015846"/>
                  <a:pt x="952411" y="1023474"/>
                </a:cubicBezTo>
                <a:cubicBezTo>
                  <a:pt x="951312" y="1024345"/>
                  <a:pt x="949389" y="1024564"/>
                  <a:pt x="946917" y="1024345"/>
                </a:cubicBezTo>
                <a:cubicBezTo>
                  <a:pt x="944720" y="1024237"/>
                  <a:pt x="942247" y="1023800"/>
                  <a:pt x="940324" y="1023365"/>
                </a:cubicBezTo>
                <a:cubicBezTo>
                  <a:pt x="937577" y="1019878"/>
                  <a:pt x="936753" y="1014538"/>
                  <a:pt x="937852" y="1009635"/>
                </a:cubicBezTo>
                <a:close/>
                <a:moveTo>
                  <a:pt x="1022252" y="1007346"/>
                </a:moveTo>
                <a:cubicBezTo>
                  <a:pt x="1027265" y="1006610"/>
                  <a:pt x="1032072" y="1007673"/>
                  <a:pt x="1035918" y="1011378"/>
                </a:cubicBezTo>
                <a:cubicBezTo>
                  <a:pt x="1016415" y="1015628"/>
                  <a:pt x="1013942" y="1039166"/>
                  <a:pt x="991692" y="1039929"/>
                </a:cubicBezTo>
                <a:cubicBezTo>
                  <a:pt x="990594" y="1031974"/>
                  <a:pt x="997735" y="1021076"/>
                  <a:pt x="1007350" y="1014103"/>
                </a:cubicBezTo>
                <a:cubicBezTo>
                  <a:pt x="1012020" y="1010615"/>
                  <a:pt x="1017239" y="1008081"/>
                  <a:pt x="1022252" y="1007346"/>
                </a:cubicBezTo>
                <a:close/>
                <a:moveTo>
                  <a:pt x="1096351" y="1002660"/>
                </a:moveTo>
                <a:cubicBezTo>
                  <a:pt x="1097450" y="1005167"/>
                  <a:pt x="1103493" y="1003314"/>
                  <a:pt x="1102120" y="1007455"/>
                </a:cubicBezTo>
                <a:cubicBezTo>
                  <a:pt x="1100197" y="1007020"/>
                  <a:pt x="1097450" y="1005167"/>
                  <a:pt x="1095527" y="1004731"/>
                </a:cubicBezTo>
                <a:cubicBezTo>
                  <a:pt x="1095527" y="1004731"/>
                  <a:pt x="1095527" y="1004731"/>
                  <a:pt x="1096351" y="1002660"/>
                </a:cubicBezTo>
                <a:close/>
                <a:moveTo>
                  <a:pt x="2162716" y="1002224"/>
                </a:moveTo>
                <a:cubicBezTo>
                  <a:pt x="2161069" y="1004948"/>
                  <a:pt x="2159694" y="1006256"/>
                  <a:pt x="2156948" y="1005929"/>
                </a:cubicBezTo>
                <a:cubicBezTo>
                  <a:pt x="2158321" y="1004622"/>
                  <a:pt x="2159694" y="1000371"/>
                  <a:pt x="2162716" y="1002224"/>
                </a:cubicBezTo>
                <a:close/>
                <a:moveTo>
                  <a:pt x="1387802" y="1000481"/>
                </a:moveTo>
                <a:cubicBezTo>
                  <a:pt x="1394395" y="1004622"/>
                  <a:pt x="1395494" y="1010289"/>
                  <a:pt x="1394120" y="1018135"/>
                </a:cubicBezTo>
                <a:cubicBezTo>
                  <a:pt x="1391373" y="1019006"/>
                  <a:pt x="1386429" y="1015846"/>
                  <a:pt x="1383132" y="1013775"/>
                </a:cubicBezTo>
                <a:cubicBezTo>
                  <a:pt x="1382308" y="1009526"/>
                  <a:pt x="1384232" y="1004513"/>
                  <a:pt x="1387802" y="1000481"/>
                </a:cubicBezTo>
                <a:close/>
                <a:moveTo>
                  <a:pt x="1860826" y="1000371"/>
                </a:moveTo>
                <a:lnTo>
                  <a:pt x="1858355" y="1001134"/>
                </a:lnTo>
                <a:lnTo>
                  <a:pt x="1858355" y="1002333"/>
                </a:lnTo>
                <a:lnTo>
                  <a:pt x="1859453" y="1002769"/>
                </a:lnTo>
                <a:lnTo>
                  <a:pt x="1860552" y="1003097"/>
                </a:lnTo>
                <a:close/>
                <a:moveTo>
                  <a:pt x="6333409" y="999173"/>
                </a:moveTo>
                <a:cubicBezTo>
                  <a:pt x="6349890" y="1011269"/>
                  <a:pt x="6342748" y="1026634"/>
                  <a:pt x="6332860" y="1039602"/>
                </a:cubicBezTo>
                <a:lnTo>
                  <a:pt x="6327091" y="1046140"/>
                </a:lnTo>
                <a:lnTo>
                  <a:pt x="6335057" y="1053115"/>
                </a:lnTo>
                <a:cubicBezTo>
                  <a:pt x="6336979" y="1062050"/>
                  <a:pt x="6332035" y="1065973"/>
                  <a:pt x="6326816" y="1065538"/>
                </a:cubicBezTo>
                <a:cubicBezTo>
                  <a:pt x="6324069" y="1065319"/>
                  <a:pt x="6321322" y="1063903"/>
                  <a:pt x="6319124" y="1061723"/>
                </a:cubicBezTo>
                <a:lnTo>
                  <a:pt x="6317202" y="1056710"/>
                </a:lnTo>
                <a:lnTo>
                  <a:pt x="6311708" y="1062050"/>
                </a:lnTo>
                <a:cubicBezTo>
                  <a:pt x="6308137" y="1064884"/>
                  <a:pt x="6304565" y="1066954"/>
                  <a:pt x="6300995" y="1067390"/>
                </a:cubicBezTo>
                <a:cubicBezTo>
                  <a:pt x="6298522" y="1067608"/>
                  <a:pt x="6296050" y="1067172"/>
                  <a:pt x="6293852" y="1065646"/>
                </a:cubicBezTo>
                <a:cubicBezTo>
                  <a:pt x="6280667" y="1057582"/>
                  <a:pt x="6280667" y="1037422"/>
                  <a:pt x="6293852" y="1023256"/>
                </a:cubicBezTo>
                <a:cubicBezTo>
                  <a:pt x="6313631" y="1001134"/>
                  <a:pt x="6333409" y="999173"/>
                  <a:pt x="6333409" y="999173"/>
                </a:cubicBezTo>
                <a:close/>
                <a:moveTo>
                  <a:pt x="2176254" y="998650"/>
                </a:moveTo>
                <a:cubicBezTo>
                  <a:pt x="2179215" y="997756"/>
                  <a:pt x="2181945" y="998110"/>
                  <a:pt x="2184143" y="1000481"/>
                </a:cubicBezTo>
                <a:cubicBezTo>
                  <a:pt x="2178923" y="1006038"/>
                  <a:pt x="2170133" y="1021404"/>
                  <a:pt x="2160519" y="1022820"/>
                </a:cubicBezTo>
                <a:cubicBezTo>
                  <a:pt x="2159145" y="1023038"/>
                  <a:pt x="2157772" y="1022929"/>
                  <a:pt x="2156399" y="1022493"/>
                </a:cubicBezTo>
                <a:cubicBezTo>
                  <a:pt x="2154750" y="1022058"/>
                  <a:pt x="2153102" y="1021186"/>
                  <a:pt x="2151454" y="1019660"/>
                </a:cubicBezTo>
                <a:cubicBezTo>
                  <a:pt x="2156398" y="1015246"/>
                  <a:pt x="2167369" y="1001332"/>
                  <a:pt x="2176254" y="998650"/>
                </a:cubicBezTo>
                <a:close/>
                <a:moveTo>
                  <a:pt x="2503613" y="996667"/>
                </a:moveTo>
                <a:cubicBezTo>
                  <a:pt x="2505261" y="998846"/>
                  <a:pt x="2506085" y="1002007"/>
                  <a:pt x="2504437" y="1007237"/>
                </a:cubicBezTo>
                <a:cubicBezTo>
                  <a:pt x="2502514" y="1008000"/>
                  <a:pt x="2501140" y="1008327"/>
                  <a:pt x="2499767" y="1008218"/>
                </a:cubicBezTo>
                <a:cubicBezTo>
                  <a:pt x="2496196" y="1008000"/>
                  <a:pt x="2495097" y="1004731"/>
                  <a:pt x="2493998" y="1001570"/>
                </a:cubicBezTo>
                <a:cubicBezTo>
                  <a:pt x="2499218" y="1000699"/>
                  <a:pt x="2497844" y="994269"/>
                  <a:pt x="2503613" y="996667"/>
                </a:cubicBezTo>
                <a:close/>
                <a:moveTo>
                  <a:pt x="2207217" y="995359"/>
                </a:moveTo>
                <a:cubicBezTo>
                  <a:pt x="2214633" y="1002333"/>
                  <a:pt x="2218479" y="1021186"/>
                  <a:pt x="2205020" y="1026198"/>
                </a:cubicBezTo>
                <a:cubicBezTo>
                  <a:pt x="2205569" y="1016282"/>
                  <a:pt x="2203645" y="1005276"/>
                  <a:pt x="2207217" y="995359"/>
                </a:cubicBezTo>
                <a:close/>
                <a:moveTo>
                  <a:pt x="1271607" y="994051"/>
                </a:moveTo>
                <a:cubicBezTo>
                  <a:pt x="1273529" y="994706"/>
                  <a:pt x="1275452" y="995359"/>
                  <a:pt x="1274078" y="996013"/>
                </a:cubicBezTo>
                <a:cubicBezTo>
                  <a:pt x="1274628" y="997321"/>
                  <a:pt x="1273255" y="997975"/>
                  <a:pt x="1272430" y="999936"/>
                </a:cubicBezTo>
                <a:cubicBezTo>
                  <a:pt x="1270508" y="1002552"/>
                  <a:pt x="1266662" y="1004404"/>
                  <a:pt x="1264739" y="1003750"/>
                </a:cubicBezTo>
                <a:cubicBezTo>
                  <a:pt x="1262816" y="1003097"/>
                  <a:pt x="1262542" y="1001789"/>
                  <a:pt x="1262542" y="1001789"/>
                </a:cubicBezTo>
                <a:cubicBezTo>
                  <a:pt x="1263365" y="996558"/>
                  <a:pt x="1266387" y="991980"/>
                  <a:pt x="1271607" y="994051"/>
                </a:cubicBezTo>
                <a:close/>
                <a:moveTo>
                  <a:pt x="2318194" y="993071"/>
                </a:moveTo>
                <a:cubicBezTo>
                  <a:pt x="2318469" y="997647"/>
                  <a:pt x="2312975" y="1002552"/>
                  <a:pt x="2308030" y="1003859"/>
                </a:cubicBezTo>
                <a:cubicBezTo>
                  <a:pt x="2306107" y="1004294"/>
                  <a:pt x="2304734" y="1004294"/>
                  <a:pt x="2303360" y="1003859"/>
                </a:cubicBezTo>
                <a:cubicBezTo>
                  <a:pt x="2311326" y="998519"/>
                  <a:pt x="2311326" y="990891"/>
                  <a:pt x="2318194" y="993071"/>
                </a:cubicBezTo>
                <a:close/>
                <a:moveTo>
                  <a:pt x="1408851" y="993043"/>
                </a:moveTo>
                <a:cubicBezTo>
                  <a:pt x="1409915" y="993261"/>
                  <a:pt x="1411014" y="994378"/>
                  <a:pt x="1412525" y="995904"/>
                </a:cubicBezTo>
                <a:cubicBezTo>
                  <a:pt x="1411976" y="997212"/>
                  <a:pt x="1411151" y="998301"/>
                  <a:pt x="1410052" y="998628"/>
                </a:cubicBezTo>
                <a:cubicBezTo>
                  <a:pt x="1408954" y="998955"/>
                  <a:pt x="1407581" y="998519"/>
                  <a:pt x="1405382" y="996993"/>
                </a:cubicBezTo>
                <a:cubicBezTo>
                  <a:pt x="1405382" y="996993"/>
                  <a:pt x="1405382" y="995577"/>
                  <a:pt x="1405382" y="995577"/>
                </a:cubicBezTo>
                <a:cubicBezTo>
                  <a:pt x="1406756" y="993506"/>
                  <a:pt x="1407786" y="992825"/>
                  <a:pt x="1408851" y="993043"/>
                </a:cubicBezTo>
                <a:close/>
                <a:moveTo>
                  <a:pt x="1389451" y="990346"/>
                </a:moveTo>
                <a:cubicBezTo>
                  <a:pt x="1391099" y="988930"/>
                  <a:pt x="1395494" y="992199"/>
                  <a:pt x="1396868" y="992308"/>
                </a:cubicBezTo>
                <a:cubicBezTo>
                  <a:pt x="1396868" y="993724"/>
                  <a:pt x="1395769" y="995141"/>
                  <a:pt x="1395769" y="996667"/>
                </a:cubicBezTo>
                <a:cubicBezTo>
                  <a:pt x="1394120" y="996558"/>
                  <a:pt x="1391373" y="996448"/>
                  <a:pt x="1389725" y="994923"/>
                </a:cubicBezTo>
                <a:cubicBezTo>
                  <a:pt x="1388351" y="994814"/>
                  <a:pt x="1389451" y="990346"/>
                  <a:pt x="1389451" y="990346"/>
                </a:cubicBezTo>
                <a:close/>
                <a:moveTo>
                  <a:pt x="1783912" y="990019"/>
                </a:moveTo>
                <a:cubicBezTo>
                  <a:pt x="1791879" y="992526"/>
                  <a:pt x="1795449" y="999500"/>
                  <a:pt x="1796548" y="1007346"/>
                </a:cubicBezTo>
                <a:lnTo>
                  <a:pt x="1796548" y="1012468"/>
                </a:lnTo>
                <a:lnTo>
                  <a:pt x="1800943" y="1015410"/>
                </a:lnTo>
                <a:cubicBezTo>
                  <a:pt x="1807536" y="1023583"/>
                  <a:pt x="1808910" y="1038512"/>
                  <a:pt x="1801218" y="1040037"/>
                </a:cubicBezTo>
                <a:cubicBezTo>
                  <a:pt x="1799845" y="1040365"/>
                  <a:pt x="1797922" y="1040037"/>
                  <a:pt x="1795724" y="1039275"/>
                </a:cubicBezTo>
                <a:lnTo>
                  <a:pt x="1795175" y="1038839"/>
                </a:lnTo>
                <a:lnTo>
                  <a:pt x="1793802" y="1039275"/>
                </a:lnTo>
                <a:cubicBezTo>
                  <a:pt x="1790505" y="1040691"/>
                  <a:pt x="1787209" y="1041890"/>
                  <a:pt x="1783363" y="1041455"/>
                </a:cubicBezTo>
                <a:cubicBezTo>
                  <a:pt x="1783912" y="1039493"/>
                  <a:pt x="1786659" y="1034807"/>
                  <a:pt x="1791604" y="1035679"/>
                </a:cubicBezTo>
                <a:lnTo>
                  <a:pt x="1792428" y="1035570"/>
                </a:lnTo>
                <a:lnTo>
                  <a:pt x="1789955" y="1032519"/>
                </a:lnTo>
                <a:cubicBezTo>
                  <a:pt x="1786659" y="1027942"/>
                  <a:pt x="1785285" y="1023474"/>
                  <a:pt x="1785835" y="1018680"/>
                </a:cubicBezTo>
                <a:lnTo>
                  <a:pt x="1787484" y="1014974"/>
                </a:lnTo>
                <a:lnTo>
                  <a:pt x="1785835" y="1012032"/>
                </a:lnTo>
                <a:cubicBezTo>
                  <a:pt x="1783637" y="1005821"/>
                  <a:pt x="1782539" y="998737"/>
                  <a:pt x="1783912" y="990019"/>
                </a:cubicBezTo>
                <a:close/>
                <a:moveTo>
                  <a:pt x="1924281" y="989039"/>
                </a:moveTo>
                <a:cubicBezTo>
                  <a:pt x="1923457" y="991109"/>
                  <a:pt x="1925105" y="991654"/>
                  <a:pt x="1927028" y="992417"/>
                </a:cubicBezTo>
                <a:cubicBezTo>
                  <a:pt x="1929500" y="1001461"/>
                  <a:pt x="1918238" y="1012795"/>
                  <a:pt x="1909722" y="1014212"/>
                </a:cubicBezTo>
                <a:cubicBezTo>
                  <a:pt x="1906976" y="1014756"/>
                  <a:pt x="1904503" y="1014103"/>
                  <a:pt x="1903130" y="1011923"/>
                </a:cubicBezTo>
                <a:cubicBezTo>
                  <a:pt x="1902306" y="1010724"/>
                  <a:pt x="1901756" y="1008871"/>
                  <a:pt x="1901482" y="1006583"/>
                </a:cubicBezTo>
                <a:cubicBezTo>
                  <a:pt x="1906152" y="994706"/>
                  <a:pt x="1912469" y="986968"/>
                  <a:pt x="1924281" y="989039"/>
                </a:cubicBezTo>
                <a:close/>
                <a:moveTo>
                  <a:pt x="2143968" y="985061"/>
                </a:moveTo>
                <a:cubicBezTo>
                  <a:pt x="2146303" y="987295"/>
                  <a:pt x="2147883" y="991054"/>
                  <a:pt x="2147608" y="993288"/>
                </a:cubicBezTo>
                <a:cubicBezTo>
                  <a:pt x="2146235" y="994814"/>
                  <a:pt x="2144862" y="995468"/>
                  <a:pt x="2143487" y="995468"/>
                </a:cubicBezTo>
                <a:cubicBezTo>
                  <a:pt x="2139368" y="995359"/>
                  <a:pt x="2135522" y="989256"/>
                  <a:pt x="2135796" y="985987"/>
                </a:cubicBezTo>
                <a:cubicBezTo>
                  <a:pt x="2138543" y="982119"/>
                  <a:pt x="2141633" y="982827"/>
                  <a:pt x="2143968" y="985061"/>
                </a:cubicBezTo>
                <a:close/>
                <a:moveTo>
                  <a:pt x="2430818" y="985007"/>
                </a:moveTo>
                <a:cubicBezTo>
                  <a:pt x="2431368" y="986315"/>
                  <a:pt x="2430818" y="985007"/>
                  <a:pt x="2430269" y="988058"/>
                </a:cubicBezTo>
                <a:cubicBezTo>
                  <a:pt x="2429170" y="987731"/>
                  <a:pt x="2429170" y="987513"/>
                  <a:pt x="2429445" y="986968"/>
                </a:cubicBezTo>
                <a:cubicBezTo>
                  <a:pt x="2429720" y="986532"/>
                  <a:pt x="2430269" y="985987"/>
                  <a:pt x="2430818" y="985007"/>
                </a:cubicBezTo>
                <a:close/>
                <a:moveTo>
                  <a:pt x="1073276" y="983699"/>
                </a:moveTo>
                <a:cubicBezTo>
                  <a:pt x="1074101" y="985007"/>
                  <a:pt x="1075475" y="984135"/>
                  <a:pt x="1074650" y="986205"/>
                </a:cubicBezTo>
                <a:cubicBezTo>
                  <a:pt x="1079869" y="986423"/>
                  <a:pt x="1089484" y="995359"/>
                  <a:pt x="1090857" y="1001244"/>
                </a:cubicBezTo>
                <a:cubicBezTo>
                  <a:pt x="1074925" y="999609"/>
                  <a:pt x="1077397" y="987949"/>
                  <a:pt x="1068332" y="986859"/>
                </a:cubicBezTo>
                <a:cubicBezTo>
                  <a:pt x="1070255" y="984026"/>
                  <a:pt x="1070255" y="984026"/>
                  <a:pt x="1073276" y="983699"/>
                </a:cubicBezTo>
                <a:close/>
                <a:moveTo>
                  <a:pt x="1257597" y="981955"/>
                </a:moveTo>
                <a:lnTo>
                  <a:pt x="1263090" y="984026"/>
                </a:lnTo>
                <a:cubicBezTo>
                  <a:pt x="1262267" y="985987"/>
                  <a:pt x="1260069" y="988711"/>
                  <a:pt x="1258420" y="987949"/>
                </a:cubicBezTo>
                <a:cubicBezTo>
                  <a:pt x="1256772" y="987949"/>
                  <a:pt x="1256498" y="987295"/>
                  <a:pt x="1256772" y="986205"/>
                </a:cubicBezTo>
                <a:cubicBezTo>
                  <a:pt x="1256772" y="985116"/>
                  <a:pt x="1257597" y="983590"/>
                  <a:pt x="1257597" y="981955"/>
                </a:cubicBezTo>
                <a:close/>
                <a:moveTo>
                  <a:pt x="6272151" y="981628"/>
                </a:moveTo>
                <a:cubicBezTo>
                  <a:pt x="6273800" y="987513"/>
                  <a:pt x="6266932" y="994269"/>
                  <a:pt x="6261713" y="1001244"/>
                </a:cubicBezTo>
                <a:cubicBezTo>
                  <a:pt x="6258692" y="998192"/>
                  <a:pt x="6257044" y="996776"/>
                  <a:pt x="6254296" y="995250"/>
                </a:cubicBezTo>
                <a:cubicBezTo>
                  <a:pt x="6262538" y="986968"/>
                  <a:pt x="6261988" y="978359"/>
                  <a:pt x="6272151" y="981628"/>
                </a:cubicBezTo>
                <a:close/>
                <a:moveTo>
                  <a:pt x="2641235" y="980974"/>
                </a:moveTo>
                <a:cubicBezTo>
                  <a:pt x="2640136" y="982718"/>
                  <a:pt x="2640136" y="982827"/>
                  <a:pt x="2640136" y="984353"/>
                </a:cubicBezTo>
                <a:cubicBezTo>
                  <a:pt x="2640136" y="984353"/>
                  <a:pt x="2638762" y="982827"/>
                  <a:pt x="2638762" y="982827"/>
                </a:cubicBezTo>
                <a:cubicBezTo>
                  <a:pt x="2639862" y="981193"/>
                  <a:pt x="2638487" y="981193"/>
                  <a:pt x="2641235" y="980974"/>
                </a:cubicBezTo>
                <a:close/>
                <a:moveTo>
                  <a:pt x="2591241" y="980648"/>
                </a:moveTo>
                <a:cubicBezTo>
                  <a:pt x="2591241" y="980648"/>
                  <a:pt x="2590416" y="982609"/>
                  <a:pt x="2590691" y="983917"/>
                </a:cubicBezTo>
                <a:cubicBezTo>
                  <a:pt x="2590691" y="983917"/>
                  <a:pt x="2589867" y="985770"/>
                  <a:pt x="2588768" y="987622"/>
                </a:cubicBezTo>
                <a:cubicBezTo>
                  <a:pt x="2588768" y="987622"/>
                  <a:pt x="2589042" y="989039"/>
                  <a:pt x="2589592" y="990346"/>
                </a:cubicBezTo>
                <a:cubicBezTo>
                  <a:pt x="2587944" y="995468"/>
                  <a:pt x="2587395" y="998737"/>
                  <a:pt x="2581626" y="999391"/>
                </a:cubicBezTo>
                <a:cubicBezTo>
                  <a:pt x="2581077" y="997975"/>
                  <a:pt x="2583274" y="994269"/>
                  <a:pt x="2584099" y="992417"/>
                </a:cubicBezTo>
                <a:cubicBezTo>
                  <a:pt x="2583823" y="991000"/>
                  <a:pt x="2584923" y="989148"/>
                  <a:pt x="2586021" y="988603"/>
                </a:cubicBezTo>
                <a:cubicBezTo>
                  <a:pt x="2586021" y="988603"/>
                  <a:pt x="2587120" y="986750"/>
                  <a:pt x="2586571" y="985333"/>
                </a:cubicBezTo>
                <a:cubicBezTo>
                  <a:pt x="2588768" y="981628"/>
                  <a:pt x="2590141" y="981193"/>
                  <a:pt x="2591241" y="980648"/>
                </a:cubicBezTo>
                <a:close/>
                <a:moveTo>
                  <a:pt x="1083989" y="978578"/>
                </a:moveTo>
                <a:cubicBezTo>
                  <a:pt x="1090857" y="982609"/>
                  <a:pt x="1094977" y="993507"/>
                  <a:pt x="1095527" y="994814"/>
                </a:cubicBezTo>
                <a:cubicBezTo>
                  <a:pt x="1094154" y="995577"/>
                  <a:pt x="1094154" y="995577"/>
                  <a:pt x="1094154" y="995577"/>
                </a:cubicBezTo>
                <a:cubicBezTo>
                  <a:pt x="1093329" y="991218"/>
                  <a:pt x="1087836" y="988603"/>
                  <a:pt x="1084539" y="984244"/>
                </a:cubicBezTo>
                <a:cubicBezTo>
                  <a:pt x="1083715" y="982827"/>
                  <a:pt x="1082891" y="981302"/>
                  <a:pt x="1082616" y="979340"/>
                </a:cubicBezTo>
                <a:cubicBezTo>
                  <a:pt x="1082616" y="979340"/>
                  <a:pt x="1082616" y="979340"/>
                  <a:pt x="1083440" y="980539"/>
                </a:cubicBezTo>
                <a:cubicBezTo>
                  <a:pt x="1083440" y="980539"/>
                  <a:pt x="1082891" y="979340"/>
                  <a:pt x="1083989" y="978578"/>
                </a:cubicBezTo>
                <a:close/>
                <a:moveTo>
                  <a:pt x="2252614" y="978291"/>
                </a:moveTo>
                <a:cubicBezTo>
                  <a:pt x="2262104" y="981417"/>
                  <a:pt x="2267925" y="994841"/>
                  <a:pt x="2272045" y="1004404"/>
                </a:cubicBezTo>
                <a:lnTo>
                  <a:pt x="2275616" y="1013993"/>
                </a:lnTo>
                <a:lnTo>
                  <a:pt x="2277813" y="1001353"/>
                </a:lnTo>
                <a:cubicBezTo>
                  <a:pt x="2283307" y="1002660"/>
                  <a:pt x="2286604" y="1006692"/>
                  <a:pt x="2288527" y="1011596"/>
                </a:cubicBezTo>
                <a:lnTo>
                  <a:pt x="2288527" y="1011814"/>
                </a:lnTo>
                <a:lnTo>
                  <a:pt x="2290449" y="1008654"/>
                </a:lnTo>
                <a:cubicBezTo>
                  <a:pt x="2291274" y="1007455"/>
                  <a:pt x="2292098" y="1006692"/>
                  <a:pt x="2292373" y="1007346"/>
                </a:cubicBezTo>
                <a:cubicBezTo>
                  <a:pt x="2294295" y="1008000"/>
                  <a:pt x="2293746" y="1006583"/>
                  <a:pt x="2295119" y="1005929"/>
                </a:cubicBezTo>
                <a:lnTo>
                  <a:pt x="2297042" y="1007237"/>
                </a:lnTo>
                <a:lnTo>
                  <a:pt x="2297866" y="1006147"/>
                </a:lnTo>
                <a:cubicBezTo>
                  <a:pt x="2299789" y="1003205"/>
                  <a:pt x="2299514" y="1003205"/>
                  <a:pt x="2301437" y="1003750"/>
                </a:cubicBezTo>
                <a:cubicBezTo>
                  <a:pt x="2302536" y="1003968"/>
                  <a:pt x="2303086" y="1005276"/>
                  <a:pt x="2303910" y="1006583"/>
                </a:cubicBezTo>
                <a:lnTo>
                  <a:pt x="2305283" y="1008109"/>
                </a:lnTo>
                <a:lnTo>
                  <a:pt x="2307756" y="1005821"/>
                </a:lnTo>
                <a:cubicBezTo>
                  <a:pt x="2308854" y="1004622"/>
                  <a:pt x="2309953" y="1003205"/>
                  <a:pt x="2311601" y="1001789"/>
                </a:cubicBezTo>
                <a:cubicBezTo>
                  <a:pt x="2315447" y="1004186"/>
                  <a:pt x="2320666" y="1012795"/>
                  <a:pt x="2318743" y="1019769"/>
                </a:cubicBezTo>
                <a:lnTo>
                  <a:pt x="2318469" y="1019878"/>
                </a:lnTo>
                <a:lnTo>
                  <a:pt x="2315996" y="1026852"/>
                </a:lnTo>
                <a:cubicBezTo>
                  <a:pt x="2311601" y="1032519"/>
                  <a:pt x="2301712" y="1034698"/>
                  <a:pt x="2295668" y="1041019"/>
                </a:cubicBezTo>
                <a:cubicBezTo>
                  <a:pt x="2293471" y="1046467"/>
                  <a:pt x="2298416" y="1052025"/>
                  <a:pt x="2289076" y="1057255"/>
                </a:cubicBezTo>
                <a:cubicBezTo>
                  <a:pt x="2284406" y="1049518"/>
                  <a:pt x="2280835" y="1041999"/>
                  <a:pt x="2278363" y="1034807"/>
                </a:cubicBezTo>
                <a:lnTo>
                  <a:pt x="2275891" y="1015954"/>
                </a:lnTo>
                <a:lnTo>
                  <a:pt x="2276166" y="1022711"/>
                </a:lnTo>
                <a:cubicBezTo>
                  <a:pt x="2275616" y="1024237"/>
                  <a:pt x="2274792" y="1025436"/>
                  <a:pt x="2273143" y="1026198"/>
                </a:cubicBezTo>
                <a:cubicBezTo>
                  <a:pt x="2269023" y="1028596"/>
                  <a:pt x="2263529" y="1027942"/>
                  <a:pt x="2258585" y="1025108"/>
                </a:cubicBezTo>
                <a:lnTo>
                  <a:pt x="2252541" y="1020096"/>
                </a:lnTo>
                <a:lnTo>
                  <a:pt x="2252266" y="1024345"/>
                </a:lnTo>
                <a:cubicBezTo>
                  <a:pt x="2250344" y="1023910"/>
                  <a:pt x="2248421" y="1023474"/>
                  <a:pt x="2248971" y="1024673"/>
                </a:cubicBezTo>
                <a:cubicBezTo>
                  <a:pt x="2247047" y="1024237"/>
                  <a:pt x="2245949" y="1023365"/>
                  <a:pt x="2245125" y="1022166"/>
                </a:cubicBezTo>
                <a:cubicBezTo>
                  <a:pt x="2244301" y="1021076"/>
                  <a:pt x="2243751" y="1019551"/>
                  <a:pt x="2243751" y="1017916"/>
                </a:cubicBezTo>
                <a:lnTo>
                  <a:pt x="2248971" y="1014865"/>
                </a:lnTo>
                <a:lnTo>
                  <a:pt x="2246498" y="1010942"/>
                </a:lnTo>
                <a:cubicBezTo>
                  <a:pt x="2237708" y="991436"/>
                  <a:pt x="2241828" y="979122"/>
                  <a:pt x="2241828" y="979122"/>
                </a:cubicBezTo>
                <a:cubicBezTo>
                  <a:pt x="2245880" y="977351"/>
                  <a:pt x="2249451" y="977249"/>
                  <a:pt x="2252614" y="978291"/>
                </a:cubicBezTo>
                <a:close/>
                <a:moveTo>
                  <a:pt x="1204856" y="978141"/>
                </a:moveTo>
                <a:cubicBezTo>
                  <a:pt x="1207602" y="979885"/>
                  <a:pt x="1205680" y="985878"/>
                  <a:pt x="1205680" y="989148"/>
                </a:cubicBezTo>
                <a:cubicBezTo>
                  <a:pt x="1203757" y="988711"/>
                  <a:pt x="1201834" y="988276"/>
                  <a:pt x="1202658" y="989474"/>
                </a:cubicBezTo>
                <a:cubicBezTo>
                  <a:pt x="1200736" y="989039"/>
                  <a:pt x="1199362" y="988166"/>
                  <a:pt x="1198537" y="986968"/>
                </a:cubicBezTo>
                <a:cubicBezTo>
                  <a:pt x="1197713" y="985878"/>
                  <a:pt x="1197439" y="984462"/>
                  <a:pt x="1197439" y="982827"/>
                </a:cubicBezTo>
                <a:cubicBezTo>
                  <a:pt x="1197988" y="980865"/>
                  <a:pt x="1200461" y="979231"/>
                  <a:pt x="1204856" y="978141"/>
                </a:cubicBezTo>
                <a:close/>
                <a:moveTo>
                  <a:pt x="1518557" y="976397"/>
                </a:moveTo>
                <a:cubicBezTo>
                  <a:pt x="1528172" y="981084"/>
                  <a:pt x="1533116" y="986423"/>
                  <a:pt x="1528446" y="998301"/>
                </a:cubicBezTo>
                <a:cubicBezTo>
                  <a:pt x="1527072" y="998737"/>
                  <a:pt x="1525974" y="998955"/>
                  <a:pt x="1524600" y="998846"/>
                </a:cubicBezTo>
                <a:cubicBezTo>
                  <a:pt x="1521029" y="998410"/>
                  <a:pt x="1518557" y="995468"/>
                  <a:pt x="1517184" y="991654"/>
                </a:cubicBezTo>
                <a:cubicBezTo>
                  <a:pt x="1514986" y="986750"/>
                  <a:pt x="1515261" y="980320"/>
                  <a:pt x="1518557" y="976397"/>
                </a:cubicBezTo>
                <a:close/>
                <a:moveTo>
                  <a:pt x="2440982" y="976071"/>
                </a:moveTo>
                <a:cubicBezTo>
                  <a:pt x="2449498" y="982936"/>
                  <a:pt x="2448948" y="1006256"/>
                  <a:pt x="2444553" y="1010070"/>
                </a:cubicBezTo>
                <a:cubicBezTo>
                  <a:pt x="2440158" y="1005167"/>
                  <a:pt x="2441806" y="999609"/>
                  <a:pt x="2437686" y="993288"/>
                </a:cubicBezTo>
                <a:cubicBezTo>
                  <a:pt x="2440707" y="989256"/>
                  <a:pt x="2436587" y="981410"/>
                  <a:pt x="2440982" y="976071"/>
                </a:cubicBezTo>
                <a:close/>
                <a:moveTo>
                  <a:pt x="1442157" y="975280"/>
                </a:moveTo>
                <a:cubicBezTo>
                  <a:pt x="1444732" y="974054"/>
                  <a:pt x="1447960" y="975907"/>
                  <a:pt x="1450433" y="984897"/>
                </a:cubicBezTo>
                <a:cubicBezTo>
                  <a:pt x="1446038" y="987840"/>
                  <a:pt x="1443016" y="988603"/>
                  <a:pt x="1441093" y="988166"/>
                </a:cubicBezTo>
                <a:cubicBezTo>
                  <a:pt x="1438896" y="987840"/>
                  <a:pt x="1438071" y="986205"/>
                  <a:pt x="1437796" y="984135"/>
                </a:cubicBezTo>
                <a:cubicBezTo>
                  <a:pt x="1437659" y="980811"/>
                  <a:pt x="1439582" y="976506"/>
                  <a:pt x="1442157" y="975280"/>
                </a:cubicBezTo>
                <a:close/>
                <a:moveTo>
                  <a:pt x="2640136" y="973564"/>
                </a:moveTo>
                <a:cubicBezTo>
                  <a:pt x="2640136" y="975199"/>
                  <a:pt x="2640411" y="976725"/>
                  <a:pt x="2639312" y="976834"/>
                </a:cubicBezTo>
                <a:cubicBezTo>
                  <a:pt x="2637938" y="976942"/>
                  <a:pt x="2637663" y="975308"/>
                  <a:pt x="2638762" y="973673"/>
                </a:cubicBezTo>
                <a:cubicBezTo>
                  <a:pt x="2638762" y="973673"/>
                  <a:pt x="2640136" y="973564"/>
                  <a:pt x="2640136" y="973564"/>
                </a:cubicBezTo>
                <a:close/>
                <a:moveTo>
                  <a:pt x="6330936" y="973019"/>
                </a:moveTo>
                <a:cubicBezTo>
                  <a:pt x="6330936" y="973019"/>
                  <a:pt x="6330936" y="973128"/>
                  <a:pt x="6333958" y="974654"/>
                </a:cubicBezTo>
                <a:cubicBezTo>
                  <a:pt x="6326266" y="984897"/>
                  <a:pt x="6305940" y="984897"/>
                  <a:pt x="6305940" y="984897"/>
                </a:cubicBezTo>
                <a:cubicBezTo>
                  <a:pt x="6300995" y="986532"/>
                  <a:pt x="6297423" y="992853"/>
                  <a:pt x="6293028" y="996885"/>
                </a:cubicBezTo>
                <a:cubicBezTo>
                  <a:pt x="6293852" y="995250"/>
                  <a:pt x="6292479" y="994487"/>
                  <a:pt x="6290831" y="993724"/>
                </a:cubicBezTo>
                <a:cubicBezTo>
                  <a:pt x="6301819" y="981084"/>
                  <a:pt x="6323245" y="975417"/>
                  <a:pt x="6324344" y="973891"/>
                </a:cubicBezTo>
                <a:cubicBezTo>
                  <a:pt x="6325992" y="974654"/>
                  <a:pt x="6329288" y="972257"/>
                  <a:pt x="6330936" y="973019"/>
                </a:cubicBezTo>
                <a:close/>
                <a:moveTo>
                  <a:pt x="2355002" y="970404"/>
                </a:moveTo>
                <a:cubicBezTo>
                  <a:pt x="2356651" y="970513"/>
                  <a:pt x="2358025" y="970732"/>
                  <a:pt x="2359398" y="972366"/>
                </a:cubicBezTo>
                <a:cubicBezTo>
                  <a:pt x="2360771" y="974001"/>
                  <a:pt x="2359398" y="973782"/>
                  <a:pt x="2360771" y="974001"/>
                </a:cubicBezTo>
                <a:cubicBezTo>
                  <a:pt x="2362145" y="975635"/>
                  <a:pt x="2362145" y="974110"/>
                  <a:pt x="2362145" y="974110"/>
                </a:cubicBezTo>
                <a:cubicBezTo>
                  <a:pt x="2362145" y="974110"/>
                  <a:pt x="2362145" y="975635"/>
                  <a:pt x="2362145" y="975635"/>
                </a:cubicBezTo>
                <a:cubicBezTo>
                  <a:pt x="2362145" y="975635"/>
                  <a:pt x="2362145" y="975635"/>
                  <a:pt x="2364892" y="978904"/>
                </a:cubicBezTo>
                <a:cubicBezTo>
                  <a:pt x="2369287" y="982392"/>
                  <a:pt x="2370660" y="982500"/>
                  <a:pt x="2373408" y="984244"/>
                </a:cubicBezTo>
                <a:cubicBezTo>
                  <a:pt x="2376154" y="987513"/>
                  <a:pt x="2376154" y="988930"/>
                  <a:pt x="2378901" y="993724"/>
                </a:cubicBezTo>
                <a:cubicBezTo>
                  <a:pt x="2377527" y="996448"/>
                  <a:pt x="2377527" y="996448"/>
                  <a:pt x="2375879" y="996340"/>
                </a:cubicBezTo>
                <a:cubicBezTo>
                  <a:pt x="2377527" y="996448"/>
                  <a:pt x="2377253" y="997975"/>
                  <a:pt x="2378627" y="999609"/>
                </a:cubicBezTo>
                <a:cubicBezTo>
                  <a:pt x="2385769" y="1004839"/>
                  <a:pt x="2382747" y="1011705"/>
                  <a:pt x="2376978" y="1018243"/>
                </a:cubicBezTo>
                <a:cubicBezTo>
                  <a:pt x="2375605" y="1016608"/>
                  <a:pt x="2372583" y="1020641"/>
                  <a:pt x="2369562" y="1021730"/>
                </a:cubicBezTo>
                <a:cubicBezTo>
                  <a:pt x="2365166" y="1021295"/>
                  <a:pt x="2362420" y="1020859"/>
                  <a:pt x="2359672" y="1017590"/>
                </a:cubicBezTo>
                <a:cubicBezTo>
                  <a:pt x="2355552" y="1012685"/>
                  <a:pt x="2352805" y="1002224"/>
                  <a:pt x="2357201" y="998410"/>
                </a:cubicBezTo>
                <a:cubicBezTo>
                  <a:pt x="2361596" y="993071"/>
                  <a:pt x="2365990" y="992199"/>
                  <a:pt x="2370386" y="992744"/>
                </a:cubicBezTo>
                <a:cubicBezTo>
                  <a:pt x="2370386" y="992744"/>
                  <a:pt x="2370386" y="992634"/>
                  <a:pt x="2369012" y="992526"/>
                </a:cubicBezTo>
                <a:cubicBezTo>
                  <a:pt x="2363244" y="985987"/>
                  <a:pt x="2353629" y="974545"/>
                  <a:pt x="2355002" y="970404"/>
                </a:cubicBezTo>
                <a:close/>
                <a:moveTo>
                  <a:pt x="4552562" y="967135"/>
                </a:moveTo>
                <a:cubicBezTo>
                  <a:pt x="4550914" y="969859"/>
                  <a:pt x="4549540" y="971167"/>
                  <a:pt x="4546793" y="970840"/>
                </a:cubicBezTo>
                <a:cubicBezTo>
                  <a:pt x="4548167" y="969533"/>
                  <a:pt x="4549815" y="965282"/>
                  <a:pt x="4552562" y="967135"/>
                </a:cubicBezTo>
                <a:close/>
                <a:moveTo>
                  <a:pt x="1265289" y="966699"/>
                </a:moveTo>
                <a:cubicBezTo>
                  <a:pt x="1268859" y="969097"/>
                  <a:pt x="1274353" y="977705"/>
                  <a:pt x="1272156" y="984680"/>
                </a:cubicBezTo>
                <a:cubicBezTo>
                  <a:pt x="1269958" y="985442"/>
                  <a:pt x="1268310" y="985661"/>
                  <a:pt x="1266662" y="985442"/>
                </a:cubicBezTo>
                <a:cubicBezTo>
                  <a:pt x="1264189" y="985225"/>
                  <a:pt x="1262267" y="984135"/>
                  <a:pt x="1260894" y="982064"/>
                </a:cubicBezTo>
                <a:lnTo>
                  <a:pt x="1258695" y="975853"/>
                </a:lnTo>
                <a:lnTo>
                  <a:pt x="1257872" y="977161"/>
                </a:lnTo>
                <a:lnTo>
                  <a:pt x="1255125" y="977815"/>
                </a:lnTo>
                <a:lnTo>
                  <a:pt x="1255949" y="981302"/>
                </a:lnTo>
                <a:cubicBezTo>
                  <a:pt x="1254301" y="985225"/>
                  <a:pt x="1251828" y="991109"/>
                  <a:pt x="1246884" y="990455"/>
                </a:cubicBezTo>
                <a:cubicBezTo>
                  <a:pt x="1246334" y="989148"/>
                  <a:pt x="1244961" y="989801"/>
                  <a:pt x="1244412" y="988494"/>
                </a:cubicBezTo>
                <a:cubicBezTo>
                  <a:pt x="1244412" y="988494"/>
                  <a:pt x="1243313" y="987622"/>
                  <a:pt x="1242214" y="985661"/>
                </a:cubicBezTo>
                <a:cubicBezTo>
                  <a:pt x="1241389" y="983808"/>
                  <a:pt x="1240566" y="980974"/>
                  <a:pt x="1241664" y="977379"/>
                </a:cubicBezTo>
                <a:cubicBezTo>
                  <a:pt x="1242488" y="975417"/>
                  <a:pt x="1245511" y="970840"/>
                  <a:pt x="1246059" y="972148"/>
                </a:cubicBezTo>
                <a:cubicBezTo>
                  <a:pt x="1247707" y="972802"/>
                  <a:pt x="1247433" y="971494"/>
                  <a:pt x="1248532" y="970840"/>
                </a:cubicBezTo>
                <a:lnTo>
                  <a:pt x="1250455" y="972039"/>
                </a:lnTo>
                <a:lnTo>
                  <a:pt x="1251279" y="971058"/>
                </a:lnTo>
                <a:cubicBezTo>
                  <a:pt x="1253202" y="968116"/>
                  <a:pt x="1253202" y="968006"/>
                  <a:pt x="1255125" y="968551"/>
                </a:cubicBezTo>
                <a:cubicBezTo>
                  <a:pt x="1256224" y="968769"/>
                  <a:pt x="1256772" y="970077"/>
                  <a:pt x="1257322" y="971385"/>
                </a:cubicBezTo>
                <a:lnTo>
                  <a:pt x="1258695" y="972911"/>
                </a:lnTo>
                <a:lnTo>
                  <a:pt x="1261168" y="970622"/>
                </a:lnTo>
                <a:cubicBezTo>
                  <a:pt x="1262267" y="969424"/>
                  <a:pt x="1263640" y="968116"/>
                  <a:pt x="1265289" y="966699"/>
                </a:cubicBezTo>
                <a:close/>
                <a:moveTo>
                  <a:pt x="2641784" y="964847"/>
                </a:moveTo>
                <a:cubicBezTo>
                  <a:pt x="2641235" y="969424"/>
                  <a:pt x="2641235" y="969424"/>
                  <a:pt x="2638762" y="972583"/>
                </a:cubicBezTo>
                <a:cubicBezTo>
                  <a:pt x="2638487" y="971058"/>
                  <a:pt x="2636839" y="968116"/>
                  <a:pt x="2637938" y="966590"/>
                </a:cubicBezTo>
                <a:cubicBezTo>
                  <a:pt x="2639037" y="964956"/>
                  <a:pt x="2639037" y="964956"/>
                  <a:pt x="2641784" y="964847"/>
                </a:cubicBezTo>
                <a:close/>
                <a:moveTo>
                  <a:pt x="4566099" y="963544"/>
                </a:moveTo>
                <a:cubicBezTo>
                  <a:pt x="4569061" y="962660"/>
                  <a:pt x="4571790" y="963021"/>
                  <a:pt x="4573988" y="965391"/>
                </a:cubicBezTo>
                <a:cubicBezTo>
                  <a:pt x="4568769" y="970949"/>
                  <a:pt x="4559978" y="986205"/>
                  <a:pt x="4550364" y="987622"/>
                </a:cubicBezTo>
                <a:cubicBezTo>
                  <a:pt x="4548991" y="987840"/>
                  <a:pt x="4547617" y="987731"/>
                  <a:pt x="4546244" y="987295"/>
                </a:cubicBezTo>
                <a:cubicBezTo>
                  <a:pt x="4544595" y="986859"/>
                  <a:pt x="4542947" y="985987"/>
                  <a:pt x="4541300" y="984462"/>
                </a:cubicBezTo>
                <a:cubicBezTo>
                  <a:pt x="4546244" y="980049"/>
                  <a:pt x="4557215" y="966195"/>
                  <a:pt x="4566099" y="963544"/>
                </a:cubicBezTo>
                <a:close/>
                <a:moveTo>
                  <a:pt x="2379725" y="962558"/>
                </a:moveTo>
                <a:cubicBezTo>
                  <a:pt x="2386043" y="966590"/>
                  <a:pt x="2388790" y="979994"/>
                  <a:pt x="2379176" y="981955"/>
                </a:cubicBezTo>
                <a:cubicBezTo>
                  <a:pt x="2374781" y="980757"/>
                  <a:pt x="2370386" y="979449"/>
                  <a:pt x="2367364" y="972583"/>
                </a:cubicBezTo>
                <a:cubicBezTo>
                  <a:pt x="2369012" y="966917"/>
                  <a:pt x="2372308" y="964083"/>
                  <a:pt x="2379725" y="962558"/>
                </a:cubicBezTo>
                <a:close/>
                <a:moveTo>
                  <a:pt x="2358299" y="961796"/>
                </a:moveTo>
                <a:cubicBezTo>
                  <a:pt x="2358574" y="962994"/>
                  <a:pt x="2360496" y="963648"/>
                  <a:pt x="2361046" y="964956"/>
                </a:cubicBezTo>
                <a:cubicBezTo>
                  <a:pt x="2359672" y="965610"/>
                  <a:pt x="2357475" y="968334"/>
                  <a:pt x="2356926" y="967026"/>
                </a:cubicBezTo>
                <a:cubicBezTo>
                  <a:pt x="2355552" y="967680"/>
                  <a:pt x="2354453" y="965174"/>
                  <a:pt x="2354453" y="965174"/>
                </a:cubicBezTo>
                <a:cubicBezTo>
                  <a:pt x="2353080" y="965827"/>
                  <a:pt x="2351981" y="966481"/>
                  <a:pt x="2350058" y="965936"/>
                </a:cubicBezTo>
                <a:cubicBezTo>
                  <a:pt x="2350883" y="963975"/>
                  <a:pt x="2349509" y="964520"/>
                  <a:pt x="2348959" y="963321"/>
                </a:cubicBezTo>
                <a:cubicBezTo>
                  <a:pt x="2350883" y="963866"/>
                  <a:pt x="2355002" y="961796"/>
                  <a:pt x="2358299" y="961796"/>
                </a:cubicBezTo>
                <a:close/>
                <a:moveTo>
                  <a:pt x="2311326" y="961577"/>
                </a:moveTo>
                <a:cubicBezTo>
                  <a:pt x="2315172" y="960379"/>
                  <a:pt x="2319567" y="961251"/>
                  <a:pt x="2320117" y="963321"/>
                </a:cubicBezTo>
                <a:cubicBezTo>
                  <a:pt x="2321215" y="966264"/>
                  <a:pt x="2322314" y="969314"/>
                  <a:pt x="2320391" y="971385"/>
                </a:cubicBezTo>
                <a:cubicBezTo>
                  <a:pt x="2319842" y="972039"/>
                  <a:pt x="2318743" y="972583"/>
                  <a:pt x="2317369" y="973019"/>
                </a:cubicBezTo>
                <a:cubicBezTo>
                  <a:pt x="2317369" y="973019"/>
                  <a:pt x="2317369" y="973019"/>
                  <a:pt x="2315996" y="972257"/>
                </a:cubicBezTo>
                <a:cubicBezTo>
                  <a:pt x="2313524" y="970840"/>
                  <a:pt x="2312150" y="970077"/>
                  <a:pt x="2311051" y="969424"/>
                </a:cubicBezTo>
                <a:cubicBezTo>
                  <a:pt x="2310227" y="967353"/>
                  <a:pt x="2309403" y="962122"/>
                  <a:pt x="2311326" y="961577"/>
                </a:cubicBezTo>
                <a:close/>
                <a:moveTo>
                  <a:pt x="1457026" y="961468"/>
                </a:moveTo>
                <a:cubicBezTo>
                  <a:pt x="1458948" y="963648"/>
                  <a:pt x="1459497" y="966917"/>
                  <a:pt x="1458124" y="972148"/>
                </a:cubicBezTo>
                <a:cubicBezTo>
                  <a:pt x="1456201" y="972911"/>
                  <a:pt x="1454553" y="973128"/>
                  <a:pt x="1453454" y="973019"/>
                </a:cubicBezTo>
                <a:cubicBezTo>
                  <a:pt x="1449883" y="972802"/>
                  <a:pt x="1448784" y="969533"/>
                  <a:pt x="1447411" y="966372"/>
                </a:cubicBezTo>
                <a:cubicBezTo>
                  <a:pt x="1452630" y="965500"/>
                  <a:pt x="1451257" y="959071"/>
                  <a:pt x="1457026" y="961468"/>
                </a:cubicBezTo>
                <a:close/>
                <a:moveTo>
                  <a:pt x="1967958" y="960269"/>
                </a:moveTo>
                <a:cubicBezTo>
                  <a:pt x="1966859" y="968443"/>
                  <a:pt x="1962464" y="972583"/>
                  <a:pt x="1955047" y="975526"/>
                </a:cubicBezTo>
                <a:cubicBezTo>
                  <a:pt x="1953398" y="973456"/>
                  <a:pt x="1954223" y="967244"/>
                  <a:pt x="1954773" y="963212"/>
                </a:cubicBezTo>
                <a:cubicBezTo>
                  <a:pt x="1958068" y="960161"/>
                  <a:pt x="1963288" y="959180"/>
                  <a:pt x="1967958" y="960269"/>
                </a:cubicBezTo>
                <a:close/>
                <a:moveTo>
                  <a:pt x="1900383" y="960269"/>
                </a:moveTo>
                <a:lnTo>
                  <a:pt x="1899833" y="960923"/>
                </a:lnTo>
                <a:lnTo>
                  <a:pt x="1899833" y="961033"/>
                </a:lnTo>
                <a:close/>
                <a:moveTo>
                  <a:pt x="2627139" y="959892"/>
                </a:moveTo>
                <a:cubicBezTo>
                  <a:pt x="2629405" y="959310"/>
                  <a:pt x="2631963" y="959616"/>
                  <a:pt x="2634642" y="961251"/>
                </a:cubicBezTo>
                <a:cubicBezTo>
                  <a:pt x="2635741" y="963866"/>
                  <a:pt x="2634917" y="968225"/>
                  <a:pt x="2633543" y="972257"/>
                </a:cubicBezTo>
                <a:lnTo>
                  <a:pt x="2632719" y="974218"/>
                </a:lnTo>
                <a:lnTo>
                  <a:pt x="2633543" y="974327"/>
                </a:lnTo>
                <a:cubicBezTo>
                  <a:pt x="2635192" y="980103"/>
                  <a:pt x="2628325" y="986968"/>
                  <a:pt x="2623105" y="993942"/>
                </a:cubicBezTo>
                <a:cubicBezTo>
                  <a:pt x="2620083" y="990891"/>
                  <a:pt x="2618435" y="989365"/>
                  <a:pt x="2615413" y="987731"/>
                </a:cubicBezTo>
                <a:lnTo>
                  <a:pt x="2622280" y="978686"/>
                </a:lnTo>
                <a:lnTo>
                  <a:pt x="2619259" y="977270"/>
                </a:lnTo>
                <a:cubicBezTo>
                  <a:pt x="2616169" y="971385"/>
                  <a:pt x="2620341" y="961639"/>
                  <a:pt x="2627139" y="959892"/>
                </a:cubicBezTo>
                <a:close/>
                <a:moveTo>
                  <a:pt x="2118765" y="956783"/>
                </a:moveTo>
                <a:cubicBezTo>
                  <a:pt x="2123985" y="957110"/>
                  <a:pt x="2130577" y="963212"/>
                  <a:pt x="2127006" y="968769"/>
                </a:cubicBezTo>
                <a:cubicBezTo>
                  <a:pt x="2126456" y="969533"/>
                  <a:pt x="2125358" y="969968"/>
                  <a:pt x="2123985" y="970187"/>
                </a:cubicBezTo>
                <a:cubicBezTo>
                  <a:pt x="2122611" y="970404"/>
                  <a:pt x="2121237" y="970187"/>
                  <a:pt x="2119864" y="969859"/>
                </a:cubicBezTo>
                <a:cubicBezTo>
                  <a:pt x="2116842" y="969097"/>
                  <a:pt x="2114095" y="967461"/>
                  <a:pt x="2113271" y="964956"/>
                </a:cubicBezTo>
                <a:cubicBezTo>
                  <a:pt x="2112722" y="963212"/>
                  <a:pt x="2112997" y="961142"/>
                  <a:pt x="2114919" y="958744"/>
                </a:cubicBezTo>
                <a:cubicBezTo>
                  <a:pt x="2115743" y="957328"/>
                  <a:pt x="2117117" y="956783"/>
                  <a:pt x="2118765" y="956783"/>
                </a:cubicBezTo>
                <a:close/>
                <a:moveTo>
                  <a:pt x="2292098" y="956674"/>
                </a:moveTo>
                <a:cubicBezTo>
                  <a:pt x="2295943" y="957654"/>
                  <a:pt x="2299240" y="957219"/>
                  <a:pt x="2299789" y="958526"/>
                </a:cubicBezTo>
                <a:cubicBezTo>
                  <a:pt x="2301162" y="957654"/>
                  <a:pt x="2302811" y="958199"/>
                  <a:pt x="2304184" y="957328"/>
                </a:cubicBezTo>
                <a:cubicBezTo>
                  <a:pt x="2304184" y="957328"/>
                  <a:pt x="2304184" y="957328"/>
                  <a:pt x="2304734" y="958635"/>
                </a:cubicBezTo>
                <a:cubicBezTo>
                  <a:pt x="2298965" y="960488"/>
                  <a:pt x="2293471" y="965827"/>
                  <a:pt x="2288252" y="965719"/>
                </a:cubicBezTo>
                <a:cubicBezTo>
                  <a:pt x="2287153" y="965500"/>
                  <a:pt x="2286329" y="965174"/>
                  <a:pt x="2285780" y="964520"/>
                </a:cubicBezTo>
                <a:cubicBezTo>
                  <a:pt x="2285230" y="963757"/>
                  <a:pt x="2284955" y="962667"/>
                  <a:pt x="2285780" y="960706"/>
                </a:cubicBezTo>
                <a:cubicBezTo>
                  <a:pt x="2285780" y="957328"/>
                  <a:pt x="2286879" y="956565"/>
                  <a:pt x="2292098" y="956674"/>
                </a:cubicBezTo>
                <a:close/>
                <a:moveTo>
                  <a:pt x="2472298" y="950898"/>
                </a:moveTo>
                <a:cubicBezTo>
                  <a:pt x="2472298" y="950898"/>
                  <a:pt x="2472298" y="951007"/>
                  <a:pt x="2481362" y="957328"/>
                </a:cubicBezTo>
                <a:cubicBezTo>
                  <a:pt x="2480813" y="958090"/>
                  <a:pt x="2479989" y="957981"/>
                  <a:pt x="2479165" y="957545"/>
                </a:cubicBezTo>
                <a:cubicBezTo>
                  <a:pt x="2478341" y="957219"/>
                  <a:pt x="2477791" y="956456"/>
                  <a:pt x="2476968" y="955584"/>
                </a:cubicBezTo>
                <a:cubicBezTo>
                  <a:pt x="2475593" y="954058"/>
                  <a:pt x="2473945" y="952532"/>
                  <a:pt x="2472298" y="950898"/>
                </a:cubicBezTo>
                <a:close/>
                <a:moveTo>
                  <a:pt x="4533711" y="949958"/>
                </a:moveTo>
                <a:cubicBezTo>
                  <a:pt x="4536080" y="952178"/>
                  <a:pt x="4537729" y="955911"/>
                  <a:pt x="4537454" y="958090"/>
                </a:cubicBezTo>
                <a:cubicBezTo>
                  <a:pt x="4536080" y="959725"/>
                  <a:pt x="4534706" y="960269"/>
                  <a:pt x="4533333" y="960269"/>
                </a:cubicBezTo>
                <a:cubicBezTo>
                  <a:pt x="4529212" y="960161"/>
                  <a:pt x="4525367" y="954167"/>
                  <a:pt x="4525642" y="950898"/>
                </a:cubicBezTo>
                <a:cubicBezTo>
                  <a:pt x="4528251" y="947029"/>
                  <a:pt x="4531342" y="947738"/>
                  <a:pt x="4533711" y="949958"/>
                </a:cubicBezTo>
                <a:close/>
                <a:moveTo>
                  <a:pt x="2360771" y="949263"/>
                </a:moveTo>
                <a:cubicBezTo>
                  <a:pt x="2360771" y="949263"/>
                  <a:pt x="2362694" y="950027"/>
                  <a:pt x="2364617" y="950681"/>
                </a:cubicBezTo>
                <a:cubicBezTo>
                  <a:pt x="2366265" y="951443"/>
                  <a:pt x="2367639" y="950789"/>
                  <a:pt x="2367639" y="950789"/>
                </a:cubicBezTo>
                <a:cubicBezTo>
                  <a:pt x="2369562" y="951552"/>
                  <a:pt x="2370111" y="952968"/>
                  <a:pt x="2369287" y="954930"/>
                </a:cubicBezTo>
                <a:cubicBezTo>
                  <a:pt x="2369287" y="954930"/>
                  <a:pt x="2366265" y="954821"/>
                  <a:pt x="2366265" y="954821"/>
                </a:cubicBezTo>
                <a:cubicBezTo>
                  <a:pt x="2362420" y="953405"/>
                  <a:pt x="2360496" y="952751"/>
                  <a:pt x="2357475" y="952642"/>
                </a:cubicBezTo>
                <a:cubicBezTo>
                  <a:pt x="2357750" y="949263"/>
                  <a:pt x="2358848" y="948609"/>
                  <a:pt x="2360771" y="949263"/>
                </a:cubicBezTo>
                <a:close/>
                <a:moveTo>
                  <a:pt x="1026030" y="946866"/>
                </a:moveTo>
                <a:cubicBezTo>
                  <a:pt x="1025480" y="948937"/>
                  <a:pt x="1037018" y="951879"/>
                  <a:pt x="1037018" y="958526"/>
                </a:cubicBezTo>
                <a:cubicBezTo>
                  <a:pt x="1037018" y="961796"/>
                  <a:pt x="1036468" y="963757"/>
                  <a:pt x="1036468" y="967135"/>
                </a:cubicBezTo>
                <a:cubicBezTo>
                  <a:pt x="1032622" y="969424"/>
                  <a:pt x="1030974" y="975526"/>
                  <a:pt x="1020810" y="975199"/>
                </a:cubicBezTo>
                <a:cubicBezTo>
                  <a:pt x="1009822" y="973564"/>
                  <a:pt x="1012295" y="962013"/>
                  <a:pt x="1011195" y="962885"/>
                </a:cubicBezTo>
                <a:cubicBezTo>
                  <a:pt x="1009273" y="962341"/>
                  <a:pt x="1009273" y="962341"/>
                  <a:pt x="1007899" y="963212"/>
                </a:cubicBezTo>
                <a:cubicBezTo>
                  <a:pt x="1007350" y="961904"/>
                  <a:pt x="1004604" y="960161"/>
                  <a:pt x="1002680" y="959725"/>
                </a:cubicBezTo>
                <a:cubicBezTo>
                  <a:pt x="1004054" y="958853"/>
                  <a:pt x="1005427" y="958090"/>
                  <a:pt x="1004604" y="956783"/>
                </a:cubicBezTo>
                <a:cubicBezTo>
                  <a:pt x="1008448" y="957764"/>
                  <a:pt x="1009273" y="959071"/>
                  <a:pt x="1011195" y="959616"/>
                </a:cubicBezTo>
                <a:cubicBezTo>
                  <a:pt x="1010372" y="958308"/>
                  <a:pt x="1012295" y="958853"/>
                  <a:pt x="1012295" y="958853"/>
                </a:cubicBezTo>
                <a:cubicBezTo>
                  <a:pt x="1012295" y="958853"/>
                  <a:pt x="1012295" y="958744"/>
                  <a:pt x="1013393" y="954603"/>
                </a:cubicBezTo>
                <a:cubicBezTo>
                  <a:pt x="1013393" y="954603"/>
                  <a:pt x="1017239" y="945776"/>
                  <a:pt x="1026030" y="946866"/>
                </a:cubicBezTo>
                <a:close/>
                <a:moveTo>
                  <a:pt x="2024545" y="946757"/>
                </a:moveTo>
                <a:cubicBezTo>
                  <a:pt x="2025369" y="946866"/>
                  <a:pt x="2026193" y="947302"/>
                  <a:pt x="2027017" y="947738"/>
                </a:cubicBezTo>
                <a:cubicBezTo>
                  <a:pt x="2028940" y="948609"/>
                  <a:pt x="2030589" y="949482"/>
                  <a:pt x="2032511" y="950353"/>
                </a:cubicBezTo>
                <a:cubicBezTo>
                  <a:pt x="2032511" y="950353"/>
                  <a:pt x="2032511" y="950462"/>
                  <a:pt x="2022347" y="947847"/>
                </a:cubicBezTo>
                <a:cubicBezTo>
                  <a:pt x="2022896" y="946866"/>
                  <a:pt x="2023720" y="946648"/>
                  <a:pt x="2024545" y="946757"/>
                </a:cubicBezTo>
                <a:close/>
                <a:moveTo>
                  <a:pt x="6218861" y="946430"/>
                </a:moveTo>
                <a:cubicBezTo>
                  <a:pt x="6220509" y="947302"/>
                  <a:pt x="6220784" y="947193"/>
                  <a:pt x="6219685" y="948828"/>
                </a:cubicBezTo>
                <a:cubicBezTo>
                  <a:pt x="6216938" y="953731"/>
                  <a:pt x="6210895" y="957000"/>
                  <a:pt x="6209247" y="956129"/>
                </a:cubicBezTo>
                <a:cubicBezTo>
                  <a:pt x="6210895" y="952860"/>
                  <a:pt x="6214466" y="950462"/>
                  <a:pt x="6218861" y="946430"/>
                </a:cubicBezTo>
                <a:close/>
                <a:moveTo>
                  <a:pt x="1812206" y="945885"/>
                </a:moveTo>
                <a:cubicBezTo>
                  <a:pt x="1810833" y="949263"/>
                  <a:pt x="1809185" y="951007"/>
                  <a:pt x="1807536" y="951770"/>
                </a:cubicBezTo>
                <a:cubicBezTo>
                  <a:pt x="1805613" y="952532"/>
                  <a:pt x="1803416" y="952206"/>
                  <a:pt x="1800668" y="951552"/>
                </a:cubicBezTo>
                <a:cubicBezTo>
                  <a:pt x="1803142" y="946866"/>
                  <a:pt x="1806163" y="946539"/>
                  <a:pt x="1812206" y="945885"/>
                </a:cubicBezTo>
                <a:close/>
                <a:moveTo>
                  <a:pt x="1594647" y="945885"/>
                </a:moveTo>
                <a:cubicBezTo>
                  <a:pt x="1593548" y="947629"/>
                  <a:pt x="1593548" y="947629"/>
                  <a:pt x="1593823" y="949154"/>
                </a:cubicBezTo>
                <a:cubicBezTo>
                  <a:pt x="1593823" y="949154"/>
                  <a:pt x="1592175" y="947629"/>
                  <a:pt x="1592175" y="947629"/>
                </a:cubicBezTo>
                <a:cubicBezTo>
                  <a:pt x="1593274" y="945994"/>
                  <a:pt x="1592175" y="946104"/>
                  <a:pt x="1594647" y="945885"/>
                </a:cubicBezTo>
                <a:close/>
                <a:moveTo>
                  <a:pt x="1544928" y="945450"/>
                </a:moveTo>
                <a:cubicBezTo>
                  <a:pt x="1544928" y="945450"/>
                  <a:pt x="1543829" y="947411"/>
                  <a:pt x="1544378" y="948719"/>
                </a:cubicBezTo>
                <a:cubicBezTo>
                  <a:pt x="1544378" y="948719"/>
                  <a:pt x="1543280" y="950571"/>
                  <a:pt x="1542181" y="952423"/>
                </a:cubicBezTo>
                <a:cubicBezTo>
                  <a:pt x="1542181" y="952423"/>
                  <a:pt x="1542730" y="953840"/>
                  <a:pt x="1543005" y="955148"/>
                </a:cubicBezTo>
                <a:cubicBezTo>
                  <a:pt x="1541357" y="960269"/>
                  <a:pt x="1540807" y="963539"/>
                  <a:pt x="1535038" y="964192"/>
                </a:cubicBezTo>
                <a:cubicBezTo>
                  <a:pt x="1534489" y="962776"/>
                  <a:pt x="1536687" y="959071"/>
                  <a:pt x="1537511" y="957110"/>
                </a:cubicBezTo>
                <a:cubicBezTo>
                  <a:pt x="1537237" y="955802"/>
                  <a:pt x="1538335" y="953949"/>
                  <a:pt x="1539433" y="953405"/>
                </a:cubicBezTo>
                <a:cubicBezTo>
                  <a:pt x="1539433" y="953405"/>
                  <a:pt x="1540533" y="951661"/>
                  <a:pt x="1540258" y="950244"/>
                </a:cubicBezTo>
                <a:cubicBezTo>
                  <a:pt x="1542181" y="946539"/>
                  <a:pt x="1543555" y="945994"/>
                  <a:pt x="1544928" y="945450"/>
                </a:cubicBezTo>
                <a:close/>
                <a:moveTo>
                  <a:pt x="2060255" y="945014"/>
                </a:moveTo>
                <a:cubicBezTo>
                  <a:pt x="2068496" y="949917"/>
                  <a:pt x="2076462" y="953186"/>
                  <a:pt x="2084153" y="956456"/>
                </a:cubicBezTo>
                <a:lnTo>
                  <a:pt x="2093493" y="961033"/>
                </a:lnTo>
                <a:lnTo>
                  <a:pt x="2097614" y="954821"/>
                </a:lnTo>
                <a:cubicBezTo>
                  <a:pt x="2100086" y="956346"/>
                  <a:pt x="2101185" y="957873"/>
                  <a:pt x="2101185" y="959834"/>
                </a:cubicBezTo>
                <a:lnTo>
                  <a:pt x="2099536" y="963866"/>
                </a:lnTo>
                <a:lnTo>
                  <a:pt x="2108052" y="968006"/>
                </a:lnTo>
                <a:lnTo>
                  <a:pt x="2112448" y="982609"/>
                </a:lnTo>
                <a:lnTo>
                  <a:pt x="2119864" y="980103"/>
                </a:lnTo>
                <a:cubicBezTo>
                  <a:pt x="2120962" y="984026"/>
                  <a:pt x="2120962" y="986859"/>
                  <a:pt x="2120139" y="989148"/>
                </a:cubicBezTo>
                <a:lnTo>
                  <a:pt x="2117117" y="992634"/>
                </a:lnTo>
                <a:lnTo>
                  <a:pt x="2119864" y="998628"/>
                </a:lnTo>
                <a:cubicBezTo>
                  <a:pt x="2122336" y="1003859"/>
                  <a:pt x="2124534" y="1009090"/>
                  <a:pt x="2125632" y="1014320"/>
                </a:cubicBezTo>
                <a:lnTo>
                  <a:pt x="2125083" y="1022711"/>
                </a:lnTo>
                <a:lnTo>
                  <a:pt x="2125632" y="1022929"/>
                </a:lnTo>
                <a:cubicBezTo>
                  <a:pt x="2130852" y="1025871"/>
                  <a:pt x="2136346" y="1031974"/>
                  <a:pt x="2137444" y="1036333"/>
                </a:cubicBezTo>
                <a:cubicBezTo>
                  <a:pt x="2133324" y="1035897"/>
                  <a:pt x="2130577" y="1034916"/>
                  <a:pt x="2128380" y="1033608"/>
                </a:cubicBezTo>
                <a:lnTo>
                  <a:pt x="2124259" y="1029903"/>
                </a:lnTo>
                <a:lnTo>
                  <a:pt x="2123710" y="1030449"/>
                </a:lnTo>
                <a:lnTo>
                  <a:pt x="2118216" y="1038730"/>
                </a:lnTo>
                <a:lnTo>
                  <a:pt x="2112448" y="1040801"/>
                </a:lnTo>
                <a:lnTo>
                  <a:pt x="2110799" y="1043525"/>
                </a:lnTo>
                <a:cubicBezTo>
                  <a:pt x="2108327" y="1048319"/>
                  <a:pt x="2106954" y="1053224"/>
                  <a:pt x="2103382" y="1057582"/>
                </a:cubicBezTo>
                <a:cubicBezTo>
                  <a:pt x="2092120" y="1061723"/>
                  <a:pt x="2077835" y="1064448"/>
                  <a:pt x="2064101" y="1063467"/>
                </a:cubicBezTo>
                <a:lnTo>
                  <a:pt x="2060804" y="1062704"/>
                </a:lnTo>
                <a:lnTo>
                  <a:pt x="2051739" y="1070986"/>
                </a:lnTo>
                <a:cubicBezTo>
                  <a:pt x="2047894" y="1073384"/>
                  <a:pt x="2043773" y="1074909"/>
                  <a:pt x="2038005" y="1075127"/>
                </a:cubicBezTo>
                <a:cubicBezTo>
                  <a:pt x="2037456" y="1071204"/>
                  <a:pt x="2039103" y="1066518"/>
                  <a:pt x="2042126" y="1061941"/>
                </a:cubicBezTo>
                <a:lnTo>
                  <a:pt x="2044597" y="1058999"/>
                </a:lnTo>
                <a:lnTo>
                  <a:pt x="2043499" y="1058781"/>
                </a:lnTo>
                <a:lnTo>
                  <a:pt x="2028390" y="1048864"/>
                </a:lnTo>
                <a:lnTo>
                  <a:pt x="2030039" y="1051589"/>
                </a:lnTo>
                <a:cubicBezTo>
                  <a:pt x="2032511" y="1055294"/>
                  <a:pt x="2034708" y="1059871"/>
                  <a:pt x="2032511" y="1067063"/>
                </a:cubicBezTo>
                <a:cubicBezTo>
                  <a:pt x="2028940" y="1065429"/>
                  <a:pt x="2023720" y="1073710"/>
                  <a:pt x="2018501" y="1071204"/>
                </a:cubicBezTo>
                <a:cubicBezTo>
                  <a:pt x="2005866" y="1067063"/>
                  <a:pt x="2003394" y="1063031"/>
                  <a:pt x="2003394" y="1056493"/>
                </a:cubicBezTo>
                <a:lnTo>
                  <a:pt x="2003668" y="1054204"/>
                </a:lnTo>
                <a:lnTo>
                  <a:pt x="2003119" y="1054313"/>
                </a:lnTo>
                <a:lnTo>
                  <a:pt x="2000372" y="1054640"/>
                </a:lnTo>
                <a:lnTo>
                  <a:pt x="2002019" y="1056165"/>
                </a:lnTo>
                <a:lnTo>
                  <a:pt x="1998724" y="1058454"/>
                </a:lnTo>
                <a:lnTo>
                  <a:pt x="1998724" y="1058563"/>
                </a:lnTo>
                <a:lnTo>
                  <a:pt x="1998449" y="1058672"/>
                </a:lnTo>
                <a:lnTo>
                  <a:pt x="1998174" y="1058890"/>
                </a:lnTo>
                <a:lnTo>
                  <a:pt x="1994878" y="1062486"/>
                </a:lnTo>
                <a:lnTo>
                  <a:pt x="1992406" y="1063031"/>
                </a:lnTo>
                <a:lnTo>
                  <a:pt x="1983615" y="1069133"/>
                </a:lnTo>
                <a:lnTo>
                  <a:pt x="1977298" y="1070768"/>
                </a:lnTo>
                <a:lnTo>
                  <a:pt x="1977298" y="1070877"/>
                </a:lnTo>
                <a:cubicBezTo>
                  <a:pt x="1978671" y="1073056"/>
                  <a:pt x="1979220" y="1075672"/>
                  <a:pt x="1979495" y="1078832"/>
                </a:cubicBezTo>
                <a:cubicBezTo>
                  <a:pt x="1977572" y="1078505"/>
                  <a:pt x="1977572" y="1080576"/>
                  <a:pt x="1977298" y="1082646"/>
                </a:cubicBezTo>
                <a:cubicBezTo>
                  <a:pt x="1975924" y="1083518"/>
                  <a:pt x="1974550" y="1083954"/>
                  <a:pt x="1972902" y="1084062"/>
                </a:cubicBezTo>
                <a:cubicBezTo>
                  <a:pt x="1971529" y="1084172"/>
                  <a:pt x="1969880" y="1083954"/>
                  <a:pt x="1968232" y="1083518"/>
                </a:cubicBezTo>
                <a:cubicBezTo>
                  <a:pt x="1965211" y="1082646"/>
                  <a:pt x="1961914" y="1080793"/>
                  <a:pt x="1959167" y="1078505"/>
                </a:cubicBezTo>
                <a:lnTo>
                  <a:pt x="1955047" y="1073166"/>
                </a:lnTo>
                <a:lnTo>
                  <a:pt x="1952025" y="1072839"/>
                </a:lnTo>
                <a:lnTo>
                  <a:pt x="1953124" y="1067826"/>
                </a:lnTo>
                <a:lnTo>
                  <a:pt x="1953398" y="1063140"/>
                </a:lnTo>
                <a:cubicBezTo>
                  <a:pt x="1954223" y="1061941"/>
                  <a:pt x="1955597" y="1060852"/>
                  <a:pt x="1957794" y="1060198"/>
                </a:cubicBezTo>
                <a:lnTo>
                  <a:pt x="1959442" y="1060742"/>
                </a:lnTo>
                <a:lnTo>
                  <a:pt x="1965211" y="1058018"/>
                </a:lnTo>
                <a:lnTo>
                  <a:pt x="1966310" y="1055512"/>
                </a:lnTo>
                <a:lnTo>
                  <a:pt x="1964112" y="1050826"/>
                </a:lnTo>
                <a:lnTo>
                  <a:pt x="1961914" y="1048538"/>
                </a:lnTo>
                <a:lnTo>
                  <a:pt x="1958618" y="1049301"/>
                </a:lnTo>
                <a:cubicBezTo>
                  <a:pt x="1953673" y="1048102"/>
                  <a:pt x="1950103" y="1051153"/>
                  <a:pt x="1945158" y="1049955"/>
                </a:cubicBezTo>
                <a:cubicBezTo>
                  <a:pt x="1945158" y="1049955"/>
                  <a:pt x="1945158" y="1050063"/>
                  <a:pt x="1946257" y="1048102"/>
                </a:cubicBezTo>
                <a:cubicBezTo>
                  <a:pt x="1949828" y="1048211"/>
                  <a:pt x="1953124" y="1046794"/>
                  <a:pt x="1956421" y="1045595"/>
                </a:cubicBezTo>
                <a:lnTo>
                  <a:pt x="1958618" y="1045268"/>
                </a:lnTo>
                <a:lnTo>
                  <a:pt x="1956146" y="1042653"/>
                </a:lnTo>
                <a:cubicBezTo>
                  <a:pt x="1950652" y="1037531"/>
                  <a:pt x="1944609" y="1032519"/>
                  <a:pt x="1941861" y="1024454"/>
                </a:cubicBezTo>
                <a:lnTo>
                  <a:pt x="1940763" y="1017698"/>
                </a:lnTo>
                <a:lnTo>
                  <a:pt x="1935544" y="1022166"/>
                </a:lnTo>
                <a:cubicBezTo>
                  <a:pt x="1933621" y="1023910"/>
                  <a:pt x="1931972" y="1025544"/>
                  <a:pt x="1930324" y="1027070"/>
                </a:cubicBezTo>
                <a:lnTo>
                  <a:pt x="1920435" y="1034916"/>
                </a:lnTo>
                <a:lnTo>
                  <a:pt x="1918787" y="1039057"/>
                </a:lnTo>
                <a:lnTo>
                  <a:pt x="1917963" y="1039602"/>
                </a:lnTo>
                <a:lnTo>
                  <a:pt x="1917963" y="1041236"/>
                </a:lnTo>
                <a:cubicBezTo>
                  <a:pt x="1917963" y="1041236"/>
                  <a:pt x="1917963" y="1041236"/>
                  <a:pt x="1916865" y="1041781"/>
                </a:cubicBezTo>
                <a:lnTo>
                  <a:pt x="1916865" y="1040256"/>
                </a:lnTo>
                <a:lnTo>
                  <a:pt x="1915216" y="1041455"/>
                </a:lnTo>
                <a:cubicBezTo>
                  <a:pt x="1911371" y="1042653"/>
                  <a:pt x="1907250" y="1040037"/>
                  <a:pt x="1905602" y="1035679"/>
                </a:cubicBezTo>
                <a:cubicBezTo>
                  <a:pt x="1904777" y="1033064"/>
                  <a:pt x="1904503" y="1029795"/>
                  <a:pt x="1906152" y="1026307"/>
                </a:cubicBezTo>
                <a:cubicBezTo>
                  <a:pt x="1908898" y="1024782"/>
                  <a:pt x="1915765" y="1025981"/>
                  <a:pt x="1919337" y="1028377"/>
                </a:cubicBezTo>
                <a:lnTo>
                  <a:pt x="1919886" y="1028813"/>
                </a:lnTo>
                <a:lnTo>
                  <a:pt x="1919886" y="1028596"/>
                </a:lnTo>
                <a:cubicBezTo>
                  <a:pt x="1922908" y="1023910"/>
                  <a:pt x="1929775" y="1018026"/>
                  <a:pt x="1930599" y="1018570"/>
                </a:cubicBezTo>
                <a:cubicBezTo>
                  <a:pt x="1931423" y="1017262"/>
                  <a:pt x="1932797" y="1018026"/>
                  <a:pt x="1933621" y="1016718"/>
                </a:cubicBezTo>
                <a:cubicBezTo>
                  <a:pt x="1933621" y="1016718"/>
                  <a:pt x="1934445" y="1015410"/>
                  <a:pt x="1936368" y="1014865"/>
                </a:cubicBezTo>
                <a:cubicBezTo>
                  <a:pt x="1938291" y="1014320"/>
                  <a:pt x="1940488" y="1013884"/>
                  <a:pt x="1941861" y="1016608"/>
                </a:cubicBezTo>
                <a:lnTo>
                  <a:pt x="1941587" y="1016827"/>
                </a:lnTo>
                <a:lnTo>
                  <a:pt x="1946806" y="1017262"/>
                </a:lnTo>
                <a:cubicBezTo>
                  <a:pt x="1949828" y="1018243"/>
                  <a:pt x="1953398" y="1020314"/>
                  <a:pt x="1956695" y="1022820"/>
                </a:cubicBezTo>
                <a:lnTo>
                  <a:pt x="1964661" y="1031102"/>
                </a:lnTo>
                <a:lnTo>
                  <a:pt x="1966035" y="1031429"/>
                </a:lnTo>
                <a:lnTo>
                  <a:pt x="1971804" y="1036768"/>
                </a:lnTo>
                <a:lnTo>
                  <a:pt x="1971804" y="1036442"/>
                </a:lnTo>
                <a:cubicBezTo>
                  <a:pt x="1973177" y="1030775"/>
                  <a:pt x="1975099" y="1024564"/>
                  <a:pt x="1975924" y="1021839"/>
                </a:cubicBezTo>
                <a:cubicBezTo>
                  <a:pt x="1977298" y="1021295"/>
                  <a:pt x="1977298" y="1021295"/>
                  <a:pt x="1977298" y="1021295"/>
                </a:cubicBezTo>
                <a:cubicBezTo>
                  <a:pt x="1978671" y="1021513"/>
                  <a:pt x="1979495" y="1022384"/>
                  <a:pt x="1979495" y="1023910"/>
                </a:cubicBezTo>
                <a:cubicBezTo>
                  <a:pt x="1979495" y="1025436"/>
                  <a:pt x="1979220" y="1027506"/>
                  <a:pt x="1978396" y="1030230"/>
                </a:cubicBezTo>
                <a:cubicBezTo>
                  <a:pt x="1977572" y="1032845"/>
                  <a:pt x="1976199" y="1035788"/>
                  <a:pt x="1974825" y="1038294"/>
                </a:cubicBezTo>
                <a:lnTo>
                  <a:pt x="1974275" y="1039493"/>
                </a:lnTo>
                <a:lnTo>
                  <a:pt x="1984714" y="1051044"/>
                </a:lnTo>
                <a:lnTo>
                  <a:pt x="1985538" y="1051044"/>
                </a:lnTo>
                <a:lnTo>
                  <a:pt x="1984439" y="1044833"/>
                </a:lnTo>
                <a:lnTo>
                  <a:pt x="1991032" y="1047993"/>
                </a:lnTo>
                <a:lnTo>
                  <a:pt x="1991856" y="1046794"/>
                </a:lnTo>
                <a:cubicBezTo>
                  <a:pt x="1993230" y="1045922"/>
                  <a:pt x="1994603" y="1045487"/>
                  <a:pt x="1996251" y="1045159"/>
                </a:cubicBezTo>
                <a:lnTo>
                  <a:pt x="2000921" y="1044288"/>
                </a:lnTo>
                <a:lnTo>
                  <a:pt x="2000646" y="1044179"/>
                </a:lnTo>
                <a:cubicBezTo>
                  <a:pt x="2000097" y="1043525"/>
                  <a:pt x="1999822" y="1042653"/>
                  <a:pt x="2000097" y="1041345"/>
                </a:cubicBezTo>
                <a:cubicBezTo>
                  <a:pt x="2001745" y="1037204"/>
                  <a:pt x="2005316" y="1034698"/>
                  <a:pt x="2008888" y="1033173"/>
                </a:cubicBezTo>
                <a:lnTo>
                  <a:pt x="2015205" y="1031865"/>
                </a:lnTo>
                <a:lnTo>
                  <a:pt x="2011359" y="1019769"/>
                </a:lnTo>
                <a:cubicBezTo>
                  <a:pt x="2009712" y="1010289"/>
                  <a:pt x="2009162" y="1000154"/>
                  <a:pt x="2005591" y="988821"/>
                </a:cubicBezTo>
                <a:cubicBezTo>
                  <a:pt x="2021249" y="980539"/>
                  <a:pt x="2018227" y="969424"/>
                  <a:pt x="2020974" y="959725"/>
                </a:cubicBezTo>
                <a:cubicBezTo>
                  <a:pt x="2033884" y="959725"/>
                  <a:pt x="2046795" y="949372"/>
                  <a:pt x="2060255" y="945014"/>
                </a:cubicBezTo>
                <a:close/>
                <a:moveTo>
                  <a:pt x="2341268" y="943161"/>
                </a:moveTo>
                <a:cubicBezTo>
                  <a:pt x="2349509" y="943815"/>
                  <a:pt x="2352531" y="947193"/>
                  <a:pt x="2350058" y="953077"/>
                </a:cubicBezTo>
                <a:cubicBezTo>
                  <a:pt x="2348685" y="953731"/>
                  <a:pt x="2344015" y="954385"/>
                  <a:pt x="2344564" y="955693"/>
                </a:cubicBezTo>
                <a:cubicBezTo>
                  <a:pt x="2340444" y="954276"/>
                  <a:pt x="2336049" y="951988"/>
                  <a:pt x="2334676" y="948719"/>
                </a:cubicBezTo>
                <a:cubicBezTo>
                  <a:pt x="2334126" y="947629"/>
                  <a:pt x="2333851" y="946430"/>
                  <a:pt x="2334126" y="945122"/>
                </a:cubicBezTo>
                <a:cubicBezTo>
                  <a:pt x="2334401" y="941853"/>
                  <a:pt x="2337697" y="941853"/>
                  <a:pt x="2341268" y="943161"/>
                </a:cubicBezTo>
                <a:close/>
                <a:moveTo>
                  <a:pt x="2507733" y="941091"/>
                </a:moveTo>
                <a:cubicBezTo>
                  <a:pt x="2512677" y="941526"/>
                  <a:pt x="2520369" y="947847"/>
                  <a:pt x="2517622" y="953186"/>
                </a:cubicBezTo>
                <a:cubicBezTo>
                  <a:pt x="2516798" y="954167"/>
                  <a:pt x="2515425" y="954712"/>
                  <a:pt x="2513501" y="954603"/>
                </a:cubicBezTo>
                <a:cubicBezTo>
                  <a:pt x="2507733" y="954494"/>
                  <a:pt x="2499767" y="949808"/>
                  <a:pt x="2504162" y="942725"/>
                </a:cubicBezTo>
                <a:cubicBezTo>
                  <a:pt x="2504712" y="941417"/>
                  <a:pt x="2506085" y="940982"/>
                  <a:pt x="2507733" y="941091"/>
                </a:cubicBezTo>
                <a:close/>
                <a:moveTo>
                  <a:pt x="1593548" y="938367"/>
                </a:moveTo>
                <a:cubicBezTo>
                  <a:pt x="1593823" y="940001"/>
                  <a:pt x="1594098" y="941526"/>
                  <a:pt x="1592725" y="941636"/>
                </a:cubicBezTo>
                <a:cubicBezTo>
                  <a:pt x="1591352" y="941745"/>
                  <a:pt x="1591077" y="940109"/>
                  <a:pt x="1592175" y="938475"/>
                </a:cubicBezTo>
                <a:cubicBezTo>
                  <a:pt x="1592175" y="938475"/>
                  <a:pt x="1593548" y="938367"/>
                  <a:pt x="1593548" y="938367"/>
                </a:cubicBezTo>
                <a:close/>
                <a:moveTo>
                  <a:pt x="2082780" y="937712"/>
                </a:moveTo>
                <a:cubicBezTo>
                  <a:pt x="2086626" y="941308"/>
                  <a:pt x="2087725" y="946104"/>
                  <a:pt x="2084703" y="950027"/>
                </a:cubicBezTo>
                <a:cubicBezTo>
                  <a:pt x="2081681" y="951116"/>
                  <a:pt x="2078934" y="949045"/>
                  <a:pt x="2076462" y="947084"/>
                </a:cubicBezTo>
                <a:cubicBezTo>
                  <a:pt x="2074265" y="945231"/>
                  <a:pt x="2073715" y="943706"/>
                  <a:pt x="2073990" y="942289"/>
                </a:cubicBezTo>
                <a:cubicBezTo>
                  <a:pt x="2074265" y="940872"/>
                  <a:pt x="2075364" y="939456"/>
                  <a:pt x="2077011" y="938257"/>
                </a:cubicBezTo>
                <a:cubicBezTo>
                  <a:pt x="2080033" y="935751"/>
                  <a:pt x="2082780" y="937712"/>
                  <a:pt x="2082780" y="937712"/>
                </a:cubicBezTo>
                <a:close/>
                <a:moveTo>
                  <a:pt x="1767705" y="937277"/>
                </a:moveTo>
                <a:cubicBezTo>
                  <a:pt x="1767980" y="945776"/>
                  <a:pt x="1772375" y="952968"/>
                  <a:pt x="1775946" y="959834"/>
                </a:cubicBezTo>
                <a:lnTo>
                  <a:pt x="1777869" y="964956"/>
                </a:lnTo>
                <a:lnTo>
                  <a:pt x="1780341" y="959834"/>
                </a:lnTo>
                <a:cubicBezTo>
                  <a:pt x="1787484" y="964083"/>
                  <a:pt x="1789132" y="969859"/>
                  <a:pt x="1789132" y="977705"/>
                </a:cubicBezTo>
                <a:cubicBezTo>
                  <a:pt x="1787758" y="978032"/>
                  <a:pt x="1785835" y="977487"/>
                  <a:pt x="1783637" y="976507"/>
                </a:cubicBezTo>
                <a:lnTo>
                  <a:pt x="1779517" y="974218"/>
                </a:lnTo>
                <a:lnTo>
                  <a:pt x="1779242" y="979994"/>
                </a:lnTo>
                <a:cubicBezTo>
                  <a:pt x="1777594" y="977924"/>
                  <a:pt x="1775672" y="975853"/>
                  <a:pt x="1773474" y="973782"/>
                </a:cubicBezTo>
                <a:lnTo>
                  <a:pt x="1772101" y="972693"/>
                </a:lnTo>
                <a:lnTo>
                  <a:pt x="1768804" y="974327"/>
                </a:lnTo>
                <a:lnTo>
                  <a:pt x="1762486" y="972802"/>
                </a:lnTo>
                <a:lnTo>
                  <a:pt x="1766058" y="983699"/>
                </a:lnTo>
                <a:cubicBezTo>
                  <a:pt x="1766881" y="990891"/>
                  <a:pt x="1766606" y="998846"/>
                  <a:pt x="1763859" y="1008109"/>
                </a:cubicBezTo>
                <a:cubicBezTo>
                  <a:pt x="1761662" y="1009307"/>
                  <a:pt x="1759740" y="1010070"/>
                  <a:pt x="1758091" y="1010179"/>
                </a:cubicBezTo>
                <a:cubicBezTo>
                  <a:pt x="1752596" y="1010506"/>
                  <a:pt x="1748752" y="1006366"/>
                  <a:pt x="1746828" y="1000481"/>
                </a:cubicBezTo>
                <a:cubicBezTo>
                  <a:pt x="1743258" y="990564"/>
                  <a:pt x="1744631" y="975853"/>
                  <a:pt x="1751223" y="968769"/>
                </a:cubicBezTo>
                <a:lnTo>
                  <a:pt x="1751498" y="968551"/>
                </a:lnTo>
                <a:lnTo>
                  <a:pt x="1743807" y="962558"/>
                </a:lnTo>
                <a:cubicBezTo>
                  <a:pt x="1743532" y="955475"/>
                  <a:pt x="1745730" y="951116"/>
                  <a:pt x="1748752" y="948828"/>
                </a:cubicBezTo>
                <a:lnTo>
                  <a:pt x="1757266" y="947193"/>
                </a:lnTo>
                <a:lnTo>
                  <a:pt x="1757266" y="945885"/>
                </a:lnTo>
                <a:cubicBezTo>
                  <a:pt x="1759190" y="943052"/>
                  <a:pt x="1762486" y="940218"/>
                  <a:pt x="1767705" y="937277"/>
                </a:cubicBezTo>
                <a:close/>
                <a:moveTo>
                  <a:pt x="2195680" y="937168"/>
                </a:moveTo>
                <a:cubicBezTo>
                  <a:pt x="2201448" y="938584"/>
                  <a:pt x="2201998" y="943161"/>
                  <a:pt x="2202821" y="947629"/>
                </a:cubicBezTo>
                <a:cubicBezTo>
                  <a:pt x="2202821" y="950898"/>
                  <a:pt x="2203371" y="952206"/>
                  <a:pt x="2205844" y="953840"/>
                </a:cubicBezTo>
                <a:cubicBezTo>
                  <a:pt x="2205844" y="953840"/>
                  <a:pt x="2205844" y="953840"/>
                  <a:pt x="2204745" y="957873"/>
                </a:cubicBezTo>
                <a:lnTo>
                  <a:pt x="2203371" y="958744"/>
                </a:lnTo>
                <a:cubicBezTo>
                  <a:pt x="2202821" y="958744"/>
                  <a:pt x="2201998" y="957981"/>
                  <a:pt x="2201174" y="956674"/>
                </a:cubicBezTo>
                <a:cubicBezTo>
                  <a:pt x="2198702" y="952860"/>
                  <a:pt x="2196229" y="944686"/>
                  <a:pt x="2195680" y="943706"/>
                </a:cubicBezTo>
                <a:cubicBezTo>
                  <a:pt x="2195680" y="943706"/>
                  <a:pt x="2195130" y="942398"/>
                  <a:pt x="2194581" y="941200"/>
                </a:cubicBezTo>
                <a:cubicBezTo>
                  <a:pt x="2195130" y="939129"/>
                  <a:pt x="2196504" y="938367"/>
                  <a:pt x="2195680" y="937168"/>
                </a:cubicBezTo>
                <a:close/>
                <a:moveTo>
                  <a:pt x="1847642" y="936949"/>
                </a:moveTo>
                <a:cubicBezTo>
                  <a:pt x="1850938" y="945340"/>
                  <a:pt x="1866046" y="969750"/>
                  <a:pt x="1855058" y="975853"/>
                </a:cubicBezTo>
                <a:cubicBezTo>
                  <a:pt x="1852861" y="971385"/>
                  <a:pt x="1847367" y="963975"/>
                  <a:pt x="1844070" y="956456"/>
                </a:cubicBezTo>
                <a:cubicBezTo>
                  <a:pt x="1841049" y="949045"/>
                  <a:pt x="1840225" y="941636"/>
                  <a:pt x="1847642" y="936949"/>
                </a:cubicBezTo>
                <a:close/>
                <a:moveTo>
                  <a:pt x="1942136" y="934770"/>
                </a:moveTo>
                <a:cubicBezTo>
                  <a:pt x="1941861" y="952423"/>
                  <a:pt x="1920160" y="956456"/>
                  <a:pt x="1909173" y="955802"/>
                </a:cubicBezTo>
                <a:cubicBezTo>
                  <a:pt x="1913568" y="951334"/>
                  <a:pt x="1917689" y="946430"/>
                  <a:pt x="1922633" y="942507"/>
                </a:cubicBezTo>
                <a:cubicBezTo>
                  <a:pt x="1927853" y="938584"/>
                  <a:pt x="1933896" y="935641"/>
                  <a:pt x="1942136" y="934770"/>
                </a:cubicBezTo>
                <a:close/>
                <a:moveTo>
                  <a:pt x="6221608" y="931937"/>
                </a:moveTo>
                <a:cubicBezTo>
                  <a:pt x="6231497" y="932700"/>
                  <a:pt x="6249077" y="930956"/>
                  <a:pt x="6252649" y="948064"/>
                </a:cubicBezTo>
                <a:cubicBezTo>
                  <a:pt x="6249901" y="950789"/>
                  <a:pt x="6246605" y="952315"/>
                  <a:pt x="6242759" y="953077"/>
                </a:cubicBezTo>
                <a:cubicBezTo>
                  <a:pt x="6238913" y="953840"/>
                  <a:pt x="6234793" y="953731"/>
                  <a:pt x="6231222" y="952751"/>
                </a:cubicBezTo>
                <a:cubicBezTo>
                  <a:pt x="6223806" y="950898"/>
                  <a:pt x="6217762" y="945994"/>
                  <a:pt x="6218861" y="938693"/>
                </a:cubicBezTo>
                <a:cubicBezTo>
                  <a:pt x="6219136" y="936623"/>
                  <a:pt x="6219960" y="934334"/>
                  <a:pt x="6221608" y="931937"/>
                </a:cubicBezTo>
                <a:close/>
                <a:moveTo>
                  <a:pt x="1870441" y="930738"/>
                </a:moveTo>
                <a:cubicBezTo>
                  <a:pt x="1871539" y="929866"/>
                  <a:pt x="1872639" y="930084"/>
                  <a:pt x="1874013" y="931719"/>
                </a:cubicBezTo>
                <a:lnTo>
                  <a:pt x="1874562" y="932482"/>
                </a:lnTo>
                <a:lnTo>
                  <a:pt x="1882253" y="930956"/>
                </a:lnTo>
                <a:cubicBezTo>
                  <a:pt x="1885000" y="934770"/>
                  <a:pt x="1883351" y="937712"/>
                  <a:pt x="1880605" y="939456"/>
                </a:cubicBezTo>
                <a:lnTo>
                  <a:pt x="1879231" y="939892"/>
                </a:lnTo>
                <a:lnTo>
                  <a:pt x="1883077" y="940982"/>
                </a:lnTo>
                <a:cubicBezTo>
                  <a:pt x="1888296" y="940655"/>
                  <a:pt x="1895439" y="936514"/>
                  <a:pt x="1903953" y="944142"/>
                </a:cubicBezTo>
                <a:cubicBezTo>
                  <a:pt x="1901756" y="946104"/>
                  <a:pt x="1904228" y="951116"/>
                  <a:pt x="1903953" y="955039"/>
                </a:cubicBezTo>
                <a:lnTo>
                  <a:pt x="1902580" y="957764"/>
                </a:lnTo>
                <a:lnTo>
                  <a:pt x="1904503" y="956346"/>
                </a:lnTo>
                <a:cubicBezTo>
                  <a:pt x="1906426" y="956891"/>
                  <a:pt x="1907525" y="959507"/>
                  <a:pt x="1907799" y="962885"/>
                </a:cubicBezTo>
                <a:cubicBezTo>
                  <a:pt x="1905602" y="962341"/>
                  <a:pt x="1903953" y="965174"/>
                  <a:pt x="1901756" y="964737"/>
                </a:cubicBezTo>
                <a:cubicBezTo>
                  <a:pt x="1901756" y="964737"/>
                  <a:pt x="1900932" y="964083"/>
                  <a:pt x="1900108" y="963321"/>
                </a:cubicBezTo>
                <a:lnTo>
                  <a:pt x="1898734" y="961904"/>
                </a:lnTo>
                <a:lnTo>
                  <a:pt x="1896262" y="964411"/>
                </a:lnTo>
                <a:cubicBezTo>
                  <a:pt x="1890769" y="968551"/>
                  <a:pt x="1887197" y="968334"/>
                  <a:pt x="1882527" y="966372"/>
                </a:cubicBezTo>
                <a:lnTo>
                  <a:pt x="1880605" y="965282"/>
                </a:lnTo>
                <a:lnTo>
                  <a:pt x="1880605" y="965719"/>
                </a:lnTo>
                <a:lnTo>
                  <a:pt x="1879231" y="969968"/>
                </a:lnTo>
                <a:lnTo>
                  <a:pt x="1881703" y="969533"/>
                </a:lnTo>
                <a:cubicBezTo>
                  <a:pt x="1889945" y="977815"/>
                  <a:pt x="1878133" y="992308"/>
                  <a:pt x="1876484" y="996558"/>
                </a:cubicBezTo>
                <a:cubicBezTo>
                  <a:pt x="1876484" y="996558"/>
                  <a:pt x="1876484" y="997975"/>
                  <a:pt x="1875111" y="999282"/>
                </a:cubicBezTo>
                <a:cubicBezTo>
                  <a:pt x="1874836" y="999936"/>
                  <a:pt x="1874287" y="1000154"/>
                  <a:pt x="1874013" y="1000154"/>
                </a:cubicBezTo>
                <a:lnTo>
                  <a:pt x="1873188" y="999718"/>
                </a:lnTo>
                <a:lnTo>
                  <a:pt x="1872364" y="999718"/>
                </a:lnTo>
                <a:lnTo>
                  <a:pt x="1872639" y="1000481"/>
                </a:lnTo>
                <a:lnTo>
                  <a:pt x="1871814" y="1005711"/>
                </a:lnTo>
                <a:lnTo>
                  <a:pt x="1874562" y="1006038"/>
                </a:lnTo>
                <a:cubicBezTo>
                  <a:pt x="1876759" y="1005929"/>
                  <a:pt x="1878957" y="1005384"/>
                  <a:pt x="1879506" y="1004404"/>
                </a:cubicBezTo>
                <a:cubicBezTo>
                  <a:pt x="1879781" y="1005711"/>
                  <a:pt x="1881703" y="1006583"/>
                  <a:pt x="1881703" y="1006583"/>
                </a:cubicBezTo>
                <a:cubicBezTo>
                  <a:pt x="1880605" y="1008545"/>
                  <a:pt x="1879506" y="1009090"/>
                  <a:pt x="1878133" y="1009635"/>
                </a:cubicBezTo>
                <a:cubicBezTo>
                  <a:pt x="1876209" y="1008871"/>
                  <a:pt x="1875935" y="1007346"/>
                  <a:pt x="1874013" y="1006583"/>
                </a:cubicBezTo>
                <a:lnTo>
                  <a:pt x="1871539" y="1007020"/>
                </a:lnTo>
                <a:lnTo>
                  <a:pt x="1870441" y="1013122"/>
                </a:lnTo>
                <a:cubicBezTo>
                  <a:pt x="1869068" y="1017698"/>
                  <a:pt x="1866595" y="1021839"/>
                  <a:pt x="1863574" y="1024782"/>
                </a:cubicBezTo>
                <a:cubicBezTo>
                  <a:pt x="1864123" y="1024564"/>
                  <a:pt x="1864947" y="1024345"/>
                  <a:pt x="1865771" y="1024564"/>
                </a:cubicBezTo>
                <a:cubicBezTo>
                  <a:pt x="1866870" y="1023800"/>
                  <a:pt x="1867695" y="1025108"/>
                  <a:pt x="1869617" y="1025653"/>
                </a:cubicBezTo>
                <a:lnTo>
                  <a:pt x="1870166" y="1027179"/>
                </a:lnTo>
                <a:lnTo>
                  <a:pt x="1871814" y="1026743"/>
                </a:lnTo>
                <a:cubicBezTo>
                  <a:pt x="1875111" y="1026307"/>
                  <a:pt x="1877858" y="1026416"/>
                  <a:pt x="1878682" y="1027288"/>
                </a:cubicBezTo>
                <a:cubicBezTo>
                  <a:pt x="1877034" y="1027723"/>
                  <a:pt x="1874013" y="1028705"/>
                  <a:pt x="1870716" y="1029358"/>
                </a:cubicBezTo>
                <a:lnTo>
                  <a:pt x="1870166" y="1029358"/>
                </a:lnTo>
                <a:lnTo>
                  <a:pt x="1870166" y="1030775"/>
                </a:lnTo>
                <a:cubicBezTo>
                  <a:pt x="1870441" y="1031102"/>
                  <a:pt x="1870991" y="1031102"/>
                  <a:pt x="1871814" y="1031429"/>
                </a:cubicBezTo>
                <a:cubicBezTo>
                  <a:pt x="1871814" y="1031429"/>
                  <a:pt x="1870716" y="1032191"/>
                  <a:pt x="1870716" y="1032191"/>
                </a:cubicBezTo>
                <a:cubicBezTo>
                  <a:pt x="1869892" y="1030884"/>
                  <a:pt x="1870716" y="1032191"/>
                  <a:pt x="1870441" y="1034262"/>
                </a:cubicBezTo>
                <a:cubicBezTo>
                  <a:pt x="1867145" y="1034480"/>
                  <a:pt x="1866046" y="1035134"/>
                  <a:pt x="1864123" y="1034698"/>
                </a:cubicBezTo>
                <a:lnTo>
                  <a:pt x="1858080" y="1045378"/>
                </a:lnTo>
                <a:lnTo>
                  <a:pt x="1855058" y="1047230"/>
                </a:lnTo>
                <a:lnTo>
                  <a:pt x="1853960" y="1050063"/>
                </a:lnTo>
                <a:cubicBezTo>
                  <a:pt x="1852861" y="1049846"/>
                  <a:pt x="1852861" y="1049846"/>
                  <a:pt x="1852861" y="1048319"/>
                </a:cubicBezTo>
                <a:cubicBezTo>
                  <a:pt x="1852586" y="1048538"/>
                  <a:pt x="1852586" y="1048538"/>
                  <a:pt x="1852586" y="1048647"/>
                </a:cubicBezTo>
                <a:lnTo>
                  <a:pt x="1852312" y="1047993"/>
                </a:lnTo>
                <a:lnTo>
                  <a:pt x="1851487" y="1048211"/>
                </a:lnTo>
                <a:cubicBezTo>
                  <a:pt x="1850388" y="1048211"/>
                  <a:pt x="1849015" y="1047884"/>
                  <a:pt x="1848191" y="1047012"/>
                </a:cubicBezTo>
                <a:cubicBezTo>
                  <a:pt x="1846543" y="1046903"/>
                  <a:pt x="1846817" y="1041127"/>
                  <a:pt x="1848191" y="1039820"/>
                </a:cubicBezTo>
                <a:cubicBezTo>
                  <a:pt x="1851213" y="1037313"/>
                  <a:pt x="1852586" y="1036006"/>
                  <a:pt x="1855608" y="1036333"/>
                </a:cubicBezTo>
                <a:cubicBezTo>
                  <a:pt x="1856982" y="1035025"/>
                  <a:pt x="1858355" y="1033826"/>
                  <a:pt x="1860003" y="1033281"/>
                </a:cubicBezTo>
                <a:lnTo>
                  <a:pt x="1863300" y="1034262"/>
                </a:lnTo>
                <a:lnTo>
                  <a:pt x="1861101" y="1033173"/>
                </a:lnTo>
                <a:cubicBezTo>
                  <a:pt x="1860003" y="1032410"/>
                  <a:pt x="1859453" y="1031429"/>
                  <a:pt x="1859728" y="1030449"/>
                </a:cubicBezTo>
                <a:cubicBezTo>
                  <a:pt x="1860826" y="1029685"/>
                  <a:pt x="1860003" y="1028487"/>
                  <a:pt x="1861101" y="1027723"/>
                </a:cubicBezTo>
                <a:cubicBezTo>
                  <a:pt x="1861651" y="1026525"/>
                  <a:pt x="1862201" y="1025871"/>
                  <a:pt x="1862750" y="1025327"/>
                </a:cubicBezTo>
                <a:cubicBezTo>
                  <a:pt x="1860552" y="1027615"/>
                  <a:pt x="1857805" y="1029141"/>
                  <a:pt x="1854509" y="1029250"/>
                </a:cubicBezTo>
                <a:cubicBezTo>
                  <a:pt x="1856157" y="1024019"/>
                  <a:pt x="1857805" y="1019006"/>
                  <a:pt x="1859178" y="1013558"/>
                </a:cubicBezTo>
                <a:lnTo>
                  <a:pt x="1860278" y="1003968"/>
                </a:lnTo>
                <a:lnTo>
                  <a:pt x="1859453" y="1003532"/>
                </a:lnTo>
                <a:lnTo>
                  <a:pt x="1857805" y="1004186"/>
                </a:lnTo>
                <a:lnTo>
                  <a:pt x="1857805" y="1004622"/>
                </a:lnTo>
                <a:cubicBezTo>
                  <a:pt x="1854783" y="1008545"/>
                  <a:pt x="1856157" y="1013013"/>
                  <a:pt x="1853135" y="1016936"/>
                </a:cubicBezTo>
                <a:cubicBezTo>
                  <a:pt x="1853135" y="1016936"/>
                  <a:pt x="1853135" y="1016936"/>
                  <a:pt x="1851762" y="1015301"/>
                </a:cubicBezTo>
                <a:cubicBezTo>
                  <a:pt x="1853135" y="1011923"/>
                  <a:pt x="1853410" y="1008327"/>
                  <a:pt x="1853685" y="1004839"/>
                </a:cubicBezTo>
                <a:lnTo>
                  <a:pt x="1854234" y="1002769"/>
                </a:lnTo>
                <a:lnTo>
                  <a:pt x="1850938" y="1003968"/>
                </a:lnTo>
                <a:cubicBezTo>
                  <a:pt x="1843795" y="1007020"/>
                  <a:pt x="1836929" y="1010397"/>
                  <a:pt x="1828412" y="1009635"/>
                </a:cubicBezTo>
                <a:lnTo>
                  <a:pt x="1821820" y="1008000"/>
                </a:lnTo>
                <a:lnTo>
                  <a:pt x="1823743" y="1014647"/>
                </a:lnTo>
                <a:lnTo>
                  <a:pt x="1824018" y="1016064"/>
                </a:lnTo>
                <a:lnTo>
                  <a:pt x="1827864" y="1016173"/>
                </a:lnTo>
                <a:cubicBezTo>
                  <a:pt x="1827864" y="1016173"/>
                  <a:pt x="1835006" y="1018897"/>
                  <a:pt x="1833907" y="1024128"/>
                </a:cubicBezTo>
                <a:cubicBezTo>
                  <a:pt x="1834181" y="1024890"/>
                  <a:pt x="1833082" y="1025762"/>
                  <a:pt x="1831709" y="1026525"/>
                </a:cubicBezTo>
                <a:lnTo>
                  <a:pt x="1827589" y="1027397"/>
                </a:lnTo>
                <a:lnTo>
                  <a:pt x="1829237" y="1033499"/>
                </a:lnTo>
                <a:lnTo>
                  <a:pt x="1832259" y="1036659"/>
                </a:lnTo>
                <a:lnTo>
                  <a:pt x="1832533" y="1037749"/>
                </a:lnTo>
                <a:lnTo>
                  <a:pt x="1833907" y="1038294"/>
                </a:lnTo>
                <a:cubicBezTo>
                  <a:pt x="1833907" y="1038294"/>
                  <a:pt x="1833907" y="1038403"/>
                  <a:pt x="1833907" y="1039711"/>
                </a:cubicBezTo>
                <a:lnTo>
                  <a:pt x="1832808" y="1038839"/>
                </a:lnTo>
                <a:lnTo>
                  <a:pt x="1833082" y="1040474"/>
                </a:lnTo>
                <a:lnTo>
                  <a:pt x="1834181" y="1039929"/>
                </a:lnTo>
                <a:cubicBezTo>
                  <a:pt x="1834181" y="1039929"/>
                  <a:pt x="1834731" y="1041236"/>
                  <a:pt x="1833907" y="1042980"/>
                </a:cubicBezTo>
                <a:cubicBezTo>
                  <a:pt x="1833907" y="1042980"/>
                  <a:pt x="1833357" y="1042762"/>
                  <a:pt x="1833082" y="1042435"/>
                </a:cubicBezTo>
                <a:lnTo>
                  <a:pt x="1833082" y="1041127"/>
                </a:lnTo>
                <a:lnTo>
                  <a:pt x="1830061" y="1045704"/>
                </a:lnTo>
                <a:cubicBezTo>
                  <a:pt x="1828412" y="1046903"/>
                  <a:pt x="1826216" y="1047448"/>
                  <a:pt x="1824018" y="1047339"/>
                </a:cubicBezTo>
                <a:cubicBezTo>
                  <a:pt x="1821271" y="1047230"/>
                  <a:pt x="1818249" y="1045922"/>
                  <a:pt x="1815503" y="1043198"/>
                </a:cubicBezTo>
                <a:cubicBezTo>
                  <a:pt x="1815228" y="1039929"/>
                  <a:pt x="1819073" y="1034262"/>
                  <a:pt x="1822919" y="1031756"/>
                </a:cubicBezTo>
                <a:lnTo>
                  <a:pt x="1823468" y="1031646"/>
                </a:lnTo>
                <a:lnTo>
                  <a:pt x="1823194" y="1031538"/>
                </a:lnTo>
                <a:cubicBezTo>
                  <a:pt x="1821546" y="1029141"/>
                  <a:pt x="1820172" y="1025762"/>
                  <a:pt x="1819348" y="1022929"/>
                </a:cubicBezTo>
                <a:lnTo>
                  <a:pt x="1819348" y="1021730"/>
                </a:lnTo>
                <a:lnTo>
                  <a:pt x="1816326" y="1020314"/>
                </a:lnTo>
                <a:cubicBezTo>
                  <a:pt x="1815228" y="1019333"/>
                  <a:pt x="1814678" y="1018026"/>
                  <a:pt x="1815503" y="1016064"/>
                </a:cubicBezTo>
                <a:lnTo>
                  <a:pt x="1818249" y="1016064"/>
                </a:lnTo>
                <a:lnTo>
                  <a:pt x="1818249" y="1015846"/>
                </a:lnTo>
                <a:cubicBezTo>
                  <a:pt x="1818249" y="1015410"/>
                  <a:pt x="1818249" y="1014756"/>
                  <a:pt x="1817974" y="1014103"/>
                </a:cubicBezTo>
                <a:cubicBezTo>
                  <a:pt x="1817974" y="1014103"/>
                  <a:pt x="1817150" y="1012904"/>
                  <a:pt x="1817425" y="1010833"/>
                </a:cubicBezTo>
                <a:cubicBezTo>
                  <a:pt x="1817699" y="1008762"/>
                  <a:pt x="1817974" y="1006692"/>
                  <a:pt x="1821271" y="1006474"/>
                </a:cubicBezTo>
                <a:lnTo>
                  <a:pt x="1821271" y="1006801"/>
                </a:lnTo>
                <a:lnTo>
                  <a:pt x="1823743" y="1002333"/>
                </a:lnTo>
                <a:cubicBezTo>
                  <a:pt x="1828138" y="997102"/>
                  <a:pt x="1836654" y="992853"/>
                  <a:pt x="1845169" y="990891"/>
                </a:cubicBezTo>
                <a:lnTo>
                  <a:pt x="1856707" y="990673"/>
                </a:lnTo>
                <a:lnTo>
                  <a:pt x="1851487" y="987077"/>
                </a:lnTo>
                <a:cubicBezTo>
                  <a:pt x="1846817" y="983590"/>
                  <a:pt x="1841873" y="979340"/>
                  <a:pt x="1839675" y="977596"/>
                </a:cubicBezTo>
                <a:cubicBezTo>
                  <a:pt x="1839675" y="976180"/>
                  <a:pt x="1839950" y="976071"/>
                  <a:pt x="1839950" y="976071"/>
                </a:cubicBezTo>
                <a:cubicBezTo>
                  <a:pt x="1840774" y="974654"/>
                  <a:pt x="1841599" y="974436"/>
                  <a:pt x="1843247" y="974981"/>
                </a:cubicBezTo>
                <a:cubicBezTo>
                  <a:pt x="1844620" y="975526"/>
                  <a:pt x="1846269" y="976834"/>
                  <a:pt x="1848465" y="978578"/>
                </a:cubicBezTo>
                <a:cubicBezTo>
                  <a:pt x="1852586" y="982064"/>
                  <a:pt x="1856982" y="988494"/>
                  <a:pt x="1858355" y="990129"/>
                </a:cubicBezTo>
                <a:lnTo>
                  <a:pt x="1859178" y="990673"/>
                </a:lnTo>
                <a:lnTo>
                  <a:pt x="1862201" y="990673"/>
                </a:lnTo>
                <a:lnTo>
                  <a:pt x="1865496" y="992308"/>
                </a:lnTo>
                <a:lnTo>
                  <a:pt x="1869892" y="990782"/>
                </a:lnTo>
                <a:lnTo>
                  <a:pt x="1871265" y="995686"/>
                </a:lnTo>
                <a:lnTo>
                  <a:pt x="1872364" y="983590"/>
                </a:lnTo>
                <a:cubicBezTo>
                  <a:pt x="1872364" y="981628"/>
                  <a:pt x="1872089" y="979994"/>
                  <a:pt x="1871814" y="978795"/>
                </a:cubicBezTo>
                <a:lnTo>
                  <a:pt x="1871539" y="977596"/>
                </a:lnTo>
                <a:lnTo>
                  <a:pt x="1871265" y="977487"/>
                </a:lnTo>
                <a:cubicBezTo>
                  <a:pt x="1868793" y="974436"/>
                  <a:pt x="1868793" y="971385"/>
                  <a:pt x="1869343" y="968334"/>
                </a:cubicBezTo>
                <a:lnTo>
                  <a:pt x="1870441" y="963757"/>
                </a:lnTo>
                <a:lnTo>
                  <a:pt x="1870166" y="963866"/>
                </a:lnTo>
                <a:cubicBezTo>
                  <a:pt x="1869343" y="964083"/>
                  <a:pt x="1868518" y="964083"/>
                  <a:pt x="1867420" y="963212"/>
                </a:cubicBezTo>
                <a:cubicBezTo>
                  <a:pt x="1861101" y="956891"/>
                  <a:pt x="1863848" y="946866"/>
                  <a:pt x="1865496" y="941526"/>
                </a:cubicBezTo>
                <a:lnTo>
                  <a:pt x="1866595" y="938584"/>
                </a:lnTo>
                <a:lnTo>
                  <a:pt x="1865222" y="938367"/>
                </a:lnTo>
                <a:lnTo>
                  <a:pt x="1866595" y="936949"/>
                </a:lnTo>
                <a:lnTo>
                  <a:pt x="1866595" y="936732"/>
                </a:lnTo>
                <a:cubicBezTo>
                  <a:pt x="1867970" y="936840"/>
                  <a:pt x="1868244" y="935315"/>
                  <a:pt x="1866870" y="935206"/>
                </a:cubicBezTo>
                <a:cubicBezTo>
                  <a:pt x="1868244" y="933135"/>
                  <a:pt x="1869343" y="931501"/>
                  <a:pt x="1870441" y="930738"/>
                </a:cubicBezTo>
                <a:close/>
                <a:moveTo>
                  <a:pt x="2555255" y="929757"/>
                </a:moveTo>
                <a:cubicBezTo>
                  <a:pt x="2556354" y="929431"/>
                  <a:pt x="2557452" y="929648"/>
                  <a:pt x="2558277" y="930520"/>
                </a:cubicBezTo>
                <a:cubicBezTo>
                  <a:pt x="2558002" y="931937"/>
                  <a:pt x="2559376" y="932046"/>
                  <a:pt x="2559376" y="933571"/>
                </a:cubicBezTo>
                <a:cubicBezTo>
                  <a:pt x="2560749" y="936623"/>
                  <a:pt x="2560749" y="938148"/>
                  <a:pt x="2559376" y="939456"/>
                </a:cubicBezTo>
                <a:cubicBezTo>
                  <a:pt x="2559376" y="940872"/>
                  <a:pt x="2557727" y="940763"/>
                  <a:pt x="2556354" y="942071"/>
                </a:cubicBezTo>
                <a:cubicBezTo>
                  <a:pt x="2554980" y="941853"/>
                  <a:pt x="2553607" y="940328"/>
                  <a:pt x="2553607" y="940328"/>
                </a:cubicBezTo>
                <a:cubicBezTo>
                  <a:pt x="2552234" y="938693"/>
                  <a:pt x="2552234" y="938584"/>
                  <a:pt x="2550585" y="939892"/>
                </a:cubicBezTo>
                <a:cubicBezTo>
                  <a:pt x="2550585" y="939892"/>
                  <a:pt x="2550860" y="938475"/>
                  <a:pt x="2550860" y="938475"/>
                </a:cubicBezTo>
                <a:lnTo>
                  <a:pt x="2550585" y="938148"/>
                </a:lnTo>
                <a:lnTo>
                  <a:pt x="2549761" y="941417"/>
                </a:lnTo>
                <a:cubicBezTo>
                  <a:pt x="2549487" y="940109"/>
                  <a:pt x="2537675" y="947302"/>
                  <a:pt x="2537675" y="947302"/>
                </a:cubicBezTo>
                <a:cubicBezTo>
                  <a:pt x="2536027" y="946430"/>
                  <a:pt x="2535203" y="946104"/>
                  <a:pt x="2534927" y="945231"/>
                </a:cubicBezTo>
                <a:cubicBezTo>
                  <a:pt x="2534653" y="944360"/>
                  <a:pt x="2535203" y="943052"/>
                  <a:pt x="2536027" y="940546"/>
                </a:cubicBezTo>
                <a:cubicBezTo>
                  <a:pt x="2536851" y="938693"/>
                  <a:pt x="2539872" y="936187"/>
                  <a:pt x="2542894" y="934334"/>
                </a:cubicBezTo>
                <a:cubicBezTo>
                  <a:pt x="2546190" y="932482"/>
                  <a:pt x="2549487" y="931174"/>
                  <a:pt x="2551958" y="931827"/>
                </a:cubicBezTo>
                <a:lnTo>
                  <a:pt x="2551684" y="932372"/>
                </a:lnTo>
                <a:lnTo>
                  <a:pt x="2552508" y="931283"/>
                </a:lnTo>
                <a:cubicBezTo>
                  <a:pt x="2553058" y="930629"/>
                  <a:pt x="2554157" y="929976"/>
                  <a:pt x="2555255" y="929757"/>
                </a:cubicBezTo>
                <a:close/>
                <a:moveTo>
                  <a:pt x="1595471" y="929648"/>
                </a:moveTo>
                <a:cubicBezTo>
                  <a:pt x="1594647" y="934225"/>
                  <a:pt x="1594647" y="934225"/>
                  <a:pt x="1592175" y="937385"/>
                </a:cubicBezTo>
                <a:cubicBezTo>
                  <a:pt x="1592175" y="935860"/>
                  <a:pt x="1590252" y="932917"/>
                  <a:pt x="1591352" y="931392"/>
                </a:cubicBezTo>
                <a:cubicBezTo>
                  <a:pt x="1592450" y="929757"/>
                  <a:pt x="1592725" y="929757"/>
                  <a:pt x="1595471" y="929648"/>
                </a:cubicBezTo>
                <a:close/>
                <a:moveTo>
                  <a:pt x="1641895" y="929431"/>
                </a:moveTo>
                <a:cubicBezTo>
                  <a:pt x="1652333" y="938257"/>
                  <a:pt x="1669364" y="939892"/>
                  <a:pt x="1683099" y="946213"/>
                </a:cubicBezTo>
                <a:cubicBezTo>
                  <a:pt x="1686670" y="955039"/>
                  <a:pt x="1691065" y="962667"/>
                  <a:pt x="1695186" y="970404"/>
                </a:cubicBezTo>
                <a:lnTo>
                  <a:pt x="1696560" y="972802"/>
                </a:lnTo>
                <a:lnTo>
                  <a:pt x="1698757" y="969097"/>
                </a:lnTo>
                <a:lnTo>
                  <a:pt x="1704526" y="967244"/>
                </a:lnTo>
                <a:lnTo>
                  <a:pt x="1703976" y="964847"/>
                </a:lnTo>
                <a:cubicBezTo>
                  <a:pt x="1703426" y="958853"/>
                  <a:pt x="1704526" y="952968"/>
                  <a:pt x="1709470" y="949372"/>
                </a:cubicBezTo>
                <a:cubicBezTo>
                  <a:pt x="1715513" y="949372"/>
                  <a:pt x="1720457" y="951770"/>
                  <a:pt x="1726776" y="951770"/>
                </a:cubicBezTo>
                <a:cubicBezTo>
                  <a:pt x="1727874" y="967244"/>
                  <a:pt x="1727874" y="985007"/>
                  <a:pt x="1708371" y="981410"/>
                </a:cubicBezTo>
                <a:lnTo>
                  <a:pt x="1706723" y="975853"/>
                </a:lnTo>
                <a:lnTo>
                  <a:pt x="1705075" y="975744"/>
                </a:lnTo>
                <a:cubicBezTo>
                  <a:pt x="1701778" y="975853"/>
                  <a:pt x="1698482" y="976180"/>
                  <a:pt x="1698482" y="976180"/>
                </a:cubicBezTo>
                <a:lnTo>
                  <a:pt x="1696834" y="973564"/>
                </a:lnTo>
                <a:lnTo>
                  <a:pt x="1707273" y="994706"/>
                </a:lnTo>
                <a:cubicBezTo>
                  <a:pt x="1701778" y="1002115"/>
                  <a:pt x="1700405" y="1013667"/>
                  <a:pt x="1697658" y="1024237"/>
                </a:cubicBezTo>
                <a:lnTo>
                  <a:pt x="1694912" y="1032083"/>
                </a:lnTo>
                <a:lnTo>
                  <a:pt x="1696285" y="1037096"/>
                </a:lnTo>
                <a:lnTo>
                  <a:pt x="1690790" y="1040474"/>
                </a:lnTo>
                <a:lnTo>
                  <a:pt x="1681451" y="1048973"/>
                </a:lnTo>
                <a:lnTo>
                  <a:pt x="1676781" y="1048319"/>
                </a:lnTo>
                <a:lnTo>
                  <a:pt x="1676232" y="1048973"/>
                </a:lnTo>
                <a:cubicBezTo>
                  <a:pt x="1675133" y="1050063"/>
                  <a:pt x="1673485" y="1050499"/>
                  <a:pt x="1671837" y="1050281"/>
                </a:cubicBezTo>
                <a:lnTo>
                  <a:pt x="1669090" y="1048538"/>
                </a:lnTo>
                <a:lnTo>
                  <a:pt x="1668266" y="1048647"/>
                </a:lnTo>
                <a:lnTo>
                  <a:pt x="1665519" y="1053224"/>
                </a:lnTo>
                <a:lnTo>
                  <a:pt x="1657003" y="1055512"/>
                </a:lnTo>
                <a:lnTo>
                  <a:pt x="1657278" y="1056493"/>
                </a:lnTo>
                <a:cubicBezTo>
                  <a:pt x="1656454" y="1058563"/>
                  <a:pt x="1654806" y="1059653"/>
                  <a:pt x="1653158" y="1060198"/>
                </a:cubicBezTo>
                <a:cubicBezTo>
                  <a:pt x="1651510" y="1060633"/>
                  <a:pt x="1649311" y="1060416"/>
                  <a:pt x="1647389" y="1059762"/>
                </a:cubicBezTo>
                <a:cubicBezTo>
                  <a:pt x="1646015" y="1059653"/>
                  <a:pt x="1644917" y="1058672"/>
                  <a:pt x="1644092" y="1057255"/>
                </a:cubicBezTo>
                <a:cubicBezTo>
                  <a:pt x="1643268" y="1055948"/>
                  <a:pt x="1642993" y="1054095"/>
                  <a:pt x="1642993" y="1052461"/>
                </a:cubicBezTo>
                <a:lnTo>
                  <a:pt x="1643268" y="1052134"/>
                </a:lnTo>
                <a:lnTo>
                  <a:pt x="1628710" y="1044505"/>
                </a:lnTo>
                <a:cubicBezTo>
                  <a:pt x="1610305" y="1032954"/>
                  <a:pt x="1593274" y="1015519"/>
                  <a:pt x="1589978" y="993288"/>
                </a:cubicBezTo>
                <a:cubicBezTo>
                  <a:pt x="1589153" y="987077"/>
                  <a:pt x="1589703" y="981847"/>
                  <a:pt x="1590802" y="977270"/>
                </a:cubicBezTo>
                <a:lnTo>
                  <a:pt x="1592725" y="972474"/>
                </a:lnTo>
                <a:lnTo>
                  <a:pt x="1592450" y="968660"/>
                </a:lnTo>
                <a:lnTo>
                  <a:pt x="1592450" y="966699"/>
                </a:lnTo>
                <a:lnTo>
                  <a:pt x="1590802" y="969859"/>
                </a:lnTo>
                <a:cubicBezTo>
                  <a:pt x="1589703" y="971821"/>
                  <a:pt x="1589703" y="971821"/>
                  <a:pt x="1591352" y="972802"/>
                </a:cubicBezTo>
                <a:cubicBezTo>
                  <a:pt x="1590252" y="974763"/>
                  <a:pt x="1590252" y="974763"/>
                  <a:pt x="1587505" y="975744"/>
                </a:cubicBezTo>
                <a:cubicBezTo>
                  <a:pt x="1588330" y="974327"/>
                  <a:pt x="1589703" y="968988"/>
                  <a:pt x="1591352" y="966917"/>
                </a:cubicBezTo>
                <a:lnTo>
                  <a:pt x="1592450" y="966264"/>
                </a:lnTo>
                <a:lnTo>
                  <a:pt x="1592450" y="964520"/>
                </a:lnTo>
                <a:lnTo>
                  <a:pt x="1592175" y="964629"/>
                </a:lnTo>
                <a:cubicBezTo>
                  <a:pt x="1590527" y="963757"/>
                  <a:pt x="1590527" y="963757"/>
                  <a:pt x="1591901" y="963321"/>
                </a:cubicBezTo>
                <a:lnTo>
                  <a:pt x="1592175" y="962122"/>
                </a:lnTo>
                <a:lnTo>
                  <a:pt x="1592175" y="957873"/>
                </a:lnTo>
                <a:cubicBezTo>
                  <a:pt x="1592450" y="954276"/>
                  <a:pt x="1592725" y="950898"/>
                  <a:pt x="1593548" y="949154"/>
                </a:cubicBezTo>
                <a:lnTo>
                  <a:pt x="1594098" y="958635"/>
                </a:lnTo>
                <a:lnTo>
                  <a:pt x="1594922" y="953731"/>
                </a:lnTo>
                <a:cubicBezTo>
                  <a:pt x="1595196" y="951443"/>
                  <a:pt x="1594922" y="949263"/>
                  <a:pt x="1594098" y="948828"/>
                </a:cubicBezTo>
                <a:cubicBezTo>
                  <a:pt x="1595471" y="948392"/>
                  <a:pt x="1596571" y="946430"/>
                  <a:pt x="1596571" y="946430"/>
                </a:cubicBezTo>
                <a:cubicBezTo>
                  <a:pt x="1598218" y="947302"/>
                  <a:pt x="1598493" y="948828"/>
                  <a:pt x="1599043" y="950136"/>
                </a:cubicBezTo>
                <a:cubicBezTo>
                  <a:pt x="1597944" y="951988"/>
                  <a:pt x="1596571" y="952532"/>
                  <a:pt x="1595471" y="954385"/>
                </a:cubicBezTo>
                <a:cubicBezTo>
                  <a:pt x="1596021" y="955802"/>
                  <a:pt x="1596571" y="958417"/>
                  <a:pt x="1595746" y="960379"/>
                </a:cubicBezTo>
                <a:lnTo>
                  <a:pt x="1594098" y="962449"/>
                </a:lnTo>
                <a:lnTo>
                  <a:pt x="1592725" y="972148"/>
                </a:lnTo>
                <a:lnTo>
                  <a:pt x="1596021" y="964737"/>
                </a:lnTo>
                <a:cubicBezTo>
                  <a:pt x="1600416" y="956783"/>
                  <a:pt x="1606734" y="949372"/>
                  <a:pt x="1610854" y="939129"/>
                </a:cubicBezTo>
                <a:cubicBezTo>
                  <a:pt x="1628710" y="943924"/>
                  <a:pt x="1633379" y="934334"/>
                  <a:pt x="1641895" y="929431"/>
                </a:cubicBezTo>
                <a:close/>
                <a:moveTo>
                  <a:pt x="6202654" y="929103"/>
                </a:moveTo>
                <a:cubicBezTo>
                  <a:pt x="6204028" y="929866"/>
                  <a:pt x="6204028" y="929866"/>
                  <a:pt x="6203204" y="931501"/>
                </a:cubicBezTo>
                <a:cubicBezTo>
                  <a:pt x="6201830" y="933789"/>
                  <a:pt x="6200731" y="934770"/>
                  <a:pt x="6199632" y="934988"/>
                </a:cubicBezTo>
                <a:cubicBezTo>
                  <a:pt x="6198533" y="935206"/>
                  <a:pt x="6197435" y="934661"/>
                  <a:pt x="6195786" y="933899"/>
                </a:cubicBezTo>
                <a:cubicBezTo>
                  <a:pt x="6195237" y="931501"/>
                  <a:pt x="6196061" y="929976"/>
                  <a:pt x="6196061" y="929976"/>
                </a:cubicBezTo>
                <a:cubicBezTo>
                  <a:pt x="6196886" y="928341"/>
                  <a:pt x="6199358" y="927578"/>
                  <a:pt x="6202654" y="929103"/>
                </a:cubicBezTo>
                <a:close/>
                <a:moveTo>
                  <a:pt x="1965211" y="927142"/>
                </a:moveTo>
                <a:cubicBezTo>
                  <a:pt x="1975374" y="933245"/>
                  <a:pt x="1972078" y="956456"/>
                  <a:pt x="1956695" y="961359"/>
                </a:cubicBezTo>
                <a:cubicBezTo>
                  <a:pt x="1953673" y="960269"/>
                  <a:pt x="1951476" y="958199"/>
                  <a:pt x="1950103" y="955584"/>
                </a:cubicBezTo>
                <a:cubicBezTo>
                  <a:pt x="1945707" y="947847"/>
                  <a:pt x="1947081" y="935097"/>
                  <a:pt x="1950652" y="928123"/>
                </a:cubicBezTo>
                <a:cubicBezTo>
                  <a:pt x="1956970" y="924963"/>
                  <a:pt x="1961914" y="925071"/>
                  <a:pt x="1965211" y="927142"/>
                </a:cubicBezTo>
                <a:close/>
                <a:moveTo>
                  <a:pt x="2160244" y="926924"/>
                </a:moveTo>
                <a:cubicBezTo>
                  <a:pt x="2164914" y="930193"/>
                  <a:pt x="2162716" y="941745"/>
                  <a:pt x="2157223" y="944795"/>
                </a:cubicBezTo>
                <a:cubicBezTo>
                  <a:pt x="2159420" y="935315"/>
                  <a:pt x="2153651" y="930956"/>
                  <a:pt x="2160244" y="926924"/>
                </a:cubicBezTo>
                <a:close/>
                <a:moveTo>
                  <a:pt x="2007788" y="926924"/>
                </a:moveTo>
                <a:cubicBezTo>
                  <a:pt x="2004767" y="940872"/>
                  <a:pt x="2004218" y="955584"/>
                  <a:pt x="1988285" y="966699"/>
                </a:cubicBezTo>
                <a:cubicBezTo>
                  <a:pt x="1984165" y="964302"/>
                  <a:pt x="1977023" y="965500"/>
                  <a:pt x="1976474" y="957981"/>
                </a:cubicBezTo>
                <a:cubicBezTo>
                  <a:pt x="1994328" y="953296"/>
                  <a:pt x="1990757" y="925834"/>
                  <a:pt x="2007788" y="926924"/>
                </a:cubicBezTo>
                <a:close/>
                <a:moveTo>
                  <a:pt x="1311712" y="926707"/>
                </a:moveTo>
                <a:cubicBezTo>
                  <a:pt x="1312261" y="927904"/>
                  <a:pt x="1314184" y="928558"/>
                  <a:pt x="1314459" y="929866"/>
                </a:cubicBezTo>
                <a:cubicBezTo>
                  <a:pt x="1313085" y="930520"/>
                  <a:pt x="1310887" y="933026"/>
                  <a:pt x="1310339" y="931827"/>
                </a:cubicBezTo>
                <a:cubicBezTo>
                  <a:pt x="1308965" y="932482"/>
                  <a:pt x="1308141" y="929976"/>
                  <a:pt x="1308141" y="929976"/>
                </a:cubicBezTo>
                <a:cubicBezTo>
                  <a:pt x="1306767" y="930629"/>
                  <a:pt x="1305394" y="931283"/>
                  <a:pt x="1303471" y="930738"/>
                </a:cubicBezTo>
                <a:cubicBezTo>
                  <a:pt x="1304295" y="928777"/>
                  <a:pt x="1302922" y="929431"/>
                  <a:pt x="1302372" y="928232"/>
                </a:cubicBezTo>
                <a:cubicBezTo>
                  <a:pt x="1304295" y="928777"/>
                  <a:pt x="1308416" y="926707"/>
                  <a:pt x="1311712" y="926707"/>
                </a:cubicBezTo>
                <a:close/>
                <a:moveTo>
                  <a:pt x="2302536" y="925180"/>
                </a:moveTo>
                <a:cubicBezTo>
                  <a:pt x="2307481" y="925399"/>
                  <a:pt x="2309403" y="929212"/>
                  <a:pt x="2310227" y="933789"/>
                </a:cubicBezTo>
                <a:cubicBezTo>
                  <a:pt x="2312700" y="935533"/>
                  <a:pt x="2315721" y="935315"/>
                  <a:pt x="2315996" y="938584"/>
                </a:cubicBezTo>
                <a:cubicBezTo>
                  <a:pt x="2311326" y="936295"/>
                  <a:pt x="2309678" y="935751"/>
                  <a:pt x="2306931" y="934007"/>
                </a:cubicBezTo>
                <a:cubicBezTo>
                  <a:pt x="2305832" y="934770"/>
                  <a:pt x="2304459" y="935533"/>
                  <a:pt x="2302536" y="935097"/>
                </a:cubicBezTo>
                <a:cubicBezTo>
                  <a:pt x="2298965" y="934116"/>
                  <a:pt x="2298965" y="930738"/>
                  <a:pt x="2296218" y="928994"/>
                </a:cubicBezTo>
                <a:cubicBezTo>
                  <a:pt x="2296768" y="926924"/>
                  <a:pt x="2298690" y="924090"/>
                  <a:pt x="2302536" y="925180"/>
                </a:cubicBezTo>
                <a:close/>
                <a:moveTo>
                  <a:pt x="1580553" y="924785"/>
                </a:moveTo>
                <a:cubicBezTo>
                  <a:pt x="1582819" y="924213"/>
                  <a:pt x="1585377" y="924526"/>
                  <a:pt x="1588055" y="926161"/>
                </a:cubicBezTo>
                <a:cubicBezTo>
                  <a:pt x="1590252" y="931392"/>
                  <a:pt x="1585308" y="943270"/>
                  <a:pt x="1582012" y="946539"/>
                </a:cubicBezTo>
                <a:cubicBezTo>
                  <a:pt x="1577067" y="946539"/>
                  <a:pt x="1574320" y="944686"/>
                  <a:pt x="1572672" y="942071"/>
                </a:cubicBezTo>
                <a:cubicBezTo>
                  <a:pt x="1569581" y="936187"/>
                  <a:pt x="1573754" y="926502"/>
                  <a:pt x="1580553" y="924785"/>
                </a:cubicBezTo>
                <a:close/>
                <a:moveTo>
                  <a:pt x="2582999" y="924526"/>
                </a:moveTo>
                <a:cubicBezTo>
                  <a:pt x="2592888" y="925399"/>
                  <a:pt x="2610469" y="923437"/>
                  <a:pt x="2613765" y="940655"/>
                </a:cubicBezTo>
                <a:cubicBezTo>
                  <a:pt x="2611293" y="943270"/>
                  <a:pt x="2607997" y="945014"/>
                  <a:pt x="2604151" y="945776"/>
                </a:cubicBezTo>
                <a:cubicBezTo>
                  <a:pt x="2600305" y="946539"/>
                  <a:pt x="2596185" y="946430"/>
                  <a:pt x="2592339" y="945450"/>
                </a:cubicBezTo>
                <a:cubicBezTo>
                  <a:pt x="2584923" y="943597"/>
                  <a:pt x="2579153" y="938584"/>
                  <a:pt x="2580253" y="931392"/>
                </a:cubicBezTo>
                <a:cubicBezTo>
                  <a:pt x="2580527" y="929322"/>
                  <a:pt x="2581351" y="927033"/>
                  <a:pt x="2582999" y="924526"/>
                </a:cubicBezTo>
                <a:close/>
                <a:moveTo>
                  <a:pt x="2708260" y="924309"/>
                </a:moveTo>
                <a:cubicBezTo>
                  <a:pt x="2707711" y="928994"/>
                  <a:pt x="2707161" y="932264"/>
                  <a:pt x="2705514" y="937385"/>
                </a:cubicBezTo>
                <a:cubicBezTo>
                  <a:pt x="2705514" y="937385"/>
                  <a:pt x="2701393" y="944795"/>
                  <a:pt x="2696448" y="943597"/>
                </a:cubicBezTo>
                <a:cubicBezTo>
                  <a:pt x="2695899" y="943815"/>
                  <a:pt x="2695075" y="942616"/>
                  <a:pt x="2694800" y="941091"/>
                </a:cubicBezTo>
                <a:cubicBezTo>
                  <a:pt x="2694526" y="939565"/>
                  <a:pt x="2694251" y="937603"/>
                  <a:pt x="2694800" y="936732"/>
                </a:cubicBezTo>
                <a:lnTo>
                  <a:pt x="2698096" y="933135"/>
                </a:lnTo>
                <a:lnTo>
                  <a:pt x="2681065" y="943924"/>
                </a:lnTo>
                <a:cubicBezTo>
                  <a:pt x="2677769" y="945450"/>
                  <a:pt x="2674473" y="946648"/>
                  <a:pt x="2670627" y="947193"/>
                </a:cubicBezTo>
                <a:cubicBezTo>
                  <a:pt x="2666507" y="947847"/>
                  <a:pt x="2662386" y="947847"/>
                  <a:pt x="2657167" y="947084"/>
                </a:cubicBezTo>
                <a:cubicBezTo>
                  <a:pt x="2655519" y="942725"/>
                  <a:pt x="2648651" y="938475"/>
                  <a:pt x="2653047" y="933026"/>
                </a:cubicBezTo>
                <a:cubicBezTo>
                  <a:pt x="2668430" y="940872"/>
                  <a:pt x="2681340" y="925289"/>
                  <a:pt x="2693427" y="929648"/>
                </a:cubicBezTo>
                <a:lnTo>
                  <a:pt x="2698371" y="932809"/>
                </a:lnTo>
                <a:lnTo>
                  <a:pt x="2700569" y="930193"/>
                </a:lnTo>
                <a:cubicBezTo>
                  <a:pt x="2701668" y="928341"/>
                  <a:pt x="2702491" y="926379"/>
                  <a:pt x="2703865" y="925289"/>
                </a:cubicBezTo>
                <a:cubicBezTo>
                  <a:pt x="2704964" y="924090"/>
                  <a:pt x="2706337" y="923546"/>
                  <a:pt x="2708260" y="924309"/>
                </a:cubicBezTo>
                <a:close/>
                <a:moveTo>
                  <a:pt x="2278363" y="922129"/>
                </a:moveTo>
                <a:cubicBezTo>
                  <a:pt x="2283033" y="924526"/>
                  <a:pt x="2286604" y="929322"/>
                  <a:pt x="2286604" y="934225"/>
                </a:cubicBezTo>
                <a:cubicBezTo>
                  <a:pt x="2283857" y="934879"/>
                  <a:pt x="2281110" y="935424"/>
                  <a:pt x="2278912" y="935641"/>
                </a:cubicBezTo>
                <a:cubicBezTo>
                  <a:pt x="2276715" y="935751"/>
                  <a:pt x="2274517" y="935641"/>
                  <a:pt x="2272594" y="935097"/>
                </a:cubicBezTo>
                <a:cubicBezTo>
                  <a:pt x="2269023" y="933899"/>
                  <a:pt x="2266551" y="930738"/>
                  <a:pt x="2264903" y="924963"/>
                </a:cubicBezTo>
                <a:cubicBezTo>
                  <a:pt x="2268199" y="919950"/>
                  <a:pt x="2273693" y="919841"/>
                  <a:pt x="2278363" y="922129"/>
                </a:cubicBezTo>
                <a:close/>
                <a:moveTo>
                  <a:pt x="4508611" y="921693"/>
                </a:moveTo>
                <a:cubicBezTo>
                  <a:pt x="4513555" y="922020"/>
                  <a:pt x="4520423" y="928014"/>
                  <a:pt x="4517126" y="933571"/>
                </a:cubicBezTo>
                <a:cubicBezTo>
                  <a:pt x="4516302" y="934334"/>
                  <a:pt x="4515203" y="934770"/>
                  <a:pt x="4513830" y="934988"/>
                </a:cubicBezTo>
                <a:cubicBezTo>
                  <a:pt x="4512731" y="935206"/>
                  <a:pt x="4511083" y="935097"/>
                  <a:pt x="4509709" y="934770"/>
                </a:cubicBezTo>
                <a:cubicBezTo>
                  <a:pt x="4506687" y="934007"/>
                  <a:pt x="4503941" y="932264"/>
                  <a:pt x="4503117" y="929757"/>
                </a:cubicBezTo>
                <a:cubicBezTo>
                  <a:pt x="4502842" y="928014"/>
                  <a:pt x="4503117" y="925943"/>
                  <a:pt x="4504765" y="923437"/>
                </a:cubicBezTo>
                <a:cubicBezTo>
                  <a:pt x="4505589" y="922129"/>
                  <a:pt x="4506962" y="921584"/>
                  <a:pt x="4508611" y="921693"/>
                </a:cubicBezTo>
                <a:close/>
                <a:moveTo>
                  <a:pt x="1245511" y="921475"/>
                </a:moveTo>
                <a:cubicBezTo>
                  <a:pt x="1249356" y="922456"/>
                  <a:pt x="1252652" y="922129"/>
                  <a:pt x="1253202" y="923328"/>
                </a:cubicBezTo>
                <a:cubicBezTo>
                  <a:pt x="1254576" y="922565"/>
                  <a:pt x="1256498" y="923001"/>
                  <a:pt x="1257597" y="922129"/>
                </a:cubicBezTo>
                <a:cubicBezTo>
                  <a:pt x="1257597" y="922129"/>
                  <a:pt x="1257872" y="922239"/>
                  <a:pt x="1258420" y="923437"/>
                </a:cubicBezTo>
                <a:cubicBezTo>
                  <a:pt x="1252652" y="925399"/>
                  <a:pt x="1246884" y="930629"/>
                  <a:pt x="1241664" y="930520"/>
                </a:cubicBezTo>
                <a:cubicBezTo>
                  <a:pt x="1240841" y="930302"/>
                  <a:pt x="1239742" y="930084"/>
                  <a:pt x="1239193" y="929431"/>
                </a:cubicBezTo>
                <a:cubicBezTo>
                  <a:pt x="1238643" y="928667"/>
                  <a:pt x="1238643" y="927469"/>
                  <a:pt x="1239193" y="925508"/>
                </a:cubicBezTo>
                <a:cubicBezTo>
                  <a:pt x="1239193" y="922129"/>
                  <a:pt x="1240566" y="921366"/>
                  <a:pt x="1245511" y="921475"/>
                </a:cubicBezTo>
                <a:close/>
                <a:moveTo>
                  <a:pt x="2253641" y="920821"/>
                </a:moveTo>
                <a:cubicBezTo>
                  <a:pt x="2259684" y="922020"/>
                  <a:pt x="2261881" y="925834"/>
                  <a:pt x="2258585" y="931392"/>
                </a:cubicBezTo>
                <a:cubicBezTo>
                  <a:pt x="2255289" y="929322"/>
                  <a:pt x="2252541" y="931610"/>
                  <a:pt x="2249245" y="929648"/>
                </a:cubicBezTo>
                <a:cubicBezTo>
                  <a:pt x="2251443" y="925943"/>
                  <a:pt x="2252541" y="922674"/>
                  <a:pt x="2253641" y="920821"/>
                </a:cubicBezTo>
                <a:close/>
                <a:moveTo>
                  <a:pt x="2380275" y="917771"/>
                </a:moveTo>
                <a:cubicBezTo>
                  <a:pt x="2383296" y="917771"/>
                  <a:pt x="2390713" y="925071"/>
                  <a:pt x="2389889" y="927033"/>
                </a:cubicBezTo>
                <a:cubicBezTo>
                  <a:pt x="2386318" y="926488"/>
                  <a:pt x="2379725" y="925508"/>
                  <a:pt x="2377253" y="922892"/>
                </a:cubicBezTo>
                <a:cubicBezTo>
                  <a:pt x="2376429" y="922129"/>
                  <a:pt x="2376154" y="921040"/>
                  <a:pt x="2376429" y="919732"/>
                </a:cubicBezTo>
                <a:cubicBezTo>
                  <a:pt x="2377253" y="917879"/>
                  <a:pt x="2378901" y="918424"/>
                  <a:pt x="2380275" y="917771"/>
                </a:cubicBezTo>
                <a:close/>
                <a:moveTo>
                  <a:pt x="4667659" y="917443"/>
                </a:moveTo>
                <a:lnTo>
                  <a:pt x="4663264" y="922239"/>
                </a:lnTo>
                <a:lnTo>
                  <a:pt x="4667659" y="924635"/>
                </a:lnTo>
                <a:cubicBezTo>
                  <a:pt x="4667659" y="924635"/>
                  <a:pt x="4666011" y="924745"/>
                  <a:pt x="4666011" y="926161"/>
                </a:cubicBezTo>
                <a:cubicBezTo>
                  <a:pt x="4667659" y="924745"/>
                  <a:pt x="4667659" y="924635"/>
                  <a:pt x="4669032" y="924635"/>
                </a:cubicBezTo>
                <a:lnTo>
                  <a:pt x="4669307" y="919732"/>
                </a:lnTo>
                <a:lnTo>
                  <a:pt x="4668483" y="919296"/>
                </a:lnTo>
                <a:close/>
                <a:moveTo>
                  <a:pt x="2317919" y="917443"/>
                </a:moveTo>
                <a:cubicBezTo>
                  <a:pt x="2317369" y="921584"/>
                  <a:pt x="2315996" y="924745"/>
                  <a:pt x="2315721" y="928886"/>
                </a:cubicBezTo>
                <a:cubicBezTo>
                  <a:pt x="2314073" y="929322"/>
                  <a:pt x="2312975" y="929322"/>
                  <a:pt x="2312150" y="928994"/>
                </a:cubicBezTo>
                <a:cubicBezTo>
                  <a:pt x="2311051" y="928667"/>
                  <a:pt x="2310502" y="928014"/>
                  <a:pt x="2309953" y="927251"/>
                </a:cubicBezTo>
                <a:cubicBezTo>
                  <a:pt x="2309129" y="925508"/>
                  <a:pt x="2308854" y="922783"/>
                  <a:pt x="2308580" y="920168"/>
                </a:cubicBezTo>
                <a:cubicBezTo>
                  <a:pt x="2311601" y="919296"/>
                  <a:pt x="2312975" y="916244"/>
                  <a:pt x="2317919" y="917443"/>
                </a:cubicBezTo>
                <a:close/>
                <a:moveTo>
                  <a:pt x="6276547" y="916898"/>
                </a:moveTo>
                <a:cubicBezTo>
                  <a:pt x="6282864" y="918315"/>
                  <a:pt x="6285612" y="922239"/>
                  <a:pt x="6283139" y="927687"/>
                </a:cubicBezTo>
                <a:cubicBezTo>
                  <a:pt x="6279294" y="925508"/>
                  <a:pt x="6277096" y="927687"/>
                  <a:pt x="6273525" y="925616"/>
                </a:cubicBezTo>
                <a:cubicBezTo>
                  <a:pt x="6275173" y="922020"/>
                  <a:pt x="6275723" y="918751"/>
                  <a:pt x="6276547" y="916898"/>
                </a:cubicBezTo>
                <a:close/>
                <a:moveTo>
                  <a:pt x="1425985" y="915809"/>
                </a:moveTo>
                <a:cubicBezTo>
                  <a:pt x="1425985" y="915809"/>
                  <a:pt x="1425985" y="915809"/>
                  <a:pt x="1435050" y="922129"/>
                </a:cubicBezTo>
                <a:cubicBezTo>
                  <a:pt x="1434226" y="922892"/>
                  <a:pt x="1433402" y="922892"/>
                  <a:pt x="1432852" y="922456"/>
                </a:cubicBezTo>
                <a:cubicBezTo>
                  <a:pt x="1432028" y="922129"/>
                  <a:pt x="1431204" y="921366"/>
                  <a:pt x="1430380" y="920495"/>
                </a:cubicBezTo>
                <a:cubicBezTo>
                  <a:pt x="1429007" y="918969"/>
                  <a:pt x="1427358" y="917443"/>
                  <a:pt x="1425985" y="915809"/>
                </a:cubicBezTo>
                <a:close/>
                <a:moveTo>
                  <a:pt x="1314459" y="914174"/>
                </a:moveTo>
                <a:cubicBezTo>
                  <a:pt x="1314459" y="914174"/>
                  <a:pt x="1316107" y="914937"/>
                  <a:pt x="1318030" y="915590"/>
                </a:cubicBezTo>
                <a:cubicBezTo>
                  <a:pt x="1319953" y="916354"/>
                  <a:pt x="1321326" y="915590"/>
                  <a:pt x="1321326" y="915590"/>
                </a:cubicBezTo>
                <a:cubicBezTo>
                  <a:pt x="1322974" y="916354"/>
                  <a:pt x="1323523" y="917771"/>
                  <a:pt x="1322700" y="919732"/>
                </a:cubicBezTo>
                <a:cubicBezTo>
                  <a:pt x="1322700" y="919732"/>
                  <a:pt x="1319679" y="919623"/>
                  <a:pt x="1319679" y="919623"/>
                </a:cubicBezTo>
                <a:cubicBezTo>
                  <a:pt x="1315832" y="918206"/>
                  <a:pt x="1313910" y="917552"/>
                  <a:pt x="1310887" y="917443"/>
                </a:cubicBezTo>
                <a:cubicBezTo>
                  <a:pt x="1311162" y="914065"/>
                  <a:pt x="1312535" y="913520"/>
                  <a:pt x="1314459" y="914174"/>
                </a:cubicBezTo>
                <a:close/>
                <a:moveTo>
                  <a:pt x="1959167" y="914065"/>
                </a:moveTo>
                <a:cubicBezTo>
                  <a:pt x="1961914" y="916135"/>
                  <a:pt x="1963013" y="917879"/>
                  <a:pt x="1965486" y="921366"/>
                </a:cubicBezTo>
                <a:cubicBezTo>
                  <a:pt x="1964661" y="922565"/>
                  <a:pt x="1963288" y="923219"/>
                  <a:pt x="1962189" y="923328"/>
                </a:cubicBezTo>
                <a:cubicBezTo>
                  <a:pt x="1959167" y="923764"/>
                  <a:pt x="1956146" y="920168"/>
                  <a:pt x="1956421" y="917226"/>
                </a:cubicBezTo>
                <a:cubicBezTo>
                  <a:pt x="1956695" y="915918"/>
                  <a:pt x="1957519" y="914828"/>
                  <a:pt x="1959167" y="914065"/>
                </a:cubicBezTo>
                <a:close/>
                <a:moveTo>
                  <a:pt x="2337148" y="912104"/>
                </a:moveTo>
                <a:cubicBezTo>
                  <a:pt x="2339070" y="912430"/>
                  <a:pt x="2337697" y="913303"/>
                  <a:pt x="2338521" y="914392"/>
                </a:cubicBezTo>
                <a:cubicBezTo>
                  <a:pt x="2337422" y="914283"/>
                  <a:pt x="2336873" y="914174"/>
                  <a:pt x="2336873" y="913848"/>
                </a:cubicBezTo>
                <a:cubicBezTo>
                  <a:pt x="2336598" y="913629"/>
                  <a:pt x="2336873" y="913085"/>
                  <a:pt x="2337148" y="912104"/>
                </a:cubicBezTo>
                <a:close/>
                <a:moveTo>
                  <a:pt x="4414390" y="911559"/>
                </a:moveTo>
                <a:cubicBezTo>
                  <a:pt x="4415214" y="911667"/>
                  <a:pt x="4416039" y="912104"/>
                  <a:pt x="4416863" y="912540"/>
                </a:cubicBezTo>
                <a:cubicBezTo>
                  <a:pt x="4418785" y="913411"/>
                  <a:pt x="4420433" y="914392"/>
                  <a:pt x="4422357" y="915264"/>
                </a:cubicBezTo>
                <a:cubicBezTo>
                  <a:pt x="4422357" y="915264"/>
                  <a:pt x="4422082" y="915264"/>
                  <a:pt x="4412193" y="912649"/>
                </a:cubicBezTo>
                <a:cubicBezTo>
                  <a:pt x="4412742" y="911667"/>
                  <a:pt x="4413566" y="911450"/>
                  <a:pt x="4414390" y="911559"/>
                </a:cubicBezTo>
                <a:close/>
                <a:moveTo>
                  <a:pt x="2740399" y="911559"/>
                </a:moveTo>
                <a:cubicBezTo>
                  <a:pt x="2745893" y="916680"/>
                  <a:pt x="2747266" y="918315"/>
                  <a:pt x="2744245" y="925289"/>
                </a:cubicBezTo>
                <a:cubicBezTo>
                  <a:pt x="2744245" y="925289"/>
                  <a:pt x="2742598" y="926597"/>
                  <a:pt x="2742598" y="926597"/>
                </a:cubicBezTo>
                <a:cubicBezTo>
                  <a:pt x="2740399" y="929212"/>
                  <a:pt x="2737103" y="930956"/>
                  <a:pt x="2734082" y="931937"/>
                </a:cubicBezTo>
                <a:cubicBezTo>
                  <a:pt x="2731059" y="932809"/>
                  <a:pt x="2728313" y="932809"/>
                  <a:pt x="2726940" y="931937"/>
                </a:cubicBezTo>
                <a:cubicBezTo>
                  <a:pt x="2724192" y="928667"/>
                  <a:pt x="2722819" y="922674"/>
                  <a:pt x="2727214" y="918751"/>
                </a:cubicBezTo>
                <a:cubicBezTo>
                  <a:pt x="2730236" y="914719"/>
                  <a:pt x="2736004" y="915482"/>
                  <a:pt x="2740399" y="911559"/>
                </a:cubicBezTo>
                <a:close/>
                <a:moveTo>
                  <a:pt x="6091677" y="911014"/>
                </a:moveTo>
                <a:cubicBezTo>
                  <a:pt x="6093325" y="911886"/>
                  <a:pt x="6092776" y="913194"/>
                  <a:pt x="6093600" y="915482"/>
                </a:cubicBezTo>
                <a:cubicBezTo>
                  <a:pt x="6091952" y="914719"/>
                  <a:pt x="6092776" y="913303"/>
                  <a:pt x="6091952" y="914719"/>
                </a:cubicBezTo>
                <a:cubicBezTo>
                  <a:pt x="6090304" y="913956"/>
                  <a:pt x="6088656" y="912975"/>
                  <a:pt x="6089205" y="911559"/>
                </a:cubicBezTo>
                <a:cubicBezTo>
                  <a:pt x="6090029" y="910142"/>
                  <a:pt x="6091677" y="911014"/>
                  <a:pt x="6091677" y="911014"/>
                </a:cubicBezTo>
                <a:close/>
                <a:moveTo>
                  <a:pt x="2234412" y="910796"/>
                </a:moveTo>
                <a:cubicBezTo>
                  <a:pt x="2235510" y="914719"/>
                  <a:pt x="2236334" y="916680"/>
                  <a:pt x="2237983" y="919187"/>
                </a:cubicBezTo>
                <a:cubicBezTo>
                  <a:pt x="2229467" y="922239"/>
                  <a:pt x="2224797" y="927469"/>
                  <a:pt x="2220127" y="926924"/>
                </a:cubicBezTo>
                <a:cubicBezTo>
                  <a:pt x="2218479" y="926707"/>
                  <a:pt x="2216831" y="925943"/>
                  <a:pt x="2214908" y="924090"/>
                </a:cubicBezTo>
                <a:cubicBezTo>
                  <a:pt x="2216557" y="918315"/>
                  <a:pt x="2226171" y="914828"/>
                  <a:pt x="2234412" y="910796"/>
                </a:cubicBezTo>
                <a:close/>
                <a:moveTo>
                  <a:pt x="2637938" y="909597"/>
                </a:moveTo>
                <a:cubicBezTo>
                  <a:pt x="2644256" y="911014"/>
                  <a:pt x="2647003" y="914937"/>
                  <a:pt x="2644532" y="920277"/>
                </a:cubicBezTo>
                <a:cubicBezTo>
                  <a:pt x="2640686" y="918206"/>
                  <a:pt x="2638487" y="920386"/>
                  <a:pt x="2634917" y="918206"/>
                </a:cubicBezTo>
                <a:cubicBezTo>
                  <a:pt x="2636565" y="914610"/>
                  <a:pt x="2636839" y="911450"/>
                  <a:pt x="2637938" y="909597"/>
                </a:cubicBezTo>
                <a:close/>
                <a:moveTo>
                  <a:pt x="1294956" y="907963"/>
                </a:moveTo>
                <a:cubicBezTo>
                  <a:pt x="1303196" y="908617"/>
                  <a:pt x="1305943" y="911995"/>
                  <a:pt x="1303471" y="917879"/>
                </a:cubicBezTo>
                <a:cubicBezTo>
                  <a:pt x="1302097" y="918533"/>
                  <a:pt x="1297703" y="919187"/>
                  <a:pt x="1298252" y="920495"/>
                </a:cubicBezTo>
                <a:cubicBezTo>
                  <a:pt x="1294131" y="919078"/>
                  <a:pt x="1289736" y="916898"/>
                  <a:pt x="1288088" y="913629"/>
                </a:cubicBezTo>
                <a:cubicBezTo>
                  <a:pt x="1287539" y="912540"/>
                  <a:pt x="1287539" y="911341"/>
                  <a:pt x="1287813" y="910033"/>
                </a:cubicBezTo>
                <a:cubicBezTo>
                  <a:pt x="1288088" y="906764"/>
                  <a:pt x="1291109" y="906655"/>
                  <a:pt x="1294956" y="907963"/>
                </a:cubicBezTo>
                <a:close/>
                <a:moveTo>
                  <a:pt x="2439060" y="907309"/>
                </a:moveTo>
                <a:cubicBezTo>
                  <a:pt x="2438236" y="908726"/>
                  <a:pt x="2447300" y="911450"/>
                  <a:pt x="2449498" y="919514"/>
                </a:cubicBezTo>
                <a:cubicBezTo>
                  <a:pt x="2450322" y="922239"/>
                  <a:pt x="2450322" y="925508"/>
                  <a:pt x="2448948" y="929648"/>
                </a:cubicBezTo>
                <a:lnTo>
                  <a:pt x="2445927" y="933899"/>
                </a:lnTo>
                <a:lnTo>
                  <a:pt x="2456365" y="929322"/>
                </a:lnTo>
                <a:cubicBezTo>
                  <a:pt x="2465705" y="927251"/>
                  <a:pt x="2476693" y="927578"/>
                  <a:pt x="2481637" y="929322"/>
                </a:cubicBezTo>
                <a:lnTo>
                  <a:pt x="2464331" y="938584"/>
                </a:lnTo>
                <a:lnTo>
                  <a:pt x="2465705" y="941091"/>
                </a:lnTo>
                <a:cubicBezTo>
                  <a:pt x="2463232" y="948174"/>
                  <a:pt x="2461310" y="951007"/>
                  <a:pt x="2458837" y="951770"/>
                </a:cubicBezTo>
                <a:cubicBezTo>
                  <a:pt x="2456365" y="952642"/>
                  <a:pt x="2453618" y="951443"/>
                  <a:pt x="2450322" y="950462"/>
                </a:cubicBezTo>
                <a:cubicBezTo>
                  <a:pt x="2450597" y="948828"/>
                  <a:pt x="2450047" y="947084"/>
                  <a:pt x="2449773" y="945340"/>
                </a:cubicBezTo>
                <a:lnTo>
                  <a:pt x="2449773" y="943706"/>
                </a:lnTo>
                <a:lnTo>
                  <a:pt x="2440982" y="944360"/>
                </a:lnTo>
                <a:lnTo>
                  <a:pt x="2441257" y="940982"/>
                </a:lnTo>
                <a:lnTo>
                  <a:pt x="2440982" y="941308"/>
                </a:lnTo>
                <a:cubicBezTo>
                  <a:pt x="2437411" y="944032"/>
                  <a:pt x="2432192" y="945014"/>
                  <a:pt x="2425324" y="942398"/>
                </a:cubicBezTo>
                <a:cubicBezTo>
                  <a:pt x="2422303" y="942180"/>
                  <a:pt x="2423677" y="941636"/>
                  <a:pt x="2421754" y="940763"/>
                </a:cubicBezTo>
                <a:cubicBezTo>
                  <a:pt x="2420105" y="939892"/>
                  <a:pt x="2416809" y="939674"/>
                  <a:pt x="2415710" y="940218"/>
                </a:cubicBezTo>
                <a:cubicBezTo>
                  <a:pt x="2417908" y="933026"/>
                  <a:pt x="2413238" y="931937"/>
                  <a:pt x="2417359" y="920821"/>
                </a:cubicBezTo>
                <a:cubicBezTo>
                  <a:pt x="2422029" y="906546"/>
                  <a:pt x="2432192" y="905348"/>
                  <a:pt x="2439060" y="907309"/>
                </a:cubicBezTo>
                <a:close/>
                <a:moveTo>
                  <a:pt x="6215565" y="906982"/>
                </a:moveTo>
                <a:cubicBezTo>
                  <a:pt x="6220784" y="907636"/>
                  <a:pt x="6228749" y="911559"/>
                  <a:pt x="6228749" y="912649"/>
                </a:cubicBezTo>
                <a:cubicBezTo>
                  <a:pt x="6230124" y="912866"/>
                  <a:pt x="6230124" y="914283"/>
                  <a:pt x="6231771" y="914392"/>
                </a:cubicBezTo>
                <a:cubicBezTo>
                  <a:pt x="6231771" y="914392"/>
                  <a:pt x="6233145" y="914610"/>
                  <a:pt x="6234518" y="916244"/>
                </a:cubicBezTo>
                <a:cubicBezTo>
                  <a:pt x="6235892" y="917988"/>
                  <a:pt x="6237266" y="919623"/>
                  <a:pt x="6235892" y="922347"/>
                </a:cubicBezTo>
                <a:lnTo>
                  <a:pt x="6226003" y="918097"/>
                </a:lnTo>
                <a:lnTo>
                  <a:pt x="6228475" y="921366"/>
                </a:lnTo>
                <a:cubicBezTo>
                  <a:pt x="6229299" y="923873"/>
                  <a:pt x="6229574" y="926488"/>
                  <a:pt x="6228475" y="928341"/>
                </a:cubicBezTo>
                <a:cubicBezTo>
                  <a:pt x="6224080" y="930302"/>
                  <a:pt x="6222432" y="927469"/>
                  <a:pt x="6219960" y="929103"/>
                </a:cubicBezTo>
                <a:cubicBezTo>
                  <a:pt x="6218587" y="925725"/>
                  <a:pt x="6218312" y="923110"/>
                  <a:pt x="6219136" y="920931"/>
                </a:cubicBezTo>
                <a:lnTo>
                  <a:pt x="6222981" y="916680"/>
                </a:lnTo>
                <a:lnTo>
                  <a:pt x="6221882" y="916244"/>
                </a:lnTo>
                <a:cubicBezTo>
                  <a:pt x="6218037" y="914719"/>
                  <a:pt x="6214466" y="913085"/>
                  <a:pt x="6210071" y="910360"/>
                </a:cubicBezTo>
                <a:cubicBezTo>
                  <a:pt x="6210071" y="908835"/>
                  <a:pt x="6211719" y="909052"/>
                  <a:pt x="6211719" y="907527"/>
                </a:cubicBezTo>
                <a:cubicBezTo>
                  <a:pt x="6212268" y="906873"/>
                  <a:pt x="6213917" y="906764"/>
                  <a:pt x="6215565" y="906982"/>
                </a:cubicBezTo>
                <a:close/>
                <a:moveTo>
                  <a:pt x="2749190" y="905783"/>
                </a:moveTo>
                <a:cubicBezTo>
                  <a:pt x="2754959" y="904475"/>
                  <a:pt x="2777483" y="906002"/>
                  <a:pt x="2769517" y="917879"/>
                </a:cubicBezTo>
                <a:lnTo>
                  <a:pt x="2770891" y="921911"/>
                </a:lnTo>
                <a:cubicBezTo>
                  <a:pt x="2770616" y="923873"/>
                  <a:pt x="2769517" y="925616"/>
                  <a:pt x="2767594" y="927687"/>
                </a:cubicBezTo>
                <a:cubicBezTo>
                  <a:pt x="2765946" y="925399"/>
                  <a:pt x="2765672" y="923655"/>
                  <a:pt x="2765946" y="921693"/>
                </a:cubicBezTo>
                <a:lnTo>
                  <a:pt x="2767320" y="917443"/>
                </a:lnTo>
                <a:lnTo>
                  <a:pt x="2757430" y="915590"/>
                </a:lnTo>
                <a:cubicBezTo>
                  <a:pt x="2753860" y="915155"/>
                  <a:pt x="2750838" y="914610"/>
                  <a:pt x="2749465" y="912430"/>
                </a:cubicBezTo>
                <a:cubicBezTo>
                  <a:pt x="2748641" y="911014"/>
                  <a:pt x="2748366" y="908943"/>
                  <a:pt x="2749190" y="905783"/>
                </a:cubicBezTo>
                <a:close/>
                <a:moveTo>
                  <a:pt x="2203096" y="904694"/>
                </a:moveTo>
                <a:cubicBezTo>
                  <a:pt x="2211337" y="908290"/>
                  <a:pt x="2218205" y="906219"/>
                  <a:pt x="2224522" y="908835"/>
                </a:cubicBezTo>
                <a:cubicBezTo>
                  <a:pt x="2221501" y="911232"/>
                  <a:pt x="2216831" y="914610"/>
                  <a:pt x="2212161" y="915699"/>
                </a:cubicBezTo>
                <a:cubicBezTo>
                  <a:pt x="2207766" y="916898"/>
                  <a:pt x="2203096" y="916027"/>
                  <a:pt x="2199800" y="910251"/>
                </a:cubicBezTo>
                <a:cubicBezTo>
                  <a:pt x="2200899" y="908398"/>
                  <a:pt x="2201998" y="906546"/>
                  <a:pt x="2203096" y="904694"/>
                </a:cubicBezTo>
                <a:close/>
                <a:moveTo>
                  <a:pt x="2527065" y="904380"/>
                </a:moveTo>
                <a:cubicBezTo>
                  <a:pt x="2529503" y="903795"/>
                  <a:pt x="2531357" y="904203"/>
                  <a:pt x="2532730" y="905238"/>
                </a:cubicBezTo>
                <a:cubicBezTo>
                  <a:pt x="2537675" y="909052"/>
                  <a:pt x="2535203" y="921475"/>
                  <a:pt x="2529708" y="922892"/>
                </a:cubicBezTo>
                <a:cubicBezTo>
                  <a:pt x="2526412" y="923764"/>
                  <a:pt x="2522292" y="920712"/>
                  <a:pt x="2517897" y="909488"/>
                </a:cubicBezTo>
                <a:cubicBezTo>
                  <a:pt x="2521605" y="906546"/>
                  <a:pt x="2524627" y="904966"/>
                  <a:pt x="2527065" y="904380"/>
                </a:cubicBezTo>
                <a:close/>
                <a:moveTo>
                  <a:pt x="1036193" y="902514"/>
                </a:moveTo>
                <a:cubicBezTo>
                  <a:pt x="1040039" y="906110"/>
                  <a:pt x="1041412" y="910905"/>
                  <a:pt x="1038116" y="914828"/>
                </a:cubicBezTo>
                <a:cubicBezTo>
                  <a:pt x="1035369" y="915918"/>
                  <a:pt x="1032622" y="913956"/>
                  <a:pt x="1029874" y="911995"/>
                </a:cubicBezTo>
                <a:cubicBezTo>
                  <a:pt x="1027952" y="910142"/>
                  <a:pt x="1027128" y="908507"/>
                  <a:pt x="1027403" y="907091"/>
                </a:cubicBezTo>
                <a:cubicBezTo>
                  <a:pt x="1027678" y="905674"/>
                  <a:pt x="1029051" y="904367"/>
                  <a:pt x="1030424" y="903168"/>
                </a:cubicBezTo>
                <a:cubicBezTo>
                  <a:pt x="1033446" y="900661"/>
                  <a:pt x="1036193" y="902514"/>
                  <a:pt x="1036193" y="902514"/>
                </a:cubicBezTo>
                <a:close/>
                <a:moveTo>
                  <a:pt x="1149092" y="902078"/>
                </a:moveTo>
                <a:cubicBezTo>
                  <a:pt x="1154860" y="903495"/>
                  <a:pt x="1155685" y="907963"/>
                  <a:pt x="1156235" y="912430"/>
                </a:cubicBezTo>
                <a:cubicBezTo>
                  <a:pt x="1156235" y="915699"/>
                  <a:pt x="1156784" y="917117"/>
                  <a:pt x="1159530" y="918751"/>
                </a:cubicBezTo>
                <a:cubicBezTo>
                  <a:pt x="1159530" y="918751"/>
                  <a:pt x="1159530" y="918751"/>
                  <a:pt x="1158157" y="922783"/>
                </a:cubicBezTo>
                <a:lnTo>
                  <a:pt x="1157059" y="923546"/>
                </a:lnTo>
                <a:cubicBezTo>
                  <a:pt x="1156235" y="923655"/>
                  <a:pt x="1155410" y="922783"/>
                  <a:pt x="1154586" y="921475"/>
                </a:cubicBezTo>
                <a:cubicBezTo>
                  <a:pt x="1152114" y="917662"/>
                  <a:pt x="1149642" y="909597"/>
                  <a:pt x="1149367" y="908617"/>
                </a:cubicBezTo>
                <a:cubicBezTo>
                  <a:pt x="1149367" y="908617"/>
                  <a:pt x="1148543" y="907309"/>
                  <a:pt x="1147994" y="906110"/>
                </a:cubicBezTo>
                <a:cubicBezTo>
                  <a:pt x="1148543" y="904040"/>
                  <a:pt x="1149916" y="903277"/>
                  <a:pt x="1149092" y="902078"/>
                </a:cubicBezTo>
                <a:close/>
                <a:moveTo>
                  <a:pt x="6223531" y="899136"/>
                </a:moveTo>
                <a:cubicBezTo>
                  <a:pt x="6232046" y="902950"/>
                  <a:pt x="6238913" y="901206"/>
                  <a:pt x="6245781" y="904040"/>
                </a:cubicBezTo>
                <a:cubicBezTo>
                  <a:pt x="6242759" y="906328"/>
                  <a:pt x="6238639" y="909380"/>
                  <a:pt x="6234243" y="910360"/>
                </a:cubicBezTo>
                <a:cubicBezTo>
                  <a:pt x="6229849" y="911341"/>
                  <a:pt x="6225179" y="910360"/>
                  <a:pt x="6221058" y="904475"/>
                </a:cubicBezTo>
                <a:cubicBezTo>
                  <a:pt x="6221882" y="902623"/>
                  <a:pt x="6222706" y="900880"/>
                  <a:pt x="6223531" y="899136"/>
                </a:cubicBezTo>
                <a:close/>
                <a:moveTo>
                  <a:pt x="1797372" y="896957"/>
                </a:moveTo>
                <a:cubicBezTo>
                  <a:pt x="1797372" y="896957"/>
                  <a:pt x="1797372" y="896957"/>
                  <a:pt x="1791054" y="905020"/>
                </a:cubicBezTo>
                <a:cubicBezTo>
                  <a:pt x="1790230" y="904149"/>
                  <a:pt x="1790505" y="903386"/>
                  <a:pt x="1790780" y="902732"/>
                </a:cubicBezTo>
                <a:cubicBezTo>
                  <a:pt x="1791329" y="902078"/>
                  <a:pt x="1791879" y="901425"/>
                  <a:pt x="1792703" y="900771"/>
                </a:cubicBezTo>
                <a:cubicBezTo>
                  <a:pt x="1794350" y="899463"/>
                  <a:pt x="1795724" y="898155"/>
                  <a:pt x="1797372" y="896957"/>
                </a:cubicBezTo>
                <a:close/>
                <a:moveTo>
                  <a:pt x="1505372" y="896629"/>
                </a:moveTo>
                <a:cubicBezTo>
                  <a:pt x="1504823" y="899790"/>
                  <a:pt x="1503998" y="903059"/>
                  <a:pt x="1503449" y="906219"/>
                </a:cubicBezTo>
                <a:cubicBezTo>
                  <a:pt x="1502899" y="904912"/>
                  <a:pt x="1491362" y="912104"/>
                  <a:pt x="1491362" y="912104"/>
                </a:cubicBezTo>
                <a:cubicBezTo>
                  <a:pt x="1489440" y="911232"/>
                  <a:pt x="1488615" y="910905"/>
                  <a:pt x="1488341" y="910033"/>
                </a:cubicBezTo>
                <a:cubicBezTo>
                  <a:pt x="1488067" y="909161"/>
                  <a:pt x="1488615" y="907963"/>
                  <a:pt x="1489440" y="905457"/>
                </a:cubicBezTo>
                <a:cubicBezTo>
                  <a:pt x="1490538" y="903604"/>
                  <a:pt x="1493285" y="901097"/>
                  <a:pt x="1496306" y="899245"/>
                </a:cubicBezTo>
                <a:cubicBezTo>
                  <a:pt x="1499603" y="897392"/>
                  <a:pt x="1502899" y="895976"/>
                  <a:pt x="1505372" y="896629"/>
                </a:cubicBezTo>
                <a:close/>
                <a:moveTo>
                  <a:pt x="6177931" y="895322"/>
                </a:moveTo>
                <a:cubicBezTo>
                  <a:pt x="6179304" y="894777"/>
                  <a:pt x="6179579" y="895976"/>
                  <a:pt x="6180953" y="895539"/>
                </a:cubicBezTo>
                <a:cubicBezTo>
                  <a:pt x="6180953" y="895539"/>
                  <a:pt x="6181503" y="896957"/>
                  <a:pt x="6181503" y="896957"/>
                </a:cubicBezTo>
                <a:cubicBezTo>
                  <a:pt x="6182052" y="896629"/>
                  <a:pt x="6182052" y="896521"/>
                  <a:pt x="6181777" y="897066"/>
                </a:cubicBezTo>
                <a:cubicBezTo>
                  <a:pt x="6181503" y="897501"/>
                  <a:pt x="6180953" y="898482"/>
                  <a:pt x="6180953" y="900117"/>
                </a:cubicBezTo>
                <a:cubicBezTo>
                  <a:pt x="6179854" y="901969"/>
                  <a:pt x="6180404" y="903168"/>
                  <a:pt x="6178755" y="902405"/>
                </a:cubicBezTo>
                <a:cubicBezTo>
                  <a:pt x="6177931" y="901969"/>
                  <a:pt x="6177382" y="901751"/>
                  <a:pt x="6177107" y="901206"/>
                </a:cubicBezTo>
                <a:cubicBezTo>
                  <a:pt x="6176833" y="900552"/>
                  <a:pt x="6176283" y="899681"/>
                  <a:pt x="6175734" y="897719"/>
                </a:cubicBezTo>
                <a:cubicBezTo>
                  <a:pt x="6177382" y="898482"/>
                  <a:pt x="6177657" y="898482"/>
                  <a:pt x="6178480" y="896629"/>
                </a:cubicBezTo>
                <a:cubicBezTo>
                  <a:pt x="6178480" y="896629"/>
                  <a:pt x="6178480" y="896629"/>
                  <a:pt x="6177931" y="895322"/>
                </a:cubicBezTo>
                <a:close/>
                <a:moveTo>
                  <a:pt x="2766496" y="894342"/>
                </a:moveTo>
                <a:cubicBezTo>
                  <a:pt x="2766496" y="894342"/>
                  <a:pt x="2767869" y="894559"/>
                  <a:pt x="2767869" y="894559"/>
                </a:cubicBezTo>
                <a:lnTo>
                  <a:pt x="2769242" y="897174"/>
                </a:lnTo>
                <a:lnTo>
                  <a:pt x="2769792" y="897066"/>
                </a:lnTo>
                <a:cubicBezTo>
                  <a:pt x="2771989" y="897719"/>
                  <a:pt x="2773913" y="899463"/>
                  <a:pt x="2775011" y="901751"/>
                </a:cubicBezTo>
                <a:cubicBezTo>
                  <a:pt x="2773363" y="904803"/>
                  <a:pt x="2771166" y="906328"/>
                  <a:pt x="2768968" y="906655"/>
                </a:cubicBezTo>
                <a:cubicBezTo>
                  <a:pt x="2767045" y="906982"/>
                  <a:pt x="2764848" y="906002"/>
                  <a:pt x="2763474" y="903930"/>
                </a:cubicBezTo>
                <a:cubicBezTo>
                  <a:pt x="2762375" y="902514"/>
                  <a:pt x="2761826" y="900771"/>
                  <a:pt x="2761276" y="898482"/>
                </a:cubicBezTo>
                <a:lnTo>
                  <a:pt x="2765122" y="897828"/>
                </a:lnTo>
                <a:close/>
                <a:moveTo>
                  <a:pt x="2066024" y="893578"/>
                </a:moveTo>
                <a:cubicBezTo>
                  <a:pt x="2069046" y="893469"/>
                  <a:pt x="2075913" y="906982"/>
                  <a:pt x="2069046" y="908507"/>
                </a:cubicBezTo>
                <a:cubicBezTo>
                  <a:pt x="2067397" y="908507"/>
                  <a:pt x="2066298" y="907745"/>
                  <a:pt x="2065474" y="906546"/>
                </a:cubicBezTo>
                <a:cubicBezTo>
                  <a:pt x="2063002" y="902841"/>
                  <a:pt x="2064101" y="895104"/>
                  <a:pt x="2066024" y="893578"/>
                </a:cubicBezTo>
                <a:close/>
                <a:moveTo>
                  <a:pt x="2029214" y="892489"/>
                </a:moveTo>
                <a:cubicBezTo>
                  <a:pt x="2043499" y="897501"/>
                  <a:pt x="2052839" y="917007"/>
                  <a:pt x="2050641" y="927142"/>
                </a:cubicBezTo>
                <a:cubicBezTo>
                  <a:pt x="2036082" y="922020"/>
                  <a:pt x="2029764" y="902732"/>
                  <a:pt x="2029214" y="892489"/>
                </a:cubicBezTo>
                <a:close/>
                <a:moveTo>
                  <a:pt x="2241553" y="892053"/>
                </a:moveTo>
                <a:cubicBezTo>
                  <a:pt x="2242928" y="890527"/>
                  <a:pt x="2242928" y="890527"/>
                  <a:pt x="2244026" y="892380"/>
                </a:cubicBezTo>
                <a:cubicBezTo>
                  <a:pt x="2243477" y="893033"/>
                  <a:pt x="2243202" y="893033"/>
                  <a:pt x="2242928" y="892815"/>
                </a:cubicBezTo>
                <a:cubicBezTo>
                  <a:pt x="2242653" y="892489"/>
                  <a:pt x="2242103" y="892053"/>
                  <a:pt x="2241553" y="892053"/>
                </a:cubicBezTo>
                <a:close/>
                <a:moveTo>
                  <a:pt x="4550364" y="891725"/>
                </a:moveTo>
                <a:cubicBezTo>
                  <a:pt x="4555034" y="894995"/>
                  <a:pt x="4552562" y="906655"/>
                  <a:pt x="4547068" y="909706"/>
                </a:cubicBezTo>
                <a:cubicBezTo>
                  <a:pt x="4549265" y="900226"/>
                  <a:pt x="4543771" y="895758"/>
                  <a:pt x="4550364" y="891725"/>
                </a:cubicBezTo>
                <a:close/>
                <a:moveTo>
                  <a:pt x="2352531" y="891725"/>
                </a:moveTo>
                <a:cubicBezTo>
                  <a:pt x="2353355" y="894342"/>
                  <a:pt x="2359398" y="893033"/>
                  <a:pt x="2357750" y="897066"/>
                </a:cubicBezTo>
                <a:cubicBezTo>
                  <a:pt x="2355827" y="896302"/>
                  <a:pt x="2353629" y="894342"/>
                  <a:pt x="2351707" y="893688"/>
                </a:cubicBezTo>
                <a:cubicBezTo>
                  <a:pt x="2351707" y="893688"/>
                  <a:pt x="2351707" y="893688"/>
                  <a:pt x="2352531" y="891725"/>
                </a:cubicBezTo>
                <a:close/>
                <a:moveTo>
                  <a:pt x="1255949" y="889874"/>
                </a:moveTo>
                <a:cubicBezTo>
                  <a:pt x="1260894" y="890200"/>
                  <a:pt x="1262816" y="894014"/>
                  <a:pt x="1263640" y="898591"/>
                </a:cubicBezTo>
                <a:cubicBezTo>
                  <a:pt x="1266112" y="900335"/>
                  <a:pt x="1269408" y="900007"/>
                  <a:pt x="1269408" y="903386"/>
                </a:cubicBezTo>
                <a:cubicBezTo>
                  <a:pt x="1265014" y="901097"/>
                  <a:pt x="1263090" y="900661"/>
                  <a:pt x="1260619" y="898918"/>
                </a:cubicBezTo>
                <a:cubicBezTo>
                  <a:pt x="1259245" y="899681"/>
                  <a:pt x="1258146" y="900335"/>
                  <a:pt x="1256224" y="899899"/>
                </a:cubicBezTo>
                <a:cubicBezTo>
                  <a:pt x="1252377" y="898918"/>
                  <a:pt x="1252377" y="895649"/>
                  <a:pt x="1249631" y="893905"/>
                </a:cubicBezTo>
                <a:cubicBezTo>
                  <a:pt x="1250455" y="891835"/>
                  <a:pt x="1252103" y="888892"/>
                  <a:pt x="1255949" y="889874"/>
                </a:cubicBezTo>
                <a:close/>
                <a:moveTo>
                  <a:pt x="1661673" y="889220"/>
                </a:moveTo>
                <a:cubicBezTo>
                  <a:pt x="1661399" y="893905"/>
                  <a:pt x="1660574" y="897066"/>
                  <a:pt x="1658926" y="902187"/>
                </a:cubicBezTo>
                <a:cubicBezTo>
                  <a:pt x="1658926" y="902187"/>
                  <a:pt x="1654806" y="909597"/>
                  <a:pt x="1650136" y="908398"/>
                </a:cubicBezTo>
                <a:cubicBezTo>
                  <a:pt x="1649311" y="908617"/>
                  <a:pt x="1648762" y="907418"/>
                  <a:pt x="1648213" y="905892"/>
                </a:cubicBezTo>
                <a:cubicBezTo>
                  <a:pt x="1647938" y="904367"/>
                  <a:pt x="1647938" y="902514"/>
                  <a:pt x="1648213" y="901642"/>
                </a:cubicBezTo>
                <a:lnTo>
                  <a:pt x="1651510" y="897937"/>
                </a:lnTo>
                <a:lnTo>
                  <a:pt x="1634479" y="908726"/>
                </a:lnTo>
                <a:cubicBezTo>
                  <a:pt x="1631182" y="910251"/>
                  <a:pt x="1627885" y="911450"/>
                  <a:pt x="1624040" y="911995"/>
                </a:cubicBezTo>
                <a:cubicBezTo>
                  <a:pt x="1620194" y="912649"/>
                  <a:pt x="1615799" y="912649"/>
                  <a:pt x="1610854" y="911886"/>
                </a:cubicBezTo>
                <a:cubicBezTo>
                  <a:pt x="1608931" y="907527"/>
                  <a:pt x="1602340" y="903277"/>
                  <a:pt x="1606459" y="897828"/>
                </a:cubicBezTo>
                <a:cubicBezTo>
                  <a:pt x="1621842" y="905674"/>
                  <a:pt x="1635028" y="890200"/>
                  <a:pt x="1646840" y="894559"/>
                </a:cubicBezTo>
                <a:lnTo>
                  <a:pt x="1651785" y="897610"/>
                </a:lnTo>
                <a:lnTo>
                  <a:pt x="1654256" y="894995"/>
                </a:lnTo>
                <a:cubicBezTo>
                  <a:pt x="1655080" y="893033"/>
                  <a:pt x="1656180" y="891181"/>
                  <a:pt x="1657278" y="889982"/>
                </a:cubicBezTo>
                <a:cubicBezTo>
                  <a:pt x="1658376" y="888892"/>
                  <a:pt x="1659750" y="888347"/>
                  <a:pt x="1661673" y="889220"/>
                </a:cubicBezTo>
                <a:close/>
                <a:moveTo>
                  <a:pt x="2120962" y="888456"/>
                </a:moveTo>
                <a:lnTo>
                  <a:pt x="2123161" y="891944"/>
                </a:lnTo>
                <a:lnTo>
                  <a:pt x="2132225" y="893469"/>
                </a:lnTo>
                <a:cubicBezTo>
                  <a:pt x="2135796" y="894886"/>
                  <a:pt x="2138543" y="897392"/>
                  <a:pt x="2140741" y="900989"/>
                </a:cubicBezTo>
                <a:cubicBezTo>
                  <a:pt x="2140741" y="907636"/>
                  <a:pt x="2136071" y="912212"/>
                  <a:pt x="2130577" y="914719"/>
                </a:cubicBezTo>
                <a:lnTo>
                  <a:pt x="2129753" y="914937"/>
                </a:lnTo>
                <a:lnTo>
                  <a:pt x="2129478" y="917226"/>
                </a:lnTo>
                <a:cubicBezTo>
                  <a:pt x="2128655" y="919950"/>
                  <a:pt x="2127280" y="921257"/>
                  <a:pt x="2125632" y="922456"/>
                </a:cubicBezTo>
                <a:lnTo>
                  <a:pt x="2122886" y="925508"/>
                </a:lnTo>
                <a:lnTo>
                  <a:pt x="2118491" y="936295"/>
                </a:lnTo>
                <a:cubicBezTo>
                  <a:pt x="2115194" y="940763"/>
                  <a:pt x="2111073" y="943706"/>
                  <a:pt x="2106129" y="944032"/>
                </a:cubicBezTo>
                <a:cubicBezTo>
                  <a:pt x="2111898" y="934770"/>
                  <a:pt x="2111898" y="925508"/>
                  <a:pt x="2112173" y="916135"/>
                </a:cubicBezTo>
                <a:lnTo>
                  <a:pt x="2112173" y="915482"/>
                </a:lnTo>
                <a:lnTo>
                  <a:pt x="2108327" y="908943"/>
                </a:lnTo>
                <a:cubicBezTo>
                  <a:pt x="2107503" y="906546"/>
                  <a:pt x="2107228" y="904258"/>
                  <a:pt x="2107778" y="902296"/>
                </a:cubicBezTo>
                <a:lnTo>
                  <a:pt x="2108052" y="901642"/>
                </a:lnTo>
                <a:lnTo>
                  <a:pt x="2106954" y="901969"/>
                </a:lnTo>
                <a:cubicBezTo>
                  <a:pt x="2105854" y="902405"/>
                  <a:pt x="2104755" y="902950"/>
                  <a:pt x="2103932" y="902623"/>
                </a:cubicBezTo>
                <a:cubicBezTo>
                  <a:pt x="2103932" y="902623"/>
                  <a:pt x="2101185" y="899245"/>
                  <a:pt x="2101185" y="899245"/>
                </a:cubicBezTo>
                <a:cubicBezTo>
                  <a:pt x="2102009" y="897174"/>
                  <a:pt x="2101734" y="897174"/>
                  <a:pt x="2102284" y="898591"/>
                </a:cubicBezTo>
                <a:cubicBezTo>
                  <a:pt x="2104481" y="895867"/>
                  <a:pt x="2105854" y="895213"/>
                  <a:pt x="2107228" y="894559"/>
                </a:cubicBezTo>
                <a:lnTo>
                  <a:pt x="2109425" y="899899"/>
                </a:lnTo>
                <a:lnTo>
                  <a:pt x="2112722" y="894995"/>
                </a:lnTo>
                <a:lnTo>
                  <a:pt x="2118765" y="892924"/>
                </a:lnTo>
                <a:close/>
                <a:moveTo>
                  <a:pt x="2416260" y="888130"/>
                </a:moveTo>
                <a:cubicBezTo>
                  <a:pt x="2415985" y="889655"/>
                  <a:pt x="2415985" y="892598"/>
                  <a:pt x="2418732" y="894450"/>
                </a:cubicBezTo>
                <a:cubicBezTo>
                  <a:pt x="2417359" y="895649"/>
                  <a:pt x="2415710" y="896957"/>
                  <a:pt x="2414337" y="897501"/>
                </a:cubicBezTo>
                <a:cubicBezTo>
                  <a:pt x="2413787" y="897719"/>
                  <a:pt x="2412963" y="897828"/>
                  <a:pt x="2412414" y="897719"/>
                </a:cubicBezTo>
                <a:cubicBezTo>
                  <a:pt x="2411590" y="897501"/>
                  <a:pt x="2411041" y="897066"/>
                  <a:pt x="2410216" y="896302"/>
                </a:cubicBezTo>
                <a:cubicBezTo>
                  <a:pt x="2408843" y="894668"/>
                  <a:pt x="2407469" y="892924"/>
                  <a:pt x="2407469" y="889982"/>
                </a:cubicBezTo>
                <a:cubicBezTo>
                  <a:pt x="2410491" y="887476"/>
                  <a:pt x="2414611" y="889437"/>
                  <a:pt x="2416260" y="888130"/>
                </a:cubicBezTo>
                <a:close/>
                <a:moveTo>
                  <a:pt x="2539323" y="887912"/>
                </a:moveTo>
                <a:cubicBezTo>
                  <a:pt x="2540696" y="887476"/>
                  <a:pt x="2540971" y="888675"/>
                  <a:pt x="2542345" y="888130"/>
                </a:cubicBezTo>
                <a:cubicBezTo>
                  <a:pt x="2542345" y="888130"/>
                  <a:pt x="2542619" y="889437"/>
                  <a:pt x="2542619" y="889437"/>
                </a:cubicBezTo>
                <a:cubicBezTo>
                  <a:pt x="2543443" y="889220"/>
                  <a:pt x="2543443" y="889220"/>
                  <a:pt x="2543169" y="889655"/>
                </a:cubicBezTo>
                <a:cubicBezTo>
                  <a:pt x="2542894" y="890200"/>
                  <a:pt x="2542345" y="891072"/>
                  <a:pt x="2542070" y="892706"/>
                </a:cubicBezTo>
                <a:cubicBezTo>
                  <a:pt x="2541246" y="894559"/>
                  <a:pt x="2541796" y="895867"/>
                  <a:pt x="2540147" y="895104"/>
                </a:cubicBezTo>
                <a:cubicBezTo>
                  <a:pt x="2539323" y="894668"/>
                  <a:pt x="2538773" y="894450"/>
                  <a:pt x="2538499" y="893905"/>
                </a:cubicBezTo>
                <a:cubicBezTo>
                  <a:pt x="2538224" y="893251"/>
                  <a:pt x="2537675" y="892270"/>
                  <a:pt x="2537126" y="890200"/>
                </a:cubicBezTo>
                <a:cubicBezTo>
                  <a:pt x="2538773" y="891072"/>
                  <a:pt x="2538773" y="891072"/>
                  <a:pt x="2539872" y="889220"/>
                </a:cubicBezTo>
                <a:cubicBezTo>
                  <a:pt x="2539872" y="889220"/>
                  <a:pt x="2539872" y="889329"/>
                  <a:pt x="2539323" y="887912"/>
                </a:cubicBezTo>
                <a:close/>
                <a:moveTo>
                  <a:pt x="1820996" y="886822"/>
                </a:moveTo>
                <a:cubicBezTo>
                  <a:pt x="1822094" y="886713"/>
                  <a:pt x="1822919" y="886822"/>
                  <a:pt x="1823468" y="887585"/>
                </a:cubicBezTo>
                <a:cubicBezTo>
                  <a:pt x="1821546" y="889546"/>
                  <a:pt x="1819073" y="893251"/>
                  <a:pt x="1815777" y="894014"/>
                </a:cubicBezTo>
                <a:cubicBezTo>
                  <a:pt x="1814678" y="894232"/>
                  <a:pt x="1813580" y="894232"/>
                  <a:pt x="1812206" y="893688"/>
                </a:cubicBezTo>
                <a:cubicBezTo>
                  <a:pt x="1814403" y="891725"/>
                  <a:pt x="1818249" y="887476"/>
                  <a:pt x="1820996" y="886822"/>
                </a:cubicBezTo>
                <a:close/>
                <a:moveTo>
                  <a:pt x="2600580" y="886604"/>
                </a:moveTo>
                <a:cubicBezTo>
                  <a:pt x="2600305" y="885297"/>
                  <a:pt x="2606348" y="888347"/>
                  <a:pt x="2607997" y="888347"/>
                </a:cubicBezTo>
                <a:cubicBezTo>
                  <a:pt x="2607997" y="889764"/>
                  <a:pt x="2607997" y="889764"/>
                  <a:pt x="2606348" y="889655"/>
                </a:cubicBezTo>
                <a:cubicBezTo>
                  <a:pt x="2606623" y="889982"/>
                  <a:pt x="2606623" y="889982"/>
                  <a:pt x="2606898" y="890091"/>
                </a:cubicBezTo>
                <a:cubicBezTo>
                  <a:pt x="2605799" y="890854"/>
                  <a:pt x="2604700" y="891290"/>
                  <a:pt x="2603602" y="891181"/>
                </a:cubicBezTo>
                <a:cubicBezTo>
                  <a:pt x="2602228" y="890854"/>
                  <a:pt x="2600580" y="890091"/>
                  <a:pt x="2599206" y="889329"/>
                </a:cubicBezTo>
                <a:cubicBezTo>
                  <a:pt x="2599206" y="888021"/>
                  <a:pt x="2598932" y="888021"/>
                  <a:pt x="2600580" y="886604"/>
                </a:cubicBezTo>
                <a:close/>
                <a:moveTo>
                  <a:pt x="2176374" y="885904"/>
                </a:moveTo>
                <a:cubicBezTo>
                  <a:pt x="2179318" y="886256"/>
                  <a:pt x="2182220" y="887666"/>
                  <a:pt x="2184967" y="890636"/>
                </a:cubicBezTo>
                <a:cubicBezTo>
                  <a:pt x="2182495" y="902405"/>
                  <a:pt x="2168210" y="912321"/>
                  <a:pt x="2159420" y="910796"/>
                </a:cubicBezTo>
                <a:cubicBezTo>
                  <a:pt x="2156399" y="910360"/>
                  <a:pt x="2153926" y="908617"/>
                  <a:pt x="2152553" y="905238"/>
                </a:cubicBezTo>
                <a:cubicBezTo>
                  <a:pt x="2152003" y="903277"/>
                  <a:pt x="2151729" y="900771"/>
                  <a:pt x="2151729" y="897719"/>
                </a:cubicBezTo>
                <a:cubicBezTo>
                  <a:pt x="2158321" y="893306"/>
                  <a:pt x="2167541" y="884847"/>
                  <a:pt x="2176374" y="885904"/>
                </a:cubicBezTo>
                <a:close/>
                <a:moveTo>
                  <a:pt x="2877472" y="883553"/>
                </a:moveTo>
                <a:lnTo>
                  <a:pt x="2870879" y="888130"/>
                </a:lnTo>
                <a:cubicBezTo>
                  <a:pt x="2869232" y="889546"/>
                  <a:pt x="2868408" y="890854"/>
                  <a:pt x="2869232" y="892924"/>
                </a:cubicBezTo>
                <a:cubicBezTo>
                  <a:pt x="2869232" y="892924"/>
                  <a:pt x="2867858" y="895649"/>
                  <a:pt x="2867858" y="895649"/>
                </a:cubicBezTo>
                <a:lnTo>
                  <a:pt x="2875275" y="895431"/>
                </a:lnTo>
                <a:lnTo>
                  <a:pt x="2875549" y="891181"/>
                </a:lnTo>
                <a:close/>
                <a:moveTo>
                  <a:pt x="1333687" y="882681"/>
                </a:moveTo>
                <a:cubicBezTo>
                  <a:pt x="1336709" y="882681"/>
                  <a:pt x="1344126" y="889874"/>
                  <a:pt x="1343576" y="891835"/>
                </a:cubicBezTo>
                <a:cubicBezTo>
                  <a:pt x="1339731" y="891290"/>
                  <a:pt x="1333413" y="890418"/>
                  <a:pt x="1330666" y="887803"/>
                </a:cubicBezTo>
                <a:cubicBezTo>
                  <a:pt x="1329842" y="886931"/>
                  <a:pt x="1329567" y="885841"/>
                  <a:pt x="1329842" y="884533"/>
                </a:cubicBezTo>
                <a:cubicBezTo>
                  <a:pt x="1330666" y="882681"/>
                  <a:pt x="1332314" y="883335"/>
                  <a:pt x="1333687" y="882681"/>
                </a:cubicBezTo>
                <a:close/>
                <a:moveTo>
                  <a:pt x="2402800" y="880610"/>
                </a:moveTo>
                <a:cubicBezTo>
                  <a:pt x="2405822" y="879630"/>
                  <a:pt x="2405822" y="879521"/>
                  <a:pt x="2406920" y="881264"/>
                </a:cubicBezTo>
                <a:cubicBezTo>
                  <a:pt x="2408293" y="883008"/>
                  <a:pt x="2406646" y="887258"/>
                  <a:pt x="2408019" y="889001"/>
                </a:cubicBezTo>
                <a:cubicBezTo>
                  <a:pt x="2408019" y="889001"/>
                  <a:pt x="2408019" y="889110"/>
                  <a:pt x="2404997" y="890091"/>
                </a:cubicBezTo>
                <a:cubicBezTo>
                  <a:pt x="2403623" y="889874"/>
                  <a:pt x="2401976" y="889655"/>
                  <a:pt x="2400602" y="887912"/>
                </a:cubicBezTo>
                <a:cubicBezTo>
                  <a:pt x="2399228" y="886168"/>
                  <a:pt x="2399503" y="883117"/>
                  <a:pt x="2399778" y="881591"/>
                </a:cubicBezTo>
                <a:cubicBezTo>
                  <a:pt x="2401152" y="881809"/>
                  <a:pt x="2401152" y="880393"/>
                  <a:pt x="2402800" y="880610"/>
                </a:cubicBezTo>
                <a:close/>
                <a:moveTo>
                  <a:pt x="6291106" y="879085"/>
                </a:moveTo>
                <a:cubicBezTo>
                  <a:pt x="6291655" y="881046"/>
                  <a:pt x="6293852" y="880501"/>
                  <a:pt x="6294402" y="882463"/>
                </a:cubicBezTo>
                <a:cubicBezTo>
                  <a:pt x="6294402" y="882463"/>
                  <a:pt x="6296050" y="884207"/>
                  <a:pt x="6297149" y="887040"/>
                </a:cubicBezTo>
                <a:cubicBezTo>
                  <a:pt x="6297973" y="889982"/>
                  <a:pt x="6298522" y="894014"/>
                  <a:pt x="6296325" y="898700"/>
                </a:cubicBezTo>
                <a:cubicBezTo>
                  <a:pt x="6294677" y="901097"/>
                  <a:pt x="6289458" y="906546"/>
                  <a:pt x="6288908" y="904584"/>
                </a:cubicBezTo>
                <a:cubicBezTo>
                  <a:pt x="6286161" y="903059"/>
                  <a:pt x="6286710" y="905020"/>
                  <a:pt x="6284788" y="905565"/>
                </a:cubicBezTo>
                <a:cubicBezTo>
                  <a:pt x="6276821" y="901097"/>
                  <a:pt x="6272976" y="895649"/>
                  <a:pt x="6275723" y="888783"/>
                </a:cubicBezTo>
                <a:cubicBezTo>
                  <a:pt x="6279019" y="883879"/>
                  <a:pt x="6283689" y="876578"/>
                  <a:pt x="6291106" y="879085"/>
                </a:cubicBezTo>
                <a:close/>
                <a:moveTo>
                  <a:pt x="2167661" y="878976"/>
                </a:moveTo>
                <a:lnTo>
                  <a:pt x="2171232" y="884098"/>
                </a:lnTo>
                <a:cubicBezTo>
                  <a:pt x="2170682" y="884752"/>
                  <a:pt x="2169584" y="885297"/>
                  <a:pt x="2168485" y="885514"/>
                </a:cubicBezTo>
                <a:cubicBezTo>
                  <a:pt x="2167386" y="885732"/>
                  <a:pt x="2166288" y="885514"/>
                  <a:pt x="2165738" y="884643"/>
                </a:cubicBezTo>
                <a:cubicBezTo>
                  <a:pt x="2164364" y="883662"/>
                  <a:pt x="2164639" y="883008"/>
                  <a:pt x="2165188" y="882136"/>
                </a:cubicBezTo>
                <a:cubicBezTo>
                  <a:pt x="2165738" y="881373"/>
                  <a:pt x="2166837" y="880393"/>
                  <a:pt x="2167661" y="878976"/>
                </a:cubicBezTo>
                <a:close/>
                <a:moveTo>
                  <a:pt x="6273251" y="878867"/>
                </a:moveTo>
                <a:cubicBezTo>
                  <a:pt x="6275448" y="879412"/>
                  <a:pt x="6275723" y="880393"/>
                  <a:pt x="6275448" y="881809"/>
                </a:cubicBezTo>
                <a:cubicBezTo>
                  <a:pt x="6274899" y="883225"/>
                  <a:pt x="6273800" y="885187"/>
                  <a:pt x="6273251" y="887367"/>
                </a:cubicBezTo>
                <a:lnTo>
                  <a:pt x="6265559" y="882681"/>
                </a:lnTo>
                <a:cubicBezTo>
                  <a:pt x="6267207" y="880175"/>
                  <a:pt x="6270503" y="877341"/>
                  <a:pt x="6273251" y="878867"/>
                </a:cubicBezTo>
                <a:close/>
                <a:moveTo>
                  <a:pt x="2768693" y="878540"/>
                </a:moveTo>
                <a:cubicBezTo>
                  <a:pt x="2768968" y="877015"/>
                  <a:pt x="2773088" y="879194"/>
                  <a:pt x="2773088" y="879194"/>
                </a:cubicBezTo>
                <a:cubicBezTo>
                  <a:pt x="2774461" y="880938"/>
                  <a:pt x="2771440" y="885078"/>
                  <a:pt x="2771166" y="886495"/>
                </a:cubicBezTo>
                <a:cubicBezTo>
                  <a:pt x="2769792" y="886277"/>
                  <a:pt x="2768418" y="884533"/>
                  <a:pt x="2767045" y="884316"/>
                </a:cubicBezTo>
                <a:cubicBezTo>
                  <a:pt x="2767045" y="882899"/>
                  <a:pt x="2767320" y="879848"/>
                  <a:pt x="2768693" y="878540"/>
                </a:cubicBezTo>
                <a:close/>
                <a:moveTo>
                  <a:pt x="2459386" y="877450"/>
                </a:moveTo>
                <a:lnTo>
                  <a:pt x="2461310" y="878649"/>
                </a:lnTo>
                <a:lnTo>
                  <a:pt x="2461859" y="878322"/>
                </a:lnTo>
                <a:lnTo>
                  <a:pt x="2462134" y="879194"/>
                </a:lnTo>
                <a:lnTo>
                  <a:pt x="2465155" y="881264"/>
                </a:lnTo>
                <a:cubicBezTo>
                  <a:pt x="2467353" y="883770"/>
                  <a:pt x="2469001" y="887258"/>
                  <a:pt x="2469826" y="892053"/>
                </a:cubicBezTo>
                <a:cubicBezTo>
                  <a:pt x="2469275" y="897828"/>
                  <a:pt x="2460486" y="901097"/>
                  <a:pt x="2453618" y="900117"/>
                </a:cubicBezTo>
                <a:cubicBezTo>
                  <a:pt x="2451421" y="899790"/>
                  <a:pt x="2449498" y="898918"/>
                  <a:pt x="2448124" y="897610"/>
                </a:cubicBezTo>
                <a:cubicBezTo>
                  <a:pt x="2447025" y="893469"/>
                  <a:pt x="2445927" y="889437"/>
                  <a:pt x="2444553" y="885297"/>
                </a:cubicBezTo>
                <a:cubicBezTo>
                  <a:pt x="2446751" y="878213"/>
                  <a:pt x="2453344" y="875380"/>
                  <a:pt x="2459386" y="877450"/>
                </a:cubicBezTo>
                <a:close/>
                <a:moveTo>
                  <a:pt x="1290834" y="877015"/>
                </a:moveTo>
                <a:cubicBezTo>
                  <a:pt x="1292758" y="877341"/>
                  <a:pt x="1291384" y="878104"/>
                  <a:pt x="1291934" y="879194"/>
                </a:cubicBezTo>
                <a:cubicBezTo>
                  <a:pt x="1290834" y="879085"/>
                  <a:pt x="1290560" y="879085"/>
                  <a:pt x="1290286" y="878758"/>
                </a:cubicBezTo>
                <a:cubicBezTo>
                  <a:pt x="1290286" y="878540"/>
                  <a:pt x="1290286" y="877995"/>
                  <a:pt x="1290834" y="877015"/>
                </a:cubicBezTo>
                <a:close/>
                <a:moveTo>
                  <a:pt x="2197053" y="876361"/>
                </a:moveTo>
                <a:cubicBezTo>
                  <a:pt x="2199251" y="876687"/>
                  <a:pt x="2201723" y="877777"/>
                  <a:pt x="2203096" y="879739"/>
                </a:cubicBezTo>
                <a:cubicBezTo>
                  <a:pt x="2205294" y="882354"/>
                  <a:pt x="2205844" y="886604"/>
                  <a:pt x="2203920" y="892380"/>
                </a:cubicBezTo>
                <a:cubicBezTo>
                  <a:pt x="2197602" y="895758"/>
                  <a:pt x="2193757" y="893905"/>
                  <a:pt x="2188538" y="894668"/>
                </a:cubicBezTo>
                <a:cubicBezTo>
                  <a:pt x="2181945" y="881809"/>
                  <a:pt x="2190186" y="875488"/>
                  <a:pt x="2197053" y="876361"/>
                </a:cubicBezTo>
                <a:close/>
                <a:moveTo>
                  <a:pt x="1693813" y="876361"/>
                </a:moveTo>
                <a:cubicBezTo>
                  <a:pt x="1699307" y="881483"/>
                  <a:pt x="1700680" y="883117"/>
                  <a:pt x="1697658" y="889982"/>
                </a:cubicBezTo>
                <a:cubicBezTo>
                  <a:pt x="1697658" y="889982"/>
                  <a:pt x="1696285" y="891399"/>
                  <a:pt x="1696285" y="891399"/>
                </a:cubicBezTo>
                <a:cubicBezTo>
                  <a:pt x="1694087" y="894014"/>
                  <a:pt x="1690790" y="895758"/>
                  <a:pt x="1687769" y="896738"/>
                </a:cubicBezTo>
                <a:cubicBezTo>
                  <a:pt x="1684747" y="897610"/>
                  <a:pt x="1681725" y="897610"/>
                  <a:pt x="1680352" y="896738"/>
                </a:cubicBezTo>
                <a:cubicBezTo>
                  <a:pt x="1677606" y="893469"/>
                  <a:pt x="1676232" y="887476"/>
                  <a:pt x="1680627" y="883553"/>
                </a:cubicBezTo>
                <a:cubicBezTo>
                  <a:pt x="1683649" y="879521"/>
                  <a:pt x="1689417" y="880284"/>
                  <a:pt x="1693813" y="876361"/>
                </a:cubicBezTo>
                <a:close/>
                <a:moveTo>
                  <a:pt x="2813846" y="876293"/>
                </a:moveTo>
                <a:cubicBezTo>
                  <a:pt x="2817589" y="876633"/>
                  <a:pt x="2821023" y="878213"/>
                  <a:pt x="2820336" y="881700"/>
                </a:cubicBezTo>
                <a:cubicBezTo>
                  <a:pt x="2819787" y="883225"/>
                  <a:pt x="2818688" y="883879"/>
                  <a:pt x="2817039" y="884098"/>
                </a:cubicBezTo>
                <a:cubicBezTo>
                  <a:pt x="2812919" y="884752"/>
                  <a:pt x="2806052" y="880720"/>
                  <a:pt x="2805502" y="878322"/>
                </a:cubicBezTo>
                <a:cubicBezTo>
                  <a:pt x="2806052" y="876851"/>
                  <a:pt x="2810104" y="875952"/>
                  <a:pt x="2813846" y="876293"/>
                </a:cubicBezTo>
                <a:close/>
                <a:moveTo>
                  <a:pt x="1188099" y="875707"/>
                </a:moveTo>
                <a:cubicBezTo>
                  <a:pt x="1189198" y="879630"/>
                  <a:pt x="1189748" y="881483"/>
                  <a:pt x="1191670" y="883989"/>
                </a:cubicBezTo>
                <a:cubicBezTo>
                  <a:pt x="1182880" y="887040"/>
                  <a:pt x="1178210" y="892380"/>
                  <a:pt x="1173540" y="891835"/>
                </a:cubicBezTo>
                <a:cubicBezTo>
                  <a:pt x="1171892" y="891616"/>
                  <a:pt x="1170244" y="890745"/>
                  <a:pt x="1168596" y="888892"/>
                </a:cubicBezTo>
                <a:cubicBezTo>
                  <a:pt x="1169969" y="883117"/>
                  <a:pt x="1179583" y="879739"/>
                  <a:pt x="1188099" y="875707"/>
                </a:cubicBezTo>
                <a:close/>
                <a:moveTo>
                  <a:pt x="2017403" y="874399"/>
                </a:moveTo>
                <a:cubicBezTo>
                  <a:pt x="2015755" y="877560"/>
                  <a:pt x="2014107" y="879194"/>
                  <a:pt x="2012183" y="879739"/>
                </a:cubicBezTo>
                <a:cubicBezTo>
                  <a:pt x="2010261" y="880284"/>
                  <a:pt x="2008063" y="879739"/>
                  <a:pt x="2005591" y="878758"/>
                </a:cubicBezTo>
                <a:cubicBezTo>
                  <a:pt x="2008338" y="874290"/>
                  <a:pt x="2011359" y="874399"/>
                  <a:pt x="2017403" y="874399"/>
                </a:cubicBezTo>
                <a:close/>
                <a:moveTo>
                  <a:pt x="2512403" y="874072"/>
                </a:moveTo>
                <a:cubicBezTo>
                  <a:pt x="2514326" y="874726"/>
                  <a:pt x="2514601" y="879521"/>
                  <a:pt x="2516249" y="880175"/>
                </a:cubicBezTo>
                <a:cubicBezTo>
                  <a:pt x="2516249" y="880175"/>
                  <a:pt x="2516249" y="880175"/>
                  <a:pt x="2514326" y="882899"/>
                </a:cubicBezTo>
                <a:cubicBezTo>
                  <a:pt x="2512952" y="883553"/>
                  <a:pt x="2511579" y="884316"/>
                  <a:pt x="2509656" y="883553"/>
                </a:cubicBezTo>
                <a:cubicBezTo>
                  <a:pt x="2507733" y="882899"/>
                  <a:pt x="2506634" y="880175"/>
                  <a:pt x="2506085" y="878758"/>
                </a:cubicBezTo>
                <a:cubicBezTo>
                  <a:pt x="2507458" y="878104"/>
                  <a:pt x="2506909" y="876687"/>
                  <a:pt x="2508282" y="876033"/>
                </a:cubicBezTo>
                <a:cubicBezTo>
                  <a:pt x="2510480" y="873309"/>
                  <a:pt x="2510480" y="873418"/>
                  <a:pt x="2512403" y="874072"/>
                </a:cubicBezTo>
                <a:close/>
                <a:moveTo>
                  <a:pt x="2146784" y="873527"/>
                </a:moveTo>
                <a:cubicBezTo>
                  <a:pt x="2149806" y="877668"/>
                  <a:pt x="2147608" y="880393"/>
                  <a:pt x="2144862" y="881046"/>
                </a:cubicBezTo>
                <a:cubicBezTo>
                  <a:pt x="2141839" y="881809"/>
                  <a:pt x="2138543" y="880501"/>
                  <a:pt x="2139093" y="876470"/>
                </a:cubicBezTo>
                <a:cubicBezTo>
                  <a:pt x="2141016" y="875707"/>
                  <a:pt x="2143487" y="873637"/>
                  <a:pt x="2146784" y="873527"/>
                </a:cubicBezTo>
                <a:close/>
                <a:moveTo>
                  <a:pt x="2239631" y="873092"/>
                </a:moveTo>
                <a:cubicBezTo>
                  <a:pt x="2240729" y="873527"/>
                  <a:pt x="2242653" y="874508"/>
                  <a:pt x="2246223" y="874944"/>
                </a:cubicBezTo>
                <a:cubicBezTo>
                  <a:pt x="2250619" y="876796"/>
                  <a:pt x="2253641" y="875925"/>
                  <a:pt x="2251717" y="879739"/>
                </a:cubicBezTo>
                <a:cubicBezTo>
                  <a:pt x="2249520" y="883662"/>
                  <a:pt x="2249520" y="883553"/>
                  <a:pt x="2239905" y="886495"/>
                </a:cubicBezTo>
                <a:cubicBezTo>
                  <a:pt x="2242103" y="882681"/>
                  <a:pt x="2242103" y="882790"/>
                  <a:pt x="2237983" y="880829"/>
                </a:cubicBezTo>
                <a:cubicBezTo>
                  <a:pt x="2237983" y="880829"/>
                  <a:pt x="2237983" y="880829"/>
                  <a:pt x="2234686" y="881809"/>
                </a:cubicBezTo>
                <a:cubicBezTo>
                  <a:pt x="2233862" y="878976"/>
                  <a:pt x="2236884" y="877886"/>
                  <a:pt x="2235785" y="875053"/>
                </a:cubicBezTo>
                <a:cubicBezTo>
                  <a:pt x="2235785" y="875053"/>
                  <a:pt x="2239082" y="874072"/>
                  <a:pt x="2239082" y="874072"/>
                </a:cubicBezTo>
                <a:cubicBezTo>
                  <a:pt x="2238532" y="872655"/>
                  <a:pt x="2238532" y="872655"/>
                  <a:pt x="2239631" y="873092"/>
                </a:cubicBezTo>
                <a:close/>
                <a:moveTo>
                  <a:pt x="4476197" y="872983"/>
                </a:moveTo>
                <a:cubicBezTo>
                  <a:pt x="4476746" y="879194"/>
                  <a:pt x="4486635" y="875162"/>
                  <a:pt x="4487734" y="887585"/>
                </a:cubicBezTo>
                <a:cubicBezTo>
                  <a:pt x="4488558" y="893905"/>
                  <a:pt x="4486086" y="903604"/>
                  <a:pt x="4475922" y="904584"/>
                </a:cubicBezTo>
                <a:cubicBezTo>
                  <a:pt x="4469329" y="905238"/>
                  <a:pt x="4465758" y="902296"/>
                  <a:pt x="4462462" y="902623"/>
                </a:cubicBezTo>
                <a:cubicBezTo>
                  <a:pt x="4458341" y="896629"/>
                  <a:pt x="4454771" y="893905"/>
                  <a:pt x="4453947" y="887585"/>
                </a:cubicBezTo>
                <a:cubicBezTo>
                  <a:pt x="4458616" y="882463"/>
                  <a:pt x="4460814" y="879085"/>
                  <a:pt x="4463560" y="876905"/>
                </a:cubicBezTo>
                <a:cubicBezTo>
                  <a:pt x="4466033" y="874726"/>
                  <a:pt x="4469329" y="873637"/>
                  <a:pt x="4476197" y="872983"/>
                </a:cubicBezTo>
                <a:close/>
                <a:moveTo>
                  <a:pt x="4341871" y="872873"/>
                </a:moveTo>
                <a:lnTo>
                  <a:pt x="4341322" y="873527"/>
                </a:lnTo>
                <a:lnTo>
                  <a:pt x="4342145" y="874072"/>
                </a:lnTo>
                <a:close/>
                <a:moveTo>
                  <a:pt x="1997900" y="872438"/>
                </a:moveTo>
                <a:cubicBezTo>
                  <a:pt x="2013282" y="887693"/>
                  <a:pt x="2009162" y="894777"/>
                  <a:pt x="2000921" y="896629"/>
                </a:cubicBezTo>
                <a:cubicBezTo>
                  <a:pt x="1998998" y="897066"/>
                  <a:pt x="1996526" y="897066"/>
                  <a:pt x="1994328" y="896957"/>
                </a:cubicBezTo>
                <a:cubicBezTo>
                  <a:pt x="1987461" y="896302"/>
                  <a:pt x="1980319" y="893143"/>
                  <a:pt x="1979769" y="888238"/>
                </a:cubicBezTo>
                <a:cubicBezTo>
                  <a:pt x="1979220" y="883989"/>
                  <a:pt x="1983615" y="878431"/>
                  <a:pt x="1997900" y="872438"/>
                </a:cubicBezTo>
                <a:close/>
                <a:moveTo>
                  <a:pt x="2359398" y="871348"/>
                </a:moveTo>
                <a:cubicBezTo>
                  <a:pt x="2360496" y="870694"/>
                  <a:pt x="2361871" y="870803"/>
                  <a:pt x="2363518" y="871348"/>
                </a:cubicBezTo>
                <a:cubicBezTo>
                  <a:pt x="2368738" y="872983"/>
                  <a:pt x="2375605" y="878758"/>
                  <a:pt x="2378627" y="882354"/>
                </a:cubicBezTo>
                <a:cubicBezTo>
                  <a:pt x="2377802" y="883008"/>
                  <a:pt x="2376154" y="882790"/>
                  <a:pt x="2374506" y="882245"/>
                </a:cubicBezTo>
                <a:cubicBezTo>
                  <a:pt x="2369287" y="880610"/>
                  <a:pt x="2362420" y="874944"/>
                  <a:pt x="2359398" y="871348"/>
                </a:cubicBezTo>
                <a:close/>
                <a:moveTo>
                  <a:pt x="1702603" y="870585"/>
                </a:moveTo>
                <a:cubicBezTo>
                  <a:pt x="1708371" y="869277"/>
                  <a:pt x="1730896" y="870912"/>
                  <a:pt x="1722930" y="882790"/>
                </a:cubicBezTo>
                <a:lnTo>
                  <a:pt x="1724304" y="886713"/>
                </a:lnTo>
                <a:cubicBezTo>
                  <a:pt x="1724304" y="888675"/>
                  <a:pt x="1722930" y="890527"/>
                  <a:pt x="1721007" y="892598"/>
                </a:cubicBezTo>
                <a:cubicBezTo>
                  <a:pt x="1719359" y="890309"/>
                  <a:pt x="1719084" y="888456"/>
                  <a:pt x="1719359" y="886495"/>
                </a:cubicBezTo>
                <a:lnTo>
                  <a:pt x="1720732" y="882354"/>
                </a:lnTo>
                <a:lnTo>
                  <a:pt x="1711118" y="880393"/>
                </a:lnTo>
                <a:cubicBezTo>
                  <a:pt x="1707273" y="879956"/>
                  <a:pt x="1704251" y="879412"/>
                  <a:pt x="1702877" y="877232"/>
                </a:cubicBezTo>
                <a:cubicBezTo>
                  <a:pt x="1702053" y="875816"/>
                  <a:pt x="1701778" y="873745"/>
                  <a:pt x="1702603" y="870585"/>
                </a:cubicBezTo>
                <a:close/>
                <a:moveTo>
                  <a:pt x="1480581" y="869182"/>
                </a:moveTo>
                <a:cubicBezTo>
                  <a:pt x="1483053" y="868596"/>
                  <a:pt x="1484907" y="869005"/>
                  <a:pt x="1486143" y="870040"/>
                </a:cubicBezTo>
                <a:cubicBezTo>
                  <a:pt x="1491088" y="873854"/>
                  <a:pt x="1488615" y="886277"/>
                  <a:pt x="1483397" y="887693"/>
                </a:cubicBezTo>
                <a:cubicBezTo>
                  <a:pt x="1480100" y="888566"/>
                  <a:pt x="1475705" y="885514"/>
                  <a:pt x="1471310" y="874290"/>
                </a:cubicBezTo>
                <a:cubicBezTo>
                  <a:pt x="1475018" y="871348"/>
                  <a:pt x="1478108" y="869768"/>
                  <a:pt x="1480581" y="869182"/>
                </a:cubicBezTo>
                <a:close/>
                <a:moveTo>
                  <a:pt x="2752486" y="867534"/>
                </a:moveTo>
                <a:cubicBezTo>
                  <a:pt x="2757156" y="873418"/>
                  <a:pt x="2752761" y="878976"/>
                  <a:pt x="2753311" y="884207"/>
                </a:cubicBezTo>
                <a:cubicBezTo>
                  <a:pt x="2741224" y="885514"/>
                  <a:pt x="2737378" y="872219"/>
                  <a:pt x="2743147" y="867970"/>
                </a:cubicBezTo>
                <a:cubicBezTo>
                  <a:pt x="2745069" y="866553"/>
                  <a:pt x="2748366" y="866117"/>
                  <a:pt x="2752486" y="867534"/>
                </a:cubicBezTo>
                <a:close/>
                <a:moveTo>
                  <a:pt x="2035533" y="864373"/>
                </a:moveTo>
                <a:cubicBezTo>
                  <a:pt x="2035533" y="864373"/>
                  <a:pt x="2036082" y="865790"/>
                  <a:pt x="2036082" y="865790"/>
                </a:cubicBezTo>
                <a:cubicBezTo>
                  <a:pt x="2035258" y="868296"/>
                  <a:pt x="2034159" y="869277"/>
                  <a:pt x="2033060" y="869495"/>
                </a:cubicBezTo>
                <a:cubicBezTo>
                  <a:pt x="2031962" y="869713"/>
                  <a:pt x="2030863" y="869060"/>
                  <a:pt x="2028940" y="868296"/>
                </a:cubicBezTo>
                <a:cubicBezTo>
                  <a:pt x="2029489" y="866662"/>
                  <a:pt x="2029764" y="865355"/>
                  <a:pt x="2030863" y="864701"/>
                </a:cubicBezTo>
                <a:cubicBezTo>
                  <a:pt x="2031687" y="863938"/>
                  <a:pt x="2033060" y="863719"/>
                  <a:pt x="2035533" y="864373"/>
                </a:cubicBezTo>
                <a:close/>
                <a:moveTo>
                  <a:pt x="2050915" y="860124"/>
                </a:moveTo>
                <a:cubicBezTo>
                  <a:pt x="2052289" y="859579"/>
                  <a:pt x="2052014" y="864373"/>
                  <a:pt x="2052014" y="864373"/>
                </a:cubicBezTo>
                <a:cubicBezTo>
                  <a:pt x="2050915" y="866226"/>
                  <a:pt x="2045971" y="865027"/>
                  <a:pt x="2044597" y="865572"/>
                </a:cubicBezTo>
                <a:cubicBezTo>
                  <a:pt x="2044323" y="864156"/>
                  <a:pt x="2045421" y="862194"/>
                  <a:pt x="2044872" y="860778"/>
                </a:cubicBezTo>
                <a:cubicBezTo>
                  <a:pt x="2046520" y="860233"/>
                  <a:pt x="2049267" y="859143"/>
                  <a:pt x="2050915" y="860124"/>
                </a:cubicBezTo>
                <a:close/>
                <a:moveTo>
                  <a:pt x="1122550" y="860001"/>
                </a:moveTo>
                <a:cubicBezTo>
                  <a:pt x="1124507" y="859579"/>
                  <a:pt x="1126567" y="860287"/>
                  <a:pt x="1128490" y="862848"/>
                </a:cubicBezTo>
                <a:cubicBezTo>
                  <a:pt x="1129590" y="864482"/>
                  <a:pt x="1130963" y="866226"/>
                  <a:pt x="1129590" y="866008"/>
                </a:cubicBezTo>
                <a:cubicBezTo>
                  <a:pt x="1129590" y="867425"/>
                  <a:pt x="1128215" y="867207"/>
                  <a:pt x="1126568" y="868406"/>
                </a:cubicBezTo>
                <a:cubicBezTo>
                  <a:pt x="1125194" y="868841"/>
                  <a:pt x="1123546" y="868950"/>
                  <a:pt x="1121898" y="868732"/>
                </a:cubicBezTo>
                <a:cubicBezTo>
                  <a:pt x="1120524" y="868406"/>
                  <a:pt x="1118877" y="867970"/>
                  <a:pt x="1118327" y="867098"/>
                </a:cubicBezTo>
                <a:cubicBezTo>
                  <a:pt x="1116953" y="865355"/>
                  <a:pt x="1117228" y="863938"/>
                  <a:pt x="1117228" y="863938"/>
                </a:cubicBezTo>
                <a:cubicBezTo>
                  <a:pt x="1118739" y="861976"/>
                  <a:pt x="1120593" y="860423"/>
                  <a:pt x="1122550" y="860001"/>
                </a:cubicBezTo>
                <a:close/>
                <a:moveTo>
                  <a:pt x="2228643" y="859688"/>
                </a:moveTo>
                <a:cubicBezTo>
                  <a:pt x="2230016" y="861323"/>
                  <a:pt x="2234412" y="861976"/>
                  <a:pt x="2237159" y="863938"/>
                </a:cubicBezTo>
                <a:cubicBezTo>
                  <a:pt x="2237159" y="865355"/>
                  <a:pt x="2238532" y="866989"/>
                  <a:pt x="2238532" y="868406"/>
                </a:cubicBezTo>
                <a:cubicBezTo>
                  <a:pt x="2237708" y="868296"/>
                  <a:pt x="2236609" y="868406"/>
                  <a:pt x="2235510" y="868406"/>
                </a:cubicBezTo>
                <a:cubicBezTo>
                  <a:pt x="2234686" y="868406"/>
                  <a:pt x="2233862" y="868296"/>
                  <a:pt x="2233862" y="867642"/>
                </a:cubicBezTo>
                <a:cubicBezTo>
                  <a:pt x="2232489" y="867425"/>
                  <a:pt x="2232764" y="864592"/>
                  <a:pt x="2232764" y="864592"/>
                </a:cubicBezTo>
                <a:cubicBezTo>
                  <a:pt x="2231390" y="864373"/>
                  <a:pt x="2229742" y="864156"/>
                  <a:pt x="2228368" y="862521"/>
                </a:cubicBezTo>
                <a:cubicBezTo>
                  <a:pt x="2230016" y="861323"/>
                  <a:pt x="2228643" y="861104"/>
                  <a:pt x="2228643" y="859688"/>
                </a:cubicBezTo>
                <a:close/>
                <a:moveTo>
                  <a:pt x="1719908" y="859143"/>
                </a:moveTo>
                <a:cubicBezTo>
                  <a:pt x="1719908" y="859143"/>
                  <a:pt x="1721283" y="859360"/>
                  <a:pt x="1721283" y="859360"/>
                </a:cubicBezTo>
                <a:lnTo>
                  <a:pt x="1722930" y="861976"/>
                </a:lnTo>
                <a:lnTo>
                  <a:pt x="1723205" y="861867"/>
                </a:lnTo>
                <a:cubicBezTo>
                  <a:pt x="1725402" y="862521"/>
                  <a:pt x="1727326" y="864373"/>
                  <a:pt x="1728424" y="866662"/>
                </a:cubicBezTo>
                <a:cubicBezTo>
                  <a:pt x="1726776" y="869713"/>
                  <a:pt x="1724578" y="871239"/>
                  <a:pt x="1722656" y="871565"/>
                </a:cubicBezTo>
                <a:cubicBezTo>
                  <a:pt x="1720457" y="871893"/>
                  <a:pt x="1718535" y="870912"/>
                  <a:pt x="1716887" y="868841"/>
                </a:cubicBezTo>
                <a:cubicBezTo>
                  <a:pt x="1716063" y="867425"/>
                  <a:pt x="1715239" y="865572"/>
                  <a:pt x="1714964" y="863284"/>
                </a:cubicBezTo>
                <a:lnTo>
                  <a:pt x="1718535" y="862630"/>
                </a:lnTo>
                <a:close/>
                <a:moveTo>
                  <a:pt x="4455869" y="858489"/>
                </a:moveTo>
                <a:cubicBezTo>
                  <a:pt x="4458891" y="858380"/>
                  <a:pt x="4465758" y="871893"/>
                  <a:pt x="4458891" y="873418"/>
                </a:cubicBezTo>
                <a:cubicBezTo>
                  <a:pt x="4457242" y="873418"/>
                  <a:pt x="4456144" y="872547"/>
                  <a:pt x="4455320" y="871348"/>
                </a:cubicBezTo>
                <a:cubicBezTo>
                  <a:pt x="4453122" y="867642"/>
                  <a:pt x="4453947" y="860015"/>
                  <a:pt x="4455869" y="858489"/>
                </a:cubicBezTo>
                <a:close/>
                <a:moveTo>
                  <a:pt x="4419060" y="857181"/>
                </a:moveTo>
                <a:cubicBezTo>
                  <a:pt x="4433344" y="862303"/>
                  <a:pt x="4442684" y="881809"/>
                  <a:pt x="4440486" y="891944"/>
                </a:cubicBezTo>
                <a:cubicBezTo>
                  <a:pt x="4425927" y="886822"/>
                  <a:pt x="4419609" y="867534"/>
                  <a:pt x="4419060" y="857181"/>
                </a:cubicBezTo>
                <a:close/>
                <a:moveTo>
                  <a:pt x="1305943" y="856419"/>
                </a:moveTo>
                <a:cubicBezTo>
                  <a:pt x="1307042" y="859143"/>
                  <a:pt x="1312810" y="857944"/>
                  <a:pt x="1311162" y="861976"/>
                </a:cubicBezTo>
                <a:cubicBezTo>
                  <a:pt x="1309514" y="861213"/>
                  <a:pt x="1307042" y="859251"/>
                  <a:pt x="1305119" y="858598"/>
                </a:cubicBezTo>
                <a:cubicBezTo>
                  <a:pt x="1305119" y="858598"/>
                  <a:pt x="1305119" y="858489"/>
                  <a:pt x="1305943" y="856419"/>
                </a:cubicBezTo>
                <a:close/>
                <a:moveTo>
                  <a:pt x="2506085" y="856091"/>
                </a:moveTo>
                <a:cubicBezTo>
                  <a:pt x="2512677" y="858271"/>
                  <a:pt x="2514601" y="859143"/>
                  <a:pt x="2513501" y="867098"/>
                </a:cubicBezTo>
                <a:cubicBezTo>
                  <a:pt x="2513501" y="867098"/>
                  <a:pt x="2512677" y="869060"/>
                  <a:pt x="2512677" y="869060"/>
                </a:cubicBezTo>
                <a:cubicBezTo>
                  <a:pt x="2509931" y="876142"/>
                  <a:pt x="2502239" y="881918"/>
                  <a:pt x="2499218" y="881483"/>
                </a:cubicBezTo>
                <a:cubicBezTo>
                  <a:pt x="2497570" y="880610"/>
                  <a:pt x="2495921" y="878867"/>
                  <a:pt x="2495097" y="876687"/>
                </a:cubicBezTo>
                <a:cubicBezTo>
                  <a:pt x="2494548" y="874508"/>
                  <a:pt x="2494548" y="871784"/>
                  <a:pt x="2495921" y="868950"/>
                </a:cubicBezTo>
                <a:cubicBezTo>
                  <a:pt x="2497570" y="863719"/>
                  <a:pt x="2503063" y="861758"/>
                  <a:pt x="2506085" y="856091"/>
                </a:cubicBezTo>
                <a:close/>
                <a:moveTo>
                  <a:pt x="6266657" y="855111"/>
                </a:moveTo>
                <a:cubicBezTo>
                  <a:pt x="6269405" y="856636"/>
                  <a:pt x="6269679" y="858707"/>
                  <a:pt x="6269679" y="858707"/>
                </a:cubicBezTo>
                <a:cubicBezTo>
                  <a:pt x="6267757" y="863828"/>
                  <a:pt x="6264460" y="868079"/>
                  <a:pt x="6259515" y="868079"/>
                </a:cubicBezTo>
                <a:cubicBezTo>
                  <a:pt x="6258142" y="868079"/>
                  <a:pt x="6256219" y="867534"/>
                  <a:pt x="6254296" y="866444"/>
                </a:cubicBezTo>
                <a:cubicBezTo>
                  <a:pt x="6251824" y="864918"/>
                  <a:pt x="6249077" y="863393"/>
                  <a:pt x="6251000" y="862957"/>
                </a:cubicBezTo>
                <a:cubicBezTo>
                  <a:pt x="6250725" y="860995"/>
                  <a:pt x="6252649" y="860450"/>
                  <a:pt x="6254296" y="858053"/>
                </a:cubicBezTo>
                <a:cubicBezTo>
                  <a:pt x="6257868" y="855111"/>
                  <a:pt x="6264186" y="853694"/>
                  <a:pt x="6266657" y="855111"/>
                </a:cubicBezTo>
                <a:close/>
                <a:moveTo>
                  <a:pt x="2353080" y="853149"/>
                </a:moveTo>
                <a:cubicBezTo>
                  <a:pt x="2354728" y="851951"/>
                  <a:pt x="2357475" y="852387"/>
                  <a:pt x="2361596" y="854457"/>
                </a:cubicBezTo>
                <a:cubicBezTo>
                  <a:pt x="2362694" y="857617"/>
                  <a:pt x="2358299" y="861323"/>
                  <a:pt x="2356651" y="864047"/>
                </a:cubicBezTo>
                <a:cubicBezTo>
                  <a:pt x="2355277" y="862303"/>
                  <a:pt x="2353904" y="860668"/>
                  <a:pt x="2353904" y="862194"/>
                </a:cubicBezTo>
                <a:cubicBezTo>
                  <a:pt x="2352531" y="860450"/>
                  <a:pt x="2351981" y="858816"/>
                  <a:pt x="2351981" y="857290"/>
                </a:cubicBezTo>
                <a:cubicBezTo>
                  <a:pt x="2351981" y="855873"/>
                  <a:pt x="2352256" y="854566"/>
                  <a:pt x="2353080" y="853149"/>
                </a:cubicBezTo>
                <a:close/>
                <a:moveTo>
                  <a:pt x="1294131" y="852604"/>
                </a:moveTo>
                <a:cubicBezTo>
                  <a:pt x="1296603" y="854348"/>
                  <a:pt x="1298252" y="857181"/>
                  <a:pt x="1298801" y="862630"/>
                </a:cubicBezTo>
                <a:cubicBezTo>
                  <a:pt x="1297428" y="863719"/>
                  <a:pt x="1296054" y="864373"/>
                  <a:pt x="1294956" y="864592"/>
                </a:cubicBezTo>
                <a:cubicBezTo>
                  <a:pt x="1291384" y="865245"/>
                  <a:pt x="1288912" y="862412"/>
                  <a:pt x="1286715" y="859688"/>
                </a:cubicBezTo>
                <a:cubicBezTo>
                  <a:pt x="1291384" y="857617"/>
                  <a:pt x="1287539" y="851842"/>
                  <a:pt x="1294131" y="852604"/>
                </a:cubicBezTo>
                <a:close/>
                <a:moveTo>
                  <a:pt x="2676395" y="851951"/>
                </a:moveTo>
                <a:cubicBezTo>
                  <a:pt x="2680241" y="859034"/>
                  <a:pt x="2686284" y="861867"/>
                  <a:pt x="2692878" y="863828"/>
                </a:cubicBezTo>
                <a:lnTo>
                  <a:pt x="2700020" y="865572"/>
                </a:lnTo>
                <a:lnTo>
                  <a:pt x="2700569" y="864156"/>
                </a:lnTo>
                <a:cubicBezTo>
                  <a:pt x="2700844" y="863611"/>
                  <a:pt x="2700844" y="863611"/>
                  <a:pt x="2700020" y="863938"/>
                </a:cubicBezTo>
                <a:cubicBezTo>
                  <a:pt x="2701942" y="860124"/>
                  <a:pt x="2703865" y="855111"/>
                  <a:pt x="2706887" y="855438"/>
                </a:cubicBezTo>
                <a:cubicBezTo>
                  <a:pt x="2711831" y="857399"/>
                  <a:pt x="2712381" y="863066"/>
                  <a:pt x="2711831" y="868950"/>
                </a:cubicBezTo>
                <a:lnTo>
                  <a:pt x="2711831" y="869713"/>
                </a:lnTo>
                <a:lnTo>
                  <a:pt x="2716227" y="873200"/>
                </a:lnTo>
                <a:cubicBezTo>
                  <a:pt x="2717875" y="874726"/>
                  <a:pt x="2718973" y="876687"/>
                  <a:pt x="2720072" y="878976"/>
                </a:cubicBezTo>
                <a:lnTo>
                  <a:pt x="2721446" y="886931"/>
                </a:lnTo>
                <a:lnTo>
                  <a:pt x="2724742" y="888021"/>
                </a:lnTo>
                <a:cubicBezTo>
                  <a:pt x="2726940" y="903822"/>
                  <a:pt x="2722819" y="908943"/>
                  <a:pt x="2717600" y="908726"/>
                </a:cubicBezTo>
                <a:lnTo>
                  <a:pt x="2716501" y="908398"/>
                </a:lnTo>
                <a:lnTo>
                  <a:pt x="2711282" y="915482"/>
                </a:lnTo>
                <a:cubicBezTo>
                  <a:pt x="2704690" y="921584"/>
                  <a:pt x="2696448" y="925508"/>
                  <a:pt x="2688483" y="926379"/>
                </a:cubicBezTo>
                <a:cubicBezTo>
                  <a:pt x="2676671" y="927469"/>
                  <a:pt x="2665134" y="921257"/>
                  <a:pt x="2661562" y="903604"/>
                </a:cubicBezTo>
                <a:lnTo>
                  <a:pt x="2661837" y="896847"/>
                </a:lnTo>
                <a:lnTo>
                  <a:pt x="2661562" y="896629"/>
                </a:lnTo>
                <a:lnTo>
                  <a:pt x="2662112" y="893797"/>
                </a:lnTo>
                <a:lnTo>
                  <a:pt x="2662112" y="891725"/>
                </a:lnTo>
                <a:cubicBezTo>
                  <a:pt x="2664858" y="879848"/>
                  <a:pt x="2672550" y="867861"/>
                  <a:pt x="2676395" y="851951"/>
                </a:cubicBezTo>
                <a:close/>
                <a:moveTo>
                  <a:pt x="2581523" y="851821"/>
                </a:moveTo>
                <a:cubicBezTo>
                  <a:pt x="2598777" y="854600"/>
                  <a:pt x="2615413" y="866880"/>
                  <a:pt x="2631895" y="875053"/>
                </a:cubicBezTo>
                <a:cubicBezTo>
                  <a:pt x="2628325" y="879194"/>
                  <a:pt x="2629148" y="883662"/>
                  <a:pt x="2622556" y="889001"/>
                </a:cubicBezTo>
                <a:lnTo>
                  <a:pt x="2599481" y="874944"/>
                </a:lnTo>
                <a:lnTo>
                  <a:pt x="2595360" y="882136"/>
                </a:lnTo>
                <a:lnTo>
                  <a:pt x="2586571" y="886168"/>
                </a:lnTo>
                <a:lnTo>
                  <a:pt x="2591515" y="890091"/>
                </a:lnTo>
                <a:lnTo>
                  <a:pt x="2591790" y="893469"/>
                </a:lnTo>
                <a:lnTo>
                  <a:pt x="2596734" y="894668"/>
                </a:lnTo>
                <a:cubicBezTo>
                  <a:pt x="2600305" y="894995"/>
                  <a:pt x="2603602" y="895213"/>
                  <a:pt x="2606898" y="896629"/>
                </a:cubicBezTo>
                <a:cubicBezTo>
                  <a:pt x="2604151" y="898918"/>
                  <a:pt x="2600030" y="902078"/>
                  <a:pt x="2595636" y="903059"/>
                </a:cubicBezTo>
                <a:lnTo>
                  <a:pt x="2589042" y="902623"/>
                </a:lnTo>
                <a:lnTo>
                  <a:pt x="2588218" y="904040"/>
                </a:lnTo>
                <a:lnTo>
                  <a:pt x="2590141" y="905238"/>
                </a:lnTo>
                <a:cubicBezTo>
                  <a:pt x="2591515" y="905457"/>
                  <a:pt x="2591515" y="906873"/>
                  <a:pt x="2592888" y="907091"/>
                </a:cubicBezTo>
                <a:cubicBezTo>
                  <a:pt x="2592888" y="907091"/>
                  <a:pt x="2594536" y="907309"/>
                  <a:pt x="2595910" y="908943"/>
                </a:cubicBezTo>
                <a:cubicBezTo>
                  <a:pt x="2597284" y="910578"/>
                  <a:pt x="2598657" y="912212"/>
                  <a:pt x="2597284" y="915046"/>
                </a:cubicBezTo>
                <a:lnTo>
                  <a:pt x="2587395" y="910687"/>
                </a:lnTo>
                <a:lnTo>
                  <a:pt x="2589867" y="914065"/>
                </a:lnTo>
                <a:cubicBezTo>
                  <a:pt x="2590691" y="916572"/>
                  <a:pt x="2590966" y="919078"/>
                  <a:pt x="2589867" y="920821"/>
                </a:cubicBezTo>
                <a:cubicBezTo>
                  <a:pt x="2585472" y="922892"/>
                  <a:pt x="2583823" y="920168"/>
                  <a:pt x="2581351" y="921693"/>
                </a:cubicBezTo>
                <a:cubicBezTo>
                  <a:pt x="2579978" y="918315"/>
                  <a:pt x="2579703" y="915809"/>
                  <a:pt x="2580527" y="913629"/>
                </a:cubicBezTo>
                <a:lnTo>
                  <a:pt x="2584372" y="909380"/>
                </a:lnTo>
                <a:lnTo>
                  <a:pt x="2583274" y="908835"/>
                </a:lnTo>
                <a:cubicBezTo>
                  <a:pt x="2579428" y="907200"/>
                  <a:pt x="2575857" y="905674"/>
                  <a:pt x="2571462" y="902950"/>
                </a:cubicBezTo>
                <a:cubicBezTo>
                  <a:pt x="2571462" y="901425"/>
                  <a:pt x="2572836" y="901642"/>
                  <a:pt x="2573110" y="900226"/>
                </a:cubicBezTo>
                <a:cubicBezTo>
                  <a:pt x="2573660" y="899572"/>
                  <a:pt x="2575308" y="899463"/>
                  <a:pt x="2576956" y="899681"/>
                </a:cubicBezTo>
                <a:lnTo>
                  <a:pt x="2578879" y="900226"/>
                </a:lnTo>
                <a:lnTo>
                  <a:pt x="2573660" y="894886"/>
                </a:lnTo>
                <a:cubicBezTo>
                  <a:pt x="2574210" y="891290"/>
                  <a:pt x="2577231" y="887912"/>
                  <a:pt x="2580802" y="886495"/>
                </a:cubicBezTo>
                <a:lnTo>
                  <a:pt x="2576956" y="886168"/>
                </a:lnTo>
                <a:cubicBezTo>
                  <a:pt x="2571462" y="881264"/>
                  <a:pt x="2572836" y="874181"/>
                  <a:pt x="2573934" y="867207"/>
                </a:cubicBezTo>
                <a:cubicBezTo>
                  <a:pt x="2574759" y="864373"/>
                  <a:pt x="2575857" y="862412"/>
                  <a:pt x="2577231" y="860995"/>
                </a:cubicBezTo>
                <a:lnTo>
                  <a:pt x="2564046" y="852713"/>
                </a:lnTo>
                <a:cubicBezTo>
                  <a:pt x="2569952" y="851024"/>
                  <a:pt x="2575772" y="850895"/>
                  <a:pt x="2581523" y="851821"/>
                </a:cubicBezTo>
                <a:close/>
                <a:moveTo>
                  <a:pt x="1553993" y="851514"/>
                </a:moveTo>
                <a:cubicBezTo>
                  <a:pt x="1553993" y="850207"/>
                  <a:pt x="1559761" y="853258"/>
                  <a:pt x="1561409" y="853258"/>
                </a:cubicBezTo>
                <a:cubicBezTo>
                  <a:pt x="1561409" y="854675"/>
                  <a:pt x="1561409" y="854675"/>
                  <a:pt x="1560036" y="854566"/>
                </a:cubicBezTo>
                <a:cubicBezTo>
                  <a:pt x="1560036" y="854893"/>
                  <a:pt x="1560036" y="854783"/>
                  <a:pt x="1560311" y="854893"/>
                </a:cubicBezTo>
                <a:cubicBezTo>
                  <a:pt x="1559212" y="855547"/>
                  <a:pt x="1558113" y="856201"/>
                  <a:pt x="1557014" y="855982"/>
                </a:cubicBezTo>
                <a:cubicBezTo>
                  <a:pt x="1555641" y="855765"/>
                  <a:pt x="1554268" y="855002"/>
                  <a:pt x="1552620" y="854239"/>
                </a:cubicBezTo>
                <a:cubicBezTo>
                  <a:pt x="1552620" y="852932"/>
                  <a:pt x="1552620" y="852822"/>
                  <a:pt x="1553993" y="851514"/>
                </a:cubicBezTo>
                <a:close/>
                <a:moveTo>
                  <a:pt x="1534284" y="851378"/>
                </a:moveTo>
                <a:cubicBezTo>
                  <a:pt x="1537855" y="849962"/>
                  <a:pt x="1542044" y="850534"/>
                  <a:pt x="1544928" y="854893"/>
                </a:cubicBezTo>
                <a:cubicBezTo>
                  <a:pt x="1545751" y="859579"/>
                  <a:pt x="1546576" y="864156"/>
                  <a:pt x="1541632" y="868950"/>
                </a:cubicBezTo>
                <a:cubicBezTo>
                  <a:pt x="1536138" y="869060"/>
                  <a:pt x="1532017" y="866771"/>
                  <a:pt x="1527347" y="859796"/>
                </a:cubicBezTo>
                <a:cubicBezTo>
                  <a:pt x="1527759" y="856200"/>
                  <a:pt x="1530712" y="852795"/>
                  <a:pt x="1534284" y="851378"/>
                </a:cubicBezTo>
                <a:close/>
                <a:moveTo>
                  <a:pt x="2252816" y="849553"/>
                </a:moveTo>
                <a:cubicBezTo>
                  <a:pt x="2254190" y="851188"/>
                  <a:pt x="2255563" y="854239"/>
                  <a:pt x="2252541" y="856745"/>
                </a:cubicBezTo>
                <a:lnTo>
                  <a:pt x="2248421" y="859034"/>
                </a:lnTo>
                <a:lnTo>
                  <a:pt x="2250069" y="860233"/>
                </a:lnTo>
                <a:cubicBezTo>
                  <a:pt x="2251443" y="861976"/>
                  <a:pt x="2251168" y="863393"/>
                  <a:pt x="2249795" y="864701"/>
                </a:cubicBezTo>
                <a:cubicBezTo>
                  <a:pt x="2249795" y="864701"/>
                  <a:pt x="2247047" y="862739"/>
                  <a:pt x="2247047" y="862739"/>
                </a:cubicBezTo>
                <a:lnTo>
                  <a:pt x="2243477" y="858816"/>
                </a:lnTo>
                <a:lnTo>
                  <a:pt x="2241004" y="858271"/>
                </a:lnTo>
                <a:cubicBezTo>
                  <a:pt x="2239356" y="858707"/>
                  <a:pt x="2238258" y="859688"/>
                  <a:pt x="2237159" y="860341"/>
                </a:cubicBezTo>
                <a:cubicBezTo>
                  <a:pt x="2236059" y="860887"/>
                  <a:pt x="2234961" y="861104"/>
                  <a:pt x="2233588" y="860233"/>
                </a:cubicBezTo>
                <a:lnTo>
                  <a:pt x="2241004" y="856201"/>
                </a:lnTo>
                <a:lnTo>
                  <a:pt x="2240455" y="855438"/>
                </a:lnTo>
                <a:cubicBezTo>
                  <a:pt x="2241279" y="854130"/>
                  <a:pt x="2241828" y="853476"/>
                  <a:pt x="2242653" y="853367"/>
                </a:cubicBezTo>
                <a:lnTo>
                  <a:pt x="2243202" y="853694"/>
                </a:lnTo>
                <a:lnTo>
                  <a:pt x="2244026" y="851406"/>
                </a:lnTo>
                <a:cubicBezTo>
                  <a:pt x="2246773" y="848899"/>
                  <a:pt x="2249795" y="850643"/>
                  <a:pt x="2252816" y="849553"/>
                </a:cubicBezTo>
                <a:close/>
                <a:moveTo>
                  <a:pt x="1356212" y="845412"/>
                </a:moveTo>
                <a:cubicBezTo>
                  <a:pt x="1359234" y="844431"/>
                  <a:pt x="1359234" y="844431"/>
                  <a:pt x="1360607" y="846175"/>
                </a:cubicBezTo>
                <a:cubicBezTo>
                  <a:pt x="1361981" y="847919"/>
                  <a:pt x="1360332" y="852168"/>
                  <a:pt x="1361706" y="853912"/>
                </a:cubicBezTo>
                <a:cubicBezTo>
                  <a:pt x="1361706" y="853912"/>
                  <a:pt x="1361431" y="853912"/>
                  <a:pt x="1358410" y="854893"/>
                </a:cubicBezTo>
                <a:cubicBezTo>
                  <a:pt x="1357037" y="854675"/>
                  <a:pt x="1355662" y="854457"/>
                  <a:pt x="1354289" y="852713"/>
                </a:cubicBezTo>
                <a:cubicBezTo>
                  <a:pt x="1352916" y="850970"/>
                  <a:pt x="1353191" y="847919"/>
                  <a:pt x="1353191" y="846393"/>
                </a:cubicBezTo>
                <a:cubicBezTo>
                  <a:pt x="1354564" y="846611"/>
                  <a:pt x="1354839" y="845195"/>
                  <a:pt x="1356212" y="845412"/>
                </a:cubicBezTo>
                <a:close/>
                <a:moveTo>
                  <a:pt x="2080480" y="845317"/>
                </a:moveTo>
                <a:cubicBezTo>
                  <a:pt x="2081956" y="844704"/>
                  <a:pt x="2083330" y="844813"/>
                  <a:pt x="2084428" y="846393"/>
                </a:cubicBezTo>
                <a:cubicBezTo>
                  <a:pt x="2082505" y="849226"/>
                  <a:pt x="2083604" y="850860"/>
                  <a:pt x="2079209" y="853367"/>
                </a:cubicBezTo>
                <a:cubicBezTo>
                  <a:pt x="2078110" y="851842"/>
                  <a:pt x="2077011" y="850207"/>
                  <a:pt x="2075913" y="848573"/>
                </a:cubicBezTo>
                <a:cubicBezTo>
                  <a:pt x="2077423" y="847265"/>
                  <a:pt x="2079003" y="845930"/>
                  <a:pt x="2080480" y="845317"/>
                </a:cubicBezTo>
                <a:close/>
                <a:moveTo>
                  <a:pt x="2508282" y="843887"/>
                </a:moveTo>
                <a:cubicBezTo>
                  <a:pt x="2513777" y="840835"/>
                  <a:pt x="2522566" y="847374"/>
                  <a:pt x="2522292" y="853476"/>
                </a:cubicBezTo>
                <a:cubicBezTo>
                  <a:pt x="2516798" y="849335"/>
                  <a:pt x="2511853" y="850316"/>
                  <a:pt x="2509382" y="847810"/>
                </a:cubicBezTo>
                <a:cubicBezTo>
                  <a:pt x="2508832" y="847046"/>
                  <a:pt x="2508282" y="845848"/>
                  <a:pt x="2508282" y="843887"/>
                </a:cubicBezTo>
                <a:close/>
                <a:moveTo>
                  <a:pt x="1121073" y="843887"/>
                </a:moveTo>
                <a:lnTo>
                  <a:pt x="1124920" y="848899"/>
                </a:lnTo>
                <a:cubicBezTo>
                  <a:pt x="1124095" y="849553"/>
                  <a:pt x="1122996" y="850098"/>
                  <a:pt x="1122172" y="850316"/>
                </a:cubicBezTo>
                <a:cubicBezTo>
                  <a:pt x="1121073" y="850534"/>
                  <a:pt x="1119975" y="850425"/>
                  <a:pt x="1119425" y="849553"/>
                </a:cubicBezTo>
                <a:cubicBezTo>
                  <a:pt x="1118052" y="848573"/>
                  <a:pt x="1118052" y="847810"/>
                  <a:pt x="1118602" y="846938"/>
                </a:cubicBezTo>
                <a:cubicBezTo>
                  <a:pt x="1119151" y="846066"/>
                  <a:pt x="1120250" y="845303"/>
                  <a:pt x="1121073" y="843887"/>
                </a:cubicBezTo>
                <a:close/>
                <a:moveTo>
                  <a:pt x="1722381" y="843342"/>
                </a:moveTo>
                <a:cubicBezTo>
                  <a:pt x="1722381" y="841816"/>
                  <a:pt x="1726501" y="844105"/>
                  <a:pt x="1726501" y="844105"/>
                </a:cubicBezTo>
                <a:cubicBezTo>
                  <a:pt x="1727874" y="845848"/>
                  <a:pt x="1724852" y="849880"/>
                  <a:pt x="1724578" y="851297"/>
                </a:cubicBezTo>
                <a:cubicBezTo>
                  <a:pt x="1723205" y="851079"/>
                  <a:pt x="1721831" y="849335"/>
                  <a:pt x="1720457" y="849118"/>
                </a:cubicBezTo>
                <a:cubicBezTo>
                  <a:pt x="1720732" y="847591"/>
                  <a:pt x="1720732" y="844650"/>
                  <a:pt x="1722381" y="843342"/>
                </a:cubicBezTo>
                <a:close/>
                <a:moveTo>
                  <a:pt x="1415546" y="843233"/>
                </a:moveTo>
                <a:cubicBezTo>
                  <a:pt x="1417744" y="845195"/>
                  <a:pt x="1415546" y="851079"/>
                  <a:pt x="1415272" y="854348"/>
                </a:cubicBezTo>
                <a:cubicBezTo>
                  <a:pt x="1413349" y="853694"/>
                  <a:pt x="1411426" y="853041"/>
                  <a:pt x="1411976" y="854348"/>
                </a:cubicBezTo>
                <a:cubicBezTo>
                  <a:pt x="1410052" y="853694"/>
                  <a:pt x="1408954" y="852822"/>
                  <a:pt x="1408404" y="851514"/>
                </a:cubicBezTo>
                <a:cubicBezTo>
                  <a:pt x="1407581" y="850316"/>
                  <a:pt x="1407581" y="848790"/>
                  <a:pt x="1407581" y="847156"/>
                </a:cubicBezTo>
                <a:cubicBezTo>
                  <a:pt x="1408404" y="845195"/>
                  <a:pt x="1411151" y="843887"/>
                  <a:pt x="1415546" y="843233"/>
                </a:cubicBezTo>
                <a:close/>
                <a:moveTo>
                  <a:pt x="2769792" y="842361"/>
                </a:moveTo>
                <a:cubicBezTo>
                  <a:pt x="2771715" y="845195"/>
                  <a:pt x="2773637" y="844867"/>
                  <a:pt x="2774187" y="849989"/>
                </a:cubicBezTo>
                <a:cubicBezTo>
                  <a:pt x="2772264" y="850425"/>
                  <a:pt x="2770342" y="850752"/>
                  <a:pt x="2768418" y="851079"/>
                </a:cubicBezTo>
                <a:cubicBezTo>
                  <a:pt x="2767320" y="847156"/>
                  <a:pt x="2766221" y="843124"/>
                  <a:pt x="2769792" y="842361"/>
                </a:cubicBezTo>
                <a:close/>
                <a:moveTo>
                  <a:pt x="1967202" y="842198"/>
                </a:moveTo>
                <a:cubicBezTo>
                  <a:pt x="1970773" y="843042"/>
                  <a:pt x="1974275" y="845194"/>
                  <a:pt x="1975649" y="848028"/>
                </a:cubicBezTo>
                <a:cubicBezTo>
                  <a:pt x="1970980" y="846829"/>
                  <a:pt x="1967683" y="847591"/>
                  <a:pt x="1964936" y="847810"/>
                </a:cubicBezTo>
                <a:cubicBezTo>
                  <a:pt x="1962189" y="848028"/>
                  <a:pt x="1959992" y="847701"/>
                  <a:pt x="1958343" y="844213"/>
                </a:cubicBezTo>
                <a:cubicBezTo>
                  <a:pt x="1959991" y="841816"/>
                  <a:pt x="1963631" y="841353"/>
                  <a:pt x="1967202" y="842198"/>
                </a:cubicBezTo>
                <a:close/>
                <a:moveTo>
                  <a:pt x="1767465" y="841149"/>
                </a:moveTo>
                <a:cubicBezTo>
                  <a:pt x="1771208" y="841462"/>
                  <a:pt x="1774573" y="843015"/>
                  <a:pt x="1773749" y="846502"/>
                </a:cubicBezTo>
                <a:cubicBezTo>
                  <a:pt x="1773199" y="848028"/>
                  <a:pt x="1772101" y="848681"/>
                  <a:pt x="1770453" y="848899"/>
                </a:cubicBezTo>
                <a:cubicBezTo>
                  <a:pt x="1766332" y="849553"/>
                  <a:pt x="1759465" y="845630"/>
                  <a:pt x="1758915" y="843233"/>
                </a:cubicBezTo>
                <a:cubicBezTo>
                  <a:pt x="1759602" y="841761"/>
                  <a:pt x="1763722" y="840835"/>
                  <a:pt x="1767465" y="841149"/>
                </a:cubicBezTo>
                <a:close/>
                <a:moveTo>
                  <a:pt x="2823083" y="840944"/>
                </a:moveTo>
                <a:cubicBezTo>
                  <a:pt x="2824457" y="839528"/>
                  <a:pt x="2827203" y="839637"/>
                  <a:pt x="2830225" y="841271"/>
                </a:cubicBezTo>
                <a:cubicBezTo>
                  <a:pt x="2828851" y="842688"/>
                  <a:pt x="2830500" y="845848"/>
                  <a:pt x="2829126" y="847265"/>
                </a:cubicBezTo>
                <a:cubicBezTo>
                  <a:pt x="2829126" y="847265"/>
                  <a:pt x="2824731" y="848573"/>
                  <a:pt x="2824731" y="848573"/>
                </a:cubicBezTo>
                <a:cubicBezTo>
                  <a:pt x="2823357" y="847046"/>
                  <a:pt x="2823357" y="847046"/>
                  <a:pt x="2824731" y="847046"/>
                </a:cubicBezTo>
                <a:cubicBezTo>
                  <a:pt x="2823083" y="843996"/>
                  <a:pt x="2823083" y="842470"/>
                  <a:pt x="2823083" y="840944"/>
                </a:cubicBezTo>
                <a:close/>
                <a:moveTo>
                  <a:pt x="4407248" y="839200"/>
                </a:moveTo>
                <a:cubicBezTo>
                  <a:pt x="4405600" y="842361"/>
                  <a:pt x="4403951" y="843996"/>
                  <a:pt x="4402029" y="844541"/>
                </a:cubicBezTo>
                <a:cubicBezTo>
                  <a:pt x="4400106" y="845085"/>
                  <a:pt x="4397908" y="844650"/>
                  <a:pt x="4395436" y="843668"/>
                </a:cubicBezTo>
                <a:cubicBezTo>
                  <a:pt x="4398183" y="839200"/>
                  <a:pt x="4401205" y="839200"/>
                  <a:pt x="4407248" y="839200"/>
                </a:cubicBezTo>
                <a:close/>
                <a:moveTo>
                  <a:pt x="1465816" y="838874"/>
                </a:moveTo>
                <a:cubicBezTo>
                  <a:pt x="1467739" y="839528"/>
                  <a:pt x="1468013" y="844431"/>
                  <a:pt x="1469935" y="845085"/>
                </a:cubicBezTo>
                <a:cubicBezTo>
                  <a:pt x="1469935" y="845085"/>
                  <a:pt x="1469935" y="845085"/>
                  <a:pt x="1467739" y="847810"/>
                </a:cubicBezTo>
                <a:cubicBezTo>
                  <a:pt x="1466366" y="848464"/>
                  <a:pt x="1464991" y="849226"/>
                  <a:pt x="1463069" y="848464"/>
                </a:cubicBezTo>
                <a:cubicBezTo>
                  <a:pt x="1461146" y="847810"/>
                  <a:pt x="1460047" y="845085"/>
                  <a:pt x="1459497" y="843668"/>
                </a:cubicBezTo>
                <a:cubicBezTo>
                  <a:pt x="1460871" y="843015"/>
                  <a:pt x="1460322" y="841598"/>
                  <a:pt x="1461696" y="840944"/>
                </a:cubicBezTo>
                <a:cubicBezTo>
                  <a:pt x="1463892" y="838220"/>
                  <a:pt x="1463892" y="838220"/>
                  <a:pt x="1465816" y="838874"/>
                </a:cubicBezTo>
                <a:close/>
                <a:moveTo>
                  <a:pt x="4387744" y="837239"/>
                </a:moveTo>
                <a:cubicBezTo>
                  <a:pt x="4402853" y="852496"/>
                  <a:pt x="4399007" y="859579"/>
                  <a:pt x="4390767" y="861432"/>
                </a:cubicBezTo>
                <a:cubicBezTo>
                  <a:pt x="4388844" y="861867"/>
                  <a:pt x="4386371" y="861976"/>
                  <a:pt x="4384174" y="861867"/>
                </a:cubicBezTo>
                <a:cubicBezTo>
                  <a:pt x="4377306" y="861213"/>
                  <a:pt x="4370164" y="857944"/>
                  <a:pt x="4369615" y="853041"/>
                </a:cubicBezTo>
                <a:cubicBezTo>
                  <a:pt x="4369066" y="848790"/>
                  <a:pt x="4373461" y="843233"/>
                  <a:pt x="4387744" y="837239"/>
                </a:cubicBezTo>
                <a:close/>
                <a:moveTo>
                  <a:pt x="2004218" y="836694"/>
                </a:moveTo>
                <a:cubicBezTo>
                  <a:pt x="2011085" y="838329"/>
                  <a:pt x="2011634" y="845848"/>
                  <a:pt x="2015480" y="849663"/>
                </a:cubicBezTo>
                <a:cubicBezTo>
                  <a:pt x="2013557" y="852059"/>
                  <a:pt x="2011359" y="853258"/>
                  <a:pt x="2009162" y="853694"/>
                </a:cubicBezTo>
                <a:lnTo>
                  <a:pt x="2006415" y="852932"/>
                </a:lnTo>
                <a:lnTo>
                  <a:pt x="2005591" y="854566"/>
                </a:lnTo>
                <a:cubicBezTo>
                  <a:pt x="2004218" y="855982"/>
                  <a:pt x="2002019" y="856419"/>
                  <a:pt x="1998174" y="856419"/>
                </a:cubicBezTo>
                <a:cubicBezTo>
                  <a:pt x="1998174" y="856419"/>
                  <a:pt x="1996526" y="855656"/>
                  <a:pt x="1996526" y="855656"/>
                </a:cubicBezTo>
                <a:cubicBezTo>
                  <a:pt x="1989933" y="853803"/>
                  <a:pt x="1984714" y="846611"/>
                  <a:pt x="1985263" y="843342"/>
                </a:cubicBezTo>
                <a:cubicBezTo>
                  <a:pt x="1986912" y="839528"/>
                  <a:pt x="1992131" y="835822"/>
                  <a:pt x="1997350" y="838329"/>
                </a:cubicBezTo>
                <a:lnTo>
                  <a:pt x="1999822" y="839963"/>
                </a:lnTo>
                <a:lnTo>
                  <a:pt x="1999822" y="839745"/>
                </a:lnTo>
                <a:cubicBezTo>
                  <a:pt x="2000646" y="838547"/>
                  <a:pt x="2002294" y="837566"/>
                  <a:pt x="2004218" y="836694"/>
                </a:cubicBezTo>
                <a:close/>
                <a:moveTo>
                  <a:pt x="2415435" y="835496"/>
                </a:moveTo>
                <a:cubicBezTo>
                  <a:pt x="2417084" y="832771"/>
                  <a:pt x="2418457" y="833098"/>
                  <a:pt x="2422578" y="836694"/>
                </a:cubicBezTo>
                <a:cubicBezTo>
                  <a:pt x="2425324" y="840073"/>
                  <a:pt x="2428072" y="841926"/>
                  <a:pt x="2428072" y="843342"/>
                </a:cubicBezTo>
                <a:cubicBezTo>
                  <a:pt x="2429445" y="843560"/>
                  <a:pt x="2430818" y="845303"/>
                  <a:pt x="2432192" y="845521"/>
                </a:cubicBezTo>
                <a:cubicBezTo>
                  <a:pt x="2432192" y="845521"/>
                  <a:pt x="2432192" y="845521"/>
                  <a:pt x="2432192" y="846938"/>
                </a:cubicBezTo>
                <a:cubicBezTo>
                  <a:pt x="2426423" y="844541"/>
                  <a:pt x="2419281" y="844867"/>
                  <a:pt x="2415161" y="841271"/>
                </a:cubicBezTo>
                <a:cubicBezTo>
                  <a:pt x="2414611" y="840399"/>
                  <a:pt x="2413787" y="839637"/>
                  <a:pt x="2413787" y="838655"/>
                </a:cubicBezTo>
                <a:cubicBezTo>
                  <a:pt x="2413513" y="837675"/>
                  <a:pt x="2414062" y="836694"/>
                  <a:pt x="2415435" y="835496"/>
                </a:cubicBezTo>
                <a:close/>
                <a:moveTo>
                  <a:pt x="1285341" y="835169"/>
                </a:moveTo>
                <a:cubicBezTo>
                  <a:pt x="1285890" y="836476"/>
                  <a:pt x="1286990" y="835822"/>
                  <a:pt x="1286165" y="837784"/>
                </a:cubicBezTo>
                <a:cubicBezTo>
                  <a:pt x="1291384" y="838438"/>
                  <a:pt x="1300174" y="848464"/>
                  <a:pt x="1300724" y="854457"/>
                </a:cubicBezTo>
                <a:cubicBezTo>
                  <a:pt x="1285066" y="851188"/>
                  <a:pt x="1288638" y="839745"/>
                  <a:pt x="1279847" y="837784"/>
                </a:cubicBezTo>
                <a:cubicBezTo>
                  <a:pt x="1282045" y="835060"/>
                  <a:pt x="1282045" y="835169"/>
                  <a:pt x="1285341" y="835169"/>
                </a:cubicBezTo>
                <a:close/>
                <a:moveTo>
                  <a:pt x="2050366" y="832445"/>
                </a:moveTo>
                <a:cubicBezTo>
                  <a:pt x="2052564" y="833643"/>
                  <a:pt x="2054212" y="836259"/>
                  <a:pt x="2054487" y="840727"/>
                </a:cubicBezTo>
                <a:cubicBezTo>
                  <a:pt x="2050915" y="847374"/>
                  <a:pt x="2044048" y="845630"/>
                  <a:pt x="2039378" y="848355"/>
                </a:cubicBezTo>
                <a:cubicBezTo>
                  <a:pt x="2033335" y="837675"/>
                  <a:pt x="2044048" y="828739"/>
                  <a:pt x="2050366" y="832445"/>
                </a:cubicBezTo>
                <a:close/>
                <a:moveTo>
                  <a:pt x="1705899" y="832336"/>
                </a:moveTo>
                <a:cubicBezTo>
                  <a:pt x="1710569" y="838220"/>
                  <a:pt x="1706174" y="843778"/>
                  <a:pt x="1706723" y="849009"/>
                </a:cubicBezTo>
                <a:cubicBezTo>
                  <a:pt x="1694637" y="850316"/>
                  <a:pt x="1690790" y="837021"/>
                  <a:pt x="1696834" y="832771"/>
                </a:cubicBezTo>
                <a:cubicBezTo>
                  <a:pt x="1698757" y="831354"/>
                  <a:pt x="1701778" y="830919"/>
                  <a:pt x="1705899" y="832336"/>
                </a:cubicBezTo>
                <a:close/>
                <a:moveTo>
                  <a:pt x="2800832" y="830265"/>
                </a:moveTo>
                <a:lnTo>
                  <a:pt x="2801381" y="830919"/>
                </a:lnTo>
                <a:cubicBezTo>
                  <a:pt x="2800832" y="831246"/>
                  <a:pt x="2800832" y="831463"/>
                  <a:pt x="2800557" y="831354"/>
                </a:cubicBezTo>
                <a:close/>
                <a:moveTo>
                  <a:pt x="6209796" y="829938"/>
                </a:moveTo>
                <a:cubicBezTo>
                  <a:pt x="6213367" y="832008"/>
                  <a:pt x="6216388" y="832662"/>
                  <a:pt x="6218861" y="835169"/>
                </a:cubicBezTo>
                <a:cubicBezTo>
                  <a:pt x="6218587" y="838983"/>
                  <a:pt x="6216938" y="840944"/>
                  <a:pt x="6214741" y="841380"/>
                </a:cubicBezTo>
                <a:cubicBezTo>
                  <a:pt x="6212543" y="841816"/>
                  <a:pt x="6209521" y="840727"/>
                  <a:pt x="6206499" y="838438"/>
                </a:cubicBezTo>
                <a:cubicBezTo>
                  <a:pt x="6207049" y="835277"/>
                  <a:pt x="6207324" y="832008"/>
                  <a:pt x="6209796" y="829938"/>
                </a:cubicBezTo>
                <a:close/>
                <a:moveTo>
                  <a:pt x="4425378" y="829284"/>
                </a:moveTo>
                <a:cubicBezTo>
                  <a:pt x="4425378" y="829284"/>
                  <a:pt x="4425927" y="830592"/>
                  <a:pt x="4425927" y="830592"/>
                </a:cubicBezTo>
                <a:cubicBezTo>
                  <a:pt x="4425103" y="833098"/>
                  <a:pt x="4424004" y="834188"/>
                  <a:pt x="4422906" y="834406"/>
                </a:cubicBezTo>
                <a:cubicBezTo>
                  <a:pt x="4421807" y="834624"/>
                  <a:pt x="4420708" y="833861"/>
                  <a:pt x="4418785" y="833098"/>
                </a:cubicBezTo>
                <a:cubicBezTo>
                  <a:pt x="4419060" y="831463"/>
                  <a:pt x="4419609" y="830265"/>
                  <a:pt x="4420708" y="829611"/>
                </a:cubicBezTo>
                <a:cubicBezTo>
                  <a:pt x="4421533" y="828848"/>
                  <a:pt x="4423181" y="828630"/>
                  <a:pt x="4425378" y="829284"/>
                </a:cubicBezTo>
                <a:close/>
                <a:moveTo>
                  <a:pt x="2675434" y="828481"/>
                </a:moveTo>
                <a:cubicBezTo>
                  <a:pt x="2676396" y="829203"/>
                  <a:pt x="2677357" y="830483"/>
                  <a:pt x="2678044" y="831354"/>
                </a:cubicBezTo>
                <a:cubicBezTo>
                  <a:pt x="2675846" y="831028"/>
                  <a:pt x="2674473" y="831028"/>
                  <a:pt x="2673649" y="831137"/>
                </a:cubicBezTo>
                <a:cubicBezTo>
                  <a:pt x="2672825" y="831137"/>
                  <a:pt x="2672550" y="831137"/>
                  <a:pt x="2672550" y="830483"/>
                </a:cubicBezTo>
                <a:cubicBezTo>
                  <a:pt x="2671176" y="830265"/>
                  <a:pt x="2671451" y="828739"/>
                  <a:pt x="2672825" y="828958"/>
                </a:cubicBezTo>
                <a:cubicBezTo>
                  <a:pt x="2673511" y="827595"/>
                  <a:pt x="2674473" y="827759"/>
                  <a:pt x="2675434" y="828481"/>
                </a:cubicBezTo>
                <a:close/>
                <a:moveTo>
                  <a:pt x="2202444" y="827418"/>
                </a:moveTo>
                <a:cubicBezTo>
                  <a:pt x="2205019" y="826260"/>
                  <a:pt x="2207766" y="826505"/>
                  <a:pt x="2209964" y="827759"/>
                </a:cubicBezTo>
                <a:cubicBezTo>
                  <a:pt x="2214359" y="830156"/>
                  <a:pt x="2217106" y="836694"/>
                  <a:pt x="2213260" y="844105"/>
                </a:cubicBezTo>
                <a:cubicBezTo>
                  <a:pt x="2210514" y="845195"/>
                  <a:pt x="2207766" y="845630"/>
                  <a:pt x="2205569" y="845739"/>
                </a:cubicBezTo>
                <a:lnTo>
                  <a:pt x="2204470" y="845848"/>
                </a:lnTo>
                <a:lnTo>
                  <a:pt x="2202272" y="847046"/>
                </a:lnTo>
                <a:cubicBezTo>
                  <a:pt x="2200075" y="847591"/>
                  <a:pt x="2197328" y="846502"/>
                  <a:pt x="2194581" y="844322"/>
                </a:cubicBezTo>
                <a:lnTo>
                  <a:pt x="2197328" y="838874"/>
                </a:lnTo>
                <a:lnTo>
                  <a:pt x="2195954" y="835496"/>
                </a:lnTo>
                <a:cubicBezTo>
                  <a:pt x="2197465" y="831137"/>
                  <a:pt x="2199869" y="828576"/>
                  <a:pt x="2202444" y="827418"/>
                </a:cubicBezTo>
                <a:close/>
                <a:moveTo>
                  <a:pt x="2641827" y="826839"/>
                </a:moveTo>
                <a:cubicBezTo>
                  <a:pt x="2646746" y="827922"/>
                  <a:pt x="2651124" y="837893"/>
                  <a:pt x="2644532" y="838547"/>
                </a:cubicBezTo>
                <a:cubicBezTo>
                  <a:pt x="2641784" y="836476"/>
                  <a:pt x="2639587" y="832881"/>
                  <a:pt x="2637114" y="829393"/>
                </a:cubicBezTo>
                <a:cubicBezTo>
                  <a:pt x="2638488" y="827105"/>
                  <a:pt x="2640187" y="826478"/>
                  <a:pt x="2641827" y="826839"/>
                </a:cubicBezTo>
                <a:close/>
                <a:moveTo>
                  <a:pt x="2470374" y="826451"/>
                </a:moveTo>
                <a:cubicBezTo>
                  <a:pt x="2473945" y="825797"/>
                  <a:pt x="2478341" y="828958"/>
                  <a:pt x="2481362" y="833207"/>
                </a:cubicBezTo>
                <a:lnTo>
                  <a:pt x="2481362" y="833316"/>
                </a:lnTo>
                <a:lnTo>
                  <a:pt x="2481637" y="831573"/>
                </a:lnTo>
                <a:cubicBezTo>
                  <a:pt x="2482187" y="832336"/>
                  <a:pt x="2482187" y="832662"/>
                  <a:pt x="2481912" y="832990"/>
                </a:cubicBezTo>
                <a:lnTo>
                  <a:pt x="2481637" y="833752"/>
                </a:lnTo>
                <a:lnTo>
                  <a:pt x="2484659" y="839963"/>
                </a:lnTo>
                <a:cubicBezTo>
                  <a:pt x="2485483" y="842252"/>
                  <a:pt x="2485483" y="844322"/>
                  <a:pt x="2484933" y="846066"/>
                </a:cubicBezTo>
                <a:cubicBezTo>
                  <a:pt x="2481912" y="848355"/>
                  <a:pt x="2478615" y="850643"/>
                  <a:pt x="2475593" y="852822"/>
                </a:cubicBezTo>
                <a:cubicBezTo>
                  <a:pt x="2468177" y="852822"/>
                  <a:pt x="2462683" y="847046"/>
                  <a:pt x="2461859" y="840508"/>
                </a:cubicBezTo>
                <a:cubicBezTo>
                  <a:pt x="2461584" y="838329"/>
                  <a:pt x="2461859" y="836150"/>
                  <a:pt x="2462683" y="833970"/>
                </a:cubicBezTo>
                <a:cubicBezTo>
                  <a:pt x="2464057" y="831028"/>
                  <a:pt x="2466254" y="828522"/>
                  <a:pt x="2470374" y="826451"/>
                </a:cubicBezTo>
                <a:close/>
                <a:moveTo>
                  <a:pt x="2936807" y="826342"/>
                </a:moveTo>
                <a:lnTo>
                  <a:pt x="2927467" y="829175"/>
                </a:lnTo>
                <a:lnTo>
                  <a:pt x="2935433" y="828958"/>
                </a:lnTo>
                <a:lnTo>
                  <a:pt x="2935982" y="829067"/>
                </a:lnTo>
                <a:close/>
                <a:moveTo>
                  <a:pt x="2823083" y="826015"/>
                </a:moveTo>
                <a:cubicBezTo>
                  <a:pt x="2826654" y="824490"/>
                  <a:pt x="2831324" y="824816"/>
                  <a:pt x="2836818" y="826451"/>
                </a:cubicBezTo>
                <a:lnTo>
                  <a:pt x="2842586" y="829284"/>
                </a:lnTo>
                <a:lnTo>
                  <a:pt x="2842586" y="828739"/>
                </a:lnTo>
                <a:cubicBezTo>
                  <a:pt x="2843959" y="826669"/>
                  <a:pt x="2845608" y="826124"/>
                  <a:pt x="2847256" y="826560"/>
                </a:cubicBezTo>
                <a:cubicBezTo>
                  <a:pt x="2848904" y="826886"/>
                  <a:pt x="2850552" y="828194"/>
                  <a:pt x="2852750" y="829938"/>
                </a:cubicBezTo>
                <a:cubicBezTo>
                  <a:pt x="2854947" y="831682"/>
                  <a:pt x="2855496" y="833535"/>
                  <a:pt x="2856046" y="835496"/>
                </a:cubicBezTo>
                <a:lnTo>
                  <a:pt x="2857695" y="839310"/>
                </a:lnTo>
                <a:lnTo>
                  <a:pt x="2865660" y="847591"/>
                </a:lnTo>
                <a:cubicBezTo>
                  <a:pt x="2868682" y="852387"/>
                  <a:pt x="2869781" y="857399"/>
                  <a:pt x="2867858" y="862085"/>
                </a:cubicBezTo>
                <a:cubicBezTo>
                  <a:pt x="2855772" y="844105"/>
                  <a:pt x="2833246" y="847591"/>
                  <a:pt x="2823083" y="826015"/>
                </a:cubicBezTo>
                <a:close/>
                <a:moveTo>
                  <a:pt x="4440761" y="825034"/>
                </a:moveTo>
                <a:cubicBezTo>
                  <a:pt x="4442134" y="824490"/>
                  <a:pt x="4441859" y="829284"/>
                  <a:pt x="4441859" y="829284"/>
                </a:cubicBezTo>
                <a:cubicBezTo>
                  <a:pt x="4441310" y="830265"/>
                  <a:pt x="4439937" y="830374"/>
                  <a:pt x="4438289" y="830374"/>
                </a:cubicBezTo>
                <a:cubicBezTo>
                  <a:pt x="4436915" y="830374"/>
                  <a:pt x="4435267" y="830047"/>
                  <a:pt x="4434443" y="830374"/>
                </a:cubicBezTo>
                <a:cubicBezTo>
                  <a:pt x="4434168" y="828958"/>
                  <a:pt x="4435267" y="827105"/>
                  <a:pt x="4434718" y="825688"/>
                </a:cubicBezTo>
                <a:cubicBezTo>
                  <a:pt x="4436091" y="825144"/>
                  <a:pt x="4439113" y="824054"/>
                  <a:pt x="4440761" y="825034"/>
                </a:cubicBezTo>
                <a:close/>
                <a:moveTo>
                  <a:pt x="1182056" y="824490"/>
                </a:moveTo>
                <a:cubicBezTo>
                  <a:pt x="1183430" y="826124"/>
                  <a:pt x="1187824" y="826778"/>
                  <a:pt x="1190846" y="828739"/>
                </a:cubicBezTo>
                <a:cubicBezTo>
                  <a:pt x="1190571" y="830156"/>
                  <a:pt x="1191944" y="831791"/>
                  <a:pt x="1191944" y="833207"/>
                </a:cubicBezTo>
                <a:cubicBezTo>
                  <a:pt x="1191121" y="833098"/>
                  <a:pt x="1190022" y="833316"/>
                  <a:pt x="1189198" y="833316"/>
                </a:cubicBezTo>
                <a:cubicBezTo>
                  <a:pt x="1188374" y="833316"/>
                  <a:pt x="1187549" y="833098"/>
                  <a:pt x="1187549" y="832445"/>
                </a:cubicBezTo>
                <a:cubicBezTo>
                  <a:pt x="1186176" y="832227"/>
                  <a:pt x="1186176" y="829393"/>
                  <a:pt x="1186176" y="829393"/>
                </a:cubicBezTo>
                <a:cubicBezTo>
                  <a:pt x="1184803" y="829067"/>
                  <a:pt x="1183430" y="828958"/>
                  <a:pt x="1182056" y="827323"/>
                </a:cubicBezTo>
                <a:cubicBezTo>
                  <a:pt x="1183430" y="826124"/>
                  <a:pt x="1182056" y="825797"/>
                  <a:pt x="1182056" y="824490"/>
                </a:cubicBezTo>
                <a:close/>
                <a:moveTo>
                  <a:pt x="2815941" y="823617"/>
                </a:moveTo>
                <a:cubicBezTo>
                  <a:pt x="2816490" y="824925"/>
                  <a:pt x="2817315" y="826124"/>
                  <a:pt x="2815941" y="826886"/>
                </a:cubicBezTo>
                <a:cubicBezTo>
                  <a:pt x="2816765" y="828085"/>
                  <a:pt x="2816765" y="828085"/>
                  <a:pt x="2815391" y="828848"/>
                </a:cubicBezTo>
                <a:cubicBezTo>
                  <a:pt x="2814842" y="827540"/>
                  <a:pt x="2814293" y="826342"/>
                  <a:pt x="2813469" y="825144"/>
                </a:cubicBezTo>
                <a:cubicBezTo>
                  <a:pt x="2814018" y="823182"/>
                  <a:pt x="2814018" y="823182"/>
                  <a:pt x="2815941" y="823617"/>
                </a:cubicBezTo>
                <a:close/>
                <a:moveTo>
                  <a:pt x="1946806" y="823400"/>
                </a:moveTo>
                <a:cubicBezTo>
                  <a:pt x="1953673" y="826451"/>
                  <a:pt x="1958618" y="833425"/>
                  <a:pt x="1952025" y="839200"/>
                </a:cubicBezTo>
                <a:cubicBezTo>
                  <a:pt x="1947905" y="838220"/>
                  <a:pt x="1941587" y="830919"/>
                  <a:pt x="1942136" y="826778"/>
                </a:cubicBezTo>
                <a:cubicBezTo>
                  <a:pt x="1943785" y="825688"/>
                  <a:pt x="1945158" y="824490"/>
                  <a:pt x="1946806" y="823400"/>
                </a:cubicBezTo>
                <a:close/>
                <a:moveTo>
                  <a:pt x="2800557" y="822964"/>
                </a:moveTo>
                <a:cubicBezTo>
                  <a:pt x="2801931" y="822310"/>
                  <a:pt x="2801931" y="828848"/>
                  <a:pt x="2802756" y="830156"/>
                </a:cubicBezTo>
                <a:cubicBezTo>
                  <a:pt x="2801381" y="830809"/>
                  <a:pt x="2801381" y="830809"/>
                  <a:pt x="2800832" y="829611"/>
                </a:cubicBezTo>
                <a:lnTo>
                  <a:pt x="2800832" y="830265"/>
                </a:lnTo>
                <a:lnTo>
                  <a:pt x="2798086" y="827868"/>
                </a:lnTo>
                <a:cubicBezTo>
                  <a:pt x="2797811" y="826451"/>
                  <a:pt x="2797536" y="824816"/>
                  <a:pt x="2797536" y="823073"/>
                </a:cubicBezTo>
                <a:cubicBezTo>
                  <a:pt x="2798635" y="822419"/>
                  <a:pt x="2798635" y="822419"/>
                  <a:pt x="2800557" y="822964"/>
                </a:cubicBezTo>
                <a:close/>
                <a:moveTo>
                  <a:pt x="2570913" y="822528"/>
                </a:moveTo>
                <a:cubicBezTo>
                  <a:pt x="2574759" y="824599"/>
                  <a:pt x="2577780" y="825252"/>
                  <a:pt x="2580253" y="827759"/>
                </a:cubicBezTo>
                <a:cubicBezTo>
                  <a:pt x="2579978" y="831573"/>
                  <a:pt x="2578329" y="833535"/>
                  <a:pt x="2576132" y="833970"/>
                </a:cubicBezTo>
                <a:cubicBezTo>
                  <a:pt x="2573934" y="834406"/>
                  <a:pt x="2570913" y="833207"/>
                  <a:pt x="2567892" y="831028"/>
                </a:cubicBezTo>
                <a:cubicBezTo>
                  <a:pt x="2568440" y="827868"/>
                  <a:pt x="2568715" y="824707"/>
                  <a:pt x="2570913" y="822528"/>
                </a:cubicBezTo>
                <a:close/>
                <a:moveTo>
                  <a:pt x="2157223" y="822310"/>
                </a:moveTo>
                <a:cubicBezTo>
                  <a:pt x="2167386" y="819586"/>
                  <a:pt x="2178649" y="822637"/>
                  <a:pt x="2185791" y="836804"/>
                </a:cubicBezTo>
                <a:cubicBezTo>
                  <a:pt x="2182220" y="843996"/>
                  <a:pt x="2177001" y="850207"/>
                  <a:pt x="2171507" y="854675"/>
                </a:cubicBezTo>
                <a:lnTo>
                  <a:pt x="2164364" y="859251"/>
                </a:lnTo>
                <a:lnTo>
                  <a:pt x="2166837" y="861540"/>
                </a:lnTo>
                <a:lnTo>
                  <a:pt x="2167936" y="860124"/>
                </a:lnTo>
                <a:cubicBezTo>
                  <a:pt x="2172056" y="860450"/>
                  <a:pt x="2175901" y="863719"/>
                  <a:pt x="2178099" y="868296"/>
                </a:cubicBezTo>
                <a:lnTo>
                  <a:pt x="2172606" y="870476"/>
                </a:lnTo>
                <a:lnTo>
                  <a:pt x="2173979" y="878213"/>
                </a:lnTo>
                <a:lnTo>
                  <a:pt x="2167386" y="873963"/>
                </a:lnTo>
                <a:lnTo>
                  <a:pt x="2166288" y="877341"/>
                </a:lnTo>
                <a:cubicBezTo>
                  <a:pt x="2164090" y="879194"/>
                  <a:pt x="2161069" y="881700"/>
                  <a:pt x="2157772" y="881264"/>
                </a:cubicBezTo>
                <a:cubicBezTo>
                  <a:pt x="2156673" y="881155"/>
                  <a:pt x="2155575" y="880720"/>
                  <a:pt x="2154750" y="879848"/>
                </a:cubicBezTo>
                <a:cubicBezTo>
                  <a:pt x="2154750" y="878431"/>
                  <a:pt x="2153377" y="878104"/>
                  <a:pt x="2153377" y="876687"/>
                </a:cubicBezTo>
                <a:cubicBezTo>
                  <a:pt x="2153377" y="876687"/>
                  <a:pt x="2152827" y="875162"/>
                  <a:pt x="2152827" y="872983"/>
                </a:cubicBezTo>
                <a:lnTo>
                  <a:pt x="2154750" y="867642"/>
                </a:lnTo>
                <a:lnTo>
                  <a:pt x="2145960" y="862521"/>
                </a:lnTo>
                <a:lnTo>
                  <a:pt x="2143213" y="860015"/>
                </a:lnTo>
                <a:lnTo>
                  <a:pt x="2142938" y="859905"/>
                </a:lnTo>
                <a:lnTo>
                  <a:pt x="2142389" y="859251"/>
                </a:lnTo>
                <a:lnTo>
                  <a:pt x="2136895" y="854021"/>
                </a:lnTo>
                <a:lnTo>
                  <a:pt x="2138268" y="853803"/>
                </a:lnTo>
                <a:lnTo>
                  <a:pt x="2136346" y="845195"/>
                </a:lnTo>
                <a:cubicBezTo>
                  <a:pt x="2137169" y="835277"/>
                  <a:pt x="2146509" y="825361"/>
                  <a:pt x="2157223" y="822310"/>
                </a:cubicBezTo>
                <a:close/>
                <a:moveTo>
                  <a:pt x="2228368" y="821221"/>
                </a:moveTo>
                <a:cubicBezTo>
                  <a:pt x="2229192" y="821221"/>
                  <a:pt x="2230566" y="821656"/>
                  <a:pt x="2231940" y="823291"/>
                </a:cubicBezTo>
                <a:cubicBezTo>
                  <a:pt x="2234686" y="825144"/>
                  <a:pt x="2234412" y="826560"/>
                  <a:pt x="2231665" y="830701"/>
                </a:cubicBezTo>
                <a:cubicBezTo>
                  <a:pt x="2230016" y="832008"/>
                  <a:pt x="2228918" y="833425"/>
                  <a:pt x="2228094" y="834406"/>
                </a:cubicBezTo>
                <a:lnTo>
                  <a:pt x="2227270" y="834951"/>
                </a:lnTo>
                <a:lnTo>
                  <a:pt x="2230291" y="837566"/>
                </a:lnTo>
                <a:cubicBezTo>
                  <a:pt x="2237159" y="843124"/>
                  <a:pt x="2238258" y="847701"/>
                  <a:pt x="2233588" y="851297"/>
                </a:cubicBezTo>
                <a:cubicBezTo>
                  <a:pt x="2232214" y="851079"/>
                  <a:pt x="2228094" y="849009"/>
                  <a:pt x="2228094" y="850425"/>
                </a:cubicBezTo>
                <a:lnTo>
                  <a:pt x="2222875" y="840073"/>
                </a:lnTo>
                <a:lnTo>
                  <a:pt x="2222875" y="839854"/>
                </a:lnTo>
                <a:lnTo>
                  <a:pt x="2222051" y="838329"/>
                </a:lnTo>
                <a:cubicBezTo>
                  <a:pt x="2222051" y="837130"/>
                  <a:pt x="2222600" y="835931"/>
                  <a:pt x="2223149" y="834951"/>
                </a:cubicBezTo>
                <a:lnTo>
                  <a:pt x="2223424" y="834951"/>
                </a:lnTo>
                <a:lnTo>
                  <a:pt x="2223973" y="830701"/>
                </a:lnTo>
                <a:cubicBezTo>
                  <a:pt x="2224248" y="827540"/>
                  <a:pt x="2224522" y="824599"/>
                  <a:pt x="2226171" y="822528"/>
                </a:cubicBezTo>
                <a:cubicBezTo>
                  <a:pt x="2226721" y="821874"/>
                  <a:pt x="2227544" y="821329"/>
                  <a:pt x="2228368" y="821221"/>
                </a:cubicBezTo>
                <a:close/>
                <a:moveTo>
                  <a:pt x="1459772" y="820893"/>
                </a:moveTo>
                <a:cubicBezTo>
                  <a:pt x="1466366" y="823073"/>
                  <a:pt x="1468013" y="824054"/>
                  <a:pt x="1467189" y="832008"/>
                </a:cubicBezTo>
                <a:cubicBezTo>
                  <a:pt x="1467189" y="832008"/>
                  <a:pt x="1466091" y="833861"/>
                  <a:pt x="1466091" y="833861"/>
                </a:cubicBezTo>
                <a:cubicBezTo>
                  <a:pt x="1463344" y="840944"/>
                  <a:pt x="1455927" y="846720"/>
                  <a:pt x="1452630" y="846284"/>
                </a:cubicBezTo>
                <a:cubicBezTo>
                  <a:pt x="1450983" y="845412"/>
                  <a:pt x="1449334" y="843668"/>
                  <a:pt x="1448509" y="841489"/>
                </a:cubicBezTo>
                <a:cubicBezTo>
                  <a:pt x="1447960" y="839310"/>
                  <a:pt x="1447960" y="836694"/>
                  <a:pt x="1449609" y="833861"/>
                </a:cubicBezTo>
                <a:cubicBezTo>
                  <a:pt x="1451257" y="828630"/>
                  <a:pt x="1456476" y="826560"/>
                  <a:pt x="1459772" y="820893"/>
                </a:cubicBezTo>
                <a:close/>
                <a:moveTo>
                  <a:pt x="1298801" y="820566"/>
                </a:moveTo>
                <a:cubicBezTo>
                  <a:pt x="1304295" y="824816"/>
                  <a:pt x="1302922" y="822964"/>
                  <a:pt x="1306492" y="829720"/>
                </a:cubicBezTo>
                <a:lnTo>
                  <a:pt x="1298801" y="834842"/>
                </a:lnTo>
                <a:lnTo>
                  <a:pt x="1303196" y="841053"/>
                </a:lnTo>
                <a:cubicBezTo>
                  <a:pt x="1304844" y="844650"/>
                  <a:pt x="1305669" y="847810"/>
                  <a:pt x="1305943" y="848464"/>
                </a:cubicBezTo>
                <a:cubicBezTo>
                  <a:pt x="1304570" y="849118"/>
                  <a:pt x="1304844" y="849118"/>
                  <a:pt x="1304844" y="849118"/>
                </a:cubicBezTo>
                <a:cubicBezTo>
                  <a:pt x="1304021" y="844650"/>
                  <a:pt x="1298801" y="841489"/>
                  <a:pt x="1296329" y="836912"/>
                </a:cubicBezTo>
                <a:lnTo>
                  <a:pt x="1295779" y="834842"/>
                </a:lnTo>
                <a:lnTo>
                  <a:pt x="1291934" y="829284"/>
                </a:lnTo>
                <a:cubicBezTo>
                  <a:pt x="1292483" y="824925"/>
                  <a:pt x="1294131" y="822419"/>
                  <a:pt x="1298801" y="820566"/>
                </a:cubicBezTo>
                <a:close/>
                <a:moveTo>
                  <a:pt x="2349234" y="820239"/>
                </a:moveTo>
                <a:cubicBezTo>
                  <a:pt x="2351707" y="824816"/>
                  <a:pt x="2356102" y="825252"/>
                  <a:pt x="2358025" y="833098"/>
                </a:cubicBezTo>
                <a:lnTo>
                  <a:pt x="2343740" y="845195"/>
                </a:lnTo>
                <a:lnTo>
                  <a:pt x="2344015" y="845303"/>
                </a:lnTo>
                <a:cubicBezTo>
                  <a:pt x="2346213" y="846284"/>
                  <a:pt x="2348410" y="847919"/>
                  <a:pt x="2350608" y="850207"/>
                </a:cubicBezTo>
                <a:cubicBezTo>
                  <a:pt x="2348959" y="851406"/>
                  <a:pt x="2350333" y="853149"/>
                  <a:pt x="2351432" y="854893"/>
                </a:cubicBezTo>
                <a:lnTo>
                  <a:pt x="2348685" y="858489"/>
                </a:lnTo>
                <a:lnTo>
                  <a:pt x="2349783" y="859360"/>
                </a:lnTo>
                <a:cubicBezTo>
                  <a:pt x="2350608" y="860233"/>
                  <a:pt x="2351157" y="861540"/>
                  <a:pt x="2352805" y="864918"/>
                </a:cubicBezTo>
                <a:lnTo>
                  <a:pt x="2345389" y="870040"/>
                </a:lnTo>
                <a:lnTo>
                  <a:pt x="2349783" y="876142"/>
                </a:lnTo>
                <a:cubicBezTo>
                  <a:pt x="2351432" y="879739"/>
                  <a:pt x="2352256" y="883008"/>
                  <a:pt x="2352531" y="883662"/>
                </a:cubicBezTo>
                <a:cubicBezTo>
                  <a:pt x="2351157" y="884316"/>
                  <a:pt x="2351157" y="884207"/>
                  <a:pt x="2351157" y="884207"/>
                </a:cubicBezTo>
                <a:cubicBezTo>
                  <a:pt x="2350608" y="879739"/>
                  <a:pt x="2345389" y="876687"/>
                  <a:pt x="2342641" y="872110"/>
                </a:cubicBezTo>
                <a:lnTo>
                  <a:pt x="2342092" y="869931"/>
                </a:lnTo>
                <a:lnTo>
                  <a:pt x="2338246" y="864373"/>
                </a:lnTo>
                <a:lnTo>
                  <a:pt x="2339070" y="863284"/>
                </a:lnTo>
                <a:lnTo>
                  <a:pt x="2336324" y="863938"/>
                </a:lnTo>
                <a:cubicBezTo>
                  <a:pt x="2333027" y="863828"/>
                  <a:pt x="2329457" y="863174"/>
                  <a:pt x="2326984" y="861758"/>
                </a:cubicBezTo>
                <a:lnTo>
                  <a:pt x="2325885" y="860233"/>
                </a:lnTo>
                <a:lnTo>
                  <a:pt x="2320391" y="864918"/>
                </a:lnTo>
                <a:lnTo>
                  <a:pt x="2330830" y="870367"/>
                </a:lnTo>
                <a:lnTo>
                  <a:pt x="2331654" y="870367"/>
                </a:lnTo>
                <a:cubicBezTo>
                  <a:pt x="2331928" y="871020"/>
                  <a:pt x="2332478" y="871130"/>
                  <a:pt x="2332752" y="871348"/>
                </a:cubicBezTo>
                <a:lnTo>
                  <a:pt x="2332752" y="871893"/>
                </a:lnTo>
                <a:lnTo>
                  <a:pt x="2333851" y="873418"/>
                </a:lnTo>
                <a:lnTo>
                  <a:pt x="2337148" y="875053"/>
                </a:lnTo>
                <a:cubicBezTo>
                  <a:pt x="2341818" y="878431"/>
                  <a:pt x="2346762" y="885078"/>
                  <a:pt x="2347311" y="889546"/>
                </a:cubicBezTo>
                <a:lnTo>
                  <a:pt x="2342641" y="887693"/>
                </a:lnTo>
                <a:lnTo>
                  <a:pt x="2342916" y="887912"/>
                </a:lnTo>
                <a:lnTo>
                  <a:pt x="2341543" y="889001"/>
                </a:lnTo>
                <a:lnTo>
                  <a:pt x="2343740" y="891399"/>
                </a:lnTo>
                <a:cubicBezTo>
                  <a:pt x="2344564" y="892924"/>
                  <a:pt x="2345114" y="895104"/>
                  <a:pt x="2345389" y="897828"/>
                </a:cubicBezTo>
                <a:cubicBezTo>
                  <a:pt x="2344015" y="898918"/>
                  <a:pt x="2342641" y="899572"/>
                  <a:pt x="2341268" y="899790"/>
                </a:cubicBezTo>
                <a:cubicBezTo>
                  <a:pt x="2339620" y="900117"/>
                  <a:pt x="2338246" y="899572"/>
                  <a:pt x="2336873" y="898591"/>
                </a:cubicBezTo>
                <a:lnTo>
                  <a:pt x="2334126" y="895758"/>
                </a:lnTo>
                <a:lnTo>
                  <a:pt x="2333576" y="896084"/>
                </a:lnTo>
                <a:lnTo>
                  <a:pt x="2335774" y="903168"/>
                </a:lnTo>
                <a:cubicBezTo>
                  <a:pt x="2334126" y="906982"/>
                  <a:pt x="2331379" y="908072"/>
                  <a:pt x="2329457" y="907309"/>
                </a:cubicBezTo>
                <a:cubicBezTo>
                  <a:pt x="2325885" y="906219"/>
                  <a:pt x="2323138" y="904367"/>
                  <a:pt x="2321215" y="902405"/>
                </a:cubicBezTo>
                <a:lnTo>
                  <a:pt x="2320117" y="900880"/>
                </a:lnTo>
                <a:lnTo>
                  <a:pt x="2318194" y="901425"/>
                </a:lnTo>
                <a:cubicBezTo>
                  <a:pt x="2302536" y="901860"/>
                  <a:pt x="2286055" y="891508"/>
                  <a:pt x="2278088" y="874726"/>
                </a:cubicBezTo>
                <a:cubicBezTo>
                  <a:pt x="2279461" y="873309"/>
                  <a:pt x="2280835" y="871893"/>
                  <a:pt x="2279461" y="870367"/>
                </a:cubicBezTo>
                <a:lnTo>
                  <a:pt x="2284955" y="865681"/>
                </a:lnTo>
                <a:lnTo>
                  <a:pt x="2284680" y="865136"/>
                </a:lnTo>
                <a:lnTo>
                  <a:pt x="2284406" y="856091"/>
                </a:lnTo>
                <a:lnTo>
                  <a:pt x="2280561" y="856201"/>
                </a:lnTo>
                <a:cubicBezTo>
                  <a:pt x="2278088" y="855547"/>
                  <a:pt x="2276166" y="854348"/>
                  <a:pt x="2275067" y="852822"/>
                </a:cubicBezTo>
                <a:lnTo>
                  <a:pt x="2274242" y="851079"/>
                </a:lnTo>
                <a:lnTo>
                  <a:pt x="2272869" y="852059"/>
                </a:lnTo>
                <a:cubicBezTo>
                  <a:pt x="2271496" y="851951"/>
                  <a:pt x="2269848" y="850860"/>
                  <a:pt x="2267650" y="847919"/>
                </a:cubicBezTo>
                <a:lnTo>
                  <a:pt x="2271496" y="844322"/>
                </a:lnTo>
                <a:lnTo>
                  <a:pt x="2270397" y="842797"/>
                </a:lnTo>
                <a:lnTo>
                  <a:pt x="2269023" y="842797"/>
                </a:lnTo>
                <a:cubicBezTo>
                  <a:pt x="2268473" y="841489"/>
                  <a:pt x="2266276" y="839419"/>
                  <a:pt x="2264354" y="838765"/>
                </a:cubicBezTo>
                <a:cubicBezTo>
                  <a:pt x="2265727" y="838111"/>
                  <a:pt x="2267100" y="837458"/>
                  <a:pt x="2266551" y="836150"/>
                </a:cubicBezTo>
                <a:cubicBezTo>
                  <a:pt x="2268473" y="836804"/>
                  <a:pt x="2269573" y="837566"/>
                  <a:pt x="2270397" y="838111"/>
                </a:cubicBezTo>
                <a:lnTo>
                  <a:pt x="2270946" y="838438"/>
                </a:lnTo>
                <a:lnTo>
                  <a:pt x="2272319" y="838329"/>
                </a:lnTo>
                <a:lnTo>
                  <a:pt x="2273418" y="838765"/>
                </a:lnTo>
                <a:lnTo>
                  <a:pt x="2273967" y="838874"/>
                </a:lnTo>
                <a:cubicBezTo>
                  <a:pt x="2273967" y="838874"/>
                  <a:pt x="2273967" y="838765"/>
                  <a:pt x="2275342" y="834842"/>
                </a:cubicBezTo>
                <a:cubicBezTo>
                  <a:pt x="2275342" y="834842"/>
                  <a:pt x="2278088" y="830047"/>
                  <a:pt x="2282758" y="828522"/>
                </a:cubicBezTo>
                <a:lnTo>
                  <a:pt x="2287153" y="828413"/>
                </a:lnTo>
                <a:lnTo>
                  <a:pt x="2286879" y="825579"/>
                </a:lnTo>
                <a:cubicBezTo>
                  <a:pt x="2286604" y="820348"/>
                  <a:pt x="2289076" y="819477"/>
                  <a:pt x="2291823" y="820566"/>
                </a:cubicBezTo>
                <a:cubicBezTo>
                  <a:pt x="2296493" y="822528"/>
                  <a:pt x="2301712" y="829938"/>
                  <a:pt x="2296768" y="832227"/>
                </a:cubicBezTo>
                <a:lnTo>
                  <a:pt x="2292647" y="832336"/>
                </a:lnTo>
                <a:lnTo>
                  <a:pt x="2293471" y="832990"/>
                </a:lnTo>
                <a:cubicBezTo>
                  <a:pt x="2295943" y="835060"/>
                  <a:pt x="2298416" y="837675"/>
                  <a:pt x="2298416" y="841053"/>
                </a:cubicBezTo>
                <a:cubicBezTo>
                  <a:pt x="2298141" y="844431"/>
                  <a:pt x="2297317" y="846393"/>
                  <a:pt x="2297042" y="849663"/>
                </a:cubicBezTo>
                <a:lnTo>
                  <a:pt x="2293746" y="852168"/>
                </a:lnTo>
                <a:lnTo>
                  <a:pt x="2294020" y="860995"/>
                </a:lnTo>
                <a:lnTo>
                  <a:pt x="2293471" y="861758"/>
                </a:lnTo>
                <a:lnTo>
                  <a:pt x="2295119" y="861104"/>
                </a:lnTo>
                <a:lnTo>
                  <a:pt x="2308580" y="861649"/>
                </a:lnTo>
                <a:lnTo>
                  <a:pt x="2319018" y="848355"/>
                </a:lnTo>
                <a:cubicBezTo>
                  <a:pt x="2328357" y="838655"/>
                  <a:pt x="2339620" y="829720"/>
                  <a:pt x="2349234" y="820239"/>
                </a:cubicBezTo>
                <a:close/>
                <a:moveTo>
                  <a:pt x="1198262" y="819477"/>
                </a:moveTo>
                <a:cubicBezTo>
                  <a:pt x="1198262" y="819477"/>
                  <a:pt x="1199362" y="821221"/>
                  <a:pt x="1200736" y="822964"/>
                </a:cubicBezTo>
                <a:cubicBezTo>
                  <a:pt x="1202109" y="824707"/>
                  <a:pt x="1203482" y="825034"/>
                  <a:pt x="1203482" y="825034"/>
                </a:cubicBezTo>
                <a:cubicBezTo>
                  <a:pt x="1204856" y="826778"/>
                  <a:pt x="1204581" y="828194"/>
                  <a:pt x="1203207" y="829502"/>
                </a:cubicBezTo>
                <a:cubicBezTo>
                  <a:pt x="1203207" y="829502"/>
                  <a:pt x="1200461" y="827540"/>
                  <a:pt x="1200461" y="827540"/>
                </a:cubicBezTo>
                <a:cubicBezTo>
                  <a:pt x="1197713" y="824054"/>
                  <a:pt x="1196614" y="822419"/>
                  <a:pt x="1193868" y="820348"/>
                </a:cubicBezTo>
                <a:cubicBezTo>
                  <a:pt x="1195516" y="817624"/>
                  <a:pt x="1196889" y="817733"/>
                  <a:pt x="1198262" y="819477"/>
                </a:cubicBezTo>
                <a:close/>
                <a:moveTo>
                  <a:pt x="6040035" y="819149"/>
                </a:moveTo>
                <a:cubicBezTo>
                  <a:pt x="6042781" y="821983"/>
                  <a:pt x="6047177" y="824707"/>
                  <a:pt x="6051572" y="823291"/>
                </a:cubicBezTo>
                <a:cubicBezTo>
                  <a:pt x="6052945" y="823291"/>
                  <a:pt x="6052945" y="824707"/>
                  <a:pt x="6054318" y="826124"/>
                </a:cubicBezTo>
                <a:cubicBezTo>
                  <a:pt x="6054318" y="826124"/>
                  <a:pt x="6054318" y="827431"/>
                  <a:pt x="6052945" y="827431"/>
                </a:cubicBezTo>
                <a:cubicBezTo>
                  <a:pt x="6055692" y="830156"/>
                  <a:pt x="6058439" y="834297"/>
                  <a:pt x="6061461" y="837021"/>
                </a:cubicBezTo>
                <a:cubicBezTo>
                  <a:pt x="6065855" y="841162"/>
                  <a:pt x="6069976" y="845303"/>
                  <a:pt x="6072998" y="848028"/>
                </a:cubicBezTo>
                <a:cubicBezTo>
                  <a:pt x="6074371" y="848028"/>
                  <a:pt x="6074371" y="849444"/>
                  <a:pt x="6074371" y="850752"/>
                </a:cubicBezTo>
                <a:cubicBezTo>
                  <a:pt x="6074371" y="850752"/>
                  <a:pt x="6072998" y="850752"/>
                  <a:pt x="6071624" y="850752"/>
                </a:cubicBezTo>
                <a:cubicBezTo>
                  <a:pt x="6068603" y="846720"/>
                  <a:pt x="6064207" y="842470"/>
                  <a:pt x="6060087" y="839745"/>
                </a:cubicBezTo>
                <a:cubicBezTo>
                  <a:pt x="6055692" y="834297"/>
                  <a:pt x="6051297" y="830156"/>
                  <a:pt x="6045803" y="827431"/>
                </a:cubicBezTo>
                <a:cubicBezTo>
                  <a:pt x="6045803" y="827431"/>
                  <a:pt x="6044155" y="826124"/>
                  <a:pt x="6042781" y="826124"/>
                </a:cubicBezTo>
                <a:cubicBezTo>
                  <a:pt x="6042781" y="826124"/>
                  <a:pt x="6042781" y="824707"/>
                  <a:pt x="6042781" y="824707"/>
                </a:cubicBezTo>
                <a:cubicBezTo>
                  <a:pt x="6037013" y="828739"/>
                  <a:pt x="6045803" y="832990"/>
                  <a:pt x="6041408" y="835714"/>
                </a:cubicBezTo>
                <a:cubicBezTo>
                  <a:pt x="6042781" y="838438"/>
                  <a:pt x="6044155" y="839745"/>
                  <a:pt x="6045803" y="841162"/>
                </a:cubicBezTo>
                <a:cubicBezTo>
                  <a:pt x="6045803" y="841162"/>
                  <a:pt x="6045803" y="842470"/>
                  <a:pt x="6047177" y="842470"/>
                </a:cubicBezTo>
                <a:cubicBezTo>
                  <a:pt x="6048550" y="843887"/>
                  <a:pt x="6050198" y="843887"/>
                  <a:pt x="6050198" y="845195"/>
                </a:cubicBezTo>
                <a:cubicBezTo>
                  <a:pt x="6051572" y="845195"/>
                  <a:pt x="6052945" y="845195"/>
                  <a:pt x="6054318" y="845195"/>
                </a:cubicBezTo>
                <a:cubicBezTo>
                  <a:pt x="6055692" y="845195"/>
                  <a:pt x="6055692" y="846720"/>
                  <a:pt x="6055692" y="848028"/>
                </a:cubicBezTo>
                <a:cubicBezTo>
                  <a:pt x="6055692" y="848028"/>
                  <a:pt x="6055692" y="849335"/>
                  <a:pt x="6054318" y="849335"/>
                </a:cubicBezTo>
                <a:cubicBezTo>
                  <a:pt x="6052945" y="849335"/>
                  <a:pt x="6052945" y="849444"/>
                  <a:pt x="6051572" y="848028"/>
                </a:cubicBezTo>
                <a:cubicBezTo>
                  <a:pt x="6052945" y="849444"/>
                  <a:pt x="6052945" y="850752"/>
                  <a:pt x="6054318" y="850752"/>
                </a:cubicBezTo>
                <a:cubicBezTo>
                  <a:pt x="6054318" y="850752"/>
                  <a:pt x="6054318" y="850752"/>
                  <a:pt x="6054318" y="852059"/>
                </a:cubicBezTo>
                <a:cubicBezTo>
                  <a:pt x="6054318" y="852059"/>
                  <a:pt x="6054318" y="852168"/>
                  <a:pt x="6054318" y="853476"/>
                </a:cubicBezTo>
                <a:cubicBezTo>
                  <a:pt x="6057066" y="853476"/>
                  <a:pt x="6060087" y="854783"/>
                  <a:pt x="6061461" y="857617"/>
                </a:cubicBezTo>
                <a:cubicBezTo>
                  <a:pt x="6065855" y="860341"/>
                  <a:pt x="6067229" y="863066"/>
                  <a:pt x="6065855" y="865790"/>
                </a:cubicBezTo>
                <a:lnTo>
                  <a:pt x="6064757" y="866771"/>
                </a:lnTo>
                <a:lnTo>
                  <a:pt x="6064482" y="866662"/>
                </a:lnTo>
                <a:lnTo>
                  <a:pt x="6064482" y="864482"/>
                </a:lnTo>
                <a:cubicBezTo>
                  <a:pt x="6064482" y="861758"/>
                  <a:pt x="6061461" y="860341"/>
                  <a:pt x="6061461" y="859034"/>
                </a:cubicBezTo>
                <a:cubicBezTo>
                  <a:pt x="6058439" y="857617"/>
                  <a:pt x="6055692" y="856201"/>
                  <a:pt x="6054318" y="856201"/>
                </a:cubicBezTo>
                <a:cubicBezTo>
                  <a:pt x="6054318" y="857617"/>
                  <a:pt x="6054318" y="858925"/>
                  <a:pt x="6054318" y="860341"/>
                </a:cubicBezTo>
                <a:cubicBezTo>
                  <a:pt x="6055692" y="861649"/>
                  <a:pt x="6054318" y="861758"/>
                  <a:pt x="6054318" y="861758"/>
                </a:cubicBezTo>
                <a:cubicBezTo>
                  <a:pt x="6052945" y="863066"/>
                  <a:pt x="6052945" y="861758"/>
                  <a:pt x="6051572" y="861758"/>
                </a:cubicBezTo>
                <a:cubicBezTo>
                  <a:pt x="6052945" y="861758"/>
                  <a:pt x="6052945" y="863066"/>
                  <a:pt x="6054318" y="864482"/>
                </a:cubicBezTo>
                <a:cubicBezTo>
                  <a:pt x="6055692" y="865790"/>
                  <a:pt x="6055692" y="865790"/>
                  <a:pt x="6054318" y="865790"/>
                </a:cubicBezTo>
                <a:cubicBezTo>
                  <a:pt x="6054318" y="867098"/>
                  <a:pt x="6054318" y="867098"/>
                  <a:pt x="6052945" y="865790"/>
                </a:cubicBezTo>
                <a:cubicBezTo>
                  <a:pt x="6051572" y="864373"/>
                  <a:pt x="6051572" y="863066"/>
                  <a:pt x="6050198" y="863066"/>
                </a:cubicBezTo>
                <a:cubicBezTo>
                  <a:pt x="6050198" y="863066"/>
                  <a:pt x="6050198" y="863066"/>
                  <a:pt x="6050198" y="861758"/>
                </a:cubicBezTo>
                <a:cubicBezTo>
                  <a:pt x="6044430" y="857617"/>
                  <a:pt x="6040035" y="853476"/>
                  <a:pt x="6034266" y="849335"/>
                </a:cubicBezTo>
                <a:cubicBezTo>
                  <a:pt x="6034266" y="850752"/>
                  <a:pt x="6032892" y="849335"/>
                  <a:pt x="6031244" y="849335"/>
                </a:cubicBezTo>
                <a:cubicBezTo>
                  <a:pt x="6029871" y="848028"/>
                  <a:pt x="6029871" y="846611"/>
                  <a:pt x="6028498" y="845195"/>
                </a:cubicBezTo>
                <a:cubicBezTo>
                  <a:pt x="6025750" y="843887"/>
                  <a:pt x="6022729" y="842470"/>
                  <a:pt x="6019982" y="842470"/>
                </a:cubicBezTo>
                <a:cubicBezTo>
                  <a:pt x="6022729" y="846611"/>
                  <a:pt x="6025750" y="850752"/>
                  <a:pt x="6029871" y="854783"/>
                </a:cubicBezTo>
                <a:cubicBezTo>
                  <a:pt x="6029871" y="854783"/>
                  <a:pt x="6029871" y="854893"/>
                  <a:pt x="6029871" y="856201"/>
                </a:cubicBezTo>
                <a:cubicBezTo>
                  <a:pt x="6029871" y="857617"/>
                  <a:pt x="6028498" y="859034"/>
                  <a:pt x="6027124" y="859034"/>
                </a:cubicBezTo>
                <a:cubicBezTo>
                  <a:pt x="6027124" y="857617"/>
                  <a:pt x="6025476" y="857617"/>
                  <a:pt x="6025476" y="856201"/>
                </a:cubicBezTo>
                <a:cubicBezTo>
                  <a:pt x="6019982" y="848028"/>
                  <a:pt x="6014213" y="841162"/>
                  <a:pt x="6008445" y="835714"/>
                </a:cubicBezTo>
                <a:cubicBezTo>
                  <a:pt x="6004049" y="834297"/>
                  <a:pt x="5999929" y="831573"/>
                  <a:pt x="5995534" y="828848"/>
                </a:cubicBezTo>
                <a:cubicBezTo>
                  <a:pt x="5998281" y="837021"/>
                  <a:pt x="6009818" y="842579"/>
                  <a:pt x="6016960" y="853476"/>
                </a:cubicBezTo>
                <a:cubicBezTo>
                  <a:pt x="6022729" y="860341"/>
                  <a:pt x="6024103" y="872655"/>
                  <a:pt x="6037013" y="874072"/>
                </a:cubicBezTo>
                <a:cubicBezTo>
                  <a:pt x="6037013" y="874072"/>
                  <a:pt x="6037287" y="874072"/>
                  <a:pt x="6038661" y="872655"/>
                </a:cubicBezTo>
                <a:cubicBezTo>
                  <a:pt x="6038661" y="871239"/>
                  <a:pt x="6038661" y="871348"/>
                  <a:pt x="6038661" y="871348"/>
                </a:cubicBezTo>
                <a:cubicBezTo>
                  <a:pt x="6038661" y="869931"/>
                  <a:pt x="6038661" y="869931"/>
                  <a:pt x="6038661" y="869931"/>
                </a:cubicBezTo>
                <a:cubicBezTo>
                  <a:pt x="6035640" y="869931"/>
                  <a:pt x="6034266" y="865790"/>
                  <a:pt x="6031244" y="869931"/>
                </a:cubicBezTo>
                <a:cubicBezTo>
                  <a:pt x="6028498" y="865790"/>
                  <a:pt x="6031519" y="864373"/>
                  <a:pt x="6027124" y="860341"/>
                </a:cubicBezTo>
                <a:cubicBezTo>
                  <a:pt x="6032892" y="861649"/>
                  <a:pt x="6034266" y="863066"/>
                  <a:pt x="6037013" y="867207"/>
                </a:cubicBezTo>
                <a:cubicBezTo>
                  <a:pt x="6037013" y="865790"/>
                  <a:pt x="6037013" y="865790"/>
                  <a:pt x="6037013" y="865790"/>
                </a:cubicBezTo>
                <a:cubicBezTo>
                  <a:pt x="6037013" y="864373"/>
                  <a:pt x="6038661" y="865790"/>
                  <a:pt x="6038661" y="865790"/>
                </a:cubicBezTo>
                <a:cubicBezTo>
                  <a:pt x="6040035" y="867098"/>
                  <a:pt x="6041408" y="868624"/>
                  <a:pt x="6041408" y="871348"/>
                </a:cubicBezTo>
                <a:cubicBezTo>
                  <a:pt x="6042781" y="871348"/>
                  <a:pt x="6044155" y="872655"/>
                  <a:pt x="6044155" y="872655"/>
                </a:cubicBezTo>
                <a:cubicBezTo>
                  <a:pt x="6045803" y="872655"/>
                  <a:pt x="6047177" y="873963"/>
                  <a:pt x="6048550" y="875380"/>
                </a:cubicBezTo>
                <a:cubicBezTo>
                  <a:pt x="6049923" y="873963"/>
                  <a:pt x="6049923" y="874072"/>
                  <a:pt x="6051572" y="872655"/>
                </a:cubicBezTo>
                <a:cubicBezTo>
                  <a:pt x="6051572" y="872655"/>
                  <a:pt x="6052945" y="872655"/>
                  <a:pt x="6052945" y="872655"/>
                </a:cubicBezTo>
                <a:cubicBezTo>
                  <a:pt x="6052945" y="874072"/>
                  <a:pt x="6054318" y="874072"/>
                  <a:pt x="6052945" y="874072"/>
                </a:cubicBezTo>
                <a:cubicBezTo>
                  <a:pt x="6052945" y="874072"/>
                  <a:pt x="6052945" y="873963"/>
                  <a:pt x="6052945" y="875380"/>
                </a:cubicBezTo>
                <a:cubicBezTo>
                  <a:pt x="6051572" y="875380"/>
                  <a:pt x="6051572" y="875380"/>
                  <a:pt x="6051572" y="876796"/>
                </a:cubicBezTo>
                <a:cubicBezTo>
                  <a:pt x="6054318" y="883662"/>
                  <a:pt x="6058714" y="890527"/>
                  <a:pt x="6064482" y="897392"/>
                </a:cubicBezTo>
                <a:cubicBezTo>
                  <a:pt x="6067229" y="900117"/>
                  <a:pt x="6069976" y="904149"/>
                  <a:pt x="6072998" y="908290"/>
                </a:cubicBezTo>
                <a:cubicBezTo>
                  <a:pt x="6074371" y="909706"/>
                  <a:pt x="6075744" y="911122"/>
                  <a:pt x="6075744" y="912430"/>
                </a:cubicBezTo>
                <a:lnTo>
                  <a:pt x="6077118" y="914610"/>
                </a:lnTo>
                <a:lnTo>
                  <a:pt x="6077668" y="914610"/>
                </a:lnTo>
                <a:cubicBezTo>
                  <a:pt x="6076843" y="916027"/>
                  <a:pt x="6085908" y="918751"/>
                  <a:pt x="6088106" y="926924"/>
                </a:cubicBezTo>
                <a:lnTo>
                  <a:pt x="6088106" y="929976"/>
                </a:lnTo>
                <a:lnTo>
                  <a:pt x="6088656" y="930738"/>
                </a:lnTo>
                <a:cubicBezTo>
                  <a:pt x="6090304" y="931937"/>
                  <a:pt x="6091677" y="932917"/>
                  <a:pt x="6093050" y="934334"/>
                </a:cubicBezTo>
                <a:cubicBezTo>
                  <a:pt x="6094424" y="931610"/>
                  <a:pt x="6084535" y="922020"/>
                  <a:pt x="6088656" y="920603"/>
                </a:cubicBezTo>
                <a:cubicBezTo>
                  <a:pt x="6084535" y="915155"/>
                  <a:pt x="6081513" y="909597"/>
                  <a:pt x="6077393" y="904149"/>
                </a:cubicBezTo>
                <a:cubicBezTo>
                  <a:pt x="6077393" y="904149"/>
                  <a:pt x="6077393" y="904258"/>
                  <a:pt x="6068603" y="894668"/>
                </a:cubicBezTo>
                <a:cubicBezTo>
                  <a:pt x="6068603" y="894668"/>
                  <a:pt x="6068603" y="893251"/>
                  <a:pt x="6068603" y="893251"/>
                </a:cubicBezTo>
                <a:cubicBezTo>
                  <a:pt x="6068603" y="893251"/>
                  <a:pt x="6069976" y="893251"/>
                  <a:pt x="6069976" y="893251"/>
                </a:cubicBezTo>
                <a:cubicBezTo>
                  <a:pt x="6069976" y="893251"/>
                  <a:pt x="6069976" y="893251"/>
                  <a:pt x="6078767" y="902841"/>
                </a:cubicBezTo>
                <a:cubicBezTo>
                  <a:pt x="6082887" y="908290"/>
                  <a:pt x="6087282" y="913738"/>
                  <a:pt x="6091677" y="919187"/>
                </a:cubicBezTo>
                <a:cubicBezTo>
                  <a:pt x="6091677" y="920603"/>
                  <a:pt x="6091677" y="920603"/>
                  <a:pt x="6091677" y="920603"/>
                </a:cubicBezTo>
                <a:cubicBezTo>
                  <a:pt x="6095248" y="922674"/>
                  <a:pt x="6098269" y="925399"/>
                  <a:pt x="6101291" y="928558"/>
                </a:cubicBezTo>
                <a:lnTo>
                  <a:pt x="6106511" y="935533"/>
                </a:lnTo>
                <a:lnTo>
                  <a:pt x="6109257" y="935206"/>
                </a:lnTo>
                <a:cubicBezTo>
                  <a:pt x="6113927" y="935206"/>
                  <a:pt x="6117773" y="935751"/>
                  <a:pt x="6120245" y="936623"/>
                </a:cubicBezTo>
                <a:lnTo>
                  <a:pt x="6110906" y="941853"/>
                </a:lnTo>
                <a:lnTo>
                  <a:pt x="6116674" y="951225"/>
                </a:lnTo>
                <a:cubicBezTo>
                  <a:pt x="6118872" y="955584"/>
                  <a:pt x="6121070" y="959616"/>
                  <a:pt x="6123267" y="963103"/>
                </a:cubicBezTo>
                <a:cubicBezTo>
                  <a:pt x="6124640" y="964411"/>
                  <a:pt x="6126014" y="965827"/>
                  <a:pt x="6127388" y="967244"/>
                </a:cubicBezTo>
                <a:cubicBezTo>
                  <a:pt x="6129035" y="968551"/>
                  <a:pt x="6130409" y="969968"/>
                  <a:pt x="6128761" y="971385"/>
                </a:cubicBezTo>
                <a:cubicBezTo>
                  <a:pt x="6128761" y="972693"/>
                  <a:pt x="6127388" y="972693"/>
                  <a:pt x="6126014" y="971385"/>
                </a:cubicBezTo>
                <a:cubicBezTo>
                  <a:pt x="6127388" y="975526"/>
                  <a:pt x="6130409" y="979558"/>
                  <a:pt x="6133156" y="985007"/>
                </a:cubicBezTo>
                <a:cubicBezTo>
                  <a:pt x="6133156" y="985007"/>
                  <a:pt x="6133156" y="985007"/>
                  <a:pt x="6131783" y="985007"/>
                </a:cubicBezTo>
                <a:cubicBezTo>
                  <a:pt x="6131783" y="985007"/>
                  <a:pt x="6131783" y="985116"/>
                  <a:pt x="6132058" y="985551"/>
                </a:cubicBezTo>
                <a:lnTo>
                  <a:pt x="6132881" y="986641"/>
                </a:lnTo>
                <a:lnTo>
                  <a:pt x="6136177" y="987840"/>
                </a:lnTo>
                <a:cubicBezTo>
                  <a:pt x="6139474" y="989474"/>
                  <a:pt x="6142771" y="991436"/>
                  <a:pt x="6144419" y="993616"/>
                </a:cubicBezTo>
                <a:cubicBezTo>
                  <a:pt x="6145517" y="995032"/>
                  <a:pt x="6146067" y="996558"/>
                  <a:pt x="6145242" y="998301"/>
                </a:cubicBezTo>
                <a:cubicBezTo>
                  <a:pt x="6144419" y="999500"/>
                  <a:pt x="6143320" y="999718"/>
                  <a:pt x="6142221" y="999718"/>
                </a:cubicBezTo>
                <a:lnTo>
                  <a:pt x="6140847" y="999718"/>
                </a:lnTo>
                <a:lnTo>
                  <a:pt x="6146067" y="1008327"/>
                </a:lnTo>
                <a:cubicBezTo>
                  <a:pt x="6147440" y="1008327"/>
                  <a:pt x="6147440" y="1008327"/>
                  <a:pt x="6149088" y="1008327"/>
                </a:cubicBezTo>
                <a:cubicBezTo>
                  <a:pt x="6149088" y="1008327"/>
                  <a:pt x="6149088" y="1009635"/>
                  <a:pt x="6149088" y="1011051"/>
                </a:cubicBezTo>
                <a:cubicBezTo>
                  <a:pt x="6151835" y="1011051"/>
                  <a:pt x="6153209" y="1015192"/>
                  <a:pt x="6156230" y="1016500"/>
                </a:cubicBezTo>
                <a:cubicBezTo>
                  <a:pt x="6151835" y="1017916"/>
                  <a:pt x="6153209" y="1020750"/>
                  <a:pt x="6158978" y="1033064"/>
                </a:cubicBezTo>
                <a:lnTo>
                  <a:pt x="6165845" y="1047230"/>
                </a:lnTo>
                <a:lnTo>
                  <a:pt x="6166669" y="1045922"/>
                </a:lnTo>
                <a:lnTo>
                  <a:pt x="6172712" y="1044942"/>
                </a:lnTo>
                <a:lnTo>
                  <a:pt x="6172712" y="1042653"/>
                </a:lnTo>
                <a:lnTo>
                  <a:pt x="6173261" y="1042326"/>
                </a:lnTo>
                <a:lnTo>
                  <a:pt x="6170789" y="1040256"/>
                </a:lnTo>
                <a:cubicBezTo>
                  <a:pt x="6168866" y="1039057"/>
                  <a:pt x="6167218" y="1037858"/>
                  <a:pt x="6168866" y="1035352"/>
                </a:cubicBezTo>
                <a:cubicBezTo>
                  <a:pt x="6170240" y="1036114"/>
                  <a:pt x="6171613" y="1037313"/>
                  <a:pt x="6173261" y="1038621"/>
                </a:cubicBezTo>
                <a:lnTo>
                  <a:pt x="6176009" y="1040801"/>
                </a:lnTo>
                <a:lnTo>
                  <a:pt x="6176558" y="1040582"/>
                </a:lnTo>
                <a:cubicBezTo>
                  <a:pt x="6177931" y="1040365"/>
                  <a:pt x="6179579" y="1040582"/>
                  <a:pt x="6180953" y="1040691"/>
                </a:cubicBezTo>
                <a:cubicBezTo>
                  <a:pt x="6183425" y="1041236"/>
                  <a:pt x="6184524" y="1042435"/>
                  <a:pt x="6184798" y="1043851"/>
                </a:cubicBezTo>
                <a:cubicBezTo>
                  <a:pt x="6185073" y="1045268"/>
                  <a:pt x="6184524" y="1047012"/>
                  <a:pt x="6183700" y="1048973"/>
                </a:cubicBezTo>
                <a:lnTo>
                  <a:pt x="6183425" y="1049082"/>
                </a:lnTo>
                <a:lnTo>
                  <a:pt x="6191667" y="1054204"/>
                </a:lnTo>
                <a:lnTo>
                  <a:pt x="6191941" y="1053005"/>
                </a:lnTo>
                <a:cubicBezTo>
                  <a:pt x="6193040" y="1050281"/>
                  <a:pt x="6194687" y="1047774"/>
                  <a:pt x="6196611" y="1047230"/>
                </a:cubicBezTo>
                <a:cubicBezTo>
                  <a:pt x="6198259" y="1048319"/>
                  <a:pt x="6200182" y="1049301"/>
                  <a:pt x="6201830" y="1050390"/>
                </a:cubicBezTo>
                <a:cubicBezTo>
                  <a:pt x="6202379" y="1053224"/>
                  <a:pt x="6202105" y="1056057"/>
                  <a:pt x="6201280" y="1058127"/>
                </a:cubicBezTo>
                <a:lnTo>
                  <a:pt x="6198259" y="1060742"/>
                </a:lnTo>
                <a:lnTo>
                  <a:pt x="6201280" y="1065101"/>
                </a:lnTo>
                <a:cubicBezTo>
                  <a:pt x="6202379" y="1067826"/>
                  <a:pt x="6203478" y="1070441"/>
                  <a:pt x="6204851" y="1072730"/>
                </a:cubicBezTo>
                <a:lnTo>
                  <a:pt x="6209247" y="1076325"/>
                </a:lnTo>
                <a:lnTo>
                  <a:pt x="6213642" y="1065646"/>
                </a:lnTo>
                <a:lnTo>
                  <a:pt x="6210620" y="1058999"/>
                </a:lnTo>
                <a:cubicBezTo>
                  <a:pt x="6209247" y="1056275"/>
                  <a:pt x="6207599" y="1054858"/>
                  <a:pt x="6206224" y="1052134"/>
                </a:cubicBezTo>
                <a:cubicBezTo>
                  <a:pt x="6206224" y="1053550"/>
                  <a:pt x="6206224" y="1053550"/>
                  <a:pt x="6204851" y="1053550"/>
                </a:cubicBezTo>
                <a:cubicBezTo>
                  <a:pt x="6203478" y="1053550"/>
                  <a:pt x="6203478" y="1053550"/>
                  <a:pt x="6203478" y="1052134"/>
                </a:cubicBezTo>
                <a:lnTo>
                  <a:pt x="6197984" y="1040691"/>
                </a:lnTo>
                <a:lnTo>
                  <a:pt x="6197984" y="1041781"/>
                </a:lnTo>
                <a:cubicBezTo>
                  <a:pt x="6195237" y="1046358"/>
                  <a:pt x="6194687" y="1047884"/>
                  <a:pt x="6190567" y="1047884"/>
                </a:cubicBezTo>
                <a:cubicBezTo>
                  <a:pt x="6190842" y="1044070"/>
                  <a:pt x="6194138" y="1041890"/>
                  <a:pt x="6192490" y="1041127"/>
                </a:cubicBezTo>
                <a:lnTo>
                  <a:pt x="6195512" y="1035788"/>
                </a:lnTo>
                <a:lnTo>
                  <a:pt x="6191941" y="1030339"/>
                </a:lnTo>
                <a:cubicBezTo>
                  <a:pt x="6184798" y="1028922"/>
                  <a:pt x="6180404" y="1033064"/>
                  <a:pt x="6176283" y="1020641"/>
                </a:cubicBezTo>
                <a:cubicBezTo>
                  <a:pt x="6174910" y="1022058"/>
                  <a:pt x="6177657" y="1027615"/>
                  <a:pt x="6171888" y="1027615"/>
                </a:cubicBezTo>
                <a:cubicBezTo>
                  <a:pt x="6170515" y="1020750"/>
                  <a:pt x="6167493" y="1023474"/>
                  <a:pt x="6166120" y="1017916"/>
                </a:cubicBezTo>
                <a:cubicBezTo>
                  <a:pt x="6170515" y="1015192"/>
                  <a:pt x="6171888" y="1019224"/>
                  <a:pt x="6174910" y="1019224"/>
                </a:cubicBezTo>
                <a:cubicBezTo>
                  <a:pt x="6171888" y="1016500"/>
                  <a:pt x="6173261" y="1011051"/>
                  <a:pt x="6167493" y="1004186"/>
                </a:cubicBezTo>
                <a:cubicBezTo>
                  <a:pt x="6169141" y="1004186"/>
                  <a:pt x="6170515" y="1005602"/>
                  <a:pt x="6171888" y="1005602"/>
                </a:cubicBezTo>
                <a:cubicBezTo>
                  <a:pt x="6171888" y="1004186"/>
                  <a:pt x="6171888" y="1004186"/>
                  <a:pt x="6171888" y="1004186"/>
                </a:cubicBezTo>
                <a:cubicBezTo>
                  <a:pt x="6170515" y="1002769"/>
                  <a:pt x="6170515" y="1000154"/>
                  <a:pt x="6171888" y="1000154"/>
                </a:cubicBezTo>
                <a:cubicBezTo>
                  <a:pt x="6173536" y="1000154"/>
                  <a:pt x="6174910" y="1001461"/>
                  <a:pt x="6176283" y="1002878"/>
                </a:cubicBezTo>
                <a:cubicBezTo>
                  <a:pt x="6176283" y="1002878"/>
                  <a:pt x="6176283" y="1004186"/>
                  <a:pt x="6177657" y="1005602"/>
                </a:cubicBezTo>
                <a:cubicBezTo>
                  <a:pt x="6180404" y="1009744"/>
                  <a:pt x="6182052" y="1016500"/>
                  <a:pt x="6186172" y="1019224"/>
                </a:cubicBezTo>
                <a:cubicBezTo>
                  <a:pt x="6190567" y="1016500"/>
                  <a:pt x="6187821" y="1011051"/>
                  <a:pt x="6190567" y="1008327"/>
                </a:cubicBezTo>
                <a:cubicBezTo>
                  <a:pt x="6189194" y="1001461"/>
                  <a:pt x="6184798" y="994706"/>
                  <a:pt x="6180404" y="989148"/>
                </a:cubicBezTo>
                <a:cubicBezTo>
                  <a:pt x="6180404" y="989148"/>
                  <a:pt x="6180404" y="989148"/>
                  <a:pt x="6179030" y="987731"/>
                </a:cubicBezTo>
                <a:cubicBezTo>
                  <a:pt x="6176283" y="986423"/>
                  <a:pt x="6173261" y="976834"/>
                  <a:pt x="6169141" y="979558"/>
                </a:cubicBezTo>
                <a:cubicBezTo>
                  <a:pt x="6170515" y="985007"/>
                  <a:pt x="6173261" y="989148"/>
                  <a:pt x="6174910" y="993288"/>
                </a:cubicBezTo>
                <a:cubicBezTo>
                  <a:pt x="6176283" y="996013"/>
                  <a:pt x="6176283" y="997430"/>
                  <a:pt x="6174910" y="997430"/>
                </a:cubicBezTo>
                <a:cubicBezTo>
                  <a:pt x="6173261" y="997430"/>
                  <a:pt x="6171888" y="997430"/>
                  <a:pt x="6170515" y="994706"/>
                </a:cubicBezTo>
                <a:cubicBezTo>
                  <a:pt x="6167493" y="986423"/>
                  <a:pt x="6161724" y="978250"/>
                  <a:pt x="6156230" y="971385"/>
                </a:cubicBezTo>
                <a:lnTo>
                  <a:pt x="6148814" y="960597"/>
                </a:lnTo>
                <a:lnTo>
                  <a:pt x="6145242" y="959289"/>
                </a:lnTo>
                <a:lnTo>
                  <a:pt x="6144419" y="962341"/>
                </a:lnTo>
                <a:cubicBezTo>
                  <a:pt x="6144419" y="962341"/>
                  <a:pt x="6137826" y="964411"/>
                  <a:pt x="6137826" y="964411"/>
                </a:cubicBezTo>
                <a:cubicBezTo>
                  <a:pt x="6135628" y="962231"/>
                  <a:pt x="6135628" y="962341"/>
                  <a:pt x="6137826" y="962341"/>
                </a:cubicBezTo>
                <a:cubicBezTo>
                  <a:pt x="6135628" y="958090"/>
                  <a:pt x="6135628" y="956020"/>
                  <a:pt x="6135628" y="953840"/>
                </a:cubicBezTo>
                <a:lnTo>
                  <a:pt x="6143045" y="953840"/>
                </a:lnTo>
                <a:lnTo>
                  <a:pt x="6142771" y="951443"/>
                </a:lnTo>
                <a:lnTo>
                  <a:pt x="6142771" y="951225"/>
                </a:lnTo>
                <a:cubicBezTo>
                  <a:pt x="6142221" y="949699"/>
                  <a:pt x="6141671" y="948064"/>
                  <a:pt x="6141671" y="946648"/>
                </a:cubicBezTo>
                <a:cubicBezTo>
                  <a:pt x="6140298" y="945340"/>
                  <a:pt x="6140298" y="943924"/>
                  <a:pt x="6138925" y="942507"/>
                </a:cubicBezTo>
                <a:cubicBezTo>
                  <a:pt x="6138925" y="941091"/>
                  <a:pt x="6138925" y="939783"/>
                  <a:pt x="6140298" y="939783"/>
                </a:cubicBezTo>
                <a:cubicBezTo>
                  <a:pt x="6141671" y="938367"/>
                  <a:pt x="6143320" y="939783"/>
                  <a:pt x="6143320" y="941200"/>
                </a:cubicBezTo>
                <a:lnTo>
                  <a:pt x="6149088" y="949808"/>
                </a:lnTo>
                <a:lnTo>
                  <a:pt x="6154308" y="952642"/>
                </a:lnTo>
                <a:cubicBezTo>
                  <a:pt x="6156505" y="954930"/>
                  <a:pt x="6157604" y="957873"/>
                  <a:pt x="6156230" y="960597"/>
                </a:cubicBezTo>
                <a:lnTo>
                  <a:pt x="6156230" y="960706"/>
                </a:lnTo>
                <a:lnTo>
                  <a:pt x="6160351" y="967244"/>
                </a:lnTo>
                <a:cubicBezTo>
                  <a:pt x="6161999" y="971276"/>
                  <a:pt x="6164746" y="974110"/>
                  <a:pt x="6166120" y="976834"/>
                </a:cubicBezTo>
                <a:cubicBezTo>
                  <a:pt x="6166120" y="975417"/>
                  <a:pt x="6169141" y="974110"/>
                  <a:pt x="6169141" y="972693"/>
                </a:cubicBezTo>
                <a:cubicBezTo>
                  <a:pt x="6167493" y="967244"/>
                  <a:pt x="6160351" y="960379"/>
                  <a:pt x="6161999" y="956238"/>
                </a:cubicBezTo>
                <a:cubicBezTo>
                  <a:pt x="6160351" y="956238"/>
                  <a:pt x="6160351" y="954821"/>
                  <a:pt x="6160351" y="954821"/>
                </a:cubicBezTo>
                <a:cubicBezTo>
                  <a:pt x="6153209" y="953513"/>
                  <a:pt x="6151835" y="943924"/>
                  <a:pt x="6147715" y="938475"/>
                </a:cubicBezTo>
                <a:cubicBezTo>
                  <a:pt x="6144693" y="935751"/>
                  <a:pt x="6140298" y="934334"/>
                  <a:pt x="6137551" y="930302"/>
                </a:cubicBezTo>
                <a:cubicBezTo>
                  <a:pt x="6133156" y="926161"/>
                  <a:pt x="6129035" y="919296"/>
                  <a:pt x="6126014" y="912430"/>
                </a:cubicBezTo>
                <a:cubicBezTo>
                  <a:pt x="6121619" y="906982"/>
                  <a:pt x="6118872" y="902732"/>
                  <a:pt x="6114476" y="901425"/>
                </a:cubicBezTo>
                <a:cubicBezTo>
                  <a:pt x="6116125" y="904149"/>
                  <a:pt x="6117498" y="905457"/>
                  <a:pt x="6118872" y="906873"/>
                </a:cubicBezTo>
                <a:cubicBezTo>
                  <a:pt x="6118872" y="908290"/>
                  <a:pt x="6118872" y="909706"/>
                  <a:pt x="6118872" y="909706"/>
                </a:cubicBezTo>
                <a:cubicBezTo>
                  <a:pt x="6117498" y="911122"/>
                  <a:pt x="6116125" y="909706"/>
                  <a:pt x="6116125" y="909706"/>
                </a:cubicBezTo>
                <a:cubicBezTo>
                  <a:pt x="6116125" y="909706"/>
                  <a:pt x="6116125" y="909597"/>
                  <a:pt x="6114476" y="906873"/>
                </a:cubicBezTo>
                <a:cubicBezTo>
                  <a:pt x="6113103" y="905457"/>
                  <a:pt x="6111730" y="902732"/>
                  <a:pt x="6110082" y="901425"/>
                </a:cubicBezTo>
                <a:cubicBezTo>
                  <a:pt x="6110082" y="901425"/>
                  <a:pt x="6110082" y="901425"/>
                  <a:pt x="6108708" y="900117"/>
                </a:cubicBezTo>
                <a:cubicBezTo>
                  <a:pt x="6107335" y="901425"/>
                  <a:pt x="6108982" y="904149"/>
                  <a:pt x="6111730" y="908290"/>
                </a:cubicBezTo>
                <a:cubicBezTo>
                  <a:pt x="6108982" y="908290"/>
                  <a:pt x="6107335" y="904149"/>
                  <a:pt x="6105961" y="902841"/>
                </a:cubicBezTo>
                <a:lnTo>
                  <a:pt x="6105137" y="903168"/>
                </a:lnTo>
                <a:lnTo>
                  <a:pt x="6103214" y="905565"/>
                </a:lnTo>
                <a:lnTo>
                  <a:pt x="6103214" y="911014"/>
                </a:lnTo>
                <a:cubicBezTo>
                  <a:pt x="6103214" y="911014"/>
                  <a:pt x="6104588" y="912430"/>
                  <a:pt x="6107335" y="915155"/>
                </a:cubicBezTo>
                <a:cubicBezTo>
                  <a:pt x="6108708" y="916572"/>
                  <a:pt x="6110357" y="917879"/>
                  <a:pt x="6111730" y="917879"/>
                </a:cubicBezTo>
                <a:cubicBezTo>
                  <a:pt x="6116125" y="922020"/>
                  <a:pt x="6121894" y="926053"/>
                  <a:pt x="6123267" y="934334"/>
                </a:cubicBezTo>
                <a:cubicBezTo>
                  <a:pt x="6123267" y="935641"/>
                  <a:pt x="6121619" y="937059"/>
                  <a:pt x="6121619" y="937059"/>
                </a:cubicBezTo>
                <a:cubicBezTo>
                  <a:pt x="6120245" y="937059"/>
                  <a:pt x="6118872" y="935641"/>
                  <a:pt x="6118872" y="934334"/>
                </a:cubicBezTo>
                <a:cubicBezTo>
                  <a:pt x="6117498" y="928777"/>
                  <a:pt x="6114476" y="926053"/>
                  <a:pt x="6110082" y="921911"/>
                </a:cubicBezTo>
                <a:cubicBezTo>
                  <a:pt x="6105961" y="919187"/>
                  <a:pt x="6101566" y="916572"/>
                  <a:pt x="6100193" y="912430"/>
                </a:cubicBezTo>
                <a:cubicBezTo>
                  <a:pt x="6098819" y="912430"/>
                  <a:pt x="6098819" y="912430"/>
                  <a:pt x="6098819" y="912430"/>
                </a:cubicBezTo>
                <a:cubicBezTo>
                  <a:pt x="6097171" y="911122"/>
                  <a:pt x="6095798" y="909706"/>
                  <a:pt x="6094424" y="911014"/>
                </a:cubicBezTo>
                <a:lnTo>
                  <a:pt x="6094424" y="907091"/>
                </a:lnTo>
                <a:lnTo>
                  <a:pt x="6092501" y="907418"/>
                </a:lnTo>
                <a:cubicBezTo>
                  <a:pt x="6090029" y="907091"/>
                  <a:pt x="6088106" y="906328"/>
                  <a:pt x="6086732" y="905020"/>
                </a:cubicBezTo>
                <a:cubicBezTo>
                  <a:pt x="6085634" y="900880"/>
                  <a:pt x="6084535" y="896847"/>
                  <a:pt x="6083436" y="892815"/>
                </a:cubicBezTo>
                <a:lnTo>
                  <a:pt x="6087556" y="887476"/>
                </a:lnTo>
                <a:lnTo>
                  <a:pt x="6085908" y="884969"/>
                </a:lnTo>
                <a:cubicBezTo>
                  <a:pt x="6085908" y="883662"/>
                  <a:pt x="6084535" y="883662"/>
                  <a:pt x="6084535" y="882245"/>
                </a:cubicBezTo>
                <a:cubicBezTo>
                  <a:pt x="6082887" y="882245"/>
                  <a:pt x="6081513" y="882245"/>
                  <a:pt x="6081513" y="882245"/>
                </a:cubicBezTo>
                <a:cubicBezTo>
                  <a:pt x="6080140" y="883662"/>
                  <a:pt x="6080140" y="883553"/>
                  <a:pt x="6080140" y="883553"/>
                </a:cubicBezTo>
                <a:cubicBezTo>
                  <a:pt x="6080140" y="883553"/>
                  <a:pt x="6080140" y="882245"/>
                  <a:pt x="6080140" y="882245"/>
                </a:cubicBezTo>
                <a:cubicBezTo>
                  <a:pt x="6075744" y="882245"/>
                  <a:pt x="6072998" y="879521"/>
                  <a:pt x="6068603" y="879521"/>
                </a:cubicBezTo>
                <a:cubicBezTo>
                  <a:pt x="6065855" y="876796"/>
                  <a:pt x="6068603" y="875488"/>
                  <a:pt x="6069976" y="874072"/>
                </a:cubicBezTo>
                <a:cubicBezTo>
                  <a:pt x="6069976" y="874072"/>
                  <a:pt x="6069976" y="872655"/>
                  <a:pt x="6069976" y="872655"/>
                </a:cubicBezTo>
                <a:cubicBezTo>
                  <a:pt x="6068053" y="872002"/>
                  <a:pt x="6065306" y="869277"/>
                  <a:pt x="6064482" y="867751"/>
                </a:cubicBezTo>
                <a:lnTo>
                  <a:pt x="6064482" y="867207"/>
                </a:lnTo>
                <a:lnTo>
                  <a:pt x="6064482" y="866989"/>
                </a:lnTo>
                <a:lnTo>
                  <a:pt x="6064757" y="866771"/>
                </a:lnTo>
                <a:lnTo>
                  <a:pt x="6068603" y="869931"/>
                </a:lnTo>
                <a:cubicBezTo>
                  <a:pt x="6068603" y="869931"/>
                  <a:pt x="6068603" y="869931"/>
                  <a:pt x="6069976" y="869931"/>
                </a:cubicBezTo>
                <a:cubicBezTo>
                  <a:pt x="6069976" y="868515"/>
                  <a:pt x="6068603" y="867207"/>
                  <a:pt x="6067229" y="864482"/>
                </a:cubicBezTo>
                <a:cubicBezTo>
                  <a:pt x="6065855" y="863066"/>
                  <a:pt x="6065855" y="861649"/>
                  <a:pt x="6067229" y="860341"/>
                </a:cubicBezTo>
                <a:cubicBezTo>
                  <a:pt x="6068603" y="860341"/>
                  <a:pt x="6069976" y="860341"/>
                  <a:pt x="6071624" y="861758"/>
                </a:cubicBezTo>
                <a:cubicBezTo>
                  <a:pt x="6072998" y="864482"/>
                  <a:pt x="6074371" y="865790"/>
                  <a:pt x="6075744" y="867207"/>
                </a:cubicBezTo>
                <a:cubicBezTo>
                  <a:pt x="6077393" y="868515"/>
                  <a:pt x="6077393" y="871239"/>
                  <a:pt x="6078767" y="872655"/>
                </a:cubicBezTo>
                <a:cubicBezTo>
                  <a:pt x="6078767" y="872655"/>
                  <a:pt x="6078767" y="872655"/>
                  <a:pt x="6080140" y="871348"/>
                </a:cubicBezTo>
                <a:cubicBezTo>
                  <a:pt x="6080140" y="872655"/>
                  <a:pt x="6080140" y="872655"/>
                  <a:pt x="6080140" y="872655"/>
                </a:cubicBezTo>
                <a:cubicBezTo>
                  <a:pt x="6081513" y="874072"/>
                  <a:pt x="6082887" y="875380"/>
                  <a:pt x="6084535" y="875380"/>
                </a:cubicBezTo>
                <a:cubicBezTo>
                  <a:pt x="6087282" y="873963"/>
                  <a:pt x="6088656" y="871239"/>
                  <a:pt x="6093050" y="872655"/>
                </a:cubicBezTo>
                <a:cubicBezTo>
                  <a:pt x="6094424" y="871239"/>
                  <a:pt x="6097445" y="869931"/>
                  <a:pt x="6095798" y="868624"/>
                </a:cubicBezTo>
                <a:cubicBezTo>
                  <a:pt x="6095798" y="868624"/>
                  <a:pt x="6095798" y="868515"/>
                  <a:pt x="6095798" y="867207"/>
                </a:cubicBezTo>
                <a:cubicBezTo>
                  <a:pt x="6094424" y="867207"/>
                  <a:pt x="6093050" y="865790"/>
                  <a:pt x="6093050" y="864482"/>
                </a:cubicBezTo>
                <a:cubicBezTo>
                  <a:pt x="6093050" y="864482"/>
                  <a:pt x="6093050" y="864482"/>
                  <a:pt x="6091677" y="864482"/>
                </a:cubicBezTo>
                <a:cubicBezTo>
                  <a:pt x="6091677" y="863066"/>
                  <a:pt x="6091677" y="863066"/>
                  <a:pt x="6093050" y="863066"/>
                </a:cubicBezTo>
                <a:cubicBezTo>
                  <a:pt x="6093050" y="861649"/>
                  <a:pt x="6093050" y="861649"/>
                  <a:pt x="6094424" y="863066"/>
                </a:cubicBezTo>
                <a:cubicBezTo>
                  <a:pt x="6094424" y="864373"/>
                  <a:pt x="6095798" y="864373"/>
                  <a:pt x="6097171" y="865790"/>
                </a:cubicBezTo>
                <a:cubicBezTo>
                  <a:pt x="6098819" y="865790"/>
                  <a:pt x="6100193" y="867098"/>
                  <a:pt x="6101566" y="865790"/>
                </a:cubicBezTo>
                <a:cubicBezTo>
                  <a:pt x="6100193" y="864373"/>
                  <a:pt x="6100193" y="863066"/>
                  <a:pt x="6098819" y="861758"/>
                </a:cubicBezTo>
                <a:cubicBezTo>
                  <a:pt x="6097171" y="860341"/>
                  <a:pt x="6095798" y="857617"/>
                  <a:pt x="6094424" y="856201"/>
                </a:cubicBezTo>
                <a:cubicBezTo>
                  <a:pt x="6085908" y="849444"/>
                  <a:pt x="6080140" y="845303"/>
                  <a:pt x="6074371" y="841162"/>
                </a:cubicBezTo>
                <a:cubicBezTo>
                  <a:pt x="6067229" y="835714"/>
                  <a:pt x="6061461" y="830156"/>
                  <a:pt x="6052945" y="820566"/>
                </a:cubicBezTo>
                <a:cubicBezTo>
                  <a:pt x="6048550" y="823400"/>
                  <a:pt x="6044430" y="817842"/>
                  <a:pt x="6040035" y="819149"/>
                </a:cubicBezTo>
                <a:close/>
                <a:moveTo>
                  <a:pt x="2708260" y="818060"/>
                </a:moveTo>
                <a:cubicBezTo>
                  <a:pt x="2710458" y="818387"/>
                  <a:pt x="2712381" y="818714"/>
                  <a:pt x="2714304" y="819041"/>
                </a:cubicBezTo>
                <a:lnTo>
                  <a:pt x="2714578" y="821002"/>
                </a:lnTo>
                <a:lnTo>
                  <a:pt x="2720622" y="821221"/>
                </a:lnTo>
                <a:cubicBezTo>
                  <a:pt x="2718698" y="825034"/>
                  <a:pt x="2726115" y="829938"/>
                  <a:pt x="2723094" y="835605"/>
                </a:cubicBezTo>
                <a:cubicBezTo>
                  <a:pt x="2715402" y="853476"/>
                  <a:pt x="2710733" y="852278"/>
                  <a:pt x="2699745" y="851623"/>
                </a:cubicBezTo>
                <a:cubicBezTo>
                  <a:pt x="2701118" y="851188"/>
                  <a:pt x="2699470" y="850316"/>
                  <a:pt x="2699470" y="850316"/>
                </a:cubicBezTo>
                <a:cubicBezTo>
                  <a:pt x="2695899" y="848573"/>
                  <a:pt x="2696723" y="857399"/>
                  <a:pt x="2691778" y="856091"/>
                </a:cubicBezTo>
                <a:cubicBezTo>
                  <a:pt x="2687933" y="854675"/>
                  <a:pt x="2686010" y="851297"/>
                  <a:pt x="2685186" y="847483"/>
                </a:cubicBezTo>
                <a:lnTo>
                  <a:pt x="2684637" y="843778"/>
                </a:lnTo>
                <a:lnTo>
                  <a:pt x="2682164" y="843015"/>
                </a:lnTo>
                <a:cubicBezTo>
                  <a:pt x="2678868" y="837784"/>
                  <a:pt x="2678868" y="832117"/>
                  <a:pt x="2681340" y="828522"/>
                </a:cubicBezTo>
                <a:lnTo>
                  <a:pt x="2685186" y="825797"/>
                </a:lnTo>
                <a:lnTo>
                  <a:pt x="2685735" y="824381"/>
                </a:lnTo>
                <a:cubicBezTo>
                  <a:pt x="2686559" y="823073"/>
                  <a:pt x="2687658" y="822637"/>
                  <a:pt x="2689307" y="823509"/>
                </a:cubicBezTo>
                <a:cubicBezTo>
                  <a:pt x="2690954" y="823727"/>
                  <a:pt x="2691504" y="824707"/>
                  <a:pt x="2692328" y="825797"/>
                </a:cubicBezTo>
                <a:lnTo>
                  <a:pt x="2692602" y="826015"/>
                </a:lnTo>
                <a:lnTo>
                  <a:pt x="2695350" y="826560"/>
                </a:lnTo>
                <a:lnTo>
                  <a:pt x="2696174" y="828848"/>
                </a:lnTo>
                <a:lnTo>
                  <a:pt x="2700294" y="828085"/>
                </a:lnTo>
                <a:cubicBezTo>
                  <a:pt x="2701942" y="827105"/>
                  <a:pt x="2703591" y="825688"/>
                  <a:pt x="2705514" y="824381"/>
                </a:cubicBezTo>
                <a:lnTo>
                  <a:pt x="2706612" y="823727"/>
                </a:lnTo>
                <a:close/>
                <a:moveTo>
                  <a:pt x="2745619" y="817951"/>
                </a:moveTo>
                <a:cubicBezTo>
                  <a:pt x="2755782" y="824599"/>
                  <a:pt x="2759903" y="854130"/>
                  <a:pt x="2745619" y="858162"/>
                </a:cubicBezTo>
                <a:cubicBezTo>
                  <a:pt x="2744795" y="847483"/>
                  <a:pt x="2745069" y="837675"/>
                  <a:pt x="2739026" y="823617"/>
                </a:cubicBezTo>
                <a:cubicBezTo>
                  <a:pt x="2742872" y="822855"/>
                  <a:pt x="2740399" y="817951"/>
                  <a:pt x="2745619" y="817951"/>
                </a:cubicBezTo>
                <a:close/>
                <a:moveTo>
                  <a:pt x="1306492" y="817951"/>
                </a:moveTo>
                <a:cubicBezTo>
                  <a:pt x="1308141" y="816753"/>
                  <a:pt x="1310887" y="817298"/>
                  <a:pt x="1315009" y="819368"/>
                </a:cubicBezTo>
                <a:cubicBezTo>
                  <a:pt x="1316382" y="822528"/>
                  <a:pt x="1311712" y="826233"/>
                  <a:pt x="1310339" y="828958"/>
                </a:cubicBezTo>
                <a:cubicBezTo>
                  <a:pt x="1308965" y="827214"/>
                  <a:pt x="1307591" y="825470"/>
                  <a:pt x="1307591" y="826996"/>
                </a:cubicBezTo>
                <a:cubicBezTo>
                  <a:pt x="1306217" y="825252"/>
                  <a:pt x="1305669" y="823727"/>
                  <a:pt x="1305394" y="822201"/>
                </a:cubicBezTo>
                <a:cubicBezTo>
                  <a:pt x="1305394" y="820784"/>
                  <a:pt x="1305669" y="819368"/>
                  <a:pt x="1306492" y="817951"/>
                </a:cubicBezTo>
                <a:close/>
                <a:moveTo>
                  <a:pt x="1102321" y="817055"/>
                </a:moveTo>
                <a:cubicBezTo>
                  <a:pt x="1115700" y="819027"/>
                  <a:pt x="1131512" y="831082"/>
                  <a:pt x="1127391" y="843015"/>
                </a:cubicBezTo>
                <a:lnTo>
                  <a:pt x="1120799" y="838874"/>
                </a:lnTo>
                <a:lnTo>
                  <a:pt x="1119975" y="842252"/>
                </a:lnTo>
                <a:cubicBezTo>
                  <a:pt x="1117502" y="844105"/>
                  <a:pt x="1114481" y="846611"/>
                  <a:pt x="1111459" y="846175"/>
                </a:cubicBezTo>
                <a:cubicBezTo>
                  <a:pt x="1110360" y="846066"/>
                  <a:pt x="1109262" y="845521"/>
                  <a:pt x="1108163" y="844650"/>
                </a:cubicBezTo>
                <a:cubicBezTo>
                  <a:pt x="1108163" y="843233"/>
                  <a:pt x="1106789" y="843015"/>
                  <a:pt x="1107064" y="841598"/>
                </a:cubicBezTo>
                <a:cubicBezTo>
                  <a:pt x="1107064" y="841598"/>
                  <a:pt x="1106240" y="839963"/>
                  <a:pt x="1106240" y="837784"/>
                </a:cubicBezTo>
                <a:lnTo>
                  <a:pt x="1108163" y="832445"/>
                </a:lnTo>
                <a:lnTo>
                  <a:pt x="1099372" y="827431"/>
                </a:lnTo>
                <a:cubicBezTo>
                  <a:pt x="1096351" y="825252"/>
                  <a:pt x="1093329" y="822528"/>
                  <a:pt x="1090582" y="818823"/>
                </a:cubicBezTo>
                <a:cubicBezTo>
                  <a:pt x="1093673" y="816861"/>
                  <a:pt x="1097862" y="816398"/>
                  <a:pt x="1102321" y="817055"/>
                </a:cubicBezTo>
                <a:close/>
                <a:moveTo>
                  <a:pt x="2439884" y="816970"/>
                </a:moveTo>
                <a:cubicBezTo>
                  <a:pt x="2441257" y="815771"/>
                  <a:pt x="2444279" y="814791"/>
                  <a:pt x="2446751" y="818169"/>
                </a:cubicBezTo>
                <a:cubicBezTo>
                  <a:pt x="2450597" y="821874"/>
                  <a:pt x="2450597" y="826233"/>
                  <a:pt x="2448948" y="830483"/>
                </a:cubicBezTo>
                <a:cubicBezTo>
                  <a:pt x="2450047" y="833643"/>
                  <a:pt x="2452519" y="835605"/>
                  <a:pt x="2450871" y="838329"/>
                </a:cubicBezTo>
                <a:cubicBezTo>
                  <a:pt x="2448398" y="833425"/>
                  <a:pt x="2447300" y="831791"/>
                  <a:pt x="2446201" y="828630"/>
                </a:cubicBezTo>
                <a:cubicBezTo>
                  <a:pt x="2444828" y="828413"/>
                  <a:pt x="2443455" y="828085"/>
                  <a:pt x="2442081" y="826451"/>
                </a:cubicBezTo>
                <a:cubicBezTo>
                  <a:pt x="2439334" y="822964"/>
                  <a:pt x="2440982" y="820239"/>
                  <a:pt x="2439884" y="816970"/>
                </a:cubicBezTo>
                <a:close/>
                <a:moveTo>
                  <a:pt x="1629809" y="816753"/>
                </a:moveTo>
                <a:cubicBezTo>
                  <a:pt x="1633654" y="823836"/>
                  <a:pt x="1639698" y="826669"/>
                  <a:pt x="1646290" y="828630"/>
                </a:cubicBezTo>
                <a:lnTo>
                  <a:pt x="1653432" y="830483"/>
                </a:lnTo>
                <a:lnTo>
                  <a:pt x="1653981" y="829067"/>
                </a:lnTo>
                <a:cubicBezTo>
                  <a:pt x="1654256" y="828522"/>
                  <a:pt x="1654256" y="828522"/>
                  <a:pt x="1653432" y="828848"/>
                </a:cubicBezTo>
                <a:cubicBezTo>
                  <a:pt x="1655630" y="825034"/>
                  <a:pt x="1657278" y="819913"/>
                  <a:pt x="1660299" y="820239"/>
                </a:cubicBezTo>
                <a:cubicBezTo>
                  <a:pt x="1665244" y="822201"/>
                  <a:pt x="1666068" y="827868"/>
                  <a:pt x="1665519" y="833752"/>
                </a:cubicBezTo>
                <a:lnTo>
                  <a:pt x="1665519" y="834624"/>
                </a:lnTo>
                <a:lnTo>
                  <a:pt x="1669914" y="838002"/>
                </a:lnTo>
                <a:cubicBezTo>
                  <a:pt x="1671287" y="839528"/>
                  <a:pt x="1672386" y="841489"/>
                  <a:pt x="1673485" y="843887"/>
                </a:cubicBezTo>
                <a:lnTo>
                  <a:pt x="1674859" y="851842"/>
                </a:lnTo>
                <a:lnTo>
                  <a:pt x="1678430" y="852822"/>
                </a:lnTo>
                <a:cubicBezTo>
                  <a:pt x="1680352" y="868624"/>
                  <a:pt x="1676506" y="873854"/>
                  <a:pt x="1671012" y="873637"/>
                </a:cubicBezTo>
                <a:lnTo>
                  <a:pt x="1670189" y="873200"/>
                </a:lnTo>
                <a:lnTo>
                  <a:pt x="1664694" y="880284"/>
                </a:lnTo>
                <a:cubicBezTo>
                  <a:pt x="1658376" y="886277"/>
                  <a:pt x="1650136" y="890309"/>
                  <a:pt x="1641895" y="891181"/>
                </a:cubicBezTo>
                <a:cubicBezTo>
                  <a:pt x="1630084" y="892270"/>
                  <a:pt x="1618821" y="886168"/>
                  <a:pt x="1614975" y="868515"/>
                </a:cubicBezTo>
                <a:lnTo>
                  <a:pt x="1615524" y="861649"/>
                </a:lnTo>
                <a:lnTo>
                  <a:pt x="1614975" y="861432"/>
                </a:lnTo>
                <a:lnTo>
                  <a:pt x="1615524" y="858707"/>
                </a:lnTo>
                <a:lnTo>
                  <a:pt x="1615799" y="856419"/>
                </a:lnTo>
                <a:cubicBezTo>
                  <a:pt x="1618546" y="844541"/>
                  <a:pt x="1626237" y="832662"/>
                  <a:pt x="1629809" y="816753"/>
                </a:cubicBezTo>
                <a:close/>
                <a:moveTo>
                  <a:pt x="1534940" y="816623"/>
                </a:moveTo>
                <a:cubicBezTo>
                  <a:pt x="1552207" y="819402"/>
                  <a:pt x="1568895" y="831682"/>
                  <a:pt x="1585583" y="839854"/>
                </a:cubicBezTo>
                <a:cubicBezTo>
                  <a:pt x="1582012" y="843996"/>
                  <a:pt x="1582561" y="848573"/>
                  <a:pt x="1575969" y="853912"/>
                </a:cubicBezTo>
                <a:cubicBezTo>
                  <a:pt x="1562508" y="843668"/>
                  <a:pt x="1547675" y="836694"/>
                  <a:pt x="1534764" y="829067"/>
                </a:cubicBezTo>
                <a:cubicBezTo>
                  <a:pt x="1536412" y="832445"/>
                  <a:pt x="1540807" y="841926"/>
                  <a:pt x="1539433" y="844650"/>
                </a:cubicBezTo>
                <a:cubicBezTo>
                  <a:pt x="1536412" y="840290"/>
                  <a:pt x="1533390" y="830701"/>
                  <a:pt x="1534489" y="828848"/>
                </a:cubicBezTo>
                <a:cubicBezTo>
                  <a:pt x="1528446" y="825252"/>
                  <a:pt x="1522677" y="821765"/>
                  <a:pt x="1517458" y="817515"/>
                </a:cubicBezTo>
                <a:cubicBezTo>
                  <a:pt x="1523364" y="815826"/>
                  <a:pt x="1529184" y="815696"/>
                  <a:pt x="1534940" y="816623"/>
                </a:cubicBezTo>
                <a:close/>
                <a:moveTo>
                  <a:pt x="6166120" y="815009"/>
                </a:moveTo>
                <a:cubicBezTo>
                  <a:pt x="6175734" y="812611"/>
                  <a:pt x="6187546" y="816099"/>
                  <a:pt x="6196611" y="830592"/>
                </a:cubicBezTo>
                <a:lnTo>
                  <a:pt x="6196336" y="831028"/>
                </a:lnTo>
                <a:lnTo>
                  <a:pt x="6197984" y="832336"/>
                </a:lnTo>
                <a:cubicBezTo>
                  <a:pt x="6199632" y="833643"/>
                  <a:pt x="6201280" y="834951"/>
                  <a:pt x="6202105" y="835386"/>
                </a:cubicBezTo>
                <a:cubicBezTo>
                  <a:pt x="6199632" y="838111"/>
                  <a:pt x="6195512" y="840182"/>
                  <a:pt x="6191117" y="841162"/>
                </a:cubicBezTo>
                <a:lnTo>
                  <a:pt x="6189468" y="841053"/>
                </a:lnTo>
                <a:lnTo>
                  <a:pt x="6184798" y="847919"/>
                </a:lnTo>
                <a:cubicBezTo>
                  <a:pt x="6179854" y="852278"/>
                  <a:pt x="6174085" y="854783"/>
                  <a:pt x="6168317" y="855002"/>
                </a:cubicBezTo>
                <a:cubicBezTo>
                  <a:pt x="6164472" y="855220"/>
                  <a:pt x="6160626" y="854348"/>
                  <a:pt x="6156780" y="852168"/>
                </a:cubicBezTo>
                <a:cubicBezTo>
                  <a:pt x="6139749" y="839310"/>
                  <a:pt x="6150187" y="819041"/>
                  <a:pt x="6166120" y="815009"/>
                </a:cubicBezTo>
                <a:close/>
                <a:moveTo>
                  <a:pt x="6498423" y="810963"/>
                </a:moveTo>
                <a:cubicBezTo>
                  <a:pt x="6509059" y="810861"/>
                  <a:pt x="6520270" y="812884"/>
                  <a:pt x="6532288" y="817951"/>
                </a:cubicBezTo>
                <a:cubicBezTo>
                  <a:pt x="6504543" y="833207"/>
                  <a:pt x="6476524" y="846175"/>
                  <a:pt x="6444935" y="847374"/>
                </a:cubicBezTo>
                <a:cubicBezTo>
                  <a:pt x="6434496" y="847810"/>
                  <a:pt x="6423508" y="846938"/>
                  <a:pt x="6411971" y="844431"/>
                </a:cubicBezTo>
                <a:cubicBezTo>
                  <a:pt x="6439784" y="830701"/>
                  <a:pt x="6466516" y="811270"/>
                  <a:pt x="6498423" y="810963"/>
                </a:cubicBezTo>
                <a:close/>
                <a:moveTo>
                  <a:pt x="2089098" y="810759"/>
                </a:moveTo>
                <a:cubicBezTo>
                  <a:pt x="2091296" y="814028"/>
                  <a:pt x="2094866" y="809778"/>
                  <a:pt x="2096790" y="814464"/>
                </a:cubicBezTo>
                <a:cubicBezTo>
                  <a:pt x="2095416" y="823400"/>
                  <a:pt x="2080857" y="834515"/>
                  <a:pt x="2069595" y="834733"/>
                </a:cubicBezTo>
                <a:cubicBezTo>
                  <a:pt x="2066024" y="834733"/>
                  <a:pt x="2062727" y="833643"/>
                  <a:pt x="2060255" y="830809"/>
                </a:cubicBezTo>
                <a:cubicBezTo>
                  <a:pt x="2069595" y="825579"/>
                  <a:pt x="2078659" y="821874"/>
                  <a:pt x="2089098" y="810759"/>
                </a:cubicBezTo>
                <a:close/>
                <a:moveTo>
                  <a:pt x="4470428" y="810227"/>
                </a:moveTo>
                <a:cubicBezTo>
                  <a:pt x="4471870" y="809614"/>
                  <a:pt x="4473175" y="809723"/>
                  <a:pt x="4474273" y="811303"/>
                </a:cubicBezTo>
                <a:cubicBezTo>
                  <a:pt x="4472351" y="814137"/>
                  <a:pt x="4473449" y="815663"/>
                  <a:pt x="4469054" y="818169"/>
                </a:cubicBezTo>
                <a:cubicBezTo>
                  <a:pt x="4467956" y="816644"/>
                  <a:pt x="4466857" y="815118"/>
                  <a:pt x="4465758" y="813483"/>
                </a:cubicBezTo>
                <a:cubicBezTo>
                  <a:pt x="4467406" y="812175"/>
                  <a:pt x="4468986" y="810840"/>
                  <a:pt x="4470428" y="810227"/>
                </a:cubicBezTo>
                <a:close/>
                <a:moveTo>
                  <a:pt x="1461970" y="808688"/>
                </a:moveTo>
                <a:cubicBezTo>
                  <a:pt x="1467189" y="805637"/>
                  <a:pt x="1475979" y="812285"/>
                  <a:pt x="1475705" y="818387"/>
                </a:cubicBezTo>
                <a:cubicBezTo>
                  <a:pt x="1470485" y="814246"/>
                  <a:pt x="1465266" y="815226"/>
                  <a:pt x="1463069" y="812720"/>
                </a:cubicBezTo>
                <a:cubicBezTo>
                  <a:pt x="1462244" y="811957"/>
                  <a:pt x="1461696" y="810650"/>
                  <a:pt x="1461970" y="808688"/>
                </a:cubicBezTo>
                <a:close/>
                <a:moveTo>
                  <a:pt x="2253915" y="808143"/>
                </a:moveTo>
                <a:cubicBezTo>
                  <a:pt x="2258035" y="810323"/>
                  <a:pt x="2256936" y="824054"/>
                  <a:pt x="2255289" y="830047"/>
                </a:cubicBezTo>
                <a:cubicBezTo>
                  <a:pt x="2254190" y="829502"/>
                  <a:pt x="2253366" y="828194"/>
                  <a:pt x="2252816" y="826560"/>
                </a:cubicBezTo>
                <a:cubicBezTo>
                  <a:pt x="2251443" y="821438"/>
                  <a:pt x="2252541" y="812611"/>
                  <a:pt x="2253915" y="808143"/>
                </a:cubicBezTo>
                <a:close/>
                <a:moveTo>
                  <a:pt x="2142938" y="807925"/>
                </a:moveTo>
                <a:cubicBezTo>
                  <a:pt x="2144862" y="808797"/>
                  <a:pt x="2145685" y="811522"/>
                  <a:pt x="2147608" y="812285"/>
                </a:cubicBezTo>
                <a:cubicBezTo>
                  <a:pt x="2146235" y="812830"/>
                  <a:pt x="2145136" y="814791"/>
                  <a:pt x="2143762" y="815336"/>
                </a:cubicBezTo>
                <a:cubicBezTo>
                  <a:pt x="2142114" y="814573"/>
                  <a:pt x="2141290" y="812830"/>
                  <a:pt x="2141565" y="811195"/>
                </a:cubicBezTo>
                <a:cubicBezTo>
                  <a:pt x="2141565" y="809561"/>
                  <a:pt x="2142389" y="808253"/>
                  <a:pt x="2142938" y="807925"/>
                </a:cubicBezTo>
                <a:close/>
                <a:moveTo>
                  <a:pt x="1723479" y="807272"/>
                </a:moveTo>
                <a:cubicBezTo>
                  <a:pt x="1725127" y="810105"/>
                  <a:pt x="1727051" y="809669"/>
                  <a:pt x="1727600" y="814791"/>
                </a:cubicBezTo>
                <a:cubicBezTo>
                  <a:pt x="1725677" y="815226"/>
                  <a:pt x="1723754" y="815663"/>
                  <a:pt x="1721831" y="815989"/>
                </a:cubicBezTo>
                <a:cubicBezTo>
                  <a:pt x="1720732" y="812066"/>
                  <a:pt x="1719634" y="808034"/>
                  <a:pt x="1723479" y="807272"/>
                </a:cubicBezTo>
                <a:close/>
                <a:moveTo>
                  <a:pt x="920718" y="807054"/>
                </a:moveTo>
                <a:cubicBezTo>
                  <a:pt x="924254" y="807871"/>
                  <a:pt x="927688" y="809996"/>
                  <a:pt x="929062" y="812830"/>
                </a:cubicBezTo>
                <a:cubicBezTo>
                  <a:pt x="924392" y="811631"/>
                  <a:pt x="921096" y="812393"/>
                  <a:pt x="918349" y="812611"/>
                </a:cubicBezTo>
                <a:cubicBezTo>
                  <a:pt x="915601" y="812830"/>
                  <a:pt x="913679" y="812611"/>
                  <a:pt x="911757" y="809124"/>
                </a:cubicBezTo>
                <a:cubicBezTo>
                  <a:pt x="913542" y="806727"/>
                  <a:pt x="917181" y="806236"/>
                  <a:pt x="920718" y="807054"/>
                </a:cubicBezTo>
                <a:close/>
                <a:moveTo>
                  <a:pt x="2585747" y="806727"/>
                </a:moveTo>
                <a:cubicBezTo>
                  <a:pt x="2590691" y="808253"/>
                  <a:pt x="2592614" y="810105"/>
                  <a:pt x="2592614" y="811740"/>
                </a:cubicBezTo>
                <a:cubicBezTo>
                  <a:pt x="2592614" y="813592"/>
                  <a:pt x="2590416" y="815009"/>
                  <a:pt x="2588218" y="815554"/>
                </a:cubicBezTo>
                <a:cubicBezTo>
                  <a:pt x="2586021" y="816099"/>
                  <a:pt x="2583823" y="815663"/>
                  <a:pt x="2583274" y="813483"/>
                </a:cubicBezTo>
                <a:cubicBezTo>
                  <a:pt x="2582999" y="812066"/>
                  <a:pt x="2583823" y="809887"/>
                  <a:pt x="2585747" y="806727"/>
                </a:cubicBezTo>
                <a:close/>
                <a:moveTo>
                  <a:pt x="2630522" y="805964"/>
                </a:moveTo>
                <a:cubicBezTo>
                  <a:pt x="2628325" y="809778"/>
                  <a:pt x="2626951" y="816316"/>
                  <a:pt x="2621182" y="816861"/>
                </a:cubicBezTo>
                <a:cubicBezTo>
                  <a:pt x="2622830" y="814028"/>
                  <a:pt x="2625302" y="808362"/>
                  <a:pt x="2627774" y="806400"/>
                </a:cubicBezTo>
                <a:cubicBezTo>
                  <a:pt x="2628599" y="805746"/>
                  <a:pt x="2629423" y="805528"/>
                  <a:pt x="2630522" y="805964"/>
                </a:cubicBezTo>
                <a:close/>
                <a:moveTo>
                  <a:pt x="1776496" y="805855"/>
                </a:moveTo>
                <a:cubicBezTo>
                  <a:pt x="1777869" y="804439"/>
                  <a:pt x="1780891" y="804548"/>
                  <a:pt x="1783912" y="806182"/>
                </a:cubicBezTo>
                <a:cubicBezTo>
                  <a:pt x="1782539" y="807599"/>
                  <a:pt x="1783912" y="810650"/>
                  <a:pt x="1782539" y="812066"/>
                </a:cubicBezTo>
                <a:cubicBezTo>
                  <a:pt x="1782539" y="812066"/>
                  <a:pt x="1778419" y="813483"/>
                  <a:pt x="1778419" y="813483"/>
                </a:cubicBezTo>
                <a:cubicBezTo>
                  <a:pt x="1776771" y="811957"/>
                  <a:pt x="1776771" y="811957"/>
                  <a:pt x="1778144" y="811957"/>
                </a:cubicBezTo>
                <a:cubicBezTo>
                  <a:pt x="1776771" y="808906"/>
                  <a:pt x="1776771" y="807380"/>
                  <a:pt x="1776496" y="805855"/>
                </a:cubicBezTo>
                <a:close/>
                <a:moveTo>
                  <a:pt x="2716501" y="805746"/>
                </a:moveTo>
                <a:cubicBezTo>
                  <a:pt x="2716501" y="805746"/>
                  <a:pt x="2717875" y="805855"/>
                  <a:pt x="2720896" y="808906"/>
                </a:cubicBezTo>
                <a:cubicBezTo>
                  <a:pt x="2719522" y="808797"/>
                  <a:pt x="2719522" y="810323"/>
                  <a:pt x="2719522" y="810323"/>
                </a:cubicBezTo>
                <a:cubicBezTo>
                  <a:pt x="2719522" y="810323"/>
                  <a:pt x="2719522" y="810323"/>
                  <a:pt x="2721171" y="810323"/>
                </a:cubicBezTo>
                <a:cubicBezTo>
                  <a:pt x="2720346" y="811086"/>
                  <a:pt x="2719522" y="810977"/>
                  <a:pt x="2718973" y="810759"/>
                </a:cubicBezTo>
                <a:cubicBezTo>
                  <a:pt x="2718424" y="810541"/>
                  <a:pt x="2718149" y="810214"/>
                  <a:pt x="2718149" y="810214"/>
                </a:cubicBezTo>
                <a:cubicBezTo>
                  <a:pt x="2716776" y="808688"/>
                  <a:pt x="2715127" y="807163"/>
                  <a:pt x="2716501" y="805746"/>
                </a:cubicBezTo>
                <a:close/>
                <a:moveTo>
                  <a:pt x="2874176" y="805528"/>
                </a:moveTo>
                <a:cubicBezTo>
                  <a:pt x="2879121" y="802586"/>
                  <a:pt x="2888734" y="809561"/>
                  <a:pt x="2889284" y="815663"/>
                </a:cubicBezTo>
                <a:cubicBezTo>
                  <a:pt x="2881318" y="809887"/>
                  <a:pt x="2875000" y="813156"/>
                  <a:pt x="2874176" y="805528"/>
                </a:cubicBezTo>
                <a:close/>
                <a:moveTo>
                  <a:pt x="2185241" y="804548"/>
                </a:moveTo>
                <a:cubicBezTo>
                  <a:pt x="2184967" y="806073"/>
                  <a:pt x="2186614" y="806182"/>
                  <a:pt x="2186614" y="807708"/>
                </a:cubicBezTo>
                <a:cubicBezTo>
                  <a:pt x="2187989" y="810868"/>
                  <a:pt x="2187989" y="810868"/>
                  <a:pt x="2186340" y="812176"/>
                </a:cubicBezTo>
                <a:cubicBezTo>
                  <a:pt x="2184967" y="813483"/>
                  <a:pt x="2180571" y="811522"/>
                  <a:pt x="2178923" y="812830"/>
                </a:cubicBezTo>
                <a:cubicBezTo>
                  <a:pt x="2178923" y="812830"/>
                  <a:pt x="2178923" y="812830"/>
                  <a:pt x="2177550" y="809669"/>
                </a:cubicBezTo>
                <a:cubicBezTo>
                  <a:pt x="2177550" y="808143"/>
                  <a:pt x="2177825" y="806618"/>
                  <a:pt x="2179198" y="805310"/>
                </a:cubicBezTo>
                <a:cubicBezTo>
                  <a:pt x="2180846" y="804002"/>
                  <a:pt x="2183593" y="804329"/>
                  <a:pt x="2185241" y="804548"/>
                </a:cubicBezTo>
                <a:close/>
                <a:moveTo>
                  <a:pt x="3043114" y="803240"/>
                </a:moveTo>
                <a:cubicBezTo>
                  <a:pt x="3044212" y="803785"/>
                  <a:pt x="3045036" y="805093"/>
                  <a:pt x="3045311" y="807163"/>
                </a:cubicBezTo>
                <a:cubicBezTo>
                  <a:pt x="3042564" y="809124"/>
                  <a:pt x="3040641" y="809778"/>
                  <a:pt x="3036796" y="811195"/>
                </a:cubicBezTo>
                <a:cubicBezTo>
                  <a:pt x="3033774" y="805855"/>
                  <a:pt x="3039817" y="801496"/>
                  <a:pt x="3043114" y="803240"/>
                </a:cubicBezTo>
                <a:close/>
                <a:moveTo>
                  <a:pt x="2052426" y="801918"/>
                </a:moveTo>
                <a:cubicBezTo>
                  <a:pt x="2055242" y="799616"/>
                  <a:pt x="2058607" y="798554"/>
                  <a:pt x="2060255" y="801932"/>
                </a:cubicBezTo>
                <a:cubicBezTo>
                  <a:pt x="2061903" y="806727"/>
                  <a:pt x="2055585" y="809561"/>
                  <a:pt x="2051190" y="809887"/>
                </a:cubicBezTo>
                <a:cubicBezTo>
                  <a:pt x="2049817" y="809996"/>
                  <a:pt x="2048443" y="809887"/>
                  <a:pt x="2047894" y="809342"/>
                </a:cubicBezTo>
                <a:cubicBezTo>
                  <a:pt x="2047344" y="807762"/>
                  <a:pt x="2049611" y="804221"/>
                  <a:pt x="2052426" y="801918"/>
                </a:cubicBezTo>
                <a:close/>
                <a:moveTo>
                  <a:pt x="2681889" y="801823"/>
                </a:moveTo>
                <a:cubicBezTo>
                  <a:pt x="2682164" y="810650"/>
                  <a:pt x="2684087" y="820566"/>
                  <a:pt x="2674198" y="823400"/>
                </a:cubicBezTo>
                <a:cubicBezTo>
                  <a:pt x="2671176" y="822419"/>
                  <a:pt x="2669254" y="820784"/>
                  <a:pt x="2667880" y="818823"/>
                </a:cubicBezTo>
                <a:cubicBezTo>
                  <a:pt x="2664309" y="813156"/>
                  <a:pt x="2667880" y="804984"/>
                  <a:pt x="2673649" y="802041"/>
                </a:cubicBezTo>
                <a:cubicBezTo>
                  <a:pt x="2676121" y="800733"/>
                  <a:pt x="2679143" y="800406"/>
                  <a:pt x="2681889" y="801823"/>
                </a:cubicBezTo>
                <a:close/>
                <a:moveTo>
                  <a:pt x="4393788" y="801605"/>
                </a:moveTo>
                <a:cubicBezTo>
                  <a:pt x="4400930" y="803240"/>
                  <a:pt x="4401480" y="810759"/>
                  <a:pt x="4405051" y="814573"/>
                </a:cubicBezTo>
                <a:cubicBezTo>
                  <a:pt x="4403127" y="816970"/>
                  <a:pt x="4401205" y="818169"/>
                  <a:pt x="4399007" y="818605"/>
                </a:cubicBezTo>
                <a:lnTo>
                  <a:pt x="4396535" y="817733"/>
                </a:lnTo>
                <a:lnTo>
                  <a:pt x="4395436" y="819368"/>
                </a:lnTo>
                <a:cubicBezTo>
                  <a:pt x="4394063" y="820784"/>
                  <a:pt x="4392140" y="821329"/>
                  <a:pt x="4388294" y="821329"/>
                </a:cubicBezTo>
                <a:cubicBezTo>
                  <a:pt x="4388294" y="821329"/>
                  <a:pt x="4386371" y="820457"/>
                  <a:pt x="4386371" y="820457"/>
                </a:cubicBezTo>
                <a:cubicBezTo>
                  <a:pt x="4379779" y="818605"/>
                  <a:pt x="4374559" y="811522"/>
                  <a:pt x="4375109" y="808253"/>
                </a:cubicBezTo>
                <a:cubicBezTo>
                  <a:pt x="4376757" y="804439"/>
                  <a:pt x="4381976" y="800733"/>
                  <a:pt x="4387195" y="803240"/>
                </a:cubicBezTo>
                <a:lnTo>
                  <a:pt x="4389668" y="804765"/>
                </a:lnTo>
                <a:lnTo>
                  <a:pt x="4389668" y="804548"/>
                </a:lnTo>
                <a:cubicBezTo>
                  <a:pt x="4390767" y="803349"/>
                  <a:pt x="4392140" y="802477"/>
                  <a:pt x="4393788" y="801605"/>
                </a:cubicBezTo>
                <a:close/>
                <a:moveTo>
                  <a:pt x="2240455" y="801278"/>
                </a:moveTo>
                <a:cubicBezTo>
                  <a:pt x="2243751" y="813483"/>
                  <a:pt x="2248421" y="826451"/>
                  <a:pt x="2240729" y="831354"/>
                </a:cubicBezTo>
                <a:cubicBezTo>
                  <a:pt x="2232764" y="827650"/>
                  <a:pt x="2231940" y="813810"/>
                  <a:pt x="2232764" y="806073"/>
                </a:cubicBezTo>
                <a:cubicBezTo>
                  <a:pt x="2236609" y="805310"/>
                  <a:pt x="2236609" y="802041"/>
                  <a:pt x="2240455" y="801278"/>
                </a:cubicBezTo>
                <a:close/>
                <a:moveTo>
                  <a:pt x="6130958" y="800733"/>
                </a:moveTo>
                <a:cubicBezTo>
                  <a:pt x="6134530" y="800188"/>
                  <a:pt x="6138925" y="801170"/>
                  <a:pt x="6144144" y="804439"/>
                </a:cubicBezTo>
                <a:cubicBezTo>
                  <a:pt x="6147715" y="811086"/>
                  <a:pt x="6143045" y="823182"/>
                  <a:pt x="6137277" y="823182"/>
                </a:cubicBezTo>
                <a:cubicBezTo>
                  <a:pt x="6118597" y="816753"/>
                  <a:pt x="6120245" y="802150"/>
                  <a:pt x="6130958" y="800733"/>
                </a:cubicBezTo>
                <a:close/>
                <a:moveTo>
                  <a:pt x="2015755" y="800516"/>
                </a:moveTo>
                <a:cubicBezTo>
                  <a:pt x="2018776" y="801060"/>
                  <a:pt x="2021523" y="804765"/>
                  <a:pt x="2023171" y="813374"/>
                </a:cubicBezTo>
                <a:lnTo>
                  <a:pt x="2024270" y="821874"/>
                </a:lnTo>
                <a:lnTo>
                  <a:pt x="2029214" y="820131"/>
                </a:lnTo>
                <a:cubicBezTo>
                  <a:pt x="2031687" y="825034"/>
                  <a:pt x="2035258" y="843778"/>
                  <a:pt x="2027566" y="844976"/>
                </a:cubicBezTo>
                <a:cubicBezTo>
                  <a:pt x="2026468" y="845195"/>
                  <a:pt x="2025095" y="844976"/>
                  <a:pt x="2023446" y="844322"/>
                </a:cubicBezTo>
                <a:cubicBezTo>
                  <a:pt x="2023720" y="839637"/>
                  <a:pt x="2022896" y="835169"/>
                  <a:pt x="2022347" y="831354"/>
                </a:cubicBezTo>
                <a:lnTo>
                  <a:pt x="2023171" y="824490"/>
                </a:lnTo>
                <a:lnTo>
                  <a:pt x="2015480" y="828304"/>
                </a:lnTo>
                <a:cubicBezTo>
                  <a:pt x="2008063" y="831137"/>
                  <a:pt x="2003943" y="829284"/>
                  <a:pt x="2002569" y="825579"/>
                </a:cubicBezTo>
                <a:cubicBezTo>
                  <a:pt x="1999273" y="817188"/>
                  <a:pt x="2008063" y="799098"/>
                  <a:pt x="2015755" y="800516"/>
                </a:cubicBezTo>
                <a:close/>
                <a:moveTo>
                  <a:pt x="1369124" y="800297"/>
                </a:moveTo>
                <a:cubicBezTo>
                  <a:pt x="1370771" y="797573"/>
                  <a:pt x="1372145" y="797900"/>
                  <a:pt x="1376265" y="801496"/>
                </a:cubicBezTo>
                <a:cubicBezTo>
                  <a:pt x="1379012" y="804874"/>
                  <a:pt x="1381485" y="806835"/>
                  <a:pt x="1381485" y="808253"/>
                </a:cubicBezTo>
                <a:cubicBezTo>
                  <a:pt x="1382858" y="808470"/>
                  <a:pt x="1384232" y="810105"/>
                  <a:pt x="1385880" y="810323"/>
                </a:cubicBezTo>
                <a:cubicBezTo>
                  <a:pt x="1385880" y="810323"/>
                  <a:pt x="1385605" y="810432"/>
                  <a:pt x="1385605" y="811848"/>
                </a:cubicBezTo>
                <a:cubicBezTo>
                  <a:pt x="1380111" y="809451"/>
                  <a:pt x="1372694" y="809669"/>
                  <a:pt x="1368574" y="806073"/>
                </a:cubicBezTo>
                <a:cubicBezTo>
                  <a:pt x="1368024" y="805201"/>
                  <a:pt x="1367200" y="804439"/>
                  <a:pt x="1367200" y="803457"/>
                </a:cubicBezTo>
                <a:cubicBezTo>
                  <a:pt x="1366925" y="802477"/>
                  <a:pt x="1367475" y="801496"/>
                  <a:pt x="1369124" y="800297"/>
                </a:cubicBezTo>
                <a:close/>
                <a:moveTo>
                  <a:pt x="1176836" y="799862"/>
                </a:moveTo>
                <a:cubicBezTo>
                  <a:pt x="1178210" y="797137"/>
                  <a:pt x="1181231" y="799098"/>
                  <a:pt x="1183705" y="802477"/>
                </a:cubicBezTo>
                <a:cubicBezTo>
                  <a:pt x="1190571" y="808034"/>
                  <a:pt x="1191670" y="812611"/>
                  <a:pt x="1187274" y="816208"/>
                </a:cubicBezTo>
                <a:cubicBezTo>
                  <a:pt x="1185901" y="815989"/>
                  <a:pt x="1181506" y="813810"/>
                  <a:pt x="1181506" y="815226"/>
                </a:cubicBezTo>
                <a:cubicBezTo>
                  <a:pt x="1178485" y="811412"/>
                  <a:pt x="1175463" y="806835"/>
                  <a:pt x="1175738" y="803131"/>
                </a:cubicBezTo>
                <a:cubicBezTo>
                  <a:pt x="1175738" y="801932"/>
                  <a:pt x="1176013" y="800842"/>
                  <a:pt x="1176836" y="799862"/>
                </a:cubicBezTo>
                <a:close/>
                <a:moveTo>
                  <a:pt x="2261057" y="799752"/>
                </a:moveTo>
                <a:cubicBezTo>
                  <a:pt x="2260782" y="802695"/>
                  <a:pt x="2266551" y="805093"/>
                  <a:pt x="2263529" y="807599"/>
                </a:cubicBezTo>
                <a:cubicBezTo>
                  <a:pt x="2262156" y="805855"/>
                  <a:pt x="2260782" y="802695"/>
                  <a:pt x="2259409" y="800951"/>
                </a:cubicBezTo>
                <a:cubicBezTo>
                  <a:pt x="2259409" y="800951"/>
                  <a:pt x="2259684" y="800951"/>
                  <a:pt x="2261057" y="799752"/>
                </a:cubicBezTo>
                <a:close/>
                <a:moveTo>
                  <a:pt x="2505536" y="798881"/>
                </a:moveTo>
                <a:lnTo>
                  <a:pt x="2505536" y="808906"/>
                </a:lnTo>
                <a:lnTo>
                  <a:pt x="2504712" y="810105"/>
                </a:lnTo>
                <a:lnTo>
                  <a:pt x="2513777" y="817951"/>
                </a:lnTo>
                <a:lnTo>
                  <a:pt x="2516798" y="813374"/>
                </a:lnTo>
                <a:cubicBezTo>
                  <a:pt x="2519820" y="810759"/>
                  <a:pt x="2523390" y="808688"/>
                  <a:pt x="2527511" y="807708"/>
                </a:cubicBezTo>
                <a:lnTo>
                  <a:pt x="2528610" y="807599"/>
                </a:lnTo>
                <a:lnTo>
                  <a:pt x="2527786" y="807163"/>
                </a:lnTo>
                <a:cubicBezTo>
                  <a:pt x="2526687" y="806400"/>
                  <a:pt x="2525589" y="805637"/>
                  <a:pt x="2524490" y="804656"/>
                </a:cubicBezTo>
                <a:cubicBezTo>
                  <a:pt x="2523116" y="805310"/>
                  <a:pt x="2521743" y="805855"/>
                  <a:pt x="2520095" y="805201"/>
                </a:cubicBezTo>
                <a:lnTo>
                  <a:pt x="2517897" y="803131"/>
                </a:lnTo>
                <a:lnTo>
                  <a:pt x="2516249" y="804439"/>
                </a:lnTo>
                <a:cubicBezTo>
                  <a:pt x="2515425" y="805419"/>
                  <a:pt x="2514601" y="806509"/>
                  <a:pt x="2513501" y="807925"/>
                </a:cubicBezTo>
                <a:cubicBezTo>
                  <a:pt x="2511029" y="804329"/>
                  <a:pt x="2508282" y="801932"/>
                  <a:pt x="2506085" y="799862"/>
                </a:cubicBezTo>
                <a:close/>
                <a:moveTo>
                  <a:pt x="4440211" y="797355"/>
                </a:moveTo>
                <a:cubicBezTo>
                  <a:pt x="4442134" y="798554"/>
                  <a:pt x="4443783" y="801060"/>
                  <a:pt x="4444332" y="805528"/>
                </a:cubicBezTo>
                <a:cubicBezTo>
                  <a:pt x="4440761" y="812176"/>
                  <a:pt x="4433894" y="810432"/>
                  <a:pt x="4429224" y="813156"/>
                </a:cubicBezTo>
                <a:cubicBezTo>
                  <a:pt x="4423181" y="802477"/>
                  <a:pt x="4433894" y="793650"/>
                  <a:pt x="4440211" y="797355"/>
                </a:cubicBezTo>
                <a:close/>
                <a:moveTo>
                  <a:pt x="2819787" y="796483"/>
                </a:moveTo>
                <a:cubicBezTo>
                  <a:pt x="2827478" y="794631"/>
                  <a:pt x="2827203" y="802586"/>
                  <a:pt x="2823907" y="804874"/>
                </a:cubicBezTo>
                <a:cubicBezTo>
                  <a:pt x="2822533" y="805637"/>
                  <a:pt x="2821160" y="805746"/>
                  <a:pt x="2819237" y="804656"/>
                </a:cubicBezTo>
                <a:cubicBezTo>
                  <a:pt x="2819512" y="802586"/>
                  <a:pt x="2818688" y="799426"/>
                  <a:pt x="2819787" y="796483"/>
                </a:cubicBezTo>
                <a:close/>
                <a:moveTo>
                  <a:pt x="2414337" y="796265"/>
                </a:moveTo>
                <a:cubicBezTo>
                  <a:pt x="2419830" y="798227"/>
                  <a:pt x="2420105" y="802804"/>
                  <a:pt x="2420380" y="807380"/>
                </a:cubicBezTo>
                <a:cubicBezTo>
                  <a:pt x="2420105" y="810650"/>
                  <a:pt x="2420380" y="812066"/>
                  <a:pt x="2422853" y="814028"/>
                </a:cubicBezTo>
                <a:cubicBezTo>
                  <a:pt x="2422853" y="814028"/>
                  <a:pt x="2422853" y="814028"/>
                  <a:pt x="2421204" y="817951"/>
                </a:cubicBezTo>
                <a:lnTo>
                  <a:pt x="2419830" y="818605"/>
                </a:lnTo>
                <a:cubicBezTo>
                  <a:pt x="2419281" y="818605"/>
                  <a:pt x="2418457" y="817733"/>
                  <a:pt x="2417633" y="816316"/>
                </a:cubicBezTo>
                <a:cubicBezTo>
                  <a:pt x="2415710" y="812176"/>
                  <a:pt x="2414062" y="803785"/>
                  <a:pt x="2413787" y="802804"/>
                </a:cubicBezTo>
                <a:cubicBezTo>
                  <a:pt x="2413787" y="802804"/>
                  <a:pt x="2413238" y="801496"/>
                  <a:pt x="2412689" y="800188"/>
                </a:cubicBezTo>
                <a:cubicBezTo>
                  <a:pt x="2413513" y="798227"/>
                  <a:pt x="2414886" y="797573"/>
                  <a:pt x="2414337" y="796265"/>
                </a:cubicBezTo>
                <a:close/>
                <a:moveTo>
                  <a:pt x="1754245" y="795067"/>
                </a:moveTo>
                <a:lnTo>
                  <a:pt x="1755070" y="795720"/>
                </a:lnTo>
                <a:cubicBezTo>
                  <a:pt x="1754520" y="796048"/>
                  <a:pt x="1754245" y="796265"/>
                  <a:pt x="1753971" y="796157"/>
                </a:cubicBezTo>
                <a:close/>
                <a:moveTo>
                  <a:pt x="2811271" y="794849"/>
                </a:moveTo>
                <a:cubicBezTo>
                  <a:pt x="2809348" y="797682"/>
                  <a:pt x="2802756" y="806835"/>
                  <a:pt x="2799459" y="807163"/>
                </a:cubicBezTo>
                <a:cubicBezTo>
                  <a:pt x="2801931" y="802259"/>
                  <a:pt x="2809348" y="794304"/>
                  <a:pt x="2811271" y="794849"/>
                </a:cubicBezTo>
                <a:close/>
                <a:moveTo>
                  <a:pt x="2710184" y="794849"/>
                </a:moveTo>
                <a:cubicBezTo>
                  <a:pt x="2713205" y="796483"/>
                  <a:pt x="2717600" y="802695"/>
                  <a:pt x="2716227" y="805746"/>
                </a:cubicBezTo>
                <a:cubicBezTo>
                  <a:pt x="2713479" y="804111"/>
                  <a:pt x="2712106" y="802477"/>
                  <a:pt x="2710458" y="800951"/>
                </a:cubicBezTo>
                <a:cubicBezTo>
                  <a:pt x="2707711" y="799317"/>
                  <a:pt x="2707436" y="797791"/>
                  <a:pt x="2710184" y="794849"/>
                </a:cubicBezTo>
                <a:close/>
                <a:moveTo>
                  <a:pt x="1629053" y="793337"/>
                </a:moveTo>
                <a:cubicBezTo>
                  <a:pt x="1630014" y="794032"/>
                  <a:pt x="1630907" y="795285"/>
                  <a:pt x="1631457" y="796157"/>
                </a:cubicBezTo>
                <a:cubicBezTo>
                  <a:pt x="1629534" y="795829"/>
                  <a:pt x="1628160" y="795939"/>
                  <a:pt x="1627336" y="796048"/>
                </a:cubicBezTo>
                <a:cubicBezTo>
                  <a:pt x="1626512" y="796048"/>
                  <a:pt x="1626237" y="795939"/>
                  <a:pt x="1626237" y="795284"/>
                </a:cubicBezTo>
                <a:cubicBezTo>
                  <a:pt x="1624864" y="795067"/>
                  <a:pt x="1624864" y="793650"/>
                  <a:pt x="1626237" y="793868"/>
                </a:cubicBezTo>
                <a:cubicBezTo>
                  <a:pt x="1627061" y="792506"/>
                  <a:pt x="1628091" y="792642"/>
                  <a:pt x="1629053" y="793337"/>
                </a:cubicBezTo>
                <a:close/>
                <a:moveTo>
                  <a:pt x="1242214" y="793214"/>
                </a:moveTo>
                <a:cubicBezTo>
                  <a:pt x="1241389" y="795175"/>
                  <a:pt x="1252377" y="799317"/>
                  <a:pt x="1251828" y="805964"/>
                </a:cubicBezTo>
                <a:cubicBezTo>
                  <a:pt x="1251554" y="809233"/>
                  <a:pt x="1250729" y="811303"/>
                  <a:pt x="1250455" y="814573"/>
                </a:cubicBezTo>
                <a:lnTo>
                  <a:pt x="1247158" y="816970"/>
                </a:lnTo>
                <a:lnTo>
                  <a:pt x="1247433" y="825797"/>
                </a:lnTo>
                <a:cubicBezTo>
                  <a:pt x="1246884" y="827759"/>
                  <a:pt x="1243038" y="833425"/>
                  <a:pt x="1241115" y="832990"/>
                </a:cubicBezTo>
                <a:cubicBezTo>
                  <a:pt x="1239193" y="832553"/>
                  <a:pt x="1238643" y="831246"/>
                  <a:pt x="1238094" y="830047"/>
                </a:cubicBezTo>
                <a:lnTo>
                  <a:pt x="1238094" y="820893"/>
                </a:lnTo>
                <a:lnTo>
                  <a:pt x="1234248" y="821002"/>
                </a:lnTo>
                <a:cubicBezTo>
                  <a:pt x="1231501" y="820348"/>
                  <a:pt x="1229853" y="819041"/>
                  <a:pt x="1228754" y="817624"/>
                </a:cubicBezTo>
                <a:lnTo>
                  <a:pt x="1227655" y="815989"/>
                </a:lnTo>
                <a:lnTo>
                  <a:pt x="1226282" y="816861"/>
                </a:lnTo>
                <a:cubicBezTo>
                  <a:pt x="1224908" y="816753"/>
                  <a:pt x="1223260" y="815663"/>
                  <a:pt x="1221337" y="812720"/>
                </a:cubicBezTo>
                <a:lnTo>
                  <a:pt x="1224908" y="809124"/>
                </a:lnTo>
                <a:lnTo>
                  <a:pt x="1224084" y="807599"/>
                </a:lnTo>
                <a:lnTo>
                  <a:pt x="1222711" y="807599"/>
                </a:lnTo>
                <a:cubicBezTo>
                  <a:pt x="1222162" y="806291"/>
                  <a:pt x="1219689" y="804220"/>
                  <a:pt x="1218041" y="803566"/>
                </a:cubicBezTo>
                <a:cubicBezTo>
                  <a:pt x="1219140" y="802912"/>
                  <a:pt x="1220513" y="802259"/>
                  <a:pt x="1219963" y="800951"/>
                </a:cubicBezTo>
                <a:cubicBezTo>
                  <a:pt x="1221887" y="801605"/>
                  <a:pt x="1222985" y="802259"/>
                  <a:pt x="1223810" y="802912"/>
                </a:cubicBezTo>
                <a:lnTo>
                  <a:pt x="1224358" y="803240"/>
                </a:lnTo>
                <a:lnTo>
                  <a:pt x="1225732" y="803131"/>
                </a:lnTo>
                <a:lnTo>
                  <a:pt x="1226832" y="803566"/>
                </a:lnTo>
                <a:lnTo>
                  <a:pt x="1227381" y="803676"/>
                </a:lnTo>
                <a:cubicBezTo>
                  <a:pt x="1227381" y="803676"/>
                  <a:pt x="1227381" y="803676"/>
                  <a:pt x="1229028" y="799752"/>
                </a:cubicBezTo>
                <a:cubicBezTo>
                  <a:pt x="1229028" y="799752"/>
                  <a:pt x="1233424" y="791035"/>
                  <a:pt x="1242214" y="793214"/>
                </a:cubicBezTo>
                <a:close/>
                <a:moveTo>
                  <a:pt x="2340170" y="792451"/>
                </a:moveTo>
                <a:cubicBezTo>
                  <a:pt x="2344564" y="797028"/>
                  <a:pt x="2348959" y="801714"/>
                  <a:pt x="2344839" y="805964"/>
                </a:cubicBezTo>
                <a:cubicBezTo>
                  <a:pt x="2337697" y="805637"/>
                  <a:pt x="2333302" y="798009"/>
                  <a:pt x="2340170" y="792451"/>
                </a:cubicBezTo>
                <a:close/>
                <a:moveTo>
                  <a:pt x="1155994" y="792220"/>
                </a:moveTo>
                <a:cubicBezTo>
                  <a:pt x="1158501" y="791062"/>
                  <a:pt x="1161179" y="791307"/>
                  <a:pt x="1163377" y="792560"/>
                </a:cubicBezTo>
                <a:cubicBezTo>
                  <a:pt x="1167772" y="794958"/>
                  <a:pt x="1170793" y="801496"/>
                  <a:pt x="1166673" y="808906"/>
                </a:cubicBezTo>
                <a:cubicBezTo>
                  <a:pt x="1160904" y="811086"/>
                  <a:pt x="1156509" y="810650"/>
                  <a:pt x="1153487" y="810759"/>
                </a:cubicBezTo>
                <a:cubicBezTo>
                  <a:pt x="1152389" y="806835"/>
                  <a:pt x="1150741" y="804220"/>
                  <a:pt x="1149642" y="800297"/>
                </a:cubicBezTo>
                <a:cubicBezTo>
                  <a:pt x="1151153" y="795939"/>
                  <a:pt x="1153488" y="793378"/>
                  <a:pt x="1155994" y="792220"/>
                </a:cubicBezTo>
                <a:close/>
                <a:moveTo>
                  <a:pt x="2667331" y="791797"/>
                </a:moveTo>
                <a:cubicBezTo>
                  <a:pt x="2667331" y="796048"/>
                  <a:pt x="2667606" y="801714"/>
                  <a:pt x="2666507" y="804548"/>
                </a:cubicBezTo>
                <a:cubicBezTo>
                  <a:pt x="2664858" y="801605"/>
                  <a:pt x="2663210" y="795829"/>
                  <a:pt x="2665958" y="793105"/>
                </a:cubicBezTo>
                <a:cubicBezTo>
                  <a:pt x="2665958" y="793105"/>
                  <a:pt x="2665958" y="793105"/>
                  <a:pt x="2667331" y="791797"/>
                </a:cubicBezTo>
                <a:close/>
                <a:moveTo>
                  <a:pt x="1595240" y="791625"/>
                </a:moveTo>
                <a:cubicBezTo>
                  <a:pt x="1600159" y="792683"/>
                  <a:pt x="1604537" y="802613"/>
                  <a:pt x="1597944" y="803349"/>
                </a:cubicBezTo>
                <a:cubicBezTo>
                  <a:pt x="1595471" y="801278"/>
                  <a:pt x="1593000" y="797682"/>
                  <a:pt x="1590527" y="794195"/>
                </a:cubicBezTo>
                <a:cubicBezTo>
                  <a:pt x="1591900" y="791906"/>
                  <a:pt x="1593600" y="791273"/>
                  <a:pt x="1595240" y="791625"/>
                </a:cubicBezTo>
                <a:close/>
                <a:moveTo>
                  <a:pt x="1423787" y="791252"/>
                </a:moveTo>
                <a:cubicBezTo>
                  <a:pt x="1427358" y="790599"/>
                  <a:pt x="1431753" y="793759"/>
                  <a:pt x="1434775" y="798009"/>
                </a:cubicBezTo>
                <a:lnTo>
                  <a:pt x="1435050" y="796483"/>
                </a:lnTo>
                <a:cubicBezTo>
                  <a:pt x="1435599" y="797247"/>
                  <a:pt x="1435599" y="797464"/>
                  <a:pt x="1435599" y="797791"/>
                </a:cubicBezTo>
                <a:lnTo>
                  <a:pt x="1435050" y="798554"/>
                </a:lnTo>
                <a:lnTo>
                  <a:pt x="1438346" y="804765"/>
                </a:lnTo>
                <a:cubicBezTo>
                  <a:pt x="1438896" y="807054"/>
                  <a:pt x="1439170" y="809233"/>
                  <a:pt x="1438621" y="810977"/>
                </a:cubicBezTo>
                <a:cubicBezTo>
                  <a:pt x="1435325" y="813265"/>
                  <a:pt x="1432303" y="815445"/>
                  <a:pt x="1429007" y="817624"/>
                </a:cubicBezTo>
                <a:cubicBezTo>
                  <a:pt x="1421864" y="817624"/>
                  <a:pt x="1416095" y="811957"/>
                  <a:pt x="1415272" y="805419"/>
                </a:cubicBezTo>
                <a:cubicBezTo>
                  <a:pt x="1414997" y="803240"/>
                  <a:pt x="1415272" y="800951"/>
                  <a:pt x="1416370" y="798881"/>
                </a:cubicBezTo>
                <a:cubicBezTo>
                  <a:pt x="1417469" y="795939"/>
                  <a:pt x="1419942" y="793323"/>
                  <a:pt x="1423787" y="791252"/>
                </a:cubicBezTo>
                <a:close/>
                <a:moveTo>
                  <a:pt x="1776496" y="790817"/>
                </a:moveTo>
                <a:cubicBezTo>
                  <a:pt x="1780066" y="789291"/>
                  <a:pt x="1784736" y="789618"/>
                  <a:pt x="1790230" y="791252"/>
                </a:cubicBezTo>
                <a:lnTo>
                  <a:pt x="1795998" y="794195"/>
                </a:lnTo>
                <a:lnTo>
                  <a:pt x="1795998" y="793541"/>
                </a:lnTo>
                <a:cubicBezTo>
                  <a:pt x="1797647" y="791471"/>
                  <a:pt x="1799020" y="790926"/>
                  <a:pt x="1800668" y="791362"/>
                </a:cubicBezTo>
                <a:cubicBezTo>
                  <a:pt x="1802317" y="791689"/>
                  <a:pt x="1804240" y="792996"/>
                  <a:pt x="1806437" y="794740"/>
                </a:cubicBezTo>
                <a:cubicBezTo>
                  <a:pt x="1808360" y="796483"/>
                  <a:pt x="1809185" y="798336"/>
                  <a:pt x="1809733" y="800297"/>
                </a:cubicBezTo>
                <a:lnTo>
                  <a:pt x="1811107" y="804111"/>
                </a:lnTo>
                <a:lnTo>
                  <a:pt x="1819348" y="812502"/>
                </a:lnTo>
                <a:cubicBezTo>
                  <a:pt x="1822094" y="817298"/>
                  <a:pt x="1823194" y="822201"/>
                  <a:pt x="1821271" y="826886"/>
                </a:cubicBezTo>
                <a:cubicBezTo>
                  <a:pt x="1809185" y="808797"/>
                  <a:pt x="1786659" y="812393"/>
                  <a:pt x="1776496" y="790817"/>
                </a:cubicBezTo>
                <a:close/>
                <a:moveTo>
                  <a:pt x="2703591" y="789727"/>
                </a:moveTo>
                <a:cubicBezTo>
                  <a:pt x="2702217" y="790272"/>
                  <a:pt x="2702217" y="790381"/>
                  <a:pt x="2702217" y="790381"/>
                </a:cubicBezTo>
                <a:cubicBezTo>
                  <a:pt x="2701118" y="792234"/>
                  <a:pt x="2702491" y="791797"/>
                  <a:pt x="2702766" y="793214"/>
                </a:cubicBezTo>
                <a:cubicBezTo>
                  <a:pt x="2702766" y="793214"/>
                  <a:pt x="2702491" y="791689"/>
                  <a:pt x="2704415" y="792670"/>
                </a:cubicBezTo>
                <a:cubicBezTo>
                  <a:pt x="2703041" y="793105"/>
                  <a:pt x="2703315" y="794521"/>
                  <a:pt x="2703591" y="795939"/>
                </a:cubicBezTo>
                <a:cubicBezTo>
                  <a:pt x="2701668" y="799752"/>
                  <a:pt x="2698096" y="804002"/>
                  <a:pt x="2695075" y="803676"/>
                </a:cubicBezTo>
                <a:cubicBezTo>
                  <a:pt x="2693152" y="802804"/>
                  <a:pt x="2692602" y="801605"/>
                  <a:pt x="2692328" y="800297"/>
                </a:cubicBezTo>
                <a:cubicBezTo>
                  <a:pt x="2692328" y="798989"/>
                  <a:pt x="2692602" y="797573"/>
                  <a:pt x="2693152" y="796702"/>
                </a:cubicBezTo>
                <a:cubicBezTo>
                  <a:pt x="2693427" y="794304"/>
                  <a:pt x="2694800" y="792670"/>
                  <a:pt x="2696723" y="791580"/>
                </a:cubicBezTo>
                <a:cubicBezTo>
                  <a:pt x="2698646" y="790381"/>
                  <a:pt x="2701393" y="789836"/>
                  <a:pt x="2703591" y="789727"/>
                </a:cubicBezTo>
                <a:close/>
                <a:moveTo>
                  <a:pt x="1769353" y="788419"/>
                </a:moveTo>
                <a:cubicBezTo>
                  <a:pt x="1769903" y="789727"/>
                  <a:pt x="1770727" y="790926"/>
                  <a:pt x="1769353" y="791689"/>
                </a:cubicBezTo>
                <a:cubicBezTo>
                  <a:pt x="1770178" y="792887"/>
                  <a:pt x="1770178" y="792887"/>
                  <a:pt x="1769079" y="793650"/>
                </a:cubicBezTo>
                <a:cubicBezTo>
                  <a:pt x="1768529" y="792342"/>
                  <a:pt x="1767705" y="791144"/>
                  <a:pt x="1767156" y="789836"/>
                </a:cubicBezTo>
                <a:cubicBezTo>
                  <a:pt x="1767705" y="787874"/>
                  <a:pt x="1767705" y="787983"/>
                  <a:pt x="1769353" y="788419"/>
                </a:cubicBezTo>
                <a:close/>
                <a:moveTo>
                  <a:pt x="4336652" y="788201"/>
                </a:moveTo>
                <a:cubicBezTo>
                  <a:pt x="4343519" y="791252"/>
                  <a:pt x="4348463" y="798227"/>
                  <a:pt x="4341871" y="804002"/>
                </a:cubicBezTo>
                <a:cubicBezTo>
                  <a:pt x="4337750" y="803021"/>
                  <a:pt x="4331432" y="795720"/>
                  <a:pt x="4331982" y="791580"/>
                </a:cubicBezTo>
                <a:cubicBezTo>
                  <a:pt x="4333629" y="790490"/>
                  <a:pt x="4335278" y="789291"/>
                  <a:pt x="4336652" y="788201"/>
                </a:cubicBezTo>
                <a:close/>
                <a:moveTo>
                  <a:pt x="1754245" y="787766"/>
                </a:moveTo>
                <a:cubicBezTo>
                  <a:pt x="1755344" y="787112"/>
                  <a:pt x="1755619" y="793759"/>
                  <a:pt x="1756168" y="795067"/>
                </a:cubicBezTo>
                <a:cubicBezTo>
                  <a:pt x="1755070" y="795720"/>
                  <a:pt x="1755070" y="795720"/>
                  <a:pt x="1754520" y="794521"/>
                </a:cubicBezTo>
                <a:lnTo>
                  <a:pt x="1754245" y="795067"/>
                </a:lnTo>
                <a:lnTo>
                  <a:pt x="1751773" y="792779"/>
                </a:lnTo>
                <a:cubicBezTo>
                  <a:pt x="1751223" y="791362"/>
                  <a:pt x="1751223" y="789727"/>
                  <a:pt x="1751223" y="787983"/>
                </a:cubicBezTo>
                <a:cubicBezTo>
                  <a:pt x="1752322" y="787329"/>
                  <a:pt x="1752322" y="787221"/>
                  <a:pt x="1754245" y="787766"/>
                </a:cubicBezTo>
                <a:close/>
                <a:moveTo>
                  <a:pt x="2503063" y="787329"/>
                </a:moveTo>
                <a:cubicBezTo>
                  <a:pt x="2506085" y="786894"/>
                  <a:pt x="2508832" y="788637"/>
                  <a:pt x="2511579" y="791362"/>
                </a:cubicBezTo>
                <a:lnTo>
                  <a:pt x="2515974" y="796265"/>
                </a:lnTo>
                <a:lnTo>
                  <a:pt x="2516523" y="795612"/>
                </a:lnTo>
                <a:cubicBezTo>
                  <a:pt x="2517622" y="794849"/>
                  <a:pt x="2518995" y="794521"/>
                  <a:pt x="2520644" y="795284"/>
                </a:cubicBezTo>
                <a:cubicBezTo>
                  <a:pt x="2525589" y="796048"/>
                  <a:pt x="2527236" y="799971"/>
                  <a:pt x="2527511" y="804656"/>
                </a:cubicBezTo>
                <a:cubicBezTo>
                  <a:pt x="2528610" y="805637"/>
                  <a:pt x="2529983" y="806291"/>
                  <a:pt x="2531082" y="806945"/>
                </a:cubicBezTo>
                <a:lnTo>
                  <a:pt x="2531357" y="807380"/>
                </a:lnTo>
                <a:lnTo>
                  <a:pt x="2534927" y="807054"/>
                </a:lnTo>
                <a:cubicBezTo>
                  <a:pt x="2542619" y="807708"/>
                  <a:pt x="2551134" y="812285"/>
                  <a:pt x="2558002" y="823073"/>
                </a:cubicBezTo>
                <a:cubicBezTo>
                  <a:pt x="2552783" y="837349"/>
                  <a:pt x="2541246" y="847265"/>
                  <a:pt x="2529708" y="847701"/>
                </a:cubicBezTo>
                <a:cubicBezTo>
                  <a:pt x="2525863" y="847919"/>
                  <a:pt x="2521743" y="846938"/>
                  <a:pt x="2518171" y="844758"/>
                </a:cubicBezTo>
                <a:cubicBezTo>
                  <a:pt x="2514051" y="841598"/>
                  <a:pt x="2511579" y="837893"/>
                  <a:pt x="2510205" y="834188"/>
                </a:cubicBezTo>
                <a:lnTo>
                  <a:pt x="2510205" y="832771"/>
                </a:lnTo>
                <a:lnTo>
                  <a:pt x="2502788" y="834406"/>
                </a:lnTo>
                <a:cubicBezTo>
                  <a:pt x="2501964" y="834079"/>
                  <a:pt x="2501140" y="833861"/>
                  <a:pt x="2500591" y="833098"/>
                </a:cubicBezTo>
                <a:cubicBezTo>
                  <a:pt x="2500042" y="832336"/>
                  <a:pt x="2500042" y="831137"/>
                  <a:pt x="2500866" y="829175"/>
                </a:cubicBezTo>
                <a:cubicBezTo>
                  <a:pt x="2501140" y="825797"/>
                  <a:pt x="2502514" y="825252"/>
                  <a:pt x="2507458" y="825906"/>
                </a:cubicBezTo>
                <a:lnTo>
                  <a:pt x="2507733" y="825906"/>
                </a:lnTo>
                <a:lnTo>
                  <a:pt x="2501689" y="814246"/>
                </a:lnTo>
                <a:lnTo>
                  <a:pt x="2498668" y="815771"/>
                </a:lnTo>
                <a:cubicBezTo>
                  <a:pt x="2479989" y="809342"/>
                  <a:pt x="2481637" y="794849"/>
                  <a:pt x="2492350" y="793432"/>
                </a:cubicBezTo>
                <a:cubicBezTo>
                  <a:pt x="2493998" y="793105"/>
                  <a:pt x="2496196" y="793214"/>
                  <a:pt x="2498394" y="793868"/>
                </a:cubicBezTo>
                <a:lnTo>
                  <a:pt x="2503888" y="796374"/>
                </a:lnTo>
                <a:lnTo>
                  <a:pt x="2501964" y="793541"/>
                </a:lnTo>
                <a:cubicBezTo>
                  <a:pt x="2501689" y="791797"/>
                  <a:pt x="2501964" y="789945"/>
                  <a:pt x="2503063" y="787329"/>
                </a:cubicBezTo>
                <a:close/>
                <a:moveTo>
                  <a:pt x="1902031" y="785259"/>
                </a:moveTo>
                <a:cubicBezTo>
                  <a:pt x="1898734" y="786676"/>
                  <a:pt x="1894889" y="788964"/>
                  <a:pt x="1891043" y="790926"/>
                </a:cubicBezTo>
                <a:lnTo>
                  <a:pt x="1880879" y="793976"/>
                </a:lnTo>
                <a:lnTo>
                  <a:pt x="1888845" y="793868"/>
                </a:lnTo>
                <a:cubicBezTo>
                  <a:pt x="1897910" y="794849"/>
                  <a:pt x="1907250" y="797355"/>
                  <a:pt x="1918238" y="797028"/>
                </a:cubicBezTo>
                <a:cubicBezTo>
                  <a:pt x="1920984" y="815336"/>
                  <a:pt x="1931698" y="815663"/>
                  <a:pt x="1939664" y="821329"/>
                </a:cubicBezTo>
                <a:cubicBezTo>
                  <a:pt x="1938840" y="824707"/>
                  <a:pt x="1938291" y="828085"/>
                  <a:pt x="1938291" y="831791"/>
                </a:cubicBezTo>
                <a:lnTo>
                  <a:pt x="1939115" y="842906"/>
                </a:lnTo>
                <a:lnTo>
                  <a:pt x="1945707" y="847591"/>
                </a:lnTo>
                <a:cubicBezTo>
                  <a:pt x="1949279" y="852059"/>
                  <a:pt x="1949828" y="857726"/>
                  <a:pt x="1946806" y="861432"/>
                </a:cubicBezTo>
                <a:lnTo>
                  <a:pt x="1941037" y="864264"/>
                </a:lnTo>
                <a:lnTo>
                  <a:pt x="1941037" y="866008"/>
                </a:lnTo>
                <a:cubicBezTo>
                  <a:pt x="1934445" y="872764"/>
                  <a:pt x="1929226" y="879848"/>
                  <a:pt x="1923732" y="886822"/>
                </a:cubicBezTo>
                <a:lnTo>
                  <a:pt x="1922084" y="888892"/>
                </a:lnTo>
                <a:lnTo>
                  <a:pt x="1926478" y="889437"/>
                </a:lnTo>
                <a:lnTo>
                  <a:pt x="1931972" y="895758"/>
                </a:lnTo>
                <a:lnTo>
                  <a:pt x="1938016" y="893360"/>
                </a:lnTo>
                <a:cubicBezTo>
                  <a:pt x="1943510" y="892598"/>
                  <a:pt x="1948729" y="893143"/>
                  <a:pt x="1952849" y="895649"/>
                </a:cubicBezTo>
                <a:lnTo>
                  <a:pt x="1958068" y="902296"/>
                </a:lnTo>
                <a:lnTo>
                  <a:pt x="1958892" y="902187"/>
                </a:lnTo>
                <a:cubicBezTo>
                  <a:pt x="1961914" y="905238"/>
                  <a:pt x="1963562" y="909706"/>
                  <a:pt x="1962189" y="911122"/>
                </a:cubicBezTo>
                <a:cubicBezTo>
                  <a:pt x="1960267" y="913194"/>
                  <a:pt x="1958068" y="915264"/>
                  <a:pt x="1955322" y="914283"/>
                </a:cubicBezTo>
                <a:cubicBezTo>
                  <a:pt x="1954498" y="913956"/>
                  <a:pt x="1953398" y="913303"/>
                  <a:pt x="1952300" y="912104"/>
                </a:cubicBezTo>
                <a:cubicBezTo>
                  <a:pt x="1952300" y="912104"/>
                  <a:pt x="1952300" y="912104"/>
                  <a:pt x="1952300" y="910687"/>
                </a:cubicBezTo>
                <a:lnTo>
                  <a:pt x="1952025" y="908072"/>
                </a:lnTo>
                <a:lnTo>
                  <a:pt x="1943235" y="914719"/>
                </a:lnTo>
                <a:cubicBezTo>
                  <a:pt x="1936917" y="917662"/>
                  <a:pt x="1929500" y="919296"/>
                  <a:pt x="1920435" y="918860"/>
                </a:cubicBezTo>
                <a:cubicBezTo>
                  <a:pt x="1913843" y="911232"/>
                  <a:pt x="1916590" y="904040"/>
                  <a:pt x="1922908" y="899245"/>
                </a:cubicBezTo>
                <a:lnTo>
                  <a:pt x="1923457" y="899027"/>
                </a:lnTo>
                <a:lnTo>
                  <a:pt x="1922908" y="897937"/>
                </a:lnTo>
                <a:cubicBezTo>
                  <a:pt x="1921534" y="894995"/>
                  <a:pt x="1919886" y="892270"/>
                  <a:pt x="1919886" y="892270"/>
                </a:cubicBezTo>
                <a:lnTo>
                  <a:pt x="1921534" y="889546"/>
                </a:lnTo>
                <a:lnTo>
                  <a:pt x="1906701" y="907745"/>
                </a:lnTo>
                <a:lnTo>
                  <a:pt x="1894614" y="907853"/>
                </a:lnTo>
                <a:lnTo>
                  <a:pt x="1894339" y="908072"/>
                </a:lnTo>
                <a:cubicBezTo>
                  <a:pt x="1894614" y="908507"/>
                  <a:pt x="1894889" y="908835"/>
                  <a:pt x="1894889" y="909597"/>
                </a:cubicBezTo>
                <a:cubicBezTo>
                  <a:pt x="1894889" y="909597"/>
                  <a:pt x="1894889" y="908181"/>
                  <a:pt x="1896537" y="909815"/>
                </a:cubicBezTo>
                <a:cubicBezTo>
                  <a:pt x="1894889" y="909597"/>
                  <a:pt x="1894889" y="911122"/>
                  <a:pt x="1894889" y="912540"/>
                </a:cubicBezTo>
                <a:cubicBezTo>
                  <a:pt x="1891867" y="915155"/>
                  <a:pt x="1887472" y="917552"/>
                  <a:pt x="1884725" y="915699"/>
                </a:cubicBezTo>
                <a:cubicBezTo>
                  <a:pt x="1883077" y="914065"/>
                  <a:pt x="1883077" y="912649"/>
                  <a:pt x="1883077" y="911341"/>
                </a:cubicBezTo>
                <a:lnTo>
                  <a:pt x="1884176" y="909271"/>
                </a:lnTo>
                <a:lnTo>
                  <a:pt x="1875661" y="910905"/>
                </a:lnTo>
                <a:cubicBezTo>
                  <a:pt x="1864947" y="912866"/>
                  <a:pt x="1854509" y="913520"/>
                  <a:pt x="1846543" y="906219"/>
                </a:cubicBezTo>
                <a:cubicBezTo>
                  <a:pt x="1843795" y="887912"/>
                  <a:pt x="1833632" y="886168"/>
                  <a:pt x="1827864" y="876470"/>
                </a:cubicBezTo>
                <a:cubicBezTo>
                  <a:pt x="1827589" y="870040"/>
                  <a:pt x="1828138" y="863066"/>
                  <a:pt x="1829237" y="855873"/>
                </a:cubicBezTo>
                <a:lnTo>
                  <a:pt x="1831709" y="845195"/>
                </a:lnTo>
                <a:lnTo>
                  <a:pt x="1827864" y="839092"/>
                </a:lnTo>
                <a:lnTo>
                  <a:pt x="1833632" y="837893"/>
                </a:lnTo>
                <a:lnTo>
                  <a:pt x="1834456" y="834515"/>
                </a:lnTo>
                <a:lnTo>
                  <a:pt x="1839125" y="825470"/>
                </a:lnTo>
                <a:lnTo>
                  <a:pt x="1838302" y="824925"/>
                </a:lnTo>
                <a:cubicBezTo>
                  <a:pt x="1837203" y="823509"/>
                  <a:pt x="1837478" y="821983"/>
                  <a:pt x="1838302" y="820457"/>
                </a:cubicBezTo>
                <a:lnTo>
                  <a:pt x="1843795" y="816099"/>
                </a:lnTo>
                <a:lnTo>
                  <a:pt x="1844345" y="814900"/>
                </a:lnTo>
                <a:cubicBezTo>
                  <a:pt x="1848740" y="809016"/>
                  <a:pt x="1853960" y="803894"/>
                  <a:pt x="1860552" y="799971"/>
                </a:cubicBezTo>
                <a:cubicBezTo>
                  <a:pt x="1865771" y="796702"/>
                  <a:pt x="1870441" y="794849"/>
                  <a:pt x="1875111" y="794086"/>
                </a:cubicBezTo>
                <a:lnTo>
                  <a:pt x="1880330" y="793976"/>
                </a:lnTo>
                <a:lnTo>
                  <a:pt x="1883901" y="792125"/>
                </a:lnTo>
                <a:cubicBezTo>
                  <a:pt x="1889120" y="789291"/>
                  <a:pt x="1898185" y="785259"/>
                  <a:pt x="1902031" y="785259"/>
                </a:cubicBezTo>
                <a:close/>
                <a:moveTo>
                  <a:pt x="1302922" y="785041"/>
                </a:moveTo>
                <a:cubicBezTo>
                  <a:pt x="1305119" y="789618"/>
                  <a:pt x="1309514" y="790163"/>
                  <a:pt x="1311712" y="798009"/>
                </a:cubicBezTo>
                <a:cubicBezTo>
                  <a:pt x="1289461" y="813592"/>
                  <a:pt x="1272430" y="833643"/>
                  <a:pt x="1253751" y="845957"/>
                </a:cubicBezTo>
                <a:cubicBezTo>
                  <a:pt x="1257597" y="821002"/>
                  <a:pt x="1283693" y="803894"/>
                  <a:pt x="1302922" y="785041"/>
                </a:cubicBezTo>
                <a:close/>
                <a:moveTo>
                  <a:pt x="1902855" y="783406"/>
                </a:moveTo>
                <a:cubicBezTo>
                  <a:pt x="1905052" y="783734"/>
                  <a:pt x="1904503" y="782644"/>
                  <a:pt x="1905602" y="784823"/>
                </a:cubicBezTo>
                <a:cubicBezTo>
                  <a:pt x="1903679" y="784605"/>
                  <a:pt x="1903679" y="784714"/>
                  <a:pt x="1902306" y="785477"/>
                </a:cubicBezTo>
                <a:cubicBezTo>
                  <a:pt x="1902306" y="785477"/>
                  <a:pt x="1902855" y="783406"/>
                  <a:pt x="1902855" y="783406"/>
                </a:cubicBezTo>
                <a:close/>
                <a:moveTo>
                  <a:pt x="2096240" y="782861"/>
                </a:moveTo>
                <a:cubicBezTo>
                  <a:pt x="2096240" y="782861"/>
                  <a:pt x="2096790" y="784169"/>
                  <a:pt x="2095141" y="788092"/>
                </a:cubicBezTo>
                <a:cubicBezTo>
                  <a:pt x="2094866" y="786784"/>
                  <a:pt x="2093493" y="787438"/>
                  <a:pt x="2093493" y="787438"/>
                </a:cubicBezTo>
                <a:cubicBezTo>
                  <a:pt x="2093493" y="787438"/>
                  <a:pt x="2093493" y="787438"/>
                  <a:pt x="2094042" y="788746"/>
                </a:cubicBezTo>
                <a:cubicBezTo>
                  <a:pt x="2092944" y="788419"/>
                  <a:pt x="2092669" y="787874"/>
                  <a:pt x="2092669" y="787221"/>
                </a:cubicBezTo>
                <a:cubicBezTo>
                  <a:pt x="2092669" y="786676"/>
                  <a:pt x="2092944" y="786131"/>
                  <a:pt x="2092944" y="786131"/>
                </a:cubicBezTo>
                <a:cubicBezTo>
                  <a:pt x="2093768" y="784169"/>
                  <a:pt x="2094592" y="782208"/>
                  <a:pt x="2096240" y="782861"/>
                </a:cubicBezTo>
                <a:close/>
                <a:moveTo>
                  <a:pt x="1699307" y="782861"/>
                </a:moveTo>
                <a:cubicBezTo>
                  <a:pt x="1709195" y="789509"/>
                  <a:pt x="1713590" y="819041"/>
                  <a:pt x="1699307" y="822964"/>
                </a:cubicBezTo>
                <a:cubicBezTo>
                  <a:pt x="1698207" y="812393"/>
                  <a:pt x="1698757" y="802586"/>
                  <a:pt x="1692713" y="788528"/>
                </a:cubicBezTo>
                <a:cubicBezTo>
                  <a:pt x="1696560" y="787766"/>
                  <a:pt x="1694087" y="782861"/>
                  <a:pt x="1699307" y="782861"/>
                </a:cubicBezTo>
                <a:close/>
                <a:moveTo>
                  <a:pt x="1661673" y="782861"/>
                </a:moveTo>
                <a:cubicBezTo>
                  <a:pt x="1663871" y="783189"/>
                  <a:pt x="1665793" y="783515"/>
                  <a:pt x="1667716" y="783843"/>
                </a:cubicBezTo>
                <a:lnTo>
                  <a:pt x="1668266" y="785804"/>
                </a:lnTo>
                <a:lnTo>
                  <a:pt x="1674309" y="786022"/>
                </a:lnTo>
                <a:cubicBezTo>
                  <a:pt x="1672112" y="789836"/>
                  <a:pt x="1679529" y="794740"/>
                  <a:pt x="1676506" y="800406"/>
                </a:cubicBezTo>
                <a:cubicBezTo>
                  <a:pt x="1668815" y="818278"/>
                  <a:pt x="1664146" y="817188"/>
                  <a:pt x="1653158" y="816534"/>
                </a:cubicBezTo>
                <a:cubicBezTo>
                  <a:pt x="1654531" y="816099"/>
                  <a:pt x="1652883" y="815118"/>
                  <a:pt x="1652883" y="815118"/>
                </a:cubicBezTo>
                <a:cubicBezTo>
                  <a:pt x="1649311" y="813374"/>
                  <a:pt x="1650136" y="822201"/>
                  <a:pt x="1645192" y="820893"/>
                </a:cubicBezTo>
                <a:cubicBezTo>
                  <a:pt x="1641620" y="819477"/>
                  <a:pt x="1639698" y="816099"/>
                  <a:pt x="1638598" y="812285"/>
                </a:cubicBezTo>
                <a:lnTo>
                  <a:pt x="1638323" y="808688"/>
                </a:lnTo>
                <a:lnTo>
                  <a:pt x="1635852" y="807817"/>
                </a:lnTo>
                <a:cubicBezTo>
                  <a:pt x="1632555" y="802586"/>
                  <a:pt x="1632280" y="796919"/>
                  <a:pt x="1634754" y="793323"/>
                </a:cubicBezTo>
                <a:lnTo>
                  <a:pt x="1638873" y="790599"/>
                </a:lnTo>
                <a:lnTo>
                  <a:pt x="1639423" y="789073"/>
                </a:lnTo>
                <a:cubicBezTo>
                  <a:pt x="1640247" y="787874"/>
                  <a:pt x="1641071" y="787438"/>
                  <a:pt x="1642993" y="788311"/>
                </a:cubicBezTo>
                <a:cubicBezTo>
                  <a:pt x="1644367" y="788528"/>
                  <a:pt x="1645192" y="789509"/>
                  <a:pt x="1645741" y="790599"/>
                </a:cubicBezTo>
                <a:lnTo>
                  <a:pt x="1646015" y="790817"/>
                </a:lnTo>
                <a:lnTo>
                  <a:pt x="1648762" y="791362"/>
                </a:lnTo>
                <a:lnTo>
                  <a:pt x="1649861" y="793759"/>
                </a:lnTo>
                <a:lnTo>
                  <a:pt x="1653707" y="792996"/>
                </a:lnTo>
                <a:cubicBezTo>
                  <a:pt x="1655355" y="792016"/>
                  <a:pt x="1657003" y="790490"/>
                  <a:pt x="1658926" y="789073"/>
                </a:cubicBezTo>
                <a:lnTo>
                  <a:pt x="1660024" y="788528"/>
                </a:lnTo>
                <a:close/>
                <a:moveTo>
                  <a:pt x="6079316" y="782753"/>
                </a:moveTo>
                <a:cubicBezTo>
                  <a:pt x="6088381" y="783515"/>
                  <a:pt x="6095523" y="787329"/>
                  <a:pt x="6101841" y="785804"/>
                </a:cubicBezTo>
                <a:cubicBezTo>
                  <a:pt x="6101841" y="785804"/>
                  <a:pt x="6101841" y="785804"/>
                  <a:pt x="6104588" y="789073"/>
                </a:cubicBezTo>
                <a:cubicBezTo>
                  <a:pt x="6105961" y="789291"/>
                  <a:pt x="6105961" y="789182"/>
                  <a:pt x="6105961" y="789182"/>
                </a:cubicBezTo>
                <a:cubicBezTo>
                  <a:pt x="6107335" y="789400"/>
                  <a:pt x="6107335" y="792451"/>
                  <a:pt x="6107335" y="792451"/>
                </a:cubicBezTo>
                <a:cubicBezTo>
                  <a:pt x="6106511" y="793759"/>
                  <a:pt x="6105137" y="793976"/>
                  <a:pt x="6103763" y="793868"/>
                </a:cubicBezTo>
                <a:cubicBezTo>
                  <a:pt x="6102115" y="793650"/>
                  <a:pt x="6100193" y="792996"/>
                  <a:pt x="6098819" y="792887"/>
                </a:cubicBezTo>
                <a:cubicBezTo>
                  <a:pt x="6097445" y="795612"/>
                  <a:pt x="6093325" y="789182"/>
                  <a:pt x="6091952" y="792016"/>
                </a:cubicBezTo>
                <a:cubicBezTo>
                  <a:pt x="6086458" y="785368"/>
                  <a:pt x="6079041" y="791906"/>
                  <a:pt x="6069427" y="783298"/>
                </a:cubicBezTo>
                <a:cubicBezTo>
                  <a:pt x="6072998" y="782644"/>
                  <a:pt x="6076294" y="782535"/>
                  <a:pt x="6079316" y="782753"/>
                </a:cubicBezTo>
                <a:close/>
                <a:moveTo>
                  <a:pt x="1393296" y="781881"/>
                </a:moveTo>
                <a:cubicBezTo>
                  <a:pt x="1394670" y="780682"/>
                  <a:pt x="1397691" y="779592"/>
                  <a:pt x="1400163" y="782971"/>
                </a:cubicBezTo>
                <a:cubicBezTo>
                  <a:pt x="1404284" y="786676"/>
                  <a:pt x="1404009" y="791144"/>
                  <a:pt x="1402361" y="795394"/>
                </a:cubicBezTo>
                <a:cubicBezTo>
                  <a:pt x="1403460" y="798554"/>
                  <a:pt x="1406207" y="800406"/>
                  <a:pt x="1404559" y="803131"/>
                </a:cubicBezTo>
                <a:cubicBezTo>
                  <a:pt x="1402086" y="798227"/>
                  <a:pt x="1400713" y="796593"/>
                  <a:pt x="1399614" y="793432"/>
                </a:cubicBezTo>
                <a:cubicBezTo>
                  <a:pt x="1398241" y="793214"/>
                  <a:pt x="1396868" y="792887"/>
                  <a:pt x="1395494" y="791252"/>
                </a:cubicBezTo>
                <a:cubicBezTo>
                  <a:pt x="1393021" y="787766"/>
                  <a:pt x="1394395" y="785150"/>
                  <a:pt x="1393296" y="781881"/>
                </a:cubicBezTo>
                <a:close/>
                <a:moveTo>
                  <a:pt x="2759903" y="780682"/>
                </a:moveTo>
                <a:cubicBezTo>
                  <a:pt x="2767045" y="780900"/>
                  <a:pt x="2775561" y="791797"/>
                  <a:pt x="2773637" y="797247"/>
                </a:cubicBezTo>
                <a:cubicBezTo>
                  <a:pt x="2767320" y="804111"/>
                  <a:pt x="2761276" y="805201"/>
                  <a:pt x="2756881" y="803240"/>
                </a:cubicBezTo>
                <a:lnTo>
                  <a:pt x="2755508" y="801714"/>
                </a:lnTo>
                <a:lnTo>
                  <a:pt x="2754135" y="802804"/>
                </a:lnTo>
                <a:cubicBezTo>
                  <a:pt x="2751387" y="803785"/>
                  <a:pt x="2747266" y="803676"/>
                  <a:pt x="2743421" y="804656"/>
                </a:cubicBezTo>
                <a:cubicBezTo>
                  <a:pt x="2743421" y="799971"/>
                  <a:pt x="2744520" y="796919"/>
                  <a:pt x="2747266" y="795394"/>
                </a:cubicBezTo>
                <a:lnTo>
                  <a:pt x="2752211" y="794958"/>
                </a:lnTo>
                <a:lnTo>
                  <a:pt x="2751937" y="790926"/>
                </a:lnTo>
                <a:cubicBezTo>
                  <a:pt x="2752761" y="787329"/>
                  <a:pt x="2755233" y="783734"/>
                  <a:pt x="2759903" y="780682"/>
                </a:cubicBezTo>
                <a:close/>
                <a:moveTo>
                  <a:pt x="2081681" y="780355"/>
                </a:moveTo>
                <a:cubicBezTo>
                  <a:pt x="2082231" y="782316"/>
                  <a:pt x="2082780" y="784279"/>
                  <a:pt x="2083329" y="786131"/>
                </a:cubicBezTo>
                <a:cubicBezTo>
                  <a:pt x="2080857" y="789182"/>
                  <a:pt x="2077835" y="791471"/>
                  <a:pt x="2074814" y="791906"/>
                </a:cubicBezTo>
                <a:cubicBezTo>
                  <a:pt x="2072067" y="792342"/>
                  <a:pt x="2069320" y="791035"/>
                  <a:pt x="2067671" y="786784"/>
                </a:cubicBezTo>
                <a:cubicBezTo>
                  <a:pt x="2069870" y="782861"/>
                  <a:pt x="2078110" y="778503"/>
                  <a:pt x="2081681" y="780355"/>
                </a:cubicBezTo>
                <a:close/>
                <a:moveTo>
                  <a:pt x="1911371" y="779702"/>
                </a:moveTo>
                <a:cubicBezTo>
                  <a:pt x="1911371" y="779702"/>
                  <a:pt x="1911920" y="780900"/>
                  <a:pt x="1911920" y="780900"/>
                </a:cubicBezTo>
                <a:cubicBezTo>
                  <a:pt x="1911371" y="781336"/>
                  <a:pt x="1910546" y="781772"/>
                  <a:pt x="1909997" y="781881"/>
                </a:cubicBezTo>
                <a:cubicBezTo>
                  <a:pt x="1909447" y="782099"/>
                  <a:pt x="1908898" y="781990"/>
                  <a:pt x="1908623" y="781445"/>
                </a:cubicBezTo>
                <a:cubicBezTo>
                  <a:pt x="1908074" y="780355"/>
                  <a:pt x="1909447" y="779483"/>
                  <a:pt x="1911371" y="779702"/>
                </a:cubicBezTo>
                <a:close/>
                <a:moveTo>
                  <a:pt x="6109807" y="779592"/>
                </a:moveTo>
                <a:cubicBezTo>
                  <a:pt x="6116400" y="777849"/>
                  <a:pt x="6124365" y="780246"/>
                  <a:pt x="6130684" y="781663"/>
                </a:cubicBezTo>
                <a:cubicBezTo>
                  <a:pt x="6126289" y="786022"/>
                  <a:pt x="6119970" y="784605"/>
                  <a:pt x="6118048" y="796048"/>
                </a:cubicBezTo>
                <a:cubicBezTo>
                  <a:pt x="6113652" y="791035"/>
                  <a:pt x="6110357" y="785695"/>
                  <a:pt x="6109807" y="779592"/>
                </a:cubicBezTo>
                <a:close/>
                <a:moveTo>
                  <a:pt x="2496470" y="776759"/>
                </a:moveTo>
                <a:cubicBezTo>
                  <a:pt x="2492900" y="779047"/>
                  <a:pt x="2492075" y="781119"/>
                  <a:pt x="2491526" y="779811"/>
                </a:cubicBezTo>
                <a:cubicBezTo>
                  <a:pt x="2490427" y="780573"/>
                  <a:pt x="2489603" y="779266"/>
                  <a:pt x="2490976" y="778503"/>
                </a:cubicBezTo>
                <a:cubicBezTo>
                  <a:pt x="2490702" y="775234"/>
                  <a:pt x="2494548" y="776214"/>
                  <a:pt x="2496470" y="776759"/>
                </a:cubicBezTo>
                <a:close/>
                <a:moveTo>
                  <a:pt x="1917414" y="776106"/>
                </a:moveTo>
                <a:cubicBezTo>
                  <a:pt x="1919337" y="776542"/>
                  <a:pt x="1919337" y="776542"/>
                  <a:pt x="1920710" y="779047"/>
                </a:cubicBezTo>
                <a:cubicBezTo>
                  <a:pt x="1918513" y="779592"/>
                  <a:pt x="1917414" y="779920"/>
                  <a:pt x="1916315" y="779920"/>
                </a:cubicBezTo>
                <a:cubicBezTo>
                  <a:pt x="1915216" y="779920"/>
                  <a:pt x="1914392" y="779702"/>
                  <a:pt x="1912469" y="779266"/>
                </a:cubicBezTo>
                <a:cubicBezTo>
                  <a:pt x="1913568" y="778503"/>
                  <a:pt x="1915491" y="775669"/>
                  <a:pt x="1917414" y="776106"/>
                </a:cubicBezTo>
                <a:close/>
                <a:moveTo>
                  <a:pt x="4478943" y="775560"/>
                </a:moveTo>
                <a:cubicBezTo>
                  <a:pt x="4481141" y="778830"/>
                  <a:pt x="4484712" y="774579"/>
                  <a:pt x="4486910" y="779266"/>
                </a:cubicBezTo>
                <a:cubicBezTo>
                  <a:pt x="4485261" y="788201"/>
                  <a:pt x="4470703" y="799426"/>
                  <a:pt x="4459715" y="799643"/>
                </a:cubicBezTo>
                <a:cubicBezTo>
                  <a:pt x="4455869" y="799643"/>
                  <a:pt x="4452572" y="798554"/>
                  <a:pt x="4450101" y="795720"/>
                </a:cubicBezTo>
                <a:cubicBezTo>
                  <a:pt x="4459441" y="790490"/>
                  <a:pt x="4468505" y="786676"/>
                  <a:pt x="4478943" y="775560"/>
                </a:cubicBezTo>
                <a:close/>
                <a:moveTo>
                  <a:pt x="2440707" y="775452"/>
                </a:moveTo>
                <a:cubicBezTo>
                  <a:pt x="2449773" y="776214"/>
                  <a:pt x="2456914" y="779811"/>
                  <a:pt x="2463232" y="778394"/>
                </a:cubicBezTo>
                <a:cubicBezTo>
                  <a:pt x="2463232" y="778394"/>
                  <a:pt x="2463232" y="778394"/>
                  <a:pt x="2465980" y="781663"/>
                </a:cubicBezTo>
                <a:cubicBezTo>
                  <a:pt x="2467353" y="781881"/>
                  <a:pt x="2467353" y="781881"/>
                  <a:pt x="2467353" y="781881"/>
                </a:cubicBezTo>
                <a:cubicBezTo>
                  <a:pt x="2468726" y="782099"/>
                  <a:pt x="2468726" y="785041"/>
                  <a:pt x="2468726" y="785041"/>
                </a:cubicBezTo>
                <a:cubicBezTo>
                  <a:pt x="2467902" y="786458"/>
                  <a:pt x="2466529" y="786567"/>
                  <a:pt x="2464881" y="786349"/>
                </a:cubicBezTo>
                <a:cubicBezTo>
                  <a:pt x="2463507" y="786240"/>
                  <a:pt x="2461584" y="785695"/>
                  <a:pt x="2460211" y="785477"/>
                </a:cubicBezTo>
                <a:cubicBezTo>
                  <a:pt x="2458562" y="788311"/>
                  <a:pt x="2454717" y="781881"/>
                  <a:pt x="2453068" y="784605"/>
                </a:cubicBezTo>
                <a:cubicBezTo>
                  <a:pt x="2447575" y="778067"/>
                  <a:pt x="2440433" y="784605"/>
                  <a:pt x="2430544" y="775997"/>
                </a:cubicBezTo>
                <a:cubicBezTo>
                  <a:pt x="2434115" y="775343"/>
                  <a:pt x="2437686" y="775234"/>
                  <a:pt x="2440707" y="775452"/>
                </a:cubicBezTo>
                <a:close/>
                <a:moveTo>
                  <a:pt x="2698715" y="774402"/>
                </a:moveTo>
                <a:cubicBezTo>
                  <a:pt x="2703659" y="774689"/>
                  <a:pt x="2709222" y="776759"/>
                  <a:pt x="2714304" y="779483"/>
                </a:cubicBezTo>
                <a:lnTo>
                  <a:pt x="2722819" y="785259"/>
                </a:lnTo>
                <a:lnTo>
                  <a:pt x="2723918" y="780682"/>
                </a:lnTo>
                <a:cubicBezTo>
                  <a:pt x="2735729" y="771638"/>
                  <a:pt x="2742598" y="777086"/>
                  <a:pt x="2743971" y="775778"/>
                </a:cubicBezTo>
                <a:cubicBezTo>
                  <a:pt x="2748366" y="780791"/>
                  <a:pt x="2745344" y="783406"/>
                  <a:pt x="2742322" y="788964"/>
                </a:cubicBezTo>
                <a:cubicBezTo>
                  <a:pt x="2741773" y="788201"/>
                  <a:pt x="2740125" y="788746"/>
                  <a:pt x="2738752" y="789618"/>
                </a:cubicBezTo>
                <a:lnTo>
                  <a:pt x="2736828" y="791144"/>
                </a:lnTo>
                <a:lnTo>
                  <a:pt x="2738202" y="794958"/>
                </a:lnTo>
                <a:cubicBezTo>
                  <a:pt x="2739301" y="796593"/>
                  <a:pt x="2740674" y="798336"/>
                  <a:pt x="2742872" y="800406"/>
                </a:cubicBezTo>
                <a:cubicBezTo>
                  <a:pt x="2739850" y="801170"/>
                  <a:pt x="2737103" y="801605"/>
                  <a:pt x="2734082" y="801496"/>
                </a:cubicBezTo>
                <a:cubicBezTo>
                  <a:pt x="2731335" y="801387"/>
                  <a:pt x="2728588" y="800733"/>
                  <a:pt x="2725840" y="799426"/>
                </a:cubicBezTo>
                <a:lnTo>
                  <a:pt x="2729137" y="790926"/>
                </a:lnTo>
                <a:lnTo>
                  <a:pt x="2725567" y="790381"/>
                </a:lnTo>
                <a:cubicBezTo>
                  <a:pt x="2724467" y="789945"/>
                  <a:pt x="2723368" y="789291"/>
                  <a:pt x="2722270" y="787983"/>
                </a:cubicBezTo>
                <a:lnTo>
                  <a:pt x="2722819" y="785695"/>
                </a:lnTo>
                <a:lnTo>
                  <a:pt x="2714029" y="789509"/>
                </a:lnTo>
                <a:cubicBezTo>
                  <a:pt x="2711557" y="789945"/>
                  <a:pt x="2709359" y="789836"/>
                  <a:pt x="2707161" y="789400"/>
                </a:cubicBezTo>
                <a:cubicBezTo>
                  <a:pt x="2700294" y="788311"/>
                  <a:pt x="2693427" y="784169"/>
                  <a:pt x="2686834" y="780028"/>
                </a:cubicBezTo>
                <a:cubicBezTo>
                  <a:pt x="2689444" y="775615"/>
                  <a:pt x="2693770" y="774116"/>
                  <a:pt x="2698715" y="774402"/>
                </a:cubicBezTo>
                <a:close/>
                <a:moveTo>
                  <a:pt x="1961914" y="773163"/>
                </a:moveTo>
                <a:cubicBezTo>
                  <a:pt x="1965760" y="777086"/>
                  <a:pt x="1965760" y="779920"/>
                  <a:pt x="1964386" y="782753"/>
                </a:cubicBezTo>
                <a:lnTo>
                  <a:pt x="1959167" y="790381"/>
                </a:lnTo>
                <a:lnTo>
                  <a:pt x="1965486" y="798009"/>
                </a:lnTo>
                <a:cubicBezTo>
                  <a:pt x="1970980" y="803676"/>
                  <a:pt x="1975924" y="809124"/>
                  <a:pt x="1972902" y="817733"/>
                </a:cubicBezTo>
                <a:cubicBezTo>
                  <a:pt x="1961365" y="810214"/>
                  <a:pt x="1948454" y="805419"/>
                  <a:pt x="1943235" y="785913"/>
                </a:cubicBezTo>
                <a:cubicBezTo>
                  <a:pt x="1946531" y="782535"/>
                  <a:pt x="1947630" y="774689"/>
                  <a:pt x="1954223" y="776432"/>
                </a:cubicBezTo>
                <a:lnTo>
                  <a:pt x="1955597" y="780682"/>
                </a:lnTo>
                <a:close/>
                <a:moveTo>
                  <a:pt x="1207328" y="773054"/>
                </a:moveTo>
                <a:cubicBezTo>
                  <a:pt x="1211723" y="775234"/>
                  <a:pt x="1210624" y="788964"/>
                  <a:pt x="1208701" y="794958"/>
                </a:cubicBezTo>
                <a:cubicBezTo>
                  <a:pt x="1207602" y="794413"/>
                  <a:pt x="1207053" y="793105"/>
                  <a:pt x="1206504" y="791471"/>
                </a:cubicBezTo>
                <a:cubicBezTo>
                  <a:pt x="1205131" y="786349"/>
                  <a:pt x="1205954" y="777522"/>
                  <a:pt x="1207328" y="773054"/>
                </a:cubicBezTo>
                <a:close/>
                <a:moveTo>
                  <a:pt x="2103932" y="772728"/>
                </a:moveTo>
                <a:cubicBezTo>
                  <a:pt x="2103657" y="775997"/>
                  <a:pt x="2099536" y="782644"/>
                  <a:pt x="2096240" y="782644"/>
                </a:cubicBezTo>
                <a:cubicBezTo>
                  <a:pt x="2096515" y="779375"/>
                  <a:pt x="2097339" y="777413"/>
                  <a:pt x="2098438" y="775452"/>
                </a:cubicBezTo>
                <a:cubicBezTo>
                  <a:pt x="2098712" y="772183"/>
                  <a:pt x="2100086" y="771529"/>
                  <a:pt x="2103932" y="772728"/>
                </a:cubicBezTo>
                <a:close/>
                <a:moveTo>
                  <a:pt x="2470924" y="772183"/>
                </a:moveTo>
                <a:cubicBezTo>
                  <a:pt x="2477517" y="770330"/>
                  <a:pt x="2485757" y="772945"/>
                  <a:pt x="2492075" y="774362"/>
                </a:cubicBezTo>
                <a:cubicBezTo>
                  <a:pt x="2487681" y="778612"/>
                  <a:pt x="2481362" y="777304"/>
                  <a:pt x="2479439" y="788637"/>
                </a:cubicBezTo>
                <a:cubicBezTo>
                  <a:pt x="2474770" y="783734"/>
                  <a:pt x="2471474" y="778285"/>
                  <a:pt x="2470924" y="772183"/>
                </a:cubicBezTo>
                <a:close/>
                <a:moveTo>
                  <a:pt x="2261606" y="771529"/>
                </a:moveTo>
                <a:cubicBezTo>
                  <a:pt x="2261606" y="771529"/>
                  <a:pt x="2261606" y="771420"/>
                  <a:pt x="2261606" y="772945"/>
                </a:cubicBezTo>
                <a:cubicBezTo>
                  <a:pt x="2261606" y="772945"/>
                  <a:pt x="2261606" y="771529"/>
                  <a:pt x="2262980" y="771746"/>
                </a:cubicBezTo>
                <a:cubicBezTo>
                  <a:pt x="2266551" y="779811"/>
                  <a:pt x="2264354" y="791252"/>
                  <a:pt x="2264354" y="792779"/>
                </a:cubicBezTo>
                <a:cubicBezTo>
                  <a:pt x="2262980" y="792560"/>
                  <a:pt x="2262980" y="792560"/>
                  <a:pt x="2262980" y="792560"/>
                </a:cubicBezTo>
                <a:cubicBezTo>
                  <a:pt x="2264354" y="788311"/>
                  <a:pt x="2261057" y="782426"/>
                  <a:pt x="2260782" y="776868"/>
                </a:cubicBezTo>
                <a:cubicBezTo>
                  <a:pt x="2260782" y="775015"/>
                  <a:pt x="2260782" y="773272"/>
                  <a:pt x="2261606" y="771529"/>
                </a:cubicBezTo>
                <a:close/>
                <a:moveTo>
                  <a:pt x="1539433" y="771529"/>
                </a:moveTo>
                <a:cubicBezTo>
                  <a:pt x="1544378" y="773054"/>
                  <a:pt x="1546026" y="774907"/>
                  <a:pt x="1546026" y="776542"/>
                </a:cubicBezTo>
                <a:cubicBezTo>
                  <a:pt x="1546301" y="778394"/>
                  <a:pt x="1544103" y="779811"/>
                  <a:pt x="1541907" y="780355"/>
                </a:cubicBezTo>
                <a:cubicBezTo>
                  <a:pt x="1539708" y="780900"/>
                  <a:pt x="1537237" y="780465"/>
                  <a:pt x="1536962" y="778285"/>
                </a:cubicBezTo>
                <a:cubicBezTo>
                  <a:pt x="1536687" y="776868"/>
                  <a:pt x="1537237" y="774689"/>
                  <a:pt x="1539433" y="771529"/>
                </a:cubicBezTo>
                <a:close/>
                <a:moveTo>
                  <a:pt x="2764298" y="770984"/>
                </a:moveTo>
                <a:cubicBezTo>
                  <a:pt x="2764298" y="772509"/>
                  <a:pt x="2765672" y="774035"/>
                  <a:pt x="2765397" y="775560"/>
                </a:cubicBezTo>
                <a:cubicBezTo>
                  <a:pt x="2764848" y="776214"/>
                  <a:pt x="2764024" y="776542"/>
                  <a:pt x="2763200" y="776542"/>
                </a:cubicBezTo>
                <a:cubicBezTo>
                  <a:pt x="2762375" y="776542"/>
                  <a:pt x="2761551" y="776214"/>
                  <a:pt x="2760727" y="775888"/>
                </a:cubicBezTo>
                <a:cubicBezTo>
                  <a:pt x="2759354" y="775124"/>
                  <a:pt x="2758254" y="773926"/>
                  <a:pt x="2758254" y="773163"/>
                </a:cubicBezTo>
                <a:cubicBezTo>
                  <a:pt x="2759903" y="771855"/>
                  <a:pt x="2762650" y="772291"/>
                  <a:pt x="2764298" y="770984"/>
                </a:cubicBezTo>
                <a:close/>
                <a:moveTo>
                  <a:pt x="1583934" y="770766"/>
                </a:moveTo>
                <a:cubicBezTo>
                  <a:pt x="1582012" y="774579"/>
                  <a:pt x="1580639" y="781227"/>
                  <a:pt x="1574870" y="781772"/>
                </a:cubicBezTo>
                <a:cubicBezTo>
                  <a:pt x="1576243" y="778938"/>
                  <a:pt x="1578715" y="773163"/>
                  <a:pt x="1581462" y="771201"/>
                </a:cubicBezTo>
                <a:cubicBezTo>
                  <a:pt x="1582286" y="770547"/>
                  <a:pt x="1583110" y="770330"/>
                  <a:pt x="1583934" y="770766"/>
                </a:cubicBezTo>
                <a:close/>
                <a:moveTo>
                  <a:pt x="4166341" y="770657"/>
                </a:moveTo>
                <a:cubicBezTo>
                  <a:pt x="4167714" y="769240"/>
                  <a:pt x="4170735" y="769349"/>
                  <a:pt x="4173758" y="770984"/>
                </a:cubicBezTo>
                <a:cubicBezTo>
                  <a:pt x="4172384" y="772400"/>
                  <a:pt x="4173758" y="775560"/>
                  <a:pt x="4172384" y="776977"/>
                </a:cubicBezTo>
                <a:cubicBezTo>
                  <a:pt x="4172384" y="776977"/>
                  <a:pt x="4168264" y="778285"/>
                  <a:pt x="4168264" y="778285"/>
                </a:cubicBezTo>
                <a:cubicBezTo>
                  <a:pt x="4166616" y="776759"/>
                  <a:pt x="4166616" y="776651"/>
                  <a:pt x="4168264" y="776759"/>
                </a:cubicBezTo>
                <a:cubicBezTo>
                  <a:pt x="4166616" y="773708"/>
                  <a:pt x="4166616" y="772183"/>
                  <a:pt x="4166341" y="770657"/>
                </a:cubicBezTo>
                <a:close/>
                <a:moveTo>
                  <a:pt x="1670189" y="770547"/>
                </a:moveTo>
                <a:cubicBezTo>
                  <a:pt x="1670189" y="770547"/>
                  <a:pt x="1671562" y="770657"/>
                  <a:pt x="1674584" y="773708"/>
                </a:cubicBezTo>
                <a:cubicBezTo>
                  <a:pt x="1672936" y="773599"/>
                  <a:pt x="1672936" y="775124"/>
                  <a:pt x="1672936" y="775124"/>
                </a:cubicBezTo>
                <a:cubicBezTo>
                  <a:pt x="1672936" y="775124"/>
                  <a:pt x="1672936" y="775015"/>
                  <a:pt x="1674584" y="775124"/>
                </a:cubicBezTo>
                <a:cubicBezTo>
                  <a:pt x="1673760" y="775888"/>
                  <a:pt x="1673211" y="775888"/>
                  <a:pt x="1672661" y="775669"/>
                </a:cubicBezTo>
                <a:cubicBezTo>
                  <a:pt x="1672112" y="775452"/>
                  <a:pt x="1671562" y="775015"/>
                  <a:pt x="1671562" y="775015"/>
                </a:cubicBezTo>
                <a:cubicBezTo>
                  <a:pt x="1670189" y="773490"/>
                  <a:pt x="1668815" y="771965"/>
                  <a:pt x="1670189" y="770547"/>
                </a:cubicBezTo>
                <a:close/>
                <a:moveTo>
                  <a:pt x="1827589" y="770330"/>
                </a:moveTo>
                <a:cubicBezTo>
                  <a:pt x="1832533" y="767387"/>
                  <a:pt x="1842148" y="774253"/>
                  <a:pt x="1842697" y="780465"/>
                </a:cubicBezTo>
                <a:cubicBezTo>
                  <a:pt x="1835006" y="774689"/>
                  <a:pt x="1828687" y="777958"/>
                  <a:pt x="1827589" y="770330"/>
                </a:cubicBezTo>
                <a:close/>
                <a:moveTo>
                  <a:pt x="1452081" y="769567"/>
                </a:moveTo>
                <a:cubicBezTo>
                  <a:pt x="1462794" y="777958"/>
                  <a:pt x="1479825" y="792342"/>
                  <a:pt x="1483945" y="805201"/>
                </a:cubicBezTo>
                <a:cubicBezTo>
                  <a:pt x="1482297" y="806073"/>
                  <a:pt x="1480374" y="806400"/>
                  <a:pt x="1478452" y="806182"/>
                </a:cubicBezTo>
                <a:cubicBezTo>
                  <a:pt x="1475430" y="805855"/>
                  <a:pt x="1472409" y="803894"/>
                  <a:pt x="1469387" y="801170"/>
                </a:cubicBezTo>
                <a:lnTo>
                  <a:pt x="1466091" y="796810"/>
                </a:lnTo>
                <a:lnTo>
                  <a:pt x="1464442" y="797355"/>
                </a:lnTo>
                <a:cubicBezTo>
                  <a:pt x="1461696" y="798554"/>
                  <a:pt x="1458948" y="799643"/>
                  <a:pt x="1456476" y="799317"/>
                </a:cubicBezTo>
                <a:cubicBezTo>
                  <a:pt x="1455378" y="798989"/>
                  <a:pt x="1454553" y="798663"/>
                  <a:pt x="1454004" y="797900"/>
                </a:cubicBezTo>
                <a:cubicBezTo>
                  <a:pt x="1453454" y="797137"/>
                  <a:pt x="1453454" y="795939"/>
                  <a:pt x="1454278" y="793976"/>
                </a:cubicBezTo>
                <a:cubicBezTo>
                  <a:pt x="1454553" y="790599"/>
                  <a:pt x="1455927" y="790054"/>
                  <a:pt x="1460871" y="790707"/>
                </a:cubicBezTo>
                <a:lnTo>
                  <a:pt x="1461146" y="790707"/>
                </a:lnTo>
                <a:lnTo>
                  <a:pt x="1455103" y="779047"/>
                </a:lnTo>
                <a:cubicBezTo>
                  <a:pt x="1453729" y="775343"/>
                  <a:pt x="1452630" y="771965"/>
                  <a:pt x="1452081" y="769567"/>
                </a:cubicBezTo>
                <a:close/>
                <a:moveTo>
                  <a:pt x="3034048" y="769240"/>
                </a:moveTo>
                <a:cubicBezTo>
                  <a:pt x="3036246" y="768041"/>
                  <a:pt x="3039268" y="767715"/>
                  <a:pt x="3042290" y="769240"/>
                </a:cubicBezTo>
                <a:cubicBezTo>
                  <a:pt x="3043663" y="778067"/>
                  <a:pt x="3046959" y="788092"/>
                  <a:pt x="3037620" y="790707"/>
                </a:cubicBezTo>
                <a:cubicBezTo>
                  <a:pt x="3024984" y="785913"/>
                  <a:pt x="3027181" y="772945"/>
                  <a:pt x="3034048" y="769240"/>
                </a:cubicBezTo>
                <a:close/>
                <a:moveTo>
                  <a:pt x="2309129" y="769240"/>
                </a:moveTo>
                <a:cubicBezTo>
                  <a:pt x="2311601" y="770439"/>
                  <a:pt x="2315996" y="771746"/>
                  <a:pt x="2316545" y="775560"/>
                </a:cubicBezTo>
                <a:cubicBezTo>
                  <a:pt x="2316820" y="776868"/>
                  <a:pt x="2316271" y="778394"/>
                  <a:pt x="2315447" y="780246"/>
                </a:cubicBezTo>
                <a:cubicBezTo>
                  <a:pt x="2315721" y="781663"/>
                  <a:pt x="2310777" y="785259"/>
                  <a:pt x="2309129" y="784388"/>
                </a:cubicBezTo>
                <a:cubicBezTo>
                  <a:pt x="2307756" y="784169"/>
                  <a:pt x="2306931" y="783624"/>
                  <a:pt x="2306381" y="782861"/>
                </a:cubicBezTo>
                <a:cubicBezTo>
                  <a:pt x="2304734" y="780682"/>
                  <a:pt x="2305557" y="776759"/>
                  <a:pt x="2305283" y="772291"/>
                </a:cubicBezTo>
                <a:cubicBezTo>
                  <a:pt x="2307206" y="773054"/>
                  <a:pt x="2308030" y="771092"/>
                  <a:pt x="2309129" y="769240"/>
                </a:cubicBezTo>
                <a:close/>
                <a:moveTo>
                  <a:pt x="2241553" y="768913"/>
                </a:moveTo>
                <a:cubicBezTo>
                  <a:pt x="2245399" y="769785"/>
                  <a:pt x="2249245" y="770875"/>
                  <a:pt x="2248147" y="774907"/>
                </a:cubicBezTo>
                <a:cubicBezTo>
                  <a:pt x="2247597" y="776977"/>
                  <a:pt x="2246773" y="778938"/>
                  <a:pt x="2244301" y="780465"/>
                </a:cubicBezTo>
                <a:cubicBezTo>
                  <a:pt x="2240455" y="779592"/>
                  <a:pt x="2239905" y="775015"/>
                  <a:pt x="2237983" y="774579"/>
                </a:cubicBezTo>
                <a:cubicBezTo>
                  <a:pt x="2239082" y="773817"/>
                  <a:pt x="2241553" y="772183"/>
                  <a:pt x="2241553" y="768913"/>
                </a:cubicBezTo>
                <a:close/>
                <a:moveTo>
                  <a:pt x="2851102" y="768368"/>
                </a:moveTo>
                <a:cubicBezTo>
                  <a:pt x="2863738" y="777849"/>
                  <a:pt x="2865386" y="804765"/>
                  <a:pt x="2851102" y="803785"/>
                </a:cubicBezTo>
                <a:cubicBezTo>
                  <a:pt x="2849179" y="803676"/>
                  <a:pt x="2846707" y="803021"/>
                  <a:pt x="2843959" y="801605"/>
                </a:cubicBezTo>
                <a:cubicBezTo>
                  <a:pt x="2842037" y="791252"/>
                  <a:pt x="2835719" y="773490"/>
                  <a:pt x="2851102" y="768368"/>
                </a:cubicBezTo>
                <a:close/>
                <a:moveTo>
                  <a:pt x="1996526" y="768041"/>
                </a:moveTo>
                <a:cubicBezTo>
                  <a:pt x="1997900" y="768586"/>
                  <a:pt x="1998724" y="769894"/>
                  <a:pt x="1998724" y="771965"/>
                </a:cubicBezTo>
                <a:cubicBezTo>
                  <a:pt x="1995976" y="773926"/>
                  <a:pt x="1994054" y="774579"/>
                  <a:pt x="1990208" y="775997"/>
                </a:cubicBezTo>
                <a:cubicBezTo>
                  <a:pt x="1987187" y="770657"/>
                  <a:pt x="1993230" y="766298"/>
                  <a:pt x="1996526" y="768041"/>
                </a:cubicBezTo>
                <a:close/>
                <a:moveTo>
                  <a:pt x="2246223" y="767823"/>
                </a:moveTo>
                <a:cubicBezTo>
                  <a:pt x="2248971" y="766843"/>
                  <a:pt x="2249245" y="766734"/>
                  <a:pt x="2251992" y="768695"/>
                </a:cubicBezTo>
                <a:cubicBezTo>
                  <a:pt x="2251717" y="770112"/>
                  <a:pt x="2253366" y="770439"/>
                  <a:pt x="2251717" y="771638"/>
                </a:cubicBezTo>
                <a:cubicBezTo>
                  <a:pt x="2255838" y="775234"/>
                  <a:pt x="2259135" y="789182"/>
                  <a:pt x="2257486" y="794849"/>
                </a:cubicBezTo>
                <a:cubicBezTo>
                  <a:pt x="2245125" y="782426"/>
                  <a:pt x="2252816" y="774907"/>
                  <a:pt x="2246223" y="767823"/>
                </a:cubicBezTo>
                <a:close/>
                <a:moveTo>
                  <a:pt x="4442272" y="766720"/>
                </a:moveTo>
                <a:cubicBezTo>
                  <a:pt x="4445087" y="764418"/>
                  <a:pt x="4448453" y="763355"/>
                  <a:pt x="4450101" y="766734"/>
                </a:cubicBezTo>
                <a:cubicBezTo>
                  <a:pt x="4451749" y="771529"/>
                  <a:pt x="4445431" y="774470"/>
                  <a:pt x="4441035" y="774798"/>
                </a:cubicBezTo>
                <a:cubicBezTo>
                  <a:pt x="4439662" y="774907"/>
                  <a:pt x="4438289" y="774689"/>
                  <a:pt x="4437740" y="774144"/>
                </a:cubicBezTo>
                <a:cubicBezTo>
                  <a:pt x="4437190" y="772564"/>
                  <a:pt x="4439456" y="769022"/>
                  <a:pt x="4442272" y="766720"/>
                </a:cubicBezTo>
                <a:close/>
                <a:moveTo>
                  <a:pt x="1635302" y="766625"/>
                </a:moveTo>
                <a:cubicBezTo>
                  <a:pt x="1635577" y="775452"/>
                  <a:pt x="1637500" y="785368"/>
                  <a:pt x="1627610" y="788201"/>
                </a:cubicBezTo>
                <a:cubicBezTo>
                  <a:pt x="1624589" y="787221"/>
                  <a:pt x="1622666" y="785587"/>
                  <a:pt x="1621567" y="783624"/>
                </a:cubicBezTo>
                <a:cubicBezTo>
                  <a:pt x="1617722" y="777958"/>
                  <a:pt x="1621567" y="769785"/>
                  <a:pt x="1627062" y="766843"/>
                </a:cubicBezTo>
                <a:cubicBezTo>
                  <a:pt x="1629534" y="765535"/>
                  <a:pt x="1632555" y="765208"/>
                  <a:pt x="1635302" y="766625"/>
                </a:cubicBezTo>
                <a:close/>
                <a:moveTo>
                  <a:pt x="2600580" y="766407"/>
                </a:moveTo>
                <a:cubicBezTo>
                  <a:pt x="2605525" y="766625"/>
                  <a:pt x="2604975" y="768804"/>
                  <a:pt x="2603876" y="772836"/>
                </a:cubicBezTo>
                <a:cubicBezTo>
                  <a:pt x="2602228" y="772945"/>
                  <a:pt x="2601129" y="772836"/>
                  <a:pt x="2600305" y="772074"/>
                </a:cubicBezTo>
                <a:cubicBezTo>
                  <a:pt x="2599481" y="771311"/>
                  <a:pt x="2599206" y="769785"/>
                  <a:pt x="2599481" y="767170"/>
                </a:cubicBezTo>
                <a:cubicBezTo>
                  <a:pt x="2599481" y="767170"/>
                  <a:pt x="2600580" y="766407"/>
                  <a:pt x="2600580" y="766407"/>
                </a:cubicBezTo>
                <a:close/>
                <a:moveTo>
                  <a:pt x="2827752" y="765644"/>
                </a:moveTo>
                <a:cubicBezTo>
                  <a:pt x="2829676" y="773708"/>
                  <a:pt x="2826928" y="778612"/>
                  <a:pt x="2821160" y="783189"/>
                </a:cubicBezTo>
                <a:cubicBezTo>
                  <a:pt x="2818688" y="781663"/>
                  <a:pt x="2817315" y="775560"/>
                  <a:pt x="2816215" y="771529"/>
                </a:cubicBezTo>
                <a:cubicBezTo>
                  <a:pt x="2818138" y="767823"/>
                  <a:pt x="2822533" y="765753"/>
                  <a:pt x="2827752" y="765644"/>
                </a:cubicBezTo>
                <a:close/>
                <a:moveTo>
                  <a:pt x="4405600" y="765426"/>
                </a:moveTo>
                <a:cubicBezTo>
                  <a:pt x="4408621" y="765971"/>
                  <a:pt x="4411369" y="769567"/>
                  <a:pt x="4413017" y="778176"/>
                </a:cubicBezTo>
                <a:lnTo>
                  <a:pt x="4414115" y="786784"/>
                </a:lnTo>
                <a:lnTo>
                  <a:pt x="4419060" y="784932"/>
                </a:lnTo>
                <a:cubicBezTo>
                  <a:pt x="4421258" y="789836"/>
                  <a:pt x="4425103" y="808579"/>
                  <a:pt x="4417412" y="809778"/>
                </a:cubicBezTo>
                <a:cubicBezTo>
                  <a:pt x="4416313" y="809996"/>
                  <a:pt x="4414939" y="809778"/>
                  <a:pt x="4413291" y="809124"/>
                </a:cubicBezTo>
                <a:cubicBezTo>
                  <a:pt x="4413566" y="804439"/>
                  <a:pt x="4412742" y="799971"/>
                  <a:pt x="4412193" y="796157"/>
                </a:cubicBezTo>
                <a:lnTo>
                  <a:pt x="4413017" y="789182"/>
                </a:lnTo>
                <a:lnTo>
                  <a:pt x="4405600" y="793105"/>
                </a:lnTo>
                <a:cubicBezTo>
                  <a:pt x="4397908" y="795939"/>
                  <a:pt x="4394063" y="794195"/>
                  <a:pt x="4392414" y="790490"/>
                </a:cubicBezTo>
                <a:cubicBezTo>
                  <a:pt x="4389119" y="782099"/>
                  <a:pt x="4397908" y="764009"/>
                  <a:pt x="4405600" y="765426"/>
                </a:cubicBezTo>
                <a:close/>
                <a:moveTo>
                  <a:pt x="3056586" y="765055"/>
                </a:moveTo>
                <a:cubicBezTo>
                  <a:pt x="3060488" y="765494"/>
                  <a:pt x="3062960" y="774117"/>
                  <a:pt x="3057397" y="775015"/>
                </a:cubicBezTo>
                <a:cubicBezTo>
                  <a:pt x="3056024" y="773272"/>
                  <a:pt x="3053552" y="771092"/>
                  <a:pt x="3052453" y="767932"/>
                </a:cubicBezTo>
                <a:cubicBezTo>
                  <a:pt x="3053826" y="765671"/>
                  <a:pt x="3055286" y="764908"/>
                  <a:pt x="3056586" y="765055"/>
                </a:cubicBezTo>
                <a:close/>
                <a:moveTo>
                  <a:pt x="1214470" y="764554"/>
                </a:moveTo>
                <a:cubicBezTo>
                  <a:pt x="1214470" y="767497"/>
                  <a:pt x="1219963" y="769894"/>
                  <a:pt x="1216942" y="772400"/>
                </a:cubicBezTo>
                <a:cubicBezTo>
                  <a:pt x="1215569" y="770657"/>
                  <a:pt x="1214470" y="767606"/>
                  <a:pt x="1213097" y="765862"/>
                </a:cubicBezTo>
                <a:cubicBezTo>
                  <a:pt x="1213097" y="765862"/>
                  <a:pt x="1213097" y="765753"/>
                  <a:pt x="1214470" y="764554"/>
                </a:cubicBezTo>
                <a:close/>
                <a:moveTo>
                  <a:pt x="1773199" y="761285"/>
                </a:moveTo>
                <a:cubicBezTo>
                  <a:pt x="1780891" y="759432"/>
                  <a:pt x="1780616" y="767387"/>
                  <a:pt x="1777319" y="769676"/>
                </a:cubicBezTo>
                <a:cubicBezTo>
                  <a:pt x="1775946" y="770439"/>
                  <a:pt x="1774572" y="770547"/>
                  <a:pt x="1772924" y="769458"/>
                </a:cubicBezTo>
                <a:cubicBezTo>
                  <a:pt x="1772924" y="767387"/>
                  <a:pt x="1772101" y="764118"/>
                  <a:pt x="1773199" y="761285"/>
                </a:cubicBezTo>
                <a:close/>
                <a:moveTo>
                  <a:pt x="1367750" y="761067"/>
                </a:moveTo>
                <a:cubicBezTo>
                  <a:pt x="1373244" y="763029"/>
                  <a:pt x="1373519" y="767715"/>
                  <a:pt x="1373793" y="772291"/>
                </a:cubicBezTo>
                <a:cubicBezTo>
                  <a:pt x="1373519" y="775560"/>
                  <a:pt x="1374068" y="776868"/>
                  <a:pt x="1376265" y="778830"/>
                </a:cubicBezTo>
                <a:cubicBezTo>
                  <a:pt x="1376265" y="778830"/>
                  <a:pt x="1376265" y="778830"/>
                  <a:pt x="1374617" y="782753"/>
                </a:cubicBezTo>
                <a:lnTo>
                  <a:pt x="1373519" y="783406"/>
                </a:lnTo>
                <a:cubicBezTo>
                  <a:pt x="1372694" y="783406"/>
                  <a:pt x="1371870" y="782535"/>
                  <a:pt x="1371320" y="781119"/>
                </a:cubicBezTo>
                <a:cubicBezTo>
                  <a:pt x="1369124" y="776977"/>
                  <a:pt x="1367750" y="768586"/>
                  <a:pt x="1367200" y="767606"/>
                </a:cubicBezTo>
                <a:cubicBezTo>
                  <a:pt x="1367200" y="767606"/>
                  <a:pt x="1366925" y="766298"/>
                  <a:pt x="1366376" y="764990"/>
                </a:cubicBezTo>
                <a:cubicBezTo>
                  <a:pt x="1367200" y="763029"/>
                  <a:pt x="1368299" y="762375"/>
                  <a:pt x="1367750" y="761067"/>
                </a:cubicBezTo>
                <a:close/>
                <a:moveTo>
                  <a:pt x="4144091" y="759869"/>
                </a:moveTo>
                <a:lnTo>
                  <a:pt x="4144915" y="760631"/>
                </a:lnTo>
                <a:cubicBezTo>
                  <a:pt x="4144366" y="760958"/>
                  <a:pt x="4144091" y="761067"/>
                  <a:pt x="4144091" y="760958"/>
                </a:cubicBezTo>
                <a:close/>
                <a:moveTo>
                  <a:pt x="2061354" y="759760"/>
                </a:moveTo>
                <a:cubicBezTo>
                  <a:pt x="2065474" y="760414"/>
                  <a:pt x="2069046" y="764227"/>
                  <a:pt x="2068771" y="771855"/>
                </a:cubicBezTo>
                <a:cubicBezTo>
                  <a:pt x="2066024" y="776106"/>
                  <a:pt x="2061903" y="778503"/>
                  <a:pt x="2058333" y="778938"/>
                </a:cubicBezTo>
                <a:cubicBezTo>
                  <a:pt x="2054487" y="779375"/>
                  <a:pt x="2051190" y="777958"/>
                  <a:pt x="2049267" y="774907"/>
                </a:cubicBezTo>
                <a:cubicBezTo>
                  <a:pt x="2048169" y="772836"/>
                  <a:pt x="2047619" y="770112"/>
                  <a:pt x="2048443" y="766625"/>
                </a:cubicBezTo>
                <a:cubicBezTo>
                  <a:pt x="2051739" y="761503"/>
                  <a:pt x="2056958" y="758997"/>
                  <a:pt x="2061354" y="759760"/>
                </a:cubicBezTo>
                <a:close/>
                <a:moveTo>
                  <a:pt x="1764684" y="759650"/>
                </a:moveTo>
                <a:cubicBezTo>
                  <a:pt x="1763035" y="762484"/>
                  <a:pt x="1756168" y="771638"/>
                  <a:pt x="1752871" y="771965"/>
                </a:cubicBezTo>
                <a:cubicBezTo>
                  <a:pt x="1755344" y="767061"/>
                  <a:pt x="1762761" y="759106"/>
                  <a:pt x="1764684" y="759650"/>
                </a:cubicBezTo>
                <a:close/>
                <a:moveTo>
                  <a:pt x="1663871" y="759650"/>
                </a:moveTo>
                <a:cubicBezTo>
                  <a:pt x="1666618" y="761285"/>
                  <a:pt x="1671012" y="767497"/>
                  <a:pt x="1669914" y="770547"/>
                </a:cubicBezTo>
                <a:cubicBezTo>
                  <a:pt x="1666893" y="768913"/>
                  <a:pt x="1665519" y="767278"/>
                  <a:pt x="1664146" y="765753"/>
                </a:cubicBezTo>
                <a:cubicBezTo>
                  <a:pt x="1661124" y="764118"/>
                  <a:pt x="1661124" y="762484"/>
                  <a:pt x="1663871" y="759650"/>
                </a:cubicBezTo>
                <a:close/>
                <a:moveTo>
                  <a:pt x="2233313" y="758670"/>
                </a:moveTo>
                <a:cubicBezTo>
                  <a:pt x="2244301" y="773163"/>
                  <a:pt x="2231940" y="791144"/>
                  <a:pt x="2223698" y="798336"/>
                </a:cubicBezTo>
                <a:cubicBezTo>
                  <a:pt x="2223973" y="791580"/>
                  <a:pt x="2223698" y="784932"/>
                  <a:pt x="2224797" y="778176"/>
                </a:cubicBezTo>
                <a:cubicBezTo>
                  <a:pt x="2225896" y="771529"/>
                  <a:pt x="2228094" y="764882"/>
                  <a:pt x="2233313" y="758670"/>
                </a:cubicBezTo>
                <a:close/>
                <a:moveTo>
                  <a:pt x="6293577" y="756926"/>
                </a:moveTo>
                <a:cubicBezTo>
                  <a:pt x="6296599" y="755618"/>
                  <a:pt x="6300445" y="755837"/>
                  <a:pt x="6304565" y="757798"/>
                </a:cubicBezTo>
                <a:cubicBezTo>
                  <a:pt x="6308137" y="764445"/>
                  <a:pt x="6301544" y="770766"/>
                  <a:pt x="6298522" y="774689"/>
                </a:cubicBezTo>
                <a:cubicBezTo>
                  <a:pt x="6293303" y="771529"/>
                  <a:pt x="6287809" y="768477"/>
                  <a:pt x="6286436" y="764227"/>
                </a:cubicBezTo>
                <a:cubicBezTo>
                  <a:pt x="6288084" y="760631"/>
                  <a:pt x="6290557" y="758125"/>
                  <a:pt x="6293577" y="756926"/>
                </a:cubicBezTo>
                <a:close/>
                <a:moveTo>
                  <a:pt x="2282209" y="756708"/>
                </a:moveTo>
                <a:cubicBezTo>
                  <a:pt x="2286879" y="756817"/>
                  <a:pt x="2295119" y="759432"/>
                  <a:pt x="2296218" y="759650"/>
                </a:cubicBezTo>
                <a:lnTo>
                  <a:pt x="2297866" y="759869"/>
                </a:lnTo>
                <a:lnTo>
                  <a:pt x="2304184" y="760086"/>
                </a:lnTo>
                <a:cubicBezTo>
                  <a:pt x="2306656" y="766625"/>
                  <a:pt x="2299240" y="773272"/>
                  <a:pt x="2295668" y="777304"/>
                </a:cubicBezTo>
                <a:cubicBezTo>
                  <a:pt x="2290724" y="774362"/>
                  <a:pt x="2285780" y="771311"/>
                  <a:pt x="2284955" y="767170"/>
                </a:cubicBezTo>
                <a:lnTo>
                  <a:pt x="2289350" y="763247"/>
                </a:lnTo>
                <a:lnTo>
                  <a:pt x="2289076" y="763138"/>
                </a:lnTo>
                <a:cubicBezTo>
                  <a:pt x="2286329" y="761285"/>
                  <a:pt x="2284955" y="761176"/>
                  <a:pt x="2281934" y="762266"/>
                </a:cubicBezTo>
                <a:cubicBezTo>
                  <a:pt x="2281934" y="762266"/>
                  <a:pt x="2281934" y="762157"/>
                  <a:pt x="2279187" y="758997"/>
                </a:cubicBezTo>
                <a:lnTo>
                  <a:pt x="2279187" y="757580"/>
                </a:lnTo>
                <a:cubicBezTo>
                  <a:pt x="2279736" y="756817"/>
                  <a:pt x="2280835" y="756599"/>
                  <a:pt x="2282209" y="756708"/>
                </a:cubicBezTo>
                <a:close/>
                <a:moveTo>
                  <a:pt x="1620744" y="756491"/>
                </a:moveTo>
                <a:cubicBezTo>
                  <a:pt x="1621018" y="760849"/>
                  <a:pt x="1621292" y="766516"/>
                  <a:pt x="1619919" y="769349"/>
                </a:cubicBezTo>
                <a:cubicBezTo>
                  <a:pt x="1618546" y="766407"/>
                  <a:pt x="1616897" y="760740"/>
                  <a:pt x="1619370" y="758016"/>
                </a:cubicBezTo>
                <a:cubicBezTo>
                  <a:pt x="1619370" y="758016"/>
                  <a:pt x="1619370" y="757907"/>
                  <a:pt x="1620744" y="756491"/>
                </a:cubicBezTo>
                <a:close/>
                <a:moveTo>
                  <a:pt x="4166616" y="755618"/>
                </a:moveTo>
                <a:cubicBezTo>
                  <a:pt x="4169911" y="754202"/>
                  <a:pt x="4174856" y="754419"/>
                  <a:pt x="4180075" y="756054"/>
                </a:cubicBezTo>
                <a:lnTo>
                  <a:pt x="4185844" y="758997"/>
                </a:lnTo>
                <a:lnTo>
                  <a:pt x="4185844" y="758342"/>
                </a:lnTo>
                <a:cubicBezTo>
                  <a:pt x="4187492" y="756272"/>
                  <a:pt x="4188866" y="755727"/>
                  <a:pt x="4190514" y="756054"/>
                </a:cubicBezTo>
                <a:cubicBezTo>
                  <a:pt x="4192162" y="756491"/>
                  <a:pt x="4194085" y="757907"/>
                  <a:pt x="4196282" y="759650"/>
                </a:cubicBezTo>
                <a:cubicBezTo>
                  <a:pt x="4198205" y="761394"/>
                  <a:pt x="4199030" y="763247"/>
                  <a:pt x="4199304" y="765208"/>
                </a:cubicBezTo>
                <a:lnTo>
                  <a:pt x="4200952" y="769022"/>
                </a:lnTo>
                <a:lnTo>
                  <a:pt x="4209193" y="777304"/>
                </a:lnTo>
                <a:cubicBezTo>
                  <a:pt x="4211940" y="782099"/>
                  <a:pt x="4213039" y="787112"/>
                  <a:pt x="4211391" y="791797"/>
                </a:cubicBezTo>
                <a:cubicBezTo>
                  <a:pt x="4199030" y="773708"/>
                  <a:pt x="4176779" y="777304"/>
                  <a:pt x="4166616" y="755618"/>
                </a:cubicBezTo>
                <a:close/>
                <a:moveTo>
                  <a:pt x="1909173" y="755073"/>
                </a:moveTo>
                <a:cubicBezTo>
                  <a:pt x="1918513" y="751369"/>
                  <a:pt x="1937466" y="755401"/>
                  <a:pt x="1936642" y="769785"/>
                </a:cubicBezTo>
                <a:cubicBezTo>
                  <a:pt x="1927853" y="765317"/>
                  <a:pt x="1916865" y="762484"/>
                  <a:pt x="1909173" y="755073"/>
                </a:cubicBezTo>
                <a:close/>
                <a:moveTo>
                  <a:pt x="1657003" y="754638"/>
                </a:moveTo>
                <a:cubicBezTo>
                  <a:pt x="1655630" y="755183"/>
                  <a:pt x="1655630" y="755073"/>
                  <a:pt x="1655630" y="755073"/>
                </a:cubicBezTo>
                <a:cubicBezTo>
                  <a:pt x="1654531" y="757035"/>
                  <a:pt x="1656180" y="756599"/>
                  <a:pt x="1656454" y="758016"/>
                </a:cubicBezTo>
                <a:cubicBezTo>
                  <a:pt x="1656454" y="758016"/>
                  <a:pt x="1656180" y="756491"/>
                  <a:pt x="1657828" y="757471"/>
                </a:cubicBezTo>
                <a:cubicBezTo>
                  <a:pt x="1656454" y="757907"/>
                  <a:pt x="1656729" y="759432"/>
                  <a:pt x="1657278" y="760849"/>
                </a:cubicBezTo>
                <a:cubicBezTo>
                  <a:pt x="1655080" y="764663"/>
                  <a:pt x="1651785" y="768913"/>
                  <a:pt x="1648488" y="768586"/>
                </a:cubicBezTo>
                <a:cubicBezTo>
                  <a:pt x="1646840" y="767715"/>
                  <a:pt x="1646015" y="766407"/>
                  <a:pt x="1646015" y="765099"/>
                </a:cubicBezTo>
                <a:cubicBezTo>
                  <a:pt x="1645741" y="763792"/>
                  <a:pt x="1646290" y="762484"/>
                  <a:pt x="1646840" y="761611"/>
                </a:cubicBezTo>
                <a:cubicBezTo>
                  <a:pt x="1646840" y="759215"/>
                  <a:pt x="1648213" y="757580"/>
                  <a:pt x="1650411" y="756381"/>
                </a:cubicBezTo>
                <a:cubicBezTo>
                  <a:pt x="1652333" y="755292"/>
                  <a:pt x="1654806" y="754747"/>
                  <a:pt x="1657003" y="754638"/>
                </a:cubicBezTo>
                <a:close/>
                <a:moveTo>
                  <a:pt x="1074650" y="754093"/>
                </a:moveTo>
                <a:cubicBezTo>
                  <a:pt x="1077946" y="753766"/>
                  <a:pt x="1078496" y="758342"/>
                  <a:pt x="1079869" y="760849"/>
                </a:cubicBezTo>
                <a:cubicBezTo>
                  <a:pt x="1083166" y="760522"/>
                  <a:pt x="1079869" y="767387"/>
                  <a:pt x="1083166" y="767061"/>
                </a:cubicBezTo>
                <a:cubicBezTo>
                  <a:pt x="1080419" y="775234"/>
                  <a:pt x="1090032" y="777413"/>
                  <a:pt x="1088110" y="790054"/>
                </a:cubicBezTo>
                <a:cubicBezTo>
                  <a:pt x="1085638" y="787548"/>
                  <a:pt x="1083715" y="784932"/>
                  <a:pt x="1082341" y="782316"/>
                </a:cubicBezTo>
                <a:cubicBezTo>
                  <a:pt x="1077946" y="774470"/>
                  <a:pt x="1077123" y="766625"/>
                  <a:pt x="1072178" y="762266"/>
                </a:cubicBezTo>
                <a:cubicBezTo>
                  <a:pt x="1072178" y="762266"/>
                  <a:pt x="1072178" y="762266"/>
                  <a:pt x="1073276" y="758234"/>
                </a:cubicBezTo>
                <a:cubicBezTo>
                  <a:pt x="1072727" y="756926"/>
                  <a:pt x="1072727" y="757035"/>
                  <a:pt x="1072727" y="757035"/>
                </a:cubicBezTo>
                <a:cubicBezTo>
                  <a:pt x="1072178" y="755727"/>
                  <a:pt x="1074650" y="754093"/>
                  <a:pt x="1074650" y="754093"/>
                </a:cubicBezTo>
                <a:close/>
                <a:moveTo>
                  <a:pt x="2351981" y="753439"/>
                </a:moveTo>
                <a:cubicBezTo>
                  <a:pt x="2351981" y="753439"/>
                  <a:pt x="2351981" y="753548"/>
                  <a:pt x="2352531" y="754747"/>
                </a:cubicBezTo>
                <a:lnTo>
                  <a:pt x="2352256" y="755946"/>
                </a:lnTo>
                <a:lnTo>
                  <a:pt x="2353355" y="755073"/>
                </a:lnTo>
                <a:close/>
                <a:moveTo>
                  <a:pt x="4159198" y="753222"/>
                </a:moveTo>
                <a:cubicBezTo>
                  <a:pt x="4159748" y="754529"/>
                  <a:pt x="4160573" y="755837"/>
                  <a:pt x="4159473" y="756491"/>
                </a:cubicBezTo>
                <a:cubicBezTo>
                  <a:pt x="4160023" y="757798"/>
                  <a:pt x="4160023" y="757798"/>
                  <a:pt x="4158924" y="758561"/>
                </a:cubicBezTo>
                <a:cubicBezTo>
                  <a:pt x="4158100" y="757253"/>
                  <a:pt x="4157550" y="755946"/>
                  <a:pt x="4157001" y="754638"/>
                </a:cubicBezTo>
                <a:cubicBezTo>
                  <a:pt x="4157276" y="752677"/>
                  <a:pt x="4157276" y="752677"/>
                  <a:pt x="4159198" y="753222"/>
                </a:cubicBezTo>
                <a:close/>
                <a:moveTo>
                  <a:pt x="4144091" y="752567"/>
                </a:moveTo>
                <a:cubicBezTo>
                  <a:pt x="4145189" y="751914"/>
                  <a:pt x="4145464" y="758561"/>
                  <a:pt x="4146013" y="759869"/>
                </a:cubicBezTo>
                <a:cubicBezTo>
                  <a:pt x="4144915" y="760522"/>
                  <a:pt x="4144915" y="760522"/>
                  <a:pt x="4144091" y="759324"/>
                </a:cubicBezTo>
                <a:lnTo>
                  <a:pt x="4144091" y="759869"/>
                </a:lnTo>
                <a:lnTo>
                  <a:pt x="4141618" y="757580"/>
                </a:lnTo>
                <a:cubicBezTo>
                  <a:pt x="4141069" y="756163"/>
                  <a:pt x="4141069" y="754529"/>
                  <a:pt x="4141069" y="752785"/>
                </a:cubicBezTo>
                <a:cubicBezTo>
                  <a:pt x="4142167" y="752131"/>
                  <a:pt x="4142167" y="752023"/>
                  <a:pt x="4144091" y="752567"/>
                </a:cubicBezTo>
                <a:close/>
                <a:moveTo>
                  <a:pt x="2057508" y="752131"/>
                </a:moveTo>
                <a:cubicBezTo>
                  <a:pt x="2060530" y="752458"/>
                  <a:pt x="2058333" y="756163"/>
                  <a:pt x="2057508" y="758016"/>
                </a:cubicBezTo>
                <a:cubicBezTo>
                  <a:pt x="2056958" y="755946"/>
                  <a:pt x="2056134" y="754747"/>
                  <a:pt x="2055860" y="753984"/>
                </a:cubicBezTo>
                <a:cubicBezTo>
                  <a:pt x="2055310" y="753222"/>
                  <a:pt x="2055310" y="753003"/>
                  <a:pt x="2056134" y="752677"/>
                </a:cubicBezTo>
                <a:cubicBezTo>
                  <a:pt x="2055585" y="751369"/>
                  <a:pt x="2057233" y="750824"/>
                  <a:pt x="2057508" y="752131"/>
                </a:cubicBezTo>
                <a:close/>
                <a:moveTo>
                  <a:pt x="1456476" y="752131"/>
                </a:moveTo>
                <a:cubicBezTo>
                  <a:pt x="1459497" y="751695"/>
                  <a:pt x="1462244" y="753439"/>
                  <a:pt x="1464991" y="756054"/>
                </a:cubicBezTo>
                <a:lnTo>
                  <a:pt x="1469387" y="761067"/>
                </a:lnTo>
                <a:lnTo>
                  <a:pt x="1469935" y="760414"/>
                </a:lnTo>
                <a:cubicBezTo>
                  <a:pt x="1471035" y="759650"/>
                  <a:pt x="1472409" y="759324"/>
                  <a:pt x="1474331" y="760086"/>
                </a:cubicBezTo>
                <a:cubicBezTo>
                  <a:pt x="1479275" y="760849"/>
                  <a:pt x="1480923" y="764882"/>
                  <a:pt x="1481198" y="769567"/>
                </a:cubicBezTo>
                <a:cubicBezTo>
                  <a:pt x="1483397" y="771638"/>
                  <a:pt x="1486418" y="771529"/>
                  <a:pt x="1486143" y="774907"/>
                </a:cubicBezTo>
                <a:cubicBezTo>
                  <a:pt x="1482023" y="772183"/>
                  <a:pt x="1480374" y="771529"/>
                  <a:pt x="1477902" y="769458"/>
                </a:cubicBezTo>
                <a:cubicBezTo>
                  <a:pt x="1476529" y="770112"/>
                  <a:pt x="1475430" y="770766"/>
                  <a:pt x="1473507" y="770112"/>
                </a:cubicBezTo>
                <a:lnTo>
                  <a:pt x="1471310" y="767932"/>
                </a:lnTo>
                <a:lnTo>
                  <a:pt x="1469935" y="769240"/>
                </a:lnTo>
                <a:cubicBezTo>
                  <a:pt x="1468837" y="770221"/>
                  <a:pt x="1468013" y="771311"/>
                  <a:pt x="1467189" y="772728"/>
                </a:cubicBezTo>
                <a:cubicBezTo>
                  <a:pt x="1461970" y="765535"/>
                  <a:pt x="1456201" y="763247"/>
                  <a:pt x="1455378" y="758342"/>
                </a:cubicBezTo>
                <a:cubicBezTo>
                  <a:pt x="1455103" y="756599"/>
                  <a:pt x="1455378" y="754747"/>
                  <a:pt x="1456476" y="752131"/>
                </a:cubicBezTo>
                <a:close/>
                <a:moveTo>
                  <a:pt x="3021413" y="751914"/>
                </a:moveTo>
                <a:lnTo>
                  <a:pt x="3021962" y="752677"/>
                </a:lnTo>
                <a:cubicBezTo>
                  <a:pt x="3021413" y="753003"/>
                  <a:pt x="3021138" y="753222"/>
                  <a:pt x="3021138" y="753003"/>
                </a:cubicBezTo>
                <a:close/>
                <a:moveTo>
                  <a:pt x="2597284" y="750388"/>
                </a:moveTo>
                <a:cubicBezTo>
                  <a:pt x="2599206" y="750933"/>
                  <a:pt x="2598657" y="756381"/>
                  <a:pt x="2599206" y="757689"/>
                </a:cubicBezTo>
                <a:cubicBezTo>
                  <a:pt x="2597833" y="758452"/>
                  <a:pt x="2596185" y="757907"/>
                  <a:pt x="2594812" y="758779"/>
                </a:cubicBezTo>
                <a:cubicBezTo>
                  <a:pt x="2593987" y="757471"/>
                  <a:pt x="2592888" y="754964"/>
                  <a:pt x="2593438" y="752785"/>
                </a:cubicBezTo>
                <a:cubicBezTo>
                  <a:pt x="2592888" y="751586"/>
                  <a:pt x="2597284" y="750388"/>
                  <a:pt x="2597284" y="750388"/>
                </a:cubicBezTo>
                <a:close/>
                <a:moveTo>
                  <a:pt x="2654969" y="749407"/>
                </a:moveTo>
                <a:cubicBezTo>
                  <a:pt x="2657991" y="748209"/>
                  <a:pt x="2661562" y="748426"/>
                  <a:pt x="2665958" y="750279"/>
                </a:cubicBezTo>
                <a:lnTo>
                  <a:pt x="2665958" y="751369"/>
                </a:lnTo>
                <a:lnTo>
                  <a:pt x="2668430" y="751914"/>
                </a:lnTo>
                <a:lnTo>
                  <a:pt x="2672825" y="755073"/>
                </a:lnTo>
                <a:lnTo>
                  <a:pt x="2672825" y="755183"/>
                </a:lnTo>
                <a:lnTo>
                  <a:pt x="2675022" y="759760"/>
                </a:lnTo>
                <a:cubicBezTo>
                  <a:pt x="2675571" y="761939"/>
                  <a:pt x="2674747" y="764337"/>
                  <a:pt x="2672825" y="766407"/>
                </a:cubicBezTo>
                <a:lnTo>
                  <a:pt x="2671176" y="766298"/>
                </a:lnTo>
                <a:lnTo>
                  <a:pt x="2670902" y="770547"/>
                </a:lnTo>
                <a:cubicBezTo>
                  <a:pt x="2670902" y="774798"/>
                  <a:pt x="2670352" y="778830"/>
                  <a:pt x="2668430" y="781663"/>
                </a:cubicBezTo>
                <a:cubicBezTo>
                  <a:pt x="2668155" y="780246"/>
                  <a:pt x="2668430" y="775343"/>
                  <a:pt x="2668979" y="770439"/>
                </a:cubicBezTo>
                <a:lnTo>
                  <a:pt x="2669528" y="766189"/>
                </a:lnTo>
                <a:lnTo>
                  <a:pt x="2667331" y="766189"/>
                </a:lnTo>
                <a:lnTo>
                  <a:pt x="2663760" y="761939"/>
                </a:lnTo>
                <a:lnTo>
                  <a:pt x="2659914" y="767387"/>
                </a:lnTo>
                <a:cubicBezTo>
                  <a:pt x="2654420" y="764227"/>
                  <a:pt x="2649200" y="760958"/>
                  <a:pt x="2647827" y="756817"/>
                </a:cubicBezTo>
                <a:cubicBezTo>
                  <a:pt x="2649475" y="753222"/>
                  <a:pt x="2651948" y="750606"/>
                  <a:pt x="2654969" y="749407"/>
                </a:cubicBezTo>
                <a:close/>
                <a:moveTo>
                  <a:pt x="4292975" y="748317"/>
                </a:moveTo>
                <a:cubicBezTo>
                  <a:pt x="4294898" y="748644"/>
                  <a:pt x="4294348" y="747446"/>
                  <a:pt x="4295447" y="749734"/>
                </a:cubicBezTo>
                <a:cubicBezTo>
                  <a:pt x="4293524" y="749516"/>
                  <a:pt x="4293524" y="749407"/>
                  <a:pt x="4292151" y="750279"/>
                </a:cubicBezTo>
                <a:cubicBezTo>
                  <a:pt x="4292151" y="750279"/>
                  <a:pt x="4292975" y="748317"/>
                  <a:pt x="4292975" y="748317"/>
                </a:cubicBezTo>
                <a:close/>
                <a:moveTo>
                  <a:pt x="2263529" y="747990"/>
                </a:moveTo>
                <a:cubicBezTo>
                  <a:pt x="2265452" y="748209"/>
                  <a:pt x="2267375" y="749516"/>
                  <a:pt x="2268199" y="752131"/>
                </a:cubicBezTo>
                <a:cubicBezTo>
                  <a:pt x="2266551" y="761503"/>
                  <a:pt x="2258310" y="758997"/>
                  <a:pt x="2249795" y="763247"/>
                </a:cubicBezTo>
                <a:cubicBezTo>
                  <a:pt x="2247597" y="755837"/>
                  <a:pt x="2256936" y="747337"/>
                  <a:pt x="2263529" y="747990"/>
                </a:cubicBezTo>
                <a:close/>
                <a:moveTo>
                  <a:pt x="4486361" y="747664"/>
                </a:moveTo>
                <a:cubicBezTo>
                  <a:pt x="4486361" y="747664"/>
                  <a:pt x="4486910" y="749080"/>
                  <a:pt x="4485261" y="753003"/>
                </a:cubicBezTo>
                <a:cubicBezTo>
                  <a:pt x="4484712" y="751695"/>
                  <a:pt x="4483339" y="752240"/>
                  <a:pt x="4483339" y="752240"/>
                </a:cubicBezTo>
                <a:cubicBezTo>
                  <a:pt x="4483339" y="752240"/>
                  <a:pt x="4483339" y="752349"/>
                  <a:pt x="4483888" y="753657"/>
                </a:cubicBezTo>
                <a:cubicBezTo>
                  <a:pt x="4482789" y="753330"/>
                  <a:pt x="4482515" y="752677"/>
                  <a:pt x="4482515" y="752023"/>
                </a:cubicBezTo>
                <a:cubicBezTo>
                  <a:pt x="4482515" y="751478"/>
                  <a:pt x="4482789" y="750933"/>
                  <a:pt x="4482789" y="750933"/>
                </a:cubicBezTo>
                <a:cubicBezTo>
                  <a:pt x="4483613" y="748971"/>
                  <a:pt x="4484437" y="747010"/>
                  <a:pt x="4486361" y="747664"/>
                </a:cubicBezTo>
                <a:close/>
                <a:moveTo>
                  <a:pt x="2671176" y="747555"/>
                </a:moveTo>
                <a:cubicBezTo>
                  <a:pt x="2671176" y="747555"/>
                  <a:pt x="2672550" y="747664"/>
                  <a:pt x="2672550" y="747664"/>
                </a:cubicBezTo>
                <a:cubicBezTo>
                  <a:pt x="2672550" y="749298"/>
                  <a:pt x="2672825" y="750933"/>
                  <a:pt x="2671451" y="750824"/>
                </a:cubicBezTo>
                <a:cubicBezTo>
                  <a:pt x="2670077" y="750824"/>
                  <a:pt x="2670077" y="749080"/>
                  <a:pt x="2671176" y="747555"/>
                </a:cubicBezTo>
                <a:close/>
                <a:moveTo>
                  <a:pt x="2848355" y="747337"/>
                </a:moveTo>
                <a:cubicBezTo>
                  <a:pt x="2851651" y="746573"/>
                  <a:pt x="2855772" y="747555"/>
                  <a:pt x="2860166" y="751586"/>
                </a:cubicBezTo>
                <a:cubicBezTo>
                  <a:pt x="2860716" y="758997"/>
                  <a:pt x="2857420" y="761721"/>
                  <a:pt x="2856046" y="766734"/>
                </a:cubicBezTo>
                <a:cubicBezTo>
                  <a:pt x="2841762" y="767497"/>
                  <a:pt x="2839290" y="757580"/>
                  <a:pt x="2842861" y="751478"/>
                </a:cubicBezTo>
                <a:cubicBezTo>
                  <a:pt x="2843959" y="749516"/>
                  <a:pt x="2845883" y="747881"/>
                  <a:pt x="2848355" y="747337"/>
                </a:cubicBezTo>
                <a:close/>
                <a:moveTo>
                  <a:pt x="3036796" y="746901"/>
                </a:moveTo>
                <a:cubicBezTo>
                  <a:pt x="3037345" y="748209"/>
                  <a:pt x="3037894" y="749625"/>
                  <a:pt x="3036521" y="750170"/>
                </a:cubicBezTo>
                <a:cubicBezTo>
                  <a:pt x="3037070" y="751478"/>
                  <a:pt x="3037070" y="751586"/>
                  <a:pt x="3035971" y="752131"/>
                </a:cubicBezTo>
                <a:cubicBezTo>
                  <a:pt x="3035421" y="750824"/>
                  <a:pt x="3034873" y="749407"/>
                  <a:pt x="3034323" y="748100"/>
                </a:cubicBezTo>
                <a:cubicBezTo>
                  <a:pt x="3035147" y="746247"/>
                  <a:pt x="3035147" y="746247"/>
                  <a:pt x="3036796" y="746901"/>
                </a:cubicBezTo>
                <a:close/>
                <a:moveTo>
                  <a:pt x="6372690" y="746356"/>
                </a:moveTo>
                <a:cubicBezTo>
                  <a:pt x="6376261" y="747664"/>
                  <a:pt x="6377909" y="749407"/>
                  <a:pt x="6377909" y="751478"/>
                </a:cubicBezTo>
                <a:cubicBezTo>
                  <a:pt x="6378184" y="753548"/>
                  <a:pt x="6377360" y="756054"/>
                  <a:pt x="6375712" y="758561"/>
                </a:cubicBezTo>
                <a:cubicBezTo>
                  <a:pt x="6372690" y="763464"/>
                  <a:pt x="6367746" y="762484"/>
                  <a:pt x="6367746" y="762484"/>
                </a:cubicBezTo>
                <a:cubicBezTo>
                  <a:pt x="6360604" y="759869"/>
                  <a:pt x="6356758" y="754202"/>
                  <a:pt x="6359505" y="747227"/>
                </a:cubicBezTo>
                <a:cubicBezTo>
                  <a:pt x="6363076" y="744286"/>
                  <a:pt x="6367746" y="745375"/>
                  <a:pt x="6372690" y="746356"/>
                </a:cubicBezTo>
                <a:close/>
                <a:moveTo>
                  <a:pt x="2801931" y="745920"/>
                </a:moveTo>
                <a:cubicBezTo>
                  <a:pt x="2815666" y="762484"/>
                  <a:pt x="2818688" y="785368"/>
                  <a:pt x="2805777" y="794304"/>
                </a:cubicBezTo>
                <a:cubicBezTo>
                  <a:pt x="2803580" y="795394"/>
                  <a:pt x="2801657" y="796048"/>
                  <a:pt x="2799459" y="796374"/>
                </a:cubicBezTo>
                <a:cubicBezTo>
                  <a:pt x="2788746" y="797791"/>
                  <a:pt x="2780505" y="788311"/>
                  <a:pt x="2777758" y="777196"/>
                </a:cubicBezTo>
                <a:lnTo>
                  <a:pt x="2777758" y="774035"/>
                </a:lnTo>
                <a:lnTo>
                  <a:pt x="2775561" y="771965"/>
                </a:lnTo>
                <a:cubicBezTo>
                  <a:pt x="2774461" y="770657"/>
                  <a:pt x="2774187" y="769240"/>
                  <a:pt x="2774461" y="766843"/>
                </a:cubicBezTo>
                <a:lnTo>
                  <a:pt x="2777483" y="769458"/>
                </a:lnTo>
                <a:lnTo>
                  <a:pt x="2777209" y="765971"/>
                </a:lnTo>
                <a:cubicBezTo>
                  <a:pt x="2778857" y="755727"/>
                  <a:pt x="2786274" y="746682"/>
                  <a:pt x="2801931" y="745920"/>
                </a:cubicBezTo>
                <a:close/>
                <a:moveTo>
                  <a:pt x="1713590" y="745484"/>
                </a:moveTo>
                <a:cubicBezTo>
                  <a:pt x="1720732" y="745702"/>
                  <a:pt x="1729248" y="756599"/>
                  <a:pt x="1727051" y="762048"/>
                </a:cubicBezTo>
                <a:cubicBezTo>
                  <a:pt x="1720732" y="768913"/>
                  <a:pt x="1714689" y="770003"/>
                  <a:pt x="1710569" y="768041"/>
                </a:cubicBezTo>
                <a:lnTo>
                  <a:pt x="1709195" y="766625"/>
                </a:lnTo>
                <a:lnTo>
                  <a:pt x="1707821" y="767606"/>
                </a:lnTo>
                <a:cubicBezTo>
                  <a:pt x="1704800" y="768586"/>
                  <a:pt x="1700680" y="768477"/>
                  <a:pt x="1697108" y="769458"/>
                </a:cubicBezTo>
                <a:cubicBezTo>
                  <a:pt x="1696834" y="764772"/>
                  <a:pt x="1698207" y="761830"/>
                  <a:pt x="1700680" y="760305"/>
                </a:cubicBezTo>
                <a:lnTo>
                  <a:pt x="1705625" y="759869"/>
                </a:lnTo>
                <a:lnTo>
                  <a:pt x="1705350" y="755727"/>
                </a:lnTo>
                <a:cubicBezTo>
                  <a:pt x="1706448" y="752240"/>
                  <a:pt x="1708921" y="748535"/>
                  <a:pt x="1713590" y="745484"/>
                </a:cubicBezTo>
                <a:close/>
                <a:moveTo>
                  <a:pt x="4471527" y="745157"/>
                </a:moveTo>
                <a:cubicBezTo>
                  <a:pt x="4472076" y="747118"/>
                  <a:pt x="4472626" y="748971"/>
                  <a:pt x="4473175" y="750933"/>
                </a:cubicBezTo>
                <a:cubicBezTo>
                  <a:pt x="4470703" y="753984"/>
                  <a:pt x="4467681" y="756272"/>
                  <a:pt x="4464660" y="756817"/>
                </a:cubicBezTo>
                <a:cubicBezTo>
                  <a:pt x="4461912" y="757253"/>
                  <a:pt x="4459166" y="755837"/>
                  <a:pt x="4457517" y="751586"/>
                </a:cubicBezTo>
                <a:cubicBezTo>
                  <a:pt x="4459715" y="747664"/>
                  <a:pt x="4467956" y="743304"/>
                  <a:pt x="4471527" y="745157"/>
                </a:cubicBezTo>
                <a:close/>
                <a:moveTo>
                  <a:pt x="2107778" y="745157"/>
                </a:moveTo>
                <a:cubicBezTo>
                  <a:pt x="2110249" y="745484"/>
                  <a:pt x="2112448" y="746465"/>
                  <a:pt x="2114095" y="747990"/>
                </a:cubicBezTo>
                <a:lnTo>
                  <a:pt x="2114645" y="748862"/>
                </a:lnTo>
                <a:lnTo>
                  <a:pt x="2121786" y="749952"/>
                </a:lnTo>
                <a:cubicBezTo>
                  <a:pt x="2124259" y="751041"/>
                  <a:pt x="2126456" y="752785"/>
                  <a:pt x="2128380" y="755292"/>
                </a:cubicBezTo>
                <a:cubicBezTo>
                  <a:pt x="2125907" y="757689"/>
                  <a:pt x="2123435" y="758997"/>
                  <a:pt x="2121237" y="759760"/>
                </a:cubicBezTo>
                <a:lnTo>
                  <a:pt x="2118491" y="759869"/>
                </a:lnTo>
                <a:lnTo>
                  <a:pt x="2119315" y="770112"/>
                </a:lnTo>
                <a:lnTo>
                  <a:pt x="2117667" y="780355"/>
                </a:lnTo>
                <a:lnTo>
                  <a:pt x="2122061" y="779483"/>
                </a:lnTo>
                <a:cubicBezTo>
                  <a:pt x="2135247" y="786567"/>
                  <a:pt x="2133049" y="795067"/>
                  <a:pt x="2134972" y="795939"/>
                </a:cubicBezTo>
                <a:cubicBezTo>
                  <a:pt x="2133599" y="798772"/>
                  <a:pt x="2131950" y="799862"/>
                  <a:pt x="2130028" y="800188"/>
                </a:cubicBezTo>
                <a:lnTo>
                  <a:pt x="2128380" y="800080"/>
                </a:lnTo>
                <a:lnTo>
                  <a:pt x="2129478" y="802150"/>
                </a:lnTo>
                <a:lnTo>
                  <a:pt x="2131401" y="809996"/>
                </a:lnTo>
                <a:lnTo>
                  <a:pt x="2136895" y="812393"/>
                </a:lnTo>
                <a:cubicBezTo>
                  <a:pt x="2138268" y="815663"/>
                  <a:pt x="2137169" y="820457"/>
                  <a:pt x="2135247" y="824381"/>
                </a:cubicBezTo>
                <a:lnTo>
                  <a:pt x="2134698" y="825252"/>
                </a:lnTo>
                <a:lnTo>
                  <a:pt x="2131676" y="829393"/>
                </a:lnTo>
                <a:cubicBezTo>
                  <a:pt x="2130302" y="830592"/>
                  <a:pt x="2128655" y="831463"/>
                  <a:pt x="2127280" y="831573"/>
                </a:cubicBezTo>
                <a:cubicBezTo>
                  <a:pt x="2118491" y="828630"/>
                  <a:pt x="2114919" y="823509"/>
                  <a:pt x="2114919" y="818823"/>
                </a:cubicBezTo>
                <a:lnTo>
                  <a:pt x="2115743" y="816970"/>
                </a:lnTo>
                <a:lnTo>
                  <a:pt x="2114370" y="816099"/>
                </a:lnTo>
                <a:cubicBezTo>
                  <a:pt x="2112173" y="813810"/>
                  <a:pt x="2110799" y="810105"/>
                  <a:pt x="2108327" y="807163"/>
                </a:cubicBezTo>
                <a:cubicBezTo>
                  <a:pt x="2112722" y="805093"/>
                  <a:pt x="2115743" y="804984"/>
                  <a:pt x="2118216" y="806618"/>
                </a:cubicBezTo>
                <a:lnTo>
                  <a:pt x="2120688" y="811086"/>
                </a:lnTo>
                <a:lnTo>
                  <a:pt x="2124259" y="809124"/>
                </a:lnTo>
                <a:lnTo>
                  <a:pt x="2125083" y="809233"/>
                </a:lnTo>
                <a:lnTo>
                  <a:pt x="2123985" y="806182"/>
                </a:lnTo>
                <a:cubicBezTo>
                  <a:pt x="2122611" y="802695"/>
                  <a:pt x="2120962" y="799643"/>
                  <a:pt x="2118765" y="797464"/>
                </a:cubicBezTo>
                <a:cubicBezTo>
                  <a:pt x="2118765" y="797464"/>
                  <a:pt x="2118765" y="797355"/>
                  <a:pt x="2118765" y="796919"/>
                </a:cubicBezTo>
                <a:lnTo>
                  <a:pt x="2119040" y="796157"/>
                </a:lnTo>
                <a:lnTo>
                  <a:pt x="2117941" y="795612"/>
                </a:lnTo>
                <a:lnTo>
                  <a:pt x="2114919" y="798336"/>
                </a:lnTo>
                <a:cubicBezTo>
                  <a:pt x="2113821" y="799862"/>
                  <a:pt x="2112722" y="801932"/>
                  <a:pt x="2111898" y="804874"/>
                </a:cubicBezTo>
                <a:cubicBezTo>
                  <a:pt x="2109975" y="802477"/>
                  <a:pt x="2108327" y="799862"/>
                  <a:pt x="2107503" y="797247"/>
                </a:cubicBezTo>
                <a:cubicBezTo>
                  <a:pt x="2106404" y="794521"/>
                  <a:pt x="2105854" y="791689"/>
                  <a:pt x="2105854" y="788637"/>
                </a:cubicBezTo>
                <a:lnTo>
                  <a:pt x="2114919" y="788201"/>
                </a:lnTo>
                <a:lnTo>
                  <a:pt x="2114095" y="784932"/>
                </a:lnTo>
                <a:cubicBezTo>
                  <a:pt x="2113821" y="783734"/>
                  <a:pt x="2114095" y="782426"/>
                  <a:pt x="2114919" y="780900"/>
                </a:cubicBezTo>
                <a:lnTo>
                  <a:pt x="2117117" y="780465"/>
                </a:lnTo>
                <a:lnTo>
                  <a:pt x="2110249" y="773926"/>
                </a:lnTo>
                <a:cubicBezTo>
                  <a:pt x="2108876" y="771965"/>
                  <a:pt x="2108052" y="769785"/>
                  <a:pt x="2107503" y="767606"/>
                </a:cubicBezTo>
                <a:cubicBezTo>
                  <a:pt x="2106679" y="764227"/>
                  <a:pt x="2106404" y="760522"/>
                  <a:pt x="2106404" y="756817"/>
                </a:cubicBezTo>
                <a:lnTo>
                  <a:pt x="2106679" y="755727"/>
                </a:lnTo>
                <a:lnTo>
                  <a:pt x="2102833" y="753766"/>
                </a:lnTo>
                <a:cubicBezTo>
                  <a:pt x="2103657" y="752567"/>
                  <a:pt x="2105030" y="751369"/>
                  <a:pt x="2106954" y="750388"/>
                </a:cubicBezTo>
                <a:lnTo>
                  <a:pt x="2107228" y="750388"/>
                </a:lnTo>
                <a:close/>
                <a:moveTo>
                  <a:pt x="2680791" y="744721"/>
                </a:moveTo>
                <a:cubicBezTo>
                  <a:pt x="2680791" y="744721"/>
                  <a:pt x="2680791" y="744721"/>
                  <a:pt x="2679692" y="755618"/>
                </a:cubicBezTo>
                <a:cubicBezTo>
                  <a:pt x="2678593" y="755401"/>
                  <a:pt x="2678319" y="754747"/>
                  <a:pt x="2678319" y="753875"/>
                </a:cubicBezTo>
                <a:cubicBezTo>
                  <a:pt x="2678319" y="753112"/>
                  <a:pt x="2678593" y="752023"/>
                  <a:pt x="2678868" y="750933"/>
                </a:cubicBezTo>
                <a:cubicBezTo>
                  <a:pt x="2679692" y="748862"/>
                  <a:pt x="2680241" y="746792"/>
                  <a:pt x="2680791" y="744721"/>
                </a:cubicBezTo>
                <a:close/>
                <a:moveTo>
                  <a:pt x="4301216" y="744612"/>
                </a:moveTo>
                <a:cubicBezTo>
                  <a:pt x="4301216" y="744612"/>
                  <a:pt x="4301766" y="745702"/>
                  <a:pt x="4301766" y="745702"/>
                </a:cubicBezTo>
                <a:cubicBezTo>
                  <a:pt x="4301216" y="746138"/>
                  <a:pt x="4300392" y="746682"/>
                  <a:pt x="4299842" y="746792"/>
                </a:cubicBezTo>
                <a:cubicBezTo>
                  <a:pt x="4299293" y="747010"/>
                  <a:pt x="4298744" y="746792"/>
                  <a:pt x="4298469" y="746247"/>
                </a:cubicBezTo>
                <a:cubicBezTo>
                  <a:pt x="4297920" y="745157"/>
                  <a:pt x="4299293" y="744394"/>
                  <a:pt x="4301216" y="744612"/>
                </a:cubicBezTo>
                <a:close/>
                <a:moveTo>
                  <a:pt x="3018940" y="744612"/>
                </a:moveTo>
                <a:cubicBezTo>
                  <a:pt x="3020039" y="743958"/>
                  <a:pt x="3020039" y="743958"/>
                  <a:pt x="3021962" y="744721"/>
                </a:cubicBezTo>
                <a:cubicBezTo>
                  <a:pt x="3023060" y="744067"/>
                  <a:pt x="3022786" y="750824"/>
                  <a:pt x="3023335" y="752131"/>
                </a:cubicBezTo>
                <a:cubicBezTo>
                  <a:pt x="3021962" y="752785"/>
                  <a:pt x="3021962" y="752785"/>
                  <a:pt x="3021413" y="751369"/>
                </a:cubicBezTo>
                <a:lnTo>
                  <a:pt x="3021413" y="751914"/>
                </a:lnTo>
                <a:lnTo>
                  <a:pt x="3018940" y="749298"/>
                </a:lnTo>
                <a:cubicBezTo>
                  <a:pt x="3018665" y="747881"/>
                  <a:pt x="3018665" y="746247"/>
                  <a:pt x="3018940" y="744612"/>
                </a:cubicBezTo>
                <a:close/>
                <a:moveTo>
                  <a:pt x="2707985" y="744503"/>
                </a:moveTo>
                <a:cubicBezTo>
                  <a:pt x="2709633" y="745375"/>
                  <a:pt x="2709908" y="745375"/>
                  <a:pt x="2711557" y="746247"/>
                </a:cubicBezTo>
                <a:cubicBezTo>
                  <a:pt x="2712106" y="748971"/>
                  <a:pt x="2714304" y="751369"/>
                  <a:pt x="2713479" y="754529"/>
                </a:cubicBezTo>
                <a:cubicBezTo>
                  <a:pt x="2711557" y="758342"/>
                  <a:pt x="2704415" y="759432"/>
                  <a:pt x="2701393" y="759106"/>
                </a:cubicBezTo>
                <a:cubicBezTo>
                  <a:pt x="2699745" y="758234"/>
                  <a:pt x="2698921" y="756599"/>
                  <a:pt x="2698646" y="754747"/>
                </a:cubicBezTo>
                <a:cubicBezTo>
                  <a:pt x="2698646" y="753003"/>
                  <a:pt x="2699196" y="750715"/>
                  <a:pt x="2700020" y="748862"/>
                </a:cubicBezTo>
                <a:cubicBezTo>
                  <a:pt x="2700569" y="747227"/>
                  <a:pt x="2701668" y="746138"/>
                  <a:pt x="2703315" y="745375"/>
                </a:cubicBezTo>
                <a:cubicBezTo>
                  <a:pt x="2704690" y="744612"/>
                  <a:pt x="2706612" y="744286"/>
                  <a:pt x="2707985" y="744503"/>
                </a:cubicBezTo>
                <a:close/>
                <a:moveTo>
                  <a:pt x="2095416" y="743741"/>
                </a:moveTo>
                <a:cubicBezTo>
                  <a:pt x="2097614" y="747772"/>
                  <a:pt x="2100360" y="751695"/>
                  <a:pt x="2101734" y="755509"/>
                </a:cubicBezTo>
                <a:lnTo>
                  <a:pt x="2100635" y="760086"/>
                </a:lnTo>
                <a:lnTo>
                  <a:pt x="2102009" y="761503"/>
                </a:lnTo>
                <a:lnTo>
                  <a:pt x="2099536" y="764554"/>
                </a:lnTo>
                <a:lnTo>
                  <a:pt x="2098987" y="766189"/>
                </a:lnTo>
                <a:lnTo>
                  <a:pt x="2098163" y="765971"/>
                </a:lnTo>
                <a:lnTo>
                  <a:pt x="2095966" y="768804"/>
                </a:lnTo>
                <a:cubicBezTo>
                  <a:pt x="2093768" y="770984"/>
                  <a:pt x="2091571" y="772509"/>
                  <a:pt x="2088823" y="772619"/>
                </a:cubicBezTo>
                <a:cubicBezTo>
                  <a:pt x="2087175" y="772728"/>
                  <a:pt x="2085253" y="772183"/>
                  <a:pt x="2083055" y="770766"/>
                </a:cubicBezTo>
                <a:cubicBezTo>
                  <a:pt x="2080033" y="764445"/>
                  <a:pt x="2081407" y="759760"/>
                  <a:pt x="2084428" y="757035"/>
                </a:cubicBezTo>
                <a:lnTo>
                  <a:pt x="2087175" y="755618"/>
                </a:lnTo>
                <a:lnTo>
                  <a:pt x="2087999" y="746901"/>
                </a:lnTo>
                <a:cubicBezTo>
                  <a:pt x="2089647" y="744831"/>
                  <a:pt x="2092120" y="743522"/>
                  <a:pt x="2095416" y="743741"/>
                </a:cubicBezTo>
                <a:close/>
                <a:moveTo>
                  <a:pt x="2627774" y="742650"/>
                </a:moveTo>
                <a:cubicBezTo>
                  <a:pt x="2632445" y="741125"/>
                  <a:pt x="2641235" y="744177"/>
                  <a:pt x="2640960" y="750388"/>
                </a:cubicBezTo>
                <a:cubicBezTo>
                  <a:pt x="2640411" y="752894"/>
                  <a:pt x="2636016" y="754638"/>
                  <a:pt x="2631895" y="754202"/>
                </a:cubicBezTo>
                <a:cubicBezTo>
                  <a:pt x="2627774" y="753875"/>
                  <a:pt x="2624204" y="751369"/>
                  <a:pt x="2625028" y="745702"/>
                </a:cubicBezTo>
                <a:cubicBezTo>
                  <a:pt x="2625028" y="744177"/>
                  <a:pt x="2626126" y="743196"/>
                  <a:pt x="2627774" y="742650"/>
                </a:cubicBezTo>
                <a:close/>
                <a:moveTo>
                  <a:pt x="1449883" y="741670"/>
                </a:moveTo>
                <a:cubicBezTo>
                  <a:pt x="1446313" y="743849"/>
                  <a:pt x="1445763" y="745920"/>
                  <a:pt x="1445213" y="744612"/>
                </a:cubicBezTo>
                <a:cubicBezTo>
                  <a:pt x="1443840" y="745375"/>
                  <a:pt x="1443290" y="744067"/>
                  <a:pt x="1444390" y="743304"/>
                </a:cubicBezTo>
                <a:cubicBezTo>
                  <a:pt x="1444390" y="740035"/>
                  <a:pt x="1447960" y="741125"/>
                  <a:pt x="1449883" y="741670"/>
                </a:cubicBezTo>
                <a:close/>
                <a:moveTo>
                  <a:pt x="4307260" y="740908"/>
                </a:moveTo>
                <a:cubicBezTo>
                  <a:pt x="4309182" y="741343"/>
                  <a:pt x="4309457" y="741343"/>
                  <a:pt x="4310555" y="743849"/>
                </a:cubicBezTo>
                <a:cubicBezTo>
                  <a:pt x="4308358" y="744394"/>
                  <a:pt x="4307260" y="744721"/>
                  <a:pt x="4306160" y="744721"/>
                </a:cubicBezTo>
                <a:cubicBezTo>
                  <a:pt x="4305061" y="744721"/>
                  <a:pt x="4304238" y="744612"/>
                  <a:pt x="4302315" y="744177"/>
                </a:cubicBezTo>
                <a:cubicBezTo>
                  <a:pt x="4303414" y="743413"/>
                  <a:pt x="4305336" y="740471"/>
                  <a:pt x="4307260" y="740908"/>
                </a:cubicBezTo>
                <a:close/>
                <a:moveTo>
                  <a:pt x="2883790" y="739490"/>
                </a:moveTo>
                <a:cubicBezTo>
                  <a:pt x="2885439" y="747337"/>
                  <a:pt x="2888185" y="761394"/>
                  <a:pt x="2874725" y="762810"/>
                </a:cubicBezTo>
                <a:cubicBezTo>
                  <a:pt x="2873627" y="760958"/>
                  <a:pt x="2872253" y="759215"/>
                  <a:pt x="2871154" y="757471"/>
                </a:cubicBezTo>
                <a:cubicBezTo>
                  <a:pt x="2877748" y="751478"/>
                  <a:pt x="2878846" y="744286"/>
                  <a:pt x="2883790" y="739490"/>
                </a:cubicBezTo>
                <a:close/>
                <a:moveTo>
                  <a:pt x="2675297" y="739273"/>
                </a:moveTo>
                <a:cubicBezTo>
                  <a:pt x="2673923" y="743741"/>
                  <a:pt x="2673923" y="743632"/>
                  <a:pt x="2671176" y="746465"/>
                </a:cubicBezTo>
                <a:cubicBezTo>
                  <a:pt x="2671176" y="744939"/>
                  <a:pt x="2669803" y="741997"/>
                  <a:pt x="2671176" y="740580"/>
                </a:cubicBezTo>
                <a:cubicBezTo>
                  <a:pt x="2672550" y="739164"/>
                  <a:pt x="2672276" y="739164"/>
                  <a:pt x="2675297" y="739273"/>
                </a:cubicBezTo>
                <a:close/>
                <a:moveTo>
                  <a:pt x="2234686" y="739273"/>
                </a:moveTo>
                <a:cubicBezTo>
                  <a:pt x="2238258" y="744394"/>
                  <a:pt x="2237434" y="749080"/>
                  <a:pt x="2231390" y="751150"/>
                </a:cubicBezTo>
                <a:cubicBezTo>
                  <a:pt x="2230291" y="747227"/>
                  <a:pt x="2227270" y="747337"/>
                  <a:pt x="2226171" y="743413"/>
                </a:cubicBezTo>
                <a:cubicBezTo>
                  <a:pt x="2230016" y="741997"/>
                  <a:pt x="2232764" y="740035"/>
                  <a:pt x="2234686" y="739273"/>
                </a:cubicBezTo>
                <a:close/>
                <a:moveTo>
                  <a:pt x="1652230" y="739164"/>
                </a:moveTo>
                <a:cubicBezTo>
                  <a:pt x="1657140" y="739463"/>
                  <a:pt x="1662634" y="741561"/>
                  <a:pt x="1667716" y="744286"/>
                </a:cubicBezTo>
                <a:lnTo>
                  <a:pt x="1676506" y="750061"/>
                </a:lnTo>
                <a:lnTo>
                  <a:pt x="1677331" y="745593"/>
                </a:lnTo>
                <a:cubicBezTo>
                  <a:pt x="1689143" y="736548"/>
                  <a:pt x="1696285" y="741888"/>
                  <a:pt x="1697658" y="740580"/>
                </a:cubicBezTo>
                <a:cubicBezTo>
                  <a:pt x="1701778" y="745593"/>
                  <a:pt x="1699032" y="748209"/>
                  <a:pt x="1696010" y="753766"/>
                </a:cubicBezTo>
                <a:cubicBezTo>
                  <a:pt x="1695186" y="753003"/>
                  <a:pt x="1693813" y="753548"/>
                  <a:pt x="1692164" y="754419"/>
                </a:cubicBezTo>
                <a:lnTo>
                  <a:pt x="1690242" y="755946"/>
                </a:lnTo>
                <a:lnTo>
                  <a:pt x="1691615" y="759760"/>
                </a:lnTo>
                <a:cubicBezTo>
                  <a:pt x="1692713" y="761394"/>
                  <a:pt x="1694087" y="763247"/>
                  <a:pt x="1696560" y="765317"/>
                </a:cubicBezTo>
                <a:cubicBezTo>
                  <a:pt x="1693538" y="766080"/>
                  <a:pt x="1690516" y="766516"/>
                  <a:pt x="1687494" y="766407"/>
                </a:cubicBezTo>
                <a:cubicBezTo>
                  <a:pt x="1684747" y="766298"/>
                  <a:pt x="1682000" y="765535"/>
                  <a:pt x="1679254" y="764227"/>
                </a:cubicBezTo>
                <a:lnTo>
                  <a:pt x="1682550" y="755618"/>
                </a:lnTo>
                <a:lnTo>
                  <a:pt x="1679254" y="755183"/>
                </a:lnTo>
                <a:cubicBezTo>
                  <a:pt x="1677881" y="754856"/>
                  <a:pt x="1676781" y="754093"/>
                  <a:pt x="1675682" y="752785"/>
                </a:cubicBezTo>
                <a:lnTo>
                  <a:pt x="1676232" y="750606"/>
                </a:lnTo>
                <a:lnTo>
                  <a:pt x="1667442" y="754311"/>
                </a:lnTo>
                <a:cubicBezTo>
                  <a:pt x="1664969" y="754747"/>
                  <a:pt x="1662772" y="754638"/>
                  <a:pt x="1660574" y="754202"/>
                </a:cubicBezTo>
                <a:cubicBezTo>
                  <a:pt x="1653707" y="753112"/>
                  <a:pt x="1646840" y="748971"/>
                  <a:pt x="1640247" y="744831"/>
                </a:cubicBezTo>
                <a:cubicBezTo>
                  <a:pt x="1642994" y="740363"/>
                  <a:pt x="1647320" y="738864"/>
                  <a:pt x="1652230" y="739164"/>
                </a:cubicBezTo>
                <a:close/>
                <a:moveTo>
                  <a:pt x="2989685" y="738946"/>
                </a:moveTo>
                <a:cubicBezTo>
                  <a:pt x="2993943" y="741043"/>
                  <a:pt x="2997102" y="745539"/>
                  <a:pt x="2995591" y="751914"/>
                </a:cubicBezTo>
                <a:cubicBezTo>
                  <a:pt x="2993394" y="753657"/>
                  <a:pt x="2989548" y="754093"/>
                  <a:pt x="2985427" y="753657"/>
                </a:cubicBezTo>
                <a:cubicBezTo>
                  <a:pt x="2981307" y="753330"/>
                  <a:pt x="2977461" y="752240"/>
                  <a:pt x="2975538" y="750824"/>
                </a:cubicBezTo>
                <a:cubicBezTo>
                  <a:pt x="2974165" y="745920"/>
                  <a:pt x="2974990" y="742542"/>
                  <a:pt x="2977187" y="740363"/>
                </a:cubicBezTo>
                <a:cubicBezTo>
                  <a:pt x="2980071" y="737148"/>
                  <a:pt x="2985427" y="736848"/>
                  <a:pt x="2989685" y="738946"/>
                </a:cubicBezTo>
                <a:close/>
                <a:moveTo>
                  <a:pt x="4351760" y="737965"/>
                </a:moveTo>
                <a:cubicBezTo>
                  <a:pt x="4355605" y="741779"/>
                  <a:pt x="4355605" y="744831"/>
                  <a:pt x="4354232" y="747664"/>
                </a:cubicBezTo>
                <a:lnTo>
                  <a:pt x="4348738" y="755183"/>
                </a:lnTo>
                <a:lnTo>
                  <a:pt x="4349287" y="755837"/>
                </a:lnTo>
                <a:lnTo>
                  <a:pt x="4359726" y="759541"/>
                </a:lnTo>
                <a:cubicBezTo>
                  <a:pt x="4368516" y="764772"/>
                  <a:pt x="4376207" y="773381"/>
                  <a:pt x="4379504" y="779375"/>
                </a:cubicBezTo>
                <a:cubicBezTo>
                  <a:pt x="4376757" y="783951"/>
                  <a:pt x="4372912" y="785695"/>
                  <a:pt x="4368242" y="785587"/>
                </a:cubicBezTo>
                <a:cubicBezTo>
                  <a:pt x="4354781" y="785368"/>
                  <a:pt x="4336926" y="768368"/>
                  <a:pt x="4333629" y="759324"/>
                </a:cubicBezTo>
                <a:lnTo>
                  <a:pt x="4336102" y="757798"/>
                </a:lnTo>
                <a:lnTo>
                  <a:pt x="4333080" y="750715"/>
                </a:lnTo>
                <a:cubicBezTo>
                  <a:pt x="4336377" y="747337"/>
                  <a:pt x="4337476" y="739490"/>
                  <a:pt x="4344343" y="741234"/>
                </a:cubicBezTo>
                <a:lnTo>
                  <a:pt x="4345442" y="745484"/>
                </a:lnTo>
                <a:close/>
                <a:moveTo>
                  <a:pt x="1215294" y="736330"/>
                </a:moveTo>
                <a:cubicBezTo>
                  <a:pt x="1215294" y="736330"/>
                  <a:pt x="1215294" y="736221"/>
                  <a:pt x="1215019" y="737747"/>
                </a:cubicBezTo>
                <a:cubicBezTo>
                  <a:pt x="1215019" y="737747"/>
                  <a:pt x="1215019" y="736330"/>
                  <a:pt x="1216393" y="736548"/>
                </a:cubicBezTo>
                <a:cubicBezTo>
                  <a:pt x="1220238" y="744612"/>
                  <a:pt x="1218041" y="756163"/>
                  <a:pt x="1218041" y="757689"/>
                </a:cubicBezTo>
                <a:cubicBezTo>
                  <a:pt x="1216667" y="757362"/>
                  <a:pt x="1216393" y="757471"/>
                  <a:pt x="1216393" y="757471"/>
                </a:cubicBezTo>
                <a:cubicBezTo>
                  <a:pt x="1217767" y="753222"/>
                  <a:pt x="1214470" y="747337"/>
                  <a:pt x="1214195" y="741779"/>
                </a:cubicBezTo>
                <a:cubicBezTo>
                  <a:pt x="1214195" y="739926"/>
                  <a:pt x="1214470" y="738074"/>
                  <a:pt x="1215294" y="736330"/>
                </a:cubicBezTo>
                <a:close/>
                <a:moveTo>
                  <a:pt x="1717711" y="735786"/>
                </a:moveTo>
                <a:cubicBezTo>
                  <a:pt x="1717711" y="737311"/>
                  <a:pt x="1719084" y="738836"/>
                  <a:pt x="1719084" y="740363"/>
                </a:cubicBezTo>
                <a:cubicBezTo>
                  <a:pt x="1718260" y="741016"/>
                  <a:pt x="1717436" y="741343"/>
                  <a:pt x="1716613" y="741343"/>
                </a:cubicBezTo>
                <a:cubicBezTo>
                  <a:pt x="1715788" y="741343"/>
                  <a:pt x="1714964" y="741125"/>
                  <a:pt x="1714139" y="740798"/>
                </a:cubicBezTo>
                <a:cubicBezTo>
                  <a:pt x="1712766" y="740035"/>
                  <a:pt x="1711943" y="738836"/>
                  <a:pt x="1711943" y="738074"/>
                </a:cubicBezTo>
                <a:cubicBezTo>
                  <a:pt x="1713316" y="736766"/>
                  <a:pt x="1716063" y="737093"/>
                  <a:pt x="1717711" y="735786"/>
                </a:cubicBezTo>
                <a:close/>
                <a:moveTo>
                  <a:pt x="4060034" y="735458"/>
                </a:moveTo>
                <a:cubicBezTo>
                  <a:pt x="4060034" y="735458"/>
                  <a:pt x="4061407" y="735458"/>
                  <a:pt x="4064429" y="738510"/>
                </a:cubicBezTo>
                <a:cubicBezTo>
                  <a:pt x="4062781" y="738401"/>
                  <a:pt x="4063056" y="739926"/>
                  <a:pt x="4063056" y="739926"/>
                </a:cubicBezTo>
                <a:cubicBezTo>
                  <a:pt x="4063056" y="739926"/>
                  <a:pt x="4063056" y="739926"/>
                  <a:pt x="4064429" y="740035"/>
                </a:cubicBezTo>
                <a:cubicBezTo>
                  <a:pt x="4063605" y="740689"/>
                  <a:pt x="4063056" y="740689"/>
                  <a:pt x="4062506" y="740471"/>
                </a:cubicBezTo>
                <a:cubicBezTo>
                  <a:pt x="4061956" y="740254"/>
                  <a:pt x="4061682" y="739926"/>
                  <a:pt x="4061682" y="739926"/>
                </a:cubicBezTo>
                <a:cubicBezTo>
                  <a:pt x="4060034" y="738401"/>
                  <a:pt x="4058661" y="736875"/>
                  <a:pt x="4060034" y="735458"/>
                </a:cubicBezTo>
                <a:close/>
                <a:moveTo>
                  <a:pt x="4217434" y="735241"/>
                </a:moveTo>
                <a:cubicBezTo>
                  <a:pt x="4222379" y="732298"/>
                  <a:pt x="4231993" y="739055"/>
                  <a:pt x="4232542" y="745266"/>
                </a:cubicBezTo>
                <a:cubicBezTo>
                  <a:pt x="4224850" y="739490"/>
                  <a:pt x="4218533" y="742869"/>
                  <a:pt x="4217434" y="735241"/>
                </a:cubicBezTo>
                <a:close/>
                <a:moveTo>
                  <a:pt x="1987461" y="734042"/>
                </a:moveTo>
                <a:cubicBezTo>
                  <a:pt x="1989933" y="732734"/>
                  <a:pt x="1992681" y="732625"/>
                  <a:pt x="1995702" y="734151"/>
                </a:cubicBezTo>
                <a:cubicBezTo>
                  <a:pt x="1997350" y="742978"/>
                  <a:pt x="2000646" y="753003"/>
                  <a:pt x="1991032" y="755509"/>
                </a:cubicBezTo>
                <a:cubicBezTo>
                  <a:pt x="1978396" y="750824"/>
                  <a:pt x="1980593" y="737747"/>
                  <a:pt x="1987461" y="734042"/>
                </a:cubicBezTo>
                <a:close/>
                <a:moveTo>
                  <a:pt x="2370111" y="733933"/>
                </a:moveTo>
                <a:cubicBezTo>
                  <a:pt x="2369287" y="736003"/>
                  <a:pt x="2374506" y="736221"/>
                  <a:pt x="2376978" y="737965"/>
                </a:cubicBezTo>
                <a:cubicBezTo>
                  <a:pt x="2378901" y="741779"/>
                  <a:pt x="2380275" y="744286"/>
                  <a:pt x="2379176" y="748317"/>
                </a:cubicBezTo>
                <a:cubicBezTo>
                  <a:pt x="2377253" y="754529"/>
                  <a:pt x="2369836" y="762484"/>
                  <a:pt x="2364068" y="761067"/>
                </a:cubicBezTo>
                <a:cubicBezTo>
                  <a:pt x="2360496" y="760740"/>
                  <a:pt x="2358025" y="759760"/>
                  <a:pt x="2356102" y="758452"/>
                </a:cubicBezTo>
                <a:lnTo>
                  <a:pt x="2354728" y="756817"/>
                </a:lnTo>
                <a:lnTo>
                  <a:pt x="2356377" y="761611"/>
                </a:lnTo>
                <a:cubicBezTo>
                  <a:pt x="2356102" y="763792"/>
                  <a:pt x="2355277" y="765753"/>
                  <a:pt x="2354453" y="767823"/>
                </a:cubicBezTo>
                <a:cubicBezTo>
                  <a:pt x="2352805" y="770439"/>
                  <a:pt x="2352805" y="771965"/>
                  <a:pt x="2353904" y="775124"/>
                </a:cubicBezTo>
                <a:cubicBezTo>
                  <a:pt x="2353904" y="775124"/>
                  <a:pt x="2354178" y="775124"/>
                  <a:pt x="2351157" y="777522"/>
                </a:cubicBezTo>
                <a:lnTo>
                  <a:pt x="2349783" y="777304"/>
                </a:lnTo>
                <a:cubicBezTo>
                  <a:pt x="2348959" y="776868"/>
                  <a:pt x="2348685" y="775669"/>
                  <a:pt x="2348685" y="774035"/>
                </a:cubicBezTo>
                <a:cubicBezTo>
                  <a:pt x="2348685" y="771638"/>
                  <a:pt x="2349234" y="768260"/>
                  <a:pt x="2349783" y="765535"/>
                </a:cubicBezTo>
                <a:lnTo>
                  <a:pt x="2350608" y="760631"/>
                </a:lnTo>
                <a:lnTo>
                  <a:pt x="2347861" y="769240"/>
                </a:lnTo>
                <a:cubicBezTo>
                  <a:pt x="2345938" y="773926"/>
                  <a:pt x="2343740" y="777740"/>
                  <a:pt x="2341543" y="778285"/>
                </a:cubicBezTo>
                <a:cubicBezTo>
                  <a:pt x="2340994" y="777086"/>
                  <a:pt x="2340170" y="775778"/>
                  <a:pt x="2340719" y="773708"/>
                </a:cubicBezTo>
                <a:cubicBezTo>
                  <a:pt x="2341543" y="771638"/>
                  <a:pt x="2342092" y="773054"/>
                  <a:pt x="2341543" y="771746"/>
                </a:cubicBezTo>
                <a:cubicBezTo>
                  <a:pt x="2342092" y="769676"/>
                  <a:pt x="2340719" y="770439"/>
                  <a:pt x="2340719" y="770439"/>
                </a:cubicBezTo>
                <a:cubicBezTo>
                  <a:pt x="2340719" y="770439"/>
                  <a:pt x="2342092" y="769676"/>
                  <a:pt x="2342092" y="769676"/>
                </a:cubicBezTo>
                <a:cubicBezTo>
                  <a:pt x="2342092" y="769676"/>
                  <a:pt x="2342092" y="769676"/>
                  <a:pt x="2343191" y="765644"/>
                </a:cubicBezTo>
                <a:cubicBezTo>
                  <a:pt x="2343740" y="760305"/>
                  <a:pt x="2343191" y="758997"/>
                  <a:pt x="2343191" y="755618"/>
                </a:cubicBezTo>
                <a:cubicBezTo>
                  <a:pt x="2344289" y="751586"/>
                  <a:pt x="2345664" y="750824"/>
                  <a:pt x="2348135" y="745920"/>
                </a:cubicBezTo>
                <a:cubicBezTo>
                  <a:pt x="2351157" y="745593"/>
                  <a:pt x="2351157" y="745702"/>
                  <a:pt x="2351981" y="746901"/>
                </a:cubicBezTo>
                <a:cubicBezTo>
                  <a:pt x="2351157" y="745702"/>
                  <a:pt x="2352531" y="744831"/>
                  <a:pt x="2353080" y="742759"/>
                </a:cubicBezTo>
                <a:cubicBezTo>
                  <a:pt x="2353629" y="734151"/>
                  <a:pt x="2361046" y="732734"/>
                  <a:pt x="2370111" y="733933"/>
                </a:cubicBezTo>
                <a:close/>
                <a:moveTo>
                  <a:pt x="1195241" y="733824"/>
                </a:moveTo>
                <a:cubicBezTo>
                  <a:pt x="1199087" y="734696"/>
                  <a:pt x="1202658" y="735676"/>
                  <a:pt x="1201559" y="739709"/>
                </a:cubicBezTo>
                <a:cubicBezTo>
                  <a:pt x="1201010" y="741779"/>
                  <a:pt x="1200461" y="743741"/>
                  <a:pt x="1197713" y="745266"/>
                </a:cubicBezTo>
                <a:cubicBezTo>
                  <a:pt x="1194143" y="744394"/>
                  <a:pt x="1193318" y="739818"/>
                  <a:pt x="1191396" y="739381"/>
                </a:cubicBezTo>
                <a:cubicBezTo>
                  <a:pt x="1192769" y="738619"/>
                  <a:pt x="1195241" y="737093"/>
                  <a:pt x="1195241" y="733824"/>
                </a:cubicBezTo>
                <a:close/>
                <a:moveTo>
                  <a:pt x="1804515" y="733170"/>
                </a:moveTo>
                <a:cubicBezTo>
                  <a:pt x="1817425" y="742650"/>
                  <a:pt x="1819073" y="769567"/>
                  <a:pt x="1804789" y="768695"/>
                </a:cubicBezTo>
                <a:cubicBezTo>
                  <a:pt x="1802592" y="768586"/>
                  <a:pt x="1800394" y="767823"/>
                  <a:pt x="1797647" y="766407"/>
                </a:cubicBezTo>
                <a:cubicBezTo>
                  <a:pt x="1795724" y="756054"/>
                  <a:pt x="1789132" y="738292"/>
                  <a:pt x="1804515" y="733170"/>
                </a:cubicBezTo>
                <a:close/>
                <a:moveTo>
                  <a:pt x="1199636" y="732625"/>
                </a:moveTo>
                <a:cubicBezTo>
                  <a:pt x="1202658" y="731644"/>
                  <a:pt x="1202658" y="731535"/>
                  <a:pt x="1205406" y="733497"/>
                </a:cubicBezTo>
                <a:cubicBezTo>
                  <a:pt x="1205131" y="734913"/>
                  <a:pt x="1206779" y="735241"/>
                  <a:pt x="1205131" y="736439"/>
                </a:cubicBezTo>
                <a:cubicBezTo>
                  <a:pt x="1209250" y="740035"/>
                  <a:pt x="1212822" y="754093"/>
                  <a:pt x="1210899" y="759760"/>
                </a:cubicBezTo>
                <a:cubicBezTo>
                  <a:pt x="1198537" y="747337"/>
                  <a:pt x="1206504" y="739709"/>
                  <a:pt x="1199636" y="732625"/>
                </a:cubicBezTo>
                <a:close/>
                <a:moveTo>
                  <a:pt x="2087450" y="731535"/>
                </a:moveTo>
                <a:cubicBezTo>
                  <a:pt x="2087450" y="731535"/>
                  <a:pt x="2087450" y="731535"/>
                  <a:pt x="2089372" y="732189"/>
                </a:cubicBezTo>
                <a:cubicBezTo>
                  <a:pt x="2085527" y="734042"/>
                  <a:pt x="2080308" y="736548"/>
                  <a:pt x="2077286" y="736548"/>
                </a:cubicBezTo>
                <a:cubicBezTo>
                  <a:pt x="2079209" y="733933"/>
                  <a:pt x="2083878" y="730228"/>
                  <a:pt x="2087450" y="731535"/>
                </a:cubicBezTo>
                <a:close/>
                <a:moveTo>
                  <a:pt x="1553993" y="731318"/>
                </a:moveTo>
                <a:cubicBezTo>
                  <a:pt x="1559212" y="731535"/>
                  <a:pt x="1558388" y="733606"/>
                  <a:pt x="1557289" y="737637"/>
                </a:cubicBezTo>
                <a:cubicBezTo>
                  <a:pt x="1555916" y="737747"/>
                  <a:pt x="1554542" y="737637"/>
                  <a:pt x="1553718" y="736875"/>
                </a:cubicBezTo>
                <a:cubicBezTo>
                  <a:pt x="1552895" y="736112"/>
                  <a:pt x="1552620" y="734696"/>
                  <a:pt x="1552895" y="732080"/>
                </a:cubicBezTo>
                <a:cubicBezTo>
                  <a:pt x="1552895" y="732080"/>
                  <a:pt x="1553993" y="731318"/>
                  <a:pt x="1553993" y="731318"/>
                </a:cubicBezTo>
                <a:close/>
                <a:moveTo>
                  <a:pt x="1781166" y="730445"/>
                </a:moveTo>
                <a:cubicBezTo>
                  <a:pt x="1783363" y="738510"/>
                  <a:pt x="1780616" y="743413"/>
                  <a:pt x="1774847" y="747990"/>
                </a:cubicBezTo>
                <a:cubicBezTo>
                  <a:pt x="1772375" y="746465"/>
                  <a:pt x="1770727" y="740363"/>
                  <a:pt x="1769628" y="736330"/>
                </a:cubicBezTo>
                <a:cubicBezTo>
                  <a:pt x="1771826" y="732625"/>
                  <a:pt x="1776221" y="730555"/>
                  <a:pt x="1781166" y="730445"/>
                </a:cubicBezTo>
                <a:close/>
                <a:moveTo>
                  <a:pt x="2010115" y="729948"/>
                </a:moveTo>
                <a:cubicBezTo>
                  <a:pt x="2014055" y="730357"/>
                  <a:pt x="2016373" y="738919"/>
                  <a:pt x="2010810" y="739818"/>
                </a:cubicBezTo>
                <a:cubicBezTo>
                  <a:pt x="2009712" y="738074"/>
                  <a:pt x="2006964" y="736003"/>
                  <a:pt x="2005866" y="732843"/>
                </a:cubicBezTo>
                <a:cubicBezTo>
                  <a:pt x="2007308" y="730582"/>
                  <a:pt x="2008802" y="729812"/>
                  <a:pt x="2010115" y="729948"/>
                </a:cubicBezTo>
                <a:close/>
                <a:moveTo>
                  <a:pt x="6136040" y="727844"/>
                </a:moveTo>
                <a:cubicBezTo>
                  <a:pt x="6142908" y="726523"/>
                  <a:pt x="6149638" y="726795"/>
                  <a:pt x="6155132" y="729356"/>
                </a:cubicBezTo>
                <a:cubicBezTo>
                  <a:pt x="6148539" y="745484"/>
                  <a:pt x="6139199" y="751478"/>
                  <a:pt x="6129310" y="754747"/>
                </a:cubicBezTo>
                <a:lnTo>
                  <a:pt x="6119970" y="757144"/>
                </a:lnTo>
                <a:lnTo>
                  <a:pt x="6120795" y="761503"/>
                </a:lnTo>
                <a:cubicBezTo>
                  <a:pt x="6120795" y="765317"/>
                  <a:pt x="6120795" y="769022"/>
                  <a:pt x="6120245" y="772183"/>
                </a:cubicBezTo>
                <a:lnTo>
                  <a:pt x="6113378" y="766298"/>
                </a:lnTo>
                <a:lnTo>
                  <a:pt x="6111730" y="767387"/>
                </a:lnTo>
                <a:cubicBezTo>
                  <a:pt x="6110631" y="767715"/>
                  <a:pt x="6109257" y="767823"/>
                  <a:pt x="6105961" y="768041"/>
                </a:cubicBezTo>
                <a:lnTo>
                  <a:pt x="6104313" y="762157"/>
                </a:lnTo>
                <a:lnTo>
                  <a:pt x="6100193" y="763683"/>
                </a:lnTo>
                <a:cubicBezTo>
                  <a:pt x="6097995" y="759106"/>
                  <a:pt x="6099094" y="753984"/>
                  <a:pt x="6102115" y="749080"/>
                </a:cubicBezTo>
                <a:lnTo>
                  <a:pt x="6106236" y="745048"/>
                </a:lnTo>
                <a:lnTo>
                  <a:pt x="6105412" y="736112"/>
                </a:lnTo>
                <a:lnTo>
                  <a:pt x="6112005" y="739818"/>
                </a:lnTo>
                <a:lnTo>
                  <a:pt x="6116125" y="735895"/>
                </a:lnTo>
                <a:cubicBezTo>
                  <a:pt x="6122168" y="732080"/>
                  <a:pt x="6129173" y="729165"/>
                  <a:pt x="6136040" y="727844"/>
                </a:cubicBezTo>
                <a:close/>
                <a:moveTo>
                  <a:pt x="2472847" y="727285"/>
                </a:moveTo>
                <a:cubicBezTo>
                  <a:pt x="2475593" y="728593"/>
                  <a:pt x="2476418" y="730228"/>
                  <a:pt x="2476418" y="732407"/>
                </a:cubicBezTo>
                <a:lnTo>
                  <a:pt x="2475868" y="734696"/>
                </a:lnTo>
                <a:lnTo>
                  <a:pt x="2480263" y="742869"/>
                </a:lnTo>
                <a:cubicBezTo>
                  <a:pt x="2482461" y="750061"/>
                  <a:pt x="2482461" y="758452"/>
                  <a:pt x="2481637" y="764882"/>
                </a:cubicBezTo>
                <a:lnTo>
                  <a:pt x="2474770" y="758997"/>
                </a:lnTo>
                <a:lnTo>
                  <a:pt x="2472847" y="760086"/>
                </a:lnTo>
                <a:lnTo>
                  <a:pt x="2472023" y="760195"/>
                </a:lnTo>
                <a:lnTo>
                  <a:pt x="2471748" y="760414"/>
                </a:lnTo>
                <a:cubicBezTo>
                  <a:pt x="2470924" y="760958"/>
                  <a:pt x="2469275" y="761830"/>
                  <a:pt x="2467353" y="762266"/>
                </a:cubicBezTo>
                <a:cubicBezTo>
                  <a:pt x="2465705" y="762702"/>
                  <a:pt x="2463782" y="762702"/>
                  <a:pt x="2463232" y="761939"/>
                </a:cubicBezTo>
                <a:cubicBezTo>
                  <a:pt x="2461859" y="760195"/>
                  <a:pt x="2461859" y="758779"/>
                  <a:pt x="2461859" y="757362"/>
                </a:cubicBezTo>
                <a:lnTo>
                  <a:pt x="2464881" y="752240"/>
                </a:lnTo>
                <a:lnTo>
                  <a:pt x="2463782" y="748209"/>
                </a:lnTo>
                <a:cubicBezTo>
                  <a:pt x="2465430" y="748426"/>
                  <a:pt x="2467078" y="748100"/>
                  <a:pt x="2468177" y="747664"/>
                </a:cubicBezTo>
                <a:lnTo>
                  <a:pt x="2468726" y="747555"/>
                </a:lnTo>
                <a:lnTo>
                  <a:pt x="2468726" y="747227"/>
                </a:lnTo>
                <a:lnTo>
                  <a:pt x="2464606" y="747664"/>
                </a:lnTo>
                <a:cubicBezTo>
                  <a:pt x="2463232" y="748426"/>
                  <a:pt x="2461584" y="749298"/>
                  <a:pt x="2459661" y="749516"/>
                </a:cubicBezTo>
                <a:cubicBezTo>
                  <a:pt x="2458562" y="749734"/>
                  <a:pt x="2457189" y="749734"/>
                  <a:pt x="2455816" y="748971"/>
                </a:cubicBezTo>
                <a:cubicBezTo>
                  <a:pt x="2454992" y="746138"/>
                  <a:pt x="2454717" y="744831"/>
                  <a:pt x="2455267" y="741452"/>
                </a:cubicBezTo>
                <a:cubicBezTo>
                  <a:pt x="2457464" y="737965"/>
                  <a:pt x="2459661" y="735458"/>
                  <a:pt x="2461584" y="733606"/>
                </a:cubicBezTo>
                <a:lnTo>
                  <a:pt x="2466804" y="729901"/>
                </a:lnTo>
                <a:lnTo>
                  <a:pt x="2466804" y="728702"/>
                </a:lnTo>
                <a:lnTo>
                  <a:pt x="2467902" y="729465"/>
                </a:lnTo>
                <a:close/>
                <a:moveTo>
                  <a:pt x="4163044" y="726087"/>
                </a:moveTo>
                <a:cubicBezTo>
                  <a:pt x="4170735" y="724235"/>
                  <a:pt x="4170735" y="732189"/>
                  <a:pt x="4167165" y="734478"/>
                </a:cubicBezTo>
                <a:cubicBezTo>
                  <a:pt x="4166066" y="735241"/>
                  <a:pt x="4164418" y="735458"/>
                  <a:pt x="4162770" y="734368"/>
                </a:cubicBezTo>
                <a:cubicBezTo>
                  <a:pt x="4162770" y="732298"/>
                  <a:pt x="4161946" y="728920"/>
                  <a:pt x="4163044" y="726087"/>
                </a:cubicBezTo>
                <a:close/>
                <a:moveTo>
                  <a:pt x="2117186" y="725760"/>
                </a:moveTo>
                <a:cubicBezTo>
                  <a:pt x="2119452" y="725924"/>
                  <a:pt x="2121375" y="727122"/>
                  <a:pt x="2123161" y="729029"/>
                </a:cubicBezTo>
                <a:cubicBezTo>
                  <a:pt x="2122611" y="733933"/>
                  <a:pt x="2119315" y="736548"/>
                  <a:pt x="2116293" y="736548"/>
                </a:cubicBezTo>
                <a:cubicBezTo>
                  <a:pt x="2112997" y="736548"/>
                  <a:pt x="2109975" y="733933"/>
                  <a:pt x="2109151" y="728702"/>
                </a:cubicBezTo>
                <a:cubicBezTo>
                  <a:pt x="2112310" y="726468"/>
                  <a:pt x="2114920" y="725597"/>
                  <a:pt x="2117186" y="725760"/>
                </a:cubicBezTo>
                <a:close/>
                <a:moveTo>
                  <a:pt x="4388844" y="725542"/>
                </a:moveTo>
                <a:cubicBezTo>
                  <a:pt x="4388844" y="725542"/>
                  <a:pt x="4392140" y="725215"/>
                  <a:pt x="4392689" y="731644"/>
                </a:cubicBezTo>
                <a:cubicBezTo>
                  <a:pt x="4394613" y="747664"/>
                  <a:pt x="4380603" y="742542"/>
                  <a:pt x="4375383" y="755946"/>
                </a:cubicBezTo>
                <a:cubicBezTo>
                  <a:pt x="4375109" y="752785"/>
                  <a:pt x="4376207" y="747664"/>
                  <a:pt x="4378406" y="742215"/>
                </a:cubicBezTo>
                <a:lnTo>
                  <a:pt x="4380328" y="739273"/>
                </a:lnTo>
                <a:lnTo>
                  <a:pt x="4380877" y="734260"/>
                </a:lnTo>
                <a:lnTo>
                  <a:pt x="4383899" y="733606"/>
                </a:lnTo>
                <a:close/>
                <a:moveTo>
                  <a:pt x="4451199" y="724670"/>
                </a:moveTo>
                <a:cubicBezTo>
                  <a:pt x="4455595" y="725324"/>
                  <a:pt x="4458891" y="729029"/>
                  <a:pt x="4458616" y="736657"/>
                </a:cubicBezTo>
                <a:cubicBezTo>
                  <a:pt x="4455869" y="740908"/>
                  <a:pt x="4451749" y="743304"/>
                  <a:pt x="4448178" y="743741"/>
                </a:cubicBezTo>
                <a:cubicBezTo>
                  <a:pt x="4444332" y="744177"/>
                  <a:pt x="4441035" y="742869"/>
                  <a:pt x="4439113" y="739818"/>
                </a:cubicBezTo>
                <a:cubicBezTo>
                  <a:pt x="4438014" y="737747"/>
                  <a:pt x="4437740" y="735023"/>
                  <a:pt x="4438289" y="731535"/>
                </a:cubicBezTo>
                <a:cubicBezTo>
                  <a:pt x="4441859" y="726414"/>
                  <a:pt x="4446804" y="723907"/>
                  <a:pt x="4451199" y="724670"/>
                </a:cubicBezTo>
                <a:close/>
                <a:moveTo>
                  <a:pt x="4154529" y="724452"/>
                </a:moveTo>
                <a:cubicBezTo>
                  <a:pt x="4152881" y="727176"/>
                  <a:pt x="4146013" y="736439"/>
                  <a:pt x="4142991" y="736766"/>
                </a:cubicBezTo>
                <a:cubicBezTo>
                  <a:pt x="4145464" y="731862"/>
                  <a:pt x="4152606" y="723907"/>
                  <a:pt x="4154529" y="724452"/>
                </a:cubicBezTo>
                <a:close/>
                <a:moveTo>
                  <a:pt x="4053716" y="724452"/>
                </a:moveTo>
                <a:cubicBezTo>
                  <a:pt x="4056462" y="726087"/>
                  <a:pt x="4060858" y="732407"/>
                  <a:pt x="4059759" y="735458"/>
                </a:cubicBezTo>
                <a:cubicBezTo>
                  <a:pt x="4056737" y="733824"/>
                  <a:pt x="4055364" y="732080"/>
                  <a:pt x="4053991" y="730555"/>
                </a:cubicBezTo>
                <a:cubicBezTo>
                  <a:pt x="4050968" y="728920"/>
                  <a:pt x="4050968" y="727285"/>
                  <a:pt x="4053716" y="724452"/>
                </a:cubicBezTo>
                <a:close/>
                <a:moveTo>
                  <a:pt x="3003558" y="723581"/>
                </a:moveTo>
                <a:cubicBezTo>
                  <a:pt x="3010425" y="721510"/>
                  <a:pt x="3020863" y="728811"/>
                  <a:pt x="3015095" y="737856"/>
                </a:cubicBezTo>
                <a:cubicBezTo>
                  <a:pt x="3013171" y="739164"/>
                  <a:pt x="3011249" y="740471"/>
                  <a:pt x="3008777" y="741125"/>
                </a:cubicBezTo>
                <a:cubicBezTo>
                  <a:pt x="3006579" y="741779"/>
                  <a:pt x="3004107" y="741888"/>
                  <a:pt x="3000810" y="740580"/>
                </a:cubicBezTo>
                <a:cubicBezTo>
                  <a:pt x="2998338" y="735350"/>
                  <a:pt x="2999162" y="730773"/>
                  <a:pt x="3003558" y="723581"/>
                </a:cubicBezTo>
                <a:close/>
                <a:moveTo>
                  <a:pt x="2121512" y="722382"/>
                </a:moveTo>
                <a:cubicBezTo>
                  <a:pt x="2114370" y="724452"/>
                  <a:pt x="2105579" y="730337"/>
                  <a:pt x="2098987" y="729138"/>
                </a:cubicBezTo>
                <a:cubicBezTo>
                  <a:pt x="2101460" y="727830"/>
                  <a:pt x="2116567" y="721837"/>
                  <a:pt x="2121512" y="722382"/>
                </a:cubicBezTo>
                <a:close/>
                <a:moveTo>
                  <a:pt x="2122611" y="720747"/>
                </a:moveTo>
                <a:cubicBezTo>
                  <a:pt x="2124534" y="721292"/>
                  <a:pt x="2123985" y="719984"/>
                  <a:pt x="2124809" y="722382"/>
                </a:cubicBezTo>
                <a:cubicBezTo>
                  <a:pt x="2122886" y="721946"/>
                  <a:pt x="2123161" y="721946"/>
                  <a:pt x="2121512" y="722599"/>
                </a:cubicBezTo>
                <a:cubicBezTo>
                  <a:pt x="2121512" y="722599"/>
                  <a:pt x="2122611" y="720747"/>
                  <a:pt x="2122611" y="720747"/>
                </a:cubicBezTo>
                <a:close/>
                <a:moveTo>
                  <a:pt x="6368844" y="719984"/>
                </a:moveTo>
                <a:cubicBezTo>
                  <a:pt x="6382030" y="728266"/>
                  <a:pt x="6375437" y="744612"/>
                  <a:pt x="6365548" y="743958"/>
                </a:cubicBezTo>
                <a:cubicBezTo>
                  <a:pt x="6362251" y="743741"/>
                  <a:pt x="6358680" y="741670"/>
                  <a:pt x="6355110" y="736766"/>
                </a:cubicBezTo>
                <a:cubicBezTo>
                  <a:pt x="6361977" y="729792"/>
                  <a:pt x="6360329" y="722599"/>
                  <a:pt x="6368844" y="719984"/>
                </a:cubicBezTo>
                <a:close/>
                <a:moveTo>
                  <a:pt x="4299018" y="719984"/>
                </a:moveTo>
                <a:cubicBezTo>
                  <a:pt x="4308358" y="716279"/>
                  <a:pt x="4327312" y="720203"/>
                  <a:pt x="4326488" y="734587"/>
                </a:cubicBezTo>
                <a:cubicBezTo>
                  <a:pt x="4317698" y="730119"/>
                  <a:pt x="4306710" y="727395"/>
                  <a:pt x="4299018" y="719984"/>
                </a:cubicBezTo>
                <a:close/>
                <a:moveTo>
                  <a:pt x="2042675" y="719767"/>
                </a:moveTo>
                <a:cubicBezTo>
                  <a:pt x="2050366" y="720857"/>
                  <a:pt x="2045971" y="730445"/>
                  <a:pt x="2041302" y="732080"/>
                </a:cubicBezTo>
                <a:cubicBezTo>
                  <a:pt x="2040477" y="732298"/>
                  <a:pt x="2039927" y="732407"/>
                  <a:pt x="2039103" y="732189"/>
                </a:cubicBezTo>
                <a:cubicBezTo>
                  <a:pt x="2038554" y="731862"/>
                  <a:pt x="2037730" y="731318"/>
                  <a:pt x="2037181" y="730337"/>
                </a:cubicBezTo>
                <a:cubicBezTo>
                  <a:pt x="2038005" y="727067"/>
                  <a:pt x="2040202" y="723472"/>
                  <a:pt x="2042675" y="719767"/>
                </a:cubicBezTo>
                <a:close/>
                <a:moveTo>
                  <a:pt x="2804953" y="719549"/>
                </a:moveTo>
                <a:cubicBezTo>
                  <a:pt x="2814842" y="725542"/>
                  <a:pt x="2826379" y="731099"/>
                  <a:pt x="2823907" y="740798"/>
                </a:cubicBezTo>
                <a:cubicBezTo>
                  <a:pt x="2821709" y="741779"/>
                  <a:pt x="2819787" y="741888"/>
                  <a:pt x="2817588" y="741452"/>
                </a:cubicBezTo>
                <a:lnTo>
                  <a:pt x="2813743" y="739709"/>
                </a:lnTo>
                <a:lnTo>
                  <a:pt x="2812644" y="740798"/>
                </a:lnTo>
                <a:cubicBezTo>
                  <a:pt x="2809897" y="738728"/>
                  <a:pt x="2807426" y="736548"/>
                  <a:pt x="2806326" y="733388"/>
                </a:cubicBezTo>
                <a:lnTo>
                  <a:pt x="2802481" y="729247"/>
                </a:lnTo>
                <a:cubicBezTo>
                  <a:pt x="2804678" y="725542"/>
                  <a:pt x="2802756" y="723253"/>
                  <a:pt x="2804953" y="719549"/>
                </a:cubicBezTo>
                <a:close/>
                <a:moveTo>
                  <a:pt x="4047123" y="719439"/>
                </a:moveTo>
                <a:cubicBezTo>
                  <a:pt x="4045749" y="719984"/>
                  <a:pt x="4045475" y="719984"/>
                  <a:pt x="4045475" y="719984"/>
                </a:cubicBezTo>
                <a:cubicBezTo>
                  <a:pt x="4044651" y="721946"/>
                  <a:pt x="4046024" y="721401"/>
                  <a:pt x="4046299" y="722708"/>
                </a:cubicBezTo>
                <a:cubicBezTo>
                  <a:pt x="4046299" y="722708"/>
                  <a:pt x="4046024" y="721401"/>
                  <a:pt x="4047673" y="722273"/>
                </a:cubicBezTo>
                <a:cubicBezTo>
                  <a:pt x="4046299" y="722818"/>
                  <a:pt x="4046574" y="724235"/>
                  <a:pt x="4047123" y="725651"/>
                </a:cubicBezTo>
                <a:cubicBezTo>
                  <a:pt x="4044925" y="729465"/>
                  <a:pt x="4041630" y="733715"/>
                  <a:pt x="4038333" y="733388"/>
                </a:cubicBezTo>
                <a:cubicBezTo>
                  <a:pt x="4036685" y="732517"/>
                  <a:pt x="4035861" y="731209"/>
                  <a:pt x="4035861" y="729901"/>
                </a:cubicBezTo>
                <a:cubicBezTo>
                  <a:pt x="4035586" y="728593"/>
                  <a:pt x="4036136" y="727285"/>
                  <a:pt x="4036410" y="726414"/>
                </a:cubicBezTo>
                <a:cubicBezTo>
                  <a:pt x="4036685" y="724016"/>
                  <a:pt x="4038058" y="722382"/>
                  <a:pt x="4040255" y="721183"/>
                </a:cubicBezTo>
                <a:cubicBezTo>
                  <a:pt x="4042179" y="720093"/>
                  <a:pt x="4044651" y="719549"/>
                  <a:pt x="4047123" y="719439"/>
                </a:cubicBezTo>
                <a:close/>
                <a:moveTo>
                  <a:pt x="1931423" y="719330"/>
                </a:moveTo>
                <a:cubicBezTo>
                  <a:pt x="1930874" y="722599"/>
                  <a:pt x="1929775" y="724561"/>
                  <a:pt x="1927028" y="725651"/>
                </a:cubicBezTo>
                <a:cubicBezTo>
                  <a:pt x="1928127" y="723689"/>
                  <a:pt x="1928402" y="719004"/>
                  <a:pt x="1931423" y="719330"/>
                </a:cubicBezTo>
                <a:close/>
                <a:moveTo>
                  <a:pt x="1305394" y="718240"/>
                </a:moveTo>
                <a:cubicBezTo>
                  <a:pt x="1305394" y="718240"/>
                  <a:pt x="1305394" y="718350"/>
                  <a:pt x="1305943" y="719549"/>
                </a:cubicBezTo>
                <a:lnTo>
                  <a:pt x="1305669" y="720857"/>
                </a:lnTo>
                <a:lnTo>
                  <a:pt x="1306767" y="719875"/>
                </a:lnTo>
                <a:close/>
                <a:moveTo>
                  <a:pt x="2131126" y="717805"/>
                </a:moveTo>
                <a:cubicBezTo>
                  <a:pt x="2131126" y="717805"/>
                  <a:pt x="2131676" y="719004"/>
                  <a:pt x="2131676" y="719004"/>
                </a:cubicBezTo>
                <a:cubicBezTo>
                  <a:pt x="2130852" y="719439"/>
                  <a:pt x="2130302" y="719767"/>
                  <a:pt x="2129478" y="719875"/>
                </a:cubicBezTo>
                <a:cubicBezTo>
                  <a:pt x="2128929" y="719984"/>
                  <a:pt x="2128380" y="719984"/>
                  <a:pt x="2128380" y="719330"/>
                </a:cubicBezTo>
                <a:cubicBezTo>
                  <a:pt x="2127830" y="718131"/>
                  <a:pt x="2129204" y="717369"/>
                  <a:pt x="2131126" y="717805"/>
                </a:cubicBezTo>
                <a:close/>
                <a:moveTo>
                  <a:pt x="3035147" y="717478"/>
                </a:moveTo>
                <a:cubicBezTo>
                  <a:pt x="3032950" y="720203"/>
                  <a:pt x="3025259" y="728702"/>
                  <a:pt x="3022236" y="728702"/>
                </a:cubicBezTo>
                <a:cubicBezTo>
                  <a:pt x="3024984" y="724016"/>
                  <a:pt x="3033224" y="716824"/>
                  <a:pt x="3035147" y="717478"/>
                </a:cubicBezTo>
                <a:close/>
                <a:moveTo>
                  <a:pt x="4447353" y="716933"/>
                </a:moveTo>
                <a:cubicBezTo>
                  <a:pt x="4450375" y="717260"/>
                  <a:pt x="4448178" y="720965"/>
                  <a:pt x="4447353" y="722708"/>
                </a:cubicBezTo>
                <a:cubicBezTo>
                  <a:pt x="4446804" y="720747"/>
                  <a:pt x="4446255" y="719549"/>
                  <a:pt x="4445705" y="718785"/>
                </a:cubicBezTo>
                <a:cubicBezTo>
                  <a:pt x="4445431" y="718023"/>
                  <a:pt x="4445156" y="717805"/>
                  <a:pt x="4445980" y="717478"/>
                </a:cubicBezTo>
                <a:cubicBezTo>
                  <a:pt x="4445431" y="716170"/>
                  <a:pt x="4446804" y="715626"/>
                  <a:pt x="4447353" y="716933"/>
                </a:cubicBezTo>
                <a:close/>
                <a:moveTo>
                  <a:pt x="1974825" y="716715"/>
                </a:moveTo>
                <a:lnTo>
                  <a:pt x="1975649" y="717587"/>
                </a:lnTo>
                <a:cubicBezTo>
                  <a:pt x="1974825" y="717914"/>
                  <a:pt x="1974550" y="718023"/>
                  <a:pt x="1974550" y="717805"/>
                </a:cubicBezTo>
                <a:close/>
                <a:moveTo>
                  <a:pt x="1621842" y="716715"/>
                </a:moveTo>
                <a:lnTo>
                  <a:pt x="1626237" y="719984"/>
                </a:lnTo>
                <a:lnTo>
                  <a:pt x="1628435" y="724670"/>
                </a:lnTo>
                <a:cubicBezTo>
                  <a:pt x="1628985" y="726850"/>
                  <a:pt x="1628160" y="729138"/>
                  <a:pt x="1626237" y="731209"/>
                </a:cubicBezTo>
                <a:lnTo>
                  <a:pt x="1624589" y="731099"/>
                </a:lnTo>
                <a:lnTo>
                  <a:pt x="1624589" y="735458"/>
                </a:lnTo>
                <a:cubicBezTo>
                  <a:pt x="1624315" y="739709"/>
                  <a:pt x="1623766" y="743632"/>
                  <a:pt x="1621842" y="746465"/>
                </a:cubicBezTo>
                <a:cubicBezTo>
                  <a:pt x="1621842" y="745048"/>
                  <a:pt x="1621842" y="740254"/>
                  <a:pt x="1622392" y="735350"/>
                </a:cubicBezTo>
                <a:lnTo>
                  <a:pt x="1622941" y="731099"/>
                </a:lnTo>
                <a:lnTo>
                  <a:pt x="1621018" y="730990"/>
                </a:lnTo>
                <a:cubicBezTo>
                  <a:pt x="1616897" y="729029"/>
                  <a:pt x="1615799" y="722708"/>
                  <a:pt x="1611404" y="717696"/>
                </a:cubicBezTo>
                <a:cubicBezTo>
                  <a:pt x="1614426" y="715190"/>
                  <a:pt x="1618546" y="715190"/>
                  <a:pt x="1621842" y="716715"/>
                </a:cubicBezTo>
                <a:close/>
                <a:moveTo>
                  <a:pt x="1550696" y="715190"/>
                </a:moveTo>
                <a:cubicBezTo>
                  <a:pt x="1552620" y="715735"/>
                  <a:pt x="1552070" y="721183"/>
                  <a:pt x="1552895" y="722382"/>
                </a:cubicBezTo>
                <a:cubicBezTo>
                  <a:pt x="1551520" y="723253"/>
                  <a:pt x="1549598" y="722708"/>
                  <a:pt x="1548225" y="723581"/>
                </a:cubicBezTo>
                <a:cubicBezTo>
                  <a:pt x="1547675" y="722273"/>
                  <a:pt x="1546301" y="719658"/>
                  <a:pt x="1546851" y="717587"/>
                </a:cubicBezTo>
                <a:cubicBezTo>
                  <a:pt x="1546301" y="716389"/>
                  <a:pt x="1550696" y="715190"/>
                  <a:pt x="1550696" y="715190"/>
                </a:cubicBezTo>
                <a:close/>
                <a:moveTo>
                  <a:pt x="2137444" y="714862"/>
                </a:moveTo>
                <a:cubicBezTo>
                  <a:pt x="2139368" y="715516"/>
                  <a:pt x="2139368" y="715516"/>
                  <a:pt x="2140466" y="718131"/>
                </a:cubicBezTo>
                <a:cubicBezTo>
                  <a:pt x="2138268" y="718459"/>
                  <a:pt x="2137169" y="718676"/>
                  <a:pt x="2136071" y="718568"/>
                </a:cubicBezTo>
                <a:cubicBezTo>
                  <a:pt x="2134972" y="718568"/>
                  <a:pt x="2134148" y="718131"/>
                  <a:pt x="2132225" y="717478"/>
                </a:cubicBezTo>
                <a:cubicBezTo>
                  <a:pt x="2133599" y="716824"/>
                  <a:pt x="2135796" y="714208"/>
                  <a:pt x="2137444" y="714862"/>
                </a:cubicBezTo>
                <a:close/>
                <a:moveTo>
                  <a:pt x="2912118" y="713718"/>
                </a:moveTo>
                <a:cubicBezTo>
                  <a:pt x="2914144" y="713609"/>
                  <a:pt x="2916204" y="714808"/>
                  <a:pt x="2918127" y="717478"/>
                </a:cubicBezTo>
                <a:cubicBezTo>
                  <a:pt x="2914831" y="719767"/>
                  <a:pt x="2915929" y="723036"/>
                  <a:pt x="2912633" y="725324"/>
                </a:cubicBezTo>
                <a:cubicBezTo>
                  <a:pt x="2910161" y="721728"/>
                  <a:pt x="2907689" y="719658"/>
                  <a:pt x="2906316" y="717805"/>
                </a:cubicBezTo>
                <a:cubicBezTo>
                  <a:pt x="2908101" y="715244"/>
                  <a:pt x="2910092" y="713827"/>
                  <a:pt x="2912118" y="713718"/>
                </a:cubicBezTo>
                <a:close/>
                <a:moveTo>
                  <a:pt x="2490427" y="713337"/>
                </a:moveTo>
                <a:cubicBezTo>
                  <a:pt x="2490702" y="714754"/>
                  <a:pt x="2492350" y="715626"/>
                  <a:pt x="2492900" y="717042"/>
                </a:cubicBezTo>
                <a:cubicBezTo>
                  <a:pt x="2491801" y="719004"/>
                  <a:pt x="2490152" y="719767"/>
                  <a:pt x="2488505" y="719658"/>
                </a:cubicBezTo>
                <a:cubicBezTo>
                  <a:pt x="2486857" y="719658"/>
                  <a:pt x="2485757" y="719004"/>
                  <a:pt x="2485483" y="718240"/>
                </a:cubicBezTo>
                <a:cubicBezTo>
                  <a:pt x="2486581" y="716389"/>
                  <a:pt x="2489328" y="715299"/>
                  <a:pt x="2490427" y="713337"/>
                </a:cubicBezTo>
                <a:close/>
                <a:moveTo>
                  <a:pt x="1216942" y="712901"/>
                </a:moveTo>
                <a:cubicBezTo>
                  <a:pt x="1218865" y="713119"/>
                  <a:pt x="1220788" y="714318"/>
                  <a:pt x="1221887" y="716933"/>
                </a:cubicBezTo>
                <a:cubicBezTo>
                  <a:pt x="1219963" y="726305"/>
                  <a:pt x="1211723" y="723907"/>
                  <a:pt x="1203207" y="728157"/>
                </a:cubicBezTo>
                <a:cubicBezTo>
                  <a:pt x="1201284" y="720747"/>
                  <a:pt x="1210350" y="712247"/>
                  <a:pt x="1216942" y="712901"/>
                </a:cubicBezTo>
                <a:close/>
                <a:moveTo>
                  <a:pt x="2730236" y="712574"/>
                </a:moveTo>
                <a:cubicBezTo>
                  <a:pt x="2743421" y="720857"/>
                  <a:pt x="2736828" y="737093"/>
                  <a:pt x="2726940" y="736548"/>
                </a:cubicBezTo>
                <a:cubicBezTo>
                  <a:pt x="2723643" y="736330"/>
                  <a:pt x="2720072" y="734260"/>
                  <a:pt x="2716501" y="729465"/>
                </a:cubicBezTo>
                <a:cubicBezTo>
                  <a:pt x="2723368" y="722491"/>
                  <a:pt x="2721721" y="715081"/>
                  <a:pt x="2730236" y="712574"/>
                </a:cubicBezTo>
                <a:close/>
                <a:moveTo>
                  <a:pt x="1624864" y="712465"/>
                </a:moveTo>
                <a:cubicBezTo>
                  <a:pt x="1624864" y="712465"/>
                  <a:pt x="1625962" y="712465"/>
                  <a:pt x="1625962" y="712465"/>
                </a:cubicBezTo>
                <a:cubicBezTo>
                  <a:pt x="1626237" y="714100"/>
                  <a:pt x="1626237" y="715735"/>
                  <a:pt x="1624864" y="715626"/>
                </a:cubicBezTo>
                <a:cubicBezTo>
                  <a:pt x="1623491" y="715626"/>
                  <a:pt x="1623491" y="713991"/>
                  <a:pt x="1624864" y="712465"/>
                </a:cubicBezTo>
                <a:close/>
                <a:moveTo>
                  <a:pt x="1802042" y="712138"/>
                </a:moveTo>
                <a:cubicBezTo>
                  <a:pt x="1805064" y="711376"/>
                  <a:pt x="1809185" y="712356"/>
                  <a:pt x="1813855" y="716389"/>
                </a:cubicBezTo>
                <a:cubicBezTo>
                  <a:pt x="1814129" y="723798"/>
                  <a:pt x="1811107" y="726522"/>
                  <a:pt x="1809733" y="731535"/>
                </a:cubicBezTo>
                <a:cubicBezTo>
                  <a:pt x="1795175" y="732298"/>
                  <a:pt x="1792703" y="722273"/>
                  <a:pt x="1796273" y="716279"/>
                </a:cubicBezTo>
                <a:cubicBezTo>
                  <a:pt x="1797647" y="714318"/>
                  <a:pt x="1799570" y="712683"/>
                  <a:pt x="1802042" y="712138"/>
                </a:cubicBezTo>
                <a:close/>
                <a:moveTo>
                  <a:pt x="2519545" y="712029"/>
                </a:moveTo>
                <a:cubicBezTo>
                  <a:pt x="2518995" y="718676"/>
                  <a:pt x="2519270" y="723253"/>
                  <a:pt x="2518720" y="729901"/>
                </a:cubicBezTo>
                <a:cubicBezTo>
                  <a:pt x="2517897" y="731862"/>
                  <a:pt x="2513501" y="737093"/>
                  <a:pt x="2511853" y="736439"/>
                </a:cubicBezTo>
                <a:cubicBezTo>
                  <a:pt x="2509931" y="735786"/>
                  <a:pt x="2509382" y="734478"/>
                  <a:pt x="2508832" y="733170"/>
                </a:cubicBezTo>
                <a:cubicBezTo>
                  <a:pt x="2509107" y="729901"/>
                  <a:pt x="2509656" y="726522"/>
                  <a:pt x="2509931" y="723253"/>
                </a:cubicBezTo>
                <a:cubicBezTo>
                  <a:pt x="2512128" y="717260"/>
                  <a:pt x="2514601" y="711376"/>
                  <a:pt x="2519545" y="712029"/>
                </a:cubicBezTo>
                <a:close/>
                <a:moveTo>
                  <a:pt x="1990208" y="711812"/>
                </a:moveTo>
                <a:cubicBezTo>
                  <a:pt x="1990757" y="713119"/>
                  <a:pt x="1991306" y="714427"/>
                  <a:pt x="1990208" y="714972"/>
                </a:cubicBezTo>
                <a:cubicBezTo>
                  <a:pt x="1990482" y="716279"/>
                  <a:pt x="1990757" y="716389"/>
                  <a:pt x="1989384" y="716933"/>
                </a:cubicBezTo>
                <a:cubicBezTo>
                  <a:pt x="1988835" y="715626"/>
                  <a:pt x="1988285" y="714318"/>
                  <a:pt x="1988011" y="713010"/>
                </a:cubicBezTo>
                <a:cubicBezTo>
                  <a:pt x="1988560" y="711157"/>
                  <a:pt x="1988560" y="711157"/>
                  <a:pt x="1990208" y="711812"/>
                </a:cubicBezTo>
                <a:close/>
                <a:moveTo>
                  <a:pt x="1755619" y="710722"/>
                </a:moveTo>
                <a:cubicBezTo>
                  <a:pt x="1769353" y="727285"/>
                  <a:pt x="1772101" y="750279"/>
                  <a:pt x="1759190" y="759215"/>
                </a:cubicBezTo>
                <a:cubicBezTo>
                  <a:pt x="1756992" y="760305"/>
                  <a:pt x="1755070" y="760958"/>
                  <a:pt x="1752871" y="761285"/>
                </a:cubicBezTo>
                <a:cubicBezTo>
                  <a:pt x="1742158" y="762702"/>
                  <a:pt x="1733918" y="753112"/>
                  <a:pt x="1731445" y="741997"/>
                </a:cubicBezTo>
                <a:lnTo>
                  <a:pt x="1731170" y="738836"/>
                </a:lnTo>
                <a:lnTo>
                  <a:pt x="1728974" y="736766"/>
                </a:lnTo>
                <a:cubicBezTo>
                  <a:pt x="1728149" y="735458"/>
                  <a:pt x="1727600" y="734042"/>
                  <a:pt x="1727874" y="731644"/>
                </a:cubicBezTo>
                <a:lnTo>
                  <a:pt x="1730896" y="734260"/>
                </a:lnTo>
                <a:lnTo>
                  <a:pt x="1730896" y="730773"/>
                </a:lnTo>
                <a:cubicBezTo>
                  <a:pt x="1732270" y="720529"/>
                  <a:pt x="1739687" y="711484"/>
                  <a:pt x="1755619" y="710722"/>
                </a:cubicBezTo>
                <a:close/>
                <a:moveTo>
                  <a:pt x="4103436" y="710286"/>
                </a:moveTo>
                <a:cubicBezTo>
                  <a:pt x="4110303" y="710504"/>
                  <a:pt x="4119093" y="721401"/>
                  <a:pt x="4116896" y="726850"/>
                </a:cubicBezTo>
                <a:cubicBezTo>
                  <a:pt x="4110577" y="733715"/>
                  <a:pt x="4104534" y="734913"/>
                  <a:pt x="4100414" y="732952"/>
                </a:cubicBezTo>
                <a:lnTo>
                  <a:pt x="4099040" y="731427"/>
                </a:lnTo>
                <a:lnTo>
                  <a:pt x="4097667" y="732407"/>
                </a:lnTo>
                <a:cubicBezTo>
                  <a:pt x="4094645" y="733388"/>
                  <a:pt x="4090525" y="733279"/>
                  <a:pt x="4086954" y="734260"/>
                </a:cubicBezTo>
                <a:cubicBezTo>
                  <a:pt x="4086679" y="729465"/>
                  <a:pt x="4088052" y="726632"/>
                  <a:pt x="4090525" y="725106"/>
                </a:cubicBezTo>
                <a:lnTo>
                  <a:pt x="4095470" y="724670"/>
                </a:lnTo>
                <a:lnTo>
                  <a:pt x="4095195" y="720529"/>
                </a:lnTo>
                <a:cubicBezTo>
                  <a:pt x="4096019" y="717042"/>
                  <a:pt x="4098766" y="713337"/>
                  <a:pt x="4103436" y="710286"/>
                </a:cubicBezTo>
                <a:close/>
                <a:moveTo>
                  <a:pt x="1634204" y="709523"/>
                </a:moveTo>
                <a:cubicBezTo>
                  <a:pt x="1634204" y="709523"/>
                  <a:pt x="1634204" y="709523"/>
                  <a:pt x="1633105" y="720420"/>
                </a:cubicBezTo>
                <a:cubicBezTo>
                  <a:pt x="1632280" y="720203"/>
                  <a:pt x="1631731" y="719549"/>
                  <a:pt x="1631731" y="718676"/>
                </a:cubicBezTo>
                <a:cubicBezTo>
                  <a:pt x="1631731" y="717914"/>
                  <a:pt x="1632006" y="716824"/>
                  <a:pt x="1632280" y="715735"/>
                </a:cubicBezTo>
                <a:cubicBezTo>
                  <a:pt x="1633105" y="713664"/>
                  <a:pt x="1633654" y="711593"/>
                  <a:pt x="1634204" y="709523"/>
                </a:cubicBezTo>
                <a:close/>
                <a:moveTo>
                  <a:pt x="1427015" y="709441"/>
                </a:moveTo>
                <a:cubicBezTo>
                  <a:pt x="1429213" y="708515"/>
                  <a:pt x="1431342" y="708488"/>
                  <a:pt x="1433402" y="710286"/>
                </a:cubicBezTo>
                <a:cubicBezTo>
                  <a:pt x="1430105" y="715626"/>
                  <a:pt x="1428457" y="719767"/>
                  <a:pt x="1425435" y="725215"/>
                </a:cubicBezTo>
                <a:cubicBezTo>
                  <a:pt x="1424612" y="725760"/>
                  <a:pt x="1422689" y="726632"/>
                  <a:pt x="1420765" y="727067"/>
                </a:cubicBezTo>
                <a:cubicBezTo>
                  <a:pt x="1419117" y="727504"/>
                  <a:pt x="1417195" y="727504"/>
                  <a:pt x="1416645" y="726741"/>
                </a:cubicBezTo>
                <a:cubicBezTo>
                  <a:pt x="1415272" y="724997"/>
                  <a:pt x="1415272" y="723581"/>
                  <a:pt x="1415546" y="722055"/>
                </a:cubicBezTo>
                <a:cubicBezTo>
                  <a:pt x="1417195" y="719439"/>
                  <a:pt x="1418568" y="716715"/>
                  <a:pt x="1420216" y="713991"/>
                </a:cubicBezTo>
                <a:cubicBezTo>
                  <a:pt x="1422551" y="712193"/>
                  <a:pt x="1424818" y="710367"/>
                  <a:pt x="1427015" y="709441"/>
                </a:cubicBezTo>
                <a:close/>
                <a:moveTo>
                  <a:pt x="1972353" y="709414"/>
                </a:moveTo>
                <a:cubicBezTo>
                  <a:pt x="1973451" y="708760"/>
                  <a:pt x="1973451" y="708760"/>
                  <a:pt x="1975374" y="709523"/>
                </a:cubicBezTo>
                <a:cubicBezTo>
                  <a:pt x="1976474" y="708869"/>
                  <a:pt x="1976199" y="715626"/>
                  <a:pt x="1976748" y="716933"/>
                </a:cubicBezTo>
                <a:cubicBezTo>
                  <a:pt x="1975374" y="717587"/>
                  <a:pt x="1975649" y="717587"/>
                  <a:pt x="1975099" y="716170"/>
                </a:cubicBezTo>
                <a:lnTo>
                  <a:pt x="1974825" y="716715"/>
                </a:lnTo>
                <a:lnTo>
                  <a:pt x="1972628" y="714208"/>
                </a:lnTo>
                <a:cubicBezTo>
                  <a:pt x="1972078" y="712792"/>
                  <a:pt x="1972078" y="711048"/>
                  <a:pt x="1972353" y="709414"/>
                </a:cubicBezTo>
                <a:close/>
                <a:moveTo>
                  <a:pt x="1661673" y="709414"/>
                </a:moveTo>
                <a:cubicBezTo>
                  <a:pt x="1663321" y="710286"/>
                  <a:pt x="1663321" y="710286"/>
                  <a:pt x="1664969" y="711157"/>
                </a:cubicBezTo>
                <a:cubicBezTo>
                  <a:pt x="1665793" y="713882"/>
                  <a:pt x="1667716" y="716170"/>
                  <a:pt x="1667168" y="719330"/>
                </a:cubicBezTo>
                <a:cubicBezTo>
                  <a:pt x="1665244" y="723144"/>
                  <a:pt x="1657828" y="724235"/>
                  <a:pt x="1654806" y="723907"/>
                </a:cubicBezTo>
                <a:cubicBezTo>
                  <a:pt x="1653158" y="723036"/>
                  <a:pt x="1652333" y="721401"/>
                  <a:pt x="1652059" y="719549"/>
                </a:cubicBezTo>
                <a:cubicBezTo>
                  <a:pt x="1652059" y="717696"/>
                  <a:pt x="1652608" y="715626"/>
                  <a:pt x="1653707" y="713773"/>
                </a:cubicBezTo>
                <a:cubicBezTo>
                  <a:pt x="1653981" y="712138"/>
                  <a:pt x="1655080" y="710939"/>
                  <a:pt x="1656729" y="710177"/>
                </a:cubicBezTo>
                <a:cubicBezTo>
                  <a:pt x="1658102" y="709414"/>
                  <a:pt x="1660024" y="709196"/>
                  <a:pt x="1661673" y="709414"/>
                </a:cubicBezTo>
                <a:close/>
                <a:moveTo>
                  <a:pt x="1048829" y="708543"/>
                </a:moveTo>
                <a:cubicBezTo>
                  <a:pt x="1053499" y="716497"/>
                  <a:pt x="1060092" y="724780"/>
                  <a:pt x="1052400" y="730990"/>
                </a:cubicBezTo>
                <a:cubicBezTo>
                  <a:pt x="1039489" y="731318"/>
                  <a:pt x="1036468" y="718023"/>
                  <a:pt x="1041412" y="711702"/>
                </a:cubicBezTo>
                <a:cubicBezTo>
                  <a:pt x="1043061" y="709632"/>
                  <a:pt x="1045532" y="708324"/>
                  <a:pt x="1048829" y="708543"/>
                </a:cubicBezTo>
                <a:close/>
                <a:moveTo>
                  <a:pt x="6036463" y="708433"/>
                </a:moveTo>
                <a:cubicBezTo>
                  <a:pt x="6044430" y="709740"/>
                  <a:pt x="6041408" y="719330"/>
                  <a:pt x="6037013" y="720638"/>
                </a:cubicBezTo>
                <a:cubicBezTo>
                  <a:pt x="6035640" y="721183"/>
                  <a:pt x="6033992" y="720747"/>
                  <a:pt x="6032617" y="718785"/>
                </a:cubicBezTo>
                <a:cubicBezTo>
                  <a:pt x="6032892" y="715626"/>
                  <a:pt x="6034541" y="712029"/>
                  <a:pt x="6036463" y="708433"/>
                </a:cubicBezTo>
                <a:close/>
                <a:moveTo>
                  <a:pt x="1581187" y="707561"/>
                </a:moveTo>
                <a:cubicBezTo>
                  <a:pt x="1585857" y="706036"/>
                  <a:pt x="1594922" y="709087"/>
                  <a:pt x="1594647" y="715299"/>
                </a:cubicBezTo>
                <a:cubicBezTo>
                  <a:pt x="1593823" y="717805"/>
                  <a:pt x="1589428" y="719439"/>
                  <a:pt x="1585308" y="719004"/>
                </a:cubicBezTo>
                <a:cubicBezTo>
                  <a:pt x="1581187" y="718676"/>
                  <a:pt x="1577617" y="716279"/>
                  <a:pt x="1578440" y="710613"/>
                </a:cubicBezTo>
                <a:cubicBezTo>
                  <a:pt x="1578440" y="709087"/>
                  <a:pt x="1579539" y="708106"/>
                  <a:pt x="1581187" y="707561"/>
                </a:cubicBezTo>
                <a:close/>
                <a:moveTo>
                  <a:pt x="2157223" y="706580"/>
                </a:moveTo>
                <a:cubicBezTo>
                  <a:pt x="2160244" y="708215"/>
                  <a:pt x="2162991" y="708324"/>
                  <a:pt x="2165738" y="709959"/>
                </a:cubicBezTo>
                <a:cubicBezTo>
                  <a:pt x="2168210" y="714536"/>
                  <a:pt x="2165188" y="724670"/>
                  <a:pt x="2159694" y="726196"/>
                </a:cubicBezTo>
                <a:cubicBezTo>
                  <a:pt x="2158046" y="726632"/>
                  <a:pt x="2155849" y="726087"/>
                  <a:pt x="2153651" y="724235"/>
                </a:cubicBezTo>
                <a:cubicBezTo>
                  <a:pt x="2147883" y="718023"/>
                  <a:pt x="2152003" y="712247"/>
                  <a:pt x="2157223" y="706580"/>
                </a:cubicBezTo>
                <a:close/>
                <a:moveTo>
                  <a:pt x="2030073" y="705573"/>
                </a:moveTo>
                <a:cubicBezTo>
                  <a:pt x="2032579" y="704973"/>
                  <a:pt x="2035120" y="705436"/>
                  <a:pt x="2037730" y="706690"/>
                </a:cubicBezTo>
                <a:cubicBezTo>
                  <a:pt x="2039378" y="712574"/>
                  <a:pt x="2034983" y="718131"/>
                  <a:pt x="2029764" y="719221"/>
                </a:cubicBezTo>
                <a:cubicBezTo>
                  <a:pt x="2028116" y="719658"/>
                  <a:pt x="2026468" y="719549"/>
                  <a:pt x="2024820" y="718676"/>
                </a:cubicBezTo>
                <a:cubicBezTo>
                  <a:pt x="2024545" y="717696"/>
                  <a:pt x="2023995" y="716606"/>
                  <a:pt x="2023446" y="715299"/>
                </a:cubicBezTo>
                <a:cubicBezTo>
                  <a:pt x="2023171" y="713991"/>
                  <a:pt x="2022622" y="712465"/>
                  <a:pt x="2022622" y="710831"/>
                </a:cubicBezTo>
                <a:cubicBezTo>
                  <a:pt x="2025094" y="707834"/>
                  <a:pt x="2027566" y="706172"/>
                  <a:pt x="2030073" y="705573"/>
                </a:cubicBezTo>
                <a:close/>
                <a:moveTo>
                  <a:pt x="1837203" y="704401"/>
                </a:moveTo>
                <a:cubicBezTo>
                  <a:pt x="1839125" y="712247"/>
                  <a:pt x="1841599" y="726196"/>
                  <a:pt x="1828412" y="727612"/>
                </a:cubicBezTo>
                <a:cubicBezTo>
                  <a:pt x="1827039" y="725760"/>
                  <a:pt x="1825941" y="724126"/>
                  <a:pt x="1824568" y="722273"/>
                </a:cubicBezTo>
                <a:cubicBezTo>
                  <a:pt x="1831160" y="716389"/>
                  <a:pt x="1832259" y="709196"/>
                  <a:pt x="1837203" y="704401"/>
                </a:cubicBezTo>
                <a:close/>
                <a:moveTo>
                  <a:pt x="1628710" y="704075"/>
                </a:moveTo>
                <a:cubicBezTo>
                  <a:pt x="1627610" y="708543"/>
                  <a:pt x="1627610" y="708543"/>
                  <a:pt x="1624864" y="711376"/>
                </a:cubicBezTo>
                <a:cubicBezTo>
                  <a:pt x="1624864" y="709850"/>
                  <a:pt x="1623216" y="706799"/>
                  <a:pt x="1624589" y="705382"/>
                </a:cubicBezTo>
                <a:cubicBezTo>
                  <a:pt x="1625962" y="703965"/>
                  <a:pt x="1625962" y="703965"/>
                  <a:pt x="1628710" y="704075"/>
                </a:cubicBezTo>
                <a:close/>
                <a:moveTo>
                  <a:pt x="4042179" y="704020"/>
                </a:moveTo>
                <a:cubicBezTo>
                  <a:pt x="4047123" y="704292"/>
                  <a:pt x="4052617" y="706363"/>
                  <a:pt x="4057562" y="709087"/>
                </a:cubicBezTo>
                <a:lnTo>
                  <a:pt x="4066352" y="714862"/>
                </a:lnTo>
                <a:lnTo>
                  <a:pt x="4067176" y="710394"/>
                </a:lnTo>
                <a:cubicBezTo>
                  <a:pt x="4078988" y="701350"/>
                  <a:pt x="4086130" y="706690"/>
                  <a:pt x="4087503" y="705382"/>
                </a:cubicBezTo>
                <a:cubicBezTo>
                  <a:pt x="4091624" y="710394"/>
                  <a:pt x="4088876" y="713010"/>
                  <a:pt x="4085855" y="718568"/>
                </a:cubicBezTo>
                <a:cubicBezTo>
                  <a:pt x="4085031" y="717805"/>
                  <a:pt x="4083657" y="718350"/>
                  <a:pt x="4082009" y="719221"/>
                </a:cubicBezTo>
                <a:lnTo>
                  <a:pt x="4080361" y="720747"/>
                </a:lnTo>
                <a:lnTo>
                  <a:pt x="4081460" y="724670"/>
                </a:lnTo>
                <a:cubicBezTo>
                  <a:pt x="4082559" y="726305"/>
                  <a:pt x="4083932" y="728049"/>
                  <a:pt x="4086405" y="730119"/>
                </a:cubicBezTo>
                <a:cubicBezTo>
                  <a:pt x="4083383" y="730882"/>
                  <a:pt x="4080361" y="731318"/>
                  <a:pt x="4077614" y="731209"/>
                </a:cubicBezTo>
                <a:cubicBezTo>
                  <a:pt x="4074593" y="731099"/>
                  <a:pt x="4071845" y="730337"/>
                  <a:pt x="4069099" y="729029"/>
                </a:cubicBezTo>
                <a:lnTo>
                  <a:pt x="4072395" y="720529"/>
                </a:lnTo>
                <a:lnTo>
                  <a:pt x="4069099" y="719984"/>
                </a:lnTo>
                <a:cubicBezTo>
                  <a:pt x="4067725" y="719658"/>
                  <a:pt x="4066626" y="718895"/>
                  <a:pt x="4065528" y="717587"/>
                </a:cubicBezTo>
                <a:lnTo>
                  <a:pt x="4066077" y="715407"/>
                </a:lnTo>
                <a:lnTo>
                  <a:pt x="4057287" y="719221"/>
                </a:lnTo>
                <a:cubicBezTo>
                  <a:pt x="4055089" y="719658"/>
                  <a:pt x="4052617" y="719549"/>
                  <a:pt x="4050419" y="719113"/>
                </a:cubicBezTo>
                <a:cubicBezTo>
                  <a:pt x="4043552" y="718023"/>
                  <a:pt x="4036960" y="713882"/>
                  <a:pt x="4030092" y="709740"/>
                </a:cubicBezTo>
                <a:cubicBezTo>
                  <a:pt x="4032839" y="705273"/>
                  <a:pt x="4037234" y="703747"/>
                  <a:pt x="4042179" y="704020"/>
                </a:cubicBezTo>
                <a:close/>
                <a:moveTo>
                  <a:pt x="3052178" y="703856"/>
                </a:moveTo>
                <a:cubicBezTo>
                  <a:pt x="3057122" y="709523"/>
                  <a:pt x="3056573" y="713882"/>
                  <a:pt x="3058771" y="718895"/>
                </a:cubicBezTo>
                <a:cubicBezTo>
                  <a:pt x="3054101" y="724126"/>
                  <a:pt x="3049706" y="725215"/>
                  <a:pt x="3046409" y="724016"/>
                </a:cubicBezTo>
                <a:cubicBezTo>
                  <a:pt x="3043114" y="722818"/>
                  <a:pt x="3040641" y="719330"/>
                  <a:pt x="3040091" y="715626"/>
                </a:cubicBezTo>
                <a:cubicBezTo>
                  <a:pt x="3039542" y="713228"/>
                  <a:pt x="3039817" y="710613"/>
                  <a:pt x="3041191" y="708433"/>
                </a:cubicBezTo>
                <a:cubicBezTo>
                  <a:pt x="3043114" y="705600"/>
                  <a:pt x="3046409" y="703638"/>
                  <a:pt x="3052178" y="703856"/>
                </a:cubicBezTo>
                <a:close/>
                <a:moveTo>
                  <a:pt x="1943201" y="703747"/>
                </a:moveTo>
                <a:cubicBezTo>
                  <a:pt x="1947424" y="705845"/>
                  <a:pt x="1950515" y="710340"/>
                  <a:pt x="1949004" y="716715"/>
                </a:cubicBezTo>
                <a:cubicBezTo>
                  <a:pt x="1947081" y="718459"/>
                  <a:pt x="1942960" y="718895"/>
                  <a:pt x="1938840" y="718459"/>
                </a:cubicBezTo>
                <a:cubicBezTo>
                  <a:pt x="1934994" y="718131"/>
                  <a:pt x="1930874" y="717042"/>
                  <a:pt x="1928951" y="715626"/>
                </a:cubicBezTo>
                <a:cubicBezTo>
                  <a:pt x="1927853" y="710722"/>
                  <a:pt x="1928676" y="707344"/>
                  <a:pt x="1930599" y="705164"/>
                </a:cubicBezTo>
                <a:cubicBezTo>
                  <a:pt x="1933621" y="701949"/>
                  <a:pt x="1938977" y="701650"/>
                  <a:pt x="1943201" y="703747"/>
                </a:cubicBezTo>
                <a:close/>
                <a:moveTo>
                  <a:pt x="2443455" y="701459"/>
                </a:moveTo>
                <a:cubicBezTo>
                  <a:pt x="2447025" y="705164"/>
                  <a:pt x="2445377" y="707670"/>
                  <a:pt x="2448124" y="709740"/>
                </a:cubicBezTo>
                <a:cubicBezTo>
                  <a:pt x="2445652" y="712029"/>
                  <a:pt x="2443455" y="712901"/>
                  <a:pt x="2440982" y="712683"/>
                </a:cubicBezTo>
                <a:cubicBezTo>
                  <a:pt x="2438785" y="712574"/>
                  <a:pt x="2436312" y="711376"/>
                  <a:pt x="2433840" y="709305"/>
                </a:cubicBezTo>
                <a:cubicBezTo>
                  <a:pt x="2434390" y="705164"/>
                  <a:pt x="2439334" y="700478"/>
                  <a:pt x="2443455" y="701459"/>
                </a:cubicBezTo>
                <a:close/>
                <a:moveTo>
                  <a:pt x="2397855" y="701132"/>
                </a:moveTo>
                <a:cubicBezTo>
                  <a:pt x="2405822" y="702440"/>
                  <a:pt x="2402800" y="711921"/>
                  <a:pt x="2398404" y="713337"/>
                </a:cubicBezTo>
                <a:cubicBezTo>
                  <a:pt x="2397031" y="713882"/>
                  <a:pt x="2395383" y="713337"/>
                  <a:pt x="2394009" y="711376"/>
                </a:cubicBezTo>
                <a:cubicBezTo>
                  <a:pt x="2394284" y="708215"/>
                  <a:pt x="2395932" y="704728"/>
                  <a:pt x="2397855" y="701132"/>
                </a:cubicBezTo>
                <a:close/>
                <a:moveTo>
                  <a:pt x="4107556" y="700587"/>
                </a:moveTo>
                <a:cubicBezTo>
                  <a:pt x="4107556" y="702003"/>
                  <a:pt x="4108929" y="703747"/>
                  <a:pt x="4108929" y="705273"/>
                </a:cubicBezTo>
                <a:cubicBezTo>
                  <a:pt x="4108106" y="705927"/>
                  <a:pt x="4107282" y="706145"/>
                  <a:pt x="4106458" y="706145"/>
                </a:cubicBezTo>
                <a:cubicBezTo>
                  <a:pt x="4105633" y="706145"/>
                  <a:pt x="4104809" y="705927"/>
                  <a:pt x="4104259" y="705600"/>
                </a:cubicBezTo>
                <a:cubicBezTo>
                  <a:pt x="4102886" y="704837"/>
                  <a:pt x="4101788" y="703638"/>
                  <a:pt x="4101788" y="702876"/>
                </a:cubicBezTo>
                <a:cubicBezTo>
                  <a:pt x="4103161" y="701568"/>
                  <a:pt x="4106183" y="701895"/>
                  <a:pt x="4107556" y="700587"/>
                </a:cubicBezTo>
                <a:close/>
                <a:moveTo>
                  <a:pt x="4377306" y="698953"/>
                </a:moveTo>
                <a:cubicBezTo>
                  <a:pt x="4379779" y="697645"/>
                  <a:pt x="4382525" y="697427"/>
                  <a:pt x="4385547" y="698953"/>
                </a:cubicBezTo>
                <a:cubicBezTo>
                  <a:pt x="4387195" y="707779"/>
                  <a:pt x="4390492" y="717805"/>
                  <a:pt x="4380877" y="720312"/>
                </a:cubicBezTo>
                <a:cubicBezTo>
                  <a:pt x="4368242" y="715626"/>
                  <a:pt x="4370439" y="702658"/>
                  <a:pt x="4377306" y="698953"/>
                </a:cubicBezTo>
                <a:close/>
                <a:moveTo>
                  <a:pt x="1323523" y="698734"/>
                </a:moveTo>
                <a:cubicBezTo>
                  <a:pt x="1322974" y="700805"/>
                  <a:pt x="1327918" y="701023"/>
                  <a:pt x="1330666" y="702767"/>
                </a:cubicBezTo>
                <a:cubicBezTo>
                  <a:pt x="1332588" y="706580"/>
                  <a:pt x="1333687" y="709087"/>
                  <a:pt x="1332588" y="713119"/>
                </a:cubicBezTo>
                <a:cubicBezTo>
                  <a:pt x="1330940" y="719221"/>
                  <a:pt x="1323248" y="727285"/>
                  <a:pt x="1317480" y="725869"/>
                </a:cubicBezTo>
                <a:cubicBezTo>
                  <a:pt x="1314184" y="725542"/>
                  <a:pt x="1311712" y="724561"/>
                  <a:pt x="1309789" y="723253"/>
                </a:cubicBezTo>
                <a:lnTo>
                  <a:pt x="1308141" y="721510"/>
                </a:lnTo>
                <a:lnTo>
                  <a:pt x="1309789" y="726414"/>
                </a:lnTo>
                <a:cubicBezTo>
                  <a:pt x="1309789" y="728593"/>
                  <a:pt x="1308965" y="730664"/>
                  <a:pt x="1308141" y="732734"/>
                </a:cubicBezTo>
                <a:cubicBezTo>
                  <a:pt x="1306492" y="735350"/>
                  <a:pt x="1306492" y="736766"/>
                  <a:pt x="1307591" y="739926"/>
                </a:cubicBezTo>
                <a:cubicBezTo>
                  <a:pt x="1307591" y="739926"/>
                  <a:pt x="1307591" y="740035"/>
                  <a:pt x="1304570" y="742433"/>
                </a:cubicBezTo>
                <a:lnTo>
                  <a:pt x="1303196" y="742215"/>
                </a:lnTo>
                <a:cubicBezTo>
                  <a:pt x="1302647" y="741779"/>
                  <a:pt x="1302372" y="740471"/>
                  <a:pt x="1302097" y="738836"/>
                </a:cubicBezTo>
                <a:cubicBezTo>
                  <a:pt x="1302097" y="736439"/>
                  <a:pt x="1302647" y="733170"/>
                  <a:pt x="1303196" y="730445"/>
                </a:cubicBezTo>
                <a:lnTo>
                  <a:pt x="1304295" y="725433"/>
                </a:lnTo>
                <a:lnTo>
                  <a:pt x="1301273" y="734042"/>
                </a:lnTo>
                <a:cubicBezTo>
                  <a:pt x="1299351" y="738728"/>
                  <a:pt x="1297153" y="742542"/>
                  <a:pt x="1294956" y="743087"/>
                </a:cubicBezTo>
                <a:cubicBezTo>
                  <a:pt x="1294406" y="741888"/>
                  <a:pt x="1293856" y="740689"/>
                  <a:pt x="1294406" y="738619"/>
                </a:cubicBezTo>
                <a:cubicBezTo>
                  <a:pt x="1294956" y="736548"/>
                  <a:pt x="1295779" y="737747"/>
                  <a:pt x="1294956" y="736548"/>
                </a:cubicBezTo>
                <a:cubicBezTo>
                  <a:pt x="1295504" y="734478"/>
                  <a:pt x="1294406" y="735241"/>
                  <a:pt x="1294406" y="735241"/>
                </a:cubicBezTo>
                <a:cubicBezTo>
                  <a:pt x="1294406" y="735241"/>
                  <a:pt x="1295504" y="734478"/>
                  <a:pt x="1295504" y="734478"/>
                </a:cubicBezTo>
                <a:cubicBezTo>
                  <a:pt x="1295504" y="734478"/>
                  <a:pt x="1295504" y="734478"/>
                  <a:pt x="1296878" y="730445"/>
                </a:cubicBezTo>
                <a:cubicBezTo>
                  <a:pt x="1297428" y="725106"/>
                  <a:pt x="1296603" y="723798"/>
                  <a:pt x="1296603" y="720420"/>
                </a:cubicBezTo>
                <a:cubicBezTo>
                  <a:pt x="1297978" y="716389"/>
                  <a:pt x="1299076" y="715626"/>
                  <a:pt x="1301548" y="710722"/>
                </a:cubicBezTo>
                <a:cubicBezTo>
                  <a:pt x="1304844" y="710394"/>
                  <a:pt x="1304844" y="710504"/>
                  <a:pt x="1305394" y="711702"/>
                </a:cubicBezTo>
                <a:cubicBezTo>
                  <a:pt x="1304844" y="710504"/>
                  <a:pt x="1305943" y="709740"/>
                  <a:pt x="1306492" y="707670"/>
                </a:cubicBezTo>
                <a:cubicBezTo>
                  <a:pt x="1307042" y="699062"/>
                  <a:pt x="1314734" y="697536"/>
                  <a:pt x="1323523" y="698734"/>
                </a:cubicBezTo>
                <a:close/>
                <a:moveTo>
                  <a:pt x="4194360" y="697972"/>
                </a:moveTo>
                <a:cubicBezTo>
                  <a:pt x="4207270" y="707453"/>
                  <a:pt x="4208918" y="734368"/>
                  <a:pt x="4194634" y="733497"/>
                </a:cubicBezTo>
                <a:cubicBezTo>
                  <a:pt x="4192436" y="733388"/>
                  <a:pt x="4190239" y="732625"/>
                  <a:pt x="4187492" y="731209"/>
                </a:cubicBezTo>
                <a:cubicBezTo>
                  <a:pt x="4185569" y="720857"/>
                  <a:pt x="4178977" y="703093"/>
                  <a:pt x="4194360" y="697972"/>
                </a:cubicBezTo>
                <a:close/>
                <a:moveTo>
                  <a:pt x="3943838" y="696119"/>
                </a:moveTo>
                <a:cubicBezTo>
                  <a:pt x="3948783" y="696338"/>
                  <a:pt x="3948233" y="698408"/>
                  <a:pt x="3947134" y="702440"/>
                </a:cubicBezTo>
                <a:cubicBezTo>
                  <a:pt x="3945761" y="702548"/>
                  <a:pt x="3944388" y="702548"/>
                  <a:pt x="3943564" y="701786"/>
                </a:cubicBezTo>
                <a:cubicBezTo>
                  <a:pt x="3942739" y="701023"/>
                  <a:pt x="3942464" y="699498"/>
                  <a:pt x="3942739" y="696882"/>
                </a:cubicBezTo>
                <a:cubicBezTo>
                  <a:pt x="3942739" y="696882"/>
                  <a:pt x="3943838" y="696119"/>
                  <a:pt x="3943838" y="696119"/>
                </a:cubicBezTo>
                <a:close/>
                <a:moveTo>
                  <a:pt x="4171010" y="695247"/>
                </a:moveTo>
                <a:cubicBezTo>
                  <a:pt x="4173208" y="703311"/>
                  <a:pt x="4170461" y="708324"/>
                  <a:pt x="4164418" y="712901"/>
                </a:cubicBezTo>
                <a:cubicBezTo>
                  <a:pt x="4162220" y="711376"/>
                  <a:pt x="4160573" y="705273"/>
                  <a:pt x="4159473" y="701241"/>
                </a:cubicBezTo>
                <a:cubicBezTo>
                  <a:pt x="4161671" y="697536"/>
                  <a:pt x="4166066" y="695356"/>
                  <a:pt x="4171010" y="695247"/>
                </a:cubicBezTo>
                <a:close/>
                <a:moveTo>
                  <a:pt x="3151069" y="695139"/>
                </a:moveTo>
                <a:cubicBezTo>
                  <a:pt x="3152717" y="701023"/>
                  <a:pt x="3149970" y="702985"/>
                  <a:pt x="3144202" y="705164"/>
                </a:cubicBezTo>
                <a:cubicBezTo>
                  <a:pt x="3140630" y="696664"/>
                  <a:pt x="3143926" y="696664"/>
                  <a:pt x="3151069" y="695139"/>
                </a:cubicBezTo>
                <a:close/>
                <a:moveTo>
                  <a:pt x="4399845" y="694750"/>
                </a:moveTo>
                <a:cubicBezTo>
                  <a:pt x="4403746" y="695159"/>
                  <a:pt x="4406218" y="703720"/>
                  <a:pt x="4400656" y="704619"/>
                </a:cubicBezTo>
                <a:cubicBezTo>
                  <a:pt x="4399557" y="702876"/>
                  <a:pt x="4396810" y="700805"/>
                  <a:pt x="4395711" y="697645"/>
                </a:cubicBezTo>
                <a:cubicBezTo>
                  <a:pt x="4397085" y="695384"/>
                  <a:pt x="4398544" y="694614"/>
                  <a:pt x="4399845" y="694750"/>
                </a:cubicBezTo>
                <a:close/>
                <a:moveTo>
                  <a:pt x="2931862" y="693286"/>
                </a:moveTo>
                <a:cubicBezTo>
                  <a:pt x="2930214" y="704401"/>
                  <a:pt x="2926642" y="711048"/>
                  <a:pt x="2914556" y="709305"/>
                </a:cubicBezTo>
                <a:cubicBezTo>
                  <a:pt x="2911535" y="704183"/>
                  <a:pt x="2913457" y="699062"/>
                  <a:pt x="2917578" y="695792"/>
                </a:cubicBezTo>
                <a:cubicBezTo>
                  <a:pt x="2921699" y="692523"/>
                  <a:pt x="2927467" y="690997"/>
                  <a:pt x="2931862" y="693286"/>
                </a:cubicBezTo>
                <a:close/>
                <a:moveTo>
                  <a:pt x="2853574" y="692305"/>
                </a:moveTo>
                <a:cubicBezTo>
                  <a:pt x="2859617" y="689145"/>
                  <a:pt x="2872253" y="692305"/>
                  <a:pt x="2857969" y="703965"/>
                </a:cubicBezTo>
                <a:cubicBezTo>
                  <a:pt x="2853574" y="701132"/>
                  <a:pt x="2851651" y="698625"/>
                  <a:pt x="2851102" y="696664"/>
                </a:cubicBezTo>
                <a:cubicBezTo>
                  <a:pt x="2850827" y="694702"/>
                  <a:pt x="2851926" y="693177"/>
                  <a:pt x="2853574" y="692305"/>
                </a:cubicBezTo>
                <a:close/>
                <a:moveTo>
                  <a:pt x="1426534" y="692196"/>
                </a:moveTo>
                <a:cubicBezTo>
                  <a:pt x="1431753" y="694921"/>
                  <a:pt x="1429556" y="698625"/>
                  <a:pt x="1428457" y="705273"/>
                </a:cubicBezTo>
                <a:cubicBezTo>
                  <a:pt x="1426534" y="704401"/>
                  <a:pt x="1423513" y="710177"/>
                  <a:pt x="1422689" y="712029"/>
                </a:cubicBezTo>
                <a:cubicBezTo>
                  <a:pt x="1419942" y="710722"/>
                  <a:pt x="1416920" y="713882"/>
                  <a:pt x="1413074" y="714427"/>
                </a:cubicBezTo>
                <a:cubicBezTo>
                  <a:pt x="1411976" y="714645"/>
                  <a:pt x="1410602" y="714427"/>
                  <a:pt x="1409229" y="713773"/>
                </a:cubicBezTo>
                <a:cubicBezTo>
                  <a:pt x="1408679" y="710939"/>
                  <a:pt x="1408404" y="709632"/>
                  <a:pt x="1408954" y="706254"/>
                </a:cubicBezTo>
                <a:cubicBezTo>
                  <a:pt x="1417469" y="692305"/>
                  <a:pt x="1425435" y="694049"/>
                  <a:pt x="1426534" y="692196"/>
                </a:cubicBezTo>
                <a:close/>
                <a:moveTo>
                  <a:pt x="2209689" y="691542"/>
                </a:moveTo>
                <a:cubicBezTo>
                  <a:pt x="2211337" y="695684"/>
                  <a:pt x="2213809" y="698625"/>
                  <a:pt x="2216007" y="701241"/>
                </a:cubicBezTo>
                <a:lnTo>
                  <a:pt x="2217930" y="703856"/>
                </a:lnTo>
                <a:lnTo>
                  <a:pt x="2222051" y="702440"/>
                </a:lnTo>
                <a:cubicBezTo>
                  <a:pt x="2224797" y="702113"/>
                  <a:pt x="2228368" y="702767"/>
                  <a:pt x="2231665" y="706254"/>
                </a:cubicBezTo>
                <a:cubicBezTo>
                  <a:pt x="2230291" y="707453"/>
                  <a:pt x="2237983" y="717696"/>
                  <a:pt x="2234686" y="723144"/>
                </a:cubicBezTo>
                <a:cubicBezTo>
                  <a:pt x="2233038" y="725760"/>
                  <a:pt x="2231665" y="727067"/>
                  <a:pt x="2230016" y="729792"/>
                </a:cubicBezTo>
                <a:lnTo>
                  <a:pt x="2223424" y="730119"/>
                </a:lnTo>
                <a:lnTo>
                  <a:pt x="2221501" y="741452"/>
                </a:lnTo>
                <a:cubicBezTo>
                  <a:pt x="2219028" y="748100"/>
                  <a:pt x="2214908" y="754638"/>
                  <a:pt x="2208315" y="760522"/>
                </a:cubicBezTo>
                <a:lnTo>
                  <a:pt x="2206393" y="759324"/>
                </a:lnTo>
                <a:lnTo>
                  <a:pt x="2206393" y="766189"/>
                </a:lnTo>
                <a:cubicBezTo>
                  <a:pt x="2203371" y="767278"/>
                  <a:pt x="2199251" y="762375"/>
                  <a:pt x="2196504" y="760631"/>
                </a:cubicBezTo>
                <a:cubicBezTo>
                  <a:pt x="2197877" y="759324"/>
                  <a:pt x="2199526" y="757907"/>
                  <a:pt x="2198152" y="757798"/>
                </a:cubicBezTo>
                <a:lnTo>
                  <a:pt x="2201723" y="756054"/>
                </a:lnTo>
                <a:lnTo>
                  <a:pt x="2198702" y="753984"/>
                </a:lnTo>
                <a:cubicBezTo>
                  <a:pt x="2197053" y="750824"/>
                  <a:pt x="2196778" y="746792"/>
                  <a:pt x="2197602" y="742650"/>
                </a:cubicBezTo>
                <a:cubicBezTo>
                  <a:pt x="2198702" y="735676"/>
                  <a:pt x="2202547" y="728375"/>
                  <a:pt x="2207766" y="723798"/>
                </a:cubicBezTo>
                <a:lnTo>
                  <a:pt x="2212161" y="721401"/>
                </a:lnTo>
                <a:lnTo>
                  <a:pt x="2209964" y="713991"/>
                </a:lnTo>
                <a:cubicBezTo>
                  <a:pt x="2210788" y="710939"/>
                  <a:pt x="2212161" y="708978"/>
                  <a:pt x="2211612" y="708869"/>
                </a:cubicBezTo>
                <a:cubicBezTo>
                  <a:pt x="2210239" y="707125"/>
                  <a:pt x="2210239" y="707125"/>
                  <a:pt x="2208865" y="706908"/>
                </a:cubicBezTo>
                <a:lnTo>
                  <a:pt x="2208041" y="704619"/>
                </a:lnTo>
                <a:lnTo>
                  <a:pt x="2204470" y="701895"/>
                </a:lnTo>
                <a:cubicBezTo>
                  <a:pt x="2203371" y="699715"/>
                  <a:pt x="2203371" y="697209"/>
                  <a:pt x="2203920" y="693722"/>
                </a:cubicBezTo>
                <a:cubicBezTo>
                  <a:pt x="2205844" y="692959"/>
                  <a:pt x="2207766" y="692196"/>
                  <a:pt x="2209689" y="691542"/>
                </a:cubicBezTo>
                <a:close/>
                <a:moveTo>
                  <a:pt x="3154364" y="691216"/>
                </a:moveTo>
                <a:cubicBezTo>
                  <a:pt x="3165078" y="697536"/>
                  <a:pt x="3177440" y="703421"/>
                  <a:pt x="3176065" y="713010"/>
                </a:cubicBezTo>
                <a:cubicBezTo>
                  <a:pt x="3174143" y="713882"/>
                  <a:pt x="3172220" y="714100"/>
                  <a:pt x="3170022" y="713555"/>
                </a:cubicBezTo>
                <a:cubicBezTo>
                  <a:pt x="3163704" y="712138"/>
                  <a:pt x="3156837" y="705491"/>
                  <a:pt x="3152991" y="700696"/>
                </a:cubicBezTo>
                <a:cubicBezTo>
                  <a:pt x="3154915" y="697100"/>
                  <a:pt x="3152442" y="694702"/>
                  <a:pt x="3154364" y="691216"/>
                </a:cubicBezTo>
                <a:close/>
                <a:moveTo>
                  <a:pt x="2465155" y="689908"/>
                </a:moveTo>
                <a:cubicBezTo>
                  <a:pt x="2467628" y="694594"/>
                  <a:pt x="2459936" y="705055"/>
                  <a:pt x="2455541" y="708651"/>
                </a:cubicBezTo>
                <a:cubicBezTo>
                  <a:pt x="2454992" y="707453"/>
                  <a:pt x="2454992" y="705927"/>
                  <a:pt x="2455267" y="704183"/>
                </a:cubicBezTo>
                <a:cubicBezTo>
                  <a:pt x="2456640" y="699062"/>
                  <a:pt x="2461859" y="692523"/>
                  <a:pt x="2465155" y="689908"/>
                </a:cubicBezTo>
                <a:close/>
                <a:moveTo>
                  <a:pt x="2998613" y="688164"/>
                </a:moveTo>
                <a:cubicBezTo>
                  <a:pt x="3004382" y="690343"/>
                  <a:pt x="3006579" y="701895"/>
                  <a:pt x="3002458" y="706036"/>
                </a:cubicBezTo>
                <a:cubicBezTo>
                  <a:pt x="3000810" y="696446"/>
                  <a:pt x="2993668" y="693613"/>
                  <a:pt x="2998613" y="688164"/>
                </a:cubicBezTo>
                <a:close/>
                <a:moveTo>
                  <a:pt x="3697986" y="686420"/>
                </a:moveTo>
                <a:lnTo>
                  <a:pt x="3698535" y="687728"/>
                </a:lnTo>
                <a:lnTo>
                  <a:pt x="3699360" y="688164"/>
                </a:lnTo>
                <a:lnTo>
                  <a:pt x="3699360" y="688055"/>
                </a:lnTo>
                <a:close/>
                <a:moveTo>
                  <a:pt x="4432520" y="684568"/>
                </a:moveTo>
                <a:cubicBezTo>
                  <a:pt x="4440211" y="685658"/>
                  <a:pt x="4435816" y="695356"/>
                  <a:pt x="4431421" y="696991"/>
                </a:cubicBezTo>
                <a:cubicBezTo>
                  <a:pt x="4429773" y="697536"/>
                  <a:pt x="4428125" y="696991"/>
                  <a:pt x="4427027" y="695139"/>
                </a:cubicBezTo>
                <a:cubicBezTo>
                  <a:pt x="4428125" y="691870"/>
                  <a:pt x="4430048" y="688273"/>
                  <a:pt x="4432520" y="684568"/>
                </a:cubicBezTo>
                <a:close/>
                <a:moveTo>
                  <a:pt x="1758640" y="684350"/>
                </a:moveTo>
                <a:cubicBezTo>
                  <a:pt x="1768529" y="690343"/>
                  <a:pt x="1779792" y="695901"/>
                  <a:pt x="1777319" y="705600"/>
                </a:cubicBezTo>
                <a:cubicBezTo>
                  <a:pt x="1775122" y="706580"/>
                  <a:pt x="1773199" y="706799"/>
                  <a:pt x="1771002" y="706363"/>
                </a:cubicBezTo>
                <a:lnTo>
                  <a:pt x="1767156" y="704510"/>
                </a:lnTo>
                <a:lnTo>
                  <a:pt x="1766058" y="705600"/>
                </a:lnTo>
                <a:cubicBezTo>
                  <a:pt x="1763584" y="703530"/>
                  <a:pt x="1760838" y="701459"/>
                  <a:pt x="1760014" y="698299"/>
                </a:cubicBezTo>
                <a:lnTo>
                  <a:pt x="1755893" y="694049"/>
                </a:lnTo>
                <a:cubicBezTo>
                  <a:pt x="1758365" y="690343"/>
                  <a:pt x="1756168" y="688055"/>
                  <a:pt x="1758640" y="684350"/>
                </a:cubicBezTo>
                <a:close/>
                <a:moveTo>
                  <a:pt x="2325336" y="683479"/>
                </a:moveTo>
                <a:cubicBezTo>
                  <a:pt x="2324512" y="686530"/>
                  <a:pt x="2322588" y="688492"/>
                  <a:pt x="2320666" y="690671"/>
                </a:cubicBezTo>
                <a:lnTo>
                  <a:pt x="2319293" y="692523"/>
                </a:lnTo>
                <a:lnTo>
                  <a:pt x="2323138" y="692305"/>
                </a:lnTo>
                <a:cubicBezTo>
                  <a:pt x="2323138" y="692305"/>
                  <a:pt x="2323688" y="693068"/>
                  <a:pt x="2324237" y="694267"/>
                </a:cubicBezTo>
                <a:cubicBezTo>
                  <a:pt x="2324787" y="695356"/>
                  <a:pt x="2325336" y="696773"/>
                  <a:pt x="2324787" y="697754"/>
                </a:cubicBezTo>
                <a:cubicBezTo>
                  <a:pt x="2324512" y="699388"/>
                  <a:pt x="2323138" y="699498"/>
                  <a:pt x="2321490" y="699388"/>
                </a:cubicBezTo>
                <a:cubicBezTo>
                  <a:pt x="2319842" y="699279"/>
                  <a:pt x="2318194" y="698844"/>
                  <a:pt x="2317644" y="699170"/>
                </a:cubicBezTo>
                <a:lnTo>
                  <a:pt x="2315447" y="697754"/>
                </a:lnTo>
                <a:lnTo>
                  <a:pt x="2314897" y="698408"/>
                </a:lnTo>
                <a:cubicBezTo>
                  <a:pt x="2309953" y="698190"/>
                  <a:pt x="2305557" y="705927"/>
                  <a:pt x="2298416" y="705273"/>
                </a:cubicBezTo>
                <a:cubicBezTo>
                  <a:pt x="2299514" y="694594"/>
                  <a:pt x="2319567" y="682062"/>
                  <a:pt x="2325336" y="683479"/>
                </a:cubicBezTo>
                <a:close/>
                <a:moveTo>
                  <a:pt x="3695239" y="683151"/>
                </a:moveTo>
                <a:cubicBezTo>
                  <a:pt x="3695239" y="683151"/>
                  <a:pt x="3695239" y="683151"/>
                  <a:pt x="3696063" y="684350"/>
                </a:cubicBezTo>
                <a:lnTo>
                  <a:pt x="3695514" y="685658"/>
                </a:lnTo>
                <a:lnTo>
                  <a:pt x="3696612" y="684677"/>
                </a:lnTo>
                <a:close/>
                <a:moveTo>
                  <a:pt x="1988560" y="682280"/>
                </a:moveTo>
                <a:cubicBezTo>
                  <a:pt x="1986362" y="685004"/>
                  <a:pt x="1978945" y="693504"/>
                  <a:pt x="1975649" y="693504"/>
                </a:cubicBezTo>
                <a:cubicBezTo>
                  <a:pt x="1978671" y="688818"/>
                  <a:pt x="1986637" y="681626"/>
                  <a:pt x="1988560" y="682280"/>
                </a:cubicBezTo>
                <a:close/>
                <a:moveTo>
                  <a:pt x="4364670" y="681626"/>
                </a:moveTo>
                <a:lnTo>
                  <a:pt x="4365494" y="682389"/>
                </a:lnTo>
                <a:cubicBezTo>
                  <a:pt x="4364670" y="682716"/>
                  <a:pt x="4364396" y="682934"/>
                  <a:pt x="4364396" y="682716"/>
                </a:cubicBezTo>
                <a:close/>
                <a:moveTo>
                  <a:pt x="4011687" y="681626"/>
                </a:moveTo>
                <a:lnTo>
                  <a:pt x="4016083" y="684786"/>
                </a:lnTo>
                <a:lnTo>
                  <a:pt x="4018554" y="689472"/>
                </a:lnTo>
                <a:cubicBezTo>
                  <a:pt x="4018829" y="691651"/>
                  <a:pt x="4018280" y="693940"/>
                  <a:pt x="4016083" y="696010"/>
                </a:cubicBezTo>
                <a:lnTo>
                  <a:pt x="4014435" y="696010"/>
                </a:lnTo>
                <a:lnTo>
                  <a:pt x="4014435" y="700260"/>
                </a:lnTo>
                <a:cubicBezTo>
                  <a:pt x="4014160" y="704401"/>
                  <a:pt x="4013610" y="708433"/>
                  <a:pt x="4011687" y="711267"/>
                </a:cubicBezTo>
                <a:cubicBezTo>
                  <a:pt x="4011687" y="709850"/>
                  <a:pt x="4011687" y="705055"/>
                  <a:pt x="4012237" y="700152"/>
                </a:cubicBezTo>
                <a:lnTo>
                  <a:pt x="4012786" y="695901"/>
                </a:lnTo>
                <a:lnTo>
                  <a:pt x="4010863" y="695792"/>
                </a:lnTo>
                <a:cubicBezTo>
                  <a:pt x="4006743" y="693831"/>
                  <a:pt x="4005644" y="687510"/>
                  <a:pt x="4001249" y="682497"/>
                </a:cubicBezTo>
                <a:cubicBezTo>
                  <a:pt x="4004271" y="679991"/>
                  <a:pt x="4008391" y="680100"/>
                  <a:pt x="4011687" y="681626"/>
                </a:cubicBezTo>
                <a:close/>
                <a:moveTo>
                  <a:pt x="1954223" y="680645"/>
                </a:moveTo>
                <a:cubicBezTo>
                  <a:pt x="1958068" y="681298"/>
                  <a:pt x="1961090" y="682716"/>
                  <a:pt x="1964936" y="683261"/>
                </a:cubicBezTo>
                <a:lnTo>
                  <a:pt x="1963288" y="688927"/>
                </a:lnTo>
                <a:lnTo>
                  <a:pt x="1967683" y="691433"/>
                </a:lnTo>
                <a:cubicBezTo>
                  <a:pt x="1970155" y="694049"/>
                  <a:pt x="1971254" y="698190"/>
                  <a:pt x="1968507" y="702767"/>
                </a:cubicBezTo>
                <a:cubicBezTo>
                  <a:pt x="1966584" y="704075"/>
                  <a:pt x="1964661" y="705382"/>
                  <a:pt x="1962464" y="706036"/>
                </a:cubicBezTo>
                <a:cubicBezTo>
                  <a:pt x="1960267" y="706690"/>
                  <a:pt x="1957519" y="706690"/>
                  <a:pt x="1954498" y="705382"/>
                </a:cubicBezTo>
                <a:cubicBezTo>
                  <a:pt x="1953124" y="702767"/>
                  <a:pt x="1952849" y="700478"/>
                  <a:pt x="1953124" y="697754"/>
                </a:cubicBezTo>
                <a:lnTo>
                  <a:pt x="1956421" y="690017"/>
                </a:lnTo>
                <a:lnTo>
                  <a:pt x="1954498" y="686094"/>
                </a:lnTo>
                <a:cubicBezTo>
                  <a:pt x="1953948" y="684786"/>
                  <a:pt x="1953673" y="683151"/>
                  <a:pt x="1954223" y="680645"/>
                </a:cubicBezTo>
                <a:close/>
                <a:moveTo>
                  <a:pt x="3940541" y="679991"/>
                </a:moveTo>
                <a:cubicBezTo>
                  <a:pt x="3942739" y="680536"/>
                  <a:pt x="3941915" y="685985"/>
                  <a:pt x="3942739" y="687183"/>
                </a:cubicBezTo>
                <a:cubicBezTo>
                  <a:pt x="3941365" y="688055"/>
                  <a:pt x="3939443" y="687619"/>
                  <a:pt x="3938070" y="688382"/>
                </a:cubicBezTo>
                <a:cubicBezTo>
                  <a:pt x="3937520" y="687183"/>
                  <a:pt x="3936146" y="684459"/>
                  <a:pt x="3936695" y="682389"/>
                </a:cubicBezTo>
                <a:cubicBezTo>
                  <a:pt x="3936146" y="681081"/>
                  <a:pt x="3940541" y="679991"/>
                  <a:pt x="3940541" y="679991"/>
                </a:cubicBezTo>
                <a:close/>
                <a:moveTo>
                  <a:pt x="1865772" y="678575"/>
                </a:moveTo>
                <a:cubicBezTo>
                  <a:pt x="1867763" y="678493"/>
                  <a:pt x="1869754" y="679719"/>
                  <a:pt x="1871539" y="682389"/>
                </a:cubicBezTo>
                <a:cubicBezTo>
                  <a:pt x="1868244" y="684677"/>
                  <a:pt x="1869343" y="687838"/>
                  <a:pt x="1866046" y="690126"/>
                </a:cubicBezTo>
                <a:cubicBezTo>
                  <a:pt x="1863574" y="686530"/>
                  <a:pt x="1861101" y="684459"/>
                  <a:pt x="1860003" y="682606"/>
                </a:cubicBezTo>
                <a:cubicBezTo>
                  <a:pt x="1861788" y="680046"/>
                  <a:pt x="1863780" y="678656"/>
                  <a:pt x="1865772" y="678575"/>
                </a:cubicBezTo>
                <a:close/>
                <a:moveTo>
                  <a:pt x="2967572" y="678357"/>
                </a:moveTo>
                <a:cubicBezTo>
                  <a:pt x="2975814" y="682825"/>
                  <a:pt x="2978285" y="686965"/>
                  <a:pt x="2977461" y="690234"/>
                </a:cubicBezTo>
                <a:cubicBezTo>
                  <a:pt x="2976363" y="694702"/>
                  <a:pt x="2969220" y="697427"/>
                  <a:pt x="2964001" y="696664"/>
                </a:cubicBezTo>
                <a:cubicBezTo>
                  <a:pt x="2962353" y="696338"/>
                  <a:pt x="2960980" y="695792"/>
                  <a:pt x="2960156" y="694702"/>
                </a:cubicBezTo>
                <a:cubicBezTo>
                  <a:pt x="2957958" y="692087"/>
                  <a:pt x="2959056" y="686965"/>
                  <a:pt x="2967572" y="678357"/>
                </a:cubicBezTo>
                <a:close/>
                <a:moveTo>
                  <a:pt x="1443840" y="678248"/>
                </a:moveTo>
                <a:cubicBezTo>
                  <a:pt x="1444115" y="679664"/>
                  <a:pt x="1446038" y="680536"/>
                  <a:pt x="1446313" y="681953"/>
                </a:cubicBezTo>
                <a:cubicBezTo>
                  <a:pt x="1445213" y="683915"/>
                  <a:pt x="1443565" y="684568"/>
                  <a:pt x="1441917" y="684459"/>
                </a:cubicBezTo>
                <a:cubicBezTo>
                  <a:pt x="1440544" y="684459"/>
                  <a:pt x="1439170" y="683805"/>
                  <a:pt x="1438896" y="683042"/>
                </a:cubicBezTo>
                <a:cubicBezTo>
                  <a:pt x="1439995" y="681190"/>
                  <a:pt x="1442741" y="680209"/>
                  <a:pt x="1443840" y="678248"/>
                </a:cubicBezTo>
                <a:close/>
                <a:moveTo>
                  <a:pt x="4014435" y="677267"/>
                </a:moveTo>
                <a:cubicBezTo>
                  <a:pt x="4014435" y="677267"/>
                  <a:pt x="4015808" y="677267"/>
                  <a:pt x="4015808" y="677267"/>
                </a:cubicBezTo>
                <a:cubicBezTo>
                  <a:pt x="4015808" y="678902"/>
                  <a:pt x="4016083" y="680536"/>
                  <a:pt x="4014709" y="680427"/>
                </a:cubicBezTo>
                <a:cubicBezTo>
                  <a:pt x="4013610" y="680427"/>
                  <a:pt x="4013335" y="678793"/>
                  <a:pt x="4014435" y="677267"/>
                </a:cubicBezTo>
                <a:close/>
                <a:moveTo>
                  <a:pt x="4191887" y="677049"/>
                </a:moveTo>
                <a:cubicBezTo>
                  <a:pt x="4194909" y="676286"/>
                  <a:pt x="4199030" y="677267"/>
                  <a:pt x="4203699" y="681298"/>
                </a:cubicBezTo>
                <a:cubicBezTo>
                  <a:pt x="4203974" y="688709"/>
                  <a:pt x="4200952" y="691325"/>
                  <a:pt x="4199579" y="696338"/>
                </a:cubicBezTo>
                <a:cubicBezTo>
                  <a:pt x="4185295" y="697100"/>
                  <a:pt x="4182548" y="687183"/>
                  <a:pt x="4186118" y="681190"/>
                </a:cubicBezTo>
                <a:cubicBezTo>
                  <a:pt x="4187492" y="679228"/>
                  <a:pt x="4189415" y="677594"/>
                  <a:pt x="4191887" y="677049"/>
                </a:cubicBezTo>
                <a:close/>
                <a:moveTo>
                  <a:pt x="1473232" y="676940"/>
                </a:moveTo>
                <a:cubicBezTo>
                  <a:pt x="1472409" y="683587"/>
                  <a:pt x="1472683" y="688055"/>
                  <a:pt x="1472134" y="694702"/>
                </a:cubicBezTo>
                <a:cubicBezTo>
                  <a:pt x="1471310" y="696664"/>
                  <a:pt x="1467189" y="701895"/>
                  <a:pt x="1465266" y="701241"/>
                </a:cubicBezTo>
                <a:cubicBezTo>
                  <a:pt x="1463344" y="700587"/>
                  <a:pt x="1462794" y="699279"/>
                  <a:pt x="1462519" y="697972"/>
                </a:cubicBezTo>
                <a:cubicBezTo>
                  <a:pt x="1462794" y="694702"/>
                  <a:pt x="1463069" y="691433"/>
                  <a:pt x="1463344" y="688055"/>
                </a:cubicBezTo>
                <a:cubicBezTo>
                  <a:pt x="1465541" y="682171"/>
                  <a:pt x="1468013" y="676286"/>
                  <a:pt x="1473232" y="676940"/>
                </a:cubicBezTo>
                <a:close/>
                <a:moveTo>
                  <a:pt x="4380053" y="676613"/>
                </a:moveTo>
                <a:cubicBezTo>
                  <a:pt x="4380603" y="677921"/>
                  <a:pt x="4381152" y="679337"/>
                  <a:pt x="4380053" y="679882"/>
                </a:cubicBezTo>
                <a:cubicBezTo>
                  <a:pt x="4380603" y="681190"/>
                  <a:pt x="4380603" y="681190"/>
                  <a:pt x="4379504" y="681735"/>
                </a:cubicBezTo>
                <a:cubicBezTo>
                  <a:pt x="4378955" y="680427"/>
                  <a:pt x="4378131" y="679119"/>
                  <a:pt x="4377856" y="677812"/>
                </a:cubicBezTo>
                <a:cubicBezTo>
                  <a:pt x="4378406" y="675959"/>
                  <a:pt x="4378406" y="675850"/>
                  <a:pt x="4380053" y="676613"/>
                </a:cubicBezTo>
                <a:close/>
                <a:moveTo>
                  <a:pt x="4145464" y="675523"/>
                </a:moveTo>
                <a:cubicBezTo>
                  <a:pt x="4159198" y="692087"/>
                  <a:pt x="4161946" y="715081"/>
                  <a:pt x="4149310" y="724016"/>
                </a:cubicBezTo>
                <a:cubicBezTo>
                  <a:pt x="4147112" y="725106"/>
                  <a:pt x="4144915" y="725760"/>
                  <a:pt x="4142991" y="726087"/>
                </a:cubicBezTo>
                <a:cubicBezTo>
                  <a:pt x="4132278" y="727395"/>
                  <a:pt x="4123763" y="718023"/>
                  <a:pt x="4121290" y="706908"/>
                </a:cubicBezTo>
                <a:lnTo>
                  <a:pt x="4121016" y="703638"/>
                </a:lnTo>
                <a:lnTo>
                  <a:pt x="4118819" y="701568"/>
                </a:lnTo>
                <a:cubicBezTo>
                  <a:pt x="4117995" y="700260"/>
                  <a:pt x="4117720" y="698953"/>
                  <a:pt x="4117720" y="696555"/>
                </a:cubicBezTo>
                <a:lnTo>
                  <a:pt x="4120741" y="699170"/>
                </a:lnTo>
                <a:lnTo>
                  <a:pt x="4120741" y="695575"/>
                </a:lnTo>
                <a:cubicBezTo>
                  <a:pt x="4122115" y="685331"/>
                  <a:pt x="4129532" y="676286"/>
                  <a:pt x="4145464" y="675523"/>
                </a:cubicBezTo>
                <a:close/>
                <a:moveTo>
                  <a:pt x="2114095" y="674870"/>
                </a:moveTo>
                <a:cubicBezTo>
                  <a:pt x="2115469" y="674325"/>
                  <a:pt x="2116842" y="674870"/>
                  <a:pt x="2117941" y="676068"/>
                </a:cubicBezTo>
                <a:cubicBezTo>
                  <a:pt x="2121237" y="679773"/>
                  <a:pt x="2122336" y="689145"/>
                  <a:pt x="2116293" y="691433"/>
                </a:cubicBezTo>
                <a:cubicBezTo>
                  <a:pt x="2113821" y="691760"/>
                  <a:pt x="2110524" y="688492"/>
                  <a:pt x="2109151" y="684568"/>
                </a:cubicBezTo>
                <a:cubicBezTo>
                  <a:pt x="2107778" y="680754"/>
                  <a:pt x="2108601" y="676395"/>
                  <a:pt x="2114095" y="674870"/>
                </a:cubicBezTo>
                <a:close/>
                <a:moveTo>
                  <a:pt x="3235950" y="674760"/>
                </a:moveTo>
                <a:cubicBezTo>
                  <a:pt x="3238971" y="676613"/>
                  <a:pt x="3238971" y="678029"/>
                  <a:pt x="3237323" y="679337"/>
                </a:cubicBezTo>
                <a:cubicBezTo>
                  <a:pt x="3237323" y="679337"/>
                  <a:pt x="3235950" y="680754"/>
                  <a:pt x="3234301" y="681953"/>
                </a:cubicBezTo>
                <a:cubicBezTo>
                  <a:pt x="3232928" y="683261"/>
                  <a:pt x="3232653" y="684677"/>
                  <a:pt x="3232653" y="684677"/>
                </a:cubicBezTo>
                <a:cubicBezTo>
                  <a:pt x="3232104" y="685331"/>
                  <a:pt x="3231279" y="685549"/>
                  <a:pt x="3230730" y="685440"/>
                </a:cubicBezTo>
                <a:cubicBezTo>
                  <a:pt x="3229906" y="685440"/>
                  <a:pt x="3229082" y="685004"/>
                  <a:pt x="3228532" y="684132"/>
                </a:cubicBezTo>
                <a:cubicBezTo>
                  <a:pt x="3228532" y="684132"/>
                  <a:pt x="3229906" y="681408"/>
                  <a:pt x="3229906" y="681408"/>
                </a:cubicBezTo>
                <a:cubicBezTo>
                  <a:pt x="3232928" y="678902"/>
                  <a:pt x="3234576" y="677485"/>
                  <a:pt x="3235950" y="674760"/>
                </a:cubicBezTo>
                <a:close/>
                <a:moveTo>
                  <a:pt x="3289789" y="674543"/>
                </a:moveTo>
                <a:lnTo>
                  <a:pt x="3287317" y="676831"/>
                </a:lnTo>
                <a:lnTo>
                  <a:pt x="3289240" y="675741"/>
                </a:lnTo>
                <a:lnTo>
                  <a:pt x="3289789" y="674651"/>
                </a:lnTo>
                <a:close/>
                <a:moveTo>
                  <a:pt x="4024048" y="674434"/>
                </a:moveTo>
                <a:cubicBezTo>
                  <a:pt x="4024048" y="674434"/>
                  <a:pt x="4024048" y="674325"/>
                  <a:pt x="4022950" y="685222"/>
                </a:cubicBezTo>
                <a:cubicBezTo>
                  <a:pt x="4022126" y="685004"/>
                  <a:pt x="4021577" y="684350"/>
                  <a:pt x="4021577" y="683479"/>
                </a:cubicBezTo>
                <a:cubicBezTo>
                  <a:pt x="4021577" y="682716"/>
                  <a:pt x="4022126" y="681735"/>
                  <a:pt x="4022400" y="680645"/>
                </a:cubicBezTo>
                <a:cubicBezTo>
                  <a:pt x="4022950" y="678574"/>
                  <a:pt x="4023499" y="676504"/>
                  <a:pt x="4024048" y="674434"/>
                </a:cubicBezTo>
                <a:close/>
                <a:moveTo>
                  <a:pt x="4362198" y="674216"/>
                </a:moveTo>
                <a:cubicBezTo>
                  <a:pt x="4363572" y="673562"/>
                  <a:pt x="4363572" y="673562"/>
                  <a:pt x="4365220" y="674325"/>
                </a:cubicBezTo>
                <a:cubicBezTo>
                  <a:pt x="4366593" y="673671"/>
                  <a:pt x="4366044" y="680427"/>
                  <a:pt x="4366593" y="681735"/>
                </a:cubicBezTo>
                <a:cubicBezTo>
                  <a:pt x="4365220" y="682389"/>
                  <a:pt x="4365494" y="682389"/>
                  <a:pt x="4364945" y="680972"/>
                </a:cubicBezTo>
                <a:lnTo>
                  <a:pt x="4364670" y="681626"/>
                </a:lnTo>
                <a:lnTo>
                  <a:pt x="4362473" y="679011"/>
                </a:lnTo>
                <a:cubicBezTo>
                  <a:pt x="4361924" y="677594"/>
                  <a:pt x="4362198" y="675850"/>
                  <a:pt x="4362198" y="674216"/>
                </a:cubicBezTo>
                <a:close/>
                <a:moveTo>
                  <a:pt x="4051518" y="674216"/>
                </a:moveTo>
                <a:cubicBezTo>
                  <a:pt x="4053167" y="675088"/>
                  <a:pt x="4053167" y="675088"/>
                  <a:pt x="4054815" y="675959"/>
                </a:cubicBezTo>
                <a:cubicBezTo>
                  <a:pt x="4055638" y="678683"/>
                  <a:pt x="4057562" y="680972"/>
                  <a:pt x="4057012" y="684132"/>
                </a:cubicBezTo>
                <a:cubicBezTo>
                  <a:pt x="4055089" y="687947"/>
                  <a:pt x="4047947" y="689145"/>
                  <a:pt x="4044651" y="688709"/>
                </a:cubicBezTo>
                <a:cubicBezTo>
                  <a:pt x="4043003" y="687838"/>
                  <a:pt x="4042179" y="686203"/>
                  <a:pt x="4042179" y="684350"/>
                </a:cubicBezTo>
                <a:cubicBezTo>
                  <a:pt x="4041904" y="682497"/>
                  <a:pt x="4042454" y="680427"/>
                  <a:pt x="4043552" y="678574"/>
                </a:cubicBezTo>
                <a:cubicBezTo>
                  <a:pt x="4043827" y="676940"/>
                  <a:pt x="4045200" y="675850"/>
                  <a:pt x="4046574" y="675088"/>
                </a:cubicBezTo>
                <a:cubicBezTo>
                  <a:pt x="4048222" y="674325"/>
                  <a:pt x="4049870" y="673998"/>
                  <a:pt x="4051518" y="674216"/>
                </a:cubicBezTo>
                <a:close/>
                <a:moveTo>
                  <a:pt x="2484109" y="672690"/>
                </a:moveTo>
                <a:cubicBezTo>
                  <a:pt x="2488230" y="675305"/>
                  <a:pt x="2485757" y="688927"/>
                  <a:pt x="2483285" y="694811"/>
                </a:cubicBezTo>
                <a:cubicBezTo>
                  <a:pt x="2482461" y="694157"/>
                  <a:pt x="2481637" y="692850"/>
                  <a:pt x="2481362" y="691107"/>
                </a:cubicBezTo>
                <a:cubicBezTo>
                  <a:pt x="2480538" y="685875"/>
                  <a:pt x="2482187" y="677049"/>
                  <a:pt x="2484109" y="672690"/>
                </a:cubicBezTo>
                <a:close/>
                <a:moveTo>
                  <a:pt x="3971033" y="672363"/>
                </a:moveTo>
                <a:cubicBezTo>
                  <a:pt x="3975703" y="670837"/>
                  <a:pt x="3984767" y="673889"/>
                  <a:pt x="3984493" y="680100"/>
                </a:cubicBezTo>
                <a:cubicBezTo>
                  <a:pt x="3983669" y="682606"/>
                  <a:pt x="3979273" y="684350"/>
                  <a:pt x="3975428" y="683915"/>
                </a:cubicBezTo>
                <a:cubicBezTo>
                  <a:pt x="3971308" y="683587"/>
                  <a:pt x="3967462" y="681081"/>
                  <a:pt x="3968286" y="675414"/>
                </a:cubicBezTo>
                <a:cubicBezTo>
                  <a:pt x="3968286" y="673889"/>
                  <a:pt x="3969384" y="672908"/>
                  <a:pt x="3971033" y="672363"/>
                </a:cubicBezTo>
                <a:close/>
                <a:moveTo>
                  <a:pt x="2206668" y="671056"/>
                </a:moveTo>
                <a:cubicBezTo>
                  <a:pt x="2207766" y="670728"/>
                  <a:pt x="2208865" y="670837"/>
                  <a:pt x="2209964" y="671710"/>
                </a:cubicBezTo>
                <a:cubicBezTo>
                  <a:pt x="2211337" y="673344"/>
                  <a:pt x="2209689" y="674543"/>
                  <a:pt x="2209689" y="675959"/>
                </a:cubicBezTo>
                <a:cubicBezTo>
                  <a:pt x="2208590" y="678029"/>
                  <a:pt x="2202821" y="680209"/>
                  <a:pt x="2199526" y="680536"/>
                </a:cubicBezTo>
                <a:cubicBezTo>
                  <a:pt x="2198427" y="680645"/>
                  <a:pt x="2197602" y="680645"/>
                  <a:pt x="2197053" y="680209"/>
                </a:cubicBezTo>
                <a:cubicBezTo>
                  <a:pt x="2199251" y="677267"/>
                  <a:pt x="2203096" y="672036"/>
                  <a:pt x="2206668" y="671056"/>
                </a:cubicBezTo>
                <a:close/>
                <a:moveTo>
                  <a:pt x="983589" y="670374"/>
                </a:moveTo>
                <a:cubicBezTo>
                  <a:pt x="986129" y="669775"/>
                  <a:pt x="988670" y="670238"/>
                  <a:pt x="991142" y="671491"/>
                </a:cubicBezTo>
                <a:cubicBezTo>
                  <a:pt x="992791" y="677376"/>
                  <a:pt x="988396" y="682934"/>
                  <a:pt x="983451" y="684024"/>
                </a:cubicBezTo>
                <a:cubicBezTo>
                  <a:pt x="981528" y="684459"/>
                  <a:pt x="979881" y="684350"/>
                  <a:pt x="978507" y="683479"/>
                </a:cubicBezTo>
                <a:cubicBezTo>
                  <a:pt x="978233" y="682497"/>
                  <a:pt x="977408" y="681408"/>
                  <a:pt x="976859" y="680100"/>
                </a:cubicBezTo>
                <a:cubicBezTo>
                  <a:pt x="976584" y="678793"/>
                  <a:pt x="976034" y="677267"/>
                  <a:pt x="976034" y="675633"/>
                </a:cubicBezTo>
                <a:cubicBezTo>
                  <a:pt x="978507" y="672636"/>
                  <a:pt x="981048" y="670974"/>
                  <a:pt x="983589" y="670374"/>
                </a:cubicBezTo>
                <a:close/>
                <a:moveTo>
                  <a:pt x="4227048" y="669203"/>
                </a:moveTo>
                <a:cubicBezTo>
                  <a:pt x="4228971" y="677049"/>
                  <a:pt x="4231444" y="691107"/>
                  <a:pt x="4218258" y="692523"/>
                </a:cubicBezTo>
                <a:cubicBezTo>
                  <a:pt x="4216885" y="690671"/>
                  <a:pt x="4215786" y="688927"/>
                  <a:pt x="4214412" y="687074"/>
                </a:cubicBezTo>
                <a:cubicBezTo>
                  <a:pt x="4221005" y="681190"/>
                  <a:pt x="4222104" y="673998"/>
                  <a:pt x="4227048" y="669203"/>
                </a:cubicBezTo>
                <a:close/>
                <a:moveTo>
                  <a:pt x="4018554" y="668876"/>
                </a:moveTo>
                <a:cubicBezTo>
                  <a:pt x="4017456" y="673344"/>
                  <a:pt x="4017456" y="673344"/>
                  <a:pt x="4014709" y="676178"/>
                </a:cubicBezTo>
                <a:cubicBezTo>
                  <a:pt x="4014709" y="674651"/>
                  <a:pt x="4013061" y="671600"/>
                  <a:pt x="4014435" y="670183"/>
                </a:cubicBezTo>
                <a:cubicBezTo>
                  <a:pt x="4015808" y="668767"/>
                  <a:pt x="4015808" y="668767"/>
                  <a:pt x="4018554" y="668876"/>
                </a:cubicBezTo>
                <a:close/>
                <a:moveTo>
                  <a:pt x="3754299" y="668876"/>
                </a:moveTo>
                <a:cubicBezTo>
                  <a:pt x="3747156" y="668767"/>
                  <a:pt x="3735619" y="670075"/>
                  <a:pt x="3726555" y="670728"/>
                </a:cubicBezTo>
                <a:lnTo>
                  <a:pt x="3720786" y="669966"/>
                </a:lnTo>
                <a:lnTo>
                  <a:pt x="3722434" y="677485"/>
                </a:lnTo>
                <a:lnTo>
                  <a:pt x="3727379" y="679447"/>
                </a:lnTo>
                <a:cubicBezTo>
                  <a:pt x="3727379" y="679447"/>
                  <a:pt x="3729301" y="678793"/>
                  <a:pt x="3729301" y="678793"/>
                </a:cubicBezTo>
                <a:cubicBezTo>
                  <a:pt x="3734246" y="679556"/>
                  <a:pt x="3739465" y="680318"/>
                  <a:pt x="3742212" y="681626"/>
                </a:cubicBezTo>
                <a:cubicBezTo>
                  <a:pt x="3742212" y="681626"/>
                  <a:pt x="3742212" y="681626"/>
                  <a:pt x="3741387" y="679556"/>
                </a:cubicBezTo>
                <a:cubicBezTo>
                  <a:pt x="3744409" y="680972"/>
                  <a:pt x="3744409" y="680972"/>
                  <a:pt x="3744409" y="680972"/>
                </a:cubicBezTo>
                <a:cubicBezTo>
                  <a:pt x="3760616" y="680427"/>
                  <a:pt x="3777098" y="679882"/>
                  <a:pt x="3792207" y="681953"/>
                </a:cubicBezTo>
                <a:lnTo>
                  <a:pt x="3807590" y="682934"/>
                </a:lnTo>
                <a:lnTo>
                  <a:pt x="3810061" y="678902"/>
                </a:lnTo>
                <a:lnTo>
                  <a:pt x="3811709" y="677921"/>
                </a:lnTo>
                <a:lnTo>
                  <a:pt x="3811435" y="677049"/>
                </a:lnTo>
                <a:lnTo>
                  <a:pt x="3808139" y="677376"/>
                </a:lnTo>
                <a:cubicBezTo>
                  <a:pt x="3806490" y="678029"/>
                  <a:pt x="3804842" y="679011"/>
                  <a:pt x="3802920" y="679228"/>
                </a:cubicBezTo>
                <a:cubicBezTo>
                  <a:pt x="3801821" y="679447"/>
                  <a:pt x="3800447" y="679228"/>
                  <a:pt x="3799074" y="678574"/>
                </a:cubicBezTo>
                <a:lnTo>
                  <a:pt x="3799074" y="677158"/>
                </a:lnTo>
                <a:lnTo>
                  <a:pt x="3798524" y="679991"/>
                </a:lnTo>
                <a:cubicBezTo>
                  <a:pt x="3796327" y="680645"/>
                  <a:pt x="3796327" y="680645"/>
                  <a:pt x="3794404" y="681298"/>
                </a:cubicBezTo>
                <a:cubicBezTo>
                  <a:pt x="3794404" y="681298"/>
                  <a:pt x="3791383" y="679882"/>
                  <a:pt x="3791383" y="679882"/>
                </a:cubicBezTo>
                <a:cubicBezTo>
                  <a:pt x="3791383" y="679882"/>
                  <a:pt x="3791383" y="679991"/>
                  <a:pt x="3790558" y="677921"/>
                </a:cubicBezTo>
                <a:cubicBezTo>
                  <a:pt x="3777098" y="679882"/>
                  <a:pt x="3765012" y="672363"/>
                  <a:pt x="3754299" y="668876"/>
                </a:cubicBezTo>
                <a:close/>
                <a:moveTo>
                  <a:pt x="2005591" y="668658"/>
                </a:moveTo>
                <a:cubicBezTo>
                  <a:pt x="2010810" y="674325"/>
                  <a:pt x="2010261" y="678683"/>
                  <a:pt x="2012458" y="683696"/>
                </a:cubicBezTo>
                <a:cubicBezTo>
                  <a:pt x="2007788" y="688927"/>
                  <a:pt x="2003119" y="689908"/>
                  <a:pt x="1999822" y="688709"/>
                </a:cubicBezTo>
                <a:cubicBezTo>
                  <a:pt x="1996526" y="687619"/>
                  <a:pt x="1994054" y="684132"/>
                  <a:pt x="1993505" y="680427"/>
                </a:cubicBezTo>
                <a:cubicBezTo>
                  <a:pt x="1992955" y="678029"/>
                  <a:pt x="1993505" y="675523"/>
                  <a:pt x="1994878" y="673344"/>
                </a:cubicBezTo>
                <a:cubicBezTo>
                  <a:pt x="1996526" y="670511"/>
                  <a:pt x="2000097" y="668441"/>
                  <a:pt x="2005591" y="668658"/>
                </a:cubicBezTo>
                <a:close/>
                <a:moveTo>
                  <a:pt x="4333184" y="668549"/>
                </a:moveTo>
                <a:cubicBezTo>
                  <a:pt x="4337476" y="670647"/>
                  <a:pt x="4340634" y="675142"/>
                  <a:pt x="4339123" y="681517"/>
                </a:cubicBezTo>
                <a:cubicBezTo>
                  <a:pt x="4336926" y="683261"/>
                  <a:pt x="4332806" y="683805"/>
                  <a:pt x="4328685" y="683370"/>
                </a:cubicBezTo>
                <a:cubicBezTo>
                  <a:pt x="4324840" y="683042"/>
                  <a:pt x="4320719" y="681844"/>
                  <a:pt x="4318797" y="680427"/>
                </a:cubicBezTo>
                <a:cubicBezTo>
                  <a:pt x="4317698" y="675523"/>
                  <a:pt x="4318522" y="672145"/>
                  <a:pt x="4320445" y="669966"/>
                </a:cubicBezTo>
                <a:cubicBezTo>
                  <a:pt x="4323467" y="666751"/>
                  <a:pt x="4328892" y="666451"/>
                  <a:pt x="4333184" y="668549"/>
                </a:cubicBezTo>
                <a:close/>
                <a:moveTo>
                  <a:pt x="2829950" y="667023"/>
                </a:moveTo>
                <a:cubicBezTo>
                  <a:pt x="2834895" y="667787"/>
                  <a:pt x="2834070" y="669857"/>
                  <a:pt x="2832697" y="673780"/>
                </a:cubicBezTo>
                <a:cubicBezTo>
                  <a:pt x="2831049" y="673780"/>
                  <a:pt x="2829950" y="673562"/>
                  <a:pt x="2829126" y="672690"/>
                </a:cubicBezTo>
                <a:cubicBezTo>
                  <a:pt x="2828576" y="671818"/>
                  <a:pt x="2828302" y="670293"/>
                  <a:pt x="2828851" y="667677"/>
                </a:cubicBezTo>
                <a:cubicBezTo>
                  <a:pt x="2828851" y="667677"/>
                  <a:pt x="2829950" y="667023"/>
                  <a:pt x="2829950" y="667023"/>
                </a:cubicBezTo>
                <a:close/>
                <a:moveTo>
                  <a:pt x="2307481" y="666805"/>
                </a:moveTo>
                <a:cubicBezTo>
                  <a:pt x="2314348" y="664953"/>
                  <a:pt x="2325610" y="672581"/>
                  <a:pt x="2321215" y="681408"/>
                </a:cubicBezTo>
                <a:cubicBezTo>
                  <a:pt x="2319293" y="682716"/>
                  <a:pt x="2317644" y="684024"/>
                  <a:pt x="2315447" y="684568"/>
                </a:cubicBezTo>
                <a:cubicBezTo>
                  <a:pt x="2313249" y="685222"/>
                  <a:pt x="2310777" y="685113"/>
                  <a:pt x="2307481" y="683696"/>
                </a:cubicBezTo>
                <a:cubicBezTo>
                  <a:pt x="2304184" y="678466"/>
                  <a:pt x="2304184" y="673889"/>
                  <a:pt x="2307481" y="666805"/>
                </a:cubicBezTo>
                <a:close/>
                <a:moveTo>
                  <a:pt x="2726391" y="666588"/>
                </a:moveTo>
                <a:cubicBezTo>
                  <a:pt x="2722545" y="668441"/>
                  <a:pt x="2721721" y="670402"/>
                  <a:pt x="2721171" y="669094"/>
                </a:cubicBezTo>
                <a:cubicBezTo>
                  <a:pt x="2720072" y="669748"/>
                  <a:pt x="2719522" y="668441"/>
                  <a:pt x="2720622" y="667787"/>
                </a:cubicBezTo>
                <a:cubicBezTo>
                  <a:pt x="2720896" y="664518"/>
                  <a:pt x="2724467" y="665825"/>
                  <a:pt x="2726391" y="666588"/>
                </a:cubicBezTo>
                <a:close/>
                <a:moveTo>
                  <a:pt x="1396868" y="666260"/>
                </a:moveTo>
                <a:cubicBezTo>
                  <a:pt x="1400713" y="669966"/>
                  <a:pt x="1398790" y="672472"/>
                  <a:pt x="1401538" y="674543"/>
                </a:cubicBezTo>
                <a:cubicBezTo>
                  <a:pt x="1399064" y="676831"/>
                  <a:pt x="1396868" y="677812"/>
                  <a:pt x="1394395" y="677594"/>
                </a:cubicBezTo>
                <a:cubicBezTo>
                  <a:pt x="1392198" y="677485"/>
                  <a:pt x="1390000" y="676178"/>
                  <a:pt x="1387253" y="674106"/>
                </a:cubicBezTo>
                <a:cubicBezTo>
                  <a:pt x="1387802" y="669966"/>
                  <a:pt x="1392746" y="665280"/>
                  <a:pt x="1396868" y="666260"/>
                </a:cubicBezTo>
                <a:close/>
                <a:moveTo>
                  <a:pt x="3199140" y="665498"/>
                </a:moveTo>
                <a:cubicBezTo>
                  <a:pt x="3204634" y="662556"/>
                  <a:pt x="3218094" y="666043"/>
                  <a:pt x="3205184" y="677267"/>
                </a:cubicBezTo>
                <a:cubicBezTo>
                  <a:pt x="3195294" y="671273"/>
                  <a:pt x="3195844" y="667242"/>
                  <a:pt x="3199140" y="665498"/>
                </a:cubicBezTo>
                <a:close/>
                <a:moveTo>
                  <a:pt x="5907082" y="664844"/>
                </a:moveTo>
                <a:lnTo>
                  <a:pt x="5900764" y="667787"/>
                </a:lnTo>
                <a:lnTo>
                  <a:pt x="5896369" y="667896"/>
                </a:lnTo>
                <a:lnTo>
                  <a:pt x="5903786" y="672799"/>
                </a:lnTo>
                <a:lnTo>
                  <a:pt x="5906807" y="672254"/>
                </a:lnTo>
                <a:cubicBezTo>
                  <a:pt x="5908455" y="672254"/>
                  <a:pt x="5910379" y="672581"/>
                  <a:pt x="5912026" y="673453"/>
                </a:cubicBezTo>
                <a:cubicBezTo>
                  <a:pt x="5912026" y="673453"/>
                  <a:pt x="5912026" y="673453"/>
                  <a:pt x="5910653" y="673235"/>
                </a:cubicBezTo>
                <a:cubicBezTo>
                  <a:pt x="5910653" y="673235"/>
                  <a:pt x="5912026" y="673453"/>
                  <a:pt x="5912026" y="674870"/>
                </a:cubicBezTo>
                <a:lnTo>
                  <a:pt x="5907631" y="675414"/>
                </a:lnTo>
                <a:lnTo>
                  <a:pt x="5909555" y="676722"/>
                </a:lnTo>
                <a:cubicBezTo>
                  <a:pt x="5920817" y="685004"/>
                  <a:pt x="5930981" y="693177"/>
                  <a:pt x="5942518" y="694594"/>
                </a:cubicBezTo>
                <a:cubicBezTo>
                  <a:pt x="5936750" y="687728"/>
                  <a:pt x="5926860" y="678139"/>
                  <a:pt x="5916697" y="671273"/>
                </a:cubicBezTo>
                <a:close/>
                <a:moveTo>
                  <a:pt x="2268199" y="664844"/>
                </a:moveTo>
                <a:cubicBezTo>
                  <a:pt x="2269848" y="664844"/>
                  <a:pt x="2271770" y="665062"/>
                  <a:pt x="2273418" y="666043"/>
                </a:cubicBezTo>
                <a:cubicBezTo>
                  <a:pt x="2273418" y="666043"/>
                  <a:pt x="2273418" y="666043"/>
                  <a:pt x="2272045" y="665934"/>
                </a:cubicBezTo>
                <a:cubicBezTo>
                  <a:pt x="2272045" y="665934"/>
                  <a:pt x="2273418" y="666043"/>
                  <a:pt x="2273418" y="667459"/>
                </a:cubicBezTo>
                <a:cubicBezTo>
                  <a:pt x="2271770" y="668331"/>
                  <a:pt x="2269573" y="668767"/>
                  <a:pt x="2267375" y="668985"/>
                </a:cubicBezTo>
                <a:cubicBezTo>
                  <a:pt x="2265178" y="669203"/>
                  <a:pt x="2262980" y="669094"/>
                  <a:pt x="2261057" y="668985"/>
                </a:cubicBezTo>
                <a:cubicBezTo>
                  <a:pt x="2257211" y="668658"/>
                  <a:pt x="2253915" y="668004"/>
                  <a:pt x="2253366" y="667896"/>
                </a:cubicBezTo>
                <a:cubicBezTo>
                  <a:pt x="2253366" y="666478"/>
                  <a:pt x="2253366" y="666478"/>
                  <a:pt x="2253366" y="666478"/>
                </a:cubicBezTo>
                <a:cubicBezTo>
                  <a:pt x="2257486" y="668004"/>
                  <a:pt x="2262705" y="664953"/>
                  <a:pt x="2268199" y="664844"/>
                </a:cubicBezTo>
                <a:close/>
                <a:moveTo>
                  <a:pt x="1162827" y="664408"/>
                </a:moveTo>
                <a:cubicBezTo>
                  <a:pt x="1165574" y="667787"/>
                  <a:pt x="1165299" y="669312"/>
                  <a:pt x="1166673" y="671056"/>
                </a:cubicBezTo>
                <a:cubicBezTo>
                  <a:pt x="1166673" y="669530"/>
                  <a:pt x="1168047" y="671273"/>
                  <a:pt x="1168047" y="671273"/>
                </a:cubicBezTo>
                <a:cubicBezTo>
                  <a:pt x="1168047" y="671273"/>
                  <a:pt x="1168047" y="671273"/>
                  <a:pt x="1171068" y="668767"/>
                </a:cubicBezTo>
                <a:cubicBezTo>
                  <a:pt x="1171068" y="668767"/>
                  <a:pt x="1178485" y="663973"/>
                  <a:pt x="1185078" y="671056"/>
                </a:cubicBezTo>
                <a:cubicBezTo>
                  <a:pt x="1183705" y="672254"/>
                  <a:pt x="1191396" y="682606"/>
                  <a:pt x="1188374" y="687947"/>
                </a:cubicBezTo>
                <a:cubicBezTo>
                  <a:pt x="1186726" y="690671"/>
                  <a:pt x="1185078" y="691870"/>
                  <a:pt x="1183705" y="694594"/>
                </a:cubicBezTo>
                <a:cubicBezTo>
                  <a:pt x="1181506" y="694157"/>
                  <a:pt x="1179309" y="695030"/>
                  <a:pt x="1176561" y="695030"/>
                </a:cubicBezTo>
                <a:cubicBezTo>
                  <a:pt x="1173815" y="694921"/>
                  <a:pt x="1170793" y="694049"/>
                  <a:pt x="1166673" y="690453"/>
                </a:cubicBezTo>
                <a:cubicBezTo>
                  <a:pt x="1158707" y="681626"/>
                  <a:pt x="1166398" y="673889"/>
                  <a:pt x="1165025" y="673671"/>
                </a:cubicBezTo>
                <a:cubicBezTo>
                  <a:pt x="1163652" y="671927"/>
                  <a:pt x="1163652" y="672036"/>
                  <a:pt x="1162278" y="671818"/>
                </a:cubicBezTo>
                <a:cubicBezTo>
                  <a:pt x="1162278" y="670293"/>
                  <a:pt x="1161179" y="667133"/>
                  <a:pt x="1159805" y="665498"/>
                </a:cubicBezTo>
                <a:cubicBezTo>
                  <a:pt x="1161179" y="665715"/>
                  <a:pt x="1162827" y="665825"/>
                  <a:pt x="1162827" y="664408"/>
                </a:cubicBezTo>
                <a:close/>
                <a:moveTo>
                  <a:pt x="3683702" y="663645"/>
                </a:moveTo>
                <a:cubicBezTo>
                  <a:pt x="3679307" y="664953"/>
                  <a:pt x="3675186" y="666260"/>
                  <a:pt x="3669967" y="665607"/>
                </a:cubicBezTo>
                <a:cubicBezTo>
                  <a:pt x="3666671" y="668985"/>
                  <a:pt x="3657331" y="669530"/>
                  <a:pt x="3645245" y="668767"/>
                </a:cubicBezTo>
                <a:cubicBezTo>
                  <a:pt x="3635905" y="669421"/>
                  <a:pt x="3623819" y="668658"/>
                  <a:pt x="3612282" y="669966"/>
                </a:cubicBezTo>
                <a:cubicBezTo>
                  <a:pt x="3613105" y="672036"/>
                  <a:pt x="3613105" y="672036"/>
                  <a:pt x="3613105" y="672036"/>
                </a:cubicBezTo>
                <a:cubicBezTo>
                  <a:pt x="3636180" y="671710"/>
                  <a:pt x="3657880" y="671600"/>
                  <a:pt x="3678757" y="678574"/>
                </a:cubicBezTo>
                <a:lnTo>
                  <a:pt x="3687547" y="682716"/>
                </a:lnTo>
                <a:lnTo>
                  <a:pt x="3688372" y="680754"/>
                </a:lnTo>
                <a:cubicBezTo>
                  <a:pt x="3689196" y="679447"/>
                  <a:pt x="3690295" y="677921"/>
                  <a:pt x="3691393" y="675523"/>
                </a:cubicBezTo>
                <a:cubicBezTo>
                  <a:pt x="3694690" y="675196"/>
                  <a:pt x="3694690" y="675305"/>
                  <a:pt x="3695239" y="676504"/>
                </a:cubicBezTo>
                <a:cubicBezTo>
                  <a:pt x="3694690" y="675305"/>
                  <a:pt x="3695788" y="674543"/>
                  <a:pt x="3696338" y="672472"/>
                </a:cubicBezTo>
                <a:lnTo>
                  <a:pt x="3701282" y="665280"/>
                </a:lnTo>
                <a:lnTo>
                  <a:pt x="3700733" y="665062"/>
                </a:lnTo>
                <a:cubicBezTo>
                  <a:pt x="3695788" y="664299"/>
                  <a:pt x="3688647" y="664299"/>
                  <a:pt x="3683702" y="663645"/>
                </a:cubicBezTo>
                <a:close/>
                <a:moveTo>
                  <a:pt x="2244575" y="662446"/>
                </a:moveTo>
                <a:cubicBezTo>
                  <a:pt x="2244575" y="662446"/>
                  <a:pt x="2244850" y="662337"/>
                  <a:pt x="2246223" y="664081"/>
                </a:cubicBezTo>
                <a:cubicBezTo>
                  <a:pt x="2244026" y="663754"/>
                  <a:pt x="2242653" y="667023"/>
                  <a:pt x="2240729" y="667242"/>
                </a:cubicBezTo>
                <a:cubicBezTo>
                  <a:pt x="2240180" y="667242"/>
                  <a:pt x="2239631" y="666914"/>
                  <a:pt x="2238807" y="666152"/>
                </a:cubicBezTo>
                <a:cubicBezTo>
                  <a:pt x="2240180" y="664844"/>
                  <a:pt x="2243202" y="663754"/>
                  <a:pt x="2244575" y="662446"/>
                </a:cubicBezTo>
                <a:close/>
                <a:moveTo>
                  <a:pt x="3227709" y="662120"/>
                </a:moveTo>
                <a:cubicBezTo>
                  <a:pt x="3229082" y="663754"/>
                  <a:pt x="3229356" y="662229"/>
                  <a:pt x="3230730" y="662446"/>
                </a:cubicBezTo>
                <a:cubicBezTo>
                  <a:pt x="3229082" y="663754"/>
                  <a:pt x="3229082" y="668331"/>
                  <a:pt x="3227434" y="671165"/>
                </a:cubicBezTo>
                <a:cubicBezTo>
                  <a:pt x="3226060" y="670946"/>
                  <a:pt x="3224686" y="672472"/>
                  <a:pt x="3223313" y="672254"/>
                </a:cubicBezTo>
                <a:cubicBezTo>
                  <a:pt x="3223313" y="670728"/>
                  <a:pt x="3222215" y="667459"/>
                  <a:pt x="3223588" y="667677"/>
                </a:cubicBezTo>
                <a:cubicBezTo>
                  <a:pt x="3223588" y="666152"/>
                  <a:pt x="3226335" y="666478"/>
                  <a:pt x="3226335" y="666478"/>
                </a:cubicBezTo>
                <a:cubicBezTo>
                  <a:pt x="3226335" y="664953"/>
                  <a:pt x="3226335" y="663428"/>
                  <a:pt x="3227709" y="662120"/>
                </a:cubicBezTo>
                <a:close/>
                <a:moveTo>
                  <a:pt x="2732708" y="661684"/>
                </a:moveTo>
                <a:cubicBezTo>
                  <a:pt x="2738752" y="660485"/>
                  <a:pt x="2742598" y="663100"/>
                  <a:pt x="2742322" y="669312"/>
                </a:cubicBezTo>
                <a:cubicBezTo>
                  <a:pt x="2738202" y="668658"/>
                  <a:pt x="2737103" y="671710"/>
                  <a:pt x="2732983" y="671056"/>
                </a:cubicBezTo>
                <a:cubicBezTo>
                  <a:pt x="2733258" y="666914"/>
                  <a:pt x="2732434" y="663754"/>
                  <a:pt x="2732708" y="661684"/>
                </a:cubicBezTo>
                <a:close/>
                <a:moveTo>
                  <a:pt x="2700294" y="661248"/>
                </a:moveTo>
                <a:cubicBezTo>
                  <a:pt x="2698371" y="665062"/>
                  <a:pt x="2695350" y="670183"/>
                  <a:pt x="2690954" y="672690"/>
                </a:cubicBezTo>
                <a:lnTo>
                  <a:pt x="2689856" y="673017"/>
                </a:lnTo>
                <a:lnTo>
                  <a:pt x="2692053" y="673889"/>
                </a:lnTo>
                <a:cubicBezTo>
                  <a:pt x="2693977" y="676613"/>
                  <a:pt x="2692878" y="680972"/>
                  <a:pt x="2692878" y="680972"/>
                </a:cubicBezTo>
                <a:cubicBezTo>
                  <a:pt x="2691778" y="685440"/>
                  <a:pt x="2691778" y="685440"/>
                  <a:pt x="2696448" y="686420"/>
                </a:cubicBezTo>
                <a:cubicBezTo>
                  <a:pt x="2696448" y="686420"/>
                  <a:pt x="2693427" y="688055"/>
                  <a:pt x="2693427" y="688055"/>
                </a:cubicBezTo>
                <a:cubicBezTo>
                  <a:pt x="2691778" y="685440"/>
                  <a:pt x="2693427" y="688164"/>
                  <a:pt x="2692328" y="692632"/>
                </a:cubicBezTo>
                <a:cubicBezTo>
                  <a:pt x="2688483" y="692959"/>
                  <a:pt x="2686010" y="693613"/>
                  <a:pt x="2683538" y="694049"/>
                </a:cubicBezTo>
                <a:cubicBezTo>
                  <a:pt x="2681340" y="694376"/>
                  <a:pt x="2679417" y="694485"/>
                  <a:pt x="2677220" y="694049"/>
                </a:cubicBezTo>
                <a:cubicBezTo>
                  <a:pt x="2674747" y="693504"/>
                  <a:pt x="2671726" y="692415"/>
                  <a:pt x="2669803" y="690888"/>
                </a:cubicBezTo>
                <a:cubicBezTo>
                  <a:pt x="2667606" y="689254"/>
                  <a:pt x="2666507" y="687183"/>
                  <a:pt x="2667056" y="684895"/>
                </a:cubicBezTo>
                <a:cubicBezTo>
                  <a:pt x="2669803" y="683261"/>
                  <a:pt x="2667880" y="680536"/>
                  <a:pt x="2670902" y="678793"/>
                </a:cubicBezTo>
                <a:cubicBezTo>
                  <a:pt x="2672825" y="675741"/>
                  <a:pt x="2674747" y="673780"/>
                  <a:pt x="2676671" y="672690"/>
                </a:cubicBezTo>
                <a:lnTo>
                  <a:pt x="2680791" y="672145"/>
                </a:lnTo>
                <a:lnTo>
                  <a:pt x="2678593" y="671273"/>
                </a:lnTo>
                <a:cubicBezTo>
                  <a:pt x="2678593" y="669203"/>
                  <a:pt x="2678593" y="667242"/>
                  <a:pt x="2678868" y="665171"/>
                </a:cubicBezTo>
                <a:cubicBezTo>
                  <a:pt x="2687933" y="665498"/>
                  <a:pt x="2693152" y="661139"/>
                  <a:pt x="2700294" y="661248"/>
                </a:cubicBezTo>
                <a:close/>
                <a:moveTo>
                  <a:pt x="2104481" y="660050"/>
                </a:moveTo>
                <a:cubicBezTo>
                  <a:pt x="2106129" y="665934"/>
                  <a:pt x="2103382" y="667896"/>
                  <a:pt x="2097614" y="670075"/>
                </a:cubicBezTo>
                <a:cubicBezTo>
                  <a:pt x="2094317" y="661575"/>
                  <a:pt x="2097614" y="661466"/>
                  <a:pt x="2104481" y="660050"/>
                </a:cubicBezTo>
                <a:close/>
                <a:moveTo>
                  <a:pt x="4899227" y="659177"/>
                </a:moveTo>
                <a:lnTo>
                  <a:pt x="4896205" y="662991"/>
                </a:lnTo>
                <a:cubicBezTo>
                  <a:pt x="4889612" y="668767"/>
                  <a:pt x="4881920" y="673998"/>
                  <a:pt x="4873955" y="679447"/>
                </a:cubicBezTo>
                <a:lnTo>
                  <a:pt x="4858297" y="691870"/>
                </a:lnTo>
                <a:lnTo>
                  <a:pt x="4858846" y="694702"/>
                </a:lnTo>
                <a:lnTo>
                  <a:pt x="4865164" y="698408"/>
                </a:lnTo>
                <a:lnTo>
                  <a:pt x="4866264" y="700369"/>
                </a:lnTo>
                <a:lnTo>
                  <a:pt x="4872856" y="696119"/>
                </a:lnTo>
                <a:cubicBezTo>
                  <a:pt x="4882745" y="689363"/>
                  <a:pt x="4892634" y="682171"/>
                  <a:pt x="4902797" y="675305"/>
                </a:cubicBezTo>
                <a:lnTo>
                  <a:pt x="4903347" y="674434"/>
                </a:lnTo>
                <a:lnTo>
                  <a:pt x="4902797" y="672036"/>
                </a:lnTo>
                <a:lnTo>
                  <a:pt x="4899502" y="674216"/>
                </a:lnTo>
                <a:cubicBezTo>
                  <a:pt x="4897029" y="676068"/>
                  <a:pt x="4894008" y="677812"/>
                  <a:pt x="4890711" y="677485"/>
                </a:cubicBezTo>
                <a:cubicBezTo>
                  <a:pt x="4890986" y="674870"/>
                  <a:pt x="4892359" y="671927"/>
                  <a:pt x="4894557" y="669312"/>
                </a:cubicBezTo>
                <a:lnTo>
                  <a:pt x="4900600" y="663864"/>
                </a:lnTo>
                <a:close/>
                <a:moveTo>
                  <a:pt x="1538060" y="658632"/>
                </a:moveTo>
                <a:cubicBezTo>
                  <a:pt x="1541357" y="660594"/>
                  <a:pt x="1543280" y="662882"/>
                  <a:pt x="1546576" y="664844"/>
                </a:cubicBezTo>
                <a:lnTo>
                  <a:pt x="1542730" y="668985"/>
                </a:lnTo>
                <a:lnTo>
                  <a:pt x="1550147" y="674434"/>
                </a:lnTo>
                <a:cubicBezTo>
                  <a:pt x="1548499" y="675633"/>
                  <a:pt x="1552620" y="679337"/>
                  <a:pt x="1553718" y="682497"/>
                </a:cubicBezTo>
                <a:cubicBezTo>
                  <a:pt x="1553443" y="686965"/>
                  <a:pt x="1553169" y="689908"/>
                  <a:pt x="1550147" y="692415"/>
                </a:cubicBezTo>
                <a:lnTo>
                  <a:pt x="1545203" y="694157"/>
                </a:lnTo>
                <a:lnTo>
                  <a:pt x="1547126" y="695684"/>
                </a:lnTo>
                <a:cubicBezTo>
                  <a:pt x="1548225" y="697209"/>
                  <a:pt x="1549048" y="698844"/>
                  <a:pt x="1550696" y="699715"/>
                </a:cubicBezTo>
                <a:cubicBezTo>
                  <a:pt x="1549598" y="700914"/>
                  <a:pt x="1547950" y="702658"/>
                  <a:pt x="1546026" y="703747"/>
                </a:cubicBezTo>
                <a:lnTo>
                  <a:pt x="1542181" y="703965"/>
                </a:lnTo>
                <a:lnTo>
                  <a:pt x="1542730" y="706036"/>
                </a:lnTo>
                <a:cubicBezTo>
                  <a:pt x="1541632" y="711484"/>
                  <a:pt x="1536412" y="717151"/>
                  <a:pt x="1528720" y="716389"/>
                </a:cubicBezTo>
                <a:cubicBezTo>
                  <a:pt x="1526798" y="713991"/>
                  <a:pt x="1525974" y="711593"/>
                  <a:pt x="1525150" y="709523"/>
                </a:cubicBezTo>
                <a:cubicBezTo>
                  <a:pt x="1524325" y="707453"/>
                  <a:pt x="1524050" y="705600"/>
                  <a:pt x="1523502" y="704075"/>
                </a:cubicBezTo>
                <a:cubicBezTo>
                  <a:pt x="1526798" y="701350"/>
                  <a:pt x="1528720" y="698517"/>
                  <a:pt x="1532017" y="695901"/>
                </a:cubicBezTo>
                <a:lnTo>
                  <a:pt x="1532567" y="695901"/>
                </a:lnTo>
                <a:lnTo>
                  <a:pt x="1532567" y="695575"/>
                </a:lnTo>
                <a:lnTo>
                  <a:pt x="1534489" y="693395"/>
                </a:lnTo>
                <a:lnTo>
                  <a:pt x="1531742" y="692415"/>
                </a:lnTo>
                <a:cubicBezTo>
                  <a:pt x="1526524" y="687074"/>
                  <a:pt x="1525150" y="682389"/>
                  <a:pt x="1525699" y="677921"/>
                </a:cubicBezTo>
                <a:cubicBezTo>
                  <a:pt x="1525699" y="677921"/>
                  <a:pt x="1525699" y="677921"/>
                  <a:pt x="1525699" y="679337"/>
                </a:cubicBezTo>
                <a:cubicBezTo>
                  <a:pt x="1519656" y="684350"/>
                  <a:pt x="1508943" y="692959"/>
                  <a:pt x="1504823" y="690888"/>
                </a:cubicBezTo>
                <a:cubicBezTo>
                  <a:pt x="1505097" y="689363"/>
                  <a:pt x="1505097" y="687947"/>
                  <a:pt x="1506471" y="686639"/>
                </a:cubicBezTo>
                <a:cubicBezTo>
                  <a:pt x="1508119" y="685440"/>
                  <a:pt x="1508119" y="686965"/>
                  <a:pt x="1508119" y="685440"/>
                </a:cubicBezTo>
                <a:cubicBezTo>
                  <a:pt x="1509493" y="684241"/>
                  <a:pt x="1508119" y="683915"/>
                  <a:pt x="1508119" y="683915"/>
                </a:cubicBezTo>
                <a:cubicBezTo>
                  <a:pt x="1508119" y="683915"/>
                  <a:pt x="1509493" y="684132"/>
                  <a:pt x="1509493" y="684132"/>
                </a:cubicBezTo>
                <a:cubicBezTo>
                  <a:pt x="1509493" y="684132"/>
                  <a:pt x="1509493" y="684241"/>
                  <a:pt x="1512514" y="681735"/>
                </a:cubicBezTo>
                <a:cubicBezTo>
                  <a:pt x="1515536" y="677812"/>
                  <a:pt x="1515811" y="676286"/>
                  <a:pt x="1517458" y="673562"/>
                </a:cubicBezTo>
                <a:cubicBezTo>
                  <a:pt x="1520481" y="671056"/>
                  <a:pt x="1521854" y="671382"/>
                  <a:pt x="1526249" y="669094"/>
                </a:cubicBezTo>
                <a:cubicBezTo>
                  <a:pt x="1528995" y="671056"/>
                  <a:pt x="1528995" y="670946"/>
                  <a:pt x="1528720" y="672472"/>
                </a:cubicBezTo>
                <a:cubicBezTo>
                  <a:pt x="1528995" y="670946"/>
                  <a:pt x="1530369" y="671273"/>
                  <a:pt x="1531742" y="670075"/>
                </a:cubicBezTo>
                <a:lnTo>
                  <a:pt x="1535588" y="667133"/>
                </a:lnTo>
                <a:lnTo>
                  <a:pt x="1535588" y="663645"/>
                </a:lnTo>
                <a:cubicBezTo>
                  <a:pt x="1535588" y="662120"/>
                  <a:pt x="1536138" y="660594"/>
                  <a:pt x="1538060" y="658632"/>
                </a:cubicBezTo>
                <a:close/>
                <a:moveTo>
                  <a:pt x="1885275" y="658088"/>
                </a:moveTo>
                <a:cubicBezTo>
                  <a:pt x="1883626" y="669203"/>
                  <a:pt x="1880055" y="675850"/>
                  <a:pt x="1868244" y="674106"/>
                </a:cubicBezTo>
                <a:cubicBezTo>
                  <a:pt x="1864947" y="668985"/>
                  <a:pt x="1867145" y="663864"/>
                  <a:pt x="1871265" y="660594"/>
                </a:cubicBezTo>
                <a:cubicBezTo>
                  <a:pt x="1875111" y="657325"/>
                  <a:pt x="1880879" y="655799"/>
                  <a:pt x="1885275" y="658088"/>
                </a:cubicBezTo>
                <a:close/>
                <a:moveTo>
                  <a:pt x="2929390" y="657761"/>
                </a:moveTo>
                <a:cubicBezTo>
                  <a:pt x="2932961" y="659831"/>
                  <a:pt x="2935158" y="662337"/>
                  <a:pt x="2938730" y="664408"/>
                </a:cubicBezTo>
                <a:cubicBezTo>
                  <a:pt x="2938455" y="667568"/>
                  <a:pt x="2936807" y="668767"/>
                  <a:pt x="2934884" y="668876"/>
                </a:cubicBezTo>
                <a:cubicBezTo>
                  <a:pt x="2932961" y="668985"/>
                  <a:pt x="2930488" y="668113"/>
                  <a:pt x="2928016" y="667242"/>
                </a:cubicBezTo>
                <a:cubicBezTo>
                  <a:pt x="2928566" y="664081"/>
                  <a:pt x="2926094" y="661575"/>
                  <a:pt x="2929390" y="657761"/>
                </a:cubicBezTo>
                <a:close/>
                <a:moveTo>
                  <a:pt x="1806986" y="657216"/>
                </a:moveTo>
                <a:cubicBezTo>
                  <a:pt x="1813030" y="654055"/>
                  <a:pt x="1825941" y="657107"/>
                  <a:pt x="1811381" y="668767"/>
                </a:cubicBezTo>
                <a:cubicBezTo>
                  <a:pt x="1806986" y="665934"/>
                  <a:pt x="1805064" y="663536"/>
                  <a:pt x="1804515" y="661575"/>
                </a:cubicBezTo>
                <a:cubicBezTo>
                  <a:pt x="1804240" y="659613"/>
                  <a:pt x="1805338" y="658088"/>
                  <a:pt x="1806986" y="657216"/>
                </a:cubicBezTo>
                <a:close/>
                <a:moveTo>
                  <a:pt x="6206224" y="656017"/>
                </a:moveTo>
                <a:cubicBezTo>
                  <a:pt x="6206774" y="657761"/>
                  <a:pt x="6206224" y="656017"/>
                  <a:pt x="6204851" y="660158"/>
                </a:cubicBezTo>
                <a:cubicBezTo>
                  <a:pt x="6202105" y="658851"/>
                  <a:pt x="6204302" y="658306"/>
                  <a:pt x="6206224" y="656017"/>
                </a:cubicBezTo>
                <a:close/>
                <a:moveTo>
                  <a:pt x="2127006" y="655799"/>
                </a:moveTo>
                <a:cubicBezTo>
                  <a:pt x="2130577" y="660921"/>
                  <a:pt x="2131401" y="662774"/>
                  <a:pt x="2131126" y="669312"/>
                </a:cubicBezTo>
                <a:lnTo>
                  <a:pt x="2126182" y="671382"/>
                </a:lnTo>
                <a:lnTo>
                  <a:pt x="2129478" y="677921"/>
                </a:lnTo>
                <a:cubicBezTo>
                  <a:pt x="2127830" y="678793"/>
                  <a:pt x="2125632" y="678902"/>
                  <a:pt x="2123710" y="678357"/>
                </a:cubicBezTo>
                <a:lnTo>
                  <a:pt x="2116018" y="674325"/>
                </a:lnTo>
                <a:lnTo>
                  <a:pt x="2107778" y="674325"/>
                </a:lnTo>
                <a:cubicBezTo>
                  <a:pt x="2105030" y="670511"/>
                  <a:pt x="2104206" y="667568"/>
                  <a:pt x="2104755" y="665389"/>
                </a:cubicBezTo>
                <a:lnTo>
                  <a:pt x="2106954" y="663428"/>
                </a:lnTo>
                <a:lnTo>
                  <a:pt x="2107778" y="656017"/>
                </a:lnTo>
                <a:lnTo>
                  <a:pt x="2113546" y="659505"/>
                </a:lnTo>
                <a:close/>
                <a:moveTo>
                  <a:pt x="1418568" y="654709"/>
                </a:moveTo>
                <a:cubicBezTo>
                  <a:pt x="1421040" y="659505"/>
                  <a:pt x="1413349" y="669857"/>
                  <a:pt x="1408954" y="673453"/>
                </a:cubicBezTo>
                <a:cubicBezTo>
                  <a:pt x="1408404" y="672254"/>
                  <a:pt x="1408404" y="670728"/>
                  <a:pt x="1408954" y="669094"/>
                </a:cubicBezTo>
                <a:cubicBezTo>
                  <a:pt x="1410327" y="663973"/>
                  <a:pt x="1415272" y="657434"/>
                  <a:pt x="1418568" y="654709"/>
                </a:cubicBezTo>
                <a:close/>
                <a:moveTo>
                  <a:pt x="2911260" y="653620"/>
                </a:moveTo>
                <a:cubicBezTo>
                  <a:pt x="2911260" y="653620"/>
                  <a:pt x="2911260" y="653620"/>
                  <a:pt x="2909062" y="664518"/>
                </a:cubicBezTo>
                <a:cubicBezTo>
                  <a:pt x="2907963" y="664190"/>
                  <a:pt x="2907689" y="663428"/>
                  <a:pt x="2907963" y="662665"/>
                </a:cubicBezTo>
                <a:cubicBezTo>
                  <a:pt x="2907963" y="661792"/>
                  <a:pt x="2908238" y="660703"/>
                  <a:pt x="2908787" y="659722"/>
                </a:cubicBezTo>
                <a:cubicBezTo>
                  <a:pt x="2909611" y="657652"/>
                  <a:pt x="2910436" y="655690"/>
                  <a:pt x="2911260" y="653620"/>
                </a:cubicBezTo>
                <a:close/>
                <a:moveTo>
                  <a:pt x="4346815" y="653184"/>
                </a:moveTo>
                <a:cubicBezTo>
                  <a:pt x="4353957" y="651222"/>
                  <a:pt x="4364121" y="658523"/>
                  <a:pt x="4358627" y="667568"/>
                </a:cubicBezTo>
                <a:cubicBezTo>
                  <a:pt x="4356430" y="668876"/>
                  <a:pt x="4354506" y="670183"/>
                  <a:pt x="4352309" y="670837"/>
                </a:cubicBezTo>
                <a:cubicBezTo>
                  <a:pt x="4350111" y="671491"/>
                  <a:pt x="4347365" y="671600"/>
                  <a:pt x="4344343" y="670293"/>
                </a:cubicBezTo>
                <a:cubicBezTo>
                  <a:pt x="4341871" y="665062"/>
                  <a:pt x="4342420" y="660485"/>
                  <a:pt x="4346815" y="653184"/>
                </a:cubicBezTo>
                <a:close/>
                <a:moveTo>
                  <a:pt x="1952025" y="652966"/>
                </a:moveTo>
                <a:cubicBezTo>
                  <a:pt x="1957794" y="655145"/>
                  <a:pt x="1959992" y="666697"/>
                  <a:pt x="1955871" y="670837"/>
                </a:cubicBezTo>
                <a:cubicBezTo>
                  <a:pt x="1954223" y="661248"/>
                  <a:pt x="1947355" y="658415"/>
                  <a:pt x="1952025" y="652966"/>
                </a:cubicBezTo>
                <a:close/>
                <a:moveTo>
                  <a:pt x="3891646" y="651876"/>
                </a:moveTo>
                <a:cubicBezTo>
                  <a:pt x="3902908" y="663319"/>
                  <a:pt x="3900436" y="669748"/>
                  <a:pt x="3891371" y="679991"/>
                </a:cubicBezTo>
                <a:cubicBezTo>
                  <a:pt x="3883680" y="671382"/>
                  <a:pt x="3886427" y="664953"/>
                  <a:pt x="3891646" y="651876"/>
                </a:cubicBezTo>
                <a:close/>
                <a:moveTo>
                  <a:pt x="3503777" y="651659"/>
                </a:moveTo>
                <a:lnTo>
                  <a:pt x="3503777" y="653293"/>
                </a:lnTo>
                <a:lnTo>
                  <a:pt x="3503228" y="653620"/>
                </a:lnTo>
                <a:lnTo>
                  <a:pt x="3501579" y="652639"/>
                </a:lnTo>
                <a:close/>
                <a:moveTo>
                  <a:pt x="2828302" y="650569"/>
                </a:moveTo>
                <a:cubicBezTo>
                  <a:pt x="2830225" y="651331"/>
                  <a:pt x="2829126" y="656671"/>
                  <a:pt x="2829676" y="658088"/>
                </a:cubicBezTo>
                <a:cubicBezTo>
                  <a:pt x="2828302" y="658742"/>
                  <a:pt x="2826379" y="657979"/>
                  <a:pt x="2825006" y="658742"/>
                </a:cubicBezTo>
                <a:cubicBezTo>
                  <a:pt x="2824457" y="657325"/>
                  <a:pt x="2823357" y="654600"/>
                  <a:pt x="2824182" y="652530"/>
                </a:cubicBezTo>
                <a:cubicBezTo>
                  <a:pt x="2823633" y="651222"/>
                  <a:pt x="2828302" y="650569"/>
                  <a:pt x="2828302" y="650569"/>
                </a:cubicBezTo>
                <a:close/>
                <a:moveTo>
                  <a:pt x="3027730" y="650024"/>
                </a:moveTo>
                <a:cubicBezTo>
                  <a:pt x="3031027" y="649806"/>
                  <a:pt x="3031302" y="652748"/>
                  <a:pt x="3031576" y="655908"/>
                </a:cubicBezTo>
                <a:cubicBezTo>
                  <a:pt x="3031851" y="658960"/>
                  <a:pt x="3028829" y="659286"/>
                  <a:pt x="3025259" y="659613"/>
                </a:cubicBezTo>
                <a:cubicBezTo>
                  <a:pt x="3021962" y="659831"/>
                  <a:pt x="3021687" y="656780"/>
                  <a:pt x="3021138" y="650569"/>
                </a:cubicBezTo>
                <a:cubicBezTo>
                  <a:pt x="3024434" y="650351"/>
                  <a:pt x="3024434" y="650351"/>
                  <a:pt x="3027730" y="650024"/>
                </a:cubicBezTo>
                <a:close/>
                <a:moveTo>
                  <a:pt x="2474770" y="649697"/>
                </a:moveTo>
                <a:cubicBezTo>
                  <a:pt x="2477517" y="653075"/>
                  <a:pt x="2479989" y="656453"/>
                  <a:pt x="2476968" y="658960"/>
                </a:cubicBezTo>
                <a:cubicBezTo>
                  <a:pt x="2475593" y="660158"/>
                  <a:pt x="2473945" y="661466"/>
                  <a:pt x="2471199" y="661030"/>
                </a:cubicBezTo>
                <a:cubicBezTo>
                  <a:pt x="2468726" y="657652"/>
                  <a:pt x="2470374" y="653511"/>
                  <a:pt x="2469001" y="651767"/>
                </a:cubicBezTo>
                <a:cubicBezTo>
                  <a:pt x="2470374" y="652094"/>
                  <a:pt x="2473121" y="652421"/>
                  <a:pt x="2474770" y="649697"/>
                </a:cubicBezTo>
                <a:close/>
                <a:moveTo>
                  <a:pt x="4148485" y="649152"/>
                </a:moveTo>
                <a:cubicBezTo>
                  <a:pt x="4158374" y="655145"/>
                  <a:pt x="4169637" y="660812"/>
                  <a:pt x="4167165" y="670511"/>
                </a:cubicBezTo>
                <a:cubicBezTo>
                  <a:pt x="4165242" y="671491"/>
                  <a:pt x="4163044" y="671600"/>
                  <a:pt x="4161122" y="671165"/>
                </a:cubicBezTo>
                <a:lnTo>
                  <a:pt x="4157001" y="669421"/>
                </a:lnTo>
                <a:lnTo>
                  <a:pt x="4155903" y="670511"/>
                </a:lnTo>
                <a:cubicBezTo>
                  <a:pt x="4153430" y="668441"/>
                  <a:pt x="4150683" y="666260"/>
                  <a:pt x="4149859" y="663100"/>
                </a:cubicBezTo>
                <a:lnTo>
                  <a:pt x="4145739" y="658960"/>
                </a:lnTo>
                <a:cubicBezTo>
                  <a:pt x="4148211" y="655254"/>
                  <a:pt x="4146013" y="652857"/>
                  <a:pt x="4148485" y="649152"/>
                </a:cubicBezTo>
                <a:close/>
                <a:moveTo>
                  <a:pt x="3743860" y="649043"/>
                </a:moveTo>
                <a:lnTo>
                  <a:pt x="3743586" y="649370"/>
                </a:lnTo>
                <a:lnTo>
                  <a:pt x="3744409" y="649152"/>
                </a:lnTo>
                <a:close/>
                <a:moveTo>
                  <a:pt x="1279023" y="648280"/>
                </a:moveTo>
                <a:cubicBezTo>
                  <a:pt x="1277100" y="654383"/>
                  <a:pt x="1271332" y="656344"/>
                  <a:pt x="1268310" y="663319"/>
                </a:cubicBezTo>
                <a:cubicBezTo>
                  <a:pt x="1263365" y="663100"/>
                  <a:pt x="1258970" y="670728"/>
                  <a:pt x="1251828" y="670075"/>
                </a:cubicBezTo>
                <a:cubicBezTo>
                  <a:pt x="1252927" y="659395"/>
                  <a:pt x="1273255" y="646863"/>
                  <a:pt x="1279023" y="648280"/>
                </a:cubicBezTo>
                <a:close/>
                <a:moveTo>
                  <a:pt x="3060144" y="648062"/>
                </a:moveTo>
                <a:cubicBezTo>
                  <a:pt x="3063441" y="647082"/>
                  <a:pt x="3067836" y="647191"/>
                  <a:pt x="3073055" y="648825"/>
                </a:cubicBezTo>
                <a:cubicBezTo>
                  <a:pt x="3079648" y="656889"/>
                  <a:pt x="3080472" y="669966"/>
                  <a:pt x="3074704" y="685113"/>
                </a:cubicBezTo>
                <a:cubicBezTo>
                  <a:pt x="3062617" y="682280"/>
                  <a:pt x="3054925" y="681408"/>
                  <a:pt x="3042564" y="678466"/>
                </a:cubicBezTo>
                <a:cubicBezTo>
                  <a:pt x="3046136" y="664844"/>
                  <a:pt x="3049706" y="651222"/>
                  <a:pt x="3060144" y="648062"/>
                </a:cubicBezTo>
                <a:close/>
                <a:moveTo>
                  <a:pt x="4378406" y="647082"/>
                </a:moveTo>
                <a:cubicBezTo>
                  <a:pt x="4376207" y="649806"/>
                  <a:pt x="4368791" y="658415"/>
                  <a:pt x="4365494" y="658415"/>
                </a:cubicBezTo>
                <a:cubicBezTo>
                  <a:pt x="4368516" y="653729"/>
                  <a:pt x="4376482" y="646428"/>
                  <a:pt x="4378406" y="647082"/>
                </a:cubicBezTo>
                <a:close/>
                <a:moveTo>
                  <a:pt x="2276672" y="646778"/>
                </a:moveTo>
                <a:cubicBezTo>
                  <a:pt x="2284630" y="644439"/>
                  <a:pt x="2292510" y="651386"/>
                  <a:pt x="2291274" y="659068"/>
                </a:cubicBezTo>
                <a:cubicBezTo>
                  <a:pt x="2290449" y="662446"/>
                  <a:pt x="2288252" y="665934"/>
                  <a:pt x="2283033" y="668876"/>
                </a:cubicBezTo>
                <a:cubicBezTo>
                  <a:pt x="2278912" y="662882"/>
                  <a:pt x="2273693" y="661792"/>
                  <a:pt x="2270946" y="657869"/>
                </a:cubicBezTo>
                <a:lnTo>
                  <a:pt x="2270397" y="656453"/>
                </a:lnTo>
                <a:lnTo>
                  <a:pt x="2262156" y="660485"/>
                </a:lnTo>
                <a:cubicBezTo>
                  <a:pt x="2257760" y="661357"/>
                  <a:pt x="2253366" y="661684"/>
                  <a:pt x="2250344" y="660594"/>
                </a:cubicBezTo>
                <a:cubicBezTo>
                  <a:pt x="2255563" y="654492"/>
                  <a:pt x="2260233" y="653511"/>
                  <a:pt x="2264354" y="653184"/>
                </a:cubicBezTo>
                <a:lnTo>
                  <a:pt x="2269023" y="652857"/>
                </a:lnTo>
                <a:lnTo>
                  <a:pt x="2269023" y="652530"/>
                </a:lnTo>
                <a:cubicBezTo>
                  <a:pt x="2271358" y="649370"/>
                  <a:pt x="2274019" y="647558"/>
                  <a:pt x="2276672" y="646778"/>
                </a:cubicBezTo>
                <a:close/>
                <a:moveTo>
                  <a:pt x="907636" y="645447"/>
                </a:moveTo>
                <a:cubicBezTo>
                  <a:pt x="911757" y="646101"/>
                  <a:pt x="914503" y="647517"/>
                  <a:pt x="918623" y="648062"/>
                </a:cubicBezTo>
                <a:cubicBezTo>
                  <a:pt x="919997" y="654492"/>
                  <a:pt x="915052" y="654818"/>
                  <a:pt x="910108" y="655037"/>
                </a:cubicBezTo>
                <a:cubicBezTo>
                  <a:pt x="909283" y="651876"/>
                  <a:pt x="906262" y="650460"/>
                  <a:pt x="907636" y="645447"/>
                </a:cubicBezTo>
                <a:close/>
                <a:moveTo>
                  <a:pt x="4255617" y="643431"/>
                </a:moveTo>
                <a:cubicBezTo>
                  <a:pt x="4257608" y="643322"/>
                  <a:pt x="4259600" y="644521"/>
                  <a:pt x="4261385" y="647191"/>
                </a:cubicBezTo>
                <a:cubicBezTo>
                  <a:pt x="4258364" y="649479"/>
                  <a:pt x="4259188" y="652748"/>
                  <a:pt x="4256166" y="654928"/>
                </a:cubicBezTo>
                <a:cubicBezTo>
                  <a:pt x="4253694" y="651440"/>
                  <a:pt x="4250947" y="649370"/>
                  <a:pt x="4249848" y="647517"/>
                </a:cubicBezTo>
                <a:cubicBezTo>
                  <a:pt x="4251633" y="644956"/>
                  <a:pt x="4253625" y="643540"/>
                  <a:pt x="4255617" y="643431"/>
                </a:cubicBezTo>
                <a:close/>
                <a:moveTo>
                  <a:pt x="1920984" y="643159"/>
                </a:moveTo>
                <a:cubicBezTo>
                  <a:pt x="1929500" y="647626"/>
                  <a:pt x="1931698" y="651876"/>
                  <a:pt x="1930874" y="655037"/>
                </a:cubicBezTo>
                <a:cubicBezTo>
                  <a:pt x="1929775" y="659613"/>
                  <a:pt x="1922633" y="662229"/>
                  <a:pt x="1917689" y="661466"/>
                </a:cubicBezTo>
                <a:cubicBezTo>
                  <a:pt x="1916040" y="661139"/>
                  <a:pt x="1914392" y="660594"/>
                  <a:pt x="1913568" y="659505"/>
                </a:cubicBezTo>
                <a:cubicBezTo>
                  <a:pt x="1911371" y="656889"/>
                  <a:pt x="1912469" y="651767"/>
                  <a:pt x="1920984" y="643159"/>
                </a:cubicBezTo>
                <a:close/>
                <a:moveTo>
                  <a:pt x="3833685" y="643049"/>
                </a:moveTo>
                <a:cubicBezTo>
                  <a:pt x="3834235" y="644466"/>
                  <a:pt x="3835883" y="645338"/>
                  <a:pt x="3836158" y="646754"/>
                </a:cubicBezTo>
                <a:cubicBezTo>
                  <a:pt x="3835059" y="648716"/>
                  <a:pt x="3833410" y="649261"/>
                  <a:pt x="3831762" y="649261"/>
                </a:cubicBezTo>
                <a:cubicBezTo>
                  <a:pt x="3830389" y="649261"/>
                  <a:pt x="3829016" y="648607"/>
                  <a:pt x="3828741" y="647844"/>
                </a:cubicBezTo>
                <a:cubicBezTo>
                  <a:pt x="3829840" y="645992"/>
                  <a:pt x="3832586" y="645011"/>
                  <a:pt x="3833685" y="643049"/>
                </a:cubicBezTo>
                <a:close/>
                <a:moveTo>
                  <a:pt x="6002951" y="642505"/>
                </a:moveTo>
                <a:cubicBezTo>
                  <a:pt x="6005972" y="643594"/>
                  <a:pt x="6008445" y="646209"/>
                  <a:pt x="6010092" y="650351"/>
                </a:cubicBezTo>
                <a:cubicBezTo>
                  <a:pt x="6007895" y="657652"/>
                  <a:pt x="5998281" y="657869"/>
                  <a:pt x="5993336" y="658742"/>
                </a:cubicBezTo>
                <a:cubicBezTo>
                  <a:pt x="5991688" y="652857"/>
                  <a:pt x="5990315" y="646972"/>
                  <a:pt x="5992238" y="643049"/>
                </a:cubicBezTo>
                <a:cubicBezTo>
                  <a:pt x="5996084" y="641633"/>
                  <a:pt x="5999654" y="641415"/>
                  <a:pt x="6002951" y="642505"/>
                </a:cubicBezTo>
                <a:close/>
                <a:moveTo>
                  <a:pt x="3145300" y="641960"/>
                </a:moveTo>
                <a:cubicBezTo>
                  <a:pt x="3146399" y="645992"/>
                  <a:pt x="3146399" y="649152"/>
                  <a:pt x="3147497" y="653184"/>
                </a:cubicBezTo>
                <a:cubicBezTo>
                  <a:pt x="3146124" y="654055"/>
                  <a:pt x="3145026" y="654274"/>
                  <a:pt x="3144202" y="654165"/>
                </a:cubicBezTo>
                <a:cubicBezTo>
                  <a:pt x="3141180" y="653947"/>
                  <a:pt x="3139257" y="650351"/>
                  <a:pt x="3137334" y="646646"/>
                </a:cubicBezTo>
                <a:cubicBezTo>
                  <a:pt x="3140081" y="645120"/>
                  <a:pt x="3140081" y="641960"/>
                  <a:pt x="3145300" y="641960"/>
                </a:cubicBezTo>
                <a:close/>
                <a:moveTo>
                  <a:pt x="3862803" y="641741"/>
                </a:moveTo>
                <a:cubicBezTo>
                  <a:pt x="3862254" y="648389"/>
                  <a:pt x="3862529" y="652966"/>
                  <a:pt x="3861979" y="659613"/>
                </a:cubicBezTo>
                <a:cubicBezTo>
                  <a:pt x="3861154" y="661575"/>
                  <a:pt x="3857035" y="666805"/>
                  <a:pt x="3855111" y="666152"/>
                </a:cubicBezTo>
                <a:cubicBezTo>
                  <a:pt x="3853463" y="665498"/>
                  <a:pt x="3852914" y="664190"/>
                  <a:pt x="3852365" y="662882"/>
                </a:cubicBezTo>
                <a:cubicBezTo>
                  <a:pt x="3852639" y="659505"/>
                  <a:pt x="3852914" y="656235"/>
                  <a:pt x="3853189" y="652857"/>
                </a:cubicBezTo>
                <a:cubicBezTo>
                  <a:pt x="3855660" y="646972"/>
                  <a:pt x="3857859" y="641088"/>
                  <a:pt x="3862803" y="641741"/>
                </a:cubicBezTo>
                <a:close/>
                <a:moveTo>
                  <a:pt x="1437521" y="637601"/>
                </a:moveTo>
                <a:cubicBezTo>
                  <a:pt x="1441643" y="640216"/>
                  <a:pt x="1439170" y="653838"/>
                  <a:pt x="1436973" y="659722"/>
                </a:cubicBezTo>
                <a:cubicBezTo>
                  <a:pt x="1435874" y="659068"/>
                  <a:pt x="1435325" y="657652"/>
                  <a:pt x="1435050" y="656017"/>
                </a:cubicBezTo>
                <a:cubicBezTo>
                  <a:pt x="1433952" y="650786"/>
                  <a:pt x="1435874" y="641960"/>
                  <a:pt x="1437521" y="637601"/>
                </a:cubicBezTo>
                <a:close/>
                <a:moveTo>
                  <a:pt x="2364068" y="635203"/>
                </a:moveTo>
                <a:cubicBezTo>
                  <a:pt x="2367364" y="636293"/>
                  <a:pt x="2369836" y="638908"/>
                  <a:pt x="2371484" y="643049"/>
                </a:cubicBezTo>
                <a:cubicBezTo>
                  <a:pt x="2370386" y="646646"/>
                  <a:pt x="2367364" y="648607"/>
                  <a:pt x="2364068" y="649588"/>
                </a:cubicBezTo>
                <a:lnTo>
                  <a:pt x="2360771" y="650132"/>
                </a:lnTo>
                <a:lnTo>
                  <a:pt x="2360771" y="650351"/>
                </a:lnTo>
                <a:cubicBezTo>
                  <a:pt x="2360771" y="651985"/>
                  <a:pt x="2360496" y="653729"/>
                  <a:pt x="2362145" y="653729"/>
                </a:cubicBezTo>
                <a:cubicBezTo>
                  <a:pt x="2358848" y="661684"/>
                  <a:pt x="2367914" y="664844"/>
                  <a:pt x="2364892" y="677376"/>
                </a:cubicBezTo>
                <a:cubicBezTo>
                  <a:pt x="2362694" y="674651"/>
                  <a:pt x="2361046" y="671710"/>
                  <a:pt x="2359947" y="668985"/>
                </a:cubicBezTo>
                <a:cubicBezTo>
                  <a:pt x="2356102" y="660594"/>
                  <a:pt x="2356102" y="652857"/>
                  <a:pt x="2351981" y="647844"/>
                </a:cubicBezTo>
                <a:cubicBezTo>
                  <a:pt x="2351981" y="647844"/>
                  <a:pt x="2351981" y="647844"/>
                  <a:pt x="2351981" y="647299"/>
                </a:cubicBezTo>
                <a:lnTo>
                  <a:pt x="2353080" y="644575"/>
                </a:lnTo>
                <a:lnTo>
                  <a:pt x="2352805" y="642831"/>
                </a:lnTo>
                <a:cubicBezTo>
                  <a:pt x="2352531" y="640216"/>
                  <a:pt x="2352531" y="637710"/>
                  <a:pt x="2353629" y="635748"/>
                </a:cubicBezTo>
                <a:cubicBezTo>
                  <a:pt x="2357475" y="634332"/>
                  <a:pt x="2361046" y="634004"/>
                  <a:pt x="2364068" y="635203"/>
                </a:cubicBezTo>
                <a:close/>
                <a:moveTo>
                  <a:pt x="3153266" y="634549"/>
                </a:moveTo>
                <a:cubicBezTo>
                  <a:pt x="3154915" y="635421"/>
                  <a:pt x="3153541" y="635966"/>
                  <a:pt x="3155189" y="635421"/>
                </a:cubicBezTo>
                <a:cubicBezTo>
                  <a:pt x="3156837" y="636293"/>
                  <a:pt x="3156563" y="634986"/>
                  <a:pt x="3156563" y="634986"/>
                </a:cubicBezTo>
                <a:cubicBezTo>
                  <a:pt x="3156563" y="634986"/>
                  <a:pt x="3156837" y="636293"/>
                  <a:pt x="3156837" y="636293"/>
                </a:cubicBezTo>
                <a:cubicBezTo>
                  <a:pt x="3156837" y="636293"/>
                  <a:pt x="3156837" y="636293"/>
                  <a:pt x="3160408" y="638037"/>
                </a:cubicBezTo>
                <a:cubicBezTo>
                  <a:pt x="3165078" y="639235"/>
                  <a:pt x="3166452" y="638800"/>
                  <a:pt x="3169748" y="639126"/>
                </a:cubicBezTo>
                <a:cubicBezTo>
                  <a:pt x="3173319" y="640870"/>
                  <a:pt x="3173594" y="642395"/>
                  <a:pt x="3177440" y="645447"/>
                </a:cubicBezTo>
                <a:cubicBezTo>
                  <a:pt x="3176615" y="648716"/>
                  <a:pt x="3176890" y="648716"/>
                  <a:pt x="3175516" y="649152"/>
                </a:cubicBezTo>
                <a:cubicBezTo>
                  <a:pt x="3176890" y="648716"/>
                  <a:pt x="3177165" y="650024"/>
                  <a:pt x="3178813" y="650896"/>
                </a:cubicBezTo>
                <a:cubicBezTo>
                  <a:pt x="3186779" y="652530"/>
                  <a:pt x="3185680" y="660485"/>
                  <a:pt x="3182109" y="669421"/>
                </a:cubicBezTo>
                <a:cubicBezTo>
                  <a:pt x="3180186" y="668549"/>
                  <a:pt x="3178538" y="673671"/>
                  <a:pt x="3176340" y="676068"/>
                </a:cubicBezTo>
                <a:cubicBezTo>
                  <a:pt x="3174143" y="676831"/>
                  <a:pt x="3172495" y="677485"/>
                  <a:pt x="3170846" y="677703"/>
                </a:cubicBezTo>
                <a:cubicBezTo>
                  <a:pt x="3169198" y="677921"/>
                  <a:pt x="3167550" y="677703"/>
                  <a:pt x="3165902" y="676831"/>
                </a:cubicBezTo>
                <a:cubicBezTo>
                  <a:pt x="3163155" y="675523"/>
                  <a:pt x="3160683" y="672690"/>
                  <a:pt x="3159034" y="669530"/>
                </a:cubicBezTo>
                <a:lnTo>
                  <a:pt x="3158485" y="667568"/>
                </a:lnTo>
                <a:lnTo>
                  <a:pt x="3157661" y="667896"/>
                </a:lnTo>
                <a:cubicBezTo>
                  <a:pt x="3152991" y="669421"/>
                  <a:pt x="3148047" y="670511"/>
                  <a:pt x="3143102" y="670075"/>
                </a:cubicBezTo>
                <a:cubicBezTo>
                  <a:pt x="3145300" y="665389"/>
                  <a:pt x="3150245" y="660485"/>
                  <a:pt x="3155464" y="658523"/>
                </a:cubicBezTo>
                <a:lnTo>
                  <a:pt x="3159584" y="658197"/>
                </a:lnTo>
                <a:lnTo>
                  <a:pt x="3163155" y="652094"/>
                </a:lnTo>
                <a:cubicBezTo>
                  <a:pt x="3165078" y="650351"/>
                  <a:pt x="3167001" y="649152"/>
                  <a:pt x="3168924" y="648389"/>
                </a:cubicBezTo>
                <a:cubicBezTo>
                  <a:pt x="3168924" y="648389"/>
                  <a:pt x="3169198" y="648498"/>
                  <a:pt x="3167825" y="648934"/>
                </a:cubicBezTo>
                <a:cubicBezTo>
                  <a:pt x="3160683" y="645447"/>
                  <a:pt x="3148596" y="639345"/>
                  <a:pt x="3148871" y="634768"/>
                </a:cubicBezTo>
                <a:cubicBezTo>
                  <a:pt x="3150245" y="634223"/>
                  <a:pt x="3151618" y="633678"/>
                  <a:pt x="3153266" y="634549"/>
                </a:cubicBezTo>
                <a:close/>
                <a:moveTo>
                  <a:pt x="4395436" y="633460"/>
                </a:moveTo>
                <a:cubicBezTo>
                  <a:pt x="4400656" y="639126"/>
                  <a:pt x="4400106" y="643485"/>
                  <a:pt x="4402304" y="648498"/>
                </a:cubicBezTo>
                <a:cubicBezTo>
                  <a:pt x="4397634" y="653729"/>
                  <a:pt x="4393238" y="654818"/>
                  <a:pt x="4389668" y="653620"/>
                </a:cubicBezTo>
                <a:cubicBezTo>
                  <a:pt x="4386371" y="652421"/>
                  <a:pt x="4384174" y="649043"/>
                  <a:pt x="4383350" y="645338"/>
                </a:cubicBezTo>
                <a:cubicBezTo>
                  <a:pt x="4383075" y="642940"/>
                  <a:pt x="4383350" y="640216"/>
                  <a:pt x="4384723" y="638146"/>
                </a:cubicBezTo>
                <a:cubicBezTo>
                  <a:pt x="4386371" y="635312"/>
                  <a:pt x="4389943" y="633242"/>
                  <a:pt x="4395436" y="633460"/>
                </a:cubicBezTo>
                <a:close/>
                <a:moveTo>
                  <a:pt x="2907414" y="633350"/>
                </a:moveTo>
                <a:cubicBezTo>
                  <a:pt x="2909611" y="633024"/>
                  <a:pt x="2911535" y="633350"/>
                  <a:pt x="2913732" y="634332"/>
                </a:cubicBezTo>
                <a:cubicBezTo>
                  <a:pt x="2916479" y="633242"/>
                  <a:pt x="2920599" y="633678"/>
                  <a:pt x="2923621" y="635531"/>
                </a:cubicBezTo>
                <a:cubicBezTo>
                  <a:pt x="2926368" y="638800"/>
                  <a:pt x="2926094" y="641633"/>
                  <a:pt x="2924720" y="642940"/>
                </a:cubicBezTo>
                <a:cubicBezTo>
                  <a:pt x="2919500" y="648934"/>
                  <a:pt x="2914007" y="649915"/>
                  <a:pt x="2909062" y="649697"/>
                </a:cubicBezTo>
                <a:cubicBezTo>
                  <a:pt x="2904392" y="649479"/>
                  <a:pt x="2900547" y="647953"/>
                  <a:pt x="2899173" y="648498"/>
                </a:cubicBezTo>
                <a:cubicBezTo>
                  <a:pt x="2895053" y="643703"/>
                  <a:pt x="2895053" y="643703"/>
                  <a:pt x="2902470" y="635857"/>
                </a:cubicBezTo>
                <a:cubicBezTo>
                  <a:pt x="2903843" y="634549"/>
                  <a:pt x="2905492" y="633678"/>
                  <a:pt x="2907414" y="633350"/>
                </a:cubicBezTo>
                <a:close/>
                <a:moveTo>
                  <a:pt x="5876866" y="632370"/>
                </a:moveTo>
                <a:lnTo>
                  <a:pt x="5874943" y="633024"/>
                </a:lnTo>
                <a:lnTo>
                  <a:pt x="5874393" y="634440"/>
                </a:lnTo>
                <a:cubicBezTo>
                  <a:pt x="5873844" y="635312"/>
                  <a:pt x="5872745" y="636076"/>
                  <a:pt x="5871372" y="636620"/>
                </a:cubicBezTo>
                <a:lnTo>
                  <a:pt x="5869449" y="634658"/>
                </a:lnTo>
                <a:lnTo>
                  <a:pt x="5864779" y="636076"/>
                </a:lnTo>
                <a:lnTo>
                  <a:pt x="5846924" y="633895"/>
                </a:lnTo>
                <a:lnTo>
                  <a:pt x="5844727" y="636838"/>
                </a:lnTo>
                <a:lnTo>
                  <a:pt x="5847748" y="638363"/>
                </a:lnTo>
                <a:cubicBezTo>
                  <a:pt x="5847748" y="638363"/>
                  <a:pt x="5849122" y="639671"/>
                  <a:pt x="5849122" y="639671"/>
                </a:cubicBezTo>
                <a:cubicBezTo>
                  <a:pt x="5852143" y="639671"/>
                  <a:pt x="5853516" y="641088"/>
                  <a:pt x="5853516" y="642395"/>
                </a:cubicBezTo>
                <a:cubicBezTo>
                  <a:pt x="5853516" y="642395"/>
                  <a:pt x="5853516" y="643813"/>
                  <a:pt x="5852143" y="643813"/>
                </a:cubicBezTo>
                <a:cubicBezTo>
                  <a:pt x="5852143" y="645229"/>
                  <a:pt x="5853516" y="645120"/>
                  <a:pt x="5853516" y="645120"/>
                </a:cubicBezTo>
                <a:cubicBezTo>
                  <a:pt x="5853516" y="645120"/>
                  <a:pt x="5855165" y="645229"/>
                  <a:pt x="5855165" y="646537"/>
                </a:cubicBezTo>
                <a:cubicBezTo>
                  <a:pt x="5856538" y="646537"/>
                  <a:pt x="5857912" y="647844"/>
                  <a:pt x="5859285" y="647844"/>
                </a:cubicBezTo>
                <a:cubicBezTo>
                  <a:pt x="5860659" y="647844"/>
                  <a:pt x="5860659" y="649261"/>
                  <a:pt x="5860659" y="649261"/>
                </a:cubicBezTo>
                <a:cubicBezTo>
                  <a:pt x="5862032" y="649261"/>
                  <a:pt x="5862032" y="649370"/>
                  <a:pt x="5863680" y="650677"/>
                </a:cubicBezTo>
                <a:cubicBezTo>
                  <a:pt x="5866427" y="653511"/>
                  <a:pt x="5870823" y="654709"/>
                  <a:pt x="5874943" y="657543"/>
                </a:cubicBezTo>
                <a:cubicBezTo>
                  <a:pt x="5876591" y="658851"/>
                  <a:pt x="5877965" y="658851"/>
                  <a:pt x="5879338" y="660267"/>
                </a:cubicBezTo>
                <a:lnTo>
                  <a:pt x="5891973" y="665498"/>
                </a:lnTo>
                <a:lnTo>
                  <a:pt x="5896369" y="662120"/>
                </a:lnTo>
                <a:lnTo>
                  <a:pt x="5901039" y="661030"/>
                </a:lnTo>
                <a:lnTo>
                  <a:pt x="5899940" y="660267"/>
                </a:lnTo>
                <a:cubicBezTo>
                  <a:pt x="5894721" y="657107"/>
                  <a:pt x="5890051" y="654818"/>
                  <a:pt x="5886480" y="653401"/>
                </a:cubicBezTo>
                <a:lnTo>
                  <a:pt x="5887305" y="651876"/>
                </a:lnTo>
                <a:lnTo>
                  <a:pt x="5884282" y="651440"/>
                </a:lnTo>
                <a:lnTo>
                  <a:pt x="5881811" y="646754"/>
                </a:lnTo>
                <a:lnTo>
                  <a:pt x="5877415" y="651005"/>
                </a:lnTo>
                <a:cubicBezTo>
                  <a:pt x="5875217" y="652421"/>
                  <a:pt x="5872745" y="653184"/>
                  <a:pt x="5870548" y="653075"/>
                </a:cubicBezTo>
                <a:cubicBezTo>
                  <a:pt x="5867801" y="650024"/>
                  <a:pt x="5867526" y="645774"/>
                  <a:pt x="5868899" y="641741"/>
                </a:cubicBezTo>
                <a:close/>
                <a:moveTo>
                  <a:pt x="2475868" y="632043"/>
                </a:moveTo>
                <a:cubicBezTo>
                  <a:pt x="2479714" y="633350"/>
                  <a:pt x="2483285" y="634768"/>
                  <a:pt x="2481637" y="638691"/>
                </a:cubicBezTo>
                <a:cubicBezTo>
                  <a:pt x="2480813" y="640652"/>
                  <a:pt x="2479989" y="642614"/>
                  <a:pt x="2477242" y="643921"/>
                </a:cubicBezTo>
                <a:cubicBezTo>
                  <a:pt x="2473671" y="642614"/>
                  <a:pt x="2473396" y="638037"/>
                  <a:pt x="2471748" y="637383"/>
                </a:cubicBezTo>
                <a:cubicBezTo>
                  <a:pt x="2473121" y="636729"/>
                  <a:pt x="2475593" y="635312"/>
                  <a:pt x="2475868" y="632043"/>
                </a:cubicBezTo>
                <a:close/>
                <a:moveTo>
                  <a:pt x="1783363" y="631934"/>
                </a:moveTo>
                <a:cubicBezTo>
                  <a:pt x="1788307" y="632697"/>
                  <a:pt x="1787484" y="634658"/>
                  <a:pt x="1786110" y="638582"/>
                </a:cubicBezTo>
                <a:cubicBezTo>
                  <a:pt x="1784462" y="638582"/>
                  <a:pt x="1783363" y="638363"/>
                  <a:pt x="1782814" y="637492"/>
                </a:cubicBezTo>
                <a:cubicBezTo>
                  <a:pt x="1781989" y="636620"/>
                  <a:pt x="1781715" y="635094"/>
                  <a:pt x="1782264" y="632479"/>
                </a:cubicBezTo>
                <a:cubicBezTo>
                  <a:pt x="1782264" y="632479"/>
                  <a:pt x="1783363" y="631934"/>
                  <a:pt x="1783363" y="631934"/>
                </a:cubicBezTo>
                <a:close/>
                <a:moveTo>
                  <a:pt x="1679803" y="631389"/>
                </a:moveTo>
                <a:cubicBezTo>
                  <a:pt x="1677881" y="632261"/>
                  <a:pt x="1676781" y="633350"/>
                  <a:pt x="1675957" y="633895"/>
                </a:cubicBezTo>
                <a:cubicBezTo>
                  <a:pt x="1675407" y="634440"/>
                  <a:pt x="1675133" y="634549"/>
                  <a:pt x="1674859" y="633895"/>
                </a:cubicBezTo>
                <a:cubicBezTo>
                  <a:pt x="1673485" y="634549"/>
                  <a:pt x="1672936" y="633133"/>
                  <a:pt x="1674309" y="632588"/>
                </a:cubicBezTo>
                <a:cubicBezTo>
                  <a:pt x="1674584" y="629319"/>
                  <a:pt x="1677881" y="630626"/>
                  <a:pt x="1679803" y="631389"/>
                </a:cubicBezTo>
                <a:close/>
                <a:moveTo>
                  <a:pt x="1686121" y="626486"/>
                </a:moveTo>
                <a:cubicBezTo>
                  <a:pt x="1692438" y="625287"/>
                  <a:pt x="1696285" y="628011"/>
                  <a:pt x="1695735" y="634223"/>
                </a:cubicBezTo>
                <a:cubicBezTo>
                  <a:pt x="1691890" y="633569"/>
                  <a:pt x="1690516" y="636511"/>
                  <a:pt x="1686395" y="635857"/>
                </a:cubicBezTo>
                <a:cubicBezTo>
                  <a:pt x="1686670" y="631716"/>
                  <a:pt x="1686121" y="628556"/>
                  <a:pt x="1686121" y="626486"/>
                </a:cubicBezTo>
                <a:close/>
                <a:moveTo>
                  <a:pt x="1653981" y="626050"/>
                </a:moveTo>
                <a:cubicBezTo>
                  <a:pt x="1651235" y="631063"/>
                  <a:pt x="1646840" y="638800"/>
                  <a:pt x="1639698" y="638908"/>
                </a:cubicBezTo>
                <a:cubicBezTo>
                  <a:pt x="1637500" y="638908"/>
                  <a:pt x="1634754" y="638146"/>
                  <a:pt x="1632006" y="636184"/>
                </a:cubicBezTo>
                <a:cubicBezTo>
                  <a:pt x="1632006" y="634113"/>
                  <a:pt x="1632280" y="632043"/>
                  <a:pt x="1632280" y="629973"/>
                </a:cubicBezTo>
                <a:cubicBezTo>
                  <a:pt x="1641346" y="630300"/>
                  <a:pt x="1646840" y="625941"/>
                  <a:pt x="1653981" y="626050"/>
                </a:cubicBezTo>
                <a:close/>
                <a:moveTo>
                  <a:pt x="2167386" y="624959"/>
                </a:moveTo>
                <a:lnTo>
                  <a:pt x="2181121" y="627575"/>
                </a:lnTo>
                <a:lnTo>
                  <a:pt x="2181395" y="626921"/>
                </a:lnTo>
                <a:cubicBezTo>
                  <a:pt x="2182769" y="628556"/>
                  <a:pt x="2182769" y="627031"/>
                  <a:pt x="2184143" y="627248"/>
                </a:cubicBezTo>
                <a:lnTo>
                  <a:pt x="2183593" y="628120"/>
                </a:lnTo>
                <a:lnTo>
                  <a:pt x="2184692" y="628229"/>
                </a:lnTo>
                <a:cubicBezTo>
                  <a:pt x="2189637" y="629864"/>
                  <a:pt x="2193483" y="632479"/>
                  <a:pt x="2194581" y="637383"/>
                </a:cubicBezTo>
                <a:lnTo>
                  <a:pt x="2189637" y="640107"/>
                </a:lnTo>
                <a:lnTo>
                  <a:pt x="2191010" y="644248"/>
                </a:lnTo>
                <a:cubicBezTo>
                  <a:pt x="2191010" y="644248"/>
                  <a:pt x="2189362" y="645447"/>
                  <a:pt x="2187989" y="646754"/>
                </a:cubicBezTo>
                <a:cubicBezTo>
                  <a:pt x="2186340" y="648062"/>
                  <a:pt x="2186340" y="649479"/>
                  <a:pt x="2186340" y="649479"/>
                </a:cubicBezTo>
                <a:cubicBezTo>
                  <a:pt x="2185516" y="650132"/>
                  <a:pt x="2184967" y="650460"/>
                  <a:pt x="2184143" y="650351"/>
                </a:cubicBezTo>
                <a:cubicBezTo>
                  <a:pt x="2183319" y="650351"/>
                  <a:pt x="2182769" y="649806"/>
                  <a:pt x="2181945" y="648934"/>
                </a:cubicBezTo>
                <a:cubicBezTo>
                  <a:pt x="2181945" y="648934"/>
                  <a:pt x="2183593" y="646209"/>
                  <a:pt x="2183593" y="646209"/>
                </a:cubicBezTo>
                <a:lnTo>
                  <a:pt x="2189087" y="640216"/>
                </a:lnTo>
                <a:lnTo>
                  <a:pt x="2182769" y="639999"/>
                </a:lnTo>
                <a:cubicBezTo>
                  <a:pt x="2178099" y="639017"/>
                  <a:pt x="2173155" y="636620"/>
                  <a:pt x="2169584" y="634549"/>
                </a:cubicBezTo>
                <a:cubicBezTo>
                  <a:pt x="2169858" y="630409"/>
                  <a:pt x="2167112" y="628992"/>
                  <a:pt x="2167386" y="624959"/>
                </a:cubicBezTo>
                <a:close/>
                <a:moveTo>
                  <a:pt x="3927906" y="623434"/>
                </a:moveTo>
                <a:cubicBezTo>
                  <a:pt x="3931202" y="625396"/>
                  <a:pt x="3933125" y="627793"/>
                  <a:pt x="3936421" y="629755"/>
                </a:cubicBezTo>
                <a:lnTo>
                  <a:pt x="3932576" y="633787"/>
                </a:lnTo>
                <a:lnTo>
                  <a:pt x="3939992" y="639345"/>
                </a:lnTo>
                <a:cubicBezTo>
                  <a:pt x="3938344" y="640543"/>
                  <a:pt x="3942464" y="644139"/>
                  <a:pt x="3943564" y="647299"/>
                </a:cubicBezTo>
                <a:cubicBezTo>
                  <a:pt x="3943289" y="651767"/>
                  <a:pt x="3943014" y="654709"/>
                  <a:pt x="3939992" y="657216"/>
                </a:cubicBezTo>
                <a:lnTo>
                  <a:pt x="3935048" y="658960"/>
                </a:lnTo>
                <a:lnTo>
                  <a:pt x="3936970" y="660485"/>
                </a:lnTo>
                <a:cubicBezTo>
                  <a:pt x="3938070" y="662011"/>
                  <a:pt x="3938894" y="663645"/>
                  <a:pt x="3940541" y="664518"/>
                </a:cubicBezTo>
                <a:cubicBezTo>
                  <a:pt x="3939443" y="665715"/>
                  <a:pt x="3937795" y="667459"/>
                  <a:pt x="3935872" y="668549"/>
                </a:cubicBezTo>
                <a:lnTo>
                  <a:pt x="3932026" y="668876"/>
                </a:lnTo>
                <a:lnTo>
                  <a:pt x="3932576" y="670946"/>
                </a:lnTo>
                <a:cubicBezTo>
                  <a:pt x="3931476" y="676395"/>
                  <a:pt x="3926257" y="681953"/>
                  <a:pt x="3918566" y="681190"/>
                </a:cubicBezTo>
                <a:cubicBezTo>
                  <a:pt x="3916643" y="678793"/>
                  <a:pt x="3915819" y="676504"/>
                  <a:pt x="3914995" y="674434"/>
                </a:cubicBezTo>
                <a:cubicBezTo>
                  <a:pt x="3914171" y="672363"/>
                  <a:pt x="3913896" y="670402"/>
                  <a:pt x="3913347" y="668876"/>
                </a:cubicBezTo>
                <a:cubicBezTo>
                  <a:pt x="3916643" y="666152"/>
                  <a:pt x="3918566" y="663319"/>
                  <a:pt x="3921863" y="660703"/>
                </a:cubicBezTo>
                <a:lnTo>
                  <a:pt x="3922412" y="660703"/>
                </a:lnTo>
                <a:lnTo>
                  <a:pt x="3922412" y="660485"/>
                </a:lnTo>
                <a:lnTo>
                  <a:pt x="3924609" y="658197"/>
                </a:lnTo>
                <a:lnTo>
                  <a:pt x="3921588" y="657216"/>
                </a:lnTo>
                <a:cubicBezTo>
                  <a:pt x="3916369" y="651876"/>
                  <a:pt x="3915269" y="647191"/>
                  <a:pt x="3915544" y="642723"/>
                </a:cubicBezTo>
                <a:cubicBezTo>
                  <a:pt x="3915544" y="642723"/>
                  <a:pt x="3915544" y="642831"/>
                  <a:pt x="3915269" y="644248"/>
                </a:cubicBezTo>
                <a:cubicBezTo>
                  <a:pt x="3909501" y="649261"/>
                  <a:pt x="3898788" y="657869"/>
                  <a:pt x="3894668" y="655799"/>
                </a:cubicBezTo>
                <a:cubicBezTo>
                  <a:pt x="3894943" y="654274"/>
                  <a:pt x="3894943" y="652748"/>
                  <a:pt x="3896316" y="651440"/>
                </a:cubicBezTo>
                <a:cubicBezTo>
                  <a:pt x="3897964" y="650241"/>
                  <a:pt x="3897689" y="651767"/>
                  <a:pt x="3897964" y="650241"/>
                </a:cubicBezTo>
                <a:cubicBezTo>
                  <a:pt x="3899337" y="649043"/>
                  <a:pt x="3897964" y="648825"/>
                  <a:pt x="3897964" y="648825"/>
                </a:cubicBezTo>
                <a:cubicBezTo>
                  <a:pt x="3897964" y="648825"/>
                  <a:pt x="3899337" y="649043"/>
                  <a:pt x="3899337" y="649043"/>
                </a:cubicBezTo>
                <a:cubicBezTo>
                  <a:pt x="3899337" y="649043"/>
                  <a:pt x="3899337" y="649043"/>
                  <a:pt x="3902359" y="646537"/>
                </a:cubicBezTo>
                <a:cubicBezTo>
                  <a:pt x="3905381" y="642614"/>
                  <a:pt x="3905656" y="641196"/>
                  <a:pt x="3907304" y="638472"/>
                </a:cubicBezTo>
                <a:cubicBezTo>
                  <a:pt x="3910325" y="635966"/>
                  <a:pt x="3911699" y="636184"/>
                  <a:pt x="3916094" y="633895"/>
                </a:cubicBezTo>
                <a:cubicBezTo>
                  <a:pt x="3918841" y="635857"/>
                  <a:pt x="3918841" y="635857"/>
                  <a:pt x="3918566" y="637383"/>
                </a:cubicBezTo>
                <a:cubicBezTo>
                  <a:pt x="3918841" y="635857"/>
                  <a:pt x="3920214" y="636076"/>
                  <a:pt x="3921863" y="634877"/>
                </a:cubicBezTo>
                <a:lnTo>
                  <a:pt x="3925433" y="631934"/>
                </a:lnTo>
                <a:lnTo>
                  <a:pt x="3925708" y="628556"/>
                </a:lnTo>
                <a:cubicBezTo>
                  <a:pt x="3925708" y="627031"/>
                  <a:pt x="3925982" y="625396"/>
                  <a:pt x="3927906" y="623434"/>
                </a:cubicBezTo>
                <a:close/>
                <a:moveTo>
                  <a:pt x="4275395" y="622889"/>
                </a:moveTo>
                <a:cubicBezTo>
                  <a:pt x="4273471" y="634004"/>
                  <a:pt x="4269901" y="640652"/>
                  <a:pt x="4258089" y="638908"/>
                </a:cubicBezTo>
                <a:cubicBezTo>
                  <a:pt x="4254793" y="633787"/>
                  <a:pt x="4256990" y="628774"/>
                  <a:pt x="4261110" y="625505"/>
                </a:cubicBezTo>
                <a:cubicBezTo>
                  <a:pt x="4264956" y="622127"/>
                  <a:pt x="4271000" y="620601"/>
                  <a:pt x="4275395" y="622889"/>
                </a:cubicBezTo>
                <a:close/>
                <a:moveTo>
                  <a:pt x="1882802" y="622672"/>
                </a:moveTo>
                <a:cubicBezTo>
                  <a:pt x="1886373" y="624742"/>
                  <a:pt x="1888845" y="627140"/>
                  <a:pt x="1892416" y="629210"/>
                </a:cubicBezTo>
                <a:cubicBezTo>
                  <a:pt x="1891867" y="632370"/>
                  <a:pt x="1890494" y="633460"/>
                  <a:pt x="1888570" y="633678"/>
                </a:cubicBezTo>
                <a:cubicBezTo>
                  <a:pt x="1886648" y="633787"/>
                  <a:pt x="1884176" y="633024"/>
                  <a:pt x="1881703" y="632153"/>
                </a:cubicBezTo>
                <a:cubicBezTo>
                  <a:pt x="1881978" y="628992"/>
                  <a:pt x="1879781" y="626486"/>
                  <a:pt x="1882802" y="622672"/>
                </a:cubicBezTo>
                <a:close/>
                <a:moveTo>
                  <a:pt x="3611457" y="622454"/>
                </a:moveTo>
                <a:cubicBezTo>
                  <a:pt x="3618874" y="625069"/>
                  <a:pt x="3616676" y="635748"/>
                  <a:pt x="3611182" y="636620"/>
                </a:cubicBezTo>
                <a:cubicBezTo>
                  <a:pt x="3609534" y="636947"/>
                  <a:pt x="3607337" y="636184"/>
                  <a:pt x="3604864" y="633678"/>
                </a:cubicBezTo>
                <a:cubicBezTo>
                  <a:pt x="3607612" y="628229"/>
                  <a:pt x="3609259" y="624524"/>
                  <a:pt x="3611457" y="622454"/>
                </a:cubicBezTo>
                <a:close/>
                <a:moveTo>
                  <a:pt x="4197106" y="621909"/>
                </a:moveTo>
                <a:cubicBezTo>
                  <a:pt x="4202875" y="618857"/>
                  <a:pt x="4215786" y="621909"/>
                  <a:pt x="4201227" y="633678"/>
                </a:cubicBezTo>
                <a:cubicBezTo>
                  <a:pt x="4196832" y="630735"/>
                  <a:pt x="4194909" y="628338"/>
                  <a:pt x="4194634" y="626377"/>
                </a:cubicBezTo>
                <a:cubicBezTo>
                  <a:pt x="4194085" y="624415"/>
                  <a:pt x="4195184" y="622889"/>
                  <a:pt x="4197106" y="621909"/>
                </a:cubicBezTo>
                <a:close/>
                <a:moveTo>
                  <a:pt x="1080693" y="620492"/>
                </a:moveTo>
                <a:cubicBezTo>
                  <a:pt x="1084264" y="625723"/>
                  <a:pt x="1084814" y="627685"/>
                  <a:pt x="1084539" y="634223"/>
                </a:cubicBezTo>
                <a:cubicBezTo>
                  <a:pt x="1080419" y="637165"/>
                  <a:pt x="1076573" y="638582"/>
                  <a:pt x="1072727" y="639126"/>
                </a:cubicBezTo>
                <a:cubicBezTo>
                  <a:pt x="1068882" y="639671"/>
                  <a:pt x="1065036" y="639345"/>
                  <a:pt x="1061190" y="639126"/>
                </a:cubicBezTo>
                <a:cubicBezTo>
                  <a:pt x="1050477" y="623652"/>
                  <a:pt x="1070805" y="623979"/>
                  <a:pt x="1080693" y="620492"/>
                </a:cubicBezTo>
                <a:close/>
                <a:moveTo>
                  <a:pt x="6226278" y="619402"/>
                </a:moveTo>
                <a:cubicBezTo>
                  <a:pt x="6235068" y="627902"/>
                  <a:pt x="6224904" y="641415"/>
                  <a:pt x="6216114" y="640761"/>
                </a:cubicBezTo>
                <a:cubicBezTo>
                  <a:pt x="6209521" y="634440"/>
                  <a:pt x="6213093" y="623652"/>
                  <a:pt x="6219411" y="620056"/>
                </a:cubicBezTo>
                <a:cubicBezTo>
                  <a:pt x="6221608" y="618966"/>
                  <a:pt x="6223806" y="618531"/>
                  <a:pt x="6226278" y="619402"/>
                </a:cubicBezTo>
                <a:close/>
                <a:moveTo>
                  <a:pt x="5973283" y="619294"/>
                </a:moveTo>
                <a:cubicBezTo>
                  <a:pt x="5973283" y="620819"/>
                  <a:pt x="5973283" y="622235"/>
                  <a:pt x="5974658" y="622454"/>
                </a:cubicBezTo>
                <a:cubicBezTo>
                  <a:pt x="5971635" y="624959"/>
                  <a:pt x="5970262" y="624851"/>
                  <a:pt x="5968889" y="626158"/>
                </a:cubicBezTo>
                <a:cubicBezTo>
                  <a:pt x="5970262" y="626267"/>
                  <a:pt x="5968614" y="627575"/>
                  <a:pt x="5968614" y="627575"/>
                </a:cubicBezTo>
                <a:cubicBezTo>
                  <a:pt x="5968614" y="627575"/>
                  <a:pt x="5968889" y="627575"/>
                  <a:pt x="5971635" y="630844"/>
                </a:cubicBezTo>
                <a:cubicBezTo>
                  <a:pt x="5971635" y="630844"/>
                  <a:pt x="5977129" y="638800"/>
                  <a:pt x="5971086" y="645338"/>
                </a:cubicBezTo>
                <a:cubicBezTo>
                  <a:pt x="5969988" y="644139"/>
                  <a:pt x="5965043" y="648171"/>
                  <a:pt x="5960098" y="648716"/>
                </a:cubicBezTo>
                <a:cubicBezTo>
                  <a:pt x="5958451" y="648934"/>
                  <a:pt x="5956801" y="648825"/>
                  <a:pt x="5955154" y="647844"/>
                </a:cubicBezTo>
                <a:cubicBezTo>
                  <a:pt x="5952407" y="646101"/>
                  <a:pt x="5951033" y="644466"/>
                  <a:pt x="5948287" y="642614"/>
                </a:cubicBezTo>
                <a:cubicBezTo>
                  <a:pt x="5948287" y="638255"/>
                  <a:pt x="5944166" y="633350"/>
                  <a:pt x="5950209" y="625396"/>
                </a:cubicBezTo>
                <a:cubicBezTo>
                  <a:pt x="5957626" y="617441"/>
                  <a:pt x="5965867" y="625832"/>
                  <a:pt x="5965867" y="624415"/>
                </a:cubicBezTo>
                <a:cubicBezTo>
                  <a:pt x="5967515" y="623108"/>
                  <a:pt x="5967515" y="622998"/>
                  <a:pt x="5967515" y="621473"/>
                </a:cubicBezTo>
                <a:cubicBezTo>
                  <a:pt x="5968889" y="621690"/>
                  <a:pt x="5971910" y="620601"/>
                  <a:pt x="5973283" y="619294"/>
                </a:cubicBezTo>
                <a:close/>
                <a:moveTo>
                  <a:pt x="4868847" y="619020"/>
                </a:moveTo>
                <a:cubicBezTo>
                  <a:pt x="4876908" y="616603"/>
                  <a:pt x="4884737" y="623489"/>
                  <a:pt x="4883295" y="631171"/>
                </a:cubicBezTo>
                <a:cubicBezTo>
                  <a:pt x="4882745" y="634549"/>
                  <a:pt x="4880273" y="638146"/>
                  <a:pt x="4875328" y="641088"/>
                </a:cubicBezTo>
                <a:cubicBezTo>
                  <a:pt x="4870933" y="635094"/>
                  <a:pt x="4865989" y="634004"/>
                  <a:pt x="4863242" y="630081"/>
                </a:cubicBezTo>
                <a:cubicBezTo>
                  <a:pt x="4862143" y="628774"/>
                  <a:pt x="4861594" y="627140"/>
                  <a:pt x="4861044" y="624851"/>
                </a:cubicBezTo>
                <a:cubicBezTo>
                  <a:pt x="4863447" y="621664"/>
                  <a:pt x="4866160" y="619825"/>
                  <a:pt x="4868847" y="619020"/>
                </a:cubicBezTo>
                <a:close/>
                <a:moveTo>
                  <a:pt x="3055475" y="618421"/>
                </a:moveTo>
                <a:cubicBezTo>
                  <a:pt x="3052178" y="631499"/>
                  <a:pt x="3045860" y="652857"/>
                  <a:pt x="3035696" y="661901"/>
                </a:cubicBezTo>
                <a:cubicBezTo>
                  <a:pt x="3034323" y="660594"/>
                  <a:pt x="3033224" y="659068"/>
                  <a:pt x="3032950" y="657434"/>
                </a:cubicBezTo>
                <a:cubicBezTo>
                  <a:pt x="3029104" y="645338"/>
                  <a:pt x="3047509" y="623434"/>
                  <a:pt x="3055475" y="618421"/>
                </a:cubicBezTo>
                <a:close/>
                <a:moveTo>
                  <a:pt x="1864673" y="618421"/>
                </a:moveTo>
                <a:cubicBezTo>
                  <a:pt x="1864673" y="618421"/>
                  <a:pt x="1864673" y="618421"/>
                  <a:pt x="1862475" y="629319"/>
                </a:cubicBezTo>
                <a:cubicBezTo>
                  <a:pt x="1861651" y="628992"/>
                  <a:pt x="1861376" y="628229"/>
                  <a:pt x="1861376" y="627466"/>
                </a:cubicBezTo>
                <a:cubicBezTo>
                  <a:pt x="1861376" y="626595"/>
                  <a:pt x="1861926" y="625614"/>
                  <a:pt x="1862201" y="624633"/>
                </a:cubicBezTo>
                <a:cubicBezTo>
                  <a:pt x="1863025" y="622563"/>
                  <a:pt x="1863848" y="620492"/>
                  <a:pt x="1864673" y="618421"/>
                </a:cubicBezTo>
                <a:close/>
                <a:moveTo>
                  <a:pt x="4341871" y="617767"/>
                </a:moveTo>
                <a:cubicBezTo>
                  <a:pt x="4347639" y="619839"/>
                  <a:pt x="4349837" y="631608"/>
                  <a:pt x="4345717" y="635748"/>
                </a:cubicBezTo>
                <a:cubicBezTo>
                  <a:pt x="4344068" y="626158"/>
                  <a:pt x="4337201" y="623217"/>
                  <a:pt x="4341871" y="617767"/>
                </a:cubicBezTo>
                <a:close/>
                <a:moveTo>
                  <a:pt x="3503228" y="616787"/>
                </a:moveTo>
                <a:cubicBezTo>
                  <a:pt x="3506798" y="616460"/>
                  <a:pt x="3510095" y="616242"/>
                  <a:pt x="3510370" y="619075"/>
                </a:cubicBezTo>
                <a:cubicBezTo>
                  <a:pt x="3513941" y="618749"/>
                  <a:pt x="3513941" y="618749"/>
                  <a:pt x="3514216" y="621582"/>
                </a:cubicBezTo>
                <a:cubicBezTo>
                  <a:pt x="3510919" y="622018"/>
                  <a:pt x="3507347" y="622235"/>
                  <a:pt x="3504052" y="622672"/>
                </a:cubicBezTo>
                <a:cubicBezTo>
                  <a:pt x="3500206" y="620056"/>
                  <a:pt x="3500206" y="620056"/>
                  <a:pt x="3503228" y="616787"/>
                </a:cubicBezTo>
                <a:close/>
                <a:moveTo>
                  <a:pt x="1781715" y="615371"/>
                </a:moveTo>
                <a:cubicBezTo>
                  <a:pt x="1783637" y="616133"/>
                  <a:pt x="1782539" y="621582"/>
                  <a:pt x="1783088" y="622998"/>
                </a:cubicBezTo>
                <a:cubicBezTo>
                  <a:pt x="1781715" y="623652"/>
                  <a:pt x="1779792" y="622780"/>
                  <a:pt x="1778419" y="623543"/>
                </a:cubicBezTo>
                <a:cubicBezTo>
                  <a:pt x="1778144" y="622127"/>
                  <a:pt x="1777045" y="619511"/>
                  <a:pt x="1777869" y="617441"/>
                </a:cubicBezTo>
                <a:cubicBezTo>
                  <a:pt x="1777319" y="616133"/>
                  <a:pt x="1781715" y="615371"/>
                  <a:pt x="1781715" y="615371"/>
                </a:cubicBezTo>
                <a:close/>
                <a:moveTo>
                  <a:pt x="1428183" y="614607"/>
                </a:moveTo>
                <a:cubicBezTo>
                  <a:pt x="1430929" y="617986"/>
                  <a:pt x="1433677" y="621364"/>
                  <a:pt x="1430655" y="623870"/>
                </a:cubicBezTo>
                <a:cubicBezTo>
                  <a:pt x="1429007" y="625069"/>
                  <a:pt x="1427358" y="626267"/>
                  <a:pt x="1424612" y="625832"/>
                </a:cubicBezTo>
                <a:cubicBezTo>
                  <a:pt x="1422139" y="622454"/>
                  <a:pt x="1423787" y="618312"/>
                  <a:pt x="1422414" y="616569"/>
                </a:cubicBezTo>
                <a:cubicBezTo>
                  <a:pt x="1423787" y="616787"/>
                  <a:pt x="1426534" y="617332"/>
                  <a:pt x="1428183" y="614607"/>
                </a:cubicBezTo>
                <a:close/>
                <a:moveTo>
                  <a:pt x="3668868" y="613191"/>
                </a:moveTo>
                <a:cubicBezTo>
                  <a:pt x="3666946" y="619294"/>
                  <a:pt x="3661452" y="621146"/>
                  <a:pt x="3658155" y="628120"/>
                </a:cubicBezTo>
                <a:cubicBezTo>
                  <a:pt x="3653211" y="627902"/>
                  <a:pt x="3648815" y="635639"/>
                  <a:pt x="3641948" y="634986"/>
                </a:cubicBezTo>
                <a:cubicBezTo>
                  <a:pt x="3643047" y="624306"/>
                  <a:pt x="3663100" y="611774"/>
                  <a:pt x="3668868" y="613191"/>
                </a:cubicBezTo>
                <a:close/>
                <a:moveTo>
                  <a:pt x="1508943" y="613191"/>
                </a:moveTo>
                <a:cubicBezTo>
                  <a:pt x="1518007" y="622672"/>
                  <a:pt x="1526249" y="626050"/>
                  <a:pt x="1535313" y="632588"/>
                </a:cubicBezTo>
                <a:cubicBezTo>
                  <a:pt x="1535038" y="635421"/>
                  <a:pt x="1533390" y="638037"/>
                  <a:pt x="1528446" y="641306"/>
                </a:cubicBezTo>
                <a:cubicBezTo>
                  <a:pt x="1521579" y="627902"/>
                  <a:pt x="1513887" y="642286"/>
                  <a:pt x="1508119" y="632153"/>
                </a:cubicBezTo>
                <a:cubicBezTo>
                  <a:pt x="1507569" y="627575"/>
                  <a:pt x="1505372" y="622672"/>
                  <a:pt x="1506745" y="617877"/>
                </a:cubicBezTo>
                <a:cubicBezTo>
                  <a:pt x="1507019" y="616351"/>
                  <a:pt x="1507844" y="614716"/>
                  <a:pt x="1508943" y="613191"/>
                </a:cubicBezTo>
                <a:close/>
                <a:moveTo>
                  <a:pt x="2159694" y="612319"/>
                </a:moveTo>
                <a:cubicBezTo>
                  <a:pt x="2160519" y="618640"/>
                  <a:pt x="2161343" y="622998"/>
                  <a:pt x="2162167" y="627140"/>
                </a:cubicBezTo>
                <a:lnTo>
                  <a:pt x="2162991" y="631934"/>
                </a:lnTo>
                <a:lnTo>
                  <a:pt x="2163815" y="635203"/>
                </a:lnTo>
                <a:lnTo>
                  <a:pt x="2163266" y="635966"/>
                </a:lnTo>
                <a:lnTo>
                  <a:pt x="2163815" y="639889"/>
                </a:lnTo>
                <a:cubicBezTo>
                  <a:pt x="2162442" y="640652"/>
                  <a:pt x="2161892" y="639454"/>
                  <a:pt x="2160519" y="640216"/>
                </a:cubicBezTo>
                <a:lnTo>
                  <a:pt x="2160244" y="639889"/>
                </a:lnTo>
                <a:lnTo>
                  <a:pt x="2158596" y="642178"/>
                </a:lnTo>
                <a:cubicBezTo>
                  <a:pt x="2148981" y="636184"/>
                  <a:pt x="2149256" y="632043"/>
                  <a:pt x="2152553" y="630300"/>
                </a:cubicBezTo>
                <a:lnTo>
                  <a:pt x="2155849" y="630518"/>
                </a:lnTo>
                <a:lnTo>
                  <a:pt x="2155300" y="628883"/>
                </a:lnTo>
                <a:cubicBezTo>
                  <a:pt x="2155025" y="626050"/>
                  <a:pt x="2155025" y="623652"/>
                  <a:pt x="2155300" y="623434"/>
                </a:cubicBezTo>
                <a:cubicBezTo>
                  <a:pt x="2154750" y="622127"/>
                  <a:pt x="2156124" y="621364"/>
                  <a:pt x="2155300" y="620056"/>
                </a:cubicBezTo>
                <a:cubicBezTo>
                  <a:pt x="2155300" y="620056"/>
                  <a:pt x="2154750" y="618749"/>
                  <a:pt x="2155300" y="616678"/>
                </a:cubicBezTo>
                <a:cubicBezTo>
                  <a:pt x="2155849" y="614607"/>
                  <a:pt x="2156673" y="612646"/>
                  <a:pt x="2159694" y="612319"/>
                </a:cubicBezTo>
                <a:close/>
                <a:moveTo>
                  <a:pt x="2334676" y="611992"/>
                </a:moveTo>
                <a:cubicBezTo>
                  <a:pt x="2334676" y="613518"/>
                  <a:pt x="2334676" y="614934"/>
                  <a:pt x="2336049" y="615043"/>
                </a:cubicBezTo>
                <a:cubicBezTo>
                  <a:pt x="2333027" y="617659"/>
                  <a:pt x="2331654" y="617550"/>
                  <a:pt x="2330280" y="618749"/>
                </a:cubicBezTo>
                <a:cubicBezTo>
                  <a:pt x="2331654" y="618966"/>
                  <a:pt x="2330006" y="620165"/>
                  <a:pt x="2330006" y="620165"/>
                </a:cubicBezTo>
                <a:cubicBezTo>
                  <a:pt x="2330006" y="620165"/>
                  <a:pt x="2330280" y="620274"/>
                  <a:pt x="2333027" y="623543"/>
                </a:cubicBezTo>
                <a:cubicBezTo>
                  <a:pt x="2333027" y="623543"/>
                  <a:pt x="2338521" y="631499"/>
                  <a:pt x="2332478" y="638037"/>
                </a:cubicBezTo>
                <a:cubicBezTo>
                  <a:pt x="2331379" y="636838"/>
                  <a:pt x="2326160" y="640870"/>
                  <a:pt x="2321215" y="641415"/>
                </a:cubicBezTo>
                <a:cubicBezTo>
                  <a:pt x="2319567" y="641633"/>
                  <a:pt x="2318194" y="641306"/>
                  <a:pt x="2316545" y="640434"/>
                </a:cubicBezTo>
                <a:cubicBezTo>
                  <a:pt x="2313799" y="638582"/>
                  <a:pt x="2312425" y="637056"/>
                  <a:pt x="2309678" y="635312"/>
                </a:cubicBezTo>
                <a:cubicBezTo>
                  <a:pt x="2309678" y="630954"/>
                  <a:pt x="2305557" y="625941"/>
                  <a:pt x="2311601" y="617877"/>
                </a:cubicBezTo>
                <a:cubicBezTo>
                  <a:pt x="2319018" y="610030"/>
                  <a:pt x="2327258" y="618421"/>
                  <a:pt x="2327258" y="616896"/>
                </a:cubicBezTo>
                <a:cubicBezTo>
                  <a:pt x="2328907" y="615697"/>
                  <a:pt x="2328907" y="615697"/>
                  <a:pt x="2328907" y="614172"/>
                </a:cubicBezTo>
                <a:cubicBezTo>
                  <a:pt x="2330280" y="614389"/>
                  <a:pt x="2333302" y="613299"/>
                  <a:pt x="2334676" y="611992"/>
                </a:cubicBezTo>
                <a:close/>
                <a:moveTo>
                  <a:pt x="1230239" y="611580"/>
                </a:moveTo>
                <a:cubicBezTo>
                  <a:pt x="1238300" y="609241"/>
                  <a:pt x="1246128" y="616188"/>
                  <a:pt x="1244686" y="623870"/>
                </a:cubicBezTo>
                <a:cubicBezTo>
                  <a:pt x="1244137" y="627248"/>
                  <a:pt x="1241664" y="630735"/>
                  <a:pt x="1236719" y="633678"/>
                </a:cubicBezTo>
                <a:cubicBezTo>
                  <a:pt x="1232325" y="627685"/>
                  <a:pt x="1227381" y="626703"/>
                  <a:pt x="1224358" y="622780"/>
                </a:cubicBezTo>
                <a:cubicBezTo>
                  <a:pt x="1223535" y="621364"/>
                  <a:pt x="1222985" y="619620"/>
                  <a:pt x="1222436" y="617332"/>
                </a:cubicBezTo>
                <a:cubicBezTo>
                  <a:pt x="1224839" y="614172"/>
                  <a:pt x="1227552" y="612360"/>
                  <a:pt x="1230239" y="611580"/>
                </a:cubicBezTo>
                <a:close/>
                <a:moveTo>
                  <a:pt x="3297481" y="610249"/>
                </a:moveTo>
                <a:cubicBezTo>
                  <a:pt x="3301601" y="610903"/>
                  <a:pt x="3304348" y="612428"/>
                  <a:pt x="3308469" y="612973"/>
                </a:cubicBezTo>
                <a:cubicBezTo>
                  <a:pt x="3310117" y="619402"/>
                  <a:pt x="3304898" y="619620"/>
                  <a:pt x="3299953" y="619839"/>
                </a:cubicBezTo>
                <a:cubicBezTo>
                  <a:pt x="3299129" y="616678"/>
                  <a:pt x="3296383" y="615261"/>
                  <a:pt x="3297481" y="610249"/>
                </a:cubicBezTo>
                <a:close/>
                <a:moveTo>
                  <a:pt x="6161724" y="607960"/>
                </a:moveTo>
                <a:cubicBezTo>
                  <a:pt x="6170789" y="620056"/>
                  <a:pt x="6159527" y="653293"/>
                  <a:pt x="6143869" y="649588"/>
                </a:cubicBezTo>
                <a:cubicBezTo>
                  <a:pt x="6151835" y="635312"/>
                  <a:pt x="6149638" y="622018"/>
                  <a:pt x="6161724" y="607960"/>
                </a:cubicBezTo>
                <a:close/>
                <a:moveTo>
                  <a:pt x="3065089" y="607197"/>
                </a:moveTo>
                <a:cubicBezTo>
                  <a:pt x="3070858" y="617441"/>
                  <a:pt x="3072780" y="625396"/>
                  <a:pt x="3063167" y="632153"/>
                </a:cubicBezTo>
                <a:cubicBezTo>
                  <a:pt x="3057672" y="630081"/>
                  <a:pt x="3056024" y="624524"/>
                  <a:pt x="3056573" y="619075"/>
                </a:cubicBezTo>
                <a:cubicBezTo>
                  <a:pt x="3057397" y="613736"/>
                  <a:pt x="3060694" y="608396"/>
                  <a:pt x="3065089" y="607197"/>
                </a:cubicBezTo>
                <a:close/>
                <a:moveTo>
                  <a:pt x="3216171" y="606871"/>
                </a:moveTo>
                <a:cubicBezTo>
                  <a:pt x="3217819" y="606544"/>
                  <a:pt x="3219467" y="606652"/>
                  <a:pt x="3221391" y="607197"/>
                </a:cubicBezTo>
                <a:cubicBezTo>
                  <a:pt x="3216446" y="619075"/>
                  <a:pt x="3216721" y="627902"/>
                  <a:pt x="3214524" y="639017"/>
                </a:cubicBezTo>
                <a:cubicBezTo>
                  <a:pt x="3213149" y="639454"/>
                  <a:pt x="3211776" y="639562"/>
                  <a:pt x="3209853" y="639126"/>
                </a:cubicBezTo>
                <a:cubicBezTo>
                  <a:pt x="3208205" y="638691"/>
                  <a:pt x="3206282" y="637818"/>
                  <a:pt x="3203809" y="636293"/>
                </a:cubicBezTo>
                <a:cubicBezTo>
                  <a:pt x="3213149" y="624524"/>
                  <a:pt x="3196942" y="623325"/>
                  <a:pt x="3203809" y="613844"/>
                </a:cubicBezTo>
                <a:cubicBezTo>
                  <a:pt x="3207655" y="611557"/>
                  <a:pt x="3211501" y="607742"/>
                  <a:pt x="3216171" y="606871"/>
                </a:cubicBezTo>
                <a:close/>
                <a:moveTo>
                  <a:pt x="2098712" y="606761"/>
                </a:moveTo>
                <a:cubicBezTo>
                  <a:pt x="2099811" y="610794"/>
                  <a:pt x="2099811" y="613953"/>
                  <a:pt x="2100910" y="617986"/>
                </a:cubicBezTo>
                <a:cubicBezTo>
                  <a:pt x="2099536" y="618857"/>
                  <a:pt x="2098438" y="619184"/>
                  <a:pt x="2097614" y="619075"/>
                </a:cubicBezTo>
                <a:cubicBezTo>
                  <a:pt x="2094592" y="618857"/>
                  <a:pt x="2092669" y="615261"/>
                  <a:pt x="2091021" y="611557"/>
                </a:cubicBezTo>
                <a:cubicBezTo>
                  <a:pt x="2093493" y="610030"/>
                  <a:pt x="2093768" y="606761"/>
                  <a:pt x="2098712" y="606761"/>
                </a:cubicBezTo>
                <a:close/>
                <a:moveTo>
                  <a:pt x="2779955" y="606652"/>
                </a:moveTo>
                <a:cubicBezTo>
                  <a:pt x="2787098" y="606871"/>
                  <a:pt x="2790119" y="616242"/>
                  <a:pt x="2792317" y="621146"/>
                </a:cubicBezTo>
                <a:cubicBezTo>
                  <a:pt x="2787373" y="624524"/>
                  <a:pt x="2782703" y="627793"/>
                  <a:pt x="2778582" y="626921"/>
                </a:cubicBezTo>
                <a:cubicBezTo>
                  <a:pt x="2776110" y="623434"/>
                  <a:pt x="2774737" y="619729"/>
                  <a:pt x="2775011" y="616242"/>
                </a:cubicBezTo>
                <a:cubicBezTo>
                  <a:pt x="2775011" y="612755"/>
                  <a:pt x="2776659" y="609595"/>
                  <a:pt x="2779955" y="606652"/>
                </a:cubicBezTo>
                <a:close/>
                <a:moveTo>
                  <a:pt x="3134243" y="604854"/>
                </a:moveTo>
                <a:cubicBezTo>
                  <a:pt x="3138570" y="603656"/>
                  <a:pt x="3143651" y="605181"/>
                  <a:pt x="3146673" y="611448"/>
                </a:cubicBezTo>
                <a:cubicBezTo>
                  <a:pt x="3145850" y="617223"/>
                  <a:pt x="3136235" y="623870"/>
                  <a:pt x="3131840" y="624415"/>
                </a:cubicBezTo>
                <a:cubicBezTo>
                  <a:pt x="3127994" y="621255"/>
                  <a:pt x="3126346" y="617767"/>
                  <a:pt x="3126346" y="614607"/>
                </a:cubicBezTo>
                <a:cubicBezTo>
                  <a:pt x="3126346" y="609976"/>
                  <a:pt x="3129917" y="606053"/>
                  <a:pt x="3134243" y="604854"/>
                </a:cubicBezTo>
                <a:close/>
                <a:moveTo>
                  <a:pt x="1308691" y="604691"/>
                </a:moveTo>
                <a:cubicBezTo>
                  <a:pt x="1311987" y="604691"/>
                  <a:pt x="1311987" y="609376"/>
                  <a:pt x="1313085" y="611992"/>
                </a:cubicBezTo>
                <a:cubicBezTo>
                  <a:pt x="1316107" y="611992"/>
                  <a:pt x="1312261" y="618531"/>
                  <a:pt x="1315557" y="618531"/>
                </a:cubicBezTo>
                <a:cubicBezTo>
                  <a:pt x="1312261" y="626486"/>
                  <a:pt x="1321601" y="629755"/>
                  <a:pt x="1318579" y="642286"/>
                </a:cubicBezTo>
                <a:cubicBezTo>
                  <a:pt x="1316107" y="639454"/>
                  <a:pt x="1314459" y="636620"/>
                  <a:pt x="1313360" y="633895"/>
                </a:cubicBezTo>
                <a:cubicBezTo>
                  <a:pt x="1309789" y="625505"/>
                  <a:pt x="1309789" y="617550"/>
                  <a:pt x="1305394" y="612646"/>
                </a:cubicBezTo>
                <a:cubicBezTo>
                  <a:pt x="1305394" y="612646"/>
                  <a:pt x="1305394" y="612646"/>
                  <a:pt x="1307042" y="608723"/>
                </a:cubicBezTo>
                <a:cubicBezTo>
                  <a:pt x="1306492" y="607415"/>
                  <a:pt x="1306492" y="607415"/>
                  <a:pt x="1306492" y="607415"/>
                </a:cubicBezTo>
                <a:cubicBezTo>
                  <a:pt x="1305943" y="606107"/>
                  <a:pt x="1308691" y="604691"/>
                  <a:pt x="1308691" y="604691"/>
                </a:cubicBezTo>
                <a:close/>
                <a:moveTo>
                  <a:pt x="2611465" y="602103"/>
                </a:moveTo>
                <a:cubicBezTo>
                  <a:pt x="2616993" y="602321"/>
                  <a:pt x="2623242" y="604582"/>
                  <a:pt x="2629972" y="609704"/>
                </a:cubicBezTo>
                <a:lnTo>
                  <a:pt x="2629698" y="611557"/>
                </a:lnTo>
                <a:lnTo>
                  <a:pt x="2631620" y="605236"/>
                </a:lnTo>
                <a:cubicBezTo>
                  <a:pt x="2634093" y="604364"/>
                  <a:pt x="2636565" y="604691"/>
                  <a:pt x="2638762" y="605890"/>
                </a:cubicBezTo>
                <a:lnTo>
                  <a:pt x="2640960" y="608069"/>
                </a:lnTo>
                <a:lnTo>
                  <a:pt x="2641509" y="604037"/>
                </a:lnTo>
                <a:cubicBezTo>
                  <a:pt x="2645355" y="604582"/>
                  <a:pt x="2648377" y="604037"/>
                  <a:pt x="2651399" y="605453"/>
                </a:cubicBezTo>
                <a:cubicBezTo>
                  <a:pt x="2652497" y="609268"/>
                  <a:pt x="2651948" y="611774"/>
                  <a:pt x="2650025" y="613082"/>
                </a:cubicBezTo>
                <a:lnTo>
                  <a:pt x="2644806" y="613299"/>
                </a:lnTo>
                <a:lnTo>
                  <a:pt x="2647003" y="619075"/>
                </a:lnTo>
                <a:cubicBezTo>
                  <a:pt x="2647278" y="621690"/>
                  <a:pt x="2647003" y="624306"/>
                  <a:pt x="2645905" y="626377"/>
                </a:cubicBezTo>
                <a:cubicBezTo>
                  <a:pt x="2642059" y="627685"/>
                  <a:pt x="2638214" y="625941"/>
                  <a:pt x="2635192" y="623108"/>
                </a:cubicBezTo>
                <a:lnTo>
                  <a:pt x="2629698" y="612210"/>
                </a:lnTo>
                <a:lnTo>
                  <a:pt x="2628325" y="624633"/>
                </a:lnTo>
                <a:cubicBezTo>
                  <a:pt x="2624204" y="638363"/>
                  <a:pt x="2614315" y="647844"/>
                  <a:pt x="2602228" y="645992"/>
                </a:cubicBezTo>
                <a:cubicBezTo>
                  <a:pt x="2597284" y="644575"/>
                  <a:pt x="2593712" y="642069"/>
                  <a:pt x="2591241" y="638908"/>
                </a:cubicBezTo>
                <a:lnTo>
                  <a:pt x="2589042" y="632370"/>
                </a:lnTo>
                <a:lnTo>
                  <a:pt x="2586571" y="628883"/>
                </a:lnTo>
                <a:lnTo>
                  <a:pt x="2586571" y="628992"/>
                </a:lnTo>
                <a:lnTo>
                  <a:pt x="2586571" y="629427"/>
                </a:lnTo>
                <a:lnTo>
                  <a:pt x="2583274" y="637056"/>
                </a:lnTo>
                <a:lnTo>
                  <a:pt x="2585197" y="638146"/>
                </a:lnTo>
                <a:lnTo>
                  <a:pt x="2582450" y="639017"/>
                </a:lnTo>
                <a:lnTo>
                  <a:pt x="2580527" y="643376"/>
                </a:lnTo>
                <a:lnTo>
                  <a:pt x="2580253" y="644139"/>
                </a:lnTo>
                <a:lnTo>
                  <a:pt x="2582175" y="652530"/>
                </a:lnTo>
                <a:cubicBezTo>
                  <a:pt x="2587120" y="668113"/>
                  <a:pt x="2591515" y="678357"/>
                  <a:pt x="2593163" y="694702"/>
                </a:cubicBezTo>
                <a:cubicBezTo>
                  <a:pt x="2591790" y="695575"/>
                  <a:pt x="2590416" y="695247"/>
                  <a:pt x="2589317" y="695030"/>
                </a:cubicBezTo>
                <a:lnTo>
                  <a:pt x="2586571" y="695356"/>
                </a:lnTo>
                <a:lnTo>
                  <a:pt x="2592888" y="700042"/>
                </a:lnTo>
                <a:lnTo>
                  <a:pt x="2589042" y="704075"/>
                </a:lnTo>
                <a:lnTo>
                  <a:pt x="2596460" y="709632"/>
                </a:lnTo>
                <a:cubicBezTo>
                  <a:pt x="2595086" y="710831"/>
                  <a:pt x="2598932" y="714536"/>
                  <a:pt x="2600305" y="717696"/>
                </a:cubicBezTo>
                <a:cubicBezTo>
                  <a:pt x="2600030" y="722164"/>
                  <a:pt x="2599756" y="725106"/>
                  <a:pt x="2596734" y="727612"/>
                </a:cubicBezTo>
                <a:lnTo>
                  <a:pt x="2591790" y="729356"/>
                </a:lnTo>
                <a:lnTo>
                  <a:pt x="2593438" y="730882"/>
                </a:lnTo>
                <a:cubicBezTo>
                  <a:pt x="2594536" y="732407"/>
                  <a:pt x="2595360" y="734042"/>
                  <a:pt x="2597284" y="734913"/>
                </a:cubicBezTo>
                <a:cubicBezTo>
                  <a:pt x="2595910" y="736112"/>
                  <a:pt x="2594536" y="737747"/>
                  <a:pt x="2592339" y="738836"/>
                </a:cubicBezTo>
                <a:lnTo>
                  <a:pt x="2588768" y="739164"/>
                </a:lnTo>
                <a:lnTo>
                  <a:pt x="2589042" y="741234"/>
                </a:lnTo>
                <a:cubicBezTo>
                  <a:pt x="2587944" y="746682"/>
                  <a:pt x="2582725" y="752240"/>
                  <a:pt x="2575034" y="751478"/>
                </a:cubicBezTo>
                <a:cubicBezTo>
                  <a:pt x="2573385" y="749080"/>
                  <a:pt x="2572286" y="746901"/>
                  <a:pt x="2571462" y="744721"/>
                </a:cubicBezTo>
                <a:cubicBezTo>
                  <a:pt x="2570913" y="742650"/>
                  <a:pt x="2570638" y="740689"/>
                  <a:pt x="2570089" y="739164"/>
                </a:cubicBezTo>
                <a:cubicBezTo>
                  <a:pt x="2573385" y="736439"/>
                  <a:pt x="2575308" y="733606"/>
                  <a:pt x="2578604" y="730990"/>
                </a:cubicBezTo>
                <a:lnTo>
                  <a:pt x="2579153" y="731099"/>
                </a:lnTo>
                <a:lnTo>
                  <a:pt x="2579153" y="730773"/>
                </a:lnTo>
                <a:lnTo>
                  <a:pt x="2581077" y="728593"/>
                </a:lnTo>
                <a:lnTo>
                  <a:pt x="2578329" y="727504"/>
                </a:lnTo>
                <a:cubicBezTo>
                  <a:pt x="2572836" y="722164"/>
                  <a:pt x="2571737" y="717587"/>
                  <a:pt x="2572011" y="713119"/>
                </a:cubicBezTo>
                <a:cubicBezTo>
                  <a:pt x="2572011" y="713119"/>
                  <a:pt x="2572011" y="713119"/>
                  <a:pt x="2572011" y="714536"/>
                </a:cubicBezTo>
                <a:cubicBezTo>
                  <a:pt x="2565968" y="719549"/>
                  <a:pt x="2555530" y="728157"/>
                  <a:pt x="2551409" y="726087"/>
                </a:cubicBezTo>
                <a:cubicBezTo>
                  <a:pt x="2551409" y="724561"/>
                  <a:pt x="2551409" y="723144"/>
                  <a:pt x="2553058" y="721837"/>
                </a:cubicBezTo>
                <a:cubicBezTo>
                  <a:pt x="2554431" y="720638"/>
                  <a:pt x="2554431" y="722055"/>
                  <a:pt x="2554431" y="720529"/>
                </a:cubicBezTo>
                <a:cubicBezTo>
                  <a:pt x="2556079" y="719330"/>
                  <a:pt x="2554706" y="719113"/>
                  <a:pt x="2554706" y="719113"/>
                </a:cubicBezTo>
                <a:cubicBezTo>
                  <a:pt x="2554706" y="719113"/>
                  <a:pt x="2556079" y="719330"/>
                  <a:pt x="2556079" y="719330"/>
                </a:cubicBezTo>
                <a:cubicBezTo>
                  <a:pt x="2556079" y="719330"/>
                  <a:pt x="2556079" y="719330"/>
                  <a:pt x="2559101" y="716824"/>
                </a:cubicBezTo>
                <a:cubicBezTo>
                  <a:pt x="2562123" y="712901"/>
                  <a:pt x="2562123" y="711484"/>
                  <a:pt x="2563771" y="708760"/>
                </a:cubicBezTo>
                <a:cubicBezTo>
                  <a:pt x="2566792" y="706254"/>
                  <a:pt x="2568165" y="706580"/>
                  <a:pt x="2572561" y="704292"/>
                </a:cubicBezTo>
                <a:cubicBezTo>
                  <a:pt x="2575308" y="706254"/>
                  <a:pt x="2575308" y="706254"/>
                  <a:pt x="2575308" y="707670"/>
                </a:cubicBezTo>
                <a:cubicBezTo>
                  <a:pt x="2575308" y="706254"/>
                  <a:pt x="2576956" y="706363"/>
                  <a:pt x="2578329" y="705164"/>
                </a:cubicBezTo>
                <a:lnTo>
                  <a:pt x="2581901" y="702331"/>
                </a:lnTo>
                <a:lnTo>
                  <a:pt x="2582175" y="698844"/>
                </a:lnTo>
                <a:lnTo>
                  <a:pt x="2584099" y="694594"/>
                </a:lnTo>
                <a:lnTo>
                  <a:pt x="2581901" y="693395"/>
                </a:lnTo>
                <a:cubicBezTo>
                  <a:pt x="2580802" y="692305"/>
                  <a:pt x="2579703" y="690779"/>
                  <a:pt x="2578604" y="689036"/>
                </a:cubicBezTo>
                <a:cubicBezTo>
                  <a:pt x="2576956" y="686530"/>
                  <a:pt x="2575308" y="683479"/>
                  <a:pt x="2573934" y="680209"/>
                </a:cubicBezTo>
                <a:lnTo>
                  <a:pt x="2570913" y="672254"/>
                </a:lnTo>
                <a:lnTo>
                  <a:pt x="2569814" y="670837"/>
                </a:lnTo>
                <a:cubicBezTo>
                  <a:pt x="2564320" y="668767"/>
                  <a:pt x="2558827" y="674979"/>
                  <a:pt x="2554431" y="667350"/>
                </a:cubicBezTo>
                <a:cubicBezTo>
                  <a:pt x="2554157" y="662774"/>
                  <a:pt x="2551958" y="657869"/>
                  <a:pt x="2553333" y="653075"/>
                </a:cubicBezTo>
                <a:cubicBezTo>
                  <a:pt x="2553607" y="651549"/>
                  <a:pt x="2554431" y="649915"/>
                  <a:pt x="2555530" y="648389"/>
                </a:cubicBezTo>
                <a:cubicBezTo>
                  <a:pt x="2559925" y="653075"/>
                  <a:pt x="2564320" y="656344"/>
                  <a:pt x="2568715" y="659177"/>
                </a:cubicBezTo>
                <a:lnTo>
                  <a:pt x="2569265" y="659505"/>
                </a:lnTo>
                <a:lnTo>
                  <a:pt x="2569265" y="658960"/>
                </a:lnTo>
                <a:cubicBezTo>
                  <a:pt x="2567341" y="656126"/>
                  <a:pt x="2570364" y="654492"/>
                  <a:pt x="2568440" y="651659"/>
                </a:cubicBezTo>
                <a:cubicBezTo>
                  <a:pt x="2568440" y="651659"/>
                  <a:pt x="2566518" y="648934"/>
                  <a:pt x="2567616" y="644466"/>
                </a:cubicBezTo>
                <a:lnTo>
                  <a:pt x="2568440" y="642723"/>
                </a:lnTo>
                <a:lnTo>
                  <a:pt x="2561298" y="640652"/>
                </a:lnTo>
                <a:cubicBezTo>
                  <a:pt x="2558552" y="640325"/>
                  <a:pt x="2555255" y="639780"/>
                  <a:pt x="2552508" y="637165"/>
                </a:cubicBezTo>
                <a:cubicBezTo>
                  <a:pt x="2555804" y="633242"/>
                  <a:pt x="2562947" y="632261"/>
                  <a:pt x="2569814" y="632806"/>
                </a:cubicBezTo>
                <a:lnTo>
                  <a:pt x="2576956" y="634223"/>
                </a:lnTo>
                <a:lnTo>
                  <a:pt x="2576956" y="633569"/>
                </a:lnTo>
                <a:lnTo>
                  <a:pt x="2576956" y="632479"/>
                </a:lnTo>
                <a:lnTo>
                  <a:pt x="2575034" y="624959"/>
                </a:lnTo>
                <a:lnTo>
                  <a:pt x="2574210" y="625941"/>
                </a:lnTo>
                <a:cubicBezTo>
                  <a:pt x="2555255" y="626921"/>
                  <a:pt x="2551684" y="612319"/>
                  <a:pt x="2560474" y="606761"/>
                </a:cubicBezTo>
                <a:cubicBezTo>
                  <a:pt x="2563496" y="604909"/>
                  <a:pt x="2567892" y="604146"/>
                  <a:pt x="2573660" y="605236"/>
                </a:cubicBezTo>
                <a:cubicBezTo>
                  <a:pt x="2576407" y="607742"/>
                  <a:pt x="2578055" y="612210"/>
                  <a:pt x="2578055" y="616460"/>
                </a:cubicBezTo>
                <a:lnTo>
                  <a:pt x="2578055" y="616787"/>
                </a:lnTo>
                <a:lnTo>
                  <a:pt x="2580802" y="612755"/>
                </a:lnTo>
                <a:cubicBezTo>
                  <a:pt x="2582999" y="611557"/>
                  <a:pt x="2585197" y="611229"/>
                  <a:pt x="2587669" y="612102"/>
                </a:cubicBezTo>
                <a:lnTo>
                  <a:pt x="2589317" y="615043"/>
                </a:lnTo>
                <a:lnTo>
                  <a:pt x="2590416" y="612428"/>
                </a:lnTo>
                <a:cubicBezTo>
                  <a:pt x="2591241" y="611229"/>
                  <a:pt x="2592614" y="610358"/>
                  <a:pt x="2594262" y="609813"/>
                </a:cubicBezTo>
                <a:lnTo>
                  <a:pt x="2594536" y="609921"/>
                </a:lnTo>
                <a:lnTo>
                  <a:pt x="2597284" y="606761"/>
                </a:lnTo>
                <a:cubicBezTo>
                  <a:pt x="2601129" y="603710"/>
                  <a:pt x="2605937" y="601885"/>
                  <a:pt x="2611465" y="602103"/>
                </a:cubicBezTo>
                <a:close/>
                <a:moveTo>
                  <a:pt x="2798910" y="601530"/>
                </a:moveTo>
                <a:cubicBezTo>
                  <a:pt x="2800283" y="601858"/>
                  <a:pt x="2801657" y="602729"/>
                  <a:pt x="2803030" y="604364"/>
                </a:cubicBezTo>
                <a:cubicBezTo>
                  <a:pt x="2804404" y="604582"/>
                  <a:pt x="2805502" y="610575"/>
                  <a:pt x="2804129" y="611883"/>
                </a:cubicBezTo>
                <a:cubicBezTo>
                  <a:pt x="2803305" y="612864"/>
                  <a:pt x="2802481" y="613409"/>
                  <a:pt x="2801657" y="613627"/>
                </a:cubicBezTo>
                <a:cubicBezTo>
                  <a:pt x="2799184" y="614281"/>
                  <a:pt x="2795613" y="611883"/>
                  <a:pt x="2791493" y="610249"/>
                </a:cubicBezTo>
                <a:cubicBezTo>
                  <a:pt x="2792866" y="608941"/>
                  <a:pt x="2791493" y="607415"/>
                  <a:pt x="2790119" y="605781"/>
                </a:cubicBezTo>
                <a:cubicBezTo>
                  <a:pt x="2792317" y="603819"/>
                  <a:pt x="2795339" y="600332"/>
                  <a:pt x="2798910" y="601530"/>
                </a:cubicBezTo>
                <a:close/>
                <a:moveTo>
                  <a:pt x="2523116" y="600659"/>
                </a:moveTo>
                <a:cubicBezTo>
                  <a:pt x="2532181" y="612755"/>
                  <a:pt x="2520919" y="645992"/>
                  <a:pt x="2505261" y="642286"/>
                </a:cubicBezTo>
                <a:cubicBezTo>
                  <a:pt x="2512952" y="628011"/>
                  <a:pt x="2511029" y="614716"/>
                  <a:pt x="2523116" y="600659"/>
                </a:cubicBezTo>
                <a:close/>
                <a:moveTo>
                  <a:pt x="3230455" y="599896"/>
                </a:moveTo>
                <a:cubicBezTo>
                  <a:pt x="3240344" y="602403"/>
                  <a:pt x="3246113" y="624415"/>
                  <a:pt x="3242817" y="630081"/>
                </a:cubicBezTo>
                <a:cubicBezTo>
                  <a:pt x="3237598" y="627466"/>
                  <a:pt x="3237598" y="621473"/>
                  <a:pt x="3232104" y="617441"/>
                </a:cubicBezTo>
                <a:cubicBezTo>
                  <a:pt x="3233752" y="612319"/>
                  <a:pt x="3227709" y="606871"/>
                  <a:pt x="3230455" y="599896"/>
                </a:cubicBezTo>
                <a:close/>
                <a:moveTo>
                  <a:pt x="2106954" y="599460"/>
                </a:moveTo>
                <a:cubicBezTo>
                  <a:pt x="2108601" y="600332"/>
                  <a:pt x="2107228" y="600877"/>
                  <a:pt x="2108601" y="600332"/>
                </a:cubicBezTo>
                <a:cubicBezTo>
                  <a:pt x="2110249" y="601204"/>
                  <a:pt x="2109975" y="599787"/>
                  <a:pt x="2109975" y="599787"/>
                </a:cubicBezTo>
                <a:cubicBezTo>
                  <a:pt x="2109975" y="599787"/>
                  <a:pt x="2110249" y="601204"/>
                  <a:pt x="2110249" y="601204"/>
                </a:cubicBezTo>
                <a:cubicBezTo>
                  <a:pt x="2110249" y="601204"/>
                  <a:pt x="2110249" y="601204"/>
                  <a:pt x="2113821" y="602947"/>
                </a:cubicBezTo>
                <a:cubicBezTo>
                  <a:pt x="2118765" y="604146"/>
                  <a:pt x="2120139" y="603711"/>
                  <a:pt x="2123161" y="604037"/>
                </a:cubicBezTo>
                <a:cubicBezTo>
                  <a:pt x="2126731" y="605781"/>
                  <a:pt x="2127006" y="607089"/>
                  <a:pt x="2130852" y="610249"/>
                </a:cubicBezTo>
                <a:cubicBezTo>
                  <a:pt x="2130302" y="613518"/>
                  <a:pt x="2130302" y="613518"/>
                  <a:pt x="2128929" y="613953"/>
                </a:cubicBezTo>
                <a:cubicBezTo>
                  <a:pt x="2130302" y="613518"/>
                  <a:pt x="2130577" y="614826"/>
                  <a:pt x="2132225" y="615697"/>
                </a:cubicBezTo>
                <a:cubicBezTo>
                  <a:pt x="2140192" y="617332"/>
                  <a:pt x="2139368" y="625287"/>
                  <a:pt x="2135522" y="634223"/>
                </a:cubicBezTo>
                <a:cubicBezTo>
                  <a:pt x="2133874" y="633350"/>
                  <a:pt x="2132225" y="638472"/>
                  <a:pt x="2129753" y="640870"/>
                </a:cubicBezTo>
                <a:cubicBezTo>
                  <a:pt x="2127830" y="641633"/>
                  <a:pt x="2125907" y="642286"/>
                  <a:pt x="2124259" y="642505"/>
                </a:cubicBezTo>
                <a:cubicBezTo>
                  <a:pt x="2122611" y="642723"/>
                  <a:pt x="2120962" y="642505"/>
                  <a:pt x="2119315" y="641633"/>
                </a:cubicBezTo>
                <a:cubicBezTo>
                  <a:pt x="2116567" y="640325"/>
                  <a:pt x="2114095" y="637492"/>
                  <a:pt x="2112448" y="634332"/>
                </a:cubicBezTo>
                <a:lnTo>
                  <a:pt x="2111898" y="632479"/>
                </a:lnTo>
                <a:lnTo>
                  <a:pt x="2111073" y="632697"/>
                </a:lnTo>
                <a:cubicBezTo>
                  <a:pt x="2106404" y="634223"/>
                  <a:pt x="2101734" y="635312"/>
                  <a:pt x="2096790" y="634877"/>
                </a:cubicBezTo>
                <a:cubicBezTo>
                  <a:pt x="2098712" y="630191"/>
                  <a:pt x="2103657" y="625396"/>
                  <a:pt x="2109151" y="623434"/>
                </a:cubicBezTo>
                <a:lnTo>
                  <a:pt x="2112997" y="623108"/>
                </a:lnTo>
                <a:lnTo>
                  <a:pt x="2116567" y="616896"/>
                </a:lnTo>
                <a:cubicBezTo>
                  <a:pt x="2118491" y="615152"/>
                  <a:pt x="2120413" y="614063"/>
                  <a:pt x="2122611" y="613299"/>
                </a:cubicBezTo>
                <a:cubicBezTo>
                  <a:pt x="2122611" y="613299"/>
                  <a:pt x="2122611" y="613299"/>
                  <a:pt x="2121237" y="613736"/>
                </a:cubicBezTo>
                <a:cubicBezTo>
                  <a:pt x="2114095" y="610249"/>
                  <a:pt x="2102009" y="604146"/>
                  <a:pt x="2102284" y="599569"/>
                </a:cubicBezTo>
                <a:cubicBezTo>
                  <a:pt x="2103657" y="599024"/>
                  <a:pt x="2105030" y="598589"/>
                  <a:pt x="2106954" y="599460"/>
                </a:cubicBezTo>
                <a:close/>
                <a:moveTo>
                  <a:pt x="1861101" y="598261"/>
                </a:moveTo>
                <a:cubicBezTo>
                  <a:pt x="1863025" y="597935"/>
                  <a:pt x="1865222" y="598153"/>
                  <a:pt x="1867145" y="599134"/>
                </a:cubicBezTo>
                <a:cubicBezTo>
                  <a:pt x="1870166" y="598044"/>
                  <a:pt x="1874287" y="598479"/>
                  <a:pt x="1877034" y="600332"/>
                </a:cubicBezTo>
                <a:cubicBezTo>
                  <a:pt x="1879781" y="603601"/>
                  <a:pt x="1879781" y="606435"/>
                  <a:pt x="1878133" y="607742"/>
                </a:cubicBezTo>
                <a:cubicBezTo>
                  <a:pt x="1873188" y="613736"/>
                  <a:pt x="1867420" y="614826"/>
                  <a:pt x="1862750" y="614607"/>
                </a:cubicBezTo>
                <a:cubicBezTo>
                  <a:pt x="1858080" y="614389"/>
                  <a:pt x="1854234" y="612864"/>
                  <a:pt x="1852861" y="613409"/>
                </a:cubicBezTo>
                <a:cubicBezTo>
                  <a:pt x="1848740" y="608614"/>
                  <a:pt x="1848465" y="608505"/>
                  <a:pt x="1855882" y="600659"/>
                </a:cubicBezTo>
                <a:cubicBezTo>
                  <a:pt x="1857256" y="599351"/>
                  <a:pt x="1859178" y="598589"/>
                  <a:pt x="1861101" y="598261"/>
                </a:cubicBezTo>
                <a:close/>
                <a:moveTo>
                  <a:pt x="3014271" y="597499"/>
                </a:moveTo>
                <a:cubicBezTo>
                  <a:pt x="3017292" y="597499"/>
                  <a:pt x="3020863" y="598479"/>
                  <a:pt x="3024434" y="601204"/>
                </a:cubicBezTo>
                <a:cubicBezTo>
                  <a:pt x="3026357" y="604255"/>
                  <a:pt x="3025259" y="609595"/>
                  <a:pt x="3022511" y="614063"/>
                </a:cubicBezTo>
                <a:lnTo>
                  <a:pt x="3024160" y="613518"/>
                </a:lnTo>
                <a:cubicBezTo>
                  <a:pt x="3023610" y="614498"/>
                  <a:pt x="3023335" y="614716"/>
                  <a:pt x="3023060" y="614607"/>
                </a:cubicBezTo>
                <a:lnTo>
                  <a:pt x="3022236" y="614498"/>
                </a:lnTo>
                <a:lnTo>
                  <a:pt x="3017841" y="619947"/>
                </a:lnTo>
                <a:cubicBezTo>
                  <a:pt x="3015919" y="621582"/>
                  <a:pt x="3013996" y="622563"/>
                  <a:pt x="3012073" y="622780"/>
                </a:cubicBezTo>
                <a:cubicBezTo>
                  <a:pt x="3008777" y="620710"/>
                  <a:pt x="3005480" y="618749"/>
                  <a:pt x="3002184" y="616678"/>
                </a:cubicBezTo>
                <a:cubicBezTo>
                  <a:pt x="2999162" y="610030"/>
                  <a:pt x="3002184" y="602512"/>
                  <a:pt x="3007952" y="599243"/>
                </a:cubicBezTo>
                <a:cubicBezTo>
                  <a:pt x="3009875" y="598153"/>
                  <a:pt x="3011798" y="597499"/>
                  <a:pt x="3014271" y="597499"/>
                </a:cubicBezTo>
                <a:close/>
                <a:moveTo>
                  <a:pt x="1429282" y="596954"/>
                </a:moveTo>
                <a:cubicBezTo>
                  <a:pt x="1433127" y="598261"/>
                  <a:pt x="1436698" y="599569"/>
                  <a:pt x="1435050" y="603492"/>
                </a:cubicBezTo>
                <a:cubicBezTo>
                  <a:pt x="1434226" y="605453"/>
                  <a:pt x="1433402" y="607415"/>
                  <a:pt x="1430929" y="608723"/>
                </a:cubicBezTo>
                <a:cubicBezTo>
                  <a:pt x="1427358" y="607415"/>
                  <a:pt x="1426808" y="602838"/>
                  <a:pt x="1425160" y="602184"/>
                </a:cubicBezTo>
                <a:cubicBezTo>
                  <a:pt x="1426534" y="601530"/>
                  <a:pt x="1429007" y="600223"/>
                  <a:pt x="1429282" y="596954"/>
                </a:cubicBezTo>
                <a:close/>
                <a:moveTo>
                  <a:pt x="4173483" y="596736"/>
                </a:moveTo>
                <a:cubicBezTo>
                  <a:pt x="4178427" y="597499"/>
                  <a:pt x="4177604" y="599460"/>
                  <a:pt x="4175955" y="603383"/>
                </a:cubicBezTo>
                <a:cubicBezTo>
                  <a:pt x="4174581" y="603383"/>
                  <a:pt x="4173208" y="603274"/>
                  <a:pt x="4172659" y="602403"/>
                </a:cubicBezTo>
                <a:cubicBezTo>
                  <a:pt x="4171835" y="601530"/>
                  <a:pt x="4171560" y="600005"/>
                  <a:pt x="4172110" y="597390"/>
                </a:cubicBezTo>
                <a:cubicBezTo>
                  <a:pt x="4172110" y="597390"/>
                  <a:pt x="4173483" y="596736"/>
                  <a:pt x="4173483" y="596736"/>
                </a:cubicBezTo>
                <a:close/>
                <a:moveTo>
                  <a:pt x="4069648" y="596300"/>
                </a:moveTo>
                <a:cubicBezTo>
                  <a:pt x="4067725" y="597172"/>
                  <a:pt x="4066626" y="598153"/>
                  <a:pt x="4066077" y="598698"/>
                </a:cubicBezTo>
                <a:cubicBezTo>
                  <a:pt x="4065253" y="599243"/>
                  <a:pt x="4064978" y="599351"/>
                  <a:pt x="4064704" y="598698"/>
                </a:cubicBezTo>
                <a:cubicBezTo>
                  <a:pt x="4063330" y="599243"/>
                  <a:pt x="4062781" y="597935"/>
                  <a:pt x="4064154" y="597390"/>
                </a:cubicBezTo>
                <a:cubicBezTo>
                  <a:pt x="4064429" y="594121"/>
                  <a:pt x="4068000" y="595537"/>
                  <a:pt x="4069648" y="596300"/>
                </a:cubicBezTo>
                <a:close/>
                <a:moveTo>
                  <a:pt x="3200514" y="595101"/>
                </a:moveTo>
                <a:cubicBezTo>
                  <a:pt x="3201338" y="595755"/>
                  <a:pt x="3202436" y="596954"/>
                  <a:pt x="3203809" y="597826"/>
                </a:cubicBezTo>
                <a:lnTo>
                  <a:pt x="3199415" y="601530"/>
                </a:lnTo>
                <a:cubicBezTo>
                  <a:pt x="3198041" y="599896"/>
                  <a:pt x="3196668" y="596845"/>
                  <a:pt x="3198041" y="595646"/>
                </a:cubicBezTo>
                <a:cubicBezTo>
                  <a:pt x="3198865" y="594338"/>
                  <a:pt x="3199690" y="594447"/>
                  <a:pt x="3200514" y="595101"/>
                </a:cubicBezTo>
                <a:close/>
                <a:moveTo>
                  <a:pt x="3261770" y="594883"/>
                </a:moveTo>
                <a:cubicBezTo>
                  <a:pt x="3264518" y="596845"/>
                  <a:pt x="3266990" y="600550"/>
                  <a:pt x="3268363" y="606217"/>
                </a:cubicBezTo>
                <a:cubicBezTo>
                  <a:pt x="3266715" y="611665"/>
                  <a:pt x="3259299" y="616024"/>
                  <a:pt x="3254079" y="616242"/>
                </a:cubicBezTo>
                <a:cubicBezTo>
                  <a:pt x="3252156" y="616351"/>
                  <a:pt x="3250783" y="616024"/>
                  <a:pt x="3249684" y="615043"/>
                </a:cubicBezTo>
                <a:cubicBezTo>
                  <a:pt x="3240894" y="598153"/>
                  <a:pt x="3252981" y="588890"/>
                  <a:pt x="3261770" y="594883"/>
                </a:cubicBezTo>
                <a:close/>
                <a:moveTo>
                  <a:pt x="1155135" y="594338"/>
                </a:moveTo>
                <a:cubicBezTo>
                  <a:pt x="1156235" y="593467"/>
                  <a:pt x="1157059" y="594775"/>
                  <a:pt x="1158982" y="595210"/>
                </a:cubicBezTo>
                <a:cubicBezTo>
                  <a:pt x="1159530" y="596409"/>
                  <a:pt x="1158982" y="598479"/>
                  <a:pt x="1158982" y="598479"/>
                </a:cubicBezTo>
                <a:cubicBezTo>
                  <a:pt x="1158157" y="600550"/>
                  <a:pt x="1158432" y="600550"/>
                  <a:pt x="1160080" y="600985"/>
                </a:cubicBezTo>
                <a:cubicBezTo>
                  <a:pt x="1160080" y="600985"/>
                  <a:pt x="1158982" y="601749"/>
                  <a:pt x="1158982" y="601749"/>
                </a:cubicBezTo>
                <a:cubicBezTo>
                  <a:pt x="1158432" y="600441"/>
                  <a:pt x="1158982" y="601749"/>
                  <a:pt x="1158432" y="603819"/>
                </a:cubicBezTo>
                <a:cubicBezTo>
                  <a:pt x="1155135" y="604146"/>
                  <a:pt x="1153762" y="604909"/>
                  <a:pt x="1151839" y="604473"/>
                </a:cubicBezTo>
                <a:cubicBezTo>
                  <a:pt x="1151016" y="604255"/>
                  <a:pt x="1149916" y="603711"/>
                  <a:pt x="1149092" y="602947"/>
                </a:cubicBezTo>
                <a:cubicBezTo>
                  <a:pt x="1148268" y="602184"/>
                  <a:pt x="1147719" y="601313"/>
                  <a:pt x="1147994" y="600332"/>
                </a:cubicBezTo>
                <a:cubicBezTo>
                  <a:pt x="1149367" y="599569"/>
                  <a:pt x="1148817" y="598261"/>
                  <a:pt x="1149916" y="597499"/>
                </a:cubicBezTo>
                <a:cubicBezTo>
                  <a:pt x="1151839" y="594666"/>
                  <a:pt x="1153213" y="593793"/>
                  <a:pt x="1155135" y="594338"/>
                </a:cubicBezTo>
                <a:close/>
                <a:moveTo>
                  <a:pt x="2206530" y="592854"/>
                </a:moveTo>
                <a:cubicBezTo>
                  <a:pt x="2213535" y="589298"/>
                  <a:pt x="2222737" y="589271"/>
                  <a:pt x="2230016" y="593140"/>
                </a:cubicBezTo>
                <a:cubicBezTo>
                  <a:pt x="2238532" y="597716"/>
                  <a:pt x="2244301" y="607851"/>
                  <a:pt x="2240455" y="624306"/>
                </a:cubicBezTo>
                <a:lnTo>
                  <a:pt x="2238807" y="624851"/>
                </a:lnTo>
                <a:lnTo>
                  <a:pt x="2245399" y="624088"/>
                </a:lnTo>
                <a:cubicBezTo>
                  <a:pt x="2247322" y="626050"/>
                  <a:pt x="2247872" y="628447"/>
                  <a:pt x="2247597" y="630954"/>
                </a:cubicBezTo>
                <a:lnTo>
                  <a:pt x="2246498" y="633678"/>
                </a:lnTo>
                <a:lnTo>
                  <a:pt x="2250344" y="632588"/>
                </a:lnTo>
                <a:cubicBezTo>
                  <a:pt x="2251443" y="636402"/>
                  <a:pt x="2253091" y="638908"/>
                  <a:pt x="2253091" y="642178"/>
                </a:cubicBezTo>
                <a:cubicBezTo>
                  <a:pt x="2250069" y="644793"/>
                  <a:pt x="2247597" y="645229"/>
                  <a:pt x="2245674" y="644030"/>
                </a:cubicBezTo>
                <a:lnTo>
                  <a:pt x="2243202" y="639345"/>
                </a:lnTo>
                <a:lnTo>
                  <a:pt x="2238807" y="643594"/>
                </a:lnTo>
                <a:cubicBezTo>
                  <a:pt x="2236609" y="645011"/>
                  <a:pt x="2234137" y="645774"/>
                  <a:pt x="2231940" y="645664"/>
                </a:cubicBezTo>
                <a:cubicBezTo>
                  <a:pt x="2229192" y="642614"/>
                  <a:pt x="2228918" y="638363"/>
                  <a:pt x="2230291" y="634440"/>
                </a:cubicBezTo>
                <a:lnTo>
                  <a:pt x="2238258" y="625069"/>
                </a:lnTo>
                <a:lnTo>
                  <a:pt x="2236334" y="625614"/>
                </a:lnTo>
                <a:lnTo>
                  <a:pt x="2235785" y="627031"/>
                </a:lnTo>
                <a:cubicBezTo>
                  <a:pt x="2235236" y="627902"/>
                  <a:pt x="2234137" y="628665"/>
                  <a:pt x="2232764" y="629319"/>
                </a:cubicBezTo>
                <a:lnTo>
                  <a:pt x="2230840" y="627357"/>
                </a:lnTo>
                <a:lnTo>
                  <a:pt x="2226171" y="628774"/>
                </a:lnTo>
                <a:lnTo>
                  <a:pt x="2208315" y="626595"/>
                </a:lnTo>
                <a:lnTo>
                  <a:pt x="2205569" y="630081"/>
                </a:lnTo>
                <a:lnTo>
                  <a:pt x="2205294" y="630300"/>
                </a:lnTo>
                <a:lnTo>
                  <a:pt x="2205569" y="630409"/>
                </a:lnTo>
                <a:cubicBezTo>
                  <a:pt x="2206118" y="631608"/>
                  <a:pt x="2205569" y="633678"/>
                  <a:pt x="2205569" y="633678"/>
                </a:cubicBezTo>
                <a:cubicBezTo>
                  <a:pt x="2204745" y="635748"/>
                  <a:pt x="2204745" y="635748"/>
                  <a:pt x="2206668" y="636184"/>
                </a:cubicBezTo>
                <a:cubicBezTo>
                  <a:pt x="2206668" y="636184"/>
                  <a:pt x="2205569" y="636947"/>
                  <a:pt x="2205569" y="636947"/>
                </a:cubicBezTo>
                <a:cubicBezTo>
                  <a:pt x="2204745" y="635639"/>
                  <a:pt x="2205569" y="636947"/>
                  <a:pt x="2204745" y="639017"/>
                </a:cubicBezTo>
                <a:cubicBezTo>
                  <a:pt x="2201723" y="639345"/>
                  <a:pt x="2200350" y="640107"/>
                  <a:pt x="2198427" y="639671"/>
                </a:cubicBezTo>
                <a:cubicBezTo>
                  <a:pt x="2197602" y="639454"/>
                  <a:pt x="2196229" y="638908"/>
                  <a:pt x="2195405" y="638146"/>
                </a:cubicBezTo>
                <a:cubicBezTo>
                  <a:pt x="2194581" y="637383"/>
                  <a:pt x="2194307" y="636402"/>
                  <a:pt x="2194581" y="635421"/>
                </a:cubicBezTo>
                <a:lnTo>
                  <a:pt x="2195405" y="634223"/>
                </a:lnTo>
                <a:lnTo>
                  <a:pt x="2192658" y="632915"/>
                </a:lnTo>
                <a:cubicBezTo>
                  <a:pt x="2192658" y="631389"/>
                  <a:pt x="2194307" y="627140"/>
                  <a:pt x="2192933" y="627031"/>
                </a:cubicBezTo>
                <a:cubicBezTo>
                  <a:pt x="2194581" y="625505"/>
                  <a:pt x="2196504" y="624088"/>
                  <a:pt x="2198152" y="623108"/>
                </a:cubicBezTo>
                <a:lnTo>
                  <a:pt x="2201174" y="622235"/>
                </a:lnTo>
                <a:lnTo>
                  <a:pt x="2200350" y="621255"/>
                </a:lnTo>
                <a:cubicBezTo>
                  <a:pt x="2198427" y="619184"/>
                  <a:pt x="2197053" y="616678"/>
                  <a:pt x="2196229" y="613736"/>
                </a:cubicBezTo>
                <a:cubicBezTo>
                  <a:pt x="2194718" y="603492"/>
                  <a:pt x="2199526" y="596409"/>
                  <a:pt x="2206530" y="592854"/>
                </a:cubicBezTo>
                <a:close/>
                <a:moveTo>
                  <a:pt x="3184032" y="592704"/>
                </a:moveTo>
                <a:cubicBezTo>
                  <a:pt x="3188153" y="596082"/>
                  <a:pt x="3190899" y="600768"/>
                  <a:pt x="3186504" y="604582"/>
                </a:cubicBezTo>
                <a:cubicBezTo>
                  <a:pt x="3185680" y="605236"/>
                  <a:pt x="3185131" y="605781"/>
                  <a:pt x="3184581" y="606107"/>
                </a:cubicBezTo>
                <a:cubicBezTo>
                  <a:pt x="3184032" y="606435"/>
                  <a:pt x="3183483" y="606435"/>
                  <a:pt x="3183483" y="605672"/>
                </a:cubicBezTo>
                <a:cubicBezTo>
                  <a:pt x="3182109" y="605453"/>
                  <a:pt x="3182109" y="604037"/>
                  <a:pt x="3180735" y="602403"/>
                </a:cubicBezTo>
                <a:cubicBezTo>
                  <a:pt x="3179637" y="599351"/>
                  <a:pt x="3179637" y="594992"/>
                  <a:pt x="3181010" y="593793"/>
                </a:cubicBezTo>
                <a:cubicBezTo>
                  <a:pt x="3182659" y="592486"/>
                  <a:pt x="3184032" y="592704"/>
                  <a:pt x="3184032" y="592704"/>
                </a:cubicBezTo>
                <a:close/>
                <a:moveTo>
                  <a:pt x="3551024" y="592377"/>
                </a:moveTo>
                <a:cubicBezTo>
                  <a:pt x="3552673" y="592050"/>
                  <a:pt x="3554595" y="592159"/>
                  <a:pt x="3556518" y="592813"/>
                </a:cubicBezTo>
                <a:cubicBezTo>
                  <a:pt x="3553222" y="604582"/>
                  <a:pt x="3554595" y="613409"/>
                  <a:pt x="3553771" y="624524"/>
                </a:cubicBezTo>
                <a:cubicBezTo>
                  <a:pt x="3552673" y="624851"/>
                  <a:pt x="3551024" y="624851"/>
                  <a:pt x="3549376" y="624415"/>
                </a:cubicBezTo>
                <a:cubicBezTo>
                  <a:pt x="3547453" y="623870"/>
                  <a:pt x="3545530" y="622889"/>
                  <a:pt x="3542784" y="621255"/>
                </a:cubicBezTo>
                <a:cubicBezTo>
                  <a:pt x="3550475" y="609921"/>
                  <a:pt x="3533993" y="608178"/>
                  <a:pt x="3539761" y="598915"/>
                </a:cubicBezTo>
                <a:cubicBezTo>
                  <a:pt x="3543333" y="596736"/>
                  <a:pt x="3546354" y="593031"/>
                  <a:pt x="3551024" y="592377"/>
                </a:cubicBezTo>
                <a:close/>
                <a:moveTo>
                  <a:pt x="6258142" y="591287"/>
                </a:moveTo>
                <a:cubicBezTo>
                  <a:pt x="6258966" y="595210"/>
                  <a:pt x="6262263" y="598698"/>
                  <a:pt x="6263361" y="602621"/>
                </a:cubicBezTo>
                <a:cubicBezTo>
                  <a:pt x="6258966" y="611992"/>
                  <a:pt x="6255395" y="615371"/>
                  <a:pt x="6251550" y="615915"/>
                </a:cubicBezTo>
                <a:cubicBezTo>
                  <a:pt x="6247704" y="616569"/>
                  <a:pt x="6243858" y="614389"/>
                  <a:pt x="6238913" y="612319"/>
                </a:cubicBezTo>
                <a:cubicBezTo>
                  <a:pt x="6240012" y="607960"/>
                  <a:pt x="6236167" y="602512"/>
                  <a:pt x="6239462" y="597608"/>
                </a:cubicBezTo>
                <a:cubicBezTo>
                  <a:pt x="6239462" y="597608"/>
                  <a:pt x="6241112" y="595101"/>
                  <a:pt x="6245231" y="594121"/>
                </a:cubicBezTo>
                <a:cubicBezTo>
                  <a:pt x="6250725" y="588672"/>
                  <a:pt x="6258417" y="593249"/>
                  <a:pt x="6258417" y="593249"/>
                </a:cubicBezTo>
                <a:cubicBezTo>
                  <a:pt x="6258417" y="593249"/>
                  <a:pt x="6258417" y="593249"/>
                  <a:pt x="6258142" y="591287"/>
                </a:cubicBezTo>
                <a:close/>
                <a:moveTo>
                  <a:pt x="4075966" y="591287"/>
                </a:moveTo>
                <a:cubicBezTo>
                  <a:pt x="4082284" y="590089"/>
                  <a:pt x="4086130" y="592813"/>
                  <a:pt x="4085581" y="599024"/>
                </a:cubicBezTo>
                <a:cubicBezTo>
                  <a:pt x="4081735" y="598370"/>
                  <a:pt x="4080361" y="601422"/>
                  <a:pt x="4076515" y="600768"/>
                </a:cubicBezTo>
                <a:cubicBezTo>
                  <a:pt x="4076790" y="596627"/>
                  <a:pt x="4075966" y="593358"/>
                  <a:pt x="4075966" y="591287"/>
                </a:cubicBezTo>
                <a:close/>
                <a:moveTo>
                  <a:pt x="4043827" y="590852"/>
                </a:moveTo>
                <a:cubicBezTo>
                  <a:pt x="4041080" y="595864"/>
                  <a:pt x="4036685" y="603601"/>
                  <a:pt x="4029817" y="603711"/>
                </a:cubicBezTo>
                <a:cubicBezTo>
                  <a:pt x="4027345" y="603711"/>
                  <a:pt x="4024873" y="602947"/>
                  <a:pt x="4021851" y="600985"/>
                </a:cubicBezTo>
                <a:cubicBezTo>
                  <a:pt x="4022126" y="598915"/>
                  <a:pt x="4022126" y="596845"/>
                  <a:pt x="4022126" y="594775"/>
                </a:cubicBezTo>
                <a:cubicBezTo>
                  <a:pt x="4031191" y="595101"/>
                  <a:pt x="4036685" y="590743"/>
                  <a:pt x="4043827" y="590852"/>
                </a:cubicBezTo>
                <a:close/>
                <a:moveTo>
                  <a:pt x="1120799" y="589762"/>
                </a:moveTo>
                <a:cubicBezTo>
                  <a:pt x="1132611" y="591614"/>
                  <a:pt x="1145796" y="592595"/>
                  <a:pt x="1148268" y="602293"/>
                </a:cubicBezTo>
                <a:cubicBezTo>
                  <a:pt x="1146895" y="603928"/>
                  <a:pt x="1144972" y="604800"/>
                  <a:pt x="1143049" y="605127"/>
                </a:cubicBezTo>
                <a:cubicBezTo>
                  <a:pt x="1140852" y="605453"/>
                  <a:pt x="1138654" y="605345"/>
                  <a:pt x="1136182" y="604800"/>
                </a:cubicBezTo>
                <a:cubicBezTo>
                  <a:pt x="1131512" y="603819"/>
                  <a:pt x="1126568" y="601530"/>
                  <a:pt x="1123271" y="599460"/>
                </a:cubicBezTo>
                <a:cubicBezTo>
                  <a:pt x="1123546" y="595319"/>
                  <a:pt x="1120524" y="593793"/>
                  <a:pt x="1120799" y="589762"/>
                </a:cubicBezTo>
                <a:close/>
                <a:moveTo>
                  <a:pt x="2553333" y="588563"/>
                </a:moveTo>
                <a:cubicBezTo>
                  <a:pt x="2550860" y="594338"/>
                  <a:pt x="2544817" y="595428"/>
                  <a:pt x="2547289" y="607197"/>
                </a:cubicBezTo>
                <a:cubicBezTo>
                  <a:pt x="2541246" y="604146"/>
                  <a:pt x="2536576" y="600332"/>
                  <a:pt x="2533829" y="594775"/>
                </a:cubicBezTo>
                <a:cubicBezTo>
                  <a:pt x="2539048" y="590415"/>
                  <a:pt x="2547289" y="589544"/>
                  <a:pt x="2553333" y="588563"/>
                </a:cubicBezTo>
                <a:close/>
                <a:moveTo>
                  <a:pt x="2564870" y="587146"/>
                </a:moveTo>
                <a:cubicBezTo>
                  <a:pt x="2572286" y="589870"/>
                  <a:pt x="2570089" y="600659"/>
                  <a:pt x="2564595" y="601530"/>
                </a:cubicBezTo>
                <a:cubicBezTo>
                  <a:pt x="2562947" y="601858"/>
                  <a:pt x="2560749" y="600985"/>
                  <a:pt x="2558552" y="598479"/>
                </a:cubicBezTo>
                <a:cubicBezTo>
                  <a:pt x="2561024" y="593031"/>
                  <a:pt x="2562672" y="589325"/>
                  <a:pt x="2564870" y="587146"/>
                </a:cubicBezTo>
                <a:close/>
                <a:moveTo>
                  <a:pt x="3470539" y="585294"/>
                </a:moveTo>
                <a:cubicBezTo>
                  <a:pt x="3474109" y="590524"/>
                  <a:pt x="3474659" y="592486"/>
                  <a:pt x="3474384" y="599024"/>
                </a:cubicBezTo>
                <a:cubicBezTo>
                  <a:pt x="3470539" y="601967"/>
                  <a:pt x="3466418" y="603383"/>
                  <a:pt x="3462572" y="603928"/>
                </a:cubicBezTo>
                <a:cubicBezTo>
                  <a:pt x="3458726" y="604473"/>
                  <a:pt x="3455156" y="604146"/>
                  <a:pt x="3451310" y="603928"/>
                </a:cubicBezTo>
                <a:cubicBezTo>
                  <a:pt x="3440322" y="588454"/>
                  <a:pt x="3460650" y="588781"/>
                  <a:pt x="3470539" y="585294"/>
                </a:cubicBezTo>
                <a:close/>
                <a:moveTo>
                  <a:pt x="2366814" y="583441"/>
                </a:moveTo>
                <a:cubicBezTo>
                  <a:pt x="2369562" y="585402"/>
                  <a:pt x="2367914" y="589434"/>
                  <a:pt x="2367639" y="592377"/>
                </a:cubicBezTo>
                <a:cubicBezTo>
                  <a:pt x="2370386" y="594230"/>
                  <a:pt x="2364342" y="597716"/>
                  <a:pt x="2367089" y="599678"/>
                </a:cubicBezTo>
                <a:cubicBezTo>
                  <a:pt x="2361046" y="604473"/>
                  <a:pt x="2367639" y="612864"/>
                  <a:pt x="2359947" y="621800"/>
                </a:cubicBezTo>
                <a:cubicBezTo>
                  <a:pt x="2359123" y="618095"/>
                  <a:pt x="2358848" y="614607"/>
                  <a:pt x="2358848" y="611448"/>
                </a:cubicBezTo>
                <a:cubicBezTo>
                  <a:pt x="2359123" y="602076"/>
                  <a:pt x="2362420" y="595210"/>
                  <a:pt x="2360771" y="588236"/>
                </a:cubicBezTo>
                <a:cubicBezTo>
                  <a:pt x="2360771" y="588236"/>
                  <a:pt x="2360771" y="588345"/>
                  <a:pt x="2363793" y="585839"/>
                </a:cubicBezTo>
                <a:cubicBezTo>
                  <a:pt x="2363793" y="584422"/>
                  <a:pt x="2363793" y="584422"/>
                  <a:pt x="2363793" y="584422"/>
                </a:cubicBezTo>
                <a:cubicBezTo>
                  <a:pt x="2364068" y="583006"/>
                  <a:pt x="2366814" y="583441"/>
                  <a:pt x="2366814" y="583441"/>
                </a:cubicBezTo>
                <a:close/>
                <a:moveTo>
                  <a:pt x="4254518" y="583223"/>
                </a:moveTo>
                <a:cubicBezTo>
                  <a:pt x="4254518" y="583223"/>
                  <a:pt x="4254518" y="583223"/>
                  <a:pt x="4252320" y="594121"/>
                </a:cubicBezTo>
                <a:cubicBezTo>
                  <a:pt x="4251496" y="593685"/>
                  <a:pt x="4251221" y="593031"/>
                  <a:pt x="4251221" y="592268"/>
                </a:cubicBezTo>
                <a:cubicBezTo>
                  <a:pt x="4251221" y="591397"/>
                  <a:pt x="4251770" y="590415"/>
                  <a:pt x="4252045" y="589434"/>
                </a:cubicBezTo>
                <a:cubicBezTo>
                  <a:pt x="4252870" y="587364"/>
                  <a:pt x="4253694" y="585294"/>
                  <a:pt x="4254518" y="583223"/>
                </a:cubicBezTo>
                <a:close/>
                <a:moveTo>
                  <a:pt x="2009162" y="583223"/>
                </a:moveTo>
                <a:cubicBezTo>
                  <a:pt x="2005591" y="596300"/>
                  <a:pt x="1999548" y="617659"/>
                  <a:pt x="1989384" y="626703"/>
                </a:cubicBezTo>
                <a:cubicBezTo>
                  <a:pt x="1987736" y="625396"/>
                  <a:pt x="1986912" y="623870"/>
                  <a:pt x="1986362" y="622235"/>
                </a:cubicBezTo>
                <a:cubicBezTo>
                  <a:pt x="1982517" y="610139"/>
                  <a:pt x="2000921" y="588236"/>
                  <a:pt x="2009162" y="583223"/>
                </a:cubicBezTo>
                <a:close/>
                <a:moveTo>
                  <a:pt x="3207655" y="582678"/>
                </a:moveTo>
                <a:cubicBezTo>
                  <a:pt x="3209853" y="582787"/>
                  <a:pt x="3212600" y="583441"/>
                  <a:pt x="3215348" y="585947"/>
                </a:cubicBezTo>
                <a:cubicBezTo>
                  <a:pt x="3216721" y="587691"/>
                  <a:pt x="3219467" y="592377"/>
                  <a:pt x="3218094" y="592268"/>
                </a:cubicBezTo>
                <a:cubicBezTo>
                  <a:pt x="3216721" y="593576"/>
                  <a:pt x="3218094" y="593685"/>
                  <a:pt x="3218094" y="595210"/>
                </a:cubicBezTo>
                <a:cubicBezTo>
                  <a:pt x="3215897" y="597172"/>
                  <a:pt x="3213699" y="598370"/>
                  <a:pt x="3211501" y="598698"/>
                </a:cubicBezTo>
                <a:cubicBezTo>
                  <a:pt x="3209579" y="599024"/>
                  <a:pt x="3207381" y="598370"/>
                  <a:pt x="3205184" y="596627"/>
                </a:cubicBezTo>
                <a:cubicBezTo>
                  <a:pt x="3202436" y="593358"/>
                  <a:pt x="3198590" y="588454"/>
                  <a:pt x="3201338" y="584313"/>
                </a:cubicBezTo>
                <a:cubicBezTo>
                  <a:pt x="3202711" y="584531"/>
                  <a:pt x="3202711" y="583006"/>
                  <a:pt x="3204359" y="583115"/>
                </a:cubicBezTo>
                <a:cubicBezTo>
                  <a:pt x="3204359" y="583115"/>
                  <a:pt x="3205733" y="582678"/>
                  <a:pt x="3207655" y="582678"/>
                </a:cubicBezTo>
                <a:close/>
                <a:moveTo>
                  <a:pt x="3036796" y="581698"/>
                </a:moveTo>
                <a:cubicBezTo>
                  <a:pt x="3038169" y="581916"/>
                  <a:pt x="3036796" y="581698"/>
                  <a:pt x="3039268" y="583550"/>
                </a:cubicBezTo>
                <a:cubicBezTo>
                  <a:pt x="3038718" y="584313"/>
                  <a:pt x="3038444" y="584204"/>
                  <a:pt x="3038169" y="583768"/>
                </a:cubicBezTo>
                <a:cubicBezTo>
                  <a:pt x="3037894" y="583332"/>
                  <a:pt x="3037620" y="582569"/>
                  <a:pt x="3036796" y="581698"/>
                </a:cubicBezTo>
                <a:close/>
                <a:moveTo>
                  <a:pt x="4171560" y="580281"/>
                </a:moveTo>
                <a:cubicBezTo>
                  <a:pt x="4173483" y="581044"/>
                  <a:pt x="4172384" y="586384"/>
                  <a:pt x="4172934" y="587691"/>
                </a:cubicBezTo>
                <a:cubicBezTo>
                  <a:pt x="4171560" y="588454"/>
                  <a:pt x="4169637" y="587691"/>
                  <a:pt x="4168264" y="588345"/>
                </a:cubicBezTo>
                <a:cubicBezTo>
                  <a:pt x="4167714" y="587037"/>
                  <a:pt x="4166890" y="584313"/>
                  <a:pt x="4167714" y="582242"/>
                </a:cubicBezTo>
                <a:cubicBezTo>
                  <a:pt x="4167165" y="580935"/>
                  <a:pt x="4171560" y="580281"/>
                  <a:pt x="4171560" y="580281"/>
                </a:cubicBezTo>
                <a:close/>
                <a:moveTo>
                  <a:pt x="5808467" y="579082"/>
                </a:moveTo>
                <a:cubicBezTo>
                  <a:pt x="5810115" y="578864"/>
                  <a:pt x="5811763" y="578755"/>
                  <a:pt x="5813686" y="579300"/>
                </a:cubicBezTo>
                <a:cubicBezTo>
                  <a:pt x="5808741" y="591287"/>
                  <a:pt x="5809016" y="600114"/>
                  <a:pt x="5806819" y="611229"/>
                </a:cubicBezTo>
                <a:cubicBezTo>
                  <a:pt x="5805445" y="611665"/>
                  <a:pt x="5803797" y="611665"/>
                  <a:pt x="5802149" y="611229"/>
                </a:cubicBezTo>
                <a:cubicBezTo>
                  <a:pt x="5800501" y="610794"/>
                  <a:pt x="5798303" y="609921"/>
                  <a:pt x="5795831" y="608396"/>
                </a:cubicBezTo>
                <a:cubicBezTo>
                  <a:pt x="5805445" y="596627"/>
                  <a:pt x="5788963" y="595646"/>
                  <a:pt x="5796106" y="586056"/>
                </a:cubicBezTo>
                <a:cubicBezTo>
                  <a:pt x="5799951" y="583877"/>
                  <a:pt x="5803522" y="579954"/>
                  <a:pt x="5808467" y="579082"/>
                </a:cubicBezTo>
                <a:close/>
                <a:moveTo>
                  <a:pt x="3899062" y="577993"/>
                </a:moveTo>
                <a:cubicBezTo>
                  <a:pt x="3907853" y="587474"/>
                  <a:pt x="3916094" y="590852"/>
                  <a:pt x="3925158" y="597390"/>
                </a:cubicBezTo>
                <a:cubicBezTo>
                  <a:pt x="3924884" y="600223"/>
                  <a:pt x="3923236" y="602838"/>
                  <a:pt x="3918291" y="606107"/>
                </a:cubicBezTo>
                <a:cubicBezTo>
                  <a:pt x="3911424" y="592704"/>
                  <a:pt x="3903732" y="607089"/>
                  <a:pt x="3897964" y="596954"/>
                </a:cubicBezTo>
                <a:cubicBezTo>
                  <a:pt x="3897414" y="592377"/>
                  <a:pt x="3895492" y="587474"/>
                  <a:pt x="3896590" y="582678"/>
                </a:cubicBezTo>
                <a:cubicBezTo>
                  <a:pt x="3896865" y="581153"/>
                  <a:pt x="3897689" y="579518"/>
                  <a:pt x="3899062" y="577993"/>
                </a:cubicBezTo>
                <a:close/>
                <a:moveTo>
                  <a:pt x="1113382" y="577121"/>
                </a:moveTo>
                <a:cubicBezTo>
                  <a:pt x="1114755" y="589653"/>
                  <a:pt x="1117228" y="594666"/>
                  <a:pt x="1117228" y="604691"/>
                </a:cubicBezTo>
                <a:cubicBezTo>
                  <a:pt x="1116129" y="605453"/>
                  <a:pt x="1115305" y="604255"/>
                  <a:pt x="1114207" y="605018"/>
                </a:cubicBezTo>
                <a:cubicBezTo>
                  <a:pt x="1113108" y="604800"/>
                  <a:pt x="1112283" y="603711"/>
                  <a:pt x="1111459" y="602184"/>
                </a:cubicBezTo>
                <a:cubicBezTo>
                  <a:pt x="1109262" y="597499"/>
                  <a:pt x="1107889" y="588890"/>
                  <a:pt x="1108712" y="588236"/>
                </a:cubicBezTo>
                <a:cubicBezTo>
                  <a:pt x="1108163" y="587037"/>
                  <a:pt x="1109537" y="586166"/>
                  <a:pt x="1108712" y="584857"/>
                </a:cubicBezTo>
                <a:cubicBezTo>
                  <a:pt x="1108712" y="584857"/>
                  <a:pt x="1108163" y="583659"/>
                  <a:pt x="1108712" y="581589"/>
                </a:cubicBezTo>
                <a:cubicBezTo>
                  <a:pt x="1109537" y="579518"/>
                  <a:pt x="1110085" y="577448"/>
                  <a:pt x="1113382" y="577121"/>
                </a:cubicBezTo>
                <a:close/>
                <a:moveTo>
                  <a:pt x="3620084" y="576474"/>
                </a:moveTo>
                <a:cubicBezTo>
                  <a:pt x="3628145" y="574104"/>
                  <a:pt x="3635974" y="580989"/>
                  <a:pt x="3634532" y="588672"/>
                </a:cubicBezTo>
                <a:cubicBezTo>
                  <a:pt x="3633982" y="592050"/>
                  <a:pt x="3631510" y="595646"/>
                  <a:pt x="3626565" y="598589"/>
                </a:cubicBezTo>
                <a:cubicBezTo>
                  <a:pt x="3622170" y="592595"/>
                  <a:pt x="3617226" y="591505"/>
                  <a:pt x="3614204" y="587474"/>
                </a:cubicBezTo>
                <a:cubicBezTo>
                  <a:pt x="3613380" y="586166"/>
                  <a:pt x="3612556" y="584531"/>
                  <a:pt x="3612282" y="582242"/>
                </a:cubicBezTo>
                <a:cubicBezTo>
                  <a:pt x="3614685" y="579082"/>
                  <a:pt x="3617398" y="577264"/>
                  <a:pt x="3620084" y="576474"/>
                </a:cubicBezTo>
                <a:close/>
                <a:moveTo>
                  <a:pt x="3346926" y="575922"/>
                </a:moveTo>
                <a:cubicBezTo>
                  <a:pt x="3350222" y="576031"/>
                  <a:pt x="3353793" y="577230"/>
                  <a:pt x="3357639" y="580063"/>
                </a:cubicBezTo>
                <a:cubicBezTo>
                  <a:pt x="3362584" y="586492"/>
                  <a:pt x="3355716" y="600768"/>
                  <a:pt x="3348574" y="601204"/>
                </a:cubicBezTo>
                <a:cubicBezTo>
                  <a:pt x="3345003" y="599024"/>
                  <a:pt x="3341158" y="596954"/>
                  <a:pt x="3337586" y="594883"/>
                </a:cubicBezTo>
                <a:cubicBezTo>
                  <a:pt x="3333740" y="588018"/>
                  <a:pt x="3335664" y="580717"/>
                  <a:pt x="3340883" y="577556"/>
                </a:cubicBezTo>
                <a:cubicBezTo>
                  <a:pt x="3342531" y="576576"/>
                  <a:pt x="3344729" y="575813"/>
                  <a:pt x="3346926" y="575922"/>
                </a:cubicBezTo>
                <a:close/>
                <a:moveTo>
                  <a:pt x="2018501" y="572108"/>
                </a:moveTo>
                <a:cubicBezTo>
                  <a:pt x="2024270" y="582352"/>
                  <a:pt x="2026193" y="590198"/>
                  <a:pt x="2016853" y="596954"/>
                </a:cubicBezTo>
                <a:cubicBezTo>
                  <a:pt x="2011359" y="594883"/>
                  <a:pt x="2009437" y="589325"/>
                  <a:pt x="2010261" y="583877"/>
                </a:cubicBezTo>
                <a:cubicBezTo>
                  <a:pt x="2010810" y="578538"/>
                  <a:pt x="2014107" y="573307"/>
                  <a:pt x="2018501" y="572108"/>
                </a:cubicBezTo>
                <a:close/>
                <a:moveTo>
                  <a:pt x="5822751" y="571999"/>
                </a:moveTo>
                <a:cubicBezTo>
                  <a:pt x="5832365" y="574505"/>
                  <a:pt x="5838134" y="596627"/>
                  <a:pt x="5835112" y="602293"/>
                </a:cubicBezTo>
                <a:cubicBezTo>
                  <a:pt x="5829893" y="599678"/>
                  <a:pt x="5829893" y="593576"/>
                  <a:pt x="5824124" y="589653"/>
                </a:cubicBezTo>
                <a:cubicBezTo>
                  <a:pt x="5825772" y="584422"/>
                  <a:pt x="5820004" y="579082"/>
                  <a:pt x="5822751" y="571999"/>
                </a:cubicBezTo>
                <a:close/>
                <a:moveTo>
                  <a:pt x="2169858" y="571672"/>
                </a:moveTo>
                <a:cubicBezTo>
                  <a:pt x="2171507" y="571346"/>
                  <a:pt x="2173155" y="571454"/>
                  <a:pt x="2175077" y="571999"/>
                </a:cubicBezTo>
                <a:cubicBezTo>
                  <a:pt x="2170133" y="583877"/>
                  <a:pt x="2170407" y="592813"/>
                  <a:pt x="2168210" y="603928"/>
                </a:cubicBezTo>
                <a:cubicBezTo>
                  <a:pt x="2166562" y="604364"/>
                  <a:pt x="2165188" y="604364"/>
                  <a:pt x="2163540" y="603928"/>
                </a:cubicBezTo>
                <a:cubicBezTo>
                  <a:pt x="2161892" y="603492"/>
                  <a:pt x="2159694" y="602621"/>
                  <a:pt x="2157223" y="601095"/>
                </a:cubicBezTo>
                <a:cubicBezTo>
                  <a:pt x="2166562" y="589325"/>
                  <a:pt x="2150355" y="588127"/>
                  <a:pt x="2157223" y="578647"/>
                </a:cubicBezTo>
                <a:cubicBezTo>
                  <a:pt x="2161343" y="576358"/>
                  <a:pt x="2164914" y="572544"/>
                  <a:pt x="2169858" y="571672"/>
                </a:cubicBezTo>
                <a:close/>
                <a:moveTo>
                  <a:pt x="4488558" y="571563"/>
                </a:moveTo>
                <a:cubicBezTo>
                  <a:pt x="4489656" y="575595"/>
                  <a:pt x="4489656" y="578864"/>
                  <a:pt x="4490755" y="582896"/>
                </a:cubicBezTo>
                <a:cubicBezTo>
                  <a:pt x="4489656" y="583768"/>
                  <a:pt x="4488558" y="583986"/>
                  <a:pt x="4487459" y="583877"/>
                </a:cubicBezTo>
                <a:cubicBezTo>
                  <a:pt x="4484437" y="583659"/>
                  <a:pt x="4482515" y="580063"/>
                  <a:pt x="4480867" y="576358"/>
                </a:cubicBezTo>
                <a:cubicBezTo>
                  <a:pt x="4483339" y="574832"/>
                  <a:pt x="4483613" y="571563"/>
                  <a:pt x="4488558" y="571563"/>
                </a:cubicBezTo>
                <a:close/>
                <a:moveTo>
                  <a:pt x="1733369" y="571454"/>
                </a:moveTo>
                <a:cubicBezTo>
                  <a:pt x="1740510" y="571672"/>
                  <a:pt x="1743532" y="581153"/>
                  <a:pt x="1745730" y="586056"/>
                </a:cubicBezTo>
                <a:cubicBezTo>
                  <a:pt x="1741060" y="589434"/>
                  <a:pt x="1736115" y="592704"/>
                  <a:pt x="1731995" y="591832"/>
                </a:cubicBezTo>
                <a:cubicBezTo>
                  <a:pt x="1729797" y="588236"/>
                  <a:pt x="1728424" y="584640"/>
                  <a:pt x="1728424" y="581153"/>
                </a:cubicBezTo>
                <a:cubicBezTo>
                  <a:pt x="1728699" y="577665"/>
                  <a:pt x="1730072" y="574396"/>
                  <a:pt x="1733369" y="571454"/>
                </a:cubicBezTo>
                <a:close/>
                <a:moveTo>
                  <a:pt x="5983722" y="570582"/>
                </a:moveTo>
                <a:cubicBezTo>
                  <a:pt x="5982074" y="583550"/>
                  <a:pt x="5978777" y="604800"/>
                  <a:pt x="5969988" y="613409"/>
                </a:cubicBezTo>
                <a:cubicBezTo>
                  <a:pt x="5956252" y="603056"/>
                  <a:pt x="5975207" y="576031"/>
                  <a:pt x="5983722" y="570582"/>
                </a:cubicBezTo>
                <a:close/>
                <a:moveTo>
                  <a:pt x="1527347" y="570038"/>
                </a:moveTo>
                <a:cubicBezTo>
                  <a:pt x="1532842" y="575050"/>
                  <a:pt x="1532842" y="588345"/>
                  <a:pt x="1527897" y="590743"/>
                </a:cubicBezTo>
                <a:cubicBezTo>
                  <a:pt x="1508943" y="591723"/>
                  <a:pt x="1505097" y="577121"/>
                  <a:pt x="1514162" y="571563"/>
                </a:cubicBezTo>
                <a:cubicBezTo>
                  <a:pt x="1517184" y="569711"/>
                  <a:pt x="1521579" y="568948"/>
                  <a:pt x="1527347" y="570038"/>
                </a:cubicBezTo>
                <a:close/>
                <a:moveTo>
                  <a:pt x="3020589" y="569602"/>
                </a:moveTo>
                <a:cubicBezTo>
                  <a:pt x="3022236" y="570473"/>
                  <a:pt x="3024434" y="572653"/>
                  <a:pt x="3022236" y="576358"/>
                </a:cubicBezTo>
                <a:cubicBezTo>
                  <a:pt x="3020589" y="581479"/>
                  <a:pt x="3016468" y="583115"/>
                  <a:pt x="3011798" y="583223"/>
                </a:cubicBezTo>
                <a:cubicBezTo>
                  <a:pt x="3009326" y="585621"/>
                  <a:pt x="3008502" y="588890"/>
                  <a:pt x="3005480" y="588563"/>
                </a:cubicBezTo>
                <a:cubicBezTo>
                  <a:pt x="3009052" y="584204"/>
                  <a:pt x="3010150" y="582352"/>
                  <a:pt x="3012622" y="579954"/>
                </a:cubicBezTo>
                <a:cubicBezTo>
                  <a:pt x="3012073" y="578647"/>
                  <a:pt x="3011798" y="577230"/>
                  <a:pt x="3012897" y="575377"/>
                </a:cubicBezTo>
                <a:cubicBezTo>
                  <a:pt x="3014820" y="571672"/>
                  <a:pt x="3018116" y="571999"/>
                  <a:pt x="3020589" y="569602"/>
                </a:cubicBezTo>
                <a:close/>
                <a:moveTo>
                  <a:pt x="2708921" y="568808"/>
                </a:moveTo>
                <a:cubicBezTo>
                  <a:pt x="2715282" y="567592"/>
                  <a:pt x="2719248" y="580444"/>
                  <a:pt x="2723368" y="586492"/>
                </a:cubicBezTo>
                <a:cubicBezTo>
                  <a:pt x="2719797" y="592268"/>
                  <a:pt x="2718149" y="593685"/>
                  <a:pt x="2712106" y="596191"/>
                </a:cubicBezTo>
                <a:cubicBezTo>
                  <a:pt x="2708260" y="593576"/>
                  <a:pt x="2706063" y="590307"/>
                  <a:pt x="2704690" y="586710"/>
                </a:cubicBezTo>
                <a:cubicBezTo>
                  <a:pt x="2703041" y="583223"/>
                  <a:pt x="2702217" y="579409"/>
                  <a:pt x="2701668" y="575486"/>
                </a:cubicBezTo>
                <a:cubicBezTo>
                  <a:pt x="2704415" y="571182"/>
                  <a:pt x="2706801" y="569213"/>
                  <a:pt x="2708921" y="568808"/>
                </a:cubicBezTo>
                <a:close/>
                <a:moveTo>
                  <a:pt x="5792534" y="567313"/>
                </a:moveTo>
                <a:cubicBezTo>
                  <a:pt x="5793633" y="567967"/>
                  <a:pt x="5794457" y="569166"/>
                  <a:pt x="5796106" y="570038"/>
                </a:cubicBezTo>
                <a:lnTo>
                  <a:pt x="5791436" y="573742"/>
                </a:lnTo>
                <a:cubicBezTo>
                  <a:pt x="5790063" y="572108"/>
                  <a:pt x="5788963" y="569057"/>
                  <a:pt x="5790337" y="567858"/>
                </a:cubicBezTo>
                <a:cubicBezTo>
                  <a:pt x="5791161" y="566550"/>
                  <a:pt x="5791710" y="566659"/>
                  <a:pt x="5792534" y="567313"/>
                </a:cubicBezTo>
                <a:close/>
                <a:moveTo>
                  <a:pt x="5853791" y="567095"/>
                </a:moveTo>
                <a:lnTo>
                  <a:pt x="5856813" y="570147"/>
                </a:lnTo>
                <a:cubicBezTo>
                  <a:pt x="5858735" y="570582"/>
                  <a:pt x="5862032" y="575377"/>
                  <a:pt x="5860934" y="579300"/>
                </a:cubicBezTo>
                <a:lnTo>
                  <a:pt x="5858461" y="580717"/>
                </a:lnTo>
                <a:lnTo>
                  <a:pt x="5854616" y="585294"/>
                </a:lnTo>
                <a:cubicBezTo>
                  <a:pt x="5851869" y="587146"/>
                  <a:pt x="5848847" y="588345"/>
                  <a:pt x="5846100" y="588563"/>
                </a:cubicBezTo>
                <a:cubicBezTo>
                  <a:pt x="5844452" y="588563"/>
                  <a:pt x="5842803" y="588236"/>
                  <a:pt x="5841705" y="587255"/>
                </a:cubicBezTo>
                <a:cubicBezTo>
                  <a:pt x="5833190" y="570473"/>
                  <a:pt x="5845001" y="561102"/>
                  <a:pt x="5853791" y="567095"/>
                </a:cubicBezTo>
                <a:close/>
                <a:moveTo>
                  <a:pt x="1564878" y="566959"/>
                </a:moveTo>
                <a:cubicBezTo>
                  <a:pt x="1570406" y="567204"/>
                  <a:pt x="1576655" y="569493"/>
                  <a:pt x="1583385" y="574615"/>
                </a:cubicBezTo>
                <a:lnTo>
                  <a:pt x="1583110" y="576467"/>
                </a:lnTo>
                <a:lnTo>
                  <a:pt x="1585033" y="570038"/>
                </a:lnTo>
                <a:cubicBezTo>
                  <a:pt x="1587780" y="569166"/>
                  <a:pt x="1590252" y="569493"/>
                  <a:pt x="1592450" y="570692"/>
                </a:cubicBezTo>
                <a:lnTo>
                  <a:pt x="1594373" y="572871"/>
                </a:lnTo>
                <a:lnTo>
                  <a:pt x="1594922" y="568948"/>
                </a:lnTo>
                <a:cubicBezTo>
                  <a:pt x="1598768" y="569493"/>
                  <a:pt x="1602065" y="568948"/>
                  <a:pt x="1604811" y="570364"/>
                </a:cubicBezTo>
                <a:cubicBezTo>
                  <a:pt x="1606184" y="574179"/>
                  <a:pt x="1605361" y="576576"/>
                  <a:pt x="1603438" y="577884"/>
                </a:cubicBezTo>
                <a:lnTo>
                  <a:pt x="1598493" y="578101"/>
                </a:lnTo>
                <a:lnTo>
                  <a:pt x="1600416" y="583986"/>
                </a:lnTo>
                <a:cubicBezTo>
                  <a:pt x="1600691" y="586601"/>
                  <a:pt x="1600691" y="589108"/>
                  <a:pt x="1599592" y="591178"/>
                </a:cubicBezTo>
                <a:cubicBezTo>
                  <a:pt x="1595746" y="592486"/>
                  <a:pt x="1591626" y="590852"/>
                  <a:pt x="1588604" y="587909"/>
                </a:cubicBezTo>
                <a:lnTo>
                  <a:pt x="1583110" y="577011"/>
                </a:lnTo>
                <a:lnTo>
                  <a:pt x="1581737" y="589544"/>
                </a:lnTo>
                <a:cubicBezTo>
                  <a:pt x="1577891" y="603274"/>
                  <a:pt x="1568002" y="612755"/>
                  <a:pt x="1555916" y="610903"/>
                </a:cubicBezTo>
                <a:cubicBezTo>
                  <a:pt x="1550971" y="609486"/>
                  <a:pt x="1547126" y="606871"/>
                  <a:pt x="1544928" y="603711"/>
                </a:cubicBezTo>
                <a:lnTo>
                  <a:pt x="1542456" y="597172"/>
                </a:lnTo>
                <a:lnTo>
                  <a:pt x="1539433" y="592922"/>
                </a:lnTo>
                <a:cubicBezTo>
                  <a:pt x="1539433" y="592922"/>
                  <a:pt x="1539708" y="592922"/>
                  <a:pt x="1539983" y="594338"/>
                </a:cubicBezTo>
                <a:lnTo>
                  <a:pt x="1536962" y="601858"/>
                </a:lnTo>
                <a:lnTo>
                  <a:pt x="1538610" y="602947"/>
                </a:lnTo>
                <a:lnTo>
                  <a:pt x="1535863" y="603928"/>
                </a:lnTo>
                <a:lnTo>
                  <a:pt x="1533940" y="608287"/>
                </a:lnTo>
                <a:cubicBezTo>
                  <a:pt x="1531742" y="612864"/>
                  <a:pt x="1529270" y="616460"/>
                  <a:pt x="1527072" y="616678"/>
                </a:cubicBezTo>
                <a:cubicBezTo>
                  <a:pt x="1526524" y="615371"/>
                  <a:pt x="1525974" y="614063"/>
                  <a:pt x="1526798" y="612102"/>
                </a:cubicBezTo>
                <a:cubicBezTo>
                  <a:pt x="1527347" y="610139"/>
                  <a:pt x="1528172" y="611338"/>
                  <a:pt x="1527622" y="610030"/>
                </a:cubicBezTo>
                <a:cubicBezTo>
                  <a:pt x="1528446" y="608069"/>
                  <a:pt x="1527072" y="608723"/>
                  <a:pt x="1527072" y="608723"/>
                </a:cubicBezTo>
                <a:cubicBezTo>
                  <a:pt x="1527072" y="608723"/>
                  <a:pt x="1528172" y="608069"/>
                  <a:pt x="1528172" y="608069"/>
                </a:cubicBezTo>
                <a:cubicBezTo>
                  <a:pt x="1528172" y="608069"/>
                  <a:pt x="1528446" y="608178"/>
                  <a:pt x="1528446" y="607634"/>
                </a:cubicBezTo>
                <a:lnTo>
                  <a:pt x="1528995" y="605998"/>
                </a:lnTo>
                <a:lnTo>
                  <a:pt x="1522677" y="607742"/>
                </a:lnTo>
                <a:cubicBezTo>
                  <a:pt x="1518832" y="604146"/>
                  <a:pt x="1511415" y="607415"/>
                  <a:pt x="1506196" y="602076"/>
                </a:cubicBezTo>
                <a:cubicBezTo>
                  <a:pt x="1509218" y="598153"/>
                  <a:pt x="1516359" y="597063"/>
                  <a:pt x="1523227" y="597608"/>
                </a:cubicBezTo>
                <a:lnTo>
                  <a:pt x="1530369" y="599134"/>
                </a:lnTo>
                <a:lnTo>
                  <a:pt x="1530644" y="598370"/>
                </a:lnTo>
                <a:cubicBezTo>
                  <a:pt x="1530644" y="596954"/>
                  <a:pt x="1530644" y="595864"/>
                  <a:pt x="1530644" y="594230"/>
                </a:cubicBezTo>
                <a:cubicBezTo>
                  <a:pt x="1532292" y="590198"/>
                  <a:pt x="1533665" y="589544"/>
                  <a:pt x="1536412" y="584857"/>
                </a:cubicBezTo>
                <a:cubicBezTo>
                  <a:pt x="1539708" y="584967"/>
                  <a:pt x="1539708" y="584967"/>
                  <a:pt x="1539983" y="586275"/>
                </a:cubicBezTo>
                <a:cubicBezTo>
                  <a:pt x="1539708" y="584967"/>
                  <a:pt x="1541082" y="584313"/>
                  <a:pt x="1541632" y="582242"/>
                </a:cubicBezTo>
                <a:cubicBezTo>
                  <a:pt x="1542456" y="577993"/>
                  <a:pt x="1544653" y="575704"/>
                  <a:pt x="1547675" y="574724"/>
                </a:cubicBezTo>
                <a:lnTo>
                  <a:pt x="1548225" y="574724"/>
                </a:lnTo>
                <a:lnTo>
                  <a:pt x="1550696" y="571563"/>
                </a:lnTo>
                <a:cubicBezTo>
                  <a:pt x="1554542" y="568512"/>
                  <a:pt x="1559349" y="566714"/>
                  <a:pt x="1564878" y="566959"/>
                </a:cubicBezTo>
                <a:close/>
                <a:moveTo>
                  <a:pt x="1752596" y="566333"/>
                </a:moveTo>
                <a:cubicBezTo>
                  <a:pt x="1753696" y="566659"/>
                  <a:pt x="1755070" y="567531"/>
                  <a:pt x="1756443" y="569166"/>
                </a:cubicBezTo>
                <a:cubicBezTo>
                  <a:pt x="1757816" y="569384"/>
                  <a:pt x="1759190" y="575377"/>
                  <a:pt x="1757541" y="576685"/>
                </a:cubicBezTo>
                <a:cubicBezTo>
                  <a:pt x="1756992" y="577665"/>
                  <a:pt x="1756168" y="578210"/>
                  <a:pt x="1755070" y="578429"/>
                </a:cubicBezTo>
                <a:cubicBezTo>
                  <a:pt x="1752596" y="579082"/>
                  <a:pt x="1749301" y="576794"/>
                  <a:pt x="1744905" y="575160"/>
                </a:cubicBezTo>
                <a:cubicBezTo>
                  <a:pt x="1746553" y="573852"/>
                  <a:pt x="1744905" y="572217"/>
                  <a:pt x="1743807" y="570582"/>
                </a:cubicBezTo>
                <a:cubicBezTo>
                  <a:pt x="1745730" y="568620"/>
                  <a:pt x="1748752" y="565134"/>
                  <a:pt x="1752596" y="566333"/>
                </a:cubicBezTo>
                <a:close/>
                <a:moveTo>
                  <a:pt x="3084043" y="565679"/>
                </a:moveTo>
                <a:cubicBezTo>
                  <a:pt x="3087065" y="566005"/>
                  <a:pt x="3090361" y="566333"/>
                  <a:pt x="3093382" y="566769"/>
                </a:cubicBezTo>
                <a:cubicBezTo>
                  <a:pt x="3098602" y="569384"/>
                  <a:pt x="3103821" y="572108"/>
                  <a:pt x="3102173" y="577230"/>
                </a:cubicBezTo>
                <a:cubicBezTo>
                  <a:pt x="3095855" y="576467"/>
                  <a:pt x="3091460" y="576576"/>
                  <a:pt x="3085142" y="575813"/>
                </a:cubicBezTo>
                <a:cubicBezTo>
                  <a:pt x="3084317" y="575377"/>
                  <a:pt x="3082944" y="574070"/>
                  <a:pt x="3081845" y="572544"/>
                </a:cubicBezTo>
                <a:cubicBezTo>
                  <a:pt x="3080747" y="571018"/>
                  <a:pt x="3079923" y="569493"/>
                  <a:pt x="3080472" y="568512"/>
                </a:cubicBezTo>
                <a:cubicBezTo>
                  <a:pt x="3081296" y="566659"/>
                  <a:pt x="3082669" y="566115"/>
                  <a:pt x="3084043" y="565679"/>
                </a:cubicBezTo>
                <a:close/>
                <a:moveTo>
                  <a:pt x="3261770" y="565570"/>
                </a:moveTo>
                <a:cubicBezTo>
                  <a:pt x="3268088" y="568620"/>
                  <a:pt x="3271934" y="575704"/>
                  <a:pt x="3275231" y="580826"/>
                </a:cubicBezTo>
                <a:cubicBezTo>
                  <a:pt x="3268912" y="581044"/>
                  <a:pt x="3265616" y="575922"/>
                  <a:pt x="3255727" y="582787"/>
                </a:cubicBezTo>
                <a:cubicBezTo>
                  <a:pt x="3256002" y="576249"/>
                  <a:pt x="3257925" y="570256"/>
                  <a:pt x="3261770" y="565570"/>
                </a:cubicBezTo>
                <a:close/>
                <a:moveTo>
                  <a:pt x="2105854" y="565570"/>
                </a:moveTo>
                <a:cubicBezTo>
                  <a:pt x="2109425" y="567422"/>
                  <a:pt x="2114645" y="575160"/>
                  <a:pt x="2112448" y="582461"/>
                </a:cubicBezTo>
                <a:cubicBezTo>
                  <a:pt x="2110249" y="583550"/>
                  <a:pt x="2108327" y="584095"/>
                  <a:pt x="2106954" y="584204"/>
                </a:cubicBezTo>
                <a:cubicBezTo>
                  <a:pt x="2105305" y="584313"/>
                  <a:pt x="2103932" y="583986"/>
                  <a:pt x="2102833" y="583115"/>
                </a:cubicBezTo>
                <a:lnTo>
                  <a:pt x="2099811" y="576685"/>
                </a:lnTo>
                <a:lnTo>
                  <a:pt x="2094042" y="584640"/>
                </a:lnTo>
                <a:cubicBezTo>
                  <a:pt x="2091021" y="587146"/>
                  <a:pt x="2087450" y="588890"/>
                  <a:pt x="2085253" y="589217"/>
                </a:cubicBezTo>
                <a:cubicBezTo>
                  <a:pt x="2081407" y="586056"/>
                  <a:pt x="2079759" y="582678"/>
                  <a:pt x="2079759" y="579518"/>
                </a:cubicBezTo>
                <a:cubicBezTo>
                  <a:pt x="2079759" y="572544"/>
                  <a:pt x="2087999" y="567095"/>
                  <a:pt x="2094317" y="570147"/>
                </a:cubicBezTo>
                <a:lnTo>
                  <a:pt x="2099262" y="575269"/>
                </a:lnTo>
                <a:lnTo>
                  <a:pt x="2098438" y="573634"/>
                </a:lnTo>
                <a:cubicBezTo>
                  <a:pt x="2101185" y="571563"/>
                  <a:pt x="2102558" y="568948"/>
                  <a:pt x="2105854" y="565570"/>
                </a:cubicBezTo>
                <a:close/>
                <a:moveTo>
                  <a:pt x="5776053" y="564916"/>
                </a:moveTo>
                <a:cubicBezTo>
                  <a:pt x="5780173" y="568294"/>
                  <a:pt x="5782920" y="572871"/>
                  <a:pt x="5778525" y="576685"/>
                </a:cubicBezTo>
                <a:cubicBezTo>
                  <a:pt x="5777975" y="577339"/>
                  <a:pt x="5777151" y="577884"/>
                  <a:pt x="5776602" y="578210"/>
                </a:cubicBezTo>
                <a:cubicBezTo>
                  <a:pt x="5776053" y="578538"/>
                  <a:pt x="5775778" y="578538"/>
                  <a:pt x="5775778" y="577774"/>
                </a:cubicBezTo>
                <a:cubicBezTo>
                  <a:pt x="5774405" y="577665"/>
                  <a:pt x="5774405" y="576249"/>
                  <a:pt x="5773031" y="574615"/>
                </a:cubicBezTo>
                <a:cubicBezTo>
                  <a:pt x="5771657" y="571563"/>
                  <a:pt x="5771932" y="567204"/>
                  <a:pt x="5773306" y="566005"/>
                </a:cubicBezTo>
                <a:cubicBezTo>
                  <a:pt x="5774679" y="564698"/>
                  <a:pt x="5776053" y="564916"/>
                  <a:pt x="5776053" y="564916"/>
                </a:cubicBezTo>
                <a:close/>
                <a:moveTo>
                  <a:pt x="2184143" y="564698"/>
                </a:moveTo>
                <a:cubicBezTo>
                  <a:pt x="2193757" y="567204"/>
                  <a:pt x="2199526" y="589325"/>
                  <a:pt x="2196504" y="594992"/>
                </a:cubicBezTo>
                <a:cubicBezTo>
                  <a:pt x="2191284" y="592377"/>
                  <a:pt x="2191284" y="586275"/>
                  <a:pt x="2185516" y="582242"/>
                </a:cubicBezTo>
                <a:cubicBezTo>
                  <a:pt x="2187164" y="577121"/>
                  <a:pt x="2181395" y="571672"/>
                  <a:pt x="2184143" y="564698"/>
                </a:cubicBezTo>
                <a:close/>
                <a:moveTo>
                  <a:pt x="4530861" y="564589"/>
                </a:moveTo>
                <a:cubicBezTo>
                  <a:pt x="4530861" y="565025"/>
                  <a:pt x="4531136" y="565570"/>
                  <a:pt x="4531410" y="566115"/>
                </a:cubicBezTo>
                <a:cubicBezTo>
                  <a:pt x="4531410" y="566115"/>
                  <a:pt x="4531136" y="566005"/>
                  <a:pt x="4531136" y="566005"/>
                </a:cubicBezTo>
                <a:cubicBezTo>
                  <a:pt x="4531136" y="565351"/>
                  <a:pt x="4530861" y="565134"/>
                  <a:pt x="4530861" y="564589"/>
                </a:cubicBezTo>
                <a:close/>
                <a:moveTo>
                  <a:pt x="6143320" y="564480"/>
                </a:moveTo>
                <a:cubicBezTo>
                  <a:pt x="6144968" y="564262"/>
                  <a:pt x="6146616" y="564371"/>
                  <a:pt x="6148814" y="565025"/>
                </a:cubicBezTo>
                <a:cubicBezTo>
                  <a:pt x="6145242" y="576794"/>
                  <a:pt x="6146891" y="585621"/>
                  <a:pt x="6146067" y="596736"/>
                </a:cubicBezTo>
                <a:cubicBezTo>
                  <a:pt x="6144693" y="597063"/>
                  <a:pt x="6143320" y="597063"/>
                  <a:pt x="6141396" y="596627"/>
                </a:cubicBezTo>
                <a:cubicBezTo>
                  <a:pt x="6139749" y="596082"/>
                  <a:pt x="6137551" y="595101"/>
                  <a:pt x="6134804" y="593576"/>
                </a:cubicBezTo>
                <a:cubicBezTo>
                  <a:pt x="6142771" y="582133"/>
                  <a:pt x="6126289" y="580390"/>
                  <a:pt x="6131783" y="571127"/>
                </a:cubicBezTo>
                <a:cubicBezTo>
                  <a:pt x="6135353" y="568948"/>
                  <a:pt x="6138650" y="565134"/>
                  <a:pt x="6143320" y="564480"/>
                </a:cubicBezTo>
                <a:close/>
                <a:moveTo>
                  <a:pt x="2345114" y="563281"/>
                </a:moveTo>
                <a:cubicBezTo>
                  <a:pt x="2343465" y="576140"/>
                  <a:pt x="2340170" y="597390"/>
                  <a:pt x="2331379" y="605998"/>
                </a:cubicBezTo>
                <a:cubicBezTo>
                  <a:pt x="2317644" y="595646"/>
                  <a:pt x="2336598" y="568730"/>
                  <a:pt x="2345114" y="563281"/>
                </a:cubicBezTo>
                <a:close/>
                <a:moveTo>
                  <a:pt x="1967683" y="562301"/>
                </a:moveTo>
                <a:cubicBezTo>
                  <a:pt x="1970980" y="562301"/>
                  <a:pt x="1974275" y="563390"/>
                  <a:pt x="1977847" y="566115"/>
                </a:cubicBezTo>
                <a:cubicBezTo>
                  <a:pt x="1979769" y="569166"/>
                  <a:pt x="1978671" y="574396"/>
                  <a:pt x="1975924" y="578864"/>
                </a:cubicBezTo>
                <a:lnTo>
                  <a:pt x="1977572" y="578429"/>
                </a:lnTo>
                <a:cubicBezTo>
                  <a:pt x="1977023" y="579409"/>
                  <a:pt x="1976748" y="579518"/>
                  <a:pt x="1976474" y="579409"/>
                </a:cubicBezTo>
                <a:lnTo>
                  <a:pt x="1975649" y="579300"/>
                </a:lnTo>
                <a:lnTo>
                  <a:pt x="1971254" y="584749"/>
                </a:lnTo>
                <a:cubicBezTo>
                  <a:pt x="1969331" y="586384"/>
                  <a:pt x="1967408" y="587364"/>
                  <a:pt x="1965760" y="587474"/>
                </a:cubicBezTo>
                <a:cubicBezTo>
                  <a:pt x="1962464" y="585512"/>
                  <a:pt x="1958892" y="583550"/>
                  <a:pt x="1955597" y="581479"/>
                </a:cubicBezTo>
                <a:cubicBezTo>
                  <a:pt x="1952849" y="574832"/>
                  <a:pt x="1955597" y="567313"/>
                  <a:pt x="1961365" y="564044"/>
                </a:cubicBezTo>
                <a:cubicBezTo>
                  <a:pt x="1963288" y="562955"/>
                  <a:pt x="1965486" y="562301"/>
                  <a:pt x="1967683" y="562301"/>
                </a:cubicBezTo>
                <a:close/>
                <a:moveTo>
                  <a:pt x="2727764" y="561428"/>
                </a:moveTo>
                <a:cubicBezTo>
                  <a:pt x="2729137" y="561320"/>
                  <a:pt x="2730510" y="561538"/>
                  <a:pt x="2731335" y="562410"/>
                </a:cubicBezTo>
                <a:cubicBezTo>
                  <a:pt x="2734082" y="564153"/>
                  <a:pt x="2729686" y="568185"/>
                  <a:pt x="2729686" y="569602"/>
                </a:cubicBezTo>
                <a:cubicBezTo>
                  <a:pt x="2728862" y="570256"/>
                  <a:pt x="2728038" y="570801"/>
                  <a:pt x="2727489" y="571127"/>
                </a:cubicBezTo>
                <a:cubicBezTo>
                  <a:pt x="2726665" y="571454"/>
                  <a:pt x="2726115" y="571236"/>
                  <a:pt x="2725291" y="570473"/>
                </a:cubicBezTo>
                <a:cubicBezTo>
                  <a:pt x="2723918" y="568839"/>
                  <a:pt x="2722545" y="568620"/>
                  <a:pt x="2723918" y="565896"/>
                </a:cubicBezTo>
                <a:cubicBezTo>
                  <a:pt x="2723918" y="564371"/>
                  <a:pt x="2725567" y="563172"/>
                  <a:pt x="2725567" y="561756"/>
                </a:cubicBezTo>
                <a:cubicBezTo>
                  <a:pt x="2725567" y="561756"/>
                  <a:pt x="2726665" y="561428"/>
                  <a:pt x="2727764" y="561428"/>
                </a:cubicBezTo>
                <a:close/>
                <a:moveTo>
                  <a:pt x="3144476" y="560775"/>
                </a:moveTo>
                <a:cubicBezTo>
                  <a:pt x="3154639" y="565679"/>
                  <a:pt x="3148047" y="575922"/>
                  <a:pt x="3142278" y="575595"/>
                </a:cubicBezTo>
                <a:cubicBezTo>
                  <a:pt x="3136510" y="570801"/>
                  <a:pt x="3138982" y="561973"/>
                  <a:pt x="3144476" y="560775"/>
                </a:cubicBezTo>
                <a:close/>
                <a:moveTo>
                  <a:pt x="2153926" y="559903"/>
                </a:moveTo>
                <a:cubicBezTo>
                  <a:pt x="2154750" y="560557"/>
                  <a:pt x="2155849" y="561756"/>
                  <a:pt x="2157223" y="562627"/>
                </a:cubicBezTo>
                <a:lnTo>
                  <a:pt x="2152827" y="566333"/>
                </a:lnTo>
                <a:cubicBezTo>
                  <a:pt x="2151454" y="564698"/>
                  <a:pt x="2150081" y="561756"/>
                  <a:pt x="2151729" y="560557"/>
                </a:cubicBezTo>
                <a:cubicBezTo>
                  <a:pt x="2152553" y="559140"/>
                  <a:pt x="2153102" y="559249"/>
                  <a:pt x="2153926" y="559903"/>
                </a:cubicBezTo>
                <a:close/>
                <a:moveTo>
                  <a:pt x="3544981" y="559140"/>
                </a:moveTo>
                <a:cubicBezTo>
                  <a:pt x="3546354" y="558268"/>
                  <a:pt x="3546904" y="559576"/>
                  <a:pt x="3548827" y="560121"/>
                </a:cubicBezTo>
                <a:cubicBezTo>
                  <a:pt x="3549376" y="561320"/>
                  <a:pt x="3548827" y="563390"/>
                  <a:pt x="3548827" y="563390"/>
                </a:cubicBezTo>
                <a:cubicBezTo>
                  <a:pt x="3548277" y="565351"/>
                  <a:pt x="3548277" y="565461"/>
                  <a:pt x="3550200" y="565896"/>
                </a:cubicBezTo>
                <a:cubicBezTo>
                  <a:pt x="3550200" y="565896"/>
                  <a:pt x="3548827" y="566659"/>
                  <a:pt x="3548827" y="566659"/>
                </a:cubicBezTo>
                <a:cubicBezTo>
                  <a:pt x="3548277" y="565351"/>
                  <a:pt x="3548827" y="566550"/>
                  <a:pt x="3548277" y="568620"/>
                </a:cubicBezTo>
                <a:cubicBezTo>
                  <a:pt x="3544981" y="568948"/>
                  <a:pt x="3543882" y="569819"/>
                  <a:pt x="3541960" y="569384"/>
                </a:cubicBezTo>
                <a:cubicBezTo>
                  <a:pt x="3540860" y="569166"/>
                  <a:pt x="3539761" y="568620"/>
                  <a:pt x="3538938" y="567858"/>
                </a:cubicBezTo>
                <a:cubicBezTo>
                  <a:pt x="3538114" y="567095"/>
                  <a:pt x="3537564" y="566115"/>
                  <a:pt x="3538114" y="565134"/>
                </a:cubicBezTo>
                <a:cubicBezTo>
                  <a:pt x="3539212" y="564371"/>
                  <a:pt x="3538663" y="563063"/>
                  <a:pt x="3539761" y="562301"/>
                </a:cubicBezTo>
                <a:cubicBezTo>
                  <a:pt x="3541685" y="559467"/>
                  <a:pt x="3543058" y="558595"/>
                  <a:pt x="3544981" y="559140"/>
                </a:cubicBezTo>
                <a:close/>
                <a:moveTo>
                  <a:pt x="2945047" y="559140"/>
                </a:moveTo>
                <a:cubicBezTo>
                  <a:pt x="2945597" y="560557"/>
                  <a:pt x="2946970" y="560012"/>
                  <a:pt x="2947245" y="561428"/>
                </a:cubicBezTo>
                <a:cubicBezTo>
                  <a:pt x="2949443" y="563717"/>
                  <a:pt x="2949443" y="563717"/>
                  <a:pt x="2948343" y="565679"/>
                </a:cubicBezTo>
                <a:cubicBezTo>
                  <a:pt x="2947245" y="567640"/>
                  <a:pt x="2942849" y="567749"/>
                  <a:pt x="2941751" y="569711"/>
                </a:cubicBezTo>
                <a:cubicBezTo>
                  <a:pt x="2941751" y="569711"/>
                  <a:pt x="2941751" y="569711"/>
                  <a:pt x="2939554" y="567422"/>
                </a:cubicBezTo>
                <a:cubicBezTo>
                  <a:pt x="2939279" y="566005"/>
                  <a:pt x="2938730" y="564589"/>
                  <a:pt x="2939828" y="562627"/>
                </a:cubicBezTo>
                <a:cubicBezTo>
                  <a:pt x="2940927" y="560666"/>
                  <a:pt x="2943674" y="559576"/>
                  <a:pt x="2945047" y="559140"/>
                </a:cubicBezTo>
                <a:close/>
                <a:moveTo>
                  <a:pt x="2205260" y="559031"/>
                </a:moveTo>
                <a:cubicBezTo>
                  <a:pt x="2208178" y="557370"/>
                  <a:pt x="2211886" y="557452"/>
                  <a:pt x="2215183" y="559685"/>
                </a:cubicBezTo>
                <a:cubicBezTo>
                  <a:pt x="2217930" y="561647"/>
                  <a:pt x="2220677" y="565351"/>
                  <a:pt x="2221776" y="571018"/>
                </a:cubicBezTo>
                <a:cubicBezTo>
                  <a:pt x="2220952" y="573742"/>
                  <a:pt x="2218754" y="576140"/>
                  <a:pt x="2216007" y="577993"/>
                </a:cubicBezTo>
                <a:lnTo>
                  <a:pt x="2208315" y="580826"/>
                </a:lnTo>
                <a:lnTo>
                  <a:pt x="2209964" y="582896"/>
                </a:lnTo>
                <a:cubicBezTo>
                  <a:pt x="2210239" y="584857"/>
                  <a:pt x="2209689" y="587691"/>
                  <a:pt x="2207766" y="591723"/>
                </a:cubicBezTo>
                <a:cubicBezTo>
                  <a:pt x="2196778" y="589653"/>
                  <a:pt x="2195954" y="585621"/>
                  <a:pt x="2198152" y="582678"/>
                </a:cubicBezTo>
                <a:cubicBezTo>
                  <a:pt x="2198976" y="581479"/>
                  <a:pt x="2200624" y="580390"/>
                  <a:pt x="2202272" y="579737"/>
                </a:cubicBezTo>
                <a:lnTo>
                  <a:pt x="2203096" y="579737"/>
                </a:lnTo>
                <a:lnTo>
                  <a:pt x="2200075" y="568839"/>
                </a:lnTo>
                <a:cubicBezTo>
                  <a:pt x="2200212" y="564098"/>
                  <a:pt x="2202341" y="560693"/>
                  <a:pt x="2205260" y="559031"/>
                </a:cubicBezTo>
                <a:close/>
                <a:moveTo>
                  <a:pt x="2137444" y="557614"/>
                </a:moveTo>
                <a:cubicBezTo>
                  <a:pt x="2141565" y="560993"/>
                  <a:pt x="2144312" y="565570"/>
                  <a:pt x="2139917" y="569384"/>
                </a:cubicBezTo>
                <a:cubicBezTo>
                  <a:pt x="2139368" y="570038"/>
                  <a:pt x="2138543" y="570582"/>
                  <a:pt x="2137993" y="570909"/>
                </a:cubicBezTo>
                <a:cubicBezTo>
                  <a:pt x="2137444" y="571236"/>
                  <a:pt x="2137169" y="571236"/>
                  <a:pt x="2137169" y="570473"/>
                </a:cubicBezTo>
                <a:cubicBezTo>
                  <a:pt x="2135796" y="570256"/>
                  <a:pt x="2135796" y="568839"/>
                  <a:pt x="2134423" y="567204"/>
                </a:cubicBezTo>
                <a:cubicBezTo>
                  <a:pt x="2133049" y="564153"/>
                  <a:pt x="2133049" y="559903"/>
                  <a:pt x="2134698" y="558704"/>
                </a:cubicBezTo>
                <a:cubicBezTo>
                  <a:pt x="2136071" y="557397"/>
                  <a:pt x="2137444" y="557614"/>
                  <a:pt x="2137444" y="557614"/>
                </a:cubicBezTo>
                <a:close/>
                <a:moveTo>
                  <a:pt x="2504712" y="557179"/>
                </a:moveTo>
                <a:cubicBezTo>
                  <a:pt x="2506359" y="556852"/>
                  <a:pt x="2508007" y="557069"/>
                  <a:pt x="2509931" y="557724"/>
                </a:cubicBezTo>
                <a:cubicBezTo>
                  <a:pt x="2506634" y="569384"/>
                  <a:pt x="2508007" y="578210"/>
                  <a:pt x="2507458" y="589325"/>
                </a:cubicBezTo>
                <a:cubicBezTo>
                  <a:pt x="2506085" y="589653"/>
                  <a:pt x="2504712" y="589653"/>
                  <a:pt x="2502788" y="589217"/>
                </a:cubicBezTo>
                <a:cubicBezTo>
                  <a:pt x="2501140" y="588672"/>
                  <a:pt x="2498943" y="587691"/>
                  <a:pt x="2496196" y="586056"/>
                </a:cubicBezTo>
                <a:cubicBezTo>
                  <a:pt x="2503888" y="574724"/>
                  <a:pt x="2487681" y="572980"/>
                  <a:pt x="2493175" y="563717"/>
                </a:cubicBezTo>
                <a:cubicBezTo>
                  <a:pt x="2496746" y="561538"/>
                  <a:pt x="2500042" y="557833"/>
                  <a:pt x="2504712" y="557179"/>
                </a:cubicBezTo>
                <a:close/>
                <a:moveTo>
                  <a:pt x="2360703" y="556225"/>
                </a:moveTo>
                <a:cubicBezTo>
                  <a:pt x="2364480" y="557696"/>
                  <a:pt x="2367501" y="560993"/>
                  <a:pt x="2367089" y="566115"/>
                </a:cubicBezTo>
                <a:cubicBezTo>
                  <a:pt x="2364892" y="569928"/>
                  <a:pt x="2362694" y="573634"/>
                  <a:pt x="2355552" y="573634"/>
                </a:cubicBezTo>
                <a:cubicBezTo>
                  <a:pt x="2350883" y="569819"/>
                  <a:pt x="2349234" y="565461"/>
                  <a:pt x="2349783" y="557288"/>
                </a:cubicBezTo>
                <a:cubicBezTo>
                  <a:pt x="2352393" y="555109"/>
                  <a:pt x="2356925" y="554754"/>
                  <a:pt x="2360703" y="556225"/>
                </a:cubicBezTo>
                <a:close/>
                <a:moveTo>
                  <a:pt x="2566792" y="555109"/>
                </a:moveTo>
                <a:cubicBezTo>
                  <a:pt x="2564320" y="560993"/>
                  <a:pt x="2558552" y="562301"/>
                  <a:pt x="2554980" y="568948"/>
                </a:cubicBezTo>
                <a:cubicBezTo>
                  <a:pt x="2549761" y="568185"/>
                  <a:pt x="2544817" y="575486"/>
                  <a:pt x="2537950" y="574070"/>
                </a:cubicBezTo>
                <a:cubicBezTo>
                  <a:pt x="2540147" y="563499"/>
                  <a:pt x="2561298" y="553037"/>
                  <a:pt x="2566792" y="555109"/>
                </a:cubicBezTo>
                <a:close/>
                <a:moveTo>
                  <a:pt x="2442630" y="554999"/>
                </a:moveTo>
                <a:cubicBezTo>
                  <a:pt x="2450322" y="553037"/>
                  <a:pt x="2451146" y="563499"/>
                  <a:pt x="2447849" y="566550"/>
                </a:cubicBezTo>
                <a:cubicBezTo>
                  <a:pt x="2447025" y="567095"/>
                  <a:pt x="2446476" y="567422"/>
                  <a:pt x="2445652" y="567422"/>
                </a:cubicBezTo>
                <a:cubicBezTo>
                  <a:pt x="2444828" y="567422"/>
                  <a:pt x="2444004" y="567095"/>
                  <a:pt x="2442905" y="566441"/>
                </a:cubicBezTo>
                <a:cubicBezTo>
                  <a:pt x="2442081" y="563172"/>
                  <a:pt x="2442355" y="559032"/>
                  <a:pt x="2442630" y="554999"/>
                </a:cubicBezTo>
                <a:close/>
                <a:moveTo>
                  <a:pt x="5799951" y="554890"/>
                </a:moveTo>
                <a:cubicBezTo>
                  <a:pt x="5802149" y="554890"/>
                  <a:pt x="5804895" y="555653"/>
                  <a:pt x="5807643" y="558268"/>
                </a:cubicBezTo>
                <a:cubicBezTo>
                  <a:pt x="5809016" y="559903"/>
                  <a:pt x="5811489" y="564589"/>
                  <a:pt x="5810115" y="564480"/>
                </a:cubicBezTo>
                <a:cubicBezTo>
                  <a:pt x="5808741" y="565788"/>
                  <a:pt x="5810115" y="565896"/>
                  <a:pt x="5810115" y="567422"/>
                </a:cubicBezTo>
                <a:cubicBezTo>
                  <a:pt x="5807917" y="569384"/>
                  <a:pt x="5805995" y="570582"/>
                  <a:pt x="5803797" y="570909"/>
                </a:cubicBezTo>
                <a:cubicBezTo>
                  <a:pt x="5801600" y="571236"/>
                  <a:pt x="5799401" y="570582"/>
                  <a:pt x="5797479" y="568839"/>
                </a:cubicBezTo>
                <a:cubicBezTo>
                  <a:pt x="5794732" y="565570"/>
                  <a:pt x="5790612" y="560557"/>
                  <a:pt x="5793358" y="556525"/>
                </a:cubicBezTo>
                <a:cubicBezTo>
                  <a:pt x="5795007" y="556634"/>
                  <a:pt x="5795007" y="555218"/>
                  <a:pt x="5796380" y="555435"/>
                </a:cubicBezTo>
                <a:cubicBezTo>
                  <a:pt x="5796380" y="555435"/>
                  <a:pt x="5797754" y="554781"/>
                  <a:pt x="5799951" y="554890"/>
                </a:cubicBezTo>
                <a:close/>
                <a:moveTo>
                  <a:pt x="2514326" y="554564"/>
                </a:moveTo>
                <a:cubicBezTo>
                  <a:pt x="2527786" y="551403"/>
                  <a:pt x="2537675" y="570473"/>
                  <a:pt x="2540696" y="583441"/>
                </a:cubicBezTo>
                <a:cubicBezTo>
                  <a:pt x="2524764" y="581153"/>
                  <a:pt x="2519545" y="567858"/>
                  <a:pt x="2514326" y="554564"/>
                </a:cubicBezTo>
                <a:close/>
                <a:moveTo>
                  <a:pt x="3510644" y="554455"/>
                </a:moveTo>
                <a:cubicBezTo>
                  <a:pt x="3522730" y="556416"/>
                  <a:pt x="3535641" y="557397"/>
                  <a:pt x="3538114" y="567095"/>
                </a:cubicBezTo>
                <a:cubicBezTo>
                  <a:pt x="3536740" y="568730"/>
                  <a:pt x="3534817" y="569602"/>
                  <a:pt x="3532894" y="569928"/>
                </a:cubicBezTo>
                <a:cubicBezTo>
                  <a:pt x="3530697" y="570256"/>
                  <a:pt x="3528499" y="570147"/>
                  <a:pt x="3526027" y="569602"/>
                </a:cubicBezTo>
                <a:cubicBezTo>
                  <a:pt x="3521357" y="568620"/>
                  <a:pt x="3516413" y="566333"/>
                  <a:pt x="3513116" y="564262"/>
                </a:cubicBezTo>
                <a:cubicBezTo>
                  <a:pt x="3513391" y="560121"/>
                  <a:pt x="3510370" y="558595"/>
                  <a:pt x="3510644" y="554455"/>
                </a:cubicBezTo>
                <a:close/>
                <a:moveTo>
                  <a:pt x="1506745" y="553365"/>
                </a:moveTo>
                <a:cubicBezTo>
                  <a:pt x="1504548" y="559249"/>
                  <a:pt x="1498505" y="560339"/>
                  <a:pt x="1500702" y="572108"/>
                </a:cubicBezTo>
                <a:cubicBezTo>
                  <a:pt x="1494933" y="569057"/>
                  <a:pt x="1489989" y="565134"/>
                  <a:pt x="1487517" y="559576"/>
                </a:cubicBezTo>
                <a:cubicBezTo>
                  <a:pt x="1492736" y="555218"/>
                  <a:pt x="1500702" y="554455"/>
                  <a:pt x="1506745" y="553365"/>
                </a:cubicBezTo>
                <a:close/>
                <a:moveTo>
                  <a:pt x="4954990" y="552057"/>
                </a:moveTo>
                <a:cubicBezTo>
                  <a:pt x="4956638" y="552820"/>
                  <a:pt x="4958011" y="553910"/>
                  <a:pt x="4958561" y="555326"/>
                </a:cubicBezTo>
                <a:lnTo>
                  <a:pt x="4958836" y="555653"/>
                </a:lnTo>
                <a:cubicBezTo>
                  <a:pt x="4961582" y="557505"/>
                  <a:pt x="4959934" y="561647"/>
                  <a:pt x="4959660" y="564589"/>
                </a:cubicBezTo>
                <a:cubicBezTo>
                  <a:pt x="4962406" y="566441"/>
                  <a:pt x="4956638" y="569819"/>
                  <a:pt x="4959385" y="571781"/>
                </a:cubicBezTo>
                <a:lnTo>
                  <a:pt x="4958011" y="576031"/>
                </a:lnTo>
                <a:lnTo>
                  <a:pt x="4963505" y="579627"/>
                </a:lnTo>
                <a:lnTo>
                  <a:pt x="4967625" y="581916"/>
                </a:lnTo>
                <a:lnTo>
                  <a:pt x="4970648" y="577556"/>
                </a:lnTo>
                <a:cubicBezTo>
                  <a:pt x="4972845" y="576358"/>
                  <a:pt x="4975318" y="576031"/>
                  <a:pt x="4977789" y="576903"/>
                </a:cubicBezTo>
                <a:cubicBezTo>
                  <a:pt x="4979987" y="579082"/>
                  <a:pt x="4980811" y="581479"/>
                  <a:pt x="4980811" y="583877"/>
                </a:cubicBezTo>
                <a:lnTo>
                  <a:pt x="4979163" y="590524"/>
                </a:lnTo>
                <a:lnTo>
                  <a:pt x="4982185" y="593358"/>
                </a:lnTo>
                <a:lnTo>
                  <a:pt x="4976416" y="593685"/>
                </a:lnTo>
                <a:lnTo>
                  <a:pt x="4973943" y="596409"/>
                </a:lnTo>
                <a:cubicBezTo>
                  <a:pt x="4971746" y="597716"/>
                  <a:pt x="4969549" y="598370"/>
                  <a:pt x="4967076" y="598261"/>
                </a:cubicBezTo>
                <a:lnTo>
                  <a:pt x="4965978" y="593249"/>
                </a:lnTo>
                <a:lnTo>
                  <a:pt x="4957187" y="590852"/>
                </a:lnTo>
                <a:lnTo>
                  <a:pt x="4953891" y="589217"/>
                </a:lnTo>
                <a:lnTo>
                  <a:pt x="4951968" y="594121"/>
                </a:lnTo>
                <a:lnTo>
                  <a:pt x="4951418" y="588018"/>
                </a:lnTo>
                <a:lnTo>
                  <a:pt x="4939607" y="582352"/>
                </a:lnTo>
                <a:cubicBezTo>
                  <a:pt x="4934388" y="579192"/>
                  <a:pt x="4929992" y="575922"/>
                  <a:pt x="4927520" y="573088"/>
                </a:cubicBezTo>
                <a:cubicBezTo>
                  <a:pt x="4931916" y="560993"/>
                  <a:pt x="4940705" y="571018"/>
                  <a:pt x="4945101" y="562955"/>
                </a:cubicBezTo>
                <a:lnTo>
                  <a:pt x="4952517" y="571890"/>
                </a:lnTo>
                <a:lnTo>
                  <a:pt x="4952792" y="571127"/>
                </a:lnTo>
                <a:lnTo>
                  <a:pt x="4952792" y="565461"/>
                </a:lnTo>
                <a:lnTo>
                  <a:pt x="4948397" y="563390"/>
                </a:lnTo>
                <a:cubicBezTo>
                  <a:pt x="4950869" y="557942"/>
                  <a:pt x="4952517" y="554236"/>
                  <a:pt x="4954990" y="552057"/>
                </a:cubicBezTo>
                <a:close/>
                <a:moveTo>
                  <a:pt x="4799203" y="551607"/>
                </a:moveTo>
                <a:cubicBezTo>
                  <a:pt x="4802053" y="552520"/>
                  <a:pt x="4803495" y="556034"/>
                  <a:pt x="4799787" y="563935"/>
                </a:cubicBezTo>
                <a:cubicBezTo>
                  <a:pt x="4789074" y="561865"/>
                  <a:pt x="4787975" y="557833"/>
                  <a:pt x="4790173" y="554890"/>
                </a:cubicBezTo>
                <a:cubicBezTo>
                  <a:pt x="4792095" y="552384"/>
                  <a:pt x="4796353" y="550695"/>
                  <a:pt x="4799203" y="551607"/>
                </a:cubicBezTo>
                <a:close/>
                <a:moveTo>
                  <a:pt x="6207530" y="548706"/>
                </a:moveTo>
                <a:cubicBezTo>
                  <a:pt x="6213848" y="547017"/>
                  <a:pt x="6220372" y="548188"/>
                  <a:pt x="6225454" y="550204"/>
                </a:cubicBezTo>
                <a:cubicBezTo>
                  <a:pt x="6224080" y="552057"/>
                  <a:pt x="6237815" y="557724"/>
                  <a:pt x="6240287" y="569384"/>
                </a:cubicBezTo>
                <a:cubicBezTo>
                  <a:pt x="6241386" y="573307"/>
                  <a:pt x="6240837" y="577774"/>
                  <a:pt x="6238364" y="583115"/>
                </a:cubicBezTo>
                <a:cubicBezTo>
                  <a:pt x="6233969" y="592050"/>
                  <a:pt x="6226827" y="600441"/>
                  <a:pt x="6215015" y="599787"/>
                </a:cubicBezTo>
                <a:lnTo>
                  <a:pt x="6207049" y="597499"/>
                </a:lnTo>
                <a:lnTo>
                  <a:pt x="6207599" y="597826"/>
                </a:lnTo>
                <a:cubicBezTo>
                  <a:pt x="6209796" y="601967"/>
                  <a:pt x="6207324" y="608178"/>
                  <a:pt x="6203478" y="608831"/>
                </a:cubicBezTo>
                <a:cubicBezTo>
                  <a:pt x="6201555" y="609159"/>
                  <a:pt x="6199358" y="608396"/>
                  <a:pt x="6197160" y="605890"/>
                </a:cubicBezTo>
                <a:lnTo>
                  <a:pt x="6202654" y="596191"/>
                </a:lnTo>
                <a:lnTo>
                  <a:pt x="6201280" y="595864"/>
                </a:lnTo>
                <a:cubicBezTo>
                  <a:pt x="6196611" y="594775"/>
                  <a:pt x="6198808" y="594230"/>
                  <a:pt x="6196061" y="592813"/>
                </a:cubicBezTo>
                <a:cubicBezTo>
                  <a:pt x="6193589" y="591287"/>
                  <a:pt x="6188644" y="590198"/>
                  <a:pt x="6186722" y="590743"/>
                </a:cubicBezTo>
                <a:cubicBezTo>
                  <a:pt x="6190842" y="581262"/>
                  <a:pt x="6183425" y="578755"/>
                  <a:pt x="6190842" y="564371"/>
                </a:cubicBezTo>
                <a:cubicBezTo>
                  <a:pt x="6195100" y="554945"/>
                  <a:pt x="6201212" y="550395"/>
                  <a:pt x="6207530" y="548706"/>
                </a:cubicBezTo>
                <a:close/>
                <a:moveTo>
                  <a:pt x="1320227" y="548243"/>
                </a:moveTo>
                <a:cubicBezTo>
                  <a:pt x="1322974" y="550204"/>
                  <a:pt x="1321326" y="554345"/>
                  <a:pt x="1321052" y="557288"/>
                </a:cubicBezTo>
                <a:cubicBezTo>
                  <a:pt x="1323798" y="559140"/>
                  <a:pt x="1318030" y="562518"/>
                  <a:pt x="1320777" y="564480"/>
                </a:cubicBezTo>
                <a:cubicBezTo>
                  <a:pt x="1314734" y="569274"/>
                  <a:pt x="1321052" y="577665"/>
                  <a:pt x="1313360" y="586601"/>
                </a:cubicBezTo>
                <a:cubicBezTo>
                  <a:pt x="1312535" y="582896"/>
                  <a:pt x="1312261" y="579518"/>
                  <a:pt x="1312261" y="576358"/>
                </a:cubicBezTo>
                <a:cubicBezTo>
                  <a:pt x="1312810" y="566986"/>
                  <a:pt x="1315832" y="560012"/>
                  <a:pt x="1314184" y="553037"/>
                </a:cubicBezTo>
                <a:cubicBezTo>
                  <a:pt x="1314184" y="553037"/>
                  <a:pt x="1314184" y="553147"/>
                  <a:pt x="1317205" y="550641"/>
                </a:cubicBezTo>
                <a:cubicBezTo>
                  <a:pt x="1317205" y="549223"/>
                  <a:pt x="1317205" y="549223"/>
                  <a:pt x="1317205" y="549223"/>
                </a:cubicBezTo>
                <a:cubicBezTo>
                  <a:pt x="1317480" y="547807"/>
                  <a:pt x="1320227" y="548243"/>
                  <a:pt x="1320227" y="548243"/>
                </a:cubicBezTo>
                <a:close/>
                <a:moveTo>
                  <a:pt x="5939221" y="548134"/>
                </a:moveTo>
                <a:cubicBezTo>
                  <a:pt x="5942243" y="548243"/>
                  <a:pt x="5946088" y="549551"/>
                  <a:pt x="5949934" y="552275"/>
                </a:cubicBezTo>
                <a:cubicBezTo>
                  <a:pt x="5954879" y="558704"/>
                  <a:pt x="5948012" y="572980"/>
                  <a:pt x="5940869" y="573416"/>
                </a:cubicBezTo>
                <a:cubicBezTo>
                  <a:pt x="5937024" y="571346"/>
                  <a:pt x="5933453" y="569166"/>
                  <a:pt x="5929881" y="567095"/>
                </a:cubicBezTo>
                <a:cubicBezTo>
                  <a:pt x="5926036" y="560339"/>
                  <a:pt x="5927959" y="552820"/>
                  <a:pt x="5933178" y="549659"/>
                </a:cubicBezTo>
                <a:cubicBezTo>
                  <a:pt x="5934826" y="548679"/>
                  <a:pt x="5936750" y="548134"/>
                  <a:pt x="5939221" y="548134"/>
                </a:cubicBezTo>
                <a:close/>
                <a:moveTo>
                  <a:pt x="4399007" y="548025"/>
                </a:moveTo>
                <a:cubicBezTo>
                  <a:pt x="4395436" y="561102"/>
                  <a:pt x="4389393" y="582461"/>
                  <a:pt x="4379229" y="591505"/>
                </a:cubicBezTo>
                <a:cubicBezTo>
                  <a:pt x="4377581" y="590198"/>
                  <a:pt x="4376757" y="588672"/>
                  <a:pt x="4376207" y="586929"/>
                </a:cubicBezTo>
                <a:cubicBezTo>
                  <a:pt x="4372362" y="574941"/>
                  <a:pt x="4390767" y="553037"/>
                  <a:pt x="4399007" y="548025"/>
                </a:cubicBezTo>
                <a:close/>
                <a:moveTo>
                  <a:pt x="2161343" y="547480"/>
                </a:moveTo>
                <a:cubicBezTo>
                  <a:pt x="2163540" y="547589"/>
                  <a:pt x="2166288" y="548352"/>
                  <a:pt x="2169034" y="550858"/>
                </a:cubicBezTo>
                <a:cubicBezTo>
                  <a:pt x="2170407" y="552492"/>
                  <a:pt x="2172880" y="557288"/>
                  <a:pt x="2171507" y="557179"/>
                </a:cubicBezTo>
                <a:cubicBezTo>
                  <a:pt x="2170133" y="558487"/>
                  <a:pt x="2171507" y="558595"/>
                  <a:pt x="2171507" y="560121"/>
                </a:cubicBezTo>
                <a:cubicBezTo>
                  <a:pt x="2169309" y="562082"/>
                  <a:pt x="2167386" y="563172"/>
                  <a:pt x="2165188" y="563499"/>
                </a:cubicBezTo>
                <a:cubicBezTo>
                  <a:pt x="2162991" y="563717"/>
                  <a:pt x="2160794" y="563172"/>
                  <a:pt x="2158870" y="561428"/>
                </a:cubicBezTo>
                <a:cubicBezTo>
                  <a:pt x="2156124" y="558159"/>
                  <a:pt x="2152003" y="553256"/>
                  <a:pt x="2154750" y="549114"/>
                </a:cubicBezTo>
                <a:cubicBezTo>
                  <a:pt x="2156124" y="549333"/>
                  <a:pt x="2156399" y="547916"/>
                  <a:pt x="2157772" y="548025"/>
                </a:cubicBezTo>
                <a:cubicBezTo>
                  <a:pt x="2157772" y="548025"/>
                  <a:pt x="2159145" y="547480"/>
                  <a:pt x="2161343" y="547480"/>
                </a:cubicBezTo>
                <a:close/>
                <a:moveTo>
                  <a:pt x="1990208" y="546499"/>
                </a:moveTo>
                <a:cubicBezTo>
                  <a:pt x="1991581" y="546717"/>
                  <a:pt x="1990208" y="546499"/>
                  <a:pt x="1992955" y="548352"/>
                </a:cubicBezTo>
                <a:cubicBezTo>
                  <a:pt x="1992131" y="549114"/>
                  <a:pt x="1991856" y="549114"/>
                  <a:pt x="1991581" y="548679"/>
                </a:cubicBezTo>
                <a:cubicBezTo>
                  <a:pt x="1991306" y="548243"/>
                  <a:pt x="1991032" y="547372"/>
                  <a:pt x="1990208" y="546499"/>
                </a:cubicBezTo>
                <a:close/>
                <a:moveTo>
                  <a:pt x="6380381" y="544646"/>
                </a:moveTo>
                <a:cubicBezTo>
                  <a:pt x="6382579" y="544211"/>
                  <a:pt x="6382854" y="546064"/>
                  <a:pt x="6385051" y="545628"/>
                </a:cubicBezTo>
                <a:cubicBezTo>
                  <a:pt x="6385051" y="545628"/>
                  <a:pt x="6385600" y="547589"/>
                  <a:pt x="6385600" y="547589"/>
                </a:cubicBezTo>
                <a:cubicBezTo>
                  <a:pt x="6386425" y="547372"/>
                  <a:pt x="6386425" y="547372"/>
                  <a:pt x="6386150" y="547916"/>
                </a:cubicBezTo>
                <a:cubicBezTo>
                  <a:pt x="6385600" y="548570"/>
                  <a:pt x="6385051" y="549768"/>
                  <a:pt x="6384502" y="551839"/>
                </a:cubicBezTo>
                <a:cubicBezTo>
                  <a:pt x="6383678" y="553037"/>
                  <a:pt x="6383403" y="554127"/>
                  <a:pt x="6383129" y="554673"/>
                </a:cubicBezTo>
                <a:cubicBezTo>
                  <a:pt x="6382579" y="555326"/>
                  <a:pt x="6382305" y="555435"/>
                  <a:pt x="6380931" y="554673"/>
                </a:cubicBezTo>
                <a:cubicBezTo>
                  <a:pt x="6378459" y="553256"/>
                  <a:pt x="6378459" y="553256"/>
                  <a:pt x="6377085" y="547480"/>
                </a:cubicBezTo>
                <a:cubicBezTo>
                  <a:pt x="6379557" y="549006"/>
                  <a:pt x="6379557" y="548897"/>
                  <a:pt x="6380931" y="546499"/>
                </a:cubicBezTo>
                <a:cubicBezTo>
                  <a:pt x="6380931" y="546499"/>
                  <a:pt x="6380931" y="546608"/>
                  <a:pt x="6380381" y="544646"/>
                </a:cubicBezTo>
                <a:close/>
                <a:moveTo>
                  <a:pt x="1160595" y="544252"/>
                </a:moveTo>
                <a:cubicBezTo>
                  <a:pt x="1163445" y="545164"/>
                  <a:pt x="1164887" y="548679"/>
                  <a:pt x="1161179" y="556634"/>
                </a:cubicBezTo>
                <a:cubicBezTo>
                  <a:pt x="1150191" y="554564"/>
                  <a:pt x="1149367" y="550422"/>
                  <a:pt x="1151565" y="547480"/>
                </a:cubicBezTo>
                <a:cubicBezTo>
                  <a:pt x="1153487" y="545028"/>
                  <a:pt x="1157745" y="543339"/>
                  <a:pt x="1160595" y="544252"/>
                </a:cubicBezTo>
                <a:close/>
                <a:moveTo>
                  <a:pt x="5131618" y="543993"/>
                </a:moveTo>
                <a:lnTo>
                  <a:pt x="5129146" y="544756"/>
                </a:lnTo>
                <a:lnTo>
                  <a:pt x="5129421" y="545191"/>
                </a:lnTo>
                <a:lnTo>
                  <a:pt x="5130245" y="547916"/>
                </a:lnTo>
                <a:lnTo>
                  <a:pt x="5131618" y="546173"/>
                </a:lnTo>
                <a:lnTo>
                  <a:pt x="5130245" y="546281"/>
                </a:lnTo>
                <a:close/>
                <a:moveTo>
                  <a:pt x="3503228" y="541922"/>
                </a:moveTo>
                <a:cubicBezTo>
                  <a:pt x="3504601" y="554455"/>
                  <a:pt x="3507073" y="559576"/>
                  <a:pt x="3507073" y="569602"/>
                </a:cubicBezTo>
                <a:cubicBezTo>
                  <a:pt x="3505974" y="570364"/>
                  <a:pt x="3505425" y="569166"/>
                  <a:pt x="3504052" y="569928"/>
                </a:cubicBezTo>
                <a:cubicBezTo>
                  <a:pt x="3502953" y="569711"/>
                  <a:pt x="3502128" y="568512"/>
                  <a:pt x="3501304" y="566986"/>
                </a:cubicBezTo>
                <a:cubicBezTo>
                  <a:pt x="3499107" y="562301"/>
                  <a:pt x="3497734" y="553691"/>
                  <a:pt x="3498832" y="553037"/>
                </a:cubicBezTo>
                <a:cubicBezTo>
                  <a:pt x="3498009" y="551839"/>
                  <a:pt x="3499382" y="551076"/>
                  <a:pt x="3498832" y="549768"/>
                </a:cubicBezTo>
                <a:cubicBezTo>
                  <a:pt x="3498832" y="549768"/>
                  <a:pt x="3498009" y="548461"/>
                  <a:pt x="3498558" y="546390"/>
                </a:cubicBezTo>
                <a:cubicBezTo>
                  <a:pt x="3499382" y="544320"/>
                  <a:pt x="3499931" y="542250"/>
                  <a:pt x="3503228" y="541922"/>
                </a:cubicBezTo>
                <a:close/>
                <a:moveTo>
                  <a:pt x="2300613" y="540833"/>
                </a:moveTo>
                <a:cubicBezTo>
                  <a:pt x="2303635" y="540942"/>
                  <a:pt x="2307206" y="542140"/>
                  <a:pt x="2311051" y="544974"/>
                </a:cubicBezTo>
                <a:cubicBezTo>
                  <a:pt x="2316271" y="551403"/>
                  <a:pt x="2309129" y="565570"/>
                  <a:pt x="2301987" y="566005"/>
                </a:cubicBezTo>
                <a:cubicBezTo>
                  <a:pt x="2298416" y="563826"/>
                  <a:pt x="2294844" y="561756"/>
                  <a:pt x="2291274" y="559685"/>
                </a:cubicBezTo>
                <a:cubicBezTo>
                  <a:pt x="2287153" y="552820"/>
                  <a:pt x="2289350" y="545519"/>
                  <a:pt x="2294570" y="542359"/>
                </a:cubicBezTo>
                <a:cubicBezTo>
                  <a:pt x="2296218" y="541268"/>
                  <a:pt x="2298141" y="540723"/>
                  <a:pt x="2300613" y="540833"/>
                </a:cubicBezTo>
                <a:close/>
                <a:moveTo>
                  <a:pt x="5588711" y="538871"/>
                </a:moveTo>
                <a:lnTo>
                  <a:pt x="5588436" y="539525"/>
                </a:lnTo>
                <a:lnTo>
                  <a:pt x="5589810" y="539634"/>
                </a:lnTo>
                <a:close/>
                <a:moveTo>
                  <a:pt x="2476693" y="538544"/>
                </a:moveTo>
                <a:cubicBezTo>
                  <a:pt x="2478066" y="538327"/>
                  <a:pt x="2479439" y="538544"/>
                  <a:pt x="2481088" y="539416"/>
                </a:cubicBezTo>
                <a:cubicBezTo>
                  <a:pt x="2482461" y="538871"/>
                  <a:pt x="2485208" y="543993"/>
                  <a:pt x="2484384" y="545845"/>
                </a:cubicBezTo>
                <a:cubicBezTo>
                  <a:pt x="2482736" y="551076"/>
                  <a:pt x="2478066" y="549768"/>
                  <a:pt x="2472298" y="550313"/>
                </a:cubicBezTo>
                <a:cubicBezTo>
                  <a:pt x="2473121" y="548461"/>
                  <a:pt x="2471474" y="547589"/>
                  <a:pt x="2469826" y="546717"/>
                </a:cubicBezTo>
                <a:cubicBezTo>
                  <a:pt x="2471199" y="543884"/>
                  <a:pt x="2473121" y="539198"/>
                  <a:pt x="2476693" y="538544"/>
                </a:cubicBezTo>
                <a:close/>
                <a:moveTo>
                  <a:pt x="3129917" y="538108"/>
                </a:moveTo>
                <a:cubicBezTo>
                  <a:pt x="3135136" y="537237"/>
                  <a:pt x="3143102" y="539307"/>
                  <a:pt x="3146948" y="541268"/>
                </a:cubicBezTo>
                <a:cubicBezTo>
                  <a:pt x="3146124" y="542359"/>
                  <a:pt x="3144751" y="543012"/>
                  <a:pt x="3143102" y="543230"/>
                </a:cubicBezTo>
                <a:cubicBezTo>
                  <a:pt x="3137884" y="544102"/>
                  <a:pt x="3129917" y="542031"/>
                  <a:pt x="3126071" y="540070"/>
                </a:cubicBezTo>
                <a:cubicBezTo>
                  <a:pt x="3126895" y="538980"/>
                  <a:pt x="3128269" y="538436"/>
                  <a:pt x="3129917" y="538108"/>
                </a:cubicBezTo>
                <a:close/>
                <a:moveTo>
                  <a:pt x="2984603" y="538108"/>
                </a:moveTo>
                <a:cubicBezTo>
                  <a:pt x="2987351" y="538544"/>
                  <a:pt x="2990372" y="539961"/>
                  <a:pt x="2993394" y="542904"/>
                </a:cubicBezTo>
                <a:cubicBezTo>
                  <a:pt x="3000536" y="549659"/>
                  <a:pt x="3006029" y="559032"/>
                  <a:pt x="2995591" y="569493"/>
                </a:cubicBezTo>
                <a:cubicBezTo>
                  <a:pt x="2994218" y="572217"/>
                  <a:pt x="2994218" y="570692"/>
                  <a:pt x="2992570" y="571999"/>
                </a:cubicBezTo>
                <a:cubicBezTo>
                  <a:pt x="2991196" y="573307"/>
                  <a:pt x="2989548" y="576140"/>
                  <a:pt x="2989548" y="577556"/>
                </a:cubicBezTo>
                <a:cubicBezTo>
                  <a:pt x="2984054" y="572544"/>
                  <a:pt x="2981032" y="576467"/>
                  <a:pt x="2972791" y="568185"/>
                </a:cubicBezTo>
                <a:cubicBezTo>
                  <a:pt x="2961529" y="558050"/>
                  <a:pt x="2964550" y="548134"/>
                  <a:pt x="2969220" y="542795"/>
                </a:cubicBezTo>
                <a:cubicBezTo>
                  <a:pt x="2970045" y="543993"/>
                  <a:pt x="2976088" y="536800"/>
                  <a:pt x="2984603" y="538108"/>
                </a:cubicBezTo>
                <a:close/>
                <a:moveTo>
                  <a:pt x="5676339" y="537891"/>
                </a:moveTo>
                <a:cubicBezTo>
                  <a:pt x="5679360" y="538327"/>
                  <a:pt x="5682382" y="538653"/>
                  <a:pt x="5685678" y="538980"/>
                </a:cubicBezTo>
                <a:cubicBezTo>
                  <a:pt x="5690897" y="541596"/>
                  <a:pt x="5695842" y="544320"/>
                  <a:pt x="5694194" y="549442"/>
                </a:cubicBezTo>
                <a:cubicBezTo>
                  <a:pt x="5688150" y="548679"/>
                  <a:pt x="5683481" y="548788"/>
                  <a:pt x="5677437" y="548025"/>
                </a:cubicBezTo>
                <a:cubicBezTo>
                  <a:pt x="5676613" y="547589"/>
                  <a:pt x="5674965" y="546281"/>
                  <a:pt x="5673866" y="544756"/>
                </a:cubicBezTo>
                <a:cubicBezTo>
                  <a:pt x="5672767" y="543339"/>
                  <a:pt x="5671943" y="541705"/>
                  <a:pt x="5672493" y="540723"/>
                </a:cubicBezTo>
                <a:cubicBezTo>
                  <a:pt x="5673591" y="538871"/>
                  <a:pt x="5674965" y="538436"/>
                  <a:pt x="5676339" y="537891"/>
                </a:cubicBezTo>
                <a:close/>
                <a:moveTo>
                  <a:pt x="5854066" y="537782"/>
                </a:moveTo>
                <a:cubicBezTo>
                  <a:pt x="5860110" y="540833"/>
                  <a:pt x="5863955" y="547916"/>
                  <a:pt x="5867526" y="553037"/>
                </a:cubicBezTo>
                <a:cubicBezTo>
                  <a:pt x="5861208" y="553256"/>
                  <a:pt x="5857637" y="548134"/>
                  <a:pt x="5848023" y="555109"/>
                </a:cubicBezTo>
                <a:cubicBezTo>
                  <a:pt x="5848297" y="548461"/>
                  <a:pt x="5849946" y="542467"/>
                  <a:pt x="5854066" y="537782"/>
                </a:cubicBezTo>
                <a:close/>
                <a:moveTo>
                  <a:pt x="4408347" y="536909"/>
                </a:moveTo>
                <a:cubicBezTo>
                  <a:pt x="4414390" y="547153"/>
                  <a:pt x="4416039" y="555109"/>
                  <a:pt x="4406699" y="561865"/>
                </a:cubicBezTo>
                <a:cubicBezTo>
                  <a:pt x="4401205" y="559794"/>
                  <a:pt x="4399282" y="554127"/>
                  <a:pt x="4400106" y="548679"/>
                </a:cubicBezTo>
                <a:cubicBezTo>
                  <a:pt x="4400656" y="543339"/>
                  <a:pt x="4403951" y="538108"/>
                  <a:pt x="4408347" y="536909"/>
                </a:cubicBezTo>
                <a:close/>
                <a:moveTo>
                  <a:pt x="4559704" y="536474"/>
                </a:moveTo>
                <a:cubicBezTo>
                  <a:pt x="4561352" y="536147"/>
                  <a:pt x="4563000" y="536255"/>
                  <a:pt x="4564923" y="536800"/>
                </a:cubicBezTo>
                <a:cubicBezTo>
                  <a:pt x="4559978" y="548679"/>
                  <a:pt x="4560253" y="557614"/>
                  <a:pt x="4557781" y="568730"/>
                </a:cubicBezTo>
                <a:cubicBezTo>
                  <a:pt x="4556408" y="569166"/>
                  <a:pt x="4555034" y="569166"/>
                  <a:pt x="4553386" y="568730"/>
                </a:cubicBezTo>
                <a:cubicBezTo>
                  <a:pt x="4551463" y="568294"/>
                  <a:pt x="4549540" y="567422"/>
                  <a:pt x="4547068" y="565896"/>
                </a:cubicBezTo>
                <a:cubicBezTo>
                  <a:pt x="4556683" y="554127"/>
                  <a:pt x="4540200" y="553037"/>
                  <a:pt x="4547068" y="543557"/>
                </a:cubicBezTo>
                <a:cubicBezTo>
                  <a:pt x="4551189" y="541268"/>
                  <a:pt x="4554759" y="537346"/>
                  <a:pt x="4559704" y="536474"/>
                </a:cubicBezTo>
                <a:close/>
                <a:moveTo>
                  <a:pt x="4123214" y="536255"/>
                </a:moveTo>
                <a:cubicBezTo>
                  <a:pt x="4130356" y="536474"/>
                  <a:pt x="4133378" y="545954"/>
                  <a:pt x="4135575" y="550858"/>
                </a:cubicBezTo>
                <a:cubicBezTo>
                  <a:pt x="4130905" y="554236"/>
                  <a:pt x="4125960" y="557505"/>
                  <a:pt x="4121840" y="556634"/>
                </a:cubicBezTo>
                <a:cubicBezTo>
                  <a:pt x="4119643" y="553037"/>
                  <a:pt x="4118269" y="549442"/>
                  <a:pt x="4118269" y="545954"/>
                </a:cubicBezTo>
                <a:cubicBezTo>
                  <a:pt x="4118544" y="542467"/>
                  <a:pt x="4119917" y="539198"/>
                  <a:pt x="4123214" y="536255"/>
                </a:cubicBezTo>
                <a:close/>
                <a:moveTo>
                  <a:pt x="3916918" y="534839"/>
                </a:moveTo>
                <a:cubicBezTo>
                  <a:pt x="3922687" y="539852"/>
                  <a:pt x="3922687" y="553256"/>
                  <a:pt x="3917467" y="555653"/>
                </a:cubicBezTo>
                <a:cubicBezTo>
                  <a:pt x="3898788" y="556634"/>
                  <a:pt x="3894943" y="542031"/>
                  <a:pt x="3904007" y="536474"/>
                </a:cubicBezTo>
                <a:cubicBezTo>
                  <a:pt x="3907029" y="534621"/>
                  <a:pt x="3911424" y="533750"/>
                  <a:pt x="3916918" y="534839"/>
                </a:cubicBezTo>
                <a:close/>
                <a:moveTo>
                  <a:pt x="4477501" y="534512"/>
                </a:moveTo>
                <a:cubicBezTo>
                  <a:pt x="4481828" y="533286"/>
                  <a:pt x="4486910" y="534785"/>
                  <a:pt x="4489931" y="541051"/>
                </a:cubicBezTo>
                <a:cubicBezTo>
                  <a:pt x="4489382" y="546827"/>
                  <a:pt x="4479767" y="553582"/>
                  <a:pt x="4475373" y="554019"/>
                </a:cubicBezTo>
                <a:cubicBezTo>
                  <a:pt x="4471252" y="550967"/>
                  <a:pt x="4469604" y="547480"/>
                  <a:pt x="4469604" y="544320"/>
                </a:cubicBezTo>
                <a:cubicBezTo>
                  <a:pt x="4469604" y="539689"/>
                  <a:pt x="4473175" y="535738"/>
                  <a:pt x="4477501" y="534512"/>
                </a:cubicBezTo>
                <a:close/>
                <a:moveTo>
                  <a:pt x="1974001" y="534404"/>
                </a:moveTo>
                <a:cubicBezTo>
                  <a:pt x="1975649" y="535275"/>
                  <a:pt x="1977847" y="537563"/>
                  <a:pt x="1975649" y="541268"/>
                </a:cubicBezTo>
                <a:cubicBezTo>
                  <a:pt x="1974001" y="546390"/>
                  <a:pt x="1969880" y="547916"/>
                  <a:pt x="1965211" y="548025"/>
                </a:cubicBezTo>
                <a:cubicBezTo>
                  <a:pt x="1962738" y="550422"/>
                  <a:pt x="1962189" y="553691"/>
                  <a:pt x="1959167" y="553256"/>
                </a:cubicBezTo>
                <a:cubicBezTo>
                  <a:pt x="1962464" y="549006"/>
                  <a:pt x="1963562" y="547153"/>
                  <a:pt x="1966035" y="544756"/>
                </a:cubicBezTo>
                <a:cubicBezTo>
                  <a:pt x="1965760" y="543448"/>
                  <a:pt x="1965211" y="542031"/>
                  <a:pt x="1966310" y="540179"/>
                </a:cubicBezTo>
                <a:cubicBezTo>
                  <a:pt x="1968507" y="536474"/>
                  <a:pt x="1971529" y="536800"/>
                  <a:pt x="1974001" y="534404"/>
                </a:cubicBezTo>
                <a:close/>
                <a:moveTo>
                  <a:pt x="2402800" y="533750"/>
                </a:moveTo>
                <a:cubicBezTo>
                  <a:pt x="2406096" y="534076"/>
                  <a:pt x="2403074" y="539743"/>
                  <a:pt x="2403349" y="541160"/>
                </a:cubicBezTo>
                <a:cubicBezTo>
                  <a:pt x="2402250" y="543012"/>
                  <a:pt x="2401152" y="544974"/>
                  <a:pt x="2399503" y="544102"/>
                </a:cubicBezTo>
                <a:cubicBezTo>
                  <a:pt x="2398679" y="543666"/>
                  <a:pt x="2397855" y="543557"/>
                  <a:pt x="2397306" y="543121"/>
                </a:cubicBezTo>
                <a:cubicBezTo>
                  <a:pt x="2397031" y="542795"/>
                  <a:pt x="2396756" y="542031"/>
                  <a:pt x="2397031" y="540397"/>
                </a:cubicBezTo>
                <a:cubicBezTo>
                  <a:pt x="2396756" y="538980"/>
                  <a:pt x="2397855" y="537237"/>
                  <a:pt x="2397306" y="535820"/>
                </a:cubicBezTo>
                <a:cubicBezTo>
                  <a:pt x="2397306" y="535820"/>
                  <a:pt x="2398404" y="535058"/>
                  <a:pt x="2399503" y="534404"/>
                </a:cubicBezTo>
                <a:cubicBezTo>
                  <a:pt x="2400602" y="533750"/>
                  <a:pt x="2401976" y="533314"/>
                  <a:pt x="2402800" y="533750"/>
                </a:cubicBezTo>
                <a:close/>
                <a:moveTo>
                  <a:pt x="1662450" y="533610"/>
                </a:moveTo>
                <a:cubicBezTo>
                  <a:pt x="1668849" y="532394"/>
                  <a:pt x="1672661" y="545246"/>
                  <a:pt x="1676781" y="551294"/>
                </a:cubicBezTo>
                <a:cubicBezTo>
                  <a:pt x="1673211" y="557069"/>
                  <a:pt x="1671562" y="558487"/>
                  <a:pt x="1665519" y="560993"/>
                </a:cubicBezTo>
                <a:cubicBezTo>
                  <a:pt x="1661948" y="558377"/>
                  <a:pt x="1659476" y="555109"/>
                  <a:pt x="1658102" y="551512"/>
                </a:cubicBezTo>
                <a:cubicBezTo>
                  <a:pt x="1656454" y="548025"/>
                  <a:pt x="1655905" y="544102"/>
                  <a:pt x="1655080" y="540288"/>
                </a:cubicBezTo>
                <a:cubicBezTo>
                  <a:pt x="1657896" y="535983"/>
                  <a:pt x="1660317" y="534015"/>
                  <a:pt x="1662450" y="533610"/>
                </a:cubicBezTo>
                <a:close/>
                <a:moveTo>
                  <a:pt x="5736772" y="532986"/>
                </a:moveTo>
                <a:cubicBezTo>
                  <a:pt x="5746935" y="537891"/>
                  <a:pt x="5740342" y="548134"/>
                  <a:pt x="5734573" y="547807"/>
                </a:cubicBezTo>
                <a:cubicBezTo>
                  <a:pt x="5728530" y="543121"/>
                  <a:pt x="5731003" y="534185"/>
                  <a:pt x="5736772" y="532986"/>
                </a:cubicBezTo>
                <a:close/>
                <a:moveTo>
                  <a:pt x="3010699" y="532115"/>
                </a:moveTo>
                <a:cubicBezTo>
                  <a:pt x="3021962" y="542250"/>
                  <a:pt x="3017566" y="544646"/>
                  <a:pt x="3013171" y="549987"/>
                </a:cubicBezTo>
                <a:cubicBezTo>
                  <a:pt x="3010425" y="548243"/>
                  <a:pt x="3006029" y="549114"/>
                  <a:pt x="3003283" y="545845"/>
                </a:cubicBezTo>
                <a:cubicBezTo>
                  <a:pt x="3003283" y="545845"/>
                  <a:pt x="3001909" y="544211"/>
                  <a:pt x="3001909" y="541268"/>
                </a:cubicBezTo>
                <a:cubicBezTo>
                  <a:pt x="2999162" y="536583"/>
                  <a:pt x="3003558" y="532660"/>
                  <a:pt x="3003558" y="532660"/>
                </a:cubicBezTo>
                <a:cubicBezTo>
                  <a:pt x="3003558" y="532660"/>
                  <a:pt x="3003558" y="532660"/>
                  <a:pt x="3002184" y="532551"/>
                </a:cubicBezTo>
                <a:cubicBezTo>
                  <a:pt x="3004931" y="532878"/>
                  <a:pt x="3007952" y="531787"/>
                  <a:pt x="3010699" y="532115"/>
                </a:cubicBezTo>
                <a:close/>
                <a:moveTo>
                  <a:pt x="3954826" y="531815"/>
                </a:moveTo>
                <a:cubicBezTo>
                  <a:pt x="3960388" y="532033"/>
                  <a:pt x="3966637" y="534294"/>
                  <a:pt x="3973230" y="539416"/>
                </a:cubicBezTo>
                <a:lnTo>
                  <a:pt x="3973230" y="541268"/>
                </a:lnTo>
                <a:lnTo>
                  <a:pt x="3974878" y="534839"/>
                </a:lnTo>
                <a:cubicBezTo>
                  <a:pt x="3977625" y="533968"/>
                  <a:pt x="3980097" y="534404"/>
                  <a:pt x="3982295" y="535602"/>
                </a:cubicBezTo>
                <a:lnTo>
                  <a:pt x="3984218" y="537673"/>
                </a:lnTo>
                <a:lnTo>
                  <a:pt x="3984767" y="533750"/>
                </a:lnTo>
                <a:cubicBezTo>
                  <a:pt x="3988888" y="534294"/>
                  <a:pt x="3991910" y="533750"/>
                  <a:pt x="3994656" y="535166"/>
                </a:cubicBezTo>
                <a:cubicBezTo>
                  <a:pt x="3996030" y="538980"/>
                  <a:pt x="3995206" y="541377"/>
                  <a:pt x="3993558" y="542685"/>
                </a:cubicBezTo>
                <a:lnTo>
                  <a:pt x="3988339" y="542904"/>
                </a:lnTo>
                <a:lnTo>
                  <a:pt x="3990261" y="548788"/>
                </a:lnTo>
                <a:cubicBezTo>
                  <a:pt x="3990536" y="551403"/>
                  <a:pt x="3990261" y="553910"/>
                  <a:pt x="3989437" y="555980"/>
                </a:cubicBezTo>
                <a:cubicBezTo>
                  <a:pt x="3985591" y="557288"/>
                  <a:pt x="3981471" y="555653"/>
                  <a:pt x="3978449" y="552711"/>
                </a:cubicBezTo>
                <a:lnTo>
                  <a:pt x="3972956" y="541922"/>
                </a:lnTo>
                <a:lnTo>
                  <a:pt x="3971582" y="554236"/>
                </a:lnTo>
                <a:cubicBezTo>
                  <a:pt x="3967736" y="568076"/>
                  <a:pt x="3957847" y="577556"/>
                  <a:pt x="3945761" y="575704"/>
                </a:cubicBezTo>
                <a:cubicBezTo>
                  <a:pt x="3940816" y="574287"/>
                  <a:pt x="3937245" y="571781"/>
                  <a:pt x="3934773" y="568620"/>
                </a:cubicBezTo>
                <a:lnTo>
                  <a:pt x="3932301" y="561973"/>
                </a:lnTo>
                <a:lnTo>
                  <a:pt x="3929554" y="557833"/>
                </a:lnTo>
                <a:cubicBezTo>
                  <a:pt x="3929554" y="557833"/>
                  <a:pt x="3929554" y="557724"/>
                  <a:pt x="3929828" y="559140"/>
                </a:cubicBezTo>
                <a:lnTo>
                  <a:pt x="3926532" y="566659"/>
                </a:lnTo>
                <a:lnTo>
                  <a:pt x="3928730" y="567749"/>
                </a:lnTo>
                <a:lnTo>
                  <a:pt x="3925708" y="568730"/>
                </a:lnTo>
                <a:lnTo>
                  <a:pt x="3924060" y="573088"/>
                </a:lnTo>
                <a:cubicBezTo>
                  <a:pt x="3921588" y="577665"/>
                  <a:pt x="3919115" y="581262"/>
                  <a:pt x="3916918" y="581589"/>
                </a:cubicBezTo>
                <a:cubicBezTo>
                  <a:pt x="3916369" y="580281"/>
                  <a:pt x="3915819" y="578864"/>
                  <a:pt x="3916643" y="576903"/>
                </a:cubicBezTo>
                <a:cubicBezTo>
                  <a:pt x="3917467" y="574941"/>
                  <a:pt x="3918017" y="576249"/>
                  <a:pt x="3917467" y="574941"/>
                </a:cubicBezTo>
                <a:cubicBezTo>
                  <a:pt x="3918291" y="572980"/>
                  <a:pt x="3916918" y="573634"/>
                  <a:pt x="3916918" y="573634"/>
                </a:cubicBezTo>
                <a:cubicBezTo>
                  <a:pt x="3916918" y="573634"/>
                  <a:pt x="3918017" y="572980"/>
                  <a:pt x="3918017" y="572980"/>
                </a:cubicBezTo>
                <a:cubicBezTo>
                  <a:pt x="3918017" y="572980"/>
                  <a:pt x="3918291" y="572980"/>
                  <a:pt x="3918291" y="572435"/>
                </a:cubicBezTo>
                <a:lnTo>
                  <a:pt x="3919115" y="570909"/>
                </a:lnTo>
                <a:lnTo>
                  <a:pt x="3912797" y="572544"/>
                </a:lnTo>
                <a:cubicBezTo>
                  <a:pt x="3908677" y="568948"/>
                  <a:pt x="3901260" y="572217"/>
                  <a:pt x="3896041" y="566878"/>
                </a:cubicBezTo>
                <a:cubicBezTo>
                  <a:pt x="3899062" y="562955"/>
                  <a:pt x="3906205" y="561865"/>
                  <a:pt x="3913072" y="562518"/>
                </a:cubicBezTo>
                <a:lnTo>
                  <a:pt x="3920214" y="563935"/>
                </a:lnTo>
                <a:lnTo>
                  <a:pt x="3920488" y="563281"/>
                </a:lnTo>
                <a:cubicBezTo>
                  <a:pt x="3920488" y="561865"/>
                  <a:pt x="3920488" y="560666"/>
                  <a:pt x="3920488" y="559032"/>
                </a:cubicBezTo>
                <a:cubicBezTo>
                  <a:pt x="3922137" y="554999"/>
                  <a:pt x="3923511" y="554345"/>
                  <a:pt x="3926257" y="549659"/>
                </a:cubicBezTo>
                <a:cubicBezTo>
                  <a:pt x="3929554" y="549768"/>
                  <a:pt x="3929554" y="549768"/>
                  <a:pt x="3930103" y="551076"/>
                </a:cubicBezTo>
                <a:cubicBezTo>
                  <a:pt x="3929554" y="549768"/>
                  <a:pt x="3930927" y="549223"/>
                  <a:pt x="3931476" y="547153"/>
                </a:cubicBezTo>
                <a:cubicBezTo>
                  <a:pt x="3932301" y="542904"/>
                  <a:pt x="3934498" y="540506"/>
                  <a:pt x="3937795" y="539525"/>
                </a:cubicBezTo>
                <a:lnTo>
                  <a:pt x="3938070" y="539525"/>
                </a:lnTo>
                <a:lnTo>
                  <a:pt x="3940541" y="536474"/>
                </a:lnTo>
                <a:cubicBezTo>
                  <a:pt x="3944387" y="533423"/>
                  <a:pt x="3949263" y="531597"/>
                  <a:pt x="3954826" y="531815"/>
                </a:cubicBezTo>
                <a:close/>
                <a:moveTo>
                  <a:pt x="3290614" y="531461"/>
                </a:moveTo>
                <a:cubicBezTo>
                  <a:pt x="3299129" y="542467"/>
                  <a:pt x="3285394" y="559140"/>
                  <a:pt x="3274956" y="567313"/>
                </a:cubicBezTo>
                <a:cubicBezTo>
                  <a:pt x="3270561" y="551621"/>
                  <a:pt x="3280450" y="541487"/>
                  <a:pt x="3290614" y="531461"/>
                </a:cubicBezTo>
                <a:close/>
                <a:moveTo>
                  <a:pt x="4142442" y="531134"/>
                </a:moveTo>
                <a:cubicBezTo>
                  <a:pt x="4143541" y="531461"/>
                  <a:pt x="4144915" y="532442"/>
                  <a:pt x="4146288" y="534076"/>
                </a:cubicBezTo>
                <a:cubicBezTo>
                  <a:pt x="4147661" y="534185"/>
                  <a:pt x="4149035" y="540179"/>
                  <a:pt x="4147387" y="541487"/>
                </a:cubicBezTo>
                <a:cubicBezTo>
                  <a:pt x="4146837" y="542467"/>
                  <a:pt x="4146013" y="543012"/>
                  <a:pt x="4145189" y="543230"/>
                </a:cubicBezTo>
                <a:cubicBezTo>
                  <a:pt x="4142442" y="543884"/>
                  <a:pt x="4138872" y="541596"/>
                  <a:pt x="4134751" y="539961"/>
                </a:cubicBezTo>
                <a:cubicBezTo>
                  <a:pt x="4136124" y="538653"/>
                  <a:pt x="4135026" y="537019"/>
                  <a:pt x="4133652" y="535384"/>
                </a:cubicBezTo>
                <a:cubicBezTo>
                  <a:pt x="4135850" y="533423"/>
                  <a:pt x="4138597" y="529936"/>
                  <a:pt x="4142442" y="531134"/>
                </a:cubicBezTo>
                <a:close/>
                <a:moveTo>
                  <a:pt x="2215183" y="530481"/>
                </a:moveTo>
                <a:cubicBezTo>
                  <a:pt x="2221501" y="533531"/>
                  <a:pt x="2225346" y="540615"/>
                  <a:pt x="2228918" y="545736"/>
                </a:cubicBezTo>
                <a:cubicBezTo>
                  <a:pt x="2222600" y="545954"/>
                  <a:pt x="2219028" y="540833"/>
                  <a:pt x="2209414" y="547698"/>
                </a:cubicBezTo>
                <a:cubicBezTo>
                  <a:pt x="2209689" y="541160"/>
                  <a:pt x="2211337" y="535166"/>
                  <a:pt x="2215183" y="530481"/>
                </a:cubicBezTo>
                <a:close/>
                <a:moveTo>
                  <a:pt x="2037456" y="530481"/>
                </a:moveTo>
                <a:cubicBezTo>
                  <a:pt x="2040752" y="530807"/>
                  <a:pt x="2043773" y="531243"/>
                  <a:pt x="2047070" y="531679"/>
                </a:cubicBezTo>
                <a:cubicBezTo>
                  <a:pt x="2052014" y="534294"/>
                  <a:pt x="2057233" y="537019"/>
                  <a:pt x="2055585" y="542140"/>
                </a:cubicBezTo>
                <a:cubicBezTo>
                  <a:pt x="2049267" y="541377"/>
                  <a:pt x="2044872" y="541487"/>
                  <a:pt x="2038829" y="540723"/>
                </a:cubicBezTo>
                <a:cubicBezTo>
                  <a:pt x="2038005" y="540288"/>
                  <a:pt x="2036357" y="538980"/>
                  <a:pt x="2035258" y="537454"/>
                </a:cubicBezTo>
                <a:cubicBezTo>
                  <a:pt x="2034159" y="535929"/>
                  <a:pt x="2033335" y="534404"/>
                  <a:pt x="2033884" y="533423"/>
                </a:cubicBezTo>
                <a:cubicBezTo>
                  <a:pt x="2034708" y="531570"/>
                  <a:pt x="2036082" y="530916"/>
                  <a:pt x="2037456" y="530481"/>
                </a:cubicBezTo>
                <a:close/>
                <a:moveTo>
                  <a:pt x="1059542" y="530371"/>
                </a:moveTo>
                <a:cubicBezTo>
                  <a:pt x="1063113" y="532224"/>
                  <a:pt x="1068332" y="539961"/>
                  <a:pt x="1065860" y="547262"/>
                </a:cubicBezTo>
                <a:cubicBezTo>
                  <a:pt x="1063937" y="548352"/>
                  <a:pt x="1062014" y="548897"/>
                  <a:pt x="1060366" y="549006"/>
                </a:cubicBezTo>
                <a:cubicBezTo>
                  <a:pt x="1058718" y="549114"/>
                  <a:pt x="1057344" y="548788"/>
                  <a:pt x="1056245" y="547916"/>
                </a:cubicBezTo>
                <a:cubicBezTo>
                  <a:pt x="1054048" y="546390"/>
                  <a:pt x="1052675" y="543121"/>
                  <a:pt x="1051850" y="538544"/>
                </a:cubicBezTo>
                <a:cubicBezTo>
                  <a:pt x="1054597" y="536474"/>
                  <a:pt x="1055971" y="533750"/>
                  <a:pt x="1059542" y="530371"/>
                </a:cubicBezTo>
                <a:close/>
                <a:moveTo>
                  <a:pt x="5178317" y="530153"/>
                </a:moveTo>
                <a:lnTo>
                  <a:pt x="5174745" y="530916"/>
                </a:lnTo>
                <a:cubicBezTo>
                  <a:pt x="5168702" y="533095"/>
                  <a:pt x="5162934" y="536255"/>
                  <a:pt x="5157989" y="539634"/>
                </a:cubicBezTo>
                <a:cubicBezTo>
                  <a:pt x="5157989" y="539634"/>
                  <a:pt x="5157989" y="539743"/>
                  <a:pt x="5155243" y="541051"/>
                </a:cubicBezTo>
                <a:cubicBezTo>
                  <a:pt x="5155243" y="541051"/>
                  <a:pt x="5155243" y="541051"/>
                  <a:pt x="5153594" y="539634"/>
                </a:cubicBezTo>
                <a:lnTo>
                  <a:pt x="5148375" y="539634"/>
                </a:lnTo>
                <a:lnTo>
                  <a:pt x="5147001" y="541051"/>
                </a:lnTo>
                <a:lnTo>
                  <a:pt x="5143431" y="541813"/>
                </a:lnTo>
                <a:lnTo>
                  <a:pt x="5143156" y="543557"/>
                </a:lnTo>
                <a:cubicBezTo>
                  <a:pt x="5140683" y="544756"/>
                  <a:pt x="5137112" y="545845"/>
                  <a:pt x="5134915" y="546499"/>
                </a:cubicBezTo>
                <a:cubicBezTo>
                  <a:pt x="5133542" y="546499"/>
                  <a:pt x="5133542" y="547807"/>
                  <a:pt x="5133542" y="547807"/>
                </a:cubicBezTo>
                <a:cubicBezTo>
                  <a:pt x="5134366" y="549877"/>
                  <a:pt x="5136013" y="550641"/>
                  <a:pt x="5138761" y="550422"/>
                </a:cubicBezTo>
                <a:cubicBezTo>
                  <a:pt x="5141233" y="550313"/>
                  <a:pt x="5144529" y="549223"/>
                  <a:pt x="5148100" y="547807"/>
                </a:cubicBezTo>
                <a:cubicBezTo>
                  <a:pt x="5153869" y="546499"/>
                  <a:pt x="5159363" y="542467"/>
                  <a:pt x="5163758" y="541051"/>
                </a:cubicBezTo>
                <a:lnTo>
                  <a:pt x="5176394" y="541705"/>
                </a:lnTo>
                <a:lnTo>
                  <a:pt x="5176669" y="538544"/>
                </a:lnTo>
                <a:close/>
                <a:moveTo>
                  <a:pt x="4573988" y="529500"/>
                </a:moveTo>
                <a:cubicBezTo>
                  <a:pt x="4583602" y="532006"/>
                  <a:pt x="4589371" y="554127"/>
                  <a:pt x="4586349" y="559794"/>
                </a:cubicBezTo>
                <a:cubicBezTo>
                  <a:pt x="4581130" y="557179"/>
                  <a:pt x="4581130" y="551076"/>
                  <a:pt x="4575636" y="547044"/>
                </a:cubicBezTo>
                <a:cubicBezTo>
                  <a:pt x="4577284" y="541922"/>
                  <a:pt x="4571241" y="536474"/>
                  <a:pt x="4573988" y="529500"/>
                </a:cubicBezTo>
                <a:close/>
                <a:moveTo>
                  <a:pt x="3183483" y="529282"/>
                </a:moveTo>
                <a:cubicBezTo>
                  <a:pt x="3183757" y="530590"/>
                  <a:pt x="3184307" y="533423"/>
                  <a:pt x="3187603" y="533859"/>
                </a:cubicBezTo>
                <a:cubicBezTo>
                  <a:pt x="3185955" y="536692"/>
                  <a:pt x="3184581" y="539525"/>
                  <a:pt x="3182384" y="539961"/>
                </a:cubicBezTo>
                <a:cubicBezTo>
                  <a:pt x="3181559" y="540179"/>
                  <a:pt x="3181010" y="540070"/>
                  <a:pt x="3180186" y="539634"/>
                </a:cubicBezTo>
                <a:cubicBezTo>
                  <a:pt x="3178264" y="538762"/>
                  <a:pt x="3176615" y="537782"/>
                  <a:pt x="3176065" y="535058"/>
                </a:cubicBezTo>
                <a:cubicBezTo>
                  <a:pt x="3177989" y="531243"/>
                  <a:pt x="3182384" y="531134"/>
                  <a:pt x="3183483" y="529282"/>
                </a:cubicBezTo>
                <a:close/>
                <a:moveTo>
                  <a:pt x="4952861" y="528328"/>
                </a:moveTo>
                <a:cubicBezTo>
                  <a:pt x="4956638" y="529799"/>
                  <a:pt x="4959659" y="533096"/>
                  <a:pt x="4959385" y="538217"/>
                </a:cubicBezTo>
                <a:cubicBezTo>
                  <a:pt x="4957187" y="542031"/>
                  <a:pt x="4954715" y="545845"/>
                  <a:pt x="4947848" y="545736"/>
                </a:cubicBezTo>
                <a:cubicBezTo>
                  <a:pt x="4942903" y="541922"/>
                  <a:pt x="4941255" y="537563"/>
                  <a:pt x="4941804" y="529391"/>
                </a:cubicBezTo>
                <a:cubicBezTo>
                  <a:pt x="4944551" y="527211"/>
                  <a:pt x="4949084" y="526857"/>
                  <a:pt x="4952861" y="528328"/>
                </a:cubicBezTo>
                <a:close/>
                <a:moveTo>
                  <a:pt x="5034926" y="527211"/>
                </a:moveTo>
                <a:cubicBezTo>
                  <a:pt x="5042617" y="525249"/>
                  <a:pt x="5043167" y="535711"/>
                  <a:pt x="5039871" y="538762"/>
                </a:cubicBezTo>
                <a:cubicBezTo>
                  <a:pt x="5039321" y="539307"/>
                  <a:pt x="5038497" y="539525"/>
                  <a:pt x="5037947" y="539525"/>
                </a:cubicBezTo>
                <a:cubicBezTo>
                  <a:pt x="5037123" y="539525"/>
                  <a:pt x="5036300" y="539307"/>
                  <a:pt x="5035201" y="538653"/>
                </a:cubicBezTo>
                <a:cubicBezTo>
                  <a:pt x="5034377" y="535384"/>
                  <a:pt x="5034652" y="531243"/>
                  <a:pt x="5034926" y="527211"/>
                </a:cubicBezTo>
                <a:close/>
                <a:moveTo>
                  <a:pt x="1681176" y="526339"/>
                </a:moveTo>
                <a:cubicBezTo>
                  <a:pt x="1682550" y="526230"/>
                  <a:pt x="1683924" y="526448"/>
                  <a:pt x="1684747" y="527320"/>
                </a:cubicBezTo>
                <a:cubicBezTo>
                  <a:pt x="1687494" y="529063"/>
                  <a:pt x="1683099" y="532878"/>
                  <a:pt x="1683099" y="534404"/>
                </a:cubicBezTo>
                <a:cubicBezTo>
                  <a:pt x="1682275" y="535058"/>
                  <a:pt x="1681725" y="535602"/>
                  <a:pt x="1680902" y="535929"/>
                </a:cubicBezTo>
                <a:cubicBezTo>
                  <a:pt x="1680077" y="536147"/>
                  <a:pt x="1679529" y="536147"/>
                  <a:pt x="1678704" y="535384"/>
                </a:cubicBezTo>
                <a:cubicBezTo>
                  <a:pt x="1677331" y="533750"/>
                  <a:pt x="1675957" y="533531"/>
                  <a:pt x="1677331" y="530807"/>
                </a:cubicBezTo>
                <a:cubicBezTo>
                  <a:pt x="1677331" y="529282"/>
                  <a:pt x="1678979" y="527974"/>
                  <a:pt x="1678979" y="526557"/>
                </a:cubicBezTo>
                <a:cubicBezTo>
                  <a:pt x="1678979" y="526557"/>
                  <a:pt x="1680077" y="526339"/>
                  <a:pt x="1681176" y="526339"/>
                </a:cubicBezTo>
                <a:close/>
                <a:moveTo>
                  <a:pt x="2098163" y="525577"/>
                </a:moveTo>
                <a:cubicBezTo>
                  <a:pt x="2108327" y="530481"/>
                  <a:pt x="2101734" y="540615"/>
                  <a:pt x="2095966" y="540397"/>
                </a:cubicBezTo>
                <a:cubicBezTo>
                  <a:pt x="2089922" y="535602"/>
                  <a:pt x="2092394" y="526775"/>
                  <a:pt x="2098163" y="525577"/>
                </a:cubicBezTo>
                <a:close/>
                <a:moveTo>
                  <a:pt x="4544046" y="524814"/>
                </a:moveTo>
                <a:cubicBezTo>
                  <a:pt x="4544870" y="525359"/>
                  <a:pt x="4545695" y="526667"/>
                  <a:pt x="4547068" y="527538"/>
                </a:cubicBezTo>
                <a:lnTo>
                  <a:pt x="4542947" y="531243"/>
                </a:lnTo>
                <a:cubicBezTo>
                  <a:pt x="4541300" y="529608"/>
                  <a:pt x="4539925" y="526557"/>
                  <a:pt x="4541574" y="525359"/>
                </a:cubicBezTo>
                <a:cubicBezTo>
                  <a:pt x="4542398" y="523942"/>
                  <a:pt x="4542947" y="524160"/>
                  <a:pt x="4544046" y="524814"/>
                </a:cubicBezTo>
                <a:close/>
                <a:moveTo>
                  <a:pt x="4605028" y="524595"/>
                </a:moveTo>
                <a:cubicBezTo>
                  <a:pt x="4608050" y="526557"/>
                  <a:pt x="4610522" y="530153"/>
                  <a:pt x="4611622" y="535820"/>
                </a:cubicBezTo>
                <a:cubicBezTo>
                  <a:pt x="4609973" y="541268"/>
                  <a:pt x="4602831" y="545736"/>
                  <a:pt x="4597337" y="545954"/>
                </a:cubicBezTo>
                <a:cubicBezTo>
                  <a:pt x="4595689" y="546064"/>
                  <a:pt x="4594040" y="545736"/>
                  <a:pt x="4592942" y="544756"/>
                </a:cubicBezTo>
                <a:cubicBezTo>
                  <a:pt x="4584427" y="527865"/>
                  <a:pt x="4596238" y="518602"/>
                  <a:pt x="4605028" y="524595"/>
                </a:cubicBezTo>
                <a:close/>
                <a:moveTo>
                  <a:pt x="1898734" y="523942"/>
                </a:moveTo>
                <a:cubicBezTo>
                  <a:pt x="1899009" y="525359"/>
                  <a:pt x="1900383" y="524814"/>
                  <a:pt x="1900932" y="526230"/>
                </a:cubicBezTo>
                <a:cubicBezTo>
                  <a:pt x="1903130" y="528518"/>
                  <a:pt x="1903130" y="528628"/>
                  <a:pt x="1902031" y="530590"/>
                </a:cubicBezTo>
                <a:cubicBezTo>
                  <a:pt x="1900932" y="532551"/>
                  <a:pt x="1896262" y="532551"/>
                  <a:pt x="1895164" y="534513"/>
                </a:cubicBezTo>
                <a:cubicBezTo>
                  <a:pt x="1895164" y="534513"/>
                  <a:pt x="1895164" y="534513"/>
                  <a:pt x="1892966" y="532224"/>
                </a:cubicBezTo>
                <a:cubicBezTo>
                  <a:pt x="1892691" y="530807"/>
                  <a:pt x="1892416" y="529391"/>
                  <a:pt x="1893240" y="527429"/>
                </a:cubicBezTo>
                <a:cubicBezTo>
                  <a:pt x="1894339" y="525468"/>
                  <a:pt x="1897361" y="524378"/>
                  <a:pt x="1898734" y="523942"/>
                </a:cubicBezTo>
                <a:close/>
                <a:moveTo>
                  <a:pt x="2790119" y="523398"/>
                </a:moveTo>
                <a:cubicBezTo>
                  <a:pt x="2792866" y="525032"/>
                  <a:pt x="2795613" y="525359"/>
                  <a:pt x="2799734" y="527211"/>
                </a:cubicBezTo>
                <a:cubicBezTo>
                  <a:pt x="2798910" y="531570"/>
                  <a:pt x="2793141" y="539961"/>
                  <a:pt x="2785999" y="540833"/>
                </a:cubicBezTo>
                <a:cubicBezTo>
                  <a:pt x="2784350" y="539198"/>
                  <a:pt x="2783527" y="537673"/>
                  <a:pt x="2782977" y="536147"/>
                </a:cubicBezTo>
                <a:cubicBezTo>
                  <a:pt x="2781329" y="531570"/>
                  <a:pt x="2784350" y="527320"/>
                  <a:pt x="2790119" y="523398"/>
                </a:cubicBezTo>
                <a:close/>
                <a:moveTo>
                  <a:pt x="3457353" y="523179"/>
                </a:moveTo>
                <a:cubicBezTo>
                  <a:pt x="3459826" y="523724"/>
                  <a:pt x="3461748" y="524923"/>
                  <a:pt x="3463122" y="527211"/>
                </a:cubicBezTo>
                <a:cubicBezTo>
                  <a:pt x="3463122" y="533750"/>
                  <a:pt x="3457628" y="537673"/>
                  <a:pt x="3451859" y="538653"/>
                </a:cubicBezTo>
                <a:cubicBezTo>
                  <a:pt x="3449937" y="538980"/>
                  <a:pt x="3448013" y="538980"/>
                  <a:pt x="3446091" y="538653"/>
                </a:cubicBezTo>
                <a:cubicBezTo>
                  <a:pt x="3443619" y="538217"/>
                  <a:pt x="3441421" y="537346"/>
                  <a:pt x="3440048" y="535711"/>
                </a:cubicBezTo>
                <a:cubicBezTo>
                  <a:pt x="3440048" y="526884"/>
                  <a:pt x="3450211" y="521435"/>
                  <a:pt x="3457353" y="523179"/>
                </a:cubicBezTo>
                <a:close/>
                <a:moveTo>
                  <a:pt x="4527290" y="522416"/>
                </a:moveTo>
                <a:cubicBezTo>
                  <a:pt x="4531410" y="525794"/>
                  <a:pt x="4534157" y="530371"/>
                  <a:pt x="4530037" y="534185"/>
                </a:cubicBezTo>
                <a:cubicBezTo>
                  <a:pt x="4529212" y="534839"/>
                  <a:pt x="4528388" y="535384"/>
                  <a:pt x="4527839" y="535711"/>
                </a:cubicBezTo>
                <a:cubicBezTo>
                  <a:pt x="4527290" y="536038"/>
                  <a:pt x="4527015" y="536038"/>
                  <a:pt x="4527015" y="535275"/>
                </a:cubicBezTo>
                <a:cubicBezTo>
                  <a:pt x="4525642" y="535058"/>
                  <a:pt x="4525642" y="533750"/>
                  <a:pt x="4524268" y="532115"/>
                </a:cubicBezTo>
                <a:cubicBezTo>
                  <a:pt x="4522894" y="529063"/>
                  <a:pt x="4522894" y="524705"/>
                  <a:pt x="4524543" y="523506"/>
                </a:cubicBezTo>
                <a:cubicBezTo>
                  <a:pt x="4525917" y="522199"/>
                  <a:pt x="4527290" y="522416"/>
                  <a:pt x="4527290" y="522416"/>
                </a:cubicBezTo>
                <a:close/>
                <a:moveTo>
                  <a:pt x="4894557" y="521980"/>
                </a:moveTo>
                <a:cubicBezTo>
                  <a:pt x="4896205" y="521654"/>
                  <a:pt x="4897853" y="521871"/>
                  <a:pt x="4899776" y="522525"/>
                </a:cubicBezTo>
                <a:cubicBezTo>
                  <a:pt x="4896480" y="534185"/>
                  <a:pt x="4897853" y="543121"/>
                  <a:pt x="4897304" y="554127"/>
                </a:cubicBezTo>
                <a:cubicBezTo>
                  <a:pt x="4895930" y="554564"/>
                  <a:pt x="4894557" y="554564"/>
                  <a:pt x="4892634" y="554019"/>
                </a:cubicBezTo>
                <a:cubicBezTo>
                  <a:pt x="4890986" y="553582"/>
                  <a:pt x="4888789" y="552602"/>
                  <a:pt x="4886041" y="550967"/>
                </a:cubicBezTo>
                <a:cubicBezTo>
                  <a:pt x="4894008" y="539634"/>
                  <a:pt x="4877526" y="537891"/>
                  <a:pt x="4883020" y="528628"/>
                </a:cubicBezTo>
                <a:cubicBezTo>
                  <a:pt x="4886590" y="526448"/>
                  <a:pt x="4889887" y="522634"/>
                  <a:pt x="4894557" y="521980"/>
                </a:cubicBezTo>
                <a:close/>
                <a:moveTo>
                  <a:pt x="1314150" y="521027"/>
                </a:moveTo>
                <a:cubicBezTo>
                  <a:pt x="1317961" y="522498"/>
                  <a:pt x="1321051" y="525794"/>
                  <a:pt x="1320777" y="530916"/>
                </a:cubicBezTo>
                <a:cubicBezTo>
                  <a:pt x="1318304" y="534730"/>
                  <a:pt x="1316107" y="538436"/>
                  <a:pt x="1309240" y="538436"/>
                </a:cubicBezTo>
                <a:cubicBezTo>
                  <a:pt x="1304295" y="534621"/>
                  <a:pt x="1302647" y="530262"/>
                  <a:pt x="1303196" y="522090"/>
                </a:cubicBezTo>
                <a:cubicBezTo>
                  <a:pt x="1305806" y="519910"/>
                  <a:pt x="1310338" y="519556"/>
                  <a:pt x="1314150" y="521027"/>
                </a:cubicBezTo>
                <a:close/>
                <a:moveTo>
                  <a:pt x="3116458" y="520455"/>
                </a:moveTo>
                <a:cubicBezTo>
                  <a:pt x="3120577" y="519365"/>
                  <a:pt x="3126895" y="521871"/>
                  <a:pt x="3127719" y="526122"/>
                </a:cubicBezTo>
                <a:cubicBezTo>
                  <a:pt x="3125796" y="531025"/>
                  <a:pt x="3122775" y="530481"/>
                  <a:pt x="3121950" y="533640"/>
                </a:cubicBezTo>
                <a:cubicBezTo>
                  <a:pt x="3118929" y="532332"/>
                  <a:pt x="3117006" y="530698"/>
                  <a:pt x="3116458" y="528518"/>
                </a:cubicBezTo>
                <a:cubicBezTo>
                  <a:pt x="3115633" y="526339"/>
                  <a:pt x="3115633" y="523724"/>
                  <a:pt x="3116458" y="520455"/>
                </a:cubicBezTo>
                <a:close/>
                <a:moveTo>
                  <a:pt x="1520206" y="519801"/>
                </a:moveTo>
                <a:cubicBezTo>
                  <a:pt x="1517733" y="525794"/>
                  <a:pt x="1511964" y="527102"/>
                  <a:pt x="1508393" y="533750"/>
                </a:cubicBezTo>
                <a:cubicBezTo>
                  <a:pt x="1503449" y="532986"/>
                  <a:pt x="1498230" y="540288"/>
                  <a:pt x="1491362" y="538871"/>
                </a:cubicBezTo>
                <a:cubicBezTo>
                  <a:pt x="1493560" y="528301"/>
                  <a:pt x="1514711" y="517839"/>
                  <a:pt x="1520206" y="519801"/>
                </a:cubicBezTo>
                <a:close/>
                <a:moveTo>
                  <a:pt x="1396318" y="519692"/>
                </a:moveTo>
                <a:cubicBezTo>
                  <a:pt x="1404009" y="517839"/>
                  <a:pt x="1404559" y="528410"/>
                  <a:pt x="1401263" y="531461"/>
                </a:cubicBezTo>
                <a:cubicBezTo>
                  <a:pt x="1400713" y="531897"/>
                  <a:pt x="1399889" y="532224"/>
                  <a:pt x="1399064" y="532224"/>
                </a:cubicBezTo>
                <a:cubicBezTo>
                  <a:pt x="1398515" y="532224"/>
                  <a:pt x="1397416" y="531897"/>
                  <a:pt x="1396593" y="531243"/>
                </a:cubicBezTo>
                <a:cubicBezTo>
                  <a:pt x="1395769" y="527974"/>
                  <a:pt x="1396043" y="523833"/>
                  <a:pt x="1396318" y="519692"/>
                </a:cubicBezTo>
                <a:close/>
                <a:moveTo>
                  <a:pt x="1467739" y="519365"/>
                </a:moveTo>
                <a:cubicBezTo>
                  <a:pt x="1481198" y="516205"/>
                  <a:pt x="1491088" y="535275"/>
                  <a:pt x="1494110" y="548243"/>
                </a:cubicBezTo>
                <a:cubicBezTo>
                  <a:pt x="1478177" y="545954"/>
                  <a:pt x="1472958" y="532660"/>
                  <a:pt x="1467739" y="519365"/>
                </a:cubicBezTo>
                <a:close/>
                <a:moveTo>
                  <a:pt x="3710073" y="513045"/>
                </a:moveTo>
                <a:cubicBezTo>
                  <a:pt x="3713094" y="515007"/>
                  <a:pt x="3711171" y="519147"/>
                  <a:pt x="3710897" y="522090"/>
                </a:cubicBezTo>
                <a:cubicBezTo>
                  <a:pt x="3713643" y="523942"/>
                  <a:pt x="3707875" y="527320"/>
                  <a:pt x="3710622" y="529282"/>
                </a:cubicBezTo>
                <a:cubicBezTo>
                  <a:pt x="3704304" y="534076"/>
                  <a:pt x="3711171" y="542576"/>
                  <a:pt x="3703205" y="551512"/>
                </a:cubicBezTo>
                <a:cubicBezTo>
                  <a:pt x="3702381" y="547807"/>
                  <a:pt x="3702106" y="544320"/>
                  <a:pt x="3702381" y="541160"/>
                </a:cubicBezTo>
                <a:cubicBezTo>
                  <a:pt x="3702656" y="531787"/>
                  <a:pt x="3705678" y="524814"/>
                  <a:pt x="3704029" y="517948"/>
                </a:cubicBezTo>
                <a:cubicBezTo>
                  <a:pt x="3704029" y="517948"/>
                  <a:pt x="3704029" y="517948"/>
                  <a:pt x="3707051" y="515442"/>
                </a:cubicBezTo>
                <a:cubicBezTo>
                  <a:pt x="3707325" y="514025"/>
                  <a:pt x="3707325" y="514025"/>
                  <a:pt x="3707325" y="514025"/>
                </a:cubicBezTo>
                <a:cubicBezTo>
                  <a:pt x="3707325" y="512609"/>
                  <a:pt x="3710073" y="513045"/>
                  <a:pt x="3710073" y="513045"/>
                </a:cubicBezTo>
                <a:close/>
                <a:moveTo>
                  <a:pt x="4328960" y="512390"/>
                </a:moveTo>
                <a:cubicBezTo>
                  <a:pt x="4338025" y="517839"/>
                  <a:pt x="4343519" y="524269"/>
                  <a:pt x="4345717" y="531243"/>
                </a:cubicBezTo>
                <a:lnTo>
                  <a:pt x="4345717" y="535602"/>
                </a:lnTo>
                <a:lnTo>
                  <a:pt x="4351211" y="528846"/>
                </a:lnTo>
                <a:cubicBezTo>
                  <a:pt x="4353133" y="527756"/>
                  <a:pt x="4355330" y="527102"/>
                  <a:pt x="4357529" y="527102"/>
                </a:cubicBezTo>
                <a:cubicBezTo>
                  <a:pt x="4360824" y="527102"/>
                  <a:pt x="4364121" y="528192"/>
                  <a:pt x="4367692" y="530916"/>
                </a:cubicBezTo>
                <a:cubicBezTo>
                  <a:pt x="4369615" y="533968"/>
                  <a:pt x="4368516" y="539198"/>
                  <a:pt x="4366044" y="543666"/>
                </a:cubicBezTo>
                <a:lnTo>
                  <a:pt x="4367418" y="543230"/>
                </a:lnTo>
                <a:cubicBezTo>
                  <a:pt x="4367143" y="544211"/>
                  <a:pt x="4366593" y="544320"/>
                  <a:pt x="4366318" y="544211"/>
                </a:cubicBezTo>
                <a:lnTo>
                  <a:pt x="4365494" y="544211"/>
                </a:lnTo>
                <a:lnTo>
                  <a:pt x="4361099" y="549551"/>
                </a:lnTo>
                <a:cubicBezTo>
                  <a:pt x="4359451" y="551185"/>
                  <a:pt x="4357254" y="552166"/>
                  <a:pt x="4355605" y="552275"/>
                </a:cubicBezTo>
                <a:lnTo>
                  <a:pt x="4345717" y="546390"/>
                </a:lnTo>
                <a:lnTo>
                  <a:pt x="4345717" y="553256"/>
                </a:lnTo>
                <a:cubicBezTo>
                  <a:pt x="4341322" y="568512"/>
                  <a:pt x="4330059" y="583877"/>
                  <a:pt x="4320994" y="595973"/>
                </a:cubicBezTo>
                <a:lnTo>
                  <a:pt x="4311105" y="608178"/>
                </a:lnTo>
                <a:lnTo>
                  <a:pt x="4319346" y="614389"/>
                </a:lnTo>
                <a:cubicBezTo>
                  <a:pt x="4320994" y="616460"/>
                  <a:pt x="4321268" y="618312"/>
                  <a:pt x="4320719" y="619839"/>
                </a:cubicBezTo>
                <a:cubicBezTo>
                  <a:pt x="4319621" y="624415"/>
                  <a:pt x="4312479" y="627140"/>
                  <a:pt x="4307534" y="626377"/>
                </a:cubicBezTo>
                <a:cubicBezTo>
                  <a:pt x="4305885" y="626050"/>
                  <a:pt x="4304512" y="625505"/>
                  <a:pt x="4303414" y="624415"/>
                </a:cubicBezTo>
                <a:cubicBezTo>
                  <a:pt x="4302315" y="623108"/>
                  <a:pt x="4302040" y="621037"/>
                  <a:pt x="4303139" y="618312"/>
                </a:cubicBezTo>
                <a:lnTo>
                  <a:pt x="4306435" y="613953"/>
                </a:lnTo>
                <a:cubicBezTo>
                  <a:pt x="4301216" y="619184"/>
                  <a:pt x="4295722" y="622998"/>
                  <a:pt x="4290228" y="624197"/>
                </a:cubicBezTo>
                <a:cubicBezTo>
                  <a:pt x="4286657" y="624959"/>
                  <a:pt x="4282811" y="624415"/>
                  <a:pt x="4279240" y="622454"/>
                </a:cubicBezTo>
                <a:cubicBezTo>
                  <a:pt x="4268252" y="617114"/>
                  <a:pt x="4261934" y="606652"/>
                  <a:pt x="4260561" y="594447"/>
                </a:cubicBezTo>
                <a:lnTo>
                  <a:pt x="4261934" y="577011"/>
                </a:lnTo>
                <a:lnTo>
                  <a:pt x="4260286" y="578319"/>
                </a:lnTo>
                <a:cubicBezTo>
                  <a:pt x="4257539" y="579300"/>
                  <a:pt x="4255067" y="579518"/>
                  <a:pt x="4252595" y="579409"/>
                </a:cubicBezTo>
                <a:cubicBezTo>
                  <a:pt x="4247925" y="579192"/>
                  <a:pt x="4244079" y="577665"/>
                  <a:pt x="4242706" y="578210"/>
                </a:cubicBezTo>
                <a:cubicBezTo>
                  <a:pt x="4238586" y="573307"/>
                  <a:pt x="4238586" y="573307"/>
                  <a:pt x="4245727" y="565461"/>
                </a:cubicBezTo>
                <a:cubicBezTo>
                  <a:pt x="4247101" y="564153"/>
                  <a:pt x="4249024" y="563390"/>
                  <a:pt x="4250947" y="563063"/>
                </a:cubicBezTo>
                <a:cubicBezTo>
                  <a:pt x="4252870" y="562736"/>
                  <a:pt x="4255067" y="562955"/>
                  <a:pt x="4256990" y="563935"/>
                </a:cubicBezTo>
                <a:cubicBezTo>
                  <a:pt x="4260012" y="562845"/>
                  <a:pt x="4264132" y="563281"/>
                  <a:pt x="4266879" y="565134"/>
                </a:cubicBezTo>
                <a:lnTo>
                  <a:pt x="4266879" y="565570"/>
                </a:lnTo>
                <a:lnTo>
                  <a:pt x="4271549" y="556416"/>
                </a:lnTo>
                <a:cubicBezTo>
                  <a:pt x="4291602" y="528083"/>
                  <a:pt x="4313852" y="517513"/>
                  <a:pt x="4323741" y="513917"/>
                </a:cubicBezTo>
                <a:cubicBezTo>
                  <a:pt x="4327037" y="512826"/>
                  <a:pt x="4328960" y="512390"/>
                  <a:pt x="4328960" y="512390"/>
                </a:cubicBezTo>
                <a:close/>
                <a:moveTo>
                  <a:pt x="4551189" y="512281"/>
                </a:moveTo>
                <a:cubicBezTo>
                  <a:pt x="4553111" y="512390"/>
                  <a:pt x="4556133" y="513154"/>
                  <a:pt x="4558880" y="515660"/>
                </a:cubicBezTo>
                <a:cubicBezTo>
                  <a:pt x="4560253" y="517294"/>
                  <a:pt x="4563000" y="522090"/>
                  <a:pt x="4561626" y="521980"/>
                </a:cubicBezTo>
                <a:cubicBezTo>
                  <a:pt x="4559978" y="523179"/>
                  <a:pt x="4561352" y="523398"/>
                  <a:pt x="4561352" y="524923"/>
                </a:cubicBezTo>
                <a:cubicBezTo>
                  <a:pt x="4559154" y="526884"/>
                  <a:pt x="4556957" y="528083"/>
                  <a:pt x="4555034" y="528410"/>
                </a:cubicBezTo>
                <a:cubicBezTo>
                  <a:pt x="4552837" y="528628"/>
                  <a:pt x="4550639" y="528083"/>
                  <a:pt x="4548716" y="526339"/>
                </a:cubicBezTo>
                <a:cubicBezTo>
                  <a:pt x="4545970" y="522961"/>
                  <a:pt x="4541849" y="518057"/>
                  <a:pt x="4544870" y="513917"/>
                </a:cubicBezTo>
                <a:cubicBezTo>
                  <a:pt x="4546244" y="514134"/>
                  <a:pt x="4546244" y="512718"/>
                  <a:pt x="4547617" y="512826"/>
                </a:cubicBezTo>
                <a:cubicBezTo>
                  <a:pt x="4547617" y="512826"/>
                  <a:pt x="4548991" y="512281"/>
                  <a:pt x="4551189" y="512281"/>
                </a:cubicBezTo>
                <a:close/>
                <a:moveTo>
                  <a:pt x="2602228" y="512064"/>
                </a:moveTo>
                <a:cubicBezTo>
                  <a:pt x="2605525" y="513808"/>
                  <a:pt x="2606348" y="516641"/>
                  <a:pt x="2605249" y="518493"/>
                </a:cubicBezTo>
                <a:cubicBezTo>
                  <a:pt x="2599206" y="534404"/>
                  <a:pt x="2585472" y="533314"/>
                  <a:pt x="2582999" y="535711"/>
                </a:cubicBezTo>
                <a:cubicBezTo>
                  <a:pt x="2580527" y="534404"/>
                  <a:pt x="2579153" y="533750"/>
                  <a:pt x="2579153" y="532115"/>
                </a:cubicBezTo>
                <a:cubicBezTo>
                  <a:pt x="2579153" y="530371"/>
                  <a:pt x="2580253" y="527756"/>
                  <a:pt x="2582725" y="522416"/>
                </a:cubicBezTo>
                <a:cubicBezTo>
                  <a:pt x="2583549" y="520455"/>
                  <a:pt x="2584923" y="518820"/>
                  <a:pt x="2586845" y="517622"/>
                </a:cubicBezTo>
                <a:cubicBezTo>
                  <a:pt x="2588493" y="516423"/>
                  <a:pt x="2590416" y="515660"/>
                  <a:pt x="2592614" y="515551"/>
                </a:cubicBezTo>
                <a:cubicBezTo>
                  <a:pt x="2595086" y="513263"/>
                  <a:pt x="2599206" y="511737"/>
                  <a:pt x="2602228" y="512064"/>
                </a:cubicBezTo>
                <a:close/>
                <a:moveTo>
                  <a:pt x="4380328" y="511301"/>
                </a:moveTo>
                <a:cubicBezTo>
                  <a:pt x="4381427" y="511519"/>
                  <a:pt x="4380328" y="511410"/>
                  <a:pt x="4382800" y="513263"/>
                </a:cubicBezTo>
                <a:cubicBezTo>
                  <a:pt x="4381976" y="514025"/>
                  <a:pt x="4381701" y="513917"/>
                  <a:pt x="4381427" y="513480"/>
                </a:cubicBezTo>
                <a:cubicBezTo>
                  <a:pt x="4381152" y="513045"/>
                  <a:pt x="4380877" y="512173"/>
                  <a:pt x="4380328" y="511301"/>
                </a:cubicBezTo>
                <a:close/>
                <a:moveTo>
                  <a:pt x="5068988" y="510756"/>
                </a:moveTo>
                <a:cubicBezTo>
                  <a:pt x="5070361" y="510539"/>
                  <a:pt x="5071735" y="510756"/>
                  <a:pt x="5073384" y="511628"/>
                </a:cubicBezTo>
                <a:cubicBezTo>
                  <a:pt x="5074757" y="511192"/>
                  <a:pt x="5077503" y="516205"/>
                  <a:pt x="5076405" y="518057"/>
                </a:cubicBezTo>
                <a:cubicBezTo>
                  <a:pt x="5075031" y="523288"/>
                  <a:pt x="5070087" y="521980"/>
                  <a:pt x="5064318" y="522634"/>
                </a:cubicBezTo>
                <a:cubicBezTo>
                  <a:pt x="5065417" y="520672"/>
                  <a:pt x="5063494" y="519801"/>
                  <a:pt x="5061846" y="518820"/>
                </a:cubicBezTo>
                <a:cubicBezTo>
                  <a:pt x="5063494" y="516096"/>
                  <a:pt x="5065142" y="511410"/>
                  <a:pt x="5068988" y="510756"/>
                </a:cubicBezTo>
                <a:close/>
                <a:moveTo>
                  <a:pt x="3550440" y="509053"/>
                </a:moveTo>
                <a:cubicBezTo>
                  <a:pt x="3553290" y="509966"/>
                  <a:pt x="3554732" y="513481"/>
                  <a:pt x="3551024" y="521435"/>
                </a:cubicBezTo>
                <a:cubicBezTo>
                  <a:pt x="3540311" y="519365"/>
                  <a:pt x="3539212" y="515224"/>
                  <a:pt x="3541410" y="512281"/>
                </a:cubicBezTo>
                <a:cubicBezTo>
                  <a:pt x="3543332" y="509830"/>
                  <a:pt x="3547590" y="508141"/>
                  <a:pt x="3550440" y="509053"/>
                </a:cubicBezTo>
                <a:close/>
                <a:moveTo>
                  <a:pt x="2505536" y="508250"/>
                </a:moveTo>
                <a:cubicBezTo>
                  <a:pt x="2508557" y="507269"/>
                  <a:pt x="2509931" y="507487"/>
                  <a:pt x="2511304" y="509122"/>
                </a:cubicBezTo>
                <a:cubicBezTo>
                  <a:pt x="2512677" y="509340"/>
                  <a:pt x="2512677" y="510865"/>
                  <a:pt x="2514051" y="512500"/>
                </a:cubicBezTo>
                <a:cubicBezTo>
                  <a:pt x="2514051" y="514025"/>
                  <a:pt x="2512403" y="515224"/>
                  <a:pt x="2512403" y="515224"/>
                </a:cubicBezTo>
                <a:cubicBezTo>
                  <a:pt x="2511029" y="516532"/>
                  <a:pt x="2511029" y="516423"/>
                  <a:pt x="2512128" y="518057"/>
                </a:cubicBezTo>
                <a:cubicBezTo>
                  <a:pt x="2512128" y="518057"/>
                  <a:pt x="2510755" y="517839"/>
                  <a:pt x="2510755" y="517839"/>
                </a:cubicBezTo>
                <a:cubicBezTo>
                  <a:pt x="2511029" y="516423"/>
                  <a:pt x="2510755" y="517839"/>
                  <a:pt x="2509382" y="519038"/>
                </a:cubicBezTo>
                <a:cubicBezTo>
                  <a:pt x="2506634" y="517186"/>
                  <a:pt x="2505261" y="516968"/>
                  <a:pt x="2503888" y="515224"/>
                </a:cubicBezTo>
                <a:cubicBezTo>
                  <a:pt x="2503063" y="514462"/>
                  <a:pt x="2502514" y="513263"/>
                  <a:pt x="2502239" y="512064"/>
                </a:cubicBezTo>
                <a:cubicBezTo>
                  <a:pt x="2501964" y="510974"/>
                  <a:pt x="2501964" y="509885"/>
                  <a:pt x="2502788" y="509231"/>
                </a:cubicBezTo>
                <a:cubicBezTo>
                  <a:pt x="2504162" y="509449"/>
                  <a:pt x="2504162" y="508032"/>
                  <a:pt x="2505536" y="508250"/>
                </a:cubicBezTo>
                <a:close/>
                <a:moveTo>
                  <a:pt x="2646454" y="507378"/>
                </a:moveTo>
                <a:cubicBezTo>
                  <a:pt x="2653047" y="509557"/>
                  <a:pt x="2655245" y="514353"/>
                  <a:pt x="2654145" y="520346"/>
                </a:cubicBezTo>
                <a:cubicBezTo>
                  <a:pt x="2652772" y="521435"/>
                  <a:pt x="2651673" y="522199"/>
                  <a:pt x="2650300" y="522525"/>
                </a:cubicBezTo>
                <a:cubicBezTo>
                  <a:pt x="2648927" y="522852"/>
                  <a:pt x="2647553" y="522743"/>
                  <a:pt x="2646454" y="522525"/>
                </a:cubicBezTo>
                <a:cubicBezTo>
                  <a:pt x="2643982" y="521980"/>
                  <a:pt x="2641784" y="520346"/>
                  <a:pt x="2640686" y="518057"/>
                </a:cubicBezTo>
                <a:cubicBezTo>
                  <a:pt x="2639862" y="516641"/>
                  <a:pt x="2639587" y="514897"/>
                  <a:pt x="2639862" y="512935"/>
                </a:cubicBezTo>
                <a:cubicBezTo>
                  <a:pt x="2641509" y="511519"/>
                  <a:pt x="2643432" y="508686"/>
                  <a:pt x="2646454" y="507378"/>
                </a:cubicBezTo>
                <a:close/>
                <a:moveTo>
                  <a:pt x="4995095" y="505962"/>
                </a:moveTo>
                <a:cubicBezTo>
                  <a:pt x="4998117" y="506397"/>
                  <a:pt x="4995095" y="512064"/>
                  <a:pt x="4995370" y="513371"/>
                </a:cubicBezTo>
                <a:cubicBezTo>
                  <a:pt x="4994546" y="515333"/>
                  <a:pt x="4993447" y="517077"/>
                  <a:pt x="4991799" y="516205"/>
                </a:cubicBezTo>
                <a:cubicBezTo>
                  <a:pt x="4990700" y="515769"/>
                  <a:pt x="4990150" y="515769"/>
                  <a:pt x="4989601" y="515333"/>
                </a:cubicBezTo>
                <a:cubicBezTo>
                  <a:pt x="4989052" y="515007"/>
                  <a:pt x="4989052" y="514243"/>
                  <a:pt x="4989326" y="512609"/>
                </a:cubicBezTo>
                <a:cubicBezTo>
                  <a:pt x="4989052" y="511301"/>
                  <a:pt x="4989876" y="509340"/>
                  <a:pt x="4989601" y="507923"/>
                </a:cubicBezTo>
                <a:cubicBezTo>
                  <a:pt x="4989601" y="507923"/>
                  <a:pt x="4990425" y="507269"/>
                  <a:pt x="4991525" y="506615"/>
                </a:cubicBezTo>
                <a:cubicBezTo>
                  <a:pt x="4992623" y="505962"/>
                  <a:pt x="4993996" y="505526"/>
                  <a:pt x="4995095" y="505962"/>
                </a:cubicBezTo>
                <a:close/>
                <a:moveTo>
                  <a:pt x="2952464" y="504981"/>
                </a:moveTo>
                <a:cubicBezTo>
                  <a:pt x="2954112" y="505852"/>
                  <a:pt x="2954662" y="508577"/>
                  <a:pt x="2954387" y="513263"/>
                </a:cubicBezTo>
                <a:cubicBezTo>
                  <a:pt x="2953288" y="514462"/>
                  <a:pt x="2951365" y="514353"/>
                  <a:pt x="2949443" y="513917"/>
                </a:cubicBezTo>
                <a:cubicBezTo>
                  <a:pt x="2947519" y="513480"/>
                  <a:pt x="2945322" y="512826"/>
                  <a:pt x="2943949" y="512609"/>
                </a:cubicBezTo>
                <a:cubicBezTo>
                  <a:pt x="2944773" y="510756"/>
                  <a:pt x="2945871" y="508903"/>
                  <a:pt x="2944498" y="509340"/>
                </a:cubicBezTo>
                <a:cubicBezTo>
                  <a:pt x="2945597" y="507487"/>
                  <a:pt x="2946695" y="506288"/>
                  <a:pt x="2948069" y="505634"/>
                </a:cubicBezTo>
                <a:cubicBezTo>
                  <a:pt x="2949443" y="504981"/>
                  <a:pt x="2950816" y="504763"/>
                  <a:pt x="2952464" y="504981"/>
                </a:cubicBezTo>
                <a:close/>
                <a:moveTo>
                  <a:pt x="5602995" y="504327"/>
                </a:moveTo>
                <a:cubicBezTo>
                  <a:pt x="5613982" y="514462"/>
                  <a:pt x="5609862" y="516858"/>
                  <a:pt x="5605467" y="522199"/>
                </a:cubicBezTo>
                <a:cubicBezTo>
                  <a:pt x="5602445" y="520346"/>
                  <a:pt x="5598325" y="521217"/>
                  <a:pt x="5595578" y="517948"/>
                </a:cubicBezTo>
                <a:cubicBezTo>
                  <a:pt x="5595578" y="517948"/>
                  <a:pt x="5594205" y="516423"/>
                  <a:pt x="5594205" y="513480"/>
                </a:cubicBezTo>
                <a:cubicBezTo>
                  <a:pt x="5591458" y="508795"/>
                  <a:pt x="5595853" y="504872"/>
                  <a:pt x="5595853" y="504872"/>
                </a:cubicBezTo>
                <a:cubicBezTo>
                  <a:pt x="5595853" y="504872"/>
                  <a:pt x="5595853" y="504981"/>
                  <a:pt x="5594480" y="504763"/>
                </a:cubicBezTo>
                <a:cubicBezTo>
                  <a:pt x="5597226" y="505089"/>
                  <a:pt x="5599974" y="504000"/>
                  <a:pt x="5602995" y="504327"/>
                </a:cubicBezTo>
                <a:close/>
                <a:moveTo>
                  <a:pt x="5882909" y="503673"/>
                </a:moveTo>
                <a:cubicBezTo>
                  <a:pt x="5891150" y="514679"/>
                  <a:pt x="5877690" y="531352"/>
                  <a:pt x="5866977" y="539416"/>
                </a:cubicBezTo>
                <a:cubicBezTo>
                  <a:pt x="5862581" y="523724"/>
                  <a:pt x="5872745" y="513699"/>
                  <a:pt x="5882909" y="503673"/>
                </a:cubicBezTo>
                <a:close/>
                <a:moveTo>
                  <a:pt x="2906316" y="503564"/>
                </a:moveTo>
                <a:cubicBezTo>
                  <a:pt x="2909886" y="506942"/>
                  <a:pt x="2913732" y="501275"/>
                  <a:pt x="2915654" y="507487"/>
                </a:cubicBezTo>
                <a:cubicBezTo>
                  <a:pt x="2915105" y="510539"/>
                  <a:pt x="2913183" y="513263"/>
                  <a:pt x="2908513" y="515878"/>
                </a:cubicBezTo>
                <a:cubicBezTo>
                  <a:pt x="2906865" y="515007"/>
                  <a:pt x="2905766" y="514025"/>
                  <a:pt x="2904941" y="513045"/>
                </a:cubicBezTo>
                <a:cubicBezTo>
                  <a:pt x="2903019" y="510102"/>
                  <a:pt x="2904668" y="506833"/>
                  <a:pt x="2906316" y="503564"/>
                </a:cubicBezTo>
                <a:close/>
                <a:moveTo>
                  <a:pt x="1430380" y="503346"/>
                </a:moveTo>
                <a:cubicBezTo>
                  <a:pt x="1431478" y="503128"/>
                  <a:pt x="1433127" y="503455"/>
                  <a:pt x="1434775" y="504327"/>
                </a:cubicBezTo>
                <a:cubicBezTo>
                  <a:pt x="1436148" y="503782"/>
                  <a:pt x="1438896" y="508903"/>
                  <a:pt x="1437796" y="510756"/>
                </a:cubicBezTo>
                <a:cubicBezTo>
                  <a:pt x="1436148" y="515878"/>
                  <a:pt x="1431478" y="514570"/>
                  <a:pt x="1425710" y="515115"/>
                </a:cubicBezTo>
                <a:cubicBezTo>
                  <a:pt x="1426534" y="513263"/>
                  <a:pt x="1424886" y="512390"/>
                  <a:pt x="1423238" y="511519"/>
                </a:cubicBezTo>
                <a:cubicBezTo>
                  <a:pt x="1424612" y="508686"/>
                  <a:pt x="1426534" y="504000"/>
                  <a:pt x="1430380" y="503346"/>
                </a:cubicBezTo>
                <a:close/>
                <a:moveTo>
                  <a:pt x="1938016" y="503019"/>
                </a:moveTo>
                <a:cubicBezTo>
                  <a:pt x="1940763" y="503455"/>
                  <a:pt x="1943785" y="504763"/>
                  <a:pt x="1946806" y="507705"/>
                </a:cubicBezTo>
                <a:cubicBezTo>
                  <a:pt x="1953948" y="514462"/>
                  <a:pt x="1959442" y="523833"/>
                  <a:pt x="1949004" y="534294"/>
                </a:cubicBezTo>
                <a:cubicBezTo>
                  <a:pt x="1947630" y="537019"/>
                  <a:pt x="1947630" y="535602"/>
                  <a:pt x="1946257" y="536909"/>
                </a:cubicBezTo>
                <a:cubicBezTo>
                  <a:pt x="1944609" y="538217"/>
                  <a:pt x="1943235" y="540942"/>
                  <a:pt x="1943235" y="542359"/>
                </a:cubicBezTo>
                <a:cubicBezTo>
                  <a:pt x="1937466" y="537346"/>
                  <a:pt x="1934720" y="541268"/>
                  <a:pt x="1926204" y="532986"/>
                </a:cubicBezTo>
                <a:cubicBezTo>
                  <a:pt x="1914941" y="522852"/>
                  <a:pt x="1917963" y="513045"/>
                  <a:pt x="1922633" y="507705"/>
                </a:cubicBezTo>
                <a:cubicBezTo>
                  <a:pt x="1923457" y="508903"/>
                  <a:pt x="1929775" y="501711"/>
                  <a:pt x="1938016" y="503019"/>
                </a:cubicBezTo>
                <a:close/>
                <a:moveTo>
                  <a:pt x="2083329" y="502910"/>
                </a:moveTo>
                <a:cubicBezTo>
                  <a:pt x="2088548" y="502038"/>
                  <a:pt x="2096790" y="504218"/>
                  <a:pt x="2100635" y="506179"/>
                </a:cubicBezTo>
                <a:cubicBezTo>
                  <a:pt x="2099811" y="507269"/>
                  <a:pt x="2098163" y="507813"/>
                  <a:pt x="2096515" y="508032"/>
                </a:cubicBezTo>
                <a:cubicBezTo>
                  <a:pt x="2091296" y="508903"/>
                  <a:pt x="2083329" y="506833"/>
                  <a:pt x="2079484" y="504872"/>
                </a:cubicBezTo>
                <a:cubicBezTo>
                  <a:pt x="2080308" y="503782"/>
                  <a:pt x="2081681" y="503237"/>
                  <a:pt x="2083329" y="502910"/>
                </a:cubicBezTo>
                <a:close/>
                <a:moveTo>
                  <a:pt x="3327422" y="502474"/>
                </a:moveTo>
                <a:cubicBezTo>
                  <a:pt x="3327697" y="503891"/>
                  <a:pt x="3329071" y="503346"/>
                  <a:pt x="3329621" y="504763"/>
                </a:cubicBezTo>
                <a:cubicBezTo>
                  <a:pt x="3331543" y="507051"/>
                  <a:pt x="3332092" y="508468"/>
                  <a:pt x="3330994" y="510320"/>
                </a:cubicBezTo>
                <a:cubicBezTo>
                  <a:pt x="3331268" y="511737"/>
                  <a:pt x="3329895" y="512281"/>
                  <a:pt x="3328796" y="514134"/>
                </a:cubicBezTo>
                <a:cubicBezTo>
                  <a:pt x="3327422" y="514679"/>
                  <a:pt x="3325775" y="513699"/>
                  <a:pt x="3325775" y="513699"/>
                </a:cubicBezTo>
                <a:cubicBezTo>
                  <a:pt x="3324127" y="512826"/>
                  <a:pt x="3324127" y="512826"/>
                  <a:pt x="3323027" y="514679"/>
                </a:cubicBezTo>
                <a:cubicBezTo>
                  <a:pt x="3323027" y="514679"/>
                  <a:pt x="3322753" y="513263"/>
                  <a:pt x="3322753" y="513263"/>
                </a:cubicBezTo>
                <a:cubicBezTo>
                  <a:pt x="3324127" y="512826"/>
                  <a:pt x="3322753" y="513263"/>
                  <a:pt x="3321105" y="512390"/>
                </a:cubicBezTo>
                <a:cubicBezTo>
                  <a:pt x="3321654" y="509122"/>
                  <a:pt x="3321379" y="507705"/>
                  <a:pt x="3322203" y="505852"/>
                </a:cubicBezTo>
                <a:cubicBezTo>
                  <a:pt x="3322753" y="504872"/>
                  <a:pt x="3323577" y="503891"/>
                  <a:pt x="3324401" y="503128"/>
                </a:cubicBezTo>
                <a:cubicBezTo>
                  <a:pt x="3325500" y="502365"/>
                  <a:pt x="3326598" y="502038"/>
                  <a:pt x="3327422" y="502474"/>
                </a:cubicBezTo>
                <a:close/>
                <a:moveTo>
                  <a:pt x="5775503" y="501494"/>
                </a:moveTo>
                <a:cubicBezTo>
                  <a:pt x="5776053" y="502910"/>
                  <a:pt x="5776602" y="505743"/>
                  <a:pt x="5779624" y="506071"/>
                </a:cubicBezTo>
                <a:cubicBezTo>
                  <a:pt x="5778250" y="508903"/>
                  <a:pt x="5776602" y="511737"/>
                  <a:pt x="5774679" y="512173"/>
                </a:cubicBezTo>
                <a:cubicBezTo>
                  <a:pt x="5773855" y="512390"/>
                  <a:pt x="5773031" y="512281"/>
                  <a:pt x="5772207" y="511846"/>
                </a:cubicBezTo>
                <a:cubicBezTo>
                  <a:pt x="5770559" y="510974"/>
                  <a:pt x="5768636" y="510102"/>
                  <a:pt x="5768087" y="507269"/>
                </a:cubicBezTo>
                <a:cubicBezTo>
                  <a:pt x="5770009" y="503455"/>
                  <a:pt x="5774679" y="503346"/>
                  <a:pt x="5775503" y="501494"/>
                </a:cubicBezTo>
                <a:close/>
                <a:moveTo>
                  <a:pt x="4363846" y="499314"/>
                </a:moveTo>
                <a:cubicBezTo>
                  <a:pt x="4365494" y="500186"/>
                  <a:pt x="4367692" y="502365"/>
                  <a:pt x="4365494" y="506071"/>
                </a:cubicBezTo>
                <a:cubicBezTo>
                  <a:pt x="4363846" y="511192"/>
                  <a:pt x="4359726" y="512718"/>
                  <a:pt x="4355330" y="512826"/>
                </a:cubicBezTo>
                <a:cubicBezTo>
                  <a:pt x="4352859" y="515224"/>
                  <a:pt x="4352035" y="518493"/>
                  <a:pt x="4348738" y="518057"/>
                </a:cubicBezTo>
                <a:cubicBezTo>
                  <a:pt x="4352309" y="513808"/>
                  <a:pt x="4353408" y="512064"/>
                  <a:pt x="4355880" y="509666"/>
                </a:cubicBezTo>
                <a:cubicBezTo>
                  <a:pt x="4355605" y="508358"/>
                  <a:pt x="4355056" y="506942"/>
                  <a:pt x="4356155" y="505089"/>
                </a:cubicBezTo>
                <a:cubicBezTo>
                  <a:pt x="4358352" y="501385"/>
                  <a:pt x="4361374" y="501711"/>
                  <a:pt x="4363846" y="499314"/>
                </a:cubicBezTo>
                <a:close/>
                <a:moveTo>
                  <a:pt x="1356212" y="498660"/>
                </a:moveTo>
                <a:cubicBezTo>
                  <a:pt x="1359509" y="498987"/>
                  <a:pt x="1356487" y="504654"/>
                  <a:pt x="1356762" y="506071"/>
                </a:cubicBezTo>
                <a:cubicBezTo>
                  <a:pt x="1355662" y="507923"/>
                  <a:pt x="1354839" y="509776"/>
                  <a:pt x="1353191" y="508903"/>
                </a:cubicBezTo>
                <a:cubicBezTo>
                  <a:pt x="1352093" y="508468"/>
                  <a:pt x="1351543" y="508358"/>
                  <a:pt x="1350993" y="507923"/>
                </a:cubicBezTo>
                <a:cubicBezTo>
                  <a:pt x="1350444" y="507487"/>
                  <a:pt x="1350444" y="506942"/>
                  <a:pt x="1350718" y="505308"/>
                </a:cubicBezTo>
                <a:cubicBezTo>
                  <a:pt x="1350169" y="503891"/>
                  <a:pt x="1351268" y="502038"/>
                  <a:pt x="1350993" y="500621"/>
                </a:cubicBezTo>
                <a:cubicBezTo>
                  <a:pt x="1350993" y="500621"/>
                  <a:pt x="1351818" y="499859"/>
                  <a:pt x="1352916" y="499314"/>
                </a:cubicBezTo>
                <a:cubicBezTo>
                  <a:pt x="1354015" y="498660"/>
                  <a:pt x="1355388" y="498225"/>
                  <a:pt x="1356212" y="498660"/>
                </a:cubicBezTo>
                <a:close/>
                <a:moveTo>
                  <a:pt x="4052299" y="498521"/>
                </a:moveTo>
                <a:cubicBezTo>
                  <a:pt x="4058712" y="497305"/>
                  <a:pt x="4062574" y="510157"/>
                  <a:pt x="4066901" y="516205"/>
                </a:cubicBezTo>
                <a:cubicBezTo>
                  <a:pt x="4063056" y="521980"/>
                  <a:pt x="4061407" y="523398"/>
                  <a:pt x="4055364" y="525903"/>
                </a:cubicBezTo>
                <a:cubicBezTo>
                  <a:pt x="4051793" y="523288"/>
                  <a:pt x="4049595" y="520019"/>
                  <a:pt x="4047947" y="516423"/>
                </a:cubicBezTo>
                <a:cubicBezTo>
                  <a:pt x="4046574" y="512935"/>
                  <a:pt x="4045749" y="509012"/>
                  <a:pt x="4044925" y="505198"/>
                </a:cubicBezTo>
                <a:cubicBezTo>
                  <a:pt x="4047741" y="500894"/>
                  <a:pt x="4050162" y="498926"/>
                  <a:pt x="4052299" y="498521"/>
                </a:cubicBezTo>
                <a:close/>
                <a:moveTo>
                  <a:pt x="2700020" y="497680"/>
                </a:moveTo>
                <a:cubicBezTo>
                  <a:pt x="2705788" y="502693"/>
                  <a:pt x="2702217" y="511301"/>
                  <a:pt x="2700844" y="516205"/>
                </a:cubicBezTo>
                <a:cubicBezTo>
                  <a:pt x="2695075" y="515333"/>
                  <a:pt x="2689032" y="514353"/>
                  <a:pt x="2686284" y="510865"/>
                </a:cubicBezTo>
                <a:cubicBezTo>
                  <a:pt x="2686559" y="506833"/>
                  <a:pt x="2687658" y="503346"/>
                  <a:pt x="2689856" y="501058"/>
                </a:cubicBezTo>
                <a:cubicBezTo>
                  <a:pt x="2692328" y="498660"/>
                  <a:pt x="2695624" y="497461"/>
                  <a:pt x="2700020" y="497680"/>
                </a:cubicBezTo>
                <a:close/>
                <a:moveTo>
                  <a:pt x="3130466" y="497135"/>
                </a:moveTo>
                <a:cubicBezTo>
                  <a:pt x="3132115" y="497461"/>
                  <a:pt x="3133489" y="498769"/>
                  <a:pt x="3134862" y="500404"/>
                </a:cubicBezTo>
                <a:cubicBezTo>
                  <a:pt x="3137608" y="503673"/>
                  <a:pt x="3136235" y="506288"/>
                  <a:pt x="3136235" y="506288"/>
                </a:cubicBezTo>
                <a:cubicBezTo>
                  <a:pt x="3134587" y="508250"/>
                  <a:pt x="3132664" y="509557"/>
                  <a:pt x="3130741" y="509885"/>
                </a:cubicBezTo>
                <a:cubicBezTo>
                  <a:pt x="3128819" y="510211"/>
                  <a:pt x="3126620" y="509557"/>
                  <a:pt x="3124423" y="507813"/>
                </a:cubicBezTo>
                <a:cubicBezTo>
                  <a:pt x="3123325" y="504763"/>
                  <a:pt x="3124698" y="502038"/>
                  <a:pt x="3126071" y="499314"/>
                </a:cubicBezTo>
                <a:cubicBezTo>
                  <a:pt x="3127719" y="497243"/>
                  <a:pt x="3129093" y="496808"/>
                  <a:pt x="3130466" y="497135"/>
                </a:cubicBezTo>
                <a:close/>
                <a:moveTo>
                  <a:pt x="1964386" y="496917"/>
                </a:moveTo>
                <a:cubicBezTo>
                  <a:pt x="1975374" y="507051"/>
                  <a:pt x="1970980" y="509449"/>
                  <a:pt x="1966584" y="514788"/>
                </a:cubicBezTo>
                <a:cubicBezTo>
                  <a:pt x="1963837" y="513045"/>
                  <a:pt x="1959717" y="513917"/>
                  <a:pt x="1956970" y="510647"/>
                </a:cubicBezTo>
                <a:cubicBezTo>
                  <a:pt x="1956970" y="510647"/>
                  <a:pt x="1955597" y="509012"/>
                  <a:pt x="1955597" y="506071"/>
                </a:cubicBezTo>
                <a:cubicBezTo>
                  <a:pt x="1952849" y="501385"/>
                  <a:pt x="1957244" y="497571"/>
                  <a:pt x="1957244" y="497571"/>
                </a:cubicBezTo>
                <a:cubicBezTo>
                  <a:pt x="1957244" y="497571"/>
                  <a:pt x="1957244" y="497461"/>
                  <a:pt x="1955871" y="497352"/>
                </a:cubicBezTo>
                <a:cubicBezTo>
                  <a:pt x="1958618" y="497680"/>
                  <a:pt x="1961365" y="496590"/>
                  <a:pt x="1964386" y="496917"/>
                </a:cubicBezTo>
                <a:close/>
                <a:moveTo>
                  <a:pt x="2244026" y="496263"/>
                </a:moveTo>
                <a:cubicBezTo>
                  <a:pt x="2252541" y="507269"/>
                  <a:pt x="2239082" y="523942"/>
                  <a:pt x="2228368" y="532115"/>
                </a:cubicBezTo>
                <a:cubicBezTo>
                  <a:pt x="2223973" y="516423"/>
                  <a:pt x="2234137" y="506288"/>
                  <a:pt x="2244026" y="496263"/>
                </a:cubicBezTo>
                <a:close/>
                <a:moveTo>
                  <a:pt x="2935982" y="495936"/>
                </a:moveTo>
                <a:cubicBezTo>
                  <a:pt x="2940103" y="494737"/>
                  <a:pt x="2943125" y="495391"/>
                  <a:pt x="2946695" y="498878"/>
                </a:cubicBezTo>
                <a:cubicBezTo>
                  <a:pt x="2945047" y="505417"/>
                  <a:pt x="2946146" y="503673"/>
                  <a:pt x="2941476" y="509557"/>
                </a:cubicBezTo>
                <a:cubicBezTo>
                  <a:pt x="2938180" y="507487"/>
                  <a:pt x="2934884" y="505417"/>
                  <a:pt x="2931587" y="503346"/>
                </a:cubicBezTo>
                <a:cubicBezTo>
                  <a:pt x="2934060" y="501058"/>
                  <a:pt x="2934884" y="497788"/>
                  <a:pt x="2935982" y="495936"/>
                </a:cubicBezTo>
                <a:close/>
                <a:moveTo>
                  <a:pt x="4427576" y="495391"/>
                </a:moveTo>
                <a:cubicBezTo>
                  <a:pt x="4430597" y="495718"/>
                  <a:pt x="4433619" y="496045"/>
                  <a:pt x="4436640" y="496481"/>
                </a:cubicBezTo>
                <a:cubicBezTo>
                  <a:pt x="4441859" y="499096"/>
                  <a:pt x="4447079" y="501820"/>
                  <a:pt x="4445431" y="506942"/>
                </a:cubicBezTo>
                <a:cubicBezTo>
                  <a:pt x="4439388" y="506179"/>
                  <a:pt x="4434718" y="506288"/>
                  <a:pt x="4428674" y="505526"/>
                </a:cubicBezTo>
                <a:cubicBezTo>
                  <a:pt x="4427576" y="505089"/>
                  <a:pt x="4426202" y="503782"/>
                  <a:pt x="4425103" y="502256"/>
                </a:cubicBezTo>
                <a:cubicBezTo>
                  <a:pt x="4424004" y="500730"/>
                  <a:pt x="4423181" y="499096"/>
                  <a:pt x="4423730" y="498225"/>
                </a:cubicBezTo>
                <a:cubicBezTo>
                  <a:pt x="4424828" y="496263"/>
                  <a:pt x="4426202" y="495827"/>
                  <a:pt x="4427576" y="495391"/>
                </a:cubicBezTo>
                <a:close/>
                <a:moveTo>
                  <a:pt x="4605303" y="495282"/>
                </a:moveTo>
                <a:cubicBezTo>
                  <a:pt x="4611347" y="498333"/>
                  <a:pt x="4615192" y="505417"/>
                  <a:pt x="4618763" y="510539"/>
                </a:cubicBezTo>
                <a:cubicBezTo>
                  <a:pt x="4612445" y="510756"/>
                  <a:pt x="4608874" y="505634"/>
                  <a:pt x="4598985" y="512500"/>
                </a:cubicBezTo>
                <a:cubicBezTo>
                  <a:pt x="4599534" y="505962"/>
                  <a:pt x="4601183" y="499968"/>
                  <a:pt x="4605303" y="495282"/>
                </a:cubicBezTo>
                <a:close/>
                <a:moveTo>
                  <a:pt x="3464770" y="494302"/>
                </a:moveTo>
                <a:cubicBezTo>
                  <a:pt x="3467242" y="499422"/>
                  <a:pt x="3462572" y="504218"/>
                  <a:pt x="3458177" y="504981"/>
                </a:cubicBezTo>
                <a:lnTo>
                  <a:pt x="3455156" y="504545"/>
                </a:lnTo>
                <a:lnTo>
                  <a:pt x="3455705" y="512064"/>
                </a:lnTo>
                <a:cubicBezTo>
                  <a:pt x="3453782" y="513154"/>
                  <a:pt x="3451859" y="513699"/>
                  <a:pt x="3450211" y="513808"/>
                </a:cubicBezTo>
                <a:lnTo>
                  <a:pt x="3447739" y="513154"/>
                </a:lnTo>
                <a:lnTo>
                  <a:pt x="3446091" y="515660"/>
                </a:lnTo>
                <a:cubicBezTo>
                  <a:pt x="3439498" y="512935"/>
                  <a:pt x="3438125" y="508795"/>
                  <a:pt x="3438949" y="502474"/>
                </a:cubicBezTo>
                <a:lnTo>
                  <a:pt x="3442245" y="502910"/>
                </a:lnTo>
                <a:lnTo>
                  <a:pt x="3449113" y="495173"/>
                </a:lnTo>
                <a:lnTo>
                  <a:pt x="3451859" y="498116"/>
                </a:lnTo>
                <a:cubicBezTo>
                  <a:pt x="3457628" y="495936"/>
                  <a:pt x="3461474" y="494410"/>
                  <a:pt x="3464770" y="494302"/>
                </a:cubicBezTo>
                <a:close/>
                <a:moveTo>
                  <a:pt x="2136895" y="494192"/>
                </a:moveTo>
                <a:cubicBezTo>
                  <a:pt x="2137169" y="495500"/>
                  <a:pt x="2137993" y="498225"/>
                  <a:pt x="2141016" y="498660"/>
                </a:cubicBezTo>
                <a:cubicBezTo>
                  <a:pt x="2139642" y="501494"/>
                  <a:pt x="2137993" y="504436"/>
                  <a:pt x="2135796" y="504872"/>
                </a:cubicBezTo>
                <a:cubicBezTo>
                  <a:pt x="2135247" y="505089"/>
                  <a:pt x="2134423" y="504872"/>
                  <a:pt x="2133599" y="504436"/>
                </a:cubicBezTo>
                <a:cubicBezTo>
                  <a:pt x="2131676" y="503564"/>
                  <a:pt x="2130028" y="502693"/>
                  <a:pt x="2129478" y="499968"/>
                </a:cubicBezTo>
                <a:cubicBezTo>
                  <a:pt x="2131401" y="496153"/>
                  <a:pt x="2135796" y="496045"/>
                  <a:pt x="2136895" y="494192"/>
                </a:cubicBezTo>
                <a:close/>
                <a:moveTo>
                  <a:pt x="3618050" y="491795"/>
                </a:moveTo>
                <a:cubicBezTo>
                  <a:pt x="3616676" y="511301"/>
                  <a:pt x="3613380" y="514897"/>
                  <a:pt x="3610083" y="550749"/>
                </a:cubicBezTo>
                <a:cubicBezTo>
                  <a:pt x="3607612" y="560775"/>
                  <a:pt x="3608436" y="567095"/>
                  <a:pt x="3605688" y="573852"/>
                </a:cubicBezTo>
                <a:cubicBezTo>
                  <a:pt x="3602118" y="574179"/>
                  <a:pt x="3598821" y="574505"/>
                  <a:pt x="3598821" y="574505"/>
                </a:cubicBezTo>
                <a:cubicBezTo>
                  <a:pt x="3598272" y="571346"/>
                  <a:pt x="3602118" y="574070"/>
                  <a:pt x="3601843" y="570909"/>
                </a:cubicBezTo>
                <a:cubicBezTo>
                  <a:pt x="3601843" y="570909"/>
                  <a:pt x="3597997" y="568076"/>
                  <a:pt x="3597722" y="564916"/>
                </a:cubicBezTo>
                <a:cubicBezTo>
                  <a:pt x="3609809" y="563826"/>
                  <a:pt x="3589481" y="508686"/>
                  <a:pt x="3607612" y="494955"/>
                </a:cubicBezTo>
                <a:cubicBezTo>
                  <a:pt x="3610358" y="492994"/>
                  <a:pt x="3613655" y="491795"/>
                  <a:pt x="3618050" y="491795"/>
                </a:cubicBezTo>
                <a:close/>
                <a:moveTo>
                  <a:pt x="4071296" y="491141"/>
                </a:moveTo>
                <a:cubicBezTo>
                  <a:pt x="4072395" y="491033"/>
                  <a:pt x="4073769" y="491250"/>
                  <a:pt x="4074593" y="492122"/>
                </a:cubicBezTo>
                <a:cubicBezTo>
                  <a:pt x="4077339" y="493865"/>
                  <a:pt x="4072944" y="497680"/>
                  <a:pt x="4072944" y="499205"/>
                </a:cubicBezTo>
                <a:cubicBezTo>
                  <a:pt x="4072120" y="499859"/>
                  <a:pt x="4071571" y="500513"/>
                  <a:pt x="4070747" y="500840"/>
                </a:cubicBezTo>
                <a:cubicBezTo>
                  <a:pt x="4069923" y="501058"/>
                  <a:pt x="4069374" y="500949"/>
                  <a:pt x="4068550" y="500186"/>
                </a:cubicBezTo>
                <a:cubicBezTo>
                  <a:pt x="4067176" y="498551"/>
                  <a:pt x="4065802" y="498333"/>
                  <a:pt x="4067450" y="495609"/>
                </a:cubicBezTo>
                <a:cubicBezTo>
                  <a:pt x="4067450" y="494083"/>
                  <a:pt x="4068824" y="492884"/>
                  <a:pt x="4068824" y="491468"/>
                </a:cubicBezTo>
                <a:cubicBezTo>
                  <a:pt x="4068824" y="491468"/>
                  <a:pt x="4069923" y="491141"/>
                  <a:pt x="4071296" y="491141"/>
                </a:cubicBezTo>
                <a:close/>
                <a:moveTo>
                  <a:pt x="4488009" y="490488"/>
                </a:moveTo>
                <a:cubicBezTo>
                  <a:pt x="4498172" y="495391"/>
                  <a:pt x="4491579" y="505526"/>
                  <a:pt x="4485811" y="505308"/>
                </a:cubicBezTo>
                <a:cubicBezTo>
                  <a:pt x="4479767" y="500513"/>
                  <a:pt x="4482240" y="491686"/>
                  <a:pt x="4488009" y="490488"/>
                </a:cubicBezTo>
                <a:close/>
                <a:moveTo>
                  <a:pt x="6042026" y="489057"/>
                </a:moveTo>
                <a:cubicBezTo>
                  <a:pt x="6044498" y="488989"/>
                  <a:pt x="6048275" y="490705"/>
                  <a:pt x="6055967" y="494192"/>
                </a:cubicBezTo>
                <a:cubicBezTo>
                  <a:pt x="6058439" y="495609"/>
                  <a:pt x="6060636" y="497788"/>
                  <a:pt x="6062285" y="500295"/>
                </a:cubicBezTo>
                <a:cubicBezTo>
                  <a:pt x="6063658" y="502801"/>
                  <a:pt x="6064482" y="505743"/>
                  <a:pt x="6064207" y="508903"/>
                </a:cubicBezTo>
                <a:cubicBezTo>
                  <a:pt x="6067229" y="512390"/>
                  <a:pt x="6068878" y="518276"/>
                  <a:pt x="6067779" y="522743"/>
                </a:cubicBezTo>
                <a:cubicBezTo>
                  <a:pt x="6066130" y="525140"/>
                  <a:pt x="6064482" y="526557"/>
                  <a:pt x="6062560" y="527211"/>
                </a:cubicBezTo>
                <a:cubicBezTo>
                  <a:pt x="6060911" y="527865"/>
                  <a:pt x="6059263" y="527647"/>
                  <a:pt x="6057890" y="526993"/>
                </a:cubicBezTo>
                <a:cubicBezTo>
                  <a:pt x="6052121" y="524595"/>
                  <a:pt x="6048000" y="521654"/>
                  <a:pt x="6045254" y="518384"/>
                </a:cubicBezTo>
                <a:lnTo>
                  <a:pt x="6040584" y="510430"/>
                </a:lnTo>
                <a:lnTo>
                  <a:pt x="6038111" y="510865"/>
                </a:lnTo>
                <a:cubicBezTo>
                  <a:pt x="6035640" y="510430"/>
                  <a:pt x="6033442" y="509449"/>
                  <a:pt x="6032068" y="507813"/>
                </a:cubicBezTo>
                <a:lnTo>
                  <a:pt x="6037287" y="499096"/>
                </a:lnTo>
                <a:lnTo>
                  <a:pt x="6035914" y="494628"/>
                </a:lnTo>
                <a:cubicBezTo>
                  <a:pt x="6038386" y="490978"/>
                  <a:pt x="6039554" y="489125"/>
                  <a:pt x="6042026" y="489057"/>
                </a:cubicBezTo>
                <a:close/>
                <a:moveTo>
                  <a:pt x="4288580" y="488744"/>
                </a:moveTo>
                <a:cubicBezTo>
                  <a:pt x="4288854" y="490160"/>
                  <a:pt x="4290228" y="489615"/>
                  <a:pt x="4290778" y="491141"/>
                </a:cubicBezTo>
                <a:cubicBezTo>
                  <a:pt x="4292975" y="493429"/>
                  <a:pt x="4292975" y="493429"/>
                  <a:pt x="4291877" y="495391"/>
                </a:cubicBezTo>
                <a:cubicBezTo>
                  <a:pt x="4290778" y="497352"/>
                  <a:pt x="4286108" y="497461"/>
                  <a:pt x="4285009" y="499422"/>
                </a:cubicBezTo>
                <a:cubicBezTo>
                  <a:pt x="4285009" y="499422"/>
                  <a:pt x="4285009" y="499314"/>
                  <a:pt x="4283086" y="497026"/>
                </a:cubicBezTo>
                <a:cubicBezTo>
                  <a:pt x="4282537" y="495609"/>
                  <a:pt x="4282262" y="494192"/>
                  <a:pt x="4283361" y="492230"/>
                </a:cubicBezTo>
                <a:cubicBezTo>
                  <a:pt x="4284459" y="490269"/>
                  <a:pt x="4287207" y="489180"/>
                  <a:pt x="4288580" y="488744"/>
                </a:cubicBezTo>
                <a:close/>
                <a:moveTo>
                  <a:pt x="1743807" y="488307"/>
                </a:moveTo>
                <a:cubicBezTo>
                  <a:pt x="1746279" y="489942"/>
                  <a:pt x="1749027" y="490160"/>
                  <a:pt x="1753146" y="492013"/>
                </a:cubicBezTo>
                <a:cubicBezTo>
                  <a:pt x="1752322" y="496372"/>
                  <a:pt x="1746553" y="504872"/>
                  <a:pt x="1739412" y="505743"/>
                </a:cubicBezTo>
                <a:cubicBezTo>
                  <a:pt x="1737764" y="504109"/>
                  <a:pt x="1736939" y="502474"/>
                  <a:pt x="1736390" y="500949"/>
                </a:cubicBezTo>
                <a:cubicBezTo>
                  <a:pt x="1735017" y="496372"/>
                  <a:pt x="1737764" y="492230"/>
                  <a:pt x="1743807" y="488307"/>
                </a:cubicBezTo>
                <a:close/>
                <a:moveTo>
                  <a:pt x="2449773" y="487872"/>
                </a:moveTo>
                <a:cubicBezTo>
                  <a:pt x="2451146" y="487109"/>
                  <a:pt x="2451695" y="488417"/>
                  <a:pt x="2453618" y="489180"/>
                </a:cubicBezTo>
                <a:cubicBezTo>
                  <a:pt x="2454168" y="490488"/>
                  <a:pt x="2453068" y="492558"/>
                  <a:pt x="2453068" y="492558"/>
                </a:cubicBezTo>
                <a:cubicBezTo>
                  <a:pt x="2452245" y="494519"/>
                  <a:pt x="2452245" y="494519"/>
                  <a:pt x="2454168" y="495173"/>
                </a:cubicBezTo>
                <a:cubicBezTo>
                  <a:pt x="2454168" y="495173"/>
                  <a:pt x="2452794" y="495827"/>
                  <a:pt x="2452794" y="495827"/>
                </a:cubicBezTo>
                <a:cubicBezTo>
                  <a:pt x="2452245" y="494519"/>
                  <a:pt x="2452794" y="495827"/>
                  <a:pt x="2451970" y="497788"/>
                </a:cubicBezTo>
                <a:cubicBezTo>
                  <a:pt x="2450597" y="497788"/>
                  <a:pt x="2449223" y="497897"/>
                  <a:pt x="2448398" y="498006"/>
                </a:cubicBezTo>
                <a:cubicBezTo>
                  <a:pt x="2447300" y="498116"/>
                  <a:pt x="2446476" y="498116"/>
                  <a:pt x="2445652" y="497788"/>
                </a:cubicBezTo>
                <a:cubicBezTo>
                  <a:pt x="2444828" y="497461"/>
                  <a:pt x="2443730" y="496698"/>
                  <a:pt x="2442905" y="495936"/>
                </a:cubicBezTo>
                <a:cubicBezTo>
                  <a:pt x="2442355" y="495064"/>
                  <a:pt x="2441806" y="494192"/>
                  <a:pt x="2442355" y="493212"/>
                </a:cubicBezTo>
                <a:cubicBezTo>
                  <a:pt x="2443455" y="492558"/>
                  <a:pt x="2443180" y="491250"/>
                  <a:pt x="2444553" y="490596"/>
                </a:cubicBezTo>
                <a:cubicBezTo>
                  <a:pt x="2446476" y="487872"/>
                  <a:pt x="2447849" y="487109"/>
                  <a:pt x="2449773" y="487872"/>
                </a:cubicBezTo>
                <a:close/>
                <a:moveTo>
                  <a:pt x="3703995" y="485815"/>
                </a:moveTo>
                <a:cubicBezTo>
                  <a:pt x="3707806" y="487300"/>
                  <a:pt x="3710897" y="490596"/>
                  <a:pt x="3710622" y="495718"/>
                </a:cubicBezTo>
                <a:cubicBezTo>
                  <a:pt x="3708149" y="499422"/>
                  <a:pt x="3705952" y="503237"/>
                  <a:pt x="3698810" y="503237"/>
                </a:cubicBezTo>
                <a:cubicBezTo>
                  <a:pt x="3694141" y="499422"/>
                  <a:pt x="3692492" y="494955"/>
                  <a:pt x="3693041" y="486782"/>
                </a:cubicBezTo>
                <a:cubicBezTo>
                  <a:pt x="3695651" y="484657"/>
                  <a:pt x="3700183" y="484330"/>
                  <a:pt x="3703995" y="485815"/>
                </a:cubicBezTo>
                <a:close/>
                <a:moveTo>
                  <a:pt x="2070144" y="485257"/>
                </a:moveTo>
                <a:cubicBezTo>
                  <a:pt x="2074265" y="484058"/>
                  <a:pt x="2080308" y="486673"/>
                  <a:pt x="2081132" y="490923"/>
                </a:cubicBezTo>
                <a:cubicBezTo>
                  <a:pt x="2079209" y="495827"/>
                  <a:pt x="2076187" y="495282"/>
                  <a:pt x="2075364" y="498442"/>
                </a:cubicBezTo>
                <a:cubicBezTo>
                  <a:pt x="2072341" y="497135"/>
                  <a:pt x="2070694" y="495391"/>
                  <a:pt x="2069870" y="493320"/>
                </a:cubicBezTo>
                <a:cubicBezTo>
                  <a:pt x="2069046" y="491141"/>
                  <a:pt x="2069320" y="488526"/>
                  <a:pt x="2070144" y="485257"/>
                </a:cubicBezTo>
                <a:close/>
                <a:moveTo>
                  <a:pt x="3786163" y="484603"/>
                </a:moveTo>
                <a:cubicBezTo>
                  <a:pt x="3793854" y="482750"/>
                  <a:pt x="3794404" y="493212"/>
                  <a:pt x="3791108" y="496263"/>
                </a:cubicBezTo>
                <a:cubicBezTo>
                  <a:pt x="3790558" y="496698"/>
                  <a:pt x="3789734" y="497026"/>
                  <a:pt x="3788910" y="497026"/>
                </a:cubicBezTo>
                <a:cubicBezTo>
                  <a:pt x="3788361" y="497026"/>
                  <a:pt x="3787262" y="496808"/>
                  <a:pt x="3786438" y="496153"/>
                </a:cubicBezTo>
                <a:cubicBezTo>
                  <a:pt x="3785614" y="492884"/>
                  <a:pt x="3785889" y="488744"/>
                  <a:pt x="3786163" y="484603"/>
                </a:cubicBezTo>
                <a:close/>
                <a:moveTo>
                  <a:pt x="5194524" y="484276"/>
                </a:moveTo>
                <a:cubicBezTo>
                  <a:pt x="5197820" y="486128"/>
                  <a:pt x="5198644" y="488852"/>
                  <a:pt x="5197546" y="490814"/>
                </a:cubicBezTo>
                <a:cubicBezTo>
                  <a:pt x="5191227" y="506615"/>
                  <a:pt x="5177493" y="505526"/>
                  <a:pt x="5175295" y="507923"/>
                </a:cubicBezTo>
                <a:cubicBezTo>
                  <a:pt x="5172548" y="506615"/>
                  <a:pt x="5171450" y="505962"/>
                  <a:pt x="5171450" y="504327"/>
                </a:cubicBezTo>
                <a:cubicBezTo>
                  <a:pt x="5171175" y="502693"/>
                  <a:pt x="5172273" y="499968"/>
                  <a:pt x="5174745" y="494628"/>
                </a:cubicBezTo>
                <a:cubicBezTo>
                  <a:pt x="5175845" y="492775"/>
                  <a:pt x="5177218" y="491033"/>
                  <a:pt x="5178866" y="489834"/>
                </a:cubicBezTo>
                <a:cubicBezTo>
                  <a:pt x="5180514" y="488635"/>
                  <a:pt x="5182712" y="487872"/>
                  <a:pt x="5184909" y="487872"/>
                </a:cubicBezTo>
                <a:cubicBezTo>
                  <a:pt x="5187107" y="485474"/>
                  <a:pt x="5191227" y="483949"/>
                  <a:pt x="5194524" y="484276"/>
                </a:cubicBezTo>
                <a:close/>
                <a:moveTo>
                  <a:pt x="5347803" y="480680"/>
                </a:moveTo>
                <a:cubicBezTo>
                  <a:pt x="5350001" y="480244"/>
                  <a:pt x="5355221" y="483186"/>
                  <a:pt x="5357692" y="484603"/>
                </a:cubicBezTo>
                <a:cubicBezTo>
                  <a:pt x="5359890" y="484167"/>
                  <a:pt x="5362362" y="485583"/>
                  <a:pt x="5362912" y="487436"/>
                </a:cubicBezTo>
                <a:cubicBezTo>
                  <a:pt x="5362912" y="487436"/>
                  <a:pt x="5365659" y="488961"/>
                  <a:pt x="5367582" y="488526"/>
                </a:cubicBezTo>
                <a:cubicBezTo>
                  <a:pt x="5372801" y="491359"/>
                  <a:pt x="5373350" y="493429"/>
                  <a:pt x="5373899" y="495391"/>
                </a:cubicBezTo>
                <a:cubicBezTo>
                  <a:pt x="5373899" y="495391"/>
                  <a:pt x="5371427" y="493865"/>
                  <a:pt x="5369229" y="494410"/>
                </a:cubicBezTo>
                <a:cubicBezTo>
                  <a:pt x="5369229" y="494410"/>
                  <a:pt x="5366483" y="492884"/>
                  <a:pt x="5364010" y="491468"/>
                </a:cubicBezTo>
                <a:cubicBezTo>
                  <a:pt x="5364010" y="491468"/>
                  <a:pt x="5361813" y="491904"/>
                  <a:pt x="5359890" y="492449"/>
                </a:cubicBezTo>
                <a:cubicBezTo>
                  <a:pt x="5352473" y="489942"/>
                  <a:pt x="5347803" y="488961"/>
                  <a:pt x="5347803" y="480680"/>
                </a:cubicBezTo>
                <a:close/>
                <a:moveTo>
                  <a:pt x="5097831" y="480353"/>
                </a:moveTo>
                <a:cubicBezTo>
                  <a:pt x="5100853" y="479372"/>
                  <a:pt x="5102226" y="479699"/>
                  <a:pt x="5103599" y="481333"/>
                </a:cubicBezTo>
                <a:cubicBezTo>
                  <a:pt x="5104973" y="481552"/>
                  <a:pt x="5104698" y="483077"/>
                  <a:pt x="5106072" y="484712"/>
                </a:cubicBezTo>
                <a:cubicBezTo>
                  <a:pt x="5106072" y="486237"/>
                  <a:pt x="5104423" y="487327"/>
                  <a:pt x="5104423" y="487327"/>
                </a:cubicBezTo>
                <a:cubicBezTo>
                  <a:pt x="5103050" y="488635"/>
                  <a:pt x="5103050" y="488635"/>
                  <a:pt x="5104423" y="490378"/>
                </a:cubicBezTo>
                <a:cubicBezTo>
                  <a:pt x="5104423" y="490378"/>
                  <a:pt x="5103050" y="490160"/>
                  <a:pt x="5103050" y="490160"/>
                </a:cubicBezTo>
                <a:cubicBezTo>
                  <a:pt x="5103050" y="488635"/>
                  <a:pt x="5103050" y="490051"/>
                  <a:pt x="5101402" y="491359"/>
                </a:cubicBezTo>
                <a:cubicBezTo>
                  <a:pt x="5098655" y="489397"/>
                  <a:pt x="5097282" y="489180"/>
                  <a:pt x="5095908" y="487436"/>
                </a:cubicBezTo>
                <a:cubicBezTo>
                  <a:pt x="5095359" y="486673"/>
                  <a:pt x="5094535" y="485366"/>
                  <a:pt x="5094260" y="484167"/>
                </a:cubicBezTo>
                <a:cubicBezTo>
                  <a:pt x="5093985" y="483077"/>
                  <a:pt x="5094260" y="481988"/>
                  <a:pt x="5094810" y="481333"/>
                </a:cubicBezTo>
                <a:cubicBezTo>
                  <a:pt x="5096458" y="481552"/>
                  <a:pt x="5096458" y="480135"/>
                  <a:pt x="5097831" y="480353"/>
                </a:cubicBezTo>
                <a:close/>
                <a:moveTo>
                  <a:pt x="5238475" y="479590"/>
                </a:moveTo>
                <a:cubicBezTo>
                  <a:pt x="5245342" y="481769"/>
                  <a:pt x="5247265" y="486565"/>
                  <a:pt x="5246166" y="492667"/>
                </a:cubicBezTo>
                <a:lnTo>
                  <a:pt x="5238475" y="494737"/>
                </a:lnTo>
                <a:lnTo>
                  <a:pt x="5239024" y="499096"/>
                </a:lnTo>
                <a:lnTo>
                  <a:pt x="5233256" y="524814"/>
                </a:lnTo>
                <a:lnTo>
                  <a:pt x="5234079" y="524595"/>
                </a:lnTo>
                <a:cubicBezTo>
                  <a:pt x="5234079" y="524595"/>
                  <a:pt x="5234079" y="524595"/>
                  <a:pt x="5235453" y="524595"/>
                </a:cubicBezTo>
                <a:cubicBezTo>
                  <a:pt x="5235453" y="527320"/>
                  <a:pt x="5236827" y="528737"/>
                  <a:pt x="5241222" y="530153"/>
                </a:cubicBezTo>
                <a:cubicBezTo>
                  <a:pt x="5241222" y="530153"/>
                  <a:pt x="5241222" y="530045"/>
                  <a:pt x="5241222" y="531461"/>
                </a:cubicBezTo>
                <a:cubicBezTo>
                  <a:pt x="5241222" y="531461"/>
                  <a:pt x="5241222" y="532878"/>
                  <a:pt x="5241222" y="532878"/>
                </a:cubicBezTo>
                <a:cubicBezTo>
                  <a:pt x="5241222" y="532878"/>
                  <a:pt x="5241222" y="532769"/>
                  <a:pt x="5242595" y="534185"/>
                </a:cubicBezTo>
                <a:cubicBezTo>
                  <a:pt x="5242595" y="534185"/>
                  <a:pt x="5241222" y="535602"/>
                  <a:pt x="5241222" y="535602"/>
                </a:cubicBezTo>
                <a:cubicBezTo>
                  <a:pt x="5245617" y="534185"/>
                  <a:pt x="5249737" y="533205"/>
                  <a:pt x="5254132" y="532660"/>
                </a:cubicBezTo>
                <a:lnTo>
                  <a:pt x="5256879" y="532660"/>
                </a:lnTo>
                <a:lnTo>
                  <a:pt x="5259352" y="522743"/>
                </a:lnTo>
                <a:cubicBezTo>
                  <a:pt x="5262648" y="510320"/>
                  <a:pt x="5265395" y="502148"/>
                  <a:pt x="5267592" y="503128"/>
                </a:cubicBezTo>
                <a:cubicBezTo>
                  <a:pt x="5267592" y="511192"/>
                  <a:pt x="5265395" y="519910"/>
                  <a:pt x="5263198" y="528518"/>
                </a:cubicBezTo>
                <a:lnTo>
                  <a:pt x="5262373" y="532769"/>
                </a:lnTo>
                <a:lnTo>
                  <a:pt x="5267043" y="532878"/>
                </a:lnTo>
                <a:cubicBezTo>
                  <a:pt x="5275559" y="532878"/>
                  <a:pt x="5282701" y="534185"/>
                  <a:pt x="5285723" y="536909"/>
                </a:cubicBezTo>
                <a:cubicBezTo>
                  <a:pt x="5288469" y="535493"/>
                  <a:pt x="5291491" y="534185"/>
                  <a:pt x="5294238" y="532878"/>
                </a:cubicBezTo>
                <a:cubicBezTo>
                  <a:pt x="5298633" y="528737"/>
                  <a:pt x="5305775" y="524595"/>
                  <a:pt x="5312917" y="520455"/>
                </a:cubicBezTo>
                <a:cubicBezTo>
                  <a:pt x="5321432" y="515007"/>
                  <a:pt x="5329948" y="510974"/>
                  <a:pt x="5340112" y="509557"/>
                </a:cubicBezTo>
                <a:cubicBezTo>
                  <a:pt x="5341485" y="509557"/>
                  <a:pt x="5344507" y="509557"/>
                  <a:pt x="5348627" y="508141"/>
                </a:cubicBezTo>
                <a:cubicBezTo>
                  <a:pt x="5345881" y="508141"/>
                  <a:pt x="5342859" y="508141"/>
                  <a:pt x="5340112" y="508141"/>
                </a:cubicBezTo>
                <a:cubicBezTo>
                  <a:pt x="5331596" y="508141"/>
                  <a:pt x="5322807" y="509557"/>
                  <a:pt x="5317038" y="509557"/>
                </a:cubicBezTo>
                <a:cubicBezTo>
                  <a:pt x="5318686" y="509557"/>
                  <a:pt x="5308522" y="513699"/>
                  <a:pt x="5307149" y="512281"/>
                </a:cubicBezTo>
                <a:cubicBezTo>
                  <a:pt x="5307149" y="513699"/>
                  <a:pt x="5308522" y="513699"/>
                  <a:pt x="5308522" y="515007"/>
                </a:cubicBezTo>
                <a:cubicBezTo>
                  <a:pt x="5310170" y="515007"/>
                  <a:pt x="5310170" y="515007"/>
                  <a:pt x="5311544" y="515007"/>
                </a:cubicBezTo>
                <a:cubicBezTo>
                  <a:pt x="5311544" y="515007"/>
                  <a:pt x="5311544" y="515007"/>
                  <a:pt x="5312917" y="515007"/>
                </a:cubicBezTo>
                <a:cubicBezTo>
                  <a:pt x="5312917" y="515007"/>
                  <a:pt x="5314291" y="516314"/>
                  <a:pt x="5314291" y="516314"/>
                </a:cubicBezTo>
                <a:cubicBezTo>
                  <a:pt x="5314291" y="517731"/>
                  <a:pt x="5312917" y="517731"/>
                  <a:pt x="5312917" y="517731"/>
                </a:cubicBezTo>
                <a:cubicBezTo>
                  <a:pt x="5312917" y="517731"/>
                  <a:pt x="5312917" y="517731"/>
                  <a:pt x="5311544" y="517731"/>
                </a:cubicBezTo>
                <a:cubicBezTo>
                  <a:pt x="5311544" y="517731"/>
                  <a:pt x="5311544" y="517731"/>
                  <a:pt x="5310170" y="517731"/>
                </a:cubicBezTo>
                <a:cubicBezTo>
                  <a:pt x="5310170" y="517731"/>
                  <a:pt x="5308522" y="517731"/>
                  <a:pt x="5307149" y="517731"/>
                </a:cubicBezTo>
                <a:cubicBezTo>
                  <a:pt x="5307149" y="517731"/>
                  <a:pt x="5307149" y="517731"/>
                  <a:pt x="5307149" y="519038"/>
                </a:cubicBezTo>
                <a:cubicBezTo>
                  <a:pt x="5303028" y="521871"/>
                  <a:pt x="5300006" y="521871"/>
                  <a:pt x="5294238" y="520455"/>
                </a:cubicBezTo>
                <a:cubicBezTo>
                  <a:pt x="5291491" y="519147"/>
                  <a:pt x="5291491" y="517731"/>
                  <a:pt x="5295612" y="516314"/>
                </a:cubicBezTo>
                <a:cubicBezTo>
                  <a:pt x="5292864" y="515007"/>
                  <a:pt x="5287096" y="513699"/>
                  <a:pt x="5281327" y="515007"/>
                </a:cubicBezTo>
                <a:cubicBezTo>
                  <a:pt x="5281327" y="513699"/>
                  <a:pt x="5282701" y="512281"/>
                  <a:pt x="5282701" y="510865"/>
                </a:cubicBezTo>
                <a:cubicBezTo>
                  <a:pt x="5281327" y="510865"/>
                  <a:pt x="5281327" y="510865"/>
                  <a:pt x="5278580" y="510865"/>
                </a:cubicBezTo>
                <a:cubicBezTo>
                  <a:pt x="5276932" y="512281"/>
                  <a:pt x="5274186" y="512281"/>
                  <a:pt x="5272811" y="510865"/>
                </a:cubicBezTo>
                <a:cubicBezTo>
                  <a:pt x="5271438" y="510865"/>
                  <a:pt x="5271438" y="510974"/>
                  <a:pt x="5271438" y="509557"/>
                </a:cubicBezTo>
                <a:cubicBezTo>
                  <a:pt x="5272811" y="509557"/>
                  <a:pt x="5272811" y="509557"/>
                  <a:pt x="5274186" y="509557"/>
                </a:cubicBezTo>
                <a:cubicBezTo>
                  <a:pt x="5275559" y="509557"/>
                  <a:pt x="5276932" y="509557"/>
                  <a:pt x="5278580" y="509557"/>
                </a:cubicBezTo>
                <a:cubicBezTo>
                  <a:pt x="5279954" y="508250"/>
                  <a:pt x="5282701" y="508141"/>
                  <a:pt x="5284349" y="508141"/>
                </a:cubicBezTo>
                <a:cubicBezTo>
                  <a:pt x="5279954" y="505417"/>
                  <a:pt x="5278580" y="499859"/>
                  <a:pt x="5284349" y="495827"/>
                </a:cubicBezTo>
                <a:cubicBezTo>
                  <a:pt x="5284349" y="494410"/>
                  <a:pt x="5284349" y="494410"/>
                  <a:pt x="5282701" y="493103"/>
                </a:cubicBezTo>
                <a:cubicBezTo>
                  <a:pt x="5281327" y="493103"/>
                  <a:pt x="5278580" y="493103"/>
                  <a:pt x="5274186" y="493103"/>
                </a:cubicBezTo>
                <a:cubicBezTo>
                  <a:pt x="5272811" y="493103"/>
                  <a:pt x="5269790" y="493103"/>
                  <a:pt x="5268417" y="493103"/>
                </a:cubicBezTo>
                <a:cubicBezTo>
                  <a:pt x="5267043" y="494410"/>
                  <a:pt x="5267043" y="494519"/>
                  <a:pt x="5267043" y="494519"/>
                </a:cubicBezTo>
                <a:cubicBezTo>
                  <a:pt x="5265670" y="494519"/>
                  <a:pt x="5265670" y="494519"/>
                  <a:pt x="5265670" y="494519"/>
                </a:cubicBezTo>
                <a:cubicBezTo>
                  <a:pt x="5265670" y="494519"/>
                  <a:pt x="5264022" y="494519"/>
                  <a:pt x="5264022" y="494519"/>
                </a:cubicBezTo>
                <a:cubicBezTo>
                  <a:pt x="5262648" y="494519"/>
                  <a:pt x="5262648" y="494410"/>
                  <a:pt x="5261274" y="495827"/>
                </a:cubicBezTo>
                <a:cubicBezTo>
                  <a:pt x="5261274" y="495827"/>
                  <a:pt x="5261274" y="495827"/>
                  <a:pt x="5259901" y="495827"/>
                </a:cubicBezTo>
                <a:cubicBezTo>
                  <a:pt x="5258528" y="495827"/>
                  <a:pt x="5258528" y="495827"/>
                  <a:pt x="5258528" y="494519"/>
                </a:cubicBezTo>
                <a:cubicBezTo>
                  <a:pt x="5259901" y="493103"/>
                  <a:pt x="5261274" y="493103"/>
                  <a:pt x="5262648" y="491795"/>
                </a:cubicBezTo>
                <a:cubicBezTo>
                  <a:pt x="5262648" y="491795"/>
                  <a:pt x="5262648" y="491795"/>
                  <a:pt x="5264022" y="491795"/>
                </a:cubicBezTo>
                <a:cubicBezTo>
                  <a:pt x="5264022" y="490378"/>
                  <a:pt x="5265670" y="488961"/>
                  <a:pt x="5265670" y="487654"/>
                </a:cubicBezTo>
                <a:cubicBezTo>
                  <a:pt x="5267043" y="487654"/>
                  <a:pt x="5267043" y="487545"/>
                  <a:pt x="5267043" y="486128"/>
                </a:cubicBezTo>
                <a:cubicBezTo>
                  <a:pt x="5268417" y="486128"/>
                  <a:pt x="5269790" y="484821"/>
                  <a:pt x="5271438" y="486128"/>
                </a:cubicBezTo>
                <a:cubicBezTo>
                  <a:pt x="5272811" y="486128"/>
                  <a:pt x="5272811" y="487654"/>
                  <a:pt x="5272811" y="489071"/>
                </a:cubicBezTo>
                <a:cubicBezTo>
                  <a:pt x="5271438" y="489071"/>
                  <a:pt x="5271438" y="488961"/>
                  <a:pt x="5271438" y="490378"/>
                </a:cubicBezTo>
                <a:cubicBezTo>
                  <a:pt x="5269790" y="490378"/>
                  <a:pt x="5270065" y="490378"/>
                  <a:pt x="5270065" y="491795"/>
                </a:cubicBezTo>
                <a:cubicBezTo>
                  <a:pt x="5271438" y="491795"/>
                  <a:pt x="5272811" y="491795"/>
                  <a:pt x="5274186" y="491795"/>
                </a:cubicBezTo>
                <a:cubicBezTo>
                  <a:pt x="5278580" y="490378"/>
                  <a:pt x="5282701" y="490378"/>
                  <a:pt x="5285723" y="491795"/>
                </a:cubicBezTo>
                <a:cubicBezTo>
                  <a:pt x="5287096" y="493103"/>
                  <a:pt x="5287096" y="494410"/>
                  <a:pt x="5287096" y="495827"/>
                </a:cubicBezTo>
                <a:cubicBezTo>
                  <a:pt x="5287096" y="495827"/>
                  <a:pt x="5287096" y="495827"/>
                  <a:pt x="5295612" y="495827"/>
                </a:cubicBezTo>
                <a:cubicBezTo>
                  <a:pt x="5294238" y="497135"/>
                  <a:pt x="5292864" y="497135"/>
                  <a:pt x="5289843" y="498551"/>
                </a:cubicBezTo>
                <a:cubicBezTo>
                  <a:pt x="5291491" y="499859"/>
                  <a:pt x="5292864" y="501275"/>
                  <a:pt x="5294238" y="501275"/>
                </a:cubicBezTo>
                <a:cubicBezTo>
                  <a:pt x="5298633" y="495827"/>
                  <a:pt x="5312917" y="497243"/>
                  <a:pt x="5311544" y="487654"/>
                </a:cubicBezTo>
                <a:cubicBezTo>
                  <a:pt x="5321432" y="488961"/>
                  <a:pt x="5325828" y="494410"/>
                  <a:pt x="5327201" y="498551"/>
                </a:cubicBezTo>
                <a:cubicBezTo>
                  <a:pt x="5335717" y="497135"/>
                  <a:pt x="5342859" y="497243"/>
                  <a:pt x="5353022" y="494519"/>
                </a:cubicBezTo>
                <a:cubicBezTo>
                  <a:pt x="5358791" y="495827"/>
                  <a:pt x="5357418" y="501275"/>
                  <a:pt x="5361538" y="505417"/>
                </a:cubicBezTo>
                <a:cubicBezTo>
                  <a:pt x="5361538" y="505417"/>
                  <a:pt x="5363186" y="505417"/>
                  <a:pt x="5365934" y="504000"/>
                </a:cubicBezTo>
                <a:cubicBezTo>
                  <a:pt x="5367307" y="504000"/>
                  <a:pt x="5370328" y="502693"/>
                  <a:pt x="5373075" y="502693"/>
                </a:cubicBezTo>
                <a:cubicBezTo>
                  <a:pt x="5374449" y="502693"/>
                  <a:pt x="5374449" y="504000"/>
                  <a:pt x="5374449" y="504000"/>
                </a:cubicBezTo>
                <a:cubicBezTo>
                  <a:pt x="5374449" y="505417"/>
                  <a:pt x="5373075" y="505417"/>
                  <a:pt x="5373075" y="505417"/>
                </a:cubicBezTo>
                <a:cubicBezTo>
                  <a:pt x="5371702" y="505417"/>
                  <a:pt x="5368955" y="506724"/>
                  <a:pt x="5367582" y="506724"/>
                </a:cubicBezTo>
                <a:cubicBezTo>
                  <a:pt x="5367582" y="506724"/>
                  <a:pt x="5365934" y="508141"/>
                  <a:pt x="5365934" y="508141"/>
                </a:cubicBezTo>
                <a:cubicBezTo>
                  <a:pt x="5370603" y="508141"/>
                  <a:pt x="5374998" y="510211"/>
                  <a:pt x="5378020" y="513045"/>
                </a:cubicBezTo>
                <a:cubicBezTo>
                  <a:pt x="5378844" y="513699"/>
                  <a:pt x="5379668" y="514243"/>
                  <a:pt x="5380217" y="515007"/>
                </a:cubicBezTo>
                <a:cubicBezTo>
                  <a:pt x="5382415" y="515007"/>
                  <a:pt x="5382140" y="513917"/>
                  <a:pt x="5381316" y="512390"/>
                </a:cubicBezTo>
                <a:lnTo>
                  <a:pt x="5381316" y="511846"/>
                </a:lnTo>
                <a:lnTo>
                  <a:pt x="5378020" y="513045"/>
                </a:lnTo>
                <a:cubicBezTo>
                  <a:pt x="5376646" y="511410"/>
                  <a:pt x="5375547" y="509885"/>
                  <a:pt x="5374998" y="508358"/>
                </a:cubicBezTo>
                <a:cubicBezTo>
                  <a:pt x="5373625" y="503782"/>
                  <a:pt x="5376371" y="499532"/>
                  <a:pt x="5382415" y="495609"/>
                </a:cubicBezTo>
                <a:cubicBezTo>
                  <a:pt x="5384887" y="497243"/>
                  <a:pt x="5387634" y="497571"/>
                  <a:pt x="5391754" y="499422"/>
                </a:cubicBezTo>
                <a:cubicBezTo>
                  <a:pt x="5391480" y="501603"/>
                  <a:pt x="5389832" y="504872"/>
                  <a:pt x="5387359" y="507596"/>
                </a:cubicBezTo>
                <a:lnTo>
                  <a:pt x="5387084" y="507923"/>
                </a:lnTo>
                <a:lnTo>
                  <a:pt x="5390656" y="508468"/>
                </a:lnTo>
                <a:cubicBezTo>
                  <a:pt x="5393678" y="509557"/>
                  <a:pt x="5396150" y="510974"/>
                  <a:pt x="5398897" y="512281"/>
                </a:cubicBezTo>
                <a:cubicBezTo>
                  <a:pt x="5400270" y="512281"/>
                  <a:pt x="5403291" y="512281"/>
                  <a:pt x="5406039" y="512281"/>
                </a:cubicBezTo>
                <a:cubicBezTo>
                  <a:pt x="5407687" y="512281"/>
                  <a:pt x="5407687" y="512281"/>
                  <a:pt x="5407687" y="513589"/>
                </a:cubicBezTo>
                <a:cubicBezTo>
                  <a:pt x="5407687" y="513589"/>
                  <a:pt x="5406039" y="513589"/>
                  <a:pt x="5406039" y="513589"/>
                </a:cubicBezTo>
                <a:cubicBezTo>
                  <a:pt x="5403291" y="513589"/>
                  <a:pt x="5401918" y="513589"/>
                  <a:pt x="5400270" y="513589"/>
                </a:cubicBezTo>
                <a:cubicBezTo>
                  <a:pt x="5398897" y="515007"/>
                  <a:pt x="5397523" y="516314"/>
                  <a:pt x="5394776" y="516314"/>
                </a:cubicBezTo>
                <a:cubicBezTo>
                  <a:pt x="5396150" y="519147"/>
                  <a:pt x="5411807" y="519147"/>
                  <a:pt x="5410434" y="516314"/>
                </a:cubicBezTo>
                <a:cubicBezTo>
                  <a:pt x="5413181" y="516314"/>
                  <a:pt x="5411807" y="519147"/>
                  <a:pt x="5413181" y="520455"/>
                </a:cubicBezTo>
                <a:cubicBezTo>
                  <a:pt x="5420323" y="519147"/>
                  <a:pt x="5424718" y="516423"/>
                  <a:pt x="5427465" y="509557"/>
                </a:cubicBezTo>
                <a:cubicBezTo>
                  <a:pt x="5431860" y="510974"/>
                  <a:pt x="5436255" y="510865"/>
                  <a:pt x="5440650" y="510865"/>
                </a:cubicBezTo>
                <a:cubicBezTo>
                  <a:pt x="5440650" y="515007"/>
                  <a:pt x="5444771" y="519147"/>
                  <a:pt x="5449166" y="520455"/>
                </a:cubicBezTo>
                <a:cubicBezTo>
                  <a:pt x="5453287" y="523288"/>
                  <a:pt x="5456308" y="521871"/>
                  <a:pt x="5454934" y="516314"/>
                </a:cubicBezTo>
                <a:cubicBezTo>
                  <a:pt x="5454934" y="516314"/>
                  <a:pt x="5454934" y="516314"/>
                  <a:pt x="5449166" y="516314"/>
                </a:cubicBezTo>
                <a:cubicBezTo>
                  <a:pt x="5449166" y="515007"/>
                  <a:pt x="5447793" y="515007"/>
                  <a:pt x="5447793" y="515007"/>
                </a:cubicBezTo>
                <a:cubicBezTo>
                  <a:pt x="5447793" y="513699"/>
                  <a:pt x="5449166" y="513589"/>
                  <a:pt x="5449166" y="513589"/>
                </a:cubicBezTo>
                <a:cubicBezTo>
                  <a:pt x="5449166" y="513589"/>
                  <a:pt x="5449166" y="513699"/>
                  <a:pt x="5454934" y="515007"/>
                </a:cubicBezTo>
                <a:cubicBezTo>
                  <a:pt x="5460703" y="510974"/>
                  <a:pt x="5466197" y="516423"/>
                  <a:pt x="5474988" y="515007"/>
                </a:cubicBezTo>
                <a:cubicBezTo>
                  <a:pt x="5474988" y="515007"/>
                  <a:pt x="5474988" y="515007"/>
                  <a:pt x="5474988" y="519038"/>
                </a:cubicBezTo>
                <a:cubicBezTo>
                  <a:pt x="5474988" y="519038"/>
                  <a:pt x="5476361" y="519038"/>
                  <a:pt x="5477734" y="519038"/>
                </a:cubicBezTo>
                <a:cubicBezTo>
                  <a:pt x="5480756" y="520455"/>
                  <a:pt x="5483502" y="520455"/>
                  <a:pt x="5486524" y="523288"/>
                </a:cubicBezTo>
                <a:cubicBezTo>
                  <a:pt x="5487898" y="523288"/>
                  <a:pt x="5487898" y="524595"/>
                  <a:pt x="5487898" y="526012"/>
                </a:cubicBezTo>
                <a:cubicBezTo>
                  <a:pt x="5495039" y="527320"/>
                  <a:pt x="5495039" y="524595"/>
                  <a:pt x="5497787" y="527320"/>
                </a:cubicBezTo>
                <a:cubicBezTo>
                  <a:pt x="5496414" y="524595"/>
                  <a:pt x="5496414" y="521871"/>
                  <a:pt x="5500808" y="520455"/>
                </a:cubicBezTo>
                <a:cubicBezTo>
                  <a:pt x="5496414" y="519147"/>
                  <a:pt x="5493666" y="517731"/>
                  <a:pt x="5492293" y="517731"/>
                </a:cubicBezTo>
                <a:cubicBezTo>
                  <a:pt x="5489271" y="516423"/>
                  <a:pt x="5486524" y="516314"/>
                  <a:pt x="5484876" y="516314"/>
                </a:cubicBezTo>
                <a:cubicBezTo>
                  <a:pt x="5480756" y="516314"/>
                  <a:pt x="5477734" y="515007"/>
                  <a:pt x="5474988" y="515007"/>
                </a:cubicBezTo>
                <a:cubicBezTo>
                  <a:pt x="5473613" y="513699"/>
                  <a:pt x="5471965" y="513699"/>
                  <a:pt x="5471965" y="512281"/>
                </a:cubicBezTo>
                <a:cubicBezTo>
                  <a:pt x="5473613" y="510974"/>
                  <a:pt x="5474988" y="510865"/>
                  <a:pt x="5476361" y="510865"/>
                </a:cubicBezTo>
                <a:cubicBezTo>
                  <a:pt x="5479107" y="512281"/>
                  <a:pt x="5482129" y="512281"/>
                  <a:pt x="5484876" y="512281"/>
                </a:cubicBezTo>
                <a:cubicBezTo>
                  <a:pt x="5487898" y="512281"/>
                  <a:pt x="5489271" y="513589"/>
                  <a:pt x="5492293" y="513589"/>
                </a:cubicBezTo>
                <a:cubicBezTo>
                  <a:pt x="5497787" y="510865"/>
                  <a:pt x="5507951" y="510865"/>
                  <a:pt x="5509324" y="516314"/>
                </a:cubicBezTo>
                <a:cubicBezTo>
                  <a:pt x="5509324" y="516314"/>
                  <a:pt x="5509324" y="516423"/>
                  <a:pt x="5507951" y="517731"/>
                </a:cubicBezTo>
                <a:cubicBezTo>
                  <a:pt x="5509324" y="517731"/>
                  <a:pt x="5512346" y="517731"/>
                  <a:pt x="5513719" y="517731"/>
                </a:cubicBezTo>
                <a:cubicBezTo>
                  <a:pt x="5516466" y="515007"/>
                  <a:pt x="5528003" y="510974"/>
                  <a:pt x="5528003" y="517731"/>
                </a:cubicBezTo>
                <a:cubicBezTo>
                  <a:pt x="5532398" y="517731"/>
                  <a:pt x="5542287" y="515007"/>
                  <a:pt x="5542287" y="520455"/>
                </a:cubicBezTo>
                <a:cubicBezTo>
                  <a:pt x="5542287" y="520455"/>
                  <a:pt x="5542287" y="520455"/>
                  <a:pt x="5548056" y="521871"/>
                </a:cubicBezTo>
                <a:cubicBezTo>
                  <a:pt x="5549429" y="521871"/>
                  <a:pt x="5551078" y="523179"/>
                  <a:pt x="5551078" y="524595"/>
                </a:cubicBezTo>
                <a:cubicBezTo>
                  <a:pt x="5551078" y="525903"/>
                  <a:pt x="5549429" y="526012"/>
                  <a:pt x="5546683" y="526012"/>
                </a:cubicBezTo>
                <a:cubicBezTo>
                  <a:pt x="5546683" y="526012"/>
                  <a:pt x="5546683" y="525903"/>
                  <a:pt x="5542287" y="524595"/>
                </a:cubicBezTo>
                <a:cubicBezTo>
                  <a:pt x="5539540" y="525903"/>
                  <a:pt x="5536519" y="528737"/>
                  <a:pt x="5535146" y="530153"/>
                </a:cubicBezTo>
                <a:cubicBezTo>
                  <a:pt x="5539540" y="531461"/>
                  <a:pt x="5545309" y="532769"/>
                  <a:pt x="5551627" y="534185"/>
                </a:cubicBezTo>
                <a:lnTo>
                  <a:pt x="5562615" y="536365"/>
                </a:lnTo>
                <a:lnTo>
                  <a:pt x="5557121" y="525903"/>
                </a:lnTo>
                <a:cubicBezTo>
                  <a:pt x="5557121" y="521435"/>
                  <a:pt x="5559044" y="517731"/>
                  <a:pt x="5561241" y="515007"/>
                </a:cubicBezTo>
                <a:cubicBezTo>
                  <a:pt x="5562066" y="515987"/>
                  <a:pt x="5565636" y="512064"/>
                  <a:pt x="5570855" y="510647"/>
                </a:cubicBezTo>
                <a:lnTo>
                  <a:pt x="5574427" y="510430"/>
                </a:lnTo>
                <a:lnTo>
                  <a:pt x="5574701" y="509231"/>
                </a:lnTo>
                <a:cubicBezTo>
                  <a:pt x="5575800" y="505634"/>
                  <a:pt x="5576349" y="505089"/>
                  <a:pt x="5578547" y="502365"/>
                </a:cubicBezTo>
                <a:cubicBezTo>
                  <a:pt x="5581294" y="500840"/>
                  <a:pt x="5583492" y="501275"/>
                  <a:pt x="5583492" y="501275"/>
                </a:cubicBezTo>
                <a:cubicBezTo>
                  <a:pt x="5594205" y="503564"/>
                  <a:pt x="5593106" y="507487"/>
                  <a:pt x="5591183" y="515551"/>
                </a:cubicBezTo>
                <a:cubicBezTo>
                  <a:pt x="5590634" y="517622"/>
                  <a:pt x="5589810" y="519147"/>
                  <a:pt x="5589261" y="520128"/>
                </a:cubicBezTo>
                <a:lnTo>
                  <a:pt x="5588986" y="520237"/>
                </a:lnTo>
                <a:lnTo>
                  <a:pt x="5593106" y="526993"/>
                </a:lnTo>
                <a:lnTo>
                  <a:pt x="5591458" y="531787"/>
                </a:lnTo>
                <a:lnTo>
                  <a:pt x="5592556" y="532878"/>
                </a:lnTo>
                <a:cubicBezTo>
                  <a:pt x="5591183" y="535602"/>
                  <a:pt x="5592556" y="535493"/>
                  <a:pt x="5592556" y="536909"/>
                </a:cubicBezTo>
                <a:cubicBezTo>
                  <a:pt x="5593930" y="538327"/>
                  <a:pt x="5596952" y="538327"/>
                  <a:pt x="5599699" y="538327"/>
                </a:cubicBezTo>
                <a:cubicBezTo>
                  <a:pt x="5599699" y="538327"/>
                  <a:pt x="5599699" y="538327"/>
                  <a:pt x="5601072" y="538327"/>
                </a:cubicBezTo>
                <a:cubicBezTo>
                  <a:pt x="5602720" y="538327"/>
                  <a:pt x="5604093" y="538217"/>
                  <a:pt x="5605467" y="539634"/>
                </a:cubicBezTo>
                <a:cubicBezTo>
                  <a:pt x="5605467" y="541051"/>
                  <a:pt x="5605467" y="541051"/>
                  <a:pt x="5605467" y="542359"/>
                </a:cubicBezTo>
                <a:cubicBezTo>
                  <a:pt x="5606841" y="542359"/>
                  <a:pt x="5608214" y="542359"/>
                  <a:pt x="5609587" y="542359"/>
                </a:cubicBezTo>
                <a:cubicBezTo>
                  <a:pt x="5609587" y="542359"/>
                  <a:pt x="5608214" y="541051"/>
                  <a:pt x="5608214" y="541051"/>
                </a:cubicBezTo>
                <a:cubicBezTo>
                  <a:pt x="5608214" y="541051"/>
                  <a:pt x="5608214" y="541051"/>
                  <a:pt x="5606841" y="541051"/>
                </a:cubicBezTo>
                <a:cubicBezTo>
                  <a:pt x="5606841" y="539743"/>
                  <a:pt x="5606841" y="538327"/>
                  <a:pt x="5606841" y="538327"/>
                </a:cubicBezTo>
                <a:cubicBezTo>
                  <a:pt x="5608214" y="536909"/>
                  <a:pt x="5609862" y="536909"/>
                  <a:pt x="5611236" y="538327"/>
                </a:cubicBezTo>
                <a:cubicBezTo>
                  <a:pt x="5611236" y="538327"/>
                  <a:pt x="5611236" y="539634"/>
                  <a:pt x="5612609" y="539634"/>
                </a:cubicBezTo>
                <a:cubicBezTo>
                  <a:pt x="5622773" y="539634"/>
                  <a:pt x="5628542" y="546499"/>
                  <a:pt x="5635683" y="543775"/>
                </a:cubicBezTo>
                <a:cubicBezTo>
                  <a:pt x="5638431" y="545191"/>
                  <a:pt x="5639804" y="546608"/>
                  <a:pt x="5638431" y="550641"/>
                </a:cubicBezTo>
                <a:cubicBezTo>
                  <a:pt x="5646946" y="552057"/>
                  <a:pt x="5659857" y="560230"/>
                  <a:pt x="5674415" y="565679"/>
                </a:cubicBezTo>
                <a:cubicBezTo>
                  <a:pt x="5680184" y="564262"/>
                  <a:pt x="5684304" y="565679"/>
                  <a:pt x="5688700" y="568403"/>
                </a:cubicBezTo>
                <a:cubicBezTo>
                  <a:pt x="5690073" y="569711"/>
                  <a:pt x="5692820" y="569819"/>
                  <a:pt x="5695842" y="572544"/>
                </a:cubicBezTo>
                <a:cubicBezTo>
                  <a:pt x="5695842" y="572544"/>
                  <a:pt x="5697216" y="572544"/>
                  <a:pt x="5697216" y="572544"/>
                </a:cubicBezTo>
                <a:cubicBezTo>
                  <a:pt x="5700237" y="571127"/>
                  <a:pt x="5706005" y="572653"/>
                  <a:pt x="5708753" y="571236"/>
                </a:cubicBezTo>
                <a:cubicBezTo>
                  <a:pt x="5713697" y="573961"/>
                  <a:pt x="5718642" y="575922"/>
                  <a:pt x="5723861" y="577665"/>
                </a:cubicBezTo>
                <a:lnTo>
                  <a:pt x="5724960" y="577993"/>
                </a:lnTo>
                <a:lnTo>
                  <a:pt x="5726333" y="577011"/>
                </a:lnTo>
                <a:cubicBezTo>
                  <a:pt x="5728530" y="576467"/>
                  <a:pt x="5730728" y="576576"/>
                  <a:pt x="5732926" y="577556"/>
                </a:cubicBezTo>
                <a:lnTo>
                  <a:pt x="5736772" y="581479"/>
                </a:lnTo>
                <a:lnTo>
                  <a:pt x="5738694" y="582133"/>
                </a:lnTo>
                <a:cubicBezTo>
                  <a:pt x="5748858" y="584857"/>
                  <a:pt x="5757374" y="588999"/>
                  <a:pt x="5761768" y="595864"/>
                </a:cubicBezTo>
                <a:cubicBezTo>
                  <a:pt x="5779075" y="601313"/>
                  <a:pt x="5794732" y="606871"/>
                  <a:pt x="5810664" y="615043"/>
                </a:cubicBezTo>
                <a:lnTo>
                  <a:pt x="5835661" y="631389"/>
                </a:lnTo>
                <a:lnTo>
                  <a:pt x="5836760" y="630518"/>
                </a:lnTo>
                <a:lnTo>
                  <a:pt x="5840057" y="629646"/>
                </a:lnTo>
                <a:lnTo>
                  <a:pt x="5838958" y="628774"/>
                </a:lnTo>
                <a:cubicBezTo>
                  <a:pt x="5837035" y="626595"/>
                  <a:pt x="5835661" y="623979"/>
                  <a:pt x="5834837" y="621037"/>
                </a:cubicBezTo>
                <a:cubicBezTo>
                  <a:pt x="5832090" y="600550"/>
                  <a:pt x="5854066" y="592704"/>
                  <a:pt x="5868625" y="600441"/>
                </a:cubicBezTo>
                <a:cubicBezTo>
                  <a:pt x="5877141" y="605018"/>
                  <a:pt x="5883184" y="615261"/>
                  <a:pt x="5879063" y="631716"/>
                </a:cubicBezTo>
                <a:lnTo>
                  <a:pt x="5877415" y="632261"/>
                </a:lnTo>
                <a:lnTo>
                  <a:pt x="5884008" y="631389"/>
                </a:lnTo>
                <a:cubicBezTo>
                  <a:pt x="5885930" y="633460"/>
                  <a:pt x="5886480" y="635857"/>
                  <a:pt x="5886205" y="638255"/>
                </a:cubicBezTo>
                <a:lnTo>
                  <a:pt x="5885106" y="640979"/>
                </a:lnTo>
                <a:lnTo>
                  <a:pt x="5888952" y="639889"/>
                </a:lnTo>
                <a:lnTo>
                  <a:pt x="5890600" y="645774"/>
                </a:lnTo>
                <a:lnTo>
                  <a:pt x="5900764" y="650460"/>
                </a:lnTo>
                <a:lnTo>
                  <a:pt x="5911752" y="658523"/>
                </a:lnTo>
                <a:lnTo>
                  <a:pt x="5913675" y="657434"/>
                </a:lnTo>
                <a:lnTo>
                  <a:pt x="5914499" y="660485"/>
                </a:lnTo>
                <a:lnTo>
                  <a:pt x="5922740" y="666152"/>
                </a:lnTo>
                <a:cubicBezTo>
                  <a:pt x="5926036" y="667896"/>
                  <a:pt x="5928783" y="668441"/>
                  <a:pt x="5930981" y="667133"/>
                </a:cubicBezTo>
                <a:cubicBezTo>
                  <a:pt x="5935925" y="671273"/>
                  <a:pt x="5940045" y="674651"/>
                  <a:pt x="5943617" y="677594"/>
                </a:cubicBezTo>
                <a:lnTo>
                  <a:pt x="5944990" y="678574"/>
                </a:lnTo>
                <a:lnTo>
                  <a:pt x="5946088" y="674106"/>
                </a:lnTo>
                <a:cubicBezTo>
                  <a:pt x="5952956" y="672254"/>
                  <a:pt x="5964219" y="679991"/>
                  <a:pt x="5959824" y="688818"/>
                </a:cubicBezTo>
                <a:lnTo>
                  <a:pt x="5959549" y="688927"/>
                </a:lnTo>
                <a:lnTo>
                  <a:pt x="5975481" y="700042"/>
                </a:lnTo>
                <a:cubicBezTo>
                  <a:pt x="5975481" y="700042"/>
                  <a:pt x="5975481" y="699933"/>
                  <a:pt x="5972459" y="704075"/>
                </a:cubicBezTo>
                <a:cubicBezTo>
                  <a:pt x="5983996" y="708215"/>
                  <a:pt x="5988392" y="713773"/>
                  <a:pt x="5999654" y="720529"/>
                </a:cubicBezTo>
                <a:cubicBezTo>
                  <a:pt x="6002676" y="726087"/>
                  <a:pt x="5998555" y="723253"/>
                  <a:pt x="6001303" y="728811"/>
                </a:cubicBezTo>
                <a:cubicBezTo>
                  <a:pt x="6002676" y="730119"/>
                  <a:pt x="6004049" y="732843"/>
                  <a:pt x="6005697" y="734260"/>
                </a:cubicBezTo>
                <a:cubicBezTo>
                  <a:pt x="6007071" y="735567"/>
                  <a:pt x="6008445" y="735567"/>
                  <a:pt x="6008445" y="736984"/>
                </a:cubicBezTo>
                <a:cubicBezTo>
                  <a:pt x="6011191" y="734260"/>
                  <a:pt x="6014213" y="739709"/>
                  <a:pt x="6016960" y="736984"/>
                </a:cubicBezTo>
                <a:cubicBezTo>
                  <a:pt x="6022729" y="741125"/>
                  <a:pt x="6016960" y="743849"/>
                  <a:pt x="6021355" y="746573"/>
                </a:cubicBezTo>
                <a:cubicBezTo>
                  <a:pt x="6029871" y="752131"/>
                  <a:pt x="6040035" y="763029"/>
                  <a:pt x="6050198" y="774035"/>
                </a:cubicBezTo>
                <a:cubicBezTo>
                  <a:pt x="6060087" y="785041"/>
                  <a:pt x="6069976" y="797247"/>
                  <a:pt x="6081513" y="801387"/>
                </a:cubicBezTo>
                <a:cubicBezTo>
                  <a:pt x="6081513" y="801387"/>
                  <a:pt x="6081513" y="801387"/>
                  <a:pt x="6080140" y="801387"/>
                </a:cubicBezTo>
                <a:cubicBezTo>
                  <a:pt x="6082887" y="804111"/>
                  <a:pt x="6088656" y="808253"/>
                  <a:pt x="6087282" y="812393"/>
                </a:cubicBezTo>
                <a:cubicBezTo>
                  <a:pt x="6087282" y="813810"/>
                  <a:pt x="6088656" y="815118"/>
                  <a:pt x="6088656" y="816425"/>
                </a:cubicBezTo>
                <a:cubicBezTo>
                  <a:pt x="6090304" y="816425"/>
                  <a:pt x="6090304" y="816425"/>
                  <a:pt x="6091677" y="816425"/>
                </a:cubicBezTo>
                <a:cubicBezTo>
                  <a:pt x="6091677" y="817842"/>
                  <a:pt x="6091677" y="819149"/>
                  <a:pt x="6091677" y="819149"/>
                </a:cubicBezTo>
                <a:cubicBezTo>
                  <a:pt x="6097445" y="824707"/>
                  <a:pt x="6105961" y="828848"/>
                  <a:pt x="6105961" y="838438"/>
                </a:cubicBezTo>
                <a:cubicBezTo>
                  <a:pt x="6105961" y="838438"/>
                  <a:pt x="6105961" y="838329"/>
                  <a:pt x="6110082" y="845195"/>
                </a:cubicBezTo>
                <a:cubicBezTo>
                  <a:pt x="6115851" y="846611"/>
                  <a:pt x="6120245" y="852168"/>
                  <a:pt x="6126014" y="856201"/>
                </a:cubicBezTo>
                <a:cubicBezTo>
                  <a:pt x="6130409" y="861758"/>
                  <a:pt x="6134530" y="867207"/>
                  <a:pt x="6140298" y="868624"/>
                </a:cubicBezTo>
                <a:cubicBezTo>
                  <a:pt x="6138925" y="871348"/>
                  <a:pt x="6140298" y="875380"/>
                  <a:pt x="6137551" y="876796"/>
                </a:cubicBezTo>
                <a:cubicBezTo>
                  <a:pt x="6146067" y="890527"/>
                  <a:pt x="6157604" y="904258"/>
                  <a:pt x="6166120" y="917879"/>
                </a:cubicBezTo>
                <a:cubicBezTo>
                  <a:pt x="6171064" y="924745"/>
                  <a:pt x="6175459" y="931937"/>
                  <a:pt x="6178755" y="938802"/>
                </a:cubicBezTo>
                <a:lnTo>
                  <a:pt x="6179304" y="940109"/>
                </a:lnTo>
                <a:lnTo>
                  <a:pt x="6180953" y="939347"/>
                </a:lnTo>
                <a:cubicBezTo>
                  <a:pt x="6182326" y="938802"/>
                  <a:pt x="6183425" y="938584"/>
                  <a:pt x="6183700" y="939565"/>
                </a:cubicBezTo>
                <a:cubicBezTo>
                  <a:pt x="6185898" y="939020"/>
                  <a:pt x="6186996" y="942834"/>
                  <a:pt x="6186996" y="942834"/>
                </a:cubicBezTo>
                <a:lnTo>
                  <a:pt x="6188919" y="942507"/>
                </a:lnTo>
                <a:lnTo>
                  <a:pt x="6191117" y="938584"/>
                </a:lnTo>
                <a:cubicBezTo>
                  <a:pt x="6191941" y="937930"/>
                  <a:pt x="6192765" y="937385"/>
                  <a:pt x="6193863" y="937168"/>
                </a:cubicBezTo>
                <a:cubicBezTo>
                  <a:pt x="6194962" y="936949"/>
                  <a:pt x="6196061" y="936949"/>
                  <a:pt x="6196886" y="937822"/>
                </a:cubicBezTo>
                <a:cubicBezTo>
                  <a:pt x="6196611" y="939238"/>
                  <a:pt x="6198259" y="939456"/>
                  <a:pt x="6197984" y="940982"/>
                </a:cubicBezTo>
                <a:cubicBezTo>
                  <a:pt x="6199358" y="944142"/>
                  <a:pt x="6199358" y="945559"/>
                  <a:pt x="6197984" y="946866"/>
                </a:cubicBezTo>
                <a:cubicBezTo>
                  <a:pt x="6197984" y="948392"/>
                  <a:pt x="6196611" y="948174"/>
                  <a:pt x="6194962" y="949482"/>
                </a:cubicBezTo>
                <a:cubicBezTo>
                  <a:pt x="6193589" y="949372"/>
                  <a:pt x="6192216" y="947629"/>
                  <a:pt x="6192216" y="947629"/>
                </a:cubicBezTo>
                <a:cubicBezTo>
                  <a:pt x="6190842" y="945994"/>
                  <a:pt x="6190842" y="945994"/>
                  <a:pt x="6189468" y="947302"/>
                </a:cubicBezTo>
                <a:lnTo>
                  <a:pt x="6189468" y="946539"/>
                </a:lnTo>
                <a:lnTo>
                  <a:pt x="6188919" y="946539"/>
                </a:lnTo>
                <a:lnTo>
                  <a:pt x="6181777" y="946321"/>
                </a:lnTo>
                <a:lnTo>
                  <a:pt x="6186172" y="957545"/>
                </a:lnTo>
                <a:cubicBezTo>
                  <a:pt x="6186172" y="957545"/>
                  <a:pt x="6186172" y="957545"/>
                  <a:pt x="6184798" y="957545"/>
                </a:cubicBezTo>
                <a:cubicBezTo>
                  <a:pt x="6186172" y="958962"/>
                  <a:pt x="6187821" y="961687"/>
                  <a:pt x="6189194" y="963103"/>
                </a:cubicBezTo>
                <a:lnTo>
                  <a:pt x="6191117" y="964302"/>
                </a:lnTo>
                <a:lnTo>
                  <a:pt x="6191667" y="960923"/>
                </a:lnTo>
                <a:cubicBezTo>
                  <a:pt x="6193589" y="960379"/>
                  <a:pt x="6200456" y="960923"/>
                  <a:pt x="6200182" y="958962"/>
                </a:cubicBezTo>
                <a:cubicBezTo>
                  <a:pt x="6205950" y="962231"/>
                  <a:pt x="6212268" y="966808"/>
                  <a:pt x="6213917" y="971712"/>
                </a:cubicBezTo>
                <a:cubicBezTo>
                  <a:pt x="6214466" y="973346"/>
                  <a:pt x="6214466" y="974981"/>
                  <a:pt x="6213917" y="976725"/>
                </a:cubicBezTo>
                <a:cubicBezTo>
                  <a:pt x="6212818" y="981193"/>
                  <a:pt x="6207874" y="980103"/>
                  <a:pt x="6202654" y="977161"/>
                </a:cubicBezTo>
                <a:lnTo>
                  <a:pt x="6201830" y="976725"/>
                </a:lnTo>
                <a:lnTo>
                  <a:pt x="6204851" y="979558"/>
                </a:lnTo>
                <a:cubicBezTo>
                  <a:pt x="6199083" y="979558"/>
                  <a:pt x="6203478" y="983590"/>
                  <a:pt x="6203478" y="986315"/>
                </a:cubicBezTo>
                <a:cubicBezTo>
                  <a:pt x="6202105" y="986315"/>
                  <a:pt x="6202105" y="986315"/>
                  <a:pt x="6202105" y="986315"/>
                </a:cubicBezTo>
                <a:cubicBezTo>
                  <a:pt x="6203478" y="987731"/>
                  <a:pt x="6203478" y="987731"/>
                  <a:pt x="6203478" y="987731"/>
                </a:cubicBezTo>
                <a:cubicBezTo>
                  <a:pt x="6204851" y="990564"/>
                  <a:pt x="6204851" y="991872"/>
                  <a:pt x="6203478" y="993288"/>
                </a:cubicBezTo>
                <a:cubicBezTo>
                  <a:pt x="6202105" y="993288"/>
                  <a:pt x="6200731" y="993288"/>
                  <a:pt x="6199083" y="990455"/>
                </a:cubicBezTo>
                <a:cubicBezTo>
                  <a:pt x="6197710" y="989148"/>
                  <a:pt x="6197710" y="987731"/>
                  <a:pt x="6196336" y="986315"/>
                </a:cubicBezTo>
                <a:cubicBezTo>
                  <a:pt x="6194687" y="985007"/>
                  <a:pt x="6193314" y="983590"/>
                  <a:pt x="6191941" y="980865"/>
                </a:cubicBezTo>
                <a:cubicBezTo>
                  <a:pt x="6187546" y="976725"/>
                  <a:pt x="6186172" y="971276"/>
                  <a:pt x="6184798" y="965827"/>
                </a:cubicBezTo>
                <a:cubicBezTo>
                  <a:pt x="6183425" y="964411"/>
                  <a:pt x="6182052" y="963103"/>
                  <a:pt x="6182052" y="960379"/>
                </a:cubicBezTo>
                <a:cubicBezTo>
                  <a:pt x="6181228" y="960052"/>
                  <a:pt x="6180953" y="959507"/>
                  <a:pt x="6180404" y="959180"/>
                </a:cubicBezTo>
                <a:cubicBezTo>
                  <a:pt x="6175459" y="956129"/>
                  <a:pt x="6171613" y="951552"/>
                  <a:pt x="6170515" y="946648"/>
                </a:cubicBezTo>
                <a:cubicBezTo>
                  <a:pt x="6167493" y="939783"/>
                  <a:pt x="6166120" y="934334"/>
                  <a:pt x="6163372" y="928886"/>
                </a:cubicBezTo>
                <a:cubicBezTo>
                  <a:pt x="6161999" y="926053"/>
                  <a:pt x="6157604" y="924745"/>
                  <a:pt x="6154583" y="920603"/>
                </a:cubicBezTo>
                <a:cubicBezTo>
                  <a:pt x="6151835" y="917879"/>
                  <a:pt x="6151835" y="913738"/>
                  <a:pt x="6150462" y="911014"/>
                </a:cubicBezTo>
                <a:cubicBezTo>
                  <a:pt x="6147440" y="908290"/>
                  <a:pt x="6144693" y="906873"/>
                  <a:pt x="6141671" y="904149"/>
                </a:cubicBezTo>
                <a:cubicBezTo>
                  <a:pt x="6137551" y="897283"/>
                  <a:pt x="6134530" y="887693"/>
                  <a:pt x="6127388" y="880829"/>
                </a:cubicBezTo>
                <a:cubicBezTo>
                  <a:pt x="6126014" y="880829"/>
                  <a:pt x="6126014" y="879521"/>
                  <a:pt x="6126014" y="879521"/>
                </a:cubicBezTo>
                <a:cubicBezTo>
                  <a:pt x="6124640" y="878213"/>
                  <a:pt x="6122992" y="876796"/>
                  <a:pt x="6120245" y="875380"/>
                </a:cubicBezTo>
                <a:cubicBezTo>
                  <a:pt x="6124640" y="873963"/>
                  <a:pt x="6117498" y="868515"/>
                  <a:pt x="6121619" y="867207"/>
                </a:cubicBezTo>
                <a:cubicBezTo>
                  <a:pt x="6114476" y="861649"/>
                  <a:pt x="6110357" y="853586"/>
                  <a:pt x="6107335" y="848028"/>
                </a:cubicBezTo>
                <a:cubicBezTo>
                  <a:pt x="6107335" y="848028"/>
                  <a:pt x="6107335" y="848028"/>
                  <a:pt x="6101566" y="841162"/>
                </a:cubicBezTo>
                <a:cubicBezTo>
                  <a:pt x="6095798" y="837021"/>
                  <a:pt x="6091677" y="832881"/>
                  <a:pt x="6085908" y="831573"/>
                </a:cubicBezTo>
                <a:cubicBezTo>
                  <a:pt x="6087282" y="831573"/>
                  <a:pt x="6088656" y="831573"/>
                  <a:pt x="6090304" y="831573"/>
                </a:cubicBezTo>
                <a:cubicBezTo>
                  <a:pt x="6081513" y="821983"/>
                  <a:pt x="6075744" y="815118"/>
                  <a:pt x="6069976" y="809669"/>
                </a:cubicBezTo>
                <a:cubicBezTo>
                  <a:pt x="6065855" y="802804"/>
                  <a:pt x="6060087" y="797247"/>
                  <a:pt x="6051572" y="793214"/>
                </a:cubicBezTo>
                <a:cubicBezTo>
                  <a:pt x="6052945" y="790381"/>
                  <a:pt x="6049923" y="784932"/>
                  <a:pt x="6045803" y="780791"/>
                </a:cubicBezTo>
                <a:cubicBezTo>
                  <a:pt x="6041408" y="776651"/>
                  <a:pt x="6035640" y="772728"/>
                  <a:pt x="6031244" y="771311"/>
                </a:cubicBezTo>
                <a:cubicBezTo>
                  <a:pt x="6031244" y="772728"/>
                  <a:pt x="6031244" y="772619"/>
                  <a:pt x="6031244" y="772619"/>
                </a:cubicBezTo>
                <a:cubicBezTo>
                  <a:pt x="6034266" y="778067"/>
                  <a:pt x="6040035" y="783624"/>
                  <a:pt x="6045803" y="790490"/>
                </a:cubicBezTo>
                <a:cubicBezTo>
                  <a:pt x="6051297" y="795939"/>
                  <a:pt x="6055692" y="801387"/>
                  <a:pt x="6057066" y="806835"/>
                </a:cubicBezTo>
                <a:cubicBezTo>
                  <a:pt x="6058714" y="808253"/>
                  <a:pt x="6058714" y="809669"/>
                  <a:pt x="6060087" y="809669"/>
                </a:cubicBezTo>
                <a:cubicBezTo>
                  <a:pt x="6060087" y="809669"/>
                  <a:pt x="6060087" y="809669"/>
                  <a:pt x="6060087" y="810977"/>
                </a:cubicBezTo>
                <a:cubicBezTo>
                  <a:pt x="6071624" y="820566"/>
                  <a:pt x="6085908" y="838438"/>
                  <a:pt x="6095798" y="853476"/>
                </a:cubicBezTo>
                <a:cubicBezTo>
                  <a:pt x="6095798" y="853476"/>
                  <a:pt x="6095798" y="853476"/>
                  <a:pt x="6094424" y="853476"/>
                </a:cubicBezTo>
                <a:cubicBezTo>
                  <a:pt x="6097445" y="854893"/>
                  <a:pt x="6100193" y="857617"/>
                  <a:pt x="6101566" y="861758"/>
                </a:cubicBezTo>
                <a:cubicBezTo>
                  <a:pt x="6101566" y="863066"/>
                  <a:pt x="6103214" y="864373"/>
                  <a:pt x="6104588" y="865790"/>
                </a:cubicBezTo>
                <a:cubicBezTo>
                  <a:pt x="6117498" y="873963"/>
                  <a:pt x="6129035" y="890527"/>
                  <a:pt x="6137551" y="905565"/>
                </a:cubicBezTo>
                <a:cubicBezTo>
                  <a:pt x="6147440" y="922020"/>
                  <a:pt x="6156230" y="939892"/>
                  <a:pt x="6163372" y="950789"/>
                </a:cubicBezTo>
                <a:lnTo>
                  <a:pt x="6164197" y="952532"/>
                </a:lnTo>
                <a:lnTo>
                  <a:pt x="6165021" y="952751"/>
                </a:lnTo>
                <a:cubicBezTo>
                  <a:pt x="6166394" y="953077"/>
                  <a:pt x="6167493" y="953296"/>
                  <a:pt x="6167493" y="953296"/>
                </a:cubicBezTo>
                <a:cubicBezTo>
                  <a:pt x="6172712" y="956456"/>
                  <a:pt x="6175459" y="958090"/>
                  <a:pt x="6180404" y="959180"/>
                </a:cubicBezTo>
                <a:cubicBezTo>
                  <a:pt x="6179304" y="963757"/>
                  <a:pt x="6177107" y="964192"/>
                  <a:pt x="6174360" y="962667"/>
                </a:cubicBezTo>
                <a:cubicBezTo>
                  <a:pt x="6174360" y="962667"/>
                  <a:pt x="6171888" y="961033"/>
                  <a:pt x="6169141" y="959507"/>
                </a:cubicBezTo>
                <a:lnTo>
                  <a:pt x="6168317" y="959289"/>
                </a:lnTo>
                <a:lnTo>
                  <a:pt x="6175734" y="969642"/>
                </a:lnTo>
                <a:cubicBezTo>
                  <a:pt x="6178480" y="975090"/>
                  <a:pt x="6180404" y="980974"/>
                  <a:pt x="6182052" y="985007"/>
                </a:cubicBezTo>
                <a:cubicBezTo>
                  <a:pt x="6182052" y="985007"/>
                  <a:pt x="6181777" y="985007"/>
                  <a:pt x="6183425" y="986315"/>
                </a:cubicBezTo>
                <a:cubicBezTo>
                  <a:pt x="6187546" y="993179"/>
                  <a:pt x="6191941" y="1001461"/>
                  <a:pt x="6194687" y="1008327"/>
                </a:cubicBezTo>
                <a:cubicBezTo>
                  <a:pt x="6196336" y="1008327"/>
                  <a:pt x="6197710" y="1011051"/>
                  <a:pt x="6199083" y="1011051"/>
                </a:cubicBezTo>
                <a:cubicBezTo>
                  <a:pt x="6203478" y="1024782"/>
                  <a:pt x="6210620" y="1037096"/>
                  <a:pt x="6215015" y="1049410"/>
                </a:cubicBezTo>
                <a:lnTo>
                  <a:pt x="6217212" y="1056493"/>
                </a:lnTo>
                <a:lnTo>
                  <a:pt x="6218587" y="1053659"/>
                </a:lnTo>
                <a:lnTo>
                  <a:pt x="6220509" y="1065429"/>
                </a:lnTo>
                <a:lnTo>
                  <a:pt x="6221882" y="1064993"/>
                </a:lnTo>
                <a:cubicBezTo>
                  <a:pt x="6223531" y="1062813"/>
                  <a:pt x="6223256" y="1059762"/>
                  <a:pt x="6223806" y="1057038"/>
                </a:cubicBezTo>
                <a:lnTo>
                  <a:pt x="6224630" y="1056057"/>
                </a:lnTo>
                <a:lnTo>
                  <a:pt x="6217762" y="1043960"/>
                </a:lnTo>
                <a:cubicBezTo>
                  <a:pt x="6209247" y="1026198"/>
                  <a:pt x="6202105" y="1009635"/>
                  <a:pt x="6203478" y="993288"/>
                </a:cubicBezTo>
                <a:cubicBezTo>
                  <a:pt x="6209247" y="998737"/>
                  <a:pt x="6215015" y="1005602"/>
                  <a:pt x="6217762" y="1012468"/>
                </a:cubicBezTo>
                <a:cubicBezTo>
                  <a:pt x="6220509" y="1019333"/>
                  <a:pt x="6223531" y="1024782"/>
                  <a:pt x="6226278" y="1026198"/>
                </a:cubicBezTo>
                <a:cubicBezTo>
                  <a:pt x="6232046" y="1032954"/>
                  <a:pt x="6236441" y="1043960"/>
                  <a:pt x="6232046" y="1048102"/>
                </a:cubicBezTo>
                <a:lnTo>
                  <a:pt x="6234518" y="1053115"/>
                </a:lnTo>
                <a:lnTo>
                  <a:pt x="6235892" y="1053441"/>
                </a:lnTo>
                <a:cubicBezTo>
                  <a:pt x="6238089" y="1054095"/>
                  <a:pt x="6240287" y="1055076"/>
                  <a:pt x="6242485" y="1056602"/>
                </a:cubicBezTo>
                <a:cubicBezTo>
                  <a:pt x="6243583" y="1057692"/>
                  <a:pt x="6244957" y="1059108"/>
                  <a:pt x="6245781" y="1061070"/>
                </a:cubicBezTo>
                <a:lnTo>
                  <a:pt x="6239462" y="1064884"/>
                </a:lnTo>
                <a:lnTo>
                  <a:pt x="6241935" y="1070006"/>
                </a:lnTo>
                <a:cubicBezTo>
                  <a:pt x="6244682" y="1076544"/>
                  <a:pt x="6246605" y="1082320"/>
                  <a:pt x="6245231" y="1087768"/>
                </a:cubicBezTo>
                <a:cubicBezTo>
                  <a:pt x="6249352" y="1094633"/>
                  <a:pt x="6250725" y="1102915"/>
                  <a:pt x="6252099" y="1111088"/>
                </a:cubicBezTo>
                <a:lnTo>
                  <a:pt x="6254296" y="1118280"/>
                </a:lnTo>
                <a:lnTo>
                  <a:pt x="6261164" y="1115229"/>
                </a:lnTo>
                <a:cubicBezTo>
                  <a:pt x="6265010" y="1113812"/>
                  <a:pt x="6269954" y="1113268"/>
                  <a:pt x="6277370" y="1115774"/>
                </a:cubicBezTo>
                <a:lnTo>
                  <a:pt x="6282590" y="1120242"/>
                </a:lnTo>
                <a:lnTo>
                  <a:pt x="6282040" y="1118062"/>
                </a:lnTo>
                <a:cubicBezTo>
                  <a:pt x="6287809" y="1110979"/>
                  <a:pt x="6294402" y="1113922"/>
                  <a:pt x="6299071" y="1116210"/>
                </a:cubicBezTo>
                <a:cubicBezTo>
                  <a:pt x="6302094" y="1117735"/>
                  <a:pt x="6310609" y="1123947"/>
                  <a:pt x="6305390" y="1133428"/>
                </a:cubicBezTo>
                <a:cubicBezTo>
                  <a:pt x="6302917" y="1138113"/>
                  <a:pt x="6299346" y="1140620"/>
                  <a:pt x="6296325" y="1139094"/>
                </a:cubicBezTo>
                <a:cubicBezTo>
                  <a:pt x="6296325" y="1139094"/>
                  <a:pt x="6295776" y="1136697"/>
                  <a:pt x="6294127" y="1135934"/>
                </a:cubicBezTo>
                <a:cubicBezTo>
                  <a:pt x="6292479" y="1135171"/>
                  <a:pt x="6290831" y="1135389"/>
                  <a:pt x="6289458" y="1135716"/>
                </a:cubicBezTo>
                <a:lnTo>
                  <a:pt x="6286985" y="1135934"/>
                </a:lnTo>
                <a:lnTo>
                  <a:pt x="6287260" y="1136915"/>
                </a:lnTo>
                <a:cubicBezTo>
                  <a:pt x="6289732" y="1138440"/>
                  <a:pt x="6290007" y="1138331"/>
                  <a:pt x="6291930" y="1137896"/>
                </a:cubicBezTo>
                <a:cubicBezTo>
                  <a:pt x="6292479" y="1139857"/>
                  <a:pt x="6295776" y="1143344"/>
                  <a:pt x="6298248" y="1144869"/>
                </a:cubicBezTo>
                <a:cubicBezTo>
                  <a:pt x="6296325" y="1145306"/>
                  <a:pt x="6294127" y="1145959"/>
                  <a:pt x="6294677" y="1147921"/>
                </a:cubicBezTo>
                <a:lnTo>
                  <a:pt x="6291655" y="1145633"/>
                </a:lnTo>
                <a:lnTo>
                  <a:pt x="6285337" y="1168843"/>
                </a:lnTo>
                <a:cubicBezTo>
                  <a:pt x="6282590" y="1176036"/>
                  <a:pt x="6279843" y="1181593"/>
                  <a:pt x="6278745" y="1183664"/>
                </a:cubicBezTo>
                <a:lnTo>
                  <a:pt x="6275723" y="1186388"/>
                </a:lnTo>
                <a:lnTo>
                  <a:pt x="6277370" y="1195651"/>
                </a:lnTo>
                <a:cubicBezTo>
                  <a:pt x="6278745" y="1199901"/>
                  <a:pt x="6280118" y="1204260"/>
                  <a:pt x="6280942" y="1208401"/>
                </a:cubicBezTo>
                <a:lnTo>
                  <a:pt x="6283689" y="1238041"/>
                </a:lnTo>
                <a:lnTo>
                  <a:pt x="6284513" y="1238041"/>
                </a:lnTo>
                <a:cubicBezTo>
                  <a:pt x="6284788" y="1238041"/>
                  <a:pt x="6285062" y="1238260"/>
                  <a:pt x="6285886" y="1239458"/>
                </a:cubicBezTo>
                <a:lnTo>
                  <a:pt x="6283964" y="1239785"/>
                </a:lnTo>
                <a:lnTo>
                  <a:pt x="6285337" y="1253624"/>
                </a:lnTo>
                <a:cubicBezTo>
                  <a:pt x="6289458" y="1253624"/>
                  <a:pt x="6286710" y="1264631"/>
                  <a:pt x="6290831" y="1264631"/>
                </a:cubicBezTo>
                <a:cubicBezTo>
                  <a:pt x="6288084" y="1268663"/>
                  <a:pt x="6288084" y="1274112"/>
                  <a:pt x="6289458" y="1280977"/>
                </a:cubicBezTo>
                <a:cubicBezTo>
                  <a:pt x="6289458" y="1287842"/>
                  <a:pt x="6290831" y="1294708"/>
                  <a:pt x="6289458" y="1298848"/>
                </a:cubicBezTo>
                <a:cubicBezTo>
                  <a:pt x="6289458" y="1302881"/>
                  <a:pt x="6293852" y="1300156"/>
                  <a:pt x="6293852" y="1304298"/>
                </a:cubicBezTo>
                <a:lnTo>
                  <a:pt x="6292204" y="1309637"/>
                </a:lnTo>
                <a:lnTo>
                  <a:pt x="6294952" y="1309855"/>
                </a:lnTo>
                <a:cubicBezTo>
                  <a:pt x="6298248" y="1309964"/>
                  <a:pt x="6300171" y="1309311"/>
                  <a:pt x="6302094" y="1312143"/>
                </a:cubicBezTo>
                <a:cubicBezTo>
                  <a:pt x="6303467" y="1314541"/>
                  <a:pt x="6303467" y="1316284"/>
                  <a:pt x="6302643" y="1317701"/>
                </a:cubicBezTo>
                <a:cubicBezTo>
                  <a:pt x="6301819" y="1319118"/>
                  <a:pt x="6300171" y="1320207"/>
                  <a:pt x="6297973" y="1321406"/>
                </a:cubicBezTo>
                <a:cubicBezTo>
                  <a:pt x="6295776" y="1322714"/>
                  <a:pt x="6293852" y="1322387"/>
                  <a:pt x="6291930" y="1321951"/>
                </a:cubicBezTo>
                <a:lnTo>
                  <a:pt x="6288633" y="1321624"/>
                </a:lnTo>
                <a:lnTo>
                  <a:pt x="6286710" y="1327618"/>
                </a:lnTo>
                <a:cubicBezTo>
                  <a:pt x="6286710" y="1333175"/>
                  <a:pt x="6286710" y="1339932"/>
                  <a:pt x="6286710" y="1345380"/>
                </a:cubicBezTo>
                <a:cubicBezTo>
                  <a:pt x="6288084" y="1359111"/>
                  <a:pt x="6292204" y="1374258"/>
                  <a:pt x="6293852" y="1387880"/>
                </a:cubicBezTo>
                <a:cubicBezTo>
                  <a:pt x="6293852" y="1394745"/>
                  <a:pt x="6295226" y="1401610"/>
                  <a:pt x="6293852" y="1408476"/>
                </a:cubicBezTo>
                <a:cubicBezTo>
                  <a:pt x="6296599" y="1405752"/>
                  <a:pt x="6297973" y="1400302"/>
                  <a:pt x="6303741" y="1403027"/>
                </a:cubicBezTo>
                <a:lnTo>
                  <a:pt x="6305940" y="1414687"/>
                </a:lnTo>
                <a:lnTo>
                  <a:pt x="6306764" y="1415450"/>
                </a:lnTo>
                <a:cubicBezTo>
                  <a:pt x="6308411" y="1412616"/>
                  <a:pt x="6309510" y="1411854"/>
                  <a:pt x="6310609" y="1411091"/>
                </a:cubicBezTo>
                <a:cubicBezTo>
                  <a:pt x="6312532" y="1411636"/>
                  <a:pt x="6314455" y="1414143"/>
                  <a:pt x="6314729" y="1417521"/>
                </a:cubicBezTo>
                <a:cubicBezTo>
                  <a:pt x="6312806" y="1416976"/>
                  <a:pt x="6311433" y="1419808"/>
                  <a:pt x="6309235" y="1419264"/>
                </a:cubicBezTo>
                <a:cubicBezTo>
                  <a:pt x="6309235" y="1419264"/>
                  <a:pt x="6308411" y="1418501"/>
                  <a:pt x="6307313" y="1417738"/>
                </a:cubicBezTo>
                <a:lnTo>
                  <a:pt x="6306489" y="1416976"/>
                </a:lnTo>
                <a:lnTo>
                  <a:pt x="6306489" y="1417412"/>
                </a:lnTo>
                <a:cubicBezTo>
                  <a:pt x="6306489" y="1422206"/>
                  <a:pt x="6305115" y="1427001"/>
                  <a:pt x="6303741" y="1431796"/>
                </a:cubicBezTo>
                <a:cubicBezTo>
                  <a:pt x="6302368" y="1438552"/>
                  <a:pt x="6300995" y="1444110"/>
                  <a:pt x="6298248" y="1450975"/>
                </a:cubicBezTo>
                <a:cubicBezTo>
                  <a:pt x="6299621" y="1450975"/>
                  <a:pt x="6299621" y="1450975"/>
                  <a:pt x="6299621" y="1450975"/>
                </a:cubicBezTo>
                <a:cubicBezTo>
                  <a:pt x="6296599" y="1453700"/>
                  <a:pt x="6298248" y="1463289"/>
                  <a:pt x="6295226" y="1467430"/>
                </a:cubicBezTo>
                <a:cubicBezTo>
                  <a:pt x="6295226" y="1474295"/>
                  <a:pt x="6295226" y="1481052"/>
                  <a:pt x="6293852" y="1487917"/>
                </a:cubicBezTo>
                <a:cubicBezTo>
                  <a:pt x="6292204" y="1498923"/>
                  <a:pt x="6291106" y="1511237"/>
                  <a:pt x="6283689" y="1523551"/>
                </a:cubicBezTo>
                <a:cubicBezTo>
                  <a:pt x="6286710" y="1519519"/>
                  <a:pt x="6286710" y="1523551"/>
                  <a:pt x="6283689" y="1529000"/>
                </a:cubicBezTo>
                <a:cubicBezTo>
                  <a:pt x="6283689" y="1533140"/>
                  <a:pt x="6280942" y="1538589"/>
                  <a:pt x="6277920" y="1540006"/>
                </a:cubicBezTo>
                <a:cubicBezTo>
                  <a:pt x="6277920" y="1544147"/>
                  <a:pt x="6276547" y="1548288"/>
                  <a:pt x="6275173" y="1551012"/>
                </a:cubicBezTo>
                <a:cubicBezTo>
                  <a:pt x="6275173" y="1553736"/>
                  <a:pt x="6275173" y="1556460"/>
                  <a:pt x="6273800" y="1557768"/>
                </a:cubicBezTo>
                <a:cubicBezTo>
                  <a:pt x="6273800" y="1563326"/>
                  <a:pt x="6272426" y="1567358"/>
                  <a:pt x="6272426" y="1572916"/>
                </a:cubicBezTo>
                <a:cubicBezTo>
                  <a:pt x="6270778" y="1572916"/>
                  <a:pt x="6271053" y="1574332"/>
                  <a:pt x="6269405" y="1574332"/>
                </a:cubicBezTo>
                <a:cubicBezTo>
                  <a:pt x="6269405" y="1574332"/>
                  <a:pt x="6269405" y="1572916"/>
                  <a:pt x="6269405" y="1571608"/>
                </a:cubicBezTo>
                <a:cubicBezTo>
                  <a:pt x="6269405" y="1568884"/>
                  <a:pt x="6270778" y="1567467"/>
                  <a:pt x="6270778" y="1566159"/>
                </a:cubicBezTo>
                <a:cubicBezTo>
                  <a:pt x="6268032" y="1574332"/>
                  <a:pt x="6265010" y="1583922"/>
                  <a:pt x="6262263" y="1592095"/>
                </a:cubicBezTo>
                <a:cubicBezTo>
                  <a:pt x="6253747" y="1614107"/>
                  <a:pt x="6243583" y="1637318"/>
                  <a:pt x="6233694" y="1660530"/>
                </a:cubicBezTo>
                <a:cubicBezTo>
                  <a:pt x="6233694" y="1660530"/>
                  <a:pt x="6233694" y="1660530"/>
                  <a:pt x="6235068" y="1660530"/>
                </a:cubicBezTo>
                <a:cubicBezTo>
                  <a:pt x="6232046" y="1668812"/>
                  <a:pt x="6229299" y="1677094"/>
                  <a:pt x="6230673" y="1682542"/>
                </a:cubicBezTo>
                <a:lnTo>
                  <a:pt x="6223531" y="1689843"/>
                </a:lnTo>
                <a:lnTo>
                  <a:pt x="6230124" y="1692568"/>
                </a:lnTo>
                <a:cubicBezTo>
                  <a:pt x="6227925" y="1695838"/>
                  <a:pt x="6223806" y="1698125"/>
                  <a:pt x="6218587" y="1699652"/>
                </a:cubicBezTo>
                <a:lnTo>
                  <a:pt x="6215565" y="1699869"/>
                </a:lnTo>
                <a:lnTo>
                  <a:pt x="6215015" y="1701722"/>
                </a:lnTo>
                <a:lnTo>
                  <a:pt x="6214191" y="1703138"/>
                </a:lnTo>
                <a:lnTo>
                  <a:pt x="6215015" y="1704773"/>
                </a:lnTo>
                <a:cubicBezTo>
                  <a:pt x="6217487" y="1708805"/>
                  <a:pt x="6219685" y="1710876"/>
                  <a:pt x="6217487" y="1715016"/>
                </a:cubicBezTo>
                <a:cubicBezTo>
                  <a:pt x="6215290" y="1718068"/>
                  <a:pt x="6213093" y="1719049"/>
                  <a:pt x="6210345" y="1718830"/>
                </a:cubicBezTo>
                <a:lnTo>
                  <a:pt x="6210345" y="1718722"/>
                </a:lnTo>
                <a:lnTo>
                  <a:pt x="6209796" y="1719375"/>
                </a:lnTo>
                <a:lnTo>
                  <a:pt x="6210071" y="1719920"/>
                </a:lnTo>
                <a:lnTo>
                  <a:pt x="6209247" y="1720683"/>
                </a:lnTo>
                <a:lnTo>
                  <a:pt x="6207874" y="1724280"/>
                </a:lnTo>
                <a:lnTo>
                  <a:pt x="6202379" y="1731798"/>
                </a:lnTo>
                <a:lnTo>
                  <a:pt x="6202929" y="1731907"/>
                </a:lnTo>
                <a:cubicBezTo>
                  <a:pt x="6208697" y="1732343"/>
                  <a:pt x="6213093" y="1731035"/>
                  <a:pt x="6217212" y="1736048"/>
                </a:cubicBezTo>
                <a:cubicBezTo>
                  <a:pt x="6216114" y="1743677"/>
                  <a:pt x="6211169" y="1747709"/>
                  <a:pt x="6206224" y="1748689"/>
                </a:cubicBezTo>
                <a:cubicBezTo>
                  <a:pt x="6201005" y="1749670"/>
                  <a:pt x="6195786" y="1747490"/>
                  <a:pt x="6194138" y="1742913"/>
                </a:cubicBezTo>
                <a:lnTo>
                  <a:pt x="6194687" y="1740298"/>
                </a:lnTo>
                <a:lnTo>
                  <a:pt x="6190567" y="1742804"/>
                </a:lnTo>
                <a:cubicBezTo>
                  <a:pt x="6191941" y="1738664"/>
                  <a:pt x="6194962" y="1730490"/>
                  <a:pt x="6197710" y="1723626"/>
                </a:cubicBezTo>
                <a:lnTo>
                  <a:pt x="6200456" y="1719484"/>
                </a:lnTo>
                <a:lnTo>
                  <a:pt x="6199632" y="1718939"/>
                </a:lnTo>
                <a:lnTo>
                  <a:pt x="6202379" y="1715344"/>
                </a:lnTo>
                <a:lnTo>
                  <a:pt x="6201830" y="1715016"/>
                </a:lnTo>
                <a:lnTo>
                  <a:pt x="6197984" y="1710113"/>
                </a:lnTo>
                <a:lnTo>
                  <a:pt x="6196886" y="1714907"/>
                </a:lnTo>
                <a:cubicBezTo>
                  <a:pt x="6195512" y="1718177"/>
                  <a:pt x="6193314" y="1720901"/>
                  <a:pt x="6190567" y="1722208"/>
                </a:cubicBezTo>
                <a:cubicBezTo>
                  <a:pt x="6184798" y="1733215"/>
                  <a:pt x="6179030" y="1746946"/>
                  <a:pt x="6173261" y="1757843"/>
                </a:cubicBezTo>
                <a:cubicBezTo>
                  <a:pt x="6166120" y="1770157"/>
                  <a:pt x="6158978" y="1779855"/>
                  <a:pt x="6151835" y="1785304"/>
                </a:cubicBezTo>
                <a:cubicBezTo>
                  <a:pt x="6153209" y="1783996"/>
                  <a:pt x="6141671" y="1778548"/>
                  <a:pt x="6143320" y="1789445"/>
                </a:cubicBezTo>
                <a:cubicBezTo>
                  <a:pt x="6146067" y="1789445"/>
                  <a:pt x="6147440" y="1785304"/>
                  <a:pt x="6150462" y="1789445"/>
                </a:cubicBezTo>
                <a:cubicBezTo>
                  <a:pt x="6143320" y="1804593"/>
                  <a:pt x="6134530" y="1809932"/>
                  <a:pt x="6126014" y="1811348"/>
                </a:cubicBezTo>
                <a:cubicBezTo>
                  <a:pt x="6126014" y="1816798"/>
                  <a:pt x="6122992" y="1825079"/>
                  <a:pt x="6120245" y="1831836"/>
                </a:cubicBezTo>
                <a:cubicBezTo>
                  <a:pt x="6118048" y="1835268"/>
                  <a:pt x="6115919" y="1839055"/>
                  <a:pt x="6114134" y="1842324"/>
                </a:cubicBezTo>
                <a:lnTo>
                  <a:pt x="6113053" y="1844293"/>
                </a:lnTo>
                <a:lnTo>
                  <a:pt x="6098648" y="1854175"/>
                </a:lnTo>
                <a:lnTo>
                  <a:pt x="6096723" y="1856907"/>
                </a:lnTo>
                <a:lnTo>
                  <a:pt x="6127731" y="1885382"/>
                </a:lnTo>
                <a:lnTo>
                  <a:pt x="6196887" y="1786723"/>
                </a:lnTo>
                <a:lnTo>
                  <a:pt x="6270983" y="1682394"/>
                </a:lnTo>
                <a:lnTo>
                  <a:pt x="6296918" y="1740228"/>
                </a:lnTo>
                <a:lnTo>
                  <a:pt x="6320380" y="1795795"/>
                </a:lnTo>
                <a:lnTo>
                  <a:pt x="6336157" y="1830695"/>
                </a:lnTo>
                <a:lnTo>
                  <a:pt x="6338353" y="1830637"/>
                </a:lnTo>
                <a:cubicBezTo>
                  <a:pt x="6341649" y="1832162"/>
                  <a:pt x="6341649" y="1832162"/>
                  <a:pt x="6340551" y="1833906"/>
                </a:cubicBezTo>
                <a:lnTo>
                  <a:pt x="6338409" y="1835676"/>
                </a:lnTo>
                <a:lnTo>
                  <a:pt x="6347550" y="1855897"/>
                </a:lnTo>
                <a:lnTo>
                  <a:pt x="6375954" y="1921670"/>
                </a:lnTo>
                <a:lnTo>
                  <a:pt x="6441405" y="1818475"/>
                </a:lnTo>
                <a:lnTo>
                  <a:pt x="6504387" y="1719816"/>
                </a:lnTo>
                <a:lnTo>
                  <a:pt x="6567368" y="1624559"/>
                </a:lnTo>
                <a:lnTo>
                  <a:pt x="6627881" y="1529302"/>
                </a:lnTo>
                <a:lnTo>
                  <a:pt x="6659989" y="1612084"/>
                </a:lnTo>
                <a:lnTo>
                  <a:pt x="6688392" y="1694868"/>
                </a:lnTo>
                <a:lnTo>
                  <a:pt x="6720501" y="1774249"/>
                </a:lnTo>
                <a:lnTo>
                  <a:pt x="6756314" y="1850228"/>
                </a:lnTo>
                <a:lnTo>
                  <a:pt x="6774838" y="1889918"/>
                </a:lnTo>
                <a:lnTo>
                  <a:pt x="6784718" y="1930743"/>
                </a:lnTo>
                <a:lnTo>
                  <a:pt x="6785952" y="1968165"/>
                </a:lnTo>
                <a:lnTo>
                  <a:pt x="6783483" y="2005587"/>
                </a:lnTo>
                <a:lnTo>
                  <a:pt x="6772368" y="2040741"/>
                </a:lnTo>
                <a:lnTo>
                  <a:pt x="6761254" y="2075896"/>
                </a:lnTo>
                <a:lnTo>
                  <a:pt x="6745199" y="2111051"/>
                </a:lnTo>
                <a:lnTo>
                  <a:pt x="6726676" y="2145071"/>
                </a:lnTo>
                <a:lnTo>
                  <a:pt x="6710621" y="2179091"/>
                </a:lnTo>
                <a:lnTo>
                  <a:pt x="6693333" y="2213112"/>
                </a:lnTo>
                <a:lnTo>
                  <a:pt x="6678513" y="2248266"/>
                </a:lnTo>
                <a:lnTo>
                  <a:pt x="6668633" y="2273214"/>
                </a:lnTo>
                <a:lnTo>
                  <a:pt x="6652580" y="2297028"/>
                </a:lnTo>
                <a:lnTo>
                  <a:pt x="6637759" y="2319709"/>
                </a:lnTo>
                <a:lnTo>
                  <a:pt x="6622941" y="2343523"/>
                </a:lnTo>
                <a:lnTo>
                  <a:pt x="6606887" y="2368472"/>
                </a:lnTo>
                <a:lnTo>
                  <a:pt x="6595771" y="2393420"/>
                </a:lnTo>
                <a:lnTo>
                  <a:pt x="6587128" y="2417234"/>
                </a:lnTo>
                <a:lnTo>
                  <a:pt x="6583423" y="2444450"/>
                </a:lnTo>
                <a:lnTo>
                  <a:pt x="6585893" y="2473935"/>
                </a:lnTo>
                <a:lnTo>
                  <a:pt x="6593302" y="2503419"/>
                </a:lnTo>
                <a:lnTo>
                  <a:pt x="6610592" y="2537440"/>
                </a:lnTo>
                <a:lnTo>
                  <a:pt x="6614297" y="2547646"/>
                </a:lnTo>
                <a:lnTo>
                  <a:pt x="6610592" y="2562388"/>
                </a:lnTo>
                <a:lnTo>
                  <a:pt x="6604416" y="2580532"/>
                </a:lnTo>
                <a:lnTo>
                  <a:pt x="6593302" y="2599810"/>
                </a:lnTo>
                <a:lnTo>
                  <a:pt x="6579718" y="2619088"/>
                </a:lnTo>
                <a:lnTo>
                  <a:pt x="6563664" y="2640635"/>
                </a:lnTo>
                <a:lnTo>
                  <a:pt x="6547609" y="2661047"/>
                </a:lnTo>
                <a:lnTo>
                  <a:pt x="6531556" y="2681459"/>
                </a:lnTo>
                <a:lnTo>
                  <a:pt x="6517971" y="2698469"/>
                </a:lnTo>
                <a:lnTo>
                  <a:pt x="6420411" y="2811871"/>
                </a:lnTo>
                <a:lnTo>
                  <a:pt x="6406841" y="2826611"/>
                </a:lnTo>
                <a:lnTo>
                  <a:pt x="6489116" y="2826611"/>
                </a:lnTo>
                <a:lnTo>
                  <a:pt x="6489116" y="2874200"/>
                </a:lnTo>
                <a:lnTo>
                  <a:pt x="6475588" y="2852619"/>
                </a:lnTo>
                <a:lnTo>
                  <a:pt x="6474687" y="2853504"/>
                </a:lnTo>
                <a:lnTo>
                  <a:pt x="6468675" y="2856160"/>
                </a:lnTo>
                <a:lnTo>
                  <a:pt x="6471981" y="2857599"/>
                </a:lnTo>
                <a:cubicBezTo>
                  <a:pt x="6474086" y="2860809"/>
                  <a:pt x="6470478" y="2867228"/>
                  <a:pt x="6471379" y="2872429"/>
                </a:cubicBezTo>
                <a:cubicBezTo>
                  <a:pt x="6473184" y="2874310"/>
                  <a:pt x="6475288" y="2876302"/>
                  <a:pt x="6476189" y="2879291"/>
                </a:cubicBezTo>
                <a:cubicBezTo>
                  <a:pt x="6478294" y="2873314"/>
                  <a:pt x="6473184" y="2863465"/>
                  <a:pt x="6478294" y="2859481"/>
                </a:cubicBezTo>
                <a:cubicBezTo>
                  <a:pt x="6481300" y="2867449"/>
                  <a:pt x="6477393" y="2871322"/>
                  <a:pt x="6484307" y="2882168"/>
                </a:cubicBezTo>
                <a:cubicBezTo>
                  <a:pt x="6478294" y="2888144"/>
                  <a:pt x="6472282" y="2883164"/>
                  <a:pt x="6480399" y="2896998"/>
                </a:cubicBezTo>
                <a:cubicBezTo>
                  <a:pt x="6476189" y="2891022"/>
                  <a:pt x="6470177" y="2893125"/>
                  <a:pt x="6467171" y="2884271"/>
                </a:cubicBezTo>
                <a:cubicBezTo>
                  <a:pt x="6464165" y="2885156"/>
                  <a:pt x="6464165" y="2890136"/>
                  <a:pt x="6465067" y="2895006"/>
                </a:cubicBezTo>
                <a:cubicBezTo>
                  <a:pt x="6465968" y="2897994"/>
                  <a:pt x="6467171" y="2900982"/>
                  <a:pt x="6468074" y="2903970"/>
                </a:cubicBezTo>
                <a:cubicBezTo>
                  <a:pt x="6469276" y="2904966"/>
                  <a:pt x="6468975" y="2906959"/>
                  <a:pt x="6470177" y="2907955"/>
                </a:cubicBezTo>
                <a:cubicBezTo>
                  <a:pt x="6470177" y="2908840"/>
                  <a:pt x="6470177" y="2909836"/>
                  <a:pt x="6471379" y="2909836"/>
                </a:cubicBezTo>
                <a:cubicBezTo>
                  <a:pt x="6471379" y="2910832"/>
                  <a:pt x="6471079" y="2910832"/>
                  <a:pt x="6472282" y="2911828"/>
                </a:cubicBezTo>
                <a:cubicBezTo>
                  <a:pt x="6476189" y="2920682"/>
                  <a:pt x="6481300" y="2926658"/>
                  <a:pt x="6477393" y="2914816"/>
                </a:cubicBezTo>
                <a:cubicBezTo>
                  <a:pt x="6482502" y="2917030"/>
                  <a:pt x="6484006" y="2930864"/>
                  <a:pt x="6487312" y="2934294"/>
                </a:cubicBezTo>
                <a:lnTo>
                  <a:pt x="6489116" y="2935069"/>
                </a:lnTo>
                <a:lnTo>
                  <a:pt x="6489116" y="3122989"/>
                </a:lnTo>
                <a:lnTo>
                  <a:pt x="6485209" y="3123653"/>
                </a:lnTo>
                <a:cubicBezTo>
                  <a:pt x="6484006" y="3124206"/>
                  <a:pt x="6483405" y="3124981"/>
                  <a:pt x="6483405" y="3125977"/>
                </a:cubicBezTo>
                <a:cubicBezTo>
                  <a:pt x="6482202" y="3119005"/>
                  <a:pt x="6479197" y="3110151"/>
                  <a:pt x="6476189" y="3100191"/>
                </a:cubicBezTo>
                <a:cubicBezTo>
                  <a:pt x="6472282" y="3091337"/>
                  <a:pt x="6468074" y="3081598"/>
                  <a:pt x="6464165" y="3074626"/>
                </a:cubicBezTo>
                <a:cubicBezTo>
                  <a:pt x="6476189" y="3074626"/>
                  <a:pt x="6459055" y="3060792"/>
                  <a:pt x="6469276" y="3051827"/>
                </a:cubicBezTo>
                <a:cubicBezTo>
                  <a:pt x="6464165" y="3049946"/>
                  <a:pt x="6462061" y="3041092"/>
                  <a:pt x="6455147" y="3042088"/>
                </a:cubicBezTo>
                <a:cubicBezTo>
                  <a:pt x="6453042" y="3033234"/>
                  <a:pt x="6461159" y="3044966"/>
                  <a:pt x="6464165" y="3037108"/>
                </a:cubicBezTo>
                <a:cubicBezTo>
                  <a:pt x="6461159" y="3029250"/>
                  <a:pt x="6447932" y="3023274"/>
                  <a:pt x="6449134" y="3014420"/>
                </a:cubicBezTo>
                <a:cubicBezTo>
                  <a:pt x="6449134" y="3014420"/>
                  <a:pt x="6455147" y="3011432"/>
                  <a:pt x="6453944" y="3010547"/>
                </a:cubicBezTo>
                <a:cubicBezTo>
                  <a:pt x="6452141" y="3005567"/>
                  <a:pt x="6446129" y="3004571"/>
                  <a:pt x="6444023" y="2998705"/>
                </a:cubicBezTo>
                <a:cubicBezTo>
                  <a:pt x="6444023" y="2998705"/>
                  <a:pt x="6447932" y="2998705"/>
                  <a:pt x="6447932" y="2999701"/>
                </a:cubicBezTo>
                <a:cubicBezTo>
                  <a:pt x="6447030" y="2996713"/>
                  <a:pt x="6441018" y="2991733"/>
                  <a:pt x="6439815" y="2988745"/>
                </a:cubicBezTo>
                <a:cubicBezTo>
                  <a:pt x="6438011" y="2982768"/>
                  <a:pt x="6444023" y="2974025"/>
                  <a:pt x="6441018" y="2967053"/>
                </a:cubicBezTo>
                <a:cubicBezTo>
                  <a:pt x="6438011" y="2961188"/>
                  <a:pt x="6427791" y="2960191"/>
                  <a:pt x="6424785" y="2955211"/>
                </a:cubicBezTo>
                <a:cubicBezTo>
                  <a:pt x="6421778" y="2950342"/>
                  <a:pt x="6421778" y="2944365"/>
                  <a:pt x="6421778" y="2939496"/>
                </a:cubicBezTo>
                <a:cubicBezTo>
                  <a:pt x="6421778" y="2936508"/>
                  <a:pt x="6420576" y="2934405"/>
                  <a:pt x="6419674" y="2932524"/>
                </a:cubicBezTo>
                <a:cubicBezTo>
                  <a:pt x="6419674" y="2931527"/>
                  <a:pt x="6419674" y="2930531"/>
                  <a:pt x="6419674" y="2930531"/>
                </a:cubicBezTo>
                <a:cubicBezTo>
                  <a:pt x="6418773" y="2929535"/>
                  <a:pt x="6418773" y="2929535"/>
                  <a:pt x="6417871" y="2928539"/>
                </a:cubicBezTo>
                <a:cubicBezTo>
                  <a:pt x="6416668" y="2927543"/>
                  <a:pt x="6415766" y="2926547"/>
                  <a:pt x="6414564" y="2925551"/>
                </a:cubicBezTo>
                <a:cubicBezTo>
                  <a:pt x="6410655" y="2918690"/>
                  <a:pt x="6415766" y="2915701"/>
                  <a:pt x="6413662" y="2909836"/>
                </a:cubicBezTo>
                <a:cubicBezTo>
                  <a:pt x="6409753" y="2903860"/>
                  <a:pt x="6405545" y="2898990"/>
                  <a:pt x="6402539" y="2894010"/>
                </a:cubicBezTo>
                <a:cubicBezTo>
                  <a:pt x="6400435" y="2891022"/>
                  <a:pt x="6398330" y="2889140"/>
                  <a:pt x="6397429" y="2886152"/>
                </a:cubicBezTo>
                <a:cubicBezTo>
                  <a:pt x="6397429" y="2886152"/>
                  <a:pt x="6397429" y="2886152"/>
                  <a:pt x="6395626" y="2884271"/>
                </a:cubicBezTo>
                <a:cubicBezTo>
                  <a:pt x="6395626" y="2884271"/>
                  <a:pt x="6395626" y="2884160"/>
                  <a:pt x="6395626" y="2883164"/>
                </a:cubicBezTo>
                <a:cubicBezTo>
                  <a:pt x="6394423" y="2883164"/>
                  <a:pt x="6394423" y="2882168"/>
                  <a:pt x="6394423" y="2882168"/>
                </a:cubicBezTo>
                <a:cubicBezTo>
                  <a:pt x="6394423" y="2882168"/>
                  <a:pt x="6394423" y="2882279"/>
                  <a:pt x="6393520" y="2880287"/>
                </a:cubicBezTo>
                <a:cubicBezTo>
                  <a:pt x="6389312" y="2876302"/>
                  <a:pt x="6384201" y="2870326"/>
                  <a:pt x="6379392" y="2865346"/>
                </a:cubicBezTo>
                <a:lnTo>
                  <a:pt x="6369255" y="2867439"/>
                </a:lnTo>
                <a:lnTo>
                  <a:pt x="6352191" y="2885975"/>
                </a:lnTo>
                <a:lnTo>
                  <a:pt x="6365263" y="2896113"/>
                </a:lnTo>
                <a:cubicBezTo>
                  <a:pt x="6365263" y="2896113"/>
                  <a:pt x="6365263" y="2896002"/>
                  <a:pt x="6365263" y="2896998"/>
                </a:cubicBezTo>
                <a:cubicBezTo>
                  <a:pt x="6365263" y="2896998"/>
                  <a:pt x="6365263" y="2896998"/>
                  <a:pt x="6366164" y="2897994"/>
                </a:cubicBezTo>
                <a:cubicBezTo>
                  <a:pt x="6366164" y="2897994"/>
                  <a:pt x="6366164" y="2897994"/>
                  <a:pt x="6366164" y="2898990"/>
                </a:cubicBezTo>
                <a:cubicBezTo>
                  <a:pt x="6366164" y="2898990"/>
                  <a:pt x="6366164" y="2898990"/>
                  <a:pt x="6368270" y="2903970"/>
                </a:cubicBezTo>
                <a:cubicBezTo>
                  <a:pt x="6369171" y="2906959"/>
                  <a:pt x="6371275" y="2910832"/>
                  <a:pt x="6372177" y="2913710"/>
                </a:cubicBezTo>
                <a:cubicBezTo>
                  <a:pt x="6375183" y="2919686"/>
                  <a:pt x="6378189" y="2926547"/>
                  <a:pt x="6380294" y="2932524"/>
                </a:cubicBezTo>
                <a:cubicBezTo>
                  <a:pt x="6382397" y="2935401"/>
                  <a:pt x="6383300" y="2938389"/>
                  <a:pt x="6385405" y="2941377"/>
                </a:cubicBezTo>
                <a:cubicBezTo>
                  <a:pt x="6385405" y="2941377"/>
                  <a:pt x="6385405" y="2941488"/>
                  <a:pt x="6386306" y="2943369"/>
                </a:cubicBezTo>
                <a:cubicBezTo>
                  <a:pt x="6386306" y="2943369"/>
                  <a:pt x="6386306" y="2943369"/>
                  <a:pt x="6386306" y="2945361"/>
                </a:cubicBezTo>
                <a:cubicBezTo>
                  <a:pt x="6386306" y="2945361"/>
                  <a:pt x="6386306" y="2945361"/>
                  <a:pt x="6388410" y="2949235"/>
                </a:cubicBezTo>
                <a:cubicBezTo>
                  <a:pt x="6390515" y="2955211"/>
                  <a:pt x="6393520" y="2960081"/>
                  <a:pt x="6395626" y="2965061"/>
                </a:cubicBezTo>
                <a:cubicBezTo>
                  <a:pt x="6397429" y="2970041"/>
                  <a:pt x="6399532" y="2974911"/>
                  <a:pt x="6401638" y="2980887"/>
                </a:cubicBezTo>
                <a:cubicBezTo>
                  <a:pt x="6403441" y="2985756"/>
                  <a:pt x="6404643" y="2990737"/>
                  <a:pt x="6406447" y="2996602"/>
                </a:cubicBezTo>
                <a:cubicBezTo>
                  <a:pt x="6409453" y="3006452"/>
                  <a:pt x="6411558" y="3017298"/>
                  <a:pt x="6412761" y="3028144"/>
                </a:cubicBezTo>
                <a:cubicBezTo>
                  <a:pt x="6391417" y="3033124"/>
                  <a:pt x="6407650" y="3063780"/>
                  <a:pt x="6416668" y="3073630"/>
                </a:cubicBezTo>
                <a:cubicBezTo>
                  <a:pt x="6417570" y="3082483"/>
                  <a:pt x="6419674" y="3091337"/>
                  <a:pt x="6421778" y="3100191"/>
                </a:cubicBezTo>
                <a:cubicBezTo>
                  <a:pt x="6422680" y="3102183"/>
                  <a:pt x="6422680" y="3104286"/>
                  <a:pt x="6423883" y="3106167"/>
                </a:cubicBezTo>
                <a:cubicBezTo>
                  <a:pt x="6423883" y="3109155"/>
                  <a:pt x="6424785" y="3111147"/>
                  <a:pt x="6424785" y="3113139"/>
                </a:cubicBezTo>
                <a:cubicBezTo>
                  <a:pt x="6425686" y="3117013"/>
                  <a:pt x="6426888" y="3121993"/>
                  <a:pt x="6427791" y="3125977"/>
                </a:cubicBezTo>
                <a:lnTo>
                  <a:pt x="6439515" y="3179210"/>
                </a:lnTo>
                <a:lnTo>
                  <a:pt x="6445828" y="3173566"/>
                </a:lnTo>
                <a:cubicBezTo>
                  <a:pt x="6448232" y="3172238"/>
                  <a:pt x="6450938" y="3171906"/>
                  <a:pt x="6453343" y="3172127"/>
                </a:cubicBezTo>
                <a:cubicBezTo>
                  <a:pt x="6455748" y="3172459"/>
                  <a:pt x="6458454" y="3173455"/>
                  <a:pt x="6461159" y="3175115"/>
                </a:cubicBezTo>
                <a:lnTo>
                  <a:pt x="6468374" y="3180981"/>
                </a:lnTo>
                <a:lnTo>
                  <a:pt x="6468074" y="3176886"/>
                </a:lnTo>
                <a:cubicBezTo>
                  <a:pt x="6474086" y="3179874"/>
                  <a:pt x="6476189" y="3185740"/>
                  <a:pt x="6474086" y="3194593"/>
                </a:cubicBezTo>
                <a:cubicBezTo>
                  <a:pt x="6476189" y="3194593"/>
                  <a:pt x="6476189" y="3192601"/>
                  <a:pt x="6476189" y="3190609"/>
                </a:cubicBezTo>
                <a:cubicBezTo>
                  <a:pt x="6479197" y="3191605"/>
                  <a:pt x="6478294" y="3194704"/>
                  <a:pt x="6478294" y="3196585"/>
                </a:cubicBezTo>
                <a:cubicBezTo>
                  <a:pt x="6478294" y="3187732"/>
                  <a:pt x="6480399" y="3181756"/>
                  <a:pt x="6482202" y="3175890"/>
                </a:cubicBezTo>
                <a:cubicBezTo>
                  <a:pt x="6483405" y="3172902"/>
                  <a:pt x="6484307" y="3170024"/>
                  <a:pt x="6485209" y="3166040"/>
                </a:cubicBezTo>
                <a:cubicBezTo>
                  <a:pt x="6486411" y="3162167"/>
                  <a:pt x="6486411" y="3158183"/>
                  <a:pt x="6487312" y="3153202"/>
                </a:cubicBezTo>
                <a:lnTo>
                  <a:pt x="6489116" y="3152649"/>
                </a:lnTo>
                <a:lnTo>
                  <a:pt x="6489116" y="3333154"/>
                </a:lnTo>
                <a:lnTo>
                  <a:pt x="6486711" y="3340790"/>
                </a:lnTo>
                <a:cubicBezTo>
                  <a:pt x="6485209" y="3346434"/>
                  <a:pt x="6483705" y="3351968"/>
                  <a:pt x="6482202" y="3357391"/>
                </a:cubicBezTo>
                <a:cubicBezTo>
                  <a:pt x="6479197" y="3369233"/>
                  <a:pt x="6476189" y="3380189"/>
                  <a:pt x="6472282" y="3391035"/>
                </a:cubicBezTo>
                <a:cubicBezTo>
                  <a:pt x="6469276" y="3400885"/>
                  <a:pt x="6464165" y="3409738"/>
                  <a:pt x="6459956" y="3416600"/>
                </a:cubicBezTo>
                <a:cubicBezTo>
                  <a:pt x="6464165" y="3418592"/>
                  <a:pt x="6462963" y="3421580"/>
                  <a:pt x="6461159" y="3425454"/>
                </a:cubicBezTo>
                <a:cubicBezTo>
                  <a:pt x="6459956" y="3427446"/>
                  <a:pt x="6459956" y="3429438"/>
                  <a:pt x="6459055" y="3432426"/>
                </a:cubicBezTo>
                <a:cubicBezTo>
                  <a:pt x="6459055" y="3435304"/>
                  <a:pt x="6459055" y="3438402"/>
                  <a:pt x="6459956" y="3442276"/>
                </a:cubicBezTo>
                <a:cubicBezTo>
                  <a:pt x="6458153" y="3440284"/>
                  <a:pt x="6458153" y="3437296"/>
                  <a:pt x="6456049" y="3436300"/>
                </a:cubicBezTo>
                <a:cubicBezTo>
                  <a:pt x="6456049" y="3448141"/>
                  <a:pt x="6453944" y="3459983"/>
                  <a:pt x="6451840" y="3471825"/>
                </a:cubicBezTo>
                <a:cubicBezTo>
                  <a:pt x="6448833" y="3483667"/>
                  <a:pt x="6447030" y="3494513"/>
                  <a:pt x="6447030" y="3507351"/>
                </a:cubicBezTo>
                <a:cubicBezTo>
                  <a:pt x="6453042" y="3510339"/>
                  <a:pt x="6450938" y="3492631"/>
                  <a:pt x="6458153" y="3498607"/>
                </a:cubicBezTo>
                <a:cubicBezTo>
                  <a:pt x="6456049" y="3504473"/>
                  <a:pt x="6453944" y="3509343"/>
                  <a:pt x="6451840" y="3513327"/>
                </a:cubicBezTo>
                <a:cubicBezTo>
                  <a:pt x="6448833" y="3518307"/>
                  <a:pt x="6447030" y="3522180"/>
                  <a:pt x="6444926" y="3525169"/>
                </a:cubicBezTo>
                <a:cubicBezTo>
                  <a:pt x="6441920" y="3533026"/>
                  <a:pt x="6439815" y="3540884"/>
                  <a:pt x="6441018" y="3550734"/>
                </a:cubicBezTo>
                <a:cubicBezTo>
                  <a:pt x="6435908" y="3549738"/>
                  <a:pt x="6432900" y="3554718"/>
                  <a:pt x="6428692" y="3556710"/>
                </a:cubicBezTo>
                <a:cubicBezTo>
                  <a:pt x="6427791" y="3560694"/>
                  <a:pt x="6438011" y="3561690"/>
                  <a:pt x="6431698" y="3567556"/>
                </a:cubicBezTo>
                <a:cubicBezTo>
                  <a:pt x="6426888" y="3566560"/>
                  <a:pt x="6430797" y="3562686"/>
                  <a:pt x="6426888" y="3560694"/>
                </a:cubicBezTo>
                <a:cubicBezTo>
                  <a:pt x="6424785" y="3569548"/>
                  <a:pt x="6422680" y="3574528"/>
                  <a:pt x="6415766" y="3585374"/>
                </a:cubicBezTo>
                <a:cubicBezTo>
                  <a:pt x="6421778" y="3581390"/>
                  <a:pt x="6421778" y="3587255"/>
                  <a:pt x="6428692" y="3587255"/>
                </a:cubicBezTo>
                <a:cubicBezTo>
                  <a:pt x="6433803" y="3581390"/>
                  <a:pt x="6424785" y="3579398"/>
                  <a:pt x="6431698" y="3572536"/>
                </a:cubicBezTo>
                <a:cubicBezTo>
                  <a:pt x="6436809" y="3579398"/>
                  <a:pt x="6427791" y="3591239"/>
                  <a:pt x="6433803" y="3598101"/>
                </a:cubicBezTo>
                <a:cubicBezTo>
                  <a:pt x="6433803" y="3601089"/>
                  <a:pt x="6424785" y="3594117"/>
                  <a:pt x="6428692" y="3590243"/>
                </a:cubicBezTo>
                <a:cubicBezTo>
                  <a:pt x="6423583" y="3587255"/>
                  <a:pt x="6418773" y="3588251"/>
                  <a:pt x="6414564" y="3592235"/>
                </a:cubicBezTo>
                <a:cubicBezTo>
                  <a:pt x="6410655" y="3596220"/>
                  <a:pt x="6408552" y="3601089"/>
                  <a:pt x="6409753" y="3607065"/>
                </a:cubicBezTo>
                <a:cubicBezTo>
                  <a:pt x="6412761" y="3608062"/>
                  <a:pt x="6413662" y="3604077"/>
                  <a:pt x="6415766" y="3602085"/>
                </a:cubicBezTo>
                <a:cubicBezTo>
                  <a:pt x="6415766" y="3606955"/>
                  <a:pt x="6420576" y="3611050"/>
                  <a:pt x="6418773" y="3616915"/>
                </a:cubicBezTo>
                <a:cubicBezTo>
                  <a:pt x="6412761" y="3613042"/>
                  <a:pt x="6407650" y="3613927"/>
                  <a:pt x="6399532" y="3615919"/>
                </a:cubicBezTo>
                <a:cubicBezTo>
                  <a:pt x="6400435" y="3619903"/>
                  <a:pt x="6397429" y="3624773"/>
                  <a:pt x="6393520" y="3629642"/>
                </a:cubicBezTo>
                <a:cubicBezTo>
                  <a:pt x="6390515" y="3633627"/>
                  <a:pt x="6386306" y="3638607"/>
                  <a:pt x="6387508" y="3642591"/>
                </a:cubicBezTo>
                <a:cubicBezTo>
                  <a:pt x="6393520" y="3643476"/>
                  <a:pt x="6396527" y="3624883"/>
                  <a:pt x="6403441" y="3632741"/>
                </a:cubicBezTo>
                <a:cubicBezTo>
                  <a:pt x="6398030" y="3634733"/>
                  <a:pt x="6395926" y="3637611"/>
                  <a:pt x="6395324" y="3641152"/>
                </a:cubicBezTo>
                <a:lnTo>
                  <a:pt x="6395324" y="3649342"/>
                </a:lnTo>
                <a:lnTo>
                  <a:pt x="6401037" y="3646354"/>
                </a:lnTo>
                <a:cubicBezTo>
                  <a:pt x="6401938" y="3651887"/>
                  <a:pt x="6408852" y="3650670"/>
                  <a:pt x="6406146" y="3656868"/>
                </a:cubicBezTo>
                <a:cubicBezTo>
                  <a:pt x="6403741" y="3658638"/>
                  <a:pt x="6400134" y="3659302"/>
                  <a:pt x="6394723" y="3657421"/>
                </a:cubicBezTo>
                <a:lnTo>
                  <a:pt x="6394723" y="3652994"/>
                </a:lnTo>
                <a:lnTo>
                  <a:pt x="6392018" y="3651555"/>
                </a:lnTo>
                <a:cubicBezTo>
                  <a:pt x="6388109" y="3651555"/>
                  <a:pt x="6383300" y="3656314"/>
                  <a:pt x="6380294" y="3662290"/>
                </a:cubicBezTo>
                <a:cubicBezTo>
                  <a:pt x="6375183" y="3670148"/>
                  <a:pt x="6372177" y="3679998"/>
                  <a:pt x="6377287" y="3684978"/>
                </a:cubicBezTo>
                <a:cubicBezTo>
                  <a:pt x="6374282" y="3692836"/>
                  <a:pt x="6361054" y="3687855"/>
                  <a:pt x="6366164" y="3696820"/>
                </a:cubicBezTo>
                <a:cubicBezTo>
                  <a:pt x="6363159" y="3695824"/>
                  <a:pt x="6359250" y="3697816"/>
                  <a:pt x="6356244" y="3699808"/>
                </a:cubicBezTo>
                <a:cubicBezTo>
                  <a:pt x="6352036" y="3702796"/>
                  <a:pt x="6349029" y="3706670"/>
                  <a:pt x="6344821" y="3710654"/>
                </a:cubicBezTo>
                <a:cubicBezTo>
                  <a:pt x="6346926" y="3712646"/>
                  <a:pt x="6349029" y="3711539"/>
                  <a:pt x="6351135" y="3709658"/>
                </a:cubicBezTo>
                <a:cubicBezTo>
                  <a:pt x="6353238" y="3713531"/>
                  <a:pt x="6346024" y="3715523"/>
                  <a:pt x="6340012" y="3718512"/>
                </a:cubicBezTo>
                <a:cubicBezTo>
                  <a:pt x="6333698" y="3721500"/>
                  <a:pt x="6328888" y="3725373"/>
                  <a:pt x="6331894" y="3732235"/>
                </a:cubicBezTo>
                <a:cubicBezTo>
                  <a:pt x="6329791" y="3731239"/>
                  <a:pt x="6328888" y="3730353"/>
                  <a:pt x="6326784" y="3731349"/>
                </a:cubicBezTo>
                <a:cubicBezTo>
                  <a:pt x="6326784" y="3735334"/>
                  <a:pt x="6330993" y="3733341"/>
                  <a:pt x="6328888" y="3739318"/>
                </a:cubicBezTo>
                <a:cubicBezTo>
                  <a:pt x="6323779" y="3742195"/>
                  <a:pt x="6324680" y="3739318"/>
                  <a:pt x="6321673" y="3735334"/>
                </a:cubicBezTo>
                <a:cubicBezTo>
                  <a:pt x="6322876" y="3743191"/>
                  <a:pt x="6320772" y="3751160"/>
                  <a:pt x="6318668" y="3759017"/>
                </a:cubicBezTo>
                <a:cubicBezTo>
                  <a:pt x="6316564" y="3757025"/>
                  <a:pt x="6311753" y="3755033"/>
                  <a:pt x="6305741" y="3761895"/>
                </a:cubicBezTo>
                <a:cubicBezTo>
                  <a:pt x="6319870" y="3759017"/>
                  <a:pt x="6306643" y="3777721"/>
                  <a:pt x="6299428" y="3770859"/>
                </a:cubicBezTo>
                <a:cubicBezTo>
                  <a:pt x="6298526" y="3773847"/>
                  <a:pt x="6297625" y="3782590"/>
                  <a:pt x="6302435" y="3779602"/>
                </a:cubicBezTo>
                <a:cubicBezTo>
                  <a:pt x="6300631" y="3781594"/>
                  <a:pt x="6283195" y="3782590"/>
                  <a:pt x="6287403" y="3795428"/>
                </a:cubicBezTo>
                <a:cubicBezTo>
                  <a:pt x="6278385" y="3796424"/>
                  <a:pt x="6271170" y="3803396"/>
                  <a:pt x="6266360" y="3810258"/>
                </a:cubicBezTo>
                <a:lnTo>
                  <a:pt x="6265670" y="3813507"/>
                </a:lnTo>
                <a:lnTo>
                  <a:pt x="6265158" y="3813800"/>
                </a:lnTo>
                <a:lnTo>
                  <a:pt x="6265498" y="3814318"/>
                </a:lnTo>
                <a:lnTo>
                  <a:pt x="6262152" y="3830068"/>
                </a:lnTo>
                <a:cubicBezTo>
                  <a:pt x="6264256" y="3832946"/>
                  <a:pt x="6253134" y="3836930"/>
                  <a:pt x="6250128" y="3836930"/>
                </a:cubicBezTo>
                <a:cubicBezTo>
                  <a:pt x="6245920" y="3840803"/>
                  <a:pt x="6254035" y="3844788"/>
                  <a:pt x="6248023" y="3847776"/>
                </a:cubicBezTo>
                <a:cubicBezTo>
                  <a:pt x="6260348" y="3842795"/>
                  <a:pt x="6272373" y="3831064"/>
                  <a:pt x="6284397" y="3818226"/>
                </a:cubicBezTo>
                <a:cubicBezTo>
                  <a:pt x="6279288" y="3813246"/>
                  <a:pt x="6272373" y="3824977"/>
                  <a:pt x="6267262" y="3819112"/>
                </a:cubicBezTo>
                <a:lnTo>
                  <a:pt x="6268165" y="3817562"/>
                </a:lnTo>
                <a:lnTo>
                  <a:pt x="6267262" y="3817009"/>
                </a:lnTo>
                <a:lnTo>
                  <a:pt x="6265498" y="3814318"/>
                </a:lnTo>
                <a:lnTo>
                  <a:pt x="6265670" y="3813507"/>
                </a:lnTo>
                <a:lnTo>
                  <a:pt x="6267863" y="3812250"/>
                </a:lnTo>
                <a:cubicBezTo>
                  <a:pt x="6267863" y="3812250"/>
                  <a:pt x="6267863" y="3812250"/>
                  <a:pt x="6266962" y="3810922"/>
                </a:cubicBezTo>
                <a:cubicBezTo>
                  <a:pt x="6268466" y="3810258"/>
                  <a:pt x="6269067" y="3811365"/>
                  <a:pt x="6270569" y="3810590"/>
                </a:cubicBezTo>
                <a:cubicBezTo>
                  <a:pt x="6270569" y="3810590"/>
                  <a:pt x="6271170" y="3812029"/>
                  <a:pt x="6271170" y="3812029"/>
                </a:cubicBezTo>
                <a:lnTo>
                  <a:pt x="6272373" y="3810258"/>
                </a:lnTo>
                <a:cubicBezTo>
                  <a:pt x="6272373" y="3807381"/>
                  <a:pt x="6272373" y="3804392"/>
                  <a:pt x="6277182" y="3801404"/>
                </a:cubicBezTo>
                <a:cubicBezTo>
                  <a:pt x="6279288" y="3803396"/>
                  <a:pt x="6276281" y="3805278"/>
                  <a:pt x="6274177" y="3807270"/>
                </a:cubicBezTo>
                <a:cubicBezTo>
                  <a:pt x="6286201" y="3812139"/>
                  <a:pt x="6299428" y="3805278"/>
                  <a:pt x="6312656" y="3795428"/>
                </a:cubicBezTo>
                <a:cubicBezTo>
                  <a:pt x="6310550" y="3806274"/>
                  <a:pt x="6295520" y="3812250"/>
                  <a:pt x="6289508" y="3813246"/>
                </a:cubicBezTo>
                <a:cubicBezTo>
                  <a:pt x="6288305" y="3827080"/>
                  <a:pt x="6260047" y="3839918"/>
                  <a:pt x="6275379" y="3853752"/>
                </a:cubicBezTo>
                <a:cubicBezTo>
                  <a:pt x="6259146" y="3856629"/>
                  <a:pt x="6262152" y="3871349"/>
                  <a:pt x="6257042" y="3882194"/>
                </a:cubicBezTo>
                <a:cubicBezTo>
                  <a:pt x="6242912" y="3881198"/>
                  <a:pt x="6261250" y="3869467"/>
                  <a:pt x="6259146" y="3864487"/>
                </a:cubicBezTo>
                <a:cubicBezTo>
                  <a:pt x="6251029" y="3858621"/>
                  <a:pt x="6254035" y="3878321"/>
                  <a:pt x="6244114" y="3877436"/>
                </a:cubicBezTo>
                <a:cubicBezTo>
                  <a:pt x="6239906" y="3884297"/>
                  <a:pt x="6253134" y="3877436"/>
                  <a:pt x="6250128" y="3885293"/>
                </a:cubicBezTo>
                <a:lnTo>
                  <a:pt x="6239005" y="3891712"/>
                </a:lnTo>
                <a:lnTo>
                  <a:pt x="6248023" y="3893483"/>
                </a:lnTo>
                <a:cubicBezTo>
                  <a:pt x="6251029" y="3894479"/>
                  <a:pt x="6253434" y="3895586"/>
                  <a:pt x="6253434" y="3896250"/>
                </a:cubicBezTo>
                <a:lnTo>
                  <a:pt x="6255839" y="3897467"/>
                </a:lnTo>
                <a:lnTo>
                  <a:pt x="6264857" y="3889277"/>
                </a:lnTo>
                <a:cubicBezTo>
                  <a:pt x="6267863" y="3887285"/>
                  <a:pt x="6270869" y="3886179"/>
                  <a:pt x="6273275" y="3887175"/>
                </a:cubicBezTo>
                <a:cubicBezTo>
                  <a:pt x="6282293" y="3880313"/>
                  <a:pt x="6290411" y="3873341"/>
                  <a:pt x="6298526" y="3867475"/>
                </a:cubicBezTo>
                <a:cubicBezTo>
                  <a:pt x="6305741" y="3860503"/>
                  <a:pt x="6312656" y="3853641"/>
                  <a:pt x="6319870" y="3847776"/>
                </a:cubicBezTo>
                <a:lnTo>
                  <a:pt x="6324380" y="3842795"/>
                </a:lnTo>
                <a:lnTo>
                  <a:pt x="6316864" y="3836487"/>
                </a:lnTo>
                <a:cubicBezTo>
                  <a:pt x="6313557" y="3831396"/>
                  <a:pt x="6315661" y="3825752"/>
                  <a:pt x="6332796" y="3826527"/>
                </a:cubicBezTo>
                <a:lnTo>
                  <a:pt x="6333999" y="3832392"/>
                </a:lnTo>
                <a:lnTo>
                  <a:pt x="6338809" y="3826969"/>
                </a:lnTo>
                <a:cubicBezTo>
                  <a:pt x="6345122" y="3821104"/>
                  <a:pt x="6351135" y="3814242"/>
                  <a:pt x="6357147" y="3808266"/>
                </a:cubicBezTo>
                <a:cubicBezTo>
                  <a:pt x="6359250" y="3810258"/>
                  <a:pt x="6357147" y="3813136"/>
                  <a:pt x="6359250" y="3815128"/>
                </a:cubicBezTo>
                <a:cubicBezTo>
                  <a:pt x="6362258" y="3819112"/>
                  <a:pt x="6365263" y="3810258"/>
                  <a:pt x="6368270" y="3808266"/>
                </a:cubicBezTo>
                <a:cubicBezTo>
                  <a:pt x="6365263" y="3801404"/>
                  <a:pt x="6362258" y="3813246"/>
                  <a:pt x="6359250" y="3806385"/>
                </a:cubicBezTo>
                <a:cubicBezTo>
                  <a:pt x="6363159" y="3798416"/>
                  <a:pt x="6372177" y="3788566"/>
                  <a:pt x="6381496" y="3778717"/>
                </a:cubicBezTo>
                <a:cubicBezTo>
                  <a:pt x="6390515" y="3768867"/>
                  <a:pt x="6399532" y="3759017"/>
                  <a:pt x="6404643" y="3750053"/>
                </a:cubicBezTo>
                <a:cubicBezTo>
                  <a:pt x="6407650" y="3753041"/>
                  <a:pt x="6401638" y="3757025"/>
                  <a:pt x="6405545" y="3759017"/>
                </a:cubicBezTo>
                <a:cubicBezTo>
                  <a:pt x="6413662" y="3752045"/>
                  <a:pt x="6400435" y="3744187"/>
                  <a:pt x="6412761" y="3741199"/>
                </a:cubicBezTo>
                <a:cubicBezTo>
                  <a:pt x="6414564" y="3744187"/>
                  <a:pt x="6413662" y="3747175"/>
                  <a:pt x="6409753" y="3751160"/>
                </a:cubicBezTo>
                <a:cubicBezTo>
                  <a:pt x="6420876" y="3749167"/>
                  <a:pt x="6420876" y="3729357"/>
                  <a:pt x="6426888" y="3728361"/>
                </a:cubicBezTo>
                <a:cubicBezTo>
                  <a:pt x="6424785" y="3727365"/>
                  <a:pt x="6423883" y="3727365"/>
                  <a:pt x="6421778" y="3728361"/>
                </a:cubicBezTo>
                <a:cubicBezTo>
                  <a:pt x="6424785" y="3725373"/>
                  <a:pt x="6427791" y="3722496"/>
                  <a:pt x="6431698" y="3717515"/>
                </a:cubicBezTo>
                <a:cubicBezTo>
                  <a:pt x="6435006" y="3713531"/>
                  <a:pt x="6439815" y="3709547"/>
                  <a:pt x="6442821" y="3704678"/>
                </a:cubicBezTo>
                <a:cubicBezTo>
                  <a:pt x="6450036" y="3694828"/>
                  <a:pt x="6455147" y="3684978"/>
                  <a:pt x="6450938" y="3680108"/>
                </a:cubicBezTo>
                <a:cubicBezTo>
                  <a:pt x="6453944" y="3676124"/>
                  <a:pt x="6456951" y="3680994"/>
                  <a:pt x="6459956" y="3675128"/>
                </a:cubicBezTo>
                <a:cubicBezTo>
                  <a:pt x="6462061" y="3671144"/>
                  <a:pt x="6459055" y="3669152"/>
                  <a:pt x="6456049" y="3667271"/>
                </a:cubicBezTo>
                <a:cubicBezTo>
                  <a:pt x="6465067" y="3666275"/>
                  <a:pt x="6480399" y="3633627"/>
                  <a:pt x="6485209" y="3625769"/>
                </a:cubicBezTo>
                <a:cubicBezTo>
                  <a:pt x="6492423" y="3632630"/>
                  <a:pt x="6474386" y="3649453"/>
                  <a:pt x="6480399" y="3657310"/>
                </a:cubicBezTo>
                <a:cubicBezTo>
                  <a:pt x="6482202" y="3652330"/>
                  <a:pt x="6485509" y="3647460"/>
                  <a:pt x="6488515" y="3642591"/>
                </a:cubicBezTo>
                <a:lnTo>
                  <a:pt x="6489116" y="3641152"/>
                </a:lnTo>
                <a:lnTo>
                  <a:pt x="6489116" y="3680108"/>
                </a:lnTo>
                <a:lnTo>
                  <a:pt x="6486411" y="3684978"/>
                </a:lnTo>
                <a:cubicBezTo>
                  <a:pt x="6481300" y="3693832"/>
                  <a:pt x="6476189" y="3702796"/>
                  <a:pt x="6469276" y="3711650"/>
                </a:cubicBezTo>
                <a:cubicBezTo>
                  <a:pt x="6467171" y="3708662"/>
                  <a:pt x="6467171" y="3705674"/>
                  <a:pt x="6465067" y="3703792"/>
                </a:cubicBezTo>
                <a:cubicBezTo>
                  <a:pt x="6462963" y="3713642"/>
                  <a:pt x="6461159" y="3724488"/>
                  <a:pt x="6461159" y="3734338"/>
                </a:cubicBezTo>
                <a:cubicBezTo>
                  <a:pt x="6456049" y="3732345"/>
                  <a:pt x="6437711" y="3752045"/>
                  <a:pt x="6447030" y="3759903"/>
                </a:cubicBezTo>
                <a:cubicBezTo>
                  <a:pt x="6444023" y="3760124"/>
                  <a:pt x="6440718" y="3761784"/>
                  <a:pt x="6437110" y="3764219"/>
                </a:cubicBezTo>
                <a:lnTo>
                  <a:pt x="6431698" y="3768756"/>
                </a:lnTo>
                <a:lnTo>
                  <a:pt x="6434405" y="3767982"/>
                </a:lnTo>
                <a:cubicBezTo>
                  <a:pt x="6438914" y="3768092"/>
                  <a:pt x="6444023" y="3769863"/>
                  <a:pt x="6448232" y="3773847"/>
                </a:cubicBezTo>
                <a:cubicBezTo>
                  <a:pt x="6448232" y="3779159"/>
                  <a:pt x="6441619" y="3788234"/>
                  <a:pt x="6435006" y="3792440"/>
                </a:cubicBezTo>
                <a:lnTo>
                  <a:pt x="6431999" y="3793768"/>
                </a:lnTo>
                <a:lnTo>
                  <a:pt x="6431398" y="3795317"/>
                </a:lnTo>
                <a:cubicBezTo>
                  <a:pt x="6429295" y="3797974"/>
                  <a:pt x="6426588" y="3799966"/>
                  <a:pt x="6422981" y="3801183"/>
                </a:cubicBezTo>
                <a:cubicBezTo>
                  <a:pt x="6420876" y="3805831"/>
                  <a:pt x="6415165" y="3810037"/>
                  <a:pt x="6410054" y="3810922"/>
                </a:cubicBezTo>
                <a:cubicBezTo>
                  <a:pt x="6403441" y="3810147"/>
                  <a:pt x="6400735" y="3806495"/>
                  <a:pt x="6401037" y="3803286"/>
                </a:cubicBezTo>
                <a:lnTo>
                  <a:pt x="6401638" y="3800408"/>
                </a:lnTo>
                <a:lnTo>
                  <a:pt x="6399532" y="3802400"/>
                </a:lnTo>
                <a:cubicBezTo>
                  <a:pt x="6395626" y="3807381"/>
                  <a:pt x="6391417" y="3814242"/>
                  <a:pt x="6385405" y="3817230"/>
                </a:cubicBezTo>
                <a:cubicBezTo>
                  <a:pt x="6382397" y="3822100"/>
                  <a:pt x="6389312" y="3817120"/>
                  <a:pt x="6388410" y="3822985"/>
                </a:cubicBezTo>
                <a:cubicBezTo>
                  <a:pt x="6380294" y="3826969"/>
                  <a:pt x="6374282" y="3831064"/>
                  <a:pt x="6376085" y="3837926"/>
                </a:cubicBezTo>
                <a:cubicBezTo>
                  <a:pt x="6369171" y="3835934"/>
                  <a:pt x="6366164" y="3850653"/>
                  <a:pt x="6357147" y="3843791"/>
                </a:cubicBezTo>
                <a:cubicBezTo>
                  <a:pt x="6358048" y="3847776"/>
                  <a:pt x="6356244" y="3851649"/>
                  <a:pt x="6351135" y="3846669"/>
                </a:cubicBezTo>
                <a:cubicBezTo>
                  <a:pt x="6352036" y="3855633"/>
                  <a:pt x="6338809" y="3856629"/>
                  <a:pt x="6343017" y="3863491"/>
                </a:cubicBezTo>
                <a:cubicBezTo>
                  <a:pt x="6338809" y="3862495"/>
                  <a:pt x="6334901" y="3863491"/>
                  <a:pt x="6331894" y="3866479"/>
                </a:cubicBezTo>
                <a:cubicBezTo>
                  <a:pt x="6328888" y="3868471"/>
                  <a:pt x="6325882" y="3871349"/>
                  <a:pt x="6322576" y="3874337"/>
                </a:cubicBezTo>
                <a:cubicBezTo>
                  <a:pt x="6317766" y="3881198"/>
                  <a:pt x="6312656" y="3889167"/>
                  <a:pt x="6307545" y="3889167"/>
                </a:cubicBezTo>
                <a:cubicBezTo>
                  <a:pt x="6306643" y="3895143"/>
                  <a:pt x="6310550" y="3901009"/>
                  <a:pt x="6303637" y="3906874"/>
                </a:cubicBezTo>
                <a:cubicBezTo>
                  <a:pt x="6284397" y="3910858"/>
                  <a:pt x="6284397" y="3918827"/>
                  <a:pt x="6269067" y="3937641"/>
                </a:cubicBezTo>
                <a:cubicBezTo>
                  <a:pt x="6261250" y="3940518"/>
                  <a:pt x="6276281" y="3930669"/>
                  <a:pt x="6271170" y="3928676"/>
                </a:cubicBezTo>
                <a:cubicBezTo>
                  <a:pt x="6268165" y="3930669"/>
                  <a:pt x="6266360" y="3932550"/>
                  <a:pt x="6263054" y="3935538"/>
                </a:cubicBezTo>
                <a:cubicBezTo>
                  <a:pt x="6260047" y="3937530"/>
                  <a:pt x="6258244" y="3939522"/>
                  <a:pt x="6254937" y="3941514"/>
                </a:cubicBezTo>
                <a:cubicBezTo>
                  <a:pt x="6250128" y="3946495"/>
                  <a:pt x="6243814" y="3950368"/>
                  <a:pt x="6237802" y="3955238"/>
                </a:cubicBezTo>
                <a:cubicBezTo>
                  <a:pt x="6231790" y="3959222"/>
                  <a:pt x="6226679" y="3964202"/>
                  <a:pt x="6220667" y="3968186"/>
                </a:cubicBezTo>
                <a:cubicBezTo>
                  <a:pt x="6214655" y="3972060"/>
                  <a:pt x="6208643" y="3977040"/>
                  <a:pt x="6202631" y="3981024"/>
                </a:cubicBezTo>
                <a:cubicBezTo>
                  <a:pt x="6196618" y="3984897"/>
                  <a:pt x="6191508" y="3989767"/>
                  <a:pt x="6185496" y="3994747"/>
                </a:cubicBezTo>
                <a:cubicBezTo>
                  <a:pt x="6180385" y="3998731"/>
                  <a:pt x="6174373" y="4003712"/>
                  <a:pt x="6169262" y="4008581"/>
                </a:cubicBezTo>
                <a:cubicBezTo>
                  <a:pt x="6164152" y="4013561"/>
                  <a:pt x="6159342" y="4018431"/>
                  <a:pt x="6154231" y="4023411"/>
                </a:cubicBezTo>
                <a:cubicBezTo>
                  <a:pt x="6151225" y="4026289"/>
                  <a:pt x="6149120" y="4029277"/>
                  <a:pt x="6147017" y="4032265"/>
                </a:cubicBezTo>
                <a:cubicBezTo>
                  <a:pt x="6147017" y="4032265"/>
                  <a:pt x="6147017" y="4032265"/>
                  <a:pt x="6144912" y="4034257"/>
                </a:cubicBezTo>
                <a:cubicBezTo>
                  <a:pt x="6139802" y="4037134"/>
                  <a:pt x="6156035" y="4029277"/>
                  <a:pt x="6133790" y="4040233"/>
                </a:cubicBezTo>
                <a:cubicBezTo>
                  <a:pt x="6133790" y="4040233"/>
                  <a:pt x="6133790" y="4040122"/>
                  <a:pt x="6133790" y="4041119"/>
                </a:cubicBezTo>
                <a:cubicBezTo>
                  <a:pt x="6133790" y="4041119"/>
                  <a:pt x="6134090" y="4041119"/>
                  <a:pt x="6132887" y="4042115"/>
                </a:cubicBezTo>
                <a:cubicBezTo>
                  <a:pt x="6132887" y="4043111"/>
                  <a:pt x="6132887" y="4043996"/>
                  <a:pt x="6131985" y="4044992"/>
                </a:cubicBezTo>
                <a:cubicBezTo>
                  <a:pt x="6134090" y="4047980"/>
                  <a:pt x="6135894" y="4048091"/>
                  <a:pt x="6137096" y="4048091"/>
                </a:cubicBezTo>
                <a:cubicBezTo>
                  <a:pt x="6137096" y="4048091"/>
                  <a:pt x="6137096" y="4048091"/>
                  <a:pt x="6137096" y="4047095"/>
                </a:cubicBezTo>
                <a:cubicBezTo>
                  <a:pt x="6137096" y="4047095"/>
                  <a:pt x="6137096" y="4047095"/>
                  <a:pt x="6137998" y="4047095"/>
                </a:cubicBezTo>
                <a:cubicBezTo>
                  <a:pt x="6141005" y="4045103"/>
                  <a:pt x="6144912" y="4043111"/>
                  <a:pt x="6149120" y="4041119"/>
                </a:cubicBezTo>
                <a:cubicBezTo>
                  <a:pt x="6150023" y="4041119"/>
                  <a:pt x="6150023" y="4041119"/>
                  <a:pt x="6150023" y="4041119"/>
                </a:cubicBezTo>
                <a:cubicBezTo>
                  <a:pt x="6151225" y="4041119"/>
                  <a:pt x="6152127" y="4041119"/>
                  <a:pt x="6153029" y="4043111"/>
                </a:cubicBezTo>
                <a:cubicBezTo>
                  <a:pt x="6152127" y="4043111"/>
                  <a:pt x="6152127" y="4044107"/>
                  <a:pt x="6152127" y="4044107"/>
                </a:cubicBezTo>
                <a:cubicBezTo>
                  <a:pt x="6151225" y="4045103"/>
                  <a:pt x="6151225" y="4044992"/>
                  <a:pt x="6151225" y="4044992"/>
                </a:cubicBezTo>
                <a:cubicBezTo>
                  <a:pt x="6150624" y="4045324"/>
                  <a:pt x="6150624" y="4045324"/>
                  <a:pt x="6150323" y="4045435"/>
                </a:cubicBezTo>
                <a:cubicBezTo>
                  <a:pt x="6148820" y="4046320"/>
                  <a:pt x="6145513" y="4048091"/>
                  <a:pt x="6139802" y="4050968"/>
                </a:cubicBezTo>
                <a:cubicBezTo>
                  <a:pt x="6139802" y="4050968"/>
                  <a:pt x="6140102" y="4050968"/>
                  <a:pt x="6138900" y="4050968"/>
                </a:cubicBezTo>
                <a:cubicBezTo>
                  <a:pt x="6138900" y="4050968"/>
                  <a:pt x="6138900" y="4051079"/>
                  <a:pt x="6138900" y="4052075"/>
                </a:cubicBezTo>
                <a:cubicBezTo>
                  <a:pt x="6138900" y="4052075"/>
                  <a:pt x="6138900" y="4052960"/>
                  <a:pt x="6137998" y="4052960"/>
                </a:cubicBezTo>
                <a:cubicBezTo>
                  <a:pt x="6137998" y="4053956"/>
                  <a:pt x="6136796" y="4053956"/>
                  <a:pt x="6135894" y="4054952"/>
                </a:cubicBezTo>
                <a:cubicBezTo>
                  <a:pt x="6134993" y="4055948"/>
                  <a:pt x="6134090" y="4057830"/>
                  <a:pt x="6132887" y="4060818"/>
                </a:cubicBezTo>
                <a:cubicBezTo>
                  <a:pt x="6130784" y="4056834"/>
                  <a:pt x="6134090" y="4056945"/>
                  <a:pt x="6132887" y="4053956"/>
                </a:cubicBezTo>
                <a:cubicBezTo>
                  <a:pt x="6131985" y="4052960"/>
                  <a:pt x="6130784" y="4052518"/>
                  <a:pt x="6129281" y="4052407"/>
                </a:cubicBezTo>
                <a:lnTo>
                  <a:pt x="6128679" y="4052518"/>
                </a:lnTo>
                <a:lnTo>
                  <a:pt x="6128078" y="4057277"/>
                </a:lnTo>
                <a:cubicBezTo>
                  <a:pt x="6129582" y="4060486"/>
                  <a:pt x="6129281" y="4064913"/>
                  <a:pt x="6127476" y="4067680"/>
                </a:cubicBezTo>
                <a:cubicBezTo>
                  <a:pt x="6125673" y="4068897"/>
                  <a:pt x="6124170" y="4069450"/>
                  <a:pt x="6122667" y="4069340"/>
                </a:cubicBezTo>
                <a:lnTo>
                  <a:pt x="6120262" y="4068344"/>
                </a:lnTo>
                <a:lnTo>
                  <a:pt x="6120863" y="4069672"/>
                </a:lnTo>
                <a:cubicBezTo>
                  <a:pt x="6119661" y="4069672"/>
                  <a:pt x="6119961" y="4069672"/>
                  <a:pt x="6118759" y="4069672"/>
                </a:cubicBezTo>
                <a:cubicBezTo>
                  <a:pt x="6118759" y="4069672"/>
                  <a:pt x="6117857" y="4069672"/>
                  <a:pt x="6116654" y="4069672"/>
                </a:cubicBezTo>
                <a:cubicBezTo>
                  <a:pt x="6115752" y="4068786"/>
                  <a:pt x="6114550" y="4066794"/>
                  <a:pt x="6113649" y="4065798"/>
                </a:cubicBezTo>
                <a:cubicBezTo>
                  <a:pt x="6106734" y="4072660"/>
                  <a:pt x="6097716" y="4078636"/>
                  <a:pt x="6088396" y="4083616"/>
                </a:cubicBezTo>
                <a:cubicBezTo>
                  <a:pt x="6083587" y="4086494"/>
                  <a:pt x="6078476" y="4089371"/>
                  <a:pt x="6073366" y="4092359"/>
                </a:cubicBezTo>
                <a:cubicBezTo>
                  <a:pt x="6071261" y="4093355"/>
                  <a:pt x="6068256" y="4094351"/>
                  <a:pt x="6066151" y="4096344"/>
                </a:cubicBezTo>
                <a:cubicBezTo>
                  <a:pt x="6066151" y="4096344"/>
                  <a:pt x="6066151" y="4096344"/>
                  <a:pt x="6062243" y="4097340"/>
                </a:cubicBezTo>
                <a:cubicBezTo>
                  <a:pt x="6062243" y="4097340"/>
                  <a:pt x="6062243" y="4097340"/>
                  <a:pt x="6060138" y="4098336"/>
                </a:cubicBezTo>
                <a:cubicBezTo>
                  <a:pt x="6060138" y="4098336"/>
                  <a:pt x="6060138" y="4098336"/>
                  <a:pt x="6058335" y="4099332"/>
                </a:cubicBezTo>
                <a:lnTo>
                  <a:pt x="6018655" y="4115822"/>
                </a:lnTo>
                <a:lnTo>
                  <a:pt x="6018955" y="4116043"/>
                </a:lnTo>
                <a:cubicBezTo>
                  <a:pt x="6019556" y="4117039"/>
                  <a:pt x="6018955" y="4118146"/>
                  <a:pt x="6018354" y="4119142"/>
                </a:cubicBezTo>
                <a:lnTo>
                  <a:pt x="6018053" y="4119584"/>
                </a:lnTo>
                <a:lnTo>
                  <a:pt x="6024667" y="4132644"/>
                </a:lnTo>
                <a:cubicBezTo>
                  <a:pt x="6029175" y="4147806"/>
                  <a:pt x="6030078" y="4165624"/>
                  <a:pt x="6027973" y="4173924"/>
                </a:cubicBezTo>
                <a:cubicBezTo>
                  <a:pt x="6023464" y="4167395"/>
                  <a:pt x="6018053" y="4159426"/>
                  <a:pt x="6013243" y="4150683"/>
                </a:cubicBezTo>
                <a:lnTo>
                  <a:pt x="6012341" y="4149244"/>
                </a:lnTo>
                <a:lnTo>
                  <a:pt x="6005728" y="4150130"/>
                </a:lnTo>
                <a:lnTo>
                  <a:pt x="6003323" y="4150351"/>
                </a:lnTo>
                <a:lnTo>
                  <a:pt x="6003022" y="4151901"/>
                </a:lnTo>
                <a:cubicBezTo>
                  <a:pt x="6001820" y="4155331"/>
                  <a:pt x="6000317" y="4158319"/>
                  <a:pt x="5997912" y="4160201"/>
                </a:cubicBezTo>
                <a:cubicBezTo>
                  <a:pt x="5996409" y="4161529"/>
                  <a:pt x="5994605" y="4162304"/>
                  <a:pt x="5992501" y="4162414"/>
                </a:cubicBezTo>
                <a:cubicBezTo>
                  <a:pt x="5987390" y="4163410"/>
                  <a:pt x="5986488" y="4158209"/>
                  <a:pt x="5987390" y="4151679"/>
                </a:cubicBezTo>
                <a:cubicBezTo>
                  <a:pt x="5986488" y="4144928"/>
                  <a:pt x="5987089" y="4140059"/>
                  <a:pt x="5989194" y="4137071"/>
                </a:cubicBezTo>
                <a:lnTo>
                  <a:pt x="5991299" y="4136407"/>
                </a:lnTo>
                <a:lnTo>
                  <a:pt x="5991299" y="4136185"/>
                </a:lnTo>
                <a:lnTo>
                  <a:pt x="5992200" y="4135853"/>
                </a:lnTo>
                <a:lnTo>
                  <a:pt x="5999715" y="4133418"/>
                </a:lnTo>
                <a:lnTo>
                  <a:pt x="6000015" y="4134082"/>
                </a:lnTo>
                <a:lnTo>
                  <a:pt x="6004224" y="4133086"/>
                </a:lnTo>
                <a:lnTo>
                  <a:pt x="6005126" y="4133197"/>
                </a:lnTo>
                <a:lnTo>
                  <a:pt x="6000617" y="4123679"/>
                </a:lnTo>
                <a:lnTo>
                  <a:pt x="6000617" y="4122351"/>
                </a:lnTo>
                <a:lnTo>
                  <a:pt x="6000015" y="4122462"/>
                </a:lnTo>
                <a:cubicBezTo>
                  <a:pt x="5997912" y="4122683"/>
                  <a:pt x="5996409" y="4122573"/>
                  <a:pt x="5997611" y="4122019"/>
                </a:cubicBezTo>
                <a:cubicBezTo>
                  <a:pt x="5994003" y="4124011"/>
                  <a:pt x="5989795" y="4126225"/>
                  <a:pt x="5985286" y="4128328"/>
                </a:cubicBezTo>
                <a:lnTo>
                  <a:pt x="5973863" y="4132533"/>
                </a:lnTo>
                <a:lnTo>
                  <a:pt x="5969955" y="4145482"/>
                </a:lnTo>
                <a:cubicBezTo>
                  <a:pt x="5963642" y="4156770"/>
                  <a:pt x="5953120" y="4165734"/>
                  <a:pt x="5940494" y="4167505"/>
                </a:cubicBezTo>
                <a:cubicBezTo>
                  <a:pt x="5931776" y="4159205"/>
                  <a:pt x="5928770" y="4149023"/>
                  <a:pt x="5929673" y="4138952"/>
                </a:cubicBezTo>
                <a:lnTo>
                  <a:pt x="5930574" y="4137071"/>
                </a:lnTo>
                <a:lnTo>
                  <a:pt x="5929673" y="4137181"/>
                </a:lnTo>
                <a:cubicBezTo>
                  <a:pt x="5926666" y="4137735"/>
                  <a:pt x="5923659" y="4139063"/>
                  <a:pt x="5920954" y="4141719"/>
                </a:cubicBezTo>
                <a:cubicBezTo>
                  <a:pt x="5920954" y="4134857"/>
                  <a:pt x="5913740" y="4133861"/>
                  <a:pt x="5905622" y="4134857"/>
                </a:cubicBezTo>
                <a:lnTo>
                  <a:pt x="5897506" y="4138177"/>
                </a:lnTo>
                <a:lnTo>
                  <a:pt x="5897206" y="4142715"/>
                </a:lnTo>
                <a:lnTo>
                  <a:pt x="5887586" y="4147252"/>
                </a:lnTo>
                <a:lnTo>
                  <a:pt x="5892396" y="4148802"/>
                </a:lnTo>
                <a:cubicBezTo>
                  <a:pt x="5894801" y="4149134"/>
                  <a:pt x="5897807" y="4149134"/>
                  <a:pt x="5900813" y="4148691"/>
                </a:cubicBezTo>
                <a:cubicBezTo>
                  <a:pt x="5906825" y="4147695"/>
                  <a:pt x="5912838" y="4144707"/>
                  <a:pt x="5918850" y="4141719"/>
                </a:cubicBezTo>
                <a:lnTo>
                  <a:pt x="5910132" y="4148138"/>
                </a:lnTo>
                <a:lnTo>
                  <a:pt x="5907728" y="4156991"/>
                </a:lnTo>
                <a:cubicBezTo>
                  <a:pt x="5907728" y="4156991"/>
                  <a:pt x="5907728" y="4156991"/>
                  <a:pt x="5904120" y="4156549"/>
                </a:cubicBezTo>
                <a:lnTo>
                  <a:pt x="5905924" y="4151236"/>
                </a:lnTo>
                <a:lnTo>
                  <a:pt x="5888487" y="4155553"/>
                </a:lnTo>
                <a:cubicBezTo>
                  <a:pt x="5876463" y="4158430"/>
                  <a:pt x="5865340" y="4160533"/>
                  <a:pt x="5862334" y="4170383"/>
                </a:cubicBezTo>
                <a:cubicBezTo>
                  <a:pt x="5855720" y="4171932"/>
                  <a:pt x="5850008" y="4172596"/>
                  <a:pt x="5844597" y="4173039"/>
                </a:cubicBezTo>
                <a:lnTo>
                  <a:pt x="5837383" y="4173149"/>
                </a:lnTo>
                <a:lnTo>
                  <a:pt x="5835280" y="4175363"/>
                </a:lnTo>
                <a:cubicBezTo>
                  <a:pt x="5829869" y="4178572"/>
                  <a:pt x="5822954" y="4181228"/>
                  <a:pt x="5816340" y="4182778"/>
                </a:cubicBezTo>
                <a:cubicBezTo>
                  <a:pt x="5806119" y="4185102"/>
                  <a:pt x="5796199" y="4184881"/>
                  <a:pt x="5790187" y="4180564"/>
                </a:cubicBezTo>
                <a:lnTo>
                  <a:pt x="5787481" y="4177023"/>
                </a:lnTo>
                <a:lnTo>
                  <a:pt x="5787481" y="4181228"/>
                </a:lnTo>
                <a:cubicBezTo>
                  <a:pt x="5774555" y="4180232"/>
                  <a:pt x="5760425" y="4185213"/>
                  <a:pt x="5745095" y="4189086"/>
                </a:cubicBezTo>
                <a:cubicBezTo>
                  <a:pt x="5738180" y="4191078"/>
                  <a:pt x="5730064" y="4193070"/>
                  <a:pt x="5721947" y="4194066"/>
                </a:cubicBezTo>
                <a:cubicBezTo>
                  <a:pt x="5718039" y="4195062"/>
                  <a:pt x="5713831" y="4194952"/>
                  <a:pt x="5709922" y="4194952"/>
                </a:cubicBezTo>
                <a:cubicBezTo>
                  <a:pt x="5705713" y="4194952"/>
                  <a:pt x="5701806" y="4194066"/>
                  <a:pt x="5697598" y="4193070"/>
                </a:cubicBezTo>
                <a:cubicBezTo>
                  <a:pt x="5688578" y="4195062"/>
                  <a:pt x="5697598" y="4198050"/>
                  <a:pt x="5692788" y="4200928"/>
                </a:cubicBezTo>
                <a:cubicBezTo>
                  <a:pt x="5678659" y="4203916"/>
                  <a:pt x="5668437" y="4202920"/>
                  <a:pt x="5660321" y="4202920"/>
                </a:cubicBezTo>
                <a:cubicBezTo>
                  <a:pt x="5656714" y="4202920"/>
                  <a:pt x="5653407" y="4202588"/>
                  <a:pt x="5650100" y="4202809"/>
                </a:cubicBezTo>
                <a:lnTo>
                  <a:pt x="5648898" y="4203141"/>
                </a:lnTo>
                <a:lnTo>
                  <a:pt x="5657315" y="4220074"/>
                </a:lnTo>
                <a:cubicBezTo>
                  <a:pt x="5658217" y="4226382"/>
                  <a:pt x="5657917" y="4231695"/>
                  <a:pt x="5656714" y="4236453"/>
                </a:cubicBezTo>
                <a:lnTo>
                  <a:pt x="5654309" y="4241544"/>
                </a:lnTo>
                <a:lnTo>
                  <a:pt x="5654609" y="4245528"/>
                </a:lnTo>
                <a:lnTo>
                  <a:pt x="5654609" y="4247521"/>
                </a:lnTo>
                <a:lnTo>
                  <a:pt x="5656714" y="4244090"/>
                </a:lnTo>
                <a:cubicBezTo>
                  <a:pt x="5657917" y="4242098"/>
                  <a:pt x="5657917" y="4242098"/>
                  <a:pt x="5655811" y="4241212"/>
                </a:cubicBezTo>
                <a:cubicBezTo>
                  <a:pt x="5657014" y="4239220"/>
                  <a:pt x="5657014" y="4239220"/>
                  <a:pt x="5660020" y="4238113"/>
                </a:cubicBezTo>
                <a:cubicBezTo>
                  <a:pt x="5659119" y="4239663"/>
                  <a:pt x="5657616" y="4245086"/>
                  <a:pt x="5655811" y="4247299"/>
                </a:cubicBezTo>
                <a:lnTo>
                  <a:pt x="5654609" y="4247963"/>
                </a:lnTo>
                <a:lnTo>
                  <a:pt x="5654910" y="4249734"/>
                </a:lnTo>
                <a:lnTo>
                  <a:pt x="5654910" y="4249623"/>
                </a:lnTo>
                <a:cubicBezTo>
                  <a:pt x="5657014" y="4250509"/>
                  <a:pt x="5657014" y="4250509"/>
                  <a:pt x="5655210" y="4251062"/>
                </a:cubicBezTo>
                <a:lnTo>
                  <a:pt x="5654910" y="4252279"/>
                </a:lnTo>
                <a:lnTo>
                  <a:pt x="5654910" y="4256485"/>
                </a:lnTo>
                <a:cubicBezTo>
                  <a:pt x="5654910" y="4260358"/>
                  <a:pt x="5654309" y="4263789"/>
                  <a:pt x="5653407" y="4265560"/>
                </a:cubicBezTo>
                <a:lnTo>
                  <a:pt x="5652806" y="4255821"/>
                </a:lnTo>
                <a:lnTo>
                  <a:pt x="5651904" y="4260690"/>
                </a:lnTo>
                <a:cubicBezTo>
                  <a:pt x="5651603" y="4263125"/>
                  <a:pt x="5651904" y="4265449"/>
                  <a:pt x="5652806" y="4265892"/>
                </a:cubicBezTo>
                <a:cubicBezTo>
                  <a:pt x="5651303" y="4266445"/>
                  <a:pt x="5650100" y="4268216"/>
                  <a:pt x="5650100" y="4268216"/>
                </a:cubicBezTo>
                <a:cubicBezTo>
                  <a:pt x="5648297" y="4267331"/>
                  <a:pt x="5647696" y="4266003"/>
                  <a:pt x="5647395" y="4264564"/>
                </a:cubicBezTo>
                <a:cubicBezTo>
                  <a:pt x="5648597" y="4262572"/>
                  <a:pt x="5650100" y="4262129"/>
                  <a:pt x="5651303" y="4260137"/>
                </a:cubicBezTo>
                <a:cubicBezTo>
                  <a:pt x="5650702" y="4258698"/>
                  <a:pt x="5650100" y="4255932"/>
                  <a:pt x="5651303" y="4253939"/>
                </a:cubicBezTo>
                <a:lnTo>
                  <a:pt x="5652806" y="4251947"/>
                </a:lnTo>
                <a:lnTo>
                  <a:pt x="5654309" y="4241876"/>
                </a:lnTo>
                <a:lnTo>
                  <a:pt x="5650702" y="4249513"/>
                </a:lnTo>
                <a:cubicBezTo>
                  <a:pt x="5645591" y="4257702"/>
                  <a:pt x="5638676" y="4265228"/>
                  <a:pt x="5634168" y="4275852"/>
                </a:cubicBezTo>
                <a:cubicBezTo>
                  <a:pt x="5614027" y="4270762"/>
                  <a:pt x="5608616" y="4280833"/>
                  <a:pt x="5599296" y="4285924"/>
                </a:cubicBezTo>
                <a:cubicBezTo>
                  <a:pt x="5587272" y="4276738"/>
                  <a:pt x="5568333" y="4275078"/>
                  <a:pt x="5552702" y="4268548"/>
                </a:cubicBezTo>
                <a:lnTo>
                  <a:pt x="5543983" y="4252722"/>
                </a:lnTo>
                <a:lnTo>
                  <a:pt x="5541579" y="4254272"/>
                </a:lnTo>
                <a:cubicBezTo>
                  <a:pt x="5536468" y="4257481"/>
                  <a:pt x="5531959" y="4260801"/>
                  <a:pt x="5528652" y="4265339"/>
                </a:cubicBezTo>
                <a:cubicBezTo>
                  <a:pt x="5528652" y="4265339"/>
                  <a:pt x="5528652" y="4265339"/>
                  <a:pt x="5522038" y="4264453"/>
                </a:cubicBezTo>
                <a:lnTo>
                  <a:pt x="5520836" y="4265449"/>
                </a:lnTo>
                <a:lnTo>
                  <a:pt x="5525345" y="4272311"/>
                </a:lnTo>
                <a:cubicBezTo>
                  <a:pt x="5516326" y="4283267"/>
                  <a:pt x="5505203" y="4295773"/>
                  <a:pt x="5512419" y="4311157"/>
                </a:cubicBezTo>
                <a:cubicBezTo>
                  <a:pt x="5508812" y="4314145"/>
                  <a:pt x="5505504" y="4314034"/>
                  <a:pt x="5500393" y="4315362"/>
                </a:cubicBezTo>
                <a:cubicBezTo>
                  <a:pt x="5497388" y="4319346"/>
                  <a:pt x="5498590" y="4323109"/>
                  <a:pt x="5500694" y="4326540"/>
                </a:cubicBezTo>
                <a:lnTo>
                  <a:pt x="5507910" y="4334730"/>
                </a:lnTo>
                <a:lnTo>
                  <a:pt x="5507910" y="4333955"/>
                </a:lnTo>
                <a:lnTo>
                  <a:pt x="5508211" y="4333955"/>
                </a:lnTo>
                <a:lnTo>
                  <a:pt x="5506406" y="4329860"/>
                </a:lnTo>
                <a:cubicBezTo>
                  <a:pt x="5506707" y="4327868"/>
                  <a:pt x="5508211" y="4326097"/>
                  <a:pt x="5510314" y="4323994"/>
                </a:cubicBezTo>
                <a:cubicBezTo>
                  <a:pt x="5512118" y="4326208"/>
                  <a:pt x="5512419" y="4328200"/>
                  <a:pt x="5512118" y="4330192"/>
                </a:cubicBezTo>
                <a:lnTo>
                  <a:pt x="5510615" y="4334398"/>
                </a:lnTo>
                <a:lnTo>
                  <a:pt x="5521737" y="4336500"/>
                </a:lnTo>
                <a:cubicBezTo>
                  <a:pt x="5525646" y="4336943"/>
                  <a:pt x="5528952" y="4337607"/>
                  <a:pt x="5530456" y="4339710"/>
                </a:cubicBezTo>
                <a:cubicBezTo>
                  <a:pt x="5531658" y="4341149"/>
                  <a:pt x="5531959" y="4343362"/>
                  <a:pt x="5531057" y="4346571"/>
                </a:cubicBezTo>
                <a:cubicBezTo>
                  <a:pt x="5526247" y="4347567"/>
                  <a:pt x="5510615" y="4346903"/>
                  <a:pt x="5507007" y="4341370"/>
                </a:cubicBezTo>
                <a:lnTo>
                  <a:pt x="5507910" y="4336279"/>
                </a:lnTo>
                <a:lnTo>
                  <a:pt x="5503400" y="4338160"/>
                </a:lnTo>
                <a:cubicBezTo>
                  <a:pt x="5497088" y="4337718"/>
                  <a:pt x="5488369" y="4330303"/>
                  <a:pt x="5480554" y="4332295"/>
                </a:cubicBezTo>
                <a:cubicBezTo>
                  <a:pt x="5476946" y="4335394"/>
                  <a:pt x="5473339" y="4338382"/>
                  <a:pt x="5473038" y="4341702"/>
                </a:cubicBezTo>
                <a:cubicBezTo>
                  <a:pt x="5461313" y="4342587"/>
                  <a:pt x="5449890" y="4340152"/>
                  <a:pt x="5437565" y="4347678"/>
                </a:cubicBezTo>
                <a:cubicBezTo>
                  <a:pt x="5434259" y="4345797"/>
                  <a:pt x="5428848" y="4343030"/>
                  <a:pt x="5422835" y="4339488"/>
                </a:cubicBezTo>
                <a:lnTo>
                  <a:pt x="5403596" y="4326761"/>
                </a:lnTo>
                <a:lnTo>
                  <a:pt x="5403596" y="4326872"/>
                </a:lnTo>
                <a:cubicBezTo>
                  <a:pt x="5401792" y="4328311"/>
                  <a:pt x="5399688" y="4329528"/>
                  <a:pt x="5398185" y="4329860"/>
                </a:cubicBezTo>
                <a:cubicBezTo>
                  <a:pt x="5396983" y="4330081"/>
                  <a:pt x="5396081" y="4329860"/>
                  <a:pt x="5395178" y="4329085"/>
                </a:cubicBezTo>
                <a:cubicBezTo>
                  <a:pt x="5396381" y="4327979"/>
                  <a:pt x="5397584" y="4326540"/>
                  <a:pt x="5399087" y="4325323"/>
                </a:cubicBezTo>
                <a:lnTo>
                  <a:pt x="5400890" y="4324216"/>
                </a:lnTo>
                <a:lnTo>
                  <a:pt x="5386762" y="4309164"/>
                </a:lnTo>
                <a:cubicBezTo>
                  <a:pt x="5382853" y="4302746"/>
                  <a:pt x="5380449" y="4295552"/>
                  <a:pt x="5381351" y="4287805"/>
                </a:cubicBezTo>
                <a:cubicBezTo>
                  <a:pt x="5378043" y="4283821"/>
                  <a:pt x="5374436" y="4283599"/>
                  <a:pt x="5370829" y="4280058"/>
                </a:cubicBezTo>
                <a:lnTo>
                  <a:pt x="5368724" y="4277402"/>
                </a:lnTo>
                <a:lnTo>
                  <a:pt x="5368424" y="4278177"/>
                </a:lnTo>
                <a:cubicBezTo>
                  <a:pt x="5364516" y="4269544"/>
                  <a:pt x="5347382" y="4244422"/>
                  <a:pt x="5360007" y="4238003"/>
                </a:cubicBezTo>
                <a:cubicBezTo>
                  <a:pt x="5362412" y="4242651"/>
                  <a:pt x="5368424" y="4250398"/>
                  <a:pt x="5372031" y="4258034"/>
                </a:cubicBezTo>
                <a:lnTo>
                  <a:pt x="5374436" y="4268659"/>
                </a:lnTo>
                <a:lnTo>
                  <a:pt x="5378344" y="4262793"/>
                </a:lnTo>
                <a:cubicBezTo>
                  <a:pt x="5375339" y="4259252"/>
                  <a:pt x="5375639" y="4256042"/>
                  <a:pt x="5372632" y="4252501"/>
                </a:cubicBezTo>
                <a:cubicBezTo>
                  <a:pt x="5378946" y="4235568"/>
                  <a:pt x="5396983" y="4223948"/>
                  <a:pt x="5409909" y="4210446"/>
                </a:cubicBezTo>
                <a:lnTo>
                  <a:pt x="5420130" y="4196280"/>
                </a:lnTo>
                <a:lnTo>
                  <a:pt x="5419830" y="4195505"/>
                </a:lnTo>
                <a:lnTo>
                  <a:pt x="5406301" y="4186319"/>
                </a:lnTo>
                <a:lnTo>
                  <a:pt x="5398486" y="4178019"/>
                </a:lnTo>
                <a:lnTo>
                  <a:pt x="5396081" y="4180343"/>
                </a:lnTo>
                <a:lnTo>
                  <a:pt x="5395480" y="4180564"/>
                </a:lnTo>
                <a:lnTo>
                  <a:pt x="5395480" y="4180675"/>
                </a:lnTo>
                <a:cubicBezTo>
                  <a:pt x="5397284" y="4183110"/>
                  <a:pt x="5398786" y="4186541"/>
                  <a:pt x="5399988" y="4189418"/>
                </a:cubicBezTo>
                <a:lnTo>
                  <a:pt x="5400289" y="4190746"/>
                </a:lnTo>
                <a:lnTo>
                  <a:pt x="5403596" y="4192185"/>
                </a:lnTo>
                <a:cubicBezTo>
                  <a:pt x="5404798" y="4193181"/>
                  <a:pt x="5405399" y="4194509"/>
                  <a:pt x="5404498" y="4196612"/>
                </a:cubicBezTo>
                <a:lnTo>
                  <a:pt x="5401191" y="4196612"/>
                </a:lnTo>
                <a:lnTo>
                  <a:pt x="5401191" y="4196833"/>
                </a:lnTo>
                <a:cubicBezTo>
                  <a:pt x="5401191" y="4197276"/>
                  <a:pt x="5400890" y="4197829"/>
                  <a:pt x="5401492" y="4198493"/>
                </a:cubicBezTo>
                <a:cubicBezTo>
                  <a:pt x="5401492" y="4198493"/>
                  <a:pt x="5402394" y="4199821"/>
                  <a:pt x="5402093" y="4201924"/>
                </a:cubicBezTo>
                <a:cubicBezTo>
                  <a:pt x="5401792" y="4204137"/>
                  <a:pt x="5401492" y="4206240"/>
                  <a:pt x="5397885" y="4206461"/>
                </a:cubicBezTo>
                <a:lnTo>
                  <a:pt x="5397584" y="4206019"/>
                </a:lnTo>
                <a:lnTo>
                  <a:pt x="5394878" y="4210667"/>
                </a:lnTo>
                <a:cubicBezTo>
                  <a:pt x="5389767" y="4215979"/>
                  <a:pt x="5380449" y="4220517"/>
                  <a:pt x="5370829" y="4222509"/>
                </a:cubicBezTo>
                <a:lnTo>
                  <a:pt x="5357903" y="4222620"/>
                </a:lnTo>
                <a:lnTo>
                  <a:pt x="5363915" y="4226382"/>
                </a:lnTo>
                <a:cubicBezTo>
                  <a:pt x="5369026" y="4230034"/>
                  <a:pt x="5374436" y="4234461"/>
                  <a:pt x="5376841" y="4236232"/>
                </a:cubicBezTo>
                <a:cubicBezTo>
                  <a:pt x="5376841" y="4237781"/>
                  <a:pt x="5376841" y="4237781"/>
                  <a:pt x="5376841" y="4237781"/>
                </a:cubicBezTo>
                <a:cubicBezTo>
                  <a:pt x="5376240" y="4239220"/>
                  <a:pt x="5374738" y="4239442"/>
                  <a:pt x="5373234" y="4238888"/>
                </a:cubicBezTo>
                <a:cubicBezTo>
                  <a:pt x="5371731" y="4238224"/>
                  <a:pt x="5369627" y="4236896"/>
                  <a:pt x="5367221" y="4235125"/>
                </a:cubicBezTo>
                <a:cubicBezTo>
                  <a:pt x="5362412" y="4231584"/>
                  <a:pt x="5357903" y="4224944"/>
                  <a:pt x="5356098" y="4223284"/>
                </a:cubicBezTo>
                <a:lnTo>
                  <a:pt x="5355197" y="4222730"/>
                </a:lnTo>
                <a:lnTo>
                  <a:pt x="5351890" y="4222730"/>
                </a:lnTo>
                <a:lnTo>
                  <a:pt x="5347983" y="4221181"/>
                </a:lnTo>
                <a:lnTo>
                  <a:pt x="5343172" y="4222620"/>
                </a:lnTo>
                <a:lnTo>
                  <a:pt x="5341670" y="4217639"/>
                </a:lnTo>
                <a:lnTo>
                  <a:pt x="5340467" y="4229924"/>
                </a:lnTo>
                <a:cubicBezTo>
                  <a:pt x="5340767" y="4232027"/>
                  <a:pt x="5340767" y="4233797"/>
                  <a:pt x="5341068" y="4235015"/>
                </a:cubicBezTo>
                <a:lnTo>
                  <a:pt x="5341369" y="4236232"/>
                </a:lnTo>
                <a:lnTo>
                  <a:pt x="5341970" y="4236343"/>
                </a:lnTo>
                <a:cubicBezTo>
                  <a:pt x="5344374" y="4239552"/>
                  <a:pt x="5344374" y="4242651"/>
                  <a:pt x="5343773" y="4245860"/>
                </a:cubicBezTo>
                <a:lnTo>
                  <a:pt x="5342571" y="4250509"/>
                </a:lnTo>
                <a:lnTo>
                  <a:pt x="5342872" y="4250287"/>
                </a:lnTo>
                <a:cubicBezTo>
                  <a:pt x="5343773" y="4250066"/>
                  <a:pt x="5344975" y="4250287"/>
                  <a:pt x="5345878" y="4251173"/>
                </a:cubicBezTo>
                <a:cubicBezTo>
                  <a:pt x="5353093" y="4257592"/>
                  <a:pt x="5350086" y="4267995"/>
                  <a:pt x="5347983" y="4273418"/>
                </a:cubicBezTo>
                <a:lnTo>
                  <a:pt x="5347081" y="4276516"/>
                </a:lnTo>
                <a:lnTo>
                  <a:pt x="5348584" y="4276738"/>
                </a:lnTo>
                <a:lnTo>
                  <a:pt x="5346780" y="4278177"/>
                </a:lnTo>
                <a:lnTo>
                  <a:pt x="5346780" y="4278398"/>
                </a:lnTo>
                <a:cubicBezTo>
                  <a:pt x="5345276" y="4278177"/>
                  <a:pt x="5345276" y="4279837"/>
                  <a:pt x="5346780" y="4279947"/>
                </a:cubicBezTo>
                <a:cubicBezTo>
                  <a:pt x="5344975" y="4282050"/>
                  <a:pt x="5343773" y="4283821"/>
                  <a:pt x="5342571" y="4284595"/>
                </a:cubicBezTo>
                <a:cubicBezTo>
                  <a:pt x="5341369" y="4285370"/>
                  <a:pt x="5340166" y="4285259"/>
                  <a:pt x="5338663" y="4283599"/>
                </a:cubicBezTo>
                <a:lnTo>
                  <a:pt x="5338062" y="4282825"/>
                </a:lnTo>
                <a:lnTo>
                  <a:pt x="5329344" y="4284374"/>
                </a:lnTo>
                <a:cubicBezTo>
                  <a:pt x="5326338" y="4280390"/>
                  <a:pt x="5328141" y="4277402"/>
                  <a:pt x="5331148" y="4275631"/>
                </a:cubicBezTo>
                <a:lnTo>
                  <a:pt x="5332651" y="4275188"/>
                </a:lnTo>
                <a:lnTo>
                  <a:pt x="5328442" y="4273971"/>
                </a:lnTo>
                <a:cubicBezTo>
                  <a:pt x="5322429" y="4274414"/>
                  <a:pt x="5314314" y="4278619"/>
                  <a:pt x="5304994" y="4270762"/>
                </a:cubicBezTo>
                <a:cubicBezTo>
                  <a:pt x="5307399" y="4268769"/>
                  <a:pt x="5304393" y="4263568"/>
                  <a:pt x="5304994" y="4259473"/>
                </a:cubicBezTo>
                <a:lnTo>
                  <a:pt x="5306497" y="4256596"/>
                </a:lnTo>
                <a:lnTo>
                  <a:pt x="5304393" y="4258034"/>
                </a:lnTo>
                <a:cubicBezTo>
                  <a:pt x="5302289" y="4257481"/>
                  <a:pt x="5300785" y="4254936"/>
                  <a:pt x="5300785" y="4251505"/>
                </a:cubicBezTo>
                <a:cubicBezTo>
                  <a:pt x="5302891" y="4251947"/>
                  <a:pt x="5305295" y="4248959"/>
                  <a:pt x="5307399" y="4249402"/>
                </a:cubicBezTo>
                <a:cubicBezTo>
                  <a:pt x="5307399" y="4249402"/>
                  <a:pt x="5308302" y="4250287"/>
                  <a:pt x="5309203" y="4251062"/>
                </a:cubicBezTo>
                <a:lnTo>
                  <a:pt x="5310706" y="4252501"/>
                </a:lnTo>
                <a:lnTo>
                  <a:pt x="5313713" y="4249845"/>
                </a:lnTo>
                <a:cubicBezTo>
                  <a:pt x="5319725" y="4245528"/>
                  <a:pt x="5323933" y="4245750"/>
                  <a:pt x="5328742" y="4247853"/>
                </a:cubicBezTo>
                <a:lnTo>
                  <a:pt x="5331148" y="4248959"/>
                </a:lnTo>
                <a:lnTo>
                  <a:pt x="5331148" y="4248517"/>
                </a:lnTo>
                <a:lnTo>
                  <a:pt x="5332951" y="4243979"/>
                </a:lnTo>
                <a:lnTo>
                  <a:pt x="5329945" y="4244422"/>
                </a:lnTo>
                <a:cubicBezTo>
                  <a:pt x="5320626" y="4235900"/>
                  <a:pt x="5333853" y="4221070"/>
                  <a:pt x="5335657" y="4216754"/>
                </a:cubicBezTo>
                <a:cubicBezTo>
                  <a:pt x="5335657" y="4216754"/>
                  <a:pt x="5335657" y="4215205"/>
                  <a:pt x="5337160" y="4213876"/>
                </a:cubicBezTo>
                <a:cubicBezTo>
                  <a:pt x="5337761" y="4213212"/>
                  <a:pt x="5338062" y="4212991"/>
                  <a:pt x="5338663" y="4212991"/>
                </a:cubicBezTo>
                <a:lnTo>
                  <a:pt x="5339564" y="4213434"/>
                </a:lnTo>
                <a:lnTo>
                  <a:pt x="5340467" y="4213434"/>
                </a:lnTo>
                <a:lnTo>
                  <a:pt x="5340166" y="4212659"/>
                </a:lnTo>
                <a:lnTo>
                  <a:pt x="5341369" y="4207126"/>
                </a:lnTo>
                <a:lnTo>
                  <a:pt x="5337761" y="4206904"/>
                </a:lnTo>
                <a:cubicBezTo>
                  <a:pt x="5335356" y="4207126"/>
                  <a:pt x="5332951" y="4207679"/>
                  <a:pt x="5332350" y="4208675"/>
                </a:cubicBezTo>
                <a:cubicBezTo>
                  <a:pt x="5332050" y="4207236"/>
                  <a:pt x="5329945" y="4206351"/>
                  <a:pt x="5329945" y="4206351"/>
                </a:cubicBezTo>
                <a:cubicBezTo>
                  <a:pt x="5330848" y="4204359"/>
                  <a:pt x="5332350" y="4203805"/>
                  <a:pt x="5333853" y="4203252"/>
                </a:cubicBezTo>
                <a:cubicBezTo>
                  <a:pt x="5335958" y="4204027"/>
                  <a:pt x="5336559" y="4205465"/>
                  <a:pt x="5338362" y="4206240"/>
                </a:cubicBezTo>
                <a:lnTo>
                  <a:pt x="5341369" y="4205908"/>
                </a:lnTo>
                <a:lnTo>
                  <a:pt x="5342571" y="4199600"/>
                </a:lnTo>
                <a:cubicBezTo>
                  <a:pt x="5344074" y="4194952"/>
                  <a:pt x="5346780" y="4190635"/>
                  <a:pt x="5350086" y="4187537"/>
                </a:cubicBezTo>
                <a:cubicBezTo>
                  <a:pt x="5349485" y="4187869"/>
                  <a:pt x="5348884" y="4187979"/>
                  <a:pt x="5347983" y="4187758"/>
                </a:cubicBezTo>
                <a:cubicBezTo>
                  <a:pt x="5346479" y="4188533"/>
                  <a:pt x="5345578" y="4187315"/>
                  <a:pt x="5343473" y="4186762"/>
                </a:cubicBezTo>
                <a:lnTo>
                  <a:pt x="5342872" y="4185213"/>
                </a:lnTo>
                <a:lnTo>
                  <a:pt x="5340767" y="4185655"/>
                </a:lnTo>
                <a:cubicBezTo>
                  <a:pt x="5337160" y="4186098"/>
                  <a:pt x="5334153" y="4185987"/>
                  <a:pt x="5333252" y="4185102"/>
                </a:cubicBezTo>
                <a:cubicBezTo>
                  <a:pt x="5335056" y="4184549"/>
                  <a:pt x="5338663" y="4183553"/>
                  <a:pt x="5342271" y="4182888"/>
                </a:cubicBezTo>
                <a:lnTo>
                  <a:pt x="5342872" y="4182888"/>
                </a:lnTo>
                <a:lnTo>
                  <a:pt x="5342872" y="4181450"/>
                </a:lnTo>
                <a:cubicBezTo>
                  <a:pt x="5342571" y="4181118"/>
                  <a:pt x="5341970" y="4181007"/>
                  <a:pt x="5341068" y="4180786"/>
                </a:cubicBezTo>
                <a:cubicBezTo>
                  <a:pt x="5341068" y="4180786"/>
                  <a:pt x="5342271" y="4180011"/>
                  <a:pt x="5342271" y="4180011"/>
                </a:cubicBezTo>
                <a:cubicBezTo>
                  <a:pt x="5343172" y="4181339"/>
                  <a:pt x="5342271" y="4179900"/>
                  <a:pt x="5342571" y="4177798"/>
                </a:cubicBezTo>
                <a:cubicBezTo>
                  <a:pt x="5346179" y="4177576"/>
                  <a:pt x="5347382" y="4176802"/>
                  <a:pt x="5349786" y="4177244"/>
                </a:cubicBezTo>
                <a:lnTo>
                  <a:pt x="5349786" y="4177355"/>
                </a:lnTo>
                <a:lnTo>
                  <a:pt x="5356399" y="4166288"/>
                </a:lnTo>
                <a:lnTo>
                  <a:pt x="5359706" y="4164406"/>
                </a:lnTo>
                <a:lnTo>
                  <a:pt x="5360908" y="4161529"/>
                </a:lnTo>
                <a:cubicBezTo>
                  <a:pt x="5362412" y="4161750"/>
                  <a:pt x="5362412" y="4161750"/>
                  <a:pt x="5362111" y="4163300"/>
                </a:cubicBezTo>
                <a:cubicBezTo>
                  <a:pt x="5362412" y="4163078"/>
                  <a:pt x="5362412" y="4162968"/>
                  <a:pt x="5362712" y="4162857"/>
                </a:cubicBezTo>
                <a:lnTo>
                  <a:pt x="5363013" y="4163632"/>
                </a:lnTo>
                <a:lnTo>
                  <a:pt x="5363915" y="4163410"/>
                </a:lnTo>
                <a:lnTo>
                  <a:pt x="5364817" y="4163632"/>
                </a:lnTo>
                <a:lnTo>
                  <a:pt x="5367823" y="4161750"/>
                </a:lnTo>
                <a:cubicBezTo>
                  <a:pt x="5366920" y="4160976"/>
                  <a:pt x="5364516" y="4159980"/>
                  <a:pt x="5362412" y="4157545"/>
                </a:cubicBezTo>
                <a:cubicBezTo>
                  <a:pt x="5358504" y="4158541"/>
                  <a:pt x="5355497" y="4161529"/>
                  <a:pt x="5350387" y="4162525"/>
                </a:cubicBezTo>
                <a:lnTo>
                  <a:pt x="5346479" y="4159758"/>
                </a:lnTo>
                <a:lnTo>
                  <a:pt x="5345578" y="4161086"/>
                </a:lnTo>
                <a:cubicBezTo>
                  <a:pt x="5336559" y="4168944"/>
                  <a:pt x="5328742" y="4170161"/>
                  <a:pt x="5328742" y="4170161"/>
                </a:cubicBezTo>
                <a:cubicBezTo>
                  <a:pt x="5322129" y="4165956"/>
                  <a:pt x="5319725" y="4160976"/>
                  <a:pt x="5319725" y="4155774"/>
                </a:cubicBezTo>
                <a:lnTo>
                  <a:pt x="5321227" y="4150572"/>
                </a:lnTo>
                <a:lnTo>
                  <a:pt x="5313111" y="4151569"/>
                </a:lnTo>
                <a:cubicBezTo>
                  <a:pt x="5314915" y="4149576"/>
                  <a:pt x="5314915" y="4146699"/>
                  <a:pt x="5313111" y="4144707"/>
                </a:cubicBezTo>
                <a:cubicBezTo>
                  <a:pt x="5311908" y="4142715"/>
                  <a:pt x="5308001" y="4141719"/>
                  <a:pt x="5301688" y="4143711"/>
                </a:cubicBezTo>
                <a:cubicBezTo>
                  <a:pt x="5301688" y="4140723"/>
                  <a:pt x="5298381" y="4138841"/>
                  <a:pt x="5295073" y="4136739"/>
                </a:cubicBezTo>
                <a:lnTo>
                  <a:pt x="5294472" y="4135632"/>
                </a:lnTo>
                <a:lnTo>
                  <a:pt x="5290565" y="4134636"/>
                </a:lnTo>
                <a:lnTo>
                  <a:pt x="5290264" y="4134636"/>
                </a:lnTo>
                <a:lnTo>
                  <a:pt x="5286357" y="4133640"/>
                </a:lnTo>
                <a:lnTo>
                  <a:pt x="5283049" y="4131869"/>
                </a:lnTo>
                <a:lnTo>
                  <a:pt x="5282749" y="4132312"/>
                </a:lnTo>
                <a:cubicBezTo>
                  <a:pt x="5281547" y="4132533"/>
                  <a:pt x="5280345" y="4132201"/>
                  <a:pt x="5278539" y="4130984"/>
                </a:cubicBezTo>
                <a:lnTo>
                  <a:pt x="5278841" y="4129545"/>
                </a:lnTo>
                <a:lnTo>
                  <a:pt x="5276136" y="4127996"/>
                </a:lnTo>
                <a:lnTo>
                  <a:pt x="5276737" y="4128549"/>
                </a:lnTo>
                <a:cubicBezTo>
                  <a:pt x="5277938" y="4132090"/>
                  <a:pt x="5276436" y="4136517"/>
                  <a:pt x="5272828" y="4139063"/>
                </a:cubicBezTo>
                <a:lnTo>
                  <a:pt x="5269522" y="4139727"/>
                </a:lnTo>
                <a:lnTo>
                  <a:pt x="5271926" y="4143711"/>
                </a:lnTo>
                <a:lnTo>
                  <a:pt x="5271626" y="4143932"/>
                </a:lnTo>
                <a:lnTo>
                  <a:pt x="5285454" y="4144928"/>
                </a:lnTo>
                <a:lnTo>
                  <a:pt x="5288761" y="4146920"/>
                </a:lnTo>
                <a:lnTo>
                  <a:pt x="5292068" y="4146699"/>
                </a:lnTo>
                <a:cubicBezTo>
                  <a:pt x="5292369" y="4148027"/>
                  <a:pt x="5292369" y="4148138"/>
                  <a:pt x="5290865" y="4148691"/>
                </a:cubicBezTo>
                <a:cubicBezTo>
                  <a:pt x="5291166" y="4148802"/>
                  <a:pt x="5291166" y="4148802"/>
                  <a:pt x="5291467" y="4148912"/>
                </a:cubicBezTo>
                <a:lnTo>
                  <a:pt x="5290865" y="4149355"/>
                </a:lnTo>
                <a:lnTo>
                  <a:pt x="5291467" y="4150019"/>
                </a:lnTo>
                <a:cubicBezTo>
                  <a:pt x="5291768" y="4151015"/>
                  <a:pt x="5292068" y="4152343"/>
                  <a:pt x="5291768" y="4153671"/>
                </a:cubicBezTo>
                <a:cubicBezTo>
                  <a:pt x="5292369" y="4155110"/>
                  <a:pt x="5286357" y="4157323"/>
                  <a:pt x="5284251" y="4156549"/>
                </a:cubicBezTo>
                <a:cubicBezTo>
                  <a:pt x="5280345" y="4154889"/>
                  <a:pt x="5278239" y="4153893"/>
                  <a:pt x="5277338" y="4151126"/>
                </a:cubicBezTo>
                <a:cubicBezTo>
                  <a:pt x="5275535" y="4150240"/>
                  <a:pt x="5273430" y="4149466"/>
                  <a:pt x="5272227" y="4148248"/>
                </a:cubicBezTo>
                <a:lnTo>
                  <a:pt x="5271626" y="4144928"/>
                </a:lnTo>
                <a:lnTo>
                  <a:pt x="5271626" y="4147252"/>
                </a:lnTo>
                <a:cubicBezTo>
                  <a:pt x="5271325" y="4148470"/>
                  <a:pt x="5270424" y="4149466"/>
                  <a:pt x="5269522" y="4149798"/>
                </a:cubicBezTo>
                <a:cubicBezTo>
                  <a:pt x="5268019" y="4149023"/>
                  <a:pt x="5267116" y="4150351"/>
                  <a:pt x="5265914" y="4149576"/>
                </a:cubicBezTo>
                <a:cubicBezTo>
                  <a:pt x="5262307" y="4149355"/>
                  <a:pt x="5261104" y="4148470"/>
                  <a:pt x="5260804" y="4146367"/>
                </a:cubicBezTo>
                <a:cubicBezTo>
                  <a:pt x="5259301" y="4145592"/>
                  <a:pt x="5260203" y="4144264"/>
                  <a:pt x="5259902" y="4142161"/>
                </a:cubicBezTo>
                <a:lnTo>
                  <a:pt x="5261405" y="4141165"/>
                </a:lnTo>
                <a:lnTo>
                  <a:pt x="5259902" y="4139727"/>
                </a:lnTo>
                <a:cubicBezTo>
                  <a:pt x="5258099" y="4136849"/>
                  <a:pt x="5256896" y="4134193"/>
                  <a:pt x="5257497" y="4133197"/>
                </a:cubicBezTo>
                <a:lnTo>
                  <a:pt x="5262908" y="4139173"/>
                </a:lnTo>
                <a:lnTo>
                  <a:pt x="5260804" y="4131648"/>
                </a:lnTo>
                <a:cubicBezTo>
                  <a:pt x="5260804" y="4129766"/>
                  <a:pt x="5261104" y="4127885"/>
                  <a:pt x="5261405" y="4126335"/>
                </a:cubicBezTo>
                <a:lnTo>
                  <a:pt x="5263509" y="4122905"/>
                </a:lnTo>
                <a:lnTo>
                  <a:pt x="5259602" y="4121023"/>
                </a:lnTo>
                <a:cubicBezTo>
                  <a:pt x="5254491" y="4119031"/>
                  <a:pt x="5249380" y="4116154"/>
                  <a:pt x="5245472" y="4114162"/>
                </a:cubicBezTo>
                <a:cubicBezTo>
                  <a:pt x="5237356" y="4108185"/>
                  <a:pt x="5231044" y="4102320"/>
                  <a:pt x="5233147" y="4098336"/>
                </a:cubicBezTo>
                <a:cubicBezTo>
                  <a:pt x="5230141" y="4097340"/>
                  <a:pt x="5229239" y="4102320"/>
                  <a:pt x="5228036" y="4105197"/>
                </a:cubicBezTo>
                <a:cubicBezTo>
                  <a:pt x="5219018" y="4102320"/>
                  <a:pt x="5223226" y="4095347"/>
                  <a:pt x="5223226" y="4089482"/>
                </a:cubicBezTo>
                <a:cubicBezTo>
                  <a:pt x="5232246" y="4095347"/>
                  <a:pt x="5232246" y="4087490"/>
                  <a:pt x="5241264" y="4093355"/>
                </a:cubicBezTo>
                <a:cubicBezTo>
                  <a:pt x="5236154" y="4085498"/>
                  <a:pt x="5231044" y="4082510"/>
                  <a:pt x="5225031" y="4081514"/>
                </a:cubicBezTo>
                <a:cubicBezTo>
                  <a:pt x="5219018" y="4079632"/>
                  <a:pt x="5213006" y="4077640"/>
                  <a:pt x="5206091" y="4073656"/>
                </a:cubicBezTo>
                <a:cubicBezTo>
                  <a:pt x="5203988" y="4079632"/>
                  <a:pt x="5206994" y="4085498"/>
                  <a:pt x="5218117" y="4089482"/>
                </a:cubicBezTo>
                <a:cubicBezTo>
                  <a:pt x="5213006" y="4090478"/>
                  <a:pt x="5205791" y="4088486"/>
                  <a:pt x="5199779" y="4086494"/>
                </a:cubicBezTo>
                <a:cubicBezTo>
                  <a:pt x="5200981" y="4082620"/>
                  <a:pt x="5198877" y="4080517"/>
                  <a:pt x="5200981" y="4077640"/>
                </a:cubicBezTo>
                <a:cubicBezTo>
                  <a:pt x="5191964" y="4070668"/>
                  <a:pt x="5189858" y="4077640"/>
                  <a:pt x="5182644" y="4073656"/>
                </a:cubicBezTo>
                <a:cubicBezTo>
                  <a:pt x="5183846" y="4070668"/>
                  <a:pt x="5187755" y="4071774"/>
                  <a:pt x="5188656" y="4067790"/>
                </a:cubicBezTo>
                <a:cubicBezTo>
                  <a:pt x="5183846" y="4068786"/>
                  <a:pt x="5179638" y="4069672"/>
                  <a:pt x="5175730" y="4069672"/>
                </a:cubicBezTo>
                <a:cubicBezTo>
                  <a:pt x="5171521" y="4068786"/>
                  <a:pt x="5167613" y="4068786"/>
                  <a:pt x="5164608" y="4067790"/>
                </a:cubicBezTo>
                <a:lnTo>
                  <a:pt x="5158596" y="4064359"/>
                </a:lnTo>
                <a:lnTo>
                  <a:pt x="5157993" y="4067348"/>
                </a:lnTo>
                <a:cubicBezTo>
                  <a:pt x="5158896" y="4076312"/>
                  <a:pt x="5150478" y="4077529"/>
                  <a:pt x="5140558" y="4076201"/>
                </a:cubicBezTo>
                <a:cubicBezTo>
                  <a:pt x="5140859" y="4074099"/>
                  <a:pt x="5135147" y="4073767"/>
                  <a:pt x="5131840" y="4071885"/>
                </a:cubicBezTo>
                <a:cubicBezTo>
                  <a:pt x="5130638" y="4069893"/>
                  <a:pt x="5129135" y="4068233"/>
                  <a:pt x="5128533" y="4066573"/>
                </a:cubicBezTo>
                <a:lnTo>
                  <a:pt x="5128533" y="4066352"/>
                </a:lnTo>
                <a:lnTo>
                  <a:pt x="5118313" y="4062921"/>
                </a:lnTo>
                <a:lnTo>
                  <a:pt x="5117410" y="4062367"/>
                </a:lnTo>
                <a:lnTo>
                  <a:pt x="5117410" y="4062478"/>
                </a:lnTo>
                <a:cubicBezTo>
                  <a:pt x="5108994" y="4066684"/>
                  <a:pt x="5099073" y="4066241"/>
                  <a:pt x="5093662" y="4071664"/>
                </a:cubicBezTo>
                <a:lnTo>
                  <a:pt x="5080736" y="4085276"/>
                </a:lnTo>
                <a:lnTo>
                  <a:pt x="5100275" y="4087932"/>
                </a:lnTo>
                <a:cubicBezTo>
                  <a:pt x="5099975" y="4092249"/>
                  <a:pt x="5105987" y="4092027"/>
                  <a:pt x="5104184" y="4097229"/>
                </a:cubicBezTo>
                <a:cubicBezTo>
                  <a:pt x="5099374" y="4100881"/>
                  <a:pt x="5089152" y="4100549"/>
                  <a:pt x="5080134" y="4097229"/>
                </a:cubicBezTo>
                <a:lnTo>
                  <a:pt x="5079834" y="4097008"/>
                </a:lnTo>
                <a:lnTo>
                  <a:pt x="5079533" y="4108185"/>
                </a:lnTo>
                <a:lnTo>
                  <a:pt x="5088551" y="4118035"/>
                </a:lnTo>
                <a:lnTo>
                  <a:pt x="5093061" y="4110399"/>
                </a:lnTo>
                <a:lnTo>
                  <a:pt x="5092761" y="4109624"/>
                </a:lnTo>
                <a:cubicBezTo>
                  <a:pt x="5094564" y="4105529"/>
                  <a:pt x="5098472" y="4102209"/>
                  <a:pt x="5100275" y="4102873"/>
                </a:cubicBezTo>
                <a:cubicBezTo>
                  <a:pt x="5103583" y="4103869"/>
                  <a:pt x="5106588" y="4104976"/>
                  <a:pt x="5106588" y="4108075"/>
                </a:cubicBezTo>
                <a:cubicBezTo>
                  <a:pt x="5106588" y="4109071"/>
                  <a:pt x="5106588" y="4110288"/>
                  <a:pt x="5105686" y="4111727"/>
                </a:cubicBezTo>
                <a:cubicBezTo>
                  <a:pt x="5105686" y="4111727"/>
                  <a:pt x="5105686" y="4111727"/>
                  <a:pt x="5104184" y="4112502"/>
                </a:cubicBezTo>
                <a:lnTo>
                  <a:pt x="5101779" y="4113608"/>
                </a:lnTo>
                <a:lnTo>
                  <a:pt x="5112601" y="4119363"/>
                </a:lnTo>
                <a:lnTo>
                  <a:pt x="5120117" y="4126889"/>
                </a:lnTo>
                <a:lnTo>
                  <a:pt x="5124325" y="4126446"/>
                </a:lnTo>
                <a:lnTo>
                  <a:pt x="5125828" y="4132976"/>
                </a:lnTo>
                <a:lnTo>
                  <a:pt x="5127932" y="4132644"/>
                </a:lnTo>
                <a:lnTo>
                  <a:pt x="5127932" y="4148248"/>
                </a:lnTo>
                <a:lnTo>
                  <a:pt x="5148074" y="4152454"/>
                </a:lnTo>
                <a:lnTo>
                  <a:pt x="5165209" y="4162636"/>
                </a:lnTo>
                <a:lnTo>
                  <a:pt x="5163104" y="4159869"/>
                </a:lnTo>
                <a:cubicBezTo>
                  <a:pt x="5160398" y="4156106"/>
                  <a:pt x="5157993" y="4151458"/>
                  <a:pt x="5160699" y="4144043"/>
                </a:cubicBezTo>
                <a:cubicBezTo>
                  <a:pt x="5164908" y="4145703"/>
                  <a:pt x="5170319" y="4137181"/>
                  <a:pt x="5176331" y="4139727"/>
                </a:cubicBezTo>
                <a:cubicBezTo>
                  <a:pt x="5190761" y="4144043"/>
                  <a:pt x="5193166" y="4148138"/>
                  <a:pt x="5193166" y="4154889"/>
                </a:cubicBezTo>
                <a:lnTo>
                  <a:pt x="5192865" y="4157213"/>
                </a:lnTo>
                <a:lnTo>
                  <a:pt x="5193466" y="4157102"/>
                </a:lnTo>
                <a:lnTo>
                  <a:pt x="5196773" y="4156770"/>
                </a:lnTo>
                <a:lnTo>
                  <a:pt x="5194668" y="4155221"/>
                </a:lnTo>
                <a:lnTo>
                  <a:pt x="5199178" y="4152343"/>
                </a:lnTo>
                <a:lnTo>
                  <a:pt x="5202786" y="4148802"/>
                </a:lnTo>
                <a:lnTo>
                  <a:pt x="5205490" y="4148138"/>
                </a:lnTo>
                <a:lnTo>
                  <a:pt x="5215411" y="4141719"/>
                </a:lnTo>
                <a:lnTo>
                  <a:pt x="5222625" y="4140169"/>
                </a:lnTo>
                <a:lnTo>
                  <a:pt x="5222625" y="4140059"/>
                </a:lnTo>
                <a:cubicBezTo>
                  <a:pt x="5221123" y="4137845"/>
                  <a:pt x="5220522" y="4135078"/>
                  <a:pt x="5220221" y="4131869"/>
                </a:cubicBezTo>
                <a:cubicBezTo>
                  <a:pt x="5222325" y="4132201"/>
                  <a:pt x="5222625" y="4129988"/>
                  <a:pt x="5222625" y="4127885"/>
                </a:cubicBezTo>
                <a:cubicBezTo>
                  <a:pt x="5225632" y="4126225"/>
                  <a:pt x="5228939" y="4126114"/>
                  <a:pt x="5232546" y="4126999"/>
                </a:cubicBezTo>
                <a:cubicBezTo>
                  <a:pt x="5236154" y="4127885"/>
                  <a:pt x="5239760" y="4129766"/>
                  <a:pt x="5242767" y="4132201"/>
                </a:cubicBezTo>
                <a:lnTo>
                  <a:pt x="5247577" y="4137735"/>
                </a:lnTo>
                <a:lnTo>
                  <a:pt x="5251184" y="4138067"/>
                </a:lnTo>
                <a:lnTo>
                  <a:pt x="5249681" y="4143268"/>
                </a:lnTo>
                <a:lnTo>
                  <a:pt x="5249380" y="4148027"/>
                </a:lnTo>
                <a:cubicBezTo>
                  <a:pt x="5248479" y="4149355"/>
                  <a:pt x="5246675" y="4150351"/>
                  <a:pt x="5244570" y="4151126"/>
                </a:cubicBezTo>
                <a:lnTo>
                  <a:pt x="5242767" y="4150572"/>
                </a:lnTo>
                <a:lnTo>
                  <a:pt x="5236154" y="4153229"/>
                </a:lnTo>
                <a:lnTo>
                  <a:pt x="5234951" y="4155885"/>
                </a:lnTo>
                <a:lnTo>
                  <a:pt x="5237356" y="4160644"/>
                </a:lnTo>
                <a:lnTo>
                  <a:pt x="5240062" y="4163078"/>
                </a:lnTo>
                <a:lnTo>
                  <a:pt x="5243669" y="4162304"/>
                </a:lnTo>
                <a:cubicBezTo>
                  <a:pt x="5249080" y="4163521"/>
                  <a:pt x="5253289" y="4160312"/>
                  <a:pt x="5258700" y="4161529"/>
                </a:cubicBezTo>
                <a:cubicBezTo>
                  <a:pt x="5258700" y="4161529"/>
                  <a:pt x="5258400" y="4161529"/>
                  <a:pt x="5257497" y="4163521"/>
                </a:cubicBezTo>
                <a:cubicBezTo>
                  <a:pt x="5253289" y="4163521"/>
                  <a:pt x="5249681" y="4164849"/>
                  <a:pt x="5245773" y="4166066"/>
                </a:cubicBezTo>
                <a:lnTo>
                  <a:pt x="5243368" y="4166509"/>
                </a:lnTo>
                <a:lnTo>
                  <a:pt x="5246374" y="4169165"/>
                </a:lnTo>
                <a:lnTo>
                  <a:pt x="5251184" y="4173592"/>
                </a:lnTo>
                <a:lnTo>
                  <a:pt x="5251485" y="4171157"/>
                </a:lnTo>
                <a:cubicBezTo>
                  <a:pt x="5253289" y="4169829"/>
                  <a:pt x="5256896" y="4170161"/>
                  <a:pt x="5256896" y="4170161"/>
                </a:cubicBezTo>
                <a:cubicBezTo>
                  <a:pt x="5260203" y="4170604"/>
                  <a:pt x="5259902" y="4170604"/>
                  <a:pt x="5260503" y="4167395"/>
                </a:cubicBezTo>
                <a:cubicBezTo>
                  <a:pt x="5260503" y="4167395"/>
                  <a:pt x="5262006" y="4169276"/>
                  <a:pt x="5262006" y="4169276"/>
                </a:cubicBezTo>
                <a:cubicBezTo>
                  <a:pt x="5260203" y="4170715"/>
                  <a:pt x="5262006" y="4169276"/>
                  <a:pt x="5265313" y="4169719"/>
                </a:cubicBezTo>
                <a:cubicBezTo>
                  <a:pt x="5266215" y="4174809"/>
                  <a:pt x="5267717" y="4176691"/>
                  <a:pt x="5267417" y="4180011"/>
                </a:cubicBezTo>
                <a:cubicBezTo>
                  <a:pt x="5267116" y="4181671"/>
                  <a:pt x="5266515" y="4183663"/>
                  <a:pt x="5265313" y="4185213"/>
                </a:cubicBezTo>
                <a:lnTo>
                  <a:pt x="5261705" y="4187205"/>
                </a:lnTo>
                <a:lnTo>
                  <a:pt x="5262307" y="4187869"/>
                </a:lnTo>
                <a:lnTo>
                  <a:pt x="5263509" y="4194841"/>
                </a:lnTo>
                <a:lnTo>
                  <a:pt x="5269522" y="4190193"/>
                </a:lnTo>
                <a:cubicBezTo>
                  <a:pt x="5271626" y="4188533"/>
                  <a:pt x="5273730" y="4186873"/>
                  <a:pt x="5275535" y="4185323"/>
                </a:cubicBezTo>
                <a:lnTo>
                  <a:pt x="5286357" y="4177023"/>
                </a:lnTo>
                <a:lnTo>
                  <a:pt x="5288460" y="4172928"/>
                </a:lnTo>
                <a:lnTo>
                  <a:pt x="5289362" y="4172264"/>
                </a:lnTo>
                <a:lnTo>
                  <a:pt x="5289061" y="4170604"/>
                </a:lnTo>
                <a:cubicBezTo>
                  <a:pt x="5289061" y="4170604"/>
                  <a:pt x="5289362" y="4170604"/>
                  <a:pt x="5290565" y="4170051"/>
                </a:cubicBezTo>
                <a:lnTo>
                  <a:pt x="5290264" y="4171600"/>
                </a:lnTo>
                <a:lnTo>
                  <a:pt x="5292369" y="4170383"/>
                </a:lnTo>
                <a:cubicBezTo>
                  <a:pt x="5296577" y="4169165"/>
                  <a:pt x="5301087" y="4171821"/>
                  <a:pt x="5303191" y="4176359"/>
                </a:cubicBezTo>
                <a:cubicBezTo>
                  <a:pt x="5304093" y="4179126"/>
                  <a:pt x="5304393" y="4182446"/>
                  <a:pt x="5302590" y="4186098"/>
                </a:cubicBezTo>
                <a:cubicBezTo>
                  <a:pt x="5299282" y="4187647"/>
                  <a:pt x="5291768" y="4186430"/>
                  <a:pt x="5287559" y="4183885"/>
                </a:cubicBezTo>
                <a:lnTo>
                  <a:pt x="5287258" y="4183442"/>
                </a:lnTo>
                <a:lnTo>
                  <a:pt x="5286958" y="4183663"/>
                </a:lnTo>
                <a:cubicBezTo>
                  <a:pt x="5283650" y="4188533"/>
                  <a:pt x="5275835" y="4194509"/>
                  <a:pt x="5274934" y="4193956"/>
                </a:cubicBezTo>
                <a:cubicBezTo>
                  <a:pt x="5274031" y="4195284"/>
                  <a:pt x="5272828" y="4194509"/>
                  <a:pt x="5271626" y="4195837"/>
                </a:cubicBezTo>
                <a:cubicBezTo>
                  <a:pt x="5271626" y="4195837"/>
                  <a:pt x="5270724" y="4197276"/>
                  <a:pt x="5268620" y="4197829"/>
                </a:cubicBezTo>
                <a:cubicBezTo>
                  <a:pt x="5266215" y="4198382"/>
                  <a:pt x="5264111" y="4198936"/>
                  <a:pt x="5262307" y="4195948"/>
                </a:cubicBezTo>
                <a:lnTo>
                  <a:pt x="5262608" y="4195616"/>
                </a:lnTo>
                <a:lnTo>
                  <a:pt x="5256896" y="4195173"/>
                </a:lnTo>
                <a:cubicBezTo>
                  <a:pt x="5253289" y="4194177"/>
                  <a:pt x="5249380" y="4192296"/>
                  <a:pt x="5245472" y="4189529"/>
                </a:cubicBezTo>
                <a:lnTo>
                  <a:pt x="5236755" y="4181118"/>
                </a:lnTo>
                <a:lnTo>
                  <a:pt x="5235552" y="4180786"/>
                </a:lnTo>
                <a:lnTo>
                  <a:pt x="5228939" y="4175252"/>
                </a:lnTo>
                <a:lnTo>
                  <a:pt x="5228637" y="4175584"/>
                </a:lnTo>
                <a:cubicBezTo>
                  <a:pt x="5227135" y="4181450"/>
                  <a:pt x="5225031" y="4187869"/>
                  <a:pt x="5224129" y="4190635"/>
                </a:cubicBezTo>
                <a:cubicBezTo>
                  <a:pt x="5222625" y="4191189"/>
                  <a:pt x="5222625" y="4191189"/>
                  <a:pt x="5222625" y="4191189"/>
                </a:cubicBezTo>
                <a:cubicBezTo>
                  <a:pt x="5220822" y="4190967"/>
                  <a:pt x="5220221" y="4189971"/>
                  <a:pt x="5220221" y="4188422"/>
                </a:cubicBezTo>
                <a:cubicBezTo>
                  <a:pt x="5219921" y="4186873"/>
                  <a:pt x="5220522" y="4184659"/>
                  <a:pt x="5221423" y="4181892"/>
                </a:cubicBezTo>
                <a:cubicBezTo>
                  <a:pt x="5222325" y="4179126"/>
                  <a:pt x="5223828" y="4176138"/>
                  <a:pt x="5225332" y="4173592"/>
                </a:cubicBezTo>
                <a:lnTo>
                  <a:pt x="5225933" y="4172485"/>
                </a:lnTo>
                <a:lnTo>
                  <a:pt x="5214209" y="4160533"/>
                </a:lnTo>
                <a:lnTo>
                  <a:pt x="5209700" y="4160644"/>
                </a:lnTo>
                <a:lnTo>
                  <a:pt x="5210000" y="4161086"/>
                </a:lnTo>
                <a:cubicBezTo>
                  <a:pt x="5207896" y="4164517"/>
                  <a:pt x="5204889" y="4165845"/>
                  <a:pt x="5201282" y="4166620"/>
                </a:cubicBezTo>
                <a:lnTo>
                  <a:pt x="5196172" y="4167505"/>
                </a:lnTo>
                <a:lnTo>
                  <a:pt x="5196472" y="4167616"/>
                </a:lnTo>
                <a:cubicBezTo>
                  <a:pt x="5197074" y="4168169"/>
                  <a:pt x="5197375" y="4169165"/>
                  <a:pt x="5196773" y="4170493"/>
                </a:cubicBezTo>
                <a:cubicBezTo>
                  <a:pt x="5194969" y="4174809"/>
                  <a:pt x="5191362" y="4177244"/>
                  <a:pt x="5187154" y="4178904"/>
                </a:cubicBezTo>
                <a:lnTo>
                  <a:pt x="5179938" y="4180343"/>
                </a:lnTo>
                <a:lnTo>
                  <a:pt x="5184146" y="4192738"/>
                </a:lnTo>
                <a:cubicBezTo>
                  <a:pt x="5186252" y="4202588"/>
                  <a:pt x="5186853" y="4212991"/>
                  <a:pt x="5190761" y="4224612"/>
                </a:cubicBezTo>
                <a:cubicBezTo>
                  <a:pt x="5173324" y="4233244"/>
                  <a:pt x="5176632" y="4244643"/>
                  <a:pt x="5173626" y="4254714"/>
                </a:cubicBezTo>
                <a:cubicBezTo>
                  <a:pt x="5170019" y="4254714"/>
                  <a:pt x="5166411" y="4255378"/>
                  <a:pt x="5162503" y="4256374"/>
                </a:cubicBezTo>
                <a:lnTo>
                  <a:pt x="5153785" y="4259694"/>
                </a:lnTo>
                <a:lnTo>
                  <a:pt x="5154386" y="4269212"/>
                </a:lnTo>
                <a:cubicBezTo>
                  <a:pt x="5153785" y="4271204"/>
                  <a:pt x="5152282" y="4272532"/>
                  <a:pt x="5151681" y="4274192"/>
                </a:cubicBezTo>
                <a:cubicBezTo>
                  <a:pt x="5137853" y="4283821"/>
                  <a:pt x="5135748" y="4271315"/>
                  <a:pt x="5127331" y="4275520"/>
                </a:cubicBezTo>
                <a:cubicBezTo>
                  <a:pt x="5130939" y="4292453"/>
                  <a:pt x="5123422" y="4312374"/>
                  <a:pt x="5126730" y="4321449"/>
                </a:cubicBezTo>
                <a:cubicBezTo>
                  <a:pt x="5131239" y="4327315"/>
                  <a:pt x="5157092" y="4330635"/>
                  <a:pt x="5161300" y="4328532"/>
                </a:cubicBezTo>
                <a:lnTo>
                  <a:pt x="5163350" y="4323297"/>
                </a:lnTo>
                <a:lnTo>
                  <a:pt x="5164307" y="4324105"/>
                </a:lnTo>
                <a:lnTo>
                  <a:pt x="5163746" y="4322284"/>
                </a:lnTo>
                <a:lnTo>
                  <a:pt x="5167313" y="4313176"/>
                </a:lnTo>
                <a:cubicBezTo>
                  <a:pt x="5168290" y="4306315"/>
                  <a:pt x="5169417" y="4299038"/>
                  <a:pt x="5174227" y="4295331"/>
                </a:cubicBezTo>
                <a:cubicBezTo>
                  <a:pt x="5180540" y="4305734"/>
                  <a:pt x="5170920" y="4313149"/>
                  <a:pt x="5172723" y="4325655"/>
                </a:cubicBezTo>
                <a:cubicBezTo>
                  <a:pt x="5177533" y="4324658"/>
                  <a:pt x="5183245" y="4324880"/>
                  <a:pt x="5188957" y="4325876"/>
                </a:cubicBezTo>
                <a:lnTo>
                  <a:pt x="5189257" y="4325987"/>
                </a:lnTo>
                <a:lnTo>
                  <a:pt x="5196172" y="4319789"/>
                </a:lnTo>
                <a:cubicBezTo>
                  <a:pt x="5205190" y="4318018"/>
                  <a:pt x="5219018" y="4321670"/>
                  <a:pt x="5219921" y="4328311"/>
                </a:cubicBezTo>
                <a:lnTo>
                  <a:pt x="5216613" y="4334508"/>
                </a:lnTo>
                <a:lnTo>
                  <a:pt x="5221423" y="4336500"/>
                </a:lnTo>
                <a:cubicBezTo>
                  <a:pt x="5225031" y="4338492"/>
                  <a:pt x="5227736" y="4340263"/>
                  <a:pt x="5228036" y="4341481"/>
                </a:cubicBezTo>
                <a:cubicBezTo>
                  <a:pt x="5183846" y="4349781"/>
                  <a:pt x="5148374" y="4353876"/>
                  <a:pt x="5127331" y="4364279"/>
                </a:cubicBezTo>
                <a:cubicBezTo>
                  <a:pt x="5120117" y="4369923"/>
                  <a:pt x="5119816" y="4372026"/>
                  <a:pt x="5121018" y="4378002"/>
                </a:cubicBezTo>
                <a:lnTo>
                  <a:pt x="5122220" y="4384974"/>
                </a:lnTo>
                <a:lnTo>
                  <a:pt x="5129435" y="4387520"/>
                </a:lnTo>
                <a:lnTo>
                  <a:pt x="5121018" y="4391947"/>
                </a:lnTo>
                <a:lnTo>
                  <a:pt x="5119816" y="4395820"/>
                </a:lnTo>
                <a:cubicBezTo>
                  <a:pt x="5119214" y="4399251"/>
                  <a:pt x="5118012" y="4403899"/>
                  <a:pt x="5116509" y="4409986"/>
                </a:cubicBezTo>
                <a:cubicBezTo>
                  <a:pt x="5112601" y="4415962"/>
                  <a:pt x="5110196" y="4421828"/>
                  <a:pt x="5108393" y="4427361"/>
                </a:cubicBezTo>
                <a:lnTo>
                  <a:pt x="5107190" y="4431235"/>
                </a:lnTo>
                <a:lnTo>
                  <a:pt x="5112901" y="4427694"/>
                </a:lnTo>
                <a:cubicBezTo>
                  <a:pt x="5116208" y="4427251"/>
                  <a:pt x="5119214" y="4428690"/>
                  <a:pt x="5121018" y="4433006"/>
                </a:cubicBezTo>
                <a:cubicBezTo>
                  <a:pt x="5118914" y="4437101"/>
                  <a:pt x="5109294" y="4441527"/>
                  <a:pt x="5105386" y="4439646"/>
                </a:cubicBezTo>
                <a:lnTo>
                  <a:pt x="5105085" y="4438761"/>
                </a:lnTo>
                <a:lnTo>
                  <a:pt x="5103583" y="4443077"/>
                </a:lnTo>
                <a:cubicBezTo>
                  <a:pt x="5103583" y="4443077"/>
                  <a:pt x="5103583" y="4443187"/>
                  <a:pt x="5115006" y="4467203"/>
                </a:cubicBezTo>
                <a:cubicBezTo>
                  <a:pt x="5121920" y="4479930"/>
                  <a:pt x="5134244" y="4487899"/>
                  <a:pt x="5144466" y="4492879"/>
                </a:cubicBezTo>
                <a:lnTo>
                  <a:pt x="5145969" y="4493543"/>
                </a:lnTo>
                <a:lnTo>
                  <a:pt x="5147172" y="4491994"/>
                </a:lnTo>
                <a:cubicBezTo>
                  <a:pt x="5148074" y="4490776"/>
                  <a:pt x="5149276" y="4489891"/>
                  <a:pt x="5150478" y="4489448"/>
                </a:cubicBezTo>
                <a:cubicBezTo>
                  <a:pt x="5152282" y="4488895"/>
                  <a:pt x="5154086" y="4489337"/>
                  <a:pt x="5155288" y="4491219"/>
                </a:cubicBezTo>
                <a:lnTo>
                  <a:pt x="5152582" y="4495978"/>
                </a:lnTo>
                <a:lnTo>
                  <a:pt x="5157993" y="4498080"/>
                </a:lnTo>
                <a:cubicBezTo>
                  <a:pt x="5161600" y="4499077"/>
                  <a:pt x="5163706" y="4499630"/>
                  <a:pt x="5163706" y="4499630"/>
                </a:cubicBezTo>
                <a:cubicBezTo>
                  <a:pt x="5166711" y="4500847"/>
                  <a:pt x="5185952" y="4512910"/>
                  <a:pt x="5187154" y="4509480"/>
                </a:cubicBezTo>
                <a:cubicBezTo>
                  <a:pt x="5187454" y="4517448"/>
                  <a:pt x="5191964" y="4523203"/>
                  <a:pt x="5192565" y="4531061"/>
                </a:cubicBezTo>
                <a:cubicBezTo>
                  <a:pt x="5176632" y="4538808"/>
                  <a:pt x="5138454" y="4500294"/>
                  <a:pt x="5110496" y="4487677"/>
                </a:cubicBezTo>
                <a:lnTo>
                  <a:pt x="5107791" y="4486903"/>
                </a:lnTo>
                <a:lnTo>
                  <a:pt x="5105386" y="4488895"/>
                </a:lnTo>
                <a:cubicBezTo>
                  <a:pt x="5103282" y="4490001"/>
                  <a:pt x="5100876" y="4490665"/>
                  <a:pt x="5099073" y="4490001"/>
                </a:cubicBezTo>
                <a:cubicBezTo>
                  <a:pt x="5099073" y="4490001"/>
                  <a:pt x="5099073" y="4490001"/>
                  <a:pt x="5096969" y="4489337"/>
                </a:cubicBezTo>
                <a:cubicBezTo>
                  <a:pt x="5099073" y="4488341"/>
                  <a:pt x="5101478" y="4487235"/>
                  <a:pt x="5103883" y="4486349"/>
                </a:cubicBezTo>
                <a:lnTo>
                  <a:pt x="5105085" y="4486128"/>
                </a:lnTo>
                <a:lnTo>
                  <a:pt x="5097571" y="4483804"/>
                </a:lnTo>
                <a:cubicBezTo>
                  <a:pt x="5093362" y="4483472"/>
                  <a:pt x="5090054" y="4484136"/>
                  <a:pt x="5087049" y="4486349"/>
                </a:cubicBezTo>
                <a:cubicBezTo>
                  <a:pt x="5085846" y="4486792"/>
                  <a:pt x="5084944" y="4487899"/>
                  <a:pt x="5084342" y="4489448"/>
                </a:cubicBezTo>
                <a:lnTo>
                  <a:pt x="5082539" y="4493211"/>
                </a:lnTo>
                <a:lnTo>
                  <a:pt x="5086147" y="4492547"/>
                </a:lnTo>
                <a:lnTo>
                  <a:pt x="5082239" y="4493875"/>
                </a:lnTo>
                <a:lnTo>
                  <a:pt x="5081638" y="4495203"/>
                </a:lnTo>
                <a:cubicBezTo>
                  <a:pt x="5077429" y="4508705"/>
                  <a:pt x="5075325" y="4532499"/>
                  <a:pt x="5072018" y="4534159"/>
                </a:cubicBezTo>
                <a:lnTo>
                  <a:pt x="5077429" y="4542460"/>
                </a:lnTo>
                <a:lnTo>
                  <a:pt x="5082840" y="4538808"/>
                </a:lnTo>
                <a:cubicBezTo>
                  <a:pt x="5084944" y="4538476"/>
                  <a:pt x="5086748" y="4538697"/>
                  <a:pt x="5088551" y="4539472"/>
                </a:cubicBezTo>
                <a:cubicBezTo>
                  <a:pt x="5088852" y="4540578"/>
                  <a:pt x="5089753" y="4541685"/>
                  <a:pt x="5090355" y="4543013"/>
                </a:cubicBezTo>
                <a:cubicBezTo>
                  <a:pt x="5090656" y="4544341"/>
                  <a:pt x="5091257" y="4545780"/>
                  <a:pt x="5091257" y="4547551"/>
                </a:cubicBezTo>
                <a:lnTo>
                  <a:pt x="5084342" y="4552088"/>
                </a:lnTo>
                <a:lnTo>
                  <a:pt x="5086147" y="4554191"/>
                </a:lnTo>
                <a:lnTo>
                  <a:pt x="5087650" y="4553416"/>
                </a:lnTo>
                <a:cubicBezTo>
                  <a:pt x="5088551" y="4555630"/>
                  <a:pt x="5088852" y="4557179"/>
                  <a:pt x="5088852" y="4558507"/>
                </a:cubicBezTo>
                <a:lnTo>
                  <a:pt x="5088251" y="4560610"/>
                </a:lnTo>
                <a:lnTo>
                  <a:pt x="5090355" y="4564151"/>
                </a:lnTo>
                <a:cubicBezTo>
                  <a:pt x="5092160" y="4567803"/>
                  <a:pt x="5093061" y="4572009"/>
                  <a:pt x="5086748" y="4575108"/>
                </a:cubicBezTo>
                <a:cubicBezTo>
                  <a:pt x="5077128" y="4582633"/>
                  <a:pt x="5049171" y="4566918"/>
                  <a:pt x="5044962" y="4568910"/>
                </a:cubicBezTo>
                <a:cubicBezTo>
                  <a:pt x="5025123" y="4580752"/>
                  <a:pt x="5030834" y="4605653"/>
                  <a:pt x="5029631" y="4620040"/>
                </a:cubicBezTo>
                <a:lnTo>
                  <a:pt x="5029029" y="4621368"/>
                </a:lnTo>
                <a:lnTo>
                  <a:pt x="5034140" y="4628230"/>
                </a:lnTo>
                <a:cubicBezTo>
                  <a:pt x="5050974" y="4647044"/>
                  <a:pt x="5069312" y="4660325"/>
                  <a:pt x="5081337" y="4692641"/>
                </a:cubicBezTo>
                <a:cubicBezTo>
                  <a:pt x="5063600" y="4697289"/>
                  <a:pt x="5039250" y="4679913"/>
                  <a:pt x="5024821" y="4658001"/>
                </a:cubicBezTo>
                <a:lnTo>
                  <a:pt x="5020012" y="4647708"/>
                </a:lnTo>
                <a:lnTo>
                  <a:pt x="5014000" y="4651692"/>
                </a:lnTo>
                <a:cubicBezTo>
                  <a:pt x="5011594" y="4653131"/>
                  <a:pt x="5009190" y="4654459"/>
                  <a:pt x="5006483" y="4654902"/>
                </a:cubicBezTo>
                <a:cubicBezTo>
                  <a:pt x="5004680" y="4655123"/>
                  <a:pt x="5002877" y="4655123"/>
                  <a:pt x="5000471" y="4654570"/>
                </a:cubicBezTo>
                <a:cubicBezTo>
                  <a:pt x="5003478" y="4648372"/>
                  <a:pt x="5004680" y="4642949"/>
                  <a:pt x="5005582" y="4637748"/>
                </a:cubicBezTo>
                <a:lnTo>
                  <a:pt x="5007085" y="4629669"/>
                </a:lnTo>
                <a:lnTo>
                  <a:pt x="4999870" y="4628562"/>
                </a:lnTo>
                <a:cubicBezTo>
                  <a:pt x="4988747" y="4626349"/>
                  <a:pt x="4977925" y="4623582"/>
                  <a:pt x="4975822" y="4624688"/>
                </a:cubicBezTo>
                <a:cubicBezTo>
                  <a:pt x="4970110" y="4628119"/>
                  <a:pt x="4967704" y="4632103"/>
                  <a:pt x="4966802" y="4636420"/>
                </a:cubicBezTo>
                <a:lnTo>
                  <a:pt x="4967103" y="4645827"/>
                </a:lnTo>
                <a:lnTo>
                  <a:pt x="4969207" y="4646380"/>
                </a:lnTo>
                <a:cubicBezTo>
                  <a:pt x="4974017" y="4655123"/>
                  <a:pt x="4972814" y="4661763"/>
                  <a:pt x="4969509" y="4665526"/>
                </a:cubicBezTo>
                <a:lnTo>
                  <a:pt x="4969207" y="4665748"/>
                </a:lnTo>
                <a:lnTo>
                  <a:pt x="4965600" y="4678253"/>
                </a:lnTo>
                <a:cubicBezTo>
                  <a:pt x="4963796" y="4673605"/>
                  <a:pt x="4958385" y="4679028"/>
                  <a:pt x="4953576" y="4673273"/>
                </a:cubicBezTo>
                <a:cubicBezTo>
                  <a:pt x="4950869" y="4671945"/>
                  <a:pt x="4953276" y="4665305"/>
                  <a:pt x="4947564" y="4662870"/>
                </a:cubicBezTo>
                <a:cubicBezTo>
                  <a:pt x="4936140" y="4638744"/>
                  <a:pt x="4909386" y="4673716"/>
                  <a:pt x="4906078" y="4664530"/>
                </a:cubicBezTo>
                <a:lnTo>
                  <a:pt x="4894054" y="4677479"/>
                </a:lnTo>
                <a:lnTo>
                  <a:pt x="4894054" y="4679803"/>
                </a:lnTo>
                <a:lnTo>
                  <a:pt x="4892852" y="4680467"/>
                </a:lnTo>
                <a:lnTo>
                  <a:pt x="4891649" y="4687771"/>
                </a:lnTo>
                <a:cubicBezTo>
                  <a:pt x="4891950" y="4691202"/>
                  <a:pt x="4893453" y="4694854"/>
                  <a:pt x="4896158" y="4698949"/>
                </a:cubicBezTo>
                <a:cubicBezTo>
                  <a:pt x="4894955" y="4702269"/>
                  <a:pt x="4900667" y="4704815"/>
                  <a:pt x="4900667" y="4704815"/>
                </a:cubicBezTo>
                <a:cubicBezTo>
                  <a:pt x="4895256" y="4710237"/>
                  <a:pt x="4902771" y="4717320"/>
                  <a:pt x="4904275" y="4721858"/>
                </a:cubicBezTo>
                <a:cubicBezTo>
                  <a:pt x="4904275" y="4721858"/>
                  <a:pt x="4904275" y="4721747"/>
                  <a:pt x="4894655" y="4729273"/>
                </a:cubicBezTo>
                <a:cubicBezTo>
                  <a:pt x="4888342" y="4718870"/>
                  <a:pt x="4887441" y="4730048"/>
                  <a:pt x="4881428" y="4719645"/>
                </a:cubicBezTo>
                <a:cubicBezTo>
                  <a:pt x="4881428" y="4719645"/>
                  <a:pt x="4881428" y="4719755"/>
                  <a:pt x="4876318" y="4706032"/>
                </a:cubicBezTo>
                <a:cubicBezTo>
                  <a:pt x="4877520" y="4702712"/>
                  <a:pt x="4877520" y="4702712"/>
                  <a:pt x="4876017" y="4698174"/>
                </a:cubicBezTo>
                <a:cubicBezTo>
                  <a:pt x="4873611" y="4693305"/>
                  <a:pt x="4871207" y="4689874"/>
                  <a:pt x="4869103" y="4687660"/>
                </a:cubicBezTo>
                <a:lnTo>
                  <a:pt x="4864895" y="4685447"/>
                </a:lnTo>
                <a:lnTo>
                  <a:pt x="4859784" y="4686664"/>
                </a:lnTo>
                <a:lnTo>
                  <a:pt x="4856176" y="4685447"/>
                </a:lnTo>
                <a:lnTo>
                  <a:pt x="4855274" y="4685668"/>
                </a:lnTo>
                <a:cubicBezTo>
                  <a:pt x="4853171" y="4686775"/>
                  <a:pt x="4850765" y="4688435"/>
                  <a:pt x="4848361" y="4690317"/>
                </a:cubicBezTo>
                <a:cubicBezTo>
                  <a:pt x="4838741" y="4697732"/>
                  <a:pt x="4830925" y="4717763"/>
                  <a:pt x="4829722" y="4721083"/>
                </a:cubicBezTo>
                <a:cubicBezTo>
                  <a:pt x="4817998" y="4716103"/>
                  <a:pt x="4803870" y="4690649"/>
                  <a:pt x="4782826" y="4701052"/>
                </a:cubicBezTo>
                <a:cubicBezTo>
                  <a:pt x="4773206" y="4708577"/>
                  <a:pt x="4794851" y="4741004"/>
                  <a:pt x="4776814" y="4752625"/>
                </a:cubicBezTo>
                <a:cubicBezTo>
                  <a:pt x="4771103" y="4758047"/>
                  <a:pt x="4765391" y="4755502"/>
                  <a:pt x="4764790" y="4747644"/>
                </a:cubicBezTo>
                <a:cubicBezTo>
                  <a:pt x="4757575" y="4740561"/>
                  <a:pt x="4758476" y="4729273"/>
                  <a:pt x="4765090" y="4720641"/>
                </a:cubicBezTo>
                <a:cubicBezTo>
                  <a:pt x="4755470" y="4710680"/>
                  <a:pt x="4745249" y="4703597"/>
                  <a:pt x="4735329" y="4700720"/>
                </a:cubicBezTo>
                <a:lnTo>
                  <a:pt x="4723304" y="4700166"/>
                </a:lnTo>
                <a:lnTo>
                  <a:pt x="4723905" y="4706032"/>
                </a:lnTo>
                <a:cubicBezTo>
                  <a:pt x="4720900" y="4708245"/>
                  <a:pt x="4715789" y="4708577"/>
                  <a:pt x="4711580" y="4707028"/>
                </a:cubicBezTo>
                <a:lnTo>
                  <a:pt x="4710078" y="4704925"/>
                </a:lnTo>
                <a:lnTo>
                  <a:pt x="4705568" y="4706917"/>
                </a:lnTo>
                <a:cubicBezTo>
                  <a:pt x="4682121" y="4723961"/>
                  <a:pt x="4688433" y="4734364"/>
                  <a:pt x="4673402" y="4755059"/>
                </a:cubicBezTo>
                <a:cubicBezTo>
                  <a:pt x="4671899" y="4750522"/>
                  <a:pt x="4670096" y="4745984"/>
                  <a:pt x="4668593" y="4741447"/>
                </a:cubicBezTo>
                <a:cubicBezTo>
                  <a:pt x="4666789" y="4736909"/>
                  <a:pt x="4666789" y="4736799"/>
                  <a:pt x="4663783" y="4735581"/>
                </a:cubicBezTo>
                <a:cubicBezTo>
                  <a:pt x="4654164" y="4743107"/>
                  <a:pt x="4657470" y="4752293"/>
                  <a:pt x="4646648" y="4763138"/>
                </a:cubicBezTo>
                <a:lnTo>
                  <a:pt x="4648151" y="4743550"/>
                </a:lnTo>
                <a:lnTo>
                  <a:pt x="4640635" y="4748751"/>
                </a:lnTo>
                <a:cubicBezTo>
                  <a:pt x="4634322" y="4742775"/>
                  <a:pt x="4629814" y="4734364"/>
                  <a:pt x="4627408" y="4724957"/>
                </a:cubicBezTo>
                <a:lnTo>
                  <a:pt x="4626206" y="4709795"/>
                </a:lnTo>
                <a:lnTo>
                  <a:pt x="4621096" y="4705811"/>
                </a:lnTo>
                <a:cubicBezTo>
                  <a:pt x="4617788" y="4696736"/>
                  <a:pt x="4625605" y="4684672"/>
                  <a:pt x="4619592" y="4674269"/>
                </a:cubicBezTo>
                <a:cubicBezTo>
                  <a:pt x="4619592" y="4674269"/>
                  <a:pt x="4595843" y="4629447"/>
                  <a:pt x="4582016" y="4638965"/>
                </a:cubicBezTo>
                <a:cubicBezTo>
                  <a:pt x="4563678" y="4650586"/>
                  <a:pt x="4558567" y="4690870"/>
                  <a:pt x="4545941" y="4697178"/>
                </a:cubicBezTo>
                <a:cubicBezTo>
                  <a:pt x="4540531" y="4702490"/>
                  <a:pt x="4536021" y="4696736"/>
                  <a:pt x="4534217" y="4692198"/>
                </a:cubicBezTo>
                <a:cubicBezTo>
                  <a:pt x="4534217" y="4692198"/>
                  <a:pt x="4556463" y="4643503"/>
                  <a:pt x="4545340" y="4619487"/>
                </a:cubicBezTo>
                <a:cubicBezTo>
                  <a:pt x="4540531" y="4613621"/>
                  <a:pt x="4535120" y="4619044"/>
                  <a:pt x="4533316" y="4614507"/>
                </a:cubicBezTo>
                <a:cubicBezTo>
                  <a:pt x="4530610" y="4613289"/>
                  <a:pt x="4531813" y="4609969"/>
                  <a:pt x="4533015" y="4606649"/>
                </a:cubicBezTo>
                <a:cubicBezTo>
                  <a:pt x="4530009" y="4605321"/>
                  <a:pt x="4528506" y="4600894"/>
                  <a:pt x="4525500" y="4599566"/>
                </a:cubicBezTo>
                <a:cubicBezTo>
                  <a:pt x="4525500" y="4599566"/>
                  <a:pt x="4524598" y="4575882"/>
                  <a:pt x="4525800" y="4572562"/>
                </a:cubicBezTo>
                <a:cubicBezTo>
                  <a:pt x="4525800" y="4572562"/>
                  <a:pt x="4515580" y="4563930"/>
                  <a:pt x="4506561" y="4562713"/>
                </a:cubicBezTo>
                <a:lnTo>
                  <a:pt x="4501150" y="4564041"/>
                </a:lnTo>
                <a:lnTo>
                  <a:pt x="4496039" y="4579313"/>
                </a:lnTo>
                <a:lnTo>
                  <a:pt x="4484616" y="4588942"/>
                </a:lnTo>
                <a:lnTo>
                  <a:pt x="4488524" y="4588610"/>
                </a:lnTo>
                <a:cubicBezTo>
                  <a:pt x="4490629" y="4588831"/>
                  <a:pt x="4492132" y="4589938"/>
                  <a:pt x="4493936" y="4592483"/>
                </a:cubicBezTo>
                <a:cubicBezTo>
                  <a:pt x="4494537" y="4597131"/>
                  <a:pt x="4496942" y="4602222"/>
                  <a:pt x="4495438" y="4607202"/>
                </a:cubicBezTo>
                <a:cubicBezTo>
                  <a:pt x="4495138" y="4608862"/>
                  <a:pt x="4494236" y="4610412"/>
                  <a:pt x="4492734" y="4612072"/>
                </a:cubicBezTo>
                <a:cubicBezTo>
                  <a:pt x="4482813" y="4602333"/>
                  <a:pt x="4473493" y="4598791"/>
                  <a:pt x="4463273" y="4592040"/>
                </a:cubicBezTo>
                <a:lnTo>
                  <a:pt x="4463573" y="4591487"/>
                </a:lnTo>
                <a:lnTo>
                  <a:pt x="4463573" y="4591376"/>
                </a:lnTo>
                <a:cubicBezTo>
                  <a:pt x="4456058" y="4584736"/>
                  <a:pt x="4450346" y="4572452"/>
                  <a:pt x="4449144" y="4561384"/>
                </a:cubicBezTo>
                <a:lnTo>
                  <a:pt x="4450647" y="4551424"/>
                </a:lnTo>
                <a:lnTo>
                  <a:pt x="4446739" y="4548768"/>
                </a:lnTo>
                <a:cubicBezTo>
                  <a:pt x="4448543" y="4547440"/>
                  <a:pt x="4444033" y="4543788"/>
                  <a:pt x="4442530" y="4540578"/>
                </a:cubicBezTo>
                <a:cubicBezTo>
                  <a:pt x="4442832" y="4535930"/>
                  <a:pt x="4443132" y="4532942"/>
                  <a:pt x="4446439" y="4530397"/>
                </a:cubicBezTo>
                <a:lnTo>
                  <a:pt x="4452150" y="4528626"/>
                </a:lnTo>
                <a:lnTo>
                  <a:pt x="4450046" y="4526966"/>
                </a:lnTo>
                <a:cubicBezTo>
                  <a:pt x="4448844" y="4525416"/>
                  <a:pt x="4447941" y="4523756"/>
                  <a:pt x="4446137" y="4522871"/>
                </a:cubicBezTo>
                <a:cubicBezTo>
                  <a:pt x="4447340" y="4521543"/>
                  <a:pt x="4449144" y="4519772"/>
                  <a:pt x="4451548" y="4518665"/>
                </a:cubicBezTo>
                <a:lnTo>
                  <a:pt x="4455757" y="4518333"/>
                </a:lnTo>
                <a:lnTo>
                  <a:pt x="4455156" y="4516341"/>
                </a:lnTo>
                <a:cubicBezTo>
                  <a:pt x="4456358" y="4510586"/>
                  <a:pt x="4462070" y="4504831"/>
                  <a:pt x="4470789" y="4505606"/>
                </a:cubicBezTo>
                <a:cubicBezTo>
                  <a:pt x="4472892" y="4508041"/>
                  <a:pt x="4474095" y="4510476"/>
                  <a:pt x="4474696" y="4512689"/>
                </a:cubicBezTo>
                <a:cubicBezTo>
                  <a:pt x="4475598" y="4514903"/>
                  <a:pt x="4475898" y="4516784"/>
                  <a:pt x="4476500" y="4518333"/>
                </a:cubicBezTo>
                <a:cubicBezTo>
                  <a:pt x="4472892" y="4521100"/>
                  <a:pt x="4470789" y="4523978"/>
                  <a:pt x="4466880" y="4526744"/>
                </a:cubicBezTo>
                <a:lnTo>
                  <a:pt x="4466279" y="4526744"/>
                </a:lnTo>
                <a:lnTo>
                  <a:pt x="4466279" y="4526966"/>
                </a:lnTo>
                <a:lnTo>
                  <a:pt x="4464174" y="4529400"/>
                </a:lnTo>
                <a:lnTo>
                  <a:pt x="4467180" y="4530397"/>
                </a:lnTo>
                <a:lnTo>
                  <a:pt x="4469886" y="4535930"/>
                </a:lnTo>
                <a:lnTo>
                  <a:pt x="4475898" y="4532389"/>
                </a:lnTo>
                <a:lnTo>
                  <a:pt x="4484015" y="4536926"/>
                </a:lnTo>
                <a:lnTo>
                  <a:pt x="4486720" y="4535155"/>
                </a:lnTo>
                <a:lnTo>
                  <a:pt x="4487021" y="4535045"/>
                </a:lnTo>
                <a:lnTo>
                  <a:pt x="4484616" y="4520325"/>
                </a:lnTo>
                <a:cubicBezTo>
                  <a:pt x="4481309" y="4511250"/>
                  <a:pt x="4479807" y="4506713"/>
                  <a:pt x="4475598" y="4508705"/>
                </a:cubicBezTo>
                <a:cubicBezTo>
                  <a:pt x="4476801" y="4505385"/>
                  <a:pt x="4473794" y="4504167"/>
                  <a:pt x="4474997" y="4500847"/>
                </a:cubicBezTo>
                <a:cubicBezTo>
                  <a:pt x="4476500" y="4497527"/>
                  <a:pt x="4410365" y="4465543"/>
                  <a:pt x="4407359" y="4464326"/>
                </a:cubicBezTo>
                <a:cubicBezTo>
                  <a:pt x="4397738" y="4444848"/>
                  <a:pt x="4407960" y="4431788"/>
                  <a:pt x="4417879" y="4418508"/>
                </a:cubicBezTo>
                <a:lnTo>
                  <a:pt x="4424193" y="4407109"/>
                </a:lnTo>
                <a:lnTo>
                  <a:pt x="4413972" y="4401796"/>
                </a:lnTo>
                <a:cubicBezTo>
                  <a:pt x="4409764" y="4402571"/>
                  <a:pt x="4405555" y="4406002"/>
                  <a:pt x="4401045" y="4410871"/>
                </a:cubicBezTo>
                <a:lnTo>
                  <a:pt x="4394732" y="4417954"/>
                </a:lnTo>
                <a:lnTo>
                  <a:pt x="4401346" y="4425369"/>
                </a:lnTo>
                <a:cubicBezTo>
                  <a:pt x="4398039" y="4430018"/>
                  <a:pt x="4393530" y="4427915"/>
                  <a:pt x="4391125" y="4424484"/>
                </a:cubicBezTo>
                <a:lnTo>
                  <a:pt x="4390523" y="4423488"/>
                </a:lnTo>
                <a:lnTo>
                  <a:pt x="4387217" y="4428579"/>
                </a:lnTo>
                <a:cubicBezTo>
                  <a:pt x="4382708" y="4433559"/>
                  <a:pt x="4379100" y="4440310"/>
                  <a:pt x="4374591" y="4445290"/>
                </a:cubicBezTo>
                <a:cubicBezTo>
                  <a:pt x="4373989" y="4438650"/>
                  <a:pt x="4376997" y="4433227"/>
                  <a:pt x="4380303" y="4427915"/>
                </a:cubicBezTo>
                <a:cubicBezTo>
                  <a:pt x="4383309" y="4422603"/>
                  <a:pt x="4388119" y="4416073"/>
                  <a:pt x="4389922" y="4410318"/>
                </a:cubicBezTo>
                <a:cubicBezTo>
                  <a:pt x="4385714" y="4410429"/>
                  <a:pt x="4379100" y="4413085"/>
                  <a:pt x="4376094" y="4418397"/>
                </a:cubicBezTo>
                <a:cubicBezTo>
                  <a:pt x="4372186" y="4421939"/>
                  <a:pt x="4370382" y="4427694"/>
                  <a:pt x="4375793" y="4432784"/>
                </a:cubicBezTo>
                <a:lnTo>
                  <a:pt x="4366775" y="4438871"/>
                </a:lnTo>
                <a:lnTo>
                  <a:pt x="4367376" y="4445954"/>
                </a:lnTo>
                <a:cubicBezTo>
                  <a:pt x="4366174" y="4449164"/>
                  <a:pt x="4363469" y="4452041"/>
                  <a:pt x="4360162" y="4453591"/>
                </a:cubicBezTo>
                <a:cubicBezTo>
                  <a:pt x="4357457" y="4455029"/>
                  <a:pt x="4354150" y="4455251"/>
                  <a:pt x="4350842" y="4453812"/>
                </a:cubicBezTo>
                <a:cubicBezTo>
                  <a:pt x="4350842" y="4449274"/>
                  <a:pt x="4350241" y="4444405"/>
                  <a:pt x="4351143" y="4440310"/>
                </a:cubicBezTo>
                <a:lnTo>
                  <a:pt x="4358058" y="4433116"/>
                </a:lnTo>
                <a:lnTo>
                  <a:pt x="4356254" y="4433227"/>
                </a:lnTo>
                <a:cubicBezTo>
                  <a:pt x="4350241" y="4434887"/>
                  <a:pt x="4343328" y="4439978"/>
                  <a:pt x="4337316" y="4445622"/>
                </a:cubicBezTo>
                <a:lnTo>
                  <a:pt x="4335512" y="4447282"/>
                </a:lnTo>
                <a:lnTo>
                  <a:pt x="4336413" y="4447504"/>
                </a:lnTo>
                <a:cubicBezTo>
                  <a:pt x="4337917" y="4447836"/>
                  <a:pt x="4339119" y="4448500"/>
                  <a:pt x="4339119" y="4450270"/>
                </a:cubicBezTo>
                <a:cubicBezTo>
                  <a:pt x="4337316" y="4450270"/>
                  <a:pt x="4335812" y="4450049"/>
                  <a:pt x="4334910" y="4449606"/>
                </a:cubicBezTo>
                <a:lnTo>
                  <a:pt x="4334008" y="4448721"/>
                </a:lnTo>
                <a:lnTo>
                  <a:pt x="4326493" y="4456468"/>
                </a:lnTo>
                <a:cubicBezTo>
                  <a:pt x="4323486" y="4459567"/>
                  <a:pt x="4321683" y="4461780"/>
                  <a:pt x="4321082" y="4462444"/>
                </a:cubicBezTo>
                <a:lnTo>
                  <a:pt x="4316272" y="4466428"/>
                </a:lnTo>
                <a:lnTo>
                  <a:pt x="4322885" y="4466539"/>
                </a:lnTo>
                <a:cubicBezTo>
                  <a:pt x="4330401" y="4467757"/>
                  <a:pt x="4337917" y="4472073"/>
                  <a:pt x="4345732" y="4476278"/>
                </a:cubicBezTo>
                <a:cubicBezTo>
                  <a:pt x="4339419" y="4485464"/>
                  <a:pt x="4325891" y="4482476"/>
                  <a:pt x="4314769" y="4476832"/>
                </a:cubicBezTo>
                <a:lnTo>
                  <a:pt x="4308156" y="4472847"/>
                </a:lnTo>
                <a:lnTo>
                  <a:pt x="4300339" y="4480262"/>
                </a:lnTo>
                <a:cubicBezTo>
                  <a:pt x="4291021" y="4485796"/>
                  <a:pt x="4281400" y="4483583"/>
                  <a:pt x="4274787" y="4488452"/>
                </a:cubicBezTo>
                <a:cubicBezTo>
                  <a:pt x="4271180" y="4490444"/>
                  <a:pt x="4273284" y="4502286"/>
                  <a:pt x="4264566" y="4507377"/>
                </a:cubicBezTo>
                <a:lnTo>
                  <a:pt x="4261260" y="4509369"/>
                </a:lnTo>
                <a:lnTo>
                  <a:pt x="4264266" y="4516784"/>
                </a:lnTo>
                <a:cubicBezTo>
                  <a:pt x="4271481" y="4531725"/>
                  <a:pt x="4278094" y="4540136"/>
                  <a:pt x="4266370" y="4555298"/>
                </a:cubicBezTo>
                <a:cubicBezTo>
                  <a:pt x="4260058" y="4554191"/>
                  <a:pt x="4255247" y="4547883"/>
                  <a:pt x="4250738" y="4539250"/>
                </a:cubicBezTo>
                <a:lnTo>
                  <a:pt x="4242922" y="4520547"/>
                </a:lnTo>
                <a:lnTo>
                  <a:pt x="4219775" y="4537147"/>
                </a:lnTo>
                <a:cubicBezTo>
                  <a:pt x="4215867" y="4540689"/>
                  <a:pt x="4211958" y="4544120"/>
                  <a:pt x="4206547" y="4547219"/>
                </a:cubicBezTo>
                <a:cubicBezTo>
                  <a:pt x="4202640" y="4550649"/>
                  <a:pt x="4198732" y="4554191"/>
                  <a:pt x="4194824" y="4557622"/>
                </a:cubicBezTo>
                <a:cubicBezTo>
                  <a:pt x="4186707" y="4566033"/>
                  <a:pt x="4178290" y="4574444"/>
                  <a:pt x="4172578" y="4583740"/>
                </a:cubicBezTo>
                <a:cubicBezTo>
                  <a:pt x="4168669" y="4582412"/>
                  <a:pt x="4167467" y="4577321"/>
                  <a:pt x="4162657" y="4578871"/>
                </a:cubicBezTo>
                <a:cubicBezTo>
                  <a:pt x="4162056" y="4567471"/>
                  <a:pt x="4171977" y="4580420"/>
                  <a:pt x="4178590" y="4573005"/>
                </a:cubicBezTo>
                <a:cubicBezTo>
                  <a:pt x="4168669" y="4560056"/>
                  <a:pt x="4149431" y="4575993"/>
                  <a:pt x="4138008" y="4584957"/>
                </a:cubicBezTo>
                <a:cubicBezTo>
                  <a:pt x="4140712" y="4585843"/>
                  <a:pt x="4145823" y="4582855"/>
                  <a:pt x="4147927" y="4589938"/>
                </a:cubicBezTo>
                <a:cubicBezTo>
                  <a:pt x="4135903" y="4594254"/>
                  <a:pt x="4114259" y="4593590"/>
                  <a:pt x="4103436" y="4602886"/>
                </a:cubicBezTo>
                <a:lnTo>
                  <a:pt x="4099529" y="4611076"/>
                </a:lnTo>
                <a:lnTo>
                  <a:pt x="4102835" y="4611408"/>
                </a:lnTo>
                <a:cubicBezTo>
                  <a:pt x="4104640" y="4611851"/>
                  <a:pt x="4106142" y="4612072"/>
                  <a:pt x="4106743" y="4611740"/>
                </a:cubicBezTo>
                <a:cubicBezTo>
                  <a:pt x="4111553" y="4616831"/>
                  <a:pt x="4111553" y="4616831"/>
                  <a:pt x="4103436" y="4625021"/>
                </a:cubicBezTo>
                <a:cubicBezTo>
                  <a:pt x="4101632" y="4626349"/>
                  <a:pt x="4099829" y="4627123"/>
                  <a:pt x="4097424" y="4627455"/>
                </a:cubicBezTo>
                <a:cubicBezTo>
                  <a:pt x="4095320" y="4627787"/>
                  <a:pt x="4092915" y="4627566"/>
                  <a:pt x="4090810" y="4626570"/>
                </a:cubicBezTo>
                <a:cubicBezTo>
                  <a:pt x="4087504" y="4627677"/>
                  <a:pt x="4082695" y="4627123"/>
                  <a:pt x="4079687" y="4625353"/>
                </a:cubicBezTo>
                <a:lnTo>
                  <a:pt x="4079387" y="4622918"/>
                </a:lnTo>
                <a:lnTo>
                  <a:pt x="4072774" y="4626570"/>
                </a:lnTo>
                <a:lnTo>
                  <a:pt x="4069167" y="4623692"/>
                </a:lnTo>
                <a:lnTo>
                  <a:pt x="4067363" y="4625242"/>
                </a:lnTo>
                <a:cubicBezTo>
                  <a:pt x="4068566" y="4630443"/>
                  <a:pt x="4071872" y="4628451"/>
                  <a:pt x="4076381" y="4628230"/>
                </a:cubicBezTo>
                <a:cubicBezTo>
                  <a:pt x="4067964" y="4646159"/>
                  <a:pt x="4051731" y="4634428"/>
                  <a:pt x="4037301" y="4653463"/>
                </a:cubicBezTo>
                <a:cubicBezTo>
                  <a:pt x="4035198" y="4641621"/>
                  <a:pt x="4021670" y="4653131"/>
                  <a:pt x="4016259" y="4648151"/>
                </a:cubicBezTo>
                <a:cubicBezTo>
                  <a:pt x="4007841" y="4656451"/>
                  <a:pt x="3995816" y="4663645"/>
                  <a:pt x="3983191" y="4672277"/>
                </a:cubicBezTo>
                <a:cubicBezTo>
                  <a:pt x="3976577" y="4674823"/>
                  <a:pt x="3969663" y="4678917"/>
                  <a:pt x="3962748" y="4682902"/>
                </a:cubicBezTo>
                <a:cubicBezTo>
                  <a:pt x="3955835" y="4686996"/>
                  <a:pt x="3947418" y="4690649"/>
                  <a:pt x="3941105" y="4693305"/>
                </a:cubicBezTo>
                <a:cubicBezTo>
                  <a:pt x="3925773" y="4701052"/>
                  <a:pt x="3909840" y="4706807"/>
                  <a:pt x="3895711" y="4711565"/>
                </a:cubicBezTo>
                <a:cubicBezTo>
                  <a:pt x="3880080" y="4715992"/>
                  <a:pt x="3864748" y="4718870"/>
                  <a:pt x="3851221" y="4722301"/>
                </a:cubicBezTo>
                <a:lnTo>
                  <a:pt x="3850319" y="4723075"/>
                </a:lnTo>
                <a:lnTo>
                  <a:pt x="3852424" y="4723739"/>
                </a:lnTo>
                <a:cubicBezTo>
                  <a:pt x="3851521" y="4724846"/>
                  <a:pt x="3849718" y="4725510"/>
                  <a:pt x="3847914" y="4725731"/>
                </a:cubicBezTo>
                <a:lnTo>
                  <a:pt x="3847313" y="4725621"/>
                </a:lnTo>
                <a:lnTo>
                  <a:pt x="3837693" y="4734364"/>
                </a:lnTo>
                <a:lnTo>
                  <a:pt x="3848214" y="4738569"/>
                </a:lnTo>
                <a:cubicBezTo>
                  <a:pt x="3850920" y="4742332"/>
                  <a:pt x="3852123" y="4746095"/>
                  <a:pt x="3852424" y="4749636"/>
                </a:cubicBezTo>
                <a:lnTo>
                  <a:pt x="3851221" y="4756055"/>
                </a:lnTo>
                <a:lnTo>
                  <a:pt x="3853926" y="4756941"/>
                </a:lnTo>
                <a:cubicBezTo>
                  <a:pt x="3855430" y="4760040"/>
                  <a:pt x="3853626" y="4762917"/>
                  <a:pt x="3852123" y="4765684"/>
                </a:cubicBezTo>
                <a:cubicBezTo>
                  <a:pt x="3850319" y="4767787"/>
                  <a:pt x="3848815" y="4768340"/>
                  <a:pt x="3847012" y="4767897"/>
                </a:cubicBezTo>
                <a:lnTo>
                  <a:pt x="3845208" y="4766569"/>
                </a:lnTo>
                <a:lnTo>
                  <a:pt x="3833785" y="4780071"/>
                </a:lnTo>
                <a:cubicBezTo>
                  <a:pt x="3827773" y="4775976"/>
                  <a:pt x="3821761" y="4775423"/>
                  <a:pt x="3815749" y="4771328"/>
                </a:cubicBezTo>
                <a:cubicBezTo>
                  <a:pt x="3813043" y="4763028"/>
                  <a:pt x="3818153" y="4747534"/>
                  <a:pt x="3826269" y="4739123"/>
                </a:cubicBezTo>
                <a:lnTo>
                  <a:pt x="3828374" y="4737684"/>
                </a:lnTo>
                <a:lnTo>
                  <a:pt x="3815749" y="4740783"/>
                </a:lnTo>
                <a:cubicBezTo>
                  <a:pt x="3803423" y="4743107"/>
                  <a:pt x="3790196" y="4744988"/>
                  <a:pt x="3777570" y="4753510"/>
                </a:cubicBezTo>
                <a:cubicBezTo>
                  <a:pt x="3771257" y="4751407"/>
                  <a:pt x="3760736" y="4752735"/>
                  <a:pt x="3758331" y="4742332"/>
                </a:cubicBezTo>
                <a:cubicBezTo>
                  <a:pt x="3757428" y="4745210"/>
                  <a:pt x="3755625" y="4746206"/>
                  <a:pt x="3755325" y="4747644"/>
                </a:cubicBezTo>
                <a:cubicBezTo>
                  <a:pt x="3755325" y="4747644"/>
                  <a:pt x="3755325" y="4747755"/>
                  <a:pt x="3754122" y="4747312"/>
                </a:cubicBezTo>
                <a:cubicBezTo>
                  <a:pt x="3746306" y="4749526"/>
                  <a:pt x="3741497" y="4750964"/>
                  <a:pt x="3738491" y="4751629"/>
                </a:cubicBezTo>
                <a:cubicBezTo>
                  <a:pt x="3739993" y="4750632"/>
                  <a:pt x="3738491" y="4751739"/>
                  <a:pt x="3737288" y="4751297"/>
                </a:cubicBezTo>
                <a:cubicBezTo>
                  <a:pt x="3736687" y="4752735"/>
                  <a:pt x="3736687" y="4752625"/>
                  <a:pt x="3736687" y="4752625"/>
                </a:cubicBezTo>
                <a:cubicBezTo>
                  <a:pt x="3736687" y="4752625"/>
                  <a:pt x="3736687" y="4752625"/>
                  <a:pt x="3736086" y="4754063"/>
                </a:cubicBezTo>
                <a:cubicBezTo>
                  <a:pt x="3734582" y="4755059"/>
                  <a:pt x="3733080" y="4754727"/>
                  <a:pt x="3729171" y="4753399"/>
                </a:cubicBezTo>
                <a:cubicBezTo>
                  <a:pt x="3725864" y="4755391"/>
                  <a:pt x="3732177" y="4757605"/>
                  <a:pt x="3731275" y="4765241"/>
                </a:cubicBezTo>
                <a:cubicBezTo>
                  <a:pt x="3724362" y="4764577"/>
                  <a:pt x="3720153" y="4769447"/>
                  <a:pt x="3716546" y="4776308"/>
                </a:cubicBezTo>
                <a:lnTo>
                  <a:pt x="3710834" y="4786047"/>
                </a:lnTo>
                <a:lnTo>
                  <a:pt x="3712036" y="4786822"/>
                </a:lnTo>
                <a:lnTo>
                  <a:pt x="3710232" y="4790474"/>
                </a:lnTo>
                <a:lnTo>
                  <a:pt x="3712036" y="4794901"/>
                </a:lnTo>
                <a:cubicBezTo>
                  <a:pt x="3709030" y="4797004"/>
                  <a:pt x="3704822" y="4798442"/>
                  <a:pt x="3700613" y="4799992"/>
                </a:cubicBezTo>
                <a:lnTo>
                  <a:pt x="3699411" y="4794569"/>
                </a:lnTo>
                <a:lnTo>
                  <a:pt x="3699411" y="4794348"/>
                </a:lnTo>
                <a:lnTo>
                  <a:pt x="3699411" y="4794237"/>
                </a:lnTo>
                <a:lnTo>
                  <a:pt x="3699711" y="4794237"/>
                </a:lnTo>
                <a:lnTo>
                  <a:pt x="3699711" y="4793241"/>
                </a:lnTo>
                <a:lnTo>
                  <a:pt x="3695803" y="4790806"/>
                </a:lnTo>
                <a:cubicBezTo>
                  <a:pt x="3696404" y="4784055"/>
                  <a:pt x="3695502" y="4785937"/>
                  <a:pt x="3699711" y="4779960"/>
                </a:cubicBezTo>
                <a:lnTo>
                  <a:pt x="3704822" y="4782838"/>
                </a:lnTo>
                <a:lnTo>
                  <a:pt x="3708729" y="4778411"/>
                </a:lnTo>
                <a:cubicBezTo>
                  <a:pt x="3710834" y="4775976"/>
                  <a:pt x="3713840" y="4775423"/>
                  <a:pt x="3716245" y="4768119"/>
                </a:cubicBezTo>
                <a:cubicBezTo>
                  <a:pt x="3712337" y="4766901"/>
                  <a:pt x="3708429" y="4765573"/>
                  <a:pt x="3704520" y="4764356"/>
                </a:cubicBezTo>
                <a:cubicBezTo>
                  <a:pt x="3703318" y="4763913"/>
                  <a:pt x="3703318" y="4763913"/>
                  <a:pt x="3703318" y="4763913"/>
                </a:cubicBezTo>
                <a:cubicBezTo>
                  <a:pt x="3703318" y="4763913"/>
                  <a:pt x="3703318" y="4763913"/>
                  <a:pt x="3702116" y="4763470"/>
                </a:cubicBezTo>
                <a:cubicBezTo>
                  <a:pt x="3702116" y="4763470"/>
                  <a:pt x="3702116" y="4763470"/>
                  <a:pt x="3700312" y="4764466"/>
                </a:cubicBezTo>
                <a:cubicBezTo>
                  <a:pt x="3697306" y="4765020"/>
                  <a:pt x="3696103" y="4764688"/>
                  <a:pt x="3693097" y="4765241"/>
                </a:cubicBezTo>
                <a:cubicBezTo>
                  <a:pt x="3688288" y="4766790"/>
                  <a:pt x="3683478" y="4768340"/>
                  <a:pt x="3680171" y="4770443"/>
                </a:cubicBezTo>
                <a:cubicBezTo>
                  <a:pt x="3681073" y="4767565"/>
                  <a:pt x="3683778" y="4763581"/>
                  <a:pt x="3683177" y="4760261"/>
                </a:cubicBezTo>
                <a:cubicBezTo>
                  <a:pt x="3668748" y="4774648"/>
                  <a:pt x="3649207" y="4774427"/>
                  <a:pt x="3625459" y="4772877"/>
                </a:cubicBezTo>
                <a:cubicBezTo>
                  <a:pt x="3618846" y="4775534"/>
                  <a:pt x="3626962" y="4776751"/>
                  <a:pt x="3625159" y="4782506"/>
                </a:cubicBezTo>
                <a:cubicBezTo>
                  <a:pt x="3625159" y="4782506"/>
                  <a:pt x="3625159" y="4782395"/>
                  <a:pt x="3619748" y="4782174"/>
                </a:cubicBezTo>
                <a:cubicBezTo>
                  <a:pt x="3618544" y="4781731"/>
                  <a:pt x="3615238" y="4782395"/>
                  <a:pt x="3614036" y="4781952"/>
                </a:cubicBezTo>
                <a:cubicBezTo>
                  <a:pt x="3611030" y="4782506"/>
                  <a:pt x="3608625" y="4781620"/>
                  <a:pt x="3605318" y="4782284"/>
                </a:cubicBezTo>
                <a:cubicBezTo>
                  <a:pt x="3598103" y="4782949"/>
                  <a:pt x="3592692" y="4782616"/>
                  <a:pt x="3586680" y="4783834"/>
                </a:cubicBezTo>
                <a:cubicBezTo>
                  <a:pt x="3573753" y="4784277"/>
                  <a:pt x="3561729" y="4786711"/>
                  <a:pt x="3548201" y="4788593"/>
                </a:cubicBezTo>
                <a:cubicBezTo>
                  <a:pt x="3534974" y="4790474"/>
                  <a:pt x="3522048" y="4791028"/>
                  <a:pt x="3509121" y="4791470"/>
                </a:cubicBezTo>
                <a:cubicBezTo>
                  <a:pt x="3501906" y="4792245"/>
                  <a:pt x="3494992" y="4791581"/>
                  <a:pt x="3488078" y="4790806"/>
                </a:cubicBezTo>
                <a:cubicBezTo>
                  <a:pt x="3482366" y="4790585"/>
                  <a:pt x="3474249" y="4789367"/>
                  <a:pt x="3467336" y="4788703"/>
                </a:cubicBezTo>
                <a:cubicBezTo>
                  <a:pt x="3463127" y="4788814"/>
                  <a:pt x="3465231" y="4796008"/>
                  <a:pt x="3463729" y="4800324"/>
                </a:cubicBezTo>
                <a:cubicBezTo>
                  <a:pt x="3444189" y="4800103"/>
                  <a:pt x="3440881" y="4800656"/>
                  <a:pt x="3426452" y="4797336"/>
                </a:cubicBezTo>
                <a:cubicBezTo>
                  <a:pt x="3442084" y="4810616"/>
                  <a:pt x="3406611" y="4797114"/>
                  <a:pt x="3403004" y="4791028"/>
                </a:cubicBezTo>
                <a:cubicBezTo>
                  <a:pt x="3397293" y="4790806"/>
                  <a:pt x="3399698" y="4801209"/>
                  <a:pt x="3394888" y="4802759"/>
                </a:cubicBezTo>
                <a:cubicBezTo>
                  <a:pt x="3382862" y="4800324"/>
                  <a:pt x="3399698" y="4788261"/>
                  <a:pt x="3386771" y="4783945"/>
                </a:cubicBezTo>
                <a:cubicBezTo>
                  <a:pt x="3377151" y="4796672"/>
                  <a:pt x="3363925" y="4789146"/>
                  <a:pt x="3345286" y="4794126"/>
                </a:cubicBezTo>
                <a:cubicBezTo>
                  <a:pt x="3336568" y="4789589"/>
                  <a:pt x="3359114" y="4790696"/>
                  <a:pt x="3362421" y="4788703"/>
                </a:cubicBezTo>
                <a:cubicBezTo>
                  <a:pt x="3365728" y="4773763"/>
                  <a:pt x="3344083" y="4779296"/>
                  <a:pt x="3333563" y="4777304"/>
                </a:cubicBezTo>
                <a:cubicBezTo>
                  <a:pt x="3325446" y="4776198"/>
                  <a:pt x="3330256" y="4787486"/>
                  <a:pt x="3327550" y="4791360"/>
                </a:cubicBezTo>
                <a:cubicBezTo>
                  <a:pt x="3315826" y="4788925"/>
                  <a:pt x="3318831" y="4774095"/>
                  <a:pt x="3298090" y="4776751"/>
                </a:cubicBezTo>
                <a:cubicBezTo>
                  <a:pt x="3289071" y="4778522"/>
                  <a:pt x="3302900" y="4784609"/>
                  <a:pt x="3294783" y="4788261"/>
                </a:cubicBezTo>
                <a:cubicBezTo>
                  <a:pt x="3289973" y="4780292"/>
                  <a:pt x="3279451" y="4778300"/>
                  <a:pt x="3267727" y="4774427"/>
                </a:cubicBezTo>
                <a:cubicBezTo>
                  <a:pt x="3257206" y="4772435"/>
                  <a:pt x="3245181" y="4770111"/>
                  <a:pt x="3235862" y="4763802"/>
                </a:cubicBezTo>
                <a:cubicBezTo>
                  <a:pt x="3236764" y="4760925"/>
                  <a:pt x="3243077" y="4763028"/>
                  <a:pt x="3246083" y="4762364"/>
                </a:cubicBezTo>
                <a:cubicBezTo>
                  <a:pt x="3246083" y="4752846"/>
                  <a:pt x="3236163" y="4762364"/>
                  <a:pt x="3229850" y="4760150"/>
                </a:cubicBezTo>
                <a:cubicBezTo>
                  <a:pt x="3230452" y="4762032"/>
                  <a:pt x="3232255" y="4765794"/>
                  <a:pt x="3236163" y="4767012"/>
                </a:cubicBezTo>
                <a:cubicBezTo>
                  <a:pt x="3231954" y="4767233"/>
                  <a:pt x="3226543" y="4765462"/>
                  <a:pt x="3220230" y="4763360"/>
                </a:cubicBezTo>
                <a:cubicBezTo>
                  <a:pt x="3213918" y="4761146"/>
                  <a:pt x="3206102" y="4758601"/>
                  <a:pt x="3200690" y="4753510"/>
                </a:cubicBezTo>
                <a:cubicBezTo>
                  <a:pt x="3193175" y="4746206"/>
                  <a:pt x="3212715" y="4746538"/>
                  <a:pt x="3204899" y="4735803"/>
                </a:cubicBezTo>
                <a:cubicBezTo>
                  <a:pt x="3202193" y="4739676"/>
                  <a:pt x="3199487" y="4753178"/>
                  <a:pt x="3186261" y="4740783"/>
                </a:cubicBezTo>
                <a:cubicBezTo>
                  <a:pt x="3190770" y="4735803"/>
                  <a:pt x="3201291" y="4737795"/>
                  <a:pt x="3200690" y="4721637"/>
                </a:cubicBezTo>
                <a:cubicBezTo>
                  <a:pt x="3196481" y="4721747"/>
                  <a:pt x="3194378" y="4719423"/>
                  <a:pt x="3194678" y="4717984"/>
                </a:cubicBezTo>
                <a:cubicBezTo>
                  <a:pt x="3180248" y="4714664"/>
                  <a:pt x="3195880" y="4732814"/>
                  <a:pt x="3181752" y="4728056"/>
                </a:cubicBezTo>
                <a:cubicBezTo>
                  <a:pt x="3191973" y="4709020"/>
                  <a:pt x="3170028" y="4711233"/>
                  <a:pt x="3161010" y="4703486"/>
                </a:cubicBezTo>
                <a:cubicBezTo>
                  <a:pt x="3162813" y="4697621"/>
                  <a:pt x="3174837" y="4704925"/>
                  <a:pt x="3180248" y="4705147"/>
                </a:cubicBezTo>
                <a:cubicBezTo>
                  <a:pt x="3183255" y="4696514"/>
                  <a:pt x="3172733" y="4693083"/>
                  <a:pt x="3163414" y="4691534"/>
                </a:cubicBezTo>
                <a:cubicBezTo>
                  <a:pt x="3155899" y="4684119"/>
                  <a:pt x="3181752" y="4696072"/>
                  <a:pt x="3183556" y="4690317"/>
                </a:cubicBezTo>
                <a:cubicBezTo>
                  <a:pt x="3175138" y="4685779"/>
                  <a:pt x="3159807" y="4680688"/>
                  <a:pt x="3143573" y="4678475"/>
                </a:cubicBezTo>
                <a:cubicBezTo>
                  <a:pt x="3128844" y="4675155"/>
                  <a:pt x="3112911" y="4676151"/>
                  <a:pt x="3104794" y="4684562"/>
                </a:cubicBezTo>
                <a:cubicBezTo>
                  <a:pt x="3102088" y="4683676"/>
                  <a:pt x="3097580" y="4680467"/>
                  <a:pt x="3093972" y="4677700"/>
                </a:cubicBezTo>
                <a:cubicBezTo>
                  <a:pt x="3091567" y="4676925"/>
                  <a:pt x="3087359" y="4677147"/>
                  <a:pt x="3085855" y="4681463"/>
                </a:cubicBezTo>
                <a:cubicBezTo>
                  <a:pt x="3078340" y="4669289"/>
                  <a:pt x="3065414" y="4665084"/>
                  <a:pt x="3052186" y="4662206"/>
                </a:cubicBezTo>
                <a:cubicBezTo>
                  <a:pt x="3045273" y="4661431"/>
                  <a:pt x="3040162" y="4659771"/>
                  <a:pt x="3034450" y="4659439"/>
                </a:cubicBezTo>
                <a:cubicBezTo>
                  <a:pt x="3029340" y="4657779"/>
                  <a:pt x="3024229" y="4656008"/>
                  <a:pt x="3022727" y="4652246"/>
                </a:cubicBezTo>
                <a:cubicBezTo>
                  <a:pt x="3027536" y="4650696"/>
                  <a:pt x="3035052" y="4653131"/>
                  <a:pt x="3040462" y="4650143"/>
                </a:cubicBezTo>
                <a:cubicBezTo>
                  <a:pt x="3040763" y="4643945"/>
                  <a:pt x="3036255" y="4640736"/>
                  <a:pt x="3040162" y="4632546"/>
                </a:cubicBezTo>
                <a:cubicBezTo>
                  <a:pt x="3029640" y="4629779"/>
                  <a:pt x="3019721" y="4625242"/>
                  <a:pt x="3010100" y="4620040"/>
                </a:cubicBezTo>
                <a:lnTo>
                  <a:pt x="2986352" y="4606096"/>
                </a:lnTo>
                <a:lnTo>
                  <a:pt x="2986352" y="4607202"/>
                </a:lnTo>
                <a:cubicBezTo>
                  <a:pt x="2986051" y="4608862"/>
                  <a:pt x="2985149" y="4610412"/>
                  <a:pt x="2983647" y="4612072"/>
                </a:cubicBezTo>
                <a:cubicBezTo>
                  <a:pt x="2973726" y="4602333"/>
                  <a:pt x="2964407" y="4598791"/>
                  <a:pt x="2954186" y="4592040"/>
                </a:cubicBezTo>
                <a:lnTo>
                  <a:pt x="2956591" y="4589495"/>
                </a:lnTo>
                <a:lnTo>
                  <a:pt x="2952683" y="4587282"/>
                </a:lnTo>
                <a:cubicBezTo>
                  <a:pt x="2943063" y="4582744"/>
                  <a:pt x="2933745" y="4579203"/>
                  <a:pt x="2924124" y="4577653"/>
                </a:cubicBezTo>
                <a:lnTo>
                  <a:pt x="2921419" y="4574444"/>
                </a:lnTo>
                <a:lnTo>
                  <a:pt x="2918713" y="4576325"/>
                </a:lnTo>
                <a:cubicBezTo>
                  <a:pt x="2903984" y="4581748"/>
                  <a:pt x="2882039" y="4580531"/>
                  <a:pt x="2873321" y="4561052"/>
                </a:cubicBezTo>
                <a:cubicBezTo>
                  <a:pt x="2879934" y="4555851"/>
                  <a:pt x="2885646" y="4552973"/>
                  <a:pt x="2891057" y="4551867"/>
                </a:cubicBezTo>
                <a:lnTo>
                  <a:pt x="2897369" y="4552199"/>
                </a:lnTo>
                <a:lnTo>
                  <a:pt x="2884444" y="4544230"/>
                </a:lnTo>
                <a:cubicBezTo>
                  <a:pt x="2879634" y="4540578"/>
                  <a:pt x="2874222" y="4536041"/>
                  <a:pt x="2868511" y="4530064"/>
                </a:cubicBezTo>
                <a:cubicBezTo>
                  <a:pt x="2873020" y="4533274"/>
                  <a:pt x="2877829" y="4536373"/>
                  <a:pt x="2882940" y="4538033"/>
                </a:cubicBezTo>
                <a:cubicBezTo>
                  <a:pt x="2888952" y="4541685"/>
                  <a:pt x="2893462" y="4544784"/>
                  <a:pt x="2899474" y="4548436"/>
                </a:cubicBezTo>
                <a:lnTo>
                  <a:pt x="2905486" y="4552531"/>
                </a:lnTo>
                <a:lnTo>
                  <a:pt x="2905788" y="4552531"/>
                </a:lnTo>
                <a:cubicBezTo>
                  <a:pt x="2910296" y="4553970"/>
                  <a:pt x="2914505" y="4556626"/>
                  <a:pt x="2918413" y="4559614"/>
                </a:cubicBezTo>
                <a:lnTo>
                  <a:pt x="2927431" y="4566697"/>
                </a:lnTo>
                <a:lnTo>
                  <a:pt x="2934646" y="4571566"/>
                </a:lnTo>
                <a:lnTo>
                  <a:pt x="2959297" y="4586175"/>
                </a:lnTo>
                <a:lnTo>
                  <a:pt x="2962002" y="4583076"/>
                </a:lnTo>
                <a:cubicBezTo>
                  <a:pt x="2969517" y="4596799"/>
                  <a:pt x="2978236" y="4581969"/>
                  <a:pt x="2984849" y="4592483"/>
                </a:cubicBezTo>
                <a:lnTo>
                  <a:pt x="2985750" y="4601448"/>
                </a:lnTo>
                <a:lnTo>
                  <a:pt x="3009199" y="4614175"/>
                </a:lnTo>
                <a:cubicBezTo>
                  <a:pt x="3020322" y="4619487"/>
                  <a:pt x="3047377" y="4614175"/>
                  <a:pt x="3041364" y="4637748"/>
                </a:cubicBezTo>
                <a:cubicBezTo>
                  <a:pt x="3053389" y="4640182"/>
                  <a:pt x="3067819" y="4648151"/>
                  <a:pt x="3073831" y="4642285"/>
                </a:cubicBezTo>
                <a:cubicBezTo>
                  <a:pt x="3081347" y="4646269"/>
                  <a:pt x="3076837" y="4656008"/>
                  <a:pt x="3089163" y="4657005"/>
                </a:cubicBezTo>
                <a:cubicBezTo>
                  <a:pt x="3091868" y="4657890"/>
                  <a:pt x="3093972" y="4655344"/>
                  <a:pt x="3096677" y="4656230"/>
                </a:cubicBezTo>
                <a:cubicBezTo>
                  <a:pt x="3101788" y="4657890"/>
                  <a:pt x="3095175" y="4642949"/>
                  <a:pt x="3103592" y="4642728"/>
                </a:cubicBezTo>
                <a:cubicBezTo>
                  <a:pt x="3110505" y="4643392"/>
                  <a:pt x="3107500" y="4666301"/>
                  <a:pt x="3114715" y="4652688"/>
                </a:cubicBezTo>
                <a:cubicBezTo>
                  <a:pt x="3122832" y="4658665"/>
                  <a:pt x="3130948" y="4664530"/>
                  <a:pt x="3140567" y="4669400"/>
                </a:cubicBezTo>
                <a:cubicBezTo>
                  <a:pt x="3150488" y="4674269"/>
                  <a:pt x="3160708" y="4677811"/>
                  <a:pt x="3170929" y="4681242"/>
                </a:cubicBezTo>
                <a:lnTo>
                  <a:pt x="3205801" y="4689763"/>
                </a:lnTo>
                <a:lnTo>
                  <a:pt x="3208206" y="4689099"/>
                </a:lnTo>
                <a:lnTo>
                  <a:pt x="3209709" y="4690759"/>
                </a:lnTo>
                <a:lnTo>
                  <a:pt x="3227746" y="4693858"/>
                </a:lnTo>
                <a:cubicBezTo>
                  <a:pt x="3234660" y="4694522"/>
                  <a:pt x="3241574" y="4695297"/>
                  <a:pt x="3248488" y="4695961"/>
                </a:cubicBezTo>
                <a:cubicBezTo>
                  <a:pt x="3252697" y="4705368"/>
                  <a:pt x="3262316" y="4710237"/>
                  <a:pt x="3274341" y="4712672"/>
                </a:cubicBezTo>
                <a:cubicBezTo>
                  <a:pt x="3285163" y="4714664"/>
                  <a:pt x="3296586" y="4713779"/>
                  <a:pt x="3304703" y="4714996"/>
                </a:cubicBezTo>
                <a:cubicBezTo>
                  <a:pt x="3306206" y="4705811"/>
                  <a:pt x="3283360" y="4715771"/>
                  <a:pt x="3289973" y="4703597"/>
                </a:cubicBezTo>
                <a:cubicBezTo>
                  <a:pt x="3300795" y="4705589"/>
                  <a:pt x="3308009" y="4704925"/>
                  <a:pt x="3315525" y="4704151"/>
                </a:cubicBezTo>
                <a:cubicBezTo>
                  <a:pt x="3302298" y="4723739"/>
                  <a:pt x="3349194" y="4718648"/>
                  <a:pt x="3359716" y="4720641"/>
                </a:cubicBezTo>
                <a:cubicBezTo>
                  <a:pt x="3360016" y="4715771"/>
                  <a:pt x="3356109" y="4714554"/>
                  <a:pt x="3352200" y="4713226"/>
                </a:cubicBezTo>
                <a:cubicBezTo>
                  <a:pt x="3347992" y="4713447"/>
                  <a:pt x="3342280" y="4713115"/>
                  <a:pt x="3337170" y="4711344"/>
                </a:cubicBezTo>
                <a:cubicBezTo>
                  <a:pt x="3341980" y="4709795"/>
                  <a:pt x="3346789" y="4708245"/>
                  <a:pt x="3350998" y="4708024"/>
                </a:cubicBezTo>
                <a:cubicBezTo>
                  <a:pt x="3355808" y="4706475"/>
                  <a:pt x="3360016" y="4706364"/>
                  <a:pt x="3364526" y="4706143"/>
                </a:cubicBezTo>
                <a:cubicBezTo>
                  <a:pt x="3374145" y="4706253"/>
                  <a:pt x="3383765" y="4707803"/>
                  <a:pt x="3392483" y="4710791"/>
                </a:cubicBezTo>
                <a:cubicBezTo>
                  <a:pt x="3412323" y="4715771"/>
                  <a:pt x="3433367" y="4721305"/>
                  <a:pt x="3453207" y="4716767"/>
                </a:cubicBezTo>
                <a:cubicBezTo>
                  <a:pt x="3452004" y="4724403"/>
                  <a:pt x="3463127" y="4721526"/>
                  <a:pt x="3462826" y="4726285"/>
                </a:cubicBezTo>
                <a:cubicBezTo>
                  <a:pt x="3470642" y="4722522"/>
                  <a:pt x="3478158" y="4720751"/>
                  <a:pt x="3485674" y="4719866"/>
                </a:cubicBezTo>
                <a:lnTo>
                  <a:pt x="3506416" y="4719423"/>
                </a:lnTo>
                <a:lnTo>
                  <a:pt x="3506416" y="4715439"/>
                </a:lnTo>
                <a:cubicBezTo>
                  <a:pt x="3506716" y="4709573"/>
                  <a:pt x="3507919" y="4703597"/>
                  <a:pt x="3509722" y="4698174"/>
                </a:cubicBezTo>
                <a:lnTo>
                  <a:pt x="3518740" y="4684340"/>
                </a:lnTo>
                <a:lnTo>
                  <a:pt x="3508220" y="4690649"/>
                </a:lnTo>
                <a:cubicBezTo>
                  <a:pt x="3503710" y="4694854"/>
                  <a:pt x="3499200" y="4699281"/>
                  <a:pt x="3492287" y="4700941"/>
                </a:cubicBezTo>
                <a:cubicBezTo>
                  <a:pt x="3493489" y="4701384"/>
                  <a:pt x="3492587" y="4694743"/>
                  <a:pt x="3492587" y="4694743"/>
                </a:cubicBezTo>
                <a:lnTo>
                  <a:pt x="3489581" y="4696404"/>
                </a:lnTo>
                <a:lnTo>
                  <a:pt x="3488680" y="4697510"/>
                </a:lnTo>
                <a:lnTo>
                  <a:pt x="3488379" y="4697178"/>
                </a:lnTo>
                <a:lnTo>
                  <a:pt x="3485072" y="4699060"/>
                </a:lnTo>
                <a:cubicBezTo>
                  <a:pt x="3476053" y="4704040"/>
                  <a:pt x="3464630" y="4709020"/>
                  <a:pt x="3463428" y="4692973"/>
                </a:cubicBezTo>
                <a:cubicBezTo>
                  <a:pt x="3468237" y="4696182"/>
                  <a:pt x="3473648" y="4696404"/>
                  <a:pt x="3478458" y="4694743"/>
                </a:cubicBezTo>
                <a:lnTo>
                  <a:pt x="3482968" y="4691534"/>
                </a:lnTo>
                <a:lnTo>
                  <a:pt x="3482366" y="4690870"/>
                </a:lnTo>
                <a:lnTo>
                  <a:pt x="3481765" y="4685336"/>
                </a:lnTo>
                <a:lnTo>
                  <a:pt x="3479059" y="4686664"/>
                </a:lnTo>
                <a:cubicBezTo>
                  <a:pt x="3470342" y="4688767"/>
                  <a:pt x="3457715" y="4686996"/>
                  <a:pt x="3443286" y="4684672"/>
                </a:cubicBezTo>
                <a:cubicBezTo>
                  <a:pt x="3434869" y="4684894"/>
                  <a:pt x="3425250" y="4683344"/>
                  <a:pt x="3415329" y="4683234"/>
                </a:cubicBezTo>
                <a:cubicBezTo>
                  <a:pt x="3406010" y="4681684"/>
                  <a:pt x="3397593" y="4682016"/>
                  <a:pt x="3387973" y="4685226"/>
                </a:cubicBezTo>
                <a:cubicBezTo>
                  <a:pt x="3385267" y="4684340"/>
                  <a:pt x="3385267" y="4679581"/>
                  <a:pt x="3385568" y="4674823"/>
                </a:cubicBezTo>
                <a:lnTo>
                  <a:pt x="3385267" y="4674823"/>
                </a:lnTo>
                <a:lnTo>
                  <a:pt x="3385267" y="4679803"/>
                </a:lnTo>
                <a:cubicBezTo>
                  <a:pt x="3381961" y="4683566"/>
                  <a:pt x="3372642" y="4685558"/>
                  <a:pt x="3371740" y="4679471"/>
                </a:cubicBezTo>
                <a:lnTo>
                  <a:pt x="3372642" y="4676593"/>
                </a:lnTo>
                <a:lnTo>
                  <a:pt x="3371139" y="4676815"/>
                </a:lnTo>
                <a:cubicBezTo>
                  <a:pt x="3366330" y="4677257"/>
                  <a:pt x="3361519" y="4677147"/>
                  <a:pt x="3356709" y="4676372"/>
                </a:cubicBezTo>
                <a:cubicBezTo>
                  <a:pt x="3346188" y="4674380"/>
                  <a:pt x="3336568" y="4672720"/>
                  <a:pt x="3325746" y="4670728"/>
                </a:cubicBezTo>
                <a:cubicBezTo>
                  <a:pt x="3316728" y="4667740"/>
                  <a:pt x="3307408" y="4666190"/>
                  <a:pt x="3298090" y="4664641"/>
                </a:cubicBezTo>
                <a:cubicBezTo>
                  <a:pt x="3289973" y="4663534"/>
                  <a:pt x="3281856" y="4662317"/>
                  <a:pt x="3274341" y="4663091"/>
                </a:cubicBezTo>
                <a:cubicBezTo>
                  <a:pt x="3274040" y="4659771"/>
                  <a:pt x="3274943" y="4656894"/>
                  <a:pt x="3275844" y="4653906"/>
                </a:cubicBezTo>
                <a:cubicBezTo>
                  <a:pt x="3264120" y="4664420"/>
                  <a:pt x="3256004" y="4658554"/>
                  <a:pt x="3243978" y="4651360"/>
                </a:cubicBezTo>
                <a:cubicBezTo>
                  <a:pt x="3258409" y="4651360"/>
                  <a:pt x="3251194" y="4642507"/>
                  <a:pt x="3269531" y="4647044"/>
                </a:cubicBezTo>
                <a:cubicBezTo>
                  <a:pt x="3253298" y="4640072"/>
                  <a:pt x="3234359" y="4641732"/>
                  <a:pt x="3223837" y="4625463"/>
                </a:cubicBezTo>
                <a:cubicBezTo>
                  <a:pt x="3222635" y="4629779"/>
                  <a:pt x="3221132" y="4634096"/>
                  <a:pt x="3225041" y="4635313"/>
                </a:cubicBezTo>
                <a:cubicBezTo>
                  <a:pt x="3219930" y="4638412"/>
                  <a:pt x="3205501" y="4625685"/>
                  <a:pt x="3199788" y="4620594"/>
                </a:cubicBezTo>
                <a:cubicBezTo>
                  <a:pt x="3196481" y="4622586"/>
                  <a:pt x="3177242" y="4620926"/>
                  <a:pt x="3185659" y="4630222"/>
                </a:cubicBezTo>
                <a:cubicBezTo>
                  <a:pt x="3173936" y="4626349"/>
                  <a:pt x="3163714" y="4622807"/>
                  <a:pt x="3151690" y="4620372"/>
                </a:cubicBezTo>
                <a:cubicBezTo>
                  <a:pt x="3140267" y="4616499"/>
                  <a:pt x="3128242" y="4614064"/>
                  <a:pt x="3116819" y="4610191"/>
                </a:cubicBezTo>
                <a:cubicBezTo>
                  <a:pt x="3120426" y="4598681"/>
                  <a:pt x="3132150" y="4605764"/>
                  <a:pt x="3128242" y="4591598"/>
                </a:cubicBezTo>
                <a:cubicBezTo>
                  <a:pt x="3139666" y="4595471"/>
                  <a:pt x="3149285" y="4601890"/>
                  <a:pt x="3159506" y="4605321"/>
                </a:cubicBezTo>
                <a:cubicBezTo>
                  <a:pt x="3168224" y="4608420"/>
                  <a:pt x="3177844" y="4609859"/>
                  <a:pt x="3188665" y="4602333"/>
                </a:cubicBezTo>
                <a:cubicBezTo>
                  <a:pt x="3192574" y="4603661"/>
                  <a:pt x="3189868" y="4607534"/>
                  <a:pt x="3189568" y="4612404"/>
                </a:cubicBezTo>
                <a:cubicBezTo>
                  <a:pt x="3192874" y="4611740"/>
                  <a:pt x="3193475" y="4605542"/>
                  <a:pt x="3197083" y="4606870"/>
                </a:cubicBezTo>
                <a:cubicBezTo>
                  <a:pt x="3194378" y="4602665"/>
                  <a:pt x="3184758" y="4596246"/>
                  <a:pt x="3176340" y="4591819"/>
                </a:cubicBezTo>
                <a:cubicBezTo>
                  <a:pt x="3167322" y="4588831"/>
                  <a:pt x="3158003" y="4587282"/>
                  <a:pt x="3152592" y="4595139"/>
                </a:cubicBezTo>
                <a:cubicBezTo>
                  <a:pt x="3146279" y="4588167"/>
                  <a:pt x="3134255" y="4585732"/>
                  <a:pt x="3129444" y="4579203"/>
                </a:cubicBezTo>
                <a:cubicBezTo>
                  <a:pt x="3132150" y="4572230"/>
                  <a:pt x="3133954" y="4566365"/>
                  <a:pt x="3137561" y="4562934"/>
                </a:cubicBezTo>
                <a:lnTo>
                  <a:pt x="3139666" y="4562049"/>
                </a:lnTo>
                <a:lnTo>
                  <a:pt x="3136660" y="4558618"/>
                </a:lnTo>
                <a:cubicBezTo>
                  <a:pt x="3132751" y="4555187"/>
                  <a:pt x="3127340" y="4552973"/>
                  <a:pt x="3121628" y="4550981"/>
                </a:cubicBezTo>
                <a:lnTo>
                  <a:pt x="3119525" y="4550539"/>
                </a:lnTo>
                <a:lnTo>
                  <a:pt x="3116518" y="4555187"/>
                </a:lnTo>
                <a:cubicBezTo>
                  <a:pt x="3114414" y="4556847"/>
                  <a:pt x="3112009" y="4557732"/>
                  <a:pt x="3109604" y="4557179"/>
                </a:cubicBezTo>
                <a:cubicBezTo>
                  <a:pt x="3105395" y="4553416"/>
                  <a:pt x="3107500" y="4550871"/>
                  <a:pt x="3104493" y="4548768"/>
                </a:cubicBezTo>
                <a:lnTo>
                  <a:pt x="3106898" y="4547772"/>
                </a:lnTo>
                <a:lnTo>
                  <a:pt x="3103893" y="4547108"/>
                </a:lnTo>
                <a:cubicBezTo>
                  <a:pt x="3098181" y="4545558"/>
                  <a:pt x="3092469" y="4543788"/>
                  <a:pt x="3087659" y="4541353"/>
                </a:cubicBezTo>
                <a:lnTo>
                  <a:pt x="3077137" y="4530507"/>
                </a:lnTo>
                <a:lnTo>
                  <a:pt x="3076537" y="4530618"/>
                </a:lnTo>
                <a:lnTo>
                  <a:pt x="3075335" y="4528847"/>
                </a:lnTo>
                <a:lnTo>
                  <a:pt x="3067819" y="4523424"/>
                </a:lnTo>
                <a:cubicBezTo>
                  <a:pt x="3065714" y="4521100"/>
                  <a:pt x="3062408" y="4518333"/>
                  <a:pt x="3060303" y="4516120"/>
                </a:cubicBezTo>
                <a:cubicBezTo>
                  <a:pt x="3048880" y="4507377"/>
                  <a:pt x="3034751" y="4497970"/>
                  <a:pt x="3022125" y="4488895"/>
                </a:cubicBezTo>
                <a:cubicBezTo>
                  <a:pt x="3007996" y="4479377"/>
                  <a:pt x="2995371" y="4470191"/>
                  <a:pt x="2983045" y="4459678"/>
                </a:cubicBezTo>
                <a:cubicBezTo>
                  <a:pt x="2971621" y="4451045"/>
                  <a:pt x="2962303" y="4439978"/>
                  <a:pt x="2955088" y="4431124"/>
                </a:cubicBezTo>
                <a:cubicBezTo>
                  <a:pt x="2950880" y="4436105"/>
                  <a:pt x="2947271" y="4433448"/>
                  <a:pt x="2943063" y="4428800"/>
                </a:cubicBezTo>
                <a:cubicBezTo>
                  <a:pt x="2940959" y="4426476"/>
                  <a:pt x="2938554" y="4425591"/>
                  <a:pt x="2934947" y="4422824"/>
                </a:cubicBezTo>
                <a:cubicBezTo>
                  <a:pt x="2931039" y="4421496"/>
                  <a:pt x="2927431" y="4420279"/>
                  <a:pt x="2921719" y="4420057"/>
                </a:cubicBezTo>
                <a:cubicBezTo>
                  <a:pt x="2925328" y="4417954"/>
                  <a:pt x="2929235" y="4419172"/>
                  <a:pt x="2931340" y="4416737"/>
                </a:cubicBezTo>
                <a:cubicBezTo>
                  <a:pt x="2916008" y="4411535"/>
                  <a:pt x="2901278" y="4403567"/>
                  <a:pt x="2886849" y="4395599"/>
                </a:cubicBezTo>
                <a:cubicBezTo>
                  <a:pt x="2879934" y="4390840"/>
                  <a:pt x="2873020" y="4386524"/>
                  <a:pt x="2866106" y="4382650"/>
                </a:cubicBezTo>
                <a:lnTo>
                  <a:pt x="2857088" y="4378887"/>
                </a:lnTo>
                <a:lnTo>
                  <a:pt x="2856487" y="4380105"/>
                </a:lnTo>
                <a:cubicBezTo>
                  <a:pt x="2853480" y="4386745"/>
                  <a:pt x="2850173" y="4393939"/>
                  <a:pt x="2848070" y="4402128"/>
                </a:cubicBezTo>
                <a:cubicBezTo>
                  <a:pt x="2843860" y="4394824"/>
                  <a:pt x="2836947" y="4391836"/>
                  <a:pt x="2829731" y="4389955"/>
                </a:cubicBezTo>
                <a:lnTo>
                  <a:pt x="2821615" y="4387962"/>
                </a:lnTo>
                <a:lnTo>
                  <a:pt x="2821014" y="4389512"/>
                </a:lnTo>
                <a:cubicBezTo>
                  <a:pt x="2820714" y="4389955"/>
                  <a:pt x="2820714" y="4389955"/>
                  <a:pt x="2821615" y="4389733"/>
                </a:cubicBezTo>
                <a:cubicBezTo>
                  <a:pt x="2819210" y="4393496"/>
                  <a:pt x="2817407" y="4398808"/>
                  <a:pt x="2814099" y="4398476"/>
                </a:cubicBezTo>
                <a:cubicBezTo>
                  <a:pt x="2808387" y="4396484"/>
                  <a:pt x="2807486" y="4390508"/>
                  <a:pt x="2808087" y="4384532"/>
                </a:cubicBezTo>
                <a:lnTo>
                  <a:pt x="2808387" y="4383757"/>
                </a:lnTo>
                <a:lnTo>
                  <a:pt x="2803278" y="4380105"/>
                </a:lnTo>
                <a:cubicBezTo>
                  <a:pt x="2801474" y="4378555"/>
                  <a:pt x="2800271" y="4376563"/>
                  <a:pt x="2799370" y="4374129"/>
                </a:cubicBezTo>
                <a:lnTo>
                  <a:pt x="2797565" y="4365939"/>
                </a:lnTo>
                <a:lnTo>
                  <a:pt x="2793658" y="4364832"/>
                </a:lnTo>
                <a:cubicBezTo>
                  <a:pt x="2792456" y="4356753"/>
                  <a:pt x="2793057" y="4351330"/>
                  <a:pt x="2794861" y="4348010"/>
                </a:cubicBezTo>
                <a:lnTo>
                  <a:pt x="2795161" y="4347457"/>
                </a:lnTo>
                <a:lnTo>
                  <a:pt x="2789450" y="4345133"/>
                </a:lnTo>
                <a:cubicBezTo>
                  <a:pt x="2790952" y="4341702"/>
                  <a:pt x="2790952" y="4338382"/>
                  <a:pt x="2790051" y="4335172"/>
                </a:cubicBezTo>
                <a:lnTo>
                  <a:pt x="2789450" y="4333955"/>
                </a:lnTo>
                <a:lnTo>
                  <a:pt x="2784339" y="4337054"/>
                </a:lnTo>
                <a:cubicBezTo>
                  <a:pt x="2781634" y="4337828"/>
                  <a:pt x="2778928" y="4338603"/>
                  <a:pt x="2776523" y="4340595"/>
                </a:cubicBezTo>
                <a:cubicBezTo>
                  <a:pt x="2770210" y="4335394"/>
                  <a:pt x="2768707" y="4333734"/>
                  <a:pt x="2772013" y="4326540"/>
                </a:cubicBezTo>
                <a:lnTo>
                  <a:pt x="2772615" y="4325987"/>
                </a:lnTo>
                <a:lnTo>
                  <a:pt x="2771713" y="4324880"/>
                </a:lnTo>
                <a:cubicBezTo>
                  <a:pt x="2773517" y="4321449"/>
                  <a:pt x="2775320" y="4321670"/>
                  <a:pt x="2777124" y="4322002"/>
                </a:cubicBezTo>
                <a:lnTo>
                  <a:pt x="2778627" y="4322224"/>
                </a:lnTo>
                <a:lnTo>
                  <a:pt x="2782234" y="4320121"/>
                </a:lnTo>
                <a:lnTo>
                  <a:pt x="2769608" y="4310271"/>
                </a:lnTo>
                <a:cubicBezTo>
                  <a:pt x="2765400" y="4306398"/>
                  <a:pt x="2761492" y="4301417"/>
                  <a:pt x="2755780" y="4294003"/>
                </a:cubicBezTo>
                <a:cubicBezTo>
                  <a:pt x="2758185" y="4304406"/>
                  <a:pt x="2750369" y="4301750"/>
                  <a:pt x="2747363" y="4311931"/>
                </a:cubicBezTo>
                <a:cubicBezTo>
                  <a:pt x="2752774" y="4321670"/>
                  <a:pt x="2759388" y="4309607"/>
                  <a:pt x="2765400" y="4322666"/>
                </a:cubicBezTo>
                <a:cubicBezTo>
                  <a:pt x="2753977" y="4326983"/>
                  <a:pt x="2742854" y="4308722"/>
                  <a:pt x="2731130" y="4314366"/>
                </a:cubicBezTo>
                <a:cubicBezTo>
                  <a:pt x="2727222" y="4313038"/>
                  <a:pt x="2740149" y="4303188"/>
                  <a:pt x="2743455" y="4310603"/>
                </a:cubicBezTo>
                <a:cubicBezTo>
                  <a:pt x="2749768" y="4304738"/>
                  <a:pt x="2750671" y="4296991"/>
                  <a:pt x="2747363" y="4289465"/>
                </a:cubicBezTo>
                <a:cubicBezTo>
                  <a:pt x="2744056" y="4281939"/>
                  <a:pt x="2738645" y="4276959"/>
                  <a:pt x="2730528" y="4275852"/>
                </a:cubicBezTo>
                <a:cubicBezTo>
                  <a:pt x="2727823" y="4279726"/>
                  <a:pt x="2732332" y="4282935"/>
                  <a:pt x="2734137" y="4286588"/>
                </a:cubicBezTo>
                <a:cubicBezTo>
                  <a:pt x="2727522" y="4284485"/>
                  <a:pt x="2720308" y="4290018"/>
                  <a:pt x="2713393" y="4284485"/>
                </a:cubicBezTo>
                <a:cubicBezTo>
                  <a:pt x="2721210" y="4277512"/>
                  <a:pt x="2722412" y="4269876"/>
                  <a:pt x="2723314" y="4257481"/>
                </a:cubicBezTo>
                <a:lnTo>
                  <a:pt x="2719706" y="4255378"/>
                </a:lnTo>
                <a:lnTo>
                  <a:pt x="2718805" y="4260690"/>
                </a:lnTo>
                <a:cubicBezTo>
                  <a:pt x="2717903" y="4263015"/>
                  <a:pt x="2716400" y="4264785"/>
                  <a:pt x="2714596" y="4265892"/>
                </a:cubicBezTo>
                <a:lnTo>
                  <a:pt x="2705277" y="4267552"/>
                </a:lnTo>
                <a:lnTo>
                  <a:pt x="2704976" y="4268880"/>
                </a:lnTo>
                <a:cubicBezTo>
                  <a:pt x="2703172" y="4271758"/>
                  <a:pt x="2699265" y="4274746"/>
                  <a:pt x="2693252" y="4277845"/>
                </a:cubicBezTo>
                <a:cubicBezTo>
                  <a:pt x="2693252" y="4269101"/>
                  <a:pt x="2688442" y="4261686"/>
                  <a:pt x="2684234" y="4254604"/>
                </a:cubicBezTo>
                <a:lnTo>
                  <a:pt x="2681829" y="4249291"/>
                </a:lnTo>
                <a:lnTo>
                  <a:pt x="2679424" y="4254604"/>
                </a:lnTo>
                <a:cubicBezTo>
                  <a:pt x="2675215" y="4252390"/>
                  <a:pt x="2672811" y="4249734"/>
                  <a:pt x="2671308" y="4246746"/>
                </a:cubicBezTo>
                <a:lnTo>
                  <a:pt x="2669503" y="4236121"/>
                </a:lnTo>
                <a:lnTo>
                  <a:pt x="2669503" y="4236011"/>
                </a:lnTo>
                <a:cubicBezTo>
                  <a:pt x="2669503" y="4236011"/>
                  <a:pt x="2669503" y="4236011"/>
                  <a:pt x="2665295" y="4225608"/>
                </a:cubicBezTo>
                <a:cubicBezTo>
                  <a:pt x="2666497" y="4223173"/>
                  <a:pt x="2666197" y="4223173"/>
                  <a:pt x="2664995" y="4219631"/>
                </a:cubicBezTo>
                <a:cubicBezTo>
                  <a:pt x="2657179" y="4204912"/>
                  <a:pt x="2650264" y="4208011"/>
                  <a:pt x="2642147" y="4213655"/>
                </a:cubicBezTo>
                <a:cubicBezTo>
                  <a:pt x="2634332" y="4219410"/>
                  <a:pt x="2628019" y="4234461"/>
                  <a:pt x="2626817" y="4237007"/>
                </a:cubicBezTo>
                <a:cubicBezTo>
                  <a:pt x="2622006" y="4235125"/>
                  <a:pt x="2616896" y="4229370"/>
                  <a:pt x="2610583" y="4225054"/>
                </a:cubicBezTo>
                <a:lnTo>
                  <a:pt x="2604872" y="4222509"/>
                </a:lnTo>
                <a:lnTo>
                  <a:pt x="2593148" y="4222620"/>
                </a:lnTo>
                <a:lnTo>
                  <a:pt x="2599160" y="4226382"/>
                </a:lnTo>
                <a:cubicBezTo>
                  <a:pt x="2604571" y="4230034"/>
                  <a:pt x="2609982" y="4234461"/>
                  <a:pt x="2612387" y="4236232"/>
                </a:cubicBezTo>
                <a:cubicBezTo>
                  <a:pt x="2612387" y="4237781"/>
                  <a:pt x="2612387" y="4237781"/>
                  <a:pt x="2612387" y="4237781"/>
                </a:cubicBezTo>
                <a:cubicBezTo>
                  <a:pt x="2611485" y="4239220"/>
                  <a:pt x="2610283" y="4239442"/>
                  <a:pt x="2608779" y="4238888"/>
                </a:cubicBezTo>
                <a:cubicBezTo>
                  <a:pt x="2607277" y="4238224"/>
                  <a:pt x="2605172" y="4236896"/>
                  <a:pt x="2602767" y="4235125"/>
                </a:cubicBezTo>
                <a:cubicBezTo>
                  <a:pt x="2597958" y="4231584"/>
                  <a:pt x="2593148" y="4224944"/>
                  <a:pt x="2591644" y="4223284"/>
                </a:cubicBezTo>
                <a:lnTo>
                  <a:pt x="2590743" y="4222730"/>
                </a:lnTo>
                <a:lnTo>
                  <a:pt x="2588338" y="4222730"/>
                </a:lnTo>
                <a:lnTo>
                  <a:pt x="2586534" y="4229149"/>
                </a:lnTo>
                <a:cubicBezTo>
                  <a:pt x="2587136" y="4235568"/>
                  <a:pt x="2590442" y="4244643"/>
                  <a:pt x="2589239" y="4251947"/>
                </a:cubicBezTo>
                <a:lnTo>
                  <a:pt x="2584430" y="4259252"/>
                </a:lnTo>
                <a:lnTo>
                  <a:pt x="2585933" y="4262572"/>
                </a:lnTo>
                <a:lnTo>
                  <a:pt x="2583828" y="4272311"/>
                </a:lnTo>
                <a:lnTo>
                  <a:pt x="2588638" y="4281054"/>
                </a:lnTo>
                <a:cubicBezTo>
                  <a:pt x="2598258" y="4295441"/>
                  <a:pt x="2608479" y="4306951"/>
                  <a:pt x="2616896" y="4303299"/>
                </a:cubicBezTo>
                <a:cubicBezTo>
                  <a:pt x="2620504" y="4309386"/>
                  <a:pt x="2612988" y="4311489"/>
                  <a:pt x="2619301" y="4318461"/>
                </a:cubicBezTo>
                <a:cubicBezTo>
                  <a:pt x="2623510" y="4322998"/>
                  <a:pt x="2627418" y="4319568"/>
                  <a:pt x="2631326" y="4316026"/>
                </a:cubicBezTo>
                <a:lnTo>
                  <a:pt x="2634032" y="4325655"/>
                </a:lnTo>
                <a:lnTo>
                  <a:pt x="2634633" y="4325323"/>
                </a:lnTo>
                <a:cubicBezTo>
                  <a:pt x="2635835" y="4323994"/>
                  <a:pt x="2637338" y="4322888"/>
                  <a:pt x="2639443" y="4322445"/>
                </a:cubicBezTo>
                <a:cubicBezTo>
                  <a:pt x="2640645" y="4322224"/>
                  <a:pt x="2642147" y="4322224"/>
                  <a:pt x="2643651" y="4322777"/>
                </a:cubicBezTo>
                <a:cubicBezTo>
                  <a:pt x="2642449" y="4323773"/>
                  <a:pt x="2640645" y="4325433"/>
                  <a:pt x="2638841" y="4326872"/>
                </a:cubicBezTo>
                <a:lnTo>
                  <a:pt x="2635234" y="4328864"/>
                </a:lnTo>
                <a:lnTo>
                  <a:pt x="2635234" y="4329749"/>
                </a:lnTo>
                <a:cubicBezTo>
                  <a:pt x="2644552" y="4346018"/>
                  <a:pt x="2665896" y="4368152"/>
                  <a:pt x="2671908" y="4376121"/>
                </a:cubicBezTo>
                <a:cubicBezTo>
                  <a:pt x="2659884" y="4383314"/>
                  <a:pt x="2646056" y="4350002"/>
                  <a:pt x="2633129" y="4355204"/>
                </a:cubicBezTo>
                <a:cubicBezTo>
                  <a:pt x="2638540" y="4360184"/>
                  <a:pt x="2643651" y="4366714"/>
                  <a:pt x="2648762" y="4373243"/>
                </a:cubicBezTo>
                <a:cubicBezTo>
                  <a:pt x="2654173" y="4378223"/>
                  <a:pt x="2659283" y="4384753"/>
                  <a:pt x="2664995" y="4389844"/>
                </a:cubicBezTo>
                <a:cubicBezTo>
                  <a:pt x="2675817" y="4399915"/>
                  <a:pt x="2687240" y="4408547"/>
                  <a:pt x="2698063" y="4410539"/>
                </a:cubicBezTo>
                <a:lnTo>
                  <a:pt x="2706480" y="4426144"/>
                </a:lnTo>
                <a:lnTo>
                  <a:pt x="2706179" y="4424484"/>
                </a:lnTo>
                <a:cubicBezTo>
                  <a:pt x="2707682" y="4423709"/>
                  <a:pt x="2707682" y="4423709"/>
                  <a:pt x="2708283" y="4425037"/>
                </a:cubicBezTo>
                <a:lnTo>
                  <a:pt x="2708283" y="4424484"/>
                </a:lnTo>
                <a:lnTo>
                  <a:pt x="2711289" y="4426919"/>
                </a:lnTo>
                <a:cubicBezTo>
                  <a:pt x="2711891" y="4428358"/>
                  <a:pt x="2711891" y="4430018"/>
                  <a:pt x="2711891" y="4431788"/>
                </a:cubicBezTo>
                <a:lnTo>
                  <a:pt x="2709786" y="4431899"/>
                </a:lnTo>
                <a:lnTo>
                  <a:pt x="2724817" y="4451488"/>
                </a:lnTo>
                <a:lnTo>
                  <a:pt x="2741951" y="4467092"/>
                </a:lnTo>
                <a:lnTo>
                  <a:pt x="2739246" y="4458571"/>
                </a:lnTo>
                <a:cubicBezTo>
                  <a:pt x="2746161" y="4451488"/>
                  <a:pt x="2753074" y="4450381"/>
                  <a:pt x="2757584" y="4452373"/>
                </a:cubicBezTo>
                <a:lnTo>
                  <a:pt x="2759088" y="4453812"/>
                </a:lnTo>
                <a:lnTo>
                  <a:pt x="2760590" y="4452816"/>
                </a:lnTo>
                <a:cubicBezTo>
                  <a:pt x="2764197" y="4451820"/>
                  <a:pt x="2768707" y="4451931"/>
                  <a:pt x="2772615" y="4450934"/>
                </a:cubicBezTo>
                <a:cubicBezTo>
                  <a:pt x="2772916" y="4455804"/>
                  <a:pt x="2771412" y="4458792"/>
                  <a:pt x="2768707" y="4460342"/>
                </a:cubicBezTo>
                <a:lnTo>
                  <a:pt x="2762995" y="4460784"/>
                </a:lnTo>
                <a:lnTo>
                  <a:pt x="2763295" y="4464990"/>
                </a:lnTo>
                <a:cubicBezTo>
                  <a:pt x="2762394" y="4468642"/>
                  <a:pt x="2759388" y="4472515"/>
                  <a:pt x="2754278" y="4475614"/>
                </a:cubicBezTo>
                <a:lnTo>
                  <a:pt x="2749768" y="4474175"/>
                </a:lnTo>
                <a:lnTo>
                  <a:pt x="2761191" y="4484468"/>
                </a:lnTo>
                <a:cubicBezTo>
                  <a:pt x="2773817" y="4493543"/>
                  <a:pt x="2787345" y="4504499"/>
                  <a:pt x="2799670" y="4515013"/>
                </a:cubicBezTo>
                <a:cubicBezTo>
                  <a:pt x="2811996" y="4525527"/>
                  <a:pt x="2824020" y="4537590"/>
                  <a:pt x="2832136" y="4551535"/>
                </a:cubicBezTo>
                <a:cubicBezTo>
                  <a:pt x="2843860" y="4555408"/>
                  <a:pt x="2860094" y="4557732"/>
                  <a:pt x="2866406" y="4569353"/>
                </a:cubicBezTo>
                <a:cubicBezTo>
                  <a:pt x="2864001" y="4571898"/>
                  <a:pt x="2860995" y="4572452"/>
                  <a:pt x="2858290" y="4576436"/>
                </a:cubicBezTo>
                <a:cubicBezTo>
                  <a:pt x="2873321" y="4587724"/>
                  <a:pt x="2886247" y="4592040"/>
                  <a:pt x="2898572" y="4597795"/>
                </a:cubicBezTo>
                <a:cubicBezTo>
                  <a:pt x="2908192" y="4601005"/>
                  <a:pt x="2915707" y="4605321"/>
                  <a:pt x="2922622" y="4614617"/>
                </a:cubicBezTo>
                <a:lnTo>
                  <a:pt x="2922922" y="4614949"/>
                </a:lnTo>
                <a:lnTo>
                  <a:pt x="2931340" y="4614396"/>
                </a:lnTo>
                <a:cubicBezTo>
                  <a:pt x="2936751" y="4615835"/>
                  <a:pt x="2940959" y="4618491"/>
                  <a:pt x="2943664" y="4621700"/>
                </a:cubicBezTo>
                <a:lnTo>
                  <a:pt x="2946370" y="4628562"/>
                </a:lnTo>
                <a:lnTo>
                  <a:pt x="2949376" y="4632878"/>
                </a:lnTo>
                <a:cubicBezTo>
                  <a:pt x="2949376" y="4632878"/>
                  <a:pt x="2949376" y="4632878"/>
                  <a:pt x="2948775" y="4631550"/>
                </a:cubicBezTo>
                <a:lnTo>
                  <a:pt x="2952683" y="4623692"/>
                </a:lnTo>
                <a:lnTo>
                  <a:pt x="2950579" y="4622586"/>
                </a:lnTo>
                <a:lnTo>
                  <a:pt x="2953585" y="4621590"/>
                </a:lnTo>
                <a:lnTo>
                  <a:pt x="2955689" y="4617052"/>
                </a:lnTo>
                <a:cubicBezTo>
                  <a:pt x="2958394" y="4612404"/>
                  <a:pt x="2961100" y="4608752"/>
                  <a:pt x="2963805" y="4608420"/>
                </a:cubicBezTo>
                <a:cubicBezTo>
                  <a:pt x="2964407" y="4609748"/>
                  <a:pt x="2965008" y="4611076"/>
                  <a:pt x="2964107" y="4613179"/>
                </a:cubicBezTo>
                <a:cubicBezTo>
                  <a:pt x="2963204" y="4615171"/>
                  <a:pt x="2962603" y="4613843"/>
                  <a:pt x="2963204" y="4615171"/>
                </a:cubicBezTo>
                <a:cubicBezTo>
                  <a:pt x="2962303" y="4617274"/>
                  <a:pt x="2963505" y="4616609"/>
                  <a:pt x="2963505" y="4616609"/>
                </a:cubicBezTo>
                <a:cubicBezTo>
                  <a:pt x="2963505" y="4616609"/>
                  <a:pt x="2962002" y="4617274"/>
                  <a:pt x="2962002" y="4617274"/>
                </a:cubicBezTo>
                <a:cubicBezTo>
                  <a:pt x="2962002" y="4617274"/>
                  <a:pt x="2962303" y="4617274"/>
                  <a:pt x="2962002" y="4617716"/>
                </a:cubicBezTo>
                <a:lnTo>
                  <a:pt x="2961401" y="4619487"/>
                </a:lnTo>
                <a:lnTo>
                  <a:pt x="2968315" y="4617606"/>
                </a:lnTo>
                <a:cubicBezTo>
                  <a:pt x="2972825" y="4621368"/>
                  <a:pt x="2981242" y="4618048"/>
                  <a:pt x="2987254" y="4623471"/>
                </a:cubicBezTo>
                <a:cubicBezTo>
                  <a:pt x="2983647" y="4627566"/>
                  <a:pt x="2975530" y="4628673"/>
                  <a:pt x="2967714" y="4628009"/>
                </a:cubicBezTo>
                <a:lnTo>
                  <a:pt x="2959597" y="4626570"/>
                </a:lnTo>
                <a:lnTo>
                  <a:pt x="2959597" y="4627234"/>
                </a:lnTo>
                <a:cubicBezTo>
                  <a:pt x="2959597" y="4628673"/>
                  <a:pt x="2959597" y="4629890"/>
                  <a:pt x="2959297" y="4631661"/>
                </a:cubicBezTo>
                <a:cubicBezTo>
                  <a:pt x="2957793" y="4635756"/>
                  <a:pt x="2956291" y="4636420"/>
                  <a:pt x="2952984" y="4641179"/>
                </a:cubicBezTo>
                <a:cubicBezTo>
                  <a:pt x="2949376" y="4641179"/>
                  <a:pt x="2949376" y="4641179"/>
                  <a:pt x="2948775" y="4639740"/>
                </a:cubicBezTo>
                <a:cubicBezTo>
                  <a:pt x="2949376" y="4641179"/>
                  <a:pt x="2947874" y="4641843"/>
                  <a:pt x="2946971" y="4643945"/>
                </a:cubicBezTo>
                <a:cubicBezTo>
                  <a:pt x="2946670" y="4646159"/>
                  <a:pt x="2945769" y="4647819"/>
                  <a:pt x="2944566" y="4649147"/>
                </a:cubicBezTo>
                <a:lnTo>
                  <a:pt x="2940658" y="4651582"/>
                </a:lnTo>
                <a:lnTo>
                  <a:pt x="2940959" y="4652024"/>
                </a:lnTo>
                <a:lnTo>
                  <a:pt x="2938554" y="4653131"/>
                </a:lnTo>
                <a:lnTo>
                  <a:pt x="2937051" y="4655012"/>
                </a:lnTo>
                <a:cubicBezTo>
                  <a:pt x="2932842" y="4658111"/>
                  <a:pt x="2927131" y="4659882"/>
                  <a:pt x="2921118" y="4659661"/>
                </a:cubicBezTo>
                <a:lnTo>
                  <a:pt x="2916008" y="4658665"/>
                </a:lnTo>
                <a:lnTo>
                  <a:pt x="2914205" y="4660657"/>
                </a:lnTo>
                <a:lnTo>
                  <a:pt x="2912401" y="4657890"/>
                </a:lnTo>
                <a:lnTo>
                  <a:pt x="2911198" y="4657669"/>
                </a:lnTo>
                <a:cubicBezTo>
                  <a:pt x="2907591" y="4656451"/>
                  <a:pt x="2903984" y="4654459"/>
                  <a:pt x="2900377" y="4651803"/>
                </a:cubicBezTo>
                <a:lnTo>
                  <a:pt x="2900377" y="4649922"/>
                </a:lnTo>
                <a:lnTo>
                  <a:pt x="2898572" y="4656562"/>
                </a:lnTo>
                <a:cubicBezTo>
                  <a:pt x="2895566" y="4657447"/>
                  <a:pt x="2892560" y="4657005"/>
                  <a:pt x="2890155" y="4655787"/>
                </a:cubicBezTo>
                <a:lnTo>
                  <a:pt x="2888051" y="4653574"/>
                </a:lnTo>
                <a:lnTo>
                  <a:pt x="2887450" y="4657669"/>
                </a:lnTo>
                <a:cubicBezTo>
                  <a:pt x="2882940" y="4657115"/>
                  <a:pt x="2879634" y="4657669"/>
                  <a:pt x="2876327" y="4656230"/>
                </a:cubicBezTo>
                <a:cubicBezTo>
                  <a:pt x="2874823" y="4652246"/>
                  <a:pt x="2875726" y="4649811"/>
                  <a:pt x="2877829" y="4648483"/>
                </a:cubicBezTo>
                <a:lnTo>
                  <a:pt x="2883541" y="4648261"/>
                </a:lnTo>
                <a:lnTo>
                  <a:pt x="2881137" y="4642175"/>
                </a:lnTo>
                <a:cubicBezTo>
                  <a:pt x="2880837" y="4639408"/>
                  <a:pt x="2881137" y="4636862"/>
                  <a:pt x="2882339" y="4634760"/>
                </a:cubicBezTo>
                <a:cubicBezTo>
                  <a:pt x="2886548" y="4633432"/>
                  <a:pt x="2891057" y="4635092"/>
                  <a:pt x="2894364" y="4638080"/>
                </a:cubicBezTo>
                <a:lnTo>
                  <a:pt x="2900677" y="4649368"/>
                </a:lnTo>
                <a:lnTo>
                  <a:pt x="2901278" y="4642839"/>
                </a:lnTo>
                <a:lnTo>
                  <a:pt x="2891357" y="4633764"/>
                </a:lnTo>
                <a:lnTo>
                  <a:pt x="2888952" y="4632214"/>
                </a:lnTo>
                <a:lnTo>
                  <a:pt x="2885045" y="4633210"/>
                </a:lnTo>
                <a:cubicBezTo>
                  <a:pt x="2880234" y="4632435"/>
                  <a:pt x="2876026" y="4629226"/>
                  <a:pt x="2872720" y="4624467"/>
                </a:cubicBezTo>
                <a:lnTo>
                  <a:pt x="2873922" y="4622586"/>
                </a:lnTo>
                <a:lnTo>
                  <a:pt x="2858290" y="4613068"/>
                </a:lnTo>
                <a:cubicBezTo>
                  <a:pt x="2860995" y="4609084"/>
                  <a:pt x="2867910" y="4617938"/>
                  <a:pt x="2869714" y="4612183"/>
                </a:cubicBezTo>
                <a:cubicBezTo>
                  <a:pt x="2857989" y="4607313"/>
                  <a:pt x="2850474" y="4602886"/>
                  <a:pt x="2843560" y="4598681"/>
                </a:cubicBezTo>
                <a:lnTo>
                  <a:pt x="2837548" y="4595914"/>
                </a:lnTo>
                <a:lnTo>
                  <a:pt x="2832437" y="4596689"/>
                </a:lnTo>
                <a:cubicBezTo>
                  <a:pt x="2828529" y="4597795"/>
                  <a:pt x="2825222" y="4598902"/>
                  <a:pt x="2821014" y="4598791"/>
                </a:cubicBezTo>
                <a:lnTo>
                  <a:pt x="2826726" y="4590712"/>
                </a:lnTo>
                <a:lnTo>
                  <a:pt x="2819510" y="4587282"/>
                </a:lnTo>
                <a:cubicBezTo>
                  <a:pt x="2815903" y="4576436"/>
                  <a:pt x="2807486" y="4567250"/>
                  <a:pt x="2796063" y="4558618"/>
                </a:cubicBezTo>
                <a:cubicBezTo>
                  <a:pt x="2790051" y="4554966"/>
                  <a:pt x="2784639" y="4549985"/>
                  <a:pt x="2777725" y="4544452"/>
                </a:cubicBezTo>
                <a:cubicBezTo>
                  <a:pt x="2770511" y="4540468"/>
                  <a:pt x="2765400" y="4533938"/>
                  <a:pt x="2757885" y="4526523"/>
                </a:cubicBezTo>
                <a:cubicBezTo>
                  <a:pt x="2746461" y="4522650"/>
                  <a:pt x="2751572" y="4542017"/>
                  <a:pt x="2739848" y="4530064"/>
                </a:cubicBezTo>
                <a:cubicBezTo>
                  <a:pt x="2744959" y="4522207"/>
                  <a:pt x="2745259" y="4516341"/>
                  <a:pt x="2742253" y="4511361"/>
                </a:cubicBezTo>
                <a:lnTo>
                  <a:pt x="2729327" y="4500515"/>
                </a:lnTo>
                <a:lnTo>
                  <a:pt x="2726921" y="4504831"/>
                </a:lnTo>
                <a:cubicBezTo>
                  <a:pt x="2722412" y="4508594"/>
                  <a:pt x="2716099" y="4511029"/>
                  <a:pt x="2707081" y="4511472"/>
                </a:cubicBezTo>
                <a:cubicBezTo>
                  <a:pt x="2695357" y="4498634"/>
                  <a:pt x="2690847" y="4482033"/>
                  <a:pt x="2695057" y="4470745"/>
                </a:cubicBezTo>
                <a:lnTo>
                  <a:pt x="2698664" y="4466428"/>
                </a:lnTo>
                <a:lnTo>
                  <a:pt x="2696259" y="4461006"/>
                </a:lnTo>
                <a:cubicBezTo>
                  <a:pt x="2692351" y="4459788"/>
                  <a:pt x="2689946" y="4458903"/>
                  <a:pt x="2685436" y="4463883"/>
                </a:cubicBezTo>
                <a:lnTo>
                  <a:pt x="2682430" y="4459124"/>
                </a:lnTo>
                <a:lnTo>
                  <a:pt x="2682130" y="4459124"/>
                </a:lnTo>
                <a:cubicBezTo>
                  <a:pt x="2680927" y="4458571"/>
                  <a:pt x="2680326" y="4457685"/>
                  <a:pt x="2680326" y="4456689"/>
                </a:cubicBezTo>
                <a:lnTo>
                  <a:pt x="2680326" y="4455915"/>
                </a:lnTo>
                <a:lnTo>
                  <a:pt x="2675817" y="4448500"/>
                </a:lnTo>
                <a:lnTo>
                  <a:pt x="2666197" y="4490333"/>
                </a:lnTo>
                <a:lnTo>
                  <a:pt x="2661387" y="4500847"/>
                </a:lnTo>
                <a:lnTo>
                  <a:pt x="2661387" y="4505717"/>
                </a:lnTo>
                <a:lnTo>
                  <a:pt x="2658080" y="4507820"/>
                </a:lnTo>
                <a:lnTo>
                  <a:pt x="2655375" y="4513464"/>
                </a:lnTo>
                <a:cubicBezTo>
                  <a:pt x="2651167" y="4520989"/>
                  <a:pt x="2645455" y="4528404"/>
                  <a:pt x="2638240" y="4535487"/>
                </a:cubicBezTo>
                <a:cubicBezTo>
                  <a:pt x="2631326" y="4521764"/>
                  <a:pt x="2632228" y="4507488"/>
                  <a:pt x="2636737" y="4494207"/>
                </a:cubicBezTo>
                <a:lnTo>
                  <a:pt x="2644252" y="4479156"/>
                </a:lnTo>
                <a:lnTo>
                  <a:pt x="2643651" y="4478270"/>
                </a:lnTo>
                <a:cubicBezTo>
                  <a:pt x="2637639" y="4466428"/>
                  <a:pt x="2639743" y="4450934"/>
                  <a:pt x="2651768" y="4451709"/>
                </a:cubicBezTo>
                <a:cubicBezTo>
                  <a:pt x="2654173" y="4451820"/>
                  <a:pt x="2656878" y="4452595"/>
                  <a:pt x="2659884" y="4454033"/>
                </a:cubicBezTo>
                <a:lnTo>
                  <a:pt x="2660786" y="4457575"/>
                </a:lnTo>
                <a:lnTo>
                  <a:pt x="2674013" y="4445622"/>
                </a:lnTo>
                <a:lnTo>
                  <a:pt x="2670406" y="4439646"/>
                </a:lnTo>
                <a:lnTo>
                  <a:pt x="2659884" y="4426919"/>
                </a:lnTo>
                <a:lnTo>
                  <a:pt x="2656277" y="4428358"/>
                </a:lnTo>
                <a:cubicBezTo>
                  <a:pt x="2654473" y="4427915"/>
                  <a:pt x="2652669" y="4426587"/>
                  <a:pt x="2650264" y="4424705"/>
                </a:cubicBezTo>
                <a:cubicBezTo>
                  <a:pt x="2647558" y="4422935"/>
                  <a:pt x="2646957" y="4420943"/>
                  <a:pt x="2646356" y="4418950"/>
                </a:cubicBezTo>
                <a:lnTo>
                  <a:pt x="2644552" y="4415077"/>
                </a:lnTo>
                <a:lnTo>
                  <a:pt x="2635534" y="4406445"/>
                </a:lnTo>
                <a:lnTo>
                  <a:pt x="2634032" y="4396816"/>
                </a:lnTo>
                <a:lnTo>
                  <a:pt x="2623510" y="4385528"/>
                </a:lnTo>
                <a:lnTo>
                  <a:pt x="2619301" y="4380658"/>
                </a:lnTo>
                <a:lnTo>
                  <a:pt x="2618700" y="4383868"/>
                </a:lnTo>
                <a:lnTo>
                  <a:pt x="2613289" y="4393164"/>
                </a:lnTo>
                <a:lnTo>
                  <a:pt x="2614190" y="4393717"/>
                </a:lnTo>
                <a:cubicBezTo>
                  <a:pt x="2615093" y="4395156"/>
                  <a:pt x="2615093" y="4396706"/>
                  <a:pt x="2614190" y="4398255"/>
                </a:cubicBezTo>
                <a:lnTo>
                  <a:pt x="2607878" y="4402792"/>
                </a:lnTo>
                <a:lnTo>
                  <a:pt x="2607277" y="4403899"/>
                </a:lnTo>
                <a:cubicBezTo>
                  <a:pt x="2602466" y="4409986"/>
                  <a:pt x="2596454" y="4415409"/>
                  <a:pt x="2589239" y="4419504"/>
                </a:cubicBezTo>
                <a:cubicBezTo>
                  <a:pt x="2583227" y="4422824"/>
                  <a:pt x="2577816" y="4424705"/>
                  <a:pt x="2572705" y="4425591"/>
                </a:cubicBezTo>
                <a:lnTo>
                  <a:pt x="2566693" y="4425701"/>
                </a:lnTo>
                <a:lnTo>
                  <a:pt x="2563086" y="4427583"/>
                </a:lnTo>
                <a:cubicBezTo>
                  <a:pt x="2557074" y="4430350"/>
                  <a:pt x="2546853" y="4434666"/>
                  <a:pt x="2542345" y="4434555"/>
                </a:cubicBezTo>
                <a:cubicBezTo>
                  <a:pt x="2546252" y="4433116"/>
                  <a:pt x="2550761" y="4430792"/>
                  <a:pt x="2554969" y="4428800"/>
                </a:cubicBezTo>
                <a:lnTo>
                  <a:pt x="2566393" y="4425701"/>
                </a:lnTo>
                <a:lnTo>
                  <a:pt x="2557375" y="4425812"/>
                </a:lnTo>
                <a:cubicBezTo>
                  <a:pt x="2547154" y="4424705"/>
                  <a:pt x="2536933" y="4422160"/>
                  <a:pt x="2524307" y="4422492"/>
                </a:cubicBezTo>
                <a:cubicBezTo>
                  <a:pt x="2521301" y="4403567"/>
                  <a:pt x="2509277" y="4403235"/>
                  <a:pt x="2500257" y="4397370"/>
                </a:cubicBezTo>
                <a:cubicBezTo>
                  <a:pt x="2501460" y="4393939"/>
                  <a:pt x="2501761" y="4390397"/>
                  <a:pt x="2501761" y="4386634"/>
                </a:cubicBezTo>
                <a:lnTo>
                  <a:pt x="2500860" y="4375125"/>
                </a:lnTo>
                <a:lnTo>
                  <a:pt x="2493344" y="4370255"/>
                </a:lnTo>
                <a:cubicBezTo>
                  <a:pt x="2489435" y="4365718"/>
                  <a:pt x="2488834" y="4359852"/>
                  <a:pt x="2492141" y="4356089"/>
                </a:cubicBezTo>
                <a:lnTo>
                  <a:pt x="2498755" y="4353212"/>
                </a:lnTo>
                <a:lnTo>
                  <a:pt x="2498755" y="4351220"/>
                </a:lnTo>
                <a:cubicBezTo>
                  <a:pt x="2506269" y="4344247"/>
                  <a:pt x="2511982" y="4337054"/>
                  <a:pt x="2517994" y="4329860"/>
                </a:cubicBezTo>
                <a:lnTo>
                  <a:pt x="2520098" y="4327647"/>
                </a:lnTo>
                <a:lnTo>
                  <a:pt x="2514988" y="4327093"/>
                </a:lnTo>
                <a:lnTo>
                  <a:pt x="2508975" y="4320674"/>
                </a:lnTo>
                <a:lnTo>
                  <a:pt x="2502062" y="4323220"/>
                </a:lnTo>
                <a:cubicBezTo>
                  <a:pt x="2496049" y="4323884"/>
                  <a:pt x="2490037" y="4323330"/>
                  <a:pt x="2485528" y="4320785"/>
                </a:cubicBezTo>
                <a:lnTo>
                  <a:pt x="2479516" y="4313923"/>
                </a:lnTo>
                <a:lnTo>
                  <a:pt x="2478614" y="4313923"/>
                </a:lnTo>
                <a:cubicBezTo>
                  <a:pt x="2475306" y="4310825"/>
                  <a:pt x="2473503" y="4306176"/>
                  <a:pt x="2475006" y="4304738"/>
                </a:cubicBezTo>
                <a:cubicBezTo>
                  <a:pt x="2477411" y="4302635"/>
                  <a:pt x="2479516" y="4300421"/>
                  <a:pt x="2482822" y="4301528"/>
                </a:cubicBezTo>
                <a:lnTo>
                  <a:pt x="2483423" y="4302082"/>
                </a:lnTo>
                <a:lnTo>
                  <a:pt x="2483423" y="4300975"/>
                </a:lnTo>
                <a:cubicBezTo>
                  <a:pt x="2484926" y="4300421"/>
                  <a:pt x="2486429" y="4300643"/>
                  <a:pt x="2488233" y="4301307"/>
                </a:cubicBezTo>
                <a:lnTo>
                  <a:pt x="2492442" y="4303742"/>
                </a:lnTo>
                <a:lnTo>
                  <a:pt x="2496350" y="4301085"/>
                </a:lnTo>
                <a:cubicBezTo>
                  <a:pt x="2503264" y="4298097"/>
                  <a:pt x="2511681" y="4296437"/>
                  <a:pt x="2521902" y="4296769"/>
                </a:cubicBezTo>
                <a:cubicBezTo>
                  <a:pt x="2529418" y="4304738"/>
                  <a:pt x="2526111" y="4312042"/>
                  <a:pt x="2518896" y="4317133"/>
                </a:cubicBezTo>
                <a:lnTo>
                  <a:pt x="2518595" y="4317354"/>
                </a:lnTo>
                <a:lnTo>
                  <a:pt x="2518896" y="4318461"/>
                </a:lnTo>
                <a:cubicBezTo>
                  <a:pt x="2520700" y="4321449"/>
                  <a:pt x="2522503" y="4324326"/>
                  <a:pt x="2522503" y="4324326"/>
                </a:cubicBezTo>
                <a:lnTo>
                  <a:pt x="2520399" y="4326983"/>
                </a:lnTo>
                <a:lnTo>
                  <a:pt x="2537534" y="4308279"/>
                </a:lnTo>
                <a:lnTo>
                  <a:pt x="2551062" y="4308168"/>
                </a:lnTo>
                <a:lnTo>
                  <a:pt x="2551062" y="4307947"/>
                </a:lnTo>
                <a:cubicBezTo>
                  <a:pt x="2550761" y="4307504"/>
                  <a:pt x="2550460" y="4307172"/>
                  <a:pt x="2550460" y="4306398"/>
                </a:cubicBezTo>
                <a:cubicBezTo>
                  <a:pt x="2550460" y="4306398"/>
                  <a:pt x="2550460" y="4307836"/>
                  <a:pt x="2548957" y="4306176"/>
                </a:cubicBezTo>
                <a:cubicBezTo>
                  <a:pt x="2550460" y="4306287"/>
                  <a:pt x="2550460" y="4304848"/>
                  <a:pt x="2550460" y="4303299"/>
                </a:cubicBezTo>
                <a:lnTo>
                  <a:pt x="2555871" y="4300311"/>
                </a:lnTo>
                <a:lnTo>
                  <a:pt x="2541742" y="4294113"/>
                </a:lnTo>
                <a:cubicBezTo>
                  <a:pt x="2544147" y="4290904"/>
                  <a:pt x="2541141" y="4280722"/>
                  <a:pt x="2535430" y="4272422"/>
                </a:cubicBezTo>
                <a:lnTo>
                  <a:pt x="2527914" y="4264675"/>
                </a:lnTo>
                <a:lnTo>
                  <a:pt x="2519196" y="4272422"/>
                </a:lnTo>
                <a:cubicBezTo>
                  <a:pt x="2513485" y="4276516"/>
                  <a:pt x="2506872" y="4279505"/>
                  <a:pt x="2497552" y="4280390"/>
                </a:cubicBezTo>
                <a:cubicBezTo>
                  <a:pt x="2497552" y="4271315"/>
                  <a:pt x="2503865" y="4265781"/>
                  <a:pt x="2511681" y="4262461"/>
                </a:cubicBezTo>
                <a:lnTo>
                  <a:pt x="2514688" y="4261576"/>
                </a:lnTo>
                <a:lnTo>
                  <a:pt x="2514386" y="4255046"/>
                </a:lnTo>
                <a:lnTo>
                  <a:pt x="2513785" y="4254825"/>
                </a:lnTo>
                <a:cubicBezTo>
                  <a:pt x="2514688" y="4256153"/>
                  <a:pt x="2512283" y="4255600"/>
                  <a:pt x="2512283" y="4255600"/>
                </a:cubicBezTo>
                <a:cubicBezTo>
                  <a:pt x="2512283" y="4255600"/>
                  <a:pt x="2512283" y="4255710"/>
                  <a:pt x="2511080" y="4259916"/>
                </a:cubicBezTo>
                <a:cubicBezTo>
                  <a:pt x="2511080" y="4259916"/>
                  <a:pt x="2506872" y="4269101"/>
                  <a:pt x="2496951" y="4267884"/>
                </a:cubicBezTo>
                <a:cubicBezTo>
                  <a:pt x="2497251" y="4266888"/>
                  <a:pt x="2494245" y="4265671"/>
                  <a:pt x="2491239" y="4263789"/>
                </a:cubicBezTo>
                <a:lnTo>
                  <a:pt x="2489135" y="4261354"/>
                </a:lnTo>
                <a:lnTo>
                  <a:pt x="2491540" y="4273418"/>
                </a:lnTo>
                <a:cubicBezTo>
                  <a:pt x="2491239" y="4278619"/>
                  <a:pt x="2490037" y="4283710"/>
                  <a:pt x="2487933" y="4287362"/>
                </a:cubicBezTo>
                <a:lnTo>
                  <a:pt x="2479816" y="4289465"/>
                </a:lnTo>
                <a:lnTo>
                  <a:pt x="2480417" y="4290461"/>
                </a:lnTo>
                <a:lnTo>
                  <a:pt x="2478914" y="4293781"/>
                </a:lnTo>
                <a:lnTo>
                  <a:pt x="2479516" y="4294113"/>
                </a:lnTo>
                <a:cubicBezTo>
                  <a:pt x="2481018" y="4295331"/>
                  <a:pt x="2481620" y="4296991"/>
                  <a:pt x="2481319" y="4298429"/>
                </a:cubicBezTo>
                <a:cubicBezTo>
                  <a:pt x="2481319" y="4299868"/>
                  <a:pt x="2480417" y="4301085"/>
                  <a:pt x="2478313" y="4301750"/>
                </a:cubicBezTo>
                <a:lnTo>
                  <a:pt x="2476509" y="4299979"/>
                </a:lnTo>
                <a:lnTo>
                  <a:pt x="2475306" y="4303078"/>
                </a:lnTo>
                <a:cubicBezTo>
                  <a:pt x="2450958" y="4317465"/>
                  <a:pt x="2429914" y="4321670"/>
                  <a:pt x="2414582" y="4297655"/>
                </a:cubicBezTo>
                <a:cubicBezTo>
                  <a:pt x="2418491" y="4295331"/>
                  <a:pt x="2416687" y="4290904"/>
                  <a:pt x="2414582" y="4286477"/>
                </a:cubicBezTo>
                <a:cubicBezTo>
                  <a:pt x="2416085" y="4282935"/>
                  <a:pt x="2418491" y="4279947"/>
                  <a:pt x="2421196" y="4277402"/>
                </a:cubicBezTo>
                <a:lnTo>
                  <a:pt x="2427809" y="4272975"/>
                </a:lnTo>
                <a:lnTo>
                  <a:pt x="2429313" y="4266888"/>
                </a:lnTo>
                <a:cubicBezTo>
                  <a:pt x="2432319" y="4259916"/>
                  <a:pt x="2436828" y="4253275"/>
                  <a:pt x="2445847" y="4247521"/>
                </a:cubicBezTo>
                <a:cubicBezTo>
                  <a:pt x="2450355" y="4249955"/>
                  <a:pt x="2458472" y="4248738"/>
                  <a:pt x="2459073" y="4256374"/>
                </a:cubicBezTo>
                <a:cubicBezTo>
                  <a:pt x="2453963" y="4257592"/>
                  <a:pt x="2450355" y="4260358"/>
                  <a:pt x="2447650" y="4263679"/>
                </a:cubicBezTo>
                <a:lnTo>
                  <a:pt x="2445246" y="4267995"/>
                </a:lnTo>
                <a:lnTo>
                  <a:pt x="2453061" y="4267773"/>
                </a:lnTo>
                <a:lnTo>
                  <a:pt x="2465687" y="4272200"/>
                </a:lnTo>
                <a:lnTo>
                  <a:pt x="2465687" y="4270208"/>
                </a:lnTo>
                <a:cubicBezTo>
                  <a:pt x="2466589" y="4266445"/>
                  <a:pt x="2468092" y="4262793"/>
                  <a:pt x="2470798" y="4259694"/>
                </a:cubicBezTo>
                <a:lnTo>
                  <a:pt x="2477711" y="4255268"/>
                </a:lnTo>
                <a:lnTo>
                  <a:pt x="2477711" y="4254161"/>
                </a:lnTo>
                <a:lnTo>
                  <a:pt x="2471399" y="4258034"/>
                </a:lnTo>
                <a:cubicBezTo>
                  <a:pt x="2466288" y="4253497"/>
                  <a:pt x="2462681" y="4247078"/>
                  <a:pt x="2460577" y="4239995"/>
                </a:cubicBezTo>
                <a:lnTo>
                  <a:pt x="2459675" y="4228485"/>
                </a:lnTo>
                <a:lnTo>
                  <a:pt x="2455466" y="4225386"/>
                </a:lnTo>
                <a:cubicBezTo>
                  <a:pt x="2452460" y="4218525"/>
                  <a:pt x="2459073" y="4209339"/>
                  <a:pt x="2453963" y="4201481"/>
                </a:cubicBezTo>
                <a:cubicBezTo>
                  <a:pt x="2453963" y="4201481"/>
                  <a:pt x="2449454" y="4193070"/>
                  <a:pt x="2443141" y="4185545"/>
                </a:cubicBezTo>
                <a:lnTo>
                  <a:pt x="2438031" y="4180564"/>
                </a:lnTo>
                <a:lnTo>
                  <a:pt x="2435626" y="4179347"/>
                </a:lnTo>
                <a:cubicBezTo>
                  <a:pt x="2434424" y="4178240"/>
                  <a:pt x="2432920" y="4176912"/>
                  <a:pt x="2431417" y="4175584"/>
                </a:cubicBezTo>
                <a:lnTo>
                  <a:pt x="2431417" y="4175363"/>
                </a:lnTo>
                <a:lnTo>
                  <a:pt x="2428410" y="4174035"/>
                </a:lnTo>
                <a:lnTo>
                  <a:pt x="2422699" y="4178904"/>
                </a:lnTo>
                <a:lnTo>
                  <a:pt x="2418491" y="4179790"/>
                </a:lnTo>
                <a:lnTo>
                  <a:pt x="2416085" y="4182224"/>
                </a:lnTo>
                <a:lnTo>
                  <a:pt x="2419693" y="4192738"/>
                </a:lnTo>
                <a:cubicBezTo>
                  <a:pt x="2421797" y="4202588"/>
                  <a:pt x="2422398" y="4212991"/>
                  <a:pt x="2426307" y="4224612"/>
                </a:cubicBezTo>
                <a:lnTo>
                  <a:pt x="2426307" y="4224722"/>
                </a:lnTo>
                <a:lnTo>
                  <a:pt x="2431116" y="4229260"/>
                </a:lnTo>
                <a:cubicBezTo>
                  <a:pt x="2432319" y="4230699"/>
                  <a:pt x="2433221" y="4232469"/>
                  <a:pt x="2433221" y="4234461"/>
                </a:cubicBezTo>
                <a:cubicBezTo>
                  <a:pt x="2433221" y="4234461"/>
                  <a:pt x="2433221" y="4234461"/>
                  <a:pt x="2432619" y="4233244"/>
                </a:cubicBezTo>
                <a:cubicBezTo>
                  <a:pt x="2432619" y="4233244"/>
                  <a:pt x="2433221" y="4234461"/>
                  <a:pt x="2432019" y="4235236"/>
                </a:cubicBezTo>
                <a:lnTo>
                  <a:pt x="2423601" y="4226714"/>
                </a:lnTo>
                <a:lnTo>
                  <a:pt x="2416687" y="4231473"/>
                </a:lnTo>
                <a:cubicBezTo>
                  <a:pt x="2410073" y="4238778"/>
                  <a:pt x="2411275" y="4247189"/>
                  <a:pt x="2409172" y="4254714"/>
                </a:cubicBezTo>
                <a:cubicBezTo>
                  <a:pt x="2394441" y="4254714"/>
                  <a:pt x="2380012" y="4265449"/>
                  <a:pt x="2364680" y="4269876"/>
                </a:cubicBezTo>
                <a:cubicBezTo>
                  <a:pt x="2355662" y="4264896"/>
                  <a:pt x="2346944" y="4261465"/>
                  <a:pt x="2338226" y="4258034"/>
                </a:cubicBezTo>
                <a:lnTo>
                  <a:pt x="2327404" y="4253386"/>
                </a:lnTo>
                <a:lnTo>
                  <a:pt x="2322894" y="4259694"/>
                </a:lnTo>
                <a:cubicBezTo>
                  <a:pt x="2320189" y="4258145"/>
                  <a:pt x="2318987" y="4256596"/>
                  <a:pt x="2318987" y="4254604"/>
                </a:cubicBezTo>
                <a:lnTo>
                  <a:pt x="2320791" y="4250287"/>
                </a:lnTo>
                <a:lnTo>
                  <a:pt x="2311471" y="4246192"/>
                </a:lnTo>
                <a:lnTo>
                  <a:pt x="2306361" y="4231031"/>
                </a:lnTo>
                <a:lnTo>
                  <a:pt x="2301852" y="4232359"/>
                </a:lnTo>
                <a:lnTo>
                  <a:pt x="2296140" y="4235679"/>
                </a:lnTo>
                <a:cubicBezTo>
                  <a:pt x="2293134" y="4233908"/>
                  <a:pt x="2295238" y="4227710"/>
                  <a:pt x="2295238" y="4224280"/>
                </a:cubicBezTo>
                <a:lnTo>
                  <a:pt x="2297943" y="4224058"/>
                </a:lnTo>
                <a:lnTo>
                  <a:pt x="2301251" y="4220849"/>
                </a:lnTo>
                <a:lnTo>
                  <a:pt x="2297943" y="4214430"/>
                </a:lnTo>
                <a:cubicBezTo>
                  <a:pt x="2292232" y="4203695"/>
                  <a:pt x="2288324" y="4192960"/>
                  <a:pt x="2292834" y="4182446"/>
                </a:cubicBezTo>
                <a:lnTo>
                  <a:pt x="2293735" y="4181782"/>
                </a:lnTo>
                <a:lnTo>
                  <a:pt x="2299747" y="4173260"/>
                </a:lnTo>
                <a:lnTo>
                  <a:pt x="2306060" y="4170936"/>
                </a:lnTo>
                <a:lnTo>
                  <a:pt x="2308165" y="4168280"/>
                </a:lnTo>
                <a:cubicBezTo>
                  <a:pt x="2310870" y="4163300"/>
                  <a:pt x="2312374" y="4158209"/>
                  <a:pt x="2316281" y="4153671"/>
                </a:cubicBezTo>
                <a:cubicBezTo>
                  <a:pt x="2329208" y="4149576"/>
                  <a:pt x="2345140" y="4146699"/>
                  <a:pt x="2360772" y="4147695"/>
                </a:cubicBezTo>
                <a:lnTo>
                  <a:pt x="2383318" y="4152343"/>
                </a:lnTo>
                <a:lnTo>
                  <a:pt x="2383018" y="4150351"/>
                </a:lnTo>
                <a:cubicBezTo>
                  <a:pt x="2380613" y="4149355"/>
                  <a:pt x="2379411" y="4145814"/>
                  <a:pt x="2377006" y="4144928"/>
                </a:cubicBezTo>
                <a:cubicBezTo>
                  <a:pt x="2377006" y="4144928"/>
                  <a:pt x="2376104" y="4126999"/>
                  <a:pt x="2377006" y="4124565"/>
                </a:cubicBezTo>
                <a:cubicBezTo>
                  <a:pt x="2377006" y="4124565"/>
                  <a:pt x="2368889" y="4117924"/>
                  <a:pt x="2361373" y="4117039"/>
                </a:cubicBezTo>
                <a:lnTo>
                  <a:pt x="2356865" y="4117924"/>
                </a:lnTo>
                <a:lnTo>
                  <a:pt x="2354159" y="4125561"/>
                </a:lnTo>
                <a:lnTo>
                  <a:pt x="2356263" y="4127553"/>
                </a:lnTo>
                <a:cubicBezTo>
                  <a:pt x="2358668" y="4130762"/>
                  <a:pt x="2360772" y="4134636"/>
                  <a:pt x="2362877" y="4138952"/>
                </a:cubicBezTo>
                <a:cubicBezTo>
                  <a:pt x="2358067" y="4148470"/>
                  <a:pt x="2349349" y="4148802"/>
                  <a:pt x="2341533" y="4144818"/>
                </a:cubicBezTo>
                <a:lnTo>
                  <a:pt x="2337325" y="4141165"/>
                </a:lnTo>
                <a:lnTo>
                  <a:pt x="2335821" y="4142383"/>
                </a:lnTo>
                <a:cubicBezTo>
                  <a:pt x="2325299" y="4143268"/>
                  <a:pt x="2315380" y="4128660"/>
                  <a:pt x="2314177" y="4116043"/>
                </a:cubicBezTo>
                <a:lnTo>
                  <a:pt x="2314477" y="4113387"/>
                </a:lnTo>
                <a:lnTo>
                  <a:pt x="2310269" y="4115600"/>
                </a:lnTo>
                <a:cubicBezTo>
                  <a:pt x="2307564" y="4115822"/>
                  <a:pt x="2304558" y="4114826"/>
                  <a:pt x="2301552" y="4113166"/>
                </a:cubicBezTo>
                <a:cubicBezTo>
                  <a:pt x="2299447" y="4106747"/>
                  <a:pt x="2304558" y="4101656"/>
                  <a:pt x="2309969" y="4101434"/>
                </a:cubicBezTo>
                <a:cubicBezTo>
                  <a:pt x="2312073" y="4101324"/>
                  <a:pt x="2313876" y="4101766"/>
                  <a:pt x="2315680" y="4102873"/>
                </a:cubicBezTo>
                <a:lnTo>
                  <a:pt x="2316281" y="4104644"/>
                </a:lnTo>
                <a:lnTo>
                  <a:pt x="2336122" y="4094019"/>
                </a:lnTo>
                <a:lnTo>
                  <a:pt x="2343637" y="4097782"/>
                </a:lnTo>
                <a:lnTo>
                  <a:pt x="2344839" y="4095569"/>
                </a:lnTo>
                <a:lnTo>
                  <a:pt x="2345140" y="4095569"/>
                </a:lnTo>
                <a:lnTo>
                  <a:pt x="2344539" y="4092027"/>
                </a:lnTo>
                <a:lnTo>
                  <a:pt x="2340331" y="4093466"/>
                </a:lnTo>
                <a:lnTo>
                  <a:pt x="2343938" y="4089039"/>
                </a:lnTo>
                <a:lnTo>
                  <a:pt x="2343337" y="4084834"/>
                </a:lnTo>
                <a:cubicBezTo>
                  <a:pt x="2340631" y="4077861"/>
                  <a:pt x="2339128" y="4074431"/>
                  <a:pt x="2335821" y="4075980"/>
                </a:cubicBezTo>
                <a:cubicBezTo>
                  <a:pt x="2336723" y="4073545"/>
                  <a:pt x="2334319" y="4072549"/>
                  <a:pt x="2335521" y="4070114"/>
                </a:cubicBezTo>
                <a:lnTo>
                  <a:pt x="2332515" y="4068122"/>
                </a:lnTo>
                <a:lnTo>
                  <a:pt x="2328908" y="4069340"/>
                </a:lnTo>
                <a:cubicBezTo>
                  <a:pt x="2327705" y="4069340"/>
                  <a:pt x="2326503" y="4068897"/>
                  <a:pt x="2325900" y="4068012"/>
                </a:cubicBezTo>
                <a:lnTo>
                  <a:pt x="2321392" y="4061703"/>
                </a:lnTo>
                <a:lnTo>
                  <a:pt x="2308766" y="4055616"/>
                </a:lnTo>
                <a:cubicBezTo>
                  <a:pt x="2302153" y="4052407"/>
                  <a:pt x="2294937" y="4049198"/>
                  <a:pt x="2289526" y="4046763"/>
                </a:cubicBezTo>
                <a:lnTo>
                  <a:pt x="2288324" y="4046209"/>
                </a:lnTo>
                <a:lnTo>
                  <a:pt x="2286220" y="4047537"/>
                </a:lnTo>
                <a:lnTo>
                  <a:pt x="2286520" y="4045324"/>
                </a:lnTo>
                <a:lnTo>
                  <a:pt x="2279907" y="4042336"/>
                </a:lnTo>
                <a:cubicBezTo>
                  <a:pt x="2272091" y="4027506"/>
                  <a:pt x="2280208" y="4017656"/>
                  <a:pt x="2288324" y="4007585"/>
                </a:cubicBezTo>
                <a:lnTo>
                  <a:pt x="2293735" y="3999063"/>
                </a:lnTo>
                <a:lnTo>
                  <a:pt x="2291772" y="3998141"/>
                </a:lnTo>
                <a:lnTo>
                  <a:pt x="2276677" y="4000408"/>
                </a:lnTo>
                <a:lnTo>
                  <a:pt x="2274496" y="4001830"/>
                </a:lnTo>
                <a:cubicBezTo>
                  <a:pt x="2269987" y="4005261"/>
                  <a:pt x="2266980" y="4010463"/>
                  <a:pt x="2263073" y="4015221"/>
                </a:cubicBezTo>
                <a:cubicBezTo>
                  <a:pt x="2259466" y="4018984"/>
                  <a:pt x="2256460" y="4024186"/>
                  <a:pt x="2252851" y="4027949"/>
                </a:cubicBezTo>
                <a:cubicBezTo>
                  <a:pt x="2252250" y="4022858"/>
                  <a:pt x="2254956" y="4018763"/>
                  <a:pt x="2257361" y="4014668"/>
                </a:cubicBezTo>
                <a:lnTo>
                  <a:pt x="2265005" y="4002161"/>
                </a:lnTo>
                <a:lnTo>
                  <a:pt x="2263688" y="4002359"/>
                </a:lnTo>
                <a:lnTo>
                  <a:pt x="2254055" y="4007585"/>
                </a:lnTo>
                <a:cubicBezTo>
                  <a:pt x="2250747" y="4010241"/>
                  <a:pt x="2249244" y="4014557"/>
                  <a:pt x="2253754" y="4018431"/>
                </a:cubicBezTo>
                <a:cubicBezTo>
                  <a:pt x="2244434" y="4021640"/>
                  <a:pt x="2242932" y="4026067"/>
                  <a:pt x="2235717" y="4033482"/>
                </a:cubicBezTo>
                <a:lnTo>
                  <a:pt x="2235116" y="4037356"/>
                </a:lnTo>
                <a:cubicBezTo>
                  <a:pt x="2227900" y="4041340"/>
                  <a:pt x="2222490" y="4040012"/>
                  <a:pt x="2218582" y="4035474"/>
                </a:cubicBezTo>
                <a:lnTo>
                  <a:pt x="2219183" y="4033814"/>
                </a:lnTo>
                <a:lnTo>
                  <a:pt x="2217379" y="4033593"/>
                </a:lnTo>
                <a:lnTo>
                  <a:pt x="2216477" y="4033261"/>
                </a:lnTo>
                <a:lnTo>
                  <a:pt x="2213171" y="4036360"/>
                </a:lnTo>
                <a:lnTo>
                  <a:pt x="2210465" y="4039458"/>
                </a:lnTo>
                <a:lnTo>
                  <a:pt x="2210465" y="4043996"/>
                </a:lnTo>
                <a:cubicBezTo>
                  <a:pt x="2208661" y="4045213"/>
                  <a:pt x="2207159" y="4045656"/>
                  <a:pt x="2205354" y="4045656"/>
                </a:cubicBezTo>
                <a:lnTo>
                  <a:pt x="2202949" y="4045213"/>
                </a:lnTo>
                <a:lnTo>
                  <a:pt x="2201147" y="4046652"/>
                </a:lnTo>
                <a:cubicBezTo>
                  <a:pt x="2199342" y="4047980"/>
                  <a:pt x="2198742" y="4048644"/>
                  <a:pt x="2199643" y="4047759"/>
                </a:cubicBezTo>
                <a:cubicBezTo>
                  <a:pt x="2196937" y="4050858"/>
                  <a:pt x="2194232" y="4052960"/>
                  <a:pt x="2191827" y="4054399"/>
                </a:cubicBezTo>
                <a:lnTo>
                  <a:pt x="2186415" y="4056280"/>
                </a:lnTo>
                <a:lnTo>
                  <a:pt x="2191526" y="4061150"/>
                </a:lnTo>
                <a:lnTo>
                  <a:pt x="2192127" y="4063917"/>
                </a:lnTo>
                <a:lnTo>
                  <a:pt x="2193631" y="4064138"/>
                </a:lnTo>
                <a:cubicBezTo>
                  <a:pt x="2196637" y="4064913"/>
                  <a:pt x="2200244" y="4066241"/>
                  <a:pt x="2203852" y="4067458"/>
                </a:cubicBezTo>
                <a:cubicBezTo>
                  <a:pt x="2202949" y="4075316"/>
                  <a:pt x="2208961" y="4083948"/>
                  <a:pt x="2205054" y="4093023"/>
                </a:cubicBezTo>
                <a:cubicBezTo>
                  <a:pt x="2205054" y="4093023"/>
                  <a:pt x="2202949" y="4097672"/>
                  <a:pt x="2196937" y="4100217"/>
                </a:cubicBezTo>
                <a:cubicBezTo>
                  <a:pt x="2189722" y="4110509"/>
                  <a:pt x="2177398" y="4104312"/>
                  <a:pt x="2177398" y="4104312"/>
                </a:cubicBezTo>
                <a:cubicBezTo>
                  <a:pt x="2177398" y="4104312"/>
                  <a:pt x="2177398" y="4104312"/>
                  <a:pt x="2178600" y="4107632"/>
                </a:cubicBezTo>
                <a:cubicBezTo>
                  <a:pt x="2176496" y="4100992"/>
                  <a:pt x="2171385" y="4095679"/>
                  <a:pt x="2169581" y="4089150"/>
                </a:cubicBezTo>
                <a:cubicBezTo>
                  <a:pt x="2174692" y="4072217"/>
                  <a:pt x="2179502" y="4065577"/>
                  <a:pt x="2184913" y="4063695"/>
                </a:cubicBezTo>
                <a:lnTo>
                  <a:pt x="2185815" y="4063695"/>
                </a:lnTo>
                <a:lnTo>
                  <a:pt x="2182508" y="4063363"/>
                </a:lnTo>
                <a:cubicBezTo>
                  <a:pt x="2180704" y="4062589"/>
                  <a:pt x="2179201" y="4061371"/>
                  <a:pt x="2178299" y="4060154"/>
                </a:cubicBezTo>
                <a:lnTo>
                  <a:pt x="2178901" y="4058051"/>
                </a:lnTo>
                <a:lnTo>
                  <a:pt x="2176796" y="4058383"/>
                </a:lnTo>
                <a:cubicBezTo>
                  <a:pt x="2174692" y="4058826"/>
                  <a:pt x="2172587" y="4059490"/>
                  <a:pt x="2170784" y="4060707"/>
                </a:cubicBezTo>
                <a:cubicBezTo>
                  <a:pt x="2167778" y="4062257"/>
                  <a:pt x="2169281" y="4071110"/>
                  <a:pt x="2162066" y="4074984"/>
                </a:cubicBezTo>
                <a:lnTo>
                  <a:pt x="2159361" y="4076644"/>
                </a:lnTo>
                <a:lnTo>
                  <a:pt x="2162066" y="4082178"/>
                </a:lnTo>
                <a:cubicBezTo>
                  <a:pt x="2165073" y="4087822"/>
                  <a:pt x="2167778" y="4092249"/>
                  <a:pt x="2168680" y="4096676"/>
                </a:cubicBezTo>
                <a:lnTo>
                  <a:pt x="2167477" y="4100881"/>
                </a:lnTo>
                <a:lnTo>
                  <a:pt x="2170182" y="4099442"/>
                </a:lnTo>
                <a:cubicBezTo>
                  <a:pt x="2171385" y="4101102"/>
                  <a:pt x="2172587" y="4102762"/>
                  <a:pt x="2174391" y="4101434"/>
                </a:cubicBezTo>
                <a:cubicBezTo>
                  <a:pt x="2176796" y="4103869"/>
                  <a:pt x="2178600" y="4106747"/>
                  <a:pt x="2179803" y="4109845"/>
                </a:cubicBezTo>
                <a:cubicBezTo>
                  <a:pt x="2188520" y="4131426"/>
                  <a:pt x="2172287" y="4164074"/>
                  <a:pt x="2146735" y="4167505"/>
                </a:cubicBezTo>
                <a:cubicBezTo>
                  <a:pt x="2138318" y="4159205"/>
                  <a:pt x="2135011" y="4149023"/>
                  <a:pt x="2136213" y="4138952"/>
                </a:cubicBezTo>
                <a:cubicBezTo>
                  <a:pt x="2137115" y="4130541"/>
                  <a:pt x="2140723" y="4122241"/>
                  <a:pt x="2146735" y="4115268"/>
                </a:cubicBezTo>
                <a:lnTo>
                  <a:pt x="2156354" y="4106636"/>
                </a:lnTo>
                <a:lnTo>
                  <a:pt x="2150943" y="4099110"/>
                </a:lnTo>
                <a:lnTo>
                  <a:pt x="2144630" y="4085055"/>
                </a:lnTo>
                <a:lnTo>
                  <a:pt x="2125391" y="4097672"/>
                </a:lnTo>
                <a:lnTo>
                  <a:pt x="2121483" y="4100438"/>
                </a:lnTo>
                <a:lnTo>
                  <a:pt x="2121483" y="4101545"/>
                </a:lnTo>
                <a:cubicBezTo>
                  <a:pt x="2122084" y="4102873"/>
                  <a:pt x="2122385" y="4104533"/>
                  <a:pt x="2120280" y="4106636"/>
                </a:cubicBezTo>
                <a:lnTo>
                  <a:pt x="2113967" y="4105861"/>
                </a:lnTo>
                <a:lnTo>
                  <a:pt x="2104949" y="4113166"/>
                </a:lnTo>
                <a:lnTo>
                  <a:pt x="2098035" y="4120581"/>
                </a:lnTo>
                <a:lnTo>
                  <a:pt x="2097133" y="4128549"/>
                </a:lnTo>
                <a:lnTo>
                  <a:pt x="2099538" y="4128770"/>
                </a:lnTo>
                <a:cubicBezTo>
                  <a:pt x="2104348" y="4130430"/>
                  <a:pt x="2105550" y="4135410"/>
                  <a:pt x="2103746" y="4142715"/>
                </a:cubicBezTo>
                <a:cubicBezTo>
                  <a:pt x="2100139" y="4143600"/>
                  <a:pt x="2097734" y="4145703"/>
                  <a:pt x="2092925" y="4147695"/>
                </a:cubicBezTo>
                <a:cubicBezTo>
                  <a:pt x="2091422" y="4146035"/>
                  <a:pt x="2090220" y="4142825"/>
                  <a:pt x="2089918" y="4139173"/>
                </a:cubicBezTo>
                <a:lnTo>
                  <a:pt x="2092624" y="4130541"/>
                </a:lnTo>
                <a:lnTo>
                  <a:pt x="2087814" y="4131869"/>
                </a:lnTo>
                <a:lnTo>
                  <a:pt x="2086611" y="4132976"/>
                </a:lnTo>
                <a:lnTo>
                  <a:pt x="2085710" y="4132312"/>
                </a:lnTo>
                <a:lnTo>
                  <a:pt x="2079698" y="4133861"/>
                </a:lnTo>
                <a:cubicBezTo>
                  <a:pt x="2074287" y="4134193"/>
                  <a:pt x="2068876" y="4133308"/>
                  <a:pt x="2064366" y="4131537"/>
                </a:cubicBezTo>
                <a:lnTo>
                  <a:pt x="2062863" y="4130762"/>
                </a:lnTo>
                <a:lnTo>
                  <a:pt x="2059857" y="4132754"/>
                </a:lnTo>
                <a:lnTo>
                  <a:pt x="2061360" y="4133972"/>
                </a:lnTo>
                <a:lnTo>
                  <a:pt x="2062563" y="4133972"/>
                </a:lnTo>
                <a:cubicBezTo>
                  <a:pt x="2064065" y="4134193"/>
                  <a:pt x="2065569" y="4134857"/>
                  <a:pt x="2066470" y="4137624"/>
                </a:cubicBezTo>
                <a:lnTo>
                  <a:pt x="2065569" y="4137735"/>
                </a:lnTo>
                <a:lnTo>
                  <a:pt x="2065869" y="4138288"/>
                </a:lnTo>
                <a:cubicBezTo>
                  <a:pt x="2065268" y="4139616"/>
                  <a:pt x="2066170" y="4141719"/>
                  <a:pt x="2067672" y="4142493"/>
                </a:cubicBezTo>
                <a:cubicBezTo>
                  <a:pt x="2068275" y="4144486"/>
                  <a:pt x="2069176" y="4146588"/>
                  <a:pt x="2069777" y="4145260"/>
                </a:cubicBezTo>
                <a:cubicBezTo>
                  <a:pt x="2072182" y="4151569"/>
                  <a:pt x="2073686" y="4152343"/>
                  <a:pt x="2070078" y="4155553"/>
                </a:cubicBezTo>
                <a:cubicBezTo>
                  <a:pt x="2064666" y="4151790"/>
                  <a:pt x="2059255" y="4146920"/>
                  <a:pt x="2055047" y="4142604"/>
                </a:cubicBezTo>
                <a:lnTo>
                  <a:pt x="2052943" y="4140169"/>
                </a:lnTo>
                <a:lnTo>
                  <a:pt x="2040918" y="4142604"/>
                </a:lnTo>
                <a:cubicBezTo>
                  <a:pt x="2032501" y="4144707"/>
                  <a:pt x="2025286" y="4148580"/>
                  <a:pt x="2024685" y="4157434"/>
                </a:cubicBezTo>
                <a:cubicBezTo>
                  <a:pt x="2022280" y="4159094"/>
                  <a:pt x="2021078" y="4158983"/>
                  <a:pt x="2019875" y="4157987"/>
                </a:cubicBezTo>
                <a:lnTo>
                  <a:pt x="2019574" y="4157877"/>
                </a:lnTo>
                <a:lnTo>
                  <a:pt x="2004544" y="4165292"/>
                </a:lnTo>
                <a:lnTo>
                  <a:pt x="2001538" y="4163300"/>
                </a:lnTo>
                <a:lnTo>
                  <a:pt x="2000035" y="4164406"/>
                </a:lnTo>
                <a:cubicBezTo>
                  <a:pt x="2001238" y="4168391"/>
                  <a:pt x="2003942" y="4166841"/>
                  <a:pt x="2007550" y="4166730"/>
                </a:cubicBezTo>
                <a:cubicBezTo>
                  <a:pt x="2005746" y="4170051"/>
                  <a:pt x="2003642" y="4172043"/>
                  <a:pt x="2001238" y="4173371"/>
                </a:cubicBezTo>
                <a:lnTo>
                  <a:pt x="1998833" y="4174145"/>
                </a:lnTo>
                <a:lnTo>
                  <a:pt x="2001538" y="4173924"/>
                </a:lnTo>
                <a:lnTo>
                  <a:pt x="2005746" y="4170493"/>
                </a:lnTo>
                <a:cubicBezTo>
                  <a:pt x="2010256" y="4168059"/>
                  <a:pt x="2015667" y="4166509"/>
                  <a:pt x="2019875" y="4165845"/>
                </a:cubicBezTo>
                <a:lnTo>
                  <a:pt x="2022581" y="4167837"/>
                </a:lnTo>
                <a:lnTo>
                  <a:pt x="2036709" y="4163300"/>
                </a:lnTo>
                <a:cubicBezTo>
                  <a:pt x="2041820" y="4162414"/>
                  <a:pt x="2046931" y="4162525"/>
                  <a:pt x="2052642" y="4164406"/>
                </a:cubicBezTo>
                <a:cubicBezTo>
                  <a:pt x="2049336" y="4172264"/>
                  <a:pt x="2036108" y="4179790"/>
                  <a:pt x="2022581" y="4182778"/>
                </a:cubicBezTo>
                <a:cubicBezTo>
                  <a:pt x="2012661" y="4185102"/>
                  <a:pt x="2002440" y="4184881"/>
                  <a:pt x="1996427" y="4180564"/>
                </a:cubicBezTo>
                <a:lnTo>
                  <a:pt x="1992819" y="4176027"/>
                </a:lnTo>
                <a:lnTo>
                  <a:pt x="1984402" y="4178683"/>
                </a:lnTo>
                <a:lnTo>
                  <a:pt x="1981998" y="4180564"/>
                </a:lnTo>
                <a:lnTo>
                  <a:pt x="1988611" y="4182667"/>
                </a:lnTo>
                <a:cubicBezTo>
                  <a:pt x="1988912" y="4188643"/>
                  <a:pt x="1984102" y="4192628"/>
                  <a:pt x="1978090" y="4194177"/>
                </a:cubicBezTo>
                <a:cubicBezTo>
                  <a:pt x="1972077" y="4195837"/>
                  <a:pt x="1965464" y="4195062"/>
                  <a:pt x="1962157" y="4191410"/>
                </a:cubicBezTo>
                <a:cubicBezTo>
                  <a:pt x="1965164" y="4187758"/>
                  <a:pt x="1967868" y="4184659"/>
                  <a:pt x="1970875" y="4182667"/>
                </a:cubicBezTo>
                <a:lnTo>
                  <a:pt x="1972678" y="4182224"/>
                </a:lnTo>
                <a:lnTo>
                  <a:pt x="1972678" y="4181892"/>
                </a:lnTo>
                <a:cubicBezTo>
                  <a:pt x="1968771" y="4180343"/>
                  <a:pt x="1961556" y="4184549"/>
                  <a:pt x="1957949" y="4181671"/>
                </a:cubicBezTo>
                <a:cubicBezTo>
                  <a:pt x="1951336" y="4188090"/>
                  <a:pt x="1941415" y="4193402"/>
                  <a:pt x="1930893" y="4199932"/>
                </a:cubicBezTo>
                <a:cubicBezTo>
                  <a:pt x="1925482" y="4201924"/>
                  <a:pt x="1919770" y="4205133"/>
                  <a:pt x="1914059" y="4208122"/>
                </a:cubicBezTo>
                <a:cubicBezTo>
                  <a:pt x="1908347" y="4211220"/>
                  <a:pt x="1901734" y="4213987"/>
                  <a:pt x="1896323" y="4215979"/>
                </a:cubicBezTo>
                <a:lnTo>
                  <a:pt x="1863255" y="4228264"/>
                </a:lnTo>
                <a:lnTo>
                  <a:pt x="1862955" y="4236453"/>
                </a:lnTo>
                <a:lnTo>
                  <a:pt x="1860850" y="4241544"/>
                </a:lnTo>
                <a:lnTo>
                  <a:pt x="1861151" y="4245528"/>
                </a:lnTo>
                <a:lnTo>
                  <a:pt x="1861151" y="4247521"/>
                </a:lnTo>
                <a:lnTo>
                  <a:pt x="1862955" y="4244090"/>
                </a:lnTo>
                <a:cubicBezTo>
                  <a:pt x="1864157" y="4242098"/>
                  <a:pt x="1864157" y="4242098"/>
                  <a:pt x="1862353" y="4241212"/>
                </a:cubicBezTo>
                <a:cubicBezTo>
                  <a:pt x="1863255" y="4239220"/>
                  <a:pt x="1863255" y="4239220"/>
                  <a:pt x="1866562" y="4238113"/>
                </a:cubicBezTo>
                <a:cubicBezTo>
                  <a:pt x="1865660" y="4239663"/>
                  <a:pt x="1863856" y="4245086"/>
                  <a:pt x="1862353" y="4247299"/>
                </a:cubicBezTo>
                <a:lnTo>
                  <a:pt x="1861151" y="4247963"/>
                </a:lnTo>
                <a:lnTo>
                  <a:pt x="1861151" y="4249734"/>
                </a:lnTo>
                <a:lnTo>
                  <a:pt x="1861451" y="4249623"/>
                </a:lnTo>
                <a:cubicBezTo>
                  <a:pt x="1863255" y="4250509"/>
                  <a:pt x="1863255" y="4250509"/>
                  <a:pt x="1861752" y="4251062"/>
                </a:cubicBezTo>
                <a:lnTo>
                  <a:pt x="1861151" y="4252279"/>
                </a:lnTo>
                <a:lnTo>
                  <a:pt x="1861151" y="4256485"/>
                </a:lnTo>
                <a:lnTo>
                  <a:pt x="1860550" y="4261465"/>
                </a:lnTo>
                <a:lnTo>
                  <a:pt x="1865660" y="4263457"/>
                </a:lnTo>
                <a:cubicBezTo>
                  <a:pt x="1868065" y="4265560"/>
                  <a:pt x="1869267" y="4268548"/>
                  <a:pt x="1866862" y="4272200"/>
                </a:cubicBezTo>
                <a:cubicBezTo>
                  <a:pt x="1865961" y="4273639"/>
                  <a:pt x="1864457" y="4274082"/>
                  <a:pt x="1862654" y="4273860"/>
                </a:cubicBezTo>
                <a:cubicBezTo>
                  <a:pt x="1856942" y="4273418"/>
                  <a:pt x="1848224" y="4266999"/>
                  <a:pt x="1851230" y="4261354"/>
                </a:cubicBezTo>
                <a:cubicBezTo>
                  <a:pt x="1852132" y="4260358"/>
                  <a:pt x="1853935" y="4259805"/>
                  <a:pt x="1856040" y="4259916"/>
                </a:cubicBezTo>
                <a:lnTo>
                  <a:pt x="1857243" y="4260358"/>
                </a:lnTo>
                <a:lnTo>
                  <a:pt x="1857544" y="4260137"/>
                </a:lnTo>
                <a:cubicBezTo>
                  <a:pt x="1857243" y="4258698"/>
                  <a:pt x="1856341" y="4255932"/>
                  <a:pt x="1857544" y="4253939"/>
                </a:cubicBezTo>
                <a:lnTo>
                  <a:pt x="1859046" y="4251947"/>
                </a:lnTo>
                <a:lnTo>
                  <a:pt x="1860550" y="4241876"/>
                </a:lnTo>
                <a:lnTo>
                  <a:pt x="1856942" y="4249513"/>
                </a:lnTo>
                <a:cubicBezTo>
                  <a:pt x="1851832" y="4257702"/>
                  <a:pt x="1845218" y="4265228"/>
                  <a:pt x="1840409" y="4275852"/>
                </a:cubicBezTo>
                <a:cubicBezTo>
                  <a:pt x="1830488" y="4273307"/>
                  <a:pt x="1823875" y="4274635"/>
                  <a:pt x="1819065" y="4277180"/>
                </a:cubicBezTo>
                <a:lnTo>
                  <a:pt x="1814555" y="4279947"/>
                </a:lnTo>
                <a:lnTo>
                  <a:pt x="1812450" y="4284042"/>
                </a:lnTo>
                <a:cubicBezTo>
                  <a:pt x="1811549" y="4284706"/>
                  <a:pt x="1810347" y="4285370"/>
                  <a:pt x="1809144" y="4285591"/>
                </a:cubicBezTo>
                <a:lnTo>
                  <a:pt x="1807040" y="4285038"/>
                </a:lnTo>
                <a:lnTo>
                  <a:pt x="1805537" y="4285924"/>
                </a:lnTo>
                <a:cubicBezTo>
                  <a:pt x="1799825" y="4281386"/>
                  <a:pt x="1792009" y="4278619"/>
                  <a:pt x="1783892" y="4276295"/>
                </a:cubicBezTo>
                <a:lnTo>
                  <a:pt x="1777279" y="4274192"/>
                </a:lnTo>
                <a:lnTo>
                  <a:pt x="1777880" y="4274524"/>
                </a:lnTo>
                <a:cubicBezTo>
                  <a:pt x="1780285" y="4277070"/>
                  <a:pt x="1781788" y="4280169"/>
                  <a:pt x="1781187" y="4283931"/>
                </a:cubicBezTo>
                <a:cubicBezTo>
                  <a:pt x="1780886" y="4286034"/>
                  <a:pt x="1779684" y="4288469"/>
                  <a:pt x="1777880" y="4290904"/>
                </a:cubicBezTo>
                <a:cubicBezTo>
                  <a:pt x="1766757" y="4290129"/>
                  <a:pt x="1747218" y="4292010"/>
                  <a:pt x="1743310" y="4274303"/>
                </a:cubicBezTo>
                <a:cubicBezTo>
                  <a:pt x="1746016" y="4271647"/>
                  <a:pt x="1749923" y="4269876"/>
                  <a:pt x="1754433" y="4269101"/>
                </a:cubicBezTo>
                <a:lnTo>
                  <a:pt x="1761046" y="4269323"/>
                </a:lnTo>
                <a:lnTo>
                  <a:pt x="1759242" y="4268548"/>
                </a:lnTo>
                <a:lnTo>
                  <a:pt x="1754433" y="4260137"/>
                </a:lnTo>
                <a:lnTo>
                  <a:pt x="1752929" y="4259805"/>
                </a:lnTo>
                <a:cubicBezTo>
                  <a:pt x="1749923" y="4258920"/>
                  <a:pt x="1747218" y="4257149"/>
                  <a:pt x="1746316" y="4253165"/>
                </a:cubicBezTo>
                <a:cubicBezTo>
                  <a:pt x="1745414" y="4255378"/>
                  <a:pt x="1743911" y="4256153"/>
                  <a:pt x="1743611" y="4257260"/>
                </a:cubicBezTo>
                <a:cubicBezTo>
                  <a:pt x="1743611" y="4257260"/>
                  <a:pt x="1743611" y="4257260"/>
                  <a:pt x="1742407" y="4257038"/>
                </a:cubicBezTo>
                <a:cubicBezTo>
                  <a:pt x="1736095" y="4258698"/>
                  <a:pt x="1732187" y="4259805"/>
                  <a:pt x="1729782" y="4260248"/>
                </a:cubicBezTo>
                <a:cubicBezTo>
                  <a:pt x="1731285" y="4259473"/>
                  <a:pt x="1729782" y="4260248"/>
                  <a:pt x="1728579" y="4259916"/>
                </a:cubicBezTo>
                <a:cubicBezTo>
                  <a:pt x="1728279" y="4261022"/>
                  <a:pt x="1728279" y="4261022"/>
                  <a:pt x="1728279" y="4261022"/>
                </a:cubicBezTo>
                <a:cubicBezTo>
                  <a:pt x="1728279" y="4261022"/>
                  <a:pt x="1728279" y="4261022"/>
                  <a:pt x="1727978" y="4262129"/>
                </a:cubicBezTo>
                <a:cubicBezTo>
                  <a:pt x="1726475" y="4262904"/>
                  <a:pt x="1725573" y="4262572"/>
                  <a:pt x="1722267" y="4261576"/>
                </a:cubicBezTo>
                <a:cubicBezTo>
                  <a:pt x="1719561" y="4263125"/>
                  <a:pt x="1724672" y="4264785"/>
                  <a:pt x="1723770" y="4270651"/>
                </a:cubicBezTo>
                <a:cubicBezTo>
                  <a:pt x="1718359" y="4270098"/>
                  <a:pt x="1714751" y="4273860"/>
                  <a:pt x="1711745" y="4278951"/>
                </a:cubicBezTo>
                <a:cubicBezTo>
                  <a:pt x="1710543" y="4282271"/>
                  <a:pt x="1708739" y="4284153"/>
                  <a:pt x="1706634" y="4287141"/>
                </a:cubicBezTo>
                <a:cubicBezTo>
                  <a:pt x="1706334" y="4288137"/>
                  <a:pt x="1706033" y="4289244"/>
                  <a:pt x="1704531" y="4290018"/>
                </a:cubicBezTo>
                <a:cubicBezTo>
                  <a:pt x="1704531" y="4290018"/>
                  <a:pt x="1704531" y="4290018"/>
                  <a:pt x="1703027" y="4290793"/>
                </a:cubicBezTo>
                <a:cubicBezTo>
                  <a:pt x="1701524" y="4291568"/>
                  <a:pt x="1700322" y="4292342"/>
                  <a:pt x="1697616" y="4292896"/>
                </a:cubicBezTo>
                <a:cubicBezTo>
                  <a:pt x="1698517" y="4290682"/>
                  <a:pt x="1699120" y="4288469"/>
                  <a:pt x="1699420" y="4287362"/>
                </a:cubicBezTo>
                <a:cubicBezTo>
                  <a:pt x="1700021" y="4286256"/>
                  <a:pt x="1700021" y="4286145"/>
                  <a:pt x="1701524" y="4285370"/>
                </a:cubicBezTo>
                <a:cubicBezTo>
                  <a:pt x="1701524" y="4285370"/>
                  <a:pt x="1701524" y="4285481"/>
                  <a:pt x="1701825" y="4284374"/>
                </a:cubicBezTo>
                <a:cubicBezTo>
                  <a:pt x="1702426" y="4282161"/>
                  <a:pt x="1703929" y="4281275"/>
                  <a:pt x="1705432" y="4280501"/>
                </a:cubicBezTo>
                <a:cubicBezTo>
                  <a:pt x="1707236" y="4278730"/>
                  <a:pt x="1709640" y="4278287"/>
                  <a:pt x="1711444" y="4272754"/>
                </a:cubicBezTo>
                <a:cubicBezTo>
                  <a:pt x="1708438" y="4271758"/>
                  <a:pt x="1705132" y="4270872"/>
                  <a:pt x="1702126" y="4269876"/>
                </a:cubicBezTo>
                <a:cubicBezTo>
                  <a:pt x="1700923" y="4269544"/>
                  <a:pt x="1700923" y="4269544"/>
                  <a:pt x="1700923" y="4269544"/>
                </a:cubicBezTo>
                <a:cubicBezTo>
                  <a:pt x="1700923" y="4269544"/>
                  <a:pt x="1700923" y="4269544"/>
                  <a:pt x="1700021" y="4269212"/>
                </a:cubicBezTo>
                <a:cubicBezTo>
                  <a:pt x="1700021" y="4269212"/>
                  <a:pt x="1700021" y="4269212"/>
                  <a:pt x="1698517" y="4269987"/>
                </a:cubicBezTo>
                <a:cubicBezTo>
                  <a:pt x="1696114" y="4270430"/>
                  <a:pt x="1694910" y="4270098"/>
                  <a:pt x="1692505" y="4270540"/>
                </a:cubicBezTo>
                <a:cubicBezTo>
                  <a:pt x="1688598" y="4271758"/>
                  <a:pt x="1684689" y="4273086"/>
                  <a:pt x="1681683" y="4274524"/>
                </a:cubicBezTo>
                <a:cubicBezTo>
                  <a:pt x="1682586" y="4272422"/>
                  <a:pt x="1684689" y="4269323"/>
                  <a:pt x="1684389" y="4266777"/>
                </a:cubicBezTo>
                <a:cubicBezTo>
                  <a:pt x="1681383" y="4269544"/>
                  <a:pt x="1678076" y="4271647"/>
                  <a:pt x="1674770" y="4273086"/>
                </a:cubicBezTo>
                <a:lnTo>
                  <a:pt x="1668155" y="4274967"/>
                </a:lnTo>
                <a:lnTo>
                  <a:pt x="1664248" y="4277845"/>
                </a:lnTo>
                <a:lnTo>
                  <a:pt x="1663647" y="4276184"/>
                </a:lnTo>
                <a:lnTo>
                  <a:pt x="1663346" y="4276184"/>
                </a:lnTo>
                <a:cubicBezTo>
                  <a:pt x="1655530" y="4277291"/>
                  <a:pt x="1646512" y="4276959"/>
                  <a:pt x="1636892" y="4276406"/>
                </a:cubicBezTo>
                <a:cubicBezTo>
                  <a:pt x="1631481" y="4278398"/>
                  <a:pt x="1638095" y="4279173"/>
                  <a:pt x="1636591" y="4283599"/>
                </a:cubicBezTo>
                <a:cubicBezTo>
                  <a:pt x="1636591" y="4283599"/>
                  <a:pt x="1636892" y="4283599"/>
                  <a:pt x="1632082" y="4283378"/>
                </a:cubicBezTo>
                <a:cubicBezTo>
                  <a:pt x="1631180" y="4283046"/>
                  <a:pt x="1628474" y="4283599"/>
                  <a:pt x="1627573" y="4283267"/>
                </a:cubicBezTo>
                <a:cubicBezTo>
                  <a:pt x="1625168" y="4283710"/>
                  <a:pt x="1623063" y="4283046"/>
                  <a:pt x="1620658" y="4283489"/>
                </a:cubicBezTo>
                <a:cubicBezTo>
                  <a:pt x="1614346" y="4284042"/>
                  <a:pt x="1609836" y="4283821"/>
                  <a:pt x="1605027" y="4284706"/>
                </a:cubicBezTo>
                <a:cubicBezTo>
                  <a:pt x="1594205" y="4285038"/>
                  <a:pt x="1584284" y="4286920"/>
                  <a:pt x="1573462" y="4288358"/>
                </a:cubicBezTo>
                <a:cubicBezTo>
                  <a:pt x="1562339" y="4289797"/>
                  <a:pt x="1551819" y="4290129"/>
                  <a:pt x="1541297" y="4290461"/>
                </a:cubicBezTo>
                <a:cubicBezTo>
                  <a:pt x="1535285" y="4291014"/>
                  <a:pt x="1529573" y="4290461"/>
                  <a:pt x="1523860" y="4289908"/>
                </a:cubicBezTo>
                <a:cubicBezTo>
                  <a:pt x="1519352" y="4289686"/>
                  <a:pt x="1512738" y="4288912"/>
                  <a:pt x="1507026" y="4288358"/>
                </a:cubicBezTo>
                <a:cubicBezTo>
                  <a:pt x="1503419" y="4288469"/>
                  <a:pt x="1504922" y="4293781"/>
                  <a:pt x="1504020" y="4297101"/>
                </a:cubicBezTo>
                <a:lnTo>
                  <a:pt x="1492597" y="4296991"/>
                </a:lnTo>
                <a:lnTo>
                  <a:pt x="1496806" y="4308058"/>
                </a:lnTo>
                <a:cubicBezTo>
                  <a:pt x="1495903" y="4311489"/>
                  <a:pt x="1493499" y="4314587"/>
                  <a:pt x="1489891" y="4317133"/>
                </a:cubicBezTo>
                <a:lnTo>
                  <a:pt x="1489290" y="4317354"/>
                </a:lnTo>
                <a:lnTo>
                  <a:pt x="1489891" y="4318461"/>
                </a:lnTo>
                <a:cubicBezTo>
                  <a:pt x="1491395" y="4321449"/>
                  <a:pt x="1493499" y="4324326"/>
                  <a:pt x="1493499" y="4324326"/>
                </a:cubicBezTo>
                <a:lnTo>
                  <a:pt x="1491395" y="4326983"/>
                </a:lnTo>
                <a:lnTo>
                  <a:pt x="1508229" y="4308279"/>
                </a:lnTo>
                <a:lnTo>
                  <a:pt x="1521757" y="4308168"/>
                </a:lnTo>
                <a:lnTo>
                  <a:pt x="1522057" y="4307947"/>
                </a:lnTo>
                <a:cubicBezTo>
                  <a:pt x="1521757" y="4307504"/>
                  <a:pt x="1521456" y="4307172"/>
                  <a:pt x="1521456" y="4306398"/>
                </a:cubicBezTo>
                <a:cubicBezTo>
                  <a:pt x="1521456" y="4306398"/>
                  <a:pt x="1521456" y="4307836"/>
                  <a:pt x="1519652" y="4306176"/>
                </a:cubicBezTo>
                <a:cubicBezTo>
                  <a:pt x="1521456" y="4306287"/>
                  <a:pt x="1521456" y="4304848"/>
                  <a:pt x="1521456" y="4303299"/>
                </a:cubicBezTo>
                <a:cubicBezTo>
                  <a:pt x="1524763" y="4300643"/>
                  <a:pt x="1529873" y="4298097"/>
                  <a:pt x="1532880" y="4299979"/>
                </a:cubicBezTo>
                <a:cubicBezTo>
                  <a:pt x="1534682" y="4301639"/>
                  <a:pt x="1534983" y="4303299"/>
                  <a:pt x="1534682" y="4304516"/>
                </a:cubicBezTo>
                <a:lnTo>
                  <a:pt x="1533480" y="4306730"/>
                </a:lnTo>
                <a:lnTo>
                  <a:pt x="1543100" y="4304959"/>
                </a:lnTo>
                <a:cubicBezTo>
                  <a:pt x="1555125" y="4302856"/>
                  <a:pt x="1567149" y="4302303"/>
                  <a:pt x="1575867" y="4309829"/>
                </a:cubicBezTo>
                <a:cubicBezTo>
                  <a:pt x="1578873" y="4328753"/>
                  <a:pt x="1590296" y="4330524"/>
                  <a:pt x="1596610" y="4340484"/>
                </a:cubicBezTo>
                <a:cubicBezTo>
                  <a:pt x="1596910" y="4347125"/>
                  <a:pt x="1596610" y="4354318"/>
                  <a:pt x="1595407" y="4361733"/>
                </a:cubicBezTo>
                <a:lnTo>
                  <a:pt x="1592401" y="4372801"/>
                </a:lnTo>
                <a:lnTo>
                  <a:pt x="1596610" y="4379109"/>
                </a:lnTo>
                <a:lnTo>
                  <a:pt x="1590296" y="4380326"/>
                </a:lnTo>
                <a:lnTo>
                  <a:pt x="1589395" y="4383868"/>
                </a:lnTo>
                <a:lnTo>
                  <a:pt x="1584284" y="4393164"/>
                </a:lnTo>
                <a:lnTo>
                  <a:pt x="1585187" y="4393717"/>
                </a:lnTo>
                <a:cubicBezTo>
                  <a:pt x="1586088" y="4395156"/>
                  <a:pt x="1585788" y="4396706"/>
                  <a:pt x="1585187" y="4398255"/>
                </a:cubicBezTo>
                <a:lnTo>
                  <a:pt x="1578873" y="4402792"/>
                </a:lnTo>
                <a:lnTo>
                  <a:pt x="1577972" y="4403899"/>
                </a:lnTo>
                <a:cubicBezTo>
                  <a:pt x="1573161" y="4409986"/>
                  <a:pt x="1567149" y="4415409"/>
                  <a:pt x="1560236" y="4419504"/>
                </a:cubicBezTo>
                <a:cubicBezTo>
                  <a:pt x="1554222" y="4422824"/>
                  <a:pt x="1548811" y="4424705"/>
                  <a:pt x="1543702" y="4425591"/>
                </a:cubicBezTo>
                <a:lnTo>
                  <a:pt x="1537689" y="4425701"/>
                </a:lnTo>
                <a:lnTo>
                  <a:pt x="1533781" y="4427583"/>
                </a:lnTo>
                <a:cubicBezTo>
                  <a:pt x="1527769" y="4430350"/>
                  <a:pt x="1517548" y="4434666"/>
                  <a:pt x="1513340" y="4434555"/>
                </a:cubicBezTo>
                <a:cubicBezTo>
                  <a:pt x="1517247" y="4433116"/>
                  <a:pt x="1521456" y="4430792"/>
                  <a:pt x="1525664" y="4428800"/>
                </a:cubicBezTo>
                <a:lnTo>
                  <a:pt x="1537388" y="4425701"/>
                </a:lnTo>
                <a:lnTo>
                  <a:pt x="1528069" y="4425812"/>
                </a:lnTo>
                <a:cubicBezTo>
                  <a:pt x="1518149" y="4424705"/>
                  <a:pt x="1507628" y="4422160"/>
                  <a:pt x="1495302" y="4422492"/>
                </a:cubicBezTo>
                <a:cubicBezTo>
                  <a:pt x="1492296" y="4403567"/>
                  <a:pt x="1479971" y="4403235"/>
                  <a:pt x="1471253" y="4397370"/>
                </a:cubicBezTo>
                <a:cubicBezTo>
                  <a:pt x="1472155" y="4393939"/>
                  <a:pt x="1472756" y="4390397"/>
                  <a:pt x="1472756" y="4386634"/>
                </a:cubicBezTo>
                <a:lnTo>
                  <a:pt x="1471855" y="4375125"/>
                </a:lnTo>
                <a:lnTo>
                  <a:pt x="1464339" y="4370255"/>
                </a:lnTo>
                <a:cubicBezTo>
                  <a:pt x="1460431" y="4365718"/>
                  <a:pt x="1459829" y="4359852"/>
                  <a:pt x="1463137" y="4356089"/>
                </a:cubicBezTo>
                <a:lnTo>
                  <a:pt x="1469750" y="4353212"/>
                </a:lnTo>
                <a:lnTo>
                  <a:pt x="1469450" y="4351220"/>
                </a:lnTo>
                <a:cubicBezTo>
                  <a:pt x="1476965" y="4344247"/>
                  <a:pt x="1482977" y="4337054"/>
                  <a:pt x="1488990" y="4329860"/>
                </a:cubicBezTo>
                <a:lnTo>
                  <a:pt x="1490794" y="4327647"/>
                </a:lnTo>
                <a:lnTo>
                  <a:pt x="1485983" y="4327093"/>
                </a:lnTo>
                <a:lnTo>
                  <a:pt x="1479971" y="4320674"/>
                </a:lnTo>
                <a:lnTo>
                  <a:pt x="1473057" y="4323220"/>
                </a:lnTo>
                <a:cubicBezTo>
                  <a:pt x="1467045" y="4323884"/>
                  <a:pt x="1460732" y="4323330"/>
                  <a:pt x="1456222" y="4320785"/>
                </a:cubicBezTo>
                <a:lnTo>
                  <a:pt x="1450511" y="4313923"/>
                </a:lnTo>
                <a:lnTo>
                  <a:pt x="1449609" y="4313923"/>
                </a:lnTo>
                <a:cubicBezTo>
                  <a:pt x="1446302" y="4310825"/>
                  <a:pt x="1444499" y="4306176"/>
                  <a:pt x="1446001" y="4304738"/>
                </a:cubicBezTo>
                <a:cubicBezTo>
                  <a:pt x="1448106" y="4302635"/>
                  <a:pt x="1450511" y="4300421"/>
                  <a:pt x="1453517" y="4301528"/>
                </a:cubicBezTo>
                <a:cubicBezTo>
                  <a:pt x="1454720" y="4301860"/>
                  <a:pt x="1455621" y="4302635"/>
                  <a:pt x="1457124" y="4303742"/>
                </a:cubicBezTo>
                <a:cubicBezTo>
                  <a:pt x="1457124" y="4303742"/>
                  <a:pt x="1456823" y="4303742"/>
                  <a:pt x="1457124" y="4305291"/>
                </a:cubicBezTo>
                <a:lnTo>
                  <a:pt x="1457124" y="4307947"/>
                </a:lnTo>
                <a:lnTo>
                  <a:pt x="1467345" y="4301085"/>
                </a:lnTo>
                <a:lnTo>
                  <a:pt x="1474861" y="4298761"/>
                </a:lnTo>
                <a:lnTo>
                  <a:pt x="1469450" y="4297987"/>
                </a:lnTo>
                <a:cubicBezTo>
                  <a:pt x="1463437" y="4296105"/>
                  <a:pt x="1455621" y="4292453"/>
                  <a:pt x="1453817" y="4290129"/>
                </a:cubicBezTo>
                <a:cubicBezTo>
                  <a:pt x="1452916" y="4290129"/>
                  <a:pt x="1452014" y="4290572"/>
                  <a:pt x="1451412" y="4291236"/>
                </a:cubicBezTo>
                <a:lnTo>
                  <a:pt x="1450511" y="4294003"/>
                </a:lnTo>
                <a:lnTo>
                  <a:pt x="1450511" y="4294113"/>
                </a:lnTo>
                <a:cubicBezTo>
                  <a:pt x="1451713" y="4295331"/>
                  <a:pt x="1452615" y="4296991"/>
                  <a:pt x="1452315" y="4298429"/>
                </a:cubicBezTo>
                <a:cubicBezTo>
                  <a:pt x="1452014" y="4299868"/>
                  <a:pt x="1451112" y="4301085"/>
                  <a:pt x="1449309" y="4301750"/>
                </a:cubicBezTo>
                <a:lnTo>
                  <a:pt x="1445400" y="4297765"/>
                </a:lnTo>
                <a:lnTo>
                  <a:pt x="1443597" y="4296437"/>
                </a:lnTo>
                <a:lnTo>
                  <a:pt x="1443898" y="4295773"/>
                </a:lnTo>
                <a:lnTo>
                  <a:pt x="1442394" y="4294224"/>
                </a:lnTo>
                <a:lnTo>
                  <a:pt x="1444198" y="4293117"/>
                </a:lnTo>
                <a:lnTo>
                  <a:pt x="1444198" y="4292342"/>
                </a:lnTo>
                <a:lnTo>
                  <a:pt x="1444499" y="4288801"/>
                </a:lnTo>
                <a:lnTo>
                  <a:pt x="1442394" y="4288358"/>
                </a:lnTo>
                <a:lnTo>
                  <a:pt x="1439989" y="4285149"/>
                </a:lnTo>
                <a:lnTo>
                  <a:pt x="1436382" y="4287805"/>
                </a:lnTo>
                <a:lnTo>
                  <a:pt x="1438787" y="4291678"/>
                </a:lnTo>
                <a:cubicBezTo>
                  <a:pt x="1439388" y="4293338"/>
                  <a:pt x="1439087" y="4294999"/>
                  <a:pt x="1438486" y="4297212"/>
                </a:cubicBezTo>
                <a:lnTo>
                  <a:pt x="1436081" y="4288137"/>
                </a:lnTo>
                <a:lnTo>
                  <a:pt x="1433977" y="4289576"/>
                </a:lnTo>
                <a:cubicBezTo>
                  <a:pt x="1427063" y="4292232"/>
                  <a:pt x="1417743" y="4289576"/>
                  <a:pt x="1406320" y="4292342"/>
                </a:cubicBezTo>
                <a:cubicBezTo>
                  <a:pt x="1399407" y="4289022"/>
                  <a:pt x="1417743" y="4289908"/>
                  <a:pt x="1420749" y="4288358"/>
                </a:cubicBezTo>
                <a:cubicBezTo>
                  <a:pt x="1421953" y="4282714"/>
                  <a:pt x="1418344" y="4280833"/>
                  <a:pt x="1412933" y="4280279"/>
                </a:cubicBezTo>
                <a:lnTo>
                  <a:pt x="1408425" y="4280169"/>
                </a:lnTo>
                <a:lnTo>
                  <a:pt x="1405419" y="4284595"/>
                </a:lnTo>
                <a:cubicBezTo>
                  <a:pt x="1402713" y="4287141"/>
                  <a:pt x="1399407" y="4288690"/>
                  <a:pt x="1394596" y="4288469"/>
                </a:cubicBezTo>
                <a:lnTo>
                  <a:pt x="1397002" y="4279726"/>
                </a:lnTo>
                <a:cubicBezTo>
                  <a:pt x="1390087" y="4278951"/>
                  <a:pt x="1394296" y="4287362"/>
                  <a:pt x="1392191" y="4290350"/>
                </a:cubicBezTo>
                <a:cubicBezTo>
                  <a:pt x="1382271" y="4288469"/>
                  <a:pt x="1384976" y="4277291"/>
                  <a:pt x="1367841" y="4279283"/>
                </a:cubicBezTo>
                <a:cubicBezTo>
                  <a:pt x="1360327" y="4280611"/>
                  <a:pt x="1371449" y="4285259"/>
                  <a:pt x="1364835" y="4288026"/>
                </a:cubicBezTo>
                <a:cubicBezTo>
                  <a:pt x="1360928" y="4281939"/>
                  <a:pt x="1352210" y="4280611"/>
                  <a:pt x="1342890" y="4277623"/>
                </a:cubicBezTo>
                <a:cubicBezTo>
                  <a:pt x="1334173" y="4276074"/>
                  <a:pt x="1324253" y="4274192"/>
                  <a:pt x="1316437" y="4269433"/>
                </a:cubicBezTo>
                <a:cubicBezTo>
                  <a:pt x="1317338" y="4267220"/>
                  <a:pt x="1322449" y="4268769"/>
                  <a:pt x="1324854" y="4268327"/>
                </a:cubicBezTo>
                <a:cubicBezTo>
                  <a:pt x="1325154" y="4261133"/>
                  <a:pt x="1316737" y="4268327"/>
                  <a:pt x="1311627" y="4266667"/>
                </a:cubicBezTo>
                <a:cubicBezTo>
                  <a:pt x="1312228" y="4268105"/>
                  <a:pt x="1313431" y="4270983"/>
                  <a:pt x="1316737" y="4271979"/>
                </a:cubicBezTo>
                <a:cubicBezTo>
                  <a:pt x="1313129" y="4272090"/>
                  <a:pt x="1308921" y="4270762"/>
                  <a:pt x="1303810" y="4269212"/>
                </a:cubicBezTo>
                <a:cubicBezTo>
                  <a:pt x="1298399" y="4267552"/>
                  <a:pt x="1292087" y="4265560"/>
                  <a:pt x="1287577" y="4261686"/>
                </a:cubicBezTo>
                <a:cubicBezTo>
                  <a:pt x="1284571" y="4258920"/>
                  <a:pt x="1286976" y="4257481"/>
                  <a:pt x="1289381" y="4255821"/>
                </a:cubicBezTo>
                <a:lnTo>
                  <a:pt x="1290283" y="4255046"/>
                </a:lnTo>
                <a:lnTo>
                  <a:pt x="1289982" y="4254604"/>
                </a:lnTo>
                <a:lnTo>
                  <a:pt x="1291786" y="4250398"/>
                </a:lnTo>
                <a:lnTo>
                  <a:pt x="1291786" y="4250287"/>
                </a:lnTo>
                <a:lnTo>
                  <a:pt x="1289982" y="4249623"/>
                </a:lnTo>
                <a:lnTo>
                  <a:pt x="1286676" y="4254714"/>
                </a:lnTo>
                <a:cubicBezTo>
                  <a:pt x="1284571" y="4256485"/>
                  <a:pt x="1280964" y="4256706"/>
                  <a:pt x="1275853" y="4252058"/>
                </a:cubicBezTo>
                <a:cubicBezTo>
                  <a:pt x="1277657" y="4250177"/>
                  <a:pt x="1280663" y="4249623"/>
                  <a:pt x="1283369" y="4247963"/>
                </a:cubicBezTo>
                <a:lnTo>
                  <a:pt x="1283970" y="4247078"/>
                </a:lnTo>
                <a:lnTo>
                  <a:pt x="1282166" y="4246192"/>
                </a:lnTo>
                <a:lnTo>
                  <a:pt x="1278559" y="4235236"/>
                </a:lnTo>
                <a:lnTo>
                  <a:pt x="1277657" y="4235347"/>
                </a:lnTo>
                <a:cubicBezTo>
                  <a:pt x="1275553" y="4238003"/>
                  <a:pt x="1280663" y="4244975"/>
                  <a:pt x="1271946" y="4242319"/>
                </a:cubicBezTo>
                <a:cubicBezTo>
                  <a:pt x="1274049" y="4238778"/>
                  <a:pt x="1274651" y="4236121"/>
                  <a:pt x="1274049" y="4234240"/>
                </a:cubicBezTo>
                <a:lnTo>
                  <a:pt x="1272246" y="4232469"/>
                </a:lnTo>
                <a:lnTo>
                  <a:pt x="1268940" y="4233687"/>
                </a:lnTo>
                <a:lnTo>
                  <a:pt x="1268638" y="4229592"/>
                </a:lnTo>
                <a:lnTo>
                  <a:pt x="1262025" y="4227157"/>
                </a:lnTo>
                <a:cubicBezTo>
                  <a:pt x="1259320" y="4226161"/>
                  <a:pt x="1256914" y="4225165"/>
                  <a:pt x="1255111" y="4223726"/>
                </a:cubicBezTo>
                <a:cubicBezTo>
                  <a:pt x="1255712" y="4221513"/>
                  <a:pt x="1258719" y="4221734"/>
                  <a:pt x="1261725" y="4222620"/>
                </a:cubicBezTo>
                <a:lnTo>
                  <a:pt x="1268638" y="4224390"/>
                </a:lnTo>
                <a:lnTo>
                  <a:pt x="1268638" y="4224280"/>
                </a:lnTo>
                <a:lnTo>
                  <a:pt x="1269841" y="4222841"/>
                </a:lnTo>
                <a:lnTo>
                  <a:pt x="1267737" y="4217750"/>
                </a:lnTo>
                <a:cubicBezTo>
                  <a:pt x="1265031" y="4216090"/>
                  <a:pt x="1260823" y="4215205"/>
                  <a:pt x="1256914" y="4214651"/>
                </a:cubicBezTo>
                <a:cubicBezTo>
                  <a:pt x="1253908" y="4211774"/>
                  <a:pt x="1257817" y="4212659"/>
                  <a:pt x="1262326" y="4213655"/>
                </a:cubicBezTo>
                <a:lnTo>
                  <a:pt x="1268940" y="4214873"/>
                </a:lnTo>
                <a:lnTo>
                  <a:pt x="1268638" y="4214430"/>
                </a:lnTo>
                <a:lnTo>
                  <a:pt x="1267436" y="4211442"/>
                </a:lnTo>
                <a:lnTo>
                  <a:pt x="1259620" y="4208675"/>
                </a:lnTo>
                <a:cubicBezTo>
                  <a:pt x="1253908" y="4207015"/>
                  <a:pt x="1247295" y="4205576"/>
                  <a:pt x="1240681" y="4204691"/>
                </a:cubicBezTo>
                <a:cubicBezTo>
                  <a:pt x="1234669" y="4203473"/>
                  <a:pt x="1228356" y="4203031"/>
                  <a:pt x="1222645" y="4203695"/>
                </a:cubicBezTo>
                <a:lnTo>
                  <a:pt x="1220841" y="4204580"/>
                </a:lnTo>
                <a:lnTo>
                  <a:pt x="1216030" y="4208786"/>
                </a:lnTo>
                <a:cubicBezTo>
                  <a:pt x="1209117" y="4214098"/>
                  <a:pt x="1201601" y="4217529"/>
                  <a:pt x="1196792" y="4212659"/>
                </a:cubicBezTo>
                <a:lnTo>
                  <a:pt x="1202804" y="4205797"/>
                </a:lnTo>
                <a:lnTo>
                  <a:pt x="1200099" y="4204248"/>
                </a:lnTo>
                <a:cubicBezTo>
                  <a:pt x="1197994" y="4203584"/>
                  <a:pt x="1194387" y="4203805"/>
                  <a:pt x="1193184" y="4207015"/>
                </a:cubicBezTo>
                <a:cubicBezTo>
                  <a:pt x="1190178" y="4202477"/>
                  <a:pt x="1185970" y="4199268"/>
                  <a:pt x="1181160" y="4197054"/>
                </a:cubicBezTo>
                <a:lnTo>
                  <a:pt x="1173344" y="4194730"/>
                </a:lnTo>
                <a:lnTo>
                  <a:pt x="1173344" y="4201924"/>
                </a:lnTo>
                <a:cubicBezTo>
                  <a:pt x="1173344" y="4207347"/>
                  <a:pt x="1172743" y="4212880"/>
                  <a:pt x="1170638" y="4217971"/>
                </a:cubicBezTo>
                <a:cubicBezTo>
                  <a:pt x="1166731" y="4214319"/>
                  <a:pt x="1163424" y="4207679"/>
                  <a:pt x="1163424" y="4201260"/>
                </a:cubicBezTo>
                <a:lnTo>
                  <a:pt x="1165227" y="4192406"/>
                </a:lnTo>
                <a:lnTo>
                  <a:pt x="1151098" y="4190303"/>
                </a:lnTo>
                <a:cubicBezTo>
                  <a:pt x="1146890" y="4189086"/>
                  <a:pt x="1142681" y="4187647"/>
                  <a:pt x="1141178" y="4184881"/>
                </a:cubicBezTo>
                <a:cubicBezTo>
                  <a:pt x="1145086" y="4183663"/>
                  <a:pt x="1151399" y="4185545"/>
                  <a:pt x="1155908" y="4183221"/>
                </a:cubicBezTo>
                <a:cubicBezTo>
                  <a:pt x="1156209" y="4178572"/>
                  <a:pt x="1152602" y="4176248"/>
                  <a:pt x="1155908" y="4169940"/>
                </a:cubicBezTo>
                <a:cubicBezTo>
                  <a:pt x="1147190" y="4167837"/>
                  <a:pt x="1139074" y="4164406"/>
                  <a:pt x="1130957" y="4160533"/>
                </a:cubicBezTo>
                <a:lnTo>
                  <a:pt x="1120736" y="4154999"/>
                </a:lnTo>
                <a:lnTo>
                  <a:pt x="1119835" y="4155110"/>
                </a:lnTo>
                <a:cubicBezTo>
                  <a:pt x="1117429" y="4154889"/>
                  <a:pt x="1115325" y="4154225"/>
                  <a:pt x="1113522" y="4152897"/>
                </a:cubicBezTo>
                <a:lnTo>
                  <a:pt x="1112018" y="4150240"/>
                </a:lnTo>
                <a:lnTo>
                  <a:pt x="1107509" y="4147695"/>
                </a:lnTo>
                <a:cubicBezTo>
                  <a:pt x="1091577" y="4139173"/>
                  <a:pt x="1075945" y="4130652"/>
                  <a:pt x="1060312" y="4128217"/>
                </a:cubicBezTo>
                <a:lnTo>
                  <a:pt x="1058209" y="4125893"/>
                </a:lnTo>
                <a:lnTo>
                  <a:pt x="1055804" y="4127221"/>
                </a:lnTo>
                <a:cubicBezTo>
                  <a:pt x="1043778" y="4131316"/>
                  <a:pt x="1025742" y="4130541"/>
                  <a:pt x="1018527" y="4115711"/>
                </a:cubicBezTo>
                <a:cubicBezTo>
                  <a:pt x="1023938" y="4111837"/>
                  <a:pt x="1028748" y="4109624"/>
                  <a:pt x="1033258" y="4108739"/>
                </a:cubicBezTo>
                <a:lnTo>
                  <a:pt x="1038367" y="4108960"/>
                </a:lnTo>
                <a:lnTo>
                  <a:pt x="1027846" y="4102984"/>
                </a:lnTo>
                <a:cubicBezTo>
                  <a:pt x="1023637" y="4100217"/>
                  <a:pt x="1019129" y="4096786"/>
                  <a:pt x="1014319" y="4092249"/>
                </a:cubicBezTo>
                <a:cubicBezTo>
                  <a:pt x="1018226" y="4094683"/>
                  <a:pt x="1022135" y="4097008"/>
                  <a:pt x="1026343" y="4098336"/>
                </a:cubicBezTo>
                <a:cubicBezTo>
                  <a:pt x="1031153" y="4101102"/>
                  <a:pt x="1035061" y="4103426"/>
                  <a:pt x="1039871" y="4106083"/>
                </a:cubicBezTo>
                <a:lnTo>
                  <a:pt x="1044981" y="4109292"/>
                </a:lnTo>
                <a:lnTo>
                  <a:pt x="1045282" y="4109292"/>
                </a:lnTo>
                <a:cubicBezTo>
                  <a:pt x="1048889" y="4110399"/>
                  <a:pt x="1052195" y="4112391"/>
                  <a:pt x="1055503" y="4114604"/>
                </a:cubicBezTo>
                <a:lnTo>
                  <a:pt x="1063018" y="4120027"/>
                </a:lnTo>
                <a:lnTo>
                  <a:pt x="1069031" y="4123569"/>
                </a:lnTo>
                <a:cubicBezTo>
                  <a:pt x="1079251" y="4129213"/>
                  <a:pt x="1089773" y="4135189"/>
                  <a:pt x="1099994" y="4140833"/>
                </a:cubicBezTo>
                <a:lnTo>
                  <a:pt x="1109914" y="4145814"/>
                </a:lnTo>
                <a:lnTo>
                  <a:pt x="1109613" y="4145150"/>
                </a:lnTo>
                <a:cubicBezTo>
                  <a:pt x="1116227" y="4141276"/>
                  <a:pt x="1122540" y="4136185"/>
                  <a:pt x="1128252" y="4137292"/>
                </a:cubicBezTo>
                <a:cubicBezTo>
                  <a:pt x="1130356" y="4137624"/>
                  <a:pt x="1132159" y="4138731"/>
                  <a:pt x="1133963" y="4140612"/>
                </a:cubicBezTo>
                <a:cubicBezTo>
                  <a:pt x="1134264" y="4147584"/>
                  <a:pt x="1130957" y="4151901"/>
                  <a:pt x="1126448" y="4153782"/>
                </a:cubicBezTo>
                <a:lnTo>
                  <a:pt x="1126147" y="4153893"/>
                </a:lnTo>
                <a:lnTo>
                  <a:pt x="1130056" y="4155995"/>
                </a:lnTo>
                <a:cubicBezTo>
                  <a:pt x="1139374" y="4159980"/>
                  <a:pt x="1161620" y="4155995"/>
                  <a:pt x="1156810" y="4173924"/>
                </a:cubicBezTo>
                <a:cubicBezTo>
                  <a:pt x="1166731" y="4175695"/>
                  <a:pt x="1178454" y="4181782"/>
                  <a:pt x="1183565" y="4177244"/>
                </a:cubicBezTo>
                <a:cubicBezTo>
                  <a:pt x="1189577" y="4180343"/>
                  <a:pt x="1185970" y="4187647"/>
                  <a:pt x="1196190" y="4188422"/>
                </a:cubicBezTo>
                <a:cubicBezTo>
                  <a:pt x="1198295" y="4189086"/>
                  <a:pt x="1200099" y="4187205"/>
                  <a:pt x="1202203" y="4187869"/>
                </a:cubicBezTo>
                <a:cubicBezTo>
                  <a:pt x="1206411" y="4189197"/>
                  <a:pt x="1200700" y="4177908"/>
                  <a:pt x="1207915" y="4177576"/>
                </a:cubicBezTo>
                <a:cubicBezTo>
                  <a:pt x="1213626" y="4178130"/>
                  <a:pt x="1211221" y="4195616"/>
                  <a:pt x="1216933" y="4185323"/>
                </a:cubicBezTo>
                <a:lnTo>
                  <a:pt x="1225350" y="4190193"/>
                </a:lnTo>
                <a:lnTo>
                  <a:pt x="1228056" y="4189861"/>
                </a:lnTo>
                <a:cubicBezTo>
                  <a:pt x="1229859" y="4190414"/>
                  <a:pt x="1231663" y="4191300"/>
                  <a:pt x="1233467" y="4192849"/>
                </a:cubicBezTo>
                <a:lnTo>
                  <a:pt x="1231963" y="4194177"/>
                </a:lnTo>
                <a:lnTo>
                  <a:pt x="1238277" y="4197940"/>
                </a:lnTo>
                <a:cubicBezTo>
                  <a:pt x="1246393" y="4201592"/>
                  <a:pt x="1254810" y="4204248"/>
                  <a:pt x="1263228" y="4206794"/>
                </a:cubicBezTo>
                <a:lnTo>
                  <a:pt x="1265933" y="4207458"/>
                </a:lnTo>
                <a:lnTo>
                  <a:pt x="1262326" y="4198382"/>
                </a:lnTo>
                <a:cubicBezTo>
                  <a:pt x="1261124" y="4192960"/>
                  <a:pt x="1261424" y="4187758"/>
                  <a:pt x="1263829" y="4182446"/>
                </a:cubicBezTo>
                <a:lnTo>
                  <a:pt x="1264731" y="4181782"/>
                </a:lnTo>
                <a:lnTo>
                  <a:pt x="1270442" y="4173260"/>
                </a:lnTo>
                <a:lnTo>
                  <a:pt x="1277055" y="4170936"/>
                </a:lnTo>
                <a:lnTo>
                  <a:pt x="1279160" y="4168280"/>
                </a:lnTo>
                <a:lnTo>
                  <a:pt x="1283069" y="4161529"/>
                </a:lnTo>
                <a:lnTo>
                  <a:pt x="1277357" y="4162414"/>
                </a:lnTo>
                <a:cubicBezTo>
                  <a:pt x="1274049" y="4163189"/>
                  <a:pt x="1271645" y="4164628"/>
                  <a:pt x="1275252" y="4168169"/>
                </a:cubicBezTo>
                <a:cubicBezTo>
                  <a:pt x="1265632" y="4165181"/>
                  <a:pt x="1257215" y="4162525"/>
                  <a:pt x="1247596" y="4160754"/>
                </a:cubicBezTo>
                <a:lnTo>
                  <a:pt x="1230461" y="4156217"/>
                </a:lnTo>
                <a:lnTo>
                  <a:pt x="1229258" y="4157102"/>
                </a:lnTo>
                <a:lnTo>
                  <a:pt x="1225050" y="4154667"/>
                </a:lnTo>
                <a:lnTo>
                  <a:pt x="1218736" y="4153007"/>
                </a:lnTo>
                <a:cubicBezTo>
                  <a:pt x="1219338" y="4150794"/>
                  <a:pt x="1220540" y="4149576"/>
                  <a:pt x="1221743" y="4148691"/>
                </a:cubicBezTo>
                <a:lnTo>
                  <a:pt x="1225651" y="4146810"/>
                </a:lnTo>
                <a:lnTo>
                  <a:pt x="1225651" y="4145924"/>
                </a:lnTo>
                <a:lnTo>
                  <a:pt x="1228356" y="4144043"/>
                </a:lnTo>
                <a:lnTo>
                  <a:pt x="1228056" y="4138952"/>
                </a:lnTo>
                <a:lnTo>
                  <a:pt x="1236774" y="4142493"/>
                </a:lnTo>
                <a:lnTo>
                  <a:pt x="1237374" y="4142604"/>
                </a:lnTo>
                <a:lnTo>
                  <a:pt x="1237374" y="4142715"/>
                </a:lnTo>
                <a:lnTo>
                  <a:pt x="1241283" y="4144264"/>
                </a:lnTo>
                <a:lnTo>
                  <a:pt x="1249400" y="4147474"/>
                </a:lnTo>
                <a:lnTo>
                  <a:pt x="1251804" y="4141497"/>
                </a:lnTo>
                <a:cubicBezTo>
                  <a:pt x="1253307" y="4140059"/>
                  <a:pt x="1254810" y="4138952"/>
                  <a:pt x="1256914" y="4138399"/>
                </a:cubicBezTo>
                <a:lnTo>
                  <a:pt x="1262025" y="4138067"/>
                </a:lnTo>
                <a:lnTo>
                  <a:pt x="1256914" y="4137292"/>
                </a:lnTo>
                <a:cubicBezTo>
                  <a:pt x="1253307" y="4137403"/>
                  <a:pt x="1250301" y="4138620"/>
                  <a:pt x="1248197" y="4141497"/>
                </a:cubicBezTo>
                <a:cubicBezTo>
                  <a:pt x="1242786" y="4136296"/>
                  <a:pt x="1233166" y="4134414"/>
                  <a:pt x="1228957" y="4129434"/>
                </a:cubicBezTo>
                <a:cubicBezTo>
                  <a:pt x="1231362" y="4124122"/>
                  <a:pt x="1232866" y="4119806"/>
                  <a:pt x="1235572" y="4117150"/>
                </a:cubicBezTo>
                <a:lnTo>
                  <a:pt x="1237675" y="4116486"/>
                </a:lnTo>
                <a:lnTo>
                  <a:pt x="1234969" y="4113830"/>
                </a:lnTo>
                <a:cubicBezTo>
                  <a:pt x="1231663" y="4111284"/>
                  <a:pt x="1227455" y="4109624"/>
                  <a:pt x="1222645" y="4108185"/>
                </a:cubicBezTo>
                <a:cubicBezTo>
                  <a:pt x="1212724" y="4106304"/>
                  <a:pt x="1202804" y="4104423"/>
                  <a:pt x="1194688" y="4100770"/>
                </a:cubicBezTo>
                <a:cubicBezTo>
                  <a:pt x="1192282" y="4097561"/>
                  <a:pt x="1188675" y="4095237"/>
                  <a:pt x="1185067" y="4091695"/>
                </a:cubicBezTo>
                <a:cubicBezTo>
                  <a:pt x="1183264" y="4089925"/>
                  <a:pt x="1180559" y="4087822"/>
                  <a:pt x="1178454" y="4087158"/>
                </a:cubicBezTo>
                <a:cubicBezTo>
                  <a:pt x="1176650" y="4085498"/>
                  <a:pt x="1173945" y="4083284"/>
                  <a:pt x="1172142" y="4081514"/>
                </a:cubicBezTo>
                <a:cubicBezTo>
                  <a:pt x="1162822" y="4074984"/>
                  <a:pt x="1151399" y="4067790"/>
                  <a:pt x="1140877" y="4060929"/>
                </a:cubicBezTo>
                <a:cubicBezTo>
                  <a:pt x="1129153" y="4053735"/>
                  <a:pt x="1118631" y="4046873"/>
                  <a:pt x="1108712" y="4038905"/>
                </a:cubicBezTo>
                <a:cubicBezTo>
                  <a:pt x="1099092" y="4032375"/>
                  <a:pt x="1091577" y="4023964"/>
                  <a:pt x="1085564" y="4017324"/>
                </a:cubicBezTo>
                <a:cubicBezTo>
                  <a:pt x="1081957" y="4021087"/>
                  <a:pt x="1079251" y="4018874"/>
                  <a:pt x="1075945" y="4015332"/>
                </a:cubicBezTo>
                <a:lnTo>
                  <a:pt x="1074140" y="4014225"/>
                </a:lnTo>
                <a:lnTo>
                  <a:pt x="1081957" y="4022194"/>
                </a:lnTo>
                <a:lnTo>
                  <a:pt x="1081656" y="4029941"/>
                </a:lnTo>
                <a:lnTo>
                  <a:pt x="1084061" y="4030162"/>
                </a:lnTo>
                <a:cubicBezTo>
                  <a:pt x="1083160" y="4031933"/>
                  <a:pt x="1085263" y="4034036"/>
                  <a:pt x="1087969" y="4035806"/>
                </a:cubicBezTo>
                <a:lnTo>
                  <a:pt x="1088571" y="4036028"/>
                </a:lnTo>
                <a:lnTo>
                  <a:pt x="1089773" y="4033593"/>
                </a:lnTo>
                <a:cubicBezTo>
                  <a:pt x="1096386" y="4035364"/>
                  <a:pt x="1104202" y="4036360"/>
                  <a:pt x="1106908" y="4041229"/>
                </a:cubicBezTo>
                <a:cubicBezTo>
                  <a:pt x="1107810" y="4042779"/>
                  <a:pt x="1108111" y="4044881"/>
                  <a:pt x="1107810" y="4047537"/>
                </a:cubicBezTo>
                <a:cubicBezTo>
                  <a:pt x="1105105" y="4050194"/>
                  <a:pt x="1102399" y="4051854"/>
                  <a:pt x="1099994" y="4052518"/>
                </a:cubicBezTo>
                <a:lnTo>
                  <a:pt x="1097589" y="4052407"/>
                </a:lnTo>
                <a:lnTo>
                  <a:pt x="1098190" y="4064581"/>
                </a:lnTo>
                <a:cubicBezTo>
                  <a:pt x="1093079" y="4066462"/>
                  <a:pt x="1090674" y="4067458"/>
                  <a:pt x="1084662" y="4066905"/>
                </a:cubicBezTo>
                <a:cubicBezTo>
                  <a:pt x="1060312" y="4053514"/>
                  <a:pt x="1063920" y="4037909"/>
                  <a:pt x="1060312" y="4036360"/>
                </a:cubicBezTo>
                <a:cubicBezTo>
                  <a:pt x="1063018" y="4031158"/>
                  <a:pt x="1066024" y="4029277"/>
                  <a:pt x="1069632" y="4028945"/>
                </a:cubicBezTo>
                <a:lnTo>
                  <a:pt x="1072938" y="4029277"/>
                </a:lnTo>
                <a:lnTo>
                  <a:pt x="1069331" y="4023854"/>
                </a:lnTo>
                <a:lnTo>
                  <a:pt x="1071134" y="4012233"/>
                </a:lnTo>
                <a:lnTo>
                  <a:pt x="1069331" y="4011016"/>
                </a:lnTo>
                <a:cubicBezTo>
                  <a:pt x="1066024" y="4010020"/>
                  <a:pt x="1063018" y="4008913"/>
                  <a:pt x="1058209" y="4008692"/>
                </a:cubicBezTo>
                <a:cubicBezTo>
                  <a:pt x="1061215" y="4007142"/>
                  <a:pt x="1064521" y="4008249"/>
                  <a:pt x="1066325" y="4006368"/>
                </a:cubicBezTo>
                <a:cubicBezTo>
                  <a:pt x="1053399" y="4002494"/>
                  <a:pt x="1041675" y="3996297"/>
                  <a:pt x="1029649" y="3990210"/>
                </a:cubicBezTo>
                <a:cubicBezTo>
                  <a:pt x="1018226" y="3983016"/>
                  <a:pt x="1007404" y="3977261"/>
                  <a:pt x="993576" y="3972945"/>
                </a:cubicBezTo>
                <a:cubicBezTo>
                  <a:pt x="988165" y="3978589"/>
                  <a:pt x="1008006" y="3982241"/>
                  <a:pt x="998987" y="3987996"/>
                </a:cubicBezTo>
                <a:cubicBezTo>
                  <a:pt x="993576" y="3983791"/>
                  <a:pt x="988767" y="3980028"/>
                  <a:pt x="985459" y="3976486"/>
                </a:cubicBezTo>
                <a:cubicBezTo>
                  <a:pt x="981251" y="3971506"/>
                  <a:pt x="977644" y="3968075"/>
                  <a:pt x="975239" y="3964866"/>
                </a:cubicBezTo>
                <a:cubicBezTo>
                  <a:pt x="968024" y="3959000"/>
                  <a:pt x="960508" y="3954131"/>
                  <a:pt x="949385" y="3952028"/>
                </a:cubicBezTo>
                <a:cubicBezTo>
                  <a:pt x="952391" y="3946827"/>
                  <a:pt x="948183" y="3941957"/>
                  <a:pt x="947582" y="3936866"/>
                </a:cubicBezTo>
                <a:cubicBezTo>
                  <a:pt x="943674" y="3934542"/>
                  <a:pt x="939165" y="3945166"/>
                  <a:pt x="934956" y="3936534"/>
                </a:cubicBezTo>
                <a:cubicBezTo>
                  <a:pt x="937962" y="3931443"/>
                  <a:pt x="940668" y="3937198"/>
                  <a:pt x="944276" y="3933435"/>
                </a:cubicBezTo>
                <a:cubicBezTo>
                  <a:pt x="935557" y="3928234"/>
                  <a:pt x="931048" y="3924360"/>
                  <a:pt x="922030" y="3913072"/>
                </a:cubicBezTo>
                <a:cubicBezTo>
                  <a:pt x="922331" y="3915064"/>
                  <a:pt x="922331" y="3916503"/>
                  <a:pt x="922030" y="3917499"/>
                </a:cubicBezTo>
                <a:lnTo>
                  <a:pt x="920527" y="3919601"/>
                </a:lnTo>
                <a:lnTo>
                  <a:pt x="922331" y="3922147"/>
                </a:lnTo>
                <a:cubicBezTo>
                  <a:pt x="923833" y="3926020"/>
                  <a:pt x="924434" y="3929340"/>
                  <a:pt x="924736" y="3930004"/>
                </a:cubicBezTo>
                <a:lnTo>
                  <a:pt x="924134" y="3930226"/>
                </a:lnTo>
                <a:lnTo>
                  <a:pt x="925938" y="3930447"/>
                </a:lnTo>
                <a:cubicBezTo>
                  <a:pt x="927140" y="3931111"/>
                  <a:pt x="928643" y="3932550"/>
                  <a:pt x="929545" y="3934985"/>
                </a:cubicBezTo>
                <a:cubicBezTo>
                  <a:pt x="927441" y="3935759"/>
                  <a:pt x="925036" y="3935538"/>
                  <a:pt x="922631" y="3934763"/>
                </a:cubicBezTo>
                <a:lnTo>
                  <a:pt x="916317" y="3931775"/>
                </a:lnTo>
                <a:lnTo>
                  <a:pt x="918422" y="3935759"/>
                </a:lnTo>
                <a:cubicBezTo>
                  <a:pt x="914214" y="3934653"/>
                  <a:pt x="911208" y="3933103"/>
                  <a:pt x="909103" y="3931222"/>
                </a:cubicBezTo>
                <a:lnTo>
                  <a:pt x="906698" y="3928344"/>
                </a:lnTo>
                <a:lnTo>
                  <a:pt x="903692" y="3928566"/>
                </a:lnTo>
                <a:lnTo>
                  <a:pt x="919023" y="3944281"/>
                </a:lnTo>
                <a:lnTo>
                  <a:pt x="923232" y="3950257"/>
                </a:lnTo>
                <a:lnTo>
                  <a:pt x="927140" y="3954574"/>
                </a:lnTo>
                <a:lnTo>
                  <a:pt x="927742" y="3955127"/>
                </a:lnTo>
                <a:lnTo>
                  <a:pt x="939165" y="3961878"/>
                </a:lnTo>
                <a:cubicBezTo>
                  <a:pt x="942472" y="3964866"/>
                  <a:pt x="944877" y="3968407"/>
                  <a:pt x="946079" y="3972613"/>
                </a:cubicBezTo>
                <a:cubicBezTo>
                  <a:pt x="946981" y="3978036"/>
                  <a:pt x="946379" y="3982463"/>
                  <a:pt x="944276" y="3985672"/>
                </a:cubicBezTo>
                <a:lnTo>
                  <a:pt x="940367" y="3988660"/>
                </a:lnTo>
                <a:lnTo>
                  <a:pt x="940668" y="3988660"/>
                </a:lnTo>
                <a:cubicBezTo>
                  <a:pt x="945778" y="3990320"/>
                  <a:pt x="946680" y="3997403"/>
                  <a:pt x="947883" y="4004486"/>
                </a:cubicBezTo>
                <a:cubicBezTo>
                  <a:pt x="945177" y="4005372"/>
                  <a:pt x="943073" y="4007142"/>
                  <a:pt x="940668" y="4008470"/>
                </a:cubicBezTo>
                <a:lnTo>
                  <a:pt x="939766" y="4008802"/>
                </a:lnTo>
                <a:lnTo>
                  <a:pt x="942772" y="4018431"/>
                </a:lnTo>
                <a:cubicBezTo>
                  <a:pt x="942772" y="4021640"/>
                  <a:pt x="941871" y="4024186"/>
                  <a:pt x="940367" y="4025846"/>
                </a:cubicBezTo>
                <a:lnTo>
                  <a:pt x="934355" y="4028170"/>
                </a:lnTo>
                <a:lnTo>
                  <a:pt x="933453" y="4027727"/>
                </a:lnTo>
                <a:lnTo>
                  <a:pt x="933153" y="4027949"/>
                </a:lnTo>
                <a:lnTo>
                  <a:pt x="927742" y="4025957"/>
                </a:lnTo>
                <a:lnTo>
                  <a:pt x="921729" y="4030937"/>
                </a:lnTo>
                <a:lnTo>
                  <a:pt x="911208" y="4037466"/>
                </a:lnTo>
                <a:lnTo>
                  <a:pt x="919325" y="4040122"/>
                </a:lnTo>
                <a:lnTo>
                  <a:pt x="919023" y="4039790"/>
                </a:lnTo>
                <a:cubicBezTo>
                  <a:pt x="919625" y="4038573"/>
                  <a:pt x="919023" y="4036470"/>
                  <a:pt x="919023" y="4036470"/>
                </a:cubicBezTo>
                <a:cubicBezTo>
                  <a:pt x="921128" y="4035917"/>
                  <a:pt x="922631" y="4036581"/>
                  <a:pt x="923833" y="4037356"/>
                </a:cubicBezTo>
                <a:lnTo>
                  <a:pt x="924434" y="4040786"/>
                </a:lnTo>
                <a:lnTo>
                  <a:pt x="925938" y="4041008"/>
                </a:lnTo>
                <a:lnTo>
                  <a:pt x="931048" y="4039348"/>
                </a:lnTo>
                <a:lnTo>
                  <a:pt x="928343" y="4036138"/>
                </a:lnTo>
                <a:cubicBezTo>
                  <a:pt x="927441" y="4033482"/>
                  <a:pt x="927441" y="4030605"/>
                  <a:pt x="929244" y="4029055"/>
                </a:cubicBezTo>
                <a:lnTo>
                  <a:pt x="933153" y="4027949"/>
                </a:lnTo>
                <a:lnTo>
                  <a:pt x="933754" y="4028281"/>
                </a:lnTo>
                <a:lnTo>
                  <a:pt x="934355" y="4028170"/>
                </a:lnTo>
                <a:lnTo>
                  <a:pt x="941268" y="4029941"/>
                </a:lnTo>
                <a:cubicBezTo>
                  <a:pt x="940367" y="4035806"/>
                  <a:pt x="938865" y="4039016"/>
                  <a:pt x="937061" y="4040565"/>
                </a:cubicBezTo>
                <a:lnTo>
                  <a:pt x="932851" y="4040565"/>
                </a:lnTo>
                <a:lnTo>
                  <a:pt x="931349" y="4048091"/>
                </a:lnTo>
                <a:lnTo>
                  <a:pt x="930447" y="4049751"/>
                </a:lnTo>
                <a:lnTo>
                  <a:pt x="930447" y="4050636"/>
                </a:lnTo>
                <a:cubicBezTo>
                  <a:pt x="930748" y="4051743"/>
                  <a:pt x="930748" y="4052628"/>
                  <a:pt x="930748" y="4052628"/>
                </a:cubicBezTo>
                <a:cubicBezTo>
                  <a:pt x="928643" y="4053182"/>
                  <a:pt x="928643" y="4053182"/>
                  <a:pt x="929244" y="4051854"/>
                </a:cubicBezTo>
                <a:lnTo>
                  <a:pt x="929244" y="4051632"/>
                </a:lnTo>
                <a:lnTo>
                  <a:pt x="926839" y="4055506"/>
                </a:lnTo>
                <a:cubicBezTo>
                  <a:pt x="923232" y="4053403"/>
                  <a:pt x="920226" y="4050415"/>
                  <a:pt x="917821" y="4047205"/>
                </a:cubicBezTo>
                <a:lnTo>
                  <a:pt x="911208" y="4037577"/>
                </a:lnTo>
                <a:lnTo>
                  <a:pt x="908803" y="4038794"/>
                </a:lnTo>
                <a:lnTo>
                  <a:pt x="906398" y="4040897"/>
                </a:lnTo>
                <a:lnTo>
                  <a:pt x="926238" y="4057609"/>
                </a:lnTo>
                <a:lnTo>
                  <a:pt x="936460" y="4065134"/>
                </a:lnTo>
                <a:lnTo>
                  <a:pt x="945778" y="4067237"/>
                </a:lnTo>
                <a:lnTo>
                  <a:pt x="943674" y="4069229"/>
                </a:lnTo>
                <a:lnTo>
                  <a:pt x="947883" y="4073435"/>
                </a:lnTo>
                <a:lnTo>
                  <a:pt x="958104" y="4080850"/>
                </a:lnTo>
                <a:cubicBezTo>
                  <a:pt x="968024" y="4088818"/>
                  <a:pt x="977944" y="4097893"/>
                  <a:pt x="984558" y="4108517"/>
                </a:cubicBezTo>
                <a:cubicBezTo>
                  <a:pt x="994178" y="4111395"/>
                  <a:pt x="1007704" y="4113166"/>
                  <a:pt x="1012815" y="4122019"/>
                </a:cubicBezTo>
                <a:cubicBezTo>
                  <a:pt x="1011012" y="4123901"/>
                  <a:pt x="1008607" y="4124343"/>
                  <a:pt x="1006202" y="4127331"/>
                </a:cubicBezTo>
                <a:lnTo>
                  <a:pt x="1018226" y="4134082"/>
                </a:lnTo>
                <a:lnTo>
                  <a:pt x="1017325" y="4133086"/>
                </a:lnTo>
                <a:cubicBezTo>
                  <a:pt x="1016122" y="4131648"/>
                  <a:pt x="1015821" y="4130652"/>
                  <a:pt x="1016122" y="4129656"/>
                </a:cubicBezTo>
                <a:cubicBezTo>
                  <a:pt x="1016423" y="4128770"/>
                  <a:pt x="1017024" y="4127996"/>
                  <a:pt x="1018527" y="4126999"/>
                </a:cubicBezTo>
                <a:cubicBezTo>
                  <a:pt x="1026343" y="4126114"/>
                  <a:pt x="1030252" y="4133086"/>
                  <a:pt x="1036865" y="4138288"/>
                </a:cubicBezTo>
                <a:cubicBezTo>
                  <a:pt x="1036264" y="4139616"/>
                  <a:pt x="1036865" y="4141719"/>
                  <a:pt x="1038367" y="4142493"/>
                </a:cubicBezTo>
                <a:lnTo>
                  <a:pt x="1038969" y="4143489"/>
                </a:lnTo>
                <a:lnTo>
                  <a:pt x="1039270" y="4143600"/>
                </a:lnTo>
                <a:cubicBezTo>
                  <a:pt x="1049792" y="4146810"/>
                  <a:pt x="1057306" y="4151679"/>
                  <a:pt x="1064521" y="4164738"/>
                </a:cubicBezTo>
                <a:cubicBezTo>
                  <a:pt x="1062717" y="4165734"/>
                  <a:pt x="1061515" y="4165513"/>
                  <a:pt x="1060614" y="4164738"/>
                </a:cubicBezTo>
                <a:lnTo>
                  <a:pt x="1059411" y="4163189"/>
                </a:lnTo>
                <a:lnTo>
                  <a:pt x="1055503" y="4169719"/>
                </a:lnTo>
                <a:lnTo>
                  <a:pt x="1056104" y="4171047"/>
                </a:lnTo>
                <a:lnTo>
                  <a:pt x="1063318" y="4176470"/>
                </a:lnTo>
                <a:lnTo>
                  <a:pt x="1063620" y="4176248"/>
                </a:lnTo>
                <a:cubicBezTo>
                  <a:pt x="1066325" y="4174699"/>
                  <a:pt x="1069331" y="4173039"/>
                  <a:pt x="1071736" y="4170825"/>
                </a:cubicBezTo>
                <a:cubicBezTo>
                  <a:pt x="1074140" y="4165292"/>
                  <a:pt x="1068429" y="4159426"/>
                  <a:pt x="1078951" y="4154003"/>
                </a:cubicBezTo>
                <a:cubicBezTo>
                  <a:pt x="1084362" y="4162082"/>
                  <a:pt x="1088269" y="4169829"/>
                  <a:pt x="1090674" y="4177244"/>
                </a:cubicBezTo>
                <a:lnTo>
                  <a:pt x="1093680" y="4196722"/>
                </a:lnTo>
                <a:lnTo>
                  <a:pt x="1093380" y="4189639"/>
                </a:lnTo>
                <a:cubicBezTo>
                  <a:pt x="1093982" y="4188090"/>
                  <a:pt x="1094883" y="4186873"/>
                  <a:pt x="1096688" y="4186098"/>
                </a:cubicBezTo>
                <a:cubicBezTo>
                  <a:pt x="1106307" y="4181118"/>
                  <a:pt x="1120736" y="4188643"/>
                  <a:pt x="1126748" y="4201813"/>
                </a:cubicBezTo>
                <a:cubicBezTo>
                  <a:pt x="1136368" y="4221955"/>
                  <a:pt x="1131859" y="4234683"/>
                  <a:pt x="1131859" y="4234683"/>
                </a:cubicBezTo>
                <a:cubicBezTo>
                  <a:pt x="1113822" y="4241876"/>
                  <a:pt x="1103902" y="4221845"/>
                  <a:pt x="1097890" y="4208675"/>
                </a:cubicBezTo>
                <a:lnTo>
                  <a:pt x="1093982" y="4198714"/>
                </a:lnTo>
                <a:lnTo>
                  <a:pt x="1091577" y="4211774"/>
                </a:lnTo>
                <a:cubicBezTo>
                  <a:pt x="1078951" y="4209118"/>
                  <a:pt x="1077749" y="4195062"/>
                  <a:pt x="1074140" y="4185213"/>
                </a:cubicBezTo>
                <a:cubicBezTo>
                  <a:pt x="1065423" y="4190857"/>
                  <a:pt x="1054000" y="4202256"/>
                  <a:pt x="1045883" y="4192849"/>
                </a:cubicBezTo>
                <a:lnTo>
                  <a:pt x="1048288" y="4186209"/>
                </a:lnTo>
                <a:lnTo>
                  <a:pt x="1043177" y="4178904"/>
                </a:lnTo>
                <a:cubicBezTo>
                  <a:pt x="1039871" y="4175584"/>
                  <a:pt x="1036865" y="4173039"/>
                  <a:pt x="1033558" y="4170825"/>
                </a:cubicBezTo>
                <a:lnTo>
                  <a:pt x="1031454" y="4169608"/>
                </a:lnTo>
                <a:lnTo>
                  <a:pt x="1028147" y="4170383"/>
                </a:lnTo>
                <a:cubicBezTo>
                  <a:pt x="1023938" y="4169829"/>
                  <a:pt x="1020932" y="4167395"/>
                  <a:pt x="1017926" y="4163742"/>
                </a:cubicBezTo>
                <a:lnTo>
                  <a:pt x="1019129" y="4162414"/>
                </a:lnTo>
                <a:lnTo>
                  <a:pt x="1006202" y="4155221"/>
                </a:lnTo>
                <a:cubicBezTo>
                  <a:pt x="1008307" y="4152233"/>
                  <a:pt x="1014319" y="4158873"/>
                  <a:pt x="1015821" y="4154557"/>
                </a:cubicBezTo>
                <a:cubicBezTo>
                  <a:pt x="995981" y="4147252"/>
                  <a:pt x="991171" y="4140944"/>
                  <a:pt x="974336" y="4135632"/>
                </a:cubicBezTo>
                <a:cubicBezTo>
                  <a:pt x="971330" y="4127442"/>
                  <a:pt x="964417" y="4120359"/>
                  <a:pt x="955097" y="4113830"/>
                </a:cubicBezTo>
                <a:lnTo>
                  <a:pt x="941871" y="4104312"/>
                </a:lnTo>
                <a:lnTo>
                  <a:pt x="940668" y="4106636"/>
                </a:lnTo>
                <a:cubicBezTo>
                  <a:pt x="937962" y="4104865"/>
                  <a:pt x="934355" y="4106083"/>
                  <a:pt x="932250" y="4101324"/>
                </a:cubicBezTo>
                <a:lnTo>
                  <a:pt x="935256" y="4099221"/>
                </a:lnTo>
                <a:lnTo>
                  <a:pt x="923533" y="4089593"/>
                </a:lnTo>
                <a:cubicBezTo>
                  <a:pt x="914214" y="4086604"/>
                  <a:pt x="918422" y="4101324"/>
                  <a:pt x="908803" y="4092249"/>
                </a:cubicBezTo>
                <a:lnTo>
                  <a:pt x="910305" y="4080296"/>
                </a:lnTo>
                <a:lnTo>
                  <a:pt x="906698" y="4080185"/>
                </a:lnTo>
                <a:lnTo>
                  <a:pt x="909704" y="4077308"/>
                </a:lnTo>
                <a:lnTo>
                  <a:pt x="906698" y="4074873"/>
                </a:lnTo>
                <a:lnTo>
                  <a:pt x="895275" y="4085940"/>
                </a:lnTo>
                <a:cubicBezTo>
                  <a:pt x="890164" y="4079632"/>
                  <a:pt x="891668" y="4072771"/>
                  <a:pt x="895576" y="4066573"/>
                </a:cubicBezTo>
                <a:lnTo>
                  <a:pt x="881447" y="4056391"/>
                </a:lnTo>
                <a:lnTo>
                  <a:pt x="873931" y="4042115"/>
                </a:lnTo>
                <a:lnTo>
                  <a:pt x="857998" y="4044992"/>
                </a:lnTo>
                <a:lnTo>
                  <a:pt x="853490" y="4040786"/>
                </a:lnTo>
                <a:lnTo>
                  <a:pt x="850484" y="4052628"/>
                </a:lnTo>
                <a:lnTo>
                  <a:pt x="851085" y="4052186"/>
                </a:lnTo>
                <a:cubicBezTo>
                  <a:pt x="854091" y="4053403"/>
                  <a:pt x="856496" y="4054842"/>
                  <a:pt x="857698" y="4056723"/>
                </a:cubicBezTo>
                <a:cubicBezTo>
                  <a:pt x="858901" y="4058605"/>
                  <a:pt x="859201" y="4060818"/>
                  <a:pt x="858300" y="4063474"/>
                </a:cubicBezTo>
                <a:lnTo>
                  <a:pt x="855895" y="4067237"/>
                </a:lnTo>
                <a:lnTo>
                  <a:pt x="857698" y="4067016"/>
                </a:lnTo>
                <a:lnTo>
                  <a:pt x="859502" y="4067126"/>
                </a:lnTo>
                <a:lnTo>
                  <a:pt x="860103" y="4064470"/>
                </a:lnTo>
                <a:lnTo>
                  <a:pt x="866115" y="4067016"/>
                </a:lnTo>
                <a:lnTo>
                  <a:pt x="865514" y="4067790"/>
                </a:lnTo>
                <a:lnTo>
                  <a:pt x="870324" y="4068233"/>
                </a:lnTo>
                <a:cubicBezTo>
                  <a:pt x="874834" y="4069229"/>
                  <a:pt x="879342" y="4070889"/>
                  <a:pt x="884453" y="4073656"/>
                </a:cubicBezTo>
                <a:cubicBezTo>
                  <a:pt x="884453" y="4076091"/>
                  <a:pt x="885956" y="4078857"/>
                  <a:pt x="886557" y="4081514"/>
                </a:cubicBezTo>
                <a:lnTo>
                  <a:pt x="886257" y="4084834"/>
                </a:lnTo>
                <a:lnTo>
                  <a:pt x="887158" y="4086272"/>
                </a:lnTo>
                <a:cubicBezTo>
                  <a:pt x="887459" y="4088154"/>
                  <a:pt x="887158" y="4089925"/>
                  <a:pt x="885054" y="4092138"/>
                </a:cubicBezTo>
                <a:cubicBezTo>
                  <a:pt x="884152" y="4091806"/>
                  <a:pt x="883551" y="4090589"/>
                  <a:pt x="882949" y="4089261"/>
                </a:cubicBezTo>
                <a:lnTo>
                  <a:pt x="882348" y="4087600"/>
                </a:lnTo>
                <a:lnTo>
                  <a:pt x="877238" y="4083838"/>
                </a:lnTo>
                <a:lnTo>
                  <a:pt x="875735" y="4083506"/>
                </a:lnTo>
                <a:lnTo>
                  <a:pt x="875435" y="4084170"/>
                </a:lnTo>
                <a:cubicBezTo>
                  <a:pt x="873030" y="4086715"/>
                  <a:pt x="868520" y="4088375"/>
                  <a:pt x="866416" y="4087490"/>
                </a:cubicBezTo>
                <a:cubicBezTo>
                  <a:pt x="864612" y="4086715"/>
                  <a:pt x="864011" y="4085276"/>
                  <a:pt x="864011" y="4085276"/>
                </a:cubicBezTo>
                <a:lnTo>
                  <a:pt x="866717" y="4080850"/>
                </a:lnTo>
                <a:lnTo>
                  <a:pt x="865213" y="4080517"/>
                </a:lnTo>
                <a:cubicBezTo>
                  <a:pt x="859201" y="4079853"/>
                  <a:pt x="852889" y="4079964"/>
                  <a:pt x="847478" y="4078968"/>
                </a:cubicBezTo>
                <a:lnTo>
                  <a:pt x="840863" y="4076644"/>
                </a:lnTo>
                <a:lnTo>
                  <a:pt x="839361" y="4079632"/>
                </a:lnTo>
                <a:cubicBezTo>
                  <a:pt x="835753" y="4085387"/>
                  <a:pt x="831244" y="4091031"/>
                  <a:pt x="825232" y="4096344"/>
                </a:cubicBezTo>
                <a:cubicBezTo>
                  <a:pt x="813809" y="4075648"/>
                  <a:pt x="827637" y="4052960"/>
                  <a:pt x="842667" y="4038020"/>
                </a:cubicBezTo>
                <a:lnTo>
                  <a:pt x="847177" y="4034478"/>
                </a:lnTo>
                <a:lnTo>
                  <a:pt x="840863" y="4028613"/>
                </a:lnTo>
                <a:cubicBezTo>
                  <a:pt x="833950" y="4023522"/>
                  <a:pt x="826434" y="4018542"/>
                  <a:pt x="820121" y="4012897"/>
                </a:cubicBezTo>
                <a:lnTo>
                  <a:pt x="817115" y="3986668"/>
                </a:lnTo>
                <a:lnTo>
                  <a:pt x="813207" y="3982573"/>
                </a:lnTo>
                <a:cubicBezTo>
                  <a:pt x="804489" y="3973830"/>
                  <a:pt x="796973" y="3965419"/>
                  <a:pt x="789158" y="3957008"/>
                </a:cubicBezTo>
                <a:cubicBezTo>
                  <a:pt x="785550" y="3952803"/>
                  <a:pt x="781643" y="3948597"/>
                  <a:pt x="778036" y="3944170"/>
                </a:cubicBezTo>
                <a:lnTo>
                  <a:pt x="777735" y="3943838"/>
                </a:lnTo>
                <a:lnTo>
                  <a:pt x="777133" y="3943728"/>
                </a:lnTo>
                <a:cubicBezTo>
                  <a:pt x="775330" y="3942510"/>
                  <a:pt x="773826" y="3940740"/>
                  <a:pt x="772624" y="3938526"/>
                </a:cubicBezTo>
                <a:lnTo>
                  <a:pt x="772624" y="3936866"/>
                </a:lnTo>
                <a:lnTo>
                  <a:pt x="767213" y="3929562"/>
                </a:lnTo>
                <a:lnTo>
                  <a:pt x="772324" y="3928787"/>
                </a:lnTo>
                <a:lnTo>
                  <a:pt x="772022" y="3926795"/>
                </a:lnTo>
                <a:lnTo>
                  <a:pt x="773225" y="3925799"/>
                </a:lnTo>
                <a:lnTo>
                  <a:pt x="768415" y="3923143"/>
                </a:lnTo>
                <a:lnTo>
                  <a:pt x="768115" y="3923807"/>
                </a:lnTo>
                <a:lnTo>
                  <a:pt x="764508" y="3923475"/>
                </a:lnTo>
                <a:lnTo>
                  <a:pt x="765109" y="3924692"/>
                </a:lnTo>
                <a:cubicBezTo>
                  <a:pt x="766010" y="3927238"/>
                  <a:pt x="766010" y="3929672"/>
                  <a:pt x="763907" y="3931997"/>
                </a:cubicBezTo>
                <a:cubicBezTo>
                  <a:pt x="763305" y="3930447"/>
                  <a:pt x="762103" y="3928234"/>
                  <a:pt x="761502" y="3926020"/>
                </a:cubicBezTo>
                <a:lnTo>
                  <a:pt x="760900" y="3923143"/>
                </a:lnTo>
                <a:lnTo>
                  <a:pt x="756391" y="3922700"/>
                </a:lnTo>
                <a:lnTo>
                  <a:pt x="748875" y="3914510"/>
                </a:lnTo>
                <a:lnTo>
                  <a:pt x="745869" y="3913182"/>
                </a:lnTo>
                <a:cubicBezTo>
                  <a:pt x="747071" y="3912076"/>
                  <a:pt x="746771" y="3909530"/>
                  <a:pt x="745869" y="3906431"/>
                </a:cubicBezTo>
                <a:lnTo>
                  <a:pt x="741360" y="3898020"/>
                </a:lnTo>
                <a:lnTo>
                  <a:pt x="739557" y="3902115"/>
                </a:lnTo>
                <a:cubicBezTo>
                  <a:pt x="732342" y="3906653"/>
                  <a:pt x="726630" y="3900898"/>
                  <a:pt x="721219" y="3893594"/>
                </a:cubicBezTo>
                <a:lnTo>
                  <a:pt x="723624" y="3888835"/>
                </a:lnTo>
                <a:lnTo>
                  <a:pt x="722722" y="3877104"/>
                </a:lnTo>
                <a:lnTo>
                  <a:pt x="720017" y="3869799"/>
                </a:lnTo>
                <a:lnTo>
                  <a:pt x="719716" y="3873230"/>
                </a:lnTo>
                <a:cubicBezTo>
                  <a:pt x="717912" y="3878210"/>
                  <a:pt x="714305" y="3882969"/>
                  <a:pt x="708293" y="3886179"/>
                </a:cubicBezTo>
                <a:cubicBezTo>
                  <a:pt x="702882" y="3884408"/>
                  <a:pt x="695366" y="3874115"/>
                  <a:pt x="693262" y="3865815"/>
                </a:cubicBezTo>
                <a:lnTo>
                  <a:pt x="693262" y="3862052"/>
                </a:lnTo>
                <a:lnTo>
                  <a:pt x="691759" y="3860835"/>
                </a:lnTo>
                <a:cubicBezTo>
                  <a:pt x="689655" y="3857736"/>
                  <a:pt x="688452" y="3854084"/>
                  <a:pt x="688452" y="3849878"/>
                </a:cubicBezTo>
                <a:cubicBezTo>
                  <a:pt x="684244" y="3845894"/>
                  <a:pt x="682139" y="3838369"/>
                  <a:pt x="682740" y="3832503"/>
                </a:cubicBezTo>
                <a:cubicBezTo>
                  <a:pt x="686047" y="3825641"/>
                  <a:pt x="691157" y="3823760"/>
                  <a:pt x="694465" y="3825309"/>
                </a:cubicBezTo>
                <a:lnTo>
                  <a:pt x="697471" y="3826969"/>
                </a:lnTo>
                <a:lnTo>
                  <a:pt x="695967" y="3823871"/>
                </a:lnTo>
                <a:cubicBezTo>
                  <a:pt x="692060" y="3817784"/>
                  <a:pt x="686348" y="3811143"/>
                  <a:pt x="685446" y="3803507"/>
                </a:cubicBezTo>
                <a:cubicBezTo>
                  <a:pt x="681237" y="3798638"/>
                  <a:pt x="683943" y="3807934"/>
                  <a:pt x="677931" y="3804835"/>
                </a:cubicBezTo>
                <a:cubicBezTo>
                  <a:pt x="676728" y="3794764"/>
                  <a:pt x="674623" y="3786906"/>
                  <a:pt x="666507" y="3786796"/>
                </a:cubicBezTo>
                <a:cubicBezTo>
                  <a:pt x="671317" y="3779823"/>
                  <a:pt x="656587" y="3771634"/>
                  <a:pt x="667409" y="3764108"/>
                </a:cubicBezTo>
                <a:cubicBezTo>
                  <a:pt x="662900" y="3763887"/>
                  <a:pt x="659293" y="3760235"/>
                  <a:pt x="666507" y="3756361"/>
                </a:cubicBezTo>
                <a:cubicBezTo>
                  <a:pt x="656587" y="3754590"/>
                  <a:pt x="660494" y="3739982"/>
                  <a:pt x="651476" y="3742085"/>
                </a:cubicBezTo>
                <a:cubicBezTo>
                  <a:pt x="654182" y="3737990"/>
                  <a:pt x="654482" y="3733341"/>
                  <a:pt x="652678" y="3729136"/>
                </a:cubicBezTo>
                <a:cubicBezTo>
                  <a:pt x="651476" y="3725152"/>
                  <a:pt x="649672" y="3720836"/>
                  <a:pt x="647569" y="3716630"/>
                </a:cubicBezTo>
                <a:cubicBezTo>
                  <a:pt x="641857" y="3708883"/>
                  <a:pt x="635543" y="3700693"/>
                  <a:pt x="637348" y="3695160"/>
                </a:cubicBezTo>
                <a:cubicBezTo>
                  <a:pt x="631335" y="3692172"/>
                  <a:pt x="623519" y="3694606"/>
                  <a:pt x="619612" y="3684978"/>
                </a:cubicBezTo>
                <a:lnTo>
                  <a:pt x="619912" y="3674354"/>
                </a:lnTo>
                <a:lnTo>
                  <a:pt x="610292" y="3671919"/>
                </a:lnTo>
                <a:cubicBezTo>
                  <a:pt x="598268" y="3667492"/>
                  <a:pt x="592857" y="3661294"/>
                  <a:pt x="592857" y="3661294"/>
                </a:cubicBezTo>
                <a:cubicBezTo>
                  <a:pt x="593157" y="3653990"/>
                  <a:pt x="596464" y="3650006"/>
                  <a:pt x="601274" y="3647903"/>
                </a:cubicBezTo>
                <a:lnTo>
                  <a:pt x="606384" y="3646686"/>
                </a:lnTo>
                <a:lnTo>
                  <a:pt x="599770" y="3637611"/>
                </a:lnTo>
                <a:cubicBezTo>
                  <a:pt x="599770" y="3627761"/>
                  <a:pt x="604580" y="3647460"/>
                  <a:pt x="608489" y="3642702"/>
                </a:cubicBezTo>
                <a:cubicBezTo>
                  <a:pt x="607586" y="3638717"/>
                  <a:pt x="606084" y="3635840"/>
                  <a:pt x="604280" y="3631634"/>
                </a:cubicBezTo>
                <a:cubicBezTo>
                  <a:pt x="603078" y="3627650"/>
                  <a:pt x="601875" y="3624883"/>
                  <a:pt x="600973" y="3620899"/>
                </a:cubicBezTo>
                <a:cubicBezTo>
                  <a:pt x="597366" y="3613816"/>
                  <a:pt x="595562" y="3605848"/>
                  <a:pt x="592256" y="3597658"/>
                </a:cubicBezTo>
                <a:cubicBezTo>
                  <a:pt x="590451" y="3589801"/>
                  <a:pt x="587145" y="3582718"/>
                  <a:pt x="585040" y="3574749"/>
                </a:cubicBezTo>
                <a:cubicBezTo>
                  <a:pt x="583236" y="3566892"/>
                  <a:pt x="580230" y="3558702"/>
                  <a:pt x="578127" y="3550734"/>
                </a:cubicBezTo>
                <a:cubicBezTo>
                  <a:pt x="576022" y="3542876"/>
                  <a:pt x="572716" y="3535793"/>
                  <a:pt x="569710" y="3527493"/>
                </a:cubicBezTo>
                <a:cubicBezTo>
                  <a:pt x="567305" y="3520742"/>
                  <a:pt x="564298" y="3512552"/>
                  <a:pt x="560991" y="3505469"/>
                </a:cubicBezTo>
                <a:cubicBezTo>
                  <a:pt x="557684" y="3498275"/>
                  <a:pt x="554077" y="3491082"/>
                  <a:pt x="550771" y="3483999"/>
                </a:cubicBezTo>
                <a:cubicBezTo>
                  <a:pt x="548666" y="3479793"/>
                  <a:pt x="546261" y="3476584"/>
                  <a:pt x="543856" y="3473374"/>
                </a:cubicBezTo>
                <a:cubicBezTo>
                  <a:pt x="543856" y="3473374"/>
                  <a:pt x="543856" y="3473485"/>
                  <a:pt x="542654" y="3470608"/>
                </a:cubicBezTo>
                <a:cubicBezTo>
                  <a:pt x="541150" y="3464189"/>
                  <a:pt x="543856" y="3484220"/>
                  <a:pt x="540249" y="3456552"/>
                </a:cubicBezTo>
                <a:cubicBezTo>
                  <a:pt x="540249" y="3456552"/>
                  <a:pt x="540249" y="3456663"/>
                  <a:pt x="539347" y="3456331"/>
                </a:cubicBezTo>
                <a:cubicBezTo>
                  <a:pt x="539347" y="3456331"/>
                  <a:pt x="539347" y="3456220"/>
                  <a:pt x="538745" y="3454782"/>
                </a:cubicBezTo>
                <a:cubicBezTo>
                  <a:pt x="537543" y="3454450"/>
                  <a:pt x="536341" y="3454118"/>
                  <a:pt x="535739" y="3452679"/>
                </a:cubicBezTo>
                <a:cubicBezTo>
                  <a:pt x="531832" y="3453896"/>
                  <a:pt x="531231" y="3456110"/>
                  <a:pt x="530629" y="3457216"/>
                </a:cubicBezTo>
                <a:cubicBezTo>
                  <a:pt x="530629" y="3457216"/>
                  <a:pt x="530629" y="3457216"/>
                  <a:pt x="531832" y="3457548"/>
                </a:cubicBezTo>
                <a:cubicBezTo>
                  <a:pt x="531832" y="3457548"/>
                  <a:pt x="531832" y="3457548"/>
                  <a:pt x="531231" y="3458655"/>
                </a:cubicBezTo>
                <a:cubicBezTo>
                  <a:pt x="532433" y="3462639"/>
                  <a:pt x="533034" y="3467730"/>
                  <a:pt x="533636" y="3472710"/>
                </a:cubicBezTo>
                <a:cubicBezTo>
                  <a:pt x="533334" y="3473817"/>
                  <a:pt x="533334" y="3473706"/>
                  <a:pt x="533334" y="3473706"/>
                </a:cubicBezTo>
                <a:cubicBezTo>
                  <a:pt x="532733" y="3474813"/>
                  <a:pt x="532433" y="3476031"/>
                  <a:pt x="530028" y="3476473"/>
                </a:cubicBezTo>
                <a:cubicBezTo>
                  <a:pt x="530328" y="3475367"/>
                  <a:pt x="529427" y="3475035"/>
                  <a:pt x="529427" y="3475035"/>
                </a:cubicBezTo>
                <a:cubicBezTo>
                  <a:pt x="528525" y="3473596"/>
                  <a:pt x="528826" y="3473485"/>
                  <a:pt x="528826" y="3473485"/>
                </a:cubicBezTo>
                <a:lnTo>
                  <a:pt x="528525" y="3472821"/>
                </a:lnTo>
                <a:lnTo>
                  <a:pt x="528525" y="3472710"/>
                </a:lnTo>
                <a:lnTo>
                  <a:pt x="528525" y="3472600"/>
                </a:lnTo>
                <a:cubicBezTo>
                  <a:pt x="528225" y="3470497"/>
                  <a:pt x="527623" y="3466624"/>
                  <a:pt x="526421" y="3459541"/>
                </a:cubicBezTo>
                <a:cubicBezTo>
                  <a:pt x="526421" y="3459541"/>
                  <a:pt x="526421" y="3459541"/>
                  <a:pt x="526721" y="3458434"/>
                </a:cubicBezTo>
                <a:cubicBezTo>
                  <a:pt x="526721" y="3458434"/>
                  <a:pt x="526721" y="3458434"/>
                  <a:pt x="525820" y="3458102"/>
                </a:cubicBezTo>
                <a:cubicBezTo>
                  <a:pt x="525820" y="3458102"/>
                  <a:pt x="524617" y="3457880"/>
                  <a:pt x="525219" y="3456774"/>
                </a:cubicBezTo>
                <a:cubicBezTo>
                  <a:pt x="524016" y="3456442"/>
                  <a:pt x="524316" y="3455224"/>
                  <a:pt x="523715" y="3453786"/>
                </a:cubicBezTo>
                <a:cubicBezTo>
                  <a:pt x="523114" y="3452347"/>
                  <a:pt x="521310" y="3450687"/>
                  <a:pt x="518604" y="3448584"/>
                </a:cubicBezTo>
                <a:cubicBezTo>
                  <a:pt x="523415" y="3447699"/>
                  <a:pt x="522212" y="3451019"/>
                  <a:pt x="525820" y="3450908"/>
                </a:cubicBezTo>
                <a:cubicBezTo>
                  <a:pt x="528826" y="3449359"/>
                  <a:pt x="529727" y="3446039"/>
                  <a:pt x="529427" y="3443493"/>
                </a:cubicBezTo>
                <a:cubicBezTo>
                  <a:pt x="528225" y="3440726"/>
                  <a:pt x="526421" y="3446149"/>
                  <a:pt x="522513" y="3443715"/>
                </a:cubicBezTo>
                <a:cubicBezTo>
                  <a:pt x="527322" y="3440394"/>
                  <a:pt x="523415" y="3437960"/>
                  <a:pt x="519205" y="3436632"/>
                </a:cubicBezTo>
                <a:cubicBezTo>
                  <a:pt x="518604" y="3431651"/>
                  <a:pt x="521611" y="3436189"/>
                  <a:pt x="525820" y="3433865"/>
                </a:cubicBezTo>
                <a:cubicBezTo>
                  <a:pt x="525820" y="3430213"/>
                  <a:pt x="519506" y="3431983"/>
                  <a:pt x="513494" y="3432537"/>
                </a:cubicBezTo>
                <a:cubicBezTo>
                  <a:pt x="514096" y="3431430"/>
                  <a:pt x="513794" y="3431430"/>
                  <a:pt x="514396" y="3430323"/>
                </a:cubicBezTo>
                <a:cubicBezTo>
                  <a:pt x="514396" y="3430323"/>
                  <a:pt x="514697" y="3429217"/>
                  <a:pt x="514997" y="3428110"/>
                </a:cubicBezTo>
                <a:cubicBezTo>
                  <a:pt x="516500" y="3427335"/>
                  <a:pt x="518905" y="3427003"/>
                  <a:pt x="520409" y="3426228"/>
                </a:cubicBezTo>
                <a:cubicBezTo>
                  <a:pt x="515598" y="3416268"/>
                  <a:pt x="512592" y="3404316"/>
                  <a:pt x="510788" y="3392806"/>
                </a:cubicBezTo>
                <a:cubicBezTo>
                  <a:pt x="509586" y="3386387"/>
                  <a:pt x="508083" y="3379857"/>
                  <a:pt x="506881" y="3373438"/>
                </a:cubicBezTo>
                <a:cubicBezTo>
                  <a:pt x="506580" y="3370893"/>
                  <a:pt x="506580" y="3367241"/>
                  <a:pt x="505377" y="3364363"/>
                </a:cubicBezTo>
                <a:cubicBezTo>
                  <a:pt x="505377" y="3364363"/>
                  <a:pt x="505377" y="3364363"/>
                  <a:pt x="505678" y="3359715"/>
                </a:cubicBezTo>
                <a:cubicBezTo>
                  <a:pt x="505678" y="3359715"/>
                  <a:pt x="505678" y="3359715"/>
                  <a:pt x="505377" y="3357170"/>
                </a:cubicBezTo>
                <a:cubicBezTo>
                  <a:pt x="505377" y="3357170"/>
                  <a:pt x="505377" y="3357170"/>
                  <a:pt x="505077" y="3354735"/>
                </a:cubicBezTo>
                <a:lnTo>
                  <a:pt x="502071" y="3306482"/>
                </a:lnTo>
                <a:lnTo>
                  <a:pt x="501770" y="3306482"/>
                </a:lnTo>
                <a:cubicBezTo>
                  <a:pt x="500568" y="3306925"/>
                  <a:pt x="499365" y="3305929"/>
                  <a:pt x="498764" y="3304822"/>
                </a:cubicBezTo>
                <a:lnTo>
                  <a:pt x="498464" y="3304158"/>
                </a:lnTo>
                <a:lnTo>
                  <a:pt x="481930" y="3307146"/>
                </a:lnTo>
                <a:cubicBezTo>
                  <a:pt x="464194" y="3307146"/>
                  <a:pt x="444653" y="3302055"/>
                  <a:pt x="436537" y="3297186"/>
                </a:cubicBezTo>
                <a:cubicBezTo>
                  <a:pt x="453672" y="3291763"/>
                  <a:pt x="479224" y="3284348"/>
                  <a:pt x="500268" y="3284237"/>
                </a:cubicBezTo>
                <a:lnTo>
                  <a:pt x="501770" y="3284459"/>
                </a:lnTo>
                <a:lnTo>
                  <a:pt x="501770" y="3283905"/>
                </a:lnTo>
                <a:cubicBezTo>
                  <a:pt x="502371" y="3281360"/>
                  <a:pt x="502973" y="3280032"/>
                  <a:pt x="503274" y="3281360"/>
                </a:cubicBezTo>
                <a:cubicBezTo>
                  <a:pt x="501770" y="3272285"/>
                  <a:pt x="499966" y="3259779"/>
                  <a:pt x="500568" y="3247826"/>
                </a:cubicBezTo>
                <a:cubicBezTo>
                  <a:pt x="502071" y="3237312"/>
                  <a:pt x="506280" y="3227684"/>
                  <a:pt x="513794" y="3226356"/>
                </a:cubicBezTo>
                <a:cubicBezTo>
                  <a:pt x="499365" y="3220712"/>
                  <a:pt x="518003" y="3206989"/>
                  <a:pt x="510488" y="3191384"/>
                </a:cubicBezTo>
                <a:cubicBezTo>
                  <a:pt x="518003" y="3193597"/>
                  <a:pt x="521611" y="3186404"/>
                  <a:pt x="523715" y="3177218"/>
                </a:cubicBezTo>
                <a:cubicBezTo>
                  <a:pt x="524617" y="3167811"/>
                  <a:pt x="522513" y="3156190"/>
                  <a:pt x="518604" y="3151321"/>
                </a:cubicBezTo>
                <a:cubicBezTo>
                  <a:pt x="514997" y="3155084"/>
                  <a:pt x="511991" y="3160285"/>
                  <a:pt x="510788" y="3167257"/>
                </a:cubicBezTo>
                <a:cubicBezTo>
                  <a:pt x="509586" y="3174119"/>
                  <a:pt x="510488" y="3181645"/>
                  <a:pt x="511390" y="3189170"/>
                </a:cubicBezTo>
                <a:lnTo>
                  <a:pt x="507782" y="3177550"/>
                </a:lnTo>
                <a:lnTo>
                  <a:pt x="499365" y="3171906"/>
                </a:lnTo>
                <a:cubicBezTo>
                  <a:pt x="499365" y="3171906"/>
                  <a:pt x="499365" y="3172016"/>
                  <a:pt x="500869" y="3168475"/>
                </a:cubicBezTo>
                <a:lnTo>
                  <a:pt x="505979" y="3172016"/>
                </a:lnTo>
                <a:lnTo>
                  <a:pt x="507782" y="3151653"/>
                </a:lnTo>
                <a:cubicBezTo>
                  <a:pt x="509286" y="3137487"/>
                  <a:pt x="511089" y="3124870"/>
                  <a:pt x="501770" y="3118230"/>
                </a:cubicBezTo>
                <a:cubicBezTo>
                  <a:pt x="503274" y="3103068"/>
                  <a:pt x="507181" y="3092001"/>
                  <a:pt x="510788" y="3081044"/>
                </a:cubicBezTo>
                <a:cubicBezTo>
                  <a:pt x="512893" y="3075622"/>
                  <a:pt x="514697" y="3070088"/>
                  <a:pt x="515298" y="3064223"/>
                </a:cubicBezTo>
                <a:cubicBezTo>
                  <a:pt x="516199" y="3058468"/>
                  <a:pt x="517102" y="3052713"/>
                  <a:pt x="516199" y="3045076"/>
                </a:cubicBezTo>
                <a:cubicBezTo>
                  <a:pt x="521010" y="3047843"/>
                  <a:pt x="525820" y="3050610"/>
                  <a:pt x="530328" y="3044634"/>
                </a:cubicBezTo>
                <a:cubicBezTo>
                  <a:pt x="531832" y="3029361"/>
                  <a:pt x="523715" y="3040207"/>
                  <a:pt x="517703" y="3033456"/>
                </a:cubicBezTo>
                <a:cubicBezTo>
                  <a:pt x="523715" y="3019511"/>
                  <a:pt x="523715" y="3002579"/>
                  <a:pt x="525219" y="2984761"/>
                </a:cubicBezTo>
                <a:cubicBezTo>
                  <a:pt x="525519" y="2976460"/>
                  <a:pt x="526421" y="2966942"/>
                  <a:pt x="528525" y="2957867"/>
                </a:cubicBezTo>
                <a:cubicBezTo>
                  <a:pt x="528826" y="2953108"/>
                  <a:pt x="530328" y="2948792"/>
                  <a:pt x="531832" y="2944476"/>
                </a:cubicBezTo>
                <a:lnTo>
                  <a:pt x="534011" y="2940318"/>
                </a:lnTo>
                <a:lnTo>
                  <a:pt x="473144" y="2900385"/>
                </a:lnTo>
                <a:lnTo>
                  <a:pt x="388361" y="2843866"/>
                </a:lnTo>
                <a:lnTo>
                  <a:pt x="304946" y="2783579"/>
                </a:lnTo>
                <a:lnTo>
                  <a:pt x="226999" y="2719523"/>
                </a:lnTo>
                <a:lnTo>
                  <a:pt x="150422" y="2654211"/>
                </a:lnTo>
                <a:lnTo>
                  <a:pt x="75211" y="2587644"/>
                </a:lnTo>
                <a:lnTo>
                  <a:pt x="0" y="2521076"/>
                </a:lnTo>
                <a:lnTo>
                  <a:pt x="31452" y="2508517"/>
                </a:lnTo>
                <a:lnTo>
                  <a:pt x="23247" y="2474605"/>
                </a:lnTo>
                <a:lnTo>
                  <a:pt x="15042" y="2443205"/>
                </a:lnTo>
                <a:lnTo>
                  <a:pt x="8205" y="2408038"/>
                </a:lnTo>
                <a:lnTo>
                  <a:pt x="2735" y="2372870"/>
                </a:lnTo>
                <a:lnTo>
                  <a:pt x="19145" y="2377894"/>
                </a:lnTo>
                <a:lnTo>
                  <a:pt x="34187" y="2381662"/>
                </a:lnTo>
                <a:lnTo>
                  <a:pt x="49229" y="2386686"/>
                </a:lnTo>
                <a:lnTo>
                  <a:pt x="62904" y="2392966"/>
                </a:lnTo>
                <a:lnTo>
                  <a:pt x="71109" y="2401758"/>
                </a:lnTo>
                <a:lnTo>
                  <a:pt x="90254" y="2424366"/>
                </a:lnTo>
                <a:lnTo>
                  <a:pt x="112132" y="2438181"/>
                </a:lnTo>
                <a:lnTo>
                  <a:pt x="132644" y="2446973"/>
                </a:lnTo>
                <a:lnTo>
                  <a:pt x="155892" y="2450741"/>
                </a:lnTo>
                <a:lnTo>
                  <a:pt x="177771" y="2450741"/>
                </a:lnTo>
                <a:lnTo>
                  <a:pt x="201018" y="2448229"/>
                </a:lnTo>
                <a:lnTo>
                  <a:pt x="221529" y="2444461"/>
                </a:lnTo>
                <a:lnTo>
                  <a:pt x="242042" y="2441949"/>
                </a:lnTo>
                <a:lnTo>
                  <a:pt x="261186" y="2438181"/>
                </a:lnTo>
                <a:lnTo>
                  <a:pt x="278964" y="2438181"/>
                </a:lnTo>
                <a:lnTo>
                  <a:pt x="295373" y="2443205"/>
                </a:lnTo>
                <a:lnTo>
                  <a:pt x="322723" y="2474605"/>
                </a:lnTo>
                <a:lnTo>
                  <a:pt x="347338" y="2502237"/>
                </a:lnTo>
                <a:lnTo>
                  <a:pt x="369216" y="2527357"/>
                </a:lnTo>
                <a:lnTo>
                  <a:pt x="389728" y="2552476"/>
                </a:lnTo>
                <a:lnTo>
                  <a:pt x="408873" y="2575084"/>
                </a:lnTo>
                <a:lnTo>
                  <a:pt x="452632" y="2547452"/>
                </a:lnTo>
                <a:lnTo>
                  <a:pt x="417078" y="2487165"/>
                </a:lnTo>
                <a:lnTo>
                  <a:pt x="381524" y="2423109"/>
                </a:lnTo>
                <a:lnTo>
                  <a:pt x="345970" y="2361566"/>
                </a:lnTo>
                <a:lnTo>
                  <a:pt x="306313" y="2300022"/>
                </a:lnTo>
                <a:lnTo>
                  <a:pt x="265289" y="2242247"/>
                </a:lnTo>
                <a:lnTo>
                  <a:pt x="248879" y="2215871"/>
                </a:lnTo>
                <a:lnTo>
                  <a:pt x="239307" y="2190752"/>
                </a:lnTo>
                <a:lnTo>
                  <a:pt x="237940" y="2165631"/>
                </a:lnTo>
                <a:lnTo>
                  <a:pt x="239307" y="2141768"/>
                </a:lnTo>
                <a:lnTo>
                  <a:pt x="242042" y="2117904"/>
                </a:lnTo>
                <a:lnTo>
                  <a:pt x="247512" y="2095296"/>
                </a:lnTo>
                <a:lnTo>
                  <a:pt x="254349" y="2065152"/>
                </a:lnTo>
                <a:lnTo>
                  <a:pt x="263921" y="2033753"/>
                </a:lnTo>
                <a:lnTo>
                  <a:pt x="277596" y="2003609"/>
                </a:lnTo>
                <a:lnTo>
                  <a:pt x="287168" y="1972209"/>
                </a:lnTo>
                <a:lnTo>
                  <a:pt x="295373" y="1943321"/>
                </a:lnTo>
                <a:lnTo>
                  <a:pt x="292638" y="1915690"/>
                </a:lnTo>
                <a:lnTo>
                  <a:pt x="289903" y="1884290"/>
                </a:lnTo>
                <a:lnTo>
                  <a:pt x="292638" y="1857914"/>
                </a:lnTo>
                <a:lnTo>
                  <a:pt x="299476" y="1832795"/>
                </a:lnTo>
                <a:lnTo>
                  <a:pt x="307681" y="1810186"/>
                </a:lnTo>
                <a:lnTo>
                  <a:pt x="321355" y="1788835"/>
                </a:lnTo>
                <a:lnTo>
                  <a:pt x="336397" y="1767483"/>
                </a:lnTo>
                <a:lnTo>
                  <a:pt x="354174" y="1744875"/>
                </a:lnTo>
                <a:lnTo>
                  <a:pt x="369216" y="1728547"/>
                </a:lnTo>
                <a:lnTo>
                  <a:pt x="378789" y="1715988"/>
                </a:lnTo>
                <a:lnTo>
                  <a:pt x="388361" y="1707195"/>
                </a:lnTo>
                <a:lnTo>
                  <a:pt x="395198" y="1704683"/>
                </a:lnTo>
                <a:lnTo>
                  <a:pt x="402036" y="1704683"/>
                </a:lnTo>
                <a:lnTo>
                  <a:pt x="412975" y="1708451"/>
                </a:lnTo>
                <a:lnTo>
                  <a:pt x="425283" y="1718499"/>
                </a:lnTo>
                <a:lnTo>
                  <a:pt x="443060" y="1729803"/>
                </a:lnTo>
                <a:lnTo>
                  <a:pt x="452632" y="1736083"/>
                </a:lnTo>
                <a:lnTo>
                  <a:pt x="466306" y="1741107"/>
                </a:lnTo>
                <a:lnTo>
                  <a:pt x="478613" y="1742363"/>
                </a:lnTo>
                <a:lnTo>
                  <a:pt x="489553" y="1741107"/>
                </a:lnTo>
                <a:lnTo>
                  <a:pt x="500493" y="1734827"/>
                </a:lnTo>
                <a:lnTo>
                  <a:pt x="510065" y="1723523"/>
                </a:lnTo>
                <a:lnTo>
                  <a:pt x="516903" y="1713476"/>
                </a:lnTo>
                <a:lnTo>
                  <a:pt x="519638" y="1700916"/>
                </a:lnTo>
                <a:lnTo>
                  <a:pt x="518270" y="1668260"/>
                </a:lnTo>
                <a:lnTo>
                  <a:pt x="515535" y="1633092"/>
                </a:lnTo>
                <a:lnTo>
                  <a:pt x="512800" y="1600437"/>
                </a:lnTo>
                <a:lnTo>
                  <a:pt x="512800" y="1566525"/>
                </a:lnTo>
                <a:lnTo>
                  <a:pt x="516903" y="1535125"/>
                </a:lnTo>
                <a:lnTo>
                  <a:pt x="533312" y="1493678"/>
                </a:lnTo>
                <a:lnTo>
                  <a:pt x="555192" y="1453485"/>
                </a:lnTo>
                <a:lnTo>
                  <a:pt x="582542" y="1415806"/>
                </a:lnTo>
                <a:lnTo>
                  <a:pt x="611258" y="1380638"/>
                </a:lnTo>
                <a:lnTo>
                  <a:pt x="615360" y="1379382"/>
                </a:lnTo>
                <a:lnTo>
                  <a:pt x="624932" y="1381894"/>
                </a:lnTo>
                <a:lnTo>
                  <a:pt x="635872" y="1385662"/>
                </a:lnTo>
                <a:lnTo>
                  <a:pt x="650914" y="1390686"/>
                </a:lnTo>
                <a:lnTo>
                  <a:pt x="665957" y="1396966"/>
                </a:lnTo>
                <a:lnTo>
                  <a:pt x="682366" y="1404502"/>
                </a:lnTo>
                <a:lnTo>
                  <a:pt x="698776" y="1410782"/>
                </a:lnTo>
                <a:lnTo>
                  <a:pt x="712451" y="1417062"/>
                </a:lnTo>
                <a:lnTo>
                  <a:pt x="735698" y="1424598"/>
                </a:lnTo>
                <a:lnTo>
                  <a:pt x="760312" y="1430878"/>
                </a:lnTo>
                <a:lnTo>
                  <a:pt x="784926" y="1438414"/>
                </a:lnTo>
                <a:lnTo>
                  <a:pt x="806806" y="1448462"/>
                </a:lnTo>
                <a:lnTo>
                  <a:pt x="827318" y="1459766"/>
                </a:lnTo>
                <a:lnTo>
                  <a:pt x="833214" y="1464897"/>
                </a:lnTo>
                <a:lnTo>
                  <a:pt x="843392" y="1471612"/>
                </a:lnTo>
                <a:lnTo>
                  <a:pt x="842993" y="1473406"/>
                </a:lnTo>
                <a:lnTo>
                  <a:pt x="905263" y="1527589"/>
                </a:lnTo>
                <a:lnTo>
                  <a:pt x="925716" y="1546717"/>
                </a:lnTo>
                <a:lnTo>
                  <a:pt x="924358" y="1544733"/>
                </a:lnTo>
                <a:cubicBezTo>
                  <a:pt x="923019" y="1543602"/>
                  <a:pt x="922057" y="1542403"/>
                  <a:pt x="923293" y="1539461"/>
                </a:cubicBezTo>
                <a:cubicBezTo>
                  <a:pt x="925491" y="1537718"/>
                  <a:pt x="928513" y="1537064"/>
                  <a:pt x="933457" y="1538916"/>
                </a:cubicBezTo>
                <a:cubicBezTo>
                  <a:pt x="934693" y="1542785"/>
                  <a:pt x="934281" y="1545101"/>
                  <a:pt x="933045" y="1546626"/>
                </a:cubicBezTo>
                <a:lnTo>
                  <a:pt x="928383" y="1549211"/>
                </a:lnTo>
                <a:lnTo>
                  <a:pt x="932229" y="1552807"/>
                </a:lnTo>
                <a:lnTo>
                  <a:pt x="941697" y="1539352"/>
                </a:lnTo>
                <a:cubicBezTo>
                  <a:pt x="941149" y="1538153"/>
                  <a:pt x="942247" y="1537718"/>
                  <a:pt x="942797" y="1538916"/>
                </a:cubicBezTo>
                <a:cubicBezTo>
                  <a:pt x="943895" y="1538481"/>
                  <a:pt x="943071" y="1540115"/>
                  <a:pt x="943071" y="1540115"/>
                </a:cubicBezTo>
                <a:cubicBezTo>
                  <a:pt x="942522" y="1541750"/>
                  <a:pt x="941149" y="1542185"/>
                  <a:pt x="940324" y="1543820"/>
                </a:cubicBezTo>
                <a:cubicBezTo>
                  <a:pt x="948565" y="1539788"/>
                  <a:pt x="955158" y="1530961"/>
                  <a:pt x="962575" y="1528563"/>
                </a:cubicBezTo>
                <a:cubicBezTo>
                  <a:pt x="963124" y="1527038"/>
                  <a:pt x="963398" y="1526929"/>
                  <a:pt x="963398" y="1526929"/>
                </a:cubicBezTo>
                <a:cubicBezTo>
                  <a:pt x="967794" y="1520172"/>
                  <a:pt x="966146" y="1515269"/>
                  <a:pt x="973837" y="1514070"/>
                </a:cubicBezTo>
                <a:cubicBezTo>
                  <a:pt x="977958" y="1510039"/>
                  <a:pt x="971090" y="1509711"/>
                  <a:pt x="977408" y="1504917"/>
                </a:cubicBezTo>
                <a:cubicBezTo>
                  <a:pt x="979056" y="1501648"/>
                  <a:pt x="971640" y="1500013"/>
                  <a:pt x="976859" y="1495545"/>
                </a:cubicBezTo>
                <a:cubicBezTo>
                  <a:pt x="975211" y="1494782"/>
                  <a:pt x="973563" y="1493911"/>
                  <a:pt x="972738" y="1491404"/>
                </a:cubicBezTo>
                <a:cubicBezTo>
                  <a:pt x="972738" y="1491404"/>
                  <a:pt x="973837" y="1489879"/>
                  <a:pt x="973837" y="1489879"/>
                </a:cubicBezTo>
                <a:cubicBezTo>
                  <a:pt x="974936" y="1489551"/>
                  <a:pt x="974936" y="1489443"/>
                  <a:pt x="975211" y="1490641"/>
                </a:cubicBezTo>
                <a:cubicBezTo>
                  <a:pt x="975759" y="1491840"/>
                  <a:pt x="977408" y="1492712"/>
                  <a:pt x="979056" y="1493474"/>
                </a:cubicBezTo>
                <a:cubicBezTo>
                  <a:pt x="979056" y="1493474"/>
                  <a:pt x="979056" y="1493583"/>
                  <a:pt x="978507" y="1492276"/>
                </a:cubicBezTo>
                <a:cubicBezTo>
                  <a:pt x="979056" y="1489443"/>
                  <a:pt x="980704" y="1490314"/>
                  <a:pt x="982903" y="1488244"/>
                </a:cubicBezTo>
                <a:cubicBezTo>
                  <a:pt x="983177" y="1489443"/>
                  <a:pt x="980979" y="1491622"/>
                  <a:pt x="980155" y="1493148"/>
                </a:cubicBezTo>
                <a:cubicBezTo>
                  <a:pt x="985924" y="1494019"/>
                  <a:pt x="992516" y="1485192"/>
                  <a:pt x="997186" y="1478328"/>
                </a:cubicBezTo>
                <a:cubicBezTo>
                  <a:pt x="993890" y="1476692"/>
                  <a:pt x="999109" y="1472224"/>
                  <a:pt x="991142" y="1469392"/>
                </a:cubicBezTo>
                <a:cubicBezTo>
                  <a:pt x="995264" y="1465360"/>
                  <a:pt x="998560" y="1462962"/>
                  <a:pt x="999934" y="1466667"/>
                </a:cubicBezTo>
                <a:cubicBezTo>
                  <a:pt x="1004329" y="1467866"/>
                  <a:pt x="1008723" y="1461109"/>
                  <a:pt x="1011745" y="1465577"/>
                </a:cubicBezTo>
                <a:cubicBezTo>
                  <a:pt x="1009273" y="1466340"/>
                  <a:pt x="1006800" y="1467103"/>
                  <a:pt x="1009273" y="1470372"/>
                </a:cubicBezTo>
                <a:cubicBezTo>
                  <a:pt x="1011470" y="1468302"/>
                  <a:pt x="1013942" y="1467539"/>
                  <a:pt x="1017239" y="1465141"/>
                </a:cubicBezTo>
                <a:cubicBezTo>
                  <a:pt x="1017788" y="1463507"/>
                  <a:pt x="1019986" y="1461546"/>
                  <a:pt x="1021909" y="1459475"/>
                </a:cubicBezTo>
                <a:cubicBezTo>
                  <a:pt x="1023282" y="1459148"/>
                  <a:pt x="1024656" y="1458712"/>
                  <a:pt x="1024930" y="1459911"/>
                </a:cubicBezTo>
                <a:cubicBezTo>
                  <a:pt x="1024930" y="1459911"/>
                  <a:pt x="1025480" y="1461218"/>
                  <a:pt x="1024656" y="1462853"/>
                </a:cubicBezTo>
                <a:cubicBezTo>
                  <a:pt x="1028226" y="1461654"/>
                  <a:pt x="1031798" y="1460456"/>
                  <a:pt x="1034819" y="1460783"/>
                </a:cubicBezTo>
                <a:cubicBezTo>
                  <a:pt x="1038116" y="1458385"/>
                  <a:pt x="1034270" y="1455552"/>
                  <a:pt x="1034819" y="1456750"/>
                </a:cubicBezTo>
                <a:cubicBezTo>
                  <a:pt x="1034270" y="1451520"/>
                  <a:pt x="1039764" y="1447052"/>
                  <a:pt x="1044983" y="1442693"/>
                </a:cubicBezTo>
                <a:cubicBezTo>
                  <a:pt x="1049379" y="1439859"/>
                  <a:pt x="1055147" y="1436699"/>
                  <a:pt x="1058169" y="1433104"/>
                </a:cubicBezTo>
                <a:cubicBezTo>
                  <a:pt x="1062563" y="1430270"/>
                  <a:pt x="1061740" y="1436046"/>
                  <a:pt x="1062288" y="1437244"/>
                </a:cubicBezTo>
                <a:cubicBezTo>
                  <a:pt x="1072453" y="1435283"/>
                  <a:pt x="1080419" y="1430052"/>
                  <a:pt x="1088934" y="1427219"/>
                </a:cubicBezTo>
                <a:lnTo>
                  <a:pt x="1095801" y="1421770"/>
                </a:lnTo>
                <a:lnTo>
                  <a:pt x="1095252" y="1421226"/>
                </a:lnTo>
                <a:cubicBezTo>
                  <a:pt x="1094702" y="1419918"/>
                  <a:pt x="1094702" y="1418501"/>
                  <a:pt x="1095252" y="1416867"/>
                </a:cubicBezTo>
                <a:cubicBezTo>
                  <a:pt x="1096901" y="1416322"/>
                  <a:pt x="1096351" y="1414469"/>
                  <a:pt x="1098274" y="1413815"/>
                </a:cubicBezTo>
                <a:cubicBezTo>
                  <a:pt x="1098274" y="1413815"/>
                  <a:pt x="1099647" y="1412290"/>
                  <a:pt x="1102394" y="1411200"/>
                </a:cubicBezTo>
                <a:lnTo>
                  <a:pt x="1104867" y="1410655"/>
                </a:lnTo>
                <a:lnTo>
                  <a:pt x="1104592" y="1408148"/>
                </a:lnTo>
                <a:cubicBezTo>
                  <a:pt x="1104042" y="1406078"/>
                  <a:pt x="1102944" y="1404553"/>
                  <a:pt x="1099922" y="1403572"/>
                </a:cubicBezTo>
                <a:cubicBezTo>
                  <a:pt x="1099922" y="1403572"/>
                  <a:pt x="1099922" y="1403463"/>
                  <a:pt x="1107614" y="1398341"/>
                </a:cubicBezTo>
                <a:cubicBezTo>
                  <a:pt x="1105965" y="1397470"/>
                  <a:pt x="1105415" y="1396271"/>
                  <a:pt x="1104592" y="1393764"/>
                </a:cubicBezTo>
                <a:cubicBezTo>
                  <a:pt x="1104592" y="1393764"/>
                  <a:pt x="1104592" y="1393764"/>
                  <a:pt x="1105141" y="1394963"/>
                </a:cubicBezTo>
                <a:cubicBezTo>
                  <a:pt x="1098824" y="1397033"/>
                  <a:pt x="1094154" y="1402591"/>
                  <a:pt x="1089484" y="1401392"/>
                </a:cubicBezTo>
                <a:cubicBezTo>
                  <a:pt x="1090307" y="1395726"/>
                  <a:pt x="1094702" y="1393002"/>
                  <a:pt x="1100471" y="1389732"/>
                </a:cubicBezTo>
                <a:cubicBezTo>
                  <a:pt x="1105141" y="1387008"/>
                  <a:pt x="1110910" y="1383848"/>
                  <a:pt x="1111459" y="1378181"/>
                </a:cubicBezTo>
                <a:cubicBezTo>
                  <a:pt x="1117228" y="1375021"/>
                  <a:pt x="1121073" y="1373713"/>
                  <a:pt x="1126293" y="1373387"/>
                </a:cubicBezTo>
                <a:cubicBezTo>
                  <a:pt x="1125743" y="1368156"/>
                  <a:pt x="1130413" y="1365322"/>
                  <a:pt x="1135083" y="1362598"/>
                </a:cubicBezTo>
                <a:cubicBezTo>
                  <a:pt x="1135633" y="1360963"/>
                  <a:pt x="1137555" y="1361727"/>
                  <a:pt x="1138654" y="1361290"/>
                </a:cubicBezTo>
                <a:cubicBezTo>
                  <a:pt x="1139203" y="1362598"/>
                  <a:pt x="1138379" y="1364233"/>
                  <a:pt x="1137555" y="1365867"/>
                </a:cubicBezTo>
                <a:cubicBezTo>
                  <a:pt x="1137555" y="1365867"/>
                  <a:pt x="1137281" y="1365758"/>
                  <a:pt x="1136182" y="1366195"/>
                </a:cubicBezTo>
                <a:cubicBezTo>
                  <a:pt x="1132885" y="1368591"/>
                  <a:pt x="1130413" y="1369464"/>
                  <a:pt x="1131238" y="1371860"/>
                </a:cubicBezTo>
                <a:cubicBezTo>
                  <a:pt x="1131238" y="1371860"/>
                  <a:pt x="1130413" y="1373387"/>
                  <a:pt x="1130413" y="1373387"/>
                </a:cubicBezTo>
                <a:cubicBezTo>
                  <a:pt x="1133434" y="1373822"/>
                  <a:pt x="1137006" y="1372623"/>
                  <a:pt x="1140028" y="1373059"/>
                </a:cubicBezTo>
                <a:cubicBezTo>
                  <a:pt x="1142499" y="1372297"/>
                  <a:pt x="1144422" y="1370226"/>
                  <a:pt x="1146621" y="1368265"/>
                </a:cubicBezTo>
                <a:cubicBezTo>
                  <a:pt x="1151016" y="1365431"/>
                  <a:pt x="1156235" y="1360963"/>
                  <a:pt x="1162827" y="1360200"/>
                </a:cubicBezTo>
                <a:cubicBezTo>
                  <a:pt x="1164200" y="1359874"/>
                  <a:pt x="1165848" y="1360745"/>
                  <a:pt x="1165025" y="1362380"/>
                </a:cubicBezTo>
                <a:cubicBezTo>
                  <a:pt x="1165574" y="1363579"/>
                  <a:pt x="1165574" y="1363579"/>
                  <a:pt x="1165574" y="1363579"/>
                </a:cubicBezTo>
                <a:cubicBezTo>
                  <a:pt x="1165574" y="1363579"/>
                  <a:pt x="1166673" y="1363252"/>
                  <a:pt x="1166673" y="1363252"/>
                </a:cubicBezTo>
                <a:cubicBezTo>
                  <a:pt x="1171068" y="1360419"/>
                  <a:pt x="1174365" y="1357912"/>
                  <a:pt x="1179035" y="1355079"/>
                </a:cubicBezTo>
                <a:cubicBezTo>
                  <a:pt x="1176561" y="1355951"/>
                  <a:pt x="1175188" y="1356386"/>
                  <a:pt x="1174090" y="1356714"/>
                </a:cubicBezTo>
                <a:cubicBezTo>
                  <a:pt x="1174365" y="1353880"/>
                  <a:pt x="1183155" y="1351156"/>
                  <a:pt x="1184253" y="1350720"/>
                </a:cubicBezTo>
                <a:cubicBezTo>
                  <a:pt x="1184253" y="1350720"/>
                  <a:pt x="1184803" y="1352028"/>
                  <a:pt x="1183430" y="1352354"/>
                </a:cubicBezTo>
                <a:cubicBezTo>
                  <a:pt x="1185901" y="1351592"/>
                  <a:pt x="1186726" y="1349957"/>
                  <a:pt x="1188099" y="1349521"/>
                </a:cubicBezTo>
                <a:cubicBezTo>
                  <a:pt x="1192769" y="1343963"/>
                  <a:pt x="1200736" y="1338733"/>
                  <a:pt x="1208975" y="1334810"/>
                </a:cubicBezTo>
                <a:cubicBezTo>
                  <a:pt x="1217767" y="1329143"/>
                  <a:pt x="1229028" y="1325547"/>
                  <a:pt x="1239467" y="1320752"/>
                </a:cubicBezTo>
                <a:cubicBezTo>
                  <a:pt x="1239467" y="1320752"/>
                  <a:pt x="1240841" y="1320426"/>
                  <a:pt x="1240841" y="1320426"/>
                </a:cubicBezTo>
                <a:cubicBezTo>
                  <a:pt x="1240566" y="1319227"/>
                  <a:pt x="1241115" y="1317592"/>
                  <a:pt x="1242488" y="1317156"/>
                </a:cubicBezTo>
                <a:cubicBezTo>
                  <a:pt x="1245236" y="1317592"/>
                  <a:pt x="1247707" y="1316829"/>
                  <a:pt x="1250181" y="1316066"/>
                </a:cubicBezTo>
                <a:cubicBezTo>
                  <a:pt x="1255125" y="1314541"/>
                  <a:pt x="1260069" y="1312906"/>
                  <a:pt x="1263915" y="1311707"/>
                </a:cubicBezTo>
                <a:cubicBezTo>
                  <a:pt x="1271607" y="1306477"/>
                  <a:pt x="1267486" y="1306477"/>
                  <a:pt x="1275452" y="1305388"/>
                </a:cubicBezTo>
                <a:cubicBezTo>
                  <a:pt x="1281495" y="1303426"/>
                  <a:pt x="1289187" y="1298195"/>
                  <a:pt x="1292483" y="1299830"/>
                </a:cubicBezTo>
                <a:cubicBezTo>
                  <a:pt x="1295779" y="1297432"/>
                  <a:pt x="1300449" y="1294490"/>
                  <a:pt x="1303746" y="1292092"/>
                </a:cubicBezTo>
                <a:cubicBezTo>
                  <a:pt x="1297978" y="1291330"/>
                  <a:pt x="1293308" y="1294054"/>
                  <a:pt x="1287265" y="1296124"/>
                </a:cubicBezTo>
                <a:cubicBezTo>
                  <a:pt x="1281495" y="1299285"/>
                  <a:pt x="1276002" y="1299612"/>
                  <a:pt x="1273529" y="1292310"/>
                </a:cubicBezTo>
                <a:cubicBezTo>
                  <a:pt x="1273529" y="1292310"/>
                  <a:pt x="1273529" y="1292420"/>
                  <a:pt x="1273255" y="1291112"/>
                </a:cubicBezTo>
                <a:cubicBezTo>
                  <a:pt x="1273255" y="1291112"/>
                  <a:pt x="1273529" y="1292420"/>
                  <a:pt x="1272430" y="1292746"/>
                </a:cubicBezTo>
                <a:cubicBezTo>
                  <a:pt x="1271057" y="1293182"/>
                  <a:pt x="1269958" y="1293509"/>
                  <a:pt x="1266937" y="1293074"/>
                </a:cubicBezTo>
                <a:cubicBezTo>
                  <a:pt x="1265838" y="1293509"/>
                  <a:pt x="1263365" y="1294381"/>
                  <a:pt x="1262542" y="1296015"/>
                </a:cubicBezTo>
                <a:cubicBezTo>
                  <a:pt x="1261168" y="1296343"/>
                  <a:pt x="1260894" y="1295144"/>
                  <a:pt x="1260894" y="1295144"/>
                </a:cubicBezTo>
                <a:cubicBezTo>
                  <a:pt x="1259245" y="1294272"/>
                  <a:pt x="1260344" y="1293945"/>
                  <a:pt x="1261717" y="1293509"/>
                </a:cubicBezTo>
                <a:cubicBezTo>
                  <a:pt x="1262542" y="1291984"/>
                  <a:pt x="1265014" y="1291221"/>
                  <a:pt x="1267760" y="1291547"/>
                </a:cubicBezTo>
                <a:cubicBezTo>
                  <a:pt x="1269133" y="1291221"/>
                  <a:pt x="1271332" y="1290349"/>
                  <a:pt x="1272156" y="1288714"/>
                </a:cubicBezTo>
                <a:cubicBezTo>
                  <a:pt x="1280946" y="1285990"/>
                  <a:pt x="1286715" y="1278688"/>
                  <a:pt x="1295779" y="1273131"/>
                </a:cubicBezTo>
                <a:cubicBezTo>
                  <a:pt x="1296603" y="1275528"/>
                  <a:pt x="1299626" y="1273240"/>
                  <a:pt x="1306767" y="1269644"/>
                </a:cubicBezTo>
                <a:cubicBezTo>
                  <a:pt x="1305943" y="1271279"/>
                  <a:pt x="1305119" y="1272804"/>
                  <a:pt x="1305394" y="1274003"/>
                </a:cubicBezTo>
                <a:cubicBezTo>
                  <a:pt x="1316107" y="1269207"/>
                  <a:pt x="1321875" y="1274112"/>
                  <a:pt x="1329017" y="1274548"/>
                </a:cubicBezTo>
                <a:lnTo>
                  <a:pt x="1341928" y="1272150"/>
                </a:lnTo>
                <a:lnTo>
                  <a:pt x="1341654" y="1270406"/>
                </a:lnTo>
                <a:cubicBezTo>
                  <a:pt x="1341379" y="1268227"/>
                  <a:pt x="1341105" y="1265830"/>
                  <a:pt x="1341105" y="1263977"/>
                </a:cubicBezTo>
                <a:cubicBezTo>
                  <a:pt x="1340555" y="1258201"/>
                  <a:pt x="1347697" y="1256458"/>
                  <a:pt x="1355114" y="1254823"/>
                </a:cubicBezTo>
                <a:lnTo>
                  <a:pt x="1362531" y="1252644"/>
                </a:lnTo>
                <a:lnTo>
                  <a:pt x="1361981" y="1251336"/>
                </a:lnTo>
                <a:lnTo>
                  <a:pt x="1362256" y="1250683"/>
                </a:lnTo>
                <a:lnTo>
                  <a:pt x="1361981" y="1250683"/>
                </a:lnTo>
                <a:cubicBezTo>
                  <a:pt x="1359784" y="1248830"/>
                  <a:pt x="1359234" y="1247195"/>
                  <a:pt x="1359509" y="1245561"/>
                </a:cubicBezTo>
                <a:cubicBezTo>
                  <a:pt x="1359784" y="1243926"/>
                  <a:pt x="1361157" y="1242183"/>
                  <a:pt x="1362806" y="1240221"/>
                </a:cubicBezTo>
                <a:cubicBezTo>
                  <a:pt x="1365827" y="1236189"/>
                  <a:pt x="1369947" y="1238369"/>
                  <a:pt x="1372969" y="1235862"/>
                </a:cubicBezTo>
                <a:lnTo>
                  <a:pt x="1374617" y="1241529"/>
                </a:lnTo>
                <a:lnTo>
                  <a:pt x="1376815" y="1237715"/>
                </a:lnTo>
                <a:cubicBezTo>
                  <a:pt x="1378738" y="1234010"/>
                  <a:pt x="1380111" y="1229869"/>
                  <a:pt x="1383682" y="1227144"/>
                </a:cubicBezTo>
                <a:cubicBezTo>
                  <a:pt x="1386154" y="1225401"/>
                  <a:pt x="1389451" y="1224202"/>
                  <a:pt x="1394395" y="1224202"/>
                </a:cubicBezTo>
                <a:cubicBezTo>
                  <a:pt x="1400438" y="1223657"/>
                  <a:pt x="1410876" y="1228452"/>
                  <a:pt x="1418568" y="1227798"/>
                </a:cubicBezTo>
                <a:lnTo>
                  <a:pt x="1427908" y="1225510"/>
                </a:lnTo>
                <a:lnTo>
                  <a:pt x="1428183" y="1222567"/>
                </a:lnTo>
                <a:lnTo>
                  <a:pt x="1426808" y="1218535"/>
                </a:lnTo>
                <a:cubicBezTo>
                  <a:pt x="1424337" y="1216574"/>
                  <a:pt x="1422964" y="1212651"/>
                  <a:pt x="1423238" y="1209382"/>
                </a:cubicBezTo>
                <a:cubicBezTo>
                  <a:pt x="1424886" y="1205459"/>
                  <a:pt x="1427358" y="1204260"/>
                  <a:pt x="1429282" y="1204914"/>
                </a:cubicBezTo>
                <a:cubicBezTo>
                  <a:pt x="1440818" y="1207420"/>
                  <a:pt x="1443290" y="1216029"/>
                  <a:pt x="1444665" y="1221042"/>
                </a:cubicBezTo>
                <a:lnTo>
                  <a:pt x="1444939" y="1221587"/>
                </a:lnTo>
                <a:lnTo>
                  <a:pt x="1452356" y="1228452"/>
                </a:lnTo>
                <a:cubicBezTo>
                  <a:pt x="1452356" y="1228452"/>
                  <a:pt x="1452356" y="1228452"/>
                  <a:pt x="1453729" y="1228343"/>
                </a:cubicBezTo>
                <a:lnTo>
                  <a:pt x="1456476" y="1228125"/>
                </a:lnTo>
                <a:lnTo>
                  <a:pt x="1460047" y="1225727"/>
                </a:lnTo>
                <a:cubicBezTo>
                  <a:pt x="1459497" y="1224529"/>
                  <a:pt x="1459497" y="1224529"/>
                  <a:pt x="1460871" y="1224093"/>
                </a:cubicBezTo>
                <a:cubicBezTo>
                  <a:pt x="1460871" y="1224093"/>
                  <a:pt x="1460871" y="1224202"/>
                  <a:pt x="1460322" y="1222894"/>
                </a:cubicBezTo>
                <a:lnTo>
                  <a:pt x="1466640" y="1219625"/>
                </a:lnTo>
                <a:lnTo>
                  <a:pt x="1469387" y="1218209"/>
                </a:lnTo>
                <a:cubicBezTo>
                  <a:pt x="1472683" y="1217664"/>
                  <a:pt x="1475705" y="1218099"/>
                  <a:pt x="1477902" y="1218644"/>
                </a:cubicBezTo>
                <a:cubicBezTo>
                  <a:pt x="1480923" y="1219080"/>
                  <a:pt x="1482572" y="1219843"/>
                  <a:pt x="1483945" y="1219407"/>
                </a:cubicBezTo>
                <a:cubicBezTo>
                  <a:pt x="1485044" y="1219080"/>
                  <a:pt x="1487517" y="1218318"/>
                  <a:pt x="1488615" y="1217881"/>
                </a:cubicBezTo>
                <a:cubicBezTo>
                  <a:pt x="1489989" y="1217555"/>
                  <a:pt x="1491911" y="1219517"/>
                  <a:pt x="1492461" y="1220715"/>
                </a:cubicBezTo>
                <a:cubicBezTo>
                  <a:pt x="1492736" y="1221913"/>
                  <a:pt x="1490538" y="1222786"/>
                  <a:pt x="1489165" y="1223112"/>
                </a:cubicBezTo>
                <a:cubicBezTo>
                  <a:pt x="1488067" y="1223548"/>
                  <a:pt x="1486692" y="1223875"/>
                  <a:pt x="1486692" y="1223875"/>
                </a:cubicBezTo>
                <a:lnTo>
                  <a:pt x="1486692" y="1226709"/>
                </a:lnTo>
                <a:lnTo>
                  <a:pt x="1487517" y="1225946"/>
                </a:lnTo>
                <a:cubicBezTo>
                  <a:pt x="1487242" y="1224202"/>
                  <a:pt x="1495758" y="1226926"/>
                  <a:pt x="1497680" y="1226709"/>
                </a:cubicBezTo>
                <a:cubicBezTo>
                  <a:pt x="1497955" y="1228561"/>
                  <a:pt x="1497955" y="1228561"/>
                  <a:pt x="1495758" y="1228779"/>
                </a:cubicBezTo>
                <a:lnTo>
                  <a:pt x="1496581" y="1229215"/>
                </a:lnTo>
                <a:lnTo>
                  <a:pt x="1494110" y="1230304"/>
                </a:lnTo>
                <a:lnTo>
                  <a:pt x="1495758" y="1230523"/>
                </a:lnTo>
                <a:lnTo>
                  <a:pt x="1497405" y="1229759"/>
                </a:lnTo>
                <a:lnTo>
                  <a:pt x="1497680" y="1229978"/>
                </a:lnTo>
                <a:lnTo>
                  <a:pt x="1497680" y="1229542"/>
                </a:lnTo>
                <a:lnTo>
                  <a:pt x="1501251" y="1227908"/>
                </a:lnTo>
                <a:cubicBezTo>
                  <a:pt x="1507844" y="1226055"/>
                  <a:pt x="1516634" y="1226490"/>
                  <a:pt x="1518832" y="1229869"/>
                </a:cubicBezTo>
                <a:cubicBezTo>
                  <a:pt x="1518557" y="1232593"/>
                  <a:pt x="1514986" y="1233792"/>
                  <a:pt x="1509493" y="1234227"/>
                </a:cubicBezTo>
                <a:cubicBezTo>
                  <a:pt x="1504273" y="1234555"/>
                  <a:pt x="1500153" y="1234555"/>
                  <a:pt x="1497131" y="1234118"/>
                </a:cubicBezTo>
                <a:cubicBezTo>
                  <a:pt x="1496032" y="1234446"/>
                  <a:pt x="1495758" y="1234446"/>
                  <a:pt x="1494658" y="1234881"/>
                </a:cubicBezTo>
                <a:cubicBezTo>
                  <a:pt x="1491636" y="1234446"/>
                  <a:pt x="1489989" y="1233683"/>
                  <a:pt x="1487242" y="1233247"/>
                </a:cubicBezTo>
                <a:cubicBezTo>
                  <a:pt x="1487242" y="1233247"/>
                  <a:pt x="1485868" y="1233683"/>
                  <a:pt x="1485868" y="1233683"/>
                </a:cubicBezTo>
                <a:cubicBezTo>
                  <a:pt x="1485868" y="1233683"/>
                  <a:pt x="1484495" y="1232811"/>
                  <a:pt x="1483122" y="1233247"/>
                </a:cubicBezTo>
                <a:cubicBezTo>
                  <a:pt x="1483671" y="1234446"/>
                  <a:pt x="1483945" y="1235645"/>
                  <a:pt x="1483945" y="1235645"/>
                </a:cubicBezTo>
                <a:cubicBezTo>
                  <a:pt x="1485593" y="1236407"/>
                  <a:pt x="1486143" y="1237606"/>
                  <a:pt x="1487792" y="1238478"/>
                </a:cubicBezTo>
                <a:cubicBezTo>
                  <a:pt x="1488890" y="1238041"/>
                  <a:pt x="1491636" y="1238478"/>
                  <a:pt x="1493011" y="1238150"/>
                </a:cubicBezTo>
                <a:cubicBezTo>
                  <a:pt x="1504823" y="1236952"/>
                  <a:pt x="1517458" y="1237061"/>
                  <a:pt x="1530369" y="1235535"/>
                </a:cubicBezTo>
                <a:cubicBezTo>
                  <a:pt x="1530369" y="1235535"/>
                  <a:pt x="1529270" y="1235971"/>
                  <a:pt x="1528720" y="1234772"/>
                </a:cubicBezTo>
                <a:lnTo>
                  <a:pt x="1537511" y="1235100"/>
                </a:lnTo>
                <a:lnTo>
                  <a:pt x="1533390" y="1231285"/>
                </a:lnTo>
                <a:lnTo>
                  <a:pt x="1529270" y="1226817"/>
                </a:lnTo>
                <a:lnTo>
                  <a:pt x="1527072" y="1226381"/>
                </a:lnTo>
                <a:cubicBezTo>
                  <a:pt x="1524875" y="1225946"/>
                  <a:pt x="1522952" y="1225182"/>
                  <a:pt x="1521854" y="1224093"/>
                </a:cubicBezTo>
                <a:cubicBezTo>
                  <a:pt x="1521304" y="1223440"/>
                  <a:pt x="1521029" y="1222677"/>
                  <a:pt x="1521304" y="1221587"/>
                </a:cubicBezTo>
                <a:lnTo>
                  <a:pt x="1524875" y="1222241"/>
                </a:lnTo>
                <a:lnTo>
                  <a:pt x="1523776" y="1221042"/>
                </a:lnTo>
                <a:cubicBezTo>
                  <a:pt x="1520206" y="1217555"/>
                  <a:pt x="1516359" y="1214176"/>
                  <a:pt x="1512239" y="1210907"/>
                </a:cubicBezTo>
                <a:cubicBezTo>
                  <a:pt x="1520206" y="1210144"/>
                  <a:pt x="1525150" y="1205785"/>
                  <a:pt x="1529545" y="1200664"/>
                </a:cubicBezTo>
                <a:lnTo>
                  <a:pt x="1534215" y="1194889"/>
                </a:lnTo>
                <a:lnTo>
                  <a:pt x="1533116" y="1193799"/>
                </a:lnTo>
                <a:cubicBezTo>
                  <a:pt x="1532567" y="1193362"/>
                  <a:pt x="1532842" y="1193362"/>
                  <a:pt x="1532567" y="1194125"/>
                </a:cubicBezTo>
                <a:cubicBezTo>
                  <a:pt x="1530094" y="1190747"/>
                  <a:pt x="1525974" y="1187152"/>
                  <a:pt x="1527622" y="1184427"/>
                </a:cubicBezTo>
                <a:cubicBezTo>
                  <a:pt x="1531468" y="1180613"/>
                  <a:pt x="1536962" y="1182356"/>
                  <a:pt x="1542181" y="1185190"/>
                </a:cubicBezTo>
                <a:lnTo>
                  <a:pt x="1542730" y="1185625"/>
                </a:lnTo>
                <a:lnTo>
                  <a:pt x="1547675" y="1182901"/>
                </a:lnTo>
                <a:lnTo>
                  <a:pt x="1553169" y="1182139"/>
                </a:lnTo>
                <a:lnTo>
                  <a:pt x="1553443" y="1181593"/>
                </a:lnTo>
                <a:cubicBezTo>
                  <a:pt x="1553993" y="1181593"/>
                  <a:pt x="1554542" y="1181485"/>
                  <a:pt x="1554542" y="1180503"/>
                </a:cubicBezTo>
                <a:cubicBezTo>
                  <a:pt x="1554542" y="1180503"/>
                  <a:pt x="1552345" y="1178761"/>
                  <a:pt x="1552070" y="1176908"/>
                </a:cubicBezTo>
                <a:cubicBezTo>
                  <a:pt x="1555641" y="1176581"/>
                  <a:pt x="1554542" y="1168299"/>
                  <a:pt x="1553718" y="1158927"/>
                </a:cubicBezTo>
                <a:lnTo>
                  <a:pt x="1553443" y="1153152"/>
                </a:lnTo>
                <a:lnTo>
                  <a:pt x="1553443" y="1153260"/>
                </a:lnTo>
                <a:cubicBezTo>
                  <a:pt x="1550147" y="1155440"/>
                  <a:pt x="1546026" y="1156639"/>
                  <a:pt x="1543280" y="1157402"/>
                </a:cubicBezTo>
                <a:lnTo>
                  <a:pt x="1540258" y="1158273"/>
                </a:lnTo>
                <a:lnTo>
                  <a:pt x="1541082" y="1159472"/>
                </a:lnTo>
                <a:lnTo>
                  <a:pt x="1538885" y="1159036"/>
                </a:lnTo>
                <a:lnTo>
                  <a:pt x="1538610" y="1159145"/>
                </a:lnTo>
                <a:cubicBezTo>
                  <a:pt x="1538060" y="1157947"/>
                  <a:pt x="1536962" y="1158818"/>
                  <a:pt x="1537511" y="1160017"/>
                </a:cubicBezTo>
                <a:cubicBezTo>
                  <a:pt x="1535038" y="1160017"/>
                  <a:pt x="1532842" y="1160017"/>
                  <a:pt x="1531468" y="1159472"/>
                </a:cubicBezTo>
                <a:cubicBezTo>
                  <a:pt x="1530369" y="1159036"/>
                  <a:pt x="1529819" y="1158056"/>
                  <a:pt x="1530369" y="1155985"/>
                </a:cubicBezTo>
                <a:cubicBezTo>
                  <a:pt x="1530369" y="1152715"/>
                  <a:pt x="1533665" y="1152498"/>
                  <a:pt x="1534764" y="1148357"/>
                </a:cubicBezTo>
                <a:cubicBezTo>
                  <a:pt x="1535588" y="1142799"/>
                  <a:pt x="1527897" y="1140620"/>
                  <a:pt x="1525150" y="1133645"/>
                </a:cubicBezTo>
                <a:lnTo>
                  <a:pt x="1524875" y="1132011"/>
                </a:lnTo>
                <a:lnTo>
                  <a:pt x="1524050" y="1132120"/>
                </a:lnTo>
                <a:cubicBezTo>
                  <a:pt x="1516085" y="1132774"/>
                  <a:pt x="1508393" y="1135389"/>
                  <a:pt x="1500427" y="1136152"/>
                </a:cubicBezTo>
                <a:cubicBezTo>
                  <a:pt x="1500427" y="1134191"/>
                  <a:pt x="1496306" y="1134626"/>
                  <a:pt x="1494110" y="1131030"/>
                </a:cubicBezTo>
                <a:cubicBezTo>
                  <a:pt x="1491911" y="1129286"/>
                  <a:pt x="1491911" y="1129286"/>
                  <a:pt x="1491911" y="1129286"/>
                </a:cubicBezTo>
                <a:cubicBezTo>
                  <a:pt x="1483945" y="1129940"/>
                  <a:pt x="1476804" y="1117191"/>
                  <a:pt x="1476529" y="1115229"/>
                </a:cubicBezTo>
                <a:cubicBezTo>
                  <a:pt x="1476529" y="1115229"/>
                  <a:pt x="1474605" y="1113594"/>
                  <a:pt x="1474605" y="1113594"/>
                </a:cubicBezTo>
                <a:cubicBezTo>
                  <a:pt x="1474331" y="1111742"/>
                  <a:pt x="1475979" y="1107601"/>
                  <a:pt x="1475705" y="1105749"/>
                </a:cubicBezTo>
                <a:cubicBezTo>
                  <a:pt x="1475430" y="1103787"/>
                  <a:pt x="1473232" y="1100190"/>
                  <a:pt x="1472683" y="1096376"/>
                </a:cubicBezTo>
                <a:cubicBezTo>
                  <a:pt x="1472683" y="1094415"/>
                  <a:pt x="1472409" y="1092563"/>
                  <a:pt x="1474331" y="1092345"/>
                </a:cubicBezTo>
                <a:cubicBezTo>
                  <a:pt x="1474331" y="1091909"/>
                  <a:pt x="1474331" y="1090710"/>
                  <a:pt x="1474880" y="1089075"/>
                </a:cubicBezTo>
                <a:lnTo>
                  <a:pt x="1475705" y="1087114"/>
                </a:lnTo>
                <a:lnTo>
                  <a:pt x="1474057" y="1086788"/>
                </a:lnTo>
                <a:lnTo>
                  <a:pt x="1476254" y="1085589"/>
                </a:lnTo>
                <a:lnTo>
                  <a:pt x="1477079" y="1083627"/>
                </a:lnTo>
                <a:cubicBezTo>
                  <a:pt x="1479550" y="1079813"/>
                  <a:pt x="1483671" y="1076108"/>
                  <a:pt x="1490538" y="1075454"/>
                </a:cubicBezTo>
                <a:cubicBezTo>
                  <a:pt x="1488615" y="1075672"/>
                  <a:pt x="1488615" y="1075563"/>
                  <a:pt x="1488615" y="1075563"/>
                </a:cubicBezTo>
                <a:cubicBezTo>
                  <a:pt x="1488341" y="1073601"/>
                  <a:pt x="1495758" y="1069133"/>
                  <a:pt x="1497405" y="1067063"/>
                </a:cubicBezTo>
                <a:cubicBezTo>
                  <a:pt x="1499328" y="1066845"/>
                  <a:pt x="1501526" y="1068589"/>
                  <a:pt x="1505646" y="1068262"/>
                </a:cubicBezTo>
                <a:cubicBezTo>
                  <a:pt x="1511415" y="1067717"/>
                  <a:pt x="1513887" y="1052025"/>
                  <a:pt x="1513612" y="1050063"/>
                </a:cubicBezTo>
                <a:cubicBezTo>
                  <a:pt x="1513612" y="1050063"/>
                  <a:pt x="1513612" y="1050172"/>
                  <a:pt x="1513337" y="1048211"/>
                </a:cubicBezTo>
                <a:cubicBezTo>
                  <a:pt x="1513337" y="1048211"/>
                  <a:pt x="1517458" y="1047884"/>
                  <a:pt x="1517184" y="1045922"/>
                </a:cubicBezTo>
                <a:cubicBezTo>
                  <a:pt x="1517184" y="1045922"/>
                  <a:pt x="1517184" y="1045813"/>
                  <a:pt x="1515261" y="1046032"/>
                </a:cubicBezTo>
                <a:cubicBezTo>
                  <a:pt x="1517184" y="1045813"/>
                  <a:pt x="1520206" y="1037858"/>
                  <a:pt x="1526249" y="1037313"/>
                </a:cubicBezTo>
                <a:cubicBezTo>
                  <a:pt x="1526249" y="1036333"/>
                  <a:pt x="1529270" y="1034153"/>
                  <a:pt x="1534764" y="1032191"/>
                </a:cubicBezTo>
                <a:cubicBezTo>
                  <a:pt x="1540258" y="1030230"/>
                  <a:pt x="1548225" y="1028487"/>
                  <a:pt x="1557014" y="1028705"/>
                </a:cubicBezTo>
                <a:cubicBezTo>
                  <a:pt x="1557289" y="1029576"/>
                  <a:pt x="1565256" y="1030775"/>
                  <a:pt x="1573221" y="1033935"/>
                </a:cubicBezTo>
                <a:lnTo>
                  <a:pt x="1574320" y="1034589"/>
                </a:lnTo>
                <a:lnTo>
                  <a:pt x="1574045" y="1031865"/>
                </a:lnTo>
                <a:cubicBezTo>
                  <a:pt x="1574045" y="1031865"/>
                  <a:pt x="1575694" y="1031756"/>
                  <a:pt x="1575694" y="1031756"/>
                </a:cubicBezTo>
                <a:cubicBezTo>
                  <a:pt x="1575969" y="1032736"/>
                  <a:pt x="1575969" y="1033718"/>
                  <a:pt x="1575969" y="1034589"/>
                </a:cubicBezTo>
                <a:lnTo>
                  <a:pt x="1575419" y="1035134"/>
                </a:lnTo>
                <a:lnTo>
                  <a:pt x="1584209" y="1040256"/>
                </a:lnTo>
                <a:cubicBezTo>
                  <a:pt x="1587231" y="1042980"/>
                  <a:pt x="1589153" y="1046358"/>
                  <a:pt x="1588878" y="1050717"/>
                </a:cubicBezTo>
                <a:cubicBezTo>
                  <a:pt x="1589153" y="1052679"/>
                  <a:pt x="1589153" y="1052570"/>
                  <a:pt x="1589153" y="1052570"/>
                </a:cubicBezTo>
                <a:cubicBezTo>
                  <a:pt x="1593000" y="1052242"/>
                  <a:pt x="1590252" y="1062160"/>
                  <a:pt x="1594373" y="1065646"/>
                </a:cubicBezTo>
                <a:cubicBezTo>
                  <a:pt x="1594373" y="1065319"/>
                  <a:pt x="1594373" y="1065646"/>
                  <a:pt x="1594098" y="1066409"/>
                </a:cubicBezTo>
                <a:lnTo>
                  <a:pt x="1593548" y="1068371"/>
                </a:lnTo>
                <a:cubicBezTo>
                  <a:pt x="1599317" y="1072402"/>
                  <a:pt x="1596571" y="1079595"/>
                  <a:pt x="1596845" y="1087005"/>
                </a:cubicBezTo>
                <a:cubicBezTo>
                  <a:pt x="1595471" y="1087550"/>
                  <a:pt x="1594647" y="1089512"/>
                  <a:pt x="1594922" y="1090819"/>
                </a:cubicBezTo>
                <a:cubicBezTo>
                  <a:pt x="1593823" y="1092781"/>
                  <a:pt x="1592725" y="1094633"/>
                  <a:pt x="1594098" y="1094197"/>
                </a:cubicBezTo>
                <a:cubicBezTo>
                  <a:pt x="1591077" y="1099864"/>
                  <a:pt x="1591626" y="1101281"/>
                  <a:pt x="1586956" y="1101389"/>
                </a:cubicBezTo>
                <a:lnTo>
                  <a:pt x="1586956" y="1088422"/>
                </a:lnTo>
                <a:lnTo>
                  <a:pt x="1586132" y="1090492"/>
                </a:lnTo>
                <a:cubicBezTo>
                  <a:pt x="1584758" y="1093543"/>
                  <a:pt x="1583110" y="1095614"/>
                  <a:pt x="1581737" y="1095832"/>
                </a:cubicBezTo>
                <a:cubicBezTo>
                  <a:pt x="1579814" y="1095941"/>
                  <a:pt x="1579539" y="1094088"/>
                  <a:pt x="1579539" y="1094088"/>
                </a:cubicBezTo>
                <a:cubicBezTo>
                  <a:pt x="1575694" y="1094415"/>
                  <a:pt x="1575969" y="1098229"/>
                  <a:pt x="1575969" y="1098229"/>
                </a:cubicBezTo>
                <a:lnTo>
                  <a:pt x="1572672" y="1098556"/>
                </a:lnTo>
                <a:lnTo>
                  <a:pt x="1572947" y="1098665"/>
                </a:lnTo>
                <a:cubicBezTo>
                  <a:pt x="1572947" y="1101607"/>
                  <a:pt x="1572672" y="1104441"/>
                  <a:pt x="1572122" y="1106402"/>
                </a:cubicBezTo>
                <a:lnTo>
                  <a:pt x="1569101" y="1099646"/>
                </a:lnTo>
                <a:lnTo>
                  <a:pt x="1563882" y="1101498"/>
                </a:lnTo>
                <a:cubicBezTo>
                  <a:pt x="1556190" y="1105857"/>
                  <a:pt x="1550421" y="1113594"/>
                  <a:pt x="1545751" y="1112614"/>
                </a:cubicBezTo>
                <a:cubicBezTo>
                  <a:pt x="1543280" y="1112832"/>
                  <a:pt x="1541082" y="1114031"/>
                  <a:pt x="1539433" y="1115665"/>
                </a:cubicBezTo>
                <a:lnTo>
                  <a:pt x="1537237" y="1118171"/>
                </a:lnTo>
                <a:lnTo>
                  <a:pt x="1537511" y="1118171"/>
                </a:lnTo>
                <a:cubicBezTo>
                  <a:pt x="1555366" y="1120460"/>
                  <a:pt x="1554817" y="1125800"/>
                  <a:pt x="1555641" y="1137023"/>
                </a:cubicBezTo>
                <a:cubicBezTo>
                  <a:pt x="1554817" y="1135716"/>
                  <a:pt x="1554268" y="1137896"/>
                  <a:pt x="1554268" y="1137896"/>
                </a:cubicBezTo>
                <a:cubicBezTo>
                  <a:pt x="1553993" y="1138876"/>
                  <a:pt x="1554268" y="1139421"/>
                  <a:pt x="1554817" y="1139748"/>
                </a:cubicBezTo>
                <a:lnTo>
                  <a:pt x="1555916" y="1139966"/>
                </a:lnTo>
                <a:lnTo>
                  <a:pt x="1557839" y="1135389"/>
                </a:lnTo>
                <a:cubicBezTo>
                  <a:pt x="1559212" y="1134191"/>
                  <a:pt x="1561409" y="1133537"/>
                  <a:pt x="1563882" y="1133537"/>
                </a:cubicBezTo>
                <a:cubicBezTo>
                  <a:pt x="1563057" y="1145088"/>
                  <a:pt x="1561134" y="1147267"/>
                  <a:pt x="1559487" y="1168626"/>
                </a:cubicBezTo>
                <a:cubicBezTo>
                  <a:pt x="1557839" y="1174510"/>
                  <a:pt x="1558388" y="1178216"/>
                  <a:pt x="1556739" y="1182247"/>
                </a:cubicBezTo>
                <a:lnTo>
                  <a:pt x="1555916" y="1182356"/>
                </a:lnTo>
                <a:lnTo>
                  <a:pt x="1564706" y="1184318"/>
                </a:lnTo>
                <a:lnTo>
                  <a:pt x="1565256" y="1181157"/>
                </a:lnTo>
                <a:cubicBezTo>
                  <a:pt x="1570200" y="1181811"/>
                  <a:pt x="1571573" y="1184427"/>
                  <a:pt x="1571573" y="1187696"/>
                </a:cubicBezTo>
                <a:lnTo>
                  <a:pt x="1571573" y="1188132"/>
                </a:lnTo>
                <a:lnTo>
                  <a:pt x="1577342" y="1192817"/>
                </a:lnTo>
                <a:lnTo>
                  <a:pt x="1580089" y="1182356"/>
                </a:lnTo>
                <a:cubicBezTo>
                  <a:pt x="1581462" y="1178651"/>
                  <a:pt x="1582835" y="1175055"/>
                  <a:pt x="1584483" y="1171895"/>
                </a:cubicBezTo>
                <a:cubicBezTo>
                  <a:pt x="1587231" y="1165248"/>
                  <a:pt x="1590802" y="1158273"/>
                  <a:pt x="1595196" y="1156094"/>
                </a:cubicBezTo>
                <a:lnTo>
                  <a:pt x="1595746" y="1156094"/>
                </a:lnTo>
                <a:lnTo>
                  <a:pt x="1597944" y="1152498"/>
                </a:lnTo>
                <a:cubicBezTo>
                  <a:pt x="1601790" y="1148357"/>
                  <a:pt x="1606459" y="1146396"/>
                  <a:pt x="1610305" y="1152389"/>
                </a:cubicBezTo>
                <a:lnTo>
                  <a:pt x="1604811" y="1160017"/>
                </a:lnTo>
                <a:lnTo>
                  <a:pt x="1608108" y="1162741"/>
                </a:lnTo>
                <a:cubicBezTo>
                  <a:pt x="1609756" y="1166119"/>
                  <a:pt x="1610579" y="1170478"/>
                  <a:pt x="1610031" y="1175164"/>
                </a:cubicBezTo>
                <a:lnTo>
                  <a:pt x="1609481" y="1176799"/>
                </a:lnTo>
                <a:lnTo>
                  <a:pt x="1615249" y="1176581"/>
                </a:lnTo>
                <a:lnTo>
                  <a:pt x="1615249" y="1176254"/>
                </a:lnTo>
                <a:cubicBezTo>
                  <a:pt x="1620744" y="1159690"/>
                  <a:pt x="1636127" y="1148902"/>
                  <a:pt x="1652333" y="1148792"/>
                </a:cubicBezTo>
                <a:lnTo>
                  <a:pt x="1653158" y="1148902"/>
                </a:lnTo>
                <a:lnTo>
                  <a:pt x="1653707" y="1145523"/>
                </a:lnTo>
                <a:cubicBezTo>
                  <a:pt x="1655080" y="1141709"/>
                  <a:pt x="1657278" y="1138659"/>
                  <a:pt x="1660299" y="1140293"/>
                </a:cubicBezTo>
                <a:cubicBezTo>
                  <a:pt x="1662772" y="1142254"/>
                  <a:pt x="1661673" y="1145959"/>
                  <a:pt x="1659750" y="1149011"/>
                </a:cubicBezTo>
                <a:lnTo>
                  <a:pt x="1659476" y="1149229"/>
                </a:lnTo>
                <a:lnTo>
                  <a:pt x="1674034" y="1150100"/>
                </a:lnTo>
                <a:lnTo>
                  <a:pt x="1685846" y="1155440"/>
                </a:lnTo>
                <a:lnTo>
                  <a:pt x="1688319" y="1152498"/>
                </a:lnTo>
                <a:cubicBezTo>
                  <a:pt x="1690242" y="1153043"/>
                  <a:pt x="1690790" y="1154242"/>
                  <a:pt x="1692713" y="1154677"/>
                </a:cubicBezTo>
                <a:cubicBezTo>
                  <a:pt x="1693813" y="1153914"/>
                  <a:pt x="1696285" y="1152389"/>
                  <a:pt x="1698207" y="1152825"/>
                </a:cubicBezTo>
                <a:lnTo>
                  <a:pt x="1699856" y="1153588"/>
                </a:lnTo>
                <a:lnTo>
                  <a:pt x="1699856" y="1152062"/>
                </a:lnTo>
                <a:lnTo>
                  <a:pt x="1715239" y="1153479"/>
                </a:lnTo>
                <a:lnTo>
                  <a:pt x="1709195" y="1151081"/>
                </a:lnTo>
                <a:lnTo>
                  <a:pt x="1706723" y="1146396"/>
                </a:lnTo>
                <a:lnTo>
                  <a:pt x="1705075" y="1146940"/>
                </a:lnTo>
                <a:cubicBezTo>
                  <a:pt x="1699307" y="1149446"/>
                  <a:pt x="1693813" y="1151626"/>
                  <a:pt x="1689143" y="1150972"/>
                </a:cubicBezTo>
                <a:cubicBezTo>
                  <a:pt x="1686121" y="1150645"/>
                  <a:pt x="1683649" y="1149337"/>
                  <a:pt x="1682000" y="1146613"/>
                </a:cubicBezTo>
                <a:lnTo>
                  <a:pt x="1678430" y="1134191"/>
                </a:lnTo>
                <a:lnTo>
                  <a:pt x="1672661" y="1138440"/>
                </a:lnTo>
                <a:cubicBezTo>
                  <a:pt x="1667991" y="1136915"/>
                  <a:pt x="1664969" y="1131575"/>
                  <a:pt x="1663596" y="1125582"/>
                </a:cubicBezTo>
                <a:cubicBezTo>
                  <a:pt x="1662223" y="1119697"/>
                  <a:pt x="1662498" y="1113268"/>
                  <a:pt x="1664694" y="1109344"/>
                </a:cubicBezTo>
                <a:cubicBezTo>
                  <a:pt x="1670737" y="1106075"/>
                  <a:pt x="1675407" y="1105749"/>
                  <a:pt x="1678704" y="1107383"/>
                </a:cubicBezTo>
                <a:cubicBezTo>
                  <a:pt x="1686395" y="1110870"/>
                  <a:pt x="1687220" y="1123620"/>
                  <a:pt x="1681176" y="1132011"/>
                </a:cubicBezTo>
                <a:lnTo>
                  <a:pt x="1678979" y="1133754"/>
                </a:lnTo>
                <a:lnTo>
                  <a:pt x="1690242" y="1135934"/>
                </a:lnTo>
                <a:lnTo>
                  <a:pt x="1704251" y="1135389"/>
                </a:lnTo>
                <a:lnTo>
                  <a:pt x="1704526" y="1134191"/>
                </a:lnTo>
                <a:cubicBezTo>
                  <a:pt x="1704526" y="1134191"/>
                  <a:pt x="1704526" y="1134191"/>
                  <a:pt x="1702328" y="1132447"/>
                </a:cubicBezTo>
                <a:cubicBezTo>
                  <a:pt x="1705899" y="1131357"/>
                  <a:pt x="1707547" y="1129723"/>
                  <a:pt x="1708921" y="1127979"/>
                </a:cubicBezTo>
                <a:lnTo>
                  <a:pt x="1710844" y="1126236"/>
                </a:lnTo>
                <a:lnTo>
                  <a:pt x="1704251" y="1123293"/>
                </a:lnTo>
                <a:cubicBezTo>
                  <a:pt x="1703701" y="1122530"/>
                  <a:pt x="1703426" y="1121658"/>
                  <a:pt x="1703976" y="1120678"/>
                </a:cubicBezTo>
                <a:cubicBezTo>
                  <a:pt x="1705625" y="1121332"/>
                  <a:pt x="1708096" y="1121768"/>
                  <a:pt x="1710295" y="1122639"/>
                </a:cubicBezTo>
                <a:lnTo>
                  <a:pt x="1712217" y="1124928"/>
                </a:lnTo>
                <a:lnTo>
                  <a:pt x="1714414" y="1122857"/>
                </a:lnTo>
                <a:cubicBezTo>
                  <a:pt x="1716338" y="1121985"/>
                  <a:pt x="1719084" y="1121223"/>
                  <a:pt x="1722930" y="1120787"/>
                </a:cubicBezTo>
                <a:cubicBezTo>
                  <a:pt x="1728699" y="1120242"/>
                  <a:pt x="1733094" y="1122748"/>
                  <a:pt x="1735566" y="1126345"/>
                </a:cubicBezTo>
                <a:lnTo>
                  <a:pt x="1738313" y="1137351"/>
                </a:lnTo>
                <a:lnTo>
                  <a:pt x="1742708" y="1134844"/>
                </a:lnTo>
                <a:cubicBezTo>
                  <a:pt x="1753421" y="1132992"/>
                  <a:pt x="1766606" y="1140729"/>
                  <a:pt x="1773199" y="1146504"/>
                </a:cubicBezTo>
                <a:cubicBezTo>
                  <a:pt x="1766881" y="1146940"/>
                  <a:pt x="1760563" y="1147703"/>
                  <a:pt x="1753971" y="1147158"/>
                </a:cubicBezTo>
                <a:cubicBezTo>
                  <a:pt x="1750400" y="1146940"/>
                  <a:pt x="1747103" y="1146396"/>
                  <a:pt x="1743807" y="1145306"/>
                </a:cubicBezTo>
                <a:lnTo>
                  <a:pt x="1737214" y="1142254"/>
                </a:lnTo>
                <a:lnTo>
                  <a:pt x="1735017" y="1148792"/>
                </a:lnTo>
                <a:cubicBezTo>
                  <a:pt x="1733094" y="1151626"/>
                  <a:pt x="1730347" y="1153914"/>
                  <a:pt x="1728424" y="1155004"/>
                </a:cubicBezTo>
                <a:cubicBezTo>
                  <a:pt x="1728424" y="1155004"/>
                  <a:pt x="1724304" y="1153588"/>
                  <a:pt x="1722381" y="1153697"/>
                </a:cubicBezTo>
                <a:lnTo>
                  <a:pt x="1721557" y="1154568"/>
                </a:lnTo>
                <a:lnTo>
                  <a:pt x="1730347" y="1158273"/>
                </a:lnTo>
                <a:cubicBezTo>
                  <a:pt x="1733918" y="1160235"/>
                  <a:pt x="1737764" y="1162633"/>
                  <a:pt x="1741335" y="1165793"/>
                </a:cubicBezTo>
                <a:cubicBezTo>
                  <a:pt x="1742433" y="1175709"/>
                  <a:pt x="1735840" y="1179087"/>
                  <a:pt x="1727326" y="1178433"/>
                </a:cubicBezTo>
                <a:cubicBezTo>
                  <a:pt x="1716887" y="1177562"/>
                  <a:pt x="1703976" y="1170261"/>
                  <a:pt x="1700130" y="1161434"/>
                </a:cubicBezTo>
                <a:lnTo>
                  <a:pt x="1699856" y="1155658"/>
                </a:lnTo>
                <a:lnTo>
                  <a:pt x="1699032" y="1155658"/>
                </a:lnTo>
                <a:cubicBezTo>
                  <a:pt x="1698757" y="1155440"/>
                  <a:pt x="1698482" y="1155222"/>
                  <a:pt x="1697658" y="1154895"/>
                </a:cubicBezTo>
                <a:cubicBezTo>
                  <a:pt x="1696834" y="1154677"/>
                  <a:pt x="1694362" y="1154895"/>
                  <a:pt x="1692164" y="1155440"/>
                </a:cubicBezTo>
                <a:lnTo>
                  <a:pt x="1689143" y="1156966"/>
                </a:lnTo>
                <a:lnTo>
                  <a:pt x="1690790" y="1157620"/>
                </a:lnTo>
                <a:cubicBezTo>
                  <a:pt x="1700130" y="1164485"/>
                  <a:pt x="1705625" y="1174510"/>
                  <a:pt x="1705625" y="1185953"/>
                </a:cubicBezTo>
                <a:cubicBezTo>
                  <a:pt x="1706174" y="1190202"/>
                  <a:pt x="1705350" y="1195106"/>
                  <a:pt x="1703426" y="1200010"/>
                </a:cubicBezTo>
                <a:lnTo>
                  <a:pt x="1697658" y="1209599"/>
                </a:lnTo>
                <a:lnTo>
                  <a:pt x="1700130" y="1208183"/>
                </a:lnTo>
                <a:cubicBezTo>
                  <a:pt x="1705075" y="1208292"/>
                  <a:pt x="1708096" y="1207965"/>
                  <a:pt x="1709470" y="1213632"/>
                </a:cubicBezTo>
                <a:cubicBezTo>
                  <a:pt x="1708921" y="1214067"/>
                  <a:pt x="1707547" y="1214067"/>
                  <a:pt x="1706174" y="1213850"/>
                </a:cubicBezTo>
                <a:cubicBezTo>
                  <a:pt x="1705075" y="1213632"/>
                  <a:pt x="1703426" y="1213305"/>
                  <a:pt x="1702603" y="1213087"/>
                </a:cubicBezTo>
                <a:cubicBezTo>
                  <a:pt x="1701229" y="1213850"/>
                  <a:pt x="1699582" y="1213413"/>
                  <a:pt x="1698757" y="1212215"/>
                </a:cubicBezTo>
                <a:lnTo>
                  <a:pt x="1696010" y="1212542"/>
                </a:lnTo>
                <a:lnTo>
                  <a:pt x="1694912" y="1214286"/>
                </a:lnTo>
                <a:cubicBezTo>
                  <a:pt x="1691340" y="1218753"/>
                  <a:pt x="1686945" y="1222567"/>
                  <a:pt x="1682000" y="1225292"/>
                </a:cubicBezTo>
                <a:lnTo>
                  <a:pt x="1674584" y="1227580"/>
                </a:lnTo>
                <a:lnTo>
                  <a:pt x="1676781" y="1227254"/>
                </a:lnTo>
                <a:cubicBezTo>
                  <a:pt x="1677606" y="1227254"/>
                  <a:pt x="1677881" y="1227144"/>
                  <a:pt x="1678430" y="1226490"/>
                </a:cubicBezTo>
                <a:cubicBezTo>
                  <a:pt x="1678979" y="1229542"/>
                  <a:pt x="1678430" y="1231721"/>
                  <a:pt x="1677056" y="1233683"/>
                </a:cubicBezTo>
                <a:lnTo>
                  <a:pt x="1674584" y="1236189"/>
                </a:lnTo>
                <a:lnTo>
                  <a:pt x="1677606" y="1236952"/>
                </a:lnTo>
                <a:cubicBezTo>
                  <a:pt x="1682000" y="1238150"/>
                  <a:pt x="1690790" y="1243491"/>
                  <a:pt x="1694087" y="1241093"/>
                </a:cubicBezTo>
                <a:cubicBezTo>
                  <a:pt x="1693538" y="1243926"/>
                  <a:pt x="1698207" y="1245125"/>
                  <a:pt x="1704251" y="1247195"/>
                </a:cubicBezTo>
                <a:cubicBezTo>
                  <a:pt x="1709195" y="1249701"/>
                  <a:pt x="1715513" y="1251663"/>
                  <a:pt x="1715513" y="1255695"/>
                </a:cubicBezTo>
                <a:cubicBezTo>
                  <a:pt x="1715513" y="1255695"/>
                  <a:pt x="1717161" y="1256458"/>
                  <a:pt x="1717161" y="1256458"/>
                </a:cubicBezTo>
                <a:lnTo>
                  <a:pt x="1719634" y="1257766"/>
                </a:lnTo>
                <a:lnTo>
                  <a:pt x="1722106" y="1255477"/>
                </a:lnTo>
                <a:cubicBezTo>
                  <a:pt x="1724578" y="1253734"/>
                  <a:pt x="1727051" y="1252426"/>
                  <a:pt x="1729522" y="1252426"/>
                </a:cubicBezTo>
                <a:cubicBezTo>
                  <a:pt x="1730896" y="1252426"/>
                  <a:pt x="1732544" y="1253080"/>
                  <a:pt x="1733918" y="1254278"/>
                </a:cubicBezTo>
                <a:lnTo>
                  <a:pt x="1735291" y="1256240"/>
                </a:lnTo>
                <a:lnTo>
                  <a:pt x="1737489" y="1257003"/>
                </a:lnTo>
                <a:lnTo>
                  <a:pt x="1752048" y="1253407"/>
                </a:lnTo>
                <a:lnTo>
                  <a:pt x="1746279" y="1252535"/>
                </a:lnTo>
                <a:cubicBezTo>
                  <a:pt x="1747927" y="1252644"/>
                  <a:pt x="1747927" y="1252644"/>
                  <a:pt x="1747927" y="1252644"/>
                </a:cubicBezTo>
                <a:cubicBezTo>
                  <a:pt x="1749301" y="1251228"/>
                  <a:pt x="1747652" y="1251228"/>
                  <a:pt x="1747652" y="1249701"/>
                </a:cubicBezTo>
                <a:cubicBezTo>
                  <a:pt x="1747652" y="1249701"/>
                  <a:pt x="1747927" y="1251118"/>
                  <a:pt x="1746279" y="1249593"/>
                </a:cubicBezTo>
                <a:cubicBezTo>
                  <a:pt x="1747652" y="1249701"/>
                  <a:pt x="1747652" y="1248176"/>
                  <a:pt x="1747652" y="1246651"/>
                </a:cubicBezTo>
                <a:cubicBezTo>
                  <a:pt x="1750400" y="1243817"/>
                  <a:pt x="1754520" y="1241093"/>
                  <a:pt x="1757541" y="1242727"/>
                </a:cubicBezTo>
                <a:cubicBezTo>
                  <a:pt x="1759190" y="1244253"/>
                  <a:pt x="1759465" y="1245778"/>
                  <a:pt x="1759190" y="1247086"/>
                </a:cubicBezTo>
                <a:lnTo>
                  <a:pt x="1758365" y="1248939"/>
                </a:lnTo>
                <a:lnTo>
                  <a:pt x="1760563" y="1251336"/>
                </a:lnTo>
                <a:lnTo>
                  <a:pt x="1777594" y="1247195"/>
                </a:lnTo>
                <a:cubicBezTo>
                  <a:pt x="1785560" y="1258637"/>
                  <a:pt x="1803965" y="1263214"/>
                  <a:pt x="1813855" y="1274220"/>
                </a:cubicBezTo>
                <a:lnTo>
                  <a:pt x="1818249" y="1284246"/>
                </a:lnTo>
                <a:lnTo>
                  <a:pt x="1823194" y="1285881"/>
                </a:lnTo>
                <a:cubicBezTo>
                  <a:pt x="1821546" y="1285118"/>
                  <a:pt x="1820721" y="1282612"/>
                  <a:pt x="1822919" y="1280650"/>
                </a:cubicBezTo>
                <a:cubicBezTo>
                  <a:pt x="1833632" y="1279887"/>
                  <a:pt x="1833632" y="1288061"/>
                  <a:pt x="1841873" y="1292092"/>
                </a:cubicBezTo>
                <a:lnTo>
                  <a:pt x="1842972" y="1293182"/>
                </a:lnTo>
                <a:lnTo>
                  <a:pt x="1846543" y="1290240"/>
                </a:lnTo>
                <a:cubicBezTo>
                  <a:pt x="1846269" y="1288823"/>
                  <a:pt x="1845994" y="1285881"/>
                  <a:pt x="1847092" y="1284355"/>
                </a:cubicBezTo>
                <a:cubicBezTo>
                  <a:pt x="1848465" y="1282830"/>
                  <a:pt x="1850938" y="1281195"/>
                  <a:pt x="1850938" y="1281195"/>
                </a:cubicBezTo>
                <a:cubicBezTo>
                  <a:pt x="1852586" y="1282612"/>
                  <a:pt x="1852586" y="1282612"/>
                  <a:pt x="1851213" y="1282721"/>
                </a:cubicBezTo>
                <a:cubicBezTo>
                  <a:pt x="1850113" y="1285772"/>
                  <a:pt x="1849839" y="1284246"/>
                  <a:pt x="1848740" y="1285772"/>
                </a:cubicBezTo>
                <a:cubicBezTo>
                  <a:pt x="1847642" y="1287298"/>
                  <a:pt x="1845719" y="1294817"/>
                  <a:pt x="1847367" y="1296234"/>
                </a:cubicBezTo>
                <a:lnTo>
                  <a:pt x="1847092" y="1296452"/>
                </a:lnTo>
                <a:lnTo>
                  <a:pt x="1847642" y="1296997"/>
                </a:lnTo>
                <a:cubicBezTo>
                  <a:pt x="1851213" y="1295798"/>
                  <a:pt x="1854783" y="1297432"/>
                  <a:pt x="1857531" y="1297868"/>
                </a:cubicBezTo>
                <a:cubicBezTo>
                  <a:pt x="1859178" y="1298631"/>
                  <a:pt x="1859728" y="1299938"/>
                  <a:pt x="1859728" y="1299938"/>
                </a:cubicBezTo>
                <a:cubicBezTo>
                  <a:pt x="1860003" y="1301137"/>
                  <a:pt x="1858904" y="1301465"/>
                  <a:pt x="1857531" y="1301900"/>
                </a:cubicBezTo>
                <a:cubicBezTo>
                  <a:pt x="1855882" y="1301028"/>
                  <a:pt x="1855882" y="1301028"/>
                  <a:pt x="1854234" y="1300266"/>
                </a:cubicBezTo>
                <a:cubicBezTo>
                  <a:pt x="1856432" y="1302227"/>
                  <a:pt x="1858355" y="1304298"/>
                  <a:pt x="1858904" y="1305496"/>
                </a:cubicBezTo>
                <a:cubicBezTo>
                  <a:pt x="1858904" y="1305496"/>
                  <a:pt x="1860552" y="1306368"/>
                  <a:pt x="1860552" y="1306368"/>
                </a:cubicBezTo>
                <a:cubicBezTo>
                  <a:pt x="1862201" y="1307130"/>
                  <a:pt x="1863300" y="1306804"/>
                  <a:pt x="1863848" y="1308003"/>
                </a:cubicBezTo>
                <a:cubicBezTo>
                  <a:pt x="1865496" y="1304734"/>
                  <a:pt x="1870441" y="1307240"/>
                  <a:pt x="1870716" y="1304406"/>
                </a:cubicBezTo>
                <a:cubicBezTo>
                  <a:pt x="1875661" y="1306804"/>
                  <a:pt x="1883626" y="1309746"/>
                  <a:pt x="1891318" y="1312580"/>
                </a:cubicBezTo>
                <a:lnTo>
                  <a:pt x="1895439" y="1314105"/>
                </a:lnTo>
                <a:lnTo>
                  <a:pt x="1895713" y="1313560"/>
                </a:lnTo>
                <a:lnTo>
                  <a:pt x="1895713" y="1313451"/>
                </a:lnTo>
                <a:lnTo>
                  <a:pt x="1896537" y="1311163"/>
                </a:lnTo>
                <a:lnTo>
                  <a:pt x="1897086" y="1310400"/>
                </a:lnTo>
                <a:lnTo>
                  <a:pt x="1898734" y="1306913"/>
                </a:lnTo>
                <a:lnTo>
                  <a:pt x="1898460" y="1305169"/>
                </a:lnTo>
                <a:lnTo>
                  <a:pt x="1901207" y="1300375"/>
                </a:lnTo>
                <a:lnTo>
                  <a:pt x="1902855" y="1293074"/>
                </a:lnTo>
                <a:lnTo>
                  <a:pt x="1900108" y="1292964"/>
                </a:lnTo>
                <a:cubicBezTo>
                  <a:pt x="1898460" y="1292420"/>
                  <a:pt x="1897086" y="1291547"/>
                  <a:pt x="1895988" y="1290458"/>
                </a:cubicBezTo>
                <a:lnTo>
                  <a:pt x="1894339" y="1287407"/>
                </a:lnTo>
                <a:lnTo>
                  <a:pt x="1894064" y="1290131"/>
                </a:lnTo>
                <a:cubicBezTo>
                  <a:pt x="1892691" y="1288497"/>
                  <a:pt x="1889670" y="1289477"/>
                  <a:pt x="1888296" y="1287733"/>
                </a:cubicBezTo>
                <a:cubicBezTo>
                  <a:pt x="1888296" y="1287733"/>
                  <a:pt x="1887197" y="1283048"/>
                  <a:pt x="1887197" y="1283048"/>
                </a:cubicBezTo>
                <a:cubicBezTo>
                  <a:pt x="1888570" y="1281849"/>
                  <a:pt x="1888845" y="1281849"/>
                  <a:pt x="1888570" y="1283266"/>
                </a:cubicBezTo>
                <a:lnTo>
                  <a:pt x="1893515" y="1282830"/>
                </a:lnTo>
                <a:lnTo>
                  <a:pt x="1892966" y="1277817"/>
                </a:lnTo>
                <a:lnTo>
                  <a:pt x="1893790" y="1275311"/>
                </a:lnTo>
                <a:lnTo>
                  <a:pt x="1893240" y="1273021"/>
                </a:lnTo>
                <a:lnTo>
                  <a:pt x="1884176" y="1275311"/>
                </a:lnTo>
                <a:cubicBezTo>
                  <a:pt x="1880330" y="1276073"/>
                  <a:pt x="1876759" y="1276727"/>
                  <a:pt x="1874013" y="1276618"/>
                </a:cubicBezTo>
                <a:lnTo>
                  <a:pt x="1873463" y="1276291"/>
                </a:lnTo>
                <a:lnTo>
                  <a:pt x="1873463" y="1276727"/>
                </a:lnTo>
                <a:lnTo>
                  <a:pt x="1872914" y="1276182"/>
                </a:lnTo>
                <a:lnTo>
                  <a:pt x="1870166" y="1275202"/>
                </a:lnTo>
                <a:cubicBezTo>
                  <a:pt x="1870991" y="1273894"/>
                  <a:pt x="1871814" y="1272586"/>
                  <a:pt x="1874013" y="1272041"/>
                </a:cubicBezTo>
                <a:cubicBezTo>
                  <a:pt x="1875935" y="1271496"/>
                  <a:pt x="1875111" y="1272804"/>
                  <a:pt x="1875935" y="1271496"/>
                </a:cubicBezTo>
                <a:cubicBezTo>
                  <a:pt x="1877858" y="1270951"/>
                  <a:pt x="1876759" y="1270189"/>
                  <a:pt x="1876759" y="1270189"/>
                </a:cubicBezTo>
                <a:cubicBezTo>
                  <a:pt x="1876759" y="1270189"/>
                  <a:pt x="1877858" y="1270951"/>
                  <a:pt x="1877858" y="1270951"/>
                </a:cubicBezTo>
                <a:cubicBezTo>
                  <a:pt x="1877858" y="1270951"/>
                  <a:pt x="1877858" y="1270951"/>
                  <a:pt x="1881978" y="1269861"/>
                </a:cubicBezTo>
                <a:cubicBezTo>
                  <a:pt x="1886648" y="1267464"/>
                  <a:pt x="1887472" y="1266157"/>
                  <a:pt x="1890219" y="1264413"/>
                </a:cubicBezTo>
                <a:cubicBezTo>
                  <a:pt x="1894339" y="1263214"/>
                  <a:pt x="1895439" y="1263977"/>
                  <a:pt x="1900383" y="1263650"/>
                </a:cubicBezTo>
                <a:cubicBezTo>
                  <a:pt x="1902031" y="1266375"/>
                  <a:pt x="1902031" y="1266375"/>
                  <a:pt x="1901207" y="1267682"/>
                </a:cubicBezTo>
                <a:cubicBezTo>
                  <a:pt x="1902031" y="1266375"/>
                  <a:pt x="1903130" y="1267137"/>
                  <a:pt x="1905052" y="1266592"/>
                </a:cubicBezTo>
                <a:cubicBezTo>
                  <a:pt x="1912744" y="1262343"/>
                  <a:pt x="1916590" y="1268554"/>
                  <a:pt x="1919062" y="1277381"/>
                </a:cubicBezTo>
                <a:cubicBezTo>
                  <a:pt x="1917139" y="1277926"/>
                  <a:pt x="1919062" y="1282830"/>
                  <a:pt x="1918513" y="1286099"/>
                </a:cubicBezTo>
                <a:cubicBezTo>
                  <a:pt x="1917139" y="1288061"/>
                  <a:pt x="1916315" y="1289695"/>
                  <a:pt x="1914941" y="1290894"/>
                </a:cubicBezTo>
                <a:lnTo>
                  <a:pt x="1914667" y="1291002"/>
                </a:lnTo>
                <a:lnTo>
                  <a:pt x="1915491" y="1300592"/>
                </a:lnTo>
                <a:cubicBezTo>
                  <a:pt x="1915216" y="1305169"/>
                  <a:pt x="1914117" y="1309201"/>
                  <a:pt x="1911096" y="1311598"/>
                </a:cubicBezTo>
                <a:lnTo>
                  <a:pt x="1907250" y="1313015"/>
                </a:lnTo>
                <a:lnTo>
                  <a:pt x="1910546" y="1317048"/>
                </a:lnTo>
                <a:lnTo>
                  <a:pt x="1910821" y="1319444"/>
                </a:lnTo>
                <a:lnTo>
                  <a:pt x="1913293" y="1320426"/>
                </a:lnTo>
                <a:cubicBezTo>
                  <a:pt x="1914941" y="1321297"/>
                  <a:pt x="1915765" y="1319663"/>
                  <a:pt x="1916590" y="1318028"/>
                </a:cubicBezTo>
                <a:cubicBezTo>
                  <a:pt x="1921259" y="1323367"/>
                  <a:pt x="1929500" y="1327291"/>
                  <a:pt x="1936368" y="1331868"/>
                </a:cubicBezTo>
                <a:cubicBezTo>
                  <a:pt x="1943510" y="1336335"/>
                  <a:pt x="1950652" y="1340803"/>
                  <a:pt x="1953398" y="1345271"/>
                </a:cubicBezTo>
                <a:cubicBezTo>
                  <a:pt x="1959992" y="1344508"/>
                  <a:pt x="1967408" y="1350284"/>
                  <a:pt x="1974825" y="1355951"/>
                </a:cubicBezTo>
                <a:cubicBezTo>
                  <a:pt x="1982242" y="1361727"/>
                  <a:pt x="1991032" y="1366957"/>
                  <a:pt x="1998174" y="1367392"/>
                </a:cubicBezTo>
                <a:cubicBezTo>
                  <a:pt x="2000097" y="1371425"/>
                  <a:pt x="2004218" y="1375239"/>
                  <a:pt x="2008338" y="1378835"/>
                </a:cubicBezTo>
                <a:lnTo>
                  <a:pt x="2016853" y="1388207"/>
                </a:lnTo>
                <a:lnTo>
                  <a:pt x="2019601" y="1389078"/>
                </a:lnTo>
                <a:cubicBezTo>
                  <a:pt x="2023446" y="1390277"/>
                  <a:pt x="2026742" y="1391585"/>
                  <a:pt x="2029489" y="1393328"/>
                </a:cubicBezTo>
                <a:lnTo>
                  <a:pt x="2030863" y="1394854"/>
                </a:lnTo>
                <a:lnTo>
                  <a:pt x="2031412" y="1395180"/>
                </a:lnTo>
                <a:lnTo>
                  <a:pt x="2033060" y="1398015"/>
                </a:lnTo>
                <a:lnTo>
                  <a:pt x="2033060" y="1398123"/>
                </a:lnTo>
                <a:lnTo>
                  <a:pt x="2034983" y="1393547"/>
                </a:lnTo>
                <a:cubicBezTo>
                  <a:pt x="2036906" y="1392348"/>
                  <a:pt x="2039927" y="1392893"/>
                  <a:pt x="2042675" y="1394200"/>
                </a:cubicBezTo>
                <a:lnTo>
                  <a:pt x="2048169" y="1399431"/>
                </a:lnTo>
                <a:lnTo>
                  <a:pt x="2048718" y="1398995"/>
                </a:lnTo>
                <a:lnTo>
                  <a:pt x="2049542" y="1395834"/>
                </a:lnTo>
                <a:lnTo>
                  <a:pt x="2058882" y="1378617"/>
                </a:lnTo>
                <a:lnTo>
                  <a:pt x="2054761" y="1378181"/>
                </a:lnTo>
                <a:cubicBezTo>
                  <a:pt x="2053663" y="1377855"/>
                  <a:pt x="2052564" y="1377418"/>
                  <a:pt x="2051464" y="1377527"/>
                </a:cubicBezTo>
                <a:cubicBezTo>
                  <a:pt x="2049267" y="1374040"/>
                  <a:pt x="2047345" y="1372405"/>
                  <a:pt x="2046795" y="1368700"/>
                </a:cubicBezTo>
                <a:cubicBezTo>
                  <a:pt x="2049542" y="1365650"/>
                  <a:pt x="2050641" y="1363688"/>
                  <a:pt x="2052289" y="1362380"/>
                </a:cubicBezTo>
                <a:cubicBezTo>
                  <a:pt x="2053663" y="1360963"/>
                  <a:pt x="2055585" y="1360309"/>
                  <a:pt x="2059431" y="1359874"/>
                </a:cubicBezTo>
                <a:cubicBezTo>
                  <a:pt x="2059980" y="1363688"/>
                  <a:pt x="2065474" y="1361290"/>
                  <a:pt x="2066298" y="1368700"/>
                </a:cubicBezTo>
                <a:lnTo>
                  <a:pt x="2065474" y="1372842"/>
                </a:lnTo>
                <a:lnTo>
                  <a:pt x="2074814" y="1365431"/>
                </a:lnTo>
                <a:cubicBezTo>
                  <a:pt x="2095691" y="1355624"/>
                  <a:pt x="2110524" y="1368810"/>
                  <a:pt x="2132774" y="1371752"/>
                </a:cubicBezTo>
                <a:cubicBezTo>
                  <a:pt x="2136071" y="1390495"/>
                  <a:pt x="2146784" y="1392674"/>
                  <a:pt x="2155025" y="1399648"/>
                </a:cubicBezTo>
                <a:cubicBezTo>
                  <a:pt x="2151454" y="1412290"/>
                  <a:pt x="2157223" y="1429398"/>
                  <a:pt x="2157223" y="1444546"/>
                </a:cubicBezTo>
                <a:cubicBezTo>
                  <a:pt x="2150905" y="1450212"/>
                  <a:pt x="2145685" y="1456533"/>
                  <a:pt x="2140466" y="1462635"/>
                </a:cubicBezTo>
                <a:lnTo>
                  <a:pt x="2131676" y="1472224"/>
                </a:lnTo>
                <a:lnTo>
                  <a:pt x="2131126" y="1476692"/>
                </a:lnTo>
                <a:lnTo>
                  <a:pt x="2127280" y="1477020"/>
                </a:lnTo>
                <a:lnTo>
                  <a:pt x="2123710" y="1480725"/>
                </a:lnTo>
                <a:lnTo>
                  <a:pt x="2121786" y="1480398"/>
                </a:lnTo>
                <a:lnTo>
                  <a:pt x="2135796" y="1507968"/>
                </a:lnTo>
                <a:cubicBezTo>
                  <a:pt x="2136346" y="1509166"/>
                  <a:pt x="2136346" y="1509276"/>
                  <a:pt x="2136895" y="1510474"/>
                </a:cubicBezTo>
                <a:cubicBezTo>
                  <a:pt x="2138543" y="1511238"/>
                  <a:pt x="2138818" y="1512436"/>
                  <a:pt x="2139093" y="1513634"/>
                </a:cubicBezTo>
                <a:cubicBezTo>
                  <a:pt x="2142389" y="1513308"/>
                  <a:pt x="2146235" y="1513853"/>
                  <a:pt x="2149256" y="1513525"/>
                </a:cubicBezTo>
                <a:lnTo>
                  <a:pt x="2149806" y="1513308"/>
                </a:lnTo>
                <a:lnTo>
                  <a:pt x="2157223" y="1505353"/>
                </a:lnTo>
                <a:lnTo>
                  <a:pt x="2158870" y="1504481"/>
                </a:lnTo>
                <a:lnTo>
                  <a:pt x="2155575" y="1497725"/>
                </a:lnTo>
                <a:cubicBezTo>
                  <a:pt x="2159145" y="1497942"/>
                  <a:pt x="2161618" y="1499032"/>
                  <a:pt x="2163815" y="1500775"/>
                </a:cubicBezTo>
                <a:lnTo>
                  <a:pt x="2166562" y="1503609"/>
                </a:lnTo>
                <a:lnTo>
                  <a:pt x="2173704" y="1507532"/>
                </a:lnTo>
                <a:lnTo>
                  <a:pt x="2176726" y="1507096"/>
                </a:lnTo>
                <a:lnTo>
                  <a:pt x="2178649" y="1507750"/>
                </a:lnTo>
                <a:lnTo>
                  <a:pt x="2183593" y="1498270"/>
                </a:lnTo>
                <a:cubicBezTo>
                  <a:pt x="2186065" y="1493802"/>
                  <a:pt x="2188813" y="1490314"/>
                  <a:pt x="2191010" y="1490096"/>
                </a:cubicBezTo>
                <a:cubicBezTo>
                  <a:pt x="2191559" y="1491513"/>
                  <a:pt x="2191834" y="1492929"/>
                  <a:pt x="2191010" y="1494782"/>
                </a:cubicBezTo>
                <a:cubicBezTo>
                  <a:pt x="2190186" y="1496743"/>
                  <a:pt x="2189637" y="1495436"/>
                  <a:pt x="2190186" y="1496852"/>
                </a:cubicBezTo>
                <a:cubicBezTo>
                  <a:pt x="2189362" y="1498705"/>
                  <a:pt x="2190460" y="1498270"/>
                  <a:pt x="2190460" y="1498270"/>
                </a:cubicBezTo>
                <a:cubicBezTo>
                  <a:pt x="2190460" y="1498270"/>
                  <a:pt x="2189087" y="1498814"/>
                  <a:pt x="2189087" y="1498814"/>
                </a:cubicBezTo>
                <a:cubicBezTo>
                  <a:pt x="2189087" y="1498814"/>
                  <a:pt x="2189087" y="1498705"/>
                  <a:pt x="2187439" y="1502628"/>
                </a:cubicBezTo>
                <a:cubicBezTo>
                  <a:pt x="2185791" y="1507859"/>
                  <a:pt x="2186340" y="1509276"/>
                  <a:pt x="2185791" y="1512545"/>
                </a:cubicBezTo>
                <a:lnTo>
                  <a:pt x="2185516" y="1513199"/>
                </a:lnTo>
                <a:lnTo>
                  <a:pt x="2188263" y="1517557"/>
                </a:lnTo>
                <a:lnTo>
                  <a:pt x="2187439" y="1528455"/>
                </a:lnTo>
                <a:lnTo>
                  <a:pt x="2188263" y="1530307"/>
                </a:lnTo>
                <a:cubicBezTo>
                  <a:pt x="2189087" y="1534558"/>
                  <a:pt x="2189087" y="1538807"/>
                  <a:pt x="2189362" y="1543493"/>
                </a:cubicBezTo>
                <a:cubicBezTo>
                  <a:pt x="2191010" y="1544256"/>
                  <a:pt x="2192933" y="1546327"/>
                  <a:pt x="2195130" y="1548397"/>
                </a:cubicBezTo>
                <a:lnTo>
                  <a:pt x="2196778" y="1550358"/>
                </a:lnTo>
                <a:lnTo>
                  <a:pt x="2209414" y="1551121"/>
                </a:lnTo>
                <a:cubicBezTo>
                  <a:pt x="2217381" y="1552320"/>
                  <a:pt x="2224797" y="1554499"/>
                  <a:pt x="2229467" y="1558422"/>
                </a:cubicBezTo>
                <a:cubicBezTo>
                  <a:pt x="2227544" y="1562236"/>
                  <a:pt x="2224248" y="1564198"/>
                  <a:pt x="2220127" y="1564743"/>
                </a:cubicBezTo>
                <a:cubicBezTo>
                  <a:pt x="2217381" y="1565070"/>
                  <a:pt x="2213809" y="1564634"/>
                  <a:pt x="2210514" y="1563871"/>
                </a:cubicBezTo>
                <a:lnTo>
                  <a:pt x="2203371" y="1561038"/>
                </a:lnTo>
                <a:lnTo>
                  <a:pt x="2204745" y="1564198"/>
                </a:lnTo>
                <a:cubicBezTo>
                  <a:pt x="2205020" y="1565396"/>
                  <a:pt x="2204470" y="1567031"/>
                  <a:pt x="2202821" y="1566269"/>
                </a:cubicBezTo>
                <a:cubicBezTo>
                  <a:pt x="2201448" y="1566595"/>
                  <a:pt x="2200899" y="1565396"/>
                  <a:pt x="2200899" y="1565396"/>
                </a:cubicBezTo>
                <a:cubicBezTo>
                  <a:pt x="2199251" y="1564525"/>
                  <a:pt x="2199251" y="1564634"/>
                  <a:pt x="2198976" y="1563326"/>
                </a:cubicBezTo>
                <a:lnTo>
                  <a:pt x="2194307" y="1555153"/>
                </a:lnTo>
                <a:lnTo>
                  <a:pt x="2186614" y="1549705"/>
                </a:lnTo>
                <a:lnTo>
                  <a:pt x="2190186" y="1549922"/>
                </a:lnTo>
                <a:lnTo>
                  <a:pt x="2186065" y="1545890"/>
                </a:lnTo>
                <a:cubicBezTo>
                  <a:pt x="2185516" y="1544692"/>
                  <a:pt x="2185791" y="1544692"/>
                  <a:pt x="2185241" y="1543493"/>
                </a:cubicBezTo>
                <a:lnTo>
                  <a:pt x="2182220" y="1539243"/>
                </a:lnTo>
                <a:lnTo>
                  <a:pt x="2176176" y="1542076"/>
                </a:lnTo>
                <a:lnTo>
                  <a:pt x="2178374" y="1547089"/>
                </a:lnTo>
                <a:cubicBezTo>
                  <a:pt x="2180022" y="1547961"/>
                  <a:pt x="2179473" y="1546653"/>
                  <a:pt x="2178923" y="1545454"/>
                </a:cubicBezTo>
                <a:cubicBezTo>
                  <a:pt x="2185516" y="1548724"/>
                  <a:pt x="2187714" y="1558749"/>
                  <a:pt x="2192383" y="1568121"/>
                </a:cubicBezTo>
                <a:lnTo>
                  <a:pt x="2202547" y="1576076"/>
                </a:lnTo>
                <a:lnTo>
                  <a:pt x="2203645" y="1574986"/>
                </a:lnTo>
                <a:cubicBezTo>
                  <a:pt x="2208590" y="1576076"/>
                  <a:pt x="2214084" y="1569102"/>
                  <a:pt x="2220677" y="1571063"/>
                </a:cubicBezTo>
                <a:cubicBezTo>
                  <a:pt x="2220127" y="1573679"/>
                  <a:pt x="2218205" y="1576185"/>
                  <a:pt x="2215733" y="1578473"/>
                </a:cubicBezTo>
                <a:lnTo>
                  <a:pt x="2207217" y="1584031"/>
                </a:lnTo>
                <a:lnTo>
                  <a:pt x="2208315" y="1585992"/>
                </a:lnTo>
                <a:cubicBezTo>
                  <a:pt x="2211887" y="1592858"/>
                  <a:pt x="2214359" y="1600268"/>
                  <a:pt x="2221501" y="1608768"/>
                </a:cubicBezTo>
                <a:cubicBezTo>
                  <a:pt x="2223149" y="1601467"/>
                  <a:pt x="2219028" y="1593293"/>
                  <a:pt x="2216007" y="1584794"/>
                </a:cubicBezTo>
                <a:cubicBezTo>
                  <a:pt x="2222875" y="1589262"/>
                  <a:pt x="2229742" y="1596672"/>
                  <a:pt x="2234961" y="1604409"/>
                </a:cubicBezTo>
                <a:cubicBezTo>
                  <a:pt x="2241004" y="1613344"/>
                  <a:pt x="2246773" y="1622172"/>
                  <a:pt x="2252541" y="1631108"/>
                </a:cubicBezTo>
                <a:cubicBezTo>
                  <a:pt x="2256662" y="1639171"/>
                  <a:pt x="2260233" y="1648979"/>
                  <a:pt x="2264628" y="1654209"/>
                </a:cubicBezTo>
                <a:lnTo>
                  <a:pt x="2267233" y="1656722"/>
                </a:lnTo>
                <a:lnTo>
                  <a:pt x="2272730" y="1653188"/>
                </a:lnTo>
                <a:lnTo>
                  <a:pt x="2282302" y="1636860"/>
                </a:lnTo>
                <a:lnTo>
                  <a:pt x="2297339" y="1612691"/>
                </a:lnTo>
                <a:lnTo>
                  <a:pt x="2297592" y="1596890"/>
                </a:lnTo>
                <a:lnTo>
                  <a:pt x="2296218" y="1596345"/>
                </a:lnTo>
                <a:cubicBezTo>
                  <a:pt x="2294844" y="1594711"/>
                  <a:pt x="2293471" y="1592204"/>
                  <a:pt x="2292922" y="1589916"/>
                </a:cubicBezTo>
                <a:cubicBezTo>
                  <a:pt x="2293746" y="1591223"/>
                  <a:pt x="2293746" y="1591223"/>
                  <a:pt x="2293746" y="1591223"/>
                </a:cubicBezTo>
                <a:cubicBezTo>
                  <a:pt x="2295668" y="1591768"/>
                  <a:pt x="2294844" y="1590461"/>
                  <a:pt x="2295943" y="1589698"/>
                </a:cubicBezTo>
                <a:cubicBezTo>
                  <a:pt x="2295943" y="1589698"/>
                  <a:pt x="2294844" y="1590461"/>
                  <a:pt x="2295119" y="1588390"/>
                </a:cubicBezTo>
                <a:lnTo>
                  <a:pt x="2296493" y="1588935"/>
                </a:lnTo>
                <a:lnTo>
                  <a:pt x="2296493" y="1581524"/>
                </a:lnTo>
                <a:lnTo>
                  <a:pt x="2300613" y="1579454"/>
                </a:lnTo>
                <a:lnTo>
                  <a:pt x="2300888" y="1577710"/>
                </a:lnTo>
                <a:lnTo>
                  <a:pt x="2301162" y="1576403"/>
                </a:lnTo>
                <a:lnTo>
                  <a:pt x="2300064" y="1576839"/>
                </a:lnTo>
                <a:cubicBezTo>
                  <a:pt x="2297592" y="1577166"/>
                  <a:pt x="2294570" y="1576621"/>
                  <a:pt x="2290999" y="1575314"/>
                </a:cubicBezTo>
                <a:cubicBezTo>
                  <a:pt x="2289076" y="1570301"/>
                  <a:pt x="2292098" y="1562127"/>
                  <a:pt x="2297317" y="1559730"/>
                </a:cubicBezTo>
                <a:lnTo>
                  <a:pt x="2300338" y="1559621"/>
                </a:lnTo>
                <a:lnTo>
                  <a:pt x="2295394" y="1551884"/>
                </a:lnTo>
                <a:cubicBezTo>
                  <a:pt x="2294844" y="1549705"/>
                  <a:pt x="2294570" y="1547525"/>
                  <a:pt x="2295394" y="1545673"/>
                </a:cubicBezTo>
                <a:cubicBezTo>
                  <a:pt x="2298690" y="1542949"/>
                  <a:pt x="2301712" y="1540333"/>
                  <a:pt x="2305008" y="1537608"/>
                </a:cubicBezTo>
                <a:cubicBezTo>
                  <a:pt x="2312425" y="1536519"/>
                  <a:pt x="2317919" y="1541422"/>
                  <a:pt x="2318469" y="1547852"/>
                </a:cubicBezTo>
                <a:lnTo>
                  <a:pt x="2317644" y="1551993"/>
                </a:lnTo>
                <a:lnTo>
                  <a:pt x="2321215" y="1545673"/>
                </a:lnTo>
                <a:cubicBezTo>
                  <a:pt x="2323963" y="1538262"/>
                  <a:pt x="2325885" y="1530416"/>
                  <a:pt x="2326160" y="1523551"/>
                </a:cubicBezTo>
                <a:lnTo>
                  <a:pt x="2333851" y="1509930"/>
                </a:lnTo>
                <a:lnTo>
                  <a:pt x="2332203" y="1508077"/>
                </a:lnTo>
                <a:cubicBezTo>
                  <a:pt x="2331379" y="1506770"/>
                  <a:pt x="2330280" y="1505353"/>
                  <a:pt x="2328632" y="1503282"/>
                </a:cubicBezTo>
                <a:cubicBezTo>
                  <a:pt x="2329731" y="1500231"/>
                  <a:pt x="2329731" y="1500231"/>
                  <a:pt x="2331104" y="1500231"/>
                </a:cubicBezTo>
                <a:cubicBezTo>
                  <a:pt x="2329731" y="1500231"/>
                  <a:pt x="2329457" y="1498814"/>
                  <a:pt x="2327808" y="1497506"/>
                </a:cubicBezTo>
                <a:cubicBezTo>
                  <a:pt x="2320117" y="1493474"/>
                  <a:pt x="2322039" y="1485956"/>
                  <a:pt x="2326709" y="1478328"/>
                </a:cubicBezTo>
                <a:cubicBezTo>
                  <a:pt x="2328357" y="1479744"/>
                  <a:pt x="2330555" y="1475167"/>
                  <a:pt x="2333027" y="1473532"/>
                </a:cubicBezTo>
                <a:cubicBezTo>
                  <a:pt x="2337422" y="1473315"/>
                  <a:pt x="2340170" y="1473206"/>
                  <a:pt x="2343465" y="1475930"/>
                </a:cubicBezTo>
                <a:lnTo>
                  <a:pt x="2346762" y="1481052"/>
                </a:lnTo>
                <a:lnTo>
                  <a:pt x="2349783" y="1478763"/>
                </a:lnTo>
                <a:lnTo>
                  <a:pt x="2351157" y="1478328"/>
                </a:lnTo>
                <a:lnTo>
                  <a:pt x="2355277" y="1470808"/>
                </a:lnTo>
                <a:lnTo>
                  <a:pt x="2352531" y="1469828"/>
                </a:lnTo>
                <a:cubicBezTo>
                  <a:pt x="2347311" y="1470154"/>
                  <a:pt x="2346487" y="1464161"/>
                  <a:pt x="2346487" y="1464161"/>
                </a:cubicBezTo>
                <a:cubicBezTo>
                  <a:pt x="2346487" y="1464161"/>
                  <a:pt x="2346487" y="1464161"/>
                  <a:pt x="2345664" y="1465469"/>
                </a:cubicBezTo>
                <a:cubicBezTo>
                  <a:pt x="2347311" y="1462853"/>
                  <a:pt x="2347586" y="1459584"/>
                  <a:pt x="2349234" y="1456969"/>
                </a:cubicBezTo>
                <a:cubicBezTo>
                  <a:pt x="2356102" y="1454135"/>
                  <a:pt x="2359398" y="1454026"/>
                  <a:pt x="2361321" y="1455443"/>
                </a:cubicBezTo>
                <a:lnTo>
                  <a:pt x="2364617" y="1463180"/>
                </a:lnTo>
                <a:lnTo>
                  <a:pt x="2369012" y="1457623"/>
                </a:lnTo>
                <a:cubicBezTo>
                  <a:pt x="2370386" y="1455225"/>
                  <a:pt x="2371759" y="1452501"/>
                  <a:pt x="2373408" y="1449777"/>
                </a:cubicBezTo>
                <a:cubicBezTo>
                  <a:pt x="2371759" y="1452501"/>
                  <a:pt x="2371759" y="1452610"/>
                  <a:pt x="2369012" y="1451193"/>
                </a:cubicBezTo>
                <a:cubicBezTo>
                  <a:pt x="2369012" y="1451193"/>
                  <a:pt x="2368188" y="1449123"/>
                  <a:pt x="2369562" y="1446398"/>
                </a:cubicBezTo>
                <a:cubicBezTo>
                  <a:pt x="2373133" y="1436264"/>
                  <a:pt x="2375330" y="1428744"/>
                  <a:pt x="2377253" y="1421226"/>
                </a:cubicBezTo>
                <a:cubicBezTo>
                  <a:pt x="2376703" y="1419264"/>
                  <a:pt x="2378077" y="1416539"/>
                  <a:pt x="2380275" y="1415885"/>
                </a:cubicBezTo>
                <a:cubicBezTo>
                  <a:pt x="2383021" y="1417303"/>
                  <a:pt x="2383571" y="1419373"/>
                  <a:pt x="2384395" y="1421335"/>
                </a:cubicBezTo>
                <a:cubicBezTo>
                  <a:pt x="2383021" y="1424059"/>
                  <a:pt x="2382197" y="1428853"/>
                  <a:pt x="2380824" y="1431578"/>
                </a:cubicBezTo>
                <a:cubicBezTo>
                  <a:pt x="2382197" y="1428853"/>
                  <a:pt x="2384395" y="1428091"/>
                  <a:pt x="2383846" y="1426020"/>
                </a:cubicBezTo>
                <a:cubicBezTo>
                  <a:pt x="2383846" y="1419264"/>
                  <a:pt x="2391537" y="1414578"/>
                  <a:pt x="2397306" y="1410546"/>
                </a:cubicBezTo>
                <a:cubicBezTo>
                  <a:pt x="2397306" y="1410546"/>
                  <a:pt x="2398679" y="1407822"/>
                  <a:pt x="2398679" y="1407822"/>
                </a:cubicBezTo>
                <a:cubicBezTo>
                  <a:pt x="2400053" y="1405098"/>
                  <a:pt x="2402250" y="1404553"/>
                  <a:pt x="2403623" y="1401829"/>
                </a:cubicBezTo>
                <a:cubicBezTo>
                  <a:pt x="2403623" y="1401829"/>
                  <a:pt x="2403623" y="1401829"/>
                  <a:pt x="2401426" y="1402483"/>
                </a:cubicBezTo>
                <a:cubicBezTo>
                  <a:pt x="2397855" y="1398995"/>
                  <a:pt x="2402800" y="1393002"/>
                  <a:pt x="2397031" y="1390168"/>
                </a:cubicBezTo>
                <a:cubicBezTo>
                  <a:pt x="2400053" y="1385809"/>
                  <a:pt x="2403074" y="1380360"/>
                  <a:pt x="2406096" y="1374585"/>
                </a:cubicBezTo>
                <a:lnTo>
                  <a:pt x="2406646" y="1373604"/>
                </a:lnTo>
                <a:lnTo>
                  <a:pt x="2400602" y="1378072"/>
                </a:lnTo>
                <a:cubicBezTo>
                  <a:pt x="2396207" y="1379162"/>
                  <a:pt x="2391812" y="1376547"/>
                  <a:pt x="2390439" y="1371207"/>
                </a:cubicBezTo>
                <a:cubicBezTo>
                  <a:pt x="2389615" y="1367611"/>
                  <a:pt x="2389889" y="1362925"/>
                  <a:pt x="2392361" y="1357259"/>
                </a:cubicBezTo>
                <a:cubicBezTo>
                  <a:pt x="2398404" y="1352791"/>
                  <a:pt x="2410766" y="1356169"/>
                  <a:pt x="2411316" y="1362162"/>
                </a:cubicBezTo>
                <a:lnTo>
                  <a:pt x="2407195" y="1372514"/>
                </a:lnTo>
                <a:lnTo>
                  <a:pt x="2415985" y="1356931"/>
                </a:lnTo>
                <a:lnTo>
                  <a:pt x="2419830" y="1348649"/>
                </a:lnTo>
                <a:lnTo>
                  <a:pt x="2416809" y="1349085"/>
                </a:lnTo>
                <a:cubicBezTo>
                  <a:pt x="2409667" y="1347451"/>
                  <a:pt x="2402800" y="1341457"/>
                  <a:pt x="2400053" y="1333611"/>
                </a:cubicBezTo>
                <a:cubicBezTo>
                  <a:pt x="2396482" y="1324021"/>
                  <a:pt x="2398404" y="1311707"/>
                  <a:pt x="2411316" y="1300592"/>
                </a:cubicBezTo>
                <a:cubicBezTo>
                  <a:pt x="2415985" y="1301791"/>
                  <a:pt x="2420380" y="1303753"/>
                  <a:pt x="2424226" y="1306259"/>
                </a:cubicBezTo>
                <a:lnTo>
                  <a:pt x="2432192" y="1313996"/>
                </a:lnTo>
                <a:lnTo>
                  <a:pt x="2445377" y="1300701"/>
                </a:lnTo>
                <a:lnTo>
                  <a:pt x="2456914" y="1284029"/>
                </a:lnTo>
                <a:lnTo>
                  <a:pt x="2456365" y="1282939"/>
                </a:lnTo>
                <a:cubicBezTo>
                  <a:pt x="2455816" y="1282394"/>
                  <a:pt x="2455816" y="1282067"/>
                  <a:pt x="2455816" y="1281740"/>
                </a:cubicBezTo>
                <a:cubicBezTo>
                  <a:pt x="2455541" y="1282285"/>
                  <a:pt x="2455267" y="1283048"/>
                  <a:pt x="2454717" y="1283266"/>
                </a:cubicBezTo>
                <a:cubicBezTo>
                  <a:pt x="2453618" y="1283701"/>
                  <a:pt x="2452245" y="1283375"/>
                  <a:pt x="2450047" y="1282067"/>
                </a:cubicBezTo>
                <a:cubicBezTo>
                  <a:pt x="2450047" y="1282067"/>
                  <a:pt x="2449773" y="1280650"/>
                  <a:pt x="2449773" y="1280650"/>
                </a:cubicBezTo>
                <a:cubicBezTo>
                  <a:pt x="2451970" y="1276182"/>
                  <a:pt x="2453618" y="1277598"/>
                  <a:pt x="2456914" y="1280324"/>
                </a:cubicBezTo>
                <a:cubicBezTo>
                  <a:pt x="2456914" y="1280650"/>
                  <a:pt x="2456365" y="1280650"/>
                  <a:pt x="2456365" y="1280977"/>
                </a:cubicBezTo>
                <a:cubicBezTo>
                  <a:pt x="2457189" y="1280541"/>
                  <a:pt x="2458288" y="1280324"/>
                  <a:pt x="2458013" y="1279125"/>
                </a:cubicBezTo>
                <a:lnTo>
                  <a:pt x="2459936" y="1280432"/>
                </a:lnTo>
                <a:lnTo>
                  <a:pt x="2462134" y="1277926"/>
                </a:lnTo>
                <a:lnTo>
                  <a:pt x="2461584" y="1277817"/>
                </a:lnTo>
                <a:lnTo>
                  <a:pt x="2460760" y="1277708"/>
                </a:lnTo>
                <a:lnTo>
                  <a:pt x="2461035" y="1278252"/>
                </a:lnTo>
                <a:cubicBezTo>
                  <a:pt x="2461035" y="1278471"/>
                  <a:pt x="2460760" y="1278252"/>
                  <a:pt x="2459936" y="1278580"/>
                </a:cubicBezTo>
                <a:cubicBezTo>
                  <a:pt x="2459936" y="1278580"/>
                  <a:pt x="2459936" y="1278580"/>
                  <a:pt x="2458013" y="1279125"/>
                </a:cubicBezTo>
                <a:cubicBezTo>
                  <a:pt x="2458013" y="1279125"/>
                  <a:pt x="2457738" y="1279451"/>
                  <a:pt x="2457464" y="1279125"/>
                </a:cubicBezTo>
                <a:lnTo>
                  <a:pt x="2456091" y="1277598"/>
                </a:lnTo>
                <a:lnTo>
                  <a:pt x="2453618" y="1277489"/>
                </a:lnTo>
                <a:cubicBezTo>
                  <a:pt x="2450871" y="1277381"/>
                  <a:pt x="2448398" y="1277054"/>
                  <a:pt x="2445652" y="1276291"/>
                </a:cubicBezTo>
                <a:cubicBezTo>
                  <a:pt x="2440707" y="1271714"/>
                  <a:pt x="2436037" y="1266483"/>
                  <a:pt x="2431368" y="1260599"/>
                </a:cubicBezTo>
                <a:lnTo>
                  <a:pt x="2427797" y="1254932"/>
                </a:lnTo>
                <a:lnTo>
                  <a:pt x="2424226" y="1250683"/>
                </a:lnTo>
                <a:lnTo>
                  <a:pt x="2423951" y="1250029"/>
                </a:lnTo>
                <a:lnTo>
                  <a:pt x="2413513" y="1243708"/>
                </a:lnTo>
                <a:cubicBezTo>
                  <a:pt x="2410766" y="1240766"/>
                  <a:pt x="2408293" y="1237170"/>
                  <a:pt x="2407195" y="1233138"/>
                </a:cubicBezTo>
                <a:cubicBezTo>
                  <a:pt x="2406371" y="1227908"/>
                  <a:pt x="2407195" y="1223766"/>
                  <a:pt x="2409117" y="1220497"/>
                </a:cubicBezTo>
                <a:lnTo>
                  <a:pt x="2412414" y="1217664"/>
                </a:lnTo>
                <a:lnTo>
                  <a:pt x="2412689" y="1208183"/>
                </a:lnTo>
                <a:lnTo>
                  <a:pt x="2405272" y="1208292"/>
                </a:lnTo>
                <a:cubicBezTo>
                  <a:pt x="2401426" y="1207311"/>
                  <a:pt x="2398130" y="1205676"/>
                  <a:pt x="2394834" y="1203933"/>
                </a:cubicBezTo>
                <a:cubicBezTo>
                  <a:pt x="2391812" y="1189548"/>
                  <a:pt x="2401426" y="1190530"/>
                  <a:pt x="2410491" y="1192164"/>
                </a:cubicBezTo>
                <a:lnTo>
                  <a:pt x="2411316" y="1192382"/>
                </a:lnTo>
                <a:lnTo>
                  <a:pt x="2410216" y="1188786"/>
                </a:lnTo>
                <a:cubicBezTo>
                  <a:pt x="2410216" y="1185625"/>
                  <a:pt x="2411041" y="1183229"/>
                  <a:pt x="2412414" y="1181593"/>
                </a:cubicBezTo>
                <a:lnTo>
                  <a:pt x="2417633" y="1179414"/>
                </a:lnTo>
                <a:lnTo>
                  <a:pt x="2418732" y="1179741"/>
                </a:lnTo>
                <a:lnTo>
                  <a:pt x="2419007" y="1179523"/>
                </a:lnTo>
                <a:lnTo>
                  <a:pt x="2423677" y="1181485"/>
                </a:lnTo>
                <a:lnTo>
                  <a:pt x="2428896" y="1176690"/>
                </a:lnTo>
                <a:lnTo>
                  <a:pt x="2438510" y="1170370"/>
                </a:lnTo>
                <a:lnTo>
                  <a:pt x="2431093" y="1167863"/>
                </a:lnTo>
                <a:lnTo>
                  <a:pt x="2431368" y="1168081"/>
                </a:lnTo>
                <a:cubicBezTo>
                  <a:pt x="2430818" y="1169280"/>
                  <a:pt x="2431642" y="1171350"/>
                  <a:pt x="2431642" y="1171350"/>
                </a:cubicBezTo>
                <a:cubicBezTo>
                  <a:pt x="2429720" y="1171895"/>
                  <a:pt x="2428346" y="1171132"/>
                  <a:pt x="2426973" y="1170478"/>
                </a:cubicBezTo>
                <a:lnTo>
                  <a:pt x="2426698" y="1167101"/>
                </a:lnTo>
                <a:lnTo>
                  <a:pt x="2425324" y="1166991"/>
                </a:lnTo>
                <a:lnTo>
                  <a:pt x="2420929" y="1168517"/>
                </a:lnTo>
                <a:lnTo>
                  <a:pt x="2423127" y="1171677"/>
                </a:lnTo>
                <a:cubicBezTo>
                  <a:pt x="2423951" y="1174184"/>
                  <a:pt x="2423951" y="1177017"/>
                  <a:pt x="2422303" y="1178542"/>
                </a:cubicBezTo>
                <a:lnTo>
                  <a:pt x="2419007" y="1179523"/>
                </a:lnTo>
                <a:lnTo>
                  <a:pt x="2418183" y="1179305"/>
                </a:lnTo>
                <a:lnTo>
                  <a:pt x="2417633" y="1179414"/>
                </a:lnTo>
                <a:lnTo>
                  <a:pt x="2411590" y="1177671"/>
                </a:lnTo>
                <a:cubicBezTo>
                  <a:pt x="2412414" y="1172004"/>
                  <a:pt x="2413787" y="1168843"/>
                  <a:pt x="2415435" y="1167427"/>
                </a:cubicBezTo>
                <a:lnTo>
                  <a:pt x="2419281" y="1167427"/>
                </a:lnTo>
                <a:lnTo>
                  <a:pt x="2420380" y="1160017"/>
                </a:lnTo>
                <a:lnTo>
                  <a:pt x="2421479" y="1158382"/>
                </a:lnTo>
                <a:lnTo>
                  <a:pt x="2421204" y="1157511"/>
                </a:lnTo>
                <a:lnTo>
                  <a:pt x="2420929" y="1156203"/>
                </a:lnTo>
                <a:lnTo>
                  <a:pt x="2406920" y="1147812"/>
                </a:lnTo>
                <a:cubicBezTo>
                  <a:pt x="2409117" y="1144216"/>
                  <a:pt x="2404447" y="1142581"/>
                  <a:pt x="2408019" y="1138550"/>
                </a:cubicBezTo>
                <a:lnTo>
                  <a:pt x="2408568" y="1138550"/>
                </a:lnTo>
                <a:lnTo>
                  <a:pt x="2401152" y="1130376"/>
                </a:lnTo>
                <a:cubicBezTo>
                  <a:pt x="2397855" y="1126671"/>
                  <a:pt x="2394834" y="1122748"/>
                  <a:pt x="2393185" y="1117954"/>
                </a:cubicBezTo>
                <a:cubicBezTo>
                  <a:pt x="2397031" y="1117954"/>
                  <a:pt x="2401426" y="1119370"/>
                  <a:pt x="2405272" y="1121877"/>
                </a:cubicBezTo>
                <a:lnTo>
                  <a:pt x="2408568" y="1126236"/>
                </a:lnTo>
                <a:lnTo>
                  <a:pt x="2409392" y="1125255"/>
                </a:lnTo>
                <a:lnTo>
                  <a:pt x="2409667" y="1127979"/>
                </a:lnTo>
                <a:lnTo>
                  <a:pt x="2412963" y="1132120"/>
                </a:lnTo>
                <a:lnTo>
                  <a:pt x="2411865" y="1136478"/>
                </a:lnTo>
                <a:lnTo>
                  <a:pt x="2414337" y="1133645"/>
                </a:lnTo>
                <a:lnTo>
                  <a:pt x="2428072" y="1128632"/>
                </a:lnTo>
                <a:lnTo>
                  <a:pt x="2427523" y="1126126"/>
                </a:lnTo>
                <a:lnTo>
                  <a:pt x="2428621" y="1117081"/>
                </a:lnTo>
                <a:lnTo>
                  <a:pt x="2426698" y="1116864"/>
                </a:lnTo>
                <a:cubicBezTo>
                  <a:pt x="2422303" y="1115229"/>
                  <a:pt x="2421204" y="1110543"/>
                  <a:pt x="2422853" y="1103569"/>
                </a:cubicBezTo>
                <a:cubicBezTo>
                  <a:pt x="2426148" y="1102588"/>
                  <a:pt x="2428072" y="1100518"/>
                  <a:pt x="2432467" y="1098556"/>
                </a:cubicBezTo>
                <a:cubicBezTo>
                  <a:pt x="2433840" y="1100082"/>
                  <a:pt x="2434939" y="1103351"/>
                  <a:pt x="2435214" y="1106947"/>
                </a:cubicBezTo>
                <a:lnTo>
                  <a:pt x="2432742" y="1115229"/>
                </a:lnTo>
                <a:lnTo>
                  <a:pt x="2444004" y="1111960"/>
                </a:lnTo>
                <a:cubicBezTo>
                  <a:pt x="2448948" y="1111633"/>
                  <a:pt x="2453618" y="1112504"/>
                  <a:pt x="2458013" y="1114248"/>
                </a:cubicBezTo>
                <a:cubicBezTo>
                  <a:pt x="2461310" y="1115665"/>
                  <a:pt x="2464606" y="1117845"/>
                  <a:pt x="2467628" y="1120351"/>
                </a:cubicBezTo>
                <a:lnTo>
                  <a:pt x="2470924" y="1124601"/>
                </a:lnTo>
                <a:lnTo>
                  <a:pt x="2474495" y="1122203"/>
                </a:lnTo>
                <a:cubicBezTo>
                  <a:pt x="2475868" y="1121658"/>
                  <a:pt x="2477517" y="1121440"/>
                  <a:pt x="2478341" y="1121768"/>
                </a:cubicBezTo>
                <a:cubicBezTo>
                  <a:pt x="2479989" y="1122639"/>
                  <a:pt x="2480538" y="1123947"/>
                  <a:pt x="2480538" y="1123947"/>
                </a:cubicBezTo>
                <a:lnTo>
                  <a:pt x="2478066" y="1128306"/>
                </a:lnTo>
                <a:lnTo>
                  <a:pt x="2479439" y="1128632"/>
                </a:lnTo>
                <a:cubicBezTo>
                  <a:pt x="2490152" y="1130049"/>
                  <a:pt x="2501415" y="1127870"/>
                  <a:pt x="2506909" y="1138550"/>
                </a:cubicBezTo>
                <a:lnTo>
                  <a:pt x="2498119" y="1139857"/>
                </a:lnTo>
                <a:lnTo>
                  <a:pt x="2499218" y="1141709"/>
                </a:lnTo>
                <a:cubicBezTo>
                  <a:pt x="2500042" y="1143671"/>
                  <a:pt x="2500591" y="1146504"/>
                  <a:pt x="2499218" y="1149991"/>
                </a:cubicBezTo>
                <a:cubicBezTo>
                  <a:pt x="2498394" y="1151953"/>
                  <a:pt x="2495097" y="1156421"/>
                  <a:pt x="2494548" y="1155004"/>
                </a:cubicBezTo>
                <a:cubicBezTo>
                  <a:pt x="2492900" y="1154242"/>
                  <a:pt x="2493175" y="1155549"/>
                  <a:pt x="2491801" y="1156094"/>
                </a:cubicBezTo>
                <a:cubicBezTo>
                  <a:pt x="2489328" y="1154895"/>
                  <a:pt x="2487406" y="1153479"/>
                  <a:pt x="2486306" y="1151626"/>
                </a:cubicBezTo>
                <a:cubicBezTo>
                  <a:pt x="2485208" y="1149882"/>
                  <a:pt x="2484659" y="1147703"/>
                  <a:pt x="2485483" y="1145088"/>
                </a:cubicBezTo>
                <a:lnTo>
                  <a:pt x="2487681" y="1141491"/>
                </a:lnTo>
                <a:lnTo>
                  <a:pt x="2486033" y="1141709"/>
                </a:lnTo>
                <a:lnTo>
                  <a:pt x="2484659" y="1141491"/>
                </a:lnTo>
                <a:lnTo>
                  <a:pt x="2483835" y="1144216"/>
                </a:lnTo>
                <a:lnTo>
                  <a:pt x="2478615" y="1141709"/>
                </a:lnTo>
                <a:lnTo>
                  <a:pt x="2479165" y="1140946"/>
                </a:lnTo>
                <a:lnTo>
                  <a:pt x="2476968" y="1140729"/>
                </a:lnTo>
                <a:lnTo>
                  <a:pt x="2479714" y="1153805"/>
                </a:lnTo>
                <a:cubicBezTo>
                  <a:pt x="2477791" y="1154568"/>
                  <a:pt x="2475868" y="1155222"/>
                  <a:pt x="2476418" y="1157183"/>
                </a:cubicBezTo>
                <a:cubicBezTo>
                  <a:pt x="2471748" y="1159363"/>
                  <a:pt x="2466804" y="1160126"/>
                  <a:pt x="2462134" y="1159799"/>
                </a:cubicBezTo>
                <a:cubicBezTo>
                  <a:pt x="2458562" y="1159690"/>
                  <a:pt x="2454992" y="1158818"/>
                  <a:pt x="2451695" y="1157511"/>
                </a:cubicBezTo>
                <a:lnTo>
                  <a:pt x="2442905" y="1152607"/>
                </a:lnTo>
                <a:lnTo>
                  <a:pt x="2437686" y="1156529"/>
                </a:lnTo>
                <a:cubicBezTo>
                  <a:pt x="2436587" y="1152498"/>
                  <a:pt x="2436312" y="1148902"/>
                  <a:pt x="2436587" y="1145633"/>
                </a:cubicBezTo>
                <a:lnTo>
                  <a:pt x="2436861" y="1145197"/>
                </a:lnTo>
                <a:lnTo>
                  <a:pt x="2432192" y="1139094"/>
                </a:lnTo>
                <a:lnTo>
                  <a:pt x="2431093" y="1140075"/>
                </a:lnTo>
                <a:lnTo>
                  <a:pt x="2421754" y="1142254"/>
                </a:lnTo>
                <a:lnTo>
                  <a:pt x="2427523" y="1146286"/>
                </a:lnTo>
                <a:cubicBezTo>
                  <a:pt x="2430544" y="1149229"/>
                  <a:pt x="2432742" y="1152607"/>
                  <a:pt x="2433840" y="1156203"/>
                </a:cubicBezTo>
                <a:lnTo>
                  <a:pt x="2433291" y="1162305"/>
                </a:lnTo>
                <a:lnTo>
                  <a:pt x="2438510" y="1170261"/>
                </a:lnTo>
                <a:lnTo>
                  <a:pt x="2440433" y="1168953"/>
                </a:lnTo>
                <a:cubicBezTo>
                  <a:pt x="2444279" y="1166228"/>
                  <a:pt x="2448398" y="1163395"/>
                  <a:pt x="2452245" y="1159581"/>
                </a:cubicBezTo>
                <a:cubicBezTo>
                  <a:pt x="2467902" y="1170915"/>
                  <a:pt x="2475868" y="1164158"/>
                  <a:pt x="2485757" y="1163068"/>
                </a:cubicBezTo>
                <a:cubicBezTo>
                  <a:pt x="2492625" y="1175164"/>
                  <a:pt x="2508557" y="1183229"/>
                  <a:pt x="2519545" y="1194235"/>
                </a:cubicBezTo>
                <a:lnTo>
                  <a:pt x="2520095" y="1201318"/>
                </a:lnTo>
                <a:lnTo>
                  <a:pt x="2520369" y="1201644"/>
                </a:lnTo>
                <a:lnTo>
                  <a:pt x="2523940" y="1196414"/>
                </a:lnTo>
                <a:cubicBezTo>
                  <a:pt x="2529159" y="1188786"/>
                  <a:pt x="2534653" y="1181376"/>
                  <a:pt x="2540696" y="1174946"/>
                </a:cubicBezTo>
                <a:cubicBezTo>
                  <a:pt x="2540147" y="1172876"/>
                  <a:pt x="2542070" y="1172222"/>
                  <a:pt x="2542894" y="1174293"/>
                </a:cubicBezTo>
                <a:cubicBezTo>
                  <a:pt x="2545091" y="1173639"/>
                  <a:pt x="2543718" y="1176363"/>
                  <a:pt x="2543718" y="1176363"/>
                </a:cubicBezTo>
                <a:cubicBezTo>
                  <a:pt x="2542070" y="1179087"/>
                  <a:pt x="2540147" y="1179632"/>
                  <a:pt x="2538773" y="1182356"/>
                </a:cubicBezTo>
                <a:cubicBezTo>
                  <a:pt x="2549212" y="1177344"/>
                  <a:pt x="2558277" y="1167754"/>
                  <a:pt x="2567616" y="1161651"/>
                </a:cubicBezTo>
                <a:lnTo>
                  <a:pt x="2570913" y="1159908"/>
                </a:lnTo>
                <a:lnTo>
                  <a:pt x="2575308" y="1157511"/>
                </a:lnTo>
                <a:lnTo>
                  <a:pt x="2576681" y="1156421"/>
                </a:lnTo>
                <a:lnTo>
                  <a:pt x="2577505" y="1155876"/>
                </a:lnTo>
                <a:lnTo>
                  <a:pt x="2578055" y="1154350"/>
                </a:lnTo>
                <a:cubicBezTo>
                  <a:pt x="2578329" y="1154023"/>
                  <a:pt x="2578329" y="1154023"/>
                  <a:pt x="2578329" y="1154023"/>
                </a:cubicBezTo>
                <a:cubicBezTo>
                  <a:pt x="2586021" y="1142581"/>
                  <a:pt x="2583274" y="1134517"/>
                  <a:pt x="2596734" y="1132555"/>
                </a:cubicBezTo>
                <a:cubicBezTo>
                  <a:pt x="2601954" y="1127434"/>
                  <a:pt x="2596460" y="1125800"/>
                  <a:pt x="2598382" y="1121768"/>
                </a:cubicBezTo>
                <a:lnTo>
                  <a:pt x="2598932" y="1121114"/>
                </a:lnTo>
                <a:lnTo>
                  <a:pt x="2594812" y="1118389"/>
                </a:lnTo>
                <a:cubicBezTo>
                  <a:pt x="2593163" y="1116646"/>
                  <a:pt x="2592339" y="1114139"/>
                  <a:pt x="2592339" y="1111524"/>
                </a:cubicBezTo>
                <a:lnTo>
                  <a:pt x="2592888" y="1109454"/>
                </a:lnTo>
                <a:lnTo>
                  <a:pt x="2589592" y="1109671"/>
                </a:lnTo>
                <a:cubicBezTo>
                  <a:pt x="2587944" y="1108364"/>
                  <a:pt x="2587944" y="1108473"/>
                  <a:pt x="2589317" y="1107056"/>
                </a:cubicBezTo>
                <a:cubicBezTo>
                  <a:pt x="2590691" y="1106947"/>
                  <a:pt x="2592064" y="1106839"/>
                  <a:pt x="2592339" y="1108146"/>
                </a:cubicBezTo>
                <a:lnTo>
                  <a:pt x="2593163" y="1108909"/>
                </a:lnTo>
                <a:lnTo>
                  <a:pt x="2593987" y="1106075"/>
                </a:lnTo>
                <a:cubicBezTo>
                  <a:pt x="2595360" y="1104223"/>
                  <a:pt x="2597009" y="1102261"/>
                  <a:pt x="2599481" y="1100518"/>
                </a:cubicBezTo>
                <a:lnTo>
                  <a:pt x="2601954" y="1101717"/>
                </a:lnTo>
                <a:lnTo>
                  <a:pt x="2602228" y="1101281"/>
                </a:lnTo>
                <a:cubicBezTo>
                  <a:pt x="2599206" y="1099864"/>
                  <a:pt x="2596460" y="1098448"/>
                  <a:pt x="2595086" y="1094415"/>
                </a:cubicBezTo>
                <a:cubicBezTo>
                  <a:pt x="2595086" y="1094415"/>
                  <a:pt x="2596460" y="1091582"/>
                  <a:pt x="2596460" y="1091582"/>
                </a:cubicBezTo>
                <a:cubicBezTo>
                  <a:pt x="2598657" y="1090928"/>
                  <a:pt x="2598382" y="1091037"/>
                  <a:pt x="2599206" y="1093107"/>
                </a:cubicBezTo>
                <a:cubicBezTo>
                  <a:pt x="2600030" y="1095069"/>
                  <a:pt x="2602778" y="1096486"/>
                  <a:pt x="2605799" y="1097903"/>
                </a:cubicBezTo>
                <a:cubicBezTo>
                  <a:pt x="2605799" y="1097903"/>
                  <a:pt x="2605799" y="1097794"/>
                  <a:pt x="2604975" y="1095832"/>
                </a:cubicBezTo>
                <a:cubicBezTo>
                  <a:pt x="2605525" y="1091037"/>
                  <a:pt x="2608546" y="1092453"/>
                  <a:pt x="2612117" y="1089075"/>
                </a:cubicBezTo>
                <a:cubicBezTo>
                  <a:pt x="2612667" y="1091146"/>
                  <a:pt x="2609095" y="1094525"/>
                  <a:pt x="2607722" y="1097249"/>
                </a:cubicBezTo>
                <a:cubicBezTo>
                  <a:pt x="2617886" y="1098665"/>
                  <a:pt x="2629148" y="1083736"/>
                  <a:pt x="2636839" y="1072293"/>
                </a:cubicBezTo>
                <a:cubicBezTo>
                  <a:pt x="2631071" y="1069569"/>
                  <a:pt x="2640411" y="1062050"/>
                  <a:pt x="2626676" y="1057147"/>
                </a:cubicBezTo>
                <a:cubicBezTo>
                  <a:pt x="2633818" y="1050390"/>
                  <a:pt x="2639587" y="1046467"/>
                  <a:pt x="2641784" y="1052570"/>
                </a:cubicBezTo>
                <a:lnTo>
                  <a:pt x="2647553" y="1052025"/>
                </a:lnTo>
                <a:lnTo>
                  <a:pt x="2636565" y="1028377"/>
                </a:lnTo>
                <a:cubicBezTo>
                  <a:pt x="2635741" y="1022166"/>
                  <a:pt x="2636016" y="1017045"/>
                  <a:pt x="2637114" y="1012468"/>
                </a:cubicBezTo>
                <a:lnTo>
                  <a:pt x="2639312" y="1007673"/>
                </a:lnTo>
                <a:lnTo>
                  <a:pt x="2639037" y="1003859"/>
                </a:lnTo>
                <a:lnTo>
                  <a:pt x="2638762" y="1001898"/>
                </a:lnTo>
                <a:lnTo>
                  <a:pt x="2637114" y="1005058"/>
                </a:lnTo>
                <a:cubicBezTo>
                  <a:pt x="2636290" y="1007020"/>
                  <a:pt x="2636290" y="1007020"/>
                  <a:pt x="2637938" y="1007891"/>
                </a:cubicBezTo>
                <a:cubicBezTo>
                  <a:pt x="2636839" y="1009852"/>
                  <a:pt x="2636839" y="1009852"/>
                  <a:pt x="2634093" y="1010833"/>
                </a:cubicBezTo>
                <a:cubicBezTo>
                  <a:pt x="2634917" y="1009416"/>
                  <a:pt x="2636290" y="1004077"/>
                  <a:pt x="2637938" y="1002007"/>
                </a:cubicBezTo>
                <a:lnTo>
                  <a:pt x="2638762" y="1001461"/>
                </a:lnTo>
                <a:lnTo>
                  <a:pt x="2638762" y="999826"/>
                </a:lnTo>
                <a:cubicBezTo>
                  <a:pt x="2637114" y="998955"/>
                  <a:pt x="2637114" y="998846"/>
                  <a:pt x="2638487" y="998410"/>
                </a:cubicBezTo>
                <a:lnTo>
                  <a:pt x="2638762" y="997212"/>
                </a:lnTo>
                <a:lnTo>
                  <a:pt x="2638762" y="993179"/>
                </a:lnTo>
                <a:cubicBezTo>
                  <a:pt x="2638762" y="989474"/>
                  <a:pt x="2639312" y="986096"/>
                  <a:pt x="2640136" y="984353"/>
                </a:cubicBezTo>
                <a:lnTo>
                  <a:pt x="2640686" y="993833"/>
                </a:lnTo>
                <a:lnTo>
                  <a:pt x="2641509" y="988930"/>
                </a:lnTo>
                <a:cubicBezTo>
                  <a:pt x="2641784" y="986641"/>
                  <a:pt x="2641509" y="984462"/>
                  <a:pt x="2640686" y="984026"/>
                </a:cubicBezTo>
                <a:cubicBezTo>
                  <a:pt x="2642059" y="983590"/>
                  <a:pt x="2642883" y="981628"/>
                  <a:pt x="2642883" y="981628"/>
                </a:cubicBezTo>
                <a:cubicBezTo>
                  <a:pt x="2644806" y="982500"/>
                  <a:pt x="2645081" y="983917"/>
                  <a:pt x="2645630" y="985225"/>
                </a:cubicBezTo>
                <a:cubicBezTo>
                  <a:pt x="2644532" y="987186"/>
                  <a:pt x="2643158" y="987622"/>
                  <a:pt x="2642059" y="989474"/>
                </a:cubicBezTo>
                <a:cubicBezTo>
                  <a:pt x="2642333" y="990891"/>
                  <a:pt x="2643158" y="993616"/>
                  <a:pt x="2642059" y="995577"/>
                </a:cubicBezTo>
                <a:lnTo>
                  <a:pt x="2640686" y="997647"/>
                </a:lnTo>
                <a:lnTo>
                  <a:pt x="2639312" y="1007346"/>
                </a:lnTo>
                <a:lnTo>
                  <a:pt x="2642333" y="999936"/>
                </a:lnTo>
                <a:cubicBezTo>
                  <a:pt x="2647003" y="991980"/>
                  <a:pt x="2653047" y="984571"/>
                  <a:pt x="2657167" y="974327"/>
                </a:cubicBezTo>
                <a:cubicBezTo>
                  <a:pt x="2675297" y="979122"/>
                  <a:pt x="2679692" y="969533"/>
                  <a:pt x="2688208" y="964629"/>
                </a:cubicBezTo>
                <a:cubicBezTo>
                  <a:pt x="2698921" y="973564"/>
                  <a:pt x="2715952" y="974981"/>
                  <a:pt x="2729686" y="981302"/>
                </a:cubicBezTo>
                <a:lnTo>
                  <a:pt x="2738752" y="999282"/>
                </a:lnTo>
                <a:lnTo>
                  <a:pt x="2742598" y="996122"/>
                </a:lnTo>
                <a:cubicBezTo>
                  <a:pt x="2748366" y="992526"/>
                  <a:pt x="2749190" y="996993"/>
                  <a:pt x="2749465" y="1000371"/>
                </a:cubicBezTo>
                <a:lnTo>
                  <a:pt x="2749739" y="1002878"/>
                </a:lnTo>
                <a:lnTo>
                  <a:pt x="2753311" y="1001679"/>
                </a:lnTo>
                <a:lnTo>
                  <a:pt x="2753311" y="1001789"/>
                </a:lnTo>
                <a:lnTo>
                  <a:pt x="2773913" y="995141"/>
                </a:lnTo>
                <a:lnTo>
                  <a:pt x="2792592" y="987513"/>
                </a:lnTo>
                <a:lnTo>
                  <a:pt x="2795339" y="983917"/>
                </a:lnTo>
                <a:lnTo>
                  <a:pt x="2800008" y="983046"/>
                </a:lnTo>
                <a:lnTo>
                  <a:pt x="2807700" y="977161"/>
                </a:lnTo>
                <a:lnTo>
                  <a:pt x="2806875" y="976180"/>
                </a:lnTo>
                <a:cubicBezTo>
                  <a:pt x="2806052" y="974001"/>
                  <a:pt x="2805777" y="971494"/>
                  <a:pt x="2806602" y="968769"/>
                </a:cubicBezTo>
                <a:cubicBezTo>
                  <a:pt x="2809897" y="967789"/>
                  <a:pt x="2808799" y="964737"/>
                  <a:pt x="2812095" y="963757"/>
                </a:cubicBezTo>
                <a:cubicBezTo>
                  <a:pt x="2812095" y="963757"/>
                  <a:pt x="2814567" y="961142"/>
                  <a:pt x="2819237" y="959289"/>
                </a:cubicBezTo>
                <a:lnTo>
                  <a:pt x="2823633" y="958199"/>
                </a:lnTo>
                <a:lnTo>
                  <a:pt x="2823357" y="954058"/>
                </a:lnTo>
                <a:cubicBezTo>
                  <a:pt x="2822259" y="950681"/>
                  <a:pt x="2820061" y="947955"/>
                  <a:pt x="2814842" y="946213"/>
                </a:cubicBezTo>
                <a:cubicBezTo>
                  <a:pt x="2814842" y="946213"/>
                  <a:pt x="2814842" y="946213"/>
                  <a:pt x="2828302" y="937494"/>
                </a:cubicBezTo>
                <a:cubicBezTo>
                  <a:pt x="2825555" y="936078"/>
                  <a:pt x="2824731" y="934116"/>
                  <a:pt x="2823083" y="930084"/>
                </a:cubicBezTo>
                <a:cubicBezTo>
                  <a:pt x="2823083" y="930084"/>
                  <a:pt x="2823083" y="929976"/>
                  <a:pt x="2823907" y="932046"/>
                </a:cubicBezTo>
                <a:cubicBezTo>
                  <a:pt x="2813194" y="935315"/>
                  <a:pt x="2804678" y="944795"/>
                  <a:pt x="2796987" y="942725"/>
                </a:cubicBezTo>
                <a:cubicBezTo>
                  <a:pt x="2798360" y="933245"/>
                  <a:pt x="2806052" y="928558"/>
                  <a:pt x="2815941" y="923110"/>
                </a:cubicBezTo>
                <a:cubicBezTo>
                  <a:pt x="2823907" y="918424"/>
                  <a:pt x="2833795" y="913085"/>
                  <a:pt x="2835170" y="903604"/>
                </a:cubicBezTo>
                <a:cubicBezTo>
                  <a:pt x="2845059" y="898264"/>
                  <a:pt x="2851377" y="896193"/>
                  <a:pt x="2860716" y="895649"/>
                </a:cubicBezTo>
                <a:cubicBezTo>
                  <a:pt x="2859892" y="886822"/>
                  <a:pt x="2867584" y="882028"/>
                  <a:pt x="2875549" y="877341"/>
                </a:cubicBezTo>
                <a:lnTo>
                  <a:pt x="2876099" y="877015"/>
                </a:lnTo>
                <a:lnTo>
                  <a:pt x="2874176" y="874181"/>
                </a:lnTo>
                <a:lnTo>
                  <a:pt x="2879945" y="873092"/>
                </a:lnTo>
                <a:lnTo>
                  <a:pt x="2880769" y="869713"/>
                </a:lnTo>
                <a:lnTo>
                  <a:pt x="2885439" y="860668"/>
                </a:lnTo>
                <a:lnTo>
                  <a:pt x="2884889" y="860015"/>
                </a:lnTo>
                <a:cubicBezTo>
                  <a:pt x="2883790" y="858598"/>
                  <a:pt x="2884065" y="857181"/>
                  <a:pt x="2884615" y="855656"/>
                </a:cubicBezTo>
                <a:lnTo>
                  <a:pt x="2890383" y="851297"/>
                </a:lnTo>
                <a:lnTo>
                  <a:pt x="2890932" y="850098"/>
                </a:lnTo>
                <a:cubicBezTo>
                  <a:pt x="2895328" y="844213"/>
                  <a:pt x="2900547" y="838983"/>
                  <a:pt x="2906865" y="835060"/>
                </a:cubicBezTo>
                <a:cubicBezTo>
                  <a:pt x="2912084" y="831791"/>
                  <a:pt x="2917029" y="830047"/>
                  <a:pt x="2921699" y="829284"/>
                </a:cubicBezTo>
                <a:lnTo>
                  <a:pt x="2926917" y="829175"/>
                </a:lnTo>
                <a:lnTo>
                  <a:pt x="2930214" y="827323"/>
                </a:lnTo>
                <a:lnTo>
                  <a:pt x="2937630" y="823945"/>
                </a:lnTo>
                <a:lnTo>
                  <a:pt x="2938180" y="822746"/>
                </a:lnTo>
                <a:cubicBezTo>
                  <a:pt x="2943674" y="814028"/>
                  <a:pt x="2953562" y="805637"/>
                  <a:pt x="2963727" y="799317"/>
                </a:cubicBezTo>
                <a:lnTo>
                  <a:pt x="2967023" y="797682"/>
                </a:lnTo>
                <a:lnTo>
                  <a:pt x="2955761" y="790381"/>
                </a:lnTo>
                <a:cubicBezTo>
                  <a:pt x="2960430" y="788419"/>
                  <a:pt x="2967298" y="788528"/>
                  <a:pt x="2973066" y="790926"/>
                </a:cubicBezTo>
                <a:lnTo>
                  <a:pt x="2976088" y="793105"/>
                </a:lnTo>
                <a:lnTo>
                  <a:pt x="2978835" y="791689"/>
                </a:lnTo>
                <a:cubicBezTo>
                  <a:pt x="2985153" y="789182"/>
                  <a:pt x="2990646" y="787983"/>
                  <a:pt x="2994218" y="788746"/>
                </a:cubicBezTo>
                <a:cubicBezTo>
                  <a:pt x="2991196" y="802041"/>
                  <a:pt x="2977736" y="806182"/>
                  <a:pt x="2971693" y="821111"/>
                </a:cubicBezTo>
                <a:cubicBezTo>
                  <a:pt x="2965650" y="821002"/>
                  <a:pt x="2960430" y="825034"/>
                  <a:pt x="2954387" y="829067"/>
                </a:cubicBezTo>
                <a:lnTo>
                  <a:pt x="2950541" y="831137"/>
                </a:lnTo>
                <a:lnTo>
                  <a:pt x="2964825" y="832117"/>
                </a:lnTo>
                <a:cubicBezTo>
                  <a:pt x="2966199" y="841271"/>
                  <a:pt x="2969495" y="845957"/>
                  <a:pt x="2973615" y="849009"/>
                </a:cubicBezTo>
                <a:lnTo>
                  <a:pt x="2974440" y="849444"/>
                </a:lnTo>
                <a:lnTo>
                  <a:pt x="2983230" y="841926"/>
                </a:lnTo>
                <a:lnTo>
                  <a:pt x="2996140" y="834733"/>
                </a:lnTo>
                <a:lnTo>
                  <a:pt x="2994767" y="833207"/>
                </a:lnTo>
                <a:cubicBezTo>
                  <a:pt x="2992845" y="829829"/>
                  <a:pt x="2990921" y="825906"/>
                  <a:pt x="2989548" y="821002"/>
                </a:cubicBezTo>
                <a:cubicBezTo>
                  <a:pt x="2992845" y="817624"/>
                  <a:pt x="2994218" y="809778"/>
                  <a:pt x="3000810" y="811522"/>
                </a:cubicBezTo>
                <a:lnTo>
                  <a:pt x="3001909" y="815880"/>
                </a:lnTo>
                <a:lnTo>
                  <a:pt x="3008502" y="808253"/>
                </a:lnTo>
                <a:cubicBezTo>
                  <a:pt x="3012347" y="812176"/>
                  <a:pt x="3012347" y="815118"/>
                  <a:pt x="3010974" y="817951"/>
                </a:cubicBezTo>
                <a:lnTo>
                  <a:pt x="3005480" y="825579"/>
                </a:lnTo>
                <a:lnTo>
                  <a:pt x="3007952" y="828413"/>
                </a:lnTo>
                <a:lnTo>
                  <a:pt x="3029104" y="818278"/>
                </a:lnTo>
                <a:cubicBezTo>
                  <a:pt x="3038169" y="814681"/>
                  <a:pt x="3047509" y="811086"/>
                  <a:pt x="3056849" y="807054"/>
                </a:cubicBezTo>
                <a:cubicBezTo>
                  <a:pt x="3056849" y="807054"/>
                  <a:pt x="3058771" y="806400"/>
                  <a:pt x="3058771" y="806400"/>
                </a:cubicBezTo>
                <a:cubicBezTo>
                  <a:pt x="3058222" y="804329"/>
                  <a:pt x="3059595" y="801714"/>
                  <a:pt x="3061793" y="801060"/>
                </a:cubicBezTo>
                <a:cubicBezTo>
                  <a:pt x="3066737" y="801714"/>
                  <a:pt x="3070858" y="800406"/>
                  <a:pt x="3075253" y="799098"/>
                </a:cubicBezTo>
                <a:cubicBezTo>
                  <a:pt x="3083769" y="796374"/>
                  <a:pt x="3092284" y="793759"/>
                  <a:pt x="3098602" y="791797"/>
                </a:cubicBezTo>
                <a:lnTo>
                  <a:pt x="3102448" y="788964"/>
                </a:lnTo>
                <a:lnTo>
                  <a:pt x="3102448" y="787766"/>
                </a:lnTo>
                <a:cubicBezTo>
                  <a:pt x="3102173" y="786458"/>
                  <a:pt x="3103546" y="786022"/>
                  <a:pt x="3103821" y="787329"/>
                </a:cubicBezTo>
                <a:lnTo>
                  <a:pt x="3104096" y="787657"/>
                </a:lnTo>
                <a:lnTo>
                  <a:pt x="3105469" y="786567"/>
                </a:lnTo>
                <a:cubicBezTo>
                  <a:pt x="3109864" y="782861"/>
                  <a:pt x="3108491" y="782535"/>
                  <a:pt x="3118655" y="781009"/>
                </a:cubicBezTo>
                <a:cubicBezTo>
                  <a:pt x="3129093" y="777740"/>
                  <a:pt x="3142553" y="768913"/>
                  <a:pt x="3148321" y="771638"/>
                </a:cubicBezTo>
                <a:lnTo>
                  <a:pt x="3156563" y="766189"/>
                </a:lnTo>
                <a:lnTo>
                  <a:pt x="3155464" y="763792"/>
                </a:lnTo>
                <a:cubicBezTo>
                  <a:pt x="3158760" y="761503"/>
                  <a:pt x="3161233" y="760740"/>
                  <a:pt x="3163704" y="760958"/>
                </a:cubicBezTo>
                <a:lnTo>
                  <a:pt x="3164254" y="761176"/>
                </a:lnTo>
                <a:lnTo>
                  <a:pt x="3167550" y="758887"/>
                </a:lnTo>
                <a:lnTo>
                  <a:pt x="3163704" y="759324"/>
                </a:lnTo>
                <a:lnTo>
                  <a:pt x="3156563" y="762157"/>
                </a:lnTo>
                <a:cubicBezTo>
                  <a:pt x="3152717" y="763683"/>
                  <a:pt x="3148871" y="764772"/>
                  <a:pt x="3145300" y="764227"/>
                </a:cubicBezTo>
                <a:cubicBezTo>
                  <a:pt x="3146673" y="763574"/>
                  <a:pt x="3151069" y="761721"/>
                  <a:pt x="3155739" y="760195"/>
                </a:cubicBezTo>
                <a:lnTo>
                  <a:pt x="3153541" y="760414"/>
                </a:lnTo>
                <a:cubicBezTo>
                  <a:pt x="3148871" y="761830"/>
                  <a:pt x="3144476" y="763792"/>
                  <a:pt x="3138982" y="765535"/>
                </a:cubicBezTo>
                <a:lnTo>
                  <a:pt x="3135136" y="767170"/>
                </a:lnTo>
                <a:lnTo>
                  <a:pt x="3135686" y="767387"/>
                </a:lnTo>
                <a:cubicBezTo>
                  <a:pt x="3131840" y="769240"/>
                  <a:pt x="3126620" y="771746"/>
                  <a:pt x="3123599" y="771746"/>
                </a:cubicBezTo>
                <a:lnTo>
                  <a:pt x="3127171" y="768804"/>
                </a:lnTo>
                <a:lnTo>
                  <a:pt x="3125247" y="769022"/>
                </a:lnTo>
                <a:cubicBezTo>
                  <a:pt x="3121127" y="768260"/>
                  <a:pt x="3117556" y="765317"/>
                  <a:pt x="3115358" y="759215"/>
                </a:cubicBezTo>
                <a:cubicBezTo>
                  <a:pt x="3115358" y="759215"/>
                  <a:pt x="3115633" y="759215"/>
                  <a:pt x="3114809" y="757253"/>
                </a:cubicBezTo>
                <a:cubicBezTo>
                  <a:pt x="3114809" y="757253"/>
                  <a:pt x="3115633" y="759215"/>
                  <a:pt x="3113435" y="759977"/>
                </a:cubicBezTo>
                <a:cubicBezTo>
                  <a:pt x="3111237" y="760631"/>
                  <a:pt x="3109040" y="761176"/>
                  <a:pt x="3104096" y="760522"/>
                </a:cubicBezTo>
                <a:cubicBezTo>
                  <a:pt x="3101898" y="761176"/>
                  <a:pt x="3097778" y="762484"/>
                  <a:pt x="3096405" y="765208"/>
                </a:cubicBezTo>
                <a:cubicBezTo>
                  <a:pt x="3094206" y="765862"/>
                  <a:pt x="3093382" y="763900"/>
                  <a:pt x="3093382" y="763900"/>
                </a:cubicBezTo>
                <a:lnTo>
                  <a:pt x="3092284" y="762375"/>
                </a:lnTo>
                <a:lnTo>
                  <a:pt x="3091185" y="764882"/>
                </a:lnTo>
                <a:cubicBezTo>
                  <a:pt x="3090086" y="765971"/>
                  <a:pt x="3088987" y="766843"/>
                  <a:pt x="3087889" y="767278"/>
                </a:cubicBezTo>
                <a:cubicBezTo>
                  <a:pt x="3086515" y="767823"/>
                  <a:pt x="3084867" y="767387"/>
                  <a:pt x="3083769" y="765535"/>
                </a:cubicBezTo>
                <a:cubicBezTo>
                  <a:pt x="3084593" y="762266"/>
                  <a:pt x="3086790" y="758561"/>
                  <a:pt x="3088987" y="754856"/>
                </a:cubicBezTo>
                <a:cubicBezTo>
                  <a:pt x="3093108" y="755401"/>
                  <a:pt x="3093932" y="758125"/>
                  <a:pt x="3093108" y="760958"/>
                </a:cubicBezTo>
                <a:lnTo>
                  <a:pt x="3092559" y="762157"/>
                </a:lnTo>
                <a:lnTo>
                  <a:pt x="3094756" y="761176"/>
                </a:lnTo>
                <a:cubicBezTo>
                  <a:pt x="3096130" y="758452"/>
                  <a:pt x="3100524" y="757035"/>
                  <a:pt x="3105469" y="757798"/>
                </a:cubicBezTo>
                <a:cubicBezTo>
                  <a:pt x="3107667" y="757035"/>
                  <a:pt x="3111787" y="755727"/>
                  <a:pt x="3113161" y="753003"/>
                </a:cubicBezTo>
                <a:cubicBezTo>
                  <a:pt x="3128269" y="748426"/>
                  <a:pt x="3138157" y="736221"/>
                  <a:pt x="3153815" y="726850"/>
                </a:cubicBezTo>
                <a:cubicBezTo>
                  <a:pt x="3154364" y="728811"/>
                  <a:pt x="3156288" y="728920"/>
                  <a:pt x="3159309" y="727721"/>
                </a:cubicBezTo>
                <a:lnTo>
                  <a:pt x="3162057" y="726305"/>
                </a:lnTo>
                <a:lnTo>
                  <a:pt x="3158760" y="724888"/>
                </a:lnTo>
                <a:cubicBezTo>
                  <a:pt x="3157387" y="723581"/>
                  <a:pt x="3156288" y="721728"/>
                  <a:pt x="3155739" y="719767"/>
                </a:cubicBezTo>
                <a:cubicBezTo>
                  <a:pt x="3154364" y="715952"/>
                  <a:pt x="3155189" y="711593"/>
                  <a:pt x="3160683" y="710068"/>
                </a:cubicBezTo>
                <a:cubicBezTo>
                  <a:pt x="3162057" y="709523"/>
                  <a:pt x="3163430" y="710068"/>
                  <a:pt x="3164528" y="711267"/>
                </a:cubicBezTo>
                <a:cubicBezTo>
                  <a:pt x="3166177" y="713119"/>
                  <a:pt x="3167276" y="716389"/>
                  <a:pt x="3167001" y="719439"/>
                </a:cubicBezTo>
                <a:lnTo>
                  <a:pt x="3163430" y="725651"/>
                </a:lnTo>
                <a:lnTo>
                  <a:pt x="3173044" y="720747"/>
                </a:lnTo>
                <a:cubicBezTo>
                  <a:pt x="3171671" y="723472"/>
                  <a:pt x="3170297" y="726305"/>
                  <a:pt x="3170846" y="728375"/>
                </a:cubicBezTo>
                <a:cubicBezTo>
                  <a:pt x="3189251" y="720312"/>
                  <a:pt x="3199415" y="728484"/>
                  <a:pt x="3211501" y="729247"/>
                </a:cubicBezTo>
                <a:lnTo>
                  <a:pt x="3233752" y="725106"/>
                </a:lnTo>
                <a:lnTo>
                  <a:pt x="3233477" y="722055"/>
                </a:lnTo>
                <a:cubicBezTo>
                  <a:pt x="3232928" y="718459"/>
                  <a:pt x="3232653" y="714536"/>
                  <a:pt x="3232378" y="711267"/>
                </a:cubicBezTo>
                <a:cubicBezTo>
                  <a:pt x="3230455" y="692087"/>
                  <a:pt x="3282647" y="700260"/>
                  <a:pt x="3280725" y="680972"/>
                </a:cubicBezTo>
                <a:lnTo>
                  <a:pt x="3283197" y="679447"/>
                </a:lnTo>
                <a:lnTo>
                  <a:pt x="3278252" y="680863"/>
                </a:lnTo>
                <a:cubicBezTo>
                  <a:pt x="3275506" y="677812"/>
                  <a:pt x="3275506" y="673562"/>
                  <a:pt x="3276879" y="669638"/>
                </a:cubicBezTo>
                <a:lnTo>
                  <a:pt x="3284570" y="660267"/>
                </a:lnTo>
                <a:lnTo>
                  <a:pt x="3282922" y="660812"/>
                </a:lnTo>
                <a:lnTo>
                  <a:pt x="3282373" y="662229"/>
                </a:lnTo>
                <a:cubicBezTo>
                  <a:pt x="3281823" y="663100"/>
                  <a:pt x="3280725" y="663864"/>
                  <a:pt x="3279076" y="664518"/>
                </a:cubicBezTo>
                <a:lnTo>
                  <a:pt x="3277428" y="662446"/>
                </a:lnTo>
                <a:lnTo>
                  <a:pt x="3272758" y="663864"/>
                </a:lnTo>
                <a:lnTo>
                  <a:pt x="3254629" y="661792"/>
                </a:lnTo>
                <a:lnTo>
                  <a:pt x="3252156" y="665280"/>
                </a:lnTo>
                <a:cubicBezTo>
                  <a:pt x="3249684" y="668658"/>
                  <a:pt x="3247486" y="670620"/>
                  <a:pt x="3245563" y="671056"/>
                </a:cubicBezTo>
                <a:cubicBezTo>
                  <a:pt x="3243366" y="671491"/>
                  <a:pt x="3241168" y="670620"/>
                  <a:pt x="3239246" y="668113"/>
                </a:cubicBezTo>
                <a:cubicBezTo>
                  <a:pt x="3239246" y="666588"/>
                  <a:pt x="3240894" y="662337"/>
                  <a:pt x="3239246" y="662229"/>
                </a:cubicBezTo>
                <a:cubicBezTo>
                  <a:pt x="3240894" y="660703"/>
                  <a:pt x="3242817" y="659286"/>
                  <a:pt x="3244739" y="658306"/>
                </a:cubicBezTo>
                <a:lnTo>
                  <a:pt x="3247761" y="657434"/>
                </a:lnTo>
                <a:lnTo>
                  <a:pt x="3246663" y="656562"/>
                </a:lnTo>
                <a:cubicBezTo>
                  <a:pt x="3244739" y="654383"/>
                  <a:pt x="3243366" y="651876"/>
                  <a:pt x="3242542" y="648934"/>
                </a:cubicBezTo>
                <a:cubicBezTo>
                  <a:pt x="3239795" y="628447"/>
                  <a:pt x="3262045" y="620601"/>
                  <a:pt x="3276330" y="628338"/>
                </a:cubicBezTo>
                <a:cubicBezTo>
                  <a:pt x="3285119" y="632915"/>
                  <a:pt x="3290888" y="643049"/>
                  <a:pt x="3287043" y="659505"/>
                </a:cubicBezTo>
                <a:lnTo>
                  <a:pt x="3285119" y="660050"/>
                </a:lnTo>
                <a:lnTo>
                  <a:pt x="3291713" y="659177"/>
                </a:lnTo>
                <a:cubicBezTo>
                  <a:pt x="3293635" y="661139"/>
                  <a:pt x="3294459" y="663536"/>
                  <a:pt x="3294184" y="666043"/>
                </a:cubicBezTo>
                <a:lnTo>
                  <a:pt x="3293086" y="668876"/>
                </a:lnTo>
                <a:lnTo>
                  <a:pt x="3293361" y="668658"/>
                </a:lnTo>
                <a:lnTo>
                  <a:pt x="3294459" y="667242"/>
                </a:lnTo>
                <a:cubicBezTo>
                  <a:pt x="3297481" y="660921"/>
                  <a:pt x="3299953" y="654055"/>
                  <a:pt x="3306272" y="649479"/>
                </a:cubicBezTo>
                <a:cubicBezTo>
                  <a:pt x="3310391" y="646537"/>
                  <a:pt x="3316160" y="644575"/>
                  <a:pt x="3324951" y="644575"/>
                </a:cubicBezTo>
                <a:cubicBezTo>
                  <a:pt x="3332367" y="643921"/>
                  <a:pt x="3344453" y="648280"/>
                  <a:pt x="3355716" y="649915"/>
                </a:cubicBezTo>
                <a:lnTo>
                  <a:pt x="3362859" y="650241"/>
                </a:lnTo>
                <a:lnTo>
                  <a:pt x="3363682" y="649806"/>
                </a:lnTo>
                <a:lnTo>
                  <a:pt x="3367803" y="650132"/>
                </a:lnTo>
                <a:lnTo>
                  <a:pt x="3373022" y="648934"/>
                </a:lnTo>
                <a:lnTo>
                  <a:pt x="3368352" y="648389"/>
                </a:lnTo>
                <a:cubicBezTo>
                  <a:pt x="3368078" y="647408"/>
                  <a:pt x="3367528" y="646209"/>
                  <a:pt x="3366978" y="644902"/>
                </a:cubicBezTo>
                <a:cubicBezTo>
                  <a:pt x="3366429" y="643594"/>
                  <a:pt x="3365880" y="642178"/>
                  <a:pt x="3366154" y="640543"/>
                </a:cubicBezTo>
                <a:cubicBezTo>
                  <a:pt x="3368352" y="637601"/>
                  <a:pt x="3370824" y="635857"/>
                  <a:pt x="3373297" y="635203"/>
                </a:cubicBezTo>
                <a:lnTo>
                  <a:pt x="3375220" y="635531"/>
                </a:lnTo>
                <a:lnTo>
                  <a:pt x="3373022" y="630954"/>
                </a:lnTo>
                <a:cubicBezTo>
                  <a:pt x="3373022" y="618749"/>
                  <a:pt x="3385109" y="602512"/>
                  <a:pt x="3391427" y="598479"/>
                </a:cubicBezTo>
                <a:cubicBezTo>
                  <a:pt x="3390328" y="608178"/>
                  <a:pt x="3388130" y="622454"/>
                  <a:pt x="3383460" y="632697"/>
                </a:cubicBezTo>
                <a:lnTo>
                  <a:pt x="3380988" y="636293"/>
                </a:lnTo>
                <a:cubicBezTo>
                  <a:pt x="3381812" y="639235"/>
                  <a:pt x="3381263" y="642178"/>
                  <a:pt x="3379615" y="644466"/>
                </a:cubicBezTo>
                <a:lnTo>
                  <a:pt x="3373297" y="648825"/>
                </a:lnTo>
                <a:lnTo>
                  <a:pt x="3390053" y="645011"/>
                </a:lnTo>
                <a:cubicBezTo>
                  <a:pt x="3397470" y="641960"/>
                  <a:pt x="3402964" y="637492"/>
                  <a:pt x="3402414" y="631063"/>
                </a:cubicBezTo>
                <a:cubicBezTo>
                  <a:pt x="3413127" y="636511"/>
                  <a:pt x="3417248" y="642614"/>
                  <a:pt x="3425214" y="651549"/>
                </a:cubicBezTo>
                <a:cubicBezTo>
                  <a:pt x="3425214" y="651549"/>
                  <a:pt x="3424939" y="651659"/>
                  <a:pt x="3427687" y="651331"/>
                </a:cubicBezTo>
                <a:lnTo>
                  <a:pt x="3432081" y="650896"/>
                </a:lnTo>
                <a:lnTo>
                  <a:pt x="3438125" y="647082"/>
                </a:lnTo>
                <a:cubicBezTo>
                  <a:pt x="3437575" y="645011"/>
                  <a:pt x="3437575" y="645011"/>
                  <a:pt x="3439498" y="644357"/>
                </a:cubicBezTo>
                <a:cubicBezTo>
                  <a:pt x="3439498" y="644357"/>
                  <a:pt x="3439773" y="644357"/>
                  <a:pt x="3438949" y="642286"/>
                </a:cubicBezTo>
                <a:lnTo>
                  <a:pt x="3449662" y="636838"/>
                </a:lnTo>
                <a:lnTo>
                  <a:pt x="3438674" y="618531"/>
                </a:lnTo>
                <a:cubicBezTo>
                  <a:pt x="3435652" y="611665"/>
                  <a:pt x="3434004" y="605453"/>
                  <a:pt x="3435652" y="603711"/>
                </a:cubicBezTo>
                <a:cubicBezTo>
                  <a:pt x="3438674" y="608178"/>
                  <a:pt x="3446915" y="621146"/>
                  <a:pt x="3449387" y="630191"/>
                </a:cubicBezTo>
                <a:lnTo>
                  <a:pt x="3449937" y="636729"/>
                </a:lnTo>
                <a:lnTo>
                  <a:pt x="3454607" y="634332"/>
                </a:lnTo>
                <a:cubicBezTo>
                  <a:pt x="3460101" y="633460"/>
                  <a:pt x="3465594" y="634004"/>
                  <a:pt x="3469440" y="635094"/>
                </a:cubicBezTo>
                <a:cubicBezTo>
                  <a:pt x="3474384" y="635748"/>
                  <a:pt x="3477406" y="637165"/>
                  <a:pt x="3479603" y="636511"/>
                </a:cubicBezTo>
                <a:cubicBezTo>
                  <a:pt x="3481527" y="635857"/>
                  <a:pt x="3485921" y="634440"/>
                  <a:pt x="3488119" y="633787"/>
                </a:cubicBezTo>
                <a:cubicBezTo>
                  <a:pt x="3490316" y="633133"/>
                  <a:pt x="3493888" y="636511"/>
                  <a:pt x="3494437" y="638582"/>
                </a:cubicBezTo>
                <a:cubicBezTo>
                  <a:pt x="3495261" y="640652"/>
                  <a:pt x="3490866" y="641960"/>
                  <a:pt x="3488943" y="642614"/>
                </a:cubicBezTo>
                <a:cubicBezTo>
                  <a:pt x="3486746" y="643268"/>
                  <a:pt x="3484548" y="643921"/>
                  <a:pt x="3484548" y="643921"/>
                </a:cubicBezTo>
                <a:lnTo>
                  <a:pt x="3484548" y="648716"/>
                </a:lnTo>
                <a:lnTo>
                  <a:pt x="3485647" y="647408"/>
                </a:lnTo>
                <a:cubicBezTo>
                  <a:pt x="3485372" y="644466"/>
                  <a:pt x="3500206" y="648934"/>
                  <a:pt x="3503502" y="648607"/>
                </a:cubicBezTo>
                <a:cubicBezTo>
                  <a:pt x="3504052" y="651659"/>
                  <a:pt x="3503777" y="651659"/>
                  <a:pt x="3500480" y="651985"/>
                </a:cubicBezTo>
                <a:lnTo>
                  <a:pt x="3501579" y="652639"/>
                </a:lnTo>
                <a:lnTo>
                  <a:pt x="3497459" y="654492"/>
                </a:lnTo>
                <a:lnTo>
                  <a:pt x="3500206" y="654928"/>
                </a:lnTo>
                <a:lnTo>
                  <a:pt x="3503228" y="653620"/>
                </a:lnTo>
                <a:lnTo>
                  <a:pt x="3503777" y="653947"/>
                </a:lnTo>
                <a:lnTo>
                  <a:pt x="3503777" y="653293"/>
                </a:lnTo>
                <a:lnTo>
                  <a:pt x="3509820" y="650569"/>
                </a:lnTo>
                <a:cubicBezTo>
                  <a:pt x="3521083" y="647517"/>
                  <a:pt x="3536466" y="648280"/>
                  <a:pt x="3540311" y="653838"/>
                </a:cubicBezTo>
                <a:cubicBezTo>
                  <a:pt x="3539487" y="658632"/>
                  <a:pt x="3533169" y="660594"/>
                  <a:pt x="3523829" y="661248"/>
                </a:cubicBezTo>
                <a:cubicBezTo>
                  <a:pt x="3514765" y="661792"/>
                  <a:pt x="3507347" y="661792"/>
                  <a:pt x="3502403" y="661139"/>
                </a:cubicBezTo>
                <a:cubicBezTo>
                  <a:pt x="3500480" y="661792"/>
                  <a:pt x="3500480" y="661792"/>
                  <a:pt x="3498283" y="662446"/>
                </a:cubicBezTo>
                <a:cubicBezTo>
                  <a:pt x="3493339" y="661684"/>
                  <a:pt x="3490316" y="660267"/>
                  <a:pt x="3485372" y="659613"/>
                </a:cubicBezTo>
                <a:cubicBezTo>
                  <a:pt x="3485372" y="659613"/>
                  <a:pt x="3483175" y="660376"/>
                  <a:pt x="3483175" y="660376"/>
                </a:cubicBezTo>
                <a:cubicBezTo>
                  <a:pt x="3483175" y="660376"/>
                  <a:pt x="3480427" y="658851"/>
                  <a:pt x="3478230" y="659613"/>
                </a:cubicBezTo>
                <a:cubicBezTo>
                  <a:pt x="3479054" y="661575"/>
                  <a:pt x="3479878" y="663645"/>
                  <a:pt x="3479878" y="663645"/>
                </a:cubicBezTo>
                <a:cubicBezTo>
                  <a:pt x="3482625" y="664953"/>
                  <a:pt x="3483449" y="667023"/>
                  <a:pt x="3486196" y="668441"/>
                </a:cubicBezTo>
                <a:cubicBezTo>
                  <a:pt x="3488394" y="667787"/>
                  <a:pt x="3493339" y="668549"/>
                  <a:pt x="3495536" y="667896"/>
                </a:cubicBezTo>
                <a:cubicBezTo>
                  <a:pt x="3505700" y="666914"/>
                  <a:pt x="3516413" y="666478"/>
                  <a:pt x="3527126" y="665934"/>
                </a:cubicBezTo>
                <a:lnTo>
                  <a:pt x="3556518" y="663754"/>
                </a:lnTo>
                <a:lnTo>
                  <a:pt x="3558991" y="656780"/>
                </a:lnTo>
                <a:lnTo>
                  <a:pt x="3556792" y="655145"/>
                </a:lnTo>
                <a:cubicBezTo>
                  <a:pt x="3548827" y="646428"/>
                  <a:pt x="3556243" y="638800"/>
                  <a:pt x="3554870" y="638582"/>
                </a:cubicBezTo>
                <a:cubicBezTo>
                  <a:pt x="3553771" y="636838"/>
                  <a:pt x="3553771" y="636838"/>
                  <a:pt x="3552123" y="636620"/>
                </a:cubicBezTo>
                <a:cubicBezTo>
                  <a:pt x="3552398" y="635094"/>
                  <a:pt x="3551024" y="631934"/>
                  <a:pt x="3549925" y="630300"/>
                </a:cubicBezTo>
                <a:cubicBezTo>
                  <a:pt x="3551299" y="630518"/>
                  <a:pt x="3552673" y="630735"/>
                  <a:pt x="3552673" y="629319"/>
                </a:cubicBezTo>
                <a:cubicBezTo>
                  <a:pt x="3555419" y="632697"/>
                  <a:pt x="3555145" y="634113"/>
                  <a:pt x="3556518" y="635857"/>
                </a:cubicBezTo>
                <a:cubicBezTo>
                  <a:pt x="3556518" y="634332"/>
                  <a:pt x="3557892" y="636076"/>
                  <a:pt x="3557892" y="636076"/>
                </a:cubicBezTo>
                <a:cubicBezTo>
                  <a:pt x="3557892" y="636076"/>
                  <a:pt x="3557892" y="636076"/>
                  <a:pt x="3560913" y="633569"/>
                </a:cubicBezTo>
                <a:cubicBezTo>
                  <a:pt x="3560913" y="633569"/>
                  <a:pt x="3568330" y="628774"/>
                  <a:pt x="3575198" y="635857"/>
                </a:cubicBezTo>
                <a:cubicBezTo>
                  <a:pt x="3573549" y="637056"/>
                  <a:pt x="3581241" y="647408"/>
                  <a:pt x="3578219" y="652748"/>
                </a:cubicBezTo>
                <a:cubicBezTo>
                  <a:pt x="3576571" y="655473"/>
                  <a:pt x="3574923" y="656780"/>
                  <a:pt x="3573549" y="659505"/>
                </a:cubicBezTo>
                <a:lnTo>
                  <a:pt x="3570528" y="659613"/>
                </a:lnTo>
                <a:lnTo>
                  <a:pt x="3569978" y="662556"/>
                </a:lnTo>
                <a:lnTo>
                  <a:pt x="3569704" y="662665"/>
                </a:lnTo>
                <a:lnTo>
                  <a:pt x="3576845" y="662991"/>
                </a:lnTo>
                <a:cubicBezTo>
                  <a:pt x="3588932" y="663754"/>
                  <a:pt x="3600194" y="662446"/>
                  <a:pt x="3612282" y="663210"/>
                </a:cubicBezTo>
                <a:cubicBezTo>
                  <a:pt x="3612282" y="663210"/>
                  <a:pt x="3612282" y="663100"/>
                  <a:pt x="3611457" y="661139"/>
                </a:cubicBezTo>
                <a:lnTo>
                  <a:pt x="3621346" y="659505"/>
                </a:lnTo>
                <a:lnTo>
                  <a:pt x="3620797" y="657216"/>
                </a:lnTo>
                <a:cubicBezTo>
                  <a:pt x="3621620" y="653293"/>
                  <a:pt x="3624093" y="649697"/>
                  <a:pt x="3627389" y="647953"/>
                </a:cubicBezTo>
                <a:cubicBezTo>
                  <a:pt x="3629312" y="646754"/>
                  <a:pt x="3631784" y="646318"/>
                  <a:pt x="3634257" y="647191"/>
                </a:cubicBezTo>
                <a:cubicBezTo>
                  <a:pt x="3636454" y="649370"/>
                  <a:pt x="3637553" y="651767"/>
                  <a:pt x="3637553" y="654165"/>
                </a:cubicBezTo>
                <a:lnTo>
                  <a:pt x="3637278" y="655799"/>
                </a:lnTo>
                <a:lnTo>
                  <a:pt x="3646343" y="652421"/>
                </a:lnTo>
                <a:cubicBezTo>
                  <a:pt x="3655683" y="658632"/>
                  <a:pt x="3669143" y="656780"/>
                  <a:pt x="3673538" y="662229"/>
                </a:cubicBezTo>
                <a:cubicBezTo>
                  <a:pt x="3675735" y="661575"/>
                  <a:pt x="3680680" y="662229"/>
                  <a:pt x="3682878" y="661575"/>
                </a:cubicBezTo>
                <a:cubicBezTo>
                  <a:pt x="3690020" y="661575"/>
                  <a:pt x="3696338" y="659613"/>
                  <a:pt x="3702106" y="662446"/>
                </a:cubicBezTo>
                <a:cubicBezTo>
                  <a:pt x="3705678" y="659068"/>
                  <a:pt x="3711995" y="656998"/>
                  <a:pt x="3717215" y="657761"/>
                </a:cubicBezTo>
                <a:cubicBezTo>
                  <a:pt x="3710622" y="652966"/>
                  <a:pt x="3707051" y="649479"/>
                  <a:pt x="3707051" y="642723"/>
                </a:cubicBezTo>
                <a:cubicBezTo>
                  <a:pt x="3711171" y="641415"/>
                  <a:pt x="3716391" y="642505"/>
                  <a:pt x="3722434" y="644357"/>
                </a:cubicBezTo>
                <a:lnTo>
                  <a:pt x="3736443" y="647953"/>
                </a:lnTo>
                <a:lnTo>
                  <a:pt x="3736718" y="646537"/>
                </a:lnTo>
                <a:cubicBezTo>
                  <a:pt x="3722983" y="638146"/>
                  <a:pt x="3712819" y="627575"/>
                  <a:pt x="3707600" y="611992"/>
                </a:cubicBezTo>
                <a:lnTo>
                  <a:pt x="3705403" y="602184"/>
                </a:lnTo>
                <a:lnTo>
                  <a:pt x="3703205" y="598698"/>
                </a:lnTo>
                <a:cubicBezTo>
                  <a:pt x="3699634" y="590307"/>
                  <a:pt x="3699634" y="582352"/>
                  <a:pt x="3695239" y="577448"/>
                </a:cubicBezTo>
                <a:cubicBezTo>
                  <a:pt x="3695239" y="577448"/>
                  <a:pt x="3695239" y="577448"/>
                  <a:pt x="3696887" y="573525"/>
                </a:cubicBezTo>
                <a:cubicBezTo>
                  <a:pt x="3696338" y="572217"/>
                  <a:pt x="3696338" y="572217"/>
                  <a:pt x="3696338" y="572217"/>
                </a:cubicBezTo>
                <a:cubicBezTo>
                  <a:pt x="3695788" y="570909"/>
                  <a:pt x="3698535" y="569602"/>
                  <a:pt x="3698535" y="569602"/>
                </a:cubicBezTo>
                <a:cubicBezTo>
                  <a:pt x="3701557" y="569602"/>
                  <a:pt x="3701832" y="574179"/>
                  <a:pt x="3702930" y="576794"/>
                </a:cubicBezTo>
                <a:cubicBezTo>
                  <a:pt x="3704579" y="576794"/>
                  <a:pt x="3704304" y="578429"/>
                  <a:pt x="3704304" y="580063"/>
                </a:cubicBezTo>
                <a:lnTo>
                  <a:pt x="3705128" y="582242"/>
                </a:lnTo>
                <a:lnTo>
                  <a:pt x="3707051" y="563826"/>
                </a:lnTo>
                <a:cubicBezTo>
                  <a:pt x="3716391" y="535820"/>
                  <a:pt x="3743036" y="517731"/>
                  <a:pt x="3771330" y="517513"/>
                </a:cubicBezTo>
                <a:cubicBezTo>
                  <a:pt x="3825719" y="512609"/>
                  <a:pt x="3863078" y="541377"/>
                  <a:pt x="3863627" y="580063"/>
                </a:cubicBezTo>
                <a:cubicBezTo>
                  <a:pt x="3866648" y="608831"/>
                  <a:pt x="3833685" y="653729"/>
                  <a:pt x="3795777" y="653947"/>
                </a:cubicBezTo>
                <a:lnTo>
                  <a:pt x="3749903" y="649697"/>
                </a:lnTo>
                <a:cubicBezTo>
                  <a:pt x="3749903" y="649697"/>
                  <a:pt x="3750453" y="651767"/>
                  <a:pt x="3750453" y="651767"/>
                </a:cubicBezTo>
                <a:cubicBezTo>
                  <a:pt x="3750453" y="651767"/>
                  <a:pt x="3752650" y="651114"/>
                  <a:pt x="3752650" y="651114"/>
                </a:cubicBezTo>
                <a:cubicBezTo>
                  <a:pt x="3757045" y="656671"/>
                  <a:pt x="3764737" y="658742"/>
                  <a:pt x="3775450" y="662229"/>
                </a:cubicBezTo>
                <a:cubicBezTo>
                  <a:pt x="3783416" y="664299"/>
                  <a:pt x="3791932" y="668441"/>
                  <a:pt x="3796327" y="673889"/>
                </a:cubicBezTo>
                <a:lnTo>
                  <a:pt x="3798524" y="674870"/>
                </a:lnTo>
                <a:lnTo>
                  <a:pt x="3798799" y="671056"/>
                </a:lnTo>
                <a:lnTo>
                  <a:pt x="3800722" y="668876"/>
                </a:lnTo>
                <a:lnTo>
                  <a:pt x="3799074" y="668441"/>
                </a:lnTo>
                <a:cubicBezTo>
                  <a:pt x="3796327" y="667023"/>
                  <a:pt x="3795502" y="665062"/>
                  <a:pt x="3795502" y="665062"/>
                </a:cubicBezTo>
                <a:cubicBezTo>
                  <a:pt x="3796877" y="662337"/>
                  <a:pt x="3799074" y="661684"/>
                  <a:pt x="3799074" y="661684"/>
                </a:cubicBezTo>
                <a:lnTo>
                  <a:pt x="3805117" y="663210"/>
                </a:lnTo>
                <a:lnTo>
                  <a:pt x="3810336" y="659505"/>
                </a:lnTo>
                <a:cubicBezTo>
                  <a:pt x="3813633" y="657869"/>
                  <a:pt x="3815830" y="657869"/>
                  <a:pt x="3816379" y="656998"/>
                </a:cubicBezTo>
                <a:cubicBezTo>
                  <a:pt x="3818852" y="658306"/>
                  <a:pt x="3819676" y="659940"/>
                  <a:pt x="3819676" y="662120"/>
                </a:cubicBezTo>
                <a:lnTo>
                  <a:pt x="3818852" y="667350"/>
                </a:lnTo>
                <a:lnTo>
                  <a:pt x="3829840" y="671600"/>
                </a:lnTo>
                <a:cubicBezTo>
                  <a:pt x="3835334" y="673562"/>
                  <a:pt x="3840553" y="674870"/>
                  <a:pt x="3843299" y="672799"/>
                </a:cubicBezTo>
                <a:cubicBezTo>
                  <a:pt x="3842750" y="677594"/>
                  <a:pt x="3850441" y="679664"/>
                  <a:pt x="3861154" y="683042"/>
                </a:cubicBezTo>
                <a:cubicBezTo>
                  <a:pt x="3869945" y="687183"/>
                  <a:pt x="3880658" y="690671"/>
                  <a:pt x="3880658" y="697536"/>
                </a:cubicBezTo>
                <a:cubicBezTo>
                  <a:pt x="3880658" y="697536"/>
                  <a:pt x="3883405" y="698844"/>
                  <a:pt x="3883405" y="698844"/>
                </a:cubicBezTo>
                <a:cubicBezTo>
                  <a:pt x="3886427" y="700152"/>
                  <a:pt x="3888624" y="699607"/>
                  <a:pt x="3889174" y="701677"/>
                </a:cubicBezTo>
                <a:cubicBezTo>
                  <a:pt x="3899337" y="703093"/>
                  <a:pt x="3896316" y="694921"/>
                  <a:pt x="3907029" y="698408"/>
                </a:cubicBezTo>
                <a:cubicBezTo>
                  <a:pt x="3906205" y="703093"/>
                  <a:pt x="3909226" y="704510"/>
                  <a:pt x="3910600" y="708543"/>
                </a:cubicBezTo>
                <a:cubicBezTo>
                  <a:pt x="3917193" y="706580"/>
                  <a:pt x="3924334" y="706690"/>
                  <a:pt x="3931476" y="706690"/>
                </a:cubicBezTo>
                <a:cubicBezTo>
                  <a:pt x="3943564" y="707453"/>
                  <a:pt x="3957847" y="707561"/>
                  <a:pt x="3962792" y="708215"/>
                </a:cubicBezTo>
                <a:cubicBezTo>
                  <a:pt x="3961418" y="710939"/>
                  <a:pt x="3958396" y="709632"/>
                  <a:pt x="3953452" y="708869"/>
                </a:cubicBezTo>
                <a:cubicBezTo>
                  <a:pt x="3961418" y="717805"/>
                  <a:pt x="3985591" y="725977"/>
                  <a:pt x="4004820" y="726850"/>
                </a:cubicBezTo>
                <a:lnTo>
                  <a:pt x="4008941" y="724780"/>
                </a:lnTo>
                <a:lnTo>
                  <a:pt x="4009216" y="722708"/>
                </a:lnTo>
                <a:cubicBezTo>
                  <a:pt x="4009216" y="722708"/>
                  <a:pt x="4009216" y="722818"/>
                  <a:pt x="4010589" y="721401"/>
                </a:cubicBezTo>
                <a:lnTo>
                  <a:pt x="4010863" y="723798"/>
                </a:lnTo>
                <a:lnTo>
                  <a:pt x="4013885" y="721946"/>
                </a:lnTo>
                <a:cubicBezTo>
                  <a:pt x="4017456" y="721728"/>
                  <a:pt x="4021302" y="722927"/>
                  <a:pt x="4025697" y="724997"/>
                </a:cubicBezTo>
                <a:cubicBezTo>
                  <a:pt x="4029268" y="728375"/>
                  <a:pt x="4035586" y="733061"/>
                  <a:pt x="4035036" y="737856"/>
                </a:cubicBezTo>
                <a:cubicBezTo>
                  <a:pt x="4045749" y="741343"/>
                  <a:pt x="4056462" y="744831"/>
                  <a:pt x="4067176" y="748317"/>
                </a:cubicBezTo>
                <a:cubicBezTo>
                  <a:pt x="4064154" y="747010"/>
                  <a:pt x="4062781" y="742869"/>
                  <a:pt x="4066352" y="739490"/>
                </a:cubicBezTo>
                <a:cubicBezTo>
                  <a:pt x="4075691" y="738836"/>
                  <a:pt x="4080361" y="741997"/>
                  <a:pt x="4084482" y="746029"/>
                </a:cubicBezTo>
                <a:lnTo>
                  <a:pt x="4087503" y="748644"/>
                </a:lnTo>
                <a:lnTo>
                  <a:pt x="4088876" y="747664"/>
                </a:lnTo>
                <a:lnTo>
                  <a:pt x="4093546" y="753766"/>
                </a:lnTo>
                <a:lnTo>
                  <a:pt x="4099315" y="758779"/>
                </a:lnTo>
                <a:cubicBezTo>
                  <a:pt x="4099315" y="758779"/>
                  <a:pt x="4102062" y="760086"/>
                  <a:pt x="4102886" y="762157"/>
                </a:cubicBezTo>
                <a:cubicBezTo>
                  <a:pt x="4105633" y="763464"/>
                  <a:pt x="4106458" y="765535"/>
                  <a:pt x="4109479" y="766952"/>
                </a:cubicBezTo>
                <a:cubicBezTo>
                  <a:pt x="4115797" y="764882"/>
                  <a:pt x="4121290" y="767606"/>
                  <a:pt x="4126510" y="768368"/>
                </a:cubicBezTo>
                <a:cubicBezTo>
                  <a:pt x="4129257" y="769676"/>
                  <a:pt x="4130081" y="771855"/>
                  <a:pt x="4130081" y="771855"/>
                </a:cubicBezTo>
                <a:cubicBezTo>
                  <a:pt x="4130630" y="773926"/>
                  <a:pt x="4128708" y="774579"/>
                  <a:pt x="4126510" y="775234"/>
                </a:cubicBezTo>
                <a:cubicBezTo>
                  <a:pt x="4123763" y="773817"/>
                  <a:pt x="4123763" y="773817"/>
                  <a:pt x="4120741" y="772400"/>
                </a:cubicBezTo>
                <a:cubicBezTo>
                  <a:pt x="4124313" y="775778"/>
                  <a:pt x="4127884" y="779266"/>
                  <a:pt x="4128708" y="781336"/>
                </a:cubicBezTo>
                <a:cubicBezTo>
                  <a:pt x="4128708" y="781336"/>
                  <a:pt x="4131454" y="782644"/>
                  <a:pt x="4131454" y="782644"/>
                </a:cubicBezTo>
                <a:cubicBezTo>
                  <a:pt x="4134476" y="784060"/>
                  <a:pt x="4136674" y="783406"/>
                  <a:pt x="4137223" y="785368"/>
                </a:cubicBezTo>
                <a:cubicBezTo>
                  <a:pt x="4140245" y="780028"/>
                  <a:pt x="4148760" y="784169"/>
                  <a:pt x="4149310" y="779375"/>
                </a:cubicBezTo>
                <a:cubicBezTo>
                  <a:pt x="4157825" y="783515"/>
                  <a:pt x="4171560" y="788419"/>
                  <a:pt x="4185020" y="793323"/>
                </a:cubicBezTo>
                <a:lnTo>
                  <a:pt x="4218258" y="804765"/>
                </a:lnTo>
                <a:lnTo>
                  <a:pt x="4217709" y="803894"/>
                </a:lnTo>
                <a:lnTo>
                  <a:pt x="4223477" y="802695"/>
                </a:lnTo>
                <a:lnTo>
                  <a:pt x="4224301" y="799426"/>
                </a:lnTo>
                <a:lnTo>
                  <a:pt x="4228971" y="790381"/>
                </a:lnTo>
                <a:lnTo>
                  <a:pt x="4228147" y="789618"/>
                </a:lnTo>
                <a:cubicBezTo>
                  <a:pt x="4227323" y="788311"/>
                  <a:pt x="4227323" y="786784"/>
                  <a:pt x="4228147" y="785259"/>
                </a:cubicBezTo>
                <a:lnTo>
                  <a:pt x="4233641" y="781009"/>
                </a:lnTo>
                <a:lnTo>
                  <a:pt x="4234465" y="779811"/>
                </a:lnTo>
                <a:cubicBezTo>
                  <a:pt x="4238586" y="773926"/>
                  <a:pt x="4243805" y="768695"/>
                  <a:pt x="4250397" y="764772"/>
                </a:cubicBezTo>
                <a:cubicBezTo>
                  <a:pt x="4255617" y="761503"/>
                  <a:pt x="4260286" y="759650"/>
                  <a:pt x="4264956" y="758887"/>
                </a:cubicBezTo>
                <a:lnTo>
                  <a:pt x="4270176" y="758779"/>
                </a:lnTo>
                <a:lnTo>
                  <a:pt x="4270725" y="758561"/>
                </a:lnTo>
                <a:lnTo>
                  <a:pt x="4270725" y="758125"/>
                </a:lnTo>
                <a:cubicBezTo>
                  <a:pt x="4275120" y="752785"/>
                  <a:pt x="4277317" y="749298"/>
                  <a:pt x="4279790" y="747446"/>
                </a:cubicBezTo>
                <a:cubicBezTo>
                  <a:pt x="4282262" y="745593"/>
                  <a:pt x="4284734" y="745375"/>
                  <a:pt x="4289953" y="746465"/>
                </a:cubicBezTo>
                <a:lnTo>
                  <a:pt x="4289678" y="750715"/>
                </a:lnTo>
                <a:lnTo>
                  <a:pt x="4291877" y="750061"/>
                </a:lnTo>
                <a:lnTo>
                  <a:pt x="4289404" y="751260"/>
                </a:lnTo>
                <a:lnTo>
                  <a:pt x="4288854" y="760086"/>
                </a:lnTo>
                <a:lnTo>
                  <a:pt x="4292700" y="760740"/>
                </a:lnTo>
                <a:cubicBezTo>
                  <a:pt x="4297370" y="761394"/>
                  <a:pt x="4302590" y="761939"/>
                  <a:pt x="4308084" y="761830"/>
                </a:cubicBezTo>
                <a:cubicBezTo>
                  <a:pt x="4310830" y="780137"/>
                  <a:pt x="4321818" y="780465"/>
                  <a:pt x="4329510" y="786131"/>
                </a:cubicBezTo>
                <a:cubicBezTo>
                  <a:pt x="4328685" y="789509"/>
                  <a:pt x="4328136" y="792996"/>
                  <a:pt x="4328136" y="796702"/>
                </a:cubicBezTo>
                <a:lnTo>
                  <a:pt x="4328960" y="807708"/>
                </a:lnTo>
                <a:lnTo>
                  <a:pt x="4335553" y="812393"/>
                </a:lnTo>
                <a:cubicBezTo>
                  <a:pt x="4339123" y="816861"/>
                  <a:pt x="4339673" y="822528"/>
                  <a:pt x="4336652" y="826233"/>
                </a:cubicBezTo>
                <a:lnTo>
                  <a:pt x="4330883" y="829175"/>
                </a:lnTo>
                <a:lnTo>
                  <a:pt x="4330883" y="830919"/>
                </a:lnTo>
                <a:cubicBezTo>
                  <a:pt x="4324291" y="837675"/>
                  <a:pt x="4319071" y="844758"/>
                  <a:pt x="4313577" y="851733"/>
                </a:cubicBezTo>
                <a:lnTo>
                  <a:pt x="4311929" y="853803"/>
                </a:lnTo>
                <a:lnTo>
                  <a:pt x="4316324" y="854239"/>
                </a:lnTo>
                <a:lnTo>
                  <a:pt x="4321818" y="860559"/>
                </a:lnTo>
                <a:lnTo>
                  <a:pt x="4327861" y="858162"/>
                </a:lnTo>
                <a:cubicBezTo>
                  <a:pt x="4333355" y="857399"/>
                  <a:pt x="4338849" y="857944"/>
                  <a:pt x="4342969" y="860450"/>
                </a:cubicBezTo>
                <a:lnTo>
                  <a:pt x="4347914" y="867098"/>
                </a:lnTo>
                <a:lnTo>
                  <a:pt x="4348738" y="867098"/>
                </a:lnTo>
                <a:cubicBezTo>
                  <a:pt x="4351760" y="870149"/>
                  <a:pt x="4353408" y="874508"/>
                  <a:pt x="4352035" y="875925"/>
                </a:cubicBezTo>
                <a:lnTo>
                  <a:pt x="4349013" y="878540"/>
                </a:lnTo>
                <a:lnTo>
                  <a:pt x="4350111" y="879194"/>
                </a:lnTo>
                <a:cubicBezTo>
                  <a:pt x="4356979" y="882790"/>
                  <a:pt x="4363572" y="885078"/>
                  <a:pt x="4369890" y="885406"/>
                </a:cubicBezTo>
                <a:lnTo>
                  <a:pt x="4384449" y="901642"/>
                </a:lnTo>
                <a:lnTo>
                  <a:pt x="4388019" y="895539"/>
                </a:lnTo>
                <a:cubicBezTo>
                  <a:pt x="4390492" y="893033"/>
                  <a:pt x="4393513" y="891508"/>
                  <a:pt x="4397634" y="891835"/>
                </a:cubicBezTo>
                <a:lnTo>
                  <a:pt x="4393238" y="910796"/>
                </a:lnTo>
                <a:lnTo>
                  <a:pt x="4404226" y="922347"/>
                </a:lnTo>
                <a:cubicBezTo>
                  <a:pt x="4405051" y="924418"/>
                  <a:pt x="4407248" y="923873"/>
                  <a:pt x="4407797" y="925943"/>
                </a:cubicBezTo>
                <a:cubicBezTo>
                  <a:pt x="4407797" y="925943"/>
                  <a:pt x="4407797" y="925834"/>
                  <a:pt x="4407248" y="923764"/>
                </a:cubicBezTo>
                <a:lnTo>
                  <a:pt x="4410545" y="925399"/>
                </a:lnTo>
                <a:lnTo>
                  <a:pt x="4410820" y="924418"/>
                </a:lnTo>
                <a:cubicBezTo>
                  <a:pt x="4423730" y="924526"/>
                  <a:pt x="4436640" y="914065"/>
                  <a:pt x="4450375" y="909815"/>
                </a:cubicBezTo>
                <a:cubicBezTo>
                  <a:pt x="4458341" y="914610"/>
                  <a:pt x="4466308" y="917988"/>
                  <a:pt x="4473999" y="921257"/>
                </a:cubicBezTo>
                <a:lnTo>
                  <a:pt x="4483339" y="925943"/>
                </a:lnTo>
                <a:lnTo>
                  <a:pt x="4487459" y="919623"/>
                </a:lnTo>
                <a:cubicBezTo>
                  <a:pt x="4489931" y="921148"/>
                  <a:pt x="4491030" y="922783"/>
                  <a:pt x="4491030" y="924635"/>
                </a:cubicBezTo>
                <a:lnTo>
                  <a:pt x="4489382" y="928777"/>
                </a:lnTo>
                <a:lnTo>
                  <a:pt x="4497898" y="932809"/>
                </a:lnTo>
                <a:lnTo>
                  <a:pt x="4502017" y="947520"/>
                </a:lnTo>
                <a:lnTo>
                  <a:pt x="4509709" y="944905"/>
                </a:lnTo>
                <a:cubicBezTo>
                  <a:pt x="4510808" y="948719"/>
                  <a:pt x="4510808" y="951661"/>
                  <a:pt x="4509984" y="953949"/>
                </a:cubicBezTo>
                <a:lnTo>
                  <a:pt x="4506962" y="957436"/>
                </a:lnTo>
                <a:lnTo>
                  <a:pt x="4509984" y="963539"/>
                </a:lnTo>
                <a:lnTo>
                  <a:pt x="4510808" y="961904"/>
                </a:lnTo>
                <a:cubicBezTo>
                  <a:pt x="4516577" y="964629"/>
                  <a:pt x="4522894" y="969424"/>
                  <a:pt x="4515203" y="974110"/>
                </a:cubicBezTo>
                <a:cubicBezTo>
                  <a:pt x="4514379" y="978904"/>
                  <a:pt x="4526740" y="986423"/>
                  <a:pt x="4521796" y="992526"/>
                </a:cubicBezTo>
                <a:cubicBezTo>
                  <a:pt x="4519599" y="989693"/>
                  <a:pt x="4518224" y="987949"/>
                  <a:pt x="4516851" y="987186"/>
                </a:cubicBezTo>
                <a:lnTo>
                  <a:pt x="4514929" y="987840"/>
                </a:lnTo>
                <a:lnTo>
                  <a:pt x="4514379" y="992417"/>
                </a:lnTo>
                <a:lnTo>
                  <a:pt x="4520972" y="992853"/>
                </a:lnTo>
                <a:cubicBezTo>
                  <a:pt x="4527564" y="994051"/>
                  <a:pt x="4526740" y="996667"/>
                  <a:pt x="4533333" y="998192"/>
                </a:cubicBezTo>
                <a:cubicBezTo>
                  <a:pt x="4542124" y="998192"/>
                  <a:pt x="4546519" y="988058"/>
                  <a:pt x="4559704" y="985987"/>
                </a:cubicBezTo>
                <a:cubicBezTo>
                  <a:pt x="4566296" y="985987"/>
                  <a:pt x="4587997" y="998192"/>
                  <a:pt x="4587997" y="1002224"/>
                </a:cubicBezTo>
                <a:lnTo>
                  <a:pt x="4592942" y="1000808"/>
                </a:lnTo>
                <a:lnTo>
                  <a:pt x="4594315" y="998628"/>
                </a:lnTo>
                <a:cubicBezTo>
                  <a:pt x="4594865" y="997102"/>
                  <a:pt x="4595140" y="995250"/>
                  <a:pt x="4595964" y="993288"/>
                </a:cubicBezTo>
                <a:lnTo>
                  <a:pt x="4597886" y="988494"/>
                </a:lnTo>
                <a:lnTo>
                  <a:pt x="4594865" y="991000"/>
                </a:lnTo>
                <a:cubicBezTo>
                  <a:pt x="4595415" y="981193"/>
                  <a:pt x="4593491" y="970077"/>
                  <a:pt x="4597062" y="960161"/>
                </a:cubicBezTo>
                <a:lnTo>
                  <a:pt x="4600084" y="964847"/>
                </a:lnTo>
                <a:lnTo>
                  <a:pt x="4601732" y="963103"/>
                </a:lnTo>
                <a:cubicBezTo>
                  <a:pt x="4603106" y="963103"/>
                  <a:pt x="4603106" y="963103"/>
                  <a:pt x="4603106" y="964520"/>
                </a:cubicBezTo>
                <a:cubicBezTo>
                  <a:pt x="4603106" y="964520"/>
                  <a:pt x="4603106" y="965827"/>
                  <a:pt x="4601732" y="965827"/>
                </a:cubicBezTo>
                <a:lnTo>
                  <a:pt x="4601183" y="966372"/>
                </a:lnTo>
                <a:lnTo>
                  <a:pt x="4601732" y="967244"/>
                </a:lnTo>
                <a:lnTo>
                  <a:pt x="4602831" y="972802"/>
                </a:lnTo>
                <a:lnTo>
                  <a:pt x="4603106" y="972693"/>
                </a:lnTo>
                <a:cubicBezTo>
                  <a:pt x="4605853" y="971276"/>
                  <a:pt x="4608874" y="968660"/>
                  <a:pt x="4612995" y="971385"/>
                </a:cubicBezTo>
                <a:cubicBezTo>
                  <a:pt x="4612995" y="972693"/>
                  <a:pt x="4612995" y="974110"/>
                  <a:pt x="4612995" y="974110"/>
                </a:cubicBezTo>
                <a:cubicBezTo>
                  <a:pt x="4616016" y="971385"/>
                  <a:pt x="4620411" y="967244"/>
                  <a:pt x="4624532" y="961796"/>
                </a:cubicBezTo>
                <a:lnTo>
                  <a:pt x="4631124" y="954712"/>
                </a:lnTo>
                <a:lnTo>
                  <a:pt x="4630850" y="952532"/>
                </a:lnTo>
                <a:cubicBezTo>
                  <a:pt x="4630850" y="947084"/>
                  <a:pt x="4631674" y="943924"/>
                  <a:pt x="4631674" y="943924"/>
                </a:cubicBezTo>
                <a:lnTo>
                  <a:pt x="4641288" y="943270"/>
                </a:lnTo>
                <a:lnTo>
                  <a:pt x="4643211" y="941200"/>
                </a:lnTo>
                <a:cubicBezTo>
                  <a:pt x="4643211" y="941200"/>
                  <a:pt x="4644585" y="939783"/>
                  <a:pt x="4644585" y="938475"/>
                </a:cubicBezTo>
                <a:cubicBezTo>
                  <a:pt x="4644585" y="938475"/>
                  <a:pt x="4645958" y="937059"/>
                  <a:pt x="4647331" y="938475"/>
                </a:cubicBezTo>
                <a:cubicBezTo>
                  <a:pt x="4647331" y="938475"/>
                  <a:pt x="4647331" y="939783"/>
                  <a:pt x="4647331" y="939783"/>
                </a:cubicBezTo>
                <a:cubicBezTo>
                  <a:pt x="4647331" y="941200"/>
                  <a:pt x="4647331" y="941200"/>
                  <a:pt x="4647331" y="941200"/>
                </a:cubicBezTo>
                <a:cubicBezTo>
                  <a:pt x="4648980" y="941200"/>
                  <a:pt x="4651727" y="939783"/>
                  <a:pt x="4653100" y="938475"/>
                </a:cubicBezTo>
                <a:cubicBezTo>
                  <a:pt x="4653100" y="937059"/>
                  <a:pt x="4653100" y="935641"/>
                  <a:pt x="4654749" y="934334"/>
                </a:cubicBezTo>
                <a:cubicBezTo>
                  <a:pt x="4654749" y="934334"/>
                  <a:pt x="4654749" y="934334"/>
                  <a:pt x="4656122" y="933026"/>
                </a:cubicBezTo>
                <a:cubicBezTo>
                  <a:pt x="4653100" y="933026"/>
                  <a:pt x="4651727" y="935641"/>
                  <a:pt x="4650353" y="937059"/>
                </a:cubicBezTo>
                <a:cubicBezTo>
                  <a:pt x="4649255" y="935969"/>
                  <a:pt x="4653100" y="932700"/>
                  <a:pt x="4653100" y="930520"/>
                </a:cubicBezTo>
                <a:lnTo>
                  <a:pt x="4652276" y="929648"/>
                </a:lnTo>
                <a:lnTo>
                  <a:pt x="4647331" y="931283"/>
                </a:lnTo>
                <a:cubicBezTo>
                  <a:pt x="4640739" y="931283"/>
                  <a:pt x="4636344" y="921148"/>
                  <a:pt x="4627554" y="919078"/>
                </a:cubicBezTo>
                <a:cubicBezTo>
                  <a:pt x="4623159" y="919078"/>
                  <a:pt x="4612171" y="927142"/>
                  <a:pt x="4607776" y="933245"/>
                </a:cubicBezTo>
                <a:cubicBezTo>
                  <a:pt x="4605578" y="929212"/>
                  <a:pt x="4603380" y="925180"/>
                  <a:pt x="4603380" y="921040"/>
                </a:cubicBezTo>
                <a:cubicBezTo>
                  <a:pt x="4603380" y="917007"/>
                  <a:pt x="4605578" y="910905"/>
                  <a:pt x="4605578" y="902841"/>
                </a:cubicBezTo>
                <a:cubicBezTo>
                  <a:pt x="4590470" y="902841"/>
                  <a:pt x="4572889" y="910905"/>
                  <a:pt x="4557507" y="910905"/>
                </a:cubicBezTo>
                <a:cubicBezTo>
                  <a:pt x="4555308" y="910905"/>
                  <a:pt x="4553111" y="908943"/>
                  <a:pt x="4553111" y="906873"/>
                </a:cubicBezTo>
                <a:cubicBezTo>
                  <a:pt x="4553111" y="902841"/>
                  <a:pt x="4555308" y="898700"/>
                  <a:pt x="4555308" y="896738"/>
                </a:cubicBezTo>
                <a:cubicBezTo>
                  <a:pt x="4555308" y="888566"/>
                  <a:pt x="4553111" y="880501"/>
                  <a:pt x="4537728" y="880501"/>
                </a:cubicBezTo>
                <a:cubicBezTo>
                  <a:pt x="4513555" y="880501"/>
                  <a:pt x="4520148" y="906873"/>
                  <a:pt x="4502567" y="906873"/>
                </a:cubicBezTo>
                <a:lnTo>
                  <a:pt x="4502292" y="906764"/>
                </a:lnTo>
                <a:lnTo>
                  <a:pt x="4495974" y="908943"/>
                </a:lnTo>
                <a:lnTo>
                  <a:pt x="4497623" y="904475"/>
                </a:lnTo>
                <a:lnTo>
                  <a:pt x="4495700" y="903604"/>
                </a:lnTo>
                <a:cubicBezTo>
                  <a:pt x="4494326" y="902296"/>
                  <a:pt x="4493777" y="900771"/>
                  <a:pt x="4493777" y="898809"/>
                </a:cubicBezTo>
                <a:cubicBezTo>
                  <a:pt x="4494876" y="894668"/>
                  <a:pt x="4497073" y="891399"/>
                  <a:pt x="4499546" y="888566"/>
                </a:cubicBezTo>
                <a:lnTo>
                  <a:pt x="4501468" y="887040"/>
                </a:lnTo>
                <a:lnTo>
                  <a:pt x="4502017" y="880938"/>
                </a:lnTo>
                <a:lnTo>
                  <a:pt x="4502017" y="880393"/>
                </a:lnTo>
                <a:lnTo>
                  <a:pt x="4498172" y="873854"/>
                </a:lnTo>
                <a:cubicBezTo>
                  <a:pt x="4497348" y="871457"/>
                  <a:pt x="4497073" y="869060"/>
                  <a:pt x="4497623" y="867098"/>
                </a:cubicBezTo>
                <a:lnTo>
                  <a:pt x="4497898" y="866553"/>
                </a:lnTo>
                <a:lnTo>
                  <a:pt x="4496798" y="866771"/>
                </a:lnTo>
                <a:cubicBezTo>
                  <a:pt x="4495700" y="867207"/>
                  <a:pt x="4494876" y="867751"/>
                  <a:pt x="4493777" y="867425"/>
                </a:cubicBezTo>
                <a:cubicBezTo>
                  <a:pt x="4493777" y="867425"/>
                  <a:pt x="4490755" y="864156"/>
                  <a:pt x="4490755" y="864156"/>
                </a:cubicBezTo>
                <a:cubicBezTo>
                  <a:pt x="4491854" y="862085"/>
                  <a:pt x="4491579" y="861976"/>
                  <a:pt x="4492129" y="863393"/>
                </a:cubicBezTo>
                <a:cubicBezTo>
                  <a:pt x="4494326" y="860668"/>
                  <a:pt x="4495700" y="860015"/>
                  <a:pt x="4497073" y="859360"/>
                </a:cubicBezTo>
                <a:lnTo>
                  <a:pt x="4499271" y="864701"/>
                </a:lnTo>
                <a:lnTo>
                  <a:pt x="4502567" y="859905"/>
                </a:lnTo>
                <a:lnTo>
                  <a:pt x="4508611" y="857726"/>
                </a:lnTo>
                <a:lnTo>
                  <a:pt x="4510808" y="853258"/>
                </a:lnTo>
                <a:lnTo>
                  <a:pt x="4513005" y="856745"/>
                </a:lnTo>
                <a:lnTo>
                  <a:pt x="4522070" y="858271"/>
                </a:lnTo>
                <a:lnTo>
                  <a:pt x="4526740" y="862303"/>
                </a:lnTo>
                <a:lnTo>
                  <a:pt x="4520148" y="844431"/>
                </a:lnTo>
                <a:cubicBezTo>
                  <a:pt x="4517401" y="836804"/>
                  <a:pt x="4514654" y="829720"/>
                  <a:pt x="4511357" y="823617"/>
                </a:cubicBezTo>
                <a:cubicBezTo>
                  <a:pt x="4502567" y="815554"/>
                  <a:pt x="4478669" y="821656"/>
                  <a:pt x="4478669" y="809451"/>
                </a:cubicBezTo>
                <a:cubicBezTo>
                  <a:pt x="4478669" y="803349"/>
                  <a:pt x="4490755" y="796157"/>
                  <a:pt x="4497073" y="781772"/>
                </a:cubicBezTo>
                <a:lnTo>
                  <a:pt x="4498996" y="772836"/>
                </a:lnTo>
                <a:lnTo>
                  <a:pt x="4498172" y="771965"/>
                </a:lnTo>
                <a:lnTo>
                  <a:pt x="4498996" y="771746"/>
                </a:lnTo>
                <a:lnTo>
                  <a:pt x="4500095" y="766734"/>
                </a:lnTo>
                <a:lnTo>
                  <a:pt x="4497348" y="762048"/>
                </a:lnTo>
                <a:cubicBezTo>
                  <a:pt x="4496249" y="759324"/>
                  <a:pt x="4495700" y="756491"/>
                  <a:pt x="4495700" y="753439"/>
                </a:cubicBezTo>
                <a:lnTo>
                  <a:pt x="4496524" y="753439"/>
                </a:lnTo>
                <a:lnTo>
                  <a:pt x="4493777" y="748644"/>
                </a:lnTo>
                <a:lnTo>
                  <a:pt x="4486361" y="747227"/>
                </a:lnTo>
                <a:lnTo>
                  <a:pt x="4486086" y="747446"/>
                </a:lnTo>
                <a:lnTo>
                  <a:pt x="4486086" y="747227"/>
                </a:lnTo>
                <a:lnTo>
                  <a:pt x="4481141" y="746356"/>
                </a:lnTo>
                <a:cubicBezTo>
                  <a:pt x="4475373" y="745593"/>
                  <a:pt x="4468779" y="744612"/>
                  <a:pt x="4465484" y="742542"/>
                </a:cubicBezTo>
                <a:lnTo>
                  <a:pt x="4474548" y="736112"/>
                </a:lnTo>
                <a:lnTo>
                  <a:pt x="4472900" y="735567"/>
                </a:lnTo>
                <a:lnTo>
                  <a:pt x="4472351" y="732298"/>
                </a:lnTo>
                <a:lnTo>
                  <a:pt x="4472076" y="732407"/>
                </a:lnTo>
                <a:cubicBezTo>
                  <a:pt x="4469879" y="728375"/>
                  <a:pt x="4460814" y="726305"/>
                  <a:pt x="4458616" y="720203"/>
                </a:cubicBezTo>
                <a:cubicBezTo>
                  <a:pt x="4458616" y="720203"/>
                  <a:pt x="4454496" y="718240"/>
                  <a:pt x="4450101" y="712138"/>
                </a:cubicBezTo>
                <a:cubicBezTo>
                  <a:pt x="4445705" y="714208"/>
                  <a:pt x="4441310" y="714100"/>
                  <a:pt x="4436915" y="714100"/>
                </a:cubicBezTo>
                <a:cubicBezTo>
                  <a:pt x="4434718" y="714100"/>
                  <a:pt x="4432520" y="714100"/>
                  <a:pt x="4430322" y="710068"/>
                </a:cubicBezTo>
                <a:cubicBezTo>
                  <a:pt x="4432520" y="706036"/>
                  <a:pt x="4439113" y="706036"/>
                  <a:pt x="4445705" y="706036"/>
                </a:cubicBezTo>
                <a:cubicBezTo>
                  <a:pt x="4443508" y="703965"/>
                  <a:pt x="4443508" y="699933"/>
                  <a:pt x="4443508" y="695901"/>
                </a:cubicBezTo>
                <a:cubicBezTo>
                  <a:pt x="4443508" y="695901"/>
                  <a:pt x="4441310" y="695901"/>
                  <a:pt x="4441310" y="695901"/>
                </a:cubicBezTo>
                <a:cubicBezTo>
                  <a:pt x="4441310" y="695901"/>
                  <a:pt x="4441310" y="695792"/>
                  <a:pt x="4441310" y="671491"/>
                </a:cubicBezTo>
                <a:cubicBezTo>
                  <a:pt x="4441310" y="667459"/>
                  <a:pt x="4443508" y="665498"/>
                  <a:pt x="4450101" y="651222"/>
                </a:cubicBezTo>
                <a:cubicBezTo>
                  <a:pt x="4450101" y="647191"/>
                  <a:pt x="4445705" y="643049"/>
                  <a:pt x="4445705" y="639017"/>
                </a:cubicBezTo>
                <a:lnTo>
                  <a:pt x="4447628" y="636947"/>
                </a:lnTo>
                <a:lnTo>
                  <a:pt x="4447353" y="633569"/>
                </a:lnTo>
                <a:cubicBezTo>
                  <a:pt x="4447079" y="631608"/>
                  <a:pt x="4446804" y="629973"/>
                  <a:pt x="4446804" y="628447"/>
                </a:cubicBezTo>
                <a:cubicBezTo>
                  <a:pt x="4448178" y="626703"/>
                  <a:pt x="4451474" y="623979"/>
                  <a:pt x="4454496" y="622018"/>
                </a:cubicBezTo>
                <a:cubicBezTo>
                  <a:pt x="4457792" y="620165"/>
                  <a:pt x="4461088" y="619075"/>
                  <a:pt x="4463011" y="620383"/>
                </a:cubicBezTo>
                <a:cubicBezTo>
                  <a:pt x="4466857" y="623217"/>
                  <a:pt x="4469879" y="626812"/>
                  <a:pt x="4471527" y="630300"/>
                </a:cubicBezTo>
                <a:lnTo>
                  <a:pt x="4471527" y="633787"/>
                </a:lnTo>
                <a:lnTo>
                  <a:pt x="4473449" y="633133"/>
                </a:lnTo>
                <a:cubicBezTo>
                  <a:pt x="4479767" y="625941"/>
                  <a:pt x="4477295" y="611120"/>
                  <a:pt x="4487185" y="606544"/>
                </a:cubicBezTo>
                <a:cubicBezTo>
                  <a:pt x="4487185" y="605998"/>
                  <a:pt x="4488009" y="604800"/>
                  <a:pt x="4489382" y="602947"/>
                </a:cubicBezTo>
                <a:lnTo>
                  <a:pt x="4492679" y="598806"/>
                </a:lnTo>
                <a:lnTo>
                  <a:pt x="4486635" y="599678"/>
                </a:lnTo>
                <a:cubicBezTo>
                  <a:pt x="4488558" y="594992"/>
                  <a:pt x="4493502" y="590198"/>
                  <a:pt x="4498996" y="588127"/>
                </a:cubicBezTo>
                <a:lnTo>
                  <a:pt x="4502842" y="587800"/>
                </a:lnTo>
                <a:lnTo>
                  <a:pt x="4506687" y="581807"/>
                </a:lnTo>
                <a:cubicBezTo>
                  <a:pt x="4508336" y="580063"/>
                  <a:pt x="4510259" y="578864"/>
                  <a:pt x="4512456" y="578101"/>
                </a:cubicBezTo>
                <a:cubicBezTo>
                  <a:pt x="4512456" y="578101"/>
                  <a:pt x="4512456" y="578210"/>
                  <a:pt x="4511083" y="578647"/>
                </a:cubicBezTo>
                <a:cubicBezTo>
                  <a:pt x="4504216" y="575160"/>
                  <a:pt x="4491854" y="568948"/>
                  <a:pt x="4492129" y="564371"/>
                </a:cubicBezTo>
                <a:cubicBezTo>
                  <a:pt x="4493502" y="563826"/>
                  <a:pt x="4494876" y="563390"/>
                  <a:pt x="4496798" y="564262"/>
                </a:cubicBezTo>
                <a:cubicBezTo>
                  <a:pt x="4498447" y="565134"/>
                  <a:pt x="4497073" y="565570"/>
                  <a:pt x="4498447" y="565134"/>
                </a:cubicBezTo>
                <a:cubicBezTo>
                  <a:pt x="4500095" y="566005"/>
                  <a:pt x="4499820" y="564589"/>
                  <a:pt x="4499820" y="564589"/>
                </a:cubicBezTo>
                <a:cubicBezTo>
                  <a:pt x="4499820" y="564589"/>
                  <a:pt x="4500095" y="566005"/>
                  <a:pt x="4500095" y="566005"/>
                </a:cubicBezTo>
                <a:cubicBezTo>
                  <a:pt x="4500095" y="566005"/>
                  <a:pt x="4500095" y="566005"/>
                  <a:pt x="4503666" y="567749"/>
                </a:cubicBezTo>
                <a:cubicBezTo>
                  <a:pt x="4508611" y="568948"/>
                  <a:pt x="4509984" y="568512"/>
                  <a:pt x="4513005" y="568839"/>
                </a:cubicBezTo>
                <a:cubicBezTo>
                  <a:pt x="4516577" y="570582"/>
                  <a:pt x="4516851" y="571890"/>
                  <a:pt x="4520697" y="575050"/>
                </a:cubicBezTo>
                <a:cubicBezTo>
                  <a:pt x="4520148" y="578319"/>
                  <a:pt x="4520148" y="578429"/>
                  <a:pt x="4518774" y="578864"/>
                </a:cubicBezTo>
                <a:cubicBezTo>
                  <a:pt x="4520148" y="578429"/>
                  <a:pt x="4520423" y="579737"/>
                  <a:pt x="4522070" y="580608"/>
                </a:cubicBezTo>
                <a:cubicBezTo>
                  <a:pt x="4526191" y="581479"/>
                  <a:pt x="4528114" y="583768"/>
                  <a:pt x="4528388" y="587037"/>
                </a:cubicBezTo>
                <a:lnTo>
                  <a:pt x="4531136" y="586275"/>
                </a:lnTo>
                <a:cubicBezTo>
                  <a:pt x="4531136" y="588345"/>
                  <a:pt x="4539925" y="590415"/>
                  <a:pt x="4544321" y="592486"/>
                </a:cubicBezTo>
                <a:cubicBezTo>
                  <a:pt x="4539101" y="584640"/>
                  <a:pt x="4533882" y="572980"/>
                  <a:pt x="4531410" y="566115"/>
                </a:cubicBezTo>
                <a:cubicBezTo>
                  <a:pt x="4538003" y="566441"/>
                  <a:pt x="4557507" y="586275"/>
                  <a:pt x="4570692" y="586275"/>
                </a:cubicBezTo>
                <a:cubicBezTo>
                  <a:pt x="4575087" y="586601"/>
                  <a:pt x="4578383" y="586166"/>
                  <a:pt x="4581405" y="585185"/>
                </a:cubicBezTo>
                <a:lnTo>
                  <a:pt x="4587722" y="581589"/>
                </a:lnTo>
                <a:lnTo>
                  <a:pt x="4586075" y="578538"/>
                </a:lnTo>
                <a:cubicBezTo>
                  <a:pt x="4585251" y="573416"/>
                  <a:pt x="4586075" y="569166"/>
                  <a:pt x="4587997" y="565679"/>
                </a:cubicBezTo>
                <a:lnTo>
                  <a:pt x="4596238" y="557942"/>
                </a:lnTo>
                <a:lnTo>
                  <a:pt x="4596788" y="554999"/>
                </a:lnTo>
                <a:cubicBezTo>
                  <a:pt x="4597886" y="551512"/>
                  <a:pt x="4599534" y="549333"/>
                  <a:pt x="4603380" y="549768"/>
                </a:cubicBezTo>
                <a:cubicBezTo>
                  <a:pt x="4612171" y="549768"/>
                  <a:pt x="4616566" y="553800"/>
                  <a:pt x="4623159" y="557942"/>
                </a:cubicBezTo>
                <a:cubicBezTo>
                  <a:pt x="4627554" y="547698"/>
                  <a:pt x="4636344" y="533531"/>
                  <a:pt x="4647331" y="535602"/>
                </a:cubicBezTo>
                <a:cubicBezTo>
                  <a:pt x="4649529" y="535602"/>
                  <a:pt x="4653924" y="537563"/>
                  <a:pt x="4656122" y="537563"/>
                </a:cubicBezTo>
                <a:cubicBezTo>
                  <a:pt x="4658319" y="531461"/>
                  <a:pt x="4658319" y="527429"/>
                  <a:pt x="4658319" y="525468"/>
                </a:cubicBezTo>
                <a:cubicBezTo>
                  <a:pt x="4658319" y="513263"/>
                  <a:pt x="4651727" y="503128"/>
                  <a:pt x="4651727" y="495064"/>
                </a:cubicBezTo>
                <a:cubicBezTo>
                  <a:pt x="4651727" y="492994"/>
                  <a:pt x="4653924" y="484821"/>
                  <a:pt x="4658319" y="484821"/>
                </a:cubicBezTo>
                <a:cubicBezTo>
                  <a:pt x="4664912" y="484821"/>
                  <a:pt x="4667110" y="488961"/>
                  <a:pt x="4667110" y="491033"/>
                </a:cubicBezTo>
                <a:cubicBezTo>
                  <a:pt x="4667110" y="497026"/>
                  <a:pt x="4664912" y="501058"/>
                  <a:pt x="4664912" y="507160"/>
                </a:cubicBezTo>
                <a:cubicBezTo>
                  <a:pt x="4664912" y="517294"/>
                  <a:pt x="4669032" y="529500"/>
                  <a:pt x="4680020" y="529500"/>
                </a:cubicBezTo>
                <a:cubicBezTo>
                  <a:pt x="4682218" y="529500"/>
                  <a:pt x="4684415" y="529500"/>
                  <a:pt x="4686613" y="529282"/>
                </a:cubicBezTo>
                <a:lnTo>
                  <a:pt x="4688261" y="528846"/>
                </a:lnTo>
                <a:lnTo>
                  <a:pt x="4681119" y="524595"/>
                </a:lnTo>
                <a:cubicBezTo>
                  <a:pt x="4676999" y="517731"/>
                  <a:pt x="4679196" y="510320"/>
                  <a:pt x="4684415" y="507160"/>
                </a:cubicBezTo>
                <a:cubicBezTo>
                  <a:pt x="4686063" y="506071"/>
                  <a:pt x="4687987" y="505526"/>
                  <a:pt x="4690458" y="505634"/>
                </a:cubicBezTo>
                <a:cubicBezTo>
                  <a:pt x="4693481" y="505743"/>
                  <a:pt x="4697051" y="506942"/>
                  <a:pt x="4700897" y="509776"/>
                </a:cubicBezTo>
                <a:cubicBezTo>
                  <a:pt x="4703644" y="512935"/>
                  <a:pt x="4703095" y="518166"/>
                  <a:pt x="4700897" y="522634"/>
                </a:cubicBezTo>
                <a:lnTo>
                  <a:pt x="4699798" y="524487"/>
                </a:lnTo>
                <a:lnTo>
                  <a:pt x="4704194" y="523506"/>
                </a:lnTo>
                <a:cubicBezTo>
                  <a:pt x="4706391" y="523506"/>
                  <a:pt x="4715181" y="525359"/>
                  <a:pt x="4717379" y="533531"/>
                </a:cubicBezTo>
                <a:cubicBezTo>
                  <a:pt x="4719577" y="535493"/>
                  <a:pt x="4721774" y="537563"/>
                  <a:pt x="4723971" y="537563"/>
                </a:cubicBezTo>
                <a:lnTo>
                  <a:pt x="4726718" y="536474"/>
                </a:lnTo>
                <a:lnTo>
                  <a:pt x="4727268" y="535602"/>
                </a:lnTo>
                <a:cubicBezTo>
                  <a:pt x="4730014" y="532115"/>
                  <a:pt x="4732762" y="529391"/>
                  <a:pt x="4734959" y="528083"/>
                </a:cubicBezTo>
                <a:lnTo>
                  <a:pt x="4734410" y="531897"/>
                </a:lnTo>
                <a:lnTo>
                  <a:pt x="4738805" y="525468"/>
                </a:lnTo>
                <a:cubicBezTo>
                  <a:pt x="4742102" y="519365"/>
                  <a:pt x="4744848" y="513263"/>
                  <a:pt x="4750342" y="513263"/>
                </a:cubicBezTo>
                <a:cubicBezTo>
                  <a:pt x="4767922" y="515333"/>
                  <a:pt x="4791821" y="561973"/>
                  <a:pt x="4800611" y="582242"/>
                </a:cubicBezTo>
                <a:cubicBezTo>
                  <a:pt x="4807204" y="580281"/>
                  <a:pt x="4811599" y="580172"/>
                  <a:pt x="4818192" y="580172"/>
                </a:cubicBezTo>
                <a:cubicBezTo>
                  <a:pt x="4824785" y="582242"/>
                  <a:pt x="4831377" y="584313"/>
                  <a:pt x="4831377" y="586275"/>
                </a:cubicBezTo>
                <a:cubicBezTo>
                  <a:pt x="4831377" y="592377"/>
                  <a:pt x="4829180" y="596409"/>
                  <a:pt x="4829180" y="602512"/>
                </a:cubicBezTo>
                <a:cubicBezTo>
                  <a:pt x="4826982" y="643049"/>
                  <a:pt x="4842365" y="626921"/>
                  <a:pt x="4870933" y="643159"/>
                </a:cubicBezTo>
                <a:lnTo>
                  <a:pt x="4868186" y="646428"/>
                </a:lnTo>
                <a:lnTo>
                  <a:pt x="4878075" y="642940"/>
                </a:lnTo>
                <a:cubicBezTo>
                  <a:pt x="4882745" y="639999"/>
                  <a:pt x="4886865" y="636293"/>
                  <a:pt x="4889887" y="632915"/>
                </a:cubicBezTo>
                <a:cubicBezTo>
                  <a:pt x="4882745" y="628774"/>
                  <a:pt x="4894282" y="617767"/>
                  <a:pt x="4898402" y="610903"/>
                </a:cubicBezTo>
                <a:cubicBezTo>
                  <a:pt x="4898402" y="610903"/>
                  <a:pt x="4898402" y="610903"/>
                  <a:pt x="4899776" y="610903"/>
                </a:cubicBezTo>
                <a:lnTo>
                  <a:pt x="4904446" y="604582"/>
                </a:lnTo>
                <a:lnTo>
                  <a:pt x="4900875" y="606871"/>
                </a:lnTo>
                <a:cubicBezTo>
                  <a:pt x="4898952" y="607415"/>
                  <a:pt x="4897029" y="607524"/>
                  <a:pt x="4895106" y="607089"/>
                </a:cubicBezTo>
                <a:cubicBezTo>
                  <a:pt x="4902797" y="592813"/>
                  <a:pt x="4900875" y="579518"/>
                  <a:pt x="4912961" y="565461"/>
                </a:cubicBezTo>
                <a:cubicBezTo>
                  <a:pt x="4917631" y="571454"/>
                  <a:pt x="4917082" y="582896"/>
                  <a:pt x="4913236" y="592268"/>
                </a:cubicBezTo>
                <a:lnTo>
                  <a:pt x="4908566" y="599569"/>
                </a:lnTo>
                <a:lnTo>
                  <a:pt x="4918455" y="591832"/>
                </a:lnTo>
                <a:cubicBezTo>
                  <a:pt x="4922850" y="588999"/>
                  <a:pt x="4927246" y="584857"/>
                  <a:pt x="4931366" y="582133"/>
                </a:cubicBezTo>
                <a:cubicBezTo>
                  <a:pt x="4931366" y="580826"/>
                  <a:pt x="4932740" y="580717"/>
                  <a:pt x="4934388" y="580717"/>
                </a:cubicBezTo>
                <a:cubicBezTo>
                  <a:pt x="4934388" y="582133"/>
                  <a:pt x="4934388" y="582133"/>
                  <a:pt x="4934388" y="583441"/>
                </a:cubicBezTo>
                <a:cubicBezTo>
                  <a:pt x="4929992" y="587583"/>
                  <a:pt x="4925597" y="590415"/>
                  <a:pt x="4920103" y="594556"/>
                </a:cubicBezTo>
                <a:cubicBezTo>
                  <a:pt x="4912687" y="598589"/>
                  <a:pt x="4907193" y="604146"/>
                  <a:pt x="4904171" y="609595"/>
                </a:cubicBezTo>
                <a:cubicBezTo>
                  <a:pt x="4907193" y="616460"/>
                  <a:pt x="4912687" y="606871"/>
                  <a:pt x="4915709" y="612319"/>
                </a:cubicBezTo>
                <a:cubicBezTo>
                  <a:pt x="4922850" y="611011"/>
                  <a:pt x="4922850" y="606761"/>
                  <a:pt x="4925597" y="604037"/>
                </a:cubicBezTo>
                <a:cubicBezTo>
                  <a:pt x="4925597" y="602621"/>
                  <a:pt x="4925597" y="601313"/>
                  <a:pt x="4925597" y="601313"/>
                </a:cubicBezTo>
                <a:cubicBezTo>
                  <a:pt x="4926971" y="599896"/>
                  <a:pt x="4927246" y="598589"/>
                  <a:pt x="4928619" y="598589"/>
                </a:cubicBezTo>
                <a:cubicBezTo>
                  <a:pt x="4929992" y="598589"/>
                  <a:pt x="4931366" y="599896"/>
                  <a:pt x="4929992" y="601313"/>
                </a:cubicBezTo>
                <a:cubicBezTo>
                  <a:pt x="4929992" y="601313"/>
                  <a:pt x="4929992" y="602621"/>
                  <a:pt x="4929992" y="604037"/>
                </a:cubicBezTo>
                <a:cubicBezTo>
                  <a:pt x="4931366" y="605453"/>
                  <a:pt x="4932740" y="605453"/>
                  <a:pt x="4935761" y="605453"/>
                </a:cubicBezTo>
                <a:cubicBezTo>
                  <a:pt x="4934388" y="602729"/>
                  <a:pt x="4937135" y="597281"/>
                  <a:pt x="4939881" y="594556"/>
                </a:cubicBezTo>
                <a:cubicBezTo>
                  <a:pt x="4942903" y="590415"/>
                  <a:pt x="4947298" y="590415"/>
                  <a:pt x="4950045" y="591832"/>
                </a:cubicBezTo>
                <a:cubicBezTo>
                  <a:pt x="4951418" y="591832"/>
                  <a:pt x="4951418" y="591723"/>
                  <a:pt x="4950045" y="593140"/>
                </a:cubicBezTo>
                <a:cubicBezTo>
                  <a:pt x="4950045" y="593140"/>
                  <a:pt x="4948672" y="593140"/>
                  <a:pt x="4948672" y="593140"/>
                </a:cubicBezTo>
                <a:cubicBezTo>
                  <a:pt x="4945650" y="591723"/>
                  <a:pt x="4942903" y="594447"/>
                  <a:pt x="4941529" y="595864"/>
                </a:cubicBezTo>
                <a:cubicBezTo>
                  <a:pt x="4938783" y="598589"/>
                  <a:pt x="4937135" y="601313"/>
                  <a:pt x="4938508" y="604037"/>
                </a:cubicBezTo>
                <a:cubicBezTo>
                  <a:pt x="4939332" y="604037"/>
                  <a:pt x="4939607" y="604473"/>
                  <a:pt x="4940156" y="604800"/>
                </a:cubicBezTo>
                <a:lnTo>
                  <a:pt x="4941529" y="605127"/>
                </a:lnTo>
                <a:lnTo>
                  <a:pt x="4944002" y="604800"/>
                </a:lnTo>
                <a:lnTo>
                  <a:pt x="4947298" y="602729"/>
                </a:lnTo>
                <a:cubicBezTo>
                  <a:pt x="4948672" y="601313"/>
                  <a:pt x="4948672" y="601313"/>
                  <a:pt x="4948672" y="602729"/>
                </a:cubicBezTo>
                <a:cubicBezTo>
                  <a:pt x="4950045" y="602729"/>
                  <a:pt x="4950045" y="604037"/>
                  <a:pt x="4948672" y="604037"/>
                </a:cubicBezTo>
                <a:cubicBezTo>
                  <a:pt x="4948672" y="604037"/>
                  <a:pt x="4948672" y="604037"/>
                  <a:pt x="4947298" y="604037"/>
                </a:cubicBezTo>
                <a:lnTo>
                  <a:pt x="4946474" y="604800"/>
                </a:lnTo>
                <a:lnTo>
                  <a:pt x="4955814" y="606435"/>
                </a:lnTo>
                <a:lnTo>
                  <a:pt x="4955814" y="604037"/>
                </a:lnTo>
                <a:cubicBezTo>
                  <a:pt x="4957187" y="604037"/>
                  <a:pt x="4957187" y="604037"/>
                  <a:pt x="4957187" y="605453"/>
                </a:cubicBezTo>
                <a:cubicBezTo>
                  <a:pt x="4957187" y="605453"/>
                  <a:pt x="4957187" y="605453"/>
                  <a:pt x="4958561" y="605453"/>
                </a:cubicBezTo>
                <a:cubicBezTo>
                  <a:pt x="4958561" y="605453"/>
                  <a:pt x="4958561" y="606761"/>
                  <a:pt x="4960209" y="606761"/>
                </a:cubicBezTo>
                <a:cubicBezTo>
                  <a:pt x="4968724" y="604037"/>
                  <a:pt x="4975867" y="599896"/>
                  <a:pt x="4984382" y="595864"/>
                </a:cubicBezTo>
                <a:cubicBezTo>
                  <a:pt x="4991525" y="591723"/>
                  <a:pt x="4997568" y="587583"/>
                  <a:pt x="5003062" y="586166"/>
                </a:cubicBezTo>
                <a:cubicBezTo>
                  <a:pt x="5004709" y="584857"/>
                  <a:pt x="5007457" y="584857"/>
                  <a:pt x="5008830" y="583441"/>
                </a:cubicBezTo>
                <a:lnTo>
                  <a:pt x="5014873" y="580717"/>
                </a:lnTo>
                <a:lnTo>
                  <a:pt x="5008555" y="578864"/>
                </a:lnTo>
                <a:cubicBezTo>
                  <a:pt x="4980811" y="566224"/>
                  <a:pt x="4974218" y="548788"/>
                  <a:pt x="4974218" y="548788"/>
                </a:cubicBezTo>
                <a:cubicBezTo>
                  <a:pt x="4985756" y="525140"/>
                  <a:pt x="5013500" y="537891"/>
                  <a:pt x="5031080" y="546390"/>
                </a:cubicBezTo>
                <a:lnTo>
                  <a:pt x="5042892" y="552384"/>
                </a:lnTo>
                <a:lnTo>
                  <a:pt x="5061846" y="545083"/>
                </a:lnTo>
                <a:cubicBezTo>
                  <a:pt x="5063220" y="543775"/>
                  <a:pt x="5063494" y="543775"/>
                  <a:pt x="5064868" y="542359"/>
                </a:cubicBezTo>
                <a:cubicBezTo>
                  <a:pt x="5064868" y="542359"/>
                  <a:pt x="5064868" y="542467"/>
                  <a:pt x="5066241" y="541051"/>
                </a:cubicBezTo>
                <a:cubicBezTo>
                  <a:pt x="5067615" y="539743"/>
                  <a:pt x="5068988" y="539743"/>
                  <a:pt x="5070636" y="541051"/>
                </a:cubicBezTo>
                <a:cubicBezTo>
                  <a:pt x="5072009" y="541051"/>
                  <a:pt x="5072009" y="542467"/>
                  <a:pt x="5070636" y="543775"/>
                </a:cubicBezTo>
                <a:cubicBezTo>
                  <a:pt x="5070636" y="543775"/>
                  <a:pt x="5070636" y="543775"/>
                  <a:pt x="5068988" y="545083"/>
                </a:cubicBezTo>
                <a:cubicBezTo>
                  <a:pt x="5068988" y="545083"/>
                  <a:pt x="5067615" y="546499"/>
                  <a:pt x="5067615" y="546499"/>
                </a:cubicBezTo>
                <a:cubicBezTo>
                  <a:pt x="5068988" y="550641"/>
                  <a:pt x="5060472" y="550641"/>
                  <a:pt x="5060472" y="554673"/>
                </a:cubicBezTo>
                <a:cubicBezTo>
                  <a:pt x="5061846" y="556089"/>
                  <a:pt x="5064868" y="556089"/>
                  <a:pt x="5066241" y="557505"/>
                </a:cubicBezTo>
                <a:cubicBezTo>
                  <a:pt x="5076405" y="554673"/>
                  <a:pt x="5080525" y="550641"/>
                  <a:pt x="5084921" y="546499"/>
                </a:cubicBezTo>
                <a:cubicBezTo>
                  <a:pt x="5084921" y="546499"/>
                  <a:pt x="5084921" y="545083"/>
                  <a:pt x="5084921" y="545083"/>
                </a:cubicBezTo>
                <a:cubicBezTo>
                  <a:pt x="5084921" y="545083"/>
                  <a:pt x="5084921" y="545191"/>
                  <a:pt x="5084921" y="543775"/>
                </a:cubicBezTo>
                <a:cubicBezTo>
                  <a:pt x="5083547" y="542467"/>
                  <a:pt x="5084921" y="541051"/>
                  <a:pt x="5086294" y="541051"/>
                </a:cubicBezTo>
                <a:cubicBezTo>
                  <a:pt x="5089041" y="539743"/>
                  <a:pt x="5090689" y="541051"/>
                  <a:pt x="5090689" y="542359"/>
                </a:cubicBezTo>
                <a:cubicBezTo>
                  <a:pt x="5090689" y="542359"/>
                  <a:pt x="5090689" y="542467"/>
                  <a:pt x="5090689" y="543775"/>
                </a:cubicBezTo>
                <a:cubicBezTo>
                  <a:pt x="5090689" y="543775"/>
                  <a:pt x="5092062" y="545191"/>
                  <a:pt x="5092062" y="546499"/>
                </a:cubicBezTo>
                <a:lnTo>
                  <a:pt x="5092062" y="547807"/>
                </a:lnTo>
                <a:cubicBezTo>
                  <a:pt x="5093436" y="547807"/>
                  <a:pt x="5093436" y="547807"/>
                  <a:pt x="5093436" y="547807"/>
                </a:cubicBezTo>
                <a:cubicBezTo>
                  <a:pt x="5094810" y="547807"/>
                  <a:pt x="5094810" y="546499"/>
                  <a:pt x="5096458" y="546499"/>
                </a:cubicBezTo>
                <a:cubicBezTo>
                  <a:pt x="5097831" y="545191"/>
                  <a:pt x="5099204" y="545191"/>
                  <a:pt x="5100578" y="546499"/>
                </a:cubicBezTo>
                <a:cubicBezTo>
                  <a:pt x="5100578" y="546499"/>
                  <a:pt x="5100578" y="547916"/>
                  <a:pt x="5099204" y="549223"/>
                </a:cubicBezTo>
                <a:cubicBezTo>
                  <a:pt x="5097831" y="550641"/>
                  <a:pt x="5096458" y="550641"/>
                  <a:pt x="5094810" y="551948"/>
                </a:cubicBezTo>
                <a:cubicBezTo>
                  <a:pt x="5092062" y="556089"/>
                  <a:pt x="5087667" y="561647"/>
                  <a:pt x="5081899" y="564371"/>
                </a:cubicBezTo>
                <a:cubicBezTo>
                  <a:pt x="5081899" y="565679"/>
                  <a:pt x="5081899" y="565679"/>
                  <a:pt x="5081899" y="565679"/>
                </a:cubicBezTo>
                <a:cubicBezTo>
                  <a:pt x="5081899" y="565679"/>
                  <a:pt x="5083547" y="565679"/>
                  <a:pt x="5083547" y="565679"/>
                </a:cubicBezTo>
                <a:cubicBezTo>
                  <a:pt x="5083547" y="565679"/>
                  <a:pt x="5084921" y="565679"/>
                  <a:pt x="5084921" y="565679"/>
                </a:cubicBezTo>
                <a:cubicBezTo>
                  <a:pt x="5087667" y="562955"/>
                  <a:pt x="5092062" y="561538"/>
                  <a:pt x="5094810" y="560230"/>
                </a:cubicBezTo>
                <a:cubicBezTo>
                  <a:pt x="5096458" y="560230"/>
                  <a:pt x="5099204" y="558813"/>
                  <a:pt x="5100578" y="557505"/>
                </a:cubicBezTo>
                <a:cubicBezTo>
                  <a:pt x="5102226" y="557505"/>
                  <a:pt x="5103599" y="557505"/>
                  <a:pt x="5103599" y="558922"/>
                </a:cubicBezTo>
                <a:cubicBezTo>
                  <a:pt x="5103599" y="558922"/>
                  <a:pt x="5103599" y="560230"/>
                  <a:pt x="5103599" y="560230"/>
                </a:cubicBezTo>
                <a:cubicBezTo>
                  <a:pt x="5100578" y="561538"/>
                  <a:pt x="5097831" y="562955"/>
                  <a:pt x="5096458" y="562955"/>
                </a:cubicBezTo>
                <a:cubicBezTo>
                  <a:pt x="5093436" y="564262"/>
                  <a:pt x="5090689" y="565679"/>
                  <a:pt x="5089316" y="567095"/>
                </a:cubicBezTo>
                <a:cubicBezTo>
                  <a:pt x="5090689" y="567095"/>
                  <a:pt x="5093436" y="566986"/>
                  <a:pt x="5093436" y="568403"/>
                </a:cubicBezTo>
                <a:cubicBezTo>
                  <a:pt x="5101402" y="566986"/>
                  <a:pt x="5108819" y="564371"/>
                  <a:pt x="5114313" y="561102"/>
                </a:cubicBezTo>
                <a:lnTo>
                  <a:pt x="5121730" y="551076"/>
                </a:lnTo>
                <a:lnTo>
                  <a:pt x="5115686" y="545300"/>
                </a:lnTo>
                <a:cubicBezTo>
                  <a:pt x="5111566" y="540070"/>
                  <a:pt x="5109093" y="533423"/>
                  <a:pt x="5106622" y="526775"/>
                </a:cubicBezTo>
                <a:cubicBezTo>
                  <a:pt x="5113214" y="525140"/>
                  <a:pt x="5118982" y="529173"/>
                  <a:pt x="5123652" y="535166"/>
                </a:cubicBezTo>
                <a:lnTo>
                  <a:pt x="5128322" y="543230"/>
                </a:lnTo>
                <a:lnTo>
                  <a:pt x="5131069" y="538108"/>
                </a:lnTo>
                <a:cubicBezTo>
                  <a:pt x="5132718" y="537128"/>
                  <a:pt x="5134640" y="536365"/>
                  <a:pt x="5136288" y="535929"/>
                </a:cubicBezTo>
                <a:lnTo>
                  <a:pt x="5138486" y="535711"/>
                </a:lnTo>
                <a:lnTo>
                  <a:pt x="5143156" y="532006"/>
                </a:lnTo>
                <a:cubicBezTo>
                  <a:pt x="5149474" y="528301"/>
                  <a:pt x="5156066" y="526230"/>
                  <a:pt x="5158813" y="527320"/>
                </a:cubicBezTo>
                <a:cubicBezTo>
                  <a:pt x="5157714" y="530262"/>
                  <a:pt x="5155517" y="532115"/>
                  <a:pt x="5153319" y="533968"/>
                </a:cubicBezTo>
                <a:lnTo>
                  <a:pt x="5153044" y="534185"/>
                </a:lnTo>
                <a:lnTo>
                  <a:pt x="5155243" y="534185"/>
                </a:lnTo>
                <a:cubicBezTo>
                  <a:pt x="5161011" y="531461"/>
                  <a:pt x="5167329" y="528737"/>
                  <a:pt x="5173921" y="526557"/>
                </a:cubicBezTo>
                <a:lnTo>
                  <a:pt x="5179415" y="525140"/>
                </a:lnTo>
                <a:lnTo>
                  <a:pt x="5179965" y="523506"/>
                </a:lnTo>
                <a:lnTo>
                  <a:pt x="5180239" y="524923"/>
                </a:lnTo>
                <a:lnTo>
                  <a:pt x="5192327" y="521871"/>
                </a:lnTo>
                <a:cubicBezTo>
                  <a:pt x="5193974" y="521871"/>
                  <a:pt x="5195348" y="523179"/>
                  <a:pt x="5195348" y="524595"/>
                </a:cubicBezTo>
                <a:cubicBezTo>
                  <a:pt x="5195348" y="525903"/>
                  <a:pt x="5193974" y="527320"/>
                  <a:pt x="5192327" y="527320"/>
                </a:cubicBezTo>
                <a:lnTo>
                  <a:pt x="5181339" y="529608"/>
                </a:lnTo>
                <a:lnTo>
                  <a:pt x="5182163" y="533531"/>
                </a:lnTo>
                <a:cubicBezTo>
                  <a:pt x="5182163" y="534513"/>
                  <a:pt x="5182163" y="536583"/>
                  <a:pt x="5181888" y="538871"/>
                </a:cubicBezTo>
                <a:lnTo>
                  <a:pt x="5181064" y="541705"/>
                </a:lnTo>
                <a:lnTo>
                  <a:pt x="5199743" y="539634"/>
                </a:lnTo>
                <a:cubicBezTo>
                  <a:pt x="5193974" y="543775"/>
                  <a:pt x="5201116" y="543775"/>
                  <a:pt x="5206610" y="541051"/>
                </a:cubicBezTo>
                <a:lnTo>
                  <a:pt x="5208258" y="539961"/>
                </a:lnTo>
                <a:lnTo>
                  <a:pt x="5208258" y="539743"/>
                </a:lnTo>
                <a:lnTo>
                  <a:pt x="5216774" y="532878"/>
                </a:lnTo>
                <a:cubicBezTo>
                  <a:pt x="5221169" y="531461"/>
                  <a:pt x="5225290" y="530045"/>
                  <a:pt x="5226938" y="527320"/>
                </a:cubicBezTo>
                <a:cubicBezTo>
                  <a:pt x="5226938" y="527320"/>
                  <a:pt x="5226938" y="527320"/>
                  <a:pt x="5226938" y="526012"/>
                </a:cubicBezTo>
                <a:lnTo>
                  <a:pt x="5227487" y="525903"/>
                </a:lnTo>
                <a:lnTo>
                  <a:pt x="5229684" y="510974"/>
                </a:lnTo>
                <a:cubicBezTo>
                  <a:pt x="5230509" y="504545"/>
                  <a:pt x="5231333" y="497243"/>
                  <a:pt x="5232432" y="488961"/>
                </a:cubicBezTo>
                <a:lnTo>
                  <a:pt x="5232706" y="489071"/>
                </a:lnTo>
                <a:lnTo>
                  <a:pt x="5232157" y="485148"/>
                </a:lnTo>
                <a:cubicBezTo>
                  <a:pt x="5233805" y="483840"/>
                  <a:pt x="5235453" y="480898"/>
                  <a:pt x="5238475" y="479590"/>
                </a:cubicBezTo>
                <a:close/>
                <a:moveTo>
                  <a:pt x="5544484" y="477084"/>
                </a:moveTo>
                <a:cubicBezTo>
                  <a:pt x="5546133" y="477955"/>
                  <a:pt x="5546957" y="480789"/>
                  <a:pt x="5546683" y="485366"/>
                </a:cubicBezTo>
                <a:cubicBezTo>
                  <a:pt x="5545309" y="486565"/>
                  <a:pt x="5543660" y="486565"/>
                  <a:pt x="5541738" y="486128"/>
                </a:cubicBezTo>
                <a:cubicBezTo>
                  <a:pt x="5539540" y="485801"/>
                  <a:pt x="5537617" y="484929"/>
                  <a:pt x="5535969" y="484712"/>
                </a:cubicBezTo>
                <a:cubicBezTo>
                  <a:pt x="5537068" y="482859"/>
                  <a:pt x="5538167" y="481115"/>
                  <a:pt x="5536793" y="481552"/>
                </a:cubicBezTo>
                <a:cubicBezTo>
                  <a:pt x="5537617" y="479699"/>
                  <a:pt x="5538991" y="478391"/>
                  <a:pt x="5540090" y="477737"/>
                </a:cubicBezTo>
                <a:cubicBezTo>
                  <a:pt x="5541463" y="477084"/>
                  <a:pt x="5542837" y="476866"/>
                  <a:pt x="5544484" y="477084"/>
                </a:cubicBezTo>
                <a:close/>
                <a:moveTo>
                  <a:pt x="1555641" y="476975"/>
                </a:moveTo>
                <a:cubicBezTo>
                  <a:pt x="1559212" y="478719"/>
                  <a:pt x="1560036" y="481443"/>
                  <a:pt x="1558938" y="483295"/>
                </a:cubicBezTo>
                <a:cubicBezTo>
                  <a:pt x="1552620" y="499205"/>
                  <a:pt x="1538885" y="498225"/>
                  <a:pt x="1536687" y="500621"/>
                </a:cubicBezTo>
                <a:cubicBezTo>
                  <a:pt x="1533940" y="499314"/>
                  <a:pt x="1532842" y="498551"/>
                  <a:pt x="1532567" y="496917"/>
                </a:cubicBezTo>
                <a:cubicBezTo>
                  <a:pt x="1532567" y="495173"/>
                  <a:pt x="1533665" y="492558"/>
                  <a:pt x="1536138" y="487109"/>
                </a:cubicBezTo>
                <a:cubicBezTo>
                  <a:pt x="1536962" y="485257"/>
                  <a:pt x="1538610" y="483622"/>
                  <a:pt x="1540258" y="482423"/>
                </a:cubicBezTo>
                <a:cubicBezTo>
                  <a:pt x="1541907" y="481224"/>
                  <a:pt x="1544103" y="480570"/>
                  <a:pt x="1546301" y="480461"/>
                </a:cubicBezTo>
                <a:cubicBezTo>
                  <a:pt x="1548499" y="478174"/>
                  <a:pt x="1552620" y="476647"/>
                  <a:pt x="1555641" y="476975"/>
                </a:cubicBezTo>
                <a:close/>
                <a:moveTo>
                  <a:pt x="5498336" y="475776"/>
                </a:moveTo>
                <a:cubicBezTo>
                  <a:pt x="5501908" y="479154"/>
                  <a:pt x="5505753" y="473378"/>
                  <a:pt x="5507676" y="479590"/>
                </a:cubicBezTo>
                <a:cubicBezTo>
                  <a:pt x="5507127" y="482641"/>
                  <a:pt x="5505203" y="485474"/>
                  <a:pt x="5500533" y="488199"/>
                </a:cubicBezTo>
                <a:cubicBezTo>
                  <a:pt x="5498885" y="487218"/>
                  <a:pt x="5497787" y="486237"/>
                  <a:pt x="5497238" y="485257"/>
                </a:cubicBezTo>
                <a:cubicBezTo>
                  <a:pt x="5495039" y="482314"/>
                  <a:pt x="5496688" y="479045"/>
                  <a:pt x="5498336" y="475776"/>
                </a:cubicBezTo>
                <a:close/>
                <a:moveTo>
                  <a:pt x="6030970" y="474577"/>
                </a:moveTo>
                <a:cubicBezTo>
                  <a:pt x="6034816" y="473487"/>
                  <a:pt x="6041683" y="476430"/>
                  <a:pt x="6043056" y="480570"/>
                </a:cubicBezTo>
                <a:cubicBezTo>
                  <a:pt x="6041683" y="485474"/>
                  <a:pt x="6038661" y="484821"/>
                  <a:pt x="6038386" y="487981"/>
                </a:cubicBezTo>
                <a:cubicBezTo>
                  <a:pt x="6031794" y="485148"/>
                  <a:pt x="6030420" y="480898"/>
                  <a:pt x="6030970" y="474577"/>
                </a:cubicBezTo>
                <a:close/>
                <a:moveTo>
                  <a:pt x="5919443" y="474577"/>
                </a:moveTo>
                <a:cubicBezTo>
                  <a:pt x="5919993" y="475993"/>
                  <a:pt x="5921367" y="475448"/>
                  <a:pt x="5921641" y="476866"/>
                </a:cubicBezTo>
                <a:cubicBezTo>
                  <a:pt x="5923838" y="479154"/>
                  <a:pt x="5924113" y="480680"/>
                  <a:pt x="5923014" y="482532"/>
                </a:cubicBezTo>
                <a:cubicBezTo>
                  <a:pt x="5923564" y="483949"/>
                  <a:pt x="5922190" y="484384"/>
                  <a:pt x="5921092" y="486237"/>
                </a:cubicBezTo>
                <a:cubicBezTo>
                  <a:pt x="5919718" y="486782"/>
                  <a:pt x="5918070" y="485911"/>
                  <a:pt x="5918070" y="485911"/>
                </a:cubicBezTo>
                <a:cubicBezTo>
                  <a:pt x="5916147" y="485038"/>
                  <a:pt x="5916147" y="485038"/>
                  <a:pt x="5915323" y="486891"/>
                </a:cubicBezTo>
                <a:cubicBezTo>
                  <a:pt x="5915323" y="486891"/>
                  <a:pt x="5914774" y="485474"/>
                  <a:pt x="5914774" y="485474"/>
                </a:cubicBezTo>
                <a:cubicBezTo>
                  <a:pt x="5916147" y="485038"/>
                  <a:pt x="5915049" y="485583"/>
                  <a:pt x="5913125" y="484603"/>
                </a:cubicBezTo>
                <a:cubicBezTo>
                  <a:pt x="5913949" y="481333"/>
                  <a:pt x="5913400" y="480026"/>
                  <a:pt x="5914499" y="478065"/>
                </a:cubicBezTo>
                <a:cubicBezTo>
                  <a:pt x="5914774" y="477084"/>
                  <a:pt x="5915872" y="475993"/>
                  <a:pt x="5916697" y="475231"/>
                </a:cubicBezTo>
                <a:cubicBezTo>
                  <a:pt x="5917521" y="474468"/>
                  <a:pt x="5918619" y="474141"/>
                  <a:pt x="5919443" y="474577"/>
                </a:cubicBezTo>
                <a:close/>
                <a:moveTo>
                  <a:pt x="1459222" y="473052"/>
                </a:moveTo>
                <a:cubicBezTo>
                  <a:pt x="1462244" y="472071"/>
                  <a:pt x="1463618" y="472398"/>
                  <a:pt x="1464991" y="474032"/>
                </a:cubicBezTo>
                <a:cubicBezTo>
                  <a:pt x="1466366" y="474250"/>
                  <a:pt x="1466091" y="475667"/>
                  <a:pt x="1467464" y="477301"/>
                </a:cubicBezTo>
                <a:cubicBezTo>
                  <a:pt x="1467464" y="478827"/>
                  <a:pt x="1465816" y="480026"/>
                  <a:pt x="1465816" y="480026"/>
                </a:cubicBezTo>
                <a:cubicBezTo>
                  <a:pt x="1464442" y="481224"/>
                  <a:pt x="1464442" y="481224"/>
                  <a:pt x="1465816" y="482859"/>
                </a:cubicBezTo>
                <a:cubicBezTo>
                  <a:pt x="1465816" y="482859"/>
                  <a:pt x="1464442" y="482641"/>
                  <a:pt x="1464442" y="482641"/>
                </a:cubicBezTo>
                <a:cubicBezTo>
                  <a:pt x="1464442" y="481224"/>
                  <a:pt x="1464442" y="482641"/>
                  <a:pt x="1462794" y="483840"/>
                </a:cubicBezTo>
                <a:cubicBezTo>
                  <a:pt x="1460047" y="481988"/>
                  <a:pt x="1458674" y="481769"/>
                  <a:pt x="1457300" y="480026"/>
                </a:cubicBezTo>
                <a:cubicBezTo>
                  <a:pt x="1456476" y="479263"/>
                  <a:pt x="1455927" y="478065"/>
                  <a:pt x="1455652" y="476866"/>
                </a:cubicBezTo>
                <a:cubicBezTo>
                  <a:pt x="1455378" y="475776"/>
                  <a:pt x="1455378" y="474686"/>
                  <a:pt x="1456201" y="474032"/>
                </a:cubicBezTo>
                <a:cubicBezTo>
                  <a:pt x="1457574" y="474250"/>
                  <a:pt x="1457849" y="472834"/>
                  <a:pt x="1459222" y="473052"/>
                </a:cubicBezTo>
                <a:close/>
                <a:moveTo>
                  <a:pt x="1599866" y="472289"/>
                </a:moveTo>
                <a:cubicBezTo>
                  <a:pt x="1606459" y="474468"/>
                  <a:pt x="1608657" y="479154"/>
                  <a:pt x="1607558" y="485148"/>
                </a:cubicBezTo>
                <a:cubicBezTo>
                  <a:pt x="1605086" y="487327"/>
                  <a:pt x="1602340" y="487872"/>
                  <a:pt x="1599866" y="487327"/>
                </a:cubicBezTo>
                <a:cubicBezTo>
                  <a:pt x="1597395" y="486891"/>
                  <a:pt x="1595471" y="485257"/>
                  <a:pt x="1594098" y="482968"/>
                </a:cubicBezTo>
                <a:cubicBezTo>
                  <a:pt x="1593548" y="481552"/>
                  <a:pt x="1593000" y="479808"/>
                  <a:pt x="1593274" y="477846"/>
                </a:cubicBezTo>
                <a:cubicBezTo>
                  <a:pt x="1594922" y="476430"/>
                  <a:pt x="1596845" y="473597"/>
                  <a:pt x="1599866" y="472289"/>
                </a:cubicBezTo>
                <a:close/>
                <a:moveTo>
                  <a:pt x="3893294" y="470436"/>
                </a:moveTo>
                <a:cubicBezTo>
                  <a:pt x="3913621" y="468584"/>
                  <a:pt x="3922412" y="487218"/>
                  <a:pt x="3920488" y="500404"/>
                </a:cubicBezTo>
                <a:cubicBezTo>
                  <a:pt x="3921863" y="513263"/>
                  <a:pt x="3909226" y="524160"/>
                  <a:pt x="3902634" y="527974"/>
                </a:cubicBezTo>
                <a:cubicBezTo>
                  <a:pt x="3902634" y="527974"/>
                  <a:pt x="3895492" y="525468"/>
                  <a:pt x="3892195" y="525794"/>
                </a:cubicBezTo>
                <a:lnTo>
                  <a:pt x="3891371" y="526667"/>
                </a:lnTo>
                <a:lnTo>
                  <a:pt x="3890273" y="529827"/>
                </a:lnTo>
                <a:cubicBezTo>
                  <a:pt x="3889998" y="531679"/>
                  <a:pt x="3889998" y="533968"/>
                  <a:pt x="3890547" y="536909"/>
                </a:cubicBezTo>
                <a:lnTo>
                  <a:pt x="3877361" y="524487"/>
                </a:lnTo>
                <a:lnTo>
                  <a:pt x="3869670" y="521326"/>
                </a:lnTo>
                <a:cubicBezTo>
                  <a:pt x="3863902" y="516858"/>
                  <a:pt x="3860056" y="510865"/>
                  <a:pt x="3859232" y="502801"/>
                </a:cubicBezTo>
                <a:cubicBezTo>
                  <a:pt x="3858682" y="499532"/>
                  <a:pt x="3861979" y="496045"/>
                  <a:pt x="3861429" y="492884"/>
                </a:cubicBezTo>
                <a:cubicBezTo>
                  <a:pt x="3861429" y="492884"/>
                  <a:pt x="3861429" y="492775"/>
                  <a:pt x="3857859" y="489942"/>
                </a:cubicBezTo>
                <a:lnTo>
                  <a:pt x="3859781" y="488526"/>
                </a:lnTo>
                <a:lnTo>
                  <a:pt x="3857584" y="484167"/>
                </a:lnTo>
                <a:lnTo>
                  <a:pt x="3864726" y="485148"/>
                </a:lnTo>
                <a:lnTo>
                  <a:pt x="3869121" y="482205"/>
                </a:lnTo>
                <a:cubicBezTo>
                  <a:pt x="3871593" y="479263"/>
                  <a:pt x="3873791" y="476212"/>
                  <a:pt x="3878736" y="473814"/>
                </a:cubicBezTo>
                <a:cubicBezTo>
                  <a:pt x="3882031" y="472289"/>
                  <a:pt x="3886427" y="471090"/>
                  <a:pt x="3893294" y="470436"/>
                </a:cubicBezTo>
                <a:close/>
                <a:moveTo>
                  <a:pt x="5292315" y="469783"/>
                </a:moveTo>
                <a:cubicBezTo>
                  <a:pt x="5297809" y="474795"/>
                  <a:pt x="5294238" y="483513"/>
                  <a:pt x="5292864" y="488526"/>
                </a:cubicBezTo>
                <a:cubicBezTo>
                  <a:pt x="5287096" y="487545"/>
                  <a:pt x="5281053" y="486673"/>
                  <a:pt x="5278305" y="483077"/>
                </a:cubicBezTo>
                <a:cubicBezTo>
                  <a:pt x="5278580" y="479045"/>
                  <a:pt x="5279954" y="475667"/>
                  <a:pt x="5282151" y="473269"/>
                </a:cubicBezTo>
                <a:cubicBezTo>
                  <a:pt x="5284349" y="470981"/>
                  <a:pt x="5287645" y="469564"/>
                  <a:pt x="5292315" y="469783"/>
                </a:cubicBezTo>
                <a:close/>
                <a:moveTo>
                  <a:pt x="1905877" y="469783"/>
                </a:moveTo>
                <a:cubicBezTo>
                  <a:pt x="1907525" y="470654"/>
                  <a:pt x="1908349" y="473378"/>
                  <a:pt x="1908074" y="478065"/>
                </a:cubicBezTo>
                <a:cubicBezTo>
                  <a:pt x="1906701" y="479263"/>
                  <a:pt x="1905052" y="479263"/>
                  <a:pt x="1902855" y="478827"/>
                </a:cubicBezTo>
                <a:cubicBezTo>
                  <a:pt x="1900932" y="478391"/>
                  <a:pt x="1899009" y="477629"/>
                  <a:pt x="1897361" y="477411"/>
                </a:cubicBezTo>
                <a:cubicBezTo>
                  <a:pt x="1898460" y="475558"/>
                  <a:pt x="1899284" y="473706"/>
                  <a:pt x="1897910" y="474141"/>
                </a:cubicBezTo>
                <a:cubicBezTo>
                  <a:pt x="1899009" y="472289"/>
                  <a:pt x="1900108" y="471090"/>
                  <a:pt x="1901482" y="470436"/>
                </a:cubicBezTo>
                <a:cubicBezTo>
                  <a:pt x="1902855" y="469783"/>
                  <a:pt x="1904228" y="469564"/>
                  <a:pt x="1905877" y="469783"/>
                </a:cubicBezTo>
                <a:close/>
                <a:moveTo>
                  <a:pt x="4019654" y="469238"/>
                </a:moveTo>
                <a:cubicBezTo>
                  <a:pt x="4022675" y="468910"/>
                  <a:pt x="4025972" y="469346"/>
                  <a:pt x="4029817" y="470654"/>
                </a:cubicBezTo>
                <a:cubicBezTo>
                  <a:pt x="4026796" y="474250"/>
                  <a:pt x="4030916" y="480461"/>
                  <a:pt x="4027894" y="484058"/>
                </a:cubicBezTo>
                <a:cubicBezTo>
                  <a:pt x="4027894" y="484058"/>
                  <a:pt x="4017731" y="488526"/>
                  <a:pt x="4017731" y="488526"/>
                </a:cubicBezTo>
                <a:cubicBezTo>
                  <a:pt x="4013885" y="485583"/>
                  <a:pt x="4013885" y="485583"/>
                  <a:pt x="4017456" y="485148"/>
                </a:cubicBezTo>
                <a:cubicBezTo>
                  <a:pt x="4013061" y="478936"/>
                  <a:pt x="4012786" y="475667"/>
                  <a:pt x="4012511" y="472398"/>
                </a:cubicBezTo>
                <a:cubicBezTo>
                  <a:pt x="4014160" y="470545"/>
                  <a:pt x="4016632" y="469564"/>
                  <a:pt x="4019654" y="469238"/>
                </a:cubicBezTo>
                <a:close/>
                <a:moveTo>
                  <a:pt x="1859728" y="468475"/>
                </a:moveTo>
                <a:cubicBezTo>
                  <a:pt x="1863300" y="471853"/>
                  <a:pt x="1867145" y="466077"/>
                  <a:pt x="1869068" y="472289"/>
                </a:cubicBezTo>
                <a:cubicBezTo>
                  <a:pt x="1868518" y="475231"/>
                  <a:pt x="1866595" y="478065"/>
                  <a:pt x="1861926" y="480680"/>
                </a:cubicBezTo>
                <a:cubicBezTo>
                  <a:pt x="1860278" y="479808"/>
                  <a:pt x="1859178" y="478936"/>
                  <a:pt x="1858355" y="477955"/>
                </a:cubicBezTo>
                <a:cubicBezTo>
                  <a:pt x="1856432" y="475013"/>
                  <a:pt x="1858080" y="471744"/>
                  <a:pt x="1859728" y="468475"/>
                </a:cubicBezTo>
                <a:close/>
                <a:moveTo>
                  <a:pt x="3820225" y="468256"/>
                </a:moveTo>
                <a:cubicBezTo>
                  <a:pt x="3821324" y="468039"/>
                  <a:pt x="3822972" y="468256"/>
                  <a:pt x="3824621" y="469129"/>
                </a:cubicBezTo>
                <a:cubicBezTo>
                  <a:pt x="3825994" y="468584"/>
                  <a:pt x="3828741" y="473706"/>
                  <a:pt x="3827642" y="475558"/>
                </a:cubicBezTo>
                <a:cubicBezTo>
                  <a:pt x="3825994" y="480680"/>
                  <a:pt x="3821324" y="479481"/>
                  <a:pt x="3815555" y="480026"/>
                </a:cubicBezTo>
                <a:cubicBezTo>
                  <a:pt x="3816654" y="478174"/>
                  <a:pt x="3814731" y="477192"/>
                  <a:pt x="3813084" y="476321"/>
                </a:cubicBezTo>
                <a:cubicBezTo>
                  <a:pt x="3814457" y="473487"/>
                  <a:pt x="3816379" y="468910"/>
                  <a:pt x="3820225" y="468256"/>
                </a:cubicBezTo>
                <a:close/>
                <a:moveTo>
                  <a:pt x="5528277" y="468148"/>
                </a:moveTo>
                <a:cubicBezTo>
                  <a:pt x="5532398" y="466949"/>
                  <a:pt x="5535420" y="467603"/>
                  <a:pt x="5538991" y="471090"/>
                </a:cubicBezTo>
                <a:cubicBezTo>
                  <a:pt x="5537343" y="477629"/>
                  <a:pt x="5538441" y="475776"/>
                  <a:pt x="5533771" y="481660"/>
                </a:cubicBezTo>
                <a:cubicBezTo>
                  <a:pt x="5530476" y="479590"/>
                  <a:pt x="5527179" y="477520"/>
                  <a:pt x="5523883" y="475448"/>
                </a:cubicBezTo>
                <a:cubicBezTo>
                  <a:pt x="5526355" y="473161"/>
                  <a:pt x="5527179" y="470000"/>
                  <a:pt x="5528277" y="468148"/>
                </a:cubicBezTo>
                <a:close/>
                <a:moveTo>
                  <a:pt x="4473175" y="467821"/>
                </a:moveTo>
                <a:cubicBezTo>
                  <a:pt x="4478394" y="466949"/>
                  <a:pt x="4486635" y="469020"/>
                  <a:pt x="4490206" y="470981"/>
                </a:cubicBezTo>
                <a:cubicBezTo>
                  <a:pt x="4489382" y="472071"/>
                  <a:pt x="4488009" y="472616"/>
                  <a:pt x="4486361" y="472943"/>
                </a:cubicBezTo>
                <a:cubicBezTo>
                  <a:pt x="4481141" y="473814"/>
                  <a:pt x="4473175" y="471635"/>
                  <a:pt x="4469329" y="469673"/>
                </a:cubicBezTo>
                <a:cubicBezTo>
                  <a:pt x="4470154" y="468584"/>
                  <a:pt x="4471527" y="468148"/>
                  <a:pt x="4473175" y="467821"/>
                </a:cubicBezTo>
                <a:close/>
                <a:moveTo>
                  <a:pt x="4327861" y="467821"/>
                </a:moveTo>
                <a:cubicBezTo>
                  <a:pt x="4330608" y="468256"/>
                  <a:pt x="4333629" y="469564"/>
                  <a:pt x="4336926" y="472507"/>
                </a:cubicBezTo>
                <a:cubicBezTo>
                  <a:pt x="4343793" y="479263"/>
                  <a:pt x="4349287" y="488744"/>
                  <a:pt x="4339123" y="499205"/>
                </a:cubicBezTo>
                <a:cubicBezTo>
                  <a:pt x="4337476" y="501929"/>
                  <a:pt x="4337476" y="500404"/>
                  <a:pt x="4336102" y="501711"/>
                </a:cubicBezTo>
                <a:cubicBezTo>
                  <a:pt x="4334729" y="503019"/>
                  <a:pt x="4333080" y="505743"/>
                  <a:pt x="4333080" y="507160"/>
                </a:cubicBezTo>
                <a:cubicBezTo>
                  <a:pt x="4327312" y="502148"/>
                  <a:pt x="4324565" y="506071"/>
                  <a:pt x="4316049" y="497788"/>
                </a:cubicBezTo>
                <a:cubicBezTo>
                  <a:pt x="4304787" y="487654"/>
                  <a:pt x="4308084" y="477846"/>
                  <a:pt x="4312479" y="472507"/>
                </a:cubicBezTo>
                <a:cubicBezTo>
                  <a:pt x="4313577" y="473706"/>
                  <a:pt x="4319621" y="466513"/>
                  <a:pt x="4327861" y="467821"/>
                </a:cubicBezTo>
                <a:close/>
                <a:moveTo>
                  <a:pt x="2392361" y="467276"/>
                </a:moveTo>
                <a:cubicBezTo>
                  <a:pt x="2396207" y="466186"/>
                  <a:pt x="2402800" y="468910"/>
                  <a:pt x="2404173" y="473161"/>
                </a:cubicBezTo>
                <a:cubicBezTo>
                  <a:pt x="2403074" y="478065"/>
                  <a:pt x="2400053" y="477411"/>
                  <a:pt x="2399503" y="480570"/>
                </a:cubicBezTo>
                <a:cubicBezTo>
                  <a:pt x="2393185" y="477846"/>
                  <a:pt x="2391537" y="473597"/>
                  <a:pt x="2392361" y="467276"/>
                </a:cubicBezTo>
                <a:close/>
                <a:moveTo>
                  <a:pt x="2280835" y="467276"/>
                </a:moveTo>
                <a:cubicBezTo>
                  <a:pt x="2281385" y="468693"/>
                  <a:pt x="2282483" y="468148"/>
                  <a:pt x="2283033" y="469564"/>
                </a:cubicBezTo>
                <a:cubicBezTo>
                  <a:pt x="2284955" y="471853"/>
                  <a:pt x="2285505" y="473269"/>
                  <a:pt x="2284406" y="475122"/>
                </a:cubicBezTo>
                <a:cubicBezTo>
                  <a:pt x="2284680" y="476539"/>
                  <a:pt x="2283307" y="477084"/>
                  <a:pt x="2282483" y="478936"/>
                </a:cubicBezTo>
                <a:cubicBezTo>
                  <a:pt x="2281110" y="479481"/>
                  <a:pt x="2279461" y="478500"/>
                  <a:pt x="2279461" y="478500"/>
                </a:cubicBezTo>
                <a:cubicBezTo>
                  <a:pt x="2277539" y="477629"/>
                  <a:pt x="2277539" y="477737"/>
                  <a:pt x="2276715" y="479590"/>
                </a:cubicBezTo>
                <a:cubicBezTo>
                  <a:pt x="2276715" y="479590"/>
                  <a:pt x="2276166" y="478174"/>
                  <a:pt x="2276166" y="478174"/>
                </a:cubicBezTo>
                <a:cubicBezTo>
                  <a:pt x="2277539" y="477737"/>
                  <a:pt x="2276166" y="478174"/>
                  <a:pt x="2274517" y="477301"/>
                </a:cubicBezTo>
                <a:cubicBezTo>
                  <a:pt x="2275067" y="474032"/>
                  <a:pt x="2274792" y="472507"/>
                  <a:pt x="2275891" y="470654"/>
                </a:cubicBezTo>
                <a:cubicBezTo>
                  <a:pt x="2276166" y="469673"/>
                  <a:pt x="2276989" y="468693"/>
                  <a:pt x="2278088" y="467930"/>
                </a:cubicBezTo>
                <a:cubicBezTo>
                  <a:pt x="2278912" y="467167"/>
                  <a:pt x="2280011" y="466840"/>
                  <a:pt x="2280835" y="467276"/>
                </a:cubicBezTo>
                <a:close/>
                <a:moveTo>
                  <a:pt x="6057066" y="466513"/>
                </a:moveTo>
                <a:cubicBezTo>
                  <a:pt x="6059537" y="471635"/>
                  <a:pt x="6054868" y="476430"/>
                  <a:pt x="6050473" y="477192"/>
                </a:cubicBezTo>
                <a:cubicBezTo>
                  <a:pt x="6048824" y="477520"/>
                  <a:pt x="6047451" y="477301"/>
                  <a:pt x="6046353" y="476539"/>
                </a:cubicBezTo>
                <a:cubicBezTo>
                  <a:pt x="6044705" y="475558"/>
                  <a:pt x="6043880" y="473597"/>
                  <a:pt x="6044155" y="470218"/>
                </a:cubicBezTo>
                <a:cubicBezTo>
                  <a:pt x="6049923" y="468039"/>
                  <a:pt x="6053769" y="466622"/>
                  <a:pt x="6057066" y="466513"/>
                </a:cubicBezTo>
                <a:close/>
                <a:moveTo>
                  <a:pt x="2485757" y="466513"/>
                </a:moveTo>
                <a:cubicBezTo>
                  <a:pt x="2480813" y="477629"/>
                  <a:pt x="2480263" y="483513"/>
                  <a:pt x="2475593" y="491686"/>
                </a:cubicBezTo>
                <a:cubicBezTo>
                  <a:pt x="2473945" y="491359"/>
                  <a:pt x="2474220" y="489942"/>
                  <a:pt x="2472847" y="489725"/>
                </a:cubicBezTo>
                <a:cubicBezTo>
                  <a:pt x="2472023" y="488852"/>
                  <a:pt x="2471748" y="487327"/>
                  <a:pt x="2472023" y="485474"/>
                </a:cubicBezTo>
                <a:cubicBezTo>
                  <a:pt x="2472298" y="480135"/>
                  <a:pt x="2475593" y="472289"/>
                  <a:pt x="2476693" y="472507"/>
                </a:cubicBezTo>
                <a:cubicBezTo>
                  <a:pt x="2476968" y="471090"/>
                  <a:pt x="2478341" y="471308"/>
                  <a:pt x="2478341" y="469783"/>
                </a:cubicBezTo>
                <a:cubicBezTo>
                  <a:pt x="2478341" y="469783"/>
                  <a:pt x="2478615" y="468256"/>
                  <a:pt x="2479989" y="467058"/>
                </a:cubicBezTo>
                <a:cubicBezTo>
                  <a:pt x="2481637" y="465860"/>
                  <a:pt x="2483011" y="464552"/>
                  <a:pt x="2485757" y="466513"/>
                </a:cubicBezTo>
                <a:close/>
                <a:moveTo>
                  <a:pt x="3261221" y="466077"/>
                </a:moveTo>
                <a:cubicBezTo>
                  <a:pt x="3262870" y="468148"/>
                  <a:pt x="3262870" y="470109"/>
                  <a:pt x="3262045" y="471635"/>
                </a:cubicBezTo>
                <a:lnTo>
                  <a:pt x="3261221" y="472398"/>
                </a:lnTo>
                <a:lnTo>
                  <a:pt x="3265342" y="475013"/>
                </a:lnTo>
                <a:cubicBezTo>
                  <a:pt x="3264792" y="481552"/>
                  <a:pt x="3265616" y="479699"/>
                  <a:pt x="3261770" y="485474"/>
                </a:cubicBezTo>
                <a:cubicBezTo>
                  <a:pt x="3258199" y="483295"/>
                  <a:pt x="3254629" y="481115"/>
                  <a:pt x="3251057" y="478936"/>
                </a:cubicBezTo>
                <a:lnTo>
                  <a:pt x="3252705" y="475231"/>
                </a:lnTo>
                <a:lnTo>
                  <a:pt x="3251057" y="470981"/>
                </a:lnTo>
                <a:cubicBezTo>
                  <a:pt x="3253530" y="468910"/>
                  <a:pt x="3257375" y="467494"/>
                  <a:pt x="3261221" y="466077"/>
                </a:cubicBezTo>
                <a:close/>
                <a:moveTo>
                  <a:pt x="3746332" y="463462"/>
                </a:moveTo>
                <a:cubicBezTo>
                  <a:pt x="3749354" y="463789"/>
                  <a:pt x="3746332" y="469455"/>
                  <a:pt x="3746607" y="470872"/>
                </a:cubicBezTo>
                <a:cubicBezTo>
                  <a:pt x="3745783" y="472724"/>
                  <a:pt x="3744684" y="474577"/>
                  <a:pt x="3742762" y="473706"/>
                </a:cubicBezTo>
                <a:cubicBezTo>
                  <a:pt x="3741937" y="473269"/>
                  <a:pt x="3741387" y="473269"/>
                  <a:pt x="3740838" y="472834"/>
                </a:cubicBezTo>
                <a:cubicBezTo>
                  <a:pt x="3740289" y="472398"/>
                  <a:pt x="3740289" y="471744"/>
                  <a:pt x="3740563" y="470109"/>
                </a:cubicBezTo>
                <a:cubicBezTo>
                  <a:pt x="3740014" y="468693"/>
                  <a:pt x="3741113" y="466840"/>
                  <a:pt x="3740838" y="465423"/>
                </a:cubicBezTo>
                <a:cubicBezTo>
                  <a:pt x="3740838" y="465423"/>
                  <a:pt x="3741662" y="464661"/>
                  <a:pt x="3742762" y="464116"/>
                </a:cubicBezTo>
                <a:cubicBezTo>
                  <a:pt x="3744135" y="463462"/>
                  <a:pt x="3745508" y="463026"/>
                  <a:pt x="3746332" y="463462"/>
                </a:cubicBezTo>
                <a:close/>
                <a:moveTo>
                  <a:pt x="3345381" y="463230"/>
                </a:moveTo>
                <a:cubicBezTo>
                  <a:pt x="3348162" y="463108"/>
                  <a:pt x="3350360" y="463353"/>
                  <a:pt x="3350497" y="463898"/>
                </a:cubicBezTo>
                <a:cubicBezTo>
                  <a:pt x="3351871" y="463353"/>
                  <a:pt x="3352145" y="464661"/>
                  <a:pt x="3353519" y="464225"/>
                </a:cubicBezTo>
                <a:cubicBezTo>
                  <a:pt x="3353519" y="464225"/>
                  <a:pt x="3354892" y="463789"/>
                  <a:pt x="3356815" y="464661"/>
                </a:cubicBezTo>
                <a:cubicBezTo>
                  <a:pt x="3358463" y="465532"/>
                  <a:pt x="3360386" y="466404"/>
                  <a:pt x="3359562" y="469783"/>
                </a:cubicBezTo>
                <a:cubicBezTo>
                  <a:pt x="3353519" y="469673"/>
                  <a:pt x="3349123" y="470218"/>
                  <a:pt x="3345003" y="470545"/>
                </a:cubicBezTo>
                <a:cubicBezTo>
                  <a:pt x="3340883" y="470872"/>
                  <a:pt x="3337037" y="470981"/>
                  <a:pt x="3332367" y="470436"/>
                </a:cubicBezTo>
                <a:cubicBezTo>
                  <a:pt x="3332092" y="469020"/>
                  <a:pt x="3333466" y="468584"/>
                  <a:pt x="3332916" y="467167"/>
                </a:cubicBezTo>
                <a:cubicBezTo>
                  <a:pt x="3333466" y="466186"/>
                  <a:pt x="3334840" y="465315"/>
                  <a:pt x="3336762" y="464770"/>
                </a:cubicBezTo>
                <a:cubicBezTo>
                  <a:pt x="3339234" y="463844"/>
                  <a:pt x="3342600" y="463353"/>
                  <a:pt x="3345381" y="463230"/>
                </a:cubicBezTo>
                <a:close/>
                <a:moveTo>
                  <a:pt x="1653707" y="462481"/>
                </a:moveTo>
                <a:cubicBezTo>
                  <a:pt x="1659201" y="467494"/>
                  <a:pt x="1655630" y="476212"/>
                  <a:pt x="1654256" y="481115"/>
                </a:cubicBezTo>
                <a:cubicBezTo>
                  <a:pt x="1648488" y="480244"/>
                  <a:pt x="1642445" y="479263"/>
                  <a:pt x="1639698" y="475776"/>
                </a:cubicBezTo>
                <a:cubicBezTo>
                  <a:pt x="1639972" y="471744"/>
                  <a:pt x="1641071" y="468256"/>
                  <a:pt x="1643543" y="465968"/>
                </a:cubicBezTo>
                <a:cubicBezTo>
                  <a:pt x="1645741" y="463571"/>
                  <a:pt x="1649037" y="462263"/>
                  <a:pt x="1653707" y="462481"/>
                </a:cubicBezTo>
                <a:close/>
                <a:moveTo>
                  <a:pt x="2084153" y="461937"/>
                </a:moveTo>
                <a:cubicBezTo>
                  <a:pt x="2085527" y="462263"/>
                  <a:pt x="2086901" y="463571"/>
                  <a:pt x="2088274" y="465206"/>
                </a:cubicBezTo>
                <a:cubicBezTo>
                  <a:pt x="2091296" y="468475"/>
                  <a:pt x="2089647" y="471199"/>
                  <a:pt x="2089647" y="471199"/>
                </a:cubicBezTo>
                <a:cubicBezTo>
                  <a:pt x="2087999" y="473161"/>
                  <a:pt x="2086351" y="474359"/>
                  <a:pt x="2084428" y="474686"/>
                </a:cubicBezTo>
                <a:cubicBezTo>
                  <a:pt x="2082231" y="475013"/>
                  <a:pt x="2080033" y="474359"/>
                  <a:pt x="2078110" y="472616"/>
                </a:cubicBezTo>
                <a:cubicBezTo>
                  <a:pt x="2076737" y="469564"/>
                  <a:pt x="2078110" y="466840"/>
                  <a:pt x="2079759" y="464116"/>
                </a:cubicBezTo>
                <a:cubicBezTo>
                  <a:pt x="2081132" y="462046"/>
                  <a:pt x="2082780" y="461500"/>
                  <a:pt x="2084153" y="461937"/>
                </a:cubicBezTo>
                <a:close/>
                <a:moveTo>
                  <a:pt x="4354232" y="461827"/>
                </a:moveTo>
                <a:cubicBezTo>
                  <a:pt x="4365220" y="471962"/>
                  <a:pt x="4360824" y="474250"/>
                  <a:pt x="4356430" y="479590"/>
                </a:cubicBezTo>
                <a:cubicBezTo>
                  <a:pt x="4353683" y="477846"/>
                  <a:pt x="4349562" y="478719"/>
                  <a:pt x="4346815" y="475448"/>
                </a:cubicBezTo>
                <a:cubicBezTo>
                  <a:pt x="4346815" y="475448"/>
                  <a:pt x="4345167" y="473923"/>
                  <a:pt x="4345442" y="470981"/>
                </a:cubicBezTo>
                <a:cubicBezTo>
                  <a:pt x="4342695" y="466295"/>
                  <a:pt x="4347090" y="462372"/>
                  <a:pt x="4347090" y="462372"/>
                </a:cubicBezTo>
                <a:cubicBezTo>
                  <a:pt x="4347090" y="462372"/>
                  <a:pt x="4347090" y="462263"/>
                  <a:pt x="4345717" y="462154"/>
                </a:cubicBezTo>
                <a:cubicBezTo>
                  <a:pt x="4348463" y="462481"/>
                  <a:pt x="4351211" y="461500"/>
                  <a:pt x="4354232" y="461827"/>
                </a:cubicBezTo>
                <a:close/>
                <a:moveTo>
                  <a:pt x="4633872" y="461173"/>
                </a:moveTo>
                <a:cubicBezTo>
                  <a:pt x="4642387" y="472179"/>
                  <a:pt x="4628927" y="488744"/>
                  <a:pt x="4618214" y="496917"/>
                </a:cubicBezTo>
                <a:cubicBezTo>
                  <a:pt x="4613819" y="481224"/>
                  <a:pt x="4623983" y="471199"/>
                  <a:pt x="4633872" y="461173"/>
                </a:cubicBezTo>
                <a:close/>
                <a:moveTo>
                  <a:pt x="1889395" y="460847"/>
                </a:moveTo>
                <a:cubicBezTo>
                  <a:pt x="1893515" y="459648"/>
                  <a:pt x="1896812" y="460193"/>
                  <a:pt x="1900383" y="463680"/>
                </a:cubicBezTo>
                <a:cubicBezTo>
                  <a:pt x="1898734" y="470218"/>
                  <a:pt x="1899833" y="468366"/>
                  <a:pt x="1895164" y="474359"/>
                </a:cubicBezTo>
                <a:cubicBezTo>
                  <a:pt x="1891867" y="472289"/>
                  <a:pt x="1888570" y="470218"/>
                  <a:pt x="1885275" y="468148"/>
                </a:cubicBezTo>
                <a:cubicBezTo>
                  <a:pt x="1887746" y="465860"/>
                  <a:pt x="1888296" y="462699"/>
                  <a:pt x="1889395" y="460847"/>
                </a:cubicBezTo>
                <a:close/>
                <a:moveTo>
                  <a:pt x="3024984" y="459866"/>
                </a:moveTo>
                <a:lnTo>
                  <a:pt x="3028554" y="467058"/>
                </a:lnTo>
                <a:lnTo>
                  <a:pt x="3031027" y="466404"/>
                </a:lnTo>
                <a:cubicBezTo>
                  <a:pt x="3033774" y="465751"/>
                  <a:pt x="3036246" y="465315"/>
                  <a:pt x="3036521" y="465096"/>
                </a:cubicBezTo>
                <a:cubicBezTo>
                  <a:pt x="3036521" y="465096"/>
                  <a:pt x="3037894" y="464552"/>
                  <a:pt x="3039268" y="464116"/>
                </a:cubicBezTo>
                <a:lnTo>
                  <a:pt x="3039542" y="464225"/>
                </a:lnTo>
                <a:lnTo>
                  <a:pt x="3039542" y="464007"/>
                </a:lnTo>
                <a:cubicBezTo>
                  <a:pt x="3039817" y="462372"/>
                  <a:pt x="3040641" y="460738"/>
                  <a:pt x="3042290" y="460629"/>
                </a:cubicBezTo>
                <a:cubicBezTo>
                  <a:pt x="3052728" y="462808"/>
                  <a:pt x="3053277" y="469238"/>
                  <a:pt x="3053827" y="472398"/>
                </a:cubicBezTo>
                <a:cubicBezTo>
                  <a:pt x="3053827" y="472398"/>
                  <a:pt x="3067562" y="506724"/>
                  <a:pt x="3071407" y="509557"/>
                </a:cubicBezTo>
                <a:cubicBezTo>
                  <a:pt x="3071956" y="515987"/>
                  <a:pt x="3072506" y="519147"/>
                  <a:pt x="3069759" y="525903"/>
                </a:cubicBezTo>
                <a:cubicBezTo>
                  <a:pt x="3054376" y="524378"/>
                  <a:pt x="3043663" y="487872"/>
                  <a:pt x="3040366" y="472398"/>
                </a:cubicBezTo>
                <a:lnTo>
                  <a:pt x="3039817" y="468693"/>
                </a:lnTo>
                <a:lnTo>
                  <a:pt x="3037345" y="470763"/>
                </a:lnTo>
                <a:cubicBezTo>
                  <a:pt x="3035421" y="471526"/>
                  <a:pt x="3033224" y="471526"/>
                  <a:pt x="3030752" y="471635"/>
                </a:cubicBezTo>
                <a:cubicBezTo>
                  <a:pt x="3027730" y="471308"/>
                  <a:pt x="3026357" y="471744"/>
                  <a:pt x="3024160" y="474141"/>
                </a:cubicBezTo>
                <a:cubicBezTo>
                  <a:pt x="3024160" y="474141"/>
                  <a:pt x="3024160" y="474141"/>
                  <a:pt x="3020589" y="472398"/>
                </a:cubicBezTo>
                <a:lnTo>
                  <a:pt x="3020314" y="471090"/>
                </a:lnTo>
                <a:lnTo>
                  <a:pt x="3018940" y="470000"/>
                </a:lnTo>
                <a:cubicBezTo>
                  <a:pt x="3018391" y="469238"/>
                  <a:pt x="3018391" y="468366"/>
                  <a:pt x="3018116" y="466840"/>
                </a:cubicBezTo>
                <a:cubicBezTo>
                  <a:pt x="3017566" y="460410"/>
                  <a:pt x="3021687" y="463353"/>
                  <a:pt x="3024984" y="459866"/>
                </a:cubicBezTo>
                <a:close/>
                <a:moveTo>
                  <a:pt x="2418183" y="459212"/>
                </a:moveTo>
                <a:cubicBezTo>
                  <a:pt x="2420929" y="464333"/>
                  <a:pt x="2416260" y="469129"/>
                  <a:pt x="2411865" y="469891"/>
                </a:cubicBezTo>
                <a:lnTo>
                  <a:pt x="2410216" y="469673"/>
                </a:lnTo>
                <a:lnTo>
                  <a:pt x="2410766" y="474577"/>
                </a:lnTo>
                <a:cubicBezTo>
                  <a:pt x="2410766" y="477084"/>
                  <a:pt x="2411041" y="479263"/>
                  <a:pt x="2411316" y="481333"/>
                </a:cubicBezTo>
                <a:lnTo>
                  <a:pt x="2411316" y="488307"/>
                </a:lnTo>
                <a:lnTo>
                  <a:pt x="2416535" y="492122"/>
                </a:lnTo>
                <a:cubicBezTo>
                  <a:pt x="2416535" y="498660"/>
                  <a:pt x="2411041" y="502583"/>
                  <a:pt x="2405272" y="503564"/>
                </a:cubicBezTo>
                <a:cubicBezTo>
                  <a:pt x="2403349" y="503891"/>
                  <a:pt x="2401426" y="503891"/>
                  <a:pt x="2399503" y="503564"/>
                </a:cubicBezTo>
                <a:cubicBezTo>
                  <a:pt x="2397031" y="503128"/>
                  <a:pt x="2394834" y="502038"/>
                  <a:pt x="2393460" y="500513"/>
                </a:cubicBezTo>
                <a:cubicBezTo>
                  <a:pt x="2393460" y="496045"/>
                  <a:pt x="2395932" y="492558"/>
                  <a:pt x="2399503" y="490378"/>
                </a:cubicBezTo>
                <a:lnTo>
                  <a:pt x="2405547" y="489071"/>
                </a:lnTo>
                <a:lnTo>
                  <a:pt x="2404447" y="482423"/>
                </a:lnTo>
                <a:cubicBezTo>
                  <a:pt x="2404173" y="479590"/>
                  <a:pt x="2404173" y="477192"/>
                  <a:pt x="2404722" y="476975"/>
                </a:cubicBezTo>
                <a:cubicBezTo>
                  <a:pt x="2404173" y="475667"/>
                  <a:pt x="2405547" y="474904"/>
                  <a:pt x="2404997" y="473597"/>
                </a:cubicBezTo>
                <a:cubicBezTo>
                  <a:pt x="2404997" y="473597"/>
                  <a:pt x="2404722" y="472289"/>
                  <a:pt x="2405547" y="470328"/>
                </a:cubicBezTo>
                <a:cubicBezTo>
                  <a:pt x="2405822" y="469346"/>
                  <a:pt x="2406371" y="468256"/>
                  <a:pt x="2406920" y="467494"/>
                </a:cubicBezTo>
                <a:lnTo>
                  <a:pt x="2405272" y="462917"/>
                </a:lnTo>
                <a:cubicBezTo>
                  <a:pt x="2411041" y="460738"/>
                  <a:pt x="2415161" y="459321"/>
                  <a:pt x="2418183" y="459212"/>
                </a:cubicBezTo>
                <a:close/>
                <a:moveTo>
                  <a:pt x="4526740" y="458994"/>
                </a:moveTo>
                <a:cubicBezTo>
                  <a:pt x="4527015" y="460302"/>
                  <a:pt x="4527839" y="463135"/>
                  <a:pt x="4530861" y="463571"/>
                </a:cubicBezTo>
                <a:cubicBezTo>
                  <a:pt x="4529487" y="466404"/>
                  <a:pt x="4527839" y="469129"/>
                  <a:pt x="4525642" y="469673"/>
                </a:cubicBezTo>
                <a:cubicBezTo>
                  <a:pt x="4525093" y="469783"/>
                  <a:pt x="4524268" y="469783"/>
                  <a:pt x="4523444" y="469346"/>
                </a:cubicBezTo>
                <a:cubicBezTo>
                  <a:pt x="4521796" y="468475"/>
                  <a:pt x="4520148" y="467494"/>
                  <a:pt x="4519324" y="464770"/>
                </a:cubicBezTo>
                <a:cubicBezTo>
                  <a:pt x="4521247" y="460955"/>
                  <a:pt x="4525642" y="460847"/>
                  <a:pt x="4526740" y="458994"/>
                </a:cubicBezTo>
                <a:close/>
                <a:moveTo>
                  <a:pt x="5047287" y="453763"/>
                </a:moveTo>
                <a:cubicBezTo>
                  <a:pt x="5051133" y="456051"/>
                  <a:pt x="5054978" y="458340"/>
                  <a:pt x="5054704" y="462481"/>
                </a:cubicBezTo>
                <a:cubicBezTo>
                  <a:pt x="5054704" y="463789"/>
                  <a:pt x="5054154" y="465315"/>
                  <a:pt x="5053056" y="467167"/>
                </a:cubicBezTo>
                <a:cubicBezTo>
                  <a:pt x="5053056" y="467167"/>
                  <a:pt x="5053056" y="467276"/>
                  <a:pt x="5050858" y="467712"/>
                </a:cubicBezTo>
                <a:lnTo>
                  <a:pt x="5044265" y="469129"/>
                </a:lnTo>
                <a:lnTo>
                  <a:pt x="5044265" y="470000"/>
                </a:lnTo>
                <a:cubicBezTo>
                  <a:pt x="5042617" y="470000"/>
                  <a:pt x="5041519" y="470109"/>
                  <a:pt x="5040695" y="470218"/>
                </a:cubicBezTo>
                <a:cubicBezTo>
                  <a:pt x="5039596" y="470328"/>
                  <a:pt x="5038771" y="470328"/>
                  <a:pt x="5037947" y="470000"/>
                </a:cubicBezTo>
                <a:cubicBezTo>
                  <a:pt x="5036849" y="469673"/>
                  <a:pt x="5035750" y="468910"/>
                  <a:pt x="5035201" y="468148"/>
                </a:cubicBezTo>
                <a:cubicBezTo>
                  <a:pt x="5034377" y="467276"/>
                  <a:pt x="5034102" y="466295"/>
                  <a:pt x="5034377" y="465315"/>
                </a:cubicBezTo>
                <a:lnTo>
                  <a:pt x="5036574" y="462917"/>
                </a:lnTo>
                <a:lnTo>
                  <a:pt x="5035750" y="460738"/>
                </a:lnTo>
                <a:cubicBezTo>
                  <a:pt x="5038771" y="455834"/>
                  <a:pt x="5044540" y="452347"/>
                  <a:pt x="5047287" y="453763"/>
                </a:cubicBezTo>
                <a:close/>
                <a:moveTo>
                  <a:pt x="4133652" y="453001"/>
                </a:moveTo>
                <a:cubicBezTo>
                  <a:pt x="4136124" y="454744"/>
                  <a:pt x="4139146" y="455071"/>
                  <a:pt x="4142991" y="456924"/>
                </a:cubicBezTo>
                <a:cubicBezTo>
                  <a:pt x="4142167" y="461283"/>
                  <a:pt x="4136674" y="469673"/>
                  <a:pt x="4129257" y="470545"/>
                </a:cubicBezTo>
                <a:cubicBezTo>
                  <a:pt x="4127884" y="468910"/>
                  <a:pt x="4126784" y="467385"/>
                  <a:pt x="4126235" y="465860"/>
                </a:cubicBezTo>
                <a:cubicBezTo>
                  <a:pt x="4124862" y="461283"/>
                  <a:pt x="4127609" y="457032"/>
                  <a:pt x="4133652" y="453001"/>
                </a:cubicBezTo>
                <a:close/>
                <a:moveTo>
                  <a:pt x="4800886" y="452673"/>
                </a:moveTo>
                <a:cubicBezTo>
                  <a:pt x="4803084" y="453218"/>
                  <a:pt x="4805281" y="454635"/>
                  <a:pt x="4806380" y="456924"/>
                </a:cubicBezTo>
                <a:cubicBezTo>
                  <a:pt x="4806380" y="463462"/>
                  <a:pt x="4800886" y="467385"/>
                  <a:pt x="4795117" y="468366"/>
                </a:cubicBezTo>
                <a:cubicBezTo>
                  <a:pt x="4793194" y="468693"/>
                  <a:pt x="4791272" y="468693"/>
                  <a:pt x="4789348" y="468366"/>
                </a:cubicBezTo>
                <a:cubicBezTo>
                  <a:pt x="4786877" y="467930"/>
                  <a:pt x="4784954" y="466840"/>
                  <a:pt x="4783305" y="465315"/>
                </a:cubicBezTo>
                <a:cubicBezTo>
                  <a:pt x="4783305" y="456487"/>
                  <a:pt x="4793744" y="451039"/>
                  <a:pt x="4800886" y="452673"/>
                </a:cubicBezTo>
                <a:close/>
                <a:moveTo>
                  <a:pt x="1403185" y="452673"/>
                </a:moveTo>
                <a:cubicBezTo>
                  <a:pt x="1404559" y="452019"/>
                  <a:pt x="1405107" y="453327"/>
                  <a:pt x="1407031" y="454090"/>
                </a:cubicBezTo>
                <a:cubicBezTo>
                  <a:pt x="1407581" y="455398"/>
                  <a:pt x="1406756" y="457360"/>
                  <a:pt x="1406756" y="457360"/>
                </a:cubicBezTo>
                <a:cubicBezTo>
                  <a:pt x="1405932" y="459321"/>
                  <a:pt x="1405932" y="459321"/>
                  <a:pt x="1407855" y="459975"/>
                </a:cubicBezTo>
                <a:cubicBezTo>
                  <a:pt x="1407855" y="459975"/>
                  <a:pt x="1406482" y="460629"/>
                  <a:pt x="1406482" y="460629"/>
                </a:cubicBezTo>
                <a:cubicBezTo>
                  <a:pt x="1405932" y="459321"/>
                  <a:pt x="1406482" y="460629"/>
                  <a:pt x="1405657" y="462591"/>
                </a:cubicBezTo>
                <a:cubicBezTo>
                  <a:pt x="1404009" y="462591"/>
                  <a:pt x="1402911" y="462808"/>
                  <a:pt x="1401812" y="462917"/>
                </a:cubicBezTo>
                <a:cubicBezTo>
                  <a:pt x="1400988" y="463026"/>
                  <a:pt x="1400163" y="462917"/>
                  <a:pt x="1399064" y="462591"/>
                </a:cubicBezTo>
                <a:cubicBezTo>
                  <a:pt x="1398241" y="462263"/>
                  <a:pt x="1397142" y="461609"/>
                  <a:pt x="1396593" y="460847"/>
                </a:cubicBezTo>
                <a:cubicBezTo>
                  <a:pt x="1395769" y="459975"/>
                  <a:pt x="1395494" y="458994"/>
                  <a:pt x="1395769" y="458014"/>
                </a:cubicBezTo>
                <a:cubicBezTo>
                  <a:pt x="1397142" y="457360"/>
                  <a:pt x="1396593" y="456051"/>
                  <a:pt x="1397966" y="455398"/>
                </a:cubicBezTo>
                <a:cubicBezTo>
                  <a:pt x="1400163" y="452673"/>
                  <a:pt x="1401263" y="452019"/>
                  <a:pt x="1403185" y="452673"/>
                </a:cubicBezTo>
                <a:close/>
                <a:moveTo>
                  <a:pt x="4459990" y="450167"/>
                </a:moveTo>
                <a:cubicBezTo>
                  <a:pt x="4464110" y="448968"/>
                  <a:pt x="4470154" y="451474"/>
                  <a:pt x="4470978" y="455725"/>
                </a:cubicBezTo>
                <a:cubicBezTo>
                  <a:pt x="4469054" y="460629"/>
                  <a:pt x="4466033" y="460084"/>
                  <a:pt x="4465209" y="463244"/>
                </a:cubicBezTo>
                <a:cubicBezTo>
                  <a:pt x="4462187" y="461937"/>
                  <a:pt x="4460539" y="460193"/>
                  <a:pt x="4459715" y="458123"/>
                </a:cubicBezTo>
                <a:cubicBezTo>
                  <a:pt x="4458891" y="455942"/>
                  <a:pt x="4459166" y="453437"/>
                  <a:pt x="4459990" y="450167"/>
                </a:cubicBezTo>
                <a:close/>
                <a:moveTo>
                  <a:pt x="2137444" y="446462"/>
                </a:moveTo>
                <a:cubicBezTo>
                  <a:pt x="2139917" y="447770"/>
                  <a:pt x="2141839" y="450385"/>
                  <a:pt x="2142114" y="455725"/>
                </a:cubicBezTo>
                <a:cubicBezTo>
                  <a:pt x="2139093" y="458449"/>
                  <a:pt x="2136895" y="458994"/>
                  <a:pt x="2134972" y="458558"/>
                </a:cubicBezTo>
                <a:cubicBezTo>
                  <a:pt x="2133049" y="458014"/>
                  <a:pt x="2131676" y="456270"/>
                  <a:pt x="2130028" y="454744"/>
                </a:cubicBezTo>
                <a:cubicBezTo>
                  <a:pt x="2134698" y="451911"/>
                  <a:pt x="2131126" y="446680"/>
                  <a:pt x="2137444" y="446462"/>
                </a:cubicBezTo>
                <a:close/>
                <a:moveTo>
                  <a:pt x="2345664" y="443083"/>
                </a:moveTo>
                <a:cubicBezTo>
                  <a:pt x="2348959" y="456161"/>
                  <a:pt x="2353629" y="477737"/>
                  <a:pt x="2348959" y="489615"/>
                </a:cubicBezTo>
                <a:cubicBezTo>
                  <a:pt x="2333027" y="484929"/>
                  <a:pt x="2340170" y="451584"/>
                  <a:pt x="2345664" y="443083"/>
                </a:cubicBezTo>
                <a:close/>
                <a:moveTo>
                  <a:pt x="3945486" y="441776"/>
                </a:moveTo>
                <a:cubicBezTo>
                  <a:pt x="3949057" y="443520"/>
                  <a:pt x="3949881" y="446354"/>
                  <a:pt x="3948783" y="448205"/>
                </a:cubicBezTo>
                <a:cubicBezTo>
                  <a:pt x="3942464" y="464116"/>
                  <a:pt x="3928730" y="463026"/>
                  <a:pt x="3926532" y="465423"/>
                </a:cubicBezTo>
                <a:cubicBezTo>
                  <a:pt x="3923785" y="464116"/>
                  <a:pt x="3922687" y="463462"/>
                  <a:pt x="3922412" y="461827"/>
                </a:cubicBezTo>
                <a:cubicBezTo>
                  <a:pt x="3922412" y="460084"/>
                  <a:pt x="3923785" y="457469"/>
                  <a:pt x="3925982" y="452019"/>
                </a:cubicBezTo>
                <a:cubicBezTo>
                  <a:pt x="3927082" y="450167"/>
                  <a:pt x="3928455" y="448424"/>
                  <a:pt x="3930103" y="447225"/>
                </a:cubicBezTo>
                <a:cubicBezTo>
                  <a:pt x="3932026" y="446026"/>
                  <a:pt x="3933949" y="445372"/>
                  <a:pt x="3936146" y="445264"/>
                </a:cubicBezTo>
                <a:cubicBezTo>
                  <a:pt x="3938344" y="442866"/>
                  <a:pt x="3942464" y="441449"/>
                  <a:pt x="3945486" y="441776"/>
                </a:cubicBezTo>
                <a:close/>
                <a:moveTo>
                  <a:pt x="5078053" y="438725"/>
                </a:moveTo>
                <a:cubicBezTo>
                  <a:pt x="5072834" y="449840"/>
                  <a:pt x="5072559" y="455725"/>
                  <a:pt x="5067615" y="463898"/>
                </a:cubicBezTo>
                <a:cubicBezTo>
                  <a:pt x="5066241" y="463680"/>
                  <a:pt x="5066241" y="462154"/>
                  <a:pt x="5064868" y="461937"/>
                </a:cubicBezTo>
                <a:cubicBezTo>
                  <a:pt x="5064044" y="461064"/>
                  <a:pt x="5064044" y="459539"/>
                  <a:pt x="5064318" y="457795"/>
                </a:cubicBezTo>
                <a:cubicBezTo>
                  <a:pt x="5064593" y="452347"/>
                  <a:pt x="5067890" y="444501"/>
                  <a:pt x="5068988" y="444610"/>
                </a:cubicBezTo>
                <a:cubicBezTo>
                  <a:pt x="5068988" y="443193"/>
                  <a:pt x="5070361" y="443520"/>
                  <a:pt x="5070636" y="441994"/>
                </a:cubicBezTo>
                <a:cubicBezTo>
                  <a:pt x="5070636" y="441994"/>
                  <a:pt x="5070636" y="440469"/>
                  <a:pt x="5072284" y="439270"/>
                </a:cubicBezTo>
                <a:cubicBezTo>
                  <a:pt x="5073658" y="438071"/>
                  <a:pt x="5075306" y="436764"/>
                  <a:pt x="5078053" y="438725"/>
                </a:cubicBezTo>
                <a:close/>
                <a:moveTo>
                  <a:pt x="2308854" y="438725"/>
                </a:moveTo>
                <a:cubicBezTo>
                  <a:pt x="2315721" y="442866"/>
                  <a:pt x="2314623" y="459321"/>
                  <a:pt x="2308305" y="462591"/>
                </a:cubicBezTo>
                <a:cubicBezTo>
                  <a:pt x="2304459" y="461937"/>
                  <a:pt x="2300338" y="461283"/>
                  <a:pt x="2296218" y="460738"/>
                </a:cubicBezTo>
                <a:cubicBezTo>
                  <a:pt x="2290449" y="455725"/>
                  <a:pt x="2289350" y="447879"/>
                  <a:pt x="2292922" y="442757"/>
                </a:cubicBezTo>
                <a:cubicBezTo>
                  <a:pt x="2294020" y="441122"/>
                  <a:pt x="2295668" y="439814"/>
                  <a:pt x="2297866" y="438943"/>
                </a:cubicBezTo>
                <a:cubicBezTo>
                  <a:pt x="2300613" y="437853"/>
                  <a:pt x="2304459" y="437526"/>
                  <a:pt x="2308854" y="438725"/>
                </a:cubicBezTo>
                <a:close/>
                <a:moveTo>
                  <a:pt x="5002512" y="438507"/>
                </a:moveTo>
                <a:cubicBezTo>
                  <a:pt x="5002512" y="451257"/>
                  <a:pt x="5004709" y="456596"/>
                  <a:pt x="5003611" y="466622"/>
                </a:cubicBezTo>
                <a:cubicBezTo>
                  <a:pt x="5002512" y="467276"/>
                  <a:pt x="5001688" y="465968"/>
                  <a:pt x="5000314" y="466622"/>
                </a:cubicBezTo>
                <a:cubicBezTo>
                  <a:pt x="4999490" y="466295"/>
                  <a:pt x="4998666" y="465096"/>
                  <a:pt x="4998117" y="463462"/>
                </a:cubicBezTo>
                <a:cubicBezTo>
                  <a:pt x="4996194" y="458558"/>
                  <a:pt x="4995919" y="449732"/>
                  <a:pt x="4997018" y="449187"/>
                </a:cubicBezTo>
                <a:cubicBezTo>
                  <a:pt x="4996469" y="447879"/>
                  <a:pt x="4997842" y="447225"/>
                  <a:pt x="4997293" y="445809"/>
                </a:cubicBezTo>
                <a:cubicBezTo>
                  <a:pt x="4997293" y="445809"/>
                  <a:pt x="4996744" y="444501"/>
                  <a:pt x="4997568" y="442430"/>
                </a:cubicBezTo>
                <a:cubicBezTo>
                  <a:pt x="4998392" y="440469"/>
                  <a:pt x="4999216" y="438507"/>
                  <a:pt x="5002512" y="438507"/>
                </a:cubicBezTo>
                <a:close/>
                <a:moveTo>
                  <a:pt x="5853516" y="438289"/>
                </a:moveTo>
                <a:cubicBezTo>
                  <a:pt x="5854890" y="440359"/>
                  <a:pt x="5855165" y="442321"/>
                  <a:pt x="5854341" y="443847"/>
                </a:cubicBezTo>
                <a:lnTo>
                  <a:pt x="5853516" y="444610"/>
                </a:lnTo>
                <a:lnTo>
                  <a:pt x="5857637" y="447116"/>
                </a:lnTo>
                <a:cubicBezTo>
                  <a:pt x="5856813" y="453655"/>
                  <a:pt x="5857912" y="451802"/>
                  <a:pt x="5854066" y="457686"/>
                </a:cubicBezTo>
                <a:cubicBezTo>
                  <a:pt x="5850220" y="455507"/>
                  <a:pt x="5846649" y="453218"/>
                  <a:pt x="5843078" y="451039"/>
                </a:cubicBezTo>
                <a:lnTo>
                  <a:pt x="5844727" y="447443"/>
                </a:lnTo>
                <a:lnTo>
                  <a:pt x="5843078" y="443193"/>
                </a:lnTo>
                <a:cubicBezTo>
                  <a:pt x="5845551" y="441122"/>
                  <a:pt x="5849397" y="439706"/>
                  <a:pt x="5853516" y="438289"/>
                </a:cubicBezTo>
                <a:close/>
                <a:moveTo>
                  <a:pt x="3849068" y="437853"/>
                </a:moveTo>
                <a:cubicBezTo>
                  <a:pt x="3852090" y="436873"/>
                  <a:pt x="3853463" y="437199"/>
                  <a:pt x="3854836" y="438834"/>
                </a:cubicBezTo>
                <a:cubicBezTo>
                  <a:pt x="3856210" y="439052"/>
                  <a:pt x="3856210" y="440578"/>
                  <a:pt x="3857584" y="442212"/>
                </a:cubicBezTo>
                <a:cubicBezTo>
                  <a:pt x="3857309" y="443629"/>
                  <a:pt x="3855935" y="444827"/>
                  <a:pt x="3855935" y="444827"/>
                </a:cubicBezTo>
                <a:cubicBezTo>
                  <a:pt x="3854287" y="446026"/>
                  <a:pt x="3854287" y="446135"/>
                  <a:pt x="3855660" y="447770"/>
                </a:cubicBezTo>
                <a:cubicBezTo>
                  <a:pt x="3855660" y="447770"/>
                  <a:pt x="3854287" y="447551"/>
                  <a:pt x="3854287" y="447551"/>
                </a:cubicBezTo>
                <a:cubicBezTo>
                  <a:pt x="3854287" y="446135"/>
                  <a:pt x="3854287" y="447551"/>
                  <a:pt x="3852639" y="448750"/>
                </a:cubicBezTo>
                <a:cubicBezTo>
                  <a:pt x="3849892" y="446898"/>
                  <a:pt x="3848519" y="446680"/>
                  <a:pt x="3847145" y="444936"/>
                </a:cubicBezTo>
                <a:cubicBezTo>
                  <a:pt x="3846596" y="444065"/>
                  <a:pt x="3845772" y="442866"/>
                  <a:pt x="3845497" y="441667"/>
                </a:cubicBezTo>
                <a:cubicBezTo>
                  <a:pt x="3845222" y="440578"/>
                  <a:pt x="3845222" y="439488"/>
                  <a:pt x="3846047" y="438834"/>
                </a:cubicBezTo>
                <a:cubicBezTo>
                  <a:pt x="3847420" y="439052"/>
                  <a:pt x="3847695" y="437635"/>
                  <a:pt x="3849068" y="437853"/>
                </a:cubicBezTo>
                <a:close/>
                <a:moveTo>
                  <a:pt x="3989986" y="437090"/>
                </a:moveTo>
                <a:cubicBezTo>
                  <a:pt x="3996579" y="439161"/>
                  <a:pt x="3998502" y="444065"/>
                  <a:pt x="3997404" y="450058"/>
                </a:cubicBezTo>
                <a:cubicBezTo>
                  <a:pt x="3994931" y="452238"/>
                  <a:pt x="3992185" y="452673"/>
                  <a:pt x="3989712" y="452129"/>
                </a:cubicBezTo>
                <a:cubicBezTo>
                  <a:pt x="3987240" y="451693"/>
                  <a:pt x="3985317" y="450058"/>
                  <a:pt x="3983943" y="447770"/>
                </a:cubicBezTo>
                <a:cubicBezTo>
                  <a:pt x="3983394" y="446354"/>
                  <a:pt x="3982845" y="444610"/>
                  <a:pt x="3983394" y="442648"/>
                </a:cubicBezTo>
                <a:cubicBezTo>
                  <a:pt x="3985042" y="441232"/>
                  <a:pt x="3986965" y="438398"/>
                  <a:pt x="3989986" y="437090"/>
                </a:cubicBezTo>
                <a:close/>
                <a:moveTo>
                  <a:pt x="5937401" y="435429"/>
                </a:moveTo>
                <a:cubicBezTo>
                  <a:pt x="5940183" y="435265"/>
                  <a:pt x="5942380" y="435456"/>
                  <a:pt x="5942518" y="436001"/>
                </a:cubicBezTo>
                <a:cubicBezTo>
                  <a:pt x="5943891" y="435456"/>
                  <a:pt x="5944441" y="436981"/>
                  <a:pt x="5945814" y="436436"/>
                </a:cubicBezTo>
                <a:cubicBezTo>
                  <a:pt x="5945814" y="436436"/>
                  <a:pt x="5947188" y="436001"/>
                  <a:pt x="5948836" y="436873"/>
                </a:cubicBezTo>
                <a:cubicBezTo>
                  <a:pt x="5950758" y="437744"/>
                  <a:pt x="5952407" y="438725"/>
                  <a:pt x="5951857" y="441994"/>
                </a:cubicBezTo>
                <a:cubicBezTo>
                  <a:pt x="5945814" y="441886"/>
                  <a:pt x="5941144" y="442321"/>
                  <a:pt x="5937024" y="442648"/>
                </a:cubicBezTo>
                <a:cubicBezTo>
                  <a:pt x="5933178" y="442975"/>
                  <a:pt x="5929332" y="443302"/>
                  <a:pt x="5924662" y="442648"/>
                </a:cubicBezTo>
                <a:cubicBezTo>
                  <a:pt x="5924113" y="441232"/>
                  <a:pt x="5925487" y="440687"/>
                  <a:pt x="5925212" y="439270"/>
                </a:cubicBezTo>
                <a:cubicBezTo>
                  <a:pt x="5925762" y="438289"/>
                  <a:pt x="5927135" y="437526"/>
                  <a:pt x="5928783" y="436981"/>
                </a:cubicBezTo>
                <a:cubicBezTo>
                  <a:pt x="5931255" y="436110"/>
                  <a:pt x="5934620" y="435592"/>
                  <a:pt x="5937401" y="435429"/>
                </a:cubicBezTo>
                <a:close/>
                <a:moveTo>
                  <a:pt x="4295722" y="434584"/>
                </a:moveTo>
                <a:cubicBezTo>
                  <a:pt x="4297370" y="435456"/>
                  <a:pt x="4298194" y="438180"/>
                  <a:pt x="4297920" y="442866"/>
                </a:cubicBezTo>
                <a:cubicBezTo>
                  <a:pt x="4296547" y="444065"/>
                  <a:pt x="4294898" y="444065"/>
                  <a:pt x="4292700" y="443629"/>
                </a:cubicBezTo>
                <a:cubicBezTo>
                  <a:pt x="4290778" y="443193"/>
                  <a:pt x="4288854" y="442430"/>
                  <a:pt x="4287207" y="442212"/>
                </a:cubicBezTo>
                <a:cubicBezTo>
                  <a:pt x="4288305" y="440359"/>
                  <a:pt x="4289129" y="438507"/>
                  <a:pt x="4287756" y="439052"/>
                </a:cubicBezTo>
                <a:cubicBezTo>
                  <a:pt x="4288854" y="437199"/>
                  <a:pt x="4289953" y="435891"/>
                  <a:pt x="4291327" y="435238"/>
                </a:cubicBezTo>
                <a:cubicBezTo>
                  <a:pt x="4292700" y="434584"/>
                  <a:pt x="4294074" y="434366"/>
                  <a:pt x="4295722" y="434584"/>
                </a:cubicBezTo>
                <a:close/>
                <a:moveTo>
                  <a:pt x="4249573" y="433276"/>
                </a:moveTo>
                <a:cubicBezTo>
                  <a:pt x="4253419" y="436655"/>
                  <a:pt x="4256990" y="430879"/>
                  <a:pt x="4258913" y="437090"/>
                </a:cubicBezTo>
                <a:cubicBezTo>
                  <a:pt x="4258364" y="440033"/>
                  <a:pt x="4256440" y="442975"/>
                  <a:pt x="4251770" y="445590"/>
                </a:cubicBezTo>
                <a:cubicBezTo>
                  <a:pt x="4250123" y="444719"/>
                  <a:pt x="4249024" y="443738"/>
                  <a:pt x="4248475" y="442757"/>
                </a:cubicBezTo>
                <a:cubicBezTo>
                  <a:pt x="4246277" y="439814"/>
                  <a:pt x="4247925" y="436545"/>
                  <a:pt x="4249573" y="433276"/>
                </a:cubicBezTo>
                <a:close/>
                <a:moveTo>
                  <a:pt x="2329457" y="433058"/>
                </a:moveTo>
                <a:cubicBezTo>
                  <a:pt x="2334126" y="436110"/>
                  <a:pt x="2331379" y="448859"/>
                  <a:pt x="2325885" y="451148"/>
                </a:cubicBezTo>
                <a:cubicBezTo>
                  <a:pt x="2325061" y="451584"/>
                  <a:pt x="2324237" y="451693"/>
                  <a:pt x="2323413" y="451474"/>
                </a:cubicBezTo>
                <a:cubicBezTo>
                  <a:pt x="2320666" y="450930"/>
                  <a:pt x="2317644" y="447551"/>
                  <a:pt x="2314348" y="439597"/>
                </a:cubicBezTo>
                <a:cubicBezTo>
                  <a:pt x="2322039" y="432513"/>
                  <a:pt x="2326709" y="431424"/>
                  <a:pt x="2329457" y="433058"/>
                </a:cubicBezTo>
                <a:close/>
                <a:moveTo>
                  <a:pt x="4782481" y="432078"/>
                </a:moveTo>
                <a:cubicBezTo>
                  <a:pt x="4786327" y="430988"/>
                  <a:pt x="4792645" y="433821"/>
                  <a:pt x="4794018" y="438071"/>
                </a:cubicBezTo>
                <a:cubicBezTo>
                  <a:pt x="4792920" y="442975"/>
                  <a:pt x="4789898" y="442212"/>
                  <a:pt x="4789623" y="445372"/>
                </a:cubicBezTo>
                <a:cubicBezTo>
                  <a:pt x="4783031" y="442648"/>
                  <a:pt x="4781657" y="438398"/>
                  <a:pt x="4782481" y="432078"/>
                </a:cubicBezTo>
                <a:close/>
                <a:moveTo>
                  <a:pt x="4670681" y="432078"/>
                </a:moveTo>
                <a:cubicBezTo>
                  <a:pt x="4670956" y="433495"/>
                  <a:pt x="4672604" y="432950"/>
                  <a:pt x="4672878" y="434366"/>
                </a:cubicBezTo>
                <a:cubicBezTo>
                  <a:pt x="4675075" y="436655"/>
                  <a:pt x="4675350" y="438180"/>
                  <a:pt x="4674251" y="440033"/>
                </a:cubicBezTo>
                <a:cubicBezTo>
                  <a:pt x="4674801" y="441449"/>
                  <a:pt x="4673153" y="441886"/>
                  <a:pt x="4672329" y="443738"/>
                </a:cubicBezTo>
                <a:cubicBezTo>
                  <a:pt x="4670956" y="444282"/>
                  <a:pt x="4669307" y="443411"/>
                  <a:pt x="4669307" y="443411"/>
                </a:cubicBezTo>
                <a:cubicBezTo>
                  <a:pt x="4667384" y="442539"/>
                  <a:pt x="4667384" y="442539"/>
                  <a:pt x="4666560" y="444391"/>
                </a:cubicBezTo>
                <a:cubicBezTo>
                  <a:pt x="4666560" y="444391"/>
                  <a:pt x="4666011" y="442975"/>
                  <a:pt x="4666011" y="442975"/>
                </a:cubicBezTo>
                <a:cubicBezTo>
                  <a:pt x="4667384" y="442539"/>
                  <a:pt x="4666011" y="442975"/>
                  <a:pt x="4664362" y="442103"/>
                </a:cubicBezTo>
                <a:cubicBezTo>
                  <a:pt x="4664912" y="438834"/>
                  <a:pt x="4664637" y="437309"/>
                  <a:pt x="4665736" y="435456"/>
                </a:cubicBezTo>
                <a:cubicBezTo>
                  <a:pt x="4666286" y="434475"/>
                  <a:pt x="4666835" y="433495"/>
                  <a:pt x="4667934" y="432732"/>
                </a:cubicBezTo>
                <a:cubicBezTo>
                  <a:pt x="4668758" y="431968"/>
                  <a:pt x="4669856" y="431642"/>
                  <a:pt x="4670681" y="432078"/>
                </a:cubicBezTo>
                <a:close/>
                <a:moveTo>
                  <a:pt x="3752375" y="431860"/>
                </a:moveTo>
                <a:cubicBezTo>
                  <a:pt x="3752375" y="431860"/>
                  <a:pt x="3755672" y="431533"/>
                  <a:pt x="3763363" y="437199"/>
                </a:cubicBezTo>
                <a:cubicBezTo>
                  <a:pt x="3760067" y="437526"/>
                  <a:pt x="3760342" y="440687"/>
                  <a:pt x="3760342" y="440687"/>
                </a:cubicBezTo>
                <a:cubicBezTo>
                  <a:pt x="3760342" y="440687"/>
                  <a:pt x="3760342" y="440687"/>
                  <a:pt x="3763638" y="440359"/>
                </a:cubicBezTo>
                <a:cubicBezTo>
                  <a:pt x="3762264" y="442103"/>
                  <a:pt x="3760616" y="442321"/>
                  <a:pt x="3759243" y="441994"/>
                </a:cubicBezTo>
                <a:cubicBezTo>
                  <a:pt x="3757869" y="441776"/>
                  <a:pt x="3756770" y="441013"/>
                  <a:pt x="3756770" y="441013"/>
                </a:cubicBezTo>
                <a:cubicBezTo>
                  <a:pt x="3753200" y="438180"/>
                  <a:pt x="3749354" y="435346"/>
                  <a:pt x="3752375" y="431860"/>
                </a:cubicBezTo>
                <a:close/>
                <a:moveTo>
                  <a:pt x="1439445" y="431315"/>
                </a:moveTo>
                <a:cubicBezTo>
                  <a:pt x="1434226" y="442430"/>
                  <a:pt x="1433952" y="448315"/>
                  <a:pt x="1429007" y="456487"/>
                </a:cubicBezTo>
                <a:cubicBezTo>
                  <a:pt x="1427633" y="456161"/>
                  <a:pt x="1427633" y="454853"/>
                  <a:pt x="1426260" y="454635"/>
                </a:cubicBezTo>
                <a:cubicBezTo>
                  <a:pt x="1425435" y="453763"/>
                  <a:pt x="1425435" y="452129"/>
                  <a:pt x="1425435" y="450276"/>
                </a:cubicBezTo>
                <a:cubicBezTo>
                  <a:pt x="1425985" y="444936"/>
                  <a:pt x="1429282" y="437090"/>
                  <a:pt x="1430380" y="437309"/>
                </a:cubicBezTo>
                <a:cubicBezTo>
                  <a:pt x="1430380" y="435783"/>
                  <a:pt x="1431753" y="436001"/>
                  <a:pt x="1431753" y="434584"/>
                </a:cubicBezTo>
                <a:cubicBezTo>
                  <a:pt x="1431753" y="434584"/>
                  <a:pt x="1432028" y="433058"/>
                  <a:pt x="1433402" y="431860"/>
                </a:cubicBezTo>
                <a:cubicBezTo>
                  <a:pt x="1435050" y="430552"/>
                  <a:pt x="1436698" y="429353"/>
                  <a:pt x="1439445" y="431315"/>
                </a:cubicBezTo>
                <a:close/>
                <a:moveTo>
                  <a:pt x="1363904" y="431097"/>
                </a:moveTo>
                <a:cubicBezTo>
                  <a:pt x="1363904" y="443847"/>
                  <a:pt x="1366101" y="449187"/>
                  <a:pt x="1365002" y="459212"/>
                </a:cubicBezTo>
                <a:cubicBezTo>
                  <a:pt x="1363629" y="459866"/>
                  <a:pt x="1363080" y="458558"/>
                  <a:pt x="1361706" y="459212"/>
                </a:cubicBezTo>
                <a:cubicBezTo>
                  <a:pt x="1360882" y="458885"/>
                  <a:pt x="1360058" y="457686"/>
                  <a:pt x="1359509" y="456051"/>
                </a:cubicBezTo>
                <a:cubicBezTo>
                  <a:pt x="1357586" y="451039"/>
                  <a:pt x="1357311" y="442321"/>
                  <a:pt x="1358410" y="441776"/>
                </a:cubicBezTo>
                <a:cubicBezTo>
                  <a:pt x="1357861" y="440469"/>
                  <a:pt x="1358959" y="439814"/>
                  <a:pt x="1358410" y="438507"/>
                </a:cubicBezTo>
                <a:cubicBezTo>
                  <a:pt x="1358410" y="438507"/>
                  <a:pt x="1358136" y="437090"/>
                  <a:pt x="1358959" y="435129"/>
                </a:cubicBezTo>
                <a:cubicBezTo>
                  <a:pt x="1359784" y="433167"/>
                  <a:pt x="1360607" y="431097"/>
                  <a:pt x="1363904" y="431097"/>
                </a:cubicBezTo>
                <a:close/>
                <a:moveTo>
                  <a:pt x="2214633" y="430988"/>
                </a:moveTo>
                <a:cubicBezTo>
                  <a:pt x="2216282" y="433058"/>
                  <a:pt x="2216557" y="435020"/>
                  <a:pt x="2215733" y="436545"/>
                </a:cubicBezTo>
                <a:lnTo>
                  <a:pt x="2214633" y="437199"/>
                </a:lnTo>
                <a:lnTo>
                  <a:pt x="2219028" y="439814"/>
                </a:lnTo>
                <a:cubicBezTo>
                  <a:pt x="2218205" y="446354"/>
                  <a:pt x="2219028" y="444501"/>
                  <a:pt x="2215183" y="450276"/>
                </a:cubicBezTo>
                <a:cubicBezTo>
                  <a:pt x="2211612" y="448097"/>
                  <a:pt x="2208041" y="445917"/>
                  <a:pt x="2204470" y="443738"/>
                </a:cubicBezTo>
                <a:lnTo>
                  <a:pt x="2206118" y="440142"/>
                </a:lnTo>
                <a:lnTo>
                  <a:pt x="2204470" y="435891"/>
                </a:lnTo>
                <a:cubicBezTo>
                  <a:pt x="2206942" y="433821"/>
                  <a:pt x="2210788" y="432405"/>
                  <a:pt x="2214633" y="430988"/>
                </a:cubicBezTo>
                <a:close/>
                <a:moveTo>
                  <a:pt x="3430433" y="430116"/>
                </a:moveTo>
                <a:cubicBezTo>
                  <a:pt x="3434554" y="430988"/>
                  <a:pt x="3439498" y="430226"/>
                  <a:pt x="3443344" y="432841"/>
                </a:cubicBezTo>
                <a:cubicBezTo>
                  <a:pt x="3444718" y="433712"/>
                  <a:pt x="3445816" y="435020"/>
                  <a:pt x="3446915" y="436764"/>
                </a:cubicBezTo>
                <a:cubicBezTo>
                  <a:pt x="3435927" y="442975"/>
                  <a:pt x="3430433" y="450385"/>
                  <a:pt x="3421918" y="457904"/>
                </a:cubicBezTo>
                <a:cubicBezTo>
                  <a:pt x="3420818" y="457250"/>
                  <a:pt x="3419445" y="456379"/>
                  <a:pt x="3418621" y="454853"/>
                </a:cubicBezTo>
                <a:cubicBezTo>
                  <a:pt x="3417797" y="453327"/>
                  <a:pt x="3416973" y="451148"/>
                  <a:pt x="3416149" y="448205"/>
                </a:cubicBezTo>
                <a:cubicBezTo>
                  <a:pt x="3430158" y="445155"/>
                  <a:pt x="3419445" y="433058"/>
                  <a:pt x="3430433" y="430116"/>
                </a:cubicBezTo>
                <a:close/>
                <a:moveTo>
                  <a:pt x="1992955" y="428918"/>
                </a:moveTo>
                <a:cubicBezTo>
                  <a:pt x="1994603" y="429789"/>
                  <a:pt x="1994878" y="431097"/>
                  <a:pt x="1996251" y="430661"/>
                </a:cubicBezTo>
                <a:cubicBezTo>
                  <a:pt x="1993230" y="436219"/>
                  <a:pt x="1988835" y="436436"/>
                  <a:pt x="1984439" y="436545"/>
                </a:cubicBezTo>
                <a:cubicBezTo>
                  <a:pt x="1981418" y="436219"/>
                  <a:pt x="1979769" y="436655"/>
                  <a:pt x="1977572" y="439052"/>
                </a:cubicBezTo>
                <a:cubicBezTo>
                  <a:pt x="1977572" y="439052"/>
                  <a:pt x="1977572" y="439052"/>
                  <a:pt x="1974001" y="437309"/>
                </a:cubicBezTo>
                <a:lnTo>
                  <a:pt x="1973726" y="435891"/>
                </a:lnTo>
                <a:cubicBezTo>
                  <a:pt x="1973726" y="435129"/>
                  <a:pt x="1975099" y="434366"/>
                  <a:pt x="1976474" y="433712"/>
                </a:cubicBezTo>
                <a:cubicBezTo>
                  <a:pt x="1980868" y="431642"/>
                  <a:pt x="1989109" y="430226"/>
                  <a:pt x="1990208" y="429898"/>
                </a:cubicBezTo>
                <a:cubicBezTo>
                  <a:pt x="1990208" y="429898"/>
                  <a:pt x="1991581" y="429353"/>
                  <a:pt x="1992955" y="428918"/>
                </a:cubicBezTo>
                <a:close/>
                <a:moveTo>
                  <a:pt x="2960980" y="428590"/>
                </a:moveTo>
                <a:cubicBezTo>
                  <a:pt x="3037620" y="440359"/>
                  <a:pt x="2996690" y="483622"/>
                  <a:pt x="2963177" y="487218"/>
                </a:cubicBezTo>
                <a:cubicBezTo>
                  <a:pt x="2943125" y="489506"/>
                  <a:pt x="2925818" y="477411"/>
                  <a:pt x="2938180" y="435783"/>
                </a:cubicBezTo>
                <a:cubicBezTo>
                  <a:pt x="2939279" y="434475"/>
                  <a:pt x="2941201" y="433821"/>
                  <a:pt x="2943399" y="433603"/>
                </a:cubicBezTo>
                <a:cubicBezTo>
                  <a:pt x="2949443" y="432732"/>
                  <a:pt x="2957683" y="434584"/>
                  <a:pt x="2960980" y="428590"/>
                </a:cubicBezTo>
                <a:close/>
                <a:moveTo>
                  <a:pt x="2298793" y="428087"/>
                </a:moveTo>
                <a:cubicBezTo>
                  <a:pt x="2301575" y="427937"/>
                  <a:pt x="2303772" y="428154"/>
                  <a:pt x="2303910" y="428699"/>
                </a:cubicBezTo>
                <a:cubicBezTo>
                  <a:pt x="2305283" y="428154"/>
                  <a:pt x="2305832" y="429571"/>
                  <a:pt x="2307206" y="429136"/>
                </a:cubicBezTo>
                <a:cubicBezTo>
                  <a:pt x="2307206" y="429136"/>
                  <a:pt x="2308580" y="428482"/>
                  <a:pt x="2310227" y="429462"/>
                </a:cubicBezTo>
                <a:cubicBezTo>
                  <a:pt x="2312150" y="430334"/>
                  <a:pt x="2313799" y="431206"/>
                  <a:pt x="2313249" y="434584"/>
                </a:cubicBezTo>
                <a:cubicBezTo>
                  <a:pt x="2306931" y="434475"/>
                  <a:pt x="2302536" y="435020"/>
                  <a:pt x="2298416" y="435346"/>
                </a:cubicBezTo>
                <a:cubicBezTo>
                  <a:pt x="2294295" y="435674"/>
                  <a:pt x="2290724" y="435783"/>
                  <a:pt x="2286055" y="435238"/>
                </a:cubicBezTo>
                <a:cubicBezTo>
                  <a:pt x="2285505" y="433821"/>
                  <a:pt x="2286879" y="433386"/>
                  <a:pt x="2286604" y="431968"/>
                </a:cubicBezTo>
                <a:cubicBezTo>
                  <a:pt x="2287153" y="430988"/>
                  <a:pt x="2288252" y="430226"/>
                  <a:pt x="2290174" y="429681"/>
                </a:cubicBezTo>
                <a:cubicBezTo>
                  <a:pt x="2292647" y="428754"/>
                  <a:pt x="2296012" y="428237"/>
                  <a:pt x="2298793" y="428087"/>
                </a:cubicBezTo>
                <a:close/>
                <a:moveTo>
                  <a:pt x="4043552" y="427283"/>
                </a:moveTo>
                <a:cubicBezTo>
                  <a:pt x="4049046" y="432296"/>
                  <a:pt x="4045749" y="441013"/>
                  <a:pt x="4044376" y="445917"/>
                </a:cubicBezTo>
                <a:cubicBezTo>
                  <a:pt x="4038333" y="445046"/>
                  <a:pt x="4032290" y="444065"/>
                  <a:pt x="4029542" y="440578"/>
                </a:cubicBezTo>
                <a:cubicBezTo>
                  <a:pt x="4029817" y="436545"/>
                  <a:pt x="4031191" y="433058"/>
                  <a:pt x="4033388" y="430770"/>
                </a:cubicBezTo>
                <a:cubicBezTo>
                  <a:pt x="4035586" y="428373"/>
                  <a:pt x="4038882" y="427065"/>
                  <a:pt x="4043552" y="427283"/>
                </a:cubicBezTo>
                <a:close/>
                <a:moveTo>
                  <a:pt x="4473999" y="426847"/>
                </a:moveTo>
                <a:cubicBezTo>
                  <a:pt x="4475373" y="427174"/>
                  <a:pt x="4476746" y="428373"/>
                  <a:pt x="4478119" y="430007"/>
                </a:cubicBezTo>
                <a:cubicBezTo>
                  <a:pt x="4481141" y="433276"/>
                  <a:pt x="4479493" y="436001"/>
                  <a:pt x="4479493" y="436001"/>
                </a:cubicBezTo>
                <a:cubicBezTo>
                  <a:pt x="4478119" y="437963"/>
                  <a:pt x="4476197" y="439161"/>
                  <a:pt x="4474273" y="439488"/>
                </a:cubicBezTo>
                <a:cubicBezTo>
                  <a:pt x="4472076" y="439814"/>
                  <a:pt x="4470154" y="439270"/>
                  <a:pt x="4467956" y="437526"/>
                </a:cubicBezTo>
                <a:cubicBezTo>
                  <a:pt x="4466582" y="434475"/>
                  <a:pt x="4467956" y="431751"/>
                  <a:pt x="4469604" y="429027"/>
                </a:cubicBezTo>
                <a:cubicBezTo>
                  <a:pt x="4470978" y="426956"/>
                  <a:pt x="4472626" y="426411"/>
                  <a:pt x="4473999" y="426847"/>
                </a:cubicBezTo>
                <a:close/>
                <a:moveTo>
                  <a:pt x="4279515" y="425649"/>
                </a:moveTo>
                <a:cubicBezTo>
                  <a:pt x="4283635" y="424341"/>
                  <a:pt x="4286657" y="424994"/>
                  <a:pt x="4290228" y="428590"/>
                </a:cubicBezTo>
                <a:cubicBezTo>
                  <a:pt x="4288580" y="435129"/>
                  <a:pt x="4289678" y="433167"/>
                  <a:pt x="4285009" y="439161"/>
                </a:cubicBezTo>
                <a:cubicBezTo>
                  <a:pt x="4281713" y="437090"/>
                  <a:pt x="4278416" y="435020"/>
                  <a:pt x="4274846" y="432950"/>
                </a:cubicBezTo>
                <a:cubicBezTo>
                  <a:pt x="4277317" y="430661"/>
                  <a:pt x="4278416" y="427501"/>
                  <a:pt x="4279515" y="425649"/>
                </a:cubicBezTo>
                <a:close/>
                <a:moveTo>
                  <a:pt x="4808028" y="424014"/>
                </a:moveTo>
                <a:cubicBezTo>
                  <a:pt x="4810775" y="429136"/>
                  <a:pt x="4806105" y="433821"/>
                  <a:pt x="4801710" y="434693"/>
                </a:cubicBezTo>
                <a:cubicBezTo>
                  <a:pt x="4800062" y="434911"/>
                  <a:pt x="4798688" y="434802"/>
                  <a:pt x="4797590" y="434039"/>
                </a:cubicBezTo>
                <a:cubicBezTo>
                  <a:pt x="4795942" y="433058"/>
                  <a:pt x="4795117" y="430988"/>
                  <a:pt x="4795117" y="427719"/>
                </a:cubicBezTo>
                <a:cubicBezTo>
                  <a:pt x="4801161" y="425539"/>
                  <a:pt x="4805006" y="424122"/>
                  <a:pt x="4808028" y="424014"/>
                </a:cubicBezTo>
                <a:close/>
                <a:moveTo>
                  <a:pt x="2932136" y="423251"/>
                </a:moveTo>
                <a:cubicBezTo>
                  <a:pt x="2933785" y="424122"/>
                  <a:pt x="2932961" y="425975"/>
                  <a:pt x="2933236" y="427392"/>
                </a:cubicBezTo>
                <a:cubicBezTo>
                  <a:pt x="2932686" y="430552"/>
                  <a:pt x="2924170" y="438071"/>
                  <a:pt x="2922523" y="437199"/>
                </a:cubicBezTo>
                <a:cubicBezTo>
                  <a:pt x="2923621" y="433386"/>
                  <a:pt x="2925818" y="426738"/>
                  <a:pt x="2928840" y="424231"/>
                </a:cubicBezTo>
                <a:cubicBezTo>
                  <a:pt x="2929939" y="423360"/>
                  <a:pt x="2931038" y="422924"/>
                  <a:pt x="2932136" y="423251"/>
                </a:cubicBezTo>
                <a:close/>
                <a:moveTo>
                  <a:pt x="4865486" y="422648"/>
                </a:moveTo>
                <a:cubicBezTo>
                  <a:pt x="4877886" y="421800"/>
                  <a:pt x="4897510" y="436491"/>
                  <a:pt x="4885766" y="445481"/>
                </a:cubicBezTo>
                <a:cubicBezTo>
                  <a:pt x="4870109" y="443520"/>
                  <a:pt x="4872582" y="439488"/>
                  <a:pt x="4856924" y="429462"/>
                </a:cubicBezTo>
                <a:cubicBezTo>
                  <a:pt x="4858022" y="424940"/>
                  <a:pt x="4861353" y="422931"/>
                  <a:pt x="4865486" y="422648"/>
                </a:cubicBezTo>
                <a:close/>
                <a:moveTo>
                  <a:pt x="4729740" y="418674"/>
                </a:moveTo>
                <a:cubicBezTo>
                  <a:pt x="4732212" y="419982"/>
                  <a:pt x="4733860" y="422597"/>
                  <a:pt x="4734135" y="427937"/>
                </a:cubicBezTo>
                <a:cubicBezTo>
                  <a:pt x="4731114" y="430661"/>
                  <a:pt x="4728916" y="431206"/>
                  <a:pt x="4726993" y="430661"/>
                </a:cubicBezTo>
                <a:cubicBezTo>
                  <a:pt x="4725070" y="430116"/>
                  <a:pt x="4723696" y="428590"/>
                  <a:pt x="4722049" y="426956"/>
                </a:cubicBezTo>
                <a:cubicBezTo>
                  <a:pt x="4726718" y="424122"/>
                  <a:pt x="4723147" y="418892"/>
                  <a:pt x="4729740" y="418674"/>
                </a:cubicBezTo>
                <a:close/>
                <a:moveTo>
                  <a:pt x="3793305" y="417475"/>
                </a:moveTo>
                <a:cubicBezTo>
                  <a:pt x="3794404" y="416822"/>
                  <a:pt x="3794953" y="418129"/>
                  <a:pt x="3796877" y="418783"/>
                </a:cubicBezTo>
                <a:cubicBezTo>
                  <a:pt x="3797426" y="420200"/>
                  <a:pt x="3796602" y="422161"/>
                  <a:pt x="3796602" y="422161"/>
                </a:cubicBezTo>
                <a:cubicBezTo>
                  <a:pt x="3795777" y="424122"/>
                  <a:pt x="3795777" y="424122"/>
                  <a:pt x="3797426" y="424776"/>
                </a:cubicBezTo>
                <a:cubicBezTo>
                  <a:pt x="3797426" y="424776"/>
                  <a:pt x="3796327" y="425539"/>
                  <a:pt x="3796327" y="425539"/>
                </a:cubicBezTo>
                <a:cubicBezTo>
                  <a:pt x="3795777" y="424231"/>
                  <a:pt x="3796327" y="425539"/>
                  <a:pt x="3795502" y="427501"/>
                </a:cubicBezTo>
                <a:cubicBezTo>
                  <a:pt x="3793854" y="427501"/>
                  <a:pt x="3792756" y="427610"/>
                  <a:pt x="3791657" y="427719"/>
                </a:cubicBezTo>
                <a:cubicBezTo>
                  <a:pt x="3790833" y="427719"/>
                  <a:pt x="3790008" y="427828"/>
                  <a:pt x="3788910" y="427501"/>
                </a:cubicBezTo>
                <a:cubicBezTo>
                  <a:pt x="3788086" y="427174"/>
                  <a:pt x="3786987" y="426411"/>
                  <a:pt x="3786438" y="425649"/>
                </a:cubicBezTo>
                <a:cubicBezTo>
                  <a:pt x="3785614" y="424776"/>
                  <a:pt x="3785339" y="423796"/>
                  <a:pt x="3785614" y="422815"/>
                </a:cubicBezTo>
                <a:cubicBezTo>
                  <a:pt x="3786987" y="422052"/>
                  <a:pt x="3786438" y="420853"/>
                  <a:pt x="3787811" y="420091"/>
                </a:cubicBezTo>
                <a:cubicBezTo>
                  <a:pt x="3790008" y="417475"/>
                  <a:pt x="3791383" y="416822"/>
                  <a:pt x="3793305" y="417475"/>
                </a:cubicBezTo>
                <a:close/>
                <a:moveTo>
                  <a:pt x="5417645" y="415778"/>
                </a:moveTo>
                <a:cubicBezTo>
                  <a:pt x="5420049" y="415711"/>
                  <a:pt x="5423070" y="416712"/>
                  <a:pt x="5426916" y="419219"/>
                </a:cubicBezTo>
                <a:cubicBezTo>
                  <a:pt x="5421971" y="423796"/>
                  <a:pt x="5419498" y="436328"/>
                  <a:pt x="5414004" y="437199"/>
                </a:cubicBezTo>
                <a:cubicBezTo>
                  <a:pt x="5412082" y="437526"/>
                  <a:pt x="5409885" y="436436"/>
                  <a:pt x="5407137" y="433386"/>
                </a:cubicBezTo>
                <a:cubicBezTo>
                  <a:pt x="5408786" y="425785"/>
                  <a:pt x="5410434" y="415977"/>
                  <a:pt x="5417645" y="415778"/>
                </a:cubicBezTo>
                <a:close/>
                <a:moveTo>
                  <a:pt x="4937959" y="415296"/>
                </a:moveTo>
                <a:cubicBezTo>
                  <a:pt x="4941255" y="428373"/>
                  <a:pt x="4945925" y="450058"/>
                  <a:pt x="4940980" y="461827"/>
                </a:cubicBezTo>
                <a:cubicBezTo>
                  <a:pt x="4925048" y="457250"/>
                  <a:pt x="4932190" y="423905"/>
                  <a:pt x="4937959" y="415296"/>
                </a:cubicBezTo>
                <a:close/>
                <a:moveTo>
                  <a:pt x="5435946" y="415241"/>
                </a:moveTo>
                <a:cubicBezTo>
                  <a:pt x="5437217" y="414942"/>
                  <a:pt x="5439002" y="415568"/>
                  <a:pt x="5442573" y="416822"/>
                </a:cubicBezTo>
                <a:cubicBezTo>
                  <a:pt x="5445320" y="418347"/>
                  <a:pt x="5448617" y="422379"/>
                  <a:pt x="5450814" y="426956"/>
                </a:cubicBezTo>
                <a:cubicBezTo>
                  <a:pt x="5453012" y="431424"/>
                  <a:pt x="5454385" y="436436"/>
                  <a:pt x="5453012" y="439924"/>
                </a:cubicBezTo>
                <a:cubicBezTo>
                  <a:pt x="5448342" y="438834"/>
                  <a:pt x="5443672" y="437853"/>
                  <a:pt x="5439277" y="436764"/>
                </a:cubicBezTo>
                <a:cubicBezTo>
                  <a:pt x="5441199" y="436328"/>
                  <a:pt x="5432410" y="419219"/>
                  <a:pt x="5432410" y="419219"/>
                </a:cubicBezTo>
                <a:cubicBezTo>
                  <a:pt x="5433921" y="416767"/>
                  <a:pt x="5434676" y="415541"/>
                  <a:pt x="5435946" y="415241"/>
                </a:cubicBezTo>
                <a:close/>
                <a:moveTo>
                  <a:pt x="1091132" y="411264"/>
                </a:moveTo>
                <a:cubicBezTo>
                  <a:pt x="1093604" y="412571"/>
                  <a:pt x="1095252" y="415187"/>
                  <a:pt x="1095527" y="420527"/>
                </a:cubicBezTo>
                <a:cubicBezTo>
                  <a:pt x="1092506" y="423251"/>
                  <a:pt x="1090307" y="423796"/>
                  <a:pt x="1088385" y="423360"/>
                </a:cubicBezTo>
                <a:cubicBezTo>
                  <a:pt x="1086463" y="422815"/>
                  <a:pt x="1085088" y="421072"/>
                  <a:pt x="1083440" y="419437"/>
                </a:cubicBezTo>
                <a:cubicBezTo>
                  <a:pt x="1088110" y="416713"/>
                  <a:pt x="1084539" y="411482"/>
                  <a:pt x="1091132" y="411264"/>
                </a:cubicBezTo>
                <a:close/>
                <a:moveTo>
                  <a:pt x="4900875" y="410937"/>
                </a:moveTo>
                <a:cubicBezTo>
                  <a:pt x="4907742" y="415078"/>
                  <a:pt x="4906643" y="431642"/>
                  <a:pt x="4900326" y="434802"/>
                </a:cubicBezTo>
                <a:cubicBezTo>
                  <a:pt x="4896480" y="434149"/>
                  <a:pt x="4892634" y="433603"/>
                  <a:pt x="4888514" y="432950"/>
                </a:cubicBezTo>
                <a:cubicBezTo>
                  <a:pt x="4882470" y="427937"/>
                  <a:pt x="4881646" y="420091"/>
                  <a:pt x="4885217" y="414969"/>
                </a:cubicBezTo>
                <a:cubicBezTo>
                  <a:pt x="4886316" y="413334"/>
                  <a:pt x="4887964" y="411917"/>
                  <a:pt x="4890162" y="411046"/>
                </a:cubicBezTo>
                <a:cubicBezTo>
                  <a:pt x="4892908" y="409956"/>
                  <a:pt x="4896480" y="409738"/>
                  <a:pt x="4900875" y="410937"/>
                </a:cubicBezTo>
                <a:close/>
                <a:moveTo>
                  <a:pt x="3735893" y="410065"/>
                </a:moveTo>
                <a:cubicBezTo>
                  <a:pt x="3742762" y="412681"/>
                  <a:pt x="3754573" y="424885"/>
                  <a:pt x="3751826" y="431860"/>
                </a:cubicBezTo>
                <a:cubicBezTo>
                  <a:pt x="3744684" y="429244"/>
                  <a:pt x="3741113" y="426302"/>
                  <a:pt x="3737268" y="423360"/>
                </a:cubicBezTo>
                <a:cubicBezTo>
                  <a:pt x="3730125" y="420636"/>
                  <a:pt x="3729850" y="417367"/>
                  <a:pt x="3735893" y="410065"/>
                </a:cubicBezTo>
                <a:close/>
                <a:moveTo>
                  <a:pt x="2693427" y="408757"/>
                </a:moveTo>
                <a:cubicBezTo>
                  <a:pt x="2694526" y="408322"/>
                  <a:pt x="2693427" y="408867"/>
                  <a:pt x="2696174" y="409411"/>
                </a:cubicBezTo>
                <a:cubicBezTo>
                  <a:pt x="2695899" y="410392"/>
                  <a:pt x="2695350" y="410501"/>
                  <a:pt x="2695075" y="410174"/>
                </a:cubicBezTo>
                <a:cubicBezTo>
                  <a:pt x="2694526" y="409956"/>
                  <a:pt x="2694251" y="409302"/>
                  <a:pt x="2693427" y="408757"/>
                </a:cubicBezTo>
                <a:close/>
                <a:moveTo>
                  <a:pt x="4112501" y="408322"/>
                </a:moveTo>
                <a:cubicBezTo>
                  <a:pt x="4115797" y="407994"/>
                  <a:pt x="4120192" y="417148"/>
                  <a:pt x="4120192" y="417148"/>
                </a:cubicBezTo>
                <a:cubicBezTo>
                  <a:pt x="4117720" y="426956"/>
                  <a:pt x="4114698" y="427174"/>
                  <a:pt x="4108380" y="430879"/>
                </a:cubicBezTo>
                <a:cubicBezTo>
                  <a:pt x="4104809" y="428045"/>
                  <a:pt x="4104534" y="424885"/>
                  <a:pt x="4104259" y="421835"/>
                </a:cubicBezTo>
                <a:cubicBezTo>
                  <a:pt x="4103710" y="415514"/>
                  <a:pt x="4106183" y="408976"/>
                  <a:pt x="4112501" y="408322"/>
                </a:cubicBezTo>
                <a:close/>
                <a:moveTo>
                  <a:pt x="1299351" y="407994"/>
                </a:moveTo>
                <a:cubicBezTo>
                  <a:pt x="1302647" y="421072"/>
                  <a:pt x="1307317" y="442648"/>
                  <a:pt x="1302372" y="454526"/>
                </a:cubicBezTo>
                <a:cubicBezTo>
                  <a:pt x="1286440" y="449840"/>
                  <a:pt x="1293582" y="416494"/>
                  <a:pt x="1299351" y="407994"/>
                </a:cubicBezTo>
                <a:close/>
                <a:moveTo>
                  <a:pt x="1948729" y="405379"/>
                </a:moveTo>
                <a:cubicBezTo>
                  <a:pt x="1949004" y="405815"/>
                  <a:pt x="1949553" y="406469"/>
                  <a:pt x="1950927" y="407341"/>
                </a:cubicBezTo>
                <a:cubicBezTo>
                  <a:pt x="1952300" y="408867"/>
                  <a:pt x="1953673" y="409084"/>
                  <a:pt x="1952300" y="410283"/>
                </a:cubicBezTo>
                <a:cubicBezTo>
                  <a:pt x="1951476" y="410937"/>
                  <a:pt x="1951201" y="411155"/>
                  <a:pt x="1950652" y="411264"/>
                </a:cubicBezTo>
                <a:cubicBezTo>
                  <a:pt x="1949828" y="411373"/>
                  <a:pt x="1948729" y="411373"/>
                  <a:pt x="1946806" y="411046"/>
                </a:cubicBezTo>
                <a:cubicBezTo>
                  <a:pt x="1948179" y="409847"/>
                  <a:pt x="1948179" y="409738"/>
                  <a:pt x="1946806" y="408213"/>
                </a:cubicBezTo>
                <a:cubicBezTo>
                  <a:pt x="1946806" y="408213"/>
                  <a:pt x="1946806" y="408322"/>
                  <a:pt x="1945433" y="408104"/>
                </a:cubicBezTo>
                <a:cubicBezTo>
                  <a:pt x="1945433" y="406687"/>
                  <a:pt x="1946806" y="406905"/>
                  <a:pt x="1946806" y="405488"/>
                </a:cubicBezTo>
                <a:cubicBezTo>
                  <a:pt x="1946806" y="405488"/>
                  <a:pt x="1948454" y="405598"/>
                  <a:pt x="1948454" y="405598"/>
                </a:cubicBezTo>
                <a:cubicBezTo>
                  <a:pt x="1948454" y="404944"/>
                  <a:pt x="1948454" y="404944"/>
                  <a:pt x="1948729" y="405379"/>
                </a:cubicBezTo>
                <a:close/>
                <a:moveTo>
                  <a:pt x="4921477" y="405161"/>
                </a:moveTo>
                <a:cubicBezTo>
                  <a:pt x="4926422" y="408213"/>
                  <a:pt x="4923674" y="421072"/>
                  <a:pt x="4918181" y="423469"/>
                </a:cubicBezTo>
                <a:cubicBezTo>
                  <a:pt x="4917357" y="423796"/>
                  <a:pt x="4916533" y="423796"/>
                  <a:pt x="4915434" y="423686"/>
                </a:cubicBezTo>
                <a:cubicBezTo>
                  <a:pt x="4912687" y="423033"/>
                  <a:pt x="4909665" y="419764"/>
                  <a:pt x="4906643" y="411809"/>
                </a:cubicBezTo>
                <a:cubicBezTo>
                  <a:pt x="4914060" y="404725"/>
                  <a:pt x="4919004" y="403526"/>
                  <a:pt x="4921477" y="405161"/>
                </a:cubicBezTo>
                <a:close/>
                <a:moveTo>
                  <a:pt x="3197492" y="404616"/>
                </a:moveTo>
                <a:cubicBezTo>
                  <a:pt x="3197492" y="404616"/>
                  <a:pt x="3197492" y="404616"/>
                  <a:pt x="3201063" y="406360"/>
                </a:cubicBezTo>
                <a:cubicBezTo>
                  <a:pt x="3202436" y="405924"/>
                  <a:pt x="3202436" y="405924"/>
                  <a:pt x="3202436" y="405924"/>
                </a:cubicBezTo>
                <a:cubicBezTo>
                  <a:pt x="3203809" y="405379"/>
                  <a:pt x="3204359" y="408213"/>
                  <a:pt x="3204359" y="408213"/>
                </a:cubicBezTo>
                <a:cubicBezTo>
                  <a:pt x="3203809" y="411482"/>
                  <a:pt x="3199415" y="411591"/>
                  <a:pt x="3196668" y="412571"/>
                </a:cubicBezTo>
                <a:cubicBezTo>
                  <a:pt x="3196118" y="415950"/>
                  <a:pt x="3190350" y="411809"/>
                  <a:pt x="3189801" y="415078"/>
                </a:cubicBezTo>
                <a:cubicBezTo>
                  <a:pt x="3184581" y="412462"/>
                  <a:pt x="3180461" y="417039"/>
                  <a:pt x="3173868" y="418020"/>
                </a:cubicBezTo>
                <a:cubicBezTo>
                  <a:pt x="3171671" y="418456"/>
                  <a:pt x="3169473" y="418347"/>
                  <a:pt x="3166452" y="417475"/>
                </a:cubicBezTo>
                <a:cubicBezTo>
                  <a:pt x="3169748" y="415187"/>
                  <a:pt x="3172770" y="413552"/>
                  <a:pt x="3175516" y="412354"/>
                </a:cubicBezTo>
                <a:cubicBezTo>
                  <a:pt x="3184307" y="408867"/>
                  <a:pt x="3191998" y="408976"/>
                  <a:pt x="3197492" y="404616"/>
                </a:cubicBezTo>
                <a:close/>
                <a:moveTo>
                  <a:pt x="1262267" y="403636"/>
                </a:moveTo>
                <a:cubicBezTo>
                  <a:pt x="1269133" y="407777"/>
                  <a:pt x="1268035" y="424231"/>
                  <a:pt x="1261717" y="427501"/>
                </a:cubicBezTo>
                <a:cubicBezTo>
                  <a:pt x="1257872" y="426847"/>
                  <a:pt x="1253751" y="426193"/>
                  <a:pt x="1249906" y="425649"/>
                </a:cubicBezTo>
                <a:cubicBezTo>
                  <a:pt x="1243863" y="420636"/>
                  <a:pt x="1243038" y="412790"/>
                  <a:pt x="1246334" y="407668"/>
                </a:cubicBezTo>
                <a:cubicBezTo>
                  <a:pt x="1247707" y="406033"/>
                  <a:pt x="1249356" y="404616"/>
                  <a:pt x="1251279" y="403745"/>
                </a:cubicBezTo>
                <a:cubicBezTo>
                  <a:pt x="1254301" y="402655"/>
                  <a:pt x="1257872" y="402437"/>
                  <a:pt x="1262267" y="403636"/>
                </a:cubicBezTo>
                <a:close/>
                <a:moveTo>
                  <a:pt x="2904392" y="402764"/>
                </a:moveTo>
                <a:cubicBezTo>
                  <a:pt x="2907689" y="403091"/>
                  <a:pt x="2907963" y="404508"/>
                  <a:pt x="2906865" y="406360"/>
                </a:cubicBezTo>
                <a:cubicBezTo>
                  <a:pt x="2906865" y="406360"/>
                  <a:pt x="2906041" y="408322"/>
                  <a:pt x="2904941" y="410174"/>
                </a:cubicBezTo>
                <a:cubicBezTo>
                  <a:pt x="2903843" y="412136"/>
                  <a:pt x="2904118" y="413444"/>
                  <a:pt x="2904118" y="413444"/>
                </a:cubicBezTo>
                <a:cubicBezTo>
                  <a:pt x="2903568" y="414424"/>
                  <a:pt x="2903019" y="415078"/>
                  <a:pt x="2902195" y="415296"/>
                </a:cubicBezTo>
                <a:cubicBezTo>
                  <a:pt x="2901646" y="415623"/>
                  <a:pt x="2900822" y="415514"/>
                  <a:pt x="2899997" y="415078"/>
                </a:cubicBezTo>
                <a:cubicBezTo>
                  <a:pt x="2899997" y="415078"/>
                  <a:pt x="2900547" y="411700"/>
                  <a:pt x="2900547" y="411700"/>
                </a:cubicBezTo>
                <a:cubicBezTo>
                  <a:pt x="2902744" y="407886"/>
                  <a:pt x="2903843" y="406033"/>
                  <a:pt x="2904392" y="402764"/>
                </a:cubicBezTo>
                <a:close/>
                <a:moveTo>
                  <a:pt x="6022454" y="402219"/>
                </a:moveTo>
                <a:cubicBezTo>
                  <a:pt x="6026574" y="403091"/>
                  <a:pt x="6031794" y="402437"/>
                  <a:pt x="6035640" y="405053"/>
                </a:cubicBezTo>
                <a:cubicBezTo>
                  <a:pt x="6037013" y="405924"/>
                  <a:pt x="6038111" y="407123"/>
                  <a:pt x="6039211" y="408867"/>
                </a:cubicBezTo>
                <a:cubicBezTo>
                  <a:pt x="6028223" y="415078"/>
                  <a:pt x="6022454" y="422597"/>
                  <a:pt x="6013938" y="430116"/>
                </a:cubicBezTo>
                <a:cubicBezTo>
                  <a:pt x="6012840" y="429462"/>
                  <a:pt x="6011741" y="428482"/>
                  <a:pt x="6010916" y="426956"/>
                </a:cubicBezTo>
                <a:cubicBezTo>
                  <a:pt x="6009818" y="425430"/>
                  <a:pt x="6008994" y="423251"/>
                  <a:pt x="6008445" y="420417"/>
                </a:cubicBezTo>
                <a:cubicBezTo>
                  <a:pt x="6022179" y="417258"/>
                  <a:pt x="6011741" y="405161"/>
                  <a:pt x="6022454" y="402219"/>
                </a:cubicBezTo>
                <a:close/>
                <a:moveTo>
                  <a:pt x="2962078" y="398296"/>
                </a:moveTo>
                <a:cubicBezTo>
                  <a:pt x="2962078" y="398296"/>
                  <a:pt x="2962078" y="398296"/>
                  <a:pt x="2964001" y="399168"/>
                </a:cubicBezTo>
                <a:cubicBezTo>
                  <a:pt x="2961804" y="399931"/>
                  <a:pt x="2961254" y="403636"/>
                  <a:pt x="2959606" y="404616"/>
                </a:cubicBezTo>
                <a:cubicBezTo>
                  <a:pt x="2959056" y="404944"/>
                  <a:pt x="2958507" y="404944"/>
                  <a:pt x="2957683" y="404508"/>
                </a:cubicBezTo>
                <a:cubicBezTo>
                  <a:pt x="2958783" y="402546"/>
                  <a:pt x="2960980" y="400148"/>
                  <a:pt x="2962078" y="398296"/>
                </a:cubicBezTo>
                <a:close/>
                <a:moveTo>
                  <a:pt x="1282869" y="397861"/>
                </a:moveTo>
                <a:cubicBezTo>
                  <a:pt x="1287813" y="400911"/>
                  <a:pt x="1284791" y="413770"/>
                  <a:pt x="1279572" y="416059"/>
                </a:cubicBezTo>
                <a:cubicBezTo>
                  <a:pt x="1278748" y="416494"/>
                  <a:pt x="1277650" y="416494"/>
                  <a:pt x="1276826" y="416277"/>
                </a:cubicBezTo>
                <a:cubicBezTo>
                  <a:pt x="1274078" y="415732"/>
                  <a:pt x="1271057" y="412462"/>
                  <a:pt x="1267760" y="404508"/>
                </a:cubicBezTo>
                <a:cubicBezTo>
                  <a:pt x="1275452" y="397424"/>
                  <a:pt x="1280396" y="396226"/>
                  <a:pt x="1282869" y="397861"/>
                </a:cubicBezTo>
                <a:close/>
                <a:moveTo>
                  <a:pt x="3829291" y="396226"/>
                </a:moveTo>
                <a:cubicBezTo>
                  <a:pt x="3824071" y="407341"/>
                  <a:pt x="3823797" y="413225"/>
                  <a:pt x="3818852" y="421398"/>
                </a:cubicBezTo>
                <a:cubicBezTo>
                  <a:pt x="3817478" y="421072"/>
                  <a:pt x="3817478" y="419655"/>
                  <a:pt x="3816105" y="419328"/>
                </a:cubicBezTo>
                <a:cubicBezTo>
                  <a:pt x="3815555" y="418565"/>
                  <a:pt x="3815281" y="417039"/>
                  <a:pt x="3815281" y="415187"/>
                </a:cubicBezTo>
                <a:cubicBezTo>
                  <a:pt x="3815830" y="409847"/>
                  <a:pt x="3819127" y="401892"/>
                  <a:pt x="3820225" y="402110"/>
                </a:cubicBezTo>
                <a:cubicBezTo>
                  <a:pt x="3820225" y="400585"/>
                  <a:pt x="3821599" y="400802"/>
                  <a:pt x="3821873" y="399386"/>
                </a:cubicBezTo>
                <a:cubicBezTo>
                  <a:pt x="3821873" y="399386"/>
                  <a:pt x="3821873" y="397969"/>
                  <a:pt x="3823522" y="396771"/>
                </a:cubicBezTo>
                <a:cubicBezTo>
                  <a:pt x="3824895" y="395463"/>
                  <a:pt x="3826543" y="394264"/>
                  <a:pt x="3829291" y="396226"/>
                </a:cubicBezTo>
                <a:close/>
                <a:moveTo>
                  <a:pt x="3753475" y="396008"/>
                </a:moveTo>
                <a:cubicBezTo>
                  <a:pt x="3753749" y="408648"/>
                  <a:pt x="3755947" y="413989"/>
                  <a:pt x="3754848" y="424122"/>
                </a:cubicBezTo>
                <a:cubicBezTo>
                  <a:pt x="3753475" y="424776"/>
                  <a:pt x="3753200" y="423360"/>
                  <a:pt x="3751826" y="424122"/>
                </a:cubicBezTo>
                <a:cubicBezTo>
                  <a:pt x="3750727" y="423796"/>
                  <a:pt x="3750178" y="422597"/>
                  <a:pt x="3749354" y="420962"/>
                </a:cubicBezTo>
                <a:cubicBezTo>
                  <a:pt x="3747706" y="415950"/>
                  <a:pt x="3747156" y="407123"/>
                  <a:pt x="3748255" y="406578"/>
                </a:cubicBezTo>
                <a:cubicBezTo>
                  <a:pt x="3747706" y="405270"/>
                  <a:pt x="3749079" y="404616"/>
                  <a:pt x="3748530" y="403309"/>
                </a:cubicBezTo>
                <a:cubicBezTo>
                  <a:pt x="3748530" y="403309"/>
                  <a:pt x="3747981" y="401892"/>
                  <a:pt x="3748805" y="399931"/>
                </a:cubicBezTo>
                <a:cubicBezTo>
                  <a:pt x="3749629" y="397861"/>
                  <a:pt x="3750453" y="396008"/>
                  <a:pt x="3753475" y="396008"/>
                </a:cubicBezTo>
                <a:close/>
                <a:moveTo>
                  <a:pt x="4604479" y="395790"/>
                </a:moveTo>
                <a:cubicBezTo>
                  <a:pt x="4606128" y="397861"/>
                  <a:pt x="4606402" y="399712"/>
                  <a:pt x="4605578" y="401347"/>
                </a:cubicBezTo>
                <a:lnTo>
                  <a:pt x="4604479" y="402110"/>
                </a:lnTo>
                <a:lnTo>
                  <a:pt x="4608874" y="404616"/>
                </a:lnTo>
                <a:cubicBezTo>
                  <a:pt x="4608050" y="411155"/>
                  <a:pt x="4608874" y="409302"/>
                  <a:pt x="4605028" y="415078"/>
                </a:cubicBezTo>
                <a:cubicBezTo>
                  <a:pt x="4601458" y="412899"/>
                  <a:pt x="4597886" y="410719"/>
                  <a:pt x="4594315" y="408539"/>
                </a:cubicBezTo>
                <a:lnTo>
                  <a:pt x="4595964" y="404944"/>
                </a:lnTo>
                <a:lnTo>
                  <a:pt x="4594315" y="400693"/>
                </a:lnTo>
                <a:cubicBezTo>
                  <a:pt x="4597062" y="398623"/>
                  <a:pt x="4600634" y="397206"/>
                  <a:pt x="4604479" y="395790"/>
                </a:cubicBezTo>
                <a:close/>
                <a:moveTo>
                  <a:pt x="5524432" y="395463"/>
                </a:moveTo>
                <a:cubicBezTo>
                  <a:pt x="5526080" y="396334"/>
                  <a:pt x="5524982" y="398078"/>
                  <a:pt x="5525531" y="399495"/>
                </a:cubicBezTo>
                <a:cubicBezTo>
                  <a:pt x="5524707" y="402655"/>
                  <a:pt x="5516466" y="410174"/>
                  <a:pt x="5514818" y="409302"/>
                </a:cubicBezTo>
                <a:cubicBezTo>
                  <a:pt x="5515917" y="405488"/>
                  <a:pt x="5518115" y="398841"/>
                  <a:pt x="5521136" y="396334"/>
                </a:cubicBezTo>
                <a:cubicBezTo>
                  <a:pt x="5521960" y="395463"/>
                  <a:pt x="5523059" y="395135"/>
                  <a:pt x="5524432" y="395463"/>
                </a:cubicBezTo>
                <a:close/>
                <a:moveTo>
                  <a:pt x="5254407" y="395463"/>
                </a:moveTo>
                <a:cubicBezTo>
                  <a:pt x="5260176" y="398732"/>
                  <a:pt x="5260176" y="398732"/>
                  <a:pt x="5259626" y="400693"/>
                </a:cubicBezTo>
                <a:cubicBezTo>
                  <a:pt x="5259077" y="402655"/>
                  <a:pt x="5258528" y="403526"/>
                  <a:pt x="5257429" y="403854"/>
                </a:cubicBezTo>
                <a:cubicBezTo>
                  <a:pt x="5256330" y="404180"/>
                  <a:pt x="5254682" y="403745"/>
                  <a:pt x="5252485" y="403309"/>
                </a:cubicBezTo>
                <a:cubicBezTo>
                  <a:pt x="5253034" y="401347"/>
                  <a:pt x="5253583" y="399386"/>
                  <a:pt x="5253858" y="397424"/>
                </a:cubicBezTo>
                <a:cubicBezTo>
                  <a:pt x="5253858" y="397424"/>
                  <a:pt x="5254132" y="397424"/>
                  <a:pt x="5254407" y="395463"/>
                </a:cubicBezTo>
                <a:close/>
                <a:moveTo>
                  <a:pt x="2580253" y="395245"/>
                </a:moveTo>
                <a:cubicBezTo>
                  <a:pt x="2590966" y="399931"/>
                  <a:pt x="2586845" y="416930"/>
                  <a:pt x="2578604" y="419764"/>
                </a:cubicBezTo>
                <a:cubicBezTo>
                  <a:pt x="2570638" y="416277"/>
                  <a:pt x="2569814" y="404508"/>
                  <a:pt x="2574210" y="398623"/>
                </a:cubicBezTo>
                <a:cubicBezTo>
                  <a:pt x="2575857" y="396662"/>
                  <a:pt x="2577780" y="395354"/>
                  <a:pt x="2580253" y="395245"/>
                </a:cubicBezTo>
                <a:close/>
                <a:moveTo>
                  <a:pt x="2383846" y="394918"/>
                </a:moveTo>
                <a:cubicBezTo>
                  <a:pt x="2387966" y="395790"/>
                  <a:pt x="2393185" y="395135"/>
                  <a:pt x="2397031" y="397751"/>
                </a:cubicBezTo>
                <a:cubicBezTo>
                  <a:pt x="2398404" y="398623"/>
                  <a:pt x="2399503" y="399822"/>
                  <a:pt x="2400602" y="401565"/>
                </a:cubicBezTo>
                <a:cubicBezTo>
                  <a:pt x="2389340" y="407777"/>
                  <a:pt x="2383846" y="415187"/>
                  <a:pt x="2375330" y="422706"/>
                </a:cubicBezTo>
                <a:cubicBezTo>
                  <a:pt x="2374232" y="422052"/>
                  <a:pt x="2373133" y="421072"/>
                  <a:pt x="2372308" y="419546"/>
                </a:cubicBezTo>
                <a:cubicBezTo>
                  <a:pt x="2371209" y="418020"/>
                  <a:pt x="2370386" y="415950"/>
                  <a:pt x="2369562" y="413007"/>
                </a:cubicBezTo>
                <a:cubicBezTo>
                  <a:pt x="2383571" y="409956"/>
                  <a:pt x="2373133" y="397861"/>
                  <a:pt x="2383846" y="394918"/>
                </a:cubicBezTo>
                <a:close/>
                <a:moveTo>
                  <a:pt x="4382800" y="393719"/>
                </a:moveTo>
                <a:cubicBezTo>
                  <a:pt x="4384449" y="394591"/>
                  <a:pt x="4384998" y="395899"/>
                  <a:pt x="4386371" y="395463"/>
                </a:cubicBezTo>
                <a:cubicBezTo>
                  <a:pt x="4383350" y="401021"/>
                  <a:pt x="4378680" y="401239"/>
                  <a:pt x="4374285" y="401347"/>
                </a:cubicBezTo>
                <a:cubicBezTo>
                  <a:pt x="4371263" y="401021"/>
                  <a:pt x="4369890" y="401456"/>
                  <a:pt x="4367418" y="403854"/>
                </a:cubicBezTo>
                <a:cubicBezTo>
                  <a:pt x="4367418" y="403854"/>
                  <a:pt x="4367418" y="403854"/>
                  <a:pt x="4363846" y="402110"/>
                </a:cubicBezTo>
                <a:lnTo>
                  <a:pt x="4363572" y="400802"/>
                </a:lnTo>
                <a:cubicBezTo>
                  <a:pt x="4363846" y="399931"/>
                  <a:pt x="4364670" y="399168"/>
                  <a:pt x="4366318" y="398514"/>
                </a:cubicBezTo>
                <a:cubicBezTo>
                  <a:pt x="4370713" y="396443"/>
                  <a:pt x="4378955" y="395135"/>
                  <a:pt x="4380053" y="394809"/>
                </a:cubicBezTo>
                <a:cubicBezTo>
                  <a:pt x="4380053" y="394809"/>
                  <a:pt x="4381427" y="394155"/>
                  <a:pt x="4382800" y="393719"/>
                </a:cubicBezTo>
                <a:close/>
                <a:moveTo>
                  <a:pt x="2895877" y="393719"/>
                </a:moveTo>
                <a:cubicBezTo>
                  <a:pt x="2895053" y="395572"/>
                  <a:pt x="2896152" y="399931"/>
                  <a:pt x="2895602" y="403309"/>
                </a:cubicBezTo>
                <a:cubicBezTo>
                  <a:pt x="2894228" y="403745"/>
                  <a:pt x="2893405" y="405815"/>
                  <a:pt x="2892031" y="406252"/>
                </a:cubicBezTo>
                <a:cubicBezTo>
                  <a:pt x="2891756" y="405488"/>
                  <a:pt x="2891207" y="404616"/>
                  <a:pt x="2890932" y="403745"/>
                </a:cubicBezTo>
                <a:cubicBezTo>
                  <a:pt x="2890383" y="402873"/>
                  <a:pt x="2890109" y="402110"/>
                  <a:pt x="2890932" y="401892"/>
                </a:cubicBezTo>
                <a:cubicBezTo>
                  <a:pt x="2890383" y="400476"/>
                  <a:pt x="2893130" y="399495"/>
                  <a:pt x="2893130" y="399495"/>
                </a:cubicBezTo>
                <a:cubicBezTo>
                  <a:pt x="2892855" y="398078"/>
                  <a:pt x="2892306" y="396553"/>
                  <a:pt x="2893405" y="394700"/>
                </a:cubicBezTo>
                <a:cubicBezTo>
                  <a:pt x="2895053" y="395572"/>
                  <a:pt x="2894503" y="394155"/>
                  <a:pt x="2895877" y="393719"/>
                </a:cubicBezTo>
                <a:close/>
                <a:moveTo>
                  <a:pt x="4688742" y="392888"/>
                </a:moveTo>
                <a:cubicBezTo>
                  <a:pt x="4691489" y="392738"/>
                  <a:pt x="4693618" y="392956"/>
                  <a:pt x="4693755" y="393501"/>
                </a:cubicBezTo>
                <a:cubicBezTo>
                  <a:pt x="4695128" y="392956"/>
                  <a:pt x="4695678" y="394373"/>
                  <a:pt x="4697051" y="393937"/>
                </a:cubicBezTo>
                <a:cubicBezTo>
                  <a:pt x="4697051" y="393937"/>
                  <a:pt x="4698425" y="393393"/>
                  <a:pt x="4700073" y="394373"/>
                </a:cubicBezTo>
                <a:cubicBezTo>
                  <a:pt x="4701996" y="395245"/>
                  <a:pt x="4703644" y="396117"/>
                  <a:pt x="4703095" y="399495"/>
                </a:cubicBezTo>
                <a:cubicBezTo>
                  <a:pt x="4696776" y="399386"/>
                  <a:pt x="4692382" y="399822"/>
                  <a:pt x="4688261" y="400148"/>
                </a:cubicBezTo>
                <a:cubicBezTo>
                  <a:pt x="4684141" y="400476"/>
                  <a:pt x="4680569" y="400693"/>
                  <a:pt x="4675625" y="400148"/>
                </a:cubicBezTo>
                <a:cubicBezTo>
                  <a:pt x="4675350" y="398732"/>
                  <a:pt x="4676724" y="398187"/>
                  <a:pt x="4676450" y="396771"/>
                </a:cubicBezTo>
                <a:cubicBezTo>
                  <a:pt x="4676999" y="395790"/>
                  <a:pt x="4678372" y="395027"/>
                  <a:pt x="4680020" y="394482"/>
                </a:cubicBezTo>
                <a:cubicBezTo>
                  <a:pt x="4682630" y="393556"/>
                  <a:pt x="4685995" y="393038"/>
                  <a:pt x="4688742" y="392888"/>
                </a:cubicBezTo>
                <a:close/>
                <a:moveTo>
                  <a:pt x="2632719" y="392520"/>
                </a:moveTo>
                <a:cubicBezTo>
                  <a:pt x="2635466" y="391540"/>
                  <a:pt x="2638487" y="391540"/>
                  <a:pt x="2642333" y="392848"/>
                </a:cubicBezTo>
                <a:cubicBezTo>
                  <a:pt x="2650575" y="395790"/>
                  <a:pt x="2658266" y="402001"/>
                  <a:pt x="2651399" y="416604"/>
                </a:cubicBezTo>
                <a:cubicBezTo>
                  <a:pt x="2650849" y="419873"/>
                  <a:pt x="2650575" y="418565"/>
                  <a:pt x="2649475" y="420527"/>
                </a:cubicBezTo>
                <a:cubicBezTo>
                  <a:pt x="2648651" y="422379"/>
                  <a:pt x="2647827" y="425649"/>
                  <a:pt x="2648102" y="427065"/>
                </a:cubicBezTo>
                <a:cubicBezTo>
                  <a:pt x="2643158" y="425430"/>
                  <a:pt x="2640960" y="427828"/>
                  <a:pt x="2636016" y="427610"/>
                </a:cubicBezTo>
                <a:cubicBezTo>
                  <a:pt x="2634368" y="427501"/>
                  <a:pt x="2632170" y="427174"/>
                  <a:pt x="2629698" y="426193"/>
                </a:cubicBezTo>
                <a:cubicBezTo>
                  <a:pt x="2623105" y="424014"/>
                  <a:pt x="2620083" y="420308"/>
                  <a:pt x="2618710" y="416168"/>
                </a:cubicBezTo>
                <a:cubicBezTo>
                  <a:pt x="2617336" y="412136"/>
                  <a:pt x="2618161" y="407668"/>
                  <a:pt x="2619534" y="404180"/>
                </a:cubicBezTo>
                <a:cubicBezTo>
                  <a:pt x="2620907" y="404834"/>
                  <a:pt x="2624478" y="395135"/>
                  <a:pt x="2632719" y="392520"/>
                </a:cubicBezTo>
                <a:close/>
                <a:moveTo>
                  <a:pt x="2990097" y="388271"/>
                </a:moveTo>
                <a:cubicBezTo>
                  <a:pt x="2990097" y="388271"/>
                  <a:pt x="2989822" y="388271"/>
                  <a:pt x="2988449" y="388816"/>
                </a:cubicBezTo>
                <a:cubicBezTo>
                  <a:pt x="2988449" y="388816"/>
                  <a:pt x="2989822" y="388162"/>
                  <a:pt x="2990372" y="389578"/>
                </a:cubicBezTo>
                <a:cubicBezTo>
                  <a:pt x="2984329" y="396117"/>
                  <a:pt x="2973066" y="398841"/>
                  <a:pt x="2971693" y="399386"/>
                </a:cubicBezTo>
                <a:cubicBezTo>
                  <a:pt x="2971144" y="398078"/>
                  <a:pt x="2971144" y="398078"/>
                  <a:pt x="2971144" y="398078"/>
                </a:cubicBezTo>
                <a:cubicBezTo>
                  <a:pt x="2975814" y="397533"/>
                  <a:pt x="2979659" y="392194"/>
                  <a:pt x="2984603" y="389687"/>
                </a:cubicBezTo>
                <a:cubicBezTo>
                  <a:pt x="2986251" y="388816"/>
                  <a:pt x="2988175" y="388162"/>
                  <a:pt x="2990097" y="388271"/>
                </a:cubicBezTo>
                <a:close/>
                <a:moveTo>
                  <a:pt x="1885824" y="388052"/>
                </a:moveTo>
                <a:cubicBezTo>
                  <a:pt x="1887472" y="388925"/>
                  <a:pt x="1886373" y="390777"/>
                  <a:pt x="1886648" y="392194"/>
                </a:cubicBezTo>
                <a:cubicBezTo>
                  <a:pt x="1886099" y="395354"/>
                  <a:pt x="1877858" y="402873"/>
                  <a:pt x="1875935" y="402001"/>
                </a:cubicBezTo>
                <a:cubicBezTo>
                  <a:pt x="1877308" y="398187"/>
                  <a:pt x="1879506" y="391540"/>
                  <a:pt x="1882527" y="389033"/>
                </a:cubicBezTo>
                <a:cubicBezTo>
                  <a:pt x="1883351" y="388162"/>
                  <a:pt x="1884451" y="387726"/>
                  <a:pt x="1885824" y="388052"/>
                </a:cubicBezTo>
                <a:close/>
                <a:moveTo>
                  <a:pt x="3221391" y="381950"/>
                </a:moveTo>
                <a:cubicBezTo>
                  <a:pt x="3227709" y="385110"/>
                  <a:pt x="3230181" y="398078"/>
                  <a:pt x="3220566" y="401565"/>
                </a:cubicBezTo>
                <a:cubicBezTo>
                  <a:pt x="3216171" y="401021"/>
                  <a:pt x="3211776" y="400476"/>
                  <a:pt x="3209029" y="394046"/>
                </a:cubicBezTo>
                <a:cubicBezTo>
                  <a:pt x="3210403" y="388162"/>
                  <a:pt x="3213699" y="384783"/>
                  <a:pt x="3221391" y="381950"/>
                </a:cubicBezTo>
                <a:close/>
                <a:moveTo>
                  <a:pt x="5285448" y="380970"/>
                </a:moveTo>
                <a:cubicBezTo>
                  <a:pt x="5286821" y="380534"/>
                  <a:pt x="5285448" y="381079"/>
                  <a:pt x="5288469" y="381624"/>
                </a:cubicBezTo>
                <a:cubicBezTo>
                  <a:pt x="5287920" y="382604"/>
                  <a:pt x="5287645" y="382713"/>
                  <a:pt x="5287096" y="382386"/>
                </a:cubicBezTo>
                <a:cubicBezTo>
                  <a:pt x="5286821" y="382168"/>
                  <a:pt x="5286272" y="381514"/>
                  <a:pt x="5285448" y="380970"/>
                </a:cubicBezTo>
                <a:close/>
                <a:moveTo>
                  <a:pt x="2550860" y="380206"/>
                </a:moveTo>
                <a:cubicBezTo>
                  <a:pt x="2558552" y="379880"/>
                  <a:pt x="2560474" y="390995"/>
                  <a:pt x="2555804" y="394046"/>
                </a:cubicBezTo>
                <a:cubicBezTo>
                  <a:pt x="2554980" y="394482"/>
                  <a:pt x="2554157" y="394809"/>
                  <a:pt x="2553058" y="394809"/>
                </a:cubicBezTo>
                <a:cubicBezTo>
                  <a:pt x="2551958" y="394700"/>
                  <a:pt x="2550585" y="394482"/>
                  <a:pt x="2548937" y="393719"/>
                </a:cubicBezTo>
                <a:cubicBezTo>
                  <a:pt x="2549487" y="387399"/>
                  <a:pt x="2549761" y="383149"/>
                  <a:pt x="2550860" y="380206"/>
                </a:cubicBezTo>
                <a:close/>
                <a:moveTo>
                  <a:pt x="2916479" y="378790"/>
                </a:moveTo>
                <a:cubicBezTo>
                  <a:pt x="2919500" y="379226"/>
                  <a:pt x="2918951" y="382604"/>
                  <a:pt x="2916754" y="386309"/>
                </a:cubicBezTo>
                <a:cubicBezTo>
                  <a:pt x="2915105" y="392739"/>
                  <a:pt x="2912633" y="395899"/>
                  <a:pt x="2909062" y="396008"/>
                </a:cubicBezTo>
                <a:cubicBezTo>
                  <a:pt x="2907963" y="396008"/>
                  <a:pt x="2906865" y="395680"/>
                  <a:pt x="2905492" y="395027"/>
                </a:cubicBezTo>
                <a:cubicBezTo>
                  <a:pt x="2905216" y="393610"/>
                  <a:pt x="2905492" y="388925"/>
                  <a:pt x="2904118" y="389470"/>
                </a:cubicBezTo>
                <a:cubicBezTo>
                  <a:pt x="2906316" y="385110"/>
                  <a:pt x="2909611" y="380642"/>
                  <a:pt x="2912908" y="379117"/>
                </a:cubicBezTo>
                <a:cubicBezTo>
                  <a:pt x="2914007" y="378681"/>
                  <a:pt x="2915105" y="378463"/>
                  <a:pt x="2916479" y="378790"/>
                </a:cubicBezTo>
                <a:close/>
                <a:moveTo>
                  <a:pt x="5789788" y="376719"/>
                </a:moveTo>
                <a:cubicBezTo>
                  <a:pt x="5789788" y="376719"/>
                  <a:pt x="5789788" y="376828"/>
                  <a:pt x="5793083" y="378572"/>
                </a:cubicBezTo>
                <a:cubicBezTo>
                  <a:pt x="5794457" y="378136"/>
                  <a:pt x="5794457" y="378027"/>
                  <a:pt x="5794457" y="378027"/>
                </a:cubicBezTo>
                <a:cubicBezTo>
                  <a:pt x="5795831" y="377591"/>
                  <a:pt x="5796655" y="380316"/>
                  <a:pt x="5796655" y="380316"/>
                </a:cubicBezTo>
                <a:cubicBezTo>
                  <a:pt x="5796106" y="383694"/>
                  <a:pt x="5791436" y="383803"/>
                  <a:pt x="5788688" y="384783"/>
                </a:cubicBezTo>
                <a:cubicBezTo>
                  <a:pt x="5788139" y="388162"/>
                  <a:pt x="5782645" y="383912"/>
                  <a:pt x="5782096" y="387290"/>
                </a:cubicBezTo>
                <a:cubicBezTo>
                  <a:pt x="5776876" y="384565"/>
                  <a:pt x="5772756" y="389251"/>
                  <a:pt x="5766163" y="390341"/>
                </a:cubicBezTo>
                <a:cubicBezTo>
                  <a:pt x="5763966" y="390668"/>
                  <a:pt x="5761493" y="390559"/>
                  <a:pt x="5758747" y="389687"/>
                </a:cubicBezTo>
                <a:cubicBezTo>
                  <a:pt x="5761768" y="387290"/>
                  <a:pt x="5764790" y="385764"/>
                  <a:pt x="5767812" y="384565"/>
                </a:cubicBezTo>
                <a:cubicBezTo>
                  <a:pt x="5776602" y="381079"/>
                  <a:pt x="5784294" y="381079"/>
                  <a:pt x="5789788" y="376719"/>
                </a:cubicBezTo>
                <a:close/>
                <a:moveTo>
                  <a:pt x="3480977" y="376174"/>
                </a:moveTo>
                <a:cubicBezTo>
                  <a:pt x="3483449" y="377482"/>
                  <a:pt x="3485097" y="380097"/>
                  <a:pt x="3485647" y="385328"/>
                </a:cubicBezTo>
                <a:cubicBezTo>
                  <a:pt x="3482625" y="388162"/>
                  <a:pt x="3480153" y="388597"/>
                  <a:pt x="3478230" y="388162"/>
                </a:cubicBezTo>
                <a:cubicBezTo>
                  <a:pt x="3476308" y="387617"/>
                  <a:pt x="3474933" y="385982"/>
                  <a:pt x="3473286" y="384348"/>
                </a:cubicBezTo>
                <a:cubicBezTo>
                  <a:pt x="3477955" y="381624"/>
                  <a:pt x="3474384" y="376393"/>
                  <a:pt x="3480977" y="376174"/>
                </a:cubicBezTo>
                <a:close/>
                <a:moveTo>
                  <a:pt x="5496688" y="374976"/>
                </a:moveTo>
                <a:cubicBezTo>
                  <a:pt x="5499984" y="375303"/>
                  <a:pt x="5500259" y="376719"/>
                  <a:pt x="5499160" y="378572"/>
                </a:cubicBezTo>
                <a:cubicBezTo>
                  <a:pt x="5499160" y="378572"/>
                  <a:pt x="5498062" y="380534"/>
                  <a:pt x="5496963" y="382386"/>
                </a:cubicBezTo>
                <a:cubicBezTo>
                  <a:pt x="5495864" y="384348"/>
                  <a:pt x="5496414" y="385655"/>
                  <a:pt x="5496414" y="385655"/>
                </a:cubicBezTo>
                <a:cubicBezTo>
                  <a:pt x="5495864" y="386636"/>
                  <a:pt x="5495314" y="387290"/>
                  <a:pt x="5494490" y="387617"/>
                </a:cubicBezTo>
                <a:cubicBezTo>
                  <a:pt x="5493666" y="387835"/>
                  <a:pt x="5492842" y="387617"/>
                  <a:pt x="5492018" y="387290"/>
                </a:cubicBezTo>
                <a:cubicBezTo>
                  <a:pt x="5492018" y="387290"/>
                  <a:pt x="5492842" y="383912"/>
                  <a:pt x="5492842" y="383912"/>
                </a:cubicBezTo>
                <a:cubicBezTo>
                  <a:pt x="5494765" y="380097"/>
                  <a:pt x="5495864" y="378245"/>
                  <a:pt x="5496688" y="374976"/>
                </a:cubicBezTo>
                <a:close/>
                <a:moveTo>
                  <a:pt x="2655519" y="374540"/>
                </a:moveTo>
                <a:cubicBezTo>
                  <a:pt x="2668704" y="378899"/>
                  <a:pt x="2665134" y="383149"/>
                  <a:pt x="2662661" y="390232"/>
                </a:cubicBezTo>
                <a:cubicBezTo>
                  <a:pt x="2661013" y="390014"/>
                  <a:pt x="2659364" y="390668"/>
                  <a:pt x="2657716" y="391212"/>
                </a:cubicBezTo>
                <a:cubicBezTo>
                  <a:pt x="2655794" y="391649"/>
                  <a:pt x="2653871" y="391866"/>
                  <a:pt x="2652223" y="390995"/>
                </a:cubicBezTo>
                <a:cubicBezTo>
                  <a:pt x="2652223" y="390995"/>
                  <a:pt x="2650575" y="390123"/>
                  <a:pt x="2649750" y="387399"/>
                </a:cubicBezTo>
                <a:cubicBezTo>
                  <a:pt x="2648927" y="386527"/>
                  <a:pt x="2648377" y="385547"/>
                  <a:pt x="2648102" y="384565"/>
                </a:cubicBezTo>
                <a:cubicBezTo>
                  <a:pt x="2647278" y="381732"/>
                  <a:pt x="2649200" y="378463"/>
                  <a:pt x="2649200" y="378463"/>
                </a:cubicBezTo>
                <a:cubicBezTo>
                  <a:pt x="2649200" y="378463"/>
                  <a:pt x="2648927" y="378572"/>
                  <a:pt x="2647553" y="379007"/>
                </a:cubicBezTo>
                <a:cubicBezTo>
                  <a:pt x="2650300" y="378027"/>
                  <a:pt x="2652772" y="375521"/>
                  <a:pt x="2655519" y="374540"/>
                </a:cubicBezTo>
                <a:close/>
                <a:moveTo>
                  <a:pt x="2188538" y="373668"/>
                </a:moveTo>
                <a:cubicBezTo>
                  <a:pt x="2190186" y="380206"/>
                  <a:pt x="2190186" y="378136"/>
                  <a:pt x="2189087" y="385219"/>
                </a:cubicBezTo>
                <a:cubicBezTo>
                  <a:pt x="2184967" y="384565"/>
                  <a:pt x="2180846" y="383912"/>
                  <a:pt x="2177001" y="383149"/>
                </a:cubicBezTo>
                <a:cubicBezTo>
                  <a:pt x="2178099" y="380206"/>
                  <a:pt x="2177276" y="376937"/>
                  <a:pt x="2177276" y="374867"/>
                </a:cubicBezTo>
                <a:cubicBezTo>
                  <a:pt x="2180297" y="372251"/>
                  <a:pt x="2183593" y="371815"/>
                  <a:pt x="2188538" y="373668"/>
                </a:cubicBezTo>
                <a:close/>
                <a:moveTo>
                  <a:pt x="1646840" y="373668"/>
                </a:moveTo>
                <a:cubicBezTo>
                  <a:pt x="1647938" y="373232"/>
                  <a:pt x="1646840" y="373668"/>
                  <a:pt x="1649861" y="374213"/>
                </a:cubicBezTo>
                <a:cubicBezTo>
                  <a:pt x="1649311" y="375194"/>
                  <a:pt x="1649037" y="375412"/>
                  <a:pt x="1648488" y="375085"/>
                </a:cubicBezTo>
                <a:cubicBezTo>
                  <a:pt x="1648213" y="374867"/>
                  <a:pt x="1647663" y="374213"/>
                  <a:pt x="1646840" y="373668"/>
                </a:cubicBezTo>
                <a:close/>
                <a:moveTo>
                  <a:pt x="2490976" y="373232"/>
                </a:moveTo>
                <a:cubicBezTo>
                  <a:pt x="2492350" y="385873"/>
                  <a:pt x="2496746" y="393828"/>
                  <a:pt x="2500316" y="404725"/>
                </a:cubicBezTo>
                <a:cubicBezTo>
                  <a:pt x="2499218" y="405598"/>
                  <a:pt x="2497844" y="406142"/>
                  <a:pt x="2495921" y="406360"/>
                </a:cubicBezTo>
                <a:cubicBezTo>
                  <a:pt x="2494273" y="406578"/>
                  <a:pt x="2492075" y="406469"/>
                  <a:pt x="2489054" y="406033"/>
                </a:cubicBezTo>
                <a:cubicBezTo>
                  <a:pt x="2491801" y="391976"/>
                  <a:pt x="2476418" y="396771"/>
                  <a:pt x="2478341" y="385655"/>
                </a:cubicBezTo>
                <a:cubicBezTo>
                  <a:pt x="2480813" y="382168"/>
                  <a:pt x="2482187" y="377373"/>
                  <a:pt x="2486033" y="374867"/>
                </a:cubicBezTo>
                <a:cubicBezTo>
                  <a:pt x="2487406" y="373995"/>
                  <a:pt x="2489054" y="373450"/>
                  <a:pt x="2490976" y="373232"/>
                </a:cubicBezTo>
                <a:close/>
                <a:moveTo>
                  <a:pt x="4995645" y="372859"/>
                </a:moveTo>
                <a:cubicBezTo>
                  <a:pt x="5024488" y="370964"/>
                  <a:pt x="5063219" y="397588"/>
                  <a:pt x="5030256" y="435674"/>
                </a:cubicBezTo>
                <a:cubicBezTo>
                  <a:pt x="5026960" y="437418"/>
                  <a:pt x="5023389" y="438289"/>
                  <a:pt x="5019818" y="438398"/>
                </a:cubicBezTo>
                <a:cubicBezTo>
                  <a:pt x="4993722" y="439052"/>
                  <a:pt x="4961582" y="402655"/>
                  <a:pt x="4973119" y="384893"/>
                </a:cubicBezTo>
                <a:cubicBezTo>
                  <a:pt x="4977515" y="377292"/>
                  <a:pt x="4986030" y="373491"/>
                  <a:pt x="4995645" y="372859"/>
                </a:cubicBezTo>
                <a:close/>
                <a:moveTo>
                  <a:pt x="3689196" y="372797"/>
                </a:moveTo>
                <a:cubicBezTo>
                  <a:pt x="3692217" y="385873"/>
                  <a:pt x="3697162" y="407450"/>
                  <a:pt x="3692217" y="419219"/>
                </a:cubicBezTo>
                <a:cubicBezTo>
                  <a:pt x="3676285" y="414642"/>
                  <a:pt x="3683427" y="381296"/>
                  <a:pt x="3689196" y="372797"/>
                </a:cubicBezTo>
                <a:close/>
                <a:moveTo>
                  <a:pt x="2987076" y="372469"/>
                </a:moveTo>
                <a:cubicBezTo>
                  <a:pt x="2989273" y="374758"/>
                  <a:pt x="2989273" y="374867"/>
                  <a:pt x="2988449" y="378136"/>
                </a:cubicBezTo>
                <a:cubicBezTo>
                  <a:pt x="2987076" y="378681"/>
                  <a:pt x="2987625" y="380097"/>
                  <a:pt x="2985703" y="379117"/>
                </a:cubicBezTo>
                <a:cubicBezTo>
                  <a:pt x="2984054" y="384348"/>
                  <a:pt x="2972791" y="393174"/>
                  <a:pt x="2967023" y="393828"/>
                </a:cubicBezTo>
                <a:cubicBezTo>
                  <a:pt x="2973341" y="377591"/>
                  <a:pt x="2983505" y="381514"/>
                  <a:pt x="2987076" y="372469"/>
                </a:cubicBezTo>
                <a:close/>
                <a:moveTo>
                  <a:pt x="4338574" y="370181"/>
                </a:moveTo>
                <a:cubicBezTo>
                  <a:pt x="4338849" y="370617"/>
                  <a:pt x="4339673" y="371271"/>
                  <a:pt x="4340772" y="372143"/>
                </a:cubicBezTo>
                <a:cubicBezTo>
                  <a:pt x="4342145" y="373668"/>
                  <a:pt x="4343519" y="373887"/>
                  <a:pt x="4342145" y="375085"/>
                </a:cubicBezTo>
                <a:cubicBezTo>
                  <a:pt x="4341596" y="375739"/>
                  <a:pt x="4341047" y="375957"/>
                  <a:pt x="4340498" y="376066"/>
                </a:cubicBezTo>
                <a:cubicBezTo>
                  <a:pt x="4339673" y="376174"/>
                  <a:pt x="4338574" y="376066"/>
                  <a:pt x="4336652" y="375848"/>
                </a:cubicBezTo>
                <a:cubicBezTo>
                  <a:pt x="4338025" y="374649"/>
                  <a:pt x="4338025" y="374649"/>
                  <a:pt x="4336652" y="373123"/>
                </a:cubicBezTo>
                <a:cubicBezTo>
                  <a:pt x="4336652" y="373123"/>
                  <a:pt x="4336652" y="373123"/>
                  <a:pt x="4335278" y="372905"/>
                </a:cubicBezTo>
                <a:cubicBezTo>
                  <a:pt x="4335278" y="371489"/>
                  <a:pt x="4336652" y="371706"/>
                  <a:pt x="4336652" y="370290"/>
                </a:cubicBezTo>
                <a:cubicBezTo>
                  <a:pt x="4336652" y="370290"/>
                  <a:pt x="4338025" y="370508"/>
                  <a:pt x="4338025" y="370508"/>
                </a:cubicBezTo>
                <a:cubicBezTo>
                  <a:pt x="4338299" y="369854"/>
                  <a:pt x="4338025" y="369745"/>
                  <a:pt x="4338574" y="370181"/>
                </a:cubicBezTo>
                <a:close/>
                <a:moveTo>
                  <a:pt x="2150905" y="369419"/>
                </a:moveTo>
                <a:cubicBezTo>
                  <a:pt x="2150905" y="369419"/>
                  <a:pt x="2151179" y="369419"/>
                  <a:pt x="2154475" y="371271"/>
                </a:cubicBezTo>
                <a:cubicBezTo>
                  <a:pt x="2155849" y="370726"/>
                  <a:pt x="2155849" y="370726"/>
                  <a:pt x="2155849" y="370726"/>
                </a:cubicBezTo>
                <a:cubicBezTo>
                  <a:pt x="2157223" y="370181"/>
                  <a:pt x="2158046" y="373014"/>
                  <a:pt x="2158046" y="373014"/>
                </a:cubicBezTo>
                <a:cubicBezTo>
                  <a:pt x="2157497" y="376283"/>
                  <a:pt x="2152827" y="376393"/>
                  <a:pt x="2150081" y="377373"/>
                </a:cubicBezTo>
                <a:cubicBezTo>
                  <a:pt x="2149531" y="380751"/>
                  <a:pt x="2144037" y="376611"/>
                  <a:pt x="2143487" y="379880"/>
                </a:cubicBezTo>
                <a:cubicBezTo>
                  <a:pt x="2138268" y="377156"/>
                  <a:pt x="2134148" y="381841"/>
                  <a:pt x="2127555" y="382822"/>
                </a:cubicBezTo>
                <a:cubicBezTo>
                  <a:pt x="2125358" y="383258"/>
                  <a:pt x="2122886" y="383149"/>
                  <a:pt x="2120139" y="382278"/>
                </a:cubicBezTo>
                <a:cubicBezTo>
                  <a:pt x="2123161" y="379989"/>
                  <a:pt x="2126182" y="378354"/>
                  <a:pt x="2129204" y="377156"/>
                </a:cubicBezTo>
                <a:cubicBezTo>
                  <a:pt x="2137993" y="373668"/>
                  <a:pt x="2145411" y="373777"/>
                  <a:pt x="2150905" y="369419"/>
                </a:cubicBezTo>
                <a:close/>
                <a:moveTo>
                  <a:pt x="1858080" y="367566"/>
                </a:moveTo>
                <a:cubicBezTo>
                  <a:pt x="1861101" y="367892"/>
                  <a:pt x="1861651" y="369419"/>
                  <a:pt x="1860552" y="371271"/>
                </a:cubicBezTo>
                <a:cubicBezTo>
                  <a:pt x="1860552" y="371271"/>
                  <a:pt x="1859453" y="373123"/>
                  <a:pt x="1858355" y="374976"/>
                </a:cubicBezTo>
                <a:cubicBezTo>
                  <a:pt x="1857256" y="376937"/>
                  <a:pt x="1857805" y="378354"/>
                  <a:pt x="1857805" y="378354"/>
                </a:cubicBezTo>
                <a:cubicBezTo>
                  <a:pt x="1857256" y="379335"/>
                  <a:pt x="1856432" y="379880"/>
                  <a:pt x="1855882" y="380097"/>
                </a:cubicBezTo>
                <a:cubicBezTo>
                  <a:pt x="1855058" y="380425"/>
                  <a:pt x="1854234" y="380316"/>
                  <a:pt x="1853410" y="379880"/>
                </a:cubicBezTo>
                <a:cubicBezTo>
                  <a:pt x="1853410" y="379880"/>
                  <a:pt x="1853960" y="376611"/>
                  <a:pt x="1853960" y="376611"/>
                </a:cubicBezTo>
                <a:cubicBezTo>
                  <a:pt x="1856157" y="372797"/>
                  <a:pt x="1857256" y="370835"/>
                  <a:pt x="1858080" y="367566"/>
                </a:cubicBezTo>
                <a:close/>
                <a:moveTo>
                  <a:pt x="5172548" y="367457"/>
                </a:moveTo>
                <a:cubicBezTo>
                  <a:pt x="5183261" y="372143"/>
                  <a:pt x="5179141" y="389033"/>
                  <a:pt x="5170900" y="391976"/>
                </a:cubicBezTo>
                <a:cubicBezTo>
                  <a:pt x="5162934" y="388380"/>
                  <a:pt x="5162110" y="376719"/>
                  <a:pt x="5166505" y="370835"/>
                </a:cubicBezTo>
                <a:cubicBezTo>
                  <a:pt x="5167878" y="368874"/>
                  <a:pt x="5169801" y="367566"/>
                  <a:pt x="5172548" y="367457"/>
                </a:cubicBezTo>
                <a:close/>
                <a:moveTo>
                  <a:pt x="5488172" y="365931"/>
                </a:moveTo>
                <a:cubicBezTo>
                  <a:pt x="5487074" y="367892"/>
                  <a:pt x="5488172" y="372143"/>
                  <a:pt x="5487623" y="375521"/>
                </a:cubicBezTo>
                <a:cubicBezTo>
                  <a:pt x="5486250" y="376066"/>
                  <a:pt x="5485426" y="377918"/>
                  <a:pt x="5484052" y="378354"/>
                </a:cubicBezTo>
                <a:cubicBezTo>
                  <a:pt x="5483777" y="377700"/>
                  <a:pt x="5483228" y="376719"/>
                  <a:pt x="5482953" y="375848"/>
                </a:cubicBezTo>
                <a:cubicBezTo>
                  <a:pt x="5482404" y="374976"/>
                  <a:pt x="5482404" y="374322"/>
                  <a:pt x="5482953" y="374104"/>
                </a:cubicBezTo>
                <a:cubicBezTo>
                  <a:pt x="5482679" y="372688"/>
                  <a:pt x="5485426" y="371706"/>
                  <a:pt x="5485426" y="371706"/>
                </a:cubicBezTo>
                <a:cubicBezTo>
                  <a:pt x="5484876" y="370290"/>
                  <a:pt x="5484601" y="368874"/>
                  <a:pt x="5485426" y="366912"/>
                </a:cubicBezTo>
                <a:cubicBezTo>
                  <a:pt x="5487348" y="367892"/>
                  <a:pt x="5486799" y="366367"/>
                  <a:pt x="5488172" y="365931"/>
                </a:cubicBezTo>
                <a:close/>
                <a:moveTo>
                  <a:pt x="5225015" y="364732"/>
                </a:moveTo>
                <a:cubicBezTo>
                  <a:pt x="5227487" y="363861"/>
                  <a:pt x="5230784" y="363752"/>
                  <a:pt x="5234354" y="365059"/>
                </a:cubicBezTo>
                <a:cubicBezTo>
                  <a:pt x="5242870" y="368002"/>
                  <a:pt x="5250561" y="374322"/>
                  <a:pt x="5243694" y="388925"/>
                </a:cubicBezTo>
                <a:cubicBezTo>
                  <a:pt x="5243145" y="392194"/>
                  <a:pt x="5242595" y="390777"/>
                  <a:pt x="5241497" y="392739"/>
                </a:cubicBezTo>
                <a:cubicBezTo>
                  <a:pt x="5240672" y="394591"/>
                  <a:pt x="5239848" y="397751"/>
                  <a:pt x="5240397" y="399168"/>
                </a:cubicBezTo>
                <a:cubicBezTo>
                  <a:pt x="5235453" y="397533"/>
                  <a:pt x="5233256" y="400148"/>
                  <a:pt x="5228036" y="399822"/>
                </a:cubicBezTo>
                <a:cubicBezTo>
                  <a:pt x="5226388" y="399712"/>
                  <a:pt x="5224465" y="399386"/>
                  <a:pt x="5221993" y="398405"/>
                </a:cubicBezTo>
                <a:cubicBezTo>
                  <a:pt x="5215401" y="396226"/>
                  <a:pt x="5212104" y="392520"/>
                  <a:pt x="5211005" y="388488"/>
                </a:cubicBezTo>
                <a:cubicBezTo>
                  <a:pt x="5209632" y="384348"/>
                  <a:pt x="5210181" y="379880"/>
                  <a:pt x="5211555" y="376283"/>
                </a:cubicBezTo>
                <a:cubicBezTo>
                  <a:pt x="5212928" y="376937"/>
                  <a:pt x="5216774" y="367347"/>
                  <a:pt x="5225015" y="364732"/>
                </a:cubicBezTo>
                <a:close/>
                <a:moveTo>
                  <a:pt x="4944620" y="363484"/>
                </a:moveTo>
                <a:cubicBezTo>
                  <a:pt x="4952655" y="360598"/>
                  <a:pt x="4963780" y="369772"/>
                  <a:pt x="4953891" y="379007"/>
                </a:cubicBezTo>
                <a:cubicBezTo>
                  <a:pt x="4951144" y="379552"/>
                  <a:pt x="4949496" y="379662"/>
                  <a:pt x="4948397" y="379444"/>
                </a:cubicBezTo>
                <a:cubicBezTo>
                  <a:pt x="4945101" y="378899"/>
                  <a:pt x="4946749" y="375412"/>
                  <a:pt x="4938508" y="370835"/>
                </a:cubicBezTo>
                <a:cubicBezTo>
                  <a:pt x="4939607" y="366748"/>
                  <a:pt x="4941942" y="364446"/>
                  <a:pt x="4944620" y="363484"/>
                </a:cubicBezTo>
                <a:close/>
                <a:moveTo>
                  <a:pt x="1915765" y="363098"/>
                </a:moveTo>
                <a:cubicBezTo>
                  <a:pt x="1915765" y="363098"/>
                  <a:pt x="1915765" y="363098"/>
                  <a:pt x="1917414" y="363969"/>
                </a:cubicBezTo>
                <a:cubicBezTo>
                  <a:pt x="1915216" y="364732"/>
                  <a:pt x="1914941" y="368437"/>
                  <a:pt x="1913293" y="369419"/>
                </a:cubicBezTo>
                <a:cubicBezTo>
                  <a:pt x="1912744" y="369745"/>
                  <a:pt x="1911920" y="369745"/>
                  <a:pt x="1911096" y="369310"/>
                </a:cubicBezTo>
                <a:cubicBezTo>
                  <a:pt x="1912195" y="367347"/>
                  <a:pt x="1914667" y="364951"/>
                  <a:pt x="1915765" y="363098"/>
                </a:cubicBezTo>
                <a:close/>
                <a:moveTo>
                  <a:pt x="1533665" y="360155"/>
                </a:moveTo>
                <a:cubicBezTo>
                  <a:pt x="1544653" y="364842"/>
                  <a:pt x="1540258" y="381732"/>
                  <a:pt x="1532017" y="384565"/>
                </a:cubicBezTo>
                <a:cubicBezTo>
                  <a:pt x="1524050" y="381079"/>
                  <a:pt x="1523502" y="369419"/>
                  <a:pt x="1527897" y="363534"/>
                </a:cubicBezTo>
                <a:cubicBezTo>
                  <a:pt x="1529270" y="361572"/>
                  <a:pt x="1531194" y="360265"/>
                  <a:pt x="1533665" y="360155"/>
                </a:cubicBezTo>
                <a:close/>
                <a:moveTo>
                  <a:pt x="4773691" y="359720"/>
                </a:moveTo>
                <a:cubicBezTo>
                  <a:pt x="4777811" y="360483"/>
                  <a:pt x="4783031" y="359938"/>
                  <a:pt x="4786877" y="362553"/>
                </a:cubicBezTo>
                <a:cubicBezTo>
                  <a:pt x="4788250" y="363425"/>
                  <a:pt x="4789348" y="364623"/>
                  <a:pt x="4790448" y="366367"/>
                </a:cubicBezTo>
                <a:cubicBezTo>
                  <a:pt x="4779185" y="372579"/>
                  <a:pt x="4773966" y="380097"/>
                  <a:pt x="4765176" y="387617"/>
                </a:cubicBezTo>
                <a:cubicBezTo>
                  <a:pt x="4764077" y="386963"/>
                  <a:pt x="4762978" y="385873"/>
                  <a:pt x="4761879" y="384348"/>
                </a:cubicBezTo>
                <a:cubicBezTo>
                  <a:pt x="4761055" y="382822"/>
                  <a:pt x="4760231" y="380751"/>
                  <a:pt x="4759407" y="377810"/>
                </a:cubicBezTo>
                <a:cubicBezTo>
                  <a:pt x="4773416" y="374758"/>
                  <a:pt x="4762978" y="362662"/>
                  <a:pt x="4773691" y="359720"/>
                </a:cubicBezTo>
                <a:close/>
                <a:moveTo>
                  <a:pt x="1849564" y="358630"/>
                </a:moveTo>
                <a:cubicBezTo>
                  <a:pt x="1848465" y="360483"/>
                  <a:pt x="1849564" y="364842"/>
                  <a:pt x="1849015" y="368220"/>
                </a:cubicBezTo>
                <a:cubicBezTo>
                  <a:pt x="1847642" y="368655"/>
                  <a:pt x="1846817" y="370617"/>
                  <a:pt x="1845444" y="371053"/>
                </a:cubicBezTo>
                <a:cubicBezTo>
                  <a:pt x="1845169" y="370290"/>
                  <a:pt x="1844620" y="369419"/>
                  <a:pt x="1844345" y="368546"/>
                </a:cubicBezTo>
                <a:cubicBezTo>
                  <a:pt x="1843795" y="367675"/>
                  <a:pt x="1843795" y="367021"/>
                  <a:pt x="1844345" y="366803"/>
                </a:cubicBezTo>
                <a:cubicBezTo>
                  <a:pt x="1844070" y="365386"/>
                  <a:pt x="1846543" y="364406"/>
                  <a:pt x="1846543" y="364406"/>
                </a:cubicBezTo>
                <a:cubicBezTo>
                  <a:pt x="1846269" y="362989"/>
                  <a:pt x="1845994" y="361463"/>
                  <a:pt x="1846817" y="359611"/>
                </a:cubicBezTo>
                <a:cubicBezTo>
                  <a:pt x="1848465" y="360483"/>
                  <a:pt x="1848191" y="359066"/>
                  <a:pt x="1849564" y="358630"/>
                </a:cubicBezTo>
                <a:close/>
                <a:moveTo>
                  <a:pt x="1586132" y="357431"/>
                </a:moveTo>
                <a:cubicBezTo>
                  <a:pt x="1588878" y="356451"/>
                  <a:pt x="1591901" y="356342"/>
                  <a:pt x="1595746" y="357650"/>
                </a:cubicBezTo>
                <a:cubicBezTo>
                  <a:pt x="1603987" y="360591"/>
                  <a:pt x="1611953" y="366912"/>
                  <a:pt x="1605086" y="381514"/>
                </a:cubicBezTo>
                <a:cubicBezTo>
                  <a:pt x="1604262" y="384783"/>
                  <a:pt x="1603987" y="383367"/>
                  <a:pt x="1602888" y="385219"/>
                </a:cubicBezTo>
                <a:cubicBezTo>
                  <a:pt x="1602065" y="387181"/>
                  <a:pt x="1601240" y="390450"/>
                  <a:pt x="1601790" y="391866"/>
                </a:cubicBezTo>
                <a:cubicBezTo>
                  <a:pt x="1596845" y="390232"/>
                  <a:pt x="1594647" y="392739"/>
                  <a:pt x="1589428" y="392520"/>
                </a:cubicBezTo>
                <a:cubicBezTo>
                  <a:pt x="1587780" y="392411"/>
                  <a:pt x="1585857" y="391976"/>
                  <a:pt x="1583385" y="390995"/>
                </a:cubicBezTo>
                <a:cubicBezTo>
                  <a:pt x="1576792" y="388816"/>
                  <a:pt x="1573495" y="385110"/>
                  <a:pt x="1572122" y="380970"/>
                </a:cubicBezTo>
                <a:cubicBezTo>
                  <a:pt x="1571024" y="376937"/>
                  <a:pt x="1571573" y="372469"/>
                  <a:pt x="1572947" y="368982"/>
                </a:cubicBezTo>
                <a:cubicBezTo>
                  <a:pt x="1574320" y="369636"/>
                  <a:pt x="1578165" y="360046"/>
                  <a:pt x="1586132" y="357431"/>
                </a:cubicBezTo>
                <a:close/>
                <a:moveTo>
                  <a:pt x="5672767" y="354925"/>
                </a:moveTo>
                <a:cubicBezTo>
                  <a:pt x="5672767" y="354925"/>
                  <a:pt x="5681283" y="365059"/>
                  <a:pt x="5689798" y="366912"/>
                </a:cubicBezTo>
                <a:cubicBezTo>
                  <a:pt x="5689798" y="366912"/>
                  <a:pt x="5696116" y="368220"/>
                  <a:pt x="5696116" y="368220"/>
                </a:cubicBezTo>
                <a:cubicBezTo>
                  <a:pt x="5696666" y="366258"/>
                  <a:pt x="5696666" y="366258"/>
                  <a:pt x="5696666" y="366258"/>
                </a:cubicBezTo>
                <a:cubicBezTo>
                  <a:pt x="5696666" y="366258"/>
                  <a:pt x="5700786" y="367130"/>
                  <a:pt x="5705181" y="368002"/>
                </a:cubicBezTo>
                <a:cubicBezTo>
                  <a:pt x="5711499" y="369310"/>
                  <a:pt x="5720015" y="371271"/>
                  <a:pt x="5728255" y="391866"/>
                </a:cubicBezTo>
                <a:cubicBezTo>
                  <a:pt x="5734848" y="401565"/>
                  <a:pt x="5751880" y="394809"/>
                  <a:pt x="5746661" y="416604"/>
                </a:cubicBezTo>
                <a:cubicBezTo>
                  <a:pt x="5746111" y="418674"/>
                  <a:pt x="5751330" y="423905"/>
                  <a:pt x="5751055" y="425975"/>
                </a:cubicBezTo>
                <a:cubicBezTo>
                  <a:pt x="5751055" y="425975"/>
                  <a:pt x="5751055" y="425866"/>
                  <a:pt x="5750506" y="427937"/>
                </a:cubicBezTo>
                <a:cubicBezTo>
                  <a:pt x="5749956" y="429898"/>
                  <a:pt x="5757374" y="435783"/>
                  <a:pt x="5757099" y="437744"/>
                </a:cubicBezTo>
                <a:cubicBezTo>
                  <a:pt x="5758472" y="440142"/>
                  <a:pt x="5756000" y="441667"/>
                  <a:pt x="5758198" y="442103"/>
                </a:cubicBezTo>
                <a:cubicBezTo>
                  <a:pt x="5756824" y="448097"/>
                  <a:pt x="5752704" y="455616"/>
                  <a:pt x="5752155" y="457686"/>
                </a:cubicBezTo>
                <a:cubicBezTo>
                  <a:pt x="5751605" y="459648"/>
                  <a:pt x="5751605" y="459648"/>
                  <a:pt x="5753802" y="460084"/>
                </a:cubicBezTo>
                <a:cubicBezTo>
                  <a:pt x="5753802" y="460084"/>
                  <a:pt x="5753802" y="460084"/>
                  <a:pt x="5751880" y="468039"/>
                </a:cubicBezTo>
                <a:cubicBezTo>
                  <a:pt x="5751330" y="470000"/>
                  <a:pt x="5752429" y="474468"/>
                  <a:pt x="5751880" y="476430"/>
                </a:cubicBezTo>
                <a:cubicBezTo>
                  <a:pt x="5751330" y="478391"/>
                  <a:pt x="5749956" y="479699"/>
                  <a:pt x="5748309" y="481115"/>
                </a:cubicBezTo>
                <a:lnTo>
                  <a:pt x="5745287" y="484167"/>
                </a:lnTo>
                <a:lnTo>
                  <a:pt x="5746935" y="483949"/>
                </a:lnTo>
                <a:cubicBezTo>
                  <a:pt x="5750780" y="485257"/>
                  <a:pt x="5752429" y="487109"/>
                  <a:pt x="5752704" y="489506"/>
                </a:cubicBezTo>
                <a:cubicBezTo>
                  <a:pt x="5752979" y="491795"/>
                  <a:pt x="5752155" y="494737"/>
                  <a:pt x="5750780" y="498333"/>
                </a:cubicBezTo>
                <a:cubicBezTo>
                  <a:pt x="5748034" y="505417"/>
                  <a:pt x="5741167" y="504763"/>
                  <a:pt x="5737870" y="509776"/>
                </a:cubicBezTo>
                <a:lnTo>
                  <a:pt x="5733749" y="504218"/>
                </a:lnTo>
                <a:lnTo>
                  <a:pt x="5729904" y="505634"/>
                </a:lnTo>
                <a:cubicBezTo>
                  <a:pt x="5727981" y="506288"/>
                  <a:pt x="5726882" y="506615"/>
                  <a:pt x="5726882" y="506615"/>
                </a:cubicBezTo>
                <a:lnTo>
                  <a:pt x="5727157" y="510647"/>
                </a:lnTo>
                <a:lnTo>
                  <a:pt x="5731278" y="510865"/>
                </a:lnTo>
                <a:cubicBezTo>
                  <a:pt x="5734299" y="511519"/>
                  <a:pt x="5737321" y="512500"/>
                  <a:pt x="5739243" y="513480"/>
                </a:cubicBezTo>
                <a:cubicBezTo>
                  <a:pt x="5738419" y="514570"/>
                  <a:pt x="5736772" y="515224"/>
                  <a:pt x="5735123" y="515442"/>
                </a:cubicBezTo>
                <a:lnTo>
                  <a:pt x="5726608" y="514897"/>
                </a:lnTo>
                <a:lnTo>
                  <a:pt x="5723861" y="520455"/>
                </a:lnTo>
                <a:cubicBezTo>
                  <a:pt x="5720839" y="525577"/>
                  <a:pt x="5718642" y="524269"/>
                  <a:pt x="5713423" y="524814"/>
                </a:cubicBezTo>
                <a:cubicBezTo>
                  <a:pt x="5698040" y="523615"/>
                  <a:pt x="5697490" y="535929"/>
                  <a:pt x="5693095" y="535058"/>
                </a:cubicBezTo>
                <a:cubicBezTo>
                  <a:pt x="5690897" y="534621"/>
                  <a:pt x="5683481" y="528846"/>
                  <a:pt x="5684579" y="524923"/>
                </a:cubicBezTo>
                <a:cubicBezTo>
                  <a:pt x="5669746" y="521762"/>
                  <a:pt x="5674690" y="537454"/>
                  <a:pt x="5662054" y="534730"/>
                </a:cubicBezTo>
                <a:cubicBezTo>
                  <a:pt x="5661780" y="531461"/>
                  <a:pt x="5660681" y="529173"/>
                  <a:pt x="5659033" y="527538"/>
                </a:cubicBezTo>
                <a:lnTo>
                  <a:pt x="5657659" y="526775"/>
                </a:lnTo>
                <a:lnTo>
                  <a:pt x="5657659" y="526884"/>
                </a:lnTo>
                <a:lnTo>
                  <a:pt x="5655462" y="525577"/>
                </a:lnTo>
                <a:lnTo>
                  <a:pt x="5653539" y="524487"/>
                </a:lnTo>
                <a:cubicBezTo>
                  <a:pt x="5647220" y="523070"/>
                  <a:pt x="5639255" y="527756"/>
                  <a:pt x="5635134" y="526884"/>
                </a:cubicBezTo>
                <a:cubicBezTo>
                  <a:pt x="5630739" y="525903"/>
                  <a:pt x="5626894" y="514570"/>
                  <a:pt x="5624696" y="514134"/>
                </a:cubicBezTo>
                <a:cubicBezTo>
                  <a:pt x="5622773" y="513699"/>
                  <a:pt x="5617828" y="514788"/>
                  <a:pt x="5615906" y="514353"/>
                </a:cubicBezTo>
                <a:cubicBezTo>
                  <a:pt x="5611511" y="513480"/>
                  <a:pt x="5612335" y="501166"/>
                  <a:pt x="5601896" y="498878"/>
                </a:cubicBezTo>
                <a:cubicBezTo>
                  <a:pt x="5582942" y="494846"/>
                  <a:pt x="5592007" y="484276"/>
                  <a:pt x="5587886" y="483295"/>
                </a:cubicBezTo>
                <a:cubicBezTo>
                  <a:pt x="5587886" y="483295"/>
                  <a:pt x="5588436" y="481224"/>
                  <a:pt x="5588436" y="481224"/>
                </a:cubicBezTo>
                <a:cubicBezTo>
                  <a:pt x="5589261" y="477301"/>
                  <a:pt x="5580195" y="469129"/>
                  <a:pt x="5583217" y="457250"/>
                </a:cubicBezTo>
                <a:cubicBezTo>
                  <a:pt x="5584041" y="453218"/>
                  <a:pt x="5573603" y="450930"/>
                  <a:pt x="5572504" y="446462"/>
                </a:cubicBezTo>
                <a:cubicBezTo>
                  <a:pt x="5571954" y="448533"/>
                  <a:pt x="5571954" y="448424"/>
                  <a:pt x="5571954" y="448424"/>
                </a:cubicBezTo>
                <a:cubicBezTo>
                  <a:pt x="5569757" y="447988"/>
                  <a:pt x="5569208" y="441558"/>
                  <a:pt x="5569208" y="441558"/>
                </a:cubicBezTo>
                <a:cubicBezTo>
                  <a:pt x="5569208" y="441558"/>
                  <a:pt x="5571679" y="440033"/>
                  <a:pt x="5572229" y="438071"/>
                </a:cubicBezTo>
                <a:cubicBezTo>
                  <a:pt x="5572779" y="436110"/>
                  <a:pt x="5569482" y="431206"/>
                  <a:pt x="5570581" y="427283"/>
                </a:cubicBezTo>
                <a:cubicBezTo>
                  <a:pt x="5570581" y="427283"/>
                  <a:pt x="5582942" y="421507"/>
                  <a:pt x="5584041" y="417475"/>
                </a:cubicBezTo>
                <a:lnTo>
                  <a:pt x="5584316" y="415405"/>
                </a:lnTo>
                <a:lnTo>
                  <a:pt x="5584041" y="415405"/>
                </a:lnTo>
                <a:lnTo>
                  <a:pt x="5584316" y="415078"/>
                </a:lnTo>
                <a:lnTo>
                  <a:pt x="5584591" y="412681"/>
                </a:lnTo>
                <a:cubicBezTo>
                  <a:pt x="5584316" y="409847"/>
                  <a:pt x="5581019" y="411155"/>
                  <a:pt x="5577173" y="399386"/>
                </a:cubicBezTo>
                <a:cubicBezTo>
                  <a:pt x="5593380" y="396553"/>
                  <a:pt x="5594205" y="402982"/>
                  <a:pt x="5596677" y="393065"/>
                </a:cubicBezTo>
                <a:cubicBezTo>
                  <a:pt x="5599149" y="383040"/>
                  <a:pt x="5590084" y="383258"/>
                  <a:pt x="5591458" y="377265"/>
                </a:cubicBezTo>
                <a:cubicBezTo>
                  <a:pt x="5591458" y="377265"/>
                  <a:pt x="5594205" y="375739"/>
                  <a:pt x="5594205" y="375739"/>
                </a:cubicBezTo>
                <a:cubicBezTo>
                  <a:pt x="5594205" y="375739"/>
                  <a:pt x="5592556" y="373342"/>
                  <a:pt x="5592556" y="373342"/>
                </a:cubicBezTo>
                <a:cubicBezTo>
                  <a:pt x="5592556" y="373342"/>
                  <a:pt x="5592556" y="373342"/>
                  <a:pt x="5594754" y="373777"/>
                </a:cubicBezTo>
                <a:cubicBezTo>
                  <a:pt x="5594754" y="373777"/>
                  <a:pt x="5594754" y="373777"/>
                  <a:pt x="5603269" y="375521"/>
                </a:cubicBezTo>
                <a:cubicBezTo>
                  <a:pt x="5607390" y="376393"/>
                  <a:pt x="5611511" y="377373"/>
                  <a:pt x="5613158" y="371380"/>
                </a:cubicBezTo>
                <a:cubicBezTo>
                  <a:pt x="5613708" y="369419"/>
                  <a:pt x="5611785" y="366912"/>
                  <a:pt x="5612884" y="362989"/>
                </a:cubicBezTo>
                <a:cubicBezTo>
                  <a:pt x="5631838" y="367021"/>
                  <a:pt x="5626344" y="353399"/>
                  <a:pt x="5641177" y="356560"/>
                </a:cubicBezTo>
                <a:cubicBezTo>
                  <a:pt x="5645298" y="357431"/>
                  <a:pt x="5646397" y="361790"/>
                  <a:pt x="5654912" y="363643"/>
                </a:cubicBezTo>
                <a:cubicBezTo>
                  <a:pt x="5658483" y="358085"/>
                  <a:pt x="5666449" y="353508"/>
                  <a:pt x="5672767" y="354925"/>
                </a:cubicBezTo>
                <a:close/>
                <a:moveTo>
                  <a:pt x="5813686" y="354162"/>
                </a:moveTo>
                <a:cubicBezTo>
                  <a:pt x="5819729" y="357213"/>
                  <a:pt x="5822202" y="370181"/>
                  <a:pt x="5812587" y="373668"/>
                </a:cubicBezTo>
                <a:cubicBezTo>
                  <a:pt x="5808192" y="373123"/>
                  <a:pt x="5804071" y="372579"/>
                  <a:pt x="5801050" y="366149"/>
                </a:cubicBezTo>
                <a:cubicBezTo>
                  <a:pt x="5802698" y="360265"/>
                  <a:pt x="5805995" y="356886"/>
                  <a:pt x="5813686" y="354162"/>
                </a:cubicBezTo>
                <a:close/>
                <a:moveTo>
                  <a:pt x="1943510" y="352963"/>
                </a:moveTo>
                <a:cubicBezTo>
                  <a:pt x="1943510" y="352963"/>
                  <a:pt x="1943510" y="353072"/>
                  <a:pt x="1942136" y="353617"/>
                </a:cubicBezTo>
                <a:cubicBezTo>
                  <a:pt x="1942136" y="353617"/>
                  <a:pt x="1943510" y="353072"/>
                  <a:pt x="1943785" y="354489"/>
                </a:cubicBezTo>
                <a:cubicBezTo>
                  <a:pt x="1938016" y="361028"/>
                  <a:pt x="1926478" y="363643"/>
                  <a:pt x="1925105" y="364188"/>
                </a:cubicBezTo>
                <a:cubicBezTo>
                  <a:pt x="1924830" y="362770"/>
                  <a:pt x="1924830" y="362880"/>
                  <a:pt x="1924830" y="362880"/>
                </a:cubicBezTo>
                <a:cubicBezTo>
                  <a:pt x="1929226" y="362335"/>
                  <a:pt x="1933346" y="356995"/>
                  <a:pt x="1938291" y="354489"/>
                </a:cubicBezTo>
                <a:cubicBezTo>
                  <a:pt x="1939939" y="353617"/>
                  <a:pt x="1941587" y="352963"/>
                  <a:pt x="1943510" y="352963"/>
                </a:cubicBezTo>
                <a:close/>
                <a:moveTo>
                  <a:pt x="4275395" y="352854"/>
                </a:moveTo>
                <a:cubicBezTo>
                  <a:pt x="4277317" y="353726"/>
                  <a:pt x="4276219" y="355578"/>
                  <a:pt x="4276493" y="356995"/>
                </a:cubicBezTo>
                <a:cubicBezTo>
                  <a:pt x="4275944" y="360155"/>
                  <a:pt x="4267703" y="367675"/>
                  <a:pt x="4265780" y="366803"/>
                </a:cubicBezTo>
                <a:cubicBezTo>
                  <a:pt x="4267154" y="362989"/>
                  <a:pt x="4269352" y="356342"/>
                  <a:pt x="4272373" y="353835"/>
                </a:cubicBezTo>
                <a:cubicBezTo>
                  <a:pt x="4273197" y="352963"/>
                  <a:pt x="4274296" y="352637"/>
                  <a:pt x="4275395" y="352854"/>
                </a:cubicBezTo>
                <a:close/>
                <a:moveTo>
                  <a:pt x="5508500" y="351002"/>
                </a:moveTo>
                <a:cubicBezTo>
                  <a:pt x="5511796" y="351438"/>
                  <a:pt x="5510972" y="354707"/>
                  <a:pt x="5509049" y="358521"/>
                </a:cubicBezTo>
                <a:cubicBezTo>
                  <a:pt x="5507402" y="364842"/>
                  <a:pt x="5504654" y="368111"/>
                  <a:pt x="5501358" y="368220"/>
                </a:cubicBezTo>
                <a:cubicBezTo>
                  <a:pt x="5500259" y="368220"/>
                  <a:pt x="5499160" y="367892"/>
                  <a:pt x="5497787" y="367238"/>
                </a:cubicBezTo>
                <a:cubicBezTo>
                  <a:pt x="5497512" y="365822"/>
                  <a:pt x="5497787" y="361136"/>
                  <a:pt x="5496414" y="361681"/>
                </a:cubicBezTo>
                <a:cubicBezTo>
                  <a:pt x="5498611" y="357431"/>
                  <a:pt x="5501633" y="352854"/>
                  <a:pt x="5504929" y="351329"/>
                </a:cubicBezTo>
                <a:cubicBezTo>
                  <a:pt x="5506027" y="350893"/>
                  <a:pt x="5507402" y="350675"/>
                  <a:pt x="5508500" y="351002"/>
                </a:cubicBezTo>
                <a:close/>
                <a:moveTo>
                  <a:pt x="2833521" y="350239"/>
                </a:moveTo>
                <a:cubicBezTo>
                  <a:pt x="2838465" y="351547"/>
                  <a:pt x="2842311" y="354598"/>
                  <a:pt x="2839290" y="360265"/>
                </a:cubicBezTo>
                <a:cubicBezTo>
                  <a:pt x="2838740" y="361136"/>
                  <a:pt x="2838191" y="362008"/>
                  <a:pt x="2837641" y="362553"/>
                </a:cubicBezTo>
                <a:cubicBezTo>
                  <a:pt x="2837367" y="363098"/>
                  <a:pt x="2837092" y="363207"/>
                  <a:pt x="2836818" y="362553"/>
                </a:cubicBezTo>
                <a:cubicBezTo>
                  <a:pt x="2835444" y="362989"/>
                  <a:pt x="2835170" y="361681"/>
                  <a:pt x="2833246" y="360809"/>
                </a:cubicBezTo>
                <a:cubicBezTo>
                  <a:pt x="2832148" y="359720"/>
                  <a:pt x="2831598" y="358194"/>
                  <a:pt x="2831049" y="356668"/>
                </a:cubicBezTo>
                <a:cubicBezTo>
                  <a:pt x="2830774" y="355143"/>
                  <a:pt x="2830774" y="353617"/>
                  <a:pt x="2831324" y="352637"/>
                </a:cubicBezTo>
                <a:cubicBezTo>
                  <a:pt x="2832148" y="350784"/>
                  <a:pt x="2833521" y="350239"/>
                  <a:pt x="2833521" y="350239"/>
                </a:cubicBezTo>
                <a:close/>
                <a:moveTo>
                  <a:pt x="5780997" y="349913"/>
                </a:moveTo>
                <a:cubicBezTo>
                  <a:pt x="5783744" y="351438"/>
                  <a:pt x="5784843" y="355578"/>
                  <a:pt x="5787590" y="357105"/>
                </a:cubicBezTo>
                <a:cubicBezTo>
                  <a:pt x="5785392" y="357540"/>
                  <a:pt x="5783744" y="360046"/>
                  <a:pt x="5781546" y="360591"/>
                </a:cubicBezTo>
                <a:cubicBezTo>
                  <a:pt x="5776327" y="357540"/>
                  <a:pt x="5779075" y="350457"/>
                  <a:pt x="5780997" y="349913"/>
                </a:cubicBezTo>
                <a:close/>
                <a:moveTo>
                  <a:pt x="5247815" y="346752"/>
                </a:moveTo>
                <a:cubicBezTo>
                  <a:pt x="5260725" y="351111"/>
                  <a:pt x="5257429" y="355361"/>
                  <a:pt x="5254682" y="362444"/>
                </a:cubicBezTo>
                <a:cubicBezTo>
                  <a:pt x="5253309" y="362226"/>
                  <a:pt x="5251385" y="362880"/>
                  <a:pt x="5249737" y="363316"/>
                </a:cubicBezTo>
                <a:cubicBezTo>
                  <a:pt x="5247815" y="363752"/>
                  <a:pt x="5246166" y="364078"/>
                  <a:pt x="5244518" y="363207"/>
                </a:cubicBezTo>
                <a:cubicBezTo>
                  <a:pt x="5244518" y="363207"/>
                  <a:pt x="5242870" y="362226"/>
                  <a:pt x="5242046" y="359501"/>
                </a:cubicBezTo>
                <a:cubicBezTo>
                  <a:pt x="5241222" y="358630"/>
                  <a:pt x="5240672" y="357867"/>
                  <a:pt x="5240397" y="356886"/>
                </a:cubicBezTo>
                <a:cubicBezTo>
                  <a:pt x="5239573" y="353944"/>
                  <a:pt x="5241222" y="350675"/>
                  <a:pt x="5241222" y="350675"/>
                </a:cubicBezTo>
                <a:cubicBezTo>
                  <a:pt x="5241222" y="350675"/>
                  <a:pt x="5241222" y="350675"/>
                  <a:pt x="5239848" y="351111"/>
                </a:cubicBezTo>
                <a:cubicBezTo>
                  <a:pt x="5242595" y="350130"/>
                  <a:pt x="5245067" y="347841"/>
                  <a:pt x="5247815" y="346752"/>
                </a:cubicBezTo>
                <a:close/>
                <a:moveTo>
                  <a:pt x="2175077" y="346752"/>
                </a:moveTo>
                <a:cubicBezTo>
                  <a:pt x="2181121" y="349913"/>
                  <a:pt x="2183593" y="362880"/>
                  <a:pt x="2173979" y="366367"/>
                </a:cubicBezTo>
                <a:cubicBezTo>
                  <a:pt x="2169584" y="365822"/>
                  <a:pt x="2165188" y="365277"/>
                  <a:pt x="2162442" y="358848"/>
                </a:cubicBezTo>
                <a:cubicBezTo>
                  <a:pt x="2163815" y="352963"/>
                  <a:pt x="2167386" y="349585"/>
                  <a:pt x="2175077" y="346752"/>
                </a:cubicBezTo>
                <a:close/>
                <a:moveTo>
                  <a:pt x="4780559" y="345880"/>
                </a:moveTo>
                <a:cubicBezTo>
                  <a:pt x="4782207" y="352527"/>
                  <a:pt x="4782481" y="350457"/>
                  <a:pt x="4781108" y="357540"/>
                </a:cubicBezTo>
                <a:cubicBezTo>
                  <a:pt x="4776987" y="356777"/>
                  <a:pt x="4773141" y="356123"/>
                  <a:pt x="4769022" y="355470"/>
                </a:cubicBezTo>
                <a:cubicBezTo>
                  <a:pt x="4770120" y="352527"/>
                  <a:pt x="4769296" y="349149"/>
                  <a:pt x="4769571" y="347079"/>
                </a:cubicBezTo>
                <a:cubicBezTo>
                  <a:pt x="4772592" y="344572"/>
                  <a:pt x="4775614" y="344028"/>
                  <a:pt x="4780559" y="345880"/>
                </a:cubicBezTo>
                <a:close/>
                <a:moveTo>
                  <a:pt x="5083272" y="345445"/>
                </a:moveTo>
                <a:cubicBezTo>
                  <a:pt x="5084371" y="358085"/>
                  <a:pt x="5089041" y="366040"/>
                  <a:pt x="5092337" y="376937"/>
                </a:cubicBezTo>
                <a:cubicBezTo>
                  <a:pt x="5091238" y="377810"/>
                  <a:pt x="5090140" y="378354"/>
                  <a:pt x="5088216" y="378572"/>
                </a:cubicBezTo>
                <a:cubicBezTo>
                  <a:pt x="5086568" y="378790"/>
                  <a:pt x="5084097" y="378790"/>
                  <a:pt x="5081349" y="378245"/>
                </a:cubicBezTo>
                <a:cubicBezTo>
                  <a:pt x="5084097" y="364188"/>
                  <a:pt x="5068714" y="369091"/>
                  <a:pt x="5070361" y="357976"/>
                </a:cubicBezTo>
                <a:cubicBezTo>
                  <a:pt x="5072834" y="354489"/>
                  <a:pt x="5074207" y="349585"/>
                  <a:pt x="5078328" y="347079"/>
                </a:cubicBezTo>
                <a:cubicBezTo>
                  <a:pt x="5079701" y="346316"/>
                  <a:pt x="5081075" y="345662"/>
                  <a:pt x="5083272" y="345445"/>
                </a:cubicBezTo>
                <a:close/>
                <a:moveTo>
                  <a:pt x="1504548" y="345117"/>
                </a:moveTo>
                <a:cubicBezTo>
                  <a:pt x="1512239" y="344791"/>
                  <a:pt x="1513887" y="355906"/>
                  <a:pt x="1509493" y="358957"/>
                </a:cubicBezTo>
                <a:cubicBezTo>
                  <a:pt x="1508668" y="359393"/>
                  <a:pt x="1507569" y="359611"/>
                  <a:pt x="1506471" y="359611"/>
                </a:cubicBezTo>
                <a:cubicBezTo>
                  <a:pt x="1505372" y="359501"/>
                  <a:pt x="1503998" y="359284"/>
                  <a:pt x="1502624" y="358521"/>
                </a:cubicBezTo>
                <a:cubicBezTo>
                  <a:pt x="1502899" y="352200"/>
                  <a:pt x="1503174" y="348060"/>
                  <a:pt x="1504548" y="345117"/>
                </a:cubicBezTo>
                <a:close/>
                <a:moveTo>
                  <a:pt x="2849728" y="344791"/>
                </a:moveTo>
                <a:cubicBezTo>
                  <a:pt x="2850827" y="345008"/>
                  <a:pt x="2851926" y="345662"/>
                  <a:pt x="2853574" y="345771"/>
                </a:cubicBezTo>
                <a:lnTo>
                  <a:pt x="2850277" y="351220"/>
                </a:lnTo>
                <a:cubicBezTo>
                  <a:pt x="2849453" y="350893"/>
                  <a:pt x="2848629" y="350130"/>
                  <a:pt x="2848080" y="349259"/>
                </a:cubicBezTo>
                <a:cubicBezTo>
                  <a:pt x="2847256" y="348386"/>
                  <a:pt x="2846981" y="347406"/>
                  <a:pt x="2847531" y="346425"/>
                </a:cubicBezTo>
                <a:cubicBezTo>
                  <a:pt x="2848080" y="344900"/>
                  <a:pt x="2848629" y="344682"/>
                  <a:pt x="2849728" y="344791"/>
                </a:cubicBezTo>
                <a:close/>
                <a:moveTo>
                  <a:pt x="5579097" y="344682"/>
                </a:moveTo>
                <a:cubicBezTo>
                  <a:pt x="5581294" y="347079"/>
                  <a:pt x="5581294" y="347079"/>
                  <a:pt x="5580745" y="350348"/>
                </a:cubicBezTo>
                <a:cubicBezTo>
                  <a:pt x="5579371" y="350893"/>
                  <a:pt x="5579646" y="352309"/>
                  <a:pt x="5577998" y="351329"/>
                </a:cubicBezTo>
                <a:cubicBezTo>
                  <a:pt x="5576624" y="355361"/>
                  <a:pt x="5570031" y="361354"/>
                  <a:pt x="5564263" y="364297"/>
                </a:cubicBezTo>
                <a:lnTo>
                  <a:pt x="5560966" y="365386"/>
                </a:lnTo>
                <a:lnTo>
                  <a:pt x="5563988" y="368002"/>
                </a:lnTo>
                <a:lnTo>
                  <a:pt x="5565361" y="369200"/>
                </a:lnTo>
                <a:lnTo>
                  <a:pt x="5570031" y="366803"/>
                </a:lnTo>
                <a:cubicBezTo>
                  <a:pt x="5572229" y="365059"/>
                  <a:pt x="5574427" y="363098"/>
                  <a:pt x="5576899" y="361790"/>
                </a:cubicBezTo>
                <a:cubicBezTo>
                  <a:pt x="5578547" y="360919"/>
                  <a:pt x="5580195" y="360374"/>
                  <a:pt x="5582118" y="360483"/>
                </a:cubicBezTo>
                <a:cubicBezTo>
                  <a:pt x="5582118" y="360483"/>
                  <a:pt x="5582118" y="360374"/>
                  <a:pt x="5580745" y="360919"/>
                </a:cubicBezTo>
                <a:cubicBezTo>
                  <a:pt x="5580745" y="360919"/>
                  <a:pt x="5582118" y="360374"/>
                  <a:pt x="5582392" y="361790"/>
                </a:cubicBezTo>
                <a:cubicBezTo>
                  <a:pt x="5579646" y="365059"/>
                  <a:pt x="5575251" y="367457"/>
                  <a:pt x="5571405" y="368982"/>
                </a:cubicBezTo>
                <a:lnTo>
                  <a:pt x="5566735" y="370508"/>
                </a:lnTo>
                <a:lnTo>
                  <a:pt x="5573054" y="376174"/>
                </a:lnTo>
                <a:cubicBezTo>
                  <a:pt x="5569757" y="383258"/>
                  <a:pt x="5568109" y="386418"/>
                  <a:pt x="5562615" y="386963"/>
                </a:cubicBezTo>
                <a:cubicBezTo>
                  <a:pt x="5560691" y="387072"/>
                  <a:pt x="5558494" y="386963"/>
                  <a:pt x="5555472" y="386527"/>
                </a:cubicBezTo>
                <a:cubicBezTo>
                  <a:pt x="5555472" y="386527"/>
                  <a:pt x="5552726" y="385002"/>
                  <a:pt x="5552726" y="385002"/>
                </a:cubicBezTo>
                <a:cubicBezTo>
                  <a:pt x="5542837" y="380970"/>
                  <a:pt x="5535420" y="370072"/>
                  <a:pt x="5536519" y="365604"/>
                </a:cubicBezTo>
                <a:cubicBezTo>
                  <a:pt x="5539540" y="360700"/>
                  <a:pt x="5547781" y="356668"/>
                  <a:pt x="5555472" y="361245"/>
                </a:cubicBezTo>
                <a:lnTo>
                  <a:pt x="5559867" y="364732"/>
                </a:lnTo>
                <a:lnTo>
                  <a:pt x="5564263" y="357213"/>
                </a:lnTo>
                <a:cubicBezTo>
                  <a:pt x="5570031" y="351002"/>
                  <a:pt x="5576349" y="351547"/>
                  <a:pt x="5579097" y="344682"/>
                </a:cubicBezTo>
                <a:close/>
                <a:moveTo>
                  <a:pt x="1869892" y="343592"/>
                </a:moveTo>
                <a:cubicBezTo>
                  <a:pt x="1872914" y="344028"/>
                  <a:pt x="1872364" y="347406"/>
                  <a:pt x="1870441" y="351111"/>
                </a:cubicBezTo>
                <a:cubicBezTo>
                  <a:pt x="1868793" y="357540"/>
                  <a:pt x="1866046" y="360700"/>
                  <a:pt x="1862750" y="360809"/>
                </a:cubicBezTo>
                <a:cubicBezTo>
                  <a:pt x="1861651" y="360809"/>
                  <a:pt x="1860552" y="360483"/>
                  <a:pt x="1859178" y="359829"/>
                </a:cubicBezTo>
                <a:cubicBezTo>
                  <a:pt x="1858630" y="358412"/>
                  <a:pt x="1859178" y="353726"/>
                  <a:pt x="1857805" y="354271"/>
                </a:cubicBezTo>
                <a:cubicBezTo>
                  <a:pt x="1860003" y="349913"/>
                  <a:pt x="1863025" y="345445"/>
                  <a:pt x="1866321" y="343918"/>
                </a:cubicBezTo>
                <a:cubicBezTo>
                  <a:pt x="1867420" y="343483"/>
                  <a:pt x="1868518" y="343264"/>
                  <a:pt x="1869892" y="343592"/>
                </a:cubicBezTo>
                <a:close/>
                <a:moveTo>
                  <a:pt x="5179690" y="342284"/>
                </a:moveTo>
                <a:cubicBezTo>
                  <a:pt x="5179690" y="346316"/>
                  <a:pt x="5179690" y="350348"/>
                  <a:pt x="5175295" y="356451"/>
                </a:cubicBezTo>
                <a:cubicBezTo>
                  <a:pt x="5169251" y="355906"/>
                  <a:pt x="5163758" y="357213"/>
                  <a:pt x="5158538" y="359611"/>
                </a:cubicBezTo>
                <a:lnTo>
                  <a:pt x="5148650" y="365386"/>
                </a:lnTo>
                <a:lnTo>
                  <a:pt x="5148100" y="366258"/>
                </a:lnTo>
                <a:lnTo>
                  <a:pt x="5147276" y="366258"/>
                </a:lnTo>
                <a:lnTo>
                  <a:pt x="5143431" y="368437"/>
                </a:lnTo>
                <a:cubicBezTo>
                  <a:pt x="5133542" y="374976"/>
                  <a:pt x="5123378" y="381624"/>
                  <a:pt x="5111291" y="380534"/>
                </a:cubicBezTo>
                <a:cubicBezTo>
                  <a:pt x="5129146" y="354380"/>
                  <a:pt x="5151122" y="338252"/>
                  <a:pt x="5179690" y="342284"/>
                </a:cubicBezTo>
                <a:close/>
                <a:moveTo>
                  <a:pt x="1608931" y="339450"/>
                </a:moveTo>
                <a:cubicBezTo>
                  <a:pt x="1622117" y="343809"/>
                  <a:pt x="1618821" y="348060"/>
                  <a:pt x="1616074" y="355143"/>
                </a:cubicBezTo>
                <a:cubicBezTo>
                  <a:pt x="1614426" y="354925"/>
                  <a:pt x="1612778" y="355470"/>
                  <a:pt x="1611129" y="356015"/>
                </a:cubicBezTo>
                <a:cubicBezTo>
                  <a:pt x="1609206" y="356451"/>
                  <a:pt x="1607558" y="356668"/>
                  <a:pt x="1605909" y="355797"/>
                </a:cubicBezTo>
                <a:cubicBezTo>
                  <a:pt x="1605909" y="355797"/>
                  <a:pt x="1603987" y="354925"/>
                  <a:pt x="1603438" y="352092"/>
                </a:cubicBezTo>
                <a:cubicBezTo>
                  <a:pt x="1602340" y="351329"/>
                  <a:pt x="1601790" y="350348"/>
                  <a:pt x="1601790" y="349368"/>
                </a:cubicBezTo>
                <a:cubicBezTo>
                  <a:pt x="1600965" y="346534"/>
                  <a:pt x="1602614" y="343264"/>
                  <a:pt x="1602614" y="343264"/>
                </a:cubicBezTo>
                <a:cubicBezTo>
                  <a:pt x="1602614" y="343264"/>
                  <a:pt x="1602614" y="343373"/>
                  <a:pt x="1601240" y="343809"/>
                </a:cubicBezTo>
                <a:cubicBezTo>
                  <a:pt x="1603987" y="342829"/>
                  <a:pt x="1606184" y="340432"/>
                  <a:pt x="1608931" y="339450"/>
                </a:cubicBezTo>
                <a:close/>
                <a:moveTo>
                  <a:pt x="4036685" y="338470"/>
                </a:moveTo>
                <a:cubicBezTo>
                  <a:pt x="4038058" y="338034"/>
                  <a:pt x="4036685" y="338470"/>
                  <a:pt x="4039706" y="339015"/>
                </a:cubicBezTo>
                <a:cubicBezTo>
                  <a:pt x="4039157" y="339995"/>
                  <a:pt x="4038882" y="340214"/>
                  <a:pt x="4038333" y="339887"/>
                </a:cubicBezTo>
                <a:cubicBezTo>
                  <a:pt x="4038058" y="339669"/>
                  <a:pt x="4037509" y="339015"/>
                  <a:pt x="4036685" y="338470"/>
                </a:cubicBezTo>
                <a:close/>
                <a:moveTo>
                  <a:pt x="1141951" y="338470"/>
                </a:moveTo>
                <a:cubicBezTo>
                  <a:pt x="1143599" y="345008"/>
                  <a:pt x="1143873" y="342938"/>
                  <a:pt x="1142499" y="350021"/>
                </a:cubicBezTo>
                <a:cubicBezTo>
                  <a:pt x="1138379" y="349368"/>
                  <a:pt x="1134259" y="348714"/>
                  <a:pt x="1130413" y="347950"/>
                </a:cubicBezTo>
                <a:cubicBezTo>
                  <a:pt x="1131512" y="345008"/>
                  <a:pt x="1130688" y="341848"/>
                  <a:pt x="1130688" y="339778"/>
                </a:cubicBezTo>
                <a:cubicBezTo>
                  <a:pt x="1133984" y="337162"/>
                  <a:pt x="1137006" y="336617"/>
                  <a:pt x="1141951" y="338470"/>
                </a:cubicBezTo>
                <a:close/>
                <a:moveTo>
                  <a:pt x="1444665" y="338143"/>
                </a:moveTo>
                <a:cubicBezTo>
                  <a:pt x="1445763" y="350784"/>
                  <a:pt x="1450433" y="358630"/>
                  <a:pt x="1453729" y="369527"/>
                </a:cubicBezTo>
                <a:cubicBezTo>
                  <a:pt x="1452630" y="370399"/>
                  <a:pt x="1451257" y="371053"/>
                  <a:pt x="1449609" y="371271"/>
                </a:cubicBezTo>
                <a:cubicBezTo>
                  <a:pt x="1447686" y="371489"/>
                  <a:pt x="1445488" y="371380"/>
                  <a:pt x="1442466" y="370944"/>
                </a:cubicBezTo>
                <a:cubicBezTo>
                  <a:pt x="1445488" y="356886"/>
                  <a:pt x="1430105" y="361681"/>
                  <a:pt x="1431753" y="350566"/>
                </a:cubicBezTo>
                <a:cubicBezTo>
                  <a:pt x="1434226" y="347079"/>
                  <a:pt x="1435599" y="342284"/>
                  <a:pt x="1439720" y="339778"/>
                </a:cubicBezTo>
                <a:cubicBezTo>
                  <a:pt x="1441093" y="338906"/>
                  <a:pt x="1442466" y="338361"/>
                  <a:pt x="1444665" y="338143"/>
                </a:cubicBezTo>
                <a:close/>
                <a:moveTo>
                  <a:pt x="1940488" y="337380"/>
                </a:moveTo>
                <a:cubicBezTo>
                  <a:pt x="1942685" y="339669"/>
                  <a:pt x="1942685" y="339669"/>
                  <a:pt x="1942136" y="342938"/>
                </a:cubicBezTo>
                <a:cubicBezTo>
                  <a:pt x="1940763" y="343483"/>
                  <a:pt x="1941037" y="345008"/>
                  <a:pt x="1939390" y="344028"/>
                </a:cubicBezTo>
                <a:cubicBezTo>
                  <a:pt x="1937466" y="349259"/>
                  <a:pt x="1926204" y="358085"/>
                  <a:pt x="1920435" y="358739"/>
                </a:cubicBezTo>
                <a:cubicBezTo>
                  <a:pt x="1926753" y="342502"/>
                  <a:pt x="1936917" y="346425"/>
                  <a:pt x="1940488" y="337380"/>
                </a:cubicBezTo>
                <a:close/>
                <a:moveTo>
                  <a:pt x="4541025" y="334220"/>
                </a:moveTo>
                <a:cubicBezTo>
                  <a:pt x="4541025" y="334220"/>
                  <a:pt x="4541025" y="334220"/>
                  <a:pt x="4544321" y="336072"/>
                </a:cubicBezTo>
                <a:cubicBezTo>
                  <a:pt x="4545695" y="335527"/>
                  <a:pt x="4545695" y="335527"/>
                  <a:pt x="4545695" y="335527"/>
                </a:cubicBezTo>
                <a:cubicBezTo>
                  <a:pt x="4547068" y="334983"/>
                  <a:pt x="4547892" y="337816"/>
                  <a:pt x="4547892" y="337816"/>
                </a:cubicBezTo>
                <a:cubicBezTo>
                  <a:pt x="4547343" y="341085"/>
                  <a:pt x="4542947" y="341303"/>
                  <a:pt x="4540200" y="342284"/>
                </a:cubicBezTo>
                <a:cubicBezTo>
                  <a:pt x="4539376" y="345553"/>
                  <a:pt x="4533882" y="341412"/>
                  <a:pt x="4533058" y="344682"/>
                </a:cubicBezTo>
                <a:cubicBezTo>
                  <a:pt x="4528114" y="341957"/>
                  <a:pt x="4523993" y="346752"/>
                  <a:pt x="4517401" y="347732"/>
                </a:cubicBezTo>
                <a:cubicBezTo>
                  <a:pt x="4515203" y="348060"/>
                  <a:pt x="4512731" y="347950"/>
                  <a:pt x="4509984" y="347079"/>
                </a:cubicBezTo>
                <a:cubicBezTo>
                  <a:pt x="4513005" y="344791"/>
                  <a:pt x="4516027" y="343264"/>
                  <a:pt x="4519049" y="342066"/>
                </a:cubicBezTo>
                <a:cubicBezTo>
                  <a:pt x="4527839" y="338579"/>
                  <a:pt x="4535256" y="338579"/>
                  <a:pt x="4541025" y="334220"/>
                </a:cubicBezTo>
                <a:close/>
                <a:moveTo>
                  <a:pt x="4247925" y="332477"/>
                </a:moveTo>
                <a:cubicBezTo>
                  <a:pt x="4250947" y="332803"/>
                  <a:pt x="4251496" y="334111"/>
                  <a:pt x="4250397" y="336072"/>
                </a:cubicBezTo>
                <a:cubicBezTo>
                  <a:pt x="4250397" y="336072"/>
                  <a:pt x="4249299" y="338034"/>
                  <a:pt x="4248200" y="339887"/>
                </a:cubicBezTo>
                <a:cubicBezTo>
                  <a:pt x="4247101" y="341848"/>
                  <a:pt x="4247651" y="343156"/>
                  <a:pt x="4247651" y="343156"/>
                </a:cubicBezTo>
                <a:cubicBezTo>
                  <a:pt x="4247101" y="344137"/>
                  <a:pt x="4246277" y="344791"/>
                  <a:pt x="4245727" y="345008"/>
                </a:cubicBezTo>
                <a:cubicBezTo>
                  <a:pt x="4244903" y="345335"/>
                  <a:pt x="4244079" y="345117"/>
                  <a:pt x="4243256" y="344682"/>
                </a:cubicBezTo>
                <a:cubicBezTo>
                  <a:pt x="4243256" y="344682"/>
                  <a:pt x="4244079" y="341412"/>
                  <a:pt x="4244079" y="341412"/>
                </a:cubicBezTo>
                <a:cubicBezTo>
                  <a:pt x="4246277" y="337598"/>
                  <a:pt x="4247101" y="335746"/>
                  <a:pt x="4247925" y="332477"/>
                </a:cubicBezTo>
                <a:close/>
                <a:moveTo>
                  <a:pt x="2353355" y="332367"/>
                </a:moveTo>
                <a:cubicBezTo>
                  <a:pt x="2356377" y="329861"/>
                  <a:pt x="2363244" y="329970"/>
                  <a:pt x="2365990" y="333457"/>
                </a:cubicBezTo>
                <a:cubicBezTo>
                  <a:pt x="2366814" y="338688"/>
                  <a:pt x="2363793" y="339124"/>
                  <a:pt x="2364617" y="342284"/>
                </a:cubicBezTo>
                <a:cubicBezTo>
                  <a:pt x="2357750" y="342175"/>
                  <a:pt x="2355002" y="338688"/>
                  <a:pt x="2353355" y="332367"/>
                </a:cubicBezTo>
                <a:close/>
                <a:moveTo>
                  <a:pt x="2568165" y="331823"/>
                </a:moveTo>
                <a:cubicBezTo>
                  <a:pt x="2569814" y="334329"/>
                  <a:pt x="2571737" y="333675"/>
                  <a:pt x="2572011" y="338796"/>
                </a:cubicBezTo>
                <a:cubicBezTo>
                  <a:pt x="2570364" y="339450"/>
                  <a:pt x="2568440" y="340214"/>
                  <a:pt x="2566518" y="340867"/>
                </a:cubicBezTo>
                <a:cubicBezTo>
                  <a:pt x="2565419" y="337054"/>
                  <a:pt x="2564320" y="333130"/>
                  <a:pt x="2568165" y="331823"/>
                </a:cubicBezTo>
                <a:close/>
                <a:moveTo>
                  <a:pt x="6038386" y="331713"/>
                </a:moveTo>
                <a:cubicBezTo>
                  <a:pt x="6042232" y="333893"/>
                  <a:pt x="6048824" y="336726"/>
                  <a:pt x="6049374" y="342066"/>
                </a:cubicBezTo>
                <a:cubicBezTo>
                  <a:pt x="6049374" y="343918"/>
                  <a:pt x="6048824" y="345880"/>
                  <a:pt x="6047177" y="348277"/>
                </a:cubicBezTo>
                <a:cubicBezTo>
                  <a:pt x="6047726" y="350239"/>
                  <a:pt x="6039760" y="354162"/>
                  <a:pt x="6037287" y="352637"/>
                </a:cubicBezTo>
                <a:cubicBezTo>
                  <a:pt x="6029871" y="350239"/>
                  <a:pt x="6032617" y="343373"/>
                  <a:pt x="6032617" y="335092"/>
                </a:cubicBezTo>
                <a:cubicBezTo>
                  <a:pt x="6035090" y="336617"/>
                  <a:pt x="6036738" y="334111"/>
                  <a:pt x="6038386" y="331713"/>
                </a:cubicBezTo>
                <a:close/>
                <a:moveTo>
                  <a:pt x="2861265" y="329316"/>
                </a:moveTo>
                <a:cubicBezTo>
                  <a:pt x="2862914" y="330188"/>
                  <a:pt x="2866759" y="333348"/>
                  <a:pt x="2865386" y="333893"/>
                </a:cubicBezTo>
                <a:cubicBezTo>
                  <a:pt x="2864287" y="335746"/>
                  <a:pt x="2865660" y="335310"/>
                  <a:pt x="2865935" y="336726"/>
                </a:cubicBezTo>
                <a:cubicBezTo>
                  <a:pt x="2862914" y="342393"/>
                  <a:pt x="2859342" y="345226"/>
                  <a:pt x="2854398" y="343918"/>
                </a:cubicBezTo>
                <a:cubicBezTo>
                  <a:pt x="2851926" y="342611"/>
                  <a:pt x="2848355" y="340758"/>
                  <a:pt x="2847531" y="337707"/>
                </a:cubicBezTo>
                <a:cubicBezTo>
                  <a:pt x="2846981" y="336726"/>
                  <a:pt x="2846981" y="335637"/>
                  <a:pt x="2847531" y="334329"/>
                </a:cubicBezTo>
                <a:cubicBezTo>
                  <a:pt x="2848904" y="333784"/>
                  <a:pt x="2848629" y="332367"/>
                  <a:pt x="2850003" y="331932"/>
                </a:cubicBezTo>
                <a:cubicBezTo>
                  <a:pt x="2850003" y="331932"/>
                  <a:pt x="2851102" y="330733"/>
                  <a:pt x="2853025" y="329861"/>
                </a:cubicBezTo>
                <a:cubicBezTo>
                  <a:pt x="2855222" y="328880"/>
                  <a:pt x="2857969" y="328226"/>
                  <a:pt x="2861265" y="329316"/>
                </a:cubicBezTo>
                <a:close/>
                <a:moveTo>
                  <a:pt x="4305336" y="327900"/>
                </a:moveTo>
                <a:cubicBezTo>
                  <a:pt x="4305336" y="327900"/>
                  <a:pt x="4305611" y="327790"/>
                  <a:pt x="4307260" y="328771"/>
                </a:cubicBezTo>
                <a:cubicBezTo>
                  <a:pt x="4305336" y="329534"/>
                  <a:pt x="4304787" y="333239"/>
                  <a:pt x="4303139" y="334220"/>
                </a:cubicBezTo>
                <a:cubicBezTo>
                  <a:pt x="4302590" y="334547"/>
                  <a:pt x="4302040" y="334656"/>
                  <a:pt x="4301216" y="334220"/>
                </a:cubicBezTo>
                <a:cubicBezTo>
                  <a:pt x="4302040" y="332258"/>
                  <a:pt x="4304512" y="329752"/>
                  <a:pt x="4305336" y="327900"/>
                </a:cubicBezTo>
                <a:close/>
                <a:moveTo>
                  <a:pt x="3923785" y="324957"/>
                </a:moveTo>
                <a:cubicBezTo>
                  <a:pt x="3934498" y="329643"/>
                  <a:pt x="3930378" y="346534"/>
                  <a:pt x="3922137" y="349368"/>
                </a:cubicBezTo>
                <a:cubicBezTo>
                  <a:pt x="3913896" y="345880"/>
                  <a:pt x="3913347" y="334220"/>
                  <a:pt x="3917742" y="328335"/>
                </a:cubicBezTo>
                <a:cubicBezTo>
                  <a:pt x="3919115" y="326374"/>
                  <a:pt x="3921313" y="325066"/>
                  <a:pt x="3923785" y="324957"/>
                </a:cubicBezTo>
                <a:close/>
                <a:moveTo>
                  <a:pt x="4239409" y="323432"/>
                </a:moveTo>
                <a:cubicBezTo>
                  <a:pt x="4238311" y="325285"/>
                  <a:pt x="4239684" y="329643"/>
                  <a:pt x="4239135" y="333021"/>
                </a:cubicBezTo>
                <a:cubicBezTo>
                  <a:pt x="4237762" y="333457"/>
                  <a:pt x="4236663" y="335419"/>
                  <a:pt x="4235289" y="335855"/>
                </a:cubicBezTo>
                <a:cubicBezTo>
                  <a:pt x="4235289" y="335092"/>
                  <a:pt x="4234465" y="334220"/>
                  <a:pt x="4234190" y="333348"/>
                </a:cubicBezTo>
                <a:cubicBezTo>
                  <a:pt x="4233916" y="332477"/>
                  <a:pt x="4233641" y="331823"/>
                  <a:pt x="4234190" y="331604"/>
                </a:cubicBezTo>
                <a:cubicBezTo>
                  <a:pt x="4233916" y="330188"/>
                  <a:pt x="4236388" y="329208"/>
                  <a:pt x="4236388" y="329208"/>
                </a:cubicBezTo>
                <a:cubicBezTo>
                  <a:pt x="4236113" y="327790"/>
                  <a:pt x="4235838" y="326265"/>
                  <a:pt x="4236663" y="324412"/>
                </a:cubicBezTo>
                <a:cubicBezTo>
                  <a:pt x="4238311" y="325285"/>
                  <a:pt x="4238036" y="323867"/>
                  <a:pt x="4239409" y="323432"/>
                </a:cubicBezTo>
                <a:close/>
                <a:moveTo>
                  <a:pt x="5425817" y="322560"/>
                </a:moveTo>
                <a:cubicBezTo>
                  <a:pt x="5430486" y="323758"/>
                  <a:pt x="5434332" y="326810"/>
                  <a:pt x="5431311" y="332367"/>
                </a:cubicBezTo>
                <a:cubicBezTo>
                  <a:pt x="5430761" y="333239"/>
                  <a:pt x="5430211" y="334220"/>
                  <a:pt x="5429937" y="334765"/>
                </a:cubicBezTo>
                <a:cubicBezTo>
                  <a:pt x="5429388" y="335310"/>
                  <a:pt x="5429113" y="335419"/>
                  <a:pt x="5428838" y="334765"/>
                </a:cubicBezTo>
                <a:cubicBezTo>
                  <a:pt x="5427465" y="335310"/>
                  <a:pt x="5427190" y="333893"/>
                  <a:pt x="5425542" y="333021"/>
                </a:cubicBezTo>
                <a:cubicBezTo>
                  <a:pt x="5424443" y="331932"/>
                  <a:pt x="5423619" y="330406"/>
                  <a:pt x="5423344" y="328880"/>
                </a:cubicBezTo>
                <a:cubicBezTo>
                  <a:pt x="5422795" y="327355"/>
                  <a:pt x="5422795" y="325720"/>
                  <a:pt x="5423344" y="324848"/>
                </a:cubicBezTo>
                <a:cubicBezTo>
                  <a:pt x="5424443" y="322996"/>
                  <a:pt x="5425817" y="322560"/>
                  <a:pt x="5425817" y="322560"/>
                </a:cubicBezTo>
                <a:close/>
                <a:moveTo>
                  <a:pt x="3975978" y="322233"/>
                </a:moveTo>
                <a:cubicBezTo>
                  <a:pt x="3978724" y="321252"/>
                  <a:pt x="3982021" y="321252"/>
                  <a:pt x="3985591" y="322560"/>
                </a:cubicBezTo>
                <a:cubicBezTo>
                  <a:pt x="3994107" y="325502"/>
                  <a:pt x="4001798" y="331713"/>
                  <a:pt x="3994931" y="346316"/>
                </a:cubicBezTo>
                <a:cubicBezTo>
                  <a:pt x="3994107" y="349585"/>
                  <a:pt x="3993832" y="348169"/>
                  <a:pt x="3993009" y="350021"/>
                </a:cubicBezTo>
                <a:cubicBezTo>
                  <a:pt x="3991910" y="351983"/>
                  <a:pt x="3991360" y="355252"/>
                  <a:pt x="3991635" y="356668"/>
                </a:cubicBezTo>
                <a:cubicBezTo>
                  <a:pt x="3986691" y="355034"/>
                  <a:pt x="3984493" y="357540"/>
                  <a:pt x="3979273" y="357322"/>
                </a:cubicBezTo>
                <a:cubicBezTo>
                  <a:pt x="3977625" y="357213"/>
                  <a:pt x="3975703" y="356777"/>
                  <a:pt x="3973230" y="355906"/>
                </a:cubicBezTo>
                <a:cubicBezTo>
                  <a:pt x="3966638" y="353726"/>
                  <a:pt x="3963341" y="350021"/>
                  <a:pt x="3961968" y="345880"/>
                </a:cubicBezTo>
                <a:cubicBezTo>
                  <a:pt x="3960869" y="341848"/>
                  <a:pt x="3961693" y="337271"/>
                  <a:pt x="3963066" y="333784"/>
                </a:cubicBezTo>
                <a:cubicBezTo>
                  <a:pt x="3964165" y="334438"/>
                  <a:pt x="3968011" y="324848"/>
                  <a:pt x="3975978" y="322233"/>
                </a:cubicBezTo>
                <a:close/>
                <a:moveTo>
                  <a:pt x="4333355" y="317874"/>
                </a:moveTo>
                <a:cubicBezTo>
                  <a:pt x="4333355" y="317874"/>
                  <a:pt x="4333355" y="317874"/>
                  <a:pt x="4331982" y="318310"/>
                </a:cubicBezTo>
                <a:cubicBezTo>
                  <a:pt x="4331982" y="318310"/>
                  <a:pt x="4333355" y="317874"/>
                  <a:pt x="4333629" y="319182"/>
                </a:cubicBezTo>
                <a:cubicBezTo>
                  <a:pt x="4327861" y="325829"/>
                  <a:pt x="4316324" y="328554"/>
                  <a:pt x="4314951" y="329098"/>
                </a:cubicBezTo>
                <a:cubicBezTo>
                  <a:pt x="4314676" y="327681"/>
                  <a:pt x="4314676" y="327681"/>
                  <a:pt x="4314676" y="327681"/>
                </a:cubicBezTo>
                <a:cubicBezTo>
                  <a:pt x="4319071" y="327136"/>
                  <a:pt x="4322917" y="321797"/>
                  <a:pt x="4327861" y="319182"/>
                </a:cubicBezTo>
                <a:cubicBezTo>
                  <a:pt x="4329510" y="318419"/>
                  <a:pt x="4331432" y="317874"/>
                  <a:pt x="4333355" y="317874"/>
                </a:cubicBezTo>
                <a:close/>
                <a:moveTo>
                  <a:pt x="5441749" y="316893"/>
                </a:moveTo>
                <a:cubicBezTo>
                  <a:pt x="5442848" y="317111"/>
                  <a:pt x="5444221" y="317765"/>
                  <a:pt x="5445595" y="317874"/>
                </a:cubicBezTo>
                <a:lnTo>
                  <a:pt x="5442573" y="323541"/>
                </a:lnTo>
                <a:cubicBezTo>
                  <a:pt x="5441749" y="323105"/>
                  <a:pt x="5440650" y="322342"/>
                  <a:pt x="5440101" y="321470"/>
                </a:cubicBezTo>
                <a:cubicBezTo>
                  <a:pt x="5439551" y="320489"/>
                  <a:pt x="5439277" y="319618"/>
                  <a:pt x="5439826" y="318637"/>
                </a:cubicBezTo>
                <a:cubicBezTo>
                  <a:pt x="5440101" y="317111"/>
                  <a:pt x="5440925" y="316784"/>
                  <a:pt x="5441749" y="316893"/>
                </a:cubicBezTo>
                <a:close/>
                <a:moveTo>
                  <a:pt x="3606238" y="315150"/>
                </a:moveTo>
                <a:cubicBezTo>
                  <a:pt x="3606513" y="316784"/>
                  <a:pt x="3620247" y="318855"/>
                  <a:pt x="3634257" y="324086"/>
                </a:cubicBezTo>
                <a:lnTo>
                  <a:pt x="3636180" y="325175"/>
                </a:lnTo>
                <a:lnTo>
                  <a:pt x="3635630" y="320707"/>
                </a:lnTo>
                <a:cubicBezTo>
                  <a:pt x="3635630" y="320707"/>
                  <a:pt x="3638652" y="320380"/>
                  <a:pt x="3638652" y="320380"/>
                </a:cubicBezTo>
                <a:cubicBezTo>
                  <a:pt x="3638927" y="322015"/>
                  <a:pt x="3639202" y="323758"/>
                  <a:pt x="3638927" y="325175"/>
                </a:cubicBezTo>
                <a:lnTo>
                  <a:pt x="3637827" y="326156"/>
                </a:lnTo>
                <a:lnTo>
                  <a:pt x="3653211" y="334656"/>
                </a:lnTo>
                <a:cubicBezTo>
                  <a:pt x="3658155" y="339233"/>
                  <a:pt x="3661727" y="345008"/>
                  <a:pt x="3661452" y="352309"/>
                </a:cubicBezTo>
                <a:cubicBezTo>
                  <a:pt x="3662001" y="355578"/>
                  <a:pt x="3662001" y="355688"/>
                  <a:pt x="3662001" y="355688"/>
                </a:cubicBezTo>
                <a:cubicBezTo>
                  <a:pt x="3663649" y="355470"/>
                  <a:pt x="3664473" y="356342"/>
                  <a:pt x="3665297" y="357976"/>
                </a:cubicBezTo>
                <a:lnTo>
                  <a:pt x="3666122" y="363534"/>
                </a:lnTo>
                <a:lnTo>
                  <a:pt x="3667220" y="362770"/>
                </a:lnTo>
                <a:cubicBezTo>
                  <a:pt x="3669692" y="361790"/>
                  <a:pt x="3671341" y="361790"/>
                  <a:pt x="3672714" y="362662"/>
                </a:cubicBezTo>
                <a:cubicBezTo>
                  <a:pt x="3676285" y="364951"/>
                  <a:pt x="3675735" y="372797"/>
                  <a:pt x="3672714" y="377482"/>
                </a:cubicBezTo>
                <a:lnTo>
                  <a:pt x="3669967" y="380316"/>
                </a:lnTo>
                <a:lnTo>
                  <a:pt x="3668868" y="383912"/>
                </a:lnTo>
                <a:cubicBezTo>
                  <a:pt x="3665022" y="397533"/>
                  <a:pt x="3656507" y="427501"/>
                  <a:pt x="3648815" y="428264"/>
                </a:cubicBezTo>
                <a:cubicBezTo>
                  <a:pt x="3645520" y="428590"/>
                  <a:pt x="3645245" y="425321"/>
                  <a:pt x="3645245" y="425321"/>
                </a:cubicBezTo>
                <a:cubicBezTo>
                  <a:pt x="3638377" y="425866"/>
                  <a:pt x="3638927" y="432405"/>
                  <a:pt x="3638927" y="432405"/>
                </a:cubicBezTo>
                <a:lnTo>
                  <a:pt x="3633433" y="432841"/>
                </a:lnTo>
                <a:lnTo>
                  <a:pt x="3633708" y="433167"/>
                </a:lnTo>
                <a:cubicBezTo>
                  <a:pt x="3633708" y="438180"/>
                  <a:pt x="3633433" y="442866"/>
                  <a:pt x="3632334" y="446135"/>
                </a:cubicBezTo>
                <a:lnTo>
                  <a:pt x="3627389" y="434693"/>
                </a:lnTo>
                <a:lnTo>
                  <a:pt x="3618050" y="437744"/>
                </a:lnTo>
                <a:cubicBezTo>
                  <a:pt x="3604864" y="445155"/>
                  <a:pt x="3594700" y="458340"/>
                  <a:pt x="3586735" y="456706"/>
                </a:cubicBezTo>
                <a:cubicBezTo>
                  <a:pt x="3569704" y="458231"/>
                  <a:pt x="3562286" y="484821"/>
                  <a:pt x="3555419" y="485366"/>
                </a:cubicBezTo>
                <a:cubicBezTo>
                  <a:pt x="3555419" y="485366"/>
                  <a:pt x="3555419" y="485474"/>
                  <a:pt x="3555694" y="488744"/>
                </a:cubicBezTo>
                <a:cubicBezTo>
                  <a:pt x="3555694" y="488744"/>
                  <a:pt x="3552398" y="489071"/>
                  <a:pt x="3552398" y="489071"/>
                </a:cubicBezTo>
                <a:cubicBezTo>
                  <a:pt x="3552398" y="489071"/>
                  <a:pt x="3548827" y="489289"/>
                  <a:pt x="3548827" y="489289"/>
                </a:cubicBezTo>
                <a:cubicBezTo>
                  <a:pt x="3535366" y="490488"/>
                  <a:pt x="3522181" y="494955"/>
                  <a:pt x="3508447" y="496263"/>
                </a:cubicBezTo>
                <a:cubicBezTo>
                  <a:pt x="3508172" y="492994"/>
                  <a:pt x="3501304" y="493648"/>
                  <a:pt x="3497184" y="487436"/>
                </a:cubicBezTo>
                <a:cubicBezTo>
                  <a:pt x="3493613" y="484603"/>
                  <a:pt x="3493613" y="484603"/>
                  <a:pt x="3493613" y="484603"/>
                </a:cubicBezTo>
                <a:cubicBezTo>
                  <a:pt x="3479878" y="485911"/>
                  <a:pt x="3467517" y="464225"/>
                  <a:pt x="3466968" y="461064"/>
                </a:cubicBezTo>
                <a:cubicBezTo>
                  <a:pt x="3466968" y="461064"/>
                  <a:pt x="3463396" y="458231"/>
                  <a:pt x="3463396" y="458231"/>
                </a:cubicBezTo>
                <a:cubicBezTo>
                  <a:pt x="3463122" y="454962"/>
                  <a:pt x="3465869" y="448205"/>
                  <a:pt x="3465320" y="444936"/>
                </a:cubicBezTo>
                <a:cubicBezTo>
                  <a:pt x="3465045" y="441776"/>
                  <a:pt x="3460925" y="435674"/>
                  <a:pt x="3460375" y="429244"/>
                </a:cubicBezTo>
                <a:cubicBezTo>
                  <a:pt x="3459826" y="425975"/>
                  <a:pt x="3459551" y="422706"/>
                  <a:pt x="3463122" y="422488"/>
                </a:cubicBezTo>
                <a:cubicBezTo>
                  <a:pt x="3462572" y="419219"/>
                  <a:pt x="3467242" y="396117"/>
                  <a:pt x="3490866" y="393937"/>
                </a:cubicBezTo>
                <a:cubicBezTo>
                  <a:pt x="3487570" y="394264"/>
                  <a:pt x="3487570" y="394264"/>
                  <a:pt x="3487570" y="394264"/>
                </a:cubicBezTo>
                <a:cubicBezTo>
                  <a:pt x="3487295" y="390995"/>
                  <a:pt x="3500206" y="383367"/>
                  <a:pt x="3503228" y="379771"/>
                </a:cubicBezTo>
                <a:cubicBezTo>
                  <a:pt x="3506523" y="379444"/>
                  <a:pt x="3510370" y="382386"/>
                  <a:pt x="3517237" y="381732"/>
                </a:cubicBezTo>
                <a:cubicBezTo>
                  <a:pt x="3527400" y="380860"/>
                  <a:pt x="3531521" y="354598"/>
                  <a:pt x="3531246" y="351329"/>
                </a:cubicBezTo>
                <a:cubicBezTo>
                  <a:pt x="3531246" y="351329"/>
                  <a:pt x="3531246" y="351329"/>
                  <a:pt x="3530697" y="348060"/>
                </a:cubicBezTo>
                <a:cubicBezTo>
                  <a:pt x="3530697" y="348060"/>
                  <a:pt x="3537564" y="347515"/>
                  <a:pt x="3537290" y="344246"/>
                </a:cubicBezTo>
                <a:cubicBezTo>
                  <a:pt x="3537290" y="344246"/>
                  <a:pt x="3537290" y="344246"/>
                  <a:pt x="3533993" y="344572"/>
                </a:cubicBezTo>
                <a:cubicBezTo>
                  <a:pt x="3537290" y="344246"/>
                  <a:pt x="3542784" y="330733"/>
                  <a:pt x="3552947" y="329861"/>
                </a:cubicBezTo>
                <a:cubicBezTo>
                  <a:pt x="3552673" y="328226"/>
                  <a:pt x="3558441" y="324521"/>
                  <a:pt x="3567780" y="321252"/>
                </a:cubicBezTo>
                <a:cubicBezTo>
                  <a:pt x="3577395" y="317874"/>
                  <a:pt x="3590855" y="314932"/>
                  <a:pt x="3606238" y="315150"/>
                </a:cubicBezTo>
                <a:close/>
                <a:moveTo>
                  <a:pt x="1787209" y="315041"/>
                </a:moveTo>
                <a:cubicBezTo>
                  <a:pt x="1791879" y="316349"/>
                  <a:pt x="1795724" y="319399"/>
                  <a:pt x="1792703" y="325066"/>
                </a:cubicBezTo>
                <a:cubicBezTo>
                  <a:pt x="1792154" y="325938"/>
                  <a:pt x="1791604" y="326919"/>
                  <a:pt x="1791329" y="327464"/>
                </a:cubicBezTo>
                <a:cubicBezTo>
                  <a:pt x="1790780" y="328009"/>
                  <a:pt x="1790505" y="328009"/>
                  <a:pt x="1790230" y="327355"/>
                </a:cubicBezTo>
                <a:cubicBezTo>
                  <a:pt x="1788857" y="327790"/>
                  <a:pt x="1788582" y="326592"/>
                  <a:pt x="1786934" y="325720"/>
                </a:cubicBezTo>
                <a:cubicBezTo>
                  <a:pt x="1785835" y="324521"/>
                  <a:pt x="1785010" y="322996"/>
                  <a:pt x="1784462" y="321470"/>
                </a:cubicBezTo>
                <a:cubicBezTo>
                  <a:pt x="1784187" y="319835"/>
                  <a:pt x="1784187" y="318419"/>
                  <a:pt x="1784736" y="317438"/>
                </a:cubicBezTo>
                <a:cubicBezTo>
                  <a:pt x="1785560" y="315585"/>
                  <a:pt x="1787209" y="315041"/>
                  <a:pt x="1787209" y="315041"/>
                </a:cubicBezTo>
                <a:close/>
                <a:moveTo>
                  <a:pt x="4564923" y="311553"/>
                </a:moveTo>
                <a:cubicBezTo>
                  <a:pt x="4570966" y="314714"/>
                  <a:pt x="4573439" y="327681"/>
                  <a:pt x="4563824" y="331169"/>
                </a:cubicBezTo>
                <a:cubicBezTo>
                  <a:pt x="4559429" y="330624"/>
                  <a:pt x="4555034" y="330079"/>
                  <a:pt x="4552287" y="323650"/>
                </a:cubicBezTo>
                <a:cubicBezTo>
                  <a:pt x="4553935" y="317656"/>
                  <a:pt x="4557232" y="314387"/>
                  <a:pt x="4564923" y="311553"/>
                </a:cubicBezTo>
                <a:close/>
                <a:moveTo>
                  <a:pt x="2544542" y="311227"/>
                </a:moveTo>
                <a:cubicBezTo>
                  <a:pt x="2554431" y="316240"/>
                  <a:pt x="2558002" y="345117"/>
                  <a:pt x="2543718" y="351438"/>
                </a:cubicBezTo>
                <a:cubicBezTo>
                  <a:pt x="2542894" y="340977"/>
                  <a:pt x="2543443" y="331060"/>
                  <a:pt x="2537675" y="317983"/>
                </a:cubicBezTo>
                <a:cubicBezTo>
                  <a:pt x="2541796" y="316566"/>
                  <a:pt x="2539323" y="312098"/>
                  <a:pt x="2544542" y="311227"/>
                </a:cubicBezTo>
                <a:close/>
                <a:moveTo>
                  <a:pt x="3894393" y="309919"/>
                </a:moveTo>
                <a:cubicBezTo>
                  <a:pt x="3902084" y="309592"/>
                  <a:pt x="3903732" y="320707"/>
                  <a:pt x="3899337" y="323758"/>
                </a:cubicBezTo>
                <a:cubicBezTo>
                  <a:pt x="3898513" y="324195"/>
                  <a:pt x="3897414" y="324521"/>
                  <a:pt x="3896316" y="324521"/>
                </a:cubicBezTo>
                <a:cubicBezTo>
                  <a:pt x="3895217" y="324412"/>
                  <a:pt x="3893843" y="324086"/>
                  <a:pt x="3892470" y="323323"/>
                </a:cubicBezTo>
                <a:cubicBezTo>
                  <a:pt x="3892744" y="317003"/>
                  <a:pt x="3893019" y="312861"/>
                  <a:pt x="3894393" y="309919"/>
                </a:cubicBezTo>
                <a:close/>
                <a:moveTo>
                  <a:pt x="1803142" y="309592"/>
                </a:moveTo>
                <a:cubicBezTo>
                  <a:pt x="1804240" y="309810"/>
                  <a:pt x="1805613" y="310464"/>
                  <a:pt x="1806986" y="310573"/>
                </a:cubicBezTo>
                <a:lnTo>
                  <a:pt x="1803965" y="316130"/>
                </a:lnTo>
                <a:cubicBezTo>
                  <a:pt x="1803142" y="315804"/>
                  <a:pt x="1802042" y="314932"/>
                  <a:pt x="1801493" y="314060"/>
                </a:cubicBezTo>
                <a:cubicBezTo>
                  <a:pt x="1800943" y="313188"/>
                  <a:pt x="1800668" y="312207"/>
                  <a:pt x="1800943" y="311227"/>
                </a:cubicBezTo>
                <a:cubicBezTo>
                  <a:pt x="1801493" y="309701"/>
                  <a:pt x="1802042" y="309483"/>
                  <a:pt x="1803142" y="309592"/>
                </a:cubicBezTo>
                <a:close/>
                <a:moveTo>
                  <a:pt x="3032400" y="308938"/>
                </a:moveTo>
                <a:cubicBezTo>
                  <a:pt x="3032675" y="310355"/>
                  <a:pt x="3032950" y="311772"/>
                  <a:pt x="3034597" y="311227"/>
                </a:cubicBezTo>
                <a:cubicBezTo>
                  <a:pt x="3032400" y="315041"/>
                  <a:pt x="3031027" y="315585"/>
                  <a:pt x="3029928" y="317438"/>
                </a:cubicBezTo>
                <a:cubicBezTo>
                  <a:pt x="3031302" y="317003"/>
                  <a:pt x="3030478" y="318746"/>
                  <a:pt x="3030478" y="318746"/>
                </a:cubicBezTo>
                <a:cubicBezTo>
                  <a:pt x="3030478" y="318746"/>
                  <a:pt x="3030478" y="318746"/>
                  <a:pt x="3034048" y="320598"/>
                </a:cubicBezTo>
                <a:cubicBezTo>
                  <a:pt x="3034048" y="320598"/>
                  <a:pt x="3041191" y="325502"/>
                  <a:pt x="3037345" y="334438"/>
                </a:cubicBezTo>
                <a:cubicBezTo>
                  <a:pt x="3035696" y="333566"/>
                  <a:pt x="3029653" y="344791"/>
                  <a:pt x="3023335" y="344028"/>
                </a:cubicBezTo>
                <a:cubicBezTo>
                  <a:pt x="3020314" y="343701"/>
                  <a:pt x="3018391" y="342938"/>
                  <a:pt x="3015369" y="342502"/>
                </a:cubicBezTo>
                <a:cubicBezTo>
                  <a:pt x="3014820" y="340432"/>
                  <a:pt x="3013171" y="338796"/>
                  <a:pt x="3012073" y="336290"/>
                </a:cubicBezTo>
                <a:cubicBezTo>
                  <a:pt x="3011249" y="333784"/>
                  <a:pt x="3010699" y="330515"/>
                  <a:pt x="3012347" y="325393"/>
                </a:cubicBezTo>
                <a:cubicBezTo>
                  <a:pt x="3017017" y="314496"/>
                  <a:pt x="3027181" y="318419"/>
                  <a:pt x="3026906" y="317003"/>
                </a:cubicBezTo>
                <a:cubicBezTo>
                  <a:pt x="3028005" y="315150"/>
                  <a:pt x="3028005" y="315150"/>
                  <a:pt x="3027456" y="313733"/>
                </a:cubicBezTo>
                <a:cubicBezTo>
                  <a:pt x="3028829" y="313297"/>
                  <a:pt x="3031302" y="310899"/>
                  <a:pt x="3032400" y="308938"/>
                </a:cubicBezTo>
                <a:close/>
                <a:moveTo>
                  <a:pt x="4259737" y="308503"/>
                </a:moveTo>
                <a:cubicBezTo>
                  <a:pt x="4262758" y="308938"/>
                  <a:pt x="4262209" y="312207"/>
                  <a:pt x="4260286" y="315912"/>
                </a:cubicBezTo>
                <a:cubicBezTo>
                  <a:pt x="4258364" y="322342"/>
                  <a:pt x="4255891" y="325611"/>
                  <a:pt x="4252595" y="325720"/>
                </a:cubicBezTo>
                <a:cubicBezTo>
                  <a:pt x="4251496" y="325720"/>
                  <a:pt x="4250123" y="325393"/>
                  <a:pt x="4249024" y="324740"/>
                </a:cubicBezTo>
                <a:cubicBezTo>
                  <a:pt x="4248475" y="323323"/>
                  <a:pt x="4249024" y="318637"/>
                  <a:pt x="4247651" y="319073"/>
                </a:cubicBezTo>
                <a:cubicBezTo>
                  <a:pt x="4249848" y="314822"/>
                  <a:pt x="4252870" y="310355"/>
                  <a:pt x="4256166" y="308829"/>
                </a:cubicBezTo>
                <a:cubicBezTo>
                  <a:pt x="4257539" y="308393"/>
                  <a:pt x="4258639" y="308175"/>
                  <a:pt x="4259737" y="308503"/>
                </a:cubicBezTo>
                <a:close/>
                <a:moveTo>
                  <a:pt x="5751605" y="306214"/>
                </a:moveTo>
                <a:cubicBezTo>
                  <a:pt x="5771108" y="318746"/>
                  <a:pt x="5766987" y="330188"/>
                  <a:pt x="5769735" y="331713"/>
                </a:cubicBezTo>
                <a:cubicBezTo>
                  <a:pt x="5767262" y="335419"/>
                  <a:pt x="5764790" y="336617"/>
                  <a:pt x="5761493" y="336509"/>
                </a:cubicBezTo>
                <a:cubicBezTo>
                  <a:pt x="5758472" y="336400"/>
                  <a:pt x="5754626" y="335201"/>
                  <a:pt x="5749956" y="334220"/>
                </a:cubicBezTo>
                <a:cubicBezTo>
                  <a:pt x="5751605" y="331713"/>
                  <a:pt x="5743364" y="327136"/>
                  <a:pt x="5740892" y="325720"/>
                </a:cubicBezTo>
                <a:cubicBezTo>
                  <a:pt x="5744188" y="320707"/>
                  <a:pt x="5735398" y="314169"/>
                  <a:pt x="5740342" y="306650"/>
                </a:cubicBezTo>
                <a:cubicBezTo>
                  <a:pt x="5744737" y="305669"/>
                  <a:pt x="5746935" y="305233"/>
                  <a:pt x="5751605" y="306214"/>
                </a:cubicBezTo>
                <a:close/>
                <a:moveTo>
                  <a:pt x="2635603" y="305001"/>
                </a:moveTo>
                <a:cubicBezTo>
                  <a:pt x="2640891" y="305778"/>
                  <a:pt x="2646591" y="307794"/>
                  <a:pt x="2651673" y="310682"/>
                </a:cubicBezTo>
                <a:cubicBezTo>
                  <a:pt x="2661837" y="316458"/>
                  <a:pt x="2669528" y="325829"/>
                  <a:pt x="2665958" y="335746"/>
                </a:cubicBezTo>
                <a:cubicBezTo>
                  <a:pt x="2654145" y="319618"/>
                  <a:pt x="2631620" y="326810"/>
                  <a:pt x="2622006" y="306759"/>
                </a:cubicBezTo>
                <a:cubicBezTo>
                  <a:pt x="2625440" y="304688"/>
                  <a:pt x="2630316" y="304225"/>
                  <a:pt x="2635603" y="305001"/>
                </a:cubicBezTo>
                <a:close/>
                <a:moveTo>
                  <a:pt x="4945375" y="304580"/>
                </a:moveTo>
                <a:cubicBezTo>
                  <a:pt x="4948672" y="302073"/>
                  <a:pt x="4955539" y="302182"/>
                  <a:pt x="4958286" y="305669"/>
                </a:cubicBezTo>
                <a:cubicBezTo>
                  <a:pt x="4958836" y="310899"/>
                  <a:pt x="4955814" y="311336"/>
                  <a:pt x="4956638" y="314496"/>
                </a:cubicBezTo>
                <a:cubicBezTo>
                  <a:pt x="4949771" y="314387"/>
                  <a:pt x="4947023" y="310899"/>
                  <a:pt x="4945375" y="304580"/>
                </a:cubicBezTo>
                <a:close/>
                <a:moveTo>
                  <a:pt x="5916422" y="304361"/>
                </a:moveTo>
                <a:cubicBezTo>
                  <a:pt x="5905709" y="312643"/>
                  <a:pt x="5887854" y="325611"/>
                  <a:pt x="5875217" y="326047"/>
                </a:cubicBezTo>
                <a:cubicBezTo>
                  <a:pt x="5873020" y="309592"/>
                  <a:pt x="5906258" y="302727"/>
                  <a:pt x="5916422" y="304361"/>
                </a:cubicBezTo>
                <a:close/>
                <a:moveTo>
                  <a:pt x="3999052" y="304252"/>
                </a:moveTo>
                <a:cubicBezTo>
                  <a:pt x="4011962" y="308612"/>
                  <a:pt x="4008666" y="312861"/>
                  <a:pt x="4005919" y="319944"/>
                </a:cubicBezTo>
                <a:cubicBezTo>
                  <a:pt x="4004271" y="319727"/>
                  <a:pt x="4002898" y="320272"/>
                  <a:pt x="4000974" y="320817"/>
                </a:cubicBezTo>
                <a:cubicBezTo>
                  <a:pt x="3999326" y="321252"/>
                  <a:pt x="3997404" y="321579"/>
                  <a:pt x="3995755" y="320707"/>
                </a:cubicBezTo>
                <a:cubicBezTo>
                  <a:pt x="3995755" y="320707"/>
                  <a:pt x="3993832" y="319727"/>
                  <a:pt x="3993283" y="316893"/>
                </a:cubicBezTo>
                <a:cubicBezTo>
                  <a:pt x="3992185" y="316130"/>
                  <a:pt x="3991635" y="315259"/>
                  <a:pt x="3991360" y="314278"/>
                </a:cubicBezTo>
                <a:cubicBezTo>
                  <a:pt x="3990810" y="311445"/>
                  <a:pt x="3992459" y="308175"/>
                  <a:pt x="3992459" y="308175"/>
                </a:cubicBezTo>
                <a:cubicBezTo>
                  <a:pt x="3992459" y="308175"/>
                  <a:pt x="3992459" y="308175"/>
                  <a:pt x="3991085" y="308612"/>
                </a:cubicBezTo>
                <a:cubicBezTo>
                  <a:pt x="3993832" y="307630"/>
                  <a:pt x="3996304" y="305233"/>
                  <a:pt x="3999052" y="304252"/>
                </a:cubicBezTo>
                <a:close/>
                <a:moveTo>
                  <a:pt x="5160187" y="304035"/>
                </a:moveTo>
                <a:cubicBezTo>
                  <a:pt x="5162110" y="306541"/>
                  <a:pt x="5164032" y="305778"/>
                  <a:pt x="5164307" y="310899"/>
                </a:cubicBezTo>
                <a:cubicBezTo>
                  <a:pt x="5162384" y="311663"/>
                  <a:pt x="5160462" y="312316"/>
                  <a:pt x="5158538" y="312971"/>
                </a:cubicBezTo>
                <a:cubicBezTo>
                  <a:pt x="5157714" y="309157"/>
                  <a:pt x="5156616" y="305451"/>
                  <a:pt x="5160187" y="304035"/>
                </a:cubicBezTo>
                <a:close/>
                <a:moveTo>
                  <a:pt x="3531796" y="303381"/>
                </a:moveTo>
                <a:cubicBezTo>
                  <a:pt x="3533718" y="309919"/>
                  <a:pt x="3533718" y="307849"/>
                  <a:pt x="3532345" y="314932"/>
                </a:cubicBezTo>
                <a:cubicBezTo>
                  <a:pt x="3528224" y="314278"/>
                  <a:pt x="3524378" y="313624"/>
                  <a:pt x="3520259" y="312861"/>
                </a:cubicBezTo>
                <a:cubicBezTo>
                  <a:pt x="3521357" y="309919"/>
                  <a:pt x="3520533" y="306650"/>
                  <a:pt x="3520533" y="304580"/>
                </a:cubicBezTo>
                <a:cubicBezTo>
                  <a:pt x="3523829" y="301964"/>
                  <a:pt x="3526851" y="301528"/>
                  <a:pt x="3531796" y="303381"/>
                </a:cubicBezTo>
                <a:close/>
                <a:moveTo>
                  <a:pt x="4330608" y="302182"/>
                </a:moveTo>
                <a:cubicBezTo>
                  <a:pt x="4332531" y="304470"/>
                  <a:pt x="4332531" y="304580"/>
                  <a:pt x="4331982" y="307849"/>
                </a:cubicBezTo>
                <a:cubicBezTo>
                  <a:pt x="4330608" y="308393"/>
                  <a:pt x="4330883" y="309701"/>
                  <a:pt x="4329235" y="308829"/>
                </a:cubicBezTo>
                <a:cubicBezTo>
                  <a:pt x="4327586" y="314060"/>
                  <a:pt x="4316049" y="322887"/>
                  <a:pt x="4310281" y="323541"/>
                </a:cubicBezTo>
                <a:cubicBezTo>
                  <a:pt x="4316599" y="307304"/>
                  <a:pt x="4326762" y="311227"/>
                  <a:pt x="4330608" y="302182"/>
                </a:cubicBezTo>
                <a:close/>
                <a:moveTo>
                  <a:pt x="5453287" y="301528"/>
                </a:moveTo>
                <a:cubicBezTo>
                  <a:pt x="5454934" y="302400"/>
                  <a:pt x="5458780" y="305669"/>
                  <a:pt x="5457406" y="306105"/>
                </a:cubicBezTo>
                <a:cubicBezTo>
                  <a:pt x="5456308" y="307958"/>
                  <a:pt x="5457956" y="307522"/>
                  <a:pt x="5458231" y="308938"/>
                </a:cubicBezTo>
                <a:cubicBezTo>
                  <a:pt x="5455209" y="314605"/>
                  <a:pt x="5451638" y="317438"/>
                  <a:pt x="5446693" y="316130"/>
                </a:cubicBezTo>
                <a:cubicBezTo>
                  <a:pt x="5444221" y="314822"/>
                  <a:pt x="5440650" y="312971"/>
                  <a:pt x="5439551" y="309919"/>
                </a:cubicBezTo>
                <a:cubicBezTo>
                  <a:pt x="5439277" y="308938"/>
                  <a:pt x="5439277" y="307849"/>
                  <a:pt x="5439826" y="306541"/>
                </a:cubicBezTo>
                <a:cubicBezTo>
                  <a:pt x="5441199" y="306105"/>
                  <a:pt x="5440650" y="304689"/>
                  <a:pt x="5442024" y="304144"/>
                </a:cubicBezTo>
                <a:cubicBezTo>
                  <a:pt x="5442024" y="304144"/>
                  <a:pt x="5443123" y="302836"/>
                  <a:pt x="5445045" y="301964"/>
                </a:cubicBezTo>
                <a:cubicBezTo>
                  <a:pt x="5447243" y="301092"/>
                  <a:pt x="5449990" y="300438"/>
                  <a:pt x="5453287" y="301528"/>
                </a:cubicBezTo>
                <a:close/>
                <a:moveTo>
                  <a:pt x="3644146" y="301092"/>
                </a:moveTo>
                <a:cubicBezTo>
                  <a:pt x="3641673" y="311118"/>
                  <a:pt x="3641673" y="311118"/>
                  <a:pt x="3635630" y="318201"/>
                </a:cubicBezTo>
                <a:cubicBezTo>
                  <a:pt x="3635356" y="315041"/>
                  <a:pt x="3631235" y="308938"/>
                  <a:pt x="3634257" y="305342"/>
                </a:cubicBezTo>
                <a:cubicBezTo>
                  <a:pt x="3635630" y="303599"/>
                  <a:pt x="3636454" y="302618"/>
                  <a:pt x="3637827" y="302073"/>
                </a:cubicBezTo>
                <a:cubicBezTo>
                  <a:pt x="3638927" y="301528"/>
                  <a:pt x="3640575" y="301419"/>
                  <a:pt x="3644146" y="301092"/>
                </a:cubicBezTo>
                <a:close/>
                <a:moveTo>
                  <a:pt x="3816929" y="299784"/>
                </a:moveTo>
                <a:cubicBezTo>
                  <a:pt x="3843849" y="297278"/>
                  <a:pt x="3845497" y="313297"/>
                  <a:pt x="3847145" y="329425"/>
                </a:cubicBezTo>
                <a:lnTo>
                  <a:pt x="3842750" y="332149"/>
                </a:lnTo>
                <a:lnTo>
                  <a:pt x="3843574" y="334438"/>
                </a:lnTo>
                <a:cubicBezTo>
                  <a:pt x="3842475" y="335310"/>
                  <a:pt x="3841102" y="335855"/>
                  <a:pt x="3839454" y="336072"/>
                </a:cubicBezTo>
                <a:lnTo>
                  <a:pt x="3836707" y="335964"/>
                </a:lnTo>
                <a:lnTo>
                  <a:pt x="3836432" y="336072"/>
                </a:lnTo>
                <a:cubicBezTo>
                  <a:pt x="3828466" y="341085"/>
                  <a:pt x="3827092" y="341848"/>
                  <a:pt x="3814731" y="345335"/>
                </a:cubicBezTo>
                <a:cubicBezTo>
                  <a:pt x="3811160" y="342502"/>
                  <a:pt x="3807590" y="339560"/>
                  <a:pt x="3804018" y="339887"/>
                </a:cubicBezTo>
                <a:cubicBezTo>
                  <a:pt x="3802370" y="356232"/>
                  <a:pt x="3789184" y="360809"/>
                  <a:pt x="3772428" y="362335"/>
                </a:cubicBezTo>
                <a:cubicBezTo>
                  <a:pt x="3772428" y="362335"/>
                  <a:pt x="3751277" y="354380"/>
                  <a:pt x="3752925" y="338034"/>
                </a:cubicBezTo>
                <a:cubicBezTo>
                  <a:pt x="3752925" y="338034"/>
                  <a:pt x="3757594" y="318201"/>
                  <a:pt x="3774076" y="313406"/>
                </a:cubicBezTo>
                <a:cubicBezTo>
                  <a:pt x="3787537" y="312207"/>
                  <a:pt x="3788086" y="318637"/>
                  <a:pt x="3794953" y="317983"/>
                </a:cubicBezTo>
                <a:cubicBezTo>
                  <a:pt x="3801546" y="317438"/>
                  <a:pt x="3803469" y="300983"/>
                  <a:pt x="3816929" y="299784"/>
                </a:cubicBezTo>
                <a:close/>
                <a:moveTo>
                  <a:pt x="1306767" y="297169"/>
                </a:moveTo>
                <a:cubicBezTo>
                  <a:pt x="1309789" y="294663"/>
                  <a:pt x="1316931" y="294771"/>
                  <a:pt x="1319679" y="298259"/>
                </a:cubicBezTo>
                <a:cubicBezTo>
                  <a:pt x="1320227" y="303381"/>
                  <a:pt x="1317205" y="304035"/>
                  <a:pt x="1318030" y="307195"/>
                </a:cubicBezTo>
                <a:cubicBezTo>
                  <a:pt x="1311162" y="307085"/>
                  <a:pt x="1308416" y="303490"/>
                  <a:pt x="1306767" y="297169"/>
                </a:cubicBezTo>
                <a:close/>
                <a:moveTo>
                  <a:pt x="2277813" y="296951"/>
                </a:moveTo>
                <a:cubicBezTo>
                  <a:pt x="2267100" y="305233"/>
                  <a:pt x="2249245" y="318310"/>
                  <a:pt x="2236609" y="318637"/>
                </a:cubicBezTo>
                <a:cubicBezTo>
                  <a:pt x="2234137" y="302291"/>
                  <a:pt x="2267650" y="295208"/>
                  <a:pt x="2277813" y="296951"/>
                </a:cubicBezTo>
                <a:close/>
                <a:moveTo>
                  <a:pt x="1521579" y="296733"/>
                </a:moveTo>
                <a:cubicBezTo>
                  <a:pt x="1523502" y="299239"/>
                  <a:pt x="1525425" y="298477"/>
                  <a:pt x="1525699" y="303599"/>
                </a:cubicBezTo>
                <a:cubicBezTo>
                  <a:pt x="1523776" y="304252"/>
                  <a:pt x="1521854" y="305015"/>
                  <a:pt x="1519931" y="305669"/>
                </a:cubicBezTo>
                <a:cubicBezTo>
                  <a:pt x="1518832" y="301855"/>
                  <a:pt x="1517733" y="298041"/>
                  <a:pt x="1521579" y="296733"/>
                </a:cubicBezTo>
                <a:close/>
                <a:moveTo>
                  <a:pt x="2615963" y="296298"/>
                </a:moveTo>
                <a:cubicBezTo>
                  <a:pt x="2616512" y="296515"/>
                  <a:pt x="2617336" y="296843"/>
                  <a:pt x="2618710" y="297060"/>
                </a:cubicBezTo>
                <a:cubicBezTo>
                  <a:pt x="2620358" y="297823"/>
                  <a:pt x="2621731" y="297278"/>
                  <a:pt x="2620907" y="299131"/>
                </a:cubicBezTo>
                <a:cubicBezTo>
                  <a:pt x="2619809" y="300874"/>
                  <a:pt x="2619809" y="300983"/>
                  <a:pt x="2615963" y="302400"/>
                </a:cubicBezTo>
                <a:cubicBezTo>
                  <a:pt x="2616786" y="300656"/>
                  <a:pt x="2616786" y="300547"/>
                  <a:pt x="2615139" y="299784"/>
                </a:cubicBezTo>
                <a:cubicBezTo>
                  <a:pt x="2615139" y="299784"/>
                  <a:pt x="2615139" y="299784"/>
                  <a:pt x="2613765" y="300329"/>
                </a:cubicBezTo>
                <a:cubicBezTo>
                  <a:pt x="2613491" y="299022"/>
                  <a:pt x="2614864" y="298477"/>
                  <a:pt x="2614315" y="297169"/>
                </a:cubicBezTo>
                <a:cubicBezTo>
                  <a:pt x="2614315" y="297169"/>
                  <a:pt x="2615963" y="296733"/>
                  <a:pt x="2615963" y="296733"/>
                </a:cubicBezTo>
                <a:cubicBezTo>
                  <a:pt x="2615688" y="296079"/>
                  <a:pt x="2615688" y="296079"/>
                  <a:pt x="2615963" y="296298"/>
                </a:cubicBezTo>
                <a:close/>
                <a:moveTo>
                  <a:pt x="3428510" y="294227"/>
                </a:moveTo>
                <a:cubicBezTo>
                  <a:pt x="3432081" y="295970"/>
                  <a:pt x="3434828" y="302400"/>
                  <a:pt x="3432631" y="306323"/>
                </a:cubicBezTo>
                <a:cubicBezTo>
                  <a:pt x="3428236" y="309047"/>
                  <a:pt x="3426587" y="306650"/>
                  <a:pt x="3424115" y="308612"/>
                </a:cubicBezTo>
                <a:cubicBezTo>
                  <a:pt x="3421368" y="302291"/>
                  <a:pt x="3423566" y="298259"/>
                  <a:pt x="3428510" y="294227"/>
                </a:cubicBezTo>
                <a:close/>
                <a:moveTo>
                  <a:pt x="1814678" y="294227"/>
                </a:moveTo>
                <a:cubicBezTo>
                  <a:pt x="1816326" y="295099"/>
                  <a:pt x="1820172" y="298259"/>
                  <a:pt x="1818799" y="298804"/>
                </a:cubicBezTo>
                <a:cubicBezTo>
                  <a:pt x="1817699" y="300656"/>
                  <a:pt x="1819073" y="300112"/>
                  <a:pt x="1819623" y="301528"/>
                </a:cubicBezTo>
                <a:cubicBezTo>
                  <a:pt x="1816601" y="307195"/>
                  <a:pt x="1812755" y="310137"/>
                  <a:pt x="1808086" y="308829"/>
                </a:cubicBezTo>
                <a:cubicBezTo>
                  <a:pt x="1805613" y="307522"/>
                  <a:pt x="1801767" y="305669"/>
                  <a:pt x="1800943" y="302618"/>
                </a:cubicBezTo>
                <a:cubicBezTo>
                  <a:pt x="1800668" y="301637"/>
                  <a:pt x="1800668" y="300438"/>
                  <a:pt x="1800943" y="299131"/>
                </a:cubicBezTo>
                <a:cubicBezTo>
                  <a:pt x="1802317" y="298586"/>
                  <a:pt x="1802042" y="297169"/>
                  <a:pt x="1803416" y="296733"/>
                </a:cubicBezTo>
                <a:cubicBezTo>
                  <a:pt x="1803416" y="296733"/>
                  <a:pt x="1804515" y="295535"/>
                  <a:pt x="1806437" y="294663"/>
                </a:cubicBezTo>
                <a:cubicBezTo>
                  <a:pt x="1808635" y="293682"/>
                  <a:pt x="1811381" y="293137"/>
                  <a:pt x="1814678" y="294227"/>
                </a:cubicBezTo>
                <a:close/>
                <a:moveTo>
                  <a:pt x="4295447" y="291067"/>
                </a:moveTo>
                <a:cubicBezTo>
                  <a:pt x="4295447" y="291067"/>
                  <a:pt x="4299293" y="290740"/>
                  <a:pt x="4303414" y="293574"/>
                </a:cubicBezTo>
                <a:cubicBezTo>
                  <a:pt x="4303688" y="296733"/>
                  <a:pt x="4300666" y="303490"/>
                  <a:pt x="4296821" y="303816"/>
                </a:cubicBezTo>
                <a:cubicBezTo>
                  <a:pt x="4293250" y="304144"/>
                  <a:pt x="4292700" y="300983"/>
                  <a:pt x="4292426" y="297823"/>
                </a:cubicBezTo>
                <a:cubicBezTo>
                  <a:pt x="4291877" y="291393"/>
                  <a:pt x="4291877" y="291393"/>
                  <a:pt x="4295447" y="291067"/>
                </a:cubicBezTo>
                <a:close/>
                <a:moveTo>
                  <a:pt x="3365880" y="286054"/>
                </a:moveTo>
                <a:cubicBezTo>
                  <a:pt x="3369451" y="288887"/>
                  <a:pt x="3376593" y="291502"/>
                  <a:pt x="3380439" y="294445"/>
                </a:cubicBezTo>
                <a:cubicBezTo>
                  <a:pt x="3383735" y="294118"/>
                  <a:pt x="3412029" y="301092"/>
                  <a:pt x="3414501" y="326701"/>
                </a:cubicBezTo>
                <a:cubicBezTo>
                  <a:pt x="3416149" y="342611"/>
                  <a:pt x="3407084" y="385437"/>
                  <a:pt x="3379889" y="387943"/>
                </a:cubicBezTo>
                <a:cubicBezTo>
                  <a:pt x="3373297" y="391758"/>
                  <a:pt x="3366705" y="392303"/>
                  <a:pt x="3359836" y="392956"/>
                </a:cubicBezTo>
                <a:cubicBezTo>
                  <a:pt x="3346102" y="394155"/>
                  <a:pt x="3342256" y="388052"/>
                  <a:pt x="3328796" y="389360"/>
                </a:cubicBezTo>
                <a:cubicBezTo>
                  <a:pt x="3328521" y="386963"/>
                  <a:pt x="3312314" y="380642"/>
                  <a:pt x="3304348" y="363969"/>
                </a:cubicBezTo>
                <a:lnTo>
                  <a:pt x="3300777" y="347732"/>
                </a:lnTo>
                <a:lnTo>
                  <a:pt x="3293361" y="351438"/>
                </a:lnTo>
                <a:cubicBezTo>
                  <a:pt x="3289789" y="352854"/>
                  <a:pt x="3286219" y="353835"/>
                  <a:pt x="3283197" y="353944"/>
                </a:cubicBezTo>
                <a:cubicBezTo>
                  <a:pt x="3282373" y="349803"/>
                  <a:pt x="3284021" y="346207"/>
                  <a:pt x="3287043" y="343264"/>
                </a:cubicBezTo>
                <a:lnTo>
                  <a:pt x="3298030" y="336726"/>
                </a:lnTo>
                <a:lnTo>
                  <a:pt x="3299129" y="331278"/>
                </a:lnTo>
                <a:cubicBezTo>
                  <a:pt x="3300502" y="324303"/>
                  <a:pt x="3302151" y="317656"/>
                  <a:pt x="3304074" y="317438"/>
                </a:cubicBezTo>
                <a:cubicBezTo>
                  <a:pt x="3304074" y="317438"/>
                  <a:pt x="3304074" y="317438"/>
                  <a:pt x="3307370" y="317111"/>
                </a:cubicBezTo>
                <a:cubicBezTo>
                  <a:pt x="3309842" y="307304"/>
                  <a:pt x="3317533" y="300112"/>
                  <a:pt x="3328247" y="295099"/>
                </a:cubicBezTo>
                <a:cubicBezTo>
                  <a:pt x="3338960" y="290086"/>
                  <a:pt x="3352145" y="287253"/>
                  <a:pt x="3365880" y="286054"/>
                </a:cubicBezTo>
                <a:close/>
                <a:moveTo>
                  <a:pt x="2757706" y="285945"/>
                </a:moveTo>
                <a:cubicBezTo>
                  <a:pt x="2759079" y="285509"/>
                  <a:pt x="2761002" y="286054"/>
                  <a:pt x="2762650" y="286925"/>
                </a:cubicBezTo>
                <a:cubicBezTo>
                  <a:pt x="2766221" y="288561"/>
                  <a:pt x="2765397" y="291938"/>
                  <a:pt x="2765397" y="291938"/>
                </a:cubicBezTo>
                <a:cubicBezTo>
                  <a:pt x="2763748" y="297060"/>
                  <a:pt x="2759903" y="299893"/>
                  <a:pt x="2754959" y="298695"/>
                </a:cubicBezTo>
                <a:cubicBezTo>
                  <a:pt x="2753035" y="296406"/>
                  <a:pt x="2753585" y="293246"/>
                  <a:pt x="2754135" y="289977"/>
                </a:cubicBezTo>
                <a:cubicBezTo>
                  <a:pt x="2755233" y="287362"/>
                  <a:pt x="2756332" y="286272"/>
                  <a:pt x="2757706" y="285945"/>
                </a:cubicBezTo>
                <a:close/>
                <a:moveTo>
                  <a:pt x="3302975" y="283656"/>
                </a:moveTo>
                <a:cubicBezTo>
                  <a:pt x="3305172" y="284093"/>
                  <a:pt x="3307095" y="285073"/>
                  <a:pt x="3308744" y="286708"/>
                </a:cubicBezTo>
                <a:cubicBezTo>
                  <a:pt x="3310941" y="288778"/>
                  <a:pt x="3312590" y="292047"/>
                  <a:pt x="3313139" y="296624"/>
                </a:cubicBezTo>
                <a:cubicBezTo>
                  <a:pt x="3312590" y="302509"/>
                  <a:pt x="3303524" y="307195"/>
                  <a:pt x="3296932" y="307304"/>
                </a:cubicBezTo>
                <a:cubicBezTo>
                  <a:pt x="3294734" y="307304"/>
                  <a:pt x="3292537" y="306868"/>
                  <a:pt x="3291163" y="305778"/>
                </a:cubicBezTo>
                <a:cubicBezTo>
                  <a:pt x="3290338" y="301855"/>
                  <a:pt x="3289240" y="298041"/>
                  <a:pt x="3288141" y="294118"/>
                </a:cubicBezTo>
                <a:cubicBezTo>
                  <a:pt x="3290338" y="286599"/>
                  <a:pt x="3296932" y="282567"/>
                  <a:pt x="3302975" y="283656"/>
                </a:cubicBezTo>
                <a:close/>
                <a:moveTo>
                  <a:pt x="5136563" y="283439"/>
                </a:moveTo>
                <a:cubicBezTo>
                  <a:pt x="5146727" y="288452"/>
                  <a:pt x="5150298" y="317438"/>
                  <a:pt x="5136013" y="323758"/>
                </a:cubicBezTo>
                <a:cubicBezTo>
                  <a:pt x="5135190" y="313188"/>
                  <a:pt x="5135739" y="303272"/>
                  <a:pt x="5129970" y="290303"/>
                </a:cubicBezTo>
                <a:cubicBezTo>
                  <a:pt x="5133816" y="288887"/>
                  <a:pt x="5131618" y="284310"/>
                  <a:pt x="5136563" y="283439"/>
                </a:cubicBezTo>
                <a:close/>
                <a:moveTo>
                  <a:pt x="5624696" y="281150"/>
                </a:moveTo>
                <a:cubicBezTo>
                  <a:pt x="5624970" y="282567"/>
                  <a:pt x="5625245" y="283984"/>
                  <a:pt x="5626619" y="283439"/>
                </a:cubicBezTo>
                <a:cubicBezTo>
                  <a:pt x="5624696" y="287253"/>
                  <a:pt x="5623322" y="287688"/>
                  <a:pt x="5622224" y="289650"/>
                </a:cubicBezTo>
                <a:cubicBezTo>
                  <a:pt x="5623597" y="289106"/>
                  <a:pt x="5622499" y="291067"/>
                  <a:pt x="5622499" y="291067"/>
                </a:cubicBezTo>
                <a:cubicBezTo>
                  <a:pt x="5622499" y="291067"/>
                  <a:pt x="5622499" y="291067"/>
                  <a:pt x="5626069" y="292810"/>
                </a:cubicBezTo>
                <a:cubicBezTo>
                  <a:pt x="5626069" y="292810"/>
                  <a:pt x="5633486" y="297605"/>
                  <a:pt x="5629640" y="306541"/>
                </a:cubicBezTo>
                <a:cubicBezTo>
                  <a:pt x="5627992" y="305669"/>
                  <a:pt x="5621674" y="317003"/>
                  <a:pt x="5615631" y="316240"/>
                </a:cubicBezTo>
                <a:cubicBezTo>
                  <a:pt x="5612335" y="315912"/>
                  <a:pt x="5610412" y="315041"/>
                  <a:pt x="5607390" y="314605"/>
                </a:cubicBezTo>
                <a:cubicBezTo>
                  <a:pt x="5606841" y="312535"/>
                  <a:pt x="5605467" y="310899"/>
                  <a:pt x="5604368" y="308393"/>
                </a:cubicBezTo>
                <a:cubicBezTo>
                  <a:pt x="5603269" y="305996"/>
                  <a:pt x="5602995" y="302727"/>
                  <a:pt x="5604643" y="297605"/>
                </a:cubicBezTo>
                <a:cubicBezTo>
                  <a:pt x="5609312" y="286817"/>
                  <a:pt x="5619476" y="290631"/>
                  <a:pt x="5619202" y="289323"/>
                </a:cubicBezTo>
                <a:cubicBezTo>
                  <a:pt x="5620026" y="287362"/>
                  <a:pt x="5620026" y="287362"/>
                  <a:pt x="5619751" y="286054"/>
                </a:cubicBezTo>
                <a:cubicBezTo>
                  <a:pt x="5621125" y="285509"/>
                  <a:pt x="5623597" y="283111"/>
                  <a:pt x="5624696" y="281150"/>
                </a:cubicBezTo>
                <a:close/>
                <a:moveTo>
                  <a:pt x="4177054" y="279951"/>
                </a:moveTo>
                <a:cubicBezTo>
                  <a:pt x="4181723" y="281259"/>
                  <a:pt x="4185569" y="284201"/>
                  <a:pt x="4182548" y="289868"/>
                </a:cubicBezTo>
                <a:cubicBezTo>
                  <a:pt x="4181998" y="290740"/>
                  <a:pt x="4181449" y="291721"/>
                  <a:pt x="4181174" y="292266"/>
                </a:cubicBezTo>
                <a:cubicBezTo>
                  <a:pt x="4180625" y="292810"/>
                  <a:pt x="4180350" y="292920"/>
                  <a:pt x="4180075" y="292266"/>
                </a:cubicBezTo>
                <a:cubicBezTo>
                  <a:pt x="4178702" y="292701"/>
                  <a:pt x="4178427" y="291393"/>
                  <a:pt x="4176779" y="290522"/>
                </a:cubicBezTo>
                <a:cubicBezTo>
                  <a:pt x="4175680" y="289323"/>
                  <a:pt x="4174856" y="287798"/>
                  <a:pt x="4174581" y="286272"/>
                </a:cubicBezTo>
                <a:cubicBezTo>
                  <a:pt x="4174032" y="284638"/>
                  <a:pt x="4174032" y="283221"/>
                  <a:pt x="4174581" y="282240"/>
                </a:cubicBezTo>
                <a:cubicBezTo>
                  <a:pt x="4175680" y="280387"/>
                  <a:pt x="4177054" y="279951"/>
                  <a:pt x="4177054" y="279951"/>
                </a:cubicBezTo>
                <a:close/>
                <a:moveTo>
                  <a:pt x="5227762" y="277214"/>
                </a:moveTo>
                <a:cubicBezTo>
                  <a:pt x="5233119" y="277990"/>
                  <a:pt x="5238887" y="280006"/>
                  <a:pt x="5243969" y="282894"/>
                </a:cubicBezTo>
                <a:cubicBezTo>
                  <a:pt x="5254132" y="288778"/>
                  <a:pt x="5261824" y="298041"/>
                  <a:pt x="5257979" y="307958"/>
                </a:cubicBezTo>
                <a:cubicBezTo>
                  <a:pt x="5246166" y="291938"/>
                  <a:pt x="5223641" y="299022"/>
                  <a:pt x="5214027" y="278971"/>
                </a:cubicBezTo>
                <a:cubicBezTo>
                  <a:pt x="5217461" y="276900"/>
                  <a:pt x="5222405" y="276437"/>
                  <a:pt x="5227762" y="277214"/>
                </a:cubicBezTo>
                <a:close/>
                <a:moveTo>
                  <a:pt x="1497955" y="276028"/>
                </a:moveTo>
                <a:cubicBezTo>
                  <a:pt x="1507844" y="281041"/>
                  <a:pt x="1511689" y="310028"/>
                  <a:pt x="1497131" y="316349"/>
                </a:cubicBezTo>
                <a:cubicBezTo>
                  <a:pt x="1496581" y="305887"/>
                  <a:pt x="1497131" y="295861"/>
                  <a:pt x="1491362" y="282785"/>
                </a:cubicBezTo>
                <a:cubicBezTo>
                  <a:pt x="1495208" y="281368"/>
                  <a:pt x="1493011" y="276900"/>
                  <a:pt x="1497955" y="276028"/>
                </a:cubicBezTo>
                <a:close/>
                <a:moveTo>
                  <a:pt x="4192986" y="274394"/>
                </a:moveTo>
                <a:cubicBezTo>
                  <a:pt x="4194085" y="274612"/>
                  <a:pt x="4195458" y="275265"/>
                  <a:pt x="4196832" y="275374"/>
                </a:cubicBezTo>
                <a:lnTo>
                  <a:pt x="4193811" y="280932"/>
                </a:lnTo>
                <a:cubicBezTo>
                  <a:pt x="4192986" y="280606"/>
                  <a:pt x="4191887" y="279733"/>
                  <a:pt x="4191338" y="278862"/>
                </a:cubicBezTo>
                <a:cubicBezTo>
                  <a:pt x="4190788" y="277990"/>
                  <a:pt x="4190514" y="277118"/>
                  <a:pt x="4191063" y="276138"/>
                </a:cubicBezTo>
                <a:cubicBezTo>
                  <a:pt x="4191338" y="274612"/>
                  <a:pt x="4192162" y="274176"/>
                  <a:pt x="4192986" y="274394"/>
                </a:cubicBezTo>
                <a:close/>
                <a:moveTo>
                  <a:pt x="1985812" y="273849"/>
                </a:moveTo>
                <a:cubicBezTo>
                  <a:pt x="1986362" y="275265"/>
                  <a:pt x="1986637" y="276573"/>
                  <a:pt x="1988011" y="276028"/>
                </a:cubicBezTo>
                <a:cubicBezTo>
                  <a:pt x="1986087" y="279842"/>
                  <a:pt x="1984439" y="280387"/>
                  <a:pt x="1983615" y="282240"/>
                </a:cubicBezTo>
                <a:cubicBezTo>
                  <a:pt x="1984989" y="281804"/>
                  <a:pt x="1983890" y="283656"/>
                  <a:pt x="1983890" y="283656"/>
                </a:cubicBezTo>
                <a:cubicBezTo>
                  <a:pt x="1983890" y="283656"/>
                  <a:pt x="1983890" y="283656"/>
                  <a:pt x="1987461" y="285400"/>
                </a:cubicBezTo>
                <a:cubicBezTo>
                  <a:pt x="1987461" y="285400"/>
                  <a:pt x="1994603" y="290303"/>
                  <a:pt x="1991032" y="299239"/>
                </a:cubicBezTo>
                <a:cubicBezTo>
                  <a:pt x="1989109" y="298368"/>
                  <a:pt x="1983066" y="309701"/>
                  <a:pt x="1976748" y="308938"/>
                </a:cubicBezTo>
                <a:cubicBezTo>
                  <a:pt x="1973726" y="308612"/>
                  <a:pt x="1971804" y="307739"/>
                  <a:pt x="1968782" y="307304"/>
                </a:cubicBezTo>
                <a:cubicBezTo>
                  <a:pt x="1968232" y="305233"/>
                  <a:pt x="1966859" y="303599"/>
                  <a:pt x="1965760" y="301092"/>
                </a:cubicBezTo>
                <a:cubicBezTo>
                  <a:pt x="1964661" y="298586"/>
                  <a:pt x="1964112" y="295425"/>
                  <a:pt x="1966035" y="290303"/>
                </a:cubicBezTo>
                <a:cubicBezTo>
                  <a:pt x="1970705" y="279407"/>
                  <a:pt x="1980593" y="283330"/>
                  <a:pt x="1980319" y="281913"/>
                </a:cubicBezTo>
                <a:cubicBezTo>
                  <a:pt x="1981418" y="280061"/>
                  <a:pt x="1981418" y="280061"/>
                  <a:pt x="1981143" y="278644"/>
                </a:cubicBezTo>
                <a:cubicBezTo>
                  <a:pt x="1982517" y="278208"/>
                  <a:pt x="1984989" y="275702"/>
                  <a:pt x="1985812" y="273849"/>
                </a:cubicBezTo>
                <a:close/>
                <a:moveTo>
                  <a:pt x="1589051" y="269803"/>
                </a:moveTo>
                <a:cubicBezTo>
                  <a:pt x="1594373" y="270580"/>
                  <a:pt x="1600142" y="272596"/>
                  <a:pt x="1605361" y="275483"/>
                </a:cubicBezTo>
                <a:cubicBezTo>
                  <a:pt x="1615524" y="281259"/>
                  <a:pt x="1622941" y="290631"/>
                  <a:pt x="1619370" y="300547"/>
                </a:cubicBezTo>
                <a:cubicBezTo>
                  <a:pt x="1607558" y="284419"/>
                  <a:pt x="1585033" y="291611"/>
                  <a:pt x="1575419" y="271561"/>
                </a:cubicBezTo>
                <a:cubicBezTo>
                  <a:pt x="1578853" y="269490"/>
                  <a:pt x="1583728" y="269027"/>
                  <a:pt x="1589051" y="269803"/>
                </a:cubicBezTo>
                <a:close/>
                <a:moveTo>
                  <a:pt x="5208258" y="268401"/>
                </a:moveTo>
                <a:cubicBezTo>
                  <a:pt x="5208808" y="268618"/>
                  <a:pt x="5209632" y="269055"/>
                  <a:pt x="5211005" y="269272"/>
                </a:cubicBezTo>
                <a:cubicBezTo>
                  <a:pt x="5212653" y="270144"/>
                  <a:pt x="5214027" y="269599"/>
                  <a:pt x="5212928" y="271342"/>
                </a:cubicBezTo>
                <a:cubicBezTo>
                  <a:pt x="5212104" y="273195"/>
                  <a:pt x="5212104" y="273195"/>
                  <a:pt x="5207983" y="274612"/>
                </a:cubicBezTo>
                <a:cubicBezTo>
                  <a:pt x="5209083" y="272869"/>
                  <a:pt x="5209083" y="272869"/>
                  <a:pt x="5207159" y="271996"/>
                </a:cubicBezTo>
                <a:cubicBezTo>
                  <a:pt x="5207159" y="271996"/>
                  <a:pt x="5207434" y="271996"/>
                  <a:pt x="5206061" y="272432"/>
                </a:cubicBezTo>
                <a:cubicBezTo>
                  <a:pt x="5205511" y="271125"/>
                  <a:pt x="5206885" y="270689"/>
                  <a:pt x="5206610" y="269381"/>
                </a:cubicBezTo>
                <a:cubicBezTo>
                  <a:pt x="5206610" y="269381"/>
                  <a:pt x="5207983" y="268836"/>
                  <a:pt x="5207983" y="268836"/>
                </a:cubicBezTo>
                <a:cubicBezTo>
                  <a:pt x="5207709" y="268182"/>
                  <a:pt x="5207983" y="268182"/>
                  <a:pt x="5208258" y="268401"/>
                </a:cubicBezTo>
                <a:close/>
                <a:moveTo>
                  <a:pt x="6020806" y="266439"/>
                </a:moveTo>
                <a:cubicBezTo>
                  <a:pt x="6024377" y="268182"/>
                  <a:pt x="6027124" y="274612"/>
                  <a:pt x="6024926" y="278535"/>
                </a:cubicBezTo>
                <a:cubicBezTo>
                  <a:pt x="6020531" y="281259"/>
                  <a:pt x="6018883" y="278753"/>
                  <a:pt x="6016136" y="280715"/>
                </a:cubicBezTo>
                <a:cubicBezTo>
                  <a:pt x="6013389" y="274394"/>
                  <a:pt x="6015587" y="270471"/>
                  <a:pt x="6020806" y="266439"/>
                </a:cubicBezTo>
                <a:close/>
                <a:moveTo>
                  <a:pt x="3696887" y="262080"/>
                </a:moveTo>
                <a:cubicBezTo>
                  <a:pt x="3699909" y="259574"/>
                  <a:pt x="3706776" y="259682"/>
                  <a:pt x="3709523" y="263170"/>
                </a:cubicBezTo>
                <a:cubicBezTo>
                  <a:pt x="3710073" y="268291"/>
                  <a:pt x="3707325" y="268836"/>
                  <a:pt x="3708149" y="271996"/>
                </a:cubicBezTo>
                <a:cubicBezTo>
                  <a:pt x="3701008" y="271887"/>
                  <a:pt x="3698260" y="268401"/>
                  <a:pt x="3696887" y="262080"/>
                </a:cubicBezTo>
                <a:close/>
                <a:moveTo>
                  <a:pt x="4667659" y="261862"/>
                </a:moveTo>
                <a:cubicBezTo>
                  <a:pt x="4656946" y="270035"/>
                  <a:pt x="4639091" y="283111"/>
                  <a:pt x="4626454" y="283439"/>
                </a:cubicBezTo>
                <a:cubicBezTo>
                  <a:pt x="4624257" y="266984"/>
                  <a:pt x="4657495" y="260119"/>
                  <a:pt x="4667659" y="261862"/>
                </a:cubicBezTo>
                <a:close/>
                <a:moveTo>
                  <a:pt x="5528196" y="261635"/>
                </a:moveTo>
                <a:cubicBezTo>
                  <a:pt x="5532201" y="262441"/>
                  <a:pt x="5536725" y="264341"/>
                  <a:pt x="5541738" y="267638"/>
                </a:cubicBezTo>
                <a:cubicBezTo>
                  <a:pt x="5546133" y="277772"/>
                  <a:pt x="5541463" y="289977"/>
                  <a:pt x="5530476" y="302182"/>
                </a:cubicBezTo>
                <a:cubicBezTo>
                  <a:pt x="5497546" y="303993"/>
                  <a:pt x="5500160" y="255996"/>
                  <a:pt x="5528196" y="261635"/>
                </a:cubicBezTo>
                <a:close/>
                <a:moveTo>
                  <a:pt x="3911699" y="261535"/>
                </a:moveTo>
                <a:cubicBezTo>
                  <a:pt x="3913347" y="264041"/>
                  <a:pt x="3915269" y="263279"/>
                  <a:pt x="3915544" y="268401"/>
                </a:cubicBezTo>
                <a:cubicBezTo>
                  <a:pt x="3913621" y="269055"/>
                  <a:pt x="3911699" y="269817"/>
                  <a:pt x="3909775" y="270471"/>
                </a:cubicBezTo>
                <a:cubicBezTo>
                  <a:pt x="3908677" y="266657"/>
                  <a:pt x="3907853" y="262843"/>
                  <a:pt x="3911699" y="261535"/>
                </a:cubicBezTo>
                <a:close/>
                <a:moveTo>
                  <a:pt x="1569651" y="261099"/>
                </a:moveTo>
                <a:cubicBezTo>
                  <a:pt x="1569926" y="261317"/>
                  <a:pt x="1570749" y="261644"/>
                  <a:pt x="1572397" y="261862"/>
                </a:cubicBezTo>
                <a:cubicBezTo>
                  <a:pt x="1574045" y="262625"/>
                  <a:pt x="1575419" y="262189"/>
                  <a:pt x="1574320" y="264041"/>
                </a:cubicBezTo>
                <a:cubicBezTo>
                  <a:pt x="1573221" y="265785"/>
                  <a:pt x="1573495" y="265894"/>
                  <a:pt x="1569376" y="267311"/>
                </a:cubicBezTo>
                <a:cubicBezTo>
                  <a:pt x="1570474" y="265458"/>
                  <a:pt x="1570200" y="265458"/>
                  <a:pt x="1568551" y="264695"/>
                </a:cubicBezTo>
                <a:cubicBezTo>
                  <a:pt x="1568551" y="264695"/>
                  <a:pt x="1568551" y="264587"/>
                  <a:pt x="1567452" y="265131"/>
                </a:cubicBezTo>
                <a:cubicBezTo>
                  <a:pt x="1566903" y="263823"/>
                  <a:pt x="1568277" y="263388"/>
                  <a:pt x="1568002" y="262080"/>
                </a:cubicBezTo>
                <a:cubicBezTo>
                  <a:pt x="1568002" y="262080"/>
                  <a:pt x="1569376" y="261535"/>
                  <a:pt x="1569376" y="261535"/>
                </a:cubicBezTo>
                <a:cubicBezTo>
                  <a:pt x="1569101" y="260881"/>
                  <a:pt x="1569101" y="260881"/>
                  <a:pt x="1569651" y="261099"/>
                </a:cubicBezTo>
                <a:close/>
                <a:moveTo>
                  <a:pt x="2382197" y="259137"/>
                </a:moveTo>
                <a:cubicBezTo>
                  <a:pt x="2385769" y="260881"/>
                  <a:pt x="2388240" y="267202"/>
                  <a:pt x="2386318" y="271125"/>
                </a:cubicBezTo>
                <a:cubicBezTo>
                  <a:pt x="2381923" y="273849"/>
                  <a:pt x="2380000" y="271451"/>
                  <a:pt x="2377527" y="273413"/>
                </a:cubicBezTo>
                <a:cubicBezTo>
                  <a:pt x="2374781" y="267093"/>
                  <a:pt x="2376978" y="263170"/>
                  <a:pt x="2382197" y="259137"/>
                </a:cubicBezTo>
                <a:close/>
                <a:moveTo>
                  <a:pt x="4204524" y="259028"/>
                </a:moveTo>
                <a:cubicBezTo>
                  <a:pt x="4206172" y="259901"/>
                  <a:pt x="4210018" y="263060"/>
                  <a:pt x="4208643" y="263605"/>
                </a:cubicBezTo>
                <a:cubicBezTo>
                  <a:pt x="4207819" y="265458"/>
                  <a:pt x="4208918" y="265022"/>
                  <a:pt x="4209468" y="266439"/>
                </a:cubicBezTo>
                <a:cubicBezTo>
                  <a:pt x="4206446" y="272105"/>
                  <a:pt x="4202600" y="274939"/>
                  <a:pt x="4197930" y="273631"/>
                </a:cubicBezTo>
                <a:cubicBezTo>
                  <a:pt x="4195184" y="272324"/>
                  <a:pt x="4191612" y="270471"/>
                  <a:pt x="4190788" y="267419"/>
                </a:cubicBezTo>
                <a:cubicBezTo>
                  <a:pt x="4190514" y="266439"/>
                  <a:pt x="4190514" y="265349"/>
                  <a:pt x="4190788" y="264041"/>
                </a:cubicBezTo>
                <a:cubicBezTo>
                  <a:pt x="4192162" y="263496"/>
                  <a:pt x="4191887" y="262080"/>
                  <a:pt x="4193261" y="261644"/>
                </a:cubicBezTo>
                <a:cubicBezTo>
                  <a:pt x="4193261" y="261644"/>
                  <a:pt x="4194360" y="260336"/>
                  <a:pt x="4196557" y="259465"/>
                </a:cubicBezTo>
                <a:cubicBezTo>
                  <a:pt x="4198480" y="258483"/>
                  <a:pt x="4201227" y="257939"/>
                  <a:pt x="4204524" y="259028"/>
                </a:cubicBezTo>
                <a:close/>
                <a:moveTo>
                  <a:pt x="5350001" y="258048"/>
                </a:moveTo>
                <a:cubicBezTo>
                  <a:pt x="5351375" y="257721"/>
                  <a:pt x="5353022" y="258266"/>
                  <a:pt x="5354946" y="259137"/>
                </a:cubicBezTo>
                <a:cubicBezTo>
                  <a:pt x="5358516" y="260881"/>
                  <a:pt x="5357692" y="264150"/>
                  <a:pt x="5357692" y="264150"/>
                </a:cubicBezTo>
                <a:cubicBezTo>
                  <a:pt x="5355770" y="269272"/>
                  <a:pt x="5352199" y="272105"/>
                  <a:pt x="5347254" y="270906"/>
                </a:cubicBezTo>
                <a:cubicBezTo>
                  <a:pt x="5345057" y="268618"/>
                  <a:pt x="5345881" y="265458"/>
                  <a:pt x="5346430" y="262189"/>
                </a:cubicBezTo>
                <a:cubicBezTo>
                  <a:pt x="5347254" y="259574"/>
                  <a:pt x="5348627" y="258375"/>
                  <a:pt x="5350001" y="258048"/>
                </a:cubicBezTo>
                <a:close/>
                <a:moveTo>
                  <a:pt x="5895270" y="255977"/>
                </a:moveTo>
                <a:cubicBezTo>
                  <a:pt x="5897193" y="256304"/>
                  <a:pt x="5899116" y="257285"/>
                  <a:pt x="5900764" y="258920"/>
                </a:cubicBezTo>
                <a:cubicBezTo>
                  <a:pt x="5902961" y="260990"/>
                  <a:pt x="5904610" y="264259"/>
                  <a:pt x="5905434" y="268836"/>
                </a:cubicBezTo>
                <a:cubicBezTo>
                  <a:pt x="5904610" y="274720"/>
                  <a:pt x="5895819" y="279407"/>
                  <a:pt x="5888952" y="279516"/>
                </a:cubicBezTo>
                <a:cubicBezTo>
                  <a:pt x="5886754" y="279625"/>
                  <a:pt x="5884832" y="279080"/>
                  <a:pt x="5883459" y="277990"/>
                </a:cubicBezTo>
                <a:cubicBezTo>
                  <a:pt x="5882360" y="274067"/>
                  <a:pt x="5881261" y="270253"/>
                  <a:pt x="5880162" y="266329"/>
                </a:cubicBezTo>
                <a:cubicBezTo>
                  <a:pt x="5882360" y="258920"/>
                  <a:pt x="5889227" y="254778"/>
                  <a:pt x="5895270" y="255977"/>
                </a:cubicBezTo>
                <a:close/>
                <a:moveTo>
                  <a:pt x="3136784" y="253689"/>
                </a:moveTo>
                <a:cubicBezTo>
                  <a:pt x="3143102" y="255214"/>
                  <a:pt x="3149970" y="266548"/>
                  <a:pt x="3132664" y="266112"/>
                </a:cubicBezTo>
                <a:cubicBezTo>
                  <a:pt x="3129917" y="255324"/>
                  <a:pt x="3133213" y="252708"/>
                  <a:pt x="3136784" y="253689"/>
                </a:cubicBezTo>
                <a:close/>
                <a:moveTo>
                  <a:pt x="1711393" y="250638"/>
                </a:moveTo>
                <a:cubicBezTo>
                  <a:pt x="1712766" y="250311"/>
                  <a:pt x="1714414" y="250965"/>
                  <a:pt x="1716063" y="251728"/>
                </a:cubicBezTo>
                <a:cubicBezTo>
                  <a:pt x="1719634" y="253470"/>
                  <a:pt x="1719084" y="256741"/>
                  <a:pt x="1719084" y="256741"/>
                </a:cubicBezTo>
                <a:cubicBezTo>
                  <a:pt x="1717161" y="261862"/>
                  <a:pt x="1713590" y="264804"/>
                  <a:pt x="1708646" y="263605"/>
                </a:cubicBezTo>
                <a:cubicBezTo>
                  <a:pt x="1706448" y="261317"/>
                  <a:pt x="1707273" y="258048"/>
                  <a:pt x="1707821" y="254888"/>
                </a:cubicBezTo>
                <a:cubicBezTo>
                  <a:pt x="1708646" y="252273"/>
                  <a:pt x="1709745" y="251074"/>
                  <a:pt x="1711393" y="250638"/>
                </a:cubicBezTo>
                <a:close/>
                <a:moveTo>
                  <a:pt x="2256662" y="248567"/>
                </a:moveTo>
                <a:cubicBezTo>
                  <a:pt x="2258585" y="249003"/>
                  <a:pt x="2260508" y="249875"/>
                  <a:pt x="2262156" y="251400"/>
                </a:cubicBezTo>
                <a:cubicBezTo>
                  <a:pt x="2264354" y="253580"/>
                  <a:pt x="2266002" y="256958"/>
                  <a:pt x="2266826" y="261535"/>
                </a:cubicBezTo>
                <a:cubicBezTo>
                  <a:pt x="2266002" y="267419"/>
                  <a:pt x="2257211" y="272105"/>
                  <a:pt x="2250344" y="272215"/>
                </a:cubicBezTo>
                <a:cubicBezTo>
                  <a:pt x="2248147" y="272215"/>
                  <a:pt x="2246223" y="271670"/>
                  <a:pt x="2244850" y="270580"/>
                </a:cubicBezTo>
                <a:cubicBezTo>
                  <a:pt x="2243751" y="266657"/>
                  <a:pt x="2242653" y="262843"/>
                  <a:pt x="2241553" y="258920"/>
                </a:cubicBezTo>
                <a:cubicBezTo>
                  <a:pt x="2243751" y="251400"/>
                  <a:pt x="2250619" y="247477"/>
                  <a:pt x="2256662" y="248567"/>
                </a:cubicBezTo>
                <a:close/>
                <a:moveTo>
                  <a:pt x="2627774" y="245407"/>
                </a:moveTo>
                <a:cubicBezTo>
                  <a:pt x="2629698" y="253253"/>
                  <a:pt x="2626951" y="258702"/>
                  <a:pt x="2620907" y="264259"/>
                </a:cubicBezTo>
                <a:cubicBezTo>
                  <a:pt x="2619809" y="263605"/>
                  <a:pt x="2618710" y="261862"/>
                  <a:pt x="2618161" y="259791"/>
                </a:cubicBezTo>
                <a:cubicBezTo>
                  <a:pt x="2617336" y="257612"/>
                  <a:pt x="2616786" y="255214"/>
                  <a:pt x="2616238" y="253362"/>
                </a:cubicBezTo>
                <a:cubicBezTo>
                  <a:pt x="2618435" y="249221"/>
                  <a:pt x="2622830" y="246279"/>
                  <a:pt x="2627774" y="245407"/>
                </a:cubicBezTo>
                <a:close/>
                <a:moveTo>
                  <a:pt x="3085966" y="242574"/>
                </a:moveTo>
                <a:cubicBezTo>
                  <a:pt x="3088987" y="254343"/>
                  <a:pt x="3093382" y="266657"/>
                  <a:pt x="3085417" y="272759"/>
                </a:cubicBezTo>
                <a:cubicBezTo>
                  <a:pt x="3081296" y="271561"/>
                  <a:pt x="3079098" y="267528"/>
                  <a:pt x="3078274" y="262843"/>
                </a:cubicBezTo>
                <a:cubicBezTo>
                  <a:pt x="3077175" y="258048"/>
                  <a:pt x="3077450" y="252708"/>
                  <a:pt x="3077999" y="248676"/>
                </a:cubicBezTo>
                <a:cubicBezTo>
                  <a:pt x="3081845" y="247260"/>
                  <a:pt x="3082120" y="243990"/>
                  <a:pt x="3085966" y="242574"/>
                </a:cubicBezTo>
                <a:close/>
                <a:moveTo>
                  <a:pt x="3887800" y="240939"/>
                </a:moveTo>
                <a:cubicBezTo>
                  <a:pt x="3897689" y="245952"/>
                  <a:pt x="3901535" y="274830"/>
                  <a:pt x="3886976" y="281150"/>
                </a:cubicBezTo>
                <a:cubicBezTo>
                  <a:pt x="3886427" y="270689"/>
                  <a:pt x="3886976" y="260772"/>
                  <a:pt x="3881207" y="247695"/>
                </a:cubicBezTo>
                <a:cubicBezTo>
                  <a:pt x="3885053" y="246279"/>
                  <a:pt x="3882581" y="241702"/>
                  <a:pt x="3887800" y="240939"/>
                </a:cubicBezTo>
                <a:close/>
                <a:moveTo>
                  <a:pt x="4375658" y="238651"/>
                </a:moveTo>
                <a:cubicBezTo>
                  <a:pt x="4376207" y="240067"/>
                  <a:pt x="4376482" y="241484"/>
                  <a:pt x="4377856" y="240939"/>
                </a:cubicBezTo>
                <a:cubicBezTo>
                  <a:pt x="4375658" y="244753"/>
                  <a:pt x="4374285" y="245189"/>
                  <a:pt x="4373461" y="247042"/>
                </a:cubicBezTo>
                <a:cubicBezTo>
                  <a:pt x="4374834" y="246606"/>
                  <a:pt x="4373736" y="248458"/>
                  <a:pt x="4373736" y="248458"/>
                </a:cubicBezTo>
                <a:cubicBezTo>
                  <a:pt x="4373736" y="248458"/>
                  <a:pt x="4373736" y="248458"/>
                  <a:pt x="4377306" y="250201"/>
                </a:cubicBezTo>
                <a:cubicBezTo>
                  <a:pt x="4377306" y="250201"/>
                  <a:pt x="4384449" y="255106"/>
                  <a:pt x="4380877" y="264041"/>
                </a:cubicBezTo>
                <a:cubicBezTo>
                  <a:pt x="4378955" y="263170"/>
                  <a:pt x="4372912" y="274503"/>
                  <a:pt x="4366593" y="273740"/>
                </a:cubicBezTo>
                <a:cubicBezTo>
                  <a:pt x="4363572" y="273413"/>
                  <a:pt x="4361924" y="272432"/>
                  <a:pt x="4358627" y="272105"/>
                </a:cubicBezTo>
                <a:cubicBezTo>
                  <a:pt x="4358078" y="270035"/>
                  <a:pt x="4356430" y="268401"/>
                  <a:pt x="4355605" y="265894"/>
                </a:cubicBezTo>
                <a:cubicBezTo>
                  <a:pt x="4354506" y="263388"/>
                  <a:pt x="4353957" y="260227"/>
                  <a:pt x="4355880" y="255106"/>
                </a:cubicBezTo>
                <a:cubicBezTo>
                  <a:pt x="4360550" y="244208"/>
                  <a:pt x="4370713" y="248131"/>
                  <a:pt x="4370439" y="246715"/>
                </a:cubicBezTo>
                <a:cubicBezTo>
                  <a:pt x="4371263" y="244862"/>
                  <a:pt x="4371263" y="244862"/>
                  <a:pt x="4370988" y="243445"/>
                </a:cubicBezTo>
                <a:cubicBezTo>
                  <a:pt x="4372362" y="243010"/>
                  <a:pt x="4374834" y="240504"/>
                  <a:pt x="4375658" y="238651"/>
                </a:cubicBezTo>
                <a:close/>
                <a:moveTo>
                  <a:pt x="3978896" y="234714"/>
                </a:moveTo>
                <a:cubicBezTo>
                  <a:pt x="3984218" y="235490"/>
                  <a:pt x="3989987" y="237506"/>
                  <a:pt x="3995206" y="240394"/>
                </a:cubicBezTo>
                <a:cubicBezTo>
                  <a:pt x="4005370" y="246170"/>
                  <a:pt x="4012786" y="255542"/>
                  <a:pt x="4009216" y="265458"/>
                </a:cubicBezTo>
                <a:cubicBezTo>
                  <a:pt x="3997404" y="249330"/>
                  <a:pt x="3974878" y="256522"/>
                  <a:pt x="3965264" y="236471"/>
                </a:cubicBezTo>
                <a:cubicBezTo>
                  <a:pt x="3968698" y="234401"/>
                  <a:pt x="3973574" y="233937"/>
                  <a:pt x="3978896" y="234714"/>
                </a:cubicBezTo>
                <a:close/>
                <a:moveTo>
                  <a:pt x="6059812" y="227645"/>
                </a:moveTo>
                <a:cubicBezTo>
                  <a:pt x="6061736" y="227100"/>
                  <a:pt x="6064482" y="228625"/>
                  <a:pt x="6066680" y="228189"/>
                </a:cubicBezTo>
                <a:cubicBezTo>
                  <a:pt x="6066680" y="228189"/>
                  <a:pt x="6067504" y="229606"/>
                  <a:pt x="6068328" y="231240"/>
                </a:cubicBezTo>
                <a:cubicBezTo>
                  <a:pt x="6068878" y="232875"/>
                  <a:pt x="6069427" y="234837"/>
                  <a:pt x="6068603" y="236036"/>
                </a:cubicBezTo>
                <a:cubicBezTo>
                  <a:pt x="6068328" y="237125"/>
                  <a:pt x="6067779" y="237670"/>
                  <a:pt x="6066680" y="237888"/>
                </a:cubicBezTo>
                <a:cubicBezTo>
                  <a:pt x="6065855" y="238106"/>
                  <a:pt x="6064757" y="237997"/>
                  <a:pt x="6063383" y="237779"/>
                </a:cubicBezTo>
                <a:cubicBezTo>
                  <a:pt x="6061186" y="237235"/>
                  <a:pt x="6058714" y="236253"/>
                  <a:pt x="6057615" y="236471"/>
                </a:cubicBezTo>
                <a:cubicBezTo>
                  <a:pt x="6054868" y="234946"/>
                  <a:pt x="6052396" y="233529"/>
                  <a:pt x="6053769" y="231131"/>
                </a:cubicBezTo>
                <a:cubicBezTo>
                  <a:pt x="6055417" y="228625"/>
                  <a:pt x="6054868" y="226664"/>
                  <a:pt x="6059812" y="227645"/>
                </a:cubicBezTo>
                <a:close/>
                <a:moveTo>
                  <a:pt x="5729079" y="225901"/>
                </a:moveTo>
                <a:cubicBezTo>
                  <a:pt x="5735123" y="227426"/>
                  <a:pt x="5741991" y="238760"/>
                  <a:pt x="5724685" y="238324"/>
                </a:cubicBezTo>
                <a:cubicBezTo>
                  <a:pt x="5721938" y="227536"/>
                  <a:pt x="5725234" y="224920"/>
                  <a:pt x="5729079" y="225901"/>
                </a:cubicBezTo>
                <a:close/>
                <a:moveTo>
                  <a:pt x="3959496" y="225901"/>
                </a:moveTo>
                <a:cubicBezTo>
                  <a:pt x="3959771" y="226118"/>
                  <a:pt x="3960595" y="226555"/>
                  <a:pt x="3962242" y="226772"/>
                </a:cubicBezTo>
                <a:cubicBezTo>
                  <a:pt x="3963890" y="227536"/>
                  <a:pt x="3965264" y="226991"/>
                  <a:pt x="3964165" y="228844"/>
                </a:cubicBezTo>
                <a:cubicBezTo>
                  <a:pt x="3963066" y="230586"/>
                  <a:pt x="3963341" y="230695"/>
                  <a:pt x="3959221" y="232113"/>
                </a:cubicBezTo>
                <a:cubicBezTo>
                  <a:pt x="3960320" y="230260"/>
                  <a:pt x="3960320" y="230260"/>
                  <a:pt x="3958671" y="229496"/>
                </a:cubicBezTo>
                <a:cubicBezTo>
                  <a:pt x="3958671" y="229496"/>
                  <a:pt x="3958671" y="229388"/>
                  <a:pt x="3957298" y="229933"/>
                </a:cubicBezTo>
                <a:cubicBezTo>
                  <a:pt x="3957023" y="228625"/>
                  <a:pt x="3958122" y="228189"/>
                  <a:pt x="3957847" y="226882"/>
                </a:cubicBezTo>
                <a:cubicBezTo>
                  <a:pt x="3957847" y="226882"/>
                  <a:pt x="3959221" y="226337"/>
                  <a:pt x="3959221" y="226337"/>
                </a:cubicBezTo>
                <a:cubicBezTo>
                  <a:pt x="3958946" y="225683"/>
                  <a:pt x="3958946" y="225683"/>
                  <a:pt x="3959496" y="225901"/>
                </a:cubicBezTo>
                <a:close/>
                <a:moveTo>
                  <a:pt x="4772043" y="223939"/>
                </a:moveTo>
                <a:cubicBezTo>
                  <a:pt x="4775614" y="225683"/>
                  <a:pt x="4778086" y="232113"/>
                  <a:pt x="4776163" y="236036"/>
                </a:cubicBezTo>
                <a:cubicBezTo>
                  <a:pt x="4771768" y="238760"/>
                  <a:pt x="4769846" y="236145"/>
                  <a:pt x="4767373" y="238215"/>
                </a:cubicBezTo>
                <a:cubicBezTo>
                  <a:pt x="4764626" y="231894"/>
                  <a:pt x="4766824" y="227971"/>
                  <a:pt x="4772043" y="223939"/>
                </a:cubicBezTo>
                <a:close/>
                <a:moveTo>
                  <a:pt x="2942025" y="219580"/>
                </a:moveTo>
                <a:cubicBezTo>
                  <a:pt x="2944773" y="220125"/>
                  <a:pt x="2946970" y="221869"/>
                  <a:pt x="2948069" y="225029"/>
                </a:cubicBezTo>
                <a:cubicBezTo>
                  <a:pt x="2943949" y="230478"/>
                  <a:pt x="2940103" y="237235"/>
                  <a:pt x="2934884" y="238324"/>
                </a:cubicBezTo>
                <a:cubicBezTo>
                  <a:pt x="2933236" y="238760"/>
                  <a:pt x="2931038" y="238433"/>
                  <a:pt x="2928840" y="237343"/>
                </a:cubicBezTo>
                <a:cubicBezTo>
                  <a:pt x="2923346" y="225683"/>
                  <a:pt x="2934334" y="217619"/>
                  <a:pt x="2942025" y="219580"/>
                </a:cubicBezTo>
                <a:close/>
                <a:moveTo>
                  <a:pt x="2090472" y="218491"/>
                </a:moveTo>
                <a:cubicBezTo>
                  <a:pt x="2096515" y="220125"/>
                  <a:pt x="2103382" y="231459"/>
                  <a:pt x="2086077" y="231023"/>
                </a:cubicBezTo>
                <a:cubicBezTo>
                  <a:pt x="2083329" y="220234"/>
                  <a:pt x="2086626" y="217619"/>
                  <a:pt x="2090472" y="218491"/>
                </a:cubicBezTo>
                <a:close/>
                <a:moveTo>
                  <a:pt x="5220071" y="217619"/>
                </a:moveTo>
                <a:cubicBezTo>
                  <a:pt x="5221993" y="225465"/>
                  <a:pt x="5218971" y="230805"/>
                  <a:pt x="5213202" y="236362"/>
                </a:cubicBezTo>
                <a:cubicBezTo>
                  <a:pt x="5211829" y="235817"/>
                  <a:pt x="5211005" y="234074"/>
                  <a:pt x="5210181" y="232004"/>
                </a:cubicBezTo>
                <a:cubicBezTo>
                  <a:pt x="5209357" y="229933"/>
                  <a:pt x="5208808" y="227426"/>
                  <a:pt x="5208258" y="225465"/>
                </a:cubicBezTo>
                <a:cubicBezTo>
                  <a:pt x="5210456" y="221433"/>
                  <a:pt x="5214851" y="218600"/>
                  <a:pt x="5220071" y="217619"/>
                </a:cubicBezTo>
                <a:close/>
                <a:moveTo>
                  <a:pt x="4101238" y="215440"/>
                </a:moveTo>
                <a:cubicBezTo>
                  <a:pt x="4102612" y="215112"/>
                  <a:pt x="4104259" y="215657"/>
                  <a:pt x="4106183" y="216530"/>
                </a:cubicBezTo>
                <a:cubicBezTo>
                  <a:pt x="4109479" y="218273"/>
                  <a:pt x="4108929" y="221542"/>
                  <a:pt x="4108929" y="221542"/>
                </a:cubicBezTo>
                <a:cubicBezTo>
                  <a:pt x="4107282" y="226664"/>
                  <a:pt x="4103436" y="229606"/>
                  <a:pt x="4098491" y="228407"/>
                </a:cubicBezTo>
                <a:cubicBezTo>
                  <a:pt x="4096294" y="226118"/>
                  <a:pt x="4096843" y="222849"/>
                  <a:pt x="4097667" y="219690"/>
                </a:cubicBezTo>
                <a:cubicBezTo>
                  <a:pt x="4098491" y="217074"/>
                  <a:pt x="4099590" y="215876"/>
                  <a:pt x="4101238" y="215440"/>
                </a:cubicBezTo>
                <a:close/>
                <a:moveTo>
                  <a:pt x="5677987" y="214677"/>
                </a:moveTo>
                <a:cubicBezTo>
                  <a:pt x="5681009" y="226446"/>
                  <a:pt x="5685403" y="238760"/>
                  <a:pt x="5677712" y="244862"/>
                </a:cubicBezTo>
                <a:cubicBezTo>
                  <a:pt x="5673591" y="243664"/>
                  <a:pt x="5671394" y="239631"/>
                  <a:pt x="5670295" y="234946"/>
                </a:cubicBezTo>
                <a:cubicBezTo>
                  <a:pt x="5669471" y="230260"/>
                  <a:pt x="5669471" y="224811"/>
                  <a:pt x="5670021" y="220888"/>
                </a:cubicBezTo>
                <a:cubicBezTo>
                  <a:pt x="5673866" y="219363"/>
                  <a:pt x="5674141" y="216093"/>
                  <a:pt x="5677987" y="214677"/>
                </a:cubicBezTo>
                <a:close/>
                <a:moveTo>
                  <a:pt x="4646507" y="213369"/>
                </a:moveTo>
                <a:cubicBezTo>
                  <a:pt x="4648430" y="213805"/>
                  <a:pt x="4650353" y="214786"/>
                  <a:pt x="4652001" y="216311"/>
                </a:cubicBezTo>
                <a:cubicBezTo>
                  <a:pt x="4654199" y="218491"/>
                  <a:pt x="4655847" y="221760"/>
                  <a:pt x="4656671" y="226337"/>
                </a:cubicBezTo>
                <a:cubicBezTo>
                  <a:pt x="4655847" y="232222"/>
                  <a:pt x="4647057" y="236907"/>
                  <a:pt x="4640190" y="237016"/>
                </a:cubicBezTo>
                <a:cubicBezTo>
                  <a:pt x="4637992" y="237016"/>
                  <a:pt x="4636069" y="236581"/>
                  <a:pt x="4634696" y="235491"/>
                </a:cubicBezTo>
                <a:cubicBezTo>
                  <a:pt x="4633597" y="231568"/>
                  <a:pt x="4632498" y="227645"/>
                  <a:pt x="4631399" y="223721"/>
                </a:cubicBezTo>
                <a:cubicBezTo>
                  <a:pt x="4633597" y="216202"/>
                  <a:pt x="4640464" y="212279"/>
                  <a:pt x="4646507" y="213369"/>
                </a:cubicBezTo>
                <a:close/>
                <a:moveTo>
                  <a:pt x="1581462" y="210318"/>
                </a:moveTo>
                <a:cubicBezTo>
                  <a:pt x="1583110" y="218164"/>
                  <a:pt x="1580364" y="223503"/>
                  <a:pt x="1574320" y="229061"/>
                </a:cubicBezTo>
                <a:cubicBezTo>
                  <a:pt x="1573221" y="228407"/>
                  <a:pt x="1572397" y="226664"/>
                  <a:pt x="1571573" y="224593"/>
                </a:cubicBezTo>
                <a:cubicBezTo>
                  <a:pt x="1570749" y="222413"/>
                  <a:pt x="1570200" y="220016"/>
                  <a:pt x="1569651" y="218055"/>
                </a:cubicBezTo>
                <a:cubicBezTo>
                  <a:pt x="1571848" y="214023"/>
                  <a:pt x="1576243" y="211189"/>
                  <a:pt x="1581462" y="210318"/>
                </a:cubicBezTo>
                <a:close/>
                <a:moveTo>
                  <a:pt x="2039378" y="207375"/>
                </a:moveTo>
                <a:cubicBezTo>
                  <a:pt x="2042400" y="219144"/>
                  <a:pt x="2046795" y="231459"/>
                  <a:pt x="2038829" y="237561"/>
                </a:cubicBezTo>
                <a:cubicBezTo>
                  <a:pt x="2034983" y="236362"/>
                  <a:pt x="2032786" y="232330"/>
                  <a:pt x="2031687" y="227645"/>
                </a:cubicBezTo>
                <a:cubicBezTo>
                  <a:pt x="2030863" y="222849"/>
                  <a:pt x="2030863" y="217510"/>
                  <a:pt x="2031412" y="213478"/>
                </a:cubicBezTo>
                <a:cubicBezTo>
                  <a:pt x="2035258" y="212062"/>
                  <a:pt x="2035533" y="208792"/>
                  <a:pt x="2039378" y="207375"/>
                </a:cubicBezTo>
                <a:close/>
                <a:moveTo>
                  <a:pt x="5534321" y="191792"/>
                </a:moveTo>
                <a:cubicBezTo>
                  <a:pt x="5536793" y="192446"/>
                  <a:pt x="5538991" y="194081"/>
                  <a:pt x="5540090" y="197241"/>
                </a:cubicBezTo>
                <a:cubicBezTo>
                  <a:pt x="5535969" y="202798"/>
                  <a:pt x="5532123" y="209337"/>
                  <a:pt x="5526904" y="210427"/>
                </a:cubicBezTo>
                <a:cubicBezTo>
                  <a:pt x="5525256" y="210863"/>
                  <a:pt x="5523334" y="210535"/>
                  <a:pt x="5521136" y="209446"/>
                </a:cubicBezTo>
                <a:cubicBezTo>
                  <a:pt x="5515642" y="197786"/>
                  <a:pt x="5526630" y="189831"/>
                  <a:pt x="5534321" y="191792"/>
                </a:cubicBezTo>
                <a:close/>
                <a:moveTo>
                  <a:pt x="1895713" y="184274"/>
                </a:moveTo>
                <a:cubicBezTo>
                  <a:pt x="1898185" y="184927"/>
                  <a:pt x="1900383" y="186779"/>
                  <a:pt x="1901482" y="189940"/>
                </a:cubicBezTo>
                <a:cubicBezTo>
                  <a:pt x="1897361" y="195389"/>
                  <a:pt x="1893515" y="202036"/>
                  <a:pt x="1888296" y="203126"/>
                </a:cubicBezTo>
                <a:cubicBezTo>
                  <a:pt x="1886648" y="203452"/>
                  <a:pt x="1884725" y="203235"/>
                  <a:pt x="1882527" y="202144"/>
                </a:cubicBezTo>
                <a:cubicBezTo>
                  <a:pt x="1877034" y="190484"/>
                  <a:pt x="1888021" y="182421"/>
                  <a:pt x="1895713" y="184274"/>
                </a:cubicBezTo>
                <a:close/>
                <a:moveTo>
                  <a:pt x="4480317" y="183292"/>
                </a:moveTo>
                <a:cubicBezTo>
                  <a:pt x="4486361" y="184927"/>
                  <a:pt x="4493502" y="196151"/>
                  <a:pt x="4475922" y="195825"/>
                </a:cubicBezTo>
                <a:cubicBezTo>
                  <a:pt x="4473449" y="185036"/>
                  <a:pt x="4476746" y="182421"/>
                  <a:pt x="4480317" y="183292"/>
                </a:cubicBezTo>
                <a:close/>
                <a:moveTo>
                  <a:pt x="3870220" y="181767"/>
                </a:moveTo>
                <a:cubicBezTo>
                  <a:pt x="3880933" y="181767"/>
                  <a:pt x="3889449" y="185908"/>
                  <a:pt x="3899887" y="185908"/>
                </a:cubicBezTo>
                <a:cubicBezTo>
                  <a:pt x="3901810" y="208574"/>
                  <a:pt x="3902084" y="234292"/>
                  <a:pt x="3879285" y="236362"/>
                </a:cubicBezTo>
                <a:cubicBezTo>
                  <a:pt x="3875988" y="236690"/>
                  <a:pt x="3872142" y="236471"/>
                  <a:pt x="3868022" y="235708"/>
                </a:cubicBezTo>
                <a:cubicBezTo>
                  <a:pt x="3862529" y="220779"/>
                  <a:pt x="3853189" y="193754"/>
                  <a:pt x="3870220" y="181767"/>
                </a:cubicBezTo>
                <a:close/>
                <a:moveTo>
                  <a:pt x="3971033" y="175120"/>
                </a:moveTo>
                <a:cubicBezTo>
                  <a:pt x="3972956" y="182966"/>
                  <a:pt x="3970209" y="188305"/>
                  <a:pt x="3964440" y="193862"/>
                </a:cubicBezTo>
                <a:cubicBezTo>
                  <a:pt x="3963066" y="193209"/>
                  <a:pt x="3962242" y="191466"/>
                  <a:pt x="3961418" y="189395"/>
                </a:cubicBezTo>
                <a:cubicBezTo>
                  <a:pt x="3960595" y="187215"/>
                  <a:pt x="3960045" y="184818"/>
                  <a:pt x="3959496" y="182857"/>
                </a:cubicBezTo>
                <a:cubicBezTo>
                  <a:pt x="3961693" y="178824"/>
                  <a:pt x="3966088" y="175991"/>
                  <a:pt x="3971033" y="175120"/>
                </a:cubicBezTo>
                <a:close/>
                <a:moveTo>
                  <a:pt x="4429224" y="172177"/>
                </a:moveTo>
                <a:cubicBezTo>
                  <a:pt x="4432246" y="183946"/>
                  <a:pt x="4436640" y="196260"/>
                  <a:pt x="4428674" y="202363"/>
                </a:cubicBezTo>
                <a:cubicBezTo>
                  <a:pt x="4424828" y="201164"/>
                  <a:pt x="4422631" y="197131"/>
                  <a:pt x="4421533" y="192446"/>
                </a:cubicBezTo>
                <a:cubicBezTo>
                  <a:pt x="4420708" y="187651"/>
                  <a:pt x="4420708" y="182312"/>
                  <a:pt x="4421258" y="178280"/>
                </a:cubicBezTo>
                <a:cubicBezTo>
                  <a:pt x="4425103" y="176863"/>
                  <a:pt x="4425378" y="173594"/>
                  <a:pt x="4429224" y="172177"/>
                </a:cubicBezTo>
                <a:close/>
                <a:moveTo>
                  <a:pt x="3318358" y="150382"/>
                </a:moveTo>
                <a:cubicBezTo>
                  <a:pt x="3321929" y="152235"/>
                  <a:pt x="3323852" y="154960"/>
                  <a:pt x="3324127" y="160299"/>
                </a:cubicBezTo>
                <a:cubicBezTo>
                  <a:pt x="3318633" y="164440"/>
                  <a:pt x="3320555" y="163677"/>
                  <a:pt x="3313688" y="165312"/>
                </a:cubicBezTo>
                <a:cubicBezTo>
                  <a:pt x="3312590" y="161389"/>
                  <a:pt x="3311490" y="157466"/>
                  <a:pt x="3310666" y="153543"/>
                </a:cubicBezTo>
                <a:cubicBezTo>
                  <a:pt x="3313688" y="153325"/>
                  <a:pt x="3316435" y="151145"/>
                  <a:pt x="3318358" y="150382"/>
                </a:cubicBezTo>
                <a:close/>
                <a:moveTo>
                  <a:pt x="4285559" y="149184"/>
                </a:moveTo>
                <a:cubicBezTo>
                  <a:pt x="4288031" y="149838"/>
                  <a:pt x="4290228" y="151581"/>
                  <a:pt x="4291327" y="154741"/>
                </a:cubicBezTo>
                <a:cubicBezTo>
                  <a:pt x="4287207" y="160191"/>
                  <a:pt x="4283635" y="166838"/>
                  <a:pt x="4278141" y="167928"/>
                </a:cubicBezTo>
                <a:cubicBezTo>
                  <a:pt x="4276493" y="168254"/>
                  <a:pt x="4274571" y="168037"/>
                  <a:pt x="4272373" y="166947"/>
                </a:cubicBezTo>
                <a:cubicBezTo>
                  <a:pt x="4266879" y="155286"/>
                  <a:pt x="4277867" y="147332"/>
                  <a:pt x="4285559" y="149184"/>
                </a:cubicBezTo>
                <a:close/>
                <a:moveTo>
                  <a:pt x="2800557" y="140248"/>
                </a:moveTo>
                <a:cubicBezTo>
                  <a:pt x="2806326" y="141447"/>
                  <a:pt x="2808250" y="152780"/>
                  <a:pt x="2804129" y="157684"/>
                </a:cubicBezTo>
                <a:cubicBezTo>
                  <a:pt x="2803305" y="152998"/>
                  <a:pt x="2801381" y="150165"/>
                  <a:pt x="2800008" y="147767"/>
                </a:cubicBezTo>
                <a:cubicBezTo>
                  <a:pt x="2798635" y="145369"/>
                  <a:pt x="2798086" y="143408"/>
                  <a:pt x="2800557" y="140248"/>
                </a:cubicBezTo>
                <a:close/>
                <a:moveTo>
                  <a:pt x="5910653" y="122703"/>
                </a:moveTo>
                <a:cubicBezTo>
                  <a:pt x="5914224" y="124556"/>
                  <a:pt x="5915872" y="127062"/>
                  <a:pt x="5916147" y="132402"/>
                </a:cubicBezTo>
                <a:cubicBezTo>
                  <a:pt x="5910928" y="136652"/>
                  <a:pt x="5912851" y="135889"/>
                  <a:pt x="5905709" y="137523"/>
                </a:cubicBezTo>
                <a:cubicBezTo>
                  <a:pt x="5904885" y="133601"/>
                  <a:pt x="5903786" y="129569"/>
                  <a:pt x="5902687" y="125646"/>
                </a:cubicBezTo>
                <a:cubicBezTo>
                  <a:pt x="5905983" y="125537"/>
                  <a:pt x="5908730" y="123467"/>
                  <a:pt x="5910653" y="122703"/>
                </a:cubicBezTo>
                <a:close/>
                <a:moveTo>
                  <a:pt x="2272045" y="115293"/>
                </a:moveTo>
                <a:cubicBezTo>
                  <a:pt x="2275616" y="117146"/>
                  <a:pt x="2277264" y="119761"/>
                  <a:pt x="2277539" y="125101"/>
                </a:cubicBezTo>
                <a:cubicBezTo>
                  <a:pt x="2272319" y="129242"/>
                  <a:pt x="2274242" y="128588"/>
                  <a:pt x="2267100" y="130222"/>
                </a:cubicBezTo>
                <a:cubicBezTo>
                  <a:pt x="2266002" y="126299"/>
                  <a:pt x="2265178" y="122268"/>
                  <a:pt x="2264079" y="118345"/>
                </a:cubicBezTo>
                <a:cubicBezTo>
                  <a:pt x="2267375" y="118127"/>
                  <a:pt x="2270122" y="116056"/>
                  <a:pt x="2272045" y="115293"/>
                </a:cubicBezTo>
                <a:close/>
                <a:moveTo>
                  <a:pt x="5392578" y="112460"/>
                </a:moveTo>
                <a:cubicBezTo>
                  <a:pt x="5398347" y="113659"/>
                  <a:pt x="5400270" y="124992"/>
                  <a:pt x="5396150" y="129787"/>
                </a:cubicBezTo>
                <a:cubicBezTo>
                  <a:pt x="5395600" y="125101"/>
                  <a:pt x="5393403" y="122268"/>
                  <a:pt x="5392029" y="119979"/>
                </a:cubicBezTo>
                <a:cubicBezTo>
                  <a:pt x="5390930" y="117582"/>
                  <a:pt x="5390381" y="115620"/>
                  <a:pt x="5392578" y="112460"/>
                </a:cubicBezTo>
                <a:close/>
                <a:moveTo>
                  <a:pt x="1753971" y="105158"/>
                </a:moveTo>
                <a:cubicBezTo>
                  <a:pt x="1759740" y="106357"/>
                  <a:pt x="1761662" y="117582"/>
                  <a:pt x="1757541" y="122485"/>
                </a:cubicBezTo>
                <a:cubicBezTo>
                  <a:pt x="1756992" y="117800"/>
                  <a:pt x="1754795" y="114967"/>
                  <a:pt x="1753421" y="112569"/>
                </a:cubicBezTo>
                <a:cubicBezTo>
                  <a:pt x="1752322" y="110171"/>
                  <a:pt x="1751773" y="108210"/>
                  <a:pt x="1753971" y="105158"/>
                </a:cubicBezTo>
                <a:close/>
                <a:moveTo>
                  <a:pt x="5100578" y="87505"/>
                </a:moveTo>
                <a:cubicBezTo>
                  <a:pt x="5111566" y="95461"/>
                  <a:pt x="5113763" y="107447"/>
                  <a:pt x="5102775" y="121505"/>
                </a:cubicBezTo>
                <a:cubicBezTo>
                  <a:pt x="5085195" y="113440"/>
                  <a:pt x="5082997" y="91428"/>
                  <a:pt x="5100578" y="87505"/>
                </a:cubicBezTo>
                <a:close/>
                <a:moveTo>
                  <a:pt x="4661890" y="80095"/>
                </a:moveTo>
                <a:cubicBezTo>
                  <a:pt x="4665462" y="81948"/>
                  <a:pt x="4667110" y="84563"/>
                  <a:pt x="4667384" y="89903"/>
                </a:cubicBezTo>
                <a:cubicBezTo>
                  <a:pt x="4662165" y="94043"/>
                  <a:pt x="4664088" y="93389"/>
                  <a:pt x="4656946" y="95025"/>
                </a:cubicBezTo>
                <a:cubicBezTo>
                  <a:pt x="4655847" y="91102"/>
                  <a:pt x="4655023" y="87069"/>
                  <a:pt x="4653924" y="83037"/>
                </a:cubicBezTo>
                <a:cubicBezTo>
                  <a:pt x="4657220" y="82928"/>
                  <a:pt x="4659693" y="80858"/>
                  <a:pt x="4661890" y="80095"/>
                </a:cubicBezTo>
                <a:close/>
                <a:moveTo>
                  <a:pt x="2948618" y="70288"/>
                </a:moveTo>
                <a:cubicBezTo>
                  <a:pt x="2949717" y="74211"/>
                  <a:pt x="2949443" y="77480"/>
                  <a:pt x="2950541" y="81294"/>
                </a:cubicBezTo>
                <a:cubicBezTo>
                  <a:pt x="2949168" y="82383"/>
                  <a:pt x="2948069" y="82819"/>
                  <a:pt x="2946970" y="82819"/>
                </a:cubicBezTo>
                <a:cubicBezTo>
                  <a:pt x="2943949" y="83147"/>
                  <a:pt x="2942300" y="79659"/>
                  <a:pt x="2940652" y="76281"/>
                </a:cubicBezTo>
                <a:cubicBezTo>
                  <a:pt x="2943399" y="74320"/>
                  <a:pt x="2943399" y="71050"/>
                  <a:pt x="2948618" y="70288"/>
                </a:cubicBezTo>
                <a:close/>
                <a:moveTo>
                  <a:pt x="4143816" y="69960"/>
                </a:moveTo>
                <a:cubicBezTo>
                  <a:pt x="4149585" y="71159"/>
                  <a:pt x="4151507" y="82383"/>
                  <a:pt x="4147387" y="87287"/>
                </a:cubicBezTo>
                <a:cubicBezTo>
                  <a:pt x="4146837" y="82602"/>
                  <a:pt x="4144640" y="79768"/>
                  <a:pt x="4143266" y="77371"/>
                </a:cubicBezTo>
                <a:cubicBezTo>
                  <a:pt x="4142167" y="74973"/>
                  <a:pt x="4141343" y="73012"/>
                  <a:pt x="4143816" y="69960"/>
                </a:cubicBezTo>
                <a:close/>
                <a:moveTo>
                  <a:pt x="5540639" y="42500"/>
                </a:moveTo>
                <a:cubicBezTo>
                  <a:pt x="5541738" y="46423"/>
                  <a:pt x="5541463" y="49583"/>
                  <a:pt x="5542562" y="53506"/>
                </a:cubicBezTo>
                <a:cubicBezTo>
                  <a:pt x="5541189" y="54486"/>
                  <a:pt x="5540090" y="55031"/>
                  <a:pt x="5539265" y="55140"/>
                </a:cubicBezTo>
                <a:cubicBezTo>
                  <a:pt x="5536244" y="55359"/>
                  <a:pt x="5534596" y="51871"/>
                  <a:pt x="5532947" y="48493"/>
                </a:cubicBezTo>
                <a:cubicBezTo>
                  <a:pt x="5535420" y="46531"/>
                  <a:pt x="5535420" y="43262"/>
                  <a:pt x="5540639" y="42500"/>
                </a:cubicBezTo>
                <a:close/>
                <a:moveTo>
                  <a:pt x="1902031" y="35198"/>
                </a:moveTo>
                <a:cubicBezTo>
                  <a:pt x="1903130" y="39122"/>
                  <a:pt x="1902855" y="42281"/>
                  <a:pt x="1903953" y="46095"/>
                </a:cubicBezTo>
                <a:cubicBezTo>
                  <a:pt x="1902580" y="47185"/>
                  <a:pt x="1901482" y="47621"/>
                  <a:pt x="1900658" y="47621"/>
                </a:cubicBezTo>
                <a:cubicBezTo>
                  <a:pt x="1897636" y="47839"/>
                  <a:pt x="1895713" y="44570"/>
                  <a:pt x="1894064" y="41192"/>
                </a:cubicBezTo>
                <a:cubicBezTo>
                  <a:pt x="1896812" y="39231"/>
                  <a:pt x="1896812" y="35961"/>
                  <a:pt x="1902031" y="35198"/>
                </a:cubicBezTo>
                <a:close/>
                <a:moveTo>
                  <a:pt x="4291877" y="0"/>
                </a:moveTo>
                <a:cubicBezTo>
                  <a:pt x="4292975" y="3814"/>
                  <a:pt x="4292700" y="7083"/>
                  <a:pt x="4293799" y="10897"/>
                </a:cubicBezTo>
                <a:cubicBezTo>
                  <a:pt x="4292700" y="11986"/>
                  <a:pt x="4291327" y="12532"/>
                  <a:pt x="4290503" y="12532"/>
                </a:cubicBezTo>
                <a:cubicBezTo>
                  <a:pt x="4287481" y="12750"/>
                  <a:pt x="4285833" y="9372"/>
                  <a:pt x="4283910" y="5993"/>
                </a:cubicBezTo>
                <a:cubicBezTo>
                  <a:pt x="4286657" y="4032"/>
                  <a:pt x="4286932" y="763"/>
                  <a:pt x="429187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597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7EDD8C5-515A-4FA7-A698-778E9B618D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63441" y="657647"/>
            <a:ext cx="7714416" cy="5282095"/>
          </a:xfrm>
          <a:custGeom>
            <a:avLst/>
            <a:gdLst>
              <a:gd name="connsiteX0" fmla="*/ 5194962 w 7714416"/>
              <a:gd name="connsiteY0" fmla="*/ 5263049 h 5282095"/>
              <a:gd name="connsiteX1" fmla="*/ 5202696 w 7714416"/>
              <a:gd name="connsiteY1" fmla="*/ 5268270 h 5282095"/>
              <a:gd name="connsiteX2" fmla="*/ 5193243 w 7714416"/>
              <a:gd name="connsiteY2" fmla="*/ 5273157 h 5282095"/>
              <a:gd name="connsiteX3" fmla="*/ 5190952 w 7714416"/>
              <a:gd name="connsiteY3" fmla="*/ 5264381 h 5282095"/>
              <a:gd name="connsiteX4" fmla="*/ 5194962 w 7714416"/>
              <a:gd name="connsiteY4" fmla="*/ 5263049 h 5282095"/>
              <a:gd name="connsiteX5" fmla="*/ 3887252 w 7714416"/>
              <a:gd name="connsiteY5" fmla="*/ 5263048 h 5282095"/>
              <a:gd name="connsiteX6" fmla="*/ 3894987 w 7714416"/>
              <a:gd name="connsiteY6" fmla="*/ 5268270 h 5282095"/>
              <a:gd name="connsiteX7" fmla="*/ 3885534 w 7714416"/>
              <a:gd name="connsiteY7" fmla="*/ 5273157 h 5282095"/>
              <a:gd name="connsiteX8" fmla="*/ 3883242 w 7714416"/>
              <a:gd name="connsiteY8" fmla="*/ 5264381 h 5282095"/>
              <a:gd name="connsiteX9" fmla="*/ 3887252 w 7714416"/>
              <a:gd name="connsiteY9" fmla="*/ 5263048 h 5282095"/>
              <a:gd name="connsiteX10" fmla="*/ 2820459 w 7714416"/>
              <a:gd name="connsiteY10" fmla="*/ 5263048 h 5282095"/>
              <a:gd name="connsiteX11" fmla="*/ 2828194 w 7714416"/>
              <a:gd name="connsiteY11" fmla="*/ 5268270 h 5282095"/>
              <a:gd name="connsiteX12" fmla="*/ 2818741 w 7714416"/>
              <a:gd name="connsiteY12" fmla="*/ 5273157 h 5282095"/>
              <a:gd name="connsiteX13" fmla="*/ 2816450 w 7714416"/>
              <a:gd name="connsiteY13" fmla="*/ 5264381 h 5282095"/>
              <a:gd name="connsiteX14" fmla="*/ 2820459 w 7714416"/>
              <a:gd name="connsiteY14" fmla="*/ 5263048 h 5282095"/>
              <a:gd name="connsiteX15" fmla="*/ 3585892 w 7714416"/>
              <a:gd name="connsiteY15" fmla="*/ 5229723 h 5282095"/>
              <a:gd name="connsiteX16" fmla="*/ 3591908 w 7714416"/>
              <a:gd name="connsiteY16" fmla="*/ 5281488 h 5282095"/>
              <a:gd name="connsiteX17" fmla="*/ 3560683 w 7714416"/>
              <a:gd name="connsiteY17" fmla="*/ 5281488 h 5282095"/>
              <a:gd name="connsiteX18" fmla="*/ 3568991 w 7714416"/>
              <a:gd name="connsiteY18" fmla="*/ 5230501 h 5282095"/>
              <a:gd name="connsiteX19" fmla="*/ 3585892 w 7714416"/>
              <a:gd name="connsiteY19" fmla="*/ 5229723 h 5282095"/>
              <a:gd name="connsiteX20" fmla="*/ 4057698 w 7714416"/>
              <a:gd name="connsiteY20" fmla="*/ 5203508 h 5282095"/>
              <a:gd name="connsiteX21" fmla="*/ 4062568 w 7714416"/>
              <a:gd name="connsiteY21" fmla="*/ 5211395 h 5282095"/>
              <a:gd name="connsiteX22" fmla="*/ 4061709 w 7714416"/>
              <a:gd name="connsiteY22" fmla="*/ 5217282 h 5282095"/>
              <a:gd name="connsiteX23" fmla="*/ 4057698 w 7714416"/>
              <a:gd name="connsiteY23" fmla="*/ 5203508 h 5282095"/>
              <a:gd name="connsiteX24" fmla="*/ 5365408 w 7714416"/>
              <a:gd name="connsiteY24" fmla="*/ 5203508 h 5282095"/>
              <a:gd name="connsiteX25" fmla="*/ 5370278 w 7714416"/>
              <a:gd name="connsiteY25" fmla="*/ 5211395 h 5282095"/>
              <a:gd name="connsiteX26" fmla="*/ 5369705 w 7714416"/>
              <a:gd name="connsiteY26" fmla="*/ 5217282 h 5282095"/>
              <a:gd name="connsiteX27" fmla="*/ 5365408 w 7714416"/>
              <a:gd name="connsiteY27" fmla="*/ 5203508 h 5282095"/>
              <a:gd name="connsiteX28" fmla="*/ 2990905 w 7714416"/>
              <a:gd name="connsiteY28" fmla="*/ 5203508 h 5282095"/>
              <a:gd name="connsiteX29" fmla="*/ 2995775 w 7714416"/>
              <a:gd name="connsiteY29" fmla="*/ 5211395 h 5282095"/>
              <a:gd name="connsiteX30" fmla="*/ 2994916 w 7714416"/>
              <a:gd name="connsiteY30" fmla="*/ 5217282 h 5282095"/>
              <a:gd name="connsiteX31" fmla="*/ 2990905 w 7714416"/>
              <a:gd name="connsiteY31" fmla="*/ 5203508 h 5282095"/>
              <a:gd name="connsiteX32" fmla="*/ 4815683 w 7714416"/>
              <a:gd name="connsiteY32" fmla="*/ 5200065 h 5282095"/>
              <a:gd name="connsiteX33" fmla="*/ 4851778 w 7714416"/>
              <a:gd name="connsiteY33" fmla="*/ 5238277 h 5282095"/>
              <a:gd name="connsiteX34" fmla="*/ 4816829 w 7714416"/>
              <a:gd name="connsiteY34" fmla="*/ 5249608 h 5282095"/>
              <a:gd name="connsiteX35" fmla="*/ 4790474 w 7714416"/>
              <a:gd name="connsiteY35" fmla="*/ 5203952 h 5282095"/>
              <a:gd name="connsiteX36" fmla="*/ 4815683 w 7714416"/>
              <a:gd name="connsiteY36" fmla="*/ 5200065 h 5282095"/>
              <a:gd name="connsiteX37" fmla="*/ 2383888 w 7714416"/>
              <a:gd name="connsiteY37" fmla="*/ 5197287 h 5282095"/>
              <a:gd name="connsiteX38" fmla="*/ 2387325 w 7714416"/>
              <a:gd name="connsiteY38" fmla="*/ 5206840 h 5282095"/>
              <a:gd name="connsiteX39" fmla="*/ 2378158 w 7714416"/>
              <a:gd name="connsiteY39" fmla="*/ 5209173 h 5282095"/>
              <a:gd name="connsiteX40" fmla="*/ 2371284 w 7714416"/>
              <a:gd name="connsiteY40" fmla="*/ 5201397 h 5282095"/>
              <a:gd name="connsiteX41" fmla="*/ 2383888 w 7714416"/>
              <a:gd name="connsiteY41" fmla="*/ 5197287 h 5282095"/>
              <a:gd name="connsiteX42" fmla="*/ 4758390 w 7714416"/>
              <a:gd name="connsiteY42" fmla="*/ 5197287 h 5282095"/>
              <a:gd name="connsiteX43" fmla="*/ 4761828 w 7714416"/>
              <a:gd name="connsiteY43" fmla="*/ 5206841 h 5282095"/>
              <a:gd name="connsiteX44" fmla="*/ 4752661 w 7714416"/>
              <a:gd name="connsiteY44" fmla="*/ 5209173 h 5282095"/>
              <a:gd name="connsiteX45" fmla="*/ 4746072 w 7714416"/>
              <a:gd name="connsiteY45" fmla="*/ 5201397 h 5282095"/>
              <a:gd name="connsiteX46" fmla="*/ 4758390 w 7714416"/>
              <a:gd name="connsiteY46" fmla="*/ 5197287 h 5282095"/>
              <a:gd name="connsiteX47" fmla="*/ 3450681 w 7714416"/>
              <a:gd name="connsiteY47" fmla="*/ 5197287 h 5282095"/>
              <a:gd name="connsiteX48" fmla="*/ 3454118 w 7714416"/>
              <a:gd name="connsiteY48" fmla="*/ 5206841 h 5282095"/>
              <a:gd name="connsiteX49" fmla="*/ 3444951 w 7714416"/>
              <a:gd name="connsiteY49" fmla="*/ 5209173 h 5282095"/>
              <a:gd name="connsiteX50" fmla="*/ 3438364 w 7714416"/>
              <a:gd name="connsiteY50" fmla="*/ 5201397 h 5282095"/>
              <a:gd name="connsiteX51" fmla="*/ 3450681 w 7714416"/>
              <a:gd name="connsiteY51" fmla="*/ 5197287 h 5282095"/>
              <a:gd name="connsiteX52" fmla="*/ 4646956 w 7714416"/>
              <a:gd name="connsiteY52" fmla="*/ 5145745 h 5282095"/>
              <a:gd name="connsiteX53" fmla="*/ 4651253 w 7714416"/>
              <a:gd name="connsiteY53" fmla="*/ 5194066 h 5282095"/>
              <a:gd name="connsiteX54" fmla="*/ 4646956 w 7714416"/>
              <a:gd name="connsiteY54" fmla="*/ 5145745 h 5282095"/>
              <a:gd name="connsiteX55" fmla="*/ 3901862 w 7714416"/>
              <a:gd name="connsiteY55" fmla="*/ 5139191 h 5282095"/>
              <a:gd name="connsiteX56" fmla="*/ 3908737 w 7714416"/>
              <a:gd name="connsiteY56" fmla="*/ 5139968 h 5282095"/>
              <a:gd name="connsiteX57" fmla="*/ 3892982 w 7714416"/>
              <a:gd name="connsiteY57" fmla="*/ 5154076 h 5282095"/>
              <a:gd name="connsiteX58" fmla="*/ 3886106 w 7714416"/>
              <a:gd name="connsiteY58" fmla="*/ 5149744 h 5282095"/>
              <a:gd name="connsiteX59" fmla="*/ 3901862 w 7714416"/>
              <a:gd name="connsiteY59" fmla="*/ 5139191 h 5282095"/>
              <a:gd name="connsiteX60" fmla="*/ 2835070 w 7714416"/>
              <a:gd name="connsiteY60" fmla="*/ 5139191 h 5282095"/>
              <a:gd name="connsiteX61" fmla="*/ 2841944 w 7714416"/>
              <a:gd name="connsiteY61" fmla="*/ 5139968 h 5282095"/>
              <a:gd name="connsiteX62" fmla="*/ 2826189 w 7714416"/>
              <a:gd name="connsiteY62" fmla="*/ 5154076 h 5282095"/>
              <a:gd name="connsiteX63" fmla="*/ 2819314 w 7714416"/>
              <a:gd name="connsiteY63" fmla="*/ 5149744 h 5282095"/>
              <a:gd name="connsiteX64" fmla="*/ 2835070 w 7714416"/>
              <a:gd name="connsiteY64" fmla="*/ 5139191 h 5282095"/>
              <a:gd name="connsiteX65" fmla="*/ 5209572 w 7714416"/>
              <a:gd name="connsiteY65" fmla="*/ 5139191 h 5282095"/>
              <a:gd name="connsiteX66" fmla="*/ 5216447 w 7714416"/>
              <a:gd name="connsiteY66" fmla="*/ 5139967 h 5282095"/>
              <a:gd name="connsiteX67" fmla="*/ 5200979 w 7714416"/>
              <a:gd name="connsiteY67" fmla="*/ 5154076 h 5282095"/>
              <a:gd name="connsiteX68" fmla="*/ 5193816 w 7714416"/>
              <a:gd name="connsiteY68" fmla="*/ 5149744 h 5282095"/>
              <a:gd name="connsiteX69" fmla="*/ 5209572 w 7714416"/>
              <a:gd name="connsiteY69" fmla="*/ 5139191 h 5282095"/>
              <a:gd name="connsiteX70" fmla="*/ 4275698 w 7714416"/>
              <a:gd name="connsiteY70" fmla="*/ 5118529 h 5282095"/>
              <a:gd name="connsiteX71" fmla="*/ 4279136 w 7714416"/>
              <a:gd name="connsiteY71" fmla="*/ 5122084 h 5282095"/>
              <a:gd name="connsiteX72" fmla="*/ 4281427 w 7714416"/>
              <a:gd name="connsiteY72" fmla="*/ 5127194 h 5282095"/>
              <a:gd name="connsiteX73" fmla="*/ 4267390 w 7714416"/>
              <a:gd name="connsiteY73" fmla="*/ 5133414 h 5282095"/>
              <a:gd name="connsiteX74" fmla="*/ 4275698 w 7714416"/>
              <a:gd name="connsiteY74" fmla="*/ 5118529 h 5282095"/>
              <a:gd name="connsiteX75" fmla="*/ 3208906 w 7714416"/>
              <a:gd name="connsiteY75" fmla="*/ 5118529 h 5282095"/>
              <a:gd name="connsiteX76" fmla="*/ 3212343 w 7714416"/>
              <a:gd name="connsiteY76" fmla="*/ 5122084 h 5282095"/>
              <a:gd name="connsiteX77" fmla="*/ 3214634 w 7714416"/>
              <a:gd name="connsiteY77" fmla="*/ 5127194 h 5282095"/>
              <a:gd name="connsiteX78" fmla="*/ 3200597 w 7714416"/>
              <a:gd name="connsiteY78" fmla="*/ 5133415 h 5282095"/>
              <a:gd name="connsiteX79" fmla="*/ 3208906 w 7714416"/>
              <a:gd name="connsiteY79" fmla="*/ 5118529 h 5282095"/>
              <a:gd name="connsiteX80" fmla="*/ 5583408 w 7714416"/>
              <a:gd name="connsiteY80" fmla="*/ 5118528 h 5282095"/>
              <a:gd name="connsiteX81" fmla="*/ 5586845 w 7714416"/>
              <a:gd name="connsiteY81" fmla="*/ 5122084 h 5282095"/>
              <a:gd name="connsiteX82" fmla="*/ 5589137 w 7714416"/>
              <a:gd name="connsiteY82" fmla="*/ 5127194 h 5282095"/>
              <a:gd name="connsiteX83" fmla="*/ 5575387 w 7714416"/>
              <a:gd name="connsiteY83" fmla="*/ 5133415 h 5282095"/>
              <a:gd name="connsiteX84" fmla="*/ 5583408 w 7714416"/>
              <a:gd name="connsiteY84" fmla="*/ 5118528 h 5282095"/>
              <a:gd name="connsiteX85" fmla="*/ 3666388 w 7714416"/>
              <a:gd name="connsiteY85" fmla="*/ 5116863 h 5282095"/>
              <a:gd name="connsiteX86" fmla="*/ 3661232 w 7714416"/>
              <a:gd name="connsiteY86" fmla="*/ 5126860 h 5282095"/>
              <a:gd name="connsiteX87" fmla="*/ 3666388 w 7714416"/>
              <a:gd name="connsiteY87" fmla="*/ 5116863 h 5282095"/>
              <a:gd name="connsiteX88" fmla="*/ 4974098 w 7714416"/>
              <a:gd name="connsiteY88" fmla="*/ 5116863 h 5282095"/>
              <a:gd name="connsiteX89" fmla="*/ 4968942 w 7714416"/>
              <a:gd name="connsiteY89" fmla="*/ 5126861 h 5282095"/>
              <a:gd name="connsiteX90" fmla="*/ 4974098 w 7714416"/>
              <a:gd name="connsiteY90" fmla="*/ 5116863 h 5282095"/>
              <a:gd name="connsiteX91" fmla="*/ 2599595 w 7714416"/>
              <a:gd name="connsiteY91" fmla="*/ 5116863 h 5282095"/>
              <a:gd name="connsiteX92" fmla="*/ 2594439 w 7714416"/>
              <a:gd name="connsiteY92" fmla="*/ 5126860 h 5282095"/>
              <a:gd name="connsiteX93" fmla="*/ 2599595 w 7714416"/>
              <a:gd name="connsiteY93" fmla="*/ 5116863 h 5282095"/>
              <a:gd name="connsiteX94" fmla="*/ 2655742 w 7714416"/>
              <a:gd name="connsiteY94" fmla="*/ 5111643 h 5282095"/>
              <a:gd name="connsiteX95" fmla="*/ 2664050 w 7714416"/>
              <a:gd name="connsiteY95" fmla="*/ 5119641 h 5282095"/>
              <a:gd name="connsiteX96" fmla="*/ 2664623 w 7714416"/>
              <a:gd name="connsiteY96" fmla="*/ 5130859 h 5282095"/>
              <a:gd name="connsiteX97" fmla="*/ 2655169 w 7714416"/>
              <a:gd name="connsiteY97" fmla="*/ 5135748 h 5282095"/>
              <a:gd name="connsiteX98" fmla="*/ 2655742 w 7714416"/>
              <a:gd name="connsiteY98" fmla="*/ 5111643 h 5282095"/>
              <a:gd name="connsiteX99" fmla="*/ 5030245 w 7714416"/>
              <a:gd name="connsiteY99" fmla="*/ 5111643 h 5282095"/>
              <a:gd name="connsiteX100" fmla="*/ 5038839 w 7714416"/>
              <a:gd name="connsiteY100" fmla="*/ 5119641 h 5282095"/>
              <a:gd name="connsiteX101" fmla="*/ 5039126 w 7714416"/>
              <a:gd name="connsiteY101" fmla="*/ 5130859 h 5282095"/>
              <a:gd name="connsiteX102" fmla="*/ 5029672 w 7714416"/>
              <a:gd name="connsiteY102" fmla="*/ 5135748 h 5282095"/>
              <a:gd name="connsiteX103" fmla="*/ 5030245 w 7714416"/>
              <a:gd name="connsiteY103" fmla="*/ 5111643 h 5282095"/>
              <a:gd name="connsiteX104" fmla="*/ 3722536 w 7714416"/>
              <a:gd name="connsiteY104" fmla="*/ 5111642 h 5282095"/>
              <a:gd name="connsiteX105" fmla="*/ 3730843 w 7714416"/>
              <a:gd name="connsiteY105" fmla="*/ 5119640 h 5282095"/>
              <a:gd name="connsiteX106" fmla="*/ 3731416 w 7714416"/>
              <a:gd name="connsiteY106" fmla="*/ 5130860 h 5282095"/>
              <a:gd name="connsiteX107" fmla="*/ 3721962 w 7714416"/>
              <a:gd name="connsiteY107" fmla="*/ 5135747 h 5282095"/>
              <a:gd name="connsiteX108" fmla="*/ 3722536 w 7714416"/>
              <a:gd name="connsiteY108" fmla="*/ 5111642 h 5282095"/>
              <a:gd name="connsiteX109" fmla="*/ 4115851 w 7714416"/>
              <a:gd name="connsiteY109" fmla="*/ 5090870 h 5282095"/>
              <a:gd name="connsiteX110" fmla="*/ 4116710 w 7714416"/>
              <a:gd name="connsiteY110" fmla="*/ 5097868 h 5282095"/>
              <a:gd name="connsiteX111" fmla="*/ 4112700 w 7714416"/>
              <a:gd name="connsiteY111" fmla="*/ 5101201 h 5282095"/>
              <a:gd name="connsiteX112" fmla="*/ 4106970 w 7714416"/>
              <a:gd name="connsiteY112" fmla="*/ 5100311 h 5282095"/>
              <a:gd name="connsiteX113" fmla="*/ 4103533 w 7714416"/>
              <a:gd name="connsiteY113" fmla="*/ 5096424 h 5282095"/>
              <a:gd name="connsiteX114" fmla="*/ 4115851 w 7714416"/>
              <a:gd name="connsiteY114" fmla="*/ 5090870 h 5282095"/>
              <a:gd name="connsiteX115" fmla="*/ 3049059 w 7714416"/>
              <a:gd name="connsiteY115" fmla="*/ 5090870 h 5282095"/>
              <a:gd name="connsiteX116" fmla="*/ 3049918 w 7714416"/>
              <a:gd name="connsiteY116" fmla="*/ 5097868 h 5282095"/>
              <a:gd name="connsiteX117" fmla="*/ 3045908 w 7714416"/>
              <a:gd name="connsiteY117" fmla="*/ 5101200 h 5282095"/>
              <a:gd name="connsiteX118" fmla="*/ 3040177 w 7714416"/>
              <a:gd name="connsiteY118" fmla="*/ 5100312 h 5282095"/>
              <a:gd name="connsiteX119" fmla="*/ 3036740 w 7714416"/>
              <a:gd name="connsiteY119" fmla="*/ 5096424 h 5282095"/>
              <a:gd name="connsiteX120" fmla="*/ 3049059 w 7714416"/>
              <a:gd name="connsiteY120" fmla="*/ 5090870 h 5282095"/>
              <a:gd name="connsiteX121" fmla="*/ 5423847 w 7714416"/>
              <a:gd name="connsiteY121" fmla="*/ 5090870 h 5282095"/>
              <a:gd name="connsiteX122" fmla="*/ 5424706 w 7714416"/>
              <a:gd name="connsiteY122" fmla="*/ 5097868 h 5282095"/>
              <a:gd name="connsiteX123" fmla="*/ 5420410 w 7714416"/>
              <a:gd name="connsiteY123" fmla="*/ 5101200 h 5282095"/>
              <a:gd name="connsiteX124" fmla="*/ 5414680 w 7714416"/>
              <a:gd name="connsiteY124" fmla="*/ 5100312 h 5282095"/>
              <a:gd name="connsiteX125" fmla="*/ 5411242 w 7714416"/>
              <a:gd name="connsiteY125" fmla="*/ 5096424 h 5282095"/>
              <a:gd name="connsiteX126" fmla="*/ 5423847 w 7714416"/>
              <a:gd name="connsiteY126" fmla="*/ 5090870 h 5282095"/>
              <a:gd name="connsiteX127" fmla="*/ 5589424 w 7714416"/>
              <a:gd name="connsiteY127" fmla="*/ 5087982 h 5282095"/>
              <a:gd name="connsiteX128" fmla="*/ 5590283 w 7714416"/>
              <a:gd name="connsiteY128" fmla="*/ 5090093 h 5282095"/>
              <a:gd name="connsiteX129" fmla="*/ 5592002 w 7714416"/>
              <a:gd name="connsiteY129" fmla="*/ 5089648 h 5282095"/>
              <a:gd name="connsiteX130" fmla="*/ 5591141 w 7714416"/>
              <a:gd name="connsiteY130" fmla="*/ 5092092 h 5282095"/>
              <a:gd name="connsiteX131" fmla="*/ 5589424 w 7714416"/>
              <a:gd name="connsiteY131" fmla="*/ 5092536 h 5282095"/>
              <a:gd name="connsiteX132" fmla="*/ 5589137 w 7714416"/>
              <a:gd name="connsiteY132" fmla="*/ 5092980 h 5282095"/>
              <a:gd name="connsiteX133" fmla="*/ 5585986 w 7714416"/>
              <a:gd name="connsiteY133" fmla="*/ 5092203 h 5282095"/>
              <a:gd name="connsiteX134" fmla="*/ 5583694 w 7714416"/>
              <a:gd name="connsiteY134" fmla="*/ 5090537 h 5282095"/>
              <a:gd name="connsiteX135" fmla="*/ 5589424 w 7714416"/>
              <a:gd name="connsiteY135" fmla="*/ 5087982 h 5282095"/>
              <a:gd name="connsiteX136" fmla="*/ 4281714 w 7714416"/>
              <a:gd name="connsiteY136" fmla="*/ 5087981 h 5282095"/>
              <a:gd name="connsiteX137" fmla="*/ 4282573 w 7714416"/>
              <a:gd name="connsiteY137" fmla="*/ 5090093 h 5282095"/>
              <a:gd name="connsiteX138" fmla="*/ 4284292 w 7714416"/>
              <a:gd name="connsiteY138" fmla="*/ 5089648 h 5282095"/>
              <a:gd name="connsiteX139" fmla="*/ 4283432 w 7714416"/>
              <a:gd name="connsiteY139" fmla="*/ 5092092 h 5282095"/>
              <a:gd name="connsiteX140" fmla="*/ 4281714 w 7714416"/>
              <a:gd name="connsiteY140" fmla="*/ 5092536 h 5282095"/>
              <a:gd name="connsiteX141" fmla="*/ 4281427 w 7714416"/>
              <a:gd name="connsiteY141" fmla="*/ 5092980 h 5282095"/>
              <a:gd name="connsiteX142" fmla="*/ 4278276 w 7714416"/>
              <a:gd name="connsiteY142" fmla="*/ 5092203 h 5282095"/>
              <a:gd name="connsiteX143" fmla="*/ 4275698 w 7714416"/>
              <a:gd name="connsiteY143" fmla="*/ 5090536 h 5282095"/>
              <a:gd name="connsiteX144" fmla="*/ 4281714 w 7714416"/>
              <a:gd name="connsiteY144" fmla="*/ 5087981 h 5282095"/>
              <a:gd name="connsiteX145" fmla="*/ 3214921 w 7714416"/>
              <a:gd name="connsiteY145" fmla="*/ 5087981 h 5282095"/>
              <a:gd name="connsiteX146" fmla="*/ 3215780 w 7714416"/>
              <a:gd name="connsiteY146" fmla="*/ 5090092 h 5282095"/>
              <a:gd name="connsiteX147" fmla="*/ 3217499 w 7714416"/>
              <a:gd name="connsiteY147" fmla="*/ 5089648 h 5282095"/>
              <a:gd name="connsiteX148" fmla="*/ 3216640 w 7714416"/>
              <a:gd name="connsiteY148" fmla="*/ 5092092 h 5282095"/>
              <a:gd name="connsiteX149" fmla="*/ 3214921 w 7714416"/>
              <a:gd name="connsiteY149" fmla="*/ 5092536 h 5282095"/>
              <a:gd name="connsiteX150" fmla="*/ 3214634 w 7714416"/>
              <a:gd name="connsiteY150" fmla="*/ 5092980 h 5282095"/>
              <a:gd name="connsiteX151" fmla="*/ 3211483 w 7714416"/>
              <a:gd name="connsiteY151" fmla="*/ 5092203 h 5282095"/>
              <a:gd name="connsiteX152" fmla="*/ 3208906 w 7714416"/>
              <a:gd name="connsiteY152" fmla="*/ 5090536 h 5282095"/>
              <a:gd name="connsiteX153" fmla="*/ 3214921 w 7714416"/>
              <a:gd name="connsiteY153" fmla="*/ 5087981 h 5282095"/>
              <a:gd name="connsiteX154" fmla="*/ 4778443 w 7714416"/>
              <a:gd name="connsiteY154" fmla="*/ 5083983 h 5282095"/>
              <a:gd name="connsiteX155" fmla="*/ 4785032 w 7714416"/>
              <a:gd name="connsiteY155" fmla="*/ 5085205 h 5282095"/>
              <a:gd name="connsiteX156" fmla="*/ 4788756 w 7714416"/>
              <a:gd name="connsiteY156" fmla="*/ 5094647 h 5282095"/>
              <a:gd name="connsiteX157" fmla="*/ 4770995 w 7714416"/>
              <a:gd name="connsiteY157" fmla="*/ 5102867 h 5282095"/>
              <a:gd name="connsiteX158" fmla="*/ 4764406 w 7714416"/>
              <a:gd name="connsiteY158" fmla="*/ 5100534 h 5282095"/>
              <a:gd name="connsiteX159" fmla="*/ 4758963 w 7714416"/>
              <a:gd name="connsiteY159" fmla="*/ 5092536 h 5282095"/>
              <a:gd name="connsiteX160" fmla="*/ 4778443 w 7714416"/>
              <a:gd name="connsiteY160" fmla="*/ 5083983 h 5282095"/>
              <a:gd name="connsiteX161" fmla="*/ 2403654 w 7714416"/>
              <a:gd name="connsiteY161" fmla="*/ 5083983 h 5282095"/>
              <a:gd name="connsiteX162" fmla="*/ 2410530 w 7714416"/>
              <a:gd name="connsiteY162" fmla="*/ 5085205 h 5282095"/>
              <a:gd name="connsiteX163" fmla="*/ 2414253 w 7714416"/>
              <a:gd name="connsiteY163" fmla="*/ 5094646 h 5282095"/>
              <a:gd name="connsiteX164" fmla="*/ 2396206 w 7714416"/>
              <a:gd name="connsiteY164" fmla="*/ 5102867 h 5282095"/>
              <a:gd name="connsiteX165" fmla="*/ 2389617 w 7714416"/>
              <a:gd name="connsiteY165" fmla="*/ 5100534 h 5282095"/>
              <a:gd name="connsiteX166" fmla="*/ 2384174 w 7714416"/>
              <a:gd name="connsiteY166" fmla="*/ 5092536 h 5282095"/>
              <a:gd name="connsiteX167" fmla="*/ 2403654 w 7714416"/>
              <a:gd name="connsiteY167" fmla="*/ 5083983 h 5282095"/>
              <a:gd name="connsiteX168" fmla="*/ 3470448 w 7714416"/>
              <a:gd name="connsiteY168" fmla="*/ 5083983 h 5282095"/>
              <a:gd name="connsiteX169" fmla="*/ 3477323 w 7714416"/>
              <a:gd name="connsiteY169" fmla="*/ 5085205 h 5282095"/>
              <a:gd name="connsiteX170" fmla="*/ 3481046 w 7714416"/>
              <a:gd name="connsiteY170" fmla="*/ 5094646 h 5282095"/>
              <a:gd name="connsiteX171" fmla="*/ 3462999 w 7714416"/>
              <a:gd name="connsiteY171" fmla="*/ 5102867 h 5282095"/>
              <a:gd name="connsiteX172" fmla="*/ 3456411 w 7714416"/>
              <a:gd name="connsiteY172" fmla="*/ 5100534 h 5282095"/>
              <a:gd name="connsiteX173" fmla="*/ 3450967 w 7714416"/>
              <a:gd name="connsiteY173" fmla="*/ 5092536 h 5282095"/>
              <a:gd name="connsiteX174" fmla="*/ 3470448 w 7714416"/>
              <a:gd name="connsiteY174" fmla="*/ 5083983 h 5282095"/>
              <a:gd name="connsiteX175" fmla="*/ 4626903 w 7714416"/>
              <a:gd name="connsiteY175" fmla="*/ 5083094 h 5282095"/>
              <a:gd name="connsiteX176" fmla="*/ 4621460 w 7714416"/>
              <a:gd name="connsiteY176" fmla="*/ 5094535 h 5282095"/>
              <a:gd name="connsiteX177" fmla="*/ 4616590 w 7714416"/>
              <a:gd name="connsiteY177" fmla="*/ 5084872 h 5282095"/>
              <a:gd name="connsiteX178" fmla="*/ 4626903 w 7714416"/>
              <a:gd name="connsiteY178" fmla="*/ 5083094 h 5282095"/>
              <a:gd name="connsiteX179" fmla="*/ 3319194 w 7714416"/>
              <a:gd name="connsiteY179" fmla="*/ 5083094 h 5282095"/>
              <a:gd name="connsiteX180" fmla="*/ 3313751 w 7714416"/>
              <a:gd name="connsiteY180" fmla="*/ 5094535 h 5282095"/>
              <a:gd name="connsiteX181" fmla="*/ 3308881 w 7714416"/>
              <a:gd name="connsiteY181" fmla="*/ 5084872 h 5282095"/>
              <a:gd name="connsiteX182" fmla="*/ 3319194 w 7714416"/>
              <a:gd name="connsiteY182" fmla="*/ 5083094 h 5282095"/>
              <a:gd name="connsiteX183" fmla="*/ 2252400 w 7714416"/>
              <a:gd name="connsiteY183" fmla="*/ 5083094 h 5282095"/>
              <a:gd name="connsiteX184" fmla="*/ 2246958 w 7714416"/>
              <a:gd name="connsiteY184" fmla="*/ 5094535 h 5282095"/>
              <a:gd name="connsiteX185" fmla="*/ 2242088 w 7714416"/>
              <a:gd name="connsiteY185" fmla="*/ 5084871 h 5282095"/>
              <a:gd name="connsiteX186" fmla="*/ 2252400 w 7714416"/>
              <a:gd name="connsiteY186" fmla="*/ 5083094 h 5282095"/>
              <a:gd name="connsiteX187" fmla="*/ 5530125 w 7714416"/>
              <a:gd name="connsiteY187" fmla="*/ 5061322 h 5282095"/>
              <a:gd name="connsiteX188" fmla="*/ 5582262 w 7714416"/>
              <a:gd name="connsiteY188" fmla="*/ 5084427 h 5282095"/>
              <a:gd name="connsiteX189" fmla="*/ 5546741 w 7714416"/>
              <a:gd name="connsiteY189" fmla="*/ 5081316 h 5282095"/>
              <a:gd name="connsiteX190" fmla="*/ 5530125 w 7714416"/>
              <a:gd name="connsiteY190" fmla="*/ 5061322 h 5282095"/>
              <a:gd name="connsiteX191" fmla="*/ 3155337 w 7714416"/>
              <a:gd name="connsiteY191" fmla="*/ 5061322 h 5282095"/>
              <a:gd name="connsiteX192" fmla="*/ 3207759 w 7714416"/>
              <a:gd name="connsiteY192" fmla="*/ 5084427 h 5282095"/>
              <a:gd name="connsiteX193" fmla="*/ 3172238 w 7714416"/>
              <a:gd name="connsiteY193" fmla="*/ 5081317 h 5282095"/>
              <a:gd name="connsiteX194" fmla="*/ 3155337 w 7714416"/>
              <a:gd name="connsiteY194" fmla="*/ 5061322 h 5282095"/>
              <a:gd name="connsiteX195" fmla="*/ 4222129 w 7714416"/>
              <a:gd name="connsiteY195" fmla="*/ 5061321 h 5282095"/>
              <a:gd name="connsiteX196" fmla="*/ 4274552 w 7714416"/>
              <a:gd name="connsiteY196" fmla="*/ 5084427 h 5282095"/>
              <a:gd name="connsiteX197" fmla="*/ 4239030 w 7714416"/>
              <a:gd name="connsiteY197" fmla="*/ 5081317 h 5282095"/>
              <a:gd name="connsiteX198" fmla="*/ 4222129 w 7714416"/>
              <a:gd name="connsiteY198" fmla="*/ 5061321 h 5282095"/>
              <a:gd name="connsiteX199" fmla="*/ 5648435 w 7714416"/>
              <a:gd name="connsiteY199" fmla="*/ 5057323 h 5282095"/>
              <a:gd name="connsiteX200" fmla="*/ 5646430 w 7714416"/>
              <a:gd name="connsiteY200" fmla="*/ 5064543 h 5282095"/>
              <a:gd name="connsiteX201" fmla="*/ 5641560 w 7714416"/>
              <a:gd name="connsiteY201" fmla="*/ 5058989 h 5282095"/>
              <a:gd name="connsiteX202" fmla="*/ 5648435 w 7714416"/>
              <a:gd name="connsiteY202" fmla="*/ 5057323 h 5282095"/>
              <a:gd name="connsiteX203" fmla="*/ 4340439 w 7714416"/>
              <a:gd name="connsiteY203" fmla="*/ 5057323 h 5282095"/>
              <a:gd name="connsiteX204" fmla="*/ 4338721 w 7714416"/>
              <a:gd name="connsiteY204" fmla="*/ 5064543 h 5282095"/>
              <a:gd name="connsiteX205" fmla="*/ 4333850 w 7714416"/>
              <a:gd name="connsiteY205" fmla="*/ 5058989 h 5282095"/>
              <a:gd name="connsiteX206" fmla="*/ 4340439 w 7714416"/>
              <a:gd name="connsiteY206" fmla="*/ 5057323 h 5282095"/>
              <a:gd name="connsiteX207" fmla="*/ 3273646 w 7714416"/>
              <a:gd name="connsiteY207" fmla="*/ 5057322 h 5282095"/>
              <a:gd name="connsiteX208" fmla="*/ 3271928 w 7714416"/>
              <a:gd name="connsiteY208" fmla="*/ 5064543 h 5282095"/>
              <a:gd name="connsiteX209" fmla="*/ 3267057 w 7714416"/>
              <a:gd name="connsiteY209" fmla="*/ 5058989 h 5282095"/>
              <a:gd name="connsiteX210" fmla="*/ 3273646 w 7714416"/>
              <a:gd name="connsiteY210" fmla="*/ 5057322 h 5282095"/>
              <a:gd name="connsiteX211" fmla="*/ 5888778 w 7714416"/>
              <a:gd name="connsiteY211" fmla="*/ 5056101 h 5282095"/>
              <a:gd name="connsiteX212" fmla="*/ 5902242 w 7714416"/>
              <a:gd name="connsiteY212" fmla="*/ 5064099 h 5282095"/>
              <a:gd name="connsiteX213" fmla="*/ 5887060 w 7714416"/>
              <a:gd name="connsiteY213" fmla="*/ 5063210 h 5282095"/>
              <a:gd name="connsiteX214" fmla="*/ 5888778 w 7714416"/>
              <a:gd name="connsiteY214" fmla="*/ 5056101 h 5282095"/>
              <a:gd name="connsiteX215" fmla="*/ 4581069 w 7714416"/>
              <a:gd name="connsiteY215" fmla="*/ 5056101 h 5282095"/>
              <a:gd name="connsiteX216" fmla="*/ 4594533 w 7714416"/>
              <a:gd name="connsiteY216" fmla="*/ 5064099 h 5282095"/>
              <a:gd name="connsiteX217" fmla="*/ 4579350 w 7714416"/>
              <a:gd name="connsiteY217" fmla="*/ 5063210 h 5282095"/>
              <a:gd name="connsiteX218" fmla="*/ 4581069 w 7714416"/>
              <a:gd name="connsiteY218" fmla="*/ 5056101 h 5282095"/>
              <a:gd name="connsiteX219" fmla="*/ 3514277 w 7714416"/>
              <a:gd name="connsiteY219" fmla="*/ 5056101 h 5282095"/>
              <a:gd name="connsiteX220" fmla="*/ 3527740 w 7714416"/>
              <a:gd name="connsiteY220" fmla="*/ 5064099 h 5282095"/>
              <a:gd name="connsiteX221" fmla="*/ 3512557 w 7714416"/>
              <a:gd name="connsiteY221" fmla="*/ 5063210 h 5282095"/>
              <a:gd name="connsiteX222" fmla="*/ 3514277 w 7714416"/>
              <a:gd name="connsiteY222" fmla="*/ 5056101 h 5282095"/>
              <a:gd name="connsiteX223" fmla="*/ 3997541 w 7714416"/>
              <a:gd name="connsiteY223" fmla="*/ 5054768 h 5282095"/>
              <a:gd name="connsiteX224" fmla="*/ 4005848 w 7714416"/>
              <a:gd name="connsiteY224" fmla="*/ 5059767 h 5282095"/>
              <a:gd name="connsiteX225" fmla="*/ 4005848 w 7714416"/>
              <a:gd name="connsiteY225" fmla="*/ 5062544 h 5282095"/>
              <a:gd name="connsiteX226" fmla="*/ 4002984 w 7714416"/>
              <a:gd name="connsiteY226" fmla="*/ 5064432 h 5282095"/>
              <a:gd name="connsiteX227" fmla="*/ 3999260 w 7714416"/>
              <a:gd name="connsiteY227" fmla="*/ 5066209 h 5282095"/>
              <a:gd name="connsiteX228" fmla="*/ 3989520 w 7714416"/>
              <a:gd name="connsiteY228" fmla="*/ 5066543 h 5282095"/>
              <a:gd name="connsiteX229" fmla="*/ 3984650 w 7714416"/>
              <a:gd name="connsiteY229" fmla="*/ 5062877 h 5282095"/>
              <a:gd name="connsiteX230" fmla="*/ 3983791 w 7714416"/>
              <a:gd name="connsiteY230" fmla="*/ 5060544 h 5282095"/>
              <a:gd name="connsiteX231" fmla="*/ 3997541 w 7714416"/>
              <a:gd name="connsiteY231" fmla="*/ 5054768 h 5282095"/>
              <a:gd name="connsiteX232" fmla="*/ 3796443 w 7714416"/>
              <a:gd name="connsiteY232" fmla="*/ 5054768 h 5282095"/>
              <a:gd name="connsiteX233" fmla="*/ 3805897 w 7714416"/>
              <a:gd name="connsiteY233" fmla="*/ 5055990 h 5282095"/>
              <a:gd name="connsiteX234" fmla="*/ 3809621 w 7714416"/>
              <a:gd name="connsiteY234" fmla="*/ 5060989 h 5282095"/>
              <a:gd name="connsiteX235" fmla="*/ 3809621 w 7714416"/>
              <a:gd name="connsiteY235" fmla="*/ 5069653 h 5282095"/>
              <a:gd name="connsiteX236" fmla="*/ 3792146 w 7714416"/>
              <a:gd name="connsiteY236" fmla="*/ 5076318 h 5282095"/>
              <a:gd name="connsiteX237" fmla="*/ 3791287 w 7714416"/>
              <a:gd name="connsiteY237" fmla="*/ 5078873 h 5282095"/>
              <a:gd name="connsiteX238" fmla="*/ 3785558 w 7714416"/>
              <a:gd name="connsiteY238" fmla="*/ 5082761 h 5282095"/>
              <a:gd name="connsiteX239" fmla="*/ 3782979 w 7714416"/>
              <a:gd name="connsiteY239" fmla="*/ 5080872 h 5282095"/>
              <a:gd name="connsiteX240" fmla="*/ 3788422 w 7714416"/>
              <a:gd name="connsiteY240" fmla="*/ 5075985 h 5282095"/>
              <a:gd name="connsiteX241" fmla="*/ 3788136 w 7714416"/>
              <a:gd name="connsiteY241" fmla="*/ 5074874 h 5282095"/>
              <a:gd name="connsiteX242" fmla="*/ 3783839 w 7714416"/>
              <a:gd name="connsiteY242" fmla="*/ 5073430 h 5282095"/>
              <a:gd name="connsiteX243" fmla="*/ 3779542 w 7714416"/>
              <a:gd name="connsiteY243" fmla="*/ 5062544 h 5282095"/>
              <a:gd name="connsiteX244" fmla="*/ 3796443 w 7714416"/>
              <a:gd name="connsiteY244" fmla="*/ 5054768 h 5282095"/>
              <a:gd name="connsiteX245" fmla="*/ 5305251 w 7714416"/>
              <a:gd name="connsiteY245" fmla="*/ 5054768 h 5282095"/>
              <a:gd name="connsiteX246" fmla="*/ 5313845 w 7714416"/>
              <a:gd name="connsiteY246" fmla="*/ 5059766 h 5282095"/>
              <a:gd name="connsiteX247" fmla="*/ 5313558 w 7714416"/>
              <a:gd name="connsiteY247" fmla="*/ 5062543 h 5282095"/>
              <a:gd name="connsiteX248" fmla="*/ 5310694 w 7714416"/>
              <a:gd name="connsiteY248" fmla="*/ 5064433 h 5282095"/>
              <a:gd name="connsiteX249" fmla="*/ 5306970 w 7714416"/>
              <a:gd name="connsiteY249" fmla="*/ 5066209 h 5282095"/>
              <a:gd name="connsiteX250" fmla="*/ 5297230 w 7714416"/>
              <a:gd name="connsiteY250" fmla="*/ 5066543 h 5282095"/>
              <a:gd name="connsiteX251" fmla="*/ 5292360 w 7714416"/>
              <a:gd name="connsiteY251" fmla="*/ 5062877 h 5282095"/>
              <a:gd name="connsiteX252" fmla="*/ 5291500 w 7714416"/>
              <a:gd name="connsiteY252" fmla="*/ 5060544 h 5282095"/>
              <a:gd name="connsiteX253" fmla="*/ 5305251 w 7714416"/>
              <a:gd name="connsiteY253" fmla="*/ 5054768 h 5282095"/>
              <a:gd name="connsiteX254" fmla="*/ 5104153 w 7714416"/>
              <a:gd name="connsiteY254" fmla="*/ 5054768 h 5282095"/>
              <a:gd name="connsiteX255" fmla="*/ 5113606 w 7714416"/>
              <a:gd name="connsiteY255" fmla="*/ 5055990 h 5282095"/>
              <a:gd name="connsiteX256" fmla="*/ 5117617 w 7714416"/>
              <a:gd name="connsiteY256" fmla="*/ 5060989 h 5282095"/>
              <a:gd name="connsiteX257" fmla="*/ 5117330 w 7714416"/>
              <a:gd name="connsiteY257" fmla="*/ 5069653 h 5282095"/>
              <a:gd name="connsiteX258" fmla="*/ 5099856 w 7714416"/>
              <a:gd name="connsiteY258" fmla="*/ 5076318 h 5282095"/>
              <a:gd name="connsiteX259" fmla="*/ 5098996 w 7714416"/>
              <a:gd name="connsiteY259" fmla="*/ 5078873 h 5282095"/>
              <a:gd name="connsiteX260" fmla="*/ 5093267 w 7714416"/>
              <a:gd name="connsiteY260" fmla="*/ 5082761 h 5282095"/>
              <a:gd name="connsiteX261" fmla="*/ 5090976 w 7714416"/>
              <a:gd name="connsiteY261" fmla="*/ 5080872 h 5282095"/>
              <a:gd name="connsiteX262" fmla="*/ 5096132 w 7714416"/>
              <a:gd name="connsiteY262" fmla="*/ 5075985 h 5282095"/>
              <a:gd name="connsiteX263" fmla="*/ 5095845 w 7714416"/>
              <a:gd name="connsiteY263" fmla="*/ 5074874 h 5282095"/>
              <a:gd name="connsiteX264" fmla="*/ 5091548 w 7714416"/>
              <a:gd name="connsiteY264" fmla="*/ 5073430 h 5282095"/>
              <a:gd name="connsiteX265" fmla="*/ 5087252 w 7714416"/>
              <a:gd name="connsiteY265" fmla="*/ 5062544 h 5282095"/>
              <a:gd name="connsiteX266" fmla="*/ 5104153 w 7714416"/>
              <a:gd name="connsiteY266" fmla="*/ 5054768 h 5282095"/>
              <a:gd name="connsiteX267" fmla="*/ 2930748 w 7714416"/>
              <a:gd name="connsiteY267" fmla="*/ 5054768 h 5282095"/>
              <a:gd name="connsiteX268" fmla="*/ 2939056 w 7714416"/>
              <a:gd name="connsiteY268" fmla="*/ 5059766 h 5282095"/>
              <a:gd name="connsiteX269" fmla="*/ 2939056 w 7714416"/>
              <a:gd name="connsiteY269" fmla="*/ 5062544 h 5282095"/>
              <a:gd name="connsiteX270" fmla="*/ 2936191 w 7714416"/>
              <a:gd name="connsiteY270" fmla="*/ 5064432 h 5282095"/>
              <a:gd name="connsiteX271" fmla="*/ 2932468 w 7714416"/>
              <a:gd name="connsiteY271" fmla="*/ 5066209 h 5282095"/>
              <a:gd name="connsiteX272" fmla="*/ 2922727 w 7714416"/>
              <a:gd name="connsiteY272" fmla="*/ 5066543 h 5282095"/>
              <a:gd name="connsiteX273" fmla="*/ 2917857 w 7714416"/>
              <a:gd name="connsiteY273" fmla="*/ 5062877 h 5282095"/>
              <a:gd name="connsiteX274" fmla="*/ 2916999 w 7714416"/>
              <a:gd name="connsiteY274" fmla="*/ 5060544 h 5282095"/>
              <a:gd name="connsiteX275" fmla="*/ 2930748 w 7714416"/>
              <a:gd name="connsiteY275" fmla="*/ 5054768 h 5282095"/>
              <a:gd name="connsiteX276" fmla="*/ 2729650 w 7714416"/>
              <a:gd name="connsiteY276" fmla="*/ 5054768 h 5282095"/>
              <a:gd name="connsiteX277" fmla="*/ 2739103 w 7714416"/>
              <a:gd name="connsiteY277" fmla="*/ 5055990 h 5282095"/>
              <a:gd name="connsiteX278" fmla="*/ 2742827 w 7714416"/>
              <a:gd name="connsiteY278" fmla="*/ 5060989 h 5282095"/>
              <a:gd name="connsiteX279" fmla="*/ 2742828 w 7714416"/>
              <a:gd name="connsiteY279" fmla="*/ 5069653 h 5282095"/>
              <a:gd name="connsiteX280" fmla="*/ 2725353 w 7714416"/>
              <a:gd name="connsiteY280" fmla="*/ 5076318 h 5282095"/>
              <a:gd name="connsiteX281" fmla="*/ 2724495 w 7714416"/>
              <a:gd name="connsiteY281" fmla="*/ 5078873 h 5282095"/>
              <a:gd name="connsiteX282" fmla="*/ 2718764 w 7714416"/>
              <a:gd name="connsiteY282" fmla="*/ 5082760 h 5282095"/>
              <a:gd name="connsiteX283" fmla="*/ 2716186 w 7714416"/>
              <a:gd name="connsiteY283" fmla="*/ 5080873 h 5282095"/>
              <a:gd name="connsiteX284" fmla="*/ 2721629 w 7714416"/>
              <a:gd name="connsiteY284" fmla="*/ 5075985 h 5282095"/>
              <a:gd name="connsiteX285" fmla="*/ 2721343 w 7714416"/>
              <a:gd name="connsiteY285" fmla="*/ 5074874 h 5282095"/>
              <a:gd name="connsiteX286" fmla="*/ 2717047 w 7714416"/>
              <a:gd name="connsiteY286" fmla="*/ 5073430 h 5282095"/>
              <a:gd name="connsiteX287" fmla="*/ 2712750 w 7714416"/>
              <a:gd name="connsiteY287" fmla="*/ 5062544 h 5282095"/>
              <a:gd name="connsiteX288" fmla="*/ 2729650 w 7714416"/>
              <a:gd name="connsiteY288" fmla="*/ 5054768 h 5282095"/>
              <a:gd name="connsiteX289" fmla="*/ 4002411 w 7714416"/>
              <a:gd name="connsiteY289" fmla="*/ 5048992 h 5282095"/>
              <a:gd name="connsiteX290" fmla="*/ 4005276 w 7714416"/>
              <a:gd name="connsiteY290" fmla="*/ 5050658 h 5282095"/>
              <a:gd name="connsiteX291" fmla="*/ 4005848 w 7714416"/>
              <a:gd name="connsiteY291" fmla="*/ 5052768 h 5282095"/>
              <a:gd name="connsiteX292" fmla="*/ 4003270 w 7714416"/>
              <a:gd name="connsiteY292" fmla="*/ 5054212 h 5282095"/>
              <a:gd name="connsiteX293" fmla="*/ 3998687 w 7714416"/>
              <a:gd name="connsiteY293" fmla="*/ 5053434 h 5282095"/>
              <a:gd name="connsiteX294" fmla="*/ 2935618 w 7714416"/>
              <a:gd name="connsiteY294" fmla="*/ 5048992 h 5282095"/>
              <a:gd name="connsiteX295" fmla="*/ 2938484 w 7714416"/>
              <a:gd name="connsiteY295" fmla="*/ 5050658 h 5282095"/>
              <a:gd name="connsiteX296" fmla="*/ 2939055 w 7714416"/>
              <a:gd name="connsiteY296" fmla="*/ 5052769 h 5282095"/>
              <a:gd name="connsiteX297" fmla="*/ 2936477 w 7714416"/>
              <a:gd name="connsiteY297" fmla="*/ 5054213 h 5282095"/>
              <a:gd name="connsiteX298" fmla="*/ 2931894 w 7714416"/>
              <a:gd name="connsiteY298" fmla="*/ 5053435 h 5282095"/>
              <a:gd name="connsiteX299" fmla="*/ 5310121 w 7714416"/>
              <a:gd name="connsiteY299" fmla="*/ 5048991 h 5282095"/>
              <a:gd name="connsiteX300" fmla="*/ 5312985 w 7714416"/>
              <a:gd name="connsiteY300" fmla="*/ 5050658 h 5282095"/>
              <a:gd name="connsiteX301" fmla="*/ 5313558 w 7714416"/>
              <a:gd name="connsiteY301" fmla="*/ 5052768 h 5282095"/>
              <a:gd name="connsiteX302" fmla="*/ 5310980 w 7714416"/>
              <a:gd name="connsiteY302" fmla="*/ 5054212 h 5282095"/>
              <a:gd name="connsiteX303" fmla="*/ 5306397 w 7714416"/>
              <a:gd name="connsiteY303" fmla="*/ 5053435 h 5282095"/>
              <a:gd name="connsiteX304" fmla="*/ 5675363 w 7714416"/>
              <a:gd name="connsiteY304" fmla="*/ 5048769 h 5282095"/>
              <a:gd name="connsiteX305" fmla="*/ 5682524 w 7714416"/>
              <a:gd name="connsiteY305" fmla="*/ 5075540 h 5282095"/>
              <a:gd name="connsiteX306" fmla="*/ 5674503 w 7714416"/>
              <a:gd name="connsiteY306" fmla="*/ 5080872 h 5282095"/>
              <a:gd name="connsiteX307" fmla="*/ 5675363 w 7714416"/>
              <a:gd name="connsiteY307" fmla="*/ 5048769 h 5282095"/>
              <a:gd name="connsiteX308" fmla="*/ 4367653 w 7714416"/>
              <a:gd name="connsiteY308" fmla="*/ 5048769 h 5282095"/>
              <a:gd name="connsiteX309" fmla="*/ 4374814 w 7714416"/>
              <a:gd name="connsiteY309" fmla="*/ 5075540 h 5282095"/>
              <a:gd name="connsiteX310" fmla="*/ 4366794 w 7714416"/>
              <a:gd name="connsiteY310" fmla="*/ 5080872 h 5282095"/>
              <a:gd name="connsiteX311" fmla="*/ 4367653 w 7714416"/>
              <a:gd name="connsiteY311" fmla="*/ 5048769 h 5282095"/>
              <a:gd name="connsiteX312" fmla="*/ 3300860 w 7714416"/>
              <a:gd name="connsiteY312" fmla="*/ 5048769 h 5282095"/>
              <a:gd name="connsiteX313" fmla="*/ 3308022 w 7714416"/>
              <a:gd name="connsiteY313" fmla="*/ 5075540 h 5282095"/>
              <a:gd name="connsiteX314" fmla="*/ 3300001 w 7714416"/>
              <a:gd name="connsiteY314" fmla="*/ 5080872 h 5282095"/>
              <a:gd name="connsiteX315" fmla="*/ 3300860 w 7714416"/>
              <a:gd name="connsiteY315" fmla="*/ 5048769 h 5282095"/>
              <a:gd name="connsiteX316" fmla="*/ 2420270 w 7714416"/>
              <a:gd name="connsiteY316" fmla="*/ 5046992 h 5282095"/>
              <a:gd name="connsiteX317" fmla="*/ 2371283 w 7714416"/>
              <a:gd name="connsiteY317" fmla="*/ 5064209 h 5282095"/>
              <a:gd name="connsiteX318" fmla="*/ 2420270 w 7714416"/>
              <a:gd name="connsiteY318" fmla="*/ 5046992 h 5282095"/>
              <a:gd name="connsiteX319" fmla="*/ 4794771 w 7714416"/>
              <a:gd name="connsiteY319" fmla="*/ 5046992 h 5282095"/>
              <a:gd name="connsiteX320" fmla="*/ 4745786 w 7714416"/>
              <a:gd name="connsiteY320" fmla="*/ 5064210 h 5282095"/>
              <a:gd name="connsiteX321" fmla="*/ 4794771 w 7714416"/>
              <a:gd name="connsiteY321" fmla="*/ 5046992 h 5282095"/>
              <a:gd name="connsiteX322" fmla="*/ 3487063 w 7714416"/>
              <a:gd name="connsiteY322" fmla="*/ 5046992 h 5282095"/>
              <a:gd name="connsiteX323" fmla="*/ 3438076 w 7714416"/>
              <a:gd name="connsiteY323" fmla="*/ 5064210 h 5282095"/>
              <a:gd name="connsiteX324" fmla="*/ 3487063 w 7714416"/>
              <a:gd name="connsiteY324" fmla="*/ 5046992 h 5282095"/>
              <a:gd name="connsiteX325" fmla="*/ 5325303 w 7714416"/>
              <a:gd name="connsiteY325" fmla="*/ 5039994 h 5282095"/>
              <a:gd name="connsiteX326" fmla="*/ 5326449 w 7714416"/>
              <a:gd name="connsiteY326" fmla="*/ 5039994 h 5282095"/>
              <a:gd name="connsiteX327" fmla="*/ 5330460 w 7714416"/>
              <a:gd name="connsiteY327" fmla="*/ 5041438 h 5282095"/>
              <a:gd name="connsiteX328" fmla="*/ 5333038 w 7714416"/>
              <a:gd name="connsiteY328" fmla="*/ 5044770 h 5282095"/>
              <a:gd name="connsiteX329" fmla="*/ 5333039 w 7714416"/>
              <a:gd name="connsiteY329" fmla="*/ 5047881 h 5282095"/>
              <a:gd name="connsiteX330" fmla="*/ 5330173 w 7714416"/>
              <a:gd name="connsiteY330" fmla="*/ 5049769 h 5282095"/>
              <a:gd name="connsiteX331" fmla="*/ 5323584 w 7714416"/>
              <a:gd name="connsiteY331" fmla="*/ 5041882 h 5282095"/>
              <a:gd name="connsiteX332" fmla="*/ 5325303 w 7714416"/>
              <a:gd name="connsiteY332" fmla="*/ 5039994 h 5282095"/>
              <a:gd name="connsiteX333" fmla="*/ 4017594 w 7714416"/>
              <a:gd name="connsiteY333" fmla="*/ 5039994 h 5282095"/>
              <a:gd name="connsiteX334" fmla="*/ 4018740 w 7714416"/>
              <a:gd name="connsiteY334" fmla="*/ 5039994 h 5282095"/>
              <a:gd name="connsiteX335" fmla="*/ 4022750 w 7714416"/>
              <a:gd name="connsiteY335" fmla="*/ 5041438 h 5282095"/>
              <a:gd name="connsiteX336" fmla="*/ 4025327 w 7714416"/>
              <a:gd name="connsiteY336" fmla="*/ 5044770 h 5282095"/>
              <a:gd name="connsiteX337" fmla="*/ 4025328 w 7714416"/>
              <a:gd name="connsiteY337" fmla="*/ 5047881 h 5282095"/>
              <a:gd name="connsiteX338" fmla="*/ 4022464 w 7714416"/>
              <a:gd name="connsiteY338" fmla="*/ 5049769 h 5282095"/>
              <a:gd name="connsiteX339" fmla="*/ 4015875 w 7714416"/>
              <a:gd name="connsiteY339" fmla="*/ 5041882 h 5282095"/>
              <a:gd name="connsiteX340" fmla="*/ 4017594 w 7714416"/>
              <a:gd name="connsiteY340" fmla="*/ 5039994 h 5282095"/>
              <a:gd name="connsiteX341" fmla="*/ 2951946 w 7714416"/>
              <a:gd name="connsiteY341" fmla="*/ 5039994 h 5282095"/>
              <a:gd name="connsiteX342" fmla="*/ 2955957 w 7714416"/>
              <a:gd name="connsiteY342" fmla="*/ 5041438 h 5282095"/>
              <a:gd name="connsiteX343" fmla="*/ 2958536 w 7714416"/>
              <a:gd name="connsiteY343" fmla="*/ 5044770 h 5282095"/>
              <a:gd name="connsiteX344" fmla="*/ 2958536 w 7714416"/>
              <a:gd name="connsiteY344" fmla="*/ 5047881 h 5282095"/>
              <a:gd name="connsiteX345" fmla="*/ 2955670 w 7714416"/>
              <a:gd name="connsiteY345" fmla="*/ 5049769 h 5282095"/>
              <a:gd name="connsiteX346" fmla="*/ 2949082 w 7714416"/>
              <a:gd name="connsiteY346" fmla="*/ 5041882 h 5282095"/>
              <a:gd name="connsiteX347" fmla="*/ 2950800 w 7714416"/>
              <a:gd name="connsiteY347" fmla="*/ 5039994 h 5282095"/>
              <a:gd name="connsiteX348" fmla="*/ 2951946 w 7714416"/>
              <a:gd name="connsiteY348" fmla="*/ 5039994 h 5282095"/>
              <a:gd name="connsiteX349" fmla="*/ 3619408 w 7714416"/>
              <a:gd name="connsiteY349" fmla="*/ 5030774 h 5282095"/>
              <a:gd name="connsiteX350" fmla="*/ 3633160 w 7714416"/>
              <a:gd name="connsiteY350" fmla="*/ 5062432 h 5282095"/>
              <a:gd name="connsiteX351" fmla="*/ 3617403 w 7714416"/>
              <a:gd name="connsiteY351" fmla="*/ 5066542 h 5282095"/>
              <a:gd name="connsiteX352" fmla="*/ 3583027 w 7714416"/>
              <a:gd name="connsiteY352" fmla="*/ 5045104 h 5282095"/>
              <a:gd name="connsiteX353" fmla="*/ 3619408 w 7714416"/>
              <a:gd name="connsiteY353" fmla="*/ 5030774 h 5282095"/>
              <a:gd name="connsiteX354" fmla="*/ 6098184 w 7714416"/>
              <a:gd name="connsiteY354" fmla="*/ 5021887 h 5282095"/>
              <a:gd name="connsiteX355" fmla="*/ 6112508 w 7714416"/>
              <a:gd name="connsiteY355" fmla="*/ 5023553 h 5282095"/>
              <a:gd name="connsiteX356" fmla="*/ 6111934 w 7714416"/>
              <a:gd name="connsiteY356" fmla="*/ 5030107 h 5282095"/>
              <a:gd name="connsiteX357" fmla="*/ 6098471 w 7714416"/>
              <a:gd name="connsiteY357" fmla="*/ 5031107 h 5282095"/>
              <a:gd name="connsiteX358" fmla="*/ 6098184 w 7714416"/>
              <a:gd name="connsiteY358" fmla="*/ 5021887 h 5282095"/>
              <a:gd name="connsiteX359" fmla="*/ 4790474 w 7714416"/>
              <a:gd name="connsiteY359" fmla="*/ 5021887 h 5282095"/>
              <a:gd name="connsiteX360" fmla="*/ 4804798 w 7714416"/>
              <a:gd name="connsiteY360" fmla="*/ 5023553 h 5282095"/>
              <a:gd name="connsiteX361" fmla="*/ 4804225 w 7714416"/>
              <a:gd name="connsiteY361" fmla="*/ 5030107 h 5282095"/>
              <a:gd name="connsiteX362" fmla="*/ 4790761 w 7714416"/>
              <a:gd name="connsiteY362" fmla="*/ 5031107 h 5282095"/>
              <a:gd name="connsiteX363" fmla="*/ 4790474 w 7714416"/>
              <a:gd name="connsiteY363" fmla="*/ 5021887 h 5282095"/>
              <a:gd name="connsiteX364" fmla="*/ 3723681 w 7714416"/>
              <a:gd name="connsiteY364" fmla="*/ 5021887 h 5282095"/>
              <a:gd name="connsiteX365" fmla="*/ 3738004 w 7714416"/>
              <a:gd name="connsiteY365" fmla="*/ 5023554 h 5282095"/>
              <a:gd name="connsiteX366" fmla="*/ 3737432 w 7714416"/>
              <a:gd name="connsiteY366" fmla="*/ 5030108 h 5282095"/>
              <a:gd name="connsiteX367" fmla="*/ 3723968 w 7714416"/>
              <a:gd name="connsiteY367" fmla="*/ 5031107 h 5282095"/>
              <a:gd name="connsiteX368" fmla="*/ 3723681 w 7714416"/>
              <a:gd name="connsiteY368" fmla="*/ 5021887 h 5282095"/>
              <a:gd name="connsiteX369" fmla="*/ 3165362 w 7714416"/>
              <a:gd name="connsiteY369" fmla="*/ 5017222 h 5282095"/>
              <a:gd name="connsiteX370" fmla="*/ 3171664 w 7714416"/>
              <a:gd name="connsiteY370" fmla="*/ 5017332 h 5282095"/>
              <a:gd name="connsiteX371" fmla="*/ 3174530 w 7714416"/>
              <a:gd name="connsiteY371" fmla="*/ 5020332 h 5282095"/>
              <a:gd name="connsiteX372" fmla="*/ 3176535 w 7714416"/>
              <a:gd name="connsiteY372" fmla="*/ 5022331 h 5282095"/>
              <a:gd name="connsiteX373" fmla="*/ 3175389 w 7714416"/>
              <a:gd name="connsiteY373" fmla="*/ 5027219 h 5282095"/>
              <a:gd name="connsiteX374" fmla="*/ 3177107 w 7714416"/>
              <a:gd name="connsiteY374" fmla="*/ 5026886 h 5282095"/>
              <a:gd name="connsiteX375" fmla="*/ 3167654 w 7714416"/>
              <a:gd name="connsiteY375" fmla="*/ 5030441 h 5282095"/>
              <a:gd name="connsiteX376" fmla="*/ 3159348 w 7714416"/>
              <a:gd name="connsiteY376" fmla="*/ 5017888 h 5282095"/>
              <a:gd name="connsiteX377" fmla="*/ 3165362 w 7714416"/>
              <a:gd name="connsiteY377" fmla="*/ 5017222 h 5282095"/>
              <a:gd name="connsiteX378" fmla="*/ 5539865 w 7714416"/>
              <a:gd name="connsiteY378" fmla="*/ 5017222 h 5282095"/>
              <a:gd name="connsiteX379" fmla="*/ 5546167 w 7714416"/>
              <a:gd name="connsiteY379" fmla="*/ 5017333 h 5282095"/>
              <a:gd name="connsiteX380" fmla="*/ 5549031 w 7714416"/>
              <a:gd name="connsiteY380" fmla="*/ 5020332 h 5282095"/>
              <a:gd name="connsiteX381" fmla="*/ 5551037 w 7714416"/>
              <a:gd name="connsiteY381" fmla="*/ 5022331 h 5282095"/>
              <a:gd name="connsiteX382" fmla="*/ 5549891 w 7714416"/>
              <a:gd name="connsiteY382" fmla="*/ 5027219 h 5282095"/>
              <a:gd name="connsiteX383" fmla="*/ 5551610 w 7714416"/>
              <a:gd name="connsiteY383" fmla="*/ 5026886 h 5282095"/>
              <a:gd name="connsiteX384" fmla="*/ 5542157 w 7714416"/>
              <a:gd name="connsiteY384" fmla="*/ 5030441 h 5282095"/>
              <a:gd name="connsiteX385" fmla="*/ 5533849 w 7714416"/>
              <a:gd name="connsiteY385" fmla="*/ 5017888 h 5282095"/>
              <a:gd name="connsiteX386" fmla="*/ 5539865 w 7714416"/>
              <a:gd name="connsiteY386" fmla="*/ 5017222 h 5282095"/>
              <a:gd name="connsiteX387" fmla="*/ 4232155 w 7714416"/>
              <a:gd name="connsiteY387" fmla="*/ 5017221 h 5282095"/>
              <a:gd name="connsiteX388" fmla="*/ 4238458 w 7714416"/>
              <a:gd name="connsiteY388" fmla="*/ 5017333 h 5282095"/>
              <a:gd name="connsiteX389" fmla="*/ 4241322 w 7714416"/>
              <a:gd name="connsiteY389" fmla="*/ 5020332 h 5282095"/>
              <a:gd name="connsiteX390" fmla="*/ 4243328 w 7714416"/>
              <a:gd name="connsiteY390" fmla="*/ 5022331 h 5282095"/>
              <a:gd name="connsiteX391" fmla="*/ 4242182 w 7714416"/>
              <a:gd name="connsiteY391" fmla="*/ 5027219 h 5282095"/>
              <a:gd name="connsiteX392" fmla="*/ 4243900 w 7714416"/>
              <a:gd name="connsiteY392" fmla="*/ 5026886 h 5282095"/>
              <a:gd name="connsiteX393" fmla="*/ 4234447 w 7714416"/>
              <a:gd name="connsiteY393" fmla="*/ 5030441 h 5282095"/>
              <a:gd name="connsiteX394" fmla="*/ 4226141 w 7714416"/>
              <a:gd name="connsiteY394" fmla="*/ 5017889 h 5282095"/>
              <a:gd name="connsiteX395" fmla="*/ 4232155 w 7714416"/>
              <a:gd name="connsiteY395" fmla="*/ 5017221 h 5282095"/>
              <a:gd name="connsiteX396" fmla="*/ 5171473 w 7714416"/>
              <a:gd name="connsiteY396" fmla="*/ 5015000 h 5282095"/>
              <a:gd name="connsiteX397" fmla="*/ 5147409 w 7714416"/>
              <a:gd name="connsiteY397" fmla="*/ 5032107 h 5282095"/>
              <a:gd name="connsiteX398" fmla="*/ 5145690 w 7714416"/>
              <a:gd name="connsiteY398" fmla="*/ 5027553 h 5282095"/>
              <a:gd name="connsiteX399" fmla="*/ 5148841 w 7714416"/>
              <a:gd name="connsiteY399" fmla="*/ 5026775 h 5282095"/>
              <a:gd name="connsiteX400" fmla="*/ 5171473 w 7714416"/>
              <a:gd name="connsiteY400" fmla="*/ 5015000 h 5282095"/>
              <a:gd name="connsiteX401" fmla="*/ 2796969 w 7714416"/>
              <a:gd name="connsiteY401" fmla="*/ 5015000 h 5282095"/>
              <a:gd name="connsiteX402" fmla="*/ 2772906 w 7714416"/>
              <a:gd name="connsiteY402" fmla="*/ 5032107 h 5282095"/>
              <a:gd name="connsiteX403" fmla="*/ 2771187 w 7714416"/>
              <a:gd name="connsiteY403" fmla="*/ 5027552 h 5282095"/>
              <a:gd name="connsiteX404" fmla="*/ 2774338 w 7714416"/>
              <a:gd name="connsiteY404" fmla="*/ 5026775 h 5282095"/>
              <a:gd name="connsiteX405" fmla="*/ 2796969 w 7714416"/>
              <a:gd name="connsiteY405" fmla="*/ 5015000 h 5282095"/>
              <a:gd name="connsiteX406" fmla="*/ 3863762 w 7714416"/>
              <a:gd name="connsiteY406" fmla="*/ 5015000 h 5282095"/>
              <a:gd name="connsiteX407" fmla="*/ 3839699 w 7714416"/>
              <a:gd name="connsiteY407" fmla="*/ 5032107 h 5282095"/>
              <a:gd name="connsiteX408" fmla="*/ 3837980 w 7714416"/>
              <a:gd name="connsiteY408" fmla="*/ 5027552 h 5282095"/>
              <a:gd name="connsiteX409" fmla="*/ 3841132 w 7714416"/>
              <a:gd name="connsiteY409" fmla="*/ 5026775 h 5282095"/>
              <a:gd name="connsiteX410" fmla="*/ 3863762 w 7714416"/>
              <a:gd name="connsiteY410" fmla="*/ 5015000 h 5282095"/>
              <a:gd name="connsiteX411" fmla="*/ 5664477 w 7714416"/>
              <a:gd name="connsiteY411" fmla="*/ 5014223 h 5282095"/>
              <a:gd name="connsiteX412" fmla="*/ 5669060 w 7714416"/>
              <a:gd name="connsiteY412" fmla="*/ 5015222 h 5282095"/>
              <a:gd name="connsiteX413" fmla="*/ 5666769 w 7714416"/>
              <a:gd name="connsiteY413" fmla="*/ 5025886 h 5282095"/>
              <a:gd name="connsiteX414" fmla="*/ 5661040 w 7714416"/>
              <a:gd name="connsiteY414" fmla="*/ 5014889 h 5282095"/>
              <a:gd name="connsiteX415" fmla="*/ 5664477 w 7714416"/>
              <a:gd name="connsiteY415" fmla="*/ 5014223 h 5282095"/>
              <a:gd name="connsiteX416" fmla="*/ 3289689 w 7714416"/>
              <a:gd name="connsiteY416" fmla="*/ 5014223 h 5282095"/>
              <a:gd name="connsiteX417" fmla="*/ 3294558 w 7714416"/>
              <a:gd name="connsiteY417" fmla="*/ 5015222 h 5282095"/>
              <a:gd name="connsiteX418" fmla="*/ 3292266 w 7714416"/>
              <a:gd name="connsiteY418" fmla="*/ 5025885 h 5282095"/>
              <a:gd name="connsiteX419" fmla="*/ 3286537 w 7714416"/>
              <a:gd name="connsiteY419" fmla="*/ 5014889 h 5282095"/>
              <a:gd name="connsiteX420" fmla="*/ 3289689 w 7714416"/>
              <a:gd name="connsiteY420" fmla="*/ 5014223 h 5282095"/>
              <a:gd name="connsiteX421" fmla="*/ 4356481 w 7714416"/>
              <a:gd name="connsiteY421" fmla="*/ 5014222 h 5282095"/>
              <a:gd name="connsiteX422" fmla="*/ 4361351 w 7714416"/>
              <a:gd name="connsiteY422" fmla="*/ 5015222 h 5282095"/>
              <a:gd name="connsiteX423" fmla="*/ 4359059 w 7714416"/>
              <a:gd name="connsiteY423" fmla="*/ 5025886 h 5282095"/>
              <a:gd name="connsiteX424" fmla="*/ 4353330 w 7714416"/>
              <a:gd name="connsiteY424" fmla="*/ 5014889 h 5282095"/>
              <a:gd name="connsiteX425" fmla="*/ 4356481 w 7714416"/>
              <a:gd name="connsiteY425" fmla="*/ 5014222 h 5282095"/>
              <a:gd name="connsiteX426" fmla="*/ 3932227 w 7714416"/>
              <a:gd name="connsiteY426" fmla="*/ 5013334 h 5282095"/>
              <a:gd name="connsiteX427" fmla="*/ 3936524 w 7714416"/>
              <a:gd name="connsiteY427" fmla="*/ 5014110 h 5282095"/>
              <a:gd name="connsiteX428" fmla="*/ 3938530 w 7714416"/>
              <a:gd name="connsiteY428" fmla="*/ 5018555 h 5282095"/>
              <a:gd name="connsiteX429" fmla="*/ 3927930 w 7714416"/>
              <a:gd name="connsiteY429" fmla="*/ 5026775 h 5282095"/>
              <a:gd name="connsiteX430" fmla="*/ 3923920 w 7714416"/>
              <a:gd name="connsiteY430" fmla="*/ 5026997 h 5282095"/>
              <a:gd name="connsiteX431" fmla="*/ 3923347 w 7714416"/>
              <a:gd name="connsiteY431" fmla="*/ 5021110 h 5282095"/>
              <a:gd name="connsiteX432" fmla="*/ 3932227 w 7714416"/>
              <a:gd name="connsiteY432" fmla="*/ 5013334 h 5282095"/>
              <a:gd name="connsiteX433" fmla="*/ 5240225 w 7714416"/>
              <a:gd name="connsiteY433" fmla="*/ 5013334 h 5282095"/>
              <a:gd name="connsiteX434" fmla="*/ 5244520 w 7714416"/>
              <a:gd name="connsiteY434" fmla="*/ 5014111 h 5282095"/>
              <a:gd name="connsiteX435" fmla="*/ 5246239 w 7714416"/>
              <a:gd name="connsiteY435" fmla="*/ 5018555 h 5282095"/>
              <a:gd name="connsiteX436" fmla="*/ 5235640 w 7714416"/>
              <a:gd name="connsiteY436" fmla="*/ 5026775 h 5282095"/>
              <a:gd name="connsiteX437" fmla="*/ 5231630 w 7714416"/>
              <a:gd name="connsiteY437" fmla="*/ 5026997 h 5282095"/>
              <a:gd name="connsiteX438" fmla="*/ 5231057 w 7714416"/>
              <a:gd name="connsiteY438" fmla="*/ 5021110 h 5282095"/>
              <a:gd name="connsiteX439" fmla="*/ 5240225 w 7714416"/>
              <a:gd name="connsiteY439" fmla="*/ 5013334 h 5282095"/>
              <a:gd name="connsiteX440" fmla="*/ 2865435 w 7714416"/>
              <a:gd name="connsiteY440" fmla="*/ 5013334 h 5282095"/>
              <a:gd name="connsiteX441" fmla="*/ 2869731 w 7714416"/>
              <a:gd name="connsiteY441" fmla="*/ 5014111 h 5282095"/>
              <a:gd name="connsiteX442" fmla="*/ 2871736 w 7714416"/>
              <a:gd name="connsiteY442" fmla="*/ 5018555 h 5282095"/>
              <a:gd name="connsiteX443" fmla="*/ 2861137 w 7714416"/>
              <a:gd name="connsiteY443" fmla="*/ 5026775 h 5282095"/>
              <a:gd name="connsiteX444" fmla="*/ 2857127 w 7714416"/>
              <a:gd name="connsiteY444" fmla="*/ 5026997 h 5282095"/>
              <a:gd name="connsiteX445" fmla="*/ 2856554 w 7714416"/>
              <a:gd name="connsiteY445" fmla="*/ 5021110 h 5282095"/>
              <a:gd name="connsiteX446" fmla="*/ 2865435 w 7714416"/>
              <a:gd name="connsiteY446" fmla="*/ 5013334 h 5282095"/>
              <a:gd name="connsiteX447" fmla="*/ 2791240 w 7714416"/>
              <a:gd name="connsiteY447" fmla="*/ 5010557 h 5282095"/>
              <a:gd name="connsiteX448" fmla="*/ 2791527 w 7714416"/>
              <a:gd name="connsiteY448" fmla="*/ 5011779 h 5282095"/>
              <a:gd name="connsiteX449" fmla="*/ 2775771 w 7714416"/>
              <a:gd name="connsiteY449" fmla="*/ 5018444 h 5282095"/>
              <a:gd name="connsiteX450" fmla="*/ 2769470 w 7714416"/>
              <a:gd name="connsiteY450" fmla="*/ 5019443 h 5282095"/>
              <a:gd name="connsiteX451" fmla="*/ 2770902 w 7714416"/>
              <a:gd name="connsiteY451" fmla="*/ 5019110 h 5282095"/>
              <a:gd name="connsiteX452" fmla="*/ 2768897 w 7714416"/>
              <a:gd name="connsiteY452" fmla="*/ 5018444 h 5282095"/>
              <a:gd name="connsiteX453" fmla="*/ 2791240 w 7714416"/>
              <a:gd name="connsiteY453" fmla="*/ 5010557 h 5282095"/>
              <a:gd name="connsiteX454" fmla="*/ 5165743 w 7714416"/>
              <a:gd name="connsiteY454" fmla="*/ 5010557 h 5282095"/>
              <a:gd name="connsiteX455" fmla="*/ 5166317 w 7714416"/>
              <a:gd name="connsiteY455" fmla="*/ 5011779 h 5282095"/>
              <a:gd name="connsiteX456" fmla="*/ 5150274 w 7714416"/>
              <a:gd name="connsiteY456" fmla="*/ 5018444 h 5282095"/>
              <a:gd name="connsiteX457" fmla="*/ 5143971 w 7714416"/>
              <a:gd name="connsiteY457" fmla="*/ 5019444 h 5282095"/>
              <a:gd name="connsiteX458" fmla="*/ 5145690 w 7714416"/>
              <a:gd name="connsiteY458" fmla="*/ 5019110 h 5282095"/>
              <a:gd name="connsiteX459" fmla="*/ 5143398 w 7714416"/>
              <a:gd name="connsiteY459" fmla="*/ 5018444 h 5282095"/>
              <a:gd name="connsiteX460" fmla="*/ 5165743 w 7714416"/>
              <a:gd name="connsiteY460" fmla="*/ 5010557 h 5282095"/>
              <a:gd name="connsiteX461" fmla="*/ 3858033 w 7714416"/>
              <a:gd name="connsiteY461" fmla="*/ 5010557 h 5282095"/>
              <a:gd name="connsiteX462" fmla="*/ 3858319 w 7714416"/>
              <a:gd name="connsiteY462" fmla="*/ 5011779 h 5282095"/>
              <a:gd name="connsiteX463" fmla="*/ 3842564 w 7714416"/>
              <a:gd name="connsiteY463" fmla="*/ 5018443 h 5282095"/>
              <a:gd name="connsiteX464" fmla="*/ 3836262 w 7714416"/>
              <a:gd name="connsiteY464" fmla="*/ 5019444 h 5282095"/>
              <a:gd name="connsiteX465" fmla="*/ 3837694 w 7714416"/>
              <a:gd name="connsiteY465" fmla="*/ 5019110 h 5282095"/>
              <a:gd name="connsiteX466" fmla="*/ 3835689 w 7714416"/>
              <a:gd name="connsiteY466" fmla="*/ 5018444 h 5282095"/>
              <a:gd name="connsiteX467" fmla="*/ 3858033 w 7714416"/>
              <a:gd name="connsiteY467" fmla="*/ 5010557 h 5282095"/>
              <a:gd name="connsiteX468" fmla="*/ 3561542 w 7714416"/>
              <a:gd name="connsiteY468" fmla="*/ 5008891 h 5282095"/>
              <a:gd name="connsiteX469" fmla="*/ 3575293 w 7714416"/>
              <a:gd name="connsiteY469" fmla="*/ 5015000 h 5282095"/>
              <a:gd name="connsiteX470" fmla="*/ 3560397 w 7714416"/>
              <a:gd name="connsiteY470" fmla="*/ 5024553 h 5282095"/>
              <a:gd name="connsiteX471" fmla="*/ 3561542 w 7714416"/>
              <a:gd name="connsiteY471" fmla="*/ 5008891 h 5282095"/>
              <a:gd name="connsiteX472" fmla="*/ 2494750 w 7714416"/>
              <a:gd name="connsiteY472" fmla="*/ 5008891 h 5282095"/>
              <a:gd name="connsiteX473" fmla="*/ 2508500 w 7714416"/>
              <a:gd name="connsiteY473" fmla="*/ 5015000 h 5282095"/>
              <a:gd name="connsiteX474" fmla="*/ 2493603 w 7714416"/>
              <a:gd name="connsiteY474" fmla="*/ 5024554 h 5282095"/>
              <a:gd name="connsiteX475" fmla="*/ 2494750 w 7714416"/>
              <a:gd name="connsiteY475" fmla="*/ 5008891 h 5282095"/>
              <a:gd name="connsiteX476" fmla="*/ 4869252 w 7714416"/>
              <a:gd name="connsiteY476" fmla="*/ 5008890 h 5282095"/>
              <a:gd name="connsiteX477" fmla="*/ 4883002 w 7714416"/>
              <a:gd name="connsiteY477" fmla="*/ 5015000 h 5282095"/>
              <a:gd name="connsiteX478" fmla="*/ 4868106 w 7714416"/>
              <a:gd name="connsiteY478" fmla="*/ 5024554 h 5282095"/>
              <a:gd name="connsiteX479" fmla="*/ 4869252 w 7714416"/>
              <a:gd name="connsiteY479" fmla="*/ 5008890 h 5282095"/>
              <a:gd name="connsiteX480" fmla="*/ 2805277 w 7714416"/>
              <a:gd name="connsiteY480" fmla="*/ 5006447 h 5282095"/>
              <a:gd name="connsiteX481" fmla="*/ 2807855 w 7714416"/>
              <a:gd name="connsiteY481" fmla="*/ 5006447 h 5282095"/>
              <a:gd name="connsiteX482" fmla="*/ 2802412 w 7714416"/>
              <a:gd name="connsiteY482" fmla="*/ 5011556 h 5282095"/>
              <a:gd name="connsiteX483" fmla="*/ 2800407 w 7714416"/>
              <a:gd name="connsiteY483" fmla="*/ 5010890 h 5282095"/>
              <a:gd name="connsiteX484" fmla="*/ 2805277 w 7714416"/>
              <a:gd name="connsiteY484" fmla="*/ 5006447 h 5282095"/>
              <a:gd name="connsiteX485" fmla="*/ 5180066 w 7714416"/>
              <a:gd name="connsiteY485" fmla="*/ 5006447 h 5282095"/>
              <a:gd name="connsiteX486" fmla="*/ 5182358 w 7714416"/>
              <a:gd name="connsiteY486" fmla="*/ 5006447 h 5282095"/>
              <a:gd name="connsiteX487" fmla="*/ 5177201 w 7714416"/>
              <a:gd name="connsiteY487" fmla="*/ 5011556 h 5282095"/>
              <a:gd name="connsiteX488" fmla="*/ 5174910 w 7714416"/>
              <a:gd name="connsiteY488" fmla="*/ 5010890 h 5282095"/>
              <a:gd name="connsiteX489" fmla="*/ 5180066 w 7714416"/>
              <a:gd name="connsiteY489" fmla="*/ 5006447 h 5282095"/>
              <a:gd name="connsiteX490" fmla="*/ 3872070 w 7714416"/>
              <a:gd name="connsiteY490" fmla="*/ 5006447 h 5282095"/>
              <a:gd name="connsiteX491" fmla="*/ 3874648 w 7714416"/>
              <a:gd name="connsiteY491" fmla="*/ 5006447 h 5282095"/>
              <a:gd name="connsiteX492" fmla="*/ 3869205 w 7714416"/>
              <a:gd name="connsiteY492" fmla="*/ 5011556 h 5282095"/>
              <a:gd name="connsiteX493" fmla="*/ 3867200 w 7714416"/>
              <a:gd name="connsiteY493" fmla="*/ 5010890 h 5282095"/>
              <a:gd name="connsiteX494" fmla="*/ 3872070 w 7714416"/>
              <a:gd name="connsiteY494" fmla="*/ 5006447 h 5282095"/>
              <a:gd name="connsiteX495" fmla="*/ 5260562 w 7714416"/>
              <a:gd name="connsiteY495" fmla="*/ 5005225 h 5282095"/>
              <a:gd name="connsiteX496" fmla="*/ 5261996 w 7714416"/>
              <a:gd name="connsiteY496" fmla="*/ 5007224 h 5282095"/>
              <a:gd name="connsiteX497" fmla="*/ 5261995 w 7714416"/>
              <a:gd name="connsiteY497" fmla="*/ 5008556 h 5282095"/>
              <a:gd name="connsiteX498" fmla="*/ 5259416 w 7714416"/>
              <a:gd name="connsiteY498" fmla="*/ 5010557 h 5282095"/>
              <a:gd name="connsiteX499" fmla="*/ 5259130 w 7714416"/>
              <a:gd name="connsiteY499" fmla="*/ 5014334 h 5282095"/>
              <a:gd name="connsiteX500" fmla="*/ 5255979 w 7714416"/>
              <a:gd name="connsiteY500" fmla="*/ 5015111 h 5282095"/>
              <a:gd name="connsiteX501" fmla="*/ 5256266 w 7714416"/>
              <a:gd name="connsiteY501" fmla="*/ 5007446 h 5282095"/>
              <a:gd name="connsiteX502" fmla="*/ 5260562 w 7714416"/>
              <a:gd name="connsiteY502" fmla="*/ 5005225 h 5282095"/>
              <a:gd name="connsiteX503" fmla="*/ 3952852 w 7714416"/>
              <a:gd name="connsiteY503" fmla="*/ 5005225 h 5282095"/>
              <a:gd name="connsiteX504" fmla="*/ 3954285 w 7714416"/>
              <a:gd name="connsiteY504" fmla="*/ 5007225 h 5282095"/>
              <a:gd name="connsiteX505" fmla="*/ 3954285 w 7714416"/>
              <a:gd name="connsiteY505" fmla="*/ 5008557 h 5282095"/>
              <a:gd name="connsiteX506" fmla="*/ 3951420 w 7714416"/>
              <a:gd name="connsiteY506" fmla="*/ 5010557 h 5282095"/>
              <a:gd name="connsiteX507" fmla="*/ 3951420 w 7714416"/>
              <a:gd name="connsiteY507" fmla="*/ 5014333 h 5282095"/>
              <a:gd name="connsiteX508" fmla="*/ 3947983 w 7714416"/>
              <a:gd name="connsiteY508" fmla="*/ 5015112 h 5282095"/>
              <a:gd name="connsiteX509" fmla="*/ 3948556 w 7714416"/>
              <a:gd name="connsiteY509" fmla="*/ 5007445 h 5282095"/>
              <a:gd name="connsiteX510" fmla="*/ 3952852 w 7714416"/>
              <a:gd name="connsiteY510" fmla="*/ 5005225 h 5282095"/>
              <a:gd name="connsiteX511" fmla="*/ 2886060 w 7714416"/>
              <a:gd name="connsiteY511" fmla="*/ 5005225 h 5282095"/>
              <a:gd name="connsiteX512" fmla="*/ 2887492 w 7714416"/>
              <a:gd name="connsiteY512" fmla="*/ 5007224 h 5282095"/>
              <a:gd name="connsiteX513" fmla="*/ 2887493 w 7714416"/>
              <a:gd name="connsiteY513" fmla="*/ 5008557 h 5282095"/>
              <a:gd name="connsiteX514" fmla="*/ 2884627 w 7714416"/>
              <a:gd name="connsiteY514" fmla="*/ 5010556 h 5282095"/>
              <a:gd name="connsiteX515" fmla="*/ 2884627 w 7714416"/>
              <a:gd name="connsiteY515" fmla="*/ 5014334 h 5282095"/>
              <a:gd name="connsiteX516" fmla="*/ 2881191 w 7714416"/>
              <a:gd name="connsiteY516" fmla="*/ 5015111 h 5282095"/>
              <a:gd name="connsiteX517" fmla="*/ 2881763 w 7714416"/>
              <a:gd name="connsiteY517" fmla="*/ 5007446 h 5282095"/>
              <a:gd name="connsiteX518" fmla="*/ 2886060 w 7714416"/>
              <a:gd name="connsiteY518" fmla="*/ 5005225 h 5282095"/>
              <a:gd name="connsiteX519" fmla="*/ 4424373 w 7714416"/>
              <a:gd name="connsiteY519" fmla="*/ 5005003 h 5282095"/>
              <a:gd name="connsiteX520" fmla="*/ 4432680 w 7714416"/>
              <a:gd name="connsiteY520" fmla="*/ 5005225 h 5282095"/>
              <a:gd name="connsiteX521" fmla="*/ 4445859 w 7714416"/>
              <a:gd name="connsiteY521" fmla="*/ 5021554 h 5282095"/>
              <a:gd name="connsiteX522" fmla="*/ 4436404 w 7714416"/>
              <a:gd name="connsiteY522" fmla="*/ 5030107 h 5282095"/>
              <a:gd name="connsiteX523" fmla="*/ 4430389 w 7714416"/>
              <a:gd name="connsiteY523" fmla="*/ 5031440 h 5282095"/>
              <a:gd name="connsiteX524" fmla="*/ 4419503 w 7714416"/>
              <a:gd name="connsiteY524" fmla="*/ 5006336 h 5282095"/>
              <a:gd name="connsiteX525" fmla="*/ 4424373 w 7714416"/>
              <a:gd name="connsiteY525" fmla="*/ 5005003 h 5282095"/>
              <a:gd name="connsiteX526" fmla="*/ 5732369 w 7714416"/>
              <a:gd name="connsiteY526" fmla="*/ 5005002 h 5282095"/>
              <a:gd name="connsiteX527" fmla="*/ 5740676 w 7714416"/>
              <a:gd name="connsiteY527" fmla="*/ 5005225 h 5282095"/>
              <a:gd name="connsiteX528" fmla="*/ 5753568 w 7714416"/>
              <a:gd name="connsiteY528" fmla="*/ 5021554 h 5282095"/>
              <a:gd name="connsiteX529" fmla="*/ 5744114 w 7714416"/>
              <a:gd name="connsiteY529" fmla="*/ 5030107 h 5282095"/>
              <a:gd name="connsiteX530" fmla="*/ 5738385 w 7714416"/>
              <a:gd name="connsiteY530" fmla="*/ 5031440 h 5282095"/>
              <a:gd name="connsiteX531" fmla="*/ 5727213 w 7714416"/>
              <a:gd name="connsiteY531" fmla="*/ 5006336 h 5282095"/>
              <a:gd name="connsiteX532" fmla="*/ 5732369 w 7714416"/>
              <a:gd name="connsiteY532" fmla="*/ 5005002 h 5282095"/>
              <a:gd name="connsiteX533" fmla="*/ 3357580 w 7714416"/>
              <a:gd name="connsiteY533" fmla="*/ 5005002 h 5282095"/>
              <a:gd name="connsiteX534" fmla="*/ 3365887 w 7714416"/>
              <a:gd name="connsiteY534" fmla="*/ 5005225 h 5282095"/>
              <a:gd name="connsiteX535" fmla="*/ 3379066 w 7714416"/>
              <a:gd name="connsiteY535" fmla="*/ 5021554 h 5282095"/>
              <a:gd name="connsiteX536" fmla="*/ 3369612 w 7714416"/>
              <a:gd name="connsiteY536" fmla="*/ 5030108 h 5282095"/>
              <a:gd name="connsiteX537" fmla="*/ 3363596 w 7714416"/>
              <a:gd name="connsiteY537" fmla="*/ 5031440 h 5282095"/>
              <a:gd name="connsiteX538" fmla="*/ 3352711 w 7714416"/>
              <a:gd name="connsiteY538" fmla="*/ 5006335 h 5282095"/>
              <a:gd name="connsiteX539" fmla="*/ 3357580 w 7714416"/>
              <a:gd name="connsiteY539" fmla="*/ 5005002 h 5282095"/>
              <a:gd name="connsiteX540" fmla="*/ 4187467 w 7714416"/>
              <a:gd name="connsiteY540" fmla="*/ 5002004 h 5282095"/>
              <a:gd name="connsiteX541" fmla="*/ 4189472 w 7714416"/>
              <a:gd name="connsiteY541" fmla="*/ 5003115 h 5282095"/>
              <a:gd name="connsiteX542" fmla="*/ 4186034 w 7714416"/>
              <a:gd name="connsiteY542" fmla="*/ 5002670 h 5282095"/>
              <a:gd name="connsiteX543" fmla="*/ 4187467 w 7714416"/>
              <a:gd name="connsiteY543" fmla="*/ 5002004 h 5282095"/>
              <a:gd name="connsiteX544" fmla="*/ 5495177 w 7714416"/>
              <a:gd name="connsiteY544" fmla="*/ 5002003 h 5282095"/>
              <a:gd name="connsiteX545" fmla="*/ 5497182 w 7714416"/>
              <a:gd name="connsiteY545" fmla="*/ 5003115 h 5282095"/>
              <a:gd name="connsiteX546" fmla="*/ 5493744 w 7714416"/>
              <a:gd name="connsiteY546" fmla="*/ 5002670 h 5282095"/>
              <a:gd name="connsiteX547" fmla="*/ 5495177 w 7714416"/>
              <a:gd name="connsiteY547" fmla="*/ 5002003 h 5282095"/>
              <a:gd name="connsiteX548" fmla="*/ 3120674 w 7714416"/>
              <a:gd name="connsiteY548" fmla="*/ 5002003 h 5282095"/>
              <a:gd name="connsiteX549" fmla="*/ 3122679 w 7714416"/>
              <a:gd name="connsiteY549" fmla="*/ 5003114 h 5282095"/>
              <a:gd name="connsiteX550" fmla="*/ 3119242 w 7714416"/>
              <a:gd name="connsiteY550" fmla="*/ 5002669 h 5282095"/>
              <a:gd name="connsiteX551" fmla="*/ 3120674 w 7714416"/>
              <a:gd name="connsiteY551" fmla="*/ 5002003 h 5282095"/>
              <a:gd name="connsiteX552" fmla="*/ 2873742 w 7714416"/>
              <a:gd name="connsiteY552" fmla="*/ 4997894 h 5282095"/>
              <a:gd name="connsiteX553" fmla="*/ 2876606 w 7714416"/>
              <a:gd name="connsiteY553" fmla="*/ 4998116 h 5282095"/>
              <a:gd name="connsiteX554" fmla="*/ 2875747 w 7714416"/>
              <a:gd name="connsiteY554" fmla="*/ 5000781 h 5282095"/>
              <a:gd name="connsiteX555" fmla="*/ 2871164 w 7714416"/>
              <a:gd name="connsiteY555" fmla="*/ 5007891 h 5282095"/>
              <a:gd name="connsiteX556" fmla="*/ 2868300 w 7714416"/>
              <a:gd name="connsiteY556" fmla="*/ 5005002 h 5282095"/>
              <a:gd name="connsiteX557" fmla="*/ 2870590 w 7714416"/>
              <a:gd name="connsiteY557" fmla="*/ 5002003 h 5282095"/>
              <a:gd name="connsiteX558" fmla="*/ 2871450 w 7714416"/>
              <a:gd name="connsiteY558" fmla="*/ 4999337 h 5282095"/>
              <a:gd name="connsiteX559" fmla="*/ 2873742 w 7714416"/>
              <a:gd name="connsiteY559" fmla="*/ 4997894 h 5282095"/>
              <a:gd name="connsiteX560" fmla="*/ 5248244 w 7714416"/>
              <a:gd name="connsiteY560" fmla="*/ 4997893 h 5282095"/>
              <a:gd name="connsiteX561" fmla="*/ 5251109 w 7714416"/>
              <a:gd name="connsiteY561" fmla="*/ 4998116 h 5282095"/>
              <a:gd name="connsiteX562" fmla="*/ 5250250 w 7714416"/>
              <a:gd name="connsiteY562" fmla="*/ 5000781 h 5282095"/>
              <a:gd name="connsiteX563" fmla="*/ 5245666 w 7714416"/>
              <a:gd name="connsiteY563" fmla="*/ 5007890 h 5282095"/>
              <a:gd name="connsiteX564" fmla="*/ 5242802 w 7714416"/>
              <a:gd name="connsiteY564" fmla="*/ 5005003 h 5282095"/>
              <a:gd name="connsiteX565" fmla="*/ 5245093 w 7714416"/>
              <a:gd name="connsiteY565" fmla="*/ 5002004 h 5282095"/>
              <a:gd name="connsiteX566" fmla="*/ 5246239 w 7714416"/>
              <a:gd name="connsiteY566" fmla="*/ 4999337 h 5282095"/>
              <a:gd name="connsiteX567" fmla="*/ 5248244 w 7714416"/>
              <a:gd name="connsiteY567" fmla="*/ 4997893 h 5282095"/>
              <a:gd name="connsiteX568" fmla="*/ 3940535 w 7714416"/>
              <a:gd name="connsiteY568" fmla="*/ 4997893 h 5282095"/>
              <a:gd name="connsiteX569" fmla="*/ 3943399 w 7714416"/>
              <a:gd name="connsiteY569" fmla="*/ 4998116 h 5282095"/>
              <a:gd name="connsiteX570" fmla="*/ 3942540 w 7714416"/>
              <a:gd name="connsiteY570" fmla="*/ 5000781 h 5282095"/>
              <a:gd name="connsiteX571" fmla="*/ 3937956 w 7714416"/>
              <a:gd name="connsiteY571" fmla="*/ 5007891 h 5282095"/>
              <a:gd name="connsiteX572" fmla="*/ 3935092 w 7714416"/>
              <a:gd name="connsiteY572" fmla="*/ 5005003 h 5282095"/>
              <a:gd name="connsiteX573" fmla="*/ 3937384 w 7714416"/>
              <a:gd name="connsiteY573" fmla="*/ 5002003 h 5282095"/>
              <a:gd name="connsiteX574" fmla="*/ 3938243 w 7714416"/>
              <a:gd name="connsiteY574" fmla="*/ 4999337 h 5282095"/>
              <a:gd name="connsiteX575" fmla="*/ 3940535 w 7714416"/>
              <a:gd name="connsiteY575" fmla="*/ 4997893 h 5282095"/>
              <a:gd name="connsiteX576" fmla="*/ 3616830 w 7714416"/>
              <a:gd name="connsiteY576" fmla="*/ 4995672 h 5282095"/>
              <a:gd name="connsiteX577" fmla="*/ 3625997 w 7714416"/>
              <a:gd name="connsiteY577" fmla="*/ 4996227 h 5282095"/>
              <a:gd name="connsiteX578" fmla="*/ 3614825 w 7714416"/>
              <a:gd name="connsiteY578" fmla="*/ 5000226 h 5282095"/>
              <a:gd name="connsiteX579" fmla="*/ 3588758 w 7714416"/>
              <a:gd name="connsiteY579" fmla="*/ 5006447 h 5282095"/>
              <a:gd name="connsiteX580" fmla="*/ 3584746 w 7714416"/>
              <a:gd name="connsiteY580" fmla="*/ 5005002 h 5282095"/>
              <a:gd name="connsiteX581" fmla="*/ 3583027 w 7714416"/>
              <a:gd name="connsiteY581" fmla="*/ 5005447 h 5282095"/>
              <a:gd name="connsiteX582" fmla="*/ 3580736 w 7714416"/>
              <a:gd name="connsiteY582" fmla="*/ 5003670 h 5282095"/>
              <a:gd name="connsiteX583" fmla="*/ 3589902 w 7714416"/>
              <a:gd name="connsiteY583" fmla="*/ 5000004 h 5282095"/>
              <a:gd name="connsiteX584" fmla="*/ 3598210 w 7714416"/>
              <a:gd name="connsiteY584" fmla="*/ 4998116 h 5282095"/>
              <a:gd name="connsiteX585" fmla="*/ 3616830 w 7714416"/>
              <a:gd name="connsiteY585" fmla="*/ 4995672 h 5282095"/>
              <a:gd name="connsiteX586" fmla="*/ 4924826 w 7714416"/>
              <a:gd name="connsiteY586" fmla="*/ 4995672 h 5282095"/>
              <a:gd name="connsiteX587" fmla="*/ 4933706 w 7714416"/>
              <a:gd name="connsiteY587" fmla="*/ 4996227 h 5282095"/>
              <a:gd name="connsiteX588" fmla="*/ 4922821 w 7714416"/>
              <a:gd name="connsiteY588" fmla="*/ 5000226 h 5282095"/>
              <a:gd name="connsiteX589" fmla="*/ 4896753 w 7714416"/>
              <a:gd name="connsiteY589" fmla="*/ 5006447 h 5282095"/>
              <a:gd name="connsiteX590" fmla="*/ 4892456 w 7714416"/>
              <a:gd name="connsiteY590" fmla="*/ 5005003 h 5282095"/>
              <a:gd name="connsiteX591" fmla="*/ 4891023 w 7714416"/>
              <a:gd name="connsiteY591" fmla="*/ 5005447 h 5282095"/>
              <a:gd name="connsiteX592" fmla="*/ 4888445 w 7714416"/>
              <a:gd name="connsiteY592" fmla="*/ 5003670 h 5282095"/>
              <a:gd name="connsiteX593" fmla="*/ 4897612 w 7714416"/>
              <a:gd name="connsiteY593" fmla="*/ 5000004 h 5282095"/>
              <a:gd name="connsiteX594" fmla="*/ 4905920 w 7714416"/>
              <a:gd name="connsiteY594" fmla="*/ 4998116 h 5282095"/>
              <a:gd name="connsiteX595" fmla="*/ 4924826 w 7714416"/>
              <a:gd name="connsiteY595" fmla="*/ 4995672 h 5282095"/>
              <a:gd name="connsiteX596" fmla="*/ 2550037 w 7714416"/>
              <a:gd name="connsiteY596" fmla="*/ 4995672 h 5282095"/>
              <a:gd name="connsiteX597" fmla="*/ 2559205 w 7714416"/>
              <a:gd name="connsiteY597" fmla="*/ 4996227 h 5282095"/>
              <a:gd name="connsiteX598" fmla="*/ 2548032 w 7714416"/>
              <a:gd name="connsiteY598" fmla="*/ 5000226 h 5282095"/>
              <a:gd name="connsiteX599" fmla="*/ 2521964 w 7714416"/>
              <a:gd name="connsiteY599" fmla="*/ 5006447 h 5282095"/>
              <a:gd name="connsiteX600" fmla="*/ 2517953 w 7714416"/>
              <a:gd name="connsiteY600" fmla="*/ 5005002 h 5282095"/>
              <a:gd name="connsiteX601" fmla="*/ 2516234 w 7714416"/>
              <a:gd name="connsiteY601" fmla="*/ 5005447 h 5282095"/>
              <a:gd name="connsiteX602" fmla="*/ 2513942 w 7714416"/>
              <a:gd name="connsiteY602" fmla="*/ 5003669 h 5282095"/>
              <a:gd name="connsiteX603" fmla="*/ 2523109 w 7714416"/>
              <a:gd name="connsiteY603" fmla="*/ 5000004 h 5282095"/>
              <a:gd name="connsiteX604" fmla="*/ 2531417 w 7714416"/>
              <a:gd name="connsiteY604" fmla="*/ 4998116 h 5282095"/>
              <a:gd name="connsiteX605" fmla="*/ 2550037 w 7714416"/>
              <a:gd name="connsiteY605" fmla="*/ 4995672 h 5282095"/>
              <a:gd name="connsiteX606" fmla="*/ 5633826 w 7714416"/>
              <a:gd name="connsiteY606" fmla="*/ 4994339 h 5282095"/>
              <a:gd name="connsiteX607" fmla="*/ 5638982 w 7714416"/>
              <a:gd name="connsiteY607" fmla="*/ 5011224 h 5282095"/>
              <a:gd name="connsiteX608" fmla="*/ 5631820 w 7714416"/>
              <a:gd name="connsiteY608" fmla="*/ 5013890 h 5282095"/>
              <a:gd name="connsiteX609" fmla="*/ 5633826 w 7714416"/>
              <a:gd name="connsiteY609" fmla="*/ 4994339 h 5282095"/>
              <a:gd name="connsiteX610" fmla="*/ 4326116 w 7714416"/>
              <a:gd name="connsiteY610" fmla="*/ 4994339 h 5282095"/>
              <a:gd name="connsiteX611" fmla="*/ 4331272 w 7714416"/>
              <a:gd name="connsiteY611" fmla="*/ 5011223 h 5282095"/>
              <a:gd name="connsiteX612" fmla="*/ 4324110 w 7714416"/>
              <a:gd name="connsiteY612" fmla="*/ 5013890 h 5282095"/>
              <a:gd name="connsiteX613" fmla="*/ 4326116 w 7714416"/>
              <a:gd name="connsiteY613" fmla="*/ 4994339 h 5282095"/>
              <a:gd name="connsiteX614" fmla="*/ 3259324 w 7714416"/>
              <a:gd name="connsiteY614" fmla="*/ 4994338 h 5282095"/>
              <a:gd name="connsiteX615" fmla="*/ 3264479 w 7714416"/>
              <a:gd name="connsiteY615" fmla="*/ 5011223 h 5282095"/>
              <a:gd name="connsiteX616" fmla="*/ 3257317 w 7714416"/>
              <a:gd name="connsiteY616" fmla="*/ 5013889 h 5282095"/>
              <a:gd name="connsiteX617" fmla="*/ 3259324 w 7714416"/>
              <a:gd name="connsiteY617" fmla="*/ 4994338 h 5282095"/>
              <a:gd name="connsiteX618" fmla="*/ 3191144 w 7714416"/>
              <a:gd name="connsiteY618" fmla="*/ 4988118 h 5282095"/>
              <a:gd name="connsiteX619" fmla="*/ 3198306 w 7714416"/>
              <a:gd name="connsiteY619" fmla="*/ 4989229 h 5282095"/>
              <a:gd name="connsiteX620" fmla="*/ 3211770 w 7714416"/>
              <a:gd name="connsiteY620" fmla="*/ 4997116 h 5282095"/>
              <a:gd name="connsiteX621" fmla="*/ 3210624 w 7714416"/>
              <a:gd name="connsiteY621" fmla="*/ 5006891 h 5282095"/>
              <a:gd name="connsiteX622" fmla="*/ 3194868 w 7714416"/>
              <a:gd name="connsiteY622" fmla="*/ 5016111 h 5282095"/>
              <a:gd name="connsiteX623" fmla="*/ 3183410 w 7714416"/>
              <a:gd name="connsiteY623" fmla="*/ 5015777 h 5282095"/>
              <a:gd name="connsiteX624" fmla="*/ 3172524 w 7714416"/>
              <a:gd name="connsiteY624" fmla="*/ 4996782 h 5282095"/>
              <a:gd name="connsiteX625" fmla="*/ 3174816 w 7714416"/>
              <a:gd name="connsiteY625" fmla="*/ 4993894 h 5282095"/>
              <a:gd name="connsiteX626" fmla="*/ 3176535 w 7714416"/>
              <a:gd name="connsiteY626" fmla="*/ 4988674 h 5282095"/>
              <a:gd name="connsiteX627" fmla="*/ 3191144 w 7714416"/>
              <a:gd name="connsiteY627" fmla="*/ 4988118 h 5282095"/>
              <a:gd name="connsiteX628" fmla="*/ 5565647 w 7714416"/>
              <a:gd name="connsiteY628" fmla="*/ 4988118 h 5282095"/>
              <a:gd name="connsiteX629" fmla="*/ 5572808 w 7714416"/>
              <a:gd name="connsiteY629" fmla="*/ 4989229 h 5282095"/>
              <a:gd name="connsiteX630" fmla="*/ 5586272 w 7714416"/>
              <a:gd name="connsiteY630" fmla="*/ 4997116 h 5282095"/>
              <a:gd name="connsiteX631" fmla="*/ 5585126 w 7714416"/>
              <a:gd name="connsiteY631" fmla="*/ 5006891 h 5282095"/>
              <a:gd name="connsiteX632" fmla="*/ 5569371 w 7714416"/>
              <a:gd name="connsiteY632" fmla="*/ 5016111 h 5282095"/>
              <a:gd name="connsiteX633" fmla="*/ 5557912 w 7714416"/>
              <a:gd name="connsiteY633" fmla="*/ 5015777 h 5282095"/>
              <a:gd name="connsiteX634" fmla="*/ 5547027 w 7714416"/>
              <a:gd name="connsiteY634" fmla="*/ 4996782 h 5282095"/>
              <a:gd name="connsiteX635" fmla="*/ 5549318 w 7714416"/>
              <a:gd name="connsiteY635" fmla="*/ 4993894 h 5282095"/>
              <a:gd name="connsiteX636" fmla="*/ 5551037 w 7714416"/>
              <a:gd name="connsiteY636" fmla="*/ 4988673 h 5282095"/>
              <a:gd name="connsiteX637" fmla="*/ 5565647 w 7714416"/>
              <a:gd name="connsiteY637" fmla="*/ 4988118 h 5282095"/>
              <a:gd name="connsiteX638" fmla="*/ 4257937 w 7714416"/>
              <a:gd name="connsiteY638" fmla="*/ 4988118 h 5282095"/>
              <a:gd name="connsiteX639" fmla="*/ 4265099 w 7714416"/>
              <a:gd name="connsiteY639" fmla="*/ 4989229 h 5282095"/>
              <a:gd name="connsiteX640" fmla="*/ 4278562 w 7714416"/>
              <a:gd name="connsiteY640" fmla="*/ 4997116 h 5282095"/>
              <a:gd name="connsiteX641" fmla="*/ 4277417 w 7714416"/>
              <a:gd name="connsiteY641" fmla="*/ 5006891 h 5282095"/>
              <a:gd name="connsiteX642" fmla="*/ 4261661 w 7714416"/>
              <a:gd name="connsiteY642" fmla="*/ 5016111 h 5282095"/>
              <a:gd name="connsiteX643" fmla="*/ 4250202 w 7714416"/>
              <a:gd name="connsiteY643" fmla="*/ 5015777 h 5282095"/>
              <a:gd name="connsiteX644" fmla="*/ 4239317 w 7714416"/>
              <a:gd name="connsiteY644" fmla="*/ 4996783 h 5282095"/>
              <a:gd name="connsiteX645" fmla="*/ 4241609 w 7714416"/>
              <a:gd name="connsiteY645" fmla="*/ 4993894 h 5282095"/>
              <a:gd name="connsiteX646" fmla="*/ 4243328 w 7714416"/>
              <a:gd name="connsiteY646" fmla="*/ 4988673 h 5282095"/>
              <a:gd name="connsiteX647" fmla="*/ 4257937 w 7714416"/>
              <a:gd name="connsiteY647" fmla="*/ 4988118 h 5282095"/>
              <a:gd name="connsiteX648" fmla="*/ 5224182 w 7714416"/>
              <a:gd name="connsiteY648" fmla="*/ 4980565 h 5282095"/>
              <a:gd name="connsiteX649" fmla="*/ 5216733 w 7714416"/>
              <a:gd name="connsiteY649" fmla="*/ 4990895 h 5282095"/>
              <a:gd name="connsiteX650" fmla="*/ 5212723 w 7714416"/>
              <a:gd name="connsiteY650" fmla="*/ 4991561 h 5282095"/>
              <a:gd name="connsiteX651" fmla="*/ 5211577 w 7714416"/>
              <a:gd name="connsiteY651" fmla="*/ 4988340 h 5282095"/>
              <a:gd name="connsiteX652" fmla="*/ 5224182 w 7714416"/>
              <a:gd name="connsiteY652" fmla="*/ 4980565 h 5282095"/>
              <a:gd name="connsiteX653" fmla="*/ 3916472 w 7714416"/>
              <a:gd name="connsiteY653" fmla="*/ 4980565 h 5282095"/>
              <a:gd name="connsiteX654" fmla="*/ 3908737 w 7714416"/>
              <a:gd name="connsiteY654" fmla="*/ 4990895 h 5282095"/>
              <a:gd name="connsiteX655" fmla="*/ 3905014 w 7714416"/>
              <a:gd name="connsiteY655" fmla="*/ 4991561 h 5282095"/>
              <a:gd name="connsiteX656" fmla="*/ 3903867 w 7714416"/>
              <a:gd name="connsiteY656" fmla="*/ 4988340 h 5282095"/>
              <a:gd name="connsiteX657" fmla="*/ 3916472 w 7714416"/>
              <a:gd name="connsiteY657" fmla="*/ 4980565 h 5282095"/>
              <a:gd name="connsiteX658" fmla="*/ 2849679 w 7714416"/>
              <a:gd name="connsiteY658" fmla="*/ 4980564 h 5282095"/>
              <a:gd name="connsiteX659" fmla="*/ 2841944 w 7714416"/>
              <a:gd name="connsiteY659" fmla="*/ 4990895 h 5282095"/>
              <a:gd name="connsiteX660" fmla="*/ 2838221 w 7714416"/>
              <a:gd name="connsiteY660" fmla="*/ 4991561 h 5282095"/>
              <a:gd name="connsiteX661" fmla="*/ 2837074 w 7714416"/>
              <a:gd name="connsiteY661" fmla="*/ 4988340 h 5282095"/>
              <a:gd name="connsiteX662" fmla="*/ 2849679 w 7714416"/>
              <a:gd name="connsiteY662" fmla="*/ 4980564 h 5282095"/>
              <a:gd name="connsiteX663" fmla="*/ 5135378 w 7714416"/>
              <a:gd name="connsiteY663" fmla="*/ 4973122 h 5282095"/>
              <a:gd name="connsiteX664" fmla="*/ 5139961 w 7714416"/>
              <a:gd name="connsiteY664" fmla="*/ 4973233 h 5282095"/>
              <a:gd name="connsiteX665" fmla="*/ 5139961 w 7714416"/>
              <a:gd name="connsiteY665" fmla="*/ 4975455 h 5282095"/>
              <a:gd name="connsiteX666" fmla="*/ 5141680 w 7714416"/>
              <a:gd name="connsiteY666" fmla="*/ 4975677 h 5282095"/>
              <a:gd name="connsiteX667" fmla="*/ 5139961 w 7714416"/>
              <a:gd name="connsiteY667" fmla="*/ 4977675 h 5282095"/>
              <a:gd name="connsiteX668" fmla="*/ 5138242 w 7714416"/>
              <a:gd name="connsiteY668" fmla="*/ 4977565 h 5282095"/>
              <a:gd name="connsiteX669" fmla="*/ 5137669 w 7714416"/>
              <a:gd name="connsiteY669" fmla="*/ 4977787 h 5282095"/>
              <a:gd name="connsiteX670" fmla="*/ 5134804 w 7714416"/>
              <a:gd name="connsiteY670" fmla="*/ 4976232 h 5282095"/>
              <a:gd name="connsiteX671" fmla="*/ 5133372 w 7714416"/>
              <a:gd name="connsiteY671" fmla="*/ 4973899 h 5282095"/>
              <a:gd name="connsiteX672" fmla="*/ 5135378 w 7714416"/>
              <a:gd name="connsiteY672" fmla="*/ 4973122 h 5282095"/>
              <a:gd name="connsiteX673" fmla="*/ 3827668 w 7714416"/>
              <a:gd name="connsiteY673" fmla="*/ 4973122 h 5282095"/>
              <a:gd name="connsiteX674" fmla="*/ 3832251 w 7714416"/>
              <a:gd name="connsiteY674" fmla="*/ 4973233 h 5282095"/>
              <a:gd name="connsiteX675" fmla="*/ 3832251 w 7714416"/>
              <a:gd name="connsiteY675" fmla="*/ 4975454 h 5282095"/>
              <a:gd name="connsiteX676" fmla="*/ 3833684 w 7714416"/>
              <a:gd name="connsiteY676" fmla="*/ 4975677 h 5282095"/>
              <a:gd name="connsiteX677" fmla="*/ 3831965 w 7714416"/>
              <a:gd name="connsiteY677" fmla="*/ 4977676 h 5282095"/>
              <a:gd name="connsiteX678" fmla="*/ 3830532 w 7714416"/>
              <a:gd name="connsiteY678" fmla="*/ 4977565 h 5282095"/>
              <a:gd name="connsiteX679" fmla="*/ 3829960 w 7714416"/>
              <a:gd name="connsiteY679" fmla="*/ 4977787 h 5282095"/>
              <a:gd name="connsiteX680" fmla="*/ 3827095 w 7714416"/>
              <a:gd name="connsiteY680" fmla="*/ 4976232 h 5282095"/>
              <a:gd name="connsiteX681" fmla="*/ 3825662 w 7714416"/>
              <a:gd name="connsiteY681" fmla="*/ 4973899 h 5282095"/>
              <a:gd name="connsiteX682" fmla="*/ 3827668 w 7714416"/>
              <a:gd name="connsiteY682" fmla="*/ 4973122 h 5282095"/>
              <a:gd name="connsiteX683" fmla="*/ 2760876 w 7714416"/>
              <a:gd name="connsiteY683" fmla="*/ 4973122 h 5282095"/>
              <a:gd name="connsiteX684" fmla="*/ 2765458 w 7714416"/>
              <a:gd name="connsiteY684" fmla="*/ 4973232 h 5282095"/>
              <a:gd name="connsiteX685" fmla="*/ 2765458 w 7714416"/>
              <a:gd name="connsiteY685" fmla="*/ 4975454 h 5282095"/>
              <a:gd name="connsiteX686" fmla="*/ 2766890 w 7714416"/>
              <a:gd name="connsiteY686" fmla="*/ 4975677 h 5282095"/>
              <a:gd name="connsiteX687" fmla="*/ 2765172 w 7714416"/>
              <a:gd name="connsiteY687" fmla="*/ 4977676 h 5282095"/>
              <a:gd name="connsiteX688" fmla="*/ 2763739 w 7714416"/>
              <a:gd name="connsiteY688" fmla="*/ 4977565 h 5282095"/>
              <a:gd name="connsiteX689" fmla="*/ 2763166 w 7714416"/>
              <a:gd name="connsiteY689" fmla="*/ 4977786 h 5282095"/>
              <a:gd name="connsiteX690" fmla="*/ 2760302 w 7714416"/>
              <a:gd name="connsiteY690" fmla="*/ 4976232 h 5282095"/>
              <a:gd name="connsiteX691" fmla="*/ 2758869 w 7714416"/>
              <a:gd name="connsiteY691" fmla="*/ 4973900 h 5282095"/>
              <a:gd name="connsiteX692" fmla="*/ 2760876 w 7714416"/>
              <a:gd name="connsiteY692" fmla="*/ 4973122 h 5282095"/>
              <a:gd name="connsiteX693" fmla="*/ 3563261 w 7714416"/>
              <a:gd name="connsiteY693" fmla="*/ 4969123 h 5282095"/>
              <a:gd name="connsiteX694" fmla="*/ 3574147 w 7714416"/>
              <a:gd name="connsiteY694" fmla="*/ 4978453 h 5282095"/>
              <a:gd name="connsiteX695" fmla="*/ 3556100 w 7714416"/>
              <a:gd name="connsiteY695" fmla="*/ 4983786 h 5282095"/>
              <a:gd name="connsiteX696" fmla="*/ 3560110 w 7714416"/>
              <a:gd name="connsiteY696" fmla="*/ 4969233 h 5282095"/>
              <a:gd name="connsiteX697" fmla="*/ 3563261 w 7714416"/>
              <a:gd name="connsiteY697" fmla="*/ 4969123 h 5282095"/>
              <a:gd name="connsiteX698" fmla="*/ 5937764 w 7714416"/>
              <a:gd name="connsiteY698" fmla="*/ 4969123 h 5282095"/>
              <a:gd name="connsiteX699" fmla="*/ 5948650 w 7714416"/>
              <a:gd name="connsiteY699" fmla="*/ 4978453 h 5282095"/>
              <a:gd name="connsiteX700" fmla="*/ 5930889 w 7714416"/>
              <a:gd name="connsiteY700" fmla="*/ 4983786 h 5282095"/>
              <a:gd name="connsiteX701" fmla="*/ 5934900 w 7714416"/>
              <a:gd name="connsiteY701" fmla="*/ 4969233 h 5282095"/>
              <a:gd name="connsiteX702" fmla="*/ 5937764 w 7714416"/>
              <a:gd name="connsiteY702" fmla="*/ 4969123 h 5282095"/>
              <a:gd name="connsiteX703" fmla="*/ 4629482 w 7714416"/>
              <a:gd name="connsiteY703" fmla="*/ 4964013 h 5282095"/>
              <a:gd name="connsiteX704" fmla="*/ 4633206 w 7714416"/>
              <a:gd name="connsiteY704" fmla="*/ 4966457 h 5282095"/>
              <a:gd name="connsiteX705" fmla="*/ 4636356 w 7714416"/>
              <a:gd name="connsiteY705" fmla="*/ 4971677 h 5282095"/>
              <a:gd name="connsiteX706" fmla="*/ 4635497 w 7714416"/>
              <a:gd name="connsiteY706" fmla="*/ 4972011 h 5282095"/>
              <a:gd name="connsiteX707" fmla="*/ 4637216 w 7714416"/>
              <a:gd name="connsiteY707" fmla="*/ 4973344 h 5282095"/>
              <a:gd name="connsiteX708" fmla="*/ 4640940 w 7714416"/>
              <a:gd name="connsiteY708" fmla="*/ 4978454 h 5282095"/>
              <a:gd name="connsiteX709" fmla="*/ 4629768 w 7714416"/>
              <a:gd name="connsiteY709" fmla="*/ 4983786 h 5282095"/>
              <a:gd name="connsiteX710" fmla="*/ 4624038 w 7714416"/>
              <a:gd name="connsiteY710" fmla="*/ 4983786 h 5282095"/>
              <a:gd name="connsiteX711" fmla="*/ 4619455 w 7714416"/>
              <a:gd name="connsiteY711" fmla="*/ 4986230 h 5282095"/>
              <a:gd name="connsiteX712" fmla="*/ 4603700 w 7714416"/>
              <a:gd name="connsiteY712" fmla="*/ 4983897 h 5282095"/>
              <a:gd name="connsiteX713" fmla="*/ 4599689 w 7714416"/>
              <a:gd name="connsiteY713" fmla="*/ 4980898 h 5282095"/>
              <a:gd name="connsiteX714" fmla="*/ 4629482 w 7714416"/>
              <a:gd name="connsiteY714" fmla="*/ 4964013 h 5282095"/>
              <a:gd name="connsiteX715" fmla="*/ 3321772 w 7714416"/>
              <a:gd name="connsiteY715" fmla="*/ 4964013 h 5282095"/>
              <a:gd name="connsiteX716" fmla="*/ 3325496 w 7714416"/>
              <a:gd name="connsiteY716" fmla="*/ 4966457 h 5282095"/>
              <a:gd name="connsiteX717" fmla="*/ 3328360 w 7714416"/>
              <a:gd name="connsiteY717" fmla="*/ 4971677 h 5282095"/>
              <a:gd name="connsiteX718" fmla="*/ 3311460 w 7714416"/>
              <a:gd name="connsiteY718" fmla="*/ 4986230 h 5282095"/>
              <a:gd name="connsiteX719" fmla="*/ 3295990 w 7714416"/>
              <a:gd name="connsiteY719" fmla="*/ 4983897 h 5282095"/>
              <a:gd name="connsiteX720" fmla="*/ 3291980 w 7714416"/>
              <a:gd name="connsiteY720" fmla="*/ 4980897 h 5282095"/>
              <a:gd name="connsiteX721" fmla="*/ 3321772 w 7714416"/>
              <a:gd name="connsiteY721" fmla="*/ 4964013 h 5282095"/>
              <a:gd name="connsiteX722" fmla="*/ 2254979 w 7714416"/>
              <a:gd name="connsiteY722" fmla="*/ 4964013 h 5282095"/>
              <a:gd name="connsiteX723" fmla="*/ 2258703 w 7714416"/>
              <a:gd name="connsiteY723" fmla="*/ 4966457 h 5282095"/>
              <a:gd name="connsiteX724" fmla="*/ 2261567 w 7714416"/>
              <a:gd name="connsiteY724" fmla="*/ 4971678 h 5282095"/>
              <a:gd name="connsiteX725" fmla="*/ 2244667 w 7714416"/>
              <a:gd name="connsiteY725" fmla="*/ 4986230 h 5282095"/>
              <a:gd name="connsiteX726" fmla="*/ 2229197 w 7714416"/>
              <a:gd name="connsiteY726" fmla="*/ 4983897 h 5282095"/>
              <a:gd name="connsiteX727" fmla="*/ 2225186 w 7714416"/>
              <a:gd name="connsiteY727" fmla="*/ 4980897 h 5282095"/>
              <a:gd name="connsiteX728" fmla="*/ 2254979 w 7714416"/>
              <a:gd name="connsiteY728" fmla="*/ 4964013 h 5282095"/>
              <a:gd name="connsiteX729" fmla="*/ 3787849 w 7714416"/>
              <a:gd name="connsiteY729" fmla="*/ 4963458 h 5282095"/>
              <a:gd name="connsiteX730" fmla="*/ 3793865 w 7714416"/>
              <a:gd name="connsiteY730" fmla="*/ 4966457 h 5282095"/>
              <a:gd name="connsiteX731" fmla="*/ 3784985 w 7714416"/>
              <a:gd name="connsiteY731" fmla="*/ 4973011 h 5282095"/>
              <a:gd name="connsiteX732" fmla="*/ 3779255 w 7714416"/>
              <a:gd name="connsiteY732" fmla="*/ 4965679 h 5282095"/>
              <a:gd name="connsiteX733" fmla="*/ 3787849 w 7714416"/>
              <a:gd name="connsiteY733" fmla="*/ 4963458 h 5282095"/>
              <a:gd name="connsiteX734" fmla="*/ 6162352 w 7714416"/>
              <a:gd name="connsiteY734" fmla="*/ 4963457 h 5282095"/>
              <a:gd name="connsiteX735" fmla="*/ 6168368 w 7714416"/>
              <a:gd name="connsiteY735" fmla="*/ 4966456 h 5282095"/>
              <a:gd name="connsiteX736" fmla="*/ 6159488 w 7714416"/>
              <a:gd name="connsiteY736" fmla="*/ 4973010 h 5282095"/>
              <a:gd name="connsiteX737" fmla="*/ 6153758 w 7714416"/>
              <a:gd name="connsiteY737" fmla="*/ 4965680 h 5282095"/>
              <a:gd name="connsiteX738" fmla="*/ 6162352 w 7714416"/>
              <a:gd name="connsiteY738" fmla="*/ 4963457 h 5282095"/>
              <a:gd name="connsiteX739" fmla="*/ 4854642 w 7714416"/>
              <a:gd name="connsiteY739" fmla="*/ 4963457 h 5282095"/>
              <a:gd name="connsiteX740" fmla="*/ 4860658 w 7714416"/>
              <a:gd name="connsiteY740" fmla="*/ 4966457 h 5282095"/>
              <a:gd name="connsiteX741" fmla="*/ 4851778 w 7714416"/>
              <a:gd name="connsiteY741" fmla="*/ 4973011 h 5282095"/>
              <a:gd name="connsiteX742" fmla="*/ 4846048 w 7714416"/>
              <a:gd name="connsiteY742" fmla="*/ 4965679 h 5282095"/>
              <a:gd name="connsiteX743" fmla="*/ 4854642 w 7714416"/>
              <a:gd name="connsiteY743" fmla="*/ 4963457 h 5282095"/>
              <a:gd name="connsiteX744" fmla="*/ 4988708 w 7714416"/>
              <a:gd name="connsiteY744" fmla="*/ 4960569 h 5282095"/>
              <a:gd name="connsiteX745" fmla="*/ 5015922 w 7714416"/>
              <a:gd name="connsiteY745" fmla="*/ 4989340 h 5282095"/>
              <a:gd name="connsiteX746" fmla="*/ 4991000 w 7714416"/>
              <a:gd name="connsiteY746" fmla="*/ 4991784 h 5282095"/>
              <a:gd name="connsiteX747" fmla="*/ 4988708 w 7714416"/>
              <a:gd name="connsiteY747" fmla="*/ 4960569 h 5282095"/>
              <a:gd name="connsiteX748" fmla="*/ 5955812 w 7714416"/>
              <a:gd name="connsiteY748" fmla="*/ 4960236 h 5282095"/>
              <a:gd name="connsiteX749" fmla="*/ 5970134 w 7714416"/>
              <a:gd name="connsiteY749" fmla="*/ 4961680 h 5282095"/>
              <a:gd name="connsiteX750" fmla="*/ 5974145 w 7714416"/>
              <a:gd name="connsiteY750" fmla="*/ 4976010 h 5282095"/>
              <a:gd name="connsiteX751" fmla="*/ 5968416 w 7714416"/>
              <a:gd name="connsiteY751" fmla="*/ 4979120 h 5282095"/>
              <a:gd name="connsiteX752" fmla="*/ 5955238 w 7714416"/>
              <a:gd name="connsiteY752" fmla="*/ 4979231 h 5282095"/>
              <a:gd name="connsiteX753" fmla="*/ 5955812 w 7714416"/>
              <a:gd name="connsiteY753" fmla="*/ 4960236 h 5282095"/>
              <a:gd name="connsiteX754" fmla="*/ 3581309 w 7714416"/>
              <a:gd name="connsiteY754" fmla="*/ 4960236 h 5282095"/>
              <a:gd name="connsiteX755" fmla="*/ 3595632 w 7714416"/>
              <a:gd name="connsiteY755" fmla="*/ 4961681 h 5282095"/>
              <a:gd name="connsiteX756" fmla="*/ 3599642 w 7714416"/>
              <a:gd name="connsiteY756" fmla="*/ 4976010 h 5282095"/>
              <a:gd name="connsiteX757" fmla="*/ 3593626 w 7714416"/>
              <a:gd name="connsiteY757" fmla="*/ 4979120 h 5282095"/>
              <a:gd name="connsiteX758" fmla="*/ 3580736 w 7714416"/>
              <a:gd name="connsiteY758" fmla="*/ 4979231 h 5282095"/>
              <a:gd name="connsiteX759" fmla="*/ 3581309 w 7714416"/>
              <a:gd name="connsiteY759" fmla="*/ 4960236 h 5282095"/>
              <a:gd name="connsiteX760" fmla="*/ 4648102 w 7714416"/>
              <a:gd name="connsiteY760" fmla="*/ 4960236 h 5282095"/>
              <a:gd name="connsiteX761" fmla="*/ 4662425 w 7714416"/>
              <a:gd name="connsiteY761" fmla="*/ 4961680 h 5282095"/>
              <a:gd name="connsiteX762" fmla="*/ 4666435 w 7714416"/>
              <a:gd name="connsiteY762" fmla="*/ 4976010 h 5282095"/>
              <a:gd name="connsiteX763" fmla="*/ 4660420 w 7714416"/>
              <a:gd name="connsiteY763" fmla="*/ 4979120 h 5282095"/>
              <a:gd name="connsiteX764" fmla="*/ 4647529 w 7714416"/>
              <a:gd name="connsiteY764" fmla="*/ 4979231 h 5282095"/>
              <a:gd name="connsiteX765" fmla="*/ 4648102 w 7714416"/>
              <a:gd name="connsiteY765" fmla="*/ 4960236 h 5282095"/>
              <a:gd name="connsiteX766" fmla="*/ 4721150 w 7714416"/>
              <a:gd name="connsiteY766" fmla="*/ 4953904 h 5282095"/>
              <a:gd name="connsiteX767" fmla="*/ 4736046 w 7714416"/>
              <a:gd name="connsiteY767" fmla="*/ 4953905 h 5282095"/>
              <a:gd name="connsiteX768" fmla="*/ 4735187 w 7714416"/>
              <a:gd name="connsiteY768" fmla="*/ 4956570 h 5282095"/>
              <a:gd name="connsiteX769" fmla="*/ 4730890 w 7714416"/>
              <a:gd name="connsiteY769" fmla="*/ 4958458 h 5282095"/>
              <a:gd name="connsiteX770" fmla="*/ 4714562 w 7714416"/>
              <a:gd name="connsiteY770" fmla="*/ 4959236 h 5282095"/>
              <a:gd name="connsiteX771" fmla="*/ 4710837 w 7714416"/>
              <a:gd name="connsiteY771" fmla="*/ 4958903 h 5282095"/>
              <a:gd name="connsiteX772" fmla="*/ 4707113 w 7714416"/>
              <a:gd name="connsiteY772" fmla="*/ 4958570 h 5282095"/>
              <a:gd name="connsiteX773" fmla="*/ 4703676 w 7714416"/>
              <a:gd name="connsiteY773" fmla="*/ 4954459 h 5282095"/>
              <a:gd name="connsiteX774" fmla="*/ 4721150 w 7714416"/>
              <a:gd name="connsiteY774" fmla="*/ 4953904 h 5282095"/>
              <a:gd name="connsiteX775" fmla="*/ 2361258 w 7714416"/>
              <a:gd name="connsiteY775" fmla="*/ 4953904 h 5282095"/>
              <a:gd name="connsiteX776" fmla="*/ 2360684 w 7714416"/>
              <a:gd name="connsiteY776" fmla="*/ 4956570 h 5282095"/>
              <a:gd name="connsiteX777" fmla="*/ 2356387 w 7714416"/>
              <a:gd name="connsiteY777" fmla="*/ 4958459 h 5282095"/>
              <a:gd name="connsiteX778" fmla="*/ 2339773 w 7714416"/>
              <a:gd name="connsiteY778" fmla="*/ 4959236 h 5282095"/>
              <a:gd name="connsiteX779" fmla="*/ 2336048 w 7714416"/>
              <a:gd name="connsiteY779" fmla="*/ 4958903 h 5282095"/>
              <a:gd name="connsiteX780" fmla="*/ 2332610 w 7714416"/>
              <a:gd name="connsiteY780" fmla="*/ 4958569 h 5282095"/>
              <a:gd name="connsiteX781" fmla="*/ 2329174 w 7714416"/>
              <a:gd name="connsiteY781" fmla="*/ 4954460 h 5282095"/>
              <a:gd name="connsiteX782" fmla="*/ 2346361 w 7714416"/>
              <a:gd name="connsiteY782" fmla="*/ 4953905 h 5282095"/>
              <a:gd name="connsiteX783" fmla="*/ 2361258 w 7714416"/>
              <a:gd name="connsiteY783" fmla="*/ 4953904 h 5282095"/>
              <a:gd name="connsiteX784" fmla="*/ 3413154 w 7714416"/>
              <a:gd name="connsiteY784" fmla="*/ 4953904 h 5282095"/>
              <a:gd name="connsiteX785" fmla="*/ 3428338 w 7714416"/>
              <a:gd name="connsiteY785" fmla="*/ 4953905 h 5282095"/>
              <a:gd name="connsiteX786" fmla="*/ 3427477 w 7714416"/>
              <a:gd name="connsiteY786" fmla="*/ 4956571 h 5282095"/>
              <a:gd name="connsiteX787" fmla="*/ 3423180 w 7714416"/>
              <a:gd name="connsiteY787" fmla="*/ 4958458 h 5282095"/>
              <a:gd name="connsiteX788" fmla="*/ 3406853 w 7714416"/>
              <a:gd name="connsiteY788" fmla="*/ 4959236 h 5282095"/>
              <a:gd name="connsiteX789" fmla="*/ 3402841 w 7714416"/>
              <a:gd name="connsiteY789" fmla="*/ 4958903 h 5282095"/>
              <a:gd name="connsiteX790" fmla="*/ 3399404 w 7714416"/>
              <a:gd name="connsiteY790" fmla="*/ 4958570 h 5282095"/>
              <a:gd name="connsiteX791" fmla="*/ 3395967 w 7714416"/>
              <a:gd name="connsiteY791" fmla="*/ 4954460 h 5282095"/>
              <a:gd name="connsiteX792" fmla="*/ 3413154 w 7714416"/>
              <a:gd name="connsiteY792" fmla="*/ 4953904 h 5282095"/>
              <a:gd name="connsiteX793" fmla="*/ 5103294 w 7714416"/>
              <a:gd name="connsiteY793" fmla="*/ 4950905 h 5282095"/>
              <a:gd name="connsiteX794" fmla="*/ 5107304 w 7714416"/>
              <a:gd name="connsiteY794" fmla="*/ 4952349 h 5282095"/>
              <a:gd name="connsiteX795" fmla="*/ 5107877 w 7714416"/>
              <a:gd name="connsiteY795" fmla="*/ 4953350 h 5282095"/>
              <a:gd name="connsiteX796" fmla="*/ 5104726 w 7714416"/>
              <a:gd name="connsiteY796" fmla="*/ 4955237 h 5282095"/>
              <a:gd name="connsiteX797" fmla="*/ 5088397 w 7714416"/>
              <a:gd name="connsiteY797" fmla="*/ 4958237 h 5282095"/>
              <a:gd name="connsiteX798" fmla="*/ 5084960 w 7714416"/>
              <a:gd name="connsiteY798" fmla="*/ 4959014 h 5282095"/>
              <a:gd name="connsiteX799" fmla="*/ 5080949 w 7714416"/>
              <a:gd name="connsiteY799" fmla="*/ 4957681 h 5282095"/>
              <a:gd name="connsiteX800" fmla="*/ 5095272 w 7714416"/>
              <a:gd name="connsiteY800" fmla="*/ 4952904 h 5282095"/>
              <a:gd name="connsiteX801" fmla="*/ 5103294 w 7714416"/>
              <a:gd name="connsiteY801" fmla="*/ 4950905 h 5282095"/>
              <a:gd name="connsiteX802" fmla="*/ 3795584 w 7714416"/>
              <a:gd name="connsiteY802" fmla="*/ 4950905 h 5282095"/>
              <a:gd name="connsiteX803" fmla="*/ 3799594 w 7714416"/>
              <a:gd name="connsiteY803" fmla="*/ 4952349 h 5282095"/>
              <a:gd name="connsiteX804" fmla="*/ 3800167 w 7714416"/>
              <a:gd name="connsiteY804" fmla="*/ 4953349 h 5282095"/>
              <a:gd name="connsiteX805" fmla="*/ 3797016 w 7714416"/>
              <a:gd name="connsiteY805" fmla="*/ 4955237 h 5282095"/>
              <a:gd name="connsiteX806" fmla="*/ 3780688 w 7714416"/>
              <a:gd name="connsiteY806" fmla="*/ 4958237 h 5282095"/>
              <a:gd name="connsiteX807" fmla="*/ 3777250 w 7714416"/>
              <a:gd name="connsiteY807" fmla="*/ 4959014 h 5282095"/>
              <a:gd name="connsiteX808" fmla="*/ 3773240 w 7714416"/>
              <a:gd name="connsiteY808" fmla="*/ 4957681 h 5282095"/>
              <a:gd name="connsiteX809" fmla="*/ 3787276 w 7714416"/>
              <a:gd name="connsiteY809" fmla="*/ 4952905 h 5282095"/>
              <a:gd name="connsiteX810" fmla="*/ 3795584 w 7714416"/>
              <a:gd name="connsiteY810" fmla="*/ 4950905 h 5282095"/>
              <a:gd name="connsiteX811" fmla="*/ 2728792 w 7714416"/>
              <a:gd name="connsiteY811" fmla="*/ 4950905 h 5282095"/>
              <a:gd name="connsiteX812" fmla="*/ 2732801 w 7714416"/>
              <a:gd name="connsiteY812" fmla="*/ 4952350 h 5282095"/>
              <a:gd name="connsiteX813" fmla="*/ 2733374 w 7714416"/>
              <a:gd name="connsiteY813" fmla="*/ 4953349 h 5282095"/>
              <a:gd name="connsiteX814" fmla="*/ 2730223 w 7714416"/>
              <a:gd name="connsiteY814" fmla="*/ 4955237 h 5282095"/>
              <a:gd name="connsiteX815" fmla="*/ 2713894 w 7714416"/>
              <a:gd name="connsiteY815" fmla="*/ 4958237 h 5282095"/>
              <a:gd name="connsiteX816" fmla="*/ 2710457 w 7714416"/>
              <a:gd name="connsiteY816" fmla="*/ 4959015 h 5282095"/>
              <a:gd name="connsiteX817" fmla="*/ 2706446 w 7714416"/>
              <a:gd name="connsiteY817" fmla="*/ 4957681 h 5282095"/>
              <a:gd name="connsiteX818" fmla="*/ 2720483 w 7714416"/>
              <a:gd name="connsiteY818" fmla="*/ 4952904 h 5282095"/>
              <a:gd name="connsiteX819" fmla="*/ 2728792 w 7714416"/>
              <a:gd name="connsiteY819" fmla="*/ 4950905 h 5282095"/>
              <a:gd name="connsiteX820" fmla="*/ 2445764 w 7714416"/>
              <a:gd name="connsiteY820" fmla="*/ 4941907 h 5282095"/>
              <a:gd name="connsiteX821" fmla="*/ 2458656 w 7714416"/>
              <a:gd name="connsiteY821" fmla="*/ 4947239 h 5282095"/>
              <a:gd name="connsiteX822" fmla="*/ 2456364 w 7714416"/>
              <a:gd name="connsiteY822" fmla="*/ 4950017 h 5282095"/>
              <a:gd name="connsiteX823" fmla="*/ 2458655 w 7714416"/>
              <a:gd name="connsiteY823" fmla="*/ 4953460 h 5282095"/>
              <a:gd name="connsiteX824" fmla="*/ 2446051 w 7714416"/>
              <a:gd name="connsiteY824" fmla="*/ 4957348 h 5282095"/>
              <a:gd name="connsiteX825" fmla="*/ 2445191 w 7714416"/>
              <a:gd name="connsiteY825" fmla="*/ 4952905 h 5282095"/>
              <a:gd name="connsiteX826" fmla="*/ 2446051 w 7714416"/>
              <a:gd name="connsiteY826" fmla="*/ 4952349 h 5282095"/>
              <a:gd name="connsiteX827" fmla="*/ 2441180 w 7714416"/>
              <a:gd name="connsiteY827" fmla="*/ 4950349 h 5282095"/>
              <a:gd name="connsiteX828" fmla="*/ 2445764 w 7714416"/>
              <a:gd name="connsiteY828" fmla="*/ 4941907 h 5282095"/>
              <a:gd name="connsiteX829" fmla="*/ 4820267 w 7714416"/>
              <a:gd name="connsiteY829" fmla="*/ 4941907 h 5282095"/>
              <a:gd name="connsiteX830" fmla="*/ 4833158 w 7714416"/>
              <a:gd name="connsiteY830" fmla="*/ 4947240 h 5282095"/>
              <a:gd name="connsiteX831" fmla="*/ 4830866 w 7714416"/>
              <a:gd name="connsiteY831" fmla="*/ 4950017 h 5282095"/>
              <a:gd name="connsiteX832" fmla="*/ 4833158 w 7714416"/>
              <a:gd name="connsiteY832" fmla="*/ 4953460 h 5282095"/>
              <a:gd name="connsiteX833" fmla="*/ 4820840 w 7714416"/>
              <a:gd name="connsiteY833" fmla="*/ 4957348 h 5282095"/>
              <a:gd name="connsiteX834" fmla="*/ 4819695 w 7714416"/>
              <a:gd name="connsiteY834" fmla="*/ 4952904 h 5282095"/>
              <a:gd name="connsiteX835" fmla="*/ 4820840 w 7714416"/>
              <a:gd name="connsiteY835" fmla="*/ 4952350 h 5282095"/>
              <a:gd name="connsiteX836" fmla="*/ 4815683 w 7714416"/>
              <a:gd name="connsiteY836" fmla="*/ 4950349 h 5282095"/>
              <a:gd name="connsiteX837" fmla="*/ 4820267 w 7714416"/>
              <a:gd name="connsiteY837" fmla="*/ 4941907 h 5282095"/>
              <a:gd name="connsiteX838" fmla="*/ 3512558 w 7714416"/>
              <a:gd name="connsiteY838" fmla="*/ 4941907 h 5282095"/>
              <a:gd name="connsiteX839" fmla="*/ 3525449 w 7714416"/>
              <a:gd name="connsiteY839" fmla="*/ 4947240 h 5282095"/>
              <a:gd name="connsiteX840" fmla="*/ 3523157 w 7714416"/>
              <a:gd name="connsiteY840" fmla="*/ 4950017 h 5282095"/>
              <a:gd name="connsiteX841" fmla="*/ 3525449 w 7714416"/>
              <a:gd name="connsiteY841" fmla="*/ 4953460 h 5282095"/>
              <a:gd name="connsiteX842" fmla="*/ 3512844 w 7714416"/>
              <a:gd name="connsiteY842" fmla="*/ 4957348 h 5282095"/>
              <a:gd name="connsiteX843" fmla="*/ 3511985 w 7714416"/>
              <a:gd name="connsiteY843" fmla="*/ 4952904 h 5282095"/>
              <a:gd name="connsiteX844" fmla="*/ 3512844 w 7714416"/>
              <a:gd name="connsiteY844" fmla="*/ 4952350 h 5282095"/>
              <a:gd name="connsiteX845" fmla="*/ 3507974 w 7714416"/>
              <a:gd name="connsiteY845" fmla="*/ 4950349 h 5282095"/>
              <a:gd name="connsiteX846" fmla="*/ 3512558 w 7714416"/>
              <a:gd name="connsiteY846" fmla="*/ 4941907 h 5282095"/>
              <a:gd name="connsiteX847" fmla="*/ 4599689 w 7714416"/>
              <a:gd name="connsiteY847" fmla="*/ 4938686 h 5282095"/>
              <a:gd name="connsiteX848" fmla="*/ 4603700 w 7714416"/>
              <a:gd name="connsiteY848" fmla="*/ 4975677 h 5282095"/>
              <a:gd name="connsiteX849" fmla="*/ 4599689 w 7714416"/>
              <a:gd name="connsiteY849" fmla="*/ 4938686 h 5282095"/>
              <a:gd name="connsiteX850" fmla="*/ 5907686 w 7714416"/>
              <a:gd name="connsiteY850" fmla="*/ 4938686 h 5282095"/>
              <a:gd name="connsiteX851" fmla="*/ 5911410 w 7714416"/>
              <a:gd name="connsiteY851" fmla="*/ 4975677 h 5282095"/>
              <a:gd name="connsiteX852" fmla="*/ 5907686 w 7714416"/>
              <a:gd name="connsiteY852" fmla="*/ 4938686 h 5282095"/>
              <a:gd name="connsiteX853" fmla="*/ 3532896 w 7714416"/>
              <a:gd name="connsiteY853" fmla="*/ 4938686 h 5282095"/>
              <a:gd name="connsiteX854" fmla="*/ 3536907 w 7714416"/>
              <a:gd name="connsiteY854" fmla="*/ 4975676 h 5282095"/>
              <a:gd name="connsiteX855" fmla="*/ 3532896 w 7714416"/>
              <a:gd name="connsiteY855" fmla="*/ 4938686 h 5282095"/>
              <a:gd name="connsiteX856" fmla="*/ 5756718 w 7714416"/>
              <a:gd name="connsiteY856" fmla="*/ 4937020 h 5282095"/>
              <a:gd name="connsiteX857" fmla="*/ 5759870 w 7714416"/>
              <a:gd name="connsiteY857" fmla="*/ 4938575 h 5282095"/>
              <a:gd name="connsiteX858" fmla="*/ 5761016 w 7714416"/>
              <a:gd name="connsiteY858" fmla="*/ 4941906 h 5282095"/>
              <a:gd name="connsiteX859" fmla="*/ 5755286 w 7714416"/>
              <a:gd name="connsiteY859" fmla="*/ 4952349 h 5282095"/>
              <a:gd name="connsiteX860" fmla="*/ 5753281 w 7714416"/>
              <a:gd name="connsiteY860" fmla="*/ 4954571 h 5282095"/>
              <a:gd name="connsiteX861" fmla="*/ 5751276 w 7714416"/>
              <a:gd name="connsiteY861" fmla="*/ 4956570 h 5282095"/>
              <a:gd name="connsiteX862" fmla="*/ 5744400 w 7714416"/>
              <a:gd name="connsiteY862" fmla="*/ 4957015 h 5282095"/>
              <a:gd name="connsiteX863" fmla="*/ 5756718 w 7714416"/>
              <a:gd name="connsiteY863" fmla="*/ 4937020 h 5282095"/>
              <a:gd name="connsiteX864" fmla="*/ 4449009 w 7714416"/>
              <a:gd name="connsiteY864" fmla="*/ 4937020 h 5282095"/>
              <a:gd name="connsiteX865" fmla="*/ 4452160 w 7714416"/>
              <a:gd name="connsiteY865" fmla="*/ 4938575 h 5282095"/>
              <a:gd name="connsiteX866" fmla="*/ 4453019 w 7714416"/>
              <a:gd name="connsiteY866" fmla="*/ 4941907 h 5282095"/>
              <a:gd name="connsiteX867" fmla="*/ 4447577 w 7714416"/>
              <a:gd name="connsiteY867" fmla="*/ 4952349 h 5282095"/>
              <a:gd name="connsiteX868" fmla="*/ 4445571 w 7714416"/>
              <a:gd name="connsiteY868" fmla="*/ 4954571 h 5282095"/>
              <a:gd name="connsiteX869" fmla="*/ 4443567 w 7714416"/>
              <a:gd name="connsiteY869" fmla="*/ 4956570 h 5282095"/>
              <a:gd name="connsiteX870" fmla="*/ 4436404 w 7714416"/>
              <a:gd name="connsiteY870" fmla="*/ 4957015 h 5282095"/>
              <a:gd name="connsiteX871" fmla="*/ 4449009 w 7714416"/>
              <a:gd name="connsiteY871" fmla="*/ 4937020 h 5282095"/>
              <a:gd name="connsiteX872" fmla="*/ 3382216 w 7714416"/>
              <a:gd name="connsiteY872" fmla="*/ 4937019 h 5282095"/>
              <a:gd name="connsiteX873" fmla="*/ 3385367 w 7714416"/>
              <a:gd name="connsiteY873" fmla="*/ 4938575 h 5282095"/>
              <a:gd name="connsiteX874" fmla="*/ 3386226 w 7714416"/>
              <a:gd name="connsiteY874" fmla="*/ 4941907 h 5282095"/>
              <a:gd name="connsiteX875" fmla="*/ 3380784 w 7714416"/>
              <a:gd name="connsiteY875" fmla="*/ 4952350 h 5282095"/>
              <a:gd name="connsiteX876" fmla="*/ 3378779 w 7714416"/>
              <a:gd name="connsiteY876" fmla="*/ 4954571 h 5282095"/>
              <a:gd name="connsiteX877" fmla="*/ 3376773 w 7714416"/>
              <a:gd name="connsiteY877" fmla="*/ 4956571 h 5282095"/>
              <a:gd name="connsiteX878" fmla="*/ 3369612 w 7714416"/>
              <a:gd name="connsiteY878" fmla="*/ 4957014 h 5282095"/>
              <a:gd name="connsiteX879" fmla="*/ 3382216 w 7714416"/>
              <a:gd name="connsiteY879" fmla="*/ 4937019 h 5282095"/>
              <a:gd name="connsiteX880" fmla="*/ 3458415 w 7714416"/>
              <a:gd name="connsiteY880" fmla="*/ 4934798 h 5282095"/>
              <a:gd name="connsiteX881" fmla="*/ 3462139 w 7714416"/>
              <a:gd name="connsiteY881" fmla="*/ 4934798 h 5282095"/>
              <a:gd name="connsiteX882" fmla="*/ 3465004 w 7714416"/>
              <a:gd name="connsiteY882" fmla="*/ 4937464 h 5282095"/>
              <a:gd name="connsiteX883" fmla="*/ 3466436 w 7714416"/>
              <a:gd name="connsiteY883" fmla="*/ 4948794 h 5282095"/>
              <a:gd name="connsiteX884" fmla="*/ 3466150 w 7714416"/>
              <a:gd name="connsiteY884" fmla="*/ 4951349 h 5282095"/>
              <a:gd name="connsiteX885" fmla="*/ 3465577 w 7714416"/>
              <a:gd name="connsiteY885" fmla="*/ 4954126 h 5282095"/>
              <a:gd name="connsiteX886" fmla="*/ 3459849 w 7714416"/>
              <a:gd name="connsiteY886" fmla="*/ 4957237 h 5282095"/>
              <a:gd name="connsiteX887" fmla="*/ 3458415 w 7714416"/>
              <a:gd name="connsiteY887" fmla="*/ 4934798 h 5282095"/>
              <a:gd name="connsiteX888" fmla="*/ 5832918 w 7714416"/>
              <a:gd name="connsiteY888" fmla="*/ 4934798 h 5282095"/>
              <a:gd name="connsiteX889" fmla="*/ 5836642 w 7714416"/>
              <a:gd name="connsiteY889" fmla="*/ 4934798 h 5282095"/>
              <a:gd name="connsiteX890" fmla="*/ 5839507 w 7714416"/>
              <a:gd name="connsiteY890" fmla="*/ 4937464 h 5282095"/>
              <a:gd name="connsiteX891" fmla="*/ 5840939 w 7714416"/>
              <a:gd name="connsiteY891" fmla="*/ 4948795 h 5282095"/>
              <a:gd name="connsiteX892" fmla="*/ 5840652 w 7714416"/>
              <a:gd name="connsiteY892" fmla="*/ 4951350 h 5282095"/>
              <a:gd name="connsiteX893" fmla="*/ 5840080 w 7714416"/>
              <a:gd name="connsiteY893" fmla="*/ 4954127 h 5282095"/>
              <a:gd name="connsiteX894" fmla="*/ 5834350 w 7714416"/>
              <a:gd name="connsiteY894" fmla="*/ 4957237 h 5282095"/>
              <a:gd name="connsiteX895" fmla="*/ 5832918 w 7714416"/>
              <a:gd name="connsiteY895" fmla="*/ 4934798 h 5282095"/>
              <a:gd name="connsiteX896" fmla="*/ 4525208 w 7714416"/>
              <a:gd name="connsiteY896" fmla="*/ 4934798 h 5282095"/>
              <a:gd name="connsiteX897" fmla="*/ 4528932 w 7714416"/>
              <a:gd name="connsiteY897" fmla="*/ 4934798 h 5282095"/>
              <a:gd name="connsiteX898" fmla="*/ 4531797 w 7714416"/>
              <a:gd name="connsiteY898" fmla="*/ 4937465 h 5282095"/>
              <a:gd name="connsiteX899" fmla="*/ 4533229 w 7714416"/>
              <a:gd name="connsiteY899" fmla="*/ 4948795 h 5282095"/>
              <a:gd name="connsiteX900" fmla="*/ 4532943 w 7714416"/>
              <a:gd name="connsiteY900" fmla="*/ 4951350 h 5282095"/>
              <a:gd name="connsiteX901" fmla="*/ 4532370 w 7714416"/>
              <a:gd name="connsiteY901" fmla="*/ 4954127 h 5282095"/>
              <a:gd name="connsiteX902" fmla="*/ 4526641 w 7714416"/>
              <a:gd name="connsiteY902" fmla="*/ 4957237 h 5282095"/>
              <a:gd name="connsiteX903" fmla="*/ 4525208 w 7714416"/>
              <a:gd name="connsiteY903" fmla="*/ 4934798 h 5282095"/>
              <a:gd name="connsiteX904" fmla="*/ 3414587 w 7714416"/>
              <a:gd name="connsiteY904" fmla="*/ 4931910 h 5282095"/>
              <a:gd name="connsiteX905" fmla="*/ 3417737 w 7714416"/>
              <a:gd name="connsiteY905" fmla="*/ 4932132 h 5282095"/>
              <a:gd name="connsiteX906" fmla="*/ 3420888 w 7714416"/>
              <a:gd name="connsiteY906" fmla="*/ 4933576 h 5282095"/>
              <a:gd name="connsiteX907" fmla="*/ 3421749 w 7714416"/>
              <a:gd name="connsiteY907" fmla="*/ 4935909 h 5282095"/>
              <a:gd name="connsiteX908" fmla="*/ 3419170 w 7714416"/>
              <a:gd name="connsiteY908" fmla="*/ 4937908 h 5282095"/>
              <a:gd name="connsiteX909" fmla="*/ 3412867 w 7714416"/>
              <a:gd name="connsiteY909" fmla="*/ 4940019 h 5282095"/>
              <a:gd name="connsiteX910" fmla="*/ 3408284 w 7714416"/>
              <a:gd name="connsiteY910" fmla="*/ 4939019 h 5282095"/>
              <a:gd name="connsiteX911" fmla="*/ 3408858 w 7714416"/>
              <a:gd name="connsiteY911" fmla="*/ 4936353 h 5282095"/>
              <a:gd name="connsiteX912" fmla="*/ 3407426 w 7714416"/>
              <a:gd name="connsiteY912" fmla="*/ 4934243 h 5282095"/>
              <a:gd name="connsiteX913" fmla="*/ 3409143 w 7714416"/>
              <a:gd name="connsiteY913" fmla="*/ 4933687 h 5282095"/>
              <a:gd name="connsiteX914" fmla="*/ 3410003 w 7714416"/>
              <a:gd name="connsiteY914" fmla="*/ 4932131 h 5282095"/>
              <a:gd name="connsiteX915" fmla="*/ 3414587 w 7714416"/>
              <a:gd name="connsiteY915" fmla="*/ 4931910 h 5282095"/>
              <a:gd name="connsiteX916" fmla="*/ 5789089 w 7714416"/>
              <a:gd name="connsiteY916" fmla="*/ 4931910 h 5282095"/>
              <a:gd name="connsiteX917" fmla="*/ 5792241 w 7714416"/>
              <a:gd name="connsiteY917" fmla="*/ 4932132 h 5282095"/>
              <a:gd name="connsiteX918" fmla="*/ 5795392 w 7714416"/>
              <a:gd name="connsiteY918" fmla="*/ 4933576 h 5282095"/>
              <a:gd name="connsiteX919" fmla="*/ 5796249 w 7714416"/>
              <a:gd name="connsiteY919" fmla="*/ 4935909 h 5282095"/>
              <a:gd name="connsiteX920" fmla="*/ 5793672 w 7714416"/>
              <a:gd name="connsiteY920" fmla="*/ 4937908 h 5282095"/>
              <a:gd name="connsiteX921" fmla="*/ 5787370 w 7714416"/>
              <a:gd name="connsiteY921" fmla="*/ 4940019 h 5282095"/>
              <a:gd name="connsiteX922" fmla="*/ 5782787 w 7714416"/>
              <a:gd name="connsiteY922" fmla="*/ 4939020 h 5282095"/>
              <a:gd name="connsiteX923" fmla="*/ 5783360 w 7714416"/>
              <a:gd name="connsiteY923" fmla="*/ 4936353 h 5282095"/>
              <a:gd name="connsiteX924" fmla="*/ 5782215 w 7714416"/>
              <a:gd name="connsiteY924" fmla="*/ 4934243 h 5282095"/>
              <a:gd name="connsiteX925" fmla="*/ 5783646 w 7714416"/>
              <a:gd name="connsiteY925" fmla="*/ 4933687 h 5282095"/>
              <a:gd name="connsiteX926" fmla="*/ 5784506 w 7714416"/>
              <a:gd name="connsiteY926" fmla="*/ 4932132 h 5282095"/>
              <a:gd name="connsiteX927" fmla="*/ 5789089 w 7714416"/>
              <a:gd name="connsiteY927" fmla="*/ 4931910 h 5282095"/>
              <a:gd name="connsiteX928" fmla="*/ 4481380 w 7714416"/>
              <a:gd name="connsiteY928" fmla="*/ 4931910 h 5282095"/>
              <a:gd name="connsiteX929" fmla="*/ 4484530 w 7714416"/>
              <a:gd name="connsiteY929" fmla="*/ 4932132 h 5282095"/>
              <a:gd name="connsiteX930" fmla="*/ 4487682 w 7714416"/>
              <a:gd name="connsiteY930" fmla="*/ 4933576 h 5282095"/>
              <a:gd name="connsiteX931" fmla="*/ 4488541 w 7714416"/>
              <a:gd name="connsiteY931" fmla="*/ 4935909 h 5282095"/>
              <a:gd name="connsiteX932" fmla="*/ 4485963 w 7714416"/>
              <a:gd name="connsiteY932" fmla="*/ 4937908 h 5282095"/>
              <a:gd name="connsiteX933" fmla="*/ 4479660 w 7714416"/>
              <a:gd name="connsiteY933" fmla="*/ 4940019 h 5282095"/>
              <a:gd name="connsiteX934" fmla="*/ 4475077 w 7714416"/>
              <a:gd name="connsiteY934" fmla="*/ 4939020 h 5282095"/>
              <a:gd name="connsiteX935" fmla="*/ 4475650 w 7714416"/>
              <a:gd name="connsiteY935" fmla="*/ 4936353 h 5282095"/>
              <a:gd name="connsiteX936" fmla="*/ 4474218 w 7714416"/>
              <a:gd name="connsiteY936" fmla="*/ 4934242 h 5282095"/>
              <a:gd name="connsiteX937" fmla="*/ 4475936 w 7714416"/>
              <a:gd name="connsiteY937" fmla="*/ 4933798 h 5282095"/>
              <a:gd name="connsiteX938" fmla="*/ 4476796 w 7714416"/>
              <a:gd name="connsiteY938" fmla="*/ 4932132 h 5282095"/>
              <a:gd name="connsiteX939" fmla="*/ 4481380 w 7714416"/>
              <a:gd name="connsiteY939" fmla="*/ 4931910 h 5282095"/>
              <a:gd name="connsiteX940" fmla="*/ 4586225 w 7714416"/>
              <a:gd name="connsiteY940" fmla="*/ 4926356 h 5282095"/>
              <a:gd name="connsiteX941" fmla="*/ 4591095 w 7714416"/>
              <a:gd name="connsiteY941" fmla="*/ 4926911 h 5282095"/>
              <a:gd name="connsiteX942" fmla="*/ 4593673 w 7714416"/>
              <a:gd name="connsiteY942" fmla="*/ 4931910 h 5282095"/>
              <a:gd name="connsiteX943" fmla="*/ 4578204 w 7714416"/>
              <a:gd name="connsiteY943" fmla="*/ 4934910 h 5282095"/>
              <a:gd name="connsiteX944" fmla="*/ 4586225 w 7714416"/>
              <a:gd name="connsiteY944" fmla="*/ 4926356 h 5282095"/>
              <a:gd name="connsiteX945" fmla="*/ 3278229 w 7714416"/>
              <a:gd name="connsiteY945" fmla="*/ 4926356 h 5282095"/>
              <a:gd name="connsiteX946" fmla="*/ 3283386 w 7714416"/>
              <a:gd name="connsiteY946" fmla="*/ 4926911 h 5282095"/>
              <a:gd name="connsiteX947" fmla="*/ 3285964 w 7714416"/>
              <a:gd name="connsiteY947" fmla="*/ 4931910 h 5282095"/>
              <a:gd name="connsiteX948" fmla="*/ 3270495 w 7714416"/>
              <a:gd name="connsiteY948" fmla="*/ 4934910 h 5282095"/>
              <a:gd name="connsiteX949" fmla="*/ 3278229 w 7714416"/>
              <a:gd name="connsiteY949" fmla="*/ 4926356 h 5282095"/>
              <a:gd name="connsiteX950" fmla="*/ 2211437 w 7714416"/>
              <a:gd name="connsiteY950" fmla="*/ 4926356 h 5282095"/>
              <a:gd name="connsiteX951" fmla="*/ 2216592 w 7714416"/>
              <a:gd name="connsiteY951" fmla="*/ 4926911 h 5282095"/>
              <a:gd name="connsiteX952" fmla="*/ 2219171 w 7714416"/>
              <a:gd name="connsiteY952" fmla="*/ 4931910 h 5282095"/>
              <a:gd name="connsiteX953" fmla="*/ 2203701 w 7714416"/>
              <a:gd name="connsiteY953" fmla="*/ 4934909 h 5282095"/>
              <a:gd name="connsiteX954" fmla="*/ 2211437 w 7714416"/>
              <a:gd name="connsiteY954" fmla="*/ 4926356 h 5282095"/>
              <a:gd name="connsiteX955" fmla="*/ 5201551 w 7714416"/>
              <a:gd name="connsiteY955" fmla="*/ 4922801 h 5282095"/>
              <a:gd name="connsiteX956" fmla="*/ 5213582 w 7714416"/>
              <a:gd name="connsiteY956" fmla="*/ 4927689 h 5282095"/>
              <a:gd name="connsiteX957" fmla="*/ 5208140 w 7714416"/>
              <a:gd name="connsiteY957" fmla="*/ 4933576 h 5282095"/>
              <a:gd name="connsiteX958" fmla="*/ 5195248 w 7714416"/>
              <a:gd name="connsiteY958" fmla="*/ 4931244 h 5282095"/>
              <a:gd name="connsiteX959" fmla="*/ 5201551 w 7714416"/>
              <a:gd name="connsiteY959" fmla="*/ 4922801 h 5282095"/>
              <a:gd name="connsiteX960" fmla="*/ 3893841 w 7714416"/>
              <a:gd name="connsiteY960" fmla="*/ 4922801 h 5282095"/>
              <a:gd name="connsiteX961" fmla="*/ 3905586 w 7714416"/>
              <a:gd name="connsiteY961" fmla="*/ 4927689 h 5282095"/>
              <a:gd name="connsiteX962" fmla="*/ 3900430 w 7714416"/>
              <a:gd name="connsiteY962" fmla="*/ 4933576 h 5282095"/>
              <a:gd name="connsiteX963" fmla="*/ 3887539 w 7714416"/>
              <a:gd name="connsiteY963" fmla="*/ 4931244 h 5282095"/>
              <a:gd name="connsiteX964" fmla="*/ 3893841 w 7714416"/>
              <a:gd name="connsiteY964" fmla="*/ 4922801 h 5282095"/>
              <a:gd name="connsiteX965" fmla="*/ 2827048 w 7714416"/>
              <a:gd name="connsiteY965" fmla="*/ 4922801 h 5282095"/>
              <a:gd name="connsiteX966" fmla="*/ 2838794 w 7714416"/>
              <a:gd name="connsiteY966" fmla="*/ 4927688 h 5282095"/>
              <a:gd name="connsiteX967" fmla="*/ 2833637 w 7714416"/>
              <a:gd name="connsiteY967" fmla="*/ 4933576 h 5282095"/>
              <a:gd name="connsiteX968" fmla="*/ 2820747 w 7714416"/>
              <a:gd name="connsiteY968" fmla="*/ 4931243 h 5282095"/>
              <a:gd name="connsiteX969" fmla="*/ 2827048 w 7714416"/>
              <a:gd name="connsiteY969" fmla="*/ 4922801 h 5282095"/>
              <a:gd name="connsiteX970" fmla="*/ 2601601 w 7714416"/>
              <a:gd name="connsiteY970" fmla="*/ 4922468 h 5282095"/>
              <a:gd name="connsiteX971" fmla="*/ 2609049 w 7714416"/>
              <a:gd name="connsiteY971" fmla="*/ 4924134 h 5282095"/>
              <a:gd name="connsiteX972" fmla="*/ 2607043 w 7714416"/>
              <a:gd name="connsiteY972" fmla="*/ 4930910 h 5282095"/>
              <a:gd name="connsiteX973" fmla="*/ 2601887 w 7714416"/>
              <a:gd name="connsiteY973" fmla="*/ 4932577 h 5282095"/>
              <a:gd name="connsiteX974" fmla="*/ 2596731 w 7714416"/>
              <a:gd name="connsiteY974" fmla="*/ 4930133 h 5282095"/>
              <a:gd name="connsiteX975" fmla="*/ 2595298 w 7714416"/>
              <a:gd name="connsiteY975" fmla="*/ 4925355 h 5282095"/>
              <a:gd name="connsiteX976" fmla="*/ 2601601 w 7714416"/>
              <a:gd name="connsiteY976" fmla="*/ 4922468 h 5282095"/>
              <a:gd name="connsiteX977" fmla="*/ 4976104 w 7714416"/>
              <a:gd name="connsiteY977" fmla="*/ 4922468 h 5282095"/>
              <a:gd name="connsiteX978" fmla="*/ 4983551 w 7714416"/>
              <a:gd name="connsiteY978" fmla="*/ 4924134 h 5282095"/>
              <a:gd name="connsiteX979" fmla="*/ 4981546 w 7714416"/>
              <a:gd name="connsiteY979" fmla="*/ 4930910 h 5282095"/>
              <a:gd name="connsiteX980" fmla="*/ 4976390 w 7714416"/>
              <a:gd name="connsiteY980" fmla="*/ 4932576 h 5282095"/>
              <a:gd name="connsiteX981" fmla="*/ 4971233 w 7714416"/>
              <a:gd name="connsiteY981" fmla="*/ 4930132 h 5282095"/>
              <a:gd name="connsiteX982" fmla="*/ 4969801 w 7714416"/>
              <a:gd name="connsiteY982" fmla="*/ 4925356 h 5282095"/>
              <a:gd name="connsiteX983" fmla="*/ 4976104 w 7714416"/>
              <a:gd name="connsiteY983" fmla="*/ 4922468 h 5282095"/>
              <a:gd name="connsiteX984" fmla="*/ 3668395 w 7714416"/>
              <a:gd name="connsiteY984" fmla="*/ 4922468 h 5282095"/>
              <a:gd name="connsiteX985" fmla="*/ 3675842 w 7714416"/>
              <a:gd name="connsiteY985" fmla="*/ 4924134 h 5282095"/>
              <a:gd name="connsiteX986" fmla="*/ 3673836 w 7714416"/>
              <a:gd name="connsiteY986" fmla="*/ 4930911 h 5282095"/>
              <a:gd name="connsiteX987" fmla="*/ 3668680 w 7714416"/>
              <a:gd name="connsiteY987" fmla="*/ 4932577 h 5282095"/>
              <a:gd name="connsiteX988" fmla="*/ 3663524 w 7714416"/>
              <a:gd name="connsiteY988" fmla="*/ 4930132 h 5282095"/>
              <a:gd name="connsiteX989" fmla="*/ 3662091 w 7714416"/>
              <a:gd name="connsiteY989" fmla="*/ 4925356 h 5282095"/>
              <a:gd name="connsiteX990" fmla="*/ 3668395 w 7714416"/>
              <a:gd name="connsiteY990" fmla="*/ 4922468 h 5282095"/>
              <a:gd name="connsiteX991" fmla="*/ 3884388 w 7714416"/>
              <a:gd name="connsiteY991" fmla="*/ 4919247 h 5282095"/>
              <a:gd name="connsiteX992" fmla="*/ 3891263 w 7714416"/>
              <a:gd name="connsiteY992" fmla="*/ 4920357 h 5282095"/>
              <a:gd name="connsiteX993" fmla="*/ 3890403 w 7714416"/>
              <a:gd name="connsiteY993" fmla="*/ 4922912 h 5282095"/>
              <a:gd name="connsiteX994" fmla="*/ 3886106 w 7714416"/>
              <a:gd name="connsiteY994" fmla="*/ 4925912 h 5282095"/>
              <a:gd name="connsiteX995" fmla="*/ 3880950 w 7714416"/>
              <a:gd name="connsiteY995" fmla="*/ 4926467 h 5282095"/>
              <a:gd name="connsiteX996" fmla="*/ 3878372 w 7714416"/>
              <a:gd name="connsiteY996" fmla="*/ 4919802 h 5282095"/>
              <a:gd name="connsiteX997" fmla="*/ 3884388 w 7714416"/>
              <a:gd name="connsiteY997" fmla="*/ 4919247 h 5282095"/>
              <a:gd name="connsiteX998" fmla="*/ 5192098 w 7714416"/>
              <a:gd name="connsiteY998" fmla="*/ 4919247 h 5282095"/>
              <a:gd name="connsiteX999" fmla="*/ 5198972 w 7714416"/>
              <a:gd name="connsiteY999" fmla="*/ 4920357 h 5282095"/>
              <a:gd name="connsiteX1000" fmla="*/ 5198113 w 7714416"/>
              <a:gd name="connsiteY1000" fmla="*/ 4922912 h 5282095"/>
              <a:gd name="connsiteX1001" fmla="*/ 5193815 w 7714416"/>
              <a:gd name="connsiteY1001" fmla="*/ 4925912 h 5282095"/>
              <a:gd name="connsiteX1002" fmla="*/ 5188660 w 7714416"/>
              <a:gd name="connsiteY1002" fmla="*/ 4926467 h 5282095"/>
              <a:gd name="connsiteX1003" fmla="*/ 5186368 w 7714416"/>
              <a:gd name="connsiteY1003" fmla="*/ 4919802 h 5282095"/>
              <a:gd name="connsiteX1004" fmla="*/ 5192098 w 7714416"/>
              <a:gd name="connsiteY1004" fmla="*/ 4919247 h 5282095"/>
              <a:gd name="connsiteX1005" fmla="*/ 2817595 w 7714416"/>
              <a:gd name="connsiteY1005" fmla="*/ 4919247 h 5282095"/>
              <a:gd name="connsiteX1006" fmla="*/ 2824470 w 7714416"/>
              <a:gd name="connsiteY1006" fmla="*/ 4920357 h 5282095"/>
              <a:gd name="connsiteX1007" fmla="*/ 2823611 w 7714416"/>
              <a:gd name="connsiteY1007" fmla="*/ 4922912 h 5282095"/>
              <a:gd name="connsiteX1008" fmla="*/ 2819314 w 7714416"/>
              <a:gd name="connsiteY1008" fmla="*/ 4925912 h 5282095"/>
              <a:gd name="connsiteX1009" fmla="*/ 2814157 w 7714416"/>
              <a:gd name="connsiteY1009" fmla="*/ 4926467 h 5282095"/>
              <a:gd name="connsiteX1010" fmla="*/ 2811579 w 7714416"/>
              <a:gd name="connsiteY1010" fmla="*/ 4919802 h 5282095"/>
              <a:gd name="connsiteX1011" fmla="*/ 2817595 w 7714416"/>
              <a:gd name="connsiteY1011" fmla="*/ 4919247 h 5282095"/>
              <a:gd name="connsiteX1012" fmla="*/ 2372715 w 7714416"/>
              <a:gd name="connsiteY1012" fmla="*/ 4918580 h 5282095"/>
              <a:gd name="connsiteX1013" fmla="*/ 2373002 w 7714416"/>
              <a:gd name="connsiteY1013" fmla="*/ 4919691 h 5282095"/>
              <a:gd name="connsiteX1014" fmla="*/ 2375007 w 7714416"/>
              <a:gd name="connsiteY1014" fmla="*/ 4920468 h 5282095"/>
              <a:gd name="connsiteX1015" fmla="*/ 2373575 w 7714416"/>
              <a:gd name="connsiteY1015" fmla="*/ 4925690 h 5282095"/>
              <a:gd name="connsiteX1016" fmla="*/ 2370710 w 7714416"/>
              <a:gd name="connsiteY1016" fmla="*/ 4927911 h 5282095"/>
              <a:gd name="connsiteX1017" fmla="*/ 2367273 w 7714416"/>
              <a:gd name="connsiteY1017" fmla="*/ 4928467 h 5282095"/>
              <a:gd name="connsiteX1018" fmla="*/ 2364981 w 7714416"/>
              <a:gd name="connsiteY1018" fmla="*/ 4926578 h 5282095"/>
              <a:gd name="connsiteX1019" fmla="*/ 2363262 w 7714416"/>
              <a:gd name="connsiteY1019" fmla="*/ 4922024 h 5282095"/>
              <a:gd name="connsiteX1020" fmla="*/ 2365554 w 7714416"/>
              <a:gd name="connsiteY1020" fmla="*/ 4919135 h 5282095"/>
              <a:gd name="connsiteX1021" fmla="*/ 2369278 w 7714416"/>
              <a:gd name="connsiteY1021" fmla="*/ 4919358 h 5282095"/>
              <a:gd name="connsiteX1022" fmla="*/ 2372715 w 7714416"/>
              <a:gd name="connsiteY1022" fmla="*/ 4918580 h 5282095"/>
              <a:gd name="connsiteX1023" fmla="*/ 4747218 w 7714416"/>
              <a:gd name="connsiteY1023" fmla="*/ 4918579 h 5282095"/>
              <a:gd name="connsiteX1024" fmla="*/ 4747505 w 7714416"/>
              <a:gd name="connsiteY1024" fmla="*/ 4919691 h 5282095"/>
              <a:gd name="connsiteX1025" fmla="*/ 4749510 w 7714416"/>
              <a:gd name="connsiteY1025" fmla="*/ 4920468 h 5282095"/>
              <a:gd name="connsiteX1026" fmla="*/ 4748078 w 7714416"/>
              <a:gd name="connsiteY1026" fmla="*/ 4925689 h 5282095"/>
              <a:gd name="connsiteX1027" fmla="*/ 4745500 w 7714416"/>
              <a:gd name="connsiteY1027" fmla="*/ 4927911 h 5282095"/>
              <a:gd name="connsiteX1028" fmla="*/ 4742062 w 7714416"/>
              <a:gd name="connsiteY1028" fmla="*/ 4928467 h 5282095"/>
              <a:gd name="connsiteX1029" fmla="*/ 4739484 w 7714416"/>
              <a:gd name="connsiteY1029" fmla="*/ 4926578 h 5282095"/>
              <a:gd name="connsiteX1030" fmla="*/ 4737765 w 7714416"/>
              <a:gd name="connsiteY1030" fmla="*/ 4922023 h 5282095"/>
              <a:gd name="connsiteX1031" fmla="*/ 4740343 w 7714416"/>
              <a:gd name="connsiteY1031" fmla="*/ 4919135 h 5282095"/>
              <a:gd name="connsiteX1032" fmla="*/ 4743781 w 7714416"/>
              <a:gd name="connsiteY1032" fmla="*/ 4919358 h 5282095"/>
              <a:gd name="connsiteX1033" fmla="*/ 4747218 w 7714416"/>
              <a:gd name="connsiteY1033" fmla="*/ 4918579 h 5282095"/>
              <a:gd name="connsiteX1034" fmla="*/ 3439509 w 7714416"/>
              <a:gd name="connsiteY1034" fmla="*/ 4918579 h 5282095"/>
              <a:gd name="connsiteX1035" fmla="*/ 3439795 w 7714416"/>
              <a:gd name="connsiteY1035" fmla="*/ 4919691 h 5282095"/>
              <a:gd name="connsiteX1036" fmla="*/ 3441800 w 7714416"/>
              <a:gd name="connsiteY1036" fmla="*/ 4920468 h 5282095"/>
              <a:gd name="connsiteX1037" fmla="*/ 3440368 w 7714416"/>
              <a:gd name="connsiteY1037" fmla="*/ 4925689 h 5282095"/>
              <a:gd name="connsiteX1038" fmla="*/ 3437503 w 7714416"/>
              <a:gd name="connsiteY1038" fmla="*/ 4927911 h 5282095"/>
              <a:gd name="connsiteX1039" fmla="*/ 3434067 w 7714416"/>
              <a:gd name="connsiteY1039" fmla="*/ 4928467 h 5282095"/>
              <a:gd name="connsiteX1040" fmla="*/ 3431774 w 7714416"/>
              <a:gd name="connsiteY1040" fmla="*/ 4926578 h 5282095"/>
              <a:gd name="connsiteX1041" fmla="*/ 3430055 w 7714416"/>
              <a:gd name="connsiteY1041" fmla="*/ 4922024 h 5282095"/>
              <a:gd name="connsiteX1042" fmla="*/ 3432347 w 7714416"/>
              <a:gd name="connsiteY1042" fmla="*/ 4919136 h 5282095"/>
              <a:gd name="connsiteX1043" fmla="*/ 3436071 w 7714416"/>
              <a:gd name="connsiteY1043" fmla="*/ 4919358 h 5282095"/>
              <a:gd name="connsiteX1044" fmla="*/ 3439509 w 7714416"/>
              <a:gd name="connsiteY1044" fmla="*/ 4918579 h 5282095"/>
              <a:gd name="connsiteX1045" fmla="*/ 4600548 w 7714416"/>
              <a:gd name="connsiteY1045" fmla="*/ 4917802 h 5282095"/>
              <a:gd name="connsiteX1046" fmla="*/ 4609142 w 7714416"/>
              <a:gd name="connsiteY1046" fmla="*/ 4928467 h 5282095"/>
              <a:gd name="connsiteX1047" fmla="*/ 4595106 w 7714416"/>
              <a:gd name="connsiteY1047" fmla="*/ 4923689 h 5282095"/>
              <a:gd name="connsiteX1048" fmla="*/ 4600548 w 7714416"/>
              <a:gd name="connsiteY1048" fmla="*/ 4917802 h 5282095"/>
              <a:gd name="connsiteX1049" fmla="*/ 3292840 w 7714416"/>
              <a:gd name="connsiteY1049" fmla="*/ 4917802 h 5282095"/>
              <a:gd name="connsiteX1050" fmla="*/ 3301433 w 7714416"/>
              <a:gd name="connsiteY1050" fmla="*/ 4928467 h 5282095"/>
              <a:gd name="connsiteX1051" fmla="*/ 3287396 w 7714416"/>
              <a:gd name="connsiteY1051" fmla="*/ 4923690 h 5282095"/>
              <a:gd name="connsiteX1052" fmla="*/ 3292840 w 7714416"/>
              <a:gd name="connsiteY1052" fmla="*/ 4917802 h 5282095"/>
              <a:gd name="connsiteX1053" fmla="*/ 2226047 w 7714416"/>
              <a:gd name="connsiteY1053" fmla="*/ 4917802 h 5282095"/>
              <a:gd name="connsiteX1054" fmla="*/ 2234640 w 7714416"/>
              <a:gd name="connsiteY1054" fmla="*/ 4928467 h 5282095"/>
              <a:gd name="connsiteX1055" fmla="*/ 2220603 w 7714416"/>
              <a:gd name="connsiteY1055" fmla="*/ 4923689 h 5282095"/>
              <a:gd name="connsiteX1056" fmla="*/ 2226047 w 7714416"/>
              <a:gd name="connsiteY1056" fmla="*/ 4917802 h 5282095"/>
              <a:gd name="connsiteX1057" fmla="*/ 3933373 w 7714416"/>
              <a:gd name="connsiteY1057" fmla="*/ 4917581 h 5282095"/>
              <a:gd name="connsiteX1058" fmla="*/ 3937384 w 7714416"/>
              <a:gd name="connsiteY1058" fmla="*/ 4919913 h 5282095"/>
              <a:gd name="connsiteX1059" fmla="*/ 3935951 w 7714416"/>
              <a:gd name="connsiteY1059" fmla="*/ 4927467 h 5282095"/>
              <a:gd name="connsiteX1060" fmla="*/ 3924779 w 7714416"/>
              <a:gd name="connsiteY1060" fmla="*/ 4924467 h 5282095"/>
              <a:gd name="connsiteX1061" fmla="*/ 3933373 w 7714416"/>
              <a:gd name="connsiteY1061" fmla="*/ 4917581 h 5282095"/>
              <a:gd name="connsiteX1062" fmla="*/ 2866581 w 7714416"/>
              <a:gd name="connsiteY1062" fmla="*/ 4917581 h 5282095"/>
              <a:gd name="connsiteX1063" fmla="*/ 2870590 w 7714416"/>
              <a:gd name="connsiteY1063" fmla="*/ 4919913 h 5282095"/>
              <a:gd name="connsiteX1064" fmla="*/ 2869159 w 7714416"/>
              <a:gd name="connsiteY1064" fmla="*/ 4927467 h 5282095"/>
              <a:gd name="connsiteX1065" fmla="*/ 2857986 w 7714416"/>
              <a:gd name="connsiteY1065" fmla="*/ 4924467 h 5282095"/>
              <a:gd name="connsiteX1066" fmla="*/ 2866581 w 7714416"/>
              <a:gd name="connsiteY1066" fmla="*/ 4917581 h 5282095"/>
              <a:gd name="connsiteX1067" fmla="*/ 5241084 w 7714416"/>
              <a:gd name="connsiteY1067" fmla="*/ 4917580 h 5282095"/>
              <a:gd name="connsiteX1068" fmla="*/ 5245093 w 7714416"/>
              <a:gd name="connsiteY1068" fmla="*/ 4919913 h 5282095"/>
              <a:gd name="connsiteX1069" fmla="*/ 5243661 w 7714416"/>
              <a:gd name="connsiteY1069" fmla="*/ 4927467 h 5282095"/>
              <a:gd name="connsiteX1070" fmla="*/ 5232489 w 7714416"/>
              <a:gd name="connsiteY1070" fmla="*/ 4924467 h 5282095"/>
              <a:gd name="connsiteX1071" fmla="*/ 5241084 w 7714416"/>
              <a:gd name="connsiteY1071" fmla="*/ 4917580 h 5282095"/>
              <a:gd name="connsiteX1072" fmla="*/ 4180592 w 7714416"/>
              <a:gd name="connsiteY1072" fmla="*/ 4917358 h 5282095"/>
              <a:gd name="connsiteX1073" fmla="*/ 4198066 w 7714416"/>
              <a:gd name="connsiteY1073" fmla="*/ 4921690 h 5282095"/>
              <a:gd name="connsiteX1074" fmla="*/ 4193483 w 7714416"/>
              <a:gd name="connsiteY1074" fmla="*/ 4929466 h 5282095"/>
              <a:gd name="connsiteX1075" fmla="*/ 4181452 w 7714416"/>
              <a:gd name="connsiteY1075" fmla="*/ 4932243 h 5282095"/>
              <a:gd name="connsiteX1076" fmla="*/ 4180592 w 7714416"/>
              <a:gd name="connsiteY1076" fmla="*/ 4917358 h 5282095"/>
              <a:gd name="connsiteX1077" fmla="*/ 3113799 w 7714416"/>
              <a:gd name="connsiteY1077" fmla="*/ 4917358 h 5282095"/>
              <a:gd name="connsiteX1078" fmla="*/ 3131273 w 7714416"/>
              <a:gd name="connsiteY1078" fmla="*/ 4921690 h 5282095"/>
              <a:gd name="connsiteX1079" fmla="*/ 3126690 w 7714416"/>
              <a:gd name="connsiteY1079" fmla="*/ 4929466 h 5282095"/>
              <a:gd name="connsiteX1080" fmla="*/ 3114659 w 7714416"/>
              <a:gd name="connsiteY1080" fmla="*/ 4932243 h 5282095"/>
              <a:gd name="connsiteX1081" fmla="*/ 3113799 w 7714416"/>
              <a:gd name="connsiteY1081" fmla="*/ 4917358 h 5282095"/>
              <a:gd name="connsiteX1082" fmla="*/ 5488302 w 7714416"/>
              <a:gd name="connsiteY1082" fmla="*/ 4917357 h 5282095"/>
              <a:gd name="connsiteX1083" fmla="*/ 5505776 w 7714416"/>
              <a:gd name="connsiteY1083" fmla="*/ 4921691 h 5282095"/>
              <a:gd name="connsiteX1084" fmla="*/ 5501192 w 7714416"/>
              <a:gd name="connsiteY1084" fmla="*/ 4929466 h 5282095"/>
              <a:gd name="connsiteX1085" fmla="*/ 5489161 w 7714416"/>
              <a:gd name="connsiteY1085" fmla="*/ 4932243 h 5282095"/>
              <a:gd name="connsiteX1086" fmla="*/ 5488302 w 7714416"/>
              <a:gd name="connsiteY1086" fmla="*/ 4917357 h 5282095"/>
              <a:gd name="connsiteX1087" fmla="*/ 3342111 w 7714416"/>
              <a:gd name="connsiteY1087" fmla="*/ 4915137 h 5282095"/>
              <a:gd name="connsiteX1088" fmla="*/ 3348413 w 7714416"/>
              <a:gd name="connsiteY1088" fmla="*/ 4918135 h 5282095"/>
              <a:gd name="connsiteX1089" fmla="*/ 3350418 w 7714416"/>
              <a:gd name="connsiteY1089" fmla="*/ 4920802 h 5282095"/>
              <a:gd name="connsiteX1090" fmla="*/ 3349846 w 7714416"/>
              <a:gd name="connsiteY1090" fmla="*/ 4923023 h 5282095"/>
              <a:gd name="connsiteX1091" fmla="*/ 3346408 w 7714416"/>
              <a:gd name="connsiteY1091" fmla="*/ 4923801 h 5282095"/>
              <a:gd name="connsiteX1092" fmla="*/ 3339247 w 7714416"/>
              <a:gd name="connsiteY1092" fmla="*/ 4923023 h 5282095"/>
              <a:gd name="connsiteX1093" fmla="*/ 3336381 w 7714416"/>
              <a:gd name="connsiteY1093" fmla="*/ 4920356 h 5282095"/>
              <a:gd name="connsiteX1094" fmla="*/ 3338101 w 7714416"/>
              <a:gd name="connsiteY1094" fmla="*/ 4918247 h 5282095"/>
              <a:gd name="connsiteX1095" fmla="*/ 3338387 w 7714416"/>
              <a:gd name="connsiteY1095" fmla="*/ 4915914 h 5282095"/>
              <a:gd name="connsiteX1096" fmla="*/ 3340106 w 7714416"/>
              <a:gd name="connsiteY1096" fmla="*/ 4916025 h 5282095"/>
              <a:gd name="connsiteX1097" fmla="*/ 3342111 w 7714416"/>
              <a:gd name="connsiteY1097" fmla="*/ 4915137 h 5282095"/>
              <a:gd name="connsiteX1098" fmla="*/ 5716614 w 7714416"/>
              <a:gd name="connsiteY1098" fmla="*/ 4915136 h 5282095"/>
              <a:gd name="connsiteX1099" fmla="*/ 5722916 w 7714416"/>
              <a:gd name="connsiteY1099" fmla="*/ 4918135 h 5282095"/>
              <a:gd name="connsiteX1100" fmla="*/ 5724921 w 7714416"/>
              <a:gd name="connsiteY1100" fmla="*/ 4920802 h 5282095"/>
              <a:gd name="connsiteX1101" fmla="*/ 5724348 w 7714416"/>
              <a:gd name="connsiteY1101" fmla="*/ 4923023 h 5282095"/>
              <a:gd name="connsiteX1102" fmla="*/ 5720910 w 7714416"/>
              <a:gd name="connsiteY1102" fmla="*/ 4923801 h 5282095"/>
              <a:gd name="connsiteX1103" fmla="*/ 5714036 w 7714416"/>
              <a:gd name="connsiteY1103" fmla="*/ 4923023 h 5282095"/>
              <a:gd name="connsiteX1104" fmla="*/ 5710884 w 7714416"/>
              <a:gd name="connsiteY1104" fmla="*/ 4920357 h 5282095"/>
              <a:gd name="connsiteX1105" fmla="*/ 5712603 w 7714416"/>
              <a:gd name="connsiteY1105" fmla="*/ 4918247 h 5282095"/>
              <a:gd name="connsiteX1106" fmla="*/ 5712890 w 7714416"/>
              <a:gd name="connsiteY1106" fmla="*/ 4915914 h 5282095"/>
              <a:gd name="connsiteX1107" fmla="*/ 5714608 w 7714416"/>
              <a:gd name="connsiteY1107" fmla="*/ 4916025 h 5282095"/>
              <a:gd name="connsiteX1108" fmla="*/ 5716614 w 7714416"/>
              <a:gd name="connsiteY1108" fmla="*/ 4915136 h 5282095"/>
              <a:gd name="connsiteX1109" fmla="*/ 4408904 w 7714416"/>
              <a:gd name="connsiteY1109" fmla="*/ 4915136 h 5282095"/>
              <a:gd name="connsiteX1110" fmla="*/ 4415206 w 7714416"/>
              <a:gd name="connsiteY1110" fmla="*/ 4918135 h 5282095"/>
              <a:gd name="connsiteX1111" fmla="*/ 4417211 w 7714416"/>
              <a:gd name="connsiteY1111" fmla="*/ 4920802 h 5282095"/>
              <a:gd name="connsiteX1112" fmla="*/ 4416638 w 7714416"/>
              <a:gd name="connsiteY1112" fmla="*/ 4923022 h 5282095"/>
              <a:gd name="connsiteX1113" fmla="*/ 4413201 w 7714416"/>
              <a:gd name="connsiteY1113" fmla="*/ 4923801 h 5282095"/>
              <a:gd name="connsiteX1114" fmla="*/ 4406326 w 7714416"/>
              <a:gd name="connsiteY1114" fmla="*/ 4923023 h 5282095"/>
              <a:gd name="connsiteX1115" fmla="*/ 4403174 w 7714416"/>
              <a:gd name="connsiteY1115" fmla="*/ 4920357 h 5282095"/>
              <a:gd name="connsiteX1116" fmla="*/ 4404894 w 7714416"/>
              <a:gd name="connsiteY1116" fmla="*/ 4918247 h 5282095"/>
              <a:gd name="connsiteX1117" fmla="*/ 4405180 w 7714416"/>
              <a:gd name="connsiteY1117" fmla="*/ 4915914 h 5282095"/>
              <a:gd name="connsiteX1118" fmla="*/ 4406898 w 7714416"/>
              <a:gd name="connsiteY1118" fmla="*/ 4916025 h 5282095"/>
              <a:gd name="connsiteX1119" fmla="*/ 4408904 w 7714416"/>
              <a:gd name="connsiteY1119" fmla="*/ 4915136 h 5282095"/>
              <a:gd name="connsiteX1120" fmla="*/ 3178540 w 7714416"/>
              <a:gd name="connsiteY1120" fmla="*/ 4912360 h 5282095"/>
              <a:gd name="connsiteX1121" fmla="*/ 3185415 w 7714416"/>
              <a:gd name="connsiteY1121" fmla="*/ 4915914 h 5282095"/>
              <a:gd name="connsiteX1122" fmla="*/ 3186274 w 7714416"/>
              <a:gd name="connsiteY1122" fmla="*/ 4920024 h 5282095"/>
              <a:gd name="connsiteX1123" fmla="*/ 3178540 w 7714416"/>
              <a:gd name="connsiteY1123" fmla="*/ 4924467 h 5282095"/>
              <a:gd name="connsiteX1124" fmla="*/ 3169373 w 7714416"/>
              <a:gd name="connsiteY1124" fmla="*/ 4914026 h 5282095"/>
              <a:gd name="connsiteX1125" fmla="*/ 3178540 w 7714416"/>
              <a:gd name="connsiteY1125" fmla="*/ 4912360 h 5282095"/>
              <a:gd name="connsiteX1126" fmla="*/ 5553329 w 7714416"/>
              <a:gd name="connsiteY1126" fmla="*/ 4912359 h 5282095"/>
              <a:gd name="connsiteX1127" fmla="*/ 5559918 w 7714416"/>
              <a:gd name="connsiteY1127" fmla="*/ 4915914 h 5282095"/>
              <a:gd name="connsiteX1128" fmla="*/ 5560777 w 7714416"/>
              <a:gd name="connsiteY1128" fmla="*/ 4920024 h 5282095"/>
              <a:gd name="connsiteX1129" fmla="*/ 5553042 w 7714416"/>
              <a:gd name="connsiteY1129" fmla="*/ 4924467 h 5282095"/>
              <a:gd name="connsiteX1130" fmla="*/ 5543876 w 7714416"/>
              <a:gd name="connsiteY1130" fmla="*/ 4914026 h 5282095"/>
              <a:gd name="connsiteX1131" fmla="*/ 5553329 w 7714416"/>
              <a:gd name="connsiteY1131" fmla="*/ 4912359 h 5282095"/>
              <a:gd name="connsiteX1132" fmla="*/ 4245334 w 7714416"/>
              <a:gd name="connsiteY1132" fmla="*/ 4912359 h 5282095"/>
              <a:gd name="connsiteX1133" fmla="*/ 4252208 w 7714416"/>
              <a:gd name="connsiteY1133" fmla="*/ 4915914 h 5282095"/>
              <a:gd name="connsiteX1134" fmla="*/ 4253067 w 7714416"/>
              <a:gd name="connsiteY1134" fmla="*/ 4920024 h 5282095"/>
              <a:gd name="connsiteX1135" fmla="*/ 4245333 w 7714416"/>
              <a:gd name="connsiteY1135" fmla="*/ 4924467 h 5282095"/>
              <a:gd name="connsiteX1136" fmla="*/ 4236166 w 7714416"/>
              <a:gd name="connsiteY1136" fmla="*/ 4914025 h 5282095"/>
              <a:gd name="connsiteX1137" fmla="*/ 4245334 w 7714416"/>
              <a:gd name="connsiteY1137" fmla="*/ 4912359 h 5282095"/>
              <a:gd name="connsiteX1138" fmla="*/ 2612200 w 7714416"/>
              <a:gd name="connsiteY1138" fmla="*/ 4903584 h 5282095"/>
              <a:gd name="connsiteX1139" fmla="*/ 2618788 w 7714416"/>
              <a:gd name="connsiteY1139" fmla="*/ 4907694 h 5282095"/>
              <a:gd name="connsiteX1140" fmla="*/ 2618502 w 7714416"/>
              <a:gd name="connsiteY1140" fmla="*/ 4913914 h 5282095"/>
              <a:gd name="connsiteX1141" fmla="*/ 2605325 w 7714416"/>
              <a:gd name="connsiteY1141" fmla="*/ 4909582 h 5282095"/>
              <a:gd name="connsiteX1142" fmla="*/ 2612200 w 7714416"/>
              <a:gd name="connsiteY1142" fmla="*/ 4903584 h 5282095"/>
              <a:gd name="connsiteX1143" fmla="*/ 4986702 w 7714416"/>
              <a:gd name="connsiteY1143" fmla="*/ 4903584 h 5282095"/>
              <a:gd name="connsiteX1144" fmla="*/ 4993291 w 7714416"/>
              <a:gd name="connsiteY1144" fmla="*/ 4907694 h 5282095"/>
              <a:gd name="connsiteX1145" fmla="*/ 4993005 w 7714416"/>
              <a:gd name="connsiteY1145" fmla="*/ 4913915 h 5282095"/>
              <a:gd name="connsiteX1146" fmla="*/ 4979827 w 7714416"/>
              <a:gd name="connsiteY1146" fmla="*/ 4909581 h 5282095"/>
              <a:gd name="connsiteX1147" fmla="*/ 4986702 w 7714416"/>
              <a:gd name="connsiteY1147" fmla="*/ 4903584 h 5282095"/>
              <a:gd name="connsiteX1148" fmla="*/ 3678993 w 7714416"/>
              <a:gd name="connsiteY1148" fmla="*/ 4903584 h 5282095"/>
              <a:gd name="connsiteX1149" fmla="*/ 3685581 w 7714416"/>
              <a:gd name="connsiteY1149" fmla="*/ 4907694 h 5282095"/>
              <a:gd name="connsiteX1150" fmla="*/ 3685295 w 7714416"/>
              <a:gd name="connsiteY1150" fmla="*/ 4913915 h 5282095"/>
              <a:gd name="connsiteX1151" fmla="*/ 3672119 w 7714416"/>
              <a:gd name="connsiteY1151" fmla="*/ 4909582 h 5282095"/>
              <a:gd name="connsiteX1152" fmla="*/ 3678993 w 7714416"/>
              <a:gd name="connsiteY1152" fmla="*/ 4903584 h 5282095"/>
              <a:gd name="connsiteX1153" fmla="*/ 3253880 w 7714416"/>
              <a:gd name="connsiteY1153" fmla="*/ 4901807 h 5282095"/>
              <a:gd name="connsiteX1154" fmla="*/ 3258751 w 7714416"/>
              <a:gd name="connsiteY1154" fmla="*/ 4904695 h 5282095"/>
              <a:gd name="connsiteX1155" fmla="*/ 3254739 w 7714416"/>
              <a:gd name="connsiteY1155" fmla="*/ 4912582 h 5282095"/>
              <a:gd name="connsiteX1156" fmla="*/ 3249583 w 7714416"/>
              <a:gd name="connsiteY1156" fmla="*/ 4916358 h 5282095"/>
              <a:gd name="connsiteX1157" fmla="*/ 3242421 w 7714416"/>
              <a:gd name="connsiteY1157" fmla="*/ 4917913 h 5282095"/>
              <a:gd name="connsiteX1158" fmla="*/ 3231249 w 7714416"/>
              <a:gd name="connsiteY1158" fmla="*/ 4920691 h 5282095"/>
              <a:gd name="connsiteX1159" fmla="*/ 3227525 w 7714416"/>
              <a:gd name="connsiteY1159" fmla="*/ 4915581 h 5282095"/>
              <a:gd name="connsiteX1160" fmla="*/ 3253880 w 7714416"/>
              <a:gd name="connsiteY1160" fmla="*/ 4901807 h 5282095"/>
              <a:gd name="connsiteX1161" fmla="*/ 5628669 w 7714416"/>
              <a:gd name="connsiteY1161" fmla="*/ 4901806 h 5282095"/>
              <a:gd name="connsiteX1162" fmla="*/ 5633252 w 7714416"/>
              <a:gd name="connsiteY1162" fmla="*/ 4904695 h 5282095"/>
              <a:gd name="connsiteX1163" fmla="*/ 5629242 w 7714416"/>
              <a:gd name="connsiteY1163" fmla="*/ 4912582 h 5282095"/>
              <a:gd name="connsiteX1164" fmla="*/ 5624086 w 7714416"/>
              <a:gd name="connsiteY1164" fmla="*/ 4916358 h 5282095"/>
              <a:gd name="connsiteX1165" fmla="*/ 5617211 w 7714416"/>
              <a:gd name="connsiteY1165" fmla="*/ 4917913 h 5282095"/>
              <a:gd name="connsiteX1166" fmla="*/ 5605752 w 7714416"/>
              <a:gd name="connsiteY1166" fmla="*/ 4920690 h 5282095"/>
              <a:gd name="connsiteX1167" fmla="*/ 5602028 w 7714416"/>
              <a:gd name="connsiteY1167" fmla="*/ 4915581 h 5282095"/>
              <a:gd name="connsiteX1168" fmla="*/ 5628669 w 7714416"/>
              <a:gd name="connsiteY1168" fmla="*/ 4901806 h 5282095"/>
              <a:gd name="connsiteX1169" fmla="*/ 4320673 w 7714416"/>
              <a:gd name="connsiteY1169" fmla="*/ 4901806 h 5282095"/>
              <a:gd name="connsiteX1170" fmla="*/ 4325543 w 7714416"/>
              <a:gd name="connsiteY1170" fmla="*/ 4904695 h 5282095"/>
              <a:gd name="connsiteX1171" fmla="*/ 4321532 w 7714416"/>
              <a:gd name="connsiteY1171" fmla="*/ 4912582 h 5282095"/>
              <a:gd name="connsiteX1172" fmla="*/ 4316376 w 7714416"/>
              <a:gd name="connsiteY1172" fmla="*/ 4916358 h 5282095"/>
              <a:gd name="connsiteX1173" fmla="*/ 4309214 w 7714416"/>
              <a:gd name="connsiteY1173" fmla="*/ 4917913 h 5282095"/>
              <a:gd name="connsiteX1174" fmla="*/ 4298042 w 7714416"/>
              <a:gd name="connsiteY1174" fmla="*/ 4920690 h 5282095"/>
              <a:gd name="connsiteX1175" fmla="*/ 4294318 w 7714416"/>
              <a:gd name="connsiteY1175" fmla="*/ 4915581 h 5282095"/>
              <a:gd name="connsiteX1176" fmla="*/ 4320673 w 7714416"/>
              <a:gd name="connsiteY1176" fmla="*/ 4901806 h 5282095"/>
              <a:gd name="connsiteX1177" fmla="*/ 2219458 w 7714416"/>
              <a:gd name="connsiteY1177" fmla="*/ 4899474 h 5282095"/>
              <a:gd name="connsiteX1178" fmla="*/ 2226046 w 7714416"/>
              <a:gd name="connsiteY1178" fmla="*/ 4899474 h 5282095"/>
              <a:gd name="connsiteX1179" fmla="*/ 2233494 w 7714416"/>
              <a:gd name="connsiteY1179" fmla="*/ 4901918 h 5282095"/>
              <a:gd name="connsiteX1180" fmla="*/ 2212296 w 7714416"/>
              <a:gd name="connsiteY1180" fmla="*/ 4911915 h 5282095"/>
              <a:gd name="connsiteX1181" fmla="*/ 2205994 w 7714416"/>
              <a:gd name="connsiteY1181" fmla="*/ 4908693 h 5282095"/>
              <a:gd name="connsiteX1182" fmla="*/ 2219458 w 7714416"/>
              <a:gd name="connsiteY1182" fmla="*/ 4899474 h 5282095"/>
              <a:gd name="connsiteX1183" fmla="*/ 4600548 w 7714416"/>
              <a:gd name="connsiteY1183" fmla="*/ 4899473 h 5282095"/>
              <a:gd name="connsiteX1184" fmla="*/ 4607996 w 7714416"/>
              <a:gd name="connsiteY1184" fmla="*/ 4901918 h 5282095"/>
              <a:gd name="connsiteX1185" fmla="*/ 4587085 w 7714416"/>
              <a:gd name="connsiteY1185" fmla="*/ 4911916 h 5282095"/>
              <a:gd name="connsiteX1186" fmla="*/ 4580496 w 7714416"/>
              <a:gd name="connsiteY1186" fmla="*/ 4908694 h 5282095"/>
              <a:gd name="connsiteX1187" fmla="*/ 4593960 w 7714416"/>
              <a:gd name="connsiteY1187" fmla="*/ 4899474 h 5282095"/>
              <a:gd name="connsiteX1188" fmla="*/ 4600548 w 7714416"/>
              <a:gd name="connsiteY1188" fmla="*/ 4899473 h 5282095"/>
              <a:gd name="connsiteX1189" fmla="*/ 3292839 w 7714416"/>
              <a:gd name="connsiteY1189" fmla="*/ 4899473 h 5282095"/>
              <a:gd name="connsiteX1190" fmla="*/ 3300287 w 7714416"/>
              <a:gd name="connsiteY1190" fmla="*/ 4901918 h 5282095"/>
              <a:gd name="connsiteX1191" fmla="*/ 3279090 w 7714416"/>
              <a:gd name="connsiteY1191" fmla="*/ 4911916 h 5282095"/>
              <a:gd name="connsiteX1192" fmla="*/ 3272787 w 7714416"/>
              <a:gd name="connsiteY1192" fmla="*/ 4908694 h 5282095"/>
              <a:gd name="connsiteX1193" fmla="*/ 3286251 w 7714416"/>
              <a:gd name="connsiteY1193" fmla="*/ 4899474 h 5282095"/>
              <a:gd name="connsiteX1194" fmla="*/ 3292839 w 7714416"/>
              <a:gd name="connsiteY1194" fmla="*/ 4899473 h 5282095"/>
              <a:gd name="connsiteX1195" fmla="*/ 2540011 w 7714416"/>
              <a:gd name="connsiteY1195" fmla="*/ 4898474 h 5282095"/>
              <a:gd name="connsiteX1196" fmla="*/ 2542875 w 7714416"/>
              <a:gd name="connsiteY1196" fmla="*/ 4898696 h 5282095"/>
              <a:gd name="connsiteX1197" fmla="*/ 2547745 w 7714416"/>
              <a:gd name="connsiteY1197" fmla="*/ 4902362 h 5282095"/>
              <a:gd name="connsiteX1198" fmla="*/ 2539151 w 7714416"/>
              <a:gd name="connsiteY1198" fmla="*/ 4907027 h 5282095"/>
              <a:gd name="connsiteX1199" fmla="*/ 2533995 w 7714416"/>
              <a:gd name="connsiteY1199" fmla="*/ 4903362 h 5282095"/>
              <a:gd name="connsiteX1200" fmla="*/ 2540011 w 7714416"/>
              <a:gd name="connsiteY1200" fmla="*/ 4898474 h 5282095"/>
              <a:gd name="connsiteX1201" fmla="*/ 4914800 w 7714416"/>
              <a:gd name="connsiteY1201" fmla="*/ 4898474 h 5282095"/>
              <a:gd name="connsiteX1202" fmla="*/ 4917378 w 7714416"/>
              <a:gd name="connsiteY1202" fmla="*/ 4898696 h 5282095"/>
              <a:gd name="connsiteX1203" fmla="*/ 4922534 w 7714416"/>
              <a:gd name="connsiteY1203" fmla="*/ 4902362 h 5282095"/>
              <a:gd name="connsiteX1204" fmla="*/ 4913654 w 7714416"/>
              <a:gd name="connsiteY1204" fmla="*/ 4907027 h 5282095"/>
              <a:gd name="connsiteX1205" fmla="*/ 4908498 w 7714416"/>
              <a:gd name="connsiteY1205" fmla="*/ 4903362 h 5282095"/>
              <a:gd name="connsiteX1206" fmla="*/ 4914800 w 7714416"/>
              <a:gd name="connsiteY1206" fmla="*/ 4898474 h 5282095"/>
              <a:gd name="connsiteX1207" fmla="*/ 3606804 w 7714416"/>
              <a:gd name="connsiteY1207" fmla="*/ 4898473 h 5282095"/>
              <a:gd name="connsiteX1208" fmla="*/ 3609668 w 7714416"/>
              <a:gd name="connsiteY1208" fmla="*/ 4898696 h 5282095"/>
              <a:gd name="connsiteX1209" fmla="*/ 3614538 w 7714416"/>
              <a:gd name="connsiteY1209" fmla="*/ 4902362 h 5282095"/>
              <a:gd name="connsiteX1210" fmla="*/ 3605944 w 7714416"/>
              <a:gd name="connsiteY1210" fmla="*/ 4907027 h 5282095"/>
              <a:gd name="connsiteX1211" fmla="*/ 3600788 w 7714416"/>
              <a:gd name="connsiteY1211" fmla="*/ 4903362 h 5282095"/>
              <a:gd name="connsiteX1212" fmla="*/ 3606804 w 7714416"/>
              <a:gd name="connsiteY1212" fmla="*/ 4898473 h 5282095"/>
              <a:gd name="connsiteX1213" fmla="*/ 3012390 w 7714416"/>
              <a:gd name="connsiteY1213" fmla="*/ 4897696 h 5282095"/>
              <a:gd name="connsiteX1214" fmla="*/ 3015828 w 7714416"/>
              <a:gd name="connsiteY1214" fmla="*/ 4901473 h 5282095"/>
              <a:gd name="connsiteX1215" fmla="*/ 3007234 w 7714416"/>
              <a:gd name="connsiteY1215" fmla="*/ 4911693 h 5282095"/>
              <a:gd name="connsiteX1216" fmla="*/ 2996063 w 7714416"/>
              <a:gd name="connsiteY1216" fmla="*/ 4908693 h 5282095"/>
              <a:gd name="connsiteX1217" fmla="*/ 3012390 w 7714416"/>
              <a:gd name="connsiteY1217" fmla="*/ 4897696 h 5282095"/>
              <a:gd name="connsiteX1218" fmla="*/ 5386893 w 7714416"/>
              <a:gd name="connsiteY1218" fmla="*/ 4897696 h 5282095"/>
              <a:gd name="connsiteX1219" fmla="*/ 5390617 w 7714416"/>
              <a:gd name="connsiteY1219" fmla="*/ 4901472 h 5282095"/>
              <a:gd name="connsiteX1220" fmla="*/ 5381737 w 7714416"/>
              <a:gd name="connsiteY1220" fmla="*/ 4911693 h 5282095"/>
              <a:gd name="connsiteX1221" fmla="*/ 5370565 w 7714416"/>
              <a:gd name="connsiteY1221" fmla="*/ 4908694 h 5282095"/>
              <a:gd name="connsiteX1222" fmla="*/ 5386893 w 7714416"/>
              <a:gd name="connsiteY1222" fmla="*/ 4897696 h 5282095"/>
              <a:gd name="connsiteX1223" fmla="*/ 4079184 w 7714416"/>
              <a:gd name="connsiteY1223" fmla="*/ 4897696 h 5282095"/>
              <a:gd name="connsiteX1224" fmla="*/ 4082621 w 7714416"/>
              <a:gd name="connsiteY1224" fmla="*/ 4901473 h 5282095"/>
              <a:gd name="connsiteX1225" fmla="*/ 4074027 w 7714416"/>
              <a:gd name="connsiteY1225" fmla="*/ 4911693 h 5282095"/>
              <a:gd name="connsiteX1226" fmla="*/ 4062855 w 7714416"/>
              <a:gd name="connsiteY1226" fmla="*/ 4908694 h 5282095"/>
              <a:gd name="connsiteX1227" fmla="*/ 4079184 w 7714416"/>
              <a:gd name="connsiteY1227" fmla="*/ 4897696 h 5282095"/>
              <a:gd name="connsiteX1228" fmla="*/ 4961494 w 7714416"/>
              <a:gd name="connsiteY1228" fmla="*/ 4895808 h 5282095"/>
              <a:gd name="connsiteX1229" fmla="*/ 4981832 w 7714416"/>
              <a:gd name="connsiteY1229" fmla="*/ 4898474 h 5282095"/>
              <a:gd name="connsiteX1230" fmla="*/ 4977249 w 7714416"/>
              <a:gd name="connsiteY1230" fmla="*/ 4899918 h 5282095"/>
              <a:gd name="connsiteX1231" fmla="*/ 4956910 w 7714416"/>
              <a:gd name="connsiteY1231" fmla="*/ 4897363 h 5282095"/>
              <a:gd name="connsiteX1232" fmla="*/ 4961494 w 7714416"/>
              <a:gd name="connsiteY1232" fmla="*/ 4895808 h 5282095"/>
              <a:gd name="connsiteX1233" fmla="*/ 3653784 w 7714416"/>
              <a:gd name="connsiteY1233" fmla="*/ 4895808 h 5282095"/>
              <a:gd name="connsiteX1234" fmla="*/ 3674123 w 7714416"/>
              <a:gd name="connsiteY1234" fmla="*/ 4898474 h 5282095"/>
              <a:gd name="connsiteX1235" fmla="*/ 3669539 w 7714416"/>
              <a:gd name="connsiteY1235" fmla="*/ 4899918 h 5282095"/>
              <a:gd name="connsiteX1236" fmla="*/ 3649201 w 7714416"/>
              <a:gd name="connsiteY1236" fmla="*/ 4897363 h 5282095"/>
              <a:gd name="connsiteX1237" fmla="*/ 3653784 w 7714416"/>
              <a:gd name="connsiteY1237" fmla="*/ 4895808 h 5282095"/>
              <a:gd name="connsiteX1238" fmla="*/ 2586991 w 7714416"/>
              <a:gd name="connsiteY1238" fmla="*/ 4895808 h 5282095"/>
              <a:gd name="connsiteX1239" fmla="*/ 2607330 w 7714416"/>
              <a:gd name="connsiteY1239" fmla="*/ 4898473 h 5282095"/>
              <a:gd name="connsiteX1240" fmla="*/ 2602746 w 7714416"/>
              <a:gd name="connsiteY1240" fmla="*/ 4899918 h 5282095"/>
              <a:gd name="connsiteX1241" fmla="*/ 2582121 w 7714416"/>
              <a:gd name="connsiteY1241" fmla="*/ 4897363 h 5282095"/>
              <a:gd name="connsiteX1242" fmla="*/ 2586991 w 7714416"/>
              <a:gd name="connsiteY1242" fmla="*/ 4895808 h 5282095"/>
              <a:gd name="connsiteX1243" fmla="*/ 5847242 w 7714416"/>
              <a:gd name="connsiteY1243" fmla="*/ 4895253 h 5282095"/>
              <a:gd name="connsiteX1244" fmla="*/ 5849820 w 7714416"/>
              <a:gd name="connsiteY1244" fmla="*/ 4895919 h 5282095"/>
              <a:gd name="connsiteX1245" fmla="*/ 5850106 w 7714416"/>
              <a:gd name="connsiteY1245" fmla="*/ 4898140 h 5282095"/>
              <a:gd name="connsiteX1246" fmla="*/ 5849820 w 7714416"/>
              <a:gd name="connsiteY1246" fmla="*/ 4901806 h 5282095"/>
              <a:gd name="connsiteX1247" fmla="*/ 5847242 w 7714416"/>
              <a:gd name="connsiteY1247" fmla="*/ 4902917 h 5282095"/>
              <a:gd name="connsiteX1248" fmla="*/ 5843231 w 7714416"/>
              <a:gd name="connsiteY1248" fmla="*/ 4903362 h 5282095"/>
              <a:gd name="connsiteX1249" fmla="*/ 5842658 w 7714416"/>
              <a:gd name="connsiteY1249" fmla="*/ 4897474 h 5282095"/>
              <a:gd name="connsiteX1250" fmla="*/ 5847242 w 7714416"/>
              <a:gd name="connsiteY1250" fmla="*/ 4895253 h 5282095"/>
              <a:gd name="connsiteX1251" fmla="*/ 4539533 w 7714416"/>
              <a:gd name="connsiteY1251" fmla="*/ 4895253 h 5282095"/>
              <a:gd name="connsiteX1252" fmla="*/ 4542110 w 7714416"/>
              <a:gd name="connsiteY1252" fmla="*/ 4895918 h 5282095"/>
              <a:gd name="connsiteX1253" fmla="*/ 4542396 w 7714416"/>
              <a:gd name="connsiteY1253" fmla="*/ 4898140 h 5282095"/>
              <a:gd name="connsiteX1254" fmla="*/ 4542110 w 7714416"/>
              <a:gd name="connsiteY1254" fmla="*/ 4901806 h 5282095"/>
              <a:gd name="connsiteX1255" fmla="*/ 4539532 w 7714416"/>
              <a:gd name="connsiteY1255" fmla="*/ 4902917 h 5282095"/>
              <a:gd name="connsiteX1256" fmla="*/ 4535521 w 7714416"/>
              <a:gd name="connsiteY1256" fmla="*/ 4903362 h 5282095"/>
              <a:gd name="connsiteX1257" fmla="*/ 4534949 w 7714416"/>
              <a:gd name="connsiteY1257" fmla="*/ 4897474 h 5282095"/>
              <a:gd name="connsiteX1258" fmla="*/ 4539533 w 7714416"/>
              <a:gd name="connsiteY1258" fmla="*/ 4895253 h 5282095"/>
              <a:gd name="connsiteX1259" fmla="*/ 5116184 w 7714416"/>
              <a:gd name="connsiteY1259" fmla="*/ 4890476 h 5282095"/>
              <a:gd name="connsiteX1260" fmla="*/ 5127929 w 7714416"/>
              <a:gd name="connsiteY1260" fmla="*/ 4893808 h 5282095"/>
              <a:gd name="connsiteX1261" fmla="*/ 5129648 w 7714416"/>
              <a:gd name="connsiteY1261" fmla="*/ 4897363 h 5282095"/>
              <a:gd name="connsiteX1262" fmla="*/ 5127643 w 7714416"/>
              <a:gd name="connsiteY1262" fmla="*/ 4904250 h 5282095"/>
              <a:gd name="connsiteX1263" fmla="*/ 5129362 w 7714416"/>
              <a:gd name="connsiteY1263" fmla="*/ 4904472 h 5282095"/>
              <a:gd name="connsiteX1264" fmla="*/ 5119049 w 7714416"/>
              <a:gd name="connsiteY1264" fmla="*/ 4904694 h 5282095"/>
              <a:gd name="connsiteX1265" fmla="*/ 5116184 w 7714416"/>
              <a:gd name="connsiteY1265" fmla="*/ 4890476 h 5282095"/>
              <a:gd name="connsiteX1266" fmla="*/ 2741682 w 7714416"/>
              <a:gd name="connsiteY1266" fmla="*/ 4890476 h 5282095"/>
              <a:gd name="connsiteX1267" fmla="*/ 2753428 w 7714416"/>
              <a:gd name="connsiteY1267" fmla="*/ 4893808 h 5282095"/>
              <a:gd name="connsiteX1268" fmla="*/ 2755145 w 7714416"/>
              <a:gd name="connsiteY1268" fmla="*/ 4897363 h 5282095"/>
              <a:gd name="connsiteX1269" fmla="*/ 2753140 w 7714416"/>
              <a:gd name="connsiteY1269" fmla="*/ 4904251 h 5282095"/>
              <a:gd name="connsiteX1270" fmla="*/ 2754573 w 7714416"/>
              <a:gd name="connsiteY1270" fmla="*/ 4904472 h 5282095"/>
              <a:gd name="connsiteX1271" fmla="*/ 2744546 w 7714416"/>
              <a:gd name="connsiteY1271" fmla="*/ 4904695 h 5282095"/>
              <a:gd name="connsiteX1272" fmla="*/ 2741682 w 7714416"/>
              <a:gd name="connsiteY1272" fmla="*/ 4890476 h 5282095"/>
              <a:gd name="connsiteX1273" fmla="*/ 4453019 w 7714416"/>
              <a:gd name="connsiteY1273" fmla="*/ 4890143 h 5282095"/>
              <a:gd name="connsiteX1274" fmla="*/ 4455884 w 7714416"/>
              <a:gd name="connsiteY1274" fmla="*/ 4893142 h 5282095"/>
              <a:gd name="connsiteX1275" fmla="*/ 4447576 w 7714416"/>
              <a:gd name="connsiteY1275" fmla="*/ 4899584 h 5282095"/>
              <a:gd name="connsiteX1276" fmla="*/ 4442134 w 7714416"/>
              <a:gd name="connsiteY1276" fmla="*/ 4898918 h 5282095"/>
              <a:gd name="connsiteX1277" fmla="*/ 4438410 w 7714416"/>
              <a:gd name="connsiteY1277" fmla="*/ 4893697 h 5282095"/>
              <a:gd name="connsiteX1278" fmla="*/ 4453019 w 7714416"/>
              <a:gd name="connsiteY1278" fmla="*/ 4890143 h 5282095"/>
              <a:gd name="connsiteX1279" fmla="*/ 5760729 w 7714416"/>
              <a:gd name="connsiteY1279" fmla="*/ 4890143 h 5282095"/>
              <a:gd name="connsiteX1280" fmla="*/ 5763594 w 7714416"/>
              <a:gd name="connsiteY1280" fmla="*/ 4893142 h 5282095"/>
              <a:gd name="connsiteX1281" fmla="*/ 5755286 w 7714416"/>
              <a:gd name="connsiteY1281" fmla="*/ 4899584 h 5282095"/>
              <a:gd name="connsiteX1282" fmla="*/ 5749844 w 7714416"/>
              <a:gd name="connsiteY1282" fmla="*/ 4898918 h 5282095"/>
              <a:gd name="connsiteX1283" fmla="*/ 5746120 w 7714416"/>
              <a:gd name="connsiteY1283" fmla="*/ 4893696 h 5282095"/>
              <a:gd name="connsiteX1284" fmla="*/ 5760729 w 7714416"/>
              <a:gd name="connsiteY1284" fmla="*/ 4890143 h 5282095"/>
              <a:gd name="connsiteX1285" fmla="*/ 3386226 w 7714416"/>
              <a:gd name="connsiteY1285" fmla="*/ 4890143 h 5282095"/>
              <a:gd name="connsiteX1286" fmla="*/ 3389091 w 7714416"/>
              <a:gd name="connsiteY1286" fmla="*/ 4893141 h 5282095"/>
              <a:gd name="connsiteX1287" fmla="*/ 3380783 w 7714416"/>
              <a:gd name="connsiteY1287" fmla="*/ 4899585 h 5282095"/>
              <a:gd name="connsiteX1288" fmla="*/ 3375341 w 7714416"/>
              <a:gd name="connsiteY1288" fmla="*/ 4898918 h 5282095"/>
              <a:gd name="connsiteX1289" fmla="*/ 3371618 w 7714416"/>
              <a:gd name="connsiteY1289" fmla="*/ 4893697 h 5282095"/>
              <a:gd name="connsiteX1290" fmla="*/ 3386226 w 7714416"/>
              <a:gd name="connsiteY1290" fmla="*/ 4890143 h 5282095"/>
              <a:gd name="connsiteX1291" fmla="*/ 3778109 w 7714416"/>
              <a:gd name="connsiteY1291" fmla="*/ 4888588 h 5282095"/>
              <a:gd name="connsiteX1292" fmla="*/ 3802459 w 7714416"/>
              <a:gd name="connsiteY1292" fmla="*/ 4891364 h 5282095"/>
              <a:gd name="connsiteX1293" fmla="*/ 3805897 w 7714416"/>
              <a:gd name="connsiteY1293" fmla="*/ 4893253 h 5282095"/>
              <a:gd name="connsiteX1294" fmla="*/ 3808475 w 7714416"/>
              <a:gd name="connsiteY1294" fmla="*/ 4890476 h 5282095"/>
              <a:gd name="connsiteX1295" fmla="*/ 3820221 w 7714416"/>
              <a:gd name="connsiteY1295" fmla="*/ 4893808 h 5282095"/>
              <a:gd name="connsiteX1296" fmla="*/ 3821938 w 7714416"/>
              <a:gd name="connsiteY1296" fmla="*/ 4897363 h 5282095"/>
              <a:gd name="connsiteX1297" fmla="*/ 3821938 w 7714416"/>
              <a:gd name="connsiteY1297" fmla="*/ 4902250 h 5282095"/>
              <a:gd name="connsiteX1298" fmla="*/ 3820506 w 7714416"/>
              <a:gd name="connsiteY1298" fmla="*/ 4903806 h 5282095"/>
              <a:gd name="connsiteX1299" fmla="*/ 3820792 w 7714416"/>
              <a:gd name="connsiteY1299" fmla="*/ 4904361 h 5282095"/>
              <a:gd name="connsiteX1300" fmla="*/ 3821367 w 7714416"/>
              <a:gd name="connsiteY1300" fmla="*/ 4904472 h 5282095"/>
              <a:gd name="connsiteX1301" fmla="*/ 3820792 w 7714416"/>
              <a:gd name="connsiteY1301" fmla="*/ 4904472 h 5282095"/>
              <a:gd name="connsiteX1302" fmla="*/ 3825949 w 7714416"/>
              <a:gd name="connsiteY1302" fmla="*/ 4912693 h 5282095"/>
              <a:gd name="connsiteX1303" fmla="*/ 3755765 w 7714416"/>
              <a:gd name="connsiteY1303" fmla="*/ 4937686 h 5282095"/>
              <a:gd name="connsiteX1304" fmla="*/ 3778109 w 7714416"/>
              <a:gd name="connsiteY1304" fmla="*/ 4888588 h 5282095"/>
              <a:gd name="connsiteX1305" fmla="*/ 2430008 w 7714416"/>
              <a:gd name="connsiteY1305" fmla="*/ 4876702 h 5282095"/>
              <a:gd name="connsiteX1306" fmla="*/ 2411389 w 7714416"/>
              <a:gd name="connsiteY1306" fmla="*/ 4905250 h 5282095"/>
              <a:gd name="connsiteX1307" fmla="*/ 2430008 w 7714416"/>
              <a:gd name="connsiteY1307" fmla="*/ 4876702 h 5282095"/>
              <a:gd name="connsiteX1308" fmla="*/ 4804511 w 7714416"/>
              <a:gd name="connsiteY1308" fmla="*/ 4876702 h 5282095"/>
              <a:gd name="connsiteX1309" fmla="*/ 4785891 w 7714416"/>
              <a:gd name="connsiteY1309" fmla="*/ 4905251 h 5282095"/>
              <a:gd name="connsiteX1310" fmla="*/ 4804511 w 7714416"/>
              <a:gd name="connsiteY1310" fmla="*/ 4876702 h 5282095"/>
              <a:gd name="connsiteX1311" fmla="*/ 3496802 w 7714416"/>
              <a:gd name="connsiteY1311" fmla="*/ 4876702 h 5282095"/>
              <a:gd name="connsiteX1312" fmla="*/ 3478182 w 7714416"/>
              <a:gd name="connsiteY1312" fmla="*/ 4905250 h 5282095"/>
              <a:gd name="connsiteX1313" fmla="*/ 3475603 w 7714416"/>
              <a:gd name="connsiteY1313" fmla="*/ 4899252 h 5282095"/>
              <a:gd name="connsiteX1314" fmla="*/ 3475317 w 7714416"/>
              <a:gd name="connsiteY1314" fmla="*/ 4901807 h 5282095"/>
              <a:gd name="connsiteX1315" fmla="*/ 3472739 w 7714416"/>
              <a:gd name="connsiteY1315" fmla="*/ 4902917 h 5282095"/>
              <a:gd name="connsiteX1316" fmla="*/ 3468728 w 7714416"/>
              <a:gd name="connsiteY1316" fmla="*/ 4903362 h 5282095"/>
              <a:gd name="connsiteX1317" fmla="*/ 3468155 w 7714416"/>
              <a:gd name="connsiteY1317" fmla="*/ 4897474 h 5282095"/>
              <a:gd name="connsiteX1318" fmla="*/ 3472740 w 7714416"/>
              <a:gd name="connsiteY1318" fmla="*/ 4895253 h 5282095"/>
              <a:gd name="connsiteX1319" fmla="*/ 3475317 w 7714416"/>
              <a:gd name="connsiteY1319" fmla="*/ 4895919 h 5282095"/>
              <a:gd name="connsiteX1320" fmla="*/ 3475317 w 7714416"/>
              <a:gd name="connsiteY1320" fmla="*/ 4897141 h 5282095"/>
              <a:gd name="connsiteX1321" fmla="*/ 3478754 w 7714416"/>
              <a:gd name="connsiteY1321" fmla="*/ 4890143 h 5282095"/>
              <a:gd name="connsiteX1322" fmla="*/ 3496802 w 7714416"/>
              <a:gd name="connsiteY1322" fmla="*/ 4876702 h 5282095"/>
              <a:gd name="connsiteX1323" fmla="*/ 3417738 w 7714416"/>
              <a:gd name="connsiteY1323" fmla="*/ 4876591 h 5282095"/>
              <a:gd name="connsiteX1324" fmla="*/ 3420888 w 7714416"/>
              <a:gd name="connsiteY1324" fmla="*/ 4877368 h 5282095"/>
              <a:gd name="connsiteX1325" fmla="*/ 3421175 w 7714416"/>
              <a:gd name="connsiteY1325" fmla="*/ 4886477 h 5282095"/>
              <a:gd name="connsiteX1326" fmla="*/ 3415446 w 7714416"/>
              <a:gd name="connsiteY1326" fmla="*/ 4877256 h 5282095"/>
              <a:gd name="connsiteX1327" fmla="*/ 3417738 w 7714416"/>
              <a:gd name="connsiteY1327" fmla="*/ 4876591 h 5282095"/>
              <a:gd name="connsiteX1328" fmla="*/ 5792240 w 7714416"/>
              <a:gd name="connsiteY1328" fmla="*/ 4876590 h 5282095"/>
              <a:gd name="connsiteX1329" fmla="*/ 5795392 w 7714416"/>
              <a:gd name="connsiteY1329" fmla="*/ 4877368 h 5282095"/>
              <a:gd name="connsiteX1330" fmla="*/ 5795678 w 7714416"/>
              <a:gd name="connsiteY1330" fmla="*/ 4886477 h 5282095"/>
              <a:gd name="connsiteX1331" fmla="*/ 5789948 w 7714416"/>
              <a:gd name="connsiteY1331" fmla="*/ 4877257 h 5282095"/>
              <a:gd name="connsiteX1332" fmla="*/ 5792240 w 7714416"/>
              <a:gd name="connsiteY1332" fmla="*/ 4876590 h 5282095"/>
              <a:gd name="connsiteX1333" fmla="*/ 4484530 w 7714416"/>
              <a:gd name="connsiteY1333" fmla="*/ 4876590 h 5282095"/>
              <a:gd name="connsiteX1334" fmla="*/ 4487682 w 7714416"/>
              <a:gd name="connsiteY1334" fmla="*/ 4877368 h 5282095"/>
              <a:gd name="connsiteX1335" fmla="*/ 4487968 w 7714416"/>
              <a:gd name="connsiteY1335" fmla="*/ 4886477 h 5282095"/>
              <a:gd name="connsiteX1336" fmla="*/ 4482239 w 7714416"/>
              <a:gd name="connsiteY1336" fmla="*/ 4877257 h 5282095"/>
              <a:gd name="connsiteX1337" fmla="*/ 4484530 w 7714416"/>
              <a:gd name="connsiteY1337" fmla="*/ 4876590 h 5282095"/>
              <a:gd name="connsiteX1338" fmla="*/ 5201264 w 7714416"/>
              <a:gd name="connsiteY1338" fmla="*/ 4874702 h 5282095"/>
              <a:gd name="connsiteX1339" fmla="*/ 5203842 w 7714416"/>
              <a:gd name="connsiteY1339" fmla="*/ 4876591 h 5282095"/>
              <a:gd name="connsiteX1340" fmla="*/ 5203556 w 7714416"/>
              <a:gd name="connsiteY1340" fmla="*/ 4880478 h 5282095"/>
              <a:gd name="connsiteX1341" fmla="*/ 5197254 w 7714416"/>
              <a:gd name="connsiteY1341" fmla="*/ 4883256 h 5282095"/>
              <a:gd name="connsiteX1342" fmla="*/ 5194676 w 7714416"/>
              <a:gd name="connsiteY1342" fmla="*/ 4881367 h 5282095"/>
              <a:gd name="connsiteX1343" fmla="*/ 5193530 w 7714416"/>
              <a:gd name="connsiteY1343" fmla="*/ 4877924 h 5282095"/>
              <a:gd name="connsiteX1344" fmla="*/ 5201264 w 7714416"/>
              <a:gd name="connsiteY1344" fmla="*/ 4874702 h 5282095"/>
              <a:gd name="connsiteX1345" fmla="*/ 3893554 w 7714416"/>
              <a:gd name="connsiteY1345" fmla="*/ 4874702 h 5282095"/>
              <a:gd name="connsiteX1346" fmla="*/ 3896133 w 7714416"/>
              <a:gd name="connsiteY1346" fmla="*/ 4876591 h 5282095"/>
              <a:gd name="connsiteX1347" fmla="*/ 3895846 w 7714416"/>
              <a:gd name="connsiteY1347" fmla="*/ 4880478 h 5282095"/>
              <a:gd name="connsiteX1348" fmla="*/ 3889544 w 7714416"/>
              <a:gd name="connsiteY1348" fmla="*/ 4883255 h 5282095"/>
              <a:gd name="connsiteX1349" fmla="*/ 3886966 w 7714416"/>
              <a:gd name="connsiteY1349" fmla="*/ 4881367 h 5282095"/>
              <a:gd name="connsiteX1350" fmla="*/ 3885820 w 7714416"/>
              <a:gd name="connsiteY1350" fmla="*/ 4877924 h 5282095"/>
              <a:gd name="connsiteX1351" fmla="*/ 3893554 w 7714416"/>
              <a:gd name="connsiteY1351" fmla="*/ 4874702 h 5282095"/>
              <a:gd name="connsiteX1352" fmla="*/ 2826762 w 7714416"/>
              <a:gd name="connsiteY1352" fmla="*/ 4874702 h 5282095"/>
              <a:gd name="connsiteX1353" fmla="*/ 2829341 w 7714416"/>
              <a:gd name="connsiteY1353" fmla="*/ 4876590 h 5282095"/>
              <a:gd name="connsiteX1354" fmla="*/ 2829054 w 7714416"/>
              <a:gd name="connsiteY1354" fmla="*/ 4880478 h 5282095"/>
              <a:gd name="connsiteX1355" fmla="*/ 2822751 w 7714416"/>
              <a:gd name="connsiteY1355" fmla="*/ 4883255 h 5282095"/>
              <a:gd name="connsiteX1356" fmla="*/ 2820173 w 7714416"/>
              <a:gd name="connsiteY1356" fmla="*/ 4881366 h 5282095"/>
              <a:gd name="connsiteX1357" fmla="*/ 2818740 w 7714416"/>
              <a:gd name="connsiteY1357" fmla="*/ 4877924 h 5282095"/>
              <a:gd name="connsiteX1358" fmla="*/ 2826762 w 7714416"/>
              <a:gd name="connsiteY1358" fmla="*/ 4874702 h 5282095"/>
              <a:gd name="connsiteX1359" fmla="*/ 3082289 w 7714416"/>
              <a:gd name="connsiteY1359" fmla="*/ 4873592 h 5282095"/>
              <a:gd name="connsiteX1360" fmla="*/ 3084579 w 7714416"/>
              <a:gd name="connsiteY1360" fmla="*/ 4874147 h 5282095"/>
              <a:gd name="connsiteX1361" fmla="*/ 3086298 w 7714416"/>
              <a:gd name="connsiteY1361" fmla="*/ 4877813 h 5282095"/>
              <a:gd name="connsiteX1362" fmla="*/ 3084293 w 7714416"/>
              <a:gd name="connsiteY1362" fmla="*/ 4881033 h 5282095"/>
              <a:gd name="connsiteX1363" fmla="*/ 3081715 w 7714416"/>
              <a:gd name="connsiteY1363" fmla="*/ 4881366 h 5282095"/>
              <a:gd name="connsiteX1364" fmla="*/ 3077704 w 7714416"/>
              <a:gd name="connsiteY1364" fmla="*/ 4880589 h 5282095"/>
              <a:gd name="connsiteX1365" fmla="*/ 3079709 w 7714416"/>
              <a:gd name="connsiteY1365" fmla="*/ 4874924 h 5282095"/>
              <a:gd name="connsiteX1366" fmla="*/ 3082289 w 7714416"/>
              <a:gd name="connsiteY1366" fmla="*/ 4873592 h 5282095"/>
              <a:gd name="connsiteX1367" fmla="*/ 5456790 w 7714416"/>
              <a:gd name="connsiteY1367" fmla="*/ 4873591 h 5282095"/>
              <a:gd name="connsiteX1368" fmla="*/ 5459082 w 7714416"/>
              <a:gd name="connsiteY1368" fmla="*/ 4874147 h 5282095"/>
              <a:gd name="connsiteX1369" fmla="*/ 5460801 w 7714416"/>
              <a:gd name="connsiteY1369" fmla="*/ 4877813 h 5282095"/>
              <a:gd name="connsiteX1370" fmla="*/ 5458796 w 7714416"/>
              <a:gd name="connsiteY1370" fmla="*/ 4881034 h 5282095"/>
              <a:gd name="connsiteX1371" fmla="*/ 5456218 w 7714416"/>
              <a:gd name="connsiteY1371" fmla="*/ 4881367 h 5282095"/>
              <a:gd name="connsiteX1372" fmla="*/ 5452207 w 7714416"/>
              <a:gd name="connsiteY1372" fmla="*/ 4880590 h 5282095"/>
              <a:gd name="connsiteX1373" fmla="*/ 5454212 w 7714416"/>
              <a:gd name="connsiteY1373" fmla="*/ 4874924 h 5282095"/>
              <a:gd name="connsiteX1374" fmla="*/ 5456790 w 7714416"/>
              <a:gd name="connsiteY1374" fmla="*/ 4873591 h 5282095"/>
              <a:gd name="connsiteX1375" fmla="*/ 4149081 w 7714416"/>
              <a:gd name="connsiteY1375" fmla="*/ 4873591 h 5282095"/>
              <a:gd name="connsiteX1376" fmla="*/ 4151372 w 7714416"/>
              <a:gd name="connsiteY1376" fmla="*/ 4874147 h 5282095"/>
              <a:gd name="connsiteX1377" fmla="*/ 4153091 w 7714416"/>
              <a:gd name="connsiteY1377" fmla="*/ 4877813 h 5282095"/>
              <a:gd name="connsiteX1378" fmla="*/ 4151086 w 7714416"/>
              <a:gd name="connsiteY1378" fmla="*/ 4881034 h 5282095"/>
              <a:gd name="connsiteX1379" fmla="*/ 4148508 w 7714416"/>
              <a:gd name="connsiteY1379" fmla="*/ 4881367 h 5282095"/>
              <a:gd name="connsiteX1380" fmla="*/ 4144497 w 7714416"/>
              <a:gd name="connsiteY1380" fmla="*/ 4880589 h 5282095"/>
              <a:gd name="connsiteX1381" fmla="*/ 4146502 w 7714416"/>
              <a:gd name="connsiteY1381" fmla="*/ 4874924 h 5282095"/>
              <a:gd name="connsiteX1382" fmla="*/ 4149081 w 7714416"/>
              <a:gd name="connsiteY1382" fmla="*/ 4873591 h 5282095"/>
              <a:gd name="connsiteX1383" fmla="*/ 5899664 w 7714416"/>
              <a:gd name="connsiteY1383" fmla="*/ 4871703 h 5282095"/>
              <a:gd name="connsiteX1384" fmla="*/ 5906540 w 7714416"/>
              <a:gd name="connsiteY1384" fmla="*/ 4884699 h 5282095"/>
              <a:gd name="connsiteX1385" fmla="*/ 5885914 w 7714416"/>
              <a:gd name="connsiteY1385" fmla="*/ 4877702 h 5282095"/>
              <a:gd name="connsiteX1386" fmla="*/ 5899664 w 7714416"/>
              <a:gd name="connsiteY1386" fmla="*/ 4871703 h 5282095"/>
              <a:gd name="connsiteX1387" fmla="*/ 4591668 w 7714416"/>
              <a:gd name="connsiteY1387" fmla="*/ 4871703 h 5282095"/>
              <a:gd name="connsiteX1388" fmla="*/ 4598830 w 7714416"/>
              <a:gd name="connsiteY1388" fmla="*/ 4884699 h 5282095"/>
              <a:gd name="connsiteX1389" fmla="*/ 4578204 w 7714416"/>
              <a:gd name="connsiteY1389" fmla="*/ 4877701 h 5282095"/>
              <a:gd name="connsiteX1390" fmla="*/ 4591668 w 7714416"/>
              <a:gd name="connsiteY1390" fmla="*/ 4871703 h 5282095"/>
              <a:gd name="connsiteX1391" fmla="*/ 5682238 w 7714416"/>
              <a:gd name="connsiteY1391" fmla="*/ 4871259 h 5282095"/>
              <a:gd name="connsiteX1392" fmla="*/ 5648149 w 7714416"/>
              <a:gd name="connsiteY1392" fmla="*/ 4886366 h 5282095"/>
              <a:gd name="connsiteX1393" fmla="*/ 5662186 w 7714416"/>
              <a:gd name="connsiteY1393" fmla="*/ 4875369 h 5282095"/>
              <a:gd name="connsiteX1394" fmla="*/ 5682238 w 7714416"/>
              <a:gd name="connsiteY1394" fmla="*/ 4871259 h 5282095"/>
              <a:gd name="connsiteX1395" fmla="*/ 3307735 w 7714416"/>
              <a:gd name="connsiteY1395" fmla="*/ 4871259 h 5282095"/>
              <a:gd name="connsiteX1396" fmla="*/ 3273646 w 7714416"/>
              <a:gd name="connsiteY1396" fmla="*/ 4886366 h 5282095"/>
              <a:gd name="connsiteX1397" fmla="*/ 3287683 w 7714416"/>
              <a:gd name="connsiteY1397" fmla="*/ 4875369 h 5282095"/>
              <a:gd name="connsiteX1398" fmla="*/ 3307735 w 7714416"/>
              <a:gd name="connsiteY1398" fmla="*/ 4871259 h 5282095"/>
              <a:gd name="connsiteX1399" fmla="*/ 4374528 w 7714416"/>
              <a:gd name="connsiteY1399" fmla="*/ 4871259 h 5282095"/>
              <a:gd name="connsiteX1400" fmla="*/ 4340439 w 7714416"/>
              <a:gd name="connsiteY1400" fmla="*/ 4886366 h 5282095"/>
              <a:gd name="connsiteX1401" fmla="*/ 4354476 w 7714416"/>
              <a:gd name="connsiteY1401" fmla="*/ 4875369 h 5282095"/>
              <a:gd name="connsiteX1402" fmla="*/ 4374528 w 7714416"/>
              <a:gd name="connsiteY1402" fmla="*/ 4871259 h 5282095"/>
              <a:gd name="connsiteX1403" fmla="*/ 2587850 w 7714416"/>
              <a:gd name="connsiteY1403" fmla="*/ 4870037 h 5282095"/>
              <a:gd name="connsiteX1404" fmla="*/ 2584986 w 7714416"/>
              <a:gd name="connsiteY1404" fmla="*/ 4881923 h 5282095"/>
              <a:gd name="connsiteX1405" fmla="*/ 2587850 w 7714416"/>
              <a:gd name="connsiteY1405" fmla="*/ 4870037 h 5282095"/>
              <a:gd name="connsiteX1406" fmla="*/ 4962353 w 7714416"/>
              <a:gd name="connsiteY1406" fmla="*/ 4870036 h 5282095"/>
              <a:gd name="connsiteX1407" fmla="*/ 4959775 w 7714416"/>
              <a:gd name="connsiteY1407" fmla="*/ 4881923 h 5282095"/>
              <a:gd name="connsiteX1408" fmla="*/ 4962353 w 7714416"/>
              <a:gd name="connsiteY1408" fmla="*/ 4870036 h 5282095"/>
              <a:gd name="connsiteX1409" fmla="*/ 3654643 w 7714416"/>
              <a:gd name="connsiteY1409" fmla="*/ 4870036 h 5282095"/>
              <a:gd name="connsiteX1410" fmla="*/ 3652065 w 7714416"/>
              <a:gd name="connsiteY1410" fmla="*/ 4881923 h 5282095"/>
              <a:gd name="connsiteX1411" fmla="*/ 3654643 w 7714416"/>
              <a:gd name="connsiteY1411" fmla="*/ 4870036 h 5282095"/>
              <a:gd name="connsiteX1412" fmla="*/ 2635690 w 7714416"/>
              <a:gd name="connsiteY1412" fmla="*/ 4868704 h 5282095"/>
              <a:gd name="connsiteX1413" fmla="*/ 2655742 w 7714416"/>
              <a:gd name="connsiteY1413" fmla="*/ 4869814 h 5282095"/>
              <a:gd name="connsiteX1414" fmla="*/ 2660040 w 7714416"/>
              <a:gd name="connsiteY1414" fmla="*/ 4872480 h 5282095"/>
              <a:gd name="connsiteX1415" fmla="*/ 2661758 w 7714416"/>
              <a:gd name="connsiteY1415" fmla="*/ 4875702 h 5282095"/>
              <a:gd name="connsiteX1416" fmla="*/ 2657175 w 7714416"/>
              <a:gd name="connsiteY1416" fmla="*/ 4877924 h 5282095"/>
              <a:gd name="connsiteX1417" fmla="*/ 2646289 w 7714416"/>
              <a:gd name="connsiteY1417" fmla="*/ 4877035 h 5282095"/>
              <a:gd name="connsiteX1418" fmla="*/ 2635690 w 7714416"/>
              <a:gd name="connsiteY1418" fmla="*/ 4868704 h 5282095"/>
              <a:gd name="connsiteX1419" fmla="*/ 5010192 w 7714416"/>
              <a:gd name="connsiteY1419" fmla="*/ 4868704 h 5282095"/>
              <a:gd name="connsiteX1420" fmla="*/ 5030532 w 7714416"/>
              <a:gd name="connsiteY1420" fmla="*/ 4869815 h 5282095"/>
              <a:gd name="connsiteX1421" fmla="*/ 5034542 w 7714416"/>
              <a:gd name="connsiteY1421" fmla="*/ 4872481 h 5282095"/>
              <a:gd name="connsiteX1422" fmla="*/ 5036261 w 7714416"/>
              <a:gd name="connsiteY1422" fmla="*/ 4875702 h 5282095"/>
              <a:gd name="connsiteX1423" fmla="*/ 5031677 w 7714416"/>
              <a:gd name="connsiteY1423" fmla="*/ 4877924 h 5282095"/>
              <a:gd name="connsiteX1424" fmla="*/ 5020792 w 7714416"/>
              <a:gd name="connsiteY1424" fmla="*/ 4877035 h 5282095"/>
              <a:gd name="connsiteX1425" fmla="*/ 5010192 w 7714416"/>
              <a:gd name="connsiteY1425" fmla="*/ 4868704 h 5282095"/>
              <a:gd name="connsiteX1426" fmla="*/ 3702483 w 7714416"/>
              <a:gd name="connsiteY1426" fmla="*/ 4868704 h 5282095"/>
              <a:gd name="connsiteX1427" fmla="*/ 3722535 w 7714416"/>
              <a:gd name="connsiteY1427" fmla="*/ 4869814 h 5282095"/>
              <a:gd name="connsiteX1428" fmla="*/ 3726832 w 7714416"/>
              <a:gd name="connsiteY1428" fmla="*/ 4872480 h 5282095"/>
              <a:gd name="connsiteX1429" fmla="*/ 3728551 w 7714416"/>
              <a:gd name="connsiteY1429" fmla="*/ 4875702 h 5282095"/>
              <a:gd name="connsiteX1430" fmla="*/ 3723968 w 7714416"/>
              <a:gd name="connsiteY1430" fmla="*/ 4877924 h 5282095"/>
              <a:gd name="connsiteX1431" fmla="*/ 3713082 w 7714416"/>
              <a:gd name="connsiteY1431" fmla="*/ 4877035 h 5282095"/>
              <a:gd name="connsiteX1432" fmla="*/ 3702483 w 7714416"/>
              <a:gd name="connsiteY1432" fmla="*/ 4868704 h 5282095"/>
              <a:gd name="connsiteX1433" fmla="*/ 5144258 w 7714416"/>
              <a:gd name="connsiteY1433" fmla="*/ 4868482 h 5282095"/>
              <a:gd name="connsiteX1434" fmla="*/ 5164597 w 7714416"/>
              <a:gd name="connsiteY1434" fmla="*/ 4876035 h 5282095"/>
              <a:gd name="connsiteX1435" fmla="*/ 5168894 w 7714416"/>
              <a:gd name="connsiteY1435" fmla="*/ 4896142 h 5282095"/>
              <a:gd name="connsiteX1436" fmla="*/ 5150560 w 7714416"/>
              <a:gd name="connsiteY1436" fmla="*/ 4899918 h 5282095"/>
              <a:gd name="connsiteX1437" fmla="*/ 5139674 w 7714416"/>
              <a:gd name="connsiteY1437" fmla="*/ 4896141 h 5282095"/>
              <a:gd name="connsiteX1438" fmla="*/ 5137097 w 7714416"/>
              <a:gd name="connsiteY1438" fmla="*/ 4874924 h 5282095"/>
              <a:gd name="connsiteX1439" fmla="*/ 5140534 w 7714416"/>
              <a:gd name="connsiteY1439" fmla="*/ 4872924 h 5282095"/>
              <a:gd name="connsiteX1440" fmla="*/ 5144258 w 7714416"/>
              <a:gd name="connsiteY1440" fmla="*/ 4868482 h 5282095"/>
              <a:gd name="connsiteX1441" fmla="*/ 3836548 w 7714416"/>
              <a:gd name="connsiteY1441" fmla="*/ 4868482 h 5282095"/>
              <a:gd name="connsiteX1442" fmla="*/ 3856887 w 7714416"/>
              <a:gd name="connsiteY1442" fmla="*/ 4876035 h 5282095"/>
              <a:gd name="connsiteX1443" fmla="*/ 3861184 w 7714416"/>
              <a:gd name="connsiteY1443" fmla="*/ 4896141 h 5282095"/>
              <a:gd name="connsiteX1444" fmla="*/ 3842565 w 7714416"/>
              <a:gd name="connsiteY1444" fmla="*/ 4899918 h 5282095"/>
              <a:gd name="connsiteX1445" fmla="*/ 3831965 w 7714416"/>
              <a:gd name="connsiteY1445" fmla="*/ 4896141 h 5282095"/>
              <a:gd name="connsiteX1446" fmla="*/ 3829386 w 7714416"/>
              <a:gd name="connsiteY1446" fmla="*/ 4874924 h 5282095"/>
              <a:gd name="connsiteX1447" fmla="*/ 3832824 w 7714416"/>
              <a:gd name="connsiteY1447" fmla="*/ 4872925 h 5282095"/>
              <a:gd name="connsiteX1448" fmla="*/ 3836548 w 7714416"/>
              <a:gd name="connsiteY1448" fmla="*/ 4868482 h 5282095"/>
              <a:gd name="connsiteX1449" fmla="*/ 2769755 w 7714416"/>
              <a:gd name="connsiteY1449" fmla="*/ 4868481 h 5282095"/>
              <a:gd name="connsiteX1450" fmla="*/ 2790094 w 7714416"/>
              <a:gd name="connsiteY1450" fmla="*/ 4876036 h 5282095"/>
              <a:gd name="connsiteX1451" fmla="*/ 2794392 w 7714416"/>
              <a:gd name="connsiteY1451" fmla="*/ 4896141 h 5282095"/>
              <a:gd name="connsiteX1452" fmla="*/ 2775772 w 7714416"/>
              <a:gd name="connsiteY1452" fmla="*/ 4899918 h 5282095"/>
              <a:gd name="connsiteX1453" fmla="*/ 2765172 w 7714416"/>
              <a:gd name="connsiteY1453" fmla="*/ 4896142 h 5282095"/>
              <a:gd name="connsiteX1454" fmla="*/ 2762593 w 7714416"/>
              <a:gd name="connsiteY1454" fmla="*/ 4874924 h 5282095"/>
              <a:gd name="connsiteX1455" fmla="*/ 2766031 w 7714416"/>
              <a:gd name="connsiteY1455" fmla="*/ 4872925 h 5282095"/>
              <a:gd name="connsiteX1456" fmla="*/ 2769755 w 7714416"/>
              <a:gd name="connsiteY1456" fmla="*/ 4868481 h 5282095"/>
              <a:gd name="connsiteX1457" fmla="*/ 2452639 w 7714416"/>
              <a:gd name="connsiteY1457" fmla="*/ 4864261 h 5282095"/>
              <a:gd name="connsiteX1458" fmla="*/ 2445477 w 7714416"/>
              <a:gd name="connsiteY1458" fmla="*/ 4878034 h 5282095"/>
              <a:gd name="connsiteX1459" fmla="*/ 2429435 w 7714416"/>
              <a:gd name="connsiteY1459" fmla="*/ 4865815 h 5282095"/>
              <a:gd name="connsiteX1460" fmla="*/ 2452639 w 7714416"/>
              <a:gd name="connsiteY1460" fmla="*/ 4864261 h 5282095"/>
              <a:gd name="connsiteX1461" fmla="*/ 4827428 w 7714416"/>
              <a:gd name="connsiteY1461" fmla="*/ 4864260 h 5282095"/>
              <a:gd name="connsiteX1462" fmla="*/ 4819980 w 7714416"/>
              <a:gd name="connsiteY1462" fmla="*/ 4878034 h 5282095"/>
              <a:gd name="connsiteX1463" fmla="*/ 4803938 w 7714416"/>
              <a:gd name="connsiteY1463" fmla="*/ 4865816 h 5282095"/>
              <a:gd name="connsiteX1464" fmla="*/ 4827428 w 7714416"/>
              <a:gd name="connsiteY1464" fmla="*/ 4864260 h 5282095"/>
              <a:gd name="connsiteX1465" fmla="*/ 3519432 w 7714416"/>
              <a:gd name="connsiteY1465" fmla="*/ 4864260 h 5282095"/>
              <a:gd name="connsiteX1466" fmla="*/ 3513703 w 7714416"/>
              <a:gd name="connsiteY1466" fmla="*/ 4875590 h 5282095"/>
              <a:gd name="connsiteX1467" fmla="*/ 3515996 w 7714416"/>
              <a:gd name="connsiteY1467" fmla="*/ 4873481 h 5282095"/>
              <a:gd name="connsiteX1468" fmla="*/ 3524875 w 7714416"/>
              <a:gd name="connsiteY1468" fmla="*/ 4871703 h 5282095"/>
              <a:gd name="connsiteX1469" fmla="*/ 3532038 w 7714416"/>
              <a:gd name="connsiteY1469" fmla="*/ 4884699 h 5282095"/>
              <a:gd name="connsiteX1470" fmla="*/ 3511411 w 7714416"/>
              <a:gd name="connsiteY1470" fmla="*/ 4877701 h 5282095"/>
              <a:gd name="connsiteX1471" fmla="*/ 3511412 w 7714416"/>
              <a:gd name="connsiteY1471" fmla="*/ 4877479 h 5282095"/>
              <a:gd name="connsiteX1472" fmla="*/ 3503105 w 7714416"/>
              <a:gd name="connsiteY1472" fmla="*/ 4872591 h 5282095"/>
              <a:gd name="connsiteX1473" fmla="*/ 3496229 w 7714416"/>
              <a:gd name="connsiteY1473" fmla="*/ 4865816 h 5282095"/>
              <a:gd name="connsiteX1474" fmla="*/ 3519432 w 7714416"/>
              <a:gd name="connsiteY1474" fmla="*/ 4864260 h 5282095"/>
              <a:gd name="connsiteX1475" fmla="*/ 5679087 w 7714416"/>
              <a:gd name="connsiteY1475" fmla="*/ 4863705 h 5282095"/>
              <a:gd name="connsiteX1476" fmla="*/ 5710598 w 7714416"/>
              <a:gd name="connsiteY1476" fmla="*/ 4886810 h 5282095"/>
              <a:gd name="connsiteX1477" fmla="*/ 5679087 w 7714416"/>
              <a:gd name="connsiteY1477" fmla="*/ 4863705 h 5282095"/>
              <a:gd name="connsiteX1478" fmla="*/ 4371377 w 7714416"/>
              <a:gd name="connsiteY1478" fmla="*/ 4863705 h 5282095"/>
              <a:gd name="connsiteX1479" fmla="*/ 4402602 w 7714416"/>
              <a:gd name="connsiteY1479" fmla="*/ 4886811 h 5282095"/>
              <a:gd name="connsiteX1480" fmla="*/ 4371377 w 7714416"/>
              <a:gd name="connsiteY1480" fmla="*/ 4863705 h 5282095"/>
              <a:gd name="connsiteX1481" fmla="*/ 3304584 w 7714416"/>
              <a:gd name="connsiteY1481" fmla="*/ 4863704 h 5282095"/>
              <a:gd name="connsiteX1482" fmla="*/ 3335809 w 7714416"/>
              <a:gd name="connsiteY1482" fmla="*/ 4886810 h 5282095"/>
              <a:gd name="connsiteX1483" fmla="*/ 3304584 w 7714416"/>
              <a:gd name="connsiteY1483" fmla="*/ 4863704 h 5282095"/>
              <a:gd name="connsiteX1484" fmla="*/ 5086678 w 7714416"/>
              <a:gd name="connsiteY1484" fmla="*/ 4863483 h 5282095"/>
              <a:gd name="connsiteX1485" fmla="*/ 5088111 w 7714416"/>
              <a:gd name="connsiteY1485" fmla="*/ 4865260 h 5282095"/>
              <a:gd name="connsiteX1486" fmla="*/ 5084960 w 7714416"/>
              <a:gd name="connsiteY1486" fmla="*/ 4863594 h 5282095"/>
              <a:gd name="connsiteX1487" fmla="*/ 5086678 w 7714416"/>
              <a:gd name="connsiteY1487" fmla="*/ 4863483 h 5282095"/>
              <a:gd name="connsiteX1488" fmla="*/ 3778969 w 7714416"/>
              <a:gd name="connsiteY1488" fmla="*/ 4863483 h 5282095"/>
              <a:gd name="connsiteX1489" fmla="*/ 3780401 w 7714416"/>
              <a:gd name="connsiteY1489" fmla="*/ 4865260 h 5282095"/>
              <a:gd name="connsiteX1490" fmla="*/ 3777250 w 7714416"/>
              <a:gd name="connsiteY1490" fmla="*/ 4863594 h 5282095"/>
              <a:gd name="connsiteX1491" fmla="*/ 3778969 w 7714416"/>
              <a:gd name="connsiteY1491" fmla="*/ 4863483 h 5282095"/>
              <a:gd name="connsiteX1492" fmla="*/ 2712177 w 7714416"/>
              <a:gd name="connsiteY1492" fmla="*/ 4863483 h 5282095"/>
              <a:gd name="connsiteX1493" fmla="*/ 2713609 w 7714416"/>
              <a:gd name="connsiteY1493" fmla="*/ 4865260 h 5282095"/>
              <a:gd name="connsiteX1494" fmla="*/ 2710457 w 7714416"/>
              <a:gd name="connsiteY1494" fmla="*/ 4863594 h 5282095"/>
              <a:gd name="connsiteX1495" fmla="*/ 2712177 w 7714416"/>
              <a:gd name="connsiteY1495" fmla="*/ 4863483 h 5282095"/>
              <a:gd name="connsiteX1496" fmla="*/ 6195868 w 7714416"/>
              <a:gd name="connsiteY1496" fmla="*/ 4863150 h 5282095"/>
              <a:gd name="connsiteX1497" fmla="*/ 6200738 w 7714416"/>
              <a:gd name="connsiteY1497" fmla="*/ 4864038 h 5282095"/>
              <a:gd name="connsiteX1498" fmla="*/ 6205894 w 7714416"/>
              <a:gd name="connsiteY1498" fmla="*/ 4871592 h 5282095"/>
              <a:gd name="connsiteX1499" fmla="*/ 6197014 w 7714416"/>
              <a:gd name="connsiteY1499" fmla="*/ 4878145 h 5282095"/>
              <a:gd name="connsiteX1500" fmla="*/ 6189280 w 7714416"/>
              <a:gd name="connsiteY1500" fmla="*/ 4864594 h 5282095"/>
              <a:gd name="connsiteX1501" fmla="*/ 6195868 w 7714416"/>
              <a:gd name="connsiteY1501" fmla="*/ 4863150 h 5282095"/>
              <a:gd name="connsiteX1502" fmla="*/ 3821079 w 7714416"/>
              <a:gd name="connsiteY1502" fmla="*/ 4863149 h 5282095"/>
              <a:gd name="connsiteX1503" fmla="*/ 3826235 w 7714416"/>
              <a:gd name="connsiteY1503" fmla="*/ 4864038 h 5282095"/>
              <a:gd name="connsiteX1504" fmla="*/ 3831392 w 7714416"/>
              <a:gd name="connsiteY1504" fmla="*/ 4871592 h 5282095"/>
              <a:gd name="connsiteX1505" fmla="*/ 3822511 w 7714416"/>
              <a:gd name="connsiteY1505" fmla="*/ 4878146 h 5282095"/>
              <a:gd name="connsiteX1506" fmla="*/ 3814490 w 7714416"/>
              <a:gd name="connsiteY1506" fmla="*/ 4864594 h 5282095"/>
              <a:gd name="connsiteX1507" fmla="*/ 3821079 w 7714416"/>
              <a:gd name="connsiteY1507" fmla="*/ 4863149 h 5282095"/>
              <a:gd name="connsiteX1508" fmla="*/ 5125351 w 7714416"/>
              <a:gd name="connsiteY1508" fmla="*/ 4859817 h 5282095"/>
              <a:gd name="connsiteX1509" fmla="*/ 5117044 w 7714416"/>
              <a:gd name="connsiteY1509" fmla="*/ 4866482 h 5282095"/>
              <a:gd name="connsiteX1510" fmla="*/ 5116757 w 7714416"/>
              <a:gd name="connsiteY1510" fmla="*/ 4870148 h 5282095"/>
              <a:gd name="connsiteX1511" fmla="*/ 5107590 w 7714416"/>
              <a:gd name="connsiteY1511" fmla="*/ 4874813 h 5282095"/>
              <a:gd name="connsiteX1512" fmla="*/ 5105585 w 7714416"/>
              <a:gd name="connsiteY1512" fmla="*/ 4869371 h 5282095"/>
              <a:gd name="connsiteX1513" fmla="*/ 5117903 w 7714416"/>
              <a:gd name="connsiteY1513" fmla="*/ 4864038 h 5282095"/>
              <a:gd name="connsiteX1514" fmla="*/ 5125351 w 7714416"/>
              <a:gd name="connsiteY1514" fmla="*/ 4859817 h 5282095"/>
              <a:gd name="connsiteX1515" fmla="*/ 3817642 w 7714416"/>
              <a:gd name="connsiteY1515" fmla="*/ 4859817 h 5282095"/>
              <a:gd name="connsiteX1516" fmla="*/ 3809334 w 7714416"/>
              <a:gd name="connsiteY1516" fmla="*/ 4866482 h 5282095"/>
              <a:gd name="connsiteX1517" fmla="*/ 3809049 w 7714416"/>
              <a:gd name="connsiteY1517" fmla="*/ 4870148 h 5282095"/>
              <a:gd name="connsiteX1518" fmla="*/ 3799881 w 7714416"/>
              <a:gd name="connsiteY1518" fmla="*/ 4874813 h 5282095"/>
              <a:gd name="connsiteX1519" fmla="*/ 3797876 w 7714416"/>
              <a:gd name="connsiteY1519" fmla="*/ 4869371 h 5282095"/>
              <a:gd name="connsiteX1520" fmla="*/ 3810193 w 7714416"/>
              <a:gd name="connsiteY1520" fmla="*/ 4864038 h 5282095"/>
              <a:gd name="connsiteX1521" fmla="*/ 3817642 w 7714416"/>
              <a:gd name="connsiteY1521" fmla="*/ 4859817 h 5282095"/>
              <a:gd name="connsiteX1522" fmla="*/ 2750848 w 7714416"/>
              <a:gd name="connsiteY1522" fmla="*/ 4859817 h 5282095"/>
              <a:gd name="connsiteX1523" fmla="*/ 2742541 w 7714416"/>
              <a:gd name="connsiteY1523" fmla="*/ 4866482 h 5282095"/>
              <a:gd name="connsiteX1524" fmla="*/ 2742255 w 7714416"/>
              <a:gd name="connsiteY1524" fmla="*/ 4870148 h 5282095"/>
              <a:gd name="connsiteX1525" fmla="*/ 2733088 w 7714416"/>
              <a:gd name="connsiteY1525" fmla="*/ 4874813 h 5282095"/>
              <a:gd name="connsiteX1526" fmla="*/ 2731082 w 7714416"/>
              <a:gd name="connsiteY1526" fmla="*/ 4869370 h 5282095"/>
              <a:gd name="connsiteX1527" fmla="*/ 2743400 w 7714416"/>
              <a:gd name="connsiteY1527" fmla="*/ 4864038 h 5282095"/>
              <a:gd name="connsiteX1528" fmla="*/ 2750848 w 7714416"/>
              <a:gd name="connsiteY1528" fmla="*/ 4859817 h 5282095"/>
              <a:gd name="connsiteX1529" fmla="*/ 4767844 w 7714416"/>
              <a:gd name="connsiteY1529" fmla="*/ 4857152 h 5282095"/>
              <a:gd name="connsiteX1530" fmla="*/ 4779302 w 7714416"/>
              <a:gd name="connsiteY1530" fmla="*/ 4864371 h 5282095"/>
              <a:gd name="connsiteX1531" fmla="*/ 4767844 w 7714416"/>
              <a:gd name="connsiteY1531" fmla="*/ 4857152 h 5282095"/>
              <a:gd name="connsiteX1532" fmla="*/ 3701052 w 7714416"/>
              <a:gd name="connsiteY1532" fmla="*/ 4857151 h 5282095"/>
              <a:gd name="connsiteX1533" fmla="*/ 3712509 w 7714416"/>
              <a:gd name="connsiteY1533" fmla="*/ 4864371 h 5282095"/>
              <a:gd name="connsiteX1534" fmla="*/ 3701052 w 7714416"/>
              <a:gd name="connsiteY1534" fmla="*/ 4857151 h 5282095"/>
              <a:gd name="connsiteX1535" fmla="*/ 6075554 w 7714416"/>
              <a:gd name="connsiteY1535" fmla="*/ 4857151 h 5282095"/>
              <a:gd name="connsiteX1536" fmla="*/ 6087012 w 7714416"/>
              <a:gd name="connsiteY1536" fmla="*/ 4864372 h 5282095"/>
              <a:gd name="connsiteX1537" fmla="*/ 6075554 w 7714416"/>
              <a:gd name="connsiteY1537" fmla="*/ 4857151 h 5282095"/>
              <a:gd name="connsiteX1538" fmla="*/ 4167128 w 7714416"/>
              <a:gd name="connsiteY1538" fmla="*/ 4853597 h 5282095"/>
              <a:gd name="connsiteX1539" fmla="*/ 4176008 w 7714416"/>
              <a:gd name="connsiteY1539" fmla="*/ 4861150 h 5282095"/>
              <a:gd name="connsiteX1540" fmla="*/ 4179732 w 7714416"/>
              <a:gd name="connsiteY1540" fmla="*/ 4870148 h 5282095"/>
              <a:gd name="connsiteX1541" fmla="*/ 4153664 w 7714416"/>
              <a:gd name="connsiteY1541" fmla="*/ 4861261 h 5282095"/>
              <a:gd name="connsiteX1542" fmla="*/ 4167128 w 7714416"/>
              <a:gd name="connsiteY1542" fmla="*/ 4853597 h 5282095"/>
              <a:gd name="connsiteX1543" fmla="*/ 5474838 w 7714416"/>
              <a:gd name="connsiteY1543" fmla="*/ 4853596 h 5282095"/>
              <a:gd name="connsiteX1544" fmla="*/ 5483718 w 7714416"/>
              <a:gd name="connsiteY1544" fmla="*/ 4861150 h 5282095"/>
              <a:gd name="connsiteX1545" fmla="*/ 5487442 w 7714416"/>
              <a:gd name="connsiteY1545" fmla="*/ 4870148 h 5282095"/>
              <a:gd name="connsiteX1546" fmla="*/ 5461374 w 7714416"/>
              <a:gd name="connsiteY1546" fmla="*/ 4861262 h 5282095"/>
              <a:gd name="connsiteX1547" fmla="*/ 5474838 w 7714416"/>
              <a:gd name="connsiteY1547" fmla="*/ 4853596 h 5282095"/>
              <a:gd name="connsiteX1548" fmla="*/ 3100335 w 7714416"/>
              <a:gd name="connsiteY1548" fmla="*/ 4853596 h 5282095"/>
              <a:gd name="connsiteX1549" fmla="*/ 3109215 w 7714416"/>
              <a:gd name="connsiteY1549" fmla="*/ 4861150 h 5282095"/>
              <a:gd name="connsiteX1550" fmla="*/ 3112940 w 7714416"/>
              <a:gd name="connsiteY1550" fmla="*/ 4870148 h 5282095"/>
              <a:gd name="connsiteX1551" fmla="*/ 3086871 w 7714416"/>
              <a:gd name="connsiteY1551" fmla="*/ 4861261 h 5282095"/>
              <a:gd name="connsiteX1552" fmla="*/ 3100335 w 7714416"/>
              <a:gd name="connsiteY1552" fmla="*/ 4853596 h 5282095"/>
              <a:gd name="connsiteX1553" fmla="*/ 3572143 w 7714416"/>
              <a:gd name="connsiteY1553" fmla="*/ 4851597 h 5282095"/>
              <a:gd name="connsiteX1554" fmla="*/ 3579590 w 7714416"/>
              <a:gd name="connsiteY1554" fmla="*/ 4853262 h 5282095"/>
              <a:gd name="connsiteX1555" fmla="*/ 3584460 w 7714416"/>
              <a:gd name="connsiteY1555" fmla="*/ 4863150 h 5282095"/>
              <a:gd name="connsiteX1556" fmla="*/ 3581022 w 7714416"/>
              <a:gd name="connsiteY1556" fmla="*/ 4864038 h 5282095"/>
              <a:gd name="connsiteX1557" fmla="*/ 3576726 w 7714416"/>
              <a:gd name="connsiteY1557" fmla="*/ 4864372 h 5282095"/>
              <a:gd name="connsiteX1558" fmla="*/ 3567558 w 7714416"/>
              <a:gd name="connsiteY1558" fmla="*/ 4861705 h 5282095"/>
              <a:gd name="connsiteX1559" fmla="*/ 3564408 w 7714416"/>
              <a:gd name="connsiteY1559" fmla="*/ 4856706 h 5282095"/>
              <a:gd name="connsiteX1560" fmla="*/ 3564408 w 7714416"/>
              <a:gd name="connsiteY1560" fmla="*/ 4854374 h 5282095"/>
              <a:gd name="connsiteX1561" fmla="*/ 3572143 w 7714416"/>
              <a:gd name="connsiteY1561" fmla="*/ 4851597 h 5282095"/>
              <a:gd name="connsiteX1562" fmla="*/ 2505348 w 7714416"/>
              <a:gd name="connsiteY1562" fmla="*/ 4851597 h 5282095"/>
              <a:gd name="connsiteX1563" fmla="*/ 2512797 w 7714416"/>
              <a:gd name="connsiteY1563" fmla="*/ 4853263 h 5282095"/>
              <a:gd name="connsiteX1564" fmla="*/ 2517666 w 7714416"/>
              <a:gd name="connsiteY1564" fmla="*/ 4863149 h 5282095"/>
              <a:gd name="connsiteX1565" fmla="*/ 2514229 w 7714416"/>
              <a:gd name="connsiteY1565" fmla="*/ 4864038 h 5282095"/>
              <a:gd name="connsiteX1566" fmla="*/ 2509933 w 7714416"/>
              <a:gd name="connsiteY1566" fmla="*/ 4864371 h 5282095"/>
              <a:gd name="connsiteX1567" fmla="*/ 2500765 w 7714416"/>
              <a:gd name="connsiteY1567" fmla="*/ 4861706 h 5282095"/>
              <a:gd name="connsiteX1568" fmla="*/ 2497615 w 7714416"/>
              <a:gd name="connsiteY1568" fmla="*/ 4856707 h 5282095"/>
              <a:gd name="connsiteX1569" fmla="*/ 2497614 w 7714416"/>
              <a:gd name="connsiteY1569" fmla="*/ 4854374 h 5282095"/>
              <a:gd name="connsiteX1570" fmla="*/ 2505348 w 7714416"/>
              <a:gd name="connsiteY1570" fmla="*/ 4851597 h 5282095"/>
              <a:gd name="connsiteX1571" fmla="*/ 4879851 w 7714416"/>
              <a:gd name="connsiteY1571" fmla="*/ 4851597 h 5282095"/>
              <a:gd name="connsiteX1572" fmla="*/ 4887586 w 7714416"/>
              <a:gd name="connsiteY1572" fmla="*/ 4853263 h 5282095"/>
              <a:gd name="connsiteX1573" fmla="*/ 4892169 w 7714416"/>
              <a:gd name="connsiteY1573" fmla="*/ 4863150 h 5282095"/>
              <a:gd name="connsiteX1574" fmla="*/ 4890164 w 7714416"/>
              <a:gd name="connsiteY1574" fmla="*/ 4863594 h 5282095"/>
              <a:gd name="connsiteX1575" fmla="*/ 4893028 w 7714416"/>
              <a:gd name="connsiteY1575" fmla="*/ 4864038 h 5282095"/>
              <a:gd name="connsiteX1576" fmla="*/ 4898185 w 7714416"/>
              <a:gd name="connsiteY1576" fmla="*/ 4871592 h 5282095"/>
              <a:gd name="connsiteX1577" fmla="*/ 4889304 w 7714416"/>
              <a:gd name="connsiteY1577" fmla="*/ 4878145 h 5282095"/>
              <a:gd name="connsiteX1578" fmla="*/ 4881284 w 7714416"/>
              <a:gd name="connsiteY1578" fmla="*/ 4864594 h 5282095"/>
              <a:gd name="connsiteX1579" fmla="*/ 4883289 w 7714416"/>
              <a:gd name="connsiteY1579" fmla="*/ 4864149 h 5282095"/>
              <a:gd name="connsiteX1580" fmla="*/ 4880138 w 7714416"/>
              <a:gd name="connsiteY1580" fmla="*/ 4863817 h 5282095"/>
              <a:gd name="connsiteX1581" fmla="*/ 4875268 w 7714416"/>
              <a:gd name="connsiteY1581" fmla="*/ 4861705 h 5282095"/>
              <a:gd name="connsiteX1582" fmla="*/ 4872117 w 7714416"/>
              <a:gd name="connsiteY1582" fmla="*/ 4856706 h 5282095"/>
              <a:gd name="connsiteX1583" fmla="*/ 4872403 w 7714416"/>
              <a:gd name="connsiteY1583" fmla="*/ 4854374 h 5282095"/>
              <a:gd name="connsiteX1584" fmla="*/ 4879851 w 7714416"/>
              <a:gd name="connsiteY1584" fmla="*/ 4851597 h 5282095"/>
              <a:gd name="connsiteX1585" fmla="*/ 4716853 w 7714416"/>
              <a:gd name="connsiteY1585" fmla="*/ 4849598 h 5282095"/>
              <a:gd name="connsiteX1586" fmla="*/ 4729744 w 7714416"/>
              <a:gd name="connsiteY1586" fmla="*/ 4854707 h 5282095"/>
              <a:gd name="connsiteX1587" fmla="*/ 4726020 w 7714416"/>
              <a:gd name="connsiteY1587" fmla="*/ 4868481 h 5282095"/>
              <a:gd name="connsiteX1588" fmla="*/ 4718572 w 7714416"/>
              <a:gd name="connsiteY1588" fmla="*/ 4869703 h 5282095"/>
              <a:gd name="connsiteX1589" fmla="*/ 4705968 w 7714416"/>
              <a:gd name="connsiteY1589" fmla="*/ 4866482 h 5282095"/>
              <a:gd name="connsiteX1590" fmla="*/ 4716853 w 7714416"/>
              <a:gd name="connsiteY1590" fmla="*/ 4849598 h 5282095"/>
              <a:gd name="connsiteX1591" fmla="*/ 3409143 w 7714416"/>
              <a:gd name="connsiteY1591" fmla="*/ 4849598 h 5282095"/>
              <a:gd name="connsiteX1592" fmla="*/ 3422034 w 7714416"/>
              <a:gd name="connsiteY1592" fmla="*/ 4854707 h 5282095"/>
              <a:gd name="connsiteX1593" fmla="*/ 3418310 w 7714416"/>
              <a:gd name="connsiteY1593" fmla="*/ 4868482 h 5282095"/>
              <a:gd name="connsiteX1594" fmla="*/ 3410862 w 7714416"/>
              <a:gd name="connsiteY1594" fmla="*/ 4869703 h 5282095"/>
              <a:gd name="connsiteX1595" fmla="*/ 3398258 w 7714416"/>
              <a:gd name="connsiteY1595" fmla="*/ 4866482 h 5282095"/>
              <a:gd name="connsiteX1596" fmla="*/ 3409143 w 7714416"/>
              <a:gd name="connsiteY1596" fmla="*/ 4849598 h 5282095"/>
              <a:gd name="connsiteX1597" fmla="*/ 2342350 w 7714416"/>
              <a:gd name="connsiteY1597" fmla="*/ 4849597 h 5282095"/>
              <a:gd name="connsiteX1598" fmla="*/ 2355242 w 7714416"/>
              <a:gd name="connsiteY1598" fmla="*/ 4854708 h 5282095"/>
              <a:gd name="connsiteX1599" fmla="*/ 2351231 w 7714416"/>
              <a:gd name="connsiteY1599" fmla="*/ 4868481 h 5282095"/>
              <a:gd name="connsiteX1600" fmla="*/ 2344069 w 7714416"/>
              <a:gd name="connsiteY1600" fmla="*/ 4869703 h 5282095"/>
              <a:gd name="connsiteX1601" fmla="*/ 2331178 w 7714416"/>
              <a:gd name="connsiteY1601" fmla="*/ 4866482 h 5282095"/>
              <a:gd name="connsiteX1602" fmla="*/ 2342350 w 7714416"/>
              <a:gd name="connsiteY1602" fmla="*/ 4849597 h 5282095"/>
              <a:gd name="connsiteX1603" fmla="*/ 3586752 w 7714416"/>
              <a:gd name="connsiteY1603" fmla="*/ 4849375 h 5282095"/>
              <a:gd name="connsiteX1604" fmla="*/ 3588184 w 7714416"/>
              <a:gd name="connsiteY1604" fmla="*/ 4854040 h 5282095"/>
              <a:gd name="connsiteX1605" fmla="*/ 3585319 w 7714416"/>
              <a:gd name="connsiteY1605" fmla="*/ 4854485 h 5282095"/>
              <a:gd name="connsiteX1606" fmla="*/ 3581310 w 7714416"/>
              <a:gd name="connsiteY1606" fmla="*/ 4852263 h 5282095"/>
              <a:gd name="connsiteX1607" fmla="*/ 2519959 w 7714416"/>
              <a:gd name="connsiteY1607" fmla="*/ 4849375 h 5282095"/>
              <a:gd name="connsiteX1608" fmla="*/ 2521390 w 7714416"/>
              <a:gd name="connsiteY1608" fmla="*/ 4854041 h 5282095"/>
              <a:gd name="connsiteX1609" fmla="*/ 2518526 w 7714416"/>
              <a:gd name="connsiteY1609" fmla="*/ 4854485 h 5282095"/>
              <a:gd name="connsiteX1610" fmla="*/ 2514516 w 7714416"/>
              <a:gd name="connsiteY1610" fmla="*/ 4852263 h 5282095"/>
              <a:gd name="connsiteX1611" fmla="*/ 4894462 w 7714416"/>
              <a:gd name="connsiteY1611" fmla="*/ 4849375 h 5282095"/>
              <a:gd name="connsiteX1612" fmla="*/ 4895893 w 7714416"/>
              <a:gd name="connsiteY1612" fmla="*/ 4854040 h 5282095"/>
              <a:gd name="connsiteX1613" fmla="*/ 4893028 w 7714416"/>
              <a:gd name="connsiteY1613" fmla="*/ 4854485 h 5282095"/>
              <a:gd name="connsiteX1614" fmla="*/ 4889304 w 7714416"/>
              <a:gd name="connsiteY1614" fmla="*/ 4852263 h 5282095"/>
              <a:gd name="connsiteX1615" fmla="*/ 3604513 w 7714416"/>
              <a:gd name="connsiteY1615" fmla="*/ 4845709 h 5282095"/>
              <a:gd name="connsiteX1616" fmla="*/ 3605373 w 7714416"/>
              <a:gd name="connsiteY1616" fmla="*/ 4846154 h 5282095"/>
              <a:gd name="connsiteX1617" fmla="*/ 3608809 w 7714416"/>
              <a:gd name="connsiteY1617" fmla="*/ 4848598 h 5282095"/>
              <a:gd name="connsiteX1618" fmla="*/ 3608523 w 7714416"/>
              <a:gd name="connsiteY1618" fmla="*/ 4855485 h 5282095"/>
              <a:gd name="connsiteX1619" fmla="*/ 3605085 w 7714416"/>
              <a:gd name="connsiteY1619" fmla="*/ 4856374 h 5282095"/>
              <a:gd name="connsiteX1620" fmla="*/ 3601934 w 7714416"/>
              <a:gd name="connsiteY1620" fmla="*/ 4846932 h 5282095"/>
              <a:gd name="connsiteX1621" fmla="*/ 3604513 w 7714416"/>
              <a:gd name="connsiteY1621" fmla="*/ 4845709 h 5282095"/>
              <a:gd name="connsiteX1622" fmla="*/ 2537720 w 7714416"/>
              <a:gd name="connsiteY1622" fmla="*/ 4845709 h 5282095"/>
              <a:gd name="connsiteX1623" fmla="*/ 2538579 w 7714416"/>
              <a:gd name="connsiteY1623" fmla="*/ 4846154 h 5282095"/>
              <a:gd name="connsiteX1624" fmla="*/ 2542016 w 7714416"/>
              <a:gd name="connsiteY1624" fmla="*/ 4848598 h 5282095"/>
              <a:gd name="connsiteX1625" fmla="*/ 2541729 w 7714416"/>
              <a:gd name="connsiteY1625" fmla="*/ 4855485 h 5282095"/>
              <a:gd name="connsiteX1626" fmla="*/ 2538293 w 7714416"/>
              <a:gd name="connsiteY1626" fmla="*/ 4856374 h 5282095"/>
              <a:gd name="connsiteX1627" fmla="*/ 2535141 w 7714416"/>
              <a:gd name="connsiteY1627" fmla="*/ 4846931 h 5282095"/>
              <a:gd name="connsiteX1628" fmla="*/ 2537720 w 7714416"/>
              <a:gd name="connsiteY1628" fmla="*/ 4845709 h 5282095"/>
              <a:gd name="connsiteX1629" fmla="*/ 4912223 w 7714416"/>
              <a:gd name="connsiteY1629" fmla="*/ 4845709 h 5282095"/>
              <a:gd name="connsiteX1630" fmla="*/ 4913368 w 7714416"/>
              <a:gd name="connsiteY1630" fmla="*/ 4846154 h 5282095"/>
              <a:gd name="connsiteX1631" fmla="*/ 4916519 w 7714416"/>
              <a:gd name="connsiteY1631" fmla="*/ 4848598 h 5282095"/>
              <a:gd name="connsiteX1632" fmla="*/ 4916232 w 7714416"/>
              <a:gd name="connsiteY1632" fmla="*/ 4855485 h 5282095"/>
              <a:gd name="connsiteX1633" fmla="*/ 4912795 w 7714416"/>
              <a:gd name="connsiteY1633" fmla="*/ 4856374 h 5282095"/>
              <a:gd name="connsiteX1634" fmla="*/ 4909644 w 7714416"/>
              <a:gd name="connsiteY1634" fmla="*/ 4846931 h 5282095"/>
              <a:gd name="connsiteX1635" fmla="*/ 4912223 w 7714416"/>
              <a:gd name="connsiteY1635" fmla="*/ 4845709 h 5282095"/>
              <a:gd name="connsiteX1636" fmla="*/ 5671066 w 7714416"/>
              <a:gd name="connsiteY1636" fmla="*/ 4844821 h 5282095"/>
              <a:gd name="connsiteX1637" fmla="*/ 5687108 w 7714416"/>
              <a:gd name="connsiteY1637" fmla="*/ 4854708 h 5282095"/>
              <a:gd name="connsiteX1638" fmla="*/ 5663904 w 7714416"/>
              <a:gd name="connsiteY1638" fmla="*/ 4859705 h 5282095"/>
              <a:gd name="connsiteX1639" fmla="*/ 5671066 w 7714416"/>
              <a:gd name="connsiteY1639" fmla="*/ 4844821 h 5282095"/>
              <a:gd name="connsiteX1640" fmla="*/ 4363356 w 7714416"/>
              <a:gd name="connsiteY1640" fmla="*/ 4844820 h 5282095"/>
              <a:gd name="connsiteX1641" fmla="*/ 4379398 w 7714416"/>
              <a:gd name="connsiteY1641" fmla="*/ 4854707 h 5282095"/>
              <a:gd name="connsiteX1642" fmla="*/ 4356194 w 7714416"/>
              <a:gd name="connsiteY1642" fmla="*/ 4859706 h 5282095"/>
              <a:gd name="connsiteX1643" fmla="*/ 4363356 w 7714416"/>
              <a:gd name="connsiteY1643" fmla="*/ 4844820 h 5282095"/>
              <a:gd name="connsiteX1644" fmla="*/ 3296564 w 7714416"/>
              <a:gd name="connsiteY1644" fmla="*/ 4844820 h 5282095"/>
              <a:gd name="connsiteX1645" fmla="*/ 3312605 w 7714416"/>
              <a:gd name="connsiteY1645" fmla="*/ 4854708 h 5282095"/>
              <a:gd name="connsiteX1646" fmla="*/ 3289401 w 7714416"/>
              <a:gd name="connsiteY1646" fmla="*/ 4859705 h 5282095"/>
              <a:gd name="connsiteX1647" fmla="*/ 3296564 w 7714416"/>
              <a:gd name="connsiteY1647" fmla="*/ 4844820 h 5282095"/>
              <a:gd name="connsiteX1648" fmla="*/ 5368273 w 7714416"/>
              <a:gd name="connsiteY1648" fmla="*/ 4839711 h 5282095"/>
              <a:gd name="connsiteX1649" fmla="*/ 5380305 w 7714416"/>
              <a:gd name="connsiteY1649" fmla="*/ 4842377 h 5282095"/>
              <a:gd name="connsiteX1650" fmla="*/ 5381737 w 7714416"/>
              <a:gd name="connsiteY1650" fmla="*/ 4846043 h 5282095"/>
              <a:gd name="connsiteX1651" fmla="*/ 5371424 w 7714416"/>
              <a:gd name="connsiteY1651" fmla="*/ 4849375 h 5282095"/>
              <a:gd name="connsiteX1652" fmla="*/ 5366841 w 7714416"/>
              <a:gd name="connsiteY1652" fmla="*/ 4847042 h 5282095"/>
              <a:gd name="connsiteX1653" fmla="*/ 5365408 w 7714416"/>
              <a:gd name="connsiteY1653" fmla="*/ 4841155 h 5282095"/>
              <a:gd name="connsiteX1654" fmla="*/ 5368273 w 7714416"/>
              <a:gd name="connsiteY1654" fmla="*/ 4839711 h 5282095"/>
              <a:gd name="connsiteX1655" fmla="*/ 2993770 w 7714416"/>
              <a:gd name="connsiteY1655" fmla="*/ 4839711 h 5282095"/>
              <a:gd name="connsiteX1656" fmla="*/ 3005802 w 7714416"/>
              <a:gd name="connsiteY1656" fmla="*/ 4842377 h 5282095"/>
              <a:gd name="connsiteX1657" fmla="*/ 3007234 w 7714416"/>
              <a:gd name="connsiteY1657" fmla="*/ 4846043 h 5282095"/>
              <a:gd name="connsiteX1658" fmla="*/ 2996635 w 7714416"/>
              <a:gd name="connsiteY1658" fmla="*/ 4849375 h 5282095"/>
              <a:gd name="connsiteX1659" fmla="*/ 2992338 w 7714416"/>
              <a:gd name="connsiteY1659" fmla="*/ 4847042 h 5282095"/>
              <a:gd name="connsiteX1660" fmla="*/ 2990905 w 7714416"/>
              <a:gd name="connsiteY1660" fmla="*/ 4841155 h 5282095"/>
              <a:gd name="connsiteX1661" fmla="*/ 2993770 w 7714416"/>
              <a:gd name="connsiteY1661" fmla="*/ 4839711 h 5282095"/>
              <a:gd name="connsiteX1662" fmla="*/ 4060563 w 7714416"/>
              <a:gd name="connsiteY1662" fmla="*/ 4839711 h 5282095"/>
              <a:gd name="connsiteX1663" fmla="*/ 4072595 w 7714416"/>
              <a:gd name="connsiteY1663" fmla="*/ 4842377 h 5282095"/>
              <a:gd name="connsiteX1664" fmla="*/ 4074027 w 7714416"/>
              <a:gd name="connsiteY1664" fmla="*/ 4846043 h 5282095"/>
              <a:gd name="connsiteX1665" fmla="*/ 4063428 w 7714416"/>
              <a:gd name="connsiteY1665" fmla="*/ 4849374 h 5282095"/>
              <a:gd name="connsiteX1666" fmla="*/ 4059131 w 7714416"/>
              <a:gd name="connsiteY1666" fmla="*/ 4847043 h 5282095"/>
              <a:gd name="connsiteX1667" fmla="*/ 4057698 w 7714416"/>
              <a:gd name="connsiteY1667" fmla="*/ 4841155 h 5282095"/>
              <a:gd name="connsiteX1668" fmla="*/ 4060563 w 7714416"/>
              <a:gd name="connsiteY1668" fmla="*/ 4839711 h 5282095"/>
              <a:gd name="connsiteX1669" fmla="*/ 2454645 w 7714416"/>
              <a:gd name="connsiteY1669" fmla="*/ 4837600 h 5282095"/>
              <a:gd name="connsiteX1670" fmla="*/ 2460087 w 7714416"/>
              <a:gd name="connsiteY1670" fmla="*/ 4838489 h 5282095"/>
              <a:gd name="connsiteX1671" fmla="*/ 2445764 w 7714416"/>
              <a:gd name="connsiteY1671" fmla="*/ 4854708 h 5282095"/>
              <a:gd name="connsiteX1672" fmla="*/ 2437743 w 7714416"/>
              <a:gd name="connsiteY1672" fmla="*/ 4845709 h 5282095"/>
              <a:gd name="connsiteX1673" fmla="*/ 2454645 w 7714416"/>
              <a:gd name="connsiteY1673" fmla="*/ 4837600 h 5282095"/>
              <a:gd name="connsiteX1674" fmla="*/ 3520006 w 7714416"/>
              <a:gd name="connsiteY1674" fmla="*/ 4833158 h 5282095"/>
              <a:gd name="connsiteX1675" fmla="*/ 3520579 w 7714416"/>
              <a:gd name="connsiteY1675" fmla="*/ 4837823 h 5282095"/>
              <a:gd name="connsiteX1676" fmla="*/ 3521438 w 7714416"/>
              <a:gd name="connsiteY1676" fmla="*/ 4837601 h 5282095"/>
              <a:gd name="connsiteX1677" fmla="*/ 3526880 w 7714416"/>
              <a:gd name="connsiteY1677" fmla="*/ 4838489 h 5282095"/>
              <a:gd name="connsiteX1678" fmla="*/ 3520578 w 7714416"/>
              <a:gd name="connsiteY1678" fmla="*/ 4856040 h 5282095"/>
              <a:gd name="connsiteX1679" fmla="*/ 3518860 w 7714416"/>
              <a:gd name="connsiteY1679" fmla="*/ 4855818 h 5282095"/>
              <a:gd name="connsiteX1680" fmla="*/ 3518859 w 7714416"/>
              <a:gd name="connsiteY1680" fmla="*/ 4859928 h 5282095"/>
              <a:gd name="connsiteX1681" fmla="*/ 3515422 w 7714416"/>
              <a:gd name="connsiteY1681" fmla="*/ 4861928 h 5282095"/>
              <a:gd name="connsiteX1682" fmla="*/ 3515135 w 7714416"/>
              <a:gd name="connsiteY1682" fmla="*/ 4863038 h 5282095"/>
              <a:gd name="connsiteX1683" fmla="*/ 3511699 w 7714416"/>
              <a:gd name="connsiteY1683" fmla="*/ 4863816 h 5282095"/>
              <a:gd name="connsiteX1684" fmla="*/ 3510553 w 7714416"/>
              <a:gd name="connsiteY1684" fmla="*/ 4856707 h 5282095"/>
              <a:gd name="connsiteX1685" fmla="*/ 3511125 w 7714416"/>
              <a:gd name="connsiteY1685" fmla="*/ 4853819 h 5282095"/>
              <a:gd name="connsiteX1686" fmla="*/ 3511125 w 7714416"/>
              <a:gd name="connsiteY1686" fmla="*/ 4853485 h 5282095"/>
              <a:gd name="connsiteX1687" fmla="*/ 3507974 w 7714416"/>
              <a:gd name="connsiteY1687" fmla="*/ 4851264 h 5282095"/>
              <a:gd name="connsiteX1688" fmla="*/ 3504536 w 7714416"/>
              <a:gd name="connsiteY1688" fmla="*/ 4845709 h 5282095"/>
              <a:gd name="connsiteX1689" fmla="*/ 3511411 w 7714416"/>
              <a:gd name="connsiteY1689" fmla="*/ 4840044 h 5282095"/>
              <a:gd name="connsiteX1690" fmla="*/ 3515422 w 7714416"/>
              <a:gd name="connsiteY1690" fmla="*/ 4839044 h 5282095"/>
              <a:gd name="connsiteX1691" fmla="*/ 3515708 w 7714416"/>
              <a:gd name="connsiteY1691" fmla="*/ 4838378 h 5282095"/>
              <a:gd name="connsiteX1692" fmla="*/ 3520006 w 7714416"/>
              <a:gd name="connsiteY1692" fmla="*/ 4833158 h 5282095"/>
              <a:gd name="connsiteX1693" fmla="*/ 5894508 w 7714416"/>
              <a:gd name="connsiteY1693" fmla="*/ 4833157 h 5282095"/>
              <a:gd name="connsiteX1694" fmla="*/ 5895654 w 7714416"/>
              <a:gd name="connsiteY1694" fmla="*/ 4841377 h 5282095"/>
              <a:gd name="connsiteX1695" fmla="*/ 5893362 w 7714416"/>
              <a:gd name="connsiteY1695" fmla="*/ 4859928 h 5282095"/>
              <a:gd name="connsiteX1696" fmla="*/ 5889924 w 7714416"/>
              <a:gd name="connsiteY1696" fmla="*/ 4861928 h 5282095"/>
              <a:gd name="connsiteX1697" fmla="*/ 5889638 w 7714416"/>
              <a:gd name="connsiteY1697" fmla="*/ 4863038 h 5282095"/>
              <a:gd name="connsiteX1698" fmla="*/ 5886200 w 7714416"/>
              <a:gd name="connsiteY1698" fmla="*/ 4863817 h 5282095"/>
              <a:gd name="connsiteX1699" fmla="*/ 5885341 w 7714416"/>
              <a:gd name="connsiteY1699" fmla="*/ 4856706 h 5282095"/>
              <a:gd name="connsiteX1700" fmla="*/ 5885914 w 7714416"/>
              <a:gd name="connsiteY1700" fmla="*/ 4850931 h 5282095"/>
              <a:gd name="connsiteX1701" fmla="*/ 5894508 w 7714416"/>
              <a:gd name="connsiteY1701" fmla="*/ 4833157 h 5282095"/>
              <a:gd name="connsiteX1702" fmla="*/ 4586798 w 7714416"/>
              <a:gd name="connsiteY1702" fmla="*/ 4833157 h 5282095"/>
              <a:gd name="connsiteX1703" fmla="*/ 4587944 w 7714416"/>
              <a:gd name="connsiteY1703" fmla="*/ 4841378 h 5282095"/>
              <a:gd name="connsiteX1704" fmla="*/ 4585652 w 7714416"/>
              <a:gd name="connsiteY1704" fmla="*/ 4859928 h 5282095"/>
              <a:gd name="connsiteX1705" fmla="*/ 4582215 w 7714416"/>
              <a:gd name="connsiteY1705" fmla="*/ 4861928 h 5282095"/>
              <a:gd name="connsiteX1706" fmla="*/ 4581928 w 7714416"/>
              <a:gd name="connsiteY1706" fmla="*/ 4863038 h 5282095"/>
              <a:gd name="connsiteX1707" fmla="*/ 4578491 w 7714416"/>
              <a:gd name="connsiteY1707" fmla="*/ 4863817 h 5282095"/>
              <a:gd name="connsiteX1708" fmla="*/ 4577345 w 7714416"/>
              <a:gd name="connsiteY1708" fmla="*/ 4856707 h 5282095"/>
              <a:gd name="connsiteX1709" fmla="*/ 4578204 w 7714416"/>
              <a:gd name="connsiteY1709" fmla="*/ 4850930 h 5282095"/>
              <a:gd name="connsiteX1710" fmla="*/ 4586798 w 7714416"/>
              <a:gd name="connsiteY1710" fmla="*/ 4833157 h 5282095"/>
              <a:gd name="connsiteX1711" fmla="*/ 2742828 w 7714416"/>
              <a:gd name="connsiteY1711" fmla="*/ 4832491 h 5282095"/>
              <a:gd name="connsiteX1712" fmla="*/ 2754859 w 7714416"/>
              <a:gd name="connsiteY1712" fmla="*/ 4837267 h 5282095"/>
              <a:gd name="connsiteX1713" fmla="*/ 2747984 w 7714416"/>
              <a:gd name="connsiteY1713" fmla="*/ 4851264 h 5282095"/>
              <a:gd name="connsiteX1714" fmla="*/ 2740537 w 7714416"/>
              <a:gd name="connsiteY1714" fmla="*/ 4852597 h 5282095"/>
              <a:gd name="connsiteX1715" fmla="*/ 2728504 w 7714416"/>
              <a:gd name="connsiteY1715" fmla="*/ 4849597 h 5282095"/>
              <a:gd name="connsiteX1716" fmla="*/ 2730509 w 7714416"/>
              <a:gd name="connsiteY1716" fmla="*/ 4839378 h 5282095"/>
              <a:gd name="connsiteX1717" fmla="*/ 2728792 w 7714416"/>
              <a:gd name="connsiteY1717" fmla="*/ 4839711 h 5282095"/>
              <a:gd name="connsiteX1718" fmla="*/ 2729937 w 7714416"/>
              <a:gd name="connsiteY1718" fmla="*/ 4838934 h 5282095"/>
              <a:gd name="connsiteX1719" fmla="*/ 2731083 w 7714416"/>
              <a:gd name="connsiteY1719" fmla="*/ 4838934 h 5282095"/>
              <a:gd name="connsiteX1720" fmla="*/ 2736239 w 7714416"/>
              <a:gd name="connsiteY1720" fmla="*/ 4834712 h 5282095"/>
              <a:gd name="connsiteX1721" fmla="*/ 2742828 w 7714416"/>
              <a:gd name="connsiteY1721" fmla="*/ 4832491 h 5282095"/>
              <a:gd name="connsiteX1722" fmla="*/ 5117617 w 7714416"/>
              <a:gd name="connsiteY1722" fmla="*/ 4832490 h 5282095"/>
              <a:gd name="connsiteX1723" fmla="*/ 5129362 w 7714416"/>
              <a:gd name="connsiteY1723" fmla="*/ 4837267 h 5282095"/>
              <a:gd name="connsiteX1724" fmla="*/ 5122486 w 7714416"/>
              <a:gd name="connsiteY1724" fmla="*/ 4851264 h 5282095"/>
              <a:gd name="connsiteX1725" fmla="*/ 5115038 w 7714416"/>
              <a:gd name="connsiteY1725" fmla="*/ 4852596 h 5282095"/>
              <a:gd name="connsiteX1726" fmla="*/ 5103007 w 7714416"/>
              <a:gd name="connsiteY1726" fmla="*/ 4849598 h 5282095"/>
              <a:gd name="connsiteX1727" fmla="*/ 5105012 w 7714416"/>
              <a:gd name="connsiteY1727" fmla="*/ 4839378 h 5282095"/>
              <a:gd name="connsiteX1728" fmla="*/ 5103293 w 7714416"/>
              <a:gd name="connsiteY1728" fmla="*/ 4839711 h 5282095"/>
              <a:gd name="connsiteX1729" fmla="*/ 5104439 w 7714416"/>
              <a:gd name="connsiteY1729" fmla="*/ 4838934 h 5282095"/>
              <a:gd name="connsiteX1730" fmla="*/ 5105585 w 7714416"/>
              <a:gd name="connsiteY1730" fmla="*/ 4838934 h 5282095"/>
              <a:gd name="connsiteX1731" fmla="*/ 5110742 w 7714416"/>
              <a:gd name="connsiteY1731" fmla="*/ 4834713 h 5282095"/>
              <a:gd name="connsiteX1732" fmla="*/ 5117617 w 7714416"/>
              <a:gd name="connsiteY1732" fmla="*/ 4832490 h 5282095"/>
              <a:gd name="connsiteX1733" fmla="*/ 3809622 w 7714416"/>
              <a:gd name="connsiteY1733" fmla="*/ 4832490 h 5282095"/>
              <a:gd name="connsiteX1734" fmla="*/ 3821652 w 7714416"/>
              <a:gd name="connsiteY1734" fmla="*/ 4837268 h 5282095"/>
              <a:gd name="connsiteX1735" fmla="*/ 3814777 w 7714416"/>
              <a:gd name="connsiteY1735" fmla="*/ 4851264 h 5282095"/>
              <a:gd name="connsiteX1736" fmla="*/ 3807329 w 7714416"/>
              <a:gd name="connsiteY1736" fmla="*/ 4852596 h 5282095"/>
              <a:gd name="connsiteX1737" fmla="*/ 3795297 w 7714416"/>
              <a:gd name="connsiteY1737" fmla="*/ 4849598 h 5282095"/>
              <a:gd name="connsiteX1738" fmla="*/ 3797303 w 7714416"/>
              <a:gd name="connsiteY1738" fmla="*/ 4839378 h 5282095"/>
              <a:gd name="connsiteX1739" fmla="*/ 3795584 w 7714416"/>
              <a:gd name="connsiteY1739" fmla="*/ 4839711 h 5282095"/>
              <a:gd name="connsiteX1740" fmla="*/ 3796730 w 7714416"/>
              <a:gd name="connsiteY1740" fmla="*/ 4838934 h 5282095"/>
              <a:gd name="connsiteX1741" fmla="*/ 3797876 w 7714416"/>
              <a:gd name="connsiteY1741" fmla="*/ 4838934 h 5282095"/>
              <a:gd name="connsiteX1742" fmla="*/ 3803032 w 7714416"/>
              <a:gd name="connsiteY1742" fmla="*/ 4834712 h 5282095"/>
              <a:gd name="connsiteX1743" fmla="*/ 3809622 w 7714416"/>
              <a:gd name="connsiteY1743" fmla="*/ 4832490 h 5282095"/>
              <a:gd name="connsiteX1744" fmla="*/ 3667248 w 7714416"/>
              <a:gd name="connsiteY1744" fmla="*/ 4831158 h 5282095"/>
              <a:gd name="connsiteX1745" fmla="*/ 3673551 w 7714416"/>
              <a:gd name="connsiteY1745" fmla="*/ 4838822 h 5282095"/>
              <a:gd name="connsiteX1746" fmla="*/ 3649488 w 7714416"/>
              <a:gd name="connsiteY1746" fmla="*/ 4841488 h 5282095"/>
              <a:gd name="connsiteX1747" fmla="*/ 3667248 w 7714416"/>
              <a:gd name="connsiteY1747" fmla="*/ 4831158 h 5282095"/>
              <a:gd name="connsiteX1748" fmla="*/ 4974959 w 7714416"/>
              <a:gd name="connsiteY1748" fmla="*/ 4831157 h 5282095"/>
              <a:gd name="connsiteX1749" fmla="*/ 4981546 w 7714416"/>
              <a:gd name="connsiteY1749" fmla="*/ 4838822 h 5282095"/>
              <a:gd name="connsiteX1750" fmla="*/ 4957196 w 7714416"/>
              <a:gd name="connsiteY1750" fmla="*/ 4841488 h 5282095"/>
              <a:gd name="connsiteX1751" fmla="*/ 4974959 w 7714416"/>
              <a:gd name="connsiteY1751" fmla="*/ 4831157 h 5282095"/>
              <a:gd name="connsiteX1752" fmla="*/ 2600455 w 7714416"/>
              <a:gd name="connsiteY1752" fmla="*/ 4831157 h 5282095"/>
              <a:gd name="connsiteX1753" fmla="*/ 2606757 w 7714416"/>
              <a:gd name="connsiteY1753" fmla="*/ 4838823 h 5282095"/>
              <a:gd name="connsiteX1754" fmla="*/ 2582695 w 7714416"/>
              <a:gd name="connsiteY1754" fmla="*/ 4841488 h 5282095"/>
              <a:gd name="connsiteX1755" fmla="*/ 2600455 w 7714416"/>
              <a:gd name="connsiteY1755" fmla="*/ 4831157 h 5282095"/>
              <a:gd name="connsiteX1756" fmla="*/ 2097424 w 7714416"/>
              <a:gd name="connsiteY1756" fmla="*/ 4831047 h 5282095"/>
              <a:gd name="connsiteX1757" fmla="*/ 2103152 w 7714416"/>
              <a:gd name="connsiteY1757" fmla="*/ 4831157 h 5282095"/>
              <a:gd name="connsiteX1758" fmla="*/ 2110887 w 7714416"/>
              <a:gd name="connsiteY1758" fmla="*/ 4833601 h 5282095"/>
              <a:gd name="connsiteX1759" fmla="*/ 2114611 w 7714416"/>
              <a:gd name="connsiteY1759" fmla="*/ 4851485 h 5282095"/>
              <a:gd name="connsiteX1760" fmla="*/ 2100862 w 7714416"/>
              <a:gd name="connsiteY1760" fmla="*/ 4856707 h 5282095"/>
              <a:gd name="connsiteX1761" fmla="*/ 2094560 w 7714416"/>
              <a:gd name="connsiteY1761" fmla="*/ 4856262 h 5282095"/>
              <a:gd name="connsiteX1762" fmla="*/ 2097424 w 7714416"/>
              <a:gd name="connsiteY1762" fmla="*/ 4831047 h 5282095"/>
              <a:gd name="connsiteX1763" fmla="*/ 4472213 w 7714416"/>
              <a:gd name="connsiteY1763" fmla="*/ 4831046 h 5282095"/>
              <a:gd name="connsiteX1764" fmla="*/ 4477655 w 7714416"/>
              <a:gd name="connsiteY1764" fmla="*/ 4831158 h 5282095"/>
              <a:gd name="connsiteX1765" fmla="*/ 4485390 w 7714416"/>
              <a:gd name="connsiteY1765" fmla="*/ 4833602 h 5282095"/>
              <a:gd name="connsiteX1766" fmla="*/ 4489115 w 7714416"/>
              <a:gd name="connsiteY1766" fmla="*/ 4851485 h 5282095"/>
              <a:gd name="connsiteX1767" fmla="*/ 4475364 w 7714416"/>
              <a:gd name="connsiteY1767" fmla="*/ 4856706 h 5282095"/>
              <a:gd name="connsiteX1768" fmla="*/ 4469061 w 7714416"/>
              <a:gd name="connsiteY1768" fmla="*/ 4856263 h 5282095"/>
              <a:gd name="connsiteX1769" fmla="*/ 4472213 w 7714416"/>
              <a:gd name="connsiteY1769" fmla="*/ 4831046 h 5282095"/>
              <a:gd name="connsiteX1770" fmla="*/ 5639268 w 7714416"/>
              <a:gd name="connsiteY1770" fmla="*/ 4829936 h 5282095"/>
              <a:gd name="connsiteX1771" fmla="*/ 5655310 w 7714416"/>
              <a:gd name="connsiteY1771" fmla="*/ 4845154 h 5282095"/>
              <a:gd name="connsiteX1772" fmla="*/ 5639841 w 7714416"/>
              <a:gd name="connsiteY1772" fmla="*/ 4846487 h 5282095"/>
              <a:gd name="connsiteX1773" fmla="*/ 5639268 w 7714416"/>
              <a:gd name="connsiteY1773" fmla="*/ 4829936 h 5282095"/>
              <a:gd name="connsiteX1774" fmla="*/ 4331558 w 7714416"/>
              <a:gd name="connsiteY1774" fmla="*/ 4829935 h 5282095"/>
              <a:gd name="connsiteX1775" fmla="*/ 4347600 w 7714416"/>
              <a:gd name="connsiteY1775" fmla="*/ 4845154 h 5282095"/>
              <a:gd name="connsiteX1776" fmla="*/ 4332132 w 7714416"/>
              <a:gd name="connsiteY1776" fmla="*/ 4846487 h 5282095"/>
              <a:gd name="connsiteX1777" fmla="*/ 4331558 w 7714416"/>
              <a:gd name="connsiteY1777" fmla="*/ 4829935 h 5282095"/>
              <a:gd name="connsiteX1778" fmla="*/ 5395774 w 7714416"/>
              <a:gd name="connsiteY1778" fmla="*/ 4829158 h 5282095"/>
              <a:gd name="connsiteX1779" fmla="*/ 5400070 w 7714416"/>
              <a:gd name="connsiteY1779" fmla="*/ 4837601 h 5282095"/>
              <a:gd name="connsiteX1780" fmla="*/ 5394341 w 7714416"/>
              <a:gd name="connsiteY1780" fmla="*/ 4845377 h 5282095"/>
              <a:gd name="connsiteX1781" fmla="*/ 5379445 w 7714416"/>
              <a:gd name="connsiteY1781" fmla="*/ 4833601 h 5282095"/>
              <a:gd name="connsiteX1782" fmla="*/ 5395774 w 7714416"/>
              <a:gd name="connsiteY1782" fmla="*/ 4829158 h 5282095"/>
              <a:gd name="connsiteX1783" fmla="*/ 3020984 w 7714416"/>
              <a:gd name="connsiteY1783" fmla="*/ 4829158 h 5282095"/>
              <a:gd name="connsiteX1784" fmla="*/ 3025282 w 7714416"/>
              <a:gd name="connsiteY1784" fmla="*/ 4837600 h 5282095"/>
              <a:gd name="connsiteX1785" fmla="*/ 3019553 w 7714416"/>
              <a:gd name="connsiteY1785" fmla="*/ 4845376 h 5282095"/>
              <a:gd name="connsiteX1786" fmla="*/ 3004942 w 7714416"/>
              <a:gd name="connsiteY1786" fmla="*/ 4833602 h 5282095"/>
              <a:gd name="connsiteX1787" fmla="*/ 3020984 w 7714416"/>
              <a:gd name="connsiteY1787" fmla="*/ 4829158 h 5282095"/>
              <a:gd name="connsiteX1788" fmla="*/ 4087777 w 7714416"/>
              <a:gd name="connsiteY1788" fmla="*/ 4829158 h 5282095"/>
              <a:gd name="connsiteX1789" fmla="*/ 4092074 w 7714416"/>
              <a:gd name="connsiteY1789" fmla="*/ 4837600 h 5282095"/>
              <a:gd name="connsiteX1790" fmla="*/ 4086345 w 7714416"/>
              <a:gd name="connsiteY1790" fmla="*/ 4845377 h 5282095"/>
              <a:gd name="connsiteX1791" fmla="*/ 4071735 w 7714416"/>
              <a:gd name="connsiteY1791" fmla="*/ 4833601 h 5282095"/>
              <a:gd name="connsiteX1792" fmla="*/ 4087777 w 7714416"/>
              <a:gd name="connsiteY1792" fmla="*/ 4829158 h 5282095"/>
              <a:gd name="connsiteX1793" fmla="*/ 2468109 w 7714416"/>
              <a:gd name="connsiteY1793" fmla="*/ 4826603 h 5282095"/>
              <a:gd name="connsiteX1794" fmla="*/ 2481000 w 7714416"/>
              <a:gd name="connsiteY1794" fmla="*/ 4836711 h 5282095"/>
              <a:gd name="connsiteX1795" fmla="*/ 2482719 w 7714416"/>
              <a:gd name="connsiteY1795" fmla="*/ 4850708 h 5282095"/>
              <a:gd name="connsiteX1796" fmla="*/ 2468109 w 7714416"/>
              <a:gd name="connsiteY1796" fmla="*/ 4826603 h 5282095"/>
              <a:gd name="connsiteX1797" fmla="*/ 4842611 w 7714416"/>
              <a:gd name="connsiteY1797" fmla="*/ 4826603 h 5282095"/>
              <a:gd name="connsiteX1798" fmla="*/ 4855501 w 7714416"/>
              <a:gd name="connsiteY1798" fmla="*/ 4836712 h 5282095"/>
              <a:gd name="connsiteX1799" fmla="*/ 4857507 w 7714416"/>
              <a:gd name="connsiteY1799" fmla="*/ 4850708 h 5282095"/>
              <a:gd name="connsiteX1800" fmla="*/ 4842611 w 7714416"/>
              <a:gd name="connsiteY1800" fmla="*/ 4826603 h 5282095"/>
              <a:gd name="connsiteX1801" fmla="*/ 3534902 w 7714416"/>
              <a:gd name="connsiteY1801" fmla="*/ 4826603 h 5282095"/>
              <a:gd name="connsiteX1802" fmla="*/ 3547793 w 7714416"/>
              <a:gd name="connsiteY1802" fmla="*/ 4836712 h 5282095"/>
              <a:gd name="connsiteX1803" fmla="*/ 3549512 w 7714416"/>
              <a:gd name="connsiteY1803" fmla="*/ 4850708 h 5282095"/>
              <a:gd name="connsiteX1804" fmla="*/ 3534902 w 7714416"/>
              <a:gd name="connsiteY1804" fmla="*/ 4826603 h 5282095"/>
              <a:gd name="connsiteX1805" fmla="*/ 5056600 w 7714416"/>
              <a:gd name="connsiteY1805" fmla="*/ 4824937 h 5282095"/>
              <a:gd name="connsiteX1806" fmla="*/ 5064334 w 7714416"/>
              <a:gd name="connsiteY1806" fmla="*/ 4835379 h 5282095"/>
              <a:gd name="connsiteX1807" fmla="*/ 5054308 w 7714416"/>
              <a:gd name="connsiteY1807" fmla="*/ 4844821 h 5282095"/>
              <a:gd name="connsiteX1808" fmla="*/ 5056600 w 7714416"/>
              <a:gd name="connsiteY1808" fmla="*/ 4824937 h 5282095"/>
              <a:gd name="connsiteX1809" fmla="*/ 2682097 w 7714416"/>
              <a:gd name="connsiteY1809" fmla="*/ 4824937 h 5282095"/>
              <a:gd name="connsiteX1810" fmla="*/ 2689831 w 7714416"/>
              <a:gd name="connsiteY1810" fmla="*/ 4835379 h 5282095"/>
              <a:gd name="connsiteX1811" fmla="*/ 2679805 w 7714416"/>
              <a:gd name="connsiteY1811" fmla="*/ 4844820 h 5282095"/>
              <a:gd name="connsiteX1812" fmla="*/ 2682097 w 7714416"/>
              <a:gd name="connsiteY1812" fmla="*/ 4824937 h 5282095"/>
              <a:gd name="connsiteX1813" fmla="*/ 3096038 w 7714416"/>
              <a:gd name="connsiteY1813" fmla="*/ 4821383 h 5282095"/>
              <a:gd name="connsiteX1814" fmla="*/ 3103772 w 7714416"/>
              <a:gd name="connsiteY1814" fmla="*/ 4823715 h 5282095"/>
              <a:gd name="connsiteX1815" fmla="*/ 3095752 w 7714416"/>
              <a:gd name="connsiteY1815" fmla="*/ 4832713 h 5282095"/>
              <a:gd name="connsiteX1816" fmla="*/ 3096038 w 7714416"/>
              <a:gd name="connsiteY1816" fmla="*/ 4821383 h 5282095"/>
              <a:gd name="connsiteX1817" fmla="*/ 2029245 w 7714416"/>
              <a:gd name="connsiteY1817" fmla="*/ 4821382 h 5282095"/>
              <a:gd name="connsiteX1818" fmla="*/ 2036980 w 7714416"/>
              <a:gd name="connsiteY1818" fmla="*/ 4823715 h 5282095"/>
              <a:gd name="connsiteX1819" fmla="*/ 2028959 w 7714416"/>
              <a:gd name="connsiteY1819" fmla="*/ 4832713 h 5282095"/>
              <a:gd name="connsiteX1820" fmla="*/ 2029245 w 7714416"/>
              <a:gd name="connsiteY1820" fmla="*/ 4821382 h 5282095"/>
              <a:gd name="connsiteX1821" fmla="*/ 4403748 w 7714416"/>
              <a:gd name="connsiteY1821" fmla="*/ 4821382 h 5282095"/>
              <a:gd name="connsiteX1822" fmla="*/ 4411482 w 7714416"/>
              <a:gd name="connsiteY1822" fmla="*/ 4823715 h 5282095"/>
              <a:gd name="connsiteX1823" fmla="*/ 4403462 w 7714416"/>
              <a:gd name="connsiteY1823" fmla="*/ 4832713 h 5282095"/>
              <a:gd name="connsiteX1824" fmla="*/ 4403748 w 7714416"/>
              <a:gd name="connsiteY1824" fmla="*/ 4821382 h 5282095"/>
              <a:gd name="connsiteX1825" fmla="*/ 2501911 w 7714416"/>
              <a:gd name="connsiteY1825" fmla="*/ 4819383 h 5282095"/>
              <a:gd name="connsiteX1826" fmla="*/ 2507355 w 7714416"/>
              <a:gd name="connsiteY1826" fmla="*/ 4819383 h 5282095"/>
              <a:gd name="connsiteX1827" fmla="*/ 2514803 w 7714416"/>
              <a:gd name="connsiteY1827" fmla="*/ 4821715 h 5282095"/>
              <a:gd name="connsiteX1828" fmla="*/ 2514516 w 7714416"/>
              <a:gd name="connsiteY1828" fmla="*/ 4839489 h 5282095"/>
              <a:gd name="connsiteX1829" fmla="*/ 2499907 w 7714416"/>
              <a:gd name="connsiteY1829" fmla="*/ 4845154 h 5282095"/>
              <a:gd name="connsiteX1830" fmla="*/ 2493318 w 7714416"/>
              <a:gd name="connsiteY1830" fmla="*/ 4844932 h 5282095"/>
              <a:gd name="connsiteX1831" fmla="*/ 2501911 w 7714416"/>
              <a:gd name="connsiteY1831" fmla="*/ 4819383 h 5282095"/>
              <a:gd name="connsiteX1832" fmla="*/ 4876414 w 7714416"/>
              <a:gd name="connsiteY1832" fmla="*/ 4819383 h 5282095"/>
              <a:gd name="connsiteX1833" fmla="*/ 4881856 w 7714416"/>
              <a:gd name="connsiteY1833" fmla="*/ 4819383 h 5282095"/>
              <a:gd name="connsiteX1834" fmla="*/ 4889304 w 7714416"/>
              <a:gd name="connsiteY1834" fmla="*/ 4821715 h 5282095"/>
              <a:gd name="connsiteX1835" fmla="*/ 4889304 w 7714416"/>
              <a:gd name="connsiteY1835" fmla="*/ 4839489 h 5282095"/>
              <a:gd name="connsiteX1836" fmla="*/ 4874408 w 7714416"/>
              <a:gd name="connsiteY1836" fmla="*/ 4845154 h 5282095"/>
              <a:gd name="connsiteX1837" fmla="*/ 4868106 w 7714416"/>
              <a:gd name="connsiteY1837" fmla="*/ 4844932 h 5282095"/>
              <a:gd name="connsiteX1838" fmla="*/ 4876414 w 7714416"/>
              <a:gd name="connsiteY1838" fmla="*/ 4819383 h 5282095"/>
              <a:gd name="connsiteX1839" fmla="*/ 3568704 w 7714416"/>
              <a:gd name="connsiteY1839" fmla="*/ 4819383 h 5282095"/>
              <a:gd name="connsiteX1840" fmla="*/ 3574148 w 7714416"/>
              <a:gd name="connsiteY1840" fmla="*/ 4819383 h 5282095"/>
              <a:gd name="connsiteX1841" fmla="*/ 3581596 w 7714416"/>
              <a:gd name="connsiteY1841" fmla="*/ 4821716 h 5282095"/>
              <a:gd name="connsiteX1842" fmla="*/ 3581309 w 7714416"/>
              <a:gd name="connsiteY1842" fmla="*/ 4839489 h 5282095"/>
              <a:gd name="connsiteX1843" fmla="*/ 3566699 w 7714416"/>
              <a:gd name="connsiteY1843" fmla="*/ 4845154 h 5282095"/>
              <a:gd name="connsiteX1844" fmla="*/ 3560111 w 7714416"/>
              <a:gd name="connsiteY1844" fmla="*/ 4844932 h 5282095"/>
              <a:gd name="connsiteX1845" fmla="*/ 3568704 w 7714416"/>
              <a:gd name="connsiteY1845" fmla="*/ 4819383 h 5282095"/>
              <a:gd name="connsiteX1846" fmla="*/ 4779016 w 7714416"/>
              <a:gd name="connsiteY1846" fmla="*/ 4818939 h 5282095"/>
              <a:gd name="connsiteX1847" fmla="*/ 4782453 w 7714416"/>
              <a:gd name="connsiteY1847" fmla="*/ 4820160 h 5282095"/>
              <a:gd name="connsiteX1848" fmla="*/ 4783599 w 7714416"/>
              <a:gd name="connsiteY1848" fmla="*/ 4822271 h 5282095"/>
              <a:gd name="connsiteX1849" fmla="*/ 4781308 w 7714416"/>
              <a:gd name="connsiteY1849" fmla="*/ 4824603 h 5282095"/>
              <a:gd name="connsiteX1850" fmla="*/ 4775292 w 7714416"/>
              <a:gd name="connsiteY1850" fmla="*/ 4827048 h 5282095"/>
              <a:gd name="connsiteX1851" fmla="*/ 4770708 w 7714416"/>
              <a:gd name="connsiteY1851" fmla="*/ 4826270 h 5282095"/>
              <a:gd name="connsiteX1852" fmla="*/ 4770708 w 7714416"/>
              <a:gd name="connsiteY1852" fmla="*/ 4823715 h 5282095"/>
              <a:gd name="connsiteX1853" fmla="*/ 4768990 w 7714416"/>
              <a:gd name="connsiteY1853" fmla="*/ 4821716 h 5282095"/>
              <a:gd name="connsiteX1854" fmla="*/ 4770708 w 7714416"/>
              <a:gd name="connsiteY1854" fmla="*/ 4821049 h 5282095"/>
              <a:gd name="connsiteX1855" fmla="*/ 4771568 w 7714416"/>
              <a:gd name="connsiteY1855" fmla="*/ 4819494 h 5282095"/>
              <a:gd name="connsiteX1856" fmla="*/ 4779016 w 7714416"/>
              <a:gd name="connsiteY1856" fmla="*/ 4818939 h 5282095"/>
              <a:gd name="connsiteX1857" fmla="*/ 6086726 w 7714416"/>
              <a:gd name="connsiteY1857" fmla="*/ 4818939 h 5282095"/>
              <a:gd name="connsiteX1858" fmla="*/ 6090164 w 7714416"/>
              <a:gd name="connsiteY1858" fmla="*/ 4820160 h 5282095"/>
              <a:gd name="connsiteX1859" fmla="*/ 6091309 w 7714416"/>
              <a:gd name="connsiteY1859" fmla="*/ 4822271 h 5282095"/>
              <a:gd name="connsiteX1860" fmla="*/ 6089018 w 7714416"/>
              <a:gd name="connsiteY1860" fmla="*/ 4824604 h 5282095"/>
              <a:gd name="connsiteX1861" fmla="*/ 6083002 w 7714416"/>
              <a:gd name="connsiteY1861" fmla="*/ 4827048 h 5282095"/>
              <a:gd name="connsiteX1862" fmla="*/ 6078418 w 7714416"/>
              <a:gd name="connsiteY1862" fmla="*/ 4826270 h 5282095"/>
              <a:gd name="connsiteX1863" fmla="*/ 6078418 w 7714416"/>
              <a:gd name="connsiteY1863" fmla="*/ 4823715 h 5282095"/>
              <a:gd name="connsiteX1864" fmla="*/ 6076700 w 7714416"/>
              <a:gd name="connsiteY1864" fmla="*/ 4821715 h 5282095"/>
              <a:gd name="connsiteX1865" fmla="*/ 6078418 w 7714416"/>
              <a:gd name="connsiteY1865" fmla="*/ 4821049 h 5282095"/>
              <a:gd name="connsiteX1866" fmla="*/ 6079278 w 7714416"/>
              <a:gd name="connsiteY1866" fmla="*/ 4819494 h 5282095"/>
              <a:gd name="connsiteX1867" fmla="*/ 6086726 w 7714416"/>
              <a:gd name="connsiteY1867" fmla="*/ 4818939 h 5282095"/>
              <a:gd name="connsiteX1868" fmla="*/ 3712223 w 7714416"/>
              <a:gd name="connsiteY1868" fmla="*/ 4818939 h 5282095"/>
              <a:gd name="connsiteX1869" fmla="*/ 3715660 w 7714416"/>
              <a:gd name="connsiteY1869" fmla="*/ 4820160 h 5282095"/>
              <a:gd name="connsiteX1870" fmla="*/ 3716806 w 7714416"/>
              <a:gd name="connsiteY1870" fmla="*/ 4822271 h 5282095"/>
              <a:gd name="connsiteX1871" fmla="*/ 3714514 w 7714416"/>
              <a:gd name="connsiteY1871" fmla="*/ 4824604 h 5282095"/>
              <a:gd name="connsiteX1872" fmla="*/ 3708499 w 7714416"/>
              <a:gd name="connsiteY1872" fmla="*/ 4827047 h 5282095"/>
              <a:gd name="connsiteX1873" fmla="*/ 3703915 w 7714416"/>
              <a:gd name="connsiteY1873" fmla="*/ 4826270 h 5282095"/>
              <a:gd name="connsiteX1874" fmla="*/ 3703915 w 7714416"/>
              <a:gd name="connsiteY1874" fmla="*/ 4823715 h 5282095"/>
              <a:gd name="connsiteX1875" fmla="*/ 3702196 w 7714416"/>
              <a:gd name="connsiteY1875" fmla="*/ 4821715 h 5282095"/>
              <a:gd name="connsiteX1876" fmla="*/ 3703915 w 7714416"/>
              <a:gd name="connsiteY1876" fmla="*/ 4821048 h 5282095"/>
              <a:gd name="connsiteX1877" fmla="*/ 3704775 w 7714416"/>
              <a:gd name="connsiteY1877" fmla="*/ 4819494 h 5282095"/>
              <a:gd name="connsiteX1878" fmla="*/ 3712223 w 7714416"/>
              <a:gd name="connsiteY1878" fmla="*/ 4818939 h 5282095"/>
              <a:gd name="connsiteX1879" fmla="*/ 6131700 w 7714416"/>
              <a:gd name="connsiteY1879" fmla="*/ 4818494 h 5282095"/>
              <a:gd name="connsiteX1880" fmla="*/ 6134852 w 7714416"/>
              <a:gd name="connsiteY1880" fmla="*/ 4820827 h 5282095"/>
              <a:gd name="connsiteX1881" fmla="*/ 6138002 w 7714416"/>
              <a:gd name="connsiteY1881" fmla="*/ 4831934 h 5282095"/>
              <a:gd name="connsiteX1882" fmla="*/ 6138002 w 7714416"/>
              <a:gd name="connsiteY1882" fmla="*/ 4834489 h 5282095"/>
              <a:gd name="connsiteX1883" fmla="*/ 6138289 w 7714416"/>
              <a:gd name="connsiteY1883" fmla="*/ 4837267 h 5282095"/>
              <a:gd name="connsiteX1884" fmla="*/ 6132846 w 7714416"/>
              <a:gd name="connsiteY1884" fmla="*/ 4840822 h 5282095"/>
              <a:gd name="connsiteX1885" fmla="*/ 6127977 w 7714416"/>
              <a:gd name="connsiteY1885" fmla="*/ 4818716 h 5282095"/>
              <a:gd name="connsiteX1886" fmla="*/ 6131700 w 7714416"/>
              <a:gd name="connsiteY1886" fmla="*/ 4818494 h 5282095"/>
              <a:gd name="connsiteX1887" fmla="*/ 6097612 w 7714416"/>
              <a:gd name="connsiteY1887" fmla="*/ 4818494 h 5282095"/>
              <a:gd name="connsiteX1888" fmla="*/ 6105632 w 7714416"/>
              <a:gd name="connsiteY1888" fmla="*/ 4818716 h 5282095"/>
              <a:gd name="connsiteX1889" fmla="*/ 6121102 w 7714416"/>
              <a:gd name="connsiteY1889" fmla="*/ 4823049 h 5282095"/>
              <a:gd name="connsiteX1890" fmla="*/ 6123966 w 7714416"/>
              <a:gd name="connsiteY1890" fmla="*/ 4830713 h 5282095"/>
              <a:gd name="connsiteX1891" fmla="*/ 6091309 w 7714416"/>
              <a:gd name="connsiteY1891" fmla="*/ 4820716 h 5282095"/>
              <a:gd name="connsiteX1892" fmla="*/ 6097612 w 7714416"/>
              <a:gd name="connsiteY1892" fmla="*/ 4818494 h 5282095"/>
              <a:gd name="connsiteX1893" fmla="*/ 2307403 w 7714416"/>
              <a:gd name="connsiteY1893" fmla="*/ 4817717 h 5282095"/>
              <a:gd name="connsiteX1894" fmla="*/ 2291073 w 7714416"/>
              <a:gd name="connsiteY1894" fmla="*/ 4851818 h 5282095"/>
              <a:gd name="connsiteX1895" fmla="*/ 2307403 w 7714416"/>
              <a:gd name="connsiteY1895" fmla="*/ 4817717 h 5282095"/>
              <a:gd name="connsiteX1896" fmla="*/ 4681904 w 7714416"/>
              <a:gd name="connsiteY1896" fmla="*/ 4817716 h 5282095"/>
              <a:gd name="connsiteX1897" fmla="*/ 4665576 w 7714416"/>
              <a:gd name="connsiteY1897" fmla="*/ 4851819 h 5282095"/>
              <a:gd name="connsiteX1898" fmla="*/ 4681904 w 7714416"/>
              <a:gd name="connsiteY1898" fmla="*/ 4817716 h 5282095"/>
              <a:gd name="connsiteX1899" fmla="*/ 3379924 w 7714416"/>
              <a:gd name="connsiteY1899" fmla="*/ 4815495 h 5282095"/>
              <a:gd name="connsiteX1900" fmla="*/ 3386799 w 7714416"/>
              <a:gd name="connsiteY1900" fmla="*/ 4820826 h 5282095"/>
              <a:gd name="connsiteX1901" fmla="*/ 3381643 w 7714416"/>
              <a:gd name="connsiteY1901" fmla="*/ 4825048 h 5282095"/>
              <a:gd name="connsiteX1902" fmla="*/ 3378492 w 7714416"/>
              <a:gd name="connsiteY1902" fmla="*/ 4823937 h 5282095"/>
              <a:gd name="connsiteX1903" fmla="*/ 3379925 w 7714416"/>
              <a:gd name="connsiteY1903" fmla="*/ 4825936 h 5282095"/>
              <a:gd name="connsiteX1904" fmla="*/ 3357866 w 7714416"/>
              <a:gd name="connsiteY1904" fmla="*/ 4851819 h 5282095"/>
              <a:gd name="connsiteX1905" fmla="*/ 3374196 w 7714416"/>
              <a:gd name="connsiteY1905" fmla="*/ 4817716 h 5282095"/>
              <a:gd name="connsiteX1906" fmla="*/ 3375342 w 7714416"/>
              <a:gd name="connsiteY1906" fmla="*/ 4819383 h 5282095"/>
              <a:gd name="connsiteX1907" fmla="*/ 5754427 w 7714416"/>
              <a:gd name="connsiteY1907" fmla="*/ 4815495 h 5282095"/>
              <a:gd name="connsiteX1908" fmla="*/ 5761302 w 7714416"/>
              <a:gd name="connsiteY1908" fmla="*/ 4820827 h 5282095"/>
              <a:gd name="connsiteX1909" fmla="*/ 5756146 w 7714416"/>
              <a:gd name="connsiteY1909" fmla="*/ 4825048 h 5282095"/>
              <a:gd name="connsiteX1910" fmla="*/ 5749557 w 7714416"/>
              <a:gd name="connsiteY1910" fmla="*/ 4819716 h 5282095"/>
              <a:gd name="connsiteX1911" fmla="*/ 5754427 w 7714416"/>
              <a:gd name="connsiteY1911" fmla="*/ 4815495 h 5282095"/>
              <a:gd name="connsiteX1912" fmla="*/ 5240223 w 7714416"/>
              <a:gd name="connsiteY1912" fmla="*/ 4810829 h 5282095"/>
              <a:gd name="connsiteX1913" fmla="*/ 5251968 w 7714416"/>
              <a:gd name="connsiteY1913" fmla="*/ 4811829 h 5282095"/>
              <a:gd name="connsiteX1914" fmla="*/ 5248244 w 7714416"/>
              <a:gd name="connsiteY1914" fmla="*/ 4822049 h 5282095"/>
              <a:gd name="connsiteX1915" fmla="*/ 5242229 w 7714416"/>
              <a:gd name="connsiteY1915" fmla="*/ 4823938 h 5282095"/>
              <a:gd name="connsiteX1916" fmla="*/ 5234780 w 7714416"/>
              <a:gd name="connsiteY1916" fmla="*/ 4823270 h 5282095"/>
              <a:gd name="connsiteX1917" fmla="*/ 5223037 w 7714416"/>
              <a:gd name="connsiteY1917" fmla="*/ 4822271 h 5282095"/>
              <a:gd name="connsiteX1918" fmla="*/ 5221603 w 7714416"/>
              <a:gd name="connsiteY1918" fmla="*/ 4816384 h 5282095"/>
              <a:gd name="connsiteX1919" fmla="*/ 5240223 w 7714416"/>
              <a:gd name="connsiteY1919" fmla="*/ 4810829 h 5282095"/>
              <a:gd name="connsiteX1920" fmla="*/ 2865435 w 7714416"/>
              <a:gd name="connsiteY1920" fmla="*/ 4810829 h 5282095"/>
              <a:gd name="connsiteX1921" fmla="*/ 2877466 w 7714416"/>
              <a:gd name="connsiteY1921" fmla="*/ 4811828 h 5282095"/>
              <a:gd name="connsiteX1922" fmla="*/ 2873742 w 7714416"/>
              <a:gd name="connsiteY1922" fmla="*/ 4822049 h 5282095"/>
              <a:gd name="connsiteX1923" fmla="*/ 2867439 w 7714416"/>
              <a:gd name="connsiteY1923" fmla="*/ 4823937 h 5282095"/>
              <a:gd name="connsiteX1924" fmla="*/ 2860278 w 7714416"/>
              <a:gd name="connsiteY1924" fmla="*/ 4823271 h 5282095"/>
              <a:gd name="connsiteX1925" fmla="*/ 2848533 w 7714416"/>
              <a:gd name="connsiteY1925" fmla="*/ 4822271 h 5282095"/>
              <a:gd name="connsiteX1926" fmla="*/ 2847100 w 7714416"/>
              <a:gd name="connsiteY1926" fmla="*/ 4816384 h 5282095"/>
              <a:gd name="connsiteX1927" fmla="*/ 2865435 w 7714416"/>
              <a:gd name="connsiteY1927" fmla="*/ 4810829 h 5282095"/>
              <a:gd name="connsiteX1928" fmla="*/ 3932227 w 7714416"/>
              <a:gd name="connsiteY1928" fmla="*/ 4810829 h 5282095"/>
              <a:gd name="connsiteX1929" fmla="*/ 3944259 w 7714416"/>
              <a:gd name="connsiteY1929" fmla="*/ 4811829 h 5282095"/>
              <a:gd name="connsiteX1930" fmla="*/ 3940535 w 7714416"/>
              <a:gd name="connsiteY1930" fmla="*/ 4822049 h 5282095"/>
              <a:gd name="connsiteX1931" fmla="*/ 3934519 w 7714416"/>
              <a:gd name="connsiteY1931" fmla="*/ 4823938 h 5282095"/>
              <a:gd name="connsiteX1932" fmla="*/ 3927071 w 7714416"/>
              <a:gd name="connsiteY1932" fmla="*/ 4823270 h 5282095"/>
              <a:gd name="connsiteX1933" fmla="*/ 3915326 w 7714416"/>
              <a:gd name="connsiteY1933" fmla="*/ 4822271 h 5282095"/>
              <a:gd name="connsiteX1934" fmla="*/ 3913894 w 7714416"/>
              <a:gd name="connsiteY1934" fmla="*/ 4816384 h 5282095"/>
              <a:gd name="connsiteX1935" fmla="*/ 3932227 w 7714416"/>
              <a:gd name="connsiteY1935" fmla="*/ 4810829 h 5282095"/>
              <a:gd name="connsiteX1936" fmla="*/ 5640128 w 7714416"/>
              <a:gd name="connsiteY1936" fmla="*/ 4809163 h 5282095"/>
              <a:gd name="connsiteX1937" fmla="*/ 5640414 w 7714416"/>
              <a:gd name="connsiteY1937" fmla="*/ 4812829 h 5282095"/>
              <a:gd name="connsiteX1938" fmla="*/ 5639555 w 7714416"/>
              <a:gd name="connsiteY1938" fmla="*/ 4814495 h 5282095"/>
              <a:gd name="connsiteX1939" fmla="*/ 5640128 w 7714416"/>
              <a:gd name="connsiteY1939" fmla="*/ 4815495 h 5282095"/>
              <a:gd name="connsiteX1940" fmla="*/ 5638409 w 7714416"/>
              <a:gd name="connsiteY1940" fmla="*/ 4816050 h 5282095"/>
              <a:gd name="connsiteX1941" fmla="*/ 5638122 w 7714416"/>
              <a:gd name="connsiteY1941" fmla="*/ 4816495 h 5282095"/>
              <a:gd name="connsiteX1942" fmla="*/ 5637550 w 7714416"/>
              <a:gd name="connsiteY1942" fmla="*/ 4817717 h 5282095"/>
              <a:gd name="connsiteX1943" fmla="*/ 5644998 w 7714416"/>
              <a:gd name="connsiteY1943" fmla="*/ 4816384 h 5282095"/>
              <a:gd name="connsiteX1944" fmla="*/ 5665050 w 7714416"/>
              <a:gd name="connsiteY1944" fmla="*/ 4820938 h 5282095"/>
              <a:gd name="connsiteX1945" fmla="*/ 5644424 w 7714416"/>
              <a:gd name="connsiteY1945" fmla="*/ 4824382 h 5282095"/>
              <a:gd name="connsiteX1946" fmla="*/ 5635831 w 7714416"/>
              <a:gd name="connsiteY1946" fmla="*/ 4823271 h 5282095"/>
              <a:gd name="connsiteX1947" fmla="*/ 5635831 w 7714416"/>
              <a:gd name="connsiteY1947" fmla="*/ 4823826 h 5282095"/>
              <a:gd name="connsiteX1948" fmla="*/ 5635544 w 7714416"/>
              <a:gd name="connsiteY1948" fmla="*/ 4827159 h 5282095"/>
              <a:gd name="connsiteX1949" fmla="*/ 5628669 w 7714416"/>
              <a:gd name="connsiteY1949" fmla="*/ 4834601 h 5282095"/>
              <a:gd name="connsiteX1950" fmla="*/ 5624372 w 7714416"/>
              <a:gd name="connsiteY1950" fmla="*/ 4833490 h 5282095"/>
              <a:gd name="connsiteX1951" fmla="*/ 5622367 w 7714416"/>
              <a:gd name="connsiteY1951" fmla="*/ 4836711 h 5282095"/>
              <a:gd name="connsiteX1952" fmla="*/ 5615205 w 7714416"/>
              <a:gd name="connsiteY1952" fmla="*/ 4842710 h 5282095"/>
              <a:gd name="connsiteX1953" fmla="*/ 5614919 w 7714416"/>
              <a:gd name="connsiteY1953" fmla="*/ 4842710 h 5282095"/>
              <a:gd name="connsiteX1954" fmla="*/ 5611768 w 7714416"/>
              <a:gd name="connsiteY1954" fmla="*/ 4845153 h 5282095"/>
              <a:gd name="connsiteX1955" fmla="*/ 5572808 w 7714416"/>
              <a:gd name="connsiteY1955" fmla="*/ 4842821 h 5282095"/>
              <a:gd name="connsiteX1956" fmla="*/ 5573095 w 7714416"/>
              <a:gd name="connsiteY1956" fmla="*/ 4841267 h 5282095"/>
              <a:gd name="connsiteX1957" fmla="*/ 5570803 w 7714416"/>
              <a:gd name="connsiteY1957" fmla="*/ 4846487 h 5282095"/>
              <a:gd name="connsiteX1958" fmla="*/ 5562209 w 7714416"/>
              <a:gd name="connsiteY1958" fmla="*/ 4845821 h 5282095"/>
              <a:gd name="connsiteX1959" fmla="*/ 5559631 w 7714416"/>
              <a:gd name="connsiteY1959" fmla="*/ 4844154 h 5282095"/>
              <a:gd name="connsiteX1960" fmla="*/ 5559058 w 7714416"/>
              <a:gd name="connsiteY1960" fmla="*/ 4847376 h 5282095"/>
              <a:gd name="connsiteX1961" fmla="*/ 5547312 w 7714416"/>
              <a:gd name="connsiteY1961" fmla="*/ 4846154 h 5282095"/>
              <a:gd name="connsiteX1962" fmla="*/ 5548746 w 7714416"/>
              <a:gd name="connsiteY1962" fmla="*/ 4840155 h 5282095"/>
              <a:gd name="connsiteX1963" fmla="*/ 5555048 w 7714416"/>
              <a:gd name="connsiteY1963" fmla="*/ 4840044 h 5282095"/>
              <a:gd name="connsiteX1964" fmla="*/ 5552470 w 7714416"/>
              <a:gd name="connsiteY1964" fmla="*/ 4835268 h 5282095"/>
              <a:gd name="connsiteX1965" fmla="*/ 5553616 w 7714416"/>
              <a:gd name="connsiteY1965" fmla="*/ 4829603 h 5282095"/>
              <a:gd name="connsiteX1966" fmla="*/ 5566506 w 7714416"/>
              <a:gd name="connsiteY1966" fmla="*/ 4832157 h 5282095"/>
              <a:gd name="connsiteX1967" fmla="*/ 5573095 w 7714416"/>
              <a:gd name="connsiteY1967" fmla="*/ 4840933 h 5282095"/>
              <a:gd name="connsiteX1968" fmla="*/ 5574814 w 7714416"/>
              <a:gd name="connsiteY1968" fmla="*/ 4830936 h 5282095"/>
              <a:gd name="connsiteX1969" fmla="*/ 5605752 w 7714416"/>
              <a:gd name="connsiteY1969" fmla="*/ 4813829 h 5282095"/>
              <a:gd name="connsiteX1970" fmla="*/ 5618643 w 7714416"/>
              <a:gd name="connsiteY1970" fmla="*/ 4819494 h 5282095"/>
              <a:gd name="connsiteX1971" fmla="*/ 5621508 w 7714416"/>
              <a:gd name="connsiteY1971" fmla="*/ 4824826 h 5282095"/>
              <a:gd name="connsiteX1972" fmla="*/ 5624945 w 7714416"/>
              <a:gd name="connsiteY1972" fmla="*/ 4828159 h 5282095"/>
              <a:gd name="connsiteX1973" fmla="*/ 5624372 w 7714416"/>
              <a:gd name="connsiteY1973" fmla="*/ 4827048 h 5282095"/>
              <a:gd name="connsiteX1974" fmla="*/ 5628382 w 7714416"/>
              <a:gd name="connsiteY1974" fmla="*/ 4821049 h 5282095"/>
              <a:gd name="connsiteX1975" fmla="*/ 5626091 w 7714416"/>
              <a:gd name="connsiteY1975" fmla="*/ 4820160 h 5282095"/>
              <a:gd name="connsiteX1976" fmla="*/ 5629528 w 7714416"/>
              <a:gd name="connsiteY1976" fmla="*/ 4819383 h 5282095"/>
              <a:gd name="connsiteX1977" fmla="*/ 5631534 w 7714416"/>
              <a:gd name="connsiteY1977" fmla="*/ 4815939 h 5282095"/>
              <a:gd name="connsiteX1978" fmla="*/ 5640128 w 7714416"/>
              <a:gd name="connsiteY1978" fmla="*/ 4809163 h 5282095"/>
              <a:gd name="connsiteX1979" fmla="*/ 4332418 w 7714416"/>
              <a:gd name="connsiteY1979" fmla="*/ 4809163 h 5282095"/>
              <a:gd name="connsiteX1980" fmla="*/ 4332704 w 7714416"/>
              <a:gd name="connsiteY1980" fmla="*/ 4812829 h 5282095"/>
              <a:gd name="connsiteX1981" fmla="*/ 4331558 w 7714416"/>
              <a:gd name="connsiteY1981" fmla="*/ 4814495 h 5282095"/>
              <a:gd name="connsiteX1982" fmla="*/ 4332132 w 7714416"/>
              <a:gd name="connsiteY1982" fmla="*/ 4815495 h 5282095"/>
              <a:gd name="connsiteX1983" fmla="*/ 4330699 w 7714416"/>
              <a:gd name="connsiteY1983" fmla="*/ 4816050 h 5282095"/>
              <a:gd name="connsiteX1984" fmla="*/ 4330412 w 7714416"/>
              <a:gd name="connsiteY1984" fmla="*/ 4816495 h 5282095"/>
              <a:gd name="connsiteX1985" fmla="*/ 4329840 w 7714416"/>
              <a:gd name="connsiteY1985" fmla="*/ 4817716 h 5282095"/>
              <a:gd name="connsiteX1986" fmla="*/ 4337288 w 7714416"/>
              <a:gd name="connsiteY1986" fmla="*/ 4816384 h 5282095"/>
              <a:gd name="connsiteX1987" fmla="*/ 4357340 w 7714416"/>
              <a:gd name="connsiteY1987" fmla="*/ 4820937 h 5282095"/>
              <a:gd name="connsiteX1988" fmla="*/ 4336715 w 7714416"/>
              <a:gd name="connsiteY1988" fmla="*/ 4824382 h 5282095"/>
              <a:gd name="connsiteX1989" fmla="*/ 4328121 w 7714416"/>
              <a:gd name="connsiteY1989" fmla="*/ 4823271 h 5282095"/>
              <a:gd name="connsiteX1990" fmla="*/ 4327834 w 7714416"/>
              <a:gd name="connsiteY1990" fmla="*/ 4823826 h 5282095"/>
              <a:gd name="connsiteX1991" fmla="*/ 4327834 w 7714416"/>
              <a:gd name="connsiteY1991" fmla="*/ 4827159 h 5282095"/>
              <a:gd name="connsiteX1992" fmla="*/ 4320959 w 7714416"/>
              <a:gd name="connsiteY1992" fmla="*/ 4834601 h 5282095"/>
              <a:gd name="connsiteX1993" fmla="*/ 4316662 w 7714416"/>
              <a:gd name="connsiteY1993" fmla="*/ 4833490 h 5282095"/>
              <a:gd name="connsiteX1994" fmla="*/ 4314657 w 7714416"/>
              <a:gd name="connsiteY1994" fmla="*/ 4836712 h 5282095"/>
              <a:gd name="connsiteX1995" fmla="*/ 4307496 w 7714416"/>
              <a:gd name="connsiteY1995" fmla="*/ 4842710 h 5282095"/>
              <a:gd name="connsiteX1996" fmla="*/ 4306922 w 7714416"/>
              <a:gd name="connsiteY1996" fmla="*/ 4842710 h 5282095"/>
              <a:gd name="connsiteX1997" fmla="*/ 4304058 w 7714416"/>
              <a:gd name="connsiteY1997" fmla="*/ 4845154 h 5282095"/>
              <a:gd name="connsiteX1998" fmla="*/ 4265099 w 7714416"/>
              <a:gd name="connsiteY1998" fmla="*/ 4842821 h 5282095"/>
              <a:gd name="connsiteX1999" fmla="*/ 4265385 w 7714416"/>
              <a:gd name="connsiteY1999" fmla="*/ 4841266 h 5282095"/>
              <a:gd name="connsiteX2000" fmla="*/ 4263094 w 7714416"/>
              <a:gd name="connsiteY2000" fmla="*/ 4846487 h 5282095"/>
              <a:gd name="connsiteX2001" fmla="*/ 4254500 w 7714416"/>
              <a:gd name="connsiteY2001" fmla="*/ 4845821 h 5282095"/>
              <a:gd name="connsiteX2002" fmla="*/ 4251922 w 7714416"/>
              <a:gd name="connsiteY2002" fmla="*/ 4844154 h 5282095"/>
              <a:gd name="connsiteX2003" fmla="*/ 4251348 w 7714416"/>
              <a:gd name="connsiteY2003" fmla="*/ 4847376 h 5282095"/>
              <a:gd name="connsiteX2004" fmla="*/ 4239604 w 7714416"/>
              <a:gd name="connsiteY2004" fmla="*/ 4846155 h 5282095"/>
              <a:gd name="connsiteX2005" fmla="*/ 4241036 w 7714416"/>
              <a:gd name="connsiteY2005" fmla="*/ 4840155 h 5282095"/>
              <a:gd name="connsiteX2006" fmla="*/ 4247052 w 7714416"/>
              <a:gd name="connsiteY2006" fmla="*/ 4840044 h 5282095"/>
              <a:gd name="connsiteX2007" fmla="*/ 4244760 w 7714416"/>
              <a:gd name="connsiteY2007" fmla="*/ 4835268 h 5282095"/>
              <a:gd name="connsiteX2008" fmla="*/ 4245906 w 7714416"/>
              <a:gd name="connsiteY2008" fmla="*/ 4829603 h 5282095"/>
              <a:gd name="connsiteX2009" fmla="*/ 4258796 w 7714416"/>
              <a:gd name="connsiteY2009" fmla="*/ 4832158 h 5282095"/>
              <a:gd name="connsiteX2010" fmla="*/ 4265385 w 7714416"/>
              <a:gd name="connsiteY2010" fmla="*/ 4840933 h 5282095"/>
              <a:gd name="connsiteX2011" fmla="*/ 4267104 w 7714416"/>
              <a:gd name="connsiteY2011" fmla="*/ 4830935 h 5282095"/>
              <a:gd name="connsiteX2012" fmla="*/ 4297756 w 7714416"/>
              <a:gd name="connsiteY2012" fmla="*/ 4813829 h 5282095"/>
              <a:gd name="connsiteX2013" fmla="*/ 4310933 w 7714416"/>
              <a:gd name="connsiteY2013" fmla="*/ 4819494 h 5282095"/>
              <a:gd name="connsiteX2014" fmla="*/ 4313798 w 7714416"/>
              <a:gd name="connsiteY2014" fmla="*/ 4824825 h 5282095"/>
              <a:gd name="connsiteX2015" fmla="*/ 4317235 w 7714416"/>
              <a:gd name="connsiteY2015" fmla="*/ 4828159 h 5282095"/>
              <a:gd name="connsiteX2016" fmla="*/ 4316662 w 7714416"/>
              <a:gd name="connsiteY2016" fmla="*/ 4827048 h 5282095"/>
              <a:gd name="connsiteX2017" fmla="*/ 4320386 w 7714416"/>
              <a:gd name="connsiteY2017" fmla="*/ 4821049 h 5282095"/>
              <a:gd name="connsiteX2018" fmla="*/ 4318382 w 7714416"/>
              <a:gd name="connsiteY2018" fmla="*/ 4820160 h 5282095"/>
              <a:gd name="connsiteX2019" fmla="*/ 4321532 w 7714416"/>
              <a:gd name="connsiteY2019" fmla="*/ 4819383 h 5282095"/>
              <a:gd name="connsiteX2020" fmla="*/ 4323824 w 7714416"/>
              <a:gd name="connsiteY2020" fmla="*/ 4815939 h 5282095"/>
              <a:gd name="connsiteX2021" fmla="*/ 4332418 w 7714416"/>
              <a:gd name="connsiteY2021" fmla="*/ 4809163 h 5282095"/>
              <a:gd name="connsiteX2022" fmla="*/ 3265625 w 7714416"/>
              <a:gd name="connsiteY2022" fmla="*/ 4809163 h 5282095"/>
              <a:gd name="connsiteX2023" fmla="*/ 3265911 w 7714416"/>
              <a:gd name="connsiteY2023" fmla="*/ 4812829 h 5282095"/>
              <a:gd name="connsiteX2024" fmla="*/ 3264765 w 7714416"/>
              <a:gd name="connsiteY2024" fmla="*/ 4814495 h 5282095"/>
              <a:gd name="connsiteX2025" fmla="*/ 3265338 w 7714416"/>
              <a:gd name="connsiteY2025" fmla="*/ 4815495 h 5282095"/>
              <a:gd name="connsiteX2026" fmla="*/ 3263906 w 7714416"/>
              <a:gd name="connsiteY2026" fmla="*/ 4816049 h 5282095"/>
              <a:gd name="connsiteX2027" fmla="*/ 3263620 w 7714416"/>
              <a:gd name="connsiteY2027" fmla="*/ 4816495 h 5282095"/>
              <a:gd name="connsiteX2028" fmla="*/ 3263047 w 7714416"/>
              <a:gd name="connsiteY2028" fmla="*/ 4817717 h 5282095"/>
              <a:gd name="connsiteX2029" fmla="*/ 3270495 w 7714416"/>
              <a:gd name="connsiteY2029" fmla="*/ 4816384 h 5282095"/>
              <a:gd name="connsiteX2030" fmla="*/ 3290548 w 7714416"/>
              <a:gd name="connsiteY2030" fmla="*/ 4820938 h 5282095"/>
              <a:gd name="connsiteX2031" fmla="*/ 3269923 w 7714416"/>
              <a:gd name="connsiteY2031" fmla="*/ 4824381 h 5282095"/>
              <a:gd name="connsiteX2032" fmla="*/ 3261329 w 7714416"/>
              <a:gd name="connsiteY2032" fmla="*/ 4823270 h 5282095"/>
              <a:gd name="connsiteX2033" fmla="*/ 3261041 w 7714416"/>
              <a:gd name="connsiteY2033" fmla="*/ 4823826 h 5282095"/>
              <a:gd name="connsiteX2034" fmla="*/ 3261041 w 7714416"/>
              <a:gd name="connsiteY2034" fmla="*/ 4827158 h 5282095"/>
              <a:gd name="connsiteX2035" fmla="*/ 3254167 w 7714416"/>
              <a:gd name="connsiteY2035" fmla="*/ 4834602 h 5282095"/>
              <a:gd name="connsiteX2036" fmla="*/ 3249869 w 7714416"/>
              <a:gd name="connsiteY2036" fmla="*/ 4833490 h 5282095"/>
              <a:gd name="connsiteX2037" fmla="*/ 3247864 w 7714416"/>
              <a:gd name="connsiteY2037" fmla="*/ 4836711 h 5282095"/>
              <a:gd name="connsiteX2038" fmla="*/ 3247292 w 7714416"/>
              <a:gd name="connsiteY2038" fmla="*/ 4837711 h 5282095"/>
              <a:gd name="connsiteX2039" fmla="*/ 3256458 w 7714416"/>
              <a:gd name="connsiteY2039" fmla="*/ 4835379 h 5282095"/>
              <a:gd name="connsiteX2040" fmla="*/ 3260468 w 7714416"/>
              <a:gd name="connsiteY2040" fmla="*/ 4835267 h 5282095"/>
              <a:gd name="connsiteX2041" fmla="*/ 3261042 w 7714416"/>
              <a:gd name="connsiteY2041" fmla="*/ 4832713 h 5282095"/>
              <a:gd name="connsiteX2042" fmla="*/ 3264765 w 7714416"/>
              <a:gd name="connsiteY2042" fmla="*/ 4829936 h 5282095"/>
              <a:gd name="connsiteX2043" fmla="*/ 3285964 w 7714416"/>
              <a:gd name="connsiteY2043" fmla="*/ 4840822 h 5282095"/>
              <a:gd name="connsiteX2044" fmla="*/ 3284245 w 7714416"/>
              <a:gd name="connsiteY2044" fmla="*/ 4842266 h 5282095"/>
              <a:gd name="connsiteX2045" fmla="*/ 3294558 w 7714416"/>
              <a:gd name="connsiteY2045" fmla="*/ 4852485 h 5282095"/>
              <a:gd name="connsiteX2046" fmla="*/ 3267630 w 7714416"/>
              <a:gd name="connsiteY2046" fmla="*/ 4869925 h 5282095"/>
              <a:gd name="connsiteX2047" fmla="*/ 3231822 w 7714416"/>
              <a:gd name="connsiteY2047" fmla="*/ 4855374 h 5282095"/>
              <a:gd name="connsiteX2048" fmla="*/ 3237551 w 7714416"/>
              <a:gd name="connsiteY2048" fmla="*/ 4844932 h 5282095"/>
              <a:gd name="connsiteX2049" fmla="*/ 3237266 w 7714416"/>
              <a:gd name="connsiteY2049" fmla="*/ 4845154 h 5282095"/>
              <a:gd name="connsiteX2050" fmla="*/ 3198306 w 7714416"/>
              <a:gd name="connsiteY2050" fmla="*/ 4842821 h 5282095"/>
              <a:gd name="connsiteX2051" fmla="*/ 3198592 w 7714416"/>
              <a:gd name="connsiteY2051" fmla="*/ 4841266 h 5282095"/>
              <a:gd name="connsiteX2052" fmla="*/ 3196300 w 7714416"/>
              <a:gd name="connsiteY2052" fmla="*/ 4846487 h 5282095"/>
              <a:gd name="connsiteX2053" fmla="*/ 3187706 w 7714416"/>
              <a:gd name="connsiteY2053" fmla="*/ 4845821 h 5282095"/>
              <a:gd name="connsiteX2054" fmla="*/ 3185128 w 7714416"/>
              <a:gd name="connsiteY2054" fmla="*/ 4844154 h 5282095"/>
              <a:gd name="connsiteX2055" fmla="*/ 3184556 w 7714416"/>
              <a:gd name="connsiteY2055" fmla="*/ 4847375 h 5282095"/>
              <a:gd name="connsiteX2056" fmla="*/ 3182264 w 7714416"/>
              <a:gd name="connsiteY2056" fmla="*/ 4847265 h 5282095"/>
              <a:gd name="connsiteX2057" fmla="*/ 3181404 w 7714416"/>
              <a:gd name="connsiteY2057" fmla="*/ 4851486 h 5282095"/>
              <a:gd name="connsiteX2058" fmla="*/ 3167655 w 7714416"/>
              <a:gd name="connsiteY2058" fmla="*/ 4856707 h 5282095"/>
              <a:gd name="connsiteX2059" fmla="*/ 3161352 w 7714416"/>
              <a:gd name="connsiteY2059" fmla="*/ 4856263 h 5282095"/>
              <a:gd name="connsiteX2060" fmla="*/ 3164504 w 7714416"/>
              <a:gd name="connsiteY2060" fmla="*/ 4831046 h 5282095"/>
              <a:gd name="connsiteX2061" fmla="*/ 3169946 w 7714416"/>
              <a:gd name="connsiteY2061" fmla="*/ 4831158 h 5282095"/>
              <a:gd name="connsiteX2062" fmla="*/ 3177680 w 7714416"/>
              <a:gd name="connsiteY2062" fmla="*/ 4833602 h 5282095"/>
              <a:gd name="connsiteX2063" fmla="*/ 3175389 w 7714416"/>
              <a:gd name="connsiteY2063" fmla="*/ 4839156 h 5282095"/>
              <a:gd name="connsiteX2064" fmla="*/ 3175961 w 7714416"/>
              <a:gd name="connsiteY2064" fmla="*/ 4840044 h 5282095"/>
              <a:gd name="connsiteX2065" fmla="*/ 3180259 w 7714416"/>
              <a:gd name="connsiteY2065" fmla="*/ 4840044 h 5282095"/>
              <a:gd name="connsiteX2066" fmla="*/ 3177967 w 7714416"/>
              <a:gd name="connsiteY2066" fmla="*/ 4835268 h 5282095"/>
              <a:gd name="connsiteX2067" fmla="*/ 3179113 w 7714416"/>
              <a:gd name="connsiteY2067" fmla="*/ 4829602 h 5282095"/>
              <a:gd name="connsiteX2068" fmla="*/ 3192003 w 7714416"/>
              <a:gd name="connsiteY2068" fmla="*/ 4832157 h 5282095"/>
              <a:gd name="connsiteX2069" fmla="*/ 3198592 w 7714416"/>
              <a:gd name="connsiteY2069" fmla="*/ 4840933 h 5282095"/>
              <a:gd name="connsiteX2070" fmla="*/ 3200312 w 7714416"/>
              <a:gd name="connsiteY2070" fmla="*/ 4830935 h 5282095"/>
              <a:gd name="connsiteX2071" fmla="*/ 3230964 w 7714416"/>
              <a:gd name="connsiteY2071" fmla="*/ 4813829 h 5282095"/>
              <a:gd name="connsiteX2072" fmla="*/ 3244140 w 7714416"/>
              <a:gd name="connsiteY2072" fmla="*/ 4819494 h 5282095"/>
              <a:gd name="connsiteX2073" fmla="*/ 3247005 w 7714416"/>
              <a:gd name="connsiteY2073" fmla="*/ 4824826 h 5282095"/>
              <a:gd name="connsiteX2074" fmla="*/ 3250442 w 7714416"/>
              <a:gd name="connsiteY2074" fmla="*/ 4828159 h 5282095"/>
              <a:gd name="connsiteX2075" fmla="*/ 3249870 w 7714416"/>
              <a:gd name="connsiteY2075" fmla="*/ 4827047 h 5282095"/>
              <a:gd name="connsiteX2076" fmla="*/ 3253593 w 7714416"/>
              <a:gd name="connsiteY2076" fmla="*/ 4821048 h 5282095"/>
              <a:gd name="connsiteX2077" fmla="*/ 3251589 w 7714416"/>
              <a:gd name="connsiteY2077" fmla="*/ 4820160 h 5282095"/>
              <a:gd name="connsiteX2078" fmla="*/ 3254739 w 7714416"/>
              <a:gd name="connsiteY2078" fmla="*/ 4819383 h 5282095"/>
              <a:gd name="connsiteX2079" fmla="*/ 3257031 w 7714416"/>
              <a:gd name="connsiteY2079" fmla="*/ 4815939 h 5282095"/>
              <a:gd name="connsiteX2080" fmla="*/ 3265625 w 7714416"/>
              <a:gd name="connsiteY2080" fmla="*/ 4809163 h 5282095"/>
              <a:gd name="connsiteX2081" fmla="*/ 2585845 w 7714416"/>
              <a:gd name="connsiteY2081" fmla="*/ 4807275 h 5282095"/>
              <a:gd name="connsiteX2082" fmla="*/ 2593579 w 7714416"/>
              <a:gd name="connsiteY2082" fmla="*/ 4813273 h 5282095"/>
              <a:gd name="connsiteX2083" fmla="*/ 2584413 w 7714416"/>
              <a:gd name="connsiteY2083" fmla="*/ 4817161 h 5282095"/>
              <a:gd name="connsiteX2084" fmla="*/ 2581834 w 7714416"/>
              <a:gd name="connsiteY2084" fmla="*/ 4808053 h 5282095"/>
              <a:gd name="connsiteX2085" fmla="*/ 2585845 w 7714416"/>
              <a:gd name="connsiteY2085" fmla="*/ 4807275 h 5282095"/>
              <a:gd name="connsiteX2086" fmla="*/ 4960348 w 7714416"/>
              <a:gd name="connsiteY2086" fmla="*/ 4807275 h 5282095"/>
              <a:gd name="connsiteX2087" fmla="*/ 4968369 w 7714416"/>
              <a:gd name="connsiteY2087" fmla="*/ 4813273 h 5282095"/>
              <a:gd name="connsiteX2088" fmla="*/ 4958916 w 7714416"/>
              <a:gd name="connsiteY2088" fmla="*/ 4817161 h 5282095"/>
              <a:gd name="connsiteX2089" fmla="*/ 4956337 w 7714416"/>
              <a:gd name="connsiteY2089" fmla="*/ 4808052 h 5282095"/>
              <a:gd name="connsiteX2090" fmla="*/ 4960348 w 7714416"/>
              <a:gd name="connsiteY2090" fmla="*/ 4807275 h 5282095"/>
              <a:gd name="connsiteX2091" fmla="*/ 3652638 w 7714416"/>
              <a:gd name="connsiteY2091" fmla="*/ 4807275 h 5282095"/>
              <a:gd name="connsiteX2092" fmla="*/ 3660373 w 7714416"/>
              <a:gd name="connsiteY2092" fmla="*/ 4813273 h 5282095"/>
              <a:gd name="connsiteX2093" fmla="*/ 3651206 w 7714416"/>
              <a:gd name="connsiteY2093" fmla="*/ 4817161 h 5282095"/>
              <a:gd name="connsiteX2094" fmla="*/ 3648628 w 7714416"/>
              <a:gd name="connsiteY2094" fmla="*/ 4808052 h 5282095"/>
              <a:gd name="connsiteX2095" fmla="*/ 3652638 w 7714416"/>
              <a:gd name="connsiteY2095" fmla="*/ 4807275 h 5282095"/>
              <a:gd name="connsiteX2096" fmla="*/ 2965697 w 7714416"/>
              <a:gd name="connsiteY2096" fmla="*/ 4803720 h 5282095"/>
              <a:gd name="connsiteX2097" fmla="*/ 2966557 w 7714416"/>
              <a:gd name="connsiteY2097" fmla="*/ 4808607 h 5282095"/>
              <a:gd name="connsiteX2098" fmla="*/ 2961974 w 7714416"/>
              <a:gd name="connsiteY2098" fmla="*/ 4810163 h 5282095"/>
              <a:gd name="connsiteX2099" fmla="*/ 2960541 w 7714416"/>
              <a:gd name="connsiteY2099" fmla="*/ 4804275 h 5282095"/>
              <a:gd name="connsiteX2100" fmla="*/ 2965697 w 7714416"/>
              <a:gd name="connsiteY2100" fmla="*/ 4803720 h 5282095"/>
              <a:gd name="connsiteX2101" fmla="*/ 5340486 w 7714416"/>
              <a:gd name="connsiteY2101" fmla="*/ 4803720 h 5282095"/>
              <a:gd name="connsiteX2102" fmla="*/ 5341345 w 7714416"/>
              <a:gd name="connsiteY2102" fmla="*/ 4808608 h 5282095"/>
              <a:gd name="connsiteX2103" fmla="*/ 5336476 w 7714416"/>
              <a:gd name="connsiteY2103" fmla="*/ 4810163 h 5282095"/>
              <a:gd name="connsiteX2104" fmla="*/ 5335043 w 7714416"/>
              <a:gd name="connsiteY2104" fmla="*/ 4804275 h 5282095"/>
              <a:gd name="connsiteX2105" fmla="*/ 5340486 w 7714416"/>
              <a:gd name="connsiteY2105" fmla="*/ 4803720 h 5282095"/>
              <a:gd name="connsiteX2106" fmla="*/ 4032490 w 7714416"/>
              <a:gd name="connsiteY2106" fmla="*/ 4803719 h 5282095"/>
              <a:gd name="connsiteX2107" fmla="*/ 4033349 w 7714416"/>
              <a:gd name="connsiteY2107" fmla="*/ 4808607 h 5282095"/>
              <a:gd name="connsiteX2108" fmla="*/ 4028766 w 7714416"/>
              <a:gd name="connsiteY2108" fmla="*/ 4810163 h 5282095"/>
              <a:gd name="connsiteX2109" fmla="*/ 4027333 w 7714416"/>
              <a:gd name="connsiteY2109" fmla="*/ 4804275 h 5282095"/>
              <a:gd name="connsiteX2110" fmla="*/ 4032490 w 7714416"/>
              <a:gd name="connsiteY2110" fmla="*/ 4803719 h 5282095"/>
              <a:gd name="connsiteX2111" fmla="*/ 5761875 w 7714416"/>
              <a:gd name="connsiteY2111" fmla="*/ 4801943 h 5282095"/>
              <a:gd name="connsiteX2112" fmla="*/ 5764453 w 7714416"/>
              <a:gd name="connsiteY2112" fmla="*/ 4809274 h 5282095"/>
              <a:gd name="connsiteX2113" fmla="*/ 5757578 w 7714416"/>
              <a:gd name="connsiteY2113" fmla="*/ 4810829 h 5282095"/>
              <a:gd name="connsiteX2114" fmla="*/ 5755000 w 7714416"/>
              <a:gd name="connsiteY2114" fmla="*/ 4803498 h 5282095"/>
              <a:gd name="connsiteX2115" fmla="*/ 5761875 w 7714416"/>
              <a:gd name="connsiteY2115" fmla="*/ 4801943 h 5282095"/>
              <a:gd name="connsiteX2116" fmla="*/ 3781547 w 7714416"/>
              <a:gd name="connsiteY2116" fmla="*/ 4801276 h 5282095"/>
              <a:gd name="connsiteX2117" fmla="*/ 3785271 w 7714416"/>
              <a:gd name="connsiteY2117" fmla="*/ 4804831 h 5282095"/>
              <a:gd name="connsiteX2118" fmla="*/ 3766937 w 7714416"/>
              <a:gd name="connsiteY2118" fmla="*/ 4830713 h 5282095"/>
              <a:gd name="connsiteX2119" fmla="*/ 3763500 w 7714416"/>
              <a:gd name="connsiteY2119" fmla="*/ 4832713 h 5282095"/>
              <a:gd name="connsiteX2120" fmla="*/ 3763500 w 7714416"/>
              <a:gd name="connsiteY2120" fmla="*/ 4834490 h 5282095"/>
              <a:gd name="connsiteX2121" fmla="*/ 3763500 w 7714416"/>
              <a:gd name="connsiteY2121" fmla="*/ 4837268 h 5282095"/>
              <a:gd name="connsiteX2122" fmla="*/ 3758057 w 7714416"/>
              <a:gd name="connsiteY2122" fmla="*/ 4840821 h 5282095"/>
              <a:gd name="connsiteX2123" fmla="*/ 3756625 w 7714416"/>
              <a:gd name="connsiteY2123" fmla="*/ 4834268 h 5282095"/>
              <a:gd name="connsiteX2124" fmla="*/ 3755765 w 7714416"/>
              <a:gd name="connsiteY2124" fmla="*/ 4831158 h 5282095"/>
              <a:gd name="connsiteX2125" fmla="*/ 3756625 w 7714416"/>
              <a:gd name="connsiteY2125" fmla="*/ 4835379 h 5282095"/>
              <a:gd name="connsiteX2126" fmla="*/ 3746598 w 7714416"/>
              <a:gd name="connsiteY2126" fmla="*/ 4844821 h 5282095"/>
              <a:gd name="connsiteX2127" fmla="*/ 3740869 w 7714416"/>
              <a:gd name="connsiteY2127" fmla="*/ 4833824 h 5282095"/>
              <a:gd name="connsiteX2128" fmla="*/ 3744307 w 7714416"/>
              <a:gd name="connsiteY2128" fmla="*/ 4830046 h 5282095"/>
              <a:gd name="connsiteX2129" fmla="*/ 3728838 w 7714416"/>
              <a:gd name="connsiteY2129" fmla="*/ 4828047 h 5282095"/>
              <a:gd name="connsiteX2130" fmla="*/ 3716520 w 7714416"/>
              <a:gd name="connsiteY2130" fmla="*/ 4820715 h 5282095"/>
              <a:gd name="connsiteX2131" fmla="*/ 3722823 w 7714416"/>
              <a:gd name="connsiteY2131" fmla="*/ 4818494 h 5282095"/>
              <a:gd name="connsiteX2132" fmla="*/ 3730843 w 7714416"/>
              <a:gd name="connsiteY2132" fmla="*/ 4818717 h 5282095"/>
              <a:gd name="connsiteX2133" fmla="*/ 3746598 w 7714416"/>
              <a:gd name="connsiteY2133" fmla="*/ 4823049 h 5282095"/>
              <a:gd name="connsiteX2134" fmla="*/ 3747744 w 7714416"/>
              <a:gd name="connsiteY2134" fmla="*/ 4826270 h 5282095"/>
              <a:gd name="connsiteX2135" fmla="*/ 3748890 w 7714416"/>
              <a:gd name="connsiteY2135" fmla="*/ 4824937 h 5282095"/>
              <a:gd name="connsiteX2136" fmla="*/ 3755192 w 7714416"/>
              <a:gd name="connsiteY2136" fmla="*/ 4828936 h 5282095"/>
              <a:gd name="connsiteX2137" fmla="*/ 3753474 w 7714416"/>
              <a:gd name="connsiteY2137" fmla="*/ 4818717 h 5282095"/>
              <a:gd name="connsiteX2138" fmla="*/ 3757198 w 7714416"/>
              <a:gd name="connsiteY2138" fmla="*/ 4818494 h 5282095"/>
              <a:gd name="connsiteX2139" fmla="*/ 3760350 w 7714416"/>
              <a:gd name="connsiteY2139" fmla="*/ 4820826 h 5282095"/>
              <a:gd name="connsiteX2140" fmla="*/ 3762354 w 7714416"/>
              <a:gd name="connsiteY2140" fmla="*/ 4825492 h 5282095"/>
              <a:gd name="connsiteX2141" fmla="*/ 3766651 w 7714416"/>
              <a:gd name="connsiteY2141" fmla="*/ 4817384 h 5282095"/>
              <a:gd name="connsiteX2142" fmla="*/ 3781547 w 7714416"/>
              <a:gd name="connsiteY2142" fmla="*/ 4801276 h 5282095"/>
              <a:gd name="connsiteX2143" fmla="*/ 5089257 w 7714416"/>
              <a:gd name="connsiteY2143" fmla="*/ 4801276 h 5282095"/>
              <a:gd name="connsiteX2144" fmla="*/ 5092981 w 7714416"/>
              <a:gd name="connsiteY2144" fmla="*/ 4804831 h 5282095"/>
              <a:gd name="connsiteX2145" fmla="*/ 5065766 w 7714416"/>
              <a:gd name="connsiteY2145" fmla="*/ 4835934 h 5282095"/>
              <a:gd name="connsiteX2146" fmla="*/ 5089257 w 7714416"/>
              <a:gd name="connsiteY2146" fmla="*/ 4801276 h 5282095"/>
              <a:gd name="connsiteX2147" fmla="*/ 2714754 w 7714416"/>
              <a:gd name="connsiteY2147" fmla="*/ 4801276 h 5282095"/>
              <a:gd name="connsiteX2148" fmla="*/ 2718479 w 7714416"/>
              <a:gd name="connsiteY2148" fmla="*/ 4804831 h 5282095"/>
              <a:gd name="connsiteX2149" fmla="*/ 2691264 w 7714416"/>
              <a:gd name="connsiteY2149" fmla="*/ 4835934 h 5282095"/>
              <a:gd name="connsiteX2150" fmla="*/ 2714754 w 7714416"/>
              <a:gd name="connsiteY2150" fmla="*/ 4801276 h 5282095"/>
              <a:gd name="connsiteX2151" fmla="*/ 2865721 w 7714416"/>
              <a:gd name="connsiteY2151" fmla="*/ 4799166 h 5282095"/>
              <a:gd name="connsiteX2152" fmla="*/ 2867154 w 7714416"/>
              <a:gd name="connsiteY2152" fmla="*/ 4800721 h 5282095"/>
              <a:gd name="connsiteX2153" fmla="*/ 2866008 w 7714416"/>
              <a:gd name="connsiteY2153" fmla="*/ 4802942 h 5282095"/>
              <a:gd name="connsiteX2154" fmla="*/ 2863142 w 7714416"/>
              <a:gd name="connsiteY2154" fmla="*/ 4807830 h 5282095"/>
              <a:gd name="connsiteX2155" fmla="*/ 2865721 w 7714416"/>
              <a:gd name="connsiteY2155" fmla="*/ 4799166 h 5282095"/>
              <a:gd name="connsiteX2156" fmla="*/ 5240510 w 7714416"/>
              <a:gd name="connsiteY2156" fmla="*/ 4799166 h 5282095"/>
              <a:gd name="connsiteX2157" fmla="*/ 5241657 w 7714416"/>
              <a:gd name="connsiteY2157" fmla="*/ 4800721 h 5282095"/>
              <a:gd name="connsiteX2158" fmla="*/ 5240796 w 7714416"/>
              <a:gd name="connsiteY2158" fmla="*/ 4802943 h 5282095"/>
              <a:gd name="connsiteX2159" fmla="*/ 5237932 w 7714416"/>
              <a:gd name="connsiteY2159" fmla="*/ 4807830 h 5282095"/>
              <a:gd name="connsiteX2160" fmla="*/ 5240510 w 7714416"/>
              <a:gd name="connsiteY2160" fmla="*/ 4799166 h 5282095"/>
              <a:gd name="connsiteX2161" fmla="*/ 3932514 w 7714416"/>
              <a:gd name="connsiteY2161" fmla="*/ 4799166 h 5282095"/>
              <a:gd name="connsiteX2162" fmla="*/ 3933946 w 7714416"/>
              <a:gd name="connsiteY2162" fmla="*/ 4800721 h 5282095"/>
              <a:gd name="connsiteX2163" fmla="*/ 3933086 w 7714416"/>
              <a:gd name="connsiteY2163" fmla="*/ 4802942 h 5282095"/>
              <a:gd name="connsiteX2164" fmla="*/ 3929936 w 7714416"/>
              <a:gd name="connsiteY2164" fmla="*/ 4807830 h 5282095"/>
              <a:gd name="connsiteX2165" fmla="*/ 3932514 w 7714416"/>
              <a:gd name="connsiteY2165" fmla="*/ 4799166 h 5282095"/>
              <a:gd name="connsiteX2166" fmla="*/ 4388851 w 7714416"/>
              <a:gd name="connsiteY2166" fmla="*/ 4795834 h 5282095"/>
              <a:gd name="connsiteX2167" fmla="*/ 4384841 w 7714416"/>
              <a:gd name="connsiteY2167" fmla="*/ 4812385 h 5282095"/>
              <a:gd name="connsiteX2168" fmla="*/ 4376247 w 7714416"/>
              <a:gd name="connsiteY2168" fmla="*/ 4812829 h 5282095"/>
              <a:gd name="connsiteX2169" fmla="*/ 4388851 w 7714416"/>
              <a:gd name="connsiteY2169" fmla="*/ 4795834 h 5282095"/>
              <a:gd name="connsiteX2170" fmla="*/ 2014350 w 7714416"/>
              <a:gd name="connsiteY2170" fmla="*/ 4795834 h 5282095"/>
              <a:gd name="connsiteX2171" fmla="*/ 2010053 w 7714416"/>
              <a:gd name="connsiteY2171" fmla="*/ 4812385 h 5282095"/>
              <a:gd name="connsiteX2172" fmla="*/ 2001745 w 7714416"/>
              <a:gd name="connsiteY2172" fmla="*/ 4812829 h 5282095"/>
              <a:gd name="connsiteX2173" fmla="*/ 2014350 w 7714416"/>
              <a:gd name="connsiteY2173" fmla="*/ 4795834 h 5282095"/>
              <a:gd name="connsiteX2174" fmla="*/ 5209285 w 7714416"/>
              <a:gd name="connsiteY2174" fmla="*/ 4795723 h 5282095"/>
              <a:gd name="connsiteX2175" fmla="*/ 5217593 w 7714416"/>
              <a:gd name="connsiteY2175" fmla="*/ 4796944 h 5282095"/>
              <a:gd name="connsiteX2176" fmla="*/ 5216160 w 7714416"/>
              <a:gd name="connsiteY2176" fmla="*/ 4804497 h 5282095"/>
              <a:gd name="connsiteX2177" fmla="*/ 5204988 w 7714416"/>
              <a:gd name="connsiteY2177" fmla="*/ 4799277 h 5282095"/>
              <a:gd name="connsiteX2178" fmla="*/ 5209285 w 7714416"/>
              <a:gd name="connsiteY2178" fmla="*/ 4795723 h 5282095"/>
              <a:gd name="connsiteX2179" fmla="*/ 3901576 w 7714416"/>
              <a:gd name="connsiteY2179" fmla="*/ 4795723 h 5282095"/>
              <a:gd name="connsiteX2180" fmla="*/ 3909883 w 7714416"/>
              <a:gd name="connsiteY2180" fmla="*/ 4796944 h 5282095"/>
              <a:gd name="connsiteX2181" fmla="*/ 3908450 w 7714416"/>
              <a:gd name="connsiteY2181" fmla="*/ 4804497 h 5282095"/>
              <a:gd name="connsiteX2182" fmla="*/ 3897278 w 7714416"/>
              <a:gd name="connsiteY2182" fmla="*/ 4799277 h 5282095"/>
              <a:gd name="connsiteX2183" fmla="*/ 3901576 w 7714416"/>
              <a:gd name="connsiteY2183" fmla="*/ 4795723 h 5282095"/>
              <a:gd name="connsiteX2184" fmla="*/ 2834782 w 7714416"/>
              <a:gd name="connsiteY2184" fmla="*/ 4795722 h 5282095"/>
              <a:gd name="connsiteX2185" fmla="*/ 2843090 w 7714416"/>
              <a:gd name="connsiteY2185" fmla="*/ 4796944 h 5282095"/>
              <a:gd name="connsiteX2186" fmla="*/ 2841658 w 7714416"/>
              <a:gd name="connsiteY2186" fmla="*/ 4804497 h 5282095"/>
              <a:gd name="connsiteX2187" fmla="*/ 2830199 w 7714416"/>
              <a:gd name="connsiteY2187" fmla="*/ 4799276 h 5282095"/>
              <a:gd name="connsiteX2188" fmla="*/ 2834782 w 7714416"/>
              <a:gd name="connsiteY2188" fmla="*/ 4795722 h 5282095"/>
              <a:gd name="connsiteX2189" fmla="*/ 5985890 w 7714416"/>
              <a:gd name="connsiteY2189" fmla="*/ 4795611 h 5282095"/>
              <a:gd name="connsiteX2190" fmla="*/ 6000500 w 7714416"/>
              <a:gd name="connsiteY2190" fmla="*/ 4804387 h 5282095"/>
              <a:gd name="connsiteX2191" fmla="*/ 6002792 w 7714416"/>
              <a:gd name="connsiteY2191" fmla="*/ 4808608 h 5282095"/>
              <a:gd name="connsiteX2192" fmla="*/ 5976437 w 7714416"/>
              <a:gd name="connsiteY2192" fmla="*/ 4803498 h 5282095"/>
              <a:gd name="connsiteX2193" fmla="*/ 5985890 w 7714416"/>
              <a:gd name="connsiteY2193" fmla="*/ 4795611 h 5282095"/>
              <a:gd name="connsiteX2194" fmla="*/ 4946024 w 7714416"/>
              <a:gd name="connsiteY2194" fmla="*/ 4795611 h 5282095"/>
              <a:gd name="connsiteX2195" fmla="*/ 4945738 w 7714416"/>
              <a:gd name="connsiteY2195" fmla="*/ 4796278 h 5282095"/>
              <a:gd name="connsiteX2196" fmla="*/ 4946598 w 7714416"/>
              <a:gd name="connsiteY2196" fmla="*/ 4796277 h 5282095"/>
              <a:gd name="connsiteX2197" fmla="*/ 5462520 w 7714416"/>
              <a:gd name="connsiteY2197" fmla="*/ 4795500 h 5282095"/>
              <a:gd name="connsiteX2198" fmla="*/ 5463952 w 7714416"/>
              <a:gd name="connsiteY2198" fmla="*/ 4795500 h 5282095"/>
              <a:gd name="connsiteX2199" fmla="*/ 5464525 w 7714416"/>
              <a:gd name="connsiteY2199" fmla="*/ 4796611 h 5282095"/>
              <a:gd name="connsiteX2200" fmla="*/ 5457936 w 7714416"/>
              <a:gd name="connsiteY2200" fmla="*/ 4797500 h 5282095"/>
              <a:gd name="connsiteX2201" fmla="*/ 5462520 w 7714416"/>
              <a:gd name="connsiteY2201" fmla="*/ 4795500 h 5282095"/>
              <a:gd name="connsiteX2202" fmla="*/ 4156242 w 7714416"/>
              <a:gd name="connsiteY2202" fmla="*/ 4795500 h 5282095"/>
              <a:gd name="connsiteX2203" fmla="*/ 4156815 w 7714416"/>
              <a:gd name="connsiteY2203" fmla="*/ 4796611 h 5282095"/>
              <a:gd name="connsiteX2204" fmla="*/ 4150226 w 7714416"/>
              <a:gd name="connsiteY2204" fmla="*/ 4797500 h 5282095"/>
              <a:gd name="connsiteX2205" fmla="*/ 4154810 w 7714416"/>
              <a:gd name="connsiteY2205" fmla="*/ 4795500 h 5282095"/>
              <a:gd name="connsiteX2206" fmla="*/ 4156242 w 7714416"/>
              <a:gd name="connsiteY2206" fmla="*/ 4795500 h 5282095"/>
              <a:gd name="connsiteX2207" fmla="*/ 3088018 w 7714416"/>
              <a:gd name="connsiteY2207" fmla="*/ 4795500 h 5282095"/>
              <a:gd name="connsiteX2208" fmla="*/ 3089449 w 7714416"/>
              <a:gd name="connsiteY2208" fmla="*/ 4795500 h 5282095"/>
              <a:gd name="connsiteX2209" fmla="*/ 3090022 w 7714416"/>
              <a:gd name="connsiteY2209" fmla="*/ 4796611 h 5282095"/>
              <a:gd name="connsiteX2210" fmla="*/ 3083434 w 7714416"/>
              <a:gd name="connsiteY2210" fmla="*/ 4797500 h 5282095"/>
              <a:gd name="connsiteX2211" fmla="*/ 3088018 w 7714416"/>
              <a:gd name="connsiteY2211" fmla="*/ 4795500 h 5282095"/>
              <a:gd name="connsiteX2212" fmla="*/ 5449915 w 7714416"/>
              <a:gd name="connsiteY2212" fmla="*/ 4793834 h 5282095"/>
              <a:gd name="connsiteX2213" fmla="*/ 5450488 w 7714416"/>
              <a:gd name="connsiteY2213" fmla="*/ 4801499 h 5282095"/>
              <a:gd name="connsiteX2214" fmla="*/ 5439030 w 7714416"/>
              <a:gd name="connsiteY2214" fmla="*/ 4795277 h 5282095"/>
              <a:gd name="connsiteX2215" fmla="*/ 5449915 w 7714416"/>
              <a:gd name="connsiteY2215" fmla="*/ 4793834 h 5282095"/>
              <a:gd name="connsiteX2216" fmla="*/ 4142206 w 7714416"/>
              <a:gd name="connsiteY2216" fmla="*/ 4793834 h 5282095"/>
              <a:gd name="connsiteX2217" fmla="*/ 4142778 w 7714416"/>
              <a:gd name="connsiteY2217" fmla="*/ 4801498 h 5282095"/>
              <a:gd name="connsiteX2218" fmla="*/ 4131034 w 7714416"/>
              <a:gd name="connsiteY2218" fmla="*/ 4795278 h 5282095"/>
              <a:gd name="connsiteX2219" fmla="*/ 4142206 w 7714416"/>
              <a:gd name="connsiteY2219" fmla="*/ 4793834 h 5282095"/>
              <a:gd name="connsiteX2220" fmla="*/ 3075412 w 7714416"/>
              <a:gd name="connsiteY2220" fmla="*/ 4793834 h 5282095"/>
              <a:gd name="connsiteX2221" fmla="*/ 3075412 w 7714416"/>
              <a:gd name="connsiteY2221" fmla="*/ 4796944 h 5282095"/>
              <a:gd name="connsiteX2222" fmla="*/ 3081142 w 7714416"/>
              <a:gd name="connsiteY2222" fmla="*/ 4795834 h 5282095"/>
              <a:gd name="connsiteX2223" fmla="*/ 3076846 w 7714416"/>
              <a:gd name="connsiteY2223" fmla="*/ 4812385 h 5282095"/>
              <a:gd name="connsiteX2224" fmla="*/ 3068538 w 7714416"/>
              <a:gd name="connsiteY2224" fmla="*/ 4812829 h 5282095"/>
              <a:gd name="connsiteX2225" fmla="*/ 3067106 w 7714416"/>
              <a:gd name="connsiteY2225" fmla="*/ 4801610 h 5282095"/>
              <a:gd name="connsiteX2226" fmla="*/ 3068252 w 7714416"/>
              <a:gd name="connsiteY2226" fmla="*/ 4800721 h 5282095"/>
              <a:gd name="connsiteX2227" fmla="*/ 3067106 w 7714416"/>
              <a:gd name="connsiteY2227" fmla="*/ 4800610 h 5282095"/>
              <a:gd name="connsiteX2228" fmla="*/ 3064240 w 7714416"/>
              <a:gd name="connsiteY2228" fmla="*/ 4795277 h 5282095"/>
              <a:gd name="connsiteX2229" fmla="*/ 3075412 w 7714416"/>
              <a:gd name="connsiteY2229" fmla="*/ 4793834 h 5282095"/>
              <a:gd name="connsiteX2230" fmla="*/ 2491313 w 7714416"/>
              <a:gd name="connsiteY2230" fmla="*/ 4792945 h 5282095"/>
              <a:gd name="connsiteX2231" fmla="*/ 2491025 w 7714416"/>
              <a:gd name="connsiteY2231" fmla="*/ 4796611 h 5282095"/>
              <a:gd name="connsiteX2232" fmla="*/ 2487875 w 7714416"/>
              <a:gd name="connsiteY2232" fmla="*/ 4797500 h 5282095"/>
              <a:gd name="connsiteX2233" fmla="*/ 2486155 w 7714416"/>
              <a:gd name="connsiteY2233" fmla="*/ 4801054 h 5282095"/>
              <a:gd name="connsiteX2234" fmla="*/ 2482718 w 7714416"/>
              <a:gd name="connsiteY2234" fmla="*/ 4800721 h 5282095"/>
              <a:gd name="connsiteX2235" fmla="*/ 2486155 w 7714416"/>
              <a:gd name="connsiteY2235" fmla="*/ 4793834 h 5282095"/>
              <a:gd name="connsiteX2236" fmla="*/ 2491313 w 7714416"/>
              <a:gd name="connsiteY2236" fmla="*/ 4792945 h 5282095"/>
              <a:gd name="connsiteX2237" fmla="*/ 3558106 w 7714416"/>
              <a:gd name="connsiteY2237" fmla="*/ 4792945 h 5282095"/>
              <a:gd name="connsiteX2238" fmla="*/ 3557818 w 7714416"/>
              <a:gd name="connsiteY2238" fmla="*/ 4796611 h 5282095"/>
              <a:gd name="connsiteX2239" fmla="*/ 3554668 w 7714416"/>
              <a:gd name="connsiteY2239" fmla="*/ 4797500 h 5282095"/>
              <a:gd name="connsiteX2240" fmla="*/ 3552949 w 7714416"/>
              <a:gd name="connsiteY2240" fmla="*/ 4801054 h 5282095"/>
              <a:gd name="connsiteX2241" fmla="*/ 3549511 w 7714416"/>
              <a:gd name="connsiteY2241" fmla="*/ 4800721 h 5282095"/>
              <a:gd name="connsiteX2242" fmla="*/ 3552949 w 7714416"/>
              <a:gd name="connsiteY2242" fmla="*/ 4793834 h 5282095"/>
              <a:gd name="connsiteX2243" fmla="*/ 3558106 w 7714416"/>
              <a:gd name="connsiteY2243" fmla="*/ 4792945 h 5282095"/>
              <a:gd name="connsiteX2244" fmla="*/ 5331319 w 7714416"/>
              <a:gd name="connsiteY2244" fmla="*/ 4791723 h 5282095"/>
              <a:gd name="connsiteX2245" fmla="*/ 5335330 w 7714416"/>
              <a:gd name="connsiteY2245" fmla="*/ 4792612 h 5282095"/>
              <a:gd name="connsiteX2246" fmla="*/ 5335902 w 7714416"/>
              <a:gd name="connsiteY2246" fmla="*/ 4796611 h 5282095"/>
              <a:gd name="connsiteX2247" fmla="*/ 5334470 w 7714416"/>
              <a:gd name="connsiteY2247" fmla="*/ 4797055 h 5282095"/>
              <a:gd name="connsiteX2248" fmla="*/ 5331319 w 7714416"/>
              <a:gd name="connsiteY2248" fmla="*/ 4791723 h 5282095"/>
              <a:gd name="connsiteX2249" fmla="*/ 4023609 w 7714416"/>
              <a:gd name="connsiteY2249" fmla="*/ 4791723 h 5282095"/>
              <a:gd name="connsiteX2250" fmla="*/ 4027620 w 7714416"/>
              <a:gd name="connsiteY2250" fmla="*/ 4792612 h 5282095"/>
              <a:gd name="connsiteX2251" fmla="*/ 4028193 w 7714416"/>
              <a:gd name="connsiteY2251" fmla="*/ 4796611 h 5282095"/>
              <a:gd name="connsiteX2252" fmla="*/ 4026760 w 7714416"/>
              <a:gd name="connsiteY2252" fmla="*/ 4797055 h 5282095"/>
              <a:gd name="connsiteX2253" fmla="*/ 4023609 w 7714416"/>
              <a:gd name="connsiteY2253" fmla="*/ 4791723 h 5282095"/>
              <a:gd name="connsiteX2254" fmla="*/ 2956817 w 7714416"/>
              <a:gd name="connsiteY2254" fmla="*/ 4791723 h 5282095"/>
              <a:gd name="connsiteX2255" fmla="*/ 2960827 w 7714416"/>
              <a:gd name="connsiteY2255" fmla="*/ 4792611 h 5282095"/>
              <a:gd name="connsiteX2256" fmla="*/ 2961401 w 7714416"/>
              <a:gd name="connsiteY2256" fmla="*/ 4796611 h 5282095"/>
              <a:gd name="connsiteX2257" fmla="*/ 2959967 w 7714416"/>
              <a:gd name="connsiteY2257" fmla="*/ 4797055 h 5282095"/>
              <a:gd name="connsiteX2258" fmla="*/ 2956817 w 7714416"/>
              <a:gd name="connsiteY2258" fmla="*/ 4791723 h 5282095"/>
              <a:gd name="connsiteX2259" fmla="*/ 4197779 w 7714416"/>
              <a:gd name="connsiteY2259" fmla="*/ 4791501 h 5282095"/>
              <a:gd name="connsiteX2260" fmla="*/ 4207233 w 7714416"/>
              <a:gd name="connsiteY2260" fmla="*/ 4793723 h 5282095"/>
              <a:gd name="connsiteX2261" fmla="*/ 4206660 w 7714416"/>
              <a:gd name="connsiteY2261" fmla="*/ 4798610 h 5282095"/>
              <a:gd name="connsiteX2262" fmla="*/ 4181165 w 7714416"/>
              <a:gd name="connsiteY2262" fmla="*/ 4801831 h 5282095"/>
              <a:gd name="connsiteX2263" fmla="*/ 4197779 w 7714416"/>
              <a:gd name="connsiteY2263" fmla="*/ 4791501 h 5282095"/>
              <a:gd name="connsiteX2264" fmla="*/ 3130988 w 7714416"/>
              <a:gd name="connsiteY2264" fmla="*/ 4791501 h 5282095"/>
              <a:gd name="connsiteX2265" fmla="*/ 3140440 w 7714416"/>
              <a:gd name="connsiteY2265" fmla="*/ 4793722 h 5282095"/>
              <a:gd name="connsiteX2266" fmla="*/ 3139867 w 7714416"/>
              <a:gd name="connsiteY2266" fmla="*/ 4798610 h 5282095"/>
              <a:gd name="connsiteX2267" fmla="*/ 3114085 w 7714416"/>
              <a:gd name="connsiteY2267" fmla="*/ 4801831 h 5282095"/>
              <a:gd name="connsiteX2268" fmla="*/ 3130988 w 7714416"/>
              <a:gd name="connsiteY2268" fmla="*/ 4791501 h 5282095"/>
              <a:gd name="connsiteX2269" fmla="*/ 5505490 w 7714416"/>
              <a:gd name="connsiteY2269" fmla="*/ 4791500 h 5282095"/>
              <a:gd name="connsiteX2270" fmla="*/ 5514943 w 7714416"/>
              <a:gd name="connsiteY2270" fmla="*/ 4793723 h 5282095"/>
              <a:gd name="connsiteX2271" fmla="*/ 5514656 w 7714416"/>
              <a:gd name="connsiteY2271" fmla="*/ 4798610 h 5282095"/>
              <a:gd name="connsiteX2272" fmla="*/ 5488874 w 7714416"/>
              <a:gd name="connsiteY2272" fmla="*/ 4801831 h 5282095"/>
              <a:gd name="connsiteX2273" fmla="*/ 5505490 w 7714416"/>
              <a:gd name="connsiteY2273" fmla="*/ 4791500 h 5282095"/>
              <a:gd name="connsiteX2274" fmla="*/ 6180972 w 7714416"/>
              <a:gd name="connsiteY2274" fmla="*/ 4791390 h 5282095"/>
              <a:gd name="connsiteX2275" fmla="*/ 6194722 w 7714416"/>
              <a:gd name="connsiteY2275" fmla="*/ 4791390 h 5282095"/>
              <a:gd name="connsiteX2276" fmla="*/ 6171806 w 7714416"/>
              <a:gd name="connsiteY2276" fmla="*/ 4806163 h 5282095"/>
              <a:gd name="connsiteX2277" fmla="*/ 6167222 w 7714416"/>
              <a:gd name="connsiteY2277" fmla="*/ 4795277 h 5282095"/>
              <a:gd name="connsiteX2278" fmla="*/ 6180972 w 7714416"/>
              <a:gd name="connsiteY2278" fmla="*/ 4791390 h 5282095"/>
              <a:gd name="connsiteX2279" fmla="*/ 3806469 w 7714416"/>
              <a:gd name="connsiteY2279" fmla="*/ 4791390 h 5282095"/>
              <a:gd name="connsiteX2280" fmla="*/ 3820220 w 7714416"/>
              <a:gd name="connsiteY2280" fmla="*/ 4791390 h 5282095"/>
              <a:gd name="connsiteX2281" fmla="*/ 3797016 w 7714416"/>
              <a:gd name="connsiteY2281" fmla="*/ 4806164 h 5282095"/>
              <a:gd name="connsiteX2282" fmla="*/ 3792433 w 7714416"/>
              <a:gd name="connsiteY2282" fmla="*/ 4795278 h 5282095"/>
              <a:gd name="connsiteX2283" fmla="*/ 3806469 w 7714416"/>
              <a:gd name="connsiteY2283" fmla="*/ 4791390 h 5282095"/>
              <a:gd name="connsiteX2284" fmla="*/ 5638122 w 7714416"/>
              <a:gd name="connsiteY2284" fmla="*/ 4789613 h 5282095"/>
              <a:gd name="connsiteX2285" fmla="*/ 5662472 w 7714416"/>
              <a:gd name="connsiteY2285" fmla="*/ 4796944 h 5282095"/>
              <a:gd name="connsiteX2286" fmla="*/ 5664191 w 7714416"/>
              <a:gd name="connsiteY2286" fmla="*/ 4808275 h 5282095"/>
              <a:gd name="connsiteX2287" fmla="*/ 5661326 w 7714416"/>
              <a:gd name="connsiteY2287" fmla="*/ 4812051 h 5282095"/>
              <a:gd name="connsiteX2288" fmla="*/ 5630102 w 7714416"/>
              <a:gd name="connsiteY2288" fmla="*/ 4796611 h 5282095"/>
              <a:gd name="connsiteX2289" fmla="*/ 5638122 w 7714416"/>
              <a:gd name="connsiteY2289" fmla="*/ 4789613 h 5282095"/>
              <a:gd name="connsiteX2290" fmla="*/ 4330412 w 7714416"/>
              <a:gd name="connsiteY2290" fmla="*/ 4789613 h 5282095"/>
              <a:gd name="connsiteX2291" fmla="*/ 4354762 w 7714416"/>
              <a:gd name="connsiteY2291" fmla="*/ 4796944 h 5282095"/>
              <a:gd name="connsiteX2292" fmla="*/ 4356481 w 7714416"/>
              <a:gd name="connsiteY2292" fmla="*/ 4808275 h 5282095"/>
              <a:gd name="connsiteX2293" fmla="*/ 4353616 w 7714416"/>
              <a:gd name="connsiteY2293" fmla="*/ 4812052 h 5282095"/>
              <a:gd name="connsiteX2294" fmla="*/ 4322105 w 7714416"/>
              <a:gd name="connsiteY2294" fmla="*/ 4796611 h 5282095"/>
              <a:gd name="connsiteX2295" fmla="*/ 4330412 w 7714416"/>
              <a:gd name="connsiteY2295" fmla="*/ 4789613 h 5282095"/>
              <a:gd name="connsiteX2296" fmla="*/ 3263620 w 7714416"/>
              <a:gd name="connsiteY2296" fmla="*/ 4789612 h 5282095"/>
              <a:gd name="connsiteX2297" fmla="*/ 3287969 w 7714416"/>
              <a:gd name="connsiteY2297" fmla="*/ 4796944 h 5282095"/>
              <a:gd name="connsiteX2298" fmla="*/ 3289688 w 7714416"/>
              <a:gd name="connsiteY2298" fmla="*/ 4808275 h 5282095"/>
              <a:gd name="connsiteX2299" fmla="*/ 3286823 w 7714416"/>
              <a:gd name="connsiteY2299" fmla="*/ 4812051 h 5282095"/>
              <a:gd name="connsiteX2300" fmla="*/ 3255312 w 7714416"/>
              <a:gd name="connsiteY2300" fmla="*/ 4796611 h 5282095"/>
              <a:gd name="connsiteX2301" fmla="*/ 3263620 w 7714416"/>
              <a:gd name="connsiteY2301" fmla="*/ 4789612 h 5282095"/>
              <a:gd name="connsiteX2302" fmla="*/ 4693936 w 7714416"/>
              <a:gd name="connsiteY2302" fmla="*/ 4789502 h 5282095"/>
              <a:gd name="connsiteX2303" fmla="*/ 4699379 w 7714416"/>
              <a:gd name="connsiteY2303" fmla="*/ 4790168 h 5282095"/>
              <a:gd name="connsiteX2304" fmla="*/ 4707686 w 7714416"/>
              <a:gd name="connsiteY2304" fmla="*/ 4794389 h 5282095"/>
              <a:gd name="connsiteX2305" fmla="*/ 4705681 w 7714416"/>
              <a:gd name="connsiteY2305" fmla="*/ 4808164 h 5282095"/>
              <a:gd name="connsiteX2306" fmla="*/ 4692790 w 7714416"/>
              <a:gd name="connsiteY2306" fmla="*/ 4810496 h 5282095"/>
              <a:gd name="connsiteX2307" fmla="*/ 4691644 w 7714416"/>
              <a:gd name="connsiteY2307" fmla="*/ 4810274 h 5282095"/>
              <a:gd name="connsiteX2308" fmla="*/ 4685915 w 7714416"/>
              <a:gd name="connsiteY2308" fmla="*/ 4813273 h 5282095"/>
              <a:gd name="connsiteX2309" fmla="*/ 4668727 w 7714416"/>
              <a:gd name="connsiteY2309" fmla="*/ 4803498 h 5282095"/>
              <a:gd name="connsiteX2310" fmla="*/ 4678180 w 7714416"/>
              <a:gd name="connsiteY2310" fmla="*/ 4795611 h 5282095"/>
              <a:gd name="connsiteX2311" fmla="*/ 4679040 w 7714416"/>
              <a:gd name="connsiteY2311" fmla="*/ 4796277 h 5282095"/>
              <a:gd name="connsiteX2312" fmla="*/ 4680472 w 7714416"/>
              <a:gd name="connsiteY2312" fmla="*/ 4792168 h 5282095"/>
              <a:gd name="connsiteX2313" fmla="*/ 4693936 w 7714416"/>
              <a:gd name="connsiteY2313" fmla="*/ 4789502 h 5282095"/>
              <a:gd name="connsiteX2314" fmla="*/ 3386226 w 7714416"/>
              <a:gd name="connsiteY2314" fmla="*/ 4789502 h 5282095"/>
              <a:gd name="connsiteX2315" fmla="*/ 3391669 w 7714416"/>
              <a:gd name="connsiteY2315" fmla="*/ 4790168 h 5282095"/>
              <a:gd name="connsiteX2316" fmla="*/ 3399977 w 7714416"/>
              <a:gd name="connsiteY2316" fmla="*/ 4794389 h 5282095"/>
              <a:gd name="connsiteX2317" fmla="*/ 3397686 w 7714416"/>
              <a:gd name="connsiteY2317" fmla="*/ 4808163 h 5282095"/>
              <a:gd name="connsiteX2318" fmla="*/ 3385080 w 7714416"/>
              <a:gd name="connsiteY2318" fmla="*/ 4810496 h 5282095"/>
              <a:gd name="connsiteX2319" fmla="*/ 3384222 w 7714416"/>
              <a:gd name="connsiteY2319" fmla="*/ 4810274 h 5282095"/>
              <a:gd name="connsiteX2320" fmla="*/ 3383075 w 7714416"/>
              <a:gd name="connsiteY2320" fmla="*/ 4810829 h 5282095"/>
              <a:gd name="connsiteX2321" fmla="*/ 3381643 w 7714416"/>
              <a:gd name="connsiteY2321" fmla="*/ 4809607 h 5282095"/>
              <a:gd name="connsiteX2322" fmla="*/ 3380783 w 7714416"/>
              <a:gd name="connsiteY2322" fmla="*/ 4809274 h 5282095"/>
              <a:gd name="connsiteX2323" fmla="*/ 3378778 w 7714416"/>
              <a:gd name="connsiteY2323" fmla="*/ 4809052 h 5282095"/>
              <a:gd name="connsiteX2324" fmla="*/ 3377059 w 7714416"/>
              <a:gd name="connsiteY2324" fmla="*/ 4811274 h 5282095"/>
              <a:gd name="connsiteX2325" fmla="*/ 3370184 w 7714416"/>
              <a:gd name="connsiteY2325" fmla="*/ 4812940 h 5282095"/>
              <a:gd name="connsiteX2326" fmla="*/ 3368466 w 7714416"/>
              <a:gd name="connsiteY2326" fmla="*/ 4810496 h 5282095"/>
              <a:gd name="connsiteX2327" fmla="*/ 3375627 w 7714416"/>
              <a:gd name="connsiteY2327" fmla="*/ 4807608 h 5282095"/>
              <a:gd name="connsiteX2328" fmla="*/ 3375627 w 7714416"/>
              <a:gd name="connsiteY2328" fmla="*/ 4806386 h 5282095"/>
              <a:gd name="connsiteX2329" fmla="*/ 3372190 w 7714416"/>
              <a:gd name="connsiteY2329" fmla="*/ 4803831 h 5282095"/>
              <a:gd name="connsiteX2330" fmla="*/ 3372762 w 7714416"/>
              <a:gd name="connsiteY2330" fmla="*/ 4792168 h 5282095"/>
              <a:gd name="connsiteX2331" fmla="*/ 3386226 w 7714416"/>
              <a:gd name="connsiteY2331" fmla="*/ 4789502 h 5282095"/>
              <a:gd name="connsiteX2332" fmla="*/ 2319433 w 7714416"/>
              <a:gd name="connsiteY2332" fmla="*/ 4789501 h 5282095"/>
              <a:gd name="connsiteX2333" fmla="*/ 2324876 w 7714416"/>
              <a:gd name="connsiteY2333" fmla="*/ 4790168 h 5282095"/>
              <a:gd name="connsiteX2334" fmla="*/ 2333184 w 7714416"/>
              <a:gd name="connsiteY2334" fmla="*/ 4794389 h 5282095"/>
              <a:gd name="connsiteX2335" fmla="*/ 2330892 w 7714416"/>
              <a:gd name="connsiteY2335" fmla="*/ 4808164 h 5282095"/>
              <a:gd name="connsiteX2336" fmla="*/ 2311985 w 7714416"/>
              <a:gd name="connsiteY2336" fmla="*/ 4809053 h 5282095"/>
              <a:gd name="connsiteX2337" fmla="*/ 2310267 w 7714416"/>
              <a:gd name="connsiteY2337" fmla="*/ 4811274 h 5282095"/>
              <a:gd name="connsiteX2338" fmla="*/ 2303391 w 7714416"/>
              <a:gd name="connsiteY2338" fmla="*/ 4812940 h 5282095"/>
              <a:gd name="connsiteX2339" fmla="*/ 2301672 w 7714416"/>
              <a:gd name="connsiteY2339" fmla="*/ 4810496 h 5282095"/>
              <a:gd name="connsiteX2340" fmla="*/ 2308835 w 7714416"/>
              <a:gd name="connsiteY2340" fmla="*/ 4807608 h 5282095"/>
              <a:gd name="connsiteX2341" fmla="*/ 2308834 w 7714416"/>
              <a:gd name="connsiteY2341" fmla="*/ 4806386 h 5282095"/>
              <a:gd name="connsiteX2342" fmla="*/ 2305396 w 7714416"/>
              <a:gd name="connsiteY2342" fmla="*/ 4803830 h 5282095"/>
              <a:gd name="connsiteX2343" fmla="*/ 2305969 w 7714416"/>
              <a:gd name="connsiteY2343" fmla="*/ 4792167 h 5282095"/>
              <a:gd name="connsiteX2344" fmla="*/ 2319433 w 7714416"/>
              <a:gd name="connsiteY2344" fmla="*/ 4789501 h 5282095"/>
              <a:gd name="connsiteX2345" fmla="*/ 4887586 w 7714416"/>
              <a:gd name="connsiteY2345" fmla="*/ 4788946 h 5282095"/>
              <a:gd name="connsiteX2346" fmla="*/ 4894748 w 7714416"/>
              <a:gd name="connsiteY2346" fmla="*/ 4798278 h 5282095"/>
              <a:gd name="connsiteX2347" fmla="*/ 4890450 w 7714416"/>
              <a:gd name="connsiteY2347" fmla="*/ 4798166 h 5282095"/>
              <a:gd name="connsiteX2348" fmla="*/ 4890450 w 7714416"/>
              <a:gd name="connsiteY2348" fmla="*/ 4798388 h 5282095"/>
              <a:gd name="connsiteX2349" fmla="*/ 4863809 w 7714416"/>
              <a:gd name="connsiteY2349" fmla="*/ 4806164 h 5282095"/>
              <a:gd name="connsiteX2350" fmla="*/ 4859799 w 7714416"/>
              <a:gd name="connsiteY2350" fmla="*/ 4801054 h 5282095"/>
              <a:gd name="connsiteX2351" fmla="*/ 4859799 w 7714416"/>
              <a:gd name="connsiteY2351" fmla="*/ 4800721 h 5282095"/>
              <a:gd name="connsiteX2352" fmla="*/ 4858939 w 7714416"/>
              <a:gd name="connsiteY2352" fmla="*/ 4800499 h 5282095"/>
              <a:gd name="connsiteX2353" fmla="*/ 4857220 w 7714416"/>
              <a:gd name="connsiteY2353" fmla="*/ 4800721 h 5282095"/>
              <a:gd name="connsiteX2354" fmla="*/ 4859226 w 7714416"/>
              <a:gd name="connsiteY2354" fmla="*/ 4797721 h 5282095"/>
              <a:gd name="connsiteX2355" fmla="*/ 4859513 w 7714416"/>
              <a:gd name="connsiteY2355" fmla="*/ 4796833 h 5282095"/>
              <a:gd name="connsiteX2356" fmla="*/ 4859226 w 7714416"/>
              <a:gd name="connsiteY2356" fmla="*/ 4795278 h 5282095"/>
              <a:gd name="connsiteX2357" fmla="*/ 4860372 w 7714416"/>
              <a:gd name="connsiteY2357" fmla="*/ 4795056 h 5282095"/>
              <a:gd name="connsiteX2358" fmla="*/ 4860944 w 7714416"/>
              <a:gd name="connsiteY2358" fmla="*/ 4793834 h 5282095"/>
              <a:gd name="connsiteX2359" fmla="*/ 4865814 w 7714416"/>
              <a:gd name="connsiteY2359" fmla="*/ 4792944 h 5282095"/>
              <a:gd name="connsiteX2360" fmla="*/ 4866101 w 7714416"/>
              <a:gd name="connsiteY2360" fmla="*/ 4793389 h 5282095"/>
              <a:gd name="connsiteX2361" fmla="*/ 4873262 w 7714416"/>
              <a:gd name="connsiteY2361" fmla="*/ 4791390 h 5282095"/>
              <a:gd name="connsiteX2362" fmla="*/ 4885008 w 7714416"/>
              <a:gd name="connsiteY2362" fmla="*/ 4791390 h 5282095"/>
              <a:gd name="connsiteX2363" fmla="*/ 3579877 w 7714416"/>
              <a:gd name="connsiteY2363" fmla="*/ 4788946 h 5282095"/>
              <a:gd name="connsiteX2364" fmla="*/ 3587038 w 7714416"/>
              <a:gd name="connsiteY2364" fmla="*/ 4798278 h 5282095"/>
              <a:gd name="connsiteX2365" fmla="*/ 3579877 w 7714416"/>
              <a:gd name="connsiteY2365" fmla="*/ 4788946 h 5282095"/>
              <a:gd name="connsiteX2366" fmla="*/ 2513084 w 7714416"/>
              <a:gd name="connsiteY2366" fmla="*/ 4788946 h 5282095"/>
              <a:gd name="connsiteX2367" fmla="*/ 2520245 w 7714416"/>
              <a:gd name="connsiteY2367" fmla="*/ 4798277 h 5282095"/>
              <a:gd name="connsiteX2368" fmla="*/ 2513084 w 7714416"/>
              <a:gd name="connsiteY2368" fmla="*/ 4788946 h 5282095"/>
              <a:gd name="connsiteX2369" fmla="*/ 4474791 w 7714416"/>
              <a:gd name="connsiteY2369" fmla="*/ 4788835 h 5282095"/>
              <a:gd name="connsiteX2370" fmla="*/ 4453592 w 7714416"/>
              <a:gd name="connsiteY2370" fmla="*/ 4822049 h 5282095"/>
              <a:gd name="connsiteX2371" fmla="*/ 4453019 w 7714416"/>
              <a:gd name="connsiteY2371" fmla="*/ 4821049 h 5282095"/>
              <a:gd name="connsiteX2372" fmla="*/ 4450728 w 7714416"/>
              <a:gd name="connsiteY2372" fmla="*/ 4822160 h 5282095"/>
              <a:gd name="connsiteX2373" fmla="*/ 4448436 w 7714416"/>
              <a:gd name="connsiteY2373" fmla="*/ 4825048 h 5282095"/>
              <a:gd name="connsiteX2374" fmla="*/ 4441847 w 7714416"/>
              <a:gd name="connsiteY2374" fmla="*/ 4819716 h 5282095"/>
              <a:gd name="connsiteX2375" fmla="*/ 4446717 w 7714416"/>
              <a:gd name="connsiteY2375" fmla="*/ 4815494 h 5282095"/>
              <a:gd name="connsiteX2376" fmla="*/ 4451014 w 7714416"/>
              <a:gd name="connsiteY2376" fmla="*/ 4818383 h 5282095"/>
              <a:gd name="connsiteX2377" fmla="*/ 4452446 w 7714416"/>
              <a:gd name="connsiteY2377" fmla="*/ 4819827 h 5282095"/>
              <a:gd name="connsiteX2378" fmla="*/ 4449582 w 7714416"/>
              <a:gd name="connsiteY2378" fmla="*/ 4812385 h 5282095"/>
              <a:gd name="connsiteX2379" fmla="*/ 4450155 w 7714416"/>
              <a:gd name="connsiteY2379" fmla="*/ 4810719 h 5282095"/>
              <a:gd name="connsiteX2380" fmla="*/ 4449868 w 7714416"/>
              <a:gd name="connsiteY2380" fmla="*/ 4810829 h 5282095"/>
              <a:gd name="connsiteX2381" fmla="*/ 4447004 w 7714416"/>
              <a:gd name="connsiteY2381" fmla="*/ 4803498 h 5282095"/>
              <a:gd name="connsiteX2382" fmla="*/ 4452446 w 7714416"/>
              <a:gd name="connsiteY2382" fmla="*/ 4802276 h 5282095"/>
              <a:gd name="connsiteX2383" fmla="*/ 4453019 w 7714416"/>
              <a:gd name="connsiteY2383" fmla="*/ 4800721 h 5282095"/>
              <a:gd name="connsiteX2384" fmla="*/ 4474791 w 7714416"/>
              <a:gd name="connsiteY2384" fmla="*/ 4788835 h 5282095"/>
              <a:gd name="connsiteX2385" fmla="*/ 3167082 w 7714416"/>
              <a:gd name="connsiteY2385" fmla="*/ 4788835 h 5282095"/>
              <a:gd name="connsiteX2386" fmla="*/ 3145596 w 7714416"/>
              <a:gd name="connsiteY2386" fmla="*/ 4822049 h 5282095"/>
              <a:gd name="connsiteX2387" fmla="*/ 3167082 w 7714416"/>
              <a:gd name="connsiteY2387" fmla="*/ 4788835 h 5282095"/>
              <a:gd name="connsiteX2388" fmla="*/ 5888492 w 7714416"/>
              <a:gd name="connsiteY2388" fmla="*/ 4788835 h 5282095"/>
              <a:gd name="connsiteX2389" fmla="*/ 5894508 w 7714416"/>
              <a:gd name="connsiteY2389" fmla="*/ 4795500 h 5282095"/>
              <a:gd name="connsiteX2390" fmla="*/ 5903962 w 7714416"/>
              <a:gd name="connsiteY2390" fmla="*/ 4812495 h 5282095"/>
              <a:gd name="connsiteX2391" fmla="*/ 5901956 w 7714416"/>
              <a:gd name="connsiteY2391" fmla="*/ 4815606 h 5282095"/>
              <a:gd name="connsiteX2392" fmla="*/ 5902816 w 7714416"/>
              <a:gd name="connsiteY2392" fmla="*/ 4816605 h 5282095"/>
              <a:gd name="connsiteX2393" fmla="*/ 5900239 w 7714416"/>
              <a:gd name="connsiteY2393" fmla="*/ 4818716 h 5282095"/>
              <a:gd name="connsiteX2394" fmla="*/ 5894794 w 7714416"/>
              <a:gd name="connsiteY2394" fmla="*/ 4812940 h 5282095"/>
              <a:gd name="connsiteX2395" fmla="*/ 5891930 w 7714416"/>
              <a:gd name="connsiteY2395" fmla="*/ 4807719 h 5282095"/>
              <a:gd name="connsiteX2396" fmla="*/ 5888492 w 7714416"/>
              <a:gd name="connsiteY2396" fmla="*/ 4788835 h 5282095"/>
              <a:gd name="connsiteX2397" fmla="*/ 2100289 w 7714416"/>
              <a:gd name="connsiteY2397" fmla="*/ 4788835 h 5282095"/>
              <a:gd name="connsiteX2398" fmla="*/ 2078803 w 7714416"/>
              <a:gd name="connsiteY2398" fmla="*/ 4822049 h 5282095"/>
              <a:gd name="connsiteX2399" fmla="*/ 2100289 w 7714416"/>
              <a:gd name="connsiteY2399" fmla="*/ 4788835 h 5282095"/>
              <a:gd name="connsiteX2400" fmla="*/ 2554048 w 7714416"/>
              <a:gd name="connsiteY2400" fmla="*/ 4788613 h 5282095"/>
              <a:gd name="connsiteX2401" fmla="*/ 2559777 w 7714416"/>
              <a:gd name="connsiteY2401" fmla="*/ 4789279 h 5282095"/>
              <a:gd name="connsiteX2402" fmla="*/ 2567799 w 7714416"/>
              <a:gd name="connsiteY2402" fmla="*/ 4795055 h 5282095"/>
              <a:gd name="connsiteX2403" fmla="*/ 2568657 w 7714416"/>
              <a:gd name="connsiteY2403" fmla="*/ 4796611 h 5282095"/>
              <a:gd name="connsiteX2404" fmla="*/ 2569516 w 7714416"/>
              <a:gd name="connsiteY2404" fmla="*/ 4796500 h 5282095"/>
              <a:gd name="connsiteX2405" fmla="*/ 2586992 w 7714416"/>
              <a:gd name="connsiteY2405" fmla="*/ 4794722 h 5282095"/>
              <a:gd name="connsiteX2406" fmla="*/ 2572095 w 7714416"/>
              <a:gd name="connsiteY2406" fmla="*/ 4803942 h 5282095"/>
              <a:gd name="connsiteX2407" fmla="*/ 2567511 w 7714416"/>
              <a:gd name="connsiteY2407" fmla="*/ 4804164 h 5282095"/>
              <a:gd name="connsiteX2408" fmla="*/ 2562928 w 7714416"/>
              <a:gd name="connsiteY2408" fmla="*/ 4809052 h 5282095"/>
              <a:gd name="connsiteX2409" fmla="*/ 2556053 w 7714416"/>
              <a:gd name="connsiteY2409" fmla="*/ 4811940 h 5282095"/>
              <a:gd name="connsiteX2410" fmla="*/ 2557772 w 7714416"/>
              <a:gd name="connsiteY2410" fmla="*/ 4811496 h 5282095"/>
              <a:gd name="connsiteX2411" fmla="*/ 2580116 w 7714416"/>
              <a:gd name="connsiteY2411" fmla="*/ 4822937 h 5282095"/>
              <a:gd name="connsiteX2412" fmla="*/ 2574673 w 7714416"/>
              <a:gd name="connsiteY2412" fmla="*/ 4823049 h 5282095"/>
              <a:gd name="connsiteX2413" fmla="*/ 2572669 w 7714416"/>
              <a:gd name="connsiteY2413" fmla="*/ 4822271 h 5282095"/>
              <a:gd name="connsiteX2414" fmla="*/ 2570949 w 7714416"/>
              <a:gd name="connsiteY2414" fmla="*/ 4822715 h 5282095"/>
              <a:gd name="connsiteX2415" fmla="*/ 2570662 w 7714416"/>
              <a:gd name="connsiteY2415" fmla="*/ 4821604 h 5282095"/>
              <a:gd name="connsiteX2416" fmla="*/ 2566365 w 7714416"/>
              <a:gd name="connsiteY2416" fmla="*/ 4820160 h 5282095"/>
              <a:gd name="connsiteX2417" fmla="*/ 2555194 w 7714416"/>
              <a:gd name="connsiteY2417" fmla="*/ 4819383 h 5282095"/>
              <a:gd name="connsiteX2418" fmla="*/ 2546026 w 7714416"/>
              <a:gd name="connsiteY2418" fmla="*/ 4814384 h 5282095"/>
              <a:gd name="connsiteX2419" fmla="*/ 2548605 w 7714416"/>
              <a:gd name="connsiteY2419" fmla="*/ 4811274 h 5282095"/>
              <a:gd name="connsiteX2420" fmla="*/ 2544309 w 7714416"/>
              <a:gd name="connsiteY2420" fmla="*/ 4809941 h 5282095"/>
              <a:gd name="connsiteX2421" fmla="*/ 2540584 w 7714416"/>
              <a:gd name="connsiteY2421" fmla="*/ 4795277 h 5282095"/>
              <a:gd name="connsiteX2422" fmla="*/ 2547459 w 7714416"/>
              <a:gd name="connsiteY2422" fmla="*/ 4789946 h 5282095"/>
              <a:gd name="connsiteX2423" fmla="*/ 2554048 w 7714416"/>
              <a:gd name="connsiteY2423" fmla="*/ 4788613 h 5282095"/>
              <a:gd name="connsiteX2424" fmla="*/ 3620842 w 7714416"/>
              <a:gd name="connsiteY2424" fmla="*/ 4788612 h 5282095"/>
              <a:gd name="connsiteX2425" fmla="*/ 3626571 w 7714416"/>
              <a:gd name="connsiteY2425" fmla="*/ 4789279 h 5282095"/>
              <a:gd name="connsiteX2426" fmla="*/ 3634877 w 7714416"/>
              <a:gd name="connsiteY2426" fmla="*/ 4795055 h 5282095"/>
              <a:gd name="connsiteX2427" fmla="*/ 3635450 w 7714416"/>
              <a:gd name="connsiteY2427" fmla="*/ 4796611 h 5282095"/>
              <a:gd name="connsiteX2428" fmla="*/ 3636310 w 7714416"/>
              <a:gd name="connsiteY2428" fmla="*/ 4796500 h 5282095"/>
              <a:gd name="connsiteX2429" fmla="*/ 3653784 w 7714416"/>
              <a:gd name="connsiteY2429" fmla="*/ 4794722 h 5282095"/>
              <a:gd name="connsiteX2430" fmla="*/ 3638888 w 7714416"/>
              <a:gd name="connsiteY2430" fmla="*/ 4803942 h 5282095"/>
              <a:gd name="connsiteX2431" fmla="*/ 3634305 w 7714416"/>
              <a:gd name="connsiteY2431" fmla="*/ 4804164 h 5282095"/>
              <a:gd name="connsiteX2432" fmla="*/ 3629721 w 7714416"/>
              <a:gd name="connsiteY2432" fmla="*/ 4809053 h 5282095"/>
              <a:gd name="connsiteX2433" fmla="*/ 3622846 w 7714416"/>
              <a:gd name="connsiteY2433" fmla="*/ 4811940 h 5282095"/>
              <a:gd name="connsiteX2434" fmla="*/ 3624565 w 7714416"/>
              <a:gd name="connsiteY2434" fmla="*/ 4811496 h 5282095"/>
              <a:gd name="connsiteX2435" fmla="*/ 3646909 w 7714416"/>
              <a:gd name="connsiteY2435" fmla="*/ 4822938 h 5282095"/>
              <a:gd name="connsiteX2436" fmla="*/ 3641467 w 7714416"/>
              <a:gd name="connsiteY2436" fmla="*/ 4823049 h 5282095"/>
              <a:gd name="connsiteX2437" fmla="*/ 3639462 w 7714416"/>
              <a:gd name="connsiteY2437" fmla="*/ 4822271 h 5282095"/>
              <a:gd name="connsiteX2438" fmla="*/ 3637742 w 7714416"/>
              <a:gd name="connsiteY2438" fmla="*/ 4822715 h 5282095"/>
              <a:gd name="connsiteX2439" fmla="*/ 3637455 w 7714416"/>
              <a:gd name="connsiteY2439" fmla="*/ 4821604 h 5282095"/>
              <a:gd name="connsiteX2440" fmla="*/ 3633445 w 7714416"/>
              <a:gd name="connsiteY2440" fmla="*/ 4820160 h 5282095"/>
              <a:gd name="connsiteX2441" fmla="*/ 3621987 w 7714416"/>
              <a:gd name="connsiteY2441" fmla="*/ 4819383 h 5282095"/>
              <a:gd name="connsiteX2442" fmla="*/ 3612820 w 7714416"/>
              <a:gd name="connsiteY2442" fmla="*/ 4814384 h 5282095"/>
              <a:gd name="connsiteX2443" fmla="*/ 3613394 w 7714416"/>
              <a:gd name="connsiteY2443" fmla="*/ 4813051 h 5282095"/>
              <a:gd name="connsiteX2444" fmla="*/ 3609955 w 7714416"/>
              <a:gd name="connsiteY2444" fmla="*/ 4812940 h 5282095"/>
              <a:gd name="connsiteX2445" fmla="*/ 3601647 w 7714416"/>
              <a:gd name="connsiteY2445" fmla="*/ 4803497 h 5282095"/>
              <a:gd name="connsiteX2446" fmla="*/ 3605372 w 7714416"/>
              <a:gd name="connsiteY2446" fmla="*/ 4800388 h 5282095"/>
              <a:gd name="connsiteX2447" fmla="*/ 3607377 w 7714416"/>
              <a:gd name="connsiteY2447" fmla="*/ 4795277 h 5282095"/>
              <a:gd name="connsiteX2448" fmla="*/ 3614252 w 7714416"/>
              <a:gd name="connsiteY2448" fmla="*/ 4789946 h 5282095"/>
              <a:gd name="connsiteX2449" fmla="*/ 3620842 w 7714416"/>
              <a:gd name="connsiteY2449" fmla="*/ 4788612 h 5282095"/>
              <a:gd name="connsiteX2450" fmla="*/ 4800500 w 7714416"/>
              <a:gd name="connsiteY2450" fmla="*/ 4786058 h 5282095"/>
              <a:gd name="connsiteX2451" fmla="*/ 4802220 w 7714416"/>
              <a:gd name="connsiteY2451" fmla="*/ 4795055 h 5282095"/>
              <a:gd name="connsiteX2452" fmla="*/ 4793052 w 7714416"/>
              <a:gd name="connsiteY2452" fmla="*/ 4802609 h 5282095"/>
              <a:gd name="connsiteX2453" fmla="*/ 4795058 w 7714416"/>
              <a:gd name="connsiteY2453" fmla="*/ 4802165 h 5282095"/>
              <a:gd name="connsiteX2454" fmla="*/ 4795631 w 7714416"/>
              <a:gd name="connsiteY2454" fmla="*/ 4800943 h 5282095"/>
              <a:gd name="connsiteX2455" fmla="*/ 4799355 w 7714416"/>
              <a:gd name="connsiteY2455" fmla="*/ 4799166 h 5282095"/>
              <a:gd name="connsiteX2456" fmla="*/ 4801647 w 7714416"/>
              <a:gd name="connsiteY2456" fmla="*/ 4800721 h 5282095"/>
              <a:gd name="connsiteX2457" fmla="*/ 4807089 w 7714416"/>
              <a:gd name="connsiteY2457" fmla="*/ 4799611 h 5282095"/>
              <a:gd name="connsiteX2458" fmla="*/ 4828574 w 7714416"/>
              <a:gd name="connsiteY2458" fmla="*/ 4801388 h 5282095"/>
              <a:gd name="connsiteX2459" fmla="*/ 4831725 w 7714416"/>
              <a:gd name="connsiteY2459" fmla="*/ 4798610 h 5282095"/>
              <a:gd name="connsiteX2460" fmla="*/ 4839460 w 7714416"/>
              <a:gd name="connsiteY2460" fmla="*/ 4793834 h 5282095"/>
              <a:gd name="connsiteX2461" fmla="*/ 4846908 w 7714416"/>
              <a:gd name="connsiteY2461" fmla="*/ 4796278 h 5282095"/>
              <a:gd name="connsiteX2462" fmla="*/ 4846908 w 7714416"/>
              <a:gd name="connsiteY2462" fmla="*/ 4800943 h 5282095"/>
              <a:gd name="connsiteX2463" fmla="*/ 4840606 w 7714416"/>
              <a:gd name="connsiteY2463" fmla="*/ 4804054 h 5282095"/>
              <a:gd name="connsiteX2464" fmla="*/ 4836595 w 7714416"/>
              <a:gd name="connsiteY2464" fmla="*/ 4804720 h 5282095"/>
              <a:gd name="connsiteX2465" fmla="*/ 4838028 w 7714416"/>
              <a:gd name="connsiteY2465" fmla="*/ 4805498 h 5282095"/>
              <a:gd name="connsiteX2466" fmla="*/ 4842897 w 7714416"/>
              <a:gd name="connsiteY2466" fmla="*/ 4811606 h 5282095"/>
              <a:gd name="connsiteX2467" fmla="*/ 4830580 w 7714416"/>
              <a:gd name="connsiteY2467" fmla="*/ 4828269 h 5282095"/>
              <a:gd name="connsiteX2468" fmla="*/ 4830293 w 7714416"/>
              <a:gd name="connsiteY2468" fmla="*/ 4828268 h 5282095"/>
              <a:gd name="connsiteX2469" fmla="*/ 4830579 w 7714416"/>
              <a:gd name="connsiteY2469" fmla="*/ 4830491 h 5282095"/>
              <a:gd name="connsiteX2470" fmla="*/ 4830293 w 7714416"/>
              <a:gd name="connsiteY2470" fmla="*/ 4831934 h 5282095"/>
              <a:gd name="connsiteX2471" fmla="*/ 4830293 w 7714416"/>
              <a:gd name="connsiteY2471" fmla="*/ 4834489 h 5282095"/>
              <a:gd name="connsiteX2472" fmla="*/ 4830293 w 7714416"/>
              <a:gd name="connsiteY2472" fmla="*/ 4837267 h 5282095"/>
              <a:gd name="connsiteX2473" fmla="*/ 4829720 w 7714416"/>
              <a:gd name="connsiteY2473" fmla="*/ 4837600 h 5282095"/>
              <a:gd name="connsiteX2474" fmla="*/ 4834590 w 7714416"/>
              <a:gd name="connsiteY2474" fmla="*/ 4838489 h 5282095"/>
              <a:gd name="connsiteX2475" fmla="*/ 4820267 w 7714416"/>
              <a:gd name="connsiteY2475" fmla="*/ 4854708 h 5282095"/>
              <a:gd name="connsiteX2476" fmla="*/ 4812246 w 7714416"/>
              <a:gd name="connsiteY2476" fmla="*/ 4845709 h 5282095"/>
              <a:gd name="connsiteX2477" fmla="*/ 4819121 w 7714416"/>
              <a:gd name="connsiteY2477" fmla="*/ 4840044 h 5282095"/>
              <a:gd name="connsiteX2478" fmla="*/ 4824564 w 7714416"/>
              <a:gd name="connsiteY2478" fmla="*/ 4838822 h 5282095"/>
              <a:gd name="connsiteX2479" fmla="*/ 4823418 w 7714416"/>
              <a:gd name="connsiteY2479" fmla="*/ 4834268 h 5282095"/>
              <a:gd name="connsiteX2480" fmla="*/ 4822272 w 7714416"/>
              <a:gd name="connsiteY2480" fmla="*/ 4829491 h 5282095"/>
              <a:gd name="connsiteX2481" fmla="*/ 4816543 w 7714416"/>
              <a:gd name="connsiteY2481" fmla="*/ 4830269 h 5282095"/>
              <a:gd name="connsiteX2482" fmla="*/ 4815970 w 7714416"/>
              <a:gd name="connsiteY2482" fmla="*/ 4830269 h 5282095"/>
              <a:gd name="connsiteX2483" fmla="*/ 4816256 w 7714416"/>
              <a:gd name="connsiteY2483" fmla="*/ 4830713 h 5282095"/>
              <a:gd name="connsiteX2484" fmla="*/ 4783313 w 7714416"/>
              <a:gd name="connsiteY2484" fmla="*/ 4820716 h 5282095"/>
              <a:gd name="connsiteX2485" fmla="*/ 4789615 w 7714416"/>
              <a:gd name="connsiteY2485" fmla="*/ 4818494 h 5282095"/>
              <a:gd name="connsiteX2486" fmla="*/ 4790761 w 7714416"/>
              <a:gd name="connsiteY2486" fmla="*/ 4818494 h 5282095"/>
              <a:gd name="connsiteX2487" fmla="*/ 4790188 w 7714416"/>
              <a:gd name="connsiteY2487" fmla="*/ 4803165 h 5282095"/>
              <a:gd name="connsiteX2488" fmla="*/ 4792193 w 7714416"/>
              <a:gd name="connsiteY2488" fmla="*/ 4802720 h 5282095"/>
              <a:gd name="connsiteX2489" fmla="*/ 4784458 w 7714416"/>
              <a:gd name="connsiteY2489" fmla="*/ 4803387 h 5282095"/>
              <a:gd name="connsiteX2490" fmla="*/ 4781594 w 7714416"/>
              <a:gd name="connsiteY2490" fmla="*/ 4797832 h 5282095"/>
              <a:gd name="connsiteX2491" fmla="*/ 4783026 w 7714416"/>
              <a:gd name="connsiteY2491" fmla="*/ 4795722 h 5282095"/>
              <a:gd name="connsiteX2492" fmla="*/ 4778443 w 7714416"/>
              <a:gd name="connsiteY2492" fmla="*/ 4796611 h 5282095"/>
              <a:gd name="connsiteX2493" fmla="*/ 4775005 w 7714416"/>
              <a:gd name="connsiteY2493" fmla="*/ 4788835 h 5282095"/>
              <a:gd name="connsiteX2494" fmla="*/ 4783886 w 7714416"/>
              <a:gd name="connsiteY2494" fmla="*/ 4787391 h 5282095"/>
              <a:gd name="connsiteX2495" fmla="*/ 4786750 w 7714416"/>
              <a:gd name="connsiteY2495" fmla="*/ 4791057 h 5282095"/>
              <a:gd name="connsiteX2496" fmla="*/ 4792193 w 7714416"/>
              <a:gd name="connsiteY2496" fmla="*/ 4787724 h 5282095"/>
              <a:gd name="connsiteX2497" fmla="*/ 4800500 w 7714416"/>
              <a:gd name="connsiteY2497" fmla="*/ 4786058 h 5282095"/>
              <a:gd name="connsiteX2498" fmla="*/ 3492792 w 7714416"/>
              <a:gd name="connsiteY2498" fmla="*/ 4786058 h 5282095"/>
              <a:gd name="connsiteX2499" fmla="*/ 3494224 w 7714416"/>
              <a:gd name="connsiteY2499" fmla="*/ 4795056 h 5282095"/>
              <a:gd name="connsiteX2500" fmla="*/ 3485343 w 7714416"/>
              <a:gd name="connsiteY2500" fmla="*/ 4802609 h 5282095"/>
              <a:gd name="connsiteX2501" fmla="*/ 3487348 w 7714416"/>
              <a:gd name="connsiteY2501" fmla="*/ 4802165 h 5282095"/>
              <a:gd name="connsiteX2502" fmla="*/ 3487921 w 7714416"/>
              <a:gd name="connsiteY2502" fmla="*/ 4800943 h 5282095"/>
              <a:gd name="connsiteX2503" fmla="*/ 3491645 w 7714416"/>
              <a:gd name="connsiteY2503" fmla="*/ 4799166 h 5282095"/>
              <a:gd name="connsiteX2504" fmla="*/ 3493938 w 7714416"/>
              <a:gd name="connsiteY2504" fmla="*/ 4800721 h 5282095"/>
              <a:gd name="connsiteX2505" fmla="*/ 3499381 w 7714416"/>
              <a:gd name="connsiteY2505" fmla="*/ 4799610 h 5282095"/>
              <a:gd name="connsiteX2506" fmla="*/ 3515995 w 7714416"/>
              <a:gd name="connsiteY2506" fmla="*/ 4800943 h 5282095"/>
              <a:gd name="connsiteX2507" fmla="*/ 3515708 w 7714416"/>
              <a:gd name="connsiteY2507" fmla="*/ 4799610 h 5282095"/>
              <a:gd name="connsiteX2508" fmla="*/ 3513989 w 7714416"/>
              <a:gd name="connsiteY2508" fmla="*/ 4788835 h 5282095"/>
              <a:gd name="connsiteX2509" fmla="*/ 3520005 w 7714416"/>
              <a:gd name="connsiteY2509" fmla="*/ 4795499 h 5282095"/>
              <a:gd name="connsiteX2510" fmla="*/ 3522010 w 7714416"/>
              <a:gd name="connsiteY2510" fmla="*/ 4800165 h 5282095"/>
              <a:gd name="connsiteX2511" fmla="*/ 3524016 w 7714416"/>
              <a:gd name="connsiteY2511" fmla="*/ 4798610 h 5282095"/>
              <a:gd name="connsiteX2512" fmla="*/ 3531751 w 7714416"/>
              <a:gd name="connsiteY2512" fmla="*/ 4793834 h 5282095"/>
              <a:gd name="connsiteX2513" fmla="*/ 3539198 w 7714416"/>
              <a:gd name="connsiteY2513" fmla="*/ 4796277 h 5282095"/>
              <a:gd name="connsiteX2514" fmla="*/ 3539199 w 7714416"/>
              <a:gd name="connsiteY2514" fmla="*/ 4800943 h 5282095"/>
              <a:gd name="connsiteX2515" fmla="*/ 3532897 w 7714416"/>
              <a:gd name="connsiteY2515" fmla="*/ 4804053 h 5282095"/>
              <a:gd name="connsiteX2516" fmla="*/ 3528886 w 7714416"/>
              <a:gd name="connsiteY2516" fmla="*/ 4804720 h 5282095"/>
              <a:gd name="connsiteX2517" fmla="*/ 3530318 w 7714416"/>
              <a:gd name="connsiteY2517" fmla="*/ 4805497 h 5282095"/>
              <a:gd name="connsiteX2518" fmla="*/ 3535188 w 7714416"/>
              <a:gd name="connsiteY2518" fmla="*/ 4811606 h 5282095"/>
              <a:gd name="connsiteX2519" fmla="*/ 3495083 w 7714416"/>
              <a:gd name="connsiteY2519" fmla="*/ 4828047 h 5282095"/>
              <a:gd name="connsiteX2520" fmla="*/ 3482479 w 7714416"/>
              <a:gd name="connsiteY2520" fmla="*/ 4803165 h 5282095"/>
              <a:gd name="connsiteX2521" fmla="*/ 3484484 w 7714416"/>
              <a:gd name="connsiteY2521" fmla="*/ 4802720 h 5282095"/>
              <a:gd name="connsiteX2522" fmla="*/ 3476749 w 7714416"/>
              <a:gd name="connsiteY2522" fmla="*/ 4803387 h 5282095"/>
              <a:gd name="connsiteX2523" fmla="*/ 3473884 w 7714416"/>
              <a:gd name="connsiteY2523" fmla="*/ 4797832 h 5282095"/>
              <a:gd name="connsiteX2524" fmla="*/ 3475317 w 7714416"/>
              <a:gd name="connsiteY2524" fmla="*/ 4795722 h 5282095"/>
              <a:gd name="connsiteX2525" fmla="*/ 3470734 w 7714416"/>
              <a:gd name="connsiteY2525" fmla="*/ 4796611 h 5282095"/>
              <a:gd name="connsiteX2526" fmla="*/ 3467296 w 7714416"/>
              <a:gd name="connsiteY2526" fmla="*/ 4788835 h 5282095"/>
              <a:gd name="connsiteX2527" fmla="*/ 3476176 w 7714416"/>
              <a:gd name="connsiteY2527" fmla="*/ 4787391 h 5282095"/>
              <a:gd name="connsiteX2528" fmla="*/ 3479041 w 7714416"/>
              <a:gd name="connsiteY2528" fmla="*/ 4791057 h 5282095"/>
              <a:gd name="connsiteX2529" fmla="*/ 3484484 w 7714416"/>
              <a:gd name="connsiteY2529" fmla="*/ 4787724 h 5282095"/>
              <a:gd name="connsiteX2530" fmla="*/ 3492792 w 7714416"/>
              <a:gd name="connsiteY2530" fmla="*/ 4786058 h 5282095"/>
              <a:gd name="connsiteX2531" fmla="*/ 2425999 w 7714416"/>
              <a:gd name="connsiteY2531" fmla="*/ 4786058 h 5282095"/>
              <a:gd name="connsiteX2532" fmla="*/ 2427431 w 7714416"/>
              <a:gd name="connsiteY2532" fmla="*/ 4795055 h 5282095"/>
              <a:gd name="connsiteX2533" fmla="*/ 2418550 w 7714416"/>
              <a:gd name="connsiteY2533" fmla="*/ 4802609 h 5282095"/>
              <a:gd name="connsiteX2534" fmla="*/ 2420555 w 7714416"/>
              <a:gd name="connsiteY2534" fmla="*/ 4802165 h 5282095"/>
              <a:gd name="connsiteX2535" fmla="*/ 2421128 w 7714416"/>
              <a:gd name="connsiteY2535" fmla="*/ 4800943 h 5282095"/>
              <a:gd name="connsiteX2536" fmla="*/ 2424852 w 7714416"/>
              <a:gd name="connsiteY2536" fmla="*/ 4799166 h 5282095"/>
              <a:gd name="connsiteX2537" fmla="*/ 2427144 w 7714416"/>
              <a:gd name="connsiteY2537" fmla="*/ 4800721 h 5282095"/>
              <a:gd name="connsiteX2538" fmla="*/ 2432587 w 7714416"/>
              <a:gd name="connsiteY2538" fmla="*/ 4799610 h 5282095"/>
              <a:gd name="connsiteX2539" fmla="*/ 2454072 w 7714416"/>
              <a:gd name="connsiteY2539" fmla="*/ 4801387 h 5282095"/>
              <a:gd name="connsiteX2540" fmla="*/ 2457222 w 7714416"/>
              <a:gd name="connsiteY2540" fmla="*/ 4798610 h 5282095"/>
              <a:gd name="connsiteX2541" fmla="*/ 2464957 w 7714416"/>
              <a:gd name="connsiteY2541" fmla="*/ 4793834 h 5282095"/>
              <a:gd name="connsiteX2542" fmla="*/ 2472405 w 7714416"/>
              <a:gd name="connsiteY2542" fmla="*/ 4796277 h 5282095"/>
              <a:gd name="connsiteX2543" fmla="*/ 2472405 w 7714416"/>
              <a:gd name="connsiteY2543" fmla="*/ 4800943 h 5282095"/>
              <a:gd name="connsiteX2544" fmla="*/ 2466104 w 7714416"/>
              <a:gd name="connsiteY2544" fmla="*/ 4804053 h 5282095"/>
              <a:gd name="connsiteX2545" fmla="*/ 2462092 w 7714416"/>
              <a:gd name="connsiteY2545" fmla="*/ 4804720 h 5282095"/>
              <a:gd name="connsiteX2546" fmla="*/ 2463525 w 7714416"/>
              <a:gd name="connsiteY2546" fmla="*/ 4805497 h 5282095"/>
              <a:gd name="connsiteX2547" fmla="*/ 2468396 w 7714416"/>
              <a:gd name="connsiteY2547" fmla="*/ 4811607 h 5282095"/>
              <a:gd name="connsiteX2548" fmla="*/ 2428290 w 7714416"/>
              <a:gd name="connsiteY2548" fmla="*/ 4828048 h 5282095"/>
              <a:gd name="connsiteX2549" fmla="*/ 2415686 w 7714416"/>
              <a:gd name="connsiteY2549" fmla="*/ 4803165 h 5282095"/>
              <a:gd name="connsiteX2550" fmla="*/ 2417690 w 7714416"/>
              <a:gd name="connsiteY2550" fmla="*/ 4802720 h 5282095"/>
              <a:gd name="connsiteX2551" fmla="*/ 2409956 w 7714416"/>
              <a:gd name="connsiteY2551" fmla="*/ 4803386 h 5282095"/>
              <a:gd name="connsiteX2552" fmla="*/ 2407091 w 7714416"/>
              <a:gd name="connsiteY2552" fmla="*/ 4797833 h 5282095"/>
              <a:gd name="connsiteX2553" fmla="*/ 2408524 w 7714416"/>
              <a:gd name="connsiteY2553" fmla="*/ 4795723 h 5282095"/>
              <a:gd name="connsiteX2554" fmla="*/ 2403941 w 7714416"/>
              <a:gd name="connsiteY2554" fmla="*/ 4796611 h 5282095"/>
              <a:gd name="connsiteX2555" fmla="*/ 2400502 w 7714416"/>
              <a:gd name="connsiteY2555" fmla="*/ 4788835 h 5282095"/>
              <a:gd name="connsiteX2556" fmla="*/ 2409383 w 7714416"/>
              <a:gd name="connsiteY2556" fmla="*/ 4787391 h 5282095"/>
              <a:gd name="connsiteX2557" fmla="*/ 2412248 w 7714416"/>
              <a:gd name="connsiteY2557" fmla="*/ 4791056 h 5282095"/>
              <a:gd name="connsiteX2558" fmla="*/ 2417690 w 7714416"/>
              <a:gd name="connsiteY2558" fmla="*/ 4787724 h 5282095"/>
              <a:gd name="connsiteX2559" fmla="*/ 2425999 w 7714416"/>
              <a:gd name="connsiteY2559" fmla="*/ 4786058 h 5282095"/>
              <a:gd name="connsiteX2560" fmla="*/ 3549511 w 7714416"/>
              <a:gd name="connsiteY2560" fmla="*/ 4782393 h 5282095"/>
              <a:gd name="connsiteX2561" fmla="*/ 3552090 w 7714416"/>
              <a:gd name="connsiteY2561" fmla="*/ 4783503 h 5282095"/>
              <a:gd name="connsiteX2562" fmla="*/ 3550084 w 7714416"/>
              <a:gd name="connsiteY2562" fmla="*/ 4785724 h 5282095"/>
              <a:gd name="connsiteX2563" fmla="*/ 3542922 w 7714416"/>
              <a:gd name="connsiteY2563" fmla="*/ 4790945 h 5282095"/>
              <a:gd name="connsiteX2564" fmla="*/ 3541491 w 7714416"/>
              <a:gd name="connsiteY2564" fmla="*/ 4787280 h 5282095"/>
              <a:gd name="connsiteX2565" fmla="*/ 3544929 w 7714416"/>
              <a:gd name="connsiteY2565" fmla="*/ 4785280 h 5282095"/>
              <a:gd name="connsiteX2566" fmla="*/ 3546934 w 7714416"/>
              <a:gd name="connsiteY2566" fmla="*/ 4783059 h 5282095"/>
              <a:gd name="connsiteX2567" fmla="*/ 3549511 w 7714416"/>
              <a:gd name="connsiteY2567" fmla="*/ 4782393 h 5282095"/>
              <a:gd name="connsiteX2568" fmla="*/ 2482718 w 7714416"/>
              <a:gd name="connsiteY2568" fmla="*/ 4782392 h 5282095"/>
              <a:gd name="connsiteX2569" fmla="*/ 2485296 w 7714416"/>
              <a:gd name="connsiteY2569" fmla="*/ 4783392 h 5282095"/>
              <a:gd name="connsiteX2570" fmla="*/ 2483291 w 7714416"/>
              <a:gd name="connsiteY2570" fmla="*/ 4785725 h 5282095"/>
              <a:gd name="connsiteX2571" fmla="*/ 2476129 w 7714416"/>
              <a:gd name="connsiteY2571" fmla="*/ 4790945 h 5282095"/>
              <a:gd name="connsiteX2572" fmla="*/ 2474698 w 7714416"/>
              <a:gd name="connsiteY2572" fmla="*/ 4787280 h 5282095"/>
              <a:gd name="connsiteX2573" fmla="*/ 2478134 w 7714416"/>
              <a:gd name="connsiteY2573" fmla="*/ 4785280 h 5282095"/>
              <a:gd name="connsiteX2574" fmla="*/ 2480141 w 7714416"/>
              <a:gd name="connsiteY2574" fmla="*/ 4783059 h 5282095"/>
              <a:gd name="connsiteX2575" fmla="*/ 2482718 w 7714416"/>
              <a:gd name="connsiteY2575" fmla="*/ 4782392 h 5282095"/>
              <a:gd name="connsiteX2576" fmla="*/ 3346409 w 7714416"/>
              <a:gd name="connsiteY2576" fmla="*/ 4781615 h 5282095"/>
              <a:gd name="connsiteX2577" fmla="*/ 3347554 w 7714416"/>
              <a:gd name="connsiteY2577" fmla="*/ 4794056 h 5282095"/>
              <a:gd name="connsiteX2578" fmla="*/ 3334949 w 7714416"/>
              <a:gd name="connsiteY2578" fmla="*/ 4794500 h 5282095"/>
              <a:gd name="connsiteX2579" fmla="*/ 3326355 w 7714416"/>
              <a:gd name="connsiteY2579" fmla="*/ 4788168 h 5282095"/>
              <a:gd name="connsiteX2580" fmla="*/ 3346409 w 7714416"/>
              <a:gd name="connsiteY2580" fmla="*/ 4781615 h 5282095"/>
              <a:gd name="connsiteX2581" fmla="*/ 2279616 w 7714416"/>
              <a:gd name="connsiteY2581" fmla="*/ 4781615 h 5282095"/>
              <a:gd name="connsiteX2582" fmla="*/ 2280761 w 7714416"/>
              <a:gd name="connsiteY2582" fmla="*/ 4794056 h 5282095"/>
              <a:gd name="connsiteX2583" fmla="*/ 2268156 w 7714416"/>
              <a:gd name="connsiteY2583" fmla="*/ 4794500 h 5282095"/>
              <a:gd name="connsiteX2584" fmla="*/ 2259562 w 7714416"/>
              <a:gd name="connsiteY2584" fmla="*/ 4788168 h 5282095"/>
              <a:gd name="connsiteX2585" fmla="*/ 2279616 w 7714416"/>
              <a:gd name="connsiteY2585" fmla="*/ 4781615 h 5282095"/>
              <a:gd name="connsiteX2586" fmla="*/ 4000406 w 7714416"/>
              <a:gd name="connsiteY2586" fmla="*/ 4778615 h 5282095"/>
              <a:gd name="connsiteX2587" fmla="*/ 4003270 w 7714416"/>
              <a:gd name="connsiteY2587" fmla="*/ 4786280 h 5282095"/>
              <a:gd name="connsiteX2588" fmla="*/ 3990380 w 7714416"/>
              <a:gd name="connsiteY2588" fmla="*/ 4784059 h 5282095"/>
              <a:gd name="connsiteX2589" fmla="*/ 4000406 w 7714416"/>
              <a:gd name="connsiteY2589" fmla="*/ 4778615 h 5282095"/>
              <a:gd name="connsiteX2590" fmla="*/ 5067200 w 7714416"/>
              <a:gd name="connsiteY2590" fmla="*/ 4778615 h 5282095"/>
              <a:gd name="connsiteX2591" fmla="*/ 5070064 w 7714416"/>
              <a:gd name="connsiteY2591" fmla="*/ 4786280 h 5282095"/>
              <a:gd name="connsiteX2592" fmla="*/ 5057173 w 7714416"/>
              <a:gd name="connsiteY2592" fmla="*/ 4784058 h 5282095"/>
              <a:gd name="connsiteX2593" fmla="*/ 5067200 w 7714416"/>
              <a:gd name="connsiteY2593" fmla="*/ 4778615 h 5282095"/>
              <a:gd name="connsiteX2594" fmla="*/ 6374908 w 7714416"/>
              <a:gd name="connsiteY2594" fmla="*/ 4778614 h 5282095"/>
              <a:gd name="connsiteX2595" fmla="*/ 6377774 w 7714416"/>
              <a:gd name="connsiteY2595" fmla="*/ 4786280 h 5282095"/>
              <a:gd name="connsiteX2596" fmla="*/ 6364882 w 7714416"/>
              <a:gd name="connsiteY2596" fmla="*/ 4784058 h 5282095"/>
              <a:gd name="connsiteX2597" fmla="*/ 6374908 w 7714416"/>
              <a:gd name="connsiteY2597" fmla="*/ 4778614 h 5282095"/>
              <a:gd name="connsiteX2598" fmla="*/ 3372763 w 7714416"/>
              <a:gd name="connsiteY2598" fmla="*/ 4774950 h 5282095"/>
              <a:gd name="connsiteX2599" fmla="*/ 3375055 w 7714416"/>
              <a:gd name="connsiteY2599" fmla="*/ 4777949 h 5282095"/>
              <a:gd name="connsiteX2600" fmla="*/ 3372190 w 7714416"/>
              <a:gd name="connsiteY2600" fmla="*/ 4792612 h 5282095"/>
              <a:gd name="connsiteX2601" fmla="*/ 3372763 w 7714416"/>
              <a:gd name="connsiteY2601" fmla="*/ 4774950 h 5282095"/>
              <a:gd name="connsiteX2602" fmla="*/ 5747266 w 7714416"/>
              <a:gd name="connsiteY2602" fmla="*/ 4774950 h 5282095"/>
              <a:gd name="connsiteX2603" fmla="*/ 5749844 w 7714416"/>
              <a:gd name="connsiteY2603" fmla="*/ 4777949 h 5282095"/>
              <a:gd name="connsiteX2604" fmla="*/ 5746692 w 7714416"/>
              <a:gd name="connsiteY2604" fmla="*/ 4792611 h 5282095"/>
              <a:gd name="connsiteX2605" fmla="*/ 5747266 w 7714416"/>
              <a:gd name="connsiteY2605" fmla="*/ 4774950 h 5282095"/>
              <a:gd name="connsiteX2606" fmla="*/ 4439556 w 7714416"/>
              <a:gd name="connsiteY2606" fmla="*/ 4774949 h 5282095"/>
              <a:gd name="connsiteX2607" fmla="*/ 4442134 w 7714416"/>
              <a:gd name="connsiteY2607" fmla="*/ 4777949 h 5282095"/>
              <a:gd name="connsiteX2608" fmla="*/ 4438982 w 7714416"/>
              <a:gd name="connsiteY2608" fmla="*/ 4792612 h 5282095"/>
              <a:gd name="connsiteX2609" fmla="*/ 4439556 w 7714416"/>
              <a:gd name="connsiteY2609" fmla="*/ 4774949 h 5282095"/>
              <a:gd name="connsiteX2610" fmla="*/ 2403940 w 7714416"/>
              <a:gd name="connsiteY2610" fmla="*/ 4774284 h 5282095"/>
              <a:gd name="connsiteX2611" fmla="*/ 2374434 w 7714416"/>
              <a:gd name="connsiteY2611" fmla="*/ 4782614 h 5282095"/>
              <a:gd name="connsiteX2612" fmla="*/ 2374434 w 7714416"/>
              <a:gd name="connsiteY2612" fmla="*/ 4777837 h 5282095"/>
              <a:gd name="connsiteX2613" fmla="*/ 2378159 w 7714416"/>
              <a:gd name="connsiteY2613" fmla="*/ 4778060 h 5282095"/>
              <a:gd name="connsiteX2614" fmla="*/ 2403940 w 7714416"/>
              <a:gd name="connsiteY2614" fmla="*/ 4774284 h 5282095"/>
              <a:gd name="connsiteX2615" fmla="*/ 4778443 w 7714416"/>
              <a:gd name="connsiteY2615" fmla="*/ 4774283 h 5282095"/>
              <a:gd name="connsiteX2616" fmla="*/ 4748937 w 7714416"/>
              <a:gd name="connsiteY2616" fmla="*/ 4782613 h 5282095"/>
              <a:gd name="connsiteX2617" fmla="*/ 4749224 w 7714416"/>
              <a:gd name="connsiteY2617" fmla="*/ 4777837 h 5282095"/>
              <a:gd name="connsiteX2618" fmla="*/ 4752661 w 7714416"/>
              <a:gd name="connsiteY2618" fmla="*/ 4778060 h 5282095"/>
              <a:gd name="connsiteX2619" fmla="*/ 4778443 w 7714416"/>
              <a:gd name="connsiteY2619" fmla="*/ 4774283 h 5282095"/>
              <a:gd name="connsiteX2620" fmla="*/ 3470734 w 7714416"/>
              <a:gd name="connsiteY2620" fmla="*/ 4774283 h 5282095"/>
              <a:gd name="connsiteX2621" fmla="*/ 3441227 w 7714416"/>
              <a:gd name="connsiteY2621" fmla="*/ 4782614 h 5282095"/>
              <a:gd name="connsiteX2622" fmla="*/ 3441227 w 7714416"/>
              <a:gd name="connsiteY2622" fmla="*/ 4777837 h 5282095"/>
              <a:gd name="connsiteX2623" fmla="*/ 3444952 w 7714416"/>
              <a:gd name="connsiteY2623" fmla="*/ 4778060 h 5282095"/>
              <a:gd name="connsiteX2624" fmla="*/ 3470734 w 7714416"/>
              <a:gd name="connsiteY2624" fmla="*/ 4774283 h 5282095"/>
              <a:gd name="connsiteX2625" fmla="*/ 5174910 w 7714416"/>
              <a:gd name="connsiteY2625" fmla="*/ 4773505 h 5282095"/>
              <a:gd name="connsiteX2626" fmla="*/ 5179493 w 7714416"/>
              <a:gd name="connsiteY2626" fmla="*/ 4775061 h 5282095"/>
              <a:gd name="connsiteX2627" fmla="*/ 5170612 w 7714416"/>
              <a:gd name="connsiteY2627" fmla="*/ 4788057 h 5282095"/>
              <a:gd name="connsiteX2628" fmla="*/ 5158868 w 7714416"/>
              <a:gd name="connsiteY2628" fmla="*/ 4778615 h 5282095"/>
              <a:gd name="connsiteX2629" fmla="*/ 5174910 w 7714416"/>
              <a:gd name="connsiteY2629" fmla="*/ 4773505 h 5282095"/>
              <a:gd name="connsiteX2630" fmla="*/ 2800120 w 7714416"/>
              <a:gd name="connsiteY2630" fmla="*/ 4773505 h 5282095"/>
              <a:gd name="connsiteX2631" fmla="*/ 2804991 w 7714416"/>
              <a:gd name="connsiteY2631" fmla="*/ 4775061 h 5282095"/>
              <a:gd name="connsiteX2632" fmla="*/ 2796110 w 7714416"/>
              <a:gd name="connsiteY2632" fmla="*/ 4788057 h 5282095"/>
              <a:gd name="connsiteX2633" fmla="*/ 2784365 w 7714416"/>
              <a:gd name="connsiteY2633" fmla="*/ 4778614 h 5282095"/>
              <a:gd name="connsiteX2634" fmla="*/ 2800120 w 7714416"/>
              <a:gd name="connsiteY2634" fmla="*/ 4773505 h 5282095"/>
              <a:gd name="connsiteX2635" fmla="*/ 3866913 w 7714416"/>
              <a:gd name="connsiteY2635" fmla="*/ 4773505 h 5282095"/>
              <a:gd name="connsiteX2636" fmla="*/ 3871783 w 7714416"/>
              <a:gd name="connsiteY2636" fmla="*/ 4775061 h 5282095"/>
              <a:gd name="connsiteX2637" fmla="*/ 3862903 w 7714416"/>
              <a:gd name="connsiteY2637" fmla="*/ 4788057 h 5282095"/>
              <a:gd name="connsiteX2638" fmla="*/ 3851158 w 7714416"/>
              <a:gd name="connsiteY2638" fmla="*/ 4778615 h 5282095"/>
              <a:gd name="connsiteX2639" fmla="*/ 3866913 w 7714416"/>
              <a:gd name="connsiteY2639" fmla="*/ 4773505 h 5282095"/>
              <a:gd name="connsiteX2640" fmla="*/ 3482192 w 7714416"/>
              <a:gd name="connsiteY2640" fmla="*/ 4768951 h 5282095"/>
              <a:gd name="connsiteX2641" fmla="*/ 3484197 w 7714416"/>
              <a:gd name="connsiteY2641" fmla="*/ 4769840 h 5282095"/>
              <a:gd name="connsiteX2642" fmla="*/ 3477323 w 7714416"/>
              <a:gd name="connsiteY2642" fmla="*/ 4772727 h 5282095"/>
              <a:gd name="connsiteX2643" fmla="*/ 3475603 w 7714416"/>
              <a:gd name="connsiteY2643" fmla="*/ 4771506 h 5282095"/>
              <a:gd name="connsiteX2644" fmla="*/ 3482192 w 7714416"/>
              <a:gd name="connsiteY2644" fmla="*/ 4768951 h 5282095"/>
              <a:gd name="connsiteX2645" fmla="*/ 2415399 w 7714416"/>
              <a:gd name="connsiteY2645" fmla="*/ 4768951 h 5282095"/>
              <a:gd name="connsiteX2646" fmla="*/ 2417404 w 7714416"/>
              <a:gd name="connsiteY2646" fmla="*/ 4769840 h 5282095"/>
              <a:gd name="connsiteX2647" fmla="*/ 2410530 w 7714416"/>
              <a:gd name="connsiteY2647" fmla="*/ 4772727 h 5282095"/>
              <a:gd name="connsiteX2648" fmla="*/ 2408810 w 7714416"/>
              <a:gd name="connsiteY2648" fmla="*/ 4771505 h 5282095"/>
              <a:gd name="connsiteX2649" fmla="*/ 2415399 w 7714416"/>
              <a:gd name="connsiteY2649" fmla="*/ 4768951 h 5282095"/>
              <a:gd name="connsiteX2650" fmla="*/ 3993530 w 7714416"/>
              <a:gd name="connsiteY2650" fmla="*/ 4767619 h 5282095"/>
              <a:gd name="connsiteX2651" fmla="*/ 4001552 w 7714416"/>
              <a:gd name="connsiteY2651" fmla="*/ 4773505 h 5282095"/>
              <a:gd name="connsiteX2652" fmla="*/ 3998687 w 7714416"/>
              <a:gd name="connsiteY2652" fmla="*/ 4776949 h 5282095"/>
              <a:gd name="connsiteX2653" fmla="*/ 3993530 w 7714416"/>
              <a:gd name="connsiteY2653" fmla="*/ 4767619 h 5282095"/>
              <a:gd name="connsiteX2654" fmla="*/ 5301240 w 7714416"/>
              <a:gd name="connsiteY2654" fmla="*/ 4767618 h 5282095"/>
              <a:gd name="connsiteX2655" fmla="*/ 5309261 w 7714416"/>
              <a:gd name="connsiteY2655" fmla="*/ 4773505 h 5282095"/>
              <a:gd name="connsiteX2656" fmla="*/ 5306397 w 7714416"/>
              <a:gd name="connsiteY2656" fmla="*/ 4776949 h 5282095"/>
              <a:gd name="connsiteX2657" fmla="*/ 5301240 w 7714416"/>
              <a:gd name="connsiteY2657" fmla="*/ 4767618 h 5282095"/>
              <a:gd name="connsiteX2658" fmla="*/ 2926737 w 7714416"/>
              <a:gd name="connsiteY2658" fmla="*/ 4767618 h 5282095"/>
              <a:gd name="connsiteX2659" fmla="*/ 2934758 w 7714416"/>
              <a:gd name="connsiteY2659" fmla="*/ 4773505 h 5282095"/>
              <a:gd name="connsiteX2660" fmla="*/ 2931894 w 7714416"/>
              <a:gd name="connsiteY2660" fmla="*/ 4776949 h 5282095"/>
              <a:gd name="connsiteX2661" fmla="*/ 2926737 w 7714416"/>
              <a:gd name="connsiteY2661" fmla="*/ 4767618 h 5282095"/>
              <a:gd name="connsiteX2662" fmla="*/ 3457842 w 7714416"/>
              <a:gd name="connsiteY2662" fmla="*/ 4767396 h 5282095"/>
              <a:gd name="connsiteX2663" fmla="*/ 3467010 w 7714416"/>
              <a:gd name="connsiteY2663" fmla="*/ 4768396 h 5282095"/>
              <a:gd name="connsiteX2664" fmla="*/ 3467009 w 7714416"/>
              <a:gd name="connsiteY2664" fmla="*/ 4769506 h 5282095"/>
              <a:gd name="connsiteX2665" fmla="*/ 3449535 w 7714416"/>
              <a:gd name="connsiteY2665" fmla="*/ 4770728 h 5282095"/>
              <a:gd name="connsiteX2666" fmla="*/ 3442947 w 7714416"/>
              <a:gd name="connsiteY2666" fmla="*/ 4769840 h 5282095"/>
              <a:gd name="connsiteX2667" fmla="*/ 3444666 w 7714416"/>
              <a:gd name="connsiteY2667" fmla="*/ 4769951 h 5282095"/>
              <a:gd name="connsiteX2668" fmla="*/ 3443233 w 7714416"/>
              <a:gd name="connsiteY2668" fmla="*/ 4768617 h 5282095"/>
              <a:gd name="connsiteX2669" fmla="*/ 3450394 w 7714416"/>
              <a:gd name="connsiteY2669" fmla="*/ 4767396 h 5282095"/>
              <a:gd name="connsiteX2670" fmla="*/ 3457842 w 7714416"/>
              <a:gd name="connsiteY2670" fmla="*/ 4767396 h 5282095"/>
              <a:gd name="connsiteX2671" fmla="*/ 2391049 w 7714416"/>
              <a:gd name="connsiteY2671" fmla="*/ 4767395 h 5282095"/>
              <a:gd name="connsiteX2672" fmla="*/ 2400216 w 7714416"/>
              <a:gd name="connsiteY2672" fmla="*/ 4768396 h 5282095"/>
              <a:gd name="connsiteX2673" fmla="*/ 2400216 w 7714416"/>
              <a:gd name="connsiteY2673" fmla="*/ 4769506 h 5282095"/>
              <a:gd name="connsiteX2674" fmla="*/ 2382742 w 7714416"/>
              <a:gd name="connsiteY2674" fmla="*/ 4770728 h 5282095"/>
              <a:gd name="connsiteX2675" fmla="*/ 2376154 w 7714416"/>
              <a:gd name="connsiteY2675" fmla="*/ 4769840 h 5282095"/>
              <a:gd name="connsiteX2676" fmla="*/ 2377872 w 7714416"/>
              <a:gd name="connsiteY2676" fmla="*/ 4769951 h 5282095"/>
              <a:gd name="connsiteX2677" fmla="*/ 2376439 w 7714416"/>
              <a:gd name="connsiteY2677" fmla="*/ 4768618 h 5282095"/>
              <a:gd name="connsiteX2678" fmla="*/ 2383601 w 7714416"/>
              <a:gd name="connsiteY2678" fmla="*/ 4767396 h 5282095"/>
              <a:gd name="connsiteX2679" fmla="*/ 2391049 w 7714416"/>
              <a:gd name="connsiteY2679" fmla="*/ 4767395 h 5282095"/>
              <a:gd name="connsiteX2680" fmla="*/ 4960348 w 7714416"/>
              <a:gd name="connsiteY2680" fmla="*/ 4766619 h 5282095"/>
              <a:gd name="connsiteX2681" fmla="*/ 4952040 w 7714416"/>
              <a:gd name="connsiteY2681" fmla="*/ 4774728 h 5282095"/>
              <a:gd name="connsiteX2682" fmla="*/ 4960348 w 7714416"/>
              <a:gd name="connsiteY2682" fmla="*/ 4766619 h 5282095"/>
              <a:gd name="connsiteX2683" fmla="*/ 3593054 w 7714416"/>
              <a:gd name="connsiteY2683" fmla="*/ 4766619 h 5282095"/>
              <a:gd name="connsiteX2684" fmla="*/ 3560970 w 7714416"/>
              <a:gd name="connsiteY2684" fmla="*/ 4783947 h 5282095"/>
              <a:gd name="connsiteX2685" fmla="*/ 3573574 w 7714416"/>
              <a:gd name="connsiteY2685" fmla="*/ 4772060 h 5282095"/>
              <a:gd name="connsiteX2686" fmla="*/ 3593054 w 7714416"/>
              <a:gd name="connsiteY2686" fmla="*/ 4766619 h 5282095"/>
              <a:gd name="connsiteX2687" fmla="*/ 5967556 w 7714416"/>
              <a:gd name="connsiteY2687" fmla="*/ 4766618 h 5282095"/>
              <a:gd name="connsiteX2688" fmla="*/ 5935472 w 7714416"/>
              <a:gd name="connsiteY2688" fmla="*/ 4783948 h 5282095"/>
              <a:gd name="connsiteX2689" fmla="*/ 5948077 w 7714416"/>
              <a:gd name="connsiteY2689" fmla="*/ 4772061 h 5282095"/>
              <a:gd name="connsiteX2690" fmla="*/ 5967556 w 7714416"/>
              <a:gd name="connsiteY2690" fmla="*/ 4766618 h 5282095"/>
              <a:gd name="connsiteX2691" fmla="*/ 3652639 w 7714416"/>
              <a:gd name="connsiteY2691" fmla="*/ 4766618 h 5282095"/>
              <a:gd name="connsiteX2692" fmla="*/ 3644331 w 7714416"/>
              <a:gd name="connsiteY2692" fmla="*/ 4774728 h 5282095"/>
              <a:gd name="connsiteX2693" fmla="*/ 3652639 w 7714416"/>
              <a:gd name="connsiteY2693" fmla="*/ 4766618 h 5282095"/>
              <a:gd name="connsiteX2694" fmla="*/ 2585846 w 7714416"/>
              <a:gd name="connsiteY2694" fmla="*/ 4766618 h 5282095"/>
              <a:gd name="connsiteX2695" fmla="*/ 2577538 w 7714416"/>
              <a:gd name="connsiteY2695" fmla="*/ 4774727 h 5282095"/>
              <a:gd name="connsiteX2696" fmla="*/ 2585846 w 7714416"/>
              <a:gd name="connsiteY2696" fmla="*/ 4766618 h 5282095"/>
              <a:gd name="connsiteX2697" fmla="*/ 4659846 w 7714416"/>
              <a:gd name="connsiteY2697" fmla="*/ 4766618 h 5282095"/>
              <a:gd name="connsiteX2698" fmla="*/ 4655262 w 7714416"/>
              <a:gd name="connsiteY2698" fmla="*/ 4773061 h 5282095"/>
              <a:gd name="connsiteX2699" fmla="*/ 4650107 w 7714416"/>
              <a:gd name="connsiteY2699" fmla="*/ 4776283 h 5282095"/>
              <a:gd name="connsiteX2700" fmla="*/ 4652972 w 7714416"/>
              <a:gd name="connsiteY2700" fmla="*/ 4775950 h 5282095"/>
              <a:gd name="connsiteX2701" fmla="*/ 4669300 w 7714416"/>
              <a:gd name="connsiteY2701" fmla="*/ 4778393 h 5282095"/>
              <a:gd name="connsiteX2702" fmla="*/ 4633206 w 7714416"/>
              <a:gd name="connsiteY2702" fmla="*/ 4804164 h 5282095"/>
              <a:gd name="connsiteX2703" fmla="*/ 4624898 w 7714416"/>
              <a:gd name="connsiteY2703" fmla="*/ 4796277 h 5282095"/>
              <a:gd name="connsiteX2704" fmla="*/ 4615731 w 7714416"/>
              <a:gd name="connsiteY2704" fmla="*/ 4788724 h 5282095"/>
              <a:gd name="connsiteX2705" fmla="*/ 4600548 w 7714416"/>
              <a:gd name="connsiteY2705" fmla="*/ 4802054 h 5282095"/>
              <a:gd name="connsiteX2706" fmla="*/ 4592528 w 7714416"/>
              <a:gd name="connsiteY2706" fmla="*/ 4807053 h 5282095"/>
              <a:gd name="connsiteX2707" fmla="*/ 4596252 w 7714416"/>
              <a:gd name="connsiteY2707" fmla="*/ 4812496 h 5282095"/>
              <a:gd name="connsiteX2708" fmla="*/ 4594246 w 7714416"/>
              <a:gd name="connsiteY2708" fmla="*/ 4815606 h 5282095"/>
              <a:gd name="connsiteX2709" fmla="*/ 4594819 w 7714416"/>
              <a:gd name="connsiteY2709" fmla="*/ 4816605 h 5282095"/>
              <a:gd name="connsiteX2710" fmla="*/ 4592529 w 7714416"/>
              <a:gd name="connsiteY2710" fmla="*/ 4818716 h 5282095"/>
              <a:gd name="connsiteX2711" fmla="*/ 4587085 w 7714416"/>
              <a:gd name="connsiteY2711" fmla="*/ 4812940 h 5282095"/>
              <a:gd name="connsiteX2712" fmla="*/ 4585939 w 7714416"/>
              <a:gd name="connsiteY2712" fmla="*/ 4810940 h 5282095"/>
              <a:gd name="connsiteX2713" fmla="*/ 4576772 w 7714416"/>
              <a:gd name="connsiteY2713" fmla="*/ 4816495 h 5282095"/>
              <a:gd name="connsiteX2714" fmla="*/ 4490833 w 7714416"/>
              <a:gd name="connsiteY2714" fmla="*/ 4831491 h 5282095"/>
              <a:gd name="connsiteX2715" fmla="*/ 4499713 w 7714416"/>
              <a:gd name="connsiteY2715" fmla="*/ 4811496 h 5282095"/>
              <a:gd name="connsiteX2716" fmla="*/ 4629195 w 7714416"/>
              <a:gd name="connsiteY2716" fmla="*/ 4777060 h 5282095"/>
              <a:gd name="connsiteX2717" fmla="*/ 4622320 w 7714416"/>
              <a:gd name="connsiteY2717" fmla="*/ 4783169 h 5282095"/>
              <a:gd name="connsiteX2718" fmla="*/ 4629482 w 7714416"/>
              <a:gd name="connsiteY2718" fmla="*/ 4779615 h 5282095"/>
              <a:gd name="connsiteX2719" fmla="*/ 4632919 w 7714416"/>
              <a:gd name="connsiteY2719" fmla="*/ 4778837 h 5282095"/>
              <a:gd name="connsiteX2720" fmla="*/ 4633493 w 7714416"/>
              <a:gd name="connsiteY2720" fmla="*/ 4778282 h 5282095"/>
              <a:gd name="connsiteX2721" fmla="*/ 4640367 w 7714416"/>
              <a:gd name="connsiteY2721" fmla="*/ 4772061 h 5282095"/>
              <a:gd name="connsiteX2722" fmla="*/ 4659846 w 7714416"/>
              <a:gd name="connsiteY2722" fmla="*/ 4766618 h 5282095"/>
              <a:gd name="connsiteX2723" fmla="*/ 2754572 w 7714416"/>
              <a:gd name="connsiteY2723" fmla="*/ 4765952 h 5282095"/>
              <a:gd name="connsiteX2724" fmla="*/ 2759157 w 7714416"/>
              <a:gd name="connsiteY2724" fmla="*/ 4780282 h 5282095"/>
              <a:gd name="connsiteX2725" fmla="*/ 2754572 w 7714416"/>
              <a:gd name="connsiteY2725" fmla="*/ 4765952 h 5282095"/>
              <a:gd name="connsiteX2726" fmla="*/ 5129075 w 7714416"/>
              <a:gd name="connsiteY2726" fmla="*/ 4765952 h 5282095"/>
              <a:gd name="connsiteX2727" fmla="*/ 5133659 w 7714416"/>
              <a:gd name="connsiteY2727" fmla="*/ 4780281 h 5282095"/>
              <a:gd name="connsiteX2728" fmla="*/ 5129075 w 7714416"/>
              <a:gd name="connsiteY2728" fmla="*/ 4765952 h 5282095"/>
              <a:gd name="connsiteX2729" fmla="*/ 3821366 w 7714416"/>
              <a:gd name="connsiteY2729" fmla="*/ 4765952 h 5282095"/>
              <a:gd name="connsiteX2730" fmla="*/ 3825949 w 7714416"/>
              <a:gd name="connsiteY2730" fmla="*/ 4780281 h 5282095"/>
              <a:gd name="connsiteX2731" fmla="*/ 3821366 w 7714416"/>
              <a:gd name="connsiteY2731" fmla="*/ 4765952 h 5282095"/>
              <a:gd name="connsiteX2732" fmla="*/ 4759823 w 7714416"/>
              <a:gd name="connsiteY2732" fmla="*/ 4765730 h 5282095"/>
              <a:gd name="connsiteX2733" fmla="*/ 4756099 w 7714416"/>
              <a:gd name="connsiteY2733" fmla="*/ 4767729 h 5282095"/>
              <a:gd name="connsiteX2734" fmla="*/ 4752088 w 7714416"/>
              <a:gd name="connsiteY2734" fmla="*/ 4768617 h 5282095"/>
              <a:gd name="connsiteX2735" fmla="*/ 4762974 w 7714416"/>
              <a:gd name="connsiteY2735" fmla="*/ 4767729 h 5282095"/>
              <a:gd name="connsiteX2736" fmla="*/ 4761542 w 7714416"/>
              <a:gd name="connsiteY2736" fmla="*/ 4765841 h 5282095"/>
              <a:gd name="connsiteX2737" fmla="*/ 4759823 w 7714416"/>
              <a:gd name="connsiteY2737" fmla="*/ 4765730 h 5282095"/>
              <a:gd name="connsiteX2738" fmla="*/ 5780495 w 7714416"/>
              <a:gd name="connsiteY2738" fmla="*/ 4763952 h 5282095"/>
              <a:gd name="connsiteX2739" fmla="*/ 5780782 w 7714416"/>
              <a:gd name="connsiteY2739" fmla="*/ 4767396 h 5282095"/>
              <a:gd name="connsiteX2740" fmla="*/ 5769036 w 7714416"/>
              <a:gd name="connsiteY2740" fmla="*/ 4778838 h 5282095"/>
              <a:gd name="connsiteX2741" fmla="*/ 5780495 w 7714416"/>
              <a:gd name="connsiteY2741" fmla="*/ 4763952 h 5282095"/>
              <a:gd name="connsiteX2742" fmla="*/ 4472786 w 7714416"/>
              <a:gd name="connsiteY2742" fmla="*/ 4763952 h 5282095"/>
              <a:gd name="connsiteX2743" fmla="*/ 4473072 w 7714416"/>
              <a:gd name="connsiteY2743" fmla="*/ 4767396 h 5282095"/>
              <a:gd name="connsiteX2744" fmla="*/ 4461327 w 7714416"/>
              <a:gd name="connsiteY2744" fmla="*/ 4778838 h 5282095"/>
              <a:gd name="connsiteX2745" fmla="*/ 4472786 w 7714416"/>
              <a:gd name="connsiteY2745" fmla="*/ 4763952 h 5282095"/>
              <a:gd name="connsiteX2746" fmla="*/ 2859132 w 7714416"/>
              <a:gd name="connsiteY2746" fmla="*/ 4763397 h 5282095"/>
              <a:gd name="connsiteX2747" fmla="*/ 2855695 w 7714416"/>
              <a:gd name="connsiteY2747" fmla="*/ 4774171 h 5282095"/>
              <a:gd name="connsiteX2748" fmla="*/ 2838506 w 7714416"/>
              <a:gd name="connsiteY2748" fmla="*/ 4776283 h 5282095"/>
              <a:gd name="connsiteX2749" fmla="*/ 2859132 w 7714416"/>
              <a:gd name="connsiteY2749" fmla="*/ 4763397 h 5282095"/>
              <a:gd name="connsiteX2750" fmla="*/ 5233635 w 7714416"/>
              <a:gd name="connsiteY2750" fmla="*/ 4763397 h 5282095"/>
              <a:gd name="connsiteX2751" fmla="*/ 5230197 w 7714416"/>
              <a:gd name="connsiteY2751" fmla="*/ 4774172 h 5282095"/>
              <a:gd name="connsiteX2752" fmla="*/ 5213010 w 7714416"/>
              <a:gd name="connsiteY2752" fmla="*/ 4776282 h 5282095"/>
              <a:gd name="connsiteX2753" fmla="*/ 5233635 w 7714416"/>
              <a:gd name="connsiteY2753" fmla="*/ 4763397 h 5282095"/>
              <a:gd name="connsiteX2754" fmla="*/ 4489973 w 7714416"/>
              <a:gd name="connsiteY2754" fmla="*/ 4760620 h 5282095"/>
              <a:gd name="connsiteX2755" fmla="*/ 4498567 w 7714416"/>
              <a:gd name="connsiteY2755" fmla="*/ 4763397 h 5282095"/>
              <a:gd name="connsiteX2756" fmla="*/ 4487108 w 7714416"/>
              <a:gd name="connsiteY2756" fmla="*/ 4769617 h 5282095"/>
              <a:gd name="connsiteX2757" fmla="*/ 4481666 w 7714416"/>
              <a:gd name="connsiteY2757" fmla="*/ 4763063 h 5282095"/>
              <a:gd name="connsiteX2758" fmla="*/ 4489973 w 7714416"/>
              <a:gd name="connsiteY2758" fmla="*/ 4760620 h 5282095"/>
              <a:gd name="connsiteX2759" fmla="*/ 3423181 w 7714416"/>
              <a:gd name="connsiteY2759" fmla="*/ 4760620 h 5282095"/>
              <a:gd name="connsiteX2760" fmla="*/ 3431775 w 7714416"/>
              <a:gd name="connsiteY2760" fmla="*/ 4763397 h 5282095"/>
              <a:gd name="connsiteX2761" fmla="*/ 3420316 w 7714416"/>
              <a:gd name="connsiteY2761" fmla="*/ 4769617 h 5282095"/>
              <a:gd name="connsiteX2762" fmla="*/ 3414873 w 7714416"/>
              <a:gd name="connsiteY2762" fmla="*/ 4763063 h 5282095"/>
              <a:gd name="connsiteX2763" fmla="*/ 3423181 w 7714416"/>
              <a:gd name="connsiteY2763" fmla="*/ 4760620 h 5282095"/>
              <a:gd name="connsiteX2764" fmla="*/ 5797683 w 7714416"/>
              <a:gd name="connsiteY2764" fmla="*/ 4760619 h 5282095"/>
              <a:gd name="connsiteX2765" fmla="*/ 5806277 w 7714416"/>
              <a:gd name="connsiteY2765" fmla="*/ 4763397 h 5282095"/>
              <a:gd name="connsiteX2766" fmla="*/ 5795105 w 7714416"/>
              <a:gd name="connsiteY2766" fmla="*/ 4769618 h 5282095"/>
              <a:gd name="connsiteX2767" fmla="*/ 5789376 w 7714416"/>
              <a:gd name="connsiteY2767" fmla="*/ 4763064 h 5282095"/>
              <a:gd name="connsiteX2768" fmla="*/ 5797683 w 7714416"/>
              <a:gd name="connsiteY2768" fmla="*/ 4760619 h 5282095"/>
              <a:gd name="connsiteX2769" fmla="*/ 3621701 w 7714416"/>
              <a:gd name="connsiteY2769" fmla="*/ 4760065 h 5282095"/>
              <a:gd name="connsiteX2770" fmla="*/ 3642040 w 7714416"/>
              <a:gd name="connsiteY2770" fmla="*/ 4770284 h 5282095"/>
              <a:gd name="connsiteX2771" fmla="*/ 3640607 w 7714416"/>
              <a:gd name="connsiteY2771" fmla="*/ 4777949 h 5282095"/>
              <a:gd name="connsiteX2772" fmla="*/ 3614539 w 7714416"/>
              <a:gd name="connsiteY2772" fmla="*/ 4760397 h 5282095"/>
              <a:gd name="connsiteX2773" fmla="*/ 3621701 w 7714416"/>
              <a:gd name="connsiteY2773" fmla="*/ 4760065 h 5282095"/>
              <a:gd name="connsiteX2774" fmla="*/ 2554908 w 7714416"/>
              <a:gd name="connsiteY2774" fmla="*/ 4760064 h 5282095"/>
              <a:gd name="connsiteX2775" fmla="*/ 2574959 w 7714416"/>
              <a:gd name="connsiteY2775" fmla="*/ 4770284 h 5282095"/>
              <a:gd name="connsiteX2776" fmla="*/ 2573527 w 7714416"/>
              <a:gd name="connsiteY2776" fmla="*/ 4777949 h 5282095"/>
              <a:gd name="connsiteX2777" fmla="*/ 2547746 w 7714416"/>
              <a:gd name="connsiteY2777" fmla="*/ 4760397 h 5282095"/>
              <a:gd name="connsiteX2778" fmla="*/ 2554908 w 7714416"/>
              <a:gd name="connsiteY2778" fmla="*/ 4760064 h 5282095"/>
              <a:gd name="connsiteX2779" fmla="*/ 3531177 w 7714416"/>
              <a:gd name="connsiteY2779" fmla="*/ 4758176 h 5282095"/>
              <a:gd name="connsiteX2780" fmla="*/ 3534042 w 7714416"/>
              <a:gd name="connsiteY2780" fmla="*/ 4758509 h 5282095"/>
              <a:gd name="connsiteX2781" fmla="*/ 3522870 w 7714416"/>
              <a:gd name="connsiteY2781" fmla="*/ 4765841 h 5282095"/>
              <a:gd name="connsiteX2782" fmla="*/ 3518860 w 7714416"/>
              <a:gd name="connsiteY2782" fmla="*/ 4765396 h 5282095"/>
              <a:gd name="connsiteX2783" fmla="*/ 3518859 w 7714416"/>
              <a:gd name="connsiteY2783" fmla="*/ 4761842 h 5282095"/>
              <a:gd name="connsiteX2784" fmla="*/ 3531177 w 7714416"/>
              <a:gd name="connsiteY2784" fmla="*/ 4758176 h 5282095"/>
              <a:gd name="connsiteX2785" fmla="*/ 2464384 w 7714416"/>
              <a:gd name="connsiteY2785" fmla="*/ 4758176 h 5282095"/>
              <a:gd name="connsiteX2786" fmla="*/ 2467249 w 7714416"/>
              <a:gd name="connsiteY2786" fmla="*/ 4758510 h 5282095"/>
              <a:gd name="connsiteX2787" fmla="*/ 2456077 w 7714416"/>
              <a:gd name="connsiteY2787" fmla="*/ 4765841 h 5282095"/>
              <a:gd name="connsiteX2788" fmla="*/ 2452067 w 7714416"/>
              <a:gd name="connsiteY2788" fmla="*/ 4765396 h 5282095"/>
              <a:gd name="connsiteX2789" fmla="*/ 2452066 w 7714416"/>
              <a:gd name="connsiteY2789" fmla="*/ 4761842 h 5282095"/>
              <a:gd name="connsiteX2790" fmla="*/ 2464384 w 7714416"/>
              <a:gd name="connsiteY2790" fmla="*/ 4758176 h 5282095"/>
              <a:gd name="connsiteX2791" fmla="*/ 6287537 w 7714416"/>
              <a:gd name="connsiteY2791" fmla="*/ 4755399 h 5282095"/>
              <a:gd name="connsiteX2792" fmla="*/ 6293553 w 7714416"/>
              <a:gd name="connsiteY2792" fmla="*/ 4755843 h 5282095"/>
              <a:gd name="connsiteX2793" fmla="*/ 6294985 w 7714416"/>
              <a:gd name="connsiteY2793" fmla="*/ 4758620 h 5282095"/>
              <a:gd name="connsiteX2794" fmla="*/ 6296131 w 7714416"/>
              <a:gd name="connsiteY2794" fmla="*/ 4762175 h 5282095"/>
              <a:gd name="connsiteX2795" fmla="*/ 6278370 w 7714416"/>
              <a:gd name="connsiteY2795" fmla="*/ 4765507 h 5282095"/>
              <a:gd name="connsiteX2796" fmla="*/ 6287537 w 7714416"/>
              <a:gd name="connsiteY2796" fmla="*/ 4755399 h 5282095"/>
              <a:gd name="connsiteX2797" fmla="*/ 4979827 w 7714416"/>
              <a:gd name="connsiteY2797" fmla="*/ 4755399 h 5282095"/>
              <a:gd name="connsiteX2798" fmla="*/ 4985556 w 7714416"/>
              <a:gd name="connsiteY2798" fmla="*/ 4755844 h 5282095"/>
              <a:gd name="connsiteX2799" fmla="*/ 4987275 w 7714416"/>
              <a:gd name="connsiteY2799" fmla="*/ 4758620 h 5282095"/>
              <a:gd name="connsiteX2800" fmla="*/ 4988421 w 7714416"/>
              <a:gd name="connsiteY2800" fmla="*/ 4762175 h 5282095"/>
              <a:gd name="connsiteX2801" fmla="*/ 4970660 w 7714416"/>
              <a:gd name="connsiteY2801" fmla="*/ 4765508 h 5282095"/>
              <a:gd name="connsiteX2802" fmla="*/ 4979827 w 7714416"/>
              <a:gd name="connsiteY2802" fmla="*/ 4755399 h 5282095"/>
              <a:gd name="connsiteX2803" fmla="*/ 3913034 w 7714416"/>
              <a:gd name="connsiteY2803" fmla="*/ 4755398 h 5282095"/>
              <a:gd name="connsiteX2804" fmla="*/ 3918763 w 7714416"/>
              <a:gd name="connsiteY2804" fmla="*/ 4755843 h 5282095"/>
              <a:gd name="connsiteX2805" fmla="*/ 3920482 w 7714416"/>
              <a:gd name="connsiteY2805" fmla="*/ 4758620 h 5282095"/>
              <a:gd name="connsiteX2806" fmla="*/ 3921628 w 7714416"/>
              <a:gd name="connsiteY2806" fmla="*/ 4762175 h 5282095"/>
              <a:gd name="connsiteX2807" fmla="*/ 3918763 w 7714416"/>
              <a:gd name="connsiteY2807" fmla="*/ 4763509 h 5282095"/>
              <a:gd name="connsiteX2808" fmla="*/ 3925925 w 7714416"/>
              <a:gd name="connsiteY2808" fmla="*/ 4763397 h 5282095"/>
              <a:gd name="connsiteX2809" fmla="*/ 3922487 w 7714416"/>
              <a:gd name="connsiteY2809" fmla="*/ 4774172 h 5282095"/>
              <a:gd name="connsiteX2810" fmla="*/ 3905300 w 7714416"/>
              <a:gd name="connsiteY2810" fmla="*/ 4776282 h 5282095"/>
              <a:gd name="connsiteX2811" fmla="*/ 3911029 w 7714416"/>
              <a:gd name="connsiteY2811" fmla="*/ 4766174 h 5282095"/>
              <a:gd name="connsiteX2812" fmla="*/ 3903867 w 7714416"/>
              <a:gd name="connsiteY2812" fmla="*/ 4765507 h 5282095"/>
              <a:gd name="connsiteX2813" fmla="*/ 3913034 w 7714416"/>
              <a:gd name="connsiteY2813" fmla="*/ 4755398 h 5282095"/>
              <a:gd name="connsiteX2814" fmla="*/ 5741250 w 7714416"/>
              <a:gd name="connsiteY2814" fmla="*/ 4755177 h 5282095"/>
              <a:gd name="connsiteX2815" fmla="*/ 5744974 w 7714416"/>
              <a:gd name="connsiteY2815" fmla="*/ 4756288 h 5282095"/>
              <a:gd name="connsiteX2816" fmla="*/ 5738958 w 7714416"/>
              <a:gd name="connsiteY2816" fmla="*/ 4760064 h 5282095"/>
              <a:gd name="connsiteX2817" fmla="*/ 5736093 w 7714416"/>
              <a:gd name="connsiteY2817" fmla="*/ 4757176 h 5282095"/>
              <a:gd name="connsiteX2818" fmla="*/ 5741250 w 7714416"/>
              <a:gd name="connsiteY2818" fmla="*/ 4755177 h 5282095"/>
              <a:gd name="connsiteX2819" fmla="*/ 4433540 w 7714416"/>
              <a:gd name="connsiteY2819" fmla="*/ 4755177 h 5282095"/>
              <a:gd name="connsiteX2820" fmla="*/ 4436977 w 7714416"/>
              <a:gd name="connsiteY2820" fmla="*/ 4756287 h 5282095"/>
              <a:gd name="connsiteX2821" fmla="*/ 4431248 w 7714416"/>
              <a:gd name="connsiteY2821" fmla="*/ 4760064 h 5282095"/>
              <a:gd name="connsiteX2822" fmla="*/ 4428384 w 7714416"/>
              <a:gd name="connsiteY2822" fmla="*/ 4757175 h 5282095"/>
              <a:gd name="connsiteX2823" fmla="*/ 4433540 w 7714416"/>
              <a:gd name="connsiteY2823" fmla="*/ 4755177 h 5282095"/>
              <a:gd name="connsiteX2824" fmla="*/ 3366748 w 7714416"/>
              <a:gd name="connsiteY2824" fmla="*/ 4755176 h 5282095"/>
              <a:gd name="connsiteX2825" fmla="*/ 3370184 w 7714416"/>
              <a:gd name="connsiteY2825" fmla="*/ 4756288 h 5282095"/>
              <a:gd name="connsiteX2826" fmla="*/ 3364455 w 7714416"/>
              <a:gd name="connsiteY2826" fmla="*/ 4760065 h 5282095"/>
              <a:gd name="connsiteX2827" fmla="*/ 3361590 w 7714416"/>
              <a:gd name="connsiteY2827" fmla="*/ 4757176 h 5282095"/>
              <a:gd name="connsiteX2828" fmla="*/ 3366748 w 7714416"/>
              <a:gd name="connsiteY2828" fmla="*/ 4755176 h 5282095"/>
              <a:gd name="connsiteX2829" fmla="*/ 2326308 w 7714416"/>
              <a:gd name="connsiteY2829" fmla="*/ 4755066 h 5282095"/>
              <a:gd name="connsiteX2830" fmla="*/ 2335762 w 7714416"/>
              <a:gd name="connsiteY2830" fmla="*/ 4755732 h 5282095"/>
              <a:gd name="connsiteX2831" fmla="*/ 2335475 w 7714416"/>
              <a:gd name="connsiteY2831" fmla="*/ 4769284 h 5282095"/>
              <a:gd name="connsiteX2832" fmla="*/ 2319433 w 7714416"/>
              <a:gd name="connsiteY2832" fmla="*/ 4757510 h 5282095"/>
              <a:gd name="connsiteX2833" fmla="*/ 2326308 w 7714416"/>
              <a:gd name="connsiteY2833" fmla="*/ 4755066 h 5282095"/>
              <a:gd name="connsiteX2834" fmla="*/ 4700811 w 7714416"/>
              <a:gd name="connsiteY2834" fmla="*/ 4755066 h 5282095"/>
              <a:gd name="connsiteX2835" fmla="*/ 4710551 w 7714416"/>
              <a:gd name="connsiteY2835" fmla="*/ 4755733 h 5282095"/>
              <a:gd name="connsiteX2836" fmla="*/ 4710264 w 7714416"/>
              <a:gd name="connsiteY2836" fmla="*/ 4769284 h 5282095"/>
              <a:gd name="connsiteX2837" fmla="*/ 4693936 w 7714416"/>
              <a:gd name="connsiteY2837" fmla="*/ 4757510 h 5282095"/>
              <a:gd name="connsiteX2838" fmla="*/ 4700811 w 7714416"/>
              <a:gd name="connsiteY2838" fmla="*/ 4755066 h 5282095"/>
              <a:gd name="connsiteX2839" fmla="*/ 3393101 w 7714416"/>
              <a:gd name="connsiteY2839" fmla="*/ 4755066 h 5282095"/>
              <a:gd name="connsiteX2840" fmla="*/ 3402555 w 7714416"/>
              <a:gd name="connsiteY2840" fmla="*/ 4755732 h 5282095"/>
              <a:gd name="connsiteX2841" fmla="*/ 3405420 w 7714416"/>
              <a:gd name="connsiteY2841" fmla="*/ 4761952 h 5282095"/>
              <a:gd name="connsiteX2842" fmla="*/ 3403987 w 7714416"/>
              <a:gd name="connsiteY2842" fmla="*/ 4765396 h 5282095"/>
              <a:gd name="connsiteX2843" fmla="*/ 3405992 w 7714416"/>
              <a:gd name="connsiteY2843" fmla="*/ 4763953 h 5282095"/>
              <a:gd name="connsiteX2844" fmla="*/ 3406279 w 7714416"/>
              <a:gd name="connsiteY2844" fmla="*/ 4767396 h 5282095"/>
              <a:gd name="connsiteX2845" fmla="*/ 3394534 w 7714416"/>
              <a:gd name="connsiteY2845" fmla="*/ 4778837 h 5282095"/>
              <a:gd name="connsiteX2846" fmla="*/ 3397112 w 7714416"/>
              <a:gd name="connsiteY2846" fmla="*/ 4771062 h 5282095"/>
              <a:gd name="connsiteX2847" fmla="*/ 3399405 w 7714416"/>
              <a:gd name="connsiteY2847" fmla="*/ 4769174 h 5282095"/>
              <a:gd name="connsiteX2848" fmla="*/ 3395681 w 7714416"/>
              <a:gd name="connsiteY2848" fmla="*/ 4769062 h 5282095"/>
              <a:gd name="connsiteX2849" fmla="*/ 3386226 w 7714416"/>
              <a:gd name="connsiteY2849" fmla="*/ 4757509 h 5282095"/>
              <a:gd name="connsiteX2850" fmla="*/ 3393101 w 7714416"/>
              <a:gd name="connsiteY2850" fmla="*/ 4755066 h 5282095"/>
              <a:gd name="connsiteX2851" fmla="*/ 5076652 w 7714416"/>
              <a:gd name="connsiteY2851" fmla="*/ 4751622 h 5282095"/>
              <a:gd name="connsiteX2852" fmla="*/ 5084387 w 7714416"/>
              <a:gd name="connsiteY2852" fmla="*/ 4758287 h 5282095"/>
              <a:gd name="connsiteX2853" fmla="*/ 5082955 w 7714416"/>
              <a:gd name="connsiteY2853" fmla="*/ 4764063 h 5282095"/>
              <a:gd name="connsiteX2854" fmla="*/ 5069777 w 7714416"/>
              <a:gd name="connsiteY2854" fmla="*/ 4767840 h 5282095"/>
              <a:gd name="connsiteX2855" fmla="*/ 5061756 w 7714416"/>
              <a:gd name="connsiteY2855" fmla="*/ 4755732 h 5282095"/>
              <a:gd name="connsiteX2856" fmla="*/ 5076652 w 7714416"/>
              <a:gd name="connsiteY2856" fmla="*/ 4751622 h 5282095"/>
              <a:gd name="connsiteX2857" fmla="*/ 3768943 w 7714416"/>
              <a:gd name="connsiteY2857" fmla="*/ 4751622 h 5282095"/>
              <a:gd name="connsiteX2858" fmla="*/ 3776677 w 7714416"/>
              <a:gd name="connsiteY2858" fmla="*/ 4758287 h 5282095"/>
              <a:gd name="connsiteX2859" fmla="*/ 3775245 w 7714416"/>
              <a:gd name="connsiteY2859" fmla="*/ 4764063 h 5282095"/>
              <a:gd name="connsiteX2860" fmla="*/ 3762067 w 7714416"/>
              <a:gd name="connsiteY2860" fmla="*/ 4767840 h 5282095"/>
              <a:gd name="connsiteX2861" fmla="*/ 3754046 w 7714416"/>
              <a:gd name="connsiteY2861" fmla="*/ 4755732 h 5282095"/>
              <a:gd name="connsiteX2862" fmla="*/ 3768943 w 7714416"/>
              <a:gd name="connsiteY2862" fmla="*/ 4751622 h 5282095"/>
              <a:gd name="connsiteX2863" fmla="*/ 2702149 w 7714416"/>
              <a:gd name="connsiteY2863" fmla="*/ 4751622 h 5282095"/>
              <a:gd name="connsiteX2864" fmla="*/ 2709884 w 7714416"/>
              <a:gd name="connsiteY2864" fmla="*/ 4758287 h 5282095"/>
              <a:gd name="connsiteX2865" fmla="*/ 2708453 w 7714416"/>
              <a:gd name="connsiteY2865" fmla="*/ 4764063 h 5282095"/>
              <a:gd name="connsiteX2866" fmla="*/ 2695274 w 7714416"/>
              <a:gd name="connsiteY2866" fmla="*/ 4767840 h 5282095"/>
              <a:gd name="connsiteX2867" fmla="*/ 2687253 w 7714416"/>
              <a:gd name="connsiteY2867" fmla="*/ 4755732 h 5282095"/>
              <a:gd name="connsiteX2868" fmla="*/ 2702149 w 7714416"/>
              <a:gd name="connsiteY2868" fmla="*/ 4751622 h 5282095"/>
              <a:gd name="connsiteX2869" fmla="*/ 5235926 w 7714416"/>
              <a:gd name="connsiteY2869" fmla="*/ 4750622 h 5282095"/>
              <a:gd name="connsiteX2870" fmla="*/ 5243661 w 7714416"/>
              <a:gd name="connsiteY2870" fmla="*/ 4756510 h 5282095"/>
              <a:gd name="connsiteX2871" fmla="*/ 5229624 w 7714416"/>
              <a:gd name="connsiteY2871" fmla="*/ 4756843 h 5282095"/>
              <a:gd name="connsiteX2872" fmla="*/ 5235926 w 7714416"/>
              <a:gd name="connsiteY2872" fmla="*/ 4750622 h 5282095"/>
              <a:gd name="connsiteX2873" fmla="*/ 3928217 w 7714416"/>
              <a:gd name="connsiteY2873" fmla="*/ 4750622 h 5282095"/>
              <a:gd name="connsiteX2874" fmla="*/ 3935665 w 7714416"/>
              <a:gd name="connsiteY2874" fmla="*/ 4756510 h 5282095"/>
              <a:gd name="connsiteX2875" fmla="*/ 3921914 w 7714416"/>
              <a:gd name="connsiteY2875" fmla="*/ 4756843 h 5282095"/>
              <a:gd name="connsiteX2876" fmla="*/ 3928217 w 7714416"/>
              <a:gd name="connsiteY2876" fmla="*/ 4750622 h 5282095"/>
              <a:gd name="connsiteX2877" fmla="*/ 2861425 w 7714416"/>
              <a:gd name="connsiteY2877" fmla="*/ 4750622 h 5282095"/>
              <a:gd name="connsiteX2878" fmla="*/ 2868873 w 7714416"/>
              <a:gd name="connsiteY2878" fmla="*/ 4756510 h 5282095"/>
              <a:gd name="connsiteX2879" fmla="*/ 2855121 w 7714416"/>
              <a:gd name="connsiteY2879" fmla="*/ 4756844 h 5282095"/>
              <a:gd name="connsiteX2880" fmla="*/ 2861425 w 7714416"/>
              <a:gd name="connsiteY2880" fmla="*/ 4750622 h 5282095"/>
              <a:gd name="connsiteX2881" fmla="*/ 3630294 w 7714416"/>
              <a:gd name="connsiteY2881" fmla="*/ 4749511 h 5282095"/>
              <a:gd name="connsiteX2882" fmla="*/ 3638888 w 7714416"/>
              <a:gd name="connsiteY2882" fmla="*/ 4755066 h 5282095"/>
              <a:gd name="connsiteX2883" fmla="*/ 3632873 w 7714416"/>
              <a:gd name="connsiteY2883" fmla="*/ 4762842 h 5282095"/>
              <a:gd name="connsiteX2884" fmla="*/ 3628289 w 7714416"/>
              <a:gd name="connsiteY2884" fmla="*/ 4761731 h 5282095"/>
              <a:gd name="connsiteX2885" fmla="*/ 3630294 w 7714416"/>
              <a:gd name="connsiteY2885" fmla="*/ 4749511 h 5282095"/>
              <a:gd name="connsiteX2886" fmla="*/ 4938004 w 7714416"/>
              <a:gd name="connsiteY2886" fmla="*/ 4749511 h 5282095"/>
              <a:gd name="connsiteX2887" fmla="*/ 4946598 w 7714416"/>
              <a:gd name="connsiteY2887" fmla="*/ 4755066 h 5282095"/>
              <a:gd name="connsiteX2888" fmla="*/ 4940582 w 7714416"/>
              <a:gd name="connsiteY2888" fmla="*/ 4762841 h 5282095"/>
              <a:gd name="connsiteX2889" fmla="*/ 4935998 w 7714416"/>
              <a:gd name="connsiteY2889" fmla="*/ 4761731 h 5282095"/>
              <a:gd name="connsiteX2890" fmla="*/ 4938004 w 7714416"/>
              <a:gd name="connsiteY2890" fmla="*/ 4749511 h 5282095"/>
              <a:gd name="connsiteX2891" fmla="*/ 2563501 w 7714416"/>
              <a:gd name="connsiteY2891" fmla="*/ 4749511 h 5282095"/>
              <a:gd name="connsiteX2892" fmla="*/ 2572095 w 7714416"/>
              <a:gd name="connsiteY2892" fmla="*/ 4755066 h 5282095"/>
              <a:gd name="connsiteX2893" fmla="*/ 2566080 w 7714416"/>
              <a:gd name="connsiteY2893" fmla="*/ 4762842 h 5282095"/>
              <a:gd name="connsiteX2894" fmla="*/ 2561495 w 7714416"/>
              <a:gd name="connsiteY2894" fmla="*/ 4761731 h 5282095"/>
              <a:gd name="connsiteX2895" fmla="*/ 2563501 w 7714416"/>
              <a:gd name="connsiteY2895" fmla="*/ 4749511 h 5282095"/>
              <a:gd name="connsiteX2896" fmla="*/ 2731083 w 7714416"/>
              <a:gd name="connsiteY2896" fmla="*/ 4747956 h 5282095"/>
              <a:gd name="connsiteX2897" fmla="*/ 2715613 w 7714416"/>
              <a:gd name="connsiteY2897" fmla="*/ 4756843 h 5282095"/>
              <a:gd name="connsiteX2898" fmla="*/ 2731083 w 7714416"/>
              <a:gd name="connsiteY2898" fmla="*/ 4747956 h 5282095"/>
              <a:gd name="connsiteX2899" fmla="*/ 5105585 w 7714416"/>
              <a:gd name="connsiteY2899" fmla="*/ 4747956 h 5282095"/>
              <a:gd name="connsiteX2900" fmla="*/ 5090116 w 7714416"/>
              <a:gd name="connsiteY2900" fmla="*/ 4756843 h 5282095"/>
              <a:gd name="connsiteX2901" fmla="*/ 5105585 w 7714416"/>
              <a:gd name="connsiteY2901" fmla="*/ 4747956 h 5282095"/>
              <a:gd name="connsiteX2902" fmla="*/ 3797876 w 7714416"/>
              <a:gd name="connsiteY2902" fmla="*/ 4747956 h 5282095"/>
              <a:gd name="connsiteX2903" fmla="*/ 3782406 w 7714416"/>
              <a:gd name="connsiteY2903" fmla="*/ 4756844 h 5282095"/>
              <a:gd name="connsiteX2904" fmla="*/ 3797876 w 7714416"/>
              <a:gd name="connsiteY2904" fmla="*/ 4747956 h 5282095"/>
              <a:gd name="connsiteX2905" fmla="*/ 3682717 w 7714416"/>
              <a:gd name="connsiteY2905" fmla="*/ 4746735 h 5282095"/>
              <a:gd name="connsiteX2906" fmla="*/ 3694463 w 7714416"/>
              <a:gd name="connsiteY2906" fmla="*/ 4750400 h 5282095"/>
              <a:gd name="connsiteX2907" fmla="*/ 3696468 w 7714416"/>
              <a:gd name="connsiteY2907" fmla="*/ 4763730 h 5282095"/>
              <a:gd name="connsiteX2908" fmla="*/ 3699905 w 7714416"/>
              <a:gd name="connsiteY2908" fmla="*/ 4765285 h 5282095"/>
              <a:gd name="connsiteX2909" fmla="*/ 3702769 w 7714416"/>
              <a:gd name="connsiteY2909" fmla="*/ 4770284 h 5282095"/>
              <a:gd name="connsiteX2910" fmla="*/ 3699333 w 7714416"/>
              <a:gd name="connsiteY2910" fmla="*/ 4771061 h 5282095"/>
              <a:gd name="connsiteX2911" fmla="*/ 3694749 w 7714416"/>
              <a:gd name="connsiteY2911" fmla="*/ 4765841 h 5282095"/>
              <a:gd name="connsiteX2912" fmla="*/ 3693030 w 7714416"/>
              <a:gd name="connsiteY2912" fmla="*/ 4765730 h 5282095"/>
              <a:gd name="connsiteX2913" fmla="*/ 3689307 w 7714416"/>
              <a:gd name="connsiteY2913" fmla="*/ 4767729 h 5282095"/>
              <a:gd name="connsiteX2914" fmla="*/ 3672691 w 7714416"/>
              <a:gd name="connsiteY2914" fmla="*/ 4765841 h 5282095"/>
              <a:gd name="connsiteX2915" fmla="*/ 3668967 w 7714416"/>
              <a:gd name="connsiteY2915" fmla="*/ 4752400 h 5282095"/>
              <a:gd name="connsiteX2916" fmla="*/ 3674410 w 7714416"/>
              <a:gd name="connsiteY2916" fmla="*/ 4747068 h 5282095"/>
              <a:gd name="connsiteX2917" fmla="*/ 3682717 w 7714416"/>
              <a:gd name="connsiteY2917" fmla="*/ 4746735 h 5282095"/>
              <a:gd name="connsiteX2918" fmla="*/ 6057220 w 7714416"/>
              <a:gd name="connsiteY2918" fmla="*/ 4746734 h 5282095"/>
              <a:gd name="connsiteX2919" fmla="*/ 6068965 w 7714416"/>
              <a:gd name="connsiteY2919" fmla="*/ 4750400 h 5282095"/>
              <a:gd name="connsiteX2920" fmla="*/ 6070970 w 7714416"/>
              <a:gd name="connsiteY2920" fmla="*/ 4763730 h 5282095"/>
              <a:gd name="connsiteX2921" fmla="*/ 6074408 w 7714416"/>
              <a:gd name="connsiteY2921" fmla="*/ 4765285 h 5282095"/>
              <a:gd name="connsiteX2922" fmla="*/ 6077272 w 7714416"/>
              <a:gd name="connsiteY2922" fmla="*/ 4770284 h 5282095"/>
              <a:gd name="connsiteX2923" fmla="*/ 6073834 w 7714416"/>
              <a:gd name="connsiteY2923" fmla="*/ 4771061 h 5282095"/>
              <a:gd name="connsiteX2924" fmla="*/ 6069251 w 7714416"/>
              <a:gd name="connsiteY2924" fmla="*/ 4765841 h 5282095"/>
              <a:gd name="connsiteX2925" fmla="*/ 6067532 w 7714416"/>
              <a:gd name="connsiteY2925" fmla="*/ 4765730 h 5282095"/>
              <a:gd name="connsiteX2926" fmla="*/ 6063808 w 7714416"/>
              <a:gd name="connsiteY2926" fmla="*/ 4767729 h 5282095"/>
              <a:gd name="connsiteX2927" fmla="*/ 6047194 w 7714416"/>
              <a:gd name="connsiteY2927" fmla="*/ 4765841 h 5282095"/>
              <a:gd name="connsiteX2928" fmla="*/ 6043470 w 7714416"/>
              <a:gd name="connsiteY2928" fmla="*/ 4752400 h 5282095"/>
              <a:gd name="connsiteX2929" fmla="*/ 6049198 w 7714416"/>
              <a:gd name="connsiteY2929" fmla="*/ 4747068 h 5282095"/>
              <a:gd name="connsiteX2930" fmla="*/ 6057220 w 7714416"/>
              <a:gd name="connsiteY2930" fmla="*/ 4746734 h 5282095"/>
              <a:gd name="connsiteX2931" fmla="*/ 4749510 w 7714416"/>
              <a:gd name="connsiteY2931" fmla="*/ 4746734 h 5282095"/>
              <a:gd name="connsiteX2932" fmla="*/ 4761255 w 7714416"/>
              <a:gd name="connsiteY2932" fmla="*/ 4750400 h 5282095"/>
              <a:gd name="connsiteX2933" fmla="*/ 4763260 w 7714416"/>
              <a:gd name="connsiteY2933" fmla="*/ 4763730 h 5282095"/>
              <a:gd name="connsiteX2934" fmla="*/ 4766698 w 7714416"/>
              <a:gd name="connsiteY2934" fmla="*/ 4765285 h 5282095"/>
              <a:gd name="connsiteX2935" fmla="*/ 4768130 w 7714416"/>
              <a:gd name="connsiteY2935" fmla="*/ 4767729 h 5282095"/>
              <a:gd name="connsiteX2936" fmla="*/ 4774719 w 7714416"/>
              <a:gd name="connsiteY2936" fmla="*/ 4768396 h 5282095"/>
              <a:gd name="connsiteX2937" fmla="*/ 4774719 w 7714416"/>
              <a:gd name="connsiteY2937" fmla="*/ 4769507 h 5282095"/>
              <a:gd name="connsiteX2938" fmla="*/ 4768990 w 7714416"/>
              <a:gd name="connsiteY2938" fmla="*/ 4769618 h 5282095"/>
              <a:gd name="connsiteX2939" fmla="*/ 4769562 w 7714416"/>
              <a:gd name="connsiteY2939" fmla="*/ 4770283 h 5282095"/>
              <a:gd name="connsiteX2940" fmla="*/ 4766125 w 7714416"/>
              <a:gd name="connsiteY2940" fmla="*/ 4771061 h 5282095"/>
              <a:gd name="connsiteX2941" fmla="*/ 4764692 w 7714416"/>
              <a:gd name="connsiteY2941" fmla="*/ 4769840 h 5282095"/>
              <a:gd name="connsiteX2942" fmla="*/ 4757244 w 7714416"/>
              <a:gd name="connsiteY2942" fmla="*/ 4770728 h 5282095"/>
              <a:gd name="connsiteX2943" fmla="*/ 4750942 w 7714416"/>
              <a:gd name="connsiteY2943" fmla="*/ 4769840 h 5282095"/>
              <a:gd name="connsiteX2944" fmla="*/ 4752661 w 7714416"/>
              <a:gd name="connsiteY2944" fmla="*/ 4769951 h 5282095"/>
              <a:gd name="connsiteX2945" fmla="*/ 4750942 w 7714416"/>
              <a:gd name="connsiteY2945" fmla="*/ 4768840 h 5282095"/>
              <a:gd name="connsiteX2946" fmla="*/ 4750656 w 7714416"/>
              <a:gd name="connsiteY2946" fmla="*/ 4768840 h 5282095"/>
              <a:gd name="connsiteX2947" fmla="*/ 4739484 w 7714416"/>
              <a:gd name="connsiteY2947" fmla="*/ 4765841 h 5282095"/>
              <a:gd name="connsiteX2948" fmla="*/ 4735760 w 7714416"/>
              <a:gd name="connsiteY2948" fmla="*/ 4752399 h 5282095"/>
              <a:gd name="connsiteX2949" fmla="*/ 4741203 w 7714416"/>
              <a:gd name="connsiteY2949" fmla="*/ 4747067 h 5282095"/>
              <a:gd name="connsiteX2950" fmla="*/ 4749510 w 7714416"/>
              <a:gd name="connsiteY2950" fmla="*/ 4746734 h 5282095"/>
              <a:gd name="connsiteX2951" fmla="*/ 4693650 w 7714416"/>
              <a:gd name="connsiteY2951" fmla="*/ 4743180 h 5282095"/>
              <a:gd name="connsiteX2952" fmla="*/ 4698233 w 7714416"/>
              <a:gd name="connsiteY2952" fmla="*/ 4743513 h 5282095"/>
              <a:gd name="connsiteX2953" fmla="*/ 4701098 w 7714416"/>
              <a:gd name="connsiteY2953" fmla="*/ 4744513 h 5282095"/>
              <a:gd name="connsiteX2954" fmla="*/ 4701384 w 7714416"/>
              <a:gd name="connsiteY2954" fmla="*/ 4746290 h 5282095"/>
              <a:gd name="connsiteX2955" fmla="*/ 4697087 w 7714416"/>
              <a:gd name="connsiteY2955" fmla="*/ 4748734 h 5282095"/>
              <a:gd name="connsiteX2956" fmla="*/ 4691644 w 7714416"/>
              <a:gd name="connsiteY2956" fmla="*/ 4748956 h 5282095"/>
              <a:gd name="connsiteX2957" fmla="*/ 4690212 w 7714416"/>
              <a:gd name="connsiteY2957" fmla="*/ 4747401 h 5282095"/>
              <a:gd name="connsiteX2958" fmla="*/ 4689639 w 7714416"/>
              <a:gd name="connsiteY2958" fmla="*/ 4744623 h 5282095"/>
              <a:gd name="connsiteX2959" fmla="*/ 4693650 w 7714416"/>
              <a:gd name="connsiteY2959" fmla="*/ 4743180 h 5282095"/>
              <a:gd name="connsiteX2960" fmla="*/ 2319147 w 7714416"/>
              <a:gd name="connsiteY2960" fmla="*/ 4743180 h 5282095"/>
              <a:gd name="connsiteX2961" fmla="*/ 2323730 w 7714416"/>
              <a:gd name="connsiteY2961" fmla="*/ 4743513 h 5282095"/>
              <a:gd name="connsiteX2962" fmla="*/ 2326595 w 7714416"/>
              <a:gd name="connsiteY2962" fmla="*/ 4744513 h 5282095"/>
              <a:gd name="connsiteX2963" fmla="*/ 2326881 w 7714416"/>
              <a:gd name="connsiteY2963" fmla="*/ 4746289 h 5282095"/>
              <a:gd name="connsiteX2964" fmla="*/ 2322584 w 7714416"/>
              <a:gd name="connsiteY2964" fmla="*/ 4748734 h 5282095"/>
              <a:gd name="connsiteX2965" fmla="*/ 2317141 w 7714416"/>
              <a:gd name="connsiteY2965" fmla="*/ 4748955 h 5282095"/>
              <a:gd name="connsiteX2966" fmla="*/ 2315710 w 7714416"/>
              <a:gd name="connsiteY2966" fmla="*/ 4747401 h 5282095"/>
              <a:gd name="connsiteX2967" fmla="*/ 2315136 w 7714416"/>
              <a:gd name="connsiteY2967" fmla="*/ 4744624 h 5282095"/>
              <a:gd name="connsiteX2968" fmla="*/ 2319147 w 7714416"/>
              <a:gd name="connsiteY2968" fmla="*/ 4743180 h 5282095"/>
              <a:gd name="connsiteX2969" fmla="*/ 5713462 w 7714416"/>
              <a:gd name="connsiteY2969" fmla="*/ 4741736 h 5282095"/>
              <a:gd name="connsiteX2970" fmla="*/ 5716900 w 7714416"/>
              <a:gd name="connsiteY2970" fmla="*/ 4744291 h 5282095"/>
              <a:gd name="connsiteX2971" fmla="*/ 5715754 w 7714416"/>
              <a:gd name="connsiteY2971" fmla="*/ 4752289 h 5282095"/>
              <a:gd name="connsiteX2972" fmla="*/ 5704296 w 7714416"/>
              <a:gd name="connsiteY2972" fmla="*/ 4761175 h 5282095"/>
              <a:gd name="connsiteX2973" fmla="*/ 5705442 w 7714416"/>
              <a:gd name="connsiteY2973" fmla="*/ 4746956 h 5282095"/>
              <a:gd name="connsiteX2974" fmla="*/ 5713462 w 7714416"/>
              <a:gd name="connsiteY2974" fmla="*/ 4741736 h 5282095"/>
              <a:gd name="connsiteX2975" fmla="*/ 4405753 w 7714416"/>
              <a:gd name="connsiteY2975" fmla="*/ 4741736 h 5282095"/>
              <a:gd name="connsiteX2976" fmla="*/ 4409190 w 7714416"/>
              <a:gd name="connsiteY2976" fmla="*/ 4744291 h 5282095"/>
              <a:gd name="connsiteX2977" fmla="*/ 4408044 w 7714416"/>
              <a:gd name="connsiteY2977" fmla="*/ 4752289 h 5282095"/>
              <a:gd name="connsiteX2978" fmla="*/ 4396300 w 7714416"/>
              <a:gd name="connsiteY2978" fmla="*/ 4761175 h 5282095"/>
              <a:gd name="connsiteX2979" fmla="*/ 4397732 w 7714416"/>
              <a:gd name="connsiteY2979" fmla="*/ 4746957 h 5282095"/>
              <a:gd name="connsiteX2980" fmla="*/ 4405753 w 7714416"/>
              <a:gd name="connsiteY2980" fmla="*/ 4741736 h 5282095"/>
              <a:gd name="connsiteX2981" fmla="*/ 3338960 w 7714416"/>
              <a:gd name="connsiteY2981" fmla="*/ 4741736 h 5282095"/>
              <a:gd name="connsiteX2982" fmla="*/ 3342397 w 7714416"/>
              <a:gd name="connsiteY2982" fmla="*/ 4744291 h 5282095"/>
              <a:gd name="connsiteX2983" fmla="*/ 3341251 w 7714416"/>
              <a:gd name="connsiteY2983" fmla="*/ 4752288 h 5282095"/>
              <a:gd name="connsiteX2984" fmla="*/ 3329506 w 7714416"/>
              <a:gd name="connsiteY2984" fmla="*/ 4761175 h 5282095"/>
              <a:gd name="connsiteX2985" fmla="*/ 3330652 w 7714416"/>
              <a:gd name="connsiteY2985" fmla="*/ 4746956 h 5282095"/>
              <a:gd name="connsiteX2986" fmla="*/ 3338960 w 7714416"/>
              <a:gd name="connsiteY2986" fmla="*/ 4741736 h 5282095"/>
              <a:gd name="connsiteX2987" fmla="*/ 5121341 w 7714416"/>
              <a:gd name="connsiteY2987" fmla="*/ 4737959 h 5282095"/>
              <a:gd name="connsiteX2988" fmla="*/ 5130794 w 7714416"/>
              <a:gd name="connsiteY2988" fmla="*/ 4738404 h 5282095"/>
              <a:gd name="connsiteX2989" fmla="*/ 5127643 w 7714416"/>
              <a:gd name="connsiteY2989" fmla="*/ 4751955 h 5282095"/>
              <a:gd name="connsiteX2990" fmla="*/ 5113892 w 7714416"/>
              <a:gd name="connsiteY2990" fmla="*/ 4740625 h 5282095"/>
              <a:gd name="connsiteX2991" fmla="*/ 5121341 w 7714416"/>
              <a:gd name="connsiteY2991" fmla="*/ 4737959 h 5282095"/>
              <a:gd name="connsiteX2992" fmla="*/ 3813631 w 7714416"/>
              <a:gd name="connsiteY2992" fmla="*/ 4737959 h 5282095"/>
              <a:gd name="connsiteX2993" fmla="*/ 3823084 w 7714416"/>
              <a:gd name="connsiteY2993" fmla="*/ 4738404 h 5282095"/>
              <a:gd name="connsiteX2994" fmla="*/ 3819933 w 7714416"/>
              <a:gd name="connsiteY2994" fmla="*/ 4751955 h 5282095"/>
              <a:gd name="connsiteX2995" fmla="*/ 3806183 w 7714416"/>
              <a:gd name="connsiteY2995" fmla="*/ 4740625 h 5282095"/>
              <a:gd name="connsiteX2996" fmla="*/ 3813631 w 7714416"/>
              <a:gd name="connsiteY2996" fmla="*/ 4737959 h 5282095"/>
              <a:gd name="connsiteX2997" fmla="*/ 2746838 w 7714416"/>
              <a:gd name="connsiteY2997" fmla="*/ 4737958 h 5282095"/>
              <a:gd name="connsiteX2998" fmla="*/ 2756291 w 7714416"/>
              <a:gd name="connsiteY2998" fmla="*/ 4738403 h 5282095"/>
              <a:gd name="connsiteX2999" fmla="*/ 2753140 w 7714416"/>
              <a:gd name="connsiteY2999" fmla="*/ 4751954 h 5282095"/>
              <a:gd name="connsiteX3000" fmla="*/ 2739390 w 7714416"/>
              <a:gd name="connsiteY3000" fmla="*/ 4740625 h 5282095"/>
              <a:gd name="connsiteX3001" fmla="*/ 2746838 w 7714416"/>
              <a:gd name="connsiteY3001" fmla="*/ 4737958 h 5282095"/>
              <a:gd name="connsiteX3002" fmla="*/ 2974577 w 7714416"/>
              <a:gd name="connsiteY3002" fmla="*/ 4737737 h 5282095"/>
              <a:gd name="connsiteX3003" fmla="*/ 2979448 w 7714416"/>
              <a:gd name="connsiteY3003" fmla="*/ 4739181 h 5282095"/>
              <a:gd name="connsiteX3004" fmla="*/ 2980593 w 7714416"/>
              <a:gd name="connsiteY3004" fmla="*/ 4738181 h 5282095"/>
              <a:gd name="connsiteX3005" fmla="*/ 2988041 w 7714416"/>
              <a:gd name="connsiteY3005" fmla="*/ 4744180 h 5282095"/>
              <a:gd name="connsiteX3006" fmla="*/ 2992624 w 7714416"/>
              <a:gd name="connsiteY3006" fmla="*/ 4747512 h 5282095"/>
              <a:gd name="connsiteX3007" fmla="*/ 2989473 w 7714416"/>
              <a:gd name="connsiteY3007" fmla="*/ 4755177 h 5282095"/>
              <a:gd name="connsiteX3008" fmla="*/ 2967415 w 7714416"/>
              <a:gd name="connsiteY3008" fmla="*/ 4738181 h 5282095"/>
              <a:gd name="connsiteX3009" fmla="*/ 2974577 w 7714416"/>
              <a:gd name="connsiteY3009" fmla="*/ 4737737 h 5282095"/>
              <a:gd name="connsiteX3010" fmla="*/ 5349080 w 7714416"/>
              <a:gd name="connsiteY3010" fmla="*/ 4737737 h 5282095"/>
              <a:gd name="connsiteX3011" fmla="*/ 5353950 w 7714416"/>
              <a:gd name="connsiteY3011" fmla="*/ 4739181 h 5282095"/>
              <a:gd name="connsiteX3012" fmla="*/ 5355382 w 7714416"/>
              <a:gd name="connsiteY3012" fmla="*/ 4738181 h 5282095"/>
              <a:gd name="connsiteX3013" fmla="*/ 5362544 w 7714416"/>
              <a:gd name="connsiteY3013" fmla="*/ 4744180 h 5282095"/>
              <a:gd name="connsiteX3014" fmla="*/ 5367127 w 7714416"/>
              <a:gd name="connsiteY3014" fmla="*/ 4747512 h 5282095"/>
              <a:gd name="connsiteX3015" fmla="*/ 5364262 w 7714416"/>
              <a:gd name="connsiteY3015" fmla="*/ 4755177 h 5282095"/>
              <a:gd name="connsiteX3016" fmla="*/ 5341918 w 7714416"/>
              <a:gd name="connsiteY3016" fmla="*/ 4738181 h 5282095"/>
              <a:gd name="connsiteX3017" fmla="*/ 5349080 w 7714416"/>
              <a:gd name="connsiteY3017" fmla="*/ 4737737 h 5282095"/>
              <a:gd name="connsiteX3018" fmla="*/ 2437456 w 7714416"/>
              <a:gd name="connsiteY3018" fmla="*/ 4735071 h 5282095"/>
              <a:gd name="connsiteX3019" fmla="*/ 2458368 w 7714416"/>
              <a:gd name="connsiteY3019" fmla="*/ 4741180 h 5282095"/>
              <a:gd name="connsiteX3020" fmla="*/ 2459228 w 7714416"/>
              <a:gd name="connsiteY3020" fmla="*/ 4747845 h 5282095"/>
              <a:gd name="connsiteX3021" fmla="*/ 2452354 w 7714416"/>
              <a:gd name="connsiteY3021" fmla="*/ 4749511 h 5282095"/>
              <a:gd name="connsiteX3022" fmla="*/ 2437456 w 7714416"/>
              <a:gd name="connsiteY3022" fmla="*/ 4735071 h 5282095"/>
              <a:gd name="connsiteX3023" fmla="*/ 3149034 w 7714416"/>
              <a:gd name="connsiteY3023" fmla="*/ 4733738 h 5282095"/>
              <a:gd name="connsiteX3024" fmla="*/ 3149320 w 7714416"/>
              <a:gd name="connsiteY3024" fmla="*/ 4738514 h 5282095"/>
              <a:gd name="connsiteX3025" fmla="*/ 3144451 w 7714416"/>
              <a:gd name="connsiteY3025" fmla="*/ 4739514 h 5282095"/>
              <a:gd name="connsiteX3026" fmla="*/ 3149034 w 7714416"/>
              <a:gd name="connsiteY3026" fmla="*/ 4733738 h 5282095"/>
              <a:gd name="connsiteX3027" fmla="*/ 5523537 w 7714416"/>
              <a:gd name="connsiteY3027" fmla="*/ 4733737 h 5282095"/>
              <a:gd name="connsiteX3028" fmla="*/ 5523823 w 7714416"/>
              <a:gd name="connsiteY3028" fmla="*/ 4738514 h 5282095"/>
              <a:gd name="connsiteX3029" fmla="*/ 5518953 w 7714416"/>
              <a:gd name="connsiteY3029" fmla="*/ 4739514 h 5282095"/>
              <a:gd name="connsiteX3030" fmla="*/ 5523537 w 7714416"/>
              <a:gd name="connsiteY3030" fmla="*/ 4733737 h 5282095"/>
              <a:gd name="connsiteX3031" fmla="*/ 3294271 w 7714416"/>
              <a:gd name="connsiteY3031" fmla="*/ 4732071 h 5282095"/>
              <a:gd name="connsiteX3032" fmla="*/ 3299428 w 7714416"/>
              <a:gd name="connsiteY3032" fmla="*/ 4733627 h 5282095"/>
              <a:gd name="connsiteX3033" fmla="*/ 3294844 w 7714416"/>
              <a:gd name="connsiteY3033" fmla="*/ 4741847 h 5282095"/>
              <a:gd name="connsiteX3034" fmla="*/ 3294271 w 7714416"/>
              <a:gd name="connsiteY3034" fmla="*/ 4732071 h 5282095"/>
              <a:gd name="connsiteX3035" fmla="*/ 2227478 w 7714416"/>
              <a:gd name="connsiteY3035" fmla="*/ 4732071 h 5282095"/>
              <a:gd name="connsiteX3036" fmla="*/ 2232634 w 7714416"/>
              <a:gd name="connsiteY3036" fmla="*/ 4733627 h 5282095"/>
              <a:gd name="connsiteX3037" fmla="*/ 2228051 w 7714416"/>
              <a:gd name="connsiteY3037" fmla="*/ 4741847 h 5282095"/>
              <a:gd name="connsiteX3038" fmla="*/ 2227478 w 7714416"/>
              <a:gd name="connsiteY3038" fmla="*/ 4732071 h 5282095"/>
              <a:gd name="connsiteX3039" fmla="*/ 5775626 w 7714416"/>
              <a:gd name="connsiteY3039" fmla="*/ 4731294 h 5282095"/>
              <a:gd name="connsiteX3040" fmla="*/ 5780208 w 7714416"/>
              <a:gd name="connsiteY3040" fmla="*/ 4731738 h 5282095"/>
              <a:gd name="connsiteX3041" fmla="*/ 5780782 w 7714416"/>
              <a:gd name="connsiteY3041" fmla="*/ 4737737 h 5282095"/>
              <a:gd name="connsiteX3042" fmla="*/ 5759870 w 7714416"/>
              <a:gd name="connsiteY3042" fmla="*/ 4749067 h 5282095"/>
              <a:gd name="connsiteX3043" fmla="*/ 5757578 w 7714416"/>
              <a:gd name="connsiteY3043" fmla="*/ 4738514 h 5282095"/>
              <a:gd name="connsiteX3044" fmla="*/ 5764453 w 7714416"/>
              <a:gd name="connsiteY3044" fmla="*/ 4733071 h 5282095"/>
              <a:gd name="connsiteX3045" fmla="*/ 5775626 w 7714416"/>
              <a:gd name="connsiteY3045" fmla="*/ 4731294 h 5282095"/>
              <a:gd name="connsiteX3046" fmla="*/ 4467916 w 7714416"/>
              <a:gd name="connsiteY3046" fmla="*/ 4731294 h 5282095"/>
              <a:gd name="connsiteX3047" fmla="*/ 4472212 w 7714416"/>
              <a:gd name="connsiteY3047" fmla="*/ 4731738 h 5282095"/>
              <a:gd name="connsiteX3048" fmla="*/ 4472786 w 7714416"/>
              <a:gd name="connsiteY3048" fmla="*/ 4737737 h 5282095"/>
              <a:gd name="connsiteX3049" fmla="*/ 4452160 w 7714416"/>
              <a:gd name="connsiteY3049" fmla="*/ 4749067 h 5282095"/>
              <a:gd name="connsiteX3050" fmla="*/ 4449868 w 7714416"/>
              <a:gd name="connsiteY3050" fmla="*/ 4738514 h 5282095"/>
              <a:gd name="connsiteX3051" fmla="*/ 4456744 w 7714416"/>
              <a:gd name="connsiteY3051" fmla="*/ 4733071 h 5282095"/>
              <a:gd name="connsiteX3052" fmla="*/ 4467916 w 7714416"/>
              <a:gd name="connsiteY3052" fmla="*/ 4731294 h 5282095"/>
              <a:gd name="connsiteX3053" fmla="*/ 3401122 w 7714416"/>
              <a:gd name="connsiteY3053" fmla="*/ 4731294 h 5282095"/>
              <a:gd name="connsiteX3054" fmla="*/ 3405419 w 7714416"/>
              <a:gd name="connsiteY3054" fmla="*/ 4731739 h 5282095"/>
              <a:gd name="connsiteX3055" fmla="*/ 3405993 w 7714416"/>
              <a:gd name="connsiteY3055" fmla="*/ 4737737 h 5282095"/>
              <a:gd name="connsiteX3056" fmla="*/ 3398832 w 7714416"/>
              <a:gd name="connsiteY3056" fmla="*/ 4743957 h 5282095"/>
              <a:gd name="connsiteX3057" fmla="*/ 3393674 w 7714416"/>
              <a:gd name="connsiteY3057" fmla="*/ 4746401 h 5282095"/>
              <a:gd name="connsiteX3058" fmla="*/ 3392529 w 7714416"/>
              <a:gd name="connsiteY3058" fmla="*/ 4748179 h 5282095"/>
              <a:gd name="connsiteX3059" fmla="*/ 3389377 w 7714416"/>
              <a:gd name="connsiteY3059" fmla="*/ 4748734 h 5282095"/>
              <a:gd name="connsiteX3060" fmla="*/ 3385940 w 7714416"/>
              <a:gd name="connsiteY3060" fmla="*/ 4748845 h 5282095"/>
              <a:gd name="connsiteX3061" fmla="*/ 3385367 w 7714416"/>
              <a:gd name="connsiteY3061" fmla="*/ 4749066 h 5282095"/>
              <a:gd name="connsiteX3062" fmla="*/ 3385080 w 7714416"/>
              <a:gd name="connsiteY3062" fmla="*/ 4748845 h 5282095"/>
              <a:gd name="connsiteX3063" fmla="*/ 3383935 w 7714416"/>
              <a:gd name="connsiteY3063" fmla="*/ 4748956 h 5282095"/>
              <a:gd name="connsiteX3064" fmla="*/ 3382502 w 7714416"/>
              <a:gd name="connsiteY3064" fmla="*/ 4747401 h 5282095"/>
              <a:gd name="connsiteX3065" fmla="*/ 3382216 w 7714416"/>
              <a:gd name="connsiteY3065" fmla="*/ 4746068 h 5282095"/>
              <a:gd name="connsiteX3066" fmla="*/ 3381070 w 7714416"/>
              <a:gd name="connsiteY3066" fmla="*/ 4744957 h 5282095"/>
              <a:gd name="connsiteX3067" fmla="*/ 3383075 w 7714416"/>
              <a:gd name="connsiteY3067" fmla="*/ 4738515 h 5282095"/>
              <a:gd name="connsiteX3068" fmla="*/ 3389951 w 7714416"/>
              <a:gd name="connsiteY3068" fmla="*/ 4733071 h 5282095"/>
              <a:gd name="connsiteX3069" fmla="*/ 3401122 w 7714416"/>
              <a:gd name="connsiteY3069" fmla="*/ 4731294 h 5282095"/>
              <a:gd name="connsiteX3070" fmla="*/ 5523250 w 7714416"/>
              <a:gd name="connsiteY3070" fmla="*/ 4730295 h 5282095"/>
              <a:gd name="connsiteX3071" fmla="*/ 5523537 w 7714416"/>
              <a:gd name="connsiteY3071" fmla="*/ 4732849 h 5282095"/>
              <a:gd name="connsiteX3072" fmla="*/ 5522104 w 7714416"/>
              <a:gd name="connsiteY3072" fmla="*/ 4732849 h 5282095"/>
              <a:gd name="connsiteX3073" fmla="*/ 5523250 w 7714416"/>
              <a:gd name="connsiteY3073" fmla="*/ 4730295 h 5282095"/>
              <a:gd name="connsiteX3074" fmla="*/ 3148747 w 7714416"/>
              <a:gd name="connsiteY3074" fmla="*/ 4730294 h 5282095"/>
              <a:gd name="connsiteX3075" fmla="*/ 3149034 w 7714416"/>
              <a:gd name="connsiteY3075" fmla="*/ 4732849 h 5282095"/>
              <a:gd name="connsiteX3076" fmla="*/ 3147315 w 7714416"/>
              <a:gd name="connsiteY3076" fmla="*/ 4732848 h 5282095"/>
              <a:gd name="connsiteX3077" fmla="*/ 3148747 w 7714416"/>
              <a:gd name="connsiteY3077" fmla="*/ 4730294 h 5282095"/>
              <a:gd name="connsiteX3078" fmla="*/ 3263333 w 7714416"/>
              <a:gd name="connsiteY3078" fmla="*/ 4729627 h 5282095"/>
              <a:gd name="connsiteX3079" fmla="*/ 3267630 w 7714416"/>
              <a:gd name="connsiteY3079" fmla="*/ 4735071 h 5282095"/>
              <a:gd name="connsiteX3080" fmla="*/ 3269635 w 7714416"/>
              <a:gd name="connsiteY3080" fmla="*/ 4739514 h 5282095"/>
              <a:gd name="connsiteX3081" fmla="*/ 3259324 w 7714416"/>
              <a:gd name="connsiteY3081" fmla="*/ 4746068 h 5282095"/>
              <a:gd name="connsiteX3082" fmla="*/ 3258750 w 7714416"/>
              <a:gd name="connsiteY3082" fmla="*/ 4746068 h 5282095"/>
              <a:gd name="connsiteX3083" fmla="*/ 3258751 w 7714416"/>
              <a:gd name="connsiteY3083" fmla="*/ 4746290 h 5282095"/>
              <a:gd name="connsiteX3084" fmla="*/ 3256459 w 7714416"/>
              <a:gd name="connsiteY3084" fmla="*/ 4748067 h 5282095"/>
              <a:gd name="connsiteX3085" fmla="*/ 3259896 w 7714416"/>
              <a:gd name="connsiteY3085" fmla="*/ 4748845 h 5282095"/>
              <a:gd name="connsiteX3086" fmla="*/ 3267057 w 7714416"/>
              <a:gd name="connsiteY3086" fmla="*/ 4760398 h 5282095"/>
              <a:gd name="connsiteX3087" fmla="*/ 3267344 w 7714416"/>
              <a:gd name="connsiteY3087" fmla="*/ 4759176 h 5282095"/>
              <a:gd name="connsiteX3088" fmla="*/ 3291980 w 7714416"/>
              <a:gd name="connsiteY3088" fmla="*/ 4749956 h 5282095"/>
              <a:gd name="connsiteX3089" fmla="*/ 3289689 w 7714416"/>
              <a:gd name="connsiteY3089" fmla="*/ 4753400 h 5282095"/>
              <a:gd name="connsiteX3090" fmla="*/ 3287970 w 7714416"/>
              <a:gd name="connsiteY3090" fmla="*/ 4754399 h 5282095"/>
              <a:gd name="connsiteX3091" fmla="*/ 3287969 w 7714416"/>
              <a:gd name="connsiteY3091" fmla="*/ 4755509 h 5282095"/>
              <a:gd name="connsiteX3092" fmla="*/ 3286250 w 7714416"/>
              <a:gd name="connsiteY3092" fmla="*/ 4755287 h 5282095"/>
              <a:gd name="connsiteX3093" fmla="*/ 3282526 w 7714416"/>
              <a:gd name="connsiteY3093" fmla="*/ 4757287 h 5282095"/>
              <a:gd name="connsiteX3094" fmla="*/ 3276798 w 7714416"/>
              <a:gd name="connsiteY3094" fmla="*/ 4763730 h 5282095"/>
              <a:gd name="connsiteX3095" fmla="*/ 3266485 w 7714416"/>
              <a:gd name="connsiteY3095" fmla="*/ 4767396 h 5282095"/>
              <a:gd name="connsiteX3096" fmla="*/ 3263333 w 7714416"/>
              <a:gd name="connsiteY3096" fmla="*/ 4764619 h 5282095"/>
              <a:gd name="connsiteX3097" fmla="*/ 3259610 w 7714416"/>
              <a:gd name="connsiteY3097" fmla="*/ 4766618 h 5282095"/>
              <a:gd name="connsiteX3098" fmla="*/ 3255313 w 7714416"/>
              <a:gd name="connsiteY3098" fmla="*/ 4769062 h 5282095"/>
              <a:gd name="connsiteX3099" fmla="*/ 3255027 w 7714416"/>
              <a:gd name="connsiteY3099" fmla="*/ 4771729 h 5282095"/>
              <a:gd name="connsiteX3100" fmla="*/ 3252447 w 7714416"/>
              <a:gd name="connsiteY3100" fmla="*/ 4775838 h 5282095"/>
              <a:gd name="connsiteX3101" fmla="*/ 3242135 w 7714416"/>
              <a:gd name="connsiteY3101" fmla="*/ 4770728 h 5282095"/>
              <a:gd name="connsiteX3102" fmla="*/ 3246718 w 7714416"/>
              <a:gd name="connsiteY3102" fmla="*/ 4767507 h 5282095"/>
              <a:gd name="connsiteX3103" fmla="*/ 3238125 w 7714416"/>
              <a:gd name="connsiteY3103" fmla="*/ 4763063 h 5282095"/>
              <a:gd name="connsiteX3104" fmla="*/ 3233541 w 7714416"/>
              <a:gd name="connsiteY3104" fmla="*/ 4756732 h 5282095"/>
              <a:gd name="connsiteX3105" fmla="*/ 3237839 w 7714416"/>
              <a:gd name="connsiteY3105" fmla="*/ 4748845 h 5282095"/>
              <a:gd name="connsiteX3106" fmla="*/ 3243855 w 7714416"/>
              <a:gd name="connsiteY3106" fmla="*/ 4747512 h 5282095"/>
              <a:gd name="connsiteX3107" fmla="*/ 3241562 w 7714416"/>
              <a:gd name="connsiteY3107" fmla="*/ 4746290 h 5282095"/>
              <a:gd name="connsiteX3108" fmla="*/ 3237265 w 7714416"/>
              <a:gd name="connsiteY3108" fmla="*/ 4743068 h 5282095"/>
              <a:gd name="connsiteX3109" fmla="*/ 3242994 w 7714416"/>
              <a:gd name="connsiteY3109" fmla="*/ 4739846 h 5282095"/>
              <a:gd name="connsiteX3110" fmla="*/ 3247579 w 7714416"/>
              <a:gd name="connsiteY3110" fmla="*/ 4739514 h 5282095"/>
              <a:gd name="connsiteX3111" fmla="*/ 3246719 w 7714416"/>
              <a:gd name="connsiteY3111" fmla="*/ 4737847 h 5282095"/>
              <a:gd name="connsiteX3112" fmla="*/ 3263333 w 7714416"/>
              <a:gd name="connsiteY3112" fmla="*/ 4729627 h 5282095"/>
              <a:gd name="connsiteX3113" fmla="*/ 5638122 w 7714416"/>
              <a:gd name="connsiteY3113" fmla="*/ 4729627 h 5282095"/>
              <a:gd name="connsiteX3114" fmla="*/ 5642419 w 7714416"/>
              <a:gd name="connsiteY3114" fmla="*/ 4735071 h 5282095"/>
              <a:gd name="connsiteX3115" fmla="*/ 5644138 w 7714416"/>
              <a:gd name="connsiteY3115" fmla="*/ 4739514 h 5282095"/>
              <a:gd name="connsiteX3116" fmla="*/ 5633826 w 7714416"/>
              <a:gd name="connsiteY3116" fmla="*/ 4746068 h 5282095"/>
              <a:gd name="connsiteX3117" fmla="*/ 5633252 w 7714416"/>
              <a:gd name="connsiteY3117" fmla="*/ 4746068 h 5282095"/>
              <a:gd name="connsiteX3118" fmla="*/ 5633251 w 7714416"/>
              <a:gd name="connsiteY3118" fmla="*/ 4746290 h 5282095"/>
              <a:gd name="connsiteX3119" fmla="*/ 5630961 w 7714416"/>
              <a:gd name="connsiteY3119" fmla="*/ 4748068 h 5282095"/>
              <a:gd name="connsiteX3120" fmla="*/ 5634398 w 7714416"/>
              <a:gd name="connsiteY3120" fmla="*/ 4748845 h 5282095"/>
              <a:gd name="connsiteX3121" fmla="*/ 5641560 w 7714416"/>
              <a:gd name="connsiteY3121" fmla="*/ 4760397 h 5282095"/>
              <a:gd name="connsiteX3122" fmla="*/ 5641846 w 7714416"/>
              <a:gd name="connsiteY3122" fmla="*/ 4759176 h 5282095"/>
              <a:gd name="connsiteX3123" fmla="*/ 5666482 w 7714416"/>
              <a:gd name="connsiteY3123" fmla="*/ 4749956 h 5282095"/>
              <a:gd name="connsiteX3124" fmla="*/ 5664478 w 7714416"/>
              <a:gd name="connsiteY3124" fmla="*/ 4753399 h 5282095"/>
              <a:gd name="connsiteX3125" fmla="*/ 5662472 w 7714416"/>
              <a:gd name="connsiteY3125" fmla="*/ 4754399 h 5282095"/>
              <a:gd name="connsiteX3126" fmla="*/ 5662472 w 7714416"/>
              <a:gd name="connsiteY3126" fmla="*/ 4755510 h 5282095"/>
              <a:gd name="connsiteX3127" fmla="*/ 5660753 w 7714416"/>
              <a:gd name="connsiteY3127" fmla="*/ 4755288 h 5282095"/>
              <a:gd name="connsiteX3128" fmla="*/ 5657316 w 7714416"/>
              <a:gd name="connsiteY3128" fmla="*/ 4757287 h 5282095"/>
              <a:gd name="connsiteX3129" fmla="*/ 5651587 w 7714416"/>
              <a:gd name="connsiteY3129" fmla="*/ 4763730 h 5282095"/>
              <a:gd name="connsiteX3130" fmla="*/ 5640987 w 7714416"/>
              <a:gd name="connsiteY3130" fmla="*/ 4767397 h 5282095"/>
              <a:gd name="connsiteX3131" fmla="*/ 5637836 w 7714416"/>
              <a:gd name="connsiteY3131" fmla="*/ 4764619 h 5282095"/>
              <a:gd name="connsiteX3132" fmla="*/ 5634112 w 7714416"/>
              <a:gd name="connsiteY3132" fmla="*/ 4766619 h 5282095"/>
              <a:gd name="connsiteX3133" fmla="*/ 5629815 w 7714416"/>
              <a:gd name="connsiteY3133" fmla="*/ 4769063 h 5282095"/>
              <a:gd name="connsiteX3134" fmla="*/ 5629528 w 7714416"/>
              <a:gd name="connsiteY3134" fmla="*/ 4771728 h 5282095"/>
              <a:gd name="connsiteX3135" fmla="*/ 5626950 w 7714416"/>
              <a:gd name="connsiteY3135" fmla="*/ 4775838 h 5282095"/>
              <a:gd name="connsiteX3136" fmla="*/ 5616638 w 7714416"/>
              <a:gd name="connsiteY3136" fmla="*/ 4770728 h 5282095"/>
              <a:gd name="connsiteX3137" fmla="*/ 5621508 w 7714416"/>
              <a:gd name="connsiteY3137" fmla="*/ 4767507 h 5282095"/>
              <a:gd name="connsiteX3138" fmla="*/ 5612627 w 7714416"/>
              <a:gd name="connsiteY3138" fmla="*/ 4763064 h 5282095"/>
              <a:gd name="connsiteX3139" fmla="*/ 5608044 w 7714416"/>
              <a:gd name="connsiteY3139" fmla="*/ 4756732 h 5282095"/>
              <a:gd name="connsiteX3140" fmla="*/ 5612340 w 7714416"/>
              <a:gd name="connsiteY3140" fmla="*/ 4748845 h 5282095"/>
              <a:gd name="connsiteX3141" fmla="*/ 5618356 w 7714416"/>
              <a:gd name="connsiteY3141" fmla="*/ 4747511 h 5282095"/>
              <a:gd name="connsiteX3142" fmla="*/ 5616064 w 7714416"/>
              <a:gd name="connsiteY3142" fmla="*/ 4746290 h 5282095"/>
              <a:gd name="connsiteX3143" fmla="*/ 5611768 w 7714416"/>
              <a:gd name="connsiteY3143" fmla="*/ 4743068 h 5282095"/>
              <a:gd name="connsiteX3144" fmla="*/ 5617497 w 7714416"/>
              <a:gd name="connsiteY3144" fmla="*/ 4739847 h 5282095"/>
              <a:gd name="connsiteX3145" fmla="*/ 5622080 w 7714416"/>
              <a:gd name="connsiteY3145" fmla="*/ 4739514 h 5282095"/>
              <a:gd name="connsiteX3146" fmla="*/ 5621509 w 7714416"/>
              <a:gd name="connsiteY3146" fmla="*/ 4737847 h 5282095"/>
              <a:gd name="connsiteX3147" fmla="*/ 5638122 w 7714416"/>
              <a:gd name="connsiteY3147" fmla="*/ 4729627 h 5282095"/>
              <a:gd name="connsiteX3148" fmla="*/ 5088970 w 7714416"/>
              <a:gd name="connsiteY3148" fmla="*/ 4729295 h 5282095"/>
              <a:gd name="connsiteX3149" fmla="*/ 5090976 w 7714416"/>
              <a:gd name="connsiteY3149" fmla="*/ 4732405 h 5282095"/>
              <a:gd name="connsiteX3150" fmla="*/ 5088111 w 7714416"/>
              <a:gd name="connsiteY3150" fmla="*/ 4733294 h 5282095"/>
              <a:gd name="connsiteX3151" fmla="*/ 5088397 w 7714416"/>
              <a:gd name="connsiteY3151" fmla="*/ 4730739 h 5282095"/>
              <a:gd name="connsiteX3152" fmla="*/ 5088970 w 7714416"/>
              <a:gd name="connsiteY3152" fmla="*/ 4729295 h 5282095"/>
              <a:gd name="connsiteX3153" fmla="*/ 3781261 w 7714416"/>
              <a:gd name="connsiteY3153" fmla="*/ 4729295 h 5282095"/>
              <a:gd name="connsiteX3154" fmla="*/ 3783267 w 7714416"/>
              <a:gd name="connsiteY3154" fmla="*/ 4732405 h 5282095"/>
              <a:gd name="connsiteX3155" fmla="*/ 3780401 w 7714416"/>
              <a:gd name="connsiteY3155" fmla="*/ 4733293 h 5282095"/>
              <a:gd name="connsiteX3156" fmla="*/ 3780688 w 7714416"/>
              <a:gd name="connsiteY3156" fmla="*/ 4730739 h 5282095"/>
              <a:gd name="connsiteX3157" fmla="*/ 3781261 w 7714416"/>
              <a:gd name="connsiteY3157" fmla="*/ 4729295 h 5282095"/>
              <a:gd name="connsiteX3158" fmla="*/ 2729651 w 7714416"/>
              <a:gd name="connsiteY3158" fmla="*/ 4729295 h 5282095"/>
              <a:gd name="connsiteX3159" fmla="*/ 2731942 w 7714416"/>
              <a:gd name="connsiteY3159" fmla="*/ 4729850 h 5282095"/>
              <a:gd name="connsiteX3160" fmla="*/ 2731942 w 7714416"/>
              <a:gd name="connsiteY3160" fmla="*/ 4729295 h 5282095"/>
              <a:gd name="connsiteX3161" fmla="*/ 2734806 w 7714416"/>
              <a:gd name="connsiteY3161" fmla="*/ 4731405 h 5282095"/>
              <a:gd name="connsiteX3162" fmla="*/ 2735094 w 7714416"/>
              <a:gd name="connsiteY3162" fmla="*/ 4735293 h 5282095"/>
              <a:gd name="connsiteX3163" fmla="*/ 2731369 w 7714416"/>
              <a:gd name="connsiteY3163" fmla="*/ 4735182 h 5282095"/>
              <a:gd name="connsiteX3164" fmla="*/ 2729651 w 7714416"/>
              <a:gd name="connsiteY3164" fmla="*/ 4729295 h 5282095"/>
              <a:gd name="connsiteX3165" fmla="*/ 5104439 w 7714416"/>
              <a:gd name="connsiteY3165" fmla="*/ 4729294 h 5282095"/>
              <a:gd name="connsiteX3166" fmla="*/ 5106444 w 7714416"/>
              <a:gd name="connsiteY3166" fmla="*/ 4729850 h 5282095"/>
              <a:gd name="connsiteX3167" fmla="*/ 5106444 w 7714416"/>
              <a:gd name="connsiteY3167" fmla="*/ 4729294 h 5282095"/>
              <a:gd name="connsiteX3168" fmla="*/ 5109309 w 7714416"/>
              <a:gd name="connsiteY3168" fmla="*/ 4731405 h 5282095"/>
              <a:gd name="connsiteX3169" fmla="*/ 5109596 w 7714416"/>
              <a:gd name="connsiteY3169" fmla="*/ 4735293 h 5282095"/>
              <a:gd name="connsiteX3170" fmla="*/ 5105873 w 7714416"/>
              <a:gd name="connsiteY3170" fmla="*/ 4735182 h 5282095"/>
              <a:gd name="connsiteX3171" fmla="*/ 5104439 w 7714416"/>
              <a:gd name="connsiteY3171" fmla="*/ 4729294 h 5282095"/>
              <a:gd name="connsiteX3172" fmla="*/ 2714467 w 7714416"/>
              <a:gd name="connsiteY3172" fmla="*/ 4729294 h 5282095"/>
              <a:gd name="connsiteX3173" fmla="*/ 2716474 w 7714416"/>
              <a:gd name="connsiteY3173" fmla="*/ 4732405 h 5282095"/>
              <a:gd name="connsiteX3174" fmla="*/ 2713608 w 7714416"/>
              <a:gd name="connsiteY3174" fmla="*/ 4733293 h 5282095"/>
              <a:gd name="connsiteX3175" fmla="*/ 2713894 w 7714416"/>
              <a:gd name="connsiteY3175" fmla="*/ 4730738 h 5282095"/>
              <a:gd name="connsiteX3176" fmla="*/ 2714467 w 7714416"/>
              <a:gd name="connsiteY3176" fmla="*/ 4729294 h 5282095"/>
              <a:gd name="connsiteX3177" fmla="*/ 3796443 w 7714416"/>
              <a:gd name="connsiteY3177" fmla="*/ 4729294 h 5282095"/>
              <a:gd name="connsiteX3178" fmla="*/ 3798735 w 7714416"/>
              <a:gd name="connsiteY3178" fmla="*/ 4729850 h 5282095"/>
              <a:gd name="connsiteX3179" fmla="*/ 3798735 w 7714416"/>
              <a:gd name="connsiteY3179" fmla="*/ 4729294 h 5282095"/>
              <a:gd name="connsiteX3180" fmla="*/ 3801600 w 7714416"/>
              <a:gd name="connsiteY3180" fmla="*/ 4731405 h 5282095"/>
              <a:gd name="connsiteX3181" fmla="*/ 3801886 w 7714416"/>
              <a:gd name="connsiteY3181" fmla="*/ 4735293 h 5282095"/>
              <a:gd name="connsiteX3182" fmla="*/ 3798162 w 7714416"/>
              <a:gd name="connsiteY3182" fmla="*/ 4735182 h 5282095"/>
              <a:gd name="connsiteX3183" fmla="*/ 3796443 w 7714416"/>
              <a:gd name="connsiteY3183" fmla="*/ 4729294 h 5282095"/>
              <a:gd name="connsiteX3184" fmla="*/ 3799308 w 7714416"/>
              <a:gd name="connsiteY3184" fmla="*/ 4728406 h 5282095"/>
              <a:gd name="connsiteX3185" fmla="*/ 3798735 w 7714416"/>
              <a:gd name="connsiteY3185" fmla="*/ 4729294 h 5282095"/>
              <a:gd name="connsiteX3186" fmla="*/ 3798162 w 7714416"/>
              <a:gd name="connsiteY3186" fmla="*/ 4728739 h 5282095"/>
              <a:gd name="connsiteX3187" fmla="*/ 3799308 w 7714416"/>
              <a:gd name="connsiteY3187" fmla="*/ 4728406 h 5282095"/>
              <a:gd name="connsiteX3188" fmla="*/ 5107018 w 7714416"/>
              <a:gd name="connsiteY3188" fmla="*/ 4728406 h 5282095"/>
              <a:gd name="connsiteX3189" fmla="*/ 5106444 w 7714416"/>
              <a:gd name="connsiteY3189" fmla="*/ 4729294 h 5282095"/>
              <a:gd name="connsiteX3190" fmla="*/ 5105872 w 7714416"/>
              <a:gd name="connsiteY3190" fmla="*/ 4728739 h 5282095"/>
              <a:gd name="connsiteX3191" fmla="*/ 5107018 w 7714416"/>
              <a:gd name="connsiteY3191" fmla="*/ 4728406 h 5282095"/>
              <a:gd name="connsiteX3192" fmla="*/ 2732515 w 7714416"/>
              <a:gd name="connsiteY3192" fmla="*/ 4728406 h 5282095"/>
              <a:gd name="connsiteX3193" fmla="*/ 2731942 w 7714416"/>
              <a:gd name="connsiteY3193" fmla="*/ 4729295 h 5282095"/>
              <a:gd name="connsiteX3194" fmla="*/ 2731369 w 7714416"/>
              <a:gd name="connsiteY3194" fmla="*/ 4728739 h 5282095"/>
              <a:gd name="connsiteX3195" fmla="*/ 2732515 w 7714416"/>
              <a:gd name="connsiteY3195" fmla="*/ 4728406 h 5282095"/>
              <a:gd name="connsiteX3196" fmla="*/ 5149414 w 7714416"/>
              <a:gd name="connsiteY3196" fmla="*/ 4727961 h 5282095"/>
              <a:gd name="connsiteX3197" fmla="*/ 5161159 w 7714416"/>
              <a:gd name="connsiteY3197" fmla="*/ 4730295 h 5282095"/>
              <a:gd name="connsiteX3198" fmla="*/ 5159154 w 7714416"/>
              <a:gd name="connsiteY3198" fmla="*/ 4738625 h 5282095"/>
              <a:gd name="connsiteX3199" fmla="*/ 5137096 w 7714416"/>
              <a:gd name="connsiteY3199" fmla="*/ 4729406 h 5282095"/>
              <a:gd name="connsiteX3200" fmla="*/ 5149414 w 7714416"/>
              <a:gd name="connsiteY3200" fmla="*/ 4727961 h 5282095"/>
              <a:gd name="connsiteX3201" fmla="*/ 3606804 w 7714416"/>
              <a:gd name="connsiteY3201" fmla="*/ 4727961 h 5282095"/>
              <a:gd name="connsiteX3202" fmla="*/ 3611387 w 7714416"/>
              <a:gd name="connsiteY3202" fmla="*/ 4728739 h 5282095"/>
              <a:gd name="connsiteX3203" fmla="*/ 3604799 w 7714416"/>
              <a:gd name="connsiteY3203" fmla="*/ 4730850 h 5282095"/>
              <a:gd name="connsiteX3204" fmla="*/ 3601647 w 7714416"/>
              <a:gd name="connsiteY3204" fmla="*/ 4728295 h 5282095"/>
              <a:gd name="connsiteX3205" fmla="*/ 3606804 w 7714416"/>
              <a:gd name="connsiteY3205" fmla="*/ 4727961 h 5282095"/>
              <a:gd name="connsiteX3206" fmla="*/ 2774911 w 7714416"/>
              <a:gd name="connsiteY3206" fmla="*/ 4727961 h 5282095"/>
              <a:gd name="connsiteX3207" fmla="*/ 2786656 w 7714416"/>
              <a:gd name="connsiteY3207" fmla="*/ 4730294 h 5282095"/>
              <a:gd name="connsiteX3208" fmla="*/ 2784652 w 7714416"/>
              <a:gd name="connsiteY3208" fmla="*/ 4738626 h 5282095"/>
              <a:gd name="connsiteX3209" fmla="*/ 2762593 w 7714416"/>
              <a:gd name="connsiteY3209" fmla="*/ 4729406 h 5282095"/>
              <a:gd name="connsiteX3210" fmla="*/ 2774911 w 7714416"/>
              <a:gd name="connsiteY3210" fmla="*/ 4727961 h 5282095"/>
              <a:gd name="connsiteX3211" fmla="*/ 2540011 w 7714416"/>
              <a:gd name="connsiteY3211" fmla="*/ 4727961 h 5282095"/>
              <a:gd name="connsiteX3212" fmla="*/ 2544594 w 7714416"/>
              <a:gd name="connsiteY3212" fmla="*/ 4728739 h 5282095"/>
              <a:gd name="connsiteX3213" fmla="*/ 2538005 w 7714416"/>
              <a:gd name="connsiteY3213" fmla="*/ 4730849 h 5282095"/>
              <a:gd name="connsiteX3214" fmla="*/ 2534854 w 7714416"/>
              <a:gd name="connsiteY3214" fmla="*/ 4728295 h 5282095"/>
              <a:gd name="connsiteX3215" fmla="*/ 2540011 w 7714416"/>
              <a:gd name="connsiteY3215" fmla="*/ 4727961 h 5282095"/>
              <a:gd name="connsiteX3216" fmla="*/ 3196015 w 7714416"/>
              <a:gd name="connsiteY3216" fmla="*/ 4727517 h 5282095"/>
              <a:gd name="connsiteX3217" fmla="*/ 3204035 w 7714416"/>
              <a:gd name="connsiteY3217" fmla="*/ 4734294 h 5282095"/>
              <a:gd name="connsiteX3218" fmla="*/ 3200884 w 7714416"/>
              <a:gd name="connsiteY3218" fmla="*/ 4736737 h 5282095"/>
              <a:gd name="connsiteX3219" fmla="*/ 3185129 w 7714416"/>
              <a:gd name="connsiteY3219" fmla="*/ 4730516 h 5282095"/>
              <a:gd name="connsiteX3220" fmla="*/ 3196015 w 7714416"/>
              <a:gd name="connsiteY3220" fmla="*/ 4727517 h 5282095"/>
              <a:gd name="connsiteX3221" fmla="*/ 5570517 w 7714416"/>
              <a:gd name="connsiteY3221" fmla="*/ 4727517 h 5282095"/>
              <a:gd name="connsiteX3222" fmla="*/ 5578538 w 7714416"/>
              <a:gd name="connsiteY3222" fmla="*/ 4734294 h 5282095"/>
              <a:gd name="connsiteX3223" fmla="*/ 5575387 w 7714416"/>
              <a:gd name="connsiteY3223" fmla="*/ 4736737 h 5282095"/>
              <a:gd name="connsiteX3224" fmla="*/ 5559631 w 7714416"/>
              <a:gd name="connsiteY3224" fmla="*/ 4730516 h 5282095"/>
              <a:gd name="connsiteX3225" fmla="*/ 5570517 w 7714416"/>
              <a:gd name="connsiteY3225" fmla="*/ 4727517 h 5282095"/>
              <a:gd name="connsiteX3226" fmla="*/ 3614538 w 7714416"/>
              <a:gd name="connsiteY3226" fmla="*/ 4726851 h 5282095"/>
              <a:gd name="connsiteX3227" fmla="*/ 3615971 w 7714416"/>
              <a:gd name="connsiteY3227" fmla="*/ 4727295 h 5282095"/>
              <a:gd name="connsiteX3228" fmla="*/ 3612533 w 7714416"/>
              <a:gd name="connsiteY3228" fmla="*/ 4728406 h 5282095"/>
              <a:gd name="connsiteX3229" fmla="*/ 3611961 w 7714416"/>
              <a:gd name="connsiteY3229" fmla="*/ 4727517 h 5282095"/>
              <a:gd name="connsiteX3230" fmla="*/ 3614538 w 7714416"/>
              <a:gd name="connsiteY3230" fmla="*/ 4726851 h 5282095"/>
              <a:gd name="connsiteX3231" fmla="*/ 4922248 w 7714416"/>
              <a:gd name="connsiteY3231" fmla="*/ 4726851 h 5282095"/>
              <a:gd name="connsiteX3232" fmla="*/ 4923680 w 7714416"/>
              <a:gd name="connsiteY3232" fmla="*/ 4727295 h 5282095"/>
              <a:gd name="connsiteX3233" fmla="*/ 4920243 w 7714416"/>
              <a:gd name="connsiteY3233" fmla="*/ 4728406 h 5282095"/>
              <a:gd name="connsiteX3234" fmla="*/ 4919670 w 7714416"/>
              <a:gd name="connsiteY3234" fmla="*/ 4727517 h 5282095"/>
              <a:gd name="connsiteX3235" fmla="*/ 4922248 w 7714416"/>
              <a:gd name="connsiteY3235" fmla="*/ 4726851 h 5282095"/>
              <a:gd name="connsiteX3236" fmla="*/ 2547745 w 7714416"/>
              <a:gd name="connsiteY3236" fmla="*/ 4726851 h 5282095"/>
              <a:gd name="connsiteX3237" fmla="*/ 2549178 w 7714416"/>
              <a:gd name="connsiteY3237" fmla="*/ 4727295 h 5282095"/>
              <a:gd name="connsiteX3238" fmla="*/ 2545740 w 7714416"/>
              <a:gd name="connsiteY3238" fmla="*/ 4728406 h 5282095"/>
              <a:gd name="connsiteX3239" fmla="*/ 2545168 w 7714416"/>
              <a:gd name="connsiteY3239" fmla="*/ 4727517 h 5282095"/>
              <a:gd name="connsiteX3240" fmla="*/ 2547745 w 7714416"/>
              <a:gd name="connsiteY3240" fmla="*/ 4726851 h 5282095"/>
              <a:gd name="connsiteX3241" fmla="*/ 5513510 w 7714416"/>
              <a:gd name="connsiteY3241" fmla="*/ 4726406 h 5282095"/>
              <a:gd name="connsiteX3242" fmla="*/ 5515229 w 7714416"/>
              <a:gd name="connsiteY3242" fmla="*/ 4727851 h 5282095"/>
              <a:gd name="connsiteX3243" fmla="*/ 5514370 w 7714416"/>
              <a:gd name="connsiteY3243" fmla="*/ 4730072 h 5282095"/>
              <a:gd name="connsiteX3244" fmla="*/ 5512078 w 7714416"/>
              <a:gd name="connsiteY3244" fmla="*/ 4735182 h 5282095"/>
              <a:gd name="connsiteX3245" fmla="*/ 5513510 w 7714416"/>
              <a:gd name="connsiteY3245" fmla="*/ 4726406 h 5282095"/>
              <a:gd name="connsiteX3246" fmla="*/ 3139008 w 7714416"/>
              <a:gd name="connsiteY3246" fmla="*/ 4726406 h 5282095"/>
              <a:gd name="connsiteX3247" fmla="*/ 3140726 w 7714416"/>
              <a:gd name="connsiteY3247" fmla="*/ 4727851 h 5282095"/>
              <a:gd name="connsiteX3248" fmla="*/ 3139867 w 7714416"/>
              <a:gd name="connsiteY3248" fmla="*/ 4730072 h 5282095"/>
              <a:gd name="connsiteX3249" fmla="*/ 3137576 w 7714416"/>
              <a:gd name="connsiteY3249" fmla="*/ 4735182 h 5282095"/>
              <a:gd name="connsiteX3250" fmla="*/ 3139008 w 7714416"/>
              <a:gd name="connsiteY3250" fmla="*/ 4726406 h 5282095"/>
              <a:gd name="connsiteX3251" fmla="*/ 5903675 w 7714416"/>
              <a:gd name="connsiteY3251" fmla="*/ 4726073 h 5282095"/>
              <a:gd name="connsiteX3252" fmla="*/ 5902242 w 7714416"/>
              <a:gd name="connsiteY3252" fmla="*/ 4726851 h 5282095"/>
              <a:gd name="connsiteX3253" fmla="*/ 5903962 w 7714416"/>
              <a:gd name="connsiteY3253" fmla="*/ 4728072 h 5282095"/>
              <a:gd name="connsiteX3254" fmla="*/ 5903102 w 7714416"/>
              <a:gd name="connsiteY3254" fmla="*/ 4727183 h 5282095"/>
              <a:gd name="connsiteX3255" fmla="*/ 4595965 w 7714416"/>
              <a:gd name="connsiteY3255" fmla="*/ 4726073 h 5282095"/>
              <a:gd name="connsiteX3256" fmla="*/ 4594533 w 7714416"/>
              <a:gd name="connsiteY3256" fmla="*/ 4726851 h 5282095"/>
              <a:gd name="connsiteX3257" fmla="*/ 4596252 w 7714416"/>
              <a:gd name="connsiteY3257" fmla="*/ 4728072 h 5282095"/>
              <a:gd name="connsiteX3258" fmla="*/ 4595392 w 7714416"/>
              <a:gd name="connsiteY3258" fmla="*/ 4727183 h 5282095"/>
              <a:gd name="connsiteX3259" fmla="*/ 3529173 w 7714416"/>
              <a:gd name="connsiteY3259" fmla="*/ 4726073 h 5282095"/>
              <a:gd name="connsiteX3260" fmla="*/ 3527740 w 7714416"/>
              <a:gd name="connsiteY3260" fmla="*/ 4726851 h 5282095"/>
              <a:gd name="connsiteX3261" fmla="*/ 3529458 w 7714416"/>
              <a:gd name="connsiteY3261" fmla="*/ 4728072 h 5282095"/>
              <a:gd name="connsiteX3262" fmla="*/ 3528600 w 7714416"/>
              <a:gd name="connsiteY3262" fmla="*/ 4727183 h 5282095"/>
              <a:gd name="connsiteX3263" fmla="*/ 4931701 w 7714416"/>
              <a:gd name="connsiteY3263" fmla="*/ 4724740 h 5282095"/>
              <a:gd name="connsiteX3264" fmla="*/ 4930557 w 7714416"/>
              <a:gd name="connsiteY3264" fmla="*/ 4726184 h 5282095"/>
              <a:gd name="connsiteX3265" fmla="*/ 4927691 w 7714416"/>
              <a:gd name="connsiteY3265" fmla="*/ 4724851 h 5282095"/>
              <a:gd name="connsiteX3266" fmla="*/ 4931701 w 7714416"/>
              <a:gd name="connsiteY3266" fmla="*/ 4724740 h 5282095"/>
              <a:gd name="connsiteX3267" fmla="*/ 3623992 w 7714416"/>
              <a:gd name="connsiteY3267" fmla="*/ 4724740 h 5282095"/>
              <a:gd name="connsiteX3268" fmla="*/ 3622846 w 7714416"/>
              <a:gd name="connsiteY3268" fmla="*/ 4726185 h 5282095"/>
              <a:gd name="connsiteX3269" fmla="*/ 3619981 w 7714416"/>
              <a:gd name="connsiteY3269" fmla="*/ 4724851 h 5282095"/>
              <a:gd name="connsiteX3270" fmla="*/ 3623992 w 7714416"/>
              <a:gd name="connsiteY3270" fmla="*/ 4724740 h 5282095"/>
              <a:gd name="connsiteX3271" fmla="*/ 2557198 w 7714416"/>
              <a:gd name="connsiteY3271" fmla="*/ 4724740 h 5282095"/>
              <a:gd name="connsiteX3272" fmla="*/ 2556053 w 7714416"/>
              <a:gd name="connsiteY3272" fmla="*/ 4726185 h 5282095"/>
              <a:gd name="connsiteX3273" fmla="*/ 2553188 w 7714416"/>
              <a:gd name="connsiteY3273" fmla="*/ 4724850 h 5282095"/>
              <a:gd name="connsiteX3274" fmla="*/ 2557198 w 7714416"/>
              <a:gd name="connsiteY3274" fmla="*/ 4724740 h 5282095"/>
              <a:gd name="connsiteX3275" fmla="*/ 3240129 w 7714416"/>
              <a:gd name="connsiteY3275" fmla="*/ 4723963 h 5282095"/>
              <a:gd name="connsiteX3276" fmla="*/ 3241848 w 7714416"/>
              <a:gd name="connsiteY3276" fmla="*/ 4728739 h 5282095"/>
              <a:gd name="connsiteX3277" fmla="*/ 3237265 w 7714416"/>
              <a:gd name="connsiteY3277" fmla="*/ 4730628 h 5282095"/>
              <a:gd name="connsiteX3278" fmla="*/ 3234688 w 7714416"/>
              <a:gd name="connsiteY3278" fmla="*/ 4724851 h 5282095"/>
              <a:gd name="connsiteX3279" fmla="*/ 3240129 w 7714416"/>
              <a:gd name="connsiteY3279" fmla="*/ 4723963 h 5282095"/>
              <a:gd name="connsiteX3280" fmla="*/ 5614632 w 7714416"/>
              <a:gd name="connsiteY3280" fmla="*/ 4723962 h 5282095"/>
              <a:gd name="connsiteX3281" fmla="*/ 5616351 w 7714416"/>
              <a:gd name="connsiteY3281" fmla="*/ 4728739 h 5282095"/>
              <a:gd name="connsiteX3282" fmla="*/ 5611768 w 7714416"/>
              <a:gd name="connsiteY3282" fmla="*/ 4730627 h 5282095"/>
              <a:gd name="connsiteX3283" fmla="*/ 5609190 w 7714416"/>
              <a:gd name="connsiteY3283" fmla="*/ 4724851 h 5282095"/>
              <a:gd name="connsiteX3284" fmla="*/ 5614632 w 7714416"/>
              <a:gd name="connsiteY3284" fmla="*/ 4723962 h 5282095"/>
              <a:gd name="connsiteX3285" fmla="*/ 5592002 w 7714416"/>
              <a:gd name="connsiteY3285" fmla="*/ 4723851 h 5282095"/>
              <a:gd name="connsiteX3286" fmla="*/ 5599450 w 7714416"/>
              <a:gd name="connsiteY3286" fmla="*/ 4732071 h 5282095"/>
              <a:gd name="connsiteX3287" fmla="*/ 5592002 w 7714416"/>
              <a:gd name="connsiteY3287" fmla="*/ 4723851 h 5282095"/>
              <a:gd name="connsiteX3288" fmla="*/ 3217500 w 7714416"/>
              <a:gd name="connsiteY3288" fmla="*/ 4723851 h 5282095"/>
              <a:gd name="connsiteX3289" fmla="*/ 3224947 w 7714416"/>
              <a:gd name="connsiteY3289" fmla="*/ 4732071 h 5282095"/>
              <a:gd name="connsiteX3290" fmla="*/ 3217500 w 7714416"/>
              <a:gd name="connsiteY3290" fmla="*/ 4723851 h 5282095"/>
              <a:gd name="connsiteX3291" fmla="*/ 5487728 w 7714416"/>
              <a:gd name="connsiteY3291" fmla="*/ 4723630 h 5282095"/>
              <a:gd name="connsiteX3292" fmla="*/ 5490880 w 7714416"/>
              <a:gd name="connsiteY3292" fmla="*/ 4727184 h 5282095"/>
              <a:gd name="connsiteX3293" fmla="*/ 5489161 w 7714416"/>
              <a:gd name="connsiteY3293" fmla="*/ 4731738 h 5282095"/>
              <a:gd name="connsiteX3294" fmla="*/ 5485438 w 7714416"/>
              <a:gd name="connsiteY3294" fmla="*/ 4734515 h 5282095"/>
              <a:gd name="connsiteX3295" fmla="*/ 5479708 w 7714416"/>
              <a:gd name="connsiteY3295" fmla="*/ 4735292 h 5282095"/>
              <a:gd name="connsiteX3296" fmla="*/ 5475697 w 7714416"/>
              <a:gd name="connsiteY3296" fmla="*/ 4733848 h 5282095"/>
              <a:gd name="connsiteX3297" fmla="*/ 5473120 w 7714416"/>
              <a:gd name="connsiteY3297" fmla="*/ 4727295 h 5282095"/>
              <a:gd name="connsiteX3298" fmla="*/ 5487728 w 7714416"/>
              <a:gd name="connsiteY3298" fmla="*/ 4723630 h 5282095"/>
              <a:gd name="connsiteX3299" fmla="*/ 3113226 w 7714416"/>
              <a:gd name="connsiteY3299" fmla="*/ 4723629 h 5282095"/>
              <a:gd name="connsiteX3300" fmla="*/ 3116378 w 7714416"/>
              <a:gd name="connsiteY3300" fmla="*/ 4727183 h 5282095"/>
              <a:gd name="connsiteX3301" fmla="*/ 3114372 w 7714416"/>
              <a:gd name="connsiteY3301" fmla="*/ 4731738 h 5282095"/>
              <a:gd name="connsiteX3302" fmla="*/ 3110934 w 7714416"/>
              <a:gd name="connsiteY3302" fmla="*/ 4734515 h 5282095"/>
              <a:gd name="connsiteX3303" fmla="*/ 3105205 w 7714416"/>
              <a:gd name="connsiteY3303" fmla="*/ 4735293 h 5282095"/>
              <a:gd name="connsiteX3304" fmla="*/ 3101194 w 7714416"/>
              <a:gd name="connsiteY3304" fmla="*/ 4733848 h 5282095"/>
              <a:gd name="connsiteX3305" fmla="*/ 3098331 w 7714416"/>
              <a:gd name="connsiteY3305" fmla="*/ 4727295 h 5282095"/>
              <a:gd name="connsiteX3306" fmla="*/ 3113226 w 7714416"/>
              <a:gd name="connsiteY3306" fmla="*/ 4723629 h 5282095"/>
              <a:gd name="connsiteX3307" fmla="*/ 3578444 w 7714416"/>
              <a:gd name="connsiteY3307" fmla="*/ 4721963 h 5282095"/>
              <a:gd name="connsiteX3308" fmla="*/ 3585606 w 7714416"/>
              <a:gd name="connsiteY3308" fmla="*/ 4723518 h 5282095"/>
              <a:gd name="connsiteX3309" fmla="*/ 3581595 w 7714416"/>
              <a:gd name="connsiteY3309" fmla="*/ 4737404 h 5282095"/>
              <a:gd name="connsiteX3310" fmla="*/ 3571282 w 7714416"/>
              <a:gd name="connsiteY3310" fmla="*/ 4734848 h 5282095"/>
              <a:gd name="connsiteX3311" fmla="*/ 3578444 w 7714416"/>
              <a:gd name="connsiteY3311" fmla="*/ 4721963 h 5282095"/>
              <a:gd name="connsiteX3312" fmla="*/ 2511651 w 7714416"/>
              <a:gd name="connsiteY3312" fmla="*/ 4721963 h 5282095"/>
              <a:gd name="connsiteX3313" fmla="*/ 2518813 w 7714416"/>
              <a:gd name="connsiteY3313" fmla="*/ 4723518 h 5282095"/>
              <a:gd name="connsiteX3314" fmla="*/ 2514802 w 7714416"/>
              <a:gd name="connsiteY3314" fmla="*/ 4737403 h 5282095"/>
              <a:gd name="connsiteX3315" fmla="*/ 2504489 w 7714416"/>
              <a:gd name="connsiteY3315" fmla="*/ 4734848 h 5282095"/>
              <a:gd name="connsiteX3316" fmla="*/ 2511651 w 7714416"/>
              <a:gd name="connsiteY3316" fmla="*/ 4721963 h 5282095"/>
              <a:gd name="connsiteX3317" fmla="*/ 3524303 w 7714416"/>
              <a:gd name="connsiteY3317" fmla="*/ 4721186 h 5282095"/>
              <a:gd name="connsiteX3318" fmla="*/ 3521437 w 7714416"/>
              <a:gd name="connsiteY3318" fmla="*/ 4723518 h 5282095"/>
              <a:gd name="connsiteX3319" fmla="*/ 3524302 w 7714416"/>
              <a:gd name="connsiteY3319" fmla="*/ 4724185 h 5282095"/>
              <a:gd name="connsiteX3320" fmla="*/ 3526021 w 7714416"/>
              <a:gd name="connsiteY3320" fmla="*/ 4725517 h 5282095"/>
              <a:gd name="connsiteX3321" fmla="*/ 3524302 w 7714416"/>
              <a:gd name="connsiteY3321" fmla="*/ 4721741 h 5282095"/>
              <a:gd name="connsiteX3322" fmla="*/ 3391956 w 7714416"/>
              <a:gd name="connsiteY3322" fmla="*/ 4721186 h 5282095"/>
              <a:gd name="connsiteX3323" fmla="*/ 3396826 w 7714416"/>
              <a:gd name="connsiteY3323" fmla="*/ 4721518 h 5282095"/>
              <a:gd name="connsiteX3324" fmla="*/ 3398259 w 7714416"/>
              <a:gd name="connsiteY3324" fmla="*/ 4725184 h 5282095"/>
              <a:gd name="connsiteX3325" fmla="*/ 3392529 w 7714416"/>
              <a:gd name="connsiteY3325" fmla="*/ 4731516 h 5282095"/>
              <a:gd name="connsiteX3326" fmla="*/ 3376774 w 7714416"/>
              <a:gd name="connsiteY3326" fmla="*/ 4734515 h 5282095"/>
              <a:gd name="connsiteX3327" fmla="*/ 3386800 w 7714416"/>
              <a:gd name="connsiteY3327" fmla="*/ 4722741 h 5282095"/>
              <a:gd name="connsiteX3328" fmla="*/ 3391956 w 7714416"/>
              <a:gd name="connsiteY3328" fmla="*/ 4721186 h 5282095"/>
              <a:gd name="connsiteX3329" fmla="*/ 5766458 w 7714416"/>
              <a:gd name="connsiteY3329" fmla="*/ 4721185 h 5282095"/>
              <a:gd name="connsiteX3330" fmla="*/ 5771328 w 7714416"/>
              <a:gd name="connsiteY3330" fmla="*/ 4721519 h 5282095"/>
              <a:gd name="connsiteX3331" fmla="*/ 5772760 w 7714416"/>
              <a:gd name="connsiteY3331" fmla="*/ 4725184 h 5282095"/>
              <a:gd name="connsiteX3332" fmla="*/ 5767032 w 7714416"/>
              <a:gd name="connsiteY3332" fmla="*/ 4731516 h 5282095"/>
              <a:gd name="connsiteX3333" fmla="*/ 5751562 w 7714416"/>
              <a:gd name="connsiteY3333" fmla="*/ 4734515 h 5282095"/>
              <a:gd name="connsiteX3334" fmla="*/ 5761302 w 7714416"/>
              <a:gd name="connsiteY3334" fmla="*/ 4722741 h 5282095"/>
              <a:gd name="connsiteX3335" fmla="*/ 5766458 w 7714416"/>
              <a:gd name="connsiteY3335" fmla="*/ 4721185 h 5282095"/>
              <a:gd name="connsiteX3336" fmla="*/ 5280901 w 7714416"/>
              <a:gd name="connsiteY3336" fmla="*/ 4720741 h 5282095"/>
              <a:gd name="connsiteX3337" fmla="*/ 5285485 w 7714416"/>
              <a:gd name="connsiteY3337" fmla="*/ 4724962 h 5282095"/>
              <a:gd name="connsiteX3338" fmla="*/ 5270588 w 7714416"/>
              <a:gd name="connsiteY3338" fmla="*/ 4739292 h 5282095"/>
              <a:gd name="connsiteX3339" fmla="*/ 5280901 w 7714416"/>
              <a:gd name="connsiteY3339" fmla="*/ 4720741 h 5282095"/>
              <a:gd name="connsiteX3340" fmla="*/ 4717712 w 7714416"/>
              <a:gd name="connsiteY3340" fmla="*/ 4720297 h 5282095"/>
              <a:gd name="connsiteX3341" fmla="*/ 4701670 w 7714416"/>
              <a:gd name="connsiteY3341" fmla="*/ 4732516 h 5282095"/>
              <a:gd name="connsiteX3342" fmla="*/ 4695941 w 7714416"/>
              <a:gd name="connsiteY3342" fmla="*/ 4729294 h 5282095"/>
              <a:gd name="connsiteX3343" fmla="*/ 4717712 w 7714416"/>
              <a:gd name="connsiteY3343" fmla="*/ 4720297 h 5282095"/>
              <a:gd name="connsiteX3344" fmla="*/ 6025708 w 7714416"/>
              <a:gd name="connsiteY3344" fmla="*/ 4720297 h 5282095"/>
              <a:gd name="connsiteX3345" fmla="*/ 6009380 w 7714416"/>
              <a:gd name="connsiteY3345" fmla="*/ 4732516 h 5282095"/>
              <a:gd name="connsiteX3346" fmla="*/ 6003651 w 7714416"/>
              <a:gd name="connsiteY3346" fmla="*/ 4729295 h 5282095"/>
              <a:gd name="connsiteX3347" fmla="*/ 6025708 w 7714416"/>
              <a:gd name="connsiteY3347" fmla="*/ 4720297 h 5282095"/>
              <a:gd name="connsiteX3348" fmla="*/ 3650919 w 7714416"/>
              <a:gd name="connsiteY3348" fmla="*/ 4720297 h 5282095"/>
              <a:gd name="connsiteX3349" fmla="*/ 3634877 w 7714416"/>
              <a:gd name="connsiteY3349" fmla="*/ 4732515 h 5282095"/>
              <a:gd name="connsiteX3350" fmla="*/ 3628863 w 7714416"/>
              <a:gd name="connsiteY3350" fmla="*/ 4729295 h 5282095"/>
              <a:gd name="connsiteX3351" fmla="*/ 3650919 w 7714416"/>
              <a:gd name="connsiteY3351" fmla="*/ 4720297 h 5282095"/>
              <a:gd name="connsiteX3352" fmla="*/ 4958629 w 7714416"/>
              <a:gd name="connsiteY3352" fmla="*/ 4719520 h 5282095"/>
              <a:gd name="connsiteX3353" fmla="*/ 4931988 w 7714416"/>
              <a:gd name="connsiteY3353" fmla="*/ 4724851 h 5282095"/>
              <a:gd name="connsiteX3354" fmla="*/ 4958629 w 7714416"/>
              <a:gd name="connsiteY3354" fmla="*/ 4719520 h 5282095"/>
              <a:gd name="connsiteX3355" fmla="*/ 3650919 w 7714416"/>
              <a:gd name="connsiteY3355" fmla="*/ 4719520 h 5282095"/>
              <a:gd name="connsiteX3356" fmla="*/ 3623993 w 7714416"/>
              <a:gd name="connsiteY3356" fmla="*/ 4724851 h 5282095"/>
              <a:gd name="connsiteX3357" fmla="*/ 3650919 w 7714416"/>
              <a:gd name="connsiteY3357" fmla="*/ 4719520 h 5282095"/>
              <a:gd name="connsiteX3358" fmla="*/ 2584126 w 7714416"/>
              <a:gd name="connsiteY3358" fmla="*/ 4719519 h 5282095"/>
              <a:gd name="connsiteX3359" fmla="*/ 2557199 w 7714416"/>
              <a:gd name="connsiteY3359" fmla="*/ 4724851 h 5282095"/>
              <a:gd name="connsiteX3360" fmla="*/ 2584126 w 7714416"/>
              <a:gd name="connsiteY3360" fmla="*/ 4719519 h 5282095"/>
              <a:gd name="connsiteX3361" fmla="*/ 6261756 w 7714416"/>
              <a:gd name="connsiteY3361" fmla="*/ 4719186 h 5282095"/>
              <a:gd name="connsiteX3362" fmla="*/ 6269490 w 7714416"/>
              <a:gd name="connsiteY3362" fmla="*/ 4724407 h 5282095"/>
              <a:gd name="connsiteX3363" fmla="*/ 6260036 w 7714416"/>
              <a:gd name="connsiteY3363" fmla="*/ 4729295 h 5282095"/>
              <a:gd name="connsiteX3364" fmla="*/ 6257745 w 7714416"/>
              <a:gd name="connsiteY3364" fmla="*/ 4720519 h 5282095"/>
              <a:gd name="connsiteX3365" fmla="*/ 6261756 w 7714416"/>
              <a:gd name="connsiteY3365" fmla="*/ 4719186 h 5282095"/>
              <a:gd name="connsiteX3366" fmla="*/ 3830819 w 7714416"/>
              <a:gd name="connsiteY3366" fmla="*/ 4718075 h 5282095"/>
              <a:gd name="connsiteX3367" fmla="*/ 3845142 w 7714416"/>
              <a:gd name="connsiteY3367" fmla="*/ 4723740 h 5282095"/>
              <a:gd name="connsiteX3368" fmla="*/ 3844282 w 7714416"/>
              <a:gd name="connsiteY3368" fmla="*/ 4728517 h 5282095"/>
              <a:gd name="connsiteX3369" fmla="*/ 3853450 w 7714416"/>
              <a:gd name="connsiteY3369" fmla="*/ 4730295 h 5282095"/>
              <a:gd name="connsiteX3370" fmla="*/ 3851444 w 7714416"/>
              <a:gd name="connsiteY3370" fmla="*/ 4738626 h 5282095"/>
              <a:gd name="connsiteX3371" fmla="*/ 3829386 w 7714416"/>
              <a:gd name="connsiteY3371" fmla="*/ 4729406 h 5282095"/>
              <a:gd name="connsiteX3372" fmla="*/ 3829673 w 7714416"/>
              <a:gd name="connsiteY3372" fmla="*/ 4729295 h 5282095"/>
              <a:gd name="connsiteX3373" fmla="*/ 3827381 w 7714416"/>
              <a:gd name="connsiteY3373" fmla="*/ 4726406 h 5282095"/>
              <a:gd name="connsiteX3374" fmla="*/ 3830819 w 7714416"/>
              <a:gd name="connsiteY3374" fmla="*/ 4718075 h 5282095"/>
              <a:gd name="connsiteX3375" fmla="*/ 6205322 w 7714416"/>
              <a:gd name="connsiteY3375" fmla="*/ 4718074 h 5282095"/>
              <a:gd name="connsiteX3376" fmla="*/ 6218212 w 7714416"/>
              <a:gd name="connsiteY3376" fmla="*/ 4733404 h 5282095"/>
              <a:gd name="connsiteX3377" fmla="*/ 6209332 w 7714416"/>
              <a:gd name="connsiteY3377" fmla="*/ 4735960 h 5282095"/>
              <a:gd name="connsiteX3378" fmla="*/ 6205322 w 7714416"/>
              <a:gd name="connsiteY3378" fmla="*/ 4718074 h 5282095"/>
              <a:gd name="connsiteX3379" fmla="*/ 5303246 w 7714416"/>
              <a:gd name="connsiteY3379" fmla="*/ 4717631 h 5282095"/>
              <a:gd name="connsiteX3380" fmla="*/ 5319288 w 7714416"/>
              <a:gd name="connsiteY3380" fmla="*/ 4729628 h 5282095"/>
              <a:gd name="connsiteX3381" fmla="*/ 5312412 w 7714416"/>
              <a:gd name="connsiteY3381" fmla="*/ 4732960 h 5282095"/>
              <a:gd name="connsiteX3382" fmla="*/ 5298377 w 7714416"/>
              <a:gd name="connsiteY3382" fmla="*/ 4729627 h 5282095"/>
              <a:gd name="connsiteX3383" fmla="*/ 5303246 w 7714416"/>
              <a:gd name="connsiteY3383" fmla="*/ 4717631 h 5282095"/>
              <a:gd name="connsiteX3384" fmla="*/ 2928743 w 7714416"/>
              <a:gd name="connsiteY3384" fmla="*/ 4717631 h 5282095"/>
              <a:gd name="connsiteX3385" fmla="*/ 2944785 w 7714416"/>
              <a:gd name="connsiteY3385" fmla="*/ 4729627 h 5282095"/>
              <a:gd name="connsiteX3386" fmla="*/ 2937910 w 7714416"/>
              <a:gd name="connsiteY3386" fmla="*/ 4732960 h 5282095"/>
              <a:gd name="connsiteX3387" fmla="*/ 2923873 w 7714416"/>
              <a:gd name="connsiteY3387" fmla="*/ 4729628 h 5282095"/>
              <a:gd name="connsiteX3388" fmla="*/ 2928743 w 7714416"/>
              <a:gd name="connsiteY3388" fmla="*/ 4717631 h 5282095"/>
              <a:gd name="connsiteX3389" fmla="*/ 5027094 w 7714416"/>
              <a:gd name="connsiteY3389" fmla="*/ 4717076 h 5282095"/>
              <a:gd name="connsiteX3390" fmla="*/ 5032250 w 7714416"/>
              <a:gd name="connsiteY3390" fmla="*/ 4718631 h 5282095"/>
              <a:gd name="connsiteX3391" fmla="*/ 5025948 w 7714416"/>
              <a:gd name="connsiteY3391" fmla="*/ 4726962 h 5282095"/>
              <a:gd name="connsiteX3392" fmla="*/ 5027094 w 7714416"/>
              <a:gd name="connsiteY3392" fmla="*/ 4717076 h 5282095"/>
              <a:gd name="connsiteX3393" fmla="*/ 2652592 w 7714416"/>
              <a:gd name="connsiteY3393" fmla="*/ 4717075 h 5282095"/>
              <a:gd name="connsiteX3394" fmla="*/ 2657748 w 7714416"/>
              <a:gd name="connsiteY3394" fmla="*/ 4718631 h 5282095"/>
              <a:gd name="connsiteX3395" fmla="*/ 2651159 w 7714416"/>
              <a:gd name="connsiteY3395" fmla="*/ 4726962 h 5282095"/>
              <a:gd name="connsiteX3396" fmla="*/ 2652592 w 7714416"/>
              <a:gd name="connsiteY3396" fmla="*/ 4717075 h 5282095"/>
              <a:gd name="connsiteX3397" fmla="*/ 4938290 w 7714416"/>
              <a:gd name="connsiteY3397" fmla="*/ 4713632 h 5282095"/>
              <a:gd name="connsiteX3398" fmla="*/ 4946598 w 7714416"/>
              <a:gd name="connsiteY3398" fmla="*/ 4719963 h 5282095"/>
              <a:gd name="connsiteX3399" fmla="*/ 4929696 w 7714416"/>
              <a:gd name="connsiteY3399" fmla="*/ 4719630 h 5282095"/>
              <a:gd name="connsiteX3400" fmla="*/ 4938290 w 7714416"/>
              <a:gd name="connsiteY3400" fmla="*/ 4713632 h 5282095"/>
              <a:gd name="connsiteX3401" fmla="*/ 3630294 w 7714416"/>
              <a:gd name="connsiteY3401" fmla="*/ 4713632 h 5282095"/>
              <a:gd name="connsiteX3402" fmla="*/ 3638888 w 7714416"/>
              <a:gd name="connsiteY3402" fmla="*/ 4719964 h 5282095"/>
              <a:gd name="connsiteX3403" fmla="*/ 3621987 w 7714416"/>
              <a:gd name="connsiteY3403" fmla="*/ 4719630 h 5282095"/>
              <a:gd name="connsiteX3404" fmla="*/ 3630294 w 7714416"/>
              <a:gd name="connsiteY3404" fmla="*/ 4713632 h 5282095"/>
              <a:gd name="connsiteX3405" fmla="*/ 2563501 w 7714416"/>
              <a:gd name="connsiteY3405" fmla="*/ 4713631 h 5282095"/>
              <a:gd name="connsiteX3406" fmla="*/ 2572095 w 7714416"/>
              <a:gd name="connsiteY3406" fmla="*/ 4719963 h 5282095"/>
              <a:gd name="connsiteX3407" fmla="*/ 2555194 w 7714416"/>
              <a:gd name="connsiteY3407" fmla="*/ 4719630 h 5282095"/>
              <a:gd name="connsiteX3408" fmla="*/ 2563501 w 7714416"/>
              <a:gd name="connsiteY3408" fmla="*/ 4713631 h 5282095"/>
              <a:gd name="connsiteX3409" fmla="*/ 4984697 w 7714416"/>
              <a:gd name="connsiteY3409" fmla="*/ 4713521 h 5282095"/>
              <a:gd name="connsiteX3410" fmla="*/ 4972379 w 7714416"/>
              <a:gd name="connsiteY3410" fmla="*/ 4717631 h 5282095"/>
              <a:gd name="connsiteX3411" fmla="*/ 4970374 w 7714416"/>
              <a:gd name="connsiteY3411" fmla="*/ 4717075 h 5282095"/>
              <a:gd name="connsiteX3412" fmla="*/ 4984697 w 7714416"/>
              <a:gd name="connsiteY3412" fmla="*/ 4713521 h 5282095"/>
              <a:gd name="connsiteX3413" fmla="*/ 2902962 w 7714416"/>
              <a:gd name="connsiteY3413" fmla="*/ 4713521 h 5282095"/>
              <a:gd name="connsiteX3414" fmla="*/ 2915279 w 7714416"/>
              <a:gd name="connsiteY3414" fmla="*/ 4719297 h 5282095"/>
              <a:gd name="connsiteX3415" fmla="*/ 2910409 w 7714416"/>
              <a:gd name="connsiteY3415" fmla="*/ 4724518 h 5282095"/>
              <a:gd name="connsiteX3416" fmla="*/ 2910695 w 7714416"/>
              <a:gd name="connsiteY3416" fmla="*/ 4724962 h 5282095"/>
              <a:gd name="connsiteX3417" fmla="*/ 2896086 w 7714416"/>
              <a:gd name="connsiteY3417" fmla="*/ 4739292 h 5282095"/>
              <a:gd name="connsiteX3418" fmla="*/ 2894653 w 7714416"/>
              <a:gd name="connsiteY3418" fmla="*/ 4729295 h 5282095"/>
              <a:gd name="connsiteX3419" fmla="*/ 2891502 w 7714416"/>
              <a:gd name="connsiteY3419" fmla="*/ 4726851 h 5282095"/>
              <a:gd name="connsiteX3420" fmla="*/ 2902962 w 7714416"/>
              <a:gd name="connsiteY3420" fmla="*/ 4713521 h 5282095"/>
              <a:gd name="connsiteX3421" fmla="*/ 1836169 w 7714416"/>
              <a:gd name="connsiteY3421" fmla="*/ 4713521 h 5282095"/>
              <a:gd name="connsiteX3422" fmla="*/ 1848486 w 7714416"/>
              <a:gd name="connsiteY3422" fmla="*/ 4719297 h 5282095"/>
              <a:gd name="connsiteX3423" fmla="*/ 1832157 w 7714416"/>
              <a:gd name="connsiteY3423" fmla="*/ 4732627 h 5282095"/>
              <a:gd name="connsiteX3424" fmla="*/ 1836169 w 7714416"/>
              <a:gd name="connsiteY3424" fmla="*/ 4713521 h 5282095"/>
              <a:gd name="connsiteX3425" fmla="*/ 2609908 w 7714416"/>
              <a:gd name="connsiteY3425" fmla="*/ 4713521 h 5282095"/>
              <a:gd name="connsiteX3426" fmla="*/ 2597876 w 7714416"/>
              <a:gd name="connsiteY3426" fmla="*/ 4717631 h 5282095"/>
              <a:gd name="connsiteX3427" fmla="*/ 2595871 w 7714416"/>
              <a:gd name="connsiteY3427" fmla="*/ 4717076 h 5282095"/>
              <a:gd name="connsiteX3428" fmla="*/ 2609908 w 7714416"/>
              <a:gd name="connsiteY3428" fmla="*/ 4713521 h 5282095"/>
              <a:gd name="connsiteX3429" fmla="*/ 3229244 w 7714416"/>
              <a:gd name="connsiteY3429" fmla="*/ 4712743 h 5282095"/>
              <a:gd name="connsiteX3430" fmla="*/ 3233542 w 7714416"/>
              <a:gd name="connsiteY3430" fmla="*/ 4713298 h 5282095"/>
              <a:gd name="connsiteX3431" fmla="*/ 3234687 w 7714416"/>
              <a:gd name="connsiteY3431" fmla="*/ 4717186 h 5282095"/>
              <a:gd name="connsiteX3432" fmla="*/ 3233254 w 7714416"/>
              <a:gd name="connsiteY3432" fmla="*/ 4717853 h 5282095"/>
              <a:gd name="connsiteX3433" fmla="*/ 3229244 w 7714416"/>
              <a:gd name="connsiteY3433" fmla="*/ 4712743 h 5282095"/>
              <a:gd name="connsiteX3434" fmla="*/ 5603747 w 7714416"/>
              <a:gd name="connsiteY3434" fmla="*/ 4712743 h 5282095"/>
              <a:gd name="connsiteX3435" fmla="*/ 5608044 w 7714416"/>
              <a:gd name="connsiteY3435" fmla="*/ 4713299 h 5282095"/>
              <a:gd name="connsiteX3436" fmla="*/ 5609190 w 7714416"/>
              <a:gd name="connsiteY3436" fmla="*/ 4717186 h 5282095"/>
              <a:gd name="connsiteX3437" fmla="*/ 5607757 w 7714416"/>
              <a:gd name="connsiteY3437" fmla="*/ 4717853 h 5282095"/>
              <a:gd name="connsiteX3438" fmla="*/ 5603747 w 7714416"/>
              <a:gd name="connsiteY3438" fmla="*/ 4712743 h 5282095"/>
              <a:gd name="connsiteX3439" fmla="*/ 3755765 w 7714416"/>
              <a:gd name="connsiteY3439" fmla="*/ 4710966 h 5282095"/>
              <a:gd name="connsiteX3440" fmla="*/ 3761781 w 7714416"/>
              <a:gd name="connsiteY3440" fmla="*/ 4716631 h 5282095"/>
              <a:gd name="connsiteX3441" fmla="*/ 3755765 w 7714416"/>
              <a:gd name="connsiteY3441" fmla="*/ 4710966 h 5282095"/>
              <a:gd name="connsiteX3442" fmla="*/ 5063761 w 7714416"/>
              <a:gd name="connsiteY3442" fmla="*/ 4710966 h 5282095"/>
              <a:gd name="connsiteX3443" fmla="*/ 5069491 w 7714416"/>
              <a:gd name="connsiteY3443" fmla="*/ 4716631 h 5282095"/>
              <a:gd name="connsiteX3444" fmla="*/ 5063761 w 7714416"/>
              <a:gd name="connsiteY3444" fmla="*/ 4710966 h 5282095"/>
              <a:gd name="connsiteX3445" fmla="*/ 2688972 w 7714416"/>
              <a:gd name="connsiteY3445" fmla="*/ 4710966 h 5282095"/>
              <a:gd name="connsiteX3446" fmla="*/ 2694988 w 7714416"/>
              <a:gd name="connsiteY3446" fmla="*/ 4716631 h 5282095"/>
              <a:gd name="connsiteX3447" fmla="*/ 2688972 w 7714416"/>
              <a:gd name="connsiteY3447" fmla="*/ 4710966 h 5282095"/>
              <a:gd name="connsiteX3448" fmla="*/ 3039604 w 7714416"/>
              <a:gd name="connsiteY3448" fmla="*/ 4709744 h 5282095"/>
              <a:gd name="connsiteX3449" fmla="*/ 3042469 w 7714416"/>
              <a:gd name="connsiteY3449" fmla="*/ 4710188 h 5282095"/>
              <a:gd name="connsiteX3450" fmla="*/ 3045334 w 7714416"/>
              <a:gd name="connsiteY3450" fmla="*/ 4712410 h 5282095"/>
              <a:gd name="connsiteX3451" fmla="*/ 3038172 w 7714416"/>
              <a:gd name="connsiteY3451" fmla="*/ 4714187 h 5282095"/>
              <a:gd name="connsiteX3452" fmla="*/ 3036741 w 7714416"/>
              <a:gd name="connsiteY3452" fmla="*/ 4710521 h 5282095"/>
              <a:gd name="connsiteX3453" fmla="*/ 3039604 w 7714416"/>
              <a:gd name="connsiteY3453" fmla="*/ 4709744 h 5282095"/>
              <a:gd name="connsiteX3454" fmla="*/ 5414107 w 7714416"/>
              <a:gd name="connsiteY3454" fmla="*/ 4709743 h 5282095"/>
              <a:gd name="connsiteX3455" fmla="*/ 5416972 w 7714416"/>
              <a:gd name="connsiteY3455" fmla="*/ 4710188 h 5282095"/>
              <a:gd name="connsiteX3456" fmla="*/ 5419836 w 7714416"/>
              <a:gd name="connsiteY3456" fmla="*/ 4712410 h 5282095"/>
              <a:gd name="connsiteX3457" fmla="*/ 5412962 w 7714416"/>
              <a:gd name="connsiteY3457" fmla="*/ 4714187 h 5282095"/>
              <a:gd name="connsiteX3458" fmla="*/ 5411242 w 7714416"/>
              <a:gd name="connsiteY3458" fmla="*/ 4710521 h 5282095"/>
              <a:gd name="connsiteX3459" fmla="*/ 5414107 w 7714416"/>
              <a:gd name="connsiteY3459" fmla="*/ 4709743 h 5282095"/>
              <a:gd name="connsiteX3460" fmla="*/ 5916280 w 7714416"/>
              <a:gd name="connsiteY3460" fmla="*/ 4708300 h 5282095"/>
              <a:gd name="connsiteX3461" fmla="*/ 5917138 w 7714416"/>
              <a:gd name="connsiteY3461" fmla="*/ 4711966 h 5282095"/>
              <a:gd name="connsiteX3462" fmla="*/ 5916280 w 7714416"/>
              <a:gd name="connsiteY3462" fmla="*/ 4713632 h 5282095"/>
              <a:gd name="connsiteX3463" fmla="*/ 5917138 w 7714416"/>
              <a:gd name="connsiteY3463" fmla="*/ 4714631 h 5282095"/>
              <a:gd name="connsiteX3464" fmla="*/ 5915706 w 7714416"/>
              <a:gd name="connsiteY3464" fmla="*/ 4715187 h 5282095"/>
              <a:gd name="connsiteX3465" fmla="*/ 5914274 w 7714416"/>
              <a:gd name="connsiteY3465" fmla="*/ 4718520 h 5282095"/>
              <a:gd name="connsiteX3466" fmla="*/ 5914560 w 7714416"/>
              <a:gd name="connsiteY3466" fmla="*/ 4726406 h 5282095"/>
              <a:gd name="connsiteX3467" fmla="*/ 5908544 w 7714416"/>
              <a:gd name="connsiteY3467" fmla="*/ 4734181 h 5282095"/>
              <a:gd name="connsiteX3468" fmla="*/ 5903962 w 7714416"/>
              <a:gd name="connsiteY3468" fmla="*/ 4733404 h 5282095"/>
              <a:gd name="connsiteX3469" fmla="*/ 5902529 w 7714416"/>
              <a:gd name="connsiteY3469" fmla="*/ 4736626 h 5282095"/>
              <a:gd name="connsiteX3470" fmla="*/ 5882476 w 7714416"/>
              <a:gd name="connsiteY3470" fmla="*/ 4743735 h 5282095"/>
              <a:gd name="connsiteX3471" fmla="*/ 5874169 w 7714416"/>
              <a:gd name="connsiteY3471" fmla="*/ 4740625 h 5282095"/>
              <a:gd name="connsiteX3472" fmla="*/ 5871591 w 7714416"/>
              <a:gd name="connsiteY3472" fmla="*/ 4732293 h 5282095"/>
              <a:gd name="connsiteX3473" fmla="*/ 5889352 w 7714416"/>
              <a:gd name="connsiteY3473" fmla="*/ 4722184 h 5282095"/>
              <a:gd name="connsiteX3474" fmla="*/ 5899092 w 7714416"/>
              <a:gd name="connsiteY3474" fmla="*/ 4724185 h 5282095"/>
              <a:gd name="connsiteX3475" fmla="*/ 5900524 w 7714416"/>
              <a:gd name="connsiteY3475" fmla="*/ 4725518 h 5282095"/>
              <a:gd name="connsiteX3476" fmla="*/ 5898805 w 7714416"/>
              <a:gd name="connsiteY3476" fmla="*/ 4721741 h 5282095"/>
              <a:gd name="connsiteX3477" fmla="*/ 5900810 w 7714416"/>
              <a:gd name="connsiteY3477" fmla="*/ 4716631 h 5282095"/>
              <a:gd name="connsiteX3478" fmla="*/ 5901383 w 7714416"/>
              <a:gd name="connsiteY3478" fmla="*/ 4710854 h 5282095"/>
              <a:gd name="connsiteX3479" fmla="*/ 5904820 w 7714416"/>
              <a:gd name="connsiteY3479" fmla="*/ 4708966 h 5282095"/>
              <a:gd name="connsiteX3480" fmla="*/ 5906540 w 7714416"/>
              <a:gd name="connsiteY3480" fmla="*/ 4709077 h 5282095"/>
              <a:gd name="connsiteX3481" fmla="*/ 5907686 w 7714416"/>
              <a:gd name="connsiteY3481" fmla="*/ 4711744 h 5282095"/>
              <a:gd name="connsiteX3482" fmla="*/ 5906540 w 7714416"/>
              <a:gd name="connsiteY3482" fmla="*/ 4718519 h 5282095"/>
              <a:gd name="connsiteX3483" fmla="*/ 5905394 w 7714416"/>
              <a:gd name="connsiteY3483" fmla="*/ 4722519 h 5282095"/>
              <a:gd name="connsiteX3484" fmla="*/ 5908831 w 7714416"/>
              <a:gd name="connsiteY3484" fmla="*/ 4715631 h 5282095"/>
              <a:gd name="connsiteX3485" fmla="*/ 5916280 w 7714416"/>
              <a:gd name="connsiteY3485" fmla="*/ 4708300 h 5282095"/>
              <a:gd name="connsiteX3486" fmla="*/ 4608570 w 7714416"/>
              <a:gd name="connsiteY3486" fmla="*/ 4708300 h 5282095"/>
              <a:gd name="connsiteX3487" fmla="*/ 4609429 w 7714416"/>
              <a:gd name="connsiteY3487" fmla="*/ 4711966 h 5282095"/>
              <a:gd name="connsiteX3488" fmla="*/ 4608570 w 7714416"/>
              <a:gd name="connsiteY3488" fmla="*/ 4713632 h 5282095"/>
              <a:gd name="connsiteX3489" fmla="*/ 4609429 w 7714416"/>
              <a:gd name="connsiteY3489" fmla="*/ 4714631 h 5282095"/>
              <a:gd name="connsiteX3490" fmla="*/ 4607996 w 7714416"/>
              <a:gd name="connsiteY3490" fmla="*/ 4715187 h 5282095"/>
              <a:gd name="connsiteX3491" fmla="*/ 4606564 w 7714416"/>
              <a:gd name="connsiteY3491" fmla="*/ 4718519 h 5282095"/>
              <a:gd name="connsiteX3492" fmla="*/ 4606851 w 7714416"/>
              <a:gd name="connsiteY3492" fmla="*/ 4726406 h 5282095"/>
              <a:gd name="connsiteX3493" fmla="*/ 4604272 w 7714416"/>
              <a:gd name="connsiteY3493" fmla="*/ 4730072 h 5282095"/>
              <a:gd name="connsiteX3494" fmla="*/ 4602554 w 7714416"/>
              <a:gd name="connsiteY3494" fmla="*/ 4732182 h 5282095"/>
              <a:gd name="connsiteX3495" fmla="*/ 4607424 w 7714416"/>
              <a:gd name="connsiteY3495" fmla="*/ 4733627 h 5282095"/>
              <a:gd name="connsiteX3496" fmla="*/ 4602554 w 7714416"/>
              <a:gd name="connsiteY3496" fmla="*/ 4741847 h 5282095"/>
              <a:gd name="connsiteX3497" fmla="*/ 4598543 w 7714416"/>
              <a:gd name="connsiteY3497" fmla="*/ 4733960 h 5282095"/>
              <a:gd name="connsiteX3498" fmla="*/ 4598830 w 7714416"/>
              <a:gd name="connsiteY3498" fmla="*/ 4733848 h 5282095"/>
              <a:gd name="connsiteX3499" fmla="*/ 4596252 w 7714416"/>
              <a:gd name="connsiteY3499" fmla="*/ 4733405 h 5282095"/>
              <a:gd name="connsiteX3500" fmla="*/ 4594819 w 7714416"/>
              <a:gd name="connsiteY3500" fmla="*/ 4736626 h 5282095"/>
              <a:gd name="connsiteX3501" fmla="*/ 4574767 w 7714416"/>
              <a:gd name="connsiteY3501" fmla="*/ 4743735 h 5282095"/>
              <a:gd name="connsiteX3502" fmla="*/ 4566173 w 7714416"/>
              <a:gd name="connsiteY3502" fmla="*/ 4740625 h 5282095"/>
              <a:gd name="connsiteX3503" fmla="*/ 4563881 w 7714416"/>
              <a:gd name="connsiteY3503" fmla="*/ 4732294 h 5282095"/>
              <a:gd name="connsiteX3504" fmla="*/ 4581642 w 7714416"/>
              <a:gd name="connsiteY3504" fmla="*/ 4722185 h 5282095"/>
              <a:gd name="connsiteX3505" fmla="*/ 4591095 w 7714416"/>
              <a:gd name="connsiteY3505" fmla="*/ 4724184 h 5282095"/>
              <a:gd name="connsiteX3506" fmla="*/ 4592814 w 7714416"/>
              <a:gd name="connsiteY3506" fmla="*/ 4725517 h 5282095"/>
              <a:gd name="connsiteX3507" fmla="*/ 4591095 w 7714416"/>
              <a:gd name="connsiteY3507" fmla="*/ 4721741 h 5282095"/>
              <a:gd name="connsiteX3508" fmla="*/ 4593100 w 7714416"/>
              <a:gd name="connsiteY3508" fmla="*/ 4716630 h 5282095"/>
              <a:gd name="connsiteX3509" fmla="*/ 4593673 w 7714416"/>
              <a:gd name="connsiteY3509" fmla="*/ 4710854 h 5282095"/>
              <a:gd name="connsiteX3510" fmla="*/ 4597111 w 7714416"/>
              <a:gd name="connsiteY3510" fmla="*/ 4708966 h 5282095"/>
              <a:gd name="connsiteX3511" fmla="*/ 4598830 w 7714416"/>
              <a:gd name="connsiteY3511" fmla="*/ 4709077 h 5282095"/>
              <a:gd name="connsiteX3512" fmla="*/ 4599976 w 7714416"/>
              <a:gd name="connsiteY3512" fmla="*/ 4711744 h 5282095"/>
              <a:gd name="connsiteX3513" fmla="*/ 4598830 w 7714416"/>
              <a:gd name="connsiteY3513" fmla="*/ 4718520 h 5282095"/>
              <a:gd name="connsiteX3514" fmla="*/ 4597684 w 7714416"/>
              <a:gd name="connsiteY3514" fmla="*/ 4722519 h 5282095"/>
              <a:gd name="connsiteX3515" fmla="*/ 4601122 w 7714416"/>
              <a:gd name="connsiteY3515" fmla="*/ 4715631 h 5282095"/>
              <a:gd name="connsiteX3516" fmla="*/ 4608570 w 7714416"/>
              <a:gd name="connsiteY3516" fmla="*/ 4708300 h 5282095"/>
              <a:gd name="connsiteX3517" fmla="*/ 3363023 w 7714416"/>
              <a:gd name="connsiteY3517" fmla="*/ 4707188 h 5282095"/>
              <a:gd name="connsiteX3518" fmla="*/ 3363596 w 7714416"/>
              <a:gd name="connsiteY3518" fmla="*/ 4708189 h 5282095"/>
              <a:gd name="connsiteX3519" fmla="*/ 3357294 w 7714416"/>
              <a:gd name="connsiteY3519" fmla="*/ 4709522 h 5282095"/>
              <a:gd name="connsiteX3520" fmla="*/ 3363023 w 7714416"/>
              <a:gd name="connsiteY3520" fmla="*/ 4707188 h 5282095"/>
              <a:gd name="connsiteX3521" fmla="*/ 5737526 w 7714416"/>
              <a:gd name="connsiteY3521" fmla="*/ 4707188 h 5282095"/>
              <a:gd name="connsiteX3522" fmla="*/ 5738385 w 7714416"/>
              <a:gd name="connsiteY3522" fmla="*/ 4708188 h 5282095"/>
              <a:gd name="connsiteX3523" fmla="*/ 5731796 w 7714416"/>
              <a:gd name="connsiteY3523" fmla="*/ 4709521 h 5282095"/>
              <a:gd name="connsiteX3524" fmla="*/ 5737526 w 7714416"/>
              <a:gd name="connsiteY3524" fmla="*/ 4707188 h 5282095"/>
              <a:gd name="connsiteX3525" fmla="*/ 4724301 w 7714416"/>
              <a:gd name="connsiteY3525" fmla="*/ 4706523 h 5282095"/>
              <a:gd name="connsiteX3526" fmla="*/ 4732036 w 7714416"/>
              <a:gd name="connsiteY3526" fmla="*/ 4711410 h 5282095"/>
              <a:gd name="connsiteX3527" fmla="*/ 4727452 w 7714416"/>
              <a:gd name="connsiteY3527" fmla="*/ 4715854 h 5282095"/>
              <a:gd name="connsiteX3528" fmla="*/ 4720004 w 7714416"/>
              <a:gd name="connsiteY3528" fmla="*/ 4711077 h 5282095"/>
              <a:gd name="connsiteX3529" fmla="*/ 4724301 w 7714416"/>
              <a:gd name="connsiteY3529" fmla="*/ 4706523 h 5282095"/>
              <a:gd name="connsiteX3530" fmla="*/ 6032298 w 7714416"/>
              <a:gd name="connsiteY3530" fmla="*/ 4706522 h 5282095"/>
              <a:gd name="connsiteX3531" fmla="*/ 6039746 w 7714416"/>
              <a:gd name="connsiteY3531" fmla="*/ 4711410 h 5282095"/>
              <a:gd name="connsiteX3532" fmla="*/ 6035162 w 7714416"/>
              <a:gd name="connsiteY3532" fmla="*/ 4715853 h 5282095"/>
              <a:gd name="connsiteX3533" fmla="*/ 6027714 w 7714416"/>
              <a:gd name="connsiteY3533" fmla="*/ 4711077 h 5282095"/>
              <a:gd name="connsiteX3534" fmla="*/ 6032298 w 7714416"/>
              <a:gd name="connsiteY3534" fmla="*/ 4706522 h 5282095"/>
              <a:gd name="connsiteX3535" fmla="*/ 3152471 w 7714416"/>
              <a:gd name="connsiteY3535" fmla="*/ 4705745 h 5282095"/>
              <a:gd name="connsiteX3536" fmla="*/ 3151899 w 7714416"/>
              <a:gd name="connsiteY3536" fmla="*/ 4714631 h 5282095"/>
              <a:gd name="connsiteX3537" fmla="*/ 3151039 w 7714416"/>
              <a:gd name="connsiteY3537" fmla="*/ 4717963 h 5282095"/>
              <a:gd name="connsiteX3538" fmla="*/ 3153617 w 7714416"/>
              <a:gd name="connsiteY3538" fmla="*/ 4718075 h 5282095"/>
              <a:gd name="connsiteX3539" fmla="*/ 3165076 w 7714416"/>
              <a:gd name="connsiteY3539" fmla="*/ 4728627 h 5282095"/>
              <a:gd name="connsiteX3540" fmla="*/ 3152471 w 7714416"/>
              <a:gd name="connsiteY3540" fmla="*/ 4729406 h 5282095"/>
              <a:gd name="connsiteX3541" fmla="*/ 3147316 w 7714416"/>
              <a:gd name="connsiteY3541" fmla="*/ 4726851 h 5282095"/>
              <a:gd name="connsiteX3542" fmla="*/ 3144450 w 7714416"/>
              <a:gd name="connsiteY3542" fmla="*/ 4723185 h 5282095"/>
              <a:gd name="connsiteX3543" fmla="*/ 3147316 w 7714416"/>
              <a:gd name="connsiteY3543" fmla="*/ 4717853 h 5282095"/>
              <a:gd name="connsiteX3544" fmla="*/ 3149034 w 7714416"/>
              <a:gd name="connsiteY3544" fmla="*/ 4717853 h 5282095"/>
              <a:gd name="connsiteX3545" fmla="*/ 3149320 w 7714416"/>
              <a:gd name="connsiteY3545" fmla="*/ 4714521 h 5282095"/>
              <a:gd name="connsiteX3546" fmla="*/ 3152471 w 7714416"/>
              <a:gd name="connsiteY3546" fmla="*/ 4705745 h 5282095"/>
              <a:gd name="connsiteX3547" fmla="*/ 5526974 w 7714416"/>
              <a:gd name="connsiteY3547" fmla="*/ 4705745 h 5282095"/>
              <a:gd name="connsiteX3548" fmla="*/ 5526401 w 7714416"/>
              <a:gd name="connsiteY3548" fmla="*/ 4714630 h 5282095"/>
              <a:gd name="connsiteX3549" fmla="*/ 5525828 w 7714416"/>
              <a:gd name="connsiteY3549" fmla="*/ 4717964 h 5282095"/>
              <a:gd name="connsiteX3550" fmla="*/ 5528120 w 7714416"/>
              <a:gd name="connsiteY3550" fmla="*/ 4718075 h 5282095"/>
              <a:gd name="connsiteX3551" fmla="*/ 5539579 w 7714416"/>
              <a:gd name="connsiteY3551" fmla="*/ 4728628 h 5282095"/>
              <a:gd name="connsiteX3552" fmla="*/ 5526974 w 7714416"/>
              <a:gd name="connsiteY3552" fmla="*/ 4729406 h 5282095"/>
              <a:gd name="connsiteX3553" fmla="*/ 5521818 w 7714416"/>
              <a:gd name="connsiteY3553" fmla="*/ 4726851 h 5282095"/>
              <a:gd name="connsiteX3554" fmla="*/ 5518953 w 7714416"/>
              <a:gd name="connsiteY3554" fmla="*/ 4723185 h 5282095"/>
              <a:gd name="connsiteX3555" fmla="*/ 5521818 w 7714416"/>
              <a:gd name="connsiteY3555" fmla="*/ 4717853 h 5282095"/>
              <a:gd name="connsiteX3556" fmla="*/ 5523537 w 7714416"/>
              <a:gd name="connsiteY3556" fmla="*/ 4717853 h 5282095"/>
              <a:gd name="connsiteX3557" fmla="*/ 5523823 w 7714416"/>
              <a:gd name="connsiteY3557" fmla="*/ 4714521 h 5282095"/>
              <a:gd name="connsiteX3558" fmla="*/ 5526974 w 7714416"/>
              <a:gd name="connsiteY3558" fmla="*/ 4705745 h 5282095"/>
              <a:gd name="connsiteX3559" fmla="*/ 5345069 w 7714416"/>
              <a:gd name="connsiteY3559" fmla="*/ 4704412 h 5282095"/>
              <a:gd name="connsiteX3560" fmla="*/ 5351085 w 7714416"/>
              <a:gd name="connsiteY3560" fmla="*/ 4713854 h 5282095"/>
              <a:gd name="connsiteX3561" fmla="*/ 5337335 w 7714416"/>
              <a:gd name="connsiteY3561" fmla="*/ 4718519 h 5282095"/>
              <a:gd name="connsiteX3562" fmla="*/ 5345069 w 7714416"/>
              <a:gd name="connsiteY3562" fmla="*/ 4704412 h 5282095"/>
              <a:gd name="connsiteX3563" fmla="*/ 2970280 w 7714416"/>
              <a:gd name="connsiteY3563" fmla="*/ 4704411 h 5282095"/>
              <a:gd name="connsiteX3564" fmla="*/ 2976296 w 7714416"/>
              <a:gd name="connsiteY3564" fmla="*/ 4713853 h 5282095"/>
              <a:gd name="connsiteX3565" fmla="*/ 2962546 w 7714416"/>
              <a:gd name="connsiteY3565" fmla="*/ 4718519 h 5282095"/>
              <a:gd name="connsiteX3566" fmla="*/ 2970280 w 7714416"/>
              <a:gd name="connsiteY3566" fmla="*/ 4704411 h 5282095"/>
              <a:gd name="connsiteX3567" fmla="*/ 3819647 w 7714416"/>
              <a:gd name="connsiteY3567" fmla="*/ 4702079 h 5282095"/>
              <a:gd name="connsiteX3568" fmla="*/ 3825376 w 7714416"/>
              <a:gd name="connsiteY3568" fmla="*/ 4705745 h 5282095"/>
              <a:gd name="connsiteX3569" fmla="*/ 3822511 w 7714416"/>
              <a:gd name="connsiteY3569" fmla="*/ 4709522 h 5282095"/>
              <a:gd name="connsiteX3570" fmla="*/ 3825376 w 7714416"/>
              <a:gd name="connsiteY3570" fmla="*/ 4717075 h 5282095"/>
              <a:gd name="connsiteX3571" fmla="*/ 3808188 w 7714416"/>
              <a:gd name="connsiteY3571" fmla="*/ 4720852 h 5282095"/>
              <a:gd name="connsiteX3572" fmla="*/ 3811053 w 7714416"/>
              <a:gd name="connsiteY3572" fmla="*/ 4705745 h 5282095"/>
              <a:gd name="connsiteX3573" fmla="*/ 3819647 w 7714416"/>
              <a:gd name="connsiteY3573" fmla="*/ 4702079 h 5282095"/>
              <a:gd name="connsiteX3574" fmla="*/ 3493077 w 7714416"/>
              <a:gd name="connsiteY3574" fmla="*/ 4701968 h 5282095"/>
              <a:gd name="connsiteX3575" fmla="*/ 3499380 w 7714416"/>
              <a:gd name="connsiteY3575" fmla="*/ 4708188 h 5282095"/>
              <a:gd name="connsiteX3576" fmla="*/ 3489353 w 7714416"/>
              <a:gd name="connsiteY3576" fmla="*/ 4711410 h 5282095"/>
              <a:gd name="connsiteX3577" fmla="*/ 3493077 w 7714416"/>
              <a:gd name="connsiteY3577" fmla="*/ 4701968 h 5282095"/>
              <a:gd name="connsiteX3578" fmla="*/ 2426284 w 7714416"/>
              <a:gd name="connsiteY3578" fmla="*/ 4701968 h 5282095"/>
              <a:gd name="connsiteX3579" fmla="*/ 2432586 w 7714416"/>
              <a:gd name="connsiteY3579" fmla="*/ 4708189 h 5282095"/>
              <a:gd name="connsiteX3580" fmla="*/ 2422561 w 7714416"/>
              <a:gd name="connsiteY3580" fmla="*/ 4711410 h 5282095"/>
              <a:gd name="connsiteX3581" fmla="*/ 2426284 w 7714416"/>
              <a:gd name="connsiteY3581" fmla="*/ 4701968 h 5282095"/>
              <a:gd name="connsiteX3582" fmla="*/ 2712750 w 7714416"/>
              <a:gd name="connsiteY3582" fmla="*/ 4698413 h 5282095"/>
              <a:gd name="connsiteX3583" fmla="*/ 2717046 w 7714416"/>
              <a:gd name="connsiteY3583" fmla="*/ 4715520 h 5282095"/>
              <a:gd name="connsiteX3584" fmla="*/ 2707020 w 7714416"/>
              <a:gd name="connsiteY3584" fmla="*/ 4715520 h 5282095"/>
              <a:gd name="connsiteX3585" fmla="*/ 2712750 w 7714416"/>
              <a:gd name="connsiteY3585" fmla="*/ 4698413 h 5282095"/>
              <a:gd name="connsiteX3586" fmla="*/ 4700524 w 7714416"/>
              <a:gd name="connsiteY3586" fmla="*/ 4696747 h 5282095"/>
              <a:gd name="connsiteX3587" fmla="*/ 4701956 w 7714416"/>
              <a:gd name="connsiteY3587" fmla="*/ 4696970 h 5282095"/>
              <a:gd name="connsiteX3588" fmla="*/ 4704822 w 7714416"/>
              <a:gd name="connsiteY3588" fmla="*/ 4709411 h 5282095"/>
              <a:gd name="connsiteX3589" fmla="*/ 4703676 w 7714416"/>
              <a:gd name="connsiteY3589" fmla="*/ 4713853 h 5282095"/>
              <a:gd name="connsiteX3590" fmla="*/ 4703962 w 7714416"/>
              <a:gd name="connsiteY3590" fmla="*/ 4712631 h 5282095"/>
              <a:gd name="connsiteX3591" fmla="*/ 4701957 w 7714416"/>
              <a:gd name="connsiteY3591" fmla="*/ 4713632 h 5282095"/>
              <a:gd name="connsiteX3592" fmla="*/ 4700524 w 7714416"/>
              <a:gd name="connsiteY3592" fmla="*/ 4696747 h 5282095"/>
              <a:gd name="connsiteX3593" fmla="*/ 6008235 w 7714416"/>
              <a:gd name="connsiteY3593" fmla="*/ 4696747 h 5282095"/>
              <a:gd name="connsiteX3594" fmla="*/ 6009666 w 7714416"/>
              <a:gd name="connsiteY3594" fmla="*/ 4696970 h 5282095"/>
              <a:gd name="connsiteX3595" fmla="*/ 6012532 w 7714416"/>
              <a:gd name="connsiteY3595" fmla="*/ 4709411 h 5282095"/>
              <a:gd name="connsiteX3596" fmla="*/ 6011386 w 7714416"/>
              <a:gd name="connsiteY3596" fmla="*/ 4713853 h 5282095"/>
              <a:gd name="connsiteX3597" fmla="*/ 6011672 w 7714416"/>
              <a:gd name="connsiteY3597" fmla="*/ 4712632 h 5282095"/>
              <a:gd name="connsiteX3598" fmla="*/ 6009953 w 7714416"/>
              <a:gd name="connsiteY3598" fmla="*/ 4713632 h 5282095"/>
              <a:gd name="connsiteX3599" fmla="*/ 6008235 w 7714416"/>
              <a:gd name="connsiteY3599" fmla="*/ 4696747 h 5282095"/>
              <a:gd name="connsiteX3600" fmla="*/ 2633684 w 7714416"/>
              <a:gd name="connsiteY3600" fmla="*/ 4696525 h 5282095"/>
              <a:gd name="connsiteX3601" fmla="*/ 2635404 w 7714416"/>
              <a:gd name="connsiteY3601" fmla="*/ 4699635 h 5282095"/>
              <a:gd name="connsiteX3602" fmla="*/ 2635117 w 7714416"/>
              <a:gd name="connsiteY3602" fmla="*/ 4700746 h 5282095"/>
              <a:gd name="connsiteX3603" fmla="*/ 2633685 w 7714416"/>
              <a:gd name="connsiteY3603" fmla="*/ 4701190 h 5282095"/>
              <a:gd name="connsiteX3604" fmla="*/ 2633684 w 7714416"/>
              <a:gd name="connsiteY3604" fmla="*/ 4696525 h 5282095"/>
              <a:gd name="connsiteX3605" fmla="*/ 5008187 w 7714416"/>
              <a:gd name="connsiteY3605" fmla="*/ 4696525 h 5282095"/>
              <a:gd name="connsiteX3606" fmla="*/ 5009906 w 7714416"/>
              <a:gd name="connsiteY3606" fmla="*/ 4699636 h 5282095"/>
              <a:gd name="connsiteX3607" fmla="*/ 5009906 w 7714416"/>
              <a:gd name="connsiteY3607" fmla="*/ 4700746 h 5282095"/>
              <a:gd name="connsiteX3608" fmla="*/ 5008187 w 7714416"/>
              <a:gd name="connsiteY3608" fmla="*/ 4701191 h 5282095"/>
              <a:gd name="connsiteX3609" fmla="*/ 5008187 w 7714416"/>
              <a:gd name="connsiteY3609" fmla="*/ 4696525 h 5282095"/>
              <a:gd name="connsiteX3610" fmla="*/ 6016542 w 7714416"/>
              <a:gd name="connsiteY3610" fmla="*/ 4695192 h 5282095"/>
              <a:gd name="connsiteX3611" fmla="*/ 6030006 w 7714416"/>
              <a:gd name="connsiteY3611" fmla="*/ 4716742 h 5282095"/>
              <a:gd name="connsiteX3612" fmla="*/ 6023130 w 7714416"/>
              <a:gd name="connsiteY3612" fmla="*/ 4715965 h 5282095"/>
              <a:gd name="connsiteX3613" fmla="*/ 6023417 w 7714416"/>
              <a:gd name="connsiteY3613" fmla="*/ 4713632 h 5282095"/>
              <a:gd name="connsiteX3614" fmla="*/ 6016542 w 7714416"/>
              <a:gd name="connsiteY3614" fmla="*/ 4695192 h 5282095"/>
              <a:gd name="connsiteX3615" fmla="*/ 4708832 w 7714416"/>
              <a:gd name="connsiteY3615" fmla="*/ 4695192 h 5282095"/>
              <a:gd name="connsiteX3616" fmla="*/ 4722296 w 7714416"/>
              <a:gd name="connsiteY3616" fmla="*/ 4716742 h 5282095"/>
              <a:gd name="connsiteX3617" fmla="*/ 4715421 w 7714416"/>
              <a:gd name="connsiteY3617" fmla="*/ 4715965 h 5282095"/>
              <a:gd name="connsiteX3618" fmla="*/ 4715707 w 7714416"/>
              <a:gd name="connsiteY3618" fmla="*/ 4713632 h 5282095"/>
              <a:gd name="connsiteX3619" fmla="*/ 4708832 w 7714416"/>
              <a:gd name="connsiteY3619" fmla="*/ 4695192 h 5282095"/>
              <a:gd name="connsiteX3620" fmla="*/ 5370851 w 7714416"/>
              <a:gd name="connsiteY3620" fmla="*/ 4693970 h 5282095"/>
              <a:gd name="connsiteX3621" fmla="*/ 5396633 w 7714416"/>
              <a:gd name="connsiteY3621" fmla="*/ 4709188 h 5282095"/>
              <a:gd name="connsiteX3622" fmla="*/ 5396920 w 7714416"/>
              <a:gd name="connsiteY3622" fmla="*/ 4711744 h 5282095"/>
              <a:gd name="connsiteX3623" fmla="*/ 5399498 w 7714416"/>
              <a:gd name="connsiteY3623" fmla="*/ 4713410 h 5282095"/>
              <a:gd name="connsiteX3624" fmla="*/ 5400644 w 7714416"/>
              <a:gd name="connsiteY3624" fmla="*/ 4717520 h 5282095"/>
              <a:gd name="connsiteX3625" fmla="*/ 5397206 w 7714416"/>
              <a:gd name="connsiteY3625" fmla="*/ 4715410 h 5282095"/>
              <a:gd name="connsiteX3626" fmla="*/ 5397206 w 7714416"/>
              <a:gd name="connsiteY3626" fmla="*/ 4718297 h 5282095"/>
              <a:gd name="connsiteX3627" fmla="*/ 5367700 w 7714416"/>
              <a:gd name="connsiteY3627" fmla="*/ 4734182 h 5282095"/>
              <a:gd name="connsiteX3628" fmla="*/ 5363116 w 7714416"/>
              <a:gd name="connsiteY3628" fmla="*/ 4695525 h 5282095"/>
              <a:gd name="connsiteX3629" fmla="*/ 5370851 w 7714416"/>
              <a:gd name="connsiteY3629" fmla="*/ 4693970 h 5282095"/>
              <a:gd name="connsiteX3630" fmla="*/ 3195155 w 7714416"/>
              <a:gd name="connsiteY3630" fmla="*/ 4691082 h 5282095"/>
              <a:gd name="connsiteX3631" fmla="*/ 3203176 w 7714416"/>
              <a:gd name="connsiteY3631" fmla="*/ 4695747 h 5282095"/>
              <a:gd name="connsiteX3632" fmla="*/ 3205467 w 7714416"/>
              <a:gd name="connsiteY3632" fmla="*/ 4694859 h 5282095"/>
              <a:gd name="connsiteX3633" fmla="*/ 3212342 w 7714416"/>
              <a:gd name="connsiteY3633" fmla="*/ 4694303 h 5282095"/>
              <a:gd name="connsiteX3634" fmla="*/ 3216067 w 7714416"/>
              <a:gd name="connsiteY3634" fmla="*/ 4704189 h 5282095"/>
              <a:gd name="connsiteX3635" fmla="*/ 3211198 w 7714416"/>
              <a:gd name="connsiteY3635" fmla="*/ 4704634 h 5282095"/>
              <a:gd name="connsiteX3636" fmla="*/ 3210625 w 7714416"/>
              <a:gd name="connsiteY3636" fmla="*/ 4704856 h 5282095"/>
              <a:gd name="connsiteX3637" fmla="*/ 3212915 w 7714416"/>
              <a:gd name="connsiteY3637" fmla="*/ 4719852 h 5282095"/>
              <a:gd name="connsiteX3638" fmla="*/ 3195155 w 7714416"/>
              <a:gd name="connsiteY3638" fmla="*/ 4691082 h 5282095"/>
              <a:gd name="connsiteX3639" fmla="*/ 2128362 w 7714416"/>
              <a:gd name="connsiteY3639" fmla="*/ 4691082 h 5282095"/>
              <a:gd name="connsiteX3640" fmla="*/ 2136382 w 7714416"/>
              <a:gd name="connsiteY3640" fmla="*/ 4695747 h 5282095"/>
              <a:gd name="connsiteX3641" fmla="*/ 2138674 w 7714416"/>
              <a:gd name="connsiteY3641" fmla="*/ 4694858 h 5282095"/>
              <a:gd name="connsiteX3642" fmla="*/ 2145549 w 7714416"/>
              <a:gd name="connsiteY3642" fmla="*/ 4694303 h 5282095"/>
              <a:gd name="connsiteX3643" fmla="*/ 2149273 w 7714416"/>
              <a:gd name="connsiteY3643" fmla="*/ 4704190 h 5282095"/>
              <a:gd name="connsiteX3644" fmla="*/ 2144403 w 7714416"/>
              <a:gd name="connsiteY3644" fmla="*/ 4704634 h 5282095"/>
              <a:gd name="connsiteX3645" fmla="*/ 2143831 w 7714416"/>
              <a:gd name="connsiteY3645" fmla="*/ 4704856 h 5282095"/>
              <a:gd name="connsiteX3646" fmla="*/ 2146122 w 7714416"/>
              <a:gd name="connsiteY3646" fmla="*/ 4719852 h 5282095"/>
              <a:gd name="connsiteX3647" fmla="*/ 2128362 w 7714416"/>
              <a:gd name="connsiteY3647" fmla="*/ 4691082 h 5282095"/>
              <a:gd name="connsiteX3648" fmla="*/ 4830866 w 7714416"/>
              <a:gd name="connsiteY3648" fmla="*/ 4689971 h 5282095"/>
              <a:gd name="connsiteX3649" fmla="*/ 4842611 w 7714416"/>
              <a:gd name="connsiteY3649" fmla="*/ 4694415 h 5282095"/>
              <a:gd name="connsiteX3650" fmla="*/ 4840606 w 7714416"/>
              <a:gd name="connsiteY3650" fmla="*/ 4696636 h 5282095"/>
              <a:gd name="connsiteX3651" fmla="*/ 4838028 w 7714416"/>
              <a:gd name="connsiteY3651" fmla="*/ 4697414 h 5282095"/>
              <a:gd name="connsiteX3652" fmla="*/ 4850632 w 7714416"/>
              <a:gd name="connsiteY3652" fmla="*/ 4700857 h 5282095"/>
              <a:gd name="connsiteX3653" fmla="*/ 4883290 w 7714416"/>
              <a:gd name="connsiteY3653" fmla="*/ 4717075 h 5282095"/>
              <a:gd name="connsiteX3654" fmla="*/ 4889591 w 7714416"/>
              <a:gd name="connsiteY3654" fmla="*/ 4722629 h 5282095"/>
              <a:gd name="connsiteX3655" fmla="*/ 4893315 w 7714416"/>
              <a:gd name="connsiteY3655" fmla="*/ 4723517 h 5282095"/>
              <a:gd name="connsiteX3656" fmla="*/ 4893888 w 7714416"/>
              <a:gd name="connsiteY3656" fmla="*/ 4724962 h 5282095"/>
              <a:gd name="connsiteX3657" fmla="*/ 4893602 w 7714416"/>
              <a:gd name="connsiteY3657" fmla="*/ 4721963 h 5282095"/>
              <a:gd name="connsiteX3658" fmla="*/ 4897612 w 7714416"/>
              <a:gd name="connsiteY3658" fmla="*/ 4718075 h 5282095"/>
              <a:gd name="connsiteX3659" fmla="*/ 4911935 w 7714416"/>
              <a:gd name="connsiteY3659" fmla="*/ 4723740 h 5282095"/>
              <a:gd name="connsiteX3660" fmla="*/ 4911362 w 7714416"/>
              <a:gd name="connsiteY3660" fmla="*/ 4728073 h 5282095"/>
              <a:gd name="connsiteX3661" fmla="*/ 4914514 w 7714416"/>
              <a:gd name="connsiteY3661" fmla="*/ 4727961 h 5282095"/>
              <a:gd name="connsiteX3662" fmla="*/ 4919097 w 7714416"/>
              <a:gd name="connsiteY3662" fmla="*/ 4728739 h 5282095"/>
              <a:gd name="connsiteX3663" fmla="*/ 4912795 w 7714416"/>
              <a:gd name="connsiteY3663" fmla="*/ 4730849 h 5282095"/>
              <a:gd name="connsiteX3664" fmla="*/ 4911076 w 7714416"/>
              <a:gd name="connsiteY3664" fmla="*/ 4730294 h 5282095"/>
              <a:gd name="connsiteX3665" fmla="*/ 4910504 w 7714416"/>
              <a:gd name="connsiteY3665" fmla="*/ 4733404 h 5282095"/>
              <a:gd name="connsiteX3666" fmla="*/ 4903341 w 7714416"/>
              <a:gd name="connsiteY3666" fmla="*/ 4735403 h 5282095"/>
              <a:gd name="connsiteX3667" fmla="*/ 4906779 w 7714416"/>
              <a:gd name="connsiteY3667" fmla="*/ 4738626 h 5282095"/>
              <a:gd name="connsiteX3668" fmla="*/ 4914800 w 7714416"/>
              <a:gd name="connsiteY3668" fmla="*/ 4760176 h 5282095"/>
              <a:gd name="connsiteX3669" fmla="*/ 4912795 w 7714416"/>
              <a:gd name="connsiteY3669" fmla="*/ 4764619 h 5282095"/>
              <a:gd name="connsiteX3670" fmla="*/ 4919384 w 7714416"/>
              <a:gd name="connsiteY3670" fmla="*/ 4762952 h 5282095"/>
              <a:gd name="connsiteX3671" fmla="*/ 4923107 w 7714416"/>
              <a:gd name="connsiteY3671" fmla="*/ 4763175 h 5282095"/>
              <a:gd name="connsiteX3672" fmla="*/ 4922248 w 7714416"/>
              <a:gd name="connsiteY3672" fmla="*/ 4760398 h 5282095"/>
              <a:gd name="connsiteX3673" fmla="*/ 4929410 w 7714416"/>
              <a:gd name="connsiteY3673" fmla="*/ 4760065 h 5282095"/>
              <a:gd name="connsiteX3674" fmla="*/ 4940009 w 7714416"/>
              <a:gd name="connsiteY3674" fmla="*/ 4763841 h 5282095"/>
              <a:gd name="connsiteX3675" fmla="*/ 4941728 w 7714416"/>
              <a:gd name="connsiteY3675" fmla="*/ 4763953 h 5282095"/>
              <a:gd name="connsiteX3676" fmla="*/ 4942014 w 7714416"/>
              <a:gd name="connsiteY3676" fmla="*/ 4764952 h 5282095"/>
              <a:gd name="connsiteX3677" fmla="*/ 4949748 w 7714416"/>
              <a:gd name="connsiteY3677" fmla="*/ 4770284 h 5282095"/>
              <a:gd name="connsiteX3678" fmla="*/ 4948316 w 7714416"/>
              <a:gd name="connsiteY3678" fmla="*/ 4777949 h 5282095"/>
              <a:gd name="connsiteX3679" fmla="*/ 4945165 w 7714416"/>
              <a:gd name="connsiteY3679" fmla="*/ 4776616 h 5282095"/>
              <a:gd name="connsiteX3680" fmla="*/ 4946884 w 7714416"/>
              <a:gd name="connsiteY3680" fmla="*/ 4782837 h 5282095"/>
              <a:gd name="connsiteX3681" fmla="*/ 4949176 w 7714416"/>
              <a:gd name="connsiteY3681" fmla="*/ 4779171 h 5282095"/>
              <a:gd name="connsiteX3682" fmla="*/ 4960060 w 7714416"/>
              <a:gd name="connsiteY3682" fmla="*/ 4778504 h 5282095"/>
              <a:gd name="connsiteX3683" fmla="*/ 4980114 w 7714416"/>
              <a:gd name="connsiteY3683" fmla="*/ 4790835 h 5282095"/>
              <a:gd name="connsiteX3684" fmla="*/ 4959488 w 7714416"/>
              <a:gd name="connsiteY3684" fmla="*/ 4801943 h 5282095"/>
              <a:gd name="connsiteX3685" fmla="*/ 4954046 w 7714416"/>
              <a:gd name="connsiteY3685" fmla="*/ 4800831 h 5282095"/>
              <a:gd name="connsiteX3686" fmla="*/ 4946598 w 7714416"/>
              <a:gd name="connsiteY3686" fmla="*/ 4803943 h 5282095"/>
              <a:gd name="connsiteX3687" fmla="*/ 4943160 w 7714416"/>
              <a:gd name="connsiteY3687" fmla="*/ 4804054 h 5282095"/>
              <a:gd name="connsiteX3688" fmla="*/ 4940582 w 7714416"/>
              <a:gd name="connsiteY3688" fmla="*/ 4811607 h 5282095"/>
              <a:gd name="connsiteX3689" fmla="*/ 4935998 w 7714416"/>
              <a:gd name="connsiteY3689" fmla="*/ 4812829 h 5282095"/>
              <a:gd name="connsiteX3690" fmla="*/ 4946884 w 7714416"/>
              <a:gd name="connsiteY3690" fmla="*/ 4816938 h 5282095"/>
              <a:gd name="connsiteX3691" fmla="*/ 4954618 w 7714416"/>
              <a:gd name="connsiteY3691" fmla="*/ 4822938 h 5282095"/>
              <a:gd name="connsiteX3692" fmla="*/ 4949462 w 7714416"/>
              <a:gd name="connsiteY3692" fmla="*/ 4823049 h 5282095"/>
              <a:gd name="connsiteX3693" fmla="*/ 4947170 w 7714416"/>
              <a:gd name="connsiteY3693" fmla="*/ 4822271 h 5282095"/>
              <a:gd name="connsiteX3694" fmla="*/ 4945452 w 7714416"/>
              <a:gd name="connsiteY3694" fmla="*/ 4822715 h 5282095"/>
              <a:gd name="connsiteX3695" fmla="*/ 4945165 w 7714416"/>
              <a:gd name="connsiteY3695" fmla="*/ 4821603 h 5282095"/>
              <a:gd name="connsiteX3696" fmla="*/ 4941154 w 7714416"/>
              <a:gd name="connsiteY3696" fmla="*/ 4820160 h 5282095"/>
              <a:gd name="connsiteX3697" fmla="*/ 4929696 w 7714416"/>
              <a:gd name="connsiteY3697" fmla="*/ 4819383 h 5282095"/>
              <a:gd name="connsiteX3698" fmla="*/ 4925400 w 7714416"/>
              <a:gd name="connsiteY3698" fmla="*/ 4817272 h 5282095"/>
              <a:gd name="connsiteX3699" fmla="*/ 4922534 w 7714416"/>
              <a:gd name="connsiteY3699" fmla="*/ 4815495 h 5282095"/>
              <a:gd name="connsiteX3700" fmla="*/ 4916805 w 7714416"/>
              <a:gd name="connsiteY3700" fmla="*/ 4815939 h 5282095"/>
              <a:gd name="connsiteX3701" fmla="*/ 4898757 w 7714416"/>
              <a:gd name="connsiteY3701" fmla="*/ 4786058 h 5282095"/>
              <a:gd name="connsiteX3702" fmla="*/ 4898472 w 7714416"/>
              <a:gd name="connsiteY3702" fmla="*/ 4778282 h 5282095"/>
              <a:gd name="connsiteX3703" fmla="*/ 4891023 w 7714416"/>
              <a:gd name="connsiteY3703" fmla="*/ 4783170 h 5282095"/>
              <a:gd name="connsiteX3704" fmla="*/ 4867820 w 7714416"/>
              <a:gd name="connsiteY3704" fmla="*/ 4787724 h 5282095"/>
              <a:gd name="connsiteX3705" fmla="*/ 4855502 w 7714416"/>
              <a:gd name="connsiteY3705" fmla="*/ 4787391 h 5282095"/>
              <a:gd name="connsiteX3706" fmla="*/ 4850632 w 7714416"/>
              <a:gd name="connsiteY3706" fmla="*/ 4790945 h 5282095"/>
              <a:gd name="connsiteX3707" fmla="*/ 4849200 w 7714416"/>
              <a:gd name="connsiteY3707" fmla="*/ 4787280 h 5282095"/>
              <a:gd name="connsiteX3708" fmla="*/ 4841752 w 7714416"/>
              <a:gd name="connsiteY3708" fmla="*/ 4787169 h 5282095"/>
              <a:gd name="connsiteX3709" fmla="*/ 4792766 w 7714416"/>
              <a:gd name="connsiteY3709" fmla="*/ 4771950 h 5282095"/>
              <a:gd name="connsiteX3710" fmla="*/ 4790761 w 7714416"/>
              <a:gd name="connsiteY3710" fmla="*/ 4770284 h 5282095"/>
              <a:gd name="connsiteX3711" fmla="*/ 4785032 w 7714416"/>
              <a:gd name="connsiteY3711" fmla="*/ 4772728 h 5282095"/>
              <a:gd name="connsiteX3712" fmla="*/ 4783313 w 7714416"/>
              <a:gd name="connsiteY3712" fmla="*/ 4771506 h 5282095"/>
              <a:gd name="connsiteX3713" fmla="*/ 4786750 w 7714416"/>
              <a:gd name="connsiteY3713" fmla="*/ 4770284 h 5282095"/>
              <a:gd name="connsiteX3714" fmla="*/ 4789328 w 7714416"/>
              <a:gd name="connsiteY3714" fmla="*/ 4769173 h 5282095"/>
              <a:gd name="connsiteX3715" fmla="*/ 4776151 w 7714416"/>
              <a:gd name="connsiteY3715" fmla="*/ 4758287 h 5282095"/>
              <a:gd name="connsiteX3716" fmla="*/ 4794198 w 7714416"/>
              <a:gd name="connsiteY3716" fmla="*/ 4698635 h 5282095"/>
              <a:gd name="connsiteX3717" fmla="*/ 4815397 w 7714416"/>
              <a:gd name="connsiteY3717" fmla="*/ 4694748 h 5282095"/>
              <a:gd name="connsiteX3718" fmla="*/ 4827428 w 7714416"/>
              <a:gd name="connsiteY3718" fmla="*/ 4695636 h 5282095"/>
              <a:gd name="connsiteX3719" fmla="*/ 4828574 w 7714416"/>
              <a:gd name="connsiteY3719" fmla="*/ 4694526 h 5282095"/>
              <a:gd name="connsiteX3720" fmla="*/ 4830579 w 7714416"/>
              <a:gd name="connsiteY3720" fmla="*/ 4695525 h 5282095"/>
              <a:gd name="connsiteX3721" fmla="*/ 4638648 w 7714416"/>
              <a:gd name="connsiteY3721" fmla="*/ 4689971 h 5282095"/>
              <a:gd name="connsiteX3722" fmla="*/ 4646096 w 7714416"/>
              <a:gd name="connsiteY3722" fmla="*/ 4694415 h 5282095"/>
              <a:gd name="connsiteX3723" fmla="*/ 4617450 w 7714416"/>
              <a:gd name="connsiteY3723" fmla="*/ 4699968 h 5282095"/>
              <a:gd name="connsiteX3724" fmla="*/ 4614585 w 7714416"/>
              <a:gd name="connsiteY3724" fmla="*/ 4696303 h 5282095"/>
              <a:gd name="connsiteX3725" fmla="*/ 4617450 w 7714416"/>
              <a:gd name="connsiteY3725" fmla="*/ 4692637 h 5282095"/>
              <a:gd name="connsiteX3726" fmla="*/ 4638648 w 7714416"/>
              <a:gd name="connsiteY3726" fmla="*/ 4689971 h 5282095"/>
              <a:gd name="connsiteX3727" fmla="*/ 2456363 w 7714416"/>
              <a:gd name="connsiteY3727" fmla="*/ 4689971 h 5282095"/>
              <a:gd name="connsiteX3728" fmla="*/ 2467823 w 7714416"/>
              <a:gd name="connsiteY3728" fmla="*/ 4694414 h 5282095"/>
              <a:gd name="connsiteX3729" fmla="*/ 2466103 w 7714416"/>
              <a:gd name="connsiteY3729" fmla="*/ 4696636 h 5282095"/>
              <a:gd name="connsiteX3730" fmla="*/ 2461519 w 7714416"/>
              <a:gd name="connsiteY3730" fmla="*/ 4697970 h 5282095"/>
              <a:gd name="connsiteX3731" fmla="*/ 2465244 w 7714416"/>
              <a:gd name="connsiteY3731" fmla="*/ 4699636 h 5282095"/>
              <a:gd name="connsiteX3732" fmla="*/ 2466676 w 7714416"/>
              <a:gd name="connsiteY3732" fmla="*/ 4708745 h 5282095"/>
              <a:gd name="connsiteX3733" fmla="*/ 2434019 w 7714416"/>
              <a:gd name="connsiteY3733" fmla="*/ 4725629 h 5282095"/>
              <a:gd name="connsiteX3734" fmla="*/ 2454071 w 7714416"/>
              <a:gd name="connsiteY3734" fmla="*/ 4694526 h 5282095"/>
              <a:gd name="connsiteX3735" fmla="*/ 2456077 w 7714416"/>
              <a:gd name="connsiteY3735" fmla="*/ 4695525 h 5282095"/>
              <a:gd name="connsiteX3736" fmla="*/ 3073980 w 7714416"/>
              <a:gd name="connsiteY3736" fmla="*/ 4689860 h 5282095"/>
              <a:gd name="connsiteX3737" fmla="*/ 3084006 w 7714416"/>
              <a:gd name="connsiteY3737" fmla="*/ 4691526 h 5282095"/>
              <a:gd name="connsiteX3738" fmla="*/ 3080283 w 7714416"/>
              <a:gd name="connsiteY3738" fmla="*/ 4698302 h 5282095"/>
              <a:gd name="connsiteX3739" fmla="*/ 3084293 w 7714416"/>
              <a:gd name="connsiteY3739" fmla="*/ 4698747 h 5282095"/>
              <a:gd name="connsiteX3740" fmla="*/ 3088303 w 7714416"/>
              <a:gd name="connsiteY3740" fmla="*/ 4700635 h 5282095"/>
              <a:gd name="connsiteX3741" fmla="*/ 3087731 w 7714416"/>
              <a:gd name="connsiteY3741" fmla="*/ 4702412 h 5282095"/>
              <a:gd name="connsiteX3742" fmla="*/ 3098330 w 7714416"/>
              <a:gd name="connsiteY3742" fmla="*/ 4699413 h 5282095"/>
              <a:gd name="connsiteX3743" fmla="*/ 3106351 w 7714416"/>
              <a:gd name="connsiteY3743" fmla="*/ 4699413 h 5282095"/>
              <a:gd name="connsiteX3744" fmla="*/ 3130700 w 7714416"/>
              <a:gd name="connsiteY3744" fmla="*/ 4706967 h 5282095"/>
              <a:gd name="connsiteX3745" fmla="*/ 3097757 w 7714416"/>
              <a:gd name="connsiteY3745" fmla="*/ 4707411 h 5282095"/>
              <a:gd name="connsiteX3746" fmla="*/ 3087444 w 7714416"/>
              <a:gd name="connsiteY3746" fmla="*/ 4702857 h 5282095"/>
              <a:gd name="connsiteX3747" fmla="*/ 3086298 w 7714416"/>
              <a:gd name="connsiteY3747" fmla="*/ 4706411 h 5282095"/>
              <a:gd name="connsiteX3748" fmla="*/ 3062235 w 7714416"/>
              <a:gd name="connsiteY3748" fmla="*/ 4710410 h 5282095"/>
              <a:gd name="connsiteX3749" fmla="*/ 3064241 w 7714416"/>
              <a:gd name="connsiteY3749" fmla="*/ 4699857 h 5282095"/>
              <a:gd name="connsiteX3750" fmla="*/ 3068538 w 7714416"/>
              <a:gd name="connsiteY3750" fmla="*/ 4699302 h 5282095"/>
              <a:gd name="connsiteX3751" fmla="*/ 3070829 w 7714416"/>
              <a:gd name="connsiteY3751" fmla="*/ 4698080 h 5282095"/>
              <a:gd name="connsiteX3752" fmla="*/ 3069397 w 7714416"/>
              <a:gd name="connsiteY3752" fmla="*/ 4695081 h 5282095"/>
              <a:gd name="connsiteX3753" fmla="*/ 3063667 w 7714416"/>
              <a:gd name="connsiteY3753" fmla="*/ 4690637 h 5282095"/>
              <a:gd name="connsiteX3754" fmla="*/ 3073980 w 7714416"/>
              <a:gd name="connsiteY3754" fmla="*/ 4689860 h 5282095"/>
              <a:gd name="connsiteX3755" fmla="*/ 5448770 w 7714416"/>
              <a:gd name="connsiteY3755" fmla="*/ 4689860 h 5282095"/>
              <a:gd name="connsiteX3756" fmla="*/ 5458796 w 7714416"/>
              <a:gd name="connsiteY3756" fmla="*/ 4691526 h 5282095"/>
              <a:gd name="connsiteX3757" fmla="*/ 5454785 w 7714416"/>
              <a:gd name="connsiteY3757" fmla="*/ 4698301 h 5282095"/>
              <a:gd name="connsiteX3758" fmla="*/ 5458796 w 7714416"/>
              <a:gd name="connsiteY3758" fmla="*/ 4698747 h 5282095"/>
              <a:gd name="connsiteX3759" fmla="*/ 5462806 w 7714416"/>
              <a:gd name="connsiteY3759" fmla="*/ 4700635 h 5282095"/>
              <a:gd name="connsiteX3760" fmla="*/ 5462233 w 7714416"/>
              <a:gd name="connsiteY3760" fmla="*/ 4702412 h 5282095"/>
              <a:gd name="connsiteX3761" fmla="*/ 5472832 w 7714416"/>
              <a:gd name="connsiteY3761" fmla="*/ 4699413 h 5282095"/>
              <a:gd name="connsiteX3762" fmla="*/ 5480855 w 7714416"/>
              <a:gd name="connsiteY3762" fmla="*/ 4699413 h 5282095"/>
              <a:gd name="connsiteX3763" fmla="*/ 5505203 w 7714416"/>
              <a:gd name="connsiteY3763" fmla="*/ 4706967 h 5282095"/>
              <a:gd name="connsiteX3764" fmla="*/ 5472261 w 7714416"/>
              <a:gd name="connsiteY3764" fmla="*/ 4707411 h 5282095"/>
              <a:gd name="connsiteX3765" fmla="*/ 5461947 w 7714416"/>
              <a:gd name="connsiteY3765" fmla="*/ 4702857 h 5282095"/>
              <a:gd name="connsiteX3766" fmla="*/ 5460801 w 7714416"/>
              <a:gd name="connsiteY3766" fmla="*/ 4706411 h 5282095"/>
              <a:gd name="connsiteX3767" fmla="*/ 5436738 w 7714416"/>
              <a:gd name="connsiteY3767" fmla="*/ 4710410 h 5282095"/>
              <a:gd name="connsiteX3768" fmla="*/ 5438743 w 7714416"/>
              <a:gd name="connsiteY3768" fmla="*/ 4699856 h 5282095"/>
              <a:gd name="connsiteX3769" fmla="*/ 5443040 w 7714416"/>
              <a:gd name="connsiteY3769" fmla="*/ 4699302 h 5282095"/>
              <a:gd name="connsiteX3770" fmla="*/ 5445332 w 7714416"/>
              <a:gd name="connsiteY3770" fmla="*/ 4698080 h 5282095"/>
              <a:gd name="connsiteX3771" fmla="*/ 5443901 w 7714416"/>
              <a:gd name="connsiteY3771" fmla="*/ 4695081 h 5282095"/>
              <a:gd name="connsiteX3772" fmla="*/ 5438170 w 7714416"/>
              <a:gd name="connsiteY3772" fmla="*/ 4690637 h 5282095"/>
              <a:gd name="connsiteX3773" fmla="*/ 5448770 w 7714416"/>
              <a:gd name="connsiteY3773" fmla="*/ 4689860 h 5282095"/>
              <a:gd name="connsiteX3774" fmla="*/ 1915805 w 7714416"/>
              <a:gd name="connsiteY3774" fmla="*/ 4689082 h 5282095"/>
              <a:gd name="connsiteX3775" fmla="*/ 1930415 w 7714416"/>
              <a:gd name="connsiteY3775" fmla="*/ 4697413 h 5282095"/>
              <a:gd name="connsiteX3776" fmla="*/ 1921821 w 7714416"/>
              <a:gd name="connsiteY3776" fmla="*/ 4703300 h 5282095"/>
              <a:gd name="connsiteX3777" fmla="*/ 1908930 w 7714416"/>
              <a:gd name="connsiteY3777" fmla="*/ 4702523 h 5282095"/>
              <a:gd name="connsiteX3778" fmla="*/ 1915805 w 7714416"/>
              <a:gd name="connsiteY3778" fmla="*/ 4689082 h 5282095"/>
              <a:gd name="connsiteX3779" fmla="*/ 3120674 w 7714416"/>
              <a:gd name="connsiteY3779" fmla="*/ 4688082 h 5282095"/>
              <a:gd name="connsiteX3780" fmla="*/ 3123826 w 7714416"/>
              <a:gd name="connsiteY3780" fmla="*/ 4690859 h 5282095"/>
              <a:gd name="connsiteX3781" fmla="*/ 3122680 w 7714416"/>
              <a:gd name="connsiteY3781" fmla="*/ 4693637 h 5282095"/>
              <a:gd name="connsiteX3782" fmla="*/ 3118383 w 7714416"/>
              <a:gd name="connsiteY3782" fmla="*/ 4697747 h 5282095"/>
              <a:gd name="connsiteX3783" fmla="*/ 3110361 w 7714416"/>
              <a:gd name="connsiteY3783" fmla="*/ 4699191 h 5282095"/>
              <a:gd name="connsiteX3784" fmla="*/ 3112080 w 7714416"/>
              <a:gd name="connsiteY3784" fmla="*/ 4698747 h 5282095"/>
              <a:gd name="connsiteX3785" fmla="*/ 3111221 w 7714416"/>
              <a:gd name="connsiteY3785" fmla="*/ 4696525 h 5282095"/>
              <a:gd name="connsiteX3786" fmla="*/ 3109502 w 7714416"/>
              <a:gd name="connsiteY3786" fmla="*/ 4696858 h 5282095"/>
              <a:gd name="connsiteX3787" fmla="*/ 3110362 w 7714416"/>
              <a:gd name="connsiteY3787" fmla="*/ 4694303 h 5282095"/>
              <a:gd name="connsiteX3788" fmla="*/ 3120674 w 7714416"/>
              <a:gd name="connsiteY3788" fmla="*/ 4688082 h 5282095"/>
              <a:gd name="connsiteX3789" fmla="*/ 5495177 w 7714416"/>
              <a:gd name="connsiteY3789" fmla="*/ 4688081 h 5282095"/>
              <a:gd name="connsiteX3790" fmla="*/ 5498328 w 7714416"/>
              <a:gd name="connsiteY3790" fmla="*/ 4690860 h 5282095"/>
              <a:gd name="connsiteX3791" fmla="*/ 5497468 w 7714416"/>
              <a:gd name="connsiteY3791" fmla="*/ 4693637 h 5282095"/>
              <a:gd name="connsiteX3792" fmla="*/ 5493172 w 7714416"/>
              <a:gd name="connsiteY3792" fmla="*/ 4697747 h 5282095"/>
              <a:gd name="connsiteX3793" fmla="*/ 5484865 w 7714416"/>
              <a:gd name="connsiteY3793" fmla="*/ 4699191 h 5282095"/>
              <a:gd name="connsiteX3794" fmla="*/ 5486583 w 7714416"/>
              <a:gd name="connsiteY3794" fmla="*/ 4698747 h 5282095"/>
              <a:gd name="connsiteX3795" fmla="*/ 5485723 w 7714416"/>
              <a:gd name="connsiteY3795" fmla="*/ 4696525 h 5282095"/>
              <a:gd name="connsiteX3796" fmla="*/ 5484291 w 7714416"/>
              <a:gd name="connsiteY3796" fmla="*/ 4696858 h 5282095"/>
              <a:gd name="connsiteX3797" fmla="*/ 5484864 w 7714416"/>
              <a:gd name="connsiteY3797" fmla="*/ 4694303 h 5282095"/>
              <a:gd name="connsiteX3798" fmla="*/ 5495177 w 7714416"/>
              <a:gd name="connsiteY3798" fmla="*/ 4688081 h 5282095"/>
              <a:gd name="connsiteX3799" fmla="*/ 5309261 w 7714416"/>
              <a:gd name="connsiteY3799" fmla="*/ 4687972 h 5282095"/>
              <a:gd name="connsiteX3800" fmla="*/ 5317855 w 7714416"/>
              <a:gd name="connsiteY3800" fmla="*/ 4689860 h 5282095"/>
              <a:gd name="connsiteX3801" fmla="*/ 5309548 w 7714416"/>
              <a:gd name="connsiteY3801" fmla="*/ 4716298 h 5282095"/>
              <a:gd name="connsiteX3802" fmla="*/ 5309261 w 7714416"/>
              <a:gd name="connsiteY3802" fmla="*/ 4687972 h 5282095"/>
              <a:gd name="connsiteX3803" fmla="*/ 2934759 w 7714416"/>
              <a:gd name="connsiteY3803" fmla="*/ 4687972 h 5282095"/>
              <a:gd name="connsiteX3804" fmla="*/ 2943352 w 7714416"/>
              <a:gd name="connsiteY3804" fmla="*/ 4689860 h 5282095"/>
              <a:gd name="connsiteX3805" fmla="*/ 2934758 w 7714416"/>
              <a:gd name="connsiteY3805" fmla="*/ 4716298 h 5282095"/>
              <a:gd name="connsiteX3806" fmla="*/ 2934759 w 7714416"/>
              <a:gd name="connsiteY3806" fmla="*/ 4687972 h 5282095"/>
              <a:gd name="connsiteX3807" fmla="*/ 3062809 w 7714416"/>
              <a:gd name="connsiteY3807" fmla="*/ 4687416 h 5282095"/>
              <a:gd name="connsiteX3808" fmla="*/ 3058511 w 7714416"/>
              <a:gd name="connsiteY3808" fmla="*/ 4694747 h 5282095"/>
              <a:gd name="connsiteX3809" fmla="*/ 3052495 w 7714416"/>
              <a:gd name="connsiteY3809" fmla="*/ 4695081 h 5282095"/>
              <a:gd name="connsiteX3810" fmla="*/ 3052783 w 7714416"/>
              <a:gd name="connsiteY3810" fmla="*/ 4698302 h 5282095"/>
              <a:gd name="connsiteX3811" fmla="*/ 3043328 w 7714416"/>
              <a:gd name="connsiteY3811" fmla="*/ 4706522 h 5282095"/>
              <a:gd name="connsiteX3812" fmla="*/ 3027287 w 7714416"/>
              <a:gd name="connsiteY3812" fmla="*/ 4693303 h 5282095"/>
              <a:gd name="connsiteX3813" fmla="*/ 3046766 w 7714416"/>
              <a:gd name="connsiteY3813" fmla="*/ 4688415 h 5282095"/>
              <a:gd name="connsiteX3814" fmla="*/ 3048486 w 7714416"/>
              <a:gd name="connsiteY3814" fmla="*/ 4689638 h 5282095"/>
              <a:gd name="connsiteX3815" fmla="*/ 3050204 w 7714416"/>
              <a:gd name="connsiteY3815" fmla="*/ 4688860 h 5282095"/>
              <a:gd name="connsiteX3816" fmla="*/ 3062809 w 7714416"/>
              <a:gd name="connsiteY3816" fmla="*/ 4687416 h 5282095"/>
              <a:gd name="connsiteX3817" fmla="*/ 5529266 w 7714416"/>
              <a:gd name="connsiteY3817" fmla="*/ 4687416 h 5282095"/>
              <a:gd name="connsiteX3818" fmla="*/ 5529839 w 7714416"/>
              <a:gd name="connsiteY3818" fmla="*/ 4696525 h 5282095"/>
              <a:gd name="connsiteX3819" fmla="*/ 5528406 w 7714416"/>
              <a:gd name="connsiteY3819" fmla="*/ 4697636 h 5282095"/>
              <a:gd name="connsiteX3820" fmla="*/ 5529266 w 7714416"/>
              <a:gd name="connsiteY3820" fmla="*/ 4687416 h 5282095"/>
              <a:gd name="connsiteX3821" fmla="*/ 5437311 w 7714416"/>
              <a:gd name="connsiteY3821" fmla="*/ 4687416 h 5282095"/>
              <a:gd name="connsiteX3822" fmla="*/ 5433014 w 7714416"/>
              <a:gd name="connsiteY3822" fmla="*/ 4694748 h 5282095"/>
              <a:gd name="connsiteX3823" fmla="*/ 5427284 w 7714416"/>
              <a:gd name="connsiteY3823" fmla="*/ 4695081 h 5282095"/>
              <a:gd name="connsiteX3824" fmla="*/ 5427571 w 7714416"/>
              <a:gd name="connsiteY3824" fmla="*/ 4698302 h 5282095"/>
              <a:gd name="connsiteX3825" fmla="*/ 5417831 w 7714416"/>
              <a:gd name="connsiteY3825" fmla="*/ 4706522 h 5282095"/>
              <a:gd name="connsiteX3826" fmla="*/ 5401789 w 7714416"/>
              <a:gd name="connsiteY3826" fmla="*/ 4693304 h 5282095"/>
              <a:gd name="connsiteX3827" fmla="*/ 5421555 w 7714416"/>
              <a:gd name="connsiteY3827" fmla="*/ 4688416 h 5282095"/>
              <a:gd name="connsiteX3828" fmla="*/ 5422988 w 7714416"/>
              <a:gd name="connsiteY3828" fmla="*/ 4689637 h 5282095"/>
              <a:gd name="connsiteX3829" fmla="*/ 5424706 w 7714416"/>
              <a:gd name="connsiteY3829" fmla="*/ 4688861 h 5282095"/>
              <a:gd name="connsiteX3830" fmla="*/ 5437311 w 7714416"/>
              <a:gd name="connsiteY3830" fmla="*/ 4687416 h 5282095"/>
              <a:gd name="connsiteX3831" fmla="*/ 3154763 w 7714416"/>
              <a:gd name="connsiteY3831" fmla="*/ 4687416 h 5282095"/>
              <a:gd name="connsiteX3832" fmla="*/ 3155336 w 7714416"/>
              <a:gd name="connsiteY3832" fmla="*/ 4696525 h 5282095"/>
              <a:gd name="connsiteX3833" fmla="*/ 3153617 w 7714416"/>
              <a:gd name="connsiteY3833" fmla="*/ 4697636 h 5282095"/>
              <a:gd name="connsiteX3834" fmla="*/ 3154763 w 7714416"/>
              <a:gd name="connsiteY3834" fmla="*/ 4687416 h 5282095"/>
              <a:gd name="connsiteX3835" fmla="*/ 2967415 w 7714416"/>
              <a:gd name="connsiteY3835" fmla="*/ 4687194 h 5282095"/>
              <a:gd name="connsiteX3836" fmla="*/ 2972573 w 7714416"/>
              <a:gd name="connsiteY3836" fmla="*/ 4687305 h 5282095"/>
              <a:gd name="connsiteX3837" fmla="*/ 2971999 w 7714416"/>
              <a:gd name="connsiteY3837" fmla="*/ 4693970 h 5282095"/>
              <a:gd name="connsiteX3838" fmla="*/ 2967415 w 7714416"/>
              <a:gd name="connsiteY3838" fmla="*/ 4687194 h 5282095"/>
              <a:gd name="connsiteX3839" fmla="*/ 5341918 w 7714416"/>
              <a:gd name="connsiteY3839" fmla="*/ 4687194 h 5282095"/>
              <a:gd name="connsiteX3840" fmla="*/ 5347074 w 7714416"/>
              <a:gd name="connsiteY3840" fmla="*/ 4687305 h 5282095"/>
              <a:gd name="connsiteX3841" fmla="*/ 5346788 w 7714416"/>
              <a:gd name="connsiteY3841" fmla="*/ 4693970 h 5282095"/>
              <a:gd name="connsiteX3842" fmla="*/ 5341918 w 7714416"/>
              <a:gd name="connsiteY3842" fmla="*/ 4687194 h 5282095"/>
              <a:gd name="connsiteX3843" fmla="*/ 2777777 w 7714416"/>
              <a:gd name="connsiteY3843" fmla="*/ 4687083 h 5282095"/>
              <a:gd name="connsiteX3844" fmla="*/ 2810146 w 7714416"/>
              <a:gd name="connsiteY3844" fmla="*/ 4698747 h 5282095"/>
              <a:gd name="connsiteX3845" fmla="*/ 2777777 w 7714416"/>
              <a:gd name="connsiteY3845" fmla="*/ 4687083 h 5282095"/>
              <a:gd name="connsiteX3846" fmla="*/ 5152279 w 7714416"/>
              <a:gd name="connsiteY3846" fmla="*/ 4687083 h 5282095"/>
              <a:gd name="connsiteX3847" fmla="*/ 5184936 w 7714416"/>
              <a:gd name="connsiteY3847" fmla="*/ 4698746 h 5282095"/>
              <a:gd name="connsiteX3848" fmla="*/ 5152279 w 7714416"/>
              <a:gd name="connsiteY3848" fmla="*/ 4687083 h 5282095"/>
              <a:gd name="connsiteX3849" fmla="*/ 5469968 w 7714416"/>
              <a:gd name="connsiteY3849" fmla="*/ 4686416 h 5282095"/>
              <a:gd name="connsiteX3850" fmla="*/ 5476843 w 7714416"/>
              <a:gd name="connsiteY3850" fmla="*/ 4690304 h 5282095"/>
              <a:gd name="connsiteX3851" fmla="*/ 5477130 w 7714416"/>
              <a:gd name="connsiteY3851" fmla="*/ 4695192 h 5282095"/>
              <a:gd name="connsiteX3852" fmla="*/ 5469968 w 7714416"/>
              <a:gd name="connsiteY3852" fmla="*/ 4686416 h 5282095"/>
              <a:gd name="connsiteX3853" fmla="*/ 3095465 w 7714416"/>
              <a:gd name="connsiteY3853" fmla="*/ 4686416 h 5282095"/>
              <a:gd name="connsiteX3854" fmla="*/ 3102340 w 7714416"/>
              <a:gd name="connsiteY3854" fmla="*/ 4690304 h 5282095"/>
              <a:gd name="connsiteX3855" fmla="*/ 3102627 w 7714416"/>
              <a:gd name="connsiteY3855" fmla="*/ 4695192 h 5282095"/>
              <a:gd name="connsiteX3856" fmla="*/ 3095465 w 7714416"/>
              <a:gd name="connsiteY3856" fmla="*/ 4686416 h 5282095"/>
              <a:gd name="connsiteX3857" fmla="*/ 2996349 w 7714416"/>
              <a:gd name="connsiteY3857" fmla="*/ 4685417 h 5282095"/>
              <a:gd name="connsiteX3858" fmla="*/ 2989187 w 7714416"/>
              <a:gd name="connsiteY3858" fmla="*/ 4691748 h 5282095"/>
              <a:gd name="connsiteX3859" fmla="*/ 2991765 w 7714416"/>
              <a:gd name="connsiteY3859" fmla="*/ 4692860 h 5282095"/>
              <a:gd name="connsiteX3860" fmla="*/ 2993770 w 7714416"/>
              <a:gd name="connsiteY3860" fmla="*/ 4694525 h 5282095"/>
              <a:gd name="connsiteX3861" fmla="*/ 2996348 w 7714416"/>
              <a:gd name="connsiteY3861" fmla="*/ 4693969 h 5282095"/>
              <a:gd name="connsiteX3862" fmla="*/ 3022131 w 7714416"/>
              <a:gd name="connsiteY3862" fmla="*/ 4709188 h 5282095"/>
              <a:gd name="connsiteX3863" fmla="*/ 3022130 w 7714416"/>
              <a:gd name="connsiteY3863" fmla="*/ 4711743 h 5282095"/>
              <a:gd name="connsiteX3864" fmla="*/ 3024996 w 7714416"/>
              <a:gd name="connsiteY3864" fmla="*/ 4713409 h 5282095"/>
              <a:gd name="connsiteX3865" fmla="*/ 3026141 w 7714416"/>
              <a:gd name="connsiteY3865" fmla="*/ 4717519 h 5282095"/>
              <a:gd name="connsiteX3866" fmla="*/ 3022417 w 7714416"/>
              <a:gd name="connsiteY3866" fmla="*/ 4715409 h 5282095"/>
              <a:gd name="connsiteX3867" fmla="*/ 3022704 w 7714416"/>
              <a:gd name="connsiteY3867" fmla="*/ 4718297 h 5282095"/>
              <a:gd name="connsiteX3868" fmla="*/ 2993197 w 7714416"/>
              <a:gd name="connsiteY3868" fmla="*/ 4734182 h 5282095"/>
              <a:gd name="connsiteX3869" fmla="*/ 2979160 w 7714416"/>
              <a:gd name="connsiteY3869" fmla="*/ 4712632 h 5282095"/>
              <a:gd name="connsiteX3870" fmla="*/ 2980593 w 7714416"/>
              <a:gd name="connsiteY3870" fmla="*/ 4702857 h 5282095"/>
              <a:gd name="connsiteX3871" fmla="*/ 2975723 w 7714416"/>
              <a:gd name="connsiteY3871" fmla="*/ 4702524 h 5282095"/>
              <a:gd name="connsiteX3872" fmla="*/ 2982598 w 7714416"/>
              <a:gd name="connsiteY3872" fmla="*/ 4689082 h 5282095"/>
              <a:gd name="connsiteX3873" fmla="*/ 2987182 w 7714416"/>
              <a:gd name="connsiteY3873" fmla="*/ 4690859 h 5282095"/>
              <a:gd name="connsiteX3874" fmla="*/ 2988614 w 7714416"/>
              <a:gd name="connsiteY3874" fmla="*/ 4689526 h 5282095"/>
              <a:gd name="connsiteX3875" fmla="*/ 2996349 w 7714416"/>
              <a:gd name="connsiteY3875" fmla="*/ 4685417 h 5282095"/>
              <a:gd name="connsiteX3876" fmla="*/ 5370851 w 7714416"/>
              <a:gd name="connsiteY3876" fmla="*/ 4685417 h 5282095"/>
              <a:gd name="connsiteX3877" fmla="*/ 5356814 w 7714416"/>
              <a:gd name="connsiteY3877" fmla="*/ 4695192 h 5282095"/>
              <a:gd name="connsiteX3878" fmla="*/ 5370851 w 7714416"/>
              <a:gd name="connsiteY3878" fmla="*/ 4685417 h 5282095"/>
              <a:gd name="connsiteX3879" fmla="*/ 6009380 w 7714416"/>
              <a:gd name="connsiteY3879" fmla="*/ 4684972 h 5282095"/>
              <a:gd name="connsiteX3880" fmla="*/ 6013964 w 7714416"/>
              <a:gd name="connsiteY3880" fmla="*/ 4690304 h 5282095"/>
              <a:gd name="connsiteX3881" fmla="*/ 6012245 w 7714416"/>
              <a:gd name="connsiteY3881" fmla="*/ 4691192 h 5282095"/>
              <a:gd name="connsiteX3882" fmla="*/ 6009380 w 7714416"/>
              <a:gd name="connsiteY3882" fmla="*/ 4684972 h 5282095"/>
              <a:gd name="connsiteX3883" fmla="*/ 4701670 w 7714416"/>
              <a:gd name="connsiteY3883" fmla="*/ 4684972 h 5282095"/>
              <a:gd name="connsiteX3884" fmla="*/ 4706254 w 7714416"/>
              <a:gd name="connsiteY3884" fmla="*/ 4690305 h 5282095"/>
              <a:gd name="connsiteX3885" fmla="*/ 4704535 w 7714416"/>
              <a:gd name="connsiteY3885" fmla="*/ 4691193 h 5282095"/>
              <a:gd name="connsiteX3886" fmla="*/ 4701670 w 7714416"/>
              <a:gd name="connsiteY3886" fmla="*/ 4684972 h 5282095"/>
              <a:gd name="connsiteX3887" fmla="*/ 4970660 w 7714416"/>
              <a:gd name="connsiteY3887" fmla="*/ 4684750 h 5282095"/>
              <a:gd name="connsiteX3888" fmla="*/ 4977536 w 7714416"/>
              <a:gd name="connsiteY3888" fmla="*/ 4686305 h 5282095"/>
              <a:gd name="connsiteX3889" fmla="*/ 4962353 w 7714416"/>
              <a:gd name="connsiteY3889" fmla="*/ 4698858 h 5282095"/>
              <a:gd name="connsiteX3890" fmla="*/ 4955191 w 7714416"/>
              <a:gd name="connsiteY3890" fmla="*/ 4693637 h 5282095"/>
              <a:gd name="connsiteX3891" fmla="*/ 4970660 w 7714416"/>
              <a:gd name="connsiteY3891" fmla="*/ 4684750 h 5282095"/>
              <a:gd name="connsiteX3892" fmla="*/ 2596158 w 7714416"/>
              <a:gd name="connsiteY3892" fmla="*/ 4684750 h 5282095"/>
              <a:gd name="connsiteX3893" fmla="*/ 2603034 w 7714416"/>
              <a:gd name="connsiteY3893" fmla="*/ 4686305 h 5282095"/>
              <a:gd name="connsiteX3894" fmla="*/ 2587851 w 7714416"/>
              <a:gd name="connsiteY3894" fmla="*/ 4698857 h 5282095"/>
              <a:gd name="connsiteX3895" fmla="*/ 2580689 w 7714416"/>
              <a:gd name="connsiteY3895" fmla="*/ 4693637 h 5282095"/>
              <a:gd name="connsiteX3896" fmla="*/ 2596158 w 7714416"/>
              <a:gd name="connsiteY3896" fmla="*/ 4684750 h 5282095"/>
              <a:gd name="connsiteX3897" fmla="*/ 5688540 w 7714416"/>
              <a:gd name="connsiteY3897" fmla="*/ 4682973 h 5282095"/>
              <a:gd name="connsiteX3898" fmla="*/ 5698280 w 7714416"/>
              <a:gd name="connsiteY3898" fmla="*/ 4687416 h 5282095"/>
              <a:gd name="connsiteX3899" fmla="*/ 5703723 w 7714416"/>
              <a:gd name="connsiteY3899" fmla="*/ 4686861 h 5282095"/>
              <a:gd name="connsiteX3900" fmla="*/ 5706301 w 7714416"/>
              <a:gd name="connsiteY3900" fmla="*/ 4688526 h 5282095"/>
              <a:gd name="connsiteX3901" fmla="*/ 5708020 w 7714416"/>
              <a:gd name="connsiteY3901" fmla="*/ 4687527 h 5282095"/>
              <a:gd name="connsiteX3902" fmla="*/ 5711457 w 7714416"/>
              <a:gd name="connsiteY3902" fmla="*/ 4684638 h 5282095"/>
              <a:gd name="connsiteX3903" fmla="*/ 5725208 w 7714416"/>
              <a:gd name="connsiteY3903" fmla="*/ 4696192 h 5282095"/>
              <a:gd name="connsiteX3904" fmla="*/ 5723775 w 7714416"/>
              <a:gd name="connsiteY3904" fmla="*/ 4701080 h 5282095"/>
              <a:gd name="connsiteX3905" fmla="*/ 5713749 w 7714416"/>
              <a:gd name="connsiteY3905" fmla="*/ 4697969 h 5282095"/>
              <a:gd name="connsiteX3906" fmla="*/ 5708592 w 7714416"/>
              <a:gd name="connsiteY3906" fmla="*/ 4694081 h 5282095"/>
              <a:gd name="connsiteX3907" fmla="*/ 5708020 w 7714416"/>
              <a:gd name="connsiteY3907" fmla="*/ 4694637 h 5282095"/>
              <a:gd name="connsiteX3908" fmla="*/ 5702863 w 7714416"/>
              <a:gd name="connsiteY3908" fmla="*/ 4694858 h 5282095"/>
              <a:gd name="connsiteX3909" fmla="*/ 5694842 w 7714416"/>
              <a:gd name="connsiteY3909" fmla="*/ 4687305 h 5282095"/>
              <a:gd name="connsiteX3910" fmla="*/ 5688540 w 7714416"/>
              <a:gd name="connsiteY3910" fmla="*/ 4682973 h 5282095"/>
              <a:gd name="connsiteX3911" fmla="*/ 3314037 w 7714416"/>
              <a:gd name="connsiteY3911" fmla="*/ 4682973 h 5282095"/>
              <a:gd name="connsiteX3912" fmla="*/ 3323777 w 7714416"/>
              <a:gd name="connsiteY3912" fmla="*/ 4687416 h 5282095"/>
              <a:gd name="connsiteX3913" fmla="*/ 3329220 w 7714416"/>
              <a:gd name="connsiteY3913" fmla="*/ 4686861 h 5282095"/>
              <a:gd name="connsiteX3914" fmla="*/ 3331798 w 7714416"/>
              <a:gd name="connsiteY3914" fmla="*/ 4688527 h 5282095"/>
              <a:gd name="connsiteX3915" fmla="*/ 3333517 w 7714416"/>
              <a:gd name="connsiteY3915" fmla="*/ 4687527 h 5282095"/>
              <a:gd name="connsiteX3916" fmla="*/ 3336954 w 7714416"/>
              <a:gd name="connsiteY3916" fmla="*/ 4684639 h 5282095"/>
              <a:gd name="connsiteX3917" fmla="*/ 3350705 w 7714416"/>
              <a:gd name="connsiteY3917" fmla="*/ 4696192 h 5282095"/>
              <a:gd name="connsiteX3918" fmla="*/ 3349272 w 7714416"/>
              <a:gd name="connsiteY3918" fmla="*/ 4701079 h 5282095"/>
              <a:gd name="connsiteX3919" fmla="*/ 3339247 w 7714416"/>
              <a:gd name="connsiteY3919" fmla="*/ 4697969 h 5282095"/>
              <a:gd name="connsiteX3920" fmla="*/ 3333804 w 7714416"/>
              <a:gd name="connsiteY3920" fmla="*/ 4694081 h 5282095"/>
              <a:gd name="connsiteX3921" fmla="*/ 3333517 w 7714416"/>
              <a:gd name="connsiteY3921" fmla="*/ 4694637 h 5282095"/>
              <a:gd name="connsiteX3922" fmla="*/ 3328360 w 7714416"/>
              <a:gd name="connsiteY3922" fmla="*/ 4694859 h 5282095"/>
              <a:gd name="connsiteX3923" fmla="*/ 3320340 w 7714416"/>
              <a:gd name="connsiteY3923" fmla="*/ 4687305 h 5282095"/>
              <a:gd name="connsiteX3924" fmla="*/ 3314037 w 7714416"/>
              <a:gd name="connsiteY3924" fmla="*/ 4682973 h 5282095"/>
              <a:gd name="connsiteX3925" fmla="*/ 5466530 w 7714416"/>
              <a:gd name="connsiteY3925" fmla="*/ 4682417 h 5282095"/>
              <a:gd name="connsiteX3926" fmla="*/ 5467676 w 7714416"/>
              <a:gd name="connsiteY3926" fmla="*/ 4682862 h 5282095"/>
              <a:gd name="connsiteX3927" fmla="*/ 5469681 w 7714416"/>
              <a:gd name="connsiteY3927" fmla="*/ 4686416 h 5282095"/>
              <a:gd name="connsiteX3928" fmla="*/ 5464525 w 7714416"/>
              <a:gd name="connsiteY3928" fmla="*/ 4683972 h 5282095"/>
              <a:gd name="connsiteX3929" fmla="*/ 5465958 w 7714416"/>
              <a:gd name="connsiteY3929" fmla="*/ 4682862 h 5282095"/>
              <a:gd name="connsiteX3930" fmla="*/ 5464238 w 7714416"/>
              <a:gd name="connsiteY3930" fmla="*/ 4682751 h 5282095"/>
              <a:gd name="connsiteX3931" fmla="*/ 5466530 w 7714416"/>
              <a:gd name="connsiteY3931" fmla="*/ 4682417 h 5282095"/>
              <a:gd name="connsiteX3932" fmla="*/ 3092027 w 7714416"/>
              <a:gd name="connsiteY3932" fmla="*/ 4682416 h 5282095"/>
              <a:gd name="connsiteX3933" fmla="*/ 3093173 w 7714416"/>
              <a:gd name="connsiteY3933" fmla="*/ 4682862 h 5282095"/>
              <a:gd name="connsiteX3934" fmla="*/ 3095180 w 7714416"/>
              <a:gd name="connsiteY3934" fmla="*/ 4686416 h 5282095"/>
              <a:gd name="connsiteX3935" fmla="*/ 3089737 w 7714416"/>
              <a:gd name="connsiteY3935" fmla="*/ 4683972 h 5282095"/>
              <a:gd name="connsiteX3936" fmla="*/ 3091454 w 7714416"/>
              <a:gd name="connsiteY3936" fmla="*/ 4682862 h 5282095"/>
              <a:gd name="connsiteX3937" fmla="*/ 3089737 w 7714416"/>
              <a:gd name="connsiteY3937" fmla="*/ 4682751 h 5282095"/>
              <a:gd name="connsiteX3938" fmla="*/ 3092027 w 7714416"/>
              <a:gd name="connsiteY3938" fmla="*/ 4682416 h 5282095"/>
              <a:gd name="connsiteX3939" fmla="*/ 5088111 w 7714416"/>
              <a:gd name="connsiteY3939" fmla="*/ 4682085 h 5282095"/>
              <a:gd name="connsiteX3940" fmla="*/ 5087538 w 7714416"/>
              <a:gd name="connsiteY3940" fmla="*/ 4684639 h 5282095"/>
              <a:gd name="connsiteX3941" fmla="*/ 5105585 w 7714416"/>
              <a:gd name="connsiteY3941" fmla="*/ 4687416 h 5282095"/>
              <a:gd name="connsiteX3942" fmla="*/ 5146264 w 7714416"/>
              <a:gd name="connsiteY3942" fmla="*/ 4707411 h 5282095"/>
              <a:gd name="connsiteX3943" fmla="*/ 5101575 w 7714416"/>
              <a:gd name="connsiteY3943" fmla="*/ 4712077 h 5282095"/>
              <a:gd name="connsiteX3944" fmla="*/ 5097278 w 7714416"/>
              <a:gd name="connsiteY3944" fmla="*/ 4709854 h 5282095"/>
              <a:gd name="connsiteX3945" fmla="*/ 5096418 w 7714416"/>
              <a:gd name="connsiteY3945" fmla="*/ 4712187 h 5282095"/>
              <a:gd name="connsiteX3946" fmla="*/ 5091548 w 7714416"/>
              <a:gd name="connsiteY3946" fmla="*/ 4715520 h 5282095"/>
              <a:gd name="connsiteX3947" fmla="*/ 5081522 w 7714416"/>
              <a:gd name="connsiteY3947" fmla="*/ 4715520 h 5282095"/>
              <a:gd name="connsiteX3948" fmla="*/ 5081236 w 7714416"/>
              <a:gd name="connsiteY3948" fmla="*/ 4700968 h 5282095"/>
              <a:gd name="connsiteX3949" fmla="*/ 5083241 w 7714416"/>
              <a:gd name="connsiteY3949" fmla="*/ 4700191 h 5282095"/>
              <a:gd name="connsiteX3950" fmla="*/ 5082095 w 7714416"/>
              <a:gd name="connsiteY3950" fmla="*/ 4699080 h 5282095"/>
              <a:gd name="connsiteX3951" fmla="*/ 5080663 w 7714416"/>
              <a:gd name="connsiteY3951" fmla="*/ 4691636 h 5282095"/>
              <a:gd name="connsiteX3952" fmla="*/ 5084387 w 7714416"/>
              <a:gd name="connsiteY3952" fmla="*/ 4687861 h 5282095"/>
              <a:gd name="connsiteX3953" fmla="*/ 5080376 w 7714416"/>
              <a:gd name="connsiteY3953" fmla="*/ 4688415 h 5282095"/>
              <a:gd name="connsiteX3954" fmla="*/ 5078084 w 7714416"/>
              <a:gd name="connsiteY3954" fmla="*/ 4685417 h 5282095"/>
              <a:gd name="connsiteX3955" fmla="*/ 5088111 w 7714416"/>
              <a:gd name="connsiteY3955" fmla="*/ 4682085 h 5282095"/>
              <a:gd name="connsiteX3956" fmla="*/ 2713608 w 7714416"/>
              <a:gd name="connsiteY3956" fmla="*/ 4682084 h 5282095"/>
              <a:gd name="connsiteX3957" fmla="*/ 2705874 w 7714416"/>
              <a:gd name="connsiteY3957" fmla="*/ 4688416 h 5282095"/>
              <a:gd name="connsiteX3958" fmla="*/ 2703582 w 7714416"/>
              <a:gd name="connsiteY3958" fmla="*/ 4685417 h 5282095"/>
              <a:gd name="connsiteX3959" fmla="*/ 2713608 w 7714416"/>
              <a:gd name="connsiteY3959" fmla="*/ 4682084 h 5282095"/>
              <a:gd name="connsiteX3960" fmla="*/ 4724301 w 7714416"/>
              <a:gd name="connsiteY3960" fmla="*/ 4681085 h 5282095"/>
              <a:gd name="connsiteX3961" fmla="*/ 4737192 w 7714416"/>
              <a:gd name="connsiteY3961" fmla="*/ 4689081 h 5282095"/>
              <a:gd name="connsiteX3962" fmla="*/ 4731749 w 7714416"/>
              <a:gd name="connsiteY3962" fmla="*/ 4692304 h 5282095"/>
              <a:gd name="connsiteX3963" fmla="*/ 4732322 w 7714416"/>
              <a:gd name="connsiteY3963" fmla="*/ 4692415 h 5282095"/>
              <a:gd name="connsiteX3964" fmla="*/ 4740630 w 7714416"/>
              <a:gd name="connsiteY3964" fmla="*/ 4693081 h 5282095"/>
              <a:gd name="connsiteX3965" fmla="*/ 4744066 w 7714416"/>
              <a:gd name="connsiteY3965" fmla="*/ 4695636 h 5282095"/>
              <a:gd name="connsiteX3966" fmla="*/ 4743782 w 7714416"/>
              <a:gd name="connsiteY3966" fmla="*/ 4696858 h 5282095"/>
              <a:gd name="connsiteX3967" fmla="*/ 4740343 w 7714416"/>
              <a:gd name="connsiteY3967" fmla="*/ 4697525 h 5282095"/>
              <a:gd name="connsiteX3968" fmla="*/ 4723728 w 7714416"/>
              <a:gd name="connsiteY3968" fmla="*/ 4695192 h 5282095"/>
              <a:gd name="connsiteX3969" fmla="*/ 4721723 w 7714416"/>
              <a:gd name="connsiteY3969" fmla="*/ 4695081 h 5282095"/>
              <a:gd name="connsiteX3970" fmla="*/ 4714561 w 7714416"/>
              <a:gd name="connsiteY3970" fmla="*/ 4694747 h 5282095"/>
              <a:gd name="connsiteX3971" fmla="*/ 4724301 w 7714416"/>
              <a:gd name="connsiteY3971" fmla="*/ 4681085 h 5282095"/>
              <a:gd name="connsiteX3972" fmla="*/ 3416592 w 7714416"/>
              <a:gd name="connsiteY3972" fmla="*/ 4681085 h 5282095"/>
              <a:gd name="connsiteX3973" fmla="*/ 3429483 w 7714416"/>
              <a:gd name="connsiteY3973" fmla="*/ 4689082 h 5282095"/>
              <a:gd name="connsiteX3974" fmla="*/ 3424040 w 7714416"/>
              <a:gd name="connsiteY3974" fmla="*/ 4692304 h 5282095"/>
              <a:gd name="connsiteX3975" fmla="*/ 3424326 w 7714416"/>
              <a:gd name="connsiteY3975" fmla="*/ 4692415 h 5282095"/>
              <a:gd name="connsiteX3976" fmla="*/ 3432920 w 7714416"/>
              <a:gd name="connsiteY3976" fmla="*/ 4693081 h 5282095"/>
              <a:gd name="connsiteX3977" fmla="*/ 3436071 w 7714416"/>
              <a:gd name="connsiteY3977" fmla="*/ 4695636 h 5282095"/>
              <a:gd name="connsiteX3978" fmla="*/ 3436072 w 7714416"/>
              <a:gd name="connsiteY3978" fmla="*/ 4696858 h 5282095"/>
              <a:gd name="connsiteX3979" fmla="*/ 3432634 w 7714416"/>
              <a:gd name="connsiteY3979" fmla="*/ 4697525 h 5282095"/>
              <a:gd name="connsiteX3980" fmla="*/ 3416020 w 7714416"/>
              <a:gd name="connsiteY3980" fmla="*/ 4695192 h 5282095"/>
              <a:gd name="connsiteX3981" fmla="*/ 3414013 w 7714416"/>
              <a:gd name="connsiteY3981" fmla="*/ 4695081 h 5282095"/>
              <a:gd name="connsiteX3982" fmla="*/ 3406566 w 7714416"/>
              <a:gd name="connsiteY3982" fmla="*/ 4694747 h 5282095"/>
              <a:gd name="connsiteX3983" fmla="*/ 3416592 w 7714416"/>
              <a:gd name="connsiteY3983" fmla="*/ 4681085 h 5282095"/>
              <a:gd name="connsiteX3984" fmla="*/ 2349798 w 7714416"/>
              <a:gd name="connsiteY3984" fmla="*/ 4681084 h 5282095"/>
              <a:gd name="connsiteX3985" fmla="*/ 2362690 w 7714416"/>
              <a:gd name="connsiteY3985" fmla="*/ 4689082 h 5282095"/>
              <a:gd name="connsiteX3986" fmla="*/ 2357246 w 7714416"/>
              <a:gd name="connsiteY3986" fmla="*/ 4692303 h 5282095"/>
              <a:gd name="connsiteX3987" fmla="*/ 2357533 w 7714416"/>
              <a:gd name="connsiteY3987" fmla="*/ 4692415 h 5282095"/>
              <a:gd name="connsiteX3988" fmla="*/ 2366128 w 7714416"/>
              <a:gd name="connsiteY3988" fmla="*/ 4693081 h 5282095"/>
              <a:gd name="connsiteX3989" fmla="*/ 2369278 w 7714416"/>
              <a:gd name="connsiteY3989" fmla="*/ 4695636 h 5282095"/>
              <a:gd name="connsiteX3990" fmla="*/ 2369278 w 7714416"/>
              <a:gd name="connsiteY3990" fmla="*/ 4696858 h 5282095"/>
              <a:gd name="connsiteX3991" fmla="*/ 2365554 w 7714416"/>
              <a:gd name="connsiteY3991" fmla="*/ 4697524 h 5282095"/>
              <a:gd name="connsiteX3992" fmla="*/ 2349226 w 7714416"/>
              <a:gd name="connsiteY3992" fmla="*/ 4695191 h 5282095"/>
              <a:gd name="connsiteX3993" fmla="*/ 2347220 w 7714416"/>
              <a:gd name="connsiteY3993" fmla="*/ 4695081 h 5282095"/>
              <a:gd name="connsiteX3994" fmla="*/ 2339772 w 7714416"/>
              <a:gd name="connsiteY3994" fmla="*/ 4694748 h 5282095"/>
              <a:gd name="connsiteX3995" fmla="*/ 2349798 w 7714416"/>
              <a:gd name="connsiteY3995" fmla="*/ 4681084 h 5282095"/>
              <a:gd name="connsiteX3996" fmla="*/ 5007042 w 7714416"/>
              <a:gd name="connsiteY3996" fmla="*/ 4679752 h 5282095"/>
              <a:gd name="connsiteX3997" fmla="*/ 5017640 w 7714416"/>
              <a:gd name="connsiteY3997" fmla="*/ 4682973 h 5282095"/>
              <a:gd name="connsiteX3998" fmla="*/ 5018787 w 7714416"/>
              <a:gd name="connsiteY3998" fmla="*/ 4689527 h 5282095"/>
              <a:gd name="connsiteX3999" fmla="*/ 5003604 w 7714416"/>
              <a:gd name="connsiteY3999" fmla="*/ 4695080 h 5282095"/>
              <a:gd name="connsiteX4000" fmla="*/ 4994724 w 7714416"/>
              <a:gd name="connsiteY4000" fmla="*/ 4685417 h 5282095"/>
              <a:gd name="connsiteX4001" fmla="*/ 5007042 w 7714416"/>
              <a:gd name="connsiteY4001" fmla="*/ 4679752 h 5282095"/>
              <a:gd name="connsiteX4002" fmla="*/ 2632539 w 7714416"/>
              <a:gd name="connsiteY4002" fmla="*/ 4679752 h 5282095"/>
              <a:gd name="connsiteX4003" fmla="*/ 2643138 w 7714416"/>
              <a:gd name="connsiteY4003" fmla="*/ 4682973 h 5282095"/>
              <a:gd name="connsiteX4004" fmla="*/ 2644284 w 7714416"/>
              <a:gd name="connsiteY4004" fmla="*/ 4689527 h 5282095"/>
              <a:gd name="connsiteX4005" fmla="*/ 2629102 w 7714416"/>
              <a:gd name="connsiteY4005" fmla="*/ 4695081 h 5282095"/>
              <a:gd name="connsiteX4006" fmla="*/ 2619935 w 7714416"/>
              <a:gd name="connsiteY4006" fmla="*/ 4685417 h 5282095"/>
              <a:gd name="connsiteX4007" fmla="*/ 2632539 w 7714416"/>
              <a:gd name="connsiteY4007" fmla="*/ 4679752 h 5282095"/>
              <a:gd name="connsiteX4008" fmla="*/ 5176342 w 7714416"/>
              <a:gd name="connsiteY4008" fmla="*/ 4678974 h 5282095"/>
              <a:gd name="connsiteX4009" fmla="*/ 5180925 w 7714416"/>
              <a:gd name="connsiteY4009" fmla="*/ 4679418 h 5282095"/>
              <a:gd name="connsiteX4010" fmla="*/ 5174909 w 7714416"/>
              <a:gd name="connsiteY4010" fmla="*/ 4682085 h 5282095"/>
              <a:gd name="connsiteX4011" fmla="*/ 5170898 w 7714416"/>
              <a:gd name="connsiteY4011" fmla="*/ 4679752 h 5282095"/>
              <a:gd name="connsiteX4012" fmla="*/ 5176342 w 7714416"/>
              <a:gd name="connsiteY4012" fmla="*/ 4678974 h 5282095"/>
              <a:gd name="connsiteX4013" fmla="*/ 2801553 w 7714416"/>
              <a:gd name="connsiteY4013" fmla="*/ 4678974 h 5282095"/>
              <a:gd name="connsiteX4014" fmla="*/ 2806423 w 7714416"/>
              <a:gd name="connsiteY4014" fmla="*/ 4679418 h 5282095"/>
              <a:gd name="connsiteX4015" fmla="*/ 2800120 w 7714416"/>
              <a:gd name="connsiteY4015" fmla="*/ 4682084 h 5282095"/>
              <a:gd name="connsiteX4016" fmla="*/ 2796397 w 7714416"/>
              <a:gd name="connsiteY4016" fmla="*/ 4679752 h 5282095"/>
              <a:gd name="connsiteX4017" fmla="*/ 2801553 w 7714416"/>
              <a:gd name="connsiteY4017" fmla="*/ 4678974 h 5282095"/>
              <a:gd name="connsiteX4018" fmla="*/ 5263713 w 7714416"/>
              <a:gd name="connsiteY4018" fmla="*/ 4678530 h 5282095"/>
              <a:gd name="connsiteX4019" fmla="*/ 5282048 w 7714416"/>
              <a:gd name="connsiteY4019" fmla="*/ 4686638 h 5282095"/>
              <a:gd name="connsiteX4020" fmla="*/ 5263713 w 7714416"/>
              <a:gd name="connsiteY4020" fmla="*/ 4678530 h 5282095"/>
              <a:gd name="connsiteX4021" fmla="*/ 5622367 w 7714416"/>
              <a:gd name="connsiteY4021" fmla="*/ 4678529 h 5282095"/>
              <a:gd name="connsiteX4022" fmla="*/ 5628096 w 7714416"/>
              <a:gd name="connsiteY4022" fmla="*/ 4680196 h 5282095"/>
              <a:gd name="connsiteX4023" fmla="*/ 5625232 w 7714416"/>
              <a:gd name="connsiteY4023" fmla="*/ 4685750 h 5282095"/>
              <a:gd name="connsiteX4024" fmla="*/ 5617210 w 7714416"/>
              <a:gd name="connsiteY4024" fmla="*/ 4681751 h 5282095"/>
              <a:gd name="connsiteX4025" fmla="*/ 5622367 w 7714416"/>
              <a:gd name="connsiteY4025" fmla="*/ 4678529 h 5282095"/>
              <a:gd name="connsiteX4026" fmla="*/ 2889212 w 7714416"/>
              <a:gd name="connsiteY4026" fmla="*/ 4678529 h 5282095"/>
              <a:gd name="connsiteX4027" fmla="*/ 2907544 w 7714416"/>
              <a:gd name="connsiteY4027" fmla="*/ 4686639 h 5282095"/>
              <a:gd name="connsiteX4028" fmla="*/ 2889212 w 7714416"/>
              <a:gd name="connsiteY4028" fmla="*/ 4678529 h 5282095"/>
              <a:gd name="connsiteX4029" fmla="*/ 5583121 w 7714416"/>
              <a:gd name="connsiteY4029" fmla="*/ 4677529 h 5282095"/>
              <a:gd name="connsiteX4030" fmla="*/ 5575387 w 7714416"/>
              <a:gd name="connsiteY4030" fmla="*/ 4685861 h 5282095"/>
              <a:gd name="connsiteX4031" fmla="*/ 5572236 w 7714416"/>
              <a:gd name="connsiteY4031" fmla="*/ 4686195 h 5282095"/>
              <a:gd name="connsiteX4032" fmla="*/ 5583121 w 7714416"/>
              <a:gd name="connsiteY4032" fmla="*/ 4677529 h 5282095"/>
              <a:gd name="connsiteX4033" fmla="*/ 5183790 w 7714416"/>
              <a:gd name="connsiteY4033" fmla="*/ 4677307 h 5282095"/>
              <a:gd name="connsiteX4034" fmla="*/ 5185509 w 7714416"/>
              <a:gd name="connsiteY4034" fmla="*/ 4677752 h 5282095"/>
              <a:gd name="connsiteX4035" fmla="*/ 5182071 w 7714416"/>
              <a:gd name="connsiteY4035" fmla="*/ 4679084 h 5282095"/>
              <a:gd name="connsiteX4036" fmla="*/ 5181499 w 7714416"/>
              <a:gd name="connsiteY4036" fmla="*/ 4678196 h 5282095"/>
              <a:gd name="connsiteX4037" fmla="*/ 5183790 w 7714416"/>
              <a:gd name="connsiteY4037" fmla="*/ 4677307 h 5282095"/>
              <a:gd name="connsiteX4038" fmla="*/ 2809288 w 7714416"/>
              <a:gd name="connsiteY4038" fmla="*/ 4677307 h 5282095"/>
              <a:gd name="connsiteX4039" fmla="*/ 2811006 w 7714416"/>
              <a:gd name="connsiteY4039" fmla="*/ 4677752 h 5282095"/>
              <a:gd name="connsiteX4040" fmla="*/ 2807568 w 7714416"/>
              <a:gd name="connsiteY4040" fmla="*/ 4679084 h 5282095"/>
              <a:gd name="connsiteX4041" fmla="*/ 2806995 w 7714416"/>
              <a:gd name="connsiteY4041" fmla="*/ 4678196 h 5282095"/>
              <a:gd name="connsiteX4042" fmla="*/ 2809288 w 7714416"/>
              <a:gd name="connsiteY4042" fmla="*/ 4677307 h 5282095"/>
              <a:gd name="connsiteX4043" fmla="*/ 2587278 w 7714416"/>
              <a:gd name="connsiteY4043" fmla="*/ 4676863 h 5282095"/>
              <a:gd name="connsiteX4044" fmla="*/ 2584986 w 7714416"/>
              <a:gd name="connsiteY4044" fmla="*/ 4682528 h 5282095"/>
              <a:gd name="connsiteX4045" fmla="*/ 2578397 w 7714416"/>
              <a:gd name="connsiteY4045" fmla="*/ 4684750 h 5282095"/>
              <a:gd name="connsiteX4046" fmla="*/ 2587278 w 7714416"/>
              <a:gd name="connsiteY4046" fmla="*/ 4676863 h 5282095"/>
              <a:gd name="connsiteX4047" fmla="*/ 4961780 w 7714416"/>
              <a:gd name="connsiteY4047" fmla="*/ 4676863 h 5282095"/>
              <a:gd name="connsiteX4048" fmla="*/ 4959488 w 7714416"/>
              <a:gd name="connsiteY4048" fmla="*/ 4682529 h 5282095"/>
              <a:gd name="connsiteX4049" fmla="*/ 4952900 w 7714416"/>
              <a:gd name="connsiteY4049" fmla="*/ 4684750 h 5282095"/>
              <a:gd name="connsiteX4050" fmla="*/ 4961780 w 7714416"/>
              <a:gd name="connsiteY4050" fmla="*/ 4676863 h 5282095"/>
              <a:gd name="connsiteX4051" fmla="*/ 5822892 w 7714416"/>
              <a:gd name="connsiteY4051" fmla="*/ 4676197 h 5282095"/>
              <a:gd name="connsiteX4052" fmla="*/ 5825470 w 7714416"/>
              <a:gd name="connsiteY4052" fmla="*/ 4678085 h 5282095"/>
              <a:gd name="connsiteX4053" fmla="*/ 5830340 w 7714416"/>
              <a:gd name="connsiteY4053" fmla="*/ 4688861 h 5282095"/>
              <a:gd name="connsiteX4054" fmla="*/ 5831486 w 7714416"/>
              <a:gd name="connsiteY4054" fmla="*/ 4690971 h 5282095"/>
              <a:gd name="connsiteX4055" fmla="*/ 5829767 w 7714416"/>
              <a:gd name="connsiteY4055" fmla="*/ 4694081 h 5282095"/>
              <a:gd name="connsiteX4056" fmla="*/ 5822606 w 7714416"/>
              <a:gd name="connsiteY4056" fmla="*/ 4685083 h 5282095"/>
              <a:gd name="connsiteX4057" fmla="*/ 5819454 w 7714416"/>
              <a:gd name="connsiteY4057" fmla="*/ 4679862 h 5282095"/>
              <a:gd name="connsiteX4058" fmla="*/ 5821460 w 7714416"/>
              <a:gd name="connsiteY4058" fmla="*/ 4676752 h 5282095"/>
              <a:gd name="connsiteX4059" fmla="*/ 3448389 w 7714416"/>
              <a:gd name="connsiteY4059" fmla="*/ 4676197 h 5282095"/>
              <a:gd name="connsiteX4060" fmla="*/ 3450967 w 7714416"/>
              <a:gd name="connsiteY4060" fmla="*/ 4678085 h 5282095"/>
              <a:gd name="connsiteX4061" fmla="*/ 3455551 w 7714416"/>
              <a:gd name="connsiteY4061" fmla="*/ 4688861 h 5282095"/>
              <a:gd name="connsiteX4062" fmla="*/ 3456983 w 7714416"/>
              <a:gd name="connsiteY4062" fmla="*/ 4690970 h 5282095"/>
              <a:gd name="connsiteX4063" fmla="*/ 3454979 w 7714416"/>
              <a:gd name="connsiteY4063" fmla="*/ 4694081 h 5282095"/>
              <a:gd name="connsiteX4064" fmla="*/ 3448103 w 7714416"/>
              <a:gd name="connsiteY4064" fmla="*/ 4685083 h 5282095"/>
              <a:gd name="connsiteX4065" fmla="*/ 3444951 w 7714416"/>
              <a:gd name="connsiteY4065" fmla="*/ 4679862 h 5282095"/>
              <a:gd name="connsiteX4066" fmla="*/ 3446957 w 7714416"/>
              <a:gd name="connsiteY4066" fmla="*/ 4676752 h 5282095"/>
              <a:gd name="connsiteX4067" fmla="*/ 3400550 w 7714416"/>
              <a:gd name="connsiteY4067" fmla="*/ 4675420 h 5282095"/>
              <a:gd name="connsiteX4068" fmla="*/ 3403701 w 7714416"/>
              <a:gd name="connsiteY4068" fmla="*/ 4676530 h 5282095"/>
              <a:gd name="connsiteX4069" fmla="*/ 3405133 w 7714416"/>
              <a:gd name="connsiteY4069" fmla="*/ 4685083 h 5282095"/>
              <a:gd name="connsiteX4070" fmla="*/ 3400836 w 7714416"/>
              <a:gd name="connsiteY4070" fmla="*/ 4687527 h 5282095"/>
              <a:gd name="connsiteX4071" fmla="*/ 3391669 w 7714416"/>
              <a:gd name="connsiteY4071" fmla="*/ 4682528 h 5282095"/>
              <a:gd name="connsiteX4072" fmla="*/ 3393101 w 7714416"/>
              <a:gd name="connsiteY4072" fmla="*/ 4678640 h 5282095"/>
              <a:gd name="connsiteX4073" fmla="*/ 3400550 w 7714416"/>
              <a:gd name="connsiteY4073" fmla="*/ 4675420 h 5282095"/>
              <a:gd name="connsiteX4074" fmla="*/ 2333756 w 7714416"/>
              <a:gd name="connsiteY4074" fmla="*/ 4675419 h 5282095"/>
              <a:gd name="connsiteX4075" fmla="*/ 2336907 w 7714416"/>
              <a:gd name="connsiteY4075" fmla="*/ 4676530 h 5282095"/>
              <a:gd name="connsiteX4076" fmla="*/ 2338340 w 7714416"/>
              <a:gd name="connsiteY4076" fmla="*/ 4685084 h 5282095"/>
              <a:gd name="connsiteX4077" fmla="*/ 2334043 w 7714416"/>
              <a:gd name="connsiteY4077" fmla="*/ 4687527 h 5282095"/>
              <a:gd name="connsiteX4078" fmla="*/ 2324876 w 7714416"/>
              <a:gd name="connsiteY4078" fmla="*/ 4682528 h 5282095"/>
              <a:gd name="connsiteX4079" fmla="*/ 2326309 w 7714416"/>
              <a:gd name="connsiteY4079" fmla="*/ 4678640 h 5282095"/>
              <a:gd name="connsiteX4080" fmla="*/ 2333756 w 7714416"/>
              <a:gd name="connsiteY4080" fmla="*/ 4675419 h 5282095"/>
              <a:gd name="connsiteX4081" fmla="*/ 5193243 w 7714416"/>
              <a:gd name="connsiteY4081" fmla="*/ 4674531 h 5282095"/>
              <a:gd name="connsiteX4082" fmla="*/ 5192098 w 7714416"/>
              <a:gd name="connsiteY4082" fmla="*/ 4676085 h 5282095"/>
              <a:gd name="connsiteX4083" fmla="*/ 5189233 w 7714416"/>
              <a:gd name="connsiteY4083" fmla="*/ 4674975 h 5282095"/>
              <a:gd name="connsiteX4084" fmla="*/ 5193243 w 7714416"/>
              <a:gd name="connsiteY4084" fmla="*/ 4674531 h 5282095"/>
              <a:gd name="connsiteX4085" fmla="*/ 2818455 w 7714416"/>
              <a:gd name="connsiteY4085" fmla="*/ 4674531 h 5282095"/>
              <a:gd name="connsiteX4086" fmla="*/ 2817595 w 7714416"/>
              <a:gd name="connsiteY4086" fmla="*/ 4676085 h 5282095"/>
              <a:gd name="connsiteX4087" fmla="*/ 2814443 w 7714416"/>
              <a:gd name="connsiteY4087" fmla="*/ 4674975 h 5282095"/>
              <a:gd name="connsiteX4088" fmla="*/ 2818455 w 7714416"/>
              <a:gd name="connsiteY4088" fmla="*/ 4674531 h 5282095"/>
              <a:gd name="connsiteX4089" fmla="*/ 2148128 w 7714416"/>
              <a:gd name="connsiteY4089" fmla="*/ 4673753 h 5282095"/>
              <a:gd name="connsiteX4090" fmla="*/ 2153857 w 7714416"/>
              <a:gd name="connsiteY4090" fmla="*/ 4674530 h 5282095"/>
              <a:gd name="connsiteX4091" fmla="*/ 2162164 w 7714416"/>
              <a:gd name="connsiteY4091" fmla="*/ 4675308 h 5282095"/>
              <a:gd name="connsiteX4092" fmla="*/ 2189093 w 7714416"/>
              <a:gd name="connsiteY4092" fmla="*/ 4682195 h 5282095"/>
              <a:gd name="connsiteX4093" fmla="*/ 2177061 w 7714416"/>
              <a:gd name="connsiteY4093" fmla="*/ 4682528 h 5282095"/>
              <a:gd name="connsiteX4094" fmla="*/ 2150134 w 7714416"/>
              <a:gd name="connsiteY4094" fmla="*/ 4680085 h 5282095"/>
              <a:gd name="connsiteX4095" fmla="*/ 2146983 w 7714416"/>
              <a:gd name="connsiteY4095" fmla="*/ 4677529 h 5282095"/>
              <a:gd name="connsiteX4096" fmla="*/ 2145264 w 7714416"/>
              <a:gd name="connsiteY4096" fmla="*/ 4677419 h 5282095"/>
              <a:gd name="connsiteX4097" fmla="*/ 2143544 w 7714416"/>
              <a:gd name="connsiteY4097" fmla="*/ 4674864 h 5282095"/>
              <a:gd name="connsiteX4098" fmla="*/ 2148128 w 7714416"/>
              <a:gd name="connsiteY4098" fmla="*/ 4673753 h 5282095"/>
              <a:gd name="connsiteX4099" fmla="*/ 3214921 w 7714416"/>
              <a:gd name="connsiteY4099" fmla="*/ 4673753 h 5282095"/>
              <a:gd name="connsiteX4100" fmla="*/ 3220650 w 7714416"/>
              <a:gd name="connsiteY4100" fmla="*/ 4674531 h 5282095"/>
              <a:gd name="connsiteX4101" fmla="*/ 3228957 w 7714416"/>
              <a:gd name="connsiteY4101" fmla="*/ 4675308 h 5282095"/>
              <a:gd name="connsiteX4102" fmla="*/ 3240416 w 7714416"/>
              <a:gd name="connsiteY4102" fmla="*/ 4678086 h 5282095"/>
              <a:gd name="connsiteX4103" fmla="*/ 3247292 w 7714416"/>
              <a:gd name="connsiteY4103" fmla="*/ 4678863 h 5282095"/>
              <a:gd name="connsiteX4104" fmla="*/ 3247864 w 7714416"/>
              <a:gd name="connsiteY4104" fmla="*/ 4678530 h 5282095"/>
              <a:gd name="connsiteX4105" fmla="*/ 3253593 w 7714416"/>
              <a:gd name="connsiteY4105" fmla="*/ 4680196 h 5282095"/>
              <a:gd name="connsiteX4106" fmla="*/ 3253307 w 7714416"/>
              <a:gd name="connsiteY4106" fmla="*/ 4681195 h 5282095"/>
              <a:gd name="connsiteX4107" fmla="*/ 3255885 w 7714416"/>
              <a:gd name="connsiteY4107" fmla="*/ 4682195 h 5282095"/>
              <a:gd name="connsiteX4108" fmla="*/ 3252734 w 7714416"/>
              <a:gd name="connsiteY4108" fmla="*/ 4682196 h 5282095"/>
              <a:gd name="connsiteX4109" fmla="*/ 3250729 w 7714416"/>
              <a:gd name="connsiteY4109" fmla="*/ 4685749 h 5282095"/>
              <a:gd name="connsiteX4110" fmla="*/ 3244714 w 7714416"/>
              <a:gd name="connsiteY4110" fmla="*/ 4683751 h 5282095"/>
              <a:gd name="connsiteX4111" fmla="*/ 3243281 w 7714416"/>
              <a:gd name="connsiteY4111" fmla="*/ 4682529 h 5282095"/>
              <a:gd name="connsiteX4112" fmla="*/ 3229245 w 7714416"/>
              <a:gd name="connsiteY4112" fmla="*/ 4680640 h 5282095"/>
              <a:gd name="connsiteX4113" fmla="*/ 3216927 w 7714416"/>
              <a:gd name="connsiteY4113" fmla="*/ 4680084 h 5282095"/>
              <a:gd name="connsiteX4114" fmla="*/ 3213776 w 7714416"/>
              <a:gd name="connsiteY4114" fmla="*/ 4677530 h 5282095"/>
              <a:gd name="connsiteX4115" fmla="*/ 3212056 w 7714416"/>
              <a:gd name="connsiteY4115" fmla="*/ 4677419 h 5282095"/>
              <a:gd name="connsiteX4116" fmla="*/ 3210338 w 7714416"/>
              <a:gd name="connsiteY4116" fmla="*/ 4674863 h 5282095"/>
              <a:gd name="connsiteX4117" fmla="*/ 3214921 w 7714416"/>
              <a:gd name="connsiteY4117" fmla="*/ 4673753 h 5282095"/>
              <a:gd name="connsiteX4118" fmla="*/ 4679613 w 7714416"/>
              <a:gd name="connsiteY4118" fmla="*/ 4673419 h 5282095"/>
              <a:gd name="connsiteX4119" fmla="*/ 4690785 w 7714416"/>
              <a:gd name="connsiteY4119" fmla="*/ 4675641 h 5282095"/>
              <a:gd name="connsiteX4120" fmla="*/ 4668440 w 7714416"/>
              <a:gd name="connsiteY4120" fmla="*/ 4675641 h 5282095"/>
              <a:gd name="connsiteX4121" fmla="*/ 4679613 w 7714416"/>
              <a:gd name="connsiteY4121" fmla="*/ 4673419 h 5282095"/>
              <a:gd name="connsiteX4122" fmla="*/ 5520099 w 7714416"/>
              <a:gd name="connsiteY4122" fmla="*/ 4672419 h 5282095"/>
              <a:gd name="connsiteX4123" fmla="*/ 5527547 w 7714416"/>
              <a:gd name="connsiteY4123" fmla="*/ 4676086 h 5282095"/>
              <a:gd name="connsiteX4124" fmla="*/ 5520672 w 7714416"/>
              <a:gd name="connsiteY4124" fmla="*/ 4689415 h 5282095"/>
              <a:gd name="connsiteX4125" fmla="*/ 5510932 w 7714416"/>
              <a:gd name="connsiteY4125" fmla="*/ 4689638 h 5282095"/>
              <a:gd name="connsiteX4126" fmla="*/ 5520099 w 7714416"/>
              <a:gd name="connsiteY4126" fmla="*/ 4672419 h 5282095"/>
              <a:gd name="connsiteX4127" fmla="*/ 3145596 w 7714416"/>
              <a:gd name="connsiteY4127" fmla="*/ 4672419 h 5282095"/>
              <a:gd name="connsiteX4128" fmla="*/ 3153044 w 7714416"/>
              <a:gd name="connsiteY4128" fmla="*/ 4676085 h 5282095"/>
              <a:gd name="connsiteX4129" fmla="*/ 3146170 w 7714416"/>
              <a:gd name="connsiteY4129" fmla="*/ 4689416 h 5282095"/>
              <a:gd name="connsiteX4130" fmla="*/ 3136429 w 7714416"/>
              <a:gd name="connsiteY4130" fmla="*/ 4689638 h 5282095"/>
              <a:gd name="connsiteX4131" fmla="*/ 3145596 w 7714416"/>
              <a:gd name="connsiteY4131" fmla="*/ 4672419 h 5282095"/>
              <a:gd name="connsiteX4132" fmla="*/ 3197734 w 7714416"/>
              <a:gd name="connsiteY4132" fmla="*/ 4671975 h 5282095"/>
              <a:gd name="connsiteX4133" fmla="*/ 3203749 w 7714416"/>
              <a:gd name="connsiteY4133" fmla="*/ 4679862 h 5282095"/>
              <a:gd name="connsiteX4134" fmla="*/ 3208618 w 7714416"/>
              <a:gd name="connsiteY4134" fmla="*/ 4677530 h 5282095"/>
              <a:gd name="connsiteX4135" fmla="*/ 3205181 w 7714416"/>
              <a:gd name="connsiteY4135" fmla="*/ 4681862 h 5282095"/>
              <a:gd name="connsiteX4136" fmla="*/ 3207760 w 7714416"/>
              <a:gd name="connsiteY4136" fmla="*/ 4685083 h 5282095"/>
              <a:gd name="connsiteX4137" fmla="*/ 3201743 w 7714416"/>
              <a:gd name="connsiteY4137" fmla="*/ 4685195 h 5282095"/>
              <a:gd name="connsiteX4138" fmla="*/ 3200884 w 7714416"/>
              <a:gd name="connsiteY4138" fmla="*/ 4685861 h 5282095"/>
              <a:gd name="connsiteX4139" fmla="*/ 3197733 w 7714416"/>
              <a:gd name="connsiteY4139" fmla="*/ 4686195 h 5282095"/>
              <a:gd name="connsiteX4140" fmla="*/ 3198307 w 7714416"/>
              <a:gd name="connsiteY4140" fmla="*/ 4685194 h 5282095"/>
              <a:gd name="connsiteX4141" fmla="*/ 3195156 w 7714416"/>
              <a:gd name="connsiteY4141" fmla="*/ 4685305 h 5282095"/>
              <a:gd name="connsiteX4142" fmla="*/ 3182838 w 7714416"/>
              <a:gd name="connsiteY4142" fmla="*/ 4683417 h 5282095"/>
              <a:gd name="connsiteX4143" fmla="*/ 3197734 w 7714416"/>
              <a:gd name="connsiteY4143" fmla="*/ 4671975 h 5282095"/>
              <a:gd name="connsiteX4144" fmla="*/ 2130941 w 7714416"/>
              <a:gd name="connsiteY4144" fmla="*/ 4671975 h 5282095"/>
              <a:gd name="connsiteX4145" fmla="*/ 2140966 w 7714416"/>
              <a:gd name="connsiteY4145" fmla="*/ 4685084 h 5282095"/>
              <a:gd name="connsiteX4146" fmla="*/ 2116043 w 7714416"/>
              <a:gd name="connsiteY4146" fmla="*/ 4683417 h 5282095"/>
              <a:gd name="connsiteX4147" fmla="*/ 2130941 w 7714416"/>
              <a:gd name="connsiteY4147" fmla="*/ 4671975 h 5282095"/>
              <a:gd name="connsiteX4148" fmla="*/ 4964645 w 7714416"/>
              <a:gd name="connsiteY4148" fmla="*/ 4671864 h 5282095"/>
              <a:gd name="connsiteX4149" fmla="*/ 4966077 w 7714416"/>
              <a:gd name="connsiteY4149" fmla="*/ 4673197 h 5282095"/>
              <a:gd name="connsiteX4150" fmla="*/ 4965790 w 7714416"/>
              <a:gd name="connsiteY4150" fmla="*/ 4674086 h 5282095"/>
              <a:gd name="connsiteX4151" fmla="*/ 4961780 w 7714416"/>
              <a:gd name="connsiteY4151" fmla="*/ 4676641 h 5282095"/>
              <a:gd name="connsiteX4152" fmla="*/ 4962926 w 7714416"/>
              <a:gd name="connsiteY4152" fmla="*/ 4672419 h 5282095"/>
              <a:gd name="connsiteX4153" fmla="*/ 4965218 w 7714416"/>
              <a:gd name="connsiteY4153" fmla="*/ 4672975 h 5282095"/>
              <a:gd name="connsiteX4154" fmla="*/ 4964645 w 7714416"/>
              <a:gd name="connsiteY4154" fmla="*/ 4671864 h 5282095"/>
              <a:gd name="connsiteX4155" fmla="*/ 2590142 w 7714416"/>
              <a:gd name="connsiteY4155" fmla="*/ 4671864 h 5282095"/>
              <a:gd name="connsiteX4156" fmla="*/ 2591574 w 7714416"/>
              <a:gd name="connsiteY4156" fmla="*/ 4673196 h 5282095"/>
              <a:gd name="connsiteX4157" fmla="*/ 2591288 w 7714416"/>
              <a:gd name="connsiteY4157" fmla="*/ 4674086 h 5282095"/>
              <a:gd name="connsiteX4158" fmla="*/ 2587277 w 7714416"/>
              <a:gd name="connsiteY4158" fmla="*/ 4676641 h 5282095"/>
              <a:gd name="connsiteX4159" fmla="*/ 2588423 w 7714416"/>
              <a:gd name="connsiteY4159" fmla="*/ 4672419 h 5282095"/>
              <a:gd name="connsiteX4160" fmla="*/ 2590715 w 7714416"/>
              <a:gd name="connsiteY4160" fmla="*/ 4672976 h 5282095"/>
              <a:gd name="connsiteX4161" fmla="*/ 2590142 w 7714416"/>
              <a:gd name="connsiteY4161" fmla="*/ 4671864 h 5282095"/>
              <a:gd name="connsiteX4162" fmla="*/ 6162639 w 7714416"/>
              <a:gd name="connsiteY4162" fmla="*/ 4670865 h 5282095"/>
              <a:gd name="connsiteX4163" fmla="*/ 6169801 w 7714416"/>
              <a:gd name="connsiteY4163" fmla="*/ 4677085 h 5282095"/>
              <a:gd name="connsiteX4164" fmla="*/ 6181832 w 7714416"/>
              <a:gd name="connsiteY4164" fmla="*/ 4693081 h 5282095"/>
              <a:gd name="connsiteX4165" fmla="*/ 6180113 w 7714416"/>
              <a:gd name="connsiteY4165" fmla="*/ 4696414 h 5282095"/>
              <a:gd name="connsiteX4166" fmla="*/ 6180972 w 7714416"/>
              <a:gd name="connsiteY4166" fmla="*/ 4697302 h 5282095"/>
              <a:gd name="connsiteX4167" fmla="*/ 6178680 w 7714416"/>
              <a:gd name="connsiteY4167" fmla="*/ 4699636 h 5282095"/>
              <a:gd name="connsiteX4168" fmla="*/ 6172665 w 7714416"/>
              <a:gd name="connsiteY4168" fmla="*/ 4694303 h 5282095"/>
              <a:gd name="connsiteX4169" fmla="*/ 6168941 w 7714416"/>
              <a:gd name="connsiteY4169" fmla="*/ 4689304 h 5282095"/>
              <a:gd name="connsiteX4170" fmla="*/ 6162639 w 7714416"/>
              <a:gd name="connsiteY4170" fmla="*/ 4670865 h 5282095"/>
              <a:gd name="connsiteX4171" fmla="*/ 4854929 w 7714416"/>
              <a:gd name="connsiteY4171" fmla="*/ 4670865 h 5282095"/>
              <a:gd name="connsiteX4172" fmla="*/ 4862090 w 7714416"/>
              <a:gd name="connsiteY4172" fmla="*/ 4677086 h 5282095"/>
              <a:gd name="connsiteX4173" fmla="*/ 4874122 w 7714416"/>
              <a:gd name="connsiteY4173" fmla="*/ 4693081 h 5282095"/>
              <a:gd name="connsiteX4174" fmla="*/ 4872403 w 7714416"/>
              <a:gd name="connsiteY4174" fmla="*/ 4696414 h 5282095"/>
              <a:gd name="connsiteX4175" fmla="*/ 4873262 w 7714416"/>
              <a:gd name="connsiteY4175" fmla="*/ 4697302 h 5282095"/>
              <a:gd name="connsiteX4176" fmla="*/ 4870970 w 7714416"/>
              <a:gd name="connsiteY4176" fmla="*/ 4699636 h 5282095"/>
              <a:gd name="connsiteX4177" fmla="*/ 4864955 w 7714416"/>
              <a:gd name="connsiteY4177" fmla="*/ 4694303 h 5282095"/>
              <a:gd name="connsiteX4178" fmla="*/ 4860944 w 7714416"/>
              <a:gd name="connsiteY4178" fmla="*/ 4689304 h 5282095"/>
              <a:gd name="connsiteX4179" fmla="*/ 4854929 w 7714416"/>
              <a:gd name="connsiteY4179" fmla="*/ 4670865 h 5282095"/>
              <a:gd name="connsiteX4180" fmla="*/ 4987275 w 7714416"/>
              <a:gd name="connsiteY4180" fmla="*/ 4669421 h 5282095"/>
              <a:gd name="connsiteX4181" fmla="*/ 4995869 w 7714416"/>
              <a:gd name="connsiteY4181" fmla="*/ 4673531 h 5282095"/>
              <a:gd name="connsiteX4182" fmla="*/ 4979254 w 7714416"/>
              <a:gd name="connsiteY4182" fmla="*/ 4678640 h 5282095"/>
              <a:gd name="connsiteX4183" fmla="*/ 4977249 w 7714416"/>
              <a:gd name="connsiteY4183" fmla="*/ 4674086 h 5282095"/>
              <a:gd name="connsiteX4184" fmla="*/ 4987275 w 7714416"/>
              <a:gd name="connsiteY4184" fmla="*/ 4669421 h 5282095"/>
              <a:gd name="connsiteX4185" fmla="*/ 2612774 w 7714416"/>
              <a:gd name="connsiteY4185" fmla="*/ 4669421 h 5282095"/>
              <a:gd name="connsiteX4186" fmla="*/ 2621367 w 7714416"/>
              <a:gd name="connsiteY4186" fmla="*/ 4673531 h 5282095"/>
              <a:gd name="connsiteX4187" fmla="*/ 2604752 w 7714416"/>
              <a:gd name="connsiteY4187" fmla="*/ 4678641 h 5282095"/>
              <a:gd name="connsiteX4188" fmla="*/ 2602746 w 7714416"/>
              <a:gd name="connsiteY4188" fmla="*/ 4674086 h 5282095"/>
              <a:gd name="connsiteX4189" fmla="*/ 2612774 w 7714416"/>
              <a:gd name="connsiteY4189" fmla="*/ 4669421 h 5282095"/>
              <a:gd name="connsiteX4190" fmla="*/ 5351658 w 7714416"/>
              <a:gd name="connsiteY4190" fmla="*/ 4667977 h 5282095"/>
              <a:gd name="connsiteX4191" fmla="*/ 5353950 w 7714416"/>
              <a:gd name="connsiteY4191" fmla="*/ 4671087 h 5282095"/>
              <a:gd name="connsiteX4192" fmla="*/ 5351372 w 7714416"/>
              <a:gd name="connsiteY4192" fmla="*/ 4672198 h 5282095"/>
              <a:gd name="connsiteX4193" fmla="*/ 5351085 w 7714416"/>
              <a:gd name="connsiteY4193" fmla="*/ 4669532 h 5282095"/>
              <a:gd name="connsiteX4194" fmla="*/ 5351658 w 7714416"/>
              <a:gd name="connsiteY4194" fmla="*/ 4667977 h 5282095"/>
              <a:gd name="connsiteX4195" fmla="*/ 2977155 w 7714416"/>
              <a:gd name="connsiteY4195" fmla="*/ 4667977 h 5282095"/>
              <a:gd name="connsiteX4196" fmla="*/ 2979448 w 7714416"/>
              <a:gd name="connsiteY4196" fmla="*/ 4671087 h 5282095"/>
              <a:gd name="connsiteX4197" fmla="*/ 2976582 w 7714416"/>
              <a:gd name="connsiteY4197" fmla="*/ 4672198 h 5282095"/>
              <a:gd name="connsiteX4198" fmla="*/ 2976582 w 7714416"/>
              <a:gd name="connsiteY4198" fmla="*/ 4669532 h 5282095"/>
              <a:gd name="connsiteX4199" fmla="*/ 2977155 w 7714416"/>
              <a:gd name="connsiteY4199" fmla="*/ 4667977 h 5282095"/>
              <a:gd name="connsiteX4200" fmla="*/ 6019120 w 7714416"/>
              <a:gd name="connsiteY4200" fmla="*/ 4667087 h 5282095"/>
              <a:gd name="connsiteX4201" fmla="*/ 6021984 w 7714416"/>
              <a:gd name="connsiteY4201" fmla="*/ 4669866 h 5282095"/>
              <a:gd name="connsiteX4202" fmla="*/ 6020840 w 7714416"/>
              <a:gd name="connsiteY4202" fmla="*/ 4684528 h 5282095"/>
              <a:gd name="connsiteX4203" fmla="*/ 6019120 w 7714416"/>
              <a:gd name="connsiteY4203" fmla="*/ 4667087 h 5282095"/>
              <a:gd name="connsiteX4204" fmla="*/ 5367127 w 7714416"/>
              <a:gd name="connsiteY4204" fmla="*/ 4666977 h 5282095"/>
              <a:gd name="connsiteX4205" fmla="*/ 5369132 w 7714416"/>
              <a:gd name="connsiteY4205" fmla="*/ 4667421 h 5282095"/>
              <a:gd name="connsiteX4206" fmla="*/ 5369419 w 7714416"/>
              <a:gd name="connsiteY4206" fmla="*/ 4666977 h 5282095"/>
              <a:gd name="connsiteX4207" fmla="*/ 5372284 w 7714416"/>
              <a:gd name="connsiteY4207" fmla="*/ 4668754 h 5282095"/>
              <a:gd name="connsiteX4208" fmla="*/ 5373143 w 7714416"/>
              <a:gd name="connsiteY4208" fmla="*/ 4672531 h 5282095"/>
              <a:gd name="connsiteX4209" fmla="*/ 5369420 w 7714416"/>
              <a:gd name="connsiteY4209" fmla="*/ 4672753 h 5282095"/>
              <a:gd name="connsiteX4210" fmla="*/ 5367127 w 7714416"/>
              <a:gd name="connsiteY4210" fmla="*/ 4666977 h 5282095"/>
              <a:gd name="connsiteX4211" fmla="*/ 2992339 w 7714416"/>
              <a:gd name="connsiteY4211" fmla="*/ 4666977 h 5282095"/>
              <a:gd name="connsiteX4212" fmla="*/ 2994631 w 7714416"/>
              <a:gd name="connsiteY4212" fmla="*/ 4667421 h 5282095"/>
              <a:gd name="connsiteX4213" fmla="*/ 2994631 w 7714416"/>
              <a:gd name="connsiteY4213" fmla="*/ 4666977 h 5282095"/>
              <a:gd name="connsiteX4214" fmla="*/ 2997781 w 7714416"/>
              <a:gd name="connsiteY4214" fmla="*/ 4668754 h 5282095"/>
              <a:gd name="connsiteX4215" fmla="*/ 2998640 w 7714416"/>
              <a:gd name="connsiteY4215" fmla="*/ 4672531 h 5282095"/>
              <a:gd name="connsiteX4216" fmla="*/ 2994916 w 7714416"/>
              <a:gd name="connsiteY4216" fmla="*/ 4672753 h 5282095"/>
              <a:gd name="connsiteX4217" fmla="*/ 2992339 w 7714416"/>
              <a:gd name="connsiteY4217" fmla="*/ 4666977 h 5282095"/>
              <a:gd name="connsiteX4218" fmla="*/ 5369420 w 7714416"/>
              <a:gd name="connsiteY4218" fmla="*/ 4666088 h 5282095"/>
              <a:gd name="connsiteX4219" fmla="*/ 5369419 w 7714416"/>
              <a:gd name="connsiteY4219" fmla="*/ 4666977 h 5282095"/>
              <a:gd name="connsiteX4220" fmla="*/ 5368273 w 7714416"/>
              <a:gd name="connsiteY4220" fmla="*/ 4666310 h 5282095"/>
              <a:gd name="connsiteX4221" fmla="*/ 5369420 w 7714416"/>
              <a:gd name="connsiteY4221" fmla="*/ 4666088 h 5282095"/>
              <a:gd name="connsiteX4222" fmla="*/ 3141014 w 7714416"/>
              <a:gd name="connsiteY4222" fmla="*/ 4666088 h 5282095"/>
              <a:gd name="connsiteX4223" fmla="*/ 3145884 w 7714416"/>
              <a:gd name="connsiteY4223" fmla="*/ 4666200 h 5282095"/>
              <a:gd name="connsiteX4224" fmla="*/ 3147315 w 7714416"/>
              <a:gd name="connsiteY4224" fmla="*/ 4666754 h 5282095"/>
              <a:gd name="connsiteX4225" fmla="*/ 3147315 w 7714416"/>
              <a:gd name="connsiteY4225" fmla="*/ 4667977 h 5282095"/>
              <a:gd name="connsiteX4226" fmla="*/ 3141014 w 7714416"/>
              <a:gd name="connsiteY4226" fmla="*/ 4666088 h 5282095"/>
              <a:gd name="connsiteX4227" fmla="*/ 2994917 w 7714416"/>
              <a:gd name="connsiteY4227" fmla="*/ 4666088 h 5282095"/>
              <a:gd name="connsiteX4228" fmla="*/ 2994631 w 7714416"/>
              <a:gd name="connsiteY4228" fmla="*/ 4666977 h 5282095"/>
              <a:gd name="connsiteX4229" fmla="*/ 2993770 w 7714416"/>
              <a:gd name="connsiteY4229" fmla="*/ 4666311 h 5282095"/>
              <a:gd name="connsiteX4230" fmla="*/ 2994917 w 7714416"/>
              <a:gd name="connsiteY4230" fmla="*/ 4666088 h 5282095"/>
              <a:gd name="connsiteX4231" fmla="*/ 2435451 w 7714416"/>
              <a:gd name="connsiteY4231" fmla="*/ 4664311 h 5282095"/>
              <a:gd name="connsiteX4232" fmla="*/ 2434305 w 7714416"/>
              <a:gd name="connsiteY4232" fmla="*/ 4680418 h 5282095"/>
              <a:gd name="connsiteX4233" fmla="*/ 2424280 w 7714416"/>
              <a:gd name="connsiteY4233" fmla="*/ 4695969 h 5282095"/>
              <a:gd name="connsiteX4234" fmla="*/ 2435451 w 7714416"/>
              <a:gd name="connsiteY4234" fmla="*/ 4664311 h 5282095"/>
              <a:gd name="connsiteX4235" fmla="*/ 4738052 w 7714416"/>
              <a:gd name="connsiteY4235" fmla="*/ 4661867 h 5282095"/>
              <a:gd name="connsiteX4236" fmla="*/ 4749796 w 7714416"/>
              <a:gd name="connsiteY4236" fmla="*/ 4668198 h 5282095"/>
              <a:gd name="connsiteX4237" fmla="*/ 4727166 w 7714416"/>
              <a:gd name="connsiteY4237" fmla="*/ 4677529 h 5282095"/>
              <a:gd name="connsiteX4238" fmla="*/ 4717426 w 7714416"/>
              <a:gd name="connsiteY4238" fmla="*/ 4678863 h 5282095"/>
              <a:gd name="connsiteX4239" fmla="*/ 4714561 w 7714416"/>
              <a:gd name="connsiteY4239" fmla="*/ 4678530 h 5282095"/>
              <a:gd name="connsiteX4240" fmla="*/ 4713129 w 7714416"/>
              <a:gd name="connsiteY4240" fmla="*/ 4684528 h 5282095"/>
              <a:gd name="connsiteX4241" fmla="*/ 4712842 w 7714416"/>
              <a:gd name="connsiteY4241" fmla="*/ 4684195 h 5282095"/>
              <a:gd name="connsiteX4242" fmla="*/ 4712842 w 7714416"/>
              <a:gd name="connsiteY4242" fmla="*/ 4685083 h 5282095"/>
              <a:gd name="connsiteX4243" fmla="*/ 4708546 w 7714416"/>
              <a:gd name="connsiteY4243" fmla="*/ 4687526 h 5282095"/>
              <a:gd name="connsiteX4244" fmla="*/ 4703103 w 7714416"/>
              <a:gd name="connsiteY4244" fmla="*/ 4685861 h 5282095"/>
              <a:gd name="connsiteX4245" fmla="*/ 4701670 w 7714416"/>
              <a:gd name="connsiteY4245" fmla="*/ 4684528 h 5282095"/>
              <a:gd name="connsiteX4246" fmla="*/ 4696228 w 7714416"/>
              <a:gd name="connsiteY4246" fmla="*/ 4686861 h 5282095"/>
              <a:gd name="connsiteX4247" fmla="*/ 4676462 w 7714416"/>
              <a:gd name="connsiteY4247" fmla="*/ 4683195 h 5282095"/>
              <a:gd name="connsiteX4248" fmla="*/ 4701957 w 7714416"/>
              <a:gd name="connsiteY4248" fmla="*/ 4673863 h 5282095"/>
              <a:gd name="connsiteX4249" fmla="*/ 4699092 w 7714416"/>
              <a:gd name="connsiteY4249" fmla="*/ 4666311 h 5282095"/>
              <a:gd name="connsiteX4250" fmla="*/ 4713129 w 7714416"/>
              <a:gd name="connsiteY4250" fmla="*/ 4664533 h 5282095"/>
              <a:gd name="connsiteX4251" fmla="*/ 4724588 w 7714416"/>
              <a:gd name="connsiteY4251" fmla="*/ 4662644 h 5282095"/>
              <a:gd name="connsiteX4252" fmla="*/ 4738052 w 7714416"/>
              <a:gd name="connsiteY4252" fmla="*/ 4661867 h 5282095"/>
              <a:gd name="connsiteX4253" fmla="*/ 5785938 w 7714416"/>
              <a:gd name="connsiteY4253" fmla="*/ 4660423 h 5282095"/>
              <a:gd name="connsiteX4254" fmla="*/ 5791668 w 7714416"/>
              <a:gd name="connsiteY4254" fmla="*/ 4668309 h 5282095"/>
              <a:gd name="connsiteX4255" fmla="*/ 5796537 w 7714416"/>
              <a:gd name="connsiteY4255" fmla="*/ 4669976 h 5282095"/>
              <a:gd name="connsiteX4256" fmla="*/ 5799117 w 7714416"/>
              <a:gd name="connsiteY4256" fmla="*/ 4677418 h 5282095"/>
              <a:gd name="connsiteX4257" fmla="*/ 5791094 w 7714416"/>
              <a:gd name="connsiteY4257" fmla="*/ 4676530 h 5282095"/>
              <a:gd name="connsiteX4258" fmla="*/ 5788516 w 7714416"/>
              <a:gd name="connsiteY4258" fmla="*/ 4666755 h 5282095"/>
              <a:gd name="connsiteX4259" fmla="*/ 5785938 w 7714416"/>
              <a:gd name="connsiteY4259" fmla="*/ 4660423 h 5282095"/>
              <a:gd name="connsiteX4260" fmla="*/ 3411150 w 7714416"/>
              <a:gd name="connsiteY4260" fmla="*/ 4660423 h 5282095"/>
              <a:gd name="connsiteX4261" fmla="*/ 3417164 w 7714416"/>
              <a:gd name="connsiteY4261" fmla="*/ 4668309 h 5282095"/>
              <a:gd name="connsiteX4262" fmla="*/ 3422034 w 7714416"/>
              <a:gd name="connsiteY4262" fmla="*/ 4669976 h 5282095"/>
              <a:gd name="connsiteX4263" fmla="*/ 3424613 w 7714416"/>
              <a:gd name="connsiteY4263" fmla="*/ 4677419 h 5282095"/>
              <a:gd name="connsiteX4264" fmla="*/ 3416305 w 7714416"/>
              <a:gd name="connsiteY4264" fmla="*/ 4676530 h 5282095"/>
              <a:gd name="connsiteX4265" fmla="*/ 3414013 w 7714416"/>
              <a:gd name="connsiteY4265" fmla="*/ 4666755 h 5282095"/>
              <a:gd name="connsiteX4266" fmla="*/ 3411150 w 7714416"/>
              <a:gd name="connsiteY4266" fmla="*/ 4660423 h 5282095"/>
              <a:gd name="connsiteX4267" fmla="*/ 5555334 w 7714416"/>
              <a:gd name="connsiteY4267" fmla="*/ 4660312 h 5282095"/>
              <a:gd name="connsiteX4268" fmla="*/ 5564214 w 7714416"/>
              <a:gd name="connsiteY4268" fmla="*/ 4667532 h 5282095"/>
              <a:gd name="connsiteX4269" fmla="*/ 5555334 w 7714416"/>
              <a:gd name="connsiteY4269" fmla="*/ 4660312 h 5282095"/>
              <a:gd name="connsiteX4270" fmla="*/ 6432202 w 7714416"/>
              <a:gd name="connsiteY4270" fmla="*/ 4659646 h 5282095"/>
              <a:gd name="connsiteX4271" fmla="*/ 6437072 w 7714416"/>
              <a:gd name="connsiteY4271" fmla="*/ 4667532 h 5282095"/>
              <a:gd name="connsiteX4272" fmla="*/ 6436498 w 7714416"/>
              <a:gd name="connsiteY4272" fmla="*/ 4673420 h 5282095"/>
              <a:gd name="connsiteX4273" fmla="*/ 6432202 w 7714416"/>
              <a:gd name="connsiteY4273" fmla="*/ 4659646 h 5282095"/>
              <a:gd name="connsiteX4274" fmla="*/ 4943160 w 7714416"/>
              <a:gd name="connsiteY4274" fmla="*/ 4659089 h 5282095"/>
              <a:gd name="connsiteX4275" fmla="*/ 4948604 w 7714416"/>
              <a:gd name="connsiteY4275" fmla="*/ 4665199 h 5282095"/>
              <a:gd name="connsiteX4276" fmla="*/ 4950322 w 7714416"/>
              <a:gd name="connsiteY4276" fmla="*/ 4671976 h 5282095"/>
              <a:gd name="connsiteX4277" fmla="*/ 4939722 w 7714416"/>
              <a:gd name="connsiteY4277" fmla="*/ 4672419 h 5282095"/>
              <a:gd name="connsiteX4278" fmla="*/ 4940582 w 7714416"/>
              <a:gd name="connsiteY4278" fmla="*/ 4674974 h 5282095"/>
              <a:gd name="connsiteX4279" fmla="*/ 4939722 w 7714416"/>
              <a:gd name="connsiteY4279" fmla="*/ 4678196 h 5282095"/>
              <a:gd name="connsiteX4280" fmla="*/ 4936858 w 7714416"/>
              <a:gd name="connsiteY4280" fmla="*/ 4678529 h 5282095"/>
              <a:gd name="connsiteX4281" fmla="*/ 4945452 w 7714416"/>
              <a:gd name="connsiteY4281" fmla="*/ 4683750 h 5282095"/>
              <a:gd name="connsiteX4282" fmla="*/ 4948603 w 7714416"/>
              <a:gd name="connsiteY4282" fmla="*/ 4688860 h 5282095"/>
              <a:gd name="connsiteX4283" fmla="*/ 4949748 w 7714416"/>
              <a:gd name="connsiteY4283" fmla="*/ 4697525 h 5282095"/>
              <a:gd name="connsiteX4284" fmla="*/ 4949462 w 7714416"/>
              <a:gd name="connsiteY4284" fmla="*/ 4698190 h 5282095"/>
              <a:gd name="connsiteX4285" fmla="*/ 4954332 w 7714416"/>
              <a:gd name="connsiteY4285" fmla="*/ 4699857 h 5282095"/>
              <a:gd name="connsiteX4286" fmla="*/ 4948889 w 7714416"/>
              <a:gd name="connsiteY4286" fmla="*/ 4702412 h 5282095"/>
              <a:gd name="connsiteX4287" fmla="*/ 4948889 w 7714416"/>
              <a:gd name="connsiteY4287" fmla="*/ 4702524 h 5282095"/>
              <a:gd name="connsiteX4288" fmla="*/ 4948316 w 7714416"/>
              <a:gd name="connsiteY4288" fmla="*/ 4706744 h 5282095"/>
              <a:gd name="connsiteX4289" fmla="*/ 4940582 w 7714416"/>
              <a:gd name="connsiteY4289" fmla="*/ 4704523 h 5282095"/>
              <a:gd name="connsiteX4290" fmla="*/ 4940009 w 7714416"/>
              <a:gd name="connsiteY4290" fmla="*/ 4703745 h 5282095"/>
              <a:gd name="connsiteX4291" fmla="*/ 4931701 w 7714416"/>
              <a:gd name="connsiteY4291" fmla="*/ 4702857 h 5282095"/>
              <a:gd name="connsiteX4292" fmla="*/ 4923967 w 7714416"/>
              <a:gd name="connsiteY4292" fmla="*/ 4698635 h 5282095"/>
              <a:gd name="connsiteX4293" fmla="*/ 4932274 w 7714416"/>
              <a:gd name="connsiteY4293" fmla="*/ 4695081 h 5282095"/>
              <a:gd name="connsiteX4294" fmla="*/ 4935425 w 7714416"/>
              <a:gd name="connsiteY4294" fmla="*/ 4695080 h 5282095"/>
              <a:gd name="connsiteX4295" fmla="*/ 4934280 w 7714416"/>
              <a:gd name="connsiteY4295" fmla="*/ 4686861 h 5282095"/>
              <a:gd name="connsiteX4296" fmla="*/ 4936571 w 7714416"/>
              <a:gd name="connsiteY4296" fmla="*/ 4678641 h 5282095"/>
              <a:gd name="connsiteX4297" fmla="*/ 4931128 w 7714416"/>
              <a:gd name="connsiteY4297" fmla="*/ 4679307 h 5282095"/>
              <a:gd name="connsiteX4298" fmla="*/ 4915659 w 7714416"/>
              <a:gd name="connsiteY4298" fmla="*/ 4666200 h 5282095"/>
              <a:gd name="connsiteX4299" fmla="*/ 4931128 w 7714416"/>
              <a:gd name="connsiteY4299" fmla="*/ 4663199 h 5282095"/>
              <a:gd name="connsiteX4300" fmla="*/ 4933706 w 7714416"/>
              <a:gd name="connsiteY4300" fmla="*/ 4665643 h 5282095"/>
              <a:gd name="connsiteX4301" fmla="*/ 4935998 w 7714416"/>
              <a:gd name="connsiteY4301" fmla="*/ 4666532 h 5282095"/>
              <a:gd name="connsiteX4302" fmla="*/ 4939722 w 7714416"/>
              <a:gd name="connsiteY4302" fmla="*/ 4664311 h 5282095"/>
              <a:gd name="connsiteX4303" fmla="*/ 4943160 w 7714416"/>
              <a:gd name="connsiteY4303" fmla="*/ 4659089 h 5282095"/>
              <a:gd name="connsiteX4304" fmla="*/ 2568657 w 7714416"/>
              <a:gd name="connsiteY4304" fmla="*/ 4659089 h 5282095"/>
              <a:gd name="connsiteX4305" fmla="*/ 2574101 w 7714416"/>
              <a:gd name="connsiteY4305" fmla="*/ 4665199 h 5282095"/>
              <a:gd name="connsiteX4306" fmla="*/ 2575819 w 7714416"/>
              <a:gd name="connsiteY4306" fmla="*/ 4671975 h 5282095"/>
              <a:gd name="connsiteX4307" fmla="*/ 2564933 w 7714416"/>
              <a:gd name="connsiteY4307" fmla="*/ 4672420 h 5282095"/>
              <a:gd name="connsiteX4308" fmla="*/ 2566079 w 7714416"/>
              <a:gd name="connsiteY4308" fmla="*/ 4674974 h 5282095"/>
              <a:gd name="connsiteX4309" fmla="*/ 2565219 w 7714416"/>
              <a:gd name="connsiteY4309" fmla="*/ 4678196 h 5282095"/>
              <a:gd name="connsiteX4310" fmla="*/ 2562355 w 7714416"/>
              <a:gd name="connsiteY4310" fmla="*/ 4678530 h 5282095"/>
              <a:gd name="connsiteX4311" fmla="*/ 2570950 w 7714416"/>
              <a:gd name="connsiteY4311" fmla="*/ 4683750 h 5282095"/>
              <a:gd name="connsiteX4312" fmla="*/ 2574101 w 7714416"/>
              <a:gd name="connsiteY4312" fmla="*/ 4688861 h 5282095"/>
              <a:gd name="connsiteX4313" fmla="*/ 2574960 w 7714416"/>
              <a:gd name="connsiteY4313" fmla="*/ 4697524 h 5282095"/>
              <a:gd name="connsiteX4314" fmla="*/ 2574959 w 7714416"/>
              <a:gd name="connsiteY4314" fmla="*/ 4698191 h 5282095"/>
              <a:gd name="connsiteX4315" fmla="*/ 2579830 w 7714416"/>
              <a:gd name="connsiteY4315" fmla="*/ 4699857 h 5282095"/>
              <a:gd name="connsiteX4316" fmla="*/ 2574386 w 7714416"/>
              <a:gd name="connsiteY4316" fmla="*/ 4702412 h 5282095"/>
              <a:gd name="connsiteX4317" fmla="*/ 2574386 w 7714416"/>
              <a:gd name="connsiteY4317" fmla="*/ 4702523 h 5282095"/>
              <a:gd name="connsiteX4318" fmla="*/ 2573527 w 7714416"/>
              <a:gd name="connsiteY4318" fmla="*/ 4706745 h 5282095"/>
              <a:gd name="connsiteX4319" fmla="*/ 2566079 w 7714416"/>
              <a:gd name="connsiteY4319" fmla="*/ 4704523 h 5282095"/>
              <a:gd name="connsiteX4320" fmla="*/ 2565506 w 7714416"/>
              <a:gd name="connsiteY4320" fmla="*/ 4703746 h 5282095"/>
              <a:gd name="connsiteX4321" fmla="*/ 2557198 w 7714416"/>
              <a:gd name="connsiteY4321" fmla="*/ 4702857 h 5282095"/>
              <a:gd name="connsiteX4322" fmla="*/ 2549177 w 7714416"/>
              <a:gd name="connsiteY4322" fmla="*/ 4698635 h 5282095"/>
              <a:gd name="connsiteX4323" fmla="*/ 2557771 w 7714416"/>
              <a:gd name="connsiteY4323" fmla="*/ 4695081 h 5282095"/>
              <a:gd name="connsiteX4324" fmla="*/ 2560924 w 7714416"/>
              <a:gd name="connsiteY4324" fmla="*/ 4695081 h 5282095"/>
              <a:gd name="connsiteX4325" fmla="*/ 2559777 w 7714416"/>
              <a:gd name="connsiteY4325" fmla="*/ 4686861 h 5282095"/>
              <a:gd name="connsiteX4326" fmla="*/ 2561782 w 7714416"/>
              <a:gd name="connsiteY4326" fmla="*/ 4678640 h 5282095"/>
              <a:gd name="connsiteX4327" fmla="*/ 2556339 w 7714416"/>
              <a:gd name="connsiteY4327" fmla="*/ 4679307 h 5282095"/>
              <a:gd name="connsiteX4328" fmla="*/ 2541156 w 7714416"/>
              <a:gd name="connsiteY4328" fmla="*/ 4666199 h 5282095"/>
              <a:gd name="connsiteX4329" fmla="*/ 2556339 w 7714416"/>
              <a:gd name="connsiteY4329" fmla="*/ 4663199 h 5282095"/>
              <a:gd name="connsiteX4330" fmla="*/ 2558917 w 7714416"/>
              <a:gd name="connsiteY4330" fmla="*/ 4665644 h 5282095"/>
              <a:gd name="connsiteX4331" fmla="*/ 2561495 w 7714416"/>
              <a:gd name="connsiteY4331" fmla="*/ 4666532 h 5282095"/>
              <a:gd name="connsiteX4332" fmla="*/ 2564933 w 7714416"/>
              <a:gd name="connsiteY4332" fmla="*/ 4664310 h 5282095"/>
              <a:gd name="connsiteX4333" fmla="*/ 2568657 w 7714416"/>
              <a:gd name="connsiteY4333" fmla="*/ 4659089 h 5282095"/>
              <a:gd name="connsiteX4334" fmla="*/ 3357866 w 7714416"/>
              <a:gd name="connsiteY4334" fmla="*/ 4658201 h 5282095"/>
              <a:gd name="connsiteX4335" fmla="*/ 3363596 w 7714416"/>
              <a:gd name="connsiteY4335" fmla="*/ 4668977 h 5282095"/>
              <a:gd name="connsiteX4336" fmla="*/ 3357866 w 7714416"/>
              <a:gd name="connsiteY4336" fmla="*/ 4658201 h 5282095"/>
              <a:gd name="connsiteX4337" fmla="*/ 2291073 w 7714416"/>
              <a:gd name="connsiteY4337" fmla="*/ 4658201 h 5282095"/>
              <a:gd name="connsiteX4338" fmla="*/ 2296802 w 7714416"/>
              <a:gd name="connsiteY4338" fmla="*/ 4668976 h 5282095"/>
              <a:gd name="connsiteX4339" fmla="*/ 2291073 w 7714416"/>
              <a:gd name="connsiteY4339" fmla="*/ 4658201 h 5282095"/>
              <a:gd name="connsiteX4340" fmla="*/ 3323205 w 7714416"/>
              <a:gd name="connsiteY4340" fmla="*/ 4658091 h 5282095"/>
              <a:gd name="connsiteX4341" fmla="*/ 3334090 w 7714416"/>
              <a:gd name="connsiteY4341" fmla="*/ 4662089 h 5282095"/>
              <a:gd name="connsiteX4342" fmla="*/ 3338100 w 7714416"/>
              <a:gd name="connsiteY4342" fmla="*/ 4665532 h 5282095"/>
              <a:gd name="connsiteX4343" fmla="*/ 3339820 w 7714416"/>
              <a:gd name="connsiteY4343" fmla="*/ 4665088 h 5282095"/>
              <a:gd name="connsiteX4344" fmla="*/ 3349559 w 7714416"/>
              <a:gd name="connsiteY4344" fmla="*/ 4663533 h 5282095"/>
              <a:gd name="connsiteX4345" fmla="*/ 3352424 w 7714416"/>
              <a:gd name="connsiteY4345" fmla="*/ 4664755 h 5282095"/>
              <a:gd name="connsiteX4346" fmla="*/ 3352137 w 7714416"/>
              <a:gd name="connsiteY4346" fmla="*/ 4667754 h 5282095"/>
              <a:gd name="connsiteX4347" fmla="*/ 3344116 w 7714416"/>
              <a:gd name="connsiteY4347" fmla="*/ 4670420 h 5282095"/>
              <a:gd name="connsiteX4348" fmla="*/ 3350991 w 7714416"/>
              <a:gd name="connsiteY4348" fmla="*/ 4679751 h 5282095"/>
              <a:gd name="connsiteX4349" fmla="*/ 3354429 w 7714416"/>
              <a:gd name="connsiteY4349" fmla="*/ 4687305 h 5282095"/>
              <a:gd name="connsiteX4350" fmla="*/ 3316903 w 7714416"/>
              <a:gd name="connsiteY4350" fmla="*/ 4658868 h 5282095"/>
              <a:gd name="connsiteX4351" fmla="*/ 3323205 w 7714416"/>
              <a:gd name="connsiteY4351" fmla="*/ 4658091 h 5282095"/>
              <a:gd name="connsiteX4352" fmla="*/ 5697708 w 7714416"/>
              <a:gd name="connsiteY4352" fmla="*/ 4658090 h 5282095"/>
              <a:gd name="connsiteX4353" fmla="*/ 5708593 w 7714416"/>
              <a:gd name="connsiteY4353" fmla="*/ 4662089 h 5282095"/>
              <a:gd name="connsiteX4354" fmla="*/ 5712603 w 7714416"/>
              <a:gd name="connsiteY4354" fmla="*/ 4665533 h 5282095"/>
              <a:gd name="connsiteX4355" fmla="*/ 5714322 w 7714416"/>
              <a:gd name="connsiteY4355" fmla="*/ 4665088 h 5282095"/>
              <a:gd name="connsiteX4356" fmla="*/ 5724062 w 7714416"/>
              <a:gd name="connsiteY4356" fmla="*/ 4663533 h 5282095"/>
              <a:gd name="connsiteX4357" fmla="*/ 5726926 w 7714416"/>
              <a:gd name="connsiteY4357" fmla="*/ 4664756 h 5282095"/>
              <a:gd name="connsiteX4358" fmla="*/ 5726640 w 7714416"/>
              <a:gd name="connsiteY4358" fmla="*/ 4667755 h 5282095"/>
              <a:gd name="connsiteX4359" fmla="*/ 5718619 w 7714416"/>
              <a:gd name="connsiteY4359" fmla="*/ 4670421 h 5282095"/>
              <a:gd name="connsiteX4360" fmla="*/ 5725494 w 7714416"/>
              <a:gd name="connsiteY4360" fmla="*/ 4679752 h 5282095"/>
              <a:gd name="connsiteX4361" fmla="*/ 5729218 w 7714416"/>
              <a:gd name="connsiteY4361" fmla="*/ 4687305 h 5282095"/>
              <a:gd name="connsiteX4362" fmla="*/ 5691405 w 7714416"/>
              <a:gd name="connsiteY4362" fmla="*/ 4658867 h 5282095"/>
              <a:gd name="connsiteX4363" fmla="*/ 5697708 w 7714416"/>
              <a:gd name="connsiteY4363" fmla="*/ 4658090 h 5282095"/>
              <a:gd name="connsiteX4364" fmla="*/ 5015635 w 7714416"/>
              <a:gd name="connsiteY4364" fmla="*/ 4654980 h 5282095"/>
              <a:gd name="connsiteX4365" fmla="*/ 5019647 w 7714416"/>
              <a:gd name="connsiteY4365" fmla="*/ 4655535 h 5282095"/>
              <a:gd name="connsiteX4366" fmla="*/ 5004750 w 7714416"/>
              <a:gd name="connsiteY4366" fmla="*/ 4661423 h 5282095"/>
              <a:gd name="connsiteX4367" fmla="*/ 5015635 w 7714416"/>
              <a:gd name="connsiteY4367" fmla="*/ 4654980 h 5282095"/>
              <a:gd name="connsiteX4368" fmla="*/ 2640846 w 7714416"/>
              <a:gd name="connsiteY4368" fmla="*/ 4654979 h 5282095"/>
              <a:gd name="connsiteX4369" fmla="*/ 2645143 w 7714416"/>
              <a:gd name="connsiteY4369" fmla="*/ 4655535 h 5282095"/>
              <a:gd name="connsiteX4370" fmla="*/ 2630247 w 7714416"/>
              <a:gd name="connsiteY4370" fmla="*/ 4661423 h 5282095"/>
              <a:gd name="connsiteX4371" fmla="*/ 2640846 w 7714416"/>
              <a:gd name="connsiteY4371" fmla="*/ 4654979 h 5282095"/>
              <a:gd name="connsiteX4372" fmla="*/ 6085007 w 7714416"/>
              <a:gd name="connsiteY4372" fmla="*/ 4654425 h 5282095"/>
              <a:gd name="connsiteX4373" fmla="*/ 6089590 w 7714416"/>
              <a:gd name="connsiteY4373" fmla="*/ 4662756 h 5282095"/>
              <a:gd name="connsiteX4374" fmla="*/ 6072976 w 7714416"/>
              <a:gd name="connsiteY4374" fmla="*/ 4668865 h 5282095"/>
              <a:gd name="connsiteX4375" fmla="*/ 6068965 w 7714416"/>
              <a:gd name="connsiteY4375" fmla="*/ 4655757 h 5282095"/>
              <a:gd name="connsiteX4376" fmla="*/ 6085007 w 7714416"/>
              <a:gd name="connsiteY4376" fmla="*/ 4654425 h 5282095"/>
              <a:gd name="connsiteX4377" fmla="*/ 3433779 w 7714416"/>
              <a:gd name="connsiteY4377" fmla="*/ 4653536 h 5282095"/>
              <a:gd name="connsiteX4378" fmla="*/ 3454118 w 7714416"/>
              <a:gd name="connsiteY4378" fmla="*/ 4658091 h 5282095"/>
              <a:gd name="connsiteX4379" fmla="*/ 3455838 w 7714416"/>
              <a:gd name="connsiteY4379" fmla="*/ 4660201 h 5282095"/>
              <a:gd name="connsiteX4380" fmla="*/ 3453545 w 7714416"/>
              <a:gd name="connsiteY4380" fmla="*/ 4662755 h 5282095"/>
              <a:gd name="connsiteX4381" fmla="*/ 3445238 w 7714416"/>
              <a:gd name="connsiteY4381" fmla="*/ 4661867 h 5282095"/>
              <a:gd name="connsiteX4382" fmla="*/ 3438650 w 7714416"/>
              <a:gd name="connsiteY4382" fmla="*/ 4656424 h 5282095"/>
              <a:gd name="connsiteX4383" fmla="*/ 3433779 w 7714416"/>
              <a:gd name="connsiteY4383" fmla="*/ 4654647 h 5282095"/>
              <a:gd name="connsiteX4384" fmla="*/ 3433779 w 7714416"/>
              <a:gd name="connsiteY4384" fmla="*/ 4653536 h 5282095"/>
              <a:gd name="connsiteX4385" fmla="*/ 5825184 w 7714416"/>
              <a:gd name="connsiteY4385" fmla="*/ 4653425 h 5282095"/>
              <a:gd name="connsiteX4386" fmla="*/ 5826616 w 7714416"/>
              <a:gd name="connsiteY4386" fmla="*/ 4657534 h 5282095"/>
              <a:gd name="connsiteX4387" fmla="*/ 5828621 w 7714416"/>
              <a:gd name="connsiteY4387" fmla="*/ 4658090 h 5282095"/>
              <a:gd name="connsiteX4388" fmla="*/ 5830340 w 7714416"/>
              <a:gd name="connsiteY4388" fmla="*/ 4660201 h 5282095"/>
              <a:gd name="connsiteX4389" fmla="*/ 5828621 w 7714416"/>
              <a:gd name="connsiteY4389" fmla="*/ 4662311 h 5282095"/>
              <a:gd name="connsiteX4390" fmla="*/ 5828621 w 7714416"/>
              <a:gd name="connsiteY4390" fmla="*/ 4662978 h 5282095"/>
              <a:gd name="connsiteX4391" fmla="*/ 5827189 w 7714416"/>
              <a:gd name="connsiteY4391" fmla="*/ 4663200 h 5282095"/>
              <a:gd name="connsiteX4392" fmla="*/ 5824897 w 7714416"/>
              <a:gd name="connsiteY4392" fmla="*/ 4664200 h 5282095"/>
              <a:gd name="connsiteX4393" fmla="*/ 5824324 w 7714416"/>
              <a:gd name="connsiteY4393" fmla="*/ 4663867 h 5282095"/>
              <a:gd name="connsiteX4394" fmla="*/ 5823465 w 7714416"/>
              <a:gd name="connsiteY4394" fmla="*/ 4663866 h 5282095"/>
              <a:gd name="connsiteX4395" fmla="*/ 5819454 w 7714416"/>
              <a:gd name="connsiteY4395" fmla="*/ 4665311 h 5282095"/>
              <a:gd name="connsiteX4396" fmla="*/ 5812866 w 7714416"/>
              <a:gd name="connsiteY4396" fmla="*/ 4657535 h 5282095"/>
              <a:gd name="connsiteX4397" fmla="*/ 5814012 w 7714416"/>
              <a:gd name="connsiteY4397" fmla="*/ 4656979 h 5282095"/>
              <a:gd name="connsiteX4398" fmla="*/ 5813152 w 7714416"/>
              <a:gd name="connsiteY4398" fmla="*/ 4656424 h 5282095"/>
              <a:gd name="connsiteX4399" fmla="*/ 5808283 w 7714416"/>
              <a:gd name="connsiteY4399" fmla="*/ 4654647 h 5282095"/>
              <a:gd name="connsiteX4400" fmla="*/ 5808568 w 7714416"/>
              <a:gd name="connsiteY4400" fmla="*/ 4653536 h 5282095"/>
              <a:gd name="connsiteX4401" fmla="*/ 5817449 w 7714416"/>
              <a:gd name="connsiteY4401" fmla="*/ 4655090 h 5282095"/>
              <a:gd name="connsiteX4402" fmla="*/ 5818308 w 7714416"/>
              <a:gd name="connsiteY4402" fmla="*/ 4654759 h 5282095"/>
              <a:gd name="connsiteX4403" fmla="*/ 5825184 w 7714416"/>
              <a:gd name="connsiteY4403" fmla="*/ 4653425 h 5282095"/>
              <a:gd name="connsiteX4404" fmla="*/ 2488734 w 7714416"/>
              <a:gd name="connsiteY4404" fmla="*/ 4652758 h 5282095"/>
              <a:gd name="connsiteX4405" fmla="*/ 2490452 w 7714416"/>
              <a:gd name="connsiteY4405" fmla="*/ 4655313 h 5282095"/>
              <a:gd name="connsiteX4406" fmla="*/ 2488447 w 7714416"/>
              <a:gd name="connsiteY4406" fmla="*/ 4658757 h 5282095"/>
              <a:gd name="connsiteX4407" fmla="*/ 2481573 w 7714416"/>
              <a:gd name="connsiteY4407" fmla="*/ 4659423 h 5282095"/>
              <a:gd name="connsiteX4408" fmla="*/ 2479854 w 7714416"/>
              <a:gd name="connsiteY4408" fmla="*/ 4656868 h 5282095"/>
              <a:gd name="connsiteX4409" fmla="*/ 2480140 w 7714416"/>
              <a:gd name="connsiteY4409" fmla="*/ 4653203 h 5282095"/>
              <a:gd name="connsiteX4410" fmla="*/ 2488734 w 7714416"/>
              <a:gd name="connsiteY4410" fmla="*/ 4652758 h 5282095"/>
              <a:gd name="connsiteX4411" fmla="*/ 6352278 w 7714416"/>
              <a:gd name="connsiteY4411" fmla="*/ 4652647 h 5282095"/>
              <a:gd name="connsiteX4412" fmla="*/ 6365169 w 7714416"/>
              <a:gd name="connsiteY4412" fmla="*/ 4652869 h 5282095"/>
              <a:gd name="connsiteX4413" fmla="*/ 6372904 w 7714416"/>
              <a:gd name="connsiteY4413" fmla="*/ 4655757 h 5282095"/>
              <a:gd name="connsiteX4414" fmla="*/ 6352278 w 7714416"/>
              <a:gd name="connsiteY4414" fmla="*/ 4652647 h 5282095"/>
              <a:gd name="connsiteX4415" fmla="*/ 2965983 w 7714416"/>
              <a:gd name="connsiteY4415" fmla="*/ 4652203 h 5282095"/>
              <a:gd name="connsiteX4416" fmla="*/ 2966270 w 7714416"/>
              <a:gd name="connsiteY4416" fmla="*/ 4653424 h 5282095"/>
              <a:gd name="connsiteX4417" fmla="*/ 2968275 w 7714416"/>
              <a:gd name="connsiteY4417" fmla="*/ 4658312 h 5282095"/>
              <a:gd name="connsiteX4418" fmla="*/ 2959681 w 7714416"/>
              <a:gd name="connsiteY4418" fmla="*/ 4658091 h 5282095"/>
              <a:gd name="connsiteX4419" fmla="*/ 2960827 w 7714416"/>
              <a:gd name="connsiteY4419" fmla="*/ 4653314 h 5282095"/>
              <a:gd name="connsiteX4420" fmla="*/ 2965983 w 7714416"/>
              <a:gd name="connsiteY4420" fmla="*/ 4652203 h 5282095"/>
              <a:gd name="connsiteX4421" fmla="*/ 5340772 w 7714416"/>
              <a:gd name="connsiteY4421" fmla="*/ 4652203 h 5282095"/>
              <a:gd name="connsiteX4422" fmla="*/ 5340772 w 7714416"/>
              <a:gd name="connsiteY4422" fmla="*/ 4653425 h 5282095"/>
              <a:gd name="connsiteX4423" fmla="*/ 5342778 w 7714416"/>
              <a:gd name="connsiteY4423" fmla="*/ 4658312 h 5282095"/>
              <a:gd name="connsiteX4424" fmla="*/ 5334184 w 7714416"/>
              <a:gd name="connsiteY4424" fmla="*/ 4658090 h 5282095"/>
              <a:gd name="connsiteX4425" fmla="*/ 5335616 w 7714416"/>
              <a:gd name="connsiteY4425" fmla="*/ 4653313 h 5282095"/>
              <a:gd name="connsiteX4426" fmla="*/ 5340772 w 7714416"/>
              <a:gd name="connsiteY4426" fmla="*/ 4652203 h 5282095"/>
              <a:gd name="connsiteX4427" fmla="*/ 4905346 w 7714416"/>
              <a:gd name="connsiteY4427" fmla="*/ 4650648 h 5282095"/>
              <a:gd name="connsiteX4428" fmla="*/ 4907925 w 7714416"/>
              <a:gd name="connsiteY4428" fmla="*/ 4653980 h 5282095"/>
              <a:gd name="connsiteX4429" fmla="*/ 4906206 w 7714416"/>
              <a:gd name="connsiteY4429" fmla="*/ 4656646 h 5282095"/>
              <a:gd name="connsiteX4430" fmla="*/ 4901050 w 7714416"/>
              <a:gd name="connsiteY4430" fmla="*/ 4653092 h 5282095"/>
              <a:gd name="connsiteX4431" fmla="*/ 4905346 w 7714416"/>
              <a:gd name="connsiteY4431" fmla="*/ 4650648 h 5282095"/>
              <a:gd name="connsiteX4432" fmla="*/ 2530557 w 7714416"/>
              <a:gd name="connsiteY4432" fmla="*/ 4650648 h 5282095"/>
              <a:gd name="connsiteX4433" fmla="*/ 2533422 w 7714416"/>
              <a:gd name="connsiteY4433" fmla="*/ 4653981 h 5282095"/>
              <a:gd name="connsiteX4434" fmla="*/ 2531704 w 7714416"/>
              <a:gd name="connsiteY4434" fmla="*/ 4656646 h 5282095"/>
              <a:gd name="connsiteX4435" fmla="*/ 2526260 w 7714416"/>
              <a:gd name="connsiteY4435" fmla="*/ 4653092 h 5282095"/>
              <a:gd name="connsiteX4436" fmla="*/ 2530557 w 7714416"/>
              <a:gd name="connsiteY4436" fmla="*/ 4650648 h 5282095"/>
              <a:gd name="connsiteX4437" fmla="*/ 2108310 w 7714416"/>
              <a:gd name="connsiteY4437" fmla="*/ 4650315 h 5282095"/>
              <a:gd name="connsiteX4438" fmla="*/ 2115470 w 7714416"/>
              <a:gd name="connsiteY4438" fmla="*/ 4668309 h 5282095"/>
              <a:gd name="connsiteX4439" fmla="*/ 2100001 w 7714416"/>
              <a:gd name="connsiteY4439" fmla="*/ 4665310 h 5282095"/>
              <a:gd name="connsiteX4440" fmla="*/ 2108310 w 7714416"/>
              <a:gd name="connsiteY4440" fmla="*/ 4650315 h 5282095"/>
              <a:gd name="connsiteX4441" fmla="*/ 3175103 w 7714416"/>
              <a:gd name="connsiteY4441" fmla="*/ 4650314 h 5282095"/>
              <a:gd name="connsiteX4442" fmla="*/ 3189712 w 7714416"/>
              <a:gd name="connsiteY4442" fmla="*/ 4665644 h 5282095"/>
              <a:gd name="connsiteX4443" fmla="*/ 3187993 w 7714416"/>
              <a:gd name="connsiteY4443" fmla="*/ 4666310 h 5282095"/>
              <a:gd name="connsiteX4444" fmla="*/ 3189712 w 7714416"/>
              <a:gd name="connsiteY4444" fmla="*/ 4667532 h 5282095"/>
              <a:gd name="connsiteX4445" fmla="*/ 3184269 w 7714416"/>
              <a:gd name="connsiteY4445" fmla="*/ 4669532 h 5282095"/>
              <a:gd name="connsiteX4446" fmla="*/ 3181405 w 7714416"/>
              <a:gd name="connsiteY4446" fmla="*/ 4668199 h 5282095"/>
              <a:gd name="connsiteX4447" fmla="*/ 3175102 w 7714416"/>
              <a:gd name="connsiteY4447" fmla="*/ 4667865 h 5282095"/>
              <a:gd name="connsiteX4448" fmla="*/ 3166796 w 7714416"/>
              <a:gd name="connsiteY4448" fmla="*/ 4665310 h 5282095"/>
              <a:gd name="connsiteX4449" fmla="*/ 3175103 w 7714416"/>
              <a:gd name="connsiteY4449" fmla="*/ 4650314 h 5282095"/>
              <a:gd name="connsiteX4450" fmla="*/ 5407805 w 7714416"/>
              <a:gd name="connsiteY4450" fmla="*/ 4650203 h 5282095"/>
              <a:gd name="connsiteX4451" fmla="*/ 5406086 w 7714416"/>
              <a:gd name="connsiteY4451" fmla="*/ 4657202 h 5282095"/>
              <a:gd name="connsiteX4452" fmla="*/ 5401216 w 7714416"/>
              <a:gd name="connsiteY4452" fmla="*/ 4651203 h 5282095"/>
              <a:gd name="connsiteX4453" fmla="*/ 5407805 w 7714416"/>
              <a:gd name="connsiteY4453" fmla="*/ 4650203 h 5282095"/>
              <a:gd name="connsiteX4454" fmla="*/ 3033302 w 7714416"/>
              <a:gd name="connsiteY4454" fmla="*/ 4650203 h 5282095"/>
              <a:gd name="connsiteX4455" fmla="*/ 3031584 w 7714416"/>
              <a:gd name="connsiteY4455" fmla="*/ 4657202 h 5282095"/>
              <a:gd name="connsiteX4456" fmla="*/ 3026715 w 7714416"/>
              <a:gd name="connsiteY4456" fmla="*/ 4651203 h 5282095"/>
              <a:gd name="connsiteX4457" fmla="*/ 3033302 w 7714416"/>
              <a:gd name="connsiteY4457" fmla="*/ 4650203 h 5282095"/>
              <a:gd name="connsiteX4458" fmla="*/ 6044902 w 7714416"/>
              <a:gd name="connsiteY4458" fmla="*/ 4650092 h 5282095"/>
              <a:gd name="connsiteX4459" fmla="*/ 6051490 w 7714416"/>
              <a:gd name="connsiteY4459" fmla="*/ 4650870 h 5282095"/>
              <a:gd name="connsiteX4460" fmla="*/ 6058652 w 7714416"/>
              <a:gd name="connsiteY4460" fmla="*/ 4660534 h 5282095"/>
              <a:gd name="connsiteX4461" fmla="*/ 6057220 w 7714416"/>
              <a:gd name="connsiteY4461" fmla="*/ 4663089 h 5282095"/>
              <a:gd name="connsiteX4462" fmla="*/ 6048912 w 7714416"/>
              <a:gd name="connsiteY4462" fmla="*/ 4661090 h 5282095"/>
              <a:gd name="connsiteX4463" fmla="*/ 6044902 w 7714416"/>
              <a:gd name="connsiteY4463" fmla="*/ 4650092 h 5282095"/>
              <a:gd name="connsiteX4464" fmla="*/ 4737192 w 7714416"/>
              <a:gd name="connsiteY4464" fmla="*/ 4650092 h 5282095"/>
              <a:gd name="connsiteX4465" fmla="*/ 4743781 w 7714416"/>
              <a:gd name="connsiteY4465" fmla="*/ 4650870 h 5282095"/>
              <a:gd name="connsiteX4466" fmla="*/ 4746932 w 7714416"/>
              <a:gd name="connsiteY4466" fmla="*/ 4655202 h 5282095"/>
              <a:gd name="connsiteX4467" fmla="*/ 4747218 w 7714416"/>
              <a:gd name="connsiteY4467" fmla="*/ 4654979 h 5282095"/>
              <a:gd name="connsiteX4468" fmla="*/ 4752088 w 7714416"/>
              <a:gd name="connsiteY4468" fmla="*/ 4655201 h 5282095"/>
              <a:gd name="connsiteX4469" fmla="*/ 4747505 w 7714416"/>
              <a:gd name="connsiteY4469" fmla="*/ 4656091 h 5282095"/>
              <a:gd name="connsiteX4470" fmla="*/ 4750656 w 7714416"/>
              <a:gd name="connsiteY4470" fmla="*/ 4660534 h 5282095"/>
              <a:gd name="connsiteX4471" fmla="*/ 4749510 w 7714416"/>
              <a:gd name="connsiteY4471" fmla="*/ 4663089 h 5282095"/>
              <a:gd name="connsiteX4472" fmla="*/ 4741202 w 7714416"/>
              <a:gd name="connsiteY4472" fmla="*/ 4661090 h 5282095"/>
              <a:gd name="connsiteX4473" fmla="*/ 4737192 w 7714416"/>
              <a:gd name="connsiteY4473" fmla="*/ 4650092 h 5282095"/>
              <a:gd name="connsiteX4474" fmla="*/ 3382217 w 7714416"/>
              <a:gd name="connsiteY4474" fmla="*/ 4648871 h 5282095"/>
              <a:gd name="connsiteX4475" fmla="*/ 3398544 w 7714416"/>
              <a:gd name="connsiteY4475" fmla="*/ 4658646 h 5282095"/>
              <a:gd name="connsiteX4476" fmla="*/ 3397399 w 7714416"/>
              <a:gd name="connsiteY4476" fmla="*/ 4663867 h 5282095"/>
              <a:gd name="connsiteX4477" fmla="*/ 3388232 w 7714416"/>
              <a:gd name="connsiteY4477" fmla="*/ 4669976 h 5282095"/>
              <a:gd name="connsiteX4478" fmla="*/ 3375342 w 7714416"/>
              <a:gd name="connsiteY4478" fmla="*/ 4664533 h 5282095"/>
              <a:gd name="connsiteX4479" fmla="*/ 3375055 w 7714416"/>
              <a:gd name="connsiteY4479" fmla="*/ 4664422 h 5282095"/>
              <a:gd name="connsiteX4480" fmla="*/ 3375054 w 7714416"/>
              <a:gd name="connsiteY4480" fmla="*/ 4665866 h 5282095"/>
              <a:gd name="connsiteX4481" fmla="*/ 3374482 w 7714416"/>
              <a:gd name="connsiteY4481" fmla="*/ 4664755 h 5282095"/>
              <a:gd name="connsiteX4482" fmla="*/ 3375054 w 7714416"/>
              <a:gd name="connsiteY4482" fmla="*/ 4664089 h 5282095"/>
              <a:gd name="connsiteX4483" fmla="*/ 3371044 w 7714416"/>
              <a:gd name="connsiteY4483" fmla="*/ 4659089 h 5282095"/>
              <a:gd name="connsiteX4484" fmla="*/ 3370757 w 7714416"/>
              <a:gd name="connsiteY4484" fmla="*/ 4654202 h 5282095"/>
              <a:gd name="connsiteX4485" fmla="*/ 3382217 w 7714416"/>
              <a:gd name="connsiteY4485" fmla="*/ 4648871 h 5282095"/>
              <a:gd name="connsiteX4486" fmla="*/ 5109023 w 7714416"/>
              <a:gd name="connsiteY4486" fmla="*/ 4648870 h 5282095"/>
              <a:gd name="connsiteX4487" fmla="*/ 5144258 w 7714416"/>
              <a:gd name="connsiteY4487" fmla="*/ 4674197 h 5282095"/>
              <a:gd name="connsiteX4488" fmla="*/ 5130794 w 7714416"/>
              <a:gd name="connsiteY4488" fmla="*/ 4681750 h 5282095"/>
              <a:gd name="connsiteX4489" fmla="*/ 5129648 w 7714416"/>
              <a:gd name="connsiteY4489" fmla="*/ 4678418 h 5282095"/>
              <a:gd name="connsiteX4490" fmla="*/ 5121914 w 7714416"/>
              <a:gd name="connsiteY4490" fmla="*/ 4684417 h 5282095"/>
              <a:gd name="connsiteX4491" fmla="*/ 5119049 w 7714416"/>
              <a:gd name="connsiteY4491" fmla="*/ 4676752 h 5282095"/>
              <a:gd name="connsiteX4492" fmla="*/ 5125351 w 7714416"/>
              <a:gd name="connsiteY4492" fmla="*/ 4670643 h 5282095"/>
              <a:gd name="connsiteX4493" fmla="*/ 5117617 w 7714416"/>
              <a:gd name="connsiteY4493" fmla="*/ 4664533 h 5282095"/>
              <a:gd name="connsiteX4494" fmla="*/ 5109023 w 7714416"/>
              <a:gd name="connsiteY4494" fmla="*/ 4648870 h 5282095"/>
              <a:gd name="connsiteX4495" fmla="*/ 2734233 w 7714416"/>
              <a:gd name="connsiteY4495" fmla="*/ 4648870 h 5282095"/>
              <a:gd name="connsiteX4496" fmla="*/ 2769755 w 7714416"/>
              <a:gd name="connsiteY4496" fmla="*/ 4674197 h 5282095"/>
              <a:gd name="connsiteX4497" fmla="*/ 2756292 w 7714416"/>
              <a:gd name="connsiteY4497" fmla="*/ 4681751 h 5282095"/>
              <a:gd name="connsiteX4498" fmla="*/ 2755145 w 7714416"/>
              <a:gd name="connsiteY4498" fmla="*/ 4678418 h 5282095"/>
              <a:gd name="connsiteX4499" fmla="*/ 2747411 w 7714416"/>
              <a:gd name="connsiteY4499" fmla="*/ 4684417 h 5282095"/>
              <a:gd name="connsiteX4500" fmla="*/ 2744546 w 7714416"/>
              <a:gd name="connsiteY4500" fmla="*/ 4676752 h 5282095"/>
              <a:gd name="connsiteX4501" fmla="*/ 2750848 w 7714416"/>
              <a:gd name="connsiteY4501" fmla="*/ 4670643 h 5282095"/>
              <a:gd name="connsiteX4502" fmla="*/ 2743114 w 7714416"/>
              <a:gd name="connsiteY4502" fmla="*/ 4664533 h 5282095"/>
              <a:gd name="connsiteX4503" fmla="*/ 2734233 w 7714416"/>
              <a:gd name="connsiteY4503" fmla="*/ 4648870 h 5282095"/>
              <a:gd name="connsiteX4504" fmla="*/ 5701144 w 7714416"/>
              <a:gd name="connsiteY4504" fmla="*/ 4648315 h 5282095"/>
              <a:gd name="connsiteX4505" fmla="*/ 5716327 w 7714416"/>
              <a:gd name="connsiteY4505" fmla="*/ 4652870 h 5282095"/>
              <a:gd name="connsiteX4506" fmla="*/ 5717474 w 7714416"/>
              <a:gd name="connsiteY4506" fmla="*/ 4655979 h 5282095"/>
              <a:gd name="connsiteX4507" fmla="*/ 5701144 w 7714416"/>
              <a:gd name="connsiteY4507" fmla="*/ 4648315 h 5282095"/>
              <a:gd name="connsiteX4508" fmla="*/ 3326642 w 7714416"/>
              <a:gd name="connsiteY4508" fmla="*/ 4648314 h 5282095"/>
              <a:gd name="connsiteX4509" fmla="*/ 3341538 w 7714416"/>
              <a:gd name="connsiteY4509" fmla="*/ 4652870 h 5282095"/>
              <a:gd name="connsiteX4510" fmla="*/ 3342970 w 7714416"/>
              <a:gd name="connsiteY4510" fmla="*/ 4655979 h 5282095"/>
              <a:gd name="connsiteX4511" fmla="*/ 3326642 w 7714416"/>
              <a:gd name="connsiteY4511" fmla="*/ 4648314 h 5282095"/>
              <a:gd name="connsiteX4512" fmla="*/ 4766698 w 7714416"/>
              <a:gd name="connsiteY4512" fmla="*/ 4647647 h 5282095"/>
              <a:gd name="connsiteX4513" fmla="*/ 4767271 w 7714416"/>
              <a:gd name="connsiteY4513" fmla="*/ 4653314 h 5282095"/>
              <a:gd name="connsiteX4514" fmla="*/ 4764120 w 7714416"/>
              <a:gd name="connsiteY4514" fmla="*/ 4655424 h 5282095"/>
              <a:gd name="connsiteX4515" fmla="*/ 4770422 w 7714416"/>
              <a:gd name="connsiteY4515" fmla="*/ 4654535 h 5282095"/>
              <a:gd name="connsiteX4516" fmla="*/ 4777297 w 7714416"/>
              <a:gd name="connsiteY4516" fmla="*/ 4654425 h 5282095"/>
              <a:gd name="connsiteX4517" fmla="*/ 4781880 w 7714416"/>
              <a:gd name="connsiteY4517" fmla="*/ 4662756 h 5282095"/>
              <a:gd name="connsiteX4518" fmla="*/ 4765266 w 7714416"/>
              <a:gd name="connsiteY4518" fmla="*/ 4668866 h 5282095"/>
              <a:gd name="connsiteX4519" fmla="*/ 4759536 w 7714416"/>
              <a:gd name="connsiteY4519" fmla="*/ 4663866 h 5282095"/>
              <a:gd name="connsiteX4520" fmla="*/ 4760968 w 7714416"/>
              <a:gd name="connsiteY4520" fmla="*/ 4656868 h 5282095"/>
              <a:gd name="connsiteX4521" fmla="*/ 4750083 w 7714416"/>
              <a:gd name="connsiteY4521" fmla="*/ 4658646 h 5282095"/>
              <a:gd name="connsiteX4522" fmla="*/ 4752661 w 7714416"/>
              <a:gd name="connsiteY4522" fmla="*/ 4654979 h 5282095"/>
              <a:gd name="connsiteX4523" fmla="*/ 4752374 w 7714416"/>
              <a:gd name="connsiteY4523" fmla="*/ 4655091 h 5282095"/>
              <a:gd name="connsiteX4524" fmla="*/ 4755812 w 7714416"/>
              <a:gd name="connsiteY4524" fmla="*/ 4653425 h 5282095"/>
              <a:gd name="connsiteX4525" fmla="*/ 4766698 w 7714416"/>
              <a:gd name="connsiteY4525" fmla="*/ 4647647 h 5282095"/>
              <a:gd name="connsiteX4526" fmla="*/ 3060230 w 7714416"/>
              <a:gd name="connsiteY4526" fmla="*/ 4644649 h 5282095"/>
              <a:gd name="connsiteX4527" fmla="*/ 3068252 w 7714416"/>
              <a:gd name="connsiteY4527" fmla="*/ 4672087 h 5282095"/>
              <a:gd name="connsiteX4528" fmla="*/ 3060516 w 7714416"/>
              <a:gd name="connsiteY4528" fmla="*/ 4676641 h 5282095"/>
              <a:gd name="connsiteX4529" fmla="*/ 3060230 w 7714416"/>
              <a:gd name="connsiteY4529" fmla="*/ 4644649 h 5282095"/>
              <a:gd name="connsiteX4530" fmla="*/ 5434733 w 7714416"/>
              <a:gd name="connsiteY4530" fmla="*/ 4644648 h 5282095"/>
              <a:gd name="connsiteX4531" fmla="*/ 5442754 w 7714416"/>
              <a:gd name="connsiteY4531" fmla="*/ 4672087 h 5282095"/>
              <a:gd name="connsiteX4532" fmla="*/ 5435020 w 7714416"/>
              <a:gd name="connsiteY4532" fmla="*/ 4676641 h 5282095"/>
              <a:gd name="connsiteX4533" fmla="*/ 5434733 w 7714416"/>
              <a:gd name="connsiteY4533" fmla="*/ 4644648 h 5282095"/>
              <a:gd name="connsiteX4534" fmla="*/ 5289209 w 7714416"/>
              <a:gd name="connsiteY4534" fmla="*/ 4641539 h 5282095"/>
              <a:gd name="connsiteX4535" fmla="*/ 5342491 w 7714416"/>
              <a:gd name="connsiteY4535" fmla="*/ 4670310 h 5282095"/>
              <a:gd name="connsiteX4536" fmla="*/ 5326449 w 7714416"/>
              <a:gd name="connsiteY4536" fmla="*/ 4669975 h 5282095"/>
              <a:gd name="connsiteX4537" fmla="*/ 5319574 w 7714416"/>
              <a:gd name="connsiteY4537" fmla="*/ 4667643 h 5282095"/>
              <a:gd name="connsiteX4538" fmla="*/ 5319574 w 7714416"/>
              <a:gd name="connsiteY4538" fmla="*/ 4668198 h 5282095"/>
              <a:gd name="connsiteX4539" fmla="*/ 5313844 w 7714416"/>
              <a:gd name="connsiteY4539" fmla="*/ 4669976 h 5282095"/>
              <a:gd name="connsiteX4540" fmla="*/ 5307256 w 7714416"/>
              <a:gd name="connsiteY4540" fmla="*/ 4667199 h 5282095"/>
              <a:gd name="connsiteX4541" fmla="*/ 5303532 w 7714416"/>
              <a:gd name="connsiteY4541" fmla="*/ 4662644 h 5282095"/>
              <a:gd name="connsiteX4542" fmla="*/ 5301527 w 7714416"/>
              <a:gd name="connsiteY4542" fmla="*/ 4659645 h 5282095"/>
              <a:gd name="connsiteX4543" fmla="*/ 5291787 w 7714416"/>
              <a:gd name="connsiteY4543" fmla="*/ 4652980 h 5282095"/>
              <a:gd name="connsiteX4544" fmla="*/ 5289209 w 7714416"/>
              <a:gd name="connsiteY4544" fmla="*/ 4641539 h 5282095"/>
              <a:gd name="connsiteX4545" fmla="*/ 2914706 w 7714416"/>
              <a:gd name="connsiteY4545" fmla="*/ 4641538 h 5282095"/>
              <a:gd name="connsiteX4546" fmla="*/ 2967988 w 7714416"/>
              <a:gd name="connsiteY4546" fmla="*/ 4670309 h 5282095"/>
              <a:gd name="connsiteX4547" fmla="*/ 2951946 w 7714416"/>
              <a:gd name="connsiteY4547" fmla="*/ 4669976 h 5282095"/>
              <a:gd name="connsiteX4548" fmla="*/ 2945072 w 7714416"/>
              <a:gd name="connsiteY4548" fmla="*/ 4667643 h 5282095"/>
              <a:gd name="connsiteX4549" fmla="*/ 2945071 w 7714416"/>
              <a:gd name="connsiteY4549" fmla="*/ 4668198 h 5282095"/>
              <a:gd name="connsiteX4550" fmla="*/ 2939343 w 7714416"/>
              <a:gd name="connsiteY4550" fmla="*/ 4669976 h 5282095"/>
              <a:gd name="connsiteX4551" fmla="*/ 2932753 w 7714416"/>
              <a:gd name="connsiteY4551" fmla="*/ 4667199 h 5282095"/>
              <a:gd name="connsiteX4552" fmla="*/ 2928743 w 7714416"/>
              <a:gd name="connsiteY4552" fmla="*/ 4662645 h 5282095"/>
              <a:gd name="connsiteX4553" fmla="*/ 2927025 w 7714416"/>
              <a:gd name="connsiteY4553" fmla="*/ 4659646 h 5282095"/>
              <a:gd name="connsiteX4554" fmla="*/ 2917285 w 7714416"/>
              <a:gd name="connsiteY4554" fmla="*/ 4652981 h 5282095"/>
              <a:gd name="connsiteX4555" fmla="*/ 2914706 w 7714416"/>
              <a:gd name="connsiteY4555" fmla="*/ 4641538 h 5282095"/>
              <a:gd name="connsiteX4556" fmla="*/ 5898232 w 7714416"/>
              <a:gd name="connsiteY4556" fmla="*/ 4639984 h 5282095"/>
              <a:gd name="connsiteX4557" fmla="*/ 5901670 w 7714416"/>
              <a:gd name="connsiteY4557" fmla="*/ 4641539 h 5282095"/>
              <a:gd name="connsiteX4558" fmla="*/ 5903962 w 7714416"/>
              <a:gd name="connsiteY4558" fmla="*/ 4645205 h 5282095"/>
              <a:gd name="connsiteX4559" fmla="*/ 5902529 w 7714416"/>
              <a:gd name="connsiteY4559" fmla="*/ 4648648 h 5282095"/>
              <a:gd name="connsiteX4560" fmla="*/ 5892502 w 7714416"/>
              <a:gd name="connsiteY4560" fmla="*/ 4647537 h 5282095"/>
              <a:gd name="connsiteX4561" fmla="*/ 5898232 w 7714416"/>
              <a:gd name="connsiteY4561" fmla="*/ 4639984 h 5282095"/>
              <a:gd name="connsiteX4562" fmla="*/ 6025708 w 7714416"/>
              <a:gd name="connsiteY4562" fmla="*/ 4639428 h 5282095"/>
              <a:gd name="connsiteX4563" fmla="*/ 6028860 w 7714416"/>
              <a:gd name="connsiteY4563" fmla="*/ 4640983 h 5282095"/>
              <a:gd name="connsiteX4564" fmla="*/ 6036881 w 7714416"/>
              <a:gd name="connsiteY4564" fmla="*/ 4646760 h 5282095"/>
              <a:gd name="connsiteX4565" fmla="*/ 6031724 w 7714416"/>
              <a:gd name="connsiteY4565" fmla="*/ 4647427 h 5282095"/>
              <a:gd name="connsiteX4566" fmla="*/ 6028574 w 7714416"/>
              <a:gd name="connsiteY4566" fmla="*/ 4644649 h 5282095"/>
              <a:gd name="connsiteX4567" fmla="*/ 6025136 w 7714416"/>
              <a:gd name="connsiteY4567" fmla="*/ 4643094 h 5282095"/>
              <a:gd name="connsiteX4568" fmla="*/ 6025708 w 7714416"/>
              <a:gd name="connsiteY4568" fmla="*/ 4639428 h 5282095"/>
              <a:gd name="connsiteX4569" fmla="*/ 5489448 w 7714416"/>
              <a:gd name="connsiteY4569" fmla="*/ 4638762 h 5282095"/>
              <a:gd name="connsiteX4570" fmla="*/ 5488874 w 7714416"/>
              <a:gd name="connsiteY4570" fmla="*/ 4639872 h 5282095"/>
              <a:gd name="connsiteX4571" fmla="*/ 5491739 w 7714416"/>
              <a:gd name="connsiteY4571" fmla="*/ 4639094 h 5282095"/>
              <a:gd name="connsiteX4572" fmla="*/ 2415113 w 7714416"/>
              <a:gd name="connsiteY4572" fmla="*/ 4637873 h 5282095"/>
              <a:gd name="connsiteX4573" fmla="*/ 2424852 w 7714416"/>
              <a:gd name="connsiteY4573" fmla="*/ 4658090 h 5282095"/>
              <a:gd name="connsiteX4574" fmla="*/ 2415685 w 7714416"/>
              <a:gd name="connsiteY4574" fmla="*/ 4661978 h 5282095"/>
              <a:gd name="connsiteX4575" fmla="*/ 2415113 w 7714416"/>
              <a:gd name="connsiteY4575" fmla="*/ 4637873 h 5282095"/>
              <a:gd name="connsiteX4576" fmla="*/ 2550611 w 7714416"/>
              <a:gd name="connsiteY4576" fmla="*/ 4637873 h 5282095"/>
              <a:gd name="connsiteX4577" fmla="*/ 2564933 w 7714416"/>
              <a:gd name="connsiteY4577" fmla="*/ 4647982 h 5282095"/>
              <a:gd name="connsiteX4578" fmla="*/ 2564075 w 7714416"/>
              <a:gd name="connsiteY4578" fmla="*/ 4649425 h 5282095"/>
              <a:gd name="connsiteX4579" fmla="*/ 2565792 w 7714416"/>
              <a:gd name="connsiteY4579" fmla="*/ 4650092 h 5282095"/>
              <a:gd name="connsiteX4580" fmla="*/ 2572955 w 7714416"/>
              <a:gd name="connsiteY4580" fmla="*/ 4657313 h 5282095"/>
              <a:gd name="connsiteX4581" fmla="*/ 2561209 w 7714416"/>
              <a:gd name="connsiteY4581" fmla="*/ 4657757 h 5282095"/>
              <a:gd name="connsiteX4582" fmla="*/ 2558344 w 7714416"/>
              <a:gd name="connsiteY4582" fmla="*/ 4654202 h 5282095"/>
              <a:gd name="connsiteX4583" fmla="*/ 2554048 w 7714416"/>
              <a:gd name="connsiteY4583" fmla="*/ 4655647 h 5282095"/>
              <a:gd name="connsiteX4584" fmla="*/ 2539151 w 7714416"/>
              <a:gd name="connsiteY4584" fmla="*/ 4652981 h 5282095"/>
              <a:gd name="connsiteX4585" fmla="*/ 2550611 w 7714416"/>
              <a:gd name="connsiteY4585" fmla="*/ 4637873 h 5282095"/>
              <a:gd name="connsiteX4586" fmla="*/ 3426046 w 7714416"/>
              <a:gd name="connsiteY4586" fmla="*/ 4637095 h 5282095"/>
              <a:gd name="connsiteX4587" fmla="*/ 3421175 w 7714416"/>
              <a:gd name="connsiteY4587" fmla="*/ 4646538 h 5282095"/>
              <a:gd name="connsiteX4588" fmla="*/ 3415732 w 7714416"/>
              <a:gd name="connsiteY4588" fmla="*/ 4643872 h 5282095"/>
              <a:gd name="connsiteX4589" fmla="*/ 3415732 w 7714416"/>
              <a:gd name="connsiteY4589" fmla="*/ 4643649 h 5282095"/>
              <a:gd name="connsiteX4590" fmla="*/ 3410576 w 7714416"/>
              <a:gd name="connsiteY4590" fmla="*/ 4643649 h 5282095"/>
              <a:gd name="connsiteX4591" fmla="*/ 3403701 w 7714416"/>
              <a:gd name="connsiteY4591" fmla="*/ 4643650 h 5282095"/>
              <a:gd name="connsiteX4592" fmla="*/ 3410576 w 7714416"/>
              <a:gd name="connsiteY4592" fmla="*/ 4639428 h 5282095"/>
              <a:gd name="connsiteX4593" fmla="*/ 3412867 w 7714416"/>
              <a:gd name="connsiteY4593" fmla="*/ 4640095 h 5282095"/>
              <a:gd name="connsiteX4594" fmla="*/ 3415446 w 7714416"/>
              <a:gd name="connsiteY4594" fmla="*/ 4637318 h 5282095"/>
              <a:gd name="connsiteX4595" fmla="*/ 3426046 w 7714416"/>
              <a:gd name="connsiteY4595" fmla="*/ 4637095 h 5282095"/>
              <a:gd name="connsiteX4596" fmla="*/ 2359253 w 7714416"/>
              <a:gd name="connsiteY4596" fmla="*/ 4637095 h 5282095"/>
              <a:gd name="connsiteX4597" fmla="*/ 2354095 w 7714416"/>
              <a:gd name="connsiteY4597" fmla="*/ 4646538 h 5282095"/>
              <a:gd name="connsiteX4598" fmla="*/ 2359253 w 7714416"/>
              <a:gd name="connsiteY4598" fmla="*/ 4637095 h 5282095"/>
              <a:gd name="connsiteX4599" fmla="*/ 5980449 w 7714416"/>
              <a:gd name="connsiteY4599" fmla="*/ 4636652 h 5282095"/>
              <a:gd name="connsiteX4600" fmla="*/ 5984172 w 7714416"/>
              <a:gd name="connsiteY4600" fmla="*/ 4639094 h 5282095"/>
              <a:gd name="connsiteX4601" fmla="*/ 5984172 w 7714416"/>
              <a:gd name="connsiteY4601" fmla="*/ 4646204 h 5282095"/>
              <a:gd name="connsiteX4602" fmla="*/ 5988754 w 7714416"/>
              <a:gd name="connsiteY4602" fmla="*/ 4646204 h 5282095"/>
              <a:gd name="connsiteX4603" fmla="*/ 5995344 w 7714416"/>
              <a:gd name="connsiteY4603" fmla="*/ 4648870 h 5282095"/>
              <a:gd name="connsiteX4604" fmla="*/ 5996490 w 7714416"/>
              <a:gd name="connsiteY4604" fmla="*/ 4650203 h 5282095"/>
              <a:gd name="connsiteX4605" fmla="*/ 5997922 w 7714416"/>
              <a:gd name="connsiteY4605" fmla="*/ 4649425 h 5282095"/>
              <a:gd name="connsiteX4606" fmla="*/ 6004224 w 7714416"/>
              <a:gd name="connsiteY4606" fmla="*/ 4652758 h 5282095"/>
              <a:gd name="connsiteX4607" fmla="*/ 5999927 w 7714416"/>
              <a:gd name="connsiteY4607" fmla="*/ 4655757 h 5282095"/>
              <a:gd name="connsiteX4608" fmla="*/ 6001072 w 7714416"/>
              <a:gd name="connsiteY4608" fmla="*/ 4656868 h 5282095"/>
              <a:gd name="connsiteX4609" fmla="*/ 6002505 w 7714416"/>
              <a:gd name="connsiteY4609" fmla="*/ 4656868 h 5282095"/>
              <a:gd name="connsiteX4610" fmla="*/ 6008234 w 7714416"/>
              <a:gd name="connsiteY4610" fmla="*/ 4660090 h 5282095"/>
              <a:gd name="connsiteX4611" fmla="*/ 6005656 w 7714416"/>
              <a:gd name="connsiteY4611" fmla="*/ 4662311 h 5282095"/>
              <a:gd name="connsiteX4612" fmla="*/ 6001072 w 7714416"/>
              <a:gd name="connsiteY4612" fmla="*/ 4660646 h 5282095"/>
              <a:gd name="connsiteX4613" fmla="*/ 6000500 w 7714416"/>
              <a:gd name="connsiteY4613" fmla="*/ 4660311 h 5282095"/>
              <a:gd name="connsiteX4614" fmla="*/ 5998781 w 7714416"/>
              <a:gd name="connsiteY4614" fmla="*/ 4660534 h 5282095"/>
              <a:gd name="connsiteX4615" fmla="*/ 5997348 w 7714416"/>
              <a:gd name="connsiteY4615" fmla="*/ 4660089 h 5282095"/>
              <a:gd name="connsiteX4616" fmla="*/ 5996776 w 7714416"/>
              <a:gd name="connsiteY4616" fmla="*/ 4660089 h 5282095"/>
              <a:gd name="connsiteX4617" fmla="*/ 5995057 w 7714416"/>
              <a:gd name="connsiteY4617" fmla="*/ 4663199 h 5282095"/>
              <a:gd name="connsiteX4618" fmla="*/ 5979302 w 7714416"/>
              <a:gd name="connsiteY4618" fmla="*/ 4668421 h 5282095"/>
              <a:gd name="connsiteX4619" fmla="*/ 5967843 w 7714416"/>
              <a:gd name="connsiteY4619" fmla="*/ 4658201 h 5282095"/>
              <a:gd name="connsiteX4620" fmla="*/ 5969275 w 7714416"/>
              <a:gd name="connsiteY4620" fmla="*/ 4651314 h 5282095"/>
              <a:gd name="connsiteX4621" fmla="*/ 5973286 w 7714416"/>
              <a:gd name="connsiteY4621" fmla="*/ 4649314 h 5282095"/>
              <a:gd name="connsiteX4622" fmla="*/ 5972999 w 7714416"/>
              <a:gd name="connsiteY4622" fmla="*/ 4642428 h 5282095"/>
              <a:gd name="connsiteX4623" fmla="*/ 5980449 w 7714416"/>
              <a:gd name="connsiteY4623" fmla="*/ 4636652 h 5282095"/>
              <a:gd name="connsiteX4624" fmla="*/ 6042325 w 7714416"/>
              <a:gd name="connsiteY4624" fmla="*/ 4636429 h 5282095"/>
              <a:gd name="connsiteX4625" fmla="*/ 6044329 w 7714416"/>
              <a:gd name="connsiteY4625" fmla="*/ 4637095 h 5282095"/>
              <a:gd name="connsiteX4626" fmla="*/ 6045761 w 7714416"/>
              <a:gd name="connsiteY4626" fmla="*/ 4639539 h 5282095"/>
              <a:gd name="connsiteX4627" fmla="*/ 6050918 w 7714416"/>
              <a:gd name="connsiteY4627" fmla="*/ 4641206 h 5282095"/>
              <a:gd name="connsiteX4628" fmla="*/ 6050918 w 7714416"/>
              <a:gd name="connsiteY4628" fmla="*/ 4643538 h 5282095"/>
              <a:gd name="connsiteX4629" fmla="*/ 6040605 w 7714416"/>
              <a:gd name="connsiteY4629" fmla="*/ 4640095 h 5282095"/>
              <a:gd name="connsiteX4630" fmla="*/ 6039172 w 7714416"/>
              <a:gd name="connsiteY4630" fmla="*/ 4636541 h 5282095"/>
              <a:gd name="connsiteX4631" fmla="*/ 6042325 w 7714416"/>
              <a:gd name="connsiteY4631" fmla="*/ 4636429 h 5282095"/>
              <a:gd name="connsiteX4632" fmla="*/ 3082575 w 7714416"/>
              <a:gd name="connsiteY4632" fmla="*/ 4635873 h 5282095"/>
              <a:gd name="connsiteX4633" fmla="*/ 3092315 w 7714416"/>
              <a:gd name="connsiteY4633" fmla="*/ 4638206 h 5282095"/>
              <a:gd name="connsiteX4634" fmla="*/ 3088590 w 7714416"/>
              <a:gd name="connsiteY4634" fmla="*/ 4644982 h 5282095"/>
              <a:gd name="connsiteX4635" fmla="*/ 3077991 w 7714416"/>
              <a:gd name="connsiteY4635" fmla="*/ 4640761 h 5282095"/>
              <a:gd name="connsiteX4636" fmla="*/ 3082575 w 7714416"/>
              <a:gd name="connsiteY4636" fmla="*/ 4635873 h 5282095"/>
              <a:gd name="connsiteX4637" fmla="*/ 2015782 w 7714416"/>
              <a:gd name="connsiteY4637" fmla="*/ 4635873 h 5282095"/>
              <a:gd name="connsiteX4638" fmla="*/ 2025522 w 7714416"/>
              <a:gd name="connsiteY4638" fmla="*/ 4638206 h 5282095"/>
              <a:gd name="connsiteX4639" fmla="*/ 2021797 w 7714416"/>
              <a:gd name="connsiteY4639" fmla="*/ 4644982 h 5282095"/>
              <a:gd name="connsiteX4640" fmla="*/ 2011197 w 7714416"/>
              <a:gd name="connsiteY4640" fmla="*/ 4640762 h 5282095"/>
              <a:gd name="connsiteX4641" fmla="*/ 2015782 w 7714416"/>
              <a:gd name="connsiteY4641" fmla="*/ 4635873 h 5282095"/>
              <a:gd name="connsiteX4642" fmla="*/ 4993577 w 7714416"/>
              <a:gd name="connsiteY4642" fmla="*/ 4635207 h 5282095"/>
              <a:gd name="connsiteX4643" fmla="*/ 5004750 w 7714416"/>
              <a:gd name="connsiteY4643" fmla="*/ 4638317 h 5282095"/>
              <a:gd name="connsiteX4644" fmla="*/ 4970374 w 7714416"/>
              <a:gd name="connsiteY4644" fmla="*/ 4654425 h 5282095"/>
              <a:gd name="connsiteX4645" fmla="*/ 4961207 w 7714416"/>
              <a:gd name="connsiteY4645" fmla="*/ 4651426 h 5282095"/>
              <a:gd name="connsiteX4646" fmla="*/ 4993577 w 7714416"/>
              <a:gd name="connsiteY4646" fmla="*/ 4635207 h 5282095"/>
              <a:gd name="connsiteX4647" fmla="*/ 2619076 w 7714416"/>
              <a:gd name="connsiteY4647" fmla="*/ 4635207 h 5282095"/>
              <a:gd name="connsiteX4648" fmla="*/ 2630247 w 7714416"/>
              <a:gd name="connsiteY4648" fmla="*/ 4638317 h 5282095"/>
              <a:gd name="connsiteX4649" fmla="*/ 2595871 w 7714416"/>
              <a:gd name="connsiteY4649" fmla="*/ 4654424 h 5282095"/>
              <a:gd name="connsiteX4650" fmla="*/ 2586418 w 7714416"/>
              <a:gd name="connsiteY4650" fmla="*/ 4651425 h 5282095"/>
              <a:gd name="connsiteX4651" fmla="*/ 2619076 w 7714416"/>
              <a:gd name="connsiteY4651" fmla="*/ 4635207 h 5282095"/>
              <a:gd name="connsiteX4652" fmla="*/ 2759156 w 7714416"/>
              <a:gd name="connsiteY4652" fmla="*/ 4631763 h 5282095"/>
              <a:gd name="connsiteX4653" fmla="*/ 2771187 w 7714416"/>
              <a:gd name="connsiteY4653" fmla="*/ 4641650 h 5282095"/>
              <a:gd name="connsiteX4654" fmla="*/ 2765458 w 7714416"/>
              <a:gd name="connsiteY4654" fmla="*/ 4644316 h 5282095"/>
              <a:gd name="connsiteX4655" fmla="*/ 2759156 w 7714416"/>
              <a:gd name="connsiteY4655" fmla="*/ 4631763 h 5282095"/>
              <a:gd name="connsiteX4656" fmla="*/ 5133659 w 7714416"/>
              <a:gd name="connsiteY4656" fmla="*/ 4631763 h 5282095"/>
              <a:gd name="connsiteX4657" fmla="*/ 5145690 w 7714416"/>
              <a:gd name="connsiteY4657" fmla="*/ 4641649 h 5282095"/>
              <a:gd name="connsiteX4658" fmla="*/ 5139961 w 7714416"/>
              <a:gd name="connsiteY4658" fmla="*/ 4644315 h 5282095"/>
              <a:gd name="connsiteX4659" fmla="*/ 5133659 w 7714416"/>
              <a:gd name="connsiteY4659" fmla="*/ 4631763 h 5282095"/>
              <a:gd name="connsiteX4660" fmla="*/ 2434879 w 7714416"/>
              <a:gd name="connsiteY4660" fmla="*/ 4630875 h 5282095"/>
              <a:gd name="connsiteX4661" fmla="*/ 2436597 w 7714416"/>
              <a:gd name="connsiteY4661" fmla="*/ 4630986 h 5282095"/>
              <a:gd name="connsiteX4662" fmla="*/ 2432586 w 7714416"/>
              <a:gd name="connsiteY4662" fmla="*/ 4644871 h 5282095"/>
              <a:gd name="connsiteX4663" fmla="*/ 2430008 w 7714416"/>
              <a:gd name="connsiteY4663" fmla="*/ 4646092 h 5282095"/>
              <a:gd name="connsiteX4664" fmla="*/ 2425998 w 7714416"/>
              <a:gd name="connsiteY4664" fmla="*/ 4644427 h 5282095"/>
              <a:gd name="connsiteX4665" fmla="*/ 2425998 w 7714416"/>
              <a:gd name="connsiteY4665" fmla="*/ 4638428 h 5282095"/>
              <a:gd name="connsiteX4666" fmla="*/ 2433160 w 7714416"/>
              <a:gd name="connsiteY4666" fmla="*/ 4634318 h 5282095"/>
              <a:gd name="connsiteX4667" fmla="*/ 2434879 w 7714416"/>
              <a:gd name="connsiteY4667" fmla="*/ 4630875 h 5282095"/>
              <a:gd name="connsiteX4668" fmla="*/ 3358726 w 7714416"/>
              <a:gd name="connsiteY4668" fmla="*/ 4630208 h 5282095"/>
              <a:gd name="connsiteX4669" fmla="*/ 3357866 w 7714416"/>
              <a:gd name="connsiteY4669" fmla="*/ 4635984 h 5282095"/>
              <a:gd name="connsiteX4670" fmla="*/ 3354715 w 7714416"/>
              <a:gd name="connsiteY4670" fmla="*/ 4638873 h 5282095"/>
              <a:gd name="connsiteX4671" fmla="*/ 3359013 w 7714416"/>
              <a:gd name="connsiteY4671" fmla="*/ 4637984 h 5282095"/>
              <a:gd name="connsiteX4672" fmla="*/ 3364455 w 7714416"/>
              <a:gd name="connsiteY4672" fmla="*/ 4634318 h 5282095"/>
              <a:gd name="connsiteX4673" fmla="*/ 3367320 w 7714416"/>
              <a:gd name="connsiteY4673" fmla="*/ 4632318 h 5282095"/>
              <a:gd name="connsiteX4674" fmla="*/ 3359012 w 7714416"/>
              <a:gd name="connsiteY4674" fmla="*/ 4630542 h 5282095"/>
              <a:gd name="connsiteX4675" fmla="*/ 5625232 w 7714416"/>
              <a:gd name="connsiteY4675" fmla="*/ 4627321 h 5282095"/>
              <a:gd name="connsiteX4676" fmla="*/ 5630961 w 7714416"/>
              <a:gd name="connsiteY4676" fmla="*/ 4639983 h 5282095"/>
              <a:gd name="connsiteX4677" fmla="*/ 5625232 w 7714416"/>
              <a:gd name="connsiteY4677" fmla="*/ 4627321 h 5282095"/>
              <a:gd name="connsiteX4678" fmla="*/ 5043710 w 7714416"/>
              <a:gd name="connsiteY4678" fmla="*/ 4627098 h 5282095"/>
              <a:gd name="connsiteX4679" fmla="*/ 5048579 w 7714416"/>
              <a:gd name="connsiteY4679" fmla="*/ 4627653 h 5282095"/>
              <a:gd name="connsiteX4680" fmla="*/ 5050011 w 7714416"/>
              <a:gd name="connsiteY4680" fmla="*/ 4637984 h 5282095"/>
              <a:gd name="connsiteX4681" fmla="*/ 5049152 w 7714416"/>
              <a:gd name="connsiteY4681" fmla="*/ 4643538 h 5282095"/>
              <a:gd name="connsiteX4682" fmla="*/ 5058032 w 7714416"/>
              <a:gd name="connsiteY4682" fmla="*/ 4640428 h 5282095"/>
              <a:gd name="connsiteX4683" fmla="*/ 5073502 w 7714416"/>
              <a:gd name="connsiteY4683" fmla="*/ 4642538 h 5282095"/>
              <a:gd name="connsiteX4684" fmla="*/ 5058032 w 7714416"/>
              <a:gd name="connsiteY4684" fmla="*/ 4662533 h 5282095"/>
              <a:gd name="connsiteX4685" fmla="*/ 5052876 w 7714416"/>
              <a:gd name="connsiteY4685" fmla="*/ 4659868 h 5282095"/>
              <a:gd name="connsiteX4686" fmla="*/ 5050584 w 7714416"/>
              <a:gd name="connsiteY4686" fmla="*/ 4655535 h 5282095"/>
              <a:gd name="connsiteX4687" fmla="*/ 5044568 w 7714416"/>
              <a:gd name="connsiteY4687" fmla="*/ 4652647 h 5282095"/>
              <a:gd name="connsiteX4688" fmla="*/ 5049438 w 7714416"/>
              <a:gd name="connsiteY4688" fmla="*/ 4652981 h 5282095"/>
              <a:gd name="connsiteX4689" fmla="*/ 5048865 w 7714416"/>
              <a:gd name="connsiteY4689" fmla="*/ 4652314 h 5282095"/>
              <a:gd name="connsiteX4690" fmla="*/ 5047719 w 7714416"/>
              <a:gd name="connsiteY4690" fmla="*/ 4645427 h 5282095"/>
              <a:gd name="connsiteX4691" fmla="*/ 5041704 w 7714416"/>
              <a:gd name="connsiteY4691" fmla="*/ 4646871 h 5282095"/>
              <a:gd name="connsiteX4692" fmla="*/ 5043710 w 7714416"/>
              <a:gd name="connsiteY4692" fmla="*/ 4627098 h 5282095"/>
              <a:gd name="connsiteX4693" fmla="*/ 2669206 w 7714416"/>
              <a:gd name="connsiteY4693" fmla="*/ 4627098 h 5282095"/>
              <a:gd name="connsiteX4694" fmla="*/ 2674076 w 7714416"/>
              <a:gd name="connsiteY4694" fmla="*/ 4627653 h 5282095"/>
              <a:gd name="connsiteX4695" fmla="*/ 2675222 w 7714416"/>
              <a:gd name="connsiteY4695" fmla="*/ 4637984 h 5282095"/>
              <a:gd name="connsiteX4696" fmla="*/ 2674362 w 7714416"/>
              <a:gd name="connsiteY4696" fmla="*/ 4643538 h 5282095"/>
              <a:gd name="connsiteX4697" fmla="*/ 2683530 w 7714416"/>
              <a:gd name="connsiteY4697" fmla="*/ 4640428 h 5282095"/>
              <a:gd name="connsiteX4698" fmla="*/ 2698998 w 7714416"/>
              <a:gd name="connsiteY4698" fmla="*/ 4642538 h 5282095"/>
              <a:gd name="connsiteX4699" fmla="*/ 2683243 w 7714416"/>
              <a:gd name="connsiteY4699" fmla="*/ 4662534 h 5282095"/>
              <a:gd name="connsiteX4700" fmla="*/ 2674362 w 7714416"/>
              <a:gd name="connsiteY4700" fmla="*/ 4652314 h 5282095"/>
              <a:gd name="connsiteX4701" fmla="*/ 2673217 w 7714416"/>
              <a:gd name="connsiteY4701" fmla="*/ 4645427 h 5282095"/>
              <a:gd name="connsiteX4702" fmla="*/ 2667202 w 7714416"/>
              <a:gd name="connsiteY4702" fmla="*/ 4646870 h 5282095"/>
              <a:gd name="connsiteX4703" fmla="*/ 2669206 w 7714416"/>
              <a:gd name="connsiteY4703" fmla="*/ 4627098 h 5282095"/>
              <a:gd name="connsiteX4704" fmla="*/ 5965551 w 7714416"/>
              <a:gd name="connsiteY4704" fmla="*/ 4626321 h 5282095"/>
              <a:gd name="connsiteX4705" fmla="*/ 5907112 w 7714416"/>
              <a:gd name="connsiteY4705" fmla="*/ 4674864 h 5282095"/>
              <a:gd name="connsiteX4706" fmla="*/ 5896513 w 7714416"/>
              <a:gd name="connsiteY4706" fmla="*/ 4664644 h 5282095"/>
              <a:gd name="connsiteX4707" fmla="*/ 5965551 w 7714416"/>
              <a:gd name="connsiteY4707" fmla="*/ 4626321 h 5282095"/>
              <a:gd name="connsiteX4708" fmla="*/ 5728358 w 7714416"/>
              <a:gd name="connsiteY4708" fmla="*/ 4626098 h 5282095"/>
              <a:gd name="connsiteX4709" fmla="*/ 5733228 w 7714416"/>
              <a:gd name="connsiteY4709" fmla="*/ 4629764 h 5282095"/>
              <a:gd name="connsiteX4710" fmla="*/ 5732369 w 7714416"/>
              <a:gd name="connsiteY4710" fmla="*/ 4635984 h 5282095"/>
              <a:gd name="connsiteX4711" fmla="*/ 5720051 w 7714416"/>
              <a:gd name="connsiteY4711" fmla="*/ 4646204 h 5282095"/>
              <a:gd name="connsiteX4712" fmla="*/ 5711457 w 7714416"/>
              <a:gd name="connsiteY4712" fmla="*/ 4637540 h 5282095"/>
              <a:gd name="connsiteX4713" fmla="*/ 5712603 w 7714416"/>
              <a:gd name="connsiteY4713" fmla="*/ 4635984 h 5282095"/>
              <a:gd name="connsiteX4714" fmla="*/ 5728358 w 7714416"/>
              <a:gd name="connsiteY4714" fmla="*/ 4626098 h 5282095"/>
              <a:gd name="connsiteX4715" fmla="*/ 6135138 w 7714416"/>
              <a:gd name="connsiteY4715" fmla="*/ 4626097 h 5282095"/>
              <a:gd name="connsiteX4716" fmla="*/ 6138862 w 7714416"/>
              <a:gd name="connsiteY4716" fmla="*/ 4627320 h 5282095"/>
              <a:gd name="connsiteX4717" fmla="*/ 6140294 w 7714416"/>
              <a:gd name="connsiteY4717" fmla="*/ 4629764 h 5282095"/>
              <a:gd name="connsiteX4718" fmla="*/ 6141154 w 7714416"/>
              <a:gd name="connsiteY4718" fmla="*/ 4632763 h 5282095"/>
              <a:gd name="connsiteX4719" fmla="*/ 6138576 w 7714416"/>
              <a:gd name="connsiteY4719" fmla="*/ 4637095 h 5282095"/>
              <a:gd name="connsiteX4720" fmla="*/ 6149461 w 7714416"/>
              <a:gd name="connsiteY4720" fmla="*/ 4641205 h 5282095"/>
              <a:gd name="connsiteX4721" fmla="*/ 6160060 w 7714416"/>
              <a:gd name="connsiteY4721" fmla="*/ 4647871 h 5282095"/>
              <a:gd name="connsiteX4722" fmla="*/ 6115945 w 7714416"/>
              <a:gd name="connsiteY4722" fmla="*/ 4628653 h 5282095"/>
              <a:gd name="connsiteX4723" fmla="*/ 6123966 w 7714416"/>
              <a:gd name="connsiteY4723" fmla="*/ 4631986 h 5282095"/>
              <a:gd name="connsiteX4724" fmla="*/ 6125112 w 7714416"/>
              <a:gd name="connsiteY4724" fmla="*/ 4629319 h 5282095"/>
              <a:gd name="connsiteX4725" fmla="*/ 6135138 w 7714416"/>
              <a:gd name="connsiteY4725" fmla="*/ 4626097 h 5282095"/>
              <a:gd name="connsiteX4726" fmla="*/ 2460946 w 7714416"/>
              <a:gd name="connsiteY4726" fmla="*/ 4625432 h 5282095"/>
              <a:gd name="connsiteX4727" fmla="*/ 2470114 w 7714416"/>
              <a:gd name="connsiteY4727" fmla="*/ 4627543 h 5282095"/>
              <a:gd name="connsiteX4728" fmla="*/ 2464957 w 7714416"/>
              <a:gd name="connsiteY4728" fmla="*/ 4634430 h 5282095"/>
              <a:gd name="connsiteX4729" fmla="*/ 2455217 w 7714416"/>
              <a:gd name="connsiteY4729" fmla="*/ 4630541 h 5282095"/>
              <a:gd name="connsiteX4730" fmla="*/ 2460946 w 7714416"/>
              <a:gd name="connsiteY4730" fmla="*/ 4625432 h 5282095"/>
              <a:gd name="connsiteX4731" fmla="*/ 2071069 w 7714416"/>
              <a:gd name="connsiteY4731" fmla="*/ 4624876 h 5282095"/>
              <a:gd name="connsiteX4732" fmla="*/ 2084532 w 7714416"/>
              <a:gd name="connsiteY4732" fmla="*/ 4627209 h 5282095"/>
              <a:gd name="connsiteX4733" fmla="*/ 2073647 w 7714416"/>
              <a:gd name="connsiteY4733" fmla="*/ 4656868 h 5282095"/>
              <a:gd name="connsiteX4734" fmla="*/ 2037267 w 7714416"/>
              <a:gd name="connsiteY4734" fmla="*/ 4644427 h 5282095"/>
              <a:gd name="connsiteX4735" fmla="*/ 2071069 w 7714416"/>
              <a:gd name="connsiteY4735" fmla="*/ 4624876 h 5282095"/>
              <a:gd name="connsiteX4736" fmla="*/ 5029672 w 7714416"/>
              <a:gd name="connsiteY4736" fmla="*/ 4624432 h 5282095"/>
              <a:gd name="connsiteX4737" fmla="*/ 5016782 w 7714416"/>
              <a:gd name="connsiteY4737" fmla="*/ 4637095 h 5282095"/>
              <a:gd name="connsiteX4738" fmla="*/ 5011625 w 7714416"/>
              <a:gd name="connsiteY4738" fmla="*/ 4630541 h 5282095"/>
              <a:gd name="connsiteX4739" fmla="*/ 5029672 w 7714416"/>
              <a:gd name="connsiteY4739" fmla="*/ 4624432 h 5282095"/>
              <a:gd name="connsiteX4740" fmla="*/ 2654884 w 7714416"/>
              <a:gd name="connsiteY4740" fmla="*/ 4624432 h 5282095"/>
              <a:gd name="connsiteX4741" fmla="*/ 2641993 w 7714416"/>
              <a:gd name="connsiteY4741" fmla="*/ 4637096 h 5282095"/>
              <a:gd name="connsiteX4742" fmla="*/ 2637122 w 7714416"/>
              <a:gd name="connsiteY4742" fmla="*/ 4630542 h 5282095"/>
              <a:gd name="connsiteX4743" fmla="*/ 2654884 w 7714416"/>
              <a:gd name="connsiteY4743" fmla="*/ 4624432 h 5282095"/>
              <a:gd name="connsiteX4744" fmla="*/ 5716041 w 7714416"/>
              <a:gd name="connsiteY4744" fmla="*/ 4624321 h 5282095"/>
              <a:gd name="connsiteX4745" fmla="*/ 5720337 w 7714416"/>
              <a:gd name="connsiteY4745" fmla="*/ 4628209 h 5282095"/>
              <a:gd name="connsiteX4746" fmla="*/ 5717761 w 7714416"/>
              <a:gd name="connsiteY4746" fmla="*/ 4630319 h 5282095"/>
              <a:gd name="connsiteX4747" fmla="*/ 5712890 w 7714416"/>
              <a:gd name="connsiteY4747" fmla="*/ 4631985 h 5282095"/>
              <a:gd name="connsiteX4748" fmla="*/ 5708020 w 7714416"/>
              <a:gd name="connsiteY4748" fmla="*/ 4626987 h 5282095"/>
              <a:gd name="connsiteX4749" fmla="*/ 5710598 w 7714416"/>
              <a:gd name="connsiteY4749" fmla="*/ 4624877 h 5282095"/>
              <a:gd name="connsiteX4750" fmla="*/ 5716041 w 7714416"/>
              <a:gd name="connsiteY4750" fmla="*/ 4624321 h 5282095"/>
              <a:gd name="connsiteX4751" fmla="*/ 3341539 w 7714416"/>
              <a:gd name="connsiteY4751" fmla="*/ 4624320 h 5282095"/>
              <a:gd name="connsiteX4752" fmla="*/ 3345836 w 7714416"/>
              <a:gd name="connsiteY4752" fmla="*/ 4628209 h 5282095"/>
              <a:gd name="connsiteX4753" fmla="*/ 3343258 w 7714416"/>
              <a:gd name="connsiteY4753" fmla="*/ 4630319 h 5282095"/>
              <a:gd name="connsiteX4754" fmla="*/ 3338387 w 7714416"/>
              <a:gd name="connsiteY4754" fmla="*/ 4631986 h 5282095"/>
              <a:gd name="connsiteX4755" fmla="*/ 3333517 w 7714416"/>
              <a:gd name="connsiteY4755" fmla="*/ 4626987 h 5282095"/>
              <a:gd name="connsiteX4756" fmla="*/ 3336095 w 7714416"/>
              <a:gd name="connsiteY4756" fmla="*/ 4624876 h 5282095"/>
              <a:gd name="connsiteX4757" fmla="*/ 3341539 w 7714416"/>
              <a:gd name="connsiteY4757" fmla="*/ 4624320 h 5282095"/>
              <a:gd name="connsiteX4758" fmla="*/ 5349653 w 7714416"/>
              <a:gd name="connsiteY4758" fmla="*/ 4623988 h 5282095"/>
              <a:gd name="connsiteX4759" fmla="*/ 5363690 w 7714416"/>
              <a:gd name="connsiteY4759" fmla="*/ 4628542 h 5282095"/>
              <a:gd name="connsiteX4760" fmla="*/ 5345929 w 7714416"/>
              <a:gd name="connsiteY4760" fmla="*/ 4625877 h 5282095"/>
              <a:gd name="connsiteX4761" fmla="*/ 5349653 w 7714416"/>
              <a:gd name="connsiteY4761" fmla="*/ 4623988 h 5282095"/>
              <a:gd name="connsiteX4762" fmla="*/ 2975150 w 7714416"/>
              <a:gd name="connsiteY4762" fmla="*/ 4623988 h 5282095"/>
              <a:gd name="connsiteX4763" fmla="*/ 2989187 w 7714416"/>
              <a:gd name="connsiteY4763" fmla="*/ 4628542 h 5282095"/>
              <a:gd name="connsiteX4764" fmla="*/ 2971427 w 7714416"/>
              <a:gd name="connsiteY4764" fmla="*/ 4625876 h 5282095"/>
              <a:gd name="connsiteX4765" fmla="*/ 2975150 w 7714416"/>
              <a:gd name="connsiteY4765" fmla="*/ 4623988 h 5282095"/>
              <a:gd name="connsiteX4766" fmla="*/ 3051063 w 7714416"/>
              <a:gd name="connsiteY4766" fmla="*/ 4623766 h 5282095"/>
              <a:gd name="connsiteX4767" fmla="*/ 3063381 w 7714416"/>
              <a:gd name="connsiteY4767" fmla="*/ 4636872 h 5282095"/>
              <a:gd name="connsiteX4768" fmla="*/ 3052209 w 7714416"/>
              <a:gd name="connsiteY4768" fmla="*/ 4637206 h 5282095"/>
              <a:gd name="connsiteX4769" fmla="*/ 3051063 w 7714416"/>
              <a:gd name="connsiteY4769" fmla="*/ 4623766 h 5282095"/>
              <a:gd name="connsiteX4770" fmla="*/ 5904820 w 7714416"/>
              <a:gd name="connsiteY4770" fmla="*/ 4623765 h 5282095"/>
              <a:gd name="connsiteX4771" fmla="*/ 5914847 w 7714416"/>
              <a:gd name="connsiteY4771" fmla="*/ 4633541 h 5282095"/>
              <a:gd name="connsiteX4772" fmla="*/ 5915420 w 7714416"/>
              <a:gd name="connsiteY4772" fmla="*/ 4635207 h 5282095"/>
              <a:gd name="connsiteX4773" fmla="*/ 5920290 w 7714416"/>
              <a:gd name="connsiteY4773" fmla="*/ 4639651 h 5282095"/>
              <a:gd name="connsiteX4774" fmla="*/ 5911982 w 7714416"/>
              <a:gd name="connsiteY4774" fmla="*/ 4646538 h 5282095"/>
              <a:gd name="connsiteX4775" fmla="*/ 5902816 w 7714416"/>
              <a:gd name="connsiteY4775" fmla="*/ 4639317 h 5282095"/>
              <a:gd name="connsiteX4776" fmla="*/ 5911696 w 7714416"/>
              <a:gd name="connsiteY4776" fmla="*/ 4635207 h 5282095"/>
              <a:gd name="connsiteX4777" fmla="*/ 5906540 w 7714416"/>
              <a:gd name="connsiteY4777" fmla="*/ 4630208 h 5282095"/>
              <a:gd name="connsiteX4778" fmla="*/ 5903388 w 7714416"/>
              <a:gd name="connsiteY4778" fmla="*/ 4624321 h 5282095"/>
              <a:gd name="connsiteX4779" fmla="*/ 5904820 w 7714416"/>
              <a:gd name="connsiteY4779" fmla="*/ 4623765 h 5282095"/>
              <a:gd name="connsiteX4780" fmla="*/ 5425852 w 7714416"/>
              <a:gd name="connsiteY4780" fmla="*/ 4623765 h 5282095"/>
              <a:gd name="connsiteX4781" fmla="*/ 5437884 w 7714416"/>
              <a:gd name="connsiteY4781" fmla="*/ 4636873 h 5282095"/>
              <a:gd name="connsiteX4782" fmla="*/ 5426712 w 7714416"/>
              <a:gd name="connsiteY4782" fmla="*/ 4637207 h 5282095"/>
              <a:gd name="connsiteX4783" fmla="*/ 5425852 w 7714416"/>
              <a:gd name="connsiteY4783" fmla="*/ 4623765 h 5282095"/>
              <a:gd name="connsiteX4784" fmla="*/ 6122534 w 7714416"/>
              <a:gd name="connsiteY4784" fmla="*/ 4622766 h 5282095"/>
              <a:gd name="connsiteX4785" fmla="*/ 6125684 w 7714416"/>
              <a:gd name="connsiteY4785" fmla="*/ 4623432 h 5282095"/>
              <a:gd name="connsiteX4786" fmla="*/ 6126545 w 7714416"/>
              <a:gd name="connsiteY4786" fmla="*/ 4625432 h 5282095"/>
              <a:gd name="connsiteX4787" fmla="*/ 6123679 w 7714416"/>
              <a:gd name="connsiteY4787" fmla="*/ 4627987 h 5282095"/>
              <a:gd name="connsiteX4788" fmla="*/ 6119096 w 7714416"/>
              <a:gd name="connsiteY4788" fmla="*/ 4623877 h 5282095"/>
              <a:gd name="connsiteX4789" fmla="*/ 6122534 w 7714416"/>
              <a:gd name="connsiteY4789" fmla="*/ 4622766 h 5282095"/>
              <a:gd name="connsiteX4790" fmla="*/ 5404368 w 7714416"/>
              <a:gd name="connsiteY4790" fmla="*/ 4622099 h 5282095"/>
              <a:gd name="connsiteX4791" fmla="*/ 5409524 w 7714416"/>
              <a:gd name="connsiteY4791" fmla="*/ 4623765 h 5282095"/>
              <a:gd name="connsiteX4792" fmla="*/ 5407232 w 7714416"/>
              <a:gd name="connsiteY4792" fmla="*/ 4628320 h 5282095"/>
              <a:gd name="connsiteX4793" fmla="*/ 5402362 w 7714416"/>
              <a:gd name="connsiteY4793" fmla="*/ 4627765 h 5282095"/>
              <a:gd name="connsiteX4794" fmla="*/ 5404368 w 7714416"/>
              <a:gd name="connsiteY4794" fmla="*/ 4622099 h 5282095"/>
              <a:gd name="connsiteX4795" fmla="*/ 3029866 w 7714416"/>
              <a:gd name="connsiteY4795" fmla="*/ 4622099 h 5282095"/>
              <a:gd name="connsiteX4796" fmla="*/ 3035021 w 7714416"/>
              <a:gd name="connsiteY4796" fmla="*/ 4623766 h 5282095"/>
              <a:gd name="connsiteX4797" fmla="*/ 3032729 w 7714416"/>
              <a:gd name="connsiteY4797" fmla="*/ 4628320 h 5282095"/>
              <a:gd name="connsiteX4798" fmla="*/ 3027573 w 7714416"/>
              <a:gd name="connsiteY4798" fmla="*/ 4627764 h 5282095"/>
              <a:gd name="connsiteX4799" fmla="*/ 3029866 w 7714416"/>
              <a:gd name="connsiteY4799" fmla="*/ 4622099 h 5282095"/>
              <a:gd name="connsiteX4800" fmla="*/ 2607616 w 7714416"/>
              <a:gd name="connsiteY4800" fmla="*/ 4620433 h 5282095"/>
              <a:gd name="connsiteX4801" fmla="*/ 2611627 w 7714416"/>
              <a:gd name="connsiteY4801" fmla="*/ 4624099 h 5282095"/>
              <a:gd name="connsiteX4802" fmla="*/ 2601314 w 7714416"/>
              <a:gd name="connsiteY4802" fmla="*/ 4625876 h 5282095"/>
              <a:gd name="connsiteX4803" fmla="*/ 2607616 w 7714416"/>
              <a:gd name="connsiteY4803" fmla="*/ 4620433 h 5282095"/>
              <a:gd name="connsiteX4804" fmla="*/ 5581402 w 7714416"/>
              <a:gd name="connsiteY4804" fmla="*/ 4619989 h 5282095"/>
              <a:gd name="connsiteX4805" fmla="*/ 5630961 w 7714416"/>
              <a:gd name="connsiteY4805" fmla="*/ 4639983 h 5282095"/>
              <a:gd name="connsiteX4806" fmla="*/ 5651013 w 7714416"/>
              <a:gd name="connsiteY4806" fmla="*/ 4648981 h 5282095"/>
              <a:gd name="connsiteX4807" fmla="*/ 5570517 w 7714416"/>
              <a:gd name="connsiteY4807" fmla="*/ 4631097 h 5282095"/>
              <a:gd name="connsiteX4808" fmla="*/ 5581402 w 7714416"/>
              <a:gd name="connsiteY4808" fmla="*/ 4619989 h 5282095"/>
              <a:gd name="connsiteX4809" fmla="*/ 3206900 w 7714416"/>
              <a:gd name="connsiteY4809" fmla="*/ 4619989 h 5282095"/>
              <a:gd name="connsiteX4810" fmla="*/ 3256171 w 7714416"/>
              <a:gd name="connsiteY4810" fmla="*/ 4639983 h 5282095"/>
              <a:gd name="connsiteX4811" fmla="*/ 3250442 w 7714416"/>
              <a:gd name="connsiteY4811" fmla="*/ 4627321 h 5282095"/>
              <a:gd name="connsiteX4812" fmla="*/ 3256459 w 7714416"/>
              <a:gd name="connsiteY4812" fmla="*/ 4639984 h 5282095"/>
              <a:gd name="connsiteX4813" fmla="*/ 3276510 w 7714416"/>
              <a:gd name="connsiteY4813" fmla="*/ 4648982 h 5282095"/>
              <a:gd name="connsiteX4814" fmla="*/ 3196014 w 7714416"/>
              <a:gd name="connsiteY4814" fmla="*/ 4631097 h 5282095"/>
              <a:gd name="connsiteX4815" fmla="*/ 3206900 w 7714416"/>
              <a:gd name="connsiteY4815" fmla="*/ 4619989 h 5282095"/>
              <a:gd name="connsiteX4816" fmla="*/ 5909404 w 7714416"/>
              <a:gd name="connsiteY4816" fmla="*/ 4619544 h 5282095"/>
              <a:gd name="connsiteX4817" fmla="*/ 5934326 w 7714416"/>
              <a:gd name="connsiteY4817" fmla="*/ 4632763 h 5282095"/>
              <a:gd name="connsiteX4818" fmla="*/ 5928024 w 7714416"/>
              <a:gd name="connsiteY4818" fmla="*/ 4634985 h 5282095"/>
              <a:gd name="connsiteX4819" fmla="*/ 5926592 w 7714416"/>
              <a:gd name="connsiteY4819" fmla="*/ 4632763 h 5282095"/>
              <a:gd name="connsiteX4820" fmla="*/ 5909404 w 7714416"/>
              <a:gd name="connsiteY4820" fmla="*/ 4619544 h 5282095"/>
              <a:gd name="connsiteX4821" fmla="*/ 5773334 w 7714416"/>
              <a:gd name="connsiteY4821" fmla="*/ 4619544 h 5282095"/>
              <a:gd name="connsiteX4822" fmla="*/ 5777058 w 7714416"/>
              <a:gd name="connsiteY4822" fmla="*/ 4619655 h 5282095"/>
              <a:gd name="connsiteX4823" fmla="*/ 5781355 w 7714416"/>
              <a:gd name="connsiteY4823" fmla="*/ 4621877 h 5282095"/>
              <a:gd name="connsiteX4824" fmla="*/ 5782214 w 7714416"/>
              <a:gd name="connsiteY4824" fmla="*/ 4625321 h 5282095"/>
              <a:gd name="connsiteX4825" fmla="*/ 5772760 w 7714416"/>
              <a:gd name="connsiteY4825" fmla="*/ 4628541 h 5282095"/>
              <a:gd name="connsiteX4826" fmla="*/ 5773334 w 7714416"/>
              <a:gd name="connsiteY4826" fmla="*/ 4619544 h 5282095"/>
              <a:gd name="connsiteX4827" fmla="*/ 5840652 w 7714416"/>
              <a:gd name="connsiteY4827" fmla="*/ 4619099 h 5282095"/>
              <a:gd name="connsiteX4828" fmla="*/ 5845809 w 7714416"/>
              <a:gd name="connsiteY4828" fmla="*/ 4620878 h 5282095"/>
              <a:gd name="connsiteX4829" fmla="*/ 5846955 w 7714416"/>
              <a:gd name="connsiteY4829" fmla="*/ 4625877 h 5282095"/>
              <a:gd name="connsiteX4830" fmla="*/ 5843518 w 7714416"/>
              <a:gd name="connsiteY4830" fmla="*/ 4626764 h 5282095"/>
              <a:gd name="connsiteX4831" fmla="*/ 5838361 w 7714416"/>
              <a:gd name="connsiteY4831" fmla="*/ 4626098 h 5282095"/>
              <a:gd name="connsiteX4832" fmla="*/ 5837214 w 7714416"/>
              <a:gd name="connsiteY4832" fmla="*/ 4619989 h 5282095"/>
              <a:gd name="connsiteX4833" fmla="*/ 5840652 w 7714416"/>
              <a:gd name="connsiteY4833" fmla="*/ 4619099 h 5282095"/>
              <a:gd name="connsiteX4834" fmla="*/ 5604033 w 7714416"/>
              <a:gd name="connsiteY4834" fmla="*/ 4618323 h 5282095"/>
              <a:gd name="connsiteX4835" fmla="*/ 5609476 w 7714416"/>
              <a:gd name="connsiteY4835" fmla="*/ 4619656 h 5282095"/>
              <a:gd name="connsiteX4836" fmla="*/ 5607757 w 7714416"/>
              <a:gd name="connsiteY4836" fmla="*/ 4621877 h 5282095"/>
              <a:gd name="connsiteX4837" fmla="*/ 5599163 w 7714416"/>
              <a:gd name="connsiteY4837" fmla="*/ 4620433 h 5282095"/>
              <a:gd name="connsiteX4838" fmla="*/ 5600596 w 7714416"/>
              <a:gd name="connsiteY4838" fmla="*/ 4619433 h 5282095"/>
              <a:gd name="connsiteX4839" fmla="*/ 5600309 w 7714416"/>
              <a:gd name="connsiteY4839" fmla="*/ 4619100 h 5282095"/>
              <a:gd name="connsiteX4840" fmla="*/ 5604033 w 7714416"/>
              <a:gd name="connsiteY4840" fmla="*/ 4618323 h 5282095"/>
              <a:gd name="connsiteX4841" fmla="*/ 3229530 w 7714416"/>
              <a:gd name="connsiteY4841" fmla="*/ 4618323 h 5282095"/>
              <a:gd name="connsiteX4842" fmla="*/ 3234973 w 7714416"/>
              <a:gd name="connsiteY4842" fmla="*/ 4619655 h 5282095"/>
              <a:gd name="connsiteX4843" fmla="*/ 3233254 w 7714416"/>
              <a:gd name="connsiteY4843" fmla="*/ 4621877 h 5282095"/>
              <a:gd name="connsiteX4844" fmla="*/ 3224660 w 7714416"/>
              <a:gd name="connsiteY4844" fmla="*/ 4620433 h 5282095"/>
              <a:gd name="connsiteX4845" fmla="*/ 3226093 w 7714416"/>
              <a:gd name="connsiteY4845" fmla="*/ 4619433 h 5282095"/>
              <a:gd name="connsiteX4846" fmla="*/ 3225806 w 7714416"/>
              <a:gd name="connsiteY4846" fmla="*/ 4619100 h 5282095"/>
              <a:gd name="connsiteX4847" fmla="*/ 3229530 w 7714416"/>
              <a:gd name="connsiteY4847" fmla="*/ 4618323 h 5282095"/>
              <a:gd name="connsiteX4848" fmla="*/ 5078658 w 7714416"/>
              <a:gd name="connsiteY4848" fmla="*/ 4617878 h 5282095"/>
              <a:gd name="connsiteX4849" fmla="*/ 5080663 w 7714416"/>
              <a:gd name="connsiteY4849" fmla="*/ 4618545 h 5282095"/>
              <a:gd name="connsiteX4850" fmla="*/ 5094126 w 7714416"/>
              <a:gd name="connsiteY4850" fmla="*/ 4628320 h 5282095"/>
              <a:gd name="connsiteX4851" fmla="*/ 5079803 w 7714416"/>
              <a:gd name="connsiteY4851" fmla="*/ 4632319 h 5282095"/>
              <a:gd name="connsiteX4852" fmla="*/ 5076939 w 7714416"/>
              <a:gd name="connsiteY4852" fmla="*/ 4631097 h 5282095"/>
              <a:gd name="connsiteX4853" fmla="*/ 5076939 w 7714416"/>
              <a:gd name="connsiteY4853" fmla="*/ 4631319 h 5282095"/>
              <a:gd name="connsiteX4854" fmla="*/ 5071496 w 7714416"/>
              <a:gd name="connsiteY4854" fmla="*/ 4633652 h 5282095"/>
              <a:gd name="connsiteX4855" fmla="*/ 5058318 w 7714416"/>
              <a:gd name="connsiteY4855" fmla="*/ 4623321 h 5282095"/>
              <a:gd name="connsiteX4856" fmla="*/ 5065766 w 7714416"/>
              <a:gd name="connsiteY4856" fmla="*/ 4620099 h 5282095"/>
              <a:gd name="connsiteX4857" fmla="*/ 5068631 w 7714416"/>
              <a:gd name="connsiteY4857" fmla="*/ 4620767 h 5282095"/>
              <a:gd name="connsiteX4858" fmla="*/ 5069777 w 7714416"/>
              <a:gd name="connsiteY4858" fmla="*/ 4619433 h 5282095"/>
              <a:gd name="connsiteX4859" fmla="*/ 5078658 w 7714416"/>
              <a:gd name="connsiteY4859" fmla="*/ 4617878 h 5282095"/>
              <a:gd name="connsiteX4860" fmla="*/ 2704156 w 7714416"/>
              <a:gd name="connsiteY4860" fmla="*/ 4617878 h 5282095"/>
              <a:gd name="connsiteX4861" fmla="*/ 2706161 w 7714416"/>
              <a:gd name="connsiteY4861" fmla="*/ 4618544 h 5282095"/>
              <a:gd name="connsiteX4862" fmla="*/ 2719624 w 7714416"/>
              <a:gd name="connsiteY4862" fmla="*/ 4628320 h 5282095"/>
              <a:gd name="connsiteX4863" fmla="*/ 2705301 w 7714416"/>
              <a:gd name="connsiteY4863" fmla="*/ 4632319 h 5282095"/>
              <a:gd name="connsiteX4864" fmla="*/ 2702436 w 7714416"/>
              <a:gd name="connsiteY4864" fmla="*/ 4631097 h 5282095"/>
              <a:gd name="connsiteX4865" fmla="*/ 2702436 w 7714416"/>
              <a:gd name="connsiteY4865" fmla="*/ 4631319 h 5282095"/>
              <a:gd name="connsiteX4866" fmla="*/ 2696993 w 7714416"/>
              <a:gd name="connsiteY4866" fmla="*/ 4633651 h 5282095"/>
              <a:gd name="connsiteX4867" fmla="*/ 2683816 w 7714416"/>
              <a:gd name="connsiteY4867" fmla="*/ 4623321 h 5282095"/>
              <a:gd name="connsiteX4868" fmla="*/ 2691264 w 7714416"/>
              <a:gd name="connsiteY4868" fmla="*/ 4620100 h 5282095"/>
              <a:gd name="connsiteX4869" fmla="*/ 2694128 w 7714416"/>
              <a:gd name="connsiteY4869" fmla="*/ 4620767 h 5282095"/>
              <a:gd name="connsiteX4870" fmla="*/ 2695275 w 7714416"/>
              <a:gd name="connsiteY4870" fmla="*/ 4619433 h 5282095"/>
              <a:gd name="connsiteX4871" fmla="*/ 2704156 w 7714416"/>
              <a:gd name="connsiteY4871" fmla="*/ 4617878 h 5282095"/>
              <a:gd name="connsiteX4872" fmla="*/ 2419409 w 7714416"/>
              <a:gd name="connsiteY4872" fmla="*/ 4614879 h 5282095"/>
              <a:gd name="connsiteX4873" fmla="*/ 2423706 w 7714416"/>
              <a:gd name="connsiteY4873" fmla="*/ 4614879 h 5282095"/>
              <a:gd name="connsiteX4874" fmla="*/ 2413107 w 7714416"/>
              <a:gd name="connsiteY4874" fmla="*/ 4618655 h 5282095"/>
              <a:gd name="connsiteX4875" fmla="*/ 2411388 w 7714416"/>
              <a:gd name="connsiteY4875" fmla="*/ 4621988 h 5282095"/>
              <a:gd name="connsiteX4876" fmla="*/ 2401075 w 7714416"/>
              <a:gd name="connsiteY4876" fmla="*/ 4623432 h 5282095"/>
              <a:gd name="connsiteX4877" fmla="*/ 2401362 w 7714416"/>
              <a:gd name="connsiteY4877" fmla="*/ 4617655 h 5282095"/>
              <a:gd name="connsiteX4878" fmla="*/ 2415112 w 7714416"/>
              <a:gd name="connsiteY4878" fmla="*/ 4616545 h 5282095"/>
              <a:gd name="connsiteX4879" fmla="*/ 2419409 w 7714416"/>
              <a:gd name="connsiteY4879" fmla="*/ 4614879 h 5282095"/>
              <a:gd name="connsiteX4880" fmla="*/ 5762734 w 7714416"/>
              <a:gd name="connsiteY4880" fmla="*/ 4614768 h 5282095"/>
              <a:gd name="connsiteX4881" fmla="*/ 5773047 w 7714416"/>
              <a:gd name="connsiteY4881" fmla="*/ 4652758 h 5282095"/>
              <a:gd name="connsiteX4882" fmla="*/ 5770182 w 7714416"/>
              <a:gd name="connsiteY4882" fmla="*/ 4654979 h 5282095"/>
              <a:gd name="connsiteX4883" fmla="*/ 5773047 w 7714416"/>
              <a:gd name="connsiteY4883" fmla="*/ 4658645 h 5282095"/>
              <a:gd name="connsiteX4884" fmla="*/ 5771901 w 7714416"/>
              <a:gd name="connsiteY4884" fmla="*/ 4663867 h 5282095"/>
              <a:gd name="connsiteX4885" fmla="*/ 5762734 w 7714416"/>
              <a:gd name="connsiteY4885" fmla="*/ 4669976 h 5282095"/>
              <a:gd name="connsiteX4886" fmla="*/ 5749844 w 7714416"/>
              <a:gd name="connsiteY4886" fmla="*/ 4664533 h 5282095"/>
              <a:gd name="connsiteX4887" fmla="*/ 5749844 w 7714416"/>
              <a:gd name="connsiteY4887" fmla="*/ 4664422 h 5282095"/>
              <a:gd name="connsiteX4888" fmla="*/ 5749557 w 7714416"/>
              <a:gd name="connsiteY4888" fmla="*/ 4665866 h 5282095"/>
              <a:gd name="connsiteX4889" fmla="*/ 5748984 w 7714416"/>
              <a:gd name="connsiteY4889" fmla="*/ 4664756 h 5282095"/>
              <a:gd name="connsiteX4890" fmla="*/ 5749557 w 7714416"/>
              <a:gd name="connsiteY4890" fmla="*/ 4664088 h 5282095"/>
              <a:gd name="connsiteX4891" fmla="*/ 5745546 w 7714416"/>
              <a:gd name="connsiteY4891" fmla="*/ 4659090 h 5282095"/>
              <a:gd name="connsiteX4892" fmla="*/ 5745546 w 7714416"/>
              <a:gd name="connsiteY4892" fmla="*/ 4654202 h 5282095"/>
              <a:gd name="connsiteX4893" fmla="*/ 5748698 w 7714416"/>
              <a:gd name="connsiteY4893" fmla="*/ 4652536 h 5282095"/>
              <a:gd name="connsiteX4894" fmla="*/ 5744400 w 7714416"/>
              <a:gd name="connsiteY4894" fmla="*/ 4645871 h 5282095"/>
              <a:gd name="connsiteX4895" fmla="*/ 5735235 w 7714416"/>
              <a:gd name="connsiteY4895" fmla="*/ 4619433 h 5282095"/>
              <a:gd name="connsiteX4896" fmla="*/ 5762734 w 7714416"/>
              <a:gd name="connsiteY4896" fmla="*/ 4614768 h 5282095"/>
              <a:gd name="connsiteX4897" fmla="*/ 5897086 w 7714416"/>
              <a:gd name="connsiteY4897" fmla="*/ 4613545 h 5282095"/>
              <a:gd name="connsiteX4898" fmla="*/ 5904249 w 7714416"/>
              <a:gd name="connsiteY4898" fmla="*/ 4616323 h 5282095"/>
              <a:gd name="connsiteX4899" fmla="*/ 5903388 w 7714416"/>
              <a:gd name="connsiteY4899" fmla="*/ 4617878 h 5282095"/>
              <a:gd name="connsiteX4900" fmla="*/ 5897086 w 7714416"/>
              <a:gd name="connsiteY4900" fmla="*/ 4613545 h 5282095"/>
              <a:gd name="connsiteX4901" fmla="*/ 2518813 w 7714416"/>
              <a:gd name="connsiteY4901" fmla="*/ 4613214 h 5282095"/>
              <a:gd name="connsiteX4902" fmla="*/ 2531704 w 7714416"/>
              <a:gd name="connsiteY4902" fmla="*/ 4615212 h 5282095"/>
              <a:gd name="connsiteX4903" fmla="*/ 2536860 w 7714416"/>
              <a:gd name="connsiteY4903" fmla="*/ 4619211 h 5282095"/>
              <a:gd name="connsiteX4904" fmla="*/ 2514515 w 7714416"/>
              <a:gd name="connsiteY4904" fmla="*/ 4645204 h 5282095"/>
              <a:gd name="connsiteX4905" fmla="*/ 2480713 w 7714416"/>
              <a:gd name="connsiteY4905" fmla="*/ 4633540 h 5282095"/>
              <a:gd name="connsiteX4906" fmla="*/ 2518813 w 7714416"/>
              <a:gd name="connsiteY4906" fmla="*/ 4613214 h 5282095"/>
              <a:gd name="connsiteX4907" fmla="*/ 2301386 w 7714416"/>
              <a:gd name="connsiteY4907" fmla="*/ 4611991 h 5282095"/>
              <a:gd name="connsiteX4908" fmla="*/ 2318001 w 7714416"/>
              <a:gd name="connsiteY4908" fmla="*/ 4618878 h 5282095"/>
              <a:gd name="connsiteX4909" fmla="*/ 2316569 w 7714416"/>
              <a:gd name="connsiteY4909" fmla="*/ 4623099 h 5282095"/>
              <a:gd name="connsiteX4910" fmla="*/ 2284198 w 7714416"/>
              <a:gd name="connsiteY4910" fmla="*/ 4622877 h 5282095"/>
              <a:gd name="connsiteX4911" fmla="*/ 2283340 w 7714416"/>
              <a:gd name="connsiteY4911" fmla="*/ 4619212 h 5282095"/>
              <a:gd name="connsiteX4912" fmla="*/ 2301386 w 7714416"/>
              <a:gd name="connsiteY4912" fmla="*/ 4611991 h 5282095"/>
              <a:gd name="connsiteX4913" fmla="*/ 5916567 w 7714416"/>
              <a:gd name="connsiteY4913" fmla="*/ 4611546 h 5282095"/>
              <a:gd name="connsiteX4914" fmla="*/ 5926306 w 7714416"/>
              <a:gd name="connsiteY4914" fmla="*/ 4615433 h 5282095"/>
              <a:gd name="connsiteX4915" fmla="*/ 5917712 w 7714416"/>
              <a:gd name="connsiteY4915" fmla="*/ 4620988 h 5282095"/>
              <a:gd name="connsiteX4916" fmla="*/ 5911696 w 7714416"/>
              <a:gd name="connsiteY4916" fmla="*/ 4613102 h 5282095"/>
              <a:gd name="connsiteX4917" fmla="*/ 5916567 w 7714416"/>
              <a:gd name="connsiteY4917" fmla="*/ 4611546 h 5282095"/>
              <a:gd name="connsiteX4918" fmla="*/ 2644285 w 7714416"/>
              <a:gd name="connsiteY4918" fmla="*/ 4610769 h 5282095"/>
              <a:gd name="connsiteX4919" fmla="*/ 2648868 w 7714416"/>
              <a:gd name="connsiteY4919" fmla="*/ 4610769 h 5282095"/>
              <a:gd name="connsiteX4920" fmla="*/ 2648581 w 7714416"/>
              <a:gd name="connsiteY4920" fmla="*/ 4614435 h 5282095"/>
              <a:gd name="connsiteX4921" fmla="*/ 2641420 w 7714416"/>
              <a:gd name="connsiteY4921" fmla="*/ 4614990 h 5282095"/>
              <a:gd name="connsiteX4922" fmla="*/ 2639987 w 7714416"/>
              <a:gd name="connsiteY4922" fmla="*/ 4611546 h 5282095"/>
              <a:gd name="connsiteX4923" fmla="*/ 2644285 w 7714416"/>
              <a:gd name="connsiteY4923" fmla="*/ 4610769 h 5282095"/>
              <a:gd name="connsiteX4924" fmla="*/ 5023370 w 7714416"/>
              <a:gd name="connsiteY4924" fmla="*/ 4610768 h 5282095"/>
              <a:gd name="connsiteX4925" fmla="*/ 5023084 w 7714416"/>
              <a:gd name="connsiteY4925" fmla="*/ 4614434 h 5282095"/>
              <a:gd name="connsiteX4926" fmla="*/ 5015923 w 7714416"/>
              <a:gd name="connsiteY4926" fmla="*/ 4614990 h 5282095"/>
              <a:gd name="connsiteX4927" fmla="*/ 5014490 w 7714416"/>
              <a:gd name="connsiteY4927" fmla="*/ 4611547 h 5282095"/>
              <a:gd name="connsiteX4928" fmla="*/ 5018786 w 7714416"/>
              <a:gd name="connsiteY4928" fmla="*/ 4610769 h 5282095"/>
              <a:gd name="connsiteX4929" fmla="*/ 5023370 w 7714416"/>
              <a:gd name="connsiteY4929" fmla="*/ 4610768 h 5282095"/>
              <a:gd name="connsiteX4930" fmla="*/ 6122534 w 7714416"/>
              <a:gd name="connsiteY4930" fmla="*/ 4608103 h 5282095"/>
              <a:gd name="connsiteX4931" fmla="*/ 6126830 w 7714416"/>
              <a:gd name="connsiteY4931" fmla="*/ 4609547 h 5282095"/>
              <a:gd name="connsiteX4932" fmla="*/ 6128263 w 7714416"/>
              <a:gd name="connsiteY4932" fmla="*/ 4611990 h 5282095"/>
              <a:gd name="connsiteX4933" fmla="*/ 6114799 w 7714416"/>
              <a:gd name="connsiteY4933" fmla="*/ 4612768 h 5282095"/>
              <a:gd name="connsiteX4934" fmla="*/ 6113366 w 7714416"/>
              <a:gd name="connsiteY4934" fmla="*/ 4610324 h 5282095"/>
              <a:gd name="connsiteX4935" fmla="*/ 6116804 w 7714416"/>
              <a:gd name="connsiteY4935" fmla="*/ 4608325 h 5282095"/>
              <a:gd name="connsiteX4936" fmla="*/ 6122534 w 7714416"/>
              <a:gd name="connsiteY4936" fmla="*/ 4608103 h 5282095"/>
              <a:gd name="connsiteX4937" fmla="*/ 5622367 w 7714416"/>
              <a:gd name="connsiteY4937" fmla="*/ 4607881 h 5282095"/>
              <a:gd name="connsiteX4938" fmla="*/ 5639555 w 7714416"/>
              <a:gd name="connsiteY4938" fmla="*/ 4615323 h 5282095"/>
              <a:gd name="connsiteX4939" fmla="*/ 5618643 w 7714416"/>
              <a:gd name="connsiteY4939" fmla="*/ 4619211 h 5282095"/>
              <a:gd name="connsiteX4940" fmla="*/ 5622367 w 7714416"/>
              <a:gd name="connsiteY4940" fmla="*/ 4607881 h 5282095"/>
              <a:gd name="connsiteX4941" fmla="*/ 3247865 w 7714416"/>
              <a:gd name="connsiteY4941" fmla="*/ 4607880 h 5282095"/>
              <a:gd name="connsiteX4942" fmla="*/ 3265052 w 7714416"/>
              <a:gd name="connsiteY4942" fmla="*/ 4615322 h 5282095"/>
              <a:gd name="connsiteX4943" fmla="*/ 3243854 w 7714416"/>
              <a:gd name="connsiteY4943" fmla="*/ 4619212 h 5282095"/>
              <a:gd name="connsiteX4944" fmla="*/ 3247865 w 7714416"/>
              <a:gd name="connsiteY4944" fmla="*/ 4607880 h 5282095"/>
              <a:gd name="connsiteX4945" fmla="*/ 3291407 w 7714416"/>
              <a:gd name="connsiteY4945" fmla="*/ 4607437 h 5282095"/>
              <a:gd name="connsiteX4946" fmla="*/ 3316330 w 7714416"/>
              <a:gd name="connsiteY4946" fmla="*/ 4615434 h 5282095"/>
              <a:gd name="connsiteX4947" fmla="*/ 3282813 w 7714416"/>
              <a:gd name="connsiteY4947" fmla="*/ 4609880 h 5282095"/>
              <a:gd name="connsiteX4948" fmla="*/ 3291407 w 7714416"/>
              <a:gd name="connsiteY4948" fmla="*/ 4607437 h 5282095"/>
              <a:gd name="connsiteX4949" fmla="*/ 2662617 w 7714416"/>
              <a:gd name="connsiteY4949" fmla="*/ 4607436 h 5282095"/>
              <a:gd name="connsiteX4950" fmla="*/ 2667487 w 7714416"/>
              <a:gd name="connsiteY4950" fmla="*/ 4608547 h 5282095"/>
              <a:gd name="connsiteX4951" fmla="*/ 2665482 w 7714416"/>
              <a:gd name="connsiteY4951" fmla="*/ 4611324 h 5282095"/>
              <a:gd name="connsiteX4952" fmla="*/ 2659753 w 7714416"/>
              <a:gd name="connsiteY4952" fmla="*/ 4611547 h 5282095"/>
              <a:gd name="connsiteX4953" fmla="*/ 2659181 w 7714416"/>
              <a:gd name="connsiteY4953" fmla="*/ 4610547 h 5282095"/>
              <a:gd name="connsiteX4954" fmla="*/ 2662617 w 7714416"/>
              <a:gd name="connsiteY4954" fmla="*/ 4607436 h 5282095"/>
              <a:gd name="connsiteX4955" fmla="*/ 5407232 w 7714416"/>
              <a:gd name="connsiteY4955" fmla="*/ 4605882 h 5282095"/>
              <a:gd name="connsiteX4956" fmla="*/ 5413821 w 7714416"/>
              <a:gd name="connsiteY4956" fmla="*/ 4608103 h 5282095"/>
              <a:gd name="connsiteX4957" fmla="*/ 5416112 w 7714416"/>
              <a:gd name="connsiteY4957" fmla="*/ 4612546 h 5282095"/>
              <a:gd name="connsiteX4958" fmla="*/ 5411529 w 7714416"/>
              <a:gd name="connsiteY4958" fmla="*/ 4612990 h 5282095"/>
              <a:gd name="connsiteX4959" fmla="*/ 5410097 w 7714416"/>
              <a:gd name="connsiteY4959" fmla="*/ 4615768 h 5282095"/>
              <a:gd name="connsiteX4960" fmla="*/ 5408664 w 7714416"/>
              <a:gd name="connsiteY4960" fmla="*/ 4615546 h 5282095"/>
              <a:gd name="connsiteX4961" fmla="*/ 5406659 w 7714416"/>
              <a:gd name="connsiteY4961" fmla="*/ 4613546 h 5282095"/>
              <a:gd name="connsiteX4962" fmla="*/ 5406086 w 7714416"/>
              <a:gd name="connsiteY4962" fmla="*/ 4613545 h 5282095"/>
              <a:gd name="connsiteX4963" fmla="*/ 5400070 w 7714416"/>
              <a:gd name="connsiteY4963" fmla="*/ 4609880 h 5282095"/>
              <a:gd name="connsiteX4964" fmla="*/ 5407232 w 7714416"/>
              <a:gd name="connsiteY4964" fmla="*/ 4605882 h 5282095"/>
              <a:gd name="connsiteX4965" fmla="*/ 3032443 w 7714416"/>
              <a:gd name="connsiteY4965" fmla="*/ 4605881 h 5282095"/>
              <a:gd name="connsiteX4966" fmla="*/ 3039318 w 7714416"/>
              <a:gd name="connsiteY4966" fmla="*/ 4608103 h 5282095"/>
              <a:gd name="connsiteX4967" fmla="*/ 3041610 w 7714416"/>
              <a:gd name="connsiteY4967" fmla="*/ 4612547 h 5282095"/>
              <a:gd name="connsiteX4968" fmla="*/ 3037026 w 7714416"/>
              <a:gd name="connsiteY4968" fmla="*/ 4612990 h 5282095"/>
              <a:gd name="connsiteX4969" fmla="*/ 3035594 w 7714416"/>
              <a:gd name="connsiteY4969" fmla="*/ 4615768 h 5282095"/>
              <a:gd name="connsiteX4970" fmla="*/ 3033875 w 7714416"/>
              <a:gd name="connsiteY4970" fmla="*/ 4615545 h 5282095"/>
              <a:gd name="connsiteX4971" fmla="*/ 3032157 w 7714416"/>
              <a:gd name="connsiteY4971" fmla="*/ 4613545 h 5282095"/>
              <a:gd name="connsiteX4972" fmla="*/ 3031583 w 7714416"/>
              <a:gd name="connsiteY4972" fmla="*/ 4613546 h 5282095"/>
              <a:gd name="connsiteX4973" fmla="*/ 3025569 w 7714416"/>
              <a:gd name="connsiteY4973" fmla="*/ 4609880 h 5282095"/>
              <a:gd name="connsiteX4974" fmla="*/ 3032443 w 7714416"/>
              <a:gd name="connsiteY4974" fmla="*/ 4605881 h 5282095"/>
              <a:gd name="connsiteX4975" fmla="*/ 2501051 w 7714416"/>
              <a:gd name="connsiteY4975" fmla="*/ 4605437 h 5282095"/>
              <a:gd name="connsiteX4976" fmla="*/ 2512225 w 7714416"/>
              <a:gd name="connsiteY4976" fmla="*/ 4607547 h 5282095"/>
              <a:gd name="connsiteX4977" fmla="*/ 2501911 w 7714416"/>
              <a:gd name="connsiteY4977" fmla="*/ 4614990 h 5282095"/>
              <a:gd name="connsiteX4978" fmla="*/ 2489879 w 7714416"/>
              <a:gd name="connsiteY4978" fmla="*/ 4608547 h 5282095"/>
              <a:gd name="connsiteX4979" fmla="*/ 2501051 w 7714416"/>
              <a:gd name="connsiteY4979" fmla="*/ 4605437 h 5282095"/>
              <a:gd name="connsiteX4980" fmla="*/ 5920004 w 7714416"/>
              <a:gd name="connsiteY4980" fmla="*/ 4599772 h 5282095"/>
              <a:gd name="connsiteX4981" fmla="*/ 5922008 w 7714416"/>
              <a:gd name="connsiteY4981" fmla="*/ 4600215 h 5282095"/>
              <a:gd name="connsiteX4982" fmla="*/ 5921436 w 7714416"/>
              <a:gd name="connsiteY4982" fmla="*/ 4601549 h 5282095"/>
              <a:gd name="connsiteX4983" fmla="*/ 5920004 w 7714416"/>
              <a:gd name="connsiteY4983" fmla="*/ 4599772 h 5282095"/>
              <a:gd name="connsiteX4984" fmla="*/ 5062042 w 7714416"/>
              <a:gd name="connsiteY4984" fmla="*/ 4599328 h 5282095"/>
              <a:gd name="connsiteX4985" fmla="*/ 5070064 w 7714416"/>
              <a:gd name="connsiteY4985" fmla="*/ 4600105 h 5282095"/>
              <a:gd name="connsiteX4986" fmla="*/ 5064335 w 7714416"/>
              <a:gd name="connsiteY4986" fmla="*/ 4603104 h 5282095"/>
              <a:gd name="connsiteX4987" fmla="*/ 5070064 w 7714416"/>
              <a:gd name="connsiteY4987" fmla="*/ 4606325 h 5282095"/>
              <a:gd name="connsiteX4988" fmla="*/ 5050298 w 7714416"/>
              <a:gd name="connsiteY4988" fmla="*/ 4610102 h 5282095"/>
              <a:gd name="connsiteX4989" fmla="*/ 5041705 w 7714416"/>
              <a:gd name="connsiteY4989" fmla="*/ 4608991 h 5282095"/>
              <a:gd name="connsiteX4990" fmla="*/ 5039985 w 7714416"/>
              <a:gd name="connsiteY4990" fmla="*/ 4611324 h 5282095"/>
              <a:gd name="connsiteX4991" fmla="*/ 5034256 w 7714416"/>
              <a:gd name="connsiteY4991" fmla="*/ 4611547 h 5282095"/>
              <a:gd name="connsiteX4992" fmla="*/ 5033682 w 7714416"/>
              <a:gd name="connsiteY4992" fmla="*/ 4610547 h 5282095"/>
              <a:gd name="connsiteX4993" fmla="*/ 5037120 w 7714416"/>
              <a:gd name="connsiteY4993" fmla="*/ 4607437 h 5282095"/>
              <a:gd name="connsiteX4994" fmla="*/ 5037693 w 7714416"/>
              <a:gd name="connsiteY4994" fmla="*/ 4607548 h 5282095"/>
              <a:gd name="connsiteX4995" fmla="*/ 5043422 w 7714416"/>
              <a:gd name="connsiteY4995" fmla="*/ 4603771 h 5282095"/>
              <a:gd name="connsiteX4996" fmla="*/ 5053449 w 7714416"/>
              <a:gd name="connsiteY4996" fmla="*/ 4601772 h 5282095"/>
              <a:gd name="connsiteX4997" fmla="*/ 5058032 w 7714416"/>
              <a:gd name="connsiteY4997" fmla="*/ 4602104 h 5282095"/>
              <a:gd name="connsiteX4998" fmla="*/ 2687540 w 7714416"/>
              <a:gd name="connsiteY4998" fmla="*/ 4599327 h 5282095"/>
              <a:gd name="connsiteX4999" fmla="*/ 2695561 w 7714416"/>
              <a:gd name="connsiteY4999" fmla="*/ 4600105 h 5282095"/>
              <a:gd name="connsiteX5000" fmla="*/ 2681238 w 7714416"/>
              <a:gd name="connsiteY5000" fmla="*/ 4603659 h 5282095"/>
              <a:gd name="connsiteX5001" fmla="*/ 2687540 w 7714416"/>
              <a:gd name="connsiteY5001" fmla="*/ 4599327 h 5282095"/>
              <a:gd name="connsiteX5002" fmla="*/ 2529411 w 7714416"/>
              <a:gd name="connsiteY5002" fmla="*/ 4598217 h 5282095"/>
              <a:gd name="connsiteX5003" fmla="*/ 2536287 w 7714416"/>
              <a:gd name="connsiteY5003" fmla="*/ 4601993 h 5282095"/>
              <a:gd name="connsiteX5004" fmla="*/ 2527406 w 7714416"/>
              <a:gd name="connsiteY5004" fmla="*/ 4604326 h 5282095"/>
              <a:gd name="connsiteX5005" fmla="*/ 2529411 w 7714416"/>
              <a:gd name="connsiteY5005" fmla="*/ 4598217 h 5282095"/>
              <a:gd name="connsiteX5006" fmla="*/ 2255839 w 7714416"/>
              <a:gd name="connsiteY5006" fmla="*/ 4597328 h 5282095"/>
              <a:gd name="connsiteX5007" fmla="*/ 2273885 w 7714416"/>
              <a:gd name="connsiteY5007" fmla="*/ 4606103 h 5282095"/>
              <a:gd name="connsiteX5008" fmla="*/ 2268729 w 7714416"/>
              <a:gd name="connsiteY5008" fmla="*/ 4605992 h 5282095"/>
              <a:gd name="connsiteX5009" fmla="*/ 2250968 w 7714416"/>
              <a:gd name="connsiteY5009" fmla="*/ 4597328 h 5282095"/>
              <a:gd name="connsiteX5010" fmla="*/ 2255839 w 7714416"/>
              <a:gd name="connsiteY5010" fmla="*/ 4597328 h 5282095"/>
              <a:gd name="connsiteX5011" fmla="*/ 6276365 w 7714416"/>
              <a:gd name="connsiteY5011" fmla="*/ 4595328 h 5282095"/>
              <a:gd name="connsiteX5012" fmla="*/ 6283240 w 7714416"/>
              <a:gd name="connsiteY5012" fmla="*/ 4596105 h 5282095"/>
              <a:gd name="connsiteX5013" fmla="*/ 6267771 w 7714416"/>
              <a:gd name="connsiteY5013" fmla="*/ 4610213 h 5282095"/>
              <a:gd name="connsiteX5014" fmla="*/ 6260610 w 7714416"/>
              <a:gd name="connsiteY5014" fmla="*/ 4605881 h 5282095"/>
              <a:gd name="connsiteX5015" fmla="*/ 6276365 w 7714416"/>
              <a:gd name="connsiteY5015" fmla="*/ 4595328 h 5282095"/>
              <a:gd name="connsiteX5016" fmla="*/ 5692264 w 7714416"/>
              <a:gd name="connsiteY5016" fmla="*/ 4592995 h 5282095"/>
              <a:gd name="connsiteX5017" fmla="*/ 5706301 w 7714416"/>
              <a:gd name="connsiteY5017" fmla="*/ 4603771 h 5282095"/>
              <a:gd name="connsiteX5018" fmla="*/ 5688540 w 7714416"/>
              <a:gd name="connsiteY5018" fmla="*/ 4607103 h 5282095"/>
              <a:gd name="connsiteX5019" fmla="*/ 5692264 w 7714416"/>
              <a:gd name="connsiteY5019" fmla="*/ 4592995 h 5282095"/>
              <a:gd name="connsiteX5020" fmla="*/ 5502911 w 7714416"/>
              <a:gd name="connsiteY5020" fmla="*/ 4590329 h 5282095"/>
              <a:gd name="connsiteX5021" fmla="*/ 5534996 w 7714416"/>
              <a:gd name="connsiteY5021" fmla="*/ 4608325 h 5282095"/>
              <a:gd name="connsiteX5022" fmla="*/ 5534709 w 7714416"/>
              <a:gd name="connsiteY5022" fmla="*/ 4613879 h 5282095"/>
              <a:gd name="connsiteX5023" fmla="*/ 5534995 w 7714416"/>
              <a:gd name="connsiteY5023" fmla="*/ 4613991 h 5282095"/>
              <a:gd name="connsiteX5024" fmla="*/ 5534422 w 7714416"/>
              <a:gd name="connsiteY5024" fmla="*/ 4616212 h 5282095"/>
              <a:gd name="connsiteX5025" fmla="*/ 5534422 w 7714416"/>
              <a:gd name="connsiteY5025" fmla="*/ 4617988 h 5282095"/>
              <a:gd name="connsiteX5026" fmla="*/ 5526401 w 7714416"/>
              <a:gd name="connsiteY5026" fmla="*/ 4632541 h 5282095"/>
              <a:gd name="connsiteX5027" fmla="*/ 5520099 w 7714416"/>
              <a:gd name="connsiteY5027" fmla="*/ 4644427 h 5282095"/>
              <a:gd name="connsiteX5028" fmla="*/ 5520958 w 7714416"/>
              <a:gd name="connsiteY5028" fmla="*/ 4644761 h 5282095"/>
              <a:gd name="connsiteX5029" fmla="*/ 5520672 w 7714416"/>
              <a:gd name="connsiteY5029" fmla="*/ 4660534 h 5282095"/>
              <a:gd name="connsiteX5030" fmla="*/ 5518953 w 7714416"/>
              <a:gd name="connsiteY5030" fmla="*/ 4666199 h 5282095"/>
              <a:gd name="connsiteX5031" fmla="*/ 5520672 w 7714416"/>
              <a:gd name="connsiteY5031" fmla="*/ 4666200 h 5282095"/>
              <a:gd name="connsiteX5032" fmla="*/ 5521818 w 7714416"/>
              <a:gd name="connsiteY5032" fmla="*/ 4666754 h 5282095"/>
              <a:gd name="connsiteX5033" fmla="*/ 5521819 w 7714416"/>
              <a:gd name="connsiteY5033" fmla="*/ 4667977 h 5282095"/>
              <a:gd name="connsiteX5034" fmla="*/ 5518667 w 7714416"/>
              <a:gd name="connsiteY5034" fmla="*/ 4668309 h 5282095"/>
              <a:gd name="connsiteX5035" fmla="*/ 5518380 w 7714416"/>
              <a:gd name="connsiteY5035" fmla="*/ 4668087 h 5282095"/>
              <a:gd name="connsiteX5036" fmla="*/ 5516948 w 7714416"/>
              <a:gd name="connsiteY5036" fmla="*/ 4671975 h 5282095"/>
              <a:gd name="connsiteX5037" fmla="*/ 5483145 w 7714416"/>
              <a:gd name="connsiteY5037" fmla="*/ 4676863 h 5282095"/>
              <a:gd name="connsiteX5038" fmla="*/ 5479994 w 7714416"/>
              <a:gd name="connsiteY5038" fmla="*/ 4675308 h 5282095"/>
              <a:gd name="connsiteX5039" fmla="*/ 5479421 w 7714416"/>
              <a:gd name="connsiteY5039" fmla="*/ 4676641 h 5282095"/>
              <a:gd name="connsiteX5040" fmla="*/ 5472260 w 7714416"/>
              <a:gd name="connsiteY5040" fmla="*/ 4675864 h 5282095"/>
              <a:gd name="connsiteX5041" fmla="*/ 5471974 w 7714416"/>
              <a:gd name="connsiteY5041" fmla="*/ 4674308 h 5282095"/>
              <a:gd name="connsiteX5042" fmla="*/ 5464525 w 7714416"/>
              <a:gd name="connsiteY5042" fmla="*/ 4674086 h 5282095"/>
              <a:gd name="connsiteX5043" fmla="*/ 5461947 w 7714416"/>
              <a:gd name="connsiteY5043" fmla="*/ 4662644 h 5282095"/>
              <a:gd name="connsiteX5044" fmla="*/ 5463666 w 7714416"/>
              <a:gd name="connsiteY5044" fmla="*/ 4660534 h 5282095"/>
              <a:gd name="connsiteX5045" fmla="*/ 5463952 w 7714416"/>
              <a:gd name="connsiteY5045" fmla="*/ 4654202 h 5282095"/>
              <a:gd name="connsiteX5046" fmla="*/ 5469681 w 7714416"/>
              <a:gd name="connsiteY5046" fmla="*/ 4647204 h 5282095"/>
              <a:gd name="connsiteX5047" fmla="*/ 5476843 w 7714416"/>
              <a:gd name="connsiteY5047" fmla="*/ 4643427 h 5282095"/>
              <a:gd name="connsiteX5048" fmla="*/ 5475697 w 7714416"/>
              <a:gd name="connsiteY5048" fmla="*/ 4642538 h 5282095"/>
              <a:gd name="connsiteX5049" fmla="*/ 5475124 w 7714416"/>
              <a:gd name="connsiteY5049" fmla="*/ 4635984 h 5282095"/>
              <a:gd name="connsiteX5050" fmla="*/ 5475124 w 7714416"/>
              <a:gd name="connsiteY5050" fmla="*/ 4635429 h 5282095"/>
              <a:gd name="connsiteX5051" fmla="*/ 5469968 w 7714416"/>
              <a:gd name="connsiteY5051" fmla="*/ 4632652 h 5282095"/>
              <a:gd name="connsiteX5052" fmla="*/ 5465671 w 7714416"/>
              <a:gd name="connsiteY5052" fmla="*/ 4627987 h 5282095"/>
              <a:gd name="connsiteX5053" fmla="*/ 5463952 w 7714416"/>
              <a:gd name="connsiteY5053" fmla="*/ 4621655 h 5282095"/>
              <a:gd name="connsiteX5054" fmla="*/ 5459942 w 7714416"/>
              <a:gd name="connsiteY5054" fmla="*/ 4620877 h 5282095"/>
              <a:gd name="connsiteX5055" fmla="*/ 5468536 w 7714416"/>
              <a:gd name="connsiteY5055" fmla="*/ 4604214 h 5282095"/>
              <a:gd name="connsiteX5056" fmla="*/ 5469681 w 7714416"/>
              <a:gd name="connsiteY5056" fmla="*/ 4604659 h 5282095"/>
              <a:gd name="connsiteX5057" fmla="*/ 5475984 w 7714416"/>
              <a:gd name="connsiteY5057" fmla="*/ 4598994 h 5282095"/>
              <a:gd name="connsiteX5058" fmla="*/ 5502911 w 7714416"/>
              <a:gd name="connsiteY5058" fmla="*/ 4590329 h 5282095"/>
              <a:gd name="connsiteX5059" fmla="*/ 5858700 w 7714416"/>
              <a:gd name="connsiteY5059" fmla="*/ 4589774 h 5282095"/>
              <a:gd name="connsiteX5060" fmla="*/ 5873597 w 7714416"/>
              <a:gd name="connsiteY5060" fmla="*/ 4592884 h 5282095"/>
              <a:gd name="connsiteX5061" fmla="*/ 5874742 w 7714416"/>
              <a:gd name="connsiteY5061" fmla="*/ 4595439 h 5282095"/>
              <a:gd name="connsiteX5062" fmla="*/ 5870445 w 7714416"/>
              <a:gd name="connsiteY5062" fmla="*/ 4596994 h 5282095"/>
              <a:gd name="connsiteX5063" fmla="*/ 5858700 w 7714416"/>
              <a:gd name="connsiteY5063" fmla="*/ 4589774 h 5282095"/>
              <a:gd name="connsiteX5064" fmla="*/ 6060944 w 7714416"/>
              <a:gd name="connsiteY5064" fmla="*/ 4589774 h 5282095"/>
              <a:gd name="connsiteX5065" fmla="*/ 6066960 w 7714416"/>
              <a:gd name="connsiteY5065" fmla="*/ 4591996 h 5282095"/>
              <a:gd name="connsiteX5066" fmla="*/ 6043756 w 7714416"/>
              <a:gd name="connsiteY5066" fmla="*/ 4602660 h 5282095"/>
              <a:gd name="connsiteX5067" fmla="*/ 6039459 w 7714416"/>
              <a:gd name="connsiteY5067" fmla="*/ 4595883 h 5282095"/>
              <a:gd name="connsiteX5068" fmla="*/ 6060944 w 7714416"/>
              <a:gd name="connsiteY5068" fmla="*/ 4589774 h 5282095"/>
              <a:gd name="connsiteX5069" fmla="*/ 3034449 w 7714416"/>
              <a:gd name="connsiteY5069" fmla="*/ 4589219 h 5282095"/>
              <a:gd name="connsiteX5070" fmla="*/ 3036454 w 7714416"/>
              <a:gd name="connsiteY5070" fmla="*/ 4593884 h 5282095"/>
              <a:gd name="connsiteX5071" fmla="*/ 3034448 w 7714416"/>
              <a:gd name="connsiteY5071" fmla="*/ 4597327 h 5282095"/>
              <a:gd name="connsiteX5072" fmla="*/ 3046480 w 7714416"/>
              <a:gd name="connsiteY5072" fmla="*/ 4598772 h 5282095"/>
              <a:gd name="connsiteX5073" fmla="*/ 3055646 w 7714416"/>
              <a:gd name="connsiteY5073" fmla="*/ 4601438 h 5282095"/>
              <a:gd name="connsiteX5074" fmla="*/ 3056220 w 7714416"/>
              <a:gd name="connsiteY5074" fmla="*/ 4606659 h 5282095"/>
              <a:gd name="connsiteX5075" fmla="*/ 3031870 w 7714416"/>
              <a:gd name="connsiteY5075" fmla="*/ 4596883 h 5282095"/>
              <a:gd name="connsiteX5076" fmla="*/ 3032156 w 7714416"/>
              <a:gd name="connsiteY5076" fmla="*/ 4596883 h 5282095"/>
              <a:gd name="connsiteX5077" fmla="*/ 3030151 w 7714416"/>
              <a:gd name="connsiteY5077" fmla="*/ 4593662 h 5282095"/>
              <a:gd name="connsiteX5078" fmla="*/ 3034449 w 7714416"/>
              <a:gd name="connsiteY5078" fmla="*/ 4589219 h 5282095"/>
              <a:gd name="connsiteX5079" fmla="*/ 5408951 w 7714416"/>
              <a:gd name="connsiteY5079" fmla="*/ 4589219 h 5282095"/>
              <a:gd name="connsiteX5080" fmla="*/ 5410956 w 7714416"/>
              <a:gd name="connsiteY5080" fmla="*/ 4593884 h 5282095"/>
              <a:gd name="connsiteX5081" fmla="*/ 5409237 w 7714416"/>
              <a:gd name="connsiteY5081" fmla="*/ 4597328 h 5282095"/>
              <a:gd name="connsiteX5082" fmla="*/ 5420982 w 7714416"/>
              <a:gd name="connsiteY5082" fmla="*/ 4598772 h 5282095"/>
              <a:gd name="connsiteX5083" fmla="*/ 5430436 w 7714416"/>
              <a:gd name="connsiteY5083" fmla="*/ 4601438 h 5282095"/>
              <a:gd name="connsiteX5084" fmla="*/ 5430722 w 7714416"/>
              <a:gd name="connsiteY5084" fmla="*/ 4606659 h 5282095"/>
              <a:gd name="connsiteX5085" fmla="*/ 5406373 w 7714416"/>
              <a:gd name="connsiteY5085" fmla="*/ 4596883 h 5282095"/>
              <a:gd name="connsiteX5086" fmla="*/ 5406659 w 7714416"/>
              <a:gd name="connsiteY5086" fmla="*/ 4596883 h 5282095"/>
              <a:gd name="connsiteX5087" fmla="*/ 5404654 w 7714416"/>
              <a:gd name="connsiteY5087" fmla="*/ 4593662 h 5282095"/>
              <a:gd name="connsiteX5088" fmla="*/ 5408951 w 7714416"/>
              <a:gd name="connsiteY5088" fmla="*/ 4589219 h 5282095"/>
              <a:gd name="connsiteX5089" fmla="*/ 2412820 w 7714416"/>
              <a:gd name="connsiteY5089" fmla="*/ 4588996 h 5282095"/>
              <a:gd name="connsiteX5090" fmla="*/ 2414253 w 7714416"/>
              <a:gd name="connsiteY5090" fmla="*/ 4589663 h 5282095"/>
              <a:gd name="connsiteX5091" fmla="*/ 2411102 w 7714416"/>
              <a:gd name="connsiteY5091" fmla="*/ 4589330 h 5282095"/>
              <a:gd name="connsiteX5092" fmla="*/ 2412820 w 7714416"/>
              <a:gd name="connsiteY5092" fmla="*/ 4588996 h 5282095"/>
              <a:gd name="connsiteX5093" fmla="*/ 5296084 w 7714416"/>
              <a:gd name="connsiteY5093" fmla="*/ 4587996 h 5282095"/>
              <a:gd name="connsiteX5094" fmla="*/ 5300381 w 7714416"/>
              <a:gd name="connsiteY5094" fmla="*/ 4588330 h 5282095"/>
              <a:gd name="connsiteX5095" fmla="*/ 5289782 w 7714416"/>
              <a:gd name="connsiteY5095" fmla="*/ 4593662 h 5282095"/>
              <a:gd name="connsiteX5096" fmla="*/ 5286630 w 7714416"/>
              <a:gd name="connsiteY5096" fmla="*/ 4592996 h 5282095"/>
              <a:gd name="connsiteX5097" fmla="*/ 5296084 w 7714416"/>
              <a:gd name="connsiteY5097" fmla="*/ 4587996 h 5282095"/>
              <a:gd name="connsiteX5098" fmla="*/ 2921295 w 7714416"/>
              <a:gd name="connsiteY5098" fmla="*/ 4587996 h 5282095"/>
              <a:gd name="connsiteX5099" fmla="*/ 2925878 w 7714416"/>
              <a:gd name="connsiteY5099" fmla="*/ 4588330 h 5282095"/>
              <a:gd name="connsiteX5100" fmla="*/ 2915279 w 7714416"/>
              <a:gd name="connsiteY5100" fmla="*/ 4593661 h 5282095"/>
              <a:gd name="connsiteX5101" fmla="*/ 2912128 w 7714416"/>
              <a:gd name="connsiteY5101" fmla="*/ 4592995 h 5282095"/>
              <a:gd name="connsiteX5102" fmla="*/ 2921295 w 7714416"/>
              <a:gd name="connsiteY5102" fmla="*/ 4587996 h 5282095"/>
              <a:gd name="connsiteX5103" fmla="*/ 2477275 w 7714416"/>
              <a:gd name="connsiteY5103" fmla="*/ 4587442 h 5282095"/>
              <a:gd name="connsiteX5104" fmla="*/ 2467249 w 7714416"/>
              <a:gd name="connsiteY5104" fmla="*/ 4602104 h 5282095"/>
              <a:gd name="connsiteX5105" fmla="*/ 2460088 w 7714416"/>
              <a:gd name="connsiteY5105" fmla="*/ 4599327 h 5282095"/>
              <a:gd name="connsiteX5106" fmla="*/ 2458942 w 7714416"/>
              <a:gd name="connsiteY5106" fmla="*/ 4589219 h 5282095"/>
              <a:gd name="connsiteX5107" fmla="*/ 2477275 w 7714416"/>
              <a:gd name="connsiteY5107" fmla="*/ 4587442 h 5282095"/>
              <a:gd name="connsiteX5108" fmla="*/ 2058751 w 7714416"/>
              <a:gd name="connsiteY5108" fmla="*/ 4587219 h 5282095"/>
              <a:gd name="connsiteX5109" fmla="*/ 2060470 w 7714416"/>
              <a:gd name="connsiteY5109" fmla="*/ 4588108 h 5282095"/>
              <a:gd name="connsiteX5110" fmla="*/ 2062189 w 7714416"/>
              <a:gd name="connsiteY5110" fmla="*/ 4590885 h 5282095"/>
              <a:gd name="connsiteX5111" fmla="*/ 2059037 w 7714416"/>
              <a:gd name="connsiteY5111" fmla="*/ 4591774 h 5282095"/>
              <a:gd name="connsiteX5112" fmla="*/ 2059610 w 7714416"/>
              <a:gd name="connsiteY5112" fmla="*/ 4592884 h 5282095"/>
              <a:gd name="connsiteX5113" fmla="*/ 2055887 w 7714416"/>
              <a:gd name="connsiteY5113" fmla="*/ 4592662 h 5282095"/>
              <a:gd name="connsiteX5114" fmla="*/ 2055600 w 7714416"/>
              <a:gd name="connsiteY5114" fmla="*/ 4591663 h 5282095"/>
              <a:gd name="connsiteX5115" fmla="*/ 2055027 w 7714416"/>
              <a:gd name="connsiteY5115" fmla="*/ 4591441 h 5282095"/>
              <a:gd name="connsiteX5116" fmla="*/ 2056172 w 7714416"/>
              <a:gd name="connsiteY5116" fmla="*/ 4589108 h 5282095"/>
              <a:gd name="connsiteX5117" fmla="*/ 2058751 w 7714416"/>
              <a:gd name="connsiteY5117" fmla="*/ 4587219 h 5282095"/>
              <a:gd name="connsiteX5118" fmla="*/ 5457363 w 7714416"/>
              <a:gd name="connsiteY5118" fmla="*/ 4585774 h 5282095"/>
              <a:gd name="connsiteX5119" fmla="*/ 5457077 w 7714416"/>
              <a:gd name="connsiteY5119" fmla="*/ 4596328 h 5282095"/>
              <a:gd name="connsiteX5120" fmla="*/ 5441321 w 7714416"/>
              <a:gd name="connsiteY5120" fmla="*/ 4602104 h 5282095"/>
              <a:gd name="connsiteX5121" fmla="*/ 5436738 w 7714416"/>
              <a:gd name="connsiteY5121" fmla="*/ 4591218 h 5282095"/>
              <a:gd name="connsiteX5122" fmla="*/ 5438457 w 7714416"/>
              <a:gd name="connsiteY5122" fmla="*/ 4590108 h 5282095"/>
              <a:gd name="connsiteX5123" fmla="*/ 5457363 w 7714416"/>
              <a:gd name="connsiteY5123" fmla="*/ 4585774 h 5282095"/>
              <a:gd name="connsiteX5124" fmla="*/ 5083528 w 7714416"/>
              <a:gd name="connsiteY5124" fmla="*/ 4585664 h 5282095"/>
              <a:gd name="connsiteX5125" fmla="*/ 5100715 w 7714416"/>
              <a:gd name="connsiteY5125" fmla="*/ 4592551 h 5282095"/>
              <a:gd name="connsiteX5126" fmla="*/ 5079230 w 7714416"/>
              <a:gd name="connsiteY5126" fmla="*/ 4605215 h 5282095"/>
              <a:gd name="connsiteX5127" fmla="*/ 5075506 w 7714416"/>
              <a:gd name="connsiteY5127" fmla="*/ 4585997 h 5282095"/>
              <a:gd name="connsiteX5128" fmla="*/ 5083528 w 7714416"/>
              <a:gd name="connsiteY5128" fmla="*/ 4585664 h 5282095"/>
              <a:gd name="connsiteX5129" fmla="*/ 2708738 w 7714416"/>
              <a:gd name="connsiteY5129" fmla="*/ 4585664 h 5282095"/>
              <a:gd name="connsiteX5130" fmla="*/ 2726212 w 7714416"/>
              <a:gd name="connsiteY5130" fmla="*/ 4592551 h 5282095"/>
              <a:gd name="connsiteX5131" fmla="*/ 2704441 w 7714416"/>
              <a:gd name="connsiteY5131" fmla="*/ 4605214 h 5282095"/>
              <a:gd name="connsiteX5132" fmla="*/ 2701005 w 7714416"/>
              <a:gd name="connsiteY5132" fmla="*/ 4585998 h 5282095"/>
              <a:gd name="connsiteX5133" fmla="*/ 2708738 w 7714416"/>
              <a:gd name="connsiteY5133" fmla="*/ 4585664 h 5282095"/>
              <a:gd name="connsiteX5134" fmla="*/ 3275079 w 7714416"/>
              <a:gd name="connsiteY5134" fmla="*/ 4585109 h 5282095"/>
              <a:gd name="connsiteX5135" fmla="*/ 3277657 w 7714416"/>
              <a:gd name="connsiteY5135" fmla="*/ 4585109 h 5282095"/>
              <a:gd name="connsiteX5136" fmla="*/ 3280234 w 7714416"/>
              <a:gd name="connsiteY5136" fmla="*/ 4586219 h 5282095"/>
              <a:gd name="connsiteX5137" fmla="*/ 3283387 w 7714416"/>
              <a:gd name="connsiteY5137" fmla="*/ 4591107 h 5282095"/>
              <a:gd name="connsiteX5138" fmla="*/ 3278517 w 7714416"/>
              <a:gd name="connsiteY5138" fmla="*/ 4592107 h 5282095"/>
              <a:gd name="connsiteX5139" fmla="*/ 3282813 w 7714416"/>
              <a:gd name="connsiteY5139" fmla="*/ 4592884 h 5282095"/>
              <a:gd name="connsiteX5140" fmla="*/ 3249296 w 7714416"/>
              <a:gd name="connsiteY5140" fmla="*/ 4598661 h 5282095"/>
              <a:gd name="connsiteX5141" fmla="*/ 3260468 w 7714416"/>
              <a:gd name="connsiteY5141" fmla="*/ 4593662 h 5282095"/>
              <a:gd name="connsiteX5142" fmla="*/ 3271927 w 7714416"/>
              <a:gd name="connsiteY5142" fmla="*/ 4590885 h 5282095"/>
              <a:gd name="connsiteX5143" fmla="*/ 3269923 w 7714416"/>
              <a:gd name="connsiteY5143" fmla="*/ 4587665 h 5282095"/>
              <a:gd name="connsiteX5144" fmla="*/ 3275079 w 7714416"/>
              <a:gd name="connsiteY5144" fmla="*/ 4585109 h 5282095"/>
              <a:gd name="connsiteX5145" fmla="*/ 2208286 w 7714416"/>
              <a:gd name="connsiteY5145" fmla="*/ 4585109 h 5282095"/>
              <a:gd name="connsiteX5146" fmla="*/ 2210864 w 7714416"/>
              <a:gd name="connsiteY5146" fmla="*/ 4585109 h 5282095"/>
              <a:gd name="connsiteX5147" fmla="*/ 2213441 w 7714416"/>
              <a:gd name="connsiteY5147" fmla="*/ 4586219 h 5282095"/>
              <a:gd name="connsiteX5148" fmla="*/ 2216592 w 7714416"/>
              <a:gd name="connsiteY5148" fmla="*/ 4591107 h 5282095"/>
              <a:gd name="connsiteX5149" fmla="*/ 2206566 w 7714416"/>
              <a:gd name="connsiteY5149" fmla="*/ 4592662 h 5282095"/>
              <a:gd name="connsiteX5150" fmla="*/ 2203130 w 7714416"/>
              <a:gd name="connsiteY5150" fmla="*/ 4587664 h 5282095"/>
              <a:gd name="connsiteX5151" fmla="*/ 2208286 w 7714416"/>
              <a:gd name="connsiteY5151" fmla="*/ 4585109 h 5282095"/>
              <a:gd name="connsiteX5152" fmla="*/ 2161591 w 7714416"/>
              <a:gd name="connsiteY5152" fmla="*/ 4583109 h 5282095"/>
              <a:gd name="connsiteX5153" fmla="*/ 2168180 w 7714416"/>
              <a:gd name="connsiteY5153" fmla="*/ 4585109 h 5282095"/>
              <a:gd name="connsiteX5154" fmla="*/ 2172478 w 7714416"/>
              <a:gd name="connsiteY5154" fmla="*/ 4594884 h 5282095"/>
              <a:gd name="connsiteX5155" fmla="*/ 2154717 w 7714416"/>
              <a:gd name="connsiteY5155" fmla="*/ 4601216 h 5282095"/>
              <a:gd name="connsiteX5156" fmla="*/ 2147841 w 7714416"/>
              <a:gd name="connsiteY5156" fmla="*/ 4598105 h 5282095"/>
              <a:gd name="connsiteX5157" fmla="*/ 2142112 w 7714416"/>
              <a:gd name="connsiteY5157" fmla="*/ 4589663 h 5282095"/>
              <a:gd name="connsiteX5158" fmla="*/ 2161591 w 7714416"/>
              <a:gd name="connsiteY5158" fmla="*/ 4583109 h 5282095"/>
              <a:gd name="connsiteX5159" fmla="*/ 3059370 w 7714416"/>
              <a:gd name="connsiteY5159" fmla="*/ 4580777 h 5282095"/>
              <a:gd name="connsiteX5160" fmla="*/ 3075127 w 7714416"/>
              <a:gd name="connsiteY5160" fmla="*/ 4585553 h 5282095"/>
              <a:gd name="connsiteX5161" fmla="*/ 3074840 w 7714416"/>
              <a:gd name="connsiteY5161" fmla="*/ 4585887 h 5282095"/>
              <a:gd name="connsiteX5162" fmla="*/ 3082862 w 7714416"/>
              <a:gd name="connsiteY5162" fmla="*/ 4585775 h 5282095"/>
              <a:gd name="connsiteX5163" fmla="*/ 3082288 w 7714416"/>
              <a:gd name="connsiteY5163" fmla="*/ 4596328 h 5282095"/>
              <a:gd name="connsiteX5164" fmla="*/ 3066819 w 7714416"/>
              <a:gd name="connsiteY5164" fmla="*/ 4602103 h 5282095"/>
              <a:gd name="connsiteX5165" fmla="*/ 3062235 w 7714416"/>
              <a:gd name="connsiteY5165" fmla="*/ 4591218 h 5282095"/>
              <a:gd name="connsiteX5166" fmla="*/ 3063954 w 7714416"/>
              <a:gd name="connsiteY5166" fmla="*/ 4590107 h 5282095"/>
              <a:gd name="connsiteX5167" fmla="*/ 3066819 w 7714416"/>
              <a:gd name="connsiteY5167" fmla="*/ 4588885 h 5282095"/>
              <a:gd name="connsiteX5168" fmla="*/ 3058225 w 7714416"/>
              <a:gd name="connsiteY5168" fmla="*/ 4587552 h 5282095"/>
              <a:gd name="connsiteX5169" fmla="*/ 3045620 w 7714416"/>
              <a:gd name="connsiteY5169" fmla="*/ 4585886 h 5282095"/>
              <a:gd name="connsiteX5170" fmla="*/ 3059370 w 7714416"/>
              <a:gd name="connsiteY5170" fmla="*/ 4580777 h 5282095"/>
              <a:gd name="connsiteX5171" fmla="*/ 1992577 w 7714416"/>
              <a:gd name="connsiteY5171" fmla="*/ 4580776 h 5282095"/>
              <a:gd name="connsiteX5172" fmla="*/ 2008333 w 7714416"/>
              <a:gd name="connsiteY5172" fmla="*/ 4585553 h 5282095"/>
              <a:gd name="connsiteX5173" fmla="*/ 2005183 w 7714416"/>
              <a:gd name="connsiteY5173" fmla="*/ 4589774 h 5282095"/>
              <a:gd name="connsiteX5174" fmla="*/ 1978828 w 7714416"/>
              <a:gd name="connsiteY5174" fmla="*/ 4585886 h 5282095"/>
              <a:gd name="connsiteX5175" fmla="*/ 1992577 w 7714416"/>
              <a:gd name="connsiteY5175" fmla="*/ 4580776 h 5282095"/>
              <a:gd name="connsiteX5176" fmla="*/ 5946931 w 7714416"/>
              <a:gd name="connsiteY5176" fmla="*/ 4580443 h 5282095"/>
              <a:gd name="connsiteX5177" fmla="*/ 5957529 w 7714416"/>
              <a:gd name="connsiteY5177" fmla="*/ 4584109 h 5282095"/>
              <a:gd name="connsiteX5178" fmla="*/ 5962686 w 7714416"/>
              <a:gd name="connsiteY5178" fmla="*/ 4583220 h 5282095"/>
              <a:gd name="connsiteX5179" fmla="*/ 5970134 w 7714416"/>
              <a:gd name="connsiteY5179" fmla="*/ 4588108 h 5282095"/>
              <a:gd name="connsiteX5180" fmla="*/ 5962973 w 7714416"/>
              <a:gd name="connsiteY5180" fmla="*/ 4591218 h 5282095"/>
              <a:gd name="connsiteX5181" fmla="*/ 5953520 w 7714416"/>
              <a:gd name="connsiteY5181" fmla="*/ 4584331 h 5282095"/>
              <a:gd name="connsiteX5182" fmla="*/ 5946931 w 7714416"/>
              <a:gd name="connsiteY5182" fmla="*/ 4580443 h 5282095"/>
              <a:gd name="connsiteX5183" fmla="*/ 5325590 w 7714416"/>
              <a:gd name="connsiteY5183" fmla="*/ 4579222 h 5282095"/>
              <a:gd name="connsiteX5184" fmla="*/ 5325876 w 7714416"/>
              <a:gd name="connsiteY5184" fmla="*/ 4581109 h 5282095"/>
              <a:gd name="connsiteX5185" fmla="*/ 5323584 w 7714416"/>
              <a:gd name="connsiteY5185" fmla="*/ 4582665 h 5282095"/>
              <a:gd name="connsiteX5186" fmla="*/ 5318143 w 7714416"/>
              <a:gd name="connsiteY5186" fmla="*/ 4585664 h 5282095"/>
              <a:gd name="connsiteX5187" fmla="*/ 5325590 w 7714416"/>
              <a:gd name="connsiteY5187" fmla="*/ 4579222 h 5282095"/>
              <a:gd name="connsiteX5188" fmla="*/ 2951088 w 7714416"/>
              <a:gd name="connsiteY5188" fmla="*/ 4579221 h 5282095"/>
              <a:gd name="connsiteX5189" fmla="*/ 2951373 w 7714416"/>
              <a:gd name="connsiteY5189" fmla="*/ 4581108 h 5282095"/>
              <a:gd name="connsiteX5190" fmla="*/ 2949082 w 7714416"/>
              <a:gd name="connsiteY5190" fmla="*/ 4582665 h 5282095"/>
              <a:gd name="connsiteX5191" fmla="*/ 2943640 w 7714416"/>
              <a:gd name="connsiteY5191" fmla="*/ 4585664 h 5282095"/>
              <a:gd name="connsiteX5192" fmla="*/ 2951088 w 7714416"/>
              <a:gd name="connsiteY5192" fmla="*/ 4579221 h 5282095"/>
              <a:gd name="connsiteX5193" fmla="*/ 2309407 w 7714416"/>
              <a:gd name="connsiteY5193" fmla="*/ 4577444 h 5282095"/>
              <a:gd name="connsiteX5194" fmla="*/ 2319433 w 7714416"/>
              <a:gd name="connsiteY5194" fmla="*/ 4581220 h 5282095"/>
              <a:gd name="connsiteX5195" fmla="*/ 2320865 w 7714416"/>
              <a:gd name="connsiteY5195" fmla="*/ 4582554 h 5282095"/>
              <a:gd name="connsiteX5196" fmla="*/ 2323157 w 7714416"/>
              <a:gd name="connsiteY5196" fmla="*/ 4582109 h 5282095"/>
              <a:gd name="connsiteX5197" fmla="*/ 2370710 w 7714416"/>
              <a:gd name="connsiteY5197" fmla="*/ 4603438 h 5282095"/>
              <a:gd name="connsiteX5198" fmla="*/ 2369278 w 7714416"/>
              <a:gd name="connsiteY5198" fmla="*/ 4606770 h 5282095"/>
              <a:gd name="connsiteX5199" fmla="*/ 2293651 w 7714416"/>
              <a:gd name="connsiteY5199" fmla="*/ 4592884 h 5282095"/>
              <a:gd name="connsiteX5200" fmla="*/ 2304537 w 7714416"/>
              <a:gd name="connsiteY5200" fmla="*/ 4586330 h 5282095"/>
              <a:gd name="connsiteX5201" fmla="*/ 2301960 w 7714416"/>
              <a:gd name="connsiteY5201" fmla="*/ 4580665 h 5282095"/>
              <a:gd name="connsiteX5202" fmla="*/ 2309407 w 7714416"/>
              <a:gd name="connsiteY5202" fmla="*/ 4577444 h 5282095"/>
              <a:gd name="connsiteX5203" fmla="*/ 2619934 w 7714416"/>
              <a:gd name="connsiteY5203" fmla="*/ 4576444 h 5282095"/>
              <a:gd name="connsiteX5204" fmla="*/ 2623945 w 7714416"/>
              <a:gd name="connsiteY5204" fmla="*/ 4577999 h 5282095"/>
              <a:gd name="connsiteX5205" fmla="*/ 2623373 w 7714416"/>
              <a:gd name="connsiteY5205" fmla="*/ 4588330 h 5282095"/>
              <a:gd name="connsiteX5206" fmla="*/ 2619934 w 7714416"/>
              <a:gd name="connsiteY5206" fmla="*/ 4576444 h 5282095"/>
              <a:gd name="connsiteX5207" fmla="*/ 6650201 w 7714416"/>
              <a:gd name="connsiteY5207" fmla="*/ 4574555 h 5282095"/>
              <a:gd name="connsiteX5208" fmla="*/ 6653638 w 7714416"/>
              <a:gd name="connsiteY5208" fmla="*/ 4578222 h 5282095"/>
              <a:gd name="connsiteX5209" fmla="*/ 6655930 w 7714416"/>
              <a:gd name="connsiteY5209" fmla="*/ 4583331 h 5282095"/>
              <a:gd name="connsiteX5210" fmla="*/ 6642180 w 7714416"/>
              <a:gd name="connsiteY5210" fmla="*/ 4589552 h 5282095"/>
              <a:gd name="connsiteX5211" fmla="*/ 6650201 w 7714416"/>
              <a:gd name="connsiteY5211" fmla="*/ 4574555 h 5282095"/>
              <a:gd name="connsiteX5212" fmla="*/ 2512225 w 7714416"/>
              <a:gd name="connsiteY5212" fmla="*/ 4574555 h 5282095"/>
              <a:gd name="connsiteX5213" fmla="*/ 2520245 w 7714416"/>
              <a:gd name="connsiteY5213" fmla="*/ 4579110 h 5282095"/>
              <a:gd name="connsiteX5214" fmla="*/ 2521105 w 7714416"/>
              <a:gd name="connsiteY5214" fmla="*/ 4584997 h 5282095"/>
              <a:gd name="connsiteX5215" fmla="*/ 2481572 w 7714416"/>
              <a:gd name="connsiteY5215" fmla="*/ 4590552 h 5282095"/>
              <a:gd name="connsiteX5216" fmla="*/ 2512225 w 7714416"/>
              <a:gd name="connsiteY5216" fmla="*/ 4574555 h 5282095"/>
              <a:gd name="connsiteX5217" fmla="*/ 5682524 w 7714416"/>
              <a:gd name="connsiteY5217" fmla="*/ 4573556 h 5282095"/>
              <a:gd name="connsiteX5218" fmla="*/ 5685962 w 7714416"/>
              <a:gd name="connsiteY5218" fmla="*/ 4575223 h 5282095"/>
              <a:gd name="connsiteX5219" fmla="*/ 5684816 w 7714416"/>
              <a:gd name="connsiteY5219" fmla="*/ 4578888 h 5282095"/>
              <a:gd name="connsiteX5220" fmla="*/ 5676508 w 7714416"/>
              <a:gd name="connsiteY5220" fmla="*/ 4583886 h 5282095"/>
              <a:gd name="connsiteX5221" fmla="*/ 5665623 w 7714416"/>
              <a:gd name="connsiteY5221" fmla="*/ 4585887 h 5282095"/>
              <a:gd name="connsiteX5222" fmla="*/ 5668201 w 7714416"/>
              <a:gd name="connsiteY5222" fmla="*/ 4578221 h 5282095"/>
              <a:gd name="connsiteX5223" fmla="*/ 5682524 w 7714416"/>
              <a:gd name="connsiteY5223" fmla="*/ 4573556 h 5282095"/>
              <a:gd name="connsiteX5224" fmla="*/ 5524396 w 7714416"/>
              <a:gd name="connsiteY5224" fmla="*/ 4573556 h 5282095"/>
              <a:gd name="connsiteX5225" fmla="*/ 5540152 w 7714416"/>
              <a:gd name="connsiteY5225" fmla="*/ 4573778 h 5282095"/>
              <a:gd name="connsiteX5226" fmla="*/ 5545022 w 7714416"/>
              <a:gd name="connsiteY5226" fmla="*/ 4584998 h 5282095"/>
              <a:gd name="connsiteX5227" fmla="*/ 5497182 w 7714416"/>
              <a:gd name="connsiteY5227" fmla="*/ 4587553 h 5282095"/>
              <a:gd name="connsiteX5228" fmla="*/ 5491453 w 7714416"/>
              <a:gd name="connsiteY5228" fmla="*/ 4585109 h 5282095"/>
              <a:gd name="connsiteX5229" fmla="*/ 5488588 w 7714416"/>
              <a:gd name="connsiteY5229" fmla="*/ 4587219 h 5282095"/>
              <a:gd name="connsiteX5230" fmla="*/ 5484864 w 7714416"/>
              <a:gd name="connsiteY5230" fmla="*/ 4591218 h 5282095"/>
              <a:gd name="connsiteX5231" fmla="*/ 5479708 w 7714416"/>
              <a:gd name="connsiteY5231" fmla="*/ 4591774 h 5282095"/>
              <a:gd name="connsiteX5232" fmla="*/ 5482859 w 7714416"/>
              <a:gd name="connsiteY5232" fmla="*/ 4581553 h 5282095"/>
              <a:gd name="connsiteX5233" fmla="*/ 5493458 w 7714416"/>
              <a:gd name="connsiteY5233" fmla="*/ 4576555 h 5282095"/>
              <a:gd name="connsiteX5234" fmla="*/ 5495464 w 7714416"/>
              <a:gd name="connsiteY5234" fmla="*/ 4578555 h 5282095"/>
              <a:gd name="connsiteX5235" fmla="*/ 5495463 w 7714416"/>
              <a:gd name="connsiteY5235" fmla="*/ 4581887 h 5282095"/>
              <a:gd name="connsiteX5236" fmla="*/ 5491739 w 7714416"/>
              <a:gd name="connsiteY5236" fmla="*/ 4584886 h 5282095"/>
              <a:gd name="connsiteX5237" fmla="*/ 5511792 w 7714416"/>
              <a:gd name="connsiteY5237" fmla="*/ 4576222 h 5282095"/>
              <a:gd name="connsiteX5238" fmla="*/ 5524396 w 7714416"/>
              <a:gd name="connsiteY5238" fmla="*/ 4573556 h 5282095"/>
              <a:gd name="connsiteX5239" fmla="*/ 6040892 w 7714416"/>
              <a:gd name="connsiteY5239" fmla="*/ 4573001 h 5282095"/>
              <a:gd name="connsiteX5240" fmla="*/ 6035735 w 7714416"/>
              <a:gd name="connsiteY5240" fmla="*/ 4582997 h 5282095"/>
              <a:gd name="connsiteX5241" fmla="*/ 6040892 w 7714416"/>
              <a:gd name="connsiteY5241" fmla="*/ 4573001 h 5282095"/>
              <a:gd name="connsiteX5242" fmla="*/ 6222223 w 7714416"/>
              <a:gd name="connsiteY5242" fmla="*/ 4571334 h 5282095"/>
              <a:gd name="connsiteX5243" fmla="*/ 6232250 w 7714416"/>
              <a:gd name="connsiteY5243" fmla="*/ 4573667 h 5282095"/>
              <a:gd name="connsiteX5244" fmla="*/ 6234828 w 7714416"/>
              <a:gd name="connsiteY5244" fmla="*/ 4577444 h 5282095"/>
              <a:gd name="connsiteX5245" fmla="*/ 6231676 w 7714416"/>
              <a:gd name="connsiteY5245" fmla="*/ 4580665 h 5282095"/>
              <a:gd name="connsiteX5246" fmla="*/ 6224515 w 7714416"/>
              <a:gd name="connsiteY5246" fmla="*/ 4581109 h 5282095"/>
              <a:gd name="connsiteX5247" fmla="*/ 6222223 w 7714416"/>
              <a:gd name="connsiteY5247" fmla="*/ 4571334 h 5282095"/>
              <a:gd name="connsiteX5248" fmla="*/ 2449201 w 7714416"/>
              <a:gd name="connsiteY5248" fmla="*/ 4570668 h 5282095"/>
              <a:gd name="connsiteX5249" fmla="*/ 2464099 w 7714416"/>
              <a:gd name="connsiteY5249" fmla="*/ 4575000 h 5282095"/>
              <a:gd name="connsiteX5250" fmla="*/ 2460088 w 7714416"/>
              <a:gd name="connsiteY5250" fmla="*/ 4579444 h 5282095"/>
              <a:gd name="connsiteX5251" fmla="*/ 2434593 w 7714416"/>
              <a:gd name="connsiteY5251" fmla="*/ 4576111 h 5282095"/>
              <a:gd name="connsiteX5252" fmla="*/ 2449201 w 7714416"/>
              <a:gd name="connsiteY5252" fmla="*/ 4570668 h 5282095"/>
              <a:gd name="connsiteX5253" fmla="*/ 5017068 w 7714416"/>
              <a:gd name="connsiteY5253" fmla="*/ 4569446 h 5282095"/>
              <a:gd name="connsiteX5254" fmla="*/ 5005609 w 7714416"/>
              <a:gd name="connsiteY5254" fmla="*/ 4575889 h 5282095"/>
              <a:gd name="connsiteX5255" fmla="*/ 5014203 w 7714416"/>
              <a:gd name="connsiteY5255" fmla="*/ 4585330 h 5282095"/>
              <a:gd name="connsiteX5256" fmla="*/ 5025089 w 7714416"/>
              <a:gd name="connsiteY5256" fmla="*/ 4579888 h 5282095"/>
              <a:gd name="connsiteX5257" fmla="*/ 5021652 w 7714416"/>
              <a:gd name="connsiteY5257" fmla="*/ 4576999 h 5282095"/>
              <a:gd name="connsiteX5258" fmla="*/ 2796684 w 7714416"/>
              <a:gd name="connsiteY5258" fmla="*/ 4568113 h 5282095"/>
              <a:gd name="connsiteX5259" fmla="*/ 2793818 w 7714416"/>
              <a:gd name="connsiteY5259" fmla="*/ 4583887 h 5282095"/>
              <a:gd name="connsiteX5260" fmla="*/ 2793245 w 7714416"/>
              <a:gd name="connsiteY5260" fmla="*/ 4583887 h 5282095"/>
              <a:gd name="connsiteX5261" fmla="*/ 2793819 w 7714416"/>
              <a:gd name="connsiteY5261" fmla="*/ 4584886 h 5282095"/>
              <a:gd name="connsiteX5262" fmla="*/ 2797256 w 7714416"/>
              <a:gd name="connsiteY5262" fmla="*/ 4589440 h 5282095"/>
              <a:gd name="connsiteX5263" fmla="*/ 2795250 w 7714416"/>
              <a:gd name="connsiteY5263" fmla="*/ 4591552 h 5282095"/>
              <a:gd name="connsiteX5264" fmla="*/ 2813298 w 7714416"/>
              <a:gd name="connsiteY5264" fmla="*/ 4576999 h 5282095"/>
              <a:gd name="connsiteX5265" fmla="*/ 2827621 w 7714416"/>
              <a:gd name="connsiteY5265" fmla="*/ 4576999 h 5282095"/>
              <a:gd name="connsiteX5266" fmla="*/ 2827621 w 7714416"/>
              <a:gd name="connsiteY5266" fmla="*/ 4576778 h 5282095"/>
              <a:gd name="connsiteX5267" fmla="*/ 2827334 w 7714416"/>
              <a:gd name="connsiteY5267" fmla="*/ 4575556 h 5282095"/>
              <a:gd name="connsiteX5268" fmla="*/ 2825329 w 7714416"/>
              <a:gd name="connsiteY5268" fmla="*/ 4575444 h 5282095"/>
              <a:gd name="connsiteX5269" fmla="*/ 2827334 w 7714416"/>
              <a:gd name="connsiteY5269" fmla="*/ 4573223 h 5282095"/>
              <a:gd name="connsiteX5270" fmla="*/ 2839367 w 7714416"/>
              <a:gd name="connsiteY5270" fmla="*/ 4570556 h 5282095"/>
              <a:gd name="connsiteX5271" fmla="*/ 2841371 w 7714416"/>
              <a:gd name="connsiteY5271" fmla="*/ 4574222 h 5282095"/>
              <a:gd name="connsiteX5272" fmla="*/ 2839939 w 7714416"/>
              <a:gd name="connsiteY5272" fmla="*/ 4575777 h 5282095"/>
              <a:gd name="connsiteX5273" fmla="*/ 2850251 w 7714416"/>
              <a:gd name="connsiteY5273" fmla="*/ 4574445 h 5282095"/>
              <a:gd name="connsiteX5274" fmla="*/ 2884914 w 7714416"/>
              <a:gd name="connsiteY5274" fmla="*/ 4578221 h 5282095"/>
              <a:gd name="connsiteX5275" fmla="*/ 2906971 w 7714416"/>
              <a:gd name="connsiteY5275" fmla="*/ 4601993 h 5282095"/>
              <a:gd name="connsiteX5276" fmla="*/ 2905539 w 7714416"/>
              <a:gd name="connsiteY5276" fmla="*/ 4618433 h 5282095"/>
              <a:gd name="connsiteX5277" fmla="*/ 2902389 w 7714416"/>
              <a:gd name="connsiteY5277" fmla="*/ 4626987 h 5282095"/>
              <a:gd name="connsiteX5278" fmla="*/ 2907259 w 7714416"/>
              <a:gd name="connsiteY5278" fmla="*/ 4631875 h 5282095"/>
              <a:gd name="connsiteX5279" fmla="*/ 2900383 w 7714416"/>
              <a:gd name="connsiteY5279" fmla="*/ 4632763 h 5282095"/>
              <a:gd name="connsiteX5280" fmla="*/ 2899238 w 7714416"/>
              <a:gd name="connsiteY5280" fmla="*/ 4635429 h 5282095"/>
              <a:gd name="connsiteX5281" fmla="*/ 2893794 w 7714416"/>
              <a:gd name="connsiteY5281" fmla="*/ 4642650 h 5282095"/>
              <a:gd name="connsiteX5282" fmla="*/ 2894654 w 7714416"/>
              <a:gd name="connsiteY5282" fmla="*/ 4643205 h 5282095"/>
              <a:gd name="connsiteX5283" fmla="*/ 2894653 w 7714416"/>
              <a:gd name="connsiteY5283" fmla="*/ 4646649 h 5282095"/>
              <a:gd name="connsiteX5284" fmla="*/ 2888066 w 7714416"/>
              <a:gd name="connsiteY5284" fmla="*/ 4650092 h 5282095"/>
              <a:gd name="connsiteX5285" fmla="*/ 2887205 w 7714416"/>
              <a:gd name="connsiteY5285" fmla="*/ 4650980 h 5282095"/>
              <a:gd name="connsiteX5286" fmla="*/ 2868299 w 7714416"/>
              <a:gd name="connsiteY5286" fmla="*/ 4663089 h 5282095"/>
              <a:gd name="connsiteX5287" fmla="*/ 2850539 w 7714416"/>
              <a:gd name="connsiteY5287" fmla="*/ 4667755 h 5282095"/>
              <a:gd name="connsiteX5288" fmla="*/ 2844522 w 7714416"/>
              <a:gd name="connsiteY5288" fmla="*/ 4667865 h 5282095"/>
              <a:gd name="connsiteX5289" fmla="*/ 2840226 w 7714416"/>
              <a:gd name="connsiteY5289" fmla="*/ 4669310 h 5282095"/>
              <a:gd name="connsiteX5290" fmla="*/ 2818741 w 7714416"/>
              <a:gd name="connsiteY5290" fmla="*/ 4674754 h 5282095"/>
              <a:gd name="connsiteX5291" fmla="*/ 2831631 w 7714416"/>
              <a:gd name="connsiteY5291" fmla="*/ 4670198 h 5282095"/>
              <a:gd name="connsiteX5292" fmla="*/ 2843949 w 7714416"/>
              <a:gd name="connsiteY5292" fmla="*/ 4667865 h 5282095"/>
              <a:gd name="connsiteX5293" fmla="*/ 2834497 w 7714416"/>
              <a:gd name="connsiteY5293" fmla="*/ 4667977 h 5282095"/>
              <a:gd name="connsiteX5294" fmla="*/ 2799547 w 7714416"/>
              <a:gd name="connsiteY5294" fmla="*/ 4665422 h 5282095"/>
              <a:gd name="connsiteX5295" fmla="*/ 2773766 w 7714416"/>
              <a:gd name="connsiteY5295" fmla="*/ 4645982 h 5282095"/>
              <a:gd name="connsiteX5296" fmla="*/ 2775484 w 7714416"/>
              <a:gd name="connsiteY5296" fmla="*/ 4637540 h 5282095"/>
              <a:gd name="connsiteX5297" fmla="*/ 2774626 w 7714416"/>
              <a:gd name="connsiteY5297" fmla="*/ 4628764 h 5282095"/>
              <a:gd name="connsiteX5298" fmla="*/ 2766604 w 7714416"/>
              <a:gd name="connsiteY5298" fmla="*/ 4624988 h 5282095"/>
              <a:gd name="connsiteX5299" fmla="*/ 2765172 w 7714416"/>
              <a:gd name="connsiteY5299" fmla="*/ 4613990 h 5282095"/>
              <a:gd name="connsiteX5300" fmla="*/ 2772334 w 7714416"/>
              <a:gd name="connsiteY5300" fmla="*/ 4611658 h 5282095"/>
              <a:gd name="connsiteX5301" fmla="*/ 2772047 w 7714416"/>
              <a:gd name="connsiteY5301" fmla="*/ 4610324 h 5282095"/>
              <a:gd name="connsiteX5302" fmla="*/ 2792672 w 7714416"/>
              <a:gd name="connsiteY5302" fmla="*/ 4593662 h 5282095"/>
              <a:gd name="connsiteX5303" fmla="*/ 2794677 w 7714416"/>
              <a:gd name="connsiteY5303" fmla="*/ 4592107 h 5282095"/>
              <a:gd name="connsiteX5304" fmla="*/ 2789521 w 7714416"/>
              <a:gd name="connsiteY5304" fmla="*/ 4591663 h 5282095"/>
              <a:gd name="connsiteX5305" fmla="*/ 2782933 w 7714416"/>
              <a:gd name="connsiteY5305" fmla="*/ 4586664 h 5282095"/>
              <a:gd name="connsiteX5306" fmla="*/ 2775771 w 7714416"/>
              <a:gd name="connsiteY5306" fmla="*/ 4588552 h 5282095"/>
              <a:gd name="connsiteX5307" fmla="*/ 2758010 w 7714416"/>
              <a:gd name="connsiteY5307" fmla="*/ 4586774 h 5282095"/>
              <a:gd name="connsiteX5308" fmla="*/ 2751994 w 7714416"/>
              <a:gd name="connsiteY5308" fmla="*/ 4581443 h 5282095"/>
              <a:gd name="connsiteX5309" fmla="*/ 2750848 w 7714416"/>
              <a:gd name="connsiteY5309" fmla="*/ 4581443 h 5282095"/>
              <a:gd name="connsiteX5310" fmla="*/ 2747124 w 7714416"/>
              <a:gd name="connsiteY5310" fmla="*/ 4574334 h 5282095"/>
              <a:gd name="connsiteX5311" fmla="*/ 2755145 w 7714416"/>
              <a:gd name="connsiteY5311" fmla="*/ 4571779 h 5282095"/>
              <a:gd name="connsiteX5312" fmla="*/ 2758870 w 7714416"/>
              <a:gd name="connsiteY5312" fmla="*/ 4573556 h 5282095"/>
              <a:gd name="connsiteX5313" fmla="*/ 2758869 w 7714416"/>
              <a:gd name="connsiteY5313" fmla="*/ 4574666 h 5282095"/>
              <a:gd name="connsiteX5314" fmla="*/ 2758870 w 7714416"/>
              <a:gd name="connsiteY5314" fmla="*/ 4576777 h 5282095"/>
              <a:gd name="connsiteX5315" fmla="*/ 2769756 w 7714416"/>
              <a:gd name="connsiteY5315" fmla="*/ 4571445 h 5282095"/>
              <a:gd name="connsiteX5316" fmla="*/ 2796684 w 7714416"/>
              <a:gd name="connsiteY5316" fmla="*/ 4568113 h 5282095"/>
              <a:gd name="connsiteX5317" fmla="*/ 5171186 w 7714416"/>
              <a:gd name="connsiteY5317" fmla="*/ 4568112 h 5282095"/>
              <a:gd name="connsiteX5318" fmla="*/ 5168321 w 7714416"/>
              <a:gd name="connsiteY5318" fmla="*/ 4583886 h 5282095"/>
              <a:gd name="connsiteX5319" fmla="*/ 5167748 w 7714416"/>
              <a:gd name="connsiteY5319" fmla="*/ 4583886 h 5282095"/>
              <a:gd name="connsiteX5320" fmla="*/ 5168321 w 7714416"/>
              <a:gd name="connsiteY5320" fmla="*/ 4584887 h 5282095"/>
              <a:gd name="connsiteX5321" fmla="*/ 5172045 w 7714416"/>
              <a:gd name="connsiteY5321" fmla="*/ 4589441 h 5282095"/>
              <a:gd name="connsiteX5322" fmla="*/ 5170040 w 7714416"/>
              <a:gd name="connsiteY5322" fmla="*/ 4591552 h 5282095"/>
              <a:gd name="connsiteX5323" fmla="*/ 5187800 w 7714416"/>
              <a:gd name="connsiteY5323" fmla="*/ 4576999 h 5282095"/>
              <a:gd name="connsiteX5324" fmla="*/ 5202124 w 7714416"/>
              <a:gd name="connsiteY5324" fmla="*/ 4576999 h 5282095"/>
              <a:gd name="connsiteX5325" fmla="*/ 5202410 w 7714416"/>
              <a:gd name="connsiteY5325" fmla="*/ 4576777 h 5282095"/>
              <a:gd name="connsiteX5326" fmla="*/ 5201837 w 7714416"/>
              <a:gd name="connsiteY5326" fmla="*/ 4575555 h 5282095"/>
              <a:gd name="connsiteX5327" fmla="*/ 5200118 w 7714416"/>
              <a:gd name="connsiteY5327" fmla="*/ 4575444 h 5282095"/>
              <a:gd name="connsiteX5328" fmla="*/ 5201838 w 7714416"/>
              <a:gd name="connsiteY5328" fmla="*/ 4573223 h 5282095"/>
              <a:gd name="connsiteX5329" fmla="*/ 5213869 w 7714416"/>
              <a:gd name="connsiteY5329" fmla="*/ 4570556 h 5282095"/>
              <a:gd name="connsiteX5330" fmla="*/ 5215874 w 7714416"/>
              <a:gd name="connsiteY5330" fmla="*/ 4574223 h 5282095"/>
              <a:gd name="connsiteX5331" fmla="*/ 5214442 w 7714416"/>
              <a:gd name="connsiteY5331" fmla="*/ 4575777 h 5282095"/>
              <a:gd name="connsiteX5332" fmla="*/ 5224754 w 7714416"/>
              <a:gd name="connsiteY5332" fmla="*/ 4574445 h 5282095"/>
              <a:gd name="connsiteX5333" fmla="*/ 5259416 w 7714416"/>
              <a:gd name="connsiteY5333" fmla="*/ 4578222 h 5282095"/>
              <a:gd name="connsiteX5334" fmla="*/ 5281761 w 7714416"/>
              <a:gd name="connsiteY5334" fmla="*/ 4601993 h 5282095"/>
              <a:gd name="connsiteX5335" fmla="*/ 5280042 w 7714416"/>
              <a:gd name="connsiteY5335" fmla="*/ 4618433 h 5282095"/>
              <a:gd name="connsiteX5336" fmla="*/ 5276891 w 7714416"/>
              <a:gd name="connsiteY5336" fmla="*/ 4626987 h 5282095"/>
              <a:gd name="connsiteX5337" fmla="*/ 5281761 w 7714416"/>
              <a:gd name="connsiteY5337" fmla="*/ 4631874 h 5282095"/>
              <a:gd name="connsiteX5338" fmla="*/ 5274886 w 7714416"/>
              <a:gd name="connsiteY5338" fmla="*/ 4632763 h 5282095"/>
              <a:gd name="connsiteX5339" fmla="*/ 5273740 w 7714416"/>
              <a:gd name="connsiteY5339" fmla="*/ 4635429 h 5282095"/>
              <a:gd name="connsiteX5340" fmla="*/ 5268297 w 7714416"/>
              <a:gd name="connsiteY5340" fmla="*/ 4642650 h 5282095"/>
              <a:gd name="connsiteX5341" fmla="*/ 5269156 w 7714416"/>
              <a:gd name="connsiteY5341" fmla="*/ 4643206 h 5282095"/>
              <a:gd name="connsiteX5342" fmla="*/ 5269443 w 7714416"/>
              <a:gd name="connsiteY5342" fmla="*/ 4646648 h 5282095"/>
              <a:gd name="connsiteX5343" fmla="*/ 5262568 w 7714416"/>
              <a:gd name="connsiteY5343" fmla="*/ 4650092 h 5282095"/>
              <a:gd name="connsiteX5344" fmla="*/ 5261708 w 7714416"/>
              <a:gd name="connsiteY5344" fmla="*/ 4650981 h 5282095"/>
              <a:gd name="connsiteX5345" fmla="*/ 5242802 w 7714416"/>
              <a:gd name="connsiteY5345" fmla="*/ 4663089 h 5282095"/>
              <a:gd name="connsiteX5346" fmla="*/ 5225327 w 7714416"/>
              <a:gd name="connsiteY5346" fmla="*/ 4667755 h 5282095"/>
              <a:gd name="connsiteX5347" fmla="*/ 5219025 w 7714416"/>
              <a:gd name="connsiteY5347" fmla="*/ 4667865 h 5282095"/>
              <a:gd name="connsiteX5348" fmla="*/ 5215015 w 7714416"/>
              <a:gd name="connsiteY5348" fmla="*/ 4669309 h 5282095"/>
              <a:gd name="connsiteX5349" fmla="*/ 5193243 w 7714416"/>
              <a:gd name="connsiteY5349" fmla="*/ 4674753 h 5282095"/>
              <a:gd name="connsiteX5350" fmla="*/ 5206420 w 7714416"/>
              <a:gd name="connsiteY5350" fmla="*/ 4670198 h 5282095"/>
              <a:gd name="connsiteX5351" fmla="*/ 5218452 w 7714416"/>
              <a:gd name="connsiteY5351" fmla="*/ 4667866 h 5282095"/>
              <a:gd name="connsiteX5352" fmla="*/ 5208999 w 7714416"/>
              <a:gd name="connsiteY5352" fmla="*/ 4667977 h 5282095"/>
              <a:gd name="connsiteX5353" fmla="*/ 5174050 w 7714416"/>
              <a:gd name="connsiteY5353" fmla="*/ 4665422 h 5282095"/>
              <a:gd name="connsiteX5354" fmla="*/ 5148268 w 7714416"/>
              <a:gd name="connsiteY5354" fmla="*/ 4645982 h 5282095"/>
              <a:gd name="connsiteX5355" fmla="*/ 5149987 w 7714416"/>
              <a:gd name="connsiteY5355" fmla="*/ 4637540 h 5282095"/>
              <a:gd name="connsiteX5356" fmla="*/ 5149128 w 7714416"/>
              <a:gd name="connsiteY5356" fmla="*/ 4628764 h 5282095"/>
              <a:gd name="connsiteX5357" fmla="*/ 5141393 w 7714416"/>
              <a:gd name="connsiteY5357" fmla="*/ 4624988 h 5282095"/>
              <a:gd name="connsiteX5358" fmla="*/ 5139961 w 7714416"/>
              <a:gd name="connsiteY5358" fmla="*/ 4613990 h 5282095"/>
              <a:gd name="connsiteX5359" fmla="*/ 5146836 w 7714416"/>
              <a:gd name="connsiteY5359" fmla="*/ 4611658 h 5282095"/>
              <a:gd name="connsiteX5360" fmla="*/ 5146836 w 7714416"/>
              <a:gd name="connsiteY5360" fmla="*/ 4610324 h 5282095"/>
              <a:gd name="connsiteX5361" fmla="*/ 5167462 w 7714416"/>
              <a:gd name="connsiteY5361" fmla="*/ 4593662 h 5282095"/>
              <a:gd name="connsiteX5362" fmla="*/ 5169180 w 7714416"/>
              <a:gd name="connsiteY5362" fmla="*/ 4592107 h 5282095"/>
              <a:gd name="connsiteX5363" fmla="*/ 5164310 w 7714416"/>
              <a:gd name="connsiteY5363" fmla="*/ 4591662 h 5282095"/>
              <a:gd name="connsiteX5364" fmla="*/ 5157723 w 7714416"/>
              <a:gd name="connsiteY5364" fmla="*/ 4586664 h 5282095"/>
              <a:gd name="connsiteX5365" fmla="*/ 5150560 w 7714416"/>
              <a:gd name="connsiteY5365" fmla="*/ 4588553 h 5282095"/>
              <a:gd name="connsiteX5366" fmla="*/ 5132513 w 7714416"/>
              <a:gd name="connsiteY5366" fmla="*/ 4586775 h 5282095"/>
              <a:gd name="connsiteX5367" fmla="*/ 5126497 w 7714416"/>
              <a:gd name="connsiteY5367" fmla="*/ 4581443 h 5282095"/>
              <a:gd name="connsiteX5368" fmla="*/ 5125351 w 7714416"/>
              <a:gd name="connsiteY5368" fmla="*/ 4581443 h 5282095"/>
              <a:gd name="connsiteX5369" fmla="*/ 5121627 w 7714416"/>
              <a:gd name="connsiteY5369" fmla="*/ 4574334 h 5282095"/>
              <a:gd name="connsiteX5370" fmla="*/ 5129649 w 7714416"/>
              <a:gd name="connsiteY5370" fmla="*/ 4571779 h 5282095"/>
              <a:gd name="connsiteX5371" fmla="*/ 5133372 w 7714416"/>
              <a:gd name="connsiteY5371" fmla="*/ 4573556 h 5282095"/>
              <a:gd name="connsiteX5372" fmla="*/ 5133372 w 7714416"/>
              <a:gd name="connsiteY5372" fmla="*/ 4574667 h 5282095"/>
              <a:gd name="connsiteX5373" fmla="*/ 5133659 w 7714416"/>
              <a:gd name="connsiteY5373" fmla="*/ 4576777 h 5282095"/>
              <a:gd name="connsiteX5374" fmla="*/ 5144258 w 7714416"/>
              <a:gd name="connsiteY5374" fmla="*/ 4571445 h 5282095"/>
              <a:gd name="connsiteX5375" fmla="*/ 5171186 w 7714416"/>
              <a:gd name="connsiteY5375" fmla="*/ 4568112 h 5282095"/>
              <a:gd name="connsiteX5376" fmla="*/ 6097038 w 7714416"/>
              <a:gd name="connsiteY5376" fmla="*/ 4567780 h 5282095"/>
              <a:gd name="connsiteX5377" fmla="*/ 6105632 w 7714416"/>
              <a:gd name="connsiteY5377" fmla="*/ 4575777 h 5282095"/>
              <a:gd name="connsiteX5378" fmla="*/ 6105918 w 7714416"/>
              <a:gd name="connsiteY5378" fmla="*/ 4586997 h 5282095"/>
              <a:gd name="connsiteX5379" fmla="*/ 6096466 w 7714416"/>
              <a:gd name="connsiteY5379" fmla="*/ 4591885 h 5282095"/>
              <a:gd name="connsiteX5380" fmla="*/ 6097038 w 7714416"/>
              <a:gd name="connsiteY5380" fmla="*/ 4567780 h 5282095"/>
              <a:gd name="connsiteX5381" fmla="*/ 5883336 w 7714416"/>
              <a:gd name="connsiteY5381" fmla="*/ 4567447 h 5282095"/>
              <a:gd name="connsiteX5382" fmla="*/ 5887060 w 7714416"/>
              <a:gd name="connsiteY5382" fmla="*/ 4567447 h 5282095"/>
              <a:gd name="connsiteX5383" fmla="*/ 5897372 w 7714416"/>
              <a:gd name="connsiteY5383" fmla="*/ 4569224 h 5282095"/>
              <a:gd name="connsiteX5384" fmla="*/ 5893362 w 7714416"/>
              <a:gd name="connsiteY5384" fmla="*/ 4571890 h 5282095"/>
              <a:gd name="connsiteX5385" fmla="*/ 5889065 w 7714416"/>
              <a:gd name="connsiteY5385" fmla="*/ 4570779 h 5282095"/>
              <a:gd name="connsiteX5386" fmla="*/ 5885054 w 7714416"/>
              <a:gd name="connsiteY5386" fmla="*/ 4570668 h 5282095"/>
              <a:gd name="connsiteX5387" fmla="*/ 5883336 w 7714416"/>
              <a:gd name="connsiteY5387" fmla="*/ 4567447 h 5282095"/>
              <a:gd name="connsiteX5388" fmla="*/ 3001218 w 7714416"/>
              <a:gd name="connsiteY5388" fmla="*/ 4567003 h 5282095"/>
              <a:gd name="connsiteX5389" fmla="*/ 3012677 w 7714416"/>
              <a:gd name="connsiteY5389" fmla="*/ 4568668 h 5282095"/>
              <a:gd name="connsiteX5390" fmla="*/ 3008953 w 7714416"/>
              <a:gd name="connsiteY5390" fmla="*/ 4575555 h 5282095"/>
              <a:gd name="connsiteX5391" fmla="*/ 3001218 w 7714416"/>
              <a:gd name="connsiteY5391" fmla="*/ 4567003 h 5282095"/>
              <a:gd name="connsiteX5392" fmla="*/ 1934425 w 7714416"/>
              <a:gd name="connsiteY5392" fmla="*/ 4567002 h 5282095"/>
              <a:gd name="connsiteX5393" fmla="*/ 1945885 w 7714416"/>
              <a:gd name="connsiteY5393" fmla="*/ 4568668 h 5282095"/>
              <a:gd name="connsiteX5394" fmla="*/ 1942160 w 7714416"/>
              <a:gd name="connsiteY5394" fmla="*/ 4575556 h 5282095"/>
              <a:gd name="connsiteX5395" fmla="*/ 1934425 w 7714416"/>
              <a:gd name="connsiteY5395" fmla="*/ 4567002 h 5282095"/>
              <a:gd name="connsiteX5396" fmla="*/ 5912555 w 7714416"/>
              <a:gd name="connsiteY5396" fmla="*/ 4566780 h 5282095"/>
              <a:gd name="connsiteX5397" fmla="*/ 5924586 w 7714416"/>
              <a:gd name="connsiteY5397" fmla="*/ 4572334 h 5282095"/>
              <a:gd name="connsiteX5398" fmla="*/ 5925160 w 7714416"/>
              <a:gd name="connsiteY5398" fmla="*/ 4575223 h 5282095"/>
              <a:gd name="connsiteX5399" fmla="*/ 5916566 w 7714416"/>
              <a:gd name="connsiteY5399" fmla="*/ 4576777 h 5282095"/>
              <a:gd name="connsiteX5400" fmla="*/ 5906253 w 7714416"/>
              <a:gd name="connsiteY5400" fmla="*/ 4568890 h 5282095"/>
              <a:gd name="connsiteX5401" fmla="*/ 5912555 w 7714416"/>
              <a:gd name="connsiteY5401" fmla="*/ 4566780 h 5282095"/>
              <a:gd name="connsiteX5402" fmla="*/ 2009765 w 7714416"/>
              <a:gd name="connsiteY5402" fmla="*/ 4565892 h 5282095"/>
              <a:gd name="connsiteX5403" fmla="*/ 2010625 w 7714416"/>
              <a:gd name="connsiteY5403" fmla="*/ 4572334 h 5282095"/>
              <a:gd name="connsiteX5404" fmla="*/ 2005756 w 7714416"/>
              <a:gd name="connsiteY5404" fmla="*/ 4575778 h 5282095"/>
              <a:gd name="connsiteX5405" fmla="*/ 2007187 w 7714416"/>
              <a:gd name="connsiteY5405" fmla="*/ 4576111 h 5282095"/>
              <a:gd name="connsiteX5406" fmla="*/ 2021224 w 7714416"/>
              <a:gd name="connsiteY5406" fmla="*/ 4580777 h 5282095"/>
              <a:gd name="connsiteX5407" fmla="*/ 2019506 w 7714416"/>
              <a:gd name="connsiteY5407" fmla="*/ 4583109 h 5282095"/>
              <a:gd name="connsiteX5408" fmla="*/ 2014636 w 7714416"/>
              <a:gd name="connsiteY5408" fmla="*/ 4583554 h 5282095"/>
              <a:gd name="connsiteX5409" fmla="*/ 1998879 w 7714416"/>
              <a:gd name="connsiteY5409" fmla="*/ 4579110 h 5282095"/>
              <a:gd name="connsiteX5410" fmla="*/ 1995728 w 7714416"/>
              <a:gd name="connsiteY5410" fmla="*/ 4577555 h 5282095"/>
              <a:gd name="connsiteX5411" fmla="*/ 1992292 w 7714416"/>
              <a:gd name="connsiteY5411" fmla="*/ 4576111 h 5282095"/>
              <a:gd name="connsiteX5412" fmla="*/ 1990858 w 7714416"/>
              <a:gd name="connsiteY5412" fmla="*/ 4571223 h 5282095"/>
              <a:gd name="connsiteX5413" fmla="*/ 2002318 w 7714416"/>
              <a:gd name="connsiteY5413" fmla="*/ 4574556 h 5282095"/>
              <a:gd name="connsiteX5414" fmla="*/ 1999453 w 7714416"/>
              <a:gd name="connsiteY5414" fmla="*/ 4572000 h 5282095"/>
              <a:gd name="connsiteX5415" fmla="*/ 1999166 w 7714416"/>
              <a:gd name="connsiteY5415" fmla="*/ 4566447 h 5282095"/>
              <a:gd name="connsiteX5416" fmla="*/ 2009765 w 7714416"/>
              <a:gd name="connsiteY5416" fmla="*/ 4565892 h 5282095"/>
              <a:gd name="connsiteX5417" fmla="*/ 3076558 w 7714416"/>
              <a:gd name="connsiteY5417" fmla="*/ 4565891 h 5282095"/>
              <a:gd name="connsiteX5418" fmla="*/ 3077418 w 7714416"/>
              <a:gd name="connsiteY5418" fmla="*/ 4572334 h 5282095"/>
              <a:gd name="connsiteX5419" fmla="*/ 3072548 w 7714416"/>
              <a:gd name="connsiteY5419" fmla="*/ 4575777 h 5282095"/>
              <a:gd name="connsiteX5420" fmla="*/ 3073980 w 7714416"/>
              <a:gd name="connsiteY5420" fmla="*/ 4576111 h 5282095"/>
              <a:gd name="connsiteX5421" fmla="*/ 3088017 w 7714416"/>
              <a:gd name="connsiteY5421" fmla="*/ 4580776 h 5282095"/>
              <a:gd name="connsiteX5422" fmla="*/ 3086298 w 7714416"/>
              <a:gd name="connsiteY5422" fmla="*/ 4583109 h 5282095"/>
              <a:gd name="connsiteX5423" fmla="*/ 3081429 w 7714416"/>
              <a:gd name="connsiteY5423" fmla="*/ 4583554 h 5282095"/>
              <a:gd name="connsiteX5424" fmla="*/ 3065673 w 7714416"/>
              <a:gd name="connsiteY5424" fmla="*/ 4579110 h 5282095"/>
              <a:gd name="connsiteX5425" fmla="*/ 3062522 w 7714416"/>
              <a:gd name="connsiteY5425" fmla="*/ 4577555 h 5282095"/>
              <a:gd name="connsiteX5426" fmla="*/ 3059085 w 7714416"/>
              <a:gd name="connsiteY5426" fmla="*/ 4576111 h 5282095"/>
              <a:gd name="connsiteX5427" fmla="*/ 3057652 w 7714416"/>
              <a:gd name="connsiteY5427" fmla="*/ 4571223 h 5282095"/>
              <a:gd name="connsiteX5428" fmla="*/ 3069110 w 7714416"/>
              <a:gd name="connsiteY5428" fmla="*/ 4574556 h 5282095"/>
              <a:gd name="connsiteX5429" fmla="*/ 3066247 w 7714416"/>
              <a:gd name="connsiteY5429" fmla="*/ 4572001 h 5282095"/>
              <a:gd name="connsiteX5430" fmla="*/ 3065959 w 7714416"/>
              <a:gd name="connsiteY5430" fmla="*/ 4566446 h 5282095"/>
              <a:gd name="connsiteX5431" fmla="*/ 3076558 w 7714416"/>
              <a:gd name="connsiteY5431" fmla="*/ 4565891 h 5282095"/>
              <a:gd name="connsiteX5432" fmla="*/ 5752422 w 7714416"/>
              <a:gd name="connsiteY5432" fmla="*/ 4565225 h 5282095"/>
              <a:gd name="connsiteX5433" fmla="*/ 5755000 w 7714416"/>
              <a:gd name="connsiteY5433" fmla="*/ 4566891 h 5282095"/>
              <a:gd name="connsiteX5434" fmla="*/ 5760442 w 7714416"/>
              <a:gd name="connsiteY5434" fmla="*/ 4570556 h 5282095"/>
              <a:gd name="connsiteX5435" fmla="*/ 5749844 w 7714416"/>
              <a:gd name="connsiteY5435" fmla="*/ 4565446 h 5282095"/>
              <a:gd name="connsiteX5436" fmla="*/ 5752422 w 7714416"/>
              <a:gd name="connsiteY5436" fmla="*/ 4565225 h 5282095"/>
              <a:gd name="connsiteX5437" fmla="*/ 3226952 w 7714416"/>
              <a:gd name="connsiteY5437" fmla="*/ 4564668 h 5282095"/>
              <a:gd name="connsiteX5438" fmla="*/ 3238411 w 7714416"/>
              <a:gd name="connsiteY5438" fmla="*/ 4575778 h 5282095"/>
              <a:gd name="connsiteX5439" fmla="*/ 3243281 w 7714416"/>
              <a:gd name="connsiteY5439" fmla="*/ 4575777 h 5282095"/>
              <a:gd name="connsiteX5440" fmla="*/ 3240990 w 7714416"/>
              <a:gd name="connsiteY5440" fmla="*/ 4574555 h 5282095"/>
              <a:gd name="connsiteX5441" fmla="*/ 3233254 w 7714416"/>
              <a:gd name="connsiteY5441" fmla="*/ 4567669 h 5282095"/>
              <a:gd name="connsiteX5442" fmla="*/ 3233542 w 7714416"/>
              <a:gd name="connsiteY5442" fmla="*/ 4565225 h 5282095"/>
              <a:gd name="connsiteX5443" fmla="*/ 2746838 w 7714416"/>
              <a:gd name="connsiteY5443" fmla="*/ 4564558 h 5282095"/>
              <a:gd name="connsiteX5444" fmla="*/ 2753999 w 7714416"/>
              <a:gd name="connsiteY5444" fmla="*/ 4569446 h 5282095"/>
              <a:gd name="connsiteX5445" fmla="*/ 2750562 w 7714416"/>
              <a:gd name="connsiteY5445" fmla="*/ 4572000 h 5282095"/>
              <a:gd name="connsiteX5446" fmla="*/ 2743114 w 7714416"/>
              <a:gd name="connsiteY5446" fmla="*/ 4566113 h 5282095"/>
              <a:gd name="connsiteX5447" fmla="*/ 2746838 w 7714416"/>
              <a:gd name="connsiteY5447" fmla="*/ 4564558 h 5282095"/>
              <a:gd name="connsiteX5448" fmla="*/ 6080710 w 7714416"/>
              <a:gd name="connsiteY5448" fmla="*/ 4564448 h 5282095"/>
              <a:gd name="connsiteX5449" fmla="*/ 6083574 w 7714416"/>
              <a:gd name="connsiteY5449" fmla="*/ 4566114 h 5282095"/>
              <a:gd name="connsiteX5450" fmla="*/ 6089876 w 7714416"/>
              <a:gd name="connsiteY5450" fmla="*/ 4576333 h 5282095"/>
              <a:gd name="connsiteX5451" fmla="*/ 6091309 w 7714416"/>
              <a:gd name="connsiteY5451" fmla="*/ 4578332 h 5282095"/>
              <a:gd name="connsiteX5452" fmla="*/ 6089876 w 7714416"/>
              <a:gd name="connsiteY5452" fmla="*/ 4581554 h 5282095"/>
              <a:gd name="connsiteX5453" fmla="*/ 6081569 w 7714416"/>
              <a:gd name="connsiteY5453" fmla="*/ 4573223 h 5282095"/>
              <a:gd name="connsiteX5454" fmla="*/ 6077845 w 7714416"/>
              <a:gd name="connsiteY5454" fmla="*/ 4568224 h 5282095"/>
              <a:gd name="connsiteX5455" fmla="*/ 6079278 w 7714416"/>
              <a:gd name="connsiteY5455" fmla="*/ 4565002 h 5282095"/>
              <a:gd name="connsiteX5456" fmla="*/ 2641705 w 7714416"/>
              <a:gd name="connsiteY5456" fmla="*/ 4561559 h 5282095"/>
              <a:gd name="connsiteX5457" fmla="*/ 2667201 w 7714416"/>
              <a:gd name="connsiteY5457" fmla="*/ 4589219 h 5282095"/>
              <a:gd name="connsiteX5458" fmla="*/ 2641705 w 7714416"/>
              <a:gd name="connsiteY5458" fmla="*/ 4561559 h 5282095"/>
              <a:gd name="connsiteX5459" fmla="*/ 2330320 w 7714416"/>
              <a:gd name="connsiteY5459" fmla="*/ 4560004 h 5282095"/>
              <a:gd name="connsiteX5460" fmla="*/ 2332610 w 7714416"/>
              <a:gd name="connsiteY5460" fmla="*/ 4561559 h 5282095"/>
              <a:gd name="connsiteX5461" fmla="*/ 2334330 w 7714416"/>
              <a:gd name="connsiteY5461" fmla="*/ 4567002 h 5282095"/>
              <a:gd name="connsiteX5462" fmla="*/ 2323444 w 7714416"/>
              <a:gd name="connsiteY5462" fmla="*/ 4569223 h 5282095"/>
              <a:gd name="connsiteX5463" fmla="*/ 2326023 w 7714416"/>
              <a:gd name="connsiteY5463" fmla="*/ 4560226 h 5282095"/>
              <a:gd name="connsiteX5464" fmla="*/ 2330320 w 7714416"/>
              <a:gd name="connsiteY5464" fmla="*/ 4560004 h 5282095"/>
              <a:gd name="connsiteX5465" fmla="*/ 5979874 w 7714416"/>
              <a:gd name="connsiteY5465" fmla="*/ 4558893 h 5282095"/>
              <a:gd name="connsiteX5466" fmla="*/ 5982739 w 7714416"/>
              <a:gd name="connsiteY5466" fmla="*/ 4559781 h 5282095"/>
              <a:gd name="connsiteX5467" fmla="*/ 5982739 w 7714416"/>
              <a:gd name="connsiteY5467" fmla="*/ 4562781 h 5282095"/>
              <a:gd name="connsiteX5468" fmla="*/ 5975291 w 7714416"/>
              <a:gd name="connsiteY5468" fmla="*/ 4566113 h 5282095"/>
              <a:gd name="connsiteX5469" fmla="*/ 5966124 w 7714416"/>
              <a:gd name="connsiteY5469" fmla="*/ 4564557 h 5282095"/>
              <a:gd name="connsiteX5470" fmla="*/ 5960681 w 7714416"/>
              <a:gd name="connsiteY5470" fmla="*/ 4565446 h 5282095"/>
              <a:gd name="connsiteX5471" fmla="*/ 5960108 w 7714416"/>
              <a:gd name="connsiteY5471" fmla="*/ 4564448 h 5282095"/>
              <a:gd name="connsiteX5472" fmla="*/ 5979874 w 7714416"/>
              <a:gd name="connsiteY5472" fmla="*/ 4558893 h 5282095"/>
              <a:gd name="connsiteX5473" fmla="*/ 2393914 w 7714416"/>
              <a:gd name="connsiteY5473" fmla="*/ 4558227 h 5282095"/>
              <a:gd name="connsiteX5474" fmla="*/ 2405086 w 7714416"/>
              <a:gd name="connsiteY5474" fmla="*/ 4559559 h 5282095"/>
              <a:gd name="connsiteX5475" fmla="*/ 2399930 w 7714416"/>
              <a:gd name="connsiteY5475" fmla="*/ 4566558 h 5282095"/>
              <a:gd name="connsiteX5476" fmla="*/ 2393914 w 7714416"/>
              <a:gd name="connsiteY5476" fmla="*/ 4558227 h 5282095"/>
              <a:gd name="connsiteX5477" fmla="*/ 5897946 w 7714416"/>
              <a:gd name="connsiteY5477" fmla="*/ 4557783 h 5282095"/>
              <a:gd name="connsiteX5478" fmla="*/ 5900810 w 7714416"/>
              <a:gd name="connsiteY5478" fmla="*/ 4559337 h 5282095"/>
              <a:gd name="connsiteX5479" fmla="*/ 5906253 w 7714416"/>
              <a:gd name="connsiteY5479" fmla="*/ 4558781 h 5282095"/>
              <a:gd name="connsiteX5480" fmla="*/ 5907399 w 7714416"/>
              <a:gd name="connsiteY5480" fmla="*/ 4560782 h 5282095"/>
              <a:gd name="connsiteX5481" fmla="*/ 5896513 w 7714416"/>
              <a:gd name="connsiteY5481" fmla="*/ 4562004 h 5282095"/>
              <a:gd name="connsiteX5482" fmla="*/ 5893076 w 7714416"/>
              <a:gd name="connsiteY5482" fmla="*/ 4559448 h 5282095"/>
              <a:gd name="connsiteX5483" fmla="*/ 5897946 w 7714416"/>
              <a:gd name="connsiteY5483" fmla="*/ 4557783 h 5282095"/>
              <a:gd name="connsiteX5484" fmla="*/ 2369852 w 7714416"/>
              <a:gd name="connsiteY5484" fmla="*/ 4554783 h 5282095"/>
              <a:gd name="connsiteX5485" fmla="*/ 2377013 w 7714416"/>
              <a:gd name="connsiteY5485" fmla="*/ 4555227 h 5282095"/>
              <a:gd name="connsiteX5486" fmla="*/ 2386753 w 7714416"/>
              <a:gd name="connsiteY5486" fmla="*/ 4563225 h 5282095"/>
              <a:gd name="connsiteX5487" fmla="*/ 2370425 w 7714416"/>
              <a:gd name="connsiteY5487" fmla="*/ 4565558 h 5282095"/>
              <a:gd name="connsiteX5488" fmla="*/ 2360684 w 7714416"/>
              <a:gd name="connsiteY5488" fmla="*/ 4555894 h 5282095"/>
              <a:gd name="connsiteX5489" fmla="*/ 2369852 w 7714416"/>
              <a:gd name="connsiteY5489" fmla="*/ 4554783 h 5282095"/>
              <a:gd name="connsiteX5490" fmla="*/ 5562209 w 7714416"/>
              <a:gd name="connsiteY5490" fmla="*/ 4553450 h 5282095"/>
              <a:gd name="connsiteX5491" fmla="*/ 5563355 w 7714416"/>
              <a:gd name="connsiteY5491" fmla="*/ 4558115 h 5282095"/>
              <a:gd name="connsiteX5492" fmla="*/ 5558486 w 7714416"/>
              <a:gd name="connsiteY5492" fmla="*/ 4559559 h 5282095"/>
              <a:gd name="connsiteX5493" fmla="*/ 5562209 w 7714416"/>
              <a:gd name="connsiteY5493" fmla="*/ 4553450 h 5282095"/>
              <a:gd name="connsiteX5494" fmla="*/ 5561636 w 7714416"/>
              <a:gd name="connsiteY5494" fmla="*/ 4549895 h 5282095"/>
              <a:gd name="connsiteX5495" fmla="*/ 5562209 w 7714416"/>
              <a:gd name="connsiteY5495" fmla="*/ 4552562 h 5282095"/>
              <a:gd name="connsiteX5496" fmla="*/ 5560777 w 7714416"/>
              <a:gd name="connsiteY5496" fmla="*/ 4552561 h 5282095"/>
              <a:gd name="connsiteX5497" fmla="*/ 5561636 w 7714416"/>
              <a:gd name="connsiteY5497" fmla="*/ 4549895 h 5282095"/>
              <a:gd name="connsiteX5498" fmla="*/ 2039272 w 7714416"/>
              <a:gd name="connsiteY5498" fmla="*/ 4549562 h 5282095"/>
              <a:gd name="connsiteX5499" fmla="*/ 2042709 w 7714416"/>
              <a:gd name="connsiteY5499" fmla="*/ 4551006 h 5282095"/>
              <a:gd name="connsiteX5500" fmla="*/ 2045860 w 7714416"/>
              <a:gd name="connsiteY5500" fmla="*/ 4551339 h 5282095"/>
              <a:gd name="connsiteX5501" fmla="*/ 2045861 w 7714416"/>
              <a:gd name="connsiteY5501" fmla="*/ 4552562 h 5282095"/>
              <a:gd name="connsiteX5502" fmla="*/ 2047579 w 7714416"/>
              <a:gd name="connsiteY5502" fmla="*/ 4553894 h 5282095"/>
              <a:gd name="connsiteX5503" fmla="*/ 2044141 w 7714416"/>
              <a:gd name="connsiteY5503" fmla="*/ 4558338 h 5282095"/>
              <a:gd name="connsiteX5504" fmla="*/ 2040417 w 7714416"/>
              <a:gd name="connsiteY5504" fmla="*/ 4559449 h 5282095"/>
              <a:gd name="connsiteX5505" fmla="*/ 2037266 w 7714416"/>
              <a:gd name="connsiteY5505" fmla="*/ 4558893 h 5282095"/>
              <a:gd name="connsiteX5506" fmla="*/ 2035547 w 7714416"/>
              <a:gd name="connsiteY5506" fmla="*/ 4556338 h 5282095"/>
              <a:gd name="connsiteX5507" fmla="*/ 2035833 w 7714416"/>
              <a:gd name="connsiteY5507" fmla="*/ 4551672 h 5282095"/>
              <a:gd name="connsiteX5508" fmla="*/ 2039272 w 7714416"/>
              <a:gd name="connsiteY5508" fmla="*/ 4549562 h 5282095"/>
              <a:gd name="connsiteX5509" fmla="*/ 2575532 w 7714416"/>
              <a:gd name="connsiteY5509" fmla="*/ 4548007 h 5282095"/>
              <a:gd name="connsiteX5510" fmla="*/ 2568657 w 7714416"/>
              <a:gd name="connsiteY5510" fmla="*/ 4570334 h 5282095"/>
              <a:gd name="connsiteX5511" fmla="*/ 2568371 w 7714416"/>
              <a:gd name="connsiteY5511" fmla="*/ 4570779 h 5282095"/>
              <a:gd name="connsiteX5512" fmla="*/ 2573241 w 7714416"/>
              <a:gd name="connsiteY5512" fmla="*/ 4576001 h 5282095"/>
              <a:gd name="connsiteX5513" fmla="*/ 2573528 w 7714416"/>
              <a:gd name="connsiteY5513" fmla="*/ 4581443 h 5282095"/>
              <a:gd name="connsiteX5514" fmla="*/ 2573240 w 7714416"/>
              <a:gd name="connsiteY5514" fmla="*/ 4581887 h 5282095"/>
              <a:gd name="connsiteX5515" fmla="*/ 2574673 w 7714416"/>
              <a:gd name="connsiteY5515" fmla="*/ 4581665 h 5282095"/>
              <a:gd name="connsiteX5516" fmla="*/ 2578110 w 7714416"/>
              <a:gd name="connsiteY5516" fmla="*/ 4581109 h 5282095"/>
              <a:gd name="connsiteX5517" fmla="*/ 2581834 w 7714416"/>
              <a:gd name="connsiteY5517" fmla="*/ 4583776 h 5282095"/>
              <a:gd name="connsiteX5518" fmla="*/ 2580116 w 7714416"/>
              <a:gd name="connsiteY5518" fmla="*/ 4584331 h 5282095"/>
              <a:gd name="connsiteX5519" fmla="*/ 2574100 w 7714416"/>
              <a:gd name="connsiteY5519" fmla="*/ 4587553 h 5282095"/>
              <a:gd name="connsiteX5520" fmla="*/ 2571808 w 7714416"/>
              <a:gd name="connsiteY5520" fmla="*/ 4583332 h 5282095"/>
              <a:gd name="connsiteX5521" fmla="*/ 2567799 w 7714416"/>
              <a:gd name="connsiteY5521" fmla="*/ 4587219 h 5282095"/>
              <a:gd name="connsiteX5522" fmla="*/ 2560636 w 7714416"/>
              <a:gd name="connsiteY5522" fmla="*/ 4588885 h 5282095"/>
              <a:gd name="connsiteX5523" fmla="*/ 2557772 w 7714416"/>
              <a:gd name="connsiteY5523" fmla="*/ 4592440 h 5282095"/>
              <a:gd name="connsiteX5524" fmla="*/ 2555194 w 7714416"/>
              <a:gd name="connsiteY5524" fmla="*/ 4589663 h 5282095"/>
              <a:gd name="connsiteX5525" fmla="*/ 2544595 w 7714416"/>
              <a:gd name="connsiteY5525" fmla="*/ 4588441 h 5282095"/>
              <a:gd name="connsiteX5526" fmla="*/ 2534282 w 7714416"/>
              <a:gd name="connsiteY5526" fmla="*/ 4582443 h 5282095"/>
              <a:gd name="connsiteX5527" fmla="*/ 2546599 w 7714416"/>
              <a:gd name="connsiteY5527" fmla="*/ 4571445 h 5282095"/>
              <a:gd name="connsiteX5528" fmla="*/ 2547459 w 7714416"/>
              <a:gd name="connsiteY5528" fmla="*/ 4571334 h 5282095"/>
              <a:gd name="connsiteX5529" fmla="*/ 2547745 w 7714416"/>
              <a:gd name="connsiteY5529" fmla="*/ 4569446 h 5282095"/>
              <a:gd name="connsiteX5530" fmla="*/ 2552329 w 7714416"/>
              <a:gd name="connsiteY5530" fmla="*/ 4565225 h 5282095"/>
              <a:gd name="connsiteX5531" fmla="*/ 2555767 w 7714416"/>
              <a:gd name="connsiteY5531" fmla="*/ 4562781 h 5282095"/>
              <a:gd name="connsiteX5532" fmla="*/ 2560923 w 7714416"/>
              <a:gd name="connsiteY5532" fmla="*/ 4554338 h 5282095"/>
              <a:gd name="connsiteX5533" fmla="*/ 2575532 w 7714416"/>
              <a:gd name="connsiteY5533" fmla="*/ 4548007 h 5282095"/>
              <a:gd name="connsiteX5534" fmla="*/ 2514802 w 7714416"/>
              <a:gd name="connsiteY5534" fmla="*/ 4547452 h 5282095"/>
              <a:gd name="connsiteX5535" fmla="*/ 2511079 w 7714416"/>
              <a:gd name="connsiteY5535" fmla="*/ 4561781 h 5282095"/>
              <a:gd name="connsiteX5536" fmla="*/ 2514802 w 7714416"/>
              <a:gd name="connsiteY5536" fmla="*/ 4547452 h 5282095"/>
              <a:gd name="connsiteX5537" fmla="*/ 6490641 w 7714416"/>
              <a:gd name="connsiteY5537" fmla="*/ 4547007 h 5282095"/>
              <a:gd name="connsiteX5538" fmla="*/ 6491500 w 7714416"/>
              <a:gd name="connsiteY5538" fmla="*/ 4554005 h 5282095"/>
              <a:gd name="connsiteX5539" fmla="*/ 6487201 w 7714416"/>
              <a:gd name="connsiteY5539" fmla="*/ 4557338 h 5282095"/>
              <a:gd name="connsiteX5540" fmla="*/ 6481475 w 7714416"/>
              <a:gd name="connsiteY5540" fmla="*/ 4556449 h 5282095"/>
              <a:gd name="connsiteX5541" fmla="*/ 6478037 w 7714416"/>
              <a:gd name="connsiteY5541" fmla="*/ 4552561 h 5282095"/>
              <a:gd name="connsiteX5542" fmla="*/ 6490641 w 7714416"/>
              <a:gd name="connsiteY5542" fmla="*/ 4547007 h 5282095"/>
              <a:gd name="connsiteX5543" fmla="*/ 3049345 w 7714416"/>
              <a:gd name="connsiteY5543" fmla="*/ 4546674 h 5282095"/>
              <a:gd name="connsiteX5544" fmla="*/ 3063095 w 7714416"/>
              <a:gd name="connsiteY5544" fmla="*/ 4547007 h 5282095"/>
              <a:gd name="connsiteX5545" fmla="*/ 3077704 w 7714416"/>
              <a:gd name="connsiteY5545" fmla="*/ 4558227 h 5282095"/>
              <a:gd name="connsiteX5546" fmla="*/ 3074267 w 7714416"/>
              <a:gd name="connsiteY5546" fmla="*/ 4563670 h 5282095"/>
              <a:gd name="connsiteX5547" fmla="*/ 3037599 w 7714416"/>
              <a:gd name="connsiteY5547" fmla="*/ 4550673 h 5282095"/>
              <a:gd name="connsiteX5548" fmla="*/ 3049345 w 7714416"/>
              <a:gd name="connsiteY5548" fmla="*/ 4546674 h 5282095"/>
              <a:gd name="connsiteX5549" fmla="*/ 1982552 w 7714416"/>
              <a:gd name="connsiteY5549" fmla="*/ 4546674 h 5282095"/>
              <a:gd name="connsiteX5550" fmla="*/ 1996302 w 7714416"/>
              <a:gd name="connsiteY5550" fmla="*/ 4547008 h 5282095"/>
              <a:gd name="connsiteX5551" fmla="*/ 2010911 w 7714416"/>
              <a:gd name="connsiteY5551" fmla="*/ 4558226 h 5282095"/>
              <a:gd name="connsiteX5552" fmla="*/ 2007473 w 7714416"/>
              <a:gd name="connsiteY5552" fmla="*/ 4563670 h 5282095"/>
              <a:gd name="connsiteX5553" fmla="*/ 1970806 w 7714416"/>
              <a:gd name="connsiteY5553" fmla="*/ 4550673 h 5282095"/>
              <a:gd name="connsiteX5554" fmla="*/ 1982552 w 7714416"/>
              <a:gd name="connsiteY5554" fmla="*/ 4546674 h 5282095"/>
              <a:gd name="connsiteX5555" fmla="*/ 5574527 w 7714416"/>
              <a:gd name="connsiteY5555" fmla="*/ 4546118 h 5282095"/>
              <a:gd name="connsiteX5556" fmla="*/ 5585413 w 7714416"/>
              <a:gd name="connsiteY5556" fmla="*/ 4549562 h 5282095"/>
              <a:gd name="connsiteX5557" fmla="*/ 5567079 w 7714416"/>
              <a:gd name="connsiteY5557" fmla="*/ 4562447 h 5282095"/>
              <a:gd name="connsiteX5558" fmla="*/ 5574527 w 7714416"/>
              <a:gd name="connsiteY5558" fmla="*/ 4546118 h 5282095"/>
              <a:gd name="connsiteX5559" fmla="*/ 6656216 w 7714416"/>
              <a:gd name="connsiteY5559" fmla="*/ 4544119 h 5282095"/>
              <a:gd name="connsiteX5560" fmla="*/ 6657076 w 7714416"/>
              <a:gd name="connsiteY5560" fmla="*/ 4546230 h 5282095"/>
              <a:gd name="connsiteX5561" fmla="*/ 6658795 w 7714416"/>
              <a:gd name="connsiteY5561" fmla="*/ 4545785 h 5282095"/>
              <a:gd name="connsiteX5562" fmla="*/ 6657936 w 7714416"/>
              <a:gd name="connsiteY5562" fmla="*/ 4548229 h 5282095"/>
              <a:gd name="connsiteX5563" fmla="*/ 6656216 w 7714416"/>
              <a:gd name="connsiteY5563" fmla="*/ 4548673 h 5282095"/>
              <a:gd name="connsiteX5564" fmla="*/ 6656216 w 7714416"/>
              <a:gd name="connsiteY5564" fmla="*/ 4549007 h 5282095"/>
              <a:gd name="connsiteX5565" fmla="*/ 6652779 w 7714416"/>
              <a:gd name="connsiteY5565" fmla="*/ 4548340 h 5282095"/>
              <a:gd name="connsiteX5566" fmla="*/ 6650489 w 7714416"/>
              <a:gd name="connsiteY5566" fmla="*/ 4546674 h 5282095"/>
              <a:gd name="connsiteX5567" fmla="*/ 6656216 w 7714416"/>
              <a:gd name="connsiteY5567" fmla="*/ 4544119 h 5282095"/>
              <a:gd name="connsiteX5568" fmla="*/ 5560490 w 7714416"/>
              <a:gd name="connsiteY5568" fmla="*/ 4544007 h 5282095"/>
              <a:gd name="connsiteX5569" fmla="*/ 5562209 w 7714416"/>
              <a:gd name="connsiteY5569" fmla="*/ 4545230 h 5282095"/>
              <a:gd name="connsiteX5570" fmla="*/ 5559346 w 7714416"/>
              <a:gd name="connsiteY5570" fmla="*/ 4546562 h 5282095"/>
              <a:gd name="connsiteX5571" fmla="*/ 5560490 w 7714416"/>
              <a:gd name="connsiteY5571" fmla="*/ 4544007 h 5282095"/>
              <a:gd name="connsiteX5572" fmla="*/ 2120054 w 7714416"/>
              <a:gd name="connsiteY5572" fmla="*/ 4543230 h 5282095"/>
              <a:gd name="connsiteX5573" fmla="*/ 2122920 w 7714416"/>
              <a:gd name="connsiteY5573" fmla="*/ 4552672 h 5282095"/>
              <a:gd name="connsiteX5574" fmla="*/ 2120054 w 7714416"/>
              <a:gd name="connsiteY5574" fmla="*/ 4543230 h 5282095"/>
              <a:gd name="connsiteX5575" fmla="*/ 2663477 w 7714416"/>
              <a:gd name="connsiteY5575" fmla="*/ 4542897 h 5282095"/>
              <a:gd name="connsiteX5576" fmla="*/ 2675222 w 7714416"/>
              <a:gd name="connsiteY5576" fmla="*/ 4545007 h 5282095"/>
              <a:gd name="connsiteX5577" fmla="*/ 2672930 w 7714416"/>
              <a:gd name="connsiteY5577" fmla="*/ 4545896 h 5282095"/>
              <a:gd name="connsiteX5578" fmla="*/ 2669779 w 7714416"/>
              <a:gd name="connsiteY5578" fmla="*/ 4545119 h 5282095"/>
              <a:gd name="connsiteX5579" fmla="*/ 2663477 w 7714416"/>
              <a:gd name="connsiteY5579" fmla="*/ 4542897 h 5282095"/>
              <a:gd name="connsiteX5580" fmla="*/ 2931321 w 7714416"/>
              <a:gd name="connsiteY5580" fmla="*/ 4541898 h 5282095"/>
              <a:gd name="connsiteX5581" fmla="*/ 2939342 w 7714416"/>
              <a:gd name="connsiteY5581" fmla="*/ 4542120 h 5282095"/>
              <a:gd name="connsiteX5582" fmla="*/ 2925592 w 7714416"/>
              <a:gd name="connsiteY5582" fmla="*/ 4546563 h 5282095"/>
              <a:gd name="connsiteX5583" fmla="*/ 2931321 w 7714416"/>
              <a:gd name="connsiteY5583" fmla="*/ 4541898 h 5282095"/>
              <a:gd name="connsiteX5584" fmla="*/ 2155575 w 7714416"/>
              <a:gd name="connsiteY5584" fmla="*/ 4541786 h 5282095"/>
              <a:gd name="connsiteX5585" fmla="*/ 2165602 w 7714416"/>
              <a:gd name="connsiteY5585" fmla="*/ 4542897 h 5282095"/>
              <a:gd name="connsiteX5586" fmla="*/ 2166461 w 7714416"/>
              <a:gd name="connsiteY5586" fmla="*/ 4547007 h 5282095"/>
              <a:gd name="connsiteX5587" fmla="*/ 2166175 w 7714416"/>
              <a:gd name="connsiteY5587" fmla="*/ 4548340 h 5282095"/>
              <a:gd name="connsiteX5588" fmla="*/ 2176774 w 7714416"/>
              <a:gd name="connsiteY5588" fmla="*/ 4547785 h 5282095"/>
              <a:gd name="connsiteX5589" fmla="*/ 2176487 w 7714416"/>
              <a:gd name="connsiteY5589" fmla="*/ 4550451 h 5282095"/>
              <a:gd name="connsiteX5590" fmla="*/ 2176774 w 7714416"/>
              <a:gd name="connsiteY5590" fmla="*/ 4550229 h 5282095"/>
              <a:gd name="connsiteX5591" fmla="*/ 2195394 w 7714416"/>
              <a:gd name="connsiteY5591" fmla="*/ 4549451 h 5282095"/>
              <a:gd name="connsiteX5592" fmla="*/ 2199406 w 7714416"/>
              <a:gd name="connsiteY5592" fmla="*/ 4550673 h 5282095"/>
              <a:gd name="connsiteX5593" fmla="*/ 2206853 w 7714416"/>
              <a:gd name="connsiteY5593" fmla="*/ 4551118 h 5282095"/>
              <a:gd name="connsiteX5594" fmla="*/ 2204847 w 7714416"/>
              <a:gd name="connsiteY5594" fmla="*/ 4566557 h 5282095"/>
              <a:gd name="connsiteX5595" fmla="*/ 2179066 w 7714416"/>
              <a:gd name="connsiteY5595" fmla="*/ 4577444 h 5282095"/>
              <a:gd name="connsiteX5596" fmla="*/ 2166461 w 7714416"/>
              <a:gd name="connsiteY5596" fmla="*/ 4567669 h 5282095"/>
              <a:gd name="connsiteX5597" fmla="*/ 2167322 w 7714416"/>
              <a:gd name="connsiteY5597" fmla="*/ 4559559 h 5282095"/>
              <a:gd name="connsiteX5598" fmla="*/ 2170758 w 7714416"/>
              <a:gd name="connsiteY5598" fmla="*/ 4556228 h 5282095"/>
              <a:gd name="connsiteX5599" fmla="*/ 2158154 w 7714416"/>
              <a:gd name="connsiteY5599" fmla="*/ 4559893 h 5282095"/>
              <a:gd name="connsiteX5600" fmla="*/ 2128075 w 7714416"/>
              <a:gd name="connsiteY5600" fmla="*/ 4559893 h 5282095"/>
              <a:gd name="connsiteX5601" fmla="*/ 2148700 w 7714416"/>
              <a:gd name="connsiteY5601" fmla="*/ 4552339 h 5282095"/>
              <a:gd name="connsiteX5602" fmla="*/ 2147269 w 7714416"/>
              <a:gd name="connsiteY5602" fmla="*/ 4550450 h 5282095"/>
              <a:gd name="connsiteX5603" fmla="*/ 2155575 w 7714416"/>
              <a:gd name="connsiteY5603" fmla="*/ 4541786 h 5282095"/>
              <a:gd name="connsiteX5604" fmla="*/ 5845237 w 7714416"/>
              <a:gd name="connsiteY5604" fmla="*/ 4540120 h 5282095"/>
              <a:gd name="connsiteX5605" fmla="*/ 5851825 w 7714416"/>
              <a:gd name="connsiteY5605" fmla="*/ 4541342 h 5282095"/>
              <a:gd name="connsiteX5606" fmla="*/ 5855549 w 7714416"/>
              <a:gd name="connsiteY5606" fmla="*/ 4550784 h 5282095"/>
              <a:gd name="connsiteX5607" fmla="*/ 5837788 w 7714416"/>
              <a:gd name="connsiteY5607" fmla="*/ 4559004 h 5282095"/>
              <a:gd name="connsiteX5608" fmla="*/ 5831200 w 7714416"/>
              <a:gd name="connsiteY5608" fmla="*/ 4556672 h 5282095"/>
              <a:gd name="connsiteX5609" fmla="*/ 5825756 w 7714416"/>
              <a:gd name="connsiteY5609" fmla="*/ 4548673 h 5282095"/>
              <a:gd name="connsiteX5610" fmla="*/ 5845237 w 7714416"/>
              <a:gd name="connsiteY5610" fmla="*/ 4540120 h 5282095"/>
              <a:gd name="connsiteX5611" fmla="*/ 2090262 w 7714416"/>
              <a:gd name="connsiteY5611" fmla="*/ 4539676 h 5282095"/>
              <a:gd name="connsiteX5612" fmla="*/ 2101721 w 7714416"/>
              <a:gd name="connsiteY5612" fmla="*/ 4549006 h 5282095"/>
              <a:gd name="connsiteX5613" fmla="*/ 2097423 w 7714416"/>
              <a:gd name="connsiteY5613" fmla="*/ 4550450 h 5282095"/>
              <a:gd name="connsiteX5614" fmla="*/ 2085393 w 7714416"/>
              <a:gd name="connsiteY5614" fmla="*/ 4540786 h 5282095"/>
              <a:gd name="connsiteX5615" fmla="*/ 2090262 w 7714416"/>
              <a:gd name="connsiteY5615" fmla="*/ 4539676 h 5282095"/>
              <a:gd name="connsiteX5616" fmla="*/ 5693696 w 7714416"/>
              <a:gd name="connsiteY5616" fmla="*/ 4539231 h 5282095"/>
              <a:gd name="connsiteX5617" fmla="*/ 5688254 w 7714416"/>
              <a:gd name="connsiteY5617" fmla="*/ 4550673 h 5282095"/>
              <a:gd name="connsiteX5618" fmla="*/ 5683384 w 7714416"/>
              <a:gd name="connsiteY5618" fmla="*/ 4540898 h 5282095"/>
              <a:gd name="connsiteX5619" fmla="*/ 5693696 w 7714416"/>
              <a:gd name="connsiteY5619" fmla="*/ 4539231 h 5282095"/>
              <a:gd name="connsiteX5620" fmla="*/ 2810146 w 7714416"/>
              <a:gd name="connsiteY5620" fmla="*/ 4538565 h 5282095"/>
              <a:gd name="connsiteX5621" fmla="*/ 2794104 w 7714416"/>
              <a:gd name="connsiteY5621" fmla="*/ 4549229 h 5282095"/>
              <a:gd name="connsiteX5622" fmla="*/ 2771187 w 7714416"/>
              <a:gd name="connsiteY5622" fmla="*/ 4555560 h 5282095"/>
              <a:gd name="connsiteX5623" fmla="*/ 2810146 w 7714416"/>
              <a:gd name="connsiteY5623" fmla="*/ 4538565 h 5282095"/>
              <a:gd name="connsiteX5624" fmla="*/ 5160300 w 7714416"/>
              <a:gd name="connsiteY5624" fmla="*/ 4536454 h 5282095"/>
              <a:gd name="connsiteX5625" fmla="*/ 5154570 w 7714416"/>
              <a:gd name="connsiteY5625" fmla="*/ 4540231 h 5282095"/>
              <a:gd name="connsiteX5626" fmla="*/ 5143398 w 7714416"/>
              <a:gd name="connsiteY5626" fmla="*/ 4545785 h 5282095"/>
              <a:gd name="connsiteX5627" fmla="*/ 5141680 w 7714416"/>
              <a:gd name="connsiteY5627" fmla="*/ 4546563 h 5282095"/>
              <a:gd name="connsiteX5628" fmla="*/ 5138242 w 7714416"/>
              <a:gd name="connsiteY5628" fmla="*/ 4545896 h 5282095"/>
              <a:gd name="connsiteX5629" fmla="*/ 5139388 w 7714416"/>
              <a:gd name="connsiteY5629" fmla="*/ 4550117 h 5282095"/>
              <a:gd name="connsiteX5630" fmla="*/ 5138243 w 7714416"/>
              <a:gd name="connsiteY5630" fmla="*/ 4553116 h 5282095"/>
              <a:gd name="connsiteX5631" fmla="*/ 5139674 w 7714416"/>
              <a:gd name="connsiteY5631" fmla="*/ 4552006 h 5282095"/>
              <a:gd name="connsiteX5632" fmla="*/ 5149128 w 7714416"/>
              <a:gd name="connsiteY5632" fmla="*/ 4548340 h 5282095"/>
              <a:gd name="connsiteX5633" fmla="*/ 5149987 w 7714416"/>
              <a:gd name="connsiteY5633" fmla="*/ 4546896 h 5282095"/>
              <a:gd name="connsiteX5634" fmla="*/ 5160300 w 7714416"/>
              <a:gd name="connsiteY5634" fmla="*/ 4541563 h 5282095"/>
              <a:gd name="connsiteX5635" fmla="*/ 5164310 w 7714416"/>
              <a:gd name="connsiteY5635" fmla="*/ 4540898 h 5282095"/>
              <a:gd name="connsiteX5636" fmla="*/ 5168607 w 7714416"/>
              <a:gd name="connsiteY5636" fmla="*/ 4536454 h 5282095"/>
              <a:gd name="connsiteX5637" fmla="*/ 5160300 w 7714416"/>
              <a:gd name="connsiteY5637" fmla="*/ 4538343 h 5282095"/>
              <a:gd name="connsiteX5638" fmla="*/ 5160300 w 7714416"/>
              <a:gd name="connsiteY5638" fmla="*/ 4536454 h 5282095"/>
              <a:gd name="connsiteX5639" fmla="*/ 2753714 w 7714416"/>
              <a:gd name="connsiteY5639" fmla="*/ 4534344 h 5282095"/>
              <a:gd name="connsiteX5640" fmla="*/ 2761448 w 7714416"/>
              <a:gd name="connsiteY5640" fmla="*/ 4538898 h 5282095"/>
              <a:gd name="connsiteX5641" fmla="*/ 2760588 w 7714416"/>
              <a:gd name="connsiteY5641" fmla="*/ 4560781 h 5282095"/>
              <a:gd name="connsiteX5642" fmla="*/ 2743400 w 7714416"/>
              <a:gd name="connsiteY5642" fmla="*/ 4561559 h 5282095"/>
              <a:gd name="connsiteX5643" fmla="*/ 2753714 w 7714416"/>
              <a:gd name="connsiteY5643" fmla="*/ 4534344 h 5282095"/>
              <a:gd name="connsiteX5644" fmla="*/ 5630389 w 7714416"/>
              <a:gd name="connsiteY5644" fmla="*/ 4532011 h 5282095"/>
              <a:gd name="connsiteX5645" fmla="*/ 5627237 w 7714416"/>
              <a:gd name="connsiteY5645" fmla="*/ 4537565 h 5282095"/>
              <a:gd name="connsiteX5646" fmla="*/ 5624945 w 7714416"/>
              <a:gd name="connsiteY5646" fmla="*/ 4540454 h 5282095"/>
              <a:gd name="connsiteX5647" fmla="*/ 5624372 w 7714416"/>
              <a:gd name="connsiteY5647" fmla="*/ 4543119 h 5282095"/>
              <a:gd name="connsiteX5648" fmla="*/ 5618643 w 7714416"/>
              <a:gd name="connsiteY5648" fmla="*/ 4546896 h 5282095"/>
              <a:gd name="connsiteX5649" fmla="*/ 5619502 w 7714416"/>
              <a:gd name="connsiteY5649" fmla="*/ 4544341 h 5282095"/>
              <a:gd name="connsiteX5650" fmla="*/ 5621794 w 7714416"/>
              <a:gd name="connsiteY5650" fmla="*/ 4541341 h 5282095"/>
              <a:gd name="connsiteX5651" fmla="*/ 5620934 w 7714416"/>
              <a:gd name="connsiteY5651" fmla="*/ 4539120 h 5282095"/>
              <a:gd name="connsiteX5652" fmla="*/ 5630389 w 7714416"/>
              <a:gd name="connsiteY5652" fmla="*/ 4532011 h 5282095"/>
              <a:gd name="connsiteX5653" fmla="*/ 2715900 w 7714416"/>
              <a:gd name="connsiteY5653" fmla="*/ 4530012 h 5282095"/>
              <a:gd name="connsiteX5654" fmla="*/ 2729936 w 7714416"/>
              <a:gd name="connsiteY5654" fmla="*/ 4536898 h 5282095"/>
              <a:gd name="connsiteX5655" fmla="*/ 2692696 w 7714416"/>
              <a:gd name="connsiteY5655" fmla="*/ 4561670 h 5282095"/>
              <a:gd name="connsiteX5656" fmla="*/ 2715900 w 7714416"/>
              <a:gd name="connsiteY5656" fmla="*/ 4530012 h 5282095"/>
              <a:gd name="connsiteX5657" fmla="*/ 5561923 w 7714416"/>
              <a:gd name="connsiteY5657" fmla="*/ 4528900 h 5282095"/>
              <a:gd name="connsiteX5658" fmla="*/ 5562209 w 7714416"/>
              <a:gd name="connsiteY5658" fmla="*/ 4530011 h 5282095"/>
              <a:gd name="connsiteX5659" fmla="*/ 5562496 w 7714416"/>
              <a:gd name="connsiteY5659" fmla="*/ 4529456 h 5282095"/>
              <a:gd name="connsiteX5660" fmla="*/ 2554334 w 7714416"/>
              <a:gd name="connsiteY5660" fmla="*/ 4527233 h 5282095"/>
              <a:gd name="connsiteX5661" fmla="*/ 2559204 w 7714416"/>
              <a:gd name="connsiteY5661" fmla="*/ 4527457 h 5282095"/>
              <a:gd name="connsiteX5662" fmla="*/ 2566938 w 7714416"/>
              <a:gd name="connsiteY5662" fmla="*/ 4531454 h 5282095"/>
              <a:gd name="connsiteX5663" fmla="*/ 2565220 w 7714416"/>
              <a:gd name="connsiteY5663" fmla="*/ 4536454 h 5282095"/>
              <a:gd name="connsiteX5664" fmla="*/ 2560636 w 7714416"/>
              <a:gd name="connsiteY5664" fmla="*/ 4537787 h 5282095"/>
              <a:gd name="connsiteX5665" fmla="*/ 2550611 w 7714416"/>
              <a:gd name="connsiteY5665" fmla="*/ 4528345 h 5282095"/>
              <a:gd name="connsiteX5666" fmla="*/ 2554334 w 7714416"/>
              <a:gd name="connsiteY5666" fmla="*/ 4527233 h 5282095"/>
              <a:gd name="connsiteX5667" fmla="*/ 5727786 w 7714416"/>
              <a:gd name="connsiteY5667" fmla="*/ 4525013 h 5282095"/>
              <a:gd name="connsiteX5668" fmla="*/ 5734661 w 7714416"/>
              <a:gd name="connsiteY5668" fmla="*/ 4530234 h 5282095"/>
              <a:gd name="connsiteX5669" fmla="*/ 5723202 w 7714416"/>
              <a:gd name="connsiteY5669" fmla="*/ 4534122 h 5282095"/>
              <a:gd name="connsiteX5670" fmla="*/ 5722343 w 7714416"/>
              <a:gd name="connsiteY5670" fmla="*/ 4525678 h 5282095"/>
              <a:gd name="connsiteX5671" fmla="*/ 5727786 w 7714416"/>
              <a:gd name="connsiteY5671" fmla="*/ 4525013 h 5282095"/>
              <a:gd name="connsiteX5672" fmla="*/ 2324017 w 7714416"/>
              <a:gd name="connsiteY5672" fmla="*/ 4525012 h 5282095"/>
              <a:gd name="connsiteX5673" fmla="*/ 2325449 w 7714416"/>
              <a:gd name="connsiteY5673" fmla="*/ 4525457 h 5282095"/>
              <a:gd name="connsiteX5674" fmla="*/ 2331465 w 7714416"/>
              <a:gd name="connsiteY5674" fmla="*/ 4527901 h 5282095"/>
              <a:gd name="connsiteX5675" fmla="*/ 2331179 w 7714416"/>
              <a:gd name="connsiteY5675" fmla="*/ 4534121 h 5282095"/>
              <a:gd name="connsiteX5676" fmla="*/ 2320579 w 7714416"/>
              <a:gd name="connsiteY5676" fmla="*/ 4532678 h 5282095"/>
              <a:gd name="connsiteX5677" fmla="*/ 2320292 w 7714416"/>
              <a:gd name="connsiteY5677" fmla="*/ 4526346 h 5282095"/>
              <a:gd name="connsiteX5678" fmla="*/ 2324017 w 7714416"/>
              <a:gd name="connsiteY5678" fmla="*/ 4525012 h 5282095"/>
              <a:gd name="connsiteX5679" fmla="*/ 6243135 w 7714416"/>
              <a:gd name="connsiteY5679" fmla="*/ 4523235 h 5282095"/>
              <a:gd name="connsiteX5680" fmla="*/ 6254594 w 7714416"/>
              <a:gd name="connsiteY5680" fmla="*/ 4533122 h 5282095"/>
              <a:gd name="connsiteX5681" fmla="*/ 6258318 w 7714416"/>
              <a:gd name="connsiteY5681" fmla="*/ 4532788 h 5282095"/>
              <a:gd name="connsiteX5682" fmla="*/ 6264334 w 7714416"/>
              <a:gd name="connsiteY5682" fmla="*/ 4535677 h 5282095"/>
              <a:gd name="connsiteX5683" fmla="*/ 6262042 w 7714416"/>
              <a:gd name="connsiteY5683" fmla="*/ 4537898 h 5282095"/>
              <a:gd name="connsiteX5684" fmla="*/ 6254594 w 7714416"/>
              <a:gd name="connsiteY5684" fmla="*/ 4535676 h 5282095"/>
              <a:gd name="connsiteX5685" fmla="*/ 6253162 w 7714416"/>
              <a:gd name="connsiteY5685" fmla="*/ 4536343 h 5282095"/>
              <a:gd name="connsiteX5686" fmla="*/ 6251729 w 7714416"/>
              <a:gd name="connsiteY5686" fmla="*/ 4539565 h 5282095"/>
              <a:gd name="connsiteX5687" fmla="*/ 6236833 w 7714416"/>
              <a:gd name="connsiteY5687" fmla="*/ 4545784 h 5282095"/>
              <a:gd name="connsiteX5688" fmla="*/ 6223656 w 7714416"/>
              <a:gd name="connsiteY5688" fmla="*/ 4536565 h 5282095"/>
              <a:gd name="connsiteX5689" fmla="*/ 6224228 w 7714416"/>
              <a:gd name="connsiteY5689" fmla="*/ 4529678 h 5282095"/>
              <a:gd name="connsiteX5690" fmla="*/ 6243135 w 7714416"/>
              <a:gd name="connsiteY5690" fmla="*/ 4523235 h 5282095"/>
              <a:gd name="connsiteX5691" fmla="*/ 2755433 w 7714416"/>
              <a:gd name="connsiteY5691" fmla="*/ 4522902 h 5282095"/>
              <a:gd name="connsiteX5692" fmla="*/ 2755718 w 7714416"/>
              <a:gd name="connsiteY5692" fmla="*/ 4532789 h 5282095"/>
              <a:gd name="connsiteX5693" fmla="*/ 2739963 w 7714416"/>
              <a:gd name="connsiteY5693" fmla="*/ 4535121 h 5282095"/>
              <a:gd name="connsiteX5694" fmla="*/ 2755433 w 7714416"/>
              <a:gd name="connsiteY5694" fmla="*/ 4522902 h 5282095"/>
              <a:gd name="connsiteX5695" fmla="*/ 2874602 w 7714416"/>
              <a:gd name="connsiteY5695" fmla="*/ 4522680 h 5282095"/>
              <a:gd name="connsiteX5696" fmla="*/ 2887493 w 7714416"/>
              <a:gd name="connsiteY5696" fmla="*/ 4538120 h 5282095"/>
              <a:gd name="connsiteX5697" fmla="*/ 2883481 w 7714416"/>
              <a:gd name="connsiteY5697" fmla="*/ 4553783 h 5282095"/>
              <a:gd name="connsiteX5698" fmla="*/ 2874602 w 7714416"/>
              <a:gd name="connsiteY5698" fmla="*/ 4522680 h 5282095"/>
              <a:gd name="connsiteX5699" fmla="*/ 2250109 w 7714416"/>
              <a:gd name="connsiteY5699" fmla="*/ 4517793 h 5282095"/>
              <a:gd name="connsiteX5700" fmla="*/ 2264145 w 7714416"/>
              <a:gd name="connsiteY5700" fmla="*/ 4525346 h 5282095"/>
              <a:gd name="connsiteX5701" fmla="*/ 2249536 w 7714416"/>
              <a:gd name="connsiteY5701" fmla="*/ 4533232 h 5282095"/>
              <a:gd name="connsiteX5702" fmla="*/ 2250109 w 7714416"/>
              <a:gd name="connsiteY5702" fmla="*/ 4517793 h 5282095"/>
              <a:gd name="connsiteX5703" fmla="*/ 6596918 w 7714416"/>
              <a:gd name="connsiteY5703" fmla="*/ 4517459 h 5282095"/>
              <a:gd name="connsiteX5704" fmla="*/ 6649055 w 7714416"/>
              <a:gd name="connsiteY5704" fmla="*/ 4540564 h 5282095"/>
              <a:gd name="connsiteX5705" fmla="*/ 6613534 w 7714416"/>
              <a:gd name="connsiteY5705" fmla="*/ 4537454 h 5282095"/>
              <a:gd name="connsiteX5706" fmla="*/ 6596918 w 7714416"/>
              <a:gd name="connsiteY5706" fmla="*/ 4517459 h 5282095"/>
              <a:gd name="connsiteX5707" fmla="*/ 6715228 w 7714416"/>
              <a:gd name="connsiteY5707" fmla="*/ 4513460 h 5282095"/>
              <a:gd name="connsiteX5708" fmla="*/ 6713224 w 7714416"/>
              <a:gd name="connsiteY5708" fmla="*/ 4520569 h 5282095"/>
              <a:gd name="connsiteX5709" fmla="*/ 6708353 w 7714416"/>
              <a:gd name="connsiteY5709" fmla="*/ 4515126 h 5282095"/>
              <a:gd name="connsiteX5710" fmla="*/ 6715228 w 7714416"/>
              <a:gd name="connsiteY5710" fmla="*/ 4513460 h 5282095"/>
              <a:gd name="connsiteX5711" fmla="*/ 5959822 w 7714416"/>
              <a:gd name="connsiteY5711" fmla="*/ 4513016 h 5282095"/>
              <a:gd name="connsiteX5712" fmla="*/ 5961827 w 7714416"/>
              <a:gd name="connsiteY5712" fmla="*/ 4514460 h 5282095"/>
              <a:gd name="connsiteX5713" fmla="*/ 5960968 w 7714416"/>
              <a:gd name="connsiteY5713" fmla="*/ 4517792 h 5282095"/>
              <a:gd name="connsiteX5714" fmla="*/ 5954379 w 7714416"/>
              <a:gd name="connsiteY5714" fmla="*/ 4516127 h 5282095"/>
              <a:gd name="connsiteX5715" fmla="*/ 5959822 w 7714416"/>
              <a:gd name="connsiteY5715" fmla="*/ 4513016 h 5282095"/>
              <a:gd name="connsiteX5716" fmla="*/ 2189378 w 7714416"/>
              <a:gd name="connsiteY5716" fmla="*/ 4512905 h 5282095"/>
              <a:gd name="connsiteX5717" fmla="*/ 2190524 w 7714416"/>
              <a:gd name="connsiteY5717" fmla="*/ 4513794 h 5282095"/>
              <a:gd name="connsiteX5718" fmla="*/ 2188805 w 7714416"/>
              <a:gd name="connsiteY5718" fmla="*/ 4515349 h 5282095"/>
              <a:gd name="connsiteX5719" fmla="*/ 2189378 w 7714416"/>
              <a:gd name="connsiteY5719" fmla="*/ 4512905 h 5282095"/>
              <a:gd name="connsiteX5720" fmla="*/ 5742682 w 7714416"/>
              <a:gd name="connsiteY5720" fmla="*/ 4512904 h 5282095"/>
              <a:gd name="connsiteX5721" fmla="*/ 5746120 w 7714416"/>
              <a:gd name="connsiteY5721" fmla="*/ 4516126 h 5282095"/>
              <a:gd name="connsiteX5722" fmla="*/ 5731224 w 7714416"/>
              <a:gd name="connsiteY5722" fmla="*/ 4515460 h 5282095"/>
              <a:gd name="connsiteX5723" fmla="*/ 5742682 w 7714416"/>
              <a:gd name="connsiteY5723" fmla="*/ 4512904 h 5282095"/>
              <a:gd name="connsiteX5724" fmla="*/ 6955572 w 7714416"/>
              <a:gd name="connsiteY5724" fmla="*/ 4512239 h 5282095"/>
              <a:gd name="connsiteX5725" fmla="*/ 6969036 w 7714416"/>
              <a:gd name="connsiteY5725" fmla="*/ 4520236 h 5282095"/>
              <a:gd name="connsiteX5726" fmla="*/ 6953853 w 7714416"/>
              <a:gd name="connsiteY5726" fmla="*/ 4519347 h 5282095"/>
              <a:gd name="connsiteX5727" fmla="*/ 6955572 w 7714416"/>
              <a:gd name="connsiteY5727" fmla="*/ 4512239 h 5282095"/>
              <a:gd name="connsiteX5728" fmla="*/ 6026569 w 7714416"/>
              <a:gd name="connsiteY5728" fmla="*/ 4511794 h 5282095"/>
              <a:gd name="connsiteX5729" fmla="*/ 6031152 w 7714416"/>
              <a:gd name="connsiteY5729" fmla="*/ 4513681 h 5282095"/>
              <a:gd name="connsiteX5730" fmla="*/ 6032585 w 7714416"/>
              <a:gd name="connsiteY5730" fmla="*/ 4517126 h 5282095"/>
              <a:gd name="connsiteX5731" fmla="*/ 6023704 w 7714416"/>
              <a:gd name="connsiteY5731" fmla="*/ 4520903 h 5282095"/>
              <a:gd name="connsiteX5732" fmla="*/ 6022844 w 7714416"/>
              <a:gd name="connsiteY5732" fmla="*/ 4512127 h 5282095"/>
              <a:gd name="connsiteX5733" fmla="*/ 6026569 w 7714416"/>
              <a:gd name="connsiteY5733" fmla="*/ 4511794 h 5282095"/>
              <a:gd name="connsiteX5734" fmla="*/ 5973858 w 7714416"/>
              <a:gd name="connsiteY5734" fmla="*/ 4511016 h 5282095"/>
              <a:gd name="connsiteX5735" fmla="*/ 5976437 w 7714416"/>
              <a:gd name="connsiteY5735" fmla="*/ 4512571 h 5282095"/>
              <a:gd name="connsiteX5736" fmla="*/ 5979015 w 7714416"/>
              <a:gd name="connsiteY5736" fmla="*/ 4514904 h 5282095"/>
              <a:gd name="connsiteX5737" fmla="*/ 5979874 w 7714416"/>
              <a:gd name="connsiteY5737" fmla="*/ 4521458 h 5282095"/>
              <a:gd name="connsiteX5738" fmla="*/ 5974718 w 7714416"/>
              <a:gd name="connsiteY5738" fmla="*/ 4525679 h 5282095"/>
              <a:gd name="connsiteX5739" fmla="*/ 5971567 w 7714416"/>
              <a:gd name="connsiteY5739" fmla="*/ 4526679 h 5282095"/>
              <a:gd name="connsiteX5740" fmla="*/ 5969275 w 7714416"/>
              <a:gd name="connsiteY5740" fmla="*/ 4525790 h 5282095"/>
              <a:gd name="connsiteX5741" fmla="*/ 5968416 w 7714416"/>
              <a:gd name="connsiteY5741" fmla="*/ 4526567 h 5282095"/>
              <a:gd name="connsiteX5742" fmla="*/ 5963832 w 7714416"/>
              <a:gd name="connsiteY5742" fmla="*/ 4528456 h 5282095"/>
              <a:gd name="connsiteX5743" fmla="*/ 5961254 w 7714416"/>
              <a:gd name="connsiteY5743" fmla="*/ 4526235 h 5282095"/>
              <a:gd name="connsiteX5744" fmla="*/ 5959536 w 7714416"/>
              <a:gd name="connsiteY5744" fmla="*/ 4525012 h 5282095"/>
              <a:gd name="connsiteX5745" fmla="*/ 5956670 w 7714416"/>
              <a:gd name="connsiteY5745" fmla="*/ 4526900 h 5282095"/>
              <a:gd name="connsiteX5746" fmla="*/ 5952088 w 7714416"/>
              <a:gd name="connsiteY5746" fmla="*/ 4530011 h 5282095"/>
              <a:gd name="connsiteX5747" fmla="*/ 5943494 w 7714416"/>
              <a:gd name="connsiteY5747" fmla="*/ 4515681 h 5282095"/>
              <a:gd name="connsiteX5748" fmla="*/ 5950368 w 7714416"/>
              <a:gd name="connsiteY5748" fmla="*/ 4514904 h 5282095"/>
              <a:gd name="connsiteX5749" fmla="*/ 5956957 w 7714416"/>
              <a:gd name="connsiteY5749" fmla="*/ 4517792 h 5282095"/>
              <a:gd name="connsiteX5750" fmla="*/ 5959536 w 7714416"/>
              <a:gd name="connsiteY5750" fmla="*/ 4522679 h 5282095"/>
              <a:gd name="connsiteX5751" fmla="*/ 5960681 w 7714416"/>
              <a:gd name="connsiteY5751" fmla="*/ 4521680 h 5282095"/>
              <a:gd name="connsiteX5752" fmla="*/ 5963546 w 7714416"/>
              <a:gd name="connsiteY5752" fmla="*/ 4521125 h 5282095"/>
              <a:gd name="connsiteX5753" fmla="*/ 5962973 w 7714416"/>
              <a:gd name="connsiteY5753" fmla="*/ 4518347 h 5282095"/>
              <a:gd name="connsiteX5754" fmla="*/ 5973858 w 7714416"/>
              <a:gd name="connsiteY5754" fmla="*/ 4511016 h 5282095"/>
              <a:gd name="connsiteX5755" fmla="*/ 6372044 w 7714416"/>
              <a:gd name="connsiteY5755" fmla="*/ 4510905 h 5282095"/>
              <a:gd name="connsiteX5756" fmla="*/ 6380638 w 7714416"/>
              <a:gd name="connsiteY5756" fmla="*/ 4515904 h 5282095"/>
              <a:gd name="connsiteX5757" fmla="*/ 6380352 w 7714416"/>
              <a:gd name="connsiteY5757" fmla="*/ 4518570 h 5282095"/>
              <a:gd name="connsiteX5758" fmla="*/ 6377488 w 7714416"/>
              <a:gd name="connsiteY5758" fmla="*/ 4520569 h 5282095"/>
              <a:gd name="connsiteX5759" fmla="*/ 6373763 w 7714416"/>
              <a:gd name="connsiteY5759" fmla="*/ 4522235 h 5282095"/>
              <a:gd name="connsiteX5760" fmla="*/ 6364023 w 7714416"/>
              <a:gd name="connsiteY5760" fmla="*/ 4522681 h 5282095"/>
              <a:gd name="connsiteX5761" fmla="*/ 6359153 w 7714416"/>
              <a:gd name="connsiteY5761" fmla="*/ 4519014 h 5282095"/>
              <a:gd name="connsiteX5762" fmla="*/ 6358294 w 7714416"/>
              <a:gd name="connsiteY5762" fmla="*/ 4516681 h 5282095"/>
              <a:gd name="connsiteX5763" fmla="*/ 6372044 w 7714416"/>
              <a:gd name="connsiteY5763" fmla="*/ 4510905 h 5282095"/>
              <a:gd name="connsiteX5764" fmla="*/ 5284052 w 7714416"/>
              <a:gd name="connsiteY5764" fmla="*/ 4510572 h 5282095"/>
              <a:gd name="connsiteX5765" fmla="*/ 5302100 w 7714416"/>
              <a:gd name="connsiteY5765" fmla="*/ 4537454 h 5282095"/>
              <a:gd name="connsiteX5766" fmla="*/ 5303246 w 7714416"/>
              <a:gd name="connsiteY5766" fmla="*/ 4544008 h 5282095"/>
              <a:gd name="connsiteX5767" fmla="*/ 5305824 w 7714416"/>
              <a:gd name="connsiteY5767" fmla="*/ 4541897 h 5282095"/>
              <a:gd name="connsiteX5768" fmla="*/ 5313845 w 7714416"/>
              <a:gd name="connsiteY5768" fmla="*/ 4542120 h 5282095"/>
              <a:gd name="connsiteX5769" fmla="*/ 5308688 w 7714416"/>
              <a:gd name="connsiteY5769" fmla="*/ 4545563 h 5282095"/>
              <a:gd name="connsiteX5770" fmla="*/ 5303818 w 7714416"/>
              <a:gd name="connsiteY5770" fmla="*/ 4546230 h 5282095"/>
              <a:gd name="connsiteX5771" fmla="*/ 5304392 w 7714416"/>
              <a:gd name="connsiteY5771" fmla="*/ 4550562 h 5282095"/>
              <a:gd name="connsiteX5772" fmla="*/ 5268297 w 7714416"/>
              <a:gd name="connsiteY5772" fmla="*/ 4519347 h 5282095"/>
              <a:gd name="connsiteX5773" fmla="*/ 5284052 w 7714416"/>
              <a:gd name="connsiteY5773" fmla="*/ 4510572 h 5282095"/>
              <a:gd name="connsiteX5774" fmla="*/ 3026715 w 7714416"/>
              <a:gd name="connsiteY5774" fmla="*/ 4508350 h 5282095"/>
              <a:gd name="connsiteX5775" fmla="*/ 3035594 w 7714416"/>
              <a:gd name="connsiteY5775" fmla="*/ 4513126 h 5282095"/>
              <a:gd name="connsiteX5776" fmla="*/ 3014109 w 7714416"/>
              <a:gd name="connsiteY5776" fmla="*/ 4523901 h 5282095"/>
              <a:gd name="connsiteX5777" fmla="*/ 3026715 w 7714416"/>
              <a:gd name="connsiteY5777" fmla="*/ 4508350 h 5282095"/>
              <a:gd name="connsiteX5778" fmla="*/ 1959921 w 7714416"/>
              <a:gd name="connsiteY5778" fmla="*/ 4508349 h 5282095"/>
              <a:gd name="connsiteX5779" fmla="*/ 1968801 w 7714416"/>
              <a:gd name="connsiteY5779" fmla="*/ 4513127 h 5282095"/>
              <a:gd name="connsiteX5780" fmla="*/ 1947317 w 7714416"/>
              <a:gd name="connsiteY5780" fmla="*/ 4523901 h 5282095"/>
              <a:gd name="connsiteX5781" fmla="*/ 1959921 w 7714416"/>
              <a:gd name="connsiteY5781" fmla="*/ 4508349 h 5282095"/>
              <a:gd name="connsiteX5782" fmla="*/ 2530844 w 7714416"/>
              <a:gd name="connsiteY5782" fmla="*/ 4507129 h 5282095"/>
              <a:gd name="connsiteX5783" fmla="*/ 2540011 w 7714416"/>
              <a:gd name="connsiteY5783" fmla="*/ 4514571 h 5282095"/>
              <a:gd name="connsiteX5784" fmla="*/ 2526260 w 7714416"/>
              <a:gd name="connsiteY5784" fmla="*/ 4508795 h 5282095"/>
              <a:gd name="connsiteX5785" fmla="*/ 2530844 w 7714416"/>
              <a:gd name="connsiteY5785" fmla="*/ 4507129 h 5282095"/>
              <a:gd name="connsiteX5786" fmla="*/ 5196681 w 7714416"/>
              <a:gd name="connsiteY5786" fmla="*/ 4506351 h 5282095"/>
              <a:gd name="connsiteX5787" fmla="*/ 5168608 w 7714416"/>
              <a:gd name="connsiteY5787" fmla="*/ 4517681 h 5282095"/>
              <a:gd name="connsiteX5788" fmla="*/ 5171472 w 7714416"/>
              <a:gd name="connsiteY5788" fmla="*/ 4517681 h 5282095"/>
              <a:gd name="connsiteX5789" fmla="*/ 5160300 w 7714416"/>
              <a:gd name="connsiteY5789" fmla="*/ 4523346 h 5282095"/>
              <a:gd name="connsiteX5790" fmla="*/ 5157435 w 7714416"/>
              <a:gd name="connsiteY5790" fmla="*/ 4523346 h 5282095"/>
              <a:gd name="connsiteX5791" fmla="*/ 5131654 w 7714416"/>
              <a:gd name="connsiteY5791" fmla="*/ 4536232 h 5282095"/>
              <a:gd name="connsiteX5792" fmla="*/ 5136237 w 7714416"/>
              <a:gd name="connsiteY5792" fmla="*/ 4538898 h 5282095"/>
              <a:gd name="connsiteX5793" fmla="*/ 5137669 w 7714416"/>
              <a:gd name="connsiteY5793" fmla="*/ 4544341 h 5282095"/>
              <a:gd name="connsiteX5794" fmla="*/ 5137669 w 7714416"/>
              <a:gd name="connsiteY5794" fmla="*/ 4542120 h 5282095"/>
              <a:gd name="connsiteX5795" fmla="*/ 5148841 w 7714416"/>
              <a:gd name="connsiteY5795" fmla="*/ 4536454 h 5282095"/>
              <a:gd name="connsiteX5796" fmla="*/ 5154570 w 7714416"/>
              <a:gd name="connsiteY5796" fmla="*/ 4534566 h 5282095"/>
              <a:gd name="connsiteX5797" fmla="*/ 5179780 w 7714416"/>
              <a:gd name="connsiteY5797" fmla="*/ 4523345 h 5282095"/>
              <a:gd name="connsiteX5798" fmla="*/ 5196681 w 7714416"/>
              <a:gd name="connsiteY5798" fmla="*/ 4506351 h 5282095"/>
              <a:gd name="connsiteX5799" fmla="*/ 5796537 w 7714416"/>
              <a:gd name="connsiteY5799" fmla="*/ 4506128 h 5282095"/>
              <a:gd name="connsiteX5800" fmla="*/ 5803412 w 7714416"/>
              <a:gd name="connsiteY5800" fmla="*/ 4507573 h 5282095"/>
              <a:gd name="connsiteX5801" fmla="*/ 5803699 w 7714416"/>
              <a:gd name="connsiteY5801" fmla="*/ 4511127 h 5282095"/>
              <a:gd name="connsiteX5802" fmla="*/ 5794818 w 7714416"/>
              <a:gd name="connsiteY5802" fmla="*/ 4509683 h 5282095"/>
              <a:gd name="connsiteX5803" fmla="*/ 5796537 w 7714416"/>
              <a:gd name="connsiteY5803" fmla="*/ 4506128 h 5282095"/>
              <a:gd name="connsiteX5804" fmla="*/ 6376914 w 7714416"/>
              <a:gd name="connsiteY5804" fmla="*/ 4505129 h 5282095"/>
              <a:gd name="connsiteX5805" fmla="*/ 6379778 w 7714416"/>
              <a:gd name="connsiteY5805" fmla="*/ 4506795 h 5282095"/>
              <a:gd name="connsiteX5806" fmla="*/ 6380352 w 7714416"/>
              <a:gd name="connsiteY5806" fmla="*/ 4508906 h 5282095"/>
              <a:gd name="connsiteX5807" fmla="*/ 6377774 w 7714416"/>
              <a:gd name="connsiteY5807" fmla="*/ 4510350 h 5282095"/>
              <a:gd name="connsiteX5808" fmla="*/ 6373190 w 7714416"/>
              <a:gd name="connsiteY5808" fmla="*/ 4509572 h 5282095"/>
              <a:gd name="connsiteX5809" fmla="*/ 6742156 w 7714416"/>
              <a:gd name="connsiteY5809" fmla="*/ 4504907 h 5282095"/>
              <a:gd name="connsiteX5810" fmla="*/ 6749318 w 7714416"/>
              <a:gd name="connsiteY5810" fmla="*/ 4531567 h 5282095"/>
              <a:gd name="connsiteX5811" fmla="*/ 6741296 w 7714416"/>
              <a:gd name="connsiteY5811" fmla="*/ 4537010 h 5282095"/>
              <a:gd name="connsiteX5812" fmla="*/ 6742156 w 7714416"/>
              <a:gd name="connsiteY5812" fmla="*/ 4504907 h 5282095"/>
              <a:gd name="connsiteX5813" fmla="*/ 5779350 w 7714416"/>
              <a:gd name="connsiteY5813" fmla="*/ 4504573 h 5282095"/>
              <a:gd name="connsiteX5814" fmla="*/ 5784792 w 7714416"/>
              <a:gd name="connsiteY5814" fmla="*/ 4505906 h 5282095"/>
              <a:gd name="connsiteX5815" fmla="*/ 5785078 w 7714416"/>
              <a:gd name="connsiteY5815" fmla="*/ 4507017 h 5282095"/>
              <a:gd name="connsiteX5816" fmla="*/ 5776484 w 7714416"/>
              <a:gd name="connsiteY5816" fmla="*/ 4506795 h 5282095"/>
              <a:gd name="connsiteX5817" fmla="*/ 5779350 w 7714416"/>
              <a:gd name="connsiteY5817" fmla="*/ 4504573 h 5282095"/>
              <a:gd name="connsiteX5818" fmla="*/ 5642706 w 7714416"/>
              <a:gd name="connsiteY5818" fmla="*/ 4504351 h 5282095"/>
              <a:gd name="connsiteX5819" fmla="*/ 5651873 w 7714416"/>
              <a:gd name="connsiteY5819" fmla="*/ 4510016 h 5282095"/>
              <a:gd name="connsiteX5820" fmla="*/ 5650154 w 7714416"/>
              <a:gd name="connsiteY5820" fmla="*/ 4522235 h 5282095"/>
              <a:gd name="connsiteX5821" fmla="*/ 5638122 w 7714416"/>
              <a:gd name="connsiteY5821" fmla="*/ 4504796 h 5282095"/>
              <a:gd name="connsiteX5822" fmla="*/ 5642706 w 7714416"/>
              <a:gd name="connsiteY5822" fmla="*/ 4504351 h 5282095"/>
              <a:gd name="connsiteX5823" fmla="*/ 5861564 w 7714416"/>
              <a:gd name="connsiteY5823" fmla="*/ 4503129 h 5282095"/>
              <a:gd name="connsiteX5824" fmla="*/ 5812579 w 7714416"/>
              <a:gd name="connsiteY5824" fmla="*/ 4520348 h 5282095"/>
              <a:gd name="connsiteX5825" fmla="*/ 5861564 w 7714416"/>
              <a:gd name="connsiteY5825" fmla="*/ 4503129 h 5282095"/>
              <a:gd name="connsiteX5826" fmla="*/ 6159488 w 7714416"/>
              <a:gd name="connsiteY5826" fmla="*/ 4502462 h 5282095"/>
              <a:gd name="connsiteX5827" fmla="*/ 6186415 w 7714416"/>
              <a:gd name="connsiteY5827" fmla="*/ 4513793 h 5282095"/>
              <a:gd name="connsiteX5828" fmla="*/ 6183837 w 7714416"/>
              <a:gd name="connsiteY5828" fmla="*/ 4515904 h 5282095"/>
              <a:gd name="connsiteX5829" fmla="*/ 6183264 w 7714416"/>
              <a:gd name="connsiteY5829" fmla="*/ 4515904 h 5282095"/>
              <a:gd name="connsiteX5830" fmla="*/ 6184410 w 7714416"/>
              <a:gd name="connsiteY5830" fmla="*/ 4517126 h 5282095"/>
              <a:gd name="connsiteX5831" fmla="*/ 6184124 w 7714416"/>
              <a:gd name="connsiteY5831" fmla="*/ 4525790 h 5282095"/>
              <a:gd name="connsiteX5832" fmla="*/ 6166649 w 7714416"/>
              <a:gd name="connsiteY5832" fmla="*/ 4532344 h 5282095"/>
              <a:gd name="connsiteX5833" fmla="*/ 6165790 w 7714416"/>
              <a:gd name="connsiteY5833" fmla="*/ 4535010 h 5282095"/>
              <a:gd name="connsiteX5834" fmla="*/ 6160060 w 7714416"/>
              <a:gd name="connsiteY5834" fmla="*/ 4538898 h 5282095"/>
              <a:gd name="connsiteX5835" fmla="*/ 6157768 w 7714416"/>
              <a:gd name="connsiteY5835" fmla="*/ 4537010 h 5282095"/>
              <a:gd name="connsiteX5836" fmla="*/ 6162925 w 7714416"/>
              <a:gd name="connsiteY5836" fmla="*/ 4532122 h 5282095"/>
              <a:gd name="connsiteX5837" fmla="*/ 6162638 w 7714416"/>
              <a:gd name="connsiteY5837" fmla="*/ 4531011 h 5282095"/>
              <a:gd name="connsiteX5838" fmla="*/ 6158342 w 7714416"/>
              <a:gd name="connsiteY5838" fmla="*/ 4529567 h 5282095"/>
              <a:gd name="connsiteX5839" fmla="*/ 6154044 w 7714416"/>
              <a:gd name="connsiteY5839" fmla="*/ 4518570 h 5282095"/>
              <a:gd name="connsiteX5840" fmla="*/ 6156623 w 7714416"/>
              <a:gd name="connsiteY5840" fmla="*/ 4517570 h 5282095"/>
              <a:gd name="connsiteX5841" fmla="*/ 6160347 w 7714416"/>
              <a:gd name="connsiteY5841" fmla="*/ 4514904 h 5282095"/>
              <a:gd name="connsiteX5842" fmla="*/ 6158055 w 7714416"/>
              <a:gd name="connsiteY5842" fmla="*/ 4513349 h 5282095"/>
              <a:gd name="connsiteX5843" fmla="*/ 6154044 w 7714416"/>
              <a:gd name="connsiteY5843" fmla="*/ 4507572 h 5282095"/>
              <a:gd name="connsiteX5844" fmla="*/ 6155477 w 7714416"/>
              <a:gd name="connsiteY5844" fmla="*/ 4507017 h 5282095"/>
              <a:gd name="connsiteX5845" fmla="*/ 6160347 w 7714416"/>
              <a:gd name="connsiteY5845" fmla="*/ 4511460 h 5282095"/>
              <a:gd name="connsiteX5846" fmla="*/ 6162925 w 7714416"/>
              <a:gd name="connsiteY5846" fmla="*/ 4513349 h 5282095"/>
              <a:gd name="connsiteX5847" fmla="*/ 6165503 w 7714416"/>
              <a:gd name="connsiteY5847" fmla="*/ 4511904 h 5282095"/>
              <a:gd name="connsiteX5848" fmla="*/ 6169514 w 7714416"/>
              <a:gd name="connsiteY5848" fmla="*/ 4511127 h 5282095"/>
              <a:gd name="connsiteX5849" fmla="*/ 6167222 w 7714416"/>
              <a:gd name="connsiteY5849" fmla="*/ 4510128 h 5282095"/>
              <a:gd name="connsiteX5850" fmla="*/ 6159488 w 7714416"/>
              <a:gd name="connsiteY5850" fmla="*/ 4502462 h 5282095"/>
              <a:gd name="connsiteX5851" fmla="*/ 2868299 w 7714416"/>
              <a:gd name="connsiteY5851" fmla="*/ 4501018 h 5282095"/>
              <a:gd name="connsiteX5852" fmla="*/ 2867726 w 7714416"/>
              <a:gd name="connsiteY5852" fmla="*/ 4503129 h 5282095"/>
              <a:gd name="connsiteX5853" fmla="*/ 2870591 w 7714416"/>
              <a:gd name="connsiteY5853" fmla="*/ 4502463 h 5282095"/>
              <a:gd name="connsiteX5854" fmla="*/ 2870877 w 7714416"/>
              <a:gd name="connsiteY5854" fmla="*/ 4501574 h 5282095"/>
              <a:gd name="connsiteX5855" fmla="*/ 2869158 w 7714416"/>
              <a:gd name="connsiteY5855" fmla="*/ 4501241 h 5282095"/>
              <a:gd name="connsiteX5856" fmla="*/ 5952374 w 7714416"/>
              <a:gd name="connsiteY5856" fmla="*/ 4500352 h 5282095"/>
              <a:gd name="connsiteX5857" fmla="*/ 5955238 w 7714416"/>
              <a:gd name="connsiteY5857" fmla="*/ 4502018 h 5282095"/>
              <a:gd name="connsiteX5858" fmla="*/ 5944067 w 7714416"/>
              <a:gd name="connsiteY5858" fmla="*/ 4508239 h 5282095"/>
              <a:gd name="connsiteX5859" fmla="*/ 5941202 w 7714416"/>
              <a:gd name="connsiteY5859" fmla="*/ 4506684 h 5282095"/>
              <a:gd name="connsiteX5860" fmla="*/ 5943207 w 7714416"/>
              <a:gd name="connsiteY5860" fmla="*/ 4503573 h 5282095"/>
              <a:gd name="connsiteX5861" fmla="*/ 5952374 w 7714416"/>
              <a:gd name="connsiteY5861" fmla="*/ 4500352 h 5282095"/>
              <a:gd name="connsiteX5862" fmla="*/ 2335190 w 7714416"/>
              <a:gd name="connsiteY5862" fmla="*/ 4500352 h 5282095"/>
              <a:gd name="connsiteX5863" fmla="*/ 2340919 w 7714416"/>
              <a:gd name="connsiteY5863" fmla="*/ 4500352 h 5282095"/>
              <a:gd name="connsiteX5864" fmla="*/ 2323158 w 7714416"/>
              <a:gd name="connsiteY5864" fmla="*/ 4508906 h 5282095"/>
              <a:gd name="connsiteX5865" fmla="*/ 2335190 w 7714416"/>
              <a:gd name="connsiteY5865" fmla="*/ 4500352 h 5282095"/>
              <a:gd name="connsiteX5866" fmla="*/ 6146024 w 7714416"/>
              <a:gd name="connsiteY5866" fmla="*/ 4497464 h 5282095"/>
              <a:gd name="connsiteX5867" fmla="*/ 6153758 w 7714416"/>
              <a:gd name="connsiteY5867" fmla="*/ 4499686 h 5282095"/>
              <a:gd name="connsiteX5868" fmla="*/ 6153186 w 7714416"/>
              <a:gd name="connsiteY5868" fmla="*/ 4501241 h 5282095"/>
              <a:gd name="connsiteX5869" fmla="*/ 6146024 w 7714416"/>
              <a:gd name="connsiteY5869" fmla="*/ 4497464 h 5282095"/>
              <a:gd name="connsiteX5870" fmla="*/ 3026714 w 7714416"/>
              <a:gd name="connsiteY5870" fmla="*/ 4497131 h 5282095"/>
              <a:gd name="connsiteX5871" fmla="*/ 3049344 w 7714416"/>
              <a:gd name="connsiteY5871" fmla="*/ 4510461 h 5282095"/>
              <a:gd name="connsiteX5872" fmla="*/ 3026714 w 7714416"/>
              <a:gd name="connsiteY5872" fmla="*/ 4497131 h 5282095"/>
              <a:gd name="connsiteX5873" fmla="*/ 6392097 w 7714416"/>
              <a:gd name="connsiteY5873" fmla="*/ 4496131 h 5282095"/>
              <a:gd name="connsiteX5874" fmla="*/ 6393242 w 7714416"/>
              <a:gd name="connsiteY5874" fmla="*/ 4496131 h 5282095"/>
              <a:gd name="connsiteX5875" fmla="*/ 6397253 w 7714416"/>
              <a:gd name="connsiteY5875" fmla="*/ 4497464 h 5282095"/>
              <a:gd name="connsiteX5876" fmla="*/ 6399831 w 7714416"/>
              <a:gd name="connsiteY5876" fmla="*/ 4500907 h 5282095"/>
              <a:gd name="connsiteX5877" fmla="*/ 6399831 w 7714416"/>
              <a:gd name="connsiteY5877" fmla="*/ 4504017 h 5282095"/>
              <a:gd name="connsiteX5878" fmla="*/ 6396966 w 7714416"/>
              <a:gd name="connsiteY5878" fmla="*/ 4505906 h 5282095"/>
              <a:gd name="connsiteX5879" fmla="*/ 6390378 w 7714416"/>
              <a:gd name="connsiteY5879" fmla="*/ 4498019 h 5282095"/>
              <a:gd name="connsiteX5880" fmla="*/ 6392097 w 7714416"/>
              <a:gd name="connsiteY5880" fmla="*/ 4496131 h 5282095"/>
              <a:gd name="connsiteX5881" fmla="*/ 2172477 w 7714416"/>
              <a:gd name="connsiteY5881" fmla="*/ 4495465 h 5282095"/>
              <a:gd name="connsiteX5882" fmla="*/ 2180784 w 7714416"/>
              <a:gd name="connsiteY5882" fmla="*/ 4508795 h 5282095"/>
              <a:gd name="connsiteX5883" fmla="*/ 2176488 w 7714416"/>
              <a:gd name="connsiteY5883" fmla="*/ 4522569 h 5282095"/>
              <a:gd name="connsiteX5884" fmla="*/ 2172477 w 7714416"/>
              <a:gd name="connsiteY5884" fmla="*/ 4495465 h 5282095"/>
              <a:gd name="connsiteX5885" fmla="*/ 5364836 w 7714416"/>
              <a:gd name="connsiteY5885" fmla="*/ 4495354 h 5282095"/>
              <a:gd name="connsiteX5886" fmla="*/ 5378299 w 7714416"/>
              <a:gd name="connsiteY5886" fmla="*/ 4503129 h 5282095"/>
              <a:gd name="connsiteX5887" fmla="*/ 5372856 w 7714416"/>
              <a:gd name="connsiteY5887" fmla="*/ 4528345 h 5282095"/>
              <a:gd name="connsiteX5888" fmla="*/ 5372570 w 7714416"/>
              <a:gd name="connsiteY5888" fmla="*/ 4528456 h 5282095"/>
              <a:gd name="connsiteX5889" fmla="*/ 5381737 w 7714416"/>
              <a:gd name="connsiteY5889" fmla="*/ 4533343 h 5282095"/>
              <a:gd name="connsiteX5890" fmla="*/ 5375721 w 7714416"/>
              <a:gd name="connsiteY5890" fmla="*/ 4544230 h 5282095"/>
              <a:gd name="connsiteX5891" fmla="*/ 5365695 w 7714416"/>
              <a:gd name="connsiteY5891" fmla="*/ 4545563 h 5282095"/>
              <a:gd name="connsiteX5892" fmla="*/ 5365695 w 7714416"/>
              <a:gd name="connsiteY5892" fmla="*/ 4546563 h 5282095"/>
              <a:gd name="connsiteX5893" fmla="*/ 5353377 w 7714416"/>
              <a:gd name="connsiteY5893" fmla="*/ 4553449 h 5282095"/>
              <a:gd name="connsiteX5894" fmla="*/ 5343637 w 7714416"/>
              <a:gd name="connsiteY5894" fmla="*/ 4535455 h 5282095"/>
              <a:gd name="connsiteX5895" fmla="*/ 5341059 w 7714416"/>
              <a:gd name="connsiteY5895" fmla="*/ 4531345 h 5282095"/>
              <a:gd name="connsiteX5896" fmla="*/ 5338194 w 7714416"/>
              <a:gd name="connsiteY5896" fmla="*/ 4535565 h 5282095"/>
              <a:gd name="connsiteX5897" fmla="*/ 5327882 w 7714416"/>
              <a:gd name="connsiteY5897" fmla="*/ 4521125 h 5282095"/>
              <a:gd name="connsiteX5898" fmla="*/ 5334184 w 7714416"/>
              <a:gd name="connsiteY5898" fmla="*/ 4522235 h 5282095"/>
              <a:gd name="connsiteX5899" fmla="*/ 5339054 w 7714416"/>
              <a:gd name="connsiteY5899" fmla="*/ 4524012 h 5282095"/>
              <a:gd name="connsiteX5900" fmla="*/ 5339626 w 7714416"/>
              <a:gd name="connsiteY5900" fmla="*/ 4519347 h 5282095"/>
              <a:gd name="connsiteX5901" fmla="*/ 5346502 w 7714416"/>
              <a:gd name="connsiteY5901" fmla="*/ 4524346 h 5282095"/>
              <a:gd name="connsiteX5902" fmla="*/ 5347934 w 7714416"/>
              <a:gd name="connsiteY5902" fmla="*/ 4525235 h 5282095"/>
              <a:gd name="connsiteX5903" fmla="*/ 5351944 w 7714416"/>
              <a:gd name="connsiteY5903" fmla="*/ 4523902 h 5282095"/>
              <a:gd name="connsiteX5904" fmla="*/ 5359679 w 7714416"/>
              <a:gd name="connsiteY5904" fmla="*/ 4525124 h 5282095"/>
              <a:gd name="connsiteX5905" fmla="*/ 5355382 w 7714416"/>
              <a:gd name="connsiteY5905" fmla="*/ 4516459 h 5282095"/>
              <a:gd name="connsiteX5906" fmla="*/ 5357674 w 7714416"/>
              <a:gd name="connsiteY5906" fmla="*/ 4496908 h 5282095"/>
              <a:gd name="connsiteX5907" fmla="*/ 5364836 w 7714416"/>
              <a:gd name="connsiteY5907" fmla="*/ 4495354 h 5282095"/>
              <a:gd name="connsiteX5908" fmla="*/ 2990334 w 7714416"/>
              <a:gd name="connsiteY5908" fmla="*/ 4495353 h 5282095"/>
              <a:gd name="connsiteX5909" fmla="*/ 3003796 w 7714416"/>
              <a:gd name="connsiteY5909" fmla="*/ 4503129 h 5282095"/>
              <a:gd name="connsiteX5910" fmla="*/ 2998354 w 7714416"/>
              <a:gd name="connsiteY5910" fmla="*/ 4528345 h 5282095"/>
              <a:gd name="connsiteX5911" fmla="*/ 2998068 w 7714416"/>
              <a:gd name="connsiteY5911" fmla="*/ 4528456 h 5282095"/>
              <a:gd name="connsiteX5912" fmla="*/ 3007234 w 7714416"/>
              <a:gd name="connsiteY5912" fmla="*/ 4533344 h 5282095"/>
              <a:gd name="connsiteX5913" fmla="*/ 3001218 w 7714416"/>
              <a:gd name="connsiteY5913" fmla="*/ 4544230 h 5282095"/>
              <a:gd name="connsiteX5914" fmla="*/ 2991193 w 7714416"/>
              <a:gd name="connsiteY5914" fmla="*/ 4545563 h 5282095"/>
              <a:gd name="connsiteX5915" fmla="*/ 2990905 w 7714416"/>
              <a:gd name="connsiteY5915" fmla="*/ 4546562 h 5282095"/>
              <a:gd name="connsiteX5916" fmla="*/ 2978588 w 7714416"/>
              <a:gd name="connsiteY5916" fmla="*/ 4553450 h 5282095"/>
              <a:gd name="connsiteX5917" fmla="*/ 2969134 w 7714416"/>
              <a:gd name="connsiteY5917" fmla="*/ 4535455 h 5282095"/>
              <a:gd name="connsiteX5918" fmla="*/ 2966556 w 7714416"/>
              <a:gd name="connsiteY5918" fmla="*/ 4531344 h 5282095"/>
              <a:gd name="connsiteX5919" fmla="*/ 2963691 w 7714416"/>
              <a:gd name="connsiteY5919" fmla="*/ 4535565 h 5282095"/>
              <a:gd name="connsiteX5920" fmla="*/ 2953379 w 7714416"/>
              <a:gd name="connsiteY5920" fmla="*/ 4521125 h 5282095"/>
              <a:gd name="connsiteX5921" fmla="*/ 2959681 w 7714416"/>
              <a:gd name="connsiteY5921" fmla="*/ 4522235 h 5282095"/>
              <a:gd name="connsiteX5922" fmla="*/ 2964552 w 7714416"/>
              <a:gd name="connsiteY5922" fmla="*/ 4524013 h 5282095"/>
              <a:gd name="connsiteX5923" fmla="*/ 2965125 w 7714416"/>
              <a:gd name="connsiteY5923" fmla="*/ 4519347 h 5282095"/>
              <a:gd name="connsiteX5924" fmla="*/ 2971999 w 7714416"/>
              <a:gd name="connsiteY5924" fmla="*/ 4524346 h 5282095"/>
              <a:gd name="connsiteX5925" fmla="*/ 2973431 w 7714416"/>
              <a:gd name="connsiteY5925" fmla="*/ 4525235 h 5282095"/>
              <a:gd name="connsiteX5926" fmla="*/ 2977443 w 7714416"/>
              <a:gd name="connsiteY5926" fmla="*/ 4523901 h 5282095"/>
              <a:gd name="connsiteX5927" fmla="*/ 2985177 w 7714416"/>
              <a:gd name="connsiteY5927" fmla="*/ 4525124 h 5282095"/>
              <a:gd name="connsiteX5928" fmla="*/ 2980879 w 7714416"/>
              <a:gd name="connsiteY5928" fmla="*/ 4516459 h 5282095"/>
              <a:gd name="connsiteX5929" fmla="*/ 2983171 w 7714416"/>
              <a:gd name="connsiteY5929" fmla="*/ 4496908 h 5282095"/>
              <a:gd name="connsiteX5930" fmla="*/ 2990334 w 7714416"/>
              <a:gd name="connsiteY5930" fmla="*/ 4495353 h 5282095"/>
              <a:gd name="connsiteX5931" fmla="*/ 5798257 w 7714416"/>
              <a:gd name="connsiteY5931" fmla="*/ 4488911 h 5282095"/>
              <a:gd name="connsiteX5932" fmla="*/ 5811148 w 7714416"/>
              <a:gd name="connsiteY5932" fmla="*/ 4492354 h 5282095"/>
              <a:gd name="connsiteX5933" fmla="*/ 5805704 w 7714416"/>
              <a:gd name="connsiteY5933" fmla="*/ 4503130 h 5282095"/>
              <a:gd name="connsiteX5934" fmla="*/ 5798257 w 7714416"/>
              <a:gd name="connsiteY5934" fmla="*/ 4488911 h 5282095"/>
              <a:gd name="connsiteX5935" fmla="*/ 2261855 w 7714416"/>
              <a:gd name="connsiteY5935" fmla="*/ 4486134 h 5282095"/>
              <a:gd name="connsiteX5936" fmla="*/ 2273599 w 7714416"/>
              <a:gd name="connsiteY5936" fmla="*/ 4489355 h 5282095"/>
              <a:gd name="connsiteX5937" fmla="*/ 2276463 w 7714416"/>
              <a:gd name="connsiteY5937" fmla="*/ 4504796 h 5282095"/>
              <a:gd name="connsiteX5938" fmla="*/ 2260994 w 7714416"/>
              <a:gd name="connsiteY5938" fmla="*/ 4509239 h 5282095"/>
              <a:gd name="connsiteX5939" fmla="*/ 2262428 w 7714416"/>
              <a:gd name="connsiteY5939" fmla="*/ 4509461 h 5282095"/>
              <a:gd name="connsiteX5940" fmla="*/ 2279042 w 7714416"/>
              <a:gd name="connsiteY5940" fmla="*/ 4527123 h 5282095"/>
              <a:gd name="connsiteX5941" fmla="*/ 2273885 w 7714416"/>
              <a:gd name="connsiteY5941" fmla="*/ 4525457 h 5282095"/>
              <a:gd name="connsiteX5942" fmla="*/ 2272453 w 7714416"/>
              <a:gd name="connsiteY5942" fmla="*/ 4524235 h 5282095"/>
              <a:gd name="connsiteX5943" fmla="*/ 2270734 w 7714416"/>
              <a:gd name="connsiteY5943" fmla="*/ 4524013 h 5282095"/>
              <a:gd name="connsiteX5944" fmla="*/ 2270734 w 7714416"/>
              <a:gd name="connsiteY5944" fmla="*/ 4522902 h 5282095"/>
              <a:gd name="connsiteX5945" fmla="*/ 2267298 w 7714416"/>
              <a:gd name="connsiteY5945" fmla="*/ 4520237 h 5282095"/>
              <a:gd name="connsiteX5946" fmla="*/ 2257270 w 7714416"/>
              <a:gd name="connsiteY5946" fmla="*/ 4516015 h 5282095"/>
              <a:gd name="connsiteX5947" fmla="*/ 2250682 w 7714416"/>
              <a:gd name="connsiteY5947" fmla="*/ 4508461 h 5282095"/>
              <a:gd name="connsiteX5948" fmla="*/ 2254120 w 7714416"/>
              <a:gd name="connsiteY5948" fmla="*/ 4506351 h 5282095"/>
              <a:gd name="connsiteX5949" fmla="*/ 2250968 w 7714416"/>
              <a:gd name="connsiteY5949" fmla="*/ 4503796 h 5282095"/>
              <a:gd name="connsiteX5950" fmla="*/ 2253260 w 7714416"/>
              <a:gd name="connsiteY5950" fmla="*/ 4488911 h 5282095"/>
              <a:gd name="connsiteX5951" fmla="*/ 2261855 w 7714416"/>
              <a:gd name="connsiteY5951" fmla="*/ 4486134 h 5282095"/>
              <a:gd name="connsiteX5952" fmla="*/ 2510791 w 7714416"/>
              <a:gd name="connsiteY5952" fmla="*/ 4485245 h 5282095"/>
              <a:gd name="connsiteX5953" fmla="*/ 2515948 w 7714416"/>
              <a:gd name="connsiteY5953" fmla="*/ 4485467 h 5282095"/>
              <a:gd name="connsiteX5954" fmla="*/ 2521677 w 7714416"/>
              <a:gd name="connsiteY5954" fmla="*/ 4487689 h 5282095"/>
              <a:gd name="connsiteX5955" fmla="*/ 2482718 w 7714416"/>
              <a:gd name="connsiteY5955" fmla="*/ 4503019 h 5282095"/>
              <a:gd name="connsiteX5956" fmla="*/ 2510791 w 7714416"/>
              <a:gd name="connsiteY5956" fmla="*/ 4485245 h 5282095"/>
              <a:gd name="connsiteX5957" fmla="*/ 3009526 w 7714416"/>
              <a:gd name="connsiteY5957" fmla="*/ 4484467 h 5282095"/>
              <a:gd name="connsiteX5958" fmla="*/ 3009526 w 7714416"/>
              <a:gd name="connsiteY5958" fmla="*/ 4484912 h 5282095"/>
              <a:gd name="connsiteX5959" fmla="*/ 3010959 w 7714416"/>
              <a:gd name="connsiteY5959" fmla="*/ 4485245 h 5282095"/>
              <a:gd name="connsiteX5960" fmla="*/ 6330793 w 7714416"/>
              <a:gd name="connsiteY5960" fmla="*/ 4484023 h 5282095"/>
              <a:gd name="connsiteX5961" fmla="*/ 6338814 w 7714416"/>
              <a:gd name="connsiteY5961" fmla="*/ 4484801 h 5282095"/>
              <a:gd name="connsiteX5962" fmla="*/ 6341679 w 7714416"/>
              <a:gd name="connsiteY5962" fmla="*/ 4495797 h 5282095"/>
              <a:gd name="connsiteX5963" fmla="*/ 6324491 w 7714416"/>
              <a:gd name="connsiteY5963" fmla="*/ 4484689 h 5282095"/>
              <a:gd name="connsiteX5964" fmla="*/ 6330793 w 7714416"/>
              <a:gd name="connsiteY5964" fmla="*/ 4484023 h 5282095"/>
              <a:gd name="connsiteX5965" fmla="*/ 2812439 w 7714416"/>
              <a:gd name="connsiteY5965" fmla="*/ 4482690 h 5282095"/>
              <a:gd name="connsiteX5966" fmla="*/ 2821319 w 7714416"/>
              <a:gd name="connsiteY5966" fmla="*/ 4484912 h 5282095"/>
              <a:gd name="connsiteX5967" fmla="*/ 2819314 w 7714416"/>
              <a:gd name="connsiteY5967" fmla="*/ 4490577 h 5282095"/>
              <a:gd name="connsiteX5968" fmla="*/ 2813298 w 7714416"/>
              <a:gd name="connsiteY5968" fmla="*/ 4493021 h 5282095"/>
              <a:gd name="connsiteX5969" fmla="*/ 2817309 w 7714416"/>
              <a:gd name="connsiteY5969" fmla="*/ 4493910 h 5282095"/>
              <a:gd name="connsiteX5970" fmla="*/ 2819314 w 7714416"/>
              <a:gd name="connsiteY5970" fmla="*/ 4498131 h 5282095"/>
              <a:gd name="connsiteX5971" fmla="*/ 2792386 w 7714416"/>
              <a:gd name="connsiteY5971" fmla="*/ 4512127 h 5282095"/>
              <a:gd name="connsiteX5972" fmla="*/ 2788948 w 7714416"/>
              <a:gd name="connsiteY5972" fmla="*/ 4509461 h 5282095"/>
              <a:gd name="connsiteX5973" fmla="*/ 2801554 w 7714416"/>
              <a:gd name="connsiteY5973" fmla="*/ 4494242 h 5282095"/>
              <a:gd name="connsiteX5974" fmla="*/ 2803558 w 7714416"/>
              <a:gd name="connsiteY5974" fmla="*/ 4493798 h 5282095"/>
              <a:gd name="connsiteX5975" fmla="*/ 2802412 w 7714416"/>
              <a:gd name="connsiteY5975" fmla="*/ 4493798 h 5282095"/>
              <a:gd name="connsiteX5976" fmla="*/ 2794391 w 7714416"/>
              <a:gd name="connsiteY5976" fmla="*/ 4491021 h 5282095"/>
              <a:gd name="connsiteX5977" fmla="*/ 2812439 w 7714416"/>
              <a:gd name="connsiteY5977" fmla="*/ 4482690 h 5282095"/>
              <a:gd name="connsiteX5978" fmla="*/ 1745646 w 7714416"/>
              <a:gd name="connsiteY5978" fmla="*/ 4482690 h 5282095"/>
              <a:gd name="connsiteX5979" fmla="*/ 1754526 w 7714416"/>
              <a:gd name="connsiteY5979" fmla="*/ 4484912 h 5282095"/>
              <a:gd name="connsiteX5980" fmla="*/ 1745072 w 7714416"/>
              <a:gd name="connsiteY5980" fmla="*/ 4493576 h 5282095"/>
              <a:gd name="connsiteX5981" fmla="*/ 1727598 w 7714416"/>
              <a:gd name="connsiteY5981" fmla="*/ 4491021 h 5282095"/>
              <a:gd name="connsiteX5982" fmla="*/ 1745646 w 7714416"/>
              <a:gd name="connsiteY5982" fmla="*/ 4482690 h 5282095"/>
              <a:gd name="connsiteX5983" fmla="*/ 2457795 w 7714416"/>
              <a:gd name="connsiteY5983" fmla="*/ 4482467 h 5282095"/>
              <a:gd name="connsiteX5984" fmla="*/ 2454931 w 7714416"/>
              <a:gd name="connsiteY5984" fmla="*/ 4507240 h 5282095"/>
              <a:gd name="connsiteX5985" fmla="*/ 2457795 w 7714416"/>
              <a:gd name="connsiteY5985" fmla="*/ 4482467 h 5282095"/>
              <a:gd name="connsiteX5986" fmla="*/ 2839366 w 7714416"/>
              <a:gd name="connsiteY5986" fmla="*/ 4481024 h 5282095"/>
              <a:gd name="connsiteX5987" fmla="*/ 2846527 w 7714416"/>
              <a:gd name="connsiteY5987" fmla="*/ 4481246 h 5282095"/>
              <a:gd name="connsiteX5988" fmla="*/ 2840798 w 7714416"/>
              <a:gd name="connsiteY5988" fmla="*/ 4487578 h 5282095"/>
              <a:gd name="connsiteX5989" fmla="*/ 2839366 w 7714416"/>
              <a:gd name="connsiteY5989" fmla="*/ 4481024 h 5282095"/>
              <a:gd name="connsiteX5990" fmla="*/ 7164978 w 7714416"/>
              <a:gd name="connsiteY5990" fmla="*/ 4478024 h 5282095"/>
              <a:gd name="connsiteX5991" fmla="*/ 7179300 w 7714416"/>
              <a:gd name="connsiteY5991" fmla="*/ 4479580 h 5282095"/>
              <a:gd name="connsiteX5992" fmla="*/ 7178728 w 7714416"/>
              <a:gd name="connsiteY5992" fmla="*/ 4486245 h 5282095"/>
              <a:gd name="connsiteX5993" fmla="*/ 7165265 w 7714416"/>
              <a:gd name="connsiteY5993" fmla="*/ 4487245 h 5282095"/>
              <a:gd name="connsiteX5994" fmla="*/ 7164978 w 7714416"/>
              <a:gd name="connsiteY5994" fmla="*/ 4478024 h 5282095"/>
              <a:gd name="connsiteX5995" fmla="*/ 2222608 w 7714416"/>
              <a:gd name="connsiteY5995" fmla="*/ 4477913 h 5282095"/>
              <a:gd name="connsiteX5996" fmla="*/ 2230916 w 7714416"/>
              <a:gd name="connsiteY5996" fmla="*/ 4479913 h 5282095"/>
              <a:gd name="connsiteX5997" fmla="*/ 2219744 w 7714416"/>
              <a:gd name="connsiteY5997" fmla="*/ 4488800 h 5282095"/>
              <a:gd name="connsiteX5998" fmla="*/ 2202843 w 7714416"/>
              <a:gd name="connsiteY5998" fmla="*/ 4486467 h 5282095"/>
              <a:gd name="connsiteX5999" fmla="*/ 2222608 w 7714416"/>
              <a:gd name="connsiteY5999" fmla="*/ 4477913 h 5282095"/>
              <a:gd name="connsiteX6000" fmla="*/ 6104200 w 7714416"/>
              <a:gd name="connsiteY6000" fmla="*/ 4476691 h 5282095"/>
              <a:gd name="connsiteX6001" fmla="*/ 6119956 w 7714416"/>
              <a:gd name="connsiteY6001" fmla="*/ 4478802 h 5282095"/>
              <a:gd name="connsiteX6002" fmla="*/ 6121388 w 7714416"/>
              <a:gd name="connsiteY6002" fmla="*/ 4481246 h 5282095"/>
              <a:gd name="connsiteX6003" fmla="*/ 6117091 w 7714416"/>
              <a:gd name="connsiteY6003" fmla="*/ 4483024 h 5282095"/>
              <a:gd name="connsiteX6004" fmla="*/ 6104200 w 7714416"/>
              <a:gd name="connsiteY6004" fmla="*/ 4476691 h 5282095"/>
              <a:gd name="connsiteX6005" fmla="*/ 5361398 w 7714416"/>
              <a:gd name="connsiteY6005" fmla="*/ 4474137 h 5282095"/>
              <a:gd name="connsiteX6006" fmla="*/ 5365408 w 7714416"/>
              <a:gd name="connsiteY6006" fmla="*/ 4474137 h 5282095"/>
              <a:gd name="connsiteX6007" fmla="*/ 5375148 w 7714416"/>
              <a:gd name="connsiteY6007" fmla="*/ 4478357 h 5282095"/>
              <a:gd name="connsiteX6008" fmla="*/ 5343924 w 7714416"/>
              <a:gd name="connsiteY6008" fmla="*/ 4485022 h 5282095"/>
              <a:gd name="connsiteX6009" fmla="*/ 5339913 w 7714416"/>
              <a:gd name="connsiteY6009" fmla="*/ 4485022 h 5282095"/>
              <a:gd name="connsiteX6010" fmla="*/ 5338194 w 7714416"/>
              <a:gd name="connsiteY6010" fmla="*/ 4481912 h 5282095"/>
              <a:gd name="connsiteX6011" fmla="*/ 5361398 w 7714416"/>
              <a:gd name="connsiteY6011" fmla="*/ 4474137 h 5282095"/>
              <a:gd name="connsiteX6012" fmla="*/ 5337048 w 7714416"/>
              <a:gd name="connsiteY6012" fmla="*/ 4473470 h 5282095"/>
              <a:gd name="connsiteX6013" fmla="*/ 5339626 w 7714416"/>
              <a:gd name="connsiteY6013" fmla="*/ 4475136 h 5282095"/>
              <a:gd name="connsiteX6014" fmla="*/ 5336476 w 7714416"/>
              <a:gd name="connsiteY6014" fmla="*/ 4478802 h 5282095"/>
              <a:gd name="connsiteX6015" fmla="*/ 5339055 w 7714416"/>
              <a:gd name="connsiteY6015" fmla="*/ 4480357 h 5282095"/>
              <a:gd name="connsiteX6016" fmla="*/ 5338194 w 7714416"/>
              <a:gd name="connsiteY6016" fmla="*/ 4481912 h 5282095"/>
              <a:gd name="connsiteX6017" fmla="*/ 5333038 w 7714416"/>
              <a:gd name="connsiteY6017" fmla="*/ 4482468 h 5282095"/>
              <a:gd name="connsiteX6018" fmla="*/ 5336762 w 7714416"/>
              <a:gd name="connsiteY6018" fmla="*/ 4476136 h 5282095"/>
              <a:gd name="connsiteX6019" fmla="*/ 5337048 w 7714416"/>
              <a:gd name="connsiteY6019" fmla="*/ 4473470 h 5282095"/>
              <a:gd name="connsiteX6020" fmla="*/ 2962547 w 7714416"/>
              <a:gd name="connsiteY6020" fmla="*/ 4473470 h 5282095"/>
              <a:gd name="connsiteX6021" fmla="*/ 2965124 w 7714416"/>
              <a:gd name="connsiteY6021" fmla="*/ 4475136 h 5282095"/>
              <a:gd name="connsiteX6022" fmla="*/ 2961973 w 7714416"/>
              <a:gd name="connsiteY6022" fmla="*/ 4478802 h 5282095"/>
              <a:gd name="connsiteX6023" fmla="*/ 2964551 w 7714416"/>
              <a:gd name="connsiteY6023" fmla="*/ 4480357 h 5282095"/>
              <a:gd name="connsiteX6024" fmla="*/ 2963692 w 7714416"/>
              <a:gd name="connsiteY6024" fmla="*/ 4481913 h 5282095"/>
              <a:gd name="connsiteX6025" fmla="*/ 2958250 w 7714416"/>
              <a:gd name="connsiteY6025" fmla="*/ 4482467 h 5282095"/>
              <a:gd name="connsiteX6026" fmla="*/ 2962259 w 7714416"/>
              <a:gd name="connsiteY6026" fmla="*/ 4476136 h 5282095"/>
              <a:gd name="connsiteX6027" fmla="*/ 2962547 w 7714416"/>
              <a:gd name="connsiteY6027" fmla="*/ 4473470 h 5282095"/>
              <a:gd name="connsiteX6028" fmla="*/ 6606658 w 7714416"/>
              <a:gd name="connsiteY6028" fmla="*/ 4473359 h 5282095"/>
              <a:gd name="connsiteX6029" fmla="*/ 6612960 w 7714416"/>
              <a:gd name="connsiteY6029" fmla="*/ 4473470 h 5282095"/>
              <a:gd name="connsiteX6030" fmla="*/ 6615825 w 7714416"/>
              <a:gd name="connsiteY6030" fmla="*/ 4476358 h 5282095"/>
              <a:gd name="connsiteX6031" fmla="*/ 6617830 w 7714416"/>
              <a:gd name="connsiteY6031" fmla="*/ 4478468 h 5282095"/>
              <a:gd name="connsiteX6032" fmla="*/ 6616685 w 7714416"/>
              <a:gd name="connsiteY6032" fmla="*/ 4483356 h 5282095"/>
              <a:gd name="connsiteX6033" fmla="*/ 6618404 w 7714416"/>
              <a:gd name="connsiteY6033" fmla="*/ 4483024 h 5282095"/>
              <a:gd name="connsiteX6034" fmla="*/ 6608950 w 7714416"/>
              <a:gd name="connsiteY6034" fmla="*/ 4486467 h 5282095"/>
              <a:gd name="connsiteX6035" fmla="*/ 6600642 w 7714416"/>
              <a:gd name="connsiteY6035" fmla="*/ 4474026 h 5282095"/>
              <a:gd name="connsiteX6036" fmla="*/ 6606658 w 7714416"/>
              <a:gd name="connsiteY6036" fmla="*/ 4473359 h 5282095"/>
              <a:gd name="connsiteX6037" fmla="*/ 5963546 w 7714416"/>
              <a:gd name="connsiteY6037" fmla="*/ 4472360 h 5282095"/>
              <a:gd name="connsiteX6038" fmla="*/ 5972712 w 7714416"/>
              <a:gd name="connsiteY6038" fmla="*/ 4475581 h 5282095"/>
              <a:gd name="connsiteX6039" fmla="*/ 5956957 w 7714416"/>
              <a:gd name="connsiteY6039" fmla="*/ 4478136 h 5282095"/>
              <a:gd name="connsiteX6040" fmla="*/ 5963546 w 7714416"/>
              <a:gd name="connsiteY6040" fmla="*/ 4472360 h 5282095"/>
              <a:gd name="connsiteX6041" fmla="*/ 6277798 w 7714416"/>
              <a:gd name="connsiteY6041" fmla="*/ 4471582 h 5282095"/>
              <a:gd name="connsiteX6042" fmla="*/ 6258890 w 7714416"/>
              <a:gd name="connsiteY6042" fmla="*/ 4492132 h 5282095"/>
              <a:gd name="connsiteX6043" fmla="*/ 6225088 w 7714416"/>
              <a:gd name="connsiteY6043" fmla="*/ 4494353 h 5282095"/>
              <a:gd name="connsiteX6044" fmla="*/ 6277798 w 7714416"/>
              <a:gd name="connsiteY6044" fmla="*/ 4471582 h 5282095"/>
              <a:gd name="connsiteX6045" fmla="*/ 6238265 w 7714416"/>
              <a:gd name="connsiteY6045" fmla="*/ 4471136 h 5282095"/>
              <a:gd name="connsiteX6046" fmla="*/ 6214202 w 7714416"/>
              <a:gd name="connsiteY6046" fmla="*/ 4488134 h 5282095"/>
              <a:gd name="connsiteX6047" fmla="*/ 6212484 w 7714416"/>
              <a:gd name="connsiteY6047" fmla="*/ 4483690 h 5282095"/>
              <a:gd name="connsiteX6048" fmla="*/ 6215634 w 7714416"/>
              <a:gd name="connsiteY6048" fmla="*/ 4482911 h 5282095"/>
              <a:gd name="connsiteX6049" fmla="*/ 6238265 w 7714416"/>
              <a:gd name="connsiteY6049" fmla="*/ 4471136 h 5282095"/>
              <a:gd name="connsiteX6050" fmla="*/ 6731270 w 7714416"/>
              <a:gd name="connsiteY6050" fmla="*/ 4470360 h 5282095"/>
              <a:gd name="connsiteX6051" fmla="*/ 6735854 w 7714416"/>
              <a:gd name="connsiteY6051" fmla="*/ 4471360 h 5282095"/>
              <a:gd name="connsiteX6052" fmla="*/ 6733562 w 7714416"/>
              <a:gd name="connsiteY6052" fmla="*/ 4482024 h 5282095"/>
              <a:gd name="connsiteX6053" fmla="*/ 6727833 w 7714416"/>
              <a:gd name="connsiteY6053" fmla="*/ 4471026 h 5282095"/>
              <a:gd name="connsiteX6054" fmla="*/ 6731270 w 7714416"/>
              <a:gd name="connsiteY6054" fmla="*/ 4470360 h 5282095"/>
              <a:gd name="connsiteX6055" fmla="*/ 6307016 w 7714416"/>
              <a:gd name="connsiteY6055" fmla="*/ 4469471 h 5282095"/>
              <a:gd name="connsiteX6056" fmla="*/ 6311314 w 7714416"/>
              <a:gd name="connsiteY6056" fmla="*/ 4470249 h 5282095"/>
              <a:gd name="connsiteX6057" fmla="*/ 6313032 w 7714416"/>
              <a:gd name="connsiteY6057" fmla="*/ 4474692 h 5282095"/>
              <a:gd name="connsiteX6058" fmla="*/ 6302433 w 7714416"/>
              <a:gd name="connsiteY6058" fmla="*/ 4482912 h 5282095"/>
              <a:gd name="connsiteX6059" fmla="*/ 6298422 w 7714416"/>
              <a:gd name="connsiteY6059" fmla="*/ 4483134 h 5282095"/>
              <a:gd name="connsiteX6060" fmla="*/ 6297850 w 7714416"/>
              <a:gd name="connsiteY6060" fmla="*/ 4477136 h 5282095"/>
              <a:gd name="connsiteX6061" fmla="*/ 6307016 w 7714416"/>
              <a:gd name="connsiteY6061" fmla="*/ 4469471 h 5282095"/>
              <a:gd name="connsiteX6062" fmla="*/ 1978254 w 7714416"/>
              <a:gd name="connsiteY6062" fmla="*/ 4468249 h 5282095"/>
              <a:gd name="connsiteX6063" fmla="*/ 1991431 w 7714416"/>
              <a:gd name="connsiteY6063" fmla="*/ 4470249 h 5282095"/>
              <a:gd name="connsiteX6064" fmla="*/ 1983125 w 7714416"/>
              <a:gd name="connsiteY6064" fmla="*/ 4475692 h 5282095"/>
              <a:gd name="connsiteX6065" fmla="*/ 1969947 w 7714416"/>
              <a:gd name="connsiteY6065" fmla="*/ 4472803 h 5282095"/>
              <a:gd name="connsiteX6066" fmla="*/ 1978254 w 7714416"/>
              <a:gd name="connsiteY6066" fmla="*/ 4468249 h 5282095"/>
              <a:gd name="connsiteX6067" fmla="*/ 6288683 w 7714416"/>
              <a:gd name="connsiteY6067" fmla="*/ 4467805 h 5282095"/>
              <a:gd name="connsiteX6068" fmla="*/ 6291834 w 7714416"/>
              <a:gd name="connsiteY6068" fmla="*/ 4469360 h 5282095"/>
              <a:gd name="connsiteX6069" fmla="*/ 6291835 w 7714416"/>
              <a:gd name="connsiteY6069" fmla="*/ 4470471 h 5282095"/>
              <a:gd name="connsiteX6070" fmla="*/ 6291834 w 7714416"/>
              <a:gd name="connsiteY6070" fmla="*/ 4470693 h 5282095"/>
              <a:gd name="connsiteX6071" fmla="*/ 6289829 w 7714416"/>
              <a:gd name="connsiteY6071" fmla="*/ 4472581 h 5282095"/>
              <a:gd name="connsiteX6072" fmla="*/ 6286391 w 7714416"/>
              <a:gd name="connsiteY6072" fmla="*/ 4473248 h 5282095"/>
              <a:gd name="connsiteX6073" fmla="*/ 6285246 w 7714416"/>
              <a:gd name="connsiteY6073" fmla="*/ 4468694 h 5282095"/>
              <a:gd name="connsiteX6074" fmla="*/ 6288683 w 7714416"/>
              <a:gd name="connsiteY6074" fmla="*/ 4469027 h 5282095"/>
              <a:gd name="connsiteX6075" fmla="*/ 6288683 w 7714416"/>
              <a:gd name="connsiteY6075" fmla="*/ 4467805 h 5282095"/>
              <a:gd name="connsiteX6076" fmla="*/ 6232536 w 7714416"/>
              <a:gd name="connsiteY6076" fmla="*/ 4466694 h 5282095"/>
              <a:gd name="connsiteX6077" fmla="*/ 6233110 w 7714416"/>
              <a:gd name="connsiteY6077" fmla="*/ 4467805 h 5282095"/>
              <a:gd name="connsiteX6078" fmla="*/ 6217067 w 7714416"/>
              <a:gd name="connsiteY6078" fmla="*/ 4474580 h 5282095"/>
              <a:gd name="connsiteX6079" fmla="*/ 6210764 w 7714416"/>
              <a:gd name="connsiteY6079" fmla="*/ 4475581 h 5282095"/>
              <a:gd name="connsiteX6080" fmla="*/ 6212484 w 7714416"/>
              <a:gd name="connsiteY6080" fmla="*/ 4475247 h 5282095"/>
              <a:gd name="connsiteX6081" fmla="*/ 6210192 w 7714416"/>
              <a:gd name="connsiteY6081" fmla="*/ 4474581 h 5282095"/>
              <a:gd name="connsiteX6082" fmla="*/ 6232536 w 7714416"/>
              <a:gd name="connsiteY6082" fmla="*/ 4466694 h 5282095"/>
              <a:gd name="connsiteX6083" fmla="*/ 6180400 w 7714416"/>
              <a:gd name="connsiteY6083" fmla="*/ 4465584 h 5282095"/>
              <a:gd name="connsiteX6084" fmla="*/ 6186415 w 7714416"/>
              <a:gd name="connsiteY6084" fmla="*/ 4468249 h 5282095"/>
              <a:gd name="connsiteX6085" fmla="*/ 6186702 w 7714416"/>
              <a:gd name="connsiteY6085" fmla="*/ 4467027 h 5282095"/>
              <a:gd name="connsiteX6086" fmla="*/ 6187561 w 7714416"/>
              <a:gd name="connsiteY6086" fmla="*/ 4474247 h 5282095"/>
              <a:gd name="connsiteX6087" fmla="*/ 6167222 w 7714416"/>
              <a:gd name="connsiteY6087" fmla="*/ 4474358 h 5282095"/>
              <a:gd name="connsiteX6088" fmla="*/ 6171519 w 7714416"/>
              <a:gd name="connsiteY6088" fmla="*/ 4466583 h 5282095"/>
              <a:gd name="connsiteX6089" fmla="*/ 6176676 w 7714416"/>
              <a:gd name="connsiteY6089" fmla="*/ 4466027 h 5282095"/>
              <a:gd name="connsiteX6090" fmla="*/ 6180400 w 7714416"/>
              <a:gd name="connsiteY6090" fmla="*/ 4465584 h 5282095"/>
              <a:gd name="connsiteX6091" fmla="*/ 5936046 w 7714416"/>
              <a:gd name="connsiteY6091" fmla="*/ 4465027 h 5282095"/>
              <a:gd name="connsiteX6092" fmla="*/ 5949796 w 7714416"/>
              <a:gd name="connsiteY6092" fmla="*/ 4471137 h 5282095"/>
              <a:gd name="connsiteX6093" fmla="*/ 5934900 w 7714416"/>
              <a:gd name="connsiteY6093" fmla="*/ 4480690 h 5282095"/>
              <a:gd name="connsiteX6094" fmla="*/ 5936046 w 7714416"/>
              <a:gd name="connsiteY6094" fmla="*/ 4465027 h 5282095"/>
              <a:gd name="connsiteX6095" fmla="*/ 5756718 w 7714416"/>
              <a:gd name="connsiteY6095" fmla="*/ 4464584 h 5282095"/>
              <a:gd name="connsiteX6096" fmla="*/ 5765599 w 7714416"/>
              <a:gd name="connsiteY6096" fmla="*/ 4465805 h 5282095"/>
              <a:gd name="connsiteX6097" fmla="*/ 5733515 w 7714416"/>
              <a:gd name="connsiteY6097" fmla="*/ 4479913 h 5282095"/>
              <a:gd name="connsiteX6098" fmla="*/ 5701145 w 7714416"/>
              <a:gd name="connsiteY6098" fmla="*/ 4473692 h 5282095"/>
              <a:gd name="connsiteX6099" fmla="*/ 5711171 w 7714416"/>
              <a:gd name="connsiteY6099" fmla="*/ 4473137 h 5282095"/>
              <a:gd name="connsiteX6100" fmla="*/ 5715754 w 7714416"/>
              <a:gd name="connsiteY6100" fmla="*/ 4470471 h 5282095"/>
              <a:gd name="connsiteX6101" fmla="*/ 5730650 w 7714416"/>
              <a:gd name="connsiteY6101" fmla="*/ 4466916 h 5282095"/>
              <a:gd name="connsiteX6102" fmla="*/ 5733228 w 7714416"/>
              <a:gd name="connsiteY6102" fmla="*/ 4468360 h 5282095"/>
              <a:gd name="connsiteX6103" fmla="*/ 5748411 w 7714416"/>
              <a:gd name="connsiteY6103" fmla="*/ 4464917 h 5282095"/>
              <a:gd name="connsiteX6104" fmla="*/ 5756718 w 7714416"/>
              <a:gd name="connsiteY6104" fmla="*/ 4464584 h 5282095"/>
              <a:gd name="connsiteX6105" fmla="*/ 6246859 w 7714416"/>
              <a:gd name="connsiteY6105" fmla="*/ 4462583 h 5282095"/>
              <a:gd name="connsiteX6106" fmla="*/ 6249151 w 7714416"/>
              <a:gd name="connsiteY6106" fmla="*/ 4462584 h 5282095"/>
              <a:gd name="connsiteX6107" fmla="*/ 6243994 w 7714416"/>
              <a:gd name="connsiteY6107" fmla="*/ 4467693 h 5282095"/>
              <a:gd name="connsiteX6108" fmla="*/ 6241703 w 7714416"/>
              <a:gd name="connsiteY6108" fmla="*/ 4467027 h 5282095"/>
              <a:gd name="connsiteX6109" fmla="*/ 6246859 w 7714416"/>
              <a:gd name="connsiteY6109" fmla="*/ 4462583 h 5282095"/>
              <a:gd name="connsiteX6110" fmla="*/ 2912988 w 7714416"/>
              <a:gd name="connsiteY6110" fmla="*/ 4462140 h 5282095"/>
              <a:gd name="connsiteX6111" fmla="*/ 2921581 w 7714416"/>
              <a:gd name="connsiteY6111" fmla="*/ 4477136 h 5282095"/>
              <a:gd name="connsiteX6112" fmla="*/ 2913561 w 7714416"/>
              <a:gd name="connsiteY6112" fmla="*/ 4478358 h 5282095"/>
              <a:gd name="connsiteX6113" fmla="*/ 2912702 w 7714416"/>
              <a:gd name="connsiteY6113" fmla="*/ 4478136 h 5282095"/>
              <a:gd name="connsiteX6114" fmla="*/ 2912414 w 7714416"/>
              <a:gd name="connsiteY6114" fmla="*/ 4478247 h 5282095"/>
              <a:gd name="connsiteX6115" fmla="*/ 2912701 w 7714416"/>
              <a:gd name="connsiteY6115" fmla="*/ 4478357 h 5282095"/>
              <a:gd name="connsiteX6116" fmla="*/ 2917285 w 7714416"/>
              <a:gd name="connsiteY6116" fmla="*/ 4485133 h 5282095"/>
              <a:gd name="connsiteX6117" fmla="*/ 2917572 w 7714416"/>
              <a:gd name="connsiteY6117" fmla="*/ 4486134 h 5282095"/>
              <a:gd name="connsiteX6118" fmla="*/ 2920723 w 7714416"/>
              <a:gd name="connsiteY6118" fmla="*/ 4487244 h 5282095"/>
              <a:gd name="connsiteX6119" fmla="*/ 2922155 w 7714416"/>
              <a:gd name="connsiteY6119" fmla="*/ 4490577 h 5282095"/>
              <a:gd name="connsiteX6120" fmla="*/ 2918430 w 7714416"/>
              <a:gd name="connsiteY6120" fmla="*/ 4490576 h 5282095"/>
              <a:gd name="connsiteX6121" fmla="*/ 2918716 w 7714416"/>
              <a:gd name="connsiteY6121" fmla="*/ 4490799 h 5282095"/>
              <a:gd name="connsiteX6122" fmla="*/ 2919003 w 7714416"/>
              <a:gd name="connsiteY6122" fmla="*/ 4492132 h 5282095"/>
              <a:gd name="connsiteX6123" fmla="*/ 2919576 w 7714416"/>
              <a:gd name="connsiteY6123" fmla="*/ 4494799 h 5282095"/>
              <a:gd name="connsiteX6124" fmla="*/ 2914992 w 7714416"/>
              <a:gd name="connsiteY6124" fmla="*/ 4498242 h 5282095"/>
              <a:gd name="connsiteX6125" fmla="*/ 2914992 w 7714416"/>
              <a:gd name="connsiteY6125" fmla="*/ 4497908 h 5282095"/>
              <a:gd name="connsiteX6126" fmla="*/ 2911841 w 7714416"/>
              <a:gd name="connsiteY6126" fmla="*/ 4501574 h 5282095"/>
              <a:gd name="connsiteX6127" fmla="*/ 2886346 w 7714416"/>
              <a:gd name="connsiteY6127" fmla="*/ 4510682 h 5282095"/>
              <a:gd name="connsiteX6128" fmla="*/ 2872597 w 7714416"/>
              <a:gd name="connsiteY6128" fmla="*/ 4510794 h 5282095"/>
              <a:gd name="connsiteX6129" fmla="*/ 2878898 w 7714416"/>
              <a:gd name="connsiteY6129" fmla="*/ 4513682 h 5282095"/>
              <a:gd name="connsiteX6130" fmla="*/ 2892935 w 7714416"/>
              <a:gd name="connsiteY6130" fmla="*/ 4521347 h 5282095"/>
              <a:gd name="connsiteX6131" fmla="*/ 2892935 w 7714416"/>
              <a:gd name="connsiteY6131" fmla="*/ 4522457 h 5282095"/>
              <a:gd name="connsiteX6132" fmla="*/ 2888924 w 7714416"/>
              <a:gd name="connsiteY6132" fmla="*/ 4523346 h 5282095"/>
              <a:gd name="connsiteX6133" fmla="*/ 2882622 w 7714416"/>
              <a:gd name="connsiteY6133" fmla="*/ 4520459 h 5282095"/>
              <a:gd name="connsiteX6134" fmla="*/ 2870877 w 7714416"/>
              <a:gd name="connsiteY6134" fmla="*/ 4511239 h 5282095"/>
              <a:gd name="connsiteX6135" fmla="*/ 2869731 w 7714416"/>
              <a:gd name="connsiteY6135" fmla="*/ 4510905 h 5282095"/>
              <a:gd name="connsiteX6136" fmla="*/ 2866293 w 7714416"/>
              <a:gd name="connsiteY6136" fmla="*/ 4510905 h 5282095"/>
              <a:gd name="connsiteX6137" fmla="*/ 2862284 w 7714416"/>
              <a:gd name="connsiteY6137" fmla="*/ 4509572 h 5282095"/>
              <a:gd name="connsiteX6138" fmla="*/ 2857127 w 7714416"/>
              <a:gd name="connsiteY6138" fmla="*/ 4510682 h 5282095"/>
              <a:gd name="connsiteX6139" fmla="*/ 2855408 w 7714416"/>
              <a:gd name="connsiteY6139" fmla="*/ 4506795 h 5282095"/>
              <a:gd name="connsiteX6140" fmla="*/ 2853976 w 7714416"/>
              <a:gd name="connsiteY6140" fmla="*/ 4516459 h 5282095"/>
              <a:gd name="connsiteX6141" fmla="*/ 2854548 w 7714416"/>
              <a:gd name="connsiteY6141" fmla="*/ 4520236 h 5282095"/>
              <a:gd name="connsiteX6142" fmla="*/ 2854835 w 7714416"/>
              <a:gd name="connsiteY6142" fmla="*/ 4521347 h 5282095"/>
              <a:gd name="connsiteX6143" fmla="*/ 2855694 w 7714416"/>
              <a:gd name="connsiteY6143" fmla="*/ 4521458 h 5282095"/>
              <a:gd name="connsiteX6144" fmla="*/ 2857700 w 7714416"/>
              <a:gd name="connsiteY6144" fmla="*/ 4528679 h 5282095"/>
              <a:gd name="connsiteX6145" fmla="*/ 2856268 w 7714416"/>
              <a:gd name="connsiteY6145" fmla="*/ 4532344 h 5282095"/>
              <a:gd name="connsiteX6146" fmla="*/ 2856554 w 7714416"/>
              <a:gd name="connsiteY6146" fmla="*/ 4532233 h 5282095"/>
              <a:gd name="connsiteX6147" fmla="*/ 2859991 w 7714416"/>
              <a:gd name="connsiteY6147" fmla="*/ 4532789 h 5282095"/>
              <a:gd name="connsiteX6148" fmla="*/ 2861998 w 7714416"/>
              <a:gd name="connsiteY6148" fmla="*/ 4550117 h 5282095"/>
              <a:gd name="connsiteX6149" fmla="*/ 2861138 w 7714416"/>
              <a:gd name="connsiteY6149" fmla="*/ 4552450 h 5282095"/>
              <a:gd name="connsiteX6150" fmla="*/ 2862569 w 7714416"/>
              <a:gd name="connsiteY6150" fmla="*/ 4552672 h 5282095"/>
              <a:gd name="connsiteX6151" fmla="*/ 2860852 w 7714416"/>
              <a:gd name="connsiteY6151" fmla="*/ 4553673 h 5282095"/>
              <a:gd name="connsiteX6152" fmla="*/ 2860851 w 7714416"/>
              <a:gd name="connsiteY6152" fmla="*/ 4553894 h 5282095"/>
              <a:gd name="connsiteX6153" fmla="*/ 2860851 w 7714416"/>
              <a:gd name="connsiteY6153" fmla="*/ 4555116 h 5282095"/>
              <a:gd name="connsiteX6154" fmla="*/ 2856267 w 7714416"/>
              <a:gd name="connsiteY6154" fmla="*/ 4558781 h 5282095"/>
              <a:gd name="connsiteX6155" fmla="*/ 2851970 w 7714416"/>
              <a:gd name="connsiteY6155" fmla="*/ 4558004 h 5282095"/>
              <a:gd name="connsiteX6156" fmla="*/ 2851685 w 7714416"/>
              <a:gd name="connsiteY6156" fmla="*/ 4557338 h 5282095"/>
              <a:gd name="connsiteX6157" fmla="*/ 2842518 w 7714416"/>
              <a:gd name="connsiteY6157" fmla="*/ 4558449 h 5282095"/>
              <a:gd name="connsiteX6158" fmla="*/ 2844236 w 7714416"/>
              <a:gd name="connsiteY6158" fmla="*/ 4551784 h 5282095"/>
              <a:gd name="connsiteX6159" fmla="*/ 2845669 w 7714416"/>
              <a:gd name="connsiteY6159" fmla="*/ 4551450 h 5282095"/>
              <a:gd name="connsiteX6160" fmla="*/ 2841371 w 7714416"/>
              <a:gd name="connsiteY6160" fmla="*/ 4550561 h 5282095"/>
              <a:gd name="connsiteX6161" fmla="*/ 2816449 w 7714416"/>
              <a:gd name="connsiteY6161" fmla="*/ 4548007 h 5282095"/>
              <a:gd name="connsiteX6162" fmla="*/ 2816449 w 7714416"/>
              <a:gd name="connsiteY6162" fmla="*/ 4539231 h 5282095"/>
              <a:gd name="connsiteX6163" fmla="*/ 2818167 w 7714416"/>
              <a:gd name="connsiteY6163" fmla="*/ 4537121 h 5282095"/>
              <a:gd name="connsiteX6164" fmla="*/ 2815877 w 7714416"/>
              <a:gd name="connsiteY6164" fmla="*/ 4538120 h 5282095"/>
              <a:gd name="connsiteX6165" fmla="*/ 2811866 w 7714416"/>
              <a:gd name="connsiteY6165" fmla="*/ 4533121 h 5282095"/>
              <a:gd name="connsiteX6166" fmla="*/ 2819027 w 7714416"/>
              <a:gd name="connsiteY6166" fmla="*/ 4531567 h 5282095"/>
              <a:gd name="connsiteX6167" fmla="*/ 2821032 w 7714416"/>
              <a:gd name="connsiteY6167" fmla="*/ 4532788 h 5282095"/>
              <a:gd name="connsiteX6168" fmla="*/ 2822752 w 7714416"/>
              <a:gd name="connsiteY6168" fmla="*/ 4533788 h 5282095"/>
              <a:gd name="connsiteX6169" fmla="*/ 2825902 w 7714416"/>
              <a:gd name="connsiteY6169" fmla="*/ 4531899 h 5282095"/>
              <a:gd name="connsiteX6170" fmla="*/ 2841658 w 7714416"/>
              <a:gd name="connsiteY6170" fmla="*/ 4530344 h 5282095"/>
              <a:gd name="connsiteX6171" fmla="*/ 2844236 w 7714416"/>
              <a:gd name="connsiteY6171" fmla="*/ 4531122 h 5282095"/>
              <a:gd name="connsiteX6172" fmla="*/ 2844236 w 7714416"/>
              <a:gd name="connsiteY6172" fmla="*/ 4530789 h 5282095"/>
              <a:gd name="connsiteX6173" fmla="*/ 2845955 w 7714416"/>
              <a:gd name="connsiteY6173" fmla="*/ 4527345 h 5282095"/>
              <a:gd name="connsiteX6174" fmla="*/ 2843090 w 7714416"/>
              <a:gd name="connsiteY6174" fmla="*/ 4527679 h 5282095"/>
              <a:gd name="connsiteX6175" fmla="*/ 2848819 w 7714416"/>
              <a:gd name="connsiteY6175" fmla="*/ 4506239 h 5282095"/>
              <a:gd name="connsiteX6176" fmla="*/ 2850825 w 7714416"/>
              <a:gd name="connsiteY6176" fmla="*/ 4504018 h 5282095"/>
              <a:gd name="connsiteX6177" fmla="*/ 2851970 w 7714416"/>
              <a:gd name="connsiteY6177" fmla="*/ 4503351 h 5282095"/>
              <a:gd name="connsiteX6178" fmla="*/ 2853117 w 7714416"/>
              <a:gd name="connsiteY6178" fmla="*/ 4503685 h 5282095"/>
              <a:gd name="connsiteX6179" fmla="*/ 2854262 w 7714416"/>
              <a:gd name="connsiteY6179" fmla="*/ 4503685 h 5282095"/>
              <a:gd name="connsiteX6180" fmla="*/ 2853976 w 7714416"/>
              <a:gd name="connsiteY6180" fmla="*/ 4503129 h 5282095"/>
              <a:gd name="connsiteX6181" fmla="*/ 2854835 w 7714416"/>
              <a:gd name="connsiteY6181" fmla="*/ 4498797 h 5282095"/>
              <a:gd name="connsiteX6182" fmla="*/ 2851397 w 7714416"/>
              <a:gd name="connsiteY6182" fmla="*/ 4498686 h 5282095"/>
              <a:gd name="connsiteX6183" fmla="*/ 2845669 w 7714416"/>
              <a:gd name="connsiteY6183" fmla="*/ 4499907 h 5282095"/>
              <a:gd name="connsiteX6184" fmla="*/ 2843090 w 7714416"/>
              <a:gd name="connsiteY6184" fmla="*/ 4498241 h 5282095"/>
              <a:gd name="connsiteX6185" fmla="*/ 2847387 w 7714416"/>
              <a:gd name="connsiteY6185" fmla="*/ 4495797 h 5282095"/>
              <a:gd name="connsiteX6186" fmla="*/ 2851970 w 7714416"/>
              <a:gd name="connsiteY6186" fmla="*/ 4498131 h 5282095"/>
              <a:gd name="connsiteX6187" fmla="*/ 2855121 w 7714416"/>
              <a:gd name="connsiteY6187" fmla="*/ 4497909 h 5282095"/>
              <a:gd name="connsiteX6188" fmla="*/ 2856267 w 7714416"/>
              <a:gd name="connsiteY6188" fmla="*/ 4493021 h 5282095"/>
              <a:gd name="connsiteX6189" fmla="*/ 2864575 w 7714416"/>
              <a:gd name="connsiteY6189" fmla="*/ 4483578 h 5282095"/>
              <a:gd name="connsiteX6190" fmla="*/ 2861998 w 7714416"/>
              <a:gd name="connsiteY6190" fmla="*/ 4483801 h 5282095"/>
              <a:gd name="connsiteX6191" fmla="*/ 2857127 w 7714416"/>
              <a:gd name="connsiteY6191" fmla="*/ 4483024 h 5282095"/>
              <a:gd name="connsiteX6192" fmla="*/ 2856555 w 7714416"/>
              <a:gd name="connsiteY6192" fmla="*/ 4481690 h 5282095"/>
              <a:gd name="connsiteX6193" fmla="*/ 2854548 w 7714416"/>
              <a:gd name="connsiteY6193" fmla="*/ 4482135 h 5282095"/>
              <a:gd name="connsiteX6194" fmla="*/ 2846527 w 7714416"/>
              <a:gd name="connsiteY6194" fmla="*/ 4481690 h 5282095"/>
              <a:gd name="connsiteX6195" fmla="*/ 2855981 w 7714416"/>
              <a:gd name="connsiteY6195" fmla="*/ 4480024 h 5282095"/>
              <a:gd name="connsiteX6196" fmla="*/ 2856554 w 7714416"/>
              <a:gd name="connsiteY6196" fmla="*/ 4480024 h 5282095"/>
              <a:gd name="connsiteX6197" fmla="*/ 2856554 w 7714416"/>
              <a:gd name="connsiteY6197" fmla="*/ 4478913 h 5282095"/>
              <a:gd name="connsiteX6198" fmla="*/ 2854548 w 7714416"/>
              <a:gd name="connsiteY6198" fmla="*/ 4478357 h 5282095"/>
              <a:gd name="connsiteX6199" fmla="*/ 2855981 w 7714416"/>
              <a:gd name="connsiteY6199" fmla="*/ 4477802 h 5282095"/>
              <a:gd name="connsiteX6200" fmla="*/ 2856267 w 7714416"/>
              <a:gd name="connsiteY6200" fmla="*/ 4476136 h 5282095"/>
              <a:gd name="connsiteX6201" fmla="*/ 2864002 w 7714416"/>
              <a:gd name="connsiteY6201" fmla="*/ 4475692 h 5282095"/>
              <a:gd name="connsiteX6202" fmla="*/ 2864002 w 7714416"/>
              <a:gd name="connsiteY6202" fmla="*/ 4475802 h 5282095"/>
              <a:gd name="connsiteX6203" fmla="*/ 2870877 w 7714416"/>
              <a:gd name="connsiteY6203" fmla="*/ 4467249 h 5282095"/>
              <a:gd name="connsiteX6204" fmla="*/ 2874601 w 7714416"/>
              <a:gd name="connsiteY6204" fmla="*/ 4465805 h 5282095"/>
              <a:gd name="connsiteX6205" fmla="*/ 2875748 w 7714416"/>
              <a:gd name="connsiteY6205" fmla="*/ 4463473 h 5282095"/>
              <a:gd name="connsiteX6206" fmla="*/ 2877180 w 7714416"/>
              <a:gd name="connsiteY6206" fmla="*/ 4464917 h 5282095"/>
              <a:gd name="connsiteX6207" fmla="*/ 2877467 w 7714416"/>
              <a:gd name="connsiteY6207" fmla="*/ 4464584 h 5282095"/>
              <a:gd name="connsiteX6208" fmla="*/ 2877752 w 7714416"/>
              <a:gd name="connsiteY6208" fmla="*/ 4465138 h 5282095"/>
              <a:gd name="connsiteX6209" fmla="*/ 2878899 w 7714416"/>
              <a:gd name="connsiteY6209" fmla="*/ 4465027 h 5282095"/>
              <a:gd name="connsiteX6210" fmla="*/ 2882908 w 7714416"/>
              <a:gd name="connsiteY6210" fmla="*/ 4465916 h 5282095"/>
              <a:gd name="connsiteX6211" fmla="*/ 2882623 w 7714416"/>
              <a:gd name="connsiteY6211" fmla="*/ 4471692 h 5282095"/>
              <a:gd name="connsiteX6212" fmla="*/ 2874029 w 7714416"/>
              <a:gd name="connsiteY6212" fmla="*/ 4474359 h 5282095"/>
              <a:gd name="connsiteX6213" fmla="*/ 2868873 w 7714416"/>
              <a:gd name="connsiteY6213" fmla="*/ 4476913 h 5282095"/>
              <a:gd name="connsiteX6214" fmla="*/ 2865148 w 7714416"/>
              <a:gd name="connsiteY6214" fmla="*/ 4476136 h 5282095"/>
              <a:gd name="connsiteX6215" fmla="*/ 2867439 w 7714416"/>
              <a:gd name="connsiteY6215" fmla="*/ 4477025 h 5282095"/>
              <a:gd name="connsiteX6216" fmla="*/ 2869159 w 7714416"/>
              <a:gd name="connsiteY6216" fmla="*/ 4479246 h 5282095"/>
              <a:gd name="connsiteX6217" fmla="*/ 2867440 w 7714416"/>
              <a:gd name="connsiteY6217" fmla="*/ 4481357 h 5282095"/>
              <a:gd name="connsiteX6218" fmla="*/ 2865434 w 7714416"/>
              <a:gd name="connsiteY6218" fmla="*/ 4483246 h 5282095"/>
              <a:gd name="connsiteX6219" fmla="*/ 2875175 w 7714416"/>
              <a:gd name="connsiteY6219" fmla="*/ 4480135 h 5282095"/>
              <a:gd name="connsiteX6220" fmla="*/ 2869731 w 7714416"/>
              <a:gd name="connsiteY6220" fmla="*/ 4492576 h 5282095"/>
              <a:gd name="connsiteX6221" fmla="*/ 2868300 w 7714416"/>
              <a:gd name="connsiteY6221" fmla="*/ 4500352 h 5282095"/>
              <a:gd name="connsiteX6222" fmla="*/ 2869446 w 7714416"/>
              <a:gd name="connsiteY6222" fmla="*/ 4500685 h 5282095"/>
              <a:gd name="connsiteX6223" fmla="*/ 2871163 w 7714416"/>
              <a:gd name="connsiteY6223" fmla="*/ 4500130 h 5282095"/>
              <a:gd name="connsiteX6224" fmla="*/ 2871451 w 7714416"/>
              <a:gd name="connsiteY6224" fmla="*/ 4499797 h 5282095"/>
              <a:gd name="connsiteX6225" fmla="*/ 2876893 w 7714416"/>
              <a:gd name="connsiteY6225" fmla="*/ 4489910 h 5282095"/>
              <a:gd name="connsiteX6226" fmla="*/ 2878612 w 7714416"/>
              <a:gd name="connsiteY6226" fmla="*/ 4491243 h 5282095"/>
              <a:gd name="connsiteX6227" fmla="*/ 2876320 w 7714416"/>
              <a:gd name="connsiteY6227" fmla="*/ 4499575 h 5282095"/>
              <a:gd name="connsiteX6228" fmla="*/ 2875748 w 7714416"/>
              <a:gd name="connsiteY6228" fmla="*/ 4501241 h 5282095"/>
              <a:gd name="connsiteX6229" fmla="*/ 2879757 w 7714416"/>
              <a:gd name="connsiteY6229" fmla="*/ 4500352 h 5282095"/>
              <a:gd name="connsiteX6230" fmla="*/ 2906400 w 7714416"/>
              <a:gd name="connsiteY6230" fmla="*/ 4495798 h 5282095"/>
              <a:gd name="connsiteX6231" fmla="*/ 2914421 w 7714416"/>
              <a:gd name="connsiteY6231" fmla="*/ 4497020 h 5282095"/>
              <a:gd name="connsiteX6232" fmla="*/ 2912129 w 7714416"/>
              <a:gd name="connsiteY6232" fmla="*/ 4491687 h 5282095"/>
              <a:gd name="connsiteX6233" fmla="*/ 2911556 w 7714416"/>
              <a:gd name="connsiteY6233" fmla="*/ 4490577 h 5282095"/>
              <a:gd name="connsiteX6234" fmla="*/ 2907258 w 7714416"/>
              <a:gd name="connsiteY6234" fmla="*/ 4490577 h 5282095"/>
              <a:gd name="connsiteX6235" fmla="*/ 2899810 w 7714416"/>
              <a:gd name="connsiteY6235" fmla="*/ 4484134 h 5282095"/>
              <a:gd name="connsiteX6236" fmla="*/ 2902674 w 7714416"/>
              <a:gd name="connsiteY6236" fmla="*/ 4482357 h 5282095"/>
              <a:gd name="connsiteX6237" fmla="*/ 2907258 w 7714416"/>
              <a:gd name="connsiteY6237" fmla="*/ 4481690 h 5282095"/>
              <a:gd name="connsiteX6238" fmla="*/ 2905253 w 7714416"/>
              <a:gd name="connsiteY6238" fmla="*/ 4476691 h 5282095"/>
              <a:gd name="connsiteX6239" fmla="*/ 2901816 w 7714416"/>
              <a:gd name="connsiteY6239" fmla="*/ 4474137 h 5282095"/>
              <a:gd name="connsiteX6240" fmla="*/ 2901529 w 7714416"/>
              <a:gd name="connsiteY6240" fmla="*/ 4473358 h 5282095"/>
              <a:gd name="connsiteX6241" fmla="*/ 2899811 w 7714416"/>
              <a:gd name="connsiteY6241" fmla="*/ 4472804 h 5282095"/>
              <a:gd name="connsiteX6242" fmla="*/ 2899810 w 7714416"/>
              <a:gd name="connsiteY6242" fmla="*/ 4471804 h 5282095"/>
              <a:gd name="connsiteX6243" fmla="*/ 2901242 w 7714416"/>
              <a:gd name="connsiteY6243" fmla="*/ 4472359 h 5282095"/>
              <a:gd name="connsiteX6244" fmla="*/ 2900956 w 7714416"/>
              <a:gd name="connsiteY6244" fmla="*/ 4471136 h 5282095"/>
              <a:gd name="connsiteX6245" fmla="*/ 2899524 w 7714416"/>
              <a:gd name="connsiteY6245" fmla="*/ 4471471 h 5282095"/>
              <a:gd name="connsiteX6246" fmla="*/ 2899810 w 7714416"/>
              <a:gd name="connsiteY6246" fmla="*/ 4469138 h 5282095"/>
              <a:gd name="connsiteX6247" fmla="*/ 2900670 w 7714416"/>
              <a:gd name="connsiteY6247" fmla="*/ 4469582 h 5282095"/>
              <a:gd name="connsiteX6248" fmla="*/ 2900957 w 7714416"/>
              <a:gd name="connsiteY6248" fmla="*/ 4470582 h 5282095"/>
              <a:gd name="connsiteX6249" fmla="*/ 2904394 w 7714416"/>
              <a:gd name="connsiteY6249" fmla="*/ 4467027 h 5282095"/>
              <a:gd name="connsiteX6250" fmla="*/ 2906399 w 7714416"/>
              <a:gd name="connsiteY6250" fmla="*/ 4466583 h 5282095"/>
              <a:gd name="connsiteX6251" fmla="*/ 2906971 w 7714416"/>
              <a:gd name="connsiteY6251" fmla="*/ 4466027 h 5282095"/>
              <a:gd name="connsiteX6252" fmla="*/ 2912988 w 7714416"/>
              <a:gd name="connsiteY6252" fmla="*/ 4462140 h 5282095"/>
              <a:gd name="connsiteX6253" fmla="*/ 1846195 w 7714416"/>
              <a:gd name="connsiteY6253" fmla="*/ 4462139 h 5282095"/>
              <a:gd name="connsiteX6254" fmla="*/ 1854789 w 7714416"/>
              <a:gd name="connsiteY6254" fmla="*/ 4477136 h 5282095"/>
              <a:gd name="connsiteX6255" fmla="*/ 1846481 w 7714416"/>
              <a:gd name="connsiteY6255" fmla="*/ 4478357 h 5282095"/>
              <a:gd name="connsiteX6256" fmla="*/ 1835022 w 7714416"/>
              <a:gd name="connsiteY6256" fmla="*/ 4471581 h 5282095"/>
              <a:gd name="connsiteX6257" fmla="*/ 1846195 w 7714416"/>
              <a:gd name="connsiteY6257" fmla="*/ 4462139 h 5282095"/>
              <a:gd name="connsiteX6258" fmla="*/ 6327356 w 7714416"/>
              <a:gd name="connsiteY6258" fmla="*/ 4461362 h 5282095"/>
              <a:gd name="connsiteX6259" fmla="*/ 6328789 w 7714416"/>
              <a:gd name="connsiteY6259" fmla="*/ 4463362 h 5282095"/>
              <a:gd name="connsiteX6260" fmla="*/ 6328788 w 7714416"/>
              <a:gd name="connsiteY6260" fmla="*/ 4464694 h 5282095"/>
              <a:gd name="connsiteX6261" fmla="*/ 6326210 w 7714416"/>
              <a:gd name="connsiteY6261" fmla="*/ 4466583 h 5282095"/>
              <a:gd name="connsiteX6262" fmla="*/ 6325924 w 7714416"/>
              <a:gd name="connsiteY6262" fmla="*/ 4470471 h 5282095"/>
              <a:gd name="connsiteX6263" fmla="*/ 6322772 w 7714416"/>
              <a:gd name="connsiteY6263" fmla="*/ 4471248 h 5282095"/>
              <a:gd name="connsiteX6264" fmla="*/ 6323058 w 7714416"/>
              <a:gd name="connsiteY6264" fmla="*/ 4463583 h 5282095"/>
              <a:gd name="connsiteX6265" fmla="*/ 6327356 w 7714416"/>
              <a:gd name="connsiteY6265" fmla="*/ 4461362 h 5282095"/>
              <a:gd name="connsiteX6266" fmla="*/ 6799162 w 7714416"/>
              <a:gd name="connsiteY6266" fmla="*/ 4461140 h 5282095"/>
              <a:gd name="connsiteX6267" fmla="*/ 6807470 w 7714416"/>
              <a:gd name="connsiteY6267" fmla="*/ 4461362 h 5282095"/>
              <a:gd name="connsiteX6268" fmla="*/ 6820361 w 7714416"/>
              <a:gd name="connsiteY6268" fmla="*/ 4477580 h 5282095"/>
              <a:gd name="connsiteX6269" fmla="*/ 6810908 w 7714416"/>
              <a:gd name="connsiteY6269" fmla="*/ 4486245 h 5282095"/>
              <a:gd name="connsiteX6270" fmla="*/ 6805178 w 7714416"/>
              <a:gd name="connsiteY6270" fmla="*/ 4487578 h 5282095"/>
              <a:gd name="connsiteX6271" fmla="*/ 6794006 w 7714416"/>
              <a:gd name="connsiteY6271" fmla="*/ 4462473 h 5282095"/>
              <a:gd name="connsiteX6272" fmla="*/ 6799162 w 7714416"/>
              <a:gd name="connsiteY6272" fmla="*/ 4461140 h 5282095"/>
              <a:gd name="connsiteX6273" fmla="*/ 2037552 w 7714416"/>
              <a:gd name="connsiteY6273" fmla="*/ 4459696 h 5282095"/>
              <a:gd name="connsiteX6274" fmla="*/ 2043854 w 7714416"/>
              <a:gd name="connsiteY6274" fmla="*/ 4460584 h 5282095"/>
              <a:gd name="connsiteX6275" fmla="*/ 2037266 w 7714416"/>
              <a:gd name="connsiteY6275" fmla="*/ 4471582 h 5282095"/>
              <a:gd name="connsiteX6276" fmla="*/ 2030964 w 7714416"/>
              <a:gd name="connsiteY6276" fmla="*/ 4469027 h 5282095"/>
              <a:gd name="connsiteX6277" fmla="*/ 2037552 w 7714416"/>
              <a:gd name="connsiteY6277" fmla="*/ 4459696 h 5282095"/>
              <a:gd name="connsiteX6278" fmla="*/ 6561970 w 7714416"/>
              <a:gd name="connsiteY6278" fmla="*/ 4458141 h 5282095"/>
              <a:gd name="connsiteX6279" fmla="*/ 6563975 w 7714416"/>
              <a:gd name="connsiteY6279" fmla="*/ 4459251 h 5282095"/>
              <a:gd name="connsiteX6280" fmla="*/ 6560538 w 7714416"/>
              <a:gd name="connsiteY6280" fmla="*/ 4458807 h 5282095"/>
              <a:gd name="connsiteX6281" fmla="*/ 6561970 w 7714416"/>
              <a:gd name="connsiteY6281" fmla="*/ 4458141 h 5282095"/>
              <a:gd name="connsiteX6282" fmla="*/ 2458655 w 7714416"/>
              <a:gd name="connsiteY6282" fmla="*/ 4458030 h 5282095"/>
              <a:gd name="connsiteX6283" fmla="*/ 2471260 w 7714416"/>
              <a:gd name="connsiteY6283" fmla="*/ 4459696 h 5282095"/>
              <a:gd name="connsiteX6284" fmla="*/ 2462092 w 7714416"/>
              <a:gd name="connsiteY6284" fmla="*/ 4465361 h 5282095"/>
              <a:gd name="connsiteX6285" fmla="*/ 2449201 w 7714416"/>
              <a:gd name="connsiteY6285" fmla="*/ 4462917 h 5282095"/>
              <a:gd name="connsiteX6286" fmla="*/ 2458655 w 7714416"/>
              <a:gd name="connsiteY6286" fmla="*/ 4458030 h 5282095"/>
              <a:gd name="connsiteX6287" fmla="*/ 2357533 w 7714416"/>
              <a:gd name="connsiteY6287" fmla="*/ 4457696 h 5282095"/>
              <a:gd name="connsiteX6288" fmla="*/ 2370138 w 7714416"/>
              <a:gd name="connsiteY6288" fmla="*/ 4475581 h 5282095"/>
              <a:gd name="connsiteX6289" fmla="*/ 2373288 w 7714416"/>
              <a:gd name="connsiteY6289" fmla="*/ 4490688 h 5282095"/>
              <a:gd name="connsiteX6290" fmla="*/ 2373002 w 7714416"/>
              <a:gd name="connsiteY6290" fmla="*/ 4485245 h 5282095"/>
              <a:gd name="connsiteX6291" fmla="*/ 2376439 w 7714416"/>
              <a:gd name="connsiteY6291" fmla="*/ 4482467 h 5282095"/>
              <a:gd name="connsiteX6292" fmla="*/ 2408524 w 7714416"/>
              <a:gd name="connsiteY6292" fmla="*/ 4494687 h 5282095"/>
              <a:gd name="connsiteX6293" fmla="*/ 2413966 w 7714416"/>
              <a:gd name="connsiteY6293" fmla="*/ 4520125 h 5282095"/>
              <a:gd name="connsiteX6294" fmla="*/ 2377872 w 7714416"/>
              <a:gd name="connsiteY6294" fmla="*/ 4499908 h 5282095"/>
              <a:gd name="connsiteX6295" fmla="*/ 2373575 w 7714416"/>
              <a:gd name="connsiteY6295" fmla="*/ 4492243 h 5282095"/>
              <a:gd name="connsiteX6296" fmla="*/ 2370997 w 7714416"/>
              <a:gd name="connsiteY6296" fmla="*/ 4502352 h 5282095"/>
              <a:gd name="connsiteX6297" fmla="*/ 2352949 w 7714416"/>
              <a:gd name="connsiteY6297" fmla="*/ 4481801 h 5282095"/>
              <a:gd name="connsiteX6298" fmla="*/ 2322584 w 7714416"/>
              <a:gd name="connsiteY6298" fmla="*/ 4487689 h 5282095"/>
              <a:gd name="connsiteX6299" fmla="*/ 2349799 w 7714416"/>
              <a:gd name="connsiteY6299" fmla="*/ 4470693 h 5282095"/>
              <a:gd name="connsiteX6300" fmla="*/ 2357533 w 7714416"/>
              <a:gd name="connsiteY6300" fmla="*/ 4457696 h 5282095"/>
              <a:gd name="connsiteX6301" fmla="*/ 2065339 w 7714416"/>
              <a:gd name="connsiteY6301" fmla="*/ 4457474 h 5282095"/>
              <a:gd name="connsiteX6302" fmla="*/ 2069923 w 7714416"/>
              <a:gd name="connsiteY6302" fmla="*/ 4457696 h 5282095"/>
              <a:gd name="connsiteX6303" fmla="*/ 2077945 w 7714416"/>
              <a:gd name="connsiteY6303" fmla="*/ 4461917 h 5282095"/>
              <a:gd name="connsiteX6304" fmla="*/ 2073074 w 7714416"/>
              <a:gd name="connsiteY6304" fmla="*/ 4472693 h 5282095"/>
              <a:gd name="connsiteX6305" fmla="*/ 2065626 w 7714416"/>
              <a:gd name="connsiteY6305" fmla="*/ 4473470 h 5282095"/>
              <a:gd name="connsiteX6306" fmla="*/ 2065913 w 7714416"/>
              <a:gd name="connsiteY6306" fmla="*/ 4475247 h 5282095"/>
              <a:gd name="connsiteX6307" fmla="*/ 2055887 w 7714416"/>
              <a:gd name="connsiteY6307" fmla="*/ 4476802 h 5282095"/>
              <a:gd name="connsiteX6308" fmla="*/ 2051303 w 7714416"/>
              <a:gd name="connsiteY6308" fmla="*/ 4474359 h 5282095"/>
              <a:gd name="connsiteX6309" fmla="*/ 2053021 w 7714416"/>
              <a:gd name="connsiteY6309" fmla="*/ 4470248 h 5282095"/>
              <a:gd name="connsiteX6310" fmla="*/ 2055886 w 7714416"/>
              <a:gd name="connsiteY6310" fmla="*/ 4468027 h 5282095"/>
              <a:gd name="connsiteX6311" fmla="*/ 2055886 w 7714416"/>
              <a:gd name="connsiteY6311" fmla="*/ 4464140 h 5282095"/>
              <a:gd name="connsiteX6312" fmla="*/ 2065339 w 7714416"/>
              <a:gd name="connsiteY6312" fmla="*/ 4457474 h 5282095"/>
              <a:gd name="connsiteX6313" fmla="*/ 1882288 w 7714416"/>
              <a:gd name="connsiteY6313" fmla="*/ 4457030 h 5282095"/>
              <a:gd name="connsiteX6314" fmla="*/ 1896039 w 7714416"/>
              <a:gd name="connsiteY6314" fmla="*/ 4467693 h 5282095"/>
              <a:gd name="connsiteX6315" fmla="*/ 1882861 w 7714416"/>
              <a:gd name="connsiteY6315" fmla="*/ 4473137 h 5282095"/>
              <a:gd name="connsiteX6316" fmla="*/ 1872549 w 7714416"/>
              <a:gd name="connsiteY6316" fmla="*/ 4466916 h 5282095"/>
              <a:gd name="connsiteX6317" fmla="*/ 1882288 w 7714416"/>
              <a:gd name="connsiteY6317" fmla="*/ 4457030 h 5282095"/>
              <a:gd name="connsiteX6318" fmla="*/ 5489734 w 7714416"/>
              <a:gd name="connsiteY6318" fmla="*/ 4455475 h 5282095"/>
              <a:gd name="connsiteX6319" fmla="*/ 5496322 w 7714416"/>
              <a:gd name="connsiteY6319" fmla="*/ 4455696 h 5282095"/>
              <a:gd name="connsiteX6320" fmla="*/ 5500620 w 7714416"/>
              <a:gd name="connsiteY6320" fmla="*/ 4457696 h 5282095"/>
              <a:gd name="connsiteX6321" fmla="*/ 5501765 w 7714416"/>
              <a:gd name="connsiteY6321" fmla="*/ 4461585 h 5282095"/>
              <a:gd name="connsiteX6322" fmla="*/ 5501479 w 7714416"/>
              <a:gd name="connsiteY6322" fmla="*/ 4461806 h 5282095"/>
              <a:gd name="connsiteX6323" fmla="*/ 5518953 w 7714416"/>
              <a:gd name="connsiteY6323" fmla="*/ 4467916 h 5282095"/>
              <a:gd name="connsiteX6324" fmla="*/ 5564788 w 7714416"/>
              <a:gd name="connsiteY6324" fmla="*/ 4508795 h 5282095"/>
              <a:gd name="connsiteX6325" fmla="*/ 5564214 w 7714416"/>
              <a:gd name="connsiteY6325" fmla="*/ 4518681 h 5282095"/>
              <a:gd name="connsiteX6326" fmla="*/ 5569084 w 7714416"/>
              <a:gd name="connsiteY6326" fmla="*/ 4517347 h 5282095"/>
              <a:gd name="connsiteX6327" fmla="*/ 5569944 w 7714416"/>
              <a:gd name="connsiteY6327" fmla="*/ 4536565 h 5282095"/>
              <a:gd name="connsiteX6328" fmla="*/ 5563355 w 7714416"/>
              <a:gd name="connsiteY6328" fmla="*/ 4529900 h 5282095"/>
              <a:gd name="connsiteX6329" fmla="*/ 5562210 w 7714416"/>
              <a:gd name="connsiteY6329" fmla="*/ 4530345 h 5282095"/>
              <a:gd name="connsiteX6330" fmla="*/ 5562209 w 7714416"/>
              <a:gd name="connsiteY6330" fmla="*/ 4531567 h 5282095"/>
              <a:gd name="connsiteX6331" fmla="*/ 5562782 w 7714416"/>
              <a:gd name="connsiteY6331" fmla="*/ 4532788 h 5282095"/>
              <a:gd name="connsiteX6332" fmla="*/ 5562209 w 7714416"/>
              <a:gd name="connsiteY6332" fmla="*/ 4533677 h 5282095"/>
              <a:gd name="connsiteX6333" fmla="*/ 5562209 w 7714416"/>
              <a:gd name="connsiteY6333" fmla="*/ 4537010 h 5282095"/>
              <a:gd name="connsiteX6334" fmla="*/ 5560778 w 7714416"/>
              <a:gd name="connsiteY6334" fmla="*/ 4544008 h 5282095"/>
              <a:gd name="connsiteX6335" fmla="*/ 5560204 w 7714416"/>
              <a:gd name="connsiteY6335" fmla="*/ 4536454 h 5282095"/>
              <a:gd name="connsiteX6336" fmla="*/ 5559058 w 7714416"/>
              <a:gd name="connsiteY6336" fmla="*/ 4540231 h 5282095"/>
              <a:gd name="connsiteX6337" fmla="*/ 5560204 w 7714416"/>
              <a:gd name="connsiteY6337" fmla="*/ 4544119 h 5282095"/>
              <a:gd name="connsiteX6338" fmla="*/ 5557340 w 7714416"/>
              <a:gd name="connsiteY6338" fmla="*/ 4546118 h 5282095"/>
              <a:gd name="connsiteX6339" fmla="*/ 5554188 w 7714416"/>
              <a:gd name="connsiteY6339" fmla="*/ 4543230 h 5282095"/>
              <a:gd name="connsiteX6340" fmla="*/ 5558199 w 7714416"/>
              <a:gd name="connsiteY6340" fmla="*/ 4539787 h 5282095"/>
              <a:gd name="connsiteX6341" fmla="*/ 5558199 w 7714416"/>
              <a:gd name="connsiteY6341" fmla="*/ 4535010 h 5282095"/>
              <a:gd name="connsiteX6342" fmla="*/ 5560204 w 7714416"/>
              <a:gd name="connsiteY6342" fmla="*/ 4533455 h 5282095"/>
              <a:gd name="connsiteX6343" fmla="*/ 5561064 w 7714416"/>
              <a:gd name="connsiteY6343" fmla="*/ 4527901 h 5282095"/>
              <a:gd name="connsiteX6344" fmla="*/ 5560490 w 7714416"/>
              <a:gd name="connsiteY6344" fmla="*/ 4527345 h 5282095"/>
              <a:gd name="connsiteX6345" fmla="*/ 5557912 w 7714416"/>
              <a:gd name="connsiteY6345" fmla="*/ 4531566 h 5282095"/>
              <a:gd name="connsiteX6346" fmla="*/ 5540152 w 7714416"/>
              <a:gd name="connsiteY6346" fmla="*/ 4551895 h 5282095"/>
              <a:gd name="connsiteX6347" fmla="*/ 5503198 w 7714416"/>
              <a:gd name="connsiteY6347" fmla="*/ 4559782 h 5282095"/>
              <a:gd name="connsiteX6348" fmla="*/ 5453926 w 7714416"/>
              <a:gd name="connsiteY6348" fmla="*/ 4546340 h 5282095"/>
              <a:gd name="connsiteX6349" fmla="*/ 5439602 w 7714416"/>
              <a:gd name="connsiteY6349" fmla="*/ 4527012 h 5282095"/>
              <a:gd name="connsiteX6350" fmla="*/ 5438170 w 7714416"/>
              <a:gd name="connsiteY6350" fmla="*/ 4525124 h 5282095"/>
              <a:gd name="connsiteX6351" fmla="*/ 5435592 w 7714416"/>
              <a:gd name="connsiteY6351" fmla="*/ 4528123 h 5282095"/>
              <a:gd name="connsiteX6352" fmla="*/ 5425852 w 7714416"/>
              <a:gd name="connsiteY6352" fmla="*/ 4530122 h 5282095"/>
              <a:gd name="connsiteX6353" fmla="*/ 5414967 w 7714416"/>
              <a:gd name="connsiteY6353" fmla="*/ 4528678 h 5282095"/>
              <a:gd name="connsiteX6354" fmla="*/ 5420123 w 7714416"/>
              <a:gd name="connsiteY6354" fmla="*/ 4522235 h 5282095"/>
              <a:gd name="connsiteX6355" fmla="*/ 5435878 w 7714416"/>
              <a:gd name="connsiteY6355" fmla="*/ 4522457 h 5282095"/>
              <a:gd name="connsiteX6356" fmla="*/ 5437598 w 7714416"/>
              <a:gd name="connsiteY6356" fmla="*/ 4524568 h 5282095"/>
              <a:gd name="connsiteX6357" fmla="*/ 5424993 w 7714416"/>
              <a:gd name="connsiteY6357" fmla="*/ 4507573 h 5282095"/>
              <a:gd name="connsiteX6358" fmla="*/ 5455931 w 7714416"/>
              <a:gd name="connsiteY6358" fmla="*/ 4464361 h 5282095"/>
              <a:gd name="connsiteX6359" fmla="*/ 5461661 w 7714416"/>
              <a:gd name="connsiteY6359" fmla="*/ 4464917 h 5282095"/>
              <a:gd name="connsiteX6360" fmla="*/ 5461947 w 7714416"/>
              <a:gd name="connsiteY6360" fmla="*/ 4464361 h 5282095"/>
              <a:gd name="connsiteX6361" fmla="*/ 5467676 w 7714416"/>
              <a:gd name="connsiteY6361" fmla="*/ 4463361 h 5282095"/>
              <a:gd name="connsiteX6362" fmla="*/ 5470827 w 7714416"/>
              <a:gd name="connsiteY6362" fmla="*/ 4464695 h 5282095"/>
              <a:gd name="connsiteX6363" fmla="*/ 5480567 w 7714416"/>
              <a:gd name="connsiteY6363" fmla="*/ 4463362 h 5282095"/>
              <a:gd name="connsiteX6364" fmla="*/ 5482572 w 7714416"/>
              <a:gd name="connsiteY6364" fmla="*/ 4463583 h 5282095"/>
              <a:gd name="connsiteX6365" fmla="*/ 5485723 w 7714416"/>
              <a:gd name="connsiteY6365" fmla="*/ 4462917 h 5282095"/>
              <a:gd name="connsiteX6366" fmla="*/ 5484864 w 7714416"/>
              <a:gd name="connsiteY6366" fmla="*/ 4458363 h 5282095"/>
              <a:gd name="connsiteX6367" fmla="*/ 5489734 w 7714416"/>
              <a:gd name="connsiteY6367" fmla="*/ 4455475 h 5282095"/>
              <a:gd name="connsiteX6368" fmla="*/ 5402935 w 7714416"/>
              <a:gd name="connsiteY6368" fmla="*/ 4455252 h 5282095"/>
              <a:gd name="connsiteX6369" fmla="*/ 5399498 w 7714416"/>
              <a:gd name="connsiteY6369" fmla="*/ 4455252 h 5282095"/>
              <a:gd name="connsiteX6370" fmla="*/ 5401216 w 7714416"/>
              <a:gd name="connsiteY6370" fmla="*/ 4455697 h 5282095"/>
              <a:gd name="connsiteX6371" fmla="*/ 5401503 w 7714416"/>
              <a:gd name="connsiteY6371" fmla="*/ 4455696 h 5282095"/>
              <a:gd name="connsiteX6372" fmla="*/ 5402935 w 7714416"/>
              <a:gd name="connsiteY6372" fmla="*/ 4456141 h 5282095"/>
              <a:gd name="connsiteX6373" fmla="*/ 2327454 w 7714416"/>
              <a:gd name="connsiteY6373" fmla="*/ 4455030 h 5282095"/>
              <a:gd name="connsiteX6374" fmla="*/ 2339199 w 7714416"/>
              <a:gd name="connsiteY6374" fmla="*/ 4462473 h 5282095"/>
              <a:gd name="connsiteX6375" fmla="*/ 2333183 w 7714416"/>
              <a:gd name="connsiteY6375" fmla="*/ 4469805 h 5282095"/>
              <a:gd name="connsiteX6376" fmla="*/ 2324589 w 7714416"/>
              <a:gd name="connsiteY6376" fmla="*/ 4471248 h 5282095"/>
              <a:gd name="connsiteX6377" fmla="*/ 2314278 w 7714416"/>
              <a:gd name="connsiteY6377" fmla="*/ 4464694 h 5282095"/>
              <a:gd name="connsiteX6378" fmla="*/ 2327454 w 7714416"/>
              <a:gd name="connsiteY6378" fmla="*/ 4455030 h 5282095"/>
              <a:gd name="connsiteX6379" fmla="*/ 5389186 w 7714416"/>
              <a:gd name="connsiteY6379" fmla="*/ 4454475 h 5282095"/>
              <a:gd name="connsiteX6380" fmla="*/ 5392336 w 7714416"/>
              <a:gd name="connsiteY6380" fmla="*/ 4457363 h 5282095"/>
              <a:gd name="connsiteX6381" fmla="*/ 5395774 w 7714416"/>
              <a:gd name="connsiteY6381" fmla="*/ 4456697 h 5282095"/>
              <a:gd name="connsiteX6382" fmla="*/ 5399498 w 7714416"/>
              <a:gd name="connsiteY6382" fmla="*/ 4456141 h 5282095"/>
              <a:gd name="connsiteX6383" fmla="*/ 5398925 w 7714416"/>
              <a:gd name="connsiteY6383" fmla="*/ 4455252 h 5282095"/>
              <a:gd name="connsiteX6384" fmla="*/ 5395487 w 7714416"/>
              <a:gd name="connsiteY6384" fmla="*/ 4455252 h 5282095"/>
              <a:gd name="connsiteX6385" fmla="*/ 2203701 w 7714416"/>
              <a:gd name="connsiteY6385" fmla="*/ 4454141 h 5282095"/>
              <a:gd name="connsiteX6386" fmla="*/ 2212009 w 7714416"/>
              <a:gd name="connsiteY6386" fmla="*/ 4458473 h 5282095"/>
              <a:gd name="connsiteX6387" fmla="*/ 2199691 w 7714416"/>
              <a:gd name="connsiteY6387" fmla="*/ 4460917 h 5282095"/>
              <a:gd name="connsiteX6388" fmla="*/ 2203701 w 7714416"/>
              <a:gd name="connsiteY6388" fmla="*/ 4454141 h 5282095"/>
              <a:gd name="connsiteX6389" fmla="*/ 6315038 w 7714416"/>
              <a:gd name="connsiteY6389" fmla="*/ 4454031 h 5282095"/>
              <a:gd name="connsiteX6390" fmla="*/ 6317902 w 7714416"/>
              <a:gd name="connsiteY6390" fmla="*/ 4454253 h 5282095"/>
              <a:gd name="connsiteX6391" fmla="*/ 6317043 w 7714416"/>
              <a:gd name="connsiteY6391" fmla="*/ 4456918 h 5282095"/>
              <a:gd name="connsiteX6392" fmla="*/ 6312460 w 7714416"/>
              <a:gd name="connsiteY6392" fmla="*/ 4464028 h 5282095"/>
              <a:gd name="connsiteX6393" fmla="*/ 6309595 w 7714416"/>
              <a:gd name="connsiteY6393" fmla="*/ 4461139 h 5282095"/>
              <a:gd name="connsiteX6394" fmla="*/ 6311886 w 7714416"/>
              <a:gd name="connsiteY6394" fmla="*/ 4458141 h 5282095"/>
              <a:gd name="connsiteX6395" fmla="*/ 6313032 w 7714416"/>
              <a:gd name="connsiteY6395" fmla="*/ 4455474 h 5282095"/>
              <a:gd name="connsiteX6396" fmla="*/ 6315038 w 7714416"/>
              <a:gd name="connsiteY6396" fmla="*/ 4454031 h 5282095"/>
              <a:gd name="connsiteX6397" fmla="*/ 2492458 w 7714416"/>
              <a:gd name="connsiteY6397" fmla="*/ 4453586 h 5282095"/>
              <a:gd name="connsiteX6398" fmla="*/ 2501911 w 7714416"/>
              <a:gd name="connsiteY6398" fmla="*/ 4468694 h 5282095"/>
              <a:gd name="connsiteX6399" fmla="*/ 2491598 w 7714416"/>
              <a:gd name="connsiteY6399" fmla="*/ 4466138 h 5282095"/>
              <a:gd name="connsiteX6400" fmla="*/ 2492458 w 7714416"/>
              <a:gd name="connsiteY6400" fmla="*/ 4453586 h 5282095"/>
              <a:gd name="connsiteX6401" fmla="*/ 5991620 w 7714416"/>
              <a:gd name="connsiteY6401" fmla="*/ 4451809 h 5282095"/>
              <a:gd name="connsiteX6402" fmla="*/ 6000500 w 7714416"/>
              <a:gd name="connsiteY6402" fmla="*/ 4452365 h 5282095"/>
              <a:gd name="connsiteX6403" fmla="*/ 5989614 w 7714416"/>
              <a:gd name="connsiteY6403" fmla="*/ 4456363 h 5282095"/>
              <a:gd name="connsiteX6404" fmla="*/ 5963546 w 7714416"/>
              <a:gd name="connsiteY6404" fmla="*/ 4462584 h 5282095"/>
              <a:gd name="connsiteX6405" fmla="*/ 5959249 w 7714416"/>
              <a:gd name="connsiteY6405" fmla="*/ 4461140 h 5282095"/>
              <a:gd name="connsiteX6406" fmla="*/ 5957816 w 7714416"/>
              <a:gd name="connsiteY6406" fmla="*/ 4461585 h 5282095"/>
              <a:gd name="connsiteX6407" fmla="*/ 5955238 w 7714416"/>
              <a:gd name="connsiteY6407" fmla="*/ 4459696 h 5282095"/>
              <a:gd name="connsiteX6408" fmla="*/ 5964407 w 7714416"/>
              <a:gd name="connsiteY6408" fmla="*/ 4456141 h 5282095"/>
              <a:gd name="connsiteX6409" fmla="*/ 5972712 w 7714416"/>
              <a:gd name="connsiteY6409" fmla="*/ 4454252 h 5282095"/>
              <a:gd name="connsiteX6410" fmla="*/ 5991620 w 7714416"/>
              <a:gd name="connsiteY6410" fmla="*/ 4451809 h 5282095"/>
              <a:gd name="connsiteX6411" fmla="*/ 6700618 w 7714416"/>
              <a:gd name="connsiteY6411" fmla="*/ 4450476 h 5282095"/>
              <a:gd name="connsiteX6412" fmla="*/ 6705775 w 7714416"/>
              <a:gd name="connsiteY6412" fmla="*/ 4467361 h 5282095"/>
              <a:gd name="connsiteX6413" fmla="*/ 6698614 w 7714416"/>
              <a:gd name="connsiteY6413" fmla="*/ 4470026 h 5282095"/>
              <a:gd name="connsiteX6414" fmla="*/ 6700618 w 7714416"/>
              <a:gd name="connsiteY6414" fmla="*/ 4450476 h 5282095"/>
              <a:gd name="connsiteX6415" fmla="*/ 2519672 w 7714416"/>
              <a:gd name="connsiteY6415" fmla="*/ 4448143 h 5282095"/>
              <a:gd name="connsiteX6416" fmla="*/ 2525975 w 7714416"/>
              <a:gd name="connsiteY6416" fmla="*/ 4448809 h 5282095"/>
              <a:gd name="connsiteX6417" fmla="*/ 2517093 w 7714416"/>
              <a:gd name="connsiteY6417" fmla="*/ 4460140 h 5282095"/>
              <a:gd name="connsiteX6418" fmla="*/ 2511365 w 7714416"/>
              <a:gd name="connsiteY6418" fmla="*/ 4457696 h 5282095"/>
              <a:gd name="connsiteX6419" fmla="*/ 2519672 w 7714416"/>
              <a:gd name="connsiteY6419" fmla="*/ 4448143 h 5282095"/>
              <a:gd name="connsiteX6420" fmla="*/ 1961067 w 7714416"/>
              <a:gd name="connsiteY6420" fmla="*/ 4446921 h 5282095"/>
              <a:gd name="connsiteX6421" fmla="*/ 1956196 w 7714416"/>
              <a:gd name="connsiteY6421" fmla="*/ 4453142 h 5282095"/>
              <a:gd name="connsiteX6422" fmla="*/ 1961067 w 7714416"/>
              <a:gd name="connsiteY6422" fmla="*/ 4446921 h 5282095"/>
              <a:gd name="connsiteX6423" fmla="*/ 2552615 w 7714416"/>
              <a:gd name="connsiteY6423" fmla="*/ 4445366 h 5282095"/>
              <a:gd name="connsiteX6424" fmla="*/ 2559777 w 7714416"/>
              <a:gd name="connsiteY6424" fmla="*/ 4449476 h 5282095"/>
              <a:gd name="connsiteX6425" fmla="*/ 2552330 w 7714416"/>
              <a:gd name="connsiteY6425" fmla="*/ 4460362 h 5282095"/>
              <a:gd name="connsiteX6426" fmla="*/ 2536000 w 7714416"/>
              <a:gd name="connsiteY6426" fmla="*/ 4457696 h 5282095"/>
              <a:gd name="connsiteX6427" fmla="*/ 2552615 w 7714416"/>
              <a:gd name="connsiteY6427" fmla="*/ 4445366 h 5282095"/>
              <a:gd name="connsiteX6428" fmla="*/ 1899764 w 7714416"/>
              <a:gd name="connsiteY6428" fmla="*/ 4445144 h 5282095"/>
              <a:gd name="connsiteX6429" fmla="*/ 1904634 w 7714416"/>
              <a:gd name="connsiteY6429" fmla="*/ 4446588 h 5282095"/>
              <a:gd name="connsiteX6430" fmla="*/ 1900622 w 7714416"/>
              <a:gd name="connsiteY6430" fmla="*/ 4452364 h 5282095"/>
              <a:gd name="connsiteX6431" fmla="*/ 1899764 w 7714416"/>
              <a:gd name="connsiteY6431" fmla="*/ 4445144 h 5282095"/>
              <a:gd name="connsiteX6432" fmla="*/ 2410243 w 7714416"/>
              <a:gd name="connsiteY6432" fmla="*/ 4444700 h 5282095"/>
              <a:gd name="connsiteX6433" fmla="*/ 2415972 w 7714416"/>
              <a:gd name="connsiteY6433" fmla="*/ 4447366 h 5282095"/>
              <a:gd name="connsiteX6434" fmla="*/ 2394488 w 7714416"/>
              <a:gd name="connsiteY6434" fmla="*/ 4456918 h 5282095"/>
              <a:gd name="connsiteX6435" fmla="*/ 2390476 w 7714416"/>
              <a:gd name="connsiteY6435" fmla="*/ 4450810 h 5282095"/>
              <a:gd name="connsiteX6436" fmla="*/ 2410243 w 7714416"/>
              <a:gd name="connsiteY6436" fmla="*/ 4444700 h 5282095"/>
              <a:gd name="connsiteX6437" fmla="*/ 6632440 w 7714416"/>
              <a:gd name="connsiteY6437" fmla="*/ 4444256 h 5282095"/>
              <a:gd name="connsiteX6438" fmla="*/ 6639602 w 7714416"/>
              <a:gd name="connsiteY6438" fmla="*/ 4445366 h 5282095"/>
              <a:gd name="connsiteX6439" fmla="*/ 6653067 w 7714416"/>
              <a:gd name="connsiteY6439" fmla="*/ 4453253 h 5282095"/>
              <a:gd name="connsiteX6440" fmla="*/ 6651920 w 7714416"/>
              <a:gd name="connsiteY6440" fmla="*/ 4462917 h 5282095"/>
              <a:gd name="connsiteX6441" fmla="*/ 6636164 w 7714416"/>
              <a:gd name="connsiteY6441" fmla="*/ 4472248 h 5282095"/>
              <a:gd name="connsiteX6442" fmla="*/ 6624706 w 7714416"/>
              <a:gd name="connsiteY6442" fmla="*/ 4471915 h 5282095"/>
              <a:gd name="connsiteX6443" fmla="*/ 6613820 w 7714416"/>
              <a:gd name="connsiteY6443" fmla="*/ 4452920 h 5282095"/>
              <a:gd name="connsiteX6444" fmla="*/ 6616112 w 7714416"/>
              <a:gd name="connsiteY6444" fmla="*/ 4450032 h 5282095"/>
              <a:gd name="connsiteX6445" fmla="*/ 6617830 w 7714416"/>
              <a:gd name="connsiteY6445" fmla="*/ 4444699 h 5282095"/>
              <a:gd name="connsiteX6446" fmla="*/ 6632440 w 7714416"/>
              <a:gd name="connsiteY6446" fmla="*/ 4444256 h 5282095"/>
              <a:gd name="connsiteX6447" fmla="*/ 5617211 w 7714416"/>
              <a:gd name="connsiteY6447" fmla="*/ 4443033 h 5282095"/>
              <a:gd name="connsiteX6448" fmla="*/ 5616638 w 7714416"/>
              <a:gd name="connsiteY6448" fmla="*/ 4444145 h 5282095"/>
              <a:gd name="connsiteX6449" fmla="*/ 5618356 w 7714416"/>
              <a:gd name="connsiteY6449" fmla="*/ 4444033 h 5282095"/>
              <a:gd name="connsiteX6450" fmla="*/ 5932894 w 7714416"/>
              <a:gd name="connsiteY6450" fmla="*/ 4441478 h 5282095"/>
              <a:gd name="connsiteX6451" fmla="*/ 5946644 w 7714416"/>
              <a:gd name="connsiteY6451" fmla="*/ 4442922 h 5282095"/>
              <a:gd name="connsiteX6452" fmla="*/ 5924014 w 7714416"/>
              <a:gd name="connsiteY6452" fmla="*/ 4455252 h 5282095"/>
              <a:gd name="connsiteX6453" fmla="*/ 5919144 w 7714416"/>
              <a:gd name="connsiteY6453" fmla="*/ 4443922 h 5282095"/>
              <a:gd name="connsiteX6454" fmla="*/ 5932894 w 7714416"/>
              <a:gd name="connsiteY6454" fmla="*/ 4441478 h 5282095"/>
              <a:gd name="connsiteX6455" fmla="*/ 2505348 w 7714416"/>
              <a:gd name="connsiteY6455" fmla="*/ 4438479 h 5282095"/>
              <a:gd name="connsiteX6456" fmla="*/ 2504776 w 7714416"/>
              <a:gd name="connsiteY6456" fmla="*/ 4439257 h 5282095"/>
              <a:gd name="connsiteX6457" fmla="*/ 2511937 w 7714416"/>
              <a:gd name="connsiteY6457" fmla="*/ 4440701 h 5282095"/>
              <a:gd name="connsiteX6458" fmla="*/ 2508214 w 7714416"/>
              <a:gd name="connsiteY6458" fmla="*/ 4445922 h 5282095"/>
              <a:gd name="connsiteX6459" fmla="*/ 2502770 w 7714416"/>
              <a:gd name="connsiteY6459" fmla="*/ 4442367 h 5282095"/>
              <a:gd name="connsiteX6460" fmla="*/ 2503343 w 7714416"/>
              <a:gd name="connsiteY6460" fmla="*/ 4438590 h 5282095"/>
              <a:gd name="connsiteX6461" fmla="*/ 2505348 w 7714416"/>
              <a:gd name="connsiteY6461" fmla="*/ 4438479 h 5282095"/>
              <a:gd name="connsiteX6462" fmla="*/ 5314990 w 7714416"/>
              <a:gd name="connsiteY6462" fmla="*/ 4437701 h 5282095"/>
              <a:gd name="connsiteX6463" fmla="*/ 5306397 w 7714416"/>
              <a:gd name="connsiteY6463" fmla="*/ 4440256 h 5282095"/>
              <a:gd name="connsiteX6464" fmla="*/ 5316136 w 7714416"/>
              <a:gd name="connsiteY6464" fmla="*/ 4440145 h 5282095"/>
              <a:gd name="connsiteX6465" fmla="*/ 2121773 w 7714416"/>
              <a:gd name="connsiteY6465" fmla="*/ 4437035 h 5282095"/>
              <a:gd name="connsiteX6466" fmla="*/ 2131226 w 7714416"/>
              <a:gd name="connsiteY6466" fmla="*/ 4440367 h 5282095"/>
              <a:gd name="connsiteX6467" fmla="*/ 2114038 w 7714416"/>
              <a:gd name="connsiteY6467" fmla="*/ 4443478 h 5282095"/>
              <a:gd name="connsiteX6468" fmla="*/ 2121773 w 7714416"/>
              <a:gd name="connsiteY6468" fmla="*/ 4437035 h 5282095"/>
              <a:gd name="connsiteX6469" fmla="*/ 2293651 w 7714416"/>
              <a:gd name="connsiteY6469" fmla="*/ 4436813 h 5282095"/>
              <a:gd name="connsiteX6470" fmla="*/ 2313132 w 7714416"/>
              <a:gd name="connsiteY6470" fmla="*/ 4445477 h 5282095"/>
              <a:gd name="connsiteX6471" fmla="*/ 2314851 w 7714416"/>
              <a:gd name="connsiteY6471" fmla="*/ 4448809 h 5282095"/>
              <a:gd name="connsiteX6472" fmla="*/ 2317141 w 7714416"/>
              <a:gd name="connsiteY6472" fmla="*/ 4450920 h 5282095"/>
              <a:gd name="connsiteX6473" fmla="*/ 2317714 w 7714416"/>
              <a:gd name="connsiteY6473" fmla="*/ 4458918 h 5282095"/>
              <a:gd name="connsiteX6474" fmla="*/ 2292506 w 7714416"/>
              <a:gd name="connsiteY6474" fmla="*/ 4441478 h 5282095"/>
              <a:gd name="connsiteX6475" fmla="*/ 2291073 w 7714416"/>
              <a:gd name="connsiteY6475" fmla="*/ 4438922 h 5282095"/>
              <a:gd name="connsiteX6476" fmla="*/ 2293651 w 7714416"/>
              <a:gd name="connsiteY6476" fmla="*/ 4436813 h 5282095"/>
              <a:gd name="connsiteX6477" fmla="*/ 6290974 w 7714416"/>
              <a:gd name="connsiteY6477" fmla="*/ 4436591 h 5282095"/>
              <a:gd name="connsiteX6478" fmla="*/ 6283526 w 7714416"/>
              <a:gd name="connsiteY6478" fmla="*/ 4447032 h 5282095"/>
              <a:gd name="connsiteX6479" fmla="*/ 6279516 w 7714416"/>
              <a:gd name="connsiteY6479" fmla="*/ 4447698 h 5282095"/>
              <a:gd name="connsiteX6480" fmla="*/ 6278370 w 7714416"/>
              <a:gd name="connsiteY6480" fmla="*/ 4444477 h 5282095"/>
              <a:gd name="connsiteX6481" fmla="*/ 6290974 w 7714416"/>
              <a:gd name="connsiteY6481" fmla="*/ 4436591 h 5282095"/>
              <a:gd name="connsiteX6482" fmla="*/ 2384747 w 7714416"/>
              <a:gd name="connsiteY6482" fmla="*/ 4436590 h 5282095"/>
              <a:gd name="connsiteX6483" fmla="*/ 2389330 w 7714416"/>
              <a:gd name="connsiteY6483" fmla="*/ 4437923 h 5282095"/>
              <a:gd name="connsiteX6484" fmla="*/ 2384175 w 7714416"/>
              <a:gd name="connsiteY6484" fmla="*/ 4443922 h 5282095"/>
              <a:gd name="connsiteX6485" fmla="*/ 2384747 w 7714416"/>
              <a:gd name="connsiteY6485" fmla="*/ 4436590 h 5282095"/>
              <a:gd name="connsiteX6486" fmla="*/ 6331366 w 7714416"/>
              <a:gd name="connsiteY6486" fmla="*/ 4436368 h 5282095"/>
              <a:gd name="connsiteX6487" fmla="*/ 6313319 w 7714416"/>
              <a:gd name="connsiteY6487" fmla="*/ 4452364 h 5282095"/>
              <a:gd name="connsiteX6488" fmla="*/ 6306730 w 7714416"/>
              <a:gd name="connsiteY6488" fmla="*/ 4444033 h 5282095"/>
              <a:gd name="connsiteX6489" fmla="*/ 6331366 w 7714416"/>
              <a:gd name="connsiteY6489" fmla="*/ 4436368 h 5282095"/>
              <a:gd name="connsiteX6490" fmla="*/ 6160060 w 7714416"/>
              <a:gd name="connsiteY6490" fmla="*/ 4433925 h 5282095"/>
              <a:gd name="connsiteX6491" fmla="*/ 6172952 w 7714416"/>
              <a:gd name="connsiteY6491" fmla="*/ 4438478 h 5282095"/>
              <a:gd name="connsiteX6492" fmla="*/ 6179253 w 7714416"/>
              <a:gd name="connsiteY6492" fmla="*/ 4451809 h 5282095"/>
              <a:gd name="connsiteX6493" fmla="*/ 6174384 w 7714416"/>
              <a:gd name="connsiteY6493" fmla="*/ 4458696 h 5282095"/>
              <a:gd name="connsiteX6494" fmla="*/ 6143732 w 7714416"/>
              <a:gd name="connsiteY6494" fmla="*/ 4457696 h 5282095"/>
              <a:gd name="connsiteX6495" fmla="*/ 6140581 w 7714416"/>
              <a:gd name="connsiteY6495" fmla="*/ 4455030 h 5282095"/>
              <a:gd name="connsiteX6496" fmla="*/ 6140008 w 7714416"/>
              <a:gd name="connsiteY6496" fmla="*/ 4454697 h 5282095"/>
              <a:gd name="connsiteX6497" fmla="*/ 6139148 w 7714416"/>
              <a:gd name="connsiteY6497" fmla="*/ 4456364 h 5282095"/>
              <a:gd name="connsiteX6498" fmla="*/ 6136570 w 7714416"/>
              <a:gd name="connsiteY6498" fmla="*/ 4456697 h 5282095"/>
              <a:gd name="connsiteX6499" fmla="*/ 6131700 w 7714416"/>
              <a:gd name="connsiteY6499" fmla="*/ 4455808 h 5282095"/>
              <a:gd name="connsiteX6500" fmla="*/ 6127976 w 7714416"/>
              <a:gd name="connsiteY6500" fmla="*/ 4456030 h 5282095"/>
              <a:gd name="connsiteX6501" fmla="*/ 6125684 w 7714416"/>
              <a:gd name="connsiteY6501" fmla="*/ 4452920 h 5282095"/>
              <a:gd name="connsiteX6502" fmla="*/ 6129408 w 7714416"/>
              <a:gd name="connsiteY6502" fmla="*/ 4452809 h 5282095"/>
              <a:gd name="connsiteX6503" fmla="*/ 6135138 w 7714416"/>
              <a:gd name="connsiteY6503" fmla="*/ 4453586 h 5282095"/>
              <a:gd name="connsiteX6504" fmla="*/ 6137716 w 7714416"/>
              <a:gd name="connsiteY6504" fmla="*/ 4453697 h 5282095"/>
              <a:gd name="connsiteX6505" fmla="*/ 6134278 w 7714416"/>
              <a:gd name="connsiteY6505" fmla="*/ 4452031 h 5282095"/>
              <a:gd name="connsiteX6506" fmla="*/ 6136857 w 7714416"/>
              <a:gd name="connsiteY6506" fmla="*/ 4449032 h 5282095"/>
              <a:gd name="connsiteX6507" fmla="*/ 6137716 w 7714416"/>
              <a:gd name="connsiteY6507" fmla="*/ 4446365 h 5282095"/>
              <a:gd name="connsiteX6508" fmla="*/ 6134278 w 7714416"/>
              <a:gd name="connsiteY6508" fmla="*/ 4444366 h 5282095"/>
              <a:gd name="connsiteX6509" fmla="*/ 6139148 w 7714416"/>
              <a:gd name="connsiteY6509" fmla="*/ 4442367 h 5282095"/>
              <a:gd name="connsiteX6510" fmla="*/ 6139722 w 7714416"/>
              <a:gd name="connsiteY6510" fmla="*/ 4442589 h 5282095"/>
              <a:gd name="connsiteX6511" fmla="*/ 6144018 w 7714416"/>
              <a:gd name="connsiteY6511" fmla="*/ 4438812 h 5282095"/>
              <a:gd name="connsiteX6512" fmla="*/ 6160060 w 7714416"/>
              <a:gd name="connsiteY6512" fmla="*/ 4433925 h 5282095"/>
              <a:gd name="connsiteX6513" fmla="*/ 2858560 w 7714416"/>
              <a:gd name="connsiteY6513" fmla="*/ 4429925 h 5282095"/>
              <a:gd name="connsiteX6514" fmla="*/ 2864002 w 7714416"/>
              <a:gd name="connsiteY6514" fmla="*/ 4430703 h 5282095"/>
              <a:gd name="connsiteX6515" fmla="*/ 2873743 w 7714416"/>
              <a:gd name="connsiteY6515" fmla="*/ 4441367 h 5282095"/>
              <a:gd name="connsiteX6516" fmla="*/ 2873456 w 7714416"/>
              <a:gd name="connsiteY6516" fmla="*/ 4446588 h 5282095"/>
              <a:gd name="connsiteX6517" fmla="*/ 2875174 w 7714416"/>
              <a:gd name="connsiteY6517" fmla="*/ 4444922 h 5282095"/>
              <a:gd name="connsiteX6518" fmla="*/ 2879185 w 7714416"/>
              <a:gd name="connsiteY6518" fmla="*/ 4442922 h 5282095"/>
              <a:gd name="connsiteX6519" fmla="*/ 2876033 w 7714416"/>
              <a:gd name="connsiteY6519" fmla="*/ 4445255 h 5282095"/>
              <a:gd name="connsiteX6520" fmla="*/ 2876034 w 7714416"/>
              <a:gd name="connsiteY6520" fmla="*/ 4447588 h 5282095"/>
              <a:gd name="connsiteX6521" fmla="*/ 2874315 w 7714416"/>
              <a:gd name="connsiteY6521" fmla="*/ 4448698 h 5282095"/>
              <a:gd name="connsiteX6522" fmla="*/ 2873170 w 7714416"/>
              <a:gd name="connsiteY6522" fmla="*/ 4448698 h 5282095"/>
              <a:gd name="connsiteX6523" fmla="*/ 2868873 w 7714416"/>
              <a:gd name="connsiteY6523" fmla="*/ 4455141 h 5282095"/>
              <a:gd name="connsiteX6524" fmla="*/ 2862284 w 7714416"/>
              <a:gd name="connsiteY6524" fmla="*/ 4460807 h 5282095"/>
              <a:gd name="connsiteX6525" fmla="*/ 2862283 w 7714416"/>
              <a:gd name="connsiteY6525" fmla="*/ 4460918 h 5282095"/>
              <a:gd name="connsiteX6526" fmla="*/ 2859418 w 7714416"/>
              <a:gd name="connsiteY6526" fmla="*/ 4463028 h 5282095"/>
              <a:gd name="connsiteX6527" fmla="*/ 2841658 w 7714416"/>
              <a:gd name="connsiteY6527" fmla="*/ 4470249 h 5282095"/>
              <a:gd name="connsiteX6528" fmla="*/ 2837361 w 7714416"/>
              <a:gd name="connsiteY6528" fmla="*/ 4446810 h 5282095"/>
              <a:gd name="connsiteX6529" fmla="*/ 2835642 w 7714416"/>
              <a:gd name="connsiteY6529" fmla="*/ 4446143 h 5282095"/>
              <a:gd name="connsiteX6530" fmla="*/ 2833924 w 7714416"/>
              <a:gd name="connsiteY6530" fmla="*/ 4445255 h 5282095"/>
              <a:gd name="connsiteX6531" fmla="*/ 2835355 w 7714416"/>
              <a:gd name="connsiteY6531" fmla="*/ 4444700 h 5282095"/>
              <a:gd name="connsiteX6532" fmla="*/ 2838220 w 7714416"/>
              <a:gd name="connsiteY6532" fmla="*/ 4445143 h 5282095"/>
              <a:gd name="connsiteX6533" fmla="*/ 2838793 w 7714416"/>
              <a:gd name="connsiteY6533" fmla="*/ 4445366 h 5282095"/>
              <a:gd name="connsiteX6534" fmla="*/ 2843663 w 7714416"/>
              <a:gd name="connsiteY6534" fmla="*/ 4439701 h 5282095"/>
              <a:gd name="connsiteX6535" fmla="*/ 2858560 w 7714416"/>
              <a:gd name="connsiteY6535" fmla="*/ 4429925 h 5282095"/>
              <a:gd name="connsiteX6536" fmla="*/ 2746838 w 7714416"/>
              <a:gd name="connsiteY6536" fmla="*/ 4429259 h 5282095"/>
              <a:gd name="connsiteX6537" fmla="*/ 2752568 w 7714416"/>
              <a:gd name="connsiteY6537" fmla="*/ 4429370 h 5282095"/>
              <a:gd name="connsiteX6538" fmla="*/ 2769469 w 7714416"/>
              <a:gd name="connsiteY6538" fmla="*/ 4436257 h 5282095"/>
              <a:gd name="connsiteX6539" fmla="*/ 2762880 w 7714416"/>
              <a:gd name="connsiteY6539" fmla="*/ 4443256 h 5282095"/>
              <a:gd name="connsiteX6540" fmla="*/ 2755145 w 7714416"/>
              <a:gd name="connsiteY6540" fmla="*/ 4443366 h 5282095"/>
              <a:gd name="connsiteX6541" fmla="*/ 2752282 w 7714416"/>
              <a:gd name="connsiteY6541" fmla="*/ 4442145 h 5282095"/>
              <a:gd name="connsiteX6542" fmla="*/ 2755719 w 7714416"/>
              <a:gd name="connsiteY6542" fmla="*/ 4445143 h 5282095"/>
              <a:gd name="connsiteX6543" fmla="*/ 2759442 w 7714416"/>
              <a:gd name="connsiteY6543" fmla="*/ 4445366 h 5282095"/>
              <a:gd name="connsiteX6544" fmla="*/ 2757724 w 7714416"/>
              <a:gd name="connsiteY6544" fmla="*/ 4449365 h 5282095"/>
              <a:gd name="connsiteX6545" fmla="*/ 2757437 w 7714416"/>
              <a:gd name="connsiteY6545" fmla="*/ 4453142 h 5282095"/>
              <a:gd name="connsiteX6546" fmla="*/ 2752282 w 7714416"/>
              <a:gd name="connsiteY6546" fmla="*/ 4455475 h 5282095"/>
              <a:gd name="connsiteX6547" fmla="*/ 2750275 w 7714416"/>
              <a:gd name="connsiteY6547" fmla="*/ 4455030 h 5282095"/>
              <a:gd name="connsiteX6548" fmla="*/ 2743401 w 7714416"/>
              <a:gd name="connsiteY6548" fmla="*/ 4457141 h 5282095"/>
              <a:gd name="connsiteX6549" fmla="*/ 2741968 w 7714416"/>
              <a:gd name="connsiteY6549" fmla="*/ 4459141 h 5282095"/>
              <a:gd name="connsiteX6550" fmla="*/ 2744833 w 7714416"/>
              <a:gd name="connsiteY6550" fmla="*/ 4462806 h 5282095"/>
              <a:gd name="connsiteX6551" fmla="*/ 2747411 w 7714416"/>
              <a:gd name="connsiteY6551" fmla="*/ 4464695 h 5282095"/>
              <a:gd name="connsiteX6552" fmla="*/ 2751422 w 7714416"/>
              <a:gd name="connsiteY6552" fmla="*/ 4464028 h 5282095"/>
              <a:gd name="connsiteX6553" fmla="*/ 2767177 w 7714416"/>
              <a:gd name="connsiteY6553" fmla="*/ 4463473 h 5282095"/>
              <a:gd name="connsiteX6554" fmla="*/ 2766032 w 7714416"/>
              <a:gd name="connsiteY6554" fmla="*/ 4465027 h 5282095"/>
              <a:gd name="connsiteX6555" fmla="*/ 2753713 w 7714416"/>
              <a:gd name="connsiteY6555" fmla="*/ 4467027 h 5282095"/>
              <a:gd name="connsiteX6556" fmla="*/ 2751135 w 7714416"/>
              <a:gd name="connsiteY6556" fmla="*/ 4467361 h 5282095"/>
              <a:gd name="connsiteX6557" fmla="*/ 2754287 w 7714416"/>
              <a:gd name="connsiteY6557" fmla="*/ 4469471 h 5282095"/>
              <a:gd name="connsiteX6558" fmla="*/ 2771187 w 7714416"/>
              <a:gd name="connsiteY6558" fmla="*/ 4483801 h 5282095"/>
              <a:gd name="connsiteX6559" fmla="*/ 2772620 w 7714416"/>
              <a:gd name="connsiteY6559" fmla="*/ 4489355 h 5282095"/>
              <a:gd name="connsiteX6560" fmla="*/ 2778922 w 7714416"/>
              <a:gd name="connsiteY6560" fmla="*/ 4485690 h 5282095"/>
              <a:gd name="connsiteX6561" fmla="*/ 2784938 w 7714416"/>
              <a:gd name="connsiteY6561" fmla="*/ 4481912 h 5282095"/>
              <a:gd name="connsiteX6562" fmla="*/ 2796684 w 7714416"/>
              <a:gd name="connsiteY6562" fmla="*/ 4475581 h 5282095"/>
              <a:gd name="connsiteX6563" fmla="*/ 2798688 w 7714416"/>
              <a:gd name="connsiteY6563" fmla="*/ 4472359 h 5282095"/>
              <a:gd name="connsiteX6564" fmla="*/ 2799835 w 7714416"/>
              <a:gd name="connsiteY6564" fmla="*/ 4471804 h 5282095"/>
              <a:gd name="connsiteX6565" fmla="*/ 2799834 w 7714416"/>
              <a:gd name="connsiteY6565" fmla="*/ 4470582 h 5282095"/>
              <a:gd name="connsiteX6566" fmla="*/ 2801267 w 7714416"/>
              <a:gd name="connsiteY6566" fmla="*/ 4470138 h 5282095"/>
              <a:gd name="connsiteX6567" fmla="*/ 2800980 w 7714416"/>
              <a:gd name="connsiteY6567" fmla="*/ 4471249 h 5282095"/>
              <a:gd name="connsiteX6568" fmla="*/ 2802986 w 7714416"/>
              <a:gd name="connsiteY6568" fmla="*/ 4470248 h 5282095"/>
              <a:gd name="connsiteX6569" fmla="*/ 2814444 w 7714416"/>
              <a:gd name="connsiteY6569" fmla="*/ 4475025 h 5282095"/>
              <a:gd name="connsiteX6570" fmla="*/ 2813871 w 7714416"/>
              <a:gd name="connsiteY6570" fmla="*/ 4482467 h 5282095"/>
              <a:gd name="connsiteX6571" fmla="*/ 2798116 w 7714416"/>
              <a:gd name="connsiteY6571" fmla="*/ 4480801 h 5282095"/>
              <a:gd name="connsiteX6572" fmla="*/ 2797542 w 7714416"/>
              <a:gd name="connsiteY6572" fmla="*/ 4480469 h 5282095"/>
              <a:gd name="connsiteX6573" fmla="*/ 2797543 w 7714416"/>
              <a:gd name="connsiteY6573" fmla="*/ 4480691 h 5282095"/>
              <a:gd name="connsiteX6574" fmla="*/ 2784651 w 7714416"/>
              <a:gd name="connsiteY6574" fmla="*/ 4488578 h 5282095"/>
              <a:gd name="connsiteX6575" fmla="*/ 2781214 w 7714416"/>
              <a:gd name="connsiteY6575" fmla="*/ 4490132 h 5282095"/>
              <a:gd name="connsiteX6576" fmla="*/ 2777776 w 7714416"/>
              <a:gd name="connsiteY6576" fmla="*/ 4491466 h 5282095"/>
              <a:gd name="connsiteX6577" fmla="*/ 2771188 w 7714416"/>
              <a:gd name="connsiteY6577" fmla="*/ 4490132 h 5282095"/>
              <a:gd name="connsiteX6578" fmla="*/ 2771474 w 7714416"/>
              <a:gd name="connsiteY6578" fmla="*/ 4489910 h 5282095"/>
              <a:gd name="connsiteX6579" fmla="*/ 2765458 w 7714416"/>
              <a:gd name="connsiteY6579" fmla="*/ 4489577 h 5282095"/>
              <a:gd name="connsiteX6580" fmla="*/ 2753428 w 7714416"/>
              <a:gd name="connsiteY6580" fmla="*/ 4485245 h 5282095"/>
              <a:gd name="connsiteX6581" fmla="*/ 2744261 w 7714416"/>
              <a:gd name="connsiteY6581" fmla="*/ 4478691 h 5282095"/>
              <a:gd name="connsiteX6582" fmla="*/ 2742827 w 7714416"/>
              <a:gd name="connsiteY6582" fmla="*/ 4478358 h 5282095"/>
              <a:gd name="connsiteX6583" fmla="*/ 2735666 w 7714416"/>
              <a:gd name="connsiteY6583" fmla="*/ 4474136 h 5282095"/>
              <a:gd name="connsiteX6584" fmla="*/ 2735666 w 7714416"/>
              <a:gd name="connsiteY6584" fmla="*/ 4474358 h 5282095"/>
              <a:gd name="connsiteX6585" fmla="*/ 2730796 w 7714416"/>
              <a:gd name="connsiteY6585" fmla="*/ 4485911 h 5282095"/>
              <a:gd name="connsiteX6586" fmla="*/ 2729078 w 7714416"/>
              <a:gd name="connsiteY6586" fmla="*/ 4486467 h 5282095"/>
              <a:gd name="connsiteX6587" fmla="*/ 2726499 w 7714416"/>
              <a:gd name="connsiteY6587" fmla="*/ 4484356 h 5282095"/>
              <a:gd name="connsiteX6588" fmla="*/ 2727646 w 7714416"/>
              <a:gd name="connsiteY6588" fmla="*/ 4479246 h 5282095"/>
              <a:gd name="connsiteX6589" fmla="*/ 2731943 w 7714416"/>
              <a:gd name="connsiteY6589" fmla="*/ 4472803 h 5282095"/>
              <a:gd name="connsiteX6590" fmla="*/ 2732801 w 7714416"/>
              <a:gd name="connsiteY6590" fmla="*/ 4471915 h 5282095"/>
              <a:gd name="connsiteX6591" fmla="*/ 2719910 w 7714416"/>
              <a:gd name="connsiteY6591" fmla="*/ 4462695 h 5282095"/>
              <a:gd name="connsiteX6592" fmla="*/ 2715614 w 7714416"/>
              <a:gd name="connsiteY6592" fmla="*/ 4462806 h 5282095"/>
              <a:gd name="connsiteX6593" fmla="*/ 2715613 w 7714416"/>
              <a:gd name="connsiteY6593" fmla="*/ 4463140 h 5282095"/>
              <a:gd name="connsiteX6594" fmla="*/ 2706447 w 7714416"/>
              <a:gd name="connsiteY6594" fmla="*/ 4467472 h 5282095"/>
              <a:gd name="connsiteX6595" fmla="*/ 2701004 w 7714416"/>
              <a:gd name="connsiteY6595" fmla="*/ 4468138 h 5282095"/>
              <a:gd name="connsiteX6596" fmla="*/ 2701290 w 7714416"/>
              <a:gd name="connsiteY6596" fmla="*/ 4468250 h 5282095"/>
              <a:gd name="connsiteX6597" fmla="*/ 2701863 w 7714416"/>
              <a:gd name="connsiteY6597" fmla="*/ 4470471 h 5282095"/>
              <a:gd name="connsiteX6598" fmla="*/ 2691551 w 7714416"/>
              <a:gd name="connsiteY6598" fmla="*/ 4476913 h 5282095"/>
              <a:gd name="connsiteX6599" fmla="*/ 2684102 w 7714416"/>
              <a:gd name="connsiteY6599" fmla="*/ 4478024 h 5282095"/>
              <a:gd name="connsiteX6600" fmla="*/ 2688399 w 7714416"/>
              <a:gd name="connsiteY6600" fmla="*/ 4487689 h 5282095"/>
              <a:gd name="connsiteX6601" fmla="*/ 2695561 w 7714416"/>
              <a:gd name="connsiteY6601" fmla="*/ 4512348 h 5282095"/>
              <a:gd name="connsiteX6602" fmla="*/ 2676942 w 7714416"/>
              <a:gd name="connsiteY6602" fmla="*/ 4535676 h 5282095"/>
              <a:gd name="connsiteX6603" fmla="*/ 2629960 w 7714416"/>
              <a:gd name="connsiteY6603" fmla="*/ 4547340 h 5282095"/>
              <a:gd name="connsiteX6604" fmla="*/ 2601887 w 7714416"/>
              <a:gd name="connsiteY6604" fmla="*/ 4538120 h 5282095"/>
              <a:gd name="connsiteX6605" fmla="*/ 2590715 w 7714416"/>
              <a:gd name="connsiteY6605" fmla="*/ 4534455 h 5282095"/>
              <a:gd name="connsiteX6606" fmla="*/ 2585845 w 7714416"/>
              <a:gd name="connsiteY6606" fmla="*/ 4539453 h 5282095"/>
              <a:gd name="connsiteX6607" fmla="*/ 2581549 w 7714416"/>
              <a:gd name="connsiteY6607" fmla="*/ 4535455 h 5282095"/>
              <a:gd name="connsiteX6608" fmla="*/ 2583553 w 7714416"/>
              <a:gd name="connsiteY6608" fmla="*/ 4532233 h 5282095"/>
              <a:gd name="connsiteX6609" fmla="*/ 2573527 w 7714416"/>
              <a:gd name="connsiteY6609" fmla="*/ 4529012 h 5282095"/>
              <a:gd name="connsiteX6610" fmla="*/ 2568084 w 7714416"/>
              <a:gd name="connsiteY6610" fmla="*/ 4517347 h 5282095"/>
              <a:gd name="connsiteX6611" fmla="*/ 2559204 w 7714416"/>
              <a:gd name="connsiteY6611" fmla="*/ 4519347 h 5282095"/>
              <a:gd name="connsiteX6612" fmla="*/ 2558917 w 7714416"/>
              <a:gd name="connsiteY6612" fmla="*/ 4512127 h 5282095"/>
              <a:gd name="connsiteX6613" fmla="*/ 2562641 w 7714416"/>
              <a:gd name="connsiteY6613" fmla="*/ 4509350 h 5282095"/>
              <a:gd name="connsiteX6614" fmla="*/ 2559205 w 7714416"/>
              <a:gd name="connsiteY6614" fmla="*/ 4504462 h 5282095"/>
              <a:gd name="connsiteX6615" fmla="*/ 2553761 w 7714416"/>
              <a:gd name="connsiteY6615" fmla="*/ 4479579 h 5282095"/>
              <a:gd name="connsiteX6616" fmla="*/ 2554907 w 7714416"/>
              <a:gd name="connsiteY6616" fmla="*/ 4479246 h 5282095"/>
              <a:gd name="connsiteX6617" fmla="*/ 2560923 w 7714416"/>
              <a:gd name="connsiteY6617" fmla="*/ 4472581 h 5282095"/>
              <a:gd name="connsiteX6618" fmla="*/ 2567798 w 7714416"/>
              <a:gd name="connsiteY6618" fmla="*/ 4470804 h 5282095"/>
              <a:gd name="connsiteX6619" fmla="*/ 2570089 w 7714416"/>
              <a:gd name="connsiteY6619" fmla="*/ 4468693 h 5282095"/>
              <a:gd name="connsiteX6620" fmla="*/ 2578971 w 7714416"/>
              <a:gd name="connsiteY6620" fmla="*/ 4457475 h 5282095"/>
              <a:gd name="connsiteX6621" fmla="*/ 2625663 w 7714416"/>
              <a:gd name="connsiteY6621" fmla="*/ 4452809 h 5282095"/>
              <a:gd name="connsiteX6622" fmla="*/ 2650013 w 7714416"/>
              <a:gd name="connsiteY6622" fmla="*/ 4456474 h 5282095"/>
              <a:gd name="connsiteX6623" fmla="*/ 2668348 w 7714416"/>
              <a:gd name="connsiteY6623" fmla="*/ 4464361 h 5282095"/>
              <a:gd name="connsiteX6624" fmla="*/ 2666056 w 7714416"/>
              <a:gd name="connsiteY6624" fmla="*/ 4462251 h 5282095"/>
              <a:gd name="connsiteX6625" fmla="*/ 2663477 w 7714416"/>
              <a:gd name="connsiteY6625" fmla="*/ 4450032 h 5282095"/>
              <a:gd name="connsiteX6626" fmla="*/ 2680092 w 7714416"/>
              <a:gd name="connsiteY6626" fmla="*/ 4446588 h 5282095"/>
              <a:gd name="connsiteX6627" fmla="*/ 2697852 w 7714416"/>
              <a:gd name="connsiteY6627" fmla="*/ 4458252 h 5282095"/>
              <a:gd name="connsiteX6628" fmla="*/ 2697566 w 7714416"/>
              <a:gd name="connsiteY6628" fmla="*/ 4460139 h 5282095"/>
              <a:gd name="connsiteX6629" fmla="*/ 2698139 w 7714416"/>
              <a:gd name="connsiteY6629" fmla="*/ 4460140 h 5282095"/>
              <a:gd name="connsiteX6630" fmla="*/ 2701577 w 7714416"/>
              <a:gd name="connsiteY6630" fmla="*/ 4459807 h 5282095"/>
              <a:gd name="connsiteX6631" fmla="*/ 2699572 w 7714416"/>
              <a:gd name="connsiteY6631" fmla="*/ 4458585 h 5282095"/>
              <a:gd name="connsiteX6632" fmla="*/ 2704155 w 7714416"/>
              <a:gd name="connsiteY6632" fmla="*/ 4456474 h 5282095"/>
              <a:gd name="connsiteX6633" fmla="*/ 2708165 w 7714416"/>
              <a:gd name="connsiteY6633" fmla="*/ 4453586 h 5282095"/>
              <a:gd name="connsiteX6634" fmla="*/ 2711030 w 7714416"/>
              <a:gd name="connsiteY6634" fmla="*/ 4453253 h 5282095"/>
              <a:gd name="connsiteX6635" fmla="*/ 2721629 w 7714416"/>
              <a:gd name="connsiteY6635" fmla="*/ 4448254 h 5282095"/>
              <a:gd name="connsiteX6636" fmla="*/ 2729077 w 7714416"/>
              <a:gd name="connsiteY6636" fmla="*/ 4447031 h 5282095"/>
              <a:gd name="connsiteX6637" fmla="*/ 2729078 w 7714416"/>
              <a:gd name="connsiteY6637" fmla="*/ 4446810 h 5282095"/>
              <a:gd name="connsiteX6638" fmla="*/ 2726500 w 7714416"/>
              <a:gd name="connsiteY6638" fmla="*/ 4440590 h 5282095"/>
              <a:gd name="connsiteX6639" fmla="*/ 2729078 w 7714416"/>
              <a:gd name="connsiteY6639" fmla="*/ 4437479 h 5282095"/>
              <a:gd name="connsiteX6640" fmla="*/ 2739676 w 7714416"/>
              <a:gd name="connsiteY6640" fmla="*/ 4436702 h 5282095"/>
              <a:gd name="connsiteX6641" fmla="*/ 2747411 w 7714416"/>
              <a:gd name="connsiteY6641" fmla="*/ 4439589 h 5282095"/>
              <a:gd name="connsiteX6642" fmla="*/ 2744260 w 7714416"/>
              <a:gd name="connsiteY6642" fmla="*/ 4435257 h 5282095"/>
              <a:gd name="connsiteX6643" fmla="*/ 2746838 w 7714416"/>
              <a:gd name="connsiteY6643" fmla="*/ 4429259 h 5282095"/>
              <a:gd name="connsiteX6644" fmla="*/ 6202170 w 7714416"/>
              <a:gd name="connsiteY6644" fmla="*/ 4429258 h 5282095"/>
              <a:gd name="connsiteX6645" fmla="*/ 6206754 w 7714416"/>
              <a:gd name="connsiteY6645" fmla="*/ 4429371 h 5282095"/>
              <a:gd name="connsiteX6646" fmla="*/ 6206754 w 7714416"/>
              <a:gd name="connsiteY6646" fmla="*/ 4431591 h 5282095"/>
              <a:gd name="connsiteX6647" fmla="*/ 6208473 w 7714416"/>
              <a:gd name="connsiteY6647" fmla="*/ 4431703 h 5282095"/>
              <a:gd name="connsiteX6648" fmla="*/ 6206754 w 7714416"/>
              <a:gd name="connsiteY6648" fmla="*/ 4433813 h 5282095"/>
              <a:gd name="connsiteX6649" fmla="*/ 6205036 w 7714416"/>
              <a:gd name="connsiteY6649" fmla="*/ 4433702 h 5282095"/>
              <a:gd name="connsiteX6650" fmla="*/ 6204462 w 7714416"/>
              <a:gd name="connsiteY6650" fmla="*/ 4433925 h 5282095"/>
              <a:gd name="connsiteX6651" fmla="*/ 6201598 w 7714416"/>
              <a:gd name="connsiteY6651" fmla="*/ 4432369 h 5282095"/>
              <a:gd name="connsiteX6652" fmla="*/ 6200166 w 7714416"/>
              <a:gd name="connsiteY6652" fmla="*/ 4430037 h 5282095"/>
              <a:gd name="connsiteX6653" fmla="*/ 6202170 w 7714416"/>
              <a:gd name="connsiteY6653" fmla="*/ 4429258 h 5282095"/>
              <a:gd name="connsiteX6654" fmla="*/ 1680045 w 7714416"/>
              <a:gd name="connsiteY6654" fmla="*/ 4429258 h 5282095"/>
              <a:gd name="connsiteX6655" fmla="*/ 1685775 w 7714416"/>
              <a:gd name="connsiteY6655" fmla="*/ 4429370 h 5282095"/>
              <a:gd name="connsiteX6656" fmla="*/ 1702675 w 7714416"/>
              <a:gd name="connsiteY6656" fmla="*/ 4436257 h 5282095"/>
              <a:gd name="connsiteX6657" fmla="*/ 1696087 w 7714416"/>
              <a:gd name="connsiteY6657" fmla="*/ 4443255 h 5282095"/>
              <a:gd name="connsiteX6658" fmla="*/ 1680045 w 7714416"/>
              <a:gd name="connsiteY6658" fmla="*/ 4429258 h 5282095"/>
              <a:gd name="connsiteX6659" fmla="*/ 5428717 w 7714416"/>
              <a:gd name="connsiteY6659" fmla="*/ 4428926 h 5282095"/>
              <a:gd name="connsiteX6660" fmla="*/ 5454785 w 7714416"/>
              <a:gd name="connsiteY6660" fmla="*/ 4441256 h 5282095"/>
              <a:gd name="connsiteX6661" fmla="*/ 5459655 w 7714416"/>
              <a:gd name="connsiteY6661" fmla="*/ 4446477 h 5282095"/>
              <a:gd name="connsiteX6662" fmla="*/ 5465957 w 7714416"/>
              <a:gd name="connsiteY6662" fmla="*/ 4445811 h 5282095"/>
              <a:gd name="connsiteX6663" fmla="*/ 5449342 w 7714416"/>
              <a:gd name="connsiteY6663" fmla="*/ 4458252 h 5282095"/>
              <a:gd name="connsiteX6664" fmla="*/ 5443326 w 7714416"/>
              <a:gd name="connsiteY6664" fmla="*/ 4458252 h 5282095"/>
              <a:gd name="connsiteX6665" fmla="*/ 5447624 w 7714416"/>
              <a:gd name="connsiteY6665" fmla="*/ 4459806 h 5282095"/>
              <a:gd name="connsiteX6666" fmla="*/ 5449915 w 7714416"/>
              <a:gd name="connsiteY6666" fmla="*/ 4465138 h 5282095"/>
              <a:gd name="connsiteX6667" fmla="*/ 5449342 w 7714416"/>
              <a:gd name="connsiteY6667" fmla="*/ 4464140 h 5282095"/>
              <a:gd name="connsiteX6668" fmla="*/ 5446191 w 7714416"/>
              <a:gd name="connsiteY6668" fmla="*/ 4465138 h 5282095"/>
              <a:gd name="connsiteX6669" fmla="*/ 5446764 w 7714416"/>
              <a:gd name="connsiteY6669" fmla="*/ 4466249 h 5282095"/>
              <a:gd name="connsiteX6670" fmla="*/ 5443040 w 7714416"/>
              <a:gd name="connsiteY6670" fmla="*/ 4466250 h 5282095"/>
              <a:gd name="connsiteX6671" fmla="*/ 5433873 w 7714416"/>
              <a:gd name="connsiteY6671" fmla="*/ 4460251 h 5282095"/>
              <a:gd name="connsiteX6672" fmla="*/ 5437597 w 7714416"/>
              <a:gd name="connsiteY6672" fmla="*/ 4457585 h 5282095"/>
              <a:gd name="connsiteX6673" fmla="*/ 5440176 w 7714416"/>
              <a:gd name="connsiteY6673" fmla="*/ 4457696 h 5282095"/>
              <a:gd name="connsiteX6674" fmla="*/ 5441321 w 7714416"/>
              <a:gd name="connsiteY6674" fmla="*/ 4456141 h 5282095"/>
              <a:gd name="connsiteX6675" fmla="*/ 5440462 w 7714416"/>
              <a:gd name="connsiteY6675" fmla="*/ 4456364 h 5282095"/>
              <a:gd name="connsiteX6676" fmla="*/ 5413820 w 7714416"/>
              <a:gd name="connsiteY6676" fmla="*/ 4434702 h 5282095"/>
              <a:gd name="connsiteX6677" fmla="*/ 5428717 w 7714416"/>
              <a:gd name="connsiteY6677" fmla="*/ 4428926 h 5282095"/>
              <a:gd name="connsiteX6678" fmla="*/ 6021698 w 7714416"/>
              <a:gd name="connsiteY6678" fmla="*/ 4426593 h 5282095"/>
              <a:gd name="connsiteX6679" fmla="*/ 6026568 w 7714416"/>
              <a:gd name="connsiteY6679" fmla="*/ 4428814 h 5282095"/>
              <a:gd name="connsiteX6680" fmla="*/ 6025422 w 7714416"/>
              <a:gd name="connsiteY6680" fmla="*/ 4432925 h 5282095"/>
              <a:gd name="connsiteX6681" fmla="*/ 6019693 w 7714416"/>
              <a:gd name="connsiteY6681" fmla="*/ 4436146 h 5282095"/>
              <a:gd name="connsiteX6682" fmla="*/ 6011672 w 7714416"/>
              <a:gd name="connsiteY6682" fmla="*/ 4428592 h 5282095"/>
              <a:gd name="connsiteX6683" fmla="*/ 6021698 w 7714416"/>
              <a:gd name="connsiteY6683" fmla="*/ 4426593 h 5282095"/>
              <a:gd name="connsiteX6684" fmla="*/ 5836069 w 7714416"/>
              <a:gd name="connsiteY6684" fmla="*/ 4426259 h 5282095"/>
              <a:gd name="connsiteX6685" fmla="*/ 5836928 w 7714416"/>
              <a:gd name="connsiteY6685" fmla="*/ 4427148 h 5282095"/>
              <a:gd name="connsiteX6686" fmla="*/ 5835496 w 7714416"/>
              <a:gd name="connsiteY6686" fmla="*/ 4431481 h 5282095"/>
              <a:gd name="connsiteX6687" fmla="*/ 5835210 w 7714416"/>
              <a:gd name="connsiteY6687" fmla="*/ 4427037 h 5282095"/>
              <a:gd name="connsiteX6688" fmla="*/ 5836069 w 7714416"/>
              <a:gd name="connsiteY6688" fmla="*/ 4426259 h 5282095"/>
              <a:gd name="connsiteX6689" fmla="*/ 2119767 w 7714416"/>
              <a:gd name="connsiteY6689" fmla="*/ 4426038 h 5282095"/>
              <a:gd name="connsiteX6690" fmla="*/ 2121201 w 7714416"/>
              <a:gd name="connsiteY6690" fmla="*/ 4433925 h 5282095"/>
              <a:gd name="connsiteX6691" fmla="*/ 2116043 w 7714416"/>
              <a:gd name="connsiteY6691" fmla="*/ 4432702 h 5282095"/>
              <a:gd name="connsiteX6692" fmla="*/ 2119767 w 7714416"/>
              <a:gd name="connsiteY6692" fmla="*/ 4426038 h 5282095"/>
              <a:gd name="connsiteX6693" fmla="*/ 2380165 w 7714416"/>
              <a:gd name="connsiteY6693" fmla="*/ 4425927 h 5282095"/>
              <a:gd name="connsiteX6694" fmla="*/ 2380165 w 7714416"/>
              <a:gd name="connsiteY6694" fmla="*/ 4430370 h 5282095"/>
              <a:gd name="connsiteX6695" fmla="*/ 2378446 w 7714416"/>
              <a:gd name="connsiteY6695" fmla="*/ 4430148 h 5282095"/>
              <a:gd name="connsiteX6696" fmla="*/ 2380165 w 7714416"/>
              <a:gd name="connsiteY6696" fmla="*/ 4425927 h 5282095"/>
              <a:gd name="connsiteX6697" fmla="*/ 2168180 w 7714416"/>
              <a:gd name="connsiteY6697" fmla="*/ 4425704 h 5282095"/>
              <a:gd name="connsiteX6698" fmla="*/ 2189378 w 7714416"/>
              <a:gd name="connsiteY6698" fmla="*/ 4432370 h 5282095"/>
              <a:gd name="connsiteX6699" fmla="*/ 2181357 w 7714416"/>
              <a:gd name="connsiteY6699" fmla="*/ 4439479 h 5282095"/>
              <a:gd name="connsiteX6700" fmla="*/ 2168180 w 7714416"/>
              <a:gd name="connsiteY6700" fmla="*/ 4425704 h 5282095"/>
              <a:gd name="connsiteX6701" fmla="*/ 2691264 w 7714416"/>
              <a:gd name="connsiteY6701" fmla="*/ 4425593 h 5282095"/>
              <a:gd name="connsiteX6702" fmla="*/ 2685248 w 7714416"/>
              <a:gd name="connsiteY6702" fmla="*/ 4438257 h 5282095"/>
              <a:gd name="connsiteX6703" fmla="*/ 2678087 w 7714416"/>
              <a:gd name="connsiteY6703" fmla="*/ 4433370 h 5282095"/>
              <a:gd name="connsiteX6704" fmla="*/ 2691264 w 7714416"/>
              <a:gd name="connsiteY6704" fmla="*/ 4425593 h 5282095"/>
              <a:gd name="connsiteX6705" fmla="*/ 1624471 w 7714416"/>
              <a:gd name="connsiteY6705" fmla="*/ 4425593 h 5282095"/>
              <a:gd name="connsiteX6706" fmla="*/ 1618456 w 7714416"/>
              <a:gd name="connsiteY6706" fmla="*/ 4438257 h 5282095"/>
              <a:gd name="connsiteX6707" fmla="*/ 1611294 w 7714416"/>
              <a:gd name="connsiteY6707" fmla="*/ 4433369 h 5282095"/>
              <a:gd name="connsiteX6708" fmla="*/ 1624471 w 7714416"/>
              <a:gd name="connsiteY6708" fmla="*/ 4425593 h 5282095"/>
              <a:gd name="connsiteX6709" fmla="*/ 7004558 w 7714416"/>
              <a:gd name="connsiteY6709" fmla="*/ 4425260 h 5282095"/>
              <a:gd name="connsiteX6710" fmla="*/ 7015443 w 7714416"/>
              <a:gd name="connsiteY6710" fmla="*/ 4434591 h 5282095"/>
              <a:gd name="connsiteX6711" fmla="*/ 6997682 w 7714416"/>
              <a:gd name="connsiteY6711" fmla="*/ 4439923 h 5282095"/>
              <a:gd name="connsiteX6712" fmla="*/ 7001692 w 7714416"/>
              <a:gd name="connsiteY6712" fmla="*/ 4425371 h 5282095"/>
              <a:gd name="connsiteX6713" fmla="*/ 7004558 w 7714416"/>
              <a:gd name="connsiteY6713" fmla="*/ 4425260 h 5282095"/>
              <a:gd name="connsiteX6714" fmla="*/ 2641705 w 7714416"/>
              <a:gd name="connsiteY6714" fmla="*/ 4424037 h 5282095"/>
              <a:gd name="connsiteX6715" fmla="*/ 2648294 w 7714416"/>
              <a:gd name="connsiteY6715" fmla="*/ 4424372 h 5282095"/>
              <a:gd name="connsiteX6716" fmla="*/ 2673790 w 7714416"/>
              <a:gd name="connsiteY6716" fmla="*/ 4442367 h 5282095"/>
              <a:gd name="connsiteX6717" fmla="*/ 2652592 w 7714416"/>
              <a:gd name="connsiteY6717" fmla="*/ 4436702 h 5282095"/>
              <a:gd name="connsiteX6718" fmla="*/ 2634831 w 7714416"/>
              <a:gd name="connsiteY6718" fmla="*/ 4425260 h 5282095"/>
              <a:gd name="connsiteX6719" fmla="*/ 2641705 w 7714416"/>
              <a:gd name="connsiteY6719" fmla="*/ 4424037 h 5282095"/>
              <a:gd name="connsiteX6720" fmla="*/ 5568512 w 7714416"/>
              <a:gd name="connsiteY6720" fmla="*/ 4422483 h 5282095"/>
              <a:gd name="connsiteX6721" fmla="*/ 5566793 w 7714416"/>
              <a:gd name="connsiteY6721" fmla="*/ 4446143 h 5282095"/>
              <a:gd name="connsiteX6722" fmla="*/ 5564788 w 7714416"/>
              <a:gd name="connsiteY6722" fmla="*/ 4448586 h 5282095"/>
              <a:gd name="connsiteX6723" fmla="*/ 5560777 w 7714416"/>
              <a:gd name="connsiteY6723" fmla="*/ 4448809 h 5282095"/>
              <a:gd name="connsiteX6724" fmla="*/ 5556766 w 7714416"/>
              <a:gd name="connsiteY6724" fmla="*/ 4434035 h 5282095"/>
              <a:gd name="connsiteX6725" fmla="*/ 5559058 w 7714416"/>
              <a:gd name="connsiteY6725" fmla="*/ 4430926 h 5282095"/>
              <a:gd name="connsiteX6726" fmla="*/ 5559918 w 7714416"/>
              <a:gd name="connsiteY6726" fmla="*/ 4428370 h 5282095"/>
              <a:gd name="connsiteX6727" fmla="*/ 5568512 w 7714416"/>
              <a:gd name="connsiteY6727" fmla="*/ 4422483 h 5282095"/>
              <a:gd name="connsiteX6728" fmla="*/ 2732515 w 7714416"/>
              <a:gd name="connsiteY6728" fmla="*/ 4421594 h 5282095"/>
              <a:gd name="connsiteX6729" fmla="*/ 2704156 w 7714416"/>
              <a:gd name="connsiteY6729" fmla="*/ 4438479 h 5282095"/>
              <a:gd name="connsiteX6730" fmla="*/ 2714181 w 7714416"/>
              <a:gd name="connsiteY6730" fmla="*/ 4426815 h 5282095"/>
              <a:gd name="connsiteX6731" fmla="*/ 2732515 w 7714416"/>
              <a:gd name="connsiteY6731" fmla="*/ 4421594 h 5282095"/>
              <a:gd name="connsiteX6732" fmla="*/ 6267484 w 7714416"/>
              <a:gd name="connsiteY6732" fmla="*/ 4420260 h 5282095"/>
              <a:gd name="connsiteX6733" fmla="*/ 6276365 w 7714416"/>
              <a:gd name="connsiteY6733" fmla="*/ 4424372 h 5282095"/>
              <a:gd name="connsiteX6734" fmla="*/ 6266912 w 7714416"/>
              <a:gd name="connsiteY6734" fmla="*/ 4425038 h 5282095"/>
              <a:gd name="connsiteX6735" fmla="*/ 6267484 w 7714416"/>
              <a:gd name="connsiteY6735" fmla="*/ 4420260 h 5282095"/>
              <a:gd name="connsiteX6736" fmla="*/ 5696275 w 7714416"/>
              <a:gd name="connsiteY6736" fmla="*/ 4420039 h 5282095"/>
              <a:gd name="connsiteX6737" fmla="*/ 5699999 w 7714416"/>
              <a:gd name="connsiteY6737" fmla="*/ 4422594 h 5282095"/>
              <a:gd name="connsiteX6738" fmla="*/ 5703150 w 7714416"/>
              <a:gd name="connsiteY6738" fmla="*/ 4427814 h 5282095"/>
              <a:gd name="connsiteX6739" fmla="*/ 5695129 w 7714416"/>
              <a:gd name="connsiteY6739" fmla="*/ 4430815 h 5282095"/>
              <a:gd name="connsiteX6740" fmla="*/ 5693410 w 7714416"/>
              <a:gd name="connsiteY6740" fmla="*/ 4434369 h 5282095"/>
              <a:gd name="connsiteX6741" fmla="*/ 5697134 w 7714416"/>
              <a:gd name="connsiteY6741" fmla="*/ 4433370 h 5282095"/>
              <a:gd name="connsiteX6742" fmla="*/ 5703150 w 7714416"/>
              <a:gd name="connsiteY6742" fmla="*/ 4434147 h 5282095"/>
              <a:gd name="connsiteX6743" fmla="*/ 5697420 w 7714416"/>
              <a:gd name="connsiteY6743" fmla="*/ 4436034 h 5282095"/>
              <a:gd name="connsiteX6744" fmla="*/ 5693124 w 7714416"/>
              <a:gd name="connsiteY6744" fmla="*/ 4435480 h 5282095"/>
              <a:gd name="connsiteX6745" fmla="*/ 5691978 w 7714416"/>
              <a:gd name="connsiteY6745" fmla="*/ 4439367 h 5282095"/>
              <a:gd name="connsiteX6746" fmla="*/ 5686248 w 7714416"/>
              <a:gd name="connsiteY6746" fmla="*/ 4442256 h 5282095"/>
              <a:gd name="connsiteX6747" fmla="*/ 5670493 w 7714416"/>
              <a:gd name="connsiteY6747" fmla="*/ 4440035 h 5282095"/>
              <a:gd name="connsiteX6748" fmla="*/ 5666482 w 7714416"/>
              <a:gd name="connsiteY6748" fmla="*/ 4437035 h 5282095"/>
              <a:gd name="connsiteX6749" fmla="*/ 5696275 w 7714416"/>
              <a:gd name="connsiteY6749" fmla="*/ 4420039 h 5282095"/>
              <a:gd name="connsiteX6750" fmla="*/ 7229146 w 7714416"/>
              <a:gd name="connsiteY6750" fmla="*/ 4419594 h 5282095"/>
              <a:gd name="connsiteX6751" fmla="*/ 7235161 w 7714416"/>
              <a:gd name="connsiteY6751" fmla="*/ 4422594 h 5282095"/>
              <a:gd name="connsiteX6752" fmla="*/ 7226280 w 7714416"/>
              <a:gd name="connsiteY6752" fmla="*/ 4429148 h 5282095"/>
              <a:gd name="connsiteX6753" fmla="*/ 7220552 w 7714416"/>
              <a:gd name="connsiteY6753" fmla="*/ 4421817 h 5282095"/>
              <a:gd name="connsiteX6754" fmla="*/ 7229146 w 7714416"/>
              <a:gd name="connsiteY6754" fmla="*/ 4419594 h 5282095"/>
              <a:gd name="connsiteX6755" fmla="*/ 2776057 w 7714416"/>
              <a:gd name="connsiteY6755" fmla="*/ 4418373 h 5282095"/>
              <a:gd name="connsiteX6756" fmla="*/ 2780068 w 7714416"/>
              <a:gd name="connsiteY6756" fmla="*/ 4419817 h 5282095"/>
              <a:gd name="connsiteX6757" fmla="*/ 2780068 w 7714416"/>
              <a:gd name="connsiteY6757" fmla="*/ 4421039 h 5282095"/>
              <a:gd name="connsiteX6758" fmla="*/ 2781214 w 7714416"/>
              <a:gd name="connsiteY6758" fmla="*/ 4425593 h 5282095"/>
              <a:gd name="connsiteX6759" fmla="*/ 2773193 w 7714416"/>
              <a:gd name="connsiteY6759" fmla="*/ 4428260 h 5282095"/>
              <a:gd name="connsiteX6760" fmla="*/ 2768610 w 7714416"/>
              <a:gd name="connsiteY6760" fmla="*/ 4421483 h 5282095"/>
              <a:gd name="connsiteX6761" fmla="*/ 2776057 w 7714416"/>
              <a:gd name="connsiteY6761" fmla="*/ 4418373 h 5282095"/>
              <a:gd name="connsiteX6762" fmla="*/ 2954238 w 7714416"/>
              <a:gd name="connsiteY6762" fmla="*/ 4417929 h 5282095"/>
              <a:gd name="connsiteX6763" fmla="*/ 2945072 w 7714416"/>
              <a:gd name="connsiteY6763" fmla="*/ 4419817 h 5282095"/>
              <a:gd name="connsiteX6764" fmla="*/ 2951087 w 7714416"/>
              <a:gd name="connsiteY6764" fmla="*/ 4424149 h 5282095"/>
              <a:gd name="connsiteX6765" fmla="*/ 2953952 w 7714416"/>
              <a:gd name="connsiteY6765" fmla="*/ 4434480 h 5282095"/>
              <a:gd name="connsiteX6766" fmla="*/ 2955385 w 7714416"/>
              <a:gd name="connsiteY6766" fmla="*/ 4437368 h 5282095"/>
              <a:gd name="connsiteX6767" fmla="*/ 2957962 w 7714416"/>
              <a:gd name="connsiteY6767" fmla="*/ 4439035 h 5282095"/>
              <a:gd name="connsiteX6768" fmla="*/ 2966556 w 7714416"/>
              <a:gd name="connsiteY6768" fmla="*/ 4442256 h 5282095"/>
              <a:gd name="connsiteX6769" fmla="*/ 2967989 w 7714416"/>
              <a:gd name="connsiteY6769" fmla="*/ 4440812 h 5282095"/>
              <a:gd name="connsiteX6770" fmla="*/ 2969134 w 7714416"/>
              <a:gd name="connsiteY6770" fmla="*/ 4441478 h 5282095"/>
              <a:gd name="connsiteX6771" fmla="*/ 2969134 w 7714416"/>
              <a:gd name="connsiteY6771" fmla="*/ 4441033 h 5282095"/>
              <a:gd name="connsiteX6772" fmla="*/ 2969134 w 7714416"/>
              <a:gd name="connsiteY6772" fmla="*/ 4439922 h 5282095"/>
              <a:gd name="connsiteX6773" fmla="*/ 2969421 w 7714416"/>
              <a:gd name="connsiteY6773" fmla="*/ 4439812 h 5282095"/>
              <a:gd name="connsiteX6774" fmla="*/ 2969707 w 7714416"/>
              <a:gd name="connsiteY6774" fmla="*/ 4438479 h 5282095"/>
              <a:gd name="connsiteX6775" fmla="*/ 2973431 w 7714416"/>
              <a:gd name="connsiteY6775" fmla="*/ 4435257 h 5282095"/>
              <a:gd name="connsiteX6776" fmla="*/ 2974578 w 7714416"/>
              <a:gd name="connsiteY6776" fmla="*/ 4433813 h 5282095"/>
              <a:gd name="connsiteX6777" fmla="*/ 2968275 w 7714416"/>
              <a:gd name="connsiteY6777" fmla="*/ 4427371 h 5282095"/>
              <a:gd name="connsiteX6778" fmla="*/ 2957103 w 7714416"/>
              <a:gd name="connsiteY6778" fmla="*/ 4431147 h 5282095"/>
              <a:gd name="connsiteX6779" fmla="*/ 2954238 w 7714416"/>
              <a:gd name="connsiteY6779" fmla="*/ 4417929 h 5282095"/>
              <a:gd name="connsiteX6780" fmla="*/ 6038600 w 7714416"/>
              <a:gd name="connsiteY6780" fmla="*/ 4417039 h 5282095"/>
              <a:gd name="connsiteX6781" fmla="*/ 6044329 w 7714416"/>
              <a:gd name="connsiteY6781" fmla="*/ 4418151 h 5282095"/>
              <a:gd name="connsiteX6782" fmla="*/ 6047480 w 7714416"/>
              <a:gd name="connsiteY6782" fmla="*/ 4424705 h 5282095"/>
              <a:gd name="connsiteX6783" fmla="*/ 6029432 w 7714416"/>
              <a:gd name="connsiteY6783" fmla="*/ 4426038 h 5282095"/>
              <a:gd name="connsiteX6784" fmla="*/ 6038600 w 7714416"/>
              <a:gd name="connsiteY6784" fmla="*/ 4417039 h 5282095"/>
              <a:gd name="connsiteX6785" fmla="*/ 7022604 w 7714416"/>
              <a:gd name="connsiteY6785" fmla="*/ 4416262 h 5282095"/>
              <a:gd name="connsiteX6786" fmla="*/ 7036928 w 7714416"/>
              <a:gd name="connsiteY6786" fmla="*/ 4417817 h 5282095"/>
              <a:gd name="connsiteX6787" fmla="*/ 7040938 w 7714416"/>
              <a:gd name="connsiteY6787" fmla="*/ 4432147 h 5282095"/>
              <a:gd name="connsiteX6788" fmla="*/ 7035209 w 7714416"/>
              <a:gd name="connsiteY6788" fmla="*/ 4435257 h 5282095"/>
              <a:gd name="connsiteX6789" fmla="*/ 7022032 w 7714416"/>
              <a:gd name="connsiteY6789" fmla="*/ 4435369 h 5282095"/>
              <a:gd name="connsiteX6790" fmla="*/ 7022604 w 7714416"/>
              <a:gd name="connsiteY6790" fmla="*/ 4416262 h 5282095"/>
              <a:gd name="connsiteX6791" fmla="*/ 2476416 w 7714416"/>
              <a:gd name="connsiteY6791" fmla="*/ 4416040 h 5282095"/>
              <a:gd name="connsiteX6792" fmla="*/ 2493031 w 7714416"/>
              <a:gd name="connsiteY6792" fmla="*/ 4422816 h 5282095"/>
              <a:gd name="connsiteX6793" fmla="*/ 2451493 w 7714416"/>
              <a:gd name="connsiteY6793" fmla="*/ 4442256 h 5282095"/>
              <a:gd name="connsiteX6794" fmla="*/ 2476416 w 7714416"/>
              <a:gd name="connsiteY6794" fmla="*/ 4416040 h 5282095"/>
              <a:gd name="connsiteX6795" fmla="*/ 5889924 w 7714416"/>
              <a:gd name="connsiteY6795" fmla="*/ 4415484 h 5282095"/>
              <a:gd name="connsiteX6796" fmla="*/ 5894794 w 7714416"/>
              <a:gd name="connsiteY6796" fmla="*/ 4417039 h 5282095"/>
              <a:gd name="connsiteX6797" fmla="*/ 5900238 w 7714416"/>
              <a:gd name="connsiteY6797" fmla="*/ 4423594 h 5282095"/>
              <a:gd name="connsiteX6798" fmla="*/ 5865288 w 7714416"/>
              <a:gd name="connsiteY6798" fmla="*/ 4468138 h 5282095"/>
              <a:gd name="connsiteX6799" fmla="*/ 5854116 w 7714416"/>
              <a:gd name="connsiteY6799" fmla="*/ 4445922 h 5282095"/>
              <a:gd name="connsiteX6800" fmla="*/ 5889924 w 7714416"/>
              <a:gd name="connsiteY6800" fmla="*/ 4415484 h 5282095"/>
              <a:gd name="connsiteX6801" fmla="*/ 2829626 w 7714416"/>
              <a:gd name="connsiteY6801" fmla="*/ 4412152 h 5282095"/>
              <a:gd name="connsiteX6802" fmla="*/ 2827907 w 7714416"/>
              <a:gd name="connsiteY6802" fmla="*/ 4414374 h 5282095"/>
              <a:gd name="connsiteX6803" fmla="*/ 2824756 w 7714416"/>
              <a:gd name="connsiteY6803" fmla="*/ 4416595 h 5282095"/>
              <a:gd name="connsiteX6804" fmla="*/ 2825043 w 7714416"/>
              <a:gd name="connsiteY6804" fmla="*/ 4418928 h 5282095"/>
              <a:gd name="connsiteX6805" fmla="*/ 2821032 w 7714416"/>
              <a:gd name="connsiteY6805" fmla="*/ 4422816 h 5282095"/>
              <a:gd name="connsiteX6806" fmla="*/ 2822465 w 7714416"/>
              <a:gd name="connsiteY6806" fmla="*/ 4422816 h 5282095"/>
              <a:gd name="connsiteX6807" fmla="*/ 2841658 w 7714416"/>
              <a:gd name="connsiteY6807" fmla="*/ 4427815 h 5282095"/>
              <a:gd name="connsiteX6808" fmla="*/ 2842803 w 7714416"/>
              <a:gd name="connsiteY6808" fmla="*/ 4431592 h 5282095"/>
              <a:gd name="connsiteX6809" fmla="*/ 2832204 w 7714416"/>
              <a:gd name="connsiteY6809" fmla="*/ 4441811 h 5282095"/>
              <a:gd name="connsiteX6810" fmla="*/ 2825044 w 7714416"/>
              <a:gd name="connsiteY6810" fmla="*/ 4443811 h 5282095"/>
              <a:gd name="connsiteX6811" fmla="*/ 2827907 w 7714416"/>
              <a:gd name="connsiteY6811" fmla="*/ 4444255 h 5282095"/>
              <a:gd name="connsiteX6812" fmla="*/ 2832204 w 7714416"/>
              <a:gd name="connsiteY6812" fmla="*/ 4445922 h 5282095"/>
              <a:gd name="connsiteX6813" fmla="*/ 2827908 w 7714416"/>
              <a:gd name="connsiteY6813" fmla="*/ 4444811 h 5282095"/>
              <a:gd name="connsiteX6814" fmla="*/ 2824470 w 7714416"/>
              <a:gd name="connsiteY6814" fmla="*/ 4445922 h 5282095"/>
              <a:gd name="connsiteX6815" fmla="*/ 2822464 w 7714416"/>
              <a:gd name="connsiteY6815" fmla="*/ 4445143 h 5282095"/>
              <a:gd name="connsiteX6816" fmla="*/ 2821893 w 7714416"/>
              <a:gd name="connsiteY6816" fmla="*/ 4444366 h 5282095"/>
              <a:gd name="connsiteX6817" fmla="*/ 2811580 w 7714416"/>
              <a:gd name="connsiteY6817" fmla="*/ 4444588 h 5282095"/>
              <a:gd name="connsiteX6818" fmla="*/ 2800980 w 7714416"/>
              <a:gd name="connsiteY6818" fmla="*/ 4442700 h 5282095"/>
              <a:gd name="connsiteX6819" fmla="*/ 2796683 w 7714416"/>
              <a:gd name="connsiteY6819" fmla="*/ 4441922 h 5282095"/>
              <a:gd name="connsiteX6820" fmla="*/ 2785797 w 7714416"/>
              <a:gd name="connsiteY6820" fmla="*/ 4437479 h 5282095"/>
              <a:gd name="connsiteX6821" fmla="*/ 2786370 w 7714416"/>
              <a:gd name="connsiteY6821" fmla="*/ 4438034 h 5282095"/>
              <a:gd name="connsiteX6822" fmla="*/ 2782359 w 7714416"/>
              <a:gd name="connsiteY6822" fmla="*/ 4446033 h 5282095"/>
              <a:gd name="connsiteX6823" fmla="*/ 2778635 w 7714416"/>
              <a:gd name="connsiteY6823" fmla="*/ 4446700 h 5282095"/>
              <a:gd name="connsiteX6824" fmla="*/ 2781215 w 7714416"/>
              <a:gd name="connsiteY6824" fmla="*/ 4449698 h 5282095"/>
              <a:gd name="connsiteX6825" fmla="*/ 2781215 w 7714416"/>
              <a:gd name="connsiteY6825" fmla="*/ 4449809 h 5282095"/>
              <a:gd name="connsiteX6826" fmla="*/ 2795824 w 7714416"/>
              <a:gd name="connsiteY6826" fmla="*/ 4450698 h 5282095"/>
              <a:gd name="connsiteX6827" fmla="*/ 2799261 w 7714416"/>
              <a:gd name="connsiteY6827" fmla="*/ 4452253 h 5282095"/>
              <a:gd name="connsiteX6828" fmla="*/ 2802986 w 7714416"/>
              <a:gd name="connsiteY6828" fmla="*/ 4452031 h 5282095"/>
              <a:gd name="connsiteX6829" fmla="*/ 2801553 w 7714416"/>
              <a:gd name="connsiteY6829" fmla="*/ 4453586 h 5282095"/>
              <a:gd name="connsiteX6830" fmla="*/ 2802125 w 7714416"/>
              <a:gd name="connsiteY6830" fmla="*/ 4453697 h 5282095"/>
              <a:gd name="connsiteX6831" fmla="*/ 2801553 w 7714416"/>
              <a:gd name="connsiteY6831" fmla="*/ 4454031 h 5282095"/>
              <a:gd name="connsiteX6832" fmla="*/ 2802125 w 7714416"/>
              <a:gd name="connsiteY6832" fmla="*/ 4454586 h 5282095"/>
              <a:gd name="connsiteX6833" fmla="*/ 2802412 w 7714416"/>
              <a:gd name="connsiteY6833" fmla="*/ 4457363 h 5282095"/>
              <a:gd name="connsiteX6834" fmla="*/ 2794391 w 7714416"/>
              <a:gd name="connsiteY6834" fmla="*/ 4459695 h 5282095"/>
              <a:gd name="connsiteX6835" fmla="*/ 2787230 w 7714416"/>
              <a:gd name="connsiteY6835" fmla="*/ 4455474 h 5282095"/>
              <a:gd name="connsiteX6836" fmla="*/ 2781787 w 7714416"/>
              <a:gd name="connsiteY6836" fmla="*/ 4453253 h 5282095"/>
              <a:gd name="connsiteX6837" fmla="*/ 2781214 w 7714416"/>
              <a:gd name="connsiteY6837" fmla="*/ 4450697 h 5282095"/>
              <a:gd name="connsiteX6838" fmla="*/ 2781215 w 7714416"/>
              <a:gd name="connsiteY6838" fmla="*/ 4452475 h 5282095"/>
              <a:gd name="connsiteX6839" fmla="*/ 2778635 w 7714416"/>
              <a:gd name="connsiteY6839" fmla="*/ 4454475 h 5282095"/>
              <a:gd name="connsiteX6840" fmla="*/ 2774911 w 7714416"/>
              <a:gd name="connsiteY6840" fmla="*/ 4454252 h 5282095"/>
              <a:gd name="connsiteX6841" fmla="*/ 2769469 w 7714416"/>
              <a:gd name="connsiteY6841" fmla="*/ 4451808 h 5282095"/>
              <a:gd name="connsiteX6842" fmla="*/ 2768610 w 7714416"/>
              <a:gd name="connsiteY6842" fmla="*/ 4448587 h 5282095"/>
              <a:gd name="connsiteX6843" fmla="*/ 2770041 w 7714416"/>
              <a:gd name="connsiteY6843" fmla="*/ 4447810 h 5282095"/>
              <a:gd name="connsiteX6844" fmla="*/ 2768609 w 7714416"/>
              <a:gd name="connsiteY6844" fmla="*/ 4446700 h 5282095"/>
              <a:gd name="connsiteX6845" fmla="*/ 2766031 w 7714416"/>
              <a:gd name="connsiteY6845" fmla="*/ 4441589 h 5282095"/>
              <a:gd name="connsiteX6846" fmla="*/ 2771474 w 7714416"/>
              <a:gd name="connsiteY6846" fmla="*/ 4446254 h 5282095"/>
              <a:gd name="connsiteX6847" fmla="*/ 2769755 w 7714416"/>
              <a:gd name="connsiteY6847" fmla="*/ 4440367 h 5282095"/>
              <a:gd name="connsiteX6848" fmla="*/ 2772333 w 7714416"/>
              <a:gd name="connsiteY6848" fmla="*/ 4433591 h 5282095"/>
              <a:gd name="connsiteX6849" fmla="*/ 2780641 w 7714416"/>
              <a:gd name="connsiteY6849" fmla="*/ 4434479 h 5282095"/>
              <a:gd name="connsiteX6850" fmla="*/ 2779781 w 7714416"/>
              <a:gd name="connsiteY6850" fmla="*/ 4433924 h 5282095"/>
              <a:gd name="connsiteX6851" fmla="*/ 2810147 w 7714416"/>
              <a:gd name="connsiteY6851" fmla="*/ 4421817 h 5282095"/>
              <a:gd name="connsiteX6852" fmla="*/ 2814443 w 7714416"/>
              <a:gd name="connsiteY6852" fmla="*/ 4422149 h 5282095"/>
              <a:gd name="connsiteX6853" fmla="*/ 2815589 w 7714416"/>
              <a:gd name="connsiteY6853" fmla="*/ 4420928 h 5282095"/>
              <a:gd name="connsiteX6854" fmla="*/ 2818454 w 7714416"/>
              <a:gd name="connsiteY6854" fmla="*/ 4418706 h 5282095"/>
              <a:gd name="connsiteX6855" fmla="*/ 2821605 w 7714416"/>
              <a:gd name="connsiteY6855" fmla="*/ 4416485 h 5282095"/>
              <a:gd name="connsiteX6856" fmla="*/ 2823037 w 7714416"/>
              <a:gd name="connsiteY6856" fmla="*/ 4414263 h 5282095"/>
              <a:gd name="connsiteX6857" fmla="*/ 2829626 w 7714416"/>
              <a:gd name="connsiteY6857" fmla="*/ 4412152 h 5282095"/>
              <a:gd name="connsiteX6858" fmla="*/ 2213442 w 7714416"/>
              <a:gd name="connsiteY6858" fmla="*/ 4411597 h 5282095"/>
              <a:gd name="connsiteX6859" fmla="*/ 2216019 w 7714416"/>
              <a:gd name="connsiteY6859" fmla="*/ 4413707 h 5282095"/>
              <a:gd name="connsiteX6860" fmla="*/ 2210863 w 7714416"/>
              <a:gd name="connsiteY6860" fmla="*/ 4420928 h 5282095"/>
              <a:gd name="connsiteX6861" fmla="*/ 2201983 w 7714416"/>
              <a:gd name="connsiteY6861" fmla="*/ 4416818 h 5282095"/>
              <a:gd name="connsiteX6862" fmla="*/ 2213442 w 7714416"/>
              <a:gd name="connsiteY6862" fmla="*/ 4411597 h 5282095"/>
              <a:gd name="connsiteX6863" fmla="*/ 5509786 w 7714416"/>
              <a:gd name="connsiteY6863" fmla="*/ 4410375 h 5282095"/>
              <a:gd name="connsiteX6864" fmla="*/ 5518094 w 7714416"/>
              <a:gd name="connsiteY6864" fmla="*/ 4413485 h 5282095"/>
              <a:gd name="connsiteX6865" fmla="*/ 5524110 w 7714416"/>
              <a:gd name="connsiteY6865" fmla="*/ 4414929 h 5282095"/>
              <a:gd name="connsiteX6866" fmla="*/ 5525542 w 7714416"/>
              <a:gd name="connsiteY6866" fmla="*/ 4418262 h 5282095"/>
              <a:gd name="connsiteX6867" fmla="*/ 5510646 w 7714416"/>
              <a:gd name="connsiteY6867" fmla="*/ 4419150 h 5282095"/>
              <a:gd name="connsiteX6868" fmla="*/ 5502338 w 7714416"/>
              <a:gd name="connsiteY6868" fmla="*/ 4413485 h 5282095"/>
              <a:gd name="connsiteX6869" fmla="*/ 5509786 w 7714416"/>
              <a:gd name="connsiteY6869" fmla="*/ 4410375 h 5282095"/>
              <a:gd name="connsiteX6870" fmla="*/ 2025807 w 7714416"/>
              <a:gd name="connsiteY6870" fmla="*/ 4407709 h 5282095"/>
              <a:gd name="connsiteX6871" fmla="*/ 2042995 w 7714416"/>
              <a:gd name="connsiteY6871" fmla="*/ 4414040 h 5282095"/>
              <a:gd name="connsiteX6872" fmla="*/ 2011484 w 7714416"/>
              <a:gd name="connsiteY6872" fmla="*/ 4466472 h 5282095"/>
              <a:gd name="connsiteX6873" fmla="*/ 2008906 w 7714416"/>
              <a:gd name="connsiteY6873" fmla="*/ 4457141 h 5282095"/>
              <a:gd name="connsiteX6874" fmla="*/ 2007188 w 7714416"/>
              <a:gd name="connsiteY6874" fmla="*/ 4457475 h 5282095"/>
              <a:gd name="connsiteX6875" fmla="*/ 1998594 w 7714416"/>
              <a:gd name="connsiteY6875" fmla="*/ 4468027 h 5282095"/>
              <a:gd name="connsiteX6876" fmla="*/ 1982837 w 7714416"/>
              <a:gd name="connsiteY6876" fmla="*/ 4464139 h 5282095"/>
              <a:gd name="connsiteX6877" fmla="*/ 1978542 w 7714416"/>
              <a:gd name="connsiteY6877" fmla="*/ 4460584 h 5282095"/>
              <a:gd name="connsiteX6878" fmla="*/ 2008046 w 7714416"/>
              <a:gd name="connsiteY6878" fmla="*/ 4446921 h 5282095"/>
              <a:gd name="connsiteX6879" fmla="*/ 2008620 w 7714416"/>
              <a:gd name="connsiteY6879" fmla="*/ 4447477 h 5282095"/>
              <a:gd name="connsiteX6880" fmla="*/ 2011197 w 7714416"/>
              <a:gd name="connsiteY6880" fmla="*/ 4437257 h 5282095"/>
              <a:gd name="connsiteX6881" fmla="*/ 2017213 w 7714416"/>
              <a:gd name="connsiteY6881" fmla="*/ 4425038 h 5282095"/>
              <a:gd name="connsiteX6882" fmla="*/ 2014063 w 7714416"/>
              <a:gd name="connsiteY6882" fmla="*/ 4424927 h 5282095"/>
              <a:gd name="connsiteX6883" fmla="*/ 2008333 w 7714416"/>
              <a:gd name="connsiteY6883" fmla="*/ 4422594 h 5282095"/>
              <a:gd name="connsiteX6884" fmla="*/ 2014350 w 7714416"/>
              <a:gd name="connsiteY6884" fmla="*/ 4410374 h 5282095"/>
              <a:gd name="connsiteX6885" fmla="*/ 2022371 w 7714416"/>
              <a:gd name="connsiteY6885" fmla="*/ 4413819 h 5282095"/>
              <a:gd name="connsiteX6886" fmla="*/ 2022656 w 7714416"/>
              <a:gd name="connsiteY6886" fmla="*/ 4414040 h 5282095"/>
              <a:gd name="connsiteX6887" fmla="*/ 6170086 w 7714416"/>
              <a:gd name="connsiteY6887" fmla="*/ 4407041 h 5282095"/>
              <a:gd name="connsiteX6888" fmla="*/ 6174384 w 7714416"/>
              <a:gd name="connsiteY6888" fmla="*/ 4408487 h 5282095"/>
              <a:gd name="connsiteX6889" fmla="*/ 6174670 w 7714416"/>
              <a:gd name="connsiteY6889" fmla="*/ 4409486 h 5282095"/>
              <a:gd name="connsiteX6890" fmla="*/ 6171519 w 7714416"/>
              <a:gd name="connsiteY6890" fmla="*/ 4411374 h 5282095"/>
              <a:gd name="connsiteX6891" fmla="*/ 6155190 w 7714416"/>
              <a:gd name="connsiteY6891" fmla="*/ 4414263 h 5282095"/>
              <a:gd name="connsiteX6892" fmla="*/ 6151753 w 7714416"/>
              <a:gd name="connsiteY6892" fmla="*/ 4415152 h 5282095"/>
              <a:gd name="connsiteX6893" fmla="*/ 6147742 w 7714416"/>
              <a:gd name="connsiteY6893" fmla="*/ 4413818 h 5282095"/>
              <a:gd name="connsiteX6894" fmla="*/ 6162066 w 7714416"/>
              <a:gd name="connsiteY6894" fmla="*/ 4409042 h 5282095"/>
              <a:gd name="connsiteX6895" fmla="*/ 6170086 w 7714416"/>
              <a:gd name="connsiteY6895" fmla="*/ 4407041 h 5282095"/>
              <a:gd name="connsiteX6896" fmla="*/ 1961354 w 7714416"/>
              <a:gd name="connsiteY6896" fmla="*/ 4404821 h 5282095"/>
              <a:gd name="connsiteX6897" fmla="*/ 1971092 w 7714416"/>
              <a:gd name="connsiteY6897" fmla="*/ 4411041 h 5282095"/>
              <a:gd name="connsiteX6898" fmla="*/ 1955623 w 7714416"/>
              <a:gd name="connsiteY6898" fmla="*/ 4412374 h 5282095"/>
              <a:gd name="connsiteX6899" fmla="*/ 1961354 w 7714416"/>
              <a:gd name="connsiteY6899" fmla="*/ 4404821 h 5282095"/>
              <a:gd name="connsiteX6900" fmla="*/ 5772760 w 7714416"/>
              <a:gd name="connsiteY6900" fmla="*/ 4403932 h 5282095"/>
              <a:gd name="connsiteX6901" fmla="*/ 5796250 w 7714416"/>
              <a:gd name="connsiteY6901" fmla="*/ 4409930 h 5282095"/>
              <a:gd name="connsiteX6902" fmla="*/ 5796537 w 7714416"/>
              <a:gd name="connsiteY6902" fmla="*/ 4410042 h 5282095"/>
              <a:gd name="connsiteX6903" fmla="*/ 5802841 w 7714416"/>
              <a:gd name="connsiteY6903" fmla="*/ 4410042 h 5282095"/>
              <a:gd name="connsiteX6904" fmla="*/ 5801980 w 7714416"/>
              <a:gd name="connsiteY6904" fmla="*/ 4412708 h 5282095"/>
              <a:gd name="connsiteX6905" fmla="*/ 5800261 w 7714416"/>
              <a:gd name="connsiteY6905" fmla="*/ 4413485 h 5282095"/>
              <a:gd name="connsiteX6906" fmla="*/ 5811434 w 7714416"/>
              <a:gd name="connsiteY6906" fmla="*/ 4423372 h 5282095"/>
              <a:gd name="connsiteX6907" fmla="*/ 5813725 w 7714416"/>
              <a:gd name="connsiteY6907" fmla="*/ 4430815 h 5282095"/>
              <a:gd name="connsiteX6908" fmla="*/ 5812579 w 7714416"/>
              <a:gd name="connsiteY6908" fmla="*/ 4438034 h 5282095"/>
              <a:gd name="connsiteX6909" fmla="*/ 5814871 w 7714416"/>
              <a:gd name="connsiteY6909" fmla="*/ 4438257 h 5282095"/>
              <a:gd name="connsiteX6910" fmla="*/ 5819454 w 7714416"/>
              <a:gd name="connsiteY6910" fmla="*/ 4448921 h 5282095"/>
              <a:gd name="connsiteX6911" fmla="*/ 5807996 w 7714416"/>
              <a:gd name="connsiteY6911" fmla="*/ 4452808 h 5282095"/>
              <a:gd name="connsiteX6912" fmla="*/ 5804844 w 7714416"/>
              <a:gd name="connsiteY6912" fmla="*/ 4446254 h 5282095"/>
              <a:gd name="connsiteX6913" fmla="*/ 5807423 w 7714416"/>
              <a:gd name="connsiteY6913" fmla="*/ 4439479 h 5282095"/>
              <a:gd name="connsiteX6914" fmla="*/ 5794246 w 7714416"/>
              <a:gd name="connsiteY6914" fmla="*/ 4442144 h 5282095"/>
              <a:gd name="connsiteX6915" fmla="*/ 5777630 w 7714416"/>
              <a:gd name="connsiteY6915" fmla="*/ 4440256 h 5282095"/>
              <a:gd name="connsiteX6916" fmla="*/ 5751848 w 7714416"/>
              <a:gd name="connsiteY6916" fmla="*/ 4408708 h 5282095"/>
              <a:gd name="connsiteX6917" fmla="*/ 5755573 w 7714416"/>
              <a:gd name="connsiteY6917" fmla="*/ 4406043 h 5282095"/>
              <a:gd name="connsiteX6918" fmla="*/ 5772760 w 7714416"/>
              <a:gd name="connsiteY6918" fmla="*/ 4403932 h 5282095"/>
              <a:gd name="connsiteX6919" fmla="*/ 6266626 w 7714416"/>
              <a:gd name="connsiteY6919" fmla="*/ 4400155 h 5282095"/>
              <a:gd name="connsiteX6920" fmla="*/ 6306157 w 7714416"/>
              <a:gd name="connsiteY6920" fmla="*/ 4406598 h 5282095"/>
              <a:gd name="connsiteX6921" fmla="*/ 6310168 w 7714416"/>
              <a:gd name="connsiteY6921" fmla="*/ 4413706 h 5282095"/>
              <a:gd name="connsiteX6922" fmla="*/ 6266626 w 7714416"/>
              <a:gd name="connsiteY6922" fmla="*/ 4400155 h 5282095"/>
              <a:gd name="connsiteX6923" fmla="*/ 2766890 w 7714416"/>
              <a:gd name="connsiteY6923" fmla="*/ 4398711 h 5282095"/>
              <a:gd name="connsiteX6924" fmla="*/ 2781501 w 7714416"/>
              <a:gd name="connsiteY6924" fmla="*/ 4401377 h 5282095"/>
              <a:gd name="connsiteX6925" fmla="*/ 2768609 w 7714416"/>
              <a:gd name="connsiteY6925" fmla="*/ 4400044 h 5282095"/>
              <a:gd name="connsiteX6926" fmla="*/ 2766890 w 7714416"/>
              <a:gd name="connsiteY6926" fmla="*/ 4398711 h 5282095"/>
              <a:gd name="connsiteX6927" fmla="*/ 5500333 w 7714416"/>
              <a:gd name="connsiteY6927" fmla="*/ 4398600 h 5282095"/>
              <a:gd name="connsiteX6928" fmla="*/ 5501479 w 7714416"/>
              <a:gd name="connsiteY6928" fmla="*/ 4398933 h 5282095"/>
              <a:gd name="connsiteX6929" fmla="*/ 5501765 w 7714416"/>
              <a:gd name="connsiteY6929" fmla="*/ 4400488 h 5282095"/>
              <a:gd name="connsiteX6930" fmla="*/ 5500334 w 7714416"/>
              <a:gd name="connsiteY6930" fmla="*/ 4400933 h 5282095"/>
              <a:gd name="connsiteX6931" fmla="*/ 5500333 w 7714416"/>
              <a:gd name="connsiteY6931" fmla="*/ 4398600 h 5282095"/>
              <a:gd name="connsiteX6932" fmla="*/ 5807423 w 7714416"/>
              <a:gd name="connsiteY6932" fmla="*/ 4398156 h 5282095"/>
              <a:gd name="connsiteX6933" fmla="*/ 5838361 w 7714416"/>
              <a:gd name="connsiteY6933" fmla="*/ 4413485 h 5282095"/>
              <a:gd name="connsiteX6934" fmla="*/ 5836928 w 7714416"/>
              <a:gd name="connsiteY6934" fmla="*/ 4420928 h 5282095"/>
              <a:gd name="connsiteX6935" fmla="*/ 5807423 w 7714416"/>
              <a:gd name="connsiteY6935" fmla="*/ 4398156 h 5282095"/>
              <a:gd name="connsiteX6936" fmla="*/ 5887060 w 7714416"/>
              <a:gd name="connsiteY6936" fmla="*/ 4398045 h 5282095"/>
              <a:gd name="connsiteX6937" fmla="*/ 5899951 w 7714416"/>
              <a:gd name="connsiteY6937" fmla="*/ 4403266 h 5282095"/>
              <a:gd name="connsiteX6938" fmla="*/ 5897659 w 7714416"/>
              <a:gd name="connsiteY6938" fmla="*/ 4406154 h 5282095"/>
              <a:gd name="connsiteX6939" fmla="*/ 5899951 w 7714416"/>
              <a:gd name="connsiteY6939" fmla="*/ 4409596 h 5282095"/>
              <a:gd name="connsiteX6940" fmla="*/ 5887633 w 7714416"/>
              <a:gd name="connsiteY6940" fmla="*/ 4413486 h 5282095"/>
              <a:gd name="connsiteX6941" fmla="*/ 5886487 w 7714416"/>
              <a:gd name="connsiteY6941" fmla="*/ 4409042 h 5282095"/>
              <a:gd name="connsiteX6942" fmla="*/ 5887633 w 7714416"/>
              <a:gd name="connsiteY6942" fmla="*/ 4408487 h 5282095"/>
              <a:gd name="connsiteX6943" fmla="*/ 5882476 w 7714416"/>
              <a:gd name="connsiteY6943" fmla="*/ 4406487 h 5282095"/>
              <a:gd name="connsiteX6944" fmla="*/ 5887060 w 7714416"/>
              <a:gd name="connsiteY6944" fmla="*/ 4398045 h 5282095"/>
              <a:gd name="connsiteX6945" fmla="*/ 5561064 w 7714416"/>
              <a:gd name="connsiteY6945" fmla="*/ 4395601 h 5282095"/>
              <a:gd name="connsiteX6946" fmla="*/ 5551610 w 7714416"/>
              <a:gd name="connsiteY6946" fmla="*/ 4400822 h 5282095"/>
              <a:gd name="connsiteX6947" fmla="*/ 5536141 w 7714416"/>
              <a:gd name="connsiteY6947" fmla="*/ 4403266 h 5282095"/>
              <a:gd name="connsiteX6948" fmla="*/ 5536714 w 7714416"/>
              <a:gd name="connsiteY6948" fmla="*/ 4401710 h 5282095"/>
              <a:gd name="connsiteX6949" fmla="*/ 5561064 w 7714416"/>
              <a:gd name="connsiteY6949" fmla="*/ 4395601 h 5282095"/>
              <a:gd name="connsiteX6950" fmla="*/ 2784078 w 7714416"/>
              <a:gd name="connsiteY6950" fmla="*/ 4395379 h 5282095"/>
              <a:gd name="connsiteX6951" fmla="*/ 2809002 w 7714416"/>
              <a:gd name="connsiteY6951" fmla="*/ 4414263 h 5282095"/>
              <a:gd name="connsiteX6952" fmla="*/ 2784078 w 7714416"/>
              <a:gd name="connsiteY6952" fmla="*/ 4395379 h 5282095"/>
              <a:gd name="connsiteX6953" fmla="*/ 1717285 w 7714416"/>
              <a:gd name="connsiteY6953" fmla="*/ 4395378 h 5282095"/>
              <a:gd name="connsiteX6954" fmla="*/ 1742208 w 7714416"/>
              <a:gd name="connsiteY6954" fmla="*/ 4414263 h 5282095"/>
              <a:gd name="connsiteX6955" fmla="*/ 1717285 w 7714416"/>
              <a:gd name="connsiteY6955" fmla="*/ 4395378 h 5282095"/>
              <a:gd name="connsiteX6956" fmla="*/ 6974478 w 7714416"/>
              <a:gd name="connsiteY6956" fmla="*/ 4394823 h 5282095"/>
              <a:gd name="connsiteX6957" fmla="*/ 6978202 w 7714416"/>
              <a:gd name="connsiteY6957" fmla="*/ 4431813 h 5282095"/>
              <a:gd name="connsiteX6958" fmla="*/ 6974478 w 7714416"/>
              <a:gd name="connsiteY6958" fmla="*/ 4394823 h 5282095"/>
              <a:gd name="connsiteX6959" fmla="*/ 6194723 w 7714416"/>
              <a:gd name="connsiteY6959" fmla="*/ 4393934 h 5282095"/>
              <a:gd name="connsiteX6960" fmla="*/ 6197014 w 7714416"/>
              <a:gd name="connsiteY6960" fmla="*/ 4395157 h 5282095"/>
              <a:gd name="connsiteX6961" fmla="*/ 6196442 w 7714416"/>
              <a:gd name="connsiteY6961" fmla="*/ 4398600 h 5282095"/>
              <a:gd name="connsiteX6962" fmla="*/ 6189852 w 7714416"/>
              <a:gd name="connsiteY6962" fmla="*/ 4397378 h 5282095"/>
              <a:gd name="connsiteX6963" fmla="*/ 6194723 w 7714416"/>
              <a:gd name="connsiteY6963" fmla="*/ 4393934 h 5282095"/>
              <a:gd name="connsiteX6964" fmla="*/ 6823512 w 7714416"/>
              <a:gd name="connsiteY6964" fmla="*/ 4393157 h 5282095"/>
              <a:gd name="connsiteX6965" fmla="*/ 6826663 w 7714416"/>
              <a:gd name="connsiteY6965" fmla="*/ 4394712 h 5282095"/>
              <a:gd name="connsiteX6966" fmla="*/ 6827809 w 7714416"/>
              <a:gd name="connsiteY6966" fmla="*/ 4398044 h 5282095"/>
              <a:gd name="connsiteX6967" fmla="*/ 6822080 w 7714416"/>
              <a:gd name="connsiteY6967" fmla="*/ 4408487 h 5282095"/>
              <a:gd name="connsiteX6968" fmla="*/ 6820074 w 7714416"/>
              <a:gd name="connsiteY6968" fmla="*/ 4410597 h 5282095"/>
              <a:gd name="connsiteX6969" fmla="*/ 6818069 w 7714416"/>
              <a:gd name="connsiteY6969" fmla="*/ 4412708 h 5282095"/>
              <a:gd name="connsiteX6970" fmla="*/ 6811194 w 7714416"/>
              <a:gd name="connsiteY6970" fmla="*/ 4413152 h 5282095"/>
              <a:gd name="connsiteX6971" fmla="*/ 6823512 w 7714416"/>
              <a:gd name="connsiteY6971" fmla="*/ 4393157 h 5282095"/>
              <a:gd name="connsiteX6972" fmla="*/ 2553761 w 7714416"/>
              <a:gd name="connsiteY6972" fmla="*/ 4391491 h 5282095"/>
              <a:gd name="connsiteX6973" fmla="*/ 2559778 w 7714416"/>
              <a:gd name="connsiteY6973" fmla="*/ 4391602 h 5282095"/>
              <a:gd name="connsiteX6974" fmla="*/ 2561783 w 7714416"/>
              <a:gd name="connsiteY6974" fmla="*/ 4392824 h 5282095"/>
              <a:gd name="connsiteX6975" fmla="*/ 2579256 w 7714416"/>
              <a:gd name="connsiteY6975" fmla="*/ 4393268 h 5282095"/>
              <a:gd name="connsiteX6976" fmla="*/ 2648867 w 7714416"/>
              <a:gd name="connsiteY6976" fmla="*/ 4420705 h 5282095"/>
              <a:gd name="connsiteX6977" fmla="*/ 2629961 w 7714416"/>
              <a:gd name="connsiteY6977" fmla="*/ 4423483 h 5282095"/>
              <a:gd name="connsiteX6978" fmla="*/ 2614778 w 7714416"/>
              <a:gd name="connsiteY6978" fmla="*/ 4422594 h 5282095"/>
              <a:gd name="connsiteX6979" fmla="*/ 2604752 w 7714416"/>
              <a:gd name="connsiteY6979" fmla="*/ 4420483 h 5282095"/>
              <a:gd name="connsiteX6980" fmla="*/ 2606184 w 7714416"/>
              <a:gd name="connsiteY6980" fmla="*/ 4422039 h 5282095"/>
              <a:gd name="connsiteX6981" fmla="*/ 2605038 w 7714416"/>
              <a:gd name="connsiteY6981" fmla="*/ 4425037 h 5282095"/>
              <a:gd name="connsiteX6982" fmla="*/ 2603607 w 7714416"/>
              <a:gd name="connsiteY6982" fmla="*/ 4425593 h 5282095"/>
              <a:gd name="connsiteX6983" fmla="*/ 2600741 w 7714416"/>
              <a:gd name="connsiteY6983" fmla="*/ 4426481 h 5282095"/>
              <a:gd name="connsiteX6984" fmla="*/ 2612487 w 7714416"/>
              <a:gd name="connsiteY6984" fmla="*/ 4430814 h 5282095"/>
              <a:gd name="connsiteX6985" fmla="*/ 2627955 w 7714416"/>
              <a:gd name="connsiteY6985" fmla="*/ 4446032 h 5282095"/>
              <a:gd name="connsiteX6986" fmla="*/ 2605324 w 7714416"/>
              <a:gd name="connsiteY6986" fmla="*/ 4450587 h 5282095"/>
              <a:gd name="connsiteX6987" fmla="*/ 2586991 w 7714416"/>
              <a:gd name="connsiteY6987" fmla="*/ 4429814 h 5282095"/>
              <a:gd name="connsiteX6988" fmla="*/ 2591574 w 7714416"/>
              <a:gd name="connsiteY6988" fmla="*/ 4424038 h 5282095"/>
              <a:gd name="connsiteX6989" fmla="*/ 2591289 w 7714416"/>
              <a:gd name="connsiteY6989" fmla="*/ 4423372 h 5282095"/>
              <a:gd name="connsiteX6990" fmla="*/ 2595013 w 7714416"/>
              <a:gd name="connsiteY6990" fmla="*/ 4419373 h 5282095"/>
              <a:gd name="connsiteX6991" fmla="*/ 2597303 w 7714416"/>
              <a:gd name="connsiteY6991" fmla="*/ 4418706 h 5282095"/>
              <a:gd name="connsiteX6992" fmla="*/ 2572954 w 7714416"/>
              <a:gd name="connsiteY6992" fmla="*/ 4412152 h 5282095"/>
              <a:gd name="connsiteX6993" fmla="*/ 2567511 w 7714416"/>
              <a:gd name="connsiteY6993" fmla="*/ 4411263 h 5282095"/>
              <a:gd name="connsiteX6994" fmla="*/ 2566079 w 7714416"/>
              <a:gd name="connsiteY6994" fmla="*/ 4412708 h 5282095"/>
              <a:gd name="connsiteX6995" fmla="*/ 2549177 w 7714416"/>
              <a:gd name="connsiteY6995" fmla="*/ 4409708 h 5282095"/>
              <a:gd name="connsiteX6996" fmla="*/ 2542875 w 7714416"/>
              <a:gd name="connsiteY6996" fmla="*/ 4409597 h 5282095"/>
              <a:gd name="connsiteX6997" fmla="*/ 2506208 w 7714416"/>
              <a:gd name="connsiteY6997" fmla="*/ 4420706 h 5282095"/>
              <a:gd name="connsiteX6998" fmla="*/ 2507068 w 7714416"/>
              <a:gd name="connsiteY6998" fmla="*/ 4413818 h 5282095"/>
              <a:gd name="connsiteX6999" fmla="*/ 2503344 w 7714416"/>
              <a:gd name="connsiteY6999" fmla="*/ 4413819 h 5282095"/>
              <a:gd name="connsiteX7000" fmla="*/ 2498187 w 7714416"/>
              <a:gd name="connsiteY7000" fmla="*/ 4411597 h 5282095"/>
              <a:gd name="connsiteX7001" fmla="*/ 2506781 w 7714416"/>
              <a:gd name="connsiteY7001" fmla="*/ 4399266 h 5282095"/>
              <a:gd name="connsiteX7002" fmla="*/ 2513942 w 7714416"/>
              <a:gd name="connsiteY7002" fmla="*/ 4402266 h 5282095"/>
              <a:gd name="connsiteX7003" fmla="*/ 2515949 w 7714416"/>
              <a:gd name="connsiteY7003" fmla="*/ 4400266 h 5282095"/>
              <a:gd name="connsiteX7004" fmla="*/ 2546314 w 7714416"/>
              <a:gd name="connsiteY7004" fmla="*/ 4392380 h 5282095"/>
              <a:gd name="connsiteX7005" fmla="*/ 2552042 w 7714416"/>
              <a:gd name="connsiteY7005" fmla="*/ 4392490 h 5282095"/>
              <a:gd name="connsiteX7006" fmla="*/ 6899712 w 7714416"/>
              <a:gd name="connsiteY7006" fmla="*/ 4390936 h 5282095"/>
              <a:gd name="connsiteX7007" fmla="*/ 6903436 w 7714416"/>
              <a:gd name="connsiteY7007" fmla="*/ 4390936 h 5282095"/>
              <a:gd name="connsiteX7008" fmla="*/ 6906300 w 7714416"/>
              <a:gd name="connsiteY7008" fmla="*/ 4393602 h 5282095"/>
              <a:gd name="connsiteX7009" fmla="*/ 6907732 w 7714416"/>
              <a:gd name="connsiteY7009" fmla="*/ 4404932 h 5282095"/>
              <a:gd name="connsiteX7010" fmla="*/ 6907446 w 7714416"/>
              <a:gd name="connsiteY7010" fmla="*/ 4407487 h 5282095"/>
              <a:gd name="connsiteX7011" fmla="*/ 6907160 w 7714416"/>
              <a:gd name="connsiteY7011" fmla="*/ 4410153 h 5282095"/>
              <a:gd name="connsiteX7012" fmla="*/ 6901430 w 7714416"/>
              <a:gd name="connsiteY7012" fmla="*/ 4413374 h 5282095"/>
              <a:gd name="connsiteX7013" fmla="*/ 6899712 w 7714416"/>
              <a:gd name="connsiteY7013" fmla="*/ 4390936 h 5282095"/>
              <a:gd name="connsiteX7014" fmla="*/ 6208473 w 7714416"/>
              <a:gd name="connsiteY7014" fmla="*/ 4390935 h 5282095"/>
              <a:gd name="connsiteX7015" fmla="*/ 6211624 w 7714416"/>
              <a:gd name="connsiteY7015" fmla="*/ 4392380 h 5282095"/>
              <a:gd name="connsiteX7016" fmla="*/ 6214488 w 7714416"/>
              <a:gd name="connsiteY7016" fmla="*/ 4394379 h 5282095"/>
              <a:gd name="connsiteX7017" fmla="*/ 6215921 w 7714416"/>
              <a:gd name="connsiteY7017" fmla="*/ 4397045 h 5282095"/>
              <a:gd name="connsiteX7018" fmla="*/ 6215921 w 7714416"/>
              <a:gd name="connsiteY7018" fmla="*/ 4400822 h 5282095"/>
              <a:gd name="connsiteX7019" fmla="*/ 6211624 w 7714416"/>
              <a:gd name="connsiteY7019" fmla="*/ 4405376 h 5282095"/>
              <a:gd name="connsiteX7020" fmla="*/ 6208474 w 7714416"/>
              <a:gd name="connsiteY7020" fmla="*/ 4406598 h 5282095"/>
              <a:gd name="connsiteX7021" fmla="*/ 6198734 w 7714416"/>
              <a:gd name="connsiteY7021" fmla="*/ 4398933 h 5282095"/>
              <a:gd name="connsiteX7022" fmla="*/ 6208473 w 7714416"/>
              <a:gd name="connsiteY7022" fmla="*/ 4390935 h 5282095"/>
              <a:gd name="connsiteX7023" fmla="*/ 1941301 w 7714416"/>
              <a:gd name="connsiteY7023" fmla="*/ 4390713 h 5282095"/>
              <a:gd name="connsiteX7024" fmla="*/ 1952187 w 7714416"/>
              <a:gd name="connsiteY7024" fmla="*/ 4398378 h 5282095"/>
              <a:gd name="connsiteX7025" fmla="*/ 1936717 w 7714416"/>
              <a:gd name="connsiteY7025" fmla="*/ 4391379 h 5282095"/>
              <a:gd name="connsiteX7026" fmla="*/ 1941301 w 7714416"/>
              <a:gd name="connsiteY7026" fmla="*/ 4390713 h 5282095"/>
              <a:gd name="connsiteX7027" fmla="*/ 2489879 w 7714416"/>
              <a:gd name="connsiteY7027" fmla="*/ 4390269 h 5282095"/>
              <a:gd name="connsiteX7028" fmla="*/ 2495895 w 7714416"/>
              <a:gd name="connsiteY7028" fmla="*/ 4391824 h 5282095"/>
              <a:gd name="connsiteX7029" fmla="*/ 2497042 w 7714416"/>
              <a:gd name="connsiteY7029" fmla="*/ 4395046 h 5282095"/>
              <a:gd name="connsiteX7030" fmla="*/ 2473264 w 7714416"/>
              <a:gd name="connsiteY7030" fmla="*/ 4402266 h 5282095"/>
              <a:gd name="connsiteX7031" fmla="*/ 2467822 w 7714416"/>
              <a:gd name="connsiteY7031" fmla="*/ 4398600 h 5282095"/>
              <a:gd name="connsiteX7032" fmla="*/ 2489879 w 7714416"/>
              <a:gd name="connsiteY7032" fmla="*/ 4390269 h 5282095"/>
              <a:gd name="connsiteX7033" fmla="*/ 2728792 w 7714416"/>
              <a:gd name="connsiteY7033" fmla="*/ 4389824 h 5282095"/>
              <a:gd name="connsiteX7034" fmla="*/ 2755433 w 7714416"/>
              <a:gd name="connsiteY7034" fmla="*/ 4396156 h 5282095"/>
              <a:gd name="connsiteX7035" fmla="*/ 2728792 w 7714416"/>
              <a:gd name="connsiteY7035" fmla="*/ 4389824 h 5282095"/>
              <a:gd name="connsiteX7036" fmla="*/ 2206280 w 7714416"/>
              <a:gd name="connsiteY7036" fmla="*/ 4388824 h 5282095"/>
              <a:gd name="connsiteX7037" fmla="*/ 2216592 w 7714416"/>
              <a:gd name="connsiteY7037" fmla="*/ 4390491 h 5282095"/>
              <a:gd name="connsiteX7038" fmla="*/ 2214301 w 7714416"/>
              <a:gd name="connsiteY7038" fmla="*/ 4392157 h 5282095"/>
              <a:gd name="connsiteX7039" fmla="*/ 2224327 w 7714416"/>
              <a:gd name="connsiteY7039" fmla="*/ 4399489 h 5282095"/>
              <a:gd name="connsiteX7040" fmla="*/ 2233781 w 7714416"/>
              <a:gd name="connsiteY7040" fmla="*/ 4409375 h 5282095"/>
              <a:gd name="connsiteX7041" fmla="*/ 2210291 w 7714416"/>
              <a:gd name="connsiteY7041" fmla="*/ 4398044 h 5282095"/>
              <a:gd name="connsiteX7042" fmla="*/ 2211436 w 7714416"/>
              <a:gd name="connsiteY7042" fmla="*/ 4394601 h 5282095"/>
              <a:gd name="connsiteX7043" fmla="*/ 2208571 w 7714416"/>
              <a:gd name="connsiteY7043" fmla="*/ 4396823 h 5282095"/>
              <a:gd name="connsiteX7044" fmla="*/ 2175055 w 7714416"/>
              <a:gd name="connsiteY7044" fmla="*/ 4400600 h 5282095"/>
              <a:gd name="connsiteX7045" fmla="*/ 2206280 w 7714416"/>
              <a:gd name="connsiteY7045" fmla="*/ 4388824 h 5282095"/>
              <a:gd name="connsiteX7046" fmla="*/ 2725353 w 7714416"/>
              <a:gd name="connsiteY7046" fmla="*/ 4388158 h 5282095"/>
              <a:gd name="connsiteX7047" fmla="*/ 2728791 w 7714416"/>
              <a:gd name="connsiteY7047" fmla="*/ 4389602 h 5282095"/>
              <a:gd name="connsiteX7048" fmla="*/ 2727072 w 7714416"/>
              <a:gd name="connsiteY7048" fmla="*/ 4390380 h 5282095"/>
              <a:gd name="connsiteX7049" fmla="*/ 2725353 w 7714416"/>
              <a:gd name="connsiteY7049" fmla="*/ 4388158 h 5282095"/>
              <a:gd name="connsiteX7050" fmla="*/ 6855882 w 7714416"/>
              <a:gd name="connsiteY7050" fmla="*/ 4388047 h 5282095"/>
              <a:gd name="connsiteX7051" fmla="*/ 6859034 w 7714416"/>
              <a:gd name="connsiteY7051" fmla="*/ 4388270 h 5282095"/>
              <a:gd name="connsiteX7052" fmla="*/ 6862184 w 7714416"/>
              <a:gd name="connsiteY7052" fmla="*/ 4389713 h 5282095"/>
              <a:gd name="connsiteX7053" fmla="*/ 6863044 w 7714416"/>
              <a:gd name="connsiteY7053" fmla="*/ 4391936 h 5282095"/>
              <a:gd name="connsiteX7054" fmla="*/ 6860467 w 7714416"/>
              <a:gd name="connsiteY7054" fmla="*/ 4394045 h 5282095"/>
              <a:gd name="connsiteX7055" fmla="*/ 6854164 w 7714416"/>
              <a:gd name="connsiteY7055" fmla="*/ 4396156 h 5282095"/>
              <a:gd name="connsiteX7056" fmla="*/ 6849866 w 7714416"/>
              <a:gd name="connsiteY7056" fmla="*/ 4395156 h 5282095"/>
              <a:gd name="connsiteX7057" fmla="*/ 6850154 w 7714416"/>
              <a:gd name="connsiteY7057" fmla="*/ 4392490 h 5282095"/>
              <a:gd name="connsiteX7058" fmla="*/ 6849007 w 7714416"/>
              <a:gd name="connsiteY7058" fmla="*/ 4390379 h 5282095"/>
              <a:gd name="connsiteX7059" fmla="*/ 6850440 w 7714416"/>
              <a:gd name="connsiteY7059" fmla="*/ 4389825 h 5282095"/>
              <a:gd name="connsiteX7060" fmla="*/ 6851299 w 7714416"/>
              <a:gd name="connsiteY7060" fmla="*/ 4388270 h 5282095"/>
              <a:gd name="connsiteX7061" fmla="*/ 6855882 w 7714416"/>
              <a:gd name="connsiteY7061" fmla="*/ 4388047 h 5282095"/>
              <a:gd name="connsiteX7062" fmla="*/ 2067344 w 7714416"/>
              <a:gd name="connsiteY7062" fmla="*/ 4387825 h 5282095"/>
              <a:gd name="connsiteX7063" fmla="*/ 2073933 w 7714416"/>
              <a:gd name="connsiteY7063" fmla="*/ 4394379 h 5282095"/>
              <a:gd name="connsiteX7064" fmla="*/ 2069063 w 7714416"/>
              <a:gd name="connsiteY7064" fmla="*/ 4404154 h 5282095"/>
              <a:gd name="connsiteX7065" fmla="*/ 2065912 w 7714416"/>
              <a:gd name="connsiteY7065" fmla="*/ 4404488 h 5282095"/>
              <a:gd name="connsiteX7066" fmla="*/ 2071928 w 7714416"/>
              <a:gd name="connsiteY7066" fmla="*/ 4407376 h 5282095"/>
              <a:gd name="connsiteX7067" fmla="*/ 2076511 w 7714416"/>
              <a:gd name="connsiteY7067" fmla="*/ 4425260 h 5282095"/>
              <a:gd name="connsiteX7068" fmla="*/ 2048724 w 7714416"/>
              <a:gd name="connsiteY7068" fmla="*/ 4416595 h 5282095"/>
              <a:gd name="connsiteX7069" fmla="*/ 2059896 w 7714416"/>
              <a:gd name="connsiteY7069" fmla="*/ 4403821 h 5282095"/>
              <a:gd name="connsiteX7070" fmla="*/ 2063908 w 7714416"/>
              <a:gd name="connsiteY7070" fmla="*/ 4403710 h 5282095"/>
              <a:gd name="connsiteX7071" fmla="*/ 2061616 w 7714416"/>
              <a:gd name="connsiteY7071" fmla="*/ 4401266 h 5282095"/>
              <a:gd name="connsiteX7072" fmla="*/ 2061903 w 7714416"/>
              <a:gd name="connsiteY7072" fmla="*/ 4394157 h 5282095"/>
              <a:gd name="connsiteX7073" fmla="*/ 2067344 w 7714416"/>
              <a:gd name="connsiteY7073" fmla="*/ 4387825 h 5282095"/>
              <a:gd name="connsiteX7074" fmla="*/ 2716759 w 7714416"/>
              <a:gd name="connsiteY7074" fmla="*/ 4387158 h 5282095"/>
              <a:gd name="connsiteX7075" fmla="*/ 2720197 w 7714416"/>
              <a:gd name="connsiteY7075" fmla="*/ 4388714 h 5282095"/>
              <a:gd name="connsiteX7076" fmla="*/ 2716474 w 7714416"/>
              <a:gd name="connsiteY7076" fmla="*/ 4388269 h 5282095"/>
              <a:gd name="connsiteX7077" fmla="*/ 2716759 w 7714416"/>
              <a:gd name="connsiteY7077" fmla="*/ 4387158 h 5282095"/>
              <a:gd name="connsiteX7078" fmla="*/ 2707019 w 7714416"/>
              <a:gd name="connsiteY7078" fmla="*/ 4383604 h 5282095"/>
              <a:gd name="connsiteX7079" fmla="*/ 2715328 w 7714416"/>
              <a:gd name="connsiteY7079" fmla="*/ 4387936 h 5282095"/>
              <a:gd name="connsiteX7080" fmla="*/ 2708452 w 7714416"/>
              <a:gd name="connsiteY7080" fmla="*/ 4387269 h 5282095"/>
              <a:gd name="connsiteX7081" fmla="*/ 2707019 w 7714416"/>
              <a:gd name="connsiteY7081" fmla="*/ 4383604 h 5282095"/>
              <a:gd name="connsiteX7082" fmla="*/ 1893748 w 7714416"/>
              <a:gd name="connsiteY7082" fmla="*/ 4383382 h 5282095"/>
              <a:gd name="connsiteX7083" fmla="*/ 1897758 w 7714416"/>
              <a:gd name="connsiteY7083" fmla="*/ 4384936 h 5282095"/>
              <a:gd name="connsiteX7084" fmla="*/ 1884868 w 7714416"/>
              <a:gd name="connsiteY7084" fmla="*/ 4398711 h 5282095"/>
              <a:gd name="connsiteX7085" fmla="*/ 1889738 w 7714416"/>
              <a:gd name="connsiteY7085" fmla="*/ 4383604 h 5282095"/>
              <a:gd name="connsiteX7086" fmla="*/ 1893748 w 7714416"/>
              <a:gd name="connsiteY7086" fmla="*/ 4383382 h 5282095"/>
              <a:gd name="connsiteX7087" fmla="*/ 5752708 w 7714416"/>
              <a:gd name="connsiteY7087" fmla="*/ 4382938 h 5282095"/>
              <a:gd name="connsiteX7088" fmla="*/ 5758438 w 7714416"/>
              <a:gd name="connsiteY7088" fmla="*/ 4385825 h 5282095"/>
              <a:gd name="connsiteX7089" fmla="*/ 5760729 w 7714416"/>
              <a:gd name="connsiteY7089" fmla="*/ 4389158 h 5282095"/>
              <a:gd name="connsiteX7090" fmla="*/ 5759297 w 7714416"/>
              <a:gd name="connsiteY7090" fmla="*/ 4393046 h 5282095"/>
              <a:gd name="connsiteX7091" fmla="*/ 5755859 w 7714416"/>
              <a:gd name="connsiteY7091" fmla="*/ 4394934 h 5282095"/>
              <a:gd name="connsiteX7092" fmla="*/ 5745833 w 7714416"/>
              <a:gd name="connsiteY7092" fmla="*/ 4393934 h 5282095"/>
              <a:gd name="connsiteX7093" fmla="*/ 5746979 w 7714416"/>
              <a:gd name="connsiteY7093" fmla="*/ 4383382 h 5282095"/>
              <a:gd name="connsiteX7094" fmla="*/ 5752708 w 7714416"/>
              <a:gd name="connsiteY7094" fmla="*/ 4382938 h 5282095"/>
              <a:gd name="connsiteX7095" fmla="*/ 5653018 w 7714416"/>
              <a:gd name="connsiteY7095" fmla="*/ 4382493 h 5282095"/>
              <a:gd name="connsiteX7096" fmla="*/ 5657888 w 7714416"/>
              <a:gd name="connsiteY7096" fmla="*/ 4383048 h 5282095"/>
              <a:gd name="connsiteX7097" fmla="*/ 5660466 w 7714416"/>
              <a:gd name="connsiteY7097" fmla="*/ 4388047 h 5282095"/>
              <a:gd name="connsiteX7098" fmla="*/ 5645284 w 7714416"/>
              <a:gd name="connsiteY7098" fmla="*/ 4391047 h 5282095"/>
              <a:gd name="connsiteX7099" fmla="*/ 5653018 w 7714416"/>
              <a:gd name="connsiteY7099" fmla="*/ 4382493 h 5282095"/>
              <a:gd name="connsiteX7100" fmla="*/ 6185556 w 7714416"/>
              <a:gd name="connsiteY7100" fmla="*/ 4382049 h 5282095"/>
              <a:gd name="connsiteX7101" fmla="*/ 6188420 w 7714416"/>
              <a:gd name="connsiteY7101" fmla="*/ 4383382 h 5282095"/>
              <a:gd name="connsiteX7102" fmla="*/ 6178108 w 7714416"/>
              <a:gd name="connsiteY7102" fmla="*/ 4390269 h 5282095"/>
              <a:gd name="connsiteX7103" fmla="*/ 6175243 w 7714416"/>
              <a:gd name="connsiteY7103" fmla="*/ 4388936 h 5282095"/>
              <a:gd name="connsiteX7104" fmla="*/ 6176676 w 7714416"/>
              <a:gd name="connsiteY7104" fmla="*/ 4385714 h 5282095"/>
              <a:gd name="connsiteX7105" fmla="*/ 6185556 w 7714416"/>
              <a:gd name="connsiteY7105" fmla="*/ 4382049 h 5282095"/>
              <a:gd name="connsiteX7106" fmla="*/ 2436597 w 7714416"/>
              <a:gd name="connsiteY7106" fmla="*/ 4380938 h 5282095"/>
              <a:gd name="connsiteX7107" fmla="*/ 2440321 w 7714416"/>
              <a:gd name="connsiteY7107" fmla="*/ 4381715 h 5282095"/>
              <a:gd name="connsiteX7108" fmla="*/ 2446337 w 7714416"/>
              <a:gd name="connsiteY7108" fmla="*/ 4385825 h 5282095"/>
              <a:gd name="connsiteX7109" fmla="*/ 2447197 w 7714416"/>
              <a:gd name="connsiteY7109" fmla="*/ 4388492 h 5282095"/>
              <a:gd name="connsiteX7110" fmla="*/ 2433159 w 7714416"/>
              <a:gd name="connsiteY7110" fmla="*/ 4381826 h 5282095"/>
              <a:gd name="connsiteX7111" fmla="*/ 2436597 w 7714416"/>
              <a:gd name="connsiteY7111" fmla="*/ 4380938 h 5282095"/>
              <a:gd name="connsiteX7112" fmla="*/ 2845095 w 7714416"/>
              <a:gd name="connsiteY7112" fmla="*/ 4380383 h 5282095"/>
              <a:gd name="connsiteX7113" fmla="*/ 2856267 w 7714416"/>
              <a:gd name="connsiteY7113" fmla="*/ 4393601 h 5282095"/>
              <a:gd name="connsiteX7114" fmla="*/ 2867439 w 7714416"/>
              <a:gd name="connsiteY7114" fmla="*/ 4385936 h 5282095"/>
              <a:gd name="connsiteX7115" fmla="*/ 2887205 w 7714416"/>
              <a:gd name="connsiteY7115" fmla="*/ 4412263 h 5282095"/>
              <a:gd name="connsiteX7116" fmla="*/ 2852257 w 7714416"/>
              <a:gd name="connsiteY7116" fmla="*/ 4408376 h 5282095"/>
              <a:gd name="connsiteX7117" fmla="*/ 2845096 w 7714416"/>
              <a:gd name="connsiteY7117" fmla="*/ 4402266 h 5282095"/>
              <a:gd name="connsiteX7118" fmla="*/ 2843090 w 7714416"/>
              <a:gd name="connsiteY7118" fmla="*/ 4402932 h 5282095"/>
              <a:gd name="connsiteX7119" fmla="*/ 2832777 w 7714416"/>
              <a:gd name="connsiteY7119" fmla="*/ 4397823 h 5282095"/>
              <a:gd name="connsiteX7120" fmla="*/ 2840798 w 7714416"/>
              <a:gd name="connsiteY7120" fmla="*/ 4398822 h 5282095"/>
              <a:gd name="connsiteX7121" fmla="*/ 2841371 w 7714416"/>
              <a:gd name="connsiteY7121" fmla="*/ 4398933 h 5282095"/>
              <a:gd name="connsiteX7122" fmla="*/ 2828194 w 7714416"/>
              <a:gd name="connsiteY7122" fmla="*/ 4385937 h 5282095"/>
              <a:gd name="connsiteX7123" fmla="*/ 2845095 w 7714416"/>
              <a:gd name="connsiteY7123" fmla="*/ 4380383 h 5282095"/>
              <a:gd name="connsiteX7124" fmla="*/ 5489161 w 7714416"/>
              <a:gd name="connsiteY7124" fmla="*/ 4380048 h 5282095"/>
              <a:gd name="connsiteX7125" fmla="*/ 5481140 w 7714416"/>
              <a:gd name="connsiteY7125" fmla="*/ 4391490 h 5282095"/>
              <a:gd name="connsiteX7126" fmla="*/ 5489161 w 7714416"/>
              <a:gd name="connsiteY7126" fmla="*/ 4380048 h 5282095"/>
              <a:gd name="connsiteX7127" fmla="*/ 2202269 w 7714416"/>
              <a:gd name="connsiteY7127" fmla="*/ 4379716 h 5282095"/>
              <a:gd name="connsiteX7128" fmla="*/ 2203702 w 7714416"/>
              <a:gd name="connsiteY7128" fmla="*/ 4383048 h 5282095"/>
              <a:gd name="connsiteX7129" fmla="*/ 2207139 w 7714416"/>
              <a:gd name="connsiteY7129" fmla="*/ 4384270 h 5282095"/>
              <a:gd name="connsiteX7130" fmla="*/ 2206566 w 7714416"/>
              <a:gd name="connsiteY7130" fmla="*/ 4387936 h 5282095"/>
              <a:gd name="connsiteX7131" fmla="*/ 2202269 w 7714416"/>
              <a:gd name="connsiteY7131" fmla="*/ 4379716 h 5282095"/>
              <a:gd name="connsiteX7132" fmla="*/ 6268344 w 7714416"/>
              <a:gd name="connsiteY7132" fmla="*/ 4378938 h 5282095"/>
              <a:gd name="connsiteX7133" fmla="*/ 6280376 w 7714416"/>
              <a:gd name="connsiteY7133" fmla="*/ 4383826 h 5282095"/>
              <a:gd name="connsiteX7134" fmla="*/ 6274932 w 7714416"/>
              <a:gd name="connsiteY7134" fmla="*/ 4389713 h 5282095"/>
              <a:gd name="connsiteX7135" fmla="*/ 6262042 w 7714416"/>
              <a:gd name="connsiteY7135" fmla="*/ 4387380 h 5282095"/>
              <a:gd name="connsiteX7136" fmla="*/ 6268344 w 7714416"/>
              <a:gd name="connsiteY7136" fmla="*/ 4378938 h 5282095"/>
              <a:gd name="connsiteX7137" fmla="*/ 2116043 w 7714416"/>
              <a:gd name="connsiteY7137" fmla="*/ 4378938 h 5282095"/>
              <a:gd name="connsiteX7138" fmla="*/ 2122920 w 7714416"/>
              <a:gd name="connsiteY7138" fmla="*/ 4382493 h 5282095"/>
              <a:gd name="connsiteX7139" fmla="*/ 2123779 w 7714416"/>
              <a:gd name="connsiteY7139" fmla="*/ 4387714 h 5282095"/>
              <a:gd name="connsiteX7140" fmla="*/ 2121200 w 7714416"/>
              <a:gd name="connsiteY7140" fmla="*/ 4390602 h 5282095"/>
              <a:gd name="connsiteX7141" fmla="*/ 2122919 w 7714416"/>
              <a:gd name="connsiteY7141" fmla="*/ 4390380 h 5282095"/>
              <a:gd name="connsiteX7142" fmla="*/ 2124637 w 7714416"/>
              <a:gd name="connsiteY7142" fmla="*/ 4390491 h 5282095"/>
              <a:gd name="connsiteX7143" fmla="*/ 2125784 w 7714416"/>
              <a:gd name="connsiteY7143" fmla="*/ 4388380 h 5282095"/>
              <a:gd name="connsiteX7144" fmla="*/ 2131799 w 7714416"/>
              <a:gd name="connsiteY7144" fmla="*/ 4390380 h 5282095"/>
              <a:gd name="connsiteX7145" fmla="*/ 2131227 w 7714416"/>
              <a:gd name="connsiteY7145" fmla="*/ 4390936 h 5282095"/>
              <a:gd name="connsiteX7146" fmla="*/ 2136382 w 7714416"/>
              <a:gd name="connsiteY7146" fmla="*/ 4391269 h 5282095"/>
              <a:gd name="connsiteX7147" fmla="*/ 2151565 w 7714416"/>
              <a:gd name="connsiteY7147" fmla="*/ 4395601 h 5282095"/>
              <a:gd name="connsiteX7148" fmla="*/ 2153570 w 7714416"/>
              <a:gd name="connsiteY7148" fmla="*/ 4401710 h 5282095"/>
              <a:gd name="connsiteX7149" fmla="*/ 2153571 w 7714416"/>
              <a:gd name="connsiteY7149" fmla="*/ 4404154 h 5282095"/>
              <a:gd name="connsiteX7150" fmla="*/ 2154143 w 7714416"/>
              <a:gd name="connsiteY7150" fmla="*/ 4405376 h 5282095"/>
              <a:gd name="connsiteX7151" fmla="*/ 2152139 w 7714416"/>
              <a:gd name="connsiteY7151" fmla="*/ 4409820 h 5282095"/>
              <a:gd name="connsiteX7152" fmla="*/ 2149847 w 7714416"/>
              <a:gd name="connsiteY7152" fmla="*/ 4407598 h 5282095"/>
              <a:gd name="connsiteX7153" fmla="*/ 2149273 w 7714416"/>
              <a:gd name="connsiteY7153" fmla="*/ 4406376 h 5282095"/>
              <a:gd name="connsiteX7154" fmla="*/ 2143544 w 7714416"/>
              <a:gd name="connsiteY7154" fmla="*/ 4403377 h 5282095"/>
              <a:gd name="connsiteX7155" fmla="*/ 2142112 w 7714416"/>
              <a:gd name="connsiteY7155" fmla="*/ 4403155 h 5282095"/>
              <a:gd name="connsiteX7156" fmla="*/ 2141826 w 7714416"/>
              <a:gd name="connsiteY7156" fmla="*/ 4403709 h 5282095"/>
              <a:gd name="connsiteX7157" fmla="*/ 2132372 w 7714416"/>
              <a:gd name="connsiteY7157" fmla="*/ 4406265 h 5282095"/>
              <a:gd name="connsiteX7158" fmla="*/ 2129794 w 7714416"/>
              <a:gd name="connsiteY7158" fmla="*/ 4404488 h 5282095"/>
              <a:gd name="connsiteX7159" fmla="*/ 2132373 w 7714416"/>
              <a:gd name="connsiteY7159" fmla="*/ 4401156 h 5282095"/>
              <a:gd name="connsiteX7160" fmla="*/ 2130940 w 7714416"/>
              <a:gd name="connsiteY7160" fmla="*/ 4400822 h 5282095"/>
              <a:gd name="connsiteX7161" fmla="*/ 2098283 w 7714416"/>
              <a:gd name="connsiteY7161" fmla="*/ 4392824 h 5282095"/>
              <a:gd name="connsiteX7162" fmla="*/ 2108596 w 7714416"/>
              <a:gd name="connsiteY7162" fmla="*/ 4391824 h 5282095"/>
              <a:gd name="connsiteX7163" fmla="*/ 2107449 w 7714416"/>
              <a:gd name="connsiteY7163" fmla="*/ 4390380 h 5282095"/>
              <a:gd name="connsiteX7164" fmla="*/ 2107449 w 7714416"/>
              <a:gd name="connsiteY7164" fmla="*/ 4383715 h 5282095"/>
              <a:gd name="connsiteX7165" fmla="*/ 2112892 w 7714416"/>
              <a:gd name="connsiteY7165" fmla="*/ 4379716 h 5282095"/>
              <a:gd name="connsiteX7166" fmla="*/ 2116043 w 7714416"/>
              <a:gd name="connsiteY7166" fmla="*/ 4378938 h 5282095"/>
              <a:gd name="connsiteX7167" fmla="*/ 2180785 w 7714416"/>
              <a:gd name="connsiteY7167" fmla="*/ 4378494 h 5282095"/>
              <a:gd name="connsiteX7168" fmla="*/ 2162737 w 7714416"/>
              <a:gd name="connsiteY7168" fmla="*/ 4405043 h 5282095"/>
              <a:gd name="connsiteX7169" fmla="*/ 2180785 w 7714416"/>
              <a:gd name="connsiteY7169" fmla="*/ 4378494 h 5282095"/>
              <a:gd name="connsiteX7170" fmla="*/ 2797257 w 7714416"/>
              <a:gd name="connsiteY7170" fmla="*/ 4376494 h 5282095"/>
              <a:gd name="connsiteX7171" fmla="*/ 2801839 w 7714416"/>
              <a:gd name="connsiteY7171" fmla="*/ 4376605 h 5282095"/>
              <a:gd name="connsiteX7172" fmla="*/ 2788662 w 7714416"/>
              <a:gd name="connsiteY7172" fmla="*/ 4387826 h 5282095"/>
              <a:gd name="connsiteX7173" fmla="*/ 2782359 w 7714416"/>
              <a:gd name="connsiteY7173" fmla="*/ 4382159 h 5282095"/>
              <a:gd name="connsiteX7174" fmla="*/ 2797257 w 7714416"/>
              <a:gd name="connsiteY7174" fmla="*/ 4376494 h 5282095"/>
              <a:gd name="connsiteX7175" fmla="*/ 2593866 w 7714416"/>
              <a:gd name="connsiteY7175" fmla="*/ 4375939 h 5282095"/>
              <a:gd name="connsiteX7176" fmla="*/ 2595871 w 7714416"/>
              <a:gd name="connsiteY7176" fmla="*/ 4377050 h 5282095"/>
              <a:gd name="connsiteX7177" fmla="*/ 2590716 w 7714416"/>
              <a:gd name="connsiteY7177" fmla="*/ 4378938 h 5282095"/>
              <a:gd name="connsiteX7178" fmla="*/ 2589855 w 7714416"/>
              <a:gd name="connsiteY7178" fmla="*/ 4377272 h 5282095"/>
              <a:gd name="connsiteX7179" fmla="*/ 2589282 w 7714416"/>
              <a:gd name="connsiteY7179" fmla="*/ 4378383 h 5282095"/>
              <a:gd name="connsiteX7180" fmla="*/ 2589569 w 7714416"/>
              <a:gd name="connsiteY7180" fmla="*/ 4376717 h 5282095"/>
              <a:gd name="connsiteX7181" fmla="*/ 2590715 w 7714416"/>
              <a:gd name="connsiteY7181" fmla="*/ 4376273 h 5282095"/>
              <a:gd name="connsiteX7182" fmla="*/ 2593866 w 7714416"/>
              <a:gd name="connsiteY7182" fmla="*/ 4375939 h 5282095"/>
              <a:gd name="connsiteX7183" fmla="*/ 6258890 w 7714416"/>
              <a:gd name="connsiteY7183" fmla="*/ 4375273 h 5282095"/>
              <a:gd name="connsiteX7184" fmla="*/ 6265766 w 7714416"/>
              <a:gd name="connsiteY7184" fmla="*/ 4376494 h 5282095"/>
              <a:gd name="connsiteX7185" fmla="*/ 6264906 w 7714416"/>
              <a:gd name="connsiteY7185" fmla="*/ 4378938 h 5282095"/>
              <a:gd name="connsiteX7186" fmla="*/ 6260610 w 7714416"/>
              <a:gd name="connsiteY7186" fmla="*/ 4382049 h 5282095"/>
              <a:gd name="connsiteX7187" fmla="*/ 6255454 w 7714416"/>
              <a:gd name="connsiteY7187" fmla="*/ 4382604 h 5282095"/>
              <a:gd name="connsiteX7188" fmla="*/ 6253162 w 7714416"/>
              <a:gd name="connsiteY7188" fmla="*/ 4375939 h 5282095"/>
              <a:gd name="connsiteX7189" fmla="*/ 6258890 w 7714416"/>
              <a:gd name="connsiteY7189" fmla="*/ 4375273 h 5282095"/>
              <a:gd name="connsiteX7190" fmla="*/ 5814012 w 7714416"/>
              <a:gd name="connsiteY7190" fmla="*/ 4374717 h 5282095"/>
              <a:gd name="connsiteX7191" fmla="*/ 5814298 w 7714416"/>
              <a:gd name="connsiteY7191" fmla="*/ 4375828 h 5282095"/>
              <a:gd name="connsiteX7192" fmla="*/ 5816303 w 7714416"/>
              <a:gd name="connsiteY7192" fmla="*/ 4376495 h 5282095"/>
              <a:gd name="connsiteX7193" fmla="*/ 5814871 w 7714416"/>
              <a:gd name="connsiteY7193" fmla="*/ 4381826 h 5282095"/>
              <a:gd name="connsiteX7194" fmla="*/ 5812292 w 7714416"/>
              <a:gd name="connsiteY7194" fmla="*/ 4384048 h 5282095"/>
              <a:gd name="connsiteX7195" fmla="*/ 5808855 w 7714416"/>
              <a:gd name="connsiteY7195" fmla="*/ 4384604 h 5282095"/>
              <a:gd name="connsiteX7196" fmla="*/ 5806277 w 7714416"/>
              <a:gd name="connsiteY7196" fmla="*/ 4382715 h 5282095"/>
              <a:gd name="connsiteX7197" fmla="*/ 5804558 w 7714416"/>
              <a:gd name="connsiteY7197" fmla="*/ 4378161 h 5282095"/>
              <a:gd name="connsiteX7198" fmla="*/ 5807136 w 7714416"/>
              <a:gd name="connsiteY7198" fmla="*/ 4375273 h 5282095"/>
              <a:gd name="connsiteX7199" fmla="*/ 5810574 w 7714416"/>
              <a:gd name="connsiteY7199" fmla="*/ 4375494 h 5282095"/>
              <a:gd name="connsiteX7200" fmla="*/ 5814012 w 7714416"/>
              <a:gd name="connsiteY7200" fmla="*/ 4374717 h 5282095"/>
              <a:gd name="connsiteX7201" fmla="*/ 6307876 w 7714416"/>
              <a:gd name="connsiteY7201" fmla="*/ 4373718 h 5282095"/>
              <a:gd name="connsiteX7202" fmla="*/ 6311887 w 7714416"/>
              <a:gd name="connsiteY7202" fmla="*/ 4376050 h 5282095"/>
              <a:gd name="connsiteX7203" fmla="*/ 6310454 w 7714416"/>
              <a:gd name="connsiteY7203" fmla="*/ 4383604 h 5282095"/>
              <a:gd name="connsiteX7204" fmla="*/ 6299282 w 7714416"/>
              <a:gd name="connsiteY7204" fmla="*/ 4380604 h 5282095"/>
              <a:gd name="connsiteX7205" fmla="*/ 6307876 w 7714416"/>
              <a:gd name="connsiteY7205" fmla="*/ 4373718 h 5282095"/>
              <a:gd name="connsiteX7206" fmla="*/ 6555095 w 7714416"/>
              <a:gd name="connsiteY7206" fmla="*/ 4373495 h 5282095"/>
              <a:gd name="connsiteX7207" fmla="*/ 6572569 w 7714416"/>
              <a:gd name="connsiteY7207" fmla="*/ 4377717 h 5282095"/>
              <a:gd name="connsiteX7208" fmla="*/ 6567986 w 7714416"/>
              <a:gd name="connsiteY7208" fmla="*/ 4385603 h 5282095"/>
              <a:gd name="connsiteX7209" fmla="*/ 6555954 w 7714416"/>
              <a:gd name="connsiteY7209" fmla="*/ 4388381 h 5282095"/>
              <a:gd name="connsiteX7210" fmla="*/ 6555095 w 7714416"/>
              <a:gd name="connsiteY7210" fmla="*/ 4373495 h 5282095"/>
              <a:gd name="connsiteX7211" fmla="*/ 2264719 w 7714416"/>
              <a:gd name="connsiteY7211" fmla="*/ 4371384 h 5282095"/>
              <a:gd name="connsiteX7212" fmla="*/ 2268156 w 7714416"/>
              <a:gd name="connsiteY7212" fmla="*/ 4375717 h 5282095"/>
              <a:gd name="connsiteX7213" fmla="*/ 2267584 w 7714416"/>
              <a:gd name="connsiteY7213" fmla="*/ 4379605 h 5282095"/>
              <a:gd name="connsiteX7214" fmla="*/ 2268443 w 7714416"/>
              <a:gd name="connsiteY7214" fmla="*/ 4379605 h 5282095"/>
              <a:gd name="connsiteX7215" fmla="*/ 2268157 w 7714416"/>
              <a:gd name="connsiteY7215" fmla="*/ 4374495 h 5282095"/>
              <a:gd name="connsiteX7216" fmla="*/ 2270161 w 7714416"/>
              <a:gd name="connsiteY7216" fmla="*/ 4375939 h 5282095"/>
              <a:gd name="connsiteX7217" fmla="*/ 2269875 w 7714416"/>
              <a:gd name="connsiteY7217" fmla="*/ 4378272 h 5282095"/>
              <a:gd name="connsiteX7218" fmla="*/ 2269589 w 7714416"/>
              <a:gd name="connsiteY7218" fmla="*/ 4379494 h 5282095"/>
              <a:gd name="connsiteX7219" fmla="*/ 2273312 w 7714416"/>
              <a:gd name="connsiteY7219" fmla="*/ 4379383 h 5282095"/>
              <a:gd name="connsiteX7220" fmla="*/ 2280474 w 7714416"/>
              <a:gd name="connsiteY7220" fmla="*/ 4390380 h 5282095"/>
              <a:gd name="connsiteX7221" fmla="*/ 2245239 w 7714416"/>
              <a:gd name="connsiteY7221" fmla="*/ 4392824 h 5282095"/>
              <a:gd name="connsiteX7222" fmla="*/ 2251541 w 7714416"/>
              <a:gd name="connsiteY7222" fmla="*/ 4384604 h 5282095"/>
              <a:gd name="connsiteX7223" fmla="*/ 2253547 w 7714416"/>
              <a:gd name="connsiteY7223" fmla="*/ 4383826 h 5282095"/>
              <a:gd name="connsiteX7224" fmla="*/ 2254406 w 7714416"/>
              <a:gd name="connsiteY7224" fmla="*/ 4379937 h 5282095"/>
              <a:gd name="connsiteX7225" fmla="*/ 2264719 w 7714416"/>
              <a:gd name="connsiteY7225" fmla="*/ 4371384 h 5282095"/>
              <a:gd name="connsiteX7226" fmla="*/ 6783407 w 7714416"/>
              <a:gd name="connsiteY7226" fmla="*/ 4371274 h 5282095"/>
              <a:gd name="connsiteX7227" fmla="*/ 6789709 w 7714416"/>
              <a:gd name="connsiteY7227" fmla="*/ 4374273 h 5282095"/>
              <a:gd name="connsiteX7228" fmla="*/ 6791714 w 7714416"/>
              <a:gd name="connsiteY7228" fmla="*/ 4376939 h 5282095"/>
              <a:gd name="connsiteX7229" fmla="*/ 6791142 w 7714416"/>
              <a:gd name="connsiteY7229" fmla="*/ 4379161 h 5282095"/>
              <a:gd name="connsiteX7230" fmla="*/ 6787704 w 7714416"/>
              <a:gd name="connsiteY7230" fmla="*/ 4379938 h 5282095"/>
              <a:gd name="connsiteX7231" fmla="*/ 6780828 w 7714416"/>
              <a:gd name="connsiteY7231" fmla="*/ 4379160 h 5282095"/>
              <a:gd name="connsiteX7232" fmla="*/ 6777678 w 7714416"/>
              <a:gd name="connsiteY7232" fmla="*/ 4376494 h 5282095"/>
              <a:gd name="connsiteX7233" fmla="*/ 6779396 w 7714416"/>
              <a:gd name="connsiteY7233" fmla="*/ 4374384 h 5282095"/>
              <a:gd name="connsiteX7234" fmla="*/ 6779683 w 7714416"/>
              <a:gd name="connsiteY7234" fmla="*/ 4372052 h 5282095"/>
              <a:gd name="connsiteX7235" fmla="*/ 6781402 w 7714416"/>
              <a:gd name="connsiteY7235" fmla="*/ 4372162 h 5282095"/>
              <a:gd name="connsiteX7236" fmla="*/ 6783407 w 7714416"/>
              <a:gd name="connsiteY7236" fmla="*/ 4371274 h 5282095"/>
              <a:gd name="connsiteX7237" fmla="*/ 5510360 w 7714416"/>
              <a:gd name="connsiteY7237" fmla="*/ 4370385 h 5282095"/>
              <a:gd name="connsiteX7238" fmla="*/ 5512938 w 7714416"/>
              <a:gd name="connsiteY7238" fmla="*/ 4375939 h 5282095"/>
              <a:gd name="connsiteX7239" fmla="*/ 5505776 w 7714416"/>
              <a:gd name="connsiteY7239" fmla="*/ 4376605 h 5282095"/>
              <a:gd name="connsiteX7240" fmla="*/ 5502625 w 7714416"/>
              <a:gd name="connsiteY7240" fmla="*/ 4373718 h 5282095"/>
              <a:gd name="connsiteX7241" fmla="*/ 5504344 w 7714416"/>
              <a:gd name="connsiteY7241" fmla="*/ 4373273 h 5282095"/>
              <a:gd name="connsiteX7242" fmla="*/ 5510360 w 7714416"/>
              <a:gd name="connsiteY7242" fmla="*/ 4370385 h 5282095"/>
              <a:gd name="connsiteX7243" fmla="*/ 5868439 w 7714416"/>
              <a:gd name="connsiteY7243" fmla="*/ 4369830 h 5282095"/>
              <a:gd name="connsiteX7244" fmla="*/ 5865002 w 7714416"/>
              <a:gd name="connsiteY7244" fmla="*/ 4380938 h 5282095"/>
              <a:gd name="connsiteX7245" fmla="*/ 5868439 w 7714416"/>
              <a:gd name="connsiteY7245" fmla="*/ 4369830 h 5282095"/>
              <a:gd name="connsiteX7246" fmla="*/ 2676941 w 7714416"/>
              <a:gd name="connsiteY7246" fmla="*/ 4369052 h 5282095"/>
              <a:gd name="connsiteX7247" fmla="*/ 2683243 w 7714416"/>
              <a:gd name="connsiteY7247" fmla="*/ 4371384 h 5282095"/>
              <a:gd name="connsiteX7248" fmla="*/ 2682670 w 7714416"/>
              <a:gd name="connsiteY7248" fmla="*/ 4375051 h 5282095"/>
              <a:gd name="connsiteX7249" fmla="*/ 2676941 w 7714416"/>
              <a:gd name="connsiteY7249" fmla="*/ 4369052 h 5282095"/>
              <a:gd name="connsiteX7250" fmla="*/ 6620123 w 7714416"/>
              <a:gd name="connsiteY7250" fmla="*/ 4368496 h 5282095"/>
              <a:gd name="connsiteX7251" fmla="*/ 6626711 w 7714416"/>
              <a:gd name="connsiteY7251" fmla="*/ 4372051 h 5282095"/>
              <a:gd name="connsiteX7252" fmla="*/ 6627570 w 7714416"/>
              <a:gd name="connsiteY7252" fmla="*/ 4376162 h 5282095"/>
              <a:gd name="connsiteX7253" fmla="*/ 6619836 w 7714416"/>
              <a:gd name="connsiteY7253" fmla="*/ 4380605 h 5282095"/>
              <a:gd name="connsiteX7254" fmla="*/ 6610669 w 7714416"/>
              <a:gd name="connsiteY7254" fmla="*/ 4370163 h 5282095"/>
              <a:gd name="connsiteX7255" fmla="*/ 6620123 w 7714416"/>
              <a:gd name="connsiteY7255" fmla="*/ 4368496 h 5282095"/>
              <a:gd name="connsiteX7256" fmla="*/ 5763594 w 7714416"/>
              <a:gd name="connsiteY7256" fmla="*/ 4368385 h 5282095"/>
              <a:gd name="connsiteX7257" fmla="*/ 5766458 w 7714416"/>
              <a:gd name="connsiteY7257" fmla="*/ 4369718 h 5282095"/>
              <a:gd name="connsiteX7258" fmla="*/ 5772474 w 7714416"/>
              <a:gd name="connsiteY7258" fmla="*/ 4373051 h 5282095"/>
              <a:gd name="connsiteX7259" fmla="*/ 5761016 w 7714416"/>
              <a:gd name="connsiteY7259" fmla="*/ 4368719 h 5282095"/>
              <a:gd name="connsiteX7260" fmla="*/ 5763594 w 7714416"/>
              <a:gd name="connsiteY7260" fmla="*/ 4368385 h 5282095"/>
              <a:gd name="connsiteX7261" fmla="*/ 1969948 w 7714416"/>
              <a:gd name="connsiteY7261" fmla="*/ 4368385 h 5282095"/>
              <a:gd name="connsiteX7262" fmla="*/ 1977682 w 7714416"/>
              <a:gd name="connsiteY7262" fmla="*/ 4372162 h 5282095"/>
              <a:gd name="connsiteX7263" fmla="*/ 1978541 w 7714416"/>
              <a:gd name="connsiteY7263" fmla="*/ 4373717 h 5282095"/>
              <a:gd name="connsiteX7264" fmla="*/ 1980546 w 7714416"/>
              <a:gd name="connsiteY7264" fmla="*/ 4380938 h 5282095"/>
              <a:gd name="connsiteX7265" fmla="*/ 1984270 w 7714416"/>
              <a:gd name="connsiteY7265" fmla="*/ 4382493 h 5282095"/>
              <a:gd name="connsiteX7266" fmla="*/ 1977395 w 7714416"/>
              <a:gd name="connsiteY7266" fmla="*/ 4389935 h 5282095"/>
              <a:gd name="connsiteX7267" fmla="*/ 1973958 w 7714416"/>
              <a:gd name="connsiteY7267" fmla="*/ 4389936 h 5282095"/>
              <a:gd name="connsiteX7268" fmla="*/ 1973671 w 7714416"/>
              <a:gd name="connsiteY7268" fmla="*/ 4392380 h 5282095"/>
              <a:gd name="connsiteX7269" fmla="*/ 1963931 w 7714416"/>
              <a:gd name="connsiteY7269" fmla="*/ 4392380 h 5282095"/>
              <a:gd name="connsiteX7270" fmla="*/ 1961926 w 7714416"/>
              <a:gd name="connsiteY7270" fmla="*/ 4389158 h 5282095"/>
              <a:gd name="connsiteX7271" fmla="*/ 1957057 w 7714416"/>
              <a:gd name="connsiteY7271" fmla="*/ 4386269 h 5282095"/>
              <a:gd name="connsiteX7272" fmla="*/ 1959920 w 7714416"/>
              <a:gd name="connsiteY7272" fmla="*/ 4380938 h 5282095"/>
              <a:gd name="connsiteX7273" fmla="*/ 1963645 w 7714416"/>
              <a:gd name="connsiteY7273" fmla="*/ 4379827 h 5282095"/>
              <a:gd name="connsiteX7274" fmla="*/ 1962785 w 7714416"/>
              <a:gd name="connsiteY7274" fmla="*/ 4376717 h 5282095"/>
              <a:gd name="connsiteX7275" fmla="*/ 1961639 w 7714416"/>
              <a:gd name="connsiteY7275" fmla="*/ 4370052 h 5282095"/>
              <a:gd name="connsiteX7276" fmla="*/ 1969948 w 7714416"/>
              <a:gd name="connsiteY7276" fmla="*/ 4368385 h 5282095"/>
              <a:gd name="connsiteX7277" fmla="*/ 2674076 w 7714416"/>
              <a:gd name="connsiteY7277" fmla="*/ 4366941 h 5282095"/>
              <a:gd name="connsiteX7278" fmla="*/ 2675795 w 7714416"/>
              <a:gd name="connsiteY7278" fmla="*/ 4368496 h 5282095"/>
              <a:gd name="connsiteX7279" fmla="*/ 2675223 w 7714416"/>
              <a:gd name="connsiteY7279" fmla="*/ 4369385 h 5282095"/>
              <a:gd name="connsiteX7280" fmla="*/ 2672645 w 7714416"/>
              <a:gd name="connsiteY7280" fmla="*/ 4367164 h 5282095"/>
              <a:gd name="connsiteX7281" fmla="*/ 2674076 w 7714416"/>
              <a:gd name="connsiteY7281" fmla="*/ 4366941 h 5282095"/>
              <a:gd name="connsiteX7282" fmla="*/ 1821846 w 7714416"/>
              <a:gd name="connsiteY7282" fmla="*/ 4366386 h 5282095"/>
              <a:gd name="connsiteX7283" fmla="*/ 1829293 w 7714416"/>
              <a:gd name="connsiteY7283" fmla="*/ 4366719 h 5282095"/>
              <a:gd name="connsiteX7284" fmla="*/ 1830438 w 7714416"/>
              <a:gd name="connsiteY7284" fmla="*/ 4377050 h 5282095"/>
              <a:gd name="connsiteX7285" fmla="*/ 1821846 w 7714416"/>
              <a:gd name="connsiteY7285" fmla="*/ 4366386 h 5282095"/>
              <a:gd name="connsiteX7286" fmla="*/ 5833491 w 7714416"/>
              <a:gd name="connsiteY7286" fmla="*/ 4364719 h 5282095"/>
              <a:gd name="connsiteX7287" fmla="*/ 5840366 w 7714416"/>
              <a:gd name="connsiteY7287" fmla="*/ 4365275 h 5282095"/>
              <a:gd name="connsiteX7288" fmla="*/ 5852684 w 7714416"/>
              <a:gd name="connsiteY7288" fmla="*/ 4368830 h 5282095"/>
              <a:gd name="connsiteX7289" fmla="*/ 5824325 w 7714416"/>
              <a:gd name="connsiteY7289" fmla="*/ 4377050 h 5282095"/>
              <a:gd name="connsiteX7290" fmla="*/ 5825756 w 7714416"/>
              <a:gd name="connsiteY7290" fmla="*/ 4365386 h 5282095"/>
              <a:gd name="connsiteX7291" fmla="*/ 5833491 w 7714416"/>
              <a:gd name="connsiteY7291" fmla="*/ 4364719 h 5282095"/>
              <a:gd name="connsiteX7292" fmla="*/ 2368991 w 7714416"/>
              <a:gd name="connsiteY7292" fmla="*/ 4364609 h 5282095"/>
              <a:gd name="connsiteX7293" fmla="*/ 2387325 w 7714416"/>
              <a:gd name="connsiteY7293" fmla="*/ 4370385 h 5282095"/>
              <a:gd name="connsiteX7294" fmla="*/ 2388185 w 7714416"/>
              <a:gd name="connsiteY7294" fmla="*/ 4375273 h 5282095"/>
              <a:gd name="connsiteX7295" fmla="*/ 2372715 w 7714416"/>
              <a:gd name="connsiteY7295" fmla="*/ 4378938 h 5282095"/>
              <a:gd name="connsiteX7296" fmla="*/ 2371570 w 7714416"/>
              <a:gd name="connsiteY7296" fmla="*/ 4378383 h 5282095"/>
              <a:gd name="connsiteX7297" fmla="*/ 2367559 w 7714416"/>
              <a:gd name="connsiteY7297" fmla="*/ 4380160 h 5282095"/>
              <a:gd name="connsiteX7298" fmla="*/ 2363836 w 7714416"/>
              <a:gd name="connsiteY7298" fmla="*/ 4374495 h 5282095"/>
              <a:gd name="connsiteX7299" fmla="*/ 2366414 w 7714416"/>
              <a:gd name="connsiteY7299" fmla="*/ 4374050 h 5282095"/>
              <a:gd name="connsiteX7300" fmla="*/ 2364981 w 7714416"/>
              <a:gd name="connsiteY7300" fmla="*/ 4371051 h 5282095"/>
              <a:gd name="connsiteX7301" fmla="*/ 2368991 w 7714416"/>
              <a:gd name="connsiteY7301" fmla="*/ 4364609 h 5282095"/>
              <a:gd name="connsiteX7302" fmla="*/ 5706301 w 7714416"/>
              <a:gd name="connsiteY7302" fmla="*/ 4363609 h 5282095"/>
              <a:gd name="connsiteX7303" fmla="*/ 5709738 w 7714416"/>
              <a:gd name="connsiteY7303" fmla="*/ 4365386 h 5282095"/>
              <a:gd name="connsiteX7304" fmla="*/ 5713749 w 7714416"/>
              <a:gd name="connsiteY7304" fmla="*/ 4369608 h 5282095"/>
              <a:gd name="connsiteX7305" fmla="*/ 5713177 w 7714416"/>
              <a:gd name="connsiteY7305" fmla="*/ 4370941 h 5282095"/>
              <a:gd name="connsiteX7306" fmla="*/ 5714608 w 7714416"/>
              <a:gd name="connsiteY7306" fmla="*/ 4370052 h 5282095"/>
              <a:gd name="connsiteX7307" fmla="*/ 5721197 w 7714416"/>
              <a:gd name="connsiteY7307" fmla="*/ 4369940 h 5282095"/>
              <a:gd name="connsiteX7308" fmla="*/ 5725780 w 7714416"/>
              <a:gd name="connsiteY7308" fmla="*/ 4371496 h 5282095"/>
              <a:gd name="connsiteX7309" fmla="*/ 5727500 w 7714416"/>
              <a:gd name="connsiteY7309" fmla="*/ 4375273 h 5282095"/>
              <a:gd name="connsiteX7310" fmla="*/ 5726067 w 7714416"/>
              <a:gd name="connsiteY7310" fmla="*/ 4378494 h 5282095"/>
              <a:gd name="connsiteX7311" fmla="*/ 5716900 w 7714416"/>
              <a:gd name="connsiteY7311" fmla="*/ 4382159 h 5282095"/>
              <a:gd name="connsiteX7312" fmla="*/ 5712030 w 7714416"/>
              <a:gd name="connsiteY7312" fmla="*/ 4378383 h 5282095"/>
              <a:gd name="connsiteX7313" fmla="*/ 5710025 w 7714416"/>
              <a:gd name="connsiteY7313" fmla="*/ 4373384 h 5282095"/>
              <a:gd name="connsiteX7314" fmla="*/ 5708879 w 7714416"/>
              <a:gd name="connsiteY7314" fmla="*/ 4373606 h 5282095"/>
              <a:gd name="connsiteX7315" fmla="*/ 5708879 w 7714416"/>
              <a:gd name="connsiteY7315" fmla="*/ 4374828 h 5282095"/>
              <a:gd name="connsiteX7316" fmla="*/ 5705442 w 7714416"/>
              <a:gd name="connsiteY7316" fmla="*/ 4373273 h 5282095"/>
              <a:gd name="connsiteX7317" fmla="*/ 5701144 w 7714416"/>
              <a:gd name="connsiteY7317" fmla="*/ 4364386 h 5282095"/>
              <a:gd name="connsiteX7318" fmla="*/ 5706301 w 7714416"/>
              <a:gd name="connsiteY7318" fmla="*/ 4363609 h 5282095"/>
              <a:gd name="connsiteX7319" fmla="*/ 5735520 w 7714416"/>
              <a:gd name="connsiteY7319" fmla="*/ 4363609 h 5282095"/>
              <a:gd name="connsiteX7320" fmla="*/ 5745546 w 7714416"/>
              <a:gd name="connsiteY7320" fmla="*/ 4365275 h 5282095"/>
              <a:gd name="connsiteX7321" fmla="*/ 5734374 w 7714416"/>
              <a:gd name="connsiteY7321" fmla="*/ 4371607 h 5282095"/>
              <a:gd name="connsiteX7322" fmla="*/ 5735520 w 7714416"/>
              <a:gd name="connsiteY7322" fmla="*/ 4363609 h 5282095"/>
              <a:gd name="connsiteX7323" fmla="*/ 2668060 w 7714416"/>
              <a:gd name="connsiteY7323" fmla="*/ 4362498 h 5282095"/>
              <a:gd name="connsiteX7324" fmla="*/ 2669780 w 7714416"/>
              <a:gd name="connsiteY7324" fmla="*/ 4366164 h 5282095"/>
              <a:gd name="connsiteX7325" fmla="*/ 2669206 w 7714416"/>
              <a:gd name="connsiteY7325" fmla="*/ 4367830 h 5282095"/>
              <a:gd name="connsiteX7326" fmla="*/ 2670352 w 7714416"/>
              <a:gd name="connsiteY7326" fmla="*/ 4368830 h 5282095"/>
              <a:gd name="connsiteX7327" fmla="*/ 2668921 w 7714416"/>
              <a:gd name="connsiteY7327" fmla="*/ 4369385 h 5282095"/>
              <a:gd name="connsiteX7328" fmla="*/ 2668348 w 7714416"/>
              <a:gd name="connsiteY7328" fmla="*/ 4372607 h 5282095"/>
              <a:gd name="connsiteX7329" fmla="*/ 2670065 w 7714416"/>
              <a:gd name="connsiteY7329" fmla="*/ 4380605 h 5282095"/>
              <a:gd name="connsiteX7330" fmla="*/ 2666056 w 7714416"/>
              <a:gd name="connsiteY7330" fmla="*/ 4388269 h 5282095"/>
              <a:gd name="connsiteX7331" fmla="*/ 2661185 w 7714416"/>
              <a:gd name="connsiteY7331" fmla="*/ 4387492 h 5282095"/>
              <a:gd name="connsiteX7332" fmla="*/ 2660613 w 7714416"/>
              <a:gd name="connsiteY7332" fmla="*/ 4390713 h 5282095"/>
              <a:gd name="connsiteX7333" fmla="*/ 2641992 w 7714416"/>
              <a:gd name="connsiteY7333" fmla="*/ 4397378 h 5282095"/>
              <a:gd name="connsiteX7334" fmla="*/ 2632825 w 7714416"/>
              <a:gd name="connsiteY7334" fmla="*/ 4394157 h 5282095"/>
              <a:gd name="connsiteX7335" fmla="*/ 2629387 w 7714416"/>
              <a:gd name="connsiteY7335" fmla="*/ 4390047 h 5282095"/>
              <a:gd name="connsiteX7336" fmla="*/ 2629387 w 7714416"/>
              <a:gd name="connsiteY7336" fmla="*/ 4389935 h 5282095"/>
              <a:gd name="connsiteX7337" fmla="*/ 2618502 w 7714416"/>
              <a:gd name="connsiteY7337" fmla="*/ 4387269 h 5282095"/>
              <a:gd name="connsiteX7338" fmla="*/ 2617357 w 7714416"/>
              <a:gd name="connsiteY7338" fmla="*/ 4386714 h 5282095"/>
              <a:gd name="connsiteX7339" fmla="*/ 2616497 w 7714416"/>
              <a:gd name="connsiteY7339" fmla="*/ 4386714 h 5282095"/>
              <a:gd name="connsiteX7340" fmla="*/ 2594439 w 7714416"/>
              <a:gd name="connsiteY7340" fmla="*/ 4379716 h 5282095"/>
              <a:gd name="connsiteX7341" fmla="*/ 2608763 w 7714416"/>
              <a:gd name="connsiteY7341" fmla="*/ 4378049 h 5282095"/>
              <a:gd name="connsiteX7342" fmla="*/ 2608763 w 7714416"/>
              <a:gd name="connsiteY7342" fmla="*/ 4377272 h 5282095"/>
              <a:gd name="connsiteX7343" fmla="*/ 2602746 w 7714416"/>
              <a:gd name="connsiteY7343" fmla="*/ 4378382 h 5282095"/>
              <a:gd name="connsiteX7344" fmla="*/ 2596158 w 7714416"/>
              <a:gd name="connsiteY7344" fmla="*/ 4376939 h 5282095"/>
              <a:gd name="connsiteX7345" fmla="*/ 2603606 w 7714416"/>
              <a:gd name="connsiteY7345" fmla="*/ 4374606 h 5282095"/>
              <a:gd name="connsiteX7346" fmla="*/ 2607331 w 7714416"/>
              <a:gd name="connsiteY7346" fmla="*/ 4374050 h 5282095"/>
              <a:gd name="connsiteX7347" fmla="*/ 2608763 w 7714416"/>
              <a:gd name="connsiteY7347" fmla="*/ 4375828 h 5282095"/>
              <a:gd name="connsiteX7348" fmla="*/ 2609049 w 7714416"/>
              <a:gd name="connsiteY7348" fmla="*/ 4375384 h 5282095"/>
              <a:gd name="connsiteX7349" fmla="*/ 2613918 w 7714416"/>
              <a:gd name="connsiteY7349" fmla="*/ 4368719 h 5282095"/>
              <a:gd name="connsiteX7350" fmla="*/ 2624231 w 7714416"/>
              <a:gd name="connsiteY7350" fmla="*/ 4376273 h 5282095"/>
              <a:gd name="connsiteX7351" fmla="*/ 2625664 w 7714416"/>
              <a:gd name="connsiteY7351" fmla="*/ 4376939 h 5282095"/>
              <a:gd name="connsiteX7352" fmla="*/ 2633112 w 7714416"/>
              <a:gd name="connsiteY7352" fmla="*/ 4377272 h 5282095"/>
              <a:gd name="connsiteX7353" fmla="*/ 2635403 w 7714416"/>
              <a:gd name="connsiteY7353" fmla="*/ 4377939 h 5282095"/>
              <a:gd name="connsiteX7354" fmla="*/ 2638841 w 7714416"/>
              <a:gd name="connsiteY7354" fmla="*/ 4376273 h 5282095"/>
              <a:gd name="connsiteX7355" fmla="*/ 2643997 w 7714416"/>
              <a:gd name="connsiteY7355" fmla="*/ 4375939 h 5282095"/>
              <a:gd name="connsiteX7356" fmla="*/ 2660039 w 7714416"/>
              <a:gd name="connsiteY7356" fmla="*/ 4382160 h 5282095"/>
              <a:gd name="connsiteX7357" fmla="*/ 2658893 w 7714416"/>
              <a:gd name="connsiteY7357" fmla="*/ 4381049 h 5282095"/>
              <a:gd name="connsiteX7358" fmla="*/ 2664623 w 7714416"/>
              <a:gd name="connsiteY7358" fmla="*/ 4364831 h 5282095"/>
              <a:gd name="connsiteX7359" fmla="*/ 2665197 w 7714416"/>
              <a:gd name="connsiteY7359" fmla="*/ 4364387 h 5282095"/>
              <a:gd name="connsiteX7360" fmla="*/ 2664623 w 7714416"/>
              <a:gd name="connsiteY7360" fmla="*/ 4364276 h 5282095"/>
              <a:gd name="connsiteX7361" fmla="*/ 2665482 w 7714416"/>
              <a:gd name="connsiteY7361" fmla="*/ 4364164 h 5282095"/>
              <a:gd name="connsiteX7362" fmla="*/ 5698567 w 7714416"/>
              <a:gd name="connsiteY7362" fmla="*/ 4361943 h 5282095"/>
              <a:gd name="connsiteX7363" fmla="*/ 5700858 w 7714416"/>
              <a:gd name="connsiteY7363" fmla="*/ 4362053 h 5282095"/>
              <a:gd name="connsiteX7364" fmla="*/ 5694270 w 7714416"/>
              <a:gd name="connsiteY7364" fmla="*/ 4365386 h 5282095"/>
              <a:gd name="connsiteX7365" fmla="*/ 5698567 w 7714416"/>
              <a:gd name="connsiteY7365" fmla="*/ 4361943 h 5282095"/>
              <a:gd name="connsiteX7366" fmla="*/ 1688066 w 7714416"/>
              <a:gd name="connsiteY7366" fmla="*/ 4361054 h 5282095"/>
              <a:gd name="connsiteX7367" fmla="*/ 1700384 w 7714416"/>
              <a:gd name="connsiteY7367" fmla="*/ 4369608 h 5282095"/>
              <a:gd name="connsiteX7368" fmla="*/ 1678899 w 7714416"/>
              <a:gd name="connsiteY7368" fmla="*/ 4380382 h 5282095"/>
              <a:gd name="connsiteX7369" fmla="*/ 1688066 w 7714416"/>
              <a:gd name="connsiteY7369" fmla="*/ 4361054 h 5282095"/>
              <a:gd name="connsiteX7370" fmla="*/ 2202842 w 7714416"/>
              <a:gd name="connsiteY7370" fmla="*/ 4360165 h 5282095"/>
              <a:gd name="connsiteX7371" fmla="*/ 2203702 w 7714416"/>
              <a:gd name="connsiteY7371" fmla="*/ 4360388 h 5282095"/>
              <a:gd name="connsiteX7372" fmla="*/ 2204274 w 7714416"/>
              <a:gd name="connsiteY7372" fmla="*/ 4360276 h 5282095"/>
              <a:gd name="connsiteX7373" fmla="*/ 2211722 w 7714416"/>
              <a:gd name="connsiteY7373" fmla="*/ 4361720 h 5282095"/>
              <a:gd name="connsiteX7374" fmla="*/ 2207139 w 7714416"/>
              <a:gd name="connsiteY7374" fmla="*/ 4369940 h 5282095"/>
              <a:gd name="connsiteX7375" fmla="*/ 2202556 w 7714416"/>
              <a:gd name="connsiteY7375" fmla="*/ 4369940 h 5282095"/>
              <a:gd name="connsiteX7376" fmla="*/ 2201410 w 7714416"/>
              <a:gd name="connsiteY7376" fmla="*/ 4375717 h 5282095"/>
              <a:gd name="connsiteX7377" fmla="*/ 2200264 w 7714416"/>
              <a:gd name="connsiteY7377" fmla="*/ 4377050 h 5282095"/>
              <a:gd name="connsiteX7378" fmla="*/ 2200264 w 7714416"/>
              <a:gd name="connsiteY7378" fmla="*/ 4377717 h 5282095"/>
              <a:gd name="connsiteX7379" fmla="*/ 2200551 w 7714416"/>
              <a:gd name="connsiteY7379" fmla="*/ 4379272 h 5282095"/>
              <a:gd name="connsiteX7380" fmla="*/ 2199118 w 7714416"/>
              <a:gd name="connsiteY7380" fmla="*/ 4378605 h 5282095"/>
              <a:gd name="connsiteX7381" fmla="*/ 2198832 w 7714416"/>
              <a:gd name="connsiteY7381" fmla="*/ 4378494 h 5282095"/>
              <a:gd name="connsiteX7382" fmla="*/ 2196253 w 7714416"/>
              <a:gd name="connsiteY7382" fmla="*/ 4381493 h 5282095"/>
              <a:gd name="connsiteX7383" fmla="*/ 2186801 w 7714416"/>
              <a:gd name="connsiteY7383" fmla="*/ 4375050 h 5282095"/>
              <a:gd name="connsiteX7384" fmla="*/ 2179638 w 7714416"/>
              <a:gd name="connsiteY7384" fmla="*/ 4367608 h 5282095"/>
              <a:gd name="connsiteX7385" fmla="*/ 2188519 w 7714416"/>
              <a:gd name="connsiteY7385" fmla="*/ 4369608 h 5282095"/>
              <a:gd name="connsiteX7386" fmla="*/ 2187946 w 7714416"/>
              <a:gd name="connsiteY7386" fmla="*/ 4369386 h 5282095"/>
              <a:gd name="connsiteX7387" fmla="*/ 2187946 w 7714416"/>
              <a:gd name="connsiteY7387" fmla="*/ 4366719 h 5282095"/>
              <a:gd name="connsiteX7388" fmla="*/ 2193389 w 7714416"/>
              <a:gd name="connsiteY7388" fmla="*/ 4367497 h 5282095"/>
              <a:gd name="connsiteX7389" fmla="*/ 2193676 w 7714416"/>
              <a:gd name="connsiteY7389" fmla="*/ 4370052 h 5282095"/>
              <a:gd name="connsiteX7390" fmla="*/ 2195395 w 7714416"/>
              <a:gd name="connsiteY7390" fmla="*/ 4370274 h 5282095"/>
              <a:gd name="connsiteX7391" fmla="*/ 2200838 w 7714416"/>
              <a:gd name="connsiteY7391" fmla="*/ 4369052 h 5282095"/>
              <a:gd name="connsiteX7392" fmla="*/ 2198259 w 7714416"/>
              <a:gd name="connsiteY7392" fmla="*/ 4366496 h 5282095"/>
              <a:gd name="connsiteX7393" fmla="*/ 2198832 w 7714416"/>
              <a:gd name="connsiteY7393" fmla="*/ 4360943 h 5282095"/>
              <a:gd name="connsiteX7394" fmla="*/ 6053496 w 7714416"/>
              <a:gd name="connsiteY7394" fmla="*/ 4359722 h 5282095"/>
              <a:gd name="connsiteX7395" fmla="*/ 6060084 w 7714416"/>
              <a:gd name="connsiteY7395" fmla="*/ 4363832 h 5282095"/>
              <a:gd name="connsiteX7396" fmla="*/ 6059798 w 7714416"/>
              <a:gd name="connsiteY7396" fmla="*/ 4370052 h 5282095"/>
              <a:gd name="connsiteX7397" fmla="*/ 6057220 w 7714416"/>
              <a:gd name="connsiteY7397" fmla="*/ 4369941 h 5282095"/>
              <a:gd name="connsiteX7398" fmla="*/ 6061803 w 7714416"/>
              <a:gd name="connsiteY7398" fmla="*/ 4373273 h 5282095"/>
              <a:gd name="connsiteX7399" fmla="*/ 6065240 w 7714416"/>
              <a:gd name="connsiteY7399" fmla="*/ 4377828 h 5282095"/>
              <a:gd name="connsiteX7400" fmla="*/ 6064382 w 7714416"/>
              <a:gd name="connsiteY7400" fmla="*/ 4382938 h 5282095"/>
              <a:gd name="connsiteX7401" fmla="*/ 6063522 w 7714416"/>
              <a:gd name="connsiteY7401" fmla="*/ 4390935 h 5282095"/>
              <a:gd name="connsiteX7402" fmla="*/ 6055214 w 7714416"/>
              <a:gd name="connsiteY7402" fmla="*/ 4391158 h 5282095"/>
              <a:gd name="connsiteX7403" fmla="*/ 6049198 w 7714416"/>
              <a:gd name="connsiteY7403" fmla="*/ 4385048 h 5282095"/>
              <a:gd name="connsiteX7404" fmla="*/ 6048340 w 7714416"/>
              <a:gd name="connsiteY7404" fmla="*/ 4387048 h 5282095"/>
              <a:gd name="connsiteX7405" fmla="*/ 6043183 w 7714416"/>
              <a:gd name="connsiteY7405" fmla="*/ 4388714 h 5282095"/>
              <a:gd name="connsiteX7406" fmla="*/ 6038026 w 7714416"/>
              <a:gd name="connsiteY7406" fmla="*/ 4386269 h 5282095"/>
              <a:gd name="connsiteX7407" fmla="*/ 6036594 w 7714416"/>
              <a:gd name="connsiteY7407" fmla="*/ 4381382 h 5282095"/>
              <a:gd name="connsiteX7408" fmla="*/ 6042896 w 7714416"/>
              <a:gd name="connsiteY7408" fmla="*/ 4378605 h 5282095"/>
              <a:gd name="connsiteX7409" fmla="*/ 6046620 w 7714416"/>
              <a:gd name="connsiteY7409" fmla="*/ 4379383 h 5282095"/>
              <a:gd name="connsiteX7410" fmla="*/ 6046334 w 7714416"/>
              <a:gd name="connsiteY7410" fmla="*/ 4377494 h 5282095"/>
              <a:gd name="connsiteX7411" fmla="*/ 6047194 w 7714416"/>
              <a:gd name="connsiteY7411" fmla="*/ 4369274 h 5282095"/>
              <a:gd name="connsiteX7412" fmla="*/ 6050344 w 7714416"/>
              <a:gd name="connsiteY7412" fmla="*/ 4368386 h 5282095"/>
              <a:gd name="connsiteX7413" fmla="*/ 6046620 w 7714416"/>
              <a:gd name="connsiteY7413" fmla="*/ 4365719 h 5282095"/>
              <a:gd name="connsiteX7414" fmla="*/ 6053496 w 7714416"/>
              <a:gd name="connsiteY7414" fmla="*/ 4359722 h 5282095"/>
              <a:gd name="connsiteX7415" fmla="*/ 2323445 w 7714416"/>
              <a:gd name="connsiteY7415" fmla="*/ 4359499 h 5282095"/>
              <a:gd name="connsiteX7416" fmla="*/ 2334902 w 7714416"/>
              <a:gd name="connsiteY7416" fmla="*/ 4362165 h 5282095"/>
              <a:gd name="connsiteX7417" fmla="*/ 2329746 w 7714416"/>
              <a:gd name="connsiteY7417" fmla="*/ 4369940 h 5282095"/>
              <a:gd name="connsiteX7418" fmla="*/ 2323445 w 7714416"/>
              <a:gd name="connsiteY7418" fmla="*/ 4359499 h 5282095"/>
              <a:gd name="connsiteX7419" fmla="*/ 2488447 w 7714416"/>
              <a:gd name="connsiteY7419" fmla="*/ 4358610 h 5282095"/>
              <a:gd name="connsiteX7420" fmla="*/ 2489307 w 7714416"/>
              <a:gd name="connsiteY7420" fmla="*/ 4359721 h 5282095"/>
              <a:gd name="connsiteX7421" fmla="*/ 2483292 w 7714416"/>
              <a:gd name="connsiteY7421" fmla="*/ 4360943 h 5282095"/>
              <a:gd name="connsiteX7422" fmla="*/ 2488447 w 7714416"/>
              <a:gd name="connsiteY7422" fmla="*/ 4358610 h 5282095"/>
              <a:gd name="connsiteX7423" fmla="*/ 6695462 w 7714416"/>
              <a:gd name="connsiteY7423" fmla="*/ 4357944 h 5282095"/>
              <a:gd name="connsiteX7424" fmla="*/ 6700046 w 7714416"/>
              <a:gd name="connsiteY7424" fmla="*/ 4360832 h 5282095"/>
              <a:gd name="connsiteX7425" fmla="*/ 6696035 w 7714416"/>
              <a:gd name="connsiteY7425" fmla="*/ 4368608 h 5282095"/>
              <a:gd name="connsiteX7426" fmla="*/ 6690879 w 7714416"/>
              <a:gd name="connsiteY7426" fmla="*/ 4372496 h 5282095"/>
              <a:gd name="connsiteX7427" fmla="*/ 6684004 w 7714416"/>
              <a:gd name="connsiteY7427" fmla="*/ 4374050 h 5282095"/>
              <a:gd name="connsiteX7428" fmla="*/ 6672545 w 7714416"/>
              <a:gd name="connsiteY7428" fmla="*/ 4376828 h 5282095"/>
              <a:gd name="connsiteX7429" fmla="*/ 6668821 w 7714416"/>
              <a:gd name="connsiteY7429" fmla="*/ 4371607 h 5282095"/>
              <a:gd name="connsiteX7430" fmla="*/ 6695462 w 7714416"/>
              <a:gd name="connsiteY7430" fmla="*/ 4357944 h 5282095"/>
              <a:gd name="connsiteX7431" fmla="*/ 2782360 w 7714416"/>
              <a:gd name="connsiteY7431" fmla="*/ 4355833 h 5282095"/>
              <a:gd name="connsiteX7432" fmla="*/ 2784365 w 7714416"/>
              <a:gd name="connsiteY7432" fmla="*/ 4357833 h 5282095"/>
              <a:gd name="connsiteX7433" fmla="*/ 2783793 w 7714416"/>
              <a:gd name="connsiteY7433" fmla="*/ 4360388 h 5282095"/>
              <a:gd name="connsiteX7434" fmla="*/ 2784365 w 7714416"/>
              <a:gd name="connsiteY7434" fmla="*/ 4360388 h 5282095"/>
              <a:gd name="connsiteX7435" fmla="*/ 2783792 w 7714416"/>
              <a:gd name="connsiteY7435" fmla="*/ 4360721 h 5282095"/>
              <a:gd name="connsiteX7436" fmla="*/ 2783792 w 7714416"/>
              <a:gd name="connsiteY7436" fmla="*/ 4361832 h 5282095"/>
              <a:gd name="connsiteX7437" fmla="*/ 2785511 w 7714416"/>
              <a:gd name="connsiteY7437" fmla="*/ 4361277 h 5282095"/>
              <a:gd name="connsiteX7438" fmla="*/ 2793818 w 7714416"/>
              <a:gd name="connsiteY7438" fmla="*/ 4362054 h 5282095"/>
              <a:gd name="connsiteX7439" fmla="*/ 2789235 w 7714416"/>
              <a:gd name="connsiteY7439" fmla="*/ 4359610 h 5282095"/>
              <a:gd name="connsiteX7440" fmla="*/ 2786943 w 7714416"/>
              <a:gd name="connsiteY7440" fmla="*/ 4360720 h 5282095"/>
              <a:gd name="connsiteX7441" fmla="*/ 2784366 w 7714416"/>
              <a:gd name="connsiteY7441" fmla="*/ 4360165 h 5282095"/>
              <a:gd name="connsiteX7442" fmla="*/ 2786657 w 7714416"/>
              <a:gd name="connsiteY7442" fmla="*/ 4358277 h 5282095"/>
              <a:gd name="connsiteX7443" fmla="*/ 2785797 w 7714416"/>
              <a:gd name="connsiteY7443" fmla="*/ 4357833 h 5282095"/>
              <a:gd name="connsiteX7444" fmla="*/ 1845621 w 7714416"/>
              <a:gd name="connsiteY7444" fmla="*/ 4354943 h 5282095"/>
              <a:gd name="connsiteX7445" fmla="*/ 1860517 w 7714416"/>
              <a:gd name="connsiteY7445" fmla="*/ 4374384 h 5282095"/>
              <a:gd name="connsiteX7446" fmla="*/ 1845621 w 7714416"/>
              <a:gd name="connsiteY7446" fmla="*/ 4354943 h 5282095"/>
              <a:gd name="connsiteX7447" fmla="*/ 5981593 w 7714416"/>
              <a:gd name="connsiteY7447" fmla="*/ 4354611 h 5282095"/>
              <a:gd name="connsiteX7448" fmla="*/ 5984173 w 7714416"/>
              <a:gd name="connsiteY7448" fmla="*/ 4354833 h 5282095"/>
              <a:gd name="connsiteX7449" fmla="*/ 5989328 w 7714416"/>
              <a:gd name="connsiteY7449" fmla="*/ 4358499 h 5282095"/>
              <a:gd name="connsiteX7450" fmla="*/ 5980448 w 7714416"/>
              <a:gd name="connsiteY7450" fmla="*/ 4363165 h 5282095"/>
              <a:gd name="connsiteX7451" fmla="*/ 5975291 w 7714416"/>
              <a:gd name="connsiteY7451" fmla="*/ 4359499 h 5282095"/>
              <a:gd name="connsiteX7452" fmla="*/ 5981593 w 7714416"/>
              <a:gd name="connsiteY7452" fmla="*/ 4354611 h 5282095"/>
              <a:gd name="connsiteX7453" fmla="*/ 6453686 w 7714416"/>
              <a:gd name="connsiteY7453" fmla="*/ 4353834 h 5282095"/>
              <a:gd name="connsiteX7454" fmla="*/ 6457410 w 7714416"/>
              <a:gd name="connsiteY7454" fmla="*/ 4357610 h 5282095"/>
              <a:gd name="connsiteX7455" fmla="*/ 6448530 w 7714416"/>
              <a:gd name="connsiteY7455" fmla="*/ 4367830 h 5282095"/>
              <a:gd name="connsiteX7456" fmla="*/ 6437358 w 7714416"/>
              <a:gd name="connsiteY7456" fmla="*/ 4364720 h 5282095"/>
              <a:gd name="connsiteX7457" fmla="*/ 6453686 w 7714416"/>
              <a:gd name="connsiteY7457" fmla="*/ 4353834 h 5282095"/>
              <a:gd name="connsiteX7458" fmla="*/ 5774480 w 7714416"/>
              <a:gd name="connsiteY7458" fmla="*/ 4353723 h 5282095"/>
              <a:gd name="connsiteX7459" fmla="*/ 5758724 w 7714416"/>
              <a:gd name="connsiteY7459" fmla="*/ 4364053 h 5282095"/>
              <a:gd name="connsiteX7460" fmla="*/ 5752708 w 7714416"/>
              <a:gd name="connsiteY7460" fmla="*/ 4360166 h 5282095"/>
              <a:gd name="connsiteX7461" fmla="*/ 5774480 w 7714416"/>
              <a:gd name="connsiteY7461" fmla="*/ 4353723 h 5282095"/>
              <a:gd name="connsiteX7462" fmla="*/ 5916853 w 7714416"/>
              <a:gd name="connsiteY7462" fmla="*/ 4352611 h 5282095"/>
              <a:gd name="connsiteX7463" fmla="*/ 5922008 w 7714416"/>
              <a:gd name="connsiteY7463" fmla="*/ 4358277 h 5282095"/>
              <a:gd name="connsiteX7464" fmla="*/ 5921722 w 7714416"/>
              <a:gd name="connsiteY7464" fmla="*/ 4359277 h 5282095"/>
              <a:gd name="connsiteX7465" fmla="*/ 5922868 w 7714416"/>
              <a:gd name="connsiteY7465" fmla="*/ 4358388 h 5282095"/>
              <a:gd name="connsiteX7466" fmla="*/ 5932035 w 7714416"/>
              <a:gd name="connsiteY7466" fmla="*/ 4363498 h 5282095"/>
              <a:gd name="connsiteX7467" fmla="*/ 5932894 w 7714416"/>
              <a:gd name="connsiteY7467" fmla="*/ 4372607 h 5282095"/>
              <a:gd name="connsiteX7468" fmla="*/ 5912269 w 7714416"/>
              <a:gd name="connsiteY7468" fmla="*/ 4369385 h 5282095"/>
              <a:gd name="connsiteX7469" fmla="*/ 5913701 w 7714416"/>
              <a:gd name="connsiteY7469" fmla="*/ 4367274 h 5282095"/>
              <a:gd name="connsiteX7470" fmla="*/ 5909977 w 7714416"/>
              <a:gd name="connsiteY7470" fmla="*/ 4367497 h 5282095"/>
              <a:gd name="connsiteX7471" fmla="*/ 5904535 w 7714416"/>
              <a:gd name="connsiteY7471" fmla="*/ 4366719 h 5282095"/>
              <a:gd name="connsiteX7472" fmla="*/ 5903388 w 7714416"/>
              <a:gd name="connsiteY7472" fmla="*/ 4358277 h 5282095"/>
              <a:gd name="connsiteX7473" fmla="*/ 5907399 w 7714416"/>
              <a:gd name="connsiteY7473" fmla="*/ 4355722 h 5282095"/>
              <a:gd name="connsiteX7474" fmla="*/ 5917425 w 7714416"/>
              <a:gd name="connsiteY7474" fmla="*/ 4353612 h 5282095"/>
              <a:gd name="connsiteX7475" fmla="*/ 5916853 w 7714416"/>
              <a:gd name="connsiteY7475" fmla="*/ 4352611 h 5282095"/>
              <a:gd name="connsiteX7476" fmla="*/ 6028287 w 7714416"/>
              <a:gd name="connsiteY7476" fmla="*/ 4351945 h 5282095"/>
              <a:gd name="connsiteX7477" fmla="*/ 6048626 w 7714416"/>
              <a:gd name="connsiteY7477" fmla="*/ 4354612 h 5282095"/>
              <a:gd name="connsiteX7478" fmla="*/ 6044042 w 7714416"/>
              <a:gd name="connsiteY7478" fmla="*/ 4356056 h 5282095"/>
              <a:gd name="connsiteX7479" fmla="*/ 6023704 w 7714416"/>
              <a:gd name="connsiteY7479" fmla="*/ 4353501 h 5282095"/>
              <a:gd name="connsiteX7480" fmla="*/ 6028287 w 7714416"/>
              <a:gd name="connsiteY7480" fmla="*/ 4351945 h 5282095"/>
              <a:gd name="connsiteX7481" fmla="*/ 6914034 w 7714416"/>
              <a:gd name="connsiteY7481" fmla="*/ 4351390 h 5282095"/>
              <a:gd name="connsiteX7482" fmla="*/ 6916613 w 7714416"/>
              <a:gd name="connsiteY7482" fmla="*/ 4352056 h 5282095"/>
              <a:gd name="connsiteX7483" fmla="*/ 6916899 w 7714416"/>
              <a:gd name="connsiteY7483" fmla="*/ 4354167 h 5282095"/>
              <a:gd name="connsiteX7484" fmla="*/ 6916613 w 7714416"/>
              <a:gd name="connsiteY7484" fmla="*/ 4357944 h 5282095"/>
              <a:gd name="connsiteX7485" fmla="*/ 6914034 w 7714416"/>
              <a:gd name="connsiteY7485" fmla="*/ 4359054 h 5282095"/>
              <a:gd name="connsiteX7486" fmla="*/ 6910024 w 7714416"/>
              <a:gd name="connsiteY7486" fmla="*/ 4359499 h 5282095"/>
              <a:gd name="connsiteX7487" fmla="*/ 6909451 w 7714416"/>
              <a:gd name="connsiteY7487" fmla="*/ 4353612 h 5282095"/>
              <a:gd name="connsiteX7488" fmla="*/ 6914034 w 7714416"/>
              <a:gd name="connsiteY7488" fmla="*/ 4351390 h 5282095"/>
              <a:gd name="connsiteX7489" fmla="*/ 5579970 w 7714416"/>
              <a:gd name="connsiteY7489" fmla="*/ 4349612 h 5282095"/>
              <a:gd name="connsiteX7490" fmla="*/ 5578538 w 7714416"/>
              <a:gd name="connsiteY7490" fmla="*/ 4353500 h 5282095"/>
              <a:gd name="connsiteX7491" fmla="*/ 5585126 w 7714416"/>
              <a:gd name="connsiteY7491" fmla="*/ 4352389 h 5282095"/>
              <a:gd name="connsiteX7492" fmla="*/ 2574100 w 7714416"/>
              <a:gd name="connsiteY7492" fmla="*/ 4348501 h 5282095"/>
              <a:gd name="connsiteX7493" fmla="*/ 2555766 w 7714416"/>
              <a:gd name="connsiteY7493" fmla="*/ 4371274 h 5282095"/>
              <a:gd name="connsiteX7494" fmla="*/ 2554047 w 7714416"/>
              <a:gd name="connsiteY7494" fmla="*/ 4374051 h 5282095"/>
              <a:gd name="connsiteX7495" fmla="*/ 2551469 w 7714416"/>
              <a:gd name="connsiteY7495" fmla="*/ 4373162 h 5282095"/>
              <a:gd name="connsiteX7496" fmla="*/ 2546599 w 7714416"/>
              <a:gd name="connsiteY7496" fmla="*/ 4375273 h 5282095"/>
              <a:gd name="connsiteX7497" fmla="*/ 2547745 w 7714416"/>
              <a:gd name="connsiteY7497" fmla="*/ 4370941 h 5282095"/>
              <a:gd name="connsiteX7498" fmla="*/ 2546314 w 7714416"/>
              <a:gd name="connsiteY7498" fmla="*/ 4368830 h 5282095"/>
              <a:gd name="connsiteX7499" fmla="*/ 2547745 w 7714416"/>
              <a:gd name="connsiteY7499" fmla="*/ 4365276 h 5282095"/>
              <a:gd name="connsiteX7500" fmla="*/ 2550896 w 7714416"/>
              <a:gd name="connsiteY7500" fmla="*/ 4363497 h 5282095"/>
              <a:gd name="connsiteX7501" fmla="*/ 2555193 w 7714416"/>
              <a:gd name="connsiteY7501" fmla="*/ 4357944 h 5282095"/>
              <a:gd name="connsiteX7502" fmla="*/ 2574100 w 7714416"/>
              <a:gd name="connsiteY7502" fmla="*/ 4348501 h 5282095"/>
              <a:gd name="connsiteX7503" fmla="*/ 2349798 w 7714416"/>
              <a:gd name="connsiteY7503" fmla="*/ 4347280 h 5282095"/>
              <a:gd name="connsiteX7504" fmla="*/ 2361258 w 7714416"/>
              <a:gd name="connsiteY7504" fmla="*/ 4355722 h 5282095"/>
              <a:gd name="connsiteX7505" fmla="*/ 2360397 w 7714416"/>
              <a:gd name="connsiteY7505" fmla="*/ 4363720 h 5282095"/>
              <a:gd name="connsiteX7506" fmla="*/ 2362117 w 7714416"/>
              <a:gd name="connsiteY7506" fmla="*/ 4366720 h 5282095"/>
              <a:gd name="connsiteX7507" fmla="*/ 2360684 w 7714416"/>
              <a:gd name="connsiteY7507" fmla="*/ 4367386 h 5282095"/>
              <a:gd name="connsiteX7508" fmla="*/ 2355528 w 7714416"/>
              <a:gd name="connsiteY7508" fmla="*/ 4365942 h 5282095"/>
              <a:gd name="connsiteX7509" fmla="*/ 2355528 w 7714416"/>
              <a:gd name="connsiteY7509" fmla="*/ 4364719 h 5282095"/>
              <a:gd name="connsiteX7510" fmla="*/ 2354382 w 7714416"/>
              <a:gd name="connsiteY7510" fmla="*/ 4364386 h 5282095"/>
              <a:gd name="connsiteX7511" fmla="*/ 2349798 w 7714416"/>
              <a:gd name="connsiteY7511" fmla="*/ 4347280 h 5282095"/>
              <a:gd name="connsiteX7512" fmla="*/ 6182978 w 7714416"/>
              <a:gd name="connsiteY7512" fmla="*/ 4346613 h 5282095"/>
              <a:gd name="connsiteX7513" fmla="*/ 6194722 w 7714416"/>
              <a:gd name="connsiteY7513" fmla="*/ 4349945 h 5282095"/>
              <a:gd name="connsiteX7514" fmla="*/ 6196442 w 7714416"/>
              <a:gd name="connsiteY7514" fmla="*/ 4353501 h 5282095"/>
              <a:gd name="connsiteX7515" fmla="*/ 6194436 w 7714416"/>
              <a:gd name="connsiteY7515" fmla="*/ 4360388 h 5282095"/>
              <a:gd name="connsiteX7516" fmla="*/ 6196155 w 7714416"/>
              <a:gd name="connsiteY7516" fmla="*/ 4360610 h 5282095"/>
              <a:gd name="connsiteX7517" fmla="*/ 6185842 w 7714416"/>
              <a:gd name="connsiteY7517" fmla="*/ 4360832 h 5282095"/>
              <a:gd name="connsiteX7518" fmla="*/ 6182978 w 7714416"/>
              <a:gd name="connsiteY7518" fmla="*/ 4346613 h 5282095"/>
              <a:gd name="connsiteX7519" fmla="*/ 6827522 w 7714416"/>
              <a:gd name="connsiteY7519" fmla="*/ 4346280 h 5282095"/>
              <a:gd name="connsiteX7520" fmla="*/ 6830387 w 7714416"/>
              <a:gd name="connsiteY7520" fmla="*/ 4349279 h 5282095"/>
              <a:gd name="connsiteX7521" fmla="*/ 6822080 w 7714416"/>
              <a:gd name="connsiteY7521" fmla="*/ 4355722 h 5282095"/>
              <a:gd name="connsiteX7522" fmla="*/ 6816636 w 7714416"/>
              <a:gd name="connsiteY7522" fmla="*/ 4354944 h 5282095"/>
              <a:gd name="connsiteX7523" fmla="*/ 6812912 w 7714416"/>
              <a:gd name="connsiteY7523" fmla="*/ 4349835 h 5282095"/>
              <a:gd name="connsiteX7524" fmla="*/ 6827522 w 7714416"/>
              <a:gd name="connsiteY7524" fmla="*/ 4346280 h 5282095"/>
              <a:gd name="connsiteX7525" fmla="*/ 5651586 w 7714416"/>
              <a:gd name="connsiteY7525" fmla="*/ 4343059 h 5282095"/>
              <a:gd name="connsiteX7526" fmla="*/ 5658461 w 7714416"/>
              <a:gd name="connsiteY7526" fmla="*/ 4343059 h 5282095"/>
              <a:gd name="connsiteX7527" fmla="*/ 5670493 w 7714416"/>
              <a:gd name="connsiteY7527" fmla="*/ 4345836 h 5282095"/>
              <a:gd name="connsiteX7528" fmla="*/ 5673930 w 7714416"/>
              <a:gd name="connsiteY7528" fmla="*/ 4346946 h 5282095"/>
              <a:gd name="connsiteX7529" fmla="*/ 5674217 w 7714416"/>
              <a:gd name="connsiteY7529" fmla="*/ 4345836 h 5282095"/>
              <a:gd name="connsiteX7530" fmla="*/ 5675936 w 7714416"/>
              <a:gd name="connsiteY7530" fmla="*/ 4347280 h 5282095"/>
              <a:gd name="connsiteX7531" fmla="*/ 5676222 w 7714416"/>
              <a:gd name="connsiteY7531" fmla="*/ 4347280 h 5282095"/>
              <a:gd name="connsiteX7532" fmla="*/ 5677941 w 7714416"/>
              <a:gd name="connsiteY7532" fmla="*/ 4347502 h 5282095"/>
              <a:gd name="connsiteX7533" fmla="*/ 5683384 w 7714416"/>
              <a:gd name="connsiteY7533" fmla="*/ 4351056 h 5282095"/>
              <a:gd name="connsiteX7534" fmla="*/ 5682238 w 7714416"/>
              <a:gd name="connsiteY7534" fmla="*/ 4353944 h 5282095"/>
              <a:gd name="connsiteX7535" fmla="*/ 5673644 w 7714416"/>
              <a:gd name="connsiteY7535" fmla="*/ 4356500 h 5282095"/>
              <a:gd name="connsiteX7536" fmla="*/ 5673358 w 7714416"/>
              <a:gd name="connsiteY7536" fmla="*/ 4357499 h 5282095"/>
              <a:gd name="connsiteX7537" fmla="*/ 5674789 w 7714416"/>
              <a:gd name="connsiteY7537" fmla="*/ 4358055 h 5282095"/>
              <a:gd name="connsiteX7538" fmla="*/ 5673071 w 7714416"/>
              <a:gd name="connsiteY7538" fmla="*/ 4359832 h 5282095"/>
              <a:gd name="connsiteX7539" fmla="*/ 5672784 w 7714416"/>
              <a:gd name="connsiteY7539" fmla="*/ 4362720 h 5282095"/>
              <a:gd name="connsiteX7540" fmla="*/ 5674217 w 7714416"/>
              <a:gd name="connsiteY7540" fmla="*/ 4371273 h 5282095"/>
              <a:gd name="connsiteX7541" fmla="*/ 5671066 w 7714416"/>
              <a:gd name="connsiteY7541" fmla="*/ 4375939 h 5282095"/>
              <a:gd name="connsiteX7542" fmla="*/ 5675076 w 7714416"/>
              <a:gd name="connsiteY7542" fmla="*/ 4378160 h 5282095"/>
              <a:gd name="connsiteX7543" fmla="*/ 5675363 w 7714416"/>
              <a:gd name="connsiteY7543" fmla="*/ 4381604 h 5282095"/>
              <a:gd name="connsiteX7544" fmla="*/ 5675936 w 7714416"/>
              <a:gd name="connsiteY7544" fmla="*/ 4382493 h 5282095"/>
              <a:gd name="connsiteX7545" fmla="*/ 5675363 w 7714416"/>
              <a:gd name="connsiteY7545" fmla="*/ 4381826 h 5282095"/>
              <a:gd name="connsiteX7546" fmla="*/ 5675936 w 7714416"/>
              <a:gd name="connsiteY7546" fmla="*/ 4384604 h 5282095"/>
              <a:gd name="connsiteX7547" fmla="*/ 5669347 w 7714416"/>
              <a:gd name="connsiteY7547" fmla="*/ 4383826 h 5282095"/>
              <a:gd name="connsiteX7548" fmla="*/ 5669060 w 7714416"/>
              <a:gd name="connsiteY7548" fmla="*/ 4383937 h 5282095"/>
              <a:gd name="connsiteX7549" fmla="*/ 5668488 w 7714416"/>
              <a:gd name="connsiteY7549" fmla="*/ 4383826 h 5282095"/>
              <a:gd name="connsiteX7550" fmla="*/ 5667915 w 7714416"/>
              <a:gd name="connsiteY7550" fmla="*/ 4383715 h 5282095"/>
              <a:gd name="connsiteX7551" fmla="*/ 5667342 w 7714416"/>
              <a:gd name="connsiteY7551" fmla="*/ 4383382 h 5282095"/>
              <a:gd name="connsiteX7552" fmla="*/ 5662472 w 7714416"/>
              <a:gd name="connsiteY7552" fmla="*/ 4382049 h 5282095"/>
              <a:gd name="connsiteX7553" fmla="*/ 5659034 w 7714416"/>
              <a:gd name="connsiteY7553" fmla="*/ 4378716 h 5282095"/>
              <a:gd name="connsiteX7554" fmla="*/ 5661612 w 7714416"/>
              <a:gd name="connsiteY7554" fmla="*/ 4376495 h 5282095"/>
              <a:gd name="connsiteX7555" fmla="*/ 5657316 w 7714416"/>
              <a:gd name="connsiteY7555" fmla="*/ 4376272 h 5282095"/>
              <a:gd name="connsiteX7556" fmla="*/ 5653018 w 7714416"/>
              <a:gd name="connsiteY7556" fmla="*/ 4374494 h 5282095"/>
              <a:gd name="connsiteX7557" fmla="*/ 5647862 w 7714416"/>
              <a:gd name="connsiteY7557" fmla="*/ 4370052 h 5282095"/>
              <a:gd name="connsiteX7558" fmla="*/ 5645570 w 7714416"/>
              <a:gd name="connsiteY7558" fmla="*/ 4372273 h 5282095"/>
              <a:gd name="connsiteX7559" fmla="*/ 5641560 w 7714416"/>
              <a:gd name="connsiteY7559" fmla="*/ 4373718 h 5282095"/>
              <a:gd name="connsiteX7560" fmla="*/ 5637550 w 7714416"/>
              <a:gd name="connsiteY7560" fmla="*/ 4373051 h 5282095"/>
              <a:gd name="connsiteX7561" fmla="*/ 5636976 w 7714416"/>
              <a:gd name="connsiteY7561" fmla="*/ 4371941 h 5282095"/>
              <a:gd name="connsiteX7562" fmla="*/ 5635258 w 7714416"/>
              <a:gd name="connsiteY7562" fmla="*/ 4367608 h 5282095"/>
              <a:gd name="connsiteX7563" fmla="*/ 5638695 w 7714416"/>
              <a:gd name="connsiteY7563" fmla="*/ 4364609 h 5282095"/>
              <a:gd name="connsiteX7564" fmla="*/ 5642419 w 7714416"/>
              <a:gd name="connsiteY7564" fmla="*/ 4363498 h 5282095"/>
              <a:gd name="connsiteX7565" fmla="*/ 5641846 w 7714416"/>
              <a:gd name="connsiteY7565" fmla="*/ 4362054 h 5282095"/>
              <a:gd name="connsiteX7566" fmla="*/ 5646716 w 7714416"/>
              <a:gd name="connsiteY7566" fmla="*/ 4352389 h 5282095"/>
              <a:gd name="connsiteX7567" fmla="*/ 5648435 w 7714416"/>
              <a:gd name="connsiteY7567" fmla="*/ 4352612 h 5282095"/>
              <a:gd name="connsiteX7568" fmla="*/ 5645570 w 7714416"/>
              <a:gd name="connsiteY7568" fmla="*/ 4345169 h 5282095"/>
              <a:gd name="connsiteX7569" fmla="*/ 5651586 w 7714416"/>
              <a:gd name="connsiteY7569" fmla="*/ 4343059 h 5282095"/>
              <a:gd name="connsiteX7570" fmla="*/ 5476843 w 7714416"/>
              <a:gd name="connsiteY7570" fmla="*/ 4342614 h 5282095"/>
              <a:gd name="connsiteX7571" fmla="*/ 5483432 w 7714416"/>
              <a:gd name="connsiteY7571" fmla="*/ 4350057 h 5282095"/>
              <a:gd name="connsiteX7572" fmla="*/ 5477989 w 7714416"/>
              <a:gd name="connsiteY7572" fmla="*/ 4373940 h 5282095"/>
              <a:gd name="connsiteX7573" fmla="*/ 5476843 w 7714416"/>
              <a:gd name="connsiteY7573" fmla="*/ 4342614 h 5282095"/>
              <a:gd name="connsiteX7574" fmla="*/ 5697994 w 7714416"/>
              <a:gd name="connsiteY7574" fmla="*/ 4339837 h 5282095"/>
              <a:gd name="connsiteX7575" fmla="*/ 5713462 w 7714416"/>
              <a:gd name="connsiteY7575" fmla="*/ 4349279 h 5282095"/>
              <a:gd name="connsiteX7576" fmla="*/ 5709738 w 7714416"/>
              <a:gd name="connsiteY7576" fmla="*/ 4355389 h 5282095"/>
              <a:gd name="connsiteX7577" fmla="*/ 5689686 w 7714416"/>
              <a:gd name="connsiteY7577" fmla="*/ 4342836 h 5282095"/>
              <a:gd name="connsiteX7578" fmla="*/ 5697994 w 7714416"/>
              <a:gd name="connsiteY7578" fmla="*/ 4339837 h 5282095"/>
              <a:gd name="connsiteX7579" fmla="*/ 6859034 w 7714416"/>
              <a:gd name="connsiteY7579" fmla="*/ 4332728 h 5282095"/>
              <a:gd name="connsiteX7580" fmla="*/ 6862184 w 7714416"/>
              <a:gd name="connsiteY7580" fmla="*/ 4333505 h 5282095"/>
              <a:gd name="connsiteX7581" fmla="*/ 6862758 w 7714416"/>
              <a:gd name="connsiteY7581" fmla="*/ 4342614 h 5282095"/>
              <a:gd name="connsiteX7582" fmla="*/ 6856742 w 7714416"/>
              <a:gd name="connsiteY7582" fmla="*/ 4333394 h 5282095"/>
              <a:gd name="connsiteX7583" fmla="*/ 6859034 w 7714416"/>
              <a:gd name="connsiteY7583" fmla="*/ 4332728 h 5282095"/>
              <a:gd name="connsiteX7584" fmla="*/ 2292220 w 7714416"/>
              <a:gd name="connsiteY7584" fmla="*/ 4331728 h 5282095"/>
              <a:gd name="connsiteX7585" fmla="*/ 2302533 w 7714416"/>
              <a:gd name="connsiteY7585" fmla="*/ 4333839 h 5282095"/>
              <a:gd name="connsiteX7586" fmla="*/ 2303392 w 7714416"/>
              <a:gd name="connsiteY7586" fmla="*/ 4338727 h 5282095"/>
              <a:gd name="connsiteX7587" fmla="*/ 2282479 w 7714416"/>
              <a:gd name="connsiteY7587" fmla="*/ 4341948 h 5282095"/>
              <a:gd name="connsiteX7588" fmla="*/ 2282193 w 7714416"/>
              <a:gd name="connsiteY7588" fmla="*/ 4334616 h 5282095"/>
              <a:gd name="connsiteX7589" fmla="*/ 2292220 w 7714416"/>
              <a:gd name="connsiteY7589" fmla="*/ 4331728 h 5282095"/>
              <a:gd name="connsiteX7590" fmla="*/ 6268058 w 7714416"/>
              <a:gd name="connsiteY7590" fmla="*/ 4330839 h 5282095"/>
              <a:gd name="connsiteX7591" fmla="*/ 6270636 w 7714416"/>
              <a:gd name="connsiteY7591" fmla="*/ 4332728 h 5282095"/>
              <a:gd name="connsiteX7592" fmla="*/ 6270349 w 7714416"/>
              <a:gd name="connsiteY7592" fmla="*/ 4336616 h 5282095"/>
              <a:gd name="connsiteX7593" fmla="*/ 6264047 w 7714416"/>
              <a:gd name="connsiteY7593" fmla="*/ 4339393 h 5282095"/>
              <a:gd name="connsiteX7594" fmla="*/ 6261469 w 7714416"/>
              <a:gd name="connsiteY7594" fmla="*/ 4337504 h 5282095"/>
              <a:gd name="connsiteX7595" fmla="*/ 6260323 w 7714416"/>
              <a:gd name="connsiteY7595" fmla="*/ 4334061 h 5282095"/>
              <a:gd name="connsiteX7596" fmla="*/ 6268058 w 7714416"/>
              <a:gd name="connsiteY7596" fmla="*/ 4330839 h 5282095"/>
              <a:gd name="connsiteX7597" fmla="*/ 6523584 w 7714416"/>
              <a:gd name="connsiteY7597" fmla="*/ 4329729 h 5282095"/>
              <a:gd name="connsiteX7598" fmla="*/ 6525876 w 7714416"/>
              <a:gd name="connsiteY7598" fmla="*/ 4330284 h 5282095"/>
              <a:gd name="connsiteX7599" fmla="*/ 6527594 w 7714416"/>
              <a:gd name="connsiteY7599" fmla="*/ 4333839 h 5282095"/>
              <a:gd name="connsiteX7600" fmla="*/ 6525589 w 7714416"/>
              <a:gd name="connsiteY7600" fmla="*/ 4337172 h 5282095"/>
              <a:gd name="connsiteX7601" fmla="*/ 6523011 w 7714416"/>
              <a:gd name="connsiteY7601" fmla="*/ 4337504 h 5282095"/>
              <a:gd name="connsiteX7602" fmla="*/ 6519001 w 7714416"/>
              <a:gd name="connsiteY7602" fmla="*/ 4336726 h 5282095"/>
              <a:gd name="connsiteX7603" fmla="*/ 6521006 w 7714416"/>
              <a:gd name="connsiteY7603" fmla="*/ 4331061 h 5282095"/>
              <a:gd name="connsiteX7604" fmla="*/ 6523584 w 7714416"/>
              <a:gd name="connsiteY7604" fmla="*/ 4329729 h 5282095"/>
              <a:gd name="connsiteX7605" fmla="*/ 2519959 w 7714416"/>
              <a:gd name="connsiteY7605" fmla="*/ 4329173 h 5282095"/>
              <a:gd name="connsiteX7606" fmla="*/ 2528267 w 7714416"/>
              <a:gd name="connsiteY7606" fmla="*/ 4330951 h 5282095"/>
              <a:gd name="connsiteX7607" fmla="*/ 2511937 w 7714416"/>
              <a:gd name="connsiteY7607" fmla="*/ 4332728 h 5282095"/>
              <a:gd name="connsiteX7608" fmla="*/ 2519959 w 7714416"/>
              <a:gd name="connsiteY7608" fmla="*/ 4329173 h 5282095"/>
              <a:gd name="connsiteX7609" fmla="*/ 6966458 w 7714416"/>
              <a:gd name="connsiteY7609" fmla="*/ 4327840 h 5282095"/>
              <a:gd name="connsiteX7610" fmla="*/ 6973332 w 7714416"/>
              <a:gd name="connsiteY7610" fmla="*/ 4340837 h 5282095"/>
              <a:gd name="connsiteX7611" fmla="*/ 6952708 w 7714416"/>
              <a:gd name="connsiteY7611" fmla="*/ 4333839 h 5282095"/>
              <a:gd name="connsiteX7612" fmla="*/ 6966458 w 7714416"/>
              <a:gd name="connsiteY7612" fmla="*/ 4327840 h 5282095"/>
              <a:gd name="connsiteX7613" fmla="*/ 6749031 w 7714416"/>
              <a:gd name="connsiteY7613" fmla="*/ 4327396 h 5282095"/>
              <a:gd name="connsiteX7614" fmla="*/ 6714942 w 7714416"/>
              <a:gd name="connsiteY7614" fmla="*/ 4342503 h 5282095"/>
              <a:gd name="connsiteX7615" fmla="*/ 6728979 w 7714416"/>
              <a:gd name="connsiteY7615" fmla="*/ 4331506 h 5282095"/>
              <a:gd name="connsiteX7616" fmla="*/ 6749031 w 7714416"/>
              <a:gd name="connsiteY7616" fmla="*/ 4327396 h 5282095"/>
              <a:gd name="connsiteX7617" fmla="*/ 2392768 w 7714416"/>
              <a:gd name="connsiteY7617" fmla="*/ 4326729 h 5282095"/>
              <a:gd name="connsiteX7618" fmla="*/ 2441180 w 7714416"/>
              <a:gd name="connsiteY7618" fmla="*/ 4328062 h 5282095"/>
              <a:gd name="connsiteX7619" fmla="*/ 2456078 w 7714416"/>
              <a:gd name="connsiteY7619" fmla="*/ 4332172 h 5282095"/>
              <a:gd name="connsiteX7620" fmla="*/ 2409097 w 7714416"/>
              <a:gd name="connsiteY7620" fmla="*/ 4368052 h 5282095"/>
              <a:gd name="connsiteX7621" fmla="*/ 2392768 w 7714416"/>
              <a:gd name="connsiteY7621" fmla="*/ 4326729 h 5282095"/>
              <a:gd name="connsiteX7622" fmla="*/ 5925160 w 7714416"/>
              <a:gd name="connsiteY7622" fmla="*/ 4324841 h 5282095"/>
              <a:gd name="connsiteX7623" fmla="*/ 5930602 w 7714416"/>
              <a:gd name="connsiteY7623" fmla="*/ 4326174 h 5282095"/>
              <a:gd name="connsiteX7624" fmla="*/ 5932035 w 7714416"/>
              <a:gd name="connsiteY7624" fmla="*/ 4327396 h 5282095"/>
              <a:gd name="connsiteX7625" fmla="*/ 5933754 w 7714416"/>
              <a:gd name="connsiteY7625" fmla="*/ 4327395 h 5282095"/>
              <a:gd name="connsiteX7626" fmla="*/ 5934040 w 7714416"/>
              <a:gd name="connsiteY7626" fmla="*/ 4328618 h 5282095"/>
              <a:gd name="connsiteX7627" fmla="*/ 5937478 w 7714416"/>
              <a:gd name="connsiteY7627" fmla="*/ 4331061 h 5282095"/>
              <a:gd name="connsiteX7628" fmla="*/ 5948077 w 7714416"/>
              <a:gd name="connsiteY7628" fmla="*/ 4334727 h 5282095"/>
              <a:gd name="connsiteX7629" fmla="*/ 5955238 w 7714416"/>
              <a:gd name="connsiteY7629" fmla="*/ 4342058 h 5282095"/>
              <a:gd name="connsiteX7630" fmla="*/ 5952088 w 7714416"/>
              <a:gd name="connsiteY7630" fmla="*/ 4344280 h 5282095"/>
              <a:gd name="connsiteX7631" fmla="*/ 5955525 w 7714416"/>
              <a:gd name="connsiteY7631" fmla="*/ 4346724 h 5282095"/>
              <a:gd name="connsiteX7632" fmla="*/ 5960968 w 7714416"/>
              <a:gd name="connsiteY7632" fmla="*/ 4353500 h 5282095"/>
              <a:gd name="connsiteX7633" fmla="*/ 5956670 w 7714416"/>
              <a:gd name="connsiteY7633" fmla="*/ 4359388 h 5282095"/>
              <a:gd name="connsiteX7634" fmla="*/ 5960108 w 7714416"/>
              <a:gd name="connsiteY7634" fmla="*/ 4360721 h 5282095"/>
              <a:gd name="connsiteX7635" fmla="*/ 5959250 w 7714416"/>
              <a:gd name="connsiteY7635" fmla="*/ 4367497 h 5282095"/>
              <a:gd name="connsiteX7636" fmla="*/ 5941202 w 7714416"/>
              <a:gd name="connsiteY7636" fmla="*/ 4365942 h 5282095"/>
              <a:gd name="connsiteX7637" fmla="*/ 5942061 w 7714416"/>
              <a:gd name="connsiteY7637" fmla="*/ 4364719 h 5282095"/>
              <a:gd name="connsiteX7638" fmla="*/ 5940056 w 7714416"/>
              <a:gd name="connsiteY7638" fmla="*/ 4364609 h 5282095"/>
              <a:gd name="connsiteX7639" fmla="*/ 5934613 w 7714416"/>
              <a:gd name="connsiteY7639" fmla="*/ 4362275 h 5282095"/>
              <a:gd name="connsiteX7640" fmla="*/ 5930030 w 7714416"/>
              <a:gd name="connsiteY7640" fmla="*/ 4347058 h 5282095"/>
              <a:gd name="connsiteX7641" fmla="*/ 5944926 w 7714416"/>
              <a:gd name="connsiteY7641" fmla="*/ 4341725 h 5282095"/>
              <a:gd name="connsiteX7642" fmla="*/ 5943494 w 7714416"/>
              <a:gd name="connsiteY7642" fmla="*/ 4341614 h 5282095"/>
              <a:gd name="connsiteX7643" fmla="*/ 5925160 w 7714416"/>
              <a:gd name="connsiteY7643" fmla="*/ 4324841 h 5282095"/>
              <a:gd name="connsiteX7644" fmla="*/ 6076987 w 7714416"/>
              <a:gd name="connsiteY7644" fmla="*/ 4324841 h 5282095"/>
              <a:gd name="connsiteX7645" fmla="*/ 6097324 w 7714416"/>
              <a:gd name="connsiteY7645" fmla="*/ 4325951 h 5282095"/>
              <a:gd name="connsiteX7646" fmla="*/ 6101335 w 7714416"/>
              <a:gd name="connsiteY7646" fmla="*/ 4328618 h 5282095"/>
              <a:gd name="connsiteX7647" fmla="*/ 6103054 w 7714416"/>
              <a:gd name="connsiteY7647" fmla="*/ 4331839 h 5282095"/>
              <a:gd name="connsiteX7648" fmla="*/ 6098470 w 7714416"/>
              <a:gd name="connsiteY7648" fmla="*/ 4334060 h 5282095"/>
              <a:gd name="connsiteX7649" fmla="*/ 6095892 w 7714416"/>
              <a:gd name="connsiteY7649" fmla="*/ 4333839 h 5282095"/>
              <a:gd name="connsiteX7650" fmla="*/ 6092168 w 7714416"/>
              <a:gd name="connsiteY7650" fmla="*/ 4339059 h 5282095"/>
              <a:gd name="connsiteX7651" fmla="*/ 6074980 w 7714416"/>
              <a:gd name="connsiteY7651" fmla="*/ 4332394 h 5282095"/>
              <a:gd name="connsiteX7652" fmla="*/ 6077845 w 7714416"/>
              <a:gd name="connsiteY7652" fmla="*/ 4327618 h 5282095"/>
              <a:gd name="connsiteX7653" fmla="*/ 6078132 w 7714416"/>
              <a:gd name="connsiteY7653" fmla="*/ 4327395 h 5282095"/>
              <a:gd name="connsiteX7654" fmla="*/ 6211051 w 7714416"/>
              <a:gd name="connsiteY7654" fmla="*/ 4324619 h 5282095"/>
              <a:gd name="connsiteX7655" fmla="*/ 6231390 w 7714416"/>
              <a:gd name="connsiteY7655" fmla="*/ 4332172 h 5282095"/>
              <a:gd name="connsiteX7656" fmla="*/ 6235687 w 7714416"/>
              <a:gd name="connsiteY7656" fmla="*/ 4352278 h 5282095"/>
              <a:gd name="connsiteX7657" fmla="*/ 6217355 w 7714416"/>
              <a:gd name="connsiteY7657" fmla="*/ 4356055 h 5282095"/>
              <a:gd name="connsiteX7658" fmla="*/ 6206468 w 7714416"/>
              <a:gd name="connsiteY7658" fmla="*/ 4352278 h 5282095"/>
              <a:gd name="connsiteX7659" fmla="*/ 6203890 w 7714416"/>
              <a:gd name="connsiteY7659" fmla="*/ 4331062 h 5282095"/>
              <a:gd name="connsiteX7660" fmla="*/ 6207327 w 7714416"/>
              <a:gd name="connsiteY7660" fmla="*/ 4329062 h 5282095"/>
              <a:gd name="connsiteX7661" fmla="*/ 6211051 w 7714416"/>
              <a:gd name="connsiteY7661" fmla="*/ 4324619 h 5282095"/>
              <a:gd name="connsiteX7662" fmla="*/ 6027141 w 7714416"/>
              <a:gd name="connsiteY7662" fmla="*/ 4324064 h 5282095"/>
              <a:gd name="connsiteX7663" fmla="*/ 6034016 w 7714416"/>
              <a:gd name="connsiteY7663" fmla="*/ 4351168 h 5282095"/>
              <a:gd name="connsiteX7664" fmla="*/ 6024563 w 7714416"/>
              <a:gd name="connsiteY7664" fmla="*/ 4337949 h 5282095"/>
              <a:gd name="connsiteX7665" fmla="*/ 6024850 w 7714416"/>
              <a:gd name="connsiteY7665" fmla="*/ 4336838 h 5282095"/>
              <a:gd name="connsiteX7666" fmla="*/ 6020839 w 7714416"/>
              <a:gd name="connsiteY7666" fmla="*/ 4334505 h 5282095"/>
              <a:gd name="connsiteX7667" fmla="*/ 6023991 w 7714416"/>
              <a:gd name="connsiteY7667" fmla="*/ 4327395 h 5282095"/>
              <a:gd name="connsiteX7668" fmla="*/ 6026568 w 7714416"/>
              <a:gd name="connsiteY7668" fmla="*/ 4326841 h 5282095"/>
              <a:gd name="connsiteX7669" fmla="*/ 1919243 w 7714416"/>
              <a:gd name="connsiteY7669" fmla="*/ 4322064 h 5282095"/>
              <a:gd name="connsiteX7670" fmla="*/ 1924112 w 7714416"/>
              <a:gd name="connsiteY7670" fmla="*/ 4322619 h 5282095"/>
              <a:gd name="connsiteX7671" fmla="*/ 1918383 w 7714416"/>
              <a:gd name="connsiteY7671" fmla="*/ 4325062 h 5282095"/>
              <a:gd name="connsiteX7672" fmla="*/ 1914086 w 7714416"/>
              <a:gd name="connsiteY7672" fmla="*/ 4322619 h 5282095"/>
              <a:gd name="connsiteX7673" fmla="*/ 1919243 w 7714416"/>
              <a:gd name="connsiteY7673" fmla="*/ 4322064 h 5282095"/>
              <a:gd name="connsiteX7674" fmla="*/ 1926404 w 7714416"/>
              <a:gd name="connsiteY7674" fmla="*/ 4320509 h 5282095"/>
              <a:gd name="connsiteX7675" fmla="*/ 1928124 w 7714416"/>
              <a:gd name="connsiteY7675" fmla="*/ 4320953 h 5282095"/>
              <a:gd name="connsiteX7676" fmla="*/ 1925258 w 7714416"/>
              <a:gd name="connsiteY7676" fmla="*/ 4322286 h 5282095"/>
              <a:gd name="connsiteX7677" fmla="*/ 1924113 w 7714416"/>
              <a:gd name="connsiteY7677" fmla="*/ 4321287 h 5282095"/>
              <a:gd name="connsiteX7678" fmla="*/ 1926404 w 7714416"/>
              <a:gd name="connsiteY7678" fmla="*/ 4320509 h 5282095"/>
              <a:gd name="connsiteX7679" fmla="*/ 5894222 w 7714416"/>
              <a:gd name="connsiteY7679" fmla="*/ 4320397 h 5282095"/>
              <a:gd name="connsiteX7680" fmla="*/ 5887346 w 7714416"/>
              <a:gd name="connsiteY7680" fmla="*/ 4333283 h 5282095"/>
              <a:gd name="connsiteX7681" fmla="*/ 5901096 w 7714416"/>
              <a:gd name="connsiteY7681" fmla="*/ 4342392 h 5282095"/>
              <a:gd name="connsiteX7682" fmla="*/ 5901096 w 7714416"/>
              <a:gd name="connsiteY7682" fmla="*/ 4350279 h 5282095"/>
              <a:gd name="connsiteX7683" fmla="*/ 5873882 w 7714416"/>
              <a:gd name="connsiteY7683" fmla="*/ 4361832 h 5282095"/>
              <a:gd name="connsiteX7684" fmla="*/ 5869586 w 7714416"/>
              <a:gd name="connsiteY7684" fmla="*/ 4360720 h 5282095"/>
              <a:gd name="connsiteX7685" fmla="*/ 5862138 w 7714416"/>
              <a:gd name="connsiteY7685" fmla="*/ 4360720 h 5282095"/>
              <a:gd name="connsiteX7686" fmla="*/ 5861564 w 7714416"/>
              <a:gd name="connsiteY7686" fmla="*/ 4354167 h 5282095"/>
              <a:gd name="connsiteX7687" fmla="*/ 5852684 w 7714416"/>
              <a:gd name="connsiteY7687" fmla="*/ 4361387 h 5282095"/>
              <a:gd name="connsiteX7688" fmla="*/ 5871304 w 7714416"/>
              <a:gd name="connsiteY7688" fmla="*/ 4332839 h 5282095"/>
              <a:gd name="connsiteX7689" fmla="*/ 5871591 w 7714416"/>
              <a:gd name="connsiteY7689" fmla="*/ 4335727 h 5282095"/>
              <a:gd name="connsiteX7690" fmla="*/ 5873596 w 7714416"/>
              <a:gd name="connsiteY7690" fmla="*/ 4334616 h 5282095"/>
              <a:gd name="connsiteX7691" fmla="*/ 5880759 w 7714416"/>
              <a:gd name="connsiteY7691" fmla="*/ 4333061 h 5282095"/>
              <a:gd name="connsiteX7692" fmla="*/ 5885341 w 7714416"/>
              <a:gd name="connsiteY7692" fmla="*/ 4333172 h 5282095"/>
              <a:gd name="connsiteX7693" fmla="*/ 5877606 w 7714416"/>
              <a:gd name="connsiteY7693" fmla="*/ 4328618 h 5282095"/>
              <a:gd name="connsiteX7694" fmla="*/ 5870732 w 7714416"/>
              <a:gd name="connsiteY7694" fmla="*/ 4321953 h 5282095"/>
              <a:gd name="connsiteX7695" fmla="*/ 5894222 w 7714416"/>
              <a:gd name="connsiteY7695" fmla="*/ 4320397 h 5282095"/>
              <a:gd name="connsiteX7696" fmla="*/ 6745880 w 7714416"/>
              <a:gd name="connsiteY7696" fmla="*/ 4319843 h 5282095"/>
              <a:gd name="connsiteX7697" fmla="*/ 6777391 w 7714416"/>
              <a:gd name="connsiteY7697" fmla="*/ 4342948 h 5282095"/>
              <a:gd name="connsiteX7698" fmla="*/ 6745880 w 7714416"/>
              <a:gd name="connsiteY7698" fmla="*/ 4319843 h 5282095"/>
              <a:gd name="connsiteX7699" fmla="*/ 6153472 w 7714416"/>
              <a:gd name="connsiteY7699" fmla="*/ 4319620 h 5282095"/>
              <a:gd name="connsiteX7700" fmla="*/ 6154905 w 7714416"/>
              <a:gd name="connsiteY7700" fmla="*/ 4321286 h 5282095"/>
              <a:gd name="connsiteX7701" fmla="*/ 6151753 w 7714416"/>
              <a:gd name="connsiteY7701" fmla="*/ 4319730 h 5282095"/>
              <a:gd name="connsiteX7702" fmla="*/ 6153472 w 7714416"/>
              <a:gd name="connsiteY7702" fmla="*/ 4319620 h 5282095"/>
              <a:gd name="connsiteX7703" fmla="*/ 7262662 w 7714416"/>
              <a:gd name="connsiteY7703" fmla="*/ 4319287 h 5282095"/>
              <a:gd name="connsiteX7704" fmla="*/ 7267532 w 7714416"/>
              <a:gd name="connsiteY7704" fmla="*/ 4320176 h 5282095"/>
              <a:gd name="connsiteX7705" fmla="*/ 7272687 w 7714416"/>
              <a:gd name="connsiteY7705" fmla="*/ 4327729 h 5282095"/>
              <a:gd name="connsiteX7706" fmla="*/ 7263808 w 7714416"/>
              <a:gd name="connsiteY7706" fmla="*/ 4334282 h 5282095"/>
              <a:gd name="connsiteX7707" fmla="*/ 7256073 w 7714416"/>
              <a:gd name="connsiteY7707" fmla="*/ 4320731 h 5282095"/>
              <a:gd name="connsiteX7708" fmla="*/ 7262662 w 7714416"/>
              <a:gd name="connsiteY7708" fmla="*/ 4319287 h 5282095"/>
              <a:gd name="connsiteX7709" fmla="*/ 5751848 w 7714416"/>
              <a:gd name="connsiteY7709" fmla="*/ 4318842 h 5282095"/>
              <a:gd name="connsiteX7710" fmla="*/ 5758438 w 7714416"/>
              <a:gd name="connsiteY7710" fmla="*/ 4320398 h 5282095"/>
              <a:gd name="connsiteX7711" fmla="*/ 5757578 w 7714416"/>
              <a:gd name="connsiteY7711" fmla="*/ 4325729 h 5282095"/>
              <a:gd name="connsiteX7712" fmla="*/ 5759297 w 7714416"/>
              <a:gd name="connsiteY7712" fmla="*/ 4329061 h 5282095"/>
              <a:gd name="connsiteX7713" fmla="*/ 5763594 w 7714416"/>
              <a:gd name="connsiteY7713" fmla="*/ 4336282 h 5282095"/>
              <a:gd name="connsiteX7714" fmla="*/ 5756432 w 7714416"/>
              <a:gd name="connsiteY7714" fmla="*/ 4339948 h 5282095"/>
              <a:gd name="connsiteX7715" fmla="*/ 5736093 w 7714416"/>
              <a:gd name="connsiteY7715" fmla="*/ 4324285 h 5282095"/>
              <a:gd name="connsiteX7716" fmla="*/ 5744114 w 7714416"/>
              <a:gd name="connsiteY7716" fmla="*/ 4320509 h 5282095"/>
              <a:gd name="connsiteX7717" fmla="*/ 5749557 w 7714416"/>
              <a:gd name="connsiteY7717" fmla="*/ 4321397 h 5282095"/>
              <a:gd name="connsiteX7718" fmla="*/ 1934998 w 7714416"/>
              <a:gd name="connsiteY7718" fmla="*/ 4317843 h 5282095"/>
              <a:gd name="connsiteX7719" fmla="*/ 1934425 w 7714416"/>
              <a:gd name="connsiteY7719" fmla="*/ 4319398 h 5282095"/>
              <a:gd name="connsiteX7720" fmla="*/ 1931274 w 7714416"/>
              <a:gd name="connsiteY7720" fmla="*/ 4318287 h 5282095"/>
              <a:gd name="connsiteX7721" fmla="*/ 1934998 w 7714416"/>
              <a:gd name="connsiteY7721" fmla="*/ 4317843 h 5282095"/>
              <a:gd name="connsiteX7722" fmla="*/ 6192145 w 7714416"/>
              <a:gd name="connsiteY7722" fmla="*/ 4315954 h 5282095"/>
              <a:gd name="connsiteX7723" fmla="*/ 6183837 w 7714416"/>
              <a:gd name="connsiteY7723" fmla="*/ 4322619 h 5282095"/>
              <a:gd name="connsiteX7724" fmla="*/ 6183550 w 7714416"/>
              <a:gd name="connsiteY7724" fmla="*/ 4326285 h 5282095"/>
              <a:gd name="connsiteX7725" fmla="*/ 6174384 w 7714416"/>
              <a:gd name="connsiteY7725" fmla="*/ 4330950 h 5282095"/>
              <a:gd name="connsiteX7726" fmla="*/ 6172378 w 7714416"/>
              <a:gd name="connsiteY7726" fmla="*/ 4325508 h 5282095"/>
              <a:gd name="connsiteX7727" fmla="*/ 6184696 w 7714416"/>
              <a:gd name="connsiteY7727" fmla="*/ 4320064 h 5282095"/>
              <a:gd name="connsiteX7728" fmla="*/ 6192145 w 7714416"/>
              <a:gd name="connsiteY7728" fmla="*/ 4315954 h 5282095"/>
              <a:gd name="connsiteX7729" fmla="*/ 1823564 w 7714416"/>
              <a:gd name="connsiteY7729" fmla="*/ 4315399 h 5282095"/>
              <a:gd name="connsiteX7730" fmla="*/ 1832731 w 7714416"/>
              <a:gd name="connsiteY7730" fmla="*/ 4321953 h 5282095"/>
              <a:gd name="connsiteX7731" fmla="*/ 1833876 w 7714416"/>
              <a:gd name="connsiteY7731" fmla="*/ 4328840 h 5282095"/>
              <a:gd name="connsiteX7732" fmla="*/ 1824137 w 7714416"/>
              <a:gd name="connsiteY7732" fmla="*/ 4336949 h 5282095"/>
              <a:gd name="connsiteX7733" fmla="*/ 1817261 w 7714416"/>
              <a:gd name="connsiteY7733" fmla="*/ 4332950 h 5282095"/>
              <a:gd name="connsiteX7734" fmla="*/ 1819267 w 7714416"/>
              <a:gd name="connsiteY7734" fmla="*/ 4315621 h 5282095"/>
              <a:gd name="connsiteX7735" fmla="*/ 1823564 w 7714416"/>
              <a:gd name="connsiteY7735" fmla="*/ 4315399 h 5282095"/>
              <a:gd name="connsiteX7736" fmla="*/ 5865288 w 7714416"/>
              <a:gd name="connsiteY7736" fmla="*/ 4314399 h 5282095"/>
              <a:gd name="connsiteX7737" fmla="*/ 5874456 w 7714416"/>
              <a:gd name="connsiteY7737" fmla="*/ 4319287 h 5282095"/>
              <a:gd name="connsiteX7738" fmla="*/ 5863284 w 7714416"/>
              <a:gd name="connsiteY7738" fmla="*/ 4323508 h 5282095"/>
              <a:gd name="connsiteX7739" fmla="*/ 5865288 w 7714416"/>
              <a:gd name="connsiteY7739" fmla="*/ 4314399 h 5282095"/>
              <a:gd name="connsiteX7740" fmla="*/ 2223755 w 7714416"/>
              <a:gd name="connsiteY7740" fmla="*/ 4313511 h 5282095"/>
              <a:gd name="connsiteX7741" fmla="*/ 2233780 w 7714416"/>
              <a:gd name="connsiteY7741" fmla="*/ 4319620 h 5282095"/>
              <a:gd name="connsiteX7742" fmla="*/ 2234640 w 7714416"/>
              <a:gd name="connsiteY7742" fmla="*/ 4321398 h 5282095"/>
              <a:gd name="connsiteX7743" fmla="*/ 2220030 w 7714416"/>
              <a:gd name="connsiteY7743" fmla="*/ 4317399 h 5282095"/>
              <a:gd name="connsiteX7744" fmla="*/ 2219171 w 7714416"/>
              <a:gd name="connsiteY7744" fmla="*/ 4314844 h 5282095"/>
              <a:gd name="connsiteX7745" fmla="*/ 2223755 w 7714416"/>
              <a:gd name="connsiteY7745" fmla="*/ 4313511 h 5282095"/>
              <a:gd name="connsiteX7746" fmla="*/ 1645670 w 7714416"/>
              <a:gd name="connsiteY7746" fmla="*/ 4313399 h 5282095"/>
              <a:gd name="connsiteX7747" fmla="*/ 1649966 w 7714416"/>
              <a:gd name="connsiteY7747" fmla="*/ 4315176 h 5282095"/>
              <a:gd name="connsiteX7748" fmla="*/ 1640513 w 7714416"/>
              <a:gd name="connsiteY7748" fmla="*/ 4330839 h 5282095"/>
              <a:gd name="connsiteX7749" fmla="*/ 1632778 w 7714416"/>
              <a:gd name="connsiteY7749" fmla="*/ 4330618 h 5282095"/>
              <a:gd name="connsiteX7750" fmla="*/ 1645670 w 7714416"/>
              <a:gd name="connsiteY7750" fmla="*/ 4313399 h 5282095"/>
              <a:gd name="connsiteX7751" fmla="*/ 7142346 w 7714416"/>
              <a:gd name="connsiteY7751" fmla="*/ 4313288 h 5282095"/>
              <a:gd name="connsiteX7752" fmla="*/ 7153807 w 7714416"/>
              <a:gd name="connsiteY7752" fmla="*/ 4320509 h 5282095"/>
              <a:gd name="connsiteX7753" fmla="*/ 7142346 w 7714416"/>
              <a:gd name="connsiteY7753" fmla="*/ 4313288 h 5282095"/>
              <a:gd name="connsiteX7754" fmla="*/ 2374721 w 7714416"/>
              <a:gd name="connsiteY7754" fmla="*/ 4312400 h 5282095"/>
              <a:gd name="connsiteX7755" fmla="*/ 2383316 w 7714416"/>
              <a:gd name="connsiteY7755" fmla="*/ 4316620 h 5282095"/>
              <a:gd name="connsiteX7756" fmla="*/ 2360684 w 7714416"/>
              <a:gd name="connsiteY7756" fmla="*/ 4319176 h 5282095"/>
              <a:gd name="connsiteX7757" fmla="*/ 2365555 w 7714416"/>
              <a:gd name="connsiteY7757" fmla="*/ 4312733 h 5282095"/>
              <a:gd name="connsiteX7758" fmla="*/ 2374721 w 7714416"/>
              <a:gd name="connsiteY7758" fmla="*/ 4312400 h 5282095"/>
              <a:gd name="connsiteX7759" fmla="*/ 6009380 w 7714416"/>
              <a:gd name="connsiteY7759" fmla="*/ 4311844 h 5282095"/>
              <a:gd name="connsiteX7760" fmla="*/ 6009666 w 7714416"/>
              <a:gd name="connsiteY7760" fmla="*/ 4312844 h 5282095"/>
              <a:gd name="connsiteX7761" fmla="*/ 6010240 w 7714416"/>
              <a:gd name="connsiteY7761" fmla="*/ 4313066 h 5282095"/>
              <a:gd name="connsiteX7762" fmla="*/ 6009380 w 7714416"/>
              <a:gd name="connsiteY7762" fmla="*/ 4315399 h 5282095"/>
              <a:gd name="connsiteX7763" fmla="*/ 6007088 w 7714416"/>
              <a:gd name="connsiteY7763" fmla="*/ 4317399 h 5282095"/>
              <a:gd name="connsiteX7764" fmla="*/ 6003364 w 7714416"/>
              <a:gd name="connsiteY7764" fmla="*/ 4313844 h 5282095"/>
              <a:gd name="connsiteX7765" fmla="*/ 6006230 w 7714416"/>
              <a:gd name="connsiteY7765" fmla="*/ 4312844 h 5282095"/>
              <a:gd name="connsiteX7766" fmla="*/ 6005656 w 7714416"/>
              <a:gd name="connsiteY7766" fmla="*/ 4311844 h 5282095"/>
              <a:gd name="connsiteX7767" fmla="*/ 6009380 w 7714416"/>
              <a:gd name="connsiteY7767" fmla="*/ 4311844 h 5282095"/>
              <a:gd name="connsiteX7768" fmla="*/ 1959921 w 7714416"/>
              <a:gd name="connsiteY7768" fmla="*/ 4311289 h 5282095"/>
              <a:gd name="connsiteX7769" fmla="*/ 1935284 w 7714416"/>
              <a:gd name="connsiteY7769" fmla="*/ 4318065 h 5282095"/>
              <a:gd name="connsiteX7770" fmla="*/ 1959921 w 7714416"/>
              <a:gd name="connsiteY7770" fmla="*/ 4311289 h 5282095"/>
              <a:gd name="connsiteX7771" fmla="*/ 6541631 w 7714416"/>
              <a:gd name="connsiteY7771" fmla="*/ 4309734 h 5282095"/>
              <a:gd name="connsiteX7772" fmla="*/ 6550512 w 7714416"/>
              <a:gd name="connsiteY7772" fmla="*/ 4317288 h 5282095"/>
              <a:gd name="connsiteX7773" fmla="*/ 6554236 w 7714416"/>
              <a:gd name="connsiteY7773" fmla="*/ 4326174 h 5282095"/>
              <a:gd name="connsiteX7774" fmla="*/ 6528167 w 7714416"/>
              <a:gd name="connsiteY7774" fmla="*/ 4317399 h 5282095"/>
              <a:gd name="connsiteX7775" fmla="*/ 6541631 w 7714416"/>
              <a:gd name="connsiteY7775" fmla="*/ 4309734 h 5282095"/>
              <a:gd name="connsiteX7776" fmla="*/ 5946644 w 7714416"/>
              <a:gd name="connsiteY7776" fmla="*/ 4307734 h 5282095"/>
              <a:gd name="connsiteX7777" fmla="*/ 5954379 w 7714416"/>
              <a:gd name="connsiteY7777" fmla="*/ 4309400 h 5282095"/>
              <a:gd name="connsiteX7778" fmla="*/ 5958962 w 7714416"/>
              <a:gd name="connsiteY7778" fmla="*/ 4319287 h 5282095"/>
              <a:gd name="connsiteX7779" fmla="*/ 5955525 w 7714416"/>
              <a:gd name="connsiteY7779" fmla="*/ 4320064 h 5282095"/>
              <a:gd name="connsiteX7780" fmla="*/ 5951227 w 7714416"/>
              <a:gd name="connsiteY7780" fmla="*/ 4320509 h 5282095"/>
              <a:gd name="connsiteX7781" fmla="*/ 5942061 w 7714416"/>
              <a:gd name="connsiteY7781" fmla="*/ 4317843 h 5282095"/>
              <a:gd name="connsiteX7782" fmla="*/ 5938910 w 7714416"/>
              <a:gd name="connsiteY7782" fmla="*/ 4312844 h 5282095"/>
              <a:gd name="connsiteX7783" fmla="*/ 5939196 w 7714416"/>
              <a:gd name="connsiteY7783" fmla="*/ 4310512 h 5282095"/>
              <a:gd name="connsiteX7784" fmla="*/ 5946644 w 7714416"/>
              <a:gd name="connsiteY7784" fmla="*/ 4307734 h 5282095"/>
              <a:gd name="connsiteX7785" fmla="*/ 5722630 w 7714416"/>
              <a:gd name="connsiteY7785" fmla="*/ 4306290 h 5282095"/>
              <a:gd name="connsiteX7786" fmla="*/ 5730650 w 7714416"/>
              <a:gd name="connsiteY7786" fmla="*/ 4314510 h 5282095"/>
              <a:gd name="connsiteX7787" fmla="*/ 5729791 w 7714416"/>
              <a:gd name="connsiteY7787" fmla="*/ 4316510 h 5282095"/>
              <a:gd name="connsiteX7788" fmla="*/ 5722630 w 7714416"/>
              <a:gd name="connsiteY7788" fmla="*/ 4306290 h 5282095"/>
              <a:gd name="connsiteX7789" fmla="*/ 5798542 w 7714416"/>
              <a:gd name="connsiteY7789" fmla="*/ 4305846 h 5282095"/>
              <a:gd name="connsiteX7790" fmla="*/ 5805704 w 7714416"/>
              <a:gd name="connsiteY7790" fmla="*/ 4306734 h 5282095"/>
              <a:gd name="connsiteX7791" fmla="*/ 5806564 w 7714416"/>
              <a:gd name="connsiteY7791" fmla="*/ 4310400 h 5282095"/>
              <a:gd name="connsiteX7792" fmla="*/ 5797683 w 7714416"/>
              <a:gd name="connsiteY7792" fmla="*/ 4309511 h 5282095"/>
              <a:gd name="connsiteX7793" fmla="*/ 5798542 w 7714416"/>
              <a:gd name="connsiteY7793" fmla="*/ 4305846 h 5282095"/>
              <a:gd name="connsiteX7794" fmla="*/ 5781354 w 7714416"/>
              <a:gd name="connsiteY7794" fmla="*/ 4305513 h 5282095"/>
              <a:gd name="connsiteX7795" fmla="*/ 5783360 w 7714416"/>
              <a:gd name="connsiteY7795" fmla="*/ 4305845 h 5282095"/>
              <a:gd name="connsiteX7796" fmla="*/ 5783646 w 7714416"/>
              <a:gd name="connsiteY7796" fmla="*/ 4305735 h 5282095"/>
              <a:gd name="connsiteX7797" fmla="*/ 5784219 w 7714416"/>
              <a:gd name="connsiteY7797" fmla="*/ 4305846 h 5282095"/>
              <a:gd name="connsiteX7798" fmla="*/ 5787084 w 7714416"/>
              <a:gd name="connsiteY7798" fmla="*/ 4306401 h 5282095"/>
              <a:gd name="connsiteX7799" fmla="*/ 5787370 w 7714416"/>
              <a:gd name="connsiteY7799" fmla="*/ 4307179 h 5282095"/>
              <a:gd name="connsiteX7800" fmla="*/ 5796537 w 7714416"/>
              <a:gd name="connsiteY7800" fmla="*/ 4310733 h 5282095"/>
              <a:gd name="connsiteX7801" fmla="*/ 5792813 w 7714416"/>
              <a:gd name="connsiteY7801" fmla="*/ 4324619 h 5282095"/>
              <a:gd name="connsiteX7802" fmla="*/ 5785365 w 7714416"/>
              <a:gd name="connsiteY7802" fmla="*/ 4325841 h 5282095"/>
              <a:gd name="connsiteX7803" fmla="*/ 5772760 w 7714416"/>
              <a:gd name="connsiteY7803" fmla="*/ 4322508 h 5282095"/>
              <a:gd name="connsiteX7804" fmla="*/ 5777344 w 7714416"/>
              <a:gd name="connsiteY7804" fmla="*/ 4307845 h 5282095"/>
              <a:gd name="connsiteX7805" fmla="*/ 5779922 w 7714416"/>
              <a:gd name="connsiteY7805" fmla="*/ 4306956 h 5282095"/>
              <a:gd name="connsiteX7806" fmla="*/ 5961254 w 7714416"/>
              <a:gd name="connsiteY7806" fmla="*/ 4305512 h 5282095"/>
              <a:gd name="connsiteX7807" fmla="*/ 5962686 w 7714416"/>
              <a:gd name="connsiteY7807" fmla="*/ 4310178 h 5282095"/>
              <a:gd name="connsiteX7808" fmla="*/ 5959822 w 7714416"/>
              <a:gd name="connsiteY7808" fmla="*/ 4310623 h 5282095"/>
              <a:gd name="connsiteX7809" fmla="*/ 5956098 w 7714416"/>
              <a:gd name="connsiteY7809" fmla="*/ 4308400 h 5282095"/>
              <a:gd name="connsiteX7810" fmla="*/ 6244281 w 7714416"/>
              <a:gd name="connsiteY7810" fmla="*/ 4304290 h 5282095"/>
              <a:gd name="connsiteX7811" fmla="*/ 6249438 w 7714416"/>
              <a:gd name="connsiteY7811" fmla="*/ 4306290 h 5282095"/>
              <a:gd name="connsiteX7812" fmla="*/ 6248864 w 7714416"/>
              <a:gd name="connsiteY7812" fmla="*/ 4310400 h 5282095"/>
              <a:gd name="connsiteX7813" fmla="*/ 6243708 w 7714416"/>
              <a:gd name="connsiteY7813" fmla="*/ 4313954 h 5282095"/>
              <a:gd name="connsiteX7814" fmla="*/ 6234541 w 7714416"/>
              <a:gd name="connsiteY7814" fmla="*/ 4307067 h 5282095"/>
              <a:gd name="connsiteX7815" fmla="*/ 6244281 w 7714416"/>
              <a:gd name="connsiteY7815" fmla="*/ 4304290 h 5282095"/>
              <a:gd name="connsiteX7816" fmla="*/ 1983411 w 7714416"/>
              <a:gd name="connsiteY7816" fmla="*/ 4303958 h 5282095"/>
              <a:gd name="connsiteX7817" fmla="*/ 1972811 w 7714416"/>
              <a:gd name="connsiteY7817" fmla="*/ 4308734 h 5282095"/>
              <a:gd name="connsiteX7818" fmla="*/ 1970521 w 7714416"/>
              <a:gd name="connsiteY7818" fmla="*/ 4308290 h 5282095"/>
              <a:gd name="connsiteX7819" fmla="*/ 1983411 w 7714416"/>
              <a:gd name="connsiteY7819" fmla="*/ 4303958 h 5282095"/>
              <a:gd name="connsiteX7820" fmla="*/ 1609574 w 7714416"/>
              <a:gd name="connsiteY7820" fmla="*/ 4303735 h 5282095"/>
              <a:gd name="connsiteX7821" fmla="*/ 1627050 w 7714416"/>
              <a:gd name="connsiteY7821" fmla="*/ 4313733 h 5282095"/>
              <a:gd name="connsiteX7822" fmla="*/ 1606711 w 7714416"/>
              <a:gd name="connsiteY7822" fmla="*/ 4311955 h 5282095"/>
              <a:gd name="connsiteX7823" fmla="*/ 1609574 w 7714416"/>
              <a:gd name="connsiteY7823" fmla="*/ 4303735 h 5282095"/>
              <a:gd name="connsiteX7824" fmla="*/ 5706014 w 7714416"/>
              <a:gd name="connsiteY7824" fmla="*/ 4303180 h 5282095"/>
              <a:gd name="connsiteX7825" fmla="*/ 5711171 w 7714416"/>
              <a:gd name="connsiteY7825" fmla="*/ 4303291 h 5282095"/>
              <a:gd name="connsiteX7826" fmla="*/ 5717473 w 7714416"/>
              <a:gd name="connsiteY7826" fmla="*/ 4306290 h 5282095"/>
              <a:gd name="connsiteX7827" fmla="*/ 5712317 w 7714416"/>
              <a:gd name="connsiteY7827" fmla="*/ 4313178 h 5282095"/>
              <a:gd name="connsiteX7828" fmla="*/ 5694842 w 7714416"/>
              <a:gd name="connsiteY7828" fmla="*/ 4311066 h 5282095"/>
              <a:gd name="connsiteX7829" fmla="*/ 5706014 w 7714416"/>
              <a:gd name="connsiteY7829" fmla="*/ 4303180 h 5282095"/>
              <a:gd name="connsiteX7830" fmla="*/ 1997447 w 7714416"/>
              <a:gd name="connsiteY7830" fmla="*/ 4301847 h 5282095"/>
              <a:gd name="connsiteX7831" fmla="*/ 2020938 w 7714416"/>
              <a:gd name="connsiteY7831" fmla="*/ 4318065 h 5282095"/>
              <a:gd name="connsiteX7832" fmla="*/ 2009480 w 7714416"/>
              <a:gd name="connsiteY7832" fmla="*/ 4326174 h 5282095"/>
              <a:gd name="connsiteX7833" fmla="*/ 1986848 w 7714416"/>
              <a:gd name="connsiteY7833" fmla="*/ 4302069 h 5282095"/>
              <a:gd name="connsiteX7834" fmla="*/ 1997447 w 7714416"/>
              <a:gd name="connsiteY7834" fmla="*/ 4301847 h 5282095"/>
              <a:gd name="connsiteX7835" fmla="*/ 5979015 w 7714416"/>
              <a:gd name="connsiteY7835" fmla="*/ 4301846 h 5282095"/>
              <a:gd name="connsiteX7836" fmla="*/ 5980161 w 7714416"/>
              <a:gd name="connsiteY7836" fmla="*/ 4302180 h 5282095"/>
              <a:gd name="connsiteX7837" fmla="*/ 5983312 w 7714416"/>
              <a:gd name="connsiteY7837" fmla="*/ 4304735 h 5282095"/>
              <a:gd name="connsiteX7838" fmla="*/ 5983026 w 7714416"/>
              <a:gd name="connsiteY7838" fmla="*/ 4311623 h 5282095"/>
              <a:gd name="connsiteX7839" fmla="*/ 5979588 w 7714416"/>
              <a:gd name="connsiteY7839" fmla="*/ 4312510 h 5282095"/>
              <a:gd name="connsiteX7840" fmla="*/ 5976437 w 7714416"/>
              <a:gd name="connsiteY7840" fmla="*/ 4303069 h 5282095"/>
              <a:gd name="connsiteX7841" fmla="*/ 5979015 w 7714416"/>
              <a:gd name="connsiteY7841" fmla="*/ 4301846 h 5282095"/>
              <a:gd name="connsiteX7842" fmla="*/ 6738146 w 7714416"/>
              <a:gd name="connsiteY7842" fmla="*/ 4300958 h 5282095"/>
              <a:gd name="connsiteX7843" fmla="*/ 6753901 w 7714416"/>
              <a:gd name="connsiteY7843" fmla="*/ 4310844 h 5282095"/>
              <a:gd name="connsiteX7844" fmla="*/ 6730698 w 7714416"/>
              <a:gd name="connsiteY7844" fmla="*/ 4315843 h 5282095"/>
              <a:gd name="connsiteX7845" fmla="*/ 6738146 w 7714416"/>
              <a:gd name="connsiteY7845" fmla="*/ 4300958 h 5282095"/>
              <a:gd name="connsiteX7846" fmla="*/ 1821558 w 7714416"/>
              <a:gd name="connsiteY7846" fmla="*/ 4298403 h 5282095"/>
              <a:gd name="connsiteX7847" fmla="*/ 1827001 w 7714416"/>
              <a:gd name="connsiteY7847" fmla="*/ 4299070 h 5282095"/>
              <a:gd name="connsiteX7848" fmla="*/ 1821846 w 7714416"/>
              <a:gd name="connsiteY7848" fmla="*/ 4303735 h 5282095"/>
              <a:gd name="connsiteX7849" fmla="*/ 1821558 w 7714416"/>
              <a:gd name="connsiteY7849" fmla="*/ 4298403 h 5282095"/>
              <a:gd name="connsiteX7850" fmla="*/ 6298136 w 7714416"/>
              <a:gd name="connsiteY7850" fmla="*/ 4296403 h 5282095"/>
              <a:gd name="connsiteX7851" fmla="*/ 6309308 w 7714416"/>
              <a:gd name="connsiteY7851" fmla="*/ 4301846 h 5282095"/>
              <a:gd name="connsiteX7852" fmla="*/ 6292980 w 7714416"/>
              <a:gd name="connsiteY7852" fmla="*/ 4298403 h 5282095"/>
              <a:gd name="connsiteX7853" fmla="*/ 6298136 w 7714416"/>
              <a:gd name="connsiteY7853" fmla="*/ 4296403 h 5282095"/>
              <a:gd name="connsiteX7854" fmla="*/ 6435066 w 7714416"/>
              <a:gd name="connsiteY7854" fmla="*/ 4295848 h 5282095"/>
              <a:gd name="connsiteX7855" fmla="*/ 6447098 w 7714416"/>
              <a:gd name="connsiteY7855" fmla="*/ 4298513 h 5282095"/>
              <a:gd name="connsiteX7856" fmla="*/ 6448530 w 7714416"/>
              <a:gd name="connsiteY7856" fmla="*/ 4302180 h 5282095"/>
              <a:gd name="connsiteX7857" fmla="*/ 6438218 w 7714416"/>
              <a:gd name="connsiteY7857" fmla="*/ 4305513 h 5282095"/>
              <a:gd name="connsiteX7858" fmla="*/ 6433634 w 7714416"/>
              <a:gd name="connsiteY7858" fmla="*/ 4303180 h 5282095"/>
              <a:gd name="connsiteX7859" fmla="*/ 6432202 w 7714416"/>
              <a:gd name="connsiteY7859" fmla="*/ 4297293 h 5282095"/>
              <a:gd name="connsiteX7860" fmla="*/ 6435066 w 7714416"/>
              <a:gd name="connsiteY7860" fmla="*/ 4295848 h 5282095"/>
              <a:gd name="connsiteX7861" fmla="*/ 5896227 w 7714416"/>
              <a:gd name="connsiteY7861" fmla="*/ 4293738 h 5282095"/>
              <a:gd name="connsiteX7862" fmla="*/ 5901383 w 7714416"/>
              <a:gd name="connsiteY7862" fmla="*/ 4294627 h 5282095"/>
              <a:gd name="connsiteX7863" fmla="*/ 5887060 w 7714416"/>
              <a:gd name="connsiteY7863" fmla="*/ 4310733 h 5282095"/>
              <a:gd name="connsiteX7864" fmla="*/ 5879039 w 7714416"/>
              <a:gd name="connsiteY7864" fmla="*/ 4301847 h 5282095"/>
              <a:gd name="connsiteX7865" fmla="*/ 5896227 w 7714416"/>
              <a:gd name="connsiteY7865" fmla="*/ 4293738 h 5282095"/>
              <a:gd name="connsiteX7866" fmla="*/ 5824898 w 7714416"/>
              <a:gd name="connsiteY7866" fmla="*/ 4293515 h 5282095"/>
              <a:gd name="connsiteX7867" fmla="*/ 5831772 w 7714416"/>
              <a:gd name="connsiteY7867" fmla="*/ 4294071 h 5282095"/>
              <a:gd name="connsiteX7868" fmla="*/ 5836642 w 7714416"/>
              <a:gd name="connsiteY7868" fmla="*/ 4302957 h 5282095"/>
              <a:gd name="connsiteX7869" fmla="*/ 5836356 w 7714416"/>
              <a:gd name="connsiteY7869" fmla="*/ 4303401 h 5282095"/>
              <a:gd name="connsiteX7870" fmla="*/ 5836642 w 7714416"/>
              <a:gd name="connsiteY7870" fmla="*/ 4303401 h 5282095"/>
              <a:gd name="connsiteX7871" fmla="*/ 5839507 w 7714416"/>
              <a:gd name="connsiteY7871" fmla="*/ 4307511 h 5282095"/>
              <a:gd name="connsiteX7872" fmla="*/ 5835783 w 7714416"/>
              <a:gd name="connsiteY7872" fmla="*/ 4311844 h 5282095"/>
              <a:gd name="connsiteX7873" fmla="*/ 5823465 w 7714416"/>
              <a:gd name="connsiteY7873" fmla="*/ 4315288 h 5282095"/>
              <a:gd name="connsiteX7874" fmla="*/ 5821460 w 7714416"/>
              <a:gd name="connsiteY7874" fmla="*/ 4310511 h 5282095"/>
              <a:gd name="connsiteX7875" fmla="*/ 5822892 w 7714416"/>
              <a:gd name="connsiteY7875" fmla="*/ 4307622 h 5282095"/>
              <a:gd name="connsiteX7876" fmla="*/ 5820314 w 7714416"/>
              <a:gd name="connsiteY7876" fmla="*/ 4307401 h 5282095"/>
              <a:gd name="connsiteX7877" fmla="*/ 5815730 w 7714416"/>
              <a:gd name="connsiteY7877" fmla="*/ 4293738 h 5282095"/>
              <a:gd name="connsiteX7878" fmla="*/ 5824898 w 7714416"/>
              <a:gd name="connsiteY7878" fmla="*/ 4293515 h 5282095"/>
              <a:gd name="connsiteX7879" fmla="*/ 2470401 w 7714416"/>
              <a:gd name="connsiteY7879" fmla="*/ 4292072 h 5282095"/>
              <a:gd name="connsiteX7880" fmla="*/ 2480714 w 7714416"/>
              <a:gd name="connsiteY7880" fmla="*/ 4297625 h 5282095"/>
              <a:gd name="connsiteX7881" fmla="*/ 2478134 w 7714416"/>
              <a:gd name="connsiteY7881" fmla="*/ 4297736 h 5282095"/>
              <a:gd name="connsiteX7882" fmla="*/ 2475556 w 7714416"/>
              <a:gd name="connsiteY7882" fmla="*/ 4295959 h 5282095"/>
              <a:gd name="connsiteX7883" fmla="*/ 2470401 w 7714416"/>
              <a:gd name="connsiteY7883" fmla="*/ 4292072 h 5282095"/>
              <a:gd name="connsiteX7884" fmla="*/ 2193389 w 7714416"/>
              <a:gd name="connsiteY7884" fmla="*/ 4290849 h 5282095"/>
              <a:gd name="connsiteX7885" fmla="*/ 2199406 w 7714416"/>
              <a:gd name="connsiteY7885" fmla="*/ 4293737 h 5282095"/>
              <a:gd name="connsiteX7886" fmla="*/ 2199119 w 7714416"/>
              <a:gd name="connsiteY7886" fmla="*/ 4295515 h 5282095"/>
              <a:gd name="connsiteX7887" fmla="*/ 2192243 w 7714416"/>
              <a:gd name="connsiteY7887" fmla="*/ 4292405 h 5282095"/>
              <a:gd name="connsiteX7888" fmla="*/ 2193389 w 7714416"/>
              <a:gd name="connsiteY7888" fmla="*/ 4290849 h 5282095"/>
              <a:gd name="connsiteX7889" fmla="*/ 1772001 w 7714416"/>
              <a:gd name="connsiteY7889" fmla="*/ 4289961 h 5282095"/>
              <a:gd name="connsiteX7890" fmla="*/ 1799788 w 7714416"/>
              <a:gd name="connsiteY7890" fmla="*/ 4294071 h 5282095"/>
              <a:gd name="connsiteX7891" fmla="*/ 1788616 w 7714416"/>
              <a:gd name="connsiteY7891" fmla="*/ 4307290 h 5282095"/>
              <a:gd name="connsiteX7892" fmla="*/ 1749083 w 7714416"/>
              <a:gd name="connsiteY7892" fmla="*/ 4293294 h 5282095"/>
              <a:gd name="connsiteX7893" fmla="*/ 1772001 w 7714416"/>
              <a:gd name="connsiteY7893" fmla="*/ 4289961 h 5282095"/>
              <a:gd name="connsiteX7894" fmla="*/ 6961301 w 7714416"/>
              <a:gd name="connsiteY7894" fmla="*/ 4289295 h 5282095"/>
              <a:gd name="connsiteX7895" fmla="*/ 6962447 w 7714416"/>
              <a:gd name="connsiteY7895" fmla="*/ 4297515 h 5282095"/>
              <a:gd name="connsiteX7896" fmla="*/ 6960156 w 7714416"/>
              <a:gd name="connsiteY7896" fmla="*/ 4316065 h 5282095"/>
              <a:gd name="connsiteX7897" fmla="*/ 6956718 w 7714416"/>
              <a:gd name="connsiteY7897" fmla="*/ 4318065 h 5282095"/>
              <a:gd name="connsiteX7898" fmla="*/ 6956432 w 7714416"/>
              <a:gd name="connsiteY7898" fmla="*/ 4319176 h 5282095"/>
              <a:gd name="connsiteX7899" fmla="*/ 6952994 w 7714416"/>
              <a:gd name="connsiteY7899" fmla="*/ 4319953 h 5282095"/>
              <a:gd name="connsiteX7900" fmla="*/ 6952134 w 7714416"/>
              <a:gd name="connsiteY7900" fmla="*/ 4312733 h 5282095"/>
              <a:gd name="connsiteX7901" fmla="*/ 6952708 w 7714416"/>
              <a:gd name="connsiteY7901" fmla="*/ 4307067 h 5282095"/>
              <a:gd name="connsiteX7902" fmla="*/ 6961301 w 7714416"/>
              <a:gd name="connsiteY7902" fmla="*/ 4289295 h 5282095"/>
              <a:gd name="connsiteX7903" fmla="*/ 6184410 w 7714416"/>
              <a:gd name="connsiteY7903" fmla="*/ 4288628 h 5282095"/>
              <a:gd name="connsiteX7904" fmla="*/ 6196155 w 7714416"/>
              <a:gd name="connsiteY7904" fmla="*/ 4293403 h 5282095"/>
              <a:gd name="connsiteX7905" fmla="*/ 6189280 w 7714416"/>
              <a:gd name="connsiteY7905" fmla="*/ 4307401 h 5282095"/>
              <a:gd name="connsiteX7906" fmla="*/ 6181832 w 7714416"/>
              <a:gd name="connsiteY7906" fmla="*/ 4308734 h 5282095"/>
              <a:gd name="connsiteX7907" fmla="*/ 6170660 w 7714416"/>
              <a:gd name="connsiteY7907" fmla="*/ 4305846 h 5282095"/>
              <a:gd name="connsiteX7908" fmla="*/ 6164930 w 7714416"/>
              <a:gd name="connsiteY7908" fmla="*/ 4310400 h 5282095"/>
              <a:gd name="connsiteX7909" fmla="*/ 6136570 w 7714416"/>
              <a:gd name="connsiteY7909" fmla="*/ 4315177 h 5282095"/>
              <a:gd name="connsiteX7910" fmla="*/ 6167508 w 7714416"/>
              <a:gd name="connsiteY7910" fmla="*/ 4296515 h 5282095"/>
              <a:gd name="connsiteX7911" fmla="*/ 6173524 w 7714416"/>
              <a:gd name="connsiteY7911" fmla="*/ 4294183 h 5282095"/>
              <a:gd name="connsiteX7912" fmla="*/ 6177535 w 7714416"/>
              <a:gd name="connsiteY7912" fmla="*/ 4290850 h 5282095"/>
              <a:gd name="connsiteX7913" fmla="*/ 6184410 w 7714416"/>
              <a:gd name="connsiteY7913" fmla="*/ 4288628 h 5282095"/>
              <a:gd name="connsiteX7914" fmla="*/ 6041750 w 7714416"/>
              <a:gd name="connsiteY7914" fmla="*/ 4287184 h 5282095"/>
              <a:gd name="connsiteX7915" fmla="*/ 6048340 w 7714416"/>
              <a:gd name="connsiteY7915" fmla="*/ 4294960 h 5282095"/>
              <a:gd name="connsiteX7916" fmla="*/ 6023989 w 7714416"/>
              <a:gd name="connsiteY7916" fmla="*/ 4297626 h 5282095"/>
              <a:gd name="connsiteX7917" fmla="*/ 6041750 w 7714416"/>
              <a:gd name="connsiteY7917" fmla="*/ 4287184 h 5282095"/>
              <a:gd name="connsiteX7918" fmla="*/ 2381310 w 7714416"/>
              <a:gd name="connsiteY7918" fmla="*/ 4286184 h 5282095"/>
              <a:gd name="connsiteX7919" fmla="*/ 2383602 w 7714416"/>
              <a:gd name="connsiteY7919" fmla="*/ 4286517 h 5282095"/>
              <a:gd name="connsiteX7920" fmla="*/ 2387612 w 7714416"/>
              <a:gd name="connsiteY7920" fmla="*/ 4291738 h 5282095"/>
              <a:gd name="connsiteX7921" fmla="*/ 2385034 w 7714416"/>
              <a:gd name="connsiteY7921" fmla="*/ 4293737 h 5282095"/>
              <a:gd name="connsiteX7922" fmla="*/ 2379591 w 7714416"/>
              <a:gd name="connsiteY7922" fmla="*/ 4294071 h 5282095"/>
              <a:gd name="connsiteX7923" fmla="*/ 2375580 w 7714416"/>
              <a:gd name="connsiteY7923" fmla="*/ 4289961 h 5282095"/>
              <a:gd name="connsiteX7924" fmla="*/ 2378445 w 7714416"/>
              <a:gd name="connsiteY7924" fmla="*/ 4287961 h 5282095"/>
              <a:gd name="connsiteX7925" fmla="*/ 2381310 w 7714416"/>
              <a:gd name="connsiteY7925" fmla="*/ 4286184 h 5282095"/>
              <a:gd name="connsiteX7926" fmla="*/ 6706062 w 7714416"/>
              <a:gd name="connsiteY7926" fmla="*/ 4285962 h 5282095"/>
              <a:gd name="connsiteX7927" fmla="*/ 6722105 w 7714416"/>
              <a:gd name="connsiteY7927" fmla="*/ 4301291 h 5282095"/>
              <a:gd name="connsiteX7928" fmla="*/ 6706635 w 7714416"/>
              <a:gd name="connsiteY7928" fmla="*/ 4302624 h 5282095"/>
              <a:gd name="connsiteX7929" fmla="*/ 6706062 w 7714416"/>
              <a:gd name="connsiteY7929" fmla="*/ 4285962 h 5282095"/>
              <a:gd name="connsiteX7930" fmla="*/ 6066673 w 7714416"/>
              <a:gd name="connsiteY7930" fmla="*/ 4285517 h 5282095"/>
              <a:gd name="connsiteX7931" fmla="*/ 6078418 w 7714416"/>
              <a:gd name="connsiteY7931" fmla="*/ 4289850 h 5282095"/>
              <a:gd name="connsiteX7932" fmla="*/ 6080137 w 7714416"/>
              <a:gd name="connsiteY7932" fmla="*/ 4295515 h 5282095"/>
              <a:gd name="connsiteX7933" fmla="*/ 6054068 w 7714416"/>
              <a:gd name="connsiteY7933" fmla="*/ 4289072 h 5282095"/>
              <a:gd name="connsiteX7934" fmla="*/ 6066673 w 7714416"/>
              <a:gd name="connsiteY7934" fmla="*/ 4285517 h 5282095"/>
              <a:gd name="connsiteX7935" fmla="*/ 6462567 w 7714416"/>
              <a:gd name="connsiteY7935" fmla="*/ 4285184 h 5282095"/>
              <a:gd name="connsiteX7936" fmla="*/ 6466864 w 7714416"/>
              <a:gd name="connsiteY7936" fmla="*/ 4293738 h 5282095"/>
              <a:gd name="connsiteX7937" fmla="*/ 6461134 w 7714416"/>
              <a:gd name="connsiteY7937" fmla="*/ 4301403 h 5282095"/>
              <a:gd name="connsiteX7938" fmla="*/ 6446238 w 7714416"/>
              <a:gd name="connsiteY7938" fmla="*/ 4289739 h 5282095"/>
              <a:gd name="connsiteX7939" fmla="*/ 6462567 w 7714416"/>
              <a:gd name="connsiteY7939" fmla="*/ 4285184 h 5282095"/>
              <a:gd name="connsiteX7940" fmla="*/ 2332897 w 7714416"/>
              <a:gd name="connsiteY7940" fmla="*/ 4285184 h 5282095"/>
              <a:gd name="connsiteX7941" fmla="*/ 2325162 w 7714416"/>
              <a:gd name="connsiteY7941" fmla="*/ 4292294 h 5282095"/>
              <a:gd name="connsiteX7942" fmla="*/ 2332897 w 7714416"/>
              <a:gd name="connsiteY7942" fmla="*/ 4285184 h 5282095"/>
              <a:gd name="connsiteX7943" fmla="*/ 2289641 w 7714416"/>
              <a:gd name="connsiteY7943" fmla="*/ 4283963 h 5282095"/>
              <a:gd name="connsiteX7944" fmla="*/ 2316568 w 7714416"/>
              <a:gd name="connsiteY7944" fmla="*/ 4287295 h 5282095"/>
              <a:gd name="connsiteX7945" fmla="*/ 2315996 w 7714416"/>
              <a:gd name="connsiteY7945" fmla="*/ 4288961 h 5282095"/>
              <a:gd name="connsiteX7946" fmla="*/ 2323730 w 7714416"/>
              <a:gd name="connsiteY7946" fmla="*/ 4286850 h 5282095"/>
              <a:gd name="connsiteX7947" fmla="*/ 2322299 w 7714416"/>
              <a:gd name="connsiteY7947" fmla="*/ 4295849 h 5282095"/>
              <a:gd name="connsiteX7948" fmla="*/ 2318575 w 7714416"/>
              <a:gd name="connsiteY7948" fmla="*/ 4295737 h 5282095"/>
              <a:gd name="connsiteX7949" fmla="*/ 2314851 w 7714416"/>
              <a:gd name="connsiteY7949" fmla="*/ 4293404 h 5282095"/>
              <a:gd name="connsiteX7950" fmla="*/ 2314278 w 7714416"/>
              <a:gd name="connsiteY7950" fmla="*/ 4296292 h 5282095"/>
              <a:gd name="connsiteX7951" fmla="*/ 2302533 w 7714416"/>
              <a:gd name="connsiteY7951" fmla="*/ 4300958 h 5282095"/>
              <a:gd name="connsiteX7952" fmla="*/ 2265864 w 7714416"/>
              <a:gd name="connsiteY7952" fmla="*/ 4287850 h 5282095"/>
              <a:gd name="connsiteX7953" fmla="*/ 2289641 w 7714416"/>
              <a:gd name="connsiteY7953" fmla="*/ 4283963 h 5282095"/>
              <a:gd name="connsiteX7954" fmla="*/ 6089876 w 7714416"/>
              <a:gd name="connsiteY7954" fmla="*/ 4283185 h 5282095"/>
              <a:gd name="connsiteX7955" fmla="*/ 6095320 w 7714416"/>
              <a:gd name="connsiteY7955" fmla="*/ 4290849 h 5282095"/>
              <a:gd name="connsiteX7956" fmla="*/ 6092168 w 7714416"/>
              <a:gd name="connsiteY7956" fmla="*/ 4293849 h 5282095"/>
              <a:gd name="connsiteX7957" fmla="*/ 6083574 w 7714416"/>
              <a:gd name="connsiteY7957" fmla="*/ 4294071 h 5282095"/>
              <a:gd name="connsiteX7958" fmla="*/ 6084720 w 7714416"/>
              <a:gd name="connsiteY7958" fmla="*/ 4283740 h 5282095"/>
              <a:gd name="connsiteX7959" fmla="*/ 6089876 w 7714416"/>
              <a:gd name="connsiteY7959" fmla="*/ 4283185 h 5282095"/>
              <a:gd name="connsiteX7960" fmla="*/ 5909404 w 7714416"/>
              <a:gd name="connsiteY7960" fmla="*/ 4282740 h 5282095"/>
              <a:gd name="connsiteX7961" fmla="*/ 5922295 w 7714416"/>
              <a:gd name="connsiteY7961" fmla="*/ 4292848 h 5282095"/>
              <a:gd name="connsiteX7962" fmla="*/ 5924300 w 7714416"/>
              <a:gd name="connsiteY7962" fmla="*/ 4306845 h 5282095"/>
              <a:gd name="connsiteX7963" fmla="*/ 5909404 w 7714416"/>
              <a:gd name="connsiteY7963" fmla="*/ 4282740 h 5282095"/>
              <a:gd name="connsiteX7964" fmla="*/ 6123393 w 7714416"/>
              <a:gd name="connsiteY7964" fmla="*/ 4281074 h 5282095"/>
              <a:gd name="connsiteX7965" fmla="*/ 6131414 w 7714416"/>
              <a:gd name="connsiteY7965" fmla="*/ 4291516 h 5282095"/>
              <a:gd name="connsiteX7966" fmla="*/ 6121388 w 7714416"/>
              <a:gd name="connsiteY7966" fmla="*/ 4300958 h 5282095"/>
              <a:gd name="connsiteX7967" fmla="*/ 6123393 w 7714416"/>
              <a:gd name="connsiteY7967" fmla="*/ 4281074 h 5282095"/>
              <a:gd name="connsiteX7968" fmla="*/ 6158055 w 7714416"/>
              <a:gd name="connsiteY7968" fmla="*/ 4279964 h 5282095"/>
              <a:gd name="connsiteX7969" fmla="*/ 6161492 w 7714416"/>
              <a:gd name="connsiteY7969" fmla="*/ 4280407 h 5282095"/>
              <a:gd name="connsiteX7970" fmla="*/ 6163212 w 7714416"/>
              <a:gd name="connsiteY7970" fmla="*/ 4282852 h 5282095"/>
              <a:gd name="connsiteX7971" fmla="*/ 6163498 w 7714416"/>
              <a:gd name="connsiteY7971" fmla="*/ 4287628 h 5282095"/>
              <a:gd name="connsiteX7972" fmla="*/ 6160347 w 7714416"/>
              <a:gd name="connsiteY7972" fmla="*/ 4289850 h 5282095"/>
              <a:gd name="connsiteX7973" fmla="*/ 6156910 w 7714416"/>
              <a:gd name="connsiteY7973" fmla="*/ 4288517 h 5282095"/>
              <a:gd name="connsiteX7974" fmla="*/ 6153472 w 7714416"/>
              <a:gd name="connsiteY7974" fmla="*/ 4288406 h 5282095"/>
              <a:gd name="connsiteX7975" fmla="*/ 6153472 w 7714416"/>
              <a:gd name="connsiteY7975" fmla="*/ 4287183 h 5282095"/>
              <a:gd name="connsiteX7976" fmla="*/ 6151753 w 7714416"/>
              <a:gd name="connsiteY7976" fmla="*/ 4285962 h 5282095"/>
              <a:gd name="connsiteX7977" fmla="*/ 6154618 w 7714416"/>
              <a:gd name="connsiteY7977" fmla="*/ 4281407 h 5282095"/>
              <a:gd name="connsiteX7978" fmla="*/ 6158055 w 7714416"/>
              <a:gd name="connsiteY7978" fmla="*/ 4279964 h 5282095"/>
              <a:gd name="connsiteX7979" fmla="*/ 2046146 w 7714416"/>
              <a:gd name="connsiteY7979" fmla="*/ 4277742 h 5282095"/>
              <a:gd name="connsiteX7980" fmla="*/ 2059610 w 7714416"/>
              <a:gd name="connsiteY7980" fmla="*/ 4281741 h 5282095"/>
              <a:gd name="connsiteX7981" fmla="*/ 2057892 w 7714416"/>
              <a:gd name="connsiteY7981" fmla="*/ 4291628 h 5282095"/>
              <a:gd name="connsiteX7982" fmla="*/ 2037552 w 7714416"/>
              <a:gd name="connsiteY7982" fmla="*/ 4294960 h 5282095"/>
              <a:gd name="connsiteX7983" fmla="*/ 2032969 w 7714416"/>
              <a:gd name="connsiteY7983" fmla="*/ 4290960 h 5282095"/>
              <a:gd name="connsiteX7984" fmla="*/ 2032109 w 7714416"/>
              <a:gd name="connsiteY7984" fmla="*/ 4281963 h 5282095"/>
              <a:gd name="connsiteX7985" fmla="*/ 2046146 w 7714416"/>
              <a:gd name="connsiteY7985" fmla="*/ 4277742 h 5282095"/>
              <a:gd name="connsiteX7986" fmla="*/ 2129507 w 7714416"/>
              <a:gd name="connsiteY7986" fmla="*/ 4275854 h 5282095"/>
              <a:gd name="connsiteX7987" fmla="*/ 2152138 w 7714416"/>
              <a:gd name="connsiteY7987" fmla="*/ 4281851 h 5282095"/>
              <a:gd name="connsiteX7988" fmla="*/ 2152997 w 7714416"/>
              <a:gd name="connsiteY7988" fmla="*/ 4281852 h 5282095"/>
              <a:gd name="connsiteX7989" fmla="*/ 2152712 w 7714416"/>
              <a:gd name="connsiteY7989" fmla="*/ 4281518 h 5282095"/>
              <a:gd name="connsiteX7990" fmla="*/ 2154143 w 7714416"/>
              <a:gd name="connsiteY7990" fmla="*/ 4281185 h 5282095"/>
              <a:gd name="connsiteX7991" fmla="*/ 2156435 w 7714416"/>
              <a:gd name="connsiteY7991" fmla="*/ 4280741 h 5282095"/>
              <a:gd name="connsiteX7992" fmla="*/ 2157294 w 7714416"/>
              <a:gd name="connsiteY7992" fmla="*/ 4280741 h 5282095"/>
              <a:gd name="connsiteX7993" fmla="*/ 2158727 w 7714416"/>
              <a:gd name="connsiteY7993" fmla="*/ 4281962 h 5282095"/>
              <a:gd name="connsiteX7994" fmla="*/ 2161879 w 7714416"/>
              <a:gd name="connsiteY7994" fmla="*/ 4282074 h 5282095"/>
              <a:gd name="connsiteX7995" fmla="*/ 2171332 w 7714416"/>
              <a:gd name="connsiteY7995" fmla="*/ 4282963 h 5282095"/>
              <a:gd name="connsiteX7996" fmla="*/ 2188232 w 7714416"/>
              <a:gd name="connsiteY7996" fmla="*/ 4295404 h 5282095"/>
              <a:gd name="connsiteX7997" fmla="*/ 2192529 w 7714416"/>
              <a:gd name="connsiteY7997" fmla="*/ 4300069 h 5282095"/>
              <a:gd name="connsiteX7998" fmla="*/ 2196826 w 7714416"/>
              <a:gd name="connsiteY7998" fmla="*/ 4303402 h 5282095"/>
              <a:gd name="connsiteX7999" fmla="*/ 2197113 w 7714416"/>
              <a:gd name="connsiteY7999" fmla="*/ 4303846 h 5282095"/>
              <a:gd name="connsiteX8000" fmla="*/ 2209432 w 7714416"/>
              <a:gd name="connsiteY8000" fmla="*/ 4309067 h 5282095"/>
              <a:gd name="connsiteX8001" fmla="*/ 2216879 w 7714416"/>
              <a:gd name="connsiteY8001" fmla="*/ 4317399 h 5282095"/>
              <a:gd name="connsiteX8002" fmla="*/ 2214874 w 7714416"/>
              <a:gd name="connsiteY8002" fmla="*/ 4327507 h 5282095"/>
              <a:gd name="connsiteX8003" fmla="*/ 2210577 w 7714416"/>
              <a:gd name="connsiteY8003" fmla="*/ 4329840 h 5282095"/>
              <a:gd name="connsiteX8004" fmla="*/ 2210291 w 7714416"/>
              <a:gd name="connsiteY8004" fmla="*/ 4344058 h 5282095"/>
              <a:gd name="connsiteX8005" fmla="*/ 2209717 w 7714416"/>
              <a:gd name="connsiteY8005" fmla="*/ 4344503 h 5282095"/>
              <a:gd name="connsiteX8006" fmla="*/ 2213441 w 7714416"/>
              <a:gd name="connsiteY8006" fmla="*/ 4352834 h 5282095"/>
              <a:gd name="connsiteX8007" fmla="*/ 2210577 w 7714416"/>
              <a:gd name="connsiteY8007" fmla="*/ 4358610 h 5282095"/>
              <a:gd name="connsiteX8008" fmla="*/ 2204274 w 7714416"/>
              <a:gd name="connsiteY8008" fmla="*/ 4360276 h 5282095"/>
              <a:gd name="connsiteX8009" fmla="*/ 2203415 w 7714416"/>
              <a:gd name="connsiteY8009" fmla="*/ 4360053 h 5282095"/>
              <a:gd name="connsiteX8010" fmla="*/ 2202842 w 7714416"/>
              <a:gd name="connsiteY8010" fmla="*/ 4360165 h 5282095"/>
              <a:gd name="connsiteX8011" fmla="*/ 2197399 w 7714416"/>
              <a:gd name="connsiteY8011" fmla="*/ 4358610 h 5282095"/>
              <a:gd name="connsiteX8012" fmla="*/ 2191097 w 7714416"/>
              <a:gd name="connsiteY8012" fmla="*/ 4362498 h 5282095"/>
              <a:gd name="connsiteX8013" fmla="*/ 2179638 w 7714416"/>
              <a:gd name="connsiteY8013" fmla="*/ 4367608 h 5282095"/>
              <a:gd name="connsiteX8014" fmla="*/ 2177347 w 7714416"/>
              <a:gd name="connsiteY8014" fmla="*/ 4368608 h 5282095"/>
              <a:gd name="connsiteX8015" fmla="*/ 2163311 w 7714416"/>
              <a:gd name="connsiteY8015" fmla="*/ 4376161 h 5282095"/>
              <a:gd name="connsiteX8016" fmla="*/ 2123492 w 7714416"/>
              <a:gd name="connsiteY8016" fmla="*/ 4373384 h 5282095"/>
              <a:gd name="connsiteX8017" fmla="*/ 2083386 w 7714416"/>
              <a:gd name="connsiteY8017" fmla="*/ 4348501 h 5282095"/>
              <a:gd name="connsiteX8018" fmla="*/ 2076511 w 7714416"/>
              <a:gd name="connsiteY8018" fmla="*/ 4306401 h 5282095"/>
              <a:gd name="connsiteX8019" fmla="*/ 2129507 w 7714416"/>
              <a:gd name="connsiteY8019" fmla="*/ 4275854 h 5282095"/>
              <a:gd name="connsiteX8020" fmla="*/ 5943207 w 7714416"/>
              <a:gd name="connsiteY8020" fmla="*/ 4275520 h 5282095"/>
              <a:gd name="connsiteX8021" fmla="*/ 5948650 w 7714416"/>
              <a:gd name="connsiteY8021" fmla="*/ 4275520 h 5282095"/>
              <a:gd name="connsiteX8022" fmla="*/ 5956098 w 7714416"/>
              <a:gd name="connsiteY8022" fmla="*/ 4277852 h 5282095"/>
              <a:gd name="connsiteX8023" fmla="*/ 5956098 w 7714416"/>
              <a:gd name="connsiteY8023" fmla="*/ 4295626 h 5282095"/>
              <a:gd name="connsiteX8024" fmla="*/ 5941202 w 7714416"/>
              <a:gd name="connsiteY8024" fmla="*/ 4301292 h 5282095"/>
              <a:gd name="connsiteX8025" fmla="*/ 5934900 w 7714416"/>
              <a:gd name="connsiteY8025" fmla="*/ 4300958 h 5282095"/>
              <a:gd name="connsiteX8026" fmla="*/ 5943207 w 7714416"/>
              <a:gd name="connsiteY8026" fmla="*/ 4275520 h 5282095"/>
              <a:gd name="connsiteX8027" fmla="*/ 7153519 w 7714416"/>
              <a:gd name="connsiteY8027" fmla="*/ 4275076 h 5282095"/>
              <a:gd name="connsiteX8028" fmla="*/ 7156957 w 7714416"/>
              <a:gd name="connsiteY8028" fmla="*/ 4276297 h 5282095"/>
              <a:gd name="connsiteX8029" fmla="*/ 7158102 w 7714416"/>
              <a:gd name="connsiteY8029" fmla="*/ 4278409 h 5282095"/>
              <a:gd name="connsiteX8030" fmla="*/ 7155810 w 7714416"/>
              <a:gd name="connsiteY8030" fmla="*/ 4280741 h 5282095"/>
              <a:gd name="connsiteX8031" fmla="*/ 7149795 w 7714416"/>
              <a:gd name="connsiteY8031" fmla="*/ 4283185 h 5282095"/>
              <a:gd name="connsiteX8032" fmla="*/ 7145212 w 7714416"/>
              <a:gd name="connsiteY8032" fmla="*/ 4282408 h 5282095"/>
              <a:gd name="connsiteX8033" fmla="*/ 7145212 w 7714416"/>
              <a:gd name="connsiteY8033" fmla="*/ 4279853 h 5282095"/>
              <a:gd name="connsiteX8034" fmla="*/ 7143779 w 7714416"/>
              <a:gd name="connsiteY8034" fmla="*/ 4277853 h 5282095"/>
              <a:gd name="connsiteX8035" fmla="*/ 7145212 w 7714416"/>
              <a:gd name="connsiteY8035" fmla="*/ 4277186 h 5282095"/>
              <a:gd name="connsiteX8036" fmla="*/ 7146070 w 7714416"/>
              <a:gd name="connsiteY8036" fmla="*/ 4275631 h 5282095"/>
              <a:gd name="connsiteX8037" fmla="*/ 7153519 w 7714416"/>
              <a:gd name="connsiteY8037" fmla="*/ 4275076 h 5282095"/>
              <a:gd name="connsiteX8038" fmla="*/ 5637263 w 7714416"/>
              <a:gd name="connsiteY8038" fmla="*/ 4274965 h 5282095"/>
              <a:gd name="connsiteX8039" fmla="*/ 5638982 w 7714416"/>
              <a:gd name="connsiteY8039" fmla="*/ 4277075 h 5282095"/>
              <a:gd name="connsiteX8040" fmla="*/ 5641846 w 7714416"/>
              <a:gd name="connsiteY8040" fmla="*/ 4284406 h 5282095"/>
              <a:gd name="connsiteX8041" fmla="*/ 5636690 w 7714416"/>
              <a:gd name="connsiteY8041" fmla="*/ 4283518 h 5282095"/>
              <a:gd name="connsiteX8042" fmla="*/ 5636117 w 7714416"/>
              <a:gd name="connsiteY8042" fmla="*/ 4280296 h 5282095"/>
              <a:gd name="connsiteX8043" fmla="*/ 5634112 w 7714416"/>
              <a:gd name="connsiteY8043" fmla="*/ 4278075 h 5282095"/>
              <a:gd name="connsiteX8044" fmla="*/ 5637263 w 7714416"/>
              <a:gd name="connsiteY8044" fmla="*/ 4274965 h 5282095"/>
              <a:gd name="connsiteX8045" fmla="*/ 7198494 w 7714416"/>
              <a:gd name="connsiteY8045" fmla="*/ 4274631 h 5282095"/>
              <a:gd name="connsiteX8046" fmla="*/ 7201645 w 7714416"/>
              <a:gd name="connsiteY8046" fmla="*/ 4276964 h 5282095"/>
              <a:gd name="connsiteX8047" fmla="*/ 7204796 w 7714416"/>
              <a:gd name="connsiteY8047" fmla="*/ 4288072 h 5282095"/>
              <a:gd name="connsiteX8048" fmla="*/ 7204796 w 7714416"/>
              <a:gd name="connsiteY8048" fmla="*/ 4290627 h 5282095"/>
              <a:gd name="connsiteX8049" fmla="*/ 7205083 w 7714416"/>
              <a:gd name="connsiteY8049" fmla="*/ 4293293 h 5282095"/>
              <a:gd name="connsiteX8050" fmla="*/ 7199640 w 7714416"/>
              <a:gd name="connsiteY8050" fmla="*/ 4296959 h 5282095"/>
              <a:gd name="connsiteX8051" fmla="*/ 7194770 w 7714416"/>
              <a:gd name="connsiteY8051" fmla="*/ 4274853 h 5282095"/>
              <a:gd name="connsiteX8052" fmla="*/ 7198494 w 7714416"/>
              <a:gd name="connsiteY8052" fmla="*/ 4274631 h 5282095"/>
              <a:gd name="connsiteX8053" fmla="*/ 7164405 w 7714416"/>
              <a:gd name="connsiteY8053" fmla="*/ 4274631 h 5282095"/>
              <a:gd name="connsiteX8054" fmla="*/ 7172426 w 7714416"/>
              <a:gd name="connsiteY8054" fmla="*/ 4274853 h 5282095"/>
              <a:gd name="connsiteX8055" fmla="*/ 7187894 w 7714416"/>
              <a:gd name="connsiteY8055" fmla="*/ 4279075 h 5282095"/>
              <a:gd name="connsiteX8056" fmla="*/ 7190759 w 7714416"/>
              <a:gd name="connsiteY8056" fmla="*/ 4286850 h 5282095"/>
              <a:gd name="connsiteX8057" fmla="*/ 7158102 w 7714416"/>
              <a:gd name="connsiteY8057" fmla="*/ 4276854 h 5282095"/>
              <a:gd name="connsiteX8058" fmla="*/ 7164405 w 7714416"/>
              <a:gd name="connsiteY8058" fmla="*/ 4274631 h 5282095"/>
              <a:gd name="connsiteX8059" fmla="*/ 5598877 w 7714416"/>
              <a:gd name="connsiteY8059" fmla="*/ 4274520 h 5282095"/>
              <a:gd name="connsiteX8060" fmla="*/ 5602028 w 7714416"/>
              <a:gd name="connsiteY8060" fmla="*/ 4285295 h 5282095"/>
              <a:gd name="connsiteX8061" fmla="*/ 5599450 w 7714416"/>
              <a:gd name="connsiteY8061" fmla="*/ 4287628 h 5282095"/>
              <a:gd name="connsiteX8062" fmla="*/ 5595440 w 7714416"/>
              <a:gd name="connsiteY8062" fmla="*/ 4285851 h 5282095"/>
              <a:gd name="connsiteX8063" fmla="*/ 5598877 w 7714416"/>
              <a:gd name="connsiteY8063" fmla="*/ 4274520 h 5282095"/>
              <a:gd name="connsiteX8064" fmla="*/ 2170759 w 7714416"/>
              <a:gd name="connsiteY8064" fmla="*/ 4272521 h 5282095"/>
              <a:gd name="connsiteX8065" fmla="*/ 2171618 w 7714416"/>
              <a:gd name="connsiteY8065" fmla="*/ 4274632 h 5282095"/>
              <a:gd name="connsiteX8066" fmla="*/ 2187373 w 7714416"/>
              <a:gd name="connsiteY8066" fmla="*/ 4288850 h 5282095"/>
              <a:gd name="connsiteX8067" fmla="*/ 2164169 w 7714416"/>
              <a:gd name="connsiteY8067" fmla="*/ 4274187 h 5282095"/>
              <a:gd name="connsiteX8068" fmla="*/ 2170759 w 7714416"/>
              <a:gd name="connsiteY8068" fmla="*/ 4272521 h 5282095"/>
              <a:gd name="connsiteX8069" fmla="*/ 5623799 w 7714416"/>
              <a:gd name="connsiteY8069" fmla="*/ 4271744 h 5282095"/>
              <a:gd name="connsiteX8070" fmla="*/ 5609190 w 7714416"/>
              <a:gd name="connsiteY8070" fmla="*/ 4275187 h 5282095"/>
              <a:gd name="connsiteX8071" fmla="*/ 5623799 w 7714416"/>
              <a:gd name="connsiteY8071" fmla="*/ 4271744 h 5282095"/>
              <a:gd name="connsiteX8072" fmla="*/ 6821220 w 7714416"/>
              <a:gd name="connsiteY8072" fmla="*/ 4271632 h 5282095"/>
              <a:gd name="connsiteX8073" fmla="*/ 6828096 w 7714416"/>
              <a:gd name="connsiteY8073" fmla="*/ 4276964 h 5282095"/>
              <a:gd name="connsiteX8074" fmla="*/ 6822939 w 7714416"/>
              <a:gd name="connsiteY8074" fmla="*/ 4281074 h 5282095"/>
              <a:gd name="connsiteX8075" fmla="*/ 6816349 w 7714416"/>
              <a:gd name="connsiteY8075" fmla="*/ 4275854 h 5282095"/>
              <a:gd name="connsiteX8076" fmla="*/ 6821220 w 7714416"/>
              <a:gd name="connsiteY8076" fmla="*/ 4271632 h 5282095"/>
              <a:gd name="connsiteX8077" fmla="*/ 6091596 w 7714416"/>
              <a:gd name="connsiteY8077" fmla="*/ 4270189 h 5282095"/>
              <a:gd name="connsiteX8078" fmla="*/ 6105632 w 7714416"/>
              <a:gd name="connsiteY8078" fmla="*/ 4274520 h 5282095"/>
              <a:gd name="connsiteX8079" fmla="*/ 6091596 w 7714416"/>
              <a:gd name="connsiteY8079" fmla="*/ 4270189 h 5282095"/>
              <a:gd name="connsiteX8080" fmla="*/ 5742682 w 7714416"/>
              <a:gd name="connsiteY8080" fmla="*/ 4269966 h 5282095"/>
              <a:gd name="connsiteX8081" fmla="*/ 5750703 w 7714416"/>
              <a:gd name="connsiteY8081" fmla="*/ 4273410 h 5282095"/>
              <a:gd name="connsiteX8082" fmla="*/ 5750130 w 7714416"/>
              <a:gd name="connsiteY8082" fmla="*/ 4275854 h 5282095"/>
              <a:gd name="connsiteX8083" fmla="*/ 5754427 w 7714416"/>
              <a:gd name="connsiteY8083" fmla="*/ 4281963 h 5282095"/>
              <a:gd name="connsiteX8084" fmla="*/ 5750416 w 7714416"/>
              <a:gd name="connsiteY8084" fmla="*/ 4292405 h 5282095"/>
              <a:gd name="connsiteX8085" fmla="*/ 5747552 w 7714416"/>
              <a:gd name="connsiteY8085" fmla="*/ 4295626 h 5282095"/>
              <a:gd name="connsiteX8086" fmla="*/ 5746120 w 7714416"/>
              <a:gd name="connsiteY8086" fmla="*/ 4298070 h 5282095"/>
              <a:gd name="connsiteX8087" fmla="*/ 5743828 w 7714416"/>
              <a:gd name="connsiteY8087" fmla="*/ 4299403 h 5282095"/>
              <a:gd name="connsiteX8088" fmla="*/ 5741536 w 7714416"/>
              <a:gd name="connsiteY8088" fmla="*/ 4301958 h 5282095"/>
              <a:gd name="connsiteX8089" fmla="*/ 5732369 w 7714416"/>
              <a:gd name="connsiteY8089" fmla="*/ 4307957 h 5282095"/>
              <a:gd name="connsiteX8090" fmla="*/ 5733515 w 7714416"/>
              <a:gd name="connsiteY8090" fmla="*/ 4303069 h 5282095"/>
              <a:gd name="connsiteX8091" fmla="*/ 5731224 w 7714416"/>
              <a:gd name="connsiteY8091" fmla="*/ 4302291 h 5282095"/>
              <a:gd name="connsiteX8092" fmla="*/ 5728358 w 7714416"/>
              <a:gd name="connsiteY8092" fmla="*/ 4301069 h 5282095"/>
              <a:gd name="connsiteX8093" fmla="*/ 5734088 w 7714416"/>
              <a:gd name="connsiteY8093" fmla="*/ 4290850 h 5282095"/>
              <a:gd name="connsiteX8094" fmla="*/ 5736952 w 7714416"/>
              <a:gd name="connsiteY8094" fmla="*/ 4290516 h 5282095"/>
              <a:gd name="connsiteX8095" fmla="*/ 5737239 w 7714416"/>
              <a:gd name="connsiteY8095" fmla="*/ 4289628 h 5282095"/>
              <a:gd name="connsiteX8096" fmla="*/ 5738385 w 7714416"/>
              <a:gd name="connsiteY8096" fmla="*/ 4287850 h 5282095"/>
              <a:gd name="connsiteX8097" fmla="*/ 5734088 w 7714416"/>
              <a:gd name="connsiteY8097" fmla="*/ 4289295 h 5282095"/>
              <a:gd name="connsiteX8098" fmla="*/ 5732942 w 7714416"/>
              <a:gd name="connsiteY8098" fmla="*/ 4284407 h 5282095"/>
              <a:gd name="connsiteX8099" fmla="*/ 5736952 w 7714416"/>
              <a:gd name="connsiteY8099" fmla="*/ 4284407 h 5282095"/>
              <a:gd name="connsiteX8100" fmla="*/ 5739244 w 7714416"/>
              <a:gd name="connsiteY8100" fmla="*/ 4285740 h 5282095"/>
              <a:gd name="connsiteX8101" fmla="*/ 5738672 w 7714416"/>
              <a:gd name="connsiteY8101" fmla="*/ 4286850 h 5282095"/>
              <a:gd name="connsiteX8102" fmla="*/ 5739817 w 7714416"/>
              <a:gd name="connsiteY8102" fmla="*/ 4284740 h 5282095"/>
              <a:gd name="connsiteX8103" fmla="*/ 5739817 w 7714416"/>
              <a:gd name="connsiteY8103" fmla="*/ 4282740 h 5282095"/>
              <a:gd name="connsiteX8104" fmla="*/ 5741250 w 7714416"/>
              <a:gd name="connsiteY8104" fmla="*/ 4280408 h 5282095"/>
              <a:gd name="connsiteX8105" fmla="*/ 5742396 w 7714416"/>
              <a:gd name="connsiteY8105" fmla="*/ 4280296 h 5282095"/>
              <a:gd name="connsiteX8106" fmla="*/ 5745833 w 7714416"/>
              <a:gd name="connsiteY8106" fmla="*/ 4276631 h 5282095"/>
              <a:gd name="connsiteX8107" fmla="*/ 5742109 w 7714416"/>
              <a:gd name="connsiteY8107" fmla="*/ 4277186 h 5282095"/>
              <a:gd name="connsiteX8108" fmla="*/ 5737239 w 7714416"/>
              <a:gd name="connsiteY8108" fmla="*/ 4273410 h 5282095"/>
              <a:gd name="connsiteX8109" fmla="*/ 5738098 w 7714416"/>
              <a:gd name="connsiteY8109" fmla="*/ 4270855 h 5282095"/>
              <a:gd name="connsiteX8110" fmla="*/ 5742682 w 7714416"/>
              <a:gd name="connsiteY8110" fmla="*/ 4269966 h 5282095"/>
              <a:gd name="connsiteX8111" fmla="*/ 2183936 w 7714416"/>
              <a:gd name="connsiteY8111" fmla="*/ 4269855 h 5282095"/>
              <a:gd name="connsiteX8112" fmla="*/ 2191384 w 7714416"/>
              <a:gd name="connsiteY8112" fmla="*/ 4278298 h 5282095"/>
              <a:gd name="connsiteX8113" fmla="*/ 2193962 w 7714416"/>
              <a:gd name="connsiteY8113" fmla="*/ 4284406 h 5282095"/>
              <a:gd name="connsiteX8114" fmla="*/ 2192529 w 7714416"/>
              <a:gd name="connsiteY8114" fmla="*/ 4284850 h 5282095"/>
              <a:gd name="connsiteX8115" fmla="*/ 2183650 w 7714416"/>
              <a:gd name="connsiteY8115" fmla="*/ 4274631 h 5282095"/>
              <a:gd name="connsiteX8116" fmla="*/ 2182218 w 7714416"/>
              <a:gd name="connsiteY8116" fmla="*/ 4270188 h 5282095"/>
              <a:gd name="connsiteX8117" fmla="*/ 2182790 w 7714416"/>
              <a:gd name="connsiteY8117" fmla="*/ 4271410 h 5282095"/>
              <a:gd name="connsiteX8118" fmla="*/ 2183936 w 7714416"/>
              <a:gd name="connsiteY8118" fmla="*/ 4269855 h 5282095"/>
              <a:gd name="connsiteX8119" fmla="*/ 2077372 w 7714416"/>
              <a:gd name="connsiteY8119" fmla="*/ 4269410 h 5282095"/>
              <a:gd name="connsiteX8120" fmla="*/ 2077371 w 7714416"/>
              <a:gd name="connsiteY8120" fmla="*/ 4280296 h 5282095"/>
              <a:gd name="connsiteX8121" fmla="*/ 2077372 w 7714416"/>
              <a:gd name="connsiteY8121" fmla="*/ 4269410 h 5282095"/>
              <a:gd name="connsiteX8122" fmla="*/ 1947316 w 7714416"/>
              <a:gd name="connsiteY8122" fmla="*/ 4268965 h 5282095"/>
              <a:gd name="connsiteX8123" fmla="*/ 1947029 w 7714416"/>
              <a:gd name="connsiteY8123" fmla="*/ 4274742 h 5282095"/>
              <a:gd name="connsiteX8124" fmla="*/ 1941301 w 7714416"/>
              <a:gd name="connsiteY8124" fmla="*/ 4277297 h 5282095"/>
              <a:gd name="connsiteX8125" fmla="*/ 1947316 w 7714416"/>
              <a:gd name="connsiteY8125" fmla="*/ 4268965 h 5282095"/>
              <a:gd name="connsiteX8126" fmla="*/ 5785938 w 7714416"/>
              <a:gd name="connsiteY8126" fmla="*/ 4268078 h 5282095"/>
              <a:gd name="connsiteX8127" fmla="*/ 5787657 w 7714416"/>
              <a:gd name="connsiteY8127" fmla="*/ 4268966 h 5282095"/>
              <a:gd name="connsiteX8128" fmla="*/ 5784506 w 7714416"/>
              <a:gd name="connsiteY8128" fmla="*/ 4268966 h 5282095"/>
              <a:gd name="connsiteX8129" fmla="*/ 5785938 w 7714416"/>
              <a:gd name="connsiteY8129" fmla="*/ 4268078 h 5282095"/>
              <a:gd name="connsiteX8130" fmla="*/ 1803798 w 7714416"/>
              <a:gd name="connsiteY8130" fmla="*/ 4267522 h 5282095"/>
              <a:gd name="connsiteX8131" fmla="*/ 1829006 w 7714416"/>
              <a:gd name="connsiteY8131" fmla="*/ 4271299 h 5282095"/>
              <a:gd name="connsiteX8132" fmla="*/ 1807522 w 7714416"/>
              <a:gd name="connsiteY8132" fmla="*/ 4276520 h 5282095"/>
              <a:gd name="connsiteX8133" fmla="*/ 1782026 w 7714416"/>
              <a:gd name="connsiteY8133" fmla="*/ 4276074 h 5282095"/>
              <a:gd name="connsiteX8134" fmla="*/ 1803798 w 7714416"/>
              <a:gd name="connsiteY8134" fmla="*/ 4267522 h 5282095"/>
              <a:gd name="connsiteX8135" fmla="*/ 2026380 w 7714416"/>
              <a:gd name="connsiteY8135" fmla="*/ 4267077 h 5282095"/>
              <a:gd name="connsiteX8136" fmla="*/ 2028100 w 7714416"/>
              <a:gd name="connsiteY8136" fmla="*/ 4279630 h 5282095"/>
              <a:gd name="connsiteX8137" fmla="*/ 2024088 w 7714416"/>
              <a:gd name="connsiteY8137" fmla="*/ 4279408 h 5282095"/>
              <a:gd name="connsiteX8138" fmla="*/ 2024661 w 7714416"/>
              <a:gd name="connsiteY8138" fmla="*/ 4280297 h 5282095"/>
              <a:gd name="connsiteX8139" fmla="*/ 2023516 w 7714416"/>
              <a:gd name="connsiteY8139" fmla="*/ 4285962 h 5282095"/>
              <a:gd name="connsiteX8140" fmla="*/ 2020937 w 7714416"/>
              <a:gd name="connsiteY8140" fmla="*/ 4281185 h 5282095"/>
              <a:gd name="connsiteX8141" fmla="*/ 2020365 w 7714416"/>
              <a:gd name="connsiteY8141" fmla="*/ 4279075 h 5282095"/>
              <a:gd name="connsiteX8142" fmla="*/ 2015494 w 7714416"/>
              <a:gd name="connsiteY8142" fmla="*/ 4278741 h 5282095"/>
              <a:gd name="connsiteX8143" fmla="*/ 2006614 w 7714416"/>
              <a:gd name="connsiteY8143" fmla="*/ 4271521 h 5282095"/>
              <a:gd name="connsiteX8144" fmla="*/ 2026380 w 7714416"/>
              <a:gd name="connsiteY8144" fmla="*/ 4267077 h 5282095"/>
              <a:gd name="connsiteX8145" fmla="*/ 6307016 w 7714416"/>
              <a:gd name="connsiteY8145" fmla="*/ 4266967 h 5282095"/>
              <a:gd name="connsiteX8146" fmla="*/ 6318762 w 7714416"/>
              <a:gd name="connsiteY8146" fmla="*/ 4267966 h 5282095"/>
              <a:gd name="connsiteX8147" fmla="*/ 6315038 w 7714416"/>
              <a:gd name="connsiteY8147" fmla="*/ 4278186 h 5282095"/>
              <a:gd name="connsiteX8148" fmla="*/ 6309022 w 7714416"/>
              <a:gd name="connsiteY8148" fmla="*/ 4280075 h 5282095"/>
              <a:gd name="connsiteX8149" fmla="*/ 6301574 w 7714416"/>
              <a:gd name="connsiteY8149" fmla="*/ 4279408 h 5282095"/>
              <a:gd name="connsiteX8150" fmla="*/ 6289830 w 7714416"/>
              <a:gd name="connsiteY8150" fmla="*/ 4278408 h 5282095"/>
              <a:gd name="connsiteX8151" fmla="*/ 6288397 w 7714416"/>
              <a:gd name="connsiteY8151" fmla="*/ 4272521 h 5282095"/>
              <a:gd name="connsiteX8152" fmla="*/ 6307016 w 7714416"/>
              <a:gd name="connsiteY8152" fmla="*/ 4266967 h 5282095"/>
              <a:gd name="connsiteX8153" fmla="*/ 5723775 w 7714416"/>
              <a:gd name="connsiteY8153" fmla="*/ 4266856 h 5282095"/>
              <a:gd name="connsiteX8154" fmla="*/ 5728932 w 7714416"/>
              <a:gd name="connsiteY8154" fmla="*/ 4268966 h 5282095"/>
              <a:gd name="connsiteX8155" fmla="*/ 5729219 w 7714416"/>
              <a:gd name="connsiteY8155" fmla="*/ 4274076 h 5282095"/>
              <a:gd name="connsiteX8156" fmla="*/ 5721770 w 7714416"/>
              <a:gd name="connsiteY8156" fmla="*/ 4282519 h 5282095"/>
              <a:gd name="connsiteX8157" fmla="*/ 5714608 w 7714416"/>
              <a:gd name="connsiteY8157" fmla="*/ 4273298 h 5282095"/>
              <a:gd name="connsiteX8158" fmla="*/ 5716900 w 7714416"/>
              <a:gd name="connsiteY8158" fmla="*/ 4270966 h 5282095"/>
              <a:gd name="connsiteX8159" fmla="*/ 5723775 w 7714416"/>
              <a:gd name="connsiteY8159" fmla="*/ 4266856 h 5282095"/>
              <a:gd name="connsiteX8160" fmla="*/ 6706921 w 7714416"/>
              <a:gd name="connsiteY8160" fmla="*/ 4265300 h 5282095"/>
              <a:gd name="connsiteX8161" fmla="*/ 6707208 w 7714416"/>
              <a:gd name="connsiteY8161" fmla="*/ 4268966 h 5282095"/>
              <a:gd name="connsiteX8162" fmla="*/ 6706349 w 7714416"/>
              <a:gd name="connsiteY8162" fmla="*/ 4270521 h 5282095"/>
              <a:gd name="connsiteX8163" fmla="*/ 6706921 w 7714416"/>
              <a:gd name="connsiteY8163" fmla="*/ 4271633 h 5282095"/>
              <a:gd name="connsiteX8164" fmla="*/ 6705202 w 7714416"/>
              <a:gd name="connsiteY8164" fmla="*/ 4272188 h 5282095"/>
              <a:gd name="connsiteX8165" fmla="*/ 6704916 w 7714416"/>
              <a:gd name="connsiteY8165" fmla="*/ 4272632 h 5282095"/>
              <a:gd name="connsiteX8166" fmla="*/ 6704343 w 7714416"/>
              <a:gd name="connsiteY8166" fmla="*/ 4273854 h 5282095"/>
              <a:gd name="connsiteX8167" fmla="*/ 6711791 w 7714416"/>
              <a:gd name="connsiteY8167" fmla="*/ 4272521 h 5282095"/>
              <a:gd name="connsiteX8168" fmla="*/ 6731844 w 7714416"/>
              <a:gd name="connsiteY8168" fmla="*/ 4277075 h 5282095"/>
              <a:gd name="connsiteX8169" fmla="*/ 6711218 w 7714416"/>
              <a:gd name="connsiteY8169" fmla="*/ 4280519 h 5282095"/>
              <a:gd name="connsiteX8170" fmla="*/ 6702625 w 7714416"/>
              <a:gd name="connsiteY8170" fmla="*/ 4279408 h 5282095"/>
              <a:gd name="connsiteX8171" fmla="*/ 6702624 w 7714416"/>
              <a:gd name="connsiteY8171" fmla="*/ 4279853 h 5282095"/>
              <a:gd name="connsiteX8172" fmla="*/ 6702338 w 7714416"/>
              <a:gd name="connsiteY8172" fmla="*/ 4283296 h 5282095"/>
              <a:gd name="connsiteX8173" fmla="*/ 6695462 w 7714416"/>
              <a:gd name="connsiteY8173" fmla="*/ 4290739 h 5282095"/>
              <a:gd name="connsiteX8174" fmla="*/ 6691166 w 7714416"/>
              <a:gd name="connsiteY8174" fmla="*/ 4289627 h 5282095"/>
              <a:gd name="connsiteX8175" fmla="*/ 6689160 w 7714416"/>
              <a:gd name="connsiteY8175" fmla="*/ 4292738 h 5282095"/>
              <a:gd name="connsiteX8176" fmla="*/ 6681998 w 7714416"/>
              <a:gd name="connsiteY8176" fmla="*/ 4298848 h 5282095"/>
              <a:gd name="connsiteX8177" fmla="*/ 6681712 w 7714416"/>
              <a:gd name="connsiteY8177" fmla="*/ 4298847 h 5282095"/>
              <a:gd name="connsiteX8178" fmla="*/ 6678561 w 7714416"/>
              <a:gd name="connsiteY8178" fmla="*/ 4301291 h 5282095"/>
              <a:gd name="connsiteX8179" fmla="*/ 6639602 w 7714416"/>
              <a:gd name="connsiteY8179" fmla="*/ 4298959 h 5282095"/>
              <a:gd name="connsiteX8180" fmla="*/ 6639888 w 7714416"/>
              <a:gd name="connsiteY8180" fmla="*/ 4297403 h 5282095"/>
              <a:gd name="connsiteX8181" fmla="*/ 6637596 w 7714416"/>
              <a:gd name="connsiteY8181" fmla="*/ 4302624 h 5282095"/>
              <a:gd name="connsiteX8182" fmla="*/ 6629002 w 7714416"/>
              <a:gd name="connsiteY8182" fmla="*/ 4301958 h 5282095"/>
              <a:gd name="connsiteX8183" fmla="*/ 6626424 w 7714416"/>
              <a:gd name="connsiteY8183" fmla="*/ 4300291 h 5282095"/>
              <a:gd name="connsiteX8184" fmla="*/ 6625852 w 7714416"/>
              <a:gd name="connsiteY8184" fmla="*/ 4303401 h 5282095"/>
              <a:gd name="connsiteX8185" fmla="*/ 6614106 w 7714416"/>
              <a:gd name="connsiteY8185" fmla="*/ 4302291 h 5282095"/>
              <a:gd name="connsiteX8186" fmla="*/ 6615538 w 7714416"/>
              <a:gd name="connsiteY8186" fmla="*/ 4296292 h 5282095"/>
              <a:gd name="connsiteX8187" fmla="*/ 6621840 w 7714416"/>
              <a:gd name="connsiteY8187" fmla="*/ 4296182 h 5282095"/>
              <a:gd name="connsiteX8188" fmla="*/ 6619263 w 7714416"/>
              <a:gd name="connsiteY8188" fmla="*/ 4291405 h 5282095"/>
              <a:gd name="connsiteX8189" fmla="*/ 6620408 w 7714416"/>
              <a:gd name="connsiteY8189" fmla="*/ 4285740 h 5282095"/>
              <a:gd name="connsiteX8190" fmla="*/ 6633300 w 7714416"/>
              <a:gd name="connsiteY8190" fmla="*/ 4288295 h 5282095"/>
              <a:gd name="connsiteX8191" fmla="*/ 6639888 w 7714416"/>
              <a:gd name="connsiteY8191" fmla="*/ 4296959 h 5282095"/>
              <a:gd name="connsiteX8192" fmla="*/ 6641607 w 7714416"/>
              <a:gd name="connsiteY8192" fmla="*/ 4287072 h 5282095"/>
              <a:gd name="connsiteX8193" fmla="*/ 6672545 w 7714416"/>
              <a:gd name="connsiteY8193" fmla="*/ 4269966 h 5282095"/>
              <a:gd name="connsiteX8194" fmla="*/ 6685436 w 7714416"/>
              <a:gd name="connsiteY8194" fmla="*/ 4275631 h 5282095"/>
              <a:gd name="connsiteX8195" fmla="*/ 6688300 w 7714416"/>
              <a:gd name="connsiteY8195" fmla="*/ 4280963 h 5282095"/>
              <a:gd name="connsiteX8196" fmla="*/ 6691739 w 7714416"/>
              <a:gd name="connsiteY8196" fmla="*/ 4284296 h 5282095"/>
              <a:gd name="connsiteX8197" fmla="*/ 6691167 w 7714416"/>
              <a:gd name="connsiteY8197" fmla="*/ 4283185 h 5282095"/>
              <a:gd name="connsiteX8198" fmla="*/ 6695176 w 7714416"/>
              <a:gd name="connsiteY8198" fmla="*/ 4277186 h 5282095"/>
              <a:gd name="connsiteX8199" fmla="*/ 6692884 w 7714416"/>
              <a:gd name="connsiteY8199" fmla="*/ 4276298 h 5282095"/>
              <a:gd name="connsiteX8200" fmla="*/ 6696322 w 7714416"/>
              <a:gd name="connsiteY8200" fmla="*/ 4275520 h 5282095"/>
              <a:gd name="connsiteX8201" fmla="*/ 6698327 w 7714416"/>
              <a:gd name="connsiteY8201" fmla="*/ 4272076 h 5282095"/>
              <a:gd name="connsiteX8202" fmla="*/ 6706921 w 7714416"/>
              <a:gd name="connsiteY8202" fmla="*/ 4265300 h 5282095"/>
              <a:gd name="connsiteX8203" fmla="*/ 1948463 w 7714416"/>
              <a:gd name="connsiteY8203" fmla="*/ 4263856 h 5282095"/>
              <a:gd name="connsiteX8204" fmla="*/ 1950182 w 7714416"/>
              <a:gd name="connsiteY8204" fmla="*/ 4265079 h 5282095"/>
              <a:gd name="connsiteX8205" fmla="*/ 1950182 w 7714416"/>
              <a:gd name="connsiteY8205" fmla="*/ 4265856 h 5282095"/>
              <a:gd name="connsiteX8206" fmla="*/ 1947029 w 7714416"/>
              <a:gd name="connsiteY8206" fmla="*/ 4268743 h 5282095"/>
              <a:gd name="connsiteX8207" fmla="*/ 1947029 w 7714416"/>
              <a:gd name="connsiteY8207" fmla="*/ 4264523 h 5282095"/>
              <a:gd name="connsiteX8208" fmla="*/ 1949321 w 7714416"/>
              <a:gd name="connsiteY8208" fmla="*/ 4264856 h 5282095"/>
              <a:gd name="connsiteX8209" fmla="*/ 1948463 w 7714416"/>
              <a:gd name="connsiteY8209" fmla="*/ 4263856 h 5282095"/>
              <a:gd name="connsiteX8210" fmla="*/ 6027141 w 7714416"/>
              <a:gd name="connsiteY8210" fmla="*/ 4263412 h 5282095"/>
              <a:gd name="connsiteX8211" fmla="*/ 6035162 w 7714416"/>
              <a:gd name="connsiteY8211" fmla="*/ 4269410 h 5282095"/>
              <a:gd name="connsiteX8212" fmla="*/ 6025708 w 7714416"/>
              <a:gd name="connsiteY8212" fmla="*/ 4273299 h 5282095"/>
              <a:gd name="connsiteX8213" fmla="*/ 6023130 w 7714416"/>
              <a:gd name="connsiteY8213" fmla="*/ 4264190 h 5282095"/>
              <a:gd name="connsiteX8214" fmla="*/ 6027141 w 7714416"/>
              <a:gd name="connsiteY8214" fmla="*/ 4263412 h 5282095"/>
              <a:gd name="connsiteX8215" fmla="*/ 1772286 w 7714416"/>
              <a:gd name="connsiteY8215" fmla="*/ 4263189 h 5282095"/>
              <a:gd name="connsiteX8216" fmla="*/ 1783458 w 7714416"/>
              <a:gd name="connsiteY8216" fmla="*/ 4271077 h 5282095"/>
              <a:gd name="connsiteX8217" fmla="*/ 1766844 w 7714416"/>
              <a:gd name="connsiteY8217" fmla="*/ 4266078 h 5282095"/>
              <a:gd name="connsiteX8218" fmla="*/ 1772286 w 7714416"/>
              <a:gd name="connsiteY8218" fmla="*/ 4263189 h 5282095"/>
              <a:gd name="connsiteX8219" fmla="*/ 2133805 w 7714416"/>
              <a:gd name="connsiteY8219" fmla="*/ 4261079 h 5282095"/>
              <a:gd name="connsiteX8220" fmla="*/ 2156149 w 7714416"/>
              <a:gd name="connsiteY8220" fmla="*/ 4275520 h 5282095"/>
              <a:gd name="connsiteX8221" fmla="*/ 2158441 w 7714416"/>
              <a:gd name="connsiteY8221" fmla="*/ 4277741 h 5282095"/>
              <a:gd name="connsiteX8222" fmla="*/ 2156435 w 7714416"/>
              <a:gd name="connsiteY8222" fmla="*/ 4280741 h 5282095"/>
              <a:gd name="connsiteX8223" fmla="*/ 2133519 w 7714416"/>
              <a:gd name="connsiteY8223" fmla="*/ 4272076 h 5282095"/>
              <a:gd name="connsiteX8224" fmla="*/ 2131512 w 7714416"/>
              <a:gd name="connsiteY8224" fmla="*/ 4269855 h 5282095"/>
              <a:gd name="connsiteX8225" fmla="*/ 2129507 w 7714416"/>
              <a:gd name="connsiteY8225" fmla="*/ 4261523 h 5282095"/>
              <a:gd name="connsiteX8226" fmla="*/ 2133805 w 7714416"/>
              <a:gd name="connsiteY8226" fmla="*/ 4261079 h 5282095"/>
              <a:gd name="connsiteX8227" fmla="*/ 2326022 w 7714416"/>
              <a:gd name="connsiteY8227" fmla="*/ 4260635 h 5282095"/>
              <a:gd name="connsiteX8228" fmla="*/ 2350371 w 7714416"/>
              <a:gd name="connsiteY8228" fmla="*/ 4263745 h 5282095"/>
              <a:gd name="connsiteX8229" fmla="*/ 2328028 w 7714416"/>
              <a:gd name="connsiteY8229" fmla="*/ 4269522 h 5282095"/>
              <a:gd name="connsiteX8230" fmla="*/ 2317428 w 7714416"/>
              <a:gd name="connsiteY8230" fmla="*/ 4270520 h 5282095"/>
              <a:gd name="connsiteX8231" fmla="*/ 2318860 w 7714416"/>
              <a:gd name="connsiteY8231" fmla="*/ 4272076 h 5282095"/>
              <a:gd name="connsiteX8232" fmla="*/ 2313131 w 7714416"/>
              <a:gd name="connsiteY8232" fmla="*/ 4279185 h 5282095"/>
              <a:gd name="connsiteX8233" fmla="*/ 2308547 w 7714416"/>
              <a:gd name="connsiteY8233" fmla="*/ 4277742 h 5282095"/>
              <a:gd name="connsiteX8234" fmla="*/ 2305111 w 7714416"/>
              <a:gd name="connsiteY8234" fmla="*/ 4270855 h 5282095"/>
              <a:gd name="connsiteX8235" fmla="*/ 2305396 w 7714416"/>
              <a:gd name="connsiteY8235" fmla="*/ 4269966 h 5282095"/>
              <a:gd name="connsiteX8236" fmla="*/ 2302533 w 7714416"/>
              <a:gd name="connsiteY8236" fmla="*/ 4269744 h 5282095"/>
              <a:gd name="connsiteX8237" fmla="*/ 2326022 w 7714416"/>
              <a:gd name="connsiteY8237" fmla="*/ 4260635 h 5282095"/>
              <a:gd name="connsiteX8238" fmla="*/ 6407279 w 7714416"/>
              <a:gd name="connsiteY8238" fmla="*/ 4259857 h 5282095"/>
              <a:gd name="connsiteX8239" fmla="*/ 6408138 w 7714416"/>
              <a:gd name="connsiteY8239" fmla="*/ 4264745 h 5282095"/>
              <a:gd name="connsiteX8240" fmla="*/ 6403268 w 7714416"/>
              <a:gd name="connsiteY8240" fmla="*/ 4266300 h 5282095"/>
              <a:gd name="connsiteX8241" fmla="*/ 6401836 w 7714416"/>
              <a:gd name="connsiteY8241" fmla="*/ 4260413 h 5282095"/>
              <a:gd name="connsiteX8242" fmla="*/ 6407279 w 7714416"/>
              <a:gd name="connsiteY8242" fmla="*/ 4259857 h 5282095"/>
              <a:gd name="connsiteX8243" fmla="*/ 6828668 w 7714416"/>
              <a:gd name="connsiteY8243" fmla="*/ 4258080 h 5282095"/>
              <a:gd name="connsiteX8244" fmla="*/ 6831246 w 7714416"/>
              <a:gd name="connsiteY8244" fmla="*/ 4265411 h 5282095"/>
              <a:gd name="connsiteX8245" fmla="*/ 6824372 w 7714416"/>
              <a:gd name="connsiteY8245" fmla="*/ 4266966 h 5282095"/>
              <a:gd name="connsiteX8246" fmla="*/ 6821793 w 7714416"/>
              <a:gd name="connsiteY8246" fmla="*/ 4259635 h 5282095"/>
              <a:gd name="connsiteX8247" fmla="*/ 6828668 w 7714416"/>
              <a:gd name="connsiteY8247" fmla="*/ 4258080 h 5282095"/>
              <a:gd name="connsiteX8248" fmla="*/ 6156050 w 7714416"/>
              <a:gd name="connsiteY8248" fmla="*/ 4257413 h 5282095"/>
              <a:gd name="connsiteX8249" fmla="*/ 6159774 w 7714416"/>
              <a:gd name="connsiteY8249" fmla="*/ 4260968 h 5282095"/>
              <a:gd name="connsiteX8250" fmla="*/ 6132560 w 7714416"/>
              <a:gd name="connsiteY8250" fmla="*/ 4292072 h 5282095"/>
              <a:gd name="connsiteX8251" fmla="*/ 6156050 w 7714416"/>
              <a:gd name="connsiteY8251" fmla="*/ 4257413 h 5282095"/>
              <a:gd name="connsiteX8252" fmla="*/ 5863570 w 7714416"/>
              <a:gd name="connsiteY8252" fmla="*/ 4255636 h 5282095"/>
              <a:gd name="connsiteX8253" fmla="*/ 5859846 w 7714416"/>
              <a:gd name="connsiteY8253" fmla="*/ 4258747 h 5282095"/>
              <a:gd name="connsiteX8254" fmla="*/ 5861851 w 7714416"/>
              <a:gd name="connsiteY8254" fmla="*/ 4258191 h 5282095"/>
              <a:gd name="connsiteX8255" fmla="*/ 5862424 w 7714416"/>
              <a:gd name="connsiteY8255" fmla="*/ 4257080 h 5282095"/>
              <a:gd name="connsiteX8256" fmla="*/ 5863856 w 7714416"/>
              <a:gd name="connsiteY8256" fmla="*/ 4256414 h 5282095"/>
              <a:gd name="connsiteX8257" fmla="*/ 5863570 w 7714416"/>
              <a:gd name="connsiteY8257" fmla="*/ 4255970 h 5282095"/>
              <a:gd name="connsiteX8258" fmla="*/ 6307303 w 7714416"/>
              <a:gd name="connsiteY8258" fmla="*/ 4255303 h 5282095"/>
              <a:gd name="connsiteX8259" fmla="*/ 6308449 w 7714416"/>
              <a:gd name="connsiteY8259" fmla="*/ 4256747 h 5282095"/>
              <a:gd name="connsiteX8260" fmla="*/ 6307590 w 7714416"/>
              <a:gd name="connsiteY8260" fmla="*/ 4259080 h 5282095"/>
              <a:gd name="connsiteX8261" fmla="*/ 6304725 w 7714416"/>
              <a:gd name="connsiteY8261" fmla="*/ 4263967 h 5282095"/>
              <a:gd name="connsiteX8262" fmla="*/ 6307303 w 7714416"/>
              <a:gd name="connsiteY8262" fmla="*/ 4255303 h 5282095"/>
              <a:gd name="connsiteX8263" fmla="*/ 6180972 w 7714416"/>
              <a:gd name="connsiteY8263" fmla="*/ 4254636 h 5282095"/>
              <a:gd name="connsiteX8264" fmla="*/ 6197301 w 7714416"/>
              <a:gd name="connsiteY8264" fmla="*/ 4258302 h 5282095"/>
              <a:gd name="connsiteX8265" fmla="*/ 6200452 w 7714416"/>
              <a:gd name="connsiteY8265" fmla="*/ 4259635 h 5282095"/>
              <a:gd name="connsiteX8266" fmla="*/ 6204176 w 7714416"/>
              <a:gd name="connsiteY8266" fmla="*/ 4260856 h 5282095"/>
              <a:gd name="connsiteX8267" fmla="*/ 6206181 w 7714416"/>
              <a:gd name="connsiteY8267" fmla="*/ 4265745 h 5282095"/>
              <a:gd name="connsiteX8268" fmla="*/ 6174956 w 7714416"/>
              <a:gd name="connsiteY8268" fmla="*/ 4257525 h 5282095"/>
              <a:gd name="connsiteX8269" fmla="*/ 6176389 w 7714416"/>
              <a:gd name="connsiteY8269" fmla="*/ 4255192 h 5282095"/>
              <a:gd name="connsiteX8270" fmla="*/ 6180972 w 7714416"/>
              <a:gd name="connsiteY8270" fmla="*/ 4254636 h 5282095"/>
              <a:gd name="connsiteX8271" fmla="*/ 5711172 w 7714416"/>
              <a:gd name="connsiteY8271" fmla="*/ 4253081 h 5282095"/>
              <a:gd name="connsiteX8272" fmla="*/ 5653878 w 7714416"/>
              <a:gd name="connsiteY8272" fmla="*/ 4295293 h 5282095"/>
              <a:gd name="connsiteX8273" fmla="*/ 5652446 w 7714416"/>
              <a:gd name="connsiteY8273" fmla="*/ 4293960 h 5282095"/>
              <a:gd name="connsiteX8274" fmla="*/ 5652732 w 7714416"/>
              <a:gd name="connsiteY8274" fmla="*/ 4297293 h 5282095"/>
              <a:gd name="connsiteX8275" fmla="*/ 5651013 w 7714416"/>
              <a:gd name="connsiteY8275" fmla="*/ 4302179 h 5282095"/>
              <a:gd name="connsiteX8276" fmla="*/ 5647862 w 7714416"/>
              <a:gd name="connsiteY8276" fmla="*/ 4304291 h 5282095"/>
              <a:gd name="connsiteX8277" fmla="*/ 5641846 w 7714416"/>
              <a:gd name="connsiteY8277" fmla="*/ 4300180 h 5282095"/>
              <a:gd name="connsiteX8278" fmla="*/ 5646430 w 7714416"/>
              <a:gd name="connsiteY8278" fmla="*/ 4289295 h 5282095"/>
              <a:gd name="connsiteX8279" fmla="*/ 5648435 w 7714416"/>
              <a:gd name="connsiteY8279" fmla="*/ 4290405 h 5282095"/>
              <a:gd name="connsiteX8280" fmla="*/ 5643279 w 7714416"/>
              <a:gd name="connsiteY8280" fmla="*/ 4283962 h 5282095"/>
              <a:gd name="connsiteX8281" fmla="*/ 5651301 w 7714416"/>
              <a:gd name="connsiteY8281" fmla="*/ 4280296 h 5282095"/>
              <a:gd name="connsiteX8282" fmla="*/ 5650154 w 7714416"/>
              <a:gd name="connsiteY8282" fmla="*/ 4279186 h 5282095"/>
              <a:gd name="connsiteX8283" fmla="*/ 5651586 w 7714416"/>
              <a:gd name="connsiteY8283" fmla="*/ 4275631 h 5282095"/>
              <a:gd name="connsiteX8284" fmla="*/ 5655883 w 7714416"/>
              <a:gd name="connsiteY8284" fmla="*/ 4277520 h 5282095"/>
              <a:gd name="connsiteX8285" fmla="*/ 5655883 w 7714416"/>
              <a:gd name="connsiteY8285" fmla="*/ 4278074 h 5282095"/>
              <a:gd name="connsiteX8286" fmla="*/ 5676222 w 7714416"/>
              <a:gd name="connsiteY8286" fmla="*/ 4268855 h 5282095"/>
              <a:gd name="connsiteX8287" fmla="*/ 5675936 w 7714416"/>
              <a:gd name="connsiteY8287" fmla="*/ 4268189 h 5282095"/>
              <a:gd name="connsiteX8288" fmla="*/ 5688254 w 7714416"/>
              <a:gd name="connsiteY8288" fmla="*/ 4259413 h 5282095"/>
              <a:gd name="connsiteX8289" fmla="*/ 5690545 w 7714416"/>
              <a:gd name="connsiteY8289" fmla="*/ 4262301 h 5282095"/>
              <a:gd name="connsiteX8290" fmla="*/ 5820027 w 7714416"/>
              <a:gd name="connsiteY8290" fmla="*/ 4252748 h 5282095"/>
              <a:gd name="connsiteX8291" fmla="*/ 5826616 w 7714416"/>
              <a:gd name="connsiteY8291" fmla="*/ 4253081 h 5282095"/>
              <a:gd name="connsiteX8292" fmla="*/ 5846668 w 7714416"/>
              <a:gd name="connsiteY8292" fmla="*/ 4265300 h 5282095"/>
              <a:gd name="connsiteX8293" fmla="*/ 5833204 w 7714416"/>
              <a:gd name="connsiteY8293" fmla="*/ 4291627 h 5282095"/>
              <a:gd name="connsiteX8294" fmla="*/ 5802840 w 7714416"/>
              <a:gd name="connsiteY8294" fmla="*/ 4261524 h 5282095"/>
              <a:gd name="connsiteX8295" fmla="*/ 5820027 w 7714416"/>
              <a:gd name="connsiteY8295" fmla="*/ 4252748 h 5282095"/>
              <a:gd name="connsiteX8296" fmla="*/ 1923826 w 7714416"/>
              <a:gd name="connsiteY8296" fmla="*/ 4252415 h 5282095"/>
              <a:gd name="connsiteX8297" fmla="*/ 1930416 w 7714416"/>
              <a:gd name="connsiteY8297" fmla="*/ 4252749 h 5282095"/>
              <a:gd name="connsiteX8298" fmla="*/ 1923827 w 7714416"/>
              <a:gd name="connsiteY8298" fmla="*/ 4262301 h 5282095"/>
              <a:gd name="connsiteX8299" fmla="*/ 1920102 w 7714416"/>
              <a:gd name="connsiteY8299" fmla="*/ 4262079 h 5282095"/>
              <a:gd name="connsiteX8300" fmla="*/ 1911509 w 7714416"/>
              <a:gd name="connsiteY8300" fmla="*/ 4260301 h 5282095"/>
              <a:gd name="connsiteX8301" fmla="*/ 1910936 w 7714416"/>
              <a:gd name="connsiteY8301" fmla="*/ 4255859 h 5282095"/>
              <a:gd name="connsiteX8302" fmla="*/ 1916664 w 7714416"/>
              <a:gd name="connsiteY8302" fmla="*/ 4252859 h 5282095"/>
              <a:gd name="connsiteX8303" fmla="*/ 1923826 w 7714416"/>
              <a:gd name="connsiteY8303" fmla="*/ 4252415 h 5282095"/>
              <a:gd name="connsiteX8304" fmla="*/ 6276078 w 7714416"/>
              <a:gd name="connsiteY8304" fmla="*/ 4251860 h 5282095"/>
              <a:gd name="connsiteX8305" fmla="*/ 6284386 w 7714416"/>
              <a:gd name="connsiteY8305" fmla="*/ 4253081 h 5282095"/>
              <a:gd name="connsiteX8306" fmla="*/ 6282954 w 7714416"/>
              <a:gd name="connsiteY8306" fmla="*/ 4260635 h 5282095"/>
              <a:gd name="connsiteX8307" fmla="*/ 6271782 w 7714416"/>
              <a:gd name="connsiteY8307" fmla="*/ 4255414 h 5282095"/>
              <a:gd name="connsiteX8308" fmla="*/ 6276078 w 7714416"/>
              <a:gd name="connsiteY8308" fmla="*/ 4251860 h 5282095"/>
              <a:gd name="connsiteX8309" fmla="*/ 7052684 w 7714416"/>
              <a:gd name="connsiteY8309" fmla="*/ 4251748 h 5282095"/>
              <a:gd name="connsiteX8310" fmla="*/ 7067293 w 7714416"/>
              <a:gd name="connsiteY8310" fmla="*/ 4260524 h 5282095"/>
              <a:gd name="connsiteX8311" fmla="*/ 7069584 w 7714416"/>
              <a:gd name="connsiteY8311" fmla="*/ 4264745 h 5282095"/>
              <a:gd name="connsiteX8312" fmla="*/ 7043230 w 7714416"/>
              <a:gd name="connsiteY8312" fmla="*/ 4259635 h 5282095"/>
              <a:gd name="connsiteX8313" fmla="*/ 7052684 w 7714416"/>
              <a:gd name="connsiteY8313" fmla="*/ 4251748 h 5282095"/>
              <a:gd name="connsiteX8314" fmla="*/ 6529313 w 7714416"/>
              <a:gd name="connsiteY8314" fmla="*/ 4251637 h 5282095"/>
              <a:gd name="connsiteX8315" fmla="*/ 6530746 w 7714416"/>
              <a:gd name="connsiteY8315" fmla="*/ 4251637 h 5282095"/>
              <a:gd name="connsiteX8316" fmla="*/ 6531318 w 7714416"/>
              <a:gd name="connsiteY8316" fmla="*/ 4252749 h 5282095"/>
              <a:gd name="connsiteX8317" fmla="*/ 6524730 w 7714416"/>
              <a:gd name="connsiteY8317" fmla="*/ 4253526 h 5282095"/>
              <a:gd name="connsiteX8318" fmla="*/ 6529313 w 7714416"/>
              <a:gd name="connsiteY8318" fmla="*/ 4251637 h 5282095"/>
              <a:gd name="connsiteX8319" fmla="*/ 5727500 w 7714416"/>
              <a:gd name="connsiteY8319" fmla="*/ 4250860 h 5282095"/>
              <a:gd name="connsiteX8320" fmla="*/ 5734661 w 7714416"/>
              <a:gd name="connsiteY8320" fmla="*/ 4255970 h 5282095"/>
              <a:gd name="connsiteX8321" fmla="*/ 5739817 w 7714416"/>
              <a:gd name="connsiteY8321" fmla="*/ 4256414 h 5282095"/>
              <a:gd name="connsiteX8322" fmla="*/ 5724634 w 7714416"/>
              <a:gd name="connsiteY8322" fmla="*/ 4264523 h 5282095"/>
              <a:gd name="connsiteX8323" fmla="*/ 5722630 w 7714416"/>
              <a:gd name="connsiteY8323" fmla="*/ 4264301 h 5282095"/>
              <a:gd name="connsiteX8324" fmla="*/ 5718333 w 7714416"/>
              <a:gd name="connsiteY8324" fmla="*/ 4265634 h 5282095"/>
              <a:gd name="connsiteX8325" fmla="*/ 5713177 w 7714416"/>
              <a:gd name="connsiteY8325" fmla="*/ 4262301 h 5282095"/>
              <a:gd name="connsiteX8326" fmla="*/ 5727500 w 7714416"/>
              <a:gd name="connsiteY8326" fmla="*/ 4250860 h 5282095"/>
              <a:gd name="connsiteX8327" fmla="*/ 6516708 w 7714416"/>
              <a:gd name="connsiteY8327" fmla="*/ 4249971 h 5282095"/>
              <a:gd name="connsiteX8328" fmla="*/ 6517282 w 7714416"/>
              <a:gd name="connsiteY8328" fmla="*/ 4257525 h 5282095"/>
              <a:gd name="connsiteX8329" fmla="*/ 6505823 w 7714416"/>
              <a:gd name="connsiteY8329" fmla="*/ 4251415 h 5282095"/>
              <a:gd name="connsiteX8330" fmla="*/ 6516708 w 7714416"/>
              <a:gd name="connsiteY8330" fmla="*/ 4249971 h 5282095"/>
              <a:gd name="connsiteX8331" fmla="*/ 1982837 w 7714416"/>
              <a:gd name="connsiteY8331" fmla="*/ 4249860 h 5282095"/>
              <a:gd name="connsiteX8332" fmla="*/ 2000599 w 7714416"/>
              <a:gd name="connsiteY8332" fmla="*/ 4258302 h 5282095"/>
              <a:gd name="connsiteX8333" fmla="*/ 1997734 w 7714416"/>
              <a:gd name="connsiteY8333" fmla="*/ 4262856 h 5282095"/>
              <a:gd name="connsiteX8334" fmla="*/ 1978254 w 7714416"/>
              <a:gd name="connsiteY8334" fmla="*/ 4256302 h 5282095"/>
              <a:gd name="connsiteX8335" fmla="*/ 1982837 w 7714416"/>
              <a:gd name="connsiteY8335" fmla="*/ 4249860 h 5282095"/>
              <a:gd name="connsiteX8336" fmla="*/ 6398112 w 7714416"/>
              <a:gd name="connsiteY8336" fmla="*/ 4247860 h 5282095"/>
              <a:gd name="connsiteX8337" fmla="*/ 6402410 w 7714416"/>
              <a:gd name="connsiteY8337" fmla="*/ 4248638 h 5282095"/>
              <a:gd name="connsiteX8338" fmla="*/ 6402696 w 7714416"/>
              <a:gd name="connsiteY8338" fmla="*/ 4252748 h 5282095"/>
              <a:gd name="connsiteX8339" fmla="*/ 6401264 w 7714416"/>
              <a:gd name="connsiteY8339" fmla="*/ 4253193 h 5282095"/>
              <a:gd name="connsiteX8340" fmla="*/ 6398112 w 7714416"/>
              <a:gd name="connsiteY8340" fmla="*/ 4247860 h 5282095"/>
              <a:gd name="connsiteX8341" fmla="*/ 6572282 w 7714416"/>
              <a:gd name="connsiteY8341" fmla="*/ 4247638 h 5282095"/>
              <a:gd name="connsiteX8342" fmla="*/ 6581736 w 7714416"/>
              <a:gd name="connsiteY8342" fmla="*/ 4249860 h 5282095"/>
              <a:gd name="connsiteX8343" fmla="*/ 6581450 w 7714416"/>
              <a:gd name="connsiteY8343" fmla="*/ 4254747 h 5282095"/>
              <a:gd name="connsiteX8344" fmla="*/ 6555668 w 7714416"/>
              <a:gd name="connsiteY8344" fmla="*/ 4257969 h 5282095"/>
              <a:gd name="connsiteX8345" fmla="*/ 6572282 w 7714416"/>
              <a:gd name="connsiteY8345" fmla="*/ 4247638 h 5282095"/>
              <a:gd name="connsiteX8346" fmla="*/ 7247766 w 7714416"/>
              <a:gd name="connsiteY8346" fmla="*/ 4247416 h 5282095"/>
              <a:gd name="connsiteX8347" fmla="*/ 7261516 w 7714416"/>
              <a:gd name="connsiteY8347" fmla="*/ 4247416 h 5282095"/>
              <a:gd name="connsiteX8348" fmla="*/ 7238598 w 7714416"/>
              <a:gd name="connsiteY8348" fmla="*/ 4262301 h 5282095"/>
              <a:gd name="connsiteX8349" fmla="*/ 7234016 w 7714416"/>
              <a:gd name="connsiteY8349" fmla="*/ 4251415 h 5282095"/>
              <a:gd name="connsiteX8350" fmla="*/ 7247766 w 7714416"/>
              <a:gd name="connsiteY8350" fmla="*/ 4247416 h 5282095"/>
              <a:gd name="connsiteX8351" fmla="*/ 5854403 w 7714416"/>
              <a:gd name="connsiteY8351" fmla="*/ 4246750 h 5282095"/>
              <a:gd name="connsiteX8352" fmla="*/ 5853257 w 7714416"/>
              <a:gd name="connsiteY8352" fmla="*/ 4246972 h 5282095"/>
              <a:gd name="connsiteX8353" fmla="*/ 5853544 w 7714416"/>
              <a:gd name="connsiteY8353" fmla="*/ 4247194 h 5282095"/>
              <a:gd name="connsiteX8354" fmla="*/ 6704916 w 7714416"/>
              <a:gd name="connsiteY8354" fmla="*/ 4245750 h 5282095"/>
              <a:gd name="connsiteX8355" fmla="*/ 6729265 w 7714416"/>
              <a:gd name="connsiteY8355" fmla="*/ 4253081 h 5282095"/>
              <a:gd name="connsiteX8356" fmla="*/ 6730984 w 7714416"/>
              <a:gd name="connsiteY8356" fmla="*/ 4264412 h 5282095"/>
              <a:gd name="connsiteX8357" fmla="*/ 6728119 w 7714416"/>
              <a:gd name="connsiteY8357" fmla="*/ 4268189 h 5282095"/>
              <a:gd name="connsiteX8358" fmla="*/ 6696894 w 7714416"/>
              <a:gd name="connsiteY8358" fmla="*/ 4252748 h 5282095"/>
              <a:gd name="connsiteX8359" fmla="*/ 6704916 w 7714416"/>
              <a:gd name="connsiteY8359" fmla="*/ 4245750 h 5282095"/>
              <a:gd name="connsiteX8360" fmla="*/ 5760729 w 7714416"/>
              <a:gd name="connsiteY8360" fmla="*/ 4245639 h 5282095"/>
              <a:gd name="connsiteX8361" fmla="*/ 5766172 w 7714416"/>
              <a:gd name="connsiteY8361" fmla="*/ 4246305 h 5282095"/>
              <a:gd name="connsiteX8362" fmla="*/ 5774480 w 7714416"/>
              <a:gd name="connsiteY8362" fmla="*/ 4250526 h 5282095"/>
              <a:gd name="connsiteX8363" fmla="*/ 5772474 w 7714416"/>
              <a:gd name="connsiteY8363" fmla="*/ 4264301 h 5282095"/>
              <a:gd name="connsiteX8364" fmla="*/ 5753568 w 7714416"/>
              <a:gd name="connsiteY8364" fmla="*/ 4265189 h 5282095"/>
              <a:gd name="connsiteX8365" fmla="*/ 5751562 w 7714416"/>
              <a:gd name="connsiteY8365" fmla="*/ 4267300 h 5282095"/>
              <a:gd name="connsiteX8366" fmla="*/ 5744687 w 7714416"/>
              <a:gd name="connsiteY8366" fmla="*/ 4269077 h 5282095"/>
              <a:gd name="connsiteX8367" fmla="*/ 5742968 w 7714416"/>
              <a:gd name="connsiteY8367" fmla="*/ 4266633 h 5282095"/>
              <a:gd name="connsiteX8368" fmla="*/ 5750130 w 7714416"/>
              <a:gd name="connsiteY8368" fmla="*/ 4263633 h 5282095"/>
              <a:gd name="connsiteX8369" fmla="*/ 5750130 w 7714416"/>
              <a:gd name="connsiteY8369" fmla="*/ 4262524 h 5282095"/>
              <a:gd name="connsiteX8370" fmla="*/ 5746979 w 7714416"/>
              <a:gd name="connsiteY8370" fmla="*/ 4259968 h 5282095"/>
              <a:gd name="connsiteX8371" fmla="*/ 5747267 w 7714416"/>
              <a:gd name="connsiteY8371" fmla="*/ 4248305 h 5282095"/>
              <a:gd name="connsiteX8372" fmla="*/ 5760729 w 7714416"/>
              <a:gd name="connsiteY8372" fmla="*/ 4245639 h 5282095"/>
              <a:gd name="connsiteX8373" fmla="*/ 5954379 w 7714416"/>
              <a:gd name="connsiteY8373" fmla="*/ 4244972 h 5282095"/>
              <a:gd name="connsiteX8374" fmla="*/ 5961541 w 7714416"/>
              <a:gd name="connsiteY8374" fmla="*/ 4254414 h 5282095"/>
              <a:gd name="connsiteX8375" fmla="*/ 5954379 w 7714416"/>
              <a:gd name="connsiteY8375" fmla="*/ 4244972 h 5282095"/>
              <a:gd name="connsiteX8376" fmla="*/ 5926878 w 7714416"/>
              <a:gd name="connsiteY8376" fmla="*/ 4244972 h 5282095"/>
              <a:gd name="connsiteX8377" fmla="*/ 5945785 w 7714416"/>
              <a:gd name="connsiteY8377" fmla="*/ 4252859 h 5282095"/>
              <a:gd name="connsiteX8378" fmla="*/ 5934040 w 7714416"/>
              <a:gd name="connsiteY8378" fmla="*/ 4251193 h 5282095"/>
              <a:gd name="connsiteX8379" fmla="*/ 5933180 w 7714416"/>
              <a:gd name="connsiteY8379" fmla="*/ 4250637 h 5282095"/>
              <a:gd name="connsiteX8380" fmla="*/ 5933180 w 7714416"/>
              <a:gd name="connsiteY8380" fmla="*/ 4251415 h 5282095"/>
              <a:gd name="connsiteX8381" fmla="*/ 5932608 w 7714416"/>
              <a:gd name="connsiteY8381" fmla="*/ 4252748 h 5282095"/>
              <a:gd name="connsiteX8382" fmla="*/ 5929170 w 7714416"/>
              <a:gd name="connsiteY8382" fmla="*/ 4253637 h 5282095"/>
              <a:gd name="connsiteX8383" fmla="*/ 5927452 w 7714416"/>
              <a:gd name="connsiteY8383" fmla="*/ 4257191 h 5282095"/>
              <a:gd name="connsiteX8384" fmla="*/ 5924014 w 7714416"/>
              <a:gd name="connsiteY8384" fmla="*/ 4256858 h 5282095"/>
              <a:gd name="connsiteX8385" fmla="*/ 5927738 w 7714416"/>
              <a:gd name="connsiteY8385" fmla="*/ 4249861 h 5282095"/>
              <a:gd name="connsiteX8386" fmla="*/ 5930602 w 7714416"/>
              <a:gd name="connsiteY8386" fmla="*/ 4249416 h 5282095"/>
              <a:gd name="connsiteX8387" fmla="*/ 5922008 w 7714416"/>
              <a:gd name="connsiteY8387" fmla="*/ 4245194 h 5282095"/>
              <a:gd name="connsiteX8388" fmla="*/ 5926878 w 7714416"/>
              <a:gd name="connsiteY8388" fmla="*/ 4244972 h 5282095"/>
              <a:gd name="connsiteX8389" fmla="*/ 6955286 w 7714416"/>
              <a:gd name="connsiteY8389" fmla="*/ 4244972 h 5282095"/>
              <a:gd name="connsiteX8390" fmla="*/ 6961301 w 7714416"/>
              <a:gd name="connsiteY8390" fmla="*/ 4251637 h 5282095"/>
              <a:gd name="connsiteX8391" fmla="*/ 6970754 w 7714416"/>
              <a:gd name="connsiteY8391" fmla="*/ 4268522 h 5282095"/>
              <a:gd name="connsiteX8392" fmla="*/ 6968750 w 7714416"/>
              <a:gd name="connsiteY8392" fmla="*/ 4271744 h 5282095"/>
              <a:gd name="connsiteX8393" fmla="*/ 6969608 w 7714416"/>
              <a:gd name="connsiteY8393" fmla="*/ 4272743 h 5282095"/>
              <a:gd name="connsiteX8394" fmla="*/ 6967030 w 7714416"/>
              <a:gd name="connsiteY8394" fmla="*/ 4274854 h 5282095"/>
              <a:gd name="connsiteX8395" fmla="*/ 6961588 w 7714416"/>
              <a:gd name="connsiteY8395" fmla="*/ 4269077 h 5282095"/>
              <a:gd name="connsiteX8396" fmla="*/ 6958723 w 7714416"/>
              <a:gd name="connsiteY8396" fmla="*/ 4263856 h 5282095"/>
              <a:gd name="connsiteX8397" fmla="*/ 6955286 w 7714416"/>
              <a:gd name="connsiteY8397" fmla="*/ 4244972 h 5282095"/>
              <a:gd name="connsiteX8398" fmla="*/ 5995344 w 7714416"/>
              <a:gd name="connsiteY8398" fmla="*/ 4244750 h 5282095"/>
              <a:gd name="connsiteX8399" fmla="*/ 6001072 w 7714416"/>
              <a:gd name="connsiteY8399" fmla="*/ 4245416 h 5282095"/>
              <a:gd name="connsiteX8400" fmla="*/ 6009380 w 7714416"/>
              <a:gd name="connsiteY8400" fmla="*/ 4251192 h 5282095"/>
              <a:gd name="connsiteX8401" fmla="*/ 6009953 w 7714416"/>
              <a:gd name="connsiteY8401" fmla="*/ 4252749 h 5282095"/>
              <a:gd name="connsiteX8402" fmla="*/ 6010812 w 7714416"/>
              <a:gd name="connsiteY8402" fmla="*/ 4252637 h 5282095"/>
              <a:gd name="connsiteX8403" fmla="*/ 6028287 w 7714416"/>
              <a:gd name="connsiteY8403" fmla="*/ 4250859 h 5282095"/>
              <a:gd name="connsiteX8404" fmla="*/ 6013390 w 7714416"/>
              <a:gd name="connsiteY8404" fmla="*/ 4259968 h 5282095"/>
              <a:gd name="connsiteX8405" fmla="*/ 6008807 w 7714416"/>
              <a:gd name="connsiteY8405" fmla="*/ 4260301 h 5282095"/>
              <a:gd name="connsiteX8406" fmla="*/ 6004224 w 7714416"/>
              <a:gd name="connsiteY8406" fmla="*/ 4265078 h 5282095"/>
              <a:gd name="connsiteX8407" fmla="*/ 5997348 w 7714416"/>
              <a:gd name="connsiteY8407" fmla="*/ 4268078 h 5282095"/>
              <a:gd name="connsiteX8408" fmla="*/ 5999068 w 7714416"/>
              <a:gd name="connsiteY8408" fmla="*/ 4267634 h 5282095"/>
              <a:gd name="connsiteX8409" fmla="*/ 6021412 w 7714416"/>
              <a:gd name="connsiteY8409" fmla="*/ 4279075 h 5282095"/>
              <a:gd name="connsiteX8410" fmla="*/ 6016256 w 7714416"/>
              <a:gd name="connsiteY8410" fmla="*/ 4279075 h 5282095"/>
              <a:gd name="connsiteX8411" fmla="*/ 6013964 w 7714416"/>
              <a:gd name="connsiteY8411" fmla="*/ 4278408 h 5282095"/>
              <a:gd name="connsiteX8412" fmla="*/ 6012245 w 7714416"/>
              <a:gd name="connsiteY8412" fmla="*/ 4278852 h 5282095"/>
              <a:gd name="connsiteX8413" fmla="*/ 6011958 w 7714416"/>
              <a:gd name="connsiteY8413" fmla="*/ 4277741 h 5282095"/>
              <a:gd name="connsiteX8414" fmla="*/ 6007948 w 7714416"/>
              <a:gd name="connsiteY8414" fmla="*/ 4276297 h 5282095"/>
              <a:gd name="connsiteX8415" fmla="*/ 5996489 w 7714416"/>
              <a:gd name="connsiteY8415" fmla="*/ 4275409 h 5282095"/>
              <a:gd name="connsiteX8416" fmla="*/ 5987609 w 7714416"/>
              <a:gd name="connsiteY8416" fmla="*/ 4270521 h 5282095"/>
              <a:gd name="connsiteX8417" fmla="*/ 5989900 w 7714416"/>
              <a:gd name="connsiteY8417" fmla="*/ 4267411 h 5282095"/>
              <a:gd name="connsiteX8418" fmla="*/ 5985890 w 7714416"/>
              <a:gd name="connsiteY8418" fmla="*/ 4266079 h 5282095"/>
              <a:gd name="connsiteX8419" fmla="*/ 5981880 w 7714416"/>
              <a:gd name="connsiteY8419" fmla="*/ 4251415 h 5282095"/>
              <a:gd name="connsiteX8420" fmla="*/ 5988754 w 7714416"/>
              <a:gd name="connsiteY8420" fmla="*/ 4246084 h 5282095"/>
              <a:gd name="connsiteX8421" fmla="*/ 5995344 w 7714416"/>
              <a:gd name="connsiteY8421" fmla="*/ 4244750 h 5282095"/>
              <a:gd name="connsiteX8422" fmla="*/ 1590955 w 7714416"/>
              <a:gd name="connsiteY8422" fmla="*/ 4244527 h 5282095"/>
              <a:gd name="connsiteX8423" fmla="*/ 1595539 w 7714416"/>
              <a:gd name="connsiteY8423" fmla="*/ 4248527 h 5282095"/>
              <a:gd name="connsiteX8424" fmla="*/ 1594965 w 7714416"/>
              <a:gd name="connsiteY8424" fmla="*/ 4252193 h 5282095"/>
              <a:gd name="connsiteX8425" fmla="*/ 1589808 w 7714416"/>
              <a:gd name="connsiteY8425" fmla="*/ 4251526 h 5282095"/>
              <a:gd name="connsiteX8426" fmla="*/ 1585798 w 7714416"/>
              <a:gd name="connsiteY8426" fmla="*/ 4248638 h 5282095"/>
              <a:gd name="connsiteX8427" fmla="*/ 1586371 w 7714416"/>
              <a:gd name="connsiteY8427" fmla="*/ 4246861 h 5282095"/>
              <a:gd name="connsiteX8428" fmla="*/ 1588664 w 7714416"/>
              <a:gd name="connsiteY8428" fmla="*/ 4244639 h 5282095"/>
              <a:gd name="connsiteX8429" fmla="*/ 1590955 w 7714416"/>
              <a:gd name="connsiteY8429" fmla="*/ 4244527 h 5282095"/>
              <a:gd name="connsiteX8430" fmla="*/ 5682524 w 7714416"/>
              <a:gd name="connsiteY8430" fmla="*/ 4242195 h 5282095"/>
              <a:gd name="connsiteX8431" fmla="*/ 5690545 w 7714416"/>
              <a:gd name="connsiteY8431" fmla="*/ 4244417 h 5282095"/>
              <a:gd name="connsiteX8432" fmla="*/ 5677368 w 7714416"/>
              <a:gd name="connsiteY8432" fmla="*/ 4247527 h 5282095"/>
              <a:gd name="connsiteX8433" fmla="*/ 5682524 w 7714416"/>
              <a:gd name="connsiteY8433" fmla="*/ 4242195 h 5282095"/>
              <a:gd name="connsiteX8434" fmla="*/ 5895368 w 7714416"/>
              <a:gd name="connsiteY8434" fmla="*/ 4239196 h 5282095"/>
              <a:gd name="connsiteX8435" fmla="*/ 5898518 w 7714416"/>
              <a:gd name="connsiteY8435" fmla="*/ 4244306 h 5282095"/>
              <a:gd name="connsiteX8436" fmla="*/ 5893077 w 7714416"/>
              <a:gd name="connsiteY8436" fmla="*/ 4244972 h 5282095"/>
              <a:gd name="connsiteX8437" fmla="*/ 5895368 w 7714416"/>
              <a:gd name="connsiteY8437" fmla="*/ 4239196 h 5282095"/>
              <a:gd name="connsiteX8438" fmla="*/ 6128550 w 7714416"/>
              <a:gd name="connsiteY8438" fmla="*/ 4238751 h 5282095"/>
              <a:gd name="connsiteX8439" fmla="*/ 6134565 w 7714416"/>
              <a:gd name="connsiteY8439" fmla="*/ 4244083 h 5282095"/>
              <a:gd name="connsiteX8440" fmla="*/ 6118236 w 7714416"/>
              <a:gd name="connsiteY8440" fmla="*/ 4253526 h 5282095"/>
              <a:gd name="connsiteX8441" fmla="*/ 6115658 w 7714416"/>
              <a:gd name="connsiteY8441" fmla="*/ 4245416 h 5282095"/>
              <a:gd name="connsiteX8442" fmla="*/ 6119669 w 7714416"/>
              <a:gd name="connsiteY8442" fmla="*/ 4242528 h 5282095"/>
              <a:gd name="connsiteX8443" fmla="*/ 6129408 w 7714416"/>
              <a:gd name="connsiteY8443" fmla="*/ 4239751 h 5282095"/>
              <a:gd name="connsiteX8444" fmla="*/ 6128550 w 7714416"/>
              <a:gd name="connsiteY8444" fmla="*/ 4238751 h 5282095"/>
              <a:gd name="connsiteX8445" fmla="*/ 5924014 w 7714416"/>
              <a:gd name="connsiteY8445" fmla="*/ 4238530 h 5282095"/>
              <a:gd name="connsiteX8446" fmla="*/ 5926592 w 7714416"/>
              <a:gd name="connsiteY8446" fmla="*/ 4239530 h 5282095"/>
              <a:gd name="connsiteX8447" fmla="*/ 5924873 w 7714416"/>
              <a:gd name="connsiteY8447" fmla="*/ 4241751 h 5282095"/>
              <a:gd name="connsiteX8448" fmla="*/ 5917712 w 7714416"/>
              <a:gd name="connsiteY8448" fmla="*/ 4246972 h 5282095"/>
              <a:gd name="connsiteX8449" fmla="*/ 5915993 w 7714416"/>
              <a:gd name="connsiteY8449" fmla="*/ 4243417 h 5282095"/>
              <a:gd name="connsiteX8450" fmla="*/ 5919430 w 7714416"/>
              <a:gd name="connsiteY8450" fmla="*/ 4241306 h 5282095"/>
              <a:gd name="connsiteX8451" fmla="*/ 5921436 w 7714416"/>
              <a:gd name="connsiteY8451" fmla="*/ 4239196 h 5282095"/>
              <a:gd name="connsiteX8452" fmla="*/ 5924014 w 7714416"/>
              <a:gd name="connsiteY8452" fmla="*/ 4238530 h 5282095"/>
              <a:gd name="connsiteX8453" fmla="*/ 1909217 w 7714416"/>
              <a:gd name="connsiteY8453" fmla="*/ 4237196 h 5282095"/>
              <a:gd name="connsiteX8454" fmla="*/ 1919529 w 7714416"/>
              <a:gd name="connsiteY8454" fmla="*/ 4238085 h 5282095"/>
              <a:gd name="connsiteX8455" fmla="*/ 1908357 w 7714416"/>
              <a:gd name="connsiteY8455" fmla="*/ 4247749 h 5282095"/>
              <a:gd name="connsiteX8456" fmla="*/ 1909217 w 7714416"/>
              <a:gd name="connsiteY8456" fmla="*/ 4237196 h 5282095"/>
              <a:gd name="connsiteX8457" fmla="*/ 7441702 w 7714416"/>
              <a:gd name="connsiteY8457" fmla="*/ 4234752 h 5282095"/>
              <a:gd name="connsiteX8458" fmla="*/ 7444566 w 7714416"/>
              <a:gd name="connsiteY8458" fmla="*/ 4242418 h 5282095"/>
              <a:gd name="connsiteX8459" fmla="*/ 7431676 w 7714416"/>
              <a:gd name="connsiteY8459" fmla="*/ 4240196 h 5282095"/>
              <a:gd name="connsiteX8460" fmla="*/ 7441702 w 7714416"/>
              <a:gd name="connsiteY8460" fmla="*/ 4234752 h 5282095"/>
              <a:gd name="connsiteX8461" fmla="*/ 5720338 w 7714416"/>
              <a:gd name="connsiteY8461" fmla="*/ 4232086 h 5282095"/>
              <a:gd name="connsiteX8462" fmla="*/ 5729791 w 7714416"/>
              <a:gd name="connsiteY8462" fmla="*/ 4236641 h 5282095"/>
              <a:gd name="connsiteX8463" fmla="*/ 5728932 w 7714416"/>
              <a:gd name="connsiteY8463" fmla="*/ 4240529 h 5282095"/>
              <a:gd name="connsiteX8464" fmla="*/ 5726354 w 7714416"/>
              <a:gd name="connsiteY8464" fmla="*/ 4242973 h 5282095"/>
              <a:gd name="connsiteX8465" fmla="*/ 5722916 w 7714416"/>
              <a:gd name="connsiteY8465" fmla="*/ 4243750 h 5282095"/>
              <a:gd name="connsiteX8466" fmla="*/ 5723202 w 7714416"/>
              <a:gd name="connsiteY8466" fmla="*/ 4244528 h 5282095"/>
              <a:gd name="connsiteX8467" fmla="*/ 5722056 w 7714416"/>
              <a:gd name="connsiteY8467" fmla="*/ 4250193 h 5282095"/>
              <a:gd name="connsiteX8468" fmla="*/ 5709738 w 7714416"/>
              <a:gd name="connsiteY8468" fmla="*/ 4250637 h 5282095"/>
              <a:gd name="connsiteX8469" fmla="*/ 5701144 w 7714416"/>
              <a:gd name="connsiteY8469" fmla="*/ 4244306 h 5282095"/>
              <a:gd name="connsiteX8470" fmla="*/ 5709738 w 7714416"/>
              <a:gd name="connsiteY8470" fmla="*/ 4239085 h 5282095"/>
              <a:gd name="connsiteX8471" fmla="*/ 5716614 w 7714416"/>
              <a:gd name="connsiteY8471" fmla="*/ 4238196 h 5282095"/>
              <a:gd name="connsiteX8472" fmla="*/ 5716041 w 7714416"/>
              <a:gd name="connsiteY8472" fmla="*/ 4234752 h 5282095"/>
              <a:gd name="connsiteX8473" fmla="*/ 5720338 w 7714416"/>
              <a:gd name="connsiteY8473" fmla="*/ 4232086 h 5282095"/>
              <a:gd name="connsiteX8474" fmla="*/ 6128550 w 7714416"/>
              <a:gd name="connsiteY8474" fmla="*/ 4231531 h 5282095"/>
              <a:gd name="connsiteX8475" fmla="*/ 6131700 w 7714416"/>
              <a:gd name="connsiteY8475" fmla="*/ 4232198 h 5282095"/>
              <a:gd name="connsiteX8476" fmla="*/ 6136570 w 7714416"/>
              <a:gd name="connsiteY8476" fmla="*/ 4233864 h 5282095"/>
              <a:gd name="connsiteX8477" fmla="*/ 6137144 w 7714416"/>
              <a:gd name="connsiteY8477" fmla="*/ 4235864 h 5282095"/>
              <a:gd name="connsiteX8478" fmla="*/ 6136284 w 7714416"/>
              <a:gd name="connsiteY8478" fmla="*/ 4238529 h 5282095"/>
              <a:gd name="connsiteX8479" fmla="*/ 6127976 w 7714416"/>
              <a:gd name="connsiteY8479" fmla="*/ 4236419 h 5282095"/>
              <a:gd name="connsiteX8480" fmla="*/ 6126544 w 7714416"/>
              <a:gd name="connsiteY8480" fmla="*/ 4232864 h 5282095"/>
              <a:gd name="connsiteX8481" fmla="*/ 6128550 w 7714416"/>
              <a:gd name="connsiteY8481" fmla="*/ 4231531 h 5282095"/>
              <a:gd name="connsiteX8482" fmla="*/ 6814058 w 7714416"/>
              <a:gd name="connsiteY8482" fmla="*/ 4231087 h 5282095"/>
              <a:gd name="connsiteX8483" fmla="*/ 6816636 w 7714416"/>
              <a:gd name="connsiteY8483" fmla="*/ 4234086 h 5282095"/>
              <a:gd name="connsiteX8484" fmla="*/ 6813486 w 7714416"/>
              <a:gd name="connsiteY8484" fmla="*/ 4248638 h 5282095"/>
              <a:gd name="connsiteX8485" fmla="*/ 6814058 w 7714416"/>
              <a:gd name="connsiteY8485" fmla="*/ 4231087 h 5282095"/>
              <a:gd name="connsiteX8486" fmla="*/ 6241703 w 7714416"/>
              <a:gd name="connsiteY8486" fmla="*/ 4229532 h 5282095"/>
              <a:gd name="connsiteX8487" fmla="*/ 6246286 w 7714416"/>
              <a:gd name="connsiteY8487" fmla="*/ 4231198 h 5282095"/>
              <a:gd name="connsiteX8488" fmla="*/ 6237406 w 7714416"/>
              <a:gd name="connsiteY8488" fmla="*/ 4244195 h 5282095"/>
              <a:gd name="connsiteX8489" fmla="*/ 6225661 w 7714416"/>
              <a:gd name="connsiteY8489" fmla="*/ 4234753 h 5282095"/>
              <a:gd name="connsiteX8490" fmla="*/ 6241703 w 7714416"/>
              <a:gd name="connsiteY8490" fmla="*/ 4229532 h 5282095"/>
              <a:gd name="connsiteX8491" fmla="*/ 2068777 w 7714416"/>
              <a:gd name="connsiteY8491" fmla="*/ 4226310 h 5282095"/>
              <a:gd name="connsiteX8492" fmla="*/ 2067917 w 7714416"/>
              <a:gd name="connsiteY8492" fmla="*/ 4227421 h 5282095"/>
              <a:gd name="connsiteX8493" fmla="*/ 2071068 w 7714416"/>
              <a:gd name="connsiteY8493" fmla="*/ 4228532 h 5282095"/>
              <a:gd name="connsiteX8494" fmla="*/ 2071641 w 7714416"/>
              <a:gd name="connsiteY8494" fmla="*/ 4227532 h 5282095"/>
              <a:gd name="connsiteX8495" fmla="*/ 2074220 w 7714416"/>
              <a:gd name="connsiteY8495" fmla="*/ 4229753 h 5282095"/>
              <a:gd name="connsiteX8496" fmla="*/ 2073647 w 7714416"/>
              <a:gd name="connsiteY8496" fmla="*/ 4238751 h 5282095"/>
              <a:gd name="connsiteX8497" fmla="*/ 2065912 w 7714416"/>
              <a:gd name="connsiteY8497" fmla="*/ 4235753 h 5282095"/>
              <a:gd name="connsiteX8498" fmla="*/ 2064480 w 7714416"/>
              <a:gd name="connsiteY8498" fmla="*/ 4230976 h 5282095"/>
              <a:gd name="connsiteX8499" fmla="*/ 2068777 w 7714416"/>
              <a:gd name="connsiteY8499" fmla="*/ 4226310 h 5282095"/>
              <a:gd name="connsiteX8500" fmla="*/ 5856694 w 7714416"/>
              <a:gd name="connsiteY8500" fmla="*/ 4225089 h 5282095"/>
              <a:gd name="connsiteX8501" fmla="*/ 5858986 w 7714416"/>
              <a:gd name="connsiteY8501" fmla="*/ 4225866 h 5282095"/>
              <a:gd name="connsiteX8502" fmla="*/ 5851825 w 7714416"/>
              <a:gd name="connsiteY8502" fmla="*/ 4228865 h 5282095"/>
              <a:gd name="connsiteX8503" fmla="*/ 5850106 w 7714416"/>
              <a:gd name="connsiteY8503" fmla="*/ 4227532 h 5282095"/>
              <a:gd name="connsiteX8504" fmla="*/ 5856694 w 7714416"/>
              <a:gd name="connsiteY8504" fmla="*/ 4225089 h 5282095"/>
              <a:gd name="connsiteX8505" fmla="*/ 6368034 w 7714416"/>
              <a:gd name="connsiteY8505" fmla="*/ 4223756 h 5282095"/>
              <a:gd name="connsiteX8506" fmla="*/ 6376054 w 7714416"/>
              <a:gd name="connsiteY8506" fmla="*/ 4229531 h 5282095"/>
              <a:gd name="connsiteX8507" fmla="*/ 6373190 w 7714416"/>
              <a:gd name="connsiteY8507" fmla="*/ 4233086 h 5282095"/>
              <a:gd name="connsiteX8508" fmla="*/ 6368034 w 7714416"/>
              <a:gd name="connsiteY8508" fmla="*/ 4223756 h 5282095"/>
              <a:gd name="connsiteX8509" fmla="*/ 6027141 w 7714416"/>
              <a:gd name="connsiteY8509" fmla="*/ 4222756 h 5282095"/>
              <a:gd name="connsiteX8510" fmla="*/ 6018834 w 7714416"/>
              <a:gd name="connsiteY8510" fmla="*/ 4230754 h 5282095"/>
              <a:gd name="connsiteX8511" fmla="*/ 6027141 w 7714416"/>
              <a:gd name="connsiteY8511" fmla="*/ 4222756 h 5282095"/>
              <a:gd name="connsiteX8512" fmla="*/ 7034350 w 7714416"/>
              <a:gd name="connsiteY8512" fmla="*/ 4222644 h 5282095"/>
              <a:gd name="connsiteX8513" fmla="*/ 7002266 w 7714416"/>
              <a:gd name="connsiteY8513" fmla="*/ 4240085 h 5282095"/>
              <a:gd name="connsiteX8514" fmla="*/ 7014870 w 7714416"/>
              <a:gd name="connsiteY8514" fmla="*/ 4228199 h 5282095"/>
              <a:gd name="connsiteX8515" fmla="*/ 7034350 w 7714416"/>
              <a:gd name="connsiteY8515" fmla="*/ 4222644 h 5282095"/>
              <a:gd name="connsiteX8516" fmla="*/ 6847288 w 7714416"/>
              <a:gd name="connsiteY8516" fmla="*/ 4220089 h 5282095"/>
              <a:gd name="connsiteX8517" fmla="*/ 6847575 w 7714416"/>
              <a:gd name="connsiteY8517" fmla="*/ 4223534 h 5282095"/>
              <a:gd name="connsiteX8518" fmla="*/ 6835831 w 7714416"/>
              <a:gd name="connsiteY8518" fmla="*/ 4234975 h 5282095"/>
              <a:gd name="connsiteX8519" fmla="*/ 6847288 w 7714416"/>
              <a:gd name="connsiteY8519" fmla="*/ 4220089 h 5282095"/>
              <a:gd name="connsiteX8520" fmla="*/ 6300428 w 7714416"/>
              <a:gd name="connsiteY8520" fmla="*/ 4219534 h 5282095"/>
              <a:gd name="connsiteX8521" fmla="*/ 6296990 w 7714416"/>
              <a:gd name="connsiteY8521" fmla="*/ 4230310 h 5282095"/>
              <a:gd name="connsiteX8522" fmla="*/ 6279802 w 7714416"/>
              <a:gd name="connsiteY8522" fmla="*/ 4232420 h 5282095"/>
              <a:gd name="connsiteX8523" fmla="*/ 6300428 w 7714416"/>
              <a:gd name="connsiteY8523" fmla="*/ 4219534 h 5282095"/>
              <a:gd name="connsiteX8524" fmla="*/ 5950655 w 7714416"/>
              <a:gd name="connsiteY8524" fmla="*/ 4219312 h 5282095"/>
              <a:gd name="connsiteX8525" fmla="*/ 5957816 w 7714416"/>
              <a:gd name="connsiteY8525" fmla="*/ 4219867 h 5282095"/>
              <a:gd name="connsiteX8526" fmla="*/ 5963832 w 7714416"/>
              <a:gd name="connsiteY8526" fmla="*/ 4222200 h 5282095"/>
              <a:gd name="connsiteX8527" fmla="*/ 5966984 w 7714416"/>
              <a:gd name="connsiteY8527" fmla="*/ 4226532 h 5282095"/>
              <a:gd name="connsiteX8528" fmla="*/ 5972426 w 7714416"/>
              <a:gd name="connsiteY8528" fmla="*/ 4233420 h 5282095"/>
              <a:gd name="connsiteX8529" fmla="*/ 5965551 w 7714416"/>
              <a:gd name="connsiteY8529" fmla="*/ 4237530 h 5282095"/>
              <a:gd name="connsiteX8530" fmla="*/ 5954952 w 7714416"/>
              <a:gd name="connsiteY8530" fmla="*/ 4234975 h 5282095"/>
              <a:gd name="connsiteX8531" fmla="*/ 5953806 w 7714416"/>
              <a:gd name="connsiteY8531" fmla="*/ 4235641 h 5282095"/>
              <a:gd name="connsiteX8532" fmla="*/ 5942348 w 7714416"/>
              <a:gd name="connsiteY8532" fmla="*/ 4226644 h 5282095"/>
              <a:gd name="connsiteX8533" fmla="*/ 5943494 w 7714416"/>
              <a:gd name="connsiteY8533" fmla="*/ 4223866 h 5282095"/>
              <a:gd name="connsiteX8534" fmla="*/ 5943207 w 7714416"/>
              <a:gd name="connsiteY8534" fmla="*/ 4223533 h 5282095"/>
              <a:gd name="connsiteX8535" fmla="*/ 5950655 w 7714416"/>
              <a:gd name="connsiteY8535" fmla="*/ 4219312 h 5282095"/>
              <a:gd name="connsiteX8536" fmla="*/ 6864476 w 7714416"/>
              <a:gd name="connsiteY8536" fmla="*/ 4216757 h 5282095"/>
              <a:gd name="connsiteX8537" fmla="*/ 6873070 w 7714416"/>
              <a:gd name="connsiteY8537" fmla="*/ 4219534 h 5282095"/>
              <a:gd name="connsiteX8538" fmla="*/ 6861898 w 7714416"/>
              <a:gd name="connsiteY8538" fmla="*/ 4225754 h 5282095"/>
              <a:gd name="connsiteX8539" fmla="*/ 6856169 w 7714416"/>
              <a:gd name="connsiteY8539" fmla="*/ 4219201 h 5282095"/>
              <a:gd name="connsiteX8540" fmla="*/ 6864476 w 7714416"/>
              <a:gd name="connsiteY8540" fmla="*/ 4216757 h 5282095"/>
              <a:gd name="connsiteX8541" fmla="*/ 5996203 w 7714416"/>
              <a:gd name="connsiteY8541" fmla="*/ 4216202 h 5282095"/>
              <a:gd name="connsiteX8542" fmla="*/ 6016542 w 7714416"/>
              <a:gd name="connsiteY8542" fmla="*/ 4226310 h 5282095"/>
              <a:gd name="connsiteX8543" fmla="*/ 6015110 w 7714416"/>
              <a:gd name="connsiteY8543" fmla="*/ 4234086 h 5282095"/>
              <a:gd name="connsiteX8544" fmla="*/ 5989041 w 7714416"/>
              <a:gd name="connsiteY8544" fmla="*/ 4216535 h 5282095"/>
              <a:gd name="connsiteX8545" fmla="*/ 5996203 w 7714416"/>
              <a:gd name="connsiteY8545" fmla="*/ 4216202 h 5282095"/>
              <a:gd name="connsiteX8546" fmla="*/ 5742682 w 7714416"/>
              <a:gd name="connsiteY8546" fmla="*/ 4214868 h 5282095"/>
              <a:gd name="connsiteX8547" fmla="*/ 5747552 w 7714416"/>
              <a:gd name="connsiteY8547" fmla="*/ 4215313 h 5282095"/>
              <a:gd name="connsiteX8548" fmla="*/ 5730364 w 7714416"/>
              <a:gd name="connsiteY8548" fmla="*/ 4222311 h 5282095"/>
              <a:gd name="connsiteX8549" fmla="*/ 5742682 w 7714416"/>
              <a:gd name="connsiteY8549" fmla="*/ 4214868 h 5282095"/>
              <a:gd name="connsiteX8550" fmla="*/ 7354330 w 7714416"/>
              <a:gd name="connsiteY8550" fmla="*/ 4211536 h 5282095"/>
              <a:gd name="connsiteX8551" fmla="*/ 7360346 w 7714416"/>
              <a:gd name="connsiteY8551" fmla="*/ 4211981 h 5282095"/>
              <a:gd name="connsiteX8552" fmla="*/ 7361778 w 7714416"/>
              <a:gd name="connsiteY8552" fmla="*/ 4214757 h 5282095"/>
              <a:gd name="connsiteX8553" fmla="*/ 7362924 w 7714416"/>
              <a:gd name="connsiteY8553" fmla="*/ 4218201 h 5282095"/>
              <a:gd name="connsiteX8554" fmla="*/ 7345164 w 7714416"/>
              <a:gd name="connsiteY8554" fmla="*/ 4221645 h 5282095"/>
              <a:gd name="connsiteX8555" fmla="*/ 7354330 w 7714416"/>
              <a:gd name="connsiteY8555" fmla="*/ 4211536 h 5282095"/>
              <a:gd name="connsiteX8556" fmla="*/ 6808043 w 7714416"/>
              <a:gd name="connsiteY8556" fmla="*/ 4211315 h 5282095"/>
              <a:gd name="connsiteX8557" fmla="*/ 6811767 w 7714416"/>
              <a:gd name="connsiteY8557" fmla="*/ 4212425 h 5282095"/>
              <a:gd name="connsiteX8558" fmla="*/ 6805751 w 7714416"/>
              <a:gd name="connsiteY8558" fmla="*/ 4216202 h 5282095"/>
              <a:gd name="connsiteX8559" fmla="*/ 6802886 w 7714416"/>
              <a:gd name="connsiteY8559" fmla="*/ 4213313 h 5282095"/>
              <a:gd name="connsiteX8560" fmla="*/ 6808043 w 7714416"/>
              <a:gd name="connsiteY8560" fmla="*/ 4211315 h 5282095"/>
              <a:gd name="connsiteX8561" fmla="*/ 5767604 w 7714416"/>
              <a:gd name="connsiteY8561" fmla="*/ 4211203 h 5282095"/>
              <a:gd name="connsiteX8562" fmla="*/ 5777344 w 7714416"/>
              <a:gd name="connsiteY8562" fmla="*/ 4211869 h 5282095"/>
              <a:gd name="connsiteX8563" fmla="*/ 5777058 w 7714416"/>
              <a:gd name="connsiteY8563" fmla="*/ 4225422 h 5282095"/>
              <a:gd name="connsiteX8564" fmla="*/ 5770469 w 7714416"/>
              <a:gd name="connsiteY8564" fmla="*/ 4225088 h 5282095"/>
              <a:gd name="connsiteX8565" fmla="*/ 5764740 w 7714416"/>
              <a:gd name="connsiteY8565" fmla="*/ 4222977 h 5282095"/>
              <a:gd name="connsiteX8566" fmla="*/ 5763880 w 7714416"/>
              <a:gd name="connsiteY8566" fmla="*/ 4223645 h 5282095"/>
              <a:gd name="connsiteX8567" fmla="*/ 5761302 w 7714416"/>
              <a:gd name="connsiteY8567" fmla="*/ 4225088 h 5282095"/>
              <a:gd name="connsiteX8568" fmla="*/ 5759870 w 7714416"/>
              <a:gd name="connsiteY8568" fmla="*/ 4228532 h 5282095"/>
              <a:gd name="connsiteX8569" fmla="*/ 5758151 w 7714416"/>
              <a:gd name="connsiteY8569" fmla="*/ 4228532 h 5282095"/>
              <a:gd name="connsiteX8570" fmla="*/ 5760442 w 7714416"/>
              <a:gd name="connsiteY8570" fmla="*/ 4214314 h 5282095"/>
              <a:gd name="connsiteX8571" fmla="*/ 5760729 w 7714416"/>
              <a:gd name="connsiteY8571" fmla="*/ 4214202 h 5282095"/>
              <a:gd name="connsiteX8572" fmla="*/ 5760729 w 7714416"/>
              <a:gd name="connsiteY8572" fmla="*/ 4213647 h 5282095"/>
              <a:gd name="connsiteX8573" fmla="*/ 5767604 w 7714416"/>
              <a:gd name="connsiteY8573" fmla="*/ 4211203 h 5282095"/>
              <a:gd name="connsiteX8574" fmla="*/ 6302720 w 7714416"/>
              <a:gd name="connsiteY8574" fmla="*/ 4206759 h 5282095"/>
              <a:gd name="connsiteX8575" fmla="*/ 6310454 w 7714416"/>
              <a:gd name="connsiteY8575" fmla="*/ 4212647 h 5282095"/>
              <a:gd name="connsiteX8576" fmla="*/ 6296418 w 7714416"/>
              <a:gd name="connsiteY8576" fmla="*/ 4212980 h 5282095"/>
              <a:gd name="connsiteX8577" fmla="*/ 6302720 w 7714416"/>
              <a:gd name="connsiteY8577" fmla="*/ 4206759 h 5282095"/>
              <a:gd name="connsiteX8578" fmla="*/ 5908258 w 7714416"/>
              <a:gd name="connsiteY8578" fmla="*/ 4206426 h 5282095"/>
              <a:gd name="connsiteX8579" fmla="*/ 5899951 w 7714416"/>
              <a:gd name="connsiteY8579" fmla="*/ 4213868 h 5282095"/>
              <a:gd name="connsiteX8580" fmla="*/ 5890498 w 7714416"/>
              <a:gd name="connsiteY8580" fmla="*/ 4217868 h 5282095"/>
              <a:gd name="connsiteX8581" fmla="*/ 5891644 w 7714416"/>
              <a:gd name="connsiteY8581" fmla="*/ 4221423 h 5282095"/>
              <a:gd name="connsiteX8582" fmla="*/ 5893362 w 7714416"/>
              <a:gd name="connsiteY8582" fmla="*/ 4219423 h 5282095"/>
              <a:gd name="connsiteX8583" fmla="*/ 5893363 w 7714416"/>
              <a:gd name="connsiteY8583" fmla="*/ 4217979 h 5282095"/>
              <a:gd name="connsiteX8584" fmla="*/ 5895654 w 7714416"/>
              <a:gd name="connsiteY8584" fmla="*/ 4216979 h 5282095"/>
              <a:gd name="connsiteX8585" fmla="*/ 5896227 w 7714416"/>
              <a:gd name="connsiteY8585" fmla="*/ 4216313 h 5282095"/>
              <a:gd name="connsiteX8586" fmla="*/ 5928597 w 7714416"/>
              <a:gd name="connsiteY8586" fmla="*/ 4208315 h 5282095"/>
              <a:gd name="connsiteX8587" fmla="*/ 5914274 w 7714416"/>
              <a:gd name="connsiteY8587" fmla="*/ 4220534 h 5282095"/>
              <a:gd name="connsiteX8588" fmla="*/ 5891644 w 7714416"/>
              <a:gd name="connsiteY8588" fmla="*/ 4223534 h 5282095"/>
              <a:gd name="connsiteX8589" fmla="*/ 5891644 w 7714416"/>
              <a:gd name="connsiteY8589" fmla="*/ 4227088 h 5282095"/>
              <a:gd name="connsiteX8590" fmla="*/ 5884481 w 7714416"/>
              <a:gd name="connsiteY8590" fmla="*/ 4227976 h 5282095"/>
              <a:gd name="connsiteX8591" fmla="*/ 5880758 w 7714416"/>
              <a:gd name="connsiteY8591" fmla="*/ 4226310 h 5282095"/>
              <a:gd name="connsiteX8592" fmla="*/ 5879898 w 7714416"/>
              <a:gd name="connsiteY8592" fmla="*/ 4233198 h 5282095"/>
              <a:gd name="connsiteX8593" fmla="*/ 5861564 w 7714416"/>
              <a:gd name="connsiteY8593" fmla="*/ 4224311 h 5282095"/>
              <a:gd name="connsiteX8594" fmla="*/ 5867294 w 7714416"/>
              <a:gd name="connsiteY8594" fmla="*/ 4220645 h 5282095"/>
              <a:gd name="connsiteX8595" fmla="*/ 5866148 w 7714416"/>
              <a:gd name="connsiteY8595" fmla="*/ 4220645 h 5282095"/>
              <a:gd name="connsiteX8596" fmla="*/ 5872736 w 7714416"/>
              <a:gd name="connsiteY8596" fmla="*/ 4214868 h 5282095"/>
              <a:gd name="connsiteX8597" fmla="*/ 5873310 w 7714416"/>
              <a:gd name="connsiteY8597" fmla="*/ 4213091 h 5282095"/>
              <a:gd name="connsiteX8598" fmla="*/ 5876174 w 7714416"/>
              <a:gd name="connsiteY8598" fmla="*/ 4207648 h 5282095"/>
              <a:gd name="connsiteX8599" fmla="*/ 5884196 w 7714416"/>
              <a:gd name="connsiteY8599" fmla="*/ 4209648 h 5282095"/>
              <a:gd name="connsiteX8600" fmla="*/ 5885628 w 7714416"/>
              <a:gd name="connsiteY8600" fmla="*/ 4208981 h 5282095"/>
              <a:gd name="connsiteX8601" fmla="*/ 5908258 w 7714416"/>
              <a:gd name="connsiteY8601" fmla="*/ 4206426 h 5282095"/>
              <a:gd name="connsiteX8602" fmla="*/ 5813438 w 7714416"/>
              <a:gd name="connsiteY8602" fmla="*/ 4205760 h 5282095"/>
              <a:gd name="connsiteX8603" fmla="*/ 5828334 w 7714416"/>
              <a:gd name="connsiteY8603" fmla="*/ 4208537 h 5282095"/>
              <a:gd name="connsiteX8604" fmla="*/ 5828048 w 7714416"/>
              <a:gd name="connsiteY8604" fmla="*/ 4216646 h 5282095"/>
              <a:gd name="connsiteX8605" fmla="*/ 5837215 w 7714416"/>
              <a:gd name="connsiteY8605" fmla="*/ 4221089 h 5282095"/>
              <a:gd name="connsiteX8606" fmla="*/ 5835783 w 7714416"/>
              <a:gd name="connsiteY8606" fmla="*/ 4223866 h 5282095"/>
              <a:gd name="connsiteX8607" fmla="*/ 5841513 w 7714416"/>
              <a:gd name="connsiteY8607" fmla="*/ 4224533 h 5282095"/>
              <a:gd name="connsiteX8608" fmla="*/ 5841512 w 7714416"/>
              <a:gd name="connsiteY8608" fmla="*/ 4225643 h 5282095"/>
              <a:gd name="connsiteX8609" fmla="*/ 5834637 w 7714416"/>
              <a:gd name="connsiteY8609" fmla="*/ 4225755 h 5282095"/>
              <a:gd name="connsiteX8610" fmla="*/ 5834064 w 7714416"/>
              <a:gd name="connsiteY8610" fmla="*/ 4227199 h 5282095"/>
              <a:gd name="connsiteX8611" fmla="*/ 5828048 w 7714416"/>
              <a:gd name="connsiteY8611" fmla="*/ 4231420 h 5282095"/>
              <a:gd name="connsiteX8612" fmla="*/ 5831200 w 7714416"/>
              <a:gd name="connsiteY8612" fmla="*/ 4230421 h 5282095"/>
              <a:gd name="connsiteX8613" fmla="*/ 5845236 w 7714416"/>
              <a:gd name="connsiteY8613" fmla="*/ 4230421 h 5282095"/>
              <a:gd name="connsiteX8614" fmla="*/ 5846096 w 7714416"/>
              <a:gd name="connsiteY8614" fmla="*/ 4229976 h 5282095"/>
              <a:gd name="connsiteX8615" fmla="*/ 5857840 w 7714416"/>
              <a:gd name="connsiteY8615" fmla="*/ 4235308 h 5282095"/>
              <a:gd name="connsiteX8616" fmla="*/ 5855837 w 7714416"/>
              <a:gd name="connsiteY8616" fmla="*/ 4245861 h 5282095"/>
              <a:gd name="connsiteX8617" fmla="*/ 5858986 w 7714416"/>
              <a:gd name="connsiteY8617" fmla="*/ 4243750 h 5282095"/>
              <a:gd name="connsiteX8618" fmla="*/ 5867294 w 7714416"/>
              <a:gd name="connsiteY8618" fmla="*/ 4242195 h 5282095"/>
              <a:gd name="connsiteX8619" fmla="*/ 5869012 w 7714416"/>
              <a:gd name="connsiteY8619" fmla="*/ 4251192 h 5282095"/>
              <a:gd name="connsiteX8620" fmla="*/ 5868440 w 7714416"/>
              <a:gd name="connsiteY8620" fmla="*/ 4251637 h 5282095"/>
              <a:gd name="connsiteX8621" fmla="*/ 5878180 w 7714416"/>
              <a:gd name="connsiteY8621" fmla="*/ 4255302 h 5282095"/>
              <a:gd name="connsiteX8622" fmla="*/ 5879326 w 7714416"/>
              <a:gd name="connsiteY8622" fmla="*/ 4256191 h 5282095"/>
              <a:gd name="connsiteX8623" fmla="*/ 5895368 w 7714416"/>
              <a:gd name="connsiteY8623" fmla="*/ 4257525 h 5282095"/>
              <a:gd name="connsiteX8624" fmla="*/ 5898518 w 7714416"/>
              <a:gd name="connsiteY8624" fmla="*/ 4254747 h 5282095"/>
              <a:gd name="connsiteX8625" fmla="*/ 5906253 w 7714416"/>
              <a:gd name="connsiteY8625" fmla="*/ 4249970 h 5282095"/>
              <a:gd name="connsiteX8626" fmla="*/ 5913701 w 7714416"/>
              <a:gd name="connsiteY8626" fmla="*/ 4252304 h 5282095"/>
              <a:gd name="connsiteX8627" fmla="*/ 5913701 w 7714416"/>
              <a:gd name="connsiteY8627" fmla="*/ 4257081 h 5282095"/>
              <a:gd name="connsiteX8628" fmla="*/ 5907398 w 7714416"/>
              <a:gd name="connsiteY8628" fmla="*/ 4260191 h 5282095"/>
              <a:gd name="connsiteX8629" fmla="*/ 5903389 w 7714416"/>
              <a:gd name="connsiteY8629" fmla="*/ 4260857 h 5282095"/>
              <a:gd name="connsiteX8630" fmla="*/ 5904820 w 7714416"/>
              <a:gd name="connsiteY8630" fmla="*/ 4261635 h 5282095"/>
              <a:gd name="connsiteX8631" fmla="*/ 5909690 w 7714416"/>
              <a:gd name="connsiteY8631" fmla="*/ 4267744 h 5282095"/>
              <a:gd name="connsiteX8632" fmla="*/ 5869586 w 7714416"/>
              <a:gd name="connsiteY8632" fmla="*/ 4284185 h 5282095"/>
              <a:gd name="connsiteX8633" fmla="*/ 5856981 w 7714416"/>
              <a:gd name="connsiteY8633" fmla="*/ 4259191 h 5282095"/>
              <a:gd name="connsiteX8634" fmla="*/ 5858986 w 7714416"/>
              <a:gd name="connsiteY8634" fmla="*/ 4258747 h 5282095"/>
              <a:gd name="connsiteX8635" fmla="*/ 5851252 w 7714416"/>
              <a:gd name="connsiteY8635" fmla="*/ 4259524 h 5282095"/>
              <a:gd name="connsiteX8636" fmla="*/ 5848387 w 7714416"/>
              <a:gd name="connsiteY8636" fmla="*/ 4253970 h 5282095"/>
              <a:gd name="connsiteX8637" fmla="*/ 5849820 w 7714416"/>
              <a:gd name="connsiteY8637" fmla="*/ 4251860 h 5282095"/>
              <a:gd name="connsiteX8638" fmla="*/ 5845236 w 7714416"/>
              <a:gd name="connsiteY8638" fmla="*/ 4252749 h 5282095"/>
              <a:gd name="connsiteX8639" fmla="*/ 5842944 w 7714416"/>
              <a:gd name="connsiteY8639" fmla="*/ 4247749 h 5282095"/>
              <a:gd name="connsiteX8640" fmla="*/ 5842085 w 7714416"/>
              <a:gd name="connsiteY8640" fmla="*/ 4247638 h 5282095"/>
              <a:gd name="connsiteX8641" fmla="*/ 5832918 w 7714416"/>
              <a:gd name="connsiteY8641" fmla="*/ 4242528 h 5282095"/>
              <a:gd name="connsiteX8642" fmla="*/ 5838361 w 7714416"/>
              <a:gd name="connsiteY8642" fmla="*/ 4234085 h 5282095"/>
              <a:gd name="connsiteX8643" fmla="*/ 5836356 w 7714416"/>
              <a:gd name="connsiteY8643" fmla="*/ 4234975 h 5282095"/>
              <a:gd name="connsiteX8644" fmla="*/ 5815730 w 7714416"/>
              <a:gd name="connsiteY8644" fmla="*/ 4238751 h 5282095"/>
              <a:gd name="connsiteX8645" fmla="*/ 5814584 w 7714416"/>
              <a:gd name="connsiteY8645" fmla="*/ 4236418 h 5282095"/>
              <a:gd name="connsiteX8646" fmla="*/ 5808568 w 7714416"/>
              <a:gd name="connsiteY8646" fmla="*/ 4237307 h 5282095"/>
              <a:gd name="connsiteX8647" fmla="*/ 5805131 w 7714416"/>
              <a:gd name="connsiteY8647" fmla="*/ 4233975 h 5282095"/>
              <a:gd name="connsiteX8648" fmla="*/ 5803126 w 7714416"/>
              <a:gd name="connsiteY8648" fmla="*/ 4234641 h 5282095"/>
              <a:gd name="connsiteX8649" fmla="*/ 5795678 w 7714416"/>
              <a:gd name="connsiteY8649" fmla="*/ 4236197 h 5282095"/>
              <a:gd name="connsiteX8650" fmla="*/ 5796250 w 7714416"/>
              <a:gd name="connsiteY8650" fmla="*/ 4236863 h 5282095"/>
              <a:gd name="connsiteX8651" fmla="*/ 5794532 w 7714416"/>
              <a:gd name="connsiteY8651" fmla="*/ 4240085 h 5282095"/>
              <a:gd name="connsiteX8652" fmla="*/ 5781068 w 7714416"/>
              <a:gd name="connsiteY8652" fmla="*/ 4241973 h 5282095"/>
              <a:gd name="connsiteX8653" fmla="*/ 5772474 w 7714416"/>
              <a:gd name="connsiteY8653" fmla="*/ 4243972 h 5282095"/>
              <a:gd name="connsiteX8654" fmla="*/ 5782500 w 7714416"/>
              <a:gd name="connsiteY8654" fmla="*/ 4239751 h 5282095"/>
              <a:gd name="connsiteX8655" fmla="*/ 5784219 w 7714416"/>
              <a:gd name="connsiteY8655" fmla="*/ 4236307 h 5282095"/>
              <a:gd name="connsiteX8656" fmla="*/ 5787370 w 7714416"/>
              <a:gd name="connsiteY8656" fmla="*/ 4235308 h 5282095"/>
              <a:gd name="connsiteX8657" fmla="*/ 5786798 w 7714416"/>
              <a:gd name="connsiteY8657" fmla="*/ 4233864 h 5282095"/>
              <a:gd name="connsiteX8658" fmla="*/ 5784219 w 7714416"/>
              <a:gd name="connsiteY8658" fmla="*/ 4230753 h 5282095"/>
              <a:gd name="connsiteX8659" fmla="*/ 5796537 w 7714416"/>
              <a:gd name="connsiteY8659" fmla="*/ 4227866 h 5282095"/>
              <a:gd name="connsiteX8660" fmla="*/ 5801981 w 7714416"/>
              <a:gd name="connsiteY8660" fmla="*/ 4227199 h 5282095"/>
              <a:gd name="connsiteX8661" fmla="*/ 5801980 w 7714416"/>
              <a:gd name="connsiteY8661" fmla="*/ 4226866 h 5282095"/>
              <a:gd name="connsiteX8662" fmla="*/ 5807136 w 7714416"/>
              <a:gd name="connsiteY8662" fmla="*/ 4220645 h 5282095"/>
              <a:gd name="connsiteX8663" fmla="*/ 5810001 w 7714416"/>
              <a:gd name="connsiteY8663" fmla="*/ 4219423 h 5282095"/>
              <a:gd name="connsiteX8664" fmla="*/ 5813438 w 7714416"/>
              <a:gd name="connsiteY8664" fmla="*/ 4205760 h 5282095"/>
              <a:gd name="connsiteX8665" fmla="*/ 6004796 w 7714416"/>
              <a:gd name="connsiteY8665" fmla="*/ 4205648 h 5282095"/>
              <a:gd name="connsiteX8666" fmla="*/ 6013390 w 7714416"/>
              <a:gd name="connsiteY8666" fmla="*/ 4211203 h 5282095"/>
              <a:gd name="connsiteX8667" fmla="*/ 6007375 w 7714416"/>
              <a:gd name="connsiteY8667" fmla="*/ 4218979 h 5282095"/>
              <a:gd name="connsiteX8668" fmla="*/ 6002792 w 7714416"/>
              <a:gd name="connsiteY8668" fmla="*/ 4217868 h 5282095"/>
              <a:gd name="connsiteX8669" fmla="*/ 6004796 w 7714416"/>
              <a:gd name="connsiteY8669" fmla="*/ 4205648 h 5282095"/>
              <a:gd name="connsiteX8670" fmla="*/ 6281235 w 7714416"/>
              <a:gd name="connsiteY8670" fmla="*/ 4204427 h 5282095"/>
              <a:gd name="connsiteX8671" fmla="*/ 6281522 w 7714416"/>
              <a:gd name="connsiteY8671" fmla="*/ 4217423 h 5282095"/>
              <a:gd name="connsiteX8672" fmla="*/ 6281235 w 7714416"/>
              <a:gd name="connsiteY8672" fmla="*/ 4204427 h 5282095"/>
              <a:gd name="connsiteX8673" fmla="*/ 7124013 w 7714416"/>
              <a:gd name="connsiteY8673" fmla="*/ 4202872 h 5282095"/>
              <a:gd name="connsiteX8674" fmla="*/ 7135758 w 7714416"/>
              <a:gd name="connsiteY8674" fmla="*/ 4206537 h 5282095"/>
              <a:gd name="connsiteX8675" fmla="*/ 7138051 w 7714416"/>
              <a:gd name="connsiteY8675" fmla="*/ 4219867 h 5282095"/>
              <a:gd name="connsiteX8676" fmla="*/ 7141201 w 7714416"/>
              <a:gd name="connsiteY8676" fmla="*/ 4221423 h 5282095"/>
              <a:gd name="connsiteX8677" fmla="*/ 7144066 w 7714416"/>
              <a:gd name="connsiteY8677" fmla="*/ 4226421 h 5282095"/>
              <a:gd name="connsiteX8678" fmla="*/ 7140628 w 7714416"/>
              <a:gd name="connsiteY8678" fmla="*/ 4227199 h 5282095"/>
              <a:gd name="connsiteX8679" fmla="*/ 7136044 w 7714416"/>
              <a:gd name="connsiteY8679" fmla="*/ 4221978 h 5282095"/>
              <a:gd name="connsiteX8680" fmla="*/ 7134326 w 7714416"/>
              <a:gd name="connsiteY8680" fmla="*/ 4221867 h 5282095"/>
              <a:gd name="connsiteX8681" fmla="*/ 7130888 w 7714416"/>
              <a:gd name="connsiteY8681" fmla="*/ 4223866 h 5282095"/>
              <a:gd name="connsiteX8682" fmla="*/ 7113986 w 7714416"/>
              <a:gd name="connsiteY8682" fmla="*/ 4221978 h 5282095"/>
              <a:gd name="connsiteX8683" fmla="*/ 7110262 w 7714416"/>
              <a:gd name="connsiteY8683" fmla="*/ 4208426 h 5282095"/>
              <a:gd name="connsiteX8684" fmla="*/ 7115993 w 7714416"/>
              <a:gd name="connsiteY8684" fmla="*/ 4203205 h 5282095"/>
              <a:gd name="connsiteX8685" fmla="*/ 7124013 w 7714416"/>
              <a:gd name="connsiteY8685" fmla="*/ 4202872 h 5282095"/>
              <a:gd name="connsiteX8686" fmla="*/ 5710598 w 7714416"/>
              <a:gd name="connsiteY8686" fmla="*/ 4202427 h 5282095"/>
              <a:gd name="connsiteX8687" fmla="*/ 5712603 w 7714416"/>
              <a:gd name="connsiteY8687" fmla="*/ 4204760 h 5282095"/>
              <a:gd name="connsiteX8688" fmla="*/ 5712603 w 7714416"/>
              <a:gd name="connsiteY8688" fmla="*/ 4208426 h 5282095"/>
              <a:gd name="connsiteX8689" fmla="*/ 5704009 w 7714416"/>
              <a:gd name="connsiteY8689" fmla="*/ 4209315 h 5282095"/>
              <a:gd name="connsiteX8690" fmla="*/ 5702290 w 7714416"/>
              <a:gd name="connsiteY8690" fmla="*/ 4206871 h 5282095"/>
              <a:gd name="connsiteX8691" fmla="*/ 5703723 w 7714416"/>
              <a:gd name="connsiteY8691" fmla="*/ 4203316 h 5282095"/>
              <a:gd name="connsiteX8692" fmla="*/ 5710598 w 7714416"/>
              <a:gd name="connsiteY8692" fmla="*/ 4202427 h 5282095"/>
              <a:gd name="connsiteX8693" fmla="*/ 6138289 w 7714416"/>
              <a:gd name="connsiteY8693" fmla="*/ 4200761 h 5282095"/>
              <a:gd name="connsiteX8694" fmla="*/ 6160060 w 7714416"/>
              <a:gd name="connsiteY8694" fmla="*/ 4204871 h 5282095"/>
              <a:gd name="connsiteX8695" fmla="*/ 6164930 w 7714416"/>
              <a:gd name="connsiteY8695" fmla="*/ 4207205 h 5282095"/>
              <a:gd name="connsiteX8696" fmla="*/ 6168654 w 7714416"/>
              <a:gd name="connsiteY8696" fmla="*/ 4205205 h 5282095"/>
              <a:gd name="connsiteX8697" fmla="*/ 6172378 w 7714416"/>
              <a:gd name="connsiteY8697" fmla="*/ 4203983 h 5282095"/>
              <a:gd name="connsiteX8698" fmla="*/ 6166936 w 7714416"/>
              <a:gd name="connsiteY8698" fmla="*/ 4208092 h 5282095"/>
              <a:gd name="connsiteX8699" fmla="*/ 6181546 w 7714416"/>
              <a:gd name="connsiteY8699" fmla="*/ 4214758 h 5282095"/>
              <a:gd name="connsiteX8700" fmla="*/ 6194722 w 7714416"/>
              <a:gd name="connsiteY8700" fmla="*/ 4223977 h 5282095"/>
              <a:gd name="connsiteX8701" fmla="*/ 6195868 w 7714416"/>
              <a:gd name="connsiteY8701" fmla="*/ 4222089 h 5282095"/>
              <a:gd name="connsiteX8702" fmla="*/ 6198733 w 7714416"/>
              <a:gd name="connsiteY8702" fmla="*/ 4226977 h 5282095"/>
              <a:gd name="connsiteX8703" fmla="*/ 6199020 w 7714416"/>
              <a:gd name="connsiteY8703" fmla="*/ 4227087 h 5282095"/>
              <a:gd name="connsiteX8704" fmla="*/ 6209046 w 7714416"/>
              <a:gd name="connsiteY8704" fmla="*/ 4238307 h 5282095"/>
              <a:gd name="connsiteX8705" fmla="*/ 6131414 w 7714416"/>
              <a:gd name="connsiteY8705" fmla="*/ 4224200 h 5282095"/>
              <a:gd name="connsiteX8706" fmla="*/ 6131414 w 7714416"/>
              <a:gd name="connsiteY8706" fmla="*/ 4226754 h 5282095"/>
              <a:gd name="connsiteX8707" fmla="*/ 6112794 w 7714416"/>
              <a:gd name="connsiteY8707" fmla="*/ 4226532 h 5282095"/>
              <a:gd name="connsiteX8708" fmla="*/ 6107925 w 7714416"/>
              <a:gd name="connsiteY8708" fmla="*/ 4226866 h 5282095"/>
              <a:gd name="connsiteX8709" fmla="*/ 6111075 w 7714416"/>
              <a:gd name="connsiteY8709" fmla="*/ 4229754 h 5282095"/>
              <a:gd name="connsiteX8710" fmla="*/ 6112221 w 7714416"/>
              <a:gd name="connsiteY8710" fmla="*/ 4237641 h 5282095"/>
              <a:gd name="connsiteX8711" fmla="*/ 6086726 w 7714416"/>
              <a:gd name="connsiteY8711" fmla="*/ 4250860 h 5282095"/>
              <a:gd name="connsiteX8712" fmla="*/ 6082428 w 7714416"/>
              <a:gd name="connsiteY8712" fmla="*/ 4250082 h 5282095"/>
              <a:gd name="connsiteX8713" fmla="*/ 6074694 w 7714416"/>
              <a:gd name="connsiteY8713" fmla="*/ 4250637 h 5282095"/>
              <a:gd name="connsiteX8714" fmla="*/ 6072976 w 7714416"/>
              <a:gd name="connsiteY8714" fmla="*/ 4235419 h 5282095"/>
              <a:gd name="connsiteX8715" fmla="*/ 6089304 w 7714416"/>
              <a:gd name="connsiteY8715" fmla="*/ 4221978 h 5282095"/>
              <a:gd name="connsiteX8716" fmla="*/ 6095033 w 7714416"/>
              <a:gd name="connsiteY8716" fmla="*/ 4221867 h 5282095"/>
              <a:gd name="connsiteX8717" fmla="*/ 6096752 w 7714416"/>
              <a:gd name="connsiteY8717" fmla="*/ 4218311 h 5282095"/>
              <a:gd name="connsiteX8718" fmla="*/ 6115086 w 7714416"/>
              <a:gd name="connsiteY8718" fmla="*/ 4213647 h 5282095"/>
              <a:gd name="connsiteX8719" fmla="*/ 6119956 w 7714416"/>
              <a:gd name="connsiteY8719" fmla="*/ 4213758 h 5282095"/>
              <a:gd name="connsiteX8720" fmla="*/ 6115658 w 7714416"/>
              <a:gd name="connsiteY8720" fmla="*/ 4209537 h 5282095"/>
              <a:gd name="connsiteX8721" fmla="*/ 6138289 w 7714416"/>
              <a:gd name="connsiteY8721" fmla="*/ 4200761 h 5282095"/>
              <a:gd name="connsiteX8722" fmla="*/ 5760443 w 7714416"/>
              <a:gd name="connsiteY8722" fmla="*/ 4199317 h 5282095"/>
              <a:gd name="connsiteX8723" fmla="*/ 5765026 w 7714416"/>
              <a:gd name="connsiteY8723" fmla="*/ 4199540 h 5282095"/>
              <a:gd name="connsiteX8724" fmla="*/ 5767890 w 7714416"/>
              <a:gd name="connsiteY8724" fmla="*/ 4200650 h 5282095"/>
              <a:gd name="connsiteX8725" fmla="*/ 5768177 w 7714416"/>
              <a:gd name="connsiteY8725" fmla="*/ 4202427 h 5282095"/>
              <a:gd name="connsiteX8726" fmla="*/ 5763880 w 7714416"/>
              <a:gd name="connsiteY8726" fmla="*/ 4204760 h 5282095"/>
              <a:gd name="connsiteX8727" fmla="*/ 5758438 w 7714416"/>
              <a:gd name="connsiteY8727" fmla="*/ 4205093 h 5282095"/>
              <a:gd name="connsiteX8728" fmla="*/ 5757005 w 7714416"/>
              <a:gd name="connsiteY8728" fmla="*/ 4203538 h 5282095"/>
              <a:gd name="connsiteX8729" fmla="*/ 5756432 w 7714416"/>
              <a:gd name="connsiteY8729" fmla="*/ 4200761 h 5282095"/>
              <a:gd name="connsiteX8730" fmla="*/ 5760443 w 7714416"/>
              <a:gd name="connsiteY8730" fmla="*/ 4199317 h 5282095"/>
              <a:gd name="connsiteX8731" fmla="*/ 6780256 w 7714416"/>
              <a:gd name="connsiteY8731" fmla="*/ 4197873 h 5282095"/>
              <a:gd name="connsiteX8732" fmla="*/ 6783694 w 7714416"/>
              <a:gd name="connsiteY8732" fmla="*/ 4200428 h 5282095"/>
              <a:gd name="connsiteX8733" fmla="*/ 6782548 w 7714416"/>
              <a:gd name="connsiteY8733" fmla="*/ 4208426 h 5282095"/>
              <a:gd name="connsiteX8734" fmla="*/ 6771089 w 7714416"/>
              <a:gd name="connsiteY8734" fmla="*/ 4217313 h 5282095"/>
              <a:gd name="connsiteX8735" fmla="*/ 6772234 w 7714416"/>
              <a:gd name="connsiteY8735" fmla="*/ 4203094 h 5282095"/>
              <a:gd name="connsiteX8736" fmla="*/ 6780256 w 7714416"/>
              <a:gd name="connsiteY8736" fmla="*/ 4197873 h 5282095"/>
              <a:gd name="connsiteX8737" fmla="*/ 2036693 w 7714416"/>
              <a:gd name="connsiteY8737" fmla="*/ 4197651 h 5282095"/>
              <a:gd name="connsiteX8738" fmla="*/ 2041563 w 7714416"/>
              <a:gd name="connsiteY8738" fmla="*/ 4198984 h 5282095"/>
              <a:gd name="connsiteX8739" fmla="*/ 2044428 w 7714416"/>
              <a:gd name="connsiteY8739" fmla="*/ 4200317 h 5282095"/>
              <a:gd name="connsiteX8740" fmla="*/ 2045574 w 7714416"/>
              <a:gd name="connsiteY8740" fmla="*/ 4201539 h 5282095"/>
              <a:gd name="connsiteX8741" fmla="*/ 2044428 w 7714416"/>
              <a:gd name="connsiteY8741" fmla="*/ 4206426 h 5282095"/>
              <a:gd name="connsiteX8742" fmla="*/ 2039271 w 7714416"/>
              <a:gd name="connsiteY8742" fmla="*/ 4210315 h 5282095"/>
              <a:gd name="connsiteX8743" fmla="*/ 2029531 w 7714416"/>
              <a:gd name="connsiteY8743" fmla="*/ 4205205 h 5282095"/>
              <a:gd name="connsiteX8744" fmla="*/ 2028673 w 7714416"/>
              <a:gd name="connsiteY8744" fmla="*/ 4201539 h 5282095"/>
              <a:gd name="connsiteX8745" fmla="*/ 2032109 w 7714416"/>
              <a:gd name="connsiteY8745" fmla="*/ 4198540 h 5282095"/>
              <a:gd name="connsiteX8746" fmla="*/ 2036693 w 7714416"/>
              <a:gd name="connsiteY8746" fmla="*/ 4197651 h 5282095"/>
              <a:gd name="connsiteX8747" fmla="*/ 5718332 w 7714416"/>
              <a:gd name="connsiteY8747" fmla="*/ 4195096 h 5282095"/>
              <a:gd name="connsiteX8748" fmla="*/ 5726067 w 7714416"/>
              <a:gd name="connsiteY8748" fmla="*/ 4198095 h 5282095"/>
              <a:gd name="connsiteX8749" fmla="*/ 5735234 w 7714416"/>
              <a:gd name="connsiteY8749" fmla="*/ 4209647 h 5282095"/>
              <a:gd name="connsiteX8750" fmla="*/ 5719765 w 7714416"/>
              <a:gd name="connsiteY8750" fmla="*/ 4211647 h 5282095"/>
              <a:gd name="connsiteX8751" fmla="*/ 5718332 w 7714416"/>
              <a:gd name="connsiteY8751" fmla="*/ 4210204 h 5282095"/>
              <a:gd name="connsiteX8752" fmla="*/ 5711171 w 7714416"/>
              <a:gd name="connsiteY8752" fmla="*/ 4196429 h 5282095"/>
              <a:gd name="connsiteX8753" fmla="*/ 5718332 w 7714416"/>
              <a:gd name="connsiteY8753" fmla="*/ 4195096 h 5282095"/>
              <a:gd name="connsiteX8754" fmla="*/ 6188134 w 7714416"/>
              <a:gd name="connsiteY8754" fmla="*/ 4194096 h 5282095"/>
              <a:gd name="connsiteX8755" fmla="*/ 6197588 w 7714416"/>
              <a:gd name="connsiteY8755" fmla="*/ 4194541 h 5282095"/>
              <a:gd name="connsiteX8756" fmla="*/ 6194436 w 7714416"/>
              <a:gd name="connsiteY8756" fmla="*/ 4208093 h 5282095"/>
              <a:gd name="connsiteX8757" fmla="*/ 6180686 w 7714416"/>
              <a:gd name="connsiteY8757" fmla="*/ 4196651 h 5282095"/>
              <a:gd name="connsiteX8758" fmla="*/ 6188134 w 7714416"/>
              <a:gd name="connsiteY8758" fmla="*/ 4194096 h 5282095"/>
              <a:gd name="connsiteX8759" fmla="*/ 6415873 w 7714416"/>
              <a:gd name="connsiteY8759" fmla="*/ 4193874 h 5282095"/>
              <a:gd name="connsiteX8760" fmla="*/ 6420743 w 7714416"/>
              <a:gd name="connsiteY8760" fmla="*/ 4195207 h 5282095"/>
              <a:gd name="connsiteX8761" fmla="*/ 6422176 w 7714416"/>
              <a:gd name="connsiteY8761" fmla="*/ 4194319 h 5282095"/>
              <a:gd name="connsiteX8762" fmla="*/ 6429337 w 7714416"/>
              <a:gd name="connsiteY8762" fmla="*/ 4200317 h 5282095"/>
              <a:gd name="connsiteX8763" fmla="*/ 6433920 w 7714416"/>
              <a:gd name="connsiteY8763" fmla="*/ 4203539 h 5282095"/>
              <a:gd name="connsiteX8764" fmla="*/ 6431056 w 7714416"/>
              <a:gd name="connsiteY8764" fmla="*/ 4211314 h 5282095"/>
              <a:gd name="connsiteX8765" fmla="*/ 6408713 w 7714416"/>
              <a:gd name="connsiteY8765" fmla="*/ 4194318 h 5282095"/>
              <a:gd name="connsiteX8766" fmla="*/ 6415873 w 7714416"/>
              <a:gd name="connsiteY8766" fmla="*/ 4193874 h 5282095"/>
              <a:gd name="connsiteX8767" fmla="*/ 5879039 w 7714416"/>
              <a:gd name="connsiteY8767" fmla="*/ 4191208 h 5282095"/>
              <a:gd name="connsiteX8768" fmla="*/ 5899664 w 7714416"/>
              <a:gd name="connsiteY8768" fmla="*/ 4197317 h 5282095"/>
              <a:gd name="connsiteX8769" fmla="*/ 5900524 w 7714416"/>
              <a:gd name="connsiteY8769" fmla="*/ 4203983 h 5282095"/>
              <a:gd name="connsiteX8770" fmla="*/ 5893648 w 7714416"/>
              <a:gd name="connsiteY8770" fmla="*/ 4205649 h 5282095"/>
              <a:gd name="connsiteX8771" fmla="*/ 5879039 w 7714416"/>
              <a:gd name="connsiteY8771" fmla="*/ 4191208 h 5282095"/>
              <a:gd name="connsiteX8772" fmla="*/ 6590330 w 7714416"/>
              <a:gd name="connsiteY8772" fmla="*/ 4189764 h 5282095"/>
              <a:gd name="connsiteX8773" fmla="*/ 6590616 w 7714416"/>
              <a:gd name="connsiteY8773" fmla="*/ 4194652 h 5282095"/>
              <a:gd name="connsiteX8774" fmla="*/ 6585746 w 7714416"/>
              <a:gd name="connsiteY8774" fmla="*/ 4195651 h 5282095"/>
              <a:gd name="connsiteX8775" fmla="*/ 6590330 w 7714416"/>
              <a:gd name="connsiteY8775" fmla="*/ 4189764 h 5282095"/>
              <a:gd name="connsiteX8776" fmla="*/ 5723775 w 7714416"/>
              <a:gd name="connsiteY8776" fmla="*/ 4187541 h 5282095"/>
              <a:gd name="connsiteX8777" fmla="*/ 5729791 w 7714416"/>
              <a:gd name="connsiteY8777" fmla="*/ 4190319 h 5282095"/>
              <a:gd name="connsiteX8778" fmla="*/ 5726067 w 7714416"/>
              <a:gd name="connsiteY8778" fmla="*/ 4193207 h 5282095"/>
              <a:gd name="connsiteX8779" fmla="*/ 5723775 w 7714416"/>
              <a:gd name="connsiteY8779" fmla="*/ 4187541 h 5282095"/>
              <a:gd name="connsiteX8780" fmla="*/ 6842418 w 7714416"/>
              <a:gd name="connsiteY8780" fmla="*/ 4187320 h 5282095"/>
              <a:gd name="connsiteX8781" fmla="*/ 6847002 w 7714416"/>
              <a:gd name="connsiteY8781" fmla="*/ 4187875 h 5282095"/>
              <a:gd name="connsiteX8782" fmla="*/ 6847575 w 7714416"/>
              <a:gd name="connsiteY8782" fmla="*/ 4193874 h 5282095"/>
              <a:gd name="connsiteX8783" fmla="*/ 6826663 w 7714416"/>
              <a:gd name="connsiteY8783" fmla="*/ 4205205 h 5282095"/>
              <a:gd name="connsiteX8784" fmla="*/ 6824372 w 7714416"/>
              <a:gd name="connsiteY8784" fmla="*/ 4194652 h 5282095"/>
              <a:gd name="connsiteX8785" fmla="*/ 6831246 w 7714416"/>
              <a:gd name="connsiteY8785" fmla="*/ 4189209 h 5282095"/>
              <a:gd name="connsiteX8786" fmla="*/ 6842418 w 7714416"/>
              <a:gd name="connsiteY8786" fmla="*/ 4187320 h 5282095"/>
              <a:gd name="connsiteX8787" fmla="*/ 2018359 w 7714416"/>
              <a:gd name="connsiteY8787" fmla="*/ 4186876 h 5282095"/>
              <a:gd name="connsiteX8788" fmla="*/ 2026380 w 7714416"/>
              <a:gd name="connsiteY8788" fmla="*/ 4187098 h 5282095"/>
              <a:gd name="connsiteX8789" fmla="*/ 2013490 w 7714416"/>
              <a:gd name="connsiteY8789" fmla="*/ 4191430 h 5282095"/>
              <a:gd name="connsiteX8790" fmla="*/ 2018359 w 7714416"/>
              <a:gd name="connsiteY8790" fmla="*/ 4186876 h 5282095"/>
              <a:gd name="connsiteX8791" fmla="*/ 5999068 w 7714416"/>
              <a:gd name="connsiteY8791" fmla="*/ 4186541 h 5282095"/>
              <a:gd name="connsiteX8792" fmla="*/ 6001646 w 7714416"/>
              <a:gd name="connsiteY8792" fmla="*/ 4187654 h 5282095"/>
              <a:gd name="connsiteX8793" fmla="*/ 6002792 w 7714416"/>
              <a:gd name="connsiteY8793" fmla="*/ 4186653 h 5282095"/>
              <a:gd name="connsiteX8794" fmla="*/ 6004224 w 7714416"/>
              <a:gd name="connsiteY8794" fmla="*/ 4188765 h 5282095"/>
              <a:gd name="connsiteX8795" fmla="*/ 6003364 w 7714416"/>
              <a:gd name="connsiteY8795" fmla="*/ 4189764 h 5282095"/>
              <a:gd name="connsiteX8796" fmla="*/ 6003651 w 7714416"/>
              <a:gd name="connsiteY8796" fmla="*/ 4190208 h 5282095"/>
              <a:gd name="connsiteX8797" fmla="*/ 6000214 w 7714416"/>
              <a:gd name="connsiteY8797" fmla="*/ 4191097 h 5282095"/>
              <a:gd name="connsiteX8798" fmla="*/ 5996490 w 7714416"/>
              <a:gd name="connsiteY8798" fmla="*/ 4190986 h 5282095"/>
              <a:gd name="connsiteX8799" fmla="*/ 5999068 w 7714416"/>
              <a:gd name="connsiteY8799" fmla="*/ 4186541 h 5282095"/>
              <a:gd name="connsiteX8800" fmla="*/ 6590044 w 7714416"/>
              <a:gd name="connsiteY8800" fmla="*/ 4186432 h 5282095"/>
              <a:gd name="connsiteX8801" fmla="*/ 6590330 w 7714416"/>
              <a:gd name="connsiteY8801" fmla="*/ 4188986 h 5282095"/>
              <a:gd name="connsiteX8802" fmla="*/ 6588898 w 7714416"/>
              <a:gd name="connsiteY8802" fmla="*/ 4188986 h 5282095"/>
              <a:gd name="connsiteX8803" fmla="*/ 6590044 w 7714416"/>
              <a:gd name="connsiteY8803" fmla="*/ 4186432 h 5282095"/>
              <a:gd name="connsiteX8804" fmla="*/ 6704916 w 7714416"/>
              <a:gd name="connsiteY8804" fmla="*/ 4185765 h 5282095"/>
              <a:gd name="connsiteX8805" fmla="*/ 6709212 w 7714416"/>
              <a:gd name="connsiteY8805" fmla="*/ 4191208 h 5282095"/>
              <a:gd name="connsiteX8806" fmla="*/ 6710933 w 7714416"/>
              <a:gd name="connsiteY8806" fmla="*/ 4195651 h 5282095"/>
              <a:gd name="connsiteX8807" fmla="*/ 6700618 w 7714416"/>
              <a:gd name="connsiteY8807" fmla="*/ 4202206 h 5282095"/>
              <a:gd name="connsiteX8808" fmla="*/ 6700046 w 7714416"/>
              <a:gd name="connsiteY8808" fmla="*/ 4202206 h 5282095"/>
              <a:gd name="connsiteX8809" fmla="*/ 6700046 w 7714416"/>
              <a:gd name="connsiteY8809" fmla="*/ 4202427 h 5282095"/>
              <a:gd name="connsiteX8810" fmla="*/ 6697755 w 7714416"/>
              <a:gd name="connsiteY8810" fmla="*/ 4204205 h 5282095"/>
              <a:gd name="connsiteX8811" fmla="*/ 6701192 w 7714416"/>
              <a:gd name="connsiteY8811" fmla="*/ 4204982 h 5282095"/>
              <a:gd name="connsiteX8812" fmla="*/ 6708353 w 7714416"/>
              <a:gd name="connsiteY8812" fmla="*/ 4216535 h 5282095"/>
              <a:gd name="connsiteX8813" fmla="*/ 6708641 w 7714416"/>
              <a:gd name="connsiteY8813" fmla="*/ 4215313 h 5282095"/>
              <a:gd name="connsiteX8814" fmla="*/ 6733276 w 7714416"/>
              <a:gd name="connsiteY8814" fmla="*/ 4206093 h 5282095"/>
              <a:gd name="connsiteX8815" fmla="*/ 6731271 w 7714416"/>
              <a:gd name="connsiteY8815" fmla="*/ 4209537 h 5282095"/>
              <a:gd name="connsiteX8816" fmla="*/ 6729265 w 7714416"/>
              <a:gd name="connsiteY8816" fmla="*/ 4210536 h 5282095"/>
              <a:gd name="connsiteX8817" fmla="*/ 6729265 w 7714416"/>
              <a:gd name="connsiteY8817" fmla="*/ 4211647 h 5282095"/>
              <a:gd name="connsiteX8818" fmla="*/ 6727546 w 7714416"/>
              <a:gd name="connsiteY8818" fmla="*/ 4211425 h 5282095"/>
              <a:gd name="connsiteX8819" fmla="*/ 6724108 w 7714416"/>
              <a:gd name="connsiteY8819" fmla="*/ 4213425 h 5282095"/>
              <a:gd name="connsiteX8820" fmla="*/ 6718380 w 7714416"/>
              <a:gd name="connsiteY8820" fmla="*/ 4219868 h 5282095"/>
              <a:gd name="connsiteX8821" fmla="*/ 6707780 w 7714416"/>
              <a:gd name="connsiteY8821" fmla="*/ 4223533 h 5282095"/>
              <a:gd name="connsiteX8822" fmla="*/ 6704629 w 7714416"/>
              <a:gd name="connsiteY8822" fmla="*/ 4220756 h 5282095"/>
              <a:gd name="connsiteX8823" fmla="*/ 6700905 w 7714416"/>
              <a:gd name="connsiteY8823" fmla="*/ 4222756 h 5282095"/>
              <a:gd name="connsiteX8824" fmla="*/ 6696608 w 7714416"/>
              <a:gd name="connsiteY8824" fmla="*/ 4225089 h 5282095"/>
              <a:gd name="connsiteX8825" fmla="*/ 6696322 w 7714416"/>
              <a:gd name="connsiteY8825" fmla="*/ 4227866 h 5282095"/>
              <a:gd name="connsiteX8826" fmla="*/ 6693744 w 7714416"/>
              <a:gd name="connsiteY8826" fmla="*/ 4231976 h 5282095"/>
              <a:gd name="connsiteX8827" fmla="*/ 6683431 w 7714416"/>
              <a:gd name="connsiteY8827" fmla="*/ 4226866 h 5282095"/>
              <a:gd name="connsiteX8828" fmla="*/ 6688300 w 7714416"/>
              <a:gd name="connsiteY8828" fmla="*/ 4223644 h 5282095"/>
              <a:gd name="connsiteX8829" fmla="*/ 6679419 w 7714416"/>
              <a:gd name="connsiteY8829" fmla="*/ 4219201 h 5282095"/>
              <a:gd name="connsiteX8830" fmla="*/ 6674837 w 7714416"/>
              <a:gd name="connsiteY8830" fmla="*/ 4212869 h 5282095"/>
              <a:gd name="connsiteX8831" fmla="*/ 6679134 w 7714416"/>
              <a:gd name="connsiteY8831" fmla="*/ 4204982 h 5282095"/>
              <a:gd name="connsiteX8832" fmla="*/ 6685149 w 7714416"/>
              <a:gd name="connsiteY8832" fmla="*/ 4203539 h 5282095"/>
              <a:gd name="connsiteX8833" fmla="*/ 6682858 w 7714416"/>
              <a:gd name="connsiteY8833" fmla="*/ 4202427 h 5282095"/>
              <a:gd name="connsiteX8834" fmla="*/ 6678561 w 7714416"/>
              <a:gd name="connsiteY8834" fmla="*/ 4199095 h 5282095"/>
              <a:gd name="connsiteX8835" fmla="*/ 6684290 w 7714416"/>
              <a:gd name="connsiteY8835" fmla="*/ 4195873 h 5282095"/>
              <a:gd name="connsiteX8836" fmla="*/ 6688874 w 7714416"/>
              <a:gd name="connsiteY8836" fmla="*/ 4195651 h 5282095"/>
              <a:gd name="connsiteX8837" fmla="*/ 6688301 w 7714416"/>
              <a:gd name="connsiteY8837" fmla="*/ 4193985 h 5282095"/>
              <a:gd name="connsiteX8838" fmla="*/ 6704916 w 7714416"/>
              <a:gd name="connsiteY8838" fmla="*/ 4185765 h 5282095"/>
              <a:gd name="connsiteX8839" fmla="*/ 6171232 w 7714416"/>
              <a:gd name="connsiteY8839" fmla="*/ 4185321 h 5282095"/>
              <a:gd name="connsiteX8840" fmla="*/ 6173238 w 7714416"/>
              <a:gd name="connsiteY8840" fmla="*/ 4185987 h 5282095"/>
              <a:gd name="connsiteX8841" fmla="*/ 6173238 w 7714416"/>
              <a:gd name="connsiteY8841" fmla="*/ 4185432 h 5282095"/>
              <a:gd name="connsiteX8842" fmla="*/ 6176102 w 7714416"/>
              <a:gd name="connsiteY8842" fmla="*/ 4187542 h 5282095"/>
              <a:gd name="connsiteX8843" fmla="*/ 6176389 w 7714416"/>
              <a:gd name="connsiteY8843" fmla="*/ 4191430 h 5282095"/>
              <a:gd name="connsiteX8844" fmla="*/ 6172665 w 7714416"/>
              <a:gd name="connsiteY8844" fmla="*/ 4191319 h 5282095"/>
              <a:gd name="connsiteX8845" fmla="*/ 6171232 w 7714416"/>
              <a:gd name="connsiteY8845" fmla="*/ 4185321 h 5282095"/>
              <a:gd name="connsiteX8846" fmla="*/ 6155764 w 7714416"/>
              <a:gd name="connsiteY8846" fmla="*/ 4185321 h 5282095"/>
              <a:gd name="connsiteX8847" fmla="*/ 6157768 w 7714416"/>
              <a:gd name="connsiteY8847" fmla="*/ 4188542 h 5282095"/>
              <a:gd name="connsiteX8848" fmla="*/ 6154904 w 7714416"/>
              <a:gd name="connsiteY8848" fmla="*/ 4189431 h 5282095"/>
              <a:gd name="connsiteX8849" fmla="*/ 6155190 w 7714416"/>
              <a:gd name="connsiteY8849" fmla="*/ 4186876 h 5282095"/>
              <a:gd name="connsiteX8850" fmla="*/ 6155764 w 7714416"/>
              <a:gd name="connsiteY8850" fmla="*/ 4185321 h 5282095"/>
              <a:gd name="connsiteX8851" fmla="*/ 6173810 w 7714416"/>
              <a:gd name="connsiteY8851" fmla="*/ 4184543 h 5282095"/>
              <a:gd name="connsiteX8852" fmla="*/ 6173238 w 7714416"/>
              <a:gd name="connsiteY8852" fmla="*/ 4185432 h 5282095"/>
              <a:gd name="connsiteX8853" fmla="*/ 6172665 w 7714416"/>
              <a:gd name="connsiteY8853" fmla="*/ 4184876 h 5282095"/>
              <a:gd name="connsiteX8854" fmla="*/ 6173810 w 7714416"/>
              <a:gd name="connsiteY8854" fmla="*/ 4184543 h 5282095"/>
              <a:gd name="connsiteX8855" fmla="*/ 6216208 w 7714416"/>
              <a:gd name="connsiteY8855" fmla="*/ 4184098 h 5282095"/>
              <a:gd name="connsiteX8856" fmla="*/ 6227952 w 7714416"/>
              <a:gd name="connsiteY8856" fmla="*/ 4186432 h 5282095"/>
              <a:gd name="connsiteX8857" fmla="*/ 6225947 w 7714416"/>
              <a:gd name="connsiteY8857" fmla="*/ 4194763 h 5282095"/>
              <a:gd name="connsiteX8858" fmla="*/ 6219073 w 7714416"/>
              <a:gd name="connsiteY8858" fmla="*/ 4196873 h 5282095"/>
              <a:gd name="connsiteX8859" fmla="*/ 6215349 w 7714416"/>
              <a:gd name="connsiteY8859" fmla="*/ 4196429 h 5282095"/>
              <a:gd name="connsiteX8860" fmla="*/ 6214203 w 7714416"/>
              <a:gd name="connsiteY8860" fmla="*/ 4197762 h 5282095"/>
              <a:gd name="connsiteX8861" fmla="*/ 6211910 w 7714416"/>
              <a:gd name="connsiteY8861" fmla="*/ 4197096 h 5282095"/>
              <a:gd name="connsiteX8862" fmla="*/ 6211051 w 7714416"/>
              <a:gd name="connsiteY8862" fmla="*/ 4195874 h 5282095"/>
              <a:gd name="connsiteX8863" fmla="*/ 6204749 w 7714416"/>
              <a:gd name="connsiteY8863" fmla="*/ 4191986 h 5282095"/>
              <a:gd name="connsiteX8864" fmla="*/ 6203890 w 7714416"/>
              <a:gd name="connsiteY8864" fmla="*/ 4185543 h 5282095"/>
              <a:gd name="connsiteX8865" fmla="*/ 6216208 w 7714416"/>
              <a:gd name="connsiteY8865" fmla="*/ 4184098 h 5282095"/>
              <a:gd name="connsiteX8866" fmla="*/ 5981306 w 7714416"/>
              <a:gd name="connsiteY8866" fmla="*/ 4184098 h 5282095"/>
              <a:gd name="connsiteX8867" fmla="*/ 5985890 w 7714416"/>
              <a:gd name="connsiteY8867" fmla="*/ 4184876 h 5282095"/>
              <a:gd name="connsiteX8868" fmla="*/ 5979588 w 7714416"/>
              <a:gd name="connsiteY8868" fmla="*/ 4186987 h 5282095"/>
              <a:gd name="connsiteX8869" fmla="*/ 5976150 w 7714416"/>
              <a:gd name="connsiteY8869" fmla="*/ 4184432 h 5282095"/>
              <a:gd name="connsiteX8870" fmla="*/ 5981306 w 7714416"/>
              <a:gd name="connsiteY8870" fmla="*/ 4184098 h 5282095"/>
              <a:gd name="connsiteX8871" fmla="*/ 6637310 w 7714416"/>
              <a:gd name="connsiteY8871" fmla="*/ 4183654 h 5282095"/>
              <a:gd name="connsiteX8872" fmla="*/ 6645331 w 7714416"/>
              <a:gd name="connsiteY8872" fmla="*/ 4190430 h 5282095"/>
              <a:gd name="connsiteX8873" fmla="*/ 6642180 w 7714416"/>
              <a:gd name="connsiteY8873" fmla="*/ 4192875 h 5282095"/>
              <a:gd name="connsiteX8874" fmla="*/ 6626424 w 7714416"/>
              <a:gd name="connsiteY8874" fmla="*/ 4186653 h 5282095"/>
              <a:gd name="connsiteX8875" fmla="*/ 6637310 w 7714416"/>
              <a:gd name="connsiteY8875" fmla="*/ 4183654 h 5282095"/>
              <a:gd name="connsiteX8876" fmla="*/ 5989041 w 7714416"/>
              <a:gd name="connsiteY8876" fmla="*/ 4182988 h 5282095"/>
              <a:gd name="connsiteX8877" fmla="*/ 5990474 w 7714416"/>
              <a:gd name="connsiteY8877" fmla="*/ 4183432 h 5282095"/>
              <a:gd name="connsiteX8878" fmla="*/ 5987036 w 7714416"/>
              <a:gd name="connsiteY8878" fmla="*/ 4184543 h 5282095"/>
              <a:gd name="connsiteX8879" fmla="*/ 5986463 w 7714416"/>
              <a:gd name="connsiteY8879" fmla="*/ 4183655 h 5282095"/>
              <a:gd name="connsiteX8880" fmla="*/ 5989041 w 7714416"/>
              <a:gd name="connsiteY8880" fmla="*/ 4182988 h 5282095"/>
              <a:gd name="connsiteX8881" fmla="*/ 6580304 w 7714416"/>
              <a:gd name="connsiteY8881" fmla="*/ 4182543 h 5282095"/>
              <a:gd name="connsiteX8882" fmla="*/ 6582022 w 7714416"/>
              <a:gd name="connsiteY8882" fmla="*/ 4183988 h 5282095"/>
              <a:gd name="connsiteX8883" fmla="*/ 6581163 w 7714416"/>
              <a:gd name="connsiteY8883" fmla="*/ 4186210 h 5282095"/>
              <a:gd name="connsiteX8884" fmla="*/ 6578872 w 7714416"/>
              <a:gd name="connsiteY8884" fmla="*/ 4191208 h 5282095"/>
              <a:gd name="connsiteX8885" fmla="*/ 6580304 w 7714416"/>
              <a:gd name="connsiteY8885" fmla="*/ 4182543 h 5282095"/>
              <a:gd name="connsiteX8886" fmla="*/ 6970468 w 7714416"/>
              <a:gd name="connsiteY8886" fmla="*/ 4182211 h 5282095"/>
              <a:gd name="connsiteX8887" fmla="*/ 6969036 w 7714416"/>
              <a:gd name="connsiteY8887" fmla="*/ 4182987 h 5282095"/>
              <a:gd name="connsiteX8888" fmla="*/ 6970754 w 7714416"/>
              <a:gd name="connsiteY8888" fmla="*/ 4184210 h 5282095"/>
              <a:gd name="connsiteX8889" fmla="*/ 6969895 w 7714416"/>
              <a:gd name="connsiteY8889" fmla="*/ 4183321 h 5282095"/>
              <a:gd name="connsiteX8890" fmla="*/ 5753281 w 7714416"/>
              <a:gd name="connsiteY8890" fmla="*/ 4181100 h 5282095"/>
              <a:gd name="connsiteX8891" fmla="*/ 5757005 w 7714416"/>
              <a:gd name="connsiteY8891" fmla="*/ 4185764 h 5282095"/>
              <a:gd name="connsiteX8892" fmla="*/ 5746692 w 7714416"/>
              <a:gd name="connsiteY8892" fmla="*/ 4187654 h 5282095"/>
              <a:gd name="connsiteX8893" fmla="*/ 5753281 w 7714416"/>
              <a:gd name="connsiteY8893" fmla="*/ 4181100 h 5282095"/>
              <a:gd name="connsiteX8894" fmla="*/ 5998494 w 7714416"/>
              <a:gd name="connsiteY8894" fmla="*/ 4180877 h 5282095"/>
              <a:gd name="connsiteX8895" fmla="*/ 5997349 w 7714416"/>
              <a:gd name="connsiteY8895" fmla="*/ 4182322 h 5282095"/>
              <a:gd name="connsiteX8896" fmla="*/ 5994484 w 7714416"/>
              <a:gd name="connsiteY8896" fmla="*/ 4180989 h 5282095"/>
              <a:gd name="connsiteX8897" fmla="*/ 5998494 w 7714416"/>
              <a:gd name="connsiteY8897" fmla="*/ 4180877 h 5282095"/>
              <a:gd name="connsiteX8898" fmla="*/ 6681426 w 7714416"/>
              <a:gd name="connsiteY8898" fmla="*/ 4180099 h 5282095"/>
              <a:gd name="connsiteX8899" fmla="*/ 6683144 w 7714416"/>
              <a:gd name="connsiteY8899" fmla="*/ 4184876 h 5282095"/>
              <a:gd name="connsiteX8900" fmla="*/ 6678561 w 7714416"/>
              <a:gd name="connsiteY8900" fmla="*/ 4186765 h 5282095"/>
              <a:gd name="connsiteX8901" fmla="*/ 6676269 w 7714416"/>
              <a:gd name="connsiteY8901" fmla="*/ 4180989 h 5282095"/>
              <a:gd name="connsiteX8902" fmla="*/ 6681426 w 7714416"/>
              <a:gd name="connsiteY8902" fmla="*/ 4180099 h 5282095"/>
              <a:gd name="connsiteX8903" fmla="*/ 6658795 w 7714416"/>
              <a:gd name="connsiteY8903" fmla="*/ 4179988 h 5282095"/>
              <a:gd name="connsiteX8904" fmla="*/ 6666243 w 7714416"/>
              <a:gd name="connsiteY8904" fmla="*/ 4188209 h 5282095"/>
              <a:gd name="connsiteX8905" fmla="*/ 6658795 w 7714416"/>
              <a:gd name="connsiteY8905" fmla="*/ 4179988 h 5282095"/>
              <a:gd name="connsiteX8906" fmla="*/ 6554522 w 7714416"/>
              <a:gd name="connsiteY8906" fmla="*/ 4179767 h 5282095"/>
              <a:gd name="connsiteX8907" fmla="*/ 6557672 w 7714416"/>
              <a:gd name="connsiteY8907" fmla="*/ 4183321 h 5282095"/>
              <a:gd name="connsiteX8908" fmla="*/ 6555954 w 7714416"/>
              <a:gd name="connsiteY8908" fmla="*/ 4187876 h 5282095"/>
              <a:gd name="connsiteX8909" fmla="*/ 6552230 w 7714416"/>
              <a:gd name="connsiteY8909" fmla="*/ 4190652 h 5282095"/>
              <a:gd name="connsiteX8910" fmla="*/ 6546501 w 7714416"/>
              <a:gd name="connsiteY8910" fmla="*/ 4191430 h 5282095"/>
              <a:gd name="connsiteX8911" fmla="*/ 6542490 w 7714416"/>
              <a:gd name="connsiteY8911" fmla="*/ 4189986 h 5282095"/>
              <a:gd name="connsiteX8912" fmla="*/ 6539912 w 7714416"/>
              <a:gd name="connsiteY8912" fmla="*/ 4183432 h 5282095"/>
              <a:gd name="connsiteX8913" fmla="*/ 6554522 w 7714416"/>
              <a:gd name="connsiteY8913" fmla="*/ 4179767 h 5282095"/>
              <a:gd name="connsiteX8914" fmla="*/ 5952946 w 7714416"/>
              <a:gd name="connsiteY8914" fmla="*/ 4177990 h 5282095"/>
              <a:gd name="connsiteX8915" fmla="*/ 5960108 w 7714416"/>
              <a:gd name="connsiteY8915" fmla="*/ 4179655 h 5282095"/>
              <a:gd name="connsiteX8916" fmla="*/ 5956098 w 7714416"/>
              <a:gd name="connsiteY8916" fmla="*/ 4193541 h 5282095"/>
              <a:gd name="connsiteX8917" fmla="*/ 5945785 w 7714416"/>
              <a:gd name="connsiteY8917" fmla="*/ 4190986 h 5282095"/>
              <a:gd name="connsiteX8918" fmla="*/ 5952946 w 7714416"/>
              <a:gd name="connsiteY8918" fmla="*/ 4177990 h 5282095"/>
              <a:gd name="connsiteX8919" fmla="*/ 6833252 w 7714416"/>
              <a:gd name="connsiteY8919" fmla="*/ 4177323 h 5282095"/>
              <a:gd name="connsiteX8920" fmla="*/ 6838122 w 7714416"/>
              <a:gd name="connsiteY8920" fmla="*/ 4177656 h 5282095"/>
              <a:gd name="connsiteX8921" fmla="*/ 6839554 w 7714416"/>
              <a:gd name="connsiteY8921" fmla="*/ 4181322 h 5282095"/>
              <a:gd name="connsiteX8922" fmla="*/ 6833824 w 7714416"/>
              <a:gd name="connsiteY8922" fmla="*/ 4187653 h 5282095"/>
              <a:gd name="connsiteX8923" fmla="*/ 6818355 w 7714416"/>
              <a:gd name="connsiteY8923" fmla="*/ 4190653 h 5282095"/>
              <a:gd name="connsiteX8924" fmla="*/ 6828096 w 7714416"/>
              <a:gd name="connsiteY8924" fmla="*/ 4178878 h 5282095"/>
              <a:gd name="connsiteX8925" fmla="*/ 6833252 w 7714416"/>
              <a:gd name="connsiteY8925" fmla="*/ 4177323 h 5282095"/>
              <a:gd name="connsiteX8926" fmla="*/ 6347694 w 7714416"/>
              <a:gd name="connsiteY8926" fmla="*/ 4176766 h 5282095"/>
              <a:gd name="connsiteX8927" fmla="*/ 6352278 w 7714416"/>
              <a:gd name="connsiteY8927" fmla="*/ 4181099 h 5282095"/>
              <a:gd name="connsiteX8928" fmla="*/ 6337382 w 7714416"/>
              <a:gd name="connsiteY8928" fmla="*/ 4195430 h 5282095"/>
              <a:gd name="connsiteX8929" fmla="*/ 6347694 w 7714416"/>
              <a:gd name="connsiteY8929" fmla="*/ 4176766 h 5282095"/>
              <a:gd name="connsiteX8930" fmla="*/ 7092502 w 7714416"/>
              <a:gd name="connsiteY8930" fmla="*/ 4176434 h 5282095"/>
              <a:gd name="connsiteX8931" fmla="*/ 7076174 w 7714416"/>
              <a:gd name="connsiteY8931" fmla="*/ 4188542 h 5282095"/>
              <a:gd name="connsiteX8932" fmla="*/ 7070444 w 7714416"/>
              <a:gd name="connsiteY8932" fmla="*/ 4185321 h 5282095"/>
              <a:gd name="connsiteX8933" fmla="*/ 7092502 w 7714416"/>
              <a:gd name="connsiteY8933" fmla="*/ 4176434 h 5282095"/>
              <a:gd name="connsiteX8934" fmla="*/ 6025422 w 7714416"/>
              <a:gd name="connsiteY8934" fmla="*/ 4175657 h 5282095"/>
              <a:gd name="connsiteX8935" fmla="*/ 5998782 w 7714416"/>
              <a:gd name="connsiteY8935" fmla="*/ 4180988 h 5282095"/>
              <a:gd name="connsiteX8936" fmla="*/ 6025422 w 7714416"/>
              <a:gd name="connsiteY8936" fmla="*/ 4175657 h 5282095"/>
              <a:gd name="connsiteX8937" fmla="*/ 7272115 w 7714416"/>
              <a:gd name="connsiteY8937" fmla="*/ 4174212 h 5282095"/>
              <a:gd name="connsiteX8938" fmla="*/ 7285006 w 7714416"/>
              <a:gd name="connsiteY8938" fmla="*/ 4189542 h 5282095"/>
              <a:gd name="connsiteX8939" fmla="*/ 7276126 w 7714416"/>
              <a:gd name="connsiteY8939" fmla="*/ 4192097 h 5282095"/>
              <a:gd name="connsiteX8940" fmla="*/ 7272115 w 7714416"/>
              <a:gd name="connsiteY8940" fmla="*/ 4174212 h 5282095"/>
              <a:gd name="connsiteX8941" fmla="*/ 6370039 w 7714416"/>
              <a:gd name="connsiteY8941" fmla="*/ 4173767 h 5282095"/>
              <a:gd name="connsiteX8942" fmla="*/ 6386081 w 7714416"/>
              <a:gd name="connsiteY8942" fmla="*/ 4185765 h 5282095"/>
              <a:gd name="connsiteX8943" fmla="*/ 6379492 w 7714416"/>
              <a:gd name="connsiteY8943" fmla="*/ 4189097 h 5282095"/>
              <a:gd name="connsiteX8944" fmla="*/ 6365169 w 7714416"/>
              <a:gd name="connsiteY8944" fmla="*/ 4185765 h 5282095"/>
              <a:gd name="connsiteX8945" fmla="*/ 6370039 w 7714416"/>
              <a:gd name="connsiteY8945" fmla="*/ 4173767 h 5282095"/>
              <a:gd name="connsiteX8946" fmla="*/ 6093887 w 7714416"/>
              <a:gd name="connsiteY8946" fmla="*/ 4173213 h 5282095"/>
              <a:gd name="connsiteX8947" fmla="*/ 6099044 w 7714416"/>
              <a:gd name="connsiteY8947" fmla="*/ 4174768 h 5282095"/>
              <a:gd name="connsiteX8948" fmla="*/ 6092742 w 7714416"/>
              <a:gd name="connsiteY8948" fmla="*/ 4183099 h 5282095"/>
              <a:gd name="connsiteX8949" fmla="*/ 6093887 w 7714416"/>
              <a:gd name="connsiteY8949" fmla="*/ 4173213 h 5282095"/>
              <a:gd name="connsiteX8950" fmla="*/ 5730650 w 7714416"/>
              <a:gd name="connsiteY8950" fmla="*/ 4170324 h 5282095"/>
              <a:gd name="connsiteX8951" fmla="*/ 5732082 w 7714416"/>
              <a:gd name="connsiteY8951" fmla="*/ 4171880 h 5282095"/>
              <a:gd name="connsiteX8952" fmla="*/ 5732942 w 7714416"/>
              <a:gd name="connsiteY8952" fmla="*/ 4174657 h 5282095"/>
              <a:gd name="connsiteX8953" fmla="*/ 5724634 w 7714416"/>
              <a:gd name="connsiteY8953" fmla="*/ 4176212 h 5282095"/>
              <a:gd name="connsiteX8954" fmla="*/ 5721197 w 7714416"/>
              <a:gd name="connsiteY8954" fmla="*/ 4173546 h 5282095"/>
              <a:gd name="connsiteX8955" fmla="*/ 5725208 w 7714416"/>
              <a:gd name="connsiteY8955" fmla="*/ 4170880 h 5282095"/>
              <a:gd name="connsiteX8956" fmla="*/ 5730650 w 7714416"/>
              <a:gd name="connsiteY8956" fmla="*/ 4170324 h 5282095"/>
              <a:gd name="connsiteX8957" fmla="*/ 6005083 w 7714416"/>
              <a:gd name="connsiteY8957" fmla="*/ 4169769 h 5282095"/>
              <a:gd name="connsiteX8958" fmla="*/ 6013390 w 7714416"/>
              <a:gd name="connsiteY8958" fmla="*/ 4175990 h 5282095"/>
              <a:gd name="connsiteX8959" fmla="*/ 5996490 w 7714416"/>
              <a:gd name="connsiteY8959" fmla="*/ 4175767 h 5282095"/>
              <a:gd name="connsiteX8960" fmla="*/ 6005083 w 7714416"/>
              <a:gd name="connsiteY8960" fmla="*/ 4169769 h 5282095"/>
              <a:gd name="connsiteX8961" fmla="*/ 6051490 w 7714416"/>
              <a:gd name="connsiteY8961" fmla="*/ 4169658 h 5282095"/>
              <a:gd name="connsiteX8962" fmla="*/ 6039172 w 7714416"/>
              <a:gd name="connsiteY8962" fmla="*/ 4173768 h 5282095"/>
              <a:gd name="connsiteX8963" fmla="*/ 6037167 w 7714416"/>
              <a:gd name="connsiteY8963" fmla="*/ 4173213 h 5282095"/>
              <a:gd name="connsiteX8964" fmla="*/ 6051490 w 7714416"/>
              <a:gd name="connsiteY8964" fmla="*/ 4169658 h 5282095"/>
              <a:gd name="connsiteX8965" fmla="*/ 6670540 w 7714416"/>
              <a:gd name="connsiteY8965" fmla="*/ 4168880 h 5282095"/>
              <a:gd name="connsiteX8966" fmla="*/ 6674838 w 7714416"/>
              <a:gd name="connsiteY8966" fmla="*/ 4169436 h 5282095"/>
              <a:gd name="connsiteX8967" fmla="*/ 6675982 w 7714416"/>
              <a:gd name="connsiteY8967" fmla="*/ 4173323 h 5282095"/>
              <a:gd name="connsiteX8968" fmla="*/ 6674550 w 7714416"/>
              <a:gd name="connsiteY8968" fmla="*/ 4173990 h 5282095"/>
              <a:gd name="connsiteX8969" fmla="*/ 6670540 w 7714416"/>
              <a:gd name="connsiteY8969" fmla="*/ 4168880 h 5282095"/>
              <a:gd name="connsiteX8970" fmla="*/ 6130554 w 7714416"/>
              <a:gd name="connsiteY8970" fmla="*/ 4167103 h 5282095"/>
              <a:gd name="connsiteX8971" fmla="*/ 6136284 w 7714416"/>
              <a:gd name="connsiteY8971" fmla="*/ 4172768 h 5282095"/>
              <a:gd name="connsiteX8972" fmla="*/ 6130554 w 7714416"/>
              <a:gd name="connsiteY8972" fmla="*/ 4167103 h 5282095"/>
              <a:gd name="connsiteX8973" fmla="*/ 6480900 w 7714416"/>
              <a:gd name="connsiteY8973" fmla="*/ 4165881 h 5282095"/>
              <a:gd name="connsiteX8974" fmla="*/ 6483765 w 7714416"/>
              <a:gd name="connsiteY8974" fmla="*/ 4166325 h 5282095"/>
              <a:gd name="connsiteX8975" fmla="*/ 6486630 w 7714416"/>
              <a:gd name="connsiteY8975" fmla="*/ 4168547 h 5282095"/>
              <a:gd name="connsiteX8976" fmla="*/ 6479754 w 7714416"/>
              <a:gd name="connsiteY8976" fmla="*/ 4170325 h 5282095"/>
              <a:gd name="connsiteX8977" fmla="*/ 6478036 w 7714416"/>
              <a:gd name="connsiteY8977" fmla="*/ 4166658 h 5282095"/>
              <a:gd name="connsiteX8978" fmla="*/ 6480900 w 7714416"/>
              <a:gd name="connsiteY8978" fmla="*/ 4165881 h 5282095"/>
              <a:gd name="connsiteX8979" fmla="*/ 6983072 w 7714416"/>
              <a:gd name="connsiteY8979" fmla="*/ 4164437 h 5282095"/>
              <a:gd name="connsiteX8980" fmla="*/ 6983932 w 7714416"/>
              <a:gd name="connsiteY8980" fmla="*/ 4168103 h 5282095"/>
              <a:gd name="connsiteX8981" fmla="*/ 6983072 w 7714416"/>
              <a:gd name="connsiteY8981" fmla="*/ 4169769 h 5282095"/>
              <a:gd name="connsiteX8982" fmla="*/ 6983932 w 7714416"/>
              <a:gd name="connsiteY8982" fmla="*/ 4170769 h 5282095"/>
              <a:gd name="connsiteX8983" fmla="*/ 6982500 w 7714416"/>
              <a:gd name="connsiteY8983" fmla="*/ 4171325 h 5282095"/>
              <a:gd name="connsiteX8984" fmla="*/ 6981068 w 7714416"/>
              <a:gd name="connsiteY8984" fmla="*/ 4174657 h 5282095"/>
              <a:gd name="connsiteX8985" fmla="*/ 6981354 w 7714416"/>
              <a:gd name="connsiteY8985" fmla="*/ 4182544 h 5282095"/>
              <a:gd name="connsiteX8986" fmla="*/ 6975338 w 7714416"/>
              <a:gd name="connsiteY8986" fmla="*/ 4190319 h 5282095"/>
              <a:gd name="connsiteX8987" fmla="*/ 6970754 w 7714416"/>
              <a:gd name="connsiteY8987" fmla="*/ 4189542 h 5282095"/>
              <a:gd name="connsiteX8988" fmla="*/ 6969322 w 7714416"/>
              <a:gd name="connsiteY8988" fmla="*/ 4192763 h 5282095"/>
              <a:gd name="connsiteX8989" fmla="*/ 6949270 w 7714416"/>
              <a:gd name="connsiteY8989" fmla="*/ 4199872 h 5282095"/>
              <a:gd name="connsiteX8990" fmla="*/ 6940962 w 7714416"/>
              <a:gd name="connsiteY8990" fmla="*/ 4196651 h 5282095"/>
              <a:gd name="connsiteX8991" fmla="*/ 6938384 w 7714416"/>
              <a:gd name="connsiteY8991" fmla="*/ 4188431 h 5282095"/>
              <a:gd name="connsiteX8992" fmla="*/ 6956145 w 7714416"/>
              <a:gd name="connsiteY8992" fmla="*/ 4178322 h 5282095"/>
              <a:gd name="connsiteX8993" fmla="*/ 6965884 w 7714416"/>
              <a:gd name="connsiteY8993" fmla="*/ 4180322 h 5282095"/>
              <a:gd name="connsiteX8994" fmla="*/ 6967317 w 7714416"/>
              <a:gd name="connsiteY8994" fmla="*/ 4181655 h 5282095"/>
              <a:gd name="connsiteX8995" fmla="*/ 6965598 w 7714416"/>
              <a:gd name="connsiteY8995" fmla="*/ 4177878 h 5282095"/>
              <a:gd name="connsiteX8996" fmla="*/ 6967604 w 7714416"/>
              <a:gd name="connsiteY8996" fmla="*/ 4172768 h 5282095"/>
              <a:gd name="connsiteX8997" fmla="*/ 6968176 w 7714416"/>
              <a:gd name="connsiteY8997" fmla="*/ 4166992 h 5282095"/>
              <a:gd name="connsiteX8998" fmla="*/ 6971614 w 7714416"/>
              <a:gd name="connsiteY8998" fmla="*/ 4164992 h 5282095"/>
              <a:gd name="connsiteX8999" fmla="*/ 6973332 w 7714416"/>
              <a:gd name="connsiteY8999" fmla="*/ 4165215 h 5282095"/>
              <a:gd name="connsiteX9000" fmla="*/ 6974478 w 7714416"/>
              <a:gd name="connsiteY9000" fmla="*/ 4167880 h 5282095"/>
              <a:gd name="connsiteX9001" fmla="*/ 6973332 w 7714416"/>
              <a:gd name="connsiteY9001" fmla="*/ 4174657 h 5282095"/>
              <a:gd name="connsiteX9002" fmla="*/ 6972187 w 7714416"/>
              <a:gd name="connsiteY9002" fmla="*/ 4178656 h 5282095"/>
              <a:gd name="connsiteX9003" fmla="*/ 6975624 w 7714416"/>
              <a:gd name="connsiteY9003" fmla="*/ 4171768 h 5282095"/>
              <a:gd name="connsiteX9004" fmla="*/ 6983072 w 7714416"/>
              <a:gd name="connsiteY9004" fmla="*/ 4164437 h 5282095"/>
              <a:gd name="connsiteX9005" fmla="*/ 6009666 w 7714416"/>
              <a:gd name="connsiteY9005" fmla="*/ 4163437 h 5282095"/>
              <a:gd name="connsiteX9006" fmla="*/ 6036594 w 7714416"/>
              <a:gd name="connsiteY9006" fmla="*/ 4164437 h 5282095"/>
              <a:gd name="connsiteX9007" fmla="*/ 6040032 w 7714416"/>
              <a:gd name="connsiteY9007" fmla="*/ 4166991 h 5282095"/>
              <a:gd name="connsiteX9008" fmla="*/ 6041750 w 7714416"/>
              <a:gd name="connsiteY9008" fmla="*/ 4166992 h 5282095"/>
              <a:gd name="connsiteX9009" fmla="*/ 6043756 w 7714416"/>
              <a:gd name="connsiteY9009" fmla="*/ 4169436 h 5282095"/>
              <a:gd name="connsiteX9010" fmla="*/ 6033730 w 7714416"/>
              <a:gd name="connsiteY9010" fmla="*/ 4170324 h 5282095"/>
              <a:gd name="connsiteX9011" fmla="*/ 6025136 w 7714416"/>
              <a:gd name="connsiteY9011" fmla="*/ 4169991 h 5282095"/>
              <a:gd name="connsiteX9012" fmla="*/ 5997922 w 7714416"/>
              <a:gd name="connsiteY9012" fmla="*/ 4164437 h 5282095"/>
              <a:gd name="connsiteX9013" fmla="*/ 6009666 w 7714416"/>
              <a:gd name="connsiteY9013" fmla="*/ 4163437 h 5282095"/>
              <a:gd name="connsiteX9014" fmla="*/ 6804319 w 7714416"/>
              <a:gd name="connsiteY9014" fmla="*/ 4163326 h 5282095"/>
              <a:gd name="connsiteX9015" fmla="*/ 6805178 w 7714416"/>
              <a:gd name="connsiteY9015" fmla="*/ 4164214 h 5282095"/>
              <a:gd name="connsiteX9016" fmla="*/ 6798590 w 7714416"/>
              <a:gd name="connsiteY9016" fmla="*/ 4165658 h 5282095"/>
              <a:gd name="connsiteX9017" fmla="*/ 6804319 w 7714416"/>
              <a:gd name="connsiteY9017" fmla="*/ 4163326 h 5282095"/>
              <a:gd name="connsiteX9018" fmla="*/ 7099090 w 7714416"/>
              <a:gd name="connsiteY9018" fmla="*/ 4162659 h 5282095"/>
              <a:gd name="connsiteX9019" fmla="*/ 7106538 w 7714416"/>
              <a:gd name="connsiteY9019" fmla="*/ 4167436 h 5282095"/>
              <a:gd name="connsiteX9020" fmla="*/ 7102242 w 7714416"/>
              <a:gd name="connsiteY9020" fmla="*/ 4171879 h 5282095"/>
              <a:gd name="connsiteX9021" fmla="*/ 7094507 w 7714416"/>
              <a:gd name="connsiteY9021" fmla="*/ 4167214 h 5282095"/>
              <a:gd name="connsiteX9022" fmla="*/ 7099090 w 7714416"/>
              <a:gd name="connsiteY9022" fmla="*/ 4162659 h 5282095"/>
              <a:gd name="connsiteX9023" fmla="*/ 6593768 w 7714416"/>
              <a:gd name="connsiteY9023" fmla="*/ 4161771 h 5282095"/>
              <a:gd name="connsiteX9024" fmla="*/ 6593194 w 7714416"/>
              <a:gd name="connsiteY9024" fmla="*/ 4170768 h 5282095"/>
              <a:gd name="connsiteX9025" fmla="*/ 6592622 w 7714416"/>
              <a:gd name="connsiteY9025" fmla="*/ 4174101 h 5282095"/>
              <a:gd name="connsiteX9026" fmla="*/ 6594914 w 7714416"/>
              <a:gd name="connsiteY9026" fmla="*/ 4174212 h 5282095"/>
              <a:gd name="connsiteX9027" fmla="*/ 6606372 w 7714416"/>
              <a:gd name="connsiteY9027" fmla="*/ 4184766 h 5282095"/>
              <a:gd name="connsiteX9028" fmla="*/ 6593768 w 7714416"/>
              <a:gd name="connsiteY9028" fmla="*/ 4185432 h 5282095"/>
              <a:gd name="connsiteX9029" fmla="*/ 6588611 w 7714416"/>
              <a:gd name="connsiteY9029" fmla="*/ 4182876 h 5282095"/>
              <a:gd name="connsiteX9030" fmla="*/ 6585746 w 7714416"/>
              <a:gd name="connsiteY9030" fmla="*/ 4179211 h 5282095"/>
              <a:gd name="connsiteX9031" fmla="*/ 6588611 w 7714416"/>
              <a:gd name="connsiteY9031" fmla="*/ 4173991 h 5282095"/>
              <a:gd name="connsiteX9032" fmla="*/ 6590330 w 7714416"/>
              <a:gd name="connsiteY9032" fmla="*/ 4173991 h 5282095"/>
              <a:gd name="connsiteX9033" fmla="*/ 6590616 w 7714416"/>
              <a:gd name="connsiteY9033" fmla="*/ 4170658 h 5282095"/>
              <a:gd name="connsiteX9034" fmla="*/ 6593768 w 7714416"/>
              <a:gd name="connsiteY9034" fmla="*/ 4161771 h 5282095"/>
              <a:gd name="connsiteX9035" fmla="*/ 6411862 w 7714416"/>
              <a:gd name="connsiteY9035" fmla="*/ 4160549 h 5282095"/>
              <a:gd name="connsiteX9036" fmla="*/ 6417878 w 7714416"/>
              <a:gd name="connsiteY9036" fmla="*/ 4169881 h 5282095"/>
              <a:gd name="connsiteX9037" fmla="*/ 6404128 w 7714416"/>
              <a:gd name="connsiteY9037" fmla="*/ 4174657 h 5282095"/>
              <a:gd name="connsiteX9038" fmla="*/ 6411862 w 7714416"/>
              <a:gd name="connsiteY9038" fmla="*/ 4160549 h 5282095"/>
              <a:gd name="connsiteX9039" fmla="*/ 5867581 w 7714416"/>
              <a:gd name="connsiteY9039" fmla="*/ 4158105 h 5282095"/>
              <a:gd name="connsiteX9040" fmla="*/ 5873882 w 7714416"/>
              <a:gd name="connsiteY9040" fmla="*/ 4164214 h 5282095"/>
              <a:gd name="connsiteX9041" fmla="*/ 5863856 w 7714416"/>
              <a:gd name="connsiteY9041" fmla="*/ 4167547 h 5282095"/>
              <a:gd name="connsiteX9042" fmla="*/ 5867581 w 7714416"/>
              <a:gd name="connsiteY9042" fmla="*/ 4158105 h 5282095"/>
              <a:gd name="connsiteX9043" fmla="*/ 5821460 w 7714416"/>
              <a:gd name="connsiteY9043" fmla="*/ 4158105 h 5282095"/>
              <a:gd name="connsiteX9044" fmla="*/ 5838074 w 7714416"/>
              <a:gd name="connsiteY9044" fmla="*/ 4159549 h 5282095"/>
              <a:gd name="connsiteX9045" fmla="*/ 5841512 w 7714416"/>
              <a:gd name="connsiteY9045" fmla="*/ 4159772 h 5282095"/>
              <a:gd name="connsiteX9046" fmla="*/ 5844950 w 7714416"/>
              <a:gd name="connsiteY9046" fmla="*/ 4162104 h 5282095"/>
              <a:gd name="connsiteX9047" fmla="*/ 5829767 w 7714416"/>
              <a:gd name="connsiteY9047" fmla="*/ 4162771 h 5282095"/>
              <a:gd name="connsiteX9048" fmla="*/ 5821460 w 7714416"/>
              <a:gd name="connsiteY9048" fmla="*/ 4162549 h 5282095"/>
              <a:gd name="connsiteX9049" fmla="*/ 5817736 w 7714416"/>
              <a:gd name="connsiteY9049" fmla="*/ 4160104 h 5282095"/>
              <a:gd name="connsiteX9050" fmla="*/ 5817736 w 7714416"/>
              <a:gd name="connsiteY9050" fmla="*/ 4158994 h 5282095"/>
              <a:gd name="connsiteX9051" fmla="*/ 5821460 w 7714416"/>
              <a:gd name="connsiteY9051" fmla="*/ 4158105 h 5282095"/>
              <a:gd name="connsiteX9052" fmla="*/ 6154044 w 7714416"/>
              <a:gd name="connsiteY9052" fmla="*/ 4154550 h 5282095"/>
              <a:gd name="connsiteX9053" fmla="*/ 6158342 w 7714416"/>
              <a:gd name="connsiteY9053" fmla="*/ 4171656 h 5282095"/>
              <a:gd name="connsiteX9054" fmla="*/ 6148602 w 7714416"/>
              <a:gd name="connsiteY9054" fmla="*/ 4171656 h 5282095"/>
              <a:gd name="connsiteX9055" fmla="*/ 6154044 w 7714416"/>
              <a:gd name="connsiteY9055" fmla="*/ 4154550 h 5282095"/>
              <a:gd name="connsiteX9056" fmla="*/ 7075028 w 7714416"/>
              <a:gd name="connsiteY9056" fmla="*/ 4152885 h 5282095"/>
              <a:gd name="connsiteX9057" fmla="*/ 7076460 w 7714416"/>
              <a:gd name="connsiteY9057" fmla="*/ 4153107 h 5282095"/>
              <a:gd name="connsiteX9058" fmla="*/ 7079324 w 7714416"/>
              <a:gd name="connsiteY9058" fmla="*/ 4165548 h 5282095"/>
              <a:gd name="connsiteX9059" fmla="*/ 7078178 w 7714416"/>
              <a:gd name="connsiteY9059" fmla="*/ 4169880 h 5282095"/>
              <a:gd name="connsiteX9060" fmla="*/ 7078465 w 7714416"/>
              <a:gd name="connsiteY9060" fmla="*/ 4168658 h 5282095"/>
              <a:gd name="connsiteX9061" fmla="*/ 7076746 w 7714416"/>
              <a:gd name="connsiteY9061" fmla="*/ 4169769 h 5282095"/>
              <a:gd name="connsiteX9062" fmla="*/ 7075028 w 7714416"/>
              <a:gd name="connsiteY9062" fmla="*/ 4152885 h 5282095"/>
              <a:gd name="connsiteX9063" fmla="*/ 6074980 w 7714416"/>
              <a:gd name="connsiteY9063" fmla="*/ 4152662 h 5282095"/>
              <a:gd name="connsiteX9064" fmla="*/ 6076700 w 7714416"/>
              <a:gd name="connsiteY9064" fmla="*/ 4155773 h 5282095"/>
              <a:gd name="connsiteX9065" fmla="*/ 6076701 w 7714416"/>
              <a:gd name="connsiteY9065" fmla="*/ 4156883 h 5282095"/>
              <a:gd name="connsiteX9066" fmla="*/ 6074980 w 7714416"/>
              <a:gd name="connsiteY9066" fmla="*/ 4157327 h 5282095"/>
              <a:gd name="connsiteX9067" fmla="*/ 6074980 w 7714416"/>
              <a:gd name="connsiteY9067" fmla="*/ 4152662 h 5282095"/>
              <a:gd name="connsiteX9068" fmla="*/ 7083335 w 7714416"/>
              <a:gd name="connsiteY9068" fmla="*/ 4151218 h 5282095"/>
              <a:gd name="connsiteX9069" fmla="*/ 7096799 w 7714416"/>
              <a:gd name="connsiteY9069" fmla="*/ 4172880 h 5282095"/>
              <a:gd name="connsiteX9070" fmla="*/ 7089924 w 7714416"/>
              <a:gd name="connsiteY9070" fmla="*/ 4172102 h 5282095"/>
              <a:gd name="connsiteX9071" fmla="*/ 7090210 w 7714416"/>
              <a:gd name="connsiteY9071" fmla="*/ 4169769 h 5282095"/>
              <a:gd name="connsiteX9072" fmla="*/ 7083335 w 7714416"/>
              <a:gd name="connsiteY9072" fmla="*/ 4151218 h 5282095"/>
              <a:gd name="connsiteX9073" fmla="*/ 5895940 w 7714416"/>
              <a:gd name="connsiteY9073" fmla="*/ 4150884 h 5282095"/>
              <a:gd name="connsiteX9074" fmla="*/ 5897372 w 7714416"/>
              <a:gd name="connsiteY9074" fmla="*/ 4151662 h 5282095"/>
              <a:gd name="connsiteX9075" fmla="*/ 5897372 w 7714416"/>
              <a:gd name="connsiteY9075" fmla="*/ 4150996 h 5282095"/>
              <a:gd name="connsiteX9076" fmla="*/ 6437644 w 7714416"/>
              <a:gd name="connsiteY9076" fmla="*/ 4149996 h 5282095"/>
              <a:gd name="connsiteX9077" fmla="*/ 6463426 w 7714416"/>
              <a:gd name="connsiteY9077" fmla="*/ 4165325 h 5282095"/>
              <a:gd name="connsiteX9078" fmla="*/ 6463712 w 7714416"/>
              <a:gd name="connsiteY9078" fmla="*/ 4167880 h 5282095"/>
              <a:gd name="connsiteX9079" fmla="*/ 6466291 w 7714416"/>
              <a:gd name="connsiteY9079" fmla="*/ 4169547 h 5282095"/>
              <a:gd name="connsiteX9080" fmla="*/ 6467436 w 7714416"/>
              <a:gd name="connsiteY9080" fmla="*/ 4173546 h 5282095"/>
              <a:gd name="connsiteX9081" fmla="*/ 6463999 w 7714416"/>
              <a:gd name="connsiteY9081" fmla="*/ 4171547 h 5282095"/>
              <a:gd name="connsiteX9082" fmla="*/ 6463999 w 7714416"/>
              <a:gd name="connsiteY9082" fmla="*/ 4174323 h 5282095"/>
              <a:gd name="connsiteX9083" fmla="*/ 6434494 w 7714416"/>
              <a:gd name="connsiteY9083" fmla="*/ 4190320 h 5282095"/>
              <a:gd name="connsiteX9084" fmla="*/ 6429910 w 7714416"/>
              <a:gd name="connsiteY9084" fmla="*/ 4151662 h 5282095"/>
              <a:gd name="connsiteX9085" fmla="*/ 6437644 w 7714416"/>
              <a:gd name="connsiteY9085" fmla="*/ 4149996 h 5282095"/>
              <a:gd name="connsiteX9086" fmla="*/ 5937764 w 7714416"/>
              <a:gd name="connsiteY9086" fmla="*/ 4147219 h 5282095"/>
              <a:gd name="connsiteX9087" fmla="*/ 5950368 w 7714416"/>
              <a:gd name="connsiteY9087" fmla="*/ 4149329 h 5282095"/>
              <a:gd name="connsiteX9088" fmla="*/ 5937764 w 7714416"/>
              <a:gd name="connsiteY9088" fmla="*/ 4147219 h 5282095"/>
              <a:gd name="connsiteX9089" fmla="*/ 6515562 w 7714416"/>
              <a:gd name="connsiteY9089" fmla="*/ 4145997 h 5282095"/>
              <a:gd name="connsiteX9090" fmla="*/ 6525589 w 7714416"/>
              <a:gd name="connsiteY9090" fmla="*/ 4147663 h 5282095"/>
              <a:gd name="connsiteX9091" fmla="*/ 6521578 w 7714416"/>
              <a:gd name="connsiteY9091" fmla="*/ 4154439 h 5282095"/>
              <a:gd name="connsiteX9092" fmla="*/ 6525589 w 7714416"/>
              <a:gd name="connsiteY9092" fmla="*/ 4154884 h 5282095"/>
              <a:gd name="connsiteX9093" fmla="*/ 6529600 w 7714416"/>
              <a:gd name="connsiteY9093" fmla="*/ 4156772 h 5282095"/>
              <a:gd name="connsiteX9094" fmla="*/ 6529026 w 7714416"/>
              <a:gd name="connsiteY9094" fmla="*/ 4158550 h 5282095"/>
              <a:gd name="connsiteX9095" fmla="*/ 6539626 w 7714416"/>
              <a:gd name="connsiteY9095" fmla="*/ 4155439 h 5282095"/>
              <a:gd name="connsiteX9096" fmla="*/ 6547646 w 7714416"/>
              <a:gd name="connsiteY9096" fmla="*/ 4155551 h 5282095"/>
              <a:gd name="connsiteX9097" fmla="*/ 6571996 w 7714416"/>
              <a:gd name="connsiteY9097" fmla="*/ 4162993 h 5282095"/>
              <a:gd name="connsiteX9098" fmla="*/ 6539053 w 7714416"/>
              <a:gd name="connsiteY9098" fmla="*/ 4163548 h 5282095"/>
              <a:gd name="connsiteX9099" fmla="*/ 6528740 w 7714416"/>
              <a:gd name="connsiteY9099" fmla="*/ 4158994 h 5282095"/>
              <a:gd name="connsiteX9100" fmla="*/ 6527594 w 7714416"/>
              <a:gd name="connsiteY9100" fmla="*/ 4162548 h 5282095"/>
              <a:gd name="connsiteX9101" fmla="*/ 6503531 w 7714416"/>
              <a:gd name="connsiteY9101" fmla="*/ 4166548 h 5282095"/>
              <a:gd name="connsiteX9102" fmla="*/ 6505536 w 7714416"/>
              <a:gd name="connsiteY9102" fmla="*/ 4155994 h 5282095"/>
              <a:gd name="connsiteX9103" fmla="*/ 6509834 w 7714416"/>
              <a:gd name="connsiteY9103" fmla="*/ 4155440 h 5282095"/>
              <a:gd name="connsiteX9104" fmla="*/ 6512125 w 7714416"/>
              <a:gd name="connsiteY9104" fmla="*/ 4154217 h 5282095"/>
              <a:gd name="connsiteX9105" fmla="*/ 6510693 w 7714416"/>
              <a:gd name="connsiteY9105" fmla="*/ 4151218 h 5282095"/>
              <a:gd name="connsiteX9106" fmla="*/ 6504965 w 7714416"/>
              <a:gd name="connsiteY9106" fmla="*/ 4146774 h 5282095"/>
              <a:gd name="connsiteX9107" fmla="*/ 6515562 w 7714416"/>
              <a:gd name="connsiteY9107" fmla="*/ 4145997 h 5282095"/>
              <a:gd name="connsiteX9108" fmla="*/ 6561970 w 7714416"/>
              <a:gd name="connsiteY9108" fmla="*/ 4144219 h 5282095"/>
              <a:gd name="connsiteX9109" fmla="*/ 6565121 w 7714416"/>
              <a:gd name="connsiteY9109" fmla="*/ 4146997 h 5282095"/>
              <a:gd name="connsiteX9110" fmla="*/ 6564262 w 7714416"/>
              <a:gd name="connsiteY9110" fmla="*/ 4149774 h 5282095"/>
              <a:gd name="connsiteX9111" fmla="*/ 6559964 w 7714416"/>
              <a:gd name="connsiteY9111" fmla="*/ 4153884 h 5282095"/>
              <a:gd name="connsiteX9112" fmla="*/ 6551657 w 7714416"/>
              <a:gd name="connsiteY9112" fmla="*/ 4155327 h 5282095"/>
              <a:gd name="connsiteX9113" fmla="*/ 6553376 w 7714416"/>
              <a:gd name="connsiteY9113" fmla="*/ 4154884 h 5282095"/>
              <a:gd name="connsiteX9114" fmla="*/ 6552516 w 7714416"/>
              <a:gd name="connsiteY9114" fmla="*/ 4152662 h 5282095"/>
              <a:gd name="connsiteX9115" fmla="*/ 6551084 w 7714416"/>
              <a:gd name="connsiteY9115" fmla="*/ 4152996 h 5282095"/>
              <a:gd name="connsiteX9116" fmla="*/ 6551657 w 7714416"/>
              <a:gd name="connsiteY9116" fmla="*/ 4150441 h 5282095"/>
              <a:gd name="connsiteX9117" fmla="*/ 6561970 w 7714416"/>
              <a:gd name="connsiteY9117" fmla="*/ 4144219 h 5282095"/>
              <a:gd name="connsiteX9118" fmla="*/ 6376054 w 7714416"/>
              <a:gd name="connsiteY9118" fmla="*/ 4144109 h 5282095"/>
              <a:gd name="connsiteX9119" fmla="*/ 6384648 w 7714416"/>
              <a:gd name="connsiteY9119" fmla="*/ 4145997 h 5282095"/>
              <a:gd name="connsiteX9120" fmla="*/ 6376341 w 7714416"/>
              <a:gd name="connsiteY9120" fmla="*/ 4172435 h 5282095"/>
              <a:gd name="connsiteX9121" fmla="*/ 6376054 w 7714416"/>
              <a:gd name="connsiteY9121" fmla="*/ 4144109 h 5282095"/>
              <a:gd name="connsiteX9122" fmla="*/ 6596059 w 7714416"/>
              <a:gd name="connsiteY9122" fmla="*/ 4143553 h 5282095"/>
              <a:gd name="connsiteX9123" fmla="*/ 6596632 w 7714416"/>
              <a:gd name="connsiteY9123" fmla="*/ 4152662 h 5282095"/>
              <a:gd name="connsiteX9124" fmla="*/ 6595200 w 7714416"/>
              <a:gd name="connsiteY9124" fmla="*/ 4153661 h 5282095"/>
              <a:gd name="connsiteX9125" fmla="*/ 6596059 w 7714416"/>
              <a:gd name="connsiteY9125" fmla="*/ 4143553 h 5282095"/>
              <a:gd name="connsiteX9126" fmla="*/ 6504104 w 7714416"/>
              <a:gd name="connsiteY9126" fmla="*/ 4143553 h 5282095"/>
              <a:gd name="connsiteX9127" fmla="*/ 6499807 w 7714416"/>
              <a:gd name="connsiteY9127" fmla="*/ 4150773 h 5282095"/>
              <a:gd name="connsiteX9128" fmla="*/ 6494078 w 7714416"/>
              <a:gd name="connsiteY9128" fmla="*/ 4151218 h 5282095"/>
              <a:gd name="connsiteX9129" fmla="*/ 6494364 w 7714416"/>
              <a:gd name="connsiteY9129" fmla="*/ 4154440 h 5282095"/>
              <a:gd name="connsiteX9130" fmla="*/ 6484624 w 7714416"/>
              <a:gd name="connsiteY9130" fmla="*/ 4162548 h 5282095"/>
              <a:gd name="connsiteX9131" fmla="*/ 6468582 w 7714416"/>
              <a:gd name="connsiteY9131" fmla="*/ 4149440 h 5282095"/>
              <a:gd name="connsiteX9132" fmla="*/ 6488348 w 7714416"/>
              <a:gd name="connsiteY9132" fmla="*/ 4144553 h 5282095"/>
              <a:gd name="connsiteX9133" fmla="*/ 6489781 w 7714416"/>
              <a:gd name="connsiteY9133" fmla="*/ 4145775 h 5282095"/>
              <a:gd name="connsiteX9134" fmla="*/ 6491501 w 7714416"/>
              <a:gd name="connsiteY9134" fmla="*/ 4144998 h 5282095"/>
              <a:gd name="connsiteX9135" fmla="*/ 6504104 w 7714416"/>
              <a:gd name="connsiteY9135" fmla="*/ 4143553 h 5282095"/>
              <a:gd name="connsiteX9136" fmla="*/ 6408712 w 7714416"/>
              <a:gd name="connsiteY9136" fmla="*/ 4143332 h 5282095"/>
              <a:gd name="connsiteX9137" fmla="*/ 6413868 w 7714416"/>
              <a:gd name="connsiteY9137" fmla="*/ 4143442 h 5282095"/>
              <a:gd name="connsiteX9138" fmla="*/ 6413582 w 7714416"/>
              <a:gd name="connsiteY9138" fmla="*/ 4149996 h 5282095"/>
              <a:gd name="connsiteX9139" fmla="*/ 6408712 w 7714416"/>
              <a:gd name="connsiteY9139" fmla="*/ 4143332 h 5282095"/>
              <a:gd name="connsiteX9140" fmla="*/ 6219072 w 7714416"/>
              <a:gd name="connsiteY9140" fmla="*/ 4143220 h 5282095"/>
              <a:gd name="connsiteX9141" fmla="*/ 6251729 w 7714416"/>
              <a:gd name="connsiteY9141" fmla="*/ 4154884 h 5282095"/>
              <a:gd name="connsiteX9142" fmla="*/ 6219072 w 7714416"/>
              <a:gd name="connsiteY9142" fmla="*/ 4143220 h 5282095"/>
              <a:gd name="connsiteX9143" fmla="*/ 6536761 w 7714416"/>
              <a:gd name="connsiteY9143" fmla="*/ 4142554 h 5282095"/>
              <a:gd name="connsiteX9144" fmla="*/ 6543636 w 7714416"/>
              <a:gd name="connsiteY9144" fmla="*/ 4146442 h 5282095"/>
              <a:gd name="connsiteX9145" fmla="*/ 6543922 w 7714416"/>
              <a:gd name="connsiteY9145" fmla="*/ 4151329 h 5282095"/>
              <a:gd name="connsiteX9146" fmla="*/ 6536761 w 7714416"/>
              <a:gd name="connsiteY9146" fmla="*/ 4142554 h 5282095"/>
              <a:gd name="connsiteX9147" fmla="*/ 6437645 w 7714416"/>
              <a:gd name="connsiteY9147" fmla="*/ 4141443 h 5282095"/>
              <a:gd name="connsiteX9148" fmla="*/ 6423609 w 7714416"/>
              <a:gd name="connsiteY9148" fmla="*/ 4151329 h 5282095"/>
              <a:gd name="connsiteX9149" fmla="*/ 6437645 w 7714416"/>
              <a:gd name="connsiteY9149" fmla="*/ 4141443 h 5282095"/>
              <a:gd name="connsiteX9150" fmla="*/ 7076174 w 7714416"/>
              <a:gd name="connsiteY9150" fmla="*/ 4141109 h 5282095"/>
              <a:gd name="connsiteX9151" fmla="*/ 7080757 w 7714416"/>
              <a:gd name="connsiteY9151" fmla="*/ 4146330 h 5282095"/>
              <a:gd name="connsiteX9152" fmla="*/ 7079038 w 7714416"/>
              <a:gd name="connsiteY9152" fmla="*/ 4147330 h 5282095"/>
              <a:gd name="connsiteX9153" fmla="*/ 7076174 w 7714416"/>
              <a:gd name="connsiteY9153" fmla="*/ 4141109 h 5282095"/>
              <a:gd name="connsiteX9154" fmla="*/ 6037454 w 7714416"/>
              <a:gd name="connsiteY9154" fmla="*/ 4140887 h 5282095"/>
              <a:gd name="connsiteX9155" fmla="*/ 6044329 w 7714416"/>
              <a:gd name="connsiteY9155" fmla="*/ 4142443 h 5282095"/>
              <a:gd name="connsiteX9156" fmla="*/ 6029147 w 7714416"/>
              <a:gd name="connsiteY9156" fmla="*/ 4154884 h 5282095"/>
              <a:gd name="connsiteX9157" fmla="*/ 6021984 w 7714416"/>
              <a:gd name="connsiteY9157" fmla="*/ 4149774 h 5282095"/>
              <a:gd name="connsiteX9158" fmla="*/ 6037454 w 7714416"/>
              <a:gd name="connsiteY9158" fmla="*/ 4140887 h 5282095"/>
              <a:gd name="connsiteX9159" fmla="*/ 5836069 w 7714416"/>
              <a:gd name="connsiteY9159" fmla="*/ 4139443 h 5282095"/>
              <a:gd name="connsiteX9160" fmla="*/ 5845809 w 7714416"/>
              <a:gd name="connsiteY9160" fmla="*/ 4143887 h 5282095"/>
              <a:gd name="connsiteX9161" fmla="*/ 5819454 w 7714416"/>
              <a:gd name="connsiteY9161" fmla="*/ 4147997 h 5282095"/>
              <a:gd name="connsiteX9162" fmla="*/ 5819168 w 7714416"/>
              <a:gd name="connsiteY9162" fmla="*/ 4140443 h 5282095"/>
              <a:gd name="connsiteX9163" fmla="*/ 5836069 w 7714416"/>
              <a:gd name="connsiteY9163" fmla="*/ 4139443 h 5282095"/>
              <a:gd name="connsiteX9164" fmla="*/ 6755334 w 7714416"/>
              <a:gd name="connsiteY9164" fmla="*/ 4138999 h 5282095"/>
              <a:gd name="connsiteX9165" fmla="*/ 6765073 w 7714416"/>
              <a:gd name="connsiteY9165" fmla="*/ 4143553 h 5282095"/>
              <a:gd name="connsiteX9166" fmla="*/ 6770516 w 7714416"/>
              <a:gd name="connsiteY9166" fmla="*/ 4142998 h 5282095"/>
              <a:gd name="connsiteX9167" fmla="*/ 6773094 w 7714416"/>
              <a:gd name="connsiteY9167" fmla="*/ 4144664 h 5282095"/>
              <a:gd name="connsiteX9168" fmla="*/ 6774813 w 7714416"/>
              <a:gd name="connsiteY9168" fmla="*/ 4143664 h 5282095"/>
              <a:gd name="connsiteX9169" fmla="*/ 6778250 w 7714416"/>
              <a:gd name="connsiteY9169" fmla="*/ 4140776 h 5282095"/>
              <a:gd name="connsiteX9170" fmla="*/ 6792001 w 7714416"/>
              <a:gd name="connsiteY9170" fmla="*/ 4152329 h 5282095"/>
              <a:gd name="connsiteX9171" fmla="*/ 6790569 w 7714416"/>
              <a:gd name="connsiteY9171" fmla="*/ 4157217 h 5282095"/>
              <a:gd name="connsiteX9172" fmla="*/ 6780542 w 7714416"/>
              <a:gd name="connsiteY9172" fmla="*/ 4154107 h 5282095"/>
              <a:gd name="connsiteX9173" fmla="*/ 6775386 w 7714416"/>
              <a:gd name="connsiteY9173" fmla="*/ 4150218 h 5282095"/>
              <a:gd name="connsiteX9174" fmla="*/ 6774813 w 7714416"/>
              <a:gd name="connsiteY9174" fmla="*/ 4150774 h 5282095"/>
              <a:gd name="connsiteX9175" fmla="*/ 6769656 w 7714416"/>
              <a:gd name="connsiteY9175" fmla="*/ 4150996 h 5282095"/>
              <a:gd name="connsiteX9176" fmla="*/ 6761636 w 7714416"/>
              <a:gd name="connsiteY9176" fmla="*/ 4143442 h 5282095"/>
              <a:gd name="connsiteX9177" fmla="*/ 6755334 w 7714416"/>
              <a:gd name="connsiteY9177" fmla="*/ 4138999 h 5282095"/>
              <a:gd name="connsiteX9178" fmla="*/ 6533324 w 7714416"/>
              <a:gd name="connsiteY9178" fmla="*/ 4138554 h 5282095"/>
              <a:gd name="connsiteX9179" fmla="*/ 6534470 w 7714416"/>
              <a:gd name="connsiteY9179" fmla="*/ 4138999 h 5282095"/>
              <a:gd name="connsiteX9180" fmla="*/ 6536474 w 7714416"/>
              <a:gd name="connsiteY9180" fmla="*/ 4142553 h 5282095"/>
              <a:gd name="connsiteX9181" fmla="*/ 6531318 w 7714416"/>
              <a:gd name="connsiteY9181" fmla="*/ 4140110 h 5282095"/>
              <a:gd name="connsiteX9182" fmla="*/ 6532750 w 7714416"/>
              <a:gd name="connsiteY9182" fmla="*/ 4138998 h 5282095"/>
              <a:gd name="connsiteX9183" fmla="*/ 6531032 w 7714416"/>
              <a:gd name="connsiteY9183" fmla="*/ 4138888 h 5282095"/>
              <a:gd name="connsiteX9184" fmla="*/ 6533324 w 7714416"/>
              <a:gd name="connsiteY9184" fmla="*/ 4138554 h 5282095"/>
              <a:gd name="connsiteX9185" fmla="*/ 6154904 w 7714416"/>
              <a:gd name="connsiteY9185" fmla="*/ 4138221 h 5282095"/>
              <a:gd name="connsiteX9186" fmla="*/ 6147170 w 7714416"/>
              <a:gd name="connsiteY9186" fmla="*/ 4144553 h 5282095"/>
              <a:gd name="connsiteX9187" fmla="*/ 6144878 w 7714416"/>
              <a:gd name="connsiteY9187" fmla="*/ 4141443 h 5282095"/>
              <a:gd name="connsiteX9188" fmla="*/ 6154904 w 7714416"/>
              <a:gd name="connsiteY9188" fmla="*/ 4138221 h 5282095"/>
              <a:gd name="connsiteX9189" fmla="*/ 5791094 w 7714416"/>
              <a:gd name="connsiteY9189" fmla="*/ 4137222 h 5282095"/>
              <a:gd name="connsiteX9190" fmla="*/ 5803985 w 7714416"/>
              <a:gd name="connsiteY9190" fmla="*/ 4145219 h 5282095"/>
              <a:gd name="connsiteX9191" fmla="*/ 5798542 w 7714416"/>
              <a:gd name="connsiteY9191" fmla="*/ 4148441 h 5282095"/>
              <a:gd name="connsiteX9192" fmla="*/ 5799116 w 7714416"/>
              <a:gd name="connsiteY9192" fmla="*/ 4148552 h 5282095"/>
              <a:gd name="connsiteX9193" fmla="*/ 5807423 w 7714416"/>
              <a:gd name="connsiteY9193" fmla="*/ 4149218 h 5282095"/>
              <a:gd name="connsiteX9194" fmla="*/ 5810860 w 7714416"/>
              <a:gd name="connsiteY9194" fmla="*/ 4151773 h 5282095"/>
              <a:gd name="connsiteX9195" fmla="*/ 5810574 w 7714416"/>
              <a:gd name="connsiteY9195" fmla="*/ 4152995 h 5282095"/>
              <a:gd name="connsiteX9196" fmla="*/ 5807136 w 7714416"/>
              <a:gd name="connsiteY9196" fmla="*/ 4153661 h 5282095"/>
              <a:gd name="connsiteX9197" fmla="*/ 5790522 w 7714416"/>
              <a:gd name="connsiteY9197" fmla="*/ 4151329 h 5282095"/>
              <a:gd name="connsiteX9198" fmla="*/ 5788516 w 7714416"/>
              <a:gd name="connsiteY9198" fmla="*/ 4151218 h 5282095"/>
              <a:gd name="connsiteX9199" fmla="*/ 5781354 w 7714416"/>
              <a:gd name="connsiteY9199" fmla="*/ 4150884 h 5282095"/>
              <a:gd name="connsiteX9200" fmla="*/ 5791094 w 7714416"/>
              <a:gd name="connsiteY9200" fmla="*/ 4137222 h 5282095"/>
              <a:gd name="connsiteX9201" fmla="*/ 6073834 w 7714416"/>
              <a:gd name="connsiteY9201" fmla="*/ 4135889 h 5282095"/>
              <a:gd name="connsiteX9202" fmla="*/ 6084434 w 7714416"/>
              <a:gd name="connsiteY9202" fmla="*/ 4138999 h 5282095"/>
              <a:gd name="connsiteX9203" fmla="*/ 6085580 w 7714416"/>
              <a:gd name="connsiteY9203" fmla="*/ 4145663 h 5282095"/>
              <a:gd name="connsiteX9204" fmla="*/ 6070397 w 7714416"/>
              <a:gd name="connsiteY9204" fmla="*/ 4151218 h 5282095"/>
              <a:gd name="connsiteX9205" fmla="*/ 6061516 w 7714416"/>
              <a:gd name="connsiteY9205" fmla="*/ 4141554 h 5282095"/>
              <a:gd name="connsiteX9206" fmla="*/ 6073834 w 7714416"/>
              <a:gd name="connsiteY9206" fmla="*/ 4135889 h 5282095"/>
              <a:gd name="connsiteX9207" fmla="*/ 6243135 w 7714416"/>
              <a:gd name="connsiteY9207" fmla="*/ 4135111 h 5282095"/>
              <a:gd name="connsiteX9208" fmla="*/ 6247718 w 7714416"/>
              <a:gd name="connsiteY9208" fmla="*/ 4135555 h 5282095"/>
              <a:gd name="connsiteX9209" fmla="*/ 6241703 w 7714416"/>
              <a:gd name="connsiteY9209" fmla="*/ 4138221 h 5282095"/>
              <a:gd name="connsiteX9210" fmla="*/ 6237692 w 7714416"/>
              <a:gd name="connsiteY9210" fmla="*/ 4135778 h 5282095"/>
              <a:gd name="connsiteX9211" fmla="*/ 6243135 w 7714416"/>
              <a:gd name="connsiteY9211" fmla="*/ 4135111 h 5282095"/>
              <a:gd name="connsiteX9212" fmla="*/ 6330506 w 7714416"/>
              <a:gd name="connsiteY9212" fmla="*/ 4134667 h 5282095"/>
              <a:gd name="connsiteX9213" fmla="*/ 6348841 w 7714416"/>
              <a:gd name="connsiteY9213" fmla="*/ 4142664 h 5282095"/>
              <a:gd name="connsiteX9214" fmla="*/ 6330506 w 7714416"/>
              <a:gd name="connsiteY9214" fmla="*/ 4134667 h 5282095"/>
              <a:gd name="connsiteX9215" fmla="*/ 6689160 w 7714416"/>
              <a:gd name="connsiteY9215" fmla="*/ 4134667 h 5282095"/>
              <a:gd name="connsiteX9216" fmla="*/ 6694891 w 7714416"/>
              <a:gd name="connsiteY9216" fmla="*/ 4136333 h 5282095"/>
              <a:gd name="connsiteX9217" fmla="*/ 6692024 w 7714416"/>
              <a:gd name="connsiteY9217" fmla="*/ 4141887 h 5282095"/>
              <a:gd name="connsiteX9218" fmla="*/ 6684004 w 7714416"/>
              <a:gd name="connsiteY9218" fmla="*/ 4137888 h 5282095"/>
              <a:gd name="connsiteX9219" fmla="*/ 6689160 w 7714416"/>
              <a:gd name="connsiteY9219" fmla="*/ 4134667 h 5282095"/>
              <a:gd name="connsiteX9220" fmla="*/ 6649914 w 7714416"/>
              <a:gd name="connsiteY9220" fmla="*/ 4133667 h 5282095"/>
              <a:gd name="connsiteX9221" fmla="*/ 6642180 w 7714416"/>
              <a:gd name="connsiteY9221" fmla="*/ 4141998 h 5282095"/>
              <a:gd name="connsiteX9222" fmla="*/ 6639029 w 7714416"/>
              <a:gd name="connsiteY9222" fmla="*/ 4142331 h 5282095"/>
              <a:gd name="connsiteX9223" fmla="*/ 6649914 w 7714416"/>
              <a:gd name="connsiteY9223" fmla="*/ 4133667 h 5282095"/>
              <a:gd name="connsiteX9224" fmla="*/ 6250583 w 7714416"/>
              <a:gd name="connsiteY9224" fmla="*/ 4133444 h 5282095"/>
              <a:gd name="connsiteX9225" fmla="*/ 6252302 w 7714416"/>
              <a:gd name="connsiteY9225" fmla="*/ 4133889 h 5282095"/>
              <a:gd name="connsiteX9226" fmla="*/ 6248864 w 7714416"/>
              <a:gd name="connsiteY9226" fmla="*/ 4135222 h 5282095"/>
              <a:gd name="connsiteX9227" fmla="*/ 6248292 w 7714416"/>
              <a:gd name="connsiteY9227" fmla="*/ 4134333 h 5282095"/>
              <a:gd name="connsiteX9228" fmla="*/ 6250583 w 7714416"/>
              <a:gd name="connsiteY9228" fmla="*/ 4133444 h 5282095"/>
              <a:gd name="connsiteX9229" fmla="*/ 6028574 w 7714416"/>
              <a:gd name="connsiteY9229" fmla="*/ 4133001 h 5282095"/>
              <a:gd name="connsiteX9230" fmla="*/ 6026282 w 7714416"/>
              <a:gd name="connsiteY9230" fmla="*/ 4138666 h 5282095"/>
              <a:gd name="connsiteX9231" fmla="*/ 6019693 w 7714416"/>
              <a:gd name="connsiteY9231" fmla="*/ 4140887 h 5282095"/>
              <a:gd name="connsiteX9232" fmla="*/ 6028574 w 7714416"/>
              <a:gd name="connsiteY9232" fmla="*/ 4133001 h 5282095"/>
              <a:gd name="connsiteX9233" fmla="*/ 6889685 w 7714416"/>
              <a:gd name="connsiteY9233" fmla="*/ 4132334 h 5282095"/>
              <a:gd name="connsiteX9234" fmla="*/ 6892264 w 7714416"/>
              <a:gd name="connsiteY9234" fmla="*/ 4134223 h 5282095"/>
              <a:gd name="connsiteX9235" fmla="*/ 6897133 w 7714416"/>
              <a:gd name="connsiteY9235" fmla="*/ 4144998 h 5282095"/>
              <a:gd name="connsiteX9236" fmla="*/ 6898279 w 7714416"/>
              <a:gd name="connsiteY9236" fmla="*/ 4147108 h 5282095"/>
              <a:gd name="connsiteX9237" fmla="*/ 6896561 w 7714416"/>
              <a:gd name="connsiteY9237" fmla="*/ 4150218 h 5282095"/>
              <a:gd name="connsiteX9238" fmla="*/ 6889398 w 7714416"/>
              <a:gd name="connsiteY9238" fmla="*/ 4141221 h 5282095"/>
              <a:gd name="connsiteX9239" fmla="*/ 6886248 w 7714416"/>
              <a:gd name="connsiteY9239" fmla="*/ 4135999 h 5282095"/>
              <a:gd name="connsiteX9240" fmla="*/ 6888253 w 7714416"/>
              <a:gd name="connsiteY9240" fmla="*/ 4132889 h 5282095"/>
              <a:gd name="connsiteX9241" fmla="*/ 5775339 w 7714416"/>
              <a:gd name="connsiteY9241" fmla="*/ 4131557 h 5282095"/>
              <a:gd name="connsiteX9242" fmla="*/ 5778204 w 7714416"/>
              <a:gd name="connsiteY9242" fmla="*/ 4132667 h 5282095"/>
              <a:gd name="connsiteX9243" fmla="*/ 5779636 w 7714416"/>
              <a:gd name="connsiteY9243" fmla="*/ 4141220 h 5282095"/>
              <a:gd name="connsiteX9244" fmla="*/ 5775339 w 7714416"/>
              <a:gd name="connsiteY9244" fmla="*/ 4143664 h 5282095"/>
              <a:gd name="connsiteX9245" fmla="*/ 5766458 w 7714416"/>
              <a:gd name="connsiteY9245" fmla="*/ 4138665 h 5282095"/>
              <a:gd name="connsiteX9246" fmla="*/ 5767604 w 7714416"/>
              <a:gd name="connsiteY9246" fmla="*/ 4134778 h 5282095"/>
              <a:gd name="connsiteX9247" fmla="*/ 5775339 w 7714416"/>
              <a:gd name="connsiteY9247" fmla="*/ 4131557 h 5282095"/>
              <a:gd name="connsiteX9248" fmla="*/ 6260036 w 7714416"/>
              <a:gd name="connsiteY9248" fmla="*/ 4130668 h 5282095"/>
              <a:gd name="connsiteX9249" fmla="*/ 6258890 w 7714416"/>
              <a:gd name="connsiteY9249" fmla="*/ 4132222 h 5282095"/>
              <a:gd name="connsiteX9250" fmla="*/ 6256026 w 7714416"/>
              <a:gd name="connsiteY9250" fmla="*/ 4131112 h 5282095"/>
              <a:gd name="connsiteX9251" fmla="*/ 6260036 w 7714416"/>
              <a:gd name="connsiteY9251" fmla="*/ 4130668 h 5282095"/>
              <a:gd name="connsiteX9252" fmla="*/ 5920004 w 7714416"/>
              <a:gd name="connsiteY9252" fmla="*/ 4130446 h 5282095"/>
              <a:gd name="connsiteX9253" fmla="*/ 5920290 w 7714416"/>
              <a:gd name="connsiteY9253" fmla="*/ 4130556 h 5282095"/>
              <a:gd name="connsiteX9254" fmla="*/ 5921436 w 7714416"/>
              <a:gd name="connsiteY9254" fmla="*/ 4130446 h 5282095"/>
              <a:gd name="connsiteX9255" fmla="*/ 6586892 w 7714416"/>
              <a:gd name="connsiteY9255" fmla="*/ 4128446 h 5282095"/>
              <a:gd name="connsiteX9256" fmla="*/ 6594340 w 7714416"/>
              <a:gd name="connsiteY9256" fmla="*/ 4132112 h 5282095"/>
              <a:gd name="connsiteX9257" fmla="*/ 6587465 w 7714416"/>
              <a:gd name="connsiteY9257" fmla="*/ 4145553 h 5282095"/>
              <a:gd name="connsiteX9258" fmla="*/ 6577726 w 7714416"/>
              <a:gd name="connsiteY9258" fmla="*/ 4145775 h 5282095"/>
              <a:gd name="connsiteX9259" fmla="*/ 6586892 w 7714416"/>
              <a:gd name="connsiteY9259" fmla="*/ 4128446 h 5282095"/>
              <a:gd name="connsiteX9260" fmla="*/ 6031438 w 7714416"/>
              <a:gd name="connsiteY9260" fmla="*/ 4128002 h 5282095"/>
              <a:gd name="connsiteX9261" fmla="*/ 6032870 w 7714416"/>
              <a:gd name="connsiteY9261" fmla="*/ 4129335 h 5282095"/>
              <a:gd name="connsiteX9262" fmla="*/ 6032584 w 7714416"/>
              <a:gd name="connsiteY9262" fmla="*/ 4130112 h 5282095"/>
              <a:gd name="connsiteX9263" fmla="*/ 6028574 w 7714416"/>
              <a:gd name="connsiteY9263" fmla="*/ 4132778 h 5282095"/>
              <a:gd name="connsiteX9264" fmla="*/ 6029719 w 7714416"/>
              <a:gd name="connsiteY9264" fmla="*/ 4128446 h 5282095"/>
              <a:gd name="connsiteX9265" fmla="*/ 6032011 w 7714416"/>
              <a:gd name="connsiteY9265" fmla="*/ 4129113 h 5282095"/>
              <a:gd name="connsiteX9266" fmla="*/ 6031438 w 7714416"/>
              <a:gd name="connsiteY9266" fmla="*/ 4128002 h 5282095"/>
              <a:gd name="connsiteX9267" fmla="*/ 7229432 w 7714416"/>
              <a:gd name="connsiteY9267" fmla="*/ 4127002 h 5282095"/>
              <a:gd name="connsiteX9268" fmla="*/ 7236595 w 7714416"/>
              <a:gd name="connsiteY9268" fmla="*/ 4133223 h 5282095"/>
              <a:gd name="connsiteX9269" fmla="*/ 7248624 w 7714416"/>
              <a:gd name="connsiteY9269" fmla="*/ 4149219 h 5282095"/>
              <a:gd name="connsiteX9270" fmla="*/ 7246906 w 7714416"/>
              <a:gd name="connsiteY9270" fmla="*/ 4152441 h 5282095"/>
              <a:gd name="connsiteX9271" fmla="*/ 7247766 w 7714416"/>
              <a:gd name="connsiteY9271" fmla="*/ 4153439 h 5282095"/>
              <a:gd name="connsiteX9272" fmla="*/ 7245474 w 7714416"/>
              <a:gd name="connsiteY9272" fmla="*/ 4155662 h 5282095"/>
              <a:gd name="connsiteX9273" fmla="*/ 7239458 w 7714416"/>
              <a:gd name="connsiteY9273" fmla="*/ 4150441 h 5282095"/>
              <a:gd name="connsiteX9274" fmla="*/ 7235734 w 7714416"/>
              <a:gd name="connsiteY9274" fmla="*/ 4145442 h 5282095"/>
              <a:gd name="connsiteX9275" fmla="*/ 7229432 w 7714416"/>
              <a:gd name="connsiteY9275" fmla="*/ 4127002 h 5282095"/>
              <a:gd name="connsiteX9276" fmla="*/ 6054068 w 7714416"/>
              <a:gd name="connsiteY9276" fmla="*/ 4125557 h 5282095"/>
              <a:gd name="connsiteX9277" fmla="*/ 6062662 w 7714416"/>
              <a:gd name="connsiteY9277" fmla="*/ 4129668 h 5282095"/>
              <a:gd name="connsiteX9278" fmla="*/ 6046048 w 7714416"/>
              <a:gd name="connsiteY9278" fmla="*/ 4134778 h 5282095"/>
              <a:gd name="connsiteX9279" fmla="*/ 6044043 w 7714416"/>
              <a:gd name="connsiteY9279" fmla="*/ 4130112 h 5282095"/>
              <a:gd name="connsiteX9280" fmla="*/ 6054068 w 7714416"/>
              <a:gd name="connsiteY9280" fmla="*/ 4125557 h 5282095"/>
              <a:gd name="connsiteX9281" fmla="*/ 6418452 w 7714416"/>
              <a:gd name="connsiteY9281" fmla="*/ 4124114 h 5282095"/>
              <a:gd name="connsiteX9282" fmla="*/ 6421030 w 7714416"/>
              <a:gd name="connsiteY9282" fmla="*/ 4127224 h 5282095"/>
              <a:gd name="connsiteX9283" fmla="*/ 6418165 w 7714416"/>
              <a:gd name="connsiteY9283" fmla="*/ 4128335 h 5282095"/>
              <a:gd name="connsiteX9284" fmla="*/ 6417878 w 7714416"/>
              <a:gd name="connsiteY9284" fmla="*/ 4125669 h 5282095"/>
              <a:gd name="connsiteX9285" fmla="*/ 6418452 w 7714416"/>
              <a:gd name="connsiteY9285" fmla="*/ 4124114 h 5282095"/>
              <a:gd name="connsiteX9286" fmla="*/ 7085913 w 7714416"/>
              <a:gd name="connsiteY9286" fmla="*/ 4123225 h 5282095"/>
              <a:gd name="connsiteX9287" fmla="*/ 7088778 w 7714416"/>
              <a:gd name="connsiteY9287" fmla="*/ 4126002 h 5282095"/>
              <a:gd name="connsiteX9288" fmla="*/ 7087633 w 7714416"/>
              <a:gd name="connsiteY9288" fmla="*/ 4140665 h 5282095"/>
              <a:gd name="connsiteX9289" fmla="*/ 7085913 w 7714416"/>
              <a:gd name="connsiteY9289" fmla="*/ 4123225 h 5282095"/>
              <a:gd name="connsiteX9290" fmla="*/ 6433920 w 7714416"/>
              <a:gd name="connsiteY9290" fmla="*/ 4123114 h 5282095"/>
              <a:gd name="connsiteX9291" fmla="*/ 6435926 w 7714416"/>
              <a:gd name="connsiteY9291" fmla="*/ 4123558 h 5282095"/>
              <a:gd name="connsiteX9292" fmla="*/ 6436211 w 7714416"/>
              <a:gd name="connsiteY9292" fmla="*/ 4123114 h 5282095"/>
              <a:gd name="connsiteX9293" fmla="*/ 6439076 w 7714416"/>
              <a:gd name="connsiteY9293" fmla="*/ 4124891 h 5282095"/>
              <a:gd name="connsiteX9294" fmla="*/ 6439936 w 7714416"/>
              <a:gd name="connsiteY9294" fmla="*/ 4128668 h 5282095"/>
              <a:gd name="connsiteX9295" fmla="*/ 6436213 w 7714416"/>
              <a:gd name="connsiteY9295" fmla="*/ 4128890 h 5282095"/>
              <a:gd name="connsiteX9296" fmla="*/ 6433920 w 7714416"/>
              <a:gd name="connsiteY9296" fmla="*/ 4123114 h 5282095"/>
              <a:gd name="connsiteX9297" fmla="*/ 6582309 w 7714416"/>
              <a:gd name="connsiteY9297" fmla="*/ 4122226 h 5282095"/>
              <a:gd name="connsiteX9298" fmla="*/ 6587465 w 7714416"/>
              <a:gd name="connsiteY9298" fmla="*/ 4122336 h 5282095"/>
              <a:gd name="connsiteX9299" fmla="*/ 6588611 w 7714416"/>
              <a:gd name="connsiteY9299" fmla="*/ 4122892 h 5282095"/>
              <a:gd name="connsiteX9300" fmla="*/ 6588611 w 7714416"/>
              <a:gd name="connsiteY9300" fmla="*/ 4124003 h 5282095"/>
              <a:gd name="connsiteX9301" fmla="*/ 6582309 w 7714416"/>
              <a:gd name="connsiteY9301" fmla="*/ 4122226 h 5282095"/>
              <a:gd name="connsiteX9302" fmla="*/ 6436212 w 7714416"/>
              <a:gd name="connsiteY9302" fmla="*/ 4122225 h 5282095"/>
              <a:gd name="connsiteX9303" fmla="*/ 6436211 w 7714416"/>
              <a:gd name="connsiteY9303" fmla="*/ 4123114 h 5282095"/>
              <a:gd name="connsiteX9304" fmla="*/ 6435066 w 7714416"/>
              <a:gd name="connsiteY9304" fmla="*/ 4122448 h 5282095"/>
              <a:gd name="connsiteX9305" fmla="*/ 6436212 w 7714416"/>
              <a:gd name="connsiteY9305" fmla="*/ 4122225 h 5282095"/>
              <a:gd name="connsiteX9306" fmla="*/ 6852731 w 7714416"/>
              <a:gd name="connsiteY9306" fmla="*/ 4116560 h 5282095"/>
              <a:gd name="connsiteX9307" fmla="*/ 6858460 w 7714416"/>
              <a:gd name="connsiteY9307" fmla="*/ 4124447 h 5282095"/>
              <a:gd name="connsiteX9308" fmla="*/ 6863330 w 7714416"/>
              <a:gd name="connsiteY9308" fmla="*/ 4126113 h 5282095"/>
              <a:gd name="connsiteX9309" fmla="*/ 6865909 w 7714416"/>
              <a:gd name="connsiteY9309" fmla="*/ 4133556 h 5282095"/>
              <a:gd name="connsiteX9310" fmla="*/ 6857888 w 7714416"/>
              <a:gd name="connsiteY9310" fmla="*/ 4132667 h 5282095"/>
              <a:gd name="connsiteX9311" fmla="*/ 6855310 w 7714416"/>
              <a:gd name="connsiteY9311" fmla="*/ 4122781 h 5282095"/>
              <a:gd name="connsiteX9312" fmla="*/ 6852731 w 7714416"/>
              <a:gd name="connsiteY9312" fmla="*/ 4116560 h 5282095"/>
              <a:gd name="connsiteX9313" fmla="*/ 6622128 w 7714416"/>
              <a:gd name="connsiteY9313" fmla="*/ 4116449 h 5282095"/>
              <a:gd name="connsiteX9314" fmla="*/ 6631008 w 7714416"/>
              <a:gd name="connsiteY9314" fmla="*/ 4123669 h 5282095"/>
              <a:gd name="connsiteX9315" fmla="*/ 6622128 w 7714416"/>
              <a:gd name="connsiteY9315" fmla="*/ 4116449 h 5282095"/>
              <a:gd name="connsiteX9316" fmla="*/ 5899378 w 7714416"/>
              <a:gd name="connsiteY9316" fmla="*/ 4114783 h 5282095"/>
              <a:gd name="connsiteX9317" fmla="*/ 5904820 w 7714416"/>
              <a:gd name="connsiteY9317" fmla="*/ 4115783 h 5282095"/>
              <a:gd name="connsiteX9318" fmla="*/ 5906540 w 7714416"/>
              <a:gd name="connsiteY9318" fmla="*/ 4116783 h 5282095"/>
              <a:gd name="connsiteX9319" fmla="*/ 5908258 w 7714416"/>
              <a:gd name="connsiteY9319" fmla="*/ 4116782 h 5282095"/>
              <a:gd name="connsiteX9320" fmla="*/ 5908544 w 7714416"/>
              <a:gd name="connsiteY9320" fmla="*/ 4117893 h 5282095"/>
              <a:gd name="connsiteX9321" fmla="*/ 5912555 w 7714416"/>
              <a:gd name="connsiteY9321" fmla="*/ 4120115 h 5282095"/>
              <a:gd name="connsiteX9322" fmla="*/ 5923441 w 7714416"/>
              <a:gd name="connsiteY9322" fmla="*/ 4123225 h 5282095"/>
              <a:gd name="connsiteX9323" fmla="*/ 5931748 w 7714416"/>
              <a:gd name="connsiteY9323" fmla="*/ 4130001 h 5282095"/>
              <a:gd name="connsiteX9324" fmla="*/ 5928597 w 7714416"/>
              <a:gd name="connsiteY9324" fmla="*/ 4132445 h 5282095"/>
              <a:gd name="connsiteX9325" fmla="*/ 5932608 w 7714416"/>
              <a:gd name="connsiteY9325" fmla="*/ 4134667 h 5282095"/>
              <a:gd name="connsiteX9326" fmla="*/ 5934041 w 7714416"/>
              <a:gd name="connsiteY9326" fmla="*/ 4149885 h 5282095"/>
              <a:gd name="connsiteX9327" fmla="*/ 5926306 w 7714416"/>
              <a:gd name="connsiteY9327" fmla="*/ 4153662 h 5282095"/>
              <a:gd name="connsiteX9328" fmla="*/ 5913988 w 7714416"/>
              <a:gd name="connsiteY9328" fmla="*/ 4151884 h 5282095"/>
              <a:gd name="connsiteX9329" fmla="*/ 5909977 w 7714416"/>
              <a:gd name="connsiteY9329" fmla="*/ 4147663 h 5282095"/>
              <a:gd name="connsiteX9330" fmla="*/ 5907112 w 7714416"/>
              <a:gd name="connsiteY9330" fmla="*/ 4149329 h 5282095"/>
              <a:gd name="connsiteX9331" fmla="*/ 5909403 w 7714416"/>
              <a:gd name="connsiteY9331" fmla="*/ 4150552 h 5282095"/>
              <a:gd name="connsiteX9332" fmla="*/ 5907686 w 7714416"/>
              <a:gd name="connsiteY9332" fmla="*/ 4152773 h 5282095"/>
              <a:gd name="connsiteX9333" fmla="*/ 5903102 w 7714416"/>
              <a:gd name="connsiteY9333" fmla="*/ 4154106 h 5282095"/>
              <a:gd name="connsiteX9334" fmla="*/ 5906541 w 7714416"/>
              <a:gd name="connsiteY9334" fmla="*/ 4155661 h 5282095"/>
              <a:gd name="connsiteX9335" fmla="*/ 5907112 w 7714416"/>
              <a:gd name="connsiteY9335" fmla="*/ 4158106 h 5282095"/>
              <a:gd name="connsiteX9336" fmla="*/ 5909118 w 7714416"/>
              <a:gd name="connsiteY9336" fmla="*/ 4158883 h 5282095"/>
              <a:gd name="connsiteX9337" fmla="*/ 5910550 w 7714416"/>
              <a:gd name="connsiteY9337" fmla="*/ 4161215 h 5282095"/>
              <a:gd name="connsiteX9338" fmla="*/ 5911410 w 7714416"/>
              <a:gd name="connsiteY9338" fmla="*/ 4160216 h 5282095"/>
              <a:gd name="connsiteX9339" fmla="*/ 5907112 w 7714416"/>
              <a:gd name="connsiteY9339" fmla="*/ 4166658 h 5282095"/>
              <a:gd name="connsiteX9340" fmla="*/ 5903675 w 7714416"/>
              <a:gd name="connsiteY9340" fmla="*/ 4173102 h 5282095"/>
              <a:gd name="connsiteX9341" fmla="*/ 5875602 w 7714416"/>
              <a:gd name="connsiteY9341" fmla="*/ 4181766 h 5282095"/>
              <a:gd name="connsiteX9342" fmla="*/ 5879612 w 7714416"/>
              <a:gd name="connsiteY9342" fmla="*/ 4165881 h 5282095"/>
              <a:gd name="connsiteX9343" fmla="*/ 5895081 w 7714416"/>
              <a:gd name="connsiteY9343" fmla="*/ 4150885 h 5282095"/>
              <a:gd name="connsiteX9344" fmla="*/ 5890784 w 7714416"/>
              <a:gd name="connsiteY9344" fmla="*/ 4150774 h 5282095"/>
              <a:gd name="connsiteX9345" fmla="*/ 5879898 w 7714416"/>
              <a:gd name="connsiteY9345" fmla="*/ 4140998 h 5282095"/>
              <a:gd name="connsiteX9346" fmla="*/ 5879039 w 7714416"/>
              <a:gd name="connsiteY9346" fmla="*/ 4137777 h 5282095"/>
              <a:gd name="connsiteX9347" fmla="*/ 5877606 w 7714416"/>
              <a:gd name="connsiteY9347" fmla="*/ 4135111 h 5282095"/>
              <a:gd name="connsiteX9348" fmla="*/ 5875888 w 7714416"/>
              <a:gd name="connsiteY9348" fmla="*/ 4133556 h 5282095"/>
              <a:gd name="connsiteX9349" fmla="*/ 5875602 w 7714416"/>
              <a:gd name="connsiteY9349" fmla="*/ 4136556 h 5282095"/>
              <a:gd name="connsiteX9350" fmla="*/ 5865575 w 7714416"/>
              <a:gd name="connsiteY9350" fmla="*/ 4152107 h 5282095"/>
              <a:gd name="connsiteX9351" fmla="*/ 5876747 w 7714416"/>
              <a:gd name="connsiteY9351" fmla="*/ 4120337 h 5282095"/>
              <a:gd name="connsiteX9352" fmla="*/ 5875888 w 7714416"/>
              <a:gd name="connsiteY9352" fmla="*/ 4133112 h 5282095"/>
              <a:gd name="connsiteX9353" fmla="*/ 5883336 w 7714416"/>
              <a:gd name="connsiteY9353" fmla="*/ 4128890 h 5282095"/>
              <a:gd name="connsiteX9354" fmla="*/ 5894222 w 7714416"/>
              <a:gd name="connsiteY9354" fmla="*/ 4124003 h 5282095"/>
              <a:gd name="connsiteX9355" fmla="*/ 5904820 w 7714416"/>
              <a:gd name="connsiteY9355" fmla="*/ 4122337 h 5282095"/>
              <a:gd name="connsiteX9356" fmla="*/ 5907112 w 7714416"/>
              <a:gd name="connsiteY9356" fmla="*/ 4122781 h 5282095"/>
              <a:gd name="connsiteX9357" fmla="*/ 5906253 w 7714416"/>
              <a:gd name="connsiteY9357" fmla="*/ 4122336 h 5282095"/>
              <a:gd name="connsiteX9358" fmla="*/ 5899378 w 7714416"/>
              <a:gd name="connsiteY9358" fmla="*/ 4114783 h 5282095"/>
              <a:gd name="connsiteX9359" fmla="*/ 5732656 w 7714416"/>
              <a:gd name="connsiteY9359" fmla="*/ 4114339 h 5282095"/>
              <a:gd name="connsiteX9360" fmla="*/ 5738385 w 7714416"/>
              <a:gd name="connsiteY9360" fmla="*/ 4125114 h 5282095"/>
              <a:gd name="connsiteX9361" fmla="*/ 5732656 w 7714416"/>
              <a:gd name="connsiteY9361" fmla="*/ 4114339 h 5282095"/>
              <a:gd name="connsiteX9362" fmla="*/ 6764500 w 7714416"/>
              <a:gd name="connsiteY9362" fmla="*/ 4114228 h 5282095"/>
              <a:gd name="connsiteX9363" fmla="*/ 6775386 w 7714416"/>
              <a:gd name="connsiteY9363" fmla="*/ 4118226 h 5282095"/>
              <a:gd name="connsiteX9364" fmla="*/ 6779396 w 7714416"/>
              <a:gd name="connsiteY9364" fmla="*/ 4121559 h 5282095"/>
              <a:gd name="connsiteX9365" fmla="*/ 6781115 w 7714416"/>
              <a:gd name="connsiteY9365" fmla="*/ 4121225 h 5282095"/>
              <a:gd name="connsiteX9366" fmla="*/ 6790855 w 7714416"/>
              <a:gd name="connsiteY9366" fmla="*/ 4119670 h 5282095"/>
              <a:gd name="connsiteX9367" fmla="*/ 6793720 w 7714416"/>
              <a:gd name="connsiteY9367" fmla="*/ 4120782 h 5282095"/>
              <a:gd name="connsiteX9368" fmla="*/ 6793433 w 7714416"/>
              <a:gd name="connsiteY9368" fmla="*/ 4123892 h 5282095"/>
              <a:gd name="connsiteX9369" fmla="*/ 6785412 w 7714416"/>
              <a:gd name="connsiteY9369" fmla="*/ 4126558 h 5282095"/>
              <a:gd name="connsiteX9370" fmla="*/ 6792288 w 7714416"/>
              <a:gd name="connsiteY9370" fmla="*/ 4135778 h 5282095"/>
              <a:gd name="connsiteX9371" fmla="*/ 6796012 w 7714416"/>
              <a:gd name="connsiteY9371" fmla="*/ 4143442 h 5282095"/>
              <a:gd name="connsiteX9372" fmla="*/ 6758198 w 7714416"/>
              <a:gd name="connsiteY9372" fmla="*/ 4115005 h 5282095"/>
              <a:gd name="connsiteX9373" fmla="*/ 6764500 w 7714416"/>
              <a:gd name="connsiteY9373" fmla="*/ 4114228 h 5282095"/>
              <a:gd name="connsiteX9374" fmla="*/ 6082428 w 7714416"/>
              <a:gd name="connsiteY9374" fmla="*/ 4111117 h 5282095"/>
              <a:gd name="connsiteX9375" fmla="*/ 6086440 w 7714416"/>
              <a:gd name="connsiteY9375" fmla="*/ 4111673 h 5282095"/>
              <a:gd name="connsiteX9376" fmla="*/ 6071543 w 7714416"/>
              <a:gd name="connsiteY9376" fmla="*/ 4117560 h 5282095"/>
              <a:gd name="connsiteX9377" fmla="*/ 6082428 w 7714416"/>
              <a:gd name="connsiteY9377" fmla="*/ 4111117 h 5282095"/>
              <a:gd name="connsiteX9378" fmla="*/ 7151800 w 7714416"/>
              <a:gd name="connsiteY9378" fmla="*/ 4110562 h 5282095"/>
              <a:gd name="connsiteX9379" fmla="*/ 7156384 w 7714416"/>
              <a:gd name="connsiteY9379" fmla="*/ 4118893 h 5282095"/>
              <a:gd name="connsiteX9380" fmla="*/ 7139768 w 7714416"/>
              <a:gd name="connsiteY9380" fmla="*/ 4125002 h 5282095"/>
              <a:gd name="connsiteX9381" fmla="*/ 7135758 w 7714416"/>
              <a:gd name="connsiteY9381" fmla="*/ 4111894 h 5282095"/>
              <a:gd name="connsiteX9382" fmla="*/ 7151800 w 7714416"/>
              <a:gd name="connsiteY9382" fmla="*/ 4110562 h 5282095"/>
              <a:gd name="connsiteX9383" fmla="*/ 6875362 w 7714416"/>
              <a:gd name="connsiteY9383" fmla="*/ 4109673 h 5282095"/>
              <a:gd name="connsiteX9384" fmla="*/ 6895414 w 7714416"/>
              <a:gd name="connsiteY9384" fmla="*/ 4114228 h 5282095"/>
              <a:gd name="connsiteX9385" fmla="*/ 6897133 w 7714416"/>
              <a:gd name="connsiteY9385" fmla="*/ 4116338 h 5282095"/>
              <a:gd name="connsiteX9386" fmla="*/ 6895128 w 7714416"/>
              <a:gd name="connsiteY9386" fmla="*/ 4118893 h 5282095"/>
              <a:gd name="connsiteX9387" fmla="*/ 6886534 w 7714416"/>
              <a:gd name="connsiteY9387" fmla="*/ 4117893 h 5282095"/>
              <a:gd name="connsiteX9388" fmla="*/ 6879946 w 7714416"/>
              <a:gd name="connsiteY9388" fmla="*/ 4112562 h 5282095"/>
              <a:gd name="connsiteX9389" fmla="*/ 6875076 w 7714416"/>
              <a:gd name="connsiteY9389" fmla="*/ 4110784 h 5282095"/>
              <a:gd name="connsiteX9390" fmla="*/ 6875362 w 7714416"/>
              <a:gd name="connsiteY9390" fmla="*/ 4109673 h 5282095"/>
              <a:gd name="connsiteX9391" fmla="*/ 5930316 w 7714416"/>
              <a:gd name="connsiteY9391" fmla="*/ 4108895 h 5282095"/>
              <a:gd name="connsiteX9392" fmla="*/ 5931748 w 7714416"/>
              <a:gd name="connsiteY9392" fmla="*/ 4111450 h 5282095"/>
              <a:gd name="connsiteX9393" fmla="*/ 5930030 w 7714416"/>
              <a:gd name="connsiteY9393" fmla="*/ 4114894 h 5282095"/>
              <a:gd name="connsiteX9394" fmla="*/ 5922868 w 7714416"/>
              <a:gd name="connsiteY9394" fmla="*/ 4115561 h 5282095"/>
              <a:gd name="connsiteX9395" fmla="*/ 5921149 w 7714416"/>
              <a:gd name="connsiteY9395" fmla="*/ 4113006 h 5282095"/>
              <a:gd name="connsiteX9396" fmla="*/ 5921436 w 7714416"/>
              <a:gd name="connsiteY9396" fmla="*/ 4109340 h 5282095"/>
              <a:gd name="connsiteX9397" fmla="*/ 5930316 w 7714416"/>
              <a:gd name="connsiteY9397" fmla="*/ 4108895 h 5282095"/>
              <a:gd name="connsiteX9398" fmla="*/ 7419072 w 7714416"/>
              <a:gd name="connsiteY9398" fmla="*/ 4108784 h 5282095"/>
              <a:gd name="connsiteX9399" fmla="*/ 7431962 w 7714416"/>
              <a:gd name="connsiteY9399" fmla="*/ 4109007 h 5282095"/>
              <a:gd name="connsiteX9400" fmla="*/ 7439696 w 7714416"/>
              <a:gd name="connsiteY9400" fmla="*/ 4111895 h 5282095"/>
              <a:gd name="connsiteX9401" fmla="*/ 7419072 w 7714416"/>
              <a:gd name="connsiteY9401" fmla="*/ 4108784 h 5282095"/>
              <a:gd name="connsiteX9402" fmla="*/ 6407566 w 7714416"/>
              <a:gd name="connsiteY9402" fmla="*/ 4108340 h 5282095"/>
              <a:gd name="connsiteX9403" fmla="*/ 6407566 w 7714416"/>
              <a:gd name="connsiteY9403" fmla="*/ 4109562 h 5282095"/>
              <a:gd name="connsiteX9404" fmla="*/ 6409571 w 7714416"/>
              <a:gd name="connsiteY9404" fmla="*/ 4114449 h 5282095"/>
              <a:gd name="connsiteX9405" fmla="*/ 6400977 w 7714416"/>
              <a:gd name="connsiteY9405" fmla="*/ 4114228 h 5282095"/>
              <a:gd name="connsiteX9406" fmla="*/ 6402410 w 7714416"/>
              <a:gd name="connsiteY9406" fmla="*/ 4109450 h 5282095"/>
              <a:gd name="connsiteX9407" fmla="*/ 6407566 w 7714416"/>
              <a:gd name="connsiteY9407" fmla="*/ 4108340 h 5282095"/>
              <a:gd name="connsiteX9408" fmla="*/ 5972140 w 7714416"/>
              <a:gd name="connsiteY9408" fmla="*/ 4106785 h 5282095"/>
              <a:gd name="connsiteX9409" fmla="*/ 5974718 w 7714416"/>
              <a:gd name="connsiteY9409" fmla="*/ 4110117 h 5282095"/>
              <a:gd name="connsiteX9410" fmla="*/ 5972999 w 7714416"/>
              <a:gd name="connsiteY9410" fmla="*/ 4112783 h 5282095"/>
              <a:gd name="connsiteX9411" fmla="*/ 5967843 w 7714416"/>
              <a:gd name="connsiteY9411" fmla="*/ 4109228 h 5282095"/>
              <a:gd name="connsiteX9412" fmla="*/ 5972140 w 7714416"/>
              <a:gd name="connsiteY9412" fmla="*/ 4106785 h 5282095"/>
              <a:gd name="connsiteX9413" fmla="*/ 6474598 w 7714416"/>
              <a:gd name="connsiteY9413" fmla="*/ 4106341 h 5282095"/>
              <a:gd name="connsiteX9414" fmla="*/ 6472880 w 7714416"/>
              <a:gd name="connsiteY9414" fmla="*/ 4113339 h 5282095"/>
              <a:gd name="connsiteX9415" fmla="*/ 6468009 w 7714416"/>
              <a:gd name="connsiteY9415" fmla="*/ 4107341 h 5282095"/>
              <a:gd name="connsiteX9416" fmla="*/ 6474598 w 7714416"/>
              <a:gd name="connsiteY9416" fmla="*/ 4106341 h 5282095"/>
              <a:gd name="connsiteX9417" fmla="*/ 7111695 w 7714416"/>
              <a:gd name="connsiteY9417" fmla="*/ 4106118 h 5282095"/>
              <a:gd name="connsiteX9418" fmla="*/ 7118284 w 7714416"/>
              <a:gd name="connsiteY9418" fmla="*/ 4107007 h 5282095"/>
              <a:gd name="connsiteX9419" fmla="*/ 7125446 w 7714416"/>
              <a:gd name="connsiteY9419" fmla="*/ 4116560 h 5282095"/>
              <a:gd name="connsiteX9420" fmla="*/ 7124013 w 7714416"/>
              <a:gd name="connsiteY9420" fmla="*/ 4119226 h 5282095"/>
              <a:gd name="connsiteX9421" fmla="*/ 7115706 w 7714416"/>
              <a:gd name="connsiteY9421" fmla="*/ 4117115 h 5282095"/>
              <a:gd name="connsiteX9422" fmla="*/ 7111695 w 7714416"/>
              <a:gd name="connsiteY9422" fmla="*/ 4106118 h 5282095"/>
              <a:gd name="connsiteX9423" fmla="*/ 6175816 w 7714416"/>
              <a:gd name="connsiteY9423" fmla="*/ 4105008 h 5282095"/>
              <a:gd name="connsiteX9424" fmla="*/ 6204749 w 7714416"/>
              <a:gd name="connsiteY9424" fmla="*/ 4120670 h 5282095"/>
              <a:gd name="connsiteX9425" fmla="*/ 6207614 w 7714416"/>
              <a:gd name="connsiteY9425" fmla="*/ 4125225 h 5282095"/>
              <a:gd name="connsiteX9426" fmla="*/ 6209046 w 7714416"/>
              <a:gd name="connsiteY9426" fmla="*/ 4123670 h 5282095"/>
              <a:gd name="connsiteX9427" fmla="*/ 6218212 w 7714416"/>
              <a:gd name="connsiteY9427" fmla="*/ 4122226 h 5282095"/>
              <a:gd name="connsiteX9428" fmla="*/ 6213056 w 7714416"/>
              <a:gd name="connsiteY9428" fmla="*/ 4132556 h 5282095"/>
              <a:gd name="connsiteX9429" fmla="*/ 6209905 w 7714416"/>
              <a:gd name="connsiteY9429" fmla="*/ 4131557 h 5282095"/>
              <a:gd name="connsiteX9430" fmla="*/ 6205894 w 7714416"/>
              <a:gd name="connsiteY9430" fmla="*/ 4135666 h 5282095"/>
              <a:gd name="connsiteX9431" fmla="*/ 6197588 w 7714416"/>
              <a:gd name="connsiteY9431" fmla="*/ 4137888 h 5282095"/>
              <a:gd name="connsiteX9432" fmla="*/ 6196442 w 7714416"/>
              <a:gd name="connsiteY9432" fmla="*/ 4134555 h 5282095"/>
              <a:gd name="connsiteX9433" fmla="*/ 6188707 w 7714416"/>
              <a:gd name="connsiteY9433" fmla="*/ 4140554 h 5282095"/>
              <a:gd name="connsiteX9434" fmla="*/ 6185842 w 7714416"/>
              <a:gd name="connsiteY9434" fmla="*/ 4132778 h 5282095"/>
              <a:gd name="connsiteX9435" fmla="*/ 6192144 w 7714416"/>
              <a:gd name="connsiteY9435" fmla="*/ 4126780 h 5282095"/>
              <a:gd name="connsiteX9436" fmla="*/ 6184410 w 7714416"/>
              <a:gd name="connsiteY9436" fmla="*/ 4120670 h 5282095"/>
              <a:gd name="connsiteX9437" fmla="*/ 6175816 w 7714416"/>
              <a:gd name="connsiteY9437" fmla="*/ 4105008 h 5282095"/>
              <a:gd name="connsiteX9438" fmla="*/ 6823512 w 7714416"/>
              <a:gd name="connsiteY9438" fmla="*/ 4105008 h 5282095"/>
              <a:gd name="connsiteX9439" fmla="*/ 6839840 w 7714416"/>
              <a:gd name="connsiteY9439" fmla="*/ 4114783 h 5282095"/>
              <a:gd name="connsiteX9440" fmla="*/ 6838694 w 7714416"/>
              <a:gd name="connsiteY9440" fmla="*/ 4120003 h 5282095"/>
              <a:gd name="connsiteX9441" fmla="*/ 6829528 w 7714416"/>
              <a:gd name="connsiteY9441" fmla="*/ 4126113 h 5282095"/>
              <a:gd name="connsiteX9442" fmla="*/ 6816636 w 7714416"/>
              <a:gd name="connsiteY9442" fmla="*/ 4120670 h 5282095"/>
              <a:gd name="connsiteX9443" fmla="*/ 6816636 w 7714416"/>
              <a:gd name="connsiteY9443" fmla="*/ 4120559 h 5282095"/>
              <a:gd name="connsiteX9444" fmla="*/ 6816350 w 7714416"/>
              <a:gd name="connsiteY9444" fmla="*/ 4122003 h 5282095"/>
              <a:gd name="connsiteX9445" fmla="*/ 6815778 w 7714416"/>
              <a:gd name="connsiteY9445" fmla="*/ 4120782 h 5282095"/>
              <a:gd name="connsiteX9446" fmla="*/ 6816350 w 7714416"/>
              <a:gd name="connsiteY9446" fmla="*/ 4120226 h 5282095"/>
              <a:gd name="connsiteX9447" fmla="*/ 6812340 w 7714416"/>
              <a:gd name="connsiteY9447" fmla="*/ 4115227 h 5282095"/>
              <a:gd name="connsiteX9448" fmla="*/ 6812340 w 7714416"/>
              <a:gd name="connsiteY9448" fmla="*/ 4110339 h 5282095"/>
              <a:gd name="connsiteX9449" fmla="*/ 6823512 w 7714416"/>
              <a:gd name="connsiteY9449" fmla="*/ 4105008 h 5282095"/>
              <a:gd name="connsiteX9450" fmla="*/ 6767938 w 7714416"/>
              <a:gd name="connsiteY9450" fmla="*/ 4104452 h 5282095"/>
              <a:gd name="connsiteX9451" fmla="*/ 6783121 w 7714416"/>
              <a:gd name="connsiteY9451" fmla="*/ 4109006 h 5282095"/>
              <a:gd name="connsiteX9452" fmla="*/ 6784267 w 7714416"/>
              <a:gd name="connsiteY9452" fmla="*/ 4112117 h 5282095"/>
              <a:gd name="connsiteX9453" fmla="*/ 6767938 w 7714416"/>
              <a:gd name="connsiteY9453" fmla="*/ 4104452 h 5282095"/>
              <a:gd name="connsiteX9454" fmla="*/ 5777058 w 7714416"/>
              <a:gd name="connsiteY9454" fmla="*/ 4103341 h 5282095"/>
              <a:gd name="connsiteX9455" fmla="*/ 5765312 w 7714416"/>
              <a:gd name="connsiteY9455" fmla="*/ 4113228 h 5282095"/>
              <a:gd name="connsiteX9456" fmla="*/ 5777058 w 7714416"/>
              <a:gd name="connsiteY9456" fmla="*/ 4103341 h 5282095"/>
              <a:gd name="connsiteX9457" fmla="*/ 6565694 w 7714416"/>
              <a:gd name="connsiteY9457" fmla="*/ 4102453 h 5282095"/>
              <a:gd name="connsiteX9458" fmla="*/ 6574002 w 7714416"/>
              <a:gd name="connsiteY9458" fmla="*/ 4109340 h 5282095"/>
              <a:gd name="connsiteX9459" fmla="*/ 6574288 w 7714416"/>
              <a:gd name="connsiteY9459" fmla="*/ 4112228 h 5282095"/>
              <a:gd name="connsiteX9460" fmla="*/ 6577152 w 7714416"/>
              <a:gd name="connsiteY9460" fmla="*/ 4112783 h 5282095"/>
              <a:gd name="connsiteX9461" fmla="*/ 6578585 w 7714416"/>
              <a:gd name="connsiteY9461" fmla="*/ 4124447 h 5282095"/>
              <a:gd name="connsiteX9462" fmla="*/ 6573715 w 7714416"/>
              <a:gd name="connsiteY9462" fmla="*/ 4126558 h 5282095"/>
              <a:gd name="connsiteX9463" fmla="*/ 6572856 w 7714416"/>
              <a:gd name="connsiteY9463" fmla="*/ 4127668 h 5282095"/>
              <a:gd name="connsiteX9464" fmla="*/ 6568558 w 7714416"/>
              <a:gd name="connsiteY9464" fmla="*/ 4128335 h 5282095"/>
              <a:gd name="connsiteX9465" fmla="*/ 6565408 w 7714416"/>
              <a:gd name="connsiteY9465" fmla="*/ 4126558 h 5282095"/>
              <a:gd name="connsiteX9466" fmla="*/ 6565122 w 7714416"/>
              <a:gd name="connsiteY9466" fmla="*/ 4126446 h 5282095"/>
              <a:gd name="connsiteX9467" fmla="*/ 6561684 w 7714416"/>
              <a:gd name="connsiteY9467" fmla="*/ 4126113 h 5282095"/>
              <a:gd name="connsiteX9468" fmla="*/ 6560538 w 7714416"/>
              <a:gd name="connsiteY9468" fmla="*/ 4124114 h 5282095"/>
              <a:gd name="connsiteX9469" fmla="*/ 6555668 w 7714416"/>
              <a:gd name="connsiteY9469" fmla="*/ 4124781 h 5282095"/>
              <a:gd name="connsiteX9470" fmla="*/ 6549366 w 7714416"/>
              <a:gd name="connsiteY9470" fmla="*/ 4127668 h 5282095"/>
              <a:gd name="connsiteX9471" fmla="*/ 6548220 w 7714416"/>
              <a:gd name="connsiteY9471" fmla="*/ 4128224 h 5282095"/>
              <a:gd name="connsiteX9472" fmla="*/ 6546214 w 7714416"/>
              <a:gd name="connsiteY9472" fmla="*/ 4132778 h 5282095"/>
              <a:gd name="connsiteX9473" fmla="*/ 6539053 w 7714416"/>
              <a:gd name="connsiteY9473" fmla="*/ 4132000 h 5282095"/>
              <a:gd name="connsiteX9474" fmla="*/ 6538767 w 7714416"/>
              <a:gd name="connsiteY9474" fmla="*/ 4130445 h 5282095"/>
              <a:gd name="connsiteX9475" fmla="*/ 6531318 w 7714416"/>
              <a:gd name="connsiteY9475" fmla="*/ 4130223 h 5282095"/>
              <a:gd name="connsiteX9476" fmla="*/ 6528740 w 7714416"/>
              <a:gd name="connsiteY9476" fmla="*/ 4118782 h 5282095"/>
              <a:gd name="connsiteX9477" fmla="*/ 6556240 w 7714416"/>
              <a:gd name="connsiteY9477" fmla="*/ 4105896 h 5282095"/>
              <a:gd name="connsiteX9478" fmla="*/ 6556814 w 7714416"/>
              <a:gd name="connsiteY9478" fmla="*/ 4107007 h 5282095"/>
              <a:gd name="connsiteX9479" fmla="*/ 6565694 w 7714416"/>
              <a:gd name="connsiteY9479" fmla="*/ 4102453 h 5282095"/>
              <a:gd name="connsiteX9480" fmla="*/ 6064668 w 7714416"/>
              <a:gd name="connsiteY9480" fmla="*/ 4102230 h 5282095"/>
              <a:gd name="connsiteX9481" fmla="*/ 6071256 w 7714416"/>
              <a:gd name="connsiteY9481" fmla="*/ 4102564 h 5282095"/>
              <a:gd name="connsiteX9482" fmla="*/ 6053782 w 7714416"/>
              <a:gd name="connsiteY9482" fmla="*/ 4116672 h 5282095"/>
              <a:gd name="connsiteX9483" fmla="*/ 6046621 w 7714416"/>
              <a:gd name="connsiteY9483" fmla="*/ 4107563 h 5282095"/>
              <a:gd name="connsiteX9484" fmla="*/ 6064668 w 7714416"/>
              <a:gd name="connsiteY9484" fmla="*/ 4102230 h 5282095"/>
              <a:gd name="connsiteX9485" fmla="*/ 6501526 w 7714416"/>
              <a:gd name="connsiteY9485" fmla="*/ 4100786 h 5282095"/>
              <a:gd name="connsiteX9486" fmla="*/ 6509547 w 7714416"/>
              <a:gd name="connsiteY9486" fmla="*/ 4128224 h 5282095"/>
              <a:gd name="connsiteX9487" fmla="*/ 6501812 w 7714416"/>
              <a:gd name="connsiteY9487" fmla="*/ 4132778 h 5282095"/>
              <a:gd name="connsiteX9488" fmla="*/ 6501526 w 7714416"/>
              <a:gd name="connsiteY9488" fmla="*/ 4100786 h 5282095"/>
              <a:gd name="connsiteX9489" fmla="*/ 6356002 w 7714416"/>
              <a:gd name="connsiteY9489" fmla="*/ 4097677 h 5282095"/>
              <a:gd name="connsiteX9490" fmla="*/ 6409571 w 7714416"/>
              <a:gd name="connsiteY9490" fmla="*/ 4126447 h 5282095"/>
              <a:gd name="connsiteX9491" fmla="*/ 6393242 w 7714416"/>
              <a:gd name="connsiteY9491" fmla="*/ 4126113 h 5282095"/>
              <a:gd name="connsiteX9492" fmla="*/ 6386368 w 7714416"/>
              <a:gd name="connsiteY9492" fmla="*/ 4123780 h 5282095"/>
              <a:gd name="connsiteX9493" fmla="*/ 6386368 w 7714416"/>
              <a:gd name="connsiteY9493" fmla="*/ 4124335 h 5282095"/>
              <a:gd name="connsiteX9494" fmla="*/ 6380924 w 7714416"/>
              <a:gd name="connsiteY9494" fmla="*/ 4126113 h 5282095"/>
              <a:gd name="connsiteX9495" fmla="*/ 6374050 w 7714416"/>
              <a:gd name="connsiteY9495" fmla="*/ 4123225 h 5282095"/>
              <a:gd name="connsiteX9496" fmla="*/ 6370326 w 7714416"/>
              <a:gd name="connsiteY9496" fmla="*/ 4118782 h 5282095"/>
              <a:gd name="connsiteX9497" fmla="*/ 6368320 w 7714416"/>
              <a:gd name="connsiteY9497" fmla="*/ 4115783 h 5282095"/>
              <a:gd name="connsiteX9498" fmla="*/ 6358580 w 7714416"/>
              <a:gd name="connsiteY9498" fmla="*/ 4109118 h 5282095"/>
              <a:gd name="connsiteX9499" fmla="*/ 6356002 w 7714416"/>
              <a:gd name="connsiteY9499" fmla="*/ 4097677 h 5282095"/>
              <a:gd name="connsiteX9500" fmla="*/ 6965026 w 7714416"/>
              <a:gd name="connsiteY9500" fmla="*/ 4096010 h 5282095"/>
              <a:gd name="connsiteX9501" fmla="*/ 6968463 w 7714416"/>
              <a:gd name="connsiteY9501" fmla="*/ 4097676 h 5282095"/>
              <a:gd name="connsiteX9502" fmla="*/ 6970754 w 7714416"/>
              <a:gd name="connsiteY9502" fmla="*/ 4101342 h 5282095"/>
              <a:gd name="connsiteX9503" fmla="*/ 6969322 w 7714416"/>
              <a:gd name="connsiteY9503" fmla="*/ 4104786 h 5282095"/>
              <a:gd name="connsiteX9504" fmla="*/ 6959296 w 7714416"/>
              <a:gd name="connsiteY9504" fmla="*/ 4103674 h 5282095"/>
              <a:gd name="connsiteX9505" fmla="*/ 6965026 w 7714416"/>
              <a:gd name="connsiteY9505" fmla="*/ 4096010 h 5282095"/>
              <a:gd name="connsiteX9506" fmla="*/ 7092502 w 7714416"/>
              <a:gd name="connsiteY9506" fmla="*/ 4095565 h 5282095"/>
              <a:gd name="connsiteX9507" fmla="*/ 7095653 w 7714416"/>
              <a:gd name="connsiteY9507" fmla="*/ 4097121 h 5282095"/>
              <a:gd name="connsiteX9508" fmla="*/ 7103674 w 7714416"/>
              <a:gd name="connsiteY9508" fmla="*/ 4102897 h 5282095"/>
              <a:gd name="connsiteX9509" fmla="*/ 7098518 w 7714416"/>
              <a:gd name="connsiteY9509" fmla="*/ 4103564 h 5282095"/>
              <a:gd name="connsiteX9510" fmla="*/ 7095367 w 7714416"/>
              <a:gd name="connsiteY9510" fmla="*/ 4100786 h 5282095"/>
              <a:gd name="connsiteX9511" fmla="*/ 7091929 w 7714416"/>
              <a:gd name="connsiteY9511" fmla="*/ 4099232 h 5282095"/>
              <a:gd name="connsiteX9512" fmla="*/ 7092502 w 7714416"/>
              <a:gd name="connsiteY9512" fmla="*/ 4095565 h 5282095"/>
              <a:gd name="connsiteX9513" fmla="*/ 5991906 w 7714416"/>
              <a:gd name="connsiteY9513" fmla="*/ 4094011 h 5282095"/>
              <a:gd name="connsiteX9514" fmla="*/ 6006516 w 7714416"/>
              <a:gd name="connsiteY9514" fmla="*/ 4104119 h 5282095"/>
              <a:gd name="connsiteX9515" fmla="*/ 6005370 w 7714416"/>
              <a:gd name="connsiteY9515" fmla="*/ 4105563 h 5282095"/>
              <a:gd name="connsiteX9516" fmla="*/ 6007088 w 7714416"/>
              <a:gd name="connsiteY9516" fmla="*/ 4106229 h 5282095"/>
              <a:gd name="connsiteX9517" fmla="*/ 6014250 w 7714416"/>
              <a:gd name="connsiteY9517" fmla="*/ 4113450 h 5282095"/>
              <a:gd name="connsiteX9518" fmla="*/ 6007948 w 7714416"/>
              <a:gd name="connsiteY9518" fmla="*/ 4114672 h 5282095"/>
              <a:gd name="connsiteX9519" fmla="*/ 6009094 w 7714416"/>
              <a:gd name="connsiteY9519" fmla="*/ 4116782 h 5282095"/>
              <a:gd name="connsiteX9520" fmla="*/ 6009954 w 7714416"/>
              <a:gd name="connsiteY9520" fmla="*/ 4115227 h 5282095"/>
              <a:gd name="connsiteX9521" fmla="*/ 6015396 w 7714416"/>
              <a:gd name="connsiteY9521" fmla="*/ 4121337 h 5282095"/>
              <a:gd name="connsiteX9522" fmla="*/ 6017114 w 7714416"/>
              <a:gd name="connsiteY9522" fmla="*/ 4128113 h 5282095"/>
              <a:gd name="connsiteX9523" fmla="*/ 6012245 w 7714416"/>
              <a:gd name="connsiteY9523" fmla="*/ 4128335 h 5282095"/>
              <a:gd name="connsiteX9524" fmla="*/ 6012245 w 7714416"/>
              <a:gd name="connsiteY9524" fmla="*/ 4128446 h 5282095"/>
              <a:gd name="connsiteX9525" fmla="*/ 6010526 w 7714416"/>
              <a:gd name="connsiteY9525" fmla="*/ 4133667 h 5282095"/>
              <a:gd name="connsiteX9526" fmla="*/ 6007088 w 7714416"/>
              <a:gd name="connsiteY9526" fmla="*/ 4130002 h 5282095"/>
              <a:gd name="connsiteX9527" fmla="*/ 6007375 w 7714416"/>
              <a:gd name="connsiteY9527" fmla="*/ 4131112 h 5282095"/>
              <a:gd name="connsiteX9528" fmla="*/ 6006516 w 7714416"/>
              <a:gd name="connsiteY9528" fmla="*/ 4134333 h 5282095"/>
              <a:gd name="connsiteX9529" fmla="*/ 6003651 w 7714416"/>
              <a:gd name="connsiteY9529" fmla="*/ 4134667 h 5282095"/>
              <a:gd name="connsiteX9530" fmla="*/ 6012245 w 7714416"/>
              <a:gd name="connsiteY9530" fmla="*/ 4139888 h 5282095"/>
              <a:gd name="connsiteX9531" fmla="*/ 6015396 w 7714416"/>
              <a:gd name="connsiteY9531" fmla="*/ 4144998 h 5282095"/>
              <a:gd name="connsiteX9532" fmla="*/ 6016542 w 7714416"/>
              <a:gd name="connsiteY9532" fmla="*/ 4153662 h 5282095"/>
              <a:gd name="connsiteX9533" fmla="*/ 6016256 w 7714416"/>
              <a:gd name="connsiteY9533" fmla="*/ 4154328 h 5282095"/>
              <a:gd name="connsiteX9534" fmla="*/ 6021125 w 7714416"/>
              <a:gd name="connsiteY9534" fmla="*/ 4155994 h 5282095"/>
              <a:gd name="connsiteX9535" fmla="*/ 6015682 w 7714416"/>
              <a:gd name="connsiteY9535" fmla="*/ 4158550 h 5282095"/>
              <a:gd name="connsiteX9536" fmla="*/ 6015682 w 7714416"/>
              <a:gd name="connsiteY9536" fmla="*/ 4158661 h 5282095"/>
              <a:gd name="connsiteX9537" fmla="*/ 6015110 w 7714416"/>
              <a:gd name="connsiteY9537" fmla="*/ 4162882 h 5282095"/>
              <a:gd name="connsiteX9538" fmla="*/ 6007375 w 7714416"/>
              <a:gd name="connsiteY9538" fmla="*/ 4160549 h 5282095"/>
              <a:gd name="connsiteX9539" fmla="*/ 6006802 w 7714416"/>
              <a:gd name="connsiteY9539" fmla="*/ 4159883 h 5282095"/>
              <a:gd name="connsiteX9540" fmla="*/ 5998494 w 7714416"/>
              <a:gd name="connsiteY9540" fmla="*/ 4158994 h 5282095"/>
              <a:gd name="connsiteX9541" fmla="*/ 5990760 w 7714416"/>
              <a:gd name="connsiteY9541" fmla="*/ 4154773 h 5282095"/>
              <a:gd name="connsiteX9542" fmla="*/ 5999068 w 7714416"/>
              <a:gd name="connsiteY9542" fmla="*/ 4151218 h 5282095"/>
              <a:gd name="connsiteX9543" fmla="*/ 6002218 w 7714416"/>
              <a:gd name="connsiteY9543" fmla="*/ 4151218 h 5282095"/>
              <a:gd name="connsiteX9544" fmla="*/ 6001072 w 7714416"/>
              <a:gd name="connsiteY9544" fmla="*/ 4142998 h 5282095"/>
              <a:gd name="connsiteX9545" fmla="*/ 6003364 w 7714416"/>
              <a:gd name="connsiteY9545" fmla="*/ 4134777 h 5282095"/>
              <a:gd name="connsiteX9546" fmla="*/ 5997922 w 7714416"/>
              <a:gd name="connsiteY9546" fmla="*/ 4135444 h 5282095"/>
              <a:gd name="connsiteX9547" fmla="*/ 5982452 w 7714416"/>
              <a:gd name="connsiteY9547" fmla="*/ 4122336 h 5282095"/>
              <a:gd name="connsiteX9548" fmla="*/ 5997922 w 7714416"/>
              <a:gd name="connsiteY9548" fmla="*/ 4119337 h 5282095"/>
              <a:gd name="connsiteX9549" fmla="*/ 5999354 w 7714416"/>
              <a:gd name="connsiteY9549" fmla="*/ 4120782 h 5282095"/>
              <a:gd name="connsiteX9550" fmla="*/ 5999068 w 7714416"/>
              <a:gd name="connsiteY9550" fmla="*/ 4114561 h 5282095"/>
              <a:gd name="connsiteX9551" fmla="*/ 5999354 w 7714416"/>
              <a:gd name="connsiteY9551" fmla="*/ 4110339 h 5282095"/>
              <a:gd name="connsiteX9552" fmla="*/ 5995344 w 7714416"/>
              <a:gd name="connsiteY9552" fmla="*/ 4111784 h 5282095"/>
              <a:gd name="connsiteX9553" fmla="*/ 5980448 w 7714416"/>
              <a:gd name="connsiteY9553" fmla="*/ 4109118 h 5282095"/>
              <a:gd name="connsiteX9554" fmla="*/ 5991906 w 7714416"/>
              <a:gd name="connsiteY9554" fmla="*/ 4094011 h 5282095"/>
              <a:gd name="connsiteX9555" fmla="*/ 5856408 w 7714416"/>
              <a:gd name="connsiteY9555" fmla="*/ 4094010 h 5282095"/>
              <a:gd name="connsiteX9556" fmla="*/ 5866148 w 7714416"/>
              <a:gd name="connsiteY9556" fmla="*/ 4114228 h 5282095"/>
              <a:gd name="connsiteX9557" fmla="*/ 5856982 w 7714416"/>
              <a:gd name="connsiteY9557" fmla="*/ 4118115 h 5282095"/>
              <a:gd name="connsiteX9558" fmla="*/ 5856408 w 7714416"/>
              <a:gd name="connsiteY9558" fmla="*/ 4094010 h 5282095"/>
              <a:gd name="connsiteX9559" fmla="*/ 5800548 w 7714416"/>
              <a:gd name="connsiteY9559" fmla="*/ 4093233 h 5282095"/>
              <a:gd name="connsiteX9560" fmla="*/ 5795678 w 7714416"/>
              <a:gd name="connsiteY9560" fmla="*/ 4102675 h 5282095"/>
              <a:gd name="connsiteX9561" fmla="*/ 5800548 w 7714416"/>
              <a:gd name="connsiteY9561" fmla="*/ 4093233 h 5282095"/>
              <a:gd name="connsiteX9562" fmla="*/ 7047240 w 7714416"/>
              <a:gd name="connsiteY9562" fmla="*/ 4092789 h 5282095"/>
              <a:gd name="connsiteX9563" fmla="*/ 7050964 w 7714416"/>
              <a:gd name="connsiteY9563" fmla="*/ 4095233 h 5282095"/>
              <a:gd name="connsiteX9564" fmla="*/ 7050964 w 7714416"/>
              <a:gd name="connsiteY9564" fmla="*/ 4102341 h 5282095"/>
              <a:gd name="connsiteX9565" fmla="*/ 7055548 w 7714416"/>
              <a:gd name="connsiteY9565" fmla="*/ 4102342 h 5282095"/>
              <a:gd name="connsiteX9566" fmla="*/ 7062136 w 7714416"/>
              <a:gd name="connsiteY9566" fmla="*/ 4105007 h 5282095"/>
              <a:gd name="connsiteX9567" fmla="*/ 7063282 w 7714416"/>
              <a:gd name="connsiteY9567" fmla="*/ 4106340 h 5282095"/>
              <a:gd name="connsiteX9568" fmla="*/ 7064715 w 7714416"/>
              <a:gd name="connsiteY9568" fmla="*/ 4105563 h 5282095"/>
              <a:gd name="connsiteX9569" fmla="*/ 7071017 w 7714416"/>
              <a:gd name="connsiteY9569" fmla="*/ 4108896 h 5282095"/>
              <a:gd name="connsiteX9570" fmla="*/ 7066720 w 7714416"/>
              <a:gd name="connsiteY9570" fmla="*/ 4111895 h 5282095"/>
              <a:gd name="connsiteX9571" fmla="*/ 7067866 w 7714416"/>
              <a:gd name="connsiteY9571" fmla="*/ 4113005 h 5282095"/>
              <a:gd name="connsiteX9572" fmla="*/ 7069298 w 7714416"/>
              <a:gd name="connsiteY9572" fmla="*/ 4113006 h 5282095"/>
              <a:gd name="connsiteX9573" fmla="*/ 7075028 w 7714416"/>
              <a:gd name="connsiteY9573" fmla="*/ 4116227 h 5282095"/>
              <a:gd name="connsiteX9574" fmla="*/ 7072450 w 7714416"/>
              <a:gd name="connsiteY9574" fmla="*/ 4118338 h 5282095"/>
              <a:gd name="connsiteX9575" fmla="*/ 7067866 w 7714416"/>
              <a:gd name="connsiteY9575" fmla="*/ 4116783 h 5282095"/>
              <a:gd name="connsiteX9576" fmla="*/ 7067293 w 7714416"/>
              <a:gd name="connsiteY9576" fmla="*/ 4116449 h 5282095"/>
              <a:gd name="connsiteX9577" fmla="*/ 7065574 w 7714416"/>
              <a:gd name="connsiteY9577" fmla="*/ 4116672 h 5282095"/>
              <a:gd name="connsiteX9578" fmla="*/ 7064142 w 7714416"/>
              <a:gd name="connsiteY9578" fmla="*/ 4116227 h 5282095"/>
              <a:gd name="connsiteX9579" fmla="*/ 7063569 w 7714416"/>
              <a:gd name="connsiteY9579" fmla="*/ 4116227 h 5282095"/>
              <a:gd name="connsiteX9580" fmla="*/ 7061850 w 7714416"/>
              <a:gd name="connsiteY9580" fmla="*/ 4119337 h 5282095"/>
              <a:gd name="connsiteX9581" fmla="*/ 7046094 w 7714416"/>
              <a:gd name="connsiteY9581" fmla="*/ 4124558 h 5282095"/>
              <a:gd name="connsiteX9582" fmla="*/ 7034637 w 7714416"/>
              <a:gd name="connsiteY9582" fmla="*/ 4114339 h 5282095"/>
              <a:gd name="connsiteX9583" fmla="*/ 7036068 w 7714416"/>
              <a:gd name="connsiteY9583" fmla="*/ 4107452 h 5282095"/>
              <a:gd name="connsiteX9584" fmla="*/ 7040079 w 7714416"/>
              <a:gd name="connsiteY9584" fmla="*/ 4105452 h 5282095"/>
              <a:gd name="connsiteX9585" fmla="*/ 7039792 w 7714416"/>
              <a:gd name="connsiteY9585" fmla="*/ 4098565 h 5282095"/>
              <a:gd name="connsiteX9586" fmla="*/ 7047240 w 7714416"/>
              <a:gd name="connsiteY9586" fmla="*/ 4092789 h 5282095"/>
              <a:gd name="connsiteX9587" fmla="*/ 7109404 w 7714416"/>
              <a:gd name="connsiteY9587" fmla="*/ 4092567 h 5282095"/>
              <a:gd name="connsiteX9588" fmla="*/ 7111122 w 7714416"/>
              <a:gd name="connsiteY9588" fmla="*/ 4093233 h 5282095"/>
              <a:gd name="connsiteX9589" fmla="*/ 7112554 w 7714416"/>
              <a:gd name="connsiteY9589" fmla="*/ 4095566 h 5282095"/>
              <a:gd name="connsiteX9590" fmla="*/ 7117997 w 7714416"/>
              <a:gd name="connsiteY9590" fmla="*/ 4097343 h 5282095"/>
              <a:gd name="connsiteX9591" fmla="*/ 7117711 w 7714416"/>
              <a:gd name="connsiteY9591" fmla="*/ 4099564 h 5282095"/>
              <a:gd name="connsiteX9592" fmla="*/ 7107398 w 7714416"/>
              <a:gd name="connsiteY9592" fmla="*/ 4096120 h 5282095"/>
              <a:gd name="connsiteX9593" fmla="*/ 7105966 w 7714416"/>
              <a:gd name="connsiteY9593" fmla="*/ 4092678 h 5282095"/>
              <a:gd name="connsiteX9594" fmla="*/ 7109404 w 7714416"/>
              <a:gd name="connsiteY9594" fmla="*/ 4092567 h 5282095"/>
              <a:gd name="connsiteX9595" fmla="*/ 6060371 w 7714416"/>
              <a:gd name="connsiteY9595" fmla="*/ 4091344 h 5282095"/>
              <a:gd name="connsiteX9596" fmla="*/ 6071543 w 7714416"/>
              <a:gd name="connsiteY9596" fmla="*/ 4094455 h 5282095"/>
              <a:gd name="connsiteX9597" fmla="*/ 6037167 w 7714416"/>
              <a:gd name="connsiteY9597" fmla="*/ 4110562 h 5282095"/>
              <a:gd name="connsiteX9598" fmla="*/ 6028000 w 7714416"/>
              <a:gd name="connsiteY9598" fmla="*/ 4107562 h 5282095"/>
              <a:gd name="connsiteX9599" fmla="*/ 6060371 w 7714416"/>
              <a:gd name="connsiteY9599" fmla="*/ 4091344 h 5282095"/>
              <a:gd name="connsiteX9600" fmla="*/ 6200452 w 7714416"/>
              <a:gd name="connsiteY9600" fmla="*/ 4087900 h 5282095"/>
              <a:gd name="connsiteX9601" fmla="*/ 6212484 w 7714416"/>
              <a:gd name="connsiteY9601" fmla="*/ 4097787 h 5282095"/>
              <a:gd name="connsiteX9602" fmla="*/ 6206754 w 7714416"/>
              <a:gd name="connsiteY9602" fmla="*/ 4100453 h 5282095"/>
              <a:gd name="connsiteX9603" fmla="*/ 6200452 w 7714416"/>
              <a:gd name="connsiteY9603" fmla="*/ 4087900 h 5282095"/>
              <a:gd name="connsiteX9604" fmla="*/ 5876174 w 7714416"/>
              <a:gd name="connsiteY9604" fmla="*/ 4087012 h 5282095"/>
              <a:gd name="connsiteX9605" fmla="*/ 5877894 w 7714416"/>
              <a:gd name="connsiteY9605" fmla="*/ 4087123 h 5282095"/>
              <a:gd name="connsiteX9606" fmla="*/ 5874169 w 7714416"/>
              <a:gd name="connsiteY9606" fmla="*/ 4101009 h 5282095"/>
              <a:gd name="connsiteX9607" fmla="*/ 5871304 w 7714416"/>
              <a:gd name="connsiteY9607" fmla="*/ 4102119 h 5282095"/>
              <a:gd name="connsiteX9608" fmla="*/ 5867294 w 7714416"/>
              <a:gd name="connsiteY9608" fmla="*/ 4100453 h 5282095"/>
              <a:gd name="connsiteX9609" fmla="*/ 5867580 w 7714416"/>
              <a:gd name="connsiteY9609" fmla="*/ 4094566 h 5282095"/>
              <a:gd name="connsiteX9610" fmla="*/ 5874456 w 7714416"/>
              <a:gd name="connsiteY9610" fmla="*/ 4090345 h 5282095"/>
              <a:gd name="connsiteX9611" fmla="*/ 5876174 w 7714416"/>
              <a:gd name="connsiteY9611" fmla="*/ 4087012 h 5282095"/>
              <a:gd name="connsiteX9612" fmla="*/ 5796824 w 7714416"/>
              <a:gd name="connsiteY9612" fmla="*/ 4085457 h 5282095"/>
              <a:gd name="connsiteX9613" fmla="*/ 5803126 w 7714416"/>
              <a:gd name="connsiteY9613" fmla="*/ 4086013 h 5282095"/>
              <a:gd name="connsiteX9614" fmla="*/ 5801407 w 7714416"/>
              <a:gd name="connsiteY9614" fmla="*/ 4086012 h 5282095"/>
              <a:gd name="connsiteX9615" fmla="*/ 5803126 w 7714416"/>
              <a:gd name="connsiteY9615" fmla="*/ 4087123 h 5282095"/>
              <a:gd name="connsiteX9616" fmla="*/ 5779350 w 7714416"/>
              <a:gd name="connsiteY9616" fmla="*/ 4088678 h 5282095"/>
              <a:gd name="connsiteX9617" fmla="*/ 5779350 w 7714416"/>
              <a:gd name="connsiteY9617" fmla="*/ 4087568 h 5282095"/>
              <a:gd name="connsiteX9618" fmla="*/ 5796824 w 7714416"/>
              <a:gd name="connsiteY9618" fmla="*/ 4085457 h 5282095"/>
              <a:gd name="connsiteX9619" fmla="*/ 6692024 w 7714416"/>
              <a:gd name="connsiteY9619" fmla="*/ 4083457 h 5282095"/>
              <a:gd name="connsiteX9620" fmla="*/ 6697754 w 7714416"/>
              <a:gd name="connsiteY9620" fmla="*/ 4096010 h 5282095"/>
              <a:gd name="connsiteX9621" fmla="*/ 6692024 w 7714416"/>
              <a:gd name="connsiteY9621" fmla="*/ 4083457 h 5282095"/>
              <a:gd name="connsiteX9622" fmla="*/ 6110502 w 7714416"/>
              <a:gd name="connsiteY9622" fmla="*/ 4083235 h 5282095"/>
              <a:gd name="connsiteX9623" fmla="*/ 6115372 w 7714416"/>
              <a:gd name="connsiteY9623" fmla="*/ 4083790 h 5282095"/>
              <a:gd name="connsiteX9624" fmla="*/ 6116804 w 7714416"/>
              <a:gd name="connsiteY9624" fmla="*/ 4094122 h 5282095"/>
              <a:gd name="connsiteX9625" fmla="*/ 6115945 w 7714416"/>
              <a:gd name="connsiteY9625" fmla="*/ 4099676 h 5282095"/>
              <a:gd name="connsiteX9626" fmla="*/ 6124826 w 7714416"/>
              <a:gd name="connsiteY9626" fmla="*/ 4096565 h 5282095"/>
              <a:gd name="connsiteX9627" fmla="*/ 6140294 w 7714416"/>
              <a:gd name="connsiteY9627" fmla="*/ 4098675 h 5282095"/>
              <a:gd name="connsiteX9628" fmla="*/ 6131414 w 7714416"/>
              <a:gd name="connsiteY9628" fmla="*/ 4117005 h 5282095"/>
              <a:gd name="connsiteX9629" fmla="*/ 6131128 w 7714416"/>
              <a:gd name="connsiteY9629" fmla="*/ 4117115 h 5282095"/>
              <a:gd name="connsiteX9630" fmla="*/ 6131414 w 7714416"/>
              <a:gd name="connsiteY9630" fmla="*/ 4119004 h 5282095"/>
              <a:gd name="connsiteX9631" fmla="*/ 6129695 w 7714416"/>
              <a:gd name="connsiteY9631" fmla="*/ 4123226 h 5282095"/>
              <a:gd name="connsiteX9632" fmla="*/ 6118236 w 7714416"/>
              <a:gd name="connsiteY9632" fmla="*/ 4120559 h 5282095"/>
              <a:gd name="connsiteX9633" fmla="*/ 6119956 w 7714416"/>
              <a:gd name="connsiteY9633" fmla="*/ 4116893 h 5282095"/>
              <a:gd name="connsiteX9634" fmla="*/ 6120815 w 7714416"/>
              <a:gd name="connsiteY9634" fmla="*/ 4116560 h 5282095"/>
              <a:gd name="connsiteX9635" fmla="*/ 6119669 w 7714416"/>
              <a:gd name="connsiteY9635" fmla="*/ 4116005 h 5282095"/>
              <a:gd name="connsiteX9636" fmla="*/ 6115658 w 7714416"/>
              <a:gd name="connsiteY9636" fmla="*/ 4108451 h 5282095"/>
              <a:gd name="connsiteX9637" fmla="*/ 6114512 w 7714416"/>
              <a:gd name="connsiteY9637" fmla="*/ 4101564 h 5282095"/>
              <a:gd name="connsiteX9638" fmla="*/ 6108497 w 7714416"/>
              <a:gd name="connsiteY9638" fmla="*/ 4103007 h 5282095"/>
              <a:gd name="connsiteX9639" fmla="*/ 6110502 w 7714416"/>
              <a:gd name="connsiteY9639" fmla="*/ 4083235 h 5282095"/>
              <a:gd name="connsiteX9640" fmla="*/ 7032344 w 7714416"/>
              <a:gd name="connsiteY9640" fmla="*/ 4082458 h 5282095"/>
              <a:gd name="connsiteX9641" fmla="*/ 6973907 w 7714416"/>
              <a:gd name="connsiteY9641" fmla="*/ 4130890 h 5282095"/>
              <a:gd name="connsiteX9642" fmla="*/ 6963305 w 7714416"/>
              <a:gd name="connsiteY9642" fmla="*/ 4120782 h 5282095"/>
              <a:gd name="connsiteX9643" fmla="*/ 7032344 w 7714416"/>
              <a:gd name="connsiteY9643" fmla="*/ 4082458 h 5282095"/>
              <a:gd name="connsiteX9644" fmla="*/ 7201932 w 7714416"/>
              <a:gd name="connsiteY9644" fmla="*/ 4082235 h 5282095"/>
              <a:gd name="connsiteX9645" fmla="*/ 7205656 w 7714416"/>
              <a:gd name="connsiteY9645" fmla="*/ 4083458 h 5282095"/>
              <a:gd name="connsiteX9646" fmla="*/ 7207088 w 7714416"/>
              <a:gd name="connsiteY9646" fmla="*/ 4085902 h 5282095"/>
              <a:gd name="connsiteX9647" fmla="*/ 7207947 w 7714416"/>
              <a:gd name="connsiteY9647" fmla="*/ 4088900 h 5282095"/>
              <a:gd name="connsiteX9648" fmla="*/ 7205369 w 7714416"/>
              <a:gd name="connsiteY9648" fmla="*/ 4093233 h 5282095"/>
              <a:gd name="connsiteX9649" fmla="*/ 7216254 w 7714416"/>
              <a:gd name="connsiteY9649" fmla="*/ 4097231 h 5282095"/>
              <a:gd name="connsiteX9650" fmla="*/ 7226854 w 7714416"/>
              <a:gd name="connsiteY9650" fmla="*/ 4104008 h 5282095"/>
              <a:gd name="connsiteX9651" fmla="*/ 7182738 w 7714416"/>
              <a:gd name="connsiteY9651" fmla="*/ 4084791 h 5282095"/>
              <a:gd name="connsiteX9652" fmla="*/ 7190759 w 7714416"/>
              <a:gd name="connsiteY9652" fmla="*/ 4088123 h 5282095"/>
              <a:gd name="connsiteX9653" fmla="*/ 7191905 w 7714416"/>
              <a:gd name="connsiteY9653" fmla="*/ 4085457 h 5282095"/>
              <a:gd name="connsiteX9654" fmla="*/ 7201932 w 7714416"/>
              <a:gd name="connsiteY9654" fmla="*/ 4082235 h 5282095"/>
              <a:gd name="connsiteX9655" fmla="*/ 6795152 w 7714416"/>
              <a:gd name="connsiteY9655" fmla="*/ 4082235 h 5282095"/>
              <a:gd name="connsiteX9656" fmla="*/ 6800022 w 7714416"/>
              <a:gd name="connsiteY9656" fmla="*/ 4085901 h 5282095"/>
              <a:gd name="connsiteX9657" fmla="*/ 6799162 w 7714416"/>
              <a:gd name="connsiteY9657" fmla="*/ 4092122 h 5282095"/>
              <a:gd name="connsiteX9658" fmla="*/ 6786844 w 7714416"/>
              <a:gd name="connsiteY9658" fmla="*/ 4102342 h 5282095"/>
              <a:gd name="connsiteX9659" fmla="*/ 6778250 w 7714416"/>
              <a:gd name="connsiteY9659" fmla="*/ 4093566 h 5282095"/>
              <a:gd name="connsiteX9660" fmla="*/ 6779396 w 7714416"/>
              <a:gd name="connsiteY9660" fmla="*/ 4092122 h 5282095"/>
              <a:gd name="connsiteX9661" fmla="*/ 6795152 w 7714416"/>
              <a:gd name="connsiteY9661" fmla="*/ 4082235 h 5282095"/>
              <a:gd name="connsiteX9662" fmla="*/ 5902242 w 7714416"/>
              <a:gd name="connsiteY9662" fmla="*/ 4081569 h 5282095"/>
              <a:gd name="connsiteX9663" fmla="*/ 5911696 w 7714416"/>
              <a:gd name="connsiteY9663" fmla="*/ 4083679 h 5282095"/>
              <a:gd name="connsiteX9664" fmla="*/ 5906540 w 7714416"/>
              <a:gd name="connsiteY9664" fmla="*/ 4090566 h 5282095"/>
              <a:gd name="connsiteX9665" fmla="*/ 5896513 w 7714416"/>
              <a:gd name="connsiteY9665" fmla="*/ 4086679 h 5282095"/>
              <a:gd name="connsiteX9666" fmla="*/ 5902242 w 7714416"/>
              <a:gd name="connsiteY9666" fmla="*/ 4081569 h 5282095"/>
              <a:gd name="connsiteX9667" fmla="*/ 6096466 w 7714416"/>
              <a:gd name="connsiteY9667" fmla="*/ 4080569 h 5282095"/>
              <a:gd name="connsiteX9668" fmla="*/ 6098470 w 7714416"/>
              <a:gd name="connsiteY9668" fmla="*/ 4086568 h 5282095"/>
              <a:gd name="connsiteX9669" fmla="*/ 6095892 w 7714416"/>
              <a:gd name="connsiteY9669" fmla="*/ 4090566 h 5282095"/>
              <a:gd name="connsiteX9670" fmla="*/ 6100762 w 7714416"/>
              <a:gd name="connsiteY9670" fmla="*/ 4093011 h 5282095"/>
              <a:gd name="connsiteX9671" fmla="*/ 6092168 w 7714416"/>
              <a:gd name="connsiteY9671" fmla="*/ 4092566 h 5282095"/>
              <a:gd name="connsiteX9672" fmla="*/ 6089590 w 7714416"/>
              <a:gd name="connsiteY9672" fmla="*/ 4093566 h 5282095"/>
              <a:gd name="connsiteX9673" fmla="*/ 6083575 w 7714416"/>
              <a:gd name="connsiteY9673" fmla="*/ 4093233 h 5282095"/>
              <a:gd name="connsiteX9674" fmla="*/ 6082715 w 7714416"/>
              <a:gd name="connsiteY9674" fmla="*/ 4092233 h 5282095"/>
              <a:gd name="connsiteX9675" fmla="*/ 6073834 w 7714416"/>
              <a:gd name="connsiteY9675" fmla="*/ 4091899 h 5282095"/>
              <a:gd name="connsiteX9676" fmla="*/ 6049772 w 7714416"/>
              <a:gd name="connsiteY9676" fmla="*/ 4085901 h 5282095"/>
              <a:gd name="connsiteX9677" fmla="*/ 6060944 w 7714416"/>
              <a:gd name="connsiteY9677" fmla="*/ 4081014 h 5282095"/>
              <a:gd name="connsiteX9678" fmla="*/ 6072402 w 7714416"/>
              <a:gd name="connsiteY9678" fmla="*/ 4081680 h 5282095"/>
              <a:gd name="connsiteX9679" fmla="*/ 6081569 w 7714416"/>
              <a:gd name="connsiteY9679" fmla="*/ 4084235 h 5282095"/>
              <a:gd name="connsiteX9680" fmla="*/ 6082428 w 7714416"/>
              <a:gd name="connsiteY9680" fmla="*/ 4083791 h 5282095"/>
              <a:gd name="connsiteX9681" fmla="*/ 6096466 w 7714416"/>
              <a:gd name="connsiteY9681" fmla="*/ 4080569 h 5282095"/>
              <a:gd name="connsiteX9682" fmla="*/ 6782834 w 7714416"/>
              <a:gd name="connsiteY9682" fmla="*/ 4080458 h 5282095"/>
              <a:gd name="connsiteX9683" fmla="*/ 6787131 w 7714416"/>
              <a:gd name="connsiteY9683" fmla="*/ 4084235 h 5282095"/>
              <a:gd name="connsiteX9684" fmla="*/ 6784552 w 7714416"/>
              <a:gd name="connsiteY9684" fmla="*/ 4086456 h 5282095"/>
              <a:gd name="connsiteX9685" fmla="*/ 6779683 w 7714416"/>
              <a:gd name="connsiteY9685" fmla="*/ 4088012 h 5282095"/>
              <a:gd name="connsiteX9686" fmla="*/ 6774813 w 7714416"/>
              <a:gd name="connsiteY9686" fmla="*/ 4083124 h 5282095"/>
              <a:gd name="connsiteX9687" fmla="*/ 6777391 w 7714416"/>
              <a:gd name="connsiteY9687" fmla="*/ 4081014 h 5282095"/>
              <a:gd name="connsiteX9688" fmla="*/ 6782834 w 7714416"/>
              <a:gd name="connsiteY9688" fmla="*/ 4080458 h 5282095"/>
              <a:gd name="connsiteX9689" fmla="*/ 6416732 w 7714416"/>
              <a:gd name="connsiteY9689" fmla="*/ 4080125 h 5282095"/>
              <a:gd name="connsiteX9690" fmla="*/ 6430483 w 7714416"/>
              <a:gd name="connsiteY9690" fmla="*/ 4084679 h 5282095"/>
              <a:gd name="connsiteX9691" fmla="*/ 6412722 w 7714416"/>
              <a:gd name="connsiteY9691" fmla="*/ 4082013 h 5282095"/>
              <a:gd name="connsiteX9692" fmla="*/ 6416732 w 7714416"/>
              <a:gd name="connsiteY9692" fmla="*/ 4080125 h 5282095"/>
              <a:gd name="connsiteX9693" fmla="*/ 6971614 w 7714416"/>
              <a:gd name="connsiteY9693" fmla="*/ 4079903 h 5282095"/>
              <a:gd name="connsiteX9694" fmla="*/ 6981640 w 7714416"/>
              <a:gd name="connsiteY9694" fmla="*/ 4089678 h 5282095"/>
              <a:gd name="connsiteX9695" fmla="*/ 6982213 w 7714416"/>
              <a:gd name="connsiteY9695" fmla="*/ 4091344 h 5282095"/>
              <a:gd name="connsiteX9696" fmla="*/ 6987082 w 7714416"/>
              <a:gd name="connsiteY9696" fmla="*/ 4095788 h 5282095"/>
              <a:gd name="connsiteX9697" fmla="*/ 6978776 w 7714416"/>
              <a:gd name="connsiteY9697" fmla="*/ 4102675 h 5282095"/>
              <a:gd name="connsiteX9698" fmla="*/ 6969608 w 7714416"/>
              <a:gd name="connsiteY9698" fmla="*/ 4095454 h 5282095"/>
              <a:gd name="connsiteX9699" fmla="*/ 6978489 w 7714416"/>
              <a:gd name="connsiteY9699" fmla="*/ 4091343 h 5282095"/>
              <a:gd name="connsiteX9700" fmla="*/ 6973332 w 7714416"/>
              <a:gd name="connsiteY9700" fmla="*/ 4086345 h 5282095"/>
              <a:gd name="connsiteX9701" fmla="*/ 6970182 w 7714416"/>
              <a:gd name="connsiteY9701" fmla="*/ 4080458 h 5282095"/>
              <a:gd name="connsiteX9702" fmla="*/ 6971614 w 7714416"/>
              <a:gd name="connsiteY9702" fmla="*/ 4079903 h 5282095"/>
              <a:gd name="connsiteX9703" fmla="*/ 6492646 w 7714416"/>
              <a:gd name="connsiteY9703" fmla="*/ 4079903 h 5282095"/>
              <a:gd name="connsiteX9704" fmla="*/ 6504677 w 7714416"/>
              <a:gd name="connsiteY9704" fmla="*/ 4093011 h 5282095"/>
              <a:gd name="connsiteX9705" fmla="*/ 6493505 w 7714416"/>
              <a:gd name="connsiteY9705" fmla="*/ 4093344 h 5282095"/>
              <a:gd name="connsiteX9706" fmla="*/ 6492646 w 7714416"/>
              <a:gd name="connsiteY9706" fmla="*/ 4079903 h 5282095"/>
              <a:gd name="connsiteX9707" fmla="*/ 7189327 w 7714416"/>
              <a:gd name="connsiteY9707" fmla="*/ 4078902 h 5282095"/>
              <a:gd name="connsiteX9708" fmla="*/ 7192478 w 7714416"/>
              <a:gd name="connsiteY9708" fmla="*/ 4079569 h 5282095"/>
              <a:gd name="connsiteX9709" fmla="*/ 7193338 w 7714416"/>
              <a:gd name="connsiteY9709" fmla="*/ 4081568 h 5282095"/>
              <a:gd name="connsiteX9710" fmla="*/ 7190472 w 7714416"/>
              <a:gd name="connsiteY9710" fmla="*/ 4084124 h 5282095"/>
              <a:gd name="connsiteX9711" fmla="*/ 7185890 w 7714416"/>
              <a:gd name="connsiteY9711" fmla="*/ 4080014 h 5282095"/>
              <a:gd name="connsiteX9712" fmla="*/ 7189327 w 7714416"/>
              <a:gd name="connsiteY9712" fmla="*/ 4078902 h 5282095"/>
              <a:gd name="connsiteX9713" fmla="*/ 6471160 w 7714416"/>
              <a:gd name="connsiteY9713" fmla="*/ 4078126 h 5282095"/>
              <a:gd name="connsiteX9714" fmla="*/ 6476317 w 7714416"/>
              <a:gd name="connsiteY9714" fmla="*/ 4079903 h 5282095"/>
              <a:gd name="connsiteX9715" fmla="*/ 6474026 w 7714416"/>
              <a:gd name="connsiteY9715" fmla="*/ 4084457 h 5282095"/>
              <a:gd name="connsiteX9716" fmla="*/ 6469156 w 7714416"/>
              <a:gd name="connsiteY9716" fmla="*/ 4083902 h 5282095"/>
              <a:gd name="connsiteX9717" fmla="*/ 6471160 w 7714416"/>
              <a:gd name="connsiteY9717" fmla="*/ 4078126 h 5282095"/>
              <a:gd name="connsiteX9718" fmla="*/ 6049198 w 7714416"/>
              <a:gd name="connsiteY9718" fmla="*/ 4076570 h 5282095"/>
              <a:gd name="connsiteX9719" fmla="*/ 6052923 w 7714416"/>
              <a:gd name="connsiteY9719" fmla="*/ 4080236 h 5282095"/>
              <a:gd name="connsiteX9720" fmla="*/ 6042896 w 7714416"/>
              <a:gd name="connsiteY9720" fmla="*/ 4082013 h 5282095"/>
              <a:gd name="connsiteX9721" fmla="*/ 6049198 w 7714416"/>
              <a:gd name="connsiteY9721" fmla="*/ 4076570 h 5282095"/>
              <a:gd name="connsiteX9722" fmla="*/ 6648196 w 7714416"/>
              <a:gd name="connsiteY9722" fmla="*/ 4076126 h 5282095"/>
              <a:gd name="connsiteX9723" fmla="*/ 6697754 w 7714416"/>
              <a:gd name="connsiteY9723" fmla="*/ 4096010 h 5282095"/>
              <a:gd name="connsiteX9724" fmla="*/ 6717806 w 7714416"/>
              <a:gd name="connsiteY9724" fmla="*/ 4105119 h 5282095"/>
              <a:gd name="connsiteX9725" fmla="*/ 6637310 w 7714416"/>
              <a:gd name="connsiteY9725" fmla="*/ 4087234 h 5282095"/>
              <a:gd name="connsiteX9726" fmla="*/ 6648196 w 7714416"/>
              <a:gd name="connsiteY9726" fmla="*/ 4076126 h 5282095"/>
              <a:gd name="connsiteX9727" fmla="*/ 6976198 w 7714416"/>
              <a:gd name="connsiteY9727" fmla="*/ 4075682 h 5282095"/>
              <a:gd name="connsiteX9728" fmla="*/ 7001120 w 7714416"/>
              <a:gd name="connsiteY9728" fmla="*/ 4088901 h 5282095"/>
              <a:gd name="connsiteX9729" fmla="*/ 6994818 w 7714416"/>
              <a:gd name="connsiteY9729" fmla="*/ 4091122 h 5282095"/>
              <a:gd name="connsiteX9730" fmla="*/ 6993385 w 7714416"/>
              <a:gd name="connsiteY9730" fmla="*/ 4088901 h 5282095"/>
              <a:gd name="connsiteX9731" fmla="*/ 6976198 w 7714416"/>
              <a:gd name="connsiteY9731" fmla="*/ 4075682 h 5282095"/>
              <a:gd name="connsiteX9732" fmla="*/ 6843851 w 7714416"/>
              <a:gd name="connsiteY9732" fmla="*/ 4075681 h 5282095"/>
              <a:gd name="connsiteX9733" fmla="*/ 6848148 w 7714416"/>
              <a:gd name="connsiteY9733" fmla="*/ 4078013 h 5282095"/>
              <a:gd name="connsiteX9734" fmla="*/ 6849007 w 7714416"/>
              <a:gd name="connsiteY9734" fmla="*/ 4081458 h 5282095"/>
              <a:gd name="connsiteX9735" fmla="*/ 6839554 w 7714416"/>
              <a:gd name="connsiteY9735" fmla="*/ 4084679 h 5282095"/>
              <a:gd name="connsiteX9736" fmla="*/ 6840127 w 7714416"/>
              <a:gd name="connsiteY9736" fmla="*/ 4075681 h 5282095"/>
              <a:gd name="connsiteX9737" fmla="*/ 6843851 w 7714416"/>
              <a:gd name="connsiteY9737" fmla="*/ 4075681 h 5282095"/>
              <a:gd name="connsiteX9738" fmla="*/ 6907446 w 7714416"/>
              <a:gd name="connsiteY9738" fmla="*/ 4075237 h 5282095"/>
              <a:gd name="connsiteX9739" fmla="*/ 6912603 w 7714416"/>
              <a:gd name="connsiteY9739" fmla="*/ 4077015 h 5282095"/>
              <a:gd name="connsiteX9740" fmla="*/ 6913748 w 7714416"/>
              <a:gd name="connsiteY9740" fmla="*/ 4082013 h 5282095"/>
              <a:gd name="connsiteX9741" fmla="*/ 6910310 w 7714416"/>
              <a:gd name="connsiteY9741" fmla="*/ 4082902 h 5282095"/>
              <a:gd name="connsiteX9742" fmla="*/ 6905154 w 7714416"/>
              <a:gd name="connsiteY9742" fmla="*/ 4082236 h 5282095"/>
              <a:gd name="connsiteX9743" fmla="*/ 6904008 w 7714416"/>
              <a:gd name="connsiteY9743" fmla="*/ 4076126 h 5282095"/>
              <a:gd name="connsiteX9744" fmla="*/ 6907446 w 7714416"/>
              <a:gd name="connsiteY9744" fmla="*/ 4075237 h 5282095"/>
              <a:gd name="connsiteX9745" fmla="*/ 6670826 w 7714416"/>
              <a:gd name="connsiteY9745" fmla="*/ 4074460 h 5282095"/>
              <a:gd name="connsiteX9746" fmla="*/ 6676269 w 7714416"/>
              <a:gd name="connsiteY9746" fmla="*/ 4075793 h 5282095"/>
              <a:gd name="connsiteX9747" fmla="*/ 6674837 w 7714416"/>
              <a:gd name="connsiteY9747" fmla="*/ 4078014 h 5282095"/>
              <a:gd name="connsiteX9748" fmla="*/ 6665956 w 7714416"/>
              <a:gd name="connsiteY9748" fmla="*/ 4076570 h 5282095"/>
              <a:gd name="connsiteX9749" fmla="*/ 6667676 w 7714416"/>
              <a:gd name="connsiteY9749" fmla="*/ 4075571 h 5282095"/>
              <a:gd name="connsiteX9750" fmla="*/ 6667102 w 7714416"/>
              <a:gd name="connsiteY9750" fmla="*/ 4075238 h 5282095"/>
              <a:gd name="connsiteX9751" fmla="*/ 6670826 w 7714416"/>
              <a:gd name="connsiteY9751" fmla="*/ 4074460 h 5282095"/>
              <a:gd name="connsiteX9752" fmla="*/ 5915420 w 7714416"/>
              <a:gd name="connsiteY9752" fmla="*/ 4072127 h 5282095"/>
              <a:gd name="connsiteX9753" fmla="*/ 5917138 w 7714416"/>
              <a:gd name="connsiteY9753" fmla="*/ 4073460 h 5282095"/>
              <a:gd name="connsiteX9754" fmla="*/ 5918571 w 7714416"/>
              <a:gd name="connsiteY9754" fmla="*/ 4076126 h 5282095"/>
              <a:gd name="connsiteX9755" fmla="*/ 5910264 w 7714416"/>
              <a:gd name="connsiteY9755" fmla="*/ 4078237 h 5282095"/>
              <a:gd name="connsiteX9756" fmla="*/ 5906253 w 7714416"/>
              <a:gd name="connsiteY9756" fmla="*/ 4075904 h 5282095"/>
              <a:gd name="connsiteX9757" fmla="*/ 5910264 w 7714416"/>
              <a:gd name="connsiteY9757" fmla="*/ 4073015 h 5282095"/>
              <a:gd name="connsiteX9758" fmla="*/ 5915420 w 7714416"/>
              <a:gd name="connsiteY9758" fmla="*/ 4072127 h 5282095"/>
              <a:gd name="connsiteX9759" fmla="*/ 5860706 w 7714416"/>
              <a:gd name="connsiteY9759" fmla="*/ 4071016 h 5282095"/>
              <a:gd name="connsiteX9760" fmla="*/ 5865002 w 7714416"/>
              <a:gd name="connsiteY9760" fmla="*/ 4071016 h 5282095"/>
              <a:gd name="connsiteX9761" fmla="*/ 5854403 w 7714416"/>
              <a:gd name="connsiteY9761" fmla="*/ 4074793 h 5282095"/>
              <a:gd name="connsiteX9762" fmla="*/ 5852684 w 7714416"/>
              <a:gd name="connsiteY9762" fmla="*/ 4078125 h 5282095"/>
              <a:gd name="connsiteX9763" fmla="*/ 5842372 w 7714416"/>
              <a:gd name="connsiteY9763" fmla="*/ 4079569 h 5282095"/>
              <a:gd name="connsiteX9764" fmla="*/ 5842658 w 7714416"/>
              <a:gd name="connsiteY9764" fmla="*/ 4073793 h 5282095"/>
              <a:gd name="connsiteX9765" fmla="*/ 5856408 w 7714416"/>
              <a:gd name="connsiteY9765" fmla="*/ 4072683 h 5282095"/>
              <a:gd name="connsiteX9766" fmla="*/ 5860706 w 7714416"/>
              <a:gd name="connsiteY9766" fmla="*/ 4071016 h 5282095"/>
              <a:gd name="connsiteX9767" fmla="*/ 6963880 w 7714416"/>
              <a:gd name="connsiteY9767" fmla="*/ 4069683 h 5282095"/>
              <a:gd name="connsiteX9768" fmla="*/ 6971041 w 7714416"/>
              <a:gd name="connsiteY9768" fmla="*/ 4072460 h 5282095"/>
              <a:gd name="connsiteX9769" fmla="*/ 6970182 w 7714416"/>
              <a:gd name="connsiteY9769" fmla="*/ 4074015 h 5282095"/>
              <a:gd name="connsiteX9770" fmla="*/ 6963880 w 7714416"/>
              <a:gd name="connsiteY9770" fmla="*/ 4069683 h 5282095"/>
              <a:gd name="connsiteX9771" fmla="*/ 5754140 w 7714416"/>
              <a:gd name="connsiteY9771" fmla="*/ 4067573 h 5282095"/>
              <a:gd name="connsiteX9772" fmla="*/ 5755573 w 7714416"/>
              <a:gd name="connsiteY9772" fmla="*/ 4068462 h 5282095"/>
              <a:gd name="connsiteX9773" fmla="*/ 5752708 w 7714416"/>
              <a:gd name="connsiteY9773" fmla="*/ 4068461 h 5282095"/>
              <a:gd name="connsiteX9774" fmla="*/ 5754140 w 7714416"/>
              <a:gd name="connsiteY9774" fmla="*/ 4067573 h 5282095"/>
              <a:gd name="connsiteX9775" fmla="*/ 6983359 w 7714416"/>
              <a:gd name="connsiteY9775" fmla="*/ 4067572 h 5282095"/>
              <a:gd name="connsiteX9776" fmla="*/ 6993099 w 7714416"/>
              <a:gd name="connsiteY9776" fmla="*/ 4071571 h 5282095"/>
              <a:gd name="connsiteX9777" fmla="*/ 6984505 w 7714416"/>
              <a:gd name="connsiteY9777" fmla="*/ 4077125 h 5282095"/>
              <a:gd name="connsiteX9778" fmla="*/ 6978489 w 7714416"/>
              <a:gd name="connsiteY9778" fmla="*/ 4069239 h 5282095"/>
              <a:gd name="connsiteX9779" fmla="*/ 6983359 w 7714416"/>
              <a:gd name="connsiteY9779" fmla="*/ 4067572 h 5282095"/>
              <a:gd name="connsiteX9780" fmla="*/ 6085580 w 7714416"/>
              <a:gd name="connsiteY9780" fmla="*/ 4066795 h 5282095"/>
              <a:gd name="connsiteX9781" fmla="*/ 6090163 w 7714416"/>
              <a:gd name="connsiteY9781" fmla="*/ 4066795 h 5282095"/>
              <a:gd name="connsiteX9782" fmla="*/ 6089876 w 7714416"/>
              <a:gd name="connsiteY9782" fmla="*/ 4070572 h 5282095"/>
              <a:gd name="connsiteX9783" fmla="*/ 6082715 w 7714416"/>
              <a:gd name="connsiteY9783" fmla="*/ 4071127 h 5282095"/>
              <a:gd name="connsiteX9784" fmla="*/ 6081282 w 7714416"/>
              <a:gd name="connsiteY9784" fmla="*/ 4067684 h 5282095"/>
              <a:gd name="connsiteX9785" fmla="*/ 6085580 w 7714416"/>
              <a:gd name="connsiteY9785" fmla="*/ 4066795 h 5282095"/>
              <a:gd name="connsiteX9786" fmla="*/ 7189327 w 7714416"/>
              <a:gd name="connsiteY9786" fmla="*/ 4064240 h 5282095"/>
              <a:gd name="connsiteX9787" fmla="*/ 7193624 w 7714416"/>
              <a:gd name="connsiteY9787" fmla="*/ 4065574 h 5282095"/>
              <a:gd name="connsiteX9788" fmla="*/ 7195056 w 7714416"/>
              <a:gd name="connsiteY9788" fmla="*/ 4068016 h 5282095"/>
              <a:gd name="connsiteX9789" fmla="*/ 7181592 w 7714416"/>
              <a:gd name="connsiteY9789" fmla="*/ 4068906 h 5282095"/>
              <a:gd name="connsiteX9790" fmla="*/ 7180160 w 7714416"/>
              <a:gd name="connsiteY9790" fmla="*/ 4066461 h 5282095"/>
              <a:gd name="connsiteX9791" fmla="*/ 7183598 w 7714416"/>
              <a:gd name="connsiteY9791" fmla="*/ 4064463 h 5282095"/>
              <a:gd name="connsiteX9792" fmla="*/ 7189327 w 7714416"/>
              <a:gd name="connsiteY9792" fmla="*/ 4064240 h 5282095"/>
              <a:gd name="connsiteX9793" fmla="*/ 6689160 w 7714416"/>
              <a:gd name="connsiteY9793" fmla="*/ 4064017 h 5282095"/>
              <a:gd name="connsiteX9794" fmla="*/ 6706348 w 7714416"/>
              <a:gd name="connsiteY9794" fmla="*/ 4071461 h 5282095"/>
              <a:gd name="connsiteX9795" fmla="*/ 6685436 w 7714416"/>
              <a:gd name="connsiteY9795" fmla="*/ 4075349 h 5282095"/>
              <a:gd name="connsiteX9796" fmla="*/ 6689160 w 7714416"/>
              <a:gd name="connsiteY9796" fmla="*/ 4064017 h 5282095"/>
              <a:gd name="connsiteX9797" fmla="*/ 6160060 w 7714416"/>
              <a:gd name="connsiteY9797" fmla="*/ 4062352 h 5282095"/>
              <a:gd name="connsiteX9798" fmla="*/ 6166076 w 7714416"/>
              <a:gd name="connsiteY9798" fmla="*/ 4063685 h 5282095"/>
              <a:gd name="connsiteX9799" fmla="*/ 6157196 w 7714416"/>
              <a:gd name="connsiteY9799" fmla="*/ 4075793 h 5282095"/>
              <a:gd name="connsiteX9800" fmla="*/ 6151466 w 7714416"/>
              <a:gd name="connsiteY9800" fmla="*/ 4076570 h 5282095"/>
              <a:gd name="connsiteX9801" fmla="*/ 6157482 w 7714416"/>
              <a:gd name="connsiteY9801" fmla="*/ 4079125 h 5282095"/>
              <a:gd name="connsiteX9802" fmla="*/ 6160920 w 7714416"/>
              <a:gd name="connsiteY9802" fmla="*/ 4084457 h 5282095"/>
              <a:gd name="connsiteX9803" fmla="*/ 6146596 w 7714416"/>
              <a:gd name="connsiteY9803" fmla="*/ 4088456 h 5282095"/>
              <a:gd name="connsiteX9804" fmla="*/ 6143732 w 7714416"/>
              <a:gd name="connsiteY9804" fmla="*/ 4087233 h 5282095"/>
              <a:gd name="connsiteX9805" fmla="*/ 6143733 w 7714416"/>
              <a:gd name="connsiteY9805" fmla="*/ 4087456 h 5282095"/>
              <a:gd name="connsiteX9806" fmla="*/ 6138576 w 7714416"/>
              <a:gd name="connsiteY9806" fmla="*/ 4089789 h 5282095"/>
              <a:gd name="connsiteX9807" fmla="*/ 6125112 w 7714416"/>
              <a:gd name="connsiteY9807" fmla="*/ 4079347 h 5282095"/>
              <a:gd name="connsiteX9808" fmla="*/ 6132560 w 7714416"/>
              <a:gd name="connsiteY9808" fmla="*/ 4076126 h 5282095"/>
              <a:gd name="connsiteX9809" fmla="*/ 6135711 w 7714416"/>
              <a:gd name="connsiteY9809" fmla="*/ 4076904 h 5282095"/>
              <a:gd name="connsiteX9810" fmla="*/ 6136570 w 7714416"/>
              <a:gd name="connsiteY9810" fmla="*/ 4075570 h 5282095"/>
              <a:gd name="connsiteX9811" fmla="*/ 6141726 w 7714416"/>
              <a:gd name="connsiteY9811" fmla="*/ 4074571 h 5282095"/>
              <a:gd name="connsiteX9812" fmla="*/ 6141154 w 7714416"/>
              <a:gd name="connsiteY9812" fmla="*/ 4074349 h 5282095"/>
              <a:gd name="connsiteX9813" fmla="*/ 6140008 w 7714416"/>
              <a:gd name="connsiteY9813" fmla="*/ 4064684 h 5282095"/>
              <a:gd name="connsiteX9814" fmla="*/ 6160060 w 7714416"/>
              <a:gd name="connsiteY9814" fmla="*/ 4062352 h 5282095"/>
              <a:gd name="connsiteX9815" fmla="*/ 6474026 w 7714416"/>
              <a:gd name="connsiteY9815" fmla="*/ 4062019 h 5282095"/>
              <a:gd name="connsiteX9816" fmla="*/ 6480614 w 7714416"/>
              <a:gd name="connsiteY9816" fmla="*/ 4064240 h 5282095"/>
              <a:gd name="connsiteX9817" fmla="*/ 6482906 w 7714416"/>
              <a:gd name="connsiteY9817" fmla="*/ 4068684 h 5282095"/>
              <a:gd name="connsiteX9818" fmla="*/ 6478322 w 7714416"/>
              <a:gd name="connsiteY9818" fmla="*/ 4069128 h 5282095"/>
              <a:gd name="connsiteX9819" fmla="*/ 6476891 w 7714416"/>
              <a:gd name="connsiteY9819" fmla="*/ 4071905 h 5282095"/>
              <a:gd name="connsiteX9820" fmla="*/ 6475458 w 7714416"/>
              <a:gd name="connsiteY9820" fmla="*/ 4071683 h 5282095"/>
              <a:gd name="connsiteX9821" fmla="*/ 6473452 w 7714416"/>
              <a:gd name="connsiteY9821" fmla="*/ 4069683 h 5282095"/>
              <a:gd name="connsiteX9822" fmla="*/ 6472880 w 7714416"/>
              <a:gd name="connsiteY9822" fmla="*/ 4069683 h 5282095"/>
              <a:gd name="connsiteX9823" fmla="*/ 6466864 w 7714416"/>
              <a:gd name="connsiteY9823" fmla="*/ 4066017 h 5282095"/>
              <a:gd name="connsiteX9824" fmla="*/ 6474026 w 7714416"/>
              <a:gd name="connsiteY9824" fmla="*/ 4062019 h 5282095"/>
              <a:gd name="connsiteX9825" fmla="*/ 5942348 w 7714416"/>
              <a:gd name="connsiteY9825" fmla="*/ 4061574 h 5282095"/>
              <a:gd name="connsiteX9826" fmla="*/ 5953520 w 7714416"/>
              <a:gd name="connsiteY9826" fmla="*/ 4063684 h 5282095"/>
              <a:gd name="connsiteX9827" fmla="*/ 5943207 w 7714416"/>
              <a:gd name="connsiteY9827" fmla="*/ 4071127 h 5282095"/>
              <a:gd name="connsiteX9828" fmla="*/ 5931176 w 7714416"/>
              <a:gd name="connsiteY9828" fmla="*/ 4064683 h 5282095"/>
              <a:gd name="connsiteX9829" fmla="*/ 5942348 w 7714416"/>
              <a:gd name="connsiteY9829" fmla="*/ 4061574 h 5282095"/>
              <a:gd name="connsiteX9830" fmla="*/ 6986796 w 7714416"/>
              <a:gd name="connsiteY9830" fmla="*/ 4055798 h 5282095"/>
              <a:gd name="connsiteX9831" fmla="*/ 6988802 w 7714416"/>
              <a:gd name="connsiteY9831" fmla="*/ 4056243 h 5282095"/>
              <a:gd name="connsiteX9832" fmla="*/ 6988229 w 7714416"/>
              <a:gd name="connsiteY9832" fmla="*/ 4057686 h 5282095"/>
              <a:gd name="connsiteX9833" fmla="*/ 6986796 w 7714416"/>
              <a:gd name="connsiteY9833" fmla="*/ 4055798 h 5282095"/>
              <a:gd name="connsiteX9834" fmla="*/ 5960108 w 7714416"/>
              <a:gd name="connsiteY9834" fmla="*/ 4052688 h 5282095"/>
              <a:gd name="connsiteX9835" fmla="*/ 5966124 w 7714416"/>
              <a:gd name="connsiteY9835" fmla="*/ 4054798 h 5282095"/>
              <a:gd name="connsiteX9836" fmla="*/ 5967556 w 7714416"/>
              <a:gd name="connsiteY9836" fmla="*/ 4056243 h 5282095"/>
              <a:gd name="connsiteX9837" fmla="*/ 5970708 w 7714416"/>
              <a:gd name="connsiteY9837" fmla="*/ 4054354 h 5282095"/>
              <a:gd name="connsiteX9838" fmla="*/ 5977869 w 7714416"/>
              <a:gd name="connsiteY9838" fmla="*/ 4058130 h 5282095"/>
              <a:gd name="connsiteX9839" fmla="*/ 5973572 w 7714416"/>
              <a:gd name="connsiteY9839" fmla="*/ 4059464 h 5282095"/>
              <a:gd name="connsiteX9840" fmla="*/ 5969848 w 7714416"/>
              <a:gd name="connsiteY9840" fmla="*/ 4060241 h 5282095"/>
              <a:gd name="connsiteX9841" fmla="*/ 5970134 w 7714416"/>
              <a:gd name="connsiteY9841" fmla="*/ 4067572 h 5282095"/>
              <a:gd name="connsiteX9842" fmla="*/ 5965264 w 7714416"/>
              <a:gd name="connsiteY9842" fmla="*/ 4069573 h 5282095"/>
              <a:gd name="connsiteX9843" fmla="*/ 5973000 w 7714416"/>
              <a:gd name="connsiteY9843" fmla="*/ 4071238 h 5282095"/>
              <a:gd name="connsiteX9844" fmla="*/ 5974432 w 7714416"/>
              <a:gd name="connsiteY9844" fmla="*/ 4072239 h 5282095"/>
              <a:gd name="connsiteX9845" fmla="*/ 5976437 w 7714416"/>
              <a:gd name="connsiteY9845" fmla="*/ 4072460 h 5282095"/>
              <a:gd name="connsiteX9846" fmla="*/ 5976150 w 7714416"/>
              <a:gd name="connsiteY9846" fmla="*/ 4073682 h 5282095"/>
              <a:gd name="connsiteX9847" fmla="*/ 5978442 w 7714416"/>
              <a:gd name="connsiteY9847" fmla="*/ 4075349 h 5282095"/>
              <a:gd name="connsiteX9848" fmla="*/ 5955812 w 7714416"/>
              <a:gd name="connsiteY9848" fmla="*/ 4101342 h 5282095"/>
              <a:gd name="connsiteX9849" fmla="*/ 5922008 w 7714416"/>
              <a:gd name="connsiteY9849" fmla="*/ 4089678 h 5282095"/>
              <a:gd name="connsiteX9850" fmla="*/ 5960108 w 7714416"/>
              <a:gd name="connsiteY9850" fmla="*/ 4069350 h 5282095"/>
              <a:gd name="connsiteX9851" fmla="*/ 5962973 w 7714416"/>
              <a:gd name="connsiteY9851" fmla="*/ 4069461 h 5282095"/>
              <a:gd name="connsiteX9852" fmla="*/ 5960108 w 7714416"/>
              <a:gd name="connsiteY9852" fmla="*/ 4052688 h 5282095"/>
              <a:gd name="connsiteX9853" fmla="*/ 6759058 w 7714416"/>
              <a:gd name="connsiteY9853" fmla="*/ 4049133 h 5282095"/>
              <a:gd name="connsiteX9854" fmla="*/ 6773094 w 7714416"/>
              <a:gd name="connsiteY9854" fmla="*/ 4059908 h 5282095"/>
              <a:gd name="connsiteX9855" fmla="*/ 6755334 w 7714416"/>
              <a:gd name="connsiteY9855" fmla="*/ 4063129 h 5282095"/>
              <a:gd name="connsiteX9856" fmla="*/ 6759058 w 7714416"/>
              <a:gd name="connsiteY9856" fmla="*/ 4049133 h 5282095"/>
              <a:gd name="connsiteX9857" fmla="*/ 6569704 w 7714416"/>
              <a:gd name="connsiteY9857" fmla="*/ 4046466 h 5282095"/>
              <a:gd name="connsiteX9858" fmla="*/ 6601788 w 7714416"/>
              <a:gd name="connsiteY9858" fmla="*/ 4064462 h 5282095"/>
              <a:gd name="connsiteX9859" fmla="*/ 6601502 w 7714416"/>
              <a:gd name="connsiteY9859" fmla="*/ 4070016 h 5282095"/>
              <a:gd name="connsiteX9860" fmla="*/ 6601788 w 7714416"/>
              <a:gd name="connsiteY9860" fmla="*/ 4070016 h 5282095"/>
              <a:gd name="connsiteX9861" fmla="*/ 6601216 w 7714416"/>
              <a:gd name="connsiteY9861" fmla="*/ 4072349 h 5282095"/>
              <a:gd name="connsiteX9862" fmla="*/ 6601216 w 7714416"/>
              <a:gd name="connsiteY9862" fmla="*/ 4074126 h 5282095"/>
              <a:gd name="connsiteX9863" fmla="*/ 6584314 w 7714416"/>
              <a:gd name="connsiteY9863" fmla="*/ 4105785 h 5282095"/>
              <a:gd name="connsiteX9864" fmla="*/ 6564548 w 7714416"/>
              <a:gd name="connsiteY9864" fmla="*/ 4096232 h 5282095"/>
              <a:gd name="connsiteX9865" fmla="*/ 6556240 w 7714416"/>
              <a:gd name="connsiteY9865" fmla="*/ 4094788 h 5282095"/>
              <a:gd name="connsiteX9866" fmla="*/ 6555668 w 7714416"/>
              <a:gd name="connsiteY9866" fmla="*/ 4096010 h 5282095"/>
              <a:gd name="connsiteX9867" fmla="*/ 6555954 w 7714416"/>
              <a:gd name="connsiteY9867" fmla="*/ 4096120 h 5282095"/>
              <a:gd name="connsiteX9868" fmla="*/ 6547933 w 7714416"/>
              <a:gd name="connsiteY9868" fmla="*/ 4102897 h 5282095"/>
              <a:gd name="connsiteX9869" fmla="*/ 6541918 w 7714416"/>
              <a:gd name="connsiteY9869" fmla="*/ 4092122 h 5282095"/>
              <a:gd name="connsiteX9870" fmla="*/ 6541919 w 7714416"/>
              <a:gd name="connsiteY9870" fmla="*/ 4091566 h 5282095"/>
              <a:gd name="connsiteX9871" fmla="*/ 6536761 w 7714416"/>
              <a:gd name="connsiteY9871" fmla="*/ 4088678 h 5282095"/>
              <a:gd name="connsiteX9872" fmla="*/ 6532464 w 7714416"/>
              <a:gd name="connsiteY9872" fmla="*/ 4084124 h 5282095"/>
              <a:gd name="connsiteX9873" fmla="*/ 6530746 w 7714416"/>
              <a:gd name="connsiteY9873" fmla="*/ 4077792 h 5282095"/>
              <a:gd name="connsiteX9874" fmla="*/ 6526735 w 7714416"/>
              <a:gd name="connsiteY9874" fmla="*/ 4076904 h 5282095"/>
              <a:gd name="connsiteX9875" fmla="*/ 6535328 w 7714416"/>
              <a:gd name="connsiteY9875" fmla="*/ 4060352 h 5282095"/>
              <a:gd name="connsiteX9876" fmla="*/ 6536474 w 7714416"/>
              <a:gd name="connsiteY9876" fmla="*/ 4060685 h 5282095"/>
              <a:gd name="connsiteX9877" fmla="*/ 6542777 w 7714416"/>
              <a:gd name="connsiteY9877" fmla="*/ 4055020 h 5282095"/>
              <a:gd name="connsiteX9878" fmla="*/ 6569704 w 7714416"/>
              <a:gd name="connsiteY9878" fmla="*/ 4046466 h 5282095"/>
              <a:gd name="connsiteX9879" fmla="*/ 6108497 w 7714416"/>
              <a:gd name="connsiteY9879" fmla="*/ 4046356 h 5282095"/>
              <a:gd name="connsiteX9880" fmla="*/ 6117377 w 7714416"/>
              <a:gd name="connsiteY9880" fmla="*/ 4049688 h 5282095"/>
              <a:gd name="connsiteX9881" fmla="*/ 6120242 w 7714416"/>
              <a:gd name="connsiteY9881" fmla="*/ 4054576 h 5282095"/>
              <a:gd name="connsiteX9882" fmla="*/ 6119956 w 7714416"/>
              <a:gd name="connsiteY9882" fmla="*/ 4054909 h 5282095"/>
              <a:gd name="connsiteX9883" fmla="*/ 6122534 w 7714416"/>
              <a:gd name="connsiteY9883" fmla="*/ 4053576 h 5282095"/>
              <a:gd name="connsiteX9884" fmla="*/ 6125971 w 7714416"/>
              <a:gd name="connsiteY9884" fmla="*/ 4053798 h 5282095"/>
              <a:gd name="connsiteX9885" fmla="*/ 6127976 w 7714416"/>
              <a:gd name="connsiteY9885" fmla="*/ 4056020 h 5282095"/>
              <a:gd name="connsiteX9886" fmla="*/ 6128836 w 7714416"/>
              <a:gd name="connsiteY9886" fmla="*/ 4055465 h 5282095"/>
              <a:gd name="connsiteX9887" fmla="*/ 6136857 w 7714416"/>
              <a:gd name="connsiteY9887" fmla="*/ 4056242 h 5282095"/>
              <a:gd name="connsiteX9888" fmla="*/ 6131128 w 7714416"/>
              <a:gd name="connsiteY9888" fmla="*/ 4059352 h 5282095"/>
              <a:gd name="connsiteX9889" fmla="*/ 6128836 w 7714416"/>
              <a:gd name="connsiteY9889" fmla="*/ 4059464 h 5282095"/>
              <a:gd name="connsiteX9890" fmla="*/ 6129122 w 7714416"/>
              <a:gd name="connsiteY9890" fmla="*/ 4060796 h 5282095"/>
              <a:gd name="connsiteX9891" fmla="*/ 6126258 w 7714416"/>
              <a:gd name="connsiteY9891" fmla="*/ 4063240 h 5282095"/>
              <a:gd name="connsiteX9892" fmla="*/ 6122820 w 7714416"/>
              <a:gd name="connsiteY9892" fmla="*/ 4062240 h 5282095"/>
              <a:gd name="connsiteX9893" fmla="*/ 6119382 w 7714416"/>
              <a:gd name="connsiteY9893" fmla="*/ 4062351 h 5282095"/>
              <a:gd name="connsiteX9894" fmla="*/ 6119096 w 7714416"/>
              <a:gd name="connsiteY9894" fmla="*/ 4061130 h 5282095"/>
              <a:gd name="connsiteX9895" fmla="*/ 6119382 w 7714416"/>
              <a:gd name="connsiteY9895" fmla="*/ 4061019 h 5282095"/>
              <a:gd name="connsiteX9896" fmla="*/ 6118236 w 7714416"/>
              <a:gd name="connsiteY9896" fmla="*/ 4060463 h 5282095"/>
              <a:gd name="connsiteX9897" fmla="*/ 6117091 w 7714416"/>
              <a:gd name="connsiteY9897" fmla="*/ 4063574 h 5282095"/>
              <a:gd name="connsiteX9898" fmla="*/ 6110502 w 7714416"/>
              <a:gd name="connsiteY9898" fmla="*/ 4065573 h 5282095"/>
              <a:gd name="connsiteX9899" fmla="*/ 6108210 w 7714416"/>
              <a:gd name="connsiteY9899" fmla="*/ 4065462 h 5282095"/>
              <a:gd name="connsiteX9900" fmla="*/ 6106778 w 7714416"/>
              <a:gd name="connsiteY9900" fmla="*/ 4067461 h 5282095"/>
              <a:gd name="connsiteX9901" fmla="*/ 6101049 w 7714416"/>
              <a:gd name="connsiteY9901" fmla="*/ 4067684 h 5282095"/>
              <a:gd name="connsiteX9902" fmla="*/ 6100476 w 7714416"/>
              <a:gd name="connsiteY9902" fmla="*/ 4066684 h 5282095"/>
              <a:gd name="connsiteX9903" fmla="*/ 6102481 w 7714416"/>
              <a:gd name="connsiteY9903" fmla="*/ 4064906 h 5282095"/>
              <a:gd name="connsiteX9904" fmla="*/ 6102194 w 7714416"/>
              <a:gd name="connsiteY9904" fmla="*/ 4064795 h 5282095"/>
              <a:gd name="connsiteX9905" fmla="*/ 6091310 w 7714416"/>
              <a:gd name="connsiteY9905" fmla="*/ 4058242 h 5282095"/>
              <a:gd name="connsiteX9906" fmla="*/ 6097038 w 7714416"/>
              <a:gd name="connsiteY9906" fmla="*/ 4048800 h 5282095"/>
              <a:gd name="connsiteX9907" fmla="*/ 6108497 w 7714416"/>
              <a:gd name="connsiteY9907" fmla="*/ 4046356 h 5282095"/>
              <a:gd name="connsiteX9908" fmla="*/ 7128024 w 7714416"/>
              <a:gd name="connsiteY9908" fmla="*/ 4045912 h 5282095"/>
              <a:gd name="connsiteX9909" fmla="*/ 7133753 w 7714416"/>
              <a:gd name="connsiteY9909" fmla="*/ 4048133 h 5282095"/>
              <a:gd name="connsiteX9910" fmla="*/ 7110549 w 7714416"/>
              <a:gd name="connsiteY9910" fmla="*/ 4058686 h 5282095"/>
              <a:gd name="connsiteX9911" fmla="*/ 7106538 w 7714416"/>
              <a:gd name="connsiteY9911" fmla="*/ 4052021 h 5282095"/>
              <a:gd name="connsiteX9912" fmla="*/ 7128024 w 7714416"/>
              <a:gd name="connsiteY9912" fmla="*/ 4045912 h 5282095"/>
              <a:gd name="connsiteX9913" fmla="*/ 6925493 w 7714416"/>
              <a:gd name="connsiteY9913" fmla="*/ 4045911 h 5282095"/>
              <a:gd name="connsiteX9914" fmla="*/ 6940390 w 7714416"/>
              <a:gd name="connsiteY9914" fmla="*/ 4049022 h 5282095"/>
              <a:gd name="connsiteX9915" fmla="*/ 6941535 w 7714416"/>
              <a:gd name="connsiteY9915" fmla="*/ 4051576 h 5282095"/>
              <a:gd name="connsiteX9916" fmla="*/ 6937238 w 7714416"/>
              <a:gd name="connsiteY9916" fmla="*/ 4053132 h 5282095"/>
              <a:gd name="connsiteX9917" fmla="*/ 6925493 w 7714416"/>
              <a:gd name="connsiteY9917" fmla="*/ 4045911 h 5282095"/>
              <a:gd name="connsiteX9918" fmla="*/ 6475744 w 7714416"/>
              <a:gd name="connsiteY9918" fmla="*/ 4045245 h 5282095"/>
              <a:gd name="connsiteX9919" fmla="*/ 6477750 w 7714416"/>
              <a:gd name="connsiteY9919" fmla="*/ 4050022 h 5282095"/>
              <a:gd name="connsiteX9920" fmla="*/ 6476030 w 7714416"/>
              <a:gd name="connsiteY9920" fmla="*/ 4053354 h 5282095"/>
              <a:gd name="connsiteX9921" fmla="*/ 6487776 w 7714416"/>
              <a:gd name="connsiteY9921" fmla="*/ 4054909 h 5282095"/>
              <a:gd name="connsiteX9922" fmla="*/ 6497229 w 7714416"/>
              <a:gd name="connsiteY9922" fmla="*/ 4057464 h 5282095"/>
              <a:gd name="connsiteX9923" fmla="*/ 6497516 w 7714416"/>
              <a:gd name="connsiteY9923" fmla="*/ 4062796 h 5282095"/>
              <a:gd name="connsiteX9924" fmla="*/ 6473166 w 7714416"/>
              <a:gd name="connsiteY9924" fmla="*/ 4053021 h 5282095"/>
              <a:gd name="connsiteX9925" fmla="*/ 6473452 w 7714416"/>
              <a:gd name="connsiteY9925" fmla="*/ 4053020 h 5282095"/>
              <a:gd name="connsiteX9926" fmla="*/ 6471448 w 7714416"/>
              <a:gd name="connsiteY9926" fmla="*/ 4049799 h 5282095"/>
              <a:gd name="connsiteX9927" fmla="*/ 6475744 w 7714416"/>
              <a:gd name="connsiteY9927" fmla="*/ 4045245 h 5282095"/>
              <a:gd name="connsiteX9928" fmla="*/ 6362877 w 7714416"/>
              <a:gd name="connsiteY9928" fmla="*/ 4044134 h 5282095"/>
              <a:gd name="connsiteX9929" fmla="*/ 6367174 w 7714416"/>
              <a:gd name="connsiteY9929" fmla="*/ 4044467 h 5282095"/>
              <a:gd name="connsiteX9930" fmla="*/ 6356575 w 7714416"/>
              <a:gd name="connsiteY9930" fmla="*/ 4049799 h 5282095"/>
              <a:gd name="connsiteX9931" fmla="*/ 6353710 w 7714416"/>
              <a:gd name="connsiteY9931" fmla="*/ 4049133 h 5282095"/>
              <a:gd name="connsiteX9932" fmla="*/ 6362877 w 7714416"/>
              <a:gd name="connsiteY9932" fmla="*/ 4044134 h 5282095"/>
              <a:gd name="connsiteX9933" fmla="*/ 5918858 w 7714416"/>
              <a:gd name="connsiteY9933" fmla="*/ 4043579 h 5282095"/>
              <a:gd name="connsiteX9934" fmla="*/ 5908544 w 7714416"/>
              <a:gd name="connsiteY9934" fmla="*/ 4058241 h 5282095"/>
              <a:gd name="connsiteX9935" fmla="*/ 5901382 w 7714416"/>
              <a:gd name="connsiteY9935" fmla="*/ 4055465 h 5282095"/>
              <a:gd name="connsiteX9936" fmla="*/ 5900524 w 7714416"/>
              <a:gd name="connsiteY9936" fmla="*/ 4045356 h 5282095"/>
              <a:gd name="connsiteX9937" fmla="*/ 5918858 w 7714416"/>
              <a:gd name="connsiteY9937" fmla="*/ 4043579 h 5282095"/>
              <a:gd name="connsiteX9938" fmla="*/ 6524156 w 7714416"/>
              <a:gd name="connsiteY9938" fmla="*/ 4041912 h 5282095"/>
              <a:gd name="connsiteX9939" fmla="*/ 6523870 w 7714416"/>
              <a:gd name="connsiteY9939" fmla="*/ 4052465 h 5282095"/>
              <a:gd name="connsiteX9940" fmla="*/ 6508114 w 7714416"/>
              <a:gd name="connsiteY9940" fmla="*/ 4058241 h 5282095"/>
              <a:gd name="connsiteX9941" fmla="*/ 6503531 w 7714416"/>
              <a:gd name="connsiteY9941" fmla="*/ 4047355 h 5282095"/>
              <a:gd name="connsiteX9942" fmla="*/ 6505250 w 7714416"/>
              <a:gd name="connsiteY9942" fmla="*/ 4046245 h 5282095"/>
              <a:gd name="connsiteX9943" fmla="*/ 6524156 w 7714416"/>
              <a:gd name="connsiteY9943" fmla="*/ 4041912 h 5282095"/>
              <a:gd name="connsiteX9944" fmla="*/ 6150320 w 7714416"/>
              <a:gd name="connsiteY9944" fmla="*/ 4041802 h 5282095"/>
              <a:gd name="connsiteX9945" fmla="*/ 6167508 w 7714416"/>
              <a:gd name="connsiteY9945" fmla="*/ 4048689 h 5282095"/>
              <a:gd name="connsiteX9946" fmla="*/ 6146024 w 7714416"/>
              <a:gd name="connsiteY9946" fmla="*/ 4061352 h 5282095"/>
              <a:gd name="connsiteX9947" fmla="*/ 6142300 w 7714416"/>
              <a:gd name="connsiteY9947" fmla="*/ 4042023 h 5282095"/>
              <a:gd name="connsiteX9948" fmla="*/ 6150320 w 7714416"/>
              <a:gd name="connsiteY9948" fmla="*/ 4041802 h 5282095"/>
              <a:gd name="connsiteX9949" fmla="*/ 7013724 w 7714416"/>
              <a:gd name="connsiteY9949" fmla="*/ 4036580 h 5282095"/>
              <a:gd name="connsiteX9950" fmla="*/ 7024324 w 7714416"/>
              <a:gd name="connsiteY9950" fmla="*/ 4040246 h 5282095"/>
              <a:gd name="connsiteX9951" fmla="*/ 7029480 w 7714416"/>
              <a:gd name="connsiteY9951" fmla="*/ 4039358 h 5282095"/>
              <a:gd name="connsiteX9952" fmla="*/ 7036928 w 7714416"/>
              <a:gd name="connsiteY9952" fmla="*/ 4044245 h 5282095"/>
              <a:gd name="connsiteX9953" fmla="*/ 7029766 w 7714416"/>
              <a:gd name="connsiteY9953" fmla="*/ 4047355 h 5282095"/>
              <a:gd name="connsiteX9954" fmla="*/ 7020312 w 7714416"/>
              <a:gd name="connsiteY9954" fmla="*/ 4040469 h 5282095"/>
              <a:gd name="connsiteX9955" fmla="*/ 7013724 w 7714416"/>
              <a:gd name="connsiteY9955" fmla="*/ 4036580 h 5282095"/>
              <a:gd name="connsiteX9956" fmla="*/ 5864716 w 7714416"/>
              <a:gd name="connsiteY9956" fmla="*/ 4036358 h 5282095"/>
              <a:gd name="connsiteX9957" fmla="*/ 5867580 w 7714416"/>
              <a:gd name="connsiteY9957" fmla="*/ 4039247 h 5282095"/>
              <a:gd name="connsiteX9958" fmla="*/ 5867867 w 7714416"/>
              <a:gd name="connsiteY9958" fmla="*/ 4040024 h 5282095"/>
              <a:gd name="connsiteX9959" fmla="*/ 5870732 w 7714416"/>
              <a:gd name="connsiteY9959" fmla="*/ 4039024 h 5282095"/>
              <a:gd name="connsiteX9960" fmla="*/ 5872736 w 7714416"/>
              <a:gd name="connsiteY9960" fmla="*/ 4041357 h 5282095"/>
              <a:gd name="connsiteX9961" fmla="*/ 5869299 w 7714416"/>
              <a:gd name="connsiteY9961" fmla="*/ 4043245 h 5282095"/>
              <a:gd name="connsiteX9962" fmla="*/ 5869586 w 7714416"/>
              <a:gd name="connsiteY9962" fmla="*/ 4044245 h 5282095"/>
              <a:gd name="connsiteX9963" fmla="*/ 5869299 w 7714416"/>
              <a:gd name="connsiteY9963" fmla="*/ 4048022 h 5282095"/>
              <a:gd name="connsiteX9964" fmla="*/ 5869872 w 7714416"/>
              <a:gd name="connsiteY9964" fmla="*/ 4048355 h 5282095"/>
              <a:gd name="connsiteX9965" fmla="*/ 5870445 w 7714416"/>
              <a:gd name="connsiteY9965" fmla="*/ 4060019 h 5282095"/>
              <a:gd name="connsiteX9966" fmla="*/ 5851825 w 7714416"/>
              <a:gd name="connsiteY9966" fmla="*/ 4062907 h 5282095"/>
              <a:gd name="connsiteX9967" fmla="*/ 5843232 w 7714416"/>
              <a:gd name="connsiteY9967" fmla="*/ 4059130 h 5282095"/>
              <a:gd name="connsiteX9968" fmla="*/ 5842085 w 7714416"/>
              <a:gd name="connsiteY9968" fmla="*/ 4056020 h 5282095"/>
              <a:gd name="connsiteX9969" fmla="*/ 5832345 w 7714416"/>
              <a:gd name="connsiteY9969" fmla="*/ 4053465 h 5282095"/>
              <a:gd name="connsiteX9970" fmla="*/ 5827476 w 7714416"/>
              <a:gd name="connsiteY9970" fmla="*/ 4046466 h 5282095"/>
              <a:gd name="connsiteX9971" fmla="*/ 5832345 w 7714416"/>
              <a:gd name="connsiteY9971" fmla="*/ 4045245 h 5282095"/>
              <a:gd name="connsiteX9972" fmla="*/ 5842085 w 7714416"/>
              <a:gd name="connsiteY9972" fmla="*/ 4048021 h 5282095"/>
              <a:gd name="connsiteX9973" fmla="*/ 5844091 w 7714416"/>
              <a:gd name="connsiteY9973" fmla="*/ 4045245 h 5282095"/>
              <a:gd name="connsiteX9974" fmla="*/ 5850106 w 7714416"/>
              <a:gd name="connsiteY9974" fmla="*/ 4042245 h 5282095"/>
              <a:gd name="connsiteX9975" fmla="*/ 5852684 w 7714416"/>
              <a:gd name="connsiteY9975" fmla="*/ 4042246 h 5282095"/>
              <a:gd name="connsiteX9976" fmla="*/ 5852111 w 7714416"/>
              <a:gd name="connsiteY9976" fmla="*/ 4040801 h 5282095"/>
              <a:gd name="connsiteX9977" fmla="*/ 5857268 w 7714416"/>
              <a:gd name="connsiteY9977" fmla="*/ 4039135 h 5282095"/>
              <a:gd name="connsiteX9978" fmla="*/ 5859273 w 7714416"/>
              <a:gd name="connsiteY9978" fmla="*/ 4036914 h 5282095"/>
              <a:gd name="connsiteX9979" fmla="*/ 5864716 w 7714416"/>
              <a:gd name="connsiteY9979" fmla="*/ 4036358 h 5282095"/>
              <a:gd name="connsiteX9980" fmla="*/ 6392383 w 7714416"/>
              <a:gd name="connsiteY9980" fmla="*/ 4035358 h 5282095"/>
              <a:gd name="connsiteX9981" fmla="*/ 6392670 w 7714416"/>
              <a:gd name="connsiteY9981" fmla="*/ 4037136 h 5282095"/>
              <a:gd name="connsiteX9982" fmla="*/ 6390378 w 7714416"/>
              <a:gd name="connsiteY9982" fmla="*/ 4038803 h 5282095"/>
              <a:gd name="connsiteX9983" fmla="*/ 6384935 w 7714416"/>
              <a:gd name="connsiteY9983" fmla="*/ 4041801 h 5282095"/>
              <a:gd name="connsiteX9984" fmla="*/ 6392383 w 7714416"/>
              <a:gd name="connsiteY9984" fmla="*/ 4035358 h 5282095"/>
              <a:gd name="connsiteX9985" fmla="*/ 5889638 w 7714416"/>
              <a:gd name="connsiteY9985" fmla="*/ 4034581 h 5282095"/>
              <a:gd name="connsiteX9986" fmla="*/ 5909118 w 7714416"/>
              <a:gd name="connsiteY9986" fmla="*/ 4041135 h 5282095"/>
              <a:gd name="connsiteX9987" fmla="*/ 5884768 w 7714416"/>
              <a:gd name="connsiteY9987" fmla="*/ 4035135 h 5282095"/>
              <a:gd name="connsiteX9988" fmla="*/ 5889638 w 7714416"/>
              <a:gd name="connsiteY9988" fmla="*/ 4034581 h 5282095"/>
              <a:gd name="connsiteX9989" fmla="*/ 5953519 w 7714416"/>
              <a:gd name="connsiteY9989" fmla="*/ 4030693 h 5282095"/>
              <a:gd name="connsiteX9990" fmla="*/ 5961540 w 7714416"/>
              <a:gd name="connsiteY9990" fmla="*/ 4035135 h 5282095"/>
              <a:gd name="connsiteX9991" fmla="*/ 5962400 w 7714416"/>
              <a:gd name="connsiteY9991" fmla="*/ 4041134 h 5282095"/>
              <a:gd name="connsiteX9992" fmla="*/ 5956670 w 7714416"/>
              <a:gd name="connsiteY9992" fmla="*/ 4043911 h 5282095"/>
              <a:gd name="connsiteX9993" fmla="*/ 5957816 w 7714416"/>
              <a:gd name="connsiteY9993" fmla="*/ 4044912 h 5282095"/>
              <a:gd name="connsiteX9994" fmla="*/ 5948364 w 7714416"/>
              <a:gd name="connsiteY9994" fmla="*/ 4047689 h 5282095"/>
              <a:gd name="connsiteX9995" fmla="*/ 5948077 w 7714416"/>
              <a:gd name="connsiteY9995" fmla="*/ 4047577 h 5282095"/>
              <a:gd name="connsiteX9996" fmla="*/ 5943780 w 7714416"/>
              <a:gd name="connsiteY9996" fmla="*/ 4049355 h 5282095"/>
              <a:gd name="connsiteX9997" fmla="*/ 5922868 w 7714416"/>
              <a:gd name="connsiteY9997" fmla="*/ 4046689 h 5282095"/>
              <a:gd name="connsiteX9998" fmla="*/ 5953519 w 7714416"/>
              <a:gd name="connsiteY9998" fmla="*/ 4030693 h 5282095"/>
              <a:gd name="connsiteX9999" fmla="*/ 6591190 w 7714416"/>
              <a:gd name="connsiteY9999" fmla="*/ 4029694 h 5282095"/>
              <a:gd name="connsiteX10000" fmla="*/ 6606945 w 7714416"/>
              <a:gd name="connsiteY10000" fmla="*/ 4029915 h 5282095"/>
              <a:gd name="connsiteX10001" fmla="*/ 6611814 w 7714416"/>
              <a:gd name="connsiteY10001" fmla="*/ 4041135 h 5282095"/>
              <a:gd name="connsiteX10002" fmla="*/ 6563976 w 7714416"/>
              <a:gd name="connsiteY10002" fmla="*/ 4043690 h 5282095"/>
              <a:gd name="connsiteX10003" fmla="*/ 6558246 w 7714416"/>
              <a:gd name="connsiteY10003" fmla="*/ 4041246 h 5282095"/>
              <a:gd name="connsiteX10004" fmla="*/ 6555381 w 7714416"/>
              <a:gd name="connsiteY10004" fmla="*/ 4043356 h 5282095"/>
              <a:gd name="connsiteX10005" fmla="*/ 6551657 w 7714416"/>
              <a:gd name="connsiteY10005" fmla="*/ 4047355 h 5282095"/>
              <a:gd name="connsiteX10006" fmla="*/ 6546501 w 7714416"/>
              <a:gd name="connsiteY10006" fmla="*/ 4047911 h 5282095"/>
              <a:gd name="connsiteX10007" fmla="*/ 6549652 w 7714416"/>
              <a:gd name="connsiteY10007" fmla="*/ 4037580 h 5282095"/>
              <a:gd name="connsiteX10008" fmla="*/ 6560251 w 7714416"/>
              <a:gd name="connsiteY10008" fmla="*/ 4032692 h 5282095"/>
              <a:gd name="connsiteX10009" fmla="*/ 6562256 w 7714416"/>
              <a:gd name="connsiteY10009" fmla="*/ 4034692 h 5282095"/>
              <a:gd name="connsiteX10010" fmla="*/ 6562256 w 7714416"/>
              <a:gd name="connsiteY10010" fmla="*/ 4038025 h 5282095"/>
              <a:gd name="connsiteX10011" fmla="*/ 6558532 w 7714416"/>
              <a:gd name="connsiteY10011" fmla="*/ 4041024 h 5282095"/>
              <a:gd name="connsiteX10012" fmla="*/ 6578585 w 7714416"/>
              <a:gd name="connsiteY10012" fmla="*/ 4032248 h 5282095"/>
              <a:gd name="connsiteX10013" fmla="*/ 6591190 w 7714416"/>
              <a:gd name="connsiteY10013" fmla="*/ 4029694 h 5282095"/>
              <a:gd name="connsiteX10014" fmla="*/ 6749319 w 7714416"/>
              <a:gd name="connsiteY10014" fmla="*/ 4029693 h 5282095"/>
              <a:gd name="connsiteX10015" fmla="*/ 6752755 w 7714416"/>
              <a:gd name="connsiteY10015" fmla="*/ 4031360 h 5282095"/>
              <a:gd name="connsiteX10016" fmla="*/ 6751610 w 7714416"/>
              <a:gd name="connsiteY10016" fmla="*/ 4035025 h 5282095"/>
              <a:gd name="connsiteX10017" fmla="*/ 6743302 w 7714416"/>
              <a:gd name="connsiteY10017" fmla="*/ 4040024 h 5282095"/>
              <a:gd name="connsiteX10018" fmla="*/ 6732416 w 7714416"/>
              <a:gd name="connsiteY10018" fmla="*/ 4042024 h 5282095"/>
              <a:gd name="connsiteX10019" fmla="*/ 6734994 w 7714416"/>
              <a:gd name="connsiteY10019" fmla="*/ 4034359 h 5282095"/>
              <a:gd name="connsiteX10020" fmla="*/ 6749319 w 7714416"/>
              <a:gd name="connsiteY10020" fmla="*/ 4029693 h 5282095"/>
              <a:gd name="connsiteX10021" fmla="*/ 6060371 w 7714416"/>
              <a:gd name="connsiteY10021" fmla="*/ 4028249 h 5282095"/>
              <a:gd name="connsiteX10022" fmla="*/ 6071543 w 7714416"/>
              <a:gd name="connsiteY10022" fmla="*/ 4031137 h 5282095"/>
              <a:gd name="connsiteX10023" fmla="*/ 6070684 w 7714416"/>
              <a:gd name="connsiteY10023" fmla="*/ 4039801 h 5282095"/>
              <a:gd name="connsiteX10024" fmla="*/ 6066960 w 7714416"/>
              <a:gd name="connsiteY10024" fmla="*/ 4039580 h 5282095"/>
              <a:gd name="connsiteX10025" fmla="*/ 6066960 w 7714416"/>
              <a:gd name="connsiteY10025" fmla="*/ 4039913 h 5282095"/>
              <a:gd name="connsiteX10026" fmla="*/ 6064955 w 7714416"/>
              <a:gd name="connsiteY10026" fmla="*/ 4044467 h 5282095"/>
              <a:gd name="connsiteX10027" fmla="*/ 6058366 w 7714416"/>
              <a:gd name="connsiteY10027" fmla="*/ 4038912 h 5282095"/>
              <a:gd name="connsiteX10028" fmla="*/ 6058366 w 7714416"/>
              <a:gd name="connsiteY10028" fmla="*/ 4038025 h 5282095"/>
              <a:gd name="connsiteX10029" fmla="*/ 6051490 w 7714416"/>
              <a:gd name="connsiteY10029" fmla="*/ 4033915 h 5282095"/>
              <a:gd name="connsiteX10030" fmla="*/ 6060371 w 7714416"/>
              <a:gd name="connsiteY10030" fmla="*/ 4028249 h 5282095"/>
              <a:gd name="connsiteX10031" fmla="*/ 7289016 w 7714416"/>
              <a:gd name="connsiteY10031" fmla="*/ 4027471 h 5282095"/>
              <a:gd name="connsiteX10032" fmla="*/ 7299042 w 7714416"/>
              <a:gd name="connsiteY10032" fmla="*/ 4029804 h 5282095"/>
              <a:gd name="connsiteX10033" fmla="*/ 7301622 w 7714416"/>
              <a:gd name="connsiteY10033" fmla="*/ 4033581 h 5282095"/>
              <a:gd name="connsiteX10034" fmla="*/ 7298470 w 7714416"/>
              <a:gd name="connsiteY10034" fmla="*/ 4036802 h 5282095"/>
              <a:gd name="connsiteX10035" fmla="*/ 7291308 w 7714416"/>
              <a:gd name="connsiteY10035" fmla="*/ 4037247 h 5282095"/>
              <a:gd name="connsiteX10036" fmla="*/ 7289016 w 7714416"/>
              <a:gd name="connsiteY10036" fmla="*/ 4027471 h 5282095"/>
              <a:gd name="connsiteX10037" fmla="*/ 5890499 w 7714416"/>
              <a:gd name="connsiteY10037" fmla="*/ 4026805 h 5282095"/>
              <a:gd name="connsiteX10038" fmla="*/ 5905394 w 7714416"/>
              <a:gd name="connsiteY10038" fmla="*/ 4031137 h 5282095"/>
              <a:gd name="connsiteX10039" fmla="*/ 5901383 w 7714416"/>
              <a:gd name="connsiteY10039" fmla="*/ 4035581 h 5282095"/>
              <a:gd name="connsiteX10040" fmla="*/ 5875888 w 7714416"/>
              <a:gd name="connsiteY10040" fmla="*/ 4032249 h 5282095"/>
              <a:gd name="connsiteX10041" fmla="*/ 5890499 w 7714416"/>
              <a:gd name="connsiteY10041" fmla="*/ 4026805 h 5282095"/>
              <a:gd name="connsiteX10042" fmla="*/ 6141440 w 7714416"/>
              <a:gd name="connsiteY10042" fmla="*/ 4026472 h 5282095"/>
              <a:gd name="connsiteX10043" fmla="*/ 6158055 w 7714416"/>
              <a:gd name="connsiteY10043" fmla="*/ 4029026 h 5282095"/>
              <a:gd name="connsiteX10044" fmla="*/ 6161492 w 7714416"/>
              <a:gd name="connsiteY10044" fmla="*/ 4030137 h 5282095"/>
              <a:gd name="connsiteX10045" fmla="*/ 6165217 w 7714416"/>
              <a:gd name="connsiteY10045" fmla="*/ 4031138 h 5282095"/>
              <a:gd name="connsiteX10046" fmla="*/ 6167796 w 7714416"/>
              <a:gd name="connsiteY10046" fmla="*/ 4035914 h 5282095"/>
              <a:gd name="connsiteX10047" fmla="*/ 6135998 w 7714416"/>
              <a:gd name="connsiteY10047" fmla="*/ 4029915 h 5282095"/>
              <a:gd name="connsiteX10048" fmla="*/ 6137144 w 7714416"/>
              <a:gd name="connsiteY10048" fmla="*/ 4027471 h 5282095"/>
              <a:gd name="connsiteX10049" fmla="*/ 6141440 w 7714416"/>
              <a:gd name="connsiteY10049" fmla="*/ 4026472 h 5282095"/>
              <a:gd name="connsiteX10050" fmla="*/ 6237978 w 7714416"/>
              <a:gd name="connsiteY10050" fmla="*/ 4024250 h 5282095"/>
              <a:gd name="connsiteX10051" fmla="*/ 6235114 w 7714416"/>
              <a:gd name="connsiteY10051" fmla="*/ 4040024 h 5282095"/>
              <a:gd name="connsiteX10052" fmla="*/ 6234541 w 7714416"/>
              <a:gd name="connsiteY10052" fmla="*/ 4040024 h 5282095"/>
              <a:gd name="connsiteX10053" fmla="*/ 6235114 w 7714416"/>
              <a:gd name="connsiteY10053" fmla="*/ 4041024 h 5282095"/>
              <a:gd name="connsiteX10054" fmla="*/ 6238838 w 7714416"/>
              <a:gd name="connsiteY10054" fmla="*/ 4045578 h 5282095"/>
              <a:gd name="connsiteX10055" fmla="*/ 6236833 w 7714416"/>
              <a:gd name="connsiteY10055" fmla="*/ 4047689 h 5282095"/>
              <a:gd name="connsiteX10056" fmla="*/ 6254594 w 7714416"/>
              <a:gd name="connsiteY10056" fmla="*/ 4033136 h 5282095"/>
              <a:gd name="connsiteX10057" fmla="*/ 6268917 w 7714416"/>
              <a:gd name="connsiteY10057" fmla="*/ 4033136 h 5282095"/>
              <a:gd name="connsiteX10058" fmla="*/ 6269204 w 7714416"/>
              <a:gd name="connsiteY10058" fmla="*/ 4032915 h 5282095"/>
              <a:gd name="connsiteX10059" fmla="*/ 6268630 w 7714416"/>
              <a:gd name="connsiteY10059" fmla="*/ 4031693 h 5282095"/>
              <a:gd name="connsiteX10060" fmla="*/ 6266912 w 7714416"/>
              <a:gd name="connsiteY10060" fmla="*/ 4031470 h 5282095"/>
              <a:gd name="connsiteX10061" fmla="*/ 6268630 w 7714416"/>
              <a:gd name="connsiteY10061" fmla="*/ 4029360 h 5282095"/>
              <a:gd name="connsiteX10062" fmla="*/ 6280662 w 7714416"/>
              <a:gd name="connsiteY10062" fmla="*/ 4026694 h 5282095"/>
              <a:gd name="connsiteX10063" fmla="*/ 6282667 w 7714416"/>
              <a:gd name="connsiteY10063" fmla="*/ 4030249 h 5282095"/>
              <a:gd name="connsiteX10064" fmla="*/ 6281235 w 7714416"/>
              <a:gd name="connsiteY10064" fmla="*/ 4031915 h 5282095"/>
              <a:gd name="connsiteX10065" fmla="*/ 6291548 w 7714416"/>
              <a:gd name="connsiteY10065" fmla="*/ 4030582 h 5282095"/>
              <a:gd name="connsiteX10066" fmla="*/ 6326210 w 7714416"/>
              <a:gd name="connsiteY10066" fmla="*/ 4034359 h 5282095"/>
              <a:gd name="connsiteX10067" fmla="*/ 6348554 w 7714416"/>
              <a:gd name="connsiteY10067" fmla="*/ 4058130 h 5282095"/>
              <a:gd name="connsiteX10068" fmla="*/ 6347694 w 7714416"/>
              <a:gd name="connsiteY10068" fmla="*/ 4067350 h 5282095"/>
              <a:gd name="connsiteX10069" fmla="*/ 6353997 w 7714416"/>
              <a:gd name="connsiteY10069" fmla="*/ 4065017 h 5282095"/>
              <a:gd name="connsiteX10070" fmla="*/ 6359440 w 7714416"/>
              <a:gd name="connsiteY10070" fmla="*/ 4073126 h 5282095"/>
              <a:gd name="connsiteX10071" fmla="*/ 6354284 w 7714416"/>
              <a:gd name="connsiteY10071" fmla="*/ 4074460 h 5282095"/>
              <a:gd name="connsiteX10072" fmla="*/ 6347122 w 7714416"/>
              <a:gd name="connsiteY10072" fmla="*/ 4073571 h 5282095"/>
              <a:gd name="connsiteX10073" fmla="*/ 6346835 w 7714416"/>
              <a:gd name="connsiteY10073" fmla="*/ 4074460 h 5282095"/>
              <a:gd name="connsiteX10074" fmla="*/ 6343684 w 7714416"/>
              <a:gd name="connsiteY10074" fmla="*/ 4083013 h 5282095"/>
              <a:gd name="connsiteX10075" fmla="*/ 6348554 w 7714416"/>
              <a:gd name="connsiteY10075" fmla="*/ 4087900 h 5282095"/>
              <a:gd name="connsiteX10076" fmla="*/ 6341679 w 7714416"/>
              <a:gd name="connsiteY10076" fmla="*/ 4088901 h 5282095"/>
              <a:gd name="connsiteX10077" fmla="*/ 6340533 w 7714416"/>
              <a:gd name="connsiteY10077" fmla="*/ 4091567 h 5282095"/>
              <a:gd name="connsiteX10078" fmla="*/ 6335090 w 7714416"/>
              <a:gd name="connsiteY10078" fmla="*/ 4098787 h 5282095"/>
              <a:gd name="connsiteX10079" fmla="*/ 6335950 w 7714416"/>
              <a:gd name="connsiteY10079" fmla="*/ 4099232 h 5282095"/>
              <a:gd name="connsiteX10080" fmla="*/ 6336236 w 7714416"/>
              <a:gd name="connsiteY10080" fmla="*/ 4102785 h 5282095"/>
              <a:gd name="connsiteX10081" fmla="*/ 6329361 w 7714416"/>
              <a:gd name="connsiteY10081" fmla="*/ 4106118 h 5282095"/>
              <a:gd name="connsiteX10082" fmla="*/ 6328503 w 7714416"/>
              <a:gd name="connsiteY10082" fmla="*/ 4107118 h 5282095"/>
              <a:gd name="connsiteX10083" fmla="*/ 6309595 w 7714416"/>
              <a:gd name="connsiteY10083" fmla="*/ 4119115 h 5282095"/>
              <a:gd name="connsiteX10084" fmla="*/ 6292120 w 7714416"/>
              <a:gd name="connsiteY10084" fmla="*/ 4123892 h 5282095"/>
              <a:gd name="connsiteX10085" fmla="*/ 6285818 w 7714416"/>
              <a:gd name="connsiteY10085" fmla="*/ 4124003 h 5282095"/>
              <a:gd name="connsiteX10086" fmla="*/ 6281808 w 7714416"/>
              <a:gd name="connsiteY10086" fmla="*/ 4125447 h 5282095"/>
              <a:gd name="connsiteX10087" fmla="*/ 6260036 w 7714416"/>
              <a:gd name="connsiteY10087" fmla="*/ 4130890 h 5282095"/>
              <a:gd name="connsiteX10088" fmla="*/ 6273214 w 7714416"/>
              <a:gd name="connsiteY10088" fmla="*/ 4126335 h 5282095"/>
              <a:gd name="connsiteX10089" fmla="*/ 6285246 w 7714416"/>
              <a:gd name="connsiteY10089" fmla="*/ 4124003 h 5282095"/>
              <a:gd name="connsiteX10090" fmla="*/ 6275792 w 7714416"/>
              <a:gd name="connsiteY10090" fmla="*/ 4124003 h 5282095"/>
              <a:gd name="connsiteX10091" fmla="*/ 6240844 w 7714416"/>
              <a:gd name="connsiteY10091" fmla="*/ 4121558 h 5282095"/>
              <a:gd name="connsiteX10092" fmla="*/ 6215062 w 7714416"/>
              <a:gd name="connsiteY10092" fmla="*/ 4102119 h 5282095"/>
              <a:gd name="connsiteX10093" fmla="*/ 6216780 w 7714416"/>
              <a:gd name="connsiteY10093" fmla="*/ 4093677 h 5282095"/>
              <a:gd name="connsiteX10094" fmla="*/ 6215921 w 7714416"/>
              <a:gd name="connsiteY10094" fmla="*/ 4084902 h 5282095"/>
              <a:gd name="connsiteX10095" fmla="*/ 6208186 w 7714416"/>
              <a:gd name="connsiteY10095" fmla="*/ 4081125 h 5282095"/>
              <a:gd name="connsiteX10096" fmla="*/ 6206754 w 7714416"/>
              <a:gd name="connsiteY10096" fmla="*/ 4070128 h 5282095"/>
              <a:gd name="connsiteX10097" fmla="*/ 6213630 w 7714416"/>
              <a:gd name="connsiteY10097" fmla="*/ 4067795 h 5282095"/>
              <a:gd name="connsiteX10098" fmla="*/ 6213630 w 7714416"/>
              <a:gd name="connsiteY10098" fmla="*/ 4066351 h 5282095"/>
              <a:gd name="connsiteX10099" fmla="*/ 6234254 w 7714416"/>
              <a:gd name="connsiteY10099" fmla="*/ 4049799 h 5282095"/>
              <a:gd name="connsiteX10100" fmla="*/ 6235974 w 7714416"/>
              <a:gd name="connsiteY10100" fmla="*/ 4048133 h 5282095"/>
              <a:gd name="connsiteX10101" fmla="*/ 6231104 w 7714416"/>
              <a:gd name="connsiteY10101" fmla="*/ 4047689 h 5282095"/>
              <a:gd name="connsiteX10102" fmla="*/ 6224515 w 7714416"/>
              <a:gd name="connsiteY10102" fmla="*/ 4042801 h 5282095"/>
              <a:gd name="connsiteX10103" fmla="*/ 6217354 w 7714416"/>
              <a:gd name="connsiteY10103" fmla="*/ 4044690 h 5282095"/>
              <a:gd name="connsiteX10104" fmla="*/ 6199306 w 7714416"/>
              <a:gd name="connsiteY10104" fmla="*/ 4042801 h 5282095"/>
              <a:gd name="connsiteX10105" fmla="*/ 6193290 w 7714416"/>
              <a:gd name="connsiteY10105" fmla="*/ 4037580 h 5282095"/>
              <a:gd name="connsiteX10106" fmla="*/ 6192144 w 7714416"/>
              <a:gd name="connsiteY10106" fmla="*/ 4037579 h 5282095"/>
              <a:gd name="connsiteX10107" fmla="*/ 6188420 w 7714416"/>
              <a:gd name="connsiteY10107" fmla="*/ 4030471 h 5282095"/>
              <a:gd name="connsiteX10108" fmla="*/ 6196442 w 7714416"/>
              <a:gd name="connsiteY10108" fmla="*/ 4027915 h 5282095"/>
              <a:gd name="connsiteX10109" fmla="*/ 6200167 w 7714416"/>
              <a:gd name="connsiteY10109" fmla="*/ 4029693 h 5282095"/>
              <a:gd name="connsiteX10110" fmla="*/ 6200166 w 7714416"/>
              <a:gd name="connsiteY10110" fmla="*/ 4030804 h 5282095"/>
              <a:gd name="connsiteX10111" fmla="*/ 6200453 w 7714416"/>
              <a:gd name="connsiteY10111" fmla="*/ 4032915 h 5282095"/>
              <a:gd name="connsiteX10112" fmla="*/ 6211051 w 7714416"/>
              <a:gd name="connsiteY10112" fmla="*/ 4027582 h 5282095"/>
              <a:gd name="connsiteX10113" fmla="*/ 6237978 w 7714416"/>
              <a:gd name="connsiteY10113" fmla="*/ 4024250 h 5282095"/>
              <a:gd name="connsiteX10114" fmla="*/ 6950129 w 7714416"/>
              <a:gd name="connsiteY10114" fmla="*/ 4023584 h 5282095"/>
              <a:gd name="connsiteX10115" fmla="*/ 6953853 w 7714416"/>
              <a:gd name="connsiteY10115" fmla="*/ 4023584 h 5282095"/>
              <a:gd name="connsiteX10116" fmla="*/ 6964166 w 7714416"/>
              <a:gd name="connsiteY10116" fmla="*/ 4025361 h 5282095"/>
              <a:gd name="connsiteX10117" fmla="*/ 6960156 w 7714416"/>
              <a:gd name="connsiteY10117" fmla="*/ 4028027 h 5282095"/>
              <a:gd name="connsiteX10118" fmla="*/ 6955858 w 7714416"/>
              <a:gd name="connsiteY10118" fmla="*/ 4026916 h 5282095"/>
              <a:gd name="connsiteX10119" fmla="*/ 6951848 w 7714416"/>
              <a:gd name="connsiteY10119" fmla="*/ 4026805 h 5282095"/>
              <a:gd name="connsiteX10120" fmla="*/ 6950129 w 7714416"/>
              <a:gd name="connsiteY10120" fmla="*/ 4023584 h 5282095"/>
              <a:gd name="connsiteX10121" fmla="*/ 6979348 w 7714416"/>
              <a:gd name="connsiteY10121" fmla="*/ 4022917 h 5282095"/>
              <a:gd name="connsiteX10122" fmla="*/ 6991380 w 7714416"/>
              <a:gd name="connsiteY10122" fmla="*/ 4028471 h 5282095"/>
              <a:gd name="connsiteX10123" fmla="*/ 6991953 w 7714416"/>
              <a:gd name="connsiteY10123" fmla="*/ 4031360 h 5282095"/>
              <a:gd name="connsiteX10124" fmla="*/ 6983359 w 7714416"/>
              <a:gd name="connsiteY10124" fmla="*/ 4032915 h 5282095"/>
              <a:gd name="connsiteX10125" fmla="*/ 6973047 w 7714416"/>
              <a:gd name="connsiteY10125" fmla="*/ 4025027 h 5282095"/>
              <a:gd name="connsiteX10126" fmla="*/ 6979348 w 7714416"/>
              <a:gd name="connsiteY10126" fmla="*/ 4022917 h 5282095"/>
              <a:gd name="connsiteX10127" fmla="*/ 6819215 w 7714416"/>
              <a:gd name="connsiteY10127" fmla="*/ 4021362 h 5282095"/>
              <a:gd name="connsiteX10128" fmla="*/ 6821793 w 7714416"/>
              <a:gd name="connsiteY10128" fmla="*/ 4022917 h 5282095"/>
              <a:gd name="connsiteX10129" fmla="*/ 6827236 w 7714416"/>
              <a:gd name="connsiteY10129" fmla="*/ 4026693 h 5282095"/>
              <a:gd name="connsiteX10130" fmla="*/ 6816636 w 7714416"/>
              <a:gd name="connsiteY10130" fmla="*/ 4021584 h 5282095"/>
              <a:gd name="connsiteX10131" fmla="*/ 6819215 w 7714416"/>
              <a:gd name="connsiteY10131" fmla="*/ 4021362 h 5282095"/>
              <a:gd name="connsiteX10132" fmla="*/ 6188134 w 7714416"/>
              <a:gd name="connsiteY10132" fmla="*/ 4020695 h 5282095"/>
              <a:gd name="connsiteX10133" fmla="*/ 6195296 w 7714416"/>
              <a:gd name="connsiteY10133" fmla="*/ 4025584 h 5282095"/>
              <a:gd name="connsiteX10134" fmla="*/ 6191858 w 7714416"/>
              <a:gd name="connsiteY10134" fmla="*/ 4028138 h 5282095"/>
              <a:gd name="connsiteX10135" fmla="*/ 6184410 w 7714416"/>
              <a:gd name="connsiteY10135" fmla="*/ 4022140 h 5282095"/>
              <a:gd name="connsiteX10136" fmla="*/ 6188134 w 7714416"/>
              <a:gd name="connsiteY10136" fmla="*/ 4020695 h 5282095"/>
              <a:gd name="connsiteX10137" fmla="*/ 7147503 w 7714416"/>
              <a:gd name="connsiteY10137" fmla="*/ 4020474 h 5282095"/>
              <a:gd name="connsiteX10138" fmla="*/ 7150368 w 7714416"/>
              <a:gd name="connsiteY10138" fmla="*/ 4022140 h 5282095"/>
              <a:gd name="connsiteX10139" fmla="*/ 7156670 w 7714416"/>
              <a:gd name="connsiteY10139" fmla="*/ 4032470 h 5282095"/>
              <a:gd name="connsiteX10140" fmla="*/ 7158102 w 7714416"/>
              <a:gd name="connsiteY10140" fmla="*/ 4034470 h 5282095"/>
              <a:gd name="connsiteX10141" fmla="*/ 7156670 w 7714416"/>
              <a:gd name="connsiteY10141" fmla="*/ 4037691 h 5282095"/>
              <a:gd name="connsiteX10142" fmla="*/ 7148362 w 7714416"/>
              <a:gd name="connsiteY10142" fmla="*/ 4029360 h 5282095"/>
              <a:gd name="connsiteX10143" fmla="*/ 7144638 w 7714416"/>
              <a:gd name="connsiteY10143" fmla="*/ 4024361 h 5282095"/>
              <a:gd name="connsiteX10144" fmla="*/ 7146070 w 7714416"/>
              <a:gd name="connsiteY10144" fmla="*/ 4021140 h 5282095"/>
              <a:gd name="connsiteX10145" fmla="*/ 6083288 w 7714416"/>
              <a:gd name="connsiteY10145" fmla="*/ 4017696 h 5282095"/>
              <a:gd name="connsiteX10146" fmla="*/ 6094174 w 7714416"/>
              <a:gd name="connsiteY10146" fmla="*/ 4022584 h 5282095"/>
              <a:gd name="connsiteX10147" fmla="*/ 6097898 w 7714416"/>
              <a:gd name="connsiteY10147" fmla="*/ 4026138 h 5282095"/>
              <a:gd name="connsiteX10148" fmla="*/ 6111362 w 7714416"/>
              <a:gd name="connsiteY10148" fmla="*/ 4026916 h 5282095"/>
              <a:gd name="connsiteX10149" fmla="*/ 6121388 w 7714416"/>
              <a:gd name="connsiteY10149" fmla="*/ 4035914 h 5282095"/>
              <a:gd name="connsiteX10150" fmla="*/ 6109356 w 7714416"/>
              <a:gd name="connsiteY10150" fmla="*/ 4041024 h 5282095"/>
              <a:gd name="connsiteX10151" fmla="*/ 6107638 w 7714416"/>
              <a:gd name="connsiteY10151" fmla="*/ 4041246 h 5282095"/>
              <a:gd name="connsiteX10152" fmla="*/ 6108497 w 7714416"/>
              <a:gd name="connsiteY10152" fmla="*/ 4045356 h 5282095"/>
              <a:gd name="connsiteX10153" fmla="*/ 6099903 w 7714416"/>
              <a:gd name="connsiteY10153" fmla="*/ 4041802 h 5282095"/>
              <a:gd name="connsiteX10154" fmla="*/ 6095320 w 7714416"/>
              <a:gd name="connsiteY10154" fmla="*/ 4042135 h 5282095"/>
              <a:gd name="connsiteX10155" fmla="*/ 6081282 w 7714416"/>
              <a:gd name="connsiteY10155" fmla="*/ 4032249 h 5282095"/>
              <a:gd name="connsiteX10156" fmla="*/ 6084720 w 7714416"/>
              <a:gd name="connsiteY10156" fmla="*/ 4027027 h 5282095"/>
              <a:gd name="connsiteX10157" fmla="*/ 6083574 w 7714416"/>
              <a:gd name="connsiteY10157" fmla="*/ 4024916 h 5282095"/>
              <a:gd name="connsiteX10158" fmla="*/ 6083288 w 7714416"/>
              <a:gd name="connsiteY10158" fmla="*/ 4017696 h 5282095"/>
              <a:gd name="connsiteX10159" fmla="*/ 7046668 w 7714416"/>
              <a:gd name="connsiteY10159" fmla="*/ 4015030 h 5282095"/>
              <a:gd name="connsiteX10160" fmla="*/ 7049532 w 7714416"/>
              <a:gd name="connsiteY10160" fmla="*/ 4015919 h 5282095"/>
              <a:gd name="connsiteX10161" fmla="*/ 7049532 w 7714416"/>
              <a:gd name="connsiteY10161" fmla="*/ 4018918 h 5282095"/>
              <a:gd name="connsiteX10162" fmla="*/ 7042084 w 7714416"/>
              <a:gd name="connsiteY10162" fmla="*/ 4022140 h 5282095"/>
              <a:gd name="connsiteX10163" fmla="*/ 7032918 w 7714416"/>
              <a:gd name="connsiteY10163" fmla="*/ 4020694 h 5282095"/>
              <a:gd name="connsiteX10164" fmla="*/ 7027474 w 7714416"/>
              <a:gd name="connsiteY10164" fmla="*/ 4021584 h 5282095"/>
              <a:gd name="connsiteX10165" fmla="*/ 7026902 w 7714416"/>
              <a:gd name="connsiteY10165" fmla="*/ 4020585 h 5282095"/>
              <a:gd name="connsiteX10166" fmla="*/ 7046668 w 7714416"/>
              <a:gd name="connsiteY10166" fmla="*/ 4015030 h 5282095"/>
              <a:gd name="connsiteX10167" fmla="*/ 5835496 w 7714416"/>
              <a:gd name="connsiteY10167" fmla="*/ 4014364 h 5282095"/>
              <a:gd name="connsiteX10168" fmla="*/ 5846382 w 7714416"/>
              <a:gd name="connsiteY10168" fmla="*/ 4015696 h 5282095"/>
              <a:gd name="connsiteX10169" fmla="*/ 5841226 w 7714416"/>
              <a:gd name="connsiteY10169" fmla="*/ 4022695 h 5282095"/>
              <a:gd name="connsiteX10170" fmla="*/ 5835496 w 7714416"/>
              <a:gd name="connsiteY10170" fmla="*/ 4014364 h 5282095"/>
              <a:gd name="connsiteX10171" fmla="*/ 6964739 w 7714416"/>
              <a:gd name="connsiteY10171" fmla="*/ 4013920 h 5282095"/>
              <a:gd name="connsiteX10172" fmla="*/ 6967604 w 7714416"/>
              <a:gd name="connsiteY10172" fmla="*/ 4015363 h 5282095"/>
              <a:gd name="connsiteX10173" fmla="*/ 6973046 w 7714416"/>
              <a:gd name="connsiteY10173" fmla="*/ 4014809 h 5282095"/>
              <a:gd name="connsiteX10174" fmla="*/ 6974192 w 7714416"/>
              <a:gd name="connsiteY10174" fmla="*/ 4016919 h 5282095"/>
              <a:gd name="connsiteX10175" fmla="*/ 6963306 w 7714416"/>
              <a:gd name="connsiteY10175" fmla="*/ 4018140 h 5282095"/>
              <a:gd name="connsiteX10176" fmla="*/ 6959869 w 7714416"/>
              <a:gd name="connsiteY10176" fmla="*/ 4015586 h 5282095"/>
              <a:gd name="connsiteX10177" fmla="*/ 6964739 w 7714416"/>
              <a:gd name="connsiteY10177" fmla="*/ 4013920 h 5282095"/>
              <a:gd name="connsiteX10178" fmla="*/ 6629002 w 7714416"/>
              <a:gd name="connsiteY10178" fmla="*/ 4009476 h 5282095"/>
              <a:gd name="connsiteX10179" fmla="*/ 6630148 w 7714416"/>
              <a:gd name="connsiteY10179" fmla="*/ 4014252 h 5282095"/>
              <a:gd name="connsiteX10180" fmla="*/ 6625278 w 7714416"/>
              <a:gd name="connsiteY10180" fmla="*/ 4015696 h 5282095"/>
              <a:gd name="connsiteX10181" fmla="*/ 6629002 w 7714416"/>
              <a:gd name="connsiteY10181" fmla="*/ 4009476 h 5282095"/>
              <a:gd name="connsiteX10182" fmla="*/ 6628430 w 7714416"/>
              <a:gd name="connsiteY10182" fmla="*/ 4006033 h 5282095"/>
              <a:gd name="connsiteX10183" fmla="*/ 6629002 w 7714416"/>
              <a:gd name="connsiteY10183" fmla="*/ 4008698 h 5282095"/>
              <a:gd name="connsiteX10184" fmla="*/ 6627570 w 7714416"/>
              <a:gd name="connsiteY10184" fmla="*/ 4008699 h 5282095"/>
              <a:gd name="connsiteX10185" fmla="*/ 6628430 w 7714416"/>
              <a:gd name="connsiteY10185" fmla="*/ 4006033 h 5282095"/>
              <a:gd name="connsiteX10186" fmla="*/ 6016828 w 7714416"/>
              <a:gd name="connsiteY10186" fmla="*/ 4004144 h 5282095"/>
              <a:gd name="connsiteX10187" fmla="*/ 6009953 w 7714416"/>
              <a:gd name="connsiteY10187" fmla="*/ 4026471 h 5282095"/>
              <a:gd name="connsiteX10188" fmla="*/ 6009666 w 7714416"/>
              <a:gd name="connsiteY10188" fmla="*/ 4026916 h 5282095"/>
              <a:gd name="connsiteX10189" fmla="*/ 6014536 w 7714416"/>
              <a:gd name="connsiteY10189" fmla="*/ 4032138 h 5282095"/>
              <a:gd name="connsiteX10190" fmla="*/ 6015110 w 7714416"/>
              <a:gd name="connsiteY10190" fmla="*/ 4037580 h 5282095"/>
              <a:gd name="connsiteX10191" fmla="*/ 6014536 w 7714416"/>
              <a:gd name="connsiteY10191" fmla="*/ 4038025 h 5282095"/>
              <a:gd name="connsiteX10192" fmla="*/ 6015969 w 7714416"/>
              <a:gd name="connsiteY10192" fmla="*/ 4037803 h 5282095"/>
              <a:gd name="connsiteX10193" fmla="*/ 6019406 w 7714416"/>
              <a:gd name="connsiteY10193" fmla="*/ 4037246 h 5282095"/>
              <a:gd name="connsiteX10194" fmla="*/ 6023130 w 7714416"/>
              <a:gd name="connsiteY10194" fmla="*/ 4039913 h 5282095"/>
              <a:gd name="connsiteX10195" fmla="*/ 6021412 w 7714416"/>
              <a:gd name="connsiteY10195" fmla="*/ 4040468 h 5282095"/>
              <a:gd name="connsiteX10196" fmla="*/ 6015682 w 7714416"/>
              <a:gd name="connsiteY10196" fmla="*/ 4043690 h 5282095"/>
              <a:gd name="connsiteX10197" fmla="*/ 6013104 w 7714416"/>
              <a:gd name="connsiteY10197" fmla="*/ 4039469 h 5282095"/>
              <a:gd name="connsiteX10198" fmla="*/ 6009094 w 7714416"/>
              <a:gd name="connsiteY10198" fmla="*/ 4043356 h 5282095"/>
              <a:gd name="connsiteX10199" fmla="*/ 6001932 w 7714416"/>
              <a:gd name="connsiteY10199" fmla="*/ 4045023 h 5282095"/>
              <a:gd name="connsiteX10200" fmla="*/ 5999354 w 7714416"/>
              <a:gd name="connsiteY10200" fmla="*/ 4048578 h 5282095"/>
              <a:gd name="connsiteX10201" fmla="*/ 5996491 w 7714416"/>
              <a:gd name="connsiteY10201" fmla="*/ 4045689 h 5282095"/>
              <a:gd name="connsiteX10202" fmla="*/ 5985890 w 7714416"/>
              <a:gd name="connsiteY10202" fmla="*/ 4044578 h 5282095"/>
              <a:gd name="connsiteX10203" fmla="*/ 5975578 w 7714416"/>
              <a:gd name="connsiteY10203" fmla="*/ 4038580 h 5282095"/>
              <a:gd name="connsiteX10204" fmla="*/ 5987896 w 7714416"/>
              <a:gd name="connsiteY10204" fmla="*/ 4027583 h 5282095"/>
              <a:gd name="connsiteX10205" fmla="*/ 5988754 w 7714416"/>
              <a:gd name="connsiteY10205" fmla="*/ 4027472 h 5282095"/>
              <a:gd name="connsiteX10206" fmla="*/ 5989328 w 7714416"/>
              <a:gd name="connsiteY10206" fmla="*/ 4025583 h 5282095"/>
              <a:gd name="connsiteX10207" fmla="*/ 5993624 w 7714416"/>
              <a:gd name="connsiteY10207" fmla="*/ 4021362 h 5282095"/>
              <a:gd name="connsiteX10208" fmla="*/ 5997062 w 7714416"/>
              <a:gd name="connsiteY10208" fmla="*/ 4018919 h 5282095"/>
              <a:gd name="connsiteX10209" fmla="*/ 6002218 w 7714416"/>
              <a:gd name="connsiteY10209" fmla="*/ 4010365 h 5282095"/>
              <a:gd name="connsiteX10210" fmla="*/ 6016828 w 7714416"/>
              <a:gd name="connsiteY10210" fmla="*/ 4004144 h 5282095"/>
              <a:gd name="connsiteX10211" fmla="*/ 5956098 w 7714416"/>
              <a:gd name="connsiteY10211" fmla="*/ 4003477 h 5282095"/>
              <a:gd name="connsiteX10212" fmla="*/ 5952374 w 7714416"/>
              <a:gd name="connsiteY10212" fmla="*/ 4017918 h 5282095"/>
              <a:gd name="connsiteX10213" fmla="*/ 5956098 w 7714416"/>
              <a:gd name="connsiteY10213" fmla="*/ 4003477 h 5282095"/>
              <a:gd name="connsiteX10214" fmla="*/ 6641320 w 7714416"/>
              <a:gd name="connsiteY10214" fmla="*/ 4002256 h 5282095"/>
              <a:gd name="connsiteX10215" fmla="*/ 6652207 w 7714416"/>
              <a:gd name="connsiteY10215" fmla="*/ 4005699 h 5282095"/>
              <a:gd name="connsiteX10216" fmla="*/ 6633872 w 7714416"/>
              <a:gd name="connsiteY10216" fmla="*/ 4018474 h 5282095"/>
              <a:gd name="connsiteX10217" fmla="*/ 6641320 w 7714416"/>
              <a:gd name="connsiteY10217" fmla="*/ 4002256 h 5282095"/>
              <a:gd name="connsiteX10218" fmla="*/ 6627284 w 7714416"/>
              <a:gd name="connsiteY10218" fmla="*/ 4000145 h 5282095"/>
              <a:gd name="connsiteX10219" fmla="*/ 6629002 w 7714416"/>
              <a:gd name="connsiteY10219" fmla="*/ 4001367 h 5282095"/>
              <a:gd name="connsiteX10220" fmla="*/ 6626138 w 7714416"/>
              <a:gd name="connsiteY10220" fmla="*/ 4002700 h 5282095"/>
              <a:gd name="connsiteX10221" fmla="*/ 6627284 w 7714416"/>
              <a:gd name="connsiteY10221" fmla="*/ 4000145 h 5282095"/>
              <a:gd name="connsiteX10222" fmla="*/ 6104773 w 7714416"/>
              <a:gd name="connsiteY10222" fmla="*/ 3999035 h 5282095"/>
              <a:gd name="connsiteX10223" fmla="*/ 6116804 w 7714416"/>
              <a:gd name="connsiteY10223" fmla="*/ 4001145 h 5282095"/>
              <a:gd name="connsiteX10224" fmla="*/ 6114226 w 7714416"/>
              <a:gd name="connsiteY10224" fmla="*/ 4002034 h 5282095"/>
              <a:gd name="connsiteX10225" fmla="*/ 6111362 w 7714416"/>
              <a:gd name="connsiteY10225" fmla="*/ 4001256 h 5282095"/>
              <a:gd name="connsiteX10226" fmla="*/ 6104773 w 7714416"/>
              <a:gd name="connsiteY10226" fmla="*/ 3999035 h 5282095"/>
              <a:gd name="connsiteX10227" fmla="*/ 6372617 w 7714416"/>
              <a:gd name="connsiteY10227" fmla="*/ 3998035 h 5282095"/>
              <a:gd name="connsiteX10228" fmla="*/ 6380924 w 7714416"/>
              <a:gd name="connsiteY10228" fmla="*/ 3998146 h 5282095"/>
              <a:gd name="connsiteX10229" fmla="*/ 6366888 w 7714416"/>
              <a:gd name="connsiteY10229" fmla="*/ 4002700 h 5282095"/>
              <a:gd name="connsiteX10230" fmla="*/ 6372617 w 7714416"/>
              <a:gd name="connsiteY10230" fmla="*/ 3998035 h 5282095"/>
              <a:gd name="connsiteX10231" fmla="*/ 6251729 w 7714416"/>
              <a:gd name="connsiteY10231" fmla="*/ 3994702 h 5282095"/>
              <a:gd name="connsiteX10232" fmla="*/ 6238265 w 7714416"/>
              <a:gd name="connsiteY10232" fmla="*/ 4003588 h 5282095"/>
              <a:gd name="connsiteX10233" fmla="*/ 6239411 w 7714416"/>
              <a:gd name="connsiteY10233" fmla="*/ 4003589 h 5282095"/>
              <a:gd name="connsiteX10234" fmla="*/ 6244854 w 7714416"/>
              <a:gd name="connsiteY10234" fmla="*/ 4011586 h 5282095"/>
              <a:gd name="connsiteX10235" fmla="*/ 6223082 w 7714416"/>
              <a:gd name="connsiteY10235" fmla="*/ 4010920 h 5282095"/>
              <a:gd name="connsiteX10236" fmla="*/ 6223942 w 7714416"/>
              <a:gd name="connsiteY10236" fmla="*/ 4009588 h 5282095"/>
              <a:gd name="connsiteX10237" fmla="*/ 6212484 w 7714416"/>
              <a:gd name="connsiteY10237" fmla="*/ 4011586 h 5282095"/>
              <a:gd name="connsiteX10238" fmla="*/ 6251729 w 7714416"/>
              <a:gd name="connsiteY10238" fmla="*/ 3994702 h 5282095"/>
              <a:gd name="connsiteX10239" fmla="*/ 6262614 w 7714416"/>
              <a:gd name="connsiteY10239" fmla="*/ 3990703 h 5282095"/>
              <a:gd name="connsiteX10240" fmla="*/ 6262042 w 7714416"/>
              <a:gd name="connsiteY10240" fmla="*/ 3991258 h 5282095"/>
              <a:gd name="connsiteX10241" fmla="*/ 6262901 w 7714416"/>
              <a:gd name="connsiteY10241" fmla="*/ 3990814 h 5282095"/>
              <a:gd name="connsiteX10242" fmla="*/ 6195009 w 7714416"/>
              <a:gd name="connsiteY10242" fmla="*/ 3990481 h 5282095"/>
              <a:gd name="connsiteX10243" fmla="*/ 6203030 w 7714416"/>
              <a:gd name="connsiteY10243" fmla="*/ 3994925 h 5282095"/>
              <a:gd name="connsiteX10244" fmla="*/ 6201884 w 7714416"/>
              <a:gd name="connsiteY10244" fmla="*/ 4016919 h 5282095"/>
              <a:gd name="connsiteX10245" fmla="*/ 6184696 w 7714416"/>
              <a:gd name="connsiteY10245" fmla="*/ 4017696 h 5282095"/>
              <a:gd name="connsiteX10246" fmla="*/ 6195009 w 7714416"/>
              <a:gd name="connsiteY10246" fmla="*/ 3990481 h 5282095"/>
              <a:gd name="connsiteX10247" fmla="*/ 5894222 w 7714416"/>
              <a:gd name="connsiteY10247" fmla="*/ 3989703 h 5282095"/>
              <a:gd name="connsiteX10248" fmla="*/ 5907399 w 7714416"/>
              <a:gd name="connsiteY10248" fmla="*/ 3990259 h 5282095"/>
              <a:gd name="connsiteX10249" fmla="*/ 5909118 w 7714416"/>
              <a:gd name="connsiteY10249" fmla="*/ 4002811 h 5282095"/>
              <a:gd name="connsiteX10250" fmla="*/ 5889638 w 7714416"/>
              <a:gd name="connsiteY10250" fmla="*/ 3999923 h 5282095"/>
              <a:gd name="connsiteX10251" fmla="*/ 5894222 w 7714416"/>
              <a:gd name="connsiteY10251" fmla="*/ 3989703 h 5282095"/>
              <a:gd name="connsiteX10252" fmla="*/ 6697181 w 7714416"/>
              <a:gd name="connsiteY10252" fmla="*/ 3988037 h 5282095"/>
              <a:gd name="connsiteX10253" fmla="*/ 6694030 w 7714416"/>
              <a:gd name="connsiteY10253" fmla="*/ 3993702 h 5282095"/>
              <a:gd name="connsiteX10254" fmla="*/ 6691738 w 7714416"/>
              <a:gd name="connsiteY10254" fmla="*/ 3996591 h 5282095"/>
              <a:gd name="connsiteX10255" fmla="*/ 6691166 w 7714416"/>
              <a:gd name="connsiteY10255" fmla="*/ 3999256 h 5282095"/>
              <a:gd name="connsiteX10256" fmla="*/ 6685436 w 7714416"/>
              <a:gd name="connsiteY10256" fmla="*/ 4003034 h 5282095"/>
              <a:gd name="connsiteX10257" fmla="*/ 6686296 w 7714416"/>
              <a:gd name="connsiteY10257" fmla="*/ 4000478 h 5282095"/>
              <a:gd name="connsiteX10258" fmla="*/ 6688587 w 7714416"/>
              <a:gd name="connsiteY10258" fmla="*/ 3997368 h 5282095"/>
              <a:gd name="connsiteX10259" fmla="*/ 6687729 w 7714416"/>
              <a:gd name="connsiteY10259" fmla="*/ 3995257 h 5282095"/>
              <a:gd name="connsiteX10260" fmla="*/ 6697181 w 7714416"/>
              <a:gd name="connsiteY10260" fmla="*/ 3988037 h 5282095"/>
              <a:gd name="connsiteX10261" fmla="*/ 6157196 w 7714416"/>
              <a:gd name="connsiteY10261" fmla="*/ 3986149 h 5282095"/>
              <a:gd name="connsiteX10262" fmla="*/ 6171519 w 7714416"/>
              <a:gd name="connsiteY10262" fmla="*/ 3993036 h 5282095"/>
              <a:gd name="connsiteX10263" fmla="*/ 6133992 w 7714416"/>
              <a:gd name="connsiteY10263" fmla="*/ 4017808 h 5282095"/>
              <a:gd name="connsiteX10264" fmla="*/ 6157196 w 7714416"/>
              <a:gd name="connsiteY10264" fmla="*/ 3986149 h 5282095"/>
              <a:gd name="connsiteX10265" fmla="*/ 6794579 w 7714416"/>
              <a:gd name="connsiteY10265" fmla="*/ 3981150 h 5282095"/>
              <a:gd name="connsiteX10266" fmla="*/ 6801454 w 7714416"/>
              <a:gd name="connsiteY10266" fmla="*/ 3986370 h 5282095"/>
              <a:gd name="connsiteX10267" fmla="*/ 6789996 w 7714416"/>
              <a:gd name="connsiteY10267" fmla="*/ 3990259 h 5282095"/>
              <a:gd name="connsiteX10268" fmla="*/ 6789136 w 7714416"/>
              <a:gd name="connsiteY10268" fmla="*/ 3981816 h 5282095"/>
              <a:gd name="connsiteX10269" fmla="*/ 6794579 w 7714416"/>
              <a:gd name="connsiteY10269" fmla="*/ 3981150 h 5282095"/>
              <a:gd name="connsiteX10270" fmla="*/ 5986750 w 7714416"/>
              <a:gd name="connsiteY10270" fmla="*/ 3980372 h 5282095"/>
              <a:gd name="connsiteX10271" fmla="*/ 5996490 w 7714416"/>
              <a:gd name="connsiteY10271" fmla="*/ 3983705 h 5282095"/>
              <a:gd name="connsiteX10272" fmla="*/ 5996490 w 7714416"/>
              <a:gd name="connsiteY10272" fmla="*/ 3984038 h 5282095"/>
              <a:gd name="connsiteX10273" fmla="*/ 6000786 w 7714416"/>
              <a:gd name="connsiteY10273" fmla="*/ 3983594 h 5282095"/>
              <a:gd name="connsiteX10274" fmla="*/ 6008234 w 7714416"/>
              <a:gd name="connsiteY10274" fmla="*/ 3987593 h 5282095"/>
              <a:gd name="connsiteX10275" fmla="*/ 6006516 w 7714416"/>
              <a:gd name="connsiteY10275" fmla="*/ 3992480 h 5282095"/>
              <a:gd name="connsiteX10276" fmla="*/ 6001932 w 7714416"/>
              <a:gd name="connsiteY10276" fmla="*/ 3993924 h 5282095"/>
              <a:gd name="connsiteX10277" fmla="*/ 5993624 w 7714416"/>
              <a:gd name="connsiteY10277" fmla="*/ 3990925 h 5282095"/>
              <a:gd name="connsiteX10278" fmla="*/ 5992479 w 7714416"/>
              <a:gd name="connsiteY10278" fmla="*/ 3992147 h 5282095"/>
              <a:gd name="connsiteX10279" fmla="*/ 5982167 w 7714416"/>
              <a:gd name="connsiteY10279" fmla="*/ 4001256 h 5282095"/>
              <a:gd name="connsiteX10280" fmla="*/ 5968130 w 7714416"/>
              <a:gd name="connsiteY10280" fmla="*/ 3995812 h 5282095"/>
              <a:gd name="connsiteX10281" fmla="*/ 5986750 w 7714416"/>
              <a:gd name="connsiteY10281" fmla="*/ 3980372 h 5282095"/>
              <a:gd name="connsiteX10282" fmla="*/ 7309928 w 7714416"/>
              <a:gd name="connsiteY10282" fmla="*/ 3979373 h 5282095"/>
              <a:gd name="connsiteX10283" fmla="*/ 7321388 w 7714416"/>
              <a:gd name="connsiteY10283" fmla="*/ 3989259 h 5282095"/>
              <a:gd name="connsiteX10284" fmla="*/ 7325111 w 7714416"/>
              <a:gd name="connsiteY10284" fmla="*/ 3988926 h 5282095"/>
              <a:gd name="connsiteX10285" fmla="*/ 7331126 w 7714416"/>
              <a:gd name="connsiteY10285" fmla="*/ 3991702 h 5282095"/>
              <a:gd name="connsiteX10286" fmla="*/ 7328835 w 7714416"/>
              <a:gd name="connsiteY10286" fmla="*/ 3994036 h 5282095"/>
              <a:gd name="connsiteX10287" fmla="*/ 7321387 w 7714416"/>
              <a:gd name="connsiteY10287" fmla="*/ 3991814 h 5282095"/>
              <a:gd name="connsiteX10288" fmla="*/ 7319954 w 7714416"/>
              <a:gd name="connsiteY10288" fmla="*/ 3992479 h 5282095"/>
              <a:gd name="connsiteX10289" fmla="*/ 7318522 w 7714416"/>
              <a:gd name="connsiteY10289" fmla="*/ 3995702 h 5282095"/>
              <a:gd name="connsiteX10290" fmla="*/ 7303626 w 7714416"/>
              <a:gd name="connsiteY10290" fmla="*/ 4001922 h 5282095"/>
              <a:gd name="connsiteX10291" fmla="*/ 7290449 w 7714416"/>
              <a:gd name="connsiteY10291" fmla="*/ 3992703 h 5282095"/>
              <a:gd name="connsiteX10292" fmla="*/ 7291022 w 7714416"/>
              <a:gd name="connsiteY10292" fmla="*/ 3985816 h 5282095"/>
              <a:gd name="connsiteX10293" fmla="*/ 7309928 w 7714416"/>
              <a:gd name="connsiteY10293" fmla="*/ 3979373 h 5282095"/>
              <a:gd name="connsiteX10294" fmla="*/ 6197014 w 7714416"/>
              <a:gd name="connsiteY10294" fmla="*/ 3979039 h 5282095"/>
              <a:gd name="connsiteX10295" fmla="*/ 6197301 w 7714416"/>
              <a:gd name="connsiteY10295" fmla="*/ 3988926 h 5282095"/>
              <a:gd name="connsiteX10296" fmla="*/ 6181546 w 7714416"/>
              <a:gd name="connsiteY10296" fmla="*/ 3991258 h 5282095"/>
              <a:gd name="connsiteX10297" fmla="*/ 6197014 w 7714416"/>
              <a:gd name="connsiteY10297" fmla="*/ 3979039 h 5282095"/>
              <a:gd name="connsiteX10298" fmla="*/ 6316184 w 7714416"/>
              <a:gd name="connsiteY10298" fmla="*/ 3978817 h 5282095"/>
              <a:gd name="connsiteX10299" fmla="*/ 6329074 w 7714416"/>
              <a:gd name="connsiteY10299" fmla="*/ 3994257 h 5282095"/>
              <a:gd name="connsiteX10300" fmla="*/ 6325064 w 7714416"/>
              <a:gd name="connsiteY10300" fmla="*/ 4009920 h 5282095"/>
              <a:gd name="connsiteX10301" fmla="*/ 6316184 w 7714416"/>
              <a:gd name="connsiteY10301" fmla="*/ 3978817 h 5282095"/>
              <a:gd name="connsiteX10302" fmla="*/ 5826616 w 7714416"/>
              <a:gd name="connsiteY10302" fmla="*/ 3977928 h 5282095"/>
              <a:gd name="connsiteX10303" fmla="*/ 5834350 w 7714416"/>
              <a:gd name="connsiteY10303" fmla="*/ 3979817 h 5282095"/>
              <a:gd name="connsiteX10304" fmla="*/ 5828334 w 7714416"/>
              <a:gd name="connsiteY10304" fmla="*/ 3985371 h 5282095"/>
              <a:gd name="connsiteX10305" fmla="*/ 5819741 w 7714416"/>
              <a:gd name="connsiteY10305" fmla="*/ 3983482 h 5282095"/>
              <a:gd name="connsiteX10306" fmla="*/ 5826616 w 7714416"/>
              <a:gd name="connsiteY10306" fmla="*/ 3977928 h 5282095"/>
              <a:gd name="connsiteX10307" fmla="*/ 5957530 w 7714416"/>
              <a:gd name="connsiteY10307" fmla="*/ 3969264 h 5282095"/>
              <a:gd name="connsiteX10308" fmla="*/ 5962400 w 7714416"/>
              <a:gd name="connsiteY10308" fmla="*/ 3970042 h 5282095"/>
              <a:gd name="connsiteX10309" fmla="*/ 5961540 w 7714416"/>
              <a:gd name="connsiteY10309" fmla="*/ 3978372 h 5282095"/>
              <a:gd name="connsiteX10310" fmla="*/ 5956384 w 7714416"/>
              <a:gd name="connsiteY10310" fmla="*/ 3980261 h 5282095"/>
              <a:gd name="connsiteX10311" fmla="*/ 5948650 w 7714416"/>
              <a:gd name="connsiteY10311" fmla="*/ 3978262 h 5282095"/>
              <a:gd name="connsiteX10312" fmla="*/ 5957530 w 7714416"/>
              <a:gd name="connsiteY10312" fmla="*/ 3969264 h 5282095"/>
              <a:gd name="connsiteX10313" fmla="*/ 7026615 w 7714416"/>
              <a:gd name="connsiteY10313" fmla="*/ 3969153 h 5282095"/>
              <a:gd name="connsiteX10314" fmla="*/ 7028620 w 7714416"/>
              <a:gd name="connsiteY10314" fmla="*/ 3970597 h 5282095"/>
              <a:gd name="connsiteX10315" fmla="*/ 7027761 w 7714416"/>
              <a:gd name="connsiteY10315" fmla="*/ 3973929 h 5282095"/>
              <a:gd name="connsiteX10316" fmla="*/ 7021172 w 7714416"/>
              <a:gd name="connsiteY10316" fmla="*/ 3972263 h 5282095"/>
              <a:gd name="connsiteX10317" fmla="*/ 7026615 w 7714416"/>
              <a:gd name="connsiteY10317" fmla="*/ 3969153 h 5282095"/>
              <a:gd name="connsiteX10318" fmla="*/ 6809475 w 7714416"/>
              <a:gd name="connsiteY10318" fmla="*/ 3968931 h 5282095"/>
              <a:gd name="connsiteX10319" fmla="*/ 6812912 w 7714416"/>
              <a:gd name="connsiteY10319" fmla="*/ 3972264 h 5282095"/>
              <a:gd name="connsiteX10320" fmla="*/ 6798016 w 7714416"/>
              <a:gd name="connsiteY10320" fmla="*/ 3971597 h 5282095"/>
              <a:gd name="connsiteX10321" fmla="*/ 6809475 w 7714416"/>
              <a:gd name="connsiteY10321" fmla="*/ 3968931 h 5282095"/>
              <a:gd name="connsiteX10322" fmla="*/ 7093362 w 7714416"/>
              <a:gd name="connsiteY10322" fmla="*/ 3967931 h 5282095"/>
              <a:gd name="connsiteX10323" fmla="*/ 7097944 w 7714416"/>
              <a:gd name="connsiteY10323" fmla="*/ 3969820 h 5282095"/>
              <a:gd name="connsiteX10324" fmla="*/ 7099377 w 7714416"/>
              <a:gd name="connsiteY10324" fmla="*/ 3973263 h 5282095"/>
              <a:gd name="connsiteX10325" fmla="*/ 7090496 w 7714416"/>
              <a:gd name="connsiteY10325" fmla="*/ 3977040 h 5282095"/>
              <a:gd name="connsiteX10326" fmla="*/ 7089637 w 7714416"/>
              <a:gd name="connsiteY10326" fmla="*/ 3968153 h 5282095"/>
              <a:gd name="connsiteX10327" fmla="*/ 7093362 w 7714416"/>
              <a:gd name="connsiteY10327" fmla="*/ 3967931 h 5282095"/>
              <a:gd name="connsiteX10328" fmla="*/ 7040652 w 7714416"/>
              <a:gd name="connsiteY10328" fmla="*/ 3967154 h 5282095"/>
              <a:gd name="connsiteX10329" fmla="*/ 7043230 w 7714416"/>
              <a:gd name="connsiteY10329" fmla="*/ 3968708 h 5282095"/>
              <a:gd name="connsiteX10330" fmla="*/ 7045809 w 7714416"/>
              <a:gd name="connsiteY10330" fmla="*/ 3971041 h 5282095"/>
              <a:gd name="connsiteX10331" fmla="*/ 7046669 w 7714416"/>
              <a:gd name="connsiteY10331" fmla="*/ 3977595 h 5282095"/>
              <a:gd name="connsiteX10332" fmla="*/ 7041511 w 7714416"/>
              <a:gd name="connsiteY10332" fmla="*/ 3981816 h 5282095"/>
              <a:gd name="connsiteX10333" fmla="*/ 7038360 w 7714416"/>
              <a:gd name="connsiteY10333" fmla="*/ 3982816 h 5282095"/>
              <a:gd name="connsiteX10334" fmla="*/ 7036068 w 7714416"/>
              <a:gd name="connsiteY10334" fmla="*/ 3981928 h 5282095"/>
              <a:gd name="connsiteX10335" fmla="*/ 7035209 w 7714416"/>
              <a:gd name="connsiteY10335" fmla="*/ 3982705 h 5282095"/>
              <a:gd name="connsiteX10336" fmla="*/ 7030627 w 7714416"/>
              <a:gd name="connsiteY10336" fmla="*/ 3984593 h 5282095"/>
              <a:gd name="connsiteX10337" fmla="*/ 7028048 w 7714416"/>
              <a:gd name="connsiteY10337" fmla="*/ 3982372 h 5282095"/>
              <a:gd name="connsiteX10338" fmla="*/ 7026328 w 7714416"/>
              <a:gd name="connsiteY10338" fmla="*/ 3981150 h 5282095"/>
              <a:gd name="connsiteX10339" fmla="*/ 7023464 w 7714416"/>
              <a:gd name="connsiteY10339" fmla="*/ 3983038 h 5282095"/>
              <a:gd name="connsiteX10340" fmla="*/ 7018880 w 7714416"/>
              <a:gd name="connsiteY10340" fmla="*/ 3986148 h 5282095"/>
              <a:gd name="connsiteX10341" fmla="*/ 7010286 w 7714416"/>
              <a:gd name="connsiteY10341" fmla="*/ 3971818 h 5282095"/>
              <a:gd name="connsiteX10342" fmla="*/ 7017162 w 7714416"/>
              <a:gd name="connsiteY10342" fmla="*/ 3971041 h 5282095"/>
              <a:gd name="connsiteX10343" fmla="*/ 7023750 w 7714416"/>
              <a:gd name="connsiteY10343" fmla="*/ 3973818 h 5282095"/>
              <a:gd name="connsiteX10344" fmla="*/ 7026328 w 7714416"/>
              <a:gd name="connsiteY10344" fmla="*/ 3978706 h 5282095"/>
              <a:gd name="connsiteX10345" fmla="*/ 7027474 w 7714416"/>
              <a:gd name="connsiteY10345" fmla="*/ 3977817 h 5282095"/>
              <a:gd name="connsiteX10346" fmla="*/ 7030339 w 7714416"/>
              <a:gd name="connsiteY10346" fmla="*/ 3977262 h 5282095"/>
              <a:gd name="connsiteX10347" fmla="*/ 7029766 w 7714416"/>
              <a:gd name="connsiteY10347" fmla="*/ 3974485 h 5282095"/>
              <a:gd name="connsiteX10348" fmla="*/ 7040652 w 7714416"/>
              <a:gd name="connsiteY10348" fmla="*/ 3967154 h 5282095"/>
              <a:gd name="connsiteX10349" fmla="*/ 6217640 w 7714416"/>
              <a:gd name="connsiteY10349" fmla="*/ 3966820 h 5282095"/>
              <a:gd name="connsiteX10350" fmla="*/ 6226520 w 7714416"/>
              <a:gd name="connsiteY10350" fmla="*/ 3968930 h 5282095"/>
              <a:gd name="connsiteX10351" fmla="*/ 6224228 w 7714416"/>
              <a:gd name="connsiteY10351" fmla="*/ 3978262 h 5282095"/>
              <a:gd name="connsiteX10352" fmla="*/ 6211624 w 7714416"/>
              <a:gd name="connsiteY10352" fmla="*/ 3976262 h 5282095"/>
              <a:gd name="connsiteX10353" fmla="*/ 6217640 w 7714416"/>
              <a:gd name="connsiteY10353" fmla="*/ 3966820 h 5282095"/>
              <a:gd name="connsiteX10354" fmla="*/ 5972426 w 7714416"/>
              <a:gd name="connsiteY10354" fmla="*/ 3963266 h 5282095"/>
              <a:gd name="connsiteX10355" fmla="*/ 5981593 w 7714416"/>
              <a:gd name="connsiteY10355" fmla="*/ 3970597 h 5282095"/>
              <a:gd name="connsiteX10356" fmla="*/ 5967556 w 7714416"/>
              <a:gd name="connsiteY10356" fmla="*/ 3964932 h 5282095"/>
              <a:gd name="connsiteX10357" fmla="*/ 5972426 w 7714416"/>
              <a:gd name="connsiteY10357" fmla="*/ 3963266 h 5282095"/>
              <a:gd name="connsiteX10358" fmla="*/ 7222270 w 7714416"/>
              <a:gd name="connsiteY10358" fmla="*/ 3963155 h 5282095"/>
              <a:gd name="connsiteX10359" fmla="*/ 7233729 w 7714416"/>
              <a:gd name="connsiteY10359" fmla="*/ 3972041 h 5282095"/>
              <a:gd name="connsiteX10360" fmla="*/ 7236020 w 7714416"/>
              <a:gd name="connsiteY10360" fmla="*/ 3976040 h 5282095"/>
              <a:gd name="connsiteX10361" fmla="*/ 7235161 w 7714416"/>
              <a:gd name="connsiteY10361" fmla="*/ 3975041 h 5282095"/>
              <a:gd name="connsiteX10362" fmla="*/ 7234589 w 7714416"/>
              <a:gd name="connsiteY10362" fmla="*/ 3976707 h 5282095"/>
              <a:gd name="connsiteX10363" fmla="*/ 7220838 w 7714416"/>
              <a:gd name="connsiteY10363" fmla="*/ 3963710 h 5282095"/>
              <a:gd name="connsiteX10364" fmla="*/ 7222270 w 7714416"/>
              <a:gd name="connsiteY10364" fmla="*/ 3963155 h 5282095"/>
              <a:gd name="connsiteX10365" fmla="*/ 6863330 w 7714416"/>
              <a:gd name="connsiteY10365" fmla="*/ 3962266 h 5282095"/>
              <a:gd name="connsiteX10366" fmla="*/ 6870206 w 7714416"/>
              <a:gd name="connsiteY10366" fmla="*/ 3963710 h 5282095"/>
              <a:gd name="connsiteX10367" fmla="*/ 6870492 w 7714416"/>
              <a:gd name="connsiteY10367" fmla="*/ 3967265 h 5282095"/>
              <a:gd name="connsiteX10368" fmla="*/ 6861612 w 7714416"/>
              <a:gd name="connsiteY10368" fmla="*/ 3965710 h 5282095"/>
              <a:gd name="connsiteX10369" fmla="*/ 6863330 w 7714416"/>
              <a:gd name="connsiteY10369" fmla="*/ 3962266 h 5282095"/>
              <a:gd name="connsiteX10370" fmla="*/ 6846142 w 7714416"/>
              <a:gd name="connsiteY10370" fmla="*/ 3960711 h 5282095"/>
              <a:gd name="connsiteX10371" fmla="*/ 6851586 w 7714416"/>
              <a:gd name="connsiteY10371" fmla="*/ 3962044 h 5282095"/>
              <a:gd name="connsiteX10372" fmla="*/ 6851872 w 7714416"/>
              <a:gd name="connsiteY10372" fmla="*/ 3963155 h 5282095"/>
              <a:gd name="connsiteX10373" fmla="*/ 6843278 w 7714416"/>
              <a:gd name="connsiteY10373" fmla="*/ 3962932 h 5282095"/>
              <a:gd name="connsiteX10374" fmla="*/ 6846142 w 7714416"/>
              <a:gd name="connsiteY10374" fmla="*/ 3960711 h 5282095"/>
              <a:gd name="connsiteX10375" fmla="*/ 6709499 w 7714416"/>
              <a:gd name="connsiteY10375" fmla="*/ 3960488 h 5282095"/>
              <a:gd name="connsiteX10376" fmla="*/ 6718666 w 7714416"/>
              <a:gd name="connsiteY10376" fmla="*/ 3966154 h 5282095"/>
              <a:gd name="connsiteX10377" fmla="*/ 6716947 w 7714416"/>
              <a:gd name="connsiteY10377" fmla="*/ 3978372 h 5282095"/>
              <a:gd name="connsiteX10378" fmla="*/ 6704916 w 7714416"/>
              <a:gd name="connsiteY10378" fmla="*/ 3960822 h 5282095"/>
              <a:gd name="connsiteX10379" fmla="*/ 6709499 w 7714416"/>
              <a:gd name="connsiteY10379" fmla="*/ 3960488 h 5282095"/>
              <a:gd name="connsiteX10380" fmla="*/ 7226280 w 7714416"/>
              <a:gd name="connsiteY10380" fmla="*/ 3958600 h 5282095"/>
              <a:gd name="connsiteX10381" fmla="*/ 7253208 w 7714416"/>
              <a:gd name="connsiteY10381" fmla="*/ 3969931 h 5282095"/>
              <a:gd name="connsiteX10382" fmla="*/ 7246906 w 7714416"/>
              <a:gd name="connsiteY10382" fmla="*/ 3972486 h 5282095"/>
              <a:gd name="connsiteX10383" fmla="*/ 7245474 w 7714416"/>
              <a:gd name="connsiteY10383" fmla="*/ 3970486 h 5282095"/>
              <a:gd name="connsiteX10384" fmla="*/ 7226280 w 7714416"/>
              <a:gd name="connsiteY10384" fmla="*/ 3958600 h 5282095"/>
              <a:gd name="connsiteX10385" fmla="*/ 1957629 w 7714416"/>
              <a:gd name="connsiteY10385" fmla="*/ 3958600 h 5282095"/>
              <a:gd name="connsiteX10386" fmla="*/ 1973384 w 7714416"/>
              <a:gd name="connsiteY10386" fmla="*/ 3964932 h 5282095"/>
              <a:gd name="connsiteX10387" fmla="*/ 1977968 w 7714416"/>
              <a:gd name="connsiteY10387" fmla="*/ 3970042 h 5282095"/>
              <a:gd name="connsiteX10388" fmla="*/ 1977396 w 7714416"/>
              <a:gd name="connsiteY10388" fmla="*/ 3970153 h 5282095"/>
              <a:gd name="connsiteX10389" fmla="*/ 1941301 w 7714416"/>
              <a:gd name="connsiteY10389" fmla="*/ 3964932 h 5282095"/>
              <a:gd name="connsiteX10390" fmla="*/ 1941873 w 7714416"/>
              <a:gd name="connsiteY10390" fmla="*/ 3964488 h 5282095"/>
              <a:gd name="connsiteX10391" fmla="*/ 1957629 w 7714416"/>
              <a:gd name="connsiteY10391" fmla="*/ 3958600 h 5282095"/>
              <a:gd name="connsiteX10392" fmla="*/ 6309595 w 7714416"/>
              <a:gd name="connsiteY10392" fmla="*/ 3957156 h 5282095"/>
              <a:gd name="connsiteX10393" fmla="*/ 6309308 w 7714416"/>
              <a:gd name="connsiteY10393" fmla="*/ 3959267 h 5282095"/>
              <a:gd name="connsiteX10394" fmla="*/ 6311886 w 7714416"/>
              <a:gd name="connsiteY10394" fmla="*/ 3958600 h 5282095"/>
              <a:gd name="connsiteX10395" fmla="*/ 6312174 w 7714416"/>
              <a:gd name="connsiteY10395" fmla="*/ 3957711 h 5282095"/>
              <a:gd name="connsiteX10396" fmla="*/ 6310740 w 7714416"/>
              <a:gd name="connsiteY10396" fmla="*/ 3957378 h 5282095"/>
              <a:gd name="connsiteX10397" fmla="*/ 7019167 w 7714416"/>
              <a:gd name="connsiteY10397" fmla="*/ 3956490 h 5282095"/>
              <a:gd name="connsiteX10398" fmla="*/ 7022032 w 7714416"/>
              <a:gd name="connsiteY10398" fmla="*/ 3958156 h 5282095"/>
              <a:gd name="connsiteX10399" fmla="*/ 7010860 w 7714416"/>
              <a:gd name="connsiteY10399" fmla="*/ 3964376 h 5282095"/>
              <a:gd name="connsiteX10400" fmla="*/ 7007995 w 7714416"/>
              <a:gd name="connsiteY10400" fmla="*/ 3962821 h 5282095"/>
              <a:gd name="connsiteX10401" fmla="*/ 7010000 w 7714416"/>
              <a:gd name="connsiteY10401" fmla="*/ 3959600 h 5282095"/>
              <a:gd name="connsiteX10402" fmla="*/ 7019167 w 7714416"/>
              <a:gd name="connsiteY10402" fmla="*/ 3956490 h 5282095"/>
              <a:gd name="connsiteX10403" fmla="*/ 7212817 w 7714416"/>
              <a:gd name="connsiteY10403" fmla="*/ 3953601 h 5282095"/>
              <a:gd name="connsiteX10404" fmla="*/ 7220552 w 7714416"/>
              <a:gd name="connsiteY10404" fmla="*/ 3955823 h 5282095"/>
              <a:gd name="connsiteX10405" fmla="*/ 7219978 w 7714416"/>
              <a:gd name="connsiteY10405" fmla="*/ 3957378 h 5282095"/>
              <a:gd name="connsiteX10406" fmla="*/ 7212817 w 7714416"/>
              <a:gd name="connsiteY10406" fmla="*/ 3953601 h 5282095"/>
              <a:gd name="connsiteX10407" fmla="*/ 6431628 w 7714416"/>
              <a:gd name="connsiteY10407" fmla="*/ 3951491 h 5282095"/>
              <a:gd name="connsiteX10408" fmla="*/ 6445092 w 7714416"/>
              <a:gd name="connsiteY10408" fmla="*/ 3959267 h 5282095"/>
              <a:gd name="connsiteX10409" fmla="*/ 6439650 w 7714416"/>
              <a:gd name="connsiteY10409" fmla="*/ 3984483 h 5282095"/>
              <a:gd name="connsiteX10410" fmla="*/ 6439363 w 7714416"/>
              <a:gd name="connsiteY10410" fmla="*/ 3984593 h 5282095"/>
              <a:gd name="connsiteX10411" fmla="*/ 6448530 w 7714416"/>
              <a:gd name="connsiteY10411" fmla="*/ 3989481 h 5282095"/>
              <a:gd name="connsiteX10412" fmla="*/ 6442515 w 7714416"/>
              <a:gd name="connsiteY10412" fmla="*/ 4000367 h 5282095"/>
              <a:gd name="connsiteX10413" fmla="*/ 6432488 w 7714416"/>
              <a:gd name="connsiteY10413" fmla="*/ 4001699 h 5282095"/>
              <a:gd name="connsiteX10414" fmla="*/ 6432488 w 7714416"/>
              <a:gd name="connsiteY10414" fmla="*/ 4002700 h 5282095"/>
              <a:gd name="connsiteX10415" fmla="*/ 6420170 w 7714416"/>
              <a:gd name="connsiteY10415" fmla="*/ 4009587 h 5282095"/>
              <a:gd name="connsiteX10416" fmla="*/ 6410430 w 7714416"/>
              <a:gd name="connsiteY10416" fmla="*/ 3991592 h 5282095"/>
              <a:gd name="connsiteX10417" fmla="*/ 6408138 w 7714416"/>
              <a:gd name="connsiteY10417" fmla="*/ 3987482 h 5282095"/>
              <a:gd name="connsiteX10418" fmla="*/ 6405274 w 7714416"/>
              <a:gd name="connsiteY10418" fmla="*/ 3991702 h 5282095"/>
              <a:gd name="connsiteX10419" fmla="*/ 6394675 w 7714416"/>
              <a:gd name="connsiteY10419" fmla="*/ 3977262 h 5282095"/>
              <a:gd name="connsiteX10420" fmla="*/ 6400977 w 7714416"/>
              <a:gd name="connsiteY10420" fmla="*/ 3978262 h 5282095"/>
              <a:gd name="connsiteX10421" fmla="*/ 6405847 w 7714416"/>
              <a:gd name="connsiteY10421" fmla="*/ 3980150 h 5282095"/>
              <a:gd name="connsiteX10422" fmla="*/ 6406420 w 7714416"/>
              <a:gd name="connsiteY10422" fmla="*/ 3975485 h 5282095"/>
              <a:gd name="connsiteX10423" fmla="*/ 6413295 w 7714416"/>
              <a:gd name="connsiteY10423" fmla="*/ 3980483 h 5282095"/>
              <a:gd name="connsiteX10424" fmla="*/ 6414727 w 7714416"/>
              <a:gd name="connsiteY10424" fmla="*/ 3981372 h 5282095"/>
              <a:gd name="connsiteX10425" fmla="*/ 6418738 w 7714416"/>
              <a:gd name="connsiteY10425" fmla="*/ 3980039 h 5282095"/>
              <a:gd name="connsiteX10426" fmla="*/ 6426472 w 7714416"/>
              <a:gd name="connsiteY10426" fmla="*/ 3981150 h 5282095"/>
              <a:gd name="connsiteX10427" fmla="*/ 6422176 w 7714416"/>
              <a:gd name="connsiteY10427" fmla="*/ 3972596 h 5282095"/>
              <a:gd name="connsiteX10428" fmla="*/ 6424467 w 7714416"/>
              <a:gd name="connsiteY10428" fmla="*/ 3953046 h 5282095"/>
              <a:gd name="connsiteX10429" fmla="*/ 6431628 w 7714416"/>
              <a:gd name="connsiteY10429" fmla="*/ 3951491 h 5282095"/>
              <a:gd name="connsiteX10430" fmla="*/ 6865049 w 7714416"/>
              <a:gd name="connsiteY10430" fmla="*/ 3945048 h 5282095"/>
              <a:gd name="connsiteX10431" fmla="*/ 6877940 w 7714416"/>
              <a:gd name="connsiteY10431" fmla="*/ 3948492 h 5282095"/>
              <a:gd name="connsiteX10432" fmla="*/ 6872784 w 7714416"/>
              <a:gd name="connsiteY10432" fmla="*/ 3959267 h 5282095"/>
              <a:gd name="connsiteX10433" fmla="*/ 6865049 w 7714416"/>
              <a:gd name="connsiteY10433" fmla="*/ 3945048 h 5282095"/>
              <a:gd name="connsiteX10434" fmla="*/ 7397586 w 7714416"/>
              <a:gd name="connsiteY10434" fmla="*/ 3940160 h 5282095"/>
              <a:gd name="connsiteX10435" fmla="*/ 7405608 w 7714416"/>
              <a:gd name="connsiteY10435" fmla="*/ 3940938 h 5282095"/>
              <a:gd name="connsiteX10436" fmla="*/ 7408472 w 7714416"/>
              <a:gd name="connsiteY10436" fmla="*/ 3951935 h 5282095"/>
              <a:gd name="connsiteX10437" fmla="*/ 7391284 w 7714416"/>
              <a:gd name="connsiteY10437" fmla="*/ 3940827 h 5282095"/>
              <a:gd name="connsiteX10438" fmla="*/ 7397586 w 7714416"/>
              <a:gd name="connsiteY10438" fmla="*/ 3940160 h 5282095"/>
              <a:gd name="connsiteX10439" fmla="*/ 6280948 w 7714416"/>
              <a:gd name="connsiteY10439" fmla="*/ 3937161 h 5282095"/>
              <a:gd name="connsiteX10440" fmla="*/ 6287824 w 7714416"/>
              <a:gd name="connsiteY10440" fmla="*/ 3937272 h 5282095"/>
              <a:gd name="connsiteX10441" fmla="*/ 6282094 w 7714416"/>
              <a:gd name="connsiteY10441" fmla="*/ 3943715 h 5282095"/>
              <a:gd name="connsiteX10442" fmla="*/ 6280948 w 7714416"/>
              <a:gd name="connsiteY10442" fmla="*/ 3937161 h 5282095"/>
              <a:gd name="connsiteX10443" fmla="*/ 7170993 w 7714416"/>
              <a:gd name="connsiteY10443" fmla="*/ 3932829 h 5282095"/>
              <a:gd name="connsiteX10444" fmla="*/ 7186749 w 7714416"/>
              <a:gd name="connsiteY10444" fmla="*/ 3934828 h 5282095"/>
              <a:gd name="connsiteX10445" fmla="*/ 7188181 w 7714416"/>
              <a:gd name="connsiteY10445" fmla="*/ 3937272 h 5282095"/>
              <a:gd name="connsiteX10446" fmla="*/ 7183884 w 7714416"/>
              <a:gd name="connsiteY10446" fmla="*/ 3939161 h 5282095"/>
              <a:gd name="connsiteX10447" fmla="*/ 7170993 w 7714416"/>
              <a:gd name="connsiteY10447" fmla="*/ 3932829 h 5282095"/>
              <a:gd name="connsiteX10448" fmla="*/ 2024375 w 7714416"/>
              <a:gd name="connsiteY10448" fmla="*/ 3932273 h 5282095"/>
              <a:gd name="connsiteX10449" fmla="*/ 2033828 w 7714416"/>
              <a:gd name="connsiteY10449" fmla="*/ 3935717 h 5282095"/>
              <a:gd name="connsiteX10450" fmla="*/ 2024375 w 7714416"/>
              <a:gd name="connsiteY10450" fmla="*/ 3941160 h 5282095"/>
              <a:gd name="connsiteX10451" fmla="*/ 2021797 w 7714416"/>
              <a:gd name="connsiteY10451" fmla="*/ 3938938 h 5282095"/>
              <a:gd name="connsiteX10452" fmla="*/ 2021511 w 7714416"/>
              <a:gd name="connsiteY10452" fmla="*/ 3934940 h 5282095"/>
              <a:gd name="connsiteX10453" fmla="*/ 2024375 w 7714416"/>
              <a:gd name="connsiteY10453" fmla="*/ 3932273 h 5282095"/>
              <a:gd name="connsiteX10454" fmla="*/ 6428191 w 7714416"/>
              <a:gd name="connsiteY10454" fmla="*/ 3930274 h 5282095"/>
              <a:gd name="connsiteX10455" fmla="*/ 6432202 w 7714416"/>
              <a:gd name="connsiteY10455" fmla="*/ 3930274 h 5282095"/>
              <a:gd name="connsiteX10456" fmla="*/ 6441942 w 7714416"/>
              <a:gd name="connsiteY10456" fmla="*/ 3934495 h 5282095"/>
              <a:gd name="connsiteX10457" fmla="*/ 6410716 w 7714416"/>
              <a:gd name="connsiteY10457" fmla="*/ 3941160 h 5282095"/>
              <a:gd name="connsiteX10458" fmla="*/ 6406706 w 7714416"/>
              <a:gd name="connsiteY10458" fmla="*/ 3941160 h 5282095"/>
              <a:gd name="connsiteX10459" fmla="*/ 6404988 w 7714416"/>
              <a:gd name="connsiteY10459" fmla="*/ 3938049 h 5282095"/>
              <a:gd name="connsiteX10460" fmla="*/ 6428191 w 7714416"/>
              <a:gd name="connsiteY10460" fmla="*/ 3930274 h 5282095"/>
              <a:gd name="connsiteX10461" fmla="*/ 6403842 w 7714416"/>
              <a:gd name="connsiteY10461" fmla="*/ 3929607 h 5282095"/>
              <a:gd name="connsiteX10462" fmla="*/ 6406706 w 7714416"/>
              <a:gd name="connsiteY10462" fmla="*/ 3931274 h 5282095"/>
              <a:gd name="connsiteX10463" fmla="*/ 6403268 w 7714416"/>
              <a:gd name="connsiteY10463" fmla="*/ 3934828 h 5282095"/>
              <a:gd name="connsiteX10464" fmla="*/ 6405847 w 7714416"/>
              <a:gd name="connsiteY10464" fmla="*/ 3936494 h 5282095"/>
              <a:gd name="connsiteX10465" fmla="*/ 6404988 w 7714416"/>
              <a:gd name="connsiteY10465" fmla="*/ 3938049 h 5282095"/>
              <a:gd name="connsiteX10466" fmla="*/ 6399831 w 7714416"/>
              <a:gd name="connsiteY10466" fmla="*/ 3938495 h 5282095"/>
              <a:gd name="connsiteX10467" fmla="*/ 6403555 w 7714416"/>
              <a:gd name="connsiteY10467" fmla="*/ 3932273 h 5282095"/>
              <a:gd name="connsiteX10468" fmla="*/ 6403842 w 7714416"/>
              <a:gd name="connsiteY10468" fmla="*/ 3929607 h 5282095"/>
              <a:gd name="connsiteX10469" fmla="*/ 7030338 w 7714416"/>
              <a:gd name="connsiteY10469" fmla="*/ 3928497 h 5282095"/>
              <a:gd name="connsiteX10470" fmla="*/ 7039506 w 7714416"/>
              <a:gd name="connsiteY10470" fmla="*/ 3931718 h 5282095"/>
              <a:gd name="connsiteX10471" fmla="*/ 7023750 w 7714416"/>
              <a:gd name="connsiteY10471" fmla="*/ 3934273 h 5282095"/>
              <a:gd name="connsiteX10472" fmla="*/ 7030338 w 7714416"/>
              <a:gd name="connsiteY10472" fmla="*/ 3928497 h 5282095"/>
              <a:gd name="connsiteX10473" fmla="*/ 7344590 w 7714416"/>
              <a:gd name="connsiteY10473" fmla="*/ 3927719 h 5282095"/>
              <a:gd name="connsiteX10474" fmla="*/ 7325684 w 7714416"/>
              <a:gd name="connsiteY10474" fmla="*/ 3948269 h 5282095"/>
              <a:gd name="connsiteX10475" fmla="*/ 7291881 w 7714416"/>
              <a:gd name="connsiteY10475" fmla="*/ 3950491 h 5282095"/>
              <a:gd name="connsiteX10476" fmla="*/ 7344590 w 7714416"/>
              <a:gd name="connsiteY10476" fmla="*/ 3927719 h 5282095"/>
              <a:gd name="connsiteX10477" fmla="*/ 6401550 w 7714416"/>
              <a:gd name="connsiteY10477" fmla="*/ 3926386 h 5282095"/>
              <a:gd name="connsiteX10478" fmla="*/ 6391524 w 7714416"/>
              <a:gd name="connsiteY10478" fmla="*/ 3931162 h 5282095"/>
              <a:gd name="connsiteX10479" fmla="*/ 6390663 w 7714416"/>
              <a:gd name="connsiteY10479" fmla="*/ 3931274 h 5282095"/>
              <a:gd name="connsiteX10480" fmla="*/ 6393529 w 7714416"/>
              <a:gd name="connsiteY10480" fmla="*/ 3933606 h 5282095"/>
              <a:gd name="connsiteX10481" fmla="*/ 6398399 w 7714416"/>
              <a:gd name="connsiteY10481" fmla="*/ 3944603 h 5282095"/>
              <a:gd name="connsiteX10482" fmla="*/ 6396680 w 7714416"/>
              <a:gd name="connsiteY10482" fmla="*/ 3947603 h 5282095"/>
              <a:gd name="connsiteX10483" fmla="*/ 6398399 w 7714416"/>
              <a:gd name="connsiteY10483" fmla="*/ 3949936 h 5282095"/>
              <a:gd name="connsiteX10484" fmla="*/ 6400977 w 7714416"/>
              <a:gd name="connsiteY10484" fmla="*/ 3967376 h 5282095"/>
              <a:gd name="connsiteX10485" fmla="*/ 6385794 w 7714416"/>
              <a:gd name="connsiteY10485" fmla="*/ 3953601 h 5282095"/>
              <a:gd name="connsiteX10486" fmla="*/ 6385794 w 7714416"/>
              <a:gd name="connsiteY10486" fmla="*/ 3949602 h 5282095"/>
              <a:gd name="connsiteX10487" fmla="*/ 6380352 w 7714416"/>
              <a:gd name="connsiteY10487" fmla="*/ 3947269 h 5282095"/>
              <a:gd name="connsiteX10488" fmla="*/ 6380352 w 7714416"/>
              <a:gd name="connsiteY10488" fmla="*/ 3927608 h 5282095"/>
              <a:gd name="connsiteX10489" fmla="*/ 6386654 w 7714416"/>
              <a:gd name="connsiteY10489" fmla="*/ 3928163 h 5282095"/>
              <a:gd name="connsiteX10490" fmla="*/ 6387226 w 7714416"/>
              <a:gd name="connsiteY10490" fmla="*/ 3928608 h 5282095"/>
              <a:gd name="connsiteX10491" fmla="*/ 6388946 w 7714416"/>
              <a:gd name="connsiteY10491" fmla="*/ 3928274 h 5282095"/>
              <a:gd name="connsiteX10492" fmla="*/ 6401550 w 7714416"/>
              <a:gd name="connsiteY10492" fmla="*/ 3926386 h 5282095"/>
              <a:gd name="connsiteX10493" fmla="*/ 2401923 w 7714416"/>
              <a:gd name="connsiteY10493" fmla="*/ 3925520 h 5282095"/>
              <a:gd name="connsiteX10494" fmla="*/ 2392691 w 7714416"/>
              <a:gd name="connsiteY10494" fmla="*/ 3927649 h 5282095"/>
              <a:gd name="connsiteX10495" fmla="*/ 2390705 w 7714416"/>
              <a:gd name="connsiteY10495" fmla="*/ 3928099 h 5282095"/>
              <a:gd name="connsiteX10496" fmla="*/ 2391049 w 7714416"/>
              <a:gd name="connsiteY10496" fmla="*/ 3928497 h 5282095"/>
              <a:gd name="connsiteX10497" fmla="*/ 2406518 w 7714416"/>
              <a:gd name="connsiteY10497" fmla="*/ 3934828 h 5282095"/>
              <a:gd name="connsiteX10498" fmla="*/ 2406232 w 7714416"/>
              <a:gd name="connsiteY10498" fmla="*/ 3934606 h 5282095"/>
              <a:gd name="connsiteX10499" fmla="*/ 7355476 w 7714416"/>
              <a:gd name="connsiteY10499" fmla="*/ 3923942 h 5282095"/>
              <a:gd name="connsiteX10500" fmla="*/ 7358628 w 7714416"/>
              <a:gd name="connsiteY10500" fmla="*/ 3925497 h 5282095"/>
              <a:gd name="connsiteX10501" fmla="*/ 7358628 w 7714416"/>
              <a:gd name="connsiteY10501" fmla="*/ 3926607 h 5282095"/>
              <a:gd name="connsiteX10502" fmla="*/ 7358914 w 7714416"/>
              <a:gd name="connsiteY10502" fmla="*/ 3926830 h 5282095"/>
              <a:gd name="connsiteX10503" fmla="*/ 7356622 w 7714416"/>
              <a:gd name="connsiteY10503" fmla="*/ 3928718 h 5282095"/>
              <a:gd name="connsiteX10504" fmla="*/ 7353184 w 7714416"/>
              <a:gd name="connsiteY10504" fmla="*/ 3929385 h 5282095"/>
              <a:gd name="connsiteX10505" fmla="*/ 7352038 w 7714416"/>
              <a:gd name="connsiteY10505" fmla="*/ 3924719 h 5282095"/>
              <a:gd name="connsiteX10506" fmla="*/ 7355476 w 7714416"/>
              <a:gd name="connsiteY10506" fmla="*/ 3925164 h 5282095"/>
              <a:gd name="connsiteX10507" fmla="*/ 7355476 w 7714416"/>
              <a:gd name="connsiteY10507" fmla="*/ 3923942 h 5282095"/>
              <a:gd name="connsiteX10508" fmla="*/ 7247193 w 7714416"/>
              <a:gd name="connsiteY10508" fmla="*/ 3921720 h 5282095"/>
              <a:gd name="connsiteX10509" fmla="*/ 7253208 w 7714416"/>
              <a:gd name="connsiteY10509" fmla="*/ 3924387 h 5282095"/>
              <a:gd name="connsiteX10510" fmla="*/ 7253495 w 7714416"/>
              <a:gd name="connsiteY10510" fmla="*/ 3923165 h 5282095"/>
              <a:gd name="connsiteX10511" fmla="*/ 7254354 w 7714416"/>
              <a:gd name="connsiteY10511" fmla="*/ 3930385 h 5282095"/>
              <a:gd name="connsiteX10512" fmla="*/ 7234016 w 7714416"/>
              <a:gd name="connsiteY10512" fmla="*/ 3930385 h 5282095"/>
              <a:gd name="connsiteX10513" fmla="*/ 7238312 w 7714416"/>
              <a:gd name="connsiteY10513" fmla="*/ 3922720 h 5282095"/>
              <a:gd name="connsiteX10514" fmla="*/ 7243468 w 7714416"/>
              <a:gd name="connsiteY10514" fmla="*/ 3922164 h 5282095"/>
              <a:gd name="connsiteX10515" fmla="*/ 7247193 w 7714416"/>
              <a:gd name="connsiteY10515" fmla="*/ 3921720 h 5282095"/>
              <a:gd name="connsiteX10516" fmla="*/ 6823512 w 7714416"/>
              <a:gd name="connsiteY10516" fmla="*/ 3920721 h 5282095"/>
              <a:gd name="connsiteX10517" fmla="*/ 6832392 w 7714416"/>
              <a:gd name="connsiteY10517" fmla="*/ 3921943 h 5282095"/>
              <a:gd name="connsiteX10518" fmla="*/ 6800308 w 7714416"/>
              <a:gd name="connsiteY10518" fmla="*/ 3936050 h 5282095"/>
              <a:gd name="connsiteX10519" fmla="*/ 6767938 w 7714416"/>
              <a:gd name="connsiteY10519" fmla="*/ 3929829 h 5282095"/>
              <a:gd name="connsiteX10520" fmla="*/ 6777964 w 7714416"/>
              <a:gd name="connsiteY10520" fmla="*/ 3929163 h 5282095"/>
              <a:gd name="connsiteX10521" fmla="*/ 6782548 w 7714416"/>
              <a:gd name="connsiteY10521" fmla="*/ 3926608 h 5282095"/>
              <a:gd name="connsiteX10522" fmla="*/ 6797444 w 7714416"/>
              <a:gd name="connsiteY10522" fmla="*/ 3923053 h 5282095"/>
              <a:gd name="connsiteX10523" fmla="*/ 6800022 w 7714416"/>
              <a:gd name="connsiteY10523" fmla="*/ 3924497 h 5282095"/>
              <a:gd name="connsiteX10524" fmla="*/ 6815204 w 7714416"/>
              <a:gd name="connsiteY10524" fmla="*/ 3921054 h 5282095"/>
              <a:gd name="connsiteX10525" fmla="*/ 6823512 w 7714416"/>
              <a:gd name="connsiteY10525" fmla="*/ 3920721 h 5282095"/>
              <a:gd name="connsiteX10526" fmla="*/ 6317043 w 7714416"/>
              <a:gd name="connsiteY10526" fmla="*/ 3919609 h 5282095"/>
              <a:gd name="connsiteX10527" fmla="*/ 6318762 w 7714416"/>
              <a:gd name="connsiteY10527" fmla="*/ 3921054 h 5282095"/>
              <a:gd name="connsiteX10528" fmla="*/ 6319049 w 7714416"/>
              <a:gd name="connsiteY10528" fmla="*/ 3920721 h 5282095"/>
              <a:gd name="connsiteX10529" fmla="*/ 6319334 w 7714416"/>
              <a:gd name="connsiteY10529" fmla="*/ 3921276 h 5282095"/>
              <a:gd name="connsiteX10530" fmla="*/ 6320480 w 7714416"/>
              <a:gd name="connsiteY10530" fmla="*/ 3921054 h 5282095"/>
              <a:gd name="connsiteX10531" fmla="*/ 6324204 w 7714416"/>
              <a:gd name="connsiteY10531" fmla="*/ 3922054 h 5282095"/>
              <a:gd name="connsiteX10532" fmla="*/ 6323919 w 7714416"/>
              <a:gd name="connsiteY10532" fmla="*/ 3927830 h 5282095"/>
              <a:gd name="connsiteX10533" fmla="*/ 6315324 w 7714416"/>
              <a:gd name="connsiteY10533" fmla="*/ 3930496 h 5282095"/>
              <a:gd name="connsiteX10534" fmla="*/ 6310454 w 7714416"/>
              <a:gd name="connsiteY10534" fmla="*/ 3933051 h 5282095"/>
              <a:gd name="connsiteX10535" fmla="*/ 6306444 w 7714416"/>
              <a:gd name="connsiteY10535" fmla="*/ 3932273 h 5282095"/>
              <a:gd name="connsiteX10536" fmla="*/ 6309022 w 7714416"/>
              <a:gd name="connsiteY10536" fmla="*/ 3933162 h 5282095"/>
              <a:gd name="connsiteX10537" fmla="*/ 6310454 w 7714416"/>
              <a:gd name="connsiteY10537" fmla="*/ 3935272 h 5282095"/>
              <a:gd name="connsiteX10538" fmla="*/ 6308736 w 7714416"/>
              <a:gd name="connsiteY10538" fmla="*/ 3937494 h 5282095"/>
              <a:gd name="connsiteX10539" fmla="*/ 6306730 w 7714416"/>
              <a:gd name="connsiteY10539" fmla="*/ 3939382 h 5282095"/>
              <a:gd name="connsiteX10540" fmla="*/ 6316470 w 7714416"/>
              <a:gd name="connsiteY10540" fmla="*/ 3936272 h 5282095"/>
              <a:gd name="connsiteX10541" fmla="*/ 6311027 w 7714416"/>
              <a:gd name="connsiteY10541" fmla="*/ 3948714 h 5282095"/>
              <a:gd name="connsiteX10542" fmla="*/ 6309596 w 7714416"/>
              <a:gd name="connsiteY10542" fmla="*/ 3956378 h 5282095"/>
              <a:gd name="connsiteX10543" fmla="*/ 6310740 w 7714416"/>
              <a:gd name="connsiteY10543" fmla="*/ 3956712 h 5282095"/>
              <a:gd name="connsiteX10544" fmla="*/ 6312746 w 7714416"/>
              <a:gd name="connsiteY10544" fmla="*/ 3956267 h 5282095"/>
              <a:gd name="connsiteX10545" fmla="*/ 6312746 w 7714416"/>
              <a:gd name="connsiteY10545" fmla="*/ 3955934 h 5282095"/>
              <a:gd name="connsiteX10546" fmla="*/ 6318475 w 7714416"/>
              <a:gd name="connsiteY10546" fmla="*/ 3946047 h 5282095"/>
              <a:gd name="connsiteX10547" fmla="*/ 6320194 w 7714416"/>
              <a:gd name="connsiteY10547" fmla="*/ 3947381 h 5282095"/>
              <a:gd name="connsiteX10548" fmla="*/ 6317616 w 7714416"/>
              <a:gd name="connsiteY10548" fmla="*/ 3955712 h 5282095"/>
              <a:gd name="connsiteX10549" fmla="*/ 6317043 w 7714416"/>
              <a:gd name="connsiteY10549" fmla="*/ 3957378 h 5282095"/>
              <a:gd name="connsiteX10550" fmla="*/ 6321054 w 7714416"/>
              <a:gd name="connsiteY10550" fmla="*/ 3956378 h 5282095"/>
              <a:gd name="connsiteX10551" fmla="*/ 6347694 w 7714416"/>
              <a:gd name="connsiteY10551" fmla="*/ 3951934 h 5282095"/>
              <a:gd name="connsiteX10552" fmla="*/ 6355716 w 7714416"/>
              <a:gd name="connsiteY10552" fmla="*/ 3953157 h 5282095"/>
              <a:gd name="connsiteX10553" fmla="*/ 6353424 w 7714416"/>
              <a:gd name="connsiteY10553" fmla="*/ 3947824 h 5282095"/>
              <a:gd name="connsiteX10554" fmla="*/ 6352852 w 7714416"/>
              <a:gd name="connsiteY10554" fmla="*/ 3946603 h 5282095"/>
              <a:gd name="connsiteX10555" fmla="*/ 6348554 w 7714416"/>
              <a:gd name="connsiteY10555" fmla="*/ 3946603 h 5282095"/>
              <a:gd name="connsiteX10556" fmla="*/ 6341106 w 7714416"/>
              <a:gd name="connsiteY10556" fmla="*/ 3940271 h 5282095"/>
              <a:gd name="connsiteX10557" fmla="*/ 6343970 w 7714416"/>
              <a:gd name="connsiteY10557" fmla="*/ 3938495 h 5282095"/>
              <a:gd name="connsiteX10558" fmla="*/ 6348840 w 7714416"/>
              <a:gd name="connsiteY10558" fmla="*/ 3937717 h 5282095"/>
              <a:gd name="connsiteX10559" fmla="*/ 6346835 w 7714416"/>
              <a:gd name="connsiteY10559" fmla="*/ 3932828 h 5282095"/>
              <a:gd name="connsiteX10560" fmla="*/ 6343111 w 7714416"/>
              <a:gd name="connsiteY10560" fmla="*/ 3930274 h 5282095"/>
              <a:gd name="connsiteX10561" fmla="*/ 6342825 w 7714416"/>
              <a:gd name="connsiteY10561" fmla="*/ 3929496 h 5282095"/>
              <a:gd name="connsiteX10562" fmla="*/ 6341106 w 7714416"/>
              <a:gd name="connsiteY10562" fmla="*/ 3928941 h 5282095"/>
              <a:gd name="connsiteX10563" fmla="*/ 6341106 w 7714416"/>
              <a:gd name="connsiteY10563" fmla="*/ 3927941 h 5282095"/>
              <a:gd name="connsiteX10564" fmla="*/ 6342538 w 7714416"/>
              <a:gd name="connsiteY10564" fmla="*/ 3928497 h 5282095"/>
              <a:gd name="connsiteX10565" fmla="*/ 6342252 w 7714416"/>
              <a:gd name="connsiteY10565" fmla="*/ 3927164 h 5282095"/>
              <a:gd name="connsiteX10566" fmla="*/ 6340820 w 7714416"/>
              <a:gd name="connsiteY10566" fmla="*/ 3927607 h 5282095"/>
              <a:gd name="connsiteX10567" fmla="*/ 6341392 w 7714416"/>
              <a:gd name="connsiteY10567" fmla="*/ 3925275 h 5282095"/>
              <a:gd name="connsiteX10568" fmla="*/ 6341966 w 7714416"/>
              <a:gd name="connsiteY10568" fmla="*/ 3925720 h 5282095"/>
              <a:gd name="connsiteX10569" fmla="*/ 6342252 w 7714416"/>
              <a:gd name="connsiteY10569" fmla="*/ 3926720 h 5282095"/>
              <a:gd name="connsiteX10570" fmla="*/ 6345690 w 7714416"/>
              <a:gd name="connsiteY10570" fmla="*/ 3923054 h 5282095"/>
              <a:gd name="connsiteX10571" fmla="*/ 6353139 w 7714416"/>
              <a:gd name="connsiteY10571" fmla="*/ 3921832 h 5282095"/>
              <a:gd name="connsiteX10572" fmla="*/ 6363164 w 7714416"/>
              <a:gd name="connsiteY10572" fmla="*/ 3925164 h 5282095"/>
              <a:gd name="connsiteX10573" fmla="*/ 6354284 w 7714416"/>
              <a:gd name="connsiteY10573" fmla="*/ 3934162 h 5282095"/>
              <a:gd name="connsiteX10574" fmla="*/ 6353710 w 7714416"/>
              <a:gd name="connsiteY10574" fmla="*/ 3934384 h 5282095"/>
              <a:gd name="connsiteX10575" fmla="*/ 6353997 w 7714416"/>
              <a:gd name="connsiteY10575" fmla="*/ 3934495 h 5282095"/>
              <a:gd name="connsiteX10576" fmla="*/ 6358580 w 7714416"/>
              <a:gd name="connsiteY10576" fmla="*/ 3941271 h 5282095"/>
              <a:gd name="connsiteX10577" fmla="*/ 6358865 w 7714416"/>
              <a:gd name="connsiteY10577" fmla="*/ 3942160 h 5282095"/>
              <a:gd name="connsiteX10578" fmla="*/ 6362304 w 7714416"/>
              <a:gd name="connsiteY10578" fmla="*/ 3943382 h 5282095"/>
              <a:gd name="connsiteX10579" fmla="*/ 6363450 w 7714416"/>
              <a:gd name="connsiteY10579" fmla="*/ 3946714 h 5282095"/>
              <a:gd name="connsiteX10580" fmla="*/ 6360012 w 7714416"/>
              <a:gd name="connsiteY10580" fmla="*/ 3946715 h 5282095"/>
              <a:gd name="connsiteX10581" fmla="*/ 6360012 w 7714416"/>
              <a:gd name="connsiteY10581" fmla="*/ 3946936 h 5282095"/>
              <a:gd name="connsiteX10582" fmla="*/ 6360299 w 7714416"/>
              <a:gd name="connsiteY10582" fmla="*/ 3948269 h 5282095"/>
              <a:gd name="connsiteX10583" fmla="*/ 6360873 w 7714416"/>
              <a:gd name="connsiteY10583" fmla="*/ 3950935 h 5282095"/>
              <a:gd name="connsiteX10584" fmla="*/ 6356288 w 7714416"/>
              <a:gd name="connsiteY10584" fmla="*/ 3954378 h 5282095"/>
              <a:gd name="connsiteX10585" fmla="*/ 6356288 w 7714416"/>
              <a:gd name="connsiteY10585" fmla="*/ 3954046 h 5282095"/>
              <a:gd name="connsiteX10586" fmla="*/ 6353424 w 7714416"/>
              <a:gd name="connsiteY10586" fmla="*/ 3957600 h 5282095"/>
              <a:gd name="connsiteX10587" fmla="*/ 6327642 w 7714416"/>
              <a:gd name="connsiteY10587" fmla="*/ 3966820 h 5282095"/>
              <a:gd name="connsiteX10588" fmla="*/ 6313892 w 7714416"/>
              <a:gd name="connsiteY10588" fmla="*/ 3966931 h 5282095"/>
              <a:gd name="connsiteX10589" fmla="*/ 6320480 w 7714416"/>
              <a:gd name="connsiteY10589" fmla="*/ 3969819 h 5282095"/>
              <a:gd name="connsiteX10590" fmla="*/ 6334231 w 7714416"/>
              <a:gd name="connsiteY10590" fmla="*/ 3977485 h 5282095"/>
              <a:gd name="connsiteX10591" fmla="*/ 6334231 w 7714416"/>
              <a:gd name="connsiteY10591" fmla="*/ 3978595 h 5282095"/>
              <a:gd name="connsiteX10592" fmla="*/ 6330220 w 7714416"/>
              <a:gd name="connsiteY10592" fmla="*/ 3979484 h 5282095"/>
              <a:gd name="connsiteX10593" fmla="*/ 6323918 w 7714416"/>
              <a:gd name="connsiteY10593" fmla="*/ 3976596 h 5282095"/>
              <a:gd name="connsiteX10594" fmla="*/ 6312173 w 7714416"/>
              <a:gd name="connsiteY10594" fmla="*/ 3967376 h 5282095"/>
              <a:gd name="connsiteX10595" fmla="*/ 6311027 w 7714416"/>
              <a:gd name="connsiteY10595" fmla="*/ 3966931 h 5282095"/>
              <a:gd name="connsiteX10596" fmla="*/ 6307590 w 7714416"/>
              <a:gd name="connsiteY10596" fmla="*/ 3966931 h 5282095"/>
              <a:gd name="connsiteX10597" fmla="*/ 6303580 w 7714416"/>
              <a:gd name="connsiteY10597" fmla="*/ 3965709 h 5282095"/>
              <a:gd name="connsiteX10598" fmla="*/ 6298422 w 7714416"/>
              <a:gd name="connsiteY10598" fmla="*/ 3966820 h 5282095"/>
              <a:gd name="connsiteX10599" fmla="*/ 6296704 w 7714416"/>
              <a:gd name="connsiteY10599" fmla="*/ 3962932 h 5282095"/>
              <a:gd name="connsiteX10600" fmla="*/ 6295558 w 7714416"/>
              <a:gd name="connsiteY10600" fmla="*/ 3972596 h 5282095"/>
              <a:gd name="connsiteX10601" fmla="*/ 6296131 w 7714416"/>
              <a:gd name="connsiteY10601" fmla="*/ 3976374 h 5282095"/>
              <a:gd name="connsiteX10602" fmla="*/ 6296418 w 7714416"/>
              <a:gd name="connsiteY10602" fmla="*/ 3977485 h 5282095"/>
              <a:gd name="connsiteX10603" fmla="*/ 6296990 w 7714416"/>
              <a:gd name="connsiteY10603" fmla="*/ 3977485 h 5282095"/>
              <a:gd name="connsiteX10604" fmla="*/ 6298996 w 7714416"/>
              <a:gd name="connsiteY10604" fmla="*/ 3984816 h 5282095"/>
              <a:gd name="connsiteX10605" fmla="*/ 6297850 w 7714416"/>
              <a:gd name="connsiteY10605" fmla="*/ 3988481 h 5282095"/>
              <a:gd name="connsiteX10606" fmla="*/ 6298136 w 7714416"/>
              <a:gd name="connsiteY10606" fmla="*/ 3988370 h 5282095"/>
              <a:gd name="connsiteX10607" fmla="*/ 6301288 w 7714416"/>
              <a:gd name="connsiteY10607" fmla="*/ 3988926 h 5282095"/>
              <a:gd name="connsiteX10608" fmla="*/ 6303579 w 7714416"/>
              <a:gd name="connsiteY10608" fmla="*/ 4006254 h 5282095"/>
              <a:gd name="connsiteX10609" fmla="*/ 6302433 w 7714416"/>
              <a:gd name="connsiteY10609" fmla="*/ 4008587 h 5282095"/>
              <a:gd name="connsiteX10610" fmla="*/ 6304152 w 7714416"/>
              <a:gd name="connsiteY10610" fmla="*/ 4008810 h 5282095"/>
              <a:gd name="connsiteX10611" fmla="*/ 6302146 w 7714416"/>
              <a:gd name="connsiteY10611" fmla="*/ 4009810 h 5282095"/>
              <a:gd name="connsiteX10612" fmla="*/ 6302146 w 7714416"/>
              <a:gd name="connsiteY10612" fmla="*/ 4010031 h 5282095"/>
              <a:gd name="connsiteX10613" fmla="*/ 6302146 w 7714416"/>
              <a:gd name="connsiteY10613" fmla="*/ 4011142 h 5282095"/>
              <a:gd name="connsiteX10614" fmla="*/ 6297564 w 7714416"/>
              <a:gd name="connsiteY10614" fmla="*/ 4014808 h 5282095"/>
              <a:gd name="connsiteX10615" fmla="*/ 6293266 w 7714416"/>
              <a:gd name="connsiteY10615" fmla="*/ 4014030 h 5282095"/>
              <a:gd name="connsiteX10616" fmla="*/ 6292980 w 7714416"/>
              <a:gd name="connsiteY10616" fmla="*/ 4013475 h 5282095"/>
              <a:gd name="connsiteX10617" fmla="*/ 6283813 w 7714416"/>
              <a:gd name="connsiteY10617" fmla="*/ 4014586 h 5282095"/>
              <a:gd name="connsiteX10618" fmla="*/ 6285533 w 7714416"/>
              <a:gd name="connsiteY10618" fmla="*/ 4007921 h 5282095"/>
              <a:gd name="connsiteX10619" fmla="*/ 6287250 w 7714416"/>
              <a:gd name="connsiteY10619" fmla="*/ 4007588 h 5282095"/>
              <a:gd name="connsiteX10620" fmla="*/ 6282954 w 7714416"/>
              <a:gd name="connsiteY10620" fmla="*/ 4006699 h 5282095"/>
              <a:gd name="connsiteX10621" fmla="*/ 6257745 w 7714416"/>
              <a:gd name="connsiteY10621" fmla="*/ 4004144 h 5282095"/>
              <a:gd name="connsiteX10622" fmla="*/ 6257746 w 7714416"/>
              <a:gd name="connsiteY10622" fmla="*/ 3995368 h 5282095"/>
              <a:gd name="connsiteX10623" fmla="*/ 6259464 w 7714416"/>
              <a:gd name="connsiteY10623" fmla="*/ 3993258 h 5282095"/>
              <a:gd name="connsiteX10624" fmla="*/ 6257172 w 7714416"/>
              <a:gd name="connsiteY10624" fmla="*/ 3994258 h 5282095"/>
              <a:gd name="connsiteX10625" fmla="*/ 6253448 w 7714416"/>
              <a:gd name="connsiteY10625" fmla="*/ 3989259 h 5282095"/>
              <a:gd name="connsiteX10626" fmla="*/ 6260323 w 7714416"/>
              <a:gd name="connsiteY10626" fmla="*/ 3987592 h 5282095"/>
              <a:gd name="connsiteX10627" fmla="*/ 6262328 w 7714416"/>
              <a:gd name="connsiteY10627" fmla="*/ 3988815 h 5282095"/>
              <a:gd name="connsiteX10628" fmla="*/ 6264047 w 7714416"/>
              <a:gd name="connsiteY10628" fmla="*/ 3989926 h 5282095"/>
              <a:gd name="connsiteX10629" fmla="*/ 6267198 w 7714416"/>
              <a:gd name="connsiteY10629" fmla="*/ 3988037 h 5282095"/>
              <a:gd name="connsiteX10630" fmla="*/ 6283240 w 7714416"/>
              <a:gd name="connsiteY10630" fmla="*/ 3986482 h 5282095"/>
              <a:gd name="connsiteX10631" fmla="*/ 6285532 w 7714416"/>
              <a:gd name="connsiteY10631" fmla="*/ 3987259 h 5282095"/>
              <a:gd name="connsiteX10632" fmla="*/ 6285818 w 7714416"/>
              <a:gd name="connsiteY10632" fmla="*/ 3986926 h 5282095"/>
              <a:gd name="connsiteX10633" fmla="*/ 6287537 w 7714416"/>
              <a:gd name="connsiteY10633" fmla="*/ 3983483 h 5282095"/>
              <a:gd name="connsiteX10634" fmla="*/ 6284386 w 7714416"/>
              <a:gd name="connsiteY10634" fmla="*/ 3983816 h 5282095"/>
              <a:gd name="connsiteX10635" fmla="*/ 6290402 w 7714416"/>
              <a:gd name="connsiteY10635" fmla="*/ 3962377 h 5282095"/>
              <a:gd name="connsiteX10636" fmla="*/ 6292120 w 7714416"/>
              <a:gd name="connsiteY10636" fmla="*/ 3960155 h 5282095"/>
              <a:gd name="connsiteX10637" fmla="*/ 6293266 w 7714416"/>
              <a:gd name="connsiteY10637" fmla="*/ 3959489 h 5282095"/>
              <a:gd name="connsiteX10638" fmla="*/ 6294412 w 7714416"/>
              <a:gd name="connsiteY10638" fmla="*/ 3959822 h 5282095"/>
              <a:gd name="connsiteX10639" fmla="*/ 6295558 w 7714416"/>
              <a:gd name="connsiteY10639" fmla="*/ 3959821 h 5282095"/>
              <a:gd name="connsiteX10640" fmla="*/ 6295272 w 7714416"/>
              <a:gd name="connsiteY10640" fmla="*/ 3959266 h 5282095"/>
              <a:gd name="connsiteX10641" fmla="*/ 6296132 w 7714416"/>
              <a:gd name="connsiteY10641" fmla="*/ 3954934 h 5282095"/>
              <a:gd name="connsiteX10642" fmla="*/ 6292694 w 7714416"/>
              <a:gd name="connsiteY10642" fmla="*/ 3954824 h 5282095"/>
              <a:gd name="connsiteX10643" fmla="*/ 6286964 w 7714416"/>
              <a:gd name="connsiteY10643" fmla="*/ 3955935 h 5282095"/>
              <a:gd name="connsiteX10644" fmla="*/ 6284386 w 7714416"/>
              <a:gd name="connsiteY10644" fmla="*/ 3954378 h 5282095"/>
              <a:gd name="connsiteX10645" fmla="*/ 6288683 w 7714416"/>
              <a:gd name="connsiteY10645" fmla="*/ 3951935 h 5282095"/>
              <a:gd name="connsiteX10646" fmla="*/ 6293266 w 7714416"/>
              <a:gd name="connsiteY10646" fmla="*/ 3954268 h 5282095"/>
              <a:gd name="connsiteX10647" fmla="*/ 6296418 w 7714416"/>
              <a:gd name="connsiteY10647" fmla="*/ 3953934 h 5282095"/>
              <a:gd name="connsiteX10648" fmla="*/ 6297564 w 7714416"/>
              <a:gd name="connsiteY10648" fmla="*/ 3949047 h 5282095"/>
              <a:gd name="connsiteX10649" fmla="*/ 6305871 w 7714416"/>
              <a:gd name="connsiteY10649" fmla="*/ 3939716 h 5282095"/>
              <a:gd name="connsiteX10650" fmla="*/ 6303292 w 7714416"/>
              <a:gd name="connsiteY10650" fmla="*/ 3939938 h 5282095"/>
              <a:gd name="connsiteX10651" fmla="*/ 6298709 w 7714416"/>
              <a:gd name="connsiteY10651" fmla="*/ 3939161 h 5282095"/>
              <a:gd name="connsiteX10652" fmla="*/ 6298136 w 7714416"/>
              <a:gd name="connsiteY10652" fmla="*/ 3937827 h 5282095"/>
              <a:gd name="connsiteX10653" fmla="*/ 6296131 w 7714416"/>
              <a:gd name="connsiteY10653" fmla="*/ 3938271 h 5282095"/>
              <a:gd name="connsiteX10654" fmla="*/ 6287824 w 7714416"/>
              <a:gd name="connsiteY10654" fmla="*/ 3937827 h 5282095"/>
              <a:gd name="connsiteX10655" fmla="*/ 6297564 w 7714416"/>
              <a:gd name="connsiteY10655" fmla="*/ 3936161 h 5282095"/>
              <a:gd name="connsiteX10656" fmla="*/ 6297850 w 7714416"/>
              <a:gd name="connsiteY10656" fmla="*/ 3936161 h 5282095"/>
              <a:gd name="connsiteX10657" fmla="*/ 6297850 w 7714416"/>
              <a:gd name="connsiteY10657" fmla="*/ 3935051 h 5282095"/>
              <a:gd name="connsiteX10658" fmla="*/ 6296131 w 7714416"/>
              <a:gd name="connsiteY10658" fmla="*/ 3934495 h 5282095"/>
              <a:gd name="connsiteX10659" fmla="*/ 6297277 w 7714416"/>
              <a:gd name="connsiteY10659" fmla="*/ 3933940 h 5282095"/>
              <a:gd name="connsiteX10660" fmla="*/ 6297565 w 7714416"/>
              <a:gd name="connsiteY10660" fmla="*/ 3932273 h 5282095"/>
              <a:gd name="connsiteX10661" fmla="*/ 6305298 w 7714416"/>
              <a:gd name="connsiteY10661" fmla="*/ 3931829 h 5282095"/>
              <a:gd name="connsiteX10662" fmla="*/ 6305298 w 7714416"/>
              <a:gd name="connsiteY10662" fmla="*/ 3931940 h 5282095"/>
              <a:gd name="connsiteX10663" fmla="*/ 6312460 w 7714416"/>
              <a:gd name="connsiteY10663" fmla="*/ 3923387 h 5282095"/>
              <a:gd name="connsiteX10664" fmla="*/ 6315897 w 7714416"/>
              <a:gd name="connsiteY10664" fmla="*/ 3921943 h 5282095"/>
              <a:gd name="connsiteX10665" fmla="*/ 1671737 w 7714416"/>
              <a:gd name="connsiteY10665" fmla="*/ 3912056 h 5282095"/>
              <a:gd name="connsiteX10666" fmla="*/ 1678612 w 7714416"/>
              <a:gd name="connsiteY10666" fmla="*/ 3913278 h 5282095"/>
              <a:gd name="connsiteX10667" fmla="*/ 1675749 w 7714416"/>
              <a:gd name="connsiteY10667" fmla="*/ 3922721 h 5282095"/>
              <a:gd name="connsiteX10668" fmla="*/ 1667441 w 7714416"/>
              <a:gd name="connsiteY10668" fmla="*/ 3918277 h 5282095"/>
              <a:gd name="connsiteX10669" fmla="*/ 1666582 w 7714416"/>
              <a:gd name="connsiteY10669" fmla="*/ 3914056 h 5282095"/>
              <a:gd name="connsiteX10670" fmla="*/ 1671737 w 7714416"/>
              <a:gd name="connsiteY10670" fmla="*/ 3912056 h 5282095"/>
              <a:gd name="connsiteX10671" fmla="*/ 6556527 w 7714416"/>
              <a:gd name="connsiteY10671" fmla="*/ 3911611 h 5282095"/>
              <a:gd name="connsiteX10672" fmla="*/ 6563116 w 7714416"/>
              <a:gd name="connsiteY10672" fmla="*/ 3911834 h 5282095"/>
              <a:gd name="connsiteX10673" fmla="*/ 6567412 w 7714416"/>
              <a:gd name="connsiteY10673" fmla="*/ 3913722 h 5282095"/>
              <a:gd name="connsiteX10674" fmla="*/ 6568559 w 7714416"/>
              <a:gd name="connsiteY10674" fmla="*/ 3917722 h 5282095"/>
              <a:gd name="connsiteX10675" fmla="*/ 6568273 w 7714416"/>
              <a:gd name="connsiteY10675" fmla="*/ 3917943 h 5282095"/>
              <a:gd name="connsiteX10676" fmla="*/ 6585746 w 7714416"/>
              <a:gd name="connsiteY10676" fmla="*/ 3924053 h 5282095"/>
              <a:gd name="connsiteX10677" fmla="*/ 6631581 w 7714416"/>
              <a:gd name="connsiteY10677" fmla="*/ 3964932 h 5282095"/>
              <a:gd name="connsiteX10678" fmla="*/ 6631008 w 7714416"/>
              <a:gd name="connsiteY10678" fmla="*/ 3977595 h 5282095"/>
              <a:gd name="connsiteX10679" fmla="*/ 6628430 w 7714416"/>
              <a:gd name="connsiteY10679" fmla="*/ 3981594 h 5282095"/>
              <a:gd name="connsiteX10680" fmla="*/ 6629003 w 7714416"/>
              <a:gd name="connsiteY10680" fmla="*/ 3984593 h 5282095"/>
              <a:gd name="connsiteX10681" fmla="*/ 6629002 w 7714416"/>
              <a:gd name="connsiteY10681" fmla="*/ 3986148 h 5282095"/>
              <a:gd name="connsiteX10682" fmla="*/ 6631008 w 7714416"/>
              <a:gd name="connsiteY10682" fmla="*/ 3983593 h 5282095"/>
              <a:gd name="connsiteX10683" fmla="*/ 6630148 w 7714416"/>
              <a:gd name="connsiteY10683" fmla="*/ 3981261 h 5282095"/>
              <a:gd name="connsiteX10684" fmla="*/ 6634732 w 7714416"/>
              <a:gd name="connsiteY10684" fmla="*/ 3978928 h 5282095"/>
              <a:gd name="connsiteX10685" fmla="*/ 6630148 w 7714416"/>
              <a:gd name="connsiteY10685" fmla="*/ 3986037 h 5282095"/>
              <a:gd name="connsiteX10686" fmla="*/ 6629002 w 7714416"/>
              <a:gd name="connsiteY10686" fmla="*/ 3986481 h 5282095"/>
              <a:gd name="connsiteX10687" fmla="*/ 6629002 w 7714416"/>
              <a:gd name="connsiteY10687" fmla="*/ 3987704 h 5282095"/>
              <a:gd name="connsiteX10688" fmla="*/ 6629577 w 7714416"/>
              <a:gd name="connsiteY10688" fmla="*/ 3988815 h 5282095"/>
              <a:gd name="connsiteX10689" fmla="*/ 6629002 w 7714416"/>
              <a:gd name="connsiteY10689" fmla="*/ 3989814 h 5282095"/>
              <a:gd name="connsiteX10690" fmla="*/ 6629002 w 7714416"/>
              <a:gd name="connsiteY10690" fmla="*/ 3993147 h 5282095"/>
              <a:gd name="connsiteX10691" fmla="*/ 6627570 w 7714416"/>
              <a:gd name="connsiteY10691" fmla="*/ 4000144 h 5282095"/>
              <a:gd name="connsiteX10692" fmla="*/ 6626998 w 7714416"/>
              <a:gd name="connsiteY10692" fmla="*/ 3992591 h 5282095"/>
              <a:gd name="connsiteX10693" fmla="*/ 6625852 w 7714416"/>
              <a:gd name="connsiteY10693" fmla="*/ 3996368 h 5282095"/>
              <a:gd name="connsiteX10694" fmla="*/ 6626998 w 7714416"/>
              <a:gd name="connsiteY10694" fmla="*/ 4000256 h 5282095"/>
              <a:gd name="connsiteX10695" fmla="*/ 6624132 w 7714416"/>
              <a:gd name="connsiteY10695" fmla="*/ 4002256 h 5282095"/>
              <a:gd name="connsiteX10696" fmla="*/ 6620982 w 7714416"/>
              <a:gd name="connsiteY10696" fmla="*/ 3999368 h 5282095"/>
              <a:gd name="connsiteX10697" fmla="*/ 6624992 w 7714416"/>
              <a:gd name="connsiteY10697" fmla="*/ 3995924 h 5282095"/>
              <a:gd name="connsiteX10698" fmla="*/ 6624992 w 7714416"/>
              <a:gd name="connsiteY10698" fmla="*/ 3991147 h 5282095"/>
              <a:gd name="connsiteX10699" fmla="*/ 6626999 w 7714416"/>
              <a:gd name="connsiteY10699" fmla="*/ 3989592 h 5282095"/>
              <a:gd name="connsiteX10700" fmla="*/ 6628430 w 7714416"/>
              <a:gd name="connsiteY10700" fmla="*/ 3981815 h 5282095"/>
              <a:gd name="connsiteX10701" fmla="*/ 6624706 w 7714416"/>
              <a:gd name="connsiteY10701" fmla="*/ 3987704 h 5282095"/>
              <a:gd name="connsiteX10702" fmla="*/ 6606945 w 7714416"/>
              <a:gd name="connsiteY10702" fmla="*/ 4008032 h 5282095"/>
              <a:gd name="connsiteX10703" fmla="*/ 6569991 w 7714416"/>
              <a:gd name="connsiteY10703" fmla="*/ 4015919 h 5282095"/>
              <a:gd name="connsiteX10704" fmla="*/ 6520719 w 7714416"/>
              <a:gd name="connsiteY10704" fmla="*/ 4002478 h 5282095"/>
              <a:gd name="connsiteX10705" fmla="*/ 6506397 w 7714416"/>
              <a:gd name="connsiteY10705" fmla="*/ 3983149 h 5282095"/>
              <a:gd name="connsiteX10706" fmla="*/ 6504964 w 7714416"/>
              <a:gd name="connsiteY10706" fmla="*/ 3981150 h 5282095"/>
              <a:gd name="connsiteX10707" fmla="*/ 6502386 w 7714416"/>
              <a:gd name="connsiteY10707" fmla="*/ 3984260 h 5282095"/>
              <a:gd name="connsiteX10708" fmla="*/ 6492646 w 7714416"/>
              <a:gd name="connsiteY10708" fmla="*/ 3986260 h 5282095"/>
              <a:gd name="connsiteX10709" fmla="*/ 6481760 w 7714416"/>
              <a:gd name="connsiteY10709" fmla="*/ 3984816 h 5282095"/>
              <a:gd name="connsiteX10710" fmla="*/ 6486916 w 7714416"/>
              <a:gd name="connsiteY10710" fmla="*/ 3978373 h 5282095"/>
              <a:gd name="connsiteX10711" fmla="*/ 6502672 w 7714416"/>
              <a:gd name="connsiteY10711" fmla="*/ 3978595 h 5282095"/>
              <a:gd name="connsiteX10712" fmla="*/ 6504390 w 7714416"/>
              <a:gd name="connsiteY10712" fmla="*/ 3980706 h 5282095"/>
              <a:gd name="connsiteX10713" fmla="*/ 6491786 w 7714416"/>
              <a:gd name="connsiteY10713" fmla="*/ 3963709 h 5282095"/>
              <a:gd name="connsiteX10714" fmla="*/ 6522724 w 7714416"/>
              <a:gd name="connsiteY10714" fmla="*/ 3920498 h 5282095"/>
              <a:gd name="connsiteX10715" fmla="*/ 6528454 w 7714416"/>
              <a:gd name="connsiteY10715" fmla="*/ 3921054 h 5282095"/>
              <a:gd name="connsiteX10716" fmla="*/ 6529026 w 7714416"/>
              <a:gd name="connsiteY10716" fmla="*/ 3920498 h 5282095"/>
              <a:gd name="connsiteX10717" fmla="*/ 6534470 w 7714416"/>
              <a:gd name="connsiteY10717" fmla="*/ 3919498 h 5282095"/>
              <a:gd name="connsiteX10718" fmla="*/ 6537620 w 7714416"/>
              <a:gd name="connsiteY10718" fmla="*/ 3920832 h 5282095"/>
              <a:gd name="connsiteX10719" fmla="*/ 6547360 w 7714416"/>
              <a:gd name="connsiteY10719" fmla="*/ 3919499 h 5282095"/>
              <a:gd name="connsiteX10720" fmla="*/ 6549366 w 7714416"/>
              <a:gd name="connsiteY10720" fmla="*/ 3919721 h 5282095"/>
              <a:gd name="connsiteX10721" fmla="*/ 6552516 w 7714416"/>
              <a:gd name="connsiteY10721" fmla="*/ 3918943 h 5282095"/>
              <a:gd name="connsiteX10722" fmla="*/ 6551657 w 7714416"/>
              <a:gd name="connsiteY10722" fmla="*/ 3914501 h 5282095"/>
              <a:gd name="connsiteX10723" fmla="*/ 6556527 w 7714416"/>
              <a:gd name="connsiteY10723" fmla="*/ 3911611 h 5282095"/>
              <a:gd name="connsiteX10724" fmla="*/ 1966224 w 7714416"/>
              <a:gd name="connsiteY10724" fmla="*/ 3911390 h 5282095"/>
              <a:gd name="connsiteX10725" fmla="*/ 1970233 w 7714416"/>
              <a:gd name="connsiteY10725" fmla="*/ 3926719 h 5282095"/>
              <a:gd name="connsiteX10726" fmla="*/ 1958488 w 7714416"/>
              <a:gd name="connsiteY10726" fmla="*/ 3920609 h 5282095"/>
              <a:gd name="connsiteX10727" fmla="*/ 1966224 w 7714416"/>
              <a:gd name="connsiteY10727" fmla="*/ 3911390 h 5282095"/>
              <a:gd name="connsiteX10728" fmla="*/ 6466291 w 7714416"/>
              <a:gd name="connsiteY10728" fmla="*/ 3911389 h 5282095"/>
              <a:gd name="connsiteX10729" fmla="*/ 6468010 w 7714416"/>
              <a:gd name="connsiteY10729" fmla="*/ 3911834 h 5282095"/>
              <a:gd name="connsiteX10730" fmla="*/ 6468296 w 7714416"/>
              <a:gd name="connsiteY10730" fmla="*/ 3911723 h 5282095"/>
              <a:gd name="connsiteX10731" fmla="*/ 6469728 w 7714416"/>
              <a:gd name="connsiteY10731" fmla="*/ 3912278 h 5282095"/>
              <a:gd name="connsiteX10732" fmla="*/ 6469728 w 7714416"/>
              <a:gd name="connsiteY10732" fmla="*/ 3911390 h 5282095"/>
              <a:gd name="connsiteX10733" fmla="*/ 5855549 w 7714416"/>
              <a:gd name="connsiteY10733" fmla="*/ 3909168 h 5282095"/>
              <a:gd name="connsiteX10734" fmla="*/ 5855262 w 7714416"/>
              <a:gd name="connsiteY10734" fmla="*/ 3910057 h 5282095"/>
              <a:gd name="connsiteX10735" fmla="*/ 5849533 w 7714416"/>
              <a:gd name="connsiteY10735" fmla="*/ 3913722 h 5282095"/>
              <a:gd name="connsiteX10736" fmla="*/ 5848960 w 7714416"/>
              <a:gd name="connsiteY10736" fmla="*/ 3913722 h 5282095"/>
              <a:gd name="connsiteX10737" fmla="*/ 5836642 w 7714416"/>
              <a:gd name="connsiteY10737" fmla="*/ 3926719 h 5282095"/>
              <a:gd name="connsiteX10738" fmla="*/ 5829480 w 7714416"/>
              <a:gd name="connsiteY10738" fmla="*/ 3938161 h 5282095"/>
              <a:gd name="connsiteX10739" fmla="*/ 5835496 w 7714416"/>
              <a:gd name="connsiteY10739" fmla="*/ 3939493 h 5282095"/>
              <a:gd name="connsiteX10740" fmla="*/ 5843518 w 7714416"/>
              <a:gd name="connsiteY10740" fmla="*/ 3944048 h 5282095"/>
              <a:gd name="connsiteX10741" fmla="*/ 5848100 w 7714416"/>
              <a:gd name="connsiteY10741" fmla="*/ 3948936 h 5282095"/>
              <a:gd name="connsiteX10742" fmla="*/ 5852970 w 7714416"/>
              <a:gd name="connsiteY10742" fmla="*/ 3939605 h 5282095"/>
              <a:gd name="connsiteX10743" fmla="*/ 5859846 w 7714416"/>
              <a:gd name="connsiteY10743" fmla="*/ 3927163 h 5282095"/>
              <a:gd name="connsiteX10744" fmla="*/ 5861851 w 7714416"/>
              <a:gd name="connsiteY10744" fmla="*/ 3912500 h 5282095"/>
              <a:gd name="connsiteX10745" fmla="*/ 5960968 w 7714416"/>
              <a:gd name="connsiteY10745" fmla="*/ 3904281 h 5282095"/>
              <a:gd name="connsiteX10746" fmla="*/ 5967270 w 7714416"/>
              <a:gd name="connsiteY10746" fmla="*/ 3904946 h 5282095"/>
              <a:gd name="connsiteX10747" fmla="*/ 5958390 w 7714416"/>
              <a:gd name="connsiteY10747" fmla="*/ 3916166 h 5282095"/>
              <a:gd name="connsiteX10748" fmla="*/ 5955525 w 7714416"/>
              <a:gd name="connsiteY10748" fmla="*/ 3914944 h 5282095"/>
              <a:gd name="connsiteX10749" fmla="*/ 5950655 w 7714416"/>
              <a:gd name="connsiteY10749" fmla="*/ 3922276 h 5282095"/>
              <a:gd name="connsiteX10750" fmla="*/ 5937764 w 7714416"/>
              <a:gd name="connsiteY10750" fmla="*/ 3928608 h 5282095"/>
              <a:gd name="connsiteX10751" fmla="*/ 5938050 w 7714416"/>
              <a:gd name="connsiteY10751" fmla="*/ 3923498 h 5282095"/>
              <a:gd name="connsiteX10752" fmla="*/ 5932894 w 7714416"/>
              <a:gd name="connsiteY10752" fmla="*/ 3922276 h 5282095"/>
              <a:gd name="connsiteX10753" fmla="*/ 5933754 w 7714416"/>
              <a:gd name="connsiteY10753" fmla="*/ 3909724 h 5282095"/>
              <a:gd name="connsiteX10754" fmla="*/ 5940628 w 7714416"/>
              <a:gd name="connsiteY10754" fmla="*/ 3911390 h 5282095"/>
              <a:gd name="connsiteX10755" fmla="*/ 5943494 w 7714416"/>
              <a:gd name="connsiteY10755" fmla="*/ 3913611 h 5282095"/>
              <a:gd name="connsiteX10756" fmla="*/ 5948650 w 7714416"/>
              <a:gd name="connsiteY10756" fmla="*/ 3908724 h 5282095"/>
              <a:gd name="connsiteX10757" fmla="*/ 5954092 w 7714416"/>
              <a:gd name="connsiteY10757" fmla="*/ 3908723 h 5282095"/>
              <a:gd name="connsiteX10758" fmla="*/ 5954379 w 7714416"/>
              <a:gd name="connsiteY10758" fmla="*/ 3908724 h 5282095"/>
              <a:gd name="connsiteX10759" fmla="*/ 5954952 w 7714416"/>
              <a:gd name="connsiteY10759" fmla="*/ 3907613 h 5282095"/>
              <a:gd name="connsiteX10760" fmla="*/ 5960968 w 7714416"/>
              <a:gd name="connsiteY10760" fmla="*/ 3904281 h 5282095"/>
              <a:gd name="connsiteX10761" fmla="*/ 6468869 w 7714416"/>
              <a:gd name="connsiteY10761" fmla="*/ 3902502 h 5282095"/>
              <a:gd name="connsiteX10762" fmla="*/ 6488635 w 7714416"/>
              <a:gd name="connsiteY10762" fmla="*/ 3911389 h 5282095"/>
              <a:gd name="connsiteX10763" fmla="*/ 6477176 w 7714416"/>
              <a:gd name="connsiteY10763" fmla="*/ 3911501 h 5282095"/>
              <a:gd name="connsiteX10764" fmla="*/ 6471735 w 7714416"/>
              <a:gd name="connsiteY10764" fmla="*/ 3911501 h 5282095"/>
              <a:gd name="connsiteX10765" fmla="*/ 6476890 w 7714416"/>
              <a:gd name="connsiteY10765" fmla="*/ 3912167 h 5282095"/>
              <a:gd name="connsiteX10766" fmla="*/ 6477750 w 7714416"/>
              <a:gd name="connsiteY10766" fmla="*/ 3914944 h 5282095"/>
              <a:gd name="connsiteX10767" fmla="*/ 6471734 w 7714416"/>
              <a:gd name="connsiteY10767" fmla="*/ 3920832 h 5282095"/>
              <a:gd name="connsiteX10768" fmla="*/ 6477463 w 7714416"/>
              <a:gd name="connsiteY10768" fmla="*/ 3928496 h 5282095"/>
              <a:gd name="connsiteX10769" fmla="*/ 6478036 w 7714416"/>
              <a:gd name="connsiteY10769" fmla="*/ 3929052 h 5282095"/>
              <a:gd name="connsiteX10770" fmla="*/ 6478036 w 7714416"/>
              <a:gd name="connsiteY10770" fmla="*/ 3929163 h 5282095"/>
              <a:gd name="connsiteX10771" fmla="*/ 6480614 w 7714416"/>
              <a:gd name="connsiteY10771" fmla="*/ 3932162 h 5282095"/>
              <a:gd name="connsiteX10772" fmla="*/ 6480614 w 7714416"/>
              <a:gd name="connsiteY10772" fmla="*/ 3932385 h 5282095"/>
              <a:gd name="connsiteX10773" fmla="*/ 6481475 w 7714416"/>
              <a:gd name="connsiteY10773" fmla="*/ 3933384 h 5282095"/>
              <a:gd name="connsiteX10774" fmla="*/ 6481187 w 7714416"/>
              <a:gd name="connsiteY10774" fmla="*/ 3940604 h 5282095"/>
              <a:gd name="connsiteX10775" fmla="*/ 6465145 w 7714416"/>
              <a:gd name="connsiteY10775" fmla="*/ 3944714 h 5282095"/>
              <a:gd name="connsiteX10776" fmla="*/ 6460275 w 7714416"/>
              <a:gd name="connsiteY10776" fmla="*/ 3943604 h 5282095"/>
              <a:gd name="connsiteX10777" fmla="*/ 6461421 w 7714416"/>
              <a:gd name="connsiteY10777" fmla="*/ 3946158 h 5282095"/>
              <a:gd name="connsiteX10778" fmla="*/ 6427618 w 7714416"/>
              <a:gd name="connsiteY10778" fmla="*/ 3948047 h 5282095"/>
              <a:gd name="connsiteX10779" fmla="*/ 6424180 w 7714416"/>
              <a:gd name="connsiteY10779" fmla="*/ 3947047 h 5282095"/>
              <a:gd name="connsiteX10780" fmla="*/ 6423894 w 7714416"/>
              <a:gd name="connsiteY10780" fmla="*/ 3944159 h 5282095"/>
              <a:gd name="connsiteX10781" fmla="*/ 6445666 w 7714416"/>
              <a:gd name="connsiteY10781" fmla="*/ 3939383 h 5282095"/>
              <a:gd name="connsiteX10782" fmla="*/ 6449962 w 7714416"/>
              <a:gd name="connsiteY10782" fmla="*/ 3940716 h 5282095"/>
              <a:gd name="connsiteX10783" fmla="*/ 6452254 w 7714416"/>
              <a:gd name="connsiteY10783" fmla="*/ 3941382 h 5282095"/>
              <a:gd name="connsiteX10784" fmla="*/ 6447670 w 7714416"/>
              <a:gd name="connsiteY10784" fmla="*/ 3938494 h 5282095"/>
              <a:gd name="connsiteX10785" fmla="*/ 6445952 w 7714416"/>
              <a:gd name="connsiteY10785" fmla="*/ 3928052 h 5282095"/>
              <a:gd name="connsiteX10786" fmla="*/ 6447670 w 7714416"/>
              <a:gd name="connsiteY10786" fmla="*/ 3927608 h 5282095"/>
              <a:gd name="connsiteX10787" fmla="*/ 6440797 w 7714416"/>
              <a:gd name="connsiteY10787" fmla="*/ 3922276 h 5282095"/>
              <a:gd name="connsiteX10788" fmla="*/ 6462567 w 7714416"/>
              <a:gd name="connsiteY10788" fmla="*/ 3912834 h 5282095"/>
              <a:gd name="connsiteX10789" fmla="*/ 6466291 w 7714416"/>
              <a:gd name="connsiteY10789" fmla="*/ 3912278 h 5282095"/>
              <a:gd name="connsiteX10790" fmla="*/ 6465718 w 7714416"/>
              <a:gd name="connsiteY10790" fmla="*/ 3911390 h 5282095"/>
              <a:gd name="connsiteX10791" fmla="*/ 6462280 w 7714416"/>
              <a:gd name="connsiteY10791" fmla="*/ 3911389 h 5282095"/>
              <a:gd name="connsiteX10792" fmla="*/ 6442800 w 7714416"/>
              <a:gd name="connsiteY10792" fmla="*/ 3904169 h 5282095"/>
              <a:gd name="connsiteX10793" fmla="*/ 6468869 w 7714416"/>
              <a:gd name="connsiteY10793" fmla="*/ 3902502 h 5282095"/>
              <a:gd name="connsiteX10794" fmla="*/ 6532750 w 7714416"/>
              <a:gd name="connsiteY10794" fmla="*/ 3901948 h 5282095"/>
              <a:gd name="connsiteX10795" fmla="*/ 6516136 w 7714416"/>
              <a:gd name="connsiteY10795" fmla="*/ 3914389 h 5282095"/>
              <a:gd name="connsiteX10796" fmla="*/ 6510120 w 7714416"/>
              <a:gd name="connsiteY10796" fmla="*/ 3914389 h 5282095"/>
              <a:gd name="connsiteX10797" fmla="*/ 6514417 w 7714416"/>
              <a:gd name="connsiteY10797" fmla="*/ 3915944 h 5282095"/>
              <a:gd name="connsiteX10798" fmla="*/ 6516708 w 7714416"/>
              <a:gd name="connsiteY10798" fmla="*/ 3921276 h 5282095"/>
              <a:gd name="connsiteX10799" fmla="*/ 6516136 w 7714416"/>
              <a:gd name="connsiteY10799" fmla="*/ 3920277 h 5282095"/>
              <a:gd name="connsiteX10800" fmla="*/ 6512984 w 7714416"/>
              <a:gd name="connsiteY10800" fmla="*/ 3921276 h 5282095"/>
              <a:gd name="connsiteX10801" fmla="*/ 6513558 w 7714416"/>
              <a:gd name="connsiteY10801" fmla="*/ 3922276 h 5282095"/>
              <a:gd name="connsiteX10802" fmla="*/ 6509834 w 7714416"/>
              <a:gd name="connsiteY10802" fmla="*/ 3922276 h 5282095"/>
              <a:gd name="connsiteX10803" fmla="*/ 6500666 w 7714416"/>
              <a:gd name="connsiteY10803" fmla="*/ 3916388 h 5282095"/>
              <a:gd name="connsiteX10804" fmla="*/ 6504390 w 7714416"/>
              <a:gd name="connsiteY10804" fmla="*/ 3913722 h 5282095"/>
              <a:gd name="connsiteX10805" fmla="*/ 6506969 w 7714416"/>
              <a:gd name="connsiteY10805" fmla="*/ 3913722 h 5282095"/>
              <a:gd name="connsiteX10806" fmla="*/ 6511266 w 7714416"/>
              <a:gd name="connsiteY10806" fmla="*/ 3907724 h 5282095"/>
              <a:gd name="connsiteX10807" fmla="*/ 6532750 w 7714416"/>
              <a:gd name="connsiteY10807" fmla="*/ 3901948 h 5282095"/>
              <a:gd name="connsiteX10808" fmla="*/ 5993911 w 7714416"/>
              <a:gd name="connsiteY10808" fmla="*/ 3901503 h 5282095"/>
              <a:gd name="connsiteX10809" fmla="*/ 6001072 w 7714416"/>
              <a:gd name="connsiteY10809" fmla="*/ 3905614 h 5282095"/>
              <a:gd name="connsiteX10810" fmla="*/ 5993911 w 7714416"/>
              <a:gd name="connsiteY10810" fmla="*/ 3916499 h 5282095"/>
              <a:gd name="connsiteX10811" fmla="*/ 5977582 w 7714416"/>
              <a:gd name="connsiteY10811" fmla="*/ 3913833 h 5282095"/>
              <a:gd name="connsiteX10812" fmla="*/ 5993911 w 7714416"/>
              <a:gd name="connsiteY10812" fmla="*/ 3901503 h 5282095"/>
              <a:gd name="connsiteX10813" fmla="*/ 1878565 w 7714416"/>
              <a:gd name="connsiteY10813" fmla="*/ 3900171 h 5282095"/>
              <a:gd name="connsiteX10814" fmla="*/ 1886586 w 7714416"/>
              <a:gd name="connsiteY10814" fmla="*/ 3905724 h 5282095"/>
              <a:gd name="connsiteX10815" fmla="*/ 1886300 w 7714416"/>
              <a:gd name="connsiteY10815" fmla="*/ 3909279 h 5282095"/>
              <a:gd name="connsiteX10816" fmla="*/ 1881430 w 7714416"/>
              <a:gd name="connsiteY10816" fmla="*/ 3907502 h 5282095"/>
              <a:gd name="connsiteX10817" fmla="*/ 1881143 w 7714416"/>
              <a:gd name="connsiteY10817" fmla="*/ 3904836 h 5282095"/>
              <a:gd name="connsiteX10818" fmla="*/ 1877132 w 7714416"/>
              <a:gd name="connsiteY10818" fmla="*/ 3902059 h 5282095"/>
              <a:gd name="connsiteX10819" fmla="*/ 1878565 w 7714416"/>
              <a:gd name="connsiteY10819" fmla="*/ 3900171 h 5282095"/>
              <a:gd name="connsiteX10820" fmla="*/ 1897185 w 7714416"/>
              <a:gd name="connsiteY10820" fmla="*/ 3899726 h 5282095"/>
              <a:gd name="connsiteX10821" fmla="*/ 1898903 w 7714416"/>
              <a:gd name="connsiteY10821" fmla="*/ 3901281 h 5282095"/>
              <a:gd name="connsiteX10822" fmla="*/ 1900623 w 7714416"/>
              <a:gd name="connsiteY10822" fmla="*/ 3904613 h 5282095"/>
              <a:gd name="connsiteX10823" fmla="*/ 1902915 w 7714416"/>
              <a:gd name="connsiteY10823" fmla="*/ 3906835 h 5282095"/>
              <a:gd name="connsiteX10824" fmla="*/ 1900909 w 7714416"/>
              <a:gd name="connsiteY10824" fmla="*/ 3910057 h 5282095"/>
              <a:gd name="connsiteX10825" fmla="*/ 1898330 w 7714416"/>
              <a:gd name="connsiteY10825" fmla="*/ 3907724 h 5282095"/>
              <a:gd name="connsiteX10826" fmla="*/ 1893747 w 7714416"/>
              <a:gd name="connsiteY10826" fmla="*/ 3900614 h 5282095"/>
              <a:gd name="connsiteX10827" fmla="*/ 1897185 w 7714416"/>
              <a:gd name="connsiteY10827" fmla="*/ 3899726 h 5282095"/>
              <a:gd name="connsiteX10828" fmla="*/ 6999688 w 7714416"/>
              <a:gd name="connsiteY10828" fmla="*/ 3897615 h 5282095"/>
              <a:gd name="connsiteX10829" fmla="*/ 7013438 w 7714416"/>
              <a:gd name="connsiteY10829" fmla="*/ 3899059 h 5282095"/>
              <a:gd name="connsiteX10830" fmla="*/ 6990807 w 7714416"/>
              <a:gd name="connsiteY10830" fmla="*/ 3911390 h 5282095"/>
              <a:gd name="connsiteX10831" fmla="*/ 6985937 w 7714416"/>
              <a:gd name="connsiteY10831" fmla="*/ 3899947 h 5282095"/>
              <a:gd name="connsiteX10832" fmla="*/ 6999688 w 7714416"/>
              <a:gd name="connsiteY10832" fmla="*/ 3897615 h 5282095"/>
              <a:gd name="connsiteX10833" fmla="*/ 2009766 w 7714416"/>
              <a:gd name="connsiteY10833" fmla="*/ 3897171 h 5282095"/>
              <a:gd name="connsiteX10834" fmla="*/ 2016927 w 7714416"/>
              <a:gd name="connsiteY10834" fmla="*/ 3916055 h 5282095"/>
              <a:gd name="connsiteX10835" fmla="*/ 2017500 w 7714416"/>
              <a:gd name="connsiteY10835" fmla="*/ 3915055 h 5282095"/>
              <a:gd name="connsiteX10836" fmla="*/ 2025808 w 7714416"/>
              <a:gd name="connsiteY10836" fmla="*/ 3912056 h 5282095"/>
              <a:gd name="connsiteX10837" fmla="*/ 2040417 w 7714416"/>
              <a:gd name="connsiteY10837" fmla="*/ 3916610 h 5282095"/>
              <a:gd name="connsiteX10838" fmla="*/ 2037553 w 7714416"/>
              <a:gd name="connsiteY10838" fmla="*/ 3926608 h 5282095"/>
              <a:gd name="connsiteX10839" fmla="*/ 2012916 w 7714416"/>
              <a:gd name="connsiteY10839" fmla="*/ 3922164 h 5282095"/>
              <a:gd name="connsiteX10840" fmla="*/ 2012916 w 7714416"/>
              <a:gd name="connsiteY10840" fmla="*/ 3921832 h 5282095"/>
              <a:gd name="connsiteX10841" fmla="*/ 2005469 w 7714416"/>
              <a:gd name="connsiteY10841" fmla="*/ 3922720 h 5282095"/>
              <a:gd name="connsiteX10842" fmla="*/ 1994583 w 7714416"/>
              <a:gd name="connsiteY10842" fmla="*/ 3925497 h 5282095"/>
              <a:gd name="connsiteX10843" fmla="*/ 1977109 w 7714416"/>
              <a:gd name="connsiteY10843" fmla="*/ 3905280 h 5282095"/>
              <a:gd name="connsiteX10844" fmla="*/ 2009766 w 7714416"/>
              <a:gd name="connsiteY10844" fmla="*/ 3897171 h 5282095"/>
              <a:gd name="connsiteX10845" fmla="*/ 1934998 w 7714416"/>
              <a:gd name="connsiteY10845" fmla="*/ 3897171 h 5282095"/>
              <a:gd name="connsiteX10846" fmla="*/ 1939581 w 7714416"/>
              <a:gd name="connsiteY10846" fmla="*/ 3898947 h 5282095"/>
              <a:gd name="connsiteX10847" fmla="*/ 1939296 w 7714416"/>
              <a:gd name="connsiteY10847" fmla="*/ 3910168 h 5282095"/>
              <a:gd name="connsiteX10848" fmla="*/ 1933280 w 7714416"/>
              <a:gd name="connsiteY10848" fmla="*/ 3899504 h 5282095"/>
              <a:gd name="connsiteX10849" fmla="*/ 1934998 w 7714416"/>
              <a:gd name="connsiteY10849" fmla="*/ 3897171 h 5282095"/>
              <a:gd name="connsiteX10850" fmla="*/ 1800361 w 7714416"/>
              <a:gd name="connsiteY10850" fmla="*/ 3896060 h 5282095"/>
              <a:gd name="connsiteX10851" fmla="*/ 1802652 w 7714416"/>
              <a:gd name="connsiteY10851" fmla="*/ 3900837 h 5282095"/>
              <a:gd name="connsiteX10852" fmla="*/ 1796063 w 7714416"/>
              <a:gd name="connsiteY10852" fmla="*/ 3899615 h 5282095"/>
              <a:gd name="connsiteX10853" fmla="*/ 1796063 w 7714416"/>
              <a:gd name="connsiteY10853" fmla="*/ 3897616 h 5282095"/>
              <a:gd name="connsiteX10854" fmla="*/ 1800361 w 7714416"/>
              <a:gd name="connsiteY10854" fmla="*/ 3896060 h 5282095"/>
              <a:gd name="connsiteX10855" fmla="*/ 6713796 w 7714416"/>
              <a:gd name="connsiteY10855" fmla="*/ 3895616 h 5282095"/>
              <a:gd name="connsiteX10856" fmla="*/ 6721817 w 7714416"/>
              <a:gd name="connsiteY10856" fmla="*/ 3908168 h 5282095"/>
              <a:gd name="connsiteX10857" fmla="*/ 6713796 w 7714416"/>
              <a:gd name="connsiteY10857" fmla="*/ 3895616 h 5282095"/>
              <a:gd name="connsiteX10858" fmla="*/ 5946645 w 7714416"/>
              <a:gd name="connsiteY10858" fmla="*/ 3894616 h 5282095"/>
              <a:gd name="connsiteX10859" fmla="*/ 5946359 w 7714416"/>
              <a:gd name="connsiteY10859" fmla="*/ 3895394 h 5282095"/>
              <a:gd name="connsiteX10860" fmla="*/ 5953233 w 7714416"/>
              <a:gd name="connsiteY10860" fmla="*/ 3896727 h 5282095"/>
              <a:gd name="connsiteX10861" fmla="*/ 5949796 w 7714416"/>
              <a:gd name="connsiteY10861" fmla="*/ 3901948 h 5282095"/>
              <a:gd name="connsiteX10862" fmla="*/ 5944066 w 7714416"/>
              <a:gd name="connsiteY10862" fmla="*/ 3898504 h 5282095"/>
              <a:gd name="connsiteX10863" fmla="*/ 5944639 w 7714416"/>
              <a:gd name="connsiteY10863" fmla="*/ 3894727 h 5282095"/>
              <a:gd name="connsiteX10864" fmla="*/ 5946645 w 7714416"/>
              <a:gd name="connsiteY10864" fmla="*/ 3894616 h 5282095"/>
              <a:gd name="connsiteX10865" fmla="*/ 7398160 w 7714416"/>
              <a:gd name="connsiteY10865" fmla="*/ 3892505 h 5282095"/>
              <a:gd name="connsiteX10866" fmla="*/ 7380112 w 7714416"/>
              <a:gd name="connsiteY10866" fmla="*/ 3908502 h 5282095"/>
              <a:gd name="connsiteX10867" fmla="*/ 7373524 w 7714416"/>
              <a:gd name="connsiteY10867" fmla="*/ 3900170 h 5282095"/>
              <a:gd name="connsiteX10868" fmla="*/ 7398160 w 7714416"/>
              <a:gd name="connsiteY10868" fmla="*/ 3892505 h 5282095"/>
              <a:gd name="connsiteX10869" fmla="*/ 6175530 w 7714416"/>
              <a:gd name="connsiteY10869" fmla="*/ 3892505 h 5282095"/>
              <a:gd name="connsiteX10870" fmla="*/ 6180972 w 7714416"/>
              <a:gd name="connsiteY10870" fmla="*/ 3892839 h 5282095"/>
              <a:gd name="connsiteX10871" fmla="*/ 6191858 w 7714416"/>
              <a:gd name="connsiteY10871" fmla="*/ 3896949 h 5282095"/>
              <a:gd name="connsiteX10872" fmla="*/ 6197014 w 7714416"/>
              <a:gd name="connsiteY10872" fmla="*/ 3901171 h 5282095"/>
              <a:gd name="connsiteX10873" fmla="*/ 6200738 w 7714416"/>
              <a:gd name="connsiteY10873" fmla="*/ 3901503 h 5282095"/>
              <a:gd name="connsiteX10874" fmla="*/ 6199020 w 7714416"/>
              <a:gd name="connsiteY10874" fmla="*/ 3905502 h 5282095"/>
              <a:gd name="connsiteX10875" fmla="*/ 6198733 w 7714416"/>
              <a:gd name="connsiteY10875" fmla="*/ 3909279 h 5282095"/>
              <a:gd name="connsiteX10876" fmla="*/ 6193577 w 7714416"/>
              <a:gd name="connsiteY10876" fmla="*/ 3911612 h 5282095"/>
              <a:gd name="connsiteX10877" fmla="*/ 6191858 w 7714416"/>
              <a:gd name="connsiteY10877" fmla="*/ 3911168 h 5282095"/>
              <a:gd name="connsiteX10878" fmla="*/ 6184696 w 7714416"/>
              <a:gd name="connsiteY10878" fmla="*/ 3913278 h 5282095"/>
              <a:gd name="connsiteX10879" fmla="*/ 6183265 w 7714416"/>
              <a:gd name="connsiteY10879" fmla="*/ 3915278 h 5282095"/>
              <a:gd name="connsiteX10880" fmla="*/ 6186129 w 7714416"/>
              <a:gd name="connsiteY10880" fmla="*/ 3918943 h 5282095"/>
              <a:gd name="connsiteX10881" fmla="*/ 6188708 w 7714416"/>
              <a:gd name="connsiteY10881" fmla="*/ 3920832 h 5282095"/>
              <a:gd name="connsiteX10882" fmla="*/ 6193004 w 7714416"/>
              <a:gd name="connsiteY10882" fmla="*/ 3920165 h 5282095"/>
              <a:gd name="connsiteX10883" fmla="*/ 6208760 w 7714416"/>
              <a:gd name="connsiteY10883" fmla="*/ 3919609 h 5282095"/>
              <a:gd name="connsiteX10884" fmla="*/ 6207327 w 7714416"/>
              <a:gd name="connsiteY10884" fmla="*/ 3921165 h 5282095"/>
              <a:gd name="connsiteX10885" fmla="*/ 6195010 w 7714416"/>
              <a:gd name="connsiteY10885" fmla="*/ 3923165 h 5282095"/>
              <a:gd name="connsiteX10886" fmla="*/ 6192718 w 7714416"/>
              <a:gd name="connsiteY10886" fmla="*/ 3923498 h 5282095"/>
              <a:gd name="connsiteX10887" fmla="*/ 6195582 w 7714416"/>
              <a:gd name="connsiteY10887" fmla="*/ 3925497 h 5282095"/>
              <a:gd name="connsiteX10888" fmla="*/ 6212484 w 7714416"/>
              <a:gd name="connsiteY10888" fmla="*/ 3939938 h 5282095"/>
              <a:gd name="connsiteX10889" fmla="*/ 6213916 w 7714416"/>
              <a:gd name="connsiteY10889" fmla="*/ 3945381 h 5282095"/>
              <a:gd name="connsiteX10890" fmla="*/ 6220218 w 7714416"/>
              <a:gd name="connsiteY10890" fmla="*/ 3941827 h 5282095"/>
              <a:gd name="connsiteX10891" fmla="*/ 6226520 w 7714416"/>
              <a:gd name="connsiteY10891" fmla="*/ 3938049 h 5282095"/>
              <a:gd name="connsiteX10892" fmla="*/ 6238265 w 7714416"/>
              <a:gd name="connsiteY10892" fmla="*/ 3931607 h 5282095"/>
              <a:gd name="connsiteX10893" fmla="*/ 6240270 w 7714416"/>
              <a:gd name="connsiteY10893" fmla="*/ 3928386 h 5282095"/>
              <a:gd name="connsiteX10894" fmla="*/ 6241130 w 7714416"/>
              <a:gd name="connsiteY10894" fmla="*/ 3927941 h 5282095"/>
              <a:gd name="connsiteX10895" fmla="*/ 6241130 w 7714416"/>
              <a:gd name="connsiteY10895" fmla="*/ 3926719 h 5282095"/>
              <a:gd name="connsiteX10896" fmla="*/ 6242562 w 7714416"/>
              <a:gd name="connsiteY10896" fmla="*/ 3926274 h 5282095"/>
              <a:gd name="connsiteX10897" fmla="*/ 6242277 w 7714416"/>
              <a:gd name="connsiteY10897" fmla="*/ 3927386 h 5282095"/>
              <a:gd name="connsiteX10898" fmla="*/ 6244281 w 7714416"/>
              <a:gd name="connsiteY10898" fmla="*/ 3926386 h 5282095"/>
              <a:gd name="connsiteX10899" fmla="*/ 6255740 w 7714416"/>
              <a:gd name="connsiteY10899" fmla="*/ 3931162 h 5282095"/>
              <a:gd name="connsiteX10900" fmla="*/ 6255453 w 7714416"/>
              <a:gd name="connsiteY10900" fmla="*/ 3938605 h 5282095"/>
              <a:gd name="connsiteX10901" fmla="*/ 6239411 w 7714416"/>
              <a:gd name="connsiteY10901" fmla="*/ 3936939 h 5282095"/>
              <a:gd name="connsiteX10902" fmla="*/ 6238838 w 7714416"/>
              <a:gd name="connsiteY10902" fmla="*/ 3936606 h 5282095"/>
              <a:gd name="connsiteX10903" fmla="*/ 6238838 w 7714416"/>
              <a:gd name="connsiteY10903" fmla="*/ 3936828 h 5282095"/>
              <a:gd name="connsiteX10904" fmla="*/ 6235400 w 7714416"/>
              <a:gd name="connsiteY10904" fmla="*/ 3939383 h 5282095"/>
              <a:gd name="connsiteX10905" fmla="*/ 6247718 w 7714416"/>
              <a:gd name="connsiteY10905" fmla="*/ 3940938 h 5282095"/>
              <a:gd name="connsiteX10906" fmla="*/ 6271782 w 7714416"/>
              <a:gd name="connsiteY10906" fmla="*/ 3950047 h 5282095"/>
              <a:gd name="connsiteX10907" fmla="*/ 6240557 w 7714416"/>
              <a:gd name="connsiteY10907" fmla="*/ 3973152 h 5282095"/>
              <a:gd name="connsiteX10908" fmla="*/ 6221078 w 7714416"/>
              <a:gd name="connsiteY10908" fmla="*/ 3948713 h 5282095"/>
              <a:gd name="connsiteX10909" fmla="*/ 6222511 w 7714416"/>
              <a:gd name="connsiteY10909" fmla="*/ 3946270 h 5282095"/>
              <a:gd name="connsiteX10910" fmla="*/ 6219072 w 7714416"/>
              <a:gd name="connsiteY10910" fmla="*/ 3947603 h 5282095"/>
              <a:gd name="connsiteX10911" fmla="*/ 6212484 w 7714416"/>
              <a:gd name="connsiteY10911" fmla="*/ 3946269 h 5282095"/>
              <a:gd name="connsiteX10912" fmla="*/ 6213056 w 7714416"/>
              <a:gd name="connsiteY10912" fmla="*/ 3946047 h 5282095"/>
              <a:gd name="connsiteX10913" fmla="*/ 6206754 w 7714416"/>
              <a:gd name="connsiteY10913" fmla="*/ 3945715 h 5282095"/>
              <a:gd name="connsiteX10914" fmla="*/ 6194722 w 7714416"/>
              <a:gd name="connsiteY10914" fmla="*/ 3941382 h 5282095"/>
              <a:gd name="connsiteX10915" fmla="*/ 6185556 w 7714416"/>
              <a:gd name="connsiteY10915" fmla="*/ 3934828 h 5282095"/>
              <a:gd name="connsiteX10916" fmla="*/ 6184124 w 7714416"/>
              <a:gd name="connsiteY10916" fmla="*/ 3934495 h 5282095"/>
              <a:gd name="connsiteX10917" fmla="*/ 6176963 w 7714416"/>
              <a:gd name="connsiteY10917" fmla="*/ 3930274 h 5282095"/>
              <a:gd name="connsiteX10918" fmla="*/ 6176962 w 7714416"/>
              <a:gd name="connsiteY10918" fmla="*/ 3930384 h 5282095"/>
              <a:gd name="connsiteX10919" fmla="*/ 6172092 w 7714416"/>
              <a:gd name="connsiteY10919" fmla="*/ 3942048 h 5282095"/>
              <a:gd name="connsiteX10920" fmla="*/ 6170373 w 7714416"/>
              <a:gd name="connsiteY10920" fmla="*/ 3942604 h 5282095"/>
              <a:gd name="connsiteX10921" fmla="*/ 6167795 w 7714416"/>
              <a:gd name="connsiteY10921" fmla="*/ 3940493 h 5282095"/>
              <a:gd name="connsiteX10922" fmla="*/ 6169228 w 7714416"/>
              <a:gd name="connsiteY10922" fmla="*/ 3935383 h 5282095"/>
              <a:gd name="connsiteX10923" fmla="*/ 6173238 w 7714416"/>
              <a:gd name="connsiteY10923" fmla="*/ 3928940 h 5282095"/>
              <a:gd name="connsiteX10924" fmla="*/ 6174097 w 7714416"/>
              <a:gd name="connsiteY10924" fmla="*/ 3928051 h 5282095"/>
              <a:gd name="connsiteX10925" fmla="*/ 6161492 w 7714416"/>
              <a:gd name="connsiteY10925" fmla="*/ 3918832 h 5282095"/>
              <a:gd name="connsiteX10926" fmla="*/ 6156910 w 7714416"/>
              <a:gd name="connsiteY10926" fmla="*/ 3918944 h 5282095"/>
              <a:gd name="connsiteX10927" fmla="*/ 6156910 w 7714416"/>
              <a:gd name="connsiteY10927" fmla="*/ 3919277 h 5282095"/>
              <a:gd name="connsiteX10928" fmla="*/ 6147742 w 7714416"/>
              <a:gd name="connsiteY10928" fmla="*/ 3923498 h 5282095"/>
              <a:gd name="connsiteX10929" fmla="*/ 6142300 w 7714416"/>
              <a:gd name="connsiteY10929" fmla="*/ 3924275 h 5282095"/>
              <a:gd name="connsiteX10930" fmla="*/ 6142586 w 7714416"/>
              <a:gd name="connsiteY10930" fmla="*/ 3924275 h 5282095"/>
              <a:gd name="connsiteX10931" fmla="*/ 6143159 w 7714416"/>
              <a:gd name="connsiteY10931" fmla="*/ 3926608 h 5282095"/>
              <a:gd name="connsiteX10932" fmla="*/ 6132845 w 7714416"/>
              <a:gd name="connsiteY10932" fmla="*/ 3933051 h 5282095"/>
              <a:gd name="connsiteX10933" fmla="*/ 6125398 w 7714416"/>
              <a:gd name="connsiteY10933" fmla="*/ 3934162 h 5282095"/>
              <a:gd name="connsiteX10934" fmla="*/ 6129695 w 7714416"/>
              <a:gd name="connsiteY10934" fmla="*/ 3943826 h 5282095"/>
              <a:gd name="connsiteX10935" fmla="*/ 6136857 w 7714416"/>
              <a:gd name="connsiteY10935" fmla="*/ 3968486 h 5282095"/>
              <a:gd name="connsiteX10936" fmla="*/ 6121960 w 7714416"/>
              <a:gd name="connsiteY10936" fmla="*/ 3979595 h 5282095"/>
              <a:gd name="connsiteX10937" fmla="*/ 6119956 w 7714416"/>
              <a:gd name="connsiteY10937" fmla="*/ 3986148 h 5282095"/>
              <a:gd name="connsiteX10938" fmla="*/ 6125398 w 7714416"/>
              <a:gd name="connsiteY10938" fmla="*/ 3977929 h 5282095"/>
              <a:gd name="connsiteX10939" fmla="*/ 6136284 w 7714416"/>
              <a:gd name="connsiteY10939" fmla="*/ 3998035 h 5282095"/>
              <a:gd name="connsiteX10940" fmla="*/ 6119669 w 7714416"/>
              <a:gd name="connsiteY10940" fmla="*/ 3996479 h 5282095"/>
              <a:gd name="connsiteX10941" fmla="*/ 6119956 w 7714416"/>
              <a:gd name="connsiteY10941" fmla="*/ 3986482 h 5282095"/>
              <a:gd name="connsiteX10942" fmla="*/ 6118523 w 7714416"/>
              <a:gd name="connsiteY10942" fmla="*/ 3991703 h 5282095"/>
              <a:gd name="connsiteX10943" fmla="*/ 6071256 w 7714416"/>
              <a:gd name="connsiteY10943" fmla="*/ 4003477 h 5282095"/>
              <a:gd name="connsiteX10944" fmla="*/ 6043183 w 7714416"/>
              <a:gd name="connsiteY10944" fmla="*/ 3994257 h 5282095"/>
              <a:gd name="connsiteX10945" fmla="*/ 6032011 w 7714416"/>
              <a:gd name="connsiteY10945" fmla="*/ 3990592 h 5282095"/>
              <a:gd name="connsiteX10946" fmla="*/ 6027141 w 7714416"/>
              <a:gd name="connsiteY10946" fmla="*/ 3995591 h 5282095"/>
              <a:gd name="connsiteX10947" fmla="*/ 6022844 w 7714416"/>
              <a:gd name="connsiteY10947" fmla="*/ 3991592 h 5282095"/>
              <a:gd name="connsiteX10948" fmla="*/ 6024850 w 7714416"/>
              <a:gd name="connsiteY10948" fmla="*/ 3988370 h 5282095"/>
              <a:gd name="connsiteX10949" fmla="*/ 6014823 w 7714416"/>
              <a:gd name="connsiteY10949" fmla="*/ 3985149 h 5282095"/>
              <a:gd name="connsiteX10950" fmla="*/ 6009666 w 7714416"/>
              <a:gd name="connsiteY10950" fmla="*/ 3973374 h 5282095"/>
              <a:gd name="connsiteX10951" fmla="*/ 6000500 w 7714416"/>
              <a:gd name="connsiteY10951" fmla="*/ 3975485 h 5282095"/>
              <a:gd name="connsiteX10952" fmla="*/ 6000214 w 7714416"/>
              <a:gd name="connsiteY10952" fmla="*/ 3968154 h 5282095"/>
              <a:gd name="connsiteX10953" fmla="*/ 6003938 w 7714416"/>
              <a:gd name="connsiteY10953" fmla="*/ 3965376 h 5282095"/>
              <a:gd name="connsiteX10954" fmla="*/ 6000500 w 7714416"/>
              <a:gd name="connsiteY10954" fmla="*/ 3960599 h 5282095"/>
              <a:gd name="connsiteX10955" fmla="*/ 5995630 w 7714416"/>
              <a:gd name="connsiteY10955" fmla="*/ 3951602 h 5282095"/>
              <a:gd name="connsiteX10956" fmla="*/ 5991905 w 7714416"/>
              <a:gd name="connsiteY10956" fmla="*/ 3952380 h 5282095"/>
              <a:gd name="connsiteX10957" fmla="*/ 5990474 w 7714416"/>
              <a:gd name="connsiteY10957" fmla="*/ 3951935 h 5282095"/>
              <a:gd name="connsiteX10958" fmla="*/ 5989614 w 7714416"/>
              <a:gd name="connsiteY10958" fmla="*/ 3952157 h 5282095"/>
              <a:gd name="connsiteX10959" fmla="*/ 5983885 w 7714416"/>
              <a:gd name="connsiteY10959" fmla="*/ 3952045 h 5282095"/>
              <a:gd name="connsiteX10960" fmla="*/ 5975578 w 7714416"/>
              <a:gd name="connsiteY10960" fmla="*/ 3952380 h 5282095"/>
              <a:gd name="connsiteX10961" fmla="*/ 5956670 w 7714416"/>
              <a:gd name="connsiteY10961" fmla="*/ 3951046 h 5282095"/>
              <a:gd name="connsiteX10962" fmla="*/ 5953520 w 7714416"/>
              <a:gd name="connsiteY10962" fmla="*/ 3950268 h 5282095"/>
              <a:gd name="connsiteX10963" fmla="*/ 5944639 w 7714416"/>
              <a:gd name="connsiteY10963" fmla="*/ 3956045 h 5282095"/>
              <a:gd name="connsiteX10964" fmla="*/ 5924300 w 7714416"/>
              <a:gd name="connsiteY10964" fmla="*/ 3959156 h 5282095"/>
              <a:gd name="connsiteX10965" fmla="*/ 5957244 w 7714416"/>
              <a:gd name="connsiteY10965" fmla="*/ 3941605 h 5282095"/>
              <a:gd name="connsiteX10966" fmla="*/ 5962973 w 7714416"/>
              <a:gd name="connsiteY10966" fmla="*/ 3943826 h 5282095"/>
              <a:gd name="connsiteX10967" fmla="*/ 5958103 w 7714416"/>
              <a:gd name="connsiteY10967" fmla="*/ 3947047 h 5282095"/>
              <a:gd name="connsiteX10968" fmla="*/ 5959249 w 7714416"/>
              <a:gd name="connsiteY10968" fmla="*/ 3946936 h 5282095"/>
              <a:gd name="connsiteX10969" fmla="*/ 5974145 w 7714416"/>
              <a:gd name="connsiteY10969" fmla="*/ 3947047 h 5282095"/>
              <a:gd name="connsiteX10970" fmla="*/ 5985317 w 7714416"/>
              <a:gd name="connsiteY10970" fmla="*/ 3946159 h 5282095"/>
              <a:gd name="connsiteX10971" fmla="*/ 5987036 w 7714416"/>
              <a:gd name="connsiteY10971" fmla="*/ 3943937 h 5282095"/>
              <a:gd name="connsiteX10972" fmla="*/ 5990474 w 7714416"/>
              <a:gd name="connsiteY10972" fmla="*/ 3941715 h 5282095"/>
              <a:gd name="connsiteX10973" fmla="*/ 5994484 w 7714416"/>
              <a:gd name="connsiteY10973" fmla="*/ 3942604 h 5282095"/>
              <a:gd name="connsiteX10974" fmla="*/ 5995058 w 7714416"/>
              <a:gd name="connsiteY10974" fmla="*/ 3935717 h 5282095"/>
              <a:gd name="connsiteX10975" fmla="*/ 5996203 w 7714416"/>
              <a:gd name="connsiteY10975" fmla="*/ 3935272 h 5282095"/>
              <a:gd name="connsiteX10976" fmla="*/ 6002505 w 7714416"/>
              <a:gd name="connsiteY10976" fmla="*/ 3928719 h 5282095"/>
              <a:gd name="connsiteX10977" fmla="*/ 6009380 w 7714416"/>
              <a:gd name="connsiteY10977" fmla="*/ 3926942 h 5282095"/>
              <a:gd name="connsiteX10978" fmla="*/ 6011386 w 7714416"/>
              <a:gd name="connsiteY10978" fmla="*/ 3924831 h 5282095"/>
              <a:gd name="connsiteX10979" fmla="*/ 6020267 w 7714416"/>
              <a:gd name="connsiteY10979" fmla="*/ 3913500 h 5282095"/>
              <a:gd name="connsiteX10980" fmla="*/ 6030578 w 7714416"/>
              <a:gd name="connsiteY10980" fmla="*/ 3911723 h 5282095"/>
              <a:gd name="connsiteX10981" fmla="*/ 6033730 w 7714416"/>
              <a:gd name="connsiteY10981" fmla="*/ 3910279 h 5282095"/>
              <a:gd name="connsiteX10982" fmla="*/ 6035448 w 7714416"/>
              <a:gd name="connsiteY10982" fmla="*/ 3910946 h 5282095"/>
              <a:gd name="connsiteX10983" fmla="*/ 6042324 w 7714416"/>
              <a:gd name="connsiteY10983" fmla="*/ 3909724 h 5282095"/>
              <a:gd name="connsiteX10984" fmla="*/ 6066960 w 7714416"/>
              <a:gd name="connsiteY10984" fmla="*/ 3908946 h 5282095"/>
              <a:gd name="connsiteX10985" fmla="*/ 6091309 w 7714416"/>
              <a:gd name="connsiteY10985" fmla="*/ 3912612 h 5282095"/>
              <a:gd name="connsiteX10986" fmla="*/ 6109642 w 7714416"/>
              <a:gd name="connsiteY10986" fmla="*/ 3920499 h 5282095"/>
              <a:gd name="connsiteX10987" fmla="*/ 6107351 w 7714416"/>
              <a:gd name="connsiteY10987" fmla="*/ 3918388 h 5282095"/>
              <a:gd name="connsiteX10988" fmla="*/ 6104773 w 7714416"/>
              <a:gd name="connsiteY10988" fmla="*/ 3906058 h 5282095"/>
              <a:gd name="connsiteX10989" fmla="*/ 6121388 w 7714416"/>
              <a:gd name="connsiteY10989" fmla="*/ 3902725 h 5282095"/>
              <a:gd name="connsiteX10990" fmla="*/ 6123680 w 7714416"/>
              <a:gd name="connsiteY10990" fmla="*/ 3903503 h 5282095"/>
              <a:gd name="connsiteX10991" fmla="*/ 6126830 w 7714416"/>
              <a:gd name="connsiteY10991" fmla="*/ 3904058 h 5282095"/>
              <a:gd name="connsiteX10992" fmla="*/ 6127117 w 7714416"/>
              <a:gd name="connsiteY10992" fmla="*/ 3904724 h 5282095"/>
              <a:gd name="connsiteX10993" fmla="*/ 6135998 w 7714416"/>
              <a:gd name="connsiteY10993" fmla="*/ 3907836 h 5282095"/>
              <a:gd name="connsiteX10994" fmla="*/ 6139148 w 7714416"/>
              <a:gd name="connsiteY10994" fmla="*/ 3914389 h 5282095"/>
              <a:gd name="connsiteX10995" fmla="*/ 6138862 w 7714416"/>
              <a:gd name="connsiteY10995" fmla="*/ 3916166 h 5282095"/>
              <a:gd name="connsiteX10996" fmla="*/ 6139722 w 7714416"/>
              <a:gd name="connsiteY10996" fmla="*/ 3916167 h 5282095"/>
              <a:gd name="connsiteX10997" fmla="*/ 6143159 w 7714416"/>
              <a:gd name="connsiteY10997" fmla="*/ 3915945 h 5282095"/>
              <a:gd name="connsiteX10998" fmla="*/ 6140868 w 7714416"/>
              <a:gd name="connsiteY10998" fmla="*/ 3914722 h 5282095"/>
              <a:gd name="connsiteX10999" fmla="*/ 6145737 w 7714416"/>
              <a:gd name="connsiteY10999" fmla="*/ 3912500 h 5282095"/>
              <a:gd name="connsiteX11000" fmla="*/ 6149748 w 7714416"/>
              <a:gd name="connsiteY11000" fmla="*/ 3909723 h 5282095"/>
              <a:gd name="connsiteX11001" fmla="*/ 6152326 w 7714416"/>
              <a:gd name="connsiteY11001" fmla="*/ 3909279 h 5282095"/>
              <a:gd name="connsiteX11002" fmla="*/ 6162925 w 7714416"/>
              <a:gd name="connsiteY11002" fmla="*/ 3904392 h 5282095"/>
              <a:gd name="connsiteX11003" fmla="*/ 6170373 w 7714416"/>
              <a:gd name="connsiteY11003" fmla="*/ 3903170 h 5282095"/>
              <a:gd name="connsiteX11004" fmla="*/ 6170373 w 7714416"/>
              <a:gd name="connsiteY11004" fmla="*/ 3902947 h 5282095"/>
              <a:gd name="connsiteX11005" fmla="*/ 6167795 w 7714416"/>
              <a:gd name="connsiteY11005" fmla="*/ 3896727 h 5282095"/>
              <a:gd name="connsiteX11006" fmla="*/ 6170373 w 7714416"/>
              <a:gd name="connsiteY11006" fmla="*/ 3893616 h 5282095"/>
              <a:gd name="connsiteX11007" fmla="*/ 6175530 w 7714416"/>
              <a:gd name="connsiteY11007" fmla="*/ 3892505 h 5282095"/>
              <a:gd name="connsiteX11008" fmla="*/ 6671972 w 7714416"/>
              <a:gd name="connsiteY11008" fmla="*/ 3890616 h 5282095"/>
              <a:gd name="connsiteX11009" fmla="*/ 6676556 w 7714416"/>
              <a:gd name="connsiteY11009" fmla="*/ 3890950 h 5282095"/>
              <a:gd name="connsiteX11010" fmla="*/ 6681426 w 7714416"/>
              <a:gd name="connsiteY11010" fmla="*/ 3893172 h 5282095"/>
              <a:gd name="connsiteX11011" fmla="*/ 6684290 w 7714416"/>
              <a:gd name="connsiteY11011" fmla="*/ 3898615 h 5282095"/>
              <a:gd name="connsiteX11012" fmla="*/ 6683431 w 7714416"/>
              <a:gd name="connsiteY11012" fmla="*/ 3900281 h 5282095"/>
              <a:gd name="connsiteX11013" fmla="*/ 6687729 w 7714416"/>
              <a:gd name="connsiteY11013" fmla="*/ 3900059 h 5282095"/>
              <a:gd name="connsiteX11014" fmla="*/ 6688014 w 7714416"/>
              <a:gd name="connsiteY11014" fmla="*/ 3902281 h 5282095"/>
              <a:gd name="connsiteX11015" fmla="*/ 6684576 w 7714416"/>
              <a:gd name="connsiteY11015" fmla="*/ 3901281 h 5282095"/>
              <a:gd name="connsiteX11016" fmla="*/ 6683431 w 7714416"/>
              <a:gd name="connsiteY11016" fmla="*/ 3900726 h 5282095"/>
              <a:gd name="connsiteX11017" fmla="*/ 6682285 w 7714416"/>
              <a:gd name="connsiteY11017" fmla="*/ 3902947 h 5282095"/>
              <a:gd name="connsiteX11018" fmla="*/ 6675982 w 7714416"/>
              <a:gd name="connsiteY11018" fmla="*/ 3907391 h 5282095"/>
              <a:gd name="connsiteX11019" fmla="*/ 6661086 w 7714416"/>
              <a:gd name="connsiteY11019" fmla="*/ 3900948 h 5282095"/>
              <a:gd name="connsiteX11020" fmla="*/ 6671972 w 7714416"/>
              <a:gd name="connsiteY11020" fmla="*/ 3890616 h 5282095"/>
              <a:gd name="connsiteX11021" fmla="*/ 7226854 w 7714416"/>
              <a:gd name="connsiteY11021" fmla="*/ 3890062 h 5282095"/>
              <a:gd name="connsiteX11022" fmla="*/ 7239744 w 7714416"/>
              <a:gd name="connsiteY11022" fmla="*/ 3894616 h 5282095"/>
              <a:gd name="connsiteX11023" fmla="*/ 7246047 w 7714416"/>
              <a:gd name="connsiteY11023" fmla="*/ 3907945 h 5282095"/>
              <a:gd name="connsiteX11024" fmla="*/ 7241177 w 7714416"/>
              <a:gd name="connsiteY11024" fmla="*/ 3914833 h 5282095"/>
              <a:gd name="connsiteX11025" fmla="*/ 7210525 w 7714416"/>
              <a:gd name="connsiteY11025" fmla="*/ 3913833 h 5282095"/>
              <a:gd name="connsiteX11026" fmla="*/ 7207374 w 7714416"/>
              <a:gd name="connsiteY11026" fmla="*/ 3911168 h 5282095"/>
              <a:gd name="connsiteX11027" fmla="*/ 7206801 w 7714416"/>
              <a:gd name="connsiteY11027" fmla="*/ 3910834 h 5282095"/>
              <a:gd name="connsiteX11028" fmla="*/ 7205942 w 7714416"/>
              <a:gd name="connsiteY11028" fmla="*/ 3912501 h 5282095"/>
              <a:gd name="connsiteX11029" fmla="*/ 7203364 w 7714416"/>
              <a:gd name="connsiteY11029" fmla="*/ 3912834 h 5282095"/>
              <a:gd name="connsiteX11030" fmla="*/ 7198494 w 7714416"/>
              <a:gd name="connsiteY11030" fmla="*/ 3911945 h 5282095"/>
              <a:gd name="connsiteX11031" fmla="*/ 7194770 w 7714416"/>
              <a:gd name="connsiteY11031" fmla="*/ 3912167 h 5282095"/>
              <a:gd name="connsiteX11032" fmla="*/ 7192478 w 7714416"/>
              <a:gd name="connsiteY11032" fmla="*/ 3909057 h 5282095"/>
              <a:gd name="connsiteX11033" fmla="*/ 7196202 w 7714416"/>
              <a:gd name="connsiteY11033" fmla="*/ 3908946 h 5282095"/>
              <a:gd name="connsiteX11034" fmla="*/ 7201932 w 7714416"/>
              <a:gd name="connsiteY11034" fmla="*/ 3909723 h 5282095"/>
              <a:gd name="connsiteX11035" fmla="*/ 7204511 w 7714416"/>
              <a:gd name="connsiteY11035" fmla="*/ 3909834 h 5282095"/>
              <a:gd name="connsiteX11036" fmla="*/ 7201072 w 7714416"/>
              <a:gd name="connsiteY11036" fmla="*/ 3908057 h 5282095"/>
              <a:gd name="connsiteX11037" fmla="*/ 7203650 w 7714416"/>
              <a:gd name="connsiteY11037" fmla="*/ 3905169 h 5282095"/>
              <a:gd name="connsiteX11038" fmla="*/ 7204510 w 7714416"/>
              <a:gd name="connsiteY11038" fmla="*/ 3902392 h 5282095"/>
              <a:gd name="connsiteX11039" fmla="*/ 7201072 w 7714416"/>
              <a:gd name="connsiteY11039" fmla="*/ 3900504 h 5282095"/>
              <a:gd name="connsiteX11040" fmla="*/ 7205942 w 7714416"/>
              <a:gd name="connsiteY11040" fmla="*/ 3898504 h 5282095"/>
              <a:gd name="connsiteX11041" fmla="*/ 7206514 w 7714416"/>
              <a:gd name="connsiteY11041" fmla="*/ 3898726 h 5282095"/>
              <a:gd name="connsiteX11042" fmla="*/ 7210812 w 7714416"/>
              <a:gd name="connsiteY11042" fmla="*/ 3894949 h 5282095"/>
              <a:gd name="connsiteX11043" fmla="*/ 7226854 w 7714416"/>
              <a:gd name="connsiteY11043" fmla="*/ 3890062 h 5282095"/>
              <a:gd name="connsiteX11044" fmla="*/ 6763928 w 7714416"/>
              <a:gd name="connsiteY11044" fmla="*/ 3889507 h 5282095"/>
              <a:gd name="connsiteX11045" fmla="*/ 6769943 w 7714416"/>
              <a:gd name="connsiteY11045" fmla="*/ 3890284 h 5282095"/>
              <a:gd name="connsiteX11046" fmla="*/ 6757626 w 7714416"/>
              <a:gd name="connsiteY11046" fmla="*/ 3891284 h 5282095"/>
              <a:gd name="connsiteX11047" fmla="*/ 6763928 w 7714416"/>
              <a:gd name="connsiteY11047" fmla="*/ 3889507 h 5282095"/>
              <a:gd name="connsiteX11048" fmla="*/ 6692024 w 7714416"/>
              <a:gd name="connsiteY11048" fmla="*/ 3888062 h 5282095"/>
              <a:gd name="connsiteX11049" fmla="*/ 6697468 w 7714416"/>
              <a:gd name="connsiteY11049" fmla="*/ 3889062 h 5282095"/>
              <a:gd name="connsiteX11050" fmla="*/ 6696322 w 7714416"/>
              <a:gd name="connsiteY11050" fmla="*/ 3891394 h 5282095"/>
              <a:gd name="connsiteX11051" fmla="*/ 6687442 w 7714416"/>
              <a:gd name="connsiteY11051" fmla="*/ 3890617 h 5282095"/>
              <a:gd name="connsiteX11052" fmla="*/ 6688874 w 7714416"/>
              <a:gd name="connsiteY11052" fmla="*/ 3889395 h 5282095"/>
              <a:gd name="connsiteX11053" fmla="*/ 6688301 w 7714416"/>
              <a:gd name="connsiteY11053" fmla="*/ 3889062 h 5282095"/>
              <a:gd name="connsiteX11054" fmla="*/ 6692024 w 7714416"/>
              <a:gd name="connsiteY11054" fmla="*/ 3888062 h 5282095"/>
              <a:gd name="connsiteX11055" fmla="*/ 6299855 w 7714416"/>
              <a:gd name="connsiteY11055" fmla="*/ 3886063 h 5282095"/>
              <a:gd name="connsiteX11056" fmla="*/ 6305298 w 7714416"/>
              <a:gd name="connsiteY11056" fmla="*/ 3886841 h 5282095"/>
              <a:gd name="connsiteX11057" fmla="*/ 6315038 w 7714416"/>
              <a:gd name="connsiteY11057" fmla="*/ 3897505 h 5282095"/>
              <a:gd name="connsiteX11058" fmla="*/ 6314751 w 7714416"/>
              <a:gd name="connsiteY11058" fmla="*/ 3902725 h 5282095"/>
              <a:gd name="connsiteX11059" fmla="*/ 6316471 w 7714416"/>
              <a:gd name="connsiteY11059" fmla="*/ 3901059 h 5282095"/>
              <a:gd name="connsiteX11060" fmla="*/ 6320480 w 7714416"/>
              <a:gd name="connsiteY11060" fmla="*/ 3899059 h 5282095"/>
              <a:gd name="connsiteX11061" fmla="*/ 6317330 w 7714416"/>
              <a:gd name="connsiteY11061" fmla="*/ 3901391 h 5282095"/>
              <a:gd name="connsiteX11062" fmla="*/ 6317617 w 7714416"/>
              <a:gd name="connsiteY11062" fmla="*/ 3903725 h 5282095"/>
              <a:gd name="connsiteX11063" fmla="*/ 6315610 w 7714416"/>
              <a:gd name="connsiteY11063" fmla="*/ 3904836 h 5282095"/>
              <a:gd name="connsiteX11064" fmla="*/ 6314464 w 7714416"/>
              <a:gd name="connsiteY11064" fmla="*/ 3904836 h 5282095"/>
              <a:gd name="connsiteX11065" fmla="*/ 6310453 w 7714416"/>
              <a:gd name="connsiteY11065" fmla="*/ 3911279 h 5282095"/>
              <a:gd name="connsiteX11066" fmla="*/ 6303579 w 7714416"/>
              <a:gd name="connsiteY11066" fmla="*/ 3916944 h 5282095"/>
              <a:gd name="connsiteX11067" fmla="*/ 6303579 w 7714416"/>
              <a:gd name="connsiteY11067" fmla="*/ 3917054 h 5282095"/>
              <a:gd name="connsiteX11068" fmla="*/ 6300714 w 7714416"/>
              <a:gd name="connsiteY11068" fmla="*/ 3919166 h 5282095"/>
              <a:gd name="connsiteX11069" fmla="*/ 6283240 w 7714416"/>
              <a:gd name="connsiteY11069" fmla="*/ 3926386 h 5282095"/>
              <a:gd name="connsiteX11070" fmla="*/ 6278656 w 7714416"/>
              <a:gd name="connsiteY11070" fmla="*/ 3902947 h 5282095"/>
              <a:gd name="connsiteX11071" fmla="*/ 6276938 w 7714416"/>
              <a:gd name="connsiteY11071" fmla="*/ 3902281 h 5282095"/>
              <a:gd name="connsiteX11072" fmla="*/ 6275219 w 7714416"/>
              <a:gd name="connsiteY11072" fmla="*/ 3901392 h 5282095"/>
              <a:gd name="connsiteX11073" fmla="*/ 6276938 w 7714416"/>
              <a:gd name="connsiteY11073" fmla="*/ 3900837 h 5282095"/>
              <a:gd name="connsiteX11074" fmla="*/ 6279517 w 7714416"/>
              <a:gd name="connsiteY11074" fmla="*/ 3901170 h 5282095"/>
              <a:gd name="connsiteX11075" fmla="*/ 6280089 w 7714416"/>
              <a:gd name="connsiteY11075" fmla="*/ 3901503 h 5282095"/>
              <a:gd name="connsiteX11076" fmla="*/ 6285246 w 7714416"/>
              <a:gd name="connsiteY11076" fmla="*/ 3895838 h 5282095"/>
              <a:gd name="connsiteX11077" fmla="*/ 6299855 w 7714416"/>
              <a:gd name="connsiteY11077" fmla="*/ 3886063 h 5282095"/>
              <a:gd name="connsiteX11078" fmla="*/ 6329648 w 7714416"/>
              <a:gd name="connsiteY11078" fmla="*/ 3885397 h 5282095"/>
              <a:gd name="connsiteX11079" fmla="*/ 6331652 w 7714416"/>
              <a:gd name="connsiteY11079" fmla="*/ 3888951 h 5282095"/>
              <a:gd name="connsiteX11080" fmla="*/ 6326782 w 7714416"/>
              <a:gd name="connsiteY11080" fmla="*/ 3891062 h 5282095"/>
              <a:gd name="connsiteX11081" fmla="*/ 6325350 w 7714416"/>
              <a:gd name="connsiteY11081" fmla="*/ 3895616 h 5282095"/>
              <a:gd name="connsiteX11082" fmla="*/ 6320480 w 7714416"/>
              <a:gd name="connsiteY11082" fmla="*/ 3897838 h 5282095"/>
              <a:gd name="connsiteX11083" fmla="*/ 6320480 w 7714416"/>
              <a:gd name="connsiteY11083" fmla="*/ 3896727 h 5282095"/>
              <a:gd name="connsiteX11084" fmla="*/ 6323632 w 7714416"/>
              <a:gd name="connsiteY11084" fmla="*/ 3894394 h 5282095"/>
              <a:gd name="connsiteX11085" fmla="*/ 6326496 w 7714416"/>
              <a:gd name="connsiteY11085" fmla="*/ 3886396 h 5282095"/>
              <a:gd name="connsiteX11086" fmla="*/ 6329648 w 7714416"/>
              <a:gd name="connsiteY11086" fmla="*/ 3885397 h 5282095"/>
              <a:gd name="connsiteX11087" fmla="*/ 7088492 w 7714416"/>
              <a:gd name="connsiteY11087" fmla="*/ 3882730 h 5282095"/>
              <a:gd name="connsiteX11088" fmla="*/ 7093362 w 7714416"/>
              <a:gd name="connsiteY11088" fmla="*/ 3884952 h 5282095"/>
              <a:gd name="connsiteX11089" fmla="*/ 7092217 w 7714416"/>
              <a:gd name="connsiteY11089" fmla="*/ 3889062 h 5282095"/>
              <a:gd name="connsiteX11090" fmla="*/ 7086486 w 7714416"/>
              <a:gd name="connsiteY11090" fmla="*/ 3892283 h 5282095"/>
              <a:gd name="connsiteX11091" fmla="*/ 7078465 w 7714416"/>
              <a:gd name="connsiteY11091" fmla="*/ 3884729 h 5282095"/>
              <a:gd name="connsiteX11092" fmla="*/ 7088492 w 7714416"/>
              <a:gd name="connsiteY11092" fmla="*/ 3882730 h 5282095"/>
              <a:gd name="connsiteX11093" fmla="*/ 1838746 w 7714416"/>
              <a:gd name="connsiteY11093" fmla="*/ 3882508 h 5282095"/>
              <a:gd name="connsiteX11094" fmla="*/ 1852496 w 7714416"/>
              <a:gd name="connsiteY11094" fmla="*/ 3889285 h 5282095"/>
              <a:gd name="connsiteX11095" fmla="*/ 1847626 w 7714416"/>
              <a:gd name="connsiteY11095" fmla="*/ 3895838 h 5282095"/>
              <a:gd name="connsiteX11096" fmla="*/ 1834162 w 7714416"/>
              <a:gd name="connsiteY11096" fmla="*/ 3895172 h 5282095"/>
              <a:gd name="connsiteX11097" fmla="*/ 1824709 w 7714416"/>
              <a:gd name="connsiteY11097" fmla="*/ 3889061 h 5282095"/>
              <a:gd name="connsiteX11098" fmla="*/ 1838746 w 7714416"/>
              <a:gd name="connsiteY11098" fmla="*/ 3882508 h 5282095"/>
              <a:gd name="connsiteX11099" fmla="*/ 6902862 w 7714416"/>
              <a:gd name="connsiteY11099" fmla="*/ 3882397 h 5282095"/>
              <a:gd name="connsiteX11100" fmla="*/ 6903722 w 7714416"/>
              <a:gd name="connsiteY11100" fmla="*/ 3883285 h 5282095"/>
              <a:gd name="connsiteX11101" fmla="*/ 6902290 w 7714416"/>
              <a:gd name="connsiteY11101" fmla="*/ 3887618 h 5282095"/>
              <a:gd name="connsiteX11102" fmla="*/ 6902003 w 7714416"/>
              <a:gd name="connsiteY11102" fmla="*/ 3883174 h 5282095"/>
              <a:gd name="connsiteX11103" fmla="*/ 6902862 w 7714416"/>
              <a:gd name="connsiteY11103" fmla="*/ 3882397 h 5282095"/>
              <a:gd name="connsiteX11104" fmla="*/ 1796923 w 7714416"/>
              <a:gd name="connsiteY11104" fmla="*/ 3882397 h 5282095"/>
              <a:gd name="connsiteX11105" fmla="*/ 1799500 w 7714416"/>
              <a:gd name="connsiteY11105" fmla="*/ 3883064 h 5282095"/>
              <a:gd name="connsiteX11106" fmla="*/ 1802651 w 7714416"/>
              <a:gd name="connsiteY11106" fmla="*/ 3884175 h 5282095"/>
              <a:gd name="connsiteX11107" fmla="*/ 1799500 w 7714416"/>
              <a:gd name="connsiteY11107" fmla="*/ 3894616 h 5282095"/>
              <a:gd name="connsiteX11108" fmla="*/ 1784892 w 7714416"/>
              <a:gd name="connsiteY11108" fmla="*/ 3892839 h 5282095"/>
              <a:gd name="connsiteX11109" fmla="*/ 1784892 w 7714416"/>
              <a:gd name="connsiteY11109" fmla="*/ 3890173 h 5282095"/>
              <a:gd name="connsiteX11110" fmla="*/ 1785751 w 7714416"/>
              <a:gd name="connsiteY11110" fmla="*/ 3887395 h 5282095"/>
              <a:gd name="connsiteX11111" fmla="*/ 1792053 w 7714416"/>
              <a:gd name="connsiteY11111" fmla="*/ 3882731 h 5282095"/>
              <a:gd name="connsiteX11112" fmla="*/ 1796923 w 7714416"/>
              <a:gd name="connsiteY11112" fmla="*/ 3882397 h 5282095"/>
              <a:gd name="connsiteX11113" fmla="*/ 1882288 w 7714416"/>
              <a:gd name="connsiteY11113" fmla="*/ 3880842 h 5282095"/>
              <a:gd name="connsiteX11114" fmla="*/ 1889450 w 7714416"/>
              <a:gd name="connsiteY11114" fmla="*/ 3884729 h 5282095"/>
              <a:gd name="connsiteX11115" fmla="*/ 1887732 w 7714416"/>
              <a:gd name="connsiteY11115" fmla="*/ 3895616 h 5282095"/>
              <a:gd name="connsiteX11116" fmla="*/ 1881430 w 7714416"/>
              <a:gd name="connsiteY11116" fmla="*/ 3893283 h 5282095"/>
              <a:gd name="connsiteX11117" fmla="*/ 1879711 w 7714416"/>
              <a:gd name="connsiteY11117" fmla="*/ 3882842 h 5282095"/>
              <a:gd name="connsiteX11118" fmla="*/ 1882288 w 7714416"/>
              <a:gd name="connsiteY11118" fmla="*/ 3880842 h 5282095"/>
              <a:gd name="connsiteX11119" fmla="*/ 6635305 w 7714416"/>
              <a:gd name="connsiteY11119" fmla="*/ 3878621 h 5282095"/>
              <a:gd name="connsiteX11120" fmla="*/ 6633586 w 7714416"/>
              <a:gd name="connsiteY11120" fmla="*/ 3902281 h 5282095"/>
              <a:gd name="connsiteX11121" fmla="*/ 6631867 w 7714416"/>
              <a:gd name="connsiteY11121" fmla="*/ 3904724 h 5282095"/>
              <a:gd name="connsiteX11122" fmla="*/ 6627570 w 7714416"/>
              <a:gd name="connsiteY11122" fmla="*/ 3904947 h 5282095"/>
              <a:gd name="connsiteX11123" fmla="*/ 6623560 w 7714416"/>
              <a:gd name="connsiteY11123" fmla="*/ 3890173 h 5282095"/>
              <a:gd name="connsiteX11124" fmla="*/ 6626138 w 7714416"/>
              <a:gd name="connsiteY11124" fmla="*/ 3887063 h 5282095"/>
              <a:gd name="connsiteX11125" fmla="*/ 6626711 w 7714416"/>
              <a:gd name="connsiteY11125" fmla="*/ 3884508 h 5282095"/>
              <a:gd name="connsiteX11126" fmla="*/ 6635305 w 7714416"/>
              <a:gd name="connsiteY11126" fmla="*/ 3878621 h 5282095"/>
              <a:gd name="connsiteX11127" fmla="*/ 6173810 w 7714416"/>
              <a:gd name="connsiteY11127" fmla="*/ 3877732 h 5282095"/>
              <a:gd name="connsiteX11128" fmla="*/ 6145737 w 7714416"/>
              <a:gd name="connsiteY11128" fmla="*/ 3894616 h 5282095"/>
              <a:gd name="connsiteX11129" fmla="*/ 6155764 w 7714416"/>
              <a:gd name="connsiteY11129" fmla="*/ 3882953 h 5282095"/>
              <a:gd name="connsiteX11130" fmla="*/ 6173810 w 7714416"/>
              <a:gd name="connsiteY11130" fmla="*/ 3877732 h 5282095"/>
              <a:gd name="connsiteX11131" fmla="*/ 7334278 w 7714416"/>
              <a:gd name="connsiteY11131" fmla="*/ 3876398 h 5282095"/>
              <a:gd name="connsiteX11132" fmla="*/ 7343158 w 7714416"/>
              <a:gd name="connsiteY11132" fmla="*/ 3880509 h 5282095"/>
              <a:gd name="connsiteX11133" fmla="*/ 7333705 w 7714416"/>
              <a:gd name="connsiteY11133" fmla="*/ 3881176 h 5282095"/>
              <a:gd name="connsiteX11134" fmla="*/ 7334278 w 7714416"/>
              <a:gd name="connsiteY11134" fmla="*/ 3876398 h 5282095"/>
              <a:gd name="connsiteX11135" fmla="*/ 6217354 w 7714416"/>
              <a:gd name="connsiteY11135" fmla="*/ 3874399 h 5282095"/>
              <a:gd name="connsiteX11136" fmla="*/ 6221365 w 7714416"/>
              <a:gd name="connsiteY11136" fmla="*/ 3875954 h 5282095"/>
              <a:gd name="connsiteX11137" fmla="*/ 6221650 w 7714416"/>
              <a:gd name="connsiteY11137" fmla="*/ 3877177 h 5282095"/>
              <a:gd name="connsiteX11138" fmla="*/ 6222511 w 7714416"/>
              <a:gd name="connsiteY11138" fmla="*/ 3881730 h 5282095"/>
              <a:gd name="connsiteX11139" fmla="*/ 6214775 w 7714416"/>
              <a:gd name="connsiteY11139" fmla="*/ 3884396 h 5282095"/>
              <a:gd name="connsiteX11140" fmla="*/ 6209905 w 7714416"/>
              <a:gd name="connsiteY11140" fmla="*/ 3877621 h 5282095"/>
              <a:gd name="connsiteX11141" fmla="*/ 6217354 w 7714416"/>
              <a:gd name="connsiteY11141" fmla="*/ 3874399 h 5282095"/>
              <a:gd name="connsiteX11142" fmla="*/ 6040892 w 7714416"/>
              <a:gd name="connsiteY11142" fmla="*/ 3874288 h 5282095"/>
              <a:gd name="connsiteX11143" fmla="*/ 6047480 w 7714416"/>
              <a:gd name="connsiteY11143" fmla="*/ 3878175 h 5282095"/>
              <a:gd name="connsiteX11144" fmla="*/ 6046620 w 7714416"/>
              <a:gd name="connsiteY11144" fmla="*/ 3881176 h 5282095"/>
              <a:gd name="connsiteX11145" fmla="*/ 6045189 w 7714416"/>
              <a:gd name="connsiteY11145" fmla="*/ 3881730 h 5282095"/>
              <a:gd name="connsiteX11146" fmla="*/ 6042324 w 7714416"/>
              <a:gd name="connsiteY11146" fmla="*/ 3882508 h 5282095"/>
              <a:gd name="connsiteX11147" fmla="*/ 6053782 w 7714416"/>
              <a:gd name="connsiteY11147" fmla="*/ 3886951 h 5282095"/>
              <a:gd name="connsiteX11148" fmla="*/ 6062376 w 7714416"/>
              <a:gd name="connsiteY11148" fmla="*/ 3893394 h 5282095"/>
              <a:gd name="connsiteX11149" fmla="*/ 6063236 w 7714416"/>
              <a:gd name="connsiteY11149" fmla="*/ 3894616 h 5282095"/>
              <a:gd name="connsiteX11150" fmla="*/ 6082428 w 7714416"/>
              <a:gd name="connsiteY11150" fmla="*/ 3889506 h 5282095"/>
              <a:gd name="connsiteX11151" fmla="*/ 6085293 w 7714416"/>
              <a:gd name="connsiteY11151" fmla="*/ 3888839 h 5282095"/>
              <a:gd name="connsiteX11152" fmla="*/ 6084435 w 7714416"/>
              <a:gd name="connsiteY11152" fmla="*/ 3888284 h 5282095"/>
              <a:gd name="connsiteX11153" fmla="*/ 6076127 w 7714416"/>
              <a:gd name="connsiteY11153" fmla="*/ 3881286 h 5282095"/>
              <a:gd name="connsiteX11154" fmla="*/ 6089591 w 7714416"/>
              <a:gd name="connsiteY11154" fmla="*/ 3880509 h 5282095"/>
              <a:gd name="connsiteX11155" fmla="*/ 6098470 w 7714416"/>
              <a:gd name="connsiteY11155" fmla="*/ 3883286 h 5282095"/>
              <a:gd name="connsiteX11156" fmla="*/ 6102194 w 7714416"/>
              <a:gd name="connsiteY11156" fmla="*/ 3885729 h 5282095"/>
              <a:gd name="connsiteX11157" fmla="*/ 6109929 w 7714416"/>
              <a:gd name="connsiteY11157" fmla="*/ 3884952 h 5282095"/>
              <a:gd name="connsiteX11158" fmla="*/ 6106205 w 7714416"/>
              <a:gd name="connsiteY11158" fmla="*/ 3888396 h 5282095"/>
              <a:gd name="connsiteX11159" fmla="*/ 6115086 w 7714416"/>
              <a:gd name="connsiteY11159" fmla="*/ 3898503 h 5282095"/>
              <a:gd name="connsiteX11160" fmla="*/ 6098470 w 7714416"/>
              <a:gd name="connsiteY11160" fmla="*/ 3894060 h 5282095"/>
              <a:gd name="connsiteX11161" fmla="*/ 6085293 w 7714416"/>
              <a:gd name="connsiteY11161" fmla="*/ 3899059 h 5282095"/>
              <a:gd name="connsiteX11162" fmla="*/ 6068392 w 7714416"/>
              <a:gd name="connsiteY11162" fmla="*/ 3900726 h 5282095"/>
              <a:gd name="connsiteX11163" fmla="*/ 6068107 w 7714416"/>
              <a:gd name="connsiteY11163" fmla="*/ 3900503 h 5282095"/>
              <a:gd name="connsiteX11164" fmla="*/ 6069251 w 7714416"/>
              <a:gd name="connsiteY11164" fmla="*/ 3902169 h 5282095"/>
              <a:gd name="connsiteX11165" fmla="*/ 6046620 w 7714416"/>
              <a:gd name="connsiteY11165" fmla="*/ 3906724 h 5282095"/>
              <a:gd name="connsiteX11166" fmla="*/ 6028287 w 7714416"/>
              <a:gd name="connsiteY11166" fmla="*/ 3885952 h 5282095"/>
              <a:gd name="connsiteX11167" fmla="*/ 6033156 w 7714416"/>
              <a:gd name="connsiteY11167" fmla="*/ 3880064 h 5282095"/>
              <a:gd name="connsiteX11168" fmla="*/ 6032584 w 7714416"/>
              <a:gd name="connsiteY11168" fmla="*/ 3879509 h 5282095"/>
              <a:gd name="connsiteX11169" fmla="*/ 6040892 w 7714416"/>
              <a:gd name="connsiteY11169" fmla="*/ 3874288 h 5282095"/>
              <a:gd name="connsiteX11170" fmla="*/ 7105393 w 7714416"/>
              <a:gd name="connsiteY11170" fmla="*/ 3873177 h 5282095"/>
              <a:gd name="connsiteX11171" fmla="*/ 7111123 w 7714416"/>
              <a:gd name="connsiteY11171" fmla="*/ 3874288 h 5282095"/>
              <a:gd name="connsiteX11172" fmla="*/ 7114272 w 7714416"/>
              <a:gd name="connsiteY11172" fmla="*/ 3880842 h 5282095"/>
              <a:gd name="connsiteX11173" fmla="*/ 7096512 w 7714416"/>
              <a:gd name="connsiteY11173" fmla="*/ 3882175 h 5282095"/>
              <a:gd name="connsiteX11174" fmla="*/ 7105393 w 7714416"/>
              <a:gd name="connsiteY11174" fmla="*/ 3873177 h 5282095"/>
              <a:gd name="connsiteX11175" fmla="*/ 6440797 w 7714416"/>
              <a:gd name="connsiteY11175" fmla="*/ 3872399 h 5282095"/>
              <a:gd name="connsiteX11176" fmla="*/ 6435639 w 7714416"/>
              <a:gd name="connsiteY11176" fmla="*/ 3879620 h 5282095"/>
              <a:gd name="connsiteX11177" fmla="*/ 6438218 w 7714416"/>
              <a:gd name="connsiteY11177" fmla="*/ 3882064 h 5282095"/>
              <a:gd name="connsiteX11178" fmla="*/ 6435639 w 7714416"/>
              <a:gd name="connsiteY11178" fmla="*/ 3887618 h 5282095"/>
              <a:gd name="connsiteX11179" fmla="*/ 6432488 w 7714416"/>
              <a:gd name="connsiteY11179" fmla="*/ 3883619 h 5282095"/>
              <a:gd name="connsiteX11180" fmla="*/ 6432488 w 7714416"/>
              <a:gd name="connsiteY11180" fmla="*/ 3882953 h 5282095"/>
              <a:gd name="connsiteX11181" fmla="*/ 6426186 w 7714416"/>
              <a:gd name="connsiteY11181" fmla="*/ 3888729 h 5282095"/>
              <a:gd name="connsiteX11182" fmla="*/ 6419597 w 7714416"/>
              <a:gd name="connsiteY11182" fmla="*/ 3896282 h 5282095"/>
              <a:gd name="connsiteX11183" fmla="*/ 6415014 w 7714416"/>
              <a:gd name="connsiteY11183" fmla="*/ 3897171 h 5282095"/>
              <a:gd name="connsiteX11184" fmla="*/ 6413868 w 7714416"/>
              <a:gd name="connsiteY11184" fmla="*/ 3898282 h 5282095"/>
              <a:gd name="connsiteX11185" fmla="*/ 6411862 w 7714416"/>
              <a:gd name="connsiteY11185" fmla="*/ 3898504 h 5282095"/>
              <a:gd name="connsiteX11186" fmla="*/ 6411577 w 7714416"/>
              <a:gd name="connsiteY11186" fmla="*/ 3898504 h 5282095"/>
              <a:gd name="connsiteX11187" fmla="*/ 6411290 w 7714416"/>
              <a:gd name="connsiteY11187" fmla="*/ 3898837 h 5282095"/>
              <a:gd name="connsiteX11188" fmla="*/ 6410430 w 7714416"/>
              <a:gd name="connsiteY11188" fmla="*/ 3899393 h 5282095"/>
              <a:gd name="connsiteX11189" fmla="*/ 6419024 w 7714416"/>
              <a:gd name="connsiteY11189" fmla="*/ 3902725 h 5282095"/>
              <a:gd name="connsiteX11190" fmla="*/ 6419310 w 7714416"/>
              <a:gd name="connsiteY11190" fmla="*/ 3910168 h 5282095"/>
              <a:gd name="connsiteX11191" fmla="*/ 6414441 w 7714416"/>
              <a:gd name="connsiteY11191" fmla="*/ 3909724 h 5282095"/>
              <a:gd name="connsiteX11192" fmla="*/ 6413868 w 7714416"/>
              <a:gd name="connsiteY11192" fmla="*/ 3914833 h 5282095"/>
              <a:gd name="connsiteX11193" fmla="*/ 6406992 w 7714416"/>
              <a:gd name="connsiteY11193" fmla="*/ 3925942 h 5282095"/>
              <a:gd name="connsiteX11194" fmla="*/ 6406706 w 7714416"/>
              <a:gd name="connsiteY11194" fmla="*/ 3928719 h 5282095"/>
              <a:gd name="connsiteX11195" fmla="*/ 6408425 w 7714416"/>
              <a:gd name="connsiteY11195" fmla="*/ 3913390 h 5282095"/>
              <a:gd name="connsiteX11196" fmla="*/ 6409571 w 7714416"/>
              <a:gd name="connsiteY11196" fmla="*/ 3909279 h 5282095"/>
              <a:gd name="connsiteX11197" fmla="*/ 6407566 w 7714416"/>
              <a:gd name="connsiteY11197" fmla="*/ 3908946 h 5282095"/>
              <a:gd name="connsiteX11198" fmla="*/ 6404414 w 7714416"/>
              <a:gd name="connsiteY11198" fmla="*/ 3907724 h 5282095"/>
              <a:gd name="connsiteX11199" fmla="*/ 6400977 w 7714416"/>
              <a:gd name="connsiteY11199" fmla="*/ 3908168 h 5282095"/>
              <a:gd name="connsiteX11200" fmla="*/ 6400404 w 7714416"/>
              <a:gd name="connsiteY11200" fmla="*/ 3908834 h 5282095"/>
              <a:gd name="connsiteX11201" fmla="*/ 6399831 w 7714416"/>
              <a:gd name="connsiteY11201" fmla="*/ 3912834 h 5282095"/>
              <a:gd name="connsiteX11202" fmla="*/ 6396394 w 7714416"/>
              <a:gd name="connsiteY11202" fmla="*/ 3913722 h 5282095"/>
              <a:gd name="connsiteX11203" fmla="*/ 6394674 w 7714416"/>
              <a:gd name="connsiteY11203" fmla="*/ 3910168 h 5282095"/>
              <a:gd name="connsiteX11204" fmla="*/ 6399544 w 7714416"/>
              <a:gd name="connsiteY11204" fmla="*/ 3908390 h 5282095"/>
              <a:gd name="connsiteX11205" fmla="*/ 6385794 w 7714416"/>
              <a:gd name="connsiteY11205" fmla="*/ 3910056 h 5282095"/>
              <a:gd name="connsiteX11206" fmla="*/ 6380638 w 7714416"/>
              <a:gd name="connsiteY11206" fmla="*/ 3909390 h 5282095"/>
              <a:gd name="connsiteX11207" fmla="*/ 6380925 w 7714416"/>
              <a:gd name="connsiteY11207" fmla="*/ 3910723 h 5282095"/>
              <a:gd name="connsiteX11208" fmla="*/ 6371471 w 7714416"/>
              <a:gd name="connsiteY11208" fmla="*/ 3908946 h 5282095"/>
              <a:gd name="connsiteX11209" fmla="*/ 6371758 w 7714416"/>
              <a:gd name="connsiteY11209" fmla="*/ 3908502 h 5282095"/>
              <a:gd name="connsiteX11210" fmla="*/ 6362877 w 7714416"/>
              <a:gd name="connsiteY11210" fmla="*/ 3907390 h 5282095"/>
              <a:gd name="connsiteX11211" fmla="*/ 6349986 w 7714416"/>
              <a:gd name="connsiteY11211" fmla="*/ 3902614 h 5282095"/>
              <a:gd name="connsiteX11212" fmla="*/ 6382930 w 7714416"/>
              <a:gd name="connsiteY11212" fmla="*/ 3896282 h 5282095"/>
              <a:gd name="connsiteX11213" fmla="*/ 6383789 w 7714416"/>
              <a:gd name="connsiteY11213" fmla="*/ 3873844 h 5282095"/>
              <a:gd name="connsiteX11214" fmla="*/ 6395248 w 7714416"/>
              <a:gd name="connsiteY11214" fmla="*/ 3890617 h 5282095"/>
              <a:gd name="connsiteX11215" fmla="*/ 6396680 w 7714416"/>
              <a:gd name="connsiteY11215" fmla="*/ 3893505 h 5282095"/>
              <a:gd name="connsiteX11216" fmla="*/ 6399544 w 7714416"/>
              <a:gd name="connsiteY11216" fmla="*/ 3895060 h 5282095"/>
              <a:gd name="connsiteX11217" fmla="*/ 6409571 w 7714416"/>
              <a:gd name="connsiteY11217" fmla="*/ 3898948 h 5282095"/>
              <a:gd name="connsiteX11218" fmla="*/ 6410430 w 7714416"/>
              <a:gd name="connsiteY11218" fmla="*/ 3898393 h 5282095"/>
              <a:gd name="connsiteX11219" fmla="*/ 6410431 w 7714416"/>
              <a:gd name="connsiteY11219" fmla="*/ 3898059 h 5282095"/>
              <a:gd name="connsiteX11220" fmla="*/ 6410145 w 7714416"/>
              <a:gd name="connsiteY11220" fmla="*/ 3897948 h 5282095"/>
              <a:gd name="connsiteX11221" fmla="*/ 6410430 w 7714416"/>
              <a:gd name="connsiteY11221" fmla="*/ 3897171 h 5282095"/>
              <a:gd name="connsiteX11222" fmla="*/ 6410430 w 7714416"/>
              <a:gd name="connsiteY11222" fmla="*/ 3896061 h 5282095"/>
              <a:gd name="connsiteX11223" fmla="*/ 6410716 w 7714416"/>
              <a:gd name="connsiteY11223" fmla="*/ 3895949 h 5282095"/>
              <a:gd name="connsiteX11224" fmla="*/ 6411003 w 7714416"/>
              <a:gd name="connsiteY11224" fmla="*/ 3894616 h 5282095"/>
              <a:gd name="connsiteX11225" fmla="*/ 6414727 w 7714416"/>
              <a:gd name="connsiteY11225" fmla="*/ 3891394 h 5282095"/>
              <a:gd name="connsiteX11226" fmla="*/ 6419597 w 7714416"/>
              <a:gd name="connsiteY11226" fmla="*/ 3886285 h 5282095"/>
              <a:gd name="connsiteX11227" fmla="*/ 6440797 w 7714416"/>
              <a:gd name="connsiteY11227" fmla="*/ 3872399 h 5282095"/>
              <a:gd name="connsiteX11228" fmla="*/ 6956718 w 7714416"/>
              <a:gd name="connsiteY11228" fmla="*/ 3871622 h 5282095"/>
              <a:gd name="connsiteX11229" fmla="*/ 6961588 w 7714416"/>
              <a:gd name="connsiteY11229" fmla="*/ 3873177 h 5282095"/>
              <a:gd name="connsiteX11230" fmla="*/ 6967031 w 7714416"/>
              <a:gd name="connsiteY11230" fmla="*/ 3879621 h 5282095"/>
              <a:gd name="connsiteX11231" fmla="*/ 6932082 w 7714416"/>
              <a:gd name="connsiteY11231" fmla="*/ 3924276 h 5282095"/>
              <a:gd name="connsiteX11232" fmla="*/ 6920910 w 7714416"/>
              <a:gd name="connsiteY11232" fmla="*/ 3902059 h 5282095"/>
              <a:gd name="connsiteX11233" fmla="*/ 6956718 w 7714416"/>
              <a:gd name="connsiteY11233" fmla="*/ 3871622 h 5282095"/>
              <a:gd name="connsiteX11234" fmla="*/ 6050345 w 7714416"/>
              <a:gd name="connsiteY11234" fmla="*/ 3868511 h 5282095"/>
              <a:gd name="connsiteX11235" fmla="*/ 6053782 w 7714416"/>
              <a:gd name="connsiteY11235" fmla="*/ 3870178 h 5282095"/>
              <a:gd name="connsiteX11236" fmla="*/ 6050058 w 7714416"/>
              <a:gd name="connsiteY11236" fmla="*/ 3876509 h 5282095"/>
              <a:gd name="connsiteX11237" fmla="*/ 6045188 w 7714416"/>
              <a:gd name="connsiteY11237" fmla="*/ 3875399 h 5282095"/>
              <a:gd name="connsiteX11238" fmla="*/ 6050345 w 7714416"/>
              <a:gd name="connsiteY11238" fmla="*/ 3868511 h 5282095"/>
              <a:gd name="connsiteX11239" fmla="*/ 6270922 w 7714416"/>
              <a:gd name="connsiteY11239" fmla="*/ 3868289 h 5282095"/>
              <a:gd name="connsiteX11240" fmla="*/ 6269490 w 7714416"/>
              <a:gd name="connsiteY11240" fmla="*/ 3870511 h 5282095"/>
              <a:gd name="connsiteX11241" fmla="*/ 6266338 w 7714416"/>
              <a:gd name="connsiteY11241" fmla="*/ 3872733 h 5282095"/>
              <a:gd name="connsiteX11242" fmla="*/ 6266338 w 7714416"/>
              <a:gd name="connsiteY11242" fmla="*/ 3875066 h 5282095"/>
              <a:gd name="connsiteX11243" fmla="*/ 6262328 w 7714416"/>
              <a:gd name="connsiteY11243" fmla="*/ 3878842 h 5282095"/>
              <a:gd name="connsiteX11244" fmla="*/ 6263760 w 7714416"/>
              <a:gd name="connsiteY11244" fmla="*/ 3878953 h 5282095"/>
              <a:gd name="connsiteX11245" fmla="*/ 6282954 w 7714416"/>
              <a:gd name="connsiteY11245" fmla="*/ 3883952 h 5282095"/>
              <a:gd name="connsiteX11246" fmla="*/ 6284100 w 7714416"/>
              <a:gd name="connsiteY11246" fmla="*/ 3887729 h 5282095"/>
              <a:gd name="connsiteX11247" fmla="*/ 6273500 w 7714416"/>
              <a:gd name="connsiteY11247" fmla="*/ 3897948 h 5282095"/>
              <a:gd name="connsiteX11248" fmla="*/ 6266338 w 7714416"/>
              <a:gd name="connsiteY11248" fmla="*/ 3899948 h 5282095"/>
              <a:gd name="connsiteX11249" fmla="*/ 6269204 w 7714416"/>
              <a:gd name="connsiteY11249" fmla="*/ 3900393 h 5282095"/>
              <a:gd name="connsiteX11250" fmla="*/ 6273787 w 7714416"/>
              <a:gd name="connsiteY11250" fmla="*/ 3901948 h 5282095"/>
              <a:gd name="connsiteX11251" fmla="*/ 6269204 w 7714416"/>
              <a:gd name="connsiteY11251" fmla="*/ 3900947 h 5282095"/>
              <a:gd name="connsiteX11252" fmla="*/ 6266052 w 7714416"/>
              <a:gd name="connsiteY11252" fmla="*/ 3902058 h 5282095"/>
              <a:gd name="connsiteX11253" fmla="*/ 6263760 w 7714416"/>
              <a:gd name="connsiteY11253" fmla="*/ 3901281 h 5282095"/>
              <a:gd name="connsiteX11254" fmla="*/ 6263188 w 7714416"/>
              <a:gd name="connsiteY11254" fmla="*/ 3900503 h 5282095"/>
              <a:gd name="connsiteX11255" fmla="*/ 6252875 w 7714416"/>
              <a:gd name="connsiteY11255" fmla="*/ 3900726 h 5282095"/>
              <a:gd name="connsiteX11256" fmla="*/ 6242562 w 7714416"/>
              <a:gd name="connsiteY11256" fmla="*/ 3898837 h 5282095"/>
              <a:gd name="connsiteX11257" fmla="*/ 6242276 w 7714416"/>
              <a:gd name="connsiteY11257" fmla="*/ 3898837 h 5282095"/>
              <a:gd name="connsiteX11258" fmla="*/ 6242276 w 7714416"/>
              <a:gd name="connsiteY11258" fmla="*/ 3898726 h 5282095"/>
              <a:gd name="connsiteX11259" fmla="*/ 6238265 w 7714416"/>
              <a:gd name="connsiteY11259" fmla="*/ 3898059 h 5282095"/>
              <a:gd name="connsiteX11260" fmla="*/ 6227093 w 7714416"/>
              <a:gd name="connsiteY11260" fmla="*/ 3893617 h 5282095"/>
              <a:gd name="connsiteX11261" fmla="*/ 6227666 w 7714416"/>
              <a:gd name="connsiteY11261" fmla="*/ 3894172 h 5282095"/>
              <a:gd name="connsiteX11262" fmla="*/ 6223656 w 7714416"/>
              <a:gd name="connsiteY11262" fmla="*/ 3902169 h 5282095"/>
              <a:gd name="connsiteX11263" fmla="*/ 6220218 w 7714416"/>
              <a:gd name="connsiteY11263" fmla="*/ 3902836 h 5282095"/>
              <a:gd name="connsiteX11264" fmla="*/ 6222796 w 7714416"/>
              <a:gd name="connsiteY11264" fmla="*/ 3905836 h 5282095"/>
              <a:gd name="connsiteX11265" fmla="*/ 6222796 w 7714416"/>
              <a:gd name="connsiteY11265" fmla="*/ 3905946 h 5282095"/>
              <a:gd name="connsiteX11266" fmla="*/ 6237120 w 7714416"/>
              <a:gd name="connsiteY11266" fmla="*/ 3906835 h 5282095"/>
              <a:gd name="connsiteX11267" fmla="*/ 6240557 w 7714416"/>
              <a:gd name="connsiteY11267" fmla="*/ 3908391 h 5282095"/>
              <a:gd name="connsiteX11268" fmla="*/ 6244281 w 7714416"/>
              <a:gd name="connsiteY11268" fmla="*/ 3908168 h 5282095"/>
              <a:gd name="connsiteX11269" fmla="*/ 6242848 w 7714416"/>
              <a:gd name="connsiteY11269" fmla="*/ 3909723 h 5282095"/>
              <a:gd name="connsiteX11270" fmla="*/ 6243422 w 7714416"/>
              <a:gd name="connsiteY11270" fmla="*/ 3909834 h 5282095"/>
              <a:gd name="connsiteX11271" fmla="*/ 6242848 w 7714416"/>
              <a:gd name="connsiteY11271" fmla="*/ 3910168 h 5282095"/>
              <a:gd name="connsiteX11272" fmla="*/ 6243422 w 7714416"/>
              <a:gd name="connsiteY11272" fmla="*/ 3910723 h 5282095"/>
              <a:gd name="connsiteX11273" fmla="*/ 6243708 w 7714416"/>
              <a:gd name="connsiteY11273" fmla="*/ 3913500 h 5282095"/>
              <a:gd name="connsiteX11274" fmla="*/ 6235974 w 7714416"/>
              <a:gd name="connsiteY11274" fmla="*/ 3915722 h 5282095"/>
              <a:gd name="connsiteX11275" fmla="*/ 6228526 w 7714416"/>
              <a:gd name="connsiteY11275" fmla="*/ 3911611 h 5282095"/>
              <a:gd name="connsiteX11276" fmla="*/ 6223082 w 7714416"/>
              <a:gd name="connsiteY11276" fmla="*/ 3909391 h 5282095"/>
              <a:gd name="connsiteX11277" fmla="*/ 6222510 w 7714416"/>
              <a:gd name="connsiteY11277" fmla="*/ 3906836 h 5282095"/>
              <a:gd name="connsiteX11278" fmla="*/ 6222510 w 7714416"/>
              <a:gd name="connsiteY11278" fmla="*/ 3908613 h 5282095"/>
              <a:gd name="connsiteX11279" fmla="*/ 6220218 w 7714416"/>
              <a:gd name="connsiteY11279" fmla="*/ 3910500 h 5282095"/>
              <a:gd name="connsiteX11280" fmla="*/ 6216494 w 7714416"/>
              <a:gd name="connsiteY11280" fmla="*/ 3910390 h 5282095"/>
              <a:gd name="connsiteX11281" fmla="*/ 6210764 w 7714416"/>
              <a:gd name="connsiteY11281" fmla="*/ 3907946 h 5282095"/>
              <a:gd name="connsiteX11282" fmla="*/ 6209905 w 7714416"/>
              <a:gd name="connsiteY11282" fmla="*/ 3904724 h 5282095"/>
              <a:gd name="connsiteX11283" fmla="*/ 6211625 w 7714416"/>
              <a:gd name="connsiteY11283" fmla="*/ 3903947 h 5282095"/>
              <a:gd name="connsiteX11284" fmla="*/ 6210192 w 7714416"/>
              <a:gd name="connsiteY11284" fmla="*/ 3902836 h 5282095"/>
              <a:gd name="connsiteX11285" fmla="*/ 6207327 w 7714416"/>
              <a:gd name="connsiteY11285" fmla="*/ 3897727 h 5282095"/>
              <a:gd name="connsiteX11286" fmla="*/ 6213056 w 7714416"/>
              <a:gd name="connsiteY11286" fmla="*/ 3902391 h 5282095"/>
              <a:gd name="connsiteX11287" fmla="*/ 6211051 w 7714416"/>
              <a:gd name="connsiteY11287" fmla="*/ 3896504 h 5282095"/>
              <a:gd name="connsiteX11288" fmla="*/ 6213630 w 7714416"/>
              <a:gd name="connsiteY11288" fmla="*/ 3889728 h 5282095"/>
              <a:gd name="connsiteX11289" fmla="*/ 6221936 w 7714416"/>
              <a:gd name="connsiteY11289" fmla="*/ 3890617 h 5282095"/>
              <a:gd name="connsiteX11290" fmla="*/ 6221364 w 7714416"/>
              <a:gd name="connsiteY11290" fmla="*/ 3890062 h 5282095"/>
              <a:gd name="connsiteX11291" fmla="*/ 6251442 w 7714416"/>
              <a:gd name="connsiteY11291" fmla="*/ 3877954 h 5282095"/>
              <a:gd name="connsiteX11292" fmla="*/ 6256026 w 7714416"/>
              <a:gd name="connsiteY11292" fmla="*/ 3878287 h 5282095"/>
              <a:gd name="connsiteX11293" fmla="*/ 6256886 w 7714416"/>
              <a:gd name="connsiteY11293" fmla="*/ 3877066 h 5282095"/>
              <a:gd name="connsiteX11294" fmla="*/ 6259750 w 7714416"/>
              <a:gd name="connsiteY11294" fmla="*/ 3874843 h 5282095"/>
              <a:gd name="connsiteX11295" fmla="*/ 6262901 w 7714416"/>
              <a:gd name="connsiteY11295" fmla="*/ 3872622 h 5282095"/>
              <a:gd name="connsiteX11296" fmla="*/ 6264620 w 7714416"/>
              <a:gd name="connsiteY11296" fmla="*/ 3870289 h 5282095"/>
              <a:gd name="connsiteX11297" fmla="*/ 6270922 w 7714416"/>
              <a:gd name="connsiteY11297" fmla="*/ 3868289 h 5282095"/>
              <a:gd name="connsiteX11298" fmla="*/ 6380638 w 7714416"/>
              <a:gd name="connsiteY11298" fmla="*/ 3866735 h 5282095"/>
              <a:gd name="connsiteX11299" fmla="*/ 6382930 w 7714416"/>
              <a:gd name="connsiteY11299" fmla="*/ 3867179 h 5282095"/>
              <a:gd name="connsiteX11300" fmla="*/ 6382931 w 7714416"/>
              <a:gd name="connsiteY11300" fmla="*/ 3868289 h 5282095"/>
              <a:gd name="connsiteX11301" fmla="*/ 6379778 w 7714416"/>
              <a:gd name="connsiteY11301" fmla="*/ 3867068 h 5282095"/>
              <a:gd name="connsiteX11302" fmla="*/ 6380638 w 7714416"/>
              <a:gd name="connsiteY11302" fmla="*/ 3866735 h 5282095"/>
              <a:gd name="connsiteX11303" fmla="*/ 6576580 w 7714416"/>
              <a:gd name="connsiteY11303" fmla="*/ 3866512 h 5282095"/>
              <a:gd name="connsiteX11304" fmla="*/ 6584887 w 7714416"/>
              <a:gd name="connsiteY11304" fmla="*/ 3869623 h 5282095"/>
              <a:gd name="connsiteX11305" fmla="*/ 6590903 w 7714416"/>
              <a:gd name="connsiteY11305" fmla="*/ 3871066 h 5282095"/>
              <a:gd name="connsiteX11306" fmla="*/ 6592335 w 7714416"/>
              <a:gd name="connsiteY11306" fmla="*/ 3874399 h 5282095"/>
              <a:gd name="connsiteX11307" fmla="*/ 6577439 w 7714416"/>
              <a:gd name="connsiteY11307" fmla="*/ 3875288 h 5282095"/>
              <a:gd name="connsiteX11308" fmla="*/ 6569132 w 7714416"/>
              <a:gd name="connsiteY11308" fmla="*/ 3869511 h 5282095"/>
              <a:gd name="connsiteX11309" fmla="*/ 6576580 w 7714416"/>
              <a:gd name="connsiteY11309" fmla="*/ 3866512 h 5282095"/>
              <a:gd name="connsiteX11310" fmla="*/ 1625617 w 7714416"/>
              <a:gd name="connsiteY11310" fmla="*/ 3864957 h 5282095"/>
              <a:gd name="connsiteX11311" fmla="*/ 1650539 w 7714416"/>
              <a:gd name="connsiteY11311" fmla="*/ 3871400 h 5282095"/>
              <a:gd name="connsiteX11312" fmla="*/ 1628196 w 7714416"/>
              <a:gd name="connsiteY11312" fmla="*/ 3904170 h 5282095"/>
              <a:gd name="connsiteX11313" fmla="*/ 1608143 w 7714416"/>
              <a:gd name="connsiteY11313" fmla="*/ 3900393 h 5282095"/>
              <a:gd name="connsiteX11314" fmla="*/ 1625617 w 7714416"/>
              <a:gd name="connsiteY11314" fmla="*/ 3864957 h 5282095"/>
              <a:gd name="connsiteX11315" fmla="*/ 6415300 w 7714416"/>
              <a:gd name="connsiteY11315" fmla="*/ 3861292 h 5282095"/>
              <a:gd name="connsiteX11316" fmla="*/ 6418165 w 7714416"/>
              <a:gd name="connsiteY11316" fmla="*/ 3862180 h 5282095"/>
              <a:gd name="connsiteX11317" fmla="*/ 6411862 w 7714416"/>
              <a:gd name="connsiteY11317" fmla="*/ 3871288 h 5282095"/>
              <a:gd name="connsiteX11318" fmla="*/ 6400118 w 7714416"/>
              <a:gd name="connsiteY11318" fmla="*/ 3873288 h 5282095"/>
              <a:gd name="connsiteX11319" fmla="*/ 6399831 w 7714416"/>
              <a:gd name="connsiteY11319" fmla="*/ 3867512 h 5282095"/>
              <a:gd name="connsiteX11320" fmla="*/ 6408139 w 7714416"/>
              <a:gd name="connsiteY11320" fmla="*/ 3864290 h 5282095"/>
              <a:gd name="connsiteX11321" fmla="*/ 6413008 w 7714416"/>
              <a:gd name="connsiteY11321" fmla="*/ 3861513 h 5282095"/>
              <a:gd name="connsiteX11322" fmla="*/ 6415300 w 7714416"/>
              <a:gd name="connsiteY11322" fmla="*/ 3861292 h 5282095"/>
              <a:gd name="connsiteX11323" fmla="*/ 6839554 w 7714416"/>
              <a:gd name="connsiteY11323" fmla="*/ 3860069 h 5282095"/>
              <a:gd name="connsiteX11324" fmla="*/ 6878226 w 7714416"/>
              <a:gd name="connsiteY11324" fmla="*/ 3879510 h 5282095"/>
              <a:gd name="connsiteX11325" fmla="*/ 6880518 w 7714416"/>
              <a:gd name="connsiteY11325" fmla="*/ 3886951 h 5282095"/>
              <a:gd name="connsiteX11326" fmla="*/ 6879373 w 7714416"/>
              <a:gd name="connsiteY11326" fmla="*/ 3894172 h 5282095"/>
              <a:gd name="connsiteX11327" fmla="*/ 6881664 w 7714416"/>
              <a:gd name="connsiteY11327" fmla="*/ 3894283 h 5282095"/>
              <a:gd name="connsiteX11328" fmla="*/ 6886248 w 7714416"/>
              <a:gd name="connsiteY11328" fmla="*/ 3904946 h 5282095"/>
              <a:gd name="connsiteX11329" fmla="*/ 6874789 w 7714416"/>
              <a:gd name="connsiteY11329" fmla="*/ 3908946 h 5282095"/>
              <a:gd name="connsiteX11330" fmla="*/ 6871638 w 7714416"/>
              <a:gd name="connsiteY11330" fmla="*/ 3902392 h 5282095"/>
              <a:gd name="connsiteX11331" fmla="*/ 6874216 w 7714416"/>
              <a:gd name="connsiteY11331" fmla="*/ 3895616 h 5282095"/>
              <a:gd name="connsiteX11332" fmla="*/ 6861038 w 7714416"/>
              <a:gd name="connsiteY11332" fmla="*/ 3898282 h 5282095"/>
              <a:gd name="connsiteX11333" fmla="*/ 6844424 w 7714416"/>
              <a:gd name="connsiteY11333" fmla="*/ 3896393 h 5282095"/>
              <a:gd name="connsiteX11334" fmla="*/ 6818642 w 7714416"/>
              <a:gd name="connsiteY11334" fmla="*/ 3864845 h 5282095"/>
              <a:gd name="connsiteX11335" fmla="*/ 6822366 w 7714416"/>
              <a:gd name="connsiteY11335" fmla="*/ 3862180 h 5282095"/>
              <a:gd name="connsiteX11336" fmla="*/ 6839554 w 7714416"/>
              <a:gd name="connsiteY11336" fmla="*/ 3860069 h 5282095"/>
              <a:gd name="connsiteX11337" fmla="*/ 1782026 w 7714416"/>
              <a:gd name="connsiteY11337" fmla="*/ 3858848 h 5282095"/>
              <a:gd name="connsiteX11338" fmla="*/ 1793485 w 7714416"/>
              <a:gd name="connsiteY11338" fmla="*/ 3858958 h 5282095"/>
              <a:gd name="connsiteX11339" fmla="*/ 1767131 w 7714416"/>
              <a:gd name="connsiteY11339" fmla="*/ 3903614 h 5282095"/>
              <a:gd name="connsiteX11340" fmla="*/ 1751089 w 7714416"/>
              <a:gd name="connsiteY11340" fmla="*/ 3907168 h 5282095"/>
              <a:gd name="connsiteX11341" fmla="*/ 1782026 w 7714416"/>
              <a:gd name="connsiteY11341" fmla="*/ 3858848 h 5282095"/>
              <a:gd name="connsiteX11342" fmla="*/ 6376628 w 7714416"/>
              <a:gd name="connsiteY11342" fmla="*/ 3858292 h 5282095"/>
              <a:gd name="connsiteX11343" fmla="*/ 6380352 w 7714416"/>
              <a:gd name="connsiteY11343" fmla="*/ 3858959 h 5282095"/>
              <a:gd name="connsiteX11344" fmla="*/ 6381211 w 7714416"/>
              <a:gd name="connsiteY11344" fmla="*/ 3861736 h 5282095"/>
              <a:gd name="connsiteX11345" fmla="*/ 6360872 w 7714416"/>
              <a:gd name="connsiteY11345" fmla="*/ 3868956 h 5282095"/>
              <a:gd name="connsiteX11346" fmla="*/ 6356289 w 7714416"/>
              <a:gd name="connsiteY11346" fmla="*/ 3868178 h 5282095"/>
              <a:gd name="connsiteX11347" fmla="*/ 6352278 w 7714416"/>
              <a:gd name="connsiteY11347" fmla="*/ 3868401 h 5282095"/>
              <a:gd name="connsiteX11348" fmla="*/ 6343399 w 7714416"/>
              <a:gd name="connsiteY11348" fmla="*/ 3864290 h 5282095"/>
              <a:gd name="connsiteX11349" fmla="*/ 6376628 w 7714416"/>
              <a:gd name="connsiteY11349" fmla="*/ 3858292 h 5282095"/>
              <a:gd name="connsiteX11350" fmla="*/ 6483478 w 7714416"/>
              <a:gd name="connsiteY11350" fmla="*/ 3857403 h 5282095"/>
              <a:gd name="connsiteX11351" fmla="*/ 6495510 w 7714416"/>
              <a:gd name="connsiteY11351" fmla="*/ 3861181 h 5282095"/>
              <a:gd name="connsiteX11352" fmla="*/ 6496083 w 7714416"/>
              <a:gd name="connsiteY11352" fmla="*/ 3863291 h 5282095"/>
              <a:gd name="connsiteX11353" fmla="*/ 6483478 w 7714416"/>
              <a:gd name="connsiteY11353" fmla="*/ 3857403 h 5282095"/>
              <a:gd name="connsiteX11354" fmla="*/ 7333419 w 7714416"/>
              <a:gd name="connsiteY11354" fmla="*/ 3856293 h 5282095"/>
              <a:gd name="connsiteX11355" fmla="*/ 7372950 w 7714416"/>
              <a:gd name="connsiteY11355" fmla="*/ 3862736 h 5282095"/>
              <a:gd name="connsiteX11356" fmla="*/ 7376961 w 7714416"/>
              <a:gd name="connsiteY11356" fmla="*/ 3869844 h 5282095"/>
              <a:gd name="connsiteX11357" fmla="*/ 7333419 w 7714416"/>
              <a:gd name="connsiteY11357" fmla="*/ 3856293 h 5282095"/>
              <a:gd name="connsiteX11358" fmla="*/ 6208186 w 7714416"/>
              <a:gd name="connsiteY11358" fmla="*/ 3854848 h 5282095"/>
              <a:gd name="connsiteX11359" fmla="*/ 6222796 w 7714416"/>
              <a:gd name="connsiteY11359" fmla="*/ 3857514 h 5282095"/>
              <a:gd name="connsiteX11360" fmla="*/ 6209905 w 7714416"/>
              <a:gd name="connsiteY11360" fmla="*/ 3856181 h 5282095"/>
              <a:gd name="connsiteX11361" fmla="*/ 6208186 w 7714416"/>
              <a:gd name="connsiteY11361" fmla="*/ 3854848 h 5282095"/>
              <a:gd name="connsiteX11362" fmla="*/ 6567126 w 7714416"/>
              <a:gd name="connsiteY11362" fmla="*/ 3854738 h 5282095"/>
              <a:gd name="connsiteX11363" fmla="*/ 6568272 w 7714416"/>
              <a:gd name="connsiteY11363" fmla="*/ 3855071 h 5282095"/>
              <a:gd name="connsiteX11364" fmla="*/ 6568558 w 7714416"/>
              <a:gd name="connsiteY11364" fmla="*/ 3856515 h 5282095"/>
              <a:gd name="connsiteX11365" fmla="*/ 6567127 w 7714416"/>
              <a:gd name="connsiteY11365" fmla="*/ 3857070 h 5282095"/>
              <a:gd name="connsiteX11366" fmla="*/ 6567126 w 7714416"/>
              <a:gd name="connsiteY11366" fmla="*/ 3854738 h 5282095"/>
              <a:gd name="connsiteX11367" fmla="*/ 6874216 w 7714416"/>
              <a:gd name="connsiteY11367" fmla="*/ 3854293 h 5282095"/>
              <a:gd name="connsiteX11368" fmla="*/ 6905154 w 7714416"/>
              <a:gd name="connsiteY11368" fmla="*/ 3869623 h 5282095"/>
              <a:gd name="connsiteX11369" fmla="*/ 6903722 w 7714416"/>
              <a:gd name="connsiteY11369" fmla="*/ 3877065 h 5282095"/>
              <a:gd name="connsiteX11370" fmla="*/ 6874216 w 7714416"/>
              <a:gd name="connsiteY11370" fmla="*/ 3854293 h 5282095"/>
              <a:gd name="connsiteX11371" fmla="*/ 6274073 w 7714416"/>
              <a:gd name="connsiteY11371" fmla="*/ 3853960 h 5282095"/>
              <a:gd name="connsiteX11372" fmla="*/ 6282094 w 7714416"/>
              <a:gd name="connsiteY11372" fmla="*/ 3854959 h 5282095"/>
              <a:gd name="connsiteX11373" fmla="*/ 6286391 w 7714416"/>
              <a:gd name="connsiteY11373" fmla="*/ 3855959 h 5282095"/>
              <a:gd name="connsiteX11374" fmla="*/ 6290115 w 7714416"/>
              <a:gd name="connsiteY11374" fmla="*/ 3855959 h 5282095"/>
              <a:gd name="connsiteX11375" fmla="*/ 6295558 w 7714416"/>
              <a:gd name="connsiteY11375" fmla="*/ 3859069 h 5282095"/>
              <a:gd name="connsiteX11376" fmla="*/ 6291834 w 7714416"/>
              <a:gd name="connsiteY11376" fmla="*/ 3859069 h 5282095"/>
              <a:gd name="connsiteX11377" fmla="*/ 6287537 w 7714416"/>
              <a:gd name="connsiteY11377" fmla="*/ 3858070 h 5282095"/>
              <a:gd name="connsiteX11378" fmla="*/ 6284672 w 7714416"/>
              <a:gd name="connsiteY11378" fmla="*/ 3859070 h 5282095"/>
              <a:gd name="connsiteX11379" fmla="*/ 6274073 w 7714416"/>
              <a:gd name="connsiteY11379" fmla="*/ 3853960 h 5282095"/>
              <a:gd name="connsiteX11380" fmla="*/ 6627856 w 7714416"/>
              <a:gd name="connsiteY11380" fmla="*/ 3851627 h 5282095"/>
              <a:gd name="connsiteX11381" fmla="*/ 6618404 w 7714416"/>
              <a:gd name="connsiteY11381" fmla="*/ 3856959 h 5282095"/>
              <a:gd name="connsiteX11382" fmla="*/ 6602934 w 7714416"/>
              <a:gd name="connsiteY11382" fmla="*/ 3859402 h 5282095"/>
              <a:gd name="connsiteX11383" fmla="*/ 6603507 w 7714416"/>
              <a:gd name="connsiteY11383" fmla="*/ 3857736 h 5282095"/>
              <a:gd name="connsiteX11384" fmla="*/ 6627856 w 7714416"/>
              <a:gd name="connsiteY11384" fmla="*/ 3851627 h 5282095"/>
              <a:gd name="connsiteX11385" fmla="*/ 7261516 w 7714416"/>
              <a:gd name="connsiteY11385" fmla="*/ 3850072 h 5282095"/>
              <a:gd name="connsiteX11386" fmla="*/ 7263808 w 7714416"/>
              <a:gd name="connsiteY11386" fmla="*/ 3851294 h 5282095"/>
              <a:gd name="connsiteX11387" fmla="*/ 7263234 w 7714416"/>
              <a:gd name="connsiteY11387" fmla="*/ 3854738 h 5282095"/>
              <a:gd name="connsiteX11388" fmla="*/ 7256647 w 7714416"/>
              <a:gd name="connsiteY11388" fmla="*/ 3853515 h 5282095"/>
              <a:gd name="connsiteX11389" fmla="*/ 7261516 w 7714416"/>
              <a:gd name="connsiteY11389" fmla="*/ 3850072 h 5282095"/>
              <a:gd name="connsiteX11390" fmla="*/ 5995057 w 7714416"/>
              <a:gd name="connsiteY11390" fmla="*/ 3847628 h 5282095"/>
              <a:gd name="connsiteX11391" fmla="*/ 6006229 w 7714416"/>
              <a:gd name="connsiteY11391" fmla="*/ 3850738 h 5282095"/>
              <a:gd name="connsiteX11392" fmla="*/ 6007375 w 7714416"/>
              <a:gd name="connsiteY11392" fmla="*/ 3868845 h 5282095"/>
              <a:gd name="connsiteX11393" fmla="*/ 5981306 w 7714416"/>
              <a:gd name="connsiteY11393" fmla="*/ 3860736 h 5282095"/>
              <a:gd name="connsiteX11394" fmla="*/ 5995057 w 7714416"/>
              <a:gd name="connsiteY11394" fmla="*/ 3847628 h 5282095"/>
              <a:gd name="connsiteX11395" fmla="*/ 7275266 w 7714416"/>
              <a:gd name="connsiteY11395" fmla="*/ 3847073 h 5282095"/>
              <a:gd name="connsiteX11396" fmla="*/ 7278418 w 7714416"/>
              <a:gd name="connsiteY11396" fmla="*/ 3848406 h 5282095"/>
              <a:gd name="connsiteX11397" fmla="*/ 7281282 w 7714416"/>
              <a:gd name="connsiteY11397" fmla="*/ 3850516 h 5282095"/>
              <a:gd name="connsiteX11398" fmla="*/ 7282714 w 7714416"/>
              <a:gd name="connsiteY11398" fmla="*/ 3853182 h 5282095"/>
              <a:gd name="connsiteX11399" fmla="*/ 7282714 w 7714416"/>
              <a:gd name="connsiteY11399" fmla="*/ 3856959 h 5282095"/>
              <a:gd name="connsiteX11400" fmla="*/ 7278418 w 7714416"/>
              <a:gd name="connsiteY11400" fmla="*/ 3861403 h 5282095"/>
              <a:gd name="connsiteX11401" fmla="*/ 7275266 w 7714416"/>
              <a:gd name="connsiteY11401" fmla="*/ 3862735 h 5282095"/>
              <a:gd name="connsiteX11402" fmla="*/ 7265527 w 7714416"/>
              <a:gd name="connsiteY11402" fmla="*/ 3855070 h 5282095"/>
              <a:gd name="connsiteX11403" fmla="*/ 7275266 w 7714416"/>
              <a:gd name="connsiteY11403" fmla="*/ 3847073 h 5282095"/>
              <a:gd name="connsiteX11404" fmla="*/ 6170086 w 7714416"/>
              <a:gd name="connsiteY11404" fmla="*/ 3845961 h 5282095"/>
              <a:gd name="connsiteX11405" fmla="*/ 6196728 w 7714416"/>
              <a:gd name="connsiteY11405" fmla="*/ 3852293 h 5282095"/>
              <a:gd name="connsiteX11406" fmla="*/ 6170086 w 7714416"/>
              <a:gd name="connsiteY11406" fmla="*/ 3845961 h 5282095"/>
              <a:gd name="connsiteX11407" fmla="*/ 6166649 w 7714416"/>
              <a:gd name="connsiteY11407" fmla="*/ 3844296 h 5282095"/>
              <a:gd name="connsiteX11408" fmla="*/ 6170086 w 7714416"/>
              <a:gd name="connsiteY11408" fmla="*/ 3845740 h 5282095"/>
              <a:gd name="connsiteX11409" fmla="*/ 6168368 w 7714416"/>
              <a:gd name="connsiteY11409" fmla="*/ 3846518 h 5282095"/>
              <a:gd name="connsiteX11410" fmla="*/ 6166649 w 7714416"/>
              <a:gd name="connsiteY11410" fmla="*/ 3844296 h 5282095"/>
              <a:gd name="connsiteX11411" fmla="*/ 6158055 w 7714416"/>
              <a:gd name="connsiteY11411" fmla="*/ 3843295 h 5282095"/>
              <a:gd name="connsiteX11412" fmla="*/ 6161492 w 7714416"/>
              <a:gd name="connsiteY11412" fmla="*/ 3844740 h 5282095"/>
              <a:gd name="connsiteX11413" fmla="*/ 6158055 w 7714416"/>
              <a:gd name="connsiteY11413" fmla="*/ 3844406 h 5282095"/>
              <a:gd name="connsiteX11414" fmla="*/ 6158055 w 7714416"/>
              <a:gd name="connsiteY11414" fmla="*/ 3843295 h 5282095"/>
              <a:gd name="connsiteX11415" fmla="*/ 6436785 w 7714416"/>
              <a:gd name="connsiteY11415" fmla="*/ 3842073 h 5282095"/>
              <a:gd name="connsiteX11416" fmla="*/ 6461421 w 7714416"/>
              <a:gd name="connsiteY11416" fmla="*/ 3847628 h 5282095"/>
              <a:gd name="connsiteX11417" fmla="*/ 6413582 w 7714416"/>
              <a:gd name="connsiteY11417" fmla="*/ 3842741 h 5282095"/>
              <a:gd name="connsiteX11418" fmla="*/ 6436785 w 7714416"/>
              <a:gd name="connsiteY11418" fmla="*/ 3842073 h 5282095"/>
              <a:gd name="connsiteX11419" fmla="*/ 6148602 w 7714416"/>
              <a:gd name="connsiteY11419" fmla="*/ 3839742 h 5282095"/>
              <a:gd name="connsiteX11420" fmla="*/ 6156623 w 7714416"/>
              <a:gd name="connsiteY11420" fmla="*/ 3844073 h 5282095"/>
              <a:gd name="connsiteX11421" fmla="*/ 6150034 w 7714416"/>
              <a:gd name="connsiteY11421" fmla="*/ 3843407 h 5282095"/>
              <a:gd name="connsiteX11422" fmla="*/ 6148602 w 7714416"/>
              <a:gd name="connsiteY11422" fmla="*/ 3839742 h 5282095"/>
              <a:gd name="connsiteX11423" fmla="*/ 6819502 w 7714416"/>
              <a:gd name="connsiteY11423" fmla="*/ 3839075 h 5282095"/>
              <a:gd name="connsiteX11424" fmla="*/ 6825230 w 7714416"/>
              <a:gd name="connsiteY11424" fmla="*/ 3841963 h 5282095"/>
              <a:gd name="connsiteX11425" fmla="*/ 6827522 w 7714416"/>
              <a:gd name="connsiteY11425" fmla="*/ 3845295 h 5282095"/>
              <a:gd name="connsiteX11426" fmla="*/ 6826090 w 7714416"/>
              <a:gd name="connsiteY11426" fmla="*/ 3849183 h 5282095"/>
              <a:gd name="connsiteX11427" fmla="*/ 6822652 w 7714416"/>
              <a:gd name="connsiteY11427" fmla="*/ 3851072 h 5282095"/>
              <a:gd name="connsiteX11428" fmla="*/ 6812626 w 7714416"/>
              <a:gd name="connsiteY11428" fmla="*/ 3850072 h 5282095"/>
              <a:gd name="connsiteX11429" fmla="*/ 6813772 w 7714416"/>
              <a:gd name="connsiteY11429" fmla="*/ 3839519 h 5282095"/>
              <a:gd name="connsiteX11430" fmla="*/ 6819502 w 7714416"/>
              <a:gd name="connsiteY11430" fmla="*/ 3839075 h 5282095"/>
              <a:gd name="connsiteX11431" fmla="*/ 6513844 w 7714416"/>
              <a:gd name="connsiteY11431" fmla="*/ 3839075 h 5282095"/>
              <a:gd name="connsiteX11432" fmla="*/ 6522438 w 7714416"/>
              <a:gd name="connsiteY11432" fmla="*/ 3842629 h 5282095"/>
              <a:gd name="connsiteX11433" fmla="*/ 6526735 w 7714416"/>
              <a:gd name="connsiteY11433" fmla="*/ 3852515 h 5282095"/>
              <a:gd name="connsiteX11434" fmla="*/ 6533324 w 7714416"/>
              <a:gd name="connsiteY11434" fmla="*/ 3849183 h 5282095"/>
              <a:gd name="connsiteX11435" fmla="*/ 6544209 w 7714416"/>
              <a:gd name="connsiteY11435" fmla="*/ 3859291 h 5282095"/>
              <a:gd name="connsiteX11436" fmla="*/ 6542777 w 7714416"/>
              <a:gd name="connsiteY11436" fmla="*/ 3872400 h 5282095"/>
              <a:gd name="connsiteX11437" fmla="*/ 6526162 w 7714416"/>
              <a:gd name="connsiteY11437" fmla="*/ 3873844 h 5282095"/>
              <a:gd name="connsiteX11438" fmla="*/ 6523011 w 7714416"/>
              <a:gd name="connsiteY11438" fmla="*/ 3854182 h 5282095"/>
              <a:gd name="connsiteX11439" fmla="*/ 6525876 w 7714416"/>
              <a:gd name="connsiteY11439" fmla="*/ 3852849 h 5282095"/>
              <a:gd name="connsiteX11440" fmla="*/ 6512698 w 7714416"/>
              <a:gd name="connsiteY11440" fmla="*/ 3851183 h 5282095"/>
              <a:gd name="connsiteX11441" fmla="*/ 6474598 w 7714416"/>
              <a:gd name="connsiteY11441" fmla="*/ 3847627 h 5282095"/>
              <a:gd name="connsiteX11442" fmla="*/ 6513844 w 7714416"/>
              <a:gd name="connsiteY11442" fmla="*/ 3839075 h 5282095"/>
              <a:gd name="connsiteX11443" fmla="*/ 6632726 w 7714416"/>
              <a:gd name="connsiteY11443" fmla="*/ 3838631 h 5282095"/>
              <a:gd name="connsiteX11444" fmla="*/ 6632154 w 7714416"/>
              <a:gd name="connsiteY11444" fmla="*/ 3840074 h 5282095"/>
              <a:gd name="connsiteX11445" fmla="*/ 6632726 w 7714416"/>
              <a:gd name="connsiteY11445" fmla="*/ 3839741 h 5282095"/>
              <a:gd name="connsiteX11446" fmla="*/ 7252349 w 7714416"/>
              <a:gd name="connsiteY11446" fmla="*/ 3838187 h 5282095"/>
              <a:gd name="connsiteX11447" fmla="*/ 7255214 w 7714416"/>
              <a:gd name="connsiteY11447" fmla="*/ 3839519 h 5282095"/>
              <a:gd name="connsiteX11448" fmla="*/ 7244901 w 7714416"/>
              <a:gd name="connsiteY11448" fmla="*/ 3846406 h 5282095"/>
              <a:gd name="connsiteX11449" fmla="*/ 7242036 w 7714416"/>
              <a:gd name="connsiteY11449" fmla="*/ 3845073 h 5282095"/>
              <a:gd name="connsiteX11450" fmla="*/ 7243468 w 7714416"/>
              <a:gd name="connsiteY11450" fmla="*/ 3841852 h 5282095"/>
              <a:gd name="connsiteX11451" fmla="*/ 7252349 w 7714416"/>
              <a:gd name="connsiteY11451" fmla="*/ 3838187 h 5282095"/>
              <a:gd name="connsiteX11452" fmla="*/ 6555954 w 7714416"/>
              <a:gd name="connsiteY11452" fmla="*/ 3836186 h 5282095"/>
              <a:gd name="connsiteX11453" fmla="*/ 6547933 w 7714416"/>
              <a:gd name="connsiteY11453" fmla="*/ 3847628 h 5282095"/>
              <a:gd name="connsiteX11454" fmla="*/ 6555954 w 7714416"/>
              <a:gd name="connsiteY11454" fmla="*/ 3836186 h 5282095"/>
              <a:gd name="connsiteX11455" fmla="*/ 6635305 w 7714416"/>
              <a:gd name="connsiteY11455" fmla="*/ 3832631 h 5282095"/>
              <a:gd name="connsiteX11456" fmla="*/ 6638456 w 7714416"/>
              <a:gd name="connsiteY11456" fmla="*/ 3834298 h 5282095"/>
              <a:gd name="connsiteX11457" fmla="*/ 6638456 w 7714416"/>
              <a:gd name="connsiteY11457" fmla="*/ 3836075 h 5282095"/>
              <a:gd name="connsiteX11458" fmla="*/ 6644472 w 7714416"/>
              <a:gd name="connsiteY11458" fmla="*/ 3833854 h 5282095"/>
              <a:gd name="connsiteX11459" fmla="*/ 6659940 w 7714416"/>
              <a:gd name="connsiteY11459" fmla="*/ 3841963 h 5282095"/>
              <a:gd name="connsiteX11460" fmla="*/ 6651634 w 7714416"/>
              <a:gd name="connsiteY11460" fmla="*/ 3854516 h 5282095"/>
              <a:gd name="connsiteX11461" fmla="*/ 6651920 w 7714416"/>
              <a:gd name="connsiteY11461" fmla="*/ 3855515 h 5282095"/>
              <a:gd name="connsiteX11462" fmla="*/ 6653638 w 7714416"/>
              <a:gd name="connsiteY11462" fmla="*/ 3854627 h 5282095"/>
              <a:gd name="connsiteX11463" fmla="*/ 6655358 w 7714416"/>
              <a:gd name="connsiteY11463" fmla="*/ 3853626 h 5282095"/>
              <a:gd name="connsiteX11464" fmla="*/ 6659083 w 7714416"/>
              <a:gd name="connsiteY11464" fmla="*/ 3853293 h 5282095"/>
              <a:gd name="connsiteX11465" fmla="*/ 6669681 w 7714416"/>
              <a:gd name="connsiteY11465" fmla="*/ 3856848 h 5282095"/>
              <a:gd name="connsiteX11466" fmla="*/ 6645618 w 7714416"/>
              <a:gd name="connsiteY11466" fmla="*/ 3865068 h 5282095"/>
              <a:gd name="connsiteX11467" fmla="*/ 6639888 w 7714416"/>
              <a:gd name="connsiteY11467" fmla="*/ 3865513 h 5282095"/>
              <a:gd name="connsiteX11468" fmla="*/ 6637596 w 7714416"/>
              <a:gd name="connsiteY11468" fmla="*/ 3869067 h 5282095"/>
              <a:gd name="connsiteX11469" fmla="*/ 6629862 w 7714416"/>
              <a:gd name="connsiteY11469" fmla="*/ 3866401 h 5282095"/>
              <a:gd name="connsiteX11470" fmla="*/ 6631009 w 7714416"/>
              <a:gd name="connsiteY11470" fmla="*/ 3863402 h 5282095"/>
              <a:gd name="connsiteX11471" fmla="*/ 6627856 w 7714416"/>
              <a:gd name="connsiteY11471" fmla="*/ 3863735 h 5282095"/>
              <a:gd name="connsiteX11472" fmla="*/ 6630722 w 7714416"/>
              <a:gd name="connsiteY11472" fmla="*/ 3857293 h 5282095"/>
              <a:gd name="connsiteX11473" fmla="*/ 6630722 w 7714416"/>
              <a:gd name="connsiteY11473" fmla="*/ 3854627 h 5282095"/>
              <a:gd name="connsiteX11474" fmla="*/ 6633586 w 7714416"/>
              <a:gd name="connsiteY11474" fmla="*/ 3856070 h 5282095"/>
              <a:gd name="connsiteX11475" fmla="*/ 6630722 w 7714416"/>
              <a:gd name="connsiteY11475" fmla="*/ 3859847 h 5282095"/>
              <a:gd name="connsiteX11476" fmla="*/ 6633586 w 7714416"/>
              <a:gd name="connsiteY11476" fmla="*/ 3861291 h 5282095"/>
              <a:gd name="connsiteX11477" fmla="*/ 6633013 w 7714416"/>
              <a:gd name="connsiteY11477" fmla="*/ 3862847 h 5282095"/>
              <a:gd name="connsiteX11478" fmla="*/ 6632726 w 7714416"/>
              <a:gd name="connsiteY11478" fmla="*/ 3863179 h 5282095"/>
              <a:gd name="connsiteX11479" fmla="*/ 6633300 w 7714416"/>
              <a:gd name="connsiteY11479" fmla="*/ 3863290 h 5282095"/>
              <a:gd name="connsiteX11480" fmla="*/ 6633013 w 7714416"/>
              <a:gd name="connsiteY11480" fmla="*/ 3862847 h 5282095"/>
              <a:gd name="connsiteX11481" fmla="*/ 6648196 w 7714416"/>
              <a:gd name="connsiteY11481" fmla="*/ 3857403 h 5282095"/>
              <a:gd name="connsiteX11482" fmla="*/ 6648482 w 7714416"/>
              <a:gd name="connsiteY11482" fmla="*/ 3855959 h 5282095"/>
              <a:gd name="connsiteX11483" fmla="*/ 6647050 w 7714416"/>
              <a:gd name="connsiteY11483" fmla="*/ 3855293 h 5282095"/>
              <a:gd name="connsiteX11484" fmla="*/ 6642180 w 7714416"/>
              <a:gd name="connsiteY11484" fmla="*/ 3856293 h 5282095"/>
              <a:gd name="connsiteX11485" fmla="*/ 6628716 w 7714416"/>
              <a:gd name="connsiteY11485" fmla="*/ 3850405 h 5282095"/>
              <a:gd name="connsiteX11486" fmla="*/ 6630148 w 7714416"/>
              <a:gd name="connsiteY11486" fmla="*/ 3846738 h 5282095"/>
              <a:gd name="connsiteX11487" fmla="*/ 6631008 w 7714416"/>
              <a:gd name="connsiteY11487" fmla="*/ 3843406 h 5282095"/>
              <a:gd name="connsiteX11488" fmla="*/ 6630435 w 7714416"/>
              <a:gd name="connsiteY11488" fmla="*/ 3844852 h 5282095"/>
              <a:gd name="connsiteX11489" fmla="*/ 6622700 w 7714416"/>
              <a:gd name="connsiteY11489" fmla="*/ 3847184 h 5282095"/>
              <a:gd name="connsiteX11490" fmla="*/ 6625852 w 7714416"/>
              <a:gd name="connsiteY11490" fmla="*/ 3838075 h 5282095"/>
              <a:gd name="connsiteX11491" fmla="*/ 6632726 w 7714416"/>
              <a:gd name="connsiteY11491" fmla="*/ 3838408 h 5282095"/>
              <a:gd name="connsiteX11492" fmla="*/ 6633013 w 7714416"/>
              <a:gd name="connsiteY11492" fmla="*/ 3838297 h 5282095"/>
              <a:gd name="connsiteX11493" fmla="*/ 6633586 w 7714416"/>
              <a:gd name="connsiteY11493" fmla="*/ 3833298 h 5282095"/>
              <a:gd name="connsiteX11494" fmla="*/ 6635305 w 7714416"/>
              <a:gd name="connsiteY11494" fmla="*/ 3832631 h 5282095"/>
              <a:gd name="connsiteX11495" fmla="*/ 6238552 w 7714416"/>
              <a:gd name="connsiteY11495" fmla="*/ 3832631 h 5282095"/>
              <a:gd name="connsiteX11496" fmla="*/ 6243135 w 7714416"/>
              <a:gd name="connsiteY11496" fmla="*/ 3832743 h 5282095"/>
              <a:gd name="connsiteX11497" fmla="*/ 6230244 w 7714416"/>
              <a:gd name="connsiteY11497" fmla="*/ 3843962 h 5282095"/>
              <a:gd name="connsiteX11498" fmla="*/ 6223656 w 7714416"/>
              <a:gd name="connsiteY11498" fmla="*/ 3838297 h 5282095"/>
              <a:gd name="connsiteX11499" fmla="*/ 6238552 w 7714416"/>
              <a:gd name="connsiteY11499" fmla="*/ 3832631 h 5282095"/>
              <a:gd name="connsiteX11500" fmla="*/ 6035162 w 7714416"/>
              <a:gd name="connsiteY11500" fmla="*/ 3832076 h 5282095"/>
              <a:gd name="connsiteX11501" fmla="*/ 6037454 w 7714416"/>
              <a:gd name="connsiteY11501" fmla="*/ 3833187 h 5282095"/>
              <a:gd name="connsiteX11502" fmla="*/ 6032298 w 7714416"/>
              <a:gd name="connsiteY11502" fmla="*/ 3835075 h 5282095"/>
              <a:gd name="connsiteX11503" fmla="*/ 6031152 w 7714416"/>
              <a:gd name="connsiteY11503" fmla="*/ 3833409 h 5282095"/>
              <a:gd name="connsiteX11504" fmla="*/ 6030579 w 7714416"/>
              <a:gd name="connsiteY11504" fmla="*/ 3834520 h 5282095"/>
              <a:gd name="connsiteX11505" fmla="*/ 6030866 w 7714416"/>
              <a:gd name="connsiteY11505" fmla="*/ 3832854 h 5282095"/>
              <a:gd name="connsiteX11506" fmla="*/ 6032011 w 7714416"/>
              <a:gd name="connsiteY11506" fmla="*/ 3832410 h 5282095"/>
              <a:gd name="connsiteX11507" fmla="*/ 6035162 w 7714416"/>
              <a:gd name="connsiteY11507" fmla="*/ 3832076 h 5282095"/>
              <a:gd name="connsiteX11508" fmla="*/ 6694316 w 7714416"/>
              <a:gd name="connsiteY11508" fmla="*/ 3831854 h 5282095"/>
              <a:gd name="connsiteX11509" fmla="*/ 6701478 w 7714416"/>
              <a:gd name="connsiteY11509" fmla="*/ 3832299 h 5282095"/>
              <a:gd name="connsiteX11510" fmla="*/ 6702624 w 7714416"/>
              <a:gd name="connsiteY11510" fmla="*/ 3835075 h 5282095"/>
              <a:gd name="connsiteX11511" fmla="*/ 6697754 w 7714416"/>
              <a:gd name="connsiteY11511" fmla="*/ 3841185 h 5282095"/>
              <a:gd name="connsiteX11512" fmla="*/ 6710072 w 7714416"/>
              <a:gd name="connsiteY11512" fmla="*/ 3860069 h 5282095"/>
              <a:gd name="connsiteX11513" fmla="*/ 6694316 w 7714416"/>
              <a:gd name="connsiteY11513" fmla="*/ 3865290 h 5282095"/>
              <a:gd name="connsiteX11514" fmla="*/ 6672832 w 7714416"/>
              <a:gd name="connsiteY11514" fmla="*/ 3850183 h 5282095"/>
              <a:gd name="connsiteX11515" fmla="*/ 6674264 w 7714416"/>
              <a:gd name="connsiteY11515" fmla="*/ 3849628 h 5282095"/>
              <a:gd name="connsiteX11516" fmla="*/ 6666530 w 7714416"/>
              <a:gd name="connsiteY11516" fmla="*/ 3844740 h 5282095"/>
              <a:gd name="connsiteX11517" fmla="*/ 6687156 w 7714416"/>
              <a:gd name="connsiteY11517" fmla="*/ 3833965 h 5282095"/>
              <a:gd name="connsiteX11518" fmla="*/ 6690879 w 7714416"/>
              <a:gd name="connsiteY11518" fmla="*/ 3833298 h 5282095"/>
              <a:gd name="connsiteX11519" fmla="*/ 6690020 w 7714416"/>
              <a:gd name="connsiteY11519" fmla="*/ 3832188 h 5282095"/>
              <a:gd name="connsiteX11520" fmla="*/ 6692598 w 7714416"/>
              <a:gd name="connsiteY11520" fmla="*/ 3832631 h 5282095"/>
              <a:gd name="connsiteX11521" fmla="*/ 6692884 w 7714416"/>
              <a:gd name="connsiteY11521" fmla="*/ 3832520 h 5282095"/>
              <a:gd name="connsiteX11522" fmla="*/ 6694316 w 7714416"/>
              <a:gd name="connsiteY11522" fmla="*/ 3831854 h 5282095"/>
              <a:gd name="connsiteX11523" fmla="*/ 6405847 w 7714416"/>
              <a:gd name="connsiteY11523" fmla="*/ 3830522 h 5282095"/>
              <a:gd name="connsiteX11524" fmla="*/ 6408138 w 7714416"/>
              <a:gd name="connsiteY11524" fmla="*/ 3838631 h 5282095"/>
              <a:gd name="connsiteX11525" fmla="*/ 6403555 w 7714416"/>
              <a:gd name="connsiteY11525" fmla="*/ 3848850 h 5282095"/>
              <a:gd name="connsiteX11526" fmla="*/ 6401836 w 7714416"/>
              <a:gd name="connsiteY11526" fmla="*/ 3847628 h 5282095"/>
              <a:gd name="connsiteX11527" fmla="*/ 6405847 w 7714416"/>
              <a:gd name="connsiteY11527" fmla="*/ 3830522 h 5282095"/>
              <a:gd name="connsiteX11528" fmla="*/ 6414154 w 7714416"/>
              <a:gd name="connsiteY11528" fmla="*/ 3829411 h 5282095"/>
              <a:gd name="connsiteX11529" fmla="*/ 6417878 w 7714416"/>
              <a:gd name="connsiteY11529" fmla="*/ 3832965 h 5282095"/>
              <a:gd name="connsiteX11530" fmla="*/ 6421030 w 7714416"/>
              <a:gd name="connsiteY11530" fmla="*/ 3831965 h 5282095"/>
              <a:gd name="connsiteX11531" fmla="*/ 6423034 w 7714416"/>
              <a:gd name="connsiteY11531" fmla="*/ 3833188 h 5282095"/>
              <a:gd name="connsiteX11532" fmla="*/ 6421602 w 7714416"/>
              <a:gd name="connsiteY11532" fmla="*/ 3836630 h 5282095"/>
              <a:gd name="connsiteX11533" fmla="*/ 6414441 w 7714416"/>
              <a:gd name="connsiteY11533" fmla="*/ 3831742 h 5282095"/>
              <a:gd name="connsiteX11534" fmla="*/ 6411003 w 7714416"/>
              <a:gd name="connsiteY11534" fmla="*/ 3830521 h 5282095"/>
              <a:gd name="connsiteX11535" fmla="*/ 6414154 w 7714416"/>
              <a:gd name="connsiteY11535" fmla="*/ 3829411 h 5282095"/>
              <a:gd name="connsiteX11536" fmla="*/ 6577153 w 7714416"/>
              <a:gd name="connsiteY11536" fmla="*/ 3826522 h 5282095"/>
              <a:gd name="connsiteX11537" fmla="*/ 6579730 w 7714416"/>
              <a:gd name="connsiteY11537" fmla="*/ 3832077 h 5282095"/>
              <a:gd name="connsiteX11538" fmla="*/ 6572569 w 7714416"/>
              <a:gd name="connsiteY11538" fmla="*/ 3832743 h 5282095"/>
              <a:gd name="connsiteX11539" fmla="*/ 6569418 w 7714416"/>
              <a:gd name="connsiteY11539" fmla="*/ 3829855 h 5282095"/>
              <a:gd name="connsiteX11540" fmla="*/ 6571137 w 7714416"/>
              <a:gd name="connsiteY11540" fmla="*/ 3829411 h 5282095"/>
              <a:gd name="connsiteX11541" fmla="*/ 6577153 w 7714416"/>
              <a:gd name="connsiteY11541" fmla="*/ 3826522 h 5282095"/>
              <a:gd name="connsiteX11542" fmla="*/ 6935233 w 7714416"/>
              <a:gd name="connsiteY11542" fmla="*/ 3825966 h 5282095"/>
              <a:gd name="connsiteX11543" fmla="*/ 6931796 w 7714416"/>
              <a:gd name="connsiteY11543" fmla="*/ 3837074 h 5282095"/>
              <a:gd name="connsiteX11544" fmla="*/ 6935233 w 7714416"/>
              <a:gd name="connsiteY11544" fmla="*/ 3825966 h 5282095"/>
              <a:gd name="connsiteX11545" fmla="*/ 5955780 w 7714416"/>
              <a:gd name="connsiteY11545" fmla="*/ 3825756 h 5282095"/>
              <a:gd name="connsiteX11546" fmla="*/ 5943579 w 7714416"/>
              <a:gd name="connsiteY11546" fmla="*/ 3829134 h 5282095"/>
              <a:gd name="connsiteX11547" fmla="*/ 5948650 w 7714416"/>
              <a:gd name="connsiteY11547" fmla="*/ 3828966 h 5282095"/>
              <a:gd name="connsiteX11548" fmla="*/ 5952374 w 7714416"/>
              <a:gd name="connsiteY11548" fmla="*/ 3829633 h 5282095"/>
              <a:gd name="connsiteX11549" fmla="*/ 5955525 w 7714416"/>
              <a:gd name="connsiteY11549" fmla="*/ 3825856 h 5282095"/>
              <a:gd name="connsiteX11550" fmla="*/ 6258031 w 7714416"/>
              <a:gd name="connsiteY11550" fmla="*/ 3825522 h 5282095"/>
              <a:gd name="connsiteX11551" fmla="*/ 6265480 w 7714416"/>
              <a:gd name="connsiteY11551" fmla="*/ 3828967 h 5282095"/>
              <a:gd name="connsiteX11552" fmla="*/ 6264906 w 7714416"/>
              <a:gd name="connsiteY11552" fmla="*/ 3831854 h 5282095"/>
              <a:gd name="connsiteX11553" fmla="*/ 6263474 w 7714416"/>
              <a:gd name="connsiteY11553" fmla="*/ 3832521 h 5282095"/>
              <a:gd name="connsiteX11554" fmla="*/ 6257458 w 7714416"/>
              <a:gd name="connsiteY11554" fmla="*/ 3834964 h 5282095"/>
              <a:gd name="connsiteX11555" fmla="*/ 6250583 w 7714416"/>
              <a:gd name="connsiteY11555" fmla="*/ 3831188 h 5282095"/>
              <a:gd name="connsiteX11556" fmla="*/ 6258031 w 7714416"/>
              <a:gd name="connsiteY11556" fmla="*/ 3825522 h 5282095"/>
              <a:gd name="connsiteX11557" fmla="*/ 6118237 w 7714416"/>
              <a:gd name="connsiteY11557" fmla="*/ 3825189 h 5282095"/>
              <a:gd name="connsiteX11558" fmla="*/ 6124540 w 7714416"/>
              <a:gd name="connsiteY11558" fmla="*/ 3827522 h 5282095"/>
              <a:gd name="connsiteX11559" fmla="*/ 6123966 w 7714416"/>
              <a:gd name="connsiteY11559" fmla="*/ 3831188 h 5282095"/>
              <a:gd name="connsiteX11560" fmla="*/ 6118237 w 7714416"/>
              <a:gd name="connsiteY11560" fmla="*/ 3825189 h 5282095"/>
              <a:gd name="connsiteX11561" fmla="*/ 6830387 w 7714416"/>
              <a:gd name="connsiteY11561" fmla="*/ 3824523 h 5282095"/>
              <a:gd name="connsiteX11562" fmla="*/ 6833252 w 7714416"/>
              <a:gd name="connsiteY11562" fmla="*/ 3825855 h 5282095"/>
              <a:gd name="connsiteX11563" fmla="*/ 6839268 w 7714416"/>
              <a:gd name="connsiteY11563" fmla="*/ 3829188 h 5282095"/>
              <a:gd name="connsiteX11564" fmla="*/ 6827809 w 7714416"/>
              <a:gd name="connsiteY11564" fmla="*/ 3824856 h 5282095"/>
              <a:gd name="connsiteX11565" fmla="*/ 6830387 w 7714416"/>
              <a:gd name="connsiteY11565" fmla="*/ 3824523 h 5282095"/>
              <a:gd name="connsiteX11566" fmla="*/ 7119716 w 7714416"/>
              <a:gd name="connsiteY11566" fmla="*/ 3823744 h 5282095"/>
              <a:gd name="connsiteX11567" fmla="*/ 7128596 w 7714416"/>
              <a:gd name="connsiteY11567" fmla="*/ 3829411 h 5282095"/>
              <a:gd name="connsiteX11568" fmla="*/ 7132034 w 7714416"/>
              <a:gd name="connsiteY11568" fmla="*/ 3833965 h 5282095"/>
              <a:gd name="connsiteX11569" fmla="*/ 7131174 w 7714416"/>
              <a:gd name="connsiteY11569" fmla="*/ 3839074 h 5282095"/>
              <a:gd name="connsiteX11570" fmla="*/ 7130315 w 7714416"/>
              <a:gd name="connsiteY11570" fmla="*/ 3847073 h 5282095"/>
              <a:gd name="connsiteX11571" fmla="*/ 7122008 w 7714416"/>
              <a:gd name="connsiteY11571" fmla="*/ 3847295 h 5282095"/>
              <a:gd name="connsiteX11572" fmla="*/ 7113986 w 7714416"/>
              <a:gd name="connsiteY11572" fmla="*/ 3825411 h 5282095"/>
              <a:gd name="connsiteX11573" fmla="*/ 7119716 w 7714416"/>
              <a:gd name="connsiteY11573" fmla="*/ 3823744 h 5282095"/>
              <a:gd name="connsiteX11574" fmla="*/ 6115372 w 7714416"/>
              <a:gd name="connsiteY11574" fmla="*/ 3823078 h 5282095"/>
              <a:gd name="connsiteX11575" fmla="*/ 6117091 w 7714416"/>
              <a:gd name="connsiteY11575" fmla="*/ 3824634 h 5282095"/>
              <a:gd name="connsiteX11576" fmla="*/ 6116518 w 7714416"/>
              <a:gd name="connsiteY11576" fmla="*/ 3825522 h 5282095"/>
              <a:gd name="connsiteX11577" fmla="*/ 6113940 w 7714416"/>
              <a:gd name="connsiteY11577" fmla="*/ 3823301 h 5282095"/>
              <a:gd name="connsiteX11578" fmla="*/ 6115372 w 7714416"/>
              <a:gd name="connsiteY11578" fmla="*/ 3823078 h 5282095"/>
              <a:gd name="connsiteX11579" fmla="*/ 6900284 w 7714416"/>
              <a:gd name="connsiteY11579" fmla="*/ 3820857 h 5282095"/>
              <a:gd name="connsiteX11580" fmla="*/ 6907160 w 7714416"/>
              <a:gd name="connsiteY11580" fmla="*/ 3821412 h 5282095"/>
              <a:gd name="connsiteX11581" fmla="*/ 6919478 w 7714416"/>
              <a:gd name="connsiteY11581" fmla="*/ 3824968 h 5282095"/>
              <a:gd name="connsiteX11582" fmla="*/ 6891118 w 7714416"/>
              <a:gd name="connsiteY11582" fmla="*/ 3833188 h 5282095"/>
              <a:gd name="connsiteX11583" fmla="*/ 6892836 w 7714416"/>
              <a:gd name="connsiteY11583" fmla="*/ 3821524 h 5282095"/>
              <a:gd name="connsiteX11584" fmla="*/ 6900284 w 7714416"/>
              <a:gd name="connsiteY11584" fmla="*/ 3820857 h 5282095"/>
              <a:gd name="connsiteX11585" fmla="*/ 6802314 w 7714416"/>
              <a:gd name="connsiteY11585" fmla="*/ 3819747 h 5282095"/>
              <a:gd name="connsiteX11586" fmla="*/ 6812340 w 7714416"/>
              <a:gd name="connsiteY11586" fmla="*/ 3821412 h 5282095"/>
              <a:gd name="connsiteX11587" fmla="*/ 6801169 w 7714416"/>
              <a:gd name="connsiteY11587" fmla="*/ 3827744 h 5282095"/>
              <a:gd name="connsiteX11588" fmla="*/ 6802314 w 7714416"/>
              <a:gd name="connsiteY11588" fmla="*/ 3819747 h 5282095"/>
              <a:gd name="connsiteX11589" fmla="*/ 6773094 w 7714416"/>
              <a:gd name="connsiteY11589" fmla="*/ 3819747 h 5282095"/>
              <a:gd name="connsiteX11590" fmla="*/ 6776532 w 7714416"/>
              <a:gd name="connsiteY11590" fmla="*/ 3821524 h 5282095"/>
              <a:gd name="connsiteX11591" fmla="*/ 6780542 w 7714416"/>
              <a:gd name="connsiteY11591" fmla="*/ 3825745 h 5282095"/>
              <a:gd name="connsiteX11592" fmla="*/ 6779970 w 7714416"/>
              <a:gd name="connsiteY11592" fmla="*/ 3827078 h 5282095"/>
              <a:gd name="connsiteX11593" fmla="*/ 6781403 w 7714416"/>
              <a:gd name="connsiteY11593" fmla="*/ 3826189 h 5282095"/>
              <a:gd name="connsiteX11594" fmla="*/ 6787990 w 7714416"/>
              <a:gd name="connsiteY11594" fmla="*/ 3826078 h 5282095"/>
              <a:gd name="connsiteX11595" fmla="*/ 6792574 w 7714416"/>
              <a:gd name="connsiteY11595" fmla="*/ 3827634 h 5282095"/>
              <a:gd name="connsiteX11596" fmla="*/ 6794292 w 7714416"/>
              <a:gd name="connsiteY11596" fmla="*/ 3831410 h 5282095"/>
              <a:gd name="connsiteX11597" fmla="*/ 6792860 w 7714416"/>
              <a:gd name="connsiteY11597" fmla="*/ 3834632 h 5282095"/>
              <a:gd name="connsiteX11598" fmla="*/ 6783694 w 7714416"/>
              <a:gd name="connsiteY11598" fmla="*/ 3838296 h 5282095"/>
              <a:gd name="connsiteX11599" fmla="*/ 6778824 w 7714416"/>
              <a:gd name="connsiteY11599" fmla="*/ 3834520 h 5282095"/>
              <a:gd name="connsiteX11600" fmla="*/ 6776818 w 7714416"/>
              <a:gd name="connsiteY11600" fmla="*/ 3829522 h 5282095"/>
              <a:gd name="connsiteX11601" fmla="*/ 6775672 w 7714416"/>
              <a:gd name="connsiteY11601" fmla="*/ 3829744 h 5282095"/>
              <a:gd name="connsiteX11602" fmla="*/ 6775672 w 7714416"/>
              <a:gd name="connsiteY11602" fmla="*/ 3830965 h 5282095"/>
              <a:gd name="connsiteX11603" fmla="*/ 6772234 w 7714416"/>
              <a:gd name="connsiteY11603" fmla="*/ 3829299 h 5282095"/>
              <a:gd name="connsiteX11604" fmla="*/ 6767938 w 7714416"/>
              <a:gd name="connsiteY11604" fmla="*/ 3820524 h 5282095"/>
              <a:gd name="connsiteX11605" fmla="*/ 6773094 w 7714416"/>
              <a:gd name="connsiteY11605" fmla="*/ 3819747 h 5282095"/>
              <a:gd name="connsiteX11606" fmla="*/ 6109356 w 7714416"/>
              <a:gd name="connsiteY11606" fmla="*/ 3818635 h 5282095"/>
              <a:gd name="connsiteX11607" fmla="*/ 6111075 w 7714416"/>
              <a:gd name="connsiteY11607" fmla="*/ 3822302 h 5282095"/>
              <a:gd name="connsiteX11608" fmla="*/ 6110502 w 7714416"/>
              <a:gd name="connsiteY11608" fmla="*/ 3823967 h 5282095"/>
              <a:gd name="connsiteX11609" fmla="*/ 6111648 w 7714416"/>
              <a:gd name="connsiteY11609" fmla="*/ 3824856 h 5282095"/>
              <a:gd name="connsiteX11610" fmla="*/ 6110216 w 7714416"/>
              <a:gd name="connsiteY11610" fmla="*/ 3825522 h 5282095"/>
              <a:gd name="connsiteX11611" fmla="*/ 6109642 w 7714416"/>
              <a:gd name="connsiteY11611" fmla="*/ 3828743 h 5282095"/>
              <a:gd name="connsiteX11612" fmla="*/ 6111362 w 7714416"/>
              <a:gd name="connsiteY11612" fmla="*/ 3836630 h 5282095"/>
              <a:gd name="connsiteX11613" fmla="*/ 6107351 w 7714416"/>
              <a:gd name="connsiteY11613" fmla="*/ 3844406 h 5282095"/>
              <a:gd name="connsiteX11614" fmla="*/ 6102481 w 7714416"/>
              <a:gd name="connsiteY11614" fmla="*/ 3843517 h 5282095"/>
              <a:gd name="connsiteX11615" fmla="*/ 6101908 w 7714416"/>
              <a:gd name="connsiteY11615" fmla="*/ 3846739 h 5282095"/>
              <a:gd name="connsiteX11616" fmla="*/ 6083288 w 7714416"/>
              <a:gd name="connsiteY11616" fmla="*/ 3853516 h 5282095"/>
              <a:gd name="connsiteX11617" fmla="*/ 6074121 w 7714416"/>
              <a:gd name="connsiteY11617" fmla="*/ 3850294 h 5282095"/>
              <a:gd name="connsiteX11618" fmla="*/ 6070684 w 7714416"/>
              <a:gd name="connsiteY11618" fmla="*/ 3846184 h 5282095"/>
              <a:gd name="connsiteX11619" fmla="*/ 6070684 w 7714416"/>
              <a:gd name="connsiteY11619" fmla="*/ 3845961 h 5282095"/>
              <a:gd name="connsiteX11620" fmla="*/ 6059798 w 7714416"/>
              <a:gd name="connsiteY11620" fmla="*/ 3843407 h 5282095"/>
              <a:gd name="connsiteX11621" fmla="*/ 6058652 w 7714416"/>
              <a:gd name="connsiteY11621" fmla="*/ 3842740 h 5282095"/>
              <a:gd name="connsiteX11622" fmla="*/ 6058079 w 7714416"/>
              <a:gd name="connsiteY11622" fmla="*/ 3842741 h 5282095"/>
              <a:gd name="connsiteX11623" fmla="*/ 6036022 w 7714416"/>
              <a:gd name="connsiteY11623" fmla="*/ 3835852 h 5282095"/>
              <a:gd name="connsiteX11624" fmla="*/ 6050058 w 7714416"/>
              <a:gd name="connsiteY11624" fmla="*/ 3834076 h 5282095"/>
              <a:gd name="connsiteX11625" fmla="*/ 6050058 w 7714416"/>
              <a:gd name="connsiteY11625" fmla="*/ 3833409 h 5282095"/>
              <a:gd name="connsiteX11626" fmla="*/ 6044329 w 7714416"/>
              <a:gd name="connsiteY11626" fmla="*/ 3834520 h 5282095"/>
              <a:gd name="connsiteX11627" fmla="*/ 6037454 w 7714416"/>
              <a:gd name="connsiteY11627" fmla="*/ 3832965 h 5282095"/>
              <a:gd name="connsiteX11628" fmla="*/ 6045188 w 7714416"/>
              <a:gd name="connsiteY11628" fmla="*/ 3830744 h 5282095"/>
              <a:gd name="connsiteX11629" fmla="*/ 6048626 w 7714416"/>
              <a:gd name="connsiteY11629" fmla="*/ 3830188 h 5282095"/>
              <a:gd name="connsiteX11630" fmla="*/ 6050344 w 7714416"/>
              <a:gd name="connsiteY11630" fmla="*/ 3831966 h 5282095"/>
              <a:gd name="connsiteX11631" fmla="*/ 6050344 w 7714416"/>
              <a:gd name="connsiteY11631" fmla="*/ 3831522 h 5282095"/>
              <a:gd name="connsiteX11632" fmla="*/ 6055214 w 7714416"/>
              <a:gd name="connsiteY11632" fmla="*/ 3824856 h 5282095"/>
              <a:gd name="connsiteX11633" fmla="*/ 6065528 w 7714416"/>
              <a:gd name="connsiteY11633" fmla="*/ 3832410 h 5282095"/>
              <a:gd name="connsiteX11634" fmla="*/ 6066960 w 7714416"/>
              <a:gd name="connsiteY11634" fmla="*/ 3832965 h 5282095"/>
              <a:gd name="connsiteX11635" fmla="*/ 6074408 w 7714416"/>
              <a:gd name="connsiteY11635" fmla="*/ 3833409 h 5282095"/>
              <a:gd name="connsiteX11636" fmla="*/ 6076700 w 7714416"/>
              <a:gd name="connsiteY11636" fmla="*/ 3834076 h 5282095"/>
              <a:gd name="connsiteX11637" fmla="*/ 6080137 w 7714416"/>
              <a:gd name="connsiteY11637" fmla="*/ 3832410 h 5282095"/>
              <a:gd name="connsiteX11638" fmla="*/ 6085580 w 7714416"/>
              <a:gd name="connsiteY11638" fmla="*/ 3832076 h 5282095"/>
              <a:gd name="connsiteX11639" fmla="*/ 6101335 w 7714416"/>
              <a:gd name="connsiteY11639" fmla="*/ 3838297 h 5282095"/>
              <a:gd name="connsiteX11640" fmla="*/ 6100190 w 7714416"/>
              <a:gd name="connsiteY11640" fmla="*/ 3837187 h 5282095"/>
              <a:gd name="connsiteX11641" fmla="*/ 6105918 w 7714416"/>
              <a:gd name="connsiteY11641" fmla="*/ 3820968 h 5282095"/>
              <a:gd name="connsiteX11642" fmla="*/ 6106492 w 7714416"/>
              <a:gd name="connsiteY11642" fmla="*/ 3820524 h 5282095"/>
              <a:gd name="connsiteX11643" fmla="*/ 6106205 w 7714416"/>
              <a:gd name="connsiteY11643" fmla="*/ 3820413 h 5282095"/>
              <a:gd name="connsiteX11644" fmla="*/ 6107064 w 7714416"/>
              <a:gd name="connsiteY11644" fmla="*/ 3820301 h 5282095"/>
              <a:gd name="connsiteX11645" fmla="*/ 6765360 w 7714416"/>
              <a:gd name="connsiteY11645" fmla="*/ 3817969 h 5282095"/>
              <a:gd name="connsiteX11646" fmla="*/ 6767652 w 7714416"/>
              <a:gd name="connsiteY11646" fmla="*/ 3818191 h 5282095"/>
              <a:gd name="connsiteX11647" fmla="*/ 6761062 w 7714416"/>
              <a:gd name="connsiteY11647" fmla="*/ 3821524 h 5282095"/>
              <a:gd name="connsiteX11648" fmla="*/ 6765360 w 7714416"/>
              <a:gd name="connsiteY11648" fmla="*/ 3817969 h 5282095"/>
              <a:gd name="connsiteX11649" fmla="*/ 6338814 w 7714416"/>
              <a:gd name="connsiteY11649" fmla="*/ 3817192 h 5282095"/>
              <a:gd name="connsiteX11650" fmla="*/ 6335950 w 7714416"/>
              <a:gd name="connsiteY11650" fmla="*/ 3817636 h 5282095"/>
              <a:gd name="connsiteX11651" fmla="*/ 6339100 w 7714416"/>
              <a:gd name="connsiteY11651" fmla="*/ 3817858 h 5282095"/>
              <a:gd name="connsiteX11652" fmla="*/ 6339100 w 7714416"/>
              <a:gd name="connsiteY11652" fmla="*/ 3817303 h 5282095"/>
              <a:gd name="connsiteX11653" fmla="*/ 6468296 w 7714416"/>
              <a:gd name="connsiteY11653" fmla="*/ 3817191 h 5282095"/>
              <a:gd name="connsiteX11654" fmla="*/ 6500381 w 7714416"/>
              <a:gd name="connsiteY11654" fmla="*/ 3830854 h 5282095"/>
              <a:gd name="connsiteX11655" fmla="*/ 6500666 w 7714416"/>
              <a:gd name="connsiteY11655" fmla="*/ 3835298 h 5282095"/>
              <a:gd name="connsiteX11656" fmla="*/ 6501812 w 7714416"/>
              <a:gd name="connsiteY11656" fmla="*/ 3835409 h 5282095"/>
              <a:gd name="connsiteX11657" fmla="*/ 6503531 w 7714416"/>
              <a:gd name="connsiteY11657" fmla="*/ 3835964 h 5282095"/>
              <a:gd name="connsiteX11658" fmla="*/ 6515562 w 7714416"/>
              <a:gd name="connsiteY11658" fmla="*/ 3833632 h 5282095"/>
              <a:gd name="connsiteX11659" fmla="*/ 6518428 w 7714416"/>
              <a:gd name="connsiteY11659" fmla="*/ 3835076 h 5282095"/>
              <a:gd name="connsiteX11660" fmla="*/ 6514704 w 7714416"/>
              <a:gd name="connsiteY11660" fmla="*/ 3837853 h 5282095"/>
              <a:gd name="connsiteX11661" fmla="*/ 6509547 w 7714416"/>
              <a:gd name="connsiteY11661" fmla="*/ 3836075 h 5282095"/>
              <a:gd name="connsiteX11662" fmla="*/ 6502672 w 7714416"/>
              <a:gd name="connsiteY11662" fmla="*/ 3837519 h 5282095"/>
              <a:gd name="connsiteX11663" fmla="*/ 6500953 w 7714416"/>
              <a:gd name="connsiteY11663" fmla="*/ 3837075 h 5282095"/>
              <a:gd name="connsiteX11664" fmla="*/ 6500953 w 7714416"/>
              <a:gd name="connsiteY11664" fmla="*/ 3838186 h 5282095"/>
              <a:gd name="connsiteX11665" fmla="*/ 6451394 w 7714416"/>
              <a:gd name="connsiteY11665" fmla="*/ 3827300 h 5282095"/>
              <a:gd name="connsiteX11666" fmla="*/ 6468296 w 7714416"/>
              <a:gd name="connsiteY11666" fmla="*/ 3817191 h 5282095"/>
              <a:gd name="connsiteX11667" fmla="*/ 6305012 w 7714416"/>
              <a:gd name="connsiteY11667" fmla="*/ 3816302 h 5282095"/>
              <a:gd name="connsiteX11668" fmla="*/ 6309022 w 7714416"/>
              <a:gd name="connsiteY11668" fmla="*/ 3816858 h 5282095"/>
              <a:gd name="connsiteX11669" fmla="*/ 6310740 w 7714416"/>
              <a:gd name="connsiteY11669" fmla="*/ 3832299 h 5282095"/>
              <a:gd name="connsiteX11670" fmla="*/ 6307876 w 7714416"/>
              <a:gd name="connsiteY11670" fmla="*/ 3834742 h 5282095"/>
              <a:gd name="connsiteX11671" fmla="*/ 6306730 w 7714416"/>
              <a:gd name="connsiteY11671" fmla="*/ 3837186 h 5282095"/>
              <a:gd name="connsiteX11672" fmla="*/ 6297277 w 7714416"/>
              <a:gd name="connsiteY11672" fmla="*/ 3841074 h 5282095"/>
              <a:gd name="connsiteX11673" fmla="*/ 6302720 w 7714416"/>
              <a:gd name="connsiteY11673" fmla="*/ 3818302 h 5282095"/>
              <a:gd name="connsiteX11674" fmla="*/ 6305012 w 7714416"/>
              <a:gd name="connsiteY11674" fmla="*/ 3816302 h 5282095"/>
              <a:gd name="connsiteX11675" fmla="*/ 6388086 w 7714416"/>
              <a:gd name="connsiteY11675" fmla="*/ 3815969 h 5282095"/>
              <a:gd name="connsiteX11676" fmla="*/ 6394962 w 7714416"/>
              <a:gd name="connsiteY11676" fmla="*/ 3818413 h 5282095"/>
              <a:gd name="connsiteX11677" fmla="*/ 6407279 w 7714416"/>
              <a:gd name="connsiteY11677" fmla="*/ 3827078 h 5282095"/>
              <a:gd name="connsiteX11678" fmla="*/ 6411004 w 7714416"/>
              <a:gd name="connsiteY11678" fmla="*/ 3828410 h 5282095"/>
              <a:gd name="connsiteX11679" fmla="*/ 6384648 w 7714416"/>
              <a:gd name="connsiteY11679" fmla="*/ 3818192 h 5282095"/>
              <a:gd name="connsiteX11680" fmla="*/ 6384362 w 7714416"/>
              <a:gd name="connsiteY11680" fmla="*/ 3816969 h 5282095"/>
              <a:gd name="connsiteX11681" fmla="*/ 6388086 w 7714416"/>
              <a:gd name="connsiteY11681" fmla="*/ 3815969 h 5282095"/>
              <a:gd name="connsiteX11682" fmla="*/ 6288683 w 7714416"/>
              <a:gd name="connsiteY11682" fmla="*/ 3815303 h 5282095"/>
              <a:gd name="connsiteX11683" fmla="*/ 6290688 w 7714416"/>
              <a:gd name="connsiteY11683" fmla="*/ 3825300 h 5282095"/>
              <a:gd name="connsiteX11684" fmla="*/ 6287537 w 7714416"/>
              <a:gd name="connsiteY11684" fmla="*/ 3816746 h 5282095"/>
              <a:gd name="connsiteX11685" fmla="*/ 6288683 w 7714416"/>
              <a:gd name="connsiteY11685" fmla="*/ 3815303 h 5282095"/>
              <a:gd name="connsiteX11686" fmla="*/ 6229385 w 7714416"/>
              <a:gd name="connsiteY11686" fmla="*/ 3813192 h 5282095"/>
              <a:gd name="connsiteX11687" fmla="*/ 6231104 w 7714416"/>
              <a:gd name="connsiteY11687" fmla="*/ 3814525 h 5282095"/>
              <a:gd name="connsiteX11688" fmla="*/ 6231104 w 7714416"/>
              <a:gd name="connsiteY11688" fmla="*/ 3813414 h 5282095"/>
              <a:gd name="connsiteX11689" fmla="*/ 6231676 w 7714416"/>
              <a:gd name="connsiteY11689" fmla="*/ 3815081 h 5282095"/>
              <a:gd name="connsiteX11690" fmla="*/ 6230817 w 7714416"/>
              <a:gd name="connsiteY11690" fmla="*/ 3815636 h 5282095"/>
              <a:gd name="connsiteX11691" fmla="*/ 6225661 w 7714416"/>
              <a:gd name="connsiteY11691" fmla="*/ 3816302 h 5282095"/>
              <a:gd name="connsiteX11692" fmla="*/ 6229385 w 7714416"/>
              <a:gd name="connsiteY11692" fmla="*/ 3813192 h 5282095"/>
              <a:gd name="connsiteX11693" fmla="*/ 6349414 w 7714416"/>
              <a:gd name="connsiteY11693" fmla="*/ 3810304 h 5282095"/>
              <a:gd name="connsiteX11694" fmla="*/ 6353997 w 7714416"/>
              <a:gd name="connsiteY11694" fmla="*/ 3811415 h 5282095"/>
              <a:gd name="connsiteX11695" fmla="*/ 6352851 w 7714416"/>
              <a:gd name="connsiteY11695" fmla="*/ 3812859 h 5282095"/>
              <a:gd name="connsiteX11696" fmla="*/ 6354284 w 7714416"/>
              <a:gd name="connsiteY11696" fmla="*/ 3812526 h 5282095"/>
              <a:gd name="connsiteX11697" fmla="*/ 6352278 w 7714416"/>
              <a:gd name="connsiteY11697" fmla="*/ 3813526 h 5282095"/>
              <a:gd name="connsiteX11698" fmla="*/ 6351132 w 7714416"/>
              <a:gd name="connsiteY11698" fmla="*/ 3813304 h 5282095"/>
              <a:gd name="connsiteX11699" fmla="*/ 6348268 w 7714416"/>
              <a:gd name="connsiteY11699" fmla="*/ 3810304 h 5282095"/>
              <a:gd name="connsiteX11700" fmla="*/ 6349414 w 7714416"/>
              <a:gd name="connsiteY11700" fmla="*/ 3810304 h 5282095"/>
              <a:gd name="connsiteX11701" fmla="*/ 6841272 w 7714416"/>
              <a:gd name="connsiteY11701" fmla="*/ 3809860 h 5282095"/>
              <a:gd name="connsiteX11702" fmla="*/ 6825517 w 7714416"/>
              <a:gd name="connsiteY11702" fmla="*/ 3820190 h 5282095"/>
              <a:gd name="connsiteX11703" fmla="*/ 6819502 w 7714416"/>
              <a:gd name="connsiteY11703" fmla="*/ 3816303 h 5282095"/>
              <a:gd name="connsiteX11704" fmla="*/ 6841272 w 7714416"/>
              <a:gd name="connsiteY11704" fmla="*/ 3809860 h 5282095"/>
              <a:gd name="connsiteX11705" fmla="*/ 6983646 w 7714416"/>
              <a:gd name="connsiteY11705" fmla="*/ 3808638 h 5282095"/>
              <a:gd name="connsiteX11706" fmla="*/ 6988802 w 7714416"/>
              <a:gd name="connsiteY11706" fmla="*/ 3814414 h 5282095"/>
              <a:gd name="connsiteX11707" fmla="*/ 6988517 w 7714416"/>
              <a:gd name="connsiteY11707" fmla="*/ 3815414 h 5282095"/>
              <a:gd name="connsiteX11708" fmla="*/ 6989661 w 7714416"/>
              <a:gd name="connsiteY11708" fmla="*/ 3814525 h 5282095"/>
              <a:gd name="connsiteX11709" fmla="*/ 6998828 w 7714416"/>
              <a:gd name="connsiteY11709" fmla="*/ 3819635 h 5282095"/>
              <a:gd name="connsiteX11710" fmla="*/ 6999688 w 7714416"/>
              <a:gd name="connsiteY11710" fmla="*/ 3828744 h 5282095"/>
              <a:gd name="connsiteX11711" fmla="*/ 6979062 w 7714416"/>
              <a:gd name="connsiteY11711" fmla="*/ 3825522 h 5282095"/>
              <a:gd name="connsiteX11712" fmla="*/ 6980494 w 7714416"/>
              <a:gd name="connsiteY11712" fmla="*/ 3823412 h 5282095"/>
              <a:gd name="connsiteX11713" fmla="*/ 6976770 w 7714416"/>
              <a:gd name="connsiteY11713" fmla="*/ 3823634 h 5282095"/>
              <a:gd name="connsiteX11714" fmla="*/ 6971328 w 7714416"/>
              <a:gd name="connsiteY11714" fmla="*/ 3822856 h 5282095"/>
              <a:gd name="connsiteX11715" fmla="*/ 6970182 w 7714416"/>
              <a:gd name="connsiteY11715" fmla="*/ 3814414 h 5282095"/>
              <a:gd name="connsiteX11716" fmla="*/ 6974192 w 7714416"/>
              <a:gd name="connsiteY11716" fmla="*/ 3811859 h 5282095"/>
              <a:gd name="connsiteX11717" fmla="*/ 6984218 w 7714416"/>
              <a:gd name="connsiteY11717" fmla="*/ 3809749 h 5282095"/>
              <a:gd name="connsiteX11718" fmla="*/ 6983646 w 7714416"/>
              <a:gd name="connsiteY11718" fmla="*/ 3808638 h 5282095"/>
              <a:gd name="connsiteX11719" fmla="*/ 6446811 w 7714416"/>
              <a:gd name="connsiteY11719" fmla="*/ 3805639 h 5282095"/>
              <a:gd name="connsiteX11720" fmla="*/ 6445379 w 7714416"/>
              <a:gd name="connsiteY11720" fmla="*/ 3806082 h 5282095"/>
              <a:gd name="connsiteX11721" fmla="*/ 6445092 w 7714416"/>
              <a:gd name="connsiteY11721" fmla="*/ 3806638 h 5282095"/>
              <a:gd name="connsiteX11722" fmla="*/ 1611007 w 7714416"/>
              <a:gd name="connsiteY11722" fmla="*/ 3804972 h 5282095"/>
              <a:gd name="connsiteX11723" fmla="*/ 1619888 w 7714416"/>
              <a:gd name="connsiteY11723" fmla="*/ 3804972 h 5282095"/>
              <a:gd name="connsiteX11724" fmla="*/ 1630774 w 7714416"/>
              <a:gd name="connsiteY11724" fmla="*/ 3828189 h 5282095"/>
              <a:gd name="connsiteX11725" fmla="*/ 1602126 w 7714416"/>
              <a:gd name="connsiteY11725" fmla="*/ 3824856 h 5282095"/>
              <a:gd name="connsiteX11726" fmla="*/ 1600694 w 7714416"/>
              <a:gd name="connsiteY11726" fmla="*/ 3807416 h 5282095"/>
              <a:gd name="connsiteX11727" fmla="*/ 1611007 w 7714416"/>
              <a:gd name="connsiteY11727" fmla="*/ 3804972 h 5282095"/>
              <a:gd name="connsiteX11728" fmla="*/ 6472880 w 7714416"/>
              <a:gd name="connsiteY11728" fmla="*/ 3804861 h 5282095"/>
              <a:gd name="connsiteX11729" fmla="*/ 6458270 w 7714416"/>
              <a:gd name="connsiteY11729" fmla="*/ 3807638 h 5282095"/>
              <a:gd name="connsiteX11730" fmla="*/ 6464286 w 7714416"/>
              <a:gd name="connsiteY11730" fmla="*/ 3804861 h 5282095"/>
              <a:gd name="connsiteX11731" fmla="*/ 6472880 w 7714416"/>
              <a:gd name="connsiteY11731" fmla="*/ 3804861 h 5282095"/>
              <a:gd name="connsiteX11732" fmla="*/ 6338242 w 7714416"/>
              <a:gd name="connsiteY11732" fmla="*/ 3803972 h 5282095"/>
              <a:gd name="connsiteX11733" fmla="*/ 6347981 w 7714416"/>
              <a:gd name="connsiteY11733" fmla="*/ 3810415 h 5282095"/>
              <a:gd name="connsiteX11734" fmla="*/ 6343970 w 7714416"/>
              <a:gd name="connsiteY11734" fmla="*/ 3809415 h 5282095"/>
              <a:gd name="connsiteX11735" fmla="*/ 6347122 w 7714416"/>
              <a:gd name="connsiteY11735" fmla="*/ 3811526 h 5282095"/>
              <a:gd name="connsiteX11736" fmla="*/ 6350273 w 7714416"/>
              <a:gd name="connsiteY11736" fmla="*/ 3818524 h 5282095"/>
              <a:gd name="connsiteX11737" fmla="*/ 6345976 w 7714416"/>
              <a:gd name="connsiteY11737" fmla="*/ 3818413 h 5282095"/>
              <a:gd name="connsiteX11738" fmla="*/ 6354284 w 7714416"/>
              <a:gd name="connsiteY11738" fmla="*/ 3819858 h 5282095"/>
              <a:gd name="connsiteX11739" fmla="*/ 6365169 w 7714416"/>
              <a:gd name="connsiteY11739" fmla="*/ 3820857 h 5282095"/>
              <a:gd name="connsiteX11740" fmla="*/ 6376054 w 7714416"/>
              <a:gd name="connsiteY11740" fmla="*/ 3814970 h 5282095"/>
              <a:gd name="connsiteX11741" fmla="*/ 6383789 w 7714416"/>
              <a:gd name="connsiteY11741" fmla="*/ 3815303 h 5282095"/>
              <a:gd name="connsiteX11742" fmla="*/ 6364310 w 7714416"/>
              <a:gd name="connsiteY11742" fmla="*/ 3846628 h 5282095"/>
              <a:gd name="connsiteX11743" fmla="*/ 6352278 w 7714416"/>
              <a:gd name="connsiteY11743" fmla="*/ 3852515 h 5282095"/>
              <a:gd name="connsiteX11744" fmla="*/ 6356862 w 7714416"/>
              <a:gd name="connsiteY11744" fmla="*/ 3829855 h 5282095"/>
              <a:gd name="connsiteX11745" fmla="*/ 6326782 w 7714416"/>
              <a:gd name="connsiteY11745" fmla="*/ 3820190 h 5282095"/>
              <a:gd name="connsiteX11746" fmla="*/ 6334231 w 7714416"/>
              <a:gd name="connsiteY11746" fmla="*/ 3817636 h 5282095"/>
              <a:gd name="connsiteX11747" fmla="*/ 6333658 w 7714416"/>
              <a:gd name="connsiteY11747" fmla="*/ 3813303 h 5282095"/>
              <a:gd name="connsiteX11748" fmla="*/ 6335091 w 7714416"/>
              <a:gd name="connsiteY11748" fmla="*/ 3812304 h 5282095"/>
              <a:gd name="connsiteX11749" fmla="*/ 6333372 w 7714416"/>
              <a:gd name="connsiteY11749" fmla="*/ 3810637 h 5282095"/>
              <a:gd name="connsiteX11750" fmla="*/ 6331939 w 7714416"/>
              <a:gd name="connsiteY11750" fmla="*/ 3809193 h 5282095"/>
              <a:gd name="connsiteX11751" fmla="*/ 6334517 w 7714416"/>
              <a:gd name="connsiteY11751" fmla="*/ 3806638 h 5282095"/>
              <a:gd name="connsiteX11752" fmla="*/ 6337382 w 7714416"/>
              <a:gd name="connsiteY11752" fmla="*/ 3806639 h 5282095"/>
              <a:gd name="connsiteX11753" fmla="*/ 6486630 w 7714416"/>
              <a:gd name="connsiteY11753" fmla="*/ 3801529 h 5282095"/>
              <a:gd name="connsiteX11754" fmla="*/ 6486630 w 7714416"/>
              <a:gd name="connsiteY11754" fmla="*/ 3806527 h 5282095"/>
              <a:gd name="connsiteX11755" fmla="*/ 6482046 w 7714416"/>
              <a:gd name="connsiteY11755" fmla="*/ 3808860 h 5282095"/>
              <a:gd name="connsiteX11756" fmla="*/ 6481474 w 7714416"/>
              <a:gd name="connsiteY11756" fmla="*/ 3807749 h 5282095"/>
              <a:gd name="connsiteX11757" fmla="*/ 6478322 w 7714416"/>
              <a:gd name="connsiteY11757" fmla="*/ 3803528 h 5282095"/>
              <a:gd name="connsiteX11758" fmla="*/ 6486630 w 7714416"/>
              <a:gd name="connsiteY11758" fmla="*/ 3801529 h 5282095"/>
              <a:gd name="connsiteX11759" fmla="*/ 6718380 w 7714416"/>
              <a:gd name="connsiteY11759" fmla="*/ 3799196 h 5282095"/>
              <a:gd name="connsiteX11760" fmla="*/ 6725254 w 7714416"/>
              <a:gd name="connsiteY11760" fmla="*/ 3799196 h 5282095"/>
              <a:gd name="connsiteX11761" fmla="*/ 6737286 w 7714416"/>
              <a:gd name="connsiteY11761" fmla="*/ 3801972 h 5282095"/>
              <a:gd name="connsiteX11762" fmla="*/ 6740724 w 7714416"/>
              <a:gd name="connsiteY11762" fmla="*/ 3803084 h 5282095"/>
              <a:gd name="connsiteX11763" fmla="*/ 6741010 w 7714416"/>
              <a:gd name="connsiteY11763" fmla="*/ 3801973 h 5282095"/>
              <a:gd name="connsiteX11764" fmla="*/ 6742729 w 7714416"/>
              <a:gd name="connsiteY11764" fmla="*/ 3803418 h 5282095"/>
              <a:gd name="connsiteX11765" fmla="*/ 6743016 w 7714416"/>
              <a:gd name="connsiteY11765" fmla="*/ 3803418 h 5282095"/>
              <a:gd name="connsiteX11766" fmla="*/ 6744734 w 7714416"/>
              <a:gd name="connsiteY11766" fmla="*/ 3803639 h 5282095"/>
              <a:gd name="connsiteX11767" fmla="*/ 6750177 w 7714416"/>
              <a:gd name="connsiteY11767" fmla="*/ 3807194 h 5282095"/>
              <a:gd name="connsiteX11768" fmla="*/ 6749031 w 7714416"/>
              <a:gd name="connsiteY11768" fmla="*/ 3810082 h 5282095"/>
              <a:gd name="connsiteX11769" fmla="*/ 6740437 w 7714416"/>
              <a:gd name="connsiteY11769" fmla="*/ 3812636 h 5282095"/>
              <a:gd name="connsiteX11770" fmla="*/ 6741010 w 7714416"/>
              <a:gd name="connsiteY11770" fmla="*/ 3827411 h 5282095"/>
              <a:gd name="connsiteX11771" fmla="*/ 6737286 w 7714416"/>
              <a:gd name="connsiteY11771" fmla="*/ 3832743 h 5282095"/>
              <a:gd name="connsiteX11772" fmla="*/ 6739864 w 7714416"/>
              <a:gd name="connsiteY11772" fmla="*/ 3833409 h 5282095"/>
              <a:gd name="connsiteX11773" fmla="*/ 6742729 w 7714416"/>
              <a:gd name="connsiteY11773" fmla="*/ 3838630 h 5282095"/>
              <a:gd name="connsiteX11774" fmla="*/ 6741870 w 7714416"/>
              <a:gd name="connsiteY11774" fmla="*/ 3837519 h 5282095"/>
              <a:gd name="connsiteX11775" fmla="*/ 6739005 w 7714416"/>
              <a:gd name="connsiteY11775" fmla="*/ 3838741 h 5282095"/>
              <a:gd name="connsiteX11776" fmla="*/ 6739578 w 7714416"/>
              <a:gd name="connsiteY11776" fmla="*/ 3839852 h 5282095"/>
              <a:gd name="connsiteX11777" fmla="*/ 6735854 w 7714416"/>
              <a:gd name="connsiteY11777" fmla="*/ 3840074 h 5282095"/>
              <a:gd name="connsiteX11778" fmla="*/ 6725828 w 7714416"/>
              <a:gd name="connsiteY11778" fmla="*/ 3834854 h 5282095"/>
              <a:gd name="connsiteX11779" fmla="*/ 6728406 w 7714416"/>
              <a:gd name="connsiteY11779" fmla="*/ 3832632 h 5282095"/>
              <a:gd name="connsiteX11780" fmla="*/ 6724108 w 7714416"/>
              <a:gd name="connsiteY11780" fmla="*/ 3832410 h 5282095"/>
              <a:gd name="connsiteX11781" fmla="*/ 6719812 w 7714416"/>
              <a:gd name="connsiteY11781" fmla="*/ 3830522 h 5282095"/>
              <a:gd name="connsiteX11782" fmla="*/ 6714656 w 7714416"/>
              <a:gd name="connsiteY11782" fmla="*/ 3826078 h 5282095"/>
              <a:gd name="connsiteX11783" fmla="*/ 6712364 w 7714416"/>
              <a:gd name="connsiteY11783" fmla="*/ 3828410 h 5282095"/>
              <a:gd name="connsiteX11784" fmla="*/ 6708353 w 7714416"/>
              <a:gd name="connsiteY11784" fmla="*/ 3829855 h 5282095"/>
              <a:gd name="connsiteX11785" fmla="*/ 6704342 w 7714416"/>
              <a:gd name="connsiteY11785" fmla="*/ 3829188 h 5282095"/>
              <a:gd name="connsiteX11786" fmla="*/ 6703770 w 7714416"/>
              <a:gd name="connsiteY11786" fmla="*/ 3828078 h 5282095"/>
              <a:gd name="connsiteX11787" fmla="*/ 6702051 w 7714416"/>
              <a:gd name="connsiteY11787" fmla="*/ 3823634 h 5282095"/>
              <a:gd name="connsiteX11788" fmla="*/ 6705488 w 7714416"/>
              <a:gd name="connsiteY11788" fmla="*/ 3820746 h 5282095"/>
              <a:gd name="connsiteX11789" fmla="*/ 6709212 w 7714416"/>
              <a:gd name="connsiteY11789" fmla="*/ 3819635 h 5282095"/>
              <a:gd name="connsiteX11790" fmla="*/ 6708640 w 7714416"/>
              <a:gd name="connsiteY11790" fmla="*/ 3818191 h 5282095"/>
              <a:gd name="connsiteX11791" fmla="*/ 6713511 w 7714416"/>
              <a:gd name="connsiteY11791" fmla="*/ 3808526 h 5282095"/>
              <a:gd name="connsiteX11792" fmla="*/ 6715228 w 7714416"/>
              <a:gd name="connsiteY11792" fmla="*/ 3808638 h 5282095"/>
              <a:gd name="connsiteX11793" fmla="*/ 6712364 w 7714416"/>
              <a:gd name="connsiteY11793" fmla="*/ 3801307 h 5282095"/>
              <a:gd name="connsiteX11794" fmla="*/ 6718380 w 7714416"/>
              <a:gd name="connsiteY11794" fmla="*/ 3799196 h 5282095"/>
              <a:gd name="connsiteX11795" fmla="*/ 6543636 w 7714416"/>
              <a:gd name="connsiteY11795" fmla="*/ 3798751 h 5282095"/>
              <a:gd name="connsiteX11796" fmla="*/ 6550225 w 7714416"/>
              <a:gd name="connsiteY11796" fmla="*/ 3806194 h 5282095"/>
              <a:gd name="connsiteX11797" fmla="*/ 6544781 w 7714416"/>
              <a:gd name="connsiteY11797" fmla="*/ 3830077 h 5282095"/>
              <a:gd name="connsiteX11798" fmla="*/ 6543636 w 7714416"/>
              <a:gd name="connsiteY11798" fmla="*/ 3798751 h 5282095"/>
              <a:gd name="connsiteX11799" fmla="*/ 6179540 w 7714416"/>
              <a:gd name="connsiteY11799" fmla="*/ 3798307 h 5282095"/>
              <a:gd name="connsiteX11800" fmla="*/ 6202457 w 7714416"/>
              <a:gd name="connsiteY11800" fmla="*/ 3807638 h 5282095"/>
              <a:gd name="connsiteX11801" fmla="*/ 6207327 w 7714416"/>
              <a:gd name="connsiteY11801" fmla="*/ 3811748 h 5282095"/>
              <a:gd name="connsiteX11802" fmla="*/ 6207328 w 7714416"/>
              <a:gd name="connsiteY11802" fmla="*/ 3811526 h 5282095"/>
              <a:gd name="connsiteX11803" fmla="*/ 6215062 w 7714416"/>
              <a:gd name="connsiteY11803" fmla="*/ 3807415 h 5282095"/>
              <a:gd name="connsiteX11804" fmla="*/ 6220218 w 7714416"/>
              <a:gd name="connsiteY11804" fmla="*/ 3807860 h 5282095"/>
              <a:gd name="connsiteX11805" fmla="*/ 6225661 w 7714416"/>
              <a:gd name="connsiteY11805" fmla="*/ 3813970 h 5282095"/>
              <a:gd name="connsiteX11806" fmla="*/ 6225375 w 7714416"/>
              <a:gd name="connsiteY11806" fmla="*/ 3816525 h 5282095"/>
              <a:gd name="connsiteX11807" fmla="*/ 6225661 w 7714416"/>
              <a:gd name="connsiteY11807" fmla="*/ 3816525 h 5282095"/>
              <a:gd name="connsiteX11808" fmla="*/ 6225088 w 7714416"/>
              <a:gd name="connsiteY11808" fmla="*/ 3816858 h 5282095"/>
              <a:gd name="connsiteX11809" fmla="*/ 6225088 w 7714416"/>
              <a:gd name="connsiteY11809" fmla="*/ 3817969 h 5282095"/>
              <a:gd name="connsiteX11810" fmla="*/ 6226806 w 7714416"/>
              <a:gd name="connsiteY11810" fmla="*/ 3817414 h 5282095"/>
              <a:gd name="connsiteX11811" fmla="*/ 6237692 w 7714416"/>
              <a:gd name="connsiteY11811" fmla="*/ 3818413 h 5282095"/>
              <a:gd name="connsiteX11812" fmla="*/ 6233109 w 7714416"/>
              <a:gd name="connsiteY11812" fmla="*/ 3824967 h 5282095"/>
              <a:gd name="connsiteX11813" fmla="*/ 6231676 w 7714416"/>
              <a:gd name="connsiteY11813" fmla="*/ 3824857 h 5282095"/>
              <a:gd name="connsiteX11814" fmla="*/ 6231390 w 7714416"/>
              <a:gd name="connsiteY11814" fmla="*/ 3824857 h 5282095"/>
              <a:gd name="connsiteX11815" fmla="*/ 6230244 w 7714416"/>
              <a:gd name="connsiteY11815" fmla="*/ 3827855 h 5282095"/>
              <a:gd name="connsiteX11816" fmla="*/ 6223942 w 7714416"/>
              <a:gd name="connsiteY11816" fmla="*/ 3826411 h 5282095"/>
              <a:gd name="connsiteX11817" fmla="*/ 6223082 w 7714416"/>
              <a:gd name="connsiteY11817" fmla="*/ 3825189 h 5282095"/>
              <a:gd name="connsiteX11818" fmla="*/ 6222223 w 7714416"/>
              <a:gd name="connsiteY11818" fmla="*/ 3825300 h 5282095"/>
              <a:gd name="connsiteX11819" fmla="*/ 6220505 w 7714416"/>
              <a:gd name="connsiteY11819" fmla="*/ 3827189 h 5282095"/>
              <a:gd name="connsiteX11820" fmla="*/ 6221650 w 7714416"/>
              <a:gd name="connsiteY11820" fmla="*/ 3829522 h 5282095"/>
              <a:gd name="connsiteX11821" fmla="*/ 6215634 w 7714416"/>
              <a:gd name="connsiteY11821" fmla="*/ 3830188 h 5282095"/>
              <a:gd name="connsiteX11822" fmla="*/ 6210478 w 7714416"/>
              <a:gd name="connsiteY11822" fmla="*/ 3831632 h 5282095"/>
              <a:gd name="connsiteX11823" fmla="*/ 6205036 w 7714416"/>
              <a:gd name="connsiteY11823" fmla="*/ 3829299 h 5282095"/>
              <a:gd name="connsiteX11824" fmla="*/ 6205036 w 7714416"/>
              <a:gd name="connsiteY11824" fmla="*/ 3827967 h 5282095"/>
              <a:gd name="connsiteX11825" fmla="*/ 6192431 w 7714416"/>
              <a:gd name="connsiteY11825" fmla="*/ 3820413 h 5282095"/>
              <a:gd name="connsiteX11826" fmla="*/ 6171519 w 7714416"/>
              <a:gd name="connsiteY11826" fmla="*/ 3838741 h 5282095"/>
              <a:gd name="connsiteX11827" fmla="*/ 6182118 w 7714416"/>
              <a:gd name="connsiteY11827" fmla="*/ 3812526 h 5282095"/>
              <a:gd name="connsiteX11828" fmla="*/ 6179540 w 7714416"/>
              <a:gd name="connsiteY11828" fmla="*/ 3798307 h 5282095"/>
              <a:gd name="connsiteX11829" fmla="*/ 6764787 w 7714416"/>
              <a:gd name="connsiteY11829" fmla="*/ 3795974 h 5282095"/>
              <a:gd name="connsiteX11830" fmla="*/ 6780256 w 7714416"/>
              <a:gd name="connsiteY11830" fmla="*/ 3805416 h 5282095"/>
              <a:gd name="connsiteX11831" fmla="*/ 6776532 w 7714416"/>
              <a:gd name="connsiteY11831" fmla="*/ 3811526 h 5282095"/>
              <a:gd name="connsiteX11832" fmla="*/ 6756479 w 7714416"/>
              <a:gd name="connsiteY11832" fmla="*/ 3798862 h 5282095"/>
              <a:gd name="connsiteX11833" fmla="*/ 6764787 w 7714416"/>
              <a:gd name="connsiteY11833" fmla="*/ 3795974 h 5282095"/>
              <a:gd name="connsiteX11834" fmla="*/ 6208826 w 7714416"/>
              <a:gd name="connsiteY11834" fmla="*/ 3793089 h 5282095"/>
              <a:gd name="connsiteX11835" fmla="*/ 6218356 w 7714416"/>
              <a:gd name="connsiteY11835" fmla="*/ 3793503 h 5282095"/>
              <a:gd name="connsiteX11836" fmla="*/ 6228812 w 7714416"/>
              <a:gd name="connsiteY11836" fmla="*/ 3794419 h 5282095"/>
              <a:gd name="connsiteX11837" fmla="*/ 6243422 w 7714416"/>
              <a:gd name="connsiteY11837" fmla="*/ 3803528 h 5282095"/>
              <a:gd name="connsiteX11838" fmla="*/ 6222223 w 7714416"/>
              <a:gd name="connsiteY11838" fmla="*/ 3801515 h 5282095"/>
              <a:gd name="connsiteX11839" fmla="*/ 6208827 w 7714416"/>
              <a:gd name="connsiteY11839" fmla="*/ 3793127 h 5282095"/>
              <a:gd name="connsiteX11840" fmla="*/ 6947551 w 7714416"/>
              <a:gd name="connsiteY11840" fmla="*/ 3789199 h 5282095"/>
              <a:gd name="connsiteX11841" fmla="*/ 6954140 w 7714416"/>
              <a:gd name="connsiteY11841" fmla="*/ 3789421 h 5282095"/>
              <a:gd name="connsiteX11842" fmla="*/ 6967890 w 7714416"/>
              <a:gd name="connsiteY11842" fmla="*/ 3798529 h 5282095"/>
              <a:gd name="connsiteX11843" fmla="*/ 6967604 w 7714416"/>
              <a:gd name="connsiteY11843" fmla="*/ 3806416 h 5282095"/>
              <a:gd name="connsiteX11844" fmla="*/ 6940676 w 7714416"/>
              <a:gd name="connsiteY11844" fmla="*/ 3817969 h 5282095"/>
              <a:gd name="connsiteX11845" fmla="*/ 6936379 w 7714416"/>
              <a:gd name="connsiteY11845" fmla="*/ 3816858 h 5282095"/>
              <a:gd name="connsiteX11846" fmla="*/ 6928930 w 7714416"/>
              <a:gd name="connsiteY11846" fmla="*/ 3816746 h 5282095"/>
              <a:gd name="connsiteX11847" fmla="*/ 6929504 w 7714416"/>
              <a:gd name="connsiteY11847" fmla="*/ 3801417 h 5282095"/>
              <a:gd name="connsiteX11848" fmla="*/ 6947551 w 7714416"/>
              <a:gd name="connsiteY11848" fmla="*/ 3789199 h 5282095"/>
              <a:gd name="connsiteX11849" fmla="*/ 6493218 w 7714416"/>
              <a:gd name="connsiteY11849" fmla="*/ 3788976 h 5282095"/>
              <a:gd name="connsiteX11850" fmla="*/ 6497802 w 7714416"/>
              <a:gd name="connsiteY11850" fmla="*/ 3789531 h 5282095"/>
              <a:gd name="connsiteX11851" fmla="*/ 6502099 w 7714416"/>
              <a:gd name="connsiteY11851" fmla="*/ 3790309 h 5282095"/>
              <a:gd name="connsiteX11852" fmla="*/ 6505823 w 7714416"/>
              <a:gd name="connsiteY11852" fmla="*/ 3789976 h 5282095"/>
              <a:gd name="connsiteX11853" fmla="*/ 6511838 w 7714416"/>
              <a:gd name="connsiteY11853" fmla="*/ 3792641 h 5282095"/>
              <a:gd name="connsiteX11854" fmla="*/ 6508114 w 7714416"/>
              <a:gd name="connsiteY11854" fmla="*/ 3792864 h 5282095"/>
              <a:gd name="connsiteX11855" fmla="*/ 6503818 w 7714416"/>
              <a:gd name="connsiteY11855" fmla="*/ 3792197 h 5282095"/>
              <a:gd name="connsiteX11856" fmla="*/ 6500666 w 7714416"/>
              <a:gd name="connsiteY11856" fmla="*/ 3793420 h 5282095"/>
              <a:gd name="connsiteX11857" fmla="*/ 6489494 w 7714416"/>
              <a:gd name="connsiteY11857" fmla="*/ 3789087 h 5282095"/>
              <a:gd name="connsiteX11858" fmla="*/ 6493218 w 7714416"/>
              <a:gd name="connsiteY11858" fmla="*/ 3788976 h 5282095"/>
              <a:gd name="connsiteX11859" fmla="*/ 1759968 w 7714416"/>
              <a:gd name="connsiteY11859" fmla="*/ 3788754 h 5282095"/>
              <a:gd name="connsiteX11860" fmla="*/ 1765984 w 7714416"/>
              <a:gd name="connsiteY11860" fmla="*/ 3793975 h 5282095"/>
              <a:gd name="connsiteX11861" fmla="*/ 1760829 w 7714416"/>
              <a:gd name="connsiteY11861" fmla="*/ 3791420 h 5282095"/>
              <a:gd name="connsiteX11862" fmla="*/ 1759968 w 7714416"/>
              <a:gd name="connsiteY11862" fmla="*/ 3788754 h 5282095"/>
              <a:gd name="connsiteX11863" fmla="*/ 6285246 w 7714416"/>
              <a:gd name="connsiteY11863" fmla="*/ 3788310 h 5282095"/>
              <a:gd name="connsiteX11864" fmla="*/ 6287537 w 7714416"/>
              <a:gd name="connsiteY11864" fmla="*/ 3807194 h 5282095"/>
              <a:gd name="connsiteX11865" fmla="*/ 6285246 w 7714416"/>
              <a:gd name="connsiteY11865" fmla="*/ 3788310 h 5282095"/>
              <a:gd name="connsiteX11866" fmla="*/ 6286104 w 7714416"/>
              <a:gd name="connsiteY11866" fmla="*/ 3785533 h 5282095"/>
              <a:gd name="connsiteX11867" fmla="*/ 6285532 w 7714416"/>
              <a:gd name="connsiteY11867" fmla="*/ 3788310 h 5282095"/>
              <a:gd name="connsiteX11868" fmla="*/ 6283526 w 7714416"/>
              <a:gd name="connsiteY11868" fmla="*/ 3787421 h 5282095"/>
              <a:gd name="connsiteX11869" fmla="*/ 6286104 w 7714416"/>
              <a:gd name="connsiteY11869" fmla="*/ 3785533 h 5282095"/>
              <a:gd name="connsiteX11870" fmla="*/ 6347981 w 7714416"/>
              <a:gd name="connsiteY11870" fmla="*/ 3784866 h 5282095"/>
              <a:gd name="connsiteX11871" fmla="*/ 6355716 w 7714416"/>
              <a:gd name="connsiteY11871" fmla="*/ 3790754 h 5282095"/>
              <a:gd name="connsiteX11872" fmla="*/ 6360299 w 7714416"/>
              <a:gd name="connsiteY11872" fmla="*/ 3790198 h 5282095"/>
              <a:gd name="connsiteX11873" fmla="*/ 6366601 w 7714416"/>
              <a:gd name="connsiteY11873" fmla="*/ 3793975 h 5282095"/>
              <a:gd name="connsiteX11874" fmla="*/ 6359726 w 7714416"/>
              <a:gd name="connsiteY11874" fmla="*/ 3794419 h 5282095"/>
              <a:gd name="connsiteX11875" fmla="*/ 6358867 w 7714416"/>
              <a:gd name="connsiteY11875" fmla="*/ 3793975 h 5282095"/>
              <a:gd name="connsiteX11876" fmla="*/ 6364310 w 7714416"/>
              <a:gd name="connsiteY11876" fmla="*/ 3800306 h 5282095"/>
              <a:gd name="connsiteX11877" fmla="*/ 6372044 w 7714416"/>
              <a:gd name="connsiteY11877" fmla="*/ 3807416 h 5282095"/>
              <a:gd name="connsiteX11878" fmla="*/ 6371184 w 7714416"/>
              <a:gd name="connsiteY11878" fmla="*/ 3810637 h 5282095"/>
              <a:gd name="connsiteX11879" fmla="*/ 6372330 w 7714416"/>
              <a:gd name="connsiteY11879" fmla="*/ 3811525 h 5282095"/>
              <a:gd name="connsiteX11880" fmla="*/ 6370612 w 7714416"/>
              <a:gd name="connsiteY11880" fmla="*/ 3813859 h 5282095"/>
              <a:gd name="connsiteX11881" fmla="*/ 6363165 w 7714416"/>
              <a:gd name="connsiteY11881" fmla="*/ 3808415 h 5282095"/>
              <a:gd name="connsiteX11882" fmla="*/ 6358294 w 7714416"/>
              <a:gd name="connsiteY11882" fmla="*/ 3803417 h 5282095"/>
              <a:gd name="connsiteX11883" fmla="*/ 6347981 w 7714416"/>
              <a:gd name="connsiteY11883" fmla="*/ 3784866 h 5282095"/>
              <a:gd name="connsiteX11884" fmla="*/ 6172952 w 7714416"/>
              <a:gd name="connsiteY11884" fmla="*/ 3784089 h 5282095"/>
              <a:gd name="connsiteX11885" fmla="*/ 6168654 w 7714416"/>
              <a:gd name="connsiteY11885" fmla="*/ 3794198 h 5282095"/>
              <a:gd name="connsiteX11886" fmla="*/ 6172952 w 7714416"/>
              <a:gd name="connsiteY11886" fmla="*/ 3784089 h 5282095"/>
              <a:gd name="connsiteX11887" fmla="*/ 7150368 w 7714416"/>
              <a:gd name="connsiteY11887" fmla="*/ 3781867 h 5282095"/>
              <a:gd name="connsiteX11888" fmla="*/ 7163832 w 7714416"/>
              <a:gd name="connsiteY11888" fmla="*/ 3788310 h 5282095"/>
              <a:gd name="connsiteX11889" fmla="*/ 7158962 w 7714416"/>
              <a:gd name="connsiteY11889" fmla="*/ 3795196 h 5282095"/>
              <a:gd name="connsiteX11890" fmla="*/ 7141774 w 7714416"/>
              <a:gd name="connsiteY11890" fmla="*/ 3788532 h 5282095"/>
              <a:gd name="connsiteX11891" fmla="*/ 7144638 w 7714416"/>
              <a:gd name="connsiteY11891" fmla="*/ 3783644 h 5282095"/>
              <a:gd name="connsiteX11892" fmla="*/ 7150368 w 7714416"/>
              <a:gd name="connsiteY11892" fmla="*/ 3781867 h 5282095"/>
              <a:gd name="connsiteX11893" fmla="*/ 6390092 w 7714416"/>
              <a:gd name="connsiteY11893" fmla="*/ 3781423 h 5282095"/>
              <a:gd name="connsiteX11894" fmla="*/ 6387800 w 7714416"/>
              <a:gd name="connsiteY11894" fmla="*/ 3784644 h 5282095"/>
              <a:gd name="connsiteX11895" fmla="*/ 6368606 w 7714416"/>
              <a:gd name="connsiteY11895" fmla="*/ 3791975 h 5282095"/>
              <a:gd name="connsiteX11896" fmla="*/ 6390092 w 7714416"/>
              <a:gd name="connsiteY11896" fmla="*/ 3781423 h 5282095"/>
              <a:gd name="connsiteX11897" fmla="*/ 6991953 w 7714416"/>
              <a:gd name="connsiteY11897" fmla="*/ 3780979 h 5282095"/>
              <a:gd name="connsiteX11898" fmla="*/ 6997396 w 7714416"/>
              <a:gd name="connsiteY11898" fmla="*/ 3782200 h 5282095"/>
              <a:gd name="connsiteX11899" fmla="*/ 6998828 w 7714416"/>
              <a:gd name="connsiteY11899" fmla="*/ 3783422 h 5282095"/>
              <a:gd name="connsiteX11900" fmla="*/ 7000547 w 7714416"/>
              <a:gd name="connsiteY11900" fmla="*/ 3783422 h 5282095"/>
              <a:gd name="connsiteX11901" fmla="*/ 7000834 w 7714416"/>
              <a:gd name="connsiteY11901" fmla="*/ 3784644 h 5282095"/>
              <a:gd name="connsiteX11902" fmla="*/ 7004271 w 7714416"/>
              <a:gd name="connsiteY11902" fmla="*/ 3787087 h 5282095"/>
              <a:gd name="connsiteX11903" fmla="*/ 7014870 w 7714416"/>
              <a:gd name="connsiteY11903" fmla="*/ 3790865 h 5282095"/>
              <a:gd name="connsiteX11904" fmla="*/ 7022032 w 7714416"/>
              <a:gd name="connsiteY11904" fmla="*/ 3798085 h 5282095"/>
              <a:gd name="connsiteX11905" fmla="*/ 7018881 w 7714416"/>
              <a:gd name="connsiteY11905" fmla="*/ 3800417 h 5282095"/>
              <a:gd name="connsiteX11906" fmla="*/ 7022318 w 7714416"/>
              <a:gd name="connsiteY11906" fmla="*/ 3802861 h 5282095"/>
              <a:gd name="connsiteX11907" fmla="*/ 7027761 w 7714416"/>
              <a:gd name="connsiteY11907" fmla="*/ 3809637 h 5282095"/>
              <a:gd name="connsiteX11908" fmla="*/ 7023464 w 7714416"/>
              <a:gd name="connsiteY11908" fmla="*/ 3815524 h 5282095"/>
              <a:gd name="connsiteX11909" fmla="*/ 7026902 w 7714416"/>
              <a:gd name="connsiteY11909" fmla="*/ 3816746 h 5282095"/>
              <a:gd name="connsiteX11910" fmla="*/ 7026042 w 7714416"/>
              <a:gd name="connsiteY11910" fmla="*/ 3823634 h 5282095"/>
              <a:gd name="connsiteX11911" fmla="*/ 7007995 w 7714416"/>
              <a:gd name="connsiteY11911" fmla="*/ 3822079 h 5282095"/>
              <a:gd name="connsiteX11912" fmla="*/ 7008854 w 7714416"/>
              <a:gd name="connsiteY11912" fmla="*/ 3820857 h 5282095"/>
              <a:gd name="connsiteX11913" fmla="*/ 7006849 w 7714416"/>
              <a:gd name="connsiteY11913" fmla="*/ 3820746 h 5282095"/>
              <a:gd name="connsiteX11914" fmla="*/ 7001407 w 7714416"/>
              <a:gd name="connsiteY11914" fmla="*/ 3818413 h 5282095"/>
              <a:gd name="connsiteX11915" fmla="*/ 6996823 w 7714416"/>
              <a:gd name="connsiteY11915" fmla="*/ 3803195 h 5282095"/>
              <a:gd name="connsiteX11916" fmla="*/ 7011719 w 7714416"/>
              <a:gd name="connsiteY11916" fmla="*/ 3797863 h 5282095"/>
              <a:gd name="connsiteX11917" fmla="*/ 7010286 w 7714416"/>
              <a:gd name="connsiteY11917" fmla="*/ 3797751 h 5282095"/>
              <a:gd name="connsiteX11918" fmla="*/ 6991953 w 7714416"/>
              <a:gd name="connsiteY11918" fmla="*/ 3780979 h 5282095"/>
              <a:gd name="connsiteX11919" fmla="*/ 7093934 w 7714416"/>
              <a:gd name="connsiteY11919" fmla="*/ 3780201 h 5282095"/>
              <a:gd name="connsiteX11920" fmla="*/ 7100810 w 7714416"/>
              <a:gd name="connsiteY11920" fmla="*/ 3807305 h 5282095"/>
              <a:gd name="connsiteX11921" fmla="*/ 7091356 w 7714416"/>
              <a:gd name="connsiteY11921" fmla="*/ 3794086 h 5282095"/>
              <a:gd name="connsiteX11922" fmla="*/ 7093934 w 7714416"/>
              <a:gd name="connsiteY11922" fmla="*/ 3780201 h 5282095"/>
              <a:gd name="connsiteX11923" fmla="*/ 6283813 w 7714416"/>
              <a:gd name="connsiteY11923" fmla="*/ 3779868 h 5282095"/>
              <a:gd name="connsiteX11924" fmla="*/ 6283240 w 7714416"/>
              <a:gd name="connsiteY11924" fmla="*/ 3782645 h 5282095"/>
              <a:gd name="connsiteX11925" fmla="*/ 6282380 w 7714416"/>
              <a:gd name="connsiteY11925" fmla="*/ 3780201 h 5282095"/>
              <a:gd name="connsiteX11926" fmla="*/ 6283813 w 7714416"/>
              <a:gd name="connsiteY11926" fmla="*/ 3779868 h 5282095"/>
              <a:gd name="connsiteX11927" fmla="*/ 6203030 w 7714416"/>
              <a:gd name="connsiteY11927" fmla="*/ 3778867 h 5282095"/>
              <a:gd name="connsiteX11928" fmla="*/ 6206468 w 7714416"/>
              <a:gd name="connsiteY11928" fmla="*/ 3781756 h 5282095"/>
              <a:gd name="connsiteX11929" fmla="*/ 6208903 w 7714416"/>
              <a:gd name="connsiteY11929" fmla="*/ 3789253 h 5282095"/>
              <a:gd name="connsiteX11930" fmla="*/ 6208826 w 7714416"/>
              <a:gd name="connsiteY11930" fmla="*/ 3793089 h 5282095"/>
              <a:gd name="connsiteX11931" fmla="*/ 6208760 w 7714416"/>
              <a:gd name="connsiteY11931" fmla="*/ 3793086 h 5282095"/>
              <a:gd name="connsiteX11932" fmla="*/ 6208827 w 7714416"/>
              <a:gd name="connsiteY11932" fmla="*/ 3793127 h 5282095"/>
              <a:gd name="connsiteX11933" fmla="*/ 6208760 w 7714416"/>
              <a:gd name="connsiteY11933" fmla="*/ 3796419 h 5282095"/>
              <a:gd name="connsiteX11934" fmla="*/ 6203030 w 7714416"/>
              <a:gd name="connsiteY11934" fmla="*/ 3778867 h 5282095"/>
              <a:gd name="connsiteX11935" fmla="*/ 6418738 w 7714416"/>
              <a:gd name="connsiteY11935" fmla="*/ 3778312 h 5282095"/>
              <a:gd name="connsiteX11936" fmla="*/ 6421030 w 7714416"/>
              <a:gd name="connsiteY11936" fmla="*/ 3779312 h 5282095"/>
              <a:gd name="connsiteX11937" fmla="*/ 6426472 w 7714416"/>
              <a:gd name="connsiteY11937" fmla="*/ 3785422 h 5282095"/>
              <a:gd name="connsiteX11938" fmla="*/ 6457410 w 7714416"/>
              <a:gd name="connsiteY11938" fmla="*/ 3787532 h 5282095"/>
              <a:gd name="connsiteX11939" fmla="*/ 6456551 w 7714416"/>
              <a:gd name="connsiteY11939" fmla="*/ 3799196 h 5282095"/>
              <a:gd name="connsiteX11940" fmla="*/ 6453114 w 7714416"/>
              <a:gd name="connsiteY11940" fmla="*/ 3801640 h 5282095"/>
              <a:gd name="connsiteX11941" fmla="*/ 6456838 w 7714416"/>
              <a:gd name="connsiteY11941" fmla="*/ 3801861 h 5282095"/>
              <a:gd name="connsiteX11942" fmla="*/ 6445952 w 7714416"/>
              <a:gd name="connsiteY11942" fmla="*/ 3823412 h 5282095"/>
              <a:gd name="connsiteX11943" fmla="*/ 6443087 w 7714416"/>
              <a:gd name="connsiteY11943" fmla="*/ 3825189 h 5282095"/>
              <a:gd name="connsiteX11944" fmla="*/ 6439076 w 7714416"/>
              <a:gd name="connsiteY11944" fmla="*/ 3824079 h 5282095"/>
              <a:gd name="connsiteX11945" fmla="*/ 6437072 w 7714416"/>
              <a:gd name="connsiteY11945" fmla="*/ 3820413 h 5282095"/>
              <a:gd name="connsiteX11946" fmla="*/ 6435927 w 7714416"/>
              <a:gd name="connsiteY11946" fmla="*/ 3820746 h 5282095"/>
              <a:gd name="connsiteX11947" fmla="*/ 6435927 w 7714416"/>
              <a:gd name="connsiteY11947" fmla="*/ 3821190 h 5282095"/>
              <a:gd name="connsiteX11948" fmla="*/ 6429624 w 7714416"/>
              <a:gd name="connsiteY11948" fmla="*/ 3831076 h 5282095"/>
              <a:gd name="connsiteX11949" fmla="*/ 6428191 w 7714416"/>
              <a:gd name="connsiteY11949" fmla="*/ 3833409 h 5282095"/>
              <a:gd name="connsiteX11950" fmla="*/ 6423034 w 7714416"/>
              <a:gd name="connsiteY11950" fmla="*/ 3833188 h 5282095"/>
              <a:gd name="connsiteX11951" fmla="*/ 6423321 w 7714416"/>
              <a:gd name="connsiteY11951" fmla="*/ 3824523 h 5282095"/>
              <a:gd name="connsiteX11952" fmla="*/ 6413008 w 7714416"/>
              <a:gd name="connsiteY11952" fmla="*/ 3824189 h 5282095"/>
              <a:gd name="connsiteX11953" fmla="*/ 6423608 w 7714416"/>
              <a:gd name="connsiteY11953" fmla="*/ 3803084 h 5282095"/>
              <a:gd name="connsiteX11954" fmla="*/ 6424467 w 7714416"/>
              <a:gd name="connsiteY11954" fmla="*/ 3802639 h 5282095"/>
              <a:gd name="connsiteX11955" fmla="*/ 6423608 w 7714416"/>
              <a:gd name="connsiteY11955" fmla="*/ 3802528 h 5282095"/>
              <a:gd name="connsiteX11956" fmla="*/ 6415873 w 7714416"/>
              <a:gd name="connsiteY11956" fmla="*/ 3804973 h 5282095"/>
              <a:gd name="connsiteX11957" fmla="*/ 6411862 w 7714416"/>
              <a:gd name="connsiteY11957" fmla="*/ 3787643 h 5282095"/>
              <a:gd name="connsiteX11958" fmla="*/ 6412722 w 7714416"/>
              <a:gd name="connsiteY11958" fmla="*/ 3785199 h 5282095"/>
              <a:gd name="connsiteX11959" fmla="*/ 6411004 w 7714416"/>
              <a:gd name="connsiteY11959" fmla="*/ 3785199 h 5282095"/>
              <a:gd name="connsiteX11960" fmla="*/ 6412722 w 7714416"/>
              <a:gd name="connsiteY11960" fmla="*/ 3783977 h 5282095"/>
              <a:gd name="connsiteX11961" fmla="*/ 6412722 w 7714416"/>
              <a:gd name="connsiteY11961" fmla="*/ 3783755 h 5282095"/>
              <a:gd name="connsiteX11962" fmla="*/ 6412722 w 7714416"/>
              <a:gd name="connsiteY11962" fmla="*/ 3782645 h 5282095"/>
              <a:gd name="connsiteX11963" fmla="*/ 6416732 w 7714416"/>
              <a:gd name="connsiteY11963" fmla="*/ 3778757 h 5282095"/>
              <a:gd name="connsiteX11964" fmla="*/ 6418738 w 7714416"/>
              <a:gd name="connsiteY11964" fmla="*/ 3778312 h 5282095"/>
              <a:gd name="connsiteX11965" fmla="*/ 6818642 w 7714416"/>
              <a:gd name="connsiteY11965" fmla="*/ 3774980 h 5282095"/>
              <a:gd name="connsiteX11966" fmla="*/ 6825230 w 7714416"/>
              <a:gd name="connsiteY11966" fmla="*/ 3776535 h 5282095"/>
              <a:gd name="connsiteX11967" fmla="*/ 6824372 w 7714416"/>
              <a:gd name="connsiteY11967" fmla="*/ 3781867 h 5282095"/>
              <a:gd name="connsiteX11968" fmla="*/ 6826090 w 7714416"/>
              <a:gd name="connsiteY11968" fmla="*/ 3785088 h 5282095"/>
              <a:gd name="connsiteX11969" fmla="*/ 6830387 w 7714416"/>
              <a:gd name="connsiteY11969" fmla="*/ 3792420 h 5282095"/>
              <a:gd name="connsiteX11970" fmla="*/ 6823226 w 7714416"/>
              <a:gd name="connsiteY11970" fmla="*/ 3796086 h 5282095"/>
              <a:gd name="connsiteX11971" fmla="*/ 6802886 w 7714416"/>
              <a:gd name="connsiteY11971" fmla="*/ 3780423 h 5282095"/>
              <a:gd name="connsiteX11972" fmla="*/ 6810907 w 7714416"/>
              <a:gd name="connsiteY11972" fmla="*/ 3776646 h 5282095"/>
              <a:gd name="connsiteX11973" fmla="*/ 6816350 w 7714416"/>
              <a:gd name="connsiteY11973" fmla="*/ 3777535 h 5282095"/>
              <a:gd name="connsiteX11974" fmla="*/ 6284959 w 7714416"/>
              <a:gd name="connsiteY11974" fmla="*/ 3772536 h 5282095"/>
              <a:gd name="connsiteX11975" fmla="*/ 6282094 w 7714416"/>
              <a:gd name="connsiteY11975" fmla="*/ 3779423 h 5282095"/>
              <a:gd name="connsiteX11976" fmla="*/ 6280376 w 7714416"/>
              <a:gd name="connsiteY11976" fmla="*/ 3774869 h 5282095"/>
              <a:gd name="connsiteX11977" fmla="*/ 6284959 w 7714416"/>
              <a:gd name="connsiteY11977" fmla="*/ 3772536 h 5282095"/>
              <a:gd name="connsiteX11978" fmla="*/ 6932082 w 7714416"/>
              <a:gd name="connsiteY11978" fmla="*/ 3770536 h 5282095"/>
              <a:gd name="connsiteX11979" fmla="*/ 6941248 w 7714416"/>
              <a:gd name="connsiteY11979" fmla="*/ 3775424 h 5282095"/>
              <a:gd name="connsiteX11980" fmla="*/ 6930076 w 7714416"/>
              <a:gd name="connsiteY11980" fmla="*/ 3779645 h 5282095"/>
              <a:gd name="connsiteX11981" fmla="*/ 6932082 w 7714416"/>
              <a:gd name="connsiteY11981" fmla="*/ 3770536 h 5282095"/>
              <a:gd name="connsiteX11982" fmla="*/ 6546214 w 7714416"/>
              <a:gd name="connsiteY11982" fmla="*/ 3769870 h 5282095"/>
              <a:gd name="connsiteX11983" fmla="*/ 6550512 w 7714416"/>
              <a:gd name="connsiteY11983" fmla="*/ 3769981 h 5282095"/>
              <a:gd name="connsiteX11984" fmla="*/ 6553662 w 7714416"/>
              <a:gd name="connsiteY11984" fmla="*/ 3777201 h 5282095"/>
              <a:gd name="connsiteX11985" fmla="*/ 6545068 w 7714416"/>
              <a:gd name="connsiteY11985" fmla="*/ 3779313 h 5282095"/>
              <a:gd name="connsiteX11986" fmla="*/ 6541631 w 7714416"/>
              <a:gd name="connsiteY11986" fmla="*/ 3777424 h 5282095"/>
              <a:gd name="connsiteX11987" fmla="*/ 6541631 w 7714416"/>
              <a:gd name="connsiteY11987" fmla="*/ 3776201 h 5282095"/>
              <a:gd name="connsiteX11988" fmla="*/ 6541918 w 7714416"/>
              <a:gd name="connsiteY11988" fmla="*/ 3771647 h 5282095"/>
              <a:gd name="connsiteX11989" fmla="*/ 6546214 w 7714416"/>
              <a:gd name="connsiteY11989" fmla="*/ 3769870 h 5282095"/>
              <a:gd name="connsiteX11990" fmla="*/ 7072450 w 7714416"/>
              <a:gd name="connsiteY11990" fmla="*/ 3767981 h 5282095"/>
              <a:gd name="connsiteX11991" fmla="*/ 7076174 w 7714416"/>
              <a:gd name="connsiteY11991" fmla="*/ 3767982 h 5282095"/>
              <a:gd name="connsiteX11992" fmla="*/ 7076460 w 7714416"/>
              <a:gd name="connsiteY11992" fmla="*/ 3768981 h 5282095"/>
              <a:gd name="connsiteX11993" fmla="*/ 7077033 w 7714416"/>
              <a:gd name="connsiteY11993" fmla="*/ 3769204 h 5282095"/>
              <a:gd name="connsiteX11994" fmla="*/ 7076174 w 7714416"/>
              <a:gd name="connsiteY11994" fmla="*/ 3771536 h 5282095"/>
              <a:gd name="connsiteX11995" fmla="*/ 7073882 w 7714416"/>
              <a:gd name="connsiteY11995" fmla="*/ 3773536 h 5282095"/>
              <a:gd name="connsiteX11996" fmla="*/ 7070158 w 7714416"/>
              <a:gd name="connsiteY11996" fmla="*/ 3769981 h 5282095"/>
              <a:gd name="connsiteX11997" fmla="*/ 7073022 w 7714416"/>
              <a:gd name="connsiteY11997" fmla="*/ 3768981 h 5282095"/>
              <a:gd name="connsiteX11998" fmla="*/ 7072450 w 7714416"/>
              <a:gd name="connsiteY11998" fmla="*/ 3767981 h 5282095"/>
              <a:gd name="connsiteX11999" fmla="*/ 1703249 w 7714416"/>
              <a:gd name="connsiteY11999" fmla="*/ 3763760 h 5282095"/>
              <a:gd name="connsiteX12000" fmla="*/ 1711842 w 7714416"/>
              <a:gd name="connsiteY12000" fmla="*/ 3768870 h 5282095"/>
              <a:gd name="connsiteX12001" fmla="*/ 1717573 w 7714416"/>
              <a:gd name="connsiteY12001" fmla="*/ 3770425 h 5282095"/>
              <a:gd name="connsiteX12002" fmla="*/ 1720436 w 7714416"/>
              <a:gd name="connsiteY12002" fmla="*/ 3770314 h 5282095"/>
              <a:gd name="connsiteX12003" fmla="*/ 1721869 w 7714416"/>
              <a:gd name="connsiteY12003" fmla="*/ 3771202 h 5282095"/>
              <a:gd name="connsiteX12004" fmla="*/ 1744787 w 7714416"/>
              <a:gd name="connsiteY12004" fmla="*/ 3770870 h 5282095"/>
              <a:gd name="connsiteX12005" fmla="*/ 1761973 w 7714416"/>
              <a:gd name="connsiteY12005" fmla="*/ 3779313 h 5282095"/>
              <a:gd name="connsiteX12006" fmla="*/ 1743641 w 7714416"/>
              <a:gd name="connsiteY12006" fmla="*/ 3793198 h 5282095"/>
              <a:gd name="connsiteX12007" fmla="*/ 1724448 w 7714416"/>
              <a:gd name="connsiteY12007" fmla="*/ 3790420 h 5282095"/>
              <a:gd name="connsiteX12008" fmla="*/ 1716426 w 7714416"/>
              <a:gd name="connsiteY12008" fmla="*/ 3773314 h 5282095"/>
              <a:gd name="connsiteX12009" fmla="*/ 1713561 w 7714416"/>
              <a:gd name="connsiteY12009" fmla="*/ 3773313 h 5282095"/>
              <a:gd name="connsiteX12010" fmla="*/ 1703249 w 7714416"/>
              <a:gd name="connsiteY12010" fmla="*/ 3763760 h 5282095"/>
              <a:gd name="connsiteX12011" fmla="*/ 6624419 w 7714416"/>
              <a:gd name="connsiteY12011" fmla="*/ 3763539 h 5282095"/>
              <a:gd name="connsiteX12012" fmla="*/ 6624706 w 7714416"/>
              <a:gd name="connsiteY12012" fmla="*/ 3764316 h 5282095"/>
              <a:gd name="connsiteX12013" fmla="*/ 6624132 w 7714416"/>
              <a:gd name="connsiteY12013" fmla="*/ 3765648 h 5282095"/>
              <a:gd name="connsiteX12014" fmla="*/ 6622700 w 7714416"/>
              <a:gd name="connsiteY12014" fmla="*/ 3765537 h 5282095"/>
              <a:gd name="connsiteX12015" fmla="*/ 6624419 w 7714416"/>
              <a:gd name="connsiteY12015" fmla="*/ 3763539 h 5282095"/>
              <a:gd name="connsiteX12016" fmla="*/ 6665670 w 7714416"/>
              <a:gd name="connsiteY12016" fmla="*/ 3763094 h 5282095"/>
              <a:gd name="connsiteX12017" fmla="*/ 6675410 w 7714416"/>
              <a:gd name="connsiteY12017" fmla="*/ 3763871 h 5282095"/>
              <a:gd name="connsiteX12018" fmla="*/ 6699186 w 7714416"/>
              <a:gd name="connsiteY12018" fmla="*/ 3774980 h 5282095"/>
              <a:gd name="connsiteX12019" fmla="*/ 6704342 w 7714416"/>
              <a:gd name="connsiteY12019" fmla="*/ 3778534 h 5282095"/>
              <a:gd name="connsiteX12020" fmla="*/ 6706634 w 7714416"/>
              <a:gd name="connsiteY12020" fmla="*/ 3778979 h 5282095"/>
              <a:gd name="connsiteX12021" fmla="*/ 6712936 w 7714416"/>
              <a:gd name="connsiteY12021" fmla="*/ 3780645 h 5282095"/>
              <a:gd name="connsiteX12022" fmla="*/ 6713796 w 7714416"/>
              <a:gd name="connsiteY12022" fmla="*/ 3782755 h 5282095"/>
              <a:gd name="connsiteX12023" fmla="*/ 6709499 w 7714416"/>
              <a:gd name="connsiteY12023" fmla="*/ 3782200 h 5282095"/>
              <a:gd name="connsiteX12024" fmla="*/ 6710645 w 7714416"/>
              <a:gd name="connsiteY12024" fmla="*/ 3783089 h 5282095"/>
              <a:gd name="connsiteX12025" fmla="*/ 6724682 w 7714416"/>
              <a:gd name="connsiteY12025" fmla="*/ 3791309 h 5282095"/>
              <a:gd name="connsiteX12026" fmla="*/ 6703770 w 7714416"/>
              <a:gd name="connsiteY12026" fmla="*/ 3799529 h 5282095"/>
              <a:gd name="connsiteX12027" fmla="*/ 6698327 w 7714416"/>
              <a:gd name="connsiteY12027" fmla="*/ 3804195 h 5282095"/>
              <a:gd name="connsiteX12028" fmla="*/ 6699473 w 7714416"/>
              <a:gd name="connsiteY12028" fmla="*/ 3804972 h 5282095"/>
              <a:gd name="connsiteX12029" fmla="*/ 6700046 w 7714416"/>
              <a:gd name="connsiteY12029" fmla="*/ 3804639 h 5282095"/>
              <a:gd name="connsiteX12030" fmla="*/ 6706062 w 7714416"/>
              <a:gd name="connsiteY12030" fmla="*/ 3812415 h 5282095"/>
              <a:gd name="connsiteX12031" fmla="*/ 6688873 w 7714416"/>
              <a:gd name="connsiteY12031" fmla="*/ 3811859 h 5282095"/>
              <a:gd name="connsiteX12032" fmla="*/ 6688015 w 7714416"/>
              <a:gd name="connsiteY12032" fmla="*/ 3811526 h 5282095"/>
              <a:gd name="connsiteX12033" fmla="*/ 6681998 w 7714416"/>
              <a:gd name="connsiteY12033" fmla="*/ 3813636 h 5282095"/>
              <a:gd name="connsiteX12034" fmla="*/ 6673978 w 7714416"/>
              <a:gd name="connsiteY12034" fmla="*/ 3814303 h 5282095"/>
              <a:gd name="connsiteX12035" fmla="*/ 6661946 w 7714416"/>
              <a:gd name="connsiteY12035" fmla="*/ 3812415 h 5282095"/>
              <a:gd name="connsiteX12036" fmla="*/ 6661373 w 7714416"/>
              <a:gd name="connsiteY12036" fmla="*/ 3814970 h 5282095"/>
              <a:gd name="connsiteX12037" fmla="*/ 6653352 w 7714416"/>
              <a:gd name="connsiteY12037" fmla="*/ 3809859 h 5282095"/>
              <a:gd name="connsiteX12038" fmla="*/ 6653638 w 7714416"/>
              <a:gd name="connsiteY12038" fmla="*/ 3809415 h 5282095"/>
              <a:gd name="connsiteX12039" fmla="*/ 6646764 w 7714416"/>
              <a:gd name="connsiteY12039" fmla="*/ 3805750 h 5282095"/>
              <a:gd name="connsiteX12040" fmla="*/ 6643612 w 7714416"/>
              <a:gd name="connsiteY12040" fmla="*/ 3813970 h 5282095"/>
              <a:gd name="connsiteX12041" fmla="*/ 6638456 w 7714416"/>
              <a:gd name="connsiteY12041" fmla="*/ 3822413 h 5282095"/>
              <a:gd name="connsiteX12042" fmla="*/ 6625565 w 7714416"/>
              <a:gd name="connsiteY12042" fmla="*/ 3834964 h 5282095"/>
              <a:gd name="connsiteX12043" fmla="*/ 6624992 w 7714416"/>
              <a:gd name="connsiteY12043" fmla="*/ 3835076 h 5282095"/>
              <a:gd name="connsiteX12044" fmla="*/ 6622128 w 7714416"/>
              <a:gd name="connsiteY12044" fmla="*/ 3837853 h 5282095"/>
              <a:gd name="connsiteX12045" fmla="*/ 6607804 w 7714416"/>
              <a:gd name="connsiteY12045" fmla="*/ 3837963 h 5282095"/>
              <a:gd name="connsiteX12046" fmla="*/ 6614106 w 7714416"/>
              <a:gd name="connsiteY12046" fmla="*/ 3831854 h 5282095"/>
              <a:gd name="connsiteX12047" fmla="*/ 6610382 w 7714416"/>
              <a:gd name="connsiteY12047" fmla="*/ 3829744 h 5282095"/>
              <a:gd name="connsiteX12048" fmla="*/ 6608090 w 7714416"/>
              <a:gd name="connsiteY12048" fmla="*/ 3819857 h 5282095"/>
              <a:gd name="connsiteX12049" fmla="*/ 6608665 w 7714416"/>
              <a:gd name="connsiteY12049" fmla="*/ 3818524 h 5282095"/>
              <a:gd name="connsiteX12050" fmla="*/ 6587752 w 7714416"/>
              <a:gd name="connsiteY12050" fmla="*/ 3818969 h 5282095"/>
              <a:gd name="connsiteX12051" fmla="*/ 6581736 w 7714416"/>
              <a:gd name="connsiteY12051" fmla="*/ 3819412 h 5282095"/>
              <a:gd name="connsiteX12052" fmla="*/ 6580876 w 7714416"/>
              <a:gd name="connsiteY12052" fmla="*/ 3820635 h 5282095"/>
              <a:gd name="connsiteX12053" fmla="*/ 6576293 w 7714416"/>
              <a:gd name="connsiteY12053" fmla="*/ 3824189 h 5282095"/>
              <a:gd name="connsiteX12054" fmla="*/ 6571423 w 7714416"/>
              <a:gd name="connsiteY12054" fmla="*/ 3820968 h 5282095"/>
              <a:gd name="connsiteX12055" fmla="*/ 6571137 w 7714416"/>
              <a:gd name="connsiteY12055" fmla="*/ 3820191 h 5282095"/>
              <a:gd name="connsiteX12056" fmla="*/ 6570278 w 7714416"/>
              <a:gd name="connsiteY12056" fmla="*/ 3820301 h 5282095"/>
              <a:gd name="connsiteX12057" fmla="*/ 6570850 w 7714416"/>
              <a:gd name="connsiteY12057" fmla="*/ 3819746 h 5282095"/>
              <a:gd name="connsiteX12058" fmla="*/ 6569991 w 7714416"/>
              <a:gd name="connsiteY12058" fmla="*/ 3818303 h 5282095"/>
              <a:gd name="connsiteX12059" fmla="*/ 6570564 w 7714416"/>
              <a:gd name="connsiteY12059" fmla="*/ 3814414 h 5282095"/>
              <a:gd name="connsiteX12060" fmla="*/ 6573142 w 7714416"/>
              <a:gd name="connsiteY12060" fmla="*/ 3812304 h 5282095"/>
              <a:gd name="connsiteX12061" fmla="*/ 6576293 w 7714416"/>
              <a:gd name="connsiteY12061" fmla="*/ 3809638 h 5282095"/>
              <a:gd name="connsiteX12062" fmla="*/ 6577152 w 7714416"/>
              <a:gd name="connsiteY12062" fmla="*/ 3809415 h 5282095"/>
              <a:gd name="connsiteX12063" fmla="*/ 6577726 w 7714416"/>
              <a:gd name="connsiteY12063" fmla="*/ 3807638 h 5282095"/>
              <a:gd name="connsiteX12064" fmla="*/ 6577726 w 7714416"/>
              <a:gd name="connsiteY12064" fmla="*/ 3794864 h 5282095"/>
              <a:gd name="connsiteX12065" fmla="*/ 6574288 w 7714416"/>
              <a:gd name="connsiteY12065" fmla="*/ 3794752 h 5282095"/>
              <a:gd name="connsiteX12066" fmla="*/ 6565694 w 7714416"/>
              <a:gd name="connsiteY12066" fmla="*/ 3792197 h 5282095"/>
              <a:gd name="connsiteX12067" fmla="*/ 6576006 w 7714416"/>
              <a:gd name="connsiteY12067" fmla="*/ 3783644 h 5282095"/>
              <a:gd name="connsiteX12068" fmla="*/ 6580017 w 7714416"/>
              <a:gd name="connsiteY12068" fmla="*/ 3783866 h 5282095"/>
              <a:gd name="connsiteX12069" fmla="*/ 6581163 w 7714416"/>
              <a:gd name="connsiteY12069" fmla="*/ 3781645 h 5282095"/>
              <a:gd name="connsiteX12070" fmla="*/ 6586033 w 7714416"/>
              <a:gd name="connsiteY12070" fmla="*/ 3776979 h 5282095"/>
              <a:gd name="connsiteX12071" fmla="*/ 6637024 w 7714416"/>
              <a:gd name="connsiteY12071" fmla="*/ 3775535 h 5282095"/>
              <a:gd name="connsiteX12072" fmla="*/ 6637596 w 7714416"/>
              <a:gd name="connsiteY12072" fmla="*/ 3776202 h 5282095"/>
              <a:gd name="connsiteX12073" fmla="*/ 6640461 w 7714416"/>
              <a:gd name="connsiteY12073" fmla="*/ 3773202 h 5282095"/>
              <a:gd name="connsiteX12074" fmla="*/ 6637024 w 7714416"/>
              <a:gd name="connsiteY12074" fmla="*/ 3772980 h 5282095"/>
              <a:gd name="connsiteX12075" fmla="*/ 6634446 w 7714416"/>
              <a:gd name="connsiteY12075" fmla="*/ 3765872 h 5282095"/>
              <a:gd name="connsiteX12076" fmla="*/ 6643898 w 7714416"/>
              <a:gd name="connsiteY12076" fmla="*/ 3765649 h 5282095"/>
              <a:gd name="connsiteX12077" fmla="*/ 6647623 w 7714416"/>
              <a:gd name="connsiteY12077" fmla="*/ 3767203 h 5282095"/>
              <a:gd name="connsiteX12078" fmla="*/ 6657363 w 7714416"/>
              <a:gd name="connsiteY12078" fmla="*/ 3763649 h 5282095"/>
              <a:gd name="connsiteX12079" fmla="*/ 6665670 w 7714416"/>
              <a:gd name="connsiteY12079" fmla="*/ 3763094 h 5282095"/>
              <a:gd name="connsiteX12080" fmla="*/ 6531891 w 7714416"/>
              <a:gd name="connsiteY12080" fmla="*/ 3762871 h 5282095"/>
              <a:gd name="connsiteX12081" fmla="*/ 6535615 w 7714416"/>
              <a:gd name="connsiteY12081" fmla="*/ 3766871 h 5282095"/>
              <a:gd name="connsiteX12082" fmla="*/ 6535615 w 7714416"/>
              <a:gd name="connsiteY12082" fmla="*/ 3767981 h 5282095"/>
              <a:gd name="connsiteX12083" fmla="*/ 6537334 w 7714416"/>
              <a:gd name="connsiteY12083" fmla="*/ 3766982 h 5282095"/>
              <a:gd name="connsiteX12084" fmla="*/ 6538766 w 7714416"/>
              <a:gd name="connsiteY12084" fmla="*/ 3763982 h 5282095"/>
              <a:gd name="connsiteX12085" fmla="*/ 6543350 w 7714416"/>
              <a:gd name="connsiteY12085" fmla="*/ 3763205 h 5282095"/>
              <a:gd name="connsiteX12086" fmla="*/ 6544782 w 7714416"/>
              <a:gd name="connsiteY12086" fmla="*/ 3763760 h 5282095"/>
              <a:gd name="connsiteX12087" fmla="*/ 6543922 w 7714416"/>
              <a:gd name="connsiteY12087" fmla="*/ 3766426 h 5282095"/>
              <a:gd name="connsiteX12088" fmla="*/ 6533037 w 7714416"/>
              <a:gd name="connsiteY12088" fmla="*/ 3775979 h 5282095"/>
              <a:gd name="connsiteX12089" fmla="*/ 6531032 w 7714416"/>
              <a:gd name="connsiteY12089" fmla="*/ 3777978 h 5282095"/>
              <a:gd name="connsiteX12090" fmla="*/ 6526448 w 7714416"/>
              <a:gd name="connsiteY12090" fmla="*/ 3778867 h 5282095"/>
              <a:gd name="connsiteX12091" fmla="*/ 6528167 w 7714416"/>
              <a:gd name="connsiteY12091" fmla="*/ 3773091 h 5282095"/>
              <a:gd name="connsiteX12092" fmla="*/ 6533610 w 7714416"/>
              <a:gd name="connsiteY12092" fmla="*/ 3769204 h 5282095"/>
              <a:gd name="connsiteX12093" fmla="*/ 6531891 w 7714416"/>
              <a:gd name="connsiteY12093" fmla="*/ 3767204 h 5282095"/>
              <a:gd name="connsiteX12094" fmla="*/ 6531891 w 7714416"/>
              <a:gd name="connsiteY12094" fmla="*/ 3762871 h 5282095"/>
              <a:gd name="connsiteX12095" fmla="*/ 6789422 w 7714416"/>
              <a:gd name="connsiteY12095" fmla="*/ 3762428 h 5282095"/>
              <a:gd name="connsiteX12096" fmla="*/ 6797444 w 7714416"/>
              <a:gd name="connsiteY12096" fmla="*/ 3770647 h 5282095"/>
              <a:gd name="connsiteX12097" fmla="*/ 6796585 w 7714416"/>
              <a:gd name="connsiteY12097" fmla="*/ 3772647 h 5282095"/>
              <a:gd name="connsiteX12098" fmla="*/ 6789422 w 7714416"/>
              <a:gd name="connsiteY12098" fmla="*/ 3762428 h 5282095"/>
              <a:gd name="connsiteX12099" fmla="*/ 6865336 w 7714416"/>
              <a:gd name="connsiteY12099" fmla="*/ 3761983 h 5282095"/>
              <a:gd name="connsiteX12100" fmla="*/ 6872498 w 7714416"/>
              <a:gd name="connsiteY12100" fmla="*/ 3762872 h 5282095"/>
              <a:gd name="connsiteX12101" fmla="*/ 6873357 w 7714416"/>
              <a:gd name="connsiteY12101" fmla="*/ 3766426 h 5282095"/>
              <a:gd name="connsiteX12102" fmla="*/ 6864476 w 7714416"/>
              <a:gd name="connsiteY12102" fmla="*/ 3765649 h 5282095"/>
              <a:gd name="connsiteX12103" fmla="*/ 6865336 w 7714416"/>
              <a:gd name="connsiteY12103" fmla="*/ 3761983 h 5282095"/>
              <a:gd name="connsiteX12104" fmla="*/ 6362877 w 7714416"/>
              <a:gd name="connsiteY12104" fmla="*/ 3761983 h 5282095"/>
              <a:gd name="connsiteX12105" fmla="*/ 6370898 w 7714416"/>
              <a:gd name="connsiteY12105" fmla="*/ 3764983 h 5282095"/>
              <a:gd name="connsiteX12106" fmla="*/ 6355142 w 7714416"/>
              <a:gd name="connsiteY12106" fmla="*/ 3766426 h 5282095"/>
              <a:gd name="connsiteX12107" fmla="*/ 6362877 w 7714416"/>
              <a:gd name="connsiteY12107" fmla="*/ 3761983 h 5282095"/>
              <a:gd name="connsiteX12108" fmla="*/ 6848434 w 7714416"/>
              <a:gd name="connsiteY12108" fmla="*/ 3761539 h 5282095"/>
              <a:gd name="connsiteX12109" fmla="*/ 6854164 w 7714416"/>
              <a:gd name="connsiteY12109" fmla="*/ 3762538 h 5282095"/>
              <a:gd name="connsiteX12110" fmla="*/ 6854164 w 7714416"/>
              <a:gd name="connsiteY12110" fmla="*/ 3763649 h 5282095"/>
              <a:gd name="connsiteX12111" fmla="*/ 6845570 w 7714416"/>
              <a:gd name="connsiteY12111" fmla="*/ 3763982 h 5282095"/>
              <a:gd name="connsiteX12112" fmla="*/ 6848434 w 7714416"/>
              <a:gd name="connsiteY12112" fmla="*/ 3761539 h 5282095"/>
              <a:gd name="connsiteX12113" fmla="*/ 6415586 w 7714416"/>
              <a:gd name="connsiteY12113" fmla="*/ 3761539 h 5282095"/>
              <a:gd name="connsiteX12114" fmla="*/ 6420170 w 7714416"/>
              <a:gd name="connsiteY12114" fmla="*/ 3761982 h 5282095"/>
              <a:gd name="connsiteX12115" fmla="*/ 6435352 w 7714416"/>
              <a:gd name="connsiteY12115" fmla="*/ 3768426 h 5282095"/>
              <a:gd name="connsiteX12116" fmla="*/ 6422748 w 7714416"/>
              <a:gd name="connsiteY12116" fmla="*/ 3776202 h 5282095"/>
              <a:gd name="connsiteX12117" fmla="*/ 6420743 w 7714416"/>
              <a:gd name="connsiteY12117" fmla="*/ 3775758 h 5282095"/>
              <a:gd name="connsiteX12118" fmla="*/ 6406134 w 7714416"/>
              <a:gd name="connsiteY12118" fmla="*/ 3766648 h 5282095"/>
              <a:gd name="connsiteX12119" fmla="*/ 6415586 w 7714416"/>
              <a:gd name="connsiteY12119" fmla="*/ 3761539 h 5282095"/>
              <a:gd name="connsiteX12120" fmla="*/ 7311074 w 7714416"/>
              <a:gd name="connsiteY12120" fmla="*/ 3760427 h 5282095"/>
              <a:gd name="connsiteX12121" fmla="*/ 7316230 w 7714416"/>
              <a:gd name="connsiteY12121" fmla="*/ 3762316 h 5282095"/>
              <a:gd name="connsiteX12122" fmla="*/ 7315658 w 7714416"/>
              <a:gd name="connsiteY12122" fmla="*/ 3766538 h 5282095"/>
              <a:gd name="connsiteX12123" fmla="*/ 7310502 w 7714416"/>
              <a:gd name="connsiteY12123" fmla="*/ 3770092 h 5282095"/>
              <a:gd name="connsiteX12124" fmla="*/ 7301334 w 7714416"/>
              <a:gd name="connsiteY12124" fmla="*/ 3763205 h 5282095"/>
              <a:gd name="connsiteX12125" fmla="*/ 7311074 w 7714416"/>
              <a:gd name="connsiteY12125" fmla="*/ 3760427 h 5282095"/>
              <a:gd name="connsiteX12126" fmla="*/ 6772808 w 7714416"/>
              <a:gd name="connsiteY12126" fmla="*/ 3759317 h 5282095"/>
              <a:gd name="connsiteX12127" fmla="*/ 6777964 w 7714416"/>
              <a:gd name="connsiteY12127" fmla="*/ 3759428 h 5282095"/>
              <a:gd name="connsiteX12128" fmla="*/ 6784265 w 7714416"/>
              <a:gd name="connsiteY12128" fmla="*/ 3762316 h 5282095"/>
              <a:gd name="connsiteX12129" fmla="*/ 6779396 w 7714416"/>
              <a:gd name="connsiteY12129" fmla="*/ 3769315 h 5282095"/>
              <a:gd name="connsiteX12130" fmla="*/ 6761636 w 7714416"/>
              <a:gd name="connsiteY12130" fmla="*/ 3767092 h 5282095"/>
              <a:gd name="connsiteX12131" fmla="*/ 6772808 w 7714416"/>
              <a:gd name="connsiteY12131" fmla="*/ 3759317 h 5282095"/>
              <a:gd name="connsiteX12132" fmla="*/ 6435926 w 7714416"/>
              <a:gd name="connsiteY12132" fmla="*/ 3757873 h 5282095"/>
              <a:gd name="connsiteX12133" fmla="*/ 6433920 w 7714416"/>
              <a:gd name="connsiteY12133" fmla="*/ 3758206 h 5282095"/>
              <a:gd name="connsiteX12134" fmla="*/ 6433348 w 7714416"/>
              <a:gd name="connsiteY12134" fmla="*/ 3759206 h 5282095"/>
              <a:gd name="connsiteX12135" fmla="*/ 6258890 w 7714416"/>
              <a:gd name="connsiteY12135" fmla="*/ 3755096 h 5282095"/>
              <a:gd name="connsiteX12136" fmla="*/ 6270923 w 7714416"/>
              <a:gd name="connsiteY12136" fmla="*/ 3782200 h 5282095"/>
              <a:gd name="connsiteX12137" fmla="*/ 6243994 w 7714416"/>
              <a:gd name="connsiteY12137" fmla="*/ 3760317 h 5282095"/>
              <a:gd name="connsiteX12138" fmla="*/ 6258890 w 7714416"/>
              <a:gd name="connsiteY12138" fmla="*/ 3755096 h 5282095"/>
              <a:gd name="connsiteX12139" fmla="*/ 7364930 w 7714416"/>
              <a:gd name="connsiteY12139" fmla="*/ 3752541 h 5282095"/>
              <a:gd name="connsiteX12140" fmla="*/ 7376102 w 7714416"/>
              <a:gd name="connsiteY12140" fmla="*/ 3757873 h 5282095"/>
              <a:gd name="connsiteX12141" fmla="*/ 7359773 w 7714416"/>
              <a:gd name="connsiteY12141" fmla="*/ 3754540 h 5282095"/>
              <a:gd name="connsiteX12142" fmla="*/ 7364930 w 7714416"/>
              <a:gd name="connsiteY12142" fmla="*/ 3752541 h 5282095"/>
              <a:gd name="connsiteX12143" fmla="*/ 6336522 w 7714416"/>
              <a:gd name="connsiteY12143" fmla="*/ 3750875 h 5282095"/>
              <a:gd name="connsiteX12144" fmla="*/ 6315038 w 7714416"/>
              <a:gd name="connsiteY12144" fmla="*/ 3780756 h 5282095"/>
              <a:gd name="connsiteX12145" fmla="*/ 6336522 w 7714416"/>
              <a:gd name="connsiteY12145" fmla="*/ 3750875 h 5282095"/>
              <a:gd name="connsiteX12146" fmla="*/ 6891690 w 7714416"/>
              <a:gd name="connsiteY12146" fmla="*/ 3749652 h 5282095"/>
              <a:gd name="connsiteX12147" fmla="*/ 6898566 w 7714416"/>
              <a:gd name="connsiteY12147" fmla="*/ 3750208 h 5282095"/>
              <a:gd name="connsiteX12148" fmla="*/ 6903436 w 7714416"/>
              <a:gd name="connsiteY12148" fmla="*/ 3759095 h 5282095"/>
              <a:gd name="connsiteX12149" fmla="*/ 6903149 w 7714416"/>
              <a:gd name="connsiteY12149" fmla="*/ 3759539 h 5282095"/>
              <a:gd name="connsiteX12150" fmla="*/ 6903436 w 7714416"/>
              <a:gd name="connsiteY12150" fmla="*/ 3759539 h 5282095"/>
              <a:gd name="connsiteX12151" fmla="*/ 6906300 w 7714416"/>
              <a:gd name="connsiteY12151" fmla="*/ 3763649 h 5282095"/>
              <a:gd name="connsiteX12152" fmla="*/ 6902576 w 7714416"/>
              <a:gd name="connsiteY12152" fmla="*/ 3767981 h 5282095"/>
              <a:gd name="connsiteX12153" fmla="*/ 6890258 w 7714416"/>
              <a:gd name="connsiteY12153" fmla="*/ 3771425 h 5282095"/>
              <a:gd name="connsiteX12154" fmla="*/ 6888253 w 7714416"/>
              <a:gd name="connsiteY12154" fmla="*/ 3766648 h 5282095"/>
              <a:gd name="connsiteX12155" fmla="*/ 6889685 w 7714416"/>
              <a:gd name="connsiteY12155" fmla="*/ 3763760 h 5282095"/>
              <a:gd name="connsiteX12156" fmla="*/ 6887107 w 7714416"/>
              <a:gd name="connsiteY12156" fmla="*/ 3763538 h 5282095"/>
              <a:gd name="connsiteX12157" fmla="*/ 6882810 w 7714416"/>
              <a:gd name="connsiteY12157" fmla="*/ 3749875 h 5282095"/>
              <a:gd name="connsiteX12158" fmla="*/ 6891690 w 7714416"/>
              <a:gd name="connsiteY12158" fmla="*/ 3749652 h 5282095"/>
              <a:gd name="connsiteX12159" fmla="*/ 6292694 w 7714416"/>
              <a:gd name="connsiteY12159" fmla="*/ 3748209 h 5282095"/>
              <a:gd name="connsiteX12160" fmla="*/ 6291834 w 7714416"/>
              <a:gd name="connsiteY12160" fmla="*/ 3752985 h 5282095"/>
              <a:gd name="connsiteX12161" fmla="*/ 6286678 w 7714416"/>
              <a:gd name="connsiteY12161" fmla="*/ 3754096 h 5282095"/>
              <a:gd name="connsiteX12162" fmla="*/ 6292694 w 7714416"/>
              <a:gd name="connsiteY12162" fmla="*/ 3748209 h 5282095"/>
              <a:gd name="connsiteX12163" fmla="*/ 7248052 w 7714416"/>
              <a:gd name="connsiteY12163" fmla="*/ 3747320 h 5282095"/>
              <a:gd name="connsiteX12164" fmla="*/ 7203364 w 7714416"/>
              <a:gd name="connsiteY12164" fmla="*/ 3771314 h 5282095"/>
              <a:gd name="connsiteX12165" fmla="*/ 7248052 w 7714416"/>
              <a:gd name="connsiteY12165" fmla="*/ 3747320 h 5282095"/>
              <a:gd name="connsiteX12166" fmla="*/ 6354856 w 7714416"/>
              <a:gd name="connsiteY12166" fmla="*/ 3746653 h 5282095"/>
              <a:gd name="connsiteX12167" fmla="*/ 6357721 w 7714416"/>
              <a:gd name="connsiteY12167" fmla="*/ 3747097 h 5282095"/>
              <a:gd name="connsiteX12168" fmla="*/ 6344830 w 7714416"/>
              <a:gd name="connsiteY12168" fmla="*/ 3752652 h 5282095"/>
              <a:gd name="connsiteX12169" fmla="*/ 6354856 w 7714416"/>
              <a:gd name="connsiteY12169" fmla="*/ 3746653 h 5282095"/>
              <a:gd name="connsiteX12170" fmla="*/ 6808903 w 7714416"/>
              <a:gd name="connsiteY12170" fmla="*/ 3746098 h 5282095"/>
              <a:gd name="connsiteX12171" fmla="*/ 6815204 w 7714416"/>
              <a:gd name="connsiteY12171" fmla="*/ 3748653 h 5282095"/>
              <a:gd name="connsiteX12172" fmla="*/ 6814345 w 7714416"/>
              <a:gd name="connsiteY12172" fmla="*/ 3751319 h 5282095"/>
              <a:gd name="connsiteX12173" fmla="*/ 6812912 w 7714416"/>
              <a:gd name="connsiteY12173" fmla="*/ 3754207 h 5282095"/>
              <a:gd name="connsiteX12174" fmla="*/ 6805178 w 7714416"/>
              <a:gd name="connsiteY12174" fmla="*/ 3758762 h 5282095"/>
              <a:gd name="connsiteX12175" fmla="*/ 6798016 w 7714416"/>
              <a:gd name="connsiteY12175" fmla="*/ 3758429 h 5282095"/>
              <a:gd name="connsiteX12176" fmla="*/ 6795152 w 7714416"/>
              <a:gd name="connsiteY12176" fmla="*/ 3757206 h 5282095"/>
              <a:gd name="connsiteX12177" fmla="*/ 6800881 w 7714416"/>
              <a:gd name="connsiteY12177" fmla="*/ 3746987 h 5282095"/>
              <a:gd name="connsiteX12178" fmla="*/ 6808903 w 7714416"/>
              <a:gd name="connsiteY12178" fmla="*/ 3746098 h 5282095"/>
              <a:gd name="connsiteX12179" fmla="*/ 6293266 w 7714416"/>
              <a:gd name="connsiteY12179" fmla="*/ 3744765 h 5282095"/>
              <a:gd name="connsiteX12180" fmla="*/ 6294412 w 7714416"/>
              <a:gd name="connsiteY12180" fmla="*/ 3745542 h 5282095"/>
              <a:gd name="connsiteX12181" fmla="*/ 6292980 w 7714416"/>
              <a:gd name="connsiteY12181" fmla="*/ 3747320 h 5282095"/>
              <a:gd name="connsiteX12182" fmla="*/ 6291548 w 7714416"/>
              <a:gd name="connsiteY12182" fmla="*/ 3747320 h 5282095"/>
              <a:gd name="connsiteX12183" fmla="*/ 6293266 w 7714416"/>
              <a:gd name="connsiteY12183" fmla="*/ 3744765 h 5282095"/>
              <a:gd name="connsiteX12184" fmla="*/ 6641607 w 7714416"/>
              <a:gd name="connsiteY12184" fmla="*/ 3741766 h 5282095"/>
              <a:gd name="connsiteX12185" fmla="*/ 6648196 w 7714416"/>
              <a:gd name="connsiteY12185" fmla="*/ 3744543 h 5282095"/>
              <a:gd name="connsiteX12186" fmla="*/ 6646191 w 7714416"/>
              <a:gd name="connsiteY12186" fmla="*/ 3756428 h 5282095"/>
              <a:gd name="connsiteX12187" fmla="*/ 6632154 w 7714416"/>
              <a:gd name="connsiteY12187" fmla="*/ 3742321 h 5282095"/>
              <a:gd name="connsiteX12188" fmla="*/ 6641607 w 7714416"/>
              <a:gd name="connsiteY12188" fmla="*/ 3741766 h 5282095"/>
              <a:gd name="connsiteX12189" fmla="*/ 7133753 w 7714416"/>
              <a:gd name="connsiteY12189" fmla="*/ 3741654 h 5282095"/>
              <a:gd name="connsiteX12190" fmla="*/ 7145212 w 7714416"/>
              <a:gd name="connsiteY12190" fmla="*/ 3745987 h 5282095"/>
              <a:gd name="connsiteX12191" fmla="*/ 7146930 w 7714416"/>
              <a:gd name="connsiteY12191" fmla="*/ 3751653 h 5282095"/>
              <a:gd name="connsiteX12192" fmla="*/ 7120862 w 7714416"/>
              <a:gd name="connsiteY12192" fmla="*/ 3745210 h 5282095"/>
              <a:gd name="connsiteX12193" fmla="*/ 7133753 w 7714416"/>
              <a:gd name="connsiteY12193" fmla="*/ 3741654 h 5282095"/>
              <a:gd name="connsiteX12194" fmla="*/ 6803746 w 7714416"/>
              <a:gd name="connsiteY12194" fmla="*/ 3740433 h 5282095"/>
              <a:gd name="connsiteX12195" fmla="*/ 6806038 w 7714416"/>
              <a:gd name="connsiteY12195" fmla="*/ 3741877 h 5282095"/>
              <a:gd name="connsiteX12196" fmla="*/ 6805178 w 7714416"/>
              <a:gd name="connsiteY12196" fmla="*/ 3743877 h 5282095"/>
              <a:gd name="connsiteX12197" fmla="*/ 6800881 w 7714416"/>
              <a:gd name="connsiteY12197" fmla="*/ 3745431 h 5282095"/>
              <a:gd name="connsiteX12198" fmla="*/ 6799736 w 7714416"/>
              <a:gd name="connsiteY12198" fmla="*/ 3740544 h 5282095"/>
              <a:gd name="connsiteX12199" fmla="*/ 6803746 w 7714416"/>
              <a:gd name="connsiteY12199" fmla="*/ 3740433 h 5282095"/>
              <a:gd name="connsiteX12200" fmla="*/ 7156670 w 7714416"/>
              <a:gd name="connsiteY12200" fmla="*/ 3739210 h 5282095"/>
              <a:gd name="connsiteX12201" fmla="*/ 7162112 w 7714416"/>
              <a:gd name="connsiteY12201" fmla="*/ 3746987 h 5282095"/>
              <a:gd name="connsiteX12202" fmla="*/ 7158962 w 7714416"/>
              <a:gd name="connsiteY12202" fmla="*/ 3749986 h 5282095"/>
              <a:gd name="connsiteX12203" fmla="*/ 7150368 w 7714416"/>
              <a:gd name="connsiteY12203" fmla="*/ 3750208 h 5282095"/>
              <a:gd name="connsiteX12204" fmla="*/ 7151514 w 7714416"/>
              <a:gd name="connsiteY12204" fmla="*/ 3739878 h 5282095"/>
              <a:gd name="connsiteX12205" fmla="*/ 7156670 w 7714416"/>
              <a:gd name="connsiteY12205" fmla="*/ 3739210 h 5282095"/>
              <a:gd name="connsiteX12206" fmla="*/ 6548506 w 7714416"/>
              <a:gd name="connsiteY12206" fmla="*/ 3737988 h 5282095"/>
              <a:gd name="connsiteX12207" fmla="*/ 6556527 w 7714416"/>
              <a:gd name="connsiteY12207" fmla="*/ 3742099 h 5282095"/>
              <a:gd name="connsiteX12208" fmla="*/ 6560824 w 7714416"/>
              <a:gd name="connsiteY12208" fmla="*/ 3748874 h 5282095"/>
              <a:gd name="connsiteX12209" fmla="*/ 6549938 w 7714416"/>
              <a:gd name="connsiteY12209" fmla="*/ 3749431 h 5282095"/>
              <a:gd name="connsiteX12210" fmla="*/ 6541344 w 7714416"/>
              <a:gd name="connsiteY12210" fmla="*/ 3740988 h 5282095"/>
              <a:gd name="connsiteX12211" fmla="*/ 6548506 w 7714416"/>
              <a:gd name="connsiteY12211" fmla="*/ 3737988 h 5282095"/>
              <a:gd name="connsiteX12212" fmla="*/ 6321340 w 7714416"/>
              <a:gd name="connsiteY12212" fmla="*/ 3736433 h 5282095"/>
              <a:gd name="connsiteX12213" fmla="*/ 6318475 w 7714416"/>
              <a:gd name="connsiteY12213" fmla="*/ 3738989 h 5282095"/>
              <a:gd name="connsiteX12214" fmla="*/ 6319048 w 7714416"/>
              <a:gd name="connsiteY12214" fmla="*/ 3741321 h 5282095"/>
              <a:gd name="connsiteX12215" fmla="*/ 6314178 w 7714416"/>
              <a:gd name="connsiteY12215" fmla="*/ 3742766 h 5282095"/>
              <a:gd name="connsiteX12216" fmla="*/ 6321340 w 7714416"/>
              <a:gd name="connsiteY12216" fmla="*/ 3736433 h 5282095"/>
              <a:gd name="connsiteX12217" fmla="*/ 7224848 w 7714416"/>
              <a:gd name="connsiteY12217" fmla="*/ 3736101 h 5282095"/>
              <a:gd name="connsiteX12218" fmla="*/ 7228286 w 7714416"/>
              <a:gd name="connsiteY12218" fmla="*/ 3736545 h 5282095"/>
              <a:gd name="connsiteX12219" fmla="*/ 7230005 w 7714416"/>
              <a:gd name="connsiteY12219" fmla="*/ 3738989 h 5282095"/>
              <a:gd name="connsiteX12220" fmla="*/ 7230292 w 7714416"/>
              <a:gd name="connsiteY12220" fmla="*/ 3743655 h 5282095"/>
              <a:gd name="connsiteX12221" fmla="*/ 7227140 w 7714416"/>
              <a:gd name="connsiteY12221" fmla="*/ 3745987 h 5282095"/>
              <a:gd name="connsiteX12222" fmla="*/ 7223702 w 7714416"/>
              <a:gd name="connsiteY12222" fmla="*/ 3744654 h 5282095"/>
              <a:gd name="connsiteX12223" fmla="*/ 7220265 w 7714416"/>
              <a:gd name="connsiteY12223" fmla="*/ 3744543 h 5282095"/>
              <a:gd name="connsiteX12224" fmla="*/ 7220265 w 7714416"/>
              <a:gd name="connsiteY12224" fmla="*/ 3743321 h 5282095"/>
              <a:gd name="connsiteX12225" fmla="*/ 7218546 w 7714416"/>
              <a:gd name="connsiteY12225" fmla="*/ 3742099 h 5282095"/>
              <a:gd name="connsiteX12226" fmla="*/ 7221411 w 7714416"/>
              <a:gd name="connsiteY12226" fmla="*/ 3737545 h 5282095"/>
              <a:gd name="connsiteX12227" fmla="*/ 7224848 w 7714416"/>
              <a:gd name="connsiteY12227" fmla="*/ 3736101 h 5282095"/>
              <a:gd name="connsiteX12228" fmla="*/ 6811194 w 7714416"/>
              <a:gd name="connsiteY12228" fmla="*/ 3735990 h 5282095"/>
              <a:gd name="connsiteX12229" fmla="*/ 6817496 w 7714416"/>
              <a:gd name="connsiteY12229" fmla="*/ 3739878 h 5282095"/>
              <a:gd name="connsiteX12230" fmla="*/ 6808616 w 7714416"/>
              <a:gd name="connsiteY12230" fmla="*/ 3743320 h 5282095"/>
              <a:gd name="connsiteX12231" fmla="*/ 6811194 w 7714416"/>
              <a:gd name="connsiteY12231" fmla="*/ 3735990 h 5282095"/>
              <a:gd name="connsiteX12232" fmla="*/ 6704056 w 7714416"/>
              <a:gd name="connsiteY12232" fmla="*/ 3731102 h 5282095"/>
              <a:gd name="connsiteX12233" fmla="*/ 6705775 w 7714416"/>
              <a:gd name="connsiteY12233" fmla="*/ 3733213 h 5282095"/>
              <a:gd name="connsiteX12234" fmla="*/ 6708640 w 7714416"/>
              <a:gd name="connsiteY12234" fmla="*/ 3740432 h 5282095"/>
              <a:gd name="connsiteX12235" fmla="*/ 6703484 w 7714416"/>
              <a:gd name="connsiteY12235" fmla="*/ 3739654 h 5282095"/>
              <a:gd name="connsiteX12236" fmla="*/ 6702910 w 7714416"/>
              <a:gd name="connsiteY12236" fmla="*/ 3736434 h 5282095"/>
              <a:gd name="connsiteX12237" fmla="*/ 6700905 w 7714416"/>
              <a:gd name="connsiteY12237" fmla="*/ 3734212 h 5282095"/>
              <a:gd name="connsiteX12238" fmla="*/ 6704056 w 7714416"/>
              <a:gd name="connsiteY12238" fmla="*/ 3731102 h 5282095"/>
              <a:gd name="connsiteX12239" fmla="*/ 6665670 w 7714416"/>
              <a:gd name="connsiteY12239" fmla="*/ 3730658 h 5282095"/>
              <a:gd name="connsiteX12240" fmla="*/ 6669108 w 7714416"/>
              <a:gd name="connsiteY12240" fmla="*/ 3741433 h 5282095"/>
              <a:gd name="connsiteX12241" fmla="*/ 6666243 w 7714416"/>
              <a:gd name="connsiteY12241" fmla="*/ 3743654 h 5282095"/>
              <a:gd name="connsiteX12242" fmla="*/ 6662232 w 7714416"/>
              <a:gd name="connsiteY12242" fmla="*/ 3741988 h 5282095"/>
              <a:gd name="connsiteX12243" fmla="*/ 6665670 w 7714416"/>
              <a:gd name="connsiteY12243" fmla="*/ 3730658 h 5282095"/>
              <a:gd name="connsiteX12244" fmla="*/ 6558246 w 7714416"/>
              <a:gd name="connsiteY12244" fmla="*/ 3726992 h 5282095"/>
              <a:gd name="connsiteX12245" fmla="*/ 6567412 w 7714416"/>
              <a:gd name="connsiteY12245" fmla="*/ 3730546 h 5282095"/>
              <a:gd name="connsiteX12246" fmla="*/ 6574002 w 7714416"/>
              <a:gd name="connsiteY12246" fmla="*/ 3735545 h 5282095"/>
              <a:gd name="connsiteX12247" fmla="*/ 6576581 w 7714416"/>
              <a:gd name="connsiteY12247" fmla="*/ 3730546 h 5282095"/>
              <a:gd name="connsiteX12248" fmla="*/ 6583455 w 7714416"/>
              <a:gd name="connsiteY12248" fmla="*/ 3728658 h 5282095"/>
              <a:gd name="connsiteX12249" fmla="*/ 6579730 w 7714416"/>
              <a:gd name="connsiteY12249" fmla="*/ 3733546 h 5282095"/>
              <a:gd name="connsiteX12250" fmla="*/ 6574574 w 7714416"/>
              <a:gd name="connsiteY12250" fmla="*/ 3735878 h 5282095"/>
              <a:gd name="connsiteX12251" fmla="*/ 6575148 w 7714416"/>
              <a:gd name="connsiteY12251" fmla="*/ 3736434 h 5282095"/>
              <a:gd name="connsiteX12252" fmla="*/ 6578585 w 7714416"/>
              <a:gd name="connsiteY12252" fmla="*/ 3743210 h 5282095"/>
              <a:gd name="connsiteX12253" fmla="*/ 6576580 w 7714416"/>
              <a:gd name="connsiteY12253" fmla="*/ 3746876 h 5282095"/>
              <a:gd name="connsiteX12254" fmla="*/ 6579730 w 7714416"/>
              <a:gd name="connsiteY12254" fmla="*/ 3747765 h 5282095"/>
              <a:gd name="connsiteX12255" fmla="*/ 6570564 w 7714416"/>
              <a:gd name="connsiteY12255" fmla="*/ 3767871 h 5282095"/>
              <a:gd name="connsiteX12256" fmla="*/ 6567986 w 7714416"/>
              <a:gd name="connsiteY12256" fmla="*/ 3747098 h 5282095"/>
              <a:gd name="connsiteX12257" fmla="*/ 6572282 w 7714416"/>
              <a:gd name="connsiteY12257" fmla="*/ 3746543 h 5282095"/>
              <a:gd name="connsiteX12258" fmla="*/ 6565121 w 7714416"/>
              <a:gd name="connsiteY12258" fmla="*/ 3738655 h 5282095"/>
              <a:gd name="connsiteX12259" fmla="*/ 6558246 w 7714416"/>
              <a:gd name="connsiteY12259" fmla="*/ 3726992 h 5282095"/>
              <a:gd name="connsiteX12260" fmla="*/ 7158388 w 7714416"/>
              <a:gd name="connsiteY12260" fmla="*/ 3726325 h 5282095"/>
              <a:gd name="connsiteX12261" fmla="*/ 7172426 w 7714416"/>
              <a:gd name="connsiteY12261" fmla="*/ 3730657 h 5282095"/>
              <a:gd name="connsiteX12262" fmla="*/ 7158388 w 7714416"/>
              <a:gd name="connsiteY12262" fmla="*/ 3726325 h 5282095"/>
              <a:gd name="connsiteX12263" fmla="*/ 6809475 w 7714416"/>
              <a:gd name="connsiteY12263" fmla="*/ 3726103 h 5282095"/>
              <a:gd name="connsiteX12264" fmla="*/ 6817496 w 7714416"/>
              <a:gd name="connsiteY12264" fmla="*/ 3729547 h 5282095"/>
              <a:gd name="connsiteX12265" fmla="*/ 6816923 w 7714416"/>
              <a:gd name="connsiteY12265" fmla="*/ 3732212 h 5282095"/>
              <a:gd name="connsiteX12266" fmla="*/ 6804032 w 7714416"/>
              <a:gd name="connsiteY12266" fmla="*/ 3729547 h 5282095"/>
              <a:gd name="connsiteX12267" fmla="*/ 6804892 w 7714416"/>
              <a:gd name="connsiteY12267" fmla="*/ 3726992 h 5282095"/>
              <a:gd name="connsiteX12268" fmla="*/ 6809475 w 7714416"/>
              <a:gd name="connsiteY12268" fmla="*/ 3726103 h 5282095"/>
              <a:gd name="connsiteX12269" fmla="*/ 6593768 w 7714416"/>
              <a:gd name="connsiteY12269" fmla="*/ 3726103 h 5282095"/>
              <a:gd name="connsiteX12270" fmla="*/ 6601502 w 7714416"/>
              <a:gd name="connsiteY12270" fmla="*/ 3730657 h 5282095"/>
              <a:gd name="connsiteX12271" fmla="*/ 6594340 w 7714416"/>
              <a:gd name="connsiteY12271" fmla="*/ 3737767 h 5282095"/>
              <a:gd name="connsiteX12272" fmla="*/ 6590044 w 7714416"/>
              <a:gd name="connsiteY12272" fmla="*/ 3731657 h 5282095"/>
              <a:gd name="connsiteX12273" fmla="*/ 6591190 w 7714416"/>
              <a:gd name="connsiteY12273" fmla="*/ 3730214 h 5282095"/>
              <a:gd name="connsiteX12274" fmla="*/ 6591763 w 7714416"/>
              <a:gd name="connsiteY12274" fmla="*/ 3729102 h 5282095"/>
              <a:gd name="connsiteX12275" fmla="*/ 6591762 w 7714416"/>
              <a:gd name="connsiteY12275" fmla="*/ 3728991 h 5282095"/>
              <a:gd name="connsiteX12276" fmla="*/ 6852731 w 7714416"/>
              <a:gd name="connsiteY12276" fmla="*/ 3724214 h 5282095"/>
              <a:gd name="connsiteX12277" fmla="*/ 6854450 w 7714416"/>
              <a:gd name="connsiteY12277" fmla="*/ 3725104 h 5282095"/>
              <a:gd name="connsiteX12278" fmla="*/ 6851299 w 7714416"/>
              <a:gd name="connsiteY12278" fmla="*/ 3724992 h 5282095"/>
              <a:gd name="connsiteX12279" fmla="*/ 6852731 w 7714416"/>
              <a:gd name="connsiteY12279" fmla="*/ 3724214 h 5282095"/>
              <a:gd name="connsiteX12280" fmla="*/ 6790568 w 7714416"/>
              <a:gd name="connsiteY12280" fmla="*/ 3722993 h 5282095"/>
              <a:gd name="connsiteX12281" fmla="*/ 6795725 w 7714416"/>
              <a:gd name="connsiteY12281" fmla="*/ 3724993 h 5282095"/>
              <a:gd name="connsiteX12282" fmla="*/ 6796012 w 7714416"/>
              <a:gd name="connsiteY12282" fmla="*/ 3730214 h 5282095"/>
              <a:gd name="connsiteX12283" fmla="*/ 6788563 w 7714416"/>
              <a:gd name="connsiteY12283" fmla="*/ 3738655 h 5282095"/>
              <a:gd name="connsiteX12284" fmla="*/ 6781402 w 7714416"/>
              <a:gd name="connsiteY12284" fmla="*/ 3729436 h 5282095"/>
              <a:gd name="connsiteX12285" fmla="*/ 6783694 w 7714416"/>
              <a:gd name="connsiteY12285" fmla="*/ 3727104 h 5282095"/>
              <a:gd name="connsiteX12286" fmla="*/ 6790568 w 7714416"/>
              <a:gd name="connsiteY12286" fmla="*/ 3722993 h 5282095"/>
              <a:gd name="connsiteX12287" fmla="*/ 6328215 w 7714416"/>
              <a:gd name="connsiteY12287" fmla="*/ 3721993 h 5282095"/>
              <a:gd name="connsiteX12288" fmla="*/ 6330506 w 7714416"/>
              <a:gd name="connsiteY12288" fmla="*/ 3725437 h 5282095"/>
              <a:gd name="connsiteX12289" fmla="*/ 6326210 w 7714416"/>
              <a:gd name="connsiteY12289" fmla="*/ 3727881 h 5282095"/>
              <a:gd name="connsiteX12290" fmla="*/ 6325350 w 7714416"/>
              <a:gd name="connsiteY12290" fmla="*/ 3732768 h 5282095"/>
              <a:gd name="connsiteX12291" fmla="*/ 6320767 w 7714416"/>
              <a:gd name="connsiteY12291" fmla="*/ 3735213 h 5282095"/>
              <a:gd name="connsiteX12292" fmla="*/ 6320480 w 7714416"/>
              <a:gd name="connsiteY12292" fmla="*/ 3733990 h 5282095"/>
              <a:gd name="connsiteX12293" fmla="*/ 6323345 w 7714416"/>
              <a:gd name="connsiteY12293" fmla="*/ 3731546 h 5282095"/>
              <a:gd name="connsiteX12294" fmla="*/ 6325064 w 7714416"/>
              <a:gd name="connsiteY12294" fmla="*/ 3723326 h 5282095"/>
              <a:gd name="connsiteX12295" fmla="*/ 6328215 w 7714416"/>
              <a:gd name="connsiteY12295" fmla="*/ 3721993 h 5282095"/>
              <a:gd name="connsiteX12296" fmla="*/ 6932082 w 7714416"/>
              <a:gd name="connsiteY12296" fmla="*/ 3719327 h 5282095"/>
              <a:gd name="connsiteX12297" fmla="*/ 6939244 w 7714416"/>
              <a:gd name="connsiteY12297" fmla="*/ 3723770 h 5282095"/>
              <a:gd name="connsiteX12298" fmla="*/ 6938670 w 7714416"/>
              <a:gd name="connsiteY12298" fmla="*/ 3728102 h 5282095"/>
              <a:gd name="connsiteX12299" fmla="*/ 6933228 w 7714416"/>
              <a:gd name="connsiteY12299" fmla="*/ 3730102 h 5282095"/>
              <a:gd name="connsiteX12300" fmla="*/ 6926926 w 7714416"/>
              <a:gd name="connsiteY12300" fmla="*/ 3728770 h 5282095"/>
              <a:gd name="connsiteX12301" fmla="*/ 6932082 w 7714416"/>
              <a:gd name="connsiteY12301" fmla="*/ 3719327 h 5282095"/>
              <a:gd name="connsiteX12302" fmla="*/ 6575434 w 7714416"/>
              <a:gd name="connsiteY12302" fmla="*/ 3713218 h 5282095"/>
              <a:gd name="connsiteX12303" fmla="*/ 6577726 w 7714416"/>
              <a:gd name="connsiteY12303" fmla="*/ 3715217 h 5282095"/>
              <a:gd name="connsiteX12304" fmla="*/ 6578585 w 7714416"/>
              <a:gd name="connsiteY12304" fmla="*/ 3714883 h 5282095"/>
              <a:gd name="connsiteX12305" fmla="*/ 6576581 w 7714416"/>
              <a:gd name="connsiteY12305" fmla="*/ 3713218 h 5282095"/>
              <a:gd name="connsiteX12306" fmla="*/ 7056980 w 7714416"/>
              <a:gd name="connsiteY12306" fmla="*/ 3711330 h 5282095"/>
              <a:gd name="connsiteX12307" fmla="*/ 7060704 w 7714416"/>
              <a:gd name="connsiteY12307" fmla="*/ 3716106 h 5282095"/>
              <a:gd name="connsiteX12308" fmla="*/ 7050678 w 7714416"/>
              <a:gd name="connsiteY12308" fmla="*/ 3718105 h 5282095"/>
              <a:gd name="connsiteX12309" fmla="*/ 7046955 w 7714416"/>
              <a:gd name="connsiteY12309" fmla="*/ 3713328 h 5282095"/>
              <a:gd name="connsiteX12310" fmla="*/ 7056980 w 7714416"/>
              <a:gd name="connsiteY12310" fmla="*/ 3711330 h 5282095"/>
              <a:gd name="connsiteX12311" fmla="*/ 7247766 w 7714416"/>
              <a:gd name="connsiteY12311" fmla="*/ 3710774 h 5282095"/>
              <a:gd name="connsiteX12312" fmla="*/ 7264094 w 7714416"/>
              <a:gd name="connsiteY12312" fmla="*/ 3714440 h 5282095"/>
              <a:gd name="connsiteX12313" fmla="*/ 7267245 w 7714416"/>
              <a:gd name="connsiteY12313" fmla="*/ 3715661 h 5282095"/>
              <a:gd name="connsiteX12314" fmla="*/ 7270969 w 7714416"/>
              <a:gd name="connsiteY12314" fmla="*/ 3716994 h 5282095"/>
              <a:gd name="connsiteX12315" fmla="*/ 7272974 w 7714416"/>
              <a:gd name="connsiteY12315" fmla="*/ 3721771 h 5282095"/>
              <a:gd name="connsiteX12316" fmla="*/ 7241750 w 7714416"/>
              <a:gd name="connsiteY12316" fmla="*/ 3713662 h 5282095"/>
              <a:gd name="connsiteX12317" fmla="*/ 7243182 w 7714416"/>
              <a:gd name="connsiteY12317" fmla="*/ 3711329 h 5282095"/>
              <a:gd name="connsiteX12318" fmla="*/ 7247766 w 7714416"/>
              <a:gd name="connsiteY12318" fmla="*/ 3710774 h 5282095"/>
              <a:gd name="connsiteX12319" fmla="*/ 6777965 w 7714416"/>
              <a:gd name="connsiteY12319" fmla="*/ 3709218 h 5282095"/>
              <a:gd name="connsiteX12320" fmla="*/ 6720671 w 7714416"/>
              <a:gd name="connsiteY12320" fmla="*/ 3751430 h 5282095"/>
              <a:gd name="connsiteX12321" fmla="*/ 6719239 w 7714416"/>
              <a:gd name="connsiteY12321" fmla="*/ 3750097 h 5282095"/>
              <a:gd name="connsiteX12322" fmla="*/ 6719526 w 7714416"/>
              <a:gd name="connsiteY12322" fmla="*/ 3753430 h 5282095"/>
              <a:gd name="connsiteX12323" fmla="*/ 6717806 w 7714416"/>
              <a:gd name="connsiteY12323" fmla="*/ 3758317 h 5282095"/>
              <a:gd name="connsiteX12324" fmla="*/ 6714656 w 7714416"/>
              <a:gd name="connsiteY12324" fmla="*/ 3760316 h 5282095"/>
              <a:gd name="connsiteX12325" fmla="*/ 6708640 w 7714416"/>
              <a:gd name="connsiteY12325" fmla="*/ 3756318 h 5282095"/>
              <a:gd name="connsiteX12326" fmla="*/ 6713223 w 7714416"/>
              <a:gd name="connsiteY12326" fmla="*/ 3745432 h 5282095"/>
              <a:gd name="connsiteX12327" fmla="*/ 6715228 w 7714416"/>
              <a:gd name="connsiteY12327" fmla="*/ 3746543 h 5282095"/>
              <a:gd name="connsiteX12328" fmla="*/ 6710073 w 7714416"/>
              <a:gd name="connsiteY12328" fmla="*/ 3740100 h 5282095"/>
              <a:gd name="connsiteX12329" fmla="*/ 6718093 w 7714416"/>
              <a:gd name="connsiteY12329" fmla="*/ 3736434 h 5282095"/>
              <a:gd name="connsiteX12330" fmla="*/ 6716947 w 7714416"/>
              <a:gd name="connsiteY12330" fmla="*/ 3735323 h 5282095"/>
              <a:gd name="connsiteX12331" fmla="*/ 6718380 w 7714416"/>
              <a:gd name="connsiteY12331" fmla="*/ 3731768 h 5282095"/>
              <a:gd name="connsiteX12332" fmla="*/ 6722676 w 7714416"/>
              <a:gd name="connsiteY12332" fmla="*/ 3733546 h 5282095"/>
              <a:gd name="connsiteX12333" fmla="*/ 6722676 w 7714416"/>
              <a:gd name="connsiteY12333" fmla="*/ 3734212 h 5282095"/>
              <a:gd name="connsiteX12334" fmla="*/ 6743016 w 7714416"/>
              <a:gd name="connsiteY12334" fmla="*/ 3724992 h 5282095"/>
              <a:gd name="connsiteX12335" fmla="*/ 6742729 w 7714416"/>
              <a:gd name="connsiteY12335" fmla="*/ 3724325 h 5282095"/>
              <a:gd name="connsiteX12336" fmla="*/ 6755047 w 7714416"/>
              <a:gd name="connsiteY12336" fmla="*/ 3715550 h 5282095"/>
              <a:gd name="connsiteX12337" fmla="*/ 6757339 w 7714416"/>
              <a:gd name="connsiteY12337" fmla="*/ 3718438 h 5282095"/>
              <a:gd name="connsiteX12338" fmla="*/ 6615538 w 7714416"/>
              <a:gd name="connsiteY12338" fmla="*/ 3709218 h 5282095"/>
              <a:gd name="connsiteX12339" fmla="*/ 6625565 w 7714416"/>
              <a:gd name="connsiteY12339" fmla="*/ 3725659 h 5282095"/>
              <a:gd name="connsiteX12340" fmla="*/ 6606372 w 7714416"/>
              <a:gd name="connsiteY12340" fmla="*/ 3714440 h 5282095"/>
              <a:gd name="connsiteX12341" fmla="*/ 6615538 w 7714416"/>
              <a:gd name="connsiteY12341" fmla="*/ 3709218 h 5282095"/>
              <a:gd name="connsiteX12342" fmla="*/ 6887107 w 7714416"/>
              <a:gd name="connsiteY12342" fmla="*/ 3708885 h 5282095"/>
              <a:gd name="connsiteX12343" fmla="*/ 6893409 w 7714416"/>
              <a:gd name="connsiteY12343" fmla="*/ 3709219 h 5282095"/>
              <a:gd name="connsiteX12344" fmla="*/ 6913462 w 7714416"/>
              <a:gd name="connsiteY12344" fmla="*/ 3721437 h 5282095"/>
              <a:gd name="connsiteX12345" fmla="*/ 6899998 w 7714416"/>
              <a:gd name="connsiteY12345" fmla="*/ 3747764 h 5282095"/>
              <a:gd name="connsiteX12346" fmla="*/ 6869632 w 7714416"/>
              <a:gd name="connsiteY12346" fmla="*/ 3717661 h 5282095"/>
              <a:gd name="connsiteX12347" fmla="*/ 6887107 w 7714416"/>
              <a:gd name="connsiteY12347" fmla="*/ 3708885 h 5282095"/>
              <a:gd name="connsiteX12348" fmla="*/ 6564548 w 7714416"/>
              <a:gd name="connsiteY12348" fmla="*/ 3707775 h 5282095"/>
              <a:gd name="connsiteX12349" fmla="*/ 6571710 w 7714416"/>
              <a:gd name="connsiteY12349" fmla="*/ 3710774 h 5282095"/>
              <a:gd name="connsiteX12350" fmla="*/ 6571710 w 7714416"/>
              <a:gd name="connsiteY12350" fmla="*/ 3709219 h 5282095"/>
              <a:gd name="connsiteX12351" fmla="*/ 6577152 w 7714416"/>
              <a:gd name="connsiteY12351" fmla="*/ 3712773 h 5282095"/>
              <a:gd name="connsiteX12352" fmla="*/ 6579444 w 7714416"/>
              <a:gd name="connsiteY12352" fmla="*/ 3714662 h 5282095"/>
              <a:gd name="connsiteX12353" fmla="*/ 6580876 w 7714416"/>
              <a:gd name="connsiteY12353" fmla="*/ 3714217 h 5282095"/>
              <a:gd name="connsiteX12354" fmla="*/ 6586606 w 7714416"/>
              <a:gd name="connsiteY12354" fmla="*/ 3716217 h 5282095"/>
              <a:gd name="connsiteX12355" fmla="*/ 6586033 w 7714416"/>
              <a:gd name="connsiteY12355" fmla="*/ 3718438 h 5282095"/>
              <a:gd name="connsiteX12356" fmla="*/ 6586320 w 7714416"/>
              <a:gd name="connsiteY12356" fmla="*/ 3718994 h 5282095"/>
              <a:gd name="connsiteX12357" fmla="*/ 6597778 w 7714416"/>
              <a:gd name="connsiteY12357" fmla="*/ 3722549 h 5282095"/>
              <a:gd name="connsiteX12358" fmla="*/ 6599210 w 7714416"/>
              <a:gd name="connsiteY12358" fmla="*/ 3725104 h 5282095"/>
              <a:gd name="connsiteX12359" fmla="*/ 6594340 w 7714416"/>
              <a:gd name="connsiteY12359" fmla="*/ 3725770 h 5282095"/>
              <a:gd name="connsiteX12360" fmla="*/ 6591190 w 7714416"/>
              <a:gd name="connsiteY12360" fmla="*/ 3721882 h 5282095"/>
              <a:gd name="connsiteX12361" fmla="*/ 6584600 w 7714416"/>
              <a:gd name="connsiteY12361" fmla="*/ 3719993 h 5282095"/>
              <a:gd name="connsiteX12362" fmla="*/ 6584314 w 7714416"/>
              <a:gd name="connsiteY12362" fmla="*/ 3719771 h 5282095"/>
              <a:gd name="connsiteX12363" fmla="*/ 6580590 w 7714416"/>
              <a:gd name="connsiteY12363" fmla="*/ 3719105 h 5282095"/>
              <a:gd name="connsiteX12364" fmla="*/ 6581163 w 7714416"/>
              <a:gd name="connsiteY12364" fmla="*/ 3719993 h 5282095"/>
              <a:gd name="connsiteX12365" fmla="*/ 6566267 w 7714416"/>
              <a:gd name="connsiteY12365" fmla="*/ 3723771 h 5282095"/>
              <a:gd name="connsiteX12366" fmla="*/ 6558246 w 7714416"/>
              <a:gd name="connsiteY12366" fmla="*/ 3719993 h 5282095"/>
              <a:gd name="connsiteX12367" fmla="*/ 6555954 w 7714416"/>
              <a:gd name="connsiteY12367" fmla="*/ 3709330 h 5282095"/>
              <a:gd name="connsiteX12368" fmla="*/ 6564548 w 7714416"/>
              <a:gd name="connsiteY12368" fmla="*/ 3707775 h 5282095"/>
              <a:gd name="connsiteX12369" fmla="*/ 6934660 w 7714416"/>
              <a:gd name="connsiteY12369" fmla="*/ 3707552 h 5282095"/>
              <a:gd name="connsiteX12370" fmla="*/ 6944973 w 7714416"/>
              <a:gd name="connsiteY12370" fmla="*/ 3711440 h 5282095"/>
              <a:gd name="connsiteX12371" fmla="*/ 6952421 w 7714416"/>
              <a:gd name="connsiteY12371" fmla="*/ 3722215 h 5282095"/>
              <a:gd name="connsiteX12372" fmla="*/ 6933514 w 7714416"/>
              <a:gd name="connsiteY12372" fmla="*/ 3715661 h 5282095"/>
              <a:gd name="connsiteX12373" fmla="*/ 6929790 w 7714416"/>
              <a:gd name="connsiteY12373" fmla="*/ 3708663 h 5282095"/>
              <a:gd name="connsiteX12374" fmla="*/ 6934660 w 7714416"/>
              <a:gd name="connsiteY12374" fmla="*/ 3707552 h 5282095"/>
              <a:gd name="connsiteX12375" fmla="*/ 6794292 w 7714416"/>
              <a:gd name="connsiteY12375" fmla="*/ 3706996 h 5282095"/>
              <a:gd name="connsiteX12376" fmla="*/ 6801454 w 7714416"/>
              <a:gd name="connsiteY12376" fmla="*/ 3712107 h 5282095"/>
              <a:gd name="connsiteX12377" fmla="*/ 6806610 w 7714416"/>
              <a:gd name="connsiteY12377" fmla="*/ 3712440 h 5282095"/>
              <a:gd name="connsiteX12378" fmla="*/ 6791428 w 7714416"/>
              <a:gd name="connsiteY12378" fmla="*/ 3720660 h 5282095"/>
              <a:gd name="connsiteX12379" fmla="*/ 6789422 w 7714416"/>
              <a:gd name="connsiteY12379" fmla="*/ 3720438 h 5282095"/>
              <a:gd name="connsiteX12380" fmla="*/ 6785126 w 7714416"/>
              <a:gd name="connsiteY12380" fmla="*/ 3721771 h 5282095"/>
              <a:gd name="connsiteX12381" fmla="*/ 6779970 w 7714416"/>
              <a:gd name="connsiteY12381" fmla="*/ 3718438 h 5282095"/>
              <a:gd name="connsiteX12382" fmla="*/ 6794292 w 7714416"/>
              <a:gd name="connsiteY12382" fmla="*/ 3706996 h 5282095"/>
              <a:gd name="connsiteX12383" fmla="*/ 6993672 w 7714416"/>
              <a:gd name="connsiteY12383" fmla="*/ 3701109 h 5282095"/>
              <a:gd name="connsiteX12384" fmla="*/ 7012578 w 7714416"/>
              <a:gd name="connsiteY12384" fmla="*/ 3708996 h 5282095"/>
              <a:gd name="connsiteX12385" fmla="*/ 6988802 w 7714416"/>
              <a:gd name="connsiteY12385" fmla="*/ 3701332 h 5282095"/>
              <a:gd name="connsiteX12386" fmla="*/ 6993672 w 7714416"/>
              <a:gd name="connsiteY12386" fmla="*/ 3701109 h 5282095"/>
              <a:gd name="connsiteX12387" fmla="*/ 6589184 w 7714416"/>
              <a:gd name="connsiteY12387" fmla="*/ 3699331 h 5282095"/>
              <a:gd name="connsiteX12388" fmla="*/ 6590904 w 7714416"/>
              <a:gd name="connsiteY12388" fmla="*/ 3701553 h 5282095"/>
              <a:gd name="connsiteX12389" fmla="*/ 6590044 w 7714416"/>
              <a:gd name="connsiteY12389" fmla="*/ 3705553 h 5282095"/>
              <a:gd name="connsiteX12390" fmla="*/ 6586320 w 7714416"/>
              <a:gd name="connsiteY12390" fmla="*/ 3708218 h 5282095"/>
              <a:gd name="connsiteX12391" fmla="*/ 6578298 w 7714416"/>
              <a:gd name="connsiteY12391" fmla="*/ 3704775 h 5282095"/>
              <a:gd name="connsiteX12392" fmla="*/ 6589184 w 7714416"/>
              <a:gd name="connsiteY12392" fmla="*/ 3699331 h 5282095"/>
              <a:gd name="connsiteX12393" fmla="*/ 6749318 w 7714416"/>
              <a:gd name="connsiteY12393" fmla="*/ 3698332 h 5282095"/>
              <a:gd name="connsiteX12394" fmla="*/ 6757338 w 7714416"/>
              <a:gd name="connsiteY12394" fmla="*/ 3700555 h 5282095"/>
              <a:gd name="connsiteX12395" fmla="*/ 6744161 w 7714416"/>
              <a:gd name="connsiteY12395" fmla="*/ 3703664 h 5282095"/>
              <a:gd name="connsiteX12396" fmla="*/ 6749318 w 7714416"/>
              <a:gd name="connsiteY12396" fmla="*/ 3698332 h 5282095"/>
              <a:gd name="connsiteX12397" fmla="*/ 6540485 w 7714416"/>
              <a:gd name="connsiteY12397" fmla="*/ 3697777 h 5282095"/>
              <a:gd name="connsiteX12398" fmla="*/ 6544209 w 7714416"/>
              <a:gd name="connsiteY12398" fmla="*/ 3699776 h 5282095"/>
              <a:gd name="connsiteX12399" fmla="*/ 6538194 w 7714416"/>
              <a:gd name="connsiteY12399" fmla="*/ 3719883 h 5282095"/>
              <a:gd name="connsiteX12400" fmla="*/ 6537907 w 7714416"/>
              <a:gd name="connsiteY12400" fmla="*/ 3726658 h 5282095"/>
              <a:gd name="connsiteX12401" fmla="*/ 6537907 w 7714416"/>
              <a:gd name="connsiteY12401" fmla="*/ 3728880 h 5282095"/>
              <a:gd name="connsiteX12402" fmla="*/ 6537620 w 7714416"/>
              <a:gd name="connsiteY12402" fmla="*/ 3729325 h 5282095"/>
              <a:gd name="connsiteX12403" fmla="*/ 6530172 w 7714416"/>
              <a:gd name="connsiteY12403" fmla="*/ 3736878 h 5282095"/>
              <a:gd name="connsiteX12404" fmla="*/ 6527594 w 7714416"/>
              <a:gd name="connsiteY12404" fmla="*/ 3729880 h 5282095"/>
              <a:gd name="connsiteX12405" fmla="*/ 6524443 w 7714416"/>
              <a:gd name="connsiteY12405" fmla="*/ 3729213 h 5282095"/>
              <a:gd name="connsiteX12406" fmla="*/ 6517282 w 7714416"/>
              <a:gd name="connsiteY12406" fmla="*/ 3720327 h 5282095"/>
              <a:gd name="connsiteX12407" fmla="*/ 6523585 w 7714416"/>
              <a:gd name="connsiteY12407" fmla="*/ 3718882 h 5282095"/>
              <a:gd name="connsiteX12408" fmla="*/ 6523297 w 7714416"/>
              <a:gd name="connsiteY12408" fmla="*/ 3710996 h 5282095"/>
              <a:gd name="connsiteX12409" fmla="*/ 6527594 w 7714416"/>
              <a:gd name="connsiteY12409" fmla="*/ 3700221 h 5282095"/>
              <a:gd name="connsiteX12410" fmla="*/ 6540485 w 7714416"/>
              <a:gd name="connsiteY12410" fmla="*/ 3697777 h 5282095"/>
              <a:gd name="connsiteX12411" fmla="*/ 6962160 w 7714416"/>
              <a:gd name="connsiteY12411" fmla="*/ 3695333 h 5282095"/>
              <a:gd name="connsiteX12412" fmla="*/ 6965312 w 7714416"/>
              <a:gd name="connsiteY12412" fmla="*/ 3700332 h 5282095"/>
              <a:gd name="connsiteX12413" fmla="*/ 6959869 w 7714416"/>
              <a:gd name="connsiteY12413" fmla="*/ 3701109 h 5282095"/>
              <a:gd name="connsiteX12414" fmla="*/ 6962160 w 7714416"/>
              <a:gd name="connsiteY12414" fmla="*/ 3695333 h 5282095"/>
              <a:gd name="connsiteX12415" fmla="*/ 7195342 w 7714416"/>
              <a:gd name="connsiteY12415" fmla="*/ 3694888 h 5282095"/>
              <a:gd name="connsiteX12416" fmla="*/ 7201358 w 7714416"/>
              <a:gd name="connsiteY12416" fmla="*/ 3700221 h 5282095"/>
              <a:gd name="connsiteX12417" fmla="*/ 7185030 w 7714416"/>
              <a:gd name="connsiteY12417" fmla="*/ 3709663 h 5282095"/>
              <a:gd name="connsiteX12418" fmla="*/ 7182452 w 7714416"/>
              <a:gd name="connsiteY12418" fmla="*/ 3701442 h 5282095"/>
              <a:gd name="connsiteX12419" fmla="*/ 7186462 w 7714416"/>
              <a:gd name="connsiteY12419" fmla="*/ 3698666 h 5282095"/>
              <a:gd name="connsiteX12420" fmla="*/ 7196202 w 7714416"/>
              <a:gd name="connsiteY12420" fmla="*/ 3695777 h 5282095"/>
              <a:gd name="connsiteX12421" fmla="*/ 7195342 w 7714416"/>
              <a:gd name="connsiteY12421" fmla="*/ 3694888 h 5282095"/>
              <a:gd name="connsiteX12422" fmla="*/ 6567412 w 7714416"/>
              <a:gd name="connsiteY12422" fmla="*/ 3694667 h 5282095"/>
              <a:gd name="connsiteX12423" fmla="*/ 6569704 w 7714416"/>
              <a:gd name="connsiteY12423" fmla="*/ 3695444 h 5282095"/>
              <a:gd name="connsiteX12424" fmla="*/ 6555095 w 7714416"/>
              <a:gd name="connsiteY12424" fmla="*/ 3698221 h 5282095"/>
              <a:gd name="connsiteX12425" fmla="*/ 6567412 w 7714416"/>
              <a:gd name="connsiteY12425" fmla="*/ 3694667 h 5282095"/>
              <a:gd name="connsiteX12426" fmla="*/ 6608377 w 7714416"/>
              <a:gd name="connsiteY12426" fmla="*/ 3689557 h 5282095"/>
              <a:gd name="connsiteX12427" fmla="*/ 6581163 w 7714416"/>
              <a:gd name="connsiteY12427" fmla="*/ 3693445 h 5282095"/>
              <a:gd name="connsiteX12428" fmla="*/ 6608377 w 7714416"/>
              <a:gd name="connsiteY12428" fmla="*/ 3689557 h 5282095"/>
              <a:gd name="connsiteX12429" fmla="*/ 6498088 w 7714416"/>
              <a:gd name="connsiteY12429" fmla="*/ 3688890 h 5282095"/>
              <a:gd name="connsiteX12430" fmla="*/ 6512698 w 7714416"/>
              <a:gd name="connsiteY12430" fmla="*/ 3698221 h 5282095"/>
              <a:gd name="connsiteX12431" fmla="*/ 6512698 w 7714416"/>
              <a:gd name="connsiteY12431" fmla="*/ 3700443 h 5282095"/>
              <a:gd name="connsiteX12432" fmla="*/ 6508974 w 7714416"/>
              <a:gd name="connsiteY12432" fmla="*/ 3702220 h 5282095"/>
              <a:gd name="connsiteX12433" fmla="*/ 6502099 w 7714416"/>
              <a:gd name="connsiteY12433" fmla="*/ 3699221 h 5282095"/>
              <a:gd name="connsiteX12434" fmla="*/ 6500380 w 7714416"/>
              <a:gd name="connsiteY12434" fmla="*/ 3692778 h 5282095"/>
              <a:gd name="connsiteX12435" fmla="*/ 6496942 w 7714416"/>
              <a:gd name="connsiteY12435" fmla="*/ 3689890 h 5282095"/>
              <a:gd name="connsiteX12436" fmla="*/ 6498088 w 7714416"/>
              <a:gd name="connsiteY12436" fmla="*/ 3688890 h 5282095"/>
              <a:gd name="connsiteX12437" fmla="*/ 6787131 w 7714416"/>
              <a:gd name="connsiteY12437" fmla="*/ 3688223 h 5282095"/>
              <a:gd name="connsiteX12438" fmla="*/ 6796584 w 7714416"/>
              <a:gd name="connsiteY12438" fmla="*/ 3692778 h 5282095"/>
              <a:gd name="connsiteX12439" fmla="*/ 6795725 w 7714416"/>
              <a:gd name="connsiteY12439" fmla="*/ 3696555 h 5282095"/>
              <a:gd name="connsiteX12440" fmla="*/ 6788277 w 7714416"/>
              <a:gd name="connsiteY12440" fmla="*/ 3700221 h 5282095"/>
              <a:gd name="connsiteX12441" fmla="*/ 6782834 w 7714416"/>
              <a:gd name="connsiteY12441" fmla="*/ 3690890 h 5282095"/>
              <a:gd name="connsiteX12442" fmla="*/ 6787131 w 7714416"/>
              <a:gd name="connsiteY12442" fmla="*/ 3688223 h 5282095"/>
              <a:gd name="connsiteX12443" fmla="*/ 6609810 w 7714416"/>
              <a:gd name="connsiteY12443" fmla="*/ 3688223 h 5282095"/>
              <a:gd name="connsiteX12444" fmla="*/ 6612388 w 7714416"/>
              <a:gd name="connsiteY12444" fmla="*/ 3689780 h 5282095"/>
              <a:gd name="connsiteX12445" fmla="*/ 6608664 w 7714416"/>
              <a:gd name="connsiteY12445" fmla="*/ 3689668 h 5282095"/>
              <a:gd name="connsiteX12446" fmla="*/ 6609810 w 7714416"/>
              <a:gd name="connsiteY12446" fmla="*/ 3688223 h 5282095"/>
              <a:gd name="connsiteX12447" fmla="*/ 6618117 w 7714416"/>
              <a:gd name="connsiteY12447" fmla="*/ 3688113 h 5282095"/>
              <a:gd name="connsiteX12448" fmla="*/ 6622987 w 7714416"/>
              <a:gd name="connsiteY12448" fmla="*/ 3688224 h 5282095"/>
              <a:gd name="connsiteX12449" fmla="*/ 6639029 w 7714416"/>
              <a:gd name="connsiteY12449" fmla="*/ 3693445 h 5282095"/>
              <a:gd name="connsiteX12450" fmla="*/ 6627570 w 7714416"/>
              <a:gd name="connsiteY12450" fmla="*/ 3702109 h 5282095"/>
              <a:gd name="connsiteX12451" fmla="*/ 6625565 w 7714416"/>
              <a:gd name="connsiteY12451" fmla="*/ 3701776 h 5282095"/>
              <a:gd name="connsiteX12452" fmla="*/ 6609523 w 7714416"/>
              <a:gd name="connsiteY12452" fmla="*/ 3693778 h 5282095"/>
              <a:gd name="connsiteX12453" fmla="*/ 6618117 w 7714416"/>
              <a:gd name="connsiteY12453" fmla="*/ 3688113 h 5282095"/>
              <a:gd name="connsiteX12454" fmla="*/ 7195342 w 7714416"/>
              <a:gd name="connsiteY12454" fmla="*/ 3687668 h 5282095"/>
              <a:gd name="connsiteX12455" fmla="*/ 7198494 w 7714416"/>
              <a:gd name="connsiteY12455" fmla="*/ 3688335 h 5282095"/>
              <a:gd name="connsiteX12456" fmla="*/ 7203364 w 7714416"/>
              <a:gd name="connsiteY12456" fmla="*/ 3690001 h 5282095"/>
              <a:gd name="connsiteX12457" fmla="*/ 7203937 w 7714416"/>
              <a:gd name="connsiteY12457" fmla="*/ 3692000 h 5282095"/>
              <a:gd name="connsiteX12458" fmla="*/ 7203077 w 7714416"/>
              <a:gd name="connsiteY12458" fmla="*/ 3694556 h 5282095"/>
              <a:gd name="connsiteX12459" fmla="*/ 7194770 w 7714416"/>
              <a:gd name="connsiteY12459" fmla="*/ 3692556 h 5282095"/>
              <a:gd name="connsiteX12460" fmla="*/ 7193338 w 7714416"/>
              <a:gd name="connsiteY12460" fmla="*/ 3688890 h 5282095"/>
              <a:gd name="connsiteX12461" fmla="*/ 7195342 w 7714416"/>
              <a:gd name="connsiteY12461" fmla="*/ 3687668 h 5282095"/>
              <a:gd name="connsiteX12462" fmla="*/ 6617544 w 7714416"/>
              <a:gd name="connsiteY12462" fmla="*/ 3686447 h 5282095"/>
              <a:gd name="connsiteX12463" fmla="*/ 6620408 w 7714416"/>
              <a:gd name="connsiteY12463" fmla="*/ 3686447 h 5282095"/>
              <a:gd name="connsiteX12464" fmla="*/ 6620695 w 7714416"/>
              <a:gd name="connsiteY12464" fmla="*/ 3687557 h 5282095"/>
              <a:gd name="connsiteX12465" fmla="*/ 6616684 w 7714416"/>
              <a:gd name="connsiteY12465" fmla="*/ 3687446 h 5282095"/>
              <a:gd name="connsiteX12466" fmla="*/ 6617544 w 7714416"/>
              <a:gd name="connsiteY12466" fmla="*/ 3686447 h 5282095"/>
              <a:gd name="connsiteX12467" fmla="*/ 6912888 w 7714416"/>
              <a:gd name="connsiteY12467" fmla="*/ 3686002 h 5282095"/>
              <a:gd name="connsiteX12468" fmla="*/ 6924634 w 7714416"/>
              <a:gd name="connsiteY12468" fmla="*/ 3691446 h 5282095"/>
              <a:gd name="connsiteX12469" fmla="*/ 6922628 w 7714416"/>
              <a:gd name="connsiteY12469" fmla="*/ 3702554 h 5282095"/>
              <a:gd name="connsiteX12470" fmla="*/ 6899998 w 7714416"/>
              <a:gd name="connsiteY12470" fmla="*/ 3698665 h 5282095"/>
              <a:gd name="connsiteX12471" fmla="*/ 6912888 w 7714416"/>
              <a:gd name="connsiteY12471" fmla="*/ 3686002 h 5282095"/>
              <a:gd name="connsiteX12472" fmla="*/ 7017448 w 7714416"/>
              <a:gd name="connsiteY12472" fmla="*/ 3675450 h 5282095"/>
              <a:gd name="connsiteX12473" fmla="*/ 7024610 w 7714416"/>
              <a:gd name="connsiteY12473" fmla="*/ 3676004 h 5282095"/>
              <a:gd name="connsiteX12474" fmla="*/ 7030627 w 7714416"/>
              <a:gd name="connsiteY12474" fmla="*/ 3678337 h 5282095"/>
              <a:gd name="connsiteX12475" fmla="*/ 7033776 w 7714416"/>
              <a:gd name="connsiteY12475" fmla="*/ 3682670 h 5282095"/>
              <a:gd name="connsiteX12476" fmla="*/ 7039220 w 7714416"/>
              <a:gd name="connsiteY12476" fmla="*/ 3689557 h 5282095"/>
              <a:gd name="connsiteX12477" fmla="*/ 7032344 w 7714416"/>
              <a:gd name="connsiteY12477" fmla="*/ 3693667 h 5282095"/>
              <a:gd name="connsiteX12478" fmla="*/ 7021745 w 7714416"/>
              <a:gd name="connsiteY12478" fmla="*/ 3691112 h 5282095"/>
              <a:gd name="connsiteX12479" fmla="*/ 7020600 w 7714416"/>
              <a:gd name="connsiteY12479" fmla="*/ 3691779 h 5282095"/>
              <a:gd name="connsiteX12480" fmla="*/ 7009141 w 7714416"/>
              <a:gd name="connsiteY12480" fmla="*/ 3682780 h 5282095"/>
              <a:gd name="connsiteX12481" fmla="*/ 7010286 w 7714416"/>
              <a:gd name="connsiteY12481" fmla="*/ 3680003 h 5282095"/>
              <a:gd name="connsiteX12482" fmla="*/ 7010000 w 7714416"/>
              <a:gd name="connsiteY12482" fmla="*/ 3679560 h 5282095"/>
              <a:gd name="connsiteX12483" fmla="*/ 7017448 w 7714416"/>
              <a:gd name="connsiteY12483" fmla="*/ 3675450 h 5282095"/>
              <a:gd name="connsiteX12484" fmla="*/ 6609810 w 7714416"/>
              <a:gd name="connsiteY12484" fmla="*/ 3674561 h 5282095"/>
              <a:gd name="connsiteX12485" fmla="*/ 6616112 w 7714416"/>
              <a:gd name="connsiteY12485" fmla="*/ 3678671 h 5282095"/>
              <a:gd name="connsiteX12486" fmla="*/ 6619263 w 7714416"/>
              <a:gd name="connsiteY12486" fmla="*/ 3681337 h 5282095"/>
              <a:gd name="connsiteX12487" fmla="*/ 6622414 w 7714416"/>
              <a:gd name="connsiteY12487" fmla="*/ 3682781 h 5282095"/>
              <a:gd name="connsiteX12488" fmla="*/ 6624419 w 7714416"/>
              <a:gd name="connsiteY12488" fmla="*/ 3685114 h 5282095"/>
              <a:gd name="connsiteX12489" fmla="*/ 6624706 w 7714416"/>
              <a:gd name="connsiteY12489" fmla="*/ 3685002 h 5282095"/>
              <a:gd name="connsiteX12490" fmla="*/ 6628143 w 7714416"/>
              <a:gd name="connsiteY12490" fmla="*/ 3684447 h 5282095"/>
              <a:gd name="connsiteX12491" fmla="*/ 6630148 w 7714416"/>
              <a:gd name="connsiteY12491" fmla="*/ 3685224 h 5282095"/>
              <a:gd name="connsiteX12492" fmla="*/ 6631294 w 7714416"/>
              <a:gd name="connsiteY12492" fmla="*/ 3687225 h 5282095"/>
              <a:gd name="connsiteX12493" fmla="*/ 6625852 w 7714416"/>
              <a:gd name="connsiteY12493" fmla="*/ 3687335 h 5282095"/>
              <a:gd name="connsiteX12494" fmla="*/ 6625278 w 7714416"/>
              <a:gd name="connsiteY12494" fmla="*/ 3687225 h 5282095"/>
              <a:gd name="connsiteX12495" fmla="*/ 6625278 w 7714416"/>
              <a:gd name="connsiteY12495" fmla="*/ 3687780 h 5282095"/>
              <a:gd name="connsiteX12496" fmla="*/ 6622987 w 7714416"/>
              <a:gd name="connsiteY12496" fmla="*/ 3686669 h 5282095"/>
              <a:gd name="connsiteX12497" fmla="*/ 6621554 w 7714416"/>
              <a:gd name="connsiteY12497" fmla="*/ 3686335 h 5282095"/>
              <a:gd name="connsiteX12498" fmla="*/ 6621841 w 7714416"/>
              <a:gd name="connsiteY12498" fmla="*/ 3686113 h 5282095"/>
              <a:gd name="connsiteX12499" fmla="*/ 6618976 w 7714416"/>
              <a:gd name="connsiteY12499" fmla="*/ 3683669 h 5282095"/>
              <a:gd name="connsiteX12500" fmla="*/ 6615538 w 7714416"/>
              <a:gd name="connsiteY12500" fmla="*/ 3683224 h 5282095"/>
              <a:gd name="connsiteX12501" fmla="*/ 6609810 w 7714416"/>
              <a:gd name="connsiteY12501" fmla="*/ 3674561 h 5282095"/>
              <a:gd name="connsiteX12502" fmla="*/ 6809475 w 7714416"/>
              <a:gd name="connsiteY12502" fmla="*/ 3671006 h 5282095"/>
              <a:gd name="connsiteX12503" fmla="*/ 6814345 w 7714416"/>
              <a:gd name="connsiteY12503" fmla="*/ 3671450 h 5282095"/>
              <a:gd name="connsiteX12504" fmla="*/ 6797157 w 7714416"/>
              <a:gd name="connsiteY12504" fmla="*/ 3678337 h 5282095"/>
              <a:gd name="connsiteX12505" fmla="*/ 6809475 w 7714416"/>
              <a:gd name="connsiteY12505" fmla="*/ 3671006 h 5282095"/>
              <a:gd name="connsiteX12506" fmla="*/ 7188754 w 7714416"/>
              <a:gd name="connsiteY12506" fmla="*/ 3669784 h 5282095"/>
              <a:gd name="connsiteX12507" fmla="*/ 7198207 w 7714416"/>
              <a:gd name="connsiteY12507" fmla="*/ 3678559 h 5282095"/>
              <a:gd name="connsiteX12508" fmla="*/ 7198207 w 7714416"/>
              <a:gd name="connsiteY12508" fmla="*/ 3682892 h 5282095"/>
              <a:gd name="connsiteX12509" fmla="*/ 7179587 w 7714416"/>
              <a:gd name="connsiteY12509" fmla="*/ 3682669 h 5282095"/>
              <a:gd name="connsiteX12510" fmla="*/ 7174717 w 7714416"/>
              <a:gd name="connsiteY12510" fmla="*/ 3683003 h 5282095"/>
              <a:gd name="connsiteX12511" fmla="*/ 7177868 w 7714416"/>
              <a:gd name="connsiteY12511" fmla="*/ 3685891 h 5282095"/>
              <a:gd name="connsiteX12512" fmla="*/ 7179014 w 7714416"/>
              <a:gd name="connsiteY12512" fmla="*/ 3693778 h 5282095"/>
              <a:gd name="connsiteX12513" fmla="*/ 7153806 w 7714416"/>
              <a:gd name="connsiteY12513" fmla="*/ 3706997 h 5282095"/>
              <a:gd name="connsiteX12514" fmla="*/ 7149222 w 7714416"/>
              <a:gd name="connsiteY12514" fmla="*/ 3706220 h 5282095"/>
              <a:gd name="connsiteX12515" fmla="*/ 7141488 w 7714416"/>
              <a:gd name="connsiteY12515" fmla="*/ 3706775 h 5282095"/>
              <a:gd name="connsiteX12516" fmla="*/ 7139768 w 7714416"/>
              <a:gd name="connsiteY12516" fmla="*/ 3691556 h 5282095"/>
              <a:gd name="connsiteX12517" fmla="*/ 7156097 w 7714416"/>
              <a:gd name="connsiteY12517" fmla="*/ 3678115 h 5282095"/>
              <a:gd name="connsiteX12518" fmla="*/ 7161826 w 7714416"/>
              <a:gd name="connsiteY12518" fmla="*/ 3677894 h 5282095"/>
              <a:gd name="connsiteX12519" fmla="*/ 7163545 w 7714416"/>
              <a:gd name="connsiteY12519" fmla="*/ 3674449 h 5282095"/>
              <a:gd name="connsiteX12520" fmla="*/ 7181879 w 7714416"/>
              <a:gd name="connsiteY12520" fmla="*/ 3669784 h 5282095"/>
              <a:gd name="connsiteX12521" fmla="*/ 7188754 w 7714416"/>
              <a:gd name="connsiteY12521" fmla="*/ 3669784 h 5282095"/>
              <a:gd name="connsiteX12522" fmla="*/ 6549079 w 7714416"/>
              <a:gd name="connsiteY12522" fmla="*/ 3665896 h 5282095"/>
              <a:gd name="connsiteX12523" fmla="*/ 6552803 w 7714416"/>
              <a:gd name="connsiteY12523" fmla="*/ 3666119 h 5282095"/>
              <a:gd name="connsiteX12524" fmla="*/ 6556240 w 7714416"/>
              <a:gd name="connsiteY12524" fmla="*/ 3669007 h 5282095"/>
              <a:gd name="connsiteX12525" fmla="*/ 6553662 w 7714416"/>
              <a:gd name="connsiteY12525" fmla="*/ 3673783 h 5282095"/>
              <a:gd name="connsiteX12526" fmla="*/ 6549652 w 7714416"/>
              <a:gd name="connsiteY12526" fmla="*/ 3673561 h 5282095"/>
              <a:gd name="connsiteX12527" fmla="*/ 6545356 w 7714416"/>
              <a:gd name="connsiteY12527" fmla="*/ 3671783 h 5282095"/>
              <a:gd name="connsiteX12528" fmla="*/ 6549079 w 7714416"/>
              <a:gd name="connsiteY12528" fmla="*/ 3665896 h 5282095"/>
              <a:gd name="connsiteX12529" fmla="*/ 6975052 w 7714416"/>
              <a:gd name="connsiteY12529" fmla="*/ 3662564 h 5282095"/>
              <a:gd name="connsiteX12530" fmla="*/ 6966744 w 7714416"/>
              <a:gd name="connsiteY12530" fmla="*/ 3670006 h 5282095"/>
              <a:gd name="connsiteX12531" fmla="*/ 6957290 w 7714416"/>
              <a:gd name="connsiteY12531" fmla="*/ 3674005 h 5282095"/>
              <a:gd name="connsiteX12532" fmla="*/ 6958436 w 7714416"/>
              <a:gd name="connsiteY12532" fmla="*/ 3677560 h 5282095"/>
              <a:gd name="connsiteX12533" fmla="*/ 6963020 w 7714416"/>
              <a:gd name="connsiteY12533" fmla="*/ 3672449 h 5282095"/>
              <a:gd name="connsiteX12534" fmla="*/ 6995390 w 7714416"/>
              <a:gd name="connsiteY12534" fmla="*/ 3664452 h 5282095"/>
              <a:gd name="connsiteX12535" fmla="*/ 6981068 w 7714416"/>
              <a:gd name="connsiteY12535" fmla="*/ 3676671 h 5282095"/>
              <a:gd name="connsiteX12536" fmla="*/ 6958436 w 7714416"/>
              <a:gd name="connsiteY12536" fmla="*/ 3679670 h 5282095"/>
              <a:gd name="connsiteX12537" fmla="*/ 6958436 w 7714416"/>
              <a:gd name="connsiteY12537" fmla="*/ 3683225 h 5282095"/>
              <a:gd name="connsiteX12538" fmla="*/ 6951275 w 7714416"/>
              <a:gd name="connsiteY12538" fmla="*/ 3684003 h 5282095"/>
              <a:gd name="connsiteX12539" fmla="*/ 6947551 w 7714416"/>
              <a:gd name="connsiteY12539" fmla="*/ 3682447 h 5282095"/>
              <a:gd name="connsiteX12540" fmla="*/ 6946692 w 7714416"/>
              <a:gd name="connsiteY12540" fmla="*/ 3689335 h 5282095"/>
              <a:gd name="connsiteX12541" fmla="*/ 6928358 w 7714416"/>
              <a:gd name="connsiteY12541" fmla="*/ 3680448 h 5282095"/>
              <a:gd name="connsiteX12542" fmla="*/ 6934087 w 7714416"/>
              <a:gd name="connsiteY12542" fmla="*/ 3676783 h 5282095"/>
              <a:gd name="connsiteX12543" fmla="*/ 6932941 w 7714416"/>
              <a:gd name="connsiteY12543" fmla="*/ 3676671 h 5282095"/>
              <a:gd name="connsiteX12544" fmla="*/ 6939530 w 7714416"/>
              <a:gd name="connsiteY12544" fmla="*/ 3671005 h 5282095"/>
              <a:gd name="connsiteX12545" fmla="*/ 6940104 w 7714416"/>
              <a:gd name="connsiteY12545" fmla="*/ 3669228 h 5282095"/>
              <a:gd name="connsiteX12546" fmla="*/ 6942968 w 7714416"/>
              <a:gd name="connsiteY12546" fmla="*/ 3663674 h 5282095"/>
              <a:gd name="connsiteX12547" fmla="*/ 6950988 w 7714416"/>
              <a:gd name="connsiteY12547" fmla="*/ 3665785 h 5282095"/>
              <a:gd name="connsiteX12548" fmla="*/ 6952421 w 7714416"/>
              <a:gd name="connsiteY12548" fmla="*/ 3665118 h 5282095"/>
              <a:gd name="connsiteX12549" fmla="*/ 6975052 w 7714416"/>
              <a:gd name="connsiteY12549" fmla="*/ 3662564 h 5282095"/>
              <a:gd name="connsiteX12550" fmla="*/ 6880232 w 7714416"/>
              <a:gd name="connsiteY12550" fmla="*/ 3661897 h 5282095"/>
              <a:gd name="connsiteX12551" fmla="*/ 6895128 w 7714416"/>
              <a:gd name="connsiteY12551" fmla="*/ 3664675 h 5282095"/>
              <a:gd name="connsiteX12552" fmla="*/ 6894842 w 7714416"/>
              <a:gd name="connsiteY12552" fmla="*/ 3672783 h 5282095"/>
              <a:gd name="connsiteX12553" fmla="*/ 6904295 w 7714416"/>
              <a:gd name="connsiteY12553" fmla="*/ 3677227 h 5282095"/>
              <a:gd name="connsiteX12554" fmla="*/ 6875362 w 7714416"/>
              <a:gd name="connsiteY12554" fmla="*/ 3693333 h 5282095"/>
              <a:gd name="connsiteX12555" fmla="*/ 6871924 w 7714416"/>
              <a:gd name="connsiteY12555" fmla="*/ 3690112 h 5282095"/>
              <a:gd name="connsiteX12556" fmla="*/ 6869919 w 7714416"/>
              <a:gd name="connsiteY12556" fmla="*/ 3690779 h 5282095"/>
              <a:gd name="connsiteX12557" fmla="*/ 6862758 w 7714416"/>
              <a:gd name="connsiteY12557" fmla="*/ 3692333 h 5282095"/>
              <a:gd name="connsiteX12558" fmla="*/ 6863044 w 7714416"/>
              <a:gd name="connsiteY12558" fmla="*/ 3693001 h 5282095"/>
              <a:gd name="connsiteX12559" fmla="*/ 6861325 w 7714416"/>
              <a:gd name="connsiteY12559" fmla="*/ 3696222 h 5282095"/>
              <a:gd name="connsiteX12560" fmla="*/ 6847862 w 7714416"/>
              <a:gd name="connsiteY12560" fmla="*/ 3698111 h 5282095"/>
              <a:gd name="connsiteX12561" fmla="*/ 6839268 w 7714416"/>
              <a:gd name="connsiteY12561" fmla="*/ 3700109 h 5282095"/>
              <a:gd name="connsiteX12562" fmla="*/ 6849294 w 7714416"/>
              <a:gd name="connsiteY12562" fmla="*/ 3695777 h 5282095"/>
              <a:gd name="connsiteX12563" fmla="*/ 6851012 w 7714416"/>
              <a:gd name="connsiteY12563" fmla="*/ 3692445 h 5282095"/>
              <a:gd name="connsiteX12564" fmla="*/ 6854164 w 7714416"/>
              <a:gd name="connsiteY12564" fmla="*/ 3691446 h 5282095"/>
              <a:gd name="connsiteX12565" fmla="*/ 6853590 w 7714416"/>
              <a:gd name="connsiteY12565" fmla="*/ 3690001 h 5282095"/>
              <a:gd name="connsiteX12566" fmla="*/ 6851012 w 7714416"/>
              <a:gd name="connsiteY12566" fmla="*/ 3686891 h 5282095"/>
              <a:gd name="connsiteX12567" fmla="*/ 6863329 w 7714416"/>
              <a:gd name="connsiteY12567" fmla="*/ 3684003 h 5282095"/>
              <a:gd name="connsiteX12568" fmla="*/ 6868773 w 7714416"/>
              <a:gd name="connsiteY12568" fmla="*/ 3683336 h 5282095"/>
              <a:gd name="connsiteX12569" fmla="*/ 6868773 w 7714416"/>
              <a:gd name="connsiteY12569" fmla="*/ 3683003 h 5282095"/>
              <a:gd name="connsiteX12570" fmla="*/ 6873930 w 7714416"/>
              <a:gd name="connsiteY12570" fmla="*/ 3676671 h 5282095"/>
              <a:gd name="connsiteX12571" fmla="*/ 6876794 w 7714416"/>
              <a:gd name="connsiteY12571" fmla="*/ 3675450 h 5282095"/>
              <a:gd name="connsiteX12572" fmla="*/ 6880232 w 7714416"/>
              <a:gd name="connsiteY12572" fmla="*/ 3661897 h 5282095"/>
              <a:gd name="connsiteX12573" fmla="*/ 7348028 w 7714416"/>
              <a:gd name="connsiteY12573" fmla="*/ 3660453 h 5282095"/>
              <a:gd name="connsiteX12574" fmla="*/ 7348314 w 7714416"/>
              <a:gd name="connsiteY12574" fmla="*/ 3673561 h 5282095"/>
              <a:gd name="connsiteX12575" fmla="*/ 7348028 w 7714416"/>
              <a:gd name="connsiteY12575" fmla="*/ 3660453 h 5282095"/>
              <a:gd name="connsiteX12576" fmla="*/ 6777391 w 7714416"/>
              <a:gd name="connsiteY12576" fmla="*/ 3658453 h 5282095"/>
              <a:gd name="connsiteX12577" fmla="*/ 6779396 w 7714416"/>
              <a:gd name="connsiteY12577" fmla="*/ 3660897 h 5282095"/>
              <a:gd name="connsiteX12578" fmla="*/ 6779396 w 7714416"/>
              <a:gd name="connsiteY12578" fmla="*/ 3664563 h 5282095"/>
              <a:gd name="connsiteX12579" fmla="*/ 6770802 w 7714416"/>
              <a:gd name="connsiteY12579" fmla="*/ 3665452 h 5282095"/>
              <a:gd name="connsiteX12580" fmla="*/ 6769084 w 7714416"/>
              <a:gd name="connsiteY12580" fmla="*/ 3663008 h 5282095"/>
              <a:gd name="connsiteX12581" fmla="*/ 6770516 w 7714416"/>
              <a:gd name="connsiteY12581" fmla="*/ 3659453 h 5282095"/>
              <a:gd name="connsiteX12582" fmla="*/ 6777391 w 7714416"/>
              <a:gd name="connsiteY12582" fmla="*/ 3658453 h 5282095"/>
              <a:gd name="connsiteX12583" fmla="*/ 6588324 w 7714416"/>
              <a:gd name="connsiteY12583" fmla="*/ 3652566 h 5282095"/>
              <a:gd name="connsiteX12584" fmla="*/ 6604366 w 7714416"/>
              <a:gd name="connsiteY12584" fmla="*/ 3658453 h 5282095"/>
              <a:gd name="connsiteX12585" fmla="*/ 6575720 w 7714416"/>
              <a:gd name="connsiteY12585" fmla="*/ 3658787 h 5282095"/>
              <a:gd name="connsiteX12586" fmla="*/ 6588324 w 7714416"/>
              <a:gd name="connsiteY12586" fmla="*/ 3652566 h 5282095"/>
              <a:gd name="connsiteX12587" fmla="*/ 6785126 w 7714416"/>
              <a:gd name="connsiteY12587" fmla="*/ 3651122 h 5282095"/>
              <a:gd name="connsiteX12588" fmla="*/ 6792860 w 7714416"/>
              <a:gd name="connsiteY12588" fmla="*/ 3654232 h 5282095"/>
              <a:gd name="connsiteX12589" fmla="*/ 6802027 w 7714416"/>
              <a:gd name="connsiteY12589" fmla="*/ 3665784 h 5282095"/>
              <a:gd name="connsiteX12590" fmla="*/ 6786558 w 7714416"/>
              <a:gd name="connsiteY12590" fmla="*/ 3667785 h 5282095"/>
              <a:gd name="connsiteX12591" fmla="*/ 6785126 w 7714416"/>
              <a:gd name="connsiteY12591" fmla="*/ 3666341 h 5282095"/>
              <a:gd name="connsiteX12592" fmla="*/ 6777964 w 7714416"/>
              <a:gd name="connsiteY12592" fmla="*/ 3652566 h 5282095"/>
              <a:gd name="connsiteX12593" fmla="*/ 6785126 w 7714416"/>
              <a:gd name="connsiteY12593" fmla="*/ 3651122 h 5282095"/>
              <a:gd name="connsiteX12594" fmla="*/ 7282142 w 7714416"/>
              <a:gd name="connsiteY12594" fmla="*/ 3648234 h 5282095"/>
              <a:gd name="connsiteX12595" fmla="*/ 7283000 w 7714416"/>
              <a:gd name="connsiteY12595" fmla="*/ 3649123 h 5282095"/>
              <a:gd name="connsiteX12596" fmla="*/ 7283574 w 7714416"/>
              <a:gd name="connsiteY12596" fmla="*/ 3649234 h 5282095"/>
              <a:gd name="connsiteX12597" fmla="*/ 7283000 w 7714416"/>
              <a:gd name="connsiteY12597" fmla="*/ 3651677 h 5282095"/>
              <a:gd name="connsiteX12598" fmla="*/ 7280996 w 7714416"/>
              <a:gd name="connsiteY12598" fmla="*/ 3653899 h 5282095"/>
              <a:gd name="connsiteX12599" fmla="*/ 7276412 w 7714416"/>
              <a:gd name="connsiteY12599" fmla="*/ 3650566 h 5282095"/>
              <a:gd name="connsiteX12600" fmla="*/ 7279276 w 7714416"/>
              <a:gd name="connsiteY12600" fmla="*/ 3649456 h 5282095"/>
              <a:gd name="connsiteX12601" fmla="*/ 7278704 w 7714416"/>
              <a:gd name="connsiteY12601" fmla="*/ 3648456 h 5282095"/>
              <a:gd name="connsiteX12602" fmla="*/ 7282142 w 7714416"/>
              <a:gd name="connsiteY12602" fmla="*/ 3648234 h 5282095"/>
              <a:gd name="connsiteX12603" fmla="*/ 6700618 w 7714416"/>
              <a:gd name="connsiteY12603" fmla="*/ 3647567 h 5282095"/>
              <a:gd name="connsiteX12604" fmla="*/ 6692598 w 7714416"/>
              <a:gd name="connsiteY12604" fmla="*/ 3658898 h 5282095"/>
              <a:gd name="connsiteX12605" fmla="*/ 6695749 w 7714416"/>
              <a:gd name="connsiteY12605" fmla="*/ 3660342 h 5282095"/>
              <a:gd name="connsiteX12606" fmla="*/ 6699186 w 7714416"/>
              <a:gd name="connsiteY12606" fmla="*/ 3667340 h 5282095"/>
              <a:gd name="connsiteX12607" fmla="*/ 6697754 w 7714416"/>
              <a:gd name="connsiteY12607" fmla="*/ 3674783 h 5282095"/>
              <a:gd name="connsiteX12608" fmla="*/ 6688014 w 7714416"/>
              <a:gd name="connsiteY12608" fmla="*/ 3670228 h 5282095"/>
              <a:gd name="connsiteX12609" fmla="*/ 6688587 w 7714416"/>
              <a:gd name="connsiteY12609" fmla="*/ 3664897 h 5282095"/>
              <a:gd name="connsiteX12610" fmla="*/ 6684576 w 7714416"/>
              <a:gd name="connsiteY12610" fmla="*/ 3670451 h 5282095"/>
              <a:gd name="connsiteX12611" fmla="*/ 6657936 w 7714416"/>
              <a:gd name="connsiteY12611" fmla="*/ 3671228 h 5282095"/>
              <a:gd name="connsiteX12612" fmla="*/ 6700618 w 7714416"/>
              <a:gd name="connsiteY12612" fmla="*/ 3647567 h 5282095"/>
              <a:gd name="connsiteX12613" fmla="*/ 6790568 w 7714416"/>
              <a:gd name="connsiteY12613" fmla="*/ 3643679 h 5282095"/>
              <a:gd name="connsiteX12614" fmla="*/ 6796584 w 7714416"/>
              <a:gd name="connsiteY12614" fmla="*/ 3646457 h 5282095"/>
              <a:gd name="connsiteX12615" fmla="*/ 6792860 w 7714416"/>
              <a:gd name="connsiteY12615" fmla="*/ 3649344 h 5282095"/>
              <a:gd name="connsiteX12616" fmla="*/ 6790568 w 7714416"/>
              <a:gd name="connsiteY12616" fmla="*/ 3643679 h 5282095"/>
              <a:gd name="connsiteX12617" fmla="*/ 6838694 w 7714416"/>
              <a:gd name="connsiteY12617" fmla="*/ 3643347 h 5282095"/>
              <a:gd name="connsiteX12618" fmla="*/ 6861612 w 7714416"/>
              <a:gd name="connsiteY12618" fmla="*/ 3667340 h 5282095"/>
              <a:gd name="connsiteX12619" fmla="*/ 6839554 w 7714416"/>
              <a:gd name="connsiteY12619" fmla="*/ 3674561 h 5282095"/>
              <a:gd name="connsiteX12620" fmla="*/ 6836689 w 7714416"/>
              <a:gd name="connsiteY12620" fmla="*/ 3673116 h 5282095"/>
              <a:gd name="connsiteX12621" fmla="*/ 6834398 w 7714416"/>
              <a:gd name="connsiteY12621" fmla="*/ 3676671 h 5282095"/>
              <a:gd name="connsiteX12622" fmla="*/ 6828096 w 7714416"/>
              <a:gd name="connsiteY12622" fmla="*/ 3681225 h 5282095"/>
              <a:gd name="connsiteX12623" fmla="*/ 6826663 w 7714416"/>
              <a:gd name="connsiteY12623" fmla="*/ 3684669 h 5282095"/>
              <a:gd name="connsiteX12624" fmla="*/ 6824944 w 7714416"/>
              <a:gd name="connsiteY12624" fmla="*/ 3684669 h 5282095"/>
              <a:gd name="connsiteX12625" fmla="*/ 6827236 w 7714416"/>
              <a:gd name="connsiteY12625" fmla="*/ 3670451 h 5282095"/>
              <a:gd name="connsiteX12626" fmla="*/ 6829814 w 7714416"/>
              <a:gd name="connsiteY12626" fmla="*/ 3669339 h 5282095"/>
              <a:gd name="connsiteX12627" fmla="*/ 6825230 w 7714416"/>
              <a:gd name="connsiteY12627" fmla="*/ 3662120 h 5282095"/>
              <a:gd name="connsiteX12628" fmla="*/ 6823226 w 7714416"/>
              <a:gd name="connsiteY12628" fmla="*/ 3645791 h 5282095"/>
              <a:gd name="connsiteX12629" fmla="*/ 6838694 w 7714416"/>
              <a:gd name="connsiteY12629" fmla="*/ 3643347 h 5282095"/>
              <a:gd name="connsiteX12630" fmla="*/ 7065860 w 7714416"/>
              <a:gd name="connsiteY12630" fmla="*/ 3642568 h 5282095"/>
              <a:gd name="connsiteX12631" fmla="*/ 7068439 w 7714416"/>
              <a:gd name="connsiteY12631" fmla="*/ 3643790 h 5282095"/>
              <a:gd name="connsiteX12632" fmla="*/ 7069584 w 7714416"/>
              <a:gd name="connsiteY12632" fmla="*/ 3642791 h 5282095"/>
              <a:gd name="connsiteX12633" fmla="*/ 7071018 w 7714416"/>
              <a:gd name="connsiteY12633" fmla="*/ 3644901 h 5282095"/>
              <a:gd name="connsiteX12634" fmla="*/ 7070158 w 7714416"/>
              <a:gd name="connsiteY12634" fmla="*/ 3645901 h 5282095"/>
              <a:gd name="connsiteX12635" fmla="*/ 7070444 w 7714416"/>
              <a:gd name="connsiteY12635" fmla="*/ 3646234 h 5282095"/>
              <a:gd name="connsiteX12636" fmla="*/ 7067006 w 7714416"/>
              <a:gd name="connsiteY12636" fmla="*/ 3647234 h 5282095"/>
              <a:gd name="connsiteX12637" fmla="*/ 7063282 w 7714416"/>
              <a:gd name="connsiteY12637" fmla="*/ 3647123 h 5282095"/>
              <a:gd name="connsiteX12638" fmla="*/ 7065860 w 7714416"/>
              <a:gd name="connsiteY12638" fmla="*/ 3642568 h 5282095"/>
              <a:gd name="connsiteX12639" fmla="*/ 6820074 w 7714416"/>
              <a:gd name="connsiteY12639" fmla="*/ 3637126 h 5282095"/>
              <a:gd name="connsiteX12640" fmla="*/ 6823798 w 7714416"/>
              <a:gd name="connsiteY12640" fmla="*/ 3641902 h 5282095"/>
              <a:gd name="connsiteX12641" fmla="*/ 6813486 w 7714416"/>
              <a:gd name="connsiteY12641" fmla="*/ 3643791 h 5282095"/>
              <a:gd name="connsiteX12642" fmla="*/ 6820074 w 7714416"/>
              <a:gd name="connsiteY12642" fmla="*/ 3637126 h 5282095"/>
              <a:gd name="connsiteX12643" fmla="*/ 6797444 w 7714416"/>
              <a:gd name="connsiteY12643" fmla="*/ 3626462 h 5282095"/>
              <a:gd name="connsiteX12644" fmla="*/ 6798876 w 7714416"/>
              <a:gd name="connsiteY12644" fmla="*/ 3628017 h 5282095"/>
              <a:gd name="connsiteX12645" fmla="*/ 6799736 w 7714416"/>
              <a:gd name="connsiteY12645" fmla="*/ 3630794 h 5282095"/>
              <a:gd name="connsiteX12646" fmla="*/ 6791429 w 7714416"/>
              <a:gd name="connsiteY12646" fmla="*/ 3632349 h 5282095"/>
              <a:gd name="connsiteX12647" fmla="*/ 6787990 w 7714416"/>
              <a:gd name="connsiteY12647" fmla="*/ 3629683 h 5282095"/>
              <a:gd name="connsiteX12648" fmla="*/ 6792001 w 7714416"/>
              <a:gd name="connsiteY12648" fmla="*/ 3627017 h 5282095"/>
              <a:gd name="connsiteX12649" fmla="*/ 6797444 w 7714416"/>
              <a:gd name="connsiteY12649" fmla="*/ 3626462 h 5282095"/>
              <a:gd name="connsiteX12650" fmla="*/ 7076460 w 7714416"/>
              <a:gd name="connsiteY12650" fmla="*/ 3619574 h 5282095"/>
              <a:gd name="connsiteX12651" fmla="*/ 7103388 w 7714416"/>
              <a:gd name="connsiteY12651" fmla="*/ 3620575 h 5282095"/>
              <a:gd name="connsiteX12652" fmla="*/ 7106825 w 7714416"/>
              <a:gd name="connsiteY12652" fmla="*/ 3623129 h 5282095"/>
              <a:gd name="connsiteX12653" fmla="*/ 7108544 w 7714416"/>
              <a:gd name="connsiteY12653" fmla="*/ 3623129 h 5282095"/>
              <a:gd name="connsiteX12654" fmla="*/ 7110549 w 7714416"/>
              <a:gd name="connsiteY12654" fmla="*/ 3625573 h 5282095"/>
              <a:gd name="connsiteX12655" fmla="*/ 7100523 w 7714416"/>
              <a:gd name="connsiteY12655" fmla="*/ 3626350 h 5282095"/>
              <a:gd name="connsiteX12656" fmla="*/ 7091929 w 7714416"/>
              <a:gd name="connsiteY12656" fmla="*/ 3626128 h 5282095"/>
              <a:gd name="connsiteX12657" fmla="*/ 7064715 w 7714416"/>
              <a:gd name="connsiteY12657" fmla="*/ 3620574 h 5282095"/>
              <a:gd name="connsiteX12658" fmla="*/ 7076460 w 7714416"/>
              <a:gd name="connsiteY12658" fmla="*/ 3619574 h 5282095"/>
              <a:gd name="connsiteX12659" fmla="*/ 6888253 w 7714416"/>
              <a:gd name="connsiteY12659" fmla="*/ 3614243 h 5282095"/>
              <a:gd name="connsiteX12660" fmla="*/ 6904869 w 7714416"/>
              <a:gd name="connsiteY12660" fmla="*/ 3615686 h 5282095"/>
              <a:gd name="connsiteX12661" fmla="*/ 6908306 w 7714416"/>
              <a:gd name="connsiteY12661" fmla="*/ 3615798 h 5282095"/>
              <a:gd name="connsiteX12662" fmla="*/ 6911743 w 7714416"/>
              <a:gd name="connsiteY12662" fmla="*/ 3618242 h 5282095"/>
              <a:gd name="connsiteX12663" fmla="*/ 6896560 w 7714416"/>
              <a:gd name="connsiteY12663" fmla="*/ 3618908 h 5282095"/>
              <a:gd name="connsiteX12664" fmla="*/ 6888253 w 7714416"/>
              <a:gd name="connsiteY12664" fmla="*/ 3618685 h 5282095"/>
              <a:gd name="connsiteX12665" fmla="*/ 6884529 w 7714416"/>
              <a:gd name="connsiteY12665" fmla="*/ 3616242 h 5282095"/>
              <a:gd name="connsiteX12666" fmla="*/ 6884529 w 7714416"/>
              <a:gd name="connsiteY12666" fmla="*/ 3615020 h 5282095"/>
              <a:gd name="connsiteX12667" fmla="*/ 6888253 w 7714416"/>
              <a:gd name="connsiteY12667" fmla="*/ 3614243 h 5282095"/>
              <a:gd name="connsiteX12668" fmla="*/ 6964739 w 7714416"/>
              <a:gd name="connsiteY12668" fmla="*/ 3612020 h 5282095"/>
              <a:gd name="connsiteX12669" fmla="*/ 6966458 w 7714416"/>
              <a:gd name="connsiteY12669" fmla="*/ 3612020 h 5282095"/>
              <a:gd name="connsiteX12670" fmla="*/ 6970182 w 7714416"/>
              <a:gd name="connsiteY12670" fmla="*/ 3612798 h 5282095"/>
              <a:gd name="connsiteX12671" fmla="*/ 6977343 w 7714416"/>
              <a:gd name="connsiteY12671" fmla="*/ 3617353 h 5282095"/>
              <a:gd name="connsiteX12672" fmla="*/ 6978202 w 7714416"/>
              <a:gd name="connsiteY12672" fmla="*/ 3616353 h 5282095"/>
              <a:gd name="connsiteX12673" fmla="*/ 6973906 w 7714416"/>
              <a:gd name="connsiteY12673" fmla="*/ 3623129 h 5282095"/>
              <a:gd name="connsiteX12674" fmla="*/ 6955286 w 7714416"/>
              <a:gd name="connsiteY12674" fmla="*/ 3617908 h 5282095"/>
              <a:gd name="connsiteX12675" fmla="*/ 6964739 w 7714416"/>
              <a:gd name="connsiteY12675" fmla="*/ 3612020 h 5282095"/>
              <a:gd name="connsiteX12676" fmla="*/ 6649628 w 7714416"/>
              <a:gd name="connsiteY12676" fmla="*/ 3610021 h 5282095"/>
              <a:gd name="connsiteX12677" fmla="*/ 6650488 w 7714416"/>
              <a:gd name="connsiteY12677" fmla="*/ 3618686 h 5282095"/>
              <a:gd name="connsiteX12678" fmla="*/ 6638170 w 7714416"/>
              <a:gd name="connsiteY12678" fmla="*/ 3615798 h 5282095"/>
              <a:gd name="connsiteX12679" fmla="*/ 6649628 w 7714416"/>
              <a:gd name="connsiteY12679" fmla="*/ 3610021 h 5282095"/>
              <a:gd name="connsiteX12680" fmla="*/ 6783066 w 7714416"/>
              <a:gd name="connsiteY12680" fmla="*/ 3602294 h 5282095"/>
              <a:gd name="connsiteX12681" fmla="*/ 6781578 w 7714416"/>
              <a:gd name="connsiteY12681" fmla="*/ 3602496 h 5282095"/>
              <a:gd name="connsiteX12682" fmla="*/ 6763913 w 7714416"/>
              <a:gd name="connsiteY12682" fmla="*/ 3605699 h 5282095"/>
              <a:gd name="connsiteX12683" fmla="*/ 6744284 w 7714416"/>
              <a:gd name="connsiteY12683" fmla="*/ 3608903 h 5282095"/>
              <a:gd name="connsiteX12684" fmla="*/ 6735938 w 7714416"/>
              <a:gd name="connsiteY12684" fmla="*/ 3610795 h 5282095"/>
              <a:gd name="connsiteX12685" fmla="*/ 6745880 w 7714416"/>
              <a:gd name="connsiteY12685" fmla="*/ 3616242 h 5282095"/>
              <a:gd name="connsiteX12686" fmla="*/ 6747312 w 7714416"/>
              <a:gd name="connsiteY12686" fmla="*/ 3619130 h 5282095"/>
              <a:gd name="connsiteX12687" fmla="*/ 6764214 w 7714416"/>
              <a:gd name="connsiteY12687" fmla="*/ 3615132 h 5282095"/>
              <a:gd name="connsiteX12688" fmla="*/ 6786558 w 7714416"/>
              <a:gd name="connsiteY12688" fmla="*/ 3610243 h 5282095"/>
              <a:gd name="connsiteX12689" fmla="*/ 6783694 w 7714416"/>
              <a:gd name="connsiteY12689" fmla="*/ 3606245 h 5282095"/>
              <a:gd name="connsiteX12690" fmla="*/ 6902862 w 7714416"/>
              <a:gd name="connsiteY12690" fmla="*/ 3595580 h 5282095"/>
              <a:gd name="connsiteX12691" fmla="*/ 6912887 w 7714416"/>
              <a:gd name="connsiteY12691" fmla="*/ 3600024 h 5282095"/>
              <a:gd name="connsiteX12692" fmla="*/ 6886248 w 7714416"/>
              <a:gd name="connsiteY12692" fmla="*/ 3604023 h 5282095"/>
              <a:gd name="connsiteX12693" fmla="*/ 6885961 w 7714416"/>
              <a:gd name="connsiteY12693" fmla="*/ 3596581 h 5282095"/>
              <a:gd name="connsiteX12694" fmla="*/ 6902862 w 7714416"/>
              <a:gd name="connsiteY12694" fmla="*/ 3595580 h 5282095"/>
              <a:gd name="connsiteX12695" fmla="*/ 7285007 w 7714416"/>
              <a:gd name="connsiteY12695" fmla="*/ 3578363 h 5282095"/>
              <a:gd name="connsiteX12696" fmla="*/ 7279850 w 7714416"/>
              <a:gd name="connsiteY12696" fmla="*/ 3588582 h 5282095"/>
              <a:gd name="connsiteX12697" fmla="*/ 7270682 w 7714416"/>
              <a:gd name="connsiteY12697" fmla="*/ 3585583 h 5282095"/>
              <a:gd name="connsiteX12698" fmla="*/ 7285007 w 7714416"/>
              <a:gd name="connsiteY12698" fmla="*/ 3578363 h 5282095"/>
              <a:gd name="connsiteX12699" fmla="*/ 7197634 w 7714416"/>
              <a:gd name="connsiteY12699" fmla="*/ 3570698 h 5282095"/>
              <a:gd name="connsiteX12700" fmla="*/ 7196488 w 7714416"/>
              <a:gd name="connsiteY12700" fmla="*/ 3579252 h 5282095"/>
              <a:gd name="connsiteX12701" fmla="*/ 7185030 w 7714416"/>
              <a:gd name="connsiteY12701" fmla="*/ 3576696 h 5282095"/>
              <a:gd name="connsiteX12702" fmla="*/ 7197634 w 7714416"/>
              <a:gd name="connsiteY12702" fmla="*/ 3570698 h 5282095"/>
              <a:gd name="connsiteX12703" fmla="*/ 7420790 w 7714416"/>
              <a:gd name="connsiteY12703" fmla="*/ 3521154 h 5282095"/>
              <a:gd name="connsiteX12704" fmla="*/ 7426233 w 7714416"/>
              <a:gd name="connsiteY12704" fmla="*/ 3529264 h 5282095"/>
              <a:gd name="connsiteX12705" fmla="*/ 7413915 w 7714416"/>
              <a:gd name="connsiteY12705" fmla="*/ 3529709 h 5282095"/>
              <a:gd name="connsiteX12706" fmla="*/ 7420790 w 7714416"/>
              <a:gd name="connsiteY12706" fmla="*/ 3521154 h 5282095"/>
              <a:gd name="connsiteX12707" fmla="*/ 7670014 w 7714416"/>
              <a:gd name="connsiteY12707" fmla="*/ 3013838 h 5282095"/>
              <a:gd name="connsiteX12708" fmla="*/ 7714416 w 7714416"/>
              <a:gd name="connsiteY12708" fmla="*/ 3037388 h 5282095"/>
              <a:gd name="connsiteX12709" fmla="*/ 7655691 w 7714416"/>
              <a:gd name="connsiteY12709" fmla="*/ 3019392 h 5282095"/>
              <a:gd name="connsiteX12710" fmla="*/ 7670014 w 7714416"/>
              <a:gd name="connsiteY12710" fmla="*/ 3013838 h 5282095"/>
              <a:gd name="connsiteX12711" fmla="*/ 7481520 w 7714416"/>
              <a:gd name="connsiteY12711" fmla="*/ 2884982 h 5282095"/>
              <a:gd name="connsiteX12712" fmla="*/ 7491546 w 7714416"/>
              <a:gd name="connsiteY12712" fmla="*/ 2884982 h 5282095"/>
              <a:gd name="connsiteX12713" fmla="*/ 7489255 w 7714416"/>
              <a:gd name="connsiteY12713" fmla="*/ 2888203 h 5282095"/>
              <a:gd name="connsiteX12714" fmla="*/ 7477510 w 7714416"/>
              <a:gd name="connsiteY12714" fmla="*/ 2891203 h 5282095"/>
              <a:gd name="connsiteX12715" fmla="*/ 6521986 w 7714416"/>
              <a:gd name="connsiteY12715" fmla="*/ 1920994 h 5282095"/>
              <a:gd name="connsiteX12716" fmla="*/ 6526795 w 7714416"/>
              <a:gd name="connsiteY12716" fmla="*/ 1922973 h 5282095"/>
              <a:gd name="connsiteX12717" fmla="*/ 6529920 w 7714416"/>
              <a:gd name="connsiteY12717" fmla="*/ 1926800 h 5282095"/>
              <a:gd name="connsiteX12718" fmla="*/ 6528907 w 7714416"/>
              <a:gd name="connsiteY12718" fmla="*/ 1928368 h 5282095"/>
              <a:gd name="connsiteX12719" fmla="*/ 6526118 w 7714416"/>
              <a:gd name="connsiteY12719" fmla="*/ 1929922 h 5282095"/>
              <a:gd name="connsiteX12720" fmla="*/ 6523876 w 7714416"/>
              <a:gd name="connsiteY12720" fmla="*/ 1929436 h 5282095"/>
              <a:gd name="connsiteX12721" fmla="*/ 6520484 w 7714416"/>
              <a:gd name="connsiteY12721" fmla="*/ 1924387 h 5282095"/>
              <a:gd name="connsiteX12722" fmla="*/ 6521986 w 7714416"/>
              <a:gd name="connsiteY12722" fmla="*/ 1920994 h 5282095"/>
              <a:gd name="connsiteX12723" fmla="*/ 6344803 w 7714416"/>
              <a:gd name="connsiteY12723" fmla="*/ 1853968 h 5282095"/>
              <a:gd name="connsiteX12724" fmla="*/ 6359558 w 7714416"/>
              <a:gd name="connsiteY12724" fmla="*/ 1863097 h 5282095"/>
              <a:gd name="connsiteX12725" fmla="*/ 6353553 w 7714416"/>
              <a:gd name="connsiteY12725" fmla="*/ 1864477 h 5282095"/>
              <a:gd name="connsiteX12726" fmla="*/ 6344803 w 7714416"/>
              <a:gd name="connsiteY12726" fmla="*/ 1853968 h 5282095"/>
              <a:gd name="connsiteX12727" fmla="*/ 6517347 w 7714416"/>
              <a:gd name="connsiteY12727" fmla="*/ 1852389 h 5282095"/>
              <a:gd name="connsiteX12728" fmla="*/ 6526109 w 7714416"/>
              <a:gd name="connsiteY12728" fmla="*/ 1860228 h 5282095"/>
              <a:gd name="connsiteX12729" fmla="*/ 6521215 w 7714416"/>
              <a:gd name="connsiteY12729" fmla="*/ 1867427 h 5282095"/>
              <a:gd name="connsiteX12730" fmla="*/ 6506923 w 7714416"/>
              <a:gd name="connsiteY12730" fmla="*/ 1853247 h 5282095"/>
              <a:gd name="connsiteX12731" fmla="*/ 6517347 w 7714416"/>
              <a:gd name="connsiteY12731" fmla="*/ 1852389 h 5282095"/>
              <a:gd name="connsiteX12732" fmla="*/ 6300865 w 7714416"/>
              <a:gd name="connsiteY12732" fmla="*/ 1841965 h 5282095"/>
              <a:gd name="connsiteX12733" fmla="*/ 6322969 w 7714416"/>
              <a:gd name="connsiteY12733" fmla="*/ 1842482 h 5282095"/>
              <a:gd name="connsiteX12734" fmla="*/ 6347480 w 7714416"/>
              <a:gd name="connsiteY12734" fmla="*/ 1849511 h 5282095"/>
              <a:gd name="connsiteX12735" fmla="*/ 6324237 w 7714416"/>
              <a:gd name="connsiteY12735" fmla="*/ 1852137 h 5282095"/>
              <a:gd name="connsiteX12736" fmla="*/ 6300865 w 7714416"/>
              <a:gd name="connsiteY12736" fmla="*/ 1841965 h 5282095"/>
              <a:gd name="connsiteX12737" fmla="*/ 6498345 w 7714416"/>
              <a:gd name="connsiteY12737" fmla="*/ 1833239 h 5282095"/>
              <a:gd name="connsiteX12738" fmla="*/ 6505759 w 7714416"/>
              <a:gd name="connsiteY12738" fmla="*/ 1835455 h 5282095"/>
              <a:gd name="connsiteX12739" fmla="*/ 6488851 w 7714416"/>
              <a:gd name="connsiteY12739" fmla="*/ 1848750 h 5282095"/>
              <a:gd name="connsiteX12740" fmla="*/ 6485160 w 7714416"/>
              <a:gd name="connsiteY12740" fmla="*/ 1845922 h 5282095"/>
              <a:gd name="connsiteX12741" fmla="*/ 6498345 w 7714416"/>
              <a:gd name="connsiteY12741" fmla="*/ 1833239 h 5282095"/>
              <a:gd name="connsiteX12742" fmla="*/ 6349194 w 7714416"/>
              <a:gd name="connsiteY12742" fmla="*/ 1817654 h 5282095"/>
              <a:gd name="connsiteX12743" fmla="*/ 6383757 w 7714416"/>
              <a:gd name="connsiteY12743" fmla="*/ 1841405 h 5282095"/>
              <a:gd name="connsiteX12744" fmla="*/ 6360758 w 7714416"/>
              <a:gd name="connsiteY12744" fmla="*/ 1838693 h 5282095"/>
              <a:gd name="connsiteX12745" fmla="*/ 6334982 w 7714416"/>
              <a:gd name="connsiteY12745" fmla="*/ 1827531 h 5282095"/>
              <a:gd name="connsiteX12746" fmla="*/ 6349194 w 7714416"/>
              <a:gd name="connsiteY12746" fmla="*/ 1817654 h 5282095"/>
              <a:gd name="connsiteX12747" fmla="*/ 6186202 w 7714416"/>
              <a:gd name="connsiteY12747" fmla="*/ 1813886 h 5282095"/>
              <a:gd name="connsiteX12748" fmla="*/ 6185109 w 7714416"/>
              <a:gd name="connsiteY12748" fmla="*/ 1817963 h 5282095"/>
              <a:gd name="connsiteX12749" fmla="*/ 6182982 w 7714416"/>
              <a:gd name="connsiteY12749" fmla="*/ 1817048 h 5282095"/>
              <a:gd name="connsiteX12750" fmla="*/ 6183553 w 7714416"/>
              <a:gd name="connsiteY12750" fmla="*/ 1818236 h 5282095"/>
              <a:gd name="connsiteX12751" fmla="*/ 6182209 w 7714416"/>
              <a:gd name="connsiteY12751" fmla="*/ 1816610 h 5282095"/>
              <a:gd name="connsiteX12752" fmla="*/ 6182410 w 7714416"/>
              <a:gd name="connsiteY12752" fmla="*/ 1815860 h 5282095"/>
              <a:gd name="connsiteX12753" fmla="*/ 6186202 w 7714416"/>
              <a:gd name="connsiteY12753" fmla="*/ 1813886 h 5282095"/>
              <a:gd name="connsiteX12754" fmla="*/ 6316177 w 7714416"/>
              <a:gd name="connsiteY12754" fmla="*/ 1812487 h 5282095"/>
              <a:gd name="connsiteX12755" fmla="*/ 6315074 w 7714416"/>
              <a:gd name="connsiteY12755" fmla="*/ 1817712 h 5282095"/>
              <a:gd name="connsiteX12756" fmla="*/ 6309989 w 7714416"/>
              <a:gd name="connsiteY12756" fmla="*/ 1815659 h 5282095"/>
              <a:gd name="connsiteX12757" fmla="*/ 6316177 w 7714416"/>
              <a:gd name="connsiteY12757" fmla="*/ 1812487 h 5282095"/>
              <a:gd name="connsiteX12758" fmla="*/ 6193950 w 7714416"/>
              <a:gd name="connsiteY12758" fmla="*/ 1807106 h 5282095"/>
              <a:gd name="connsiteX12759" fmla="*/ 6185982 w 7714416"/>
              <a:gd name="connsiteY12759" fmla="*/ 1813597 h 5282095"/>
              <a:gd name="connsiteX12760" fmla="*/ 6187754 w 7714416"/>
              <a:gd name="connsiteY12760" fmla="*/ 1808092 h 5282095"/>
              <a:gd name="connsiteX12761" fmla="*/ 6193950 w 7714416"/>
              <a:gd name="connsiteY12761" fmla="*/ 1807106 h 5282095"/>
              <a:gd name="connsiteX12762" fmla="*/ 6322560 w 7714416"/>
              <a:gd name="connsiteY12762" fmla="*/ 1779812 h 5282095"/>
              <a:gd name="connsiteX12763" fmla="*/ 6328166 w 7714416"/>
              <a:gd name="connsiteY12763" fmla="*/ 1785454 h 5282095"/>
              <a:gd name="connsiteX12764" fmla="*/ 6321744 w 7714416"/>
              <a:gd name="connsiteY12764" fmla="*/ 1801674 h 5282095"/>
              <a:gd name="connsiteX12765" fmla="*/ 6317536 w 7714416"/>
              <a:gd name="connsiteY12765" fmla="*/ 1800776 h 5282095"/>
              <a:gd name="connsiteX12766" fmla="*/ 6310378 w 7714416"/>
              <a:gd name="connsiteY12766" fmla="*/ 1792073 h 5282095"/>
              <a:gd name="connsiteX12767" fmla="*/ 6311053 w 7714416"/>
              <a:gd name="connsiteY12767" fmla="*/ 1785124 h 5282095"/>
              <a:gd name="connsiteX12768" fmla="*/ 6322560 w 7714416"/>
              <a:gd name="connsiteY12768" fmla="*/ 1779812 h 5282095"/>
              <a:gd name="connsiteX12769" fmla="*/ 6474090 w 7714416"/>
              <a:gd name="connsiteY12769" fmla="*/ 1775448 h 5282095"/>
              <a:gd name="connsiteX12770" fmla="*/ 6460233 w 7714416"/>
              <a:gd name="connsiteY12770" fmla="*/ 1791746 h 5282095"/>
              <a:gd name="connsiteX12771" fmla="*/ 6450548 w 7714416"/>
              <a:gd name="connsiteY12771" fmla="*/ 1780295 h 5282095"/>
              <a:gd name="connsiteX12772" fmla="*/ 6474090 w 7714416"/>
              <a:gd name="connsiteY12772" fmla="*/ 1775448 h 5282095"/>
              <a:gd name="connsiteX12773" fmla="*/ 6171649 w 7714416"/>
              <a:gd name="connsiteY12773" fmla="*/ 1768586 h 5282095"/>
              <a:gd name="connsiteX12774" fmla="*/ 6173747 w 7714416"/>
              <a:gd name="connsiteY12774" fmla="*/ 1769607 h 5282095"/>
              <a:gd name="connsiteX12775" fmla="*/ 6160175 w 7714416"/>
              <a:gd name="connsiteY12775" fmla="*/ 1770456 h 5282095"/>
              <a:gd name="connsiteX12776" fmla="*/ 6171649 w 7714416"/>
              <a:gd name="connsiteY12776" fmla="*/ 1768586 h 5282095"/>
              <a:gd name="connsiteX12777" fmla="*/ 6196524 w 7714416"/>
              <a:gd name="connsiteY12777" fmla="*/ 1768581 h 5282095"/>
              <a:gd name="connsiteX12778" fmla="*/ 6210312 w 7714416"/>
              <a:gd name="connsiteY12778" fmla="*/ 1769285 h 5282095"/>
              <a:gd name="connsiteX12779" fmla="*/ 6184762 w 7714416"/>
              <a:gd name="connsiteY12779" fmla="*/ 1769454 h 5282095"/>
              <a:gd name="connsiteX12780" fmla="*/ 6196524 w 7714416"/>
              <a:gd name="connsiteY12780" fmla="*/ 1768581 h 5282095"/>
              <a:gd name="connsiteX12781" fmla="*/ 6211487 w 7714416"/>
              <a:gd name="connsiteY12781" fmla="*/ 1768220 h 5282095"/>
              <a:gd name="connsiteX12782" fmla="*/ 6214243 w 7714416"/>
              <a:gd name="connsiteY12782" fmla="*/ 1770109 h 5282095"/>
              <a:gd name="connsiteX12783" fmla="*/ 6210531 w 7714416"/>
              <a:gd name="connsiteY12783" fmla="*/ 1769574 h 5282095"/>
              <a:gd name="connsiteX12784" fmla="*/ 6211487 w 7714416"/>
              <a:gd name="connsiteY12784" fmla="*/ 1768220 h 5282095"/>
              <a:gd name="connsiteX12785" fmla="*/ 6221089 w 7714416"/>
              <a:gd name="connsiteY12785" fmla="*/ 1767803 h 5282095"/>
              <a:gd name="connsiteX12786" fmla="*/ 6221937 w 7714416"/>
              <a:gd name="connsiteY12786" fmla="*/ 1769066 h 5282095"/>
              <a:gd name="connsiteX12787" fmla="*/ 6219522 w 7714416"/>
              <a:gd name="connsiteY12787" fmla="*/ 1769223 h 5282095"/>
              <a:gd name="connsiteX12788" fmla="*/ 6217976 w 7714416"/>
              <a:gd name="connsiteY12788" fmla="*/ 1768349 h 5282095"/>
              <a:gd name="connsiteX12789" fmla="*/ 6221089 w 7714416"/>
              <a:gd name="connsiteY12789" fmla="*/ 1767803 h 5282095"/>
              <a:gd name="connsiteX12790" fmla="*/ 6228448 w 7714416"/>
              <a:gd name="connsiteY12790" fmla="*/ 1766900 h 5282095"/>
              <a:gd name="connsiteX12791" fmla="*/ 6231966 w 7714416"/>
              <a:gd name="connsiteY12791" fmla="*/ 1770373 h 5282095"/>
              <a:gd name="connsiteX12792" fmla="*/ 6226842 w 7714416"/>
              <a:gd name="connsiteY12792" fmla="*/ 1769575 h 5282095"/>
              <a:gd name="connsiteX12793" fmla="*/ 6222282 w 7714416"/>
              <a:gd name="connsiteY12793" fmla="*/ 1767778 h 5282095"/>
              <a:gd name="connsiteX12794" fmla="*/ 6228448 w 7714416"/>
              <a:gd name="connsiteY12794" fmla="*/ 1766900 h 5282095"/>
              <a:gd name="connsiteX12795" fmla="*/ 6140744 w 7714416"/>
              <a:gd name="connsiteY12795" fmla="*/ 1742249 h 5282095"/>
              <a:gd name="connsiteX12796" fmla="*/ 6156365 w 7714416"/>
              <a:gd name="connsiteY12796" fmla="*/ 1771390 h 5282095"/>
              <a:gd name="connsiteX12797" fmla="*/ 6146070 w 7714416"/>
              <a:gd name="connsiteY12797" fmla="*/ 1768862 h 5282095"/>
              <a:gd name="connsiteX12798" fmla="*/ 6127577 w 7714416"/>
              <a:gd name="connsiteY12798" fmla="*/ 1747117 h 5282095"/>
              <a:gd name="connsiteX12799" fmla="*/ 6140744 w 7714416"/>
              <a:gd name="connsiteY12799" fmla="*/ 1742249 h 5282095"/>
              <a:gd name="connsiteX12800" fmla="*/ 6326852 w 7714416"/>
              <a:gd name="connsiteY12800" fmla="*/ 1739446 h 5282095"/>
              <a:gd name="connsiteX12801" fmla="*/ 6332392 w 7714416"/>
              <a:gd name="connsiteY12801" fmla="*/ 1751971 h 5282095"/>
              <a:gd name="connsiteX12802" fmla="*/ 6325284 w 7714416"/>
              <a:gd name="connsiteY12802" fmla="*/ 1749722 h 5282095"/>
              <a:gd name="connsiteX12803" fmla="*/ 6326852 w 7714416"/>
              <a:gd name="connsiteY12803" fmla="*/ 1739446 h 5282095"/>
              <a:gd name="connsiteX12804" fmla="*/ 6547453 w 7714416"/>
              <a:gd name="connsiteY12804" fmla="*/ 1735190 h 5282095"/>
              <a:gd name="connsiteX12805" fmla="*/ 6553106 w 7714416"/>
              <a:gd name="connsiteY12805" fmla="*/ 1741765 h 5282095"/>
              <a:gd name="connsiteX12806" fmla="*/ 6538364 w 7714416"/>
              <a:gd name="connsiteY12806" fmla="*/ 1745866 h 5282095"/>
              <a:gd name="connsiteX12807" fmla="*/ 6547453 w 7714416"/>
              <a:gd name="connsiteY12807" fmla="*/ 1735190 h 5282095"/>
              <a:gd name="connsiteX12808" fmla="*/ 6297108 w 7714416"/>
              <a:gd name="connsiteY12808" fmla="*/ 1734236 h 5282095"/>
              <a:gd name="connsiteX12809" fmla="*/ 6306465 w 7714416"/>
              <a:gd name="connsiteY12809" fmla="*/ 1756870 h 5282095"/>
              <a:gd name="connsiteX12810" fmla="*/ 6297108 w 7714416"/>
              <a:gd name="connsiteY12810" fmla="*/ 1734236 h 5282095"/>
              <a:gd name="connsiteX12811" fmla="*/ 6421708 w 7714416"/>
              <a:gd name="connsiteY12811" fmla="*/ 1726337 h 5282095"/>
              <a:gd name="connsiteX12812" fmla="*/ 6440893 w 7714416"/>
              <a:gd name="connsiteY12812" fmla="*/ 1751029 h 5282095"/>
              <a:gd name="connsiteX12813" fmla="*/ 6421708 w 7714416"/>
              <a:gd name="connsiteY12813" fmla="*/ 1726337 h 5282095"/>
              <a:gd name="connsiteX12814" fmla="*/ 475513 w 7714416"/>
              <a:gd name="connsiteY12814" fmla="*/ 1712952 h 5282095"/>
              <a:gd name="connsiteX12815" fmla="*/ 487634 w 7714416"/>
              <a:gd name="connsiteY12815" fmla="*/ 1713094 h 5282095"/>
              <a:gd name="connsiteX12816" fmla="*/ 482150 w 7714416"/>
              <a:gd name="connsiteY12816" fmla="*/ 1718066 h 5282095"/>
              <a:gd name="connsiteX12817" fmla="*/ 472466 w 7714416"/>
              <a:gd name="connsiteY12817" fmla="*/ 1715471 h 5282095"/>
              <a:gd name="connsiteX12818" fmla="*/ 6473760 w 7714416"/>
              <a:gd name="connsiteY12818" fmla="*/ 1710269 h 5282095"/>
              <a:gd name="connsiteX12819" fmla="*/ 6485633 w 7714416"/>
              <a:gd name="connsiteY12819" fmla="*/ 1727941 h 5282095"/>
              <a:gd name="connsiteX12820" fmla="*/ 6480128 w 7714416"/>
              <a:gd name="connsiteY12820" fmla="*/ 1726350 h 5282095"/>
              <a:gd name="connsiteX12821" fmla="*/ 6465585 w 7714416"/>
              <a:gd name="connsiteY12821" fmla="*/ 1715324 h 5282095"/>
              <a:gd name="connsiteX12822" fmla="*/ 6473760 w 7714416"/>
              <a:gd name="connsiteY12822" fmla="*/ 1710269 h 5282095"/>
              <a:gd name="connsiteX12823" fmla="*/ 6279884 w 7714416"/>
              <a:gd name="connsiteY12823" fmla="*/ 1704436 h 5282095"/>
              <a:gd name="connsiteX12824" fmla="*/ 6271270 w 7714416"/>
              <a:gd name="connsiteY12824" fmla="*/ 1717768 h 5282095"/>
              <a:gd name="connsiteX12825" fmla="*/ 6267339 w 7714416"/>
              <a:gd name="connsiteY12825" fmla="*/ 1716944 h 5282095"/>
              <a:gd name="connsiteX12826" fmla="*/ 6263867 w 7714416"/>
              <a:gd name="connsiteY12826" fmla="*/ 1714404 h 5282095"/>
              <a:gd name="connsiteX12827" fmla="*/ 6279884 w 7714416"/>
              <a:gd name="connsiteY12827" fmla="*/ 1704436 h 5282095"/>
              <a:gd name="connsiteX12828" fmla="*/ 6192467 w 7714416"/>
              <a:gd name="connsiteY12828" fmla="*/ 1687568 h 5282095"/>
              <a:gd name="connsiteX12829" fmla="*/ 6201875 w 7714416"/>
              <a:gd name="connsiteY12829" fmla="*/ 1690089 h 5282095"/>
              <a:gd name="connsiteX12830" fmla="*/ 6202978 w 7714416"/>
              <a:gd name="connsiteY12830" fmla="*/ 1693719 h 5282095"/>
              <a:gd name="connsiteX12831" fmla="*/ 6206934 w 7714416"/>
              <a:gd name="connsiteY12831" fmla="*/ 1697769 h 5282095"/>
              <a:gd name="connsiteX12832" fmla="*/ 6202788 w 7714416"/>
              <a:gd name="connsiteY12832" fmla="*/ 1702178 h 5282095"/>
              <a:gd name="connsiteX12833" fmla="*/ 6198903 w 7714416"/>
              <a:gd name="connsiteY12833" fmla="*/ 1702288 h 5282095"/>
              <a:gd name="connsiteX12834" fmla="*/ 6198928 w 7714416"/>
              <a:gd name="connsiteY12834" fmla="*/ 1705514 h 5282095"/>
              <a:gd name="connsiteX12835" fmla="*/ 6198310 w 7714416"/>
              <a:gd name="connsiteY12835" fmla="*/ 1712249 h 5282095"/>
              <a:gd name="connsiteX12836" fmla="*/ 6189854 w 7714416"/>
              <a:gd name="connsiteY12836" fmla="*/ 1711708 h 5282095"/>
              <a:gd name="connsiteX12837" fmla="*/ 6183361 w 7714416"/>
              <a:gd name="connsiteY12837" fmla="*/ 1706058 h 5282095"/>
              <a:gd name="connsiteX12838" fmla="*/ 6182933 w 7714416"/>
              <a:gd name="connsiteY12838" fmla="*/ 1704333 h 5282095"/>
              <a:gd name="connsiteX12839" fmla="*/ 6182865 w 7714416"/>
              <a:gd name="connsiteY12839" fmla="*/ 1696840 h 5282095"/>
              <a:gd name="connsiteX12840" fmla="*/ 6179670 w 7714416"/>
              <a:gd name="connsiteY12840" fmla="*/ 1694374 h 5282095"/>
              <a:gd name="connsiteX12841" fmla="*/ 6188237 w 7714416"/>
              <a:gd name="connsiteY12841" fmla="*/ 1688965 h 5282095"/>
              <a:gd name="connsiteX12842" fmla="*/ 6191558 w 7714416"/>
              <a:gd name="connsiteY12842" fmla="*/ 1689854 h 5282095"/>
              <a:gd name="connsiteX12843" fmla="*/ 6214772 w 7714416"/>
              <a:gd name="connsiteY12843" fmla="*/ 1687334 h 5282095"/>
              <a:gd name="connsiteX12844" fmla="*/ 6227903 w 7714416"/>
              <a:gd name="connsiteY12844" fmla="*/ 1698098 h 5282095"/>
              <a:gd name="connsiteX12845" fmla="*/ 6223304 w 7714416"/>
              <a:gd name="connsiteY12845" fmla="*/ 1697556 h 5282095"/>
              <a:gd name="connsiteX12846" fmla="*/ 6214772 w 7714416"/>
              <a:gd name="connsiteY12846" fmla="*/ 1687334 h 5282095"/>
              <a:gd name="connsiteX12847" fmla="*/ 6199788 w 7714416"/>
              <a:gd name="connsiteY12847" fmla="*/ 1670210 h 5282095"/>
              <a:gd name="connsiteX12848" fmla="*/ 6215075 w 7714416"/>
              <a:gd name="connsiteY12848" fmla="*/ 1672926 h 5282095"/>
              <a:gd name="connsiteX12849" fmla="*/ 6207585 w 7714416"/>
              <a:gd name="connsiteY12849" fmla="*/ 1678738 h 5282095"/>
              <a:gd name="connsiteX12850" fmla="*/ 6199788 w 7714416"/>
              <a:gd name="connsiteY12850" fmla="*/ 1670210 h 5282095"/>
              <a:gd name="connsiteX12851" fmla="*/ 560218 w 7714416"/>
              <a:gd name="connsiteY12851" fmla="*/ 1661358 h 5282095"/>
              <a:gd name="connsiteX12852" fmla="*/ 558198 w 7714416"/>
              <a:gd name="connsiteY12852" fmla="*/ 1675536 h 5282095"/>
              <a:gd name="connsiteX12853" fmla="*/ 539902 w 7714416"/>
              <a:gd name="connsiteY12853" fmla="*/ 1682940 h 5282095"/>
              <a:gd name="connsiteX12854" fmla="*/ 518779 w 7714416"/>
              <a:gd name="connsiteY12854" fmla="*/ 1693150 h 5282095"/>
              <a:gd name="connsiteX12855" fmla="*/ 514360 w 7714416"/>
              <a:gd name="connsiteY12855" fmla="*/ 1703005 h 5282095"/>
              <a:gd name="connsiteX12856" fmla="*/ 499756 w 7714416"/>
              <a:gd name="connsiteY12856" fmla="*/ 1704382 h 5282095"/>
              <a:gd name="connsiteX12857" fmla="*/ 494624 w 7714416"/>
              <a:gd name="connsiteY12857" fmla="*/ 1701397 h 5282095"/>
              <a:gd name="connsiteX12858" fmla="*/ 529981 w 7714416"/>
              <a:gd name="connsiteY12858" fmla="*/ 1679017 h 5282095"/>
              <a:gd name="connsiteX12859" fmla="*/ 540618 w 7714416"/>
              <a:gd name="connsiteY12859" fmla="*/ 1665881 h 5282095"/>
              <a:gd name="connsiteX12860" fmla="*/ 560218 w 7714416"/>
              <a:gd name="connsiteY12860" fmla="*/ 1661358 h 5282095"/>
              <a:gd name="connsiteX12861" fmla="*/ 6439468 w 7714416"/>
              <a:gd name="connsiteY12861" fmla="*/ 1648985 h 5282095"/>
              <a:gd name="connsiteX12862" fmla="*/ 6455685 w 7714416"/>
              <a:gd name="connsiteY12862" fmla="*/ 1655976 h 5282095"/>
              <a:gd name="connsiteX12863" fmla="*/ 6436097 w 7714416"/>
              <a:gd name="connsiteY12863" fmla="*/ 1659352 h 5282095"/>
              <a:gd name="connsiteX12864" fmla="*/ 6428095 w 7714416"/>
              <a:gd name="connsiteY12864" fmla="*/ 1654907 h 5282095"/>
              <a:gd name="connsiteX12865" fmla="*/ 6439468 w 7714416"/>
              <a:gd name="connsiteY12865" fmla="*/ 1648985 h 5282095"/>
              <a:gd name="connsiteX12866" fmla="*/ 6278552 w 7714416"/>
              <a:gd name="connsiteY12866" fmla="*/ 1648534 h 5282095"/>
              <a:gd name="connsiteX12867" fmla="*/ 6277513 w 7714416"/>
              <a:gd name="connsiteY12867" fmla="*/ 1655731 h 5282095"/>
              <a:gd name="connsiteX12868" fmla="*/ 6273183 w 7714416"/>
              <a:gd name="connsiteY12868" fmla="*/ 1653075 h 5282095"/>
              <a:gd name="connsiteX12869" fmla="*/ 6278552 w 7714416"/>
              <a:gd name="connsiteY12869" fmla="*/ 1648534 h 5282095"/>
              <a:gd name="connsiteX12870" fmla="*/ 575839 w 7714416"/>
              <a:gd name="connsiteY12870" fmla="*/ 1637367 h 5282095"/>
              <a:gd name="connsiteX12871" fmla="*/ 577499 w 7714416"/>
              <a:gd name="connsiteY12871" fmla="*/ 1637812 h 5282095"/>
              <a:gd name="connsiteX12872" fmla="*/ 578873 w 7714416"/>
              <a:gd name="connsiteY12872" fmla="*/ 1639331 h 5282095"/>
              <a:gd name="connsiteX12873" fmla="*/ 594465 w 7714416"/>
              <a:gd name="connsiteY12873" fmla="*/ 1650869 h 5282095"/>
              <a:gd name="connsiteX12874" fmla="*/ 589207 w 7714416"/>
              <a:gd name="connsiteY12874" fmla="*/ 1649460 h 5282095"/>
              <a:gd name="connsiteX12875" fmla="*/ 588632 w 7714416"/>
              <a:gd name="connsiteY12875" fmla="*/ 1651606 h 5282095"/>
              <a:gd name="connsiteX12876" fmla="*/ 585610 w 7714416"/>
              <a:gd name="connsiteY12876" fmla="*/ 1657351 h 5282095"/>
              <a:gd name="connsiteX12877" fmla="*/ 581851 w 7714416"/>
              <a:gd name="connsiteY12877" fmla="*/ 1655884 h 5282095"/>
              <a:gd name="connsiteX12878" fmla="*/ 586972 w 7714416"/>
              <a:gd name="connsiteY12878" fmla="*/ 1651162 h 5282095"/>
              <a:gd name="connsiteX12879" fmla="*/ 587261 w 7714416"/>
              <a:gd name="connsiteY12879" fmla="*/ 1650088 h 5282095"/>
              <a:gd name="connsiteX12880" fmla="*/ 571161 w 7714416"/>
              <a:gd name="connsiteY12880" fmla="*/ 1648189 h 5282095"/>
              <a:gd name="connsiteX12881" fmla="*/ 576609 w 7714416"/>
              <a:gd name="connsiteY12881" fmla="*/ 1641139 h 5282095"/>
              <a:gd name="connsiteX12882" fmla="*/ 578268 w 7714416"/>
              <a:gd name="connsiteY12882" fmla="*/ 1641584 h 5282095"/>
              <a:gd name="connsiteX12883" fmla="*/ 575839 w 7714416"/>
              <a:gd name="connsiteY12883" fmla="*/ 1637367 h 5282095"/>
              <a:gd name="connsiteX12884" fmla="*/ 6329236 w 7714416"/>
              <a:gd name="connsiteY12884" fmla="*/ 1636468 h 5282095"/>
              <a:gd name="connsiteX12885" fmla="*/ 6337577 w 7714416"/>
              <a:gd name="connsiteY12885" fmla="*/ 1637439 h 5282095"/>
              <a:gd name="connsiteX12886" fmla="*/ 6346891 w 7714416"/>
              <a:gd name="connsiteY12886" fmla="*/ 1646949 h 5282095"/>
              <a:gd name="connsiteX12887" fmla="*/ 6333655 w 7714416"/>
              <a:gd name="connsiteY12887" fmla="*/ 1653179 h 5282095"/>
              <a:gd name="connsiteX12888" fmla="*/ 6329236 w 7714416"/>
              <a:gd name="connsiteY12888" fmla="*/ 1636468 h 5282095"/>
              <a:gd name="connsiteX12889" fmla="*/ 6301084 w 7714416"/>
              <a:gd name="connsiteY12889" fmla="*/ 1633066 h 5282095"/>
              <a:gd name="connsiteX12890" fmla="*/ 6309435 w 7714416"/>
              <a:gd name="connsiteY12890" fmla="*/ 1641743 h 5282095"/>
              <a:gd name="connsiteX12891" fmla="*/ 6297469 w 7714416"/>
              <a:gd name="connsiteY12891" fmla="*/ 1648772 h 5282095"/>
              <a:gd name="connsiteX12892" fmla="*/ 6286946 w 7714416"/>
              <a:gd name="connsiteY12892" fmla="*/ 1634912 h 5282095"/>
              <a:gd name="connsiteX12893" fmla="*/ 6301084 w 7714416"/>
              <a:gd name="connsiteY12893" fmla="*/ 1633066 h 5282095"/>
              <a:gd name="connsiteX12894" fmla="*/ 6217677 w 7714416"/>
              <a:gd name="connsiteY12894" fmla="*/ 1630046 h 5282095"/>
              <a:gd name="connsiteX12895" fmla="*/ 6225073 w 7714416"/>
              <a:gd name="connsiteY12895" fmla="*/ 1633398 h 5282095"/>
              <a:gd name="connsiteX12896" fmla="*/ 6218759 w 7714416"/>
              <a:gd name="connsiteY12896" fmla="*/ 1638147 h 5282095"/>
              <a:gd name="connsiteX12897" fmla="*/ 6217677 w 7714416"/>
              <a:gd name="connsiteY12897" fmla="*/ 1630046 h 5282095"/>
              <a:gd name="connsiteX12898" fmla="*/ 1815322 w 7714416"/>
              <a:gd name="connsiteY12898" fmla="*/ 1608151 h 5282095"/>
              <a:gd name="connsiteX12899" fmla="*/ 1811157 w 7714416"/>
              <a:gd name="connsiteY12899" fmla="*/ 1611520 h 5282095"/>
              <a:gd name="connsiteX12900" fmla="*/ 1814467 w 7714416"/>
              <a:gd name="connsiteY12900" fmla="*/ 1613556 h 5282095"/>
              <a:gd name="connsiteX12901" fmla="*/ 1809633 w 7714416"/>
              <a:gd name="connsiteY12901" fmla="*/ 1617207 h 5282095"/>
              <a:gd name="connsiteX12902" fmla="*/ 1814261 w 7714416"/>
              <a:gd name="connsiteY12902" fmla="*/ 1617643 h 5282095"/>
              <a:gd name="connsiteX12903" fmla="*/ 1814348 w 7714416"/>
              <a:gd name="connsiteY12903" fmla="*/ 1617320 h 5282095"/>
              <a:gd name="connsiteX12904" fmla="*/ 1813881 w 7714416"/>
              <a:gd name="connsiteY12904" fmla="*/ 1616850 h 5282095"/>
              <a:gd name="connsiteX12905" fmla="*/ 1814301 w 7714416"/>
              <a:gd name="connsiteY12905" fmla="*/ 1616388 h 5282095"/>
              <a:gd name="connsiteX12906" fmla="*/ 1800628 w 7714416"/>
              <a:gd name="connsiteY12906" fmla="*/ 1595473 h 5282095"/>
              <a:gd name="connsiteX12907" fmla="*/ 1802335 w 7714416"/>
              <a:gd name="connsiteY12907" fmla="*/ 1596851 h 5282095"/>
              <a:gd name="connsiteX12908" fmla="*/ 1802019 w 7714416"/>
              <a:gd name="connsiteY12908" fmla="*/ 1598032 h 5282095"/>
              <a:gd name="connsiteX12909" fmla="*/ 1815466 w 7714416"/>
              <a:gd name="connsiteY12909" fmla="*/ 1607615 h 5282095"/>
              <a:gd name="connsiteX12910" fmla="*/ 1815610 w 7714416"/>
              <a:gd name="connsiteY12910" fmla="*/ 1607077 h 5282095"/>
              <a:gd name="connsiteX12911" fmla="*/ 1819818 w 7714416"/>
              <a:gd name="connsiteY12911" fmla="*/ 1599120 h 5282095"/>
              <a:gd name="connsiteX12912" fmla="*/ 1818216 w 7714416"/>
              <a:gd name="connsiteY12912" fmla="*/ 1598461 h 5282095"/>
              <a:gd name="connsiteX12913" fmla="*/ 1806936 w 7714416"/>
              <a:gd name="connsiteY12913" fmla="*/ 1597393 h 5282095"/>
              <a:gd name="connsiteX12914" fmla="*/ 697946 w 7714416"/>
              <a:gd name="connsiteY12914" fmla="*/ 1579004 h 5282095"/>
              <a:gd name="connsiteX12915" fmla="*/ 708579 w 7714416"/>
              <a:gd name="connsiteY12915" fmla="*/ 1586914 h 5282095"/>
              <a:gd name="connsiteX12916" fmla="*/ 695779 w 7714416"/>
              <a:gd name="connsiteY12916" fmla="*/ 1588200 h 5282095"/>
              <a:gd name="connsiteX12917" fmla="*/ 685494 w 7714416"/>
              <a:gd name="connsiteY12917" fmla="*/ 1584524 h 5282095"/>
              <a:gd name="connsiteX12918" fmla="*/ 697946 w 7714416"/>
              <a:gd name="connsiteY12918" fmla="*/ 1579004 h 5282095"/>
              <a:gd name="connsiteX12919" fmla="*/ 1726885 w 7714416"/>
              <a:gd name="connsiteY12919" fmla="*/ 1572954 h 5282095"/>
              <a:gd name="connsiteX12920" fmla="*/ 1725024 w 7714416"/>
              <a:gd name="connsiteY12920" fmla="*/ 1573261 h 5282095"/>
              <a:gd name="connsiteX12921" fmla="*/ 1726015 w 7714416"/>
              <a:gd name="connsiteY12921" fmla="*/ 1573986 h 5282095"/>
              <a:gd name="connsiteX12922" fmla="*/ 1728268 w 7714416"/>
              <a:gd name="connsiteY12922" fmla="*/ 1573325 h 5282095"/>
              <a:gd name="connsiteX12923" fmla="*/ 1707322 w 7714416"/>
              <a:gd name="connsiteY12923" fmla="*/ 1570702 h 5282095"/>
              <a:gd name="connsiteX12924" fmla="*/ 1695714 w 7714416"/>
              <a:gd name="connsiteY12924" fmla="*/ 1571963 h 5282095"/>
              <a:gd name="connsiteX12925" fmla="*/ 1703185 w 7714416"/>
              <a:gd name="connsiteY12925" fmla="*/ 1573965 h 5282095"/>
              <a:gd name="connsiteX12926" fmla="*/ 1705449 w 7714416"/>
              <a:gd name="connsiteY12926" fmla="*/ 1572156 h 5282095"/>
              <a:gd name="connsiteX12927" fmla="*/ 1710030 w 7714416"/>
              <a:gd name="connsiteY12927" fmla="*/ 1571659 h 5282095"/>
              <a:gd name="connsiteX12928" fmla="*/ 1710117 w 7714416"/>
              <a:gd name="connsiteY12928" fmla="*/ 1571336 h 5282095"/>
              <a:gd name="connsiteX12929" fmla="*/ 6240155 w 7714416"/>
              <a:gd name="connsiteY12929" fmla="*/ 1566182 h 5282095"/>
              <a:gd name="connsiteX12930" fmla="*/ 6251964 w 7714416"/>
              <a:gd name="connsiteY12930" fmla="*/ 1567349 h 5282095"/>
              <a:gd name="connsiteX12931" fmla="*/ 6235765 w 7714416"/>
              <a:gd name="connsiteY12931" fmla="*/ 1579108 h 5282095"/>
              <a:gd name="connsiteX12932" fmla="*/ 6228422 w 7714416"/>
              <a:gd name="connsiteY12932" fmla="*/ 1572196 h 5282095"/>
              <a:gd name="connsiteX12933" fmla="*/ 6240155 w 7714416"/>
              <a:gd name="connsiteY12933" fmla="*/ 1566182 h 5282095"/>
              <a:gd name="connsiteX12934" fmla="*/ 1674844 w 7714416"/>
              <a:gd name="connsiteY12934" fmla="*/ 1552454 h 5282095"/>
              <a:gd name="connsiteX12935" fmla="*/ 1687179 w 7714416"/>
              <a:gd name="connsiteY12935" fmla="*/ 1556221 h 5282095"/>
              <a:gd name="connsiteX12936" fmla="*/ 1689731 w 7714416"/>
              <a:gd name="connsiteY12936" fmla="*/ 1553340 h 5282095"/>
              <a:gd name="connsiteX12937" fmla="*/ 1653703 w 7714416"/>
              <a:gd name="connsiteY12937" fmla="*/ 1543915 h 5282095"/>
              <a:gd name="connsiteX12938" fmla="*/ 1650950 w 7714416"/>
              <a:gd name="connsiteY12938" fmla="*/ 1547547 h 5282095"/>
              <a:gd name="connsiteX12939" fmla="*/ 1643054 w 7714416"/>
              <a:gd name="connsiteY12939" fmla="*/ 1549342 h 5282095"/>
              <a:gd name="connsiteX12940" fmla="*/ 1648312 w 7714416"/>
              <a:gd name="connsiteY12940" fmla="*/ 1550750 h 5282095"/>
              <a:gd name="connsiteX12941" fmla="*/ 1668565 w 7714416"/>
              <a:gd name="connsiteY12941" fmla="*/ 1550427 h 5282095"/>
              <a:gd name="connsiteX12942" fmla="*/ 1673489 w 7714416"/>
              <a:gd name="connsiteY12942" fmla="*/ 1551976 h 5282095"/>
              <a:gd name="connsiteX12943" fmla="*/ 1653922 w 7714416"/>
              <a:gd name="connsiteY12943" fmla="*/ 1544203 h 5282095"/>
              <a:gd name="connsiteX12944" fmla="*/ 1798214 w 7714416"/>
              <a:gd name="connsiteY12944" fmla="*/ 1524791 h 5282095"/>
              <a:gd name="connsiteX12945" fmla="*/ 1801082 w 7714416"/>
              <a:gd name="connsiteY12945" fmla="*/ 1529585 h 5282095"/>
              <a:gd name="connsiteX12946" fmla="*/ 1781781 w 7714416"/>
              <a:gd name="connsiteY12946" fmla="*/ 1540743 h 5282095"/>
              <a:gd name="connsiteX12947" fmla="*/ 1798214 w 7714416"/>
              <a:gd name="connsiteY12947" fmla="*/ 1524791 h 5282095"/>
              <a:gd name="connsiteX12948" fmla="*/ 1775072 w 7714416"/>
              <a:gd name="connsiteY12948" fmla="*/ 1522615 h 5282095"/>
              <a:gd name="connsiteX12949" fmla="*/ 1776573 w 7714416"/>
              <a:gd name="connsiteY12949" fmla="*/ 1528077 h 5282095"/>
              <a:gd name="connsiteX12950" fmla="*/ 1777023 w 7714416"/>
              <a:gd name="connsiteY12950" fmla="*/ 1527508 h 5282095"/>
              <a:gd name="connsiteX12951" fmla="*/ 1771071 w 7714416"/>
              <a:gd name="connsiteY12951" fmla="*/ 1558574 h 5282095"/>
              <a:gd name="connsiteX12952" fmla="*/ 1766950 w 7714416"/>
              <a:gd name="connsiteY12952" fmla="*/ 1539645 h 5282095"/>
              <a:gd name="connsiteX12953" fmla="*/ 1769523 w 7714416"/>
              <a:gd name="connsiteY12953" fmla="*/ 1534468 h 5282095"/>
              <a:gd name="connsiteX12954" fmla="*/ 1764000 w 7714416"/>
              <a:gd name="connsiteY12954" fmla="*/ 1531838 h 5282095"/>
              <a:gd name="connsiteX12955" fmla="*/ 1754025 w 7714416"/>
              <a:gd name="connsiteY12955" fmla="*/ 1524796 h 5282095"/>
              <a:gd name="connsiteX12956" fmla="*/ 1775072 w 7714416"/>
              <a:gd name="connsiteY12956" fmla="*/ 1522615 h 5282095"/>
              <a:gd name="connsiteX12957" fmla="*/ 5446898 w 7714416"/>
              <a:gd name="connsiteY12957" fmla="*/ 1519526 h 5282095"/>
              <a:gd name="connsiteX12958" fmla="*/ 5442141 w 7714416"/>
              <a:gd name="connsiteY12958" fmla="*/ 1523779 h 5282095"/>
              <a:gd name="connsiteX12959" fmla="*/ 5442790 w 7714416"/>
              <a:gd name="connsiteY12959" fmla="*/ 1525588 h 5282095"/>
              <a:gd name="connsiteX12960" fmla="*/ 5452912 w 7714416"/>
              <a:gd name="connsiteY12960" fmla="*/ 1527138 h 5282095"/>
              <a:gd name="connsiteX12961" fmla="*/ 6270313 w 7714416"/>
              <a:gd name="connsiteY12961" fmla="*/ 1518789 h 5282095"/>
              <a:gd name="connsiteX12962" fmla="*/ 6275571 w 7714416"/>
              <a:gd name="connsiteY12962" fmla="*/ 1529053 h 5282095"/>
              <a:gd name="connsiteX12963" fmla="*/ 6264934 w 7714416"/>
              <a:gd name="connsiteY12963" fmla="*/ 1524478 h 5282095"/>
              <a:gd name="connsiteX12964" fmla="*/ 6270313 w 7714416"/>
              <a:gd name="connsiteY12964" fmla="*/ 1518789 h 5282095"/>
              <a:gd name="connsiteX12965" fmla="*/ 5417590 w 7714416"/>
              <a:gd name="connsiteY12965" fmla="*/ 1518005 h 5282095"/>
              <a:gd name="connsiteX12966" fmla="*/ 5417532 w 7714416"/>
              <a:gd name="connsiteY12966" fmla="*/ 1518220 h 5282095"/>
              <a:gd name="connsiteX12967" fmla="*/ 5408997 w 7714416"/>
              <a:gd name="connsiteY12967" fmla="*/ 1520188 h 5282095"/>
              <a:gd name="connsiteX12968" fmla="*/ 5407319 w 7714416"/>
              <a:gd name="connsiteY12968" fmla="*/ 1518704 h 5282095"/>
              <a:gd name="connsiteX12969" fmla="*/ 5406737 w 7714416"/>
              <a:gd name="connsiteY12969" fmla="*/ 1518663 h 5282095"/>
              <a:gd name="connsiteX12970" fmla="*/ 5408384 w 7714416"/>
              <a:gd name="connsiteY12970" fmla="*/ 1520320 h 5282095"/>
              <a:gd name="connsiteX12971" fmla="*/ 5420490 w 7714416"/>
              <a:gd name="connsiteY12971" fmla="*/ 1522173 h 5282095"/>
              <a:gd name="connsiteX12972" fmla="*/ 6204150 w 7714416"/>
              <a:gd name="connsiteY12972" fmla="*/ 1513365 h 5282095"/>
              <a:gd name="connsiteX12973" fmla="*/ 6236204 w 7714416"/>
              <a:gd name="connsiteY12973" fmla="*/ 1535409 h 5282095"/>
              <a:gd name="connsiteX12974" fmla="*/ 6223824 w 7714416"/>
              <a:gd name="connsiteY12974" fmla="*/ 1536232 h 5282095"/>
              <a:gd name="connsiteX12975" fmla="*/ 6210629 w 7714416"/>
              <a:gd name="connsiteY12975" fmla="*/ 1532352 h 5282095"/>
              <a:gd name="connsiteX12976" fmla="*/ 6199420 w 7714416"/>
              <a:gd name="connsiteY12976" fmla="*/ 1517734 h 5282095"/>
              <a:gd name="connsiteX12977" fmla="*/ 6204150 w 7714416"/>
              <a:gd name="connsiteY12977" fmla="*/ 1513365 h 5282095"/>
              <a:gd name="connsiteX12978" fmla="*/ 6016490 w 7714416"/>
              <a:gd name="connsiteY12978" fmla="*/ 1513109 h 5282095"/>
              <a:gd name="connsiteX12979" fmla="*/ 6015304 w 7714416"/>
              <a:gd name="connsiteY12979" fmla="*/ 1515321 h 5282095"/>
              <a:gd name="connsiteX12980" fmla="*/ 6014427 w 7714416"/>
              <a:gd name="connsiteY12980" fmla="*/ 1514166 h 5282095"/>
              <a:gd name="connsiteX12981" fmla="*/ 6016490 w 7714416"/>
              <a:gd name="connsiteY12981" fmla="*/ 1513109 h 5282095"/>
              <a:gd name="connsiteX12982" fmla="*/ 296636 w 7714416"/>
              <a:gd name="connsiteY12982" fmla="*/ 1510575 h 5282095"/>
              <a:gd name="connsiteX12983" fmla="*/ 348702 w 7714416"/>
              <a:gd name="connsiteY12983" fmla="*/ 1543156 h 5282095"/>
              <a:gd name="connsiteX12984" fmla="*/ 333430 w 7714416"/>
              <a:gd name="connsiteY12984" fmla="*/ 1544813 h 5282095"/>
              <a:gd name="connsiteX12985" fmla="*/ 296636 w 7714416"/>
              <a:gd name="connsiteY12985" fmla="*/ 1510575 h 5282095"/>
              <a:gd name="connsiteX12986" fmla="*/ 6030257 w 7714416"/>
              <a:gd name="connsiteY12986" fmla="*/ 1509322 h 5282095"/>
              <a:gd name="connsiteX12987" fmla="*/ 6027116 w 7714416"/>
              <a:gd name="connsiteY12987" fmla="*/ 1536540 h 5282095"/>
              <a:gd name="connsiteX12988" fmla="*/ 6022542 w 7714416"/>
              <a:gd name="connsiteY12988" fmla="*/ 1521514 h 5282095"/>
              <a:gd name="connsiteX12989" fmla="*/ 6030257 w 7714416"/>
              <a:gd name="connsiteY12989" fmla="*/ 1509322 h 5282095"/>
              <a:gd name="connsiteX12990" fmla="*/ 6171236 w 7714416"/>
              <a:gd name="connsiteY12990" fmla="*/ 1508917 h 5282095"/>
              <a:gd name="connsiteX12991" fmla="*/ 6174135 w 7714416"/>
              <a:gd name="connsiteY12991" fmla="*/ 1510269 h 5282095"/>
              <a:gd name="connsiteX12992" fmla="*/ 6175135 w 7714416"/>
              <a:gd name="connsiteY12992" fmla="*/ 1513181 h 5282095"/>
              <a:gd name="connsiteX12993" fmla="*/ 6173651 w 7714416"/>
              <a:gd name="connsiteY12993" fmla="*/ 1517614 h 5282095"/>
              <a:gd name="connsiteX12994" fmla="*/ 6169784 w 7714416"/>
              <a:gd name="connsiteY12994" fmla="*/ 1518763 h 5282095"/>
              <a:gd name="connsiteX12995" fmla="*/ 6166837 w 7714416"/>
              <a:gd name="connsiteY12995" fmla="*/ 1516478 h 5282095"/>
              <a:gd name="connsiteX12996" fmla="*/ 6163879 w 7714416"/>
              <a:gd name="connsiteY12996" fmla="*/ 1515341 h 5282095"/>
              <a:gd name="connsiteX12997" fmla="*/ 6164196 w 7714416"/>
              <a:gd name="connsiteY12997" fmla="*/ 1514160 h 5282095"/>
              <a:gd name="connsiteX12998" fmla="*/ 6162881 w 7714416"/>
              <a:gd name="connsiteY12998" fmla="*/ 1512428 h 5282095"/>
              <a:gd name="connsiteX12999" fmla="*/ 6167351 w 7714416"/>
              <a:gd name="connsiteY12999" fmla="*/ 1509026 h 5282095"/>
              <a:gd name="connsiteX13000" fmla="*/ 6171236 w 7714416"/>
              <a:gd name="connsiteY13000" fmla="*/ 1508917 h 5282095"/>
              <a:gd name="connsiteX13001" fmla="*/ 842032 w 7714416"/>
              <a:gd name="connsiteY13001" fmla="*/ 1505026 h 5282095"/>
              <a:gd name="connsiteX13002" fmla="*/ 861627 w 7714416"/>
              <a:gd name="connsiteY13002" fmla="*/ 1512693 h 5282095"/>
              <a:gd name="connsiteX13003" fmla="*/ 863603 w 7714416"/>
              <a:gd name="connsiteY13003" fmla="*/ 1511956 h 5282095"/>
              <a:gd name="connsiteX13004" fmla="*/ 877162 w 7714416"/>
              <a:gd name="connsiteY13004" fmla="*/ 1515589 h 5282095"/>
              <a:gd name="connsiteX13005" fmla="*/ 868228 w 7714416"/>
              <a:gd name="connsiteY13005" fmla="*/ 1515725 h 5282095"/>
              <a:gd name="connsiteX13006" fmla="*/ 864344 w 7714416"/>
              <a:gd name="connsiteY13006" fmla="*/ 1515835 h 5282095"/>
              <a:gd name="connsiteX13007" fmla="*/ 862367 w 7714416"/>
              <a:gd name="connsiteY13007" fmla="*/ 1516570 h 5282095"/>
              <a:gd name="connsiteX13008" fmla="*/ 860707 w 7714416"/>
              <a:gd name="connsiteY13008" fmla="*/ 1516125 h 5282095"/>
              <a:gd name="connsiteX13009" fmla="*/ 847392 w 7714416"/>
              <a:gd name="connsiteY13009" fmla="*/ 1524863 h 5282095"/>
              <a:gd name="connsiteX13010" fmla="*/ 838628 w 7714416"/>
              <a:gd name="connsiteY13010" fmla="*/ 1527690 h 5282095"/>
              <a:gd name="connsiteX13011" fmla="*/ 834553 w 7714416"/>
              <a:gd name="connsiteY13011" fmla="*/ 1527403 h 5282095"/>
              <a:gd name="connsiteX13012" fmla="*/ 830938 w 7714416"/>
              <a:gd name="connsiteY13012" fmla="*/ 1525399 h 5282095"/>
              <a:gd name="connsiteX13013" fmla="*/ 828007 w 7714416"/>
              <a:gd name="connsiteY13013" fmla="*/ 1509778 h 5282095"/>
              <a:gd name="connsiteX13014" fmla="*/ 842032 w 7714416"/>
              <a:gd name="connsiteY13014" fmla="*/ 1505026 h 5282095"/>
              <a:gd name="connsiteX13015" fmla="*/ 5392417 w 7714416"/>
              <a:gd name="connsiteY13015" fmla="*/ 1504590 h 5282095"/>
              <a:gd name="connsiteX13016" fmla="*/ 5396211 w 7714416"/>
              <a:gd name="connsiteY13016" fmla="*/ 1508137 h 5282095"/>
              <a:gd name="connsiteX13017" fmla="*/ 5398712 w 7714416"/>
              <a:gd name="connsiteY13017" fmla="*/ 1507658 h 5282095"/>
              <a:gd name="connsiteX13018" fmla="*/ 5401059 w 7714416"/>
              <a:gd name="connsiteY13018" fmla="*/ 1508861 h 5282095"/>
              <a:gd name="connsiteX13019" fmla="*/ 5398357 w 7714416"/>
              <a:gd name="connsiteY13019" fmla="*/ 1510092 h 5282095"/>
              <a:gd name="connsiteX13020" fmla="*/ 5399072 w 7714416"/>
              <a:gd name="connsiteY13020" fmla="*/ 1510743 h 5282095"/>
              <a:gd name="connsiteX13021" fmla="*/ 5401875 w 7714416"/>
              <a:gd name="connsiteY13021" fmla="*/ 1513565 h 5282095"/>
              <a:gd name="connsiteX13022" fmla="*/ 5400455 w 7714416"/>
              <a:gd name="connsiteY13022" fmla="*/ 1511114 h 5282095"/>
              <a:gd name="connsiteX13023" fmla="*/ 5401670 w 7714416"/>
              <a:gd name="connsiteY13023" fmla="*/ 1508794 h 5282095"/>
              <a:gd name="connsiteX13024" fmla="*/ 5401117 w 7714416"/>
              <a:gd name="connsiteY13024" fmla="*/ 1508646 h 5282095"/>
              <a:gd name="connsiteX13025" fmla="*/ 5401756 w 7714416"/>
              <a:gd name="connsiteY13025" fmla="*/ 1508474 h 5282095"/>
              <a:gd name="connsiteX13026" fmla="*/ 5402044 w 7714416"/>
              <a:gd name="connsiteY13026" fmla="*/ 1507401 h 5282095"/>
              <a:gd name="connsiteX13027" fmla="*/ 5400239 w 7714416"/>
              <a:gd name="connsiteY13027" fmla="*/ 1507492 h 5282095"/>
              <a:gd name="connsiteX13028" fmla="*/ 6113843 w 7714416"/>
              <a:gd name="connsiteY13028" fmla="*/ 1502854 h 5282095"/>
              <a:gd name="connsiteX13029" fmla="*/ 6122963 w 7714416"/>
              <a:gd name="connsiteY13029" fmla="*/ 1515302 h 5282095"/>
              <a:gd name="connsiteX13030" fmla="*/ 6117972 w 7714416"/>
              <a:gd name="connsiteY13030" fmla="*/ 1515115 h 5282095"/>
              <a:gd name="connsiteX13031" fmla="*/ 6109319 w 7714416"/>
              <a:gd name="connsiteY13031" fmla="*/ 1503136 h 5282095"/>
              <a:gd name="connsiteX13032" fmla="*/ 6113843 w 7714416"/>
              <a:gd name="connsiteY13032" fmla="*/ 1502854 h 5282095"/>
              <a:gd name="connsiteX13033" fmla="*/ 798723 w 7714416"/>
              <a:gd name="connsiteY13033" fmla="*/ 1502851 h 5282095"/>
              <a:gd name="connsiteX13034" fmla="*/ 811263 w 7714416"/>
              <a:gd name="connsiteY13034" fmla="*/ 1520242 h 5282095"/>
              <a:gd name="connsiteX13035" fmla="*/ 801460 w 7714416"/>
              <a:gd name="connsiteY13035" fmla="*/ 1521410 h 5282095"/>
              <a:gd name="connsiteX13036" fmla="*/ 784289 w 7714416"/>
              <a:gd name="connsiteY13036" fmla="*/ 1503585 h 5282095"/>
              <a:gd name="connsiteX13037" fmla="*/ 798723 w 7714416"/>
              <a:gd name="connsiteY13037" fmla="*/ 1502851 h 5282095"/>
              <a:gd name="connsiteX13038" fmla="*/ 1504830 w 7714416"/>
              <a:gd name="connsiteY13038" fmla="*/ 1501840 h 5282095"/>
              <a:gd name="connsiteX13039" fmla="*/ 1507434 w 7714416"/>
              <a:gd name="connsiteY13039" fmla="*/ 1502078 h 5282095"/>
              <a:gd name="connsiteX13040" fmla="*/ 1509483 w 7714416"/>
              <a:gd name="connsiteY13040" fmla="*/ 1505501 h 5282095"/>
              <a:gd name="connsiteX13041" fmla="*/ 1500168 w 7714416"/>
              <a:gd name="connsiteY13041" fmla="*/ 1504846 h 5282095"/>
              <a:gd name="connsiteX13042" fmla="*/ 1496473 w 7714416"/>
              <a:gd name="connsiteY13042" fmla="*/ 1505351 h 5282095"/>
              <a:gd name="connsiteX13043" fmla="*/ 1497718 w 7714416"/>
              <a:gd name="connsiteY13043" fmla="*/ 1502924 h 5282095"/>
              <a:gd name="connsiteX13044" fmla="*/ 1503614 w 7714416"/>
              <a:gd name="connsiteY13044" fmla="*/ 1504159 h 5282095"/>
              <a:gd name="connsiteX13045" fmla="*/ 1504830 w 7714416"/>
              <a:gd name="connsiteY13045" fmla="*/ 1501840 h 5282095"/>
              <a:gd name="connsiteX13046" fmla="*/ 1573194 w 7714416"/>
              <a:gd name="connsiteY13046" fmla="*/ 1500435 h 5282095"/>
              <a:gd name="connsiteX13047" fmla="*/ 1583122 w 7714416"/>
              <a:gd name="connsiteY13047" fmla="*/ 1500738 h 5282095"/>
              <a:gd name="connsiteX13048" fmla="*/ 1567982 w 7714416"/>
              <a:gd name="connsiteY13048" fmla="*/ 1511861 h 5282095"/>
              <a:gd name="connsiteX13049" fmla="*/ 1566138 w 7714416"/>
              <a:gd name="connsiteY13049" fmla="*/ 1504352 h 5282095"/>
              <a:gd name="connsiteX13050" fmla="*/ 1573194 w 7714416"/>
              <a:gd name="connsiteY13050" fmla="*/ 1500435 h 5282095"/>
              <a:gd name="connsiteX13051" fmla="*/ 1768478 w 7714416"/>
              <a:gd name="connsiteY13051" fmla="*/ 1495203 h 5282095"/>
              <a:gd name="connsiteX13052" fmla="*/ 1763516 w 7714416"/>
              <a:gd name="connsiteY13052" fmla="*/ 1512618 h 5282095"/>
              <a:gd name="connsiteX13053" fmla="*/ 1751481 w 7714416"/>
              <a:gd name="connsiteY13053" fmla="*/ 1503298 h 5282095"/>
              <a:gd name="connsiteX13054" fmla="*/ 1768478 w 7714416"/>
              <a:gd name="connsiteY13054" fmla="*/ 1495203 h 5282095"/>
              <a:gd name="connsiteX13055" fmla="*/ 6089791 w 7714416"/>
              <a:gd name="connsiteY13055" fmla="*/ 1494109 h 5282095"/>
              <a:gd name="connsiteX13056" fmla="*/ 6090115 w 7714416"/>
              <a:gd name="connsiteY13056" fmla="*/ 1503971 h 5282095"/>
              <a:gd name="connsiteX13057" fmla="*/ 6089791 w 7714416"/>
              <a:gd name="connsiteY13057" fmla="*/ 1494109 h 5282095"/>
              <a:gd name="connsiteX13058" fmla="*/ 6197559 w 7714416"/>
              <a:gd name="connsiteY13058" fmla="*/ 1491474 h 5282095"/>
              <a:gd name="connsiteX13059" fmla="*/ 6202378 w 7714416"/>
              <a:gd name="connsiteY13059" fmla="*/ 1492305 h 5282095"/>
              <a:gd name="connsiteX13060" fmla="*/ 6216447 w 7714416"/>
              <a:gd name="connsiteY13060" fmla="*/ 1500676 h 5282095"/>
              <a:gd name="connsiteX13061" fmla="*/ 6219088 w 7714416"/>
              <a:gd name="connsiteY13061" fmla="*/ 1502993 h 5282095"/>
              <a:gd name="connsiteX13062" fmla="*/ 6222035 w 7714416"/>
              <a:gd name="connsiteY13062" fmla="*/ 1505277 h 5282095"/>
              <a:gd name="connsiteX13063" fmla="*/ 6222154 w 7714416"/>
              <a:gd name="connsiteY13063" fmla="*/ 1510370 h 5282095"/>
              <a:gd name="connsiteX13064" fmla="*/ 6211947 w 7714416"/>
              <a:gd name="connsiteY13064" fmla="*/ 1504186 h 5282095"/>
              <a:gd name="connsiteX13065" fmla="*/ 6214054 w 7714416"/>
              <a:gd name="connsiteY13065" fmla="*/ 1507395 h 5282095"/>
              <a:gd name="connsiteX13066" fmla="*/ 6212892 w 7714416"/>
              <a:gd name="connsiteY13066" fmla="*/ 1512834 h 5282095"/>
              <a:gd name="connsiteX13067" fmla="*/ 6202511 w 7714416"/>
              <a:gd name="connsiteY13067" fmla="*/ 1510627 h 5282095"/>
              <a:gd name="connsiteX13068" fmla="*/ 6203348 w 7714416"/>
              <a:gd name="connsiteY13068" fmla="*/ 1504181 h 5282095"/>
              <a:gd name="connsiteX13069" fmla="*/ 6208943 w 7714416"/>
              <a:gd name="connsiteY13069" fmla="*/ 1502115 h 5282095"/>
              <a:gd name="connsiteX13070" fmla="*/ 6207646 w 7714416"/>
              <a:gd name="connsiteY13070" fmla="*/ 1501422 h 5282095"/>
              <a:gd name="connsiteX13071" fmla="*/ 6195295 w 7714416"/>
              <a:gd name="connsiteY13071" fmla="*/ 1493283 h 5282095"/>
              <a:gd name="connsiteX13072" fmla="*/ 6197559 w 7714416"/>
              <a:gd name="connsiteY13072" fmla="*/ 1491474 h 5282095"/>
              <a:gd name="connsiteX13073" fmla="*/ 1289387 w 7714416"/>
              <a:gd name="connsiteY13073" fmla="*/ 1491263 h 5282095"/>
              <a:gd name="connsiteX13074" fmla="*/ 1302946 w 7714416"/>
              <a:gd name="connsiteY13074" fmla="*/ 1494896 h 5282095"/>
              <a:gd name="connsiteX13075" fmla="*/ 1295931 w 7714416"/>
              <a:gd name="connsiteY13075" fmla="*/ 1494511 h 5282095"/>
              <a:gd name="connsiteX13076" fmla="*/ 1289387 w 7714416"/>
              <a:gd name="connsiteY13076" fmla="*/ 1491263 h 5282095"/>
              <a:gd name="connsiteX13077" fmla="*/ 1242979 w 7714416"/>
              <a:gd name="connsiteY13077" fmla="*/ 1491248 h 5282095"/>
              <a:gd name="connsiteX13078" fmla="*/ 1250932 w 7714416"/>
              <a:gd name="connsiteY13078" fmla="*/ 1491999 h 5282095"/>
              <a:gd name="connsiteX13079" fmla="*/ 1248393 w 7714416"/>
              <a:gd name="connsiteY13079" fmla="*/ 1493733 h 5282095"/>
              <a:gd name="connsiteX13080" fmla="*/ 1248947 w 7714416"/>
              <a:gd name="connsiteY13080" fmla="*/ 1493881 h 5282095"/>
              <a:gd name="connsiteX13081" fmla="*/ 1238883 w 7714416"/>
              <a:gd name="connsiteY13081" fmla="*/ 1496016 h 5282095"/>
              <a:gd name="connsiteX13082" fmla="*/ 1242979 w 7714416"/>
              <a:gd name="connsiteY13082" fmla="*/ 1491248 h 5282095"/>
              <a:gd name="connsiteX13083" fmla="*/ 6213119 w 7714416"/>
              <a:gd name="connsiteY13083" fmla="*/ 1488744 h 5282095"/>
              <a:gd name="connsiteX13084" fmla="*/ 6237570 w 7714416"/>
              <a:gd name="connsiteY13084" fmla="*/ 1499320 h 5282095"/>
              <a:gd name="connsiteX13085" fmla="*/ 6222966 w 7714416"/>
              <a:gd name="connsiteY13085" fmla="*/ 1500697 h 5282095"/>
              <a:gd name="connsiteX13086" fmla="*/ 6208983 w 7714416"/>
              <a:gd name="connsiteY13086" fmla="*/ 1492005 h 5282095"/>
              <a:gd name="connsiteX13087" fmla="*/ 6213119 w 7714416"/>
              <a:gd name="connsiteY13087" fmla="*/ 1488744 h 5282095"/>
              <a:gd name="connsiteX13088" fmla="*/ 1319828 w 7714416"/>
              <a:gd name="connsiteY13088" fmla="*/ 1487229 h 5282095"/>
              <a:gd name="connsiteX13089" fmla="*/ 1338181 w 7714416"/>
              <a:gd name="connsiteY13089" fmla="*/ 1488467 h 5282095"/>
              <a:gd name="connsiteX13090" fmla="*/ 1339237 w 7714416"/>
              <a:gd name="connsiteY13090" fmla="*/ 1491165 h 5282095"/>
              <a:gd name="connsiteX13091" fmla="*/ 1338483 w 7714416"/>
              <a:gd name="connsiteY13091" fmla="*/ 1491768 h 5282095"/>
              <a:gd name="connsiteX13092" fmla="*/ 1339780 w 7714416"/>
              <a:gd name="connsiteY13092" fmla="*/ 1492461 h 5282095"/>
              <a:gd name="connsiteX13093" fmla="*/ 1339402 w 7714416"/>
              <a:gd name="connsiteY13093" fmla="*/ 1497190 h 5282095"/>
              <a:gd name="connsiteX13094" fmla="*/ 1326781 w 7714416"/>
              <a:gd name="connsiteY13094" fmla="*/ 1500017 h 5282095"/>
              <a:gd name="connsiteX13095" fmla="*/ 1322776 w 7714416"/>
              <a:gd name="connsiteY13095" fmla="*/ 1498369 h 5282095"/>
              <a:gd name="connsiteX13096" fmla="*/ 1324881 w 7714416"/>
              <a:gd name="connsiteY13096" fmla="*/ 1492723 h 5282095"/>
              <a:gd name="connsiteX13097" fmla="*/ 1327307 w 7714416"/>
              <a:gd name="connsiteY13097" fmla="*/ 1491418 h 5282095"/>
              <a:gd name="connsiteX13098" fmla="*/ 1323260 w 7714416"/>
              <a:gd name="connsiteY13098" fmla="*/ 1491024 h 5282095"/>
              <a:gd name="connsiteX13099" fmla="*/ 1319828 w 7714416"/>
              <a:gd name="connsiteY13099" fmla="*/ 1487229 h 5282095"/>
              <a:gd name="connsiteX13100" fmla="*/ 1788444 w 7714416"/>
              <a:gd name="connsiteY13100" fmla="*/ 1487098 h 5282095"/>
              <a:gd name="connsiteX13101" fmla="*/ 1804713 w 7714416"/>
              <a:gd name="connsiteY13101" fmla="*/ 1491686 h 5282095"/>
              <a:gd name="connsiteX13102" fmla="*/ 1809639 w 7714416"/>
              <a:gd name="connsiteY13102" fmla="*/ 1498757 h 5282095"/>
              <a:gd name="connsiteX13103" fmla="*/ 1809311 w 7714416"/>
              <a:gd name="connsiteY13103" fmla="*/ 1501084 h 5282095"/>
              <a:gd name="connsiteX13104" fmla="*/ 1823930 w 7714416"/>
              <a:gd name="connsiteY13104" fmla="*/ 1512936 h 5282095"/>
              <a:gd name="connsiteX13105" fmla="*/ 1812452 w 7714416"/>
              <a:gd name="connsiteY13105" fmla="*/ 1518141 h 5282095"/>
              <a:gd name="connsiteX13106" fmla="*/ 1802829 w 7714416"/>
              <a:gd name="connsiteY13106" fmla="*/ 1511997 h 5282095"/>
              <a:gd name="connsiteX13107" fmla="*/ 1792415 w 7714416"/>
              <a:gd name="connsiteY13107" fmla="*/ 1513231 h 5282095"/>
              <a:gd name="connsiteX13108" fmla="*/ 1788444 w 7714416"/>
              <a:gd name="connsiteY13108" fmla="*/ 1487098 h 5282095"/>
              <a:gd name="connsiteX13109" fmla="*/ 1717302 w 7714416"/>
              <a:gd name="connsiteY13109" fmla="*/ 1485860 h 5282095"/>
              <a:gd name="connsiteX13110" fmla="*/ 1725977 w 7714416"/>
              <a:gd name="connsiteY13110" fmla="*/ 1495545 h 5282095"/>
              <a:gd name="connsiteX13111" fmla="*/ 1716491 w 7714416"/>
              <a:gd name="connsiteY13111" fmla="*/ 1495533 h 5282095"/>
              <a:gd name="connsiteX13112" fmla="*/ 1711445 w 7714416"/>
              <a:gd name="connsiteY13112" fmla="*/ 1492226 h 5282095"/>
              <a:gd name="connsiteX13113" fmla="*/ 1711954 w 7714416"/>
              <a:gd name="connsiteY13113" fmla="*/ 1488108 h 5282095"/>
              <a:gd name="connsiteX13114" fmla="*/ 1717302 w 7714416"/>
              <a:gd name="connsiteY13114" fmla="*/ 1485860 h 5282095"/>
              <a:gd name="connsiteX13115" fmla="*/ 5876464 w 7714416"/>
              <a:gd name="connsiteY13115" fmla="*/ 1484357 h 5282095"/>
              <a:gd name="connsiteX13116" fmla="*/ 5885049 w 7714416"/>
              <a:gd name="connsiteY13116" fmla="*/ 1484558 h 5282095"/>
              <a:gd name="connsiteX13117" fmla="*/ 5871213 w 7714416"/>
              <a:gd name="connsiteY13117" fmla="*/ 1489707 h 5282095"/>
              <a:gd name="connsiteX13118" fmla="*/ 5865679 w 7714416"/>
              <a:gd name="connsiteY13118" fmla="*/ 1488224 h 5282095"/>
              <a:gd name="connsiteX13119" fmla="*/ 5876464 w 7714416"/>
              <a:gd name="connsiteY13119" fmla="*/ 1484357 h 5282095"/>
              <a:gd name="connsiteX13120" fmla="*/ 1288155 w 7714416"/>
              <a:gd name="connsiteY13120" fmla="*/ 1483687 h 5282095"/>
              <a:gd name="connsiteX13121" fmla="*/ 1299449 w 7714416"/>
              <a:gd name="connsiteY13121" fmla="*/ 1489129 h 5282095"/>
              <a:gd name="connsiteX13122" fmla="*/ 1282431 w 7714416"/>
              <a:gd name="connsiteY13122" fmla="*/ 1490664 h 5282095"/>
              <a:gd name="connsiteX13123" fmla="*/ 1282883 w 7714416"/>
              <a:gd name="connsiteY13123" fmla="*/ 1495615 h 5282095"/>
              <a:gd name="connsiteX13124" fmla="*/ 1274018 w 7714416"/>
              <a:gd name="connsiteY13124" fmla="*/ 1494390 h 5282095"/>
              <a:gd name="connsiteX13125" fmla="*/ 1267060 w 7714416"/>
              <a:gd name="connsiteY13125" fmla="*/ 1493790 h 5282095"/>
              <a:gd name="connsiteX13126" fmla="*/ 1258644 w 7714416"/>
              <a:gd name="connsiteY13126" fmla="*/ 1491996 h 5282095"/>
              <a:gd name="connsiteX13127" fmla="*/ 1252456 w 7714416"/>
              <a:gd name="connsiteY13127" fmla="*/ 1486312 h 5282095"/>
              <a:gd name="connsiteX13128" fmla="*/ 1267567 w 7714416"/>
              <a:gd name="connsiteY13128" fmla="*/ 1484151 h 5282095"/>
              <a:gd name="connsiteX13129" fmla="*/ 1279743 w 7714416"/>
              <a:gd name="connsiteY13129" fmla="*/ 1487413 h 5282095"/>
              <a:gd name="connsiteX13130" fmla="*/ 1288155 w 7714416"/>
              <a:gd name="connsiteY13130" fmla="*/ 1483687 h 5282095"/>
              <a:gd name="connsiteX13131" fmla="*/ 5962457 w 7714416"/>
              <a:gd name="connsiteY13131" fmla="*/ 1480115 h 5282095"/>
              <a:gd name="connsiteX13132" fmla="*/ 5957907 w 7714416"/>
              <a:gd name="connsiteY13132" fmla="*/ 1494881 h 5282095"/>
              <a:gd name="connsiteX13133" fmla="*/ 5946305 w 7714416"/>
              <a:gd name="connsiteY13133" fmla="*/ 1483952 h 5282095"/>
              <a:gd name="connsiteX13134" fmla="*/ 5962457 w 7714416"/>
              <a:gd name="connsiteY13134" fmla="*/ 1480115 h 5282095"/>
              <a:gd name="connsiteX13135" fmla="*/ 1347334 w 7714416"/>
              <a:gd name="connsiteY13135" fmla="*/ 1479764 h 5282095"/>
              <a:gd name="connsiteX13136" fmla="*/ 1352372 w 7714416"/>
              <a:gd name="connsiteY13136" fmla="*/ 1480884 h 5282095"/>
              <a:gd name="connsiteX13137" fmla="*/ 1350632 w 7714416"/>
              <a:gd name="connsiteY13137" fmla="*/ 1482948 h 5282095"/>
              <a:gd name="connsiteX13138" fmla="*/ 1343518 w 7714416"/>
              <a:gd name="connsiteY13138" fmla="*/ 1487366 h 5282095"/>
              <a:gd name="connsiteX13139" fmla="*/ 1341889 w 7714416"/>
              <a:gd name="connsiteY13139" fmla="*/ 1483480 h 5282095"/>
              <a:gd name="connsiteX13140" fmla="*/ 1345319 w 7714416"/>
              <a:gd name="connsiteY13140" fmla="*/ 1481755 h 5282095"/>
              <a:gd name="connsiteX13141" fmla="*/ 1347334 w 7714416"/>
              <a:gd name="connsiteY13141" fmla="*/ 1479764 h 5282095"/>
              <a:gd name="connsiteX13142" fmla="*/ 1585263 w 7714416"/>
              <a:gd name="connsiteY13142" fmla="*/ 1479461 h 5282095"/>
              <a:gd name="connsiteX13143" fmla="*/ 1589199 w 7714416"/>
              <a:gd name="connsiteY13143" fmla="*/ 1485806 h 5282095"/>
              <a:gd name="connsiteX13144" fmla="*/ 1583777 w 7714416"/>
              <a:gd name="connsiteY13144" fmla="*/ 1487228 h 5282095"/>
              <a:gd name="connsiteX13145" fmla="*/ 1580612 w 7714416"/>
              <a:gd name="connsiteY13145" fmla="*/ 1484655 h 5282095"/>
              <a:gd name="connsiteX13146" fmla="*/ 1585263 w 7714416"/>
              <a:gd name="connsiteY13146" fmla="*/ 1479461 h 5282095"/>
              <a:gd name="connsiteX13147" fmla="*/ 5391587 w 7714416"/>
              <a:gd name="connsiteY13147" fmla="*/ 1478493 h 5282095"/>
              <a:gd name="connsiteX13148" fmla="*/ 5404067 w 7714416"/>
              <a:gd name="connsiteY13148" fmla="*/ 1481032 h 5282095"/>
              <a:gd name="connsiteX13149" fmla="*/ 5408689 w 7714416"/>
              <a:gd name="connsiteY13149" fmla="*/ 1488135 h 5282095"/>
              <a:gd name="connsiteX13150" fmla="*/ 5392833 w 7714416"/>
              <a:gd name="connsiteY13150" fmla="*/ 1489752 h 5282095"/>
              <a:gd name="connsiteX13151" fmla="*/ 5388435 w 7714416"/>
              <a:gd name="connsiteY13151" fmla="*/ 1488459 h 5282095"/>
              <a:gd name="connsiteX13152" fmla="*/ 5391587 w 7714416"/>
              <a:gd name="connsiteY13152" fmla="*/ 1478493 h 5282095"/>
              <a:gd name="connsiteX13153" fmla="*/ 5932375 w 7714416"/>
              <a:gd name="connsiteY13153" fmla="*/ 1478380 h 5282095"/>
              <a:gd name="connsiteX13154" fmla="*/ 5936925 w 7714416"/>
              <a:gd name="connsiteY13154" fmla="*/ 1481324 h 5282095"/>
              <a:gd name="connsiteX13155" fmla="*/ 5937992 w 7714416"/>
              <a:gd name="connsiteY13155" fmla="*/ 1482875 h 5282095"/>
              <a:gd name="connsiteX13156" fmla="*/ 5939595 w 7714416"/>
              <a:gd name="connsiteY13156" fmla="*/ 1483535 h 5282095"/>
              <a:gd name="connsiteX13157" fmla="*/ 5939308 w 7714416"/>
              <a:gd name="connsiteY13157" fmla="*/ 1484607 h 5282095"/>
              <a:gd name="connsiteX13158" fmla="*/ 5941938 w 7714416"/>
              <a:gd name="connsiteY13158" fmla="*/ 1488072 h 5282095"/>
              <a:gd name="connsiteX13159" fmla="*/ 5950531 w 7714416"/>
              <a:gd name="connsiteY13159" fmla="*/ 1494744 h 5282095"/>
              <a:gd name="connsiteX13160" fmla="*/ 5954939 w 7714416"/>
              <a:gd name="connsiteY13160" fmla="*/ 1503746 h 5282095"/>
              <a:gd name="connsiteX13161" fmla="*/ 5951073 w 7714416"/>
              <a:gd name="connsiteY13161" fmla="*/ 1504895 h 5282095"/>
              <a:gd name="connsiteX13162" fmla="*/ 5953455 w 7714416"/>
              <a:gd name="connsiteY13162" fmla="*/ 1508178 h 5282095"/>
              <a:gd name="connsiteX13163" fmla="*/ 5947389 w 7714416"/>
              <a:gd name="connsiteY13163" fmla="*/ 1521962 h 5282095"/>
              <a:gd name="connsiteX13164" fmla="*/ 5938369 w 7714416"/>
              <a:gd name="connsiteY13164" fmla="*/ 1522422 h 5282095"/>
              <a:gd name="connsiteX13165" fmla="*/ 5927858 w 7714416"/>
              <a:gd name="connsiteY13165" fmla="*/ 1516269 h 5282095"/>
              <a:gd name="connsiteX13166" fmla="*/ 5929088 w 7714416"/>
              <a:gd name="connsiteY13166" fmla="*/ 1500613 h 5282095"/>
              <a:gd name="connsiteX13167" fmla="*/ 5945180 w 7714416"/>
              <a:gd name="connsiteY13167" fmla="*/ 1500326 h 5282095"/>
              <a:gd name="connsiteX13168" fmla="*/ 5943853 w 7714416"/>
              <a:gd name="connsiteY13168" fmla="*/ 1499740 h 5282095"/>
              <a:gd name="connsiteX13169" fmla="*/ 5932375 w 7714416"/>
              <a:gd name="connsiteY13169" fmla="*/ 1478380 h 5282095"/>
              <a:gd name="connsiteX13170" fmla="*/ 1491159 w 7714416"/>
              <a:gd name="connsiteY13170" fmla="*/ 1477591 h 5282095"/>
              <a:gd name="connsiteX13171" fmla="*/ 1509892 w 7714416"/>
              <a:gd name="connsiteY13171" fmla="*/ 1497332 h 5282095"/>
              <a:gd name="connsiteX13172" fmla="*/ 1511006 w 7714416"/>
              <a:gd name="connsiteY13172" fmla="*/ 1499814 h 5282095"/>
              <a:gd name="connsiteX13173" fmla="*/ 1507434 w 7714416"/>
              <a:gd name="connsiteY13173" fmla="*/ 1502078 h 5282095"/>
              <a:gd name="connsiteX13174" fmla="*/ 1489783 w 7714416"/>
              <a:gd name="connsiteY13174" fmla="*/ 1488263 h 5282095"/>
              <a:gd name="connsiteX13175" fmla="*/ 1488669 w 7714416"/>
              <a:gd name="connsiteY13175" fmla="*/ 1485779 h 5282095"/>
              <a:gd name="connsiteX13176" fmla="*/ 1491159 w 7714416"/>
              <a:gd name="connsiteY13176" fmla="*/ 1477591 h 5282095"/>
              <a:gd name="connsiteX13177" fmla="*/ 1047872 w 7714416"/>
              <a:gd name="connsiteY13177" fmla="*/ 1471744 h 5282095"/>
              <a:gd name="connsiteX13178" fmla="*/ 1068635 w 7714416"/>
              <a:gd name="connsiteY13178" fmla="*/ 1476158 h 5282095"/>
              <a:gd name="connsiteX13179" fmla="*/ 1057333 w 7714416"/>
              <a:gd name="connsiteY13179" fmla="*/ 1477385 h 5282095"/>
              <a:gd name="connsiteX13180" fmla="*/ 1047872 w 7714416"/>
              <a:gd name="connsiteY13180" fmla="*/ 1471744 h 5282095"/>
              <a:gd name="connsiteX13181" fmla="*/ 6161351 w 7714416"/>
              <a:gd name="connsiteY13181" fmla="*/ 1471653 h 5282095"/>
              <a:gd name="connsiteX13182" fmla="*/ 6164890 w 7714416"/>
              <a:gd name="connsiteY13182" fmla="*/ 1472831 h 5282095"/>
              <a:gd name="connsiteX13183" fmla="*/ 6164909 w 7714416"/>
              <a:gd name="connsiteY13183" fmla="*/ 1473871 h 5282095"/>
              <a:gd name="connsiteX13184" fmla="*/ 6165405 w 7714416"/>
              <a:gd name="connsiteY13184" fmla="*/ 1474234 h 5282095"/>
              <a:gd name="connsiteX13185" fmla="*/ 6163694 w 7714416"/>
              <a:gd name="connsiteY13185" fmla="*/ 1476190 h 5282095"/>
              <a:gd name="connsiteX13186" fmla="*/ 6160714 w 7714416"/>
              <a:gd name="connsiteY13186" fmla="*/ 1477347 h 5282095"/>
              <a:gd name="connsiteX13187" fmla="*/ 6159285 w 7714416"/>
              <a:gd name="connsiteY13187" fmla="*/ 1476043 h 5282095"/>
              <a:gd name="connsiteX13188" fmla="*/ 6158343 w 7714416"/>
              <a:gd name="connsiteY13188" fmla="*/ 1472916 h 5282095"/>
              <a:gd name="connsiteX13189" fmla="*/ 6161617 w 7714416"/>
              <a:gd name="connsiteY13189" fmla="*/ 1472873 h 5282095"/>
              <a:gd name="connsiteX13190" fmla="*/ 6161351 w 7714416"/>
              <a:gd name="connsiteY13190" fmla="*/ 1471653 h 5282095"/>
              <a:gd name="connsiteX13191" fmla="*/ 896561 w 7714416"/>
              <a:gd name="connsiteY13191" fmla="*/ 1467542 h 5282095"/>
              <a:gd name="connsiteX13192" fmla="*/ 913332 w 7714416"/>
              <a:gd name="connsiteY13192" fmla="*/ 1492390 h 5282095"/>
              <a:gd name="connsiteX13193" fmla="*/ 902486 w 7714416"/>
              <a:gd name="connsiteY13193" fmla="*/ 1495235 h 5282095"/>
              <a:gd name="connsiteX13194" fmla="*/ 896561 w 7714416"/>
              <a:gd name="connsiteY13194" fmla="*/ 1467542 h 5282095"/>
              <a:gd name="connsiteX13195" fmla="*/ 1380158 w 7714416"/>
              <a:gd name="connsiteY13195" fmla="*/ 1461304 h 5282095"/>
              <a:gd name="connsiteX13196" fmla="*/ 1376481 w 7714416"/>
              <a:gd name="connsiteY13196" fmla="*/ 1471704 h 5282095"/>
              <a:gd name="connsiteX13197" fmla="*/ 1377789 w 7714416"/>
              <a:gd name="connsiteY13197" fmla="*/ 1462394 h 5282095"/>
              <a:gd name="connsiteX13198" fmla="*/ 1380158 w 7714416"/>
              <a:gd name="connsiteY13198" fmla="*/ 1461304 h 5282095"/>
              <a:gd name="connsiteX13199" fmla="*/ 5883827 w 7714416"/>
              <a:gd name="connsiteY13199" fmla="*/ 1458127 h 5282095"/>
              <a:gd name="connsiteX13200" fmla="*/ 5893691 w 7714416"/>
              <a:gd name="connsiteY13200" fmla="*/ 1462264 h 5282095"/>
              <a:gd name="connsiteX13201" fmla="*/ 5892330 w 7714416"/>
              <a:gd name="connsiteY13201" fmla="*/ 1468454 h 5282095"/>
              <a:gd name="connsiteX13202" fmla="*/ 5888386 w 7714416"/>
              <a:gd name="connsiteY13202" fmla="*/ 1468778 h 5282095"/>
              <a:gd name="connsiteX13203" fmla="*/ 5887118 w 7714416"/>
              <a:gd name="connsiteY13203" fmla="*/ 1467978 h 5282095"/>
              <a:gd name="connsiteX13204" fmla="*/ 5881940 w 7714416"/>
              <a:gd name="connsiteY13204" fmla="*/ 1464060 h 5282095"/>
              <a:gd name="connsiteX13205" fmla="*/ 5883827 w 7714416"/>
              <a:gd name="connsiteY13205" fmla="*/ 1458127 h 5282095"/>
              <a:gd name="connsiteX13206" fmla="*/ 1282802 w 7714416"/>
              <a:gd name="connsiteY13206" fmla="*/ 1457039 h 5282095"/>
              <a:gd name="connsiteX13207" fmla="*/ 1287095 w 7714416"/>
              <a:gd name="connsiteY13207" fmla="*/ 1457758 h 5282095"/>
              <a:gd name="connsiteX13208" fmla="*/ 1280030 w 7714416"/>
              <a:gd name="connsiteY13208" fmla="*/ 1459775 h 5282095"/>
              <a:gd name="connsiteX13209" fmla="*/ 1278658 w 7714416"/>
              <a:gd name="connsiteY13209" fmla="*/ 1458257 h 5282095"/>
              <a:gd name="connsiteX13210" fmla="*/ 1282802 w 7714416"/>
              <a:gd name="connsiteY13210" fmla="*/ 1457039 h 5282095"/>
              <a:gd name="connsiteX13211" fmla="*/ 1559243 w 7714416"/>
              <a:gd name="connsiteY13211" fmla="*/ 1455929 h 5282095"/>
              <a:gd name="connsiteX13212" fmla="*/ 1555153 w 7714416"/>
              <a:gd name="connsiteY13212" fmla="*/ 1468979 h 5282095"/>
              <a:gd name="connsiteX13213" fmla="*/ 1547715 w 7714416"/>
              <a:gd name="connsiteY13213" fmla="*/ 1463535 h 5282095"/>
              <a:gd name="connsiteX13214" fmla="*/ 1559243 w 7714416"/>
              <a:gd name="connsiteY13214" fmla="*/ 1455929 h 5282095"/>
              <a:gd name="connsiteX13215" fmla="*/ 970990 w 7714416"/>
              <a:gd name="connsiteY13215" fmla="*/ 1455399 h 5282095"/>
              <a:gd name="connsiteX13216" fmla="*/ 997536 w 7714416"/>
              <a:gd name="connsiteY13216" fmla="*/ 1470332 h 5282095"/>
              <a:gd name="connsiteX13217" fmla="*/ 994996 w 7714416"/>
              <a:gd name="connsiteY13217" fmla="*/ 1472067 h 5282095"/>
              <a:gd name="connsiteX13218" fmla="*/ 990091 w 7714416"/>
              <a:gd name="connsiteY13218" fmla="*/ 1471558 h 5282095"/>
              <a:gd name="connsiteX13219" fmla="*/ 976288 w 7714416"/>
              <a:gd name="connsiteY13219" fmla="*/ 1464409 h 5282095"/>
              <a:gd name="connsiteX13220" fmla="*/ 973561 w 7714416"/>
              <a:gd name="connsiteY13220" fmla="*/ 1462413 h 5282095"/>
              <a:gd name="connsiteX13221" fmla="*/ 970861 w 7714416"/>
              <a:gd name="connsiteY13221" fmla="*/ 1460309 h 5282095"/>
              <a:gd name="connsiteX13222" fmla="*/ 969414 w 7714416"/>
              <a:gd name="connsiteY13222" fmla="*/ 1457967 h 5282095"/>
              <a:gd name="connsiteX13223" fmla="*/ 970990 w 7714416"/>
              <a:gd name="connsiteY13223" fmla="*/ 1455399 h 5282095"/>
              <a:gd name="connsiteX13224" fmla="*/ 1737734 w 7714416"/>
              <a:gd name="connsiteY13224" fmla="*/ 1454435 h 5282095"/>
              <a:gd name="connsiteX13225" fmla="*/ 1762286 w 7714416"/>
              <a:gd name="connsiteY13225" fmla="*/ 1466289 h 5282095"/>
              <a:gd name="connsiteX13226" fmla="*/ 1765291 w 7714416"/>
              <a:gd name="connsiteY13226" fmla="*/ 1477214 h 5282095"/>
              <a:gd name="connsiteX13227" fmla="*/ 1760551 w 7714416"/>
              <a:gd name="connsiteY13227" fmla="*/ 1482728 h 5282095"/>
              <a:gd name="connsiteX13228" fmla="*/ 1760904 w 7714416"/>
              <a:gd name="connsiteY13228" fmla="*/ 1483628 h 5282095"/>
              <a:gd name="connsiteX13229" fmla="*/ 1759987 w 7714416"/>
              <a:gd name="connsiteY13229" fmla="*/ 1483728 h 5282095"/>
              <a:gd name="connsiteX13230" fmla="*/ 1759261 w 7714416"/>
              <a:gd name="connsiteY13230" fmla="*/ 1484223 h 5282095"/>
              <a:gd name="connsiteX13231" fmla="*/ 1733318 w 7714416"/>
              <a:gd name="connsiteY13231" fmla="*/ 1484747 h 5282095"/>
              <a:gd name="connsiteX13232" fmla="*/ 1708848 w 7714416"/>
              <a:gd name="connsiteY13232" fmla="*/ 1458755 h 5282095"/>
              <a:gd name="connsiteX13233" fmla="*/ 1737734 w 7714416"/>
              <a:gd name="connsiteY13233" fmla="*/ 1454435 h 5282095"/>
              <a:gd name="connsiteX13234" fmla="*/ 6028529 w 7714416"/>
              <a:gd name="connsiteY13234" fmla="*/ 1452680 h 5282095"/>
              <a:gd name="connsiteX13235" fmla="*/ 6041969 w 7714416"/>
              <a:gd name="connsiteY13235" fmla="*/ 1455649 h 5282095"/>
              <a:gd name="connsiteX13236" fmla="*/ 6051614 w 7714416"/>
              <a:gd name="connsiteY13236" fmla="*/ 1468353 h 5282095"/>
              <a:gd name="connsiteX13237" fmla="*/ 6048685 w 7714416"/>
              <a:gd name="connsiteY13237" fmla="*/ 1475964 h 5282095"/>
              <a:gd name="connsiteX13238" fmla="*/ 6044502 w 7714416"/>
              <a:gd name="connsiteY13238" fmla="*/ 1478293 h 5282095"/>
              <a:gd name="connsiteX13239" fmla="*/ 6057626 w 7714416"/>
              <a:gd name="connsiteY13239" fmla="*/ 1478014 h 5282095"/>
              <a:gd name="connsiteX13240" fmla="*/ 6086680 w 7714416"/>
              <a:gd name="connsiteY13240" fmla="*/ 1485799 h 5282095"/>
              <a:gd name="connsiteX13241" fmla="*/ 6064802 w 7714416"/>
              <a:gd name="connsiteY13241" fmla="*/ 1487758 h 5282095"/>
              <a:gd name="connsiteX13242" fmla="*/ 6065697 w 7714416"/>
              <a:gd name="connsiteY13242" fmla="*/ 1489953 h 5282095"/>
              <a:gd name="connsiteX13243" fmla="*/ 6055430 w 7714416"/>
              <a:gd name="connsiteY13243" fmla="*/ 1496172 h 5282095"/>
              <a:gd name="connsiteX13244" fmla="*/ 6046033 w 7714416"/>
              <a:gd name="connsiteY13244" fmla="*/ 1492504 h 5282095"/>
              <a:gd name="connsiteX13245" fmla="*/ 6046267 w 7714416"/>
              <a:gd name="connsiteY13245" fmla="*/ 1488312 h 5282095"/>
              <a:gd name="connsiteX13246" fmla="*/ 6046888 w 7714416"/>
              <a:gd name="connsiteY13246" fmla="*/ 1487098 h 5282095"/>
              <a:gd name="connsiteX13247" fmla="*/ 6036506 w 7714416"/>
              <a:gd name="connsiteY13247" fmla="*/ 1484891 h 5282095"/>
              <a:gd name="connsiteX13248" fmla="*/ 6037473 w 7714416"/>
              <a:gd name="connsiteY13248" fmla="*/ 1482391 h 5282095"/>
              <a:gd name="connsiteX13249" fmla="*/ 6037139 w 7714416"/>
              <a:gd name="connsiteY13249" fmla="*/ 1482530 h 5282095"/>
              <a:gd name="connsiteX13250" fmla="*/ 6018952 w 7714416"/>
              <a:gd name="connsiteY13250" fmla="*/ 1478462 h 5282095"/>
              <a:gd name="connsiteX13251" fmla="*/ 6015394 w 7714416"/>
              <a:gd name="connsiteY13251" fmla="*/ 1476244 h 5282095"/>
              <a:gd name="connsiteX13252" fmla="*/ 6008315 w 7714416"/>
              <a:gd name="connsiteY13252" fmla="*/ 1473887 h 5282095"/>
              <a:gd name="connsiteX13253" fmla="*/ 6014249 w 7714416"/>
              <a:gd name="connsiteY13253" fmla="*/ 1459491 h 5282095"/>
              <a:gd name="connsiteX13254" fmla="*/ 6028529 w 7714416"/>
              <a:gd name="connsiteY13254" fmla="*/ 1452680 h 5282095"/>
              <a:gd name="connsiteX13255" fmla="*/ 5757334 w 7714416"/>
              <a:gd name="connsiteY13255" fmla="*/ 1452062 h 5282095"/>
              <a:gd name="connsiteX13256" fmla="*/ 5748155 w 7714416"/>
              <a:gd name="connsiteY13256" fmla="*/ 1475249 h 5282095"/>
              <a:gd name="connsiteX13257" fmla="*/ 5757334 w 7714416"/>
              <a:gd name="connsiteY13257" fmla="*/ 1452062 h 5282095"/>
              <a:gd name="connsiteX13258" fmla="*/ 1660686 w 7714416"/>
              <a:gd name="connsiteY13258" fmla="*/ 1450336 h 5282095"/>
              <a:gd name="connsiteX13259" fmla="*/ 1662299 w 7714416"/>
              <a:gd name="connsiteY13259" fmla="*/ 1458702 h 5282095"/>
              <a:gd name="connsiteX13260" fmla="*/ 1651462 w 7714416"/>
              <a:gd name="connsiteY13260" fmla="*/ 1463734 h 5282095"/>
              <a:gd name="connsiteX13261" fmla="*/ 1649147 w 7714416"/>
              <a:gd name="connsiteY13261" fmla="*/ 1459088 h 5282095"/>
              <a:gd name="connsiteX13262" fmla="*/ 1660686 w 7714416"/>
              <a:gd name="connsiteY13262" fmla="*/ 1450336 h 5282095"/>
              <a:gd name="connsiteX13263" fmla="*/ 650168 w 7714416"/>
              <a:gd name="connsiteY13263" fmla="*/ 1447406 h 5282095"/>
              <a:gd name="connsiteX13264" fmla="*/ 721190 w 7714416"/>
              <a:gd name="connsiteY13264" fmla="*/ 1540958 h 5282095"/>
              <a:gd name="connsiteX13265" fmla="*/ 692049 w 7714416"/>
              <a:gd name="connsiteY13265" fmla="*/ 1542349 h 5282095"/>
              <a:gd name="connsiteX13266" fmla="*/ 650168 w 7714416"/>
              <a:gd name="connsiteY13266" fmla="*/ 1447406 h 5282095"/>
              <a:gd name="connsiteX13267" fmla="*/ 5720631 w 7714416"/>
              <a:gd name="connsiteY13267" fmla="*/ 1445084 h 5282095"/>
              <a:gd name="connsiteX13268" fmla="*/ 5729401 w 7714416"/>
              <a:gd name="connsiteY13268" fmla="*/ 1448948 h 5282095"/>
              <a:gd name="connsiteX13269" fmla="*/ 5697684 w 7714416"/>
              <a:gd name="connsiteY13269" fmla="*/ 1458850 h 5282095"/>
              <a:gd name="connsiteX13270" fmla="*/ 5692760 w 7714416"/>
              <a:gd name="connsiteY13270" fmla="*/ 1457300 h 5282095"/>
              <a:gd name="connsiteX13271" fmla="*/ 5687802 w 7714416"/>
              <a:gd name="connsiteY13271" fmla="*/ 1453671 h 5282095"/>
              <a:gd name="connsiteX13272" fmla="*/ 5720631 w 7714416"/>
              <a:gd name="connsiteY13272" fmla="*/ 1445084 h 5282095"/>
              <a:gd name="connsiteX13273" fmla="*/ 1799139 w 7714416"/>
              <a:gd name="connsiteY13273" fmla="*/ 1444969 h 5282095"/>
              <a:gd name="connsiteX13274" fmla="*/ 1810609 w 7714416"/>
              <a:gd name="connsiteY13274" fmla="*/ 1448646 h 5282095"/>
              <a:gd name="connsiteX13275" fmla="*/ 1809689 w 7714416"/>
              <a:gd name="connsiteY13275" fmla="*/ 1452080 h 5282095"/>
              <a:gd name="connsiteX13276" fmla="*/ 1795581 w 7714416"/>
              <a:gd name="connsiteY13276" fmla="*/ 1453820 h 5282095"/>
              <a:gd name="connsiteX13277" fmla="*/ 1792109 w 7714416"/>
              <a:gd name="connsiteY13277" fmla="*/ 1451279 h 5282095"/>
              <a:gd name="connsiteX13278" fmla="*/ 1799139 w 7714416"/>
              <a:gd name="connsiteY13278" fmla="*/ 1444969 h 5282095"/>
              <a:gd name="connsiteX13279" fmla="*/ 1164552 w 7714416"/>
              <a:gd name="connsiteY13279" fmla="*/ 1444703 h 5282095"/>
              <a:gd name="connsiteX13280" fmla="*/ 1174228 w 7714416"/>
              <a:gd name="connsiteY13280" fmla="*/ 1453966 h 5282095"/>
              <a:gd name="connsiteX13281" fmla="*/ 1171588 w 7714416"/>
              <a:gd name="connsiteY13281" fmla="*/ 1460503 h 5282095"/>
              <a:gd name="connsiteX13282" fmla="*/ 1158449 w 7714416"/>
              <a:gd name="connsiteY13282" fmla="*/ 1465263 h 5282095"/>
              <a:gd name="connsiteX13283" fmla="*/ 1153397 w 7714416"/>
              <a:gd name="connsiteY13283" fmla="*/ 1459769 h 5282095"/>
              <a:gd name="connsiteX13284" fmla="*/ 1164552 w 7714416"/>
              <a:gd name="connsiteY13284" fmla="*/ 1444703 h 5282095"/>
              <a:gd name="connsiteX13285" fmla="*/ 1027019 w 7714416"/>
              <a:gd name="connsiteY13285" fmla="*/ 1444422 h 5282095"/>
              <a:gd name="connsiteX13286" fmla="*/ 1029469 w 7714416"/>
              <a:gd name="connsiteY13286" fmla="*/ 1446343 h 5282095"/>
              <a:gd name="connsiteX13287" fmla="*/ 1032790 w 7714416"/>
              <a:gd name="connsiteY13287" fmla="*/ 1447233 h 5282095"/>
              <a:gd name="connsiteX13288" fmla="*/ 1032197 w 7714416"/>
              <a:gd name="connsiteY13288" fmla="*/ 1448339 h 5282095"/>
              <a:gd name="connsiteX13289" fmla="*/ 1033540 w 7714416"/>
              <a:gd name="connsiteY13289" fmla="*/ 1449964 h 5282095"/>
              <a:gd name="connsiteX13290" fmla="*/ 1028459 w 7714416"/>
              <a:gd name="connsiteY13290" fmla="*/ 1453433 h 5282095"/>
              <a:gd name="connsiteX13291" fmla="*/ 1024489 w 7714416"/>
              <a:gd name="connsiteY13291" fmla="*/ 1453864 h 5282095"/>
              <a:gd name="connsiteX13292" fmla="*/ 1021530 w 7714416"/>
              <a:gd name="connsiteY13292" fmla="*/ 1452726 h 5282095"/>
              <a:gd name="connsiteX13293" fmla="*/ 1020780 w 7714416"/>
              <a:gd name="connsiteY13293" fmla="*/ 1449995 h 5282095"/>
              <a:gd name="connsiteX13294" fmla="*/ 1022541 w 7714416"/>
              <a:gd name="connsiteY13294" fmla="*/ 1445637 h 5282095"/>
              <a:gd name="connsiteX13295" fmla="*/ 1027019 w 7714416"/>
              <a:gd name="connsiteY13295" fmla="*/ 1444422 h 5282095"/>
              <a:gd name="connsiteX13296" fmla="*/ 1467594 w 7714416"/>
              <a:gd name="connsiteY13296" fmla="*/ 1443792 h 5282095"/>
              <a:gd name="connsiteX13297" fmla="*/ 1479765 w 7714416"/>
              <a:gd name="connsiteY13297" fmla="*/ 1450387 h 5282095"/>
              <a:gd name="connsiteX13298" fmla="*/ 1487021 w 7714416"/>
              <a:gd name="connsiteY13298" fmla="*/ 1448767 h 5282095"/>
              <a:gd name="connsiteX13299" fmla="*/ 1497689 w 7714416"/>
              <a:gd name="connsiteY13299" fmla="*/ 1458756 h 5282095"/>
              <a:gd name="connsiteX13300" fmla="*/ 1481597 w 7714416"/>
              <a:gd name="connsiteY13300" fmla="*/ 1476754 h 5282095"/>
              <a:gd name="connsiteX13301" fmla="*/ 1480357 w 7714416"/>
              <a:gd name="connsiteY13301" fmla="*/ 1475847 h 5282095"/>
              <a:gd name="connsiteX13302" fmla="*/ 1475416 w 7714416"/>
              <a:gd name="connsiteY13302" fmla="*/ 1482113 h 5282095"/>
              <a:gd name="connsiteX13303" fmla="*/ 1468660 w 7714416"/>
              <a:gd name="connsiteY13303" fmla="*/ 1480762 h 5282095"/>
              <a:gd name="connsiteX13304" fmla="*/ 1456169 w 7714416"/>
              <a:gd name="connsiteY13304" fmla="*/ 1469826 h 5282095"/>
              <a:gd name="connsiteX13305" fmla="*/ 1455511 w 7714416"/>
              <a:gd name="connsiteY13305" fmla="*/ 1468960 h 5282095"/>
              <a:gd name="connsiteX13306" fmla="*/ 1453718 w 7714416"/>
              <a:gd name="connsiteY13306" fmla="*/ 1467905 h 5282095"/>
              <a:gd name="connsiteX13307" fmla="*/ 1453079 w 7714416"/>
              <a:gd name="connsiteY13307" fmla="*/ 1468077 h 5282095"/>
              <a:gd name="connsiteX13308" fmla="*/ 1453222 w 7714416"/>
              <a:gd name="connsiteY13308" fmla="*/ 1467541 h 5282095"/>
              <a:gd name="connsiteX13309" fmla="*/ 1449578 w 7714416"/>
              <a:gd name="connsiteY13309" fmla="*/ 1465644 h 5282095"/>
              <a:gd name="connsiteX13310" fmla="*/ 1451507 w 7714416"/>
              <a:gd name="connsiteY13310" fmla="*/ 1463977 h 5282095"/>
              <a:gd name="connsiteX13311" fmla="*/ 1450739 w 7714416"/>
              <a:gd name="connsiteY13311" fmla="*/ 1460207 h 5282095"/>
              <a:gd name="connsiteX13312" fmla="*/ 1454387 w 7714416"/>
              <a:gd name="connsiteY13312" fmla="*/ 1458768 h 5282095"/>
              <a:gd name="connsiteX13313" fmla="*/ 1463852 w 7714416"/>
              <a:gd name="connsiteY13313" fmla="*/ 1461075 h 5282095"/>
              <a:gd name="connsiteX13314" fmla="*/ 1472316 w 7714416"/>
              <a:gd name="connsiteY13314" fmla="*/ 1454947 h 5282095"/>
              <a:gd name="connsiteX13315" fmla="*/ 1476393 w 7714416"/>
              <a:gd name="connsiteY13315" fmla="*/ 1451899 h 5282095"/>
              <a:gd name="connsiteX13316" fmla="*/ 1474170 w 7714416"/>
              <a:gd name="connsiteY13316" fmla="*/ 1452454 h 5282095"/>
              <a:gd name="connsiteX13317" fmla="*/ 1450500 w 7714416"/>
              <a:gd name="connsiteY13317" fmla="*/ 1444502 h 5282095"/>
              <a:gd name="connsiteX13318" fmla="*/ 1467594 w 7714416"/>
              <a:gd name="connsiteY13318" fmla="*/ 1443792 h 5282095"/>
              <a:gd name="connsiteX13319" fmla="*/ 5700321 w 7714416"/>
              <a:gd name="connsiteY13319" fmla="*/ 1443198 h 5282095"/>
              <a:gd name="connsiteX13320" fmla="*/ 5704401 w 7714416"/>
              <a:gd name="connsiteY13320" fmla="*/ 1443744 h 5282095"/>
              <a:gd name="connsiteX13321" fmla="*/ 5697012 w 7714416"/>
              <a:gd name="connsiteY13321" fmla="*/ 1444754 h 5282095"/>
              <a:gd name="connsiteX13322" fmla="*/ 5700321 w 7714416"/>
              <a:gd name="connsiteY13322" fmla="*/ 1443198 h 5282095"/>
              <a:gd name="connsiteX13323" fmla="*/ 1431052 w 7714416"/>
              <a:gd name="connsiteY13323" fmla="*/ 1441821 h 5282095"/>
              <a:gd name="connsiteX13324" fmla="*/ 1444515 w 7714416"/>
              <a:gd name="connsiteY13324" fmla="*/ 1443587 h 5282095"/>
              <a:gd name="connsiteX13325" fmla="*/ 1441627 w 7714416"/>
              <a:gd name="connsiteY13325" fmla="*/ 1449944 h 5282095"/>
              <a:gd name="connsiteX13326" fmla="*/ 1436128 w 7714416"/>
              <a:gd name="connsiteY13326" fmla="*/ 1450541 h 5282095"/>
              <a:gd name="connsiteX13327" fmla="*/ 1431751 w 7714416"/>
              <a:gd name="connsiteY13327" fmla="*/ 1446953 h 5282095"/>
              <a:gd name="connsiteX13328" fmla="*/ 1431052 w 7714416"/>
              <a:gd name="connsiteY13328" fmla="*/ 1441821 h 5282095"/>
              <a:gd name="connsiteX13329" fmla="*/ 5457310 w 7714416"/>
              <a:gd name="connsiteY13329" fmla="*/ 1441707 h 5282095"/>
              <a:gd name="connsiteX13330" fmla="*/ 5457450 w 7714416"/>
              <a:gd name="connsiteY13330" fmla="*/ 1442069 h 5282095"/>
              <a:gd name="connsiteX13331" fmla="*/ 5457932 w 7714416"/>
              <a:gd name="connsiteY13331" fmla="*/ 1442150 h 5282095"/>
              <a:gd name="connsiteX13332" fmla="*/ 1827838 w 7714416"/>
              <a:gd name="connsiteY13332" fmla="*/ 1439692 h 5282095"/>
              <a:gd name="connsiteX13333" fmla="*/ 1842388 w 7714416"/>
              <a:gd name="connsiteY13333" fmla="*/ 1444051 h 5282095"/>
              <a:gd name="connsiteX13334" fmla="*/ 1843128 w 7714416"/>
              <a:gd name="connsiteY13334" fmla="*/ 1447929 h 5282095"/>
              <a:gd name="connsiteX13335" fmla="*/ 1832380 w 7714416"/>
              <a:gd name="connsiteY13335" fmla="*/ 1449304 h 5282095"/>
              <a:gd name="connsiteX13336" fmla="*/ 1828222 w 7714416"/>
              <a:gd name="connsiteY13336" fmla="*/ 1446005 h 5282095"/>
              <a:gd name="connsiteX13337" fmla="*/ 1827838 w 7714416"/>
              <a:gd name="connsiteY13337" fmla="*/ 1439692 h 5282095"/>
              <a:gd name="connsiteX13338" fmla="*/ 6071642 w 7714416"/>
              <a:gd name="connsiteY13338" fmla="*/ 1438989 h 5282095"/>
              <a:gd name="connsiteX13339" fmla="*/ 6077477 w 7714416"/>
              <a:gd name="connsiteY13339" fmla="*/ 1443774 h 5282095"/>
              <a:gd name="connsiteX13340" fmla="*/ 6080826 w 7714416"/>
              <a:gd name="connsiteY13340" fmla="*/ 1453411 h 5282095"/>
              <a:gd name="connsiteX13341" fmla="*/ 6060315 w 7714416"/>
              <a:gd name="connsiteY13341" fmla="*/ 1454700 h 5282095"/>
              <a:gd name="connsiteX13342" fmla="*/ 6054468 w 7714416"/>
              <a:gd name="connsiteY13342" fmla="*/ 1451063 h 5282095"/>
              <a:gd name="connsiteX13343" fmla="*/ 6052847 w 7714416"/>
              <a:gd name="connsiteY13343" fmla="*/ 1440509 h 5282095"/>
              <a:gd name="connsiteX13344" fmla="*/ 6071642 w 7714416"/>
              <a:gd name="connsiteY13344" fmla="*/ 1438989 h 5282095"/>
              <a:gd name="connsiteX13345" fmla="*/ 5423890 w 7714416"/>
              <a:gd name="connsiteY13345" fmla="*/ 1438044 h 5282095"/>
              <a:gd name="connsiteX13346" fmla="*/ 5424093 w 7714416"/>
              <a:gd name="connsiteY13346" fmla="*/ 1438267 h 5282095"/>
              <a:gd name="connsiteX13347" fmla="*/ 5424372 w 7714416"/>
              <a:gd name="connsiteY13347" fmla="*/ 1438229 h 5282095"/>
              <a:gd name="connsiteX13348" fmla="*/ 1578419 w 7714416"/>
              <a:gd name="connsiteY13348" fmla="*/ 1437492 h 5282095"/>
              <a:gd name="connsiteX13349" fmla="*/ 1589351 w 7714416"/>
              <a:gd name="connsiteY13349" fmla="*/ 1443181 h 5282095"/>
              <a:gd name="connsiteX13350" fmla="*/ 1590367 w 7714416"/>
              <a:gd name="connsiteY13350" fmla="*/ 1447134 h 5282095"/>
              <a:gd name="connsiteX13351" fmla="*/ 1587173 w 7714416"/>
              <a:gd name="connsiteY13351" fmla="*/ 1453522 h 5282095"/>
              <a:gd name="connsiteX13352" fmla="*/ 1588833 w 7714416"/>
              <a:gd name="connsiteY13352" fmla="*/ 1453968 h 5282095"/>
              <a:gd name="connsiteX13353" fmla="*/ 1578918 w 7714416"/>
              <a:gd name="connsiteY13353" fmla="*/ 1452231 h 5282095"/>
              <a:gd name="connsiteX13354" fmla="*/ 1578261 w 7714416"/>
              <a:gd name="connsiteY13354" fmla="*/ 1451364 h 5282095"/>
              <a:gd name="connsiteX13355" fmla="*/ 1578555 w 7714416"/>
              <a:gd name="connsiteY13355" fmla="*/ 1452479 h 5282095"/>
              <a:gd name="connsiteX13356" fmla="*/ 1567063 w 7714416"/>
              <a:gd name="connsiteY13356" fmla="*/ 1453310 h 5282095"/>
              <a:gd name="connsiteX13357" fmla="*/ 1556027 w 7714416"/>
              <a:gd name="connsiteY13357" fmla="*/ 1446902 h 5282095"/>
              <a:gd name="connsiteX13358" fmla="*/ 1571107 w 7714416"/>
              <a:gd name="connsiteY13358" fmla="*/ 1439326 h 5282095"/>
              <a:gd name="connsiteX13359" fmla="*/ 1572612 w 7714416"/>
              <a:gd name="connsiteY13359" fmla="*/ 1441456 h 5282095"/>
              <a:gd name="connsiteX13360" fmla="*/ 1574599 w 7714416"/>
              <a:gd name="connsiteY13360" fmla="*/ 1439573 h 5282095"/>
              <a:gd name="connsiteX13361" fmla="*/ 1578419 w 7714416"/>
              <a:gd name="connsiteY13361" fmla="*/ 1437492 h 5282095"/>
              <a:gd name="connsiteX13362" fmla="*/ 1331595 w 7714416"/>
              <a:gd name="connsiteY13362" fmla="*/ 1436676 h 5282095"/>
              <a:gd name="connsiteX13363" fmla="*/ 1333967 w 7714416"/>
              <a:gd name="connsiteY13363" fmla="*/ 1441107 h 5282095"/>
              <a:gd name="connsiteX13364" fmla="*/ 1336501 w 7714416"/>
              <a:gd name="connsiteY13364" fmla="*/ 1437186 h 5282095"/>
              <a:gd name="connsiteX13365" fmla="*/ 733220 w 7714416"/>
              <a:gd name="connsiteY13365" fmla="*/ 1432974 h 5282095"/>
              <a:gd name="connsiteX13366" fmla="*/ 737215 w 7714416"/>
              <a:gd name="connsiteY13366" fmla="*/ 1444625 h 5282095"/>
              <a:gd name="connsiteX13367" fmla="*/ 730639 w 7714416"/>
              <a:gd name="connsiteY13367" fmla="*/ 1444819 h 5282095"/>
              <a:gd name="connsiteX13368" fmla="*/ 733220 w 7714416"/>
              <a:gd name="connsiteY13368" fmla="*/ 1432974 h 5282095"/>
              <a:gd name="connsiteX13369" fmla="*/ 6009258 w 7714416"/>
              <a:gd name="connsiteY13369" fmla="*/ 1432739 h 5282095"/>
              <a:gd name="connsiteX13370" fmla="*/ 6019345 w 7714416"/>
              <a:gd name="connsiteY13370" fmla="*/ 1433832 h 5282095"/>
              <a:gd name="connsiteX13371" fmla="*/ 6021371 w 7714416"/>
              <a:gd name="connsiteY13371" fmla="*/ 1439549 h 5282095"/>
              <a:gd name="connsiteX13372" fmla="*/ 6015729 w 7714416"/>
              <a:gd name="connsiteY13372" fmla="*/ 1440683 h 5282095"/>
              <a:gd name="connsiteX13373" fmla="*/ 6013239 w 7714416"/>
              <a:gd name="connsiteY13373" fmla="*/ 1440015 h 5282095"/>
              <a:gd name="connsiteX13374" fmla="*/ 6011036 w 7714416"/>
              <a:gd name="connsiteY13374" fmla="*/ 1438276 h 5282095"/>
              <a:gd name="connsiteX13375" fmla="*/ 6009258 w 7714416"/>
              <a:gd name="connsiteY13375" fmla="*/ 1432739 h 5282095"/>
              <a:gd name="connsiteX13376" fmla="*/ 5315207 w 7714416"/>
              <a:gd name="connsiteY13376" fmla="*/ 1431922 h 5282095"/>
              <a:gd name="connsiteX13377" fmla="*/ 5347958 w 7714416"/>
              <a:gd name="connsiteY13377" fmla="*/ 1444722 h 5282095"/>
              <a:gd name="connsiteX13378" fmla="*/ 5353295 w 7714416"/>
              <a:gd name="connsiteY13378" fmla="*/ 1452477 h 5282095"/>
              <a:gd name="connsiteX13379" fmla="*/ 5355404 w 7714416"/>
              <a:gd name="connsiteY13379" fmla="*/ 1452353 h 5282095"/>
              <a:gd name="connsiteX13380" fmla="*/ 5364043 w 7714416"/>
              <a:gd name="connsiteY13380" fmla="*/ 1459957 h 5282095"/>
              <a:gd name="connsiteX13381" fmla="*/ 5356554 w 7714416"/>
              <a:gd name="connsiteY13381" fmla="*/ 1456916 h 5282095"/>
              <a:gd name="connsiteX13382" fmla="*/ 5356029 w 7714416"/>
              <a:gd name="connsiteY13382" fmla="*/ 1456660 h 5282095"/>
              <a:gd name="connsiteX13383" fmla="*/ 5365394 w 7714416"/>
              <a:gd name="connsiteY13383" fmla="*/ 1472624 h 5282095"/>
              <a:gd name="connsiteX13384" fmla="*/ 5347631 w 7714416"/>
              <a:gd name="connsiteY13384" fmla="*/ 1473614 h 5282095"/>
              <a:gd name="connsiteX13385" fmla="*/ 5340261 w 7714416"/>
              <a:gd name="connsiteY13385" fmla="*/ 1457954 h 5282095"/>
              <a:gd name="connsiteX13386" fmla="*/ 5327486 w 7714416"/>
              <a:gd name="connsiteY13386" fmla="*/ 1462466 h 5282095"/>
              <a:gd name="connsiteX13387" fmla="*/ 5315207 w 7714416"/>
              <a:gd name="connsiteY13387" fmla="*/ 1431922 h 5282095"/>
              <a:gd name="connsiteX13388" fmla="*/ 6211359 w 7714416"/>
              <a:gd name="connsiteY13388" fmla="*/ 1431117 h 5282095"/>
              <a:gd name="connsiteX13389" fmla="*/ 6220505 w 7714416"/>
              <a:gd name="connsiteY13389" fmla="*/ 1437937 h 5282095"/>
              <a:gd name="connsiteX13390" fmla="*/ 6214813 w 7714416"/>
              <a:gd name="connsiteY13390" fmla="*/ 1441472 h 5282095"/>
              <a:gd name="connsiteX13391" fmla="*/ 6206008 w 7714416"/>
              <a:gd name="connsiteY13391" fmla="*/ 1436698 h 5282095"/>
              <a:gd name="connsiteX13392" fmla="*/ 6211359 w 7714416"/>
              <a:gd name="connsiteY13392" fmla="*/ 1431117 h 5282095"/>
              <a:gd name="connsiteX13393" fmla="*/ 1450773 w 7714416"/>
              <a:gd name="connsiteY13393" fmla="*/ 1430200 h 5282095"/>
              <a:gd name="connsiteX13394" fmla="*/ 1449407 w 7714416"/>
              <a:gd name="connsiteY13394" fmla="*/ 1430868 h 5282095"/>
              <a:gd name="connsiteX13395" fmla="*/ 1451886 w 7714416"/>
              <a:gd name="connsiteY13395" fmla="*/ 1432683 h 5282095"/>
              <a:gd name="connsiteX13396" fmla="*/ 1452975 w 7714416"/>
              <a:gd name="connsiteY13396" fmla="*/ 1431939 h 5282095"/>
              <a:gd name="connsiteX13397" fmla="*/ 1454060 w 7714416"/>
              <a:gd name="connsiteY13397" fmla="*/ 1434530 h 5282095"/>
              <a:gd name="connsiteX13398" fmla="*/ 1449212 w 7714416"/>
              <a:gd name="connsiteY13398" fmla="*/ 1442661 h 5282095"/>
              <a:gd name="connsiteX13399" fmla="*/ 1443071 w 7714416"/>
              <a:gd name="connsiteY13399" fmla="*/ 1437910 h 5282095"/>
              <a:gd name="connsiteX13400" fmla="*/ 1444336 w 7714416"/>
              <a:gd name="connsiteY13400" fmla="*/ 1433190 h 5282095"/>
              <a:gd name="connsiteX13401" fmla="*/ 1450773 w 7714416"/>
              <a:gd name="connsiteY13401" fmla="*/ 1430200 h 5282095"/>
              <a:gd name="connsiteX13402" fmla="*/ 5889294 w 7714416"/>
              <a:gd name="connsiteY13402" fmla="*/ 1425550 h 5282095"/>
              <a:gd name="connsiteX13403" fmla="*/ 5900383 w 7714416"/>
              <a:gd name="connsiteY13403" fmla="*/ 1426221 h 5282095"/>
              <a:gd name="connsiteX13404" fmla="*/ 5895564 w 7714416"/>
              <a:gd name="connsiteY13404" fmla="*/ 1434245 h 5282095"/>
              <a:gd name="connsiteX13405" fmla="*/ 5891356 w 7714416"/>
              <a:gd name="connsiteY13405" fmla="*/ 1433348 h 5282095"/>
              <a:gd name="connsiteX13406" fmla="*/ 5889545 w 7714416"/>
              <a:gd name="connsiteY13406" fmla="*/ 1431253 h 5282095"/>
              <a:gd name="connsiteX13407" fmla="*/ 5889294 w 7714416"/>
              <a:gd name="connsiteY13407" fmla="*/ 1425550 h 5282095"/>
              <a:gd name="connsiteX13408" fmla="*/ 1776493 w 7714416"/>
              <a:gd name="connsiteY13408" fmla="*/ 1425029 h 5282095"/>
              <a:gd name="connsiteX13409" fmla="*/ 1783586 w 7714416"/>
              <a:gd name="connsiteY13409" fmla="*/ 1425535 h 5282095"/>
              <a:gd name="connsiteX13410" fmla="*/ 1786533 w 7714416"/>
              <a:gd name="connsiteY13410" fmla="*/ 1427820 h 5282095"/>
              <a:gd name="connsiteX13411" fmla="*/ 1784869 w 7714416"/>
              <a:gd name="connsiteY13411" fmla="*/ 1430709 h 5282095"/>
              <a:gd name="connsiteX13412" fmla="*/ 1776478 w 7714416"/>
              <a:gd name="connsiteY13412" fmla="*/ 1432141 h 5282095"/>
              <a:gd name="connsiteX13413" fmla="*/ 1773531 w 7714416"/>
              <a:gd name="connsiteY13413" fmla="*/ 1429856 h 5282095"/>
              <a:gd name="connsiteX13414" fmla="*/ 1776493 w 7714416"/>
              <a:gd name="connsiteY13414" fmla="*/ 1425029 h 5282095"/>
              <a:gd name="connsiteX13415" fmla="*/ 5677050 w 7714416"/>
              <a:gd name="connsiteY13415" fmla="*/ 1422960 h 5282095"/>
              <a:gd name="connsiteX13416" fmla="*/ 5688837 w 7714416"/>
              <a:gd name="connsiteY13416" fmla="*/ 1432098 h 5282095"/>
              <a:gd name="connsiteX13417" fmla="*/ 5683978 w 7714416"/>
              <a:gd name="connsiteY13417" fmla="*/ 1432522 h 5282095"/>
              <a:gd name="connsiteX13418" fmla="*/ 5677050 w 7714416"/>
              <a:gd name="connsiteY13418" fmla="*/ 1422960 h 5282095"/>
              <a:gd name="connsiteX13419" fmla="*/ 1810611 w 7714416"/>
              <a:gd name="connsiteY13419" fmla="*/ 1422081 h 5282095"/>
              <a:gd name="connsiteX13420" fmla="*/ 1817705 w 7714416"/>
              <a:gd name="connsiteY13420" fmla="*/ 1428812 h 5282095"/>
              <a:gd name="connsiteX13421" fmla="*/ 1816877 w 7714416"/>
              <a:gd name="connsiteY13421" fmla="*/ 1434110 h 5282095"/>
              <a:gd name="connsiteX13422" fmla="*/ 1820047 w 7714416"/>
              <a:gd name="connsiteY13422" fmla="*/ 1433349 h 5282095"/>
              <a:gd name="connsiteX13423" fmla="*/ 1826587 w 7714416"/>
              <a:gd name="connsiteY13423" fmla="*/ 1439933 h 5282095"/>
              <a:gd name="connsiteX13424" fmla="*/ 1819238 w 7714416"/>
              <a:gd name="connsiteY13424" fmla="*/ 1439689 h 5282095"/>
              <a:gd name="connsiteX13425" fmla="*/ 1816492 w 7714416"/>
              <a:gd name="connsiteY13425" fmla="*/ 1436652 h 5282095"/>
              <a:gd name="connsiteX13426" fmla="*/ 1816539 w 7714416"/>
              <a:gd name="connsiteY13426" fmla="*/ 1437585 h 5282095"/>
              <a:gd name="connsiteX13427" fmla="*/ 1806251 w 7714416"/>
              <a:gd name="connsiteY13427" fmla="*/ 1437243 h 5282095"/>
              <a:gd name="connsiteX13428" fmla="*/ 1803013 w 7714416"/>
              <a:gd name="connsiteY13428" fmla="*/ 1439366 h 5282095"/>
              <a:gd name="connsiteX13429" fmla="*/ 1801558 w 7714416"/>
              <a:gd name="connsiteY13429" fmla="*/ 1425981 h 5282095"/>
              <a:gd name="connsiteX13430" fmla="*/ 1802952 w 7714416"/>
              <a:gd name="connsiteY13430" fmla="*/ 1425204 h 5282095"/>
              <a:gd name="connsiteX13431" fmla="*/ 1803757 w 7714416"/>
              <a:gd name="connsiteY13431" fmla="*/ 1422199 h 5282095"/>
              <a:gd name="connsiteX13432" fmla="*/ 1810611 w 7714416"/>
              <a:gd name="connsiteY13432" fmla="*/ 1422081 h 5282095"/>
              <a:gd name="connsiteX13433" fmla="*/ 1609141 w 7714416"/>
              <a:gd name="connsiteY13433" fmla="*/ 1421343 h 5282095"/>
              <a:gd name="connsiteX13434" fmla="*/ 1627673 w 7714416"/>
              <a:gd name="connsiteY13434" fmla="*/ 1432979 h 5282095"/>
              <a:gd name="connsiteX13435" fmla="*/ 1628585 w 7714416"/>
              <a:gd name="connsiteY13435" fmla="*/ 1453923 h 5282095"/>
              <a:gd name="connsiteX13436" fmla="*/ 1610193 w 7714416"/>
              <a:gd name="connsiteY13436" fmla="*/ 1453941 h 5282095"/>
              <a:gd name="connsiteX13437" fmla="*/ 1600513 w 7714416"/>
              <a:gd name="connsiteY13437" fmla="*/ 1448012 h 5282095"/>
              <a:gd name="connsiteX13438" fmla="*/ 1601300 w 7714416"/>
              <a:gd name="connsiteY13438" fmla="*/ 1426258 h 5282095"/>
              <a:gd name="connsiteX13439" fmla="*/ 1604919 w 7714416"/>
              <a:gd name="connsiteY13439" fmla="*/ 1424927 h 5282095"/>
              <a:gd name="connsiteX13440" fmla="*/ 1609141 w 7714416"/>
              <a:gd name="connsiteY13440" fmla="*/ 1421343 h 5282095"/>
              <a:gd name="connsiteX13441" fmla="*/ 1549444 w 7714416"/>
              <a:gd name="connsiteY13441" fmla="*/ 1418070 h 5282095"/>
              <a:gd name="connsiteX13442" fmla="*/ 1558978 w 7714416"/>
              <a:gd name="connsiteY13442" fmla="*/ 1419286 h 5282095"/>
              <a:gd name="connsiteX13443" fmla="*/ 1545944 w 7714416"/>
              <a:gd name="connsiteY13443" fmla="*/ 1424766 h 5282095"/>
              <a:gd name="connsiteX13444" fmla="*/ 1542416 w 7714416"/>
              <a:gd name="connsiteY13444" fmla="*/ 1422439 h 5282095"/>
              <a:gd name="connsiteX13445" fmla="*/ 1549444 w 7714416"/>
              <a:gd name="connsiteY13445" fmla="*/ 1418070 h 5282095"/>
              <a:gd name="connsiteX13446" fmla="*/ 1848203 w 7714416"/>
              <a:gd name="connsiteY13446" fmla="*/ 1415709 h 5282095"/>
              <a:gd name="connsiteX13447" fmla="*/ 1844682 w 7714416"/>
              <a:gd name="connsiteY13447" fmla="*/ 1424425 h 5282095"/>
              <a:gd name="connsiteX13448" fmla="*/ 1848203 w 7714416"/>
              <a:gd name="connsiteY13448" fmla="*/ 1415709 h 5282095"/>
              <a:gd name="connsiteX13449" fmla="*/ 5837679 w 7714416"/>
              <a:gd name="connsiteY13449" fmla="*/ 1415630 h 5282095"/>
              <a:gd name="connsiteX13450" fmla="*/ 5854055 w 7714416"/>
              <a:gd name="connsiteY13450" fmla="*/ 1417603 h 5282095"/>
              <a:gd name="connsiteX13451" fmla="*/ 5860962 w 7714416"/>
              <a:gd name="connsiteY13451" fmla="*/ 1429459 h 5282095"/>
              <a:gd name="connsiteX13452" fmla="*/ 5851820 w 7714416"/>
              <a:gd name="connsiteY13452" fmla="*/ 1428159 h 5282095"/>
              <a:gd name="connsiteX13453" fmla="*/ 5845017 w 7714416"/>
              <a:gd name="connsiteY13453" fmla="*/ 1425877 h 5282095"/>
              <a:gd name="connsiteX13454" fmla="*/ 5837679 w 7714416"/>
              <a:gd name="connsiteY13454" fmla="*/ 1415630 h 5282095"/>
              <a:gd name="connsiteX13455" fmla="*/ 1290503 w 7714416"/>
              <a:gd name="connsiteY13455" fmla="*/ 1414050 h 5282095"/>
              <a:gd name="connsiteX13456" fmla="*/ 1304091 w 7714416"/>
              <a:gd name="connsiteY13456" fmla="*/ 1417577 h 5282095"/>
              <a:gd name="connsiteX13457" fmla="*/ 1302685 w 7714416"/>
              <a:gd name="connsiteY13457" fmla="*/ 1419500 h 5282095"/>
              <a:gd name="connsiteX13458" fmla="*/ 1318665 w 7714416"/>
              <a:gd name="connsiteY13458" fmla="*/ 1425162 h 5282095"/>
              <a:gd name="connsiteX13459" fmla="*/ 1320124 w 7714416"/>
              <a:gd name="connsiteY13459" fmla="*/ 1426358 h 5282095"/>
              <a:gd name="connsiteX13460" fmla="*/ 1320469 w 7714416"/>
              <a:gd name="connsiteY13460" fmla="*/ 1425070 h 5282095"/>
              <a:gd name="connsiteX13461" fmla="*/ 1325360 w 7714416"/>
              <a:gd name="connsiteY13461" fmla="*/ 1421205 h 5282095"/>
              <a:gd name="connsiteX13462" fmla="*/ 1327107 w 7714416"/>
              <a:gd name="connsiteY13462" fmla="*/ 1421328 h 5282095"/>
              <a:gd name="connsiteX13463" fmla="*/ 1345461 w 7714416"/>
              <a:gd name="connsiteY13463" fmla="*/ 1422567 h 5282095"/>
              <a:gd name="connsiteX13464" fmla="*/ 1349175 w 7714416"/>
              <a:gd name="connsiteY13464" fmla="*/ 1428622 h 5282095"/>
              <a:gd name="connsiteX13465" fmla="*/ 1349613 w 7714416"/>
              <a:gd name="connsiteY13465" fmla="*/ 1429199 h 5282095"/>
              <a:gd name="connsiteX13466" fmla="*/ 1357005 w 7714416"/>
              <a:gd name="connsiteY13466" fmla="*/ 1424855 h 5282095"/>
              <a:gd name="connsiteX13467" fmla="*/ 1363729 w 7714416"/>
              <a:gd name="connsiteY13467" fmla="*/ 1429646 h 5282095"/>
              <a:gd name="connsiteX13468" fmla="*/ 1364789 w 7714416"/>
              <a:gd name="connsiteY13468" fmla="*/ 1429010 h 5282095"/>
              <a:gd name="connsiteX13469" fmla="*/ 1436276 w 7714416"/>
              <a:gd name="connsiteY13469" fmla="*/ 1428959 h 5282095"/>
              <a:gd name="connsiteX13470" fmla="*/ 1427741 w 7714416"/>
              <a:gd name="connsiteY13470" fmla="*/ 1439783 h 5282095"/>
              <a:gd name="connsiteX13471" fmla="*/ 1364746 w 7714416"/>
              <a:gd name="connsiteY13471" fmla="*/ 1442454 h 5282095"/>
              <a:gd name="connsiteX13472" fmla="*/ 1363276 w 7714416"/>
              <a:gd name="connsiteY13472" fmla="*/ 1442405 h 5282095"/>
              <a:gd name="connsiteX13473" fmla="*/ 1353657 w 7714416"/>
              <a:gd name="connsiteY13473" fmla="*/ 1450638 h 5282095"/>
              <a:gd name="connsiteX13474" fmla="*/ 1337445 w 7714416"/>
              <a:gd name="connsiteY13474" fmla="*/ 1454689 h 5282095"/>
              <a:gd name="connsiteX13475" fmla="*/ 1336644 w 7714416"/>
              <a:gd name="connsiteY13475" fmla="*/ 1454359 h 5282095"/>
              <a:gd name="connsiteX13476" fmla="*/ 1333675 w 7714416"/>
              <a:gd name="connsiteY13476" fmla="*/ 1463224 h 5282095"/>
              <a:gd name="connsiteX13477" fmla="*/ 1326602 w 7714416"/>
              <a:gd name="connsiteY13477" fmla="*/ 1471909 h 5282095"/>
              <a:gd name="connsiteX13478" fmla="*/ 1321220 w 7714416"/>
              <a:gd name="connsiteY13478" fmla="*/ 1472077 h 5282095"/>
              <a:gd name="connsiteX13479" fmla="*/ 1291078 w 7714416"/>
              <a:gd name="connsiteY13479" fmla="*/ 1447325 h 5282095"/>
              <a:gd name="connsiteX13480" fmla="*/ 1294233 w 7714416"/>
              <a:gd name="connsiteY13480" fmla="*/ 1424480 h 5282095"/>
              <a:gd name="connsiteX13481" fmla="*/ 1295351 w 7714416"/>
              <a:gd name="connsiteY13481" fmla="*/ 1423630 h 5282095"/>
              <a:gd name="connsiteX13482" fmla="*/ 1292763 w 7714416"/>
              <a:gd name="connsiteY13482" fmla="*/ 1424431 h 5282095"/>
              <a:gd name="connsiteX13483" fmla="*/ 1289224 w 7714416"/>
              <a:gd name="connsiteY13483" fmla="*/ 1423252 h 5282095"/>
              <a:gd name="connsiteX13484" fmla="*/ 1281964 w 7714416"/>
              <a:gd name="connsiteY13484" fmla="*/ 1419352 h 5282095"/>
              <a:gd name="connsiteX13485" fmla="*/ 1283668 w 7714416"/>
              <a:gd name="connsiteY13485" fmla="*/ 1415209 h 5282095"/>
              <a:gd name="connsiteX13486" fmla="*/ 1290503 w 7714416"/>
              <a:gd name="connsiteY13486" fmla="*/ 1414050 h 5282095"/>
              <a:gd name="connsiteX13487" fmla="*/ 1766431 w 7714416"/>
              <a:gd name="connsiteY13487" fmla="*/ 1412083 h 5282095"/>
              <a:gd name="connsiteX13488" fmla="*/ 1772698 w 7714416"/>
              <a:gd name="connsiteY13488" fmla="*/ 1415257 h 5282095"/>
              <a:gd name="connsiteX13489" fmla="*/ 1767714 w 7714416"/>
              <a:gd name="connsiteY13489" fmla="*/ 1417257 h 5282095"/>
              <a:gd name="connsiteX13490" fmla="*/ 1765540 w 7714416"/>
              <a:gd name="connsiteY13490" fmla="*/ 1415409 h 5282095"/>
              <a:gd name="connsiteX13491" fmla="*/ 1766431 w 7714416"/>
              <a:gd name="connsiteY13491" fmla="*/ 1412083 h 5282095"/>
              <a:gd name="connsiteX13492" fmla="*/ 1787537 w 7714416"/>
              <a:gd name="connsiteY13492" fmla="*/ 1410796 h 5282095"/>
              <a:gd name="connsiteX13493" fmla="*/ 1796312 w 7714416"/>
              <a:gd name="connsiteY13493" fmla="*/ 1414570 h 5282095"/>
              <a:gd name="connsiteX13494" fmla="*/ 1797923 w 7714416"/>
              <a:gd name="connsiteY13494" fmla="*/ 1417416 h 5282095"/>
              <a:gd name="connsiteX13495" fmla="*/ 1799165 w 7714416"/>
              <a:gd name="connsiteY13495" fmla="*/ 1423845 h 5282095"/>
              <a:gd name="connsiteX13496" fmla="*/ 1793857 w 7714416"/>
              <a:gd name="connsiteY13496" fmla="*/ 1424837 h 5282095"/>
              <a:gd name="connsiteX13497" fmla="*/ 1787428 w 7714416"/>
              <a:gd name="connsiteY13497" fmla="*/ 1421159 h 5282095"/>
              <a:gd name="connsiteX13498" fmla="*/ 1781197 w 7714416"/>
              <a:gd name="connsiteY13498" fmla="*/ 1411210 h 5282095"/>
              <a:gd name="connsiteX13499" fmla="*/ 1787537 w 7714416"/>
              <a:gd name="connsiteY13499" fmla="*/ 1410796 h 5282095"/>
              <a:gd name="connsiteX13500" fmla="*/ 5825813 w 7714416"/>
              <a:gd name="connsiteY13500" fmla="*/ 1409000 h 5282095"/>
              <a:gd name="connsiteX13501" fmla="*/ 5829468 w 7714416"/>
              <a:gd name="connsiteY13501" fmla="*/ 1418605 h 5282095"/>
              <a:gd name="connsiteX13502" fmla="*/ 5819021 w 7714416"/>
              <a:gd name="connsiteY13502" fmla="*/ 1414426 h 5282095"/>
              <a:gd name="connsiteX13503" fmla="*/ 5825813 w 7714416"/>
              <a:gd name="connsiteY13503" fmla="*/ 1409000 h 5282095"/>
              <a:gd name="connsiteX13504" fmla="*/ 1583138 w 7714416"/>
              <a:gd name="connsiteY13504" fmla="*/ 1407706 h 5282095"/>
              <a:gd name="connsiteX13505" fmla="*/ 1594725 w 7714416"/>
              <a:gd name="connsiteY13505" fmla="*/ 1417595 h 5282095"/>
              <a:gd name="connsiteX13506" fmla="*/ 1583138 w 7714416"/>
              <a:gd name="connsiteY13506" fmla="*/ 1407706 h 5282095"/>
              <a:gd name="connsiteX13507" fmla="*/ 6164352 w 7714416"/>
              <a:gd name="connsiteY13507" fmla="*/ 1406216 h 5282095"/>
              <a:gd name="connsiteX13508" fmla="*/ 6196274 w 7714416"/>
              <a:gd name="connsiteY13508" fmla="*/ 1427649 h 5282095"/>
              <a:gd name="connsiteX13509" fmla="*/ 6158563 w 7714416"/>
              <a:gd name="connsiteY13509" fmla="*/ 1437785 h 5282095"/>
              <a:gd name="connsiteX13510" fmla="*/ 6146162 w 7714416"/>
              <a:gd name="connsiteY13510" fmla="*/ 1432047 h 5282095"/>
              <a:gd name="connsiteX13511" fmla="*/ 6164352 w 7714416"/>
              <a:gd name="connsiteY13511" fmla="*/ 1406216 h 5282095"/>
              <a:gd name="connsiteX13512" fmla="*/ 5957798 w 7714416"/>
              <a:gd name="connsiteY13512" fmla="*/ 1403425 h 5282095"/>
              <a:gd name="connsiteX13513" fmla="*/ 5962750 w 7714416"/>
              <a:gd name="connsiteY13513" fmla="*/ 1404867 h 5282095"/>
              <a:gd name="connsiteX13514" fmla="*/ 5977663 w 7714416"/>
              <a:gd name="connsiteY13514" fmla="*/ 1417833 h 5282095"/>
              <a:gd name="connsiteX13515" fmla="*/ 5972959 w 7714416"/>
              <a:gd name="connsiteY13515" fmla="*/ 1416573 h 5282095"/>
              <a:gd name="connsiteX13516" fmla="*/ 5957798 w 7714416"/>
              <a:gd name="connsiteY13516" fmla="*/ 1403425 h 5282095"/>
              <a:gd name="connsiteX13517" fmla="*/ 6323023 w 7714416"/>
              <a:gd name="connsiteY13517" fmla="*/ 1400660 h 5282095"/>
              <a:gd name="connsiteX13518" fmla="*/ 6335273 w 7714416"/>
              <a:gd name="connsiteY13518" fmla="*/ 1404748 h 5282095"/>
              <a:gd name="connsiteX13519" fmla="*/ 6325153 w 7714416"/>
              <a:gd name="connsiteY13519" fmla="*/ 1415952 h 5282095"/>
              <a:gd name="connsiteX13520" fmla="*/ 6313197 w 7714416"/>
              <a:gd name="connsiteY13520" fmla="*/ 1404123 h 5282095"/>
              <a:gd name="connsiteX13521" fmla="*/ 6323023 w 7714416"/>
              <a:gd name="connsiteY13521" fmla="*/ 1400660 h 5282095"/>
              <a:gd name="connsiteX13522" fmla="*/ 1755000 w 7714416"/>
              <a:gd name="connsiteY13522" fmla="*/ 1400510 h 5282095"/>
              <a:gd name="connsiteX13523" fmla="*/ 1764304 w 7714416"/>
              <a:gd name="connsiteY13523" fmla="*/ 1411168 h 5282095"/>
              <a:gd name="connsiteX13524" fmla="*/ 1754516 w 7714416"/>
              <a:gd name="connsiteY13524" fmla="*/ 1416711 h 5282095"/>
              <a:gd name="connsiteX13525" fmla="*/ 1751568 w 7714416"/>
              <a:gd name="connsiteY13525" fmla="*/ 1414426 h 5282095"/>
              <a:gd name="connsiteX13526" fmla="*/ 1749099 w 7714416"/>
              <a:gd name="connsiteY13526" fmla="*/ 1411464 h 5282095"/>
              <a:gd name="connsiteX13527" fmla="*/ 1747447 w 7714416"/>
              <a:gd name="connsiteY13527" fmla="*/ 1404351 h 5282095"/>
              <a:gd name="connsiteX13528" fmla="*/ 1752194 w 7714416"/>
              <a:gd name="connsiteY13528" fmla="*/ 1401023 h 5282095"/>
              <a:gd name="connsiteX13529" fmla="*/ 1755000 w 7714416"/>
              <a:gd name="connsiteY13529" fmla="*/ 1400510 h 5282095"/>
              <a:gd name="connsiteX13530" fmla="*/ 1847783 w 7714416"/>
              <a:gd name="connsiteY13530" fmla="*/ 1398460 h 5282095"/>
              <a:gd name="connsiteX13531" fmla="*/ 1856375 w 7714416"/>
              <a:gd name="connsiteY13531" fmla="*/ 1413988 h 5282095"/>
              <a:gd name="connsiteX13532" fmla="*/ 1846194 w 7714416"/>
              <a:gd name="connsiteY13532" fmla="*/ 1411030 h 5282095"/>
              <a:gd name="connsiteX13533" fmla="*/ 1843787 w 7714416"/>
              <a:gd name="connsiteY13533" fmla="*/ 1404520 h 5282095"/>
              <a:gd name="connsiteX13534" fmla="*/ 1847783 w 7714416"/>
              <a:gd name="connsiteY13534" fmla="*/ 1398460 h 5282095"/>
              <a:gd name="connsiteX13535" fmla="*/ 1818521 w 7714416"/>
              <a:gd name="connsiteY13535" fmla="*/ 1398095 h 5282095"/>
              <a:gd name="connsiteX13536" fmla="*/ 1827849 w 7714416"/>
              <a:gd name="connsiteY13536" fmla="*/ 1411979 h 5282095"/>
              <a:gd name="connsiteX13537" fmla="*/ 1823058 w 7714416"/>
              <a:gd name="connsiteY13537" fmla="*/ 1411042 h 5282095"/>
              <a:gd name="connsiteX13538" fmla="*/ 1818521 w 7714416"/>
              <a:gd name="connsiteY13538" fmla="*/ 1398095 h 5282095"/>
              <a:gd name="connsiteX13539" fmla="*/ 1429794 w 7714416"/>
              <a:gd name="connsiteY13539" fmla="*/ 1395597 h 5282095"/>
              <a:gd name="connsiteX13540" fmla="*/ 1434727 w 7714416"/>
              <a:gd name="connsiteY13540" fmla="*/ 1396000 h 5282095"/>
              <a:gd name="connsiteX13541" fmla="*/ 1441584 w 7714416"/>
              <a:gd name="connsiteY13541" fmla="*/ 1401401 h 5282095"/>
              <a:gd name="connsiteX13542" fmla="*/ 1430897 w 7714416"/>
              <a:gd name="connsiteY13542" fmla="*/ 1408083 h 5282095"/>
              <a:gd name="connsiteX13543" fmla="*/ 1423947 w 7714416"/>
              <a:gd name="connsiteY13543" fmla="*/ 1400815 h 5282095"/>
              <a:gd name="connsiteX13544" fmla="*/ 1425145 w 7714416"/>
              <a:gd name="connsiteY13544" fmla="*/ 1397457 h 5282095"/>
              <a:gd name="connsiteX13545" fmla="*/ 1429794 w 7714416"/>
              <a:gd name="connsiteY13545" fmla="*/ 1395597 h 5282095"/>
              <a:gd name="connsiteX13546" fmla="*/ 6417221 w 7714416"/>
              <a:gd name="connsiteY13546" fmla="*/ 1395540 h 5282095"/>
              <a:gd name="connsiteX13547" fmla="*/ 6408402 w 7714416"/>
              <a:gd name="connsiteY13547" fmla="*/ 1412957 h 5282095"/>
              <a:gd name="connsiteX13548" fmla="*/ 6397999 w 7714416"/>
              <a:gd name="connsiteY13548" fmla="*/ 1404190 h 5282095"/>
              <a:gd name="connsiteX13549" fmla="*/ 6417221 w 7714416"/>
              <a:gd name="connsiteY13549" fmla="*/ 1395540 h 5282095"/>
              <a:gd name="connsiteX13550" fmla="*/ 1698207 w 7714416"/>
              <a:gd name="connsiteY13550" fmla="*/ 1395528 h 5282095"/>
              <a:gd name="connsiteX13551" fmla="*/ 1698901 w 7714416"/>
              <a:gd name="connsiteY13551" fmla="*/ 1398474 h 5282095"/>
              <a:gd name="connsiteX13552" fmla="*/ 1700763 w 7714416"/>
              <a:gd name="connsiteY13552" fmla="*/ 1398168 h 5282095"/>
              <a:gd name="connsiteX13553" fmla="*/ 1709818 w 7714416"/>
              <a:gd name="connsiteY13553" fmla="*/ 1408644 h 5282095"/>
              <a:gd name="connsiteX13554" fmla="*/ 1706673 w 7714416"/>
              <a:gd name="connsiteY13554" fmla="*/ 1412631 h 5282095"/>
              <a:gd name="connsiteX13555" fmla="*/ 1714292 w 7714416"/>
              <a:gd name="connsiteY13555" fmla="*/ 1419618 h 5282095"/>
              <a:gd name="connsiteX13556" fmla="*/ 1720689 w 7714416"/>
              <a:gd name="connsiteY13556" fmla="*/ 1426737 h 5282095"/>
              <a:gd name="connsiteX13557" fmla="*/ 1722833 w 7714416"/>
              <a:gd name="connsiteY13557" fmla="*/ 1437547 h 5282095"/>
              <a:gd name="connsiteX13558" fmla="*/ 1672233 w 7714416"/>
              <a:gd name="connsiteY13558" fmla="*/ 1452624 h 5282095"/>
              <a:gd name="connsiteX13559" fmla="*/ 1649378 w 7714416"/>
              <a:gd name="connsiteY13559" fmla="*/ 1431664 h 5282095"/>
              <a:gd name="connsiteX13560" fmla="*/ 1652349 w 7714416"/>
              <a:gd name="connsiteY13560" fmla="*/ 1419466 h 5282095"/>
              <a:gd name="connsiteX13561" fmla="*/ 1698207 w 7714416"/>
              <a:gd name="connsiteY13561" fmla="*/ 1395528 h 5282095"/>
              <a:gd name="connsiteX13562" fmla="*/ 5663136 w 7714416"/>
              <a:gd name="connsiteY13562" fmla="*/ 1395197 h 5282095"/>
              <a:gd name="connsiteX13563" fmla="*/ 5670377 w 7714416"/>
              <a:gd name="connsiteY13563" fmla="*/ 1406912 h 5282095"/>
              <a:gd name="connsiteX13564" fmla="*/ 5666492 w 7714416"/>
              <a:gd name="connsiteY13564" fmla="*/ 1407022 h 5282095"/>
              <a:gd name="connsiteX13565" fmla="*/ 5661846 w 7714416"/>
              <a:gd name="connsiteY13565" fmla="*/ 1405547 h 5282095"/>
              <a:gd name="connsiteX13566" fmla="*/ 5655410 w 7714416"/>
              <a:gd name="connsiteY13566" fmla="*/ 1399682 h 5282095"/>
              <a:gd name="connsiteX13567" fmla="*/ 5658365 w 7714416"/>
              <a:gd name="connsiteY13567" fmla="*/ 1395298 h 5282095"/>
              <a:gd name="connsiteX13568" fmla="*/ 5663136 w 7714416"/>
              <a:gd name="connsiteY13568" fmla="*/ 1395197 h 5282095"/>
              <a:gd name="connsiteX13569" fmla="*/ 1030473 w 7714416"/>
              <a:gd name="connsiteY13569" fmla="*/ 1394853 h 5282095"/>
              <a:gd name="connsiteX13570" fmla="*/ 1050122 w 7714416"/>
              <a:gd name="connsiteY13570" fmla="*/ 1421287 h 5282095"/>
              <a:gd name="connsiteX13571" fmla="*/ 1018413 w 7714416"/>
              <a:gd name="connsiteY13571" fmla="*/ 1397955 h 5282095"/>
              <a:gd name="connsiteX13572" fmla="*/ 1030473 w 7714416"/>
              <a:gd name="connsiteY13572" fmla="*/ 1394853 h 5282095"/>
              <a:gd name="connsiteX13573" fmla="*/ 1514605 w 7714416"/>
              <a:gd name="connsiteY13573" fmla="*/ 1394517 h 5282095"/>
              <a:gd name="connsiteX13574" fmla="*/ 1525623 w 7714416"/>
              <a:gd name="connsiteY13574" fmla="*/ 1399885 h 5282095"/>
              <a:gd name="connsiteX13575" fmla="*/ 1518705 w 7714416"/>
              <a:gd name="connsiteY13575" fmla="*/ 1398031 h 5282095"/>
              <a:gd name="connsiteX13576" fmla="*/ 1514605 w 7714416"/>
              <a:gd name="connsiteY13576" fmla="*/ 1394517 h 5282095"/>
              <a:gd name="connsiteX13577" fmla="*/ 1348346 w 7714416"/>
              <a:gd name="connsiteY13577" fmla="*/ 1392979 h 5282095"/>
              <a:gd name="connsiteX13578" fmla="*/ 1341906 w 7714416"/>
              <a:gd name="connsiteY13578" fmla="*/ 1408158 h 5282095"/>
              <a:gd name="connsiteX13579" fmla="*/ 1327107 w 7714416"/>
              <a:gd name="connsiteY13579" fmla="*/ 1421328 h 5282095"/>
              <a:gd name="connsiteX13580" fmla="*/ 1324864 w 7714416"/>
              <a:gd name="connsiteY13580" fmla="*/ 1411987 h 5282095"/>
              <a:gd name="connsiteX13581" fmla="*/ 1348346 w 7714416"/>
              <a:gd name="connsiteY13581" fmla="*/ 1392979 h 5282095"/>
              <a:gd name="connsiteX13582" fmla="*/ 1408846 w 7714416"/>
              <a:gd name="connsiteY13582" fmla="*/ 1392975 h 5282095"/>
              <a:gd name="connsiteX13583" fmla="*/ 1407143 w 7714416"/>
              <a:gd name="connsiteY13583" fmla="*/ 1397118 h 5282095"/>
              <a:gd name="connsiteX13584" fmla="*/ 1406113 w 7714416"/>
              <a:gd name="connsiteY13584" fmla="*/ 1397648 h 5282095"/>
              <a:gd name="connsiteX13585" fmla="*/ 1405483 w 7714416"/>
              <a:gd name="connsiteY13585" fmla="*/ 1396673 h 5282095"/>
              <a:gd name="connsiteX13586" fmla="*/ 1408846 w 7714416"/>
              <a:gd name="connsiteY13586" fmla="*/ 1392975 h 5282095"/>
              <a:gd name="connsiteX13587" fmla="*/ 1610262 w 7714416"/>
              <a:gd name="connsiteY13587" fmla="*/ 1390593 h 5282095"/>
              <a:gd name="connsiteX13588" fmla="*/ 1615205 w 7714416"/>
              <a:gd name="connsiteY13588" fmla="*/ 1393183 h 5282095"/>
              <a:gd name="connsiteX13589" fmla="*/ 1615843 w 7714416"/>
              <a:gd name="connsiteY13589" fmla="*/ 1393008 h 5282095"/>
              <a:gd name="connsiteX13590" fmla="*/ 1626483 w 7714416"/>
              <a:gd name="connsiteY13590" fmla="*/ 1403105 h 5282095"/>
              <a:gd name="connsiteX13591" fmla="*/ 1617459 w 7714416"/>
              <a:gd name="connsiteY13591" fmla="*/ 1406897 h 5282095"/>
              <a:gd name="connsiteX13592" fmla="*/ 1616745 w 7714416"/>
              <a:gd name="connsiteY13592" fmla="*/ 1406245 h 5282095"/>
              <a:gd name="connsiteX13593" fmla="*/ 1615541 w 7714416"/>
              <a:gd name="connsiteY13593" fmla="*/ 1407419 h 5282095"/>
              <a:gd name="connsiteX13594" fmla="*/ 1604581 w 7714416"/>
              <a:gd name="connsiteY13594" fmla="*/ 1410691 h 5282095"/>
              <a:gd name="connsiteX13595" fmla="*/ 1610262 w 7714416"/>
              <a:gd name="connsiteY13595" fmla="*/ 1390593 h 5282095"/>
              <a:gd name="connsiteX13596" fmla="*/ 5368715 w 7714416"/>
              <a:gd name="connsiteY13596" fmla="*/ 1387593 h 5282095"/>
              <a:gd name="connsiteX13597" fmla="*/ 5374210 w 7714416"/>
              <a:gd name="connsiteY13597" fmla="*/ 1387700 h 5282095"/>
              <a:gd name="connsiteX13598" fmla="*/ 5372294 w 7714416"/>
              <a:gd name="connsiteY13598" fmla="*/ 1411452 h 5282095"/>
              <a:gd name="connsiteX13599" fmla="*/ 5373782 w 7714416"/>
              <a:gd name="connsiteY13599" fmla="*/ 1412542 h 5282095"/>
              <a:gd name="connsiteX13600" fmla="*/ 5375212 w 7714416"/>
              <a:gd name="connsiteY13600" fmla="*/ 1413844 h 5282095"/>
              <a:gd name="connsiteX13601" fmla="*/ 5373686 w 7714416"/>
              <a:gd name="connsiteY13601" fmla="*/ 1414010 h 5282095"/>
              <a:gd name="connsiteX13602" fmla="*/ 5371033 w 7714416"/>
              <a:gd name="connsiteY13602" fmla="*/ 1412839 h 5282095"/>
              <a:gd name="connsiteX13603" fmla="*/ 5370537 w 7714416"/>
              <a:gd name="connsiteY13603" fmla="*/ 1412477 h 5282095"/>
              <a:gd name="connsiteX13604" fmla="*/ 5364367 w 7714416"/>
              <a:gd name="connsiteY13604" fmla="*/ 1416688 h 5282095"/>
              <a:gd name="connsiteX13605" fmla="*/ 5347448 w 7714416"/>
              <a:gd name="connsiteY13605" fmla="*/ 1422275 h 5282095"/>
              <a:gd name="connsiteX13606" fmla="*/ 5342392 w 7714416"/>
              <a:gd name="connsiteY13606" fmla="*/ 1420115 h 5282095"/>
              <a:gd name="connsiteX13607" fmla="*/ 5335744 w 7714416"/>
              <a:gd name="connsiteY13607" fmla="*/ 1407294 h 5282095"/>
              <a:gd name="connsiteX13608" fmla="*/ 5337372 w 7714416"/>
              <a:gd name="connsiteY13608" fmla="*/ 1402325 h 5282095"/>
              <a:gd name="connsiteX13609" fmla="*/ 5335281 w 7714416"/>
              <a:gd name="connsiteY13609" fmla="*/ 1403489 h 5282095"/>
              <a:gd name="connsiteX13610" fmla="*/ 5330890 w 7714416"/>
              <a:gd name="connsiteY13610" fmla="*/ 1404383 h 5282095"/>
              <a:gd name="connsiteX13611" fmla="*/ 5334537 w 7714416"/>
              <a:gd name="connsiteY13611" fmla="*/ 1402946 h 5282095"/>
              <a:gd name="connsiteX13612" fmla="*/ 5335141 w 7714416"/>
              <a:gd name="connsiteY13612" fmla="*/ 1400692 h 5282095"/>
              <a:gd name="connsiteX13613" fmla="*/ 5337089 w 7714416"/>
              <a:gd name="connsiteY13613" fmla="*/ 1400065 h 5282095"/>
              <a:gd name="connsiteX13614" fmla="*/ 5338195 w 7714416"/>
              <a:gd name="connsiteY13614" fmla="*/ 1400361 h 5282095"/>
              <a:gd name="connsiteX13615" fmla="*/ 5344013 w 7714416"/>
              <a:gd name="connsiteY13615" fmla="*/ 1395250 h 5282095"/>
              <a:gd name="connsiteX13616" fmla="*/ 5351844 w 7714416"/>
              <a:gd name="connsiteY13616" fmla="*/ 1391482 h 5282095"/>
              <a:gd name="connsiteX13617" fmla="*/ 5351872 w 7714416"/>
              <a:gd name="connsiteY13617" fmla="*/ 1391376 h 5282095"/>
              <a:gd name="connsiteX13618" fmla="*/ 5355186 w 7714416"/>
              <a:gd name="connsiteY13618" fmla="*/ 1390078 h 5282095"/>
              <a:gd name="connsiteX13619" fmla="*/ 5368715 w 7714416"/>
              <a:gd name="connsiteY13619" fmla="*/ 1387593 h 5282095"/>
              <a:gd name="connsiteX13620" fmla="*/ 5717216 w 7714416"/>
              <a:gd name="connsiteY13620" fmla="*/ 1384847 h 5282095"/>
              <a:gd name="connsiteX13621" fmla="*/ 5709910 w 7714416"/>
              <a:gd name="connsiteY13621" fmla="*/ 1397725 h 5282095"/>
              <a:gd name="connsiteX13622" fmla="*/ 5717216 w 7714416"/>
              <a:gd name="connsiteY13622" fmla="*/ 1384847 h 5282095"/>
              <a:gd name="connsiteX13623" fmla="*/ 6126915 w 7714416"/>
              <a:gd name="connsiteY13623" fmla="*/ 1384340 h 5282095"/>
              <a:gd name="connsiteX13624" fmla="*/ 6141081 w 7714416"/>
              <a:gd name="connsiteY13624" fmla="*/ 1391241 h 5282095"/>
              <a:gd name="connsiteX13625" fmla="*/ 6129175 w 7714416"/>
              <a:gd name="connsiteY13625" fmla="*/ 1403575 h 5282095"/>
              <a:gd name="connsiteX13626" fmla="*/ 6126915 w 7714416"/>
              <a:gd name="connsiteY13626" fmla="*/ 1384340 h 5282095"/>
              <a:gd name="connsiteX13627" fmla="*/ 1711170 w 7714416"/>
              <a:gd name="connsiteY13627" fmla="*/ 1383677 h 5282095"/>
              <a:gd name="connsiteX13628" fmla="*/ 1722421 w 7714416"/>
              <a:gd name="connsiteY13628" fmla="*/ 1387066 h 5282095"/>
              <a:gd name="connsiteX13629" fmla="*/ 1722691 w 7714416"/>
              <a:gd name="connsiteY13629" fmla="*/ 1393808 h 5282095"/>
              <a:gd name="connsiteX13630" fmla="*/ 1718623 w 7714416"/>
              <a:gd name="connsiteY13630" fmla="*/ 1395707 h 5282095"/>
              <a:gd name="connsiteX13631" fmla="*/ 1720451 w 7714416"/>
              <a:gd name="connsiteY13631" fmla="*/ 1398843 h 5282095"/>
              <a:gd name="connsiteX13632" fmla="*/ 1715133 w 7714416"/>
              <a:gd name="connsiteY13632" fmla="*/ 1400983 h 5282095"/>
              <a:gd name="connsiteX13633" fmla="*/ 1708935 w 7714416"/>
              <a:gd name="connsiteY13633" fmla="*/ 1396447 h 5282095"/>
              <a:gd name="connsiteX13634" fmla="*/ 1704011 w 7714416"/>
              <a:gd name="connsiteY13634" fmla="*/ 1394898 h 5282095"/>
              <a:gd name="connsiteX13635" fmla="*/ 1692753 w 7714416"/>
              <a:gd name="connsiteY13635" fmla="*/ 1391536 h 5282095"/>
              <a:gd name="connsiteX13636" fmla="*/ 1692340 w 7714416"/>
              <a:gd name="connsiteY13636" fmla="*/ 1385330 h 5282095"/>
              <a:gd name="connsiteX13637" fmla="*/ 1711170 w 7714416"/>
              <a:gd name="connsiteY13637" fmla="*/ 1383677 h 5282095"/>
              <a:gd name="connsiteX13638" fmla="*/ 5817958 w 7714416"/>
              <a:gd name="connsiteY13638" fmla="*/ 1382975 h 5282095"/>
              <a:gd name="connsiteX13639" fmla="*/ 5820916 w 7714416"/>
              <a:gd name="connsiteY13639" fmla="*/ 1384113 h 5282095"/>
              <a:gd name="connsiteX13640" fmla="*/ 5819170 w 7714416"/>
              <a:gd name="connsiteY13640" fmla="*/ 1383991 h 5282095"/>
              <a:gd name="connsiteX13641" fmla="*/ 5817958 w 7714416"/>
              <a:gd name="connsiteY13641" fmla="*/ 1382975 h 5282095"/>
              <a:gd name="connsiteX13642" fmla="*/ 5246322 w 7714416"/>
              <a:gd name="connsiteY13642" fmla="*/ 1382414 h 5282095"/>
              <a:gd name="connsiteX13643" fmla="*/ 5244566 w 7714416"/>
              <a:gd name="connsiteY13643" fmla="*/ 1383437 h 5282095"/>
              <a:gd name="connsiteX13644" fmla="*/ 5243631 w 7714416"/>
              <a:gd name="connsiteY13644" fmla="*/ 1382497 h 5282095"/>
              <a:gd name="connsiteX13645" fmla="*/ 5243516 w 7714416"/>
              <a:gd name="connsiteY13645" fmla="*/ 1382927 h 5282095"/>
              <a:gd name="connsiteX13646" fmla="*/ 5243229 w 7714416"/>
              <a:gd name="connsiteY13646" fmla="*/ 1383999 h 5282095"/>
              <a:gd name="connsiteX13647" fmla="*/ 5242923 w 7714416"/>
              <a:gd name="connsiteY13647" fmla="*/ 1384032 h 5282095"/>
              <a:gd name="connsiteX13648" fmla="*/ 5242301 w 7714416"/>
              <a:gd name="connsiteY13648" fmla="*/ 1385246 h 5282095"/>
              <a:gd name="connsiteX13649" fmla="*/ 5237870 w 7714416"/>
              <a:gd name="connsiteY13649" fmla="*/ 1387394 h 5282095"/>
              <a:gd name="connsiteX13650" fmla="*/ 5236390 w 7714416"/>
              <a:gd name="connsiteY13650" fmla="*/ 1388493 h 5282095"/>
              <a:gd name="connsiteX13651" fmla="*/ 5240810 w 7714416"/>
              <a:gd name="connsiteY13651" fmla="*/ 1396346 h 5282095"/>
              <a:gd name="connsiteX13652" fmla="*/ 5252578 w 7714416"/>
              <a:gd name="connsiteY13652" fmla="*/ 1395590 h 5282095"/>
              <a:gd name="connsiteX13653" fmla="*/ 5251924 w 7714416"/>
              <a:gd name="connsiteY13653" fmla="*/ 1409100 h 5282095"/>
              <a:gd name="connsiteX13654" fmla="*/ 5261268 w 7714416"/>
              <a:gd name="connsiteY13654" fmla="*/ 1409648 h 5282095"/>
              <a:gd name="connsiteX13655" fmla="*/ 5256578 w 7714416"/>
              <a:gd name="connsiteY13655" fmla="*/ 1403907 h 5282095"/>
              <a:gd name="connsiteX13656" fmla="*/ 5256485 w 7714416"/>
              <a:gd name="connsiteY13656" fmla="*/ 1393186 h 5282095"/>
              <a:gd name="connsiteX13657" fmla="*/ 5255849 w 7714416"/>
              <a:gd name="connsiteY13657" fmla="*/ 1390026 h 5282095"/>
              <a:gd name="connsiteX13658" fmla="*/ 5253790 w 7714416"/>
              <a:gd name="connsiteY13658" fmla="*/ 1387750 h 5282095"/>
              <a:gd name="connsiteX13659" fmla="*/ 5771041 w 7714416"/>
              <a:gd name="connsiteY13659" fmla="*/ 1380984 h 5282095"/>
              <a:gd name="connsiteX13660" fmla="*/ 5794805 w 7714416"/>
              <a:gd name="connsiteY13660" fmla="*/ 1390802 h 5282095"/>
              <a:gd name="connsiteX13661" fmla="*/ 5779285 w 7714416"/>
              <a:gd name="connsiteY13661" fmla="*/ 1392278 h 5282095"/>
              <a:gd name="connsiteX13662" fmla="*/ 5766016 w 7714416"/>
              <a:gd name="connsiteY13662" fmla="*/ 1384238 h 5282095"/>
              <a:gd name="connsiteX13663" fmla="*/ 5771041 w 7714416"/>
              <a:gd name="connsiteY13663" fmla="*/ 1380984 h 5282095"/>
              <a:gd name="connsiteX13664" fmla="*/ 1326131 w 7714416"/>
              <a:gd name="connsiteY13664" fmla="*/ 1380701 h 5282095"/>
              <a:gd name="connsiteX13665" fmla="*/ 1337253 w 7714416"/>
              <a:gd name="connsiteY13665" fmla="*/ 1386786 h 5282095"/>
              <a:gd name="connsiteX13666" fmla="*/ 1335513 w 7714416"/>
              <a:gd name="connsiteY13666" fmla="*/ 1388851 h 5282095"/>
              <a:gd name="connsiteX13667" fmla="*/ 1330539 w 7714416"/>
              <a:gd name="connsiteY13667" fmla="*/ 1389702 h 5282095"/>
              <a:gd name="connsiteX13668" fmla="*/ 1325674 w 7714416"/>
              <a:gd name="connsiteY13668" fmla="*/ 1387939 h 5282095"/>
              <a:gd name="connsiteX13669" fmla="*/ 1326131 w 7714416"/>
              <a:gd name="connsiteY13669" fmla="*/ 1380701 h 5282095"/>
              <a:gd name="connsiteX13670" fmla="*/ 1237646 w 7714416"/>
              <a:gd name="connsiteY13670" fmla="*/ 1379993 h 5282095"/>
              <a:gd name="connsiteX13671" fmla="*/ 1250995 w 7714416"/>
              <a:gd name="connsiteY13671" fmla="*/ 1391044 h 5282095"/>
              <a:gd name="connsiteX13672" fmla="*/ 1237494 w 7714416"/>
              <a:gd name="connsiteY13672" fmla="*/ 1396052 h 5282095"/>
              <a:gd name="connsiteX13673" fmla="*/ 1227375 w 7714416"/>
              <a:gd name="connsiteY13673" fmla="*/ 1389545 h 5282095"/>
              <a:gd name="connsiteX13674" fmla="*/ 1237646 w 7714416"/>
              <a:gd name="connsiteY13674" fmla="*/ 1379993 h 5282095"/>
              <a:gd name="connsiteX13675" fmla="*/ 1414407 w 7714416"/>
              <a:gd name="connsiteY13675" fmla="*/ 1379974 h 5282095"/>
              <a:gd name="connsiteX13676" fmla="*/ 1408849 w 7714416"/>
              <a:gd name="connsiteY13676" fmla="*/ 1389641 h 5282095"/>
              <a:gd name="connsiteX13677" fmla="*/ 1414407 w 7714416"/>
              <a:gd name="connsiteY13677" fmla="*/ 1379974 h 5282095"/>
              <a:gd name="connsiteX13678" fmla="*/ 1813856 w 7714416"/>
              <a:gd name="connsiteY13678" fmla="*/ 1377871 h 5282095"/>
              <a:gd name="connsiteX13679" fmla="*/ 1824583 w 7714416"/>
              <a:gd name="connsiteY13679" fmla="*/ 1378789 h 5282095"/>
              <a:gd name="connsiteX13680" fmla="*/ 1828131 w 7714416"/>
              <a:gd name="connsiteY13680" fmla="*/ 1382154 h 5282095"/>
              <a:gd name="connsiteX13681" fmla="*/ 1823490 w 7714416"/>
              <a:gd name="connsiteY13681" fmla="*/ 1382866 h 5282095"/>
              <a:gd name="connsiteX13682" fmla="*/ 1820515 w 7714416"/>
              <a:gd name="connsiteY13682" fmla="*/ 1380690 h 5282095"/>
              <a:gd name="connsiteX13683" fmla="*/ 1815304 w 7714416"/>
              <a:gd name="connsiteY13683" fmla="*/ 1380213 h 5282095"/>
              <a:gd name="connsiteX13684" fmla="*/ 1813856 w 7714416"/>
              <a:gd name="connsiteY13684" fmla="*/ 1377871 h 5282095"/>
              <a:gd name="connsiteX13685" fmla="*/ 1761602 w 7714416"/>
              <a:gd name="connsiteY13685" fmla="*/ 1376979 h 5282095"/>
              <a:gd name="connsiteX13686" fmla="*/ 1754752 w 7714416"/>
              <a:gd name="connsiteY13686" fmla="*/ 1391474 h 5282095"/>
              <a:gd name="connsiteX13687" fmla="*/ 1749111 w 7714416"/>
              <a:gd name="connsiteY13687" fmla="*/ 1383752 h 5282095"/>
              <a:gd name="connsiteX13688" fmla="*/ 1761602 w 7714416"/>
              <a:gd name="connsiteY13688" fmla="*/ 1376979 h 5282095"/>
              <a:gd name="connsiteX13689" fmla="*/ 5886008 w 7714416"/>
              <a:gd name="connsiteY13689" fmla="*/ 1375832 h 5282095"/>
              <a:gd name="connsiteX13690" fmla="*/ 5935284 w 7714416"/>
              <a:gd name="connsiteY13690" fmla="*/ 1411078 h 5282095"/>
              <a:gd name="connsiteX13691" fmla="*/ 5923073 w 7714416"/>
              <a:gd name="connsiteY13691" fmla="*/ 1414592 h 5282095"/>
              <a:gd name="connsiteX13692" fmla="*/ 5924097 w 7714416"/>
              <a:gd name="connsiteY13692" fmla="*/ 1420731 h 5282095"/>
              <a:gd name="connsiteX13693" fmla="*/ 5916069 w 7714416"/>
              <a:gd name="connsiteY13693" fmla="*/ 1421914 h 5282095"/>
              <a:gd name="connsiteX13694" fmla="*/ 5907362 w 7714416"/>
              <a:gd name="connsiteY13694" fmla="*/ 1415672 h 5282095"/>
              <a:gd name="connsiteX13695" fmla="*/ 5906324 w 7714416"/>
              <a:gd name="connsiteY13695" fmla="*/ 1414013 h 5282095"/>
              <a:gd name="connsiteX13696" fmla="*/ 5903995 w 7714416"/>
              <a:gd name="connsiteY13696" fmla="*/ 1413849 h 5282095"/>
              <a:gd name="connsiteX13697" fmla="*/ 5863582 w 7714416"/>
              <a:gd name="connsiteY13697" fmla="*/ 1380941 h 5282095"/>
              <a:gd name="connsiteX13698" fmla="*/ 5865828 w 7714416"/>
              <a:gd name="connsiteY13698" fmla="*/ 1378092 h 5282095"/>
              <a:gd name="connsiteX13699" fmla="*/ 5886008 w 7714416"/>
              <a:gd name="connsiteY13699" fmla="*/ 1375832 h 5282095"/>
              <a:gd name="connsiteX13700" fmla="*/ 5938135 w 7714416"/>
              <a:gd name="connsiteY13700" fmla="*/ 1375674 h 5282095"/>
              <a:gd name="connsiteX13701" fmla="*/ 5952178 w 7714416"/>
              <a:gd name="connsiteY13701" fmla="*/ 1384555 h 5282095"/>
              <a:gd name="connsiteX13702" fmla="*/ 5952059 w 7714416"/>
              <a:gd name="connsiteY13702" fmla="*/ 1388317 h 5282095"/>
              <a:gd name="connsiteX13703" fmla="*/ 5932758 w 7714416"/>
              <a:gd name="connsiteY13703" fmla="*/ 1390620 h 5282095"/>
              <a:gd name="connsiteX13704" fmla="*/ 5918492 w 7714416"/>
              <a:gd name="connsiteY13704" fmla="*/ 1379668 h 5282095"/>
              <a:gd name="connsiteX13705" fmla="*/ 5920968 w 7714416"/>
              <a:gd name="connsiteY13705" fmla="*/ 1375962 h 5282095"/>
              <a:gd name="connsiteX13706" fmla="*/ 5938135 w 7714416"/>
              <a:gd name="connsiteY13706" fmla="*/ 1375674 h 5282095"/>
              <a:gd name="connsiteX13707" fmla="*/ 1316719 w 7714416"/>
              <a:gd name="connsiteY13707" fmla="*/ 1372660 h 5282095"/>
              <a:gd name="connsiteX13708" fmla="*/ 1311835 w 7714416"/>
              <a:gd name="connsiteY13708" fmla="*/ 1378711 h 5282095"/>
              <a:gd name="connsiteX13709" fmla="*/ 1316719 w 7714416"/>
              <a:gd name="connsiteY13709" fmla="*/ 1372660 h 5282095"/>
              <a:gd name="connsiteX13710" fmla="*/ 5379525 w 7714416"/>
              <a:gd name="connsiteY13710" fmla="*/ 1371185 h 5282095"/>
              <a:gd name="connsiteX13711" fmla="*/ 5379213 w 7714416"/>
              <a:gd name="connsiteY13711" fmla="*/ 1377885 h 5282095"/>
              <a:gd name="connsiteX13712" fmla="*/ 5372353 w 7714416"/>
              <a:gd name="connsiteY13712" fmla="*/ 1375818 h 5282095"/>
              <a:gd name="connsiteX13713" fmla="*/ 5379525 w 7714416"/>
              <a:gd name="connsiteY13713" fmla="*/ 1371185 h 5282095"/>
              <a:gd name="connsiteX13714" fmla="*/ 1826617 w 7714416"/>
              <a:gd name="connsiteY13714" fmla="*/ 1368984 h 5282095"/>
              <a:gd name="connsiteX13715" fmla="*/ 1831063 w 7714416"/>
              <a:gd name="connsiteY13715" fmla="*/ 1371210 h 5282095"/>
              <a:gd name="connsiteX13716" fmla="*/ 1834717 w 7714416"/>
              <a:gd name="connsiteY13716" fmla="*/ 1371959 h 5282095"/>
              <a:gd name="connsiteX13717" fmla="*/ 1836956 w 7714416"/>
              <a:gd name="connsiteY13717" fmla="*/ 1375779 h 5282095"/>
              <a:gd name="connsiteX13718" fmla="*/ 1833301 w 7714416"/>
              <a:gd name="connsiteY13718" fmla="*/ 1375031 h 5282095"/>
              <a:gd name="connsiteX13719" fmla="*/ 1823103 w 7714416"/>
              <a:gd name="connsiteY13719" fmla="*/ 1371033 h 5282095"/>
              <a:gd name="connsiteX13720" fmla="*/ 1826617 w 7714416"/>
              <a:gd name="connsiteY13720" fmla="*/ 1368984 h 5282095"/>
              <a:gd name="connsiteX13721" fmla="*/ 1160197 w 7714416"/>
              <a:gd name="connsiteY13721" fmla="*/ 1367980 h 5282095"/>
              <a:gd name="connsiteX13722" fmla="*/ 1181180 w 7714416"/>
              <a:gd name="connsiteY13722" fmla="*/ 1390393 h 5282095"/>
              <a:gd name="connsiteX13723" fmla="*/ 1180191 w 7714416"/>
              <a:gd name="connsiteY13723" fmla="*/ 1395188 h 5282095"/>
              <a:gd name="connsiteX13724" fmla="*/ 1185423 w 7714416"/>
              <a:gd name="connsiteY13724" fmla="*/ 1393369 h 5282095"/>
              <a:gd name="connsiteX13725" fmla="*/ 1251376 w 7714416"/>
              <a:gd name="connsiteY13725" fmla="*/ 1427257 h 5282095"/>
              <a:gd name="connsiteX13726" fmla="*/ 1252210 w 7714416"/>
              <a:gd name="connsiteY13726" fmla="*/ 1433000 h 5282095"/>
              <a:gd name="connsiteX13727" fmla="*/ 1260108 w 7714416"/>
              <a:gd name="connsiteY13727" fmla="*/ 1427872 h 5282095"/>
              <a:gd name="connsiteX13728" fmla="*/ 1269825 w 7714416"/>
              <a:gd name="connsiteY13728" fmla="*/ 1427025 h 5282095"/>
              <a:gd name="connsiteX13729" fmla="*/ 1280262 w 7714416"/>
              <a:gd name="connsiteY13729" fmla="*/ 1432351 h 5282095"/>
              <a:gd name="connsiteX13730" fmla="*/ 1277429 w 7714416"/>
              <a:gd name="connsiteY13730" fmla="*/ 1447347 h 5282095"/>
              <a:gd name="connsiteX13731" fmla="*/ 1260468 w 7714416"/>
              <a:gd name="connsiteY13731" fmla="*/ 1448669 h 5282095"/>
              <a:gd name="connsiteX13732" fmla="*/ 1262127 w 7714416"/>
              <a:gd name="connsiteY13732" fmla="*/ 1449113 h 5282095"/>
              <a:gd name="connsiteX13733" fmla="*/ 1264204 w 7714416"/>
              <a:gd name="connsiteY13733" fmla="*/ 1452429 h 5282095"/>
              <a:gd name="connsiteX13734" fmla="*/ 1267277 w 7714416"/>
              <a:gd name="connsiteY13734" fmla="*/ 1453138 h 5282095"/>
              <a:gd name="connsiteX13735" fmla="*/ 1270321 w 7714416"/>
              <a:gd name="connsiteY13735" fmla="*/ 1453954 h 5282095"/>
              <a:gd name="connsiteX13736" fmla="*/ 1270310 w 7714416"/>
              <a:gd name="connsiteY13736" fmla="*/ 1455100 h 5282095"/>
              <a:gd name="connsiteX13737" fmla="*/ 1265987 w 7714416"/>
              <a:gd name="connsiteY13737" fmla="*/ 1454632 h 5282095"/>
              <a:gd name="connsiteX13738" fmla="*/ 1269627 w 7714416"/>
              <a:gd name="connsiteY13738" fmla="*/ 1459863 h 5282095"/>
              <a:gd name="connsiteX13739" fmla="*/ 1273616 w 7714416"/>
              <a:gd name="connsiteY13739" fmla="*/ 1460472 h 5282095"/>
              <a:gd name="connsiteX13740" fmla="*/ 1270579 w 7714416"/>
              <a:gd name="connsiteY13740" fmla="*/ 1461842 h 5282095"/>
              <a:gd name="connsiteX13741" fmla="*/ 1272265 w 7714416"/>
              <a:gd name="connsiteY13741" fmla="*/ 1465515 h 5282095"/>
              <a:gd name="connsiteX13742" fmla="*/ 1271679 w 7714416"/>
              <a:gd name="connsiteY13742" fmla="*/ 1468807 h 5282095"/>
              <a:gd name="connsiteX13743" fmla="*/ 1267291 w 7714416"/>
              <a:gd name="connsiteY13743" fmla="*/ 1466367 h 5282095"/>
              <a:gd name="connsiteX13744" fmla="*/ 1266224 w 7714416"/>
              <a:gd name="connsiteY13744" fmla="*/ 1464817 h 5282095"/>
              <a:gd name="connsiteX13745" fmla="*/ 1264563 w 7714416"/>
              <a:gd name="connsiteY13745" fmla="*/ 1464372 h 5282095"/>
              <a:gd name="connsiteX13746" fmla="*/ 1264650 w 7714416"/>
              <a:gd name="connsiteY13746" fmla="*/ 1464049 h 5282095"/>
              <a:gd name="connsiteX13747" fmla="*/ 1257491 w 7714416"/>
              <a:gd name="connsiteY13747" fmla="*/ 1464201 h 5282095"/>
              <a:gd name="connsiteX13748" fmla="*/ 1245083 w 7714416"/>
              <a:gd name="connsiteY13748" fmla="*/ 1465132 h 5282095"/>
              <a:gd name="connsiteX13749" fmla="*/ 1245488 w 7714416"/>
              <a:gd name="connsiteY13749" fmla="*/ 1460295 h 5282095"/>
              <a:gd name="connsiteX13750" fmla="*/ 1248562 w 7714416"/>
              <a:gd name="connsiteY13750" fmla="*/ 1461004 h 5282095"/>
              <a:gd name="connsiteX13751" fmla="*/ 1259902 w 7714416"/>
              <a:gd name="connsiteY13751" fmla="*/ 1458522 h 5282095"/>
              <a:gd name="connsiteX13752" fmla="*/ 1260733 w 7714416"/>
              <a:gd name="connsiteY13752" fmla="*/ 1458745 h 5282095"/>
              <a:gd name="connsiteX13753" fmla="*/ 1258005 w 7714416"/>
              <a:gd name="connsiteY13753" fmla="*/ 1456748 h 5282095"/>
              <a:gd name="connsiteX13754" fmla="*/ 1254506 w 7714416"/>
              <a:gd name="connsiteY13754" fmla="*/ 1454316 h 5282095"/>
              <a:gd name="connsiteX13755" fmla="*/ 1254258 w 7714416"/>
              <a:gd name="connsiteY13755" fmla="*/ 1454134 h 5282095"/>
              <a:gd name="connsiteX13756" fmla="*/ 1253094 w 7714416"/>
              <a:gd name="connsiteY13756" fmla="*/ 1454053 h 5282095"/>
              <a:gd name="connsiteX13757" fmla="*/ 1247063 w 7714416"/>
              <a:gd name="connsiteY13757" fmla="*/ 1452207 h 5282095"/>
              <a:gd name="connsiteX13758" fmla="*/ 1248723 w 7714416"/>
              <a:gd name="connsiteY13758" fmla="*/ 1452652 h 5282095"/>
              <a:gd name="connsiteX13759" fmla="*/ 1247074 w 7714416"/>
              <a:gd name="connsiteY13759" fmla="*/ 1451059 h 5282095"/>
              <a:gd name="connsiteX13760" fmla="*/ 1252648 w 7714416"/>
              <a:gd name="connsiteY13760" fmla="*/ 1451288 h 5282095"/>
              <a:gd name="connsiteX13761" fmla="*/ 1252267 w 7714416"/>
              <a:gd name="connsiteY13761" fmla="*/ 1450496 h 5282095"/>
              <a:gd name="connsiteX13762" fmla="*/ 1250534 w 7714416"/>
              <a:gd name="connsiteY13762" fmla="*/ 1445892 h 5282095"/>
              <a:gd name="connsiteX13763" fmla="*/ 1254735 w 7714416"/>
              <a:gd name="connsiteY13763" fmla="*/ 1444602 h 5282095"/>
              <a:gd name="connsiteX13764" fmla="*/ 1252573 w 7714416"/>
              <a:gd name="connsiteY13764" fmla="*/ 1441608 h 5282095"/>
              <a:gd name="connsiteX13765" fmla="*/ 1252336 w 7714416"/>
              <a:gd name="connsiteY13765" fmla="*/ 1440279 h 5282095"/>
              <a:gd name="connsiteX13766" fmla="*/ 1246721 w 7714416"/>
              <a:gd name="connsiteY13766" fmla="*/ 1450161 h 5282095"/>
              <a:gd name="connsiteX13767" fmla="*/ 1230591 w 7714416"/>
              <a:gd name="connsiteY13767" fmla="*/ 1460558 h 5282095"/>
              <a:gd name="connsiteX13768" fmla="*/ 1216953 w 7714416"/>
              <a:gd name="connsiteY13768" fmla="*/ 1459434 h 5282095"/>
              <a:gd name="connsiteX13769" fmla="*/ 1196377 w 7714416"/>
              <a:gd name="connsiteY13769" fmla="*/ 1449895 h 5282095"/>
              <a:gd name="connsiteX13770" fmla="*/ 1179843 w 7714416"/>
              <a:gd name="connsiteY13770" fmla="*/ 1435229 h 5282095"/>
              <a:gd name="connsiteX13771" fmla="*/ 1177701 w 7714416"/>
              <a:gd name="connsiteY13771" fmla="*/ 1438796 h 5282095"/>
              <a:gd name="connsiteX13772" fmla="*/ 1172454 w 7714416"/>
              <a:gd name="connsiteY13772" fmla="*/ 1445095 h 5282095"/>
              <a:gd name="connsiteX13773" fmla="*/ 1169245 w 7714416"/>
              <a:gd name="connsiteY13773" fmla="*/ 1438256 h 5282095"/>
              <a:gd name="connsiteX13774" fmla="*/ 1171634 w 7714416"/>
              <a:gd name="connsiteY13774" fmla="*/ 1426015 h 5282095"/>
              <a:gd name="connsiteX13775" fmla="*/ 1172677 w 7714416"/>
              <a:gd name="connsiteY13775" fmla="*/ 1424340 h 5282095"/>
              <a:gd name="connsiteX13776" fmla="*/ 1168742 w 7714416"/>
              <a:gd name="connsiteY13776" fmla="*/ 1417995 h 5282095"/>
              <a:gd name="connsiteX13777" fmla="*/ 1167297 w 7714416"/>
              <a:gd name="connsiteY13777" fmla="*/ 1403463 h 5282095"/>
              <a:gd name="connsiteX13778" fmla="*/ 1169124 w 7714416"/>
              <a:gd name="connsiteY13778" fmla="*/ 1401077 h 5282095"/>
              <a:gd name="connsiteX13779" fmla="*/ 1164991 w 7714416"/>
              <a:gd name="connsiteY13779" fmla="*/ 1401004 h 5282095"/>
              <a:gd name="connsiteX13780" fmla="*/ 1151605 w 7714416"/>
              <a:gd name="connsiteY13780" fmla="*/ 1396728 h 5282095"/>
              <a:gd name="connsiteX13781" fmla="*/ 1151638 w 7714416"/>
              <a:gd name="connsiteY13781" fmla="*/ 1384432 h 5282095"/>
              <a:gd name="connsiteX13782" fmla="*/ 1149650 w 7714416"/>
              <a:gd name="connsiteY13782" fmla="*/ 1386314 h 5282095"/>
              <a:gd name="connsiteX13783" fmla="*/ 1142618 w 7714416"/>
              <a:gd name="connsiteY13783" fmla="*/ 1384889 h 5282095"/>
              <a:gd name="connsiteX13784" fmla="*/ 1132456 w 7714416"/>
              <a:gd name="connsiteY13784" fmla="*/ 1374118 h 5282095"/>
              <a:gd name="connsiteX13785" fmla="*/ 1151689 w 7714416"/>
              <a:gd name="connsiteY13785" fmla="*/ 1373175 h 5282095"/>
              <a:gd name="connsiteX13786" fmla="*/ 1154260 w 7714416"/>
              <a:gd name="connsiteY13786" fmla="*/ 1376854 h 5282095"/>
              <a:gd name="connsiteX13787" fmla="*/ 1215707 w 7714416"/>
              <a:gd name="connsiteY13787" fmla="*/ 1367789 h 5282095"/>
              <a:gd name="connsiteX13788" fmla="*/ 1230528 w 7714416"/>
              <a:gd name="connsiteY13788" fmla="*/ 1370035 h 5282095"/>
              <a:gd name="connsiteX13789" fmla="*/ 1238666 w 7714416"/>
              <a:gd name="connsiteY13789" fmla="*/ 1371755 h 5282095"/>
              <a:gd name="connsiteX13790" fmla="*/ 1241689 w 7714416"/>
              <a:gd name="connsiteY13790" fmla="*/ 1374865 h 5282095"/>
              <a:gd name="connsiteX13791" fmla="*/ 1241677 w 7714416"/>
              <a:gd name="connsiteY13791" fmla="*/ 1376013 h 5282095"/>
              <a:gd name="connsiteX13792" fmla="*/ 1238346 w 7714416"/>
              <a:gd name="connsiteY13792" fmla="*/ 1376270 h 5282095"/>
              <a:gd name="connsiteX13793" fmla="*/ 1228662 w 7714416"/>
              <a:gd name="connsiteY13793" fmla="*/ 1373675 h 5282095"/>
              <a:gd name="connsiteX13794" fmla="*/ 1222107 w 7714416"/>
              <a:gd name="connsiteY13794" fmla="*/ 1371573 h 5282095"/>
              <a:gd name="connsiteX13795" fmla="*/ 1218729 w 7714416"/>
              <a:gd name="connsiteY13795" fmla="*/ 1370898 h 5282095"/>
              <a:gd name="connsiteX13796" fmla="*/ 1215707 w 7714416"/>
              <a:gd name="connsiteY13796" fmla="*/ 1367789 h 5282095"/>
              <a:gd name="connsiteX13797" fmla="*/ 1640377 w 7714416"/>
              <a:gd name="connsiteY13797" fmla="*/ 1362322 h 5282095"/>
              <a:gd name="connsiteX13798" fmla="*/ 1659283 w 7714416"/>
              <a:gd name="connsiteY13798" fmla="*/ 1372563 h 5282095"/>
              <a:gd name="connsiteX13799" fmla="*/ 1633905 w 7714416"/>
              <a:gd name="connsiteY13799" fmla="*/ 1380944 h 5282095"/>
              <a:gd name="connsiteX13800" fmla="*/ 1626861 w 7714416"/>
              <a:gd name="connsiteY13800" fmla="*/ 1371811 h 5282095"/>
              <a:gd name="connsiteX13801" fmla="*/ 1640377 w 7714416"/>
              <a:gd name="connsiteY13801" fmla="*/ 1362322 h 5282095"/>
              <a:gd name="connsiteX13802" fmla="*/ 6106630 w 7714416"/>
              <a:gd name="connsiteY13802" fmla="*/ 1361539 h 5282095"/>
              <a:gd name="connsiteX13803" fmla="*/ 6130272 w 7714416"/>
              <a:gd name="connsiteY13803" fmla="*/ 1369598 h 5282095"/>
              <a:gd name="connsiteX13804" fmla="*/ 6112921 w 7714416"/>
              <a:gd name="connsiteY13804" fmla="*/ 1376795 h 5282095"/>
              <a:gd name="connsiteX13805" fmla="*/ 6106630 w 7714416"/>
              <a:gd name="connsiteY13805" fmla="*/ 1361539 h 5282095"/>
              <a:gd name="connsiteX13806" fmla="*/ 787369 w 7714416"/>
              <a:gd name="connsiteY13806" fmla="*/ 1359278 h 5282095"/>
              <a:gd name="connsiteX13807" fmla="*/ 808678 w 7714416"/>
              <a:gd name="connsiteY13807" fmla="*/ 1361652 h 5282095"/>
              <a:gd name="connsiteX13808" fmla="*/ 812149 w 7714416"/>
              <a:gd name="connsiteY13808" fmla="*/ 1381902 h 5282095"/>
              <a:gd name="connsiteX13809" fmla="*/ 797268 w 7714416"/>
              <a:gd name="connsiteY13809" fmla="*/ 1383205 h 5282095"/>
              <a:gd name="connsiteX13810" fmla="*/ 780479 w 7714416"/>
              <a:gd name="connsiteY13810" fmla="*/ 1375027 h 5282095"/>
              <a:gd name="connsiteX13811" fmla="*/ 787369 w 7714416"/>
              <a:gd name="connsiteY13811" fmla="*/ 1359278 h 5282095"/>
              <a:gd name="connsiteX13812" fmla="*/ 1795447 w 7714416"/>
              <a:gd name="connsiteY13812" fmla="*/ 1359137 h 5282095"/>
              <a:gd name="connsiteX13813" fmla="*/ 1803713 w 7714416"/>
              <a:gd name="connsiteY13813" fmla="*/ 1359282 h 5282095"/>
              <a:gd name="connsiteX13814" fmla="*/ 1814294 w 7714416"/>
              <a:gd name="connsiteY13814" fmla="*/ 1369593 h 5282095"/>
              <a:gd name="connsiteX13815" fmla="*/ 1808405 w 7714416"/>
              <a:gd name="connsiteY13815" fmla="*/ 1370544 h 5282095"/>
              <a:gd name="connsiteX13816" fmla="*/ 1796112 w 7714416"/>
              <a:gd name="connsiteY13816" fmla="*/ 1362191 h 5282095"/>
              <a:gd name="connsiteX13817" fmla="*/ 1795447 w 7714416"/>
              <a:gd name="connsiteY13817" fmla="*/ 1359137 h 5282095"/>
              <a:gd name="connsiteX13818" fmla="*/ 1072208 w 7714416"/>
              <a:gd name="connsiteY13818" fmla="*/ 1358779 h 5282095"/>
              <a:gd name="connsiteX13819" fmla="*/ 1056548 w 7714416"/>
              <a:gd name="connsiteY13819" fmla="*/ 1375168 h 5282095"/>
              <a:gd name="connsiteX13820" fmla="*/ 1045757 w 7714416"/>
              <a:gd name="connsiteY13820" fmla="*/ 1372276 h 5282095"/>
              <a:gd name="connsiteX13821" fmla="*/ 1072208 w 7714416"/>
              <a:gd name="connsiteY13821" fmla="*/ 1358779 h 5282095"/>
              <a:gd name="connsiteX13822" fmla="*/ 5416010 w 7714416"/>
              <a:gd name="connsiteY13822" fmla="*/ 1358434 h 5282095"/>
              <a:gd name="connsiteX13823" fmla="*/ 5432642 w 7714416"/>
              <a:gd name="connsiteY13823" fmla="*/ 1360002 h 5282095"/>
              <a:gd name="connsiteX13824" fmla="*/ 5435273 w 7714416"/>
              <a:gd name="connsiteY13824" fmla="*/ 1363466 h 5282095"/>
              <a:gd name="connsiteX13825" fmla="*/ 5419158 w 7714416"/>
              <a:gd name="connsiteY13825" fmla="*/ 1374904 h 5282095"/>
              <a:gd name="connsiteX13826" fmla="*/ 5417107 w 7714416"/>
              <a:gd name="connsiteY13826" fmla="*/ 1374814 h 5282095"/>
              <a:gd name="connsiteX13827" fmla="*/ 5418214 w 7714416"/>
              <a:gd name="connsiteY13827" fmla="*/ 1375111 h 5282095"/>
              <a:gd name="connsiteX13828" fmla="*/ 5425243 w 7714416"/>
              <a:gd name="connsiteY13828" fmla="*/ 1379869 h 5282095"/>
              <a:gd name="connsiteX13829" fmla="*/ 5405654 w 7714416"/>
              <a:gd name="connsiteY13829" fmla="*/ 1383246 h 5282095"/>
              <a:gd name="connsiteX13830" fmla="*/ 5397651 w 7714416"/>
              <a:gd name="connsiteY13830" fmla="*/ 1378801 h 5282095"/>
              <a:gd name="connsiteX13831" fmla="*/ 5401055 w 7714416"/>
              <a:gd name="connsiteY13831" fmla="*/ 1373848 h 5282095"/>
              <a:gd name="connsiteX13832" fmla="*/ 5407497 w 7714416"/>
              <a:gd name="connsiteY13832" fmla="*/ 1373044 h 5282095"/>
              <a:gd name="connsiteX13833" fmla="*/ 5403854 w 7714416"/>
              <a:gd name="connsiteY13833" fmla="*/ 1371148 h 5282095"/>
              <a:gd name="connsiteX13834" fmla="*/ 5403010 w 7714416"/>
              <a:gd name="connsiteY13834" fmla="*/ 1366551 h 5282095"/>
              <a:gd name="connsiteX13835" fmla="*/ 5416010 w 7714416"/>
              <a:gd name="connsiteY13835" fmla="*/ 1358434 h 5282095"/>
              <a:gd name="connsiteX13836" fmla="*/ 5556768 w 7714416"/>
              <a:gd name="connsiteY13836" fmla="*/ 1358301 h 5282095"/>
              <a:gd name="connsiteX13837" fmla="*/ 5559610 w 7714416"/>
              <a:gd name="connsiteY13837" fmla="*/ 1359868 h 5282095"/>
              <a:gd name="connsiteX13838" fmla="*/ 5565122 w 7714416"/>
              <a:gd name="connsiteY13838" fmla="*/ 1363644 h 5282095"/>
              <a:gd name="connsiteX13839" fmla="*/ 5554324 w 7714416"/>
              <a:gd name="connsiteY13839" fmla="*/ 1358565 h 5282095"/>
              <a:gd name="connsiteX13840" fmla="*/ 5556768 w 7714416"/>
              <a:gd name="connsiteY13840" fmla="*/ 1358301 h 5282095"/>
              <a:gd name="connsiteX13841" fmla="*/ 1570149 w 7714416"/>
              <a:gd name="connsiteY13841" fmla="*/ 1357535 h 5282095"/>
              <a:gd name="connsiteX13842" fmla="*/ 1593787 w 7714416"/>
              <a:gd name="connsiteY13842" fmla="*/ 1366858 h 5282095"/>
              <a:gd name="connsiteX13843" fmla="*/ 1558134 w 7714416"/>
              <a:gd name="connsiteY13843" fmla="*/ 1370416 h 5282095"/>
              <a:gd name="connsiteX13844" fmla="*/ 1549981 w 7714416"/>
              <a:gd name="connsiteY13844" fmla="*/ 1364321 h 5282095"/>
              <a:gd name="connsiteX13845" fmla="*/ 1570149 w 7714416"/>
              <a:gd name="connsiteY13845" fmla="*/ 1357535 h 5282095"/>
              <a:gd name="connsiteX13846" fmla="*/ 5769988 w 7714416"/>
              <a:gd name="connsiteY13846" fmla="*/ 1357242 h 5282095"/>
              <a:gd name="connsiteX13847" fmla="*/ 5776187 w 7714416"/>
              <a:gd name="connsiteY13847" fmla="*/ 1361778 h 5282095"/>
              <a:gd name="connsiteX13848" fmla="*/ 5774678 w 7714416"/>
              <a:gd name="connsiteY13848" fmla="*/ 1371838 h 5282095"/>
              <a:gd name="connsiteX13849" fmla="*/ 5756508 w 7714416"/>
              <a:gd name="connsiteY13849" fmla="*/ 1368810 h 5282095"/>
              <a:gd name="connsiteX13850" fmla="*/ 5769988 w 7714416"/>
              <a:gd name="connsiteY13850" fmla="*/ 1357242 h 5282095"/>
              <a:gd name="connsiteX13851" fmla="*/ 5733798 w 7714416"/>
              <a:gd name="connsiteY13851" fmla="*/ 1356859 h 5282095"/>
              <a:gd name="connsiteX13852" fmla="*/ 5753163 w 7714416"/>
              <a:gd name="connsiteY13852" fmla="*/ 1364693 h 5282095"/>
              <a:gd name="connsiteX13853" fmla="*/ 5719415 w 7714416"/>
              <a:gd name="connsiteY13853" fmla="*/ 1372212 h 5282095"/>
              <a:gd name="connsiteX13854" fmla="*/ 5712846 w 7714416"/>
              <a:gd name="connsiteY13854" fmla="*/ 1365736 h 5282095"/>
              <a:gd name="connsiteX13855" fmla="*/ 5713540 w 7714416"/>
              <a:gd name="connsiteY13855" fmla="*/ 1359827 h 5282095"/>
              <a:gd name="connsiteX13856" fmla="*/ 5733798 w 7714416"/>
              <a:gd name="connsiteY13856" fmla="*/ 1356859 h 5282095"/>
              <a:gd name="connsiteX13857" fmla="*/ 5829092 w 7714416"/>
              <a:gd name="connsiteY13857" fmla="*/ 1352493 h 5282095"/>
              <a:gd name="connsiteX13858" fmla="*/ 5839427 w 7714416"/>
              <a:gd name="connsiteY13858" fmla="*/ 1353768 h 5282095"/>
              <a:gd name="connsiteX13859" fmla="*/ 5837655 w 7714416"/>
              <a:gd name="connsiteY13859" fmla="*/ 1359274 h 5282095"/>
              <a:gd name="connsiteX13860" fmla="*/ 5824086 w 7714416"/>
              <a:gd name="connsiteY13860" fmla="*/ 1356787 h 5282095"/>
              <a:gd name="connsiteX13861" fmla="*/ 5819504 w 7714416"/>
              <a:gd name="connsiteY13861" fmla="*/ 1357284 h 5282095"/>
              <a:gd name="connsiteX13862" fmla="*/ 5815354 w 7714416"/>
              <a:gd name="connsiteY13862" fmla="*/ 1356172 h 5282095"/>
              <a:gd name="connsiteX13863" fmla="*/ 5826569 w 7714416"/>
              <a:gd name="connsiteY13863" fmla="*/ 1355268 h 5282095"/>
              <a:gd name="connsiteX13864" fmla="*/ 5829092 w 7714416"/>
              <a:gd name="connsiteY13864" fmla="*/ 1352493 h 5282095"/>
              <a:gd name="connsiteX13865" fmla="*/ 6059396 w 7714416"/>
              <a:gd name="connsiteY13865" fmla="*/ 1351872 h 5282095"/>
              <a:gd name="connsiteX13866" fmla="*/ 6071104 w 7714416"/>
              <a:gd name="connsiteY13866" fmla="*/ 1354665 h 5282095"/>
              <a:gd name="connsiteX13867" fmla="*/ 6096481 w 7714416"/>
              <a:gd name="connsiteY13867" fmla="*/ 1363995 h 5282095"/>
              <a:gd name="connsiteX13868" fmla="*/ 6098863 w 7714416"/>
              <a:gd name="connsiteY13868" fmla="*/ 1367278 h 5282095"/>
              <a:gd name="connsiteX13869" fmla="*/ 6100495 w 7714416"/>
              <a:gd name="connsiteY13869" fmla="*/ 1367830 h 5282095"/>
              <a:gd name="connsiteX13870" fmla="*/ 6101495 w 7714416"/>
              <a:gd name="connsiteY13870" fmla="*/ 1370742 h 5282095"/>
              <a:gd name="connsiteX13871" fmla="*/ 6096780 w 7714416"/>
              <a:gd name="connsiteY13871" fmla="*/ 1370629 h 5282095"/>
              <a:gd name="connsiteX13872" fmla="*/ 6091447 w 7714416"/>
              <a:gd name="connsiteY13872" fmla="*/ 1368396 h 5282095"/>
              <a:gd name="connsiteX13873" fmla="*/ 6083624 w 7714416"/>
              <a:gd name="connsiteY13873" fmla="*/ 1365494 h 5282095"/>
              <a:gd name="connsiteX13874" fmla="*/ 6059396 w 7714416"/>
              <a:gd name="connsiteY13874" fmla="*/ 1351872 h 5282095"/>
              <a:gd name="connsiteX13875" fmla="*/ 1666227 w 7714416"/>
              <a:gd name="connsiteY13875" fmla="*/ 1351078 h 5282095"/>
              <a:gd name="connsiteX13876" fmla="*/ 1675181 w 7714416"/>
              <a:gd name="connsiteY13876" fmla="*/ 1357502 h 5282095"/>
              <a:gd name="connsiteX13877" fmla="*/ 1667627 w 7714416"/>
              <a:gd name="connsiteY13877" fmla="*/ 1361343 h 5282095"/>
              <a:gd name="connsiteX13878" fmla="*/ 1666227 w 7714416"/>
              <a:gd name="connsiteY13878" fmla="*/ 1351078 h 5282095"/>
              <a:gd name="connsiteX13879" fmla="*/ 1369799 w 7714416"/>
              <a:gd name="connsiteY13879" fmla="*/ 1350542 h 5282095"/>
              <a:gd name="connsiteX13880" fmla="*/ 1370529 w 7714416"/>
              <a:gd name="connsiteY13880" fmla="*/ 1355567 h 5282095"/>
              <a:gd name="connsiteX13881" fmla="*/ 1367591 w 7714416"/>
              <a:gd name="connsiteY13881" fmla="*/ 1355470 h 5282095"/>
              <a:gd name="connsiteX13882" fmla="*/ 1364263 w 7714416"/>
              <a:gd name="connsiteY13882" fmla="*/ 1352393 h 5282095"/>
              <a:gd name="connsiteX13883" fmla="*/ 1684600 w 7714416"/>
              <a:gd name="connsiteY13883" fmla="*/ 1350021 h 5282095"/>
              <a:gd name="connsiteX13884" fmla="*/ 1694234 w 7714416"/>
              <a:gd name="connsiteY13884" fmla="*/ 1355017 h 5282095"/>
              <a:gd name="connsiteX13885" fmla="*/ 1690138 w 7714416"/>
              <a:gd name="connsiteY13885" fmla="*/ 1357026 h 5282095"/>
              <a:gd name="connsiteX13886" fmla="*/ 1684600 w 7714416"/>
              <a:gd name="connsiteY13886" fmla="*/ 1350021 h 5282095"/>
              <a:gd name="connsiteX13887" fmla="*/ 5473408 w 7714416"/>
              <a:gd name="connsiteY13887" fmla="*/ 1349534 h 5282095"/>
              <a:gd name="connsiteX13888" fmla="*/ 5489230 w 7714416"/>
              <a:gd name="connsiteY13888" fmla="*/ 1351359 h 5282095"/>
              <a:gd name="connsiteX13889" fmla="*/ 5471125 w 7714416"/>
              <a:gd name="connsiteY13889" fmla="*/ 1359158 h 5282095"/>
              <a:gd name="connsiteX13890" fmla="*/ 5473408 w 7714416"/>
              <a:gd name="connsiteY13890" fmla="*/ 1349534 h 5282095"/>
              <a:gd name="connsiteX13891" fmla="*/ 922045 w 7714416"/>
              <a:gd name="connsiteY13891" fmla="*/ 1349191 h 5282095"/>
              <a:gd name="connsiteX13892" fmla="*/ 948429 w 7714416"/>
              <a:gd name="connsiteY13892" fmla="*/ 1359192 h 5282095"/>
              <a:gd name="connsiteX13893" fmla="*/ 894583 w 7714416"/>
              <a:gd name="connsiteY13893" fmla="*/ 1356495 h 5282095"/>
              <a:gd name="connsiteX13894" fmla="*/ 922045 w 7714416"/>
              <a:gd name="connsiteY13894" fmla="*/ 1349191 h 5282095"/>
              <a:gd name="connsiteX13895" fmla="*/ 5354601 w 7714416"/>
              <a:gd name="connsiteY13895" fmla="*/ 1349096 h 5282095"/>
              <a:gd name="connsiteX13896" fmla="*/ 5354094 w 7714416"/>
              <a:gd name="connsiteY13896" fmla="*/ 1349880 h 5282095"/>
              <a:gd name="connsiteX13897" fmla="*/ 5355668 w 7714416"/>
              <a:gd name="connsiteY13897" fmla="*/ 1350647 h 5282095"/>
              <a:gd name="connsiteX13898" fmla="*/ 5356441 w 7714416"/>
              <a:gd name="connsiteY13898" fmla="*/ 1351083 h 5282095"/>
              <a:gd name="connsiteX13899" fmla="*/ 5357540 w 7714416"/>
              <a:gd name="connsiteY13899" fmla="*/ 1349193 h 5282095"/>
              <a:gd name="connsiteX13900" fmla="*/ 1349647 w 7714416"/>
              <a:gd name="connsiteY13900" fmla="*/ 1346062 h 5282095"/>
              <a:gd name="connsiteX13901" fmla="*/ 1358103 w 7714416"/>
              <a:gd name="connsiteY13901" fmla="*/ 1346603 h 5282095"/>
              <a:gd name="connsiteX13902" fmla="*/ 1359684 w 7714416"/>
              <a:gd name="connsiteY13902" fmla="*/ 1349556 h 5282095"/>
              <a:gd name="connsiteX13903" fmla="*/ 1358613 w 7714416"/>
              <a:gd name="connsiteY13903" fmla="*/ 1351340 h 5282095"/>
              <a:gd name="connsiteX13904" fmla="*/ 1362314 w 7714416"/>
              <a:gd name="connsiteY13904" fmla="*/ 1353021 h 5282095"/>
              <a:gd name="connsiteX13905" fmla="*/ 1365376 w 7714416"/>
              <a:gd name="connsiteY13905" fmla="*/ 1363732 h 5282095"/>
              <a:gd name="connsiteX13906" fmla="*/ 1361768 w 7714416"/>
              <a:gd name="connsiteY13906" fmla="*/ 1363915 h 5282095"/>
              <a:gd name="connsiteX13907" fmla="*/ 1357723 w 7714416"/>
              <a:gd name="connsiteY13907" fmla="*/ 1363521 h 5282095"/>
              <a:gd name="connsiteX13908" fmla="*/ 1349442 w 7714416"/>
              <a:gd name="connsiteY13908" fmla="*/ 1359003 h 5282095"/>
              <a:gd name="connsiteX13909" fmla="*/ 1346833 w 7714416"/>
              <a:gd name="connsiteY13909" fmla="*/ 1353243 h 5282095"/>
              <a:gd name="connsiteX13910" fmla="*/ 1347436 w 7714416"/>
              <a:gd name="connsiteY13910" fmla="*/ 1350990 h 5282095"/>
              <a:gd name="connsiteX13911" fmla="*/ 1349880 w 7714416"/>
              <a:gd name="connsiteY13911" fmla="*/ 1350725 h 5282095"/>
              <a:gd name="connsiteX13912" fmla="*/ 1349280 w 7714416"/>
              <a:gd name="connsiteY13912" fmla="*/ 1349644 h 5282095"/>
              <a:gd name="connsiteX13913" fmla="*/ 1349647 w 7714416"/>
              <a:gd name="connsiteY13913" fmla="*/ 1346062 h 5282095"/>
              <a:gd name="connsiteX13914" fmla="*/ 5259354 w 7714416"/>
              <a:gd name="connsiteY13914" fmla="*/ 1344850 h 5282095"/>
              <a:gd name="connsiteX13915" fmla="*/ 5264754 w 7714416"/>
              <a:gd name="connsiteY13915" fmla="*/ 1345722 h 5282095"/>
              <a:gd name="connsiteX13916" fmla="*/ 5259242 w 7714416"/>
              <a:gd name="connsiteY13916" fmla="*/ 1350800 h 5282095"/>
              <a:gd name="connsiteX13917" fmla="*/ 5258275 w 7714416"/>
              <a:gd name="connsiteY13917" fmla="*/ 1353301 h 5282095"/>
              <a:gd name="connsiteX13918" fmla="*/ 5256216 w 7714416"/>
              <a:gd name="connsiteY13918" fmla="*/ 1351024 h 5282095"/>
              <a:gd name="connsiteX13919" fmla="*/ 5260208 w 7714416"/>
              <a:gd name="connsiteY13919" fmla="*/ 1348299 h 5282095"/>
              <a:gd name="connsiteX13920" fmla="*/ 5258121 w 7714416"/>
              <a:gd name="connsiteY13920" fmla="*/ 1346129 h 5282095"/>
              <a:gd name="connsiteX13921" fmla="*/ 5259354 w 7714416"/>
              <a:gd name="connsiteY13921" fmla="*/ 1344850 h 5282095"/>
              <a:gd name="connsiteX13922" fmla="*/ 1950157 w 7714416"/>
              <a:gd name="connsiteY13922" fmla="*/ 1344011 h 5282095"/>
              <a:gd name="connsiteX13923" fmla="*/ 1939908 w 7714416"/>
              <a:gd name="connsiteY13923" fmla="*/ 1360125 h 5282095"/>
              <a:gd name="connsiteX13924" fmla="*/ 1950157 w 7714416"/>
              <a:gd name="connsiteY13924" fmla="*/ 1344011 h 5282095"/>
              <a:gd name="connsiteX13925" fmla="*/ 5680049 w 7714416"/>
              <a:gd name="connsiteY13925" fmla="*/ 1343148 h 5282095"/>
              <a:gd name="connsiteX13926" fmla="*/ 5681821 w 7714416"/>
              <a:gd name="connsiteY13926" fmla="*/ 1346498 h 5282095"/>
              <a:gd name="connsiteX13927" fmla="*/ 5691742 w 7714416"/>
              <a:gd name="connsiteY13927" fmla="*/ 1350421 h 5282095"/>
              <a:gd name="connsiteX13928" fmla="*/ 5700151 w 7714416"/>
              <a:gd name="connsiteY13928" fmla="*/ 1358885 h 5282095"/>
              <a:gd name="connsiteX13929" fmla="*/ 5685407 w 7714416"/>
              <a:gd name="connsiteY13929" fmla="*/ 1366319 h 5282095"/>
              <a:gd name="connsiteX13930" fmla="*/ 5684547 w 7714416"/>
              <a:gd name="connsiteY13930" fmla="*/ 1366204 h 5282095"/>
              <a:gd name="connsiteX13931" fmla="*/ 5683782 w 7714416"/>
              <a:gd name="connsiteY13931" fmla="*/ 1367953 h 5282095"/>
              <a:gd name="connsiteX13932" fmla="*/ 5678262 w 7714416"/>
              <a:gd name="connsiteY13932" fmla="*/ 1370844 h 5282095"/>
              <a:gd name="connsiteX13933" fmla="*/ 5674309 w 7714416"/>
              <a:gd name="connsiteY13933" fmla="*/ 1372315 h 5282095"/>
              <a:gd name="connsiteX13934" fmla="*/ 5667143 w 7714416"/>
              <a:gd name="connsiteY13934" fmla="*/ 1379136 h 5282095"/>
              <a:gd name="connsiteX13935" fmla="*/ 5651393 w 7714416"/>
              <a:gd name="connsiteY13935" fmla="*/ 1381470 h 5282095"/>
              <a:gd name="connsiteX13936" fmla="*/ 5663813 w 7714416"/>
              <a:gd name="connsiteY13936" fmla="*/ 1361683 h 5282095"/>
              <a:gd name="connsiteX13937" fmla="*/ 5664204 w 7714416"/>
              <a:gd name="connsiteY13937" fmla="*/ 1361327 h 5282095"/>
              <a:gd name="connsiteX13938" fmla="*/ 5660852 w 7714416"/>
              <a:gd name="connsiteY13938" fmla="*/ 1355024 h 5282095"/>
              <a:gd name="connsiteX13939" fmla="*/ 5661984 w 7714416"/>
              <a:gd name="connsiteY13939" fmla="*/ 1349692 h 5282095"/>
              <a:gd name="connsiteX13940" fmla="*/ 5662376 w 7714416"/>
              <a:gd name="connsiteY13940" fmla="*/ 1349338 h 5282095"/>
              <a:gd name="connsiteX13941" fmla="*/ 5660934 w 7714416"/>
              <a:gd name="connsiteY13941" fmla="*/ 1349181 h 5282095"/>
              <a:gd name="connsiteX13942" fmla="*/ 5657470 w 7714416"/>
              <a:gd name="connsiteY13942" fmla="*/ 1348829 h 5282095"/>
              <a:gd name="connsiteX13943" fmla="*/ 5654563 w 7714416"/>
              <a:gd name="connsiteY13943" fmla="*/ 1345290 h 5282095"/>
              <a:gd name="connsiteX13944" fmla="*/ 5656367 w 7714416"/>
              <a:gd name="connsiteY13944" fmla="*/ 1345197 h 5282095"/>
              <a:gd name="connsiteX13945" fmla="*/ 5663012 w 7714416"/>
              <a:gd name="connsiteY13945" fmla="*/ 1343642 h 5282095"/>
              <a:gd name="connsiteX13946" fmla="*/ 5664133 w 7714416"/>
              <a:gd name="connsiteY13946" fmla="*/ 1348314 h 5282095"/>
              <a:gd name="connsiteX13947" fmla="*/ 5669012 w 7714416"/>
              <a:gd name="connsiteY13947" fmla="*/ 1345596 h 5282095"/>
              <a:gd name="connsiteX13948" fmla="*/ 5676362 w 7714416"/>
              <a:gd name="connsiteY13948" fmla="*/ 1345840 h 5282095"/>
              <a:gd name="connsiteX13949" fmla="*/ 5885264 w 7714416"/>
              <a:gd name="connsiteY13949" fmla="*/ 1343049 h 5282095"/>
              <a:gd name="connsiteX13950" fmla="*/ 5890787 w 7714416"/>
              <a:gd name="connsiteY13950" fmla="*/ 1343609 h 5282095"/>
              <a:gd name="connsiteX13951" fmla="*/ 5883361 w 7714416"/>
              <a:gd name="connsiteY13951" fmla="*/ 1351395 h 5282095"/>
              <a:gd name="connsiteX13952" fmla="*/ 5885264 w 7714416"/>
              <a:gd name="connsiteY13952" fmla="*/ 1343049 h 5282095"/>
              <a:gd name="connsiteX13953" fmla="*/ 1477143 w 7714416"/>
              <a:gd name="connsiteY13953" fmla="*/ 1342850 h 5282095"/>
              <a:gd name="connsiteX13954" fmla="*/ 1510078 w 7714416"/>
              <a:gd name="connsiteY13954" fmla="*/ 1353859 h 5282095"/>
              <a:gd name="connsiteX13955" fmla="*/ 1527481 w 7714416"/>
              <a:gd name="connsiteY13955" fmla="*/ 1394058 h 5282095"/>
              <a:gd name="connsiteX13956" fmla="*/ 1523004 w 7714416"/>
              <a:gd name="connsiteY13956" fmla="*/ 1395272 h 5282095"/>
              <a:gd name="connsiteX13957" fmla="*/ 1512011 w 7714416"/>
              <a:gd name="connsiteY13957" fmla="*/ 1393132 h 5282095"/>
              <a:gd name="connsiteX13958" fmla="*/ 1477143 w 7714416"/>
              <a:gd name="connsiteY13958" fmla="*/ 1342850 h 5282095"/>
              <a:gd name="connsiteX13959" fmla="*/ 1132020 w 7714416"/>
              <a:gd name="connsiteY13959" fmla="*/ 1339543 h 5282095"/>
              <a:gd name="connsiteX13960" fmla="*/ 1144293 w 7714416"/>
              <a:gd name="connsiteY13960" fmla="*/ 1345434 h 5282095"/>
              <a:gd name="connsiteX13961" fmla="*/ 1096735 w 7714416"/>
              <a:gd name="connsiteY13961" fmla="*/ 1352471 h 5282095"/>
              <a:gd name="connsiteX13962" fmla="*/ 1132020 w 7714416"/>
              <a:gd name="connsiteY13962" fmla="*/ 1339543 h 5282095"/>
              <a:gd name="connsiteX13963" fmla="*/ 5703274 w 7714416"/>
              <a:gd name="connsiteY13963" fmla="*/ 1339481 h 5282095"/>
              <a:gd name="connsiteX13964" fmla="*/ 5712455 w 7714416"/>
              <a:gd name="connsiteY13964" fmla="*/ 1339527 h 5282095"/>
              <a:gd name="connsiteX13965" fmla="*/ 5708938 w 7714416"/>
              <a:gd name="connsiteY13965" fmla="*/ 1344908 h 5282095"/>
              <a:gd name="connsiteX13966" fmla="*/ 5703274 w 7714416"/>
              <a:gd name="connsiteY13966" fmla="*/ 1339481 h 5282095"/>
              <a:gd name="connsiteX13967" fmla="*/ 981349 w 7714416"/>
              <a:gd name="connsiteY13967" fmla="*/ 1339264 h 5282095"/>
              <a:gd name="connsiteX13968" fmla="*/ 974769 w 7714416"/>
              <a:gd name="connsiteY13968" fmla="*/ 1351645 h 5282095"/>
              <a:gd name="connsiteX13969" fmla="*/ 967827 w 7714416"/>
              <a:gd name="connsiteY13969" fmla="*/ 1346564 h 5282095"/>
              <a:gd name="connsiteX13970" fmla="*/ 981349 w 7714416"/>
              <a:gd name="connsiteY13970" fmla="*/ 1339264 h 5282095"/>
              <a:gd name="connsiteX13971" fmla="*/ 1774424 w 7714416"/>
              <a:gd name="connsiteY13971" fmla="*/ 1338813 h 5282095"/>
              <a:gd name="connsiteX13972" fmla="*/ 1782183 w 7714416"/>
              <a:gd name="connsiteY13972" fmla="*/ 1338907 h 5282095"/>
              <a:gd name="connsiteX13973" fmla="*/ 1771881 w 7714416"/>
              <a:gd name="connsiteY13973" fmla="*/ 1343047 h 5282095"/>
              <a:gd name="connsiteX13974" fmla="*/ 1768922 w 7714416"/>
              <a:gd name="connsiteY13974" fmla="*/ 1341910 h 5282095"/>
              <a:gd name="connsiteX13975" fmla="*/ 1774424 w 7714416"/>
              <a:gd name="connsiteY13975" fmla="*/ 1338813 h 5282095"/>
              <a:gd name="connsiteX13976" fmla="*/ 5529961 w 7714416"/>
              <a:gd name="connsiteY13976" fmla="*/ 1337857 h 5282095"/>
              <a:gd name="connsiteX13977" fmla="*/ 5541758 w 7714416"/>
              <a:gd name="connsiteY13977" fmla="*/ 1337948 h 5282095"/>
              <a:gd name="connsiteX13978" fmla="*/ 5511150 w 7714416"/>
              <a:gd name="connsiteY13978" fmla="*/ 1362523 h 5282095"/>
              <a:gd name="connsiteX13979" fmla="*/ 5499375 w 7714416"/>
              <a:gd name="connsiteY13979" fmla="*/ 1352238 h 5282095"/>
              <a:gd name="connsiteX13980" fmla="*/ 5529961 w 7714416"/>
              <a:gd name="connsiteY13980" fmla="*/ 1337857 h 5282095"/>
              <a:gd name="connsiteX13981" fmla="*/ 5951935 w 7714416"/>
              <a:gd name="connsiteY13981" fmla="*/ 1336763 h 5282095"/>
              <a:gd name="connsiteX13982" fmla="*/ 5954680 w 7714416"/>
              <a:gd name="connsiteY13982" fmla="*/ 1348653 h 5282095"/>
              <a:gd name="connsiteX13983" fmla="*/ 5951935 w 7714416"/>
              <a:gd name="connsiteY13983" fmla="*/ 1336763 h 5282095"/>
              <a:gd name="connsiteX13984" fmla="*/ 5739842 w 7714416"/>
              <a:gd name="connsiteY13984" fmla="*/ 1335824 h 5282095"/>
              <a:gd name="connsiteX13985" fmla="*/ 5749797 w 7714416"/>
              <a:gd name="connsiteY13985" fmla="*/ 1345162 h 5282095"/>
              <a:gd name="connsiteX13986" fmla="*/ 5738200 w 7714416"/>
              <a:gd name="connsiteY13986" fmla="*/ 1345274 h 5282095"/>
              <a:gd name="connsiteX13987" fmla="*/ 5727954 w 7714416"/>
              <a:gd name="connsiteY13987" fmla="*/ 1340344 h 5282095"/>
              <a:gd name="connsiteX13988" fmla="*/ 5739842 w 7714416"/>
              <a:gd name="connsiteY13988" fmla="*/ 1335824 h 5282095"/>
              <a:gd name="connsiteX13989" fmla="*/ 1383530 w 7714416"/>
              <a:gd name="connsiteY13989" fmla="*/ 1335821 h 5282095"/>
              <a:gd name="connsiteX13990" fmla="*/ 1400360 w 7714416"/>
              <a:gd name="connsiteY13990" fmla="*/ 1342745 h 5282095"/>
              <a:gd name="connsiteX13991" fmla="*/ 1391659 w 7714416"/>
              <a:gd name="connsiteY13991" fmla="*/ 1356399 h 5282095"/>
              <a:gd name="connsiteX13992" fmla="*/ 1391666 w 7714416"/>
              <a:gd name="connsiteY13992" fmla="*/ 1358587 h 5282095"/>
              <a:gd name="connsiteX13993" fmla="*/ 1390060 w 7714416"/>
              <a:gd name="connsiteY13993" fmla="*/ 1361261 h 5282095"/>
              <a:gd name="connsiteX13994" fmla="*/ 1388255 w 7714416"/>
              <a:gd name="connsiteY13994" fmla="*/ 1361352 h 5282095"/>
              <a:gd name="connsiteX13995" fmla="*/ 1382769 w 7714416"/>
              <a:gd name="connsiteY13995" fmla="*/ 1369657 h 5282095"/>
              <a:gd name="connsiteX13996" fmla="*/ 1366144 w 7714416"/>
              <a:gd name="connsiteY13996" fmla="*/ 1394068 h 5282095"/>
              <a:gd name="connsiteX13997" fmla="*/ 1383530 w 7714416"/>
              <a:gd name="connsiteY13997" fmla="*/ 1335821 h 5282095"/>
              <a:gd name="connsiteX13998" fmla="*/ 1662913 w 7714416"/>
              <a:gd name="connsiteY13998" fmla="*/ 1334666 h 5282095"/>
              <a:gd name="connsiteX13999" fmla="*/ 1677445 w 7714416"/>
              <a:gd name="connsiteY13999" fmla="*/ 1337984 h 5282095"/>
              <a:gd name="connsiteX14000" fmla="*/ 1675318 w 7714416"/>
              <a:gd name="connsiteY14000" fmla="*/ 1345924 h 5282095"/>
              <a:gd name="connsiteX14001" fmla="*/ 1670927 w 7714416"/>
              <a:gd name="connsiteY14001" fmla="*/ 1346817 h 5282095"/>
              <a:gd name="connsiteX14002" fmla="*/ 1665507 w 7714416"/>
              <a:gd name="connsiteY14002" fmla="*/ 1344905 h 5282095"/>
              <a:gd name="connsiteX14003" fmla="*/ 1662485 w 7714416"/>
              <a:gd name="connsiteY14003" fmla="*/ 1341796 h 5282095"/>
              <a:gd name="connsiteX14004" fmla="*/ 1662913 w 7714416"/>
              <a:gd name="connsiteY14004" fmla="*/ 1334666 h 5282095"/>
              <a:gd name="connsiteX14005" fmla="*/ 1938266 w 7714416"/>
              <a:gd name="connsiteY14005" fmla="*/ 1334155 h 5282095"/>
              <a:gd name="connsiteX14006" fmla="*/ 1938733 w 7714416"/>
              <a:gd name="connsiteY14006" fmla="*/ 1343479 h 5282095"/>
              <a:gd name="connsiteX14007" fmla="*/ 1934801 w 7714416"/>
              <a:gd name="connsiteY14007" fmla="*/ 1342657 h 5282095"/>
              <a:gd name="connsiteX14008" fmla="*/ 1930367 w 7714416"/>
              <a:gd name="connsiteY14008" fmla="*/ 1339283 h 5282095"/>
              <a:gd name="connsiteX14009" fmla="*/ 1929322 w 7714416"/>
              <a:gd name="connsiteY14009" fmla="*/ 1335438 h 5282095"/>
              <a:gd name="connsiteX14010" fmla="*/ 1938266 w 7714416"/>
              <a:gd name="connsiteY14010" fmla="*/ 1334155 h 5282095"/>
              <a:gd name="connsiteX14011" fmla="*/ 1797873 w 7714416"/>
              <a:gd name="connsiteY14011" fmla="*/ 1331267 h 5282095"/>
              <a:gd name="connsiteX14012" fmla="*/ 1798578 w 7714416"/>
              <a:gd name="connsiteY14012" fmla="*/ 1333066 h 5282095"/>
              <a:gd name="connsiteX14013" fmla="*/ 1796867 w 7714416"/>
              <a:gd name="connsiteY14013" fmla="*/ 1335022 h 5282095"/>
              <a:gd name="connsiteX14014" fmla="*/ 1792339 w 7714416"/>
              <a:gd name="connsiteY14014" fmla="*/ 1338639 h 5282095"/>
              <a:gd name="connsiteX14015" fmla="*/ 1797873 w 7714416"/>
              <a:gd name="connsiteY14015" fmla="*/ 1331267 h 5282095"/>
              <a:gd name="connsiteX14016" fmla="*/ 5615620 w 7714416"/>
              <a:gd name="connsiteY14016" fmla="*/ 1330139 h 5282095"/>
              <a:gd name="connsiteX14017" fmla="*/ 5615864 w 7714416"/>
              <a:gd name="connsiteY14017" fmla="*/ 1342510 h 5282095"/>
              <a:gd name="connsiteX14018" fmla="*/ 5612392 w 7714416"/>
              <a:gd name="connsiteY14018" fmla="*/ 1339970 h 5282095"/>
              <a:gd name="connsiteX14019" fmla="*/ 5615620 w 7714416"/>
              <a:gd name="connsiteY14019" fmla="*/ 1330139 h 5282095"/>
              <a:gd name="connsiteX14020" fmla="*/ 5214560 w 7714416"/>
              <a:gd name="connsiteY14020" fmla="*/ 1329397 h 5282095"/>
              <a:gd name="connsiteX14021" fmla="*/ 5215742 w 7714416"/>
              <a:gd name="connsiteY14021" fmla="*/ 1330519 h 5282095"/>
              <a:gd name="connsiteX14022" fmla="*/ 5215857 w 7714416"/>
              <a:gd name="connsiteY14022" fmla="*/ 1330089 h 5282095"/>
              <a:gd name="connsiteX14023" fmla="*/ 1958689 w 7714416"/>
              <a:gd name="connsiteY14023" fmla="*/ 1327666 h 5282095"/>
              <a:gd name="connsiteX14024" fmla="*/ 1956083 w 7714416"/>
              <a:gd name="connsiteY14024" fmla="*/ 1336284 h 5282095"/>
              <a:gd name="connsiteX14025" fmla="*/ 1954135 w 7714416"/>
              <a:gd name="connsiteY14025" fmla="*/ 1336912 h 5282095"/>
              <a:gd name="connsiteX14026" fmla="*/ 1958689 w 7714416"/>
              <a:gd name="connsiteY14026" fmla="*/ 1327666 h 5282095"/>
              <a:gd name="connsiteX14027" fmla="*/ 6110648 w 7714416"/>
              <a:gd name="connsiteY14027" fmla="*/ 1326620 h 5282095"/>
              <a:gd name="connsiteX14028" fmla="*/ 6120358 w 7714416"/>
              <a:gd name="connsiteY14028" fmla="*/ 1359007 h 5282095"/>
              <a:gd name="connsiteX14029" fmla="*/ 6113817 w 7714416"/>
              <a:gd name="connsiteY14029" fmla="*/ 1352424 h 5282095"/>
              <a:gd name="connsiteX14030" fmla="*/ 6111373 w 7714416"/>
              <a:gd name="connsiteY14030" fmla="*/ 1352690 h 5282095"/>
              <a:gd name="connsiteX14031" fmla="*/ 6104589 w 7714416"/>
              <a:gd name="connsiteY14031" fmla="*/ 1351447 h 5282095"/>
              <a:gd name="connsiteX14032" fmla="*/ 6103551 w 7714416"/>
              <a:gd name="connsiteY14032" fmla="*/ 1340934 h 5282095"/>
              <a:gd name="connsiteX14033" fmla="*/ 6108370 w 7714416"/>
              <a:gd name="connsiteY14033" fmla="*/ 1341764 h 5282095"/>
              <a:gd name="connsiteX14034" fmla="*/ 6108981 w 7714416"/>
              <a:gd name="connsiteY14034" fmla="*/ 1341698 h 5282095"/>
              <a:gd name="connsiteX14035" fmla="*/ 5780568 w 7714416"/>
              <a:gd name="connsiteY14035" fmla="*/ 1326612 h 5282095"/>
              <a:gd name="connsiteX14036" fmla="*/ 5788970 w 7714416"/>
              <a:gd name="connsiteY14036" fmla="*/ 1332887 h 5282095"/>
              <a:gd name="connsiteX14037" fmla="*/ 5782114 w 7714416"/>
              <a:gd name="connsiteY14037" fmla="*/ 1336340 h 5282095"/>
              <a:gd name="connsiteX14038" fmla="*/ 5773805 w 7714416"/>
              <a:gd name="connsiteY14038" fmla="*/ 1331930 h 5282095"/>
              <a:gd name="connsiteX14039" fmla="*/ 5780568 w 7714416"/>
              <a:gd name="connsiteY14039" fmla="*/ 1326612 h 5282095"/>
              <a:gd name="connsiteX14040" fmla="*/ 637503 w 7714416"/>
              <a:gd name="connsiteY14040" fmla="*/ 1325331 h 5282095"/>
              <a:gd name="connsiteX14041" fmla="*/ 646289 w 7714416"/>
              <a:gd name="connsiteY14041" fmla="*/ 1355630 h 5282095"/>
              <a:gd name="connsiteX14042" fmla="*/ 628910 w 7714416"/>
              <a:gd name="connsiteY14042" fmla="*/ 1354079 h 5282095"/>
              <a:gd name="connsiteX14043" fmla="*/ 637503 w 7714416"/>
              <a:gd name="connsiteY14043" fmla="*/ 1325331 h 5282095"/>
              <a:gd name="connsiteX14044" fmla="*/ 5817345 w 7714416"/>
              <a:gd name="connsiteY14044" fmla="*/ 1324391 h 5282095"/>
              <a:gd name="connsiteX14045" fmla="*/ 5820787 w 7714416"/>
              <a:gd name="connsiteY14045" fmla="*/ 1327038 h 5282095"/>
              <a:gd name="connsiteX14046" fmla="*/ 5819235 w 7714416"/>
              <a:gd name="connsiteY14046" fmla="*/ 1332832 h 5282095"/>
              <a:gd name="connsiteX14047" fmla="*/ 5811254 w 7714416"/>
              <a:gd name="connsiteY14047" fmla="*/ 1334949 h 5282095"/>
              <a:gd name="connsiteX14048" fmla="*/ 5808702 w 7714416"/>
              <a:gd name="connsiteY14048" fmla="*/ 1337831 h 5282095"/>
              <a:gd name="connsiteX14049" fmla="*/ 5807071 w 7714416"/>
              <a:gd name="connsiteY14049" fmla="*/ 1337277 h 5282095"/>
              <a:gd name="connsiteX14050" fmla="*/ 5814539 w 7714416"/>
              <a:gd name="connsiteY14050" fmla="*/ 1324904 h 5282095"/>
              <a:gd name="connsiteX14051" fmla="*/ 5817345 w 7714416"/>
              <a:gd name="connsiteY14051" fmla="*/ 1324391 h 5282095"/>
              <a:gd name="connsiteX14052" fmla="*/ 5464360 w 7714416"/>
              <a:gd name="connsiteY14052" fmla="*/ 1323535 h 5282095"/>
              <a:gd name="connsiteX14053" fmla="*/ 5422330 w 7714416"/>
              <a:gd name="connsiteY14053" fmla="*/ 1329868 h 5282095"/>
              <a:gd name="connsiteX14054" fmla="*/ 5440585 w 7714416"/>
              <a:gd name="connsiteY14054" fmla="*/ 1323719 h 5282095"/>
              <a:gd name="connsiteX14055" fmla="*/ 5464360 w 7714416"/>
              <a:gd name="connsiteY14055" fmla="*/ 1323535 h 5282095"/>
              <a:gd name="connsiteX14056" fmla="*/ 1884334 w 7714416"/>
              <a:gd name="connsiteY14056" fmla="*/ 1322923 h 5282095"/>
              <a:gd name="connsiteX14057" fmla="*/ 1887376 w 7714416"/>
              <a:gd name="connsiteY14057" fmla="*/ 1327073 h 5282095"/>
              <a:gd name="connsiteX14058" fmla="*/ 1882969 w 7714416"/>
              <a:gd name="connsiteY14058" fmla="*/ 1323593 h 5282095"/>
              <a:gd name="connsiteX14059" fmla="*/ 1884334 w 7714416"/>
              <a:gd name="connsiteY14059" fmla="*/ 1322923 h 5282095"/>
              <a:gd name="connsiteX14060" fmla="*/ 1487893 w 7714416"/>
              <a:gd name="connsiteY14060" fmla="*/ 1322657 h 5282095"/>
              <a:gd name="connsiteX14061" fmla="*/ 1509050 w 7714416"/>
              <a:gd name="connsiteY14061" fmla="*/ 1324488 h 5282095"/>
              <a:gd name="connsiteX14062" fmla="*/ 1511710 w 7714416"/>
              <a:gd name="connsiteY14062" fmla="*/ 1336701 h 5282095"/>
              <a:gd name="connsiteX14063" fmla="*/ 1492243 w 7714416"/>
              <a:gd name="connsiteY14063" fmla="*/ 1341834 h 5282095"/>
              <a:gd name="connsiteX14064" fmla="*/ 1471983 w 7714416"/>
              <a:gd name="connsiteY14064" fmla="*/ 1331116 h 5282095"/>
              <a:gd name="connsiteX14065" fmla="*/ 1487893 w 7714416"/>
              <a:gd name="connsiteY14065" fmla="*/ 1322657 h 5282095"/>
              <a:gd name="connsiteX14066" fmla="*/ 888883 w 7714416"/>
              <a:gd name="connsiteY14066" fmla="*/ 1322423 h 5282095"/>
              <a:gd name="connsiteX14067" fmla="*/ 892381 w 7714416"/>
              <a:gd name="connsiteY14067" fmla="*/ 1337044 h 5282095"/>
              <a:gd name="connsiteX14068" fmla="*/ 888258 w 7714416"/>
              <a:gd name="connsiteY14068" fmla="*/ 1335825 h 5282095"/>
              <a:gd name="connsiteX14069" fmla="*/ 883202 w 7714416"/>
              <a:gd name="connsiteY14069" fmla="*/ 1333665 h 5282095"/>
              <a:gd name="connsiteX14070" fmla="*/ 888883 w 7714416"/>
              <a:gd name="connsiteY14070" fmla="*/ 1322423 h 5282095"/>
              <a:gd name="connsiteX14071" fmla="*/ 1850691 w 7714416"/>
              <a:gd name="connsiteY14071" fmla="*/ 1322304 h 5282095"/>
              <a:gd name="connsiteX14072" fmla="*/ 1862802 w 7714416"/>
              <a:gd name="connsiteY14072" fmla="*/ 1332449 h 5282095"/>
              <a:gd name="connsiteX14073" fmla="*/ 1851065 w 7714416"/>
              <a:gd name="connsiteY14073" fmla="*/ 1338620 h 5282095"/>
              <a:gd name="connsiteX14074" fmla="*/ 1837761 w 7714416"/>
              <a:gd name="connsiteY14074" fmla="*/ 1328499 h 5282095"/>
              <a:gd name="connsiteX14075" fmla="*/ 1850691 w 7714416"/>
              <a:gd name="connsiteY14075" fmla="*/ 1322304 h 5282095"/>
              <a:gd name="connsiteX14076" fmla="*/ 1026065 w 7714416"/>
              <a:gd name="connsiteY14076" fmla="*/ 1321804 h 5282095"/>
              <a:gd name="connsiteX14077" fmla="*/ 1027304 w 7714416"/>
              <a:gd name="connsiteY14077" fmla="*/ 1322712 h 5282095"/>
              <a:gd name="connsiteX14078" fmla="*/ 1028221 w 7714416"/>
              <a:gd name="connsiteY14078" fmla="*/ 1322612 h 5282095"/>
              <a:gd name="connsiteX14079" fmla="*/ 1033726 w 7714416"/>
              <a:gd name="connsiteY14079" fmla="*/ 1324202 h 5282095"/>
              <a:gd name="connsiteX14080" fmla="*/ 1041838 w 7714416"/>
              <a:gd name="connsiteY14080" fmla="*/ 1326030 h 5282095"/>
              <a:gd name="connsiteX14081" fmla="*/ 1067452 w 7714416"/>
              <a:gd name="connsiteY14081" fmla="*/ 1336689 h 5282095"/>
              <a:gd name="connsiteX14082" fmla="*/ 1056201 w 7714416"/>
              <a:gd name="connsiteY14082" fmla="*/ 1335514 h 5282095"/>
              <a:gd name="connsiteX14083" fmla="*/ 1041840 w 7714416"/>
              <a:gd name="connsiteY14083" fmla="*/ 1331552 h 5282095"/>
              <a:gd name="connsiteX14084" fmla="*/ 1030819 w 7714416"/>
              <a:gd name="connsiteY14084" fmla="*/ 1329518 h 5282095"/>
              <a:gd name="connsiteX14085" fmla="*/ 1028584 w 7714416"/>
              <a:gd name="connsiteY14085" fmla="*/ 1331219 h 5282095"/>
              <a:gd name="connsiteX14086" fmla="*/ 1024688 w 7714416"/>
              <a:gd name="connsiteY14086" fmla="*/ 1332475 h 5282095"/>
              <a:gd name="connsiteX14087" fmla="*/ 1021587 w 7714416"/>
              <a:gd name="connsiteY14087" fmla="*/ 1331874 h 5282095"/>
              <a:gd name="connsiteX14088" fmla="*/ 1019995 w 7714416"/>
              <a:gd name="connsiteY14088" fmla="*/ 1330068 h 5282095"/>
              <a:gd name="connsiteX14089" fmla="*/ 1026065 w 7714416"/>
              <a:gd name="connsiteY14089" fmla="*/ 1321804 h 5282095"/>
              <a:gd name="connsiteX14090" fmla="*/ 5475949 w 7714416"/>
              <a:gd name="connsiteY14090" fmla="*/ 1321235 h 5282095"/>
              <a:gd name="connsiteX14091" fmla="*/ 5492753 w 7714416"/>
              <a:gd name="connsiteY14091" fmla="*/ 1324932 h 5282095"/>
              <a:gd name="connsiteX14092" fmla="*/ 5475747 w 7714416"/>
              <a:gd name="connsiteY14092" fmla="*/ 1348551 h 5282095"/>
              <a:gd name="connsiteX14093" fmla="*/ 5469455 w 7714416"/>
              <a:gd name="connsiteY14093" fmla="*/ 1342150 h 5282095"/>
              <a:gd name="connsiteX14094" fmla="*/ 5475949 w 7714416"/>
              <a:gd name="connsiteY14094" fmla="*/ 1321235 h 5282095"/>
              <a:gd name="connsiteX14095" fmla="*/ 1231736 w 7714416"/>
              <a:gd name="connsiteY14095" fmla="*/ 1320837 h 5282095"/>
              <a:gd name="connsiteX14096" fmla="*/ 1245965 w 7714416"/>
              <a:gd name="connsiteY14096" fmla="*/ 1330126 h 5282095"/>
              <a:gd name="connsiteX14097" fmla="*/ 1243156 w 7714416"/>
              <a:gd name="connsiteY14097" fmla="*/ 1333973 h 5282095"/>
              <a:gd name="connsiteX14098" fmla="*/ 1233791 w 7714416"/>
              <a:gd name="connsiteY14098" fmla="*/ 1335718 h 5282095"/>
              <a:gd name="connsiteX14099" fmla="*/ 1225468 w 7714416"/>
              <a:gd name="connsiteY14099" fmla="*/ 1335789 h 5282095"/>
              <a:gd name="connsiteX14100" fmla="*/ 1223836 w 7714416"/>
              <a:gd name="connsiteY14100" fmla="*/ 1344091 h 5282095"/>
              <a:gd name="connsiteX14101" fmla="*/ 1215747 w 7714416"/>
              <a:gd name="connsiteY14101" fmla="*/ 1348824 h 5282095"/>
              <a:gd name="connsiteX14102" fmla="*/ 1213304 w 7714416"/>
              <a:gd name="connsiteY14102" fmla="*/ 1340234 h 5282095"/>
              <a:gd name="connsiteX14103" fmla="*/ 1215328 w 7714416"/>
              <a:gd name="connsiteY14103" fmla="*/ 1331577 h 5282095"/>
              <a:gd name="connsiteX14104" fmla="*/ 1211141 w 7714416"/>
              <a:gd name="connsiteY14104" fmla="*/ 1328384 h 5282095"/>
              <a:gd name="connsiteX14105" fmla="*/ 1211535 w 7714416"/>
              <a:gd name="connsiteY14105" fmla="*/ 1324696 h 5282095"/>
              <a:gd name="connsiteX14106" fmla="*/ 1231736 w 7714416"/>
              <a:gd name="connsiteY14106" fmla="*/ 1320837 h 5282095"/>
              <a:gd name="connsiteX14107" fmla="*/ 978974 w 7714416"/>
              <a:gd name="connsiteY14107" fmla="*/ 1320457 h 5282095"/>
              <a:gd name="connsiteX14108" fmla="*/ 983779 w 7714416"/>
              <a:gd name="connsiteY14108" fmla="*/ 1325769 h 5282095"/>
              <a:gd name="connsiteX14109" fmla="*/ 981171 w 7714416"/>
              <a:gd name="connsiteY14109" fmla="*/ 1328865 h 5282095"/>
              <a:gd name="connsiteX14110" fmla="*/ 978508 w 7714416"/>
              <a:gd name="connsiteY14110" fmla="*/ 1328841 h 5282095"/>
              <a:gd name="connsiteX14111" fmla="*/ 976668 w 7714416"/>
              <a:gd name="connsiteY14111" fmla="*/ 1326853 h 5282095"/>
              <a:gd name="connsiteX14112" fmla="*/ 974342 w 7714416"/>
              <a:gd name="connsiteY14112" fmla="*/ 1323356 h 5282095"/>
              <a:gd name="connsiteX14113" fmla="*/ 975633 w 7714416"/>
              <a:gd name="connsiteY14113" fmla="*/ 1321861 h 5282095"/>
              <a:gd name="connsiteX14114" fmla="*/ 978974 w 7714416"/>
              <a:gd name="connsiteY14114" fmla="*/ 1320457 h 5282095"/>
              <a:gd name="connsiteX14115" fmla="*/ 1584642 w 7714416"/>
              <a:gd name="connsiteY14115" fmla="*/ 1320190 h 5282095"/>
              <a:gd name="connsiteX14116" fmla="*/ 1611482 w 7714416"/>
              <a:gd name="connsiteY14116" fmla="*/ 1331809 h 5282095"/>
              <a:gd name="connsiteX14117" fmla="*/ 1612776 w 7714416"/>
              <a:gd name="connsiteY14117" fmla="*/ 1335836 h 5282095"/>
              <a:gd name="connsiteX14118" fmla="*/ 1560934 w 7714416"/>
              <a:gd name="connsiteY14118" fmla="*/ 1350005 h 5282095"/>
              <a:gd name="connsiteX14119" fmla="*/ 1550822 w 7714416"/>
              <a:gd name="connsiteY14119" fmla="*/ 1345686 h 5282095"/>
              <a:gd name="connsiteX14120" fmla="*/ 1542668 w 7714416"/>
              <a:gd name="connsiteY14120" fmla="*/ 1339591 h 5282095"/>
              <a:gd name="connsiteX14121" fmla="*/ 1540911 w 7714416"/>
              <a:gd name="connsiteY14121" fmla="*/ 1340615 h 5282095"/>
              <a:gd name="connsiteX14122" fmla="*/ 1525541 w 7714416"/>
              <a:gd name="connsiteY14122" fmla="*/ 1334887 h 5282095"/>
              <a:gd name="connsiteX14123" fmla="*/ 1527231 w 7714416"/>
              <a:gd name="connsiteY14123" fmla="*/ 1326369 h 5282095"/>
              <a:gd name="connsiteX14124" fmla="*/ 1536991 w 7714416"/>
              <a:gd name="connsiteY14124" fmla="*/ 1329789 h 5282095"/>
              <a:gd name="connsiteX14125" fmla="*/ 1543312 w 7714416"/>
              <a:gd name="connsiteY14125" fmla="*/ 1336084 h 5282095"/>
              <a:gd name="connsiteX14126" fmla="*/ 1547663 w 7714416"/>
              <a:gd name="connsiteY14126" fmla="*/ 1327590 h 5282095"/>
              <a:gd name="connsiteX14127" fmla="*/ 1558933 w 7714416"/>
              <a:gd name="connsiteY14127" fmla="*/ 1320949 h 5282095"/>
              <a:gd name="connsiteX14128" fmla="*/ 1584642 w 7714416"/>
              <a:gd name="connsiteY14128" fmla="*/ 1320190 h 5282095"/>
              <a:gd name="connsiteX14129" fmla="*/ 1812499 w 7714416"/>
              <a:gd name="connsiteY14129" fmla="*/ 1318741 h 5282095"/>
              <a:gd name="connsiteX14130" fmla="*/ 1818964 w 7714416"/>
              <a:gd name="connsiteY14130" fmla="*/ 1324498 h 5282095"/>
              <a:gd name="connsiteX14131" fmla="*/ 1811514 w 7714416"/>
              <a:gd name="connsiteY14131" fmla="*/ 1320201 h 5282095"/>
              <a:gd name="connsiteX14132" fmla="*/ 1812499 w 7714416"/>
              <a:gd name="connsiteY14132" fmla="*/ 1318741 h 5282095"/>
              <a:gd name="connsiteX14133" fmla="*/ 5573514 w 7714416"/>
              <a:gd name="connsiteY14133" fmla="*/ 1317936 h 5282095"/>
              <a:gd name="connsiteX14134" fmla="*/ 5590982 w 7714416"/>
              <a:gd name="connsiteY14134" fmla="*/ 1351253 h 5282095"/>
              <a:gd name="connsiteX14135" fmla="*/ 5573514 w 7714416"/>
              <a:gd name="connsiteY14135" fmla="*/ 1317936 h 5282095"/>
              <a:gd name="connsiteX14136" fmla="*/ 1889074 w 7714416"/>
              <a:gd name="connsiteY14136" fmla="*/ 1317408 h 5282095"/>
              <a:gd name="connsiteX14137" fmla="*/ 1898787 w 7714416"/>
              <a:gd name="connsiteY14137" fmla="*/ 1319896 h 5282095"/>
              <a:gd name="connsiteX14138" fmla="*/ 1900132 w 7714416"/>
              <a:gd name="connsiteY14138" fmla="*/ 1321521 h 5282095"/>
              <a:gd name="connsiteX14139" fmla="*/ 1901008 w 7714416"/>
              <a:gd name="connsiteY14139" fmla="*/ 1322676 h 5282095"/>
              <a:gd name="connsiteX14140" fmla="*/ 1903448 w 7714416"/>
              <a:gd name="connsiteY14140" fmla="*/ 1325746 h 5282095"/>
              <a:gd name="connsiteX14141" fmla="*/ 1898551 w 7714416"/>
              <a:gd name="connsiteY14141" fmla="*/ 1327423 h 5282095"/>
              <a:gd name="connsiteX14142" fmla="*/ 1893847 w 7714416"/>
              <a:gd name="connsiteY14142" fmla="*/ 1326163 h 5282095"/>
              <a:gd name="connsiteX14143" fmla="*/ 1889074 w 7714416"/>
              <a:gd name="connsiteY14143" fmla="*/ 1317408 h 5282095"/>
              <a:gd name="connsiteX14144" fmla="*/ 1306453 w 7714416"/>
              <a:gd name="connsiteY14144" fmla="*/ 1316893 h 5282095"/>
              <a:gd name="connsiteX14145" fmla="*/ 1308141 w 7714416"/>
              <a:gd name="connsiteY14145" fmla="*/ 1317231 h 5282095"/>
              <a:gd name="connsiteX14146" fmla="*/ 1303851 w 7714416"/>
              <a:gd name="connsiteY14146" fmla="*/ 1331031 h 5282095"/>
              <a:gd name="connsiteX14147" fmla="*/ 1301265 w 7714416"/>
              <a:gd name="connsiteY14147" fmla="*/ 1331832 h 5282095"/>
              <a:gd name="connsiteX14148" fmla="*/ 1297429 w 7714416"/>
              <a:gd name="connsiteY14148" fmla="*/ 1329541 h 5282095"/>
              <a:gd name="connsiteX14149" fmla="*/ 1297846 w 7714416"/>
              <a:gd name="connsiteY14149" fmla="*/ 1323557 h 5282095"/>
              <a:gd name="connsiteX14150" fmla="*/ 1304702 w 7714416"/>
              <a:gd name="connsiteY14150" fmla="*/ 1320104 h 5282095"/>
              <a:gd name="connsiteX14151" fmla="*/ 1306453 w 7714416"/>
              <a:gd name="connsiteY14151" fmla="*/ 1316893 h 5282095"/>
              <a:gd name="connsiteX14152" fmla="*/ 1930588 w 7714416"/>
              <a:gd name="connsiteY14152" fmla="*/ 1313007 h 5282095"/>
              <a:gd name="connsiteX14153" fmla="*/ 1944781 w 7714416"/>
              <a:gd name="connsiteY14153" fmla="*/ 1319800 h 5282095"/>
              <a:gd name="connsiteX14154" fmla="*/ 1941845 w 7714416"/>
              <a:gd name="connsiteY14154" fmla="*/ 1325224 h 5282095"/>
              <a:gd name="connsiteX14155" fmla="*/ 1932233 w 7714416"/>
              <a:gd name="connsiteY14155" fmla="*/ 1326787 h 5282095"/>
              <a:gd name="connsiteX14156" fmla="*/ 1925610 w 7714416"/>
              <a:gd name="connsiteY14156" fmla="*/ 1326048 h 5282095"/>
              <a:gd name="connsiteX14157" fmla="*/ 1925007 w 7714416"/>
              <a:gd name="connsiteY14157" fmla="*/ 1328302 h 5282095"/>
              <a:gd name="connsiteX14158" fmla="*/ 1919307 w 7714416"/>
              <a:gd name="connsiteY14158" fmla="*/ 1329649 h 5282095"/>
              <a:gd name="connsiteX14159" fmla="*/ 1915455 w 7714416"/>
              <a:gd name="connsiteY14159" fmla="*/ 1326318 h 5282095"/>
              <a:gd name="connsiteX14160" fmla="*/ 1919188 w 7714416"/>
              <a:gd name="connsiteY14160" fmla="*/ 1324558 h 5282095"/>
              <a:gd name="connsiteX14161" fmla="*/ 1917806 w 7714416"/>
              <a:gd name="connsiteY14161" fmla="*/ 1324187 h 5282095"/>
              <a:gd name="connsiteX14162" fmla="*/ 1921424 w 7714416"/>
              <a:gd name="connsiteY14162" fmla="*/ 1314002 h 5282095"/>
              <a:gd name="connsiteX14163" fmla="*/ 1930588 w 7714416"/>
              <a:gd name="connsiteY14163" fmla="*/ 1313007 h 5282095"/>
              <a:gd name="connsiteX14164" fmla="*/ 5488537 w 7714416"/>
              <a:gd name="connsiteY14164" fmla="*/ 1312993 h 5282095"/>
              <a:gd name="connsiteX14165" fmla="*/ 5494208 w 7714416"/>
              <a:gd name="connsiteY14165" fmla="*/ 1320608 h 5282095"/>
              <a:gd name="connsiteX14166" fmla="*/ 5490208 w 7714416"/>
              <a:gd name="connsiteY14166" fmla="*/ 1321146 h 5282095"/>
              <a:gd name="connsiteX14167" fmla="*/ 5484556 w 7714416"/>
              <a:gd name="connsiteY14167" fmla="*/ 1314571 h 5282095"/>
              <a:gd name="connsiteX14168" fmla="*/ 5488537 w 7714416"/>
              <a:gd name="connsiteY14168" fmla="*/ 1312993 h 5282095"/>
              <a:gd name="connsiteX14169" fmla="*/ 5835291 w 7714416"/>
              <a:gd name="connsiteY14169" fmla="*/ 1312754 h 5282095"/>
              <a:gd name="connsiteX14170" fmla="*/ 5829606 w 7714416"/>
              <a:gd name="connsiteY14170" fmla="*/ 1336186 h 5282095"/>
              <a:gd name="connsiteX14171" fmla="*/ 5825430 w 7714416"/>
              <a:gd name="connsiteY14171" fmla="*/ 1314137 h 5282095"/>
              <a:gd name="connsiteX14172" fmla="*/ 5835291 w 7714416"/>
              <a:gd name="connsiteY14172" fmla="*/ 1312754 h 5282095"/>
              <a:gd name="connsiteX14173" fmla="*/ 1668932 w 7714416"/>
              <a:gd name="connsiteY14173" fmla="*/ 1311092 h 5282095"/>
              <a:gd name="connsiteX14174" fmla="*/ 1680777 w 7714416"/>
              <a:gd name="connsiteY14174" fmla="*/ 1320017 h 5282095"/>
              <a:gd name="connsiteX14175" fmla="*/ 1635756 w 7714416"/>
              <a:gd name="connsiteY14175" fmla="*/ 1337509 h 5282095"/>
              <a:gd name="connsiteX14176" fmla="*/ 1668932 w 7714416"/>
              <a:gd name="connsiteY14176" fmla="*/ 1311092 h 5282095"/>
              <a:gd name="connsiteX14177" fmla="*/ 5920764 w 7714416"/>
              <a:gd name="connsiteY14177" fmla="*/ 1309206 h 5282095"/>
              <a:gd name="connsiteX14178" fmla="*/ 5928325 w 7714416"/>
              <a:gd name="connsiteY14178" fmla="*/ 1316407 h 5282095"/>
              <a:gd name="connsiteX14179" fmla="*/ 5925935 w 7714416"/>
              <a:gd name="connsiteY14179" fmla="*/ 1319792 h 5282095"/>
              <a:gd name="connsiteX14180" fmla="*/ 5917908 w 7714416"/>
              <a:gd name="connsiteY14180" fmla="*/ 1320976 h 5282095"/>
              <a:gd name="connsiteX14181" fmla="*/ 5915151 w 7714416"/>
              <a:gd name="connsiteY14181" fmla="*/ 1319087 h 5282095"/>
              <a:gd name="connsiteX14182" fmla="*/ 5915981 w 7714416"/>
              <a:gd name="connsiteY14182" fmla="*/ 1310455 h 5282095"/>
              <a:gd name="connsiteX14183" fmla="*/ 5920764 w 7714416"/>
              <a:gd name="connsiteY14183" fmla="*/ 1309206 h 5282095"/>
              <a:gd name="connsiteX14184" fmla="*/ 1698827 w 7714416"/>
              <a:gd name="connsiteY14184" fmla="*/ 1309098 h 5282095"/>
              <a:gd name="connsiteX14185" fmla="*/ 1698411 w 7714416"/>
              <a:gd name="connsiteY14185" fmla="*/ 1315081 h 5282095"/>
              <a:gd name="connsiteX14186" fmla="*/ 1692874 w 7714416"/>
              <a:gd name="connsiteY14186" fmla="*/ 1316933 h 5282095"/>
              <a:gd name="connsiteX14187" fmla="*/ 1685211 w 7714416"/>
              <a:gd name="connsiteY14187" fmla="*/ 1314534 h 5282095"/>
              <a:gd name="connsiteX14188" fmla="*/ 1686623 w 7714416"/>
              <a:gd name="connsiteY14188" fmla="*/ 1314798 h 5282095"/>
              <a:gd name="connsiteX14189" fmla="*/ 1686951 w 7714416"/>
              <a:gd name="connsiteY14189" fmla="*/ 1312470 h 5282095"/>
              <a:gd name="connsiteX14190" fmla="*/ 1685262 w 7714416"/>
              <a:gd name="connsiteY14190" fmla="*/ 1312133 h 5282095"/>
              <a:gd name="connsiteX14191" fmla="*/ 1687001 w 7714416"/>
              <a:gd name="connsiteY14191" fmla="*/ 1310069 h 5282095"/>
              <a:gd name="connsiteX14192" fmla="*/ 1698827 w 7714416"/>
              <a:gd name="connsiteY14192" fmla="*/ 1309098 h 5282095"/>
              <a:gd name="connsiteX14193" fmla="*/ 1902169 w 7714416"/>
              <a:gd name="connsiteY14193" fmla="*/ 1308382 h 5282095"/>
              <a:gd name="connsiteX14194" fmla="*/ 1907441 w 7714416"/>
              <a:gd name="connsiteY14194" fmla="*/ 1314165 h 5282095"/>
              <a:gd name="connsiteX14195" fmla="*/ 1905928 w 7714416"/>
              <a:gd name="connsiteY14195" fmla="*/ 1318704 h 5282095"/>
              <a:gd name="connsiteX14196" fmla="*/ 1902169 w 7714416"/>
              <a:gd name="connsiteY14196" fmla="*/ 1308382 h 5282095"/>
              <a:gd name="connsiteX14197" fmla="*/ 1259754 w 7714416"/>
              <a:gd name="connsiteY14197" fmla="*/ 1306752 h 5282095"/>
              <a:gd name="connsiteX14198" fmla="*/ 1262026 w 7714416"/>
              <a:gd name="connsiteY14198" fmla="*/ 1315569 h 5282095"/>
              <a:gd name="connsiteX14199" fmla="*/ 1254490 w 7714416"/>
              <a:gd name="connsiteY14199" fmla="*/ 1320449 h 5282095"/>
              <a:gd name="connsiteX14200" fmla="*/ 1250655 w 7714416"/>
              <a:gd name="connsiteY14200" fmla="*/ 1318158 h 5282095"/>
              <a:gd name="connsiteX14201" fmla="*/ 1250189 w 7714416"/>
              <a:gd name="connsiteY14201" fmla="*/ 1317687 h 5282095"/>
              <a:gd name="connsiteX14202" fmla="*/ 1243160 w 7714416"/>
              <a:gd name="connsiteY14202" fmla="*/ 1321783 h 5282095"/>
              <a:gd name="connsiteX14203" fmla="*/ 1240148 w 7714416"/>
              <a:gd name="connsiteY14203" fmla="*/ 1317527 h 5282095"/>
              <a:gd name="connsiteX14204" fmla="*/ 1242207 w 7714416"/>
              <a:gd name="connsiteY14204" fmla="*/ 1310949 h 5282095"/>
              <a:gd name="connsiteX14205" fmla="*/ 1245445 w 7714416"/>
              <a:gd name="connsiteY14205" fmla="*/ 1308826 h 5282095"/>
              <a:gd name="connsiteX14206" fmla="*/ 1245019 w 7714416"/>
              <a:gd name="connsiteY14206" fmla="*/ 1307102 h 5282095"/>
              <a:gd name="connsiteX14207" fmla="*/ 1259754 w 7714416"/>
              <a:gd name="connsiteY14207" fmla="*/ 1306752 h 5282095"/>
              <a:gd name="connsiteX14208" fmla="*/ 1067592 w 7714416"/>
              <a:gd name="connsiteY14208" fmla="*/ 1304066 h 5282095"/>
              <a:gd name="connsiteX14209" fmla="*/ 1074546 w 7714416"/>
              <a:gd name="connsiteY14209" fmla="*/ 1307999 h 5282095"/>
              <a:gd name="connsiteX14210" fmla="*/ 1063639 w 7714416"/>
              <a:gd name="connsiteY14210" fmla="*/ 1314392 h 5282095"/>
              <a:gd name="connsiteX14211" fmla="*/ 1059136 w 7714416"/>
              <a:gd name="connsiteY14211" fmla="*/ 1312380 h 5282095"/>
              <a:gd name="connsiteX14212" fmla="*/ 1062123 w 7714416"/>
              <a:gd name="connsiteY14212" fmla="*/ 1304556 h 5282095"/>
              <a:gd name="connsiteX14213" fmla="*/ 1067592 w 7714416"/>
              <a:gd name="connsiteY14213" fmla="*/ 1304066 h 5282095"/>
              <a:gd name="connsiteX14214" fmla="*/ 5735488 w 7714416"/>
              <a:gd name="connsiteY14214" fmla="*/ 1303377 h 5282095"/>
              <a:gd name="connsiteX14215" fmla="*/ 5765119 w 7714416"/>
              <a:gd name="connsiteY14215" fmla="*/ 1323392 h 5282095"/>
              <a:gd name="connsiteX14216" fmla="*/ 5723057 w 7714416"/>
              <a:gd name="connsiteY14216" fmla="*/ 1333166 h 5282095"/>
              <a:gd name="connsiteX14217" fmla="*/ 5711123 w 7714416"/>
              <a:gd name="connsiteY14217" fmla="*/ 1327899 h 5282095"/>
              <a:gd name="connsiteX14218" fmla="*/ 5707176 w 7714416"/>
              <a:gd name="connsiteY14218" fmla="*/ 1322701 h 5282095"/>
              <a:gd name="connsiteX14219" fmla="*/ 5735488 w 7714416"/>
              <a:gd name="connsiteY14219" fmla="*/ 1303377 h 5282095"/>
              <a:gd name="connsiteX14220" fmla="*/ 1898223 w 7714416"/>
              <a:gd name="connsiteY14220" fmla="*/ 1303185 h 5282095"/>
              <a:gd name="connsiteX14221" fmla="*/ 1900466 w 7714416"/>
              <a:gd name="connsiteY14221" fmla="*/ 1303671 h 5282095"/>
              <a:gd name="connsiteX14222" fmla="*/ 1901457 w 7714416"/>
              <a:gd name="connsiteY14222" fmla="*/ 1304397 h 5282095"/>
              <a:gd name="connsiteX14223" fmla="*/ 1902198 w 7714416"/>
              <a:gd name="connsiteY14223" fmla="*/ 1308275 h 5282095"/>
              <a:gd name="connsiteX14224" fmla="*/ 1897907 w 7714416"/>
              <a:gd name="connsiteY14224" fmla="*/ 1304365 h 5282095"/>
              <a:gd name="connsiteX14225" fmla="*/ 1899827 w 7714416"/>
              <a:gd name="connsiteY14225" fmla="*/ 1303844 h 5282095"/>
              <a:gd name="connsiteX14226" fmla="*/ 1898223 w 7714416"/>
              <a:gd name="connsiteY14226" fmla="*/ 1303185 h 5282095"/>
              <a:gd name="connsiteX14227" fmla="*/ 1717694 w 7714416"/>
              <a:gd name="connsiteY14227" fmla="*/ 1302883 h 5282095"/>
              <a:gd name="connsiteX14228" fmla="*/ 1719324 w 7714416"/>
              <a:gd name="connsiteY14228" fmla="*/ 1303435 h 5282095"/>
              <a:gd name="connsiteX14229" fmla="*/ 1725489 w 7714416"/>
              <a:gd name="connsiteY14229" fmla="*/ 1305891 h 5282095"/>
              <a:gd name="connsiteX14230" fmla="*/ 1726674 w 7714416"/>
              <a:gd name="connsiteY14230" fmla="*/ 1312534 h 5282095"/>
              <a:gd name="connsiteX14231" fmla="*/ 1720374 w 7714416"/>
              <a:gd name="connsiteY14231" fmla="*/ 1312800 h 5282095"/>
              <a:gd name="connsiteX14232" fmla="*/ 1716397 w 7714416"/>
              <a:gd name="connsiteY14232" fmla="*/ 1311045 h 5282095"/>
              <a:gd name="connsiteX14233" fmla="*/ 1714657 w 7714416"/>
              <a:gd name="connsiteY14233" fmla="*/ 1304255 h 5282095"/>
              <a:gd name="connsiteX14234" fmla="*/ 1717694 w 7714416"/>
              <a:gd name="connsiteY14234" fmla="*/ 1302883 h 5282095"/>
              <a:gd name="connsiteX14235" fmla="*/ 1986568 w 7714416"/>
              <a:gd name="connsiteY14235" fmla="*/ 1301097 h 5282095"/>
              <a:gd name="connsiteX14236" fmla="*/ 1992454 w 7714416"/>
              <a:gd name="connsiteY14236" fmla="*/ 1303478 h 5282095"/>
              <a:gd name="connsiteX14237" fmla="*/ 1994276 w 7714416"/>
              <a:gd name="connsiteY14237" fmla="*/ 1304427 h 5282095"/>
              <a:gd name="connsiteX14238" fmla="*/ 1994334 w 7714416"/>
              <a:gd name="connsiteY14238" fmla="*/ 1304212 h 5282095"/>
              <a:gd name="connsiteX14239" fmla="*/ 1999038 w 7714416"/>
              <a:gd name="connsiteY14239" fmla="*/ 1305472 h 5282095"/>
              <a:gd name="connsiteX14240" fmla="*/ 2000479 w 7714416"/>
              <a:gd name="connsiteY14240" fmla="*/ 1305629 h 5282095"/>
              <a:gd name="connsiteX14241" fmla="*/ 2000669 w 7714416"/>
              <a:gd name="connsiteY14241" fmla="*/ 1306025 h 5282095"/>
              <a:gd name="connsiteX14242" fmla="*/ 2002606 w 7714416"/>
              <a:gd name="connsiteY14242" fmla="*/ 1306543 h 5282095"/>
              <a:gd name="connsiteX14243" fmla="*/ 1998880 w 7714416"/>
              <a:gd name="connsiteY14243" fmla="*/ 1310490 h 5282095"/>
              <a:gd name="connsiteX14244" fmla="*/ 1993611 w 7714416"/>
              <a:gd name="connsiteY14244" fmla="*/ 1310229 h 5282095"/>
              <a:gd name="connsiteX14245" fmla="*/ 1992763 w 7714416"/>
              <a:gd name="connsiteY14245" fmla="*/ 1308966 h 5282095"/>
              <a:gd name="connsiteX14246" fmla="*/ 1993927 w 7714416"/>
              <a:gd name="connsiteY14246" fmla="*/ 1309048 h 5282095"/>
              <a:gd name="connsiteX14247" fmla="*/ 1994081 w 7714416"/>
              <a:gd name="connsiteY14247" fmla="*/ 1307365 h 5282095"/>
              <a:gd name="connsiteX14248" fmla="*/ 1991361 w 7714416"/>
              <a:gd name="connsiteY14248" fmla="*/ 1307555 h 5282095"/>
              <a:gd name="connsiteX14249" fmla="*/ 1981961 w 7714416"/>
              <a:gd name="connsiteY14249" fmla="*/ 1307222 h 5282095"/>
              <a:gd name="connsiteX14250" fmla="*/ 1979176 w 7714416"/>
              <a:gd name="connsiteY14250" fmla="*/ 1305440 h 5282095"/>
              <a:gd name="connsiteX14251" fmla="*/ 1979151 w 7714416"/>
              <a:gd name="connsiteY14251" fmla="*/ 1302214 h 5282095"/>
              <a:gd name="connsiteX14252" fmla="*/ 1986568 w 7714416"/>
              <a:gd name="connsiteY14252" fmla="*/ 1301097 h 5282095"/>
              <a:gd name="connsiteX14253" fmla="*/ 5548938 w 7714416"/>
              <a:gd name="connsiteY14253" fmla="*/ 1300081 h 5282095"/>
              <a:gd name="connsiteX14254" fmla="*/ 5563693 w 7714416"/>
              <a:gd name="connsiteY14254" fmla="*/ 1300356 h 5282095"/>
              <a:gd name="connsiteX14255" fmla="*/ 5556484 w 7714416"/>
              <a:gd name="connsiteY14255" fmla="*/ 1302909 h 5282095"/>
              <a:gd name="connsiteX14256" fmla="*/ 5548938 w 7714416"/>
              <a:gd name="connsiteY14256" fmla="*/ 1300081 h 5282095"/>
              <a:gd name="connsiteX14257" fmla="*/ 1273946 w 7714416"/>
              <a:gd name="connsiteY14257" fmla="*/ 1298753 h 5282095"/>
              <a:gd name="connsiteX14258" fmla="*/ 1287422 w 7714416"/>
              <a:gd name="connsiteY14258" fmla="*/ 1299374 h 5282095"/>
              <a:gd name="connsiteX14259" fmla="*/ 1295859 w 7714416"/>
              <a:gd name="connsiteY14259" fmla="*/ 1298875 h 5282095"/>
              <a:gd name="connsiteX14260" fmla="*/ 1285683 w 7714416"/>
              <a:gd name="connsiteY14260" fmla="*/ 1301437 h 5282095"/>
              <a:gd name="connsiteX14261" fmla="*/ 1283684 w 7714416"/>
              <a:gd name="connsiteY14261" fmla="*/ 1304467 h 5282095"/>
              <a:gd name="connsiteX14262" fmla="*/ 1273836 w 7714416"/>
              <a:gd name="connsiteY14262" fmla="*/ 1304703 h 5282095"/>
              <a:gd name="connsiteX14263" fmla="*/ 1273946 w 7714416"/>
              <a:gd name="connsiteY14263" fmla="*/ 1298753 h 5282095"/>
              <a:gd name="connsiteX14264" fmla="*/ 5636222 w 7714416"/>
              <a:gd name="connsiteY14264" fmla="*/ 1298629 h 5282095"/>
              <a:gd name="connsiteX14265" fmla="*/ 5646644 w 7714416"/>
              <a:gd name="connsiteY14265" fmla="*/ 1299581 h 5282095"/>
              <a:gd name="connsiteX14266" fmla="*/ 5639148 w 7714416"/>
              <a:gd name="connsiteY14266" fmla="*/ 1303208 h 5282095"/>
              <a:gd name="connsiteX14267" fmla="*/ 5636222 w 7714416"/>
              <a:gd name="connsiteY14267" fmla="*/ 1298629 h 5282095"/>
              <a:gd name="connsiteX14268" fmla="*/ 5383013 w 7714416"/>
              <a:gd name="connsiteY14268" fmla="*/ 1298404 h 5282095"/>
              <a:gd name="connsiteX14269" fmla="*/ 5386962 w 7714416"/>
              <a:gd name="connsiteY14269" fmla="*/ 1300266 h 5282095"/>
              <a:gd name="connsiteX14270" fmla="*/ 5387066 w 7714416"/>
              <a:gd name="connsiteY14270" fmla="*/ 1300984 h 5282095"/>
              <a:gd name="connsiteX14271" fmla="*/ 5396208 w 7714416"/>
              <a:gd name="connsiteY14271" fmla="*/ 1302283 h 5282095"/>
              <a:gd name="connsiteX14272" fmla="*/ 5392823 w 7714416"/>
              <a:gd name="connsiteY14272" fmla="*/ 1308276 h 5282095"/>
              <a:gd name="connsiteX14273" fmla="*/ 5391353 w 7714416"/>
              <a:gd name="connsiteY14273" fmla="*/ 1308228 h 5282095"/>
              <a:gd name="connsiteX14274" fmla="*/ 5395273 w 7714416"/>
              <a:gd name="connsiteY14274" fmla="*/ 1310199 h 5282095"/>
              <a:gd name="connsiteX14275" fmla="*/ 5418685 w 7714416"/>
              <a:gd name="connsiteY14275" fmla="*/ 1319117 h 5282095"/>
              <a:gd name="connsiteX14276" fmla="*/ 5416414 w 7714416"/>
              <a:gd name="connsiteY14276" fmla="*/ 1327593 h 5282095"/>
              <a:gd name="connsiteX14277" fmla="*/ 5414208 w 7714416"/>
              <a:gd name="connsiteY14277" fmla="*/ 1329187 h 5282095"/>
              <a:gd name="connsiteX14278" fmla="*/ 5416680 w 7714416"/>
              <a:gd name="connsiteY14278" fmla="*/ 1328815 h 5282095"/>
              <a:gd name="connsiteX14279" fmla="*/ 5419261 w 7714416"/>
              <a:gd name="connsiteY14279" fmla="*/ 1334680 h 5282095"/>
              <a:gd name="connsiteX14280" fmla="*/ 5411940 w 7714416"/>
              <a:gd name="connsiteY14280" fmla="*/ 1334330 h 5282095"/>
              <a:gd name="connsiteX14281" fmla="*/ 5410320 w 7714416"/>
              <a:gd name="connsiteY14281" fmla="*/ 1332629 h 5282095"/>
              <a:gd name="connsiteX14282" fmla="*/ 5408918 w 7714416"/>
              <a:gd name="connsiteY14282" fmla="*/ 1331219 h 5282095"/>
              <a:gd name="connsiteX14283" fmla="*/ 5405386 w 7714416"/>
              <a:gd name="connsiteY14283" fmla="*/ 1332228 h 5282095"/>
              <a:gd name="connsiteX14284" fmla="*/ 5389764 w 7714416"/>
              <a:gd name="connsiteY14284" fmla="*/ 1329652 h 5282095"/>
              <a:gd name="connsiteX14285" fmla="*/ 5387475 w 7714416"/>
              <a:gd name="connsiteY14285" fmla="*/ 1328234 h 5282095"/>
              <a:gd name="connsiteX14286" fmla="*/ 5387389 w 7714416"/>
              <a:gd name="connsiteY14286" fmla="*/ 1328556 h 5282095"/>
              <a:gd name="connsiteX14287" fmla="*/ 5384837 w 7714416"/>
              <a:gd name="connsiteY14287" fmla="*/ 1331437 h 5282095"/>
              <a:gd name="connsiteX14288" fmla="*/ 5387691 w 7714416"/>
              <a:gd name="connsiteY14288" fmla="*/ 1331856 h 5282095"/>
              <a:gd name="connsiteX14289" fmla="*/ 5376608 w 7714416"/>
              <a:gd name="connsiteY14289" fmla="*/ 1351082 h 5282095"/>
              <a:gd name="connsiteX14290" fmla="*/ 5374096 w 7714416"/>
              <a:gd name="connsiteY14290" fmla="*/ 1352710 h 5282095"/>
              <a:gd name="connsiteX14291" fmla="*/ 5372817 w 7714416"/>
              <a:gd name="connsiteY14291" fmla="*/ 1353057 h 5282095"/>
              <a:gd name="connsiteX14292" fmla="*/ 5371796 w 7714416"/>
              <a:gd name="connsiteY14292" fmla="*/ 1352439 h 5282095"/>
              <a:gd name="connsiteX14293" fmla="*/ 5370689 w 7714416"/>
              <a:gd name="connsiteY14293" fmla="*/ 1352141 h 5282095"/>
              <a:gd name="connsiteX14294" fmla="*/ 5370822 w 7714416"/>
              <a:gd name="connsiteY14294" fmla="*/ 1352751 h 5282095"/>
              <a:gd name="connsiteX14295" fmla="*/ 5368871 w 7714416"/>
              <a:gd name="connsiteY14295" fmla="*/ 1356714 h 5282095"/>
              <a:gd name="connsiteX14296" fmla="*/ 5372163 w 7714416"/>
              <a:gd name="connsiteY14296" fmla="*/ 1357711 h 5282095"/>
              <a:gd name="connsiteX14297" fmla="*/ 5378013 w 7714416"/>
              <a:gd name="connsiteY14297" fmla="*/ 1358014 h 5282095"/>
              <a:gd name="connsiteX14298" fmla="*/ 5380072 w 7714416"/>
              <a:gd name="connsiteY14298" fmla="*/ 1360291 h 5282095"/>
              <a:gd name="connsiteX14299" fmla="*/ 5375288 w 7714416"/>
              <a:gd name="connsiteY14299" fmla="*/ 1361540 h 5282095"/>
              <a:gd name="connsiteX14300" fmla="*/ 5371466 w 7714416"/>
              <a:gd name="connsiteY14300" fmla="*/ 1358099 h 5282095"/>
              <a:gd name="connsiteX14301" fmla="*/ 5368364 w 7714416"/>
              <a:gd name="connsiteY14301" fmla="*/ 1357499 h 5282095"/>
              <a:gd name="connsiteX14302" fmla="*/ 5365993 w 7714416"/>
              <a:gd name="connsiteY14302" fmla="*/ 1361923 h 5282095"/>
              <a:gd name="connsiteX14303" fmla="*/ 5355524 w 7714416"/>
              <a:gd name="connsiteY14303" fmla="*/ 1368894 h 5282095"/>
              <a:gd name="connsiteX14304" fmla="*/ 5358071 w 7714416"/>
              <a:gd name="connsiteY14304" fmla="*/ 1369346 h 5282095"/>
              <a:gd name="connsiteX14305" fmla="*/ 5362574 w 7714416"/>
              <a:gd name="connsiteY14305" fmla="*/ 1371357 h 5282095"/>
              <a:gd name="connsiteX14306" fmla="*/ 5362783 w 7714416"/>
              <a:gd name="connsiteY14306" fmla="*/ 1372793 h 5282095"/>
              <a:gd name="connsiteX14307" fmla="*/ 5364835 w 7714416"/>
              <a:gd name="connsiteY14307" fmla="*/ 1372884 h 5282095"/>
              <a:gd name="connsiteX14308" fmla="*/ 5372468 w 7714416"/>
              <a:gd name="connsiteY14308" fmla="*/ 1375389 h 5282095"/>
              <a:gd name="connsiteX14309" fmla="*/ 5362905 w 7714416"/>
              <a:gd name="connsiteY14309" fmla="*/ 1374551 h 5282095"/>
              <a:gd name="connsiteX14310" fmla="*/ 5362351 w 7714416"/>
              <a:gd name="connsiteY14310" fmla="*/ 1374403 h 5282095"/>
              <a:gd name="connsiteX14311" fmla="*/ 5362064 w 7714416"/>
              <a:gd name="connsiteY14311" fmla="*/ 1375476 h 5282095"/>
              <a:gd name="connsiteX14312" fmla="*/ 5363858 w 7714416"/>
              <a:gd name="connsiteY14312" fmla="*/ 1376532 h 5282095"/>
              <a:gd name="connsiteX14313" fmla="*/ 5362330 w 7714416"/>
              <a:gd name="connsiteY14313" fmla="*/ 1376697 h 5282095"/>
              <a:gd name="connsiteX14314" fmla="*/ 5361622 w 7714416"/>
              <a:gd name="connsiteY14314" fmla="*/ 1378233 h 5282095"/>
              <a:gd name="connsiteX14315" fmla="*/ 5354036 w 7714416"/>
              <a:gd name="connsiteY14315" fmla="*/ 1376659 h 5282095"/>
              <a:gd name="connsiteX14316" fmla="*/ 5354065 w 7714416"/>
              <a:gd name="connsiteY14316" fmla="*/ 1376553 h 5282095"/>
              <a:gd name="connsiteX14317" fmla="*/ 5345210 w 7714416"/>
              <a:gd name="connsiteY14317" fmla="*/ 1383035 h 5282095"/>
              <a:gd name="connsiteX14318" fmla="*/ 5341240 w 7714416"/>
              <a:gd name="connsiteY14318" fmla="*/ 1383465 h 5282095"/>
              <a:gd name="connsiteX14319" fmla="*/ 5339528 w 7714416"/>
              <a:gd name="connsiteY14319" fmla="*/ 1385423 h 5282095"/>
              <a:gd name="connsiteX14320" fmla="*/ 5338519 w 7714416"/>
              <a:gd name="connsiteY14320" fmla="*/ 1383657 h 5282095"/>
              <a:gd name="connsiteX14321" fmla="*/ 5338156 w 7714416"/>
              <a:gd name="connsiteY14321" fmla="*/ 1383905 h 5282095"/>
              <a:gd name="connsiteX14322" fmla="*/ 5338023 w 7714416"/>
              <a:gd name="connsiteY14322" fmla="*/ 1383295 h 5282095"/>
              <a:gd name="connsiteX14323" fmla="*/ 5336887 w 7714416"/>
              <a:gd name="connsiteY14323" fmla="*/ 1383106 h 5282095"/>
              <a:gd name="connsiteX14324" fmla="*/ 5333244 w 7714416"/>
              <a:gd name="connsiteY14324" fmla="*/ 1381209 h 5282095"/>
              <a:gd name="connsiteX14325" fmla="*/ 5335015 w 7714416"/>
              <a:gd name="connsiteY14325" fmla="*/ 1375704 h 5282095"/>
              <a:gd name="connsiteX14326" fmla="*/ 5344006 w 7714416"/>
              <a:gd name="connsiteY14326" fmla="*/ 1375353 h 5282095"/>
              <a:gd name="connsiteX14327" fmla="*/ 5349648 w 7714416"/>
              <a:gd name="connsiteY14327" fmla="*/ 1374220 h 5282095"/>
              <a:gd name="connsiteX14328" fmla="*/ 5353044 w 7714416"/>
              <a:gd name="connsiteY14328" fmla="*/ 1375934 h 5282095"/>
              <a:gd name="connsiteX14329" fmla="*/ 5351061 w 7714416"/>
              <a:gd name="connsiteY14329" fmla="*/ 1374482 h 5282095"/>
              <a:gd name="connsiteX14330" fmla="*/ 5349976 w 7714416"/>
              <a:gd name="connsiteY14330" fmla="*/ 1371892 h 5282095"/>
              <a:gd name="connsiteX14331" fmla="*/ 5352182 w 7714416"/>
              <a:gd name="connsiteY14331" fmla="*/ 1370298 h 5282095"/>
              <a:gd name="connsiteX14332" fmla="*/ 5354608 w 7714416"/>
              <a:gd name="connsiteY14332" fmla="*/ 1368992 h 5282095"/>
              <a:gd name="connsiteX14333" fmla="*/ 5344395 w 7714416"/>
              <a:gd name="connsiteY14333" fmla="*/ 1369476 h 5282095"/>
              <a:gd name="connsiteX14334" fmla="*/ 5352872 w 7714416"/>
              <a:gd name="connsiteY14334" fmla="*/ 1358868 h 5282095"/>
              <a:gd name="connsiteX14335" fmla="*/ 5356268 w 7714416"/>
              <a:gd name="connsiteY14335" fmla="*/ 1351728 h 5282095"/>
              <a:gd name="connsiteX14336" fmla="*/ 5355247 w 7714416"/>
              <a:gd name="connsiteY14336" fmla="*/ 1351109 h 5282095"/>
              <a:gd name="connsiteX14337" fmla="*/ 5353444 w 7714416"/>
              <a:gd name="connsiteY14337" fmla="*/ 1351201 h 5282095"/>
              <a:gd name="connsiteX14338" fmla="*/ 5353081 w 7714416"/>
              <a:gd name="connsiteY14338" fmla="*/ 1351448 h 5282095"/>
              <a:gd name="connsiteX14339" fmla="*/ 5345264 w 7714416"/>
              <a:gd name="connsiteY14339" fmla="*/ 1359589 h 5282095"/>
              <a:gd name="connsiteX14340" fmla="*/ 5343950 w 7714416"/>
              <a:gd name="connsiteY14340" fmla="*/ 1357857 h 5282095"/>
              <a:gd name="connsiteX14341" fmla="*/ 5348319 w 7714416"/>
              <a:gd name="connsiteY14341" fmla="*/ 1350402 h 5282095"/>
              <a:gd name="connsiteX14342" fmla="*/ 5349304 w 7714416"/>
              <a:gd name="connsiteY14342" fmla="*/ 1348941 h 5282095"/>
              <a:gd name="connsiteX14343" fmla="*/ 5345200 w 7714416"/>
              <a:gd name="connsiteY14343" fmla="*/ 1348762 h 5282095"/>
              <a:gd name="connsiteX14344" fmla="*/ 5318287 w 7714416"/>
              <a:gd name="connsiteY14344" fmla="*/ 1346266 h 5282095"/>
              <a:gd name="connsiteX14345" fmla="*/ 5310856 w 7714416"/>
              <a:gd name="connsiteY14345" fmla="*/ 1343009 h 5282095"/>
              <a:gd name="connsiteX14346" fmla="*/ 5311690 w 7714416"/>
              <a:gd name="connsiteY14346" fmla="*/ 1348752 h 5282095"/>
              <a:gd name="connsiteX14347" fmla="*/ 5311956 w 7714416"/>
              <a:gd name="connsiteY14347" fmla="*/ 1349974 h 5282095"/>
              <a:gd name="connsiteX14348" fmla="*/ 5316106 w 7714416"/>
              <a:gd name="connsiteY14348" fmla="*/ 1351086 h 5282095"/>
              <a:gd name="connsiteX14349" fmla="*/ 5321633 w 7714416"/>
              <a:gd name="connsiteY14349" fmla="*/ 1359237 h 5282095"/>
              <a:gd name="connsiteX14350" fmla="*/ 5318407 w 7714416"/>
              <a:gd name="connsiteY14350" fmla="*/ 1360212 h 5282095"/>
              <a:gd name="connsiteX14351" fmla="*/ 5313806 w 7714416"/>
              <a:gd name="connsiteY14351" fmla="*/ 1359670 h 5282095"/>
              <a:gd name="connsiteX14352" fmla="*/ 5314449 w 7714416"/>
              <a:gd name="connsiteY14352" fmla="*/ 1365018 h 5282095"/>
              <a:gd name="connsiteX14353" fmla="*/ 5317109 w 7714416"/>
              <a:gd name="connsiteY14353" fmla="*/ 1368375 h 5282095"/>
              <a:gd name="connsiteX14354" fmla="*/ 5317184 w 7714416"/>
              <a:gd name="connsiteY14354" fmla="*/ 1369200 h 5282095"/>
              <a:gd name="connsiteX14355" fmla="*/ 5318700 w 7714416"/>
              <a:gd name="connsiteY14355" fmla="*/ 1370182 h 5282095"/>
              <a:gd name="connsiteX14356" fmla="*/ 5318442 w 7714416"/>
              <a:gd name="connsiteY14356" fmla="*/ 1371148 h 5282095"/>
              <a:gd name="connsiteX14357" fmla="*/ 5317202 w 7714416"/>
              <a:gd name="connsiteY14357" fmla="*/ 1370240 h 5282095"/>
              <a:gd name="connsiteX14358" fmla="*/ 5317162 w 7714416"/>
              <a:gd name="connsiteY14358" fmla="*/ 1371495 h 5282095"/>
              <a:gd name="connsiteX14359" fmla="*/ 5318633 w 7714416"/>
              <a:gd name="connsiteY14359" fmla="*/ 1371543 h 5282095"/>
              <a:gd name="connsiteX14360" fmla="*/ 5317752 w 7714416"/>
              <a:gd name="connsiteY14360" fmla="*/ 1373722 h 5282095"/>
              <a:gd name="connsiteX14361" fmla="*/ 5317037 w 7714416"/>
              <a:gd name="connsiteY14361" fmla="*/ 1373071 h 5282095"/>
              <a:gd name="connsiteX14362" fmla="*/ 5317019 w 7714416"/>
              <a:gd name="connsiteY14362" fmla="*/ 1372031 h 5282095"/>
              <a:gd name="connsiteX14363" fmla="*/ 5312779 w 7714416"/>
              <a:gd name="connsiteY14363" fmla="*/ 1374575 h 5282095"/>
              <a:gd name="connsiteX14364" fmla="*/ 5310726 w 7714416"/>
              <a:gd name="connsiteY14364" fmla="*/ 1374485 h 5282095"/>
              <a:gd name="connsiteX14365" fmla="*/ 5310030 w 7714416"/>
              <a:gd name="connsiteY14365" fmla="*/ 1374874 h 5282095"/>
              <a:gd name="connsiteX14366" fmla="*/ 5303212 w 7714416"/>
              <a:gd name="connsiteY14366" fmla="*/ 1377072 h 5282095"/>
              <a:gd name="connsiteX14367" fmla="*/ 5298793 w 7714416"/>
              <a:gd name="connsiteY14367" fmla="*/ 1360362 h 5282095"/>
              <a:gd name="connsiteX14368" fmla="*/ 5306856 w 7714416"/>
              <a:gd name="connsiteY14368" fmla="*/ 1361259 h 5282095"/>
              <a:gd name="connsiteX14369" fmla="*/ 5307629 w 7714416"/>
              <a:gd name="connsiteY14369" fmla="*/ 1361694 h 5282095"/>
              <a:gd name="connsiteX14370" fmla="*/ 5307935 w 7714416"/>
              <a:gd name="connsiteY14370" fmla="*/ 1361662 h 5282095"/>
              <a:gd name="connsiteX14371" fmla="*/ 5307686 w 7714416"/>
              <a:gd name="connsiteY14371" fmla="*/ 1361481 h 5282095"/>
              <a:gd name="connsiteX14372" fmla="*/ 5305013 w 7714416"/>
              <a:gd name="connsiteY14372" fmla="*/ 1353750 h 5282095"/>
              <a:gd name="connsiteX14373" fmla="*/ 5304995 w 7714416"/>
              <a:gd name="connsiteY14373" fmla="*/ 1352710 h 5282095"/>
              <a:gd name="connsiteX14374" fmla="*/ 5302239 w 7714416"/>
              <a:gd name="connsiteY14374" fmla="*/ 1350821 h 5282095"/>
              <a:gd name="connsiteX14375" fmla="*/ 5301718 w 7714416"/>
              <a:gd name="connsiteY14375" fmla="*/ 1347231 h 5282095"/>
              <a:gd name="connsiteX14376" fmla="*/ 5305315 w 7714416"/>
              <a:gd name="connsiteY14376" fmla="*/ 1348195 h 5282095"/>
              <a:gd name="connsiteX14377" fmla="*/ 5305096 w 7714416"/>
              <a:gd name="connsiteY14377" fmla="*/ 1347906 h 5282095"/>
              <a:gd name="connsiteX14378" fmla="*/ 5305164 w 7714416"/>
              <a:gd name="connsiteY14378" fmla="*/ 1346544 h 5282095"/>
              <a:gd name="connsiteX14379" fmla="*/ 5305301 w 7714416"/>
              <a:gd name="connsiteY14379" fmla="*/ 1343821 h 5282095"/>
              <a:gd name="connsiteX14380" fmla="*/ 5310620 w 7714416"/>
              <a:gd name="connsiteY14380" fmla="*/ 1341682 h 5282095"/>
              <a:gd name="connsiteX14381" fmla="*/ 5310533 w 7714416"/>
              <a:gd name="connsiteY14381" fmla="*/ 1342003 h 5282095"/>
              <a:gd name="connsiteX14382" fmla="*/ 5314526 w 7714416"/>
              <a:gd name="connsiteY14382" fmla="*/ 1339278 h 5282095"/>
              <a:gd name="connsiteX14383" fmla="*/ 5341510 w 7714416"/>
              <a:gd name="connsiteY14383" fmla="*/ 1337078 h 5282095"/>
              <a:gd name="connsiteX14384" fmla="*/ 5354820 w 7714416"/>
              <a:gd name="connsiteY14384" fmla="*/ 1340529 h 5282095"/>
              <a:gd name="connsiteX14385" fmla="*/ 5349480 w 7714416"/>
              <a:gd name="connsiteY14385" fmla="*/ 1336109 h 5282095"/>
              <a:gd name="connsiteX14386" fmla="*/ 5337905 w 7714416"/>
              <a:gd name="connsiteY14386" fmla="*/ 1325072 h 5282095"/>
              <a:gd name="connsiteX14387" fmla="*/ 5338193 w 7714416"/>
              <a:gd name="connsiteY14387" fmla="*/ 1323999 h 5282095"/>
              <a:gd name="connsiteX14388" fmla="*/ 5342297 w 7714416"/>
              <a:gd name="connsiteY14388" fmla="*/ 1324179 h 5282095"/>
              <a:gd name="connsiteX14389" fmla="*/ 5347637 w 7714416"/>
              <a:gd name="connsiteY14389" fmla="*/ 1328600 h 5282095"/>
              <a:gd name="connsiteX14390" fmla="*/ 5356595 w 7714416"/>
              <a:gd name="connsiteY14390" fmla="*/ 1340545 h 5282095"/>
              <a:gd name="connsiteX14391" fmla="*/ 5357616 w 7714416"/>
              <a:gd name="connsiteY14391" fmla="*/ 1341164 h 5282095"/>
              <a:gd name="connsiteX14392" fmla="*/ 5360937 w 7714416"/>
              <a:gd name="connsiteY14392" fmla="*/ 1342053 h 5282095"/>
              <a:gd name="connsiteX14393" fmla="*/ 5364465 w 7714416"/>
              <a:gd name="connsiteY14393" fmla="*/ 1344379 h 5282095"/>
              <a:gd name="connsiteX14394" fmla="*/ 5369733 w 7714416"/>
              <a:gd name="connsiteY14394" fmla="*/ 1344641 h 5282095"/>
              <a:gd name="connsiteX14395" fmla="*/ 5370387 w 7714416"/>
              <a:gd name="connsiteY14395" fmla="*/ 1348841 h 5282095"/>
              <a:gd name="connsiteX14396" fmla="*/ 5374272 w 7714416"/>
              <a:gd name="connsiteY14396" fmla="*/ 1339876 h 5282095"/>
              <a:gd name="connsiteX14397" fmla="*/ 5374697 w 7714416"/>
              <a:gd name="connsiteY14397" fmla="*/ 1336080 h 5282095"/>
              <a:gd name="connsiteX14398" fmla="*/ 5374707 w 7714416"/>
              <a:gd name="connsiteY14398" fmla="*/ 1334933 h 5282095"/>
              <a:gd name="connsiteX14399" fmla="*/ 5373906 w 7714416"/>
              <a:gd name="connsiteY14399" fmla="*/ 1334603 h 5282095"/>
              <a:gd name="connsiteX14400" fmla="*/ 5373837 w 7714416"/>
              <a:gd name="connsiteY14400" fmla="*/ 1327110 h 5282095"/>
              <a:gd name="connsiteX14401" fmla="*/ 5376170 w 7714416"/>
              <a:gd name="connsiteY14401" fmla="*/ 1323940 h 5282095"/>
              <a:gd name="connsiteX14402" fmla="*/ 5375864 w 7714416"/>
              <a:gd name="connsiteY14402" fmla="*/ 1323973 h 5282095"/>
              <a:gd name="connsiteX14403" fmla="*/ 5372688 w 7714416"/>
              <a:gd name="connsiteY14403" fmla="*/ 1322547 h 5282095"/>
              <a:gd name="connsiteX14404" fmla="*/ 5375235 w 7714416"/>
              <a:gd name="connsiteY14404" fmla="*/ 1305289 h 5282095"/>
              <a:gd name="connsiteX14405" fmla="*/ 5376670 w 7714416"/>
              <a:gd name="connsiteY14405" fmla="*/ 1303258 h 5282095"/>
              <a:gd name="connsiteX14406" fmla="*/ 5375344 w 7714416"/>
              <a:gd name="connsiteY14406" fmla="*/ 1302673 h 5282095"/>
              <a:gd name="connsiteX14407" fmla="*/ 5377262 w 7714416"/>
              <a:gd name="connsiteY14407" fmla="*/ 1302152 h 5282095"/>
              <a:gd name="connsiteX14408" fmla="*/ 5377320 w 7714416"/>
              <a:gd name="connsiteY14408" fmla="*/ 1301938 h 5282095"/>
              <a:gd name="connsiteX14409" fmla="*/ 5377636 w 7714416"/>
              <a:gd name="connsiteY14409" fmla="*/ 1300757 h 5282095"/>
              <a:gd name="connsiteX14410" fmla="*/ 5383013 w 7714416"/>
              <a:gd name="connsiteY14410" fmla="*/ 1298404 h 5282095"/>
              <a:gd name="connsiteX14411" fmla="*/ 5598026 w 7714416"/>
              <a:gd name="connsiteY14411" fmla="*/ 1298400 h 5282095"/>
              <a:gd name="connsiteX14412" fmla="*/ 5605088 w 7714416"/>
              <a:gd name="connsiteY14412" fmla="*/ 1299717 h 5282095"/>
              <a:gd name="connsiteX14413" fmla="*/ 5605580 w 7714416"/>
              <a:gd name="connsiteY14413" fmla="*/ 1303414 h 5282095"/>
              <a:gd name="connsiteX14414" fmla="*/ 5601228 w 7714416"/>
              <a:gd name="connsiteY14414" fmla="*/ 1303052 h 5282095"/>
              <a:gd name="connsiteX14415" fmla="*/ 5596801 w 7714416"/>
              <a:gd name="connsiteY14415" fmla="*/ 1301866 h 5282095"/>
              <a:gd name="connsiteX14416" fmla="*/ 5598026 w 7714416"/>
              <a:gd name="connsiteY14416" fmla="*/ 1298400 h 5282095"/>
              <a:gd name="connsiteX14417" fmla="*/ 5764175 w 7714416"/>
              <a:gd name="connsiteY14417" fmla="*/ 1297033 h 5282095"/>
              <a:gd name="connsiteX14418" fmla="*/ 5770988 w 7714416"/>
              <a:gd name="connsiteY14418" fmla="*/ 1298169 h 5282095"/>
              <a:gd name="connsiteX14419" fmla="*/ 5771987 w 7714416"/>
              <a:gd name="connsiteY14419" fmla="*/ 1301082 h 5282095"/>
              <a:gd name="connsiteX14420" fmla="*/ 5770761 w 7714416"/>
              <a:gd name="connsiteY14420" fmla="*/ 1304548 h 5282095"/>
              <a:gd name="connsiteX14421" fmla="*/ 5762345 w 7714416"/>
              <a:gd name="connsiteY14421" fmla="*/ 1302753 h 5282095"/>
              <a:gd name="connsiteX14422" fmla="*/ 5761347 w 7714416"/>
              <a:gd name="connsiteY14422" fmla="*/ 1299841 h 5282095"/>
              <a:gd name="connsiteX14423" fmla="*/ 5764175 w 7714416"/>
              <a:gd name="connsiteY14423" fmla="*/ 1297033 h 5282095"/>
              <a:gd name="connsiteX14424" fmla="*/ 5580896 w 7714416"/>
              <a:gd name="connsiteY14424" fmla="*/ 1297030 h 5282095"/>
              <a:gd name="connsiteX14425" fmla="*/ 5586487 w 7714416"/>
              <a:gd name="connsiteY14425" fmla="*/ 1298298 h 5282095"/>
              <a:gd name="connsiteX14426" fmla="*/ 5586782 w 7714416"/>
              <a:gd name="connsiteY14426" fmla="*/ 1299411 h 5282095"/>
              <a:gd name="connsiteX14427" fmla="*/ 5582657 w 7714416"/>
              <a:gd name="connsiteY14427" fmla="*/ 1301527 h 5282095"/>
              <a:gd name="connsiteX14428" fmla="*/ 5578240 w 7714416"/>
              <a:gd name="connsiteY14428" fmla="*/ 1299193 h 5282095"/>
              <a:gd name="connsiteX14429" fmla="*/ 5580896 w 7714416"/>
              <a:gd name="connsiteY14429" fmla="*/ 1297030 h 5282095"/>
              <a:gd name="connsiteX14430" fmla="*/ 5355432 w 7714416"/>
              <a:gd name="connsiteY14430" fmla="*/ 1296188 h 5282095"/>
              <a:gd name="connsiteX14431" fmla="*/ 5355960 w 7714416"/>
              <a:gd name="connsiteY14431" fmla="*/ 1328529 h 5282095"/>
              <a:gd name="connsiteX14432" fmla="*/ 5347504 w 7714416"/>
              <a:gd name="connsiteY14432" fmla="*/ 1310279 h 5282095"/>
              <a:gd name="connsiteX14433" fmla="*/ 5355432 w 7714416"/>
              <a:gd name="connsiteY14433" fmla="*/ 1296188 h 5282095"/>
              <a:gd name="connsiteX14434" fmla="*/ 5184008 w 7714416"/>
              <a:gd name="connsiteY14434" fmla="*/ 1295105 h 5282095"/>
              <a:gd name="connsiteX14435" fmla="*/ 5202417 w 7714416"/>
              <a:gd name="connsiteY14435" fmla="*/ 1313838 h 5282095"/>
              <a:gd name="connsiteX14436" fmla="*/ 5184008 w 7714416"/>
              <a:gd name="connsiteY14436" fmla="*/ 1295105 h 5282095"/>
              <a:gd name="connsiteX14437" fmla="*/ 1119084 w 7714416"/>
              <a:gd name="connsiteY14437" fmla="*/ 1294518 h 5282095"/>
              <a:gd name="connsiteX14438" fmla="*/ 1137152 w 7714416"/>
              <a:gd name="connsiteY14438" fmla="*/ 1302349 h 5282095"/>
              <a:gd name="connsiteX14439" fmla="*/ 1130052 w 7714416"/>
              <a:gd name="connsiteY14439" fmla="*/ 1311142 h 5282095"/>
              <a:gd name="connsiteX14440" fmla="*/ 1117496 w 7714416"/>
              <a:gd name="connsiteY14440" fmla="*/ 1307088 h 5282095"/>
              <a:gd name="connsiteX14441" fmla="*/ 1119084 w 7714416"/>
              <a:gd name="connsiteY14441" fmla="*/ 1294518 h 5282095"/>
              <a:gd name="connsiteX14442" fmla="*/ 5541683 w 7714416"/>
              <a:gd name="connsiteY14442" fmla="*/ 1292848 h 5282095"/>
              <a:gd name="connsiteX14443" fmla="*/ 5540029 w 7714416"/>
              <a:gd name="connsiteY14443" fmla="*/ 1312300 h 5282095"/>
              <a:gd name="connsiteX14444" fmla="*/ 5532472 w 7714416"/>
              <a:gd name="connsiteY14444" fmla="*/ 1310620 h 5282095"/>
              <a:gd name="connsiteX14445" fmla="*/ 5517376 w 7714416"/>
              <a:gd name="connsiteY14445" fmla="*/ 1299445 h 5282095"/>
              <a:gd name="connsiteX14446" fmla="*/ 5541683 w 7714416"/>
              <a:gd name="connsiteY14446" fmla="*/ 1292848 h 5282095"/>
              <a:gd name="connsiteX14447" fmla="*/ 5312887 w 7714416"/>
              <a:gd name="connsiteY14447" fmla="*/ 1292263 h 5282095"/>
              <a:gd name="connsiteX14448" fmla="*/ 5306146 w 7714416"/>
              <a:gd name="connsiteY14448" fmla="*/ 1295287 h 5282095"/>
              <a:gd name="connsiteX14449" fmla="*/ 5298456 w 7714416"/>
              <a:gd name="connsiteY14449" fmla="*/ 1292995 h 5282095"/>
              <a:gd name="connsiteX14450" fmla="*/ 5312887 w 7714416"/>
              <a:gd name="connsiteY14450" fmla="*/ 1292263 h 5282095"/>
              <a:gd name="connsiteX14451" fmla="*/ 5889145 w 7714416"/>
              <a:gd name="connsiteY14451" fmla="*/ 1291073 h 5282095"/>
              <a:gd name="connsiteX14452" fmla="*/ 5892914 w 7714416"/>
              <a:gd name="connsiteY14452" fmla="*/ 1291393 h 5282095"/>
              <a:gd name="connsiteX14453" fmla="*/ 5908083 w 7714416"/>
              <a:gd name="connsiteY14453" fmla="*/ 1297873 h 5282095"/>
              <a:gd name="connsiteX14454" fmla="*/ 5909991 w 7714416"/>
              <a:gd name="connsiteY14454" fmla="*/ 1298499 h 5282095"/>
              <a:gd name="connsiteX14455" fmla="*/ 5917099 w 7714416"/>
              <a:gd name="connsiteY14455" fmla="*/ 1300749 h 5282095"/>
              <a:gd name="connsiteX14456" fmla="*/ 5903878 w 7714416"/>
              <a:gd name="connsiteY14456" fmla="*/ 1311352 h 5282095"/>
              <a:gd name="connsiteX14457" fmla="*/ 5893497 w 7714416"/>
              <a:gd name="connsiteY14457" fmla="*/ 1300290 h 5282095"/>
              <a:gd name="connsiteX14458" fmla="*/ 5899588 w 7714416"/>
              <a:gd name="connsiteY14458" fmla="*/ 1298586 h 5282095"/>
              <a:gd name="connsiteX14459" fmla="*/ 5899340 w 7714416"/>
              <a:gd name="connsiteY14459" fmla="*/ 1298405 h 5282095"/>
              <a:gd name="connsiteX14460" fmla="*/ 5891211 w 7714416"/>
              <a:gd name="connsiteY14460" fmla="*/ 1295537 h 5282095"/>
              <a:gd name="connsiteX14461" fmla="*/ 5888828 w 7714416"/>
              <a:gd name="connsiteY14461" fmla="*/ 1292254 h 5282095"/>
              <a:gd name="connsiteX14462" fmla="*/ 5209712 w 7714416"/>
              <a:gd name="connsiteY14462" fmla="*/ 1290076 h 5282095"/>
              <a:gd name="connsiteX14463" fmla="*/ 5221521 w 7714416"/>
              <a:gd name="connsiteY14463" fmla="*/ 1291243 h 5282095"/>
              <a:gd name="connsiteX14464" fmla="*/ 5205321 w 7714416"/>
              <a:gd name="connsiteY14464" fmla="*/ 1303001 h 5282095"/>
              <a:gd name="connsiteX14465" fmla="*/ 5197980 w 7714416"/>
              <a:gd name="connsiteY14465" fmla="*/ 1296090 h 5282095"/>
              <a:gd name="connsiteX14466" fmla="*/ 5209712 w 7714416"/>
              <a:gd name="connsiteY14466" fmla="*/ 1290076 h 5282095"/>
              <a:gd name="connsiteX14467" fmla="*/ 1346141 w 7714416"/>
              <a:gd name="connsiteY14467" fmla="*/ 1288311 h 5282095"/>
              <a:gd name="connsiteX14468" fmla="*/ 1350856 w 7714416"/>
              <a:gd name="connsiteY14468" fmla="*/ 1288426 h 5282095"/>
              <a:gd name="connsiteX14469" fmla="*/ 1350212 w 7714416"/>
              <a:gd name="connsiteY14469" fmla="*/ 1291933 h 5282095"/>
              <a:gd name="connsiteX14470" fmla="*/ 1346852 w 7714416"/>
              <a:gd name="connsiteY14470" fmla="*/ 1292297 h 5282095"/>
              <a:gd name="connsiteX14471" fmla="*/ 1344519 w 7714416"/>
              <a:gd name="connsiteY14471" fmla="*/ 1295468 h 5282095"/>
              <a:gd name="connsiteX14472" fmla="*/ 1341506 w 7714416"/>
              <a:gd name="connsiteY14472" fmla="*/ 1294544 h 5282095"/>
              <a:gd name="connsiteX14473" fmla="*/ 1346141 w 7714416"/>
              <a:gd name="connsiteY14473" fmla="*/ 1288311 h 5282095"/>
              <a:gd name="connsiteX14474" fmla="*/ 5721847 w 7714416"/>
              <a:gd name="connsiteY14474" fmla="*/ 1287877 h 5282095"/>
              <a:gd name="connsiteX14475" fmla="*/ 5726184 w 7714416"/>
              <a:gd name="connsiteY14475" fmla="*/ 1292718 h 5282095"/>
              <a:gd name="connsiteX14476" fmla="*/ 5721401 w 7714416"/>
              <a:gd name="connsiteY14476" fmla="*/ 1293967 h 5282095"/>
              <a:gd name="connsiteX14477" fmla="*/ 5719496 w 7714416"/>
              <a:gd name="connsiteY14477" fmla="*/ 1290007 h 5282095"/>
              <a:gd name="connsiteX14478" fmla="*/ 5721847 w 7714416"/>
              <a:gd name="connsiteY14478" fmla="*/ 1287877 h 5282095"/>
              <a:gd name="connsiteX14479" fmla="*/ 1467259 w 7714416"/>
              <a:gd name="connsiteY14479" fmla="*/ 1287875 h 5282095"/>
              <a:gd name="connsiteX14480" fmla="*/ 1488525 w 7714416"/>
              <a:gd name="connsiteY14480" fmla="*/ 1294838 h 5282095"/>
              <a:gd name="connsiteX14481" fmla="*/ 1477173 w 7714416"/>
              <a:gd name="connsiteY14481" fmla="*/ 1298466 h 5282095"/>
              <a:gd name="connsiteX14482" fmla="*/ 1467259 w 7714416"/>
              <a:gd name="connsiteY14482" fmla="*/ 1287875 h 5282095"/>
              <a:gd name="connsiteX14483" fmla="*/ 1899320 w 7714416"/>
              <a:gd name="connsiteY14483" fmla="*/ 1286918 h 5282095"/>
              <a:gd name="connsiteX14484" fmla="*/ 1914416 w 7714416"/>
              <a:gd name="connsiteY14484" fmla="*/ 1289238 h 5282095"/>
              <a:gd name="connsiteX14485" fmla="*/ 1914057 w 7714416"/>
              <a:gd name="connsiteY14485" fmla="*/ 1295007 h 5282095"/>
              <a:gd name="connsiteX14486" fmla="*/ 1904368 w 7714416"/>
              <a:gd name="connsiteY14486" fmla="*/ 1295747 h 5282095"/>
              <a:gd name="connsiteX14487" fmla="*/ 1898691 w 7714416"/>
              <a:gd name="connsiteY14487" fmla="*/ 1294800 h 5282095"/>
              <a:gd name="connsiteX14488" fmla="*/ 1894188 w 7714416"/>
              <a:gd name="connsiteY14488" fmla="*/ 1292789 h 5282095"/>
              <a:gd name="connsiteX14489" fmla="*/ 1899320 w 7714416"/>
              <a:gd name="connsiteY14489" fmla="*/ 1286918 h 5282095"/>
              <a:gd name="connsiteX14490" fmla="*/ 1316861 w 7714416"/>
              <a:gd name="connsiteY14490" fmla="*/ 1286906 h 5282095"/>
              <a:gd name="connsiteX14491" fmla="*/ 1332054 w 7714416"/>
              <a:gd name="connsiteY14491" fmla="*/ 1287757 h 5282095"/>
              <a:gd name="connsiteX14492" fmla="*/ 1331370 w 7714416"/>
              <a:gd name="connsiteY14492" fmla="*/ 1292520 h 5282095"/>
              <a:gd name="connsiteX14493" fmla="*/ 1317873 w 7714416"/>
              <a:gd name="connsiteY14493" fmla="*/ 1294193 h 5282095"/>
              <a:gd name="connsiteX14494" fmla="*/ 1314230 w 7714416"/>
              <a:gd name="connsiteY14494" fmla="*/ 1292297 h 5282095"/>
              <a:gd name="connsiteX14495" fmla="*/ 1316861 w 7714416"/>
              <a:gd name="connsiteY14495" fmla="*/ 1286906 h 5282095"/>
              <a:gd name="connsiteX14496" fmla="*/ 1925176 w 7714416"/>
              <a:gd name="connsiteY14496" fmla="*/ 1286716 h 5282095"/>
              <a:gd name="connsiteX14497" fmla="*/ 1971255 w 7714416"/>
              <a:gd name="connsiteY14497" fmla="*/ 1312864 h 5282095"/>
              <a:gd name="connsiteX14498" fmla="*/ 1962800 w 7714416"/>
              <a:gd name="connsiteY14498" fmla="*/ 1321178 h 5282095"/>
              <a:gd name="connsiteX14499" fmla="*/ 1925176 w 7714416"/>
              <a:gd name="connsiteY14499" fmla="*/ 1286716 h 5282095"/>
              <a:gd name="connsiteX14500" fmla="*/ 6037204 w 7714416"/>
              <a:gd name="connsiteY14500" fmla="*/ 1284170 h 5282095"/>
              <a:gd name="connsiteX14501" fmla="*/ 6035227 w 7714416"/>
              <a:gd name="connsiteY14501" fmla="*/ 1293761 h 5282095"/>
              <a:gd name="connsiteX14502" fmla="*/ 6030649 w 7714416"/>
              <a:gd name="connsiteY14502" fmla="*/ 1290923 h 5282095"/>
              <a:gd name="connsiteX14503" fmla="*/ 6037204 w 7714416"/>
              <a:gd name="connsiteY14503" fmla="*/ 1284170 h 5282095"/>
              <a:gd name="connsiteX14504" fmla="*/ 5835788 w 7714416"/>
              <a:gd name="connsiteY14504" fmla="*/ 1277697 h 5282095"/>
              <a:gd name="connsiteX14505" fmla="*/ 5816803 w 7714416"/>
              <a:gd name="connsiteY14505" fmla="*/ 1305385 h 5282095"/>
              <a:gd name="connsiteX14506" fmla="*/ 5822078 w 7714416"/>
              <a:gd name="connsiteY14506" fmla="*/ 1290123 h 5282095"/>
              <a:gd name="connsiteX14507" fmla="*/ 5835788 w 7714416"/>
              <a:gd name="connsiteY14507" fmla="*/ 1277697 h 5282095"/>
              <a:gd name="connsiteX14508" fmla="*/ 5598199 w 7714416"/>
              <a:gd name="connsiteY14508" fmla="*/ 1277142 h 5282095"/>
              <a:gd name="connsiteX14509" fmla="*/ 5610255 w 7714416"/>
              <a:gd name="connsiteY14509" fmla="*/ 1278217 h 5282095"/>
              <a:gd name="connsiteX14510" fmla="*/ 5613263 w 7714416"/>
              <a:gd name="connsiteY14510" fmla="*/ 1285807 h 5282095"/>
              <a:gd name="connsiteX14511" fmla="*/ 5594526 w 7714416"/>
              <a:gd name="connsiteY14511" fmla="*/ 1287112 h 5282095"/>
              <a:gd name="connsiteX14512" fmla="*/ 5598199 w 7714416"/>
              <a:gd name="connsiteY14512" fmla="*/ 1277142 h 5282095"/>
              <a:gd name="connsiteX14513" fmla="*/ 1048122 w 7714416"/>
              <a:gd name="connsiteY14513" fmla="*/ 1277114 h 5282095"/>
              <a:gd name="connsiteX14514" fmla="*/ 1060244 w 7714416"/>
              <a:gd name="connsiteY14514" fmla="*/ 1286113 h 5282095"/>
              <a:gd name="connsiteX14515" fmla="*/ 1038262 w 7714416"/>
              <a:gd name="connsiteY14515" fmla="*/ 1296207 h 5282095"/>
              <a:gd name="connsiteX14516" fmla="*/ 1029746 w 7714416"/>
              <a:gd name="connsiteY14516" fmla="*/ 1290360 h 5282095"/>
              <a:gd name="connsiteX14517" fmla="*/ 1048122 w 7714416"/>
              <a:gd name="connsiteY14517" fmla="*/ 1277114 h 5282095"/>
              <a:gd name="connsiteX14518" fmla="*/ 5682174 w 7714416"/>
              <a:gd name="connsiteY14518" fmla="*/ 1276556 h 5282095"/>
              <a:gd name="connsiteX14519" fmla="*/ 5693634 w 7714416"/>
              <a:gd name="connsiteY14519" fmla="*/ 1279167 h 5282095"/>
              <a:gd name="connsiteX14520" fmla="*/ 5695481 w 7714416"/>
              <a:gd name="connsiteY14520" fmla="*/ 1283342 h 5282095"/>
              <a:gd name="connsiteX14521" fmla="*/ 5700005 w 7714416"/>
              <a:gd name="connsiteY14521" fmla="*/ 1283059 h 5282095"/>
              <a:gd name="connsiteX14522" fmla="*/ 5713704 w 7714416"/>
              <a:gd name="connsiteY14522" fmla="*/ 1289490 h 5282095"/>
              <a:gd name="connsiteX14523" fmla="*/ 5698725 w 7714416"/>
              <a:gd name="connsiteY14523" fmla="*/ 1301116 h 5282095"/>
              <a:gd name="connsiteX14524" fmla="*/ 5687506 w 7714416"/>
              <a:gd name="connsiteY14524" fmla="*/ 1287645 h 5282095"/>
              <a:gd name="connsiteX14525" fmla="*/ 5688710 w 7714416"/>
              <a:gd name="connsiteY14525" fmla="*/ 1286472 h 5282095"/>
              <a:gd name="connsiteX14526" fmla="*/ 5687223 w 7714416"/>
              <a:gd name="connsiteY14526" fmla="*/ 1285384 h 5282095"/>
              <a:gd name="connsiteX14527" fmla="*/ 5682174 w 7714416"/>
              <a:gd name="connsiteY14527" fmla="*/ 1276556 h 5282095"/>
              <a:gd name="connsiteX14528" fmla="*/ 1341678 w 7714416"/>
              <a:gd name="connsiteY14528" fmla="*/ 1276190 h 5282095"/>
              <a:gd name="connsiteX14529" fmla="*/ 1346629 w 7714416"/>
              <a:gd name="connsiteY14529" fmla="*/ 1277633 h 5282095"/>
              <a:gd name="connsiteX14530" fmla="*/ 1344366 w 7714416"/>
              <a:gd name="connsiteY14530" fmla="*/ 1279441 h 5282095"/>
              <a:gd name="connsiteX14531" fmla="*/ 1336535 w 7714416"/>
              <a:gd name="connsiteY14531" fmla="*/ 1283207 h 5282095"/>
              <a:gd name="connsiteX14532" fmla="*/ 1335547 w 7714416"/>
              <a:gd name="connsiteY14532" fmla="*/ 1279148 h 5282095"/>
              <a:gd name="connsiteX14533" fmla="*/ 1339414 w 7714416"/>
              <a:gd name="connsiteY14533" fmla="*/ 1277999 h 5282095"/>
              <a:gd name="connsiteX14534" fmla="*/ 1341678 w 7714416"/>
              <a:gd name="connsiteY14534" fmla="*/ 1276190 h 5282095"/>
              <a:gd name="connsiteX14535" fmla="*/ 1881370 w 7714416"/>
              <a:gd name="connsiteY14535" fmla="*/ 1275323 h 5282095"/>
              <a:gd name="connsiteX14536" fmla="*/ 1889728 w 7714416"/>
              <a:gd name="connsiteY14536" fmla="*/ 1277333 h 5282095"/>
              <a:gd name="connsiteX14537" fmla="*/ 1888503 w 7714416"/>
              <a:gd name="connsiteY14537" fmla="*/ 1280800 h 5282095"/>
              <a:gd name="connsiteX14538" fmla="*/ 1888999 w 7714416"/>
              <a:gd name="connsiteY14538" fmla="*/ 1281163 h 5282095"/>
              <a:gd name="connsiteX14539" fmla="*/ 1884996 w 7714416"/>
              <a:gd name="connsiteY14539" fmla="*/ 1302746 h 5282095"/>
              <a:gd name="connsiteX14540" fmla="*/ 1865565 w 7714416"/>
              <a:gd name="connsiteY14540" fmla="*/ 1283394 h 5282095"/>
              <a:gd name="connsiteX14541" fmla="*/ 1874370 w 7714416"/>
              <a:gd name="connsiteY14541" fmla="*/ 1279314 h 5282095"/>
              <a:gd name="connsiteX14542" fmla="*/ 1873073 w 7714416"/>
              <a:gd name="connsiteY14542" fmla="*/ 1278620 h 5282095"/>
              <a:gd name="connsiteX14543" fmla="*/ 1881370 w 7714416"/>
              <a:gd name="connsiteY14543" fmla="*/ 1275323 h 5282095"/>
              <a:gd name="connsiteX14544" fmla="*/ 5659290 w 7714416"/>
              <a:gd name="connsiteY14544" fmla="*/ 1273415 h 5282095"/>
              <a:gd name="connsiteX14545" fmla="*/ 5667645 w 7714416"/>
              <a:gd name="connsiteY14545" fmla="*/ 1278758 h 5282095"/>
              <a:gd name="connsiteX14546" fmla="*/ 5631903 w 7714416"/>
              <a:gd name="connsiteY14546" fmla="*/ 1285972 h 5282095"/>
              <a:gd name="connsiteX14547" fmla="*/ 5621916 w 7714416"/>
              <a:gd name="connsiteY14547" fmla="*/ 1280076 h 5282095"/>
              <a:gd name="connsiteX14548" fmla="*/ 5659290 w 7714416"/>
              <a:gd name="connsiteY14548" fmla="*/ 1273415 h 5282095"/>
              <a:gd name="connsiteX14549" fmla="*/ 6266031 w 7714416"/>
              <a:gd name="connsiteY14549" fmla="*/ 1272457 h 5282095"/>
              <a:gd name="connsiteX14550" fmla="*/ 6274171 w 7714416"/>
              <a:gd name="connsiteY14550" fmla="*/ 1274179 h 5282095"/>
              <a:gd name="connsiteX14551" fmla="*/ 6257596 w 7714416"/>
              <a:gd name="connsiteY14551" fmla="*/ 1287333 h 5282095"/>
              <a:gd name="connsiteX14552" fmla="*/ 6266031 w 7714416"/>
              <a:gd name="connsiteY14552" fmla="*/ 1272457 h 5282095"/>
              <a:gd name="connsiteX14553" fmla="*/ 5263480 w 7714416"/>
              <a:gd name="connsiteY14553" fmla="*/ 1271894 h 5282095"/>
              <a:gd name="connsiteX14554" fmla="*/ 5267954 w 7714416"/>
              <a:gd name="connsiteY14554" fmla="*/ 1291723 h 5282095"/>
              <a:gd name="connsiteX14555" fmla="*/ 5269380 w 7714416"/>
              <a:gd name="connsiteY14555" fmla="*/ 1296361 h 5282095"/>
              <a:gd name="connsiteX14556" fmla="*/ 5273240 w 7714416"/>
              <a:gd name="connsiteY14556" fmla="*/ 1293025 h 5282095"/>
              <a:gd name="connsiteX14557" fmla="*/ 5279463 w 7714416"/>
              <a:gd name="connsiteY14557" fmla="*/ 1309642 h 5282095"/>
              <a:gd name="connsiteX14558" fmla="*/ 5273663 w 7714416"/>
              <a:gd name="connsiteY14558" fmla="*/ 1306939 h 5282095"/>
              <a:gd name="connsiteX14559" fmla="*/ 5269420 w 7714416"/>
              <a:gd name="connsiteY14559" fmla="*/ 1303961 h 5282095"/>
              <a:gd name="connsiteX14560" fmla="*/ 5267658 w 7714416"/>
              <a:gd name="connsiteY14560" fmla="*/ 1308320 h 5282095"/>
              <a:gd name="connsiteX14561" fmla="*/ 5262312 w 7714416"/>
              <a:gd name="connsiteY14561" fmla="*/ 1301712 h 5282095"/>
              <a:gd name="connsiteX14562" fmla="*/ 5261158 w 7714416"/>
              <a:gd name="connsiteY14562" fmla="*/ 1300482 h 5282095"/>
              <a:gd name="connsiteX14563" fmla="*/ 5256939 w 7714416"/>
              <a:gd name="connsiteY14563" fmla="*/ 1300733 h 5282095"/>
              <a:gd name="connsiteX14564" fmla="*/ 5249785 w 7714416"/>
              <a:gd name="connsiteY14564" fmla="*/ 1297550 h 5282095"/>
              <a:gd name="connsiteX14565" fmla="*/ 5251693 w 7714416"/>
              <a:gd name="connsiteY14565" fmla="*/ 1307032 h 5282095"/>
              <a:gd name="connsiteX14566" fmla="*/ 5244419 w 7714416"/>
              <a:gd name="connsiteY14566" fmla="*/ 1325322 h 5282095"/>
              <a:gd name="connsiteX14567" fmla="*/ 5237098 w 7714416"/>
              <a:gd name="connsiteY14567" fmla="*/ 1324971 h 5282095"/>
              <a:gd name="connsiteX14568" fmla="*/ 5226107 w 7714416"/>
              <a:gd name="connsiteY14568" fmla="*/ 1313975 h 5282095"/>
              <a:gd name="connsiteX14569" fmla="*/ 5237890 w 7714416"/>
              <a:gd name="connsiteY14569" fmla="*/ 1291028 h 5282095"/>
              <a:gd name="connsiteX14570" fmla="*/ 5238196 w 7714416"/>
              <a:gd name="connsiteY14570" fmla="*/ 1290995 h 5282095"/>
              <a:gd name="connsiteX14571" fmla="*/ 5230606 w 7714416"/>
              <a:gd name="connsiteY14571" fmla="*/ 1283901 h 5282095"/>
              <a:gd name="connsiteX14572" fmla="*/ 5239235 w 7714416"/>
              <a:gd name="connsiteY14572" fmla="*/ 1274943 h 5282095"/>
              <a:gd name="connsiteX14573" fmla="*/ 5249264 w 7714416"/>
              <a:gd name="connsiteY14573" fmla="*/ 1276250 h 5282095"/>
              <a:gd name="connsiteX14574" fmla="*/ 5249800 w 7714416"/>
              <a:gd name="connsiteY14574" fmla="*/ 1275358 h 5282095"/>
              <a:gd name="connsiteX14575" fmla="*/ 5263480 w 7714416"/>
              <a:gd name="connsiteY14575" fmla="*/ 1271894 h 5282095"/>
              <a:gd name="connsiteX14576" fmla="*/ 1284360 w 7714416"/>
              <a:gd name="connsiteY14576" fmla="*/ 1270953 h 5282095"/>
              <a:gd name="connsiteX14577" fmla="*/ 1287156 w 7714416"/>
              <a:gd name="connsiteY14577" fmla="*/ 1271586 h 5282095"/>
              <a:gd name="connsiteX14578" fmla="*/ 1285542 w 7714416"/>
              <a:gd name="connsiteY14578" fmla="*/ 1272074 h 5282095"/>
              <a:gd name="connsiteX14579" fmla="*/ 1284360 w 7714416"/>
              <a:gd name="connsiteY14579" fmla="*/ 1270953 h 5282095"/>
              <a:gd name="connsiteX14580" fmla="*/ 5547867 w 7714416"/>
              <a:gd name="connsiteY14580" fmla="*/ 1266444 h 5282095"/>
              <a:gd name="connsiteX14581" fmla="*/ 5550319 w 7714416"/>
              <a:gd name="connsiteY14581" fmla="*/ 1268366 h 5282095"/>
              <a:gd name="connsiteX14582" fmla="*/ 5550376 w 7714416"/>
              <a:gd name="connsiteY14582" fmla="*/ 1268152 h 5282095"/>
              <a:gd name="connsiteX14583" fmla="*/ 5556237 w 7714416"/>
              <a:gd name="connsiteY14583" fmla="*/ 1267307 h 5282095"/>
              <a:gd name="connsiteX14584" fmla="*/ 5566292 w 7714416"/>
              <a:gd name="connsiteY14584" fmla="*/ 1280696 h 5282095"/>
              <a:gd name="connsiteX14585" fmla="*/ 5558263 w 7714416"/>
              <a:gd name="connsiteY14585" fmla="*/ 1281881 h 5282095"/>
              <a:gd name="connsiteX14586" fmla="*/ 5555670 w 7714416"/>
              <a:gd name="connsiteY14586" fmla="*/ 1280495 h 5282095"/>
              <a:gd name="connsiteX14587" fmla="*/ 5554218 w 7714416"/>
              <a:gd name="connsiteY14587" fmla="*/ 1281486 h 5282095"/>
              <a:gd name="connsiteX14588" fmla="*/ 5545237 w 7714416"/>
              <a:gd name="connsiteY14588" fmla="*/ 1280690 h 5282095"/>
              <a:gd name="connsiteX14589" fmla="*/ 5543473 w 7714416"/>
              <a:gd name="connsiteY14589" fmla="*/ 1279527 h 5282095"/>
              <a:gd name="connsiteX14590" fmla="*/ 5532998 w 7714416"/>
              <a:gd name="connsiteY14590" fmla="*/ 1266600 h 5282095"/>
              <a:gd name="connsiteX14591" fmla="*/ 5547867 w 7714416"/>
              <a:gd name="connsiteY14591" fmla="*/ 1266444 h 5282095"/>
              <a:gd name="connsiteX14592" fmla="*/ 5841445 w 7714416"/>
              <a:gd name="connsiteY14592" fmla="*/ 1263227 h 5282095"/>
              <a:gd name="connsiteX14593" fmla="*/ 5835404 w 7714416"/>
              <a:gd name="connsiteY14593" fmla="*/ 1271383 h 5282095"/>
              <a:gd name="connsiteX14594" fmla="*/ 5830927 w 7714416"/>
              <a:gd name="connsiteY14594" fmla="*/ 1263743 h 5282095"/>
              <a:gd name="connsiteX14595" fmla="*/ 5841445 w 7714416"/>
              <a:gd name="connsiteY14595" fmla="*/ 1263227 h 5282095"/>
              <a:gd name="connsiteX14596" fmla="*/ 1487332 w 7714416"/>
              <a:gd name="connsiteY14596" fmla="*/ 1259443 h 5282095"/>
              <a:gd name="connsiteX14597" fmla="*/ 1499187 w 7714416"/>
              <a:gd name="connsiteY14597" fmla="*/ 1267220 h 5282095"/>
              <a:gd name="connsiteX14598" fmla="*/ 1491331 w 7714416"/>
              <a:gd name="connsiteY14598" fmla="*/ 1267759 h 5282095"/>
              <a:gd name="connsiteX14599" fmla="*/ 1487357 w 7714416"/>
              <a:gd name="connsiteY14599" fmla="*/ 1262669 h 5282095"/>
              <a:gd name="connsiteX14600" fmla="*/ 1487332 w 7714416"/>
              <a:gd name="connsiteY14600" fmla="*/ 1259443 h 5282095"/>
              <a:gd name="connsiteX14601" fmla="*/ 5618849 w 7714416"/>
              <a:gd name="connsiteY14601" fmla="*/ 1255276 h 5282095"/>
              <a:gd name="connsiteX14602" fmla="*/ 5627897 w 7714416"/>
              <a:gd name="connsiteY14602" fmla="*/ 1257757 h 5282095"/>
              <a:gd name="connsiteX14603" fmla="*/ 5615991 w 7714416"/>
              <a:gd name="connsiteY14603" fmla="*/ 1261239 h 5282095"/>
              <a:gd name="connsiteX14604" fmla="*/ 5611984 w 7714416"/>
              <a:gd name="connsiteY14604" fmla="*/ 1259589 h 5282095"/>
              <a:gd name="connsiteX14605" fmla="*/ 5618849 w 7714416"/>
              <a:gd name="connsiteY14605" fmla="*/ 1255276 h 5282095"/>
              <a:gd name="connsiteX14606" fmla="*/ 5673341 w 7714416"/>
              <a:gd name="connsiteY14606" fmla="*/ 1254179 h 5282095"/>
              <a:gd name="connsiteX14607" fmla="*/ 5671142 w 7714416"/>
              <a:gd name="connsiteY14607" fmla="*/ 1257961 h 5282095"/>
              <a:gd name="connsiteX14608" fmla="*/ 5669072 w 7714416"/>
              <a:gd name="connsiteY14608" fmla="*/ 1256831 h 5282095"/>
              <a:gd name="connsiteX14609" fmla="*/ 5669338 w 7714416"/>
              <a:gd name="connsiteY14609" fmla="*/ 1258052 h 5282095"/>
              <a:gd name="connsiteX14610" fmla="*/ 5668299 w 7714416"/>
              <a:gd name="connsiteY14610" fmla="*/ 1256394 h 5282095"/>
              <a:gd name="connsiteX14611" fmla="*/ 5668806 w 7714416"/>
              <a:gd name="connsiteY14611" fmla="*/ 1255609 h 5282095"/>
              <a:gd name="connsiteX14612" fmla="*/ 5673341 w 7714416"/>
              <a:gd name="connsiteY14612" fmla="*/ 1254179 h 5282095"/>
              <a:gd name="connsiteX14613" fmla="*/ 1876498 w 7714416"/>
              <a:gd name="connsiteY14613" fmla="*/ 1253663 h 5282095"/>
              <a:gd name="connsiteX14614" fmla="*/ 1884273 w 7714416"/>
              <a:gd name="connsiteY14614" fmla="*/ 1264487 h 5282095"/>
              <a:gd name="connsiteX14615" fmla="*/ 1887655 w 7714416"/>
              <a:gd name="connsiteY14615" fmla="*/ 1270683 h 5282095"/>
              <a:gd name="connsiteX14616" fmla="*/ 1886269 w 7714416"/>
              <a:gd name="connsiteY14616" fmla="*/ 1273646 h 5282095"/>
              <a:gd name="connsiteX14617" fmla="*/ 1884741 w 7714416"/>
              <a:gd name="connsiteY14617" fmla="*/ 1273812 h 5282095"/>
              <a:gd name="connsiteX14618" fmla="*/ 1882129 w 7714416"/>
              <a:gd name="connsiteY14618" fmla="*/ 1271386 h 5282095"/>
              <a:gd name="connsiteX14619" fmla="*/ 1876530 w 7714416"/>
              <a:gd name="connsiteY14619" fmla="*/ 1259077 h 5282095"/>
              <a:gd name="connsiteX14620" fmla="*/ 1874833 w 7714416"/>
              <a:gd name="connsiteY14620" fmla="*/ 1256552 h 5282095"/>
              <a:gd name="connsiteX14621" fmla="*/ 1876498 w 7714416"/>
              <a:gd name="connsiteY14621" fmla="*/ 1253663 h 5282095"/>
              <a:gd name="connsiteX14622" fmla="*/ 5947674 w 7714416"/>
              <a:gd name="connsiteY14622" fmla="*/ 1253050 h 5282095"/>
              <a:gd name="connsiteX14623" fmla="*/ 5952989 w 7714416"/>
              <a:gd name="connsiteY14623" fmla="*/ 1254245 h 5282095"/>
              <a:gd name="connsiteX14624" fmla="*/ 5953970 w 7714416"/>
              <a:gd name="connsiteY14624" fmla="*/ 1256117 h 5282095"/>
              <a:gd name="connsiteX14625" fmla="*/ 5953805 w 7714416"/>
              <a:gd name="connsiteY14625" fmla="*/ 1258948 h 5282095"/>
              <a:gd name="connsiteX14626" fmla="*/ 5949556 w 7714416"/>
              <a:gd name="connsiteY14626" fmla="*/ 1259306 h 5282095"/>
              <a:gd name="connsiteX14627" fmla="*/ 5945216 w 7714416"/>
              <a:gd name="connsiteY14627" fmla="*/ 1257797 h 5282095"/>
              <a:gd name="connsiteX14628" fmla="*/ 5942707 w 7714416"/>
              <a:gd name="connsiteY14628" fmla="*/ 1256090 h 5282095"/>
              <a:gd name="connsiteX14629" fmla="*/ 5942891 w 7714416"/>
              <a:gd name="connsiteY14629" fmla="*/ 1254299 h 5282095"/>
              <a:gd name="connsiteX14630" fmla="*/ 5947674 w 7714416"/>
              <a:gd name="connsiteY14630" fmla="*/ 1253050 h 5282095"/>
              <a:gd name="connsiteX14631" fmla="*/ 5305575 w 7714416"/>
              <a:gd name="connsiteY14631" fmla="*/ 1249823 h 5282095"/>
              <a:gd name="connsiteX14632" fmla="*/ 5296714 w 7714416"/>
              <a:gd name="connsiteY14632" fmla="*/ 1254119 h 5282095"/>
              <a:gd name="connsiteX14633" fmla="*/ 5296926 w 7714416"/>
              <a:gd name="connsiteY14633" fmla="*/ 1252221 h 5282095"/>
              <a:gd name="connsiteX14634" fmla="*/ 5299542 w 7714416"/>
              <a:gd name="connsiteY14634" fmla="*/ 1251311 h 5282095"/>
              <a:gd name="connsiteX14635" fmla="*/ 5305575 w 7714416"/>
              <a:gd name="connsiteY14635" fmla="*/ 1249823 h 5282095"/>
              <a:gd name="connsiteX14636" fmla="*/ 5335039 w 7714416"/>
              <a:gd name="connsiteY14636" fmla="*/ 1249439 h 5282095"/>
              <a:gd name="connsiteX14637" fmla="*/ 5337910 w 7714416"/>
              <a:gd name="connsiteY14637" fmla="*/ 1250898 h 5282095"/>
              <a:gd name="connsiteX14638" fmla="*/ 5327762 w 7714416"/>
              <a:gd name="connsiteY14638" fmla="*/ 1253354 h 5282095"/>
              <a:gd name="connsiteX14639" fmla="*/ 5323421 w 7714416"/>
              <a:gd name="connsiteY14639" fmla="*/ 1251845 h 5282095"/>
              <a:gd name="connsiteX14640" fmla="*/ 5335039 w 7714416"/>
              <a:gd name="connsiteY14640" fmla="*/ 1249439 h 5282095"/>
              <a:gd name="connsiteX14641" fmla="*/ 1171246 w 7714416"/>
              <a:gd name="connsiteY14641" fmla="*/ 1249269 h 5282095"/>
              <a:gd name="connsiteX14642" fmla="*/ 1189979 w 7714416"/>
              <a:gd name="connsiteY14642" fmla="*/ 1251299 h 5282095"/>
              <a:gd name="connsiteX14643" fmla="*/ 1197303 w 7714416"/>
              <a:gd name="connsiteY14643" fmla="*/ 1257171 h 5282095"/>
              <a:gd name="connsiteX14644" fmla="*/ 1197605 w 7714416"/>
              <a:gd name="connsiteY14644" fmla="*/ 1260472 h 5282095"/>
              <a:gd name="connsiteX14645" fmla="*/ 1206352 w 7714416"/>
              <a:gd name="connsiteY14645" fmla="*/ 1265461 h 5282095"/>
              <a:gd name="connsiteX14646" fmla="*/ 1209246 w 7714416"/>
              <a:gd name="connsiteY14646" fmla="*/ 1273481 h 5282095"/>
              <a:gd name="connsiteX14647" fmla="*/ 1204224 w 7714416"/>
              <a:gd name="connsiteY14647" fmla="*/ 1273401 h 5282095"/>
              <a:gd name="connsiteX14648" fmla="*/ 1195535 w 7714416"/>
              <a:gd name="connsiteY14648" fmla="*/ 1268197 h 5282095"/>
              <a:gd name="connsiteX14649" fmla="*/ 1192878 w 7714416"/>
              <a:gd name="connsiteY14649" fmla="*/ 1270360 h 5282095"/>
              <a:gd name="connsiteX14650" fmla="*/ 1186015 w 7714416"/>
              <a:gd name="connsiteY14650" fmla="*/ 1271627 h 5282095"/>
              <a:gd name="connsiteX14651" fmla="*/ 1183802 w 7714416"/>
              <a:gd name="connsiteY14651" fmla="*/ 1271033 h 5282095"/>
              <a:gd name="connsiteX14652" fmla="*/ 1183982 w 7714416"/>
              <a:gd name="connsiteY14652" fmla="*/ 1272576 h 5282095"/>
              <a:gd name="connsiteX14653" fmla="*/ 1178292 w 7714416"/>
              <a:gd name="connsiteY14653" fmla="*/ 1272778 h 5282095"/>
              <a:gd name="connsiteX14654" fmla="*/ 1176058 w 7714416"/>
              <a:gd name="connsiteY14654" fmla="*/ 1274478 h 5282095"/>
              <a:gd name="connsiteX14655" fmla="*/ 1170656 w 7714416"/>
              <a:gd name="connsiteY14655" fmla="*/ 1273607 h 5282095"/>
              <a:gd name="connsiteX14656" fmla="*/ 1168636 w 7714416"/>
              <a:gd name="connsiteY14656" fmla="*/ 1270075 h 5282095"/>
              <a:gd name="connsiteX14657" fmla="*/ 1168533 w 7714416"/>
              <a:gd name="connsiteY14657" fmla="*/ 1269357 h 5282095"/>
              <a:gd name="connsiteX14658" fmla="*/ 1165536 w 7714416"/>
              <a:gd name="connsiteY14658" fmla="*/ 1269475 h 5282095"/>
              <a:gd name="connsiteX14659" fmla="*/ 1164202 w 7714416"/>
              <a:gd name="connsiteY14659" fmla="*/ 1266702 h 5282095"/>
              <a:gd name="connsiteX14660" fmla="*/ 1168012 w 7714416"/>
              <a:gd name="connsiteY14660" fmla="*/ 1265768 h 5282095"/>
              <a:gd name="connsiteX14661" fmla="*/ 1167993 w 7714416"/>
              <a:gd name="connsiteY14661" fmla="*/ 1264728 h 5282095"/>
              <a:gd name="connsiteX14662" fmla="*/ 1169248 w 7714416"/>
              <a:gd name="connsiteY14662" fmla="*/ 1261154 h 5282095"/>
              <a:gd name="connsiteX14663" fmla="*/ 1168780 w 7714416"/>
              <a:gd name="connsiteY14663" fmla="*/ 1260683 h 5282095"/>
              <a:gd name="connsiteX14664" fmla="*/ 1171246 w 7714416"/>
              <a:gd name="connsiteY14664" fmla="*/ 1249269 h 5282095"/>
              <a:gd name="connsiteX14665" fmla="*/ 1278843 w 7714416"/>
              <a:gd name="connsiteY14665" fmla="*/ 1249075 h 5282095"/>
              <a:gd name="connsiteX14666" fmla="*/ 1283143 w 7714416"/>
              <a:gd name="connsiteY14666" fmla="*/ 1250041 h 5282095"/>
              <a:gd name="connsiteX14667" fmla="*/ 1275916 w 7714416"/>
              <a:gd name="connsiteY14667" fmla="*/ 1251554 h 5282095"/>
              <a:gd name="connsiteX14668" fmla="*/ 1274296 w 7714416"/>
              <a:gd name="connsiteY14668" fmla="*/ 1249856 h 5282095"/>
              <a:gd name="connsiteX14669" fmla="*/ 1278843 w 7714416"/>
              <a:gd name="connsiteY14669" fmla="*/ 1249075 h 5282095"/>
              <a:gd name="connsiteX14670" fmla="*/ 1255348 w 7714416"/>
              <a:gd name="connsiteY14670" fmla="*/ 1248761 h 5282095"/>
              <a:gd name="connsiteX14671" fmla="*/ 1269063 w 7714416"/>
              <a:gd name="connsiteY14671" fmla="*/ 1251674 h 5282095"/>
              <a:gd name="connsiteX14672" fmla="*/ 1239112 w 7714416"/>
              <a:gd name="connsiteY14672" fmla="*/ 1253883 h 5282095"/>
              <a:gd name="connsiteX14673" fmla="*/ 1240070 w 7714416"/>
              <a:gd name="connsiteY14673" fmla="*/ 1249195 h 5282095"/>
              <a:gd name="connsiteX14674" fmla="*/ 1243362 w 7714416"/>
              <a:gd name="connsiteY14674" fmla="*/ 1250192 h 5282095"/>
              <a:gd name="connsiteX14675" fmla="*/ 1255348 w 7714416"/>
              <a:gd name="connsiteY14675" fmla="*/ 1248761 h 5282095"/>
              <a:gd name="connsiteX14676" fmla="*/ 5684017 w 7714416"/>
              <a:gd name="connsiteY14676" fmla="*/ 1248645 h 5282095"/>
              <a:gd name="connsiteX14677" fmla="*/ 5673399 w 7714416"/>
              <a:gd name="connsiteY14677" fmla="*/ 1253965 h 5282095"/>
              <a:gd name="connsiteX14678" fmla="*/ 5677078 w 7714416"/>
              <a:gd name="connsiteY14678" fmla="*/ 1249086 h 5282095"/>
              <a:gd name="connsiteX14679" fmla="*/ 5684017 w 7714416"/>
              <a:gd name="connsiteY14679" fmla="*/ 1248645 h 5282095"/>
              <a:gd name="connsiteX14680" fmla="*/ 1884235 w 7714416"/>
              <a:gd name="connsiteY14680" fmla="*/ 1248031 h 5282095"/>
              <a:gd name="connsiteX14681" fmla="*/ 1888029 w 7714416"/>
              <a:gd name="connsiteY14681" fmla="*/ 1251578 h 5282095"/>
              <a:gd name="connsiteX14682" fmla="*/ 1886053 w 7714416"/>
              <a:gd name="connsiteY14682" fmla="*/ 1252313 h 5282095"/>
              <a:gd name="connsiteX14683" fmla="*/ 1887436 w 7714416"/>
              <a:gd name="connsiteY14683" fmla="*/ 1252684 h 5282095"/>
              <a:gd name="connsiteX14684" fmla="*/ 1885108 w 7714416"/>
              <a:gd name="connsiteY14684" fmla="*/ 1252520 h 5282095"/>
              <a:gd name="connsiteX14685" fmla="*/ 1884393 w 7714416"/>
              <a:gd name="connsiteY14685" fmla="*/ 1251869 h 5282095"/>
              <a:gd name="connsiteX14686" fmla="*/ 1882944 w 7714416"/>
              <a:gd name="connsiteY14686" fmla="*/ 1249526 h 5282095"/>
              <a:gd name="connsiteX14687" fmla="*/ 1884235 w 7714416"/>
              <a:gd name="connsiteY14687" fmla="*/ 1248031 h 5282095"/>
              <a:gd name="connsiteX14688" fmla="*/ 1325560 w 7714416"/>
              <a:gd name="connsiteY14688" fmla="*/ 1247937 h 5282095"/>
              <a:gd name="connsiteX14689" fmla="*/ 1332917 w 7714416"/>
              <a:gd name="connsiteY14689" fmla="*/ 1249118 h 5282095"/>
              <a:gd name="connsiteX14690" fmla="*/ 1320914 w 7714416"/>
              <a:gd name="connsiteY14690" fmla="*/ 1254066 h 5282095"/>
              <a:gd name="connsiteX14691" fmla="*/ 1317127 w 7714416"/>
              <a:gd name="connsiteY14691" fmla="*/ 1252707 h 5282095"/>
              <a:gd name="connsiteX14692" fmla="*/ 1317741 w 7714416"/>
              <a:gd name="connsiteY14692" fmla="*/ 1249307 h 5282095"/>
              <a:gd name="connsiteX14693" fmla="*/ 1325560 w 7714416"/>
              <a:gd name="connsiteY14693" fmla="*/ 1247937 h 5282095"/>
              <a:gd name="connsiteX14694" fmla="*/ 6253030 w 7714416"/>
              <a:gd name="connsiteY14694" fmla="*/ 1247929 h 5282095"/>
              <a:gd name="connsiteX14695" fmla="*/ 6249821 w 7714416"/>
              <a:gd name="connsiteY14695" fmla="*/ 1258800 h 5282095"/>
              <a:gd name="connsiteX14696" fmla="*/ 6242954 w 7714416"/>
              <a:gd name="connsiteY14696" fmla="*/ 1254544 h 5282095"/>
              <a:gd name="connsiteX14697" fmla="*/ 6253030 w 7714416"/>
              <a:gd name="connsiteY14697" fmla="*/ 1247929 h 5282095"/>
              <a:gd name="connsiteX14698" fmla="*/ 5656979 w 7714416"/>
              <a:gd name="connsiteY14698" fmla="*/ 1247726 h 5282095"/>
              <a:gd name="connsiteX14699" fmla="*/ 5657738 w 7714416"/>
              <a:gd name="connsiteY14699" fmla="*/ 1252644 h 5282095"/>
              <a:gd name="connsiteX14700" fmla="*/ 5646845 w 7714416"/>
              <a:gd name="connsiteY14700" fmla="*/ 1254554 h 5282095"/>
              <a:gd name="connsiteX14701" fmla="*/ 5639609 w 7714416"/>
              <a:gd name="connsiteY14701" fmla="*/ 1248360 h 5282095"/>
              <a:gd name="connsiteX14702" fmla="*/ 5656979 w 7714416"/>
              <a:gd name="connsiteY14702" fmla="*/ 1247726 h 5282095"/>
              <a:gd name="connsiteX14703" fmla="*/ 1143216 w 7714416"/>
              <a:gd name="connsiteY14703" fmla="*/ 1247623 h 5282095"/>
              <a:gd name="connsiteX14704" fmla="*/ 1158837 w 7714416"/>
              <a:gd name="connsiteY14704" fmla="*/ 1250199 h 5282095"/>
              <a:gd name="connsiteX14705" fmla="*/ 1155132 w 7714416"/>
              <a:gd name="connsiteY14705" fmla="*/ 1269561 h 5282095"/>
              <a:gd name="connsiteX14706" fmla="*/ 1146289 w 7714416"/>
              <a:gd name="connsiteY14706" fmla="*/ 1266042 h 5282095"/>
              <a:gd name="connsiteX14707" fmla="*/ 1150941 w 7714416"/>
              <a:gd name="connsiteY14707" fmla="*/ 1269704 h 5282095"/>
              <a:gd name="connsiteX14708" fmla="*/ 1146122 w 7714416"/>
              <a:gd name="connsiteY14708" fmla="*/ 1268872 h 5282095"/>
              <a:gd name="connsiteX14709" fmla="*/ 1129003 w 7714416"/>
              <a:gd name="connsiteY14709" fmla="*/ 1257500 h 5282095"/>
              <a:gd name="connsiteX14710" fmla="*/ 1140118 w 7714416"/>
              <a:gd name="connsiteY14710" fmla="*/ 1261399 h 5282095"/>
              <a:gd name="connsiteX14711" fmla="*/ 1143809 w 7714416"/>
              <a:gd name="connsiteY14711" fmla="*/ 1264227 h 5282095"/>
              <a:gd name="connsiteX14712" fmla="*/ 1139471 w 7714416"/>
              <a:gd name="connsiteY14712" fmla="*/ 1259385 h 5282095"/>
              <a:gd name="connsiteX14713" fmla="*/ 1143216 w 7714416"/>
              <a:gd name="connsiteY14713" fmla="*/ 1247623 h 5282095"/>
              <a:gd name="connsiteX14714" fmla="*/ 6202124 w 7714416"/>
              <a:gd name="connsiteY14714" fmla="*/ 1245329 h 5282095"/>
              <a:gd name="connsiteX14715" fmla="*/ 6172774 w 7714416"/>
              <a:gd name="connsiteY14715" fmla="*/ 1271850 h 5282095"/>
              <a:gd name="connsiteX14716" fmla="*/ 6202124 w 7714416"/>
              <a:gd name="connsiteY14716" fmla="*/ 1245329 h 5282095"/>
              <a:gd name="connsiteX14717" fmla="*/ 1793950 w 7714416"/>
              <a:gd name="connsiteY14717" fmla="*/ 1244079 h 5282095"/>
              <a:gd name="connsiteX14718" fmla="*/ 1800718 w 7714416"/>
              <a:gd name="connsiteY14718" fmla="*/ 1244282 h 5282095"/>
              <a:gd name="connsiteX14719" fmla="*/ 1801795 w 7714416"/>
              <a:gd name="connsiteY14719" fmla="*/ 1244686 h 5282095"/>
              <a:gd name="connsiteX14720" fmla="*/ 1802188 w 7714416"/>
              <a:gd name="connsiteY14720" fmla="*/ 1244331 h 5282095"/>
              <a:gd name="connsiteX14721" fmla="*/ 1802319 w 7714416"/>
              <a:gd name="connsiteY14721" fmla="*/ 1244942 h 5282095"/>
              <a:gd name="connsiteX14722" fmla="*/ 1804810 w 7714416"/>
              <a:gd name="connsiteY14722" fmla="*/ 1245609 h 5282095"/>
              <a:gd name="connsiteX14723" fmla="*/ 1809025 w 7714416"/>
              <a:gd name="connsiteY14723" fmla="*/ 1248694 h 5282095"/>
              <a:gd name="connsiteX14724" fmla="*/ 1810330 w 7714416"/>
              <a:gd name="connsiteY14724" fmla="*/ 1251574 h 5282095"/>
              <a:gd name="connsiteX14725" fmla="*/ 1811767 w 7714416"/>
              <a:gd name="connsiteY14725" fmla="*/ 1255063 h 5282095"/>
              <a:gd name="connsiteX14726" fmla="*/ 1811594 w 7714416"/>
              <a:gd name="connsiteY14726" fmla="*/ 1255707 h 5282095"/>
              <a:gd name="connsiteX14727" fmla="*/ 1813521 w 7714416"/>
              <a:gd name="connsiteY14727" fmla="*/ 1257373 h 5282095"/>
              <a:gd name="connsiteX14728" fmla="*/ 1828800 w 7714416"/>
              <a:gd name="connsiteY14728" fmla="*/ 1266757 h 5282095"/>
              <a:gd name="connsiteX14729" fmla="*/ 1830978 w 7714416"/>
              <a:gd name="connsiteY14729" fmla="*/ 1265271 h 5282095"/>
              <a:gd name="connsiteX14730" fmla="*/ 1838711 w 7714416"/>
              <a:gd name="connsiteY14730" fmla="*/ 1262972 h 5282095"/>
              <a:gd name="connsiteX14731" fmla="*/ 1843404 w 7714416"/>
              <a:gd name="connsiteY14731" fmla="*/ 1274236 h 5282095"/>
              <a:gd name="connsiteX14732" fmla="*/ 1841140 w 7714416"/>
              <a:gd name="connsiteY14732" fmla="*/ 1276045 h 5282095"/>
              <a:gd name="connsiteX14733" fmla="*/ 1843228 w 7714416"/>
              <a:gd name="connsiteY14733" fmla="*/ 1278214 h 5282095"/>
              <a:gd name="connsiteX14734" fmla="*/ 1846056 w 7714416"/>
              <a:gd name="connsiteY14734" fmla="*/ 1284262 h 5282095"/>
              <a:gd name="connsiteX14735" fmla="*/ 1846645 w 7714416"/>
              <a:gd name="connsiteY14735" fmla="*/ 1295344 h 5282095"/>
              <a:gd name="connsiteX14736" fmla="*/ 1843576 w 7714416"/>
              <a:gd name="connsiteY14736" fmla="*/ 1300158 h 5282095"/>
              <a:gd name="connsiteX14737" fmla="*/ 1843824 w 7714416"/>
              <a:gd name="connsiteY14737" fmla="*/ 1300338 h 5282095"/>
              <a:gd name="connsiteX14738" fmla="*/ 1840809 w 7714416"/>
              <a:gd name="connsiteY14738" fmla="*/ 1308271 h 5282095"/>
              <a:gd name="connsiteX14739" fmla="*/ 1837395 w 7714416"/>
              <a:gd name="connsiteY14739" fmla="*/ 1305516 h 5282095"/>
              <a:gd name="connsiteX14740" fmla="*/ 1831933 w 7714416"/>
              <a:gd name="connsiteY14740" fmla="*/ 1308193 h 5282095"/>
              <a:gd name="connsiteX14741" fmla="*/ 1825432 w 7714416"/>
              <a:gd name="connsiteY14741" fmla="*/ 1309210 h 5282095"/>
              <a:gd name="connsiteX14742" fmla="*/ 1823215 w 7714416"/>
              <a:gd name="connsiteY14742" fmla="*/ 1311952 h 5282095"/>
              <a:gd name="connsiteX14743" fmla="*/ 1827843 w 7714416"/>
              <a:gd name="connsiteY14743" fmla="*/ 1312386 h 5282095"/>
              <a:gd name="connsiteX14744" fmla="*/ 1833108 w 7714416"/>
              <a:gd name="connsiteY14744" fmla="*/ 1315983 h 5282095"/>
              <a:gd name="connsiteX14745" fmla="*/ 1819988 w 7714416"/>
              <a:gd name="connsiteY14745" fmla="*/ 1321782 h 5282095"/>
              <a:gd name="connsiteX14746" fmla="*/ 1815956 w 7714416"/>
              <a:gd name="connsiteY14746" fmla="*/ 1316907 h 5282095"/>
              <a:gd name="connsiteX14747" fmla="*/ 1817467 w 7714416"/>
              <a:gd name="connsiteY14747" fmla="*/ 1315701 h 5282095"/>
              <a:gd name="connsiteX14748" fmla="*/ 1810885 w 7714416"/>
              <a:gd name="connsiteY14748" fmla="*/ 1319227 h 5282095"/>
              <a:gd name="connsiteX14749" fmla="*/ 1783121 w 7714416"/>
              <a:gd name="connsiteY14749" fmla="*/ 1318804 h 5282095"/>
              <a:gd name="connsiteX14750" fmla="*/ 1768528 w 7714416"/>
              <a:gd name="connsiteY14750" fmla="*/ 1310179 h 5282095"/>
              <a:gd name="connsiteX14751" fmla="*/ 1762344 w 7714416"/>
              <a:gd name="connsiteY14751" fmla="*/ 1301161 h 5282095"/>
              <a:gd name="connsiteX14752" fmla="*/ 1760662 w 7714416"/>
              <a:gd name="connsiteY14752" fmla="*/ 1294156 h 5282095"/>
              <a:gd name="connsiteX14753" fmla="*/ 1758460 w 7714416"/>
              <a:gd name="connsiteY14753" fmla="*/ 1292415 h 5282095"/>
              <a:gd name="connsiteX14754" fmla="*/ 1760349 w 7714416"/>
              <a:gd name="connsiteY14754" fmla="*/ 1292002 h 5282095"/>
              <a:gd name="connsiteX14755" fmla="*/ 1759020 w 7714416"/>
              <a:gd name="connsiteY14755" fmla="*/ 1285896 h 5282095"/>
              <a:gd name="connsiteX14756" fmla="*/ 1754525 w 7714416"/>
              <a:gd name="connsiteY14756" fmla="*/ 1268361 h 5282095"/>
              <a:gd name="connsiteX14757" fmla="*/ 1757292 w 7714416"/>
              <a:gd name="connsiteY14757" fmla="*/ 1269103 h 5282095"/>
              <a:gd name="connsiteX14758" fmla="*/ 1755978 w 7714416"/>
              <a:gd name="connsiteY14758" fmla="*/ 1267369 h 5282095"/>
              <a:gd name="connsiteX14759" fmla="*/ 1753770 w 7714416"/>
              <a:gd name="connsiteY14759" fmla="*/ 1260109 h 5282095"/>
              <a:gd name="connsiteX14760" fmla="*/ 1756600 w 7714416"/>
              <a:gd name="connsiteY14760" fmla="*/ 1257301 h 5282095"/>
              <a:gd name="connsiteX14761" fmla="*/ 1781790 w 7714416"/>
              <a:gd name="connsiteY14761" fmla="*/ 1262902 h 5282095"/>
              <a:gd name="connsiteX14762" fmla="*/ 1783219 w 7714416"/>
              <a:gd name="connsiteY14762" fmla="*/ 1264205 h 5282095"/>
              <a:gd name="connsiteX14763" fmla="*/ 1794055 w 7714416"/>
              <a:gd name="connsiteY14763" fmla="*/ 1253652 h 5282095"/>
              <a:gd name="connsiteX14764" fmla="*/ 1796940 w 7714416"/>
              <a:gd name="connsiteY14764" fmla="*/ 1250631 h 5282095"/>
              <a:gd name="connsiteX14765" fmla="*/ 1795873 w 7714416"/>
              <a:gd name="connsiteY14765" fmla="*/ 1249080 h 5282095"/>
              <a:gd name="connsiteX14766" fmla="*/ 1793950 w 7714416"/>
              <a:gd name="connsiteY14766" fmla="*/ 1244079 h 5282095"/>
              <a:gd name="connsiteX14767" fmla="*/ 5813766 w 7714416"/>
              <a:gd name="connsiteY14767" fmla="*/ 1242974 h 5282095"/>
              <a:gd name="connsiteX14768" fmla="*/ 5834056 w 7714416"/>
              <a:gd name="connsiteY14768" fmla="*/ 1246528 h 5282095"/>
              <a:gd name="connsiteX14769" fmla="*/ 5806637 w 7714416"/>
              <a:gd name="connsiteY14769" fmla="*/ 1271380 h 5282095"/>
              <a:gd name="connsiteX14770" fmla="*/ 5804958 w 7714416"/>
              <a:gd name="connsiteY14770" fmla="*/ 1269896 h 5282095"/>
              <a:gd name="connsiteX14771" fmla="*/ 5803245 w 7714416"/>
              <a:gd name="connsiteY14771" fmla="*/ 1275187 h 5282095"/>
              <a:gd name="connsiteX14772" fmla="*/ 5793326 w 7714416"/>
              <a:gd name="connsiteY14772" fmla="*/ 1267929 h 5282095"/>
              <a:gd name="connsiteX14773" fmla="*/ 5795561 w 7714416"/>
              <a:gd name="connsiteY14773" fmla="*/ 1266228 h 5282095"/>
              <a:gd name="connsiteX14774" fmla="*/ 5800334 w 7714416"/>
              <a:gd name="connsiteY14774" fmla="*/ 1266127 h 5282095"/>
              <a:gd name="connsiteX14775" fmla="*/ 5797168 w 7714416"/>
              <a:gd name="connsiteY14775" fmla="*/ 1263554 h 5282095"/>
              <a:gd name="connsiteX14776" fmla="*/ 5798142 w 7714416"/>
              <a:gd name="connsiteY14776" fmla="*/ 1254384 h 5282095"/>
              <a:gd name="connsiteX14777" fmla="*/ 5813766 w 7714416"/>
              <a:gd name="connsiteY14777" fmla="*/ 1242974 h 5282095"/>
              <a:gd name="connsiteX14778" fmla="*/ 5576994 w 7714416"/>
              <a:gd name="connsiteY14778" fmla="*/ 1242969 h 5282095"/>
              <a:gd name="connsiteX14779" fmla="*/ 5582927 w 7714416"/>
              <a:gd name="connsiteY14779" fmla="*/ 1255138 h 5282095"/>
              <a:gd name="connsiteX14780" fmla="*/ 5582251 w 7714416"/>
              <a:gd name="connsiteY14780" fmla="*/ 1262087 h 5282095"/>
              <a:gd name="connsiteX14781" fmla="*/ 5588436 w 7714416"/>
              <a:gd name="connsiteY14781" fmla="*/ 1262249 h 5282095"/>
              <a:gd name="connsiteX14782" fmla="*/ 5581381 w 7714416"/>
              <a:gd name="connsiteY14782" fmla="*/ 1280829 h 5282095"/>
              <a:gd name="connsiteX14783" fmla="*/ 5576821 w 7714416"/>
              <a:gd name="connsiteY14783" fmla="*/ 1279033 h 5282095"/>
              <a:gd name="connsiteX14784" fmla="*/ 5578388 w 7714416"/>
              <a:gd name="connsiteY14784" fmla="*/ 1268757 h 5282095"/>
              <a:gd name="connsiteX14785" fmla="*/ 5580656 w 7714416"/>
              <a:gd name="connsiteY14785" fmla="*/ 1263615 h 5282095"/>
              <a:gd name="connsiteX14786" fmla="*/ 5570996 w 7714416"/>
              <a:gd name="connsiteY14786" fmla="*/ 1264247 h 5282095"/>
              <a:gd name="connsiteX14787" fmla="*/ 5556601 w 7714416"/>
              <a:gd name="connsiteY14787" fmla="*/ 1258205 h 5282095"/>
              <a:gd name="connsiteX14788" fmla="*/ 5576994 w 7714416"/>
              <a:gd name="connsiteY14788" fmla="*/ 1242969 h 5282095"/>
              <a:gd name="connsiteX14789" fmla="*/ 5239871 w 7714416"/>
              <a:gd name="connsiteY14789" fmla="*/ 1242683 h 5282095"/>
              <a:gd name="connsiteX14790" fmla="*/ 5245128 w 7714416"/>
              <a:gd name="connsiteY14790" fmla="*/ 1252947 h 5282095"/>
              <a:gd name="connsiteX14791" fmla="*/ 5234491 w 7714416"/>
              <a:gd name="connsiteY14791" fmla="*/ 1248372 h 5282095"/>
              <a:gd name="connsiteX14792" fmla="*/ 5239871 w 7714416"/>
              <a:gd name="connsiteY14792" fmla="*/ 1242683 h 5282095"/>
              <a:gd name="connsiteX14793" fmla="*/ 1689281 w 7714416"/>
              <a:gd name="connsiteY14793" fmla="*/ 1241793 h 5282095"/>
              <a:gd name="connsiteX14794" fmla="*/ 1671381 w 7714416"/>
              <a:gd name="connsiteY14794" fmla="*/ 1245508 h 5282095"/>
              <a:gd name="connsiteX14795" fmla="*/ 1689281 w 7714416"/>
              <a:gd name="connsiteY14795" fmla="*/ 1241793 h 5282095"/>
              <a:gd name="connsiteX14796" fmla="*/ 1092792 w 7714416"/>
              <a:gd name="connsiteY14796" fmla="*/ 1241012 h 5282095"/>
              <a:gd name="connsiteX14797" fmla="*/ 1095764 w 7714416"/>
              <a:gd name="connsiteY14797" fmla="*/ 1246524 h 5282095"/>
              <a:gd name="connsiteX14798" fmla="*/ 1085914 w 7714416"/>
              <a:gd name="connsiteY14798" fmla="*/ 1246759 h 5282095"/>
              <a:gd name="connsiteX14799" fmla="*/ 1082941 w 7714416"/>
              <a:gd name="connsiteY14799" fmla="*/ 1241248 h 5282095"/>
              <a:gd name="connsiteX14800" fmla="*/ 1092792 w 7714416"/>
              <a:gd name="connsiteY14800" fmla="*/ 1241012 h 5282095"/>
              <a:gd name="connsiteX14801" fmla="*/ 1243286 w 7714416"/>
              <a:gd name="connsiteY14801" fmla="*/ 1240512 h 5282095"/>
              <a:gd name="connsiteX14802" fmla="*/ 1266656 w 7714416"/>
              <a:gd name="connsiteY14802" fmla="*/ 1245164 h 5282095"/>
              <a:gd name="connsiteX14803" fmla="*/ 1266368 w 7714416"/>
              <a:gd name="connsiteY14803" fmla="*/ 1246236 h 5282095"/>
              <a:gd name="connsiteX14804" fmla="*/ 1248943 w 7714416"/>
              <a:gd name="connsiteY14804" fmla="*/ 1243752 h 5282095"/>
              <a:gd name="connsiteX14805" fmla="*/ 1242999 w 7714416"/>
              <a:gd name="connsiteY14805" fmla="*/ 1241584 h 5282095"/>
              <a:gd name="connsiteX14806" fmla="*/ 1244660 w 7714416"/>
              <a:gd name="connsiteY14806" fmla="*/ 1242029 h 5282095"/>
              <a:gd name="connsiteX14807" fmla="*/ 1243286 w 7714416"/>
              <a:gd name="connsiteY14807" fmla="*/ 1240512 h 5282095"/>
              <a:gd name="connsiteX14808" fmla="*/ 898423 w 7714416"/>
              <a:gd name="connsiteY14808" fmla="*/ 1240337 h 5282095"/>
              <a:gd name="connsiteX14809" fmla="*/ 914069 w 7714416"/>
              <a:gd name="connsiteY14809" fmla="*/ 1246139 h 5282095"/>
              <a:gd name="connsiteX14810" fmla="*/ 903704 w 7714416"/>
              <a:gd name="connsiteY14810" fmla="*/ 1262683 h 5282095"/>
              <a:gd name="connsiteX14811" fmla="*/ 897008 w 7714416"/>
              <a:gd name="connsiteY14811" fmla="*/ 1261119 h 5282095"/>
              <a:gd name="connsiteX14812" fmla="*/ 898423 w 7714416"/>
              <a:gd name="connsiteY14812" fmla="*/ 1240337 h 5282095"/>
              <a:gd name="connsiteX14813" fmla="*/ 5492865 w 7714416"/>
              <a:gd name="connsiteY14813" fmla="*/ 1239286 h 5282095"/>
              <a:gd name="connsiteX14814" fmla="*/ 5495704 w 7714416"/>
              <a:gd name="connsiteY14814" fmla="*/ 1253043 h 5282095"/>
              <a:gd name="connsiteX14815" fmla="*/ 5486642 w 7714416"/>
              <a:gd name="connsiteY14815" fmla="*/ 1240379 h 5282095"/>
              <a:gd name="connsiteX14816" fmla="*/ 5492865 w 7714416"/>
              <a:gd name="connsiteY14816" fmla="*/ 1239286 h 5282095"/>
              <a:gd name="connsiteX14817" fmla="*/ 1713221 w 7714416"/>
              <a:gd name="connsiteY14817" fmla="*/ 1238778 h 5282095"/>
              <a:gd name="connsiteX14818" fmla="*/ 1716300 w 7714416"/>
              <a:gd name="connsiteY14818" fmla="*/ 1241674 h 5282095"/>
              <a:gd name="connsiteX14819" fmla="*/ 1717677 w 7714416"/>
              <a:gd name="connsiteY14819" fmla="*/ 1239858 h 5282095"/>
              <a:gd name="connsiteX14820" fmla="*/ 1724027 w 7714416"/>
              <a:gd name="connsiteY14820" fmla="*/ 1246043 h 5282095"/>
              <a:gd name="connsiteX14821" fmla="*/ 1727089 w 7714416"/>
              <a:gd name="connsiteY14821" fmla="*/ 1247899 h 5282095"/>
              <a:gd name="connsiteX14822" fmla="*/ 1723976 w 7714416"/>
              <a:gd name="connsiteY14822" fmla="*/ 1248446 h 5282095"/>
              <a:gd name="connsiteX14823" fmla="*/ 1720688 w 7714416"/>
              <a:gd name="connsiteY14823" fmla="*/ 1244114 h 5282095"/>
              <a:gd name="connsiteX14824" fmla="*/ 1717605 w 7714416"/>
              <a:gd name="connsiteY14824" fmla="*/ 1244553 h 5282095"/>
              <a:gd name="connsiteX14825" fmla="*/ 1715927 w 7714416"/>
              <a:gd name="connsiteY14825" fmla="*/ 1243068 h 5282095"/>
              <a:gd name="connsiteX14826" fmla="*/ 1715737 w 7714416"/>
              <a:gd name="connsiteY14826" fmla="*/ 1242673 h 5282095"/>
              <a:gd name="connsiteX14827" fmla="*/ 1715402 w 7714416"/>
              <a:gd name="connsiteY14827" fmla="*/ 1242813 h 5282095"/>
              <a:gd name="connsiteX14828" fmla="*/ 1715927 w 7714416"/>
              <a:gd name="connsiteY14828" fmla="*/ 1243068 h 5282095"/>
              <a:gd name="connsiteX14829" fmla="*/ 1714044 w 7714416"/>
              <a:gd name="connsiteY14829" fmla="*/ 1254523 h 5282095"/>
              <a:gd name="connsiteX14830" fmla="*/ 1715837 w 7714416"/>
              <a:gd name="connsiteY14830" fmla="*/ 1255579 h 5282095"/>
              <a:gd name="connsiteX14831" fmla="*/ 1717365 w 7714416"/>
              <a:gd name="connsiteY14831" fmla="*/ 1255413 h 5282095"/>
              <a:gd name="connsiteX14832" fmla="*/ 1718751 w 7714416"/>
              <a:gd name="connsiteY14832" fmla="*/ 1252450 h 5282095"/>
              <a:gd name="connsiteX14833" fmla="*/ 1733613 w 7714416"/>
              <a:gd name="connsiteY14833" fmla="*/ 1250108 h 5282095"/>
              <a:gd name="connsiteX14834" fmla="*/ 1743654 w 7714416"/>
              <a:gd name="connsiteY14834" fmla="*/ 1259123 h 5282095"/>
              <a:gd name="connsiteX14835" fmla="*/ 1744284 w 7714416"/>
              <a:gd name="connsiteY14835" fmla="*/ 1260097 h 5282095"/>
              <a:gd name="connsiteX14836" fmla="*/ 1745742 w 7714416"/>
              <a:gd name="connsiteY14836" fmla="*/ 1261292 h 5282095"/>
              <a:gd name="connsiteX14837" fmla="*/ 1751474 w 7714416"/>
              <a:gd name="connsiteY14837" fmla="*/ 1265358 h 5282095"/>
              <a:gd name="connsiteX14838" fmla="*/ 1751435 w 7714416"/>
              <a:gd name="connsiteY14838" fmla="*/ 1266613 h 5282095"/>
              <a:gd name="connsiteX14839" fmla="*/ 1747493 w 7714416"/>
              <a:gd name="connsiteY14839" fmla="*/ 1266937 h 5282095"/>
              <a:gd name="connsiteX14840" fmla="*/ 1745480 w 7714416"/>
              <a:gd name="connsiteY14840" fmla="*/ 1265592 h 5282095"/>
              <a:gd name="connsiteX14841" fmla="*/ 1744854 w 7714416"/>
              <a:gd name="connsiteY14841" fmla="*/ 1270140 h 5282095"/>
              <a:gd name="connsiteX14842" fmla="*/ 1738315 w 7714416"/>
              <a:gd name="connsiteY14842" fmla="*/ 1272413 h 5282095"/>
              <a:gd name="connsiteX14843" fmla="*/ 1735565 w 7714416"/>
              <a:gd name="connsiteY14843" fmla="*/ 1272711 h 5282095"/>
              <a:gd name="connsiteX14844" fmla="*/ 1739439 w 7714416"/>
              <a:gd name="connsiteY14844" fmla="*/ 1273749 h 5282095"/>
              <a:gd name="connsiteX14845" fmla="*/ 1744244 w 7714416"/>
              <a:gd name="connsiteY14845" fmla="*/ 1279061 h 5282095"/>
              <a:gd name="connsiteX14846" fmla="*/ 1723660 w 7714416"/>
              <a:gd name="connsiteY14846" fmla="*/ 1293901 h 5282095"/>
              <a:gd name="connsiteX14847" fmla="*/ 1721665 w 7714416"/>
              <a:gd name="connsiteY14847" fmla="*/ 1293596 h 5282095"/>
              <a:gd name="connsiteX14848" fmla="*/ 1719936 w 7714416"/>
              <a:gd name="connsiteY14848" fmla="*/ 1294514 h 5282095"/>
              <a:gd name="connsiteX14849" fmla="*/ 1719879 w 7714416"/>
              <a:gd name="connsiteY14849" fmla="*/ 1294727 h 5282095"/>
              <a:gd name="connsiteX14850" fmla="*/ 1719839 w 7714416"/>
              <a:gd name="connsiteY14850" fmla="*/ 1295983 h 5282095"/>
              <a:gd name="connsiteX14851" fmla="*/ 1715455 w 7714416"/>
              <a:gd name="connsiteY14851" fmla="*/ 1299063 h 5282095"/>
              <a:gd name="connsiteX14852" fmla="*/ 1713375 w 7714416"/>
              <a:gd name="connsiteY14852" fmla="*/ 1299080 h 5282095"/>
              <a:gd name="connsiteX14853" fmla="*/ 1711391 w 7714416"/>
              <a:gd name="connsiteY14853" fmla="*/ 1297629 h 5282095"/>
              <a:gd name="connsiteX14854" fmla="*/ 1706770 w 7714416"/>
              <a:gd name="connsiteY14854" fmla="*/ 1290525 h 5282095"/>
              <a:gd name="connsiteX14855" fmla="*/ 1677134 w 7714416"/>
              <a:gd name="connsiteY14855" fmla="*/ 1282699 h 5282095"/>
              <a:gd name="connsiteX14856" fmla="*/ 1679380 w 7714416"/>
              <a:gd name="connsiteY14856" fmla="*/ 1270996 h 5282095"/>
              <a:gd name="connsiteX14857" fmla="*/ 1709415 w 7714416"/>
              <a:gd name="connsiteY14857" fmla="*/ 1271799 h 5282095"/>
              <a:gd name="connsiteX14858" fmla="*/ 1709375 w 7714416"/>
              <a:gd name="connsiteY14858" fmla="*/ 1273053 h 5282095"/>
              <a:gd name="connsiteX14859" fmla="*/ 1719530 w 7714416"/>
              <a:gd name="connsiteY14859" fmla="*/ 1272785 h 5282095"/>
              <a:gd name="connsiteX14860" fmla="*/ 1720350 w 7714416"/>
              <a:gd name="connsiteY14860" fmla="*/ 1274153 h 5282095"/>
              <a:gd name="connsiteX14861" fmla="*/ 1720903 w 7714416"/>
              <a:gd name="connsiteY14861" fmla="*/ 1274302 h 5282095"/>
              <a:gd name="connsiteX14862" fmla="*/ 1727501 w 7714416"/>
              <a:gd name="connsiteY14862" fmla="*/ 1271815 h 5282095"/>
              <a:gd name="connsiteX14863" fmla="*/ 1726366 w 7714416"/>
              <a:gd name="connsiteY14863" fmla="*/ 1271625 h 5282095"/>
              <a:gd name="connsiteX14864" fmla="*/ 1715700 w 7714416"/>
              <a:gd name="connsiteY14864" fmla="*/ 1258303 h 5282095"/>
              <a:gd name="connsiteX14865" fmla="*/ 1714374 w 7714416"/>
              <a:gd name="connsiteY14865" fmla="*/ 1257718 h 5282095"/>
              <a:gd name="connsiteX14866" fmla="*/ 1714553 w 7714416"/>
              <a:gd name="connsiteY14866" fmla="*/ 1259261 h 5282095"/>
              <a:gd name="connsiteX14867" fmla="*/ 1715039 w 7714416"/>
              <a:gd name="connsiteY14867" fmla="*/ 1260771 h 5282095"/>
              <a:gd name="connsiteX14868" fmla="*/ 1713299 w 7714416"/>
              <a:gd name="connsiteY14868" fmla="*/ 1262835 h 5282095"/>
              <a:gd name="connsiteX14869" fmla="*/ 1703152 w 7714416"/>
              <a:gd name="connsiteY14869" fmla="*/ 1265290 h 5282095"/>
              <a:gd name="connsiteX14870" fmla="*/ 1706148 w 7714416"/>
              <a:gd name="connsiteY14870" fmla="*/ 1247463 h 5282095"/>
              <a:gd name="connsiteX14871" fmla="*/ 1709063 w 7714416"/>
              <a:gd name="connsiteY14871" fmla="*/ 1244334 h 5282095"/>
              <a:gd name="connsiteX14872" fmla="*/ 1705910 w 7714416"/>
              <a:gd name="connsiteY14872" fmla="*/ 1240614 h 5282095"/>
              <a:gd name="connsiteX14873" fmla="*/ 1713221 w 7714416"/>
              <a:gd name="connsiteY14873" fmla="*/ 1238778 h 5282095"/>
              <a:gd name="connsiteX14874" fmla="*/ 5173706 w 7714416"/>
              <a:gd name="connsiteY14874" fmla="*/ 1237259 h 5282095"/>
              <a:gd name="connsiteX14875" fmla="*/ 5205761 w 7714416"/>
              <a:gd name="connsiteY14875" fmla="*/ 1259303 h 5282095"/>
              <a:gd name="connsiteX14876" fmla="*/ 5193381 w 7714416"/>
              <a:gd name="connsiteY14876" fmla="*/ 1260126 h 5282095"/>
              <a:gd name="connsiteX14877" fmla="*/ 5180185 w 7714416"/>
              <a:gd name="connsiteY14877" fmla="*/ 1256245 h 5282095"/>
              <a:gd name="connsiteX14878" fmla="*/ 5168977 w 7714416"/>
              <a:gd name="connsiteY14878" fmla="*/ 1241628 h 5282095"/>
              <a:gd name="connsiteX14879" fmla="*/ 5173706 w 7714416"/>
              <a:gd name="connsiteY14879" fmla="*/ 1237259 h 5282095"/>
              <a:gd name="connsiteX14880" fmla="*/ 808357 w 7714416"/>
              <a:gd name="connsiteY14880" fmla="*/ 1236674 h 5282095"/>
              <a:gd name="connsiteX14881" fmla="*/ 820014 w 7714416"/>
              <a:gd name="connsiteY14881" fmla="*/ 1241867 h 5282095"/>
              <a:gd name="connsiteX14882" fmla="*/ 811760 w 7714416"/>
              <a:gd name="connsiteY14882" fmla="*/ 1249432 h 5282095"/>
              <a:gd name="connsiteX14883" fmla="*/ 803728 w 7714416"/>
              <a:gd name="connsiteY14883" fmla="*/ 1245094 h 5282095"/>
              <a:gd name="connsiteX14884" fmla="*/ 808357 w 7714416"/>
              <a:gd name="connsiteY14884" fmla="*/ 1236674 h 5282095"/>
              <a:gd name="connsiteX14885" fmla="*/ 1785732 w 7714416"/>
              <a:gd name="connsiteY14885" fmla="*/ 1236012 h 5282095"/>
              <a:gd name="connsiteX14886" fmla="*/ 1790913 w 7714416"/>
              <a:gd name="connsiteY14886" fmla="*/ 1236596 h 5282095"/>
              <a:gd name="connsiteX14887" fmla="*/ 1790597 w 7714416"/>
              <a:gd name="connsiteY14887" fmla="*/ 1237776 h 5282095"/>
              <a:gd name="connsiteX14888" fmla="*/ 1790716 w 7714416"/>
              <a:gd name="connsiteY14888" fmla="*/ 1242867 h 5282095"/>
              <a:gd name="connsiteX14889" fmla="*/ 1786946 w 7714416"/>
              <a:gd name="connsiteY14889" fmla="*/ 1242548 h 5282095"/>
              <a:gd name="connsiteX14890" fmla="*/ 1782587 w 7714416"/>
              <a:gd name="connsiteY14890" fmla="*/ 1240000 h 5282095"/>
              <a:gd name="connsiteX14891" fmla="*/ 1785732 w 7714416"/>
              <a:gd name="connsiteY14891" fmla="*/ 1236012 h 5282095"/>
              <a:gd name="connsiteX14892" fmla="*/ 1478868 w 7714416"/>
              <a:gd name="connsiteY14892" fmla="*/ 1234412 h 5282095"/>
              <a:gd name="connsiteX14893" fmla="*/ 1489360 w 7714416"/>
              <a:gd name="connsiteY14893" fmla="*/ 1238596 h 5282095"/>
              <a:gd name="connsiteX14894" fmla="*/ 1449758 w 7714416"/>
              <a:gd name="connsiteY14894" fmla="*/ 1249145 h 5282095"/>
              <a:gd name="connsiteX14895" fmla="*/ 1445953 w 7714416"/>
              <a:gd name="connsiteY14895" fmla="*/ 1246745 h 5282095"/>
              <a:gd name="connsiteX14896" fmla="*/ 1478868 w 7714416"/>
              <a:gd name="connsiteY14896" fmla="*/ 1234412 h 5282095"/>
              <a:gd name="connsiteX14897" fmla="*/ 5664884 w 7714416"/>
              <a:gd name="connsiteY14897" fmla="*/ 1230537 h 5282095"/>
              <a:gd name="connsiteX14898" fmla="*/ 5678538 w 7714416"/>
              <a:gd name="connsiteY14898" fmla="*/ 1232572 h 5282095"/>
              <a:gd name="connsiteX14899" fmla="*/ 5684104 w 7714416"/>
              <a:gd name="connsiteY14899" fmla="*/ 1239468 h 5282095"/>
              <a:gd name="connsiteX14900" fmla="*/ 5666862 w 7714416"/>
              <a:gd name="connsiteY14900" fmla="*/ 1244048 h 5282095"/>
              <a:gd name="connsiteX14901" fmla="*/ 5660624 w 7714416"/>
              <a:gd name="connsiteY14901" fmla="*/ 1240766 h 5282095"/>
              <a:gd name="connsiteX14902" fmla="*/ 5664884 w 7714416"/>
              <a:gd name="connsiteY14902" fmla="*/ 1230537 h 5282095"/>
              <a:gd name="connsiteX14903" fmla="*/ 5940541 w 7714416"/>
              <a:gd name="connsiteY14903" fmla="*/ 1229863 h 5282095"/>
              <a:gd name="connsiteX14904" fmla="*/ 5952989 w 7714416"/>
              <a:gd name="connsiteY14904" fmla="*/ 1245390 h 5282095"/>
              <a:gd name="connsiteX14905" fmla="*/ 5945716 w 7714416"/>
              <a:gd name="connsiteY14905" fmla="*/ 1245970 h 5282095"/>
              <a:gd name="connsiteX14906" fmla="*/ 5936756 w 7714416"/>
              <a:gd name="connsiteY14906" fmla="*/ 1242880 h 5282095"/>
              <a:gd name="connsiteX14907" fmla="*/ 5940541 w 7714416"/>
              <a:gd name="connsiteY14907" fmla="*/ 1229863 h 5282095"/>
              <a:gd name="connsiteX14908" fmla="*/ 5694414 w 7714416"/>
              <a:gd name="connsiteY14908" fmla="*/ 1228661 h 5282095"/>
              <a:gd name="connsiteX14909" fmla="*/ 5701033 w 7714416"/>
              <a:gd name="connsiteY14909" fmla="*/ 1232734 h 5282095"/>
              <a:gd name="connsiteX14910" fmla="*/ 5701386 w 7714416"/>
              <a:gd name="connsiteY14910" fmla="*/ 1233634 h 5282095"/>
              <a:gd name="connsiteX14911" fmla="*/ 5709181 w 7714416"/>
              <a:gd name="connsiteY14911" fmla="*/ 1236642 h 5282095"/>
              <a:gd name="connsiteX14912" fmla="*/ 5715836 w 7714416"/>
              <a:gd name="connsiteY14912" fmla="*/ 1242796 h 5282095"/>
              <a:gd name="connsiteX14913" fmla="*/ 5706615 w 7714416"/>
              <a:gd name="connsiteY14913" fmla="*/ 1244004 h 5282095"/>
              <a:gd name="connsiteX14914" fmla="*/ 5703570 w 7714416"/>
              <a:gd name="connsiteY14914" fmla="*/ 1243189 h 5282095"/>
              <a:gd name="connsiteX14915" fmla="*/ 5702549 w 7714416"/>
              <a:gd name="connsiteY14915" fmla="*/ 1251425 h 5282095"/>
              <a:gd name="connsiteX14916" fmla="*/ 5698485 w 7714416"/>
              <a:gd name="connsiteY14916" fmla="*/ 1258846 h 5282095"/>
              <a:gd name="connsiteX14917" fmla="*/ 5703915 w 7714416"/>
              <a:gd name="connsiteY14917" fmla="*/ 1259611 h 5282095"/>
              <a:gd name="connsiteX14918" fmla="*/ 5715188 w 7714416"/>
              <a:gd name="connsiteY14918" fmla="*/ 1276202 h 5282095"/>
              <a:gd name="connsiteX14919" fmla="*/ 5699746 w 7714416"/>
              <a:gd name="connsiteY14919" fmla="*/ 1275170 h 5282095"/>
              <a:gd name="connsiteX14920" fmla="*/ 5697889 w 7714416"/>
              <a:gd name="connsiteY14920" fmla="*/ 1272142 h 5282095"/>
              <a:gd name="connsiteX14921" fmla="*/ 5695628 w 7714416"/>
              <a:gd name="connsiteY14921" fmla="*/ 1270617 h 5282095"/>
              <a:gd name="connsiteX14922" fmla="*/ 5691733 w 7714416"/>
              <a:gd name="connsiteY14922" fmla="*/ 1271872 h 5282095"/>
              <a:gd name="connsiteX14923" fmla="*/ 5686784 w 7714416"/>
              <a:gd name="connsiteY14923" fmla="*/ 1275951 h 5282095"/>
              <a:gd name="connsiteX14924" fmla="*/ 5683108 w 7714416"/>
              <a:gd name="connsiteY14924" fmla="*/ 1268642 h 5282095"/>
              <a:gd name="connsiteX14925" fmla="*/ 5683201 w 7714416"/>
              <a:gd name="connsiteY14925" fmla="*/ 1261651 h 5282095"/>
              <a:gd name="connsiteX14926" fmla="*/ 5693831 w 7714416"/>
              <a:gd name="connsiteY14926" fmla="*/ 1264040 h 5282095"/>
              <a:gd name="connsiteX14927" fmla="*/ 5693386 w 7714416"/>
              <a:gd name="connsiteY14927" fmla="*/ 1261276 h 5282095"/>
              <a:gd name="connsiteX14928" fmla="*/ 5695050 w 7714416"/>
              <a:gd name="connsiteY14928" fmla="*/ 1258386 h 5282095"/>
              <a:gd name="connsiteX14929" fmla="*/ 5697903 w 7714416"/>
              <a:gd name="connsiteY14929" fmla="*/ 1258806 h 5282095"/>
              <a:gd name="connsiteX14930" fmla="*/ 5690953 w 7714416"/>
              <a:gd name="connsiteY14930" fmla="*/ 1251539 h 5282095"/>
              <a:gd name="connsiteX14931" fmla="*/ 5689232 w 7714416"/>
              <a:gd name="connsiteY14931" fmla="*/ 1245787 h 5282095"/>
              <a:gd name="connsiteX14932" fmla="*/ 5690644 w 7714416"/>
              <a:gd name="connsiteY14932" fmla="*/ 1237196 h 5282095"/>
              <a:gd name="connsiteX14933" fmla="*/ 5690817 w 7714416"/>
              <a:gd name="connsiteY14933" fmla="*/ 1236552 h 5282095"/>
              <a:gd name="connsiteX14934" fmla="*/ 5686544 w 7714416"/>
              <a:gd name="connsiteY14934" fmla="*/ 1233682 h 5282095"/>
              <a:gd name="connsiteX14935" fmla="*/ 5692463 w 7714416"/>
              <a:gd name="connsiteY14935" fmla="*/ 1232623 h 5282095"/>
              <a:gd name="connsiteX14936" fmla="*/ 5692492 w 7714416"/>
              <a:gd name="connsiteY14936" fmla="*/ 1232516 h 5282095"/>
              <a:gd name="connsiteX14937" fmla="*/ 1654316 w 7714416"/>
              <a:gd name="connsiteY14937" fmla="*/ 1228399 h 5282095"/>
              <a:gd name="connsiteX14938" fmla="*/ 1652475 w 7714416"/>
              <a:gd name="connsiteY14938" fmla="*/ 1244122 h 5282095"/>
              <a:gd name="connsiteX14939" fmla="*/ 1644317 w 7714416"/>
              <a:gd name="connsiteY14939" fmla="*/ 1241361 h 5282095"/>
              <a:gd name="connsiteX14940" fmla="*/ 1638259 w 7714416"/>
              <a:gd name="connsiteY14940" fmla="*/ 1230767 h 5282095"/>
              <a:gd name="connsiteX14941" fmla="*/ 1654316 w 7714416"/>
              <a:gd name="connsiteY14941" fmla="*/ 1228399 h 5282095"/>
              <a:gd name="connsiteX14942" fmla="*/ 5637715 w 7714416"/>
              <a:gd name="connsiteY14942" fmla="*/ 1225543 h 5282095"/>
              <a:gd name="connsiteX14943" fmla="*/ 5644068 w 7714416"/>
              <a:gd name="connsiteY14943" fmla="*/ 1237250 h 5282095"/>
              <a:gd name="connsiteX14944" fmla="*/ 5630426 w 7714416"/>
              <a:gd name="connsiteY14944" fmla="*/ 1239461 h 5282095"/>
              <a:gd name="connsiteX14945" fmla="*/ 5621023 w 7714416"/>
              <a:gd name="connsiteY14945" fmla="*/ 1233605 h 5282095"/>
              <a:gd name="connsiteX14946" fmla="*/ 5621612 w 7714416"/>
              <a:gd name="connsiteY14946" fmla="*/ 1226978 h 5282095"/>
              <a:gd name="connsiteX14947" fmla="*/ 5637715 w 7714416"/>
              <a:gd name="connsiteY14947" fmla="*/ 1225543 h 5282095"/>
              <a:gd name="connsiteX14948" fmla="*/ 1474762 w 7714416"/>
              <a:gd name="connsiteY14948" fmla="*/ 1224449 h 5282095"/>
              <a:gd name="connsiteX14949" fmla="*/ 1485913 w 7714416"/>
              <a:gd name="connsiteY14949" fmla="*/ 1230427 h 5282095"/>
              <a:gd name="connsiteX14950" fmla="*/ 1473350 w 7714416"/>
              <a:gd name="connsiteY14950" fmla="*/ 1233041 h 5282095"/>
              <a:gd name="connsiteX14951" fmla="*/ 1474762 w 7714416"/>
              <a:gd name="connsiteY14951" fmla="*/ 1224449 h 5282095"/>
              <a:gd name="connsiteX14952" fmla="*/ 1275487 w 7714416"/>
              <a:gd name="connsiteY14952" fmla="*/ 1223824 h 5282095"/>
              <a:gd name="connsiteX14953" fmla="*/ 1286567 w 7714416"/>
              <a:gd name="connsiteY14953" fmla="*/ 1225083 h 5282095"/>
              <a:gd name="connsiteX14954" fmla="*/ 1272664 w 7714416"/>
              <a:gd name="connsiteY14954" fmla="*/ 1231593 h 5282095"/>
              <a:gd name="connsiteX14955" fmla="*/ 1275487 w 7714416"/>
              <a:gd name="connsiteY14955" fmla="*/ 1223824 h 5282095"/>
              <a:gd name="connsiteX14956" fmla="*/ 1832312 w 7714416"/>
              <a:gd name="connsiteY14956" fmla="*/ 1223767 h 5282095"/>
              <a:gd name="connsiteX14957" fmla="*/ 1830045 w 7714416"/>
              <a:gd name="connsiteY14957" fmla="*/ 1228910 h 5282095"/>
              <a:gd name="connsiteX14958" fmla="*/ 1826986 w 7714416"/>
              <a:gd name="connsiteY14958" fmla="*/ 1232576 h 5282095"/>
              <a:gd name="connsiteX14959" fmla="*/ 1827510 w 7714416"/>
              <a:gd name="connsiteY14959" fmla="*/ 1232832 h 5282095"/>
              <a:gd name="connsiteX14960" fmla="*/ 1842908 w 7714416"/>
              <a:gd name="connsiteY14960" fmla="*/ 1247307 h 5282095"/>
              <a:gd name="connsiteX14961" fmla="*/ 1830199 w 7714416"/>
              <a:gd name="connsiteY14961" fmla="*/ 1244937 h 5282095"/>
              <a:gd name="connsiteX14962" fmla="*/ 1804231 w 7714416"/>
              <a:gd name="connsiteY14962" fmla="*/ 1224523 h 5282095"/>
              <a:gd name="connsiteX14963" fmla="*/ 1816331 w 7714416"/>
              <a:gd name="connsiteY14963" fmla="*/ 1226961 h 5282095"/>
              <a:gd name="connsiteX14964" fmla="*/ 1826738 w 7714416"/>
              <a:gd name="connsiteY14964" fmla="*/ 1232395 h 5282095"/>
              <a:gd name="connsiteX14965" fmla="*/ 1826695 w 7714416"/>
              <a:gd name="connsiteY14965" fmla="*/ 1228128 h 5282095"/>
              <a:gd name="connsiteX14966" fmla="*/ 1830365 w 7714416"/>
              <a:gd name="connsiteY14966" fmla="*/ 1224397 h 5282095"/>
              <a:gd name="connsiteX14967" fmla="*/ 1832312 w 7714416"/>
              <a:gd name="connsiteY14967" fmla="*/ 1223767 h 5282095"/>
              <a:gd name="connsiteX14968" fmla="*/ 1132890 w 7714416"/>
              <a:gd name="connsiteY14968" fmla="*/ 1220448 h 5282095"/>
              <a:gd name="connsiteX14969" fmla="*/ 1137499 w 7714416"/>
              <a:gd name="connsiteY14969" fmla="*/ 1221366 h 5282095"/>
              <a:gd name="connsiteX14970" fmla="*/ 1140770 w 7714416"/>
              <a:gd name="connsiteY14970" fmla="*/ 1224657 h 5282095"/>
              <a:gd name="connsiteX14971" fmla="*/ 1136148 w 7714416"/>
              <a:gd name="connsiteY14971" fmla="*/ 1226409 h 5282095"/>
              <a:gd name="connsiteX14972" fmla="*/ 1130938 w 7714416"/>
              <a:gd name="connsiteY14972" fmla="*/ 1225933 h 5282095"/>
              <a:gd name="connsiteX14973" fmla="*/ 1129622 w 7714416"/>
              <a:gd name="connsiteY14973" fmla="*/ 1224201 h 5282095"/>
              <a:gd name="connsiteX14974" fmla="*/ 1128929 w 7714416"/>
              <a:gd name="connsiteY14974" fmla="*/ 1221255 h 5282095"/>
              <a:gd name="connsiteX14975" fmla="*/ 1132890 w 7714416"/>
              <a:gd name="connsiteY14975" fmla="*/ 1220448 h 5282095"/>
              <a:gd name="connsiteX14976" fmla="*/ 5999803 w 7714416"/>
              <a:gd name="connsiteY14976" fmla="*/ 1220098 h 5282095"/>
              <a:gd name="connsiteX14977" fmla="*/ 6012093 w 7714416"/>
              <a:gd name="connsiteY14977" fmla="*/ 1222931 h 5282095"/>
              <a:gd name="connsiteX14978" fmla="*/ 6018755 w 7714416"/>
              <a:gd name="connsiteY14978" fmla="*/ 1231270 h 5282095"/>
              <a:gd name="connsiteX14979" fmla="*/ 5997689 w 7714416"/>
              <a:gd name="connsiteY14979" fmla="*/ 1232411 h 5282095"/>
              <a:gd name="connsiteX14980" fmla="*/ 5999803 w 7714416"/>
              <a:gd name="connsiteY14980" fmla="*/ 1220098 h 5282095"/>
              <a:gd name="connsiteX14981" fmla="*/ 1555675 w 7714416"/>
              <a:gd name="connsiteY14981" fmla="*/ 1219105 h 5282095"/>
              <a:gd name="connsiteX14982" fmla="*/ 1645166 w 7714416"/>
              <a:gd name="connsiteY14982" fmla="*/ 1242624 h 5282095"/>
              <a:gd name="connsiteX14983" fmla="*/ 1654200 w 7714416"/>
              <a:gd name="connsiteY14983" fmla="*/ 1290814 h 5282095"/>
              <a:gd name="connsiteX14984" fmla="*/ 1628610 w 7714416"/>
              <a:gd name="connsiteY14984" fmla="*/ 1309948 h 5282095"/>
              <a:gd name="connsiteX14985" fmla="*/ 1578174 w 7714416"/>
              <a:gd name="connsiteY14985" fmla="*/ 1313339 h 5282095"/>
              <a:gd name="connsiteX14986" fmla="*/ 1552972 w 7714416"/>
              <a:gd name="connsiteY14986" fmla="*/ 1300032 h 5282095"/>
              <a:gd name="connsiteX14987" fmla="*/ 1539503 w 7714416"/>
              <a:gd name="connsiteY14987" fmla="*/ 1292742 h 5282095"/>
              <a:gd name="connsiteX14988" fmla="*/ 1534784 w 7714416"/>
              <a:gd name="connsiteY14988" fmla="*/ 1295962 h 5282095"/>
              <a:gd name="connsiteX14989" fmla="*/ 1532740 w 7714416"/>
              <a:gd name="connsiteY14989" fmla="*/ 1289205 h 5282095"/>
              <a:gd name="connsiteX14990" fmla="*/ 1527799 w 7714416"/>
              <a:gd name="connsiteY14990" fmla="*/ 1286616 h 5282095"/>
              <a:gd name="connsiteX14991" fmla="*/ 1523807 w 7714416"/>
              <a:gd name="connsiteY14991" fmla="*/ 1236210 h 5282095"/>
              <a:gd name="connsiteX14992" fmla="*/ 1555675 w 7714416"/>
              <a:gd name="connsiteY14992" fmla="*/ 1219105 h 5282095"/>
              <a:gd name="connsiteX14993" fmla="*/ 5815456 w 7714416"/>
              <a:gd name="connsiteY14993" fmla="*/ 1218543 h 5282095"/>
              <a:gd name="connsiteX14994" fmla="*/ 5822528 w 7714416"/>
              <a:gd name="connsiteY14994" fmla="*/ 1218713 h 5282095"/>
              <a:gd name="connsiteX14995" fmla="*/ 5833180 w 7714416"/>
              <a:gd name="connsiteY14995" fmla="*/ 1236517 h 5282095"/>
              <a:gd name="connsiteX14996" fmla="*/ 5814562 w 7714416"/>
              <a:gd name="connsiteY14996" fmla="*/ 1225203 h 5282095"/>
              <a:gd name="connsiteX14997" fmla="*/ 5815456 w 7714416"/>
              <a:gd name="connsiteY14997" fmla="*/ 1218543 h 5282095"/>
              <a:gd name="connsiteX14998" fmla="*/ 5634870 w 7714416"/>
              <a:gd name="connsiteY14998" fmla="*/ 1218455 h 5282095"/>
              <a:gd name="connsiteX14999" fmla="*/ 5633662 w 7714416"/>
              <a:gd name="connsiteY14999" fmla="*/ 1222963 h 5282095"/>
              <a:gd name="connsiteX15000" fmla="*/ 5632807 w 7714416"/>
              <a:gd name="connsiteY15000" fmla="*/ 1219512 h 5282095"/>
              <a:gd name="connsiteX15001" fmla="*/ 5633370 w 7714416"/>
              <a:gd name="connsiteY15001" fmla="*/ 1218514 h 5282095"/>
              <a:gd name="connsiteX15002" fmla="*/ 5634870 w 7714416"/>
              <a:gd name="connsiteY15002" fmla="*/ 1218455 h 5282095"/>
              <a:gd name="connsiteX15003" fmla="*/ 972598 w 7714416"/>
              <a:gd name="connsiteY15003" fmla="*/ 1216971 h 5282095"/>
              <a:gd name="connsiteX15004" fmla="*/ 989613 w 7714416"/>
              <a:gd name="connsiteY15004" fmla="*/ 1227626 h 5282095"/>
              <a:gd name="connsiteX15005" fmla="*/ 979569 w 7714416"/>
              <a:gd name="connsiteY15005" fmla="*/ 1230800 h 5282095"/>
              <a:gd name="connsiteX15006" fmla="*/ 969526 w 7714416"/>
              <a:gd name="connsiteY15006" fmla="*/ 1225118 h 5282095"/>
              <a:gd name="connsiteX15007" fmla="*/ 972598 w 7714416"/>
              <a:gd name="connsiteY15007" fmla="*/ 1216971 h 5282095"/>
              <a:gd name="connsiteX15008" fmla="*/ 5699219 w 7714416"/>
              <a:gd name="connsiteY15008" fmla="*/ 1216263 h 5282095"/>
              <a:gd name="connsiteX15009" fmla="*/ 5715458 w 7714416"/>
              <a:gd name="connsiteY15009" fmla="*/ 1220959 h 5282095"/>
              <a:gd name="connsiteX15010" fmla="*/ 5705881 w 7714416"/>
              <a:gd name="connsiteY15010" fmla="*/ 1224602 h 5282095"/>
              <a:gd name="connsiteX15011" fmla="*/ 5699219 w 7714416"/>
              <a:gd name="connsiteY15011" fmla="*/ 1216263 h 5282095"/>
              <a:gd name="connsiteX15012" fmla="*/ 1084125 w 7714416"/>
              <a:gd name="connsiteY15012" fmla="*/ 1215805 h 5282095"/>
              <a:gd name="connsiteX15013" fmla="*/ 1082740 w 7714416"/>
              <a:gd name="connsiteY15013" fmla="*/ 1233143 h 5282095"/>
              <a:gd name="connsiteX15014" fmla="*/ 1076909 w 7714416"/>
              <a:gd name="connsiteY15014" fmla="*/ 1216171 h 5282095"/>
              <a:gd name="connsiteX15015" fmla="*/ 1084125 w 7714416"/>
              <a:gd name="connsiteY15015" fmla="*/ 1215805 h 5282095"/>
              <a:gd name="connsiteX15016" fmla="*/ 5167116 w 7714416"/>
              <a:gd name="connsiteY15016" fmla="*/ 1215368 h 5282095"/>
              <a:gd name="connsiteX15017" fmla="*/ 5171935 w 7714416"/>
              <a:gd name="connsiteY15017" fmla="*/ 1216199 h 5282095"/>
              <a:gd name="connsiteX15018" fmla="*/ 5186003 w 7714416"/>
              <a:gd name="connsiteY15018" fmla="*/ 1224569 h 5282095"/>
              <a:gd name="connsiteX15019" fmla="*/ 5188645 w 7714416"/>
              <a:gd name="connsiteY15019" fmla="*/ 1226887 h 5282095"/>
              <a:gd name="connsiteX15020" fmla="*/ 5191592 w 7714416"/>
              <a:gd name="connsiteY15020" fmla="*/ 1229171 h 5282095"/>
              <a:gd name="connsiteX15021" fmla="*/ 5191710 w 7714416"/>
              <a:gd name="connsiteY15021" fmla="*/ 1234263 h 5282095"/>
              <a:gd name="connsiteX15022" fmla="*/ 5181505 w 7714416"/>
              <a:gd name="connsiteY15022" fmla="*/ 1228079 h 5282095"/>
              <a:gd name="connsiteX15023" fmla="*/ 5183610 w 7714416"/>
              <a:gd name="connsiteY15023" fmla="*/ 1231288 h 5282095"/>
              <a:gd name="connsiteX15024" fmla="*/ 5182449 w 7714416"/>
              <a:gd name="connsiteY15024" fmla="*/ 1236727 h 5282095"/>
              <a:gd name="connsiteX15025" fmla="*/ 5172068 w 7714416"/>
              <a:gd name="connsiteY15025" fmla="*/ 1234520 h 5282095"/>
              <a:gd name="connsiteX15026" fmla="*/ 5172905 w 7714416"/>
              <a:gd name="connsiteY15026" fmla="*/ 1228074 h 5282095"/>
              <a:gd name="connsiteX15027" fmla="*/ 5178500 w 7714416"/>
              <a:gd name="connsiteY15027" fmla="*/ 1226009 h 5282095"/>
              <a:gd name="connsiteX15028" fmla="*/ 5177203 w 7714416"/>
              <a:gd name="connsiteY15028" fmla="*/ 1225316 h 5282095"/>
              <a:gd name="connsiteX15029" fmla="*/ 5164852 w 7714416"/>
              <a:gd name="connsiteY15029" fmla="*/ 1217177 h 5282095"/>
              <a:gd name="connsiteX15030" fmla="*/ 5167116 w 7714416"/>
              <a:gd name="connsiteY15030" fmla="*/ 1215368 h 5282095"/>
              <a:gd name="connsiteX15031" fmla="*/ 5726861 w 7714416"/>
              <a:gd name="connsiteY15031" fmla="*/ 1214929 h 5282095"/>
              <a:gd name="connsiteX15032" fmla="*/ 5727184 w 7714416"/>
              <a:gd name="connsiteY15032" fmla="*/ 1215936 h 5282095"/>
              <a:gd name="connsiteX15033" fmla="*/ 5724522 w 7714416"/>
              <a:gd name="connsiteY15033" fmla="*/ 1215912 h 5282095"/>
              <a:gd name="connsiteX15034" fmla="*/ 5723253 w 7714416"/>
              <a:gd name="connsiteY15034" fmla="*/ 1215112 h 5282095"/>
              <a:gd name="connsiteX15035" fmla="*/ 5726861 w 7714416"/>
              <a:gd name="connsiteY15035" fmla="*/ 1214929 h 5282095"/>
              <a:gd name="connsiteX15036" fmla="*/ 5734964 w 7714416"/>
              <a:gd name="connsiteY15036" fmla="*/ 1214571 h 5282095"/>
              <a:gd name="connsiteX15037" fmla="*/ 5737347 w 7714416"/>
              <a:gd name="connsiteY15037" fmla="*/ 1217853 h 5282095"/>
              <a:gd name="connsiteX15038" fmla="*/ 5732279 w 7714416"/>
              <a:gd name="connsiteY15038" fmla="*/ 1216841 h 5282095"/>
              <a:gd name="connsiteX15039" fmla="*/ 5728054 w 7714416"/>
              <a:gd name="connsiteY15039" fmla="*/ 1214904 h 5282095"/>
              <a:gd name="connsiteX15040" fmla="*/ 5734964 w 7714416"/>
              <a:gd name="connsiteY15040" fmla="*/ 1214571 h 5282095"/>
              <a:gd name="connsiteX15041" fmla="*/ 5716324 w 7714416"/>
              <a:gd name="connsiteY15041" fmla="*/ 1214406 h 5282095"/>
              <a:gd name="connsiteX15042" fmla="*/ 5718746 w 7714416"/>
              <a:gd name="connsiteY15042" fmla="*/ 1216435 h 5282095"/>
              <a:gd name="connsiteX15043" fmla="*/ 5714844 w 7714416"/>
              <a:gd name="connsiteY15043" fmla="*/ 1215504 h 5282095"/>
              <a:gd name="connsiteX15044" fmla="*/ 5716324 w 7714416"/>
              <a:gd name="connsiteY15044" fmla="*/ 1214406 h 5282095"/>
              <a:gd name="connsiteX15045" fmla="*/ 5759073 w 7714416"/>
              <a:gd name="connsiteY15045" fmla="*/ 1214246 h 5282095"/>
              <a:gd name="connsiteX15046" fmla="*/ 5768373 w 7714416"/>
              <a:gd name="connsiteY15046" fmla="*/ 1219383 h 5282095"/>
              <a:gd name="connsiteX15047" fmla="*/ 5758121 w 7714416"/>
              <a:gd name="connsiteY15047" fmla="*/ 1229975 h 5282095"/>
              <a:gd name="connsiteX15048" fmla="*/ 5751606 w 7714416"/>
              <a:gd name="connsiteY15048" fmla="*/ 1226620 h 5282095"/>
              <a:gd name="connsiteX15049" fmla="*/ 5759073 w 7714416"/>
              <a:gd name="connsiteY15049" fmla="*/ 1214246 h 5282095"/>
              <a:gd name="connsiteX15050" fmla="*/ 5687483 w 7714416"/>
              <a:gd name="connsiteY15050" fmla="*/ 1213578 h 5282095"/>
              <a:gd name="connsiteX15051" fmla="*/ 5714873 w 7714416"/>
              <a:gd name="connsiteY15051" fmla="*/ 1215397 h 5282095"/>
              <a:gd name="connsiteX15052" fmla="*/ 5687483 w 7714416"/>
              <a:gd name="connsiteY15052" fmla="*/ 1213578 h 5282095"/>
              <a:gd name="connsiteX15053" fmla="*/ 1781233 w 7714416"/>
              <a:gd name="connsiteY15053" fmla="*/ 1212957 h 5282095"/>
              <a:gd name="connsiteX15054" fmla="*/ 1790630 w 7714416"/>
              <a:gd name="connsiteY15054" fmla="*/ 1225480 h 5282095"/>
              <a:gd name="connsiteX15055" fmla="*/ 1781233 w 7714416"/>
              <a:gd name="connsiteY15055" fmla="*/ 1212957 h 5282095"/>
              <a:gd name="connsiteX15056" fmla="*/ 5878064 w 7714416"/>
              <a:gd name="connsiteY15056" fmla="*/ 1212894 h 5282095"/>
              <a:gd name="connsiteX15057" fmla="*/ 5895259 w 7714416"/>
              <a:gd name="connsiteY15057" fmla="*/ 1216235 h 5282095"/>
              <a:gd name="connsiteX15058" fmla="*/ 5901393 w 7714416"/>
              <a:gd name="connsiteY15058" fmla="*/ 1218799 h 5282095"/>
              <a:gd name="connsiteX15059" fmla="*/ 5899761 w 7714416"/>
              <a:gd name="connsiteY15059" fmla="*/ 1218247 h 5282095"/>
              <a:gd name="connsiteX15060" fmla="*/ 5900800 w 7714416"/>
              <a:gd name="connsiteY15060" fmla="*/ 1219906 h 5282095"/>
              <a:gd name="connsiteX15061" fmla="*/ 5893566 w 7714416"/>
              <a:gd name="connsiteY15061" fmla="*/ 1219232 h 5282095"/>
              <a:gd name="connsiteX15062" fmla="*/ 5886372 w 7714416"/>
              <a:gd name="connsiteY15062" fmla="*/ 1217304 h 5282095"/>
              <a:gd name="connsiteX15063" fmla="*/ 5877776 w 7714416"/>
              <a:gd name="connsiteY15063" fmla="*/ 1213966 h 5282095"/>
              <a:gd name="connsiteX15064" fmla="*/ 5878064 w 7714416"/>
              <a:gd name="connsiteY15064" fmla="*/ 1212894 h 5282095"/>
              <a:gd name="connsiteX15065" fmla="*/ 5673712 w 7714416"/>
              <a:gd name="connsiteY15065" fmla="*/ 1211843 h 5282095"/>
              <a:gd name="connsiteX15066" fmla="*/ 5675505 w 7714416"/>
              <a:gd name="connsiteY15066" fmla="*/ 1212899 h 5282095"/>
              <a:gd name="connsiteX15067" fmla="*/ 5661027 w 7714416"/>
              <a:gd name="connsiteY15067" fmla="*/ 1212699 h 5282095"/>
              <a:gd name="connsiteX15068" fmla="*/ 5673712 w 7714416"/>
              <a:gd name="connsiteY15068" fmla="*/ 1211843 h 5282095"/>
              <a:gd name="connsiteX15069" fmla="*/ 5555016 w 7714416"/>
              <a:gd name="connsiteY15069" fmla="*/ 1211405 h 5282095"/>
              <a:gd name="connsiteX15070" fmla="*/ 5561834 w 7714416"/>
              <a:gd name="connsiteY15070" fmla="*/ 1212111 h 5282095"/>
              <a:gd name="connsiteX15071" fmla="*/ 5563271 w 7714416"/>
              <a:gd name="connsiteY15071" fmla="*/ 1215600 h 5282095"/>
              <a:gd name="connsiteX15072" fmla="*/ 5552724 w 7714416"/>
              <a:gd name="connsiteY15072" fmla="*/ 1216225 h 5282095"/>
              <a:gd name="connsiteX15073" fmla="*/ 5555016 w 7714416"/>
              <a:gd name="connsiteY15073" fmla="*/ 1211405 h 5282095"/>
              <a:gd name="connsiteX15074" fmla="*/ 1203025 w 7714416"/>
              <a:gd name="connsiteY15074" fmla="*/ 1209253 h 5282095"/>
              <a:gd name="connsiteX15075" fmla="*/ 1221308 w 7714416"/>
              <a:gd name="connsiteY15075" fmla="*/ 1211852 h 5282095"/>
              <a:gd name="connsiteX15076" fmla="*/ 1229878 w 7714416"/>
              <a:gd name="connsiteY15076" fmla="*/ 1273950 h 5282095"/>
              <a:gd name="connsiteX15077" fmla="*/ 1203025 w 7714416"/>
              <a:gd name="connsiteY15077" fmla="*/ 1209253 h 5282095"/>
              <a:gd name="connsiteX15078" fmla="*/ 922615 w 7714416"/>
              <a:gd name="connsiteY15078" fmla="*/ 1207604 h 5282095"/>
              <a:gd name="connsiteX15079" fmla="*/ 960405 w 7714416"/>
              <a:gd name="connsiteY15079" fmla="*/ 1221525 h 5282095"/>
              <a:gd name="connsiteX15080" fmla="*/ 955341 w 7714416"/>
              <a:gd name="connsiteY15080" fmla="*/ 1226033 h 5282095"/>
              <a:gd name="connsiteX15081" fmla="*/ 945208 w 7714416"/>
              <a:gd name="connsiteY15081" fmla="*/ 1224007 h 5282095"/>
              <a:gd name="connsiteX15082" fmla="*/ 937155 w 7714416"/>
              <a:gd name="connsiteY15082" fmla="*/ 1221965 h 5282095"/>
              <a:gd name="connsiteX15083" fmla="*/ 922615 w 7714416"/>
              <a:gd name="connsiteY15083" fmla="*/ 1207604 h 5282095"/>
              <a:gd name="connsiteX15084" fmla="*/ 5868936 w 7714416"/>
              <a:gd name="connsiteY15084" fmla="*/ 1207112 h 5282095"/>
              <a:gd name="connsiteX15085" fmla="*/ 5870280 w 7714416"/>
              <a:gd name="connsiteY15085" fmla="*/ 1208737 h 5282095"/>
              <a:gd name="connsiteX15086" fmla="*/ 5863254 w 7714416"/>
              <a:gd name="connsiteY15086" fmla="*/ 1209500 h 5282095"/>
              <a:gd name="connsiteX15087" fmla="*/ 5861548 w 7714416"/>
              <a:gd name="connsiteY15087" fmla="*/ 1208122 h 5282095"/>
              <a:gd name="connsiteX15088" fmla="*/ 5868936 w 7714416"/>
              <a:gd name="connsiteY15088" fmla="*/ 1207112 h 5282095"/>
              <a:gd name="connsiteX15089" fmla="*/ 6189788 w 7714416"/>
              <a:gd name="connsiteY15089" fmla="*/ 1206143 h 5282095"/>
              <a:gd name="connsiteX15090" fmla="*/ 6195760 w 7714416"/>
              <a:gd name="connsiteY15090" fmla="*/ 1208203 h 5282095"/>
              <a:gd name="connsiteX15091" fmla="*/ 6186467 w 7714416"/>
              <a:gd name="connsiteY15091" fmla="*/ 1231819 h 5282095"/>
              <a:gd name="connsiteX15092" fmla="*/ 6180962 w 7714416"/>
              <a:gd name="connsiteY15092" fmla="*/ 1230228 h 5282095"/>
              <a:gd name="connsiteX15093" fmla="*/ 6174123 w 7714416"/>
              <a:gd name="connsiteY15093" fmla="*/ 1225866 h 5282095"/>
              <a:gd name="connsiteX15094" fmla="*/ 6175155 w 7714416"/>
              <a:gd name="connsiteY15094" fmla="*/ 1207628 h 5282095"/>
              <a:gd name="connsiteX15095" fmla="*/ 6189788 w 7714416"/>
              <a:gd name="connsiteY15095" fmla="*/ 1206143 h 5282095"/>
              <a:gd name="connsiteX15096" fmla="*/ 5893320 w 7714416"/>
              <a:gd name="connsiteY15096" fmla="*/ 1206042 h 5282095"/>
              <a:gd name="connsiteX15097" fmla="*/ 5906360 w 7714416"/>
              <a:gd name="connsiteY15097" fmla="*/ 1206905 h 5282095"/>
              <a:gd name="connsiteX15098" fmla="*/ 5905123 w 7714416"/>
              <a:gd name="connsiteY15098" fmla="*/ 1211519 h 5282095"/>
              <a:gd name="connsiteX15099" fmla="*/ 5901584 w 7714416"/>
              <a:gd name="connsiteY15099" fmla="*/ 1210340 h 5282095"/>
              <a:gd name="connsiteX15100" fmla="*/ 5875703 w 7714416"/>
              <a:gd name="connsiteY15100" fmla="*/ 1207315 h 5282095"/>
              <a:gd name="connsiteX15101" fmla="*/ 5893320 w 7714416"/>
              <a:gd name="connsiteY15101" fmla="*/ 1206042 h 5282095"/>
              <a:gd name="connsiteX15102" fmla="*/ 5520676 w 7714416"/>
              <a:gd name="connsiteY15102" fmla="*/ 1205223 h 5282095"/>
              <a:gd name="connsiteX15103" fmla="*/ 5521460 w 7714416"/>
              <a:gd name="connsiteY15103" fmla="*/ 1213368 h 5282095"/>
              <a:gd name="connsiteX15104" fmla="*/ 5513791 w 7714416"/>
              <a:gd name="connsiteY15104" fmla="*/ 1217638 h 5282095"/>
              <a:gd name="connsiteX15105" fmla="*/ 5519681 w 7714416"/>
              <a:gd name="connsiteY15105" fmla="*/ 1225541 h 5282095"/>
              <a:gd name="connsiteX15106" fmla="*/ 5524205 w 7714416"/>
              <a:gd name="connsiteY15106" fmla="*/ 1242968 h 5282095"/>
              <a:gd name="connsiteX15107" fmla="*/ 5496449 w 7714416"/>
              <a:gd name="connsiteY15107" fmla="*/ 1209311 h 5282095"/>
              <a:gd name="connsiteX15108" fmla="*/ 5511409 w 7714416"/>
              <a:gd name="connsiteY15108" fmla="*/ 1205499 h 5282095"/>
              <a:gd name="connsiteX15109" fmla="*/ 5511653 w 7714416"/>
              <a:gd name="connsiteY15109" fmla="*/ 1209015 h 5282095"/>
              <a:gd name="connsiteX15110" fmla="*/ 1957383 w 7714416"/>
              <a:gd name="connsiteY15110" fmla="*/ 1204150 h 5282095"/>
              <a:gd name="connsiteX15111" fmla="*/ 1955481 w 7714416"/>
              <a:gd name="connsiteY15111" fmla="*/ 1214565 h 5282095"/>
              <a:gd name="connsiteX15112" fmla="*/ 1939397 w 7714416"/>
              <a:gd name="connsiteY15112" fmla="*/ 1217040 h 5282095"/>
              <a:gd name="connsiteX15113" fmla="*/ 1936623 w 7714416"/>
              <a:gd name="connsiteY15113" fmla="*/ 1205257 h 5282095"/>
              <a:gd name="connsiteX15114" fmla="*/ 1938570 w 7714416"/>
              <a:gd name="connsiteY15114" fmla="*/ 1204629 h 5282095"/>
              <a:gd name="connsiteX15115" fmla="*/ 1957383 w 7714416"/>
              <a:gd name="connsiteY15115" fmla="*/ 1204150 h 5282095"/>
              <a:gd name="connsiteX15116" fmla="*/ 5190848 w 7714416"/>
              <a:gd name="connsiteY15116" fmla="*/ 1202062 h 5282095"/>
              <a:gd name="connsiteX15117" fmla="*/ 5192458 w 7714416"/>
              <a:gd name="connsiteY15117" fmla="*/ 1213763 h 5282095"/>
              <a:gd name="connsiteX15118" fmla="*/ 5190510 w 7714416"/>
              <a:gd name="connsiteY15118" fmla="*/ 1214391 h 5282095"/>
              <a:gd name="connsiteX15119" fmla="*/ 5187426 w 7714416"/>
              <a:gd name="connsiteY15119" fmla="*/ 1214830 h 5282095"/>
              <a:gd name="connsiteX15120" fmla="*/ 5195383 w 7714416"/>
              <a:gd name="connsiteY15120" fmla="*/ 1218342 h 5282095"/>
              <a:gd name="connsiteX15121" fmla="*/ 5207127 w 7714416"/>
              <a:gd name="connsiteY15121" fmla="*/ 1223214 h 5282095"/>
              <a:gd name="connsiteX15122" fmla="*/ 5192523 w 7714416"/>
              <a:gd name="connsiteY15122" fmla="*/ 1224591 h 5282095"/>
              <a:gd name="connsiteX15123" fmla="*/ 5178540 w 7714416"/>
              <a:gd name="connsiteY15123" fmla="*/ 1215899 h 5282095"/>
              <a:gd name="connsiteX15124" fmla="*/ 5178902 w 7714416"/>
              <a:gd name="connsiteY15124" fmla="*/ 1215651 h 5282095"/>
              <a:gd name="connsiteX15125" fmla="*/ 5171126 w 7714416"/>
              <a:gd name="connsiteY15125" fmla="*/ 1213683 h 5282095"/>
              <a:gd name="connsiteX15126" fmla="*/ 5174411 w 7714416"/>
              <a:gd name="connsiteY15126" fmla="*/ 1203637 h 5282095"/>
              <a:gd name="connsiteX15127" fmla="*/ 5190848 w 7714416"/>
              <a:gd name="connsiteY15127" fmla="*/ 1202062 h 5282095"/>
              <a:gd name="connsiteX15128" fmla="*/ 5823157 w 7714416"/>
              <a:gd name="connsiteY15128" fmla="*/ 1201976 h 5282095"/>
              <a:gd name="connsiteX15129" fmla="*/ 5826917 w 7714416"/>
              <a:gd name="connsiteY15129" fmla="*/ 1203444 h 5282095"/>
              <a:gd name="connsiteX15130" fmla="*/ 5825997 w 7714416"/>
              <a:gd name="connsiteY15130" fmla="*/ 1206877 h 5282095"/>
              <a:gd name="connsiteX15131" fmla="*/ 5813150 w 7714416"/>
              <a:gd name="connsiteY15131" fmla="*/ 1207230 h 5282095"/>
              <a:gd name="connsiteX15132" fmla="*/ 5810468 w 7714416"/>
              <a:gd name="connsiteY15132" fmla="*/ 1206166 h 5282095"/>
              <a:gd name="connsiteX15133" fmla="*/ 5823157 w 7714416"/>
              <a:gd name="connsiteY15133" fmla="*/ 1201976 h 5282095"/>
              <a:gd name="connsiteX15134" fmla="*/ 1076607 w 7714416"/>
              <a:gd name="connsiteY15134" fmla="*/ 1201385 h 5282095"/>
              <a:gd name="connsiteX15135" fmla="*/ 1089723 w 7714416"/>
              <a:gd name="connsiteY15135" fmla="*/ 1201549 h 5282095"/>
              <a:gd name="connsiteX15136" fmla="*/ 1091305 w 7714416"/>
              <a:gd name="connsiteY15136" fmla="*/ 1213358 h 5282095"/>
              <a:gd name="connsiteX15137" fmla="*/ 1082285 w 7714416"/>
              <a:gd name="connsiteY15137" fmla="*/ 1213817 h 5282095"/>
              <a:gd name="connsiteX15138" fmla="*/ 1072086 w 7714416"/>
              <a:gd name="connsiteY15138" fmla="*/ 1209819 h 5282095"/>
              <a:gd name="connsiteX15139" fmla="*/ 1076607 w 7714416"/>
              <a:gd name="connsiteY15139" fmla="*/ 1201385 h 5282095"/>
              <a:gd name="connsiteX15140" fmla="*/ 1849784 w 7714416"/>
              <a:gd name="connsiteY15140" fmla="*/ 1200620 h 5282095"/>
              <a:gd name="connsiteX15141" fmla="*/ 1837455 w 7714416"/>
              <a:gd name="connsiteY15141" fmla="*/ 1216750 h 5282095"/>
              <a:gd name="connsiteX15142" fmla="*/ 1849784 w 7714416"/>
              <a:gd name="connsiteY15142" fmla="*/ 1200620 h 5282095"/>
              <a:gd name="connsiteX15143" fmla="*/ 5202265 w 7714416"/>
              <a:gd name="connsiteY15143" fmla="*/ 1200406 h 5282095"/>
              <a:gd name="connsiteX15144" fmla="*/ 5223255 w 7714416"/>
              <a:gd name="connsiteY15144" fmla="*/ 1216150 h 5282095"/>
              <a:gd name="connsiteX15145" fmla="*/ 5222978 w 7714416"/>
              <a:gd name="connsiteY15145" fmla="*/ 1216076 h 5282095"/>
              <a:gd name="connsiteX15146" fmla="*/ 5224081 w 7714416"/>
              <a:gd name="connsiteY15146" fmla="*/ 1219708 h 5282095"/>
              <a:gd name="connsiteX15147" fmla="*/ 5218781 w 7714416"/>
              <a:gd name="connsiteY15147" fmla="*/ 1222886 h 5282095"/>
              <a:gd name="connsiteX15148" fmla="*/ 5218052 w 7714416"/>
              <a:gd name="connsiteY15148" fmla="*/ 1217861 h 5282095"/>
              <a:gd name="connsiteX15149" fmla="*/ 5220880 w 7714416"/>
              <a:gd name="connsiteY15149" fmla="*/ 1215053 h 5282095"/>
              <a:gd name="connsiteX15150" fmla="*/ 5209631 w 7714416"/>
              <a:gd name="connsiteY15150" fmla="*/ 1210544 h 5282095"/>
              <a:gd name="connsiteX15151" fmla="*/ 5201468 w 7714416"/>
              <a:gd name="connsiteY15151" fmla="*/ 1205597 h 5282095"/>
              <a:gd name="connsiteX15152" fmla="*/ 5202265 w 7714416"/>
              <a:gd name="connsiteY15152" fmla="*/ 1200406 h 5282095"/>
              <a:gd name="connsiteX15153" fmla="*/ 797061 w 7714416"/>
              <a:gd name="connsiteY15153" fmla="*/ 1199147 h 5282095"/>
              <a:gd name="connsiteX15154" fmla="*/ 817916 w 7714416"/>
              <a:gd name="connsiteY15154" fmla="*/ 1205426 h 5282095"/>
              <a:gd name="connsiteX15155" fmla="*/ 806687 w 7714416"/>
              <a:gd name="connsiteY15155" fmla="*/ 1210812 h 5282095"/>
              <a:gd name="connsiteX15156" fmla="*/ 800247 w 7714416"/>
              <a:gd name="connsiteY15156" fmla="*/ 1208281 h 5282095"/>
              <a:gd name="connsiteX15157" fmla="*/ 797061 w 7714416"/>
              <a:gd name="connsiteY15157" fmla="*/ 1199147 h 5282095"/>
              <a:gd name="connsiteX15158" fmla="*/ 1823407 w 7714416"/>
              <a:gd name="connsiteY15158" fmla="*/ 1197232 h 5282095"/>
              <a:gd name="connsiteX15159" fmla="*/ 1823368 w 7714416"/>
              <a:gd name="connsiteY15159" fmla="*/ 1198486 h 5282095"/>
              <a:gd name="connsiteX15160" fmla="*/ 1819968 w 7714416"/>
              <a:gd name="connsiteY15160" fmla="*/ 1200105 h 5282095"/>
              <a:gd name="connsiteX15161" fmla="*/ 1816180 w 7714416"/>
              <a:gd name="connsiteY15161" fmla="*/ 1207600 h 5282095"/>
              <a:gd name="connsiteX15162" fmla="*/ 1812792 w 7714416"/>
              <a:gd name="connsiteY15162" fmla="*/ 1208072 h 5282095"/>
              <a:gd name="connsiteX15163" fmla="*/ 1811470 w 7714416"/>
              <a:gd name="connsiteY15163" fmla="*/ 1204153 h 5282095"/>
              <a:gd name="connsiteX15164" fmla="*/ 1816252 w 7714416"/>
              <a:gd name="connsiteY15164" fmla="*/ 1202904 h 5282095"/>
              <a:gd name="connsiteX15165" fmla="*/ 1818348 w 7714416"/>
              <a:gd name="connsiteY15165" fmla="*/ 1198406 h 5282095"/>
              <a:gd name="connsiteX15166" fmla="*/ 1823407 w 7714416"/>
              <a:gd name="connsiteY15166" fmla="*/ 1197232 h 5282095"/>
              <a:gd name="connsiteX15167" fmla="*/ 5224545 w 7714416"/>
              <a:gd name="connsiteY15167" fmla="*/ 1196945 h 5282095"/>
              <a:gd name="connsiteX15168" fmla="*/ 5226148 w 7714416"/>
              <a:gd name="connsiteY15168" fmla="*/ 1197605 h 5282095"/>
              <a:gd name="connsiteX15169" fmla="*/ 5227291 w 7714416"/>
              <a:gd name="connsiteY15169" fmla="*/ 1199981 h 5282095"/>
              <a:gd name="connsiteX15170" fmla="*/ 5227844 w 7714416"/>
              <a:gd name="connsiteY15170" fmla="*/ 1200130 h 5282095"/>
              <a:gd name="connsiteX15171" fmla="*/ 5232706 w 7714416"/>
              <a:gd name="connsiteY15171" fmla="*/ 1205227 h 5282095"/>
              <a:gd name="connsiteX15172" fmla="*/ 5225030 w 7714416"/>
              <a:gd name="connsiteY15172" fmla="*/ 1207311 h 5282095"/>
              <a:gd name="connsiteX15173" fmla="*/ 5218964 w 7714416"/>
              <a:gd name="connsiteY15173" fmla="*/ 1203385 h 5282095"/>
              <a:gd name="connsiteX15174" fmla="*/ 5217900 w 7714416"/>
              <a:gd name="connsiteY15174" fmla="*/ 1198500 h 5282095"/>
              <a:gd name="connsiteX15175" fmla="*/ 5222443 w 7714416"/>
              <a:gd name="connsiteY15175" fmla="*/ 1199258 h 5282095"/>
              <a:gd name="connsiteX15176" fmla="*/ 1544412 w 7714416"/>
              <a:gd name="connsiteY15176" fmla="*/ 1196809 h 5282095"/>
              <a:gd name="connsiteX15177" fmla="*/ 1557362 w 7714416"/>
              <a:gd name="connsiteY15177" fmla="*/ 1205066 h 5282095"/>
              <a:gd name="connsiteX15178" fmla="*/ 1543577 w 7714416"/>
              <a:gd name="connsiteY15178" fmla="*/ 1207813 h 5282095"/>
              <a:gd name="connsiteX15179" fmla="*/ 1529605 w 7714416"/>
              <a:gd name="connsiteY15179" fmla="*/ 1197974 h 5282095"/>
              <a:gd name="connsiteX15180" fmla="*/ 1544412 w 7714416"/>
              <a:gd name="connsiteY15180" fmla="*/ 1196809 h 5282095"/>
              <a:gd name="connsiteX15181" fmla="*/ 5272677 w 7714416"/>
              <a:gd name="connsiteY15181" fmla="*/ 1196617 h 5282095"/>
              <a:gd name="connsiteX15182" fmla="*/ 5289143 w 7714416"/>
              <a:gd name="connsiteY15182" fmla="*/ 1203789 h 5282095"/>
              <a:gd name="connsiteX15183" fmla="*/ 5285057 w 7714416"/>
              <a:gd name="connsiteY15183" fmla="*/ 1204649 h 5282095"/>
              <a:gd name="connsiteX15184" fmla="*/ 5272677 w 7714416"/>
              <a:gd name="connsiteY15184" fmla="*/ 1196617 h 5282095"/>
              <a:gd name="connsiteX15185" fmla="*/ 1871989 w 7714416"/>
              <a:gd name="connsiteY15185" fmla="*/ 1196334 h 5282095"/>
              <a:gd name="connsiteX15186" fmla="*/ 1883783 w 7714416"/>
              <a:gd name="connsiteY15186" fmla="*/ 1198803 h 5282095"/>
              <a:gd name="connsiteX15187" fmla="*/ 1883780 w 7714416"/>
              <a:gd name="connsiteY15187" fmla="*/ 1202138 h 5282095"/>
              <a:gd name="connsiteX15188" fmla="*/ 1888714 w 7714416"/>
              <a:gd name="connsiteY15188" fmla="*/ 1202540 h 5282095"/>
              <a:gd name="connsiteX15189" fmla="*/ 1902490 w 7714416"/>
              <a:gd name="connsiteY15189" fmla="*/ 1215317 h 5282095"/>
              <a:gd name="connsiteX15190" fmla="*/ 1899878 w 7714416"/>
              <a:gd name="connsiteY15190" fmla="*/ 1221747 h 5282095"/>
              <a:gd name="connsiteX15191" fmla="*/ 1894997 w 7714416"/>
              <a:gd name="connsiteY15191" fmla="*/ 1224464 h 5282095"/>
              <a:gd name="connsiteX15192" fmla="*/ 1894721 w 7714416"/>
              <a:gd name="connsiteY15192" fmla="*/ 1224390 h 5282095"/>
              <a:gd name="connsiteX15193" fmla="*/ 1893568 w 7714416"/>
              <a:gd name="connsiteY15193" fmla="*/ 1232017 h 5282095"/>
              <a:gd name="connsiteX15194" fmla="*/ 1886316 w 7714416"/>
              <a:gd name="connsiteY15194" fmla="*/ 1239158 h 5282095"/>
              <a:gd name="connsiteX15195" fmla="*/ 1881572 w 7714416"/>
              <a:gd name="connsiteY15195" fmla="*/ 1239152 h 5282095"/>
              <a:gd name="connsiteX15196" fmla="*/ 1884364 w 7714416"/>
              <a:gd name="connsiteY15196" fmla="*/ 1243121 h 5282095"/>
              <a:gd name="connsiteX15197" fmla="*/ 1883959 w 7714416"/>
              <a:gd name="connsiteY15197" fmla="*/ 1247957 h 5282095"/>
              <a:gd name="connsiteX15198" fmla="*/ 1879097 w 7714416"/>
              <a:gd name="connsiteY15198" fmla="*/ 1242859 h 5282095"/>
              <a:gd name="connsiteX15199" fmla="*/ 1877400 w 7714416"/>
              <a:gd name="connsiteY15199" fmla="*/ 1240335 h 5282095"/>
              <a:gd name="connsiteX15200" fmla="*/ 1879491 w 7714416"/>
              <a:gd name="connsiteY15200" fmla="*/ 1239170 h 5282095"/>
              <a:gd name="connsiteX15201" fmla="*/ 1878910 w 7714416"/>
              <a:gd name="connsiteY15201" fmla="*/ 1239129 h 5282095"/>
              <a:gd name="connsiteX15202" fmla="*/ 1870389 w 7714416"/>
              <a:gd name="connsiteY15202" fmla="*/ 1236615 h 5282095"/>
              <a:gd name="connsiteX15203" fmla="*/ 1867784 w 7714416"/>
              <a:gd name="connsiteY15203" fmla="*/ 1236377 h 5282095"/>
              <a:gd name="connsiteX15204" fmla="*/ 1868205 w 7714416"/>
              <a:gd name="connsiteY15204" fmla="*/ 1235915 h 5282095"/>
              <a:gd name="connsiteX15205" fmla="*/ 1868234 w 7714416"/>
              <a:gd name="connsiteY15205" fmla="*/ 1235808 h 5282095"/>
              <a:gd name="connsiteX15206" fmla="*/ 1869494 w 7714416"/>
              <a:gd name="connsiteY15206" fmla="*/ 1234421 h 5282095"/>
              <a:gd name="connsiteX15207" fmla="*/ 1870249 w 7714416"/>
              <a:gd name="connsiteY15207" fmla="*/ 1233818 h 5282095"/>
              <a:gd name="connsiteX15208" fmla="*/ 1872905 w 7714416"/>
              <a:gd name="connsiteY15208" fmla="*/ 1231655 h 5282095"/>
              <a:gd name="connsiteX15209" fmla="*/ 1872972 w 7714416"/>
              <a:gd name="connsiteY15209" fmla="*/ 1230292 h 5282095"/>
              <a:gd name="connsiteX15210" fmla="*/ 1877271 w 7714416"/>
              <a:gd name="connsiteY15210" fmla="*/ 1227535 h 5282095"/>
              <a:gd name="connsiteX15211" fmla="*/ 1880426 w 7714416"/>
              <a:gd name="connsiteY15211" fmla="*/ 1222400 h 5282095"/>
              <a:gd name="connsiteX15212" fmla="*/ 1877440 w 7714416"/>
              <a:gd name="connsiteY15212" fmla="*/ 1221370 h 5282095"/>
              <a:gd name="connsiteX15213" fmla="*/ 1872977 w 7714416"/>
              <a:gd name="connsiteY15213" fmla="*/ 1218103 h 5282095"/>
              <a:gd name="connsiteX15214" fmla="*/ 1871672 w 7714416"/>
              <a:gd name="connsiteY15214" fmla="*/ 1215224 h 5282095"/>
              <a:gd name="connsiteX15215" fmla="*/ 1871068 w 7714416"/>
              <a:gd name="connsiteY15215" fmla="*/ 1217478 h 5282095"/>
              <a:gd name="connsiteX15216" fmla="*/ 1864945 w 7714416"/>
              <a:gd name="connsiteY15216" fmla="*/ 1213767 h 5282095"/>
              <a:gd name="connsiteX15217" fmla="*/ 1864539 w 7714416"/>
              <a:gd name="connsiteY15217" fmla="*/ 1209748 h 5282095"/>
              <a:gd name="connsiteX15218" fmla="*/ 1866142 w 7714416"/>
              <a:gd name="connsiteY15218" fmla="*/ 1210407 h 5282095"/>
              <a:gd name="connsiteX15219" fmla="*/ 1871762 w 7714416"/>
              <a:gd name="connsiteY15219" fmla="*/ 1211568 h 5282095"/>
              <a:gd name="connsiteX15220" fmla="*/ 1872244 w 7714416"/>
              <a:gd name="connsiteY15220" fmla="*/ 1207557 h 5282095"/>
              <a:gd name="connsiteX15221" fmla="*/ 1873897 w 7714416"/>
              <a:gd name="connsiteY15221" fmla="*/ 1205815 h 5282095"/>
              <a:gd name="connsiteX15222" fmla="*/ 1873527 w 7714416"/>
              <a:gd name="connsiteY15222" fmla="*/ 1203876 h 5282095"/>
              <a:gd name="connsiteX15223" fmla="*/ 1862828 w 7714416"/>
              <a:gd name="connsiteY15223" fmla="*/ 1202850 h 5282095"/>
              <a:gd name="connsiteX15224" fmla="*/ 1850920 w 7714416"/>
              <a:gd name="connsiteY15224" fmla="*/ 1200809 h 5282095"/>
              <a:gd name="connsiteX15225" fmla="*/ 1850147 w 7714416"/>
              <a:gd name="connsiteY15225" fmla="*/ 1200371 h 5282095"/>
              <a:gd name="connsiteX15226" fmla="*/ 1850060 w 7714416"/>
              <a:gd name="connsiteY15226" fmla="*/ 1200694 h 5282095"/>
              <a:gd name="connsiteX15227" fmla="*/ 1849623 w 7714416"/>
              <a:gd name="connsiteY15227" fmla="*/ 1200116 h 5282095"/>
              <a:gd name="connsiteX15228" fmla="*/ 1846780 w 7714416"/>
              <a:gd name="connsiteY15228" fmla="*/ 1198549 h 5282095"/>
              <a:gd name="connsiteX15229" fmla="*/ 1851563 w 7714416"/>
              <a:gd name="connsiteY15229" fmla="*/ 1197301 h 5282095"/>
              <a:gd name="connsiteX15230" fmla="*/ 1853892 w 7714416"/>
              <a:gd name="connsiteY15230" fmla="*/ 1197464 h 5282095"/>
              <a:gd name="connsiteX15231" fmla="*/ 1855286 w 7714416"/>
              <a:gd name="connsiteY15231" fmla="*/ 1196688 h 5282095"/>
              <a:gd name="connsiteX15232" fmla="*/ 1856248 w 7714416"/>
              <a:gd name="connsiteY15232" fmla="*/ 1197521 h 5282095"/>
              <a:gd name="connsiteX15233" fmla="*/ 1861183 w 7714416"/>
              <a:gd name="connsiteY15233" fmla="*/ 1197923 h 5282095"/>
              <a:gd name="connsiteX15234" fmla="*/ 1871989 w 7714416"/>
              <a:gd name="connsiteY15234" fmla="*/ 1196334 h 5282095"/>
              <a:gd name="connsiteX15235" fmla="*/ 1582549 w 7714416"/>
              <a:gd name="connsiteY15235" fmla="*/ 1196290 h 5282095"/>
              <a:gd name="connsiteX15236" fmla="*/ 1586365 w 7714416"/>
              <a:gd name="connsiteY15236" fmla="*/ 1197542 h 5282095"/>
              <a:gd name="connsiteX15237" fmla="*/ 1590055 w 7714416"/>
              <a:gd name="connsiteY15237" fmla="*/ 1200372 h 5282095"/>
              <a:gd name="connsiteX15238" fmla="*/ 1584935 w 7714416"/>
              <a:gd name="connsiteY15238" fmla="*/ 1205094 h 5282095"/>
              <a:gd name="connsiteX15239" fmla="*/ 1581396 w 7714416"/>
              <a:gd name="connsiteY15239" fmla="*/ 1203916 h 5282095"/>
              <a:gd name="connsiteX15240" fmla="*/ 1578823 w 7714416"/>
              <a:gd name="connsiteY15240" fmla="*/ 1200236 h 5282095"/>
              <a:gd name="connsiteX15241" fmla="*/ 1582549 w 7714416"/>
              <a:gd name="connsiteY15241" fmla="*/ 1196290 h 5282095"/>
              <a:gd name="connsiteX15242" fmla="*/ 877789 w 7714416"/>
              <a:gd name="connsiteY15242" fmla="*/ 1195593 h 5282095"/>
              <a:gd name="connsiteX15243" fmla="*/ 906923 w 7714416"/>
              <a:gd name="connsiteY15243" fmla="*/ 1209725 h 5282095"/>
              <a:gd name="connsiteX15244" fmla="*/ 905183 w 7714416"/>
              <a:gd name="connsiteY15244" fmla="*/ 1211789 h 5282095"/>
              <a:gd name="connsiteX15245" fmla="*/ 900802 w 7714416"/>
              <a:gd name="connsiteY15245" fmla="*/ 1211534 h 5282095"/>
              <a:gd name="connsiteX15246" fmla="*/ 885415 w 7714416"/>
              <a:gd name="connsiteY15246" fmla="*/ 1204766 h 5282095"/>
              <a:gd name="connsiteX15247" fmla="*/ 882353 w 7714416"/>
              <a:gd name="connsiteY15247" fmla="*/ 1202911 h 5282095"/>
              <a:gd name="connsiteX15248" fmla="*/ 879043 w 7714416"/>
              <a:gd name="connsiteY15248" fmla="*/ 1200873 h 5282095"/>
              <a:gd name="connsiteX15249" fmla="*/ 877789 w 7714416"/>
              <a:gd name="connsiteY15249" fmla="*/ 1195593 h 5282095"/>
              <a:gd name="connsiteX15250" fmla="*/ 5450727 w 7714416"/>
              <a:gd name="connsiteY15250" fmla="*/ 1195106 h 5282095"/>
              <a:gd name="connsiteX15251" fmla="*/ 5453485 w 7714416"/>
              <a:gd name="connsiteY15251" fmla="*/ 1196994 h 5282095"/>
              <a:gd name="connsiteX15252" fmla="*/ 5449495 w 7714416"/>
              <a:gd name="connsiteY15252" fmla="*/ 1196384 h 5282095"/>
              <a:gd name="connsiteX15253" fmla="*/ 5450727 w 7714416"/>
              <a:gd name="connsiteY15253" fmla="*/ 1195106 h 5282095"/>
              <a:gd name="connsiteX15254" fmla="*/ 5461189 w 7714416"/>
              <a:gd name="connsiteY15254" fmla="*/ 1194804 h 5282095"/>
              <a:gd name="connsiteX15255" fmla="*/ 5461512 w 7714416"/>
              <a:gd name="connsiteY15255" fmla="*/ 1195810 h 5282095"/>
              <a:gd name="connsiteX15256" fmla="*/ 5459068 w 7714416"/>
              <a:gd name="connsiteY15256" fmla="*/ 1196076 h 5282095"/>
              <a:gd name="connsiteX15257" fmla="*/ 5457523 w 7714416"/>
              <a:gd name="connsiteY15257" fmla="*/ 1195201 h 5282095"/>
              <a:gd name="connsiteX15258" fmla="*/ 5461189 w 7714416"/>
              <a:gd name="connsiteY15258" fmla="*/ 1194804 h 5282095"/>
              <a:gd name="connsiteX15259" fmla="*/ 5398387 w 7714416"/>
              <a:gd name="connsiteY15259" fmla="*/ 1194536 h 5282095"/>
              <a:gd name="connsiteX15260" fmla="*/ 5416751 w 7714416"/>
              <a:gd name="connsiteY15260" fmla="*/ 1194627 h 5282095"/>
              <a:gd name="connsiteX15261" fmla="*/ 5422591 w 7714416"/>
              <a:gd name="connsiteY15261" fmla="*/ 1196075 h 5282095"/>
              <a:gd name="connsiteX15262" fmla="*/ 5427115 w 7714416"/>
              <a:gd name="connsiteY15262" fmla="*/ 1195794 h 5282095"/>
              <a:gd name="connsiteX15263" fmla="*/ 5449277 w 7714416"/>
              <a:gd name="connsiteY15263" fmla="*/ 1196096 h 5282095"/>
              <a:gd name="connsiteX15264" fmla="*/ 5435646 w 7714416"/>
              <a:gd name="connsiteY15264" fmla="*/ 1197159 h 5282095"/>
              <a:gd name="connsiteX15265" fmla="*/ 5423144 w 7714416"/>
              <a:gd name="connsiteY15265" fmla="*/ 1196225 h 5282095"/>
              <a:gd name="connsiteX15266" fmla="*/ 5432304 w 7714416"/>
              <a:gd name="connsiteY15266" fmla="*/ 1198563 h 5282095"/>
              <a:gd name="connsiteX15267" fmla="*/ 5465401 w 7714416"/>
              <a:gd name="connsiteY15267" fmla="*/ 1210077 h 5282095"/>
              <a:gd name="connsiteX15268" fmla="*/ 5485272 w 7714416"/>
              <a:gd name="connsiteY15268" fmla="*/ 1235527 h 5282095"/>
              <a:gd name="connsiteX15269" fmla="*/ 5481427 w 7714416"/>
              <a:gd name="connsiteY15269" fmla="*/ 1243237 h 5282095"/>
              <a:gd name="connsiteX15270" fmla="*/ 5479986 w 7714416"/>
              <a:gd name="connsiteY15270" fmla="*/ 1251936 h 5282095"/>
              <a:gd name="connsiteX15271" fmla="*/ 5486756 w 7714416"/>
              <a:gd name="connsiteY15271" fmla="*/ 1257659 h 5282095"/>
              <a:gd name="connsiteX15272" fmla="*/ 5485293 w 7714416"/>
              <a:gd name="connsiteY15272" fmla="*/ 1268653 h 5282095"/>
              <a:gd name="connsiteX15273" fmla="*/ 5477772 w 7714416"/>
              <a:gd name="connsiteY15273" fmla="*/ 1269052 h 5282095"/>
              <a:gd name="connsiteX15274" fmla="*/ 5477703 w 7714416"/>
              <a:gd name="connsiteY15274" fmla="*/ 1270415 h 5282095"/>
              <a:gd name="connsiteX15275" fmla="*/ 5453468 w 7714416"/>
              <a:gd name="connsiteY15275" fmla="*/ 1281171 h 5282095"/>
              <a:gd name="connsiteX15276" fmla="*/ 5451129 w 7714416"/>
              <a:gd name="connsiteY15276" fmla="*/ 1282154 h 5282095"/>
              <a:gd name="connsiteX15277" fmla="*/ 5455995 w 7714416"/>
              <a:gd name="connsiteY15277" fmla="*/ 1283917 h 5282095"/>
              <a:gd name="connsiteX15278" fmla="*/ 5461065 w 7714416"/>
              <a:gd name="connsiteY15278" fmla="*/ 1290451 h 5282095"/>
              <a:gd name="connsiteX15279" fmla="*/ 5468471 w 7714416"/>
              <a:gd name="connsiteY15279" fmla="*/ 1290480 h 5282095"/>
              <a:gd name="connsiteX15280" fmla="*/ 5485167 w 7714416"/>
              <a:gd name="connsiteY15280" fmla="*/ 1296794 h 5282095"/>
              <a:gd name="connsiteX15281" fmla="*/ 5489598 w 7714416"/>
              <a:gd name="connsiteY15281" fmla="*/ 1303502 h 5282095"/>
              <a:gd name="connsiteX15282" fmla="*/ 5490705 w 7714416"/>
              <a:gd name="connsiteY15282" fmla="*/ 1303798 h 5282095"/>
              <a:gd name="connsiteX15283" fmla="*/ 5492462 w 7714416"/>
              <a:gd name="connsiteY15283" fmla="*/ 1311629 h 5282095"/>
              <a:gd name="connsiteX15284" fmla="*/ 5484053 w 7714416"/>
              <a:gd name="connsiteY15284" fmla="*/ 1312021 h 5282095"/>
              <a:gd name="connsiteX15285" fmla="*/ 5480916 w 7714416"/>
              <a:gd name="connsiteY15285" fmla="*/ 1309340 h 5282095"/>
              <a:gd name="connsiteX15286" fmla="*/ 5481203 w 7714416"/>
              <a:gd name="connsiteY15286" fmla="*/ 1308267 h 5282095"/>
              <a:gd name="connsiteX15287" fmla="*/ 5481749 w 7714416"/>
              <a:gd name="connsiteY15287" fmla="*/ 1306229 h 5282095"/>
              <a:gd name="connsiteX15288" fmla="*/ 5469854 w 7714416"/>
              <a:gd name="connsiteY15288" fmla="*/ 1308562 h 5282095"/>
              <a:gd name="connsiteX15289" fmla="*/ 5442982 w 7714416"/>
              <a:gd name="connsiteY15289" fmla="*/ 1304811 h 5282095"/>
              <a:gd name="connsiteX15290" fmla="*/ 5449832 w 7714416"/>
              <a:gd name="connsiteY15290" fmla="*/ 1290316 h 5282095"/>
              <a:gd name="connsiteX15291" fmla="*/ 5450385 w 7714416"/>
              <a:gd name="connsiteY15291" fmla="*/ 1290464 h 5282095"/>
              <a:gd name="connsiteX15292" fmla="*/ 5450090 w 7714416"/>
              <a:gd name="connsiteY15292" fmla="*/ 1289351 h 5282095"/>
              <a:gd name="connsiteX15293" fmla="*/ 5447948 w 7714416"/>
              <a:gd name="connsiteY15293" fmla="*/ 1284062 h 5282095"/>
              <a:gd name="connsiteX15294" fmla="*/ 5450432 w 7714416"/>
              <a:gd name="connsiteY15294" fmla="*/ 1282543 h 5282095"/>
              <a:gd name="connsiteX15295" fmla="*/ 5429233 w 7714416"/>
              <a:gd name="connsiteY15295" fmla="*/ 1291927 h 5282095"/>
              <a:gd name="connsiteX15296" fmla="*/ 5415398 w 7714416"/>
              <a:gd name="connsiteY15296" fmla="*/ 1288220 h 5282095"/>
              <a:gd name="connsiteX15297" fmla="*/ 5415340 w 7714416"/>
              <a:gd name="connsiteY15297" fmla="*/ 1288435 h 5282095"/>
              <a:gd name="connsiteX15298" fmla="*/ 5415301 w 7714416"/>
              <a:gd name="connsiteY15298" fmla="*/ 1289690 h 5282095"/>
              <a:gd name="connsiteX15299" fmla="*/ 5417209 w 7714416"/>
              <a:gd name="connsiteY15299" fmla="*/ 1290316 h 5282095"/>
              <a:gd name="connsiteX15300" fmla="*/ 5414697 w 7714416"/>
              <a:gd name="connsiteY15300" fmla="*/ 1291942 h 5282095"/>
              <a:gd name="connsiteX15301" fmla="*/ 5402385 w 7714416"/>
              <a:gd name="connsiteY15301" fmla="*/ 1291403 h 5282095"/>
              <a:gd name="connsiteX15302" fmla="*/ 5401397 w 7714416"/>
              <a:gd name="connsiteY15302" fmla="*/ 1287344 h 5282095"/>
              <a:gd name="connsiteX15303" fmla="*/ 5403183 w 7714416"/>
              <a:gd name="connsiteY15303" fmla="*/ 1286212 h 5282095"/>
              <a:gd name="connsiteX15304" fmla="*/ 5392878 w 7714416"/>
              <a:gd name="connsiteY15304" fmla="*/ 1284830 h 5282095"/>
              <a:gd name="connsiteX15305" fmla="*/ 5360373 w 7714416"/>
              <a:gd name="connsiteY15305" fmla="*/ 1272212 h 5282095"/>
              <a:gd name="connsiteX15306" fmla="*/ 5345220 w 7714416"/>
              <a:gd name="connsiteY15306" fmla="*/ 1243541 h 5282095"/>
              <a:gd name="connsiteX15307" fmla="*/ 5350858 w 7714416"/>
              <a:gd name="connsiteY15307" fmla="*/ 1228032 h 5282095"/>
              <a:gd name="connsiteX15308" fmla="*/ 5356116 w 7714416"/>
              <a:gd name="connsiteY15308" fmla="*/ 1220585 h 5282095"/>
              <a:gd name="connsiteX15309" fmla="*/ 5352677 w 7714416"/>
              <a:gd name="connsiteY15309" fmla="*/ 1214604 h 5282095"/>
              <a:gd name="connsiteX15310" fmla="*/ 5359548 w 7714416"/>
              <a:gd name="connsiteY15310" fmla="*/ 1215524 h 5282095"/>
              <a:gd name="connsiteX15311" fmla="*/ 5361345 w 7714416"/>
              <a:gd name="connsiteY15311" fmla="*/ 1213246 h 5282095"/>
              <a:gd name="connsiteX15312" fmla="*/ 5368471 w 7714416"/>
              <a:gd name="connsiteY15312" fmla="*/ 1207681 h 5282095"/>
              <a:gd name="connsiteX15313" fmla="*/ 5367785 w 7714416"/>
              <a:gd name="connsiteY15313" fmla="*/ 1206921 h 5282095"/>
              <a:gd name="connsiteX15314" fmla="*/ 5368676 w 7714416"/>
              <a:gd name="connsiteY15314" fmla="*/ 1203595 h 5282095"/>
              <a:gd name="connsiteX15315" fmla="*/ 5375931 w 7714416"/>
              <a:gd name="connsiteY15315" fmla="*/ 1201974 h 5282095"/>
              <a:gd name="connsiteX15316" fmla="*/ 5376992 w 7714416"/>
              <a:gd name="connsiteY15316" fmla="*/ 1201338 h 5282095"/>
              <a:gd name="connsiteX15317" fmla="*/ 5398387 w 7714416"/>
              <a:gd name="connsiteY15317" fmla="*/ 1194536 h 5282095"/>
              <a:gd name="connsiteX15318" fmla="*/ 5469160 w 7714416"/>
              <a:gd name="connsiteY15318" fmla="*/ 1193834 h 5282095"/>
              <a:gd name="connsiteX15319" fmla="*/ 5472153 w 7714416"/>
              <a:gd name="connsiteY15319" fmla="*/ 1197050 h 5282095"/>
              <a:gd name="connsiteX15320" fmla="*/ 5466970 w 7714416"/>
              <a:gd name="connsiteY15320" fmla="*/ 1196468 h 5282095"/>
              <a:gd name="connsiteX15321" fmla="*/ 5462382 w 7714416"/>
              <a:gd name="connsiteY15321" fmla="*/ 1194778 h 5282095"/>
              <a:gd name="connsiteX15322" fmla="*/ 5469160 w 7714416"/>
              <a:gd name="connsiteY15322" fmla="*/ 1193834 h 5282095"/>
              <a:gd name="connsiteX15323" fmla="*/ 5955031 w 7714416"/>
              <a:gd name="connsiteY15323" fmla="*/ 1193495 h 5282095"/>
              <a:gd name="connsiteX15324" fmla="*/ 5973523 w 7714416"/>
              <a:gd name="connsiteY15324" fmla="*/ 1197531 h 5282095"/>
              <a:gd name="connsiteX15325" fmla="*/ 5975759 w 7714416"/>
              <a:gd name="connsiteY15325" fmla="*/ 1195830 h 5282095"/>
              <a:gd name="connsiteX15326" fmla="*/ 5982831 w 7714416"/>
              <a:gd name="connsiteY15326" fmla="*/ 1196000 h 5282095"/>
              <a:gd name="connsiteX15327" fmla="*/ 5983859 w 7714416"/>
              <a:gd name="connsiteY15327" fmla="*/ 1198805 h 5282095"/>
              <a:gd name="connsiteX15328" fmla="*/ 5976193 w 7714416"/>
              <a:gd name="connsiteY15328" fmla="*/ 1199741 h 5282095"/>
              <a:gd name="connsiteX15329" fmla="*/ 5975877 w 7714416"/>
              <a:gd name="connsiteY15329" fmla="*/ 1200922 h 5282095"/>
              <a:gd name="connsiteX15330" fmla="*/ 5978537 w 7714416"/>
              <a:gd name="connsiteY15330" fmla="*/ 1204279 h 5282095"/>
              <a:gd name="connsiteX15331" fmla="*/ 5974964 w 7714416"/>
              <a:gd name="connsiteY15331" fmla="*/ 1215398 h 5282095"/>
              <a:gd name="connsiteX15332" fmla="*/ 5961269 w 7714416"/>
              <a:gd name="connsiteY15332" fmla="*/ 1214488 h 5282095"/>
              <a:gd name="connsiteX15333" fmla="*/ 5956184 w 7714416"/>
              <a:gd name="connsiteY15333" fmla="*/ 1212435 h 5282095"/>
              <a:gd name="connsiteX15334" fmla="*/ 5949253 w 7714416"/>
              <a:gd name="connsiteY15334" fmla="*/ 1206208 h 5282095"/>
              <a:gd name="connsiteX15335" fmla="*/ 5955031 w 7714416"/>
              <a:gd name="connsiteY15335" fmla="*/ 1193495 h 5282095"/>
              <a:gd name="connsiteX15336" fmla="*/ 1853381 w 7714416"/>
              <a:gd name="connsiteY15336" fmla="*/ 1192728 h 5282095"/>
              <a:gd name="connsiteX15337" fmla="*/ 1854765 w 7714416"/>
              <a:gd name="connsiteY15337" fmla="*/ 1193098 h 5282095"/>
              <a:gd name="connsiteX15338" fmla="*/ 1852444 w 7714416"/>
              <a:gd name="connsiteY15338" fmla="*/ 1195122 h 5282095"/>
              <a:gd name="connsiteX15339" fmla="*/ 1851538 w 7714416"/>
              <a:gd name="connsiteY15339" fmla="*/ 1194074 h 5282095"/>
              <a:gd name="connsiteX15340" fmla="*/ 1853381 w 7714416"/>
              <a:gd name="connsiteY15340" fmla="*/ 1192728 h 5282095"/>
              <a:gd name="connsiteX15341" fmla="*/ 1831727 w 7714416"/>
              <a:gd name="connsiteY15341" fmla="*/ 1191640 h 5282095"/>
              <a:gd name="connsiteX15342" fmla="*/ 1823170 w 7714416"/>
              <a:gd name="connsiteY15342" fmla="*/ 1195903 h 5282095"/>
              <a:gd name="connsiteX15343" fmla="*/ 1826599 w 7714416"/>
              <a:gd name="connsiteY15343" fmla="*/ 1194176 h 5282095"/>
              <a:gd name="connsiteX15344" fmla="*/ 1826649 w 7714416"/>
              <a:gd name="connsiteY15344" fmla="*/ 1191776 h 5282095"/>
              <a:gd name="connsiteX15345" fmla="*/ 1831727 w 7714416"/>
              <a:gd name="connsiteY15345" fmla="*/ 1191640 h 5282095"/>
              <a:gd name="connsiteX15346" fmla="*/ 2162323 w 7714416"/>
              <a:gd name="connsiteY15346" fmla="*/ 1189717 h 5282095"/>
              <a:gd name="connsiteX15347" fmla="*/ 2164584 w 7714416"/>
              <a:gd name="connsiteY15347" fmla="*/ 1191244 h 5282095"/>
              <a:gd name="connsiteX15348" fmla="*/ 2169834 w 7714416"/>
              <a:gd name="connsiteY15348" fmla="*/ 1190465 h 5282095"/>
              <a:gd name="connsiteX15349" fmla="*/ 2167607 w 7714416"/>
              <a:gd name="connsiteY15349" fmla="*/ 1194354 h 5282095"/>
              <a:gd name="connsiteX15350" fmla="*/ 2168415 w 7714416"/>
              <a:gd name="connsiteY15350" fmla="*/ 1196870 h 5282095"/>
              <a:gd name="connsiteX15351" fmla="*/ 2166140 w 7714416"/>
              <a:gd name="connsiteY15351" fmla="*/ 1199826 h 5282095"/>
              <a:gd name="connsiteX15352" fmla="*/ 2162637 w 7714416"/>
              <a:gd name="connsiteY15352" fmla="*/ 1200727 h 5282095"/>
              <a:gd name="connsiteX15353" fmla="*/ 2157048 w 7714416"/>
              <a:gd name="connsiteY15353" fmla="*/ 1204979 h 5282095"/>
              <a:gd name="connsiteX15354" fmla="*/ 2146613 w 7714416"/>
              <a:gd name="connsiteY15354" fmla="*/ 1208509 h 5282095"/>
              <a:gd name="connsiteX15355" fmla="*/ 2156714 w 7714416"/>
              <a:gd name="connsiteY15355" fmla="*/ 1213975 h 5282095"/>
              <a:gd name="connsiteX15356" fmla="*/ 2168742 w 7714416"/>
              <a:gd name="connsiteY15356" fmla="*/ 1221107 h 5282095"/>
              <a:gd name="connsiteX15357" fmla="*/ 2166200 w 7714416"/>
              <a:gd name="connsiteY15357" fmla="*/ 1222842 h 5282095"/>
              <a:gd name="connsiteX15358" fmla="*/ 2161324 w 7714416"/>
              <a:gd name="connsiteY15358" fmla="*/ 1222225 h 5282095"/>
              <a:gd name="connsiteX15359" fmla="*/ 2147493 w 7714416"/>
              <a:gd name="connsiteY15359" fmla="*/ 1215184 h 5282095"/>
              <a:gd name="connsiteX15360" fmla="*/ 2144766 w 7714416"/>
              <a:gd name="connsiteY15360" fmla="*/ 1213188 h 5282095"/>
              <a:gd name="connsiteX15361" fmla="*/ 2142067 w 7714416"/>
              <a:gd name="connsiteY15361" fmla="*/ 1211086 h 5282095"/>
              <a:gd name="connsiteX15362" fmla="*/ 2140866 w 7714416"/>
              <a:gd name="connsiteY15362" fmla="*/ 1208923 h 5282095"/>
              <a:gd name="connsiteX15363" fmla="*/ 2136342 w 7714416"/>
              <a:gd name="connsiteY15363" fmla="*/ 1209206 h 5282095"/>
              <a:gd name="connsiteX15364" fmla="*/ 2159917 w 7714416"/>
              <a:gd name="connsiteY15364" fmla="*/ 1192062 h 5282095"/>
              <a:gd name="connsiteX15365" fmla="*/ 5624660 w 7714416"/>
              <a:gd name="connsiteY15365" fmla="*/ 1189039 h 5282095"/>
              <a:gd name="connsiteX15366" fmla="*/ 5620718 w 7714416"/>
              <a:gd name="connsiteY15366" fmla="*/ 1198219 h 5282095"/>
              <a:gd name="connsiteX15367" fmla="*/ 5616140 w 7714416"/>
              <a:gd name="connsiteY15367" fmla="*/ 1195381 h 5282095"/>
              <a:gd name="connsiteX15368" fmla="*/ 5624660 w 7714416"/>
              <a:gd name="connsiteY15368" fmla="*/ 1189039 h 5282095"/>
              <a:gd name="connsiteX15369" fmla="*/ 5579651 w 7714416"/>
              <a:gd name="connsiteY15369" fmla="*/ 1187674 h 5282095"/>
              <a:gd name="connsiteX15370" fmla="*/ 5583995 w 7714416"/>
              <a:gd name="connsiteY15370" fmla="*/ 1194703 h 5282095"/>
              <a:gd name="connsiteX15371" fmla="*/ 5579651 w 7714416"/>
              <a:gd name="connsiteY15371" fmla="*/ 1187674 h 5282095"/>
              <a:gd name="connsiteX15372" fmla="*/ 1855955 w 7714416"/>
              <a:gd name="connsiteY15372" fmla="*/ 1187553 h 5282095"/>
              <a:gd name="connsiteX15373" fmla="*/ 1861222 w 7714416"/>
              <a:gd name="connsiteY15373" fmla="*/ 1187814 h 5282095"/>
              <a:gd name="connsiteX15374" fmla="*/ 1853888 w 7714416"/>
              <a:gd name="connsiteY15374" fmla="*/ 1191943 h 5282095"/>
              <a:gd name="connsiteX15375" fmla="*/ 1855955 w 7714416"/>
              <a:gd name="connsiteY15375" fmla="*/ 1187553 h 5282095"/>
              <a:gd name="connsiteX15376" fmla="*/ 5230561 w 7714416"/>
              <a:gd name="connsiteY15376" fmla="*/ 1185562 h 5282095"/>
              <a:gd name="connsiteX15377" fmla="*/ 5235398 w 7714416"/>
              <a:gd name="connsiteY15377" fmla="*/ 1187434 h 5282095"/>
              <a:gd name="connsiteX15378" fmla="*/ 5231718 w 7714416"/>
              <a:gd name="connsiteY15378" fmla="*/ 1192313 h 5282095"/>
              <a:gd name="connsiteX15379" fmla="*/ 5227168 w 7714416"/>
              <a:gd name="connsiteY15379" fmla="*/ 1189369 h 5282095"/>
              <a:gd name="connsiteX15380" fmla="*/ 5230561 w 7714416"/>
              <a:gd name="connsiteY15380" fmla="*/ 1185562 h 5282095"/>
              <a:gd name="connsiteX15381" fmla="*/ 5558057 w 7714416"/>
              <a:gd name="connsiteY15381" fmla="*/ 1183038 h 5282095"/>
              <a:gd name="connsiteX15382" fmla="*/ 5567742 w 7714416"/>
              <a:gd name="connsiteY15382" fmla="*/ 1185634 h 5282095"/>
              <a:gd name="connsiteX15383" fmla="*/ 5557780 w 7714416"/>
              <a:gd name="connsiteY15383" fmla="*/ 1200675 h 5282095"/>
              <a:gd name="connsiteX15384" fmla="*/ 5558057 w 7714416"/>
              <a:gd name="connsiteY15384" fmla="*/ 1183038 h 5282095"/>
              <a:gd name="connsiteX15385" fmla="*/ 5013585 w 7714416"/>
              <a:gd name="connsiteY15385" fmla="*/ 1181820 h 5282095"/>
              <a:gd name="connsiteX15386" fmla="*/ 5015482 w 7714416"/>
              <a:gd name="connsiteY15386" fmla="*/ 1183594 h 5282095"/>
              <a:gd name="connsiteX15387" fmla="*/ 5021171 w 7714416"/>
              <a:gd name="connsiteY15387" fmla="*/ 1192247 h 5282095"/>
              <a:gd name="connsiteX15388" fmla="*/ 5020262 w 7714416"/>
              <a:gd name="connsiteY15388" fmla="*/ 1194533 h 5282095"/>
              <a:gd name="connsiteX15389" fmla="*/ 5026482 w 7714416"/>
              <a:gd name="connsiteY15389" fmla="*/ 1196776 h 5282095"/>
              <a:gd name="connsiteX15390" fmla="*/ 5018289 w 7714416"/>
              <a:gd name="connsiteY15390" fmla="*/ 1183081 h 5282095"/>
              <a:gd name="connsiteX15391" fmla="*/ 1633074 w 7714416"/>
              <a:gd name="connsiteY15391" fmla="*/ 1180388 h 5282095"/>
              <a:gd name="connsiteX15392" fmla="*/ 1638940 w 7714416"/>
              <a:gd name="connsiteY15392" fmla="*/ 1185064 h 5282095"/>
              <a:gd name="connsiteX15393" fmla="*/ 1638932 w 7714416"/>
              <a:gd name="connsiteY15393" fmla="*/ 1191732 h 5282095"/>
              <a:gd name="connsiteX15394" fmla="*/ 1641505 w 7714416"/>
              <a:gd name="connsiteY15394" fmla="*/ 1195412 h 5282095"/>
              <a:gd name="connsiteX15395" fmla="*/ 1640140 w 7714416"/>
              <a:gd name="connsiteY15395" fmla="*/ 1196080 h 5282095"/>
              <a:gd name="connsiteX15396" fmla="*/ 1628442 w 7714416"/>
              <a:gd name="connsiteY15396" fmla="*/ 1183287 h 5282095"/>
              <a:gd name="connsiteX15397" fmla="*/ 1629017 w 7714416"/>
              <a:gd name="connsiteY15397" fmla="*/ 1181140 h 5282095"/>
              <a:gd name="connsiteX15398" fmla="*/ 1633074 w 7714416"/>
              <a:gd name="connsiteY15398" fmla="*/ 1180388 h 5282095"/>
              <a:gd name="connsiteX15399" fmla="*/ 924985 w 7714416"/>
              <a:gd name="connsiteY15399" fmla="*/ 1179948 h 5282095"/>
              <a:gd name="connsiteX15400" fmla="*/ 928046 w 7714416"/>
              <a:gd name="connsiteY15400" fmla="*/ 1181803 h 5282095"/>
              <a:gd name="connsiteX15401" fmla="*/ 931394 w 7714416"/>
              <a:gd name="connsiteY15401" fmla="*/ 1182586 h 5282095"/>
              <a:gd name="connsiteX15402" fmla="*/ 931354 w 7714416"/>
              <a:gd name="connsiteY15402" fmla="*/ 1183840 h 5282095"/>
              <a:gd name="connsiteX15403" fmla="*/ 931050 w 7714416"/>
              <a:gd name="connsiteY15403" fmla="*/ 1183873 h 5282095"/>
              <a:gd name="connsiteX15404" fmla="*/ 932013 w 7714416"/>
              <a:gd name="connsiteY15404" fmla="*/ 1184707 h 5282095"/>
              <a:gd name="connsiteX15405" fmla="*/ 933925 w 7714416"/>
              <a:gd name="connsiteY15405" fmla="*/ 1181998 h 5282095"/>
              <a:gd name="connsiteX15406" fmla="*/ 957448 w 7714416"/>
              <a:gd name="connsiteY15406" fmla="*/ 1193822 h 5282095"/>
              <a:gd name="connsiteX15407" fmla="*/ 949470 w 7714416"/>
              <a:gd name="connsiteY15407" fmla="*/ 1201459 h 5282095"/>
              <a:gd name="connsiteX15408" fmla="*/ 937769 w 7714416"/>
              <a:gd name="connsiteY15408" fmla="*/ 1200854 h 5282095"/>
              <a:gd name="connsiteX15409" fmla="*/ 930055 w 7714416"/>
              <a:gd name="connsiteY15409" fmla="*/ 1195337 h 5282095"/>
              <a:gd name="connsiteX15410" fmla="*/ 928552 w 7714416"/>
              <a:gd name="connsiteY15410" fmla="*/ 1189874 h 5282095"/>
              <a:gd name="connsiteX15411" fmla="*/ 928916 w 7714416"/>
              <a:gd name="connsiteY15411" fmla="*/ 1189627 h 5282095"/>
              <a:gd name="connsiteX15412" fmla="*/ 926080 w 7714416"/>
              <a:gd name="connsiteY15412" fmla="*/ 1190247 h 5282095"/>
              <a:gd name="connsiteX15413" fmla="*/ 922818 w 7714416"/>
              <a:gd name="connsiteY15413" fmla="*/ 1189143 h 5282095"/>
              <a:gd name="connsiteX15414" fmla="*/ 921454 w 7714416"/>
              <a:gd name="connsiteY15414" fmla="*/ 1186478 h 5282095"/>
              <a:gd name="connsiteX15415" fmla="*/ 921584 w 7714416"/>
              <a:gd name="connsiteY15415" fmla="*/ 1181567 h 5282095"/>
              <a:gd name="connsiteX15416" fmla="*/ 924985 w 7714416"/>
              <a:gd name="connsiteY15416" fmla="*/ 1179948 h 5282095"/>
              <a:gd name="connsiteX15417" fmla="*/ 1985604 w 7714416"/>
              <a:gd name="connsiteY15417" fmla="*/ 1179626 h 5282095"/>
              <a:gd name="connsiteX15418" fmla="*/ 1978836 w 7714416"/>
              <a:gd name="connsiteY15418" fmla="*/ 1188277 h 5282095"/>
              <a:gd name="connsiteX15419" fmla="*/ 1985604 w 7714416"/>
              <a:gd name="connsiteY15419" fmla="*/ 1179626 h 5282095"/>
              <a:gd name="connsiteX15420" fmla="*/ 5716127 w 7714416"/>
              <a:gd name="connsiteY15420" fmla="*/ 1176403 h 5282095"/>
              <a:gd name="connsiteX15421" fmla="*/ 5720268 w 7714416"/>
              <a:gd name="connsiteY15421" fmla="*/ 1178662 h 5282095"/>
              <a:gd name="connsiteX15422" fmla="*/ 5715167 w 7714416"/>
              <a:gd name="connsiteY15422" fmla="*/ 1189946 h 5282095"/>
              <a:gd name="connsiteX15423" fmla="*/ 5708304 w 7714416"/>
              <a:gd name="connsiteY15423" fmla="*/ 1182356 h 5282095"/>
              <a:gd name="connsiteX15424" fmla="*/ 5716127 w 7714416"/>
              <a:gd name="connsiteY15424" fmla="*/ 1176403 h 5282095"/>
              <a:gd name="connsiteX15425" fmla="*/ 2127893 w 7714416"/>
              <a:gd name="connsiteY15425" fmla="*/ 1175433 h 5282095"/>
              <a:gd name="connsiteX15426" fmla="*/ 2128569 w 7714416"/>
              <a:gd name="connsiteY15426" fmla="*/ 1177338 h 5282095"/>
              <a:gd name="connsiteX15427" fmla="*/ 2129411 w 7714416"/>
              <a:gd name="connsiteY15427" fmla="*/ 1176414 h 5282095"/>
              <a:gd name="connsiteX15428" fmla="*/ 2128703 w 7714416"/>
              <a:gd name="connsiteY15428" fmla="*/ 1177949 h 5282095"/>
              <a:gd name="connsiteX15429" fmla="*/ 2127481 w 7714416"/>
              <a:gd name="connsiteY15429" fmla="*/ 1178081 h 5282095"/>
              <a:gd name="connsiteX15430" fmla="*/ 2124351 w 7714416"/>
              <a:gd name="connsiteY15430" fmla="*/ 1177588 h 5282095"/>
              <a:gd name="connsiteX15431" fmla="*/ 2122425 w 7714416"/>
              <a:gd name="connsiteY15431" fmla="*/ 1175921 h 5282095"/>
              <a:gd name="connsiteX15432" fmla="*/ 2127893 w 7714416"/>
              <a:gd name="connsiteY15432" fmla="*/ 1175433 h 5282095"/>
              <a:gd name="connsiteX15433" fmla="*/ 5463788 w 7714416"/>
              <a:gd name="connsiteY15433" fmla="*/ 1175144 h 5282095"/>
              <a:gd name="connsiteX15434" fmla="*/ 5492036 w 7714416"/>
              <a:gd name="connsiteY15434" fmla="*/ 1194788 h 5282095"/>
              <a:gd name="connsiteX15435" fmla="*/ 5463788 w 7714416"/>
              <a:gd name="connsiteY15435" fmla="*/ 1175144 h 5282095"/>
              <a:gd name="connsiteX15436" fmla="*/ 1227919 w 7714416"/>
              <a:gd name="connsiteY15436" fmla="*/ 1174178 h 5282095"/>
              <a:gd name="connsiteX15437" fmla="*/ 1243240 w 7714416"/>
              <a:gd name="connsiteY15437" fmla="*/ 1177593 h 5282095"/>
              <a:gd name="connsiteX15438" fmla="*/ 1241591 w 7714416"/>
              <a:gd name="connsiteY15438" fmla="*/ 1184857 h 5282095"/>
              <a:gd name="connsiteX15439" fmla="*/ 1225007 w 7714416"/>
              <a:gd name="connsiteY15439" fmla="*/ 1181448 h 5282095"/>
              <a:gd name="connsiteX15440" fmla="*/ 1216474 w 7714416"/>
              <a:gd name="connsiteY15440" fmla="*/ 1174561 h 5282095"/>
              <a:gd name="connsiteX15441" fmla="*/ 1227919 w 7714416"/>
              <a:gd name="connsiteY15441" fmla="*/ 1174178 h 5282095"/>
              <a:gd name="connsiteX15442" fmla="*/ 1337727 w 7714416"/>
              <a:gd name="connsiteY15442" fmla="*/ 1173614 h 5282095"/>
              <a:gd name="connsiteX15443" fmla="*/ 1342161 w 7714416"/>
              <a:gd name="connsiteY15443" fmla="*/ 1174773 h 5282095"/>
              <a:gd name="connsiteX15444" fmla="*/ 1344792 w 7714416"/>
              <a:gd name="connsiteY15444" fmla="*/ 1178239 h 5282095"/>
              <a:gd name="connsiteX15445" fmla="*/ 1340227 w 7714416"/>
              <a:gd name="connsiteY15445" fmla="*/ 1179775 h 5282095"/>
              <a:gd name="connsiteX15446" fmla="*/ 1334826 w 7714416"/>
              <a:gd name="connsiteY15446" fmla="*/ 1178903 h 5282095"/>
              <a:gd name="connsiteX15447" fmla="*/ 1333845 w 7714416"/>
              <a:gd name="connsiteY15447" fmla="*/ 1177030 h 5282095"/>
              <a:gd name="connsiteX15448" fmla="*/ 1333733 w 7714416"/>
              <a:gd name="connsiteY15448" fmla="*/ 1174125 h 5282095"/>
              <a:gd name="connsiteX15449" fmla="*/ 1337727 w 7714416"/>
              <a:gd name="connsiteY15449" fmla="*/ 1173614 h 5282095"/>
              <a:gd name="connsiteX15450" fmla="*/ 1796834 w 7714416"/>
              <a:gd name="connsiteY15450" fmla="*/ 1173551 h 5282095"/>
              <a:gd name="connsiteX15451" fmla="*/ 1804678 w 7714416"/>
              <a:gd name="connsiteY15451" fmla="*/ 1174158 h 5282095"/>
              <a:gd name="connsiteX15452" fmla="*/ 1793441 w 7714416"/>
              <a:gd name="connsiteY15452" fmla="*/ 1177357 h 5282095"/>
              <a:gd name="connsiteX15453" fmla="*/ 1790789 w 7714416"/>
              <a:gd name="connsiteY15453" fmla="*/ 1176187 h 5282095"/>
              <a:gd name="connsiteX15454" fmla="*/ 1796834 w 7714416"/>
              <a:gd name="connsiteY15454" fmla="*/ 1173551 h 5282095"/>
              <a:gd name="connsiteX15455" fmla="*/ 5300582 w 7714416"/>
              <a:gd name="connsiteY15455" fmla="*/ 1173274 h 5282095"/>
              <a:gd name="connsiteX15456" fmla="*/ 5308825 w 7714416"/>
              <a:gd name="connsiteY15456" fmla="*/ 1175713 h 5282095"/>
              <a:gd name="connsiteX15457" fmla="*/ 5306482 w 7714416"/>
              <a:gd name="connsiteY15457" fmla="*/ 1180030 h 5282095"/>
              <a:gd name="connsiteX15458" fmla="*/ 5301214 w 7714416"/>
              <a:gd name="connsiteY15458" fmla="*/ 1179768 h 5282095"/>
              <a:gd name="connsiteX15459" fmla="*/ 5301253 w 7714416"/>
              <a:gd name="connsiteY15459" fmla="*/ 1178515 h 5282095"/>
              <a:gd name="connsiteX15460" fmla="*/ 5300582 w 7714416"/>
              <a:gd name="connsiteY15460" fmla="*/ 1173274 h 5282095"/>
              <a:gd name="connsiteX15461" fmla="*/ 1361555 w 7714416"/>
              <a:gd name="connsiteY15461" fmla="*/ 1172538 h 5282095"/>
              <a:gd name="connsiteX15462" fmla="*/ 1370766 w 7714416"/>
              <a:gd name="connsiteY15462" fmla="*/ 1174273 h 5282095"/>
              <a:gd name="connsiteX15463" fmla="*/ 1377986 w 7714416"/>
              <a:gd name="connsiteY15463" fmla="*/ 1179427 h 5282095"/>
              <a:gd name="connsiteX15464" fmla="*/ 1379020 w 7714416"/>
              <a:gd name="connsiteY15464" fmla="*/ 1184420 h 5282095"/>
              <a:gd name="connsiteX15465" fmla="*/ 1379886 w 7714416"/>
              <a:gd name="connsiteY15465" fmla="*/ 1186722 h 5282095"/>
              <a:gd name="connsiteX15466" fmla="*/ 1382854 w 7714416"/>
              <a:gd name="connsiteY15466" fmla="*/ 1186713 h 5282095"/>
              <a:gd name="connsiteX15467" fmla="*/ 1384708 w 7714416"/>
              <a:gd name="connsiteY15467" fmla="*/ 1184218 h 5282095"/>
              <a:gd name="connsiteX15468" fmla="*/ 1397986 w 7714416"/>
              <a:gd name="connsiteY15468" fmla="*/ 1182257 h 5282095"/>
              <a:gd name="connsiteX15469" fmla="*/ 1400330 w 7714416"/>
              <a:gd name="connsiteY15469" fmla="*/ 1186794 h 5282095"/>
              <a:gd name="connsiteX15470" fmla="*/ 1407736 w 7714416"/>
              <a:gd name="connsiteY15470" fmla="*/ 1186824 h 5282095"/>
              <a:gd name="connsiteX15471" fmla="*/ 1408085 w 7714416"/>
              <a:gd name="connsiteY15471" fmla="*/ 1199913 h 5282095"/>
              <a:gd name="connsiteX15472" fmla="*/ 1405422 w 7714416"/>
              <a:gd name="connsiteY15472" fmla="*/ 1199889 h 5282095"/>
              <a:gd name="connsiteX15473" fmla="*/ 1402400 w 7714416"/>
              <a:gd name="connsiteY15473" fmla="*/ 1205635 h 5282095"/>
              <a:gd name="connsiteX15474" fmla="*/ 1392848 w 7714416"/>
              <a:gd name="connsiteY15474" fmla="*/ 1212506 h 5282095"/>
              <a:gd name="connsiteX15475" fmla="*/ 1381988 w 7714416"/>
              <a:gd name="connsiteY15475" fmla="*/ 1202120 h 5282095"/>
              <a:gd name="connsiteX15476" fmla="*/ 1381352 w 7714416"/>
              <a:gd name="connsiteY15476" fmla="*/ 1198960 h 5282095"/>
              <a:gd name="connsiteX15477" fmla="*/ 1363991 w 7714416"/>
              <a:gd name="connsiteY15477" fmla="*/ 1198448 h 5282095"/>
              <a:gd name="connsiteX15478" fmla="*/ 1341143 w 7714416"/>
              <a:gd name="connsiteY15478" fmla="*/ 1197387 h 5282095"/>
              <a:gd name="connsiteX15479" fmla="*/ 1342875 w 7714416"/>
              <a:gd name="connsiteY15479" fmla="*/ 1201991 h 5282095"/>
              <a:gd name="connsiteX15480" fmla="*/ 1341168 w 7714416"/>
              <a:gd name="connsiteY15480" fmla="*/ 1218324 h 5282095"/>
              <a:gd name="connsiteX15481" fmla="*/ 1335394 w 7714416"/>
              <a:gd name="connsiteY15481" fmla="*/ 1227701 h 5282095"/>
              <a:gd name="connsiteX15482" fmla="*/ 1323679 w 7714416"/>
              <a:gd name="connsiteY15482" fmla="*/ 1205011 h 5282095"/>
              <a:gd name="connsiteX15483" fmla="*/ 1291771 w 7714416"/>
              <a:gd name="connsiteY15483" fmla="*/ 1205662 h 5282095"/>
              <a:gd name="connsiteX15484" fmla="*/ 1324284 w 7714416"/>
              <a:gd name="connsiteY15484" fmla="*/ 1193903 h 5282095"/>
              <a:gd name="connsiteX15485" fmla="*/ 1329637 w 7714416"/>
              <a:gd name="connsiteY15485" fmla="*/ 1184988 h 5282095"/>
              <a:gd name="connsiteX15486" fmla="*/ 1331948 w 7714416"/>
              <a:gd name="connsiteY15486" fmla="*/ 1184111 h 5282095"/>
              <a:gd name="connsiteX15487" fmla="*/ 1333138 w 7714416"/>
              <a:gd name="connsiteY15487" fmla="*/ 1178566 h 5282095"/>
              <a:gd name="connsiteX15488" fmla="*/ 1343781 w 7714416"/>
              <a:gd name="connsiteY15488" fmla="*/ 1185328 h 5282095"/>
              <a:gd name="connsiteX15489" fmla="*/ 1341794 w 7714416"/>
              <a:gd name="connsiteY15489" fmla="*/ 1187211 h 5282095"/>
              <a:gd name="connsiteX15490" fmla="*/ 1337575 w 7714416"/>
              <a:gd name="connsiteY15490" fmla="*/ 1187460 h 5282095"/>
              <a:gd name="connsiteX15491" fmla="*/ 1338574 w 7714416"/>
              <a:gd name="connsiteY15491" fmla="*/ 1190373 h 5282095"/>
              <a:gd name="connsiteX15492" fmla="*/ 1340580 w 7714416"/>
              <a:gd name="connsiteY15492" fmla="*/ 1189530 h 5282095"/>
              <a:gd name="connsiteX15493" fmla="*/ 1355996 w 7714416"/>
              <a:gd name="connsiteY15493" fmla="*/ 1187335 h 5282095"/>
              <a:gd name="connsiteX15494" fmla="*/ 1365293 w 7714416"/>
              <a:gd name="connsiteY15494" fmla="*/ 1186952 h 5282095"/>
              <a:gd name="connsiteX15495" fmla="*/ 1362012 w 7714416"/>
              <a:gd name="connsiteY15495" fmla="*/ 1184808 h 5282095"/>
              <a:gd name="connsiteX15496" fmla="*/ 1355446 w 7714416"/>
              <a:gd name="connsiteY15496" fmla="*/ 1174999 h 5282095"/>
              <a:gd name="connsiteX15497" fmla="*/ 1361555 w 7714416"/>
              <a:gd name="connsiteY15497" fmla="*/ 1172538 h 5282095"/>
              <a:gd name="connsiteX15498" fmla="*/ 5810286 w 7714416"/>
              <a:gd name="connsiteY15498" fmla="*/ 1172537 h 5282095"/>
              <a:gd name="connsiteX15499" fmla="*/ 5810721 w 7714416"/>
              <a:gd name="connsiteY15499" fmla="*/ 1176448 h 5282095"/>
              <a:gd name="connsiteX15500" fmla="*/ 5806883 w 7714416"/>
              <a:gd name="connsiteY15500" fmla="*/ 1177490 h 5282095"/>
              <a:gd name="connsiteX15501" fmla="*/ 5804371 w 7714416"/>
              <a:gd name="connsiteY15501" fmla="*/ 1179117 h 5282095"/>
              <a:gd name="connsiteX15502" fmla="*/ 5801708 w 7714416"/>
              <a:gd name="connsiteY15502" fmla="*/ 1179094 h 5282095"/>
              <a:gd name="connsiteX15503" fmla="*/ 5799477 w 7714416"/>
              <a:gd name="connsiteY15503" fmla="*/ 1177460 h 5282095"/>
              <a:gd name="connsiteX15504" fmla="*/ 5802017 w 7714416"/>
              <a:gd name="connsiteY15504" fmla="*/ 1175726 h 5282095"/>
              <a:gd name="connsiteX15505" fmla="*/ 5810286 w 7714416"/>
              <a:gd name="connsiteY15505" fmla="*/ 1172537 h 5282095"/>
              <a:gd name="connsiteX15506" fmla="*/ 1572660 w 7714416"/>
              <a:gd name="connsiteY15506" fmla="*/ 1171215 h 5282095"/>
              <a:gd name="connsiteX15507" fmla="*/ 1587490 w 7714416"/>
              <a:gd name="connsiteY15507" fmla="*/ 1172314 h 5282095"/>
              <a:gd name="connsiteX15508" fmla="*/ 1574673 w 7714416"/>
              <a:gd name="connsiteY15508" fmla="*/ 1172558 h 5282095"/>
              <a:gd name="connsiteX15509" fmla="*/ 1572660 w 7714416"/>
              <a:gd name="connsiteY15509" fmla="*/ 1171215 h 5282095"/>
              <a:gd name="connsiteX15510" fmla="*/ 5203167 w 7714416"/>
              <a:gd name="connsiteY15510" fmla="*/ 1169367 h 5282095"/>
              <a:gd name="connsiteX15511" fmla="*/ 5214045 w 7714416"/>
              <a:gd name="connsiteY15511" fmla="*/ 1171937 h 5282095"/>
              <a:gd name="connsiteX15512" fmla="*/ 5211673 w 7714416"/>
              <a:gd name="connsiteY15512" fmla="*/ 1185217 h 5282095"/>
              <a:gd name="connsiteX15513" fmla="*/ 5203167 w 7714416"/>
              <a:gd name="connsiteY15513" fmla="*/ 1169367 h 5282095"/>
              <a:gd name="connsiteX15514" fmla="*/ 1140221 w 7714416"/>
              <a:gd name="connsiteY15514" fmla="*/ 1168044 h 5282095"/>
              <a:gd name="connsiteX15515" fmla="*/ 1141605 w 7714416"/>
              <a:gd name="connsiteY15515" fmla="*/ 1168415 h 5282095"/>
              <a:gd name="connsiteX15516" fmla="*/ 1141356 w 7714416"/>
              <a:gd name="connsiteY15516" fmla="*/ 1168234 h 5282095"/>
              <a:gd name="connsiteX15517" fmla="*/ 1947439 w 7714416"/>
              <a:gd name="connsiteY15517" fmla="*/ 1167100 h 5282095"/>
              <a:gd name="connsiteX15518" fmla="*/ 1948431 w 7714416"/>
              <a:gd name="connsiteY15518" fmla="*/ 1185537 h 5282095"/>
              <a:gd name="connsiteX15519" fmla="*/ 1945858 w 7714416"/>
              <a:gd name="connsiteY15519" fmla="*/ 1181856 h 5282095"/>
              <a:gd name="connsiteX15520" fmla="*/ 1945447 w 7714416"/>
              <a:gd name="connsiteY15520" fmla="*/ 1173984 h 5282095"/>
              <a:gd name="connsiteX15521" fmla="*/ 1946514 w 7714416"/>
              <a:gd name="connsiteY15521" fmla="*/ 1170299 h 5282095"/>
              <a:gd name="connsiteX15522" fmla="*/ 1946577 w 7714416"/>
              <a:gd name="connsiteY15522" fmla="*/ 1170319 h 5282095"/>
              <a:gd name="connsiteX15523" fmla="*/ 1946524 w 7714416"/>
              <a:gd name="connsiteY15523" fmla="*/ 1170262 h 5282095"/>
              <a:gd name="connsiteX15524" fmla="*/ 1533781 w 7714416"/>
              <a:gd name="connsiteY15524" fmla="*/ 1166892 h 5282095"/>
              <a:gd name="connsiteX15525" fmla="*/ 1561074 w 7714416"/>
              <a:gd name="connsiteY15525" fmla="*/ 1170180 h 5282095"/>
              <a:gd name="connsiteX15526" fmla="*/ 1533781 w 7714416"/>
              <a:gd name="connsiteY15526" fmla="*/ 1166892 h 5282095"/>
              <a:gd name="connsiteX15527" fmla="*/ 5565978 w 7714416"/>
              <a:gd name="connsiteY15527" fmla="*/ 1166761 h 5282095"/>
              <a:gd name="connsiteX15528" fmla="*/ 5565040 w 7714416"/>
              <a:gd name="connsiteY15528" fmla="*/ 1169155 h 5282095"/>
              <a:gd name="connsiteX15529" fmla="*/ 5564113 w 7714416"/>
              <a:gd name="connsiteY15529" fmla="*/ 1170400 h 5282095"/>
              <a:gd name="connsiteX15530" fmla="*/ 5562980 w 7714416"/>
              <a:gd name="connsiteY15530" fmla="*/ 1166878 h 5282095"/>
              <a:gd name="connsiteX15531" fmla="*/ 5565978 w 7714416"/>
              <a:gd name="connsiteY15531" fmla="*/ 1166761 h 5282095"/>
              <a:gd name="connsiteX15532" fmla="*/ 5547234 w 7714416"/>
              <a:gd name="connsiteY15532" fmla="*/ 1165877 h 5282095"/>
              <a:gd name="connsiteX15533" fmla="*/ 5547643 w 7714416"/>
              <a:gd name="connsiteY15533" fmla="*/ 1166563 h 5282095"/>
              <a:gd name="connsiteX15534" fmla="*/ 5546450 w 7714416"/>
              <a:gd name="connsiteY15534" fmla="*/ 1166588 h 5282095"/>
              <a:gd name="connsiteX15535" fmla="*/ 1529964 w 7714416"/>
              <a:gd name="connsiteY15535" fmla="*/ 1165639 h 5282095"/>
              <a:gd name="connsiteX15536" fmla="*/ 1533533 w 7714416"/>
              <a:gd name="connsiteY15536" fmla="*/ 1166710 h 5282095"/>
              <a:gd name="connsiteX15537" fmla="*/ 1532052 w 7714416"/>
              <a:gd name="connsiteY15537" fmla="*/ 1167810 h 5282095"/>
              <a:gd name="connsiteX15538" fmla="*/ 1529964 w 7714416"/>
              <a:gd name="connsiteY15538" fmla="*/ 1165639 h 5282095"/>
              <a:gd name="connsiteX15539" fmla="*/ 1521365 w 7714416"/>
              <a:gd name="connsiteY15539" fmla="*/ 1165636 h 5282095"/>
              <a:gd name="connsiteX15540" fmla="*/ 1525211 w 7714416"/>
              <a:gd name="connsiteY15540" fmla="*/ 1166781 h 5282095"/>
              <a:gd name="connsiteX15541" fmla="*/ 1524122 w 7714416"/>
              <a:gd name="connsiteY15541" fmla="*/ 1167523 h 5282095"/>
              <a:gd name="connsiteX15542" fmla="*/ 1521355 w 7714416"/>
              <a:gd name="connsiteY15542" fmla="*/ 1166782 h 5282095"/>
              <a:gd name="connsiteX15543" fmla="*/ 1521365 w 7714416"/>
              <a:gd name="connsiteY15543" fmla="*/ 1165636 h 5282095"/>
              <a:gd name="connsiteX15544" fmla="*/ 1883715 w 7714416"/>
              <a:gd name="connsiteY15544" fmla="*/ 1164745 h 5282095"/>
              <a:gd name="connsiteX15545" fmla="*/ 1904062 w 7714416"/>
              <a:gd name="connsiteY15545" fmla="*/ 1192853 h 5282095"/>
              <a:gd name="connsiteX15546" fmla="*/ 1888322 w 7714416"/>
              <a:gd name="connsiteY15546" fmla="*/ 1194040 h 5282095"/>
              <a:gd name="connsiteX15547" fmla="*/ 1883715 w 7714416"/>
              <a:gd name="connsiteY15547" fmla="*/ 1164745 h 5282095"/>
              <a:gd name="connsiteX15548" fmla="*/ 1872205 w 7714416"/>
              <a:gd name="connsiteY15548" fmla="*/ 1164536 h 5282095"/>
              <a:gd name="connsiteX15549" fmla="*/ 1872686 w 7714416"/>
              <a:gd name="connsiteY15549" fmla="*/ 1169380 h 5282095"/>
              <a:gd name="connsiteX15550" fmla="*/ 1867655 w 7714416"/>
              <a:gd name="connsiteY15550" fmla="*/ 1170447 h 5282095"/>
              <a:gd name="connsiteX15551" fmla="*/ 1872205 w 7714416"/>
              <a:gd name="connsiteY15551" fmla="*/ 1164536 h 5282095"/>
              <a:gd name="connsiteX15552" fmla="*/ 1511041 w 7714416"/>
              <a:gd name="connsiteY15552" fmla="*/ 1163214 h 5282095"/>
              <a:gd name="connsiteX15553" fmla="*/ 1516326 w 7714416"/>
              <a:gd name="connsiteY15553" fmla="*/ 1164515 h 5282095"/>
              <a:gd name="connsiteX15554" fmla="*/ 1516852 w 7714416"/>
              <a:gd name="connsiteY15554" fmla="*/ 1164771 h 5282095"/>
              <a:gd name="connsiteX15555" fmla="*/ 1516996 w 7714416"/>
              <a:gd name="connsiteY15555" fmla="*/ 1164235 h 5282095"/>
              <a:gd name="connsiteX15556" fmla="*/ 1518921 w 7714416"/>
              <a:gd name="connsiteY15556" fmla="*/ 1165901 h 5282095"/>
              <a:gd name="connsiteX15557" fmla="*/ 1520219 w 7714416"/>
              <a:gd name="connsiteY15557" fmla="*/ 1166593 h 5282095"/>
              <a:gd name="connsiteX15558" fmla="*/ 1519884 w 7714416"/>
              <a:gd name="connsiteY15558" fmla="*/ 1166734 h 5282095"/>
              <a:gd name="connsiteX15559" fmla="*/ 1522019 w 7714416"/>
              <a:gd name="connsiteY15559" fmla="*/ 1169836 h 5282095"/>
              <a:gd name="connsiteX15560" fmla="*/ 1525225 w 7714416"/>
              <a:gd name="connsiteY15560" fmla="*/ 1171155 h 5282095"/>
              <a:gd name="connsiteX15561" fmla="*/ 1528516 w 7714416"/>
              <a:gd name="connsiteY15561" fmla="*/ 1181006 h 5282095"/>
              <a:gd name="connsiteX15562" fmla="*/ 1523492 w 7714416"/>
              <a:gd name="connsiteY15562" fmla="*/ 1175405 h 5282095"/>
              <a:gd name="connsiteX15563" fmla="*/ 1521139 w 7714416"/>
              <a:gd name="connsiteY15563" fmla="*/ 1172014 h 5282095"/>
              <a:gd name="connsiteX15564" fmla="*/ 1518469 w 7714416"/>
              <a:gd name="connsiteY15564" fmla="*/ 1169804 h 5282095"/>
              <a:gd name="connsiteX15565" fmla="*/ 1517136 w 7714416"/>
              <a:gd name="connsiteY15565" fmla="*/ 1167033 h 5282095"/>
              <a:gd name="connsiteX15566" fmla="*/ 1516830 w 7714416"/>
              <a:gd name="connsiteY15566" fmla="*/ 1167066 h 5282095"/>
              <a:gd name="connsiteX15567" fmla="*/ 1513366 w 7714416"/>
              <a:gd name="connsiteY15567" fmla="*/ 1166712 h 5282095"/>
              <a:gd name="connsiteX15568" fmla="*/ 1511631 w 7714416"/>
              <a:gd name="connsiteY15568" fmla="*/ 1165441 h 5282095"/>
              <a:gd name="connsiteX15569" fmla="*/ 1511041 w 7714416"/>
              <a:gd name="connsiteY15569" fmla="*/ 1163214 h 5282095"/>
              <a:gd name="connsiteX15570" fmla="*/ 2044071 w 7714416"/>
              <a:gd name="connsiteY15570" fmla="*/ 1162861 h 5282095"/>
              <a:gd name="connsiteX15571" fmla="*/ 2045986 w 7714416"/>
              <a:gd name="connsiteY15571" fmla="*/ 1165675 h 5282095"/>
              <a:gd name="connsiteX15572" fmla="*/ 2044545 w 7714416"/>
              <a:gd name="connsiteY15572" fmla="*/ 1165519 h 5282095"/>
              <a:gd name="connsiteX15573" fmla="*/ 2043287 w 7714416"/>
              <a:gd name="connsiteY15573" fmla="*/ 1163572 h 5282095"/>
              <a:gd name="connsiteX15574" fmla="*/ 2044071 w 7714416"/>
              <a:gd name="connsiteY15574" fmla="*/ 1162861 h 5282095"/>
              <a:gd name="connsiteX15575" fmla="*/ 5303964 w 7714416"/>
              <a:gd name="connsiteY15575" fmla="*/ 1161760 h 5282095"/>
              <a:gd name="connsiteX15576" fmla="*/ 5319373 w 7714416"/>
              <a:gd name="connsiteY15576" fmla="*/ 1166234 h 5282095"/>
              <a:gd name="connsiteX15577" fmla="*/ 5325410 w 7714416"/>
              <a:gd name="connsiteY15577" fmla="*/ 1170267 h 5282095"/>
              <a:gd name="connsiteX15578" fmla="*/ 5325554 w 7714416"/>
              <a:gd name="connsiteY15578" fmla="*/ 1169731 h 5282095"/>
              <a:gd name="connsiteX15579" fmla="*/ 5331548 w 7714416"/>
              <a:gd name="connsiteY15579" fmla="*/ 1169496 h 5282095"/>
              <a:gd name="connsiteX15580" fmla="*/ 5337193 w 7714416"/>
              <a:gd name="connsiteY15580" fmla="*/ 1173884 h 5282095"/>
              <a:gd name="connsiteX15581" fmla="*/ 5339888 w 7714416"/>
              <a:gd name="connsiteY15581" fmla="*/ 1179321 h 5282095"/>
              <a:gd name="connsiteX15582" fmla="*/ 5340772 w 7714416"/>
              <a:gd name="connsiteY15582" fmla="*/ 1182663 h 5282095"/>
              <a:gd name="connsiteX15583" fmla="*/ 5348455 w 7714416"/>
              <a:gd name="connsiteY15583" fmla="*/ 1191622 h 5282095"/>
              <a:gd name="connsiteX15584" fmla="*/ 5347984 w 7714416"/>
              <a:gd name="connsiteY15584" fmla="*/ 1203340 h 5282095"/>
              <a:gd name="connsiteX15585" fmla="*/ 5303964 w 7714416"/>
              <a:gd name="connsiteY15585" fmla="*/ 1161760 h 5282095"/>
              <a:gd name="connsiteX15586" fmla="*/ 6004792 w 7714416"/>
              <a:gd name="connsiteY15586" fmla="*/ 1161634 h 5282095"/>
              <a:gd name="connsiteX15587" fmla="*/ 5980193 w 7714416"/>
              <a:gd name="connsiteY15587" fmla="*/ 1190348 h 5282095"/>
              <a:gd name="connsiteX15588" fmla="*/ 6004792 w 7714416"/>
              <a:gd name="connsiteY15588" fmla="*/ 1161634 h 5282095"/>
              <a:gd name="connsiteX15589" fmla="*/ 5366575 w 7714416"/>
              <a:gd name="connsiteY15589" fmla="*/ 1161632 h 5282095"/>
              <a:gd name="connsiteX15590" fmla="*/ 5382184 w 7714416"/>
              <a:gd name="connsiteY15590" fmla="*/ 1174209 h 5282095"/>
              <a:gd name="connsiteX15591" fmla="*/ 5366575 w 7714416"/>
              <a:gd name="connsiteY15591" fmla="*/ 1161632 h 5282095"/>
              <a:gd name="connsiteX15592" fmla="*/ 5699048 w 7714416"/>
              <a:gd name="connsiteY15592" fmla="*/ 1161562 h 5282095"/>
              <a:gd name="connsiteX15593" fmla="*/ 5708136 w 7714416"/>
              <a:gd name="connsiteY15593" fmla="*/ 1161956 h 5282095"/>
              <a:gd name="connsiteX15594" fmla="*/ 5698012 w 7714416"/>
              <a:gd name="connsiteY15594" fmla="*/ 1167639 h 5282095"/>
              <a:gd name="connsiteX15595" fmla="*/ 5699048 w 7714416"/>
              <a:gd name="connsiteY15595" fmla="*/ 1161562 h 5282095"/>
              <a:gd name="connsiteX15596" fmla="*/ 1871932 w 7714416"/>
              <a:gd name="connsiteY15596" fmla="*/ 1161128 h 5282095"/>
              <a:gd name="connsiteX15597" fmla="*/ 1872130 w 7714416"/>
              <a:gd name="connsiteY15597" fmla="*/ 1163711 h 5282095"/>
              <a:gd name="connsiteX15598" fmla="*/ 1870660 w 7714416"/>
              <a:gd name="connsiteY15598" fmla="*/ 1163662 h 5282095"/>
              <a:gd name="connsiteX15599" fmla="*/ 1871932 w 7714416"/>
              <a:gd name="connsiteY15599" fmla="*/ 1161128 h 5282095"/>
              <a:gd name="connsiteX15600" fmla="*/ 5803218 w 7714416"/>
              <a:gd name="connsiteY15600" fmla="*/ 1160178 h 5282095"/>
              <a:gd name="connsiteX15601" fmla="*/ 5806452 w 7714416"/>
              <a:gd name="connsiteY15601" fmla="*/ 1161389 h 5282095"/>
              <a:gd name="connsiteX15602" fmla="*/ 5801349 w 7714416"/>
              <a:gd name="connsiteY15602" fmla="*/ 1167152 h 5282095"/>
              <a:gd name="connsiteX15603" fmla="*/ 5796138 w 7714416"/>
              <a:gd name="connsiteY15603" fmla="*/ 1166676 h 5282095"/>
              <a:gd name="connsiteX15604" fmla="*/ 5797364 w 7714416"/>
              <a:gd name="connsiteY15604" fmla="*/ 1163209 h 5282095"/>
              <a:gd name="connsiteX15605" fmla="*/ 5800638 w 7714416"/>
              <a:gd name="connsiteY15605" fmla="*/ 1163166 h 5282095"/>
              <a:gd name="connsiteX15606" fmla="*/ 5803218 w 7714416"/>
              <a:gd name="connsiteY15606" fmla="*/ 1160178 h 5282095"/>
              <a:gd name="connsiteX15607" fmla="*/ 5712843 w 7714416"/>
              <a:gd name="connsiteY15607" fmla="*/ 1159882 h 5282095"/>
              <a:gd name="connsiteX15608" fmla="*/ 5733204 w 7714416"/>
              <a:gd name="connsiteY15608" fmla="*/ 1183509 h 5282095"/>
              <a:gd name="connsiteX15609" fmla="*/ 5726200 w 7714416"/>
              <a:gd name="connsiteY15609" fmla="*/ 1181976 h 5282095"/>
              <a:gd name="connsiteX15610" fmla="*/ 5709476 w 7714416"/>
              <a:gd name="connsiteY15610" fmla="*/ 1166915 h 5282095"/>
              <a:gd name="connsiteX15611" fmla="*/ 5712843 w 7714416"/>
              <a:gd name="connsiteY15611" fmla="*/ 1159882 h 5282095"/>
              <a:gd name="connsiteX15612" fmla="*/ 898272 w 7714416"/>
              <a:gd name="connsiteY15612" fmla="*/ 1159824 h 5282095"/>
              <a:gd name="connsiteX15613" fmla="*/ 913470 w 7714416"/>
              <a:gd name="connsiteY15613" fmla="*/ 1165363 h 5282095"/>
              <a:gd name="connsiteX15614" fmla="*/ 912076 w 7714416"/>
              <a:gd name="connsiteY15614" fmla="*/ 1174995 h 5282095"/>
              <a:gd name="connsiteX15615" fmla="*/ 892103 w 7714416"/>
              <a:gd name="connsiteY15615" fmla="*/ 1172057 h 5282095"/>
              <a:gd name="connsiteX15616" fmla="*/ 886637 w 7714416"/>
              <a:gd name="connsiteY15616" fmla="*/ 1169213 h 5282095"/>
              <a:gd name="connsiteX15617" fmla="*/ 898272 w 7714416"/>
              <a:gd name="connsiteY15617" fmla="*/ 1159824 h 5282095"/>
              <a:gd name="connsiteX15618" fmla="*/ 5545742 w 7714416"/>
              <a:gd name="connsiteY15618" fmla="*/ 1159268 h 5282095"/>
              <a:gd name="connsiteX15619" fmla="*/ 5549311 w 7714416"/>
              <a:gd name="connsiteY15619" fmla="*/ 1160339 h 5282095"/>
              <a:gd name="connsiteX15620" fmla="*/ 5549447 w 7714416"/>
              <a:gd name="connsiteY15620" fmla="*/ 1166471 h 5282095"/>
              <a:gd name="connsiteX15621" fmla="*/ 5547377 w 7714416"/>
              <a:gd name="connsiteY15621" fmla="*/ 1165341 h 5282095"/>
              <a:gd name="connsiteX15622" fmla="*/ 5547234 w 7714416"/>
              <a:gd name="connsiteY15622" fmla="*/ 1165877 h 5282095"/>
              <a:gd name="connsiteX15623" fmla="*/ 5545013 w 7714416"/>
              <a:gd name="connsiteY15623" fmla="*/ 1163098 h 5282095"/>
              <a:gd name="connsiteX15624" fmla="*/ 5545742 w 7714416"/>
              <a:gd name="connsiteY15624" fmla="*/ 1159268 h 5282095"/>
              <a:gd name="connsiteX15625" fmla="*/ 5277367 w 7714416"/>
              <a:gd name="connsiteY15625" fmla="*/ 1158083 h 5282095"/>
              <a:gd name="connsiteX15626" fmla="*/ 5278025 w 7714416"/>
              <a:gd name="connsiteY15626" fmla="*/ 1158950 h 5282095"/>
              <a:gd name="connsiteX15627" fmla="*/ 5276861 w 7714416"/>
              <a:gd name="connsiteY15627" fmla="*/ 1158868 h 5282095"/>
              <a:gd name="connsiteX15628" fmla="*/ 1443626 w 7714416"/>
              <a:gd name="connsiteY15628" fmla="*/ 1158030 h 5282095"/>
              <a:gd name="connsiteX15629" fmla="*/ 1451855 w 7714416"/>
              <a:gd name="connsiteY15629" fmla="*/ 1164951 h 5282095"/>
              <a:gd name="connsiteX15630" fmla="*/ 1449922 w 7714416"/>
              <a:gd name="connsiteY15630" fmla="*/ 1169952 h 5282095"/>
              <a:gd name="connsiteX15631" fmla="*/ 1455233 w 7714416"/>
              <a:gd name="connsiteY15631" fmla="*/ 1165625 h 5282095"/>
              <a:gd name="connsiteX15632" fmla="*/ 1481167 w 7714416"/>
              <a:gd name="connsiteY15632" fmla="*/ 1171769 h 5282095"/>
              <a:gd name="connsiteX15633" fmla="*/ 1433815 w 7714416"/>
              <a:gd name="connsiteY15633" fmla="*/ 1183577 h 5282095"/>
              <a:gd name="connsiteX15634" fmla="*/ 1444495 w 7714416"/>
              <a:gd name="connsiteY15634" fmla="*/ 1174708 h 5282095"/>
              <a:gd name="connsiteX15635" fmla="*/ 1441825 w 7714416"/>
              <a:gd name="connsiteY15635" fmla="*/ 1172498 h 5282095"/>
              <a:gd name="connsiteX15636" fmla="*/ 1440317 w 7714416"/>
              <a:gd name="connsiteY15636" fmla="*/ 1164848 h 5282095"/>
              <a:gd name="connsiteX15637" fmla="*/ 1443626 w 7714416"/>
              <a:gd name="connsiteY15637" fmla="*/ 1158030 h 5282095"/>
              <a:gd name="connsiteX15638" fmla="*/ 1345178 w 7714416"/>
              <a:gd name="connsiteY15638" fmla="*/ 1157986 h 5282095"/>
              <a:gd name="connsiteX15639" fmla="*/ 1345924 w 7714416"/>
              <a:gd name="connsiteY15639" fmla="*/ 1164052 h 5282095"/>
              <a:gd name="connsiteX15640" fmla="*/ 1340832 w 7714416"/>
              <a:gd name="connsiteY15640" fmla="*/ 1159812 h 5282095"/>
              <a:gd name="connsiteX15641" fmla="*/ 1345178 w 7714416"/>
              <a:gd name="connsiteY15641" fmla="*/ 1157986 h 5282095"/>
              <a:gd name="connsiteX15642" fmla="*/ 5239143 w 7714416"/>
              <a:gd name="connsiteY15642" fmla="*/ 1157962 h 5282095"/>
              <a:gd name="connsiteX15643" fmla="*/ 5242294 w 7714416"/>
              <a:gd name="connsiteY15643" fmla="*/ 1165016 h 5282095"/>
              <a:gd name="connsiteX15644" fmla="*/ 5235672 w 7714416"/>
              <a:gd name="connsiteY15644" fmla="*/ 1164277 h 5282095"/>
              <a:gd name="connsiteX15645" fmla="*/ 5239143 w 7714416"/>
              <a:gd name="connsiteY15645" fmla="*/ 1157962 h 5282095"/>
              <a:gd name="connsiteX15646" fmla="*/ 957315 w 7714416"/>
              <a:gd name="connsiteY15646" fmla="*/ 1157790 h 5282095"/>
              <a:gd name="connsiteX15647" fmla="*/ 1004729 w 7714416"/>
              <a:gd name="connsiteY15647" fmla="*/ 1177855 h 5282095"/>
              <a:gd name="connsiteX15648" fmla="*/ 992672 w 7714416"/>
              <a:gd name="connsiteY15648" fmla="*/ 1179685 h 5282095"/>
              <a:gd name="connsiteX15649" fmla="*/ 957315 w 7714416"/>
              <a:gd name="connsiteY15649" fmla="*/ 1157790 h 5282095"/>
              <a:gd name="connsiteX15650" fmla="*/ 5296152 w 7714416"/>
              <a:gd name="connsiteY15650" fmla="*/ 1157711 h 5282095"/>
              <a:gd name="connsiteX15651" fmla="*/ 5295462 w 7714416"/>
              <a:gd name="connsiteY15651" fmla="*/ 1160287 h 5282095"/>
              <a:gd name="connsiteX15652" fmla="*/ 5294506 w 7714416"/>
              <a:gd name="connsiteY15652" fmla="*/ 1161640 h 5282095"/>
              <a:gd name="connsiteX15653" fmla="*/ 5293097 w 7714416"/>
              <a:gd name="connsiteY15653" fmla="*/ 1158043 h 5282095"/>
              <a:gd name="connsiteX15654" fmla="*/ 5296152 w 7714416"/>
              <a:gd name="connsiteY15654" fmla="*/ 1157711 h 5282095"/>
              <a:gd name="connsiteX15655" fmla="*/ 1222294 w 7714416"/>
              <a:gd name="connsiteY15655" fmla="*/ 1157260 h 5282095"/>
              <a:gd name="connsiteX15656" fmla="*/ 1237132 w 7714416"/>
              <a:gd name="connsiteY15656" fmla="*/ 1160546 h 5282095"/>
              <a:gd name="connsiteX15657" fmla="*/ 1245099 w 7714416"/>
              <a:gd name="connsiteY15657" fmla="*/ 1162911 h 5282095"/>
              <a:gd name="connsiteX15658" fmla="*/ 1248063 w 7714416"/>
              <a:gd name="connsiteY15658" fmla="*/ 1166235 h 5282095"/>
              <a:gd name="connsiteX15659" fmla="*/ 1247747 w 7714416"/>
              <a:gd name="connsiteY15659" fmla="*/ 1167416 h 5282095"/>
              <a:gd name="connsiteX15660" fmla="*/ 1243949 w 7714416"/>
              <a:gd name="connsiteY15660" fmla="*/ 1167202 h 5282095"/>
              <a:gd name="connsiteX15661" fmla="*/ 1228274 w 7714416"/>
              <a:gd name="connsiteY15661" fmla="*/ 1161508 h 5282095"/>
              <a:gd name="connsiteX15662" fmla="*/ 1224982 w 7714416"/>
              <a:gd name="connsiteY15662" fmla="*/ 1160510 h 5282095"/>
              <a:gd name="connsiteX15663" fmla="*/ 1222294 w 7714416"/>
              <a:gd name="connsiteY15663" fmla="*/ 1157260 h 5282095"/>
              <a:gd name="connsiteX15664" fmla="*/ 1313366 w 7714416"/>
              <a:gd name="connsiteY15664" fmla="*/ 1157168 h 5282095"/>
              <a:gd name="connsiteX15665" fmla="*/ 1323816 w 7714416"/>
              <a:gd name="connsiteY15665" fmla="*/ 1158012 h 5282095"/>
              <a:gd name="connsiteX15666" fmla="*/ 1315727 w 7714416"/>
              <a:gd name="connsiteY15666" fmla="*/ 1162745 h 5282095"/>
              <a:gd name="connsiteX15667" fmla="*/ 1313366 w 7714416"/>
              <a:gd name="connsiteY15667" fmla="*/ 1157168 h 5282095"/>
              <a:gd name="connsiteX15668" fmla="*/ 2038343 w 7714416"/>
              <a:gd name="connsiteY15668" fmla="*/ 1155462 h 5282095"/>
              <a:gd name="connsiteX15669" fmla="*/ 2042325 w 7714416"/>
              <a:gd name="connsiteY15669" fmla="*/ 1162739 h 5282095"/>
              <a:gd name="connsiteX15670" fmla="*/ 2036841 w 7714416"/>
              <a:gd name="connsiteY15670" fmla="*/ 1158855 h 5282095"/>
              <a:gd name="connsiteX15671" fmla="*/ 2038343 w 7714416"/>
              <a:gd name="connsiteY15671" fmla="*/ 1155462 h 5282095"/>
              <a:gd name="connsiteX15672" fmla="*/ 1871185 w 7714416"/>
              <a:gd name="connsiteY15672" fmla="*/ 1155062 h 5282095"/>
              <a:gd name="connsiteX15673" fmla="*/ 1872892 w 7714416"/>
              <a:gd name="connsiteY15673" fmla="*/ 1156440 h 5282095"/>
              <a:gd name="connsiteX15674" fmla="*/ 1869914 w 7714416"/>
              <a:gd name="connsiteY15674" fmla="*/ 1157597 h 5282095"/>
              <a:gd name="connsiteX15675" fmla="*/ 1871185 w 7714416"/>
              <a:gd name="connsiteY15675" fmla="*/ 1155062 h 5282095"/>
              <a:gd name="connsiteX15676" fmla="*/ 5180916 w 7714416"/>
              <a:gd name="connsiteY15676" fmla="*/ 1155010 h 5282095"/>
              <a:gd name="connsiteX15677" fmla="*/ 5190062 w 7714416"/>
              <a:gd name="connsiteY15677" fmla="*/ 1161831 h 5282095"/>
              <a:gd name="connsiteX15678" fmla="*/ 5184370 w 7714416"/>
              <a:gd name="connsiteY15678" fmla="*/ 1165366 h 5282095"/>
              <a:gd name="connsiteX15679" fmla="*/ 5175565 w 7714416"/>
              <a:gd name="connsiteY15679" fmla="*/ 1160591 h 5282095"/>
              <a:gd name="connsiteX15680" fmla="*/ 5180916 w 7714416"/>
              <a:gd name="connsiteY15680" fmla="*/ 1155010 h 5282095"/>
              <a:gd name="connsiteX15681" fmla="*/ 1840729 w 7714416"/>
              <a:gd name="connsiteY15681" fmla="*/ 1154722 h 5282095"/>
              <a:gd name="connsiteX15682" fmla="*/ 1812243 w 7714416"/>
              <a:gd name="connsiteY15682" fmla="*/ 1178025 h 5282095"/>
              <a:gd name="connsiteX15683" fmla="*/ 1840729 w 7714416"/>
              <a:gd name="connsiteY15683" fmla="*/ 1154722 h 5282095"/>
              <a:gd name="connsiteX15684" fmla="*/ 1559917 w 7714416"/>
              <a:gd name="connsiteY15684" fmla="*/ 1154575 h 5282095"/>
              <a:gd name="connsiteX15685" fmla="*/ 1566774 w 7714416"/>
              <a:gd name="connsiteY15685" fmla="*/ 1159978 h 5282095"/>
              <a:gd name="connsiteX15686" fmla="*/ 1554850 w 7714416"/>
              <a:gd name="connsiteY15686" fmla="*/ 1162418 h 5282095"/>
              <a:gd name="connsiteX15687" fmla="*/ 1553765 w 7714416"/>
              <a:gd name="connsiteY15687" fmla="*/ 1159826 h 5282095"/>
              <a:gd name="connsiteX15688" fmla="*/ 1555630 w 7714416"/>
              <a:gd name="connsiteY15688" fmla="*/ 1156186 h 5282095"/>
              <a:gd name="connsiteX15689" fmla="*/ 1559917 w 7714416"/>
              <a:gd name="connsiteY15689" fmla="*/ 1154575 h 5282095"/>
              <a:gd name="connsiteX15690" fmla="*/ 5769571 w 7714416"/>
              <a:gd name="connsiteY15690" fmla="*/ 1154037 h 5282095"/>
              <a:gd name="connsiteX15691" fmla="*/ 5774074 w 7714416"/>
              <a:gd name="connsiteY15691" fmla="*/ 1164904 h 5282095"/>
              <a:gd name="connsiteX15692" fmla="*/ 5769571 w 7714416"/>
              <a:gd name="connsiteY15692" fmla="*/ 1154037 h 5282095"/>
              <a:gd name="connsiteX15693" fmla="*/ 1791241 w 7714416"/>
              <a:gd name="connsiteY15693" fmla="*/ 1152776 h 5282095"/>
              <a:gd name="connsiteX15694" fmla="*/ 1798283 w 7714416"/>
              <a:gd name="connsiteY15694" fmla="*/ 1158185 h 5282095"/>
              <a:gd name="connsiteX15695" fmla="*/ 1789661 w 7714416"/>
              <a:gd name="connsiteY15695" fmla="*/ 1160474 h 5282095"/>
              <a:gd name="connsiteX15696" fmla="*/ 1782690 w 7714416"/>
              <a:gd name="connsiteY15696" fmla="*/ 1155501 h 5282095"/>
              <a:gd name="connsiteX15697" fmla="*/ 1791241 w 7714416"/>
              <a:gd name="connsiteY15697" fmla="*/ 1152776 h 5282095"/>
              <a:gd name="connsiteX15698" fmla="*/ 5274931 w 7714416"/>
              <a:gd name="connsiteY15698" fmla="*/ 1151681 h 5282095"/>
              <a:gd name="connsiteX15699" fmla="*/ 5278586 w 7714416"/>
              <a:gd name="connsiteY15699" fmla="*/ 1152430 h 5282095"/>
              <a:gd name="connsiteX15700" fmla="*/ 5279581 w 7714416"/>
              <a:gd name="connsiteY15700" fmla="*/ 1158677 h 5282095"/>
              <a:gd name="connsiteX15701" fmla="*/ 5277482 w 7714416"/>
              <a:gd name="connsiteY15701" fmla="*/ 1157654 h 5282095"/>
              <a:gd name="connsiteX15702" fmla="*/ 5277367 w 7714416"/>
              <a:gd name="connsiteY15702" fmla="*/ 1158083 h 5282095"/>
              <a:gd name="connsiteX15703" fmla="*/ 5274784 w 7714416"/>
              <a:gd name="connsiteY15703" fmla="*/ 1155551 h 5282095"/>
              <a:gd name="connsiteX15704" fmla="*/ 5274931 w 7714416"/>
              <a:gd name="connsiteY15704" fmla="*/ 1151681 h 5282095"/>
              <a:gd name="connsiteX15705" fmla="*/ 1915798 w 7714416"/>
              <a:gd name="connsiteY15705" fmla="*/ 1151262 h 5282095"/>
              <a:gd name="connsiteX15706" fmla="*/ 1935754 w 7714416"/>
              <a:gd name="connsiteY15706" fmla="*/ 1158693 h 5282095"/>
              <a:gd name="connsiteX15707" fmla="*/ 1946524 w 7714416"/>
              <a:gd name="connsiteY15707" fmla="*/ 1170262 h 5282095"/>
              <a:gd name="connsiteX15708" fmla="*/ 1946514 w 7714416"/>
              <a:gd name="connsiteY15708" fmla="*/ 1170299 h 5282095"/>
              <a:gd name="connsiteX15709" fmla="*/ 1937416 w 7714416"/>
              <a:gd name="connsiteY15709" fmla="*/ 1167433 h 5282095"/>
              <a:gd name="connsiteX15710" fmla="*/ 1927553 w 7714416"/>
              <a:gd name="connsiteY15710" fmla="*/ 1163842 h 5282095"/>
              <a:gd name="connsiteX15711" fmla="*/ 1915798 w 7714416"/>
              <a:gd name="connsiteY15711" fmla="*/ 1151262 h 5282095"/>
              <a:gd name="connsiteX15712" fmla="*/ 1570029 w 7714416"/>
              <a:gd name="connsiteY15712" fmla="*/ 1150039 h 5282095"/>
              <a:gd name="connsiteX15713" fmla="*/ 1569113 w 7714416"/>
              <a:gd name="connsiteY15713" fmla="*/ 1150139 h 5282095"/>
              <a:gd name="connsiteX15714" fmla="*/ 1570618 w 7714416"/>
              <a:gd name="connsiteY15714" fmla="*/ 1152268 h 5282095"/>
              <a:gd name="connsiteX15715" fmla="*/ 1571725 w 7714416"/>
              <a:gd name="connsiteY15715" fmla="*/ 1152564 h 5282095"/>
              <a:gd name="connsiteX15716" fmla="*/ 4994203 w 7714416"/>
              <a:gd name="connsiteY15716" fmla="*/ 1149975 h 5282095"/>
              <a:gd name="connsiteX15717" fmla="*/ 5013697 w 7714416"/>
              <a:gd name="connsiteY15717" fmla="*/ 1158160 h 5282095"/>
              <a:gd name="connsiteX15718" fmla="*/ 5001612 w 7714416"/>
              <a:gd name="connsiteY15718" fmla="*/ 1160096 h 5282095"/>
              <a:gd name="connsiteX15719" fmla="*/ 4989825 w 7714416"/>
              <a:gd name="connsiteY15719" fmla="*/ 1159813 h 5282095"/>
              <a:gd name="connsiteX15720" fmla="*/ 4990928 w 7714416"/>
              <a:gd name="connsiteY15720" fmla="*/ 1163443 h 5282095"/>
              <a:gd name="connsiteX15721" fmla="*/ 4985286 w 7714416"/>
              <a:gd name="connsiteY15721" fmla="*/ 1164576 h 5282095"/>
              <a:gd name="connsiteX15722" fmla="*/ 4982796 w 7714416"/>
              <a:gd name="connsiteY15722" fmla="*/ 1163909 h 5282095"/>
              <a:gd name="connsiteX15723" fmla="*/ 4980593 w 7714416"/>
              <a:gd name="connsiteY15723" fmla="*/ 1162170 h 5282095"/>
              <a:gd name="connsiteX15724" fmla="*/ 4978814 w 7714416"/>
              <a:gd name="connsiteY15724" fmla="*/ 1156633 h 5282095"/>
              <a:gd name="connsiteX15725" fmla="*/ 4983777 w 7714416"/>
              <a:gd name="connsiteY15725" fmla="*/ 1156927 h 5282095"/>
              <a:gd name="connsiteX15726" fmla="*/ 4979827 w 7714416"/>
              <a:gd name="connsiteY15726" fmla="*/ 1155064 h 5282095"/>
              <a:gd name="connsiteX15727" fmla="*/ 4994203 w 7714416"/>
              <a:gd name="connsiteY15727" fmla="*/ 1149975 h 5282095"/>
              <a:gd name="connsiteX15728" fmla="*/ 1518491 w 7714416"/>
              <a:gd name="connsiteY15728" fmla="*/ 1149800 h 5282095"/>
              <a:gd name="connsiteX15729" fmla="*/ 1520341 w 7714416"/>
              <a:gd name="connsiteY15729" fmla="*/ 1150641 h 5282095"/>
              <a:gd name="connsiteX15730" fmla="*/ 1533767 w 7714416"/>
              <a:gd name="connsiteY15730" fmla="*/ 1162518 h 5282095"/>
              <a:gd name="connsiteX15731" fmla="*/ 1523999 w 7714416"/>
              <a:gd name="connsiteY15731" fmla="*/ 1165766 h 5282095"/>
              <a:gd name="connsiteX15732" fmla="*/ 1519324 w 7714416"/>
              <a:gd name="connsiteY15732" fmla="*/ 1164398 h 5282095"/>
              <a:gd name="connsiteX15733" fmla="*/ 1505180 w 7714416"/>
              <a:gd name="connsiteY15733" fmla="*/ 1155203 h 5282095"/>
              <a:gd name="connsiteX15734" fmla="*/ 1518491 w 7714416"/>
              <a:gd name="connsiteY15734" fmla="*/ 1149800 h 5282095"/>
              <a:gd name="connsiteX15735" fmla="*/ 2160708 w 7714416"/>
              <a:gd name="connsiteY15735" fmla="*/ 1149264 h 5282095"/>
              <a:gd name="connsiteX15736" fmla="*/ 2183789 w 7714416"/>
              <a:gd name="connsiteY15736" fmla="*/ 1163845 h 5282095"/>
              <a:gd name="connsiteX15737" fmla="*/ 2167114 w 7714416"/>
              <a:gd name="connsiteY15737" fmla="*/ 1172946 h 5282095"/>
              <a:gd name="connsiteX15738" fmla="*/ 2157128 w 7714416"/>
              <a:gd name="connsiteY15738" fmla="*/ 1167050 h 5282095"/>
              <a:gd name="connsiteX15739" fmla="*/ 2160708 w 7714416"/>
              <a:gd name="connsiteY15739" fmla="*/ 1149264 h 5282095"/>
              <a:gd name="connsiteX15740" fmla="*/ 1362120 w 7714416"/>
              <a:gd name="connsiteY15740" fmla="*/ 1146771 h 5282095"/>
              <a:gd name="connsiteX15741" fmla="*/ 1370652 w 7714416"/>
              <a:gd name="connsiteY15741" fmla="*/ 1148137 h 5282095"/>
              <a:gd name="connsiteX15742" fmla="*/ 1371679 w 7714416"/>
              <a:gd name="connsiteY15742" fmla="*/ 1150942 h 5282095"/>
              <a:gd name="connsiteX15743" fmla="*/ 1369375 w 7714416"/>
              <a:gd name="connsiteY15743" fmla="*/ 1154006 h 5282095"/>
              <a:gd name="connsiteX15744" fmla="*/ 1362476 w 7714416"/>
              <a:gd name="connsiteY15744" fmla="*/ 1153192 h 5282095"/>
              <a:gd name="connsiteX15745" fmla="*/ 1361172 w 7714416"/>
              <a:gd name="connsiteY15745" fmla="*/ 1150312 h 5282095"/>
              <a:gd name="connsiteX15746" fmla="*/ 1362120 w 7714416"/>
              <a:gd name="connsiteY15746" fmla="*/ 1146771 h 5282095"/>
              <a:gd name="connsiteX15747" fmla="*/ 1720873 w 7714416"/>
              <a:gd name="connsiteY15747" fmla="*/ 1144917 h 5282095"/>
              <a:gd name="connsiteX15748" fmla="*/ 1718037 w 7714416"/>
              <a:gd name="connsiteY15748" fmla="*/ 1145538 h 5282095"/>
              <a:gd name="connsiteX15749" fmla="*/ 1720061 w 7714416"/>
              <a:gd name="connsiteY15749" fmla="*/ 1145735 h 5282095"/>
              <a:gd name="connsiteX15750" fmla="*/ 1141525 w 7714416"/>
              <a:gd name="connsiteY15750" fmla="*/ 1144359 h 5282095"/>
              <a:gd name="connsiteX15751" fmla="*/ 1152964 w 7714416"/>
              <a:gd name="connsiteY15751" fmla="*/ 1149263 h 5282095"/>
              <a:gd name="connsiteX15752" fmla="*/ 1155745 w 7714416"/>
              <a:gd name="connsiteY15752" fmla="*/ 1154380 h 5282095"/>
              <a:gd name="connsiteX15753" fmla="*/ 1159555 w 7714416"/>
              <a:gd name="connsiteY15753" fmla="*/ 1153445 h 5282095"/>
              <a:gd name="connsiteX15754" fmla="*/ 1183073 w 7714416"/>
              <a:gd name="connsiteY15754" fmla="*/ 1168602 h 5282095"/>
              <a:gd name="connsiteX15755" fmla="*/ 1183070 w 7714416"/>
              <a:gd name="connsiteY15755" fmla="*/ 1171936 h 5282095"/>
              <a:gd name="connsiteX15756" fmla="*/ 1185241 w 7714416"/>
              <a:gd name="connsiteY15756" fmla="*/ 1177118 h 5282095"/>
              <a:gd name="connsiteX15757" fmla="*/ 1164840 w 7714416"/>
              <a:gd name="connsiteY15757" fmla="*/ 1181311 h 5282095"/>
              <a:gd name="connsiteX15758" fmla="*/ 1154171 w 7714416"/>
              <a:gd name="connsiteY15758" fmla="*/ 1180177 h 5282095"/>
              <a:gd name="connsiteX15759" fmla="*/ 1152072 w 7714416"/>
              <a:gd name="connsiteY15759" fmla="*/ 1179155 h 5282095"/>
              <a:gd name="connsiteX15760" fmla="*/ 1152788 w 7714416"/>
              <a:gd name="connsiteY15760" fmla="*/ 1179807 h 5282095"/>
              <a:gd name="connsiteX15761" fmla="*/ 1157473 w 7714416"/>
              <a:gd name="connsiteY15761" fmla="*/ 1188882 h 5282095"/>
              <a:gd name="connsiteX15762" fmla="*/ 1152474 w 7714416"/>
              <a:gd name="connsiteY15762" fmla="*/ 1186508 h 5282095"/>
              <a:gd name="connsiteX15763" fmla="*/ 1151073 w 7714416"/>
              <a:gd name="connsiteY15763" fmla="*/ 1185098 h 5282095"/>
              <a:gd name="connsiteX15764" fmla="*/ 1149412 w 7714416"/>
              <a:gd name="connsiteY15764" fmla="*/ 1184653 h 5282095"/>
              <a:gd name="connsiteX15765" fmla="*/ 1149423 w 7714416"/>
              <a:gd name="connsiteY15765" fmla="*/ 1183506 h 5282095"/>
              <a:gd name="connsiteX15766" fmla="*/ 1146125 w 7714416"/>
              <a:gd name="connsiteY15766" fmla="*/ 1180322 h 5282095"/>
              <a:gd name="connsiteX15767" fmla="*/ 1136415 w 7714416"/>
              <a:gd name="connsiteY15767" fmla="*/ 1174499 h 5282095"/>
              <a:gd name="connsiteX15768" fmla="*/ 1130144 w 7714416"/>
              <a:gd name="connsiteY15768" fmla="*/ 1165804 h 5282095"/>
              <a:gd name="connsiteX15769" fmla="*/ 1133821 w 7714416"/>
              <a:gd name="connsiteY15769" fmla="*/ 1164259 h 5282095"/>
              <a:gd name="connsiteX15770" fmla="*/ 1130522 w 7714416"/>
              <a:gd name="connsiteY15770" fmla="*/ 1161076 h 5282095"/>
              <a:gd name="connsiteX15771" fmla="*/ 1133077 w 7714416"/>
              <a:gd name="connsiteY15771" fmla="*/ 1146005 h 5282095"/>
              <a:gd name="connsiteX15772" fmla="*/ 1141525 w 7714416"/>
              <a:gd name="connsiteY15772" fmla="*/ 1144359 h 5282095"/>
              <a:gd name="connsiteX15773" fmla="*/ 992993 w 7714416"/>
              <a:gd name="connsiteY15773" fmla="*/ 1144178 h 5282095"/>
              <a:gd name="connsiteX15774" fmla="*/ 1008818 w 7714416"/>
              <a:gd name="connsiteY15774" fmla="*/ 1147095 h 5282095"/>
              <a:gd name="connsiteX15775" fmla="*/ 1013102 w 7714416"/>
              <a:gd name="connsiteY15775" fmla="*/ 1157673 h 5282095"/>
              <a:gd name="connsiteX15776" fmla="*/ 994566 w 7714416"/>
              <a:gd name="connsiteY15776" fmla="*/ 1158228 h 5282095"/>
              <a:gd name="connsiteX15777" fmla="*/ 988259 w 7714416"/>
              <a:gd name="connsiteY15777" fmla="*/ 1156307 h 5282095"/>
              <a:gd name="connsiteX15778" fmla="*/ 992993 w 7714416"/>
              <a:gd name="connsiteY15778" fmla="*/ 1144178 h 5282095"/>
              <a:gd name="connsiteX15779" fmla="*/ 5570136 w 7714416"/>
              <a:gd name="connsiteY15779" fmla="*/ 1143494 h 5282095"/>
              <a:gd name="connsiteX15780" fmla="*/ 5552894 w 7714416"/>
              <a:gd name="connsiteY15780" fmla="*/ 1148075 h 5282095"/>
              <a:gd name="connsiteX15781" fmla="*/ 5570136 w 7714416"/>
              <a:gd name="connsiteY15781" fmla="*/ 1143494 h 5282095"/>
              <a:gd name="connsiteX15782" fmla="*/ 5498736 w 7714416"/>
              <a:gd name="connsiteY15782" fmla="*/ 1143222 h 5282095"/>
              <a:gd name="connsiteX15783" fmla="*/ 5517656 w 7714416"/>
              <a:gd name="connsiteY15783" fmla="*/ 1157837 h 5282095"/>
              <a:gd name="connsiteX15784" fmla="*/ 5505383 w 7714416"/>
              <a:gd name="connsiteY15784" fmla="*/ 1156045 h 5282095"/>
              <a:gd name="connsiteX15785" fmla="*/ 5494643 w 7714416"/>
              <a:gd name="connsiteY15785" fmla="*/ 1150750 h 5282095"/>
              <a:gd name="connsiteX15786" fmla="*/ 5498736 w 7714416"/>
              <a:gd name="connsiteY15786" fmla="*/ 1143222 h 5282095"/>
              <a:gd name="connsiteX15787" fmla="*/ 1931108 w 7714416"/>
              <a:gd name="connsiteY15787" fmla="*/ 1142829 h 5282095"/>
              <a:gd name="connsiteX15788" fmla="*/ 1936261 w 7714416"/>
              <a:gd name="connsiteY15788" fmla="*/ 1143519 h 5282095"/>
              <a:gd name="connsiteX15789" fmla="*/ 1931860 w 7714416"/>
              <a:gd name="connsiteY15789" fmla="*/ 1145559 h 5282095"/>
              <a:gd name="connsiteX15790" fmla="*/ 1930543 w 7714416"/>
              <a:gd name="connsiteY15790" fmla="*/ 1143828 h 5282095"/>
              <a:gd name="connsiteX15791" fmla="*/ 1930255 w 7714416"/>
              <a:gd name="connsiteY15791" fmla="*/ 1144901 h 5282095"/>
              <a:gd name="connsiteX15792" fmla="*/ 1930134 w 7714416"/>
              <a:gd name="connsiteY15792" fmla="*/ 1143143 h 5282095"/>
              <a:gd name="connsiteX15793" fmla="*/ 1931108 w 7714416"/>
              <a:gd name="connsiteY15793" fmla="*/ 1142829 h 5282095"/>
              <a:gd name="connsiteX15794" fmla="*/ 1054999 w 7714416"/>
              <a:gd name="connsiteY15794" fmla="*/ 1141875 h 5282095"/>
              <a:gd name="connsiteX15795" fmla="*/ 1062543 w 7714416"/>
              <a:gd name="connsiteY15795" fmla="*/ 1156891 h 5282095"/>
              <a:gd name="connsiteX15796" fmla="*/ 1058585 w 7714416"/>
              <a:gd name="connsiteY15796" fmla="*/ 1170551 h 5282095"/>
              <a:gd name="connsiteX15797" fmla="*/ 1054999 w 7714416"/>
              <a:gd name="connsiteY15797" fmla="*/ 1141875 h 5282095"/>
              <a:gd name="connsiteX15798" fmla="*/ 5839308 w 7714416"/>
              <a:gd name="connsiteY15798" fmla="*/ 1141702 h 5282095"/>
              <a:gd name="connsiteX15799" fmla="*/ 5866098 w 7714416"/>
              <a:gd name="connsiteY15799" fmla="*/ 1149081 h 5282095"/>
              <a:gd name="connsiteX15800" fmla="*/ 5871833 w 7714416"/>
              <a:gd name="connsiteY15800" fmla="*/ 1176378 h 5282095"/>
              <a:gd name="connsiteX15801" fmla="*/ 5869781 w 7714416"/>
              <a:gd name="connsiteY15801" fmla="*/ 1176289 h 5282095"/>
              <a:gd name="connsiteX15802" fmla="*/ 5877425 w 7714416"/>
              <a:gd name="connsiteY15802" fmla="*/ 1177646 h 5282095"/>
              <a:gd name="connsiteX15803" fmla="*/ 5878754 w 7714416"/>
              <a:gd name="connsiteY15803" fmla="*/ 1183753 h 5282095"/>
              <a:gd name="connsiteX15804" fmla="*/ 5876825 w 7714416"/>
              <a:gd name="connsiteY15804" fmla="*/ 1185421 h 5282095"/>
              <a:gd name="connsiteX15805" fmla="*/ 5881482 w 7714416"/>
              <a:gd name="connsiteY15805" fmla="*/ 1185748 h 5282095"/>
              <a:gd name="connsiteX15806" fmla="*/ 5882790 w 7714416"/>
              <a:gd name="connsiteY15806" fmla="*/ 1194149 h 5282095"/>
              <a:gd name="connsiteX15807" fmla="*/ 5873838 w 7714416"/>
              <a:gd name="connsiteY15807" fmla="*/ 1193245 h 5282095"/>
              <a:gd name="connsiteX15808" fmla="*/ 5872019 w 7714416"/>
              <a:gd name="connsiteY15808" fmla="*/ 1188964 h 5282095"/>
              <a:gd name="connsiteX15809" fmla="*/ 5865900 w 7714416"/>
              <a:gd name="connsiteY15809" fmla="*/ 1190774 h 5282095"/>
              <a:gd name="connsiteX15810" fmla="*/ 5857444 w 7714416"/>
              <a:gd name="connsiteY15810" fmla="*/ 1190233 h 5282095"/>
              <a:gd name="connsiteX15811" fmla="*/ 5858389 w 7714416"/>
              <a:gd name="connsiteY15811" fmla="*/ 1181172 h 5282095"/>
              <a:gd name="connsiteX15812" fmla="*/ 5868922 w 7714416"/>
              <a:gd name="connsiteY15812" fmla="*/ 1176173 h 5282095"/>
              <a:gd name="connsiteX15813" fmla="*/ 5866870 w 7714416"/>
              <a:gd name="connsiteY15813" fmla="*/ 1176083 h 5282095"/>
              <a:gd name="connsiteX15814" fmla="*/ 5866001 w 7714416"/>
              <a:gd name="connsiteY15814" fmla="*/ 1177115 h 5282095"/>
              <a:gd name="connsiteX15815" fmla="*/ 5861944 w 7714416"/>
              <a:gd name="connsiteY15815" fmla="*/ 1177868 h 5282095"/>
              <a:gd name="connsiteX15816" fmla="*/ 5860132 w 7714416"/>
              <a:gd name="connsiteY15816" fmla="*/ 1175773 h 5282095"/>
              <a:gd name="connsiteX15817" fmla="*/ 5854588 w 7714416"/>
              <a:gd name="connsiteY15817" fmla="*/ 1175437 h 5282095"/>
              <a:gd name="connsiteX15818" fmla="*/ 5834295 w 7714416"/>
              <a:gd name="connsiteY15818" fmla="*/ 1168160 h 5282095"/>
              <a:gd name="connsiteX15819" fmla="*/ 5830533 w 7714416"/>
              <a:gd name="connsiteY15819" fmla="*/ 1170027 h 5282095"/>
              <a:gd name="connsiteX15820" fmla="*/ 5821825 w 7714416"/>
              <a:gd name="connsiteY15820" fmla="*/ 1172638 h 5282095"/>
              <a:gd name="connsiteX15821" fmla="*/ 5815263 w 7714416"/>
              <a:gd name="connsiteY15821" fmla="*/ 1168351 h 5282095"/>
              <a:gd name="connsiteX15822" fmla="*/ 5816471 w 7714416"/>
              <a:gd name="connsiteY15822" fmla="*/ 1163844 h 5282095"/>
              <a:gd name="connsiteX15823" fmla="*/ 5823363 w 7714416"/>
              <a:gd name="connsiteY15823" fmla="*/ 1162470 h 5282095"/>
              <a:gd name="connsiteX15824" fmla="*/ 5827410 w 7714416"/>
              <a:gd name="connsiteY15824" fmla="*/ 1162865 h 5282095"/>
              <a:gd name="connsiteX15825" fmla="*/ 5826227 w 7714416"/>
              <a:gd name="connsiteY15825" fmla="*/ 1161743 h 5282095"/>
              <a:gd name="connsiteX15826" fmla="*/ 5823104 w 7714416"/>
              <a:gd name="connsiteY15826" fmla="*/ 1154582 h 5282095"/>
              <a:gd name="connsiteX15827" fmla="*/ 5839308 w 7714416"/>
              <a:gd name="connsiteY15827" fmla="*/ 1141702 h 5282095"/>
              <a:gd name="connsiteX15828" fmla="*/ 1621569 w 7714416"/>
              <a:gd name="connsiteY15828" fmla="*/ 1141424 h 5282095"/>
              <a:gd name="connsiteX15829" fmla="*/ 1622248 w 7714416"/>
              <a:gd name="connsiteY15829" fmla="*/ 1148851 h 5282095"/>
              <a:gd name="connsiteX15830" fmla="*/ 1625120 w 7714416"/>
              <a:gd name="connsiteY15830" fmla="*/ 1150311 h 5282095"/>
              <a:gd name="connsiteX15831" fmla="*/ 1629736 w 7714416"/>
              <a:gd name="connsiteY15831" fmla="*/ 1160748 h 5282095"/>
              <a:gd name="connsiteX15832" fmla="*/ 1623275 w 7714416"/>
              <a:gd name="connsiteY15832" fmla="*/ 1160512 h 5282095"/>
              <a:gd name="connsiteX15833" fmla="*/ 1621511 w 7714416"/>
              <a:gd name="connsiteY15833" fmla="*/ 1168204 h 5282095"/>
              <a:gd name="connsiteX15834" fmla="*/ 1614572 w 7714416"/>
              <a:gd name="connsiteY15834" fmla="*/ 1177499 h 5282095"/>
              <a:gd name="connsiteX15835" fmla="*/ 1601487 w 7714416"/>
              <a:gd name="connsiteY15835" fmla="*/ 1176524 h 5282095"/>
              <a:gd name="connsiteX15836" fmla="*/ 1598407 w 7714416"/>
              <a:gd name="connsiteY15836" fmla="*/ 1173629 h 5282095"/>
              <a:gd name="connsiteX15837" fmla="*/ 1609421 w 7714416"/>
              <a:gd name="connsiteY15837" fmla="*/ 1155765 h 5282095"/>
              <a:gd name="connsiteX15838" fmla="*/ 1611453 w 7714416"/>
              <a:gd name="connsiteY15838" fmla="*/ 1149294 h 5282095"/>
              <a:gd name="connsiteX15839" fmla="*/ 1612027 w 7714416"/>
              <a:gd name="connsiteY15839" fmla="*/ 1147148 h 5282095"/>
              <a:gd name="connsiteX15840" fmla="*/ 1612421 w 7714416"/>
              <a:gd name="connsiteY15840" fmla="*/ 1146793 h 5282095"/>
              <a:gd name="connsiteX15841" fmla="*/ 1621569 w 7714416"/>
              <a:gd name="connsiteY15841" fmla="*/ 1141424 h 5282095"/>
              <a:gd name="connsiteX15842" fmla="*/ 2069973 w 7714416"/>
              <a:gd name="connsiteY15842" fmla="*/ 1141182 h 5282095"/>
              <a:gd name="connsiteX15843" fmla="*/ 2083414 w 7714416"/>
              <a:gd name="connsiteY15843" fmla="*/ 1144424 h 5282095"/>
              <a:gd name="connsiteX15844" fmla="*/ 2091435 w 7714416"/>
              <a:gd name="connsiteY15844" fmla="*/ 1149908 h 5282095"/>
              <a:gd name="connsiteX15845" fmla="*/ 2093692 w 7714416"/>
              <a:gd name="connsiteY15845" fmla="*/ 1154767 h 5282095"/>
              <a:gd name="connsiteX15846" fmla="*/ 2093633 w 7714416"/>
              <a:gd name="connsiteY15846" fmla="*/ 1154981 h 5282095"/>
              <a:gd name="connsiteX15847" fmla="*/ 2103488 w 7714416"/>
              <a:gd name="connsiteY15847" fmla="*/ 1160267 h 5282095"/>
              <a:gd name="connsiteX15848" fmla="*/ 2104421 w 7714416"/>
              <a:gd name="connsiteY15848" fmla="*/ 1161208 h 5282095"/>
              <a:gd name="connsiteX15849" fmla="*/ 2104975 w 7714416"/>
              <a:gd name="connsiteY15849" fmla="*/ 1161356 h 5282095"/>
              <a:gd name="connsiteX15850" fmla="*/ 2124498 w 7714416"/>
              <a:gd name="connsiteY15850" fmla="*/ 1173717 h 5282095"/>
              <a:gd name="connsiteX15851" fmla="*/ 2110480 w 7714416"/>
              <a:gd name="connsiteY15851" fmla="*/ 1171801 h 5282095"/>
              <a:gd name="connsiteX15852" fmla="*/ 2110307 w 7714416"/>
              <a:gd name="connsiteY15852" fmla="*/ 1172445 h 5282095"/>
              <a:gd name="connsiteX15853" fmla="*/ 2116129 w 7714416"/>
              <a:gd name="connsiteY15853" fmla="*/ 1172855 h 5282095"/>
              <a:gd name="connsiteX15854" fmla="*/ 2122367 w 7714416"/>
              <a:gd name="connsiteY15854" fmla="*/ 1176136 h 5282095"/>
              <a:gd name="connsiteX15855" fmla="*/ 2114322 w 7714416"/>
              <a:gd name="connsiteY15855" fmla="*/ 1176280 h 5282095"/>
              <a:gd name="connsiteX15856" fmla="*/ 2110857 w 7714416"/>
              <a:gd name="connsiteY15856" fmla="*/ 1175927 h 5282095"/>
              <a:gd name="connsiteX15857" fmla="*/ 2109657 w 7714416"/>
              <a:gd name="connsiteY15857" fmla="*/ 1173766 h 5282095"/>
              <a:gd name="connsiteX15858" fmla="*/ 2109543 w 7714416"/>
              <a:gd name="connsiteY15858" fmla="*/ 1174195 h 5282095"/>
              <a:gd name="connsiteX15859" fmla="*/ 2103113 w 7714416"/>
              <a:gd name="connsiteY15859" fmla="*/ 1179372 h 5282095"/>
              <a:gd name="connsiteX15860" fmla="*/ 2095107 w 7714416"/>
              <a:gd name="connsiteY15860" fmla="*/ 1169406 h 5282095"/>
              <a:gd name="connsiteX15861" fmla="*/ 2093866 w 7714416"/>
              <a:gd name="connsiteY15861" fmla="*/ 1168500 h 5282095"/>
              <a:gd name="connsiteX15862" fmla="*/ 2086787 w 7714416"/>
              <a:gd name="connsiteY15862" fmla="*/ 1166143 h 5282095"/>
              <a:gd name="connsiteX15863" fmla="*/ 2084746 w 7714416"/>
              <a:gd name="connsiteY15863" fmla="*/ 1164905 h 5282095"/>
              <a:gd name="connsiteX15864" fmla="*/ 2080995 w 7714416"/>
              <a:gd name="connsiteY15864" fmla="*/ 1165625 h 5282095"/>
              <a:gd name="connsiteX15865" fmla="*/ 2075651 w 7714416"/>
              <a:gd name="connsiteY15865" fmla="*/ 1164539 h 5282095"/>
              <a:gd name="connsiteX15866" fmla="*/ 2062043 w 7714416"/>
              <a:gd name="connsiteY15866" fmla="*/ 1154452 h 5282095"/>
              <a:gd name="connsiteX15867" fmla="*/ 2062861 w 7714416"/>
              <a:gd name="connsiteY15867" fmla="*/ 1155822 h 5282095"/>
              <a:gd name="connsiteX15868" fmla="*/ 2053131 w 7714416"/>
              <a:gd name="connsiteY15868" fmla="*/ 1170005 h 5282095"/>
              <a:gd name="connsiteX15869" fmla="*/ 2052462 w 7714416"/>
              <a:gd name="connsiteY15869" fmla="*/ 1170285 h 5282095"/>
              <a:gd name="connsiteX15870" fmla="*/ 2052710 w 7714416"/>
              <a:gd name="connsiteY15870" fmla="*/ 1170466 h 5282095"/>
              <a:gd name="connsiteX15871" fmla="*/ 2051852 w 7714416"/>
              <a:gd name="connsiteY15871" fmla="*/ 1170351 h 5282095"/>
              <a:gd name="connsiteX15872" fmla="*/ 2049206 w 7714416"/>
              <a:gd name="connsiteY15872" fmla="*/ 1171368 h 5282095"/>
              <a:gd name="connsiteX15873" fmla="*/ 2048495 w 7714416"/>
              <a:gd name="connsiteY15873" fmla="*/ 1167382 h 5282095"/>
              <a:gd name="connsiteX15874" fmla="*/ 2049479 w 7714416"/>
              <a:gd name="connsiteY15874" fmla="*/ 1165921 h 5282095"/>
              <a:gd name="connsiteX15875" fmla="*/ 2048602 w 7714416"/>
              <a:gd name="connsiteY15875" fmla="*/ 1164766 h 5282095"/>
              <a:gd name="connsiteX15876" fmla="*/ 2050158 w 7714416"/>
              <a:gd name="connsiteY15876" fmla="*/ 1164492 h 5282095"/>
              <a:gd name="connsiteX15877" fmla="*/ 2051546 w 7714416"/>
              <a:gd name="connsiteY15877" fmla="*/ 1161530 h 5282095"/>
              <a:gd name="connsiteX15878" fmla="*/ 2051926 w 7714416"/>
              <a:gd name="connsiteY15878" fmla="*/ 1153466 h 5282095"/>
              <a:gd name="connsiteX15879" fmla="*/ 2057813 w 7714416"/>
              <a:gd name="connsiteY15879" fmla="*/ 1146994 h 5282095"/>
              <a:gd name="connsiteX15880" fmla="*/ 2062287 w 7714416"/>
              <a:gd name="connsiteY15880" fmla="*/ 1149113 h 5282095"/>
              <a:gd name="connsiteX15881" fmla="*/ 2063674 w 7714416"/>
              <a:gd name="connsiteY15881" fmla="*/ 1146150 h 5282095"/>
              <a:gd name="connsiteX15882" fmla="*/ 2069973 w 7714416"/>
              <a:gd name="connsiteY15882" fmla="*/ 1141182 h 5282095"/>
              <a:gd name="connsiteX15883" fmla="*/ 1127572 w 7714416"/>
              <a:gd name="connsiteY15883" fmla="*/ 1140678 h 5282095"/>
              <a:gd name="connsiteX15884" fmla="*/ 1128789 w 7714416"/>
              <a:gd name="connsiteY15884" fmla="*/ 1147616 h 5282095"/>
              <a:gd name="connsiteX15885" fmla="*/ 1117161 w 7714416"/>
              <a:gd name="connsiteY15885" fmla="*/ 1142315 h 5282095"/>
              <a:gd name="connsiteX15886" fmla="*/ 1127572 w 7714416"/>
              <a:gd name="connsiteY15886" fmla="*/ 1140678 h 5282095"/>
              <a:gd name="connsiteX15887" fmla="*/ 5035201 w 7714416"/>
              <a:gd name="connsiteY15887" fmla="*/ 1139886 h 5282095"/>
              <a:gd name="connsiteX15888" fmla="*/ 5043129 w 7714416"/>
              <a:gd name="connsiteY15888" fmla="*/ 1143505 h 5282095"/>
              <a:gd name="connsiteX15889" fmla="*/ 5041486 w 7714416"/>
              <a:gd name="connsiteY15889" fmla="*/ 1144100 h 5282095"/>
              <a:gd name="connsiteX15890" fmla="*/ 5041677 w 7714416"/>
              <a:gd name="connsiteY15890" fmla="*/ 1144496 h 5282095"/>
              <a:gd name="connsiteX15891" fmla="*/ 5037879 w 7714416"/>
              <a:gd name="connsiteY15891" fmla="*/ 1144283 h 5282095"/>
              <a:gd name="connsiteX15892" fmla="*/ 5032966 w 7714416"/>
              <a:gd name="connsiteY15892" fmla="*/ 1141587 h 5282095"/>
              <a:gd name="connsiteX15893" fmla="*/ 5035201 w 7714416"/>
              <a:gd name="connsiteY15893" fmla="*/ 1139886 h 5282095"/>
              <a:gd name="connsiteX15894" fmla="*/ 5532623 w 7714416"/>
              <a:gd name="connsiteY15894" fmla="*/ 1138503 h 5282095"/>
              <a:gd name="connsiteX15895" fmla="*/ 5542972 w 7714416"/>
              <a:gd name="connsiteY15895" fmla="*/ 1153006 h 5282095"/>
              <a:gd name="connsiteX15896" fmla="*/ 5535087 w 7714416"/>
              <a:gd name="connsiteY15896" fmla="*/ 1153653 h 5282095"/>
              <a:gd name="connsiteX15897" fmla="*/ 5526071 w 7714416"/>
              <a:gd name="connsiteY15897" fmla="*/ 1150778 h 5282095"/>
              <a:gd name="connsiteX15898" fmla="*/ 5532623 w 7714416"/>
              <a:gd name="connsiteY15898" fmla="*/ 1138503 h 5282095"/>
              <a:gd name="connsiteX15899" fmla="*/ 5592628 w 7714416"/>
              <a:gd name="connsiteY15899" fmla="*/ 1138136 h 5282095"/>
              <a:gd name="connsiteX15900" fmla="*/ 5597242 w 7714416"/>
              <a:gd name="connsiteY15900" fmla="*/ 1151908 h 5282095"/>
              <a:gd name="connsiteX15901" fmla="*/ 5581790 w 7714416"/>
              <a:gd name="connsiteY15901" fmla="*/ 1152022 h 5282095"/>
              <a:gd name="connsiteX15902" fmla="*/ 5576044 w 7714416"/>
              <a:gd name="connsiteY15902" fmla="*/ 1143582 h 5282095"/>
              <a:gd name="connsiteX15903" fmla="*/ 5578922 w 7714416"/>
              <a:gd name="connsiteY15903" fmla="*/ 1138374 h 5282095"/>
              <a:gd name="connsiteX15904" fmla="*/ 5592628 w 7714416"/>
              <a:gd name="connsiteY15904" fmla="*/ 1138136 h 5282095"/>
              <a:gd name="connsiteX15905" fmla="*/ 5306213 w 7714416"/>
              <a:gd name="connsiteY15905" fmla="*/ 1137867 h 5282095"/>
              <a:gd name="connsiteX15906" fmla="*/ 5308888 w 7714416"/>
              <a:gd name="connsiteY15906" fmla="*/ 1145599 h 5282095"/>
              <a:gd name="connsiteX15907" fmla="*/ 5303935 w 7714416"/>
              <a:gd name="connsiteY15907" fmla="*/ 1144157 h 5282095"/>
              <a:gd name="connsiteX15908" fmla="*/ 5306213 w 7714416"/>
              <a:gd name="connsiteY15908" fmla="*/ 1137867 h 5282095"/>
              <a:gd name="connsiteX15909" fmla="*/ 1347981 w 7714416"/>
              <a:gd name="connsiteY15909" fmla="*/ 1137836 h 5282095"/>
              <a:gd name="connsiteX15910" fmla="*/ 1356036 w 7714416"/>
              <a:gd name="connsiteY15910" fmla="*/ 1141806 h 5282095"/>
              <a:gd name="connsiteX15911" fmla="*/ 1357046 w 7714416"/>
              <a:gd name="connsiteY15911" fmla="*/ 1143571 h 5282095"/>
              <a:gd name="connsiteX15912" fmla="*/ 1360399 w 7714416"/>
              <a:gd name="connsiteY15912" fmla="*/ 1158730 h 5282095"/>
              <a:gd name="connsiteX15913" fmla="*/ 1353107 w 7714416"/>
              <a:gd name="connsiteY15913" fmla="*/ 1158271 h 5282095"/>
              <a:gd name="connsiteX15914" fmla="*/ 1346441 w 7714416"/>
              <a:gd name="connsiteY15914" fmla="*/ 1153266 h 5282095"/>
              <a:gd name="connsiteX15915" fmla="*/ 1340577 w 7714416"/>
              <a:gd name="connsiteY15915" fmla="*/ 1139734 h 5282095"/>
              <a:gd name="connsiteX15916" fmla="*/ 1347981 w 7714416"/>
              <a:gd name="connsiteY15916" fmla="*/ 1137836 h 5282095"/>
              <a:gd name="connsiteX15917" fmla="*/ 1689318 w 7714416"/>
              <a:gd name="connsiteY15917" fmla="*/ 1137612 h 5282095"/>
              <a:gd name="connsiteX15918" fmla="*/ 1694202 w 7714416"/>
              <a:gd name="connsiteY15918" fmla="*/ 1140416 h 5282095"/>
              <a:gd name="connsiteX15919" fmla="*/ 1695460 w 7714416"/>
              <a:gd name="connsiteY15919" fmla="*/ 1142363 h 5282095"/>
              <a:gd name="connsiteX15920" fmla="*/ 1697806 w 7714416"/>
              <a:gd name="connsiteY15920" fmla="*/ 1143567 h 5282095"/>
              <a:gd name="connsiteX15921" fmla="*/ 1715156 w 7714416"/>
              <a:gd name="connsiteY15921" fmla="*/ 1145226 h 5282095"/>
              <a:gd name="connsiteX15922" fmla="*/ 1708936 w 7714416"/>
              <a:gd name="connsiteY15922" fmla="*/ 1142984 h 5282095"/>
              <a:gd name="connsiteX15923" fmla="*/ 1710596 w 7714416"/>
              <a:gd name="connsiteY15923" fmla="*/ 1143428 h 5282095"/>
              <a:gd name="connsiteX15924" fmla="*/ 1710923 w 7714416"/>
              <a:gd name="connsiteY15924" fmla="*/ 1141102 h 5282095"/>
              <a:gd name="connsiteX15925" fmla="*/ 1709568 w 7714416"/>
              <a:gd name="connsiteY15925" fmla="*/ 1140624 h 5282095"/>
              <a:gd name="connsiteX15926" fmla="*/ 1711557 w 7714416"/>
              <a:gd name="connsiteY15926" fmla="*/ 1138740 h 5282095"/>
              <a:gd name="connsiteX15927" fmla="*/ 1723733 w 7714416"/>
              <a:gd name="connsiteY15927" fmla="*/ 1138669 h 5282095"/>
              <a:gd name="connsiteX15928" fmla="*/ 1725027 w 7714416"/>
              <a:gd name="connsiteY15928" fmla="*/ 1142695 h 5282095"/>
              <a:gd name="connsiteX15929" fmla="*/ 1723546 w 7714416"/>
              <a:gd name="connsiteY15929" fmla="*/ 1143794 h 5282095"/>
              <a:gd name="connsiteX15930" fmla="*/ 1725548 w 7714416"/>
              <a:gd name="connsiteY15930" fmla="*/ 1146285 h 5282095"/>
              <a:gd name="connsiteX15931" fmla="*/ 1745751 w 7714416"/>
              <a:gd name="connsiteY15931" fmla="*/ 1148364 h 5282095"/>
              <a:gd name="connsiteX15932" fmla="*/ 1786055 w 7714416"/>
              <a:gd name="connsiteY15932" fmla="*/ 1192743 h 5282095"/>
              <a:gd name="connsiteX15933" fmla="*/ 1785129 w 7714416"/>
              <a:gd name="connsiteY15933" fmla="*/ 1193990 h 5282095"/>
              <a:gd name="connsiteX15934" fmla="*/ 1786663 w 7714416"/>
              <a:gd name="connsiteY15934" fmla="*/ 1196011 h 5282095"/>
              <a:gd name="connsiteX15935" fmla="*/ 1787303 w 7714416"/>
              <a:gd name="connsiteY15935" fmla="*/ 1204692 h 5282095"/>
              <a:gd name="connsiteX15936" fmla="*/ 1779142 w 7714416"/>
              <a:gd name="connsiteY15936" fmla="*/ 1205266 h 5282095"/>
              <a:gd name="connsiteX15937" fmla="*/ 1777235 w 7714416"/>
              <a:gd name="connsiteY15937" fmla="*/ 1204640 h 5282095"/>
              <a:gd name="connsiteX15938" fmla="*/ 1776296 w 7714416"/>
              <a:gd name="connsiteY15938" fmla="*/ 1207033 h 5282095"/>
              <a:gd name="connsiteX15939" fmla="*/ 1773427 w 7714416"/>
              <a:gd name="connsiteY15939" fmla="*/ 1219950 h 5282095"/>
              <a:gd name="connsiteX15940" fmla="*/ 1754818 w 7714416"/>
              <a:gd name="connsiteY15940" fmla="*/ 1228534 h 5282095"/>
              <a:gd name="connsiteX15941" fmla="*/ 1738242 w 7714416"/>
              <a:gd name="connsiteY15941" fmla="*/ 1232832 h 5282095"/>
              <a:gd name="connsiteX15942" fmla="*/ 1736086 w 7714416"/>
              <a:gd name="connsiteY15942" fmla="*/ 1240879 h 5282095"/>
              <a:gd name="connsiteX15943" fmla="*/ 1732431 w 7714416"/>
              <a:gd name="connsiteY15943" fmla="*/ 1248987 h 5282095"/>
              <a:gd name="connsiteX15944" fmla="*/ 1731182 w 7714416"/>
              <a:gd name="connsiteY15944" fmla="*/ 1240371 h 5282095"/>
              <a:gd name="connsiteX15945" fmla="*/ 1733945 w 7714416"/>
              <a:gd name="connsiteY15945" fmla="*/ 1235591 h 5282095"/>
              <a:gd name="connsiteX15946" fmla="*/ 1735045 w 7714416"/>
              <a:gd name="connsiteY15946" fmla="*/ 1233700 h 5282095"/>
              <a:gd name="connsiteX15947" fmla="*/ 1732486 w 7714416"/>
              <a:gd name="connsiteY15947" fmla="*/ 1234396 h 5282095"/>
              <a:gd name="connsiteX15948" fmla="*/ 1684386 w 7714416"/>
              <a:gd name="connsiteY15948" fmla="*/ 1231283 h 5282095"/>
              <a:gd name="connsiteX15949" fmla="*/ 1641329 w 7714416"/>
              <a:gd name="connsiteY15949" fmla="*/ 1190534 h 5282095"/>
              <a:gd name="connsiteX15950" fmla="*/ 1649867 w 7714416"/>
              <a:gd name="connsiteY15950" fmla="*/ 1176376 h 5282095"/>
              <a:gd name="connsiteX15951" fmla="*/ 1649507 w 7714416"/>
              <a:gd name="connsiteY15951" fmla="*/ 1173291 h 5282095"/>
              <a:gd name="connsiteX15952" fmla="*/ 1640952 w 7714416"/>
              <a:gd name="connsiteY15952" fmla="*/ 1168698 h 5282095"/>
              <a:gd name="connsiteX15953" fmla="*/ 1645131 w 7714416"/>
              <a:gd name="connsiteY15953" fmla="*/ 1160847 h 5282095"/>
              <a:gd name="connsiteX15954" fmla="*/ 1650582 w 7714416"/>
              <a:gd name="connsiteY15954" fmla="*/ 1159318 h 5282095"/>
              <a:gd name="connsiteX15955" fmla="*/ 1649164 w 7714416"/>
              <a:gd name="connsiteY15955" fmla="*/ 1156869 h 5282095"/>
              <a:gd name="connsiteX15956" fmla="*/ 1671008 w 7714416"/>
              <a:gd name="connsiteY15956" fmla="*/ 1140641 h 5282095"/>
              <a:gd name="connsiteX15957" fmla="*/ 1689318 w 7714416"/>
              <a:gd name="connsiteY15957" fmla="*/ 1137612 h 5282095"/>
              <a:gd name="connsiteX15958" fmla="*/ 1163514 w 7714416"/>
              <a:gd name="connsiteY15958" fmla="*/ 1136451 h 5282095"/>
              <a:gd name="connsiteX15959" fmla="*/ 1180149 w 7714416"/>
              <a:gd name="connsiteY15959" fmla="*/ 1146313 h 5282095"/>
              <a:gd name="connsiteX15960" fmla="*/ 1169494 w 7714416"/>
              <a:gd name="connsiteY15960" fmla="*/ 1149553 h 5282095"/>
              <a:gd name="connsiteX15961" fmla="*/ 1167833 w 7714416"/>
              <a:gd name="connsiteY15961" fmla="*/ 1149109 h 5282095"/>
              <a:gd name="connsiteX15962" fmla="*/ 1164438 w 7714416"/>
              <a:gd name="connsiteY15962" fmla="*/ 1147393 h 5282095"/>
              <a:gd name="connsiteX15963" fmla="*/ 1158700 w 7714416"/>
              <a:gd name="connsiteY15963" fmla="*/ 1141140 h 5282095"/>
              <a:gd name="connsiteX15964" fmla="*/ 1157611 w 7714416"/>
              <a:gd name="connsiteY15964" fmla="*/ 1141884 h 5282095"/>
              <a:gd name="connsiteX15965" fmla="*/ 1163514 w 7714416"/>
              <a:gd name="connsiteY15965" fmla="*/ 1136451 h 5282095"/>
              <a:gd name="connsiteX15966" fmla="*/ 1874135 w 7714416"/>
              <a:gd name="connsiteY15966" fmla="*/ 1136303 h 5282095"/>
              <a:gd name="connsiteX15967" fmla="*/ 1871461 w 7714416"/>
              <a:gd name="connsiteY15967" fmla="*/ 1155136 h 5282095"/>
              <a:gd name="connsiteX15968" fmla="*/ 1874135 w 7714416"/>
              <a:gd name="connsiteY15968" fmla="*/ 1136303 h 5282095"/>
              <a:gd name="connsiteX15969" fmla="*/ 1551836 w 7714416"/>
              <a:gd name="connsiteY15969" fmla="*/ 1134930 h 5282095"/>
              <a:gd name="connsiteX15970" fmla="*/ 1556712 w 7714416"/>
              <a:gd name="connsiteY15970" fmla="*/ 1135546 h 5282095"/>
              <a:gd name="connsiteX15971" fmla="*/ 1558749 w 7714416"/>
              <a:gd name="connsiteY15971" fmla="*/ 1140117 h 5282095"/>
              <a:gd name="connsiteX15972" fmla="*/ 1564625 w 7714416"/>
              <a:gd name="connsiteY15972" fmla="*/ 1143647 h 5282095"/>
              <a:gd name="connsiteX15973" fmla="*/ 1564844 w 7714416"/>
              <a:gd name="connsiteY15973" fmla="*/ 1143935 h 5282095"/>
              <a:gd name="connsiteX15974" fmla="*/ 1568269 w 7714416"/>
              <a:gd name="connsiteY15974" fmla="*/ 1145542 h 5282095"/>
              <a:gd name="connsiteX15975" fmla="*/ 1567945 w 7714416"/>
              <a:gd name="connsiteY15975" fmla="*/ 1144537 h 5282095"/>
              <a:gd name="connsiteX15976" fmla="*/ 1583311 w 7714416"/>
              <a:gd name="connsiteY15976" fmla="*/ 1144743 h 5282095"/>
              <a:gd name="connsiteX15977" fmla="*/ 1590081 w 7714416"/>
              <a:gd name="connsiteY15977" fmla="*/ 1150468 h 5282095"/>
              <a:gd name="connsiteX15978" fmla="*/ 1589535 w 7714416"/>
              <a:gd name="connsiteY15978" fmla="*/ 1161362 h 5282095"/>
              <a:gd name="connsiteX15979" fmla="*/ 1580832 w 7714416"/>
              <a:gd name="connsiteY15979" fmla="*/ 1160639 h 5282095"/>
              <a:gd name="connsiteX15980" fmla="*/ 1574690 w 7714416"/>
              <a:gd name="connsiteY15980" fmla="*/ 1155888 h 5282095"/>
              <a:gd name="connsiteX15981" fmla="*/ 1574287 w 7714416"/>
              <a:gd name="connsiteY15981" fmla="*/ 1157391 h 5282095"/>
              <a:gd name="connsiteX15982" fmla="*/ 1569952 w 7714416"/>
              <a:gd name="connsiteY15982" fmla="*/ 1152549 h 5282095"/>
              <a:gd name="connsiteX15983" fmla="*/ 1568226 w 7714416"/>
              <a:gd name="connsiteY15983" fmla="*/ 1150131 h 5282095"/>
              <a:gd name="connsiteX15984" fmla="*/ 1566727 w 7714416"/>
              <a:gd name="connsiteY15984" fmla="*/ 1150190 h 5282095"/>
              <a:gd name="connsiteX15985" fmla="*/ 1561710 w 7714416"/>
              <a:gd name="connsiteY15985" fmla="*/ 1146775 h 5282095"/>
              <a:gd name="connsiteX15986" fmla="*/ 1562839 w 7714416"/>
              <a:gd name="connsiteY15986" fmla="*/ 1144777 h 5282095"/>
              <a:gd name="connsiteX15987" fmla="*/ 1562705 w 7714416"/>
              <a:gd name="connsiteY15987" fmla="*/ 1144168 h 5282095"/>
              <a:gd name="connsiteX15988" fmla="*/ 1552558 w 7714416"/>
              <a:gd name="connsiteY15988" fmla="*/ 1137768 h 5282095"/>
              <a:gd name="connsiteX15989" fmla="*/ 1551836 w 7714416"/>
              <a:gd name="connsiteY15989" fmla="*/ 1134930 h 5282095"/>
              <a:gd name="connsiteX15990" fmla="*/ 2010134 w 7714416"/>
              <a:gd name="connsiteY15990" fmla="*/ 1134564 h 5282095"/>
              <a:gd name="connsiteX15991" fmla="*/ 2016326 w 7714416"/>
              <a:gd name="connsiteY15991" fmla="*/ 1136912 h 5282095"/>
              <a:gd name="connsiteX15992" fmla="*/ 2016761 w 7714416"/>
              <a:gd name="connsiteY15992" fmla="*/ 1140824 h 5282095"/>
              <a:gd name="connsiteX15993" fmla="*/ 2010134 w 7714416"/>
              <a:gd name="connsiteY15993" fmla="*/ 1134564 h 5282095"/>
              <a:gd name="connsiteX15994" fmla="*/ 5012592 w 7714416"/>
              <a:gd name="connsiteY15994" fmla="*/ 1133642 h 5282095"/>
              <a:gd name="connsiteX15995" fmla="*/ 5024273 w 7714416"/>
              <a:gd name="connsiteY15995" fmla="*/ 1139718 h 5282095"/>
              <a:gd name="connsiteX15996" fmla="*/ 5017467 w 7714416"/>
              <a:gd name="connsiteY15996" fmla="*/ 1149625 h 5282095"/>
              <a:gd name="connsiteX15997" fmla="*/ 5002791 w 7714416"/>
              <a:gd name="connsiteY15997" fmla="*/ 1137987 h 5282095"/>
              <a:gd name="connsiteX15998" fmla="*/ 5012592 w 7714416"/>
              <a:gd name="connsiteY15998" fmla="*/ 1133642 h 5282095"/>
              <a:gd name="connsiteX15999" fmla="*/ 2005603 w 7714416"/>
              <a:gd name="connsiteY15999" fmla="*/ 1132659 h 5282095"/>
              <a:gd name="connsiteX16000" fmla="*/ 2008837 w 7714416"/>
              <a:gd name="connsiteY16000" fmla="*/ 1133871 h 5282095"/>
              <a:gd name="connsiteX16001" fmla="*/ 2008549 w 7714416"/>
              <a:gd name="connsiteY16001" fmla="*/ 1134944 h 5282095"/>
              <a:gd name="connsiteX16002" fmla="*/ 2005603 w 7714416"/>
              <a:gd name="connsiteY16002" fmla="*/ 1132659 h 5282095"/>
              <a:gd name="connsiteX16003" fmla="*/ 2224892 w 7714416"/>
              <a:gd name="connsiteY16003" fmla="*/ 1132191 h 5282095"/>
              <a:gd name="connsiteX16004" fmla="*/ 2229536 w 7714416"/>
              <a:gd name="connsiteY16004" fmla="*/ 1137001 h 5282095"/>
              <a:gd name="connsiteX16005" fmla="*/ 2228005 w 7714416"/>
              <a:gd name="connsiteY16005" fmla="*/ 1140501 h 5282095"/>
              <a:gd name="connsiteX16006" fmla="*/ 2226040 w 7714416"/>
              <a:gd name="connsiteY16006" fmla="*/ 1140088 h 5282095"/>
              <a:gd name="connsiteX16007" fmla="*/ 2226517 w 7714416"/>
              <a:gd name="connsiteY16007" fmla="*/ 1139412 h 5282095"/>
              <a:gd name="connsiteX16008" fmla="*/ 2220221 w 7714416"/>
              <a:gd name="connsiteY16008" fmla="*/ 1136345 h 5282095"/>
              <a:gd name="connsiteX16009" fmla="*/ 2224892 w 7714416"/>
              <a:gd name="connsiteY16009" fmla="*/ 1132191 h 5282095"/>
              <a:gd name="connsiteX16010" fmla="*/ 5216228 w 7714416"/>
              <a:gd name="connsiteY16010" fmla="*/ 1131696 h 5282095"/>
              <a:gd name="connsiteX16011" fmla="*/ 5208224 w 7714416"/>
              <a:gd name="connsiteY16011" fmla="*/ 1162672 h 5282095"/>
              <a:gd name="connsiteX16012" fmla="*/ 5207577 w 7714416"/>
              <a:gd name="connsiteY16012" fmla="*/ 1134093 h 5282095"/>
              <a:gd name="connsiteX16013" fmla="*/ 5216228 w 7714416"/>
              <a:gd name="connsiteY16013" fmla="*/ 1131696 h 5282095"/>
              <a:gd name="connsiteX16014" fmla="*/ 1934824 w 7714416"/>
              <a:gd name="connsiteY16014" fmla="*/ 1131174 h 5282095"/>
              <a:gd name="connsiteX16015" fmla="*/ 1940537 w 7714416"/>
              <a:gd name="connsiteY16015" fmla="*/ 1134200 h 5282095"/>
              <a:gd name="connsiteX16016" fmla="*/ 1941052 w 7714416"/>
              <a:gd name="connsiteY16016" fmla="*/ 1135603 h 5282095"/>
              <a:gd name="connsiteX16017" fmla="*/ 1941910 w 7714416"/>
              <a:gd name="connsiteY16017" fmla="*/ 1135718 h 5282095"/>
              <a:gd name="connsiteX16018" fmla="*/ 1944059 w 7714416"/>
              <a:gd name="connsiteY16018" fmla="*/ 1134339 h 5282095"/>
              <a:gd name="connsiteX16019" fmla="*/ 1943556 w 7714416"/>
              <a:gd name="connsiteY16019" fmla="*/ 1131788 h 5282095"/>
              <a:gd name="connsiteX16020" fmla="*/ 1949540 w 7714416"/>
              <a:gd name="connsiteY16020" fmla="*/ 1132702 h 5282095"/>
              <a:gd name="connsiteX16021" fmla="*/ 1954894 w 7714416"/>
              <a:gd name="connsiteY16021" fmla="*/ 1132642 h 5282095"/>
              <a:gd name="connsiteX16022" fmla="*/ 1959546 w 7714416"/>
              <a:gd name="connsiteY16022" fmla="*/ 1136304 h 5282095"/>
              <a:gd name="connsiteX16023" fmla="*/ 1959201 w 7714416"/>
              <a:gd name="connsiteY16023" fmla="*/ 1137591 h 5282095"/>
              <a:gd name="connsiteX16024" fmla="*/ 1969422 w 7714416"/>
              <a:gd name="connsiteY16024" fmla="*/ 1148150 h 5282095"/>
              <a:gd name="connsiteX16025" fmla="*/ 1994365 w 7714416"/>
              <a:gd name="connsiteY16025" fmla="*/ 1135858 h 5282095"/>
              <a:gd name="connsiteX16026" fmla="*/ 1977342 w 7714416"/>
              <a:gd name="connsiteY16026" fmla="*/ 1158437 h 5282095"/>
              <a:gd name="connsiteX16027" fmla="*/ 1976152 w 7714416"/>
              <a:gd name="connsiteY16027" fmla="*/ 1172839 h 5282095"/>
              <a:gd name="connsiteX16028" fmla="*/ 1956431 w 7714416"/>
              <a:gd name="connsiteY16028" fmla="*/ 1157894 h 5282095"/>
              <a:gd name="connsiteX16029" fmla="*/ 1952792 w 7714416"/>
              <a:gd name="connsiteY16029" fmla="*/ 1152664 h 5282095"/>
              <a:gd name="connsiteX16030" fmla="*/ 1952734 w 7714416"/>
              <a:gd name="connsiteY16030" fmla="*/ 1152878 h 5282095"/>
              <a:gd name="connsiteX16031" fmla="*/ 1944198 w 7714416"/>
              <a:gd name="connsiteY16031" fmla="*/ 1154846 h 5282095"/>
              <a:gd name="connsiteX16032" fmla="*/ 1939333 w 7714416"/>
              <a:gd name="connsiteY16032" fmla="*/ 1153083 h 5282095"/>
              <a:gd name="connsiteX16033" fmla="*/ 1935657 w 7714416"/>
              <a:gd name="connsiteY16033" fmla="*/ 1145772 h 5282095"/>
              <a:gd name="connsiteX16034" fmla="*/ 1936595 w 7714416"/>
              <a:gd name="connsiteY16034" fmla="*/ 1143379 h 5282095"/>
              <a:gd name="connsiteX16035" fmla="*/ 1936318 w 7714416"/>
              <a:gd name="connsiteY16035" fmla="*/ 1143304 h 5282095"/>
              <a:gd name="connsiteX16036" fmla="*/ 1936959 w 7714416"/>
              <a:gd name="connsiteY16036" fmla="*/ 1143131 h 5282095"/>
              <a:gd name="connsiteX16037" fmla="*/ 1937245 w 7714416"/>
              <a:gd name="connsiteY16037" fmla="*/ 1142058 h 5282095"/>
              <a:gd name="connsiteX16038" fmla="*/ 1935442 w 7714416"/>
              <a:gd name="connsiteY16038" fmla="*/ 1142149 h 5282095"/>
              <a:gd name="connsiteX16039" fmla="*/ 1925186 w 7714416"/>
              <a:gd name="connsiteY16039" fmla="*/ 1138367 h 5282095"/>
              <a:gd name="connsiteX16040" fmla="*/ 1931309 w 7714416"/>
              <a:gd name="connsiteY16040" fmla="*/ 1133221 h 5282095"/>
              <a:gd name="connsiteX16041" fmla="*/ 1932664 w 7714416"/>
              <a:gd name="connsiteY16041" fmla="*/ 1133701 h 5282095"/>
              <a:gd name="connsiteX16042" fmla="*/ 1932941 w 7714416"/>
              <a:gd name="connsiteY16042" fmla="*/ 1133775 h 5282095"/>
              <a:gd name="connsiteX16043" fmla="*/ 1934824 w 7714416"/>
              <a:gd name="connsiteY16043" fmla="*/ 1131174 h 5282095"/>
              <a:gd name="connsiteX16044" fmla="*/ 2121463 w 7714416"/>
              <a:gd name="connsiteY16044" fmla="*/ 1130814 h 5282095"/>
              <a:gd name="connsiteX16045" fmla="*/ 2125879 w 7714416"/>
              <a:gd name="connsiteY16045" fmla="*/ 1133146 h 5282095"/>
              <a:gd name="connsiteX16046" fmla="*/ 2119117 w 7714416"/>
              <a:gd name="connsiteY16046" fmla="*/ 1138464 h 5282095"/>
              <a:gd name="connsiteX16047" fmla="*/ 2116227 w 7714416"/>
              <a:gd name="connsiteY16047" fmla="*/ 1135965 h 5282095"/>
              <a:gd name="connsiteX16048" fmla="*/ 2121463 w 7714416"/>
              <a:gd name="connsiteY16048" fmla="*/ 1130814 h 5282095"/>
              <a:gd name="connsiteX16049" fmla="*/ 1726444 w 7714416"/>
              <a:gd name="connsiteY16049" fmla="*/ 1130770 h 5282095"/>
              <a:gd name="connsiteX16050" fmla="*/ 1735510 w 7714416"/>
              <a:gd name="connsiteY16050" fmla="*/ 1131245 h 5282095"/>
              <a:gd name="connsiteX16051" fmla="*/ 1737332 w 7714416"/>
              <a:gd name="connsiteY16051" fmla="*/ 1132192 h 5282095"/>
              <a:gd name="connsiteX16052" fmla="*/ 1749086 w 7714416"/>
              <a:gd name="connsiteY16052" fmla="*/ 1144771 h 5282095"/>
              <a:gd name="connsiteX16053" fmla="*/ 1738633 w 7714416"/>
              <a:gd name="connsiteY16053" fmla="*/ 1147261 h 5282095"/>
              <a:gd name="connsiteX16054" fmla="*/ 1734321 w 7714416"/>
              <a:gd name="connsiteY16054" fmla="*/ 1145646 h 5282095"/>
              <a:gd name="connsiteX16055" fmla="*/ 1721324 w 7714416"/>
              <a:gd name="connsiteY16055" fmla="*/ 1135493 h 5282095"/>
              <a:gd name="connsiteX16056" fmla="*/ 1726444 w 7714416"/>
              <a:gd name="connsiteY16056" fmla="*/ 1130770 h 5282095"/>
              <a:gd name="connsiteX16057" fmla="*/ 1791890 w 7714416"/>
              <a:gd name="connsiteY16057" fmla="*/ 1130021 h 5282095"/>
              <a:gd name="connsiteX16058" fmla="*/ 1768406 w 7714416"/>
              <a:gd name="connsiteY16058" fmla="*/ 1134653 h 5282095"/>
              <a:gd name="connsiteX16059" fmla="*/ 1771452 w 7714416"/>
              <a:gd name="connsiteY16059" fmla="*/ 1132135 h 5282095"/>
              <a:gd name="connsiteX16060" fmla="*/ 1791890 w 7714416"/>
              <a:gd name="connsiteY16060" fmla="*/ 1130021 h 5282095"/>
              <a:gd name="connsiteX16061" fmla="*/ 5950996 w 7714416"/>
              <a:gd name="connsiteY16061" fmla="*/ 1129969 h 5282095"/>
              <a:gd name="connsiteX16062" fmla="*/ 5958230 w 7714416"/>
              <a:gd name="connsiteY16062" fmla="*/ 1130643 h 5282095"/>
              <a:gd name="connsiteX16063" fmla="*/ 5969848 w 7714416"/>
              <a:gd name="connsiteY16063" fmla="*/ 1137090 h 5282095"/>
              <a:gd name="connsiteX16064" fmla="*/ 5954687 w 7714416"/>
              <a:gd name="connsiteY16064" fmla="*/ 1150508 h 5282095"/>
              <a:gd name="connsiteX16065" fmla="*/ 5943558 w 7714416"/>
              <a:gd name="connsiteY16065" fmla="*/ 1142235 h 5282095"/>
              <a:gd name="connsiteX16066" fmla="*/ 5950996 w 7714416"/>
              <a:gd name="connsiteY16066" fmla="*/ 1129969 h 5282095"/>
              <a:gd name="connsiteX16067" fmla="*/ 1999421 w 7714416"/>
              <a:gd name="connsiteY16067" fmla="*/ 1129163 h 5282095"/>
              <a:gd name="connsiteX16068" fmla="*/ 2000507 w 7714416"/>
              <a:gd name="connsiteY16068" fmla="*/ 1131754 h 5282095"/>
              <a:gd name="connsiteX16069" fmla="*/ 1997561 w 7714416"/>
              <a:gd name="connsiteY16069" fmla="*/ 1129470 h 5282095"/>
              <a:gd name="connsiteX16070" fmla="*/ 1999421 w 7714416"/>
              <a:gd name="connsiteY16070" fmla="*/ 1129163 h 5282095"/>
              <a:gd name="connsiteX16071" fmla="*/ 1526523 w 7714416"/>
              <a:gd name="connsiteY16071" fmla="*/ 1127572 h 5282095"/>
              <a:gd name="connsiteX16072" fmla="*/ 1542158 w 7714416"/>
              <a:gd name="connsiteY16072" fmla="*/ 1143376 h 5282095"/>
              <a:gd name="connsiteX16073" fmla="*/ 1531953 w 7714416"/>
              <a:gd name="connsiteY16073" fmla="*/ 1146047 h 5282095"/>
              <a:gd name="connsiteX16074" fmla="*/ 1526523 w 7714416"/>
              <a:gd name="connsiteY16074" fmla="*/ 1127572 h 5282095"/>
              <a:gd name="connsiteX16075" fmla="*/ 1337330 w 7714416"/>
              <a:gd name="connsiteY16075" fmla="*/ 1126673 h 5282095"/>
              <a:gd name="connsiteX16076" fmla="*/ 1348530 w 7714416"/>
              <a:gd name="connsiteY16076" fmla="*/ 1128870 h 5282095"/>
              <a:gd name="connsiteX16077" fmla="*/ 1334735 w 7714416"/>
              <a:gd name="connsiteY16077" fmla="*/ 1132763 h 5282095"/>
              <a:gd name="connsiteX16078" fmla="*/ 1330145 w 7714416"/>
              <a:gd name="connsiteY16078" fmla="*/ 1131074 h 5282095"/>
              <a:gd name="connsiteX16079" fmla="*/ 1337330 w 7714416"/>
              <a:gd name="connsiteY16079" fmla="*/ 1126673 h 5282095"/>
              <a:gd name="connsiteX16080" fmla="*/ 5347964 w 7714416"/>
              <a:gd name="connsiteY16080" fmla="*/ 1125940 h 5282095"/>
              <a:gd name="connsiteX16081" fmla="*/ 5340633 w 7714416"/>
              <a:gd name="connsiteY16081" fmla="*/ 1153300 h 5282095"/>
              <a:gd name="connsiteX16082" fmla="*/ 5332821 w 7714416"/>
              <a:gd name="connsiteY16082" fmla="*/ 1149252 h 5282095"/>
              <a:gd name="connsiteX16083" fmla="*/ 5347964 w 7714416"/>
              <a:gd name="connsiteY16083" fmla="*/ 1125940 h 5282095"/>
              <a:gd name="connsiteX16084" fmla="*/ 4953290 w 7714416"/>
              <a:gd name="connsiteY16084" fmla="*/ 1124608 h 5282095"/>
              <a:gd name="connsiteX16085" fmla="*/ 4984226 w 7714416"/>
              <a:gd name="connsiteY16085" fmla="*/ 1138647 h 5282095"/>
              <a:gd name="connsiteX16086" fmla="*/ 4975292 w 7714416"/>
              <a:gd name="connsiteY16086" fmla="*/ 1138784 h 5282095"/>
              <a:gd name="connsiteX16087" fmla="*/ 4953290 w 7714416"/>
              <a:gd name="connsiteY16087" fmla="*/ 1124608 h 5282095"/>
              <a:gd name="connsiteX16088" fmla="*/ 1559817 w 7714416"/>
              <a:gd name="connsiteY16088" fmla="*/ 1123958 h 5282095"/>
              <a:gd name="connsiteX16089" fmla="*/ 1562387 w 7714416"/>
              <a:gd name="connsiteY16089" fmla="*/ 1130972 h 5282095"/>
              <a:gd name="connsiteX16090" fmla="*/ 1560905 w 7714416"/>
              <a:gd name="connsiteY16090" fmla="*/ 1132070 h 5282095"/>
              <a:gd name="connsiteX16091" fmla="*/ 1560065 w 7714416"/>
              <a:gd name="connsiteY16091" fmla="*/ 1132995 h 5282095"/>
              <a:gd name="connsiteX16092" fmla="*/ 1560037 w 7714416"/>
              <a:gd name="connsiteY16092" fmla="*/ 1133102 h 5282095"/>
              <a:gd name="connsiteX16093" fmla="*/ 1557351 w 7714416"/>
              <a:gd name="connsiteY16093" fmla="*/ 1135372 h 5282095"/>
              <a:gd name="connsiteX16094" fmla="*/ 1551059 w 7714416"/>
              <a:gd name="connsiteY16094" fmla="*/ 1128972 h 5282095"/>
              <a:gd name="connsiteX16095" fmla="*/ 1559817 w 7714416"/>
              <a:gd name="connsiteY16095" fmla="*/ 1123958 h 5282095"/>
              <a:gd name="connsiteX16096" fmla="*/ 6082603 w 7714416"/>
              <a:gd name="connsiteY16096" fmla="*/ 1122208 h 5282095"/>
              <a:gd name="connsiteX16097" fmla="*/ 6096439 w 7714416"/>
              <a:gd name="connsiteY16097" fmla="*/ 1123974 h 5282095"/>
              <a:gd name="connsiteX16098" fmla="*/ 6101693 w 7714416"/>
              <a:gd name="connsiteY16098" fmla="*/ 1128718 h 5282095"/>
              <a:gd name="connsiteX16099" fmla="*/ 6086302 w 7714416"/>
              <a:gd name="connsiteY16099" fmla="*/ 1134138 h 5282095"/>
              <a:gd name="connsiteX16100" fmla="*/ 6079937 w 7714416"/>
              <a:gd name="connsiteY16100" fmla="*/ 1132433 h 5282095"/>
              <a:gd name="connsiteX16101" fmla="*/ 6073375 w 7714416"/>
              <a:gd name="connsiteY16101" fmla="*/ 1128144 h 5282095"/>
              <a:gd name="connsiteX16102" fmla="*/ 6082603 w 7714416"/>
              <a:gd name="connsiteY16102" fmla="*/ 1122208 h 5282095"/>
              <a:gd name="connsiteX16103" fmla="*/ 1595066 w 7714416"/>
              <a:gd name="connsiteY16103" fmla="*/ 1121903 h 5282095"/>
              <a:gd name="connsiteX16104" fmla="*/ 1605725 w 7714416"/>
              <a:gd name="connsiteY16104" fmla="*/ 1124183 h 5282095"/>
              <a:gd name="connsiteX16105" fmla="*/ 1611841 w 7714416"/>
              <a:gd name="connsiteY16105" fmla="*/ 1134563 h 5282095"/>
              <a:gd name="connsiteX16106" fmla="*/ 1604147 w 7714416"/>
              <a:gd name="connsiteY16106" fmla="*/ 1135606 h 5282095"/>
              <a:gd name="connsiteX16107" fmla="*/ 1597463 w 7714416"/>
              <a:gd name="connsiteY16107" fmla="*/ 1129560 h 5282095"/>
              <a:gd name="connsiteX16108" fmla="*/ 1595066 w 7714416"/>
              <a:gd name="connsiteY16108" fmla="*/ 1121903 h 5282095"/>
              <a:gd name="connsiteX16109" fmla="*/ 937160 w 7714416"/>
              <a:gd name="connsiteY16109" fmla="*/ 1121225 h 5282095"/>
              <a:gd name="connsiteX16110" fmla="*/ 947566 w 7714416"/>
              <a:gd name="connsiteY16110" fmla="*/ 1126659 h 5282095"/>
              <a:gd name="connsiteX16111" fmla="*/ 933840 w 7714416"/>
              <a:gd name="connsiteY16111" fmla="*/ 1129190 h 5282095"/>
              <a:gd name="connsiteX16112" fmla="*/ 937160 w 7714416"/>
              <a:gd name="connsiteY16112" fmla="*/ 1121225 h 5282095"/>
              <a:gd name="connsiteX16113" fmla="*/ 5712477 w 7714416"/>
              <a:gd name="connsiteY16113" fmla="*/ 1119189 h 5282095"/>
              <a:gd name="connsiteX16114" fmla="*/ 5712611 w 7714416"/>
              <a:gd name="connsiteY16114" fmla="*/ 1128654 h 5282095"/>
              <a:gd name="connsiteX16115" fmla="*/ 5708535 w 7714416"/>
              <a:gd name="connsiteY16115" fmla="*/ 1128367 h 5282095"/>
              <a:gd name="connsiteX16116" fmla="*/ 5702617 w 7714416"/>
              <a:gd name="connsiteY16116" fmla="*/ 1120572 h 5282095"/>
              <a:gd name="connsiteX16117" fmla="*/ 5712477 w 7714416"/>
              <a:gd name="connsiteY16117" fmla="*/ 1119189 h 5282095"/>
              <a:gd name="connsiteX16118" fmla="*/ 1875778 w 7714416"/>
              <a:gd name="connsiteY16118" fmla="*/ 1117998 h 5282095"/>
              <a:gd name="connsiteX16119" fmla="*/ 1876608 w 7714416"/>
              <a:gd name="connsiteY16119" fmla="*/ 1127075 h 5282095"/>
              <a:gd name="connsiteX16120" fmla="*/ 1875127 w 7714416"/>
              <a:gd name="connsiteY16120" fmla="*/ 1128174 h 5282095"/>
              <a:gd name="connsiteX16121" fmla="*/ 1875778 w 7714416"/>
              <a:gd name="connsiteY16121" fmla="*/ 1117998 h 5282095"/>
              <a:gd name="connsiteX16122" fmla="*/ 1392742 w 7714416"/>
              <a:gd name="connsiteY16122" fmla="*/ 1117716 h 5282095"/>
              <a:gd name="connsiteX16123" fmla="*/ 1406275 w 7714416"/>
              <a:gd name="connsiteY16123" fmla="*/ 1118121 h 5282095"/>
              <a:gd name="connsiteX16124" fmla="*/ 1399914 w 7714416"/>
              <a:gd name="connsiteY16124" fmla="*/ 1121938 h 5282095"/>
              <a:gd name="connsiteX16125" fmla="*/ 1392742 w 7714416"/>
              <a:gd name="connsiteY16125" fmla="*/ 1117716 h 5282095"/>
              <a:gd name="connsiteX16126" fmla="*/ 5130144 w 7714416"/>
              <a:gd name="connsiteY16126" fmla="*/ 1117600 h 5282095"/>
              <a:gd name="connsiteX16127" fmla="*/ 5135742 w 7714416"/>
              <a:gd name="connsiteY16127" fmla="*/ 1121055 h 5282095"/>
              <a:gd name="connsiteX16128" fmla="*/ 5131067 w 7714416"/>
              <a:gd name="connsiteY16128" fmla="*/ 1119688 h 5282095"/>
              <a:gd name="connsiteX16129" fmla="*/ 5129827 w 7714416"/>
              <a:gd name="connsiteY16129" fmla="*/ 1118781 h 5282095"/>
              <a:gd name="connsiteX16130" fmla="*/ 5130144 w 7714416"/>
              <a:gd name="connsiteY16130" fmla="*/ 1117600 h 5282095"/>
              <a:gd name="connsiteX16131" fmla="*/ 1910377 w 7714416"/>
              <a:gd name="connsiteY16131" fmla="*/ 1117264 h 5282095"/>
              <a:gd name="connsiteX16132" fmla="*/ 1916040 w 7714416"/>
              <a:gd name="connsiteY16132" fmla="*/ 1122691 h 5282095"/>
              <a:gd name="connsiteX16133" fmla="*/ 1907380 w 7714416"/>
              <a:gd name="connsiteY16133" fmla="*/ 1126235 h 5282095"/>
              <a:gd name="connsiteX16134" fmla="*/ 1901076 w 7714416"/>
              <a:gd name="connsiteY16134" fmla="*/ 1120981 h 5282095"/>
              <a:gd name="connsiteX16135" fmla="*/ 1902378 w 7714416"/>
              <a:gd name="connsiteY16135" fmla="*/ 1118340 h 5282095"/>
              <a:gd name="connsiteX16136" fmla="*/ 1903935 w 7714416"/>
              <a:gd name="connsiteY16136" fmla="*/ 1118067 h 5282095"/>
              <a:gd name="connsiteX16137" fmla="*/ 1910377 w 7714416"/>
              <a:gd name="connsiteY16137" fmla="*/ 1117264 h 5282095"/>
              <a:gd name="connsiteX16138" fmla="*/ 5321698 w 7714416"/>
              <a:gd name="connsiteY16138" fmla="*/ 1116601 h 5282095"/>
              <a:gd name="connsiteX16139" fmla="*/ 5310576 w 7714416"/>
              <a:gd name="connsiteY16139" fmla="*/ 1128226 h 5282095"/>
              <a:gd name="connsiteX16140" fmla="*/ 5307209 w 7714416"/>
              <a:gd name="connsiteY16140" fmla="*/ 1117549 h 5282095"/>
              <a:gd name="connsiteX16141" fmla="*/ 5321698 w 7714416"/>
              <a:gd name="connsiteY16141" fmla="*/ 1116601 h 5282095"/>
              <a:gd name="connsiteX16142" fmla="*/ 1973523 w 7714416"/>
              <a:gd name="connsiteY16142" fmla="*/ 1116243 h 5282095"/>
              <a:gd name="connsiteX16143" fmla="*/ 1997619 w 7714416"/>
              <a:gd name="connsiteY16143" fmla="*/ 1129255 h 5282095"/>
              <a:gd name="connsiteX16144" fmla="*/ 1973523 w 7714416"/>
              <a:gd name="connsiteY16144" fmla="*/ 1116243 h 5282095"/>
              <a:gd name="connsiteX16145" fmla="*/ 5841389 w 7714416"/>
              <a:gd name="connsiteY16145" fmla="*/ 1116226 h 5282095"/>
              <a:gd name="connsiteX16146" fmla="*/ 5856119 w 7714416"/>
              <a:gd name="connsiteY16146" fmla="*/ 1118807 h 5282095"/>
              <a:gd name="connsiteX16147" fmla="*/ 5861538 w 7714416"/>
              <a:gd name="connsiteY16147" fmla="*/ 1129574 h 5282095"/>
              <a:gd name="connsiteX16148" fmla="*/ 5843114 w 7714416"/>
              <a:gd name="connsiteY16148" fmla="*/ 1133033 h 5282095"/>
              <a:gd name="connsiteX16149" fmla="*/ 5838087 w 7714416"/>
              <a:gd name="connsiteY16149" fmla="*/ 1130765 h 5282095"/>
              <a:gd name="connsiteX16150" fmla="*/ 5841389 w 7714416"/>
              <a:gd name="connsiteY16150" fmla="*/ 1116226 h 5282095"/>
              <a:gd name="connsiteX16151" fmla="*/ 1321668 w 7714416"/>
              <a:gd name="connsiteY16151" fmla="*/ 1115117 h 5282095"/>
              <a:gd name="connsiteX16152" fmla="*/ 1323328 w 7714416"/>
              <a:gd name="connsiteY16152" fmla="*/ 1115562 h 5282095"/>
              <a:gd name="connsiteX16153" fmla="*/ 1317435 w 7714416"/>
              <a:gd name="connsiteY16153" fmla="*/ 1128702 h 5282095"/>
              <a:gd name="connsiteX16154" fmla="*/ 1314657 w 7714416"/>
              <a:gd name="connsiteY16154" fmla="*/ 1129108 h 5282095"/>
              <a:gd name="connsiteX16155" fmla="*/ 1317216 w 7714416"/>
              <a:gd name="connsiteY16155" fmla="*/ 1137269 h 5282095"/>
              <a:gd name="connsiteX16156" fmla="*/ 1314925 w 7714416"/>
              <a:gd name="connsiteY16156" fmla="*/ 1153561 h 5282095"/>
              <a:gd name="connsiteX16157" fmla="*/ 1299352 w 7714416"/>
              <a:gd name="connsiteY16157" fmla="*/ 1151918 h 5282095"/>
              <a:gd name="connsiteX16158" fmla="*/ 1283425 w 7714416"/>
              <a:gd name="connsiteY16158" fmla="*/ 1122809 h 5282095"/>
              <a:gd name="connsiteX16159" fmla="*/ 1306600 w 7714416"/>
              <a:gd name="connsiteY16159" fmla="*/ 1121544 h 5282095"/>
              <a:gd name="connsiteX16160" fmla="*/ 1308994 w 7714416"/>
              <a:gd name="connsiteY16160" fmla="*/ 1123680 h 5282095"/>
              <a:gd name="connsiteX16161" fmla="*/ 1312126 w 7714416"/>
              <a:gd name="connsiteY16161" fmla="*/ 1120840 h 5282095"/>
              <a:gd name="connsiteX16162" fmla="*/ 1319393 w 7714416"/>
              <a:gd name="connsiteY16162" fmla="*/ 1118072 h 5282095"/>
              <a:gd name="connsiteX16163" fmla="*/ 1321668 w 7714416"/>
              <a:gd name="connsiteY16163" fmla="*/ 1115117 h 5282095"/>
              <a:gd name="connsiteX16164" fmla="*/ 5718123 w 7714416"/>
              <a:gd name="connsiteY16164" fmla="*/ 1114721 h 5282095"/>
              <a:gd name="connsiteX16165" fmla="*/ 5723409 w 7714416"/>
              <a:gd name="connsiteY16165" fmla="*/ 1116022 h 5282095"/>
              <a:gd name="connsiteX16166" fmla="*/ 5725144 w 7714416"/>
              <a:gd name="connsiteY16166" fmla="*/ 1117293 h 5282095"/>
              <a:gd name="connsiteX16167" fmla="*/ 5726920 w 7714416"/>
              <a:gd name="connsiteY16167" fmla="*/ 1117309 h 5282095"/>
              <a:gd name="connsiteX16168" fmla="*/ 5726909 w 7714416"/>
              <a:gd name="connsiteY16168" fmla="*/ 1118456 h 5282095"/>
              <a:gd name="connsiteX16169" fmla="*/ 5730686 w 7714416"/>
              <a:gd name="connsiteY16169" fmla="*/ 1120963 h 5282095"/>
              <a:gd name="connsiteX16170" fmla="*/ 5741276 w 7714416"/>
              <a:gd name="connsiteY16170" fmla="*/ 1124605 h 5282095"/>
              <a:gd name="connsiteX16171" fmla="*/ 5748837 w 7714416"/>
              <a:gd name="connsiteY16171" fmla="*/ 1131806 h 5282095"/>
              <a:gd name="connsiteX16172" fmla="*/ 5745541 w 7714416"/>
              <a:gd name="connsiteY16172" fmla="*/ 1134143 h 5282095"/>
              <a:gd name="connsiteX16173" fmla="*/ 5749347 w 7714416"/>
              <a:gd name="connsiteY16173" fmla="*/ 1136542 h 5282095"/>
              <a:gd name="connsiteX16174" fmla="*/ 5749149 w 7714416"/>
              <a:gd name="connsiteY16174" fmla="*/ 1151671 h 5282095"/>
              <a:gd name="connsiteX16175" fmla="*/ 5741128 w 7714416"/>
              <a:gd name="connsiteY16175" fmla="*/ 1155041 h 5282095"/>
              <a:gd name="connsiteX16176" fmla="*/ 5734419 w 7714416"/>
              <a:gd name="connsiteY16176" fmla="*/ 1154624 h 5282095"/>
              <a:gd name="connsiteX16177" fmla="*/ 5729057 w 7714416"/>
              <a:gd name="connsiteY16177" fmla="*/ 1152497 h 5282095"/>
              <a:gd name="connsiteX16178" fmla="*/ 5722804 w 7714416"/>
              <a:gd name="connsiteY16178" fmla="*/ 1144842 h 5282095"/>
              <a:gd name="connsiteX16179" fmla="*/ 5722377 w 7714416"/>
              <a:gd name="connsiteY16179" fmla="*/ 1143116 h 5282095"/>
              <a:gd name="connsiteX16180" fmla="*/ 5721519 w 7714416"/>
              <a:gd name="connsiteY16180" fmla="*/ 1143001 h 5282095"/>
              <a:gd name="connsiteX16181" fmla="*/ 5704179 w 7714416"/>
              <a:gd name="connsiteY16181" fmla="*/ 1140196 h 5282095"/>
              <a:gd name="connsiteX16182" fmla="*/ 5720954 w 7714416"/>
              <a:gd name="connsiteY16182" fmla="*/ 1135145 h 5282095"/>
              <a:gd name="connsiteX16183" fmla="*/ 5725439 w 7714416"/>
              <a:gd name="connsiteY16183" fmla="*/ 1136117 h 5282095"/>
              <a:gd name="connsiteX16184" fmla="*/ 5731131 w 7714416"/>
              <a:gd name="connsiteY16184" fmla="*/ 1132582 h 5282095"/>
              <a:gd name="connsiteX16185" fmla="*/ 5738519 w 7714416"/>
              <a:gd name="connsiteY16185" fmla="*/ 1131572 h 5282095"/>
              <a:gd name="connsiteX16186" fmla="*/ 5736745 w 7714416"/>
              <a:gd name="connsiteY16186" fmla="*/ 1131556 h 5282095"/>
              <a:gd name="connsiteX16187" fmla="*/ 5718123 w 7714416"/>
              <a:gd name="connsiteY16187" fmla="*/ 1114721 h 5282095"/>
              <a:gd name="connsiteX16188" fmla="*/ 5801350 w 7714416"/>
              <a:gd name="connsiteY16188" fmla="*/ 1114021 h 5282095"/>
              <a:gd name="connsiteX16189" fmla="*/ 5807657 w 7714416"/>
              <a:gd name="connsiteY16189" fmla="*/ 1115941 h 5282095"/>
              <a:gd name="connsiteX16190" fmla="*/ 5792743 w 7714416"/>
              <a:gd name="connsiteY16190" fmla="*/ 1138395 h 5282095"/>
              <a:gd name="connsiteX16191" fmla="*/ 5787485 w 7714416"/>
              <a:gd name="connsiteY16191" fmla="*/ 1136987 h 5282095"/>
              <a:gd name="connsiteX16192" fmla="*/ 5780895 w 7714416"/>
              <a:gd name="connsiteY16192" fmla="*/ 1132806 h 5282095"/>
              <a:gd name="connsiteX16193" fmla="*/ 5785772 w 7714416"/>
              <a:gd name="connsiteY16193" fmla="*/ 1115712 h 5282095"/>
              <a:gd name="connsiteX16194" fmla="*/ 5801350 w 7714416"/>
              <a:gd name="connsiteY16194" fmla="*/ 1114021 h 5282095"/>
              <a:gd name="connsiteX16195" fmla="*/ 5391270 w 7714416"/>
              <a:gd name="connsiteY16195" fmla="*/ 1113737 h 5282095"/>
              <a:gd name="connsiteX16196" fmla="*/ 5390066 w 7714416"/>
              <a:gd name="connsiteY16196" fmla="*/ 1123766 h 5282095"/>
              <a:gd name="connsiteX16197" fmla="*/ 5392478 w 7714416"/>
              <a:gd name="connsiteY16197" fmla="*/ 1126941 h 5282095"/>
              <a:gd name="connsiteX16198" fmla="*/ 5377959 w 7714416"/>
              <a:gd name="connsiteY16198" fmla="*/ 1136851 h 5282095"/>
              <a:gd name="connsiteX16199" fmla="*/ 5367556 w 7714416"/>
              <a:gd name="connsiteY16199" fmla="*/ 1128083 h 5282095"/>
              <a:gd name="connsiteX16200" fmla="*/ 5373611 w 7714416"/>
              <a:gd name="connsiteY16200" fmla="*/ 1124301 h 5282095"/>
              <a:gd name="connsiteX16201" fmla="*/ 5373450 w 7714416"/>
              <a:gd name="connsiteY16201" fmla="*/ 1123798 h 5282095"/>
              <a:gd name="connsiteX16202" fmla="*/ 5391270 w 7714416"/>
              <a:gd name="connsiteY16202" fmla="*/ 1113737 h 5282095"/>
              <a:gd name="connsiteX16203" fmla="*/ 1813239 w 7714416"/>
              <a:gd name="connsiteY16203" fmla="*/ 1113431 h 5282095"/>
              <a:gd name="connsiteX16204" fmla="*/ 1814288 w 7714416"/>
              <a:gd name="connsiteY16204" fmla="*/ 1113942 h 5282095"/>
              <a:gd name="connsiteX16205" fmla="*/ 1816279 w 7714416"/>
              <a:gd name="connsiteY16205" fmla="*/ 1117580 h 5282095"/>
              <a:gd name="connsiteX16206" fmla="*/ 1815172 w 7714416"/>
              <a:gd name="connsiteY16206" fmla="*/ 1117284 h 5282095"/>
              <a:gd name="connsiteX16207" fmla="*/ 1811032 w 7714416"/>
              <a:gd name="connsiteY16207" fmla="*/ 1115025 h 5282095"/>
              <a:gd name="connsiteX16208" fmla="*/ 1812513 w 7714416"/>
              <a:gd name="connsiteY16208" fmla="*/ 1113926 h 5282095"/>
              <a:gd name="connsiteX16209" fmla="*/ 1811043 w 7714416"/>
              <a:gd name="connsiteY16209" fmla="*/ 1113877 h 5282095"/>
              <a:gd name="connsiteX16210" fmla="*/ 1813239 w 7714416"/>
              <a:gd name="connsiteY16210" fmla="*/ 1113431 h 5282095"/>
              <a:gd name="connsiteX16211" fmla="*/ 5185276 w 7714416"/>
              <a:gd name="connsiteY16211" fmla="*/ 1113283 h 5282095"/>
              <a:gd name="connsiteX16212" fmla="*/ 5189901 w 7714416"/>
              <a:gd name="connsiteY16212" fmla="*/ 1117052 h 5282095"/>
              <a:gd name="connsiteX16213" fmla="*/ 5187954 w 7714416"/>
              <a:gd name="connsiteY16213" fmla="*/ 1117680 h 5282095"/>
              <a:gd name="connsiteX16214" fmla="*/ 5189585 w 7714416"/>
              <a:gd name="connsiteY16214" fmla="*/ 1118232 h 5282095"/>
              <a:gd name="connsiteX16215" fmla="*/ 5187285 w 7714416"/>
              <a:gd name="connsiteY16215" fmla="*/ 1117961 h 5282095"/>
              <a:gd name="connsiteX16216" fmla="*/ 5186293 w 7714416"/>
              <a:gd name="connsiteY16216" fmla="*/ 1117235 h 5282095"/>
              <a:gd name="connsiteX16217" fmla="*/ 5185276 w 7714416"/>
              <a:gd name="connsiteY16217" fmla="*/ 1113283 h 5282095"/>
              <a:gd name="connsiteX16218" fmla="*/ 1926743 w 7714416"/>
              <a:gd name="connsiteY16218" fmla="*/ 1113182 h 5282095"/>
              <a:gd name="connsiteX16219" fmla="*/ 1938992 w 7714416"/>
              <a:gd name="connsiteY16219" fmla="*/ 1115616 h 5282095"/>
              <a:gd name="connsiteX16220" fmla="*/ 1943890 w 7714416"/>
              <a:gd name="connsiteY16220" fmla="*/ 1122793 h 5282095"/>
              <a:gd name="connsiteX16221" fmla="*/ 1928035 w 7714416"/>
              <a:gd name="connsiteY16221" fmla="*/ 1124410 h 5282095"/>
              <a:gd name="connsiteX16222" fmla="*/ 1923637 w 7714416"/>
              <a:gd name="connsiteY16222" fmla="*/ 1123116 h 5282095"/>
              <a:gd name="connsiteX16223" fmla="*/ 1926743 w 7714416"/>
              <a:gd name="connsiteY16223" fmla="*/ 1113182 h 5282095"/>
              <a:gd name="connsiteX16224" fmla="*/ 2335284 w 7714416"/>
              <a:gd name="connsiteY16224" fmla="*/ 1113125 h 5282095"/>
              <a:gd name="connsiteX16225" fmla="*/ 2328165 w 7714416"/>
              <a:gd name="connsiteY16225" fmla="*/ 1120878 h 5282095"/>
              <a:gd name="connsiteX16226" fmla="*/ 2318303 w 7714416"/>
              <a:gd name="connsiteY16226" fmla="*/ 1131116 h 5282095"/>
              <a:gd name="connsiteX16227" fmla="*/ 2312572 w 7714416"/>
              <a:gd name="connsiteY16227" fmla="*/ 1144761 h 5282095"/>
              <a:gd name="connsiteX16228" fmla="*/ 2317797 w 7714416"/>
              <a:gd name="connsiteY16228" fmla="*/ 1149610 h 5282095"/>
              <a:gd name="connsiteX16229" fmla="*/ 2318304 w 7714416"/>
              <a:gd name="connsiteY16229" fmla="*/ 1148826 h 5282095"/>
              <a:gd name="connsiteX16230" fmla="*/ 2324786 w 7714416"/>
              <a:gd name="connsiteY16230" fmla="*/ 1146768 h 5282095"/>
              <a:gd name="connsiteX16231" fmla="*/ 2325340 w 7714416"/>
              <a:gd name="connsiteY16231" fmla="*/ 1146917 h 5282095"/>
              <a:gd name="connsiteX16232" fmla="*/ 2340602 w 7714416"/>
              <a:gd name="connsiteY16232" fmla="*/ 1137551 h 5282095"/>
              <a:gd name="connsiteX16233" fmla="*/ 2350481 w 7714416"/>
              <a:gd name="connsiteY16233" fmla="*/ 1128352 h 5282095"/>
              <a:gd name="connsiteX16234" fmla="*/ 2345015 w 7714416"/>
              <a:gd name="connsiteY16234" fmla="*/ 1125509 h 5282095"/>
              <a:gd name="connsiteX16235" fmla="*/ 2338445 w 7714416"/>
              <a:gd name="connsiteY16235" fmla="*/ 1119033 h 5282095"/>
              <a:gd name="connsiteX16236" fmla="*/ 5819389 w 7714416"/>
              <a:gd name="connsiteY16236" fmla="*/ 1113105 h 5282095"/>
              <a:gd name="connsiteX16237" fmla="*/ 5827263 w 7714416"/>
              <a:gd name="connsiteY16237" fmla="*/ 1140170 h 5282095"/>
              <a:gd name="connsiteX16238" fmla="*/ 5817427 w 7714416"/>
              <a:gd name="connsiteY16238" fmla="*/ 1127069 h 5282095"/>
              <a:gd name="connsiteX16239" fmla="*/ 5819389 w 7714416"/>
              <a:gd name="connsiteY16239" fmla="*/ 1113105 h 5282095"/>
              <a:gd name="connsiteX16240" fmla="*/ 1827089 w 7714416"/>
              <a:gd name="connsiteY16240" fmla="*/ 1112657 h 5282095"/>
              <a:gd name="connsiteX16241" fmla="*/ 1826946 w 7714416"/>
              <a:gd name="connsiteY16241" fmla="*/ 1113193 h 5282095"/>
              <a:gd name="connsiteX16242" fmla="*/ 1827193 w 7714416"/>
              <a:gd name="connsiteY16242" fmla="*/ 1113375 h 5282095"/>
              <a:gd name="connsiteX16243" fmla="*/ 1830074 w 7714416"/>
              <a:gd name="connsiteY16243" fmla="*/ 1113687 h 5282095"/>
              <a:gd name="connsiteX16244" fmla="*/ 702306 w 7714416"/>
              <a:gd name="connsiteY16244" fmla="*/ 1110046 h 5282095"/>
              <a:gd name="connsiteX16245" fmla="*/ 714319 w 7714416"/>
              <a:gd name="connsiteY16245" fmla="*/ 1112805 h 5282095"/>
              <a:gd name="connsiteX16246" fmla="*/ 705466 w 7714416"/>
              <a:gd name="connsiteY16246" fmla="*/ 1119288 h 5282095"/>
              <a:gd name="connsiteX16247" fmla="*/ 702306 w 7714416"/>
              <a:gd name="connsiteY16247" fmla="*/ 1110046 h 5282095"/>
              <a:gd name="connsiteX16248" fmla="*/ 1362771 w 7714416"/>
              <a:gd name="connsiteY16248" fmla="*/ 1110030 h 5282095"/>
              <a:gd name="connsiteX16249" fmla="*/ 1365614 w 7714416"/>
              <a:gd name="connsiteY16249" fmla="*/ 1120452 h 5282095"/>
              <a:gd name="connsiteX16250" fmla="*/ 1360773 w 7714416"/>
              <a:gd name="connsiteY16250" fmla="*/ 1121916 h 5282095"/>
              <a:gd name="connsiteX16251" fmla="*/ 1352821 w 7714416"/>
              <a:gd name="connsiteY16251" fmla="*/ 1115069 h 5282095"/>
              <a:gd name="connsiteX16252" fmla="*/ 1354628 w 7714416"/>
              <a:gd name="connsiteY16252" fmla="*/ 1111643 h 5282095"/>
              <a:gd name="connsiteX16253" fmla="*/ 1362771 w 7714416"/>
              <a:gd name="connsiteY16253" fmla="*/ 1110030 h 5282095"/>
              <a:gd name="connsiteX16254" fmla="*/ 5534143 w 7714416"/>
              <a:gd name="connsiteY16254" fmla="*/ 1109585 h 5282095"/>
              <a:gd name="connsiteX16255" fmla="*/ 5534862 w 7714416"/>
              <a:gd name="connsiteY16255" fmla="*/ 1124612 h 5282095"/>
              <a:gd name="connsiteX16256" fmla="*/ 5534143 w 7714416"/>
              <a:gd name="connsiteY16256" fmla="*/ 1109585 h 5282095"/>
              <a:gd name="connsiteX16257" fmla="*/ 2243414 w 7714416"/>
              <a:gd name="connsiteY16257" fmla="*/ 1109554 h 5282095"/>
              <a:gd name="connsiteX16258" fmla="*/ 2241816 w 7714416"/>
              <a:gd name="connsiteY16258" fmla="*/ 1114416 h 5282095"/>
              <a:gd name="connsiteX16259" fmla="*/ 2246480 w 7714416"/>
              <a:gd name="connsiteY16259" fmla="*/ 1116931 h 5282095"/>
              <a:gd name="connsiteX16260" fmla="*/ 2242400 w 7714416"/>
              <a:gd name="connsiteY16260" fmla="*/ 1128833 h 5282095"/>
              <a:gd name="connsiteX16261" fmla="*/ 2236191 w 7714416"/>
              <a:gd name="connsiteY16261" fmla="*/ 1125445 h 5282095"/>
              <a:gd name="connsiteX16262" fmla="*/ 2233998 w 7714416"/>
              <a:gd name="connsiteY16262" fmla="*/ 1122556 h 5282095"/>
              <a:gd name="connsiteX16263" fmla="*/ 2227753 w 7714416"/>
              <a:gd name="connsiteY16263" fmla="*/ 1125944 h 5282095"/>
              <a:gd name="connsiteX16264" fmla="*/ 2222496 w 7714416"/>
              <a:gd name="connsiteY16264" fmla="*/ 1124535 h 5282095"/>
              <a:gd name="connsiteX16265" fmla="*/ 2222219 w 7714416"/>
              <a:gd name="connsiteY16265" fmla="*/ 1124461 h 5282095"/>
              <a:gd name="connsiteX16266" fmla="*/ 2221378 w 7714416"/>
              <a:gd name="connsiteY16266" fmla="*/ 1125385 h 5282095"/>
              <a:gd name="connsiteX16267" fmla="*/ 2214705 w 7714416"/>
              <a:gd name="connsiteY16267" fmla="*/ 1127047 h 5282095"/>
              <a:gd name="connsiteX16268" fmla="*/ 2208790 w 7714416"/>
              <a:gd name="connsiteY16268" fmla="*/ 1124772 h 5282095"/>
              <a:gd name="connsiteX16269" fmla="*/ 2220271 w 7714416"/>
              <a:gd name="connsiteY16269" fmla="*/ 1116233 h 5282095"/>
              <a:gd name="connsiteX16270" fmla="*/ 2222722 w 7714416"/>
              <a:gd name="connsiteY16270" fmla="*/ 1118155 h 5282095"/>
              <a:gd name="connsiteX16271" fmla="*/ 2229324 w 7714416"/>
              <a:gd name="connsiteY16271" fmla="*/ 1112334 h 5282095"/>
              <a:gd name="connsiteX16272" fmla="*/ 2243414 w 7714416"/>
              <a:gd name="connsiteY16272" fmla="*/ 1109554 h 5282095"/>
              <a:gd name="connsiteX16273" fmla="*/ 5349232 w 7714416"/>
              <a:gd name="connsiteY16273" fmla="*/ 1109029 h 5282095"/>
              <a:gd name="connsiteX16274" fmla="*/ 5361928 w 7714416"/>
              <a:gd name="connsiteY16274" fmla="*/ 1115881 h 5282095"/>
              <a:gd name="connsiteX16275" fmla="*/ 5354119 w 7714416"/>
              <a:gd name="connsiteY16275" fmla="*/ 1126208 h 5282095"/>
              <a:gd name="connsiteX16276" fmla="*/ 5341729 w 7714416"/>
              <a:gd name="connsiteY16276" fmla="*/ 1110469 h 5282095"/>
              <a:gd name="connsiteX16277" fmla="*/ 5349232 w 7714416"/>
              <a:gd name="connsiteY16277" fmla="*/ 1109029 h 5282095"/>
              <a:gd name="connsiteX16278" fmla="*/ 1795616 w 7714416"/>
              <a:gd name="connsiteY16278" fmla="*/ 1108364 h 5282095"/>
              <a:gd name="connsiteX16279" fmla="*/ 1801401 w 7714416"/>
              <a:gd name="connsiteY16279" fmla="*/ 1115550 h 5282095"/>
              <a:gd name="connsiteX16280" fmla="*/ 1804812 w 7714416"/>
              <a:gd name="connsiteY16280" fmla="*/ 1121638 h 5282095"/>
              <a:gd name="connsiteX16281" fmla="*/ 1809972 w 7714416"/>
              <a:gd name="connsiteY16281" fmla="*/ 1142226 h 5282095"/>
              <a:gd name="connsiteX16282" fmla="*/ 1804025 w 7714416"/>
              <a:gd name="connsiteY16282" fmla="*/ 1134537 h 5282095"/>
              <a:gd name="connsiteX16283" fmla="*/ 1799454 w 7714416"/>
              <a:gd name="connsiteY16283" fmla="*/ 1133887 h 5282095"/>
              <a:gd name="connsiteX16284" fmla="*/ 1794344 w 7714416"/>
              <a:gd name="connsiteY16284" fmla="*/ 1128608 h 5282095"/>
              <a:gd name="connsiteX16285" fmla="*/ 1801100 w 7714416"/>
              <a:gd name="connsiteY16285" fmla="*/ 1129959 h 5282095"/>
              <a:gd name="connsiteX16286" fmla="*/ 1801816 w 7714416"/>
              <a:gd name="connsiteY16286" fmla="*/ 1130610 h 5282095"/>
              <a:gd name="connsiteX16287" fmla="*/ 1798196 w 7714416"/>
              <a:gd name="connsiteY16287" fmla="*/ 1123086 h 5282095"/>
              <a:gd name="connsiteX16288" fmla="*/ 1792566 w 7714416"/>
              <a:gd name="connsiteY16288" fmla="*/ 1114217 h 5282095"/>
              <a:gd name="connsiteX16289" fmla="*/ 1794230 w 7714416"/>
              <a:gd name="connsiteY16289" fmla="*/ 1111328 h 5282095"/>
              <a:gd name="connsiteX16290" fmla="*/ 1793353 w 7714416"/>
              <a:gd name="connsiteY16290" fmla="*/ 1110172 h 5282095"/>
              <a:gd name="connsiteX16291" fmla="*/ 1795616 w 7714416"/>
              <a:gd name="connsiteY16291" fmla="*/ 1108364 h 5282095"/>
              <a:gd name="connsiteX16292" fmla="*/ 5240564 w 7714416"/>
              <a:gd name="connsiteY16292" fmla="*/ 1107282 h 5282095"/>
              <a:gd name="connsiteX16293" fmla="*/ 5252638 w 7714416"/>
              <a:gd name="connsiteY16293" fmla="*/ 1124202 h 5282095"/>
              <a:gd name="connsiteX16294" fmla="*/ 5232557 w 7714416"/>
              <a:gd name="connsiteY16294" fmla="*/ 1123881 h 5282095"/>
              <a:gd name="connsiteX16295" fmla="*/ 5231212 w 7714416"/>
              <a:gd name="connsiteY16295" fmla="*/ 1122256 h 5282095"/>
              <a:gd name="connsiteX16296" fmla="*/ 5229351 w 7714416"/>
              <a:gd name="connsiteY16296" fmla="*/ 1122562 h 5282095"/>
              <a:gd name="connsiteX16297" fmla="*/ 5216802 w 7714416"/>
              <a:gd name="connsiteY16297" fmla="*/ 1120695 h 5282095"/>
              <a:gd name="connsiteX16298" fmla="*/ 5222850 w 7714416"/>
              <a:gd name="connsiteY16298" fmla="*/ 1114726 h 5282095"/>
              <a:gd name="connsiteX16299" fmla="*/ 5228748 w 7714416"/>
              <a:gd name="connsiteY16299" fmla="*/ 1115960 h 5282095"/>
              <a:gd name="connsiteX16300" fmla="*/ 5229304 w 7714416"/>
              <a:gd name="connsiteY16300" fmla="*/ 1112775 h 5282095"/>
              <a:gd name="connsiteX16301" fmla="*/ 5240564 w 7714416"/>
              <a:gd name="connsiteY16301" fmla="*/ 1107282 h 5282095"/>
              <a:gd name="connsiteX16302" fmla="*/ 2186047 w 7714416"/>
              <a:gd name="connsiteY16302" fmla="*/ 1106718 h 5282095"/>
              <a:gd name="connsiteX16303" fmla="*/ 2201129 w 7714416"/>
              <a:gd name="connsiteY16303" fmla="*/ 1113520 h 5282095"/>
              <a:gd name="connsiteX16304" fmla="*/ 2182165 w 7714416"/>
              <a:gd name="connsiteY16304" fmla="*/ 1121203 h 5282095"/>
              <a:gd name="connsiteX16305" fmla="*/ 2176312 w 7714416"/>
              <a:gd name="connsiteY16305" fmla="*/ 1115380 h 5282095"/>
              <a:gd name="connsiteX16306" fmla="*/ 2186047 w 7714416"/>
              <a:gd name="connsiteY16306" fmla="*/ 1106718 h 5282095"/>
              <a:gd name="connsiteX16307" fmla="*/ 5094851 w 7714416"/>
              <a:gd name="connsiteY16307" fmla="*/ 1106533 h 5282095"/>
              <a:gd name="connsiteX16308" fmla="*/ 5097273 w 7714416"/>
              <a:gd name="connsiteY16308" fmla="*/ 1108563 h 5282095"/>
              <a:gd name="connsiteX16309" fmla="*/ 5103275 w 7714416"/>
              <a:gd name="connsiteY16309" fmla="*/ 1110516 h 5282095"/>
              <a:gd name="connsiteX16310" fmla="*/ 5110637 w 7714416"/>
              <a:gd name="connsiteY16310" fmla="*/ 1115134 h 5282095"/>
              <a:gd name="connsiteX16311" fmla="*/ 5098732 w 7714416"/>
              <a:gd name="connsiteY16311" fmla="*/ 1127469 h 5282095"/>
              <a:gd name="connsiteX16312" fmla="*/ 5088588 w 7714416"/>
              <a:gd name="connsiteY16312" fmla="*/ 1108880 h 5282095"/>
              <a:gd name="connsiteX16313" fmla="*/ 5090420 w 7714416"/>
              <a:gd name="connsiteY16313" fmla="*/ 1108682 h 5282095"/>
              <a:gd name="connsiteX16314" fmla="*/ 5089076 w 7714416"/>
              <a:gd name="connsiteY16314" fmla="*/ 1107056 h 5282095"/>
              <a:gd name="connsiteX16315" fmla="*/ 5094851 w 7714416"/>
              <a:gd name="connsiteY16315" fmla="*/ 1106533 h 5282095"/>
              <a:gd name="connsiteX16316" fmla="*/ 1949694 w 7714416"/>
              <a:gd name="connsiteY16316" fmla="*/ 1104454 h 5282095"/>
              <a:gd name="connsiteX16317" fmla="*/ 1961801 w 7714416"/>
              <a:gd name="connsiteY16317" fmla="*/ 1109077 h 5282095"/>
              <a:gd name="connsiteX16318" fmla="*/ 1963116 w 7714416"/>
              <a:gd name="connsiteY16318" fmla="*/ 1110810 h 5282095"/>
              <a:gd name="connsiteX16319" fmla="*/ 1949694 w 7714416"/>
              <a:gd name="connsiteY16319" fmla="*/ 1104454 h 5282095"/>
              <a:gd name="connsiteX16320" fmla="*/ 5422013 w 7714416"/>
              <a:gd name="connsiteY16320" fmla="*/ 1104150 h 5282095"/>
              <a:gd name="connsiteX16321" fmla="*/ 5435382 w 7714416"/>
              <a:gd name="connsiteY16321" fmla="*/ 1107387 h 5282095"/>
              <a:gd name="connsiteX16322" fmla="*/ 5427683 w 7714416"/>
              <a:gd name="connsiteY16322" fmla="*/ 1111765 h 5282095"/>
              <a:gd name="connsiteX16323" fmla="*/ 5422013 w 7714416"/>
              <a:gd name="connsiteY16323" fmla="*/ 1104150 h 5282095"/>
              <a:gd name="connsiteX16324" fmla="*/ 4936267 w 7714416"/>
              <a:gd name="connsiteY16324" fmla="*/ 1102911 h 5282095"/>
              <a:gd name="connsiteX16325" fmla="*/ 4939677 w 7714416"/>
              <a:gd name="connsiteY16325" fmla="*/ 1109000 h 5282095"/>
              <a:gd name="connsiteX16326" fmla="*/ 4936641 w 7714416"/>
              <a:gd name="connsiteY16326" fmla="*/ 1110372 h 5282095"/>
              <a:gd name="connsiteX16327" fmla="*/ 4931240 w 7714416"/>
              <a:gd name="connsiteY16327" fmla="*/ 1109499 h 5282095"/>
              <a:gd name="connsiteX16328" fmla="*/ 4928095 w 7714416"/>
              <a:gd name="connsiteY16328" fmla="*/ 1104632 h 5282095"/>
              <a:gd name="connsiteX16329" fmla="*/ 4931132 w 7714416"/>
              <a:gd name="connsiteY16329" fmla="*/ 1103261 h 5282095"/>
              <a:gd name="connsiteX16330" fmla="*/ 4936267 w 7714416"/>
              <a:gd name="connsiteY16330" fmla="*/ 1102911 h 5282095"/>
              <a:gd name="connsiteX16331" fmla="*/ 6094973 w 7714416"/>
              <a:gd name="connsiteY16331" fmla="*/ 1102881 h 5282095"/>
              <a:gd name="connsiteX16332" fmla="*/ 6110692 w 7714416"/>
              <a:gd name="connsiteY16332" fmla="*/ 1103988 h 5282095"/>
              <a:gd name="connsiteX16333" fmla="*/ 6101007 w 7714416"/>
              <a:gd name="connsiteY16333" fmla="*/ 1110248 h 5282095"/>
              <a:gd name="connsiteX16334" fmla="*/ 6096170 w 7714416"/>
              <a:gd name="connsiteY16334" fmla="*/ 1108377 h 5282095"/>
              <a:gd name="connsiteX16335" fmla="*/ 6094973 w 7714416"/>
              <a:gd name="connsiteY16335" fmla="*/ 1102881 h 5282095"/>
              <a:gd name="connsiteX16336" fmla="*/ 5180353 w 7714416"/>
              <a:gd name="connsiteY16336" fmla="*/ 1102878 h 5282095"/>
              <a:gd name="connsiteX16337" fmla="*/ 5184999 w 7714416"/>
              <a:gd name="connsiteY16337" fmla="*/ 1113209 h 5282095"/>
              <a:gd name="connsiteX16338" fmla="*/ 5179365 w 7714416"/>
              <a:gd name="connsiteY16338" fmla="*/ 1107674 h 5282095"/>
              <a:gd name="connsiteX16339" fmla="*/ 5180353 w 7714416"/>
              <a:gd name="connsiteY16339" fmla="*/ 1102878 h 5282095"/>
              <a:gd name="connsiteX16340" fmla="*/ 5000434 w 7714416"/>
              <a:gd name="connsiteY16340" fmla="*/ 1102510 h 5282095"/>
              <a:gd name="connsiteX16341" fmla="*/ 5073559 w 7714416"/>
              <a:gd name="connsiteY16341" fmla="*/ 1140619 h 5282095"/>
              <a:gd name="connsiteX16342" fmla="*/ 5060169 w 7714416"/>
              <a:gd name="connsiteY16342" fmla="*/ 1148531 h 5282095"/>
              <a:gd name="connsiteX16343" fmla="*/ 5017752 w 7714416"/>
              <a:gd name="connsiteY16343" fmla="*/ 1116466 h 5282095"/>
              <a:gd name="connsiteX16344" fmla="*/ 5020008 w 7714416"/>
              <a:gd name="connsiteY16344" fmla="*/ 1130180 h 5282095"/>
              <a:gd name="connsiteX16345" fmla="*/ 5017474 w 7714416"/>
              <a:gd name="connsiteY16345" fmla="*/ 1116391 h 5282095"/>
              <a:gd name="connsiteX16346" fmla="*/ 5000434 w 7714416"/>
              <a:gd name="connsiteY16346" fmla="*/ 1102510 h 5282095"/>
              <a:gd name="connsiteX16347" fmla="*/ 6079140 w 7714416"/>
              <a:gd name="connsiteY16347" fmla="*/ 1102203 h 5282095"/>
              <a:gd name="connsiteX16348" fmla="*/ 6091462 w 7714416"/>
              <a:gd name="connsiteY16348" fmla="*/ 1110451 h 5282095"/>
              <a:gd name="connsiteX16349" fmla="*/ 6084681 w 7714416"/>
              <a:gd name="connsiteY16349" fmla="*/ 1114729 h 5282095"/>
              <a:gd name="connsiteX16350" fmla="*/ 6079140 w 7714416"/>
              <a:gd name="connsiteY16350" fmla="*/ 1102203 h 5282095"/>
              <a:gd name="connsiteX16351" fmla="*/ 1631376 w 7714416"/>
              <a:gd name="connsiteY16351" fmla="*/ 1101501 h 5282095"/>
              <a:gd name="connsiteX16352" fmla="*/ 1636034 w 7714416"/>
              <a:gd name="connsiteY16352" fmla="*/ 1101830 h 5282095"/>
              <a:gd name="connsiteX16353" fmla="*/ 1632878 w 7714416"/>
              <a:gd name="connsiteY16353" fmla="*/ 1106964 h 5282095"/>
              <a:gd name="connsiteX16354" fmla="*/ 1626615 w 7714416"/>
              <a:gd name="connsiteY16354" fmla="*/ 1109310 h 5282095"/>
              <a:gd name="connsiteX16355" fmla="*/ 1627757 w 7714416"/>
              <a:gd name="connsiteY16355" fmla="*/ 1111687 h 5282095"/>
              <a:gd name="connsiteX16356" fmla="*/ 1626636 w 7714416"/>
              <a:gd name="connsiteY16356" fmla="*/ 1115872 h 5282095"/>
              <a:gd name="connsiteX16357" fmla="*/ 1624074 w 7714416"/>
              <a:gd name="connsiteY16357" fmla="*/ 1111045 h 5282095"/>
              <a:gd name="connsiteX16358" fmla="*/ 1624361 w 7714416"/>
              <a:gd name="connsiteY16358" fmla="*/ 1109972 h 5282095"/>
              <a:gd name="connsiteX16359" fmla="*/ 1622442 w 7714416"/>
              <a:gd name="connsiteY16359" fmla="*/ 1110492 h 5282095"/>
              <a:gd name="connsiteX16360" fmla="*/ 1620283 w 7714416"/>
              <a:gd name="connsiteY16360" fmla="*/ 1113020 h 5282095"/>
              <a:gd name="connsiteX16361" fmla="*/ 1615654 w 7714416"/>
              <a:gd name="connsiteY16361" fmla="*/ 1112584 h 5282095"/>
              <a:gd name="connsiteX16362" fmla="*/ 1614414 w 7714416"/>
              <a:gd name="connsiteY16362" fmla="*/ 1111677 h 5282095"/>
              <a:gd name="connsiteX16363" fmla="*/ 1615935 w 7714416"/>
              <a:gd name="connsiteY16363" fmla="*/ 1109324 h 5282095"/>
              <a:gd name="connsiteX16364" fmla="*/ 1628922 w 7714416"/>
              <a:gd name="connsiteY16364" fmla="*/ 1102913 h 5282095"/>
              <a:gd name="connsiteX16365" fmla="*/ 1631376 w 7714416"/>
              <a:gd name="connsiteY16365" fmla="*/ 1101501 h 5282095"/>
              <a:gd name="connsiteX16366" fmla="*/ 5240150 w 7714416"/>
              <a:gd name="connsiteY16366" fmla="*/ 1101075 h 5282095"/>
              <a:gd name="connsiteX16367" fmla="*/ 5247528 w 7714416"/>
              <a:gd name="connsiteY16367" fmla="*/ 1101212 h 5282095"/>
              <a:gd name="connsiteX16368" fmla="*/ 5247962 w 7714416"/>
              <a:gd name="connsiteY16368" fmla="*/ 1105124 h 5282095"/>
              <a:gd name="connsiteX16369" fmla="*/ 5244994 w 7714416"/>
              <a:gd name="connsiteY16369" fmla="*/ 1105134 h 5282095"/>
              <a:gd name="connsiteX16370" fmla="*/ 5242342 w 7714416"/>
              <a:gd name="connsiteY16370" fmla="*/ 1103963 h 5282095"/>
              <a:gd name="connsiteX16371" fmla="*/ 5240150 w 7714416"/>
              <a:gd name="connsiteY16371" fmla="*/ 1101075 h 5282095"/>
              <a:gd name="connsiteX16372" fmla="*/ 1873496 w 7714416"/>
              <a:gd name="connsiteY16372" fmla="*/ 1101056 h 5282095"/>
              <a:gd name="connsiteX16373" fmla="*/ 1862345 w 7714416"/>
              <a:gd name="connsiteY16373" fmla="*/ 1121644 h 5282095"/>
              <a:gd name="connsiteX16374" fmla="*/ 1859613 w 7714416"/>
              <a:gd name="connsiteY16374" fmla="*/ 1122981 h 5282095"/>
              <a:gd name="connsiteX16375" fmla="*/ 1855884 w 7714416"/>
              <a:gd name="connsiteY16375" fmla="*/ 1121407 h 5282095"/>
              <a:gd name="connsiteX16376" fmla="*/ 1858221 w 7714416"/>
              <a:gd name="connsiteY16376" fmla="*/ 1106048 h 5282095"/>
              <a:gd name="connsiteX16377" fmla="*/ 1861620 w 7714416"/>
              <a:gd name="connsiteY16377" fmla="*/ 1104428 h 5282095"/>
              <a:gd name="connsiteX16378" fmla="*/ 1863359 w 7714416"/>
              <a:gd name="connsiteY16378" fmla="*/ 1102365 h 5282095"/>
              <a:gd name="connsiteX16379" fmla="*/ 1873496 w 7714416"/>
              <a:gd name="connsiteY16379" fmla="*/ 1101056 h 5282095"/>
              <a:gd name="connsiteX16380" fmla="*/ 1590575 w 7714416"/>
              <a:gd name="connsiteY16380" fmla="*/ 1101034 h 5282095"/>
              <a:gd name="connsiteX16381" fmla="*/ 1587688 w 7714416"/>
              <a:gd name="connsiteY16381" fmla="*/ 1121766 h 5282095"/>
              <a:gd name="connsiteX16382" fmla="*/ 1583395 w 7714416"/>
              <a:gd name="connsiteY16382" fmla="*/ 1121191 h 5282095"/>
              <a:gd name="connsiteX16383" fmla="*/ 1588271 w 7714416"/>
              <a:gd name="connsiteY16383" fmla="*/ 1130661 h 5282095"/>
              <a:gd name="connsiteX16384" fmla="*/ 1591893 w 7714416"/>
              <a:gd name="connsiteY16384" fmla="*/ 1143707 h 5282095"/>
              <a:gd name="connsiteX16385" fmla="*/ 1583959 w 7714416"/>
              <a:gd name="connsiteY16385" fmla="*/ 1137902 h 5282095"/>
              <a:gd name="connsiteX16386" fmla="*/ 1578887 w 7714416"/>
              <a:gd name="connsiteY16386" fmla="*/ 1131368 h 5282095"/>
              <a:gd name="connsiteX16387" fmla="*/ 1575103 w 7714416"/>
              <a:gd name="connsiteY16387" fmla="*/ 1135529 h 5282095"/>
              <a:gd name="connsiteX16388" fmla="*/ 1567975 w 7714416"/>
              <a:gd name="connsiteY16388" fmla="*/ 1135574 h 5282095"/>
              <a:gd name="connsiteX16389" fmla="*/ 1572837 w 7714416"/>
              <a:gd name="connsiteY16389" fmla="*/ 1131816 h 5282095"/>
              <a:gd name="connsiteX16390" fmla="*/ 1578421 w 7714416"/>
              <a:gd name="connsiteY16390" fmla="*/ 1130898 h 5282095"/>
              <a:gd name="connsiteX16391" fmla="*/ 1578010 w 7714416"/>
              <a:gd name="connsiteY16391" fmla="*/ 1130213 h 5282095"/>
              <a:gd name="connsiteX16392" fmla="*/ 1576444 w 7714416"/>
              <a:gd name="connsiteY16392" fmla="*/ 1122778 h 5282095"/>
              <a:gd name="connsiteX16393" fmla="*/ 1579330 w 7714416"/>
              <a:gd name="connsiteY16393" fmla="*/ 1119756 h 5282095"/>
              <a:gd name="connsiteX16394" fmla="*/ 1576517 w 7714416"/>
              <a:gd name="connsiteY16394" fmla="*/ 1118082 h 5282095"/>
              <a:gd name="connsiteX16395" fmla="*/ 1590575 w 7714416"/>
              <a:gd name="connsiteY16395" fmla="*/ 1101034 h 5282095"/>
              <a:gd name="connsiteX16396" fmla="*/ 5782897 w 7714416"/>
              <a:gd name="connsiteY16396" fmla="*/ 1099878 h 5282095"/>
              <a:gd name="connsiteX16397" fmla="*/ 5785779 w 7714416"/>
              <a:gd name="connsiteY16397" fmla="*/ 1100189 h 5282095"/>
              <a:gd name="connsiteX16398" fmla="*/ 5789078 w 7714416"/>
              <a:gd name="connsiteY16398" fmla="*/ 1103374 h 5282095"/>
              <a:gd name="connsiteX16399" fmla="*/ 5783073 w 7714416"/>
              <a:gd name="connsiteY16399" fmla="*/ 1104755 h 5282095"/>
              <a:gd name="connsiteX16400" fmla="*/ 5782897 w 7714416"/>
              <a:gd name="connsiteY16400" fmla="*/ 1099878 h 5282095"/>
              <a:gd name="connsiteX16401" fmla="*/ 1491888 w 7714416"/>
              <a:gd name="connsiteY16401" fmla="*/ 1099660 h 5282095"/>
              <a:gd name="connsiteX16402" fmla="*/ 1495331 w 7714416"/>
              <a:gd name="connsiteY16402" fmla="*/ 1102309 h 5282095"/>
              <a:gd name="connsiteX16403" fmla="*/ 1489078 w 7714416"/>
              <a:gd name="connsiteY16403" fmla="*/ 1112364 h 5282095"/>
              <a:gd name="connsiteX16404" fmla="*/ 1488546 w 7714416"/>
              <a:gd name="connsiteY16404" fmla="*/ 1101065 h 5282095"/>
              <a:gd name="connsiteX16405" fmla="*/ 1491888 w 7714416"/>
              <a:gd name="connsiteY16405" fmla="*/ 1099660 h 5282095"/>
              <a:gd name="connsiteX16406" fmla="*/ 1032160 w 7714416"/>
              <a:gd name="connsiteY16406" fmla="*/ 1098724 h 5282095"/>
              <a:gd name="connsiteX16407" fmla="*/ 1042046 w 7714416"/>
              <a:gd name="connsiteY16407" fmla="*/ 1100567 h 5282095"/>
              <a:gd name="connsiteX16408" fmla="*/ 1050289 w 7714416"/>
              <a:gd name="connsiteY16408" fmla="*/ 1103007 h 5282095"/>
              <a:gd name="connsiteX16409" fmla="*/ 1075138 w 7714416"/>
              <a:gd name="connsiteY16409" fmla="*/ 1115415 h 5282095"/>
              <a:gd name="connsiteX16410" fmla="*/ 1063535 w 7714416"/>
              <a:gd name="connsiteY16410" fmla="*/ 1113342 h 5282095"/>
              <a:gd name="connsiteX16411" fmla="*/ 1037783 w 7714416"/>
              <a:gd name="connsiteY16411" fmla="*/ 1105406 h 5282095"/>
              <a:gd name="connsiteX16412" fmla="*/ 1035125 w 7714416"/>
              <a:gd name="connsiteY16412" fmla="*/ 1102049 h 5282095"/>
              <a:gd name="connsiteX16413" fmla="*/ 1033464 w 7714416"/>
              <a:gd name="connsiteY16413" fmla="*/ 1101604 h 5282095"/>
              <a:gd name="connsiteX16414" fmla="*/ 1032160 w 7714416"/>
              <a:gd name="connsiteY16414" fmla="*/ 1098724 h 5282095"/>
              <a:gd name="connsiteX16415" fmla="*/ 5136799 w 7714416"/>
              <a:gd name="connsiteY16415" fmla="*/ 1097188 h 5282095"/>
              <a:gd name="connsiteX16416" fmla="*/ 5146265 w 7714416"/>
              <a:gd name="connsiteY16416" fmla="*/ 1099494 h 5282095"/>
              <a:gd name="connsiteX16417" fmla="*/ 5132954 w 7714416"/>
              <a:gd name="connsiteY16417" fmla="*/ 1113753 h 5282095"/>
              <a:gd name="connsiteX16418" fmla="*/ 5126709 w 7714416"/>
              <a:gd name="connsiteY16418" fmla="*/ 1108284 h 5282095"/>
              <a:gd name="connsiteX16419" fmla="*/ 5136799 w 7714416"/>
              <a:gd name="connsiteY16419" fmla="*/ 1097188 h 5282095"/>
              <a:gd name="connsiteX16420" fmla="*/ 1609316 w 7714416"/>
              <a:gd name="connsiteY16420" fmla="*/ 1096396 h 5282095"/>
              <a:gd name="connsiteX16421" fmla="*/ 1618163 w 7714416"/>
              <a:gd name="connsiteY16421" fmla="*/ 1096581 h 5282095"/>
              <a:gd name="connsiteX16422" fmla="*/ 1620995 w 7714416"/>
              <a:gd name="connsiteY16422" fmla="*/ 1099294 h 5282095"/>
              <a:gd name="connsiteX16423" fmla="*/ 1620678 w 7714416"/>
              <a:gd name="connsiteY16423" fmla="*/ 1100475 h 5282095"/>
              <a:gd name="connsiteX16424" fmla="*/ 1619222 w 7714416"/>
              <a:gd name="connsiteY16424" fmla="*/ 1104800 h 5282095"/>
              <a:gd name="connsiteX16425" fmla="*/ 1614612 w 7714416"/>
              <a:gd name="connsiteY16425" fmla="*/ 1105404 h 5282095"/>
              <a:gd name="connsiteX16426" fmla="*/ 1610490 w 7714416"/>
              <a:gd name="connsiteY16426" fmla="*/ 1104185 h 5282095"/>
              <a:gd name="connsiteX16427" fmla="*/ 1609316 w 7714416"/>
              <a:gd name="connsiteY16427" fmla="*/ 1096396 h 5282095"/>
              <a:gd name="connsiteX16428" fmla="*/ 5862434 w 7714416"/>
              <a:gd name="connsiteY16428" fmla="*/ 1096349 h 5282095"/>
              <a:gd name="connsiteX16429" fmla="*/ 5874767 w 7714416"/>
              <a:gd name="connsiteY16429" fmla="*/ 1112303 h 5282095"/>
              <a:gd name="connsiteX16430" fmla="*/ 5851951 w 7714416"/>
              <a:gd name="connsiteY16430" fmla="*/ 1107800 h 5282095"/>
              <a:gd name="connsiteX16431" fmla="*/ 5862434 w 7714416"/>
              <a:gd name="connsiteY16431" fmla="*/ 1096349 h 5282095"/>
              <a:gd name="connsiteX16432" fmla="*/ 5165796 w 7714416"/>
              <a:gd name="connsiteY16432" fmla="*/ 1096332 h 5282095"/>
              <a:gd name="connsiteX16433" fmla="*/ 5173917 w 7714416"/>
              <a:gd name="connsiteY16433" fmla="*/ 1097014 h 5282095"/>
              <a:gd name="connsiteX16434" fmla="*/ 5172142 w 7714416"/>
              <a:gd name="connsiteY16434" fmla="*/ 1096998 h 5282095"/>
              <a:gd name="connsiteX16435" fmla="*/ 5172397 w 7714416"/>
              <a:gd name="connsiteY16435" fmla="*/ 1099366 h 5282095"/>
              <a:gd name="connsiteX16436" fmla="*/ 5174143 w 7714416"/>
              <a:gd name="connsiteY16436" fmla="*/ 1099489 h 5282095"/>
              <a:gd name="connsiteX16437" fmla="*/ 5172652 w 7714416"/>
              <a:gd name="connsiteY16437" fmla="*/ 1101735 h 5282095"/>
              <a:gd name="connsiteX16438" fmla="*/ 5161081 w 7714416"/>
              <a:gd name="connsiteY16438" fmla="*/ 1105075 h 5282095"/>
              <a:gd name="connsiteX16439" fmla="*/ 5158756 w 7714416"/>
              <a:gd name="connsiteY16439" fmla="*/ 1101577 h 5282095"/>
              <a:gd name="connsiteX16440" fmla="*/ 5160582 w 7714416"/>
              <a:gd name="connsiteY16440" fmla="*/ 1099190 h 5282095"/>
              <a:gd name="connsiteX16441" fmla="*/ 5165796 w 7714416"/>
              <a:gd name="connsiteY16441" fmla="*/ 1096332 h 5282095"/>
              <a:gd name="connsiteX16442" fmla="*/ 1721805 w 7714416"/>
              <a:gd name="connsiteY16442" fmla="*/ 1096061 h 5282095"/>
              <a:gd name="connsiteX16443" fmla="*/ 1719886 w 7714416"/>
              <a:gd name="connsiteY16443" fmla="*/ 1096582 h 5282095"/>
              <a:gd name="connsiteX16444" fmla="*/ 1721384 w 7714416"/>
              <a:gd name="connsiteY16444" fmla="*/ 1096523 h 5282095"/>
              <a:gd name="connsiteX16445" fmla="*/ 1258366 w 7714416"/>
              <a:gd name="connsiteY16445" fmla="*/ 1094030 h 5282095"/>
              <a:gd name="connsiteX16446" fmla="*/ 1276871 w 7714416"/>
              <a:gd name="connsiteY16446" fmla="*/ 1094144 h 5282095"/>
              <a:gd name="connsiteX16447" fmla="*/ 1279358 w 7714416"/>
              <a:gd name="connsiteY16447" fmla="*/ 1098145 h 5282095"/>
              <a:gd name="connsiteX16448" fmla="*/ 1281467 w 7714416"/>
              <a:gd name="connsiteY16448" fmla="*/ 1098021 h 5282095"/>
              <a:gd name="connsiteX16449" fmla="*/ 1288787 w 7714416"/>
              <a:gd name="connsiteY16449" fmla="*/ 1098371 h 5282095"/>
              <a:gd name="connsiteX16450" fmla="*/ 1288683 w 7714416"/>
              <a:gd name="connsiteY16450" fmla="*/ 1097653 h 5282095"/>
              <a:gd name="connsiteX16451" fmla="*/ 1291177 w 7714416"/>
              <a:gd name="connsiteY16451" fmla="*/ 1094986 h 5282095"/>
              <a:gd name="connsiteX16452" fmla="*/ 1304670 w 7714416"/>
              <a:gd name="connsiteY16452" fmla="*/ 1096646 h 5282095"/>
              <a:gd name="connsiteX16453" fmla="*/ 1313489 w 7714416"/>
              <a:gd name="connsiteY16453" fmla="*/ 1096940 h 5282095"/>
              <a:gd name="connsiteX16454" fmla="*/ 1302683 w 7714416"/>
              <a:gd name="connsiteY16454" fmla="*/ 1098530 h 5282095"/>
              <a:gd name="connsiteX16455" fmla="*/ 1300161 w 7714416"/>
              <a:gd name="connsiteY16455" fmla="*/ 1101304 h 5282095"/>
              <a:gd name="connsiteX16456" fmla="*/ 1296858 w 7714416"/>
              <a:gd name="connsiteY16456" fmla="*/ 1101454 h 5282095"/>
              <a:gd name="connsiteX16457" fmla="*/ 1297038 w 7714416"/>
              <a:gd name="connsiteY16457" fmla="*/ 1102997 h 5282095"/>
              <a:gd name="connsiteX16458" fmla="*/ 1298724 w 7714416"/>
              <a:gd name="connsiteY16458" fmla="*/ 1106669 h 5282095"/>
              <a:gd name="connsiteX16459" fmla="*/ 1286078 w 7714416"/>
              <a:gd name="connsiteY16459" fmla="*/ 1106270 h 5282095"/>
              <a:gd name="connsiteX16460" fmla="*/ 1280648 w 7714416"/>
              <a:gd name="connsiteY16460" fmla="*/ 1105505 h 5282095"/>
              <a:gd name="connsiteX16461" fmla="*/ 1280562 w 7714416"/>
              <a:gd name="connsiteY16461" fmla="*/ 1105827 h 5282095"/>
              <a:gd name="connsiteX16462" fmla="*/ 1273941 w 7714416"/>
              <a:gd name="connsiteY16462" fmla="*/ 1110609 h 5282095"/>
              <a:gd name="connsiteX16463" fmla="*/ 1270859 w 7714416"/>
              <a:gd name="connsiteY16463" fmla="*/ 1111048 h 5282095"/>
              <a:gd name="connsiteX16464" fmla="*/ 1264030 w 7714416"/>
              <a:gd name="connsiteY16464" fmla="*/ 1123248 h 5282095"/>
              <a:gd name="connsiteX16465" fmla="*/ 1250361 w 7714416"/>
              <a:gd name="connsiteY16465" fmla="*/ 1116710 h 5282095"/>
              <a:gd name="connsiteX16466" fmla="*/ 1252737 w 7714416"/>
              <a:gd name="connsiteY16466" fmla="*/ 1108952 h 5282095"/>
              <a:gd name="connsiteX16467" fmla="*/ 1244755 w 7714416"/>
              <a:gd name="connsiteY16467" fmla="*/ 1102213 h 5282095"/>
              <a:gd name="connsiteX16468" fmla="*/ 1258366 w 7714416"/>
              <a:gd name="connsiteY16468" fmla="*/ 1094030 h 5282095"/>
              <a:gd name="connsiteX16469" fmla="*/ 5763626 w 7714416"/>
              <a:gd name="connsiteY16469" fmla="*/ 1093218 h 5282095"/>
              <a:gd name="connsiteX16470" fmla="*/ 5767176 w 7714416"/>
              <a:gd name="connsiteY16470" fmla="*/ 1093249 h 5282095"/>
              <a:gd name="connsiteX16471" fmla="*/ 5767775 w 7714416"/>
              <a:gd name="connsiteY16471" fmla="*/ 1103185 h 5282095"/>
              <a:gd name="connsiteX16472" fmla="*/ 5764969 w 7714416"/>
              <a:gd name="connsiteY16472" fmla="*/ 1103699 h 5282095"/>
              <a:gd name="connsiteX16473" fmla="*/ 5764254 w 7714416"/>
              <a:gd name="connsiteY16473" fmla="*/ 1103047 h 5282095"/>
              <a:gd name="connsiteX16474" fmla="*/ 5761566 w 7714416"/>
              <a:gd name="connsiteY16474" fmla="*/ 1099796 h 5282095"/>
              <a:gd name="connsiteX16475" fmla="*/ 5763626 w 7714416"/>
              <a:gd name="connsiteY16475" fmla="*/ 1093218 h 5282095"/>
              <a:gd name="connsiteX16476" fmla="*/ 5274346 w 7714416"/>
              <a:gd name="connsiteY16476" fmla="*/ 1092988 h 5282095"/>
              <a:gd name="connsiteX16477" fmla="*/ 5296145 w 7714416"/>
              <a:gd name="connsiteY16477" fmla="*/ 1093539 h 5282095"/>
              <a:gd name="connsiteX16478" fmla="*/ 5304127 w 7714416"/>
              <a:gd name="connsiteY16478" fmla="*/ 1117988 h 5282095"/>
              <a:gd name="connsiteX16479" fmla="*/ 5300212 w 7714416"/>
              <a:gd name="connsiteY16479" fmla="*/ 1127059 h 5282095"/>
              <a:gd name="connsiteX16480" fmla="*/ 5304830 w 7714416"/>
              <a:gd name="connsiteY16480" fmla="*/ 1128642 h 5282095"/>
              <a:gd name="connsiteX16481" fmla="*/ 5294711 w 7714416"/>
              <a:gd name="connsiteY16481" fmla="*/ 1139845 h 5282095"/>
              <a:gd name="connsiteX16482" fmla="*/ 5290744 w 7714416"/>
              <a:gd name="connsiteY16482" fmla="*/ 1136943 h 5282095"/>
              <a:gd name="connsiteX16483" fmla="*/ 5289015 w 7714416"/>
              <a:gd name="connsiteY16483" fmla="*/ 1137859 h 5282095"/>
              <a:gd name="connsiteX16484" fmla="*/ 5280480 w 7714416"/>
              <a:gd name="connsiteY16484" fmla="*/ 1139827 h 5282095"/>
              <a:gd name="connsiteX16485" fmla="*/ 5289036 w 7714416"/>
              <a:gd name="connsiteY16485" fmla="*/ 1135565 h 5282095"/>
              <a:gd name="connsiteX16486" fmla="*/ 5286833 w 7714416"/>
              <a:gd name="connsiteY16486" fmla="*/ 1133825 h 5282095"/>
              <a:gd name="connsiteX16487" fmla="*/ 5285328 w 7714416"/>
              <a:gd name="connsiteY16487" fmla="*/ 1131697 h 5282095"/>
              <a:gd name="connsiteX16488" fmla="*/ 5282694 w 7714416"/>
              <a:gd name="connsiteY16488" fmla="*/ 1131565 h 5282095"/>
              <a:gd name="connsiteX16489" fmla="*/ 5261729 w 7714416"/>
              <a:gd name="connsiteY16489" fmla="*/ 1110193 h 5282095"/>
              <a:gd name="connsiteX16490" fmla="*/ 5262391 w 7714416"/>
              <a:gd name="connsiteY16490" fmla="*/ 1107725 h 5282095"/>
              <a:gd name="connsiteX16491" fmla="*/ 5260054 w 7714416"/>
              <a:gd name="connsiteY16491" fmla="*/ 1105374 h 5282095"/>
              <a:gd name="connsiteX16492" fmla="*/ 5260011 w 7714416"/>
              <a:gd name="connsiteY16492" fmla="*/ 1101107 h 5282095"/>
              <a:gd name="connsiteX16493" fmla="*/ 5263062 w 7714416"/>
              <a:gd name="connsiteY16493" fmla="*/ 1104110 h 5282095"/>
              <a:gd name="connsiteX16494" fmla="*/ 5263533 w 7714416"/>
              <a:gd name="connsiteY16494" fmla="*/ 1101246 h 5282095"/>
              <a:gd name="connsiteX16495" fmla="*/ 5274346 w 7714416"/>
              <a:gd name="connsiteY16495" fmla="*/ 1092988 h 5282095"/>
              <a:gd name="connsiteX16496" fmla="*/ 2064343 w 7714416"/>
              <a:gd name="connsiteY16496" fmla="*/ 1092738 h 5282095"/>
              <a:gd name="connsiteX16497" fmla="*/ 2079243 w 7714416"/>
              <a:gd name="connsiteY16497" fmla="*/ 1101330 h 5282095"/>
              <a:gd name="connsiteX16498" fmla="*/ 2093265 w 7714416"/>
              <a:gd name="connsiteY16498" fmla="*/ 1099913 h 5282095"/>
              <a:gd name="connsiteX16499" fmla="*/ 2110021 w 7714416"/>
              <a:gd name="connsiteY16499" fmla="*/ 1102677 h 5282095"/>
              <a:gd name="connsiteX16500" fmla="*/ 2110240 w 7714416"/>
              <a:gd name="connsiteY16500" fmla="*/ 1102966 h 5282095"/>
              <a:gd name="connsiteX16501" fmla="*/ 2109565 w 7714416"/>
              <a:gd name="connsiteY16501" fmla="*/ 1101060 h 5282095"/>
              <a:gd name="connsiteX16502" fmla="*/ 2132605 w 7714416"/>
              <a:gd name="connsiteY16502" fmla="*/ 1102518 h 5282095"/>
              <a:gd name="connsiteX16503" fmla="*/ 2144936 w 7714416"/>
              <a:gd name="connsiteY16503" fmla="*/ 1127327 h 5282095"/>
              <a:gd name="connsiteX16504" fmla="*/ 2138709 w 7714416"/>
              <a:gd name="connsiteY16504" fmla="*/ 1131754 h 5282095"/>
              <a:gd name="connsiteX16505" fmla="*/ 2139118 w 7714416"/>
              <a:gd name="connsiteY16505" fmla="*/ 1132439 h 5282095"/>
              <a:gd name="connsiteX16506" fmla="*/ 2129741 w 7714416"/>
              <a:gd name="connsiteY16506" fmla="*/ 1135331 h 5282095"/>
              <a:gd name="connsiteX16507" fmla="*/ 2124384 w 7714416"/>
              <a:gd name="connsiteY16507" fmla="*/ 1129871 h 5282095"/>
              <a:gd name="connsiteX16508" fmla="*/ 2125991 w 7714416"/>
              <a:gd name="connsiteY16508" fmla="*/ 1127197 h 5282095"/>
              <a:gd name="connsiteX16509" fmla="*/ 2127518 w 7714416"/>
              <a:gd name="connsiteY16509" fmla="*/ 1127030 h 5282095"/>
              <a:gd name="connsiteX16510" fmla="*/ 2130487 w 7714416"/>
              <a:gd name="connsiteY16510" fmla="*/ 1127021 h 5282095"/>
              <a:gd name="connsiteX16511" fmla="*/ 2120568 w 7714416"/>
              <a:gd name="connsiteY16511" fmla="*/ 1119763 h 5282095"/>
              <a:gd name="connsiteX16512" fmla="*/ 2113934 w 7714416"/>
              <a:gd name="connsiteY16512" fmla="*/ 1111316 h 5282095"/>
              <a:gd name="connsiteX16513" fmla="*/ 2113420 w 7714416"/>
              <a:gd name="connsiteY16513" fmla="*/ 1109913 h 5282095"/>
              <a:gd name="connsiteX16514" fmla="*/ 2093560 w 7714416"/>
              <a:gd name="connsiteY16514" fmla="*/ 1109881 h 5282095"/>
              <a:gd name="connsiteX16515" fmla="*/ 2090619 w 7714416"/>
              <a:gd name="connsiteY16515" fmla="*/ 1109784 h 5282095"/>
              <a:gd name="connsiteX16516" fmla="*/ 2091305 w 7714416"/>
              <a:gd name="connsiteY16516" fmla="*/ 1110543 h 5282095"/>
              <a:gd name="connsiteX16517" fmla="*/ 2097519 w 7714416"/>
              <a:gd name="connsiteY16517" fmla="*/ 1119453 h 5282095"/>
              <a:gd name="connsiteX16518" fmla="*/ 2084313 w 7714416"/>
              <a:gd name="connsiteY16518" fmla="*/ 1116718 h 5282095"/>
              <a:gd name="connsiteX16519" fmla="*/ 2076454 w 7714416"/>
              <a:gd name="connsiteY16519" fmla="*/ 1111739 h 5282095"/>
              <a:gd name="connsiteX16520" fmla="*/ 2073489 w 7714416"/>
              <a:gd name="connsiteY16520" fmla="*/ 1108414 h 5282095"/>
              <a:gd name="connsiteX16521" fmla="*/ 2065817 w 7714416"/>
              <a:gd name="connsiteY16521" fmla="*/ 1107163 h 5282095"/>
              <a:gd name="connsiteX16522" fmla="*/ 2070305 w 7714416"/>
              <a:gd name="connsiteY16522" fmla="*/ 1104801 h 5282095"/>
              <a:gd name="connsiteX16523" fmla="*/ 1514564 w 7714416"/>
              <a:gd name="connsiteY16523" fmla="*/ 1092512 h 5282095"/>
              <a:gd name="connsiteX16524" fmla="*/ 1524471 w 7714416"/>
              <a:gd name="connsiteY16524" fmla="*/ 1109772 h 5282095"/>
              <a:gd name="connsiteX16525" fmla="*/ 1515197 w 7714416"/>
              <a:gd name="connsiteY16525" fmla="*/ 1107862 h 5282095"/>
              <a:gd name="connsiteX16526" fmla="*/ 1509550 w 7714416"/>
              <a:gd name="connsiteY16526" fmla="*/ 1103474 h 5282095"/>
              <a:gd name="connsiteX16527" fmla="*/ 1514564 w 7714416"/>
              <a:gd name="connsiteY16527" fmla="*/ 1092512 h 5282095"/>
              <a:gd name="connsiteX16528" fmla="*/ 5500461 w 7714416"/>
              <a:gd name="connsiteY16528" fmla="*/ 1092510 h 5282095"/>
              <a:gd name="connsiteX16529" fmla="*/ 5509362 w 7714416"/>
              <a:gd name="connsiteY16529" fmla="*/ 1104670 h 5282095"/>
              <a:gd name="connsiteX16530" fmla="*/ 5492821 w 7714416"/>
              <a:gd name="connsiteY16530" fmla="*/ 1105528 h 5282095"/>
              <a:gd name="connsiteX16531" fmla="*/ 5488520 w 7714416"/>
              <a:gd name="connsiteY16531" fmla="*/ 1102765 h 5282095"/>
              <a:gd name="connsiteX16532" fmla="*/ 5500461 w 7714416"/>
              <a:gd name="connsiteY16532" fmla="*/ 1092510 h 5282095"/>
              <a:gd name="connsiteX16533" fmla="*/ 1653711 w 7714416"/>
              <a:gd name="connsiteY16533" fmla="*/ 1092306 h 5282095"/>
              <a:gd name="connsiteX16534" fmla="*/ 1657366 w 7714416"/>
              <a:gd name="connsiteY16534" fmla="*/ 1093055 h 5282095"/>
              <a:gd name="connsiteX16535" fmla="*/ 1661343 w 7714416"/>
              <a:gd name="connsiteY16535" fmla="*/ 1094810 h 5282095"/>
              <a:gd name="connsiteX16536" fmla="*/ 1664704 w 7714416"/>
              <a:gd name="connsiteY16536" fmla="*/ 1094446 h 5282095"/>
              <a:gd name="connsiteX16537" fmla="*/ 1674373 w 7714416"/>
              <a:gd name="connsiteY16537" fmla="*/ 1101523 h 5282095"/>
              <a:gd name="connsiteX16538" fmla="*/ 1670748 w 7714416"/>
              <a:gd name="connsiteY16538" fmla="*/ 1100666 h 5282095"/>
              <a:gd name="connsiteX16539" fmla="*/ 1666463 w 7714416"/>
              <a:gd name="connsiteY16539" fmla="*/ 1098943 h 5282095"/>
              <a:gd name="connsiteX16540" fmla="*/ 1662514 w 7714416"/>
              <a:gd name="connsiteY16540" fmla="*/ 1097080 h 5282095"/>
              <a:gd name="connsiteX16541" fmla="*/ 1658831 w 7714416"/>
              <a:gd name="connsiteY16541" fmla="*/ 1096438 h 5282095"/>
              <a:gd name="connsiteX16542" fmla="*/ 1653711 w 7714416"/>
              <a:gd name="connsiteY16542" fmla="*/ 1092306 h 5282095"/>
              <a:gd name="connsiteX16543" fmla="*/ 5788852 w 7714416"/>
              <a:gd name="connsiteY16543" fmla="*/ 1092043 h 5282095"/>
              <a:gd name="connsiteX16544" fmla="*/ 5792402 w 7714416"/>
              <a:gd name="connsiteY16544" fmla="*/ 1092074 h 5282095"/>
              <a:gd name="connsiteX16545" fmla="*/ 5796639 w 7714416"/>
              <a:gd name="connsiteY16545" fmla="*/ 1092864 h 5282095"/>
              <a:gd name="connsiteX16546" fmla="*/ 5804804 w 7714416"/>
              <a:gd name="connsiteY16546" fmla="*/ 1097812 h 5282095"/>
              <a:gd name="connsiteX16547" fmla="*/ 5806553 w 7714416"/>
              <a:gd name="connsiteY16547" fmla="*/ 1103456 h 5282095"/>
              <a:gd name="connsiteX16548" fmla="*/ 5805950 w 7714416"/>
              <a:gd name="connsiteY16548" fmla="*/ 1105709 h 5282095"/>
              <a:gd name="connsiteX16549" fmla="*/ 5797761 w 7714416"/>
              <a:gd name="connsiteY16549" fmla="*/ 1106390 h 5282095"/>
              <a:gd name="connsiteX16550" fmla="*/ 5790997 w 7714416"/>
              <a:gd name="connsiteY16550" fmla="*/ 1102852 h 5282095"/>
              <a:gd name="connsiteX16551" fmla="*/ 5788852 w 7714416"/>
              <a:gd name="connsiteY16551" fmla="*/ 1092043 h 5282095"/>
              <a:gd name="connsiteX16552" fmla="*/ 1450102 w 7714416"/>
              <a:gd name="connsiteY16552" fmla="*/ 1091799 h 5282095"/>
              <a:gd name="connsiteX16553" fmla="*/ 1454882 w 7714416"/>
              <a:gd name="connsiteY16553" fmla="*/ 1093886 h 5282095"/>
              <a:gd name="connsiteX16554" fmla="*/ 1454602 w 7714416"/>
              <a:gd name="connsiteY16554" fmla="*/ 1097146 h 5282095"/>
              <a:gd name="connsiteX16555" fmla="*/ 1455963 w 7714416"/>
              <a:gd name="connsiteY16555" fmla="*/ 1099811 h 5282095"/>
              <a:gd name="connsiteX16556" fmla="*/ 1452115 w 7714416"/>
              <a:gd name="connsiteY16556" fmla="*/ 1101999 h 5282095"/>
              <a:gd name="connsiteX16557" fmla="*/ 1451001 w 7714416"/>
              <a:gd name="connsiteY16557" fmla="*/ 1099516 h 5282095"/>
              <a:gd name="connsiteX16558" fmla="*/ 1450102 w 7714416"/>
              <a:gd name="connsiteY16558" fmla="*/ 1091799 h 5282095"/>
              <a:gd name="connsiteX16559" fmla="*/ 4917897 w 7714416"/>
              <a:gd name="connsiteY16559" fmla="*/ 1091779 h 5282095"/>
              <a:gd name="connsiteX16560" fmla="*/ 4911691 w 7714416"/>
              <a:gd name="connsiteY16560" fmla="*/ 1093912 h 5282095"/>
              <a:gd name="connsiteX16561" fmla="*/ 4908406 w 7714416"/>
              <a:gd name="connsiteY16561" fmla="*/ 1095101 h 5282095"/>
              <a:gd name="connsiteX16562" fmla="*/ 4915971 w 7714416"/>
              <a:gd name="connsiteY16562" fmla="*/ 1098968 h 5282095"/>
              <a:gd name="connsiteX16563" fmla="*/ 4916161 w 7714416"/>
              <a:gd name="connsiteY16563" fmla="*/ 1099364 h 5282095"/>
              <a:gd name="connsiteX16564" fmla="*/ 4918487 w 7714416"/>
              <a:gd name="connsiteY16564" fmla="*/ 1094008 h 5282095"/>
              <a:gd name="connsiteX16565" fmla="*/ 4922278 w 7714416"/>
              <a:gd name="connsiteY16565" fmla="*/ 1092033 h 5282095"/>
              <a:gd name="connsiteX16566" fmla="*/ 859054 w 7714416"/>
              <a:gd name="connsiteY16566" fmla="*/ 1090636 h 5282095"/>
              <a:gd name="connsiteX16567" fmla="*/ 867133 w 7714416"/>
              <a:gd name="connsiteY16567" fmla="*/ 1095906 h 5282095"/>
              <a:gd name="connsiteX16568" fmla="*/ 851429 w 7714416"/>
              <a:gd name="connsiteY16568" fmla="*/ 1099173 h 5282095"/>
              <a:gd name="connsiteX16569" fmla="*/ 859054 w 7714416"/>
              <a:gd name="connsiteY16569" fmla="*/ 1090636 h 5282095"/>
              <a:gd name="connsiteX16570" fmla="*/ 1694504 w 7714416"/>
              <a:gd name="connsiteY16570" fmla="*/ 1090586 h 5282095"/>
              <a:gd name="connsiteX16571" fmla="*/ 1709335 w 7714416"/>
              <a:gd name="connsiteY16571" fmla="*/ 1091685 h 5282095"/>
              <a:gd name="connsiteX16572" fmla="*/ 1702806 w 7714416"/>
              <a:gd name="connsiteY16572" fmla="*/ 1092811 h 5282095"/>
              <a:gd name="connsiteX16573" fmla="*/ 1694504 w 7714416"/>
              <a:gd name="connsiteY16573" fmla="*/ 1090586 h 5282095"/>
              <a:gd name="connsiteX16574" fmla="*/ 5439313 w 7714416"/>
              <a:gd name="connsiteY16574" fmla="*/ 1090500 h 5282095"/>
              <a:gd name="connsiteX16575" fmla="*/ 5456462 w 7714416"/>
              <a:gd name="connsiteY16575" fmla="*/ 1092910 h 5282095"/>
              <a:gd name="connsiteX16576" fmla="*/ 5433204 w 7714416"/>
              <a:gd name="connsiteY16576" fmla="*/ 1100018 h 5282095"/>
              <a:gd name="connsiteX16577" fmla="*/ 5439313 w 7714416"/>
              <a:gd name="connsiteY16577" fmla="*/ 1090500 h 5282095"/>
              <a:gd name="connsiteX16578" fmla="*/ 1365017 w 7714416"/>
              <a:gd name="connsiteY16578" fmla="*/ 1089472 h 5282095"/>
              <a:gd name="connsiteX16579" fmla="*/ 1366898 w 7714416"/>
              <a:gd name="connsiteY16579" fmla="*/ 1090205 h 5282095"/>
              <a:gd name="connsiteX16580" fmla="*/ 1371392 w 7714416"/>
              <a:gd name="connsiteY16580" fmla="*/ 1090030 h 5282095"/>
              <a:gd name="connsiteX16581" fmla="*/ 1375510 w 7714416"/>
              <a:gd name="connsiteY16581" fmla="*/ 1094584 h 5282095"/>
              <a:gd name="connsiteX16582" fmla="*/ 1358715 w 7714416"/>
              <a:gd name="connsiteY16582" fmla="*/ 1101928 h 5282095"/>
              <a:gd name="connsiteX16583" fmla="*/ 1353119 w 7714416"/>
              <a:gd name="connsiteY16583" fmla="*/ 1095138 h 5282095"/>
              <a:gd name="connsiteX16584" fmla="*/ 1348225 w 7714416"/>
              <a:gd name="connsiteY16584" fmla="*/ 1093482 h 5282095"/>
              <a:gd name="connsiteX16585" fmla="*/ 1365017 w 7714416"/>
              <a:gd name="connsiteY16585" fmla="*/ 1089472 h 5282095"/>
              <a:gd name="connsiteX16586" fmla="*/ 1538257 w 7714416"/>
              <a:gd name="connsiteY16586" fmla="*/ 1089315 h 5282095"/>
              <a:gd name="connsiteX16587" fmla="*/ 1539611 w 7714416"/>
              <a:gd name="connsiteY16587" fmla="*/ 1089794 h 5282095"/>
              <a:gd name="connsiteX16588" fmla="*/ 1537433 w 7714416"/>
              <a:gd name="connsiteY16588" fmla="*/ 1091280 h 5282095"/>
              <a:gd name="connsiteX16589" fmla="*/ 1537358 w 7714416"/>
              <a:gd name="connsiteY16589" fmla="*/ 1090454 h 5282095"/>
              <a:gd name="connsiteX16590" fmla="*/ 1538257 w 7714416"/>
              <a:gd name="connsiteY16590" fmla="*/ 1089315 h 5282095"/>
              <a:gd name="connsiteX16591" fmla="*/ 1079825 w 7714416"/>
              <a:gd name="connsiteY16591" fmla="*/ 1089071 h 5282095"/>
              <a:gd name="connsiteX16592" fmla="*/ 1083394 w 7714416"/>
              <a:gd name="connsiteY16592" fmla="*/ 1090142 h 5282095"/>
              <a:gd name="connsiteX16593" fmla="*/ 1079725 w 7714416"/>
              <a:gd name="connsiteY16593" fmla="*/ 1093875 h 5282095"/>
              <a:gd name="connsiteX16594" fmla="*/ 1077550 w 7714416"/>
              <a:gd name="connsiteY16594" fmla="*/ 1092027 h 5282095"/>
              <a:gd name="connsiteX16595" fmla="*/ 1076185 w 7714416"/>
              <a:gd name="connsiteY16595" fmla="*/ 1092695 h 5282095"/>
              <a:gd name="connsiteX16596" fmla="*/ 1075348 w 7714416"/>
              <a:gd name="connsiteY16596" fmla="*/ 1090285 h 5282095"/>
              <a:gd name="connsiteX16597" fmla="*/ 1076436 w 7714416"/>
              <a:gd name="connsiteY16597" fmla="*/ 1089543 h 5282095"/>
              <a:gd name="connsiteX16598" fmla="*/ 1076246 w 7714416"/>
              <a:gd name="connsiteY16598" fmla="*/ 1089147 h 5282095"/>
              <a:gd name="connsiteX16599" fmla="*/ 1079825 w 7714416"/>
              <a:gd name="connsiteY16599" fmla="*/ 1089071 h 5282095"/>
              <a:gd name="connsiteX16600" fmla="*/ 2033730 w 7714416"/>
              <a:gd name="connsiteY16600" fmla="*/ 1088560 h 5282095"/>
              <a:gd name="connsiteX16601" fmla="*/ 2021026 w 7714416"/>
              <a:gd name="connsiteY16601" fmla="*/ 1097231 h 5282095"/>
              <a:gd name="connsiteX16602" fmla="*/ 2002244 w 7714416"/>
              <a:gd name="connsiteY16602" fmla="*/ 1097604 h 5282095"/>
              <a:gd name="connsiteX16603" fmla="*/ 2033730 w 7714416"/>
              <a:gd name="connsiteY16603" fmla="*/ 1088560 h 5282095"/>
              <a:gd name="connsiteX16604" fmla="*/ 5131733 w 7714416"/>
              <a:gd name="connsiteY16604" fmla="*/ 1087320 h 5282095"/>
              <a:gd name="connsiteX16605" fmla="*/ 5127981 w 7714416"/>
              <a:gd name="connsiteY16605" fmla="*/ 1096895 h 5282095"/>
              <a:gd name="connsiteX16606" fmla="*/ 5129785 w 7714416"/>
              <a:gd name="connsiteY16606" fmla="*/ 1087948 h 5282095"/>
              <a:gd name="connsiteX16607" fmla="*/ 5131733 w 7714416"/>
              <a:gd name="connsiteY16607" fmla="*/ 1087320 h 5282095"/>
              <a:gd name="connsiteX16608" fmla="*/ 5707566 w 7714416"/>
              <a:gd name="connsiteY16608" fmla="*/ 1087297 h 5282095"/>
              <a:gd name="connsiteX16609" fmla="*/ 5720434 w 7714416"/>
              <a:gd name="connsiteY16609" fmla="*/ 1096135 h 5282095"/>
              <a:gd name="connsiteX16610" fmla="*/ 5700604 w 7714416"/>
              <a:gd name="connsiteY16610" fmla="*/ 1101517 h 5282095"/>
              <a:gd name="connsiteX16611" fmla="*/ 5696501 w 7714416"/>
              <a:gd name="connsiteY16611" fmla="*/ 1092483 h 5282095"/>
              <a:gd name="connsiteX16612" fmla="*/ 5707566 w 7714416"/>
              <a:gd name="connsiteY16612" fmla="*/ 1087297 h 5282095"/>
              <a:gd name="connsiteX16613" fmla="*/ 5076187 w 7714416"/>
              <a:gd name="connsiteY16613" fmla="*/ 1085432 h 5282095"/>
              <a:gd name="connsiteX16614" fmla="*/ 5082026 w 7714416"/>
              <a:gd name="connsiteY16614" fmla="*/ 1086882 h 5282095"/>
              <a:gd name="connsiteX16615" fmla="*/ 5083029 w 7714416"/>
              <a:gd name="connsiteY16615" fmla="*/ 1086460 h 5282095"/>
              <a:gd name="connsiteX16616" fmla="*/ 5086159 w 7714416"/>
              <a:gd name="connsiteY16616" fmla="*/ 1086954 h 5282095"/>
              <a:gd name="connsiteX16617" fmla="*/ 5085346 w 7714416"/>
              <a:gd name="connsiteY16617" fmla="*/ 1087772 h 5282095"/>
              <a:gd name="connsiteX16618" fmla="*/ 5088419 w 7714416"/>
              <a:gd name="connsiteY16618" fmla="*/ 1088479 h 5282095"/>
              <a:gd name="connsiteX16619" fmla="*/ 5099828 w 7714416"/>
              <a:gd name="connsiteY16619" fmla="*/ 1093492 h 5282095"/>
              <a:gd name="connsiteX16620" fmla="*/ 5082478 w 7714416"/>
              <a:gd name="connsiteY16620" fmla="*/ 1100689 h 5282095"/>
              <a:gd name="connsiteX16621" fmla="*/ 5078709 w 7714416"/>
              <a:gd name="connsiteY16621" fmla="*/ 1091513 h 5282095"/>
              <a:gd name="connsiteX16622" fmla="*/ 5073402 w 7714416"/>
              <a:gd name="connsiteY16622" fmla="*/ 1092507 h 5282095"/>
              <a:gd name="connsiteX16623" fmla="*/ 5077843 w 7714416"/>
              <a:gd name="connsiteY16623" fmla="*/ 1089211 h 5282095"/>
              <a:gd name="connsiteX16624" fmla="*/ 1686685 w 7714416"/>
              <a:gd name="connsiteY16624" fmla="*/ 1084351 h 5282095"/>
              <a:gd name="connsiteX16625" fmla="*/ 1686950 w 7714416"/>
              <a:gd name="connsiteY16625" fmla="*/ 1085572 h 5282095"/>
              <a:gd name="connsiteX16626" fmla="*/ 1688902 w 7714416"/>
              <a:gd name="connsiteY16626" fmla="*/ 1090465 h 5282095"/>
              <a:gd name="connsiteX16627" fmla="*/ 1680360 w 7714416"/>
              <a:gd name="connsiteY16627" fmla="*/ 1090246 h 5282095"/>
              <a:gd name="connsiteX16628" fmla="*/ 1681654 w 7714416"/>
              <a:gd name="connsiteY16628" fmla="*/ 1085417 h 5282095"/>
              <a:gd name="connsiteX16629" fmla="*/ 1686685 w 7714416"/>
              <a:gd name="connsiteY16629" fmla="*/ 1084351 h 5282095"/>
              <a:gd name="connsiteX16630" fmla="*/ 1879814 w 7714416"/>
              <a:gd name="connsiteY16630" fmla="*/ 1084119 h 5282095"/>
              <a:gd name="connsiteX16631" fmla="*/ 1883411 w 7714416"/>
              <a:gd name="connsiteY16631" fmla="*/ 1085083 h 5282095"/>
              <a:gd name="connsiteX16632" fmla="*/ 1887303 w 7714416"/>
              <a:gd name="connsiteY16632" fmla="*/ 1087160 h 5282095"/>
              <a:gd name="connsiteX16633" fmla="*/ 1890329 w 7714416"/>
              <a:gd name="connsiteY16633" fmla="*/ 1086937 h 5282095"/>
              <a:gd name="connsiteX16634" fmla="*/ 1899245 w 7714416"/>
              <a:gd name="connsiteY16634" fmla="*/ 1094615 h 5282095"/>
              <a:gd name="connsiteX16635" fmla="*/ 1891755 w 7714416"/>
              <a:gd name="connsiteY16635" fmla="*/ 1091574 h 5282095"/>
              <a:gd name="connsiteX16636" fmla="*/ 1887865 w 7714416"/>
              <a:gd name="connsiteY16636" fmla="*/ 1089496 h 5282095"/>
              <a:gd name="connsiteX16637" fmla="*/ 1884267 w 7714416"/>
              <a:gd name="connsiteY16637" fmla="*/ 1088532 h 5282095"/>
              <a:gd name="connsiteX16638" fmla="*/ 1879814 w 7714416"/>
              <a:gd name="connsiteY16638" fmla="*/ 1084119 h 5282095"/>
              <a:gd name="connsiteX16639" fmla="*/ 1760368 w 7714416"/>
              <a:gd name="connsiteY16639" fmla="*/ 1083854 h 5282095"/>
              <a:gd name="connsiteX16640" fmla="*/ 1783181 w 7714416"/>
              <a:gd name="connsiteY16640" fmla="*/ 1100547 h 5282095"/>
              <a:gd name="connsiteX16641" fmla="*/ 1783140 w 7714416"/>
              <a:gd name="connsiteY16641" fmla="*/ 1101801 h 5282095"/>
              <a:gd name="connsiteX16642" fmla="*/ 1779284 w 7714416"/>
              <a:gd name="connsiteY16642" fmla="*/ 1101803 h 5282095"/>
              <a:gd name="connsiteX16643" fmla="*/ 1773275 w 7714416"/>
              <a:gd name="connsiteY16643" fmla="*/ 1097663 h 5282095"/>
              <a:gd name="connsiteX16644" fmla="*/ 1763620 w 7714416"/>
              <a:gd name="connsiteY16644" fmla="*/ 1086105 h 5282095"/>
              <a:gd name="connsiteX16645" fmla="*/ 1760368 w 7714416"/>
              <a:gd name="connsiteY16645" fmla="*/ 1083854 h 5282095"/>
              <a:gd name="connsiteX16646" fmla="*/ 5171391 w 7714416"/>
              <a:gd name="connsiteY16646" fmla="*/ 1083615 h 5282095"/>
              <a:gd name="connsiteX16647" fmla="*/ 5188219 w 7714416"/>
              <a:gd name="connsiteY16647" fmla="*/ 1092336 h 5282095"/>
              <a:gd name="connsiteX16648" fmla="*/ 5197002 w 7714416"/>
              <a:gd name="connsiteY16648" fmla="*/ 1099404 h 5282095"/>
              <a:gd name="connsiteX16649" fmla="*/ 5199029 w 7714416"/>
              <a:gd name="connsiteY16649" fmla="*/ 1096268 h 5282095"/>
              <a:gd name="connsiteX16650" fmla="*/ 5223307 w 7714416"/>
              <a:gd name="connsiteY16650" fmla="*/ 1098633 h 5282095"/>
              <a:gd name="connsiteX16651" fmla="*/ 5218639 w 7714416"/>
              <a:gd name="connsiteY16651" fmla="*/ 1108307 h 5282095"/>
              <a:gd name="connsiteX16652" fmla="*/ 5214345 w 7714416"/>
              <a:gd name="connsiteY16652" fmla="*/ 1107731 h 5282095"/>
              <a:gd name="connsiteX16653" fmla="*/ 5211815 w 7714416"/>
              <a:gd name="connsiteY16653" fmla="*/ 1108318 h 5282095"/>
              <a:gd name="connsiteX16654" fmla="*/ 5212422 w 7714416"/>
              <a:gd name="connsiteY16654" fmla="*/ 1111586 h 5282095"/>
              <a:gd name="connsiteX16655" fmla="*/ 5216806 w 7714416"/>
              <a:gd name="connsiteY16655" fmla="*/ 1117361 h 5282095"/>
              <a:gd name="connsiteX16656" fmla="*/ 5206644 w 7714416"/>
              <a:gd name="connsiteY16656" fmla="*/ 1115443 h 5282095"/>
              <a:gd name="connsiteX16657" fmla="*/ 5197390 w 7714416"/>
              <a:gd name="connsiteY16657" fmla="*/ 1111238 h 5282095"/>
              <a:gd name="connsiteX16658" fmla="*/ 5202741 w 7714416"/>
              <a:gd name="connsiteY16658" fmla="*/ 1105657 h 5282095"/>
              <a:gd name="connsiteX16659" fmla="*/ 5198982 w 7714416"/>
              <a:gd name="connsiteY16659" fmla="*/ 1104189 h 5282095"/>
              <a:gd name="connsiteX16660" fmla="*/ 5195597 w 7714416"/>
              <a:gd name="connsiteY16660" fmla="*/ 1101328 h 5282095"/>
              <a:gd name="connsiteX16661" fmla="*/ 5196611 w 7714416"/>
              <a:gd name="connsiteY16661" fmla="*/ 1099760 h 5282095"/>
              <a:gd name="connsiteX16662" fmla="*/ 5185596 w 7714416"/>
              <a:gd name="connsiteY16662" fmla="*/ 1099913 h 5282095"/>
              <a:gd name="connsiteX16663" fmla="*/ 5177848 w 7714416"/>
              <a:gd name="connsiteY16663" fmla="*/ 1097837 h 5282095"/>
              <a:gd name="connsiteX16664" fmla="*/ 5156284 w 7714416"/>
              <a:gd name="connsiteY16664" fmla="*/ 1084238 h 5282095"/>
              <a:gd name="connsiteX16665" fmla="*/ 5171391 w 7714416"/>
              <a:gd name="connsiteY16665" fmla="*/ 1083615 h 5282095"/>
              <a:gd name="connsiteX16666" fmla="*/ 2363807 w 7714416"/>
              <a:gd name="connsiteY16666" fmla="*/ 1083048 h 5282095"/>
              <a:gd name="connsiteX16667" fmla="*/ 2371618 w 7714416"/>
              <a:gd name="connsiteY16667" fmla="*/ 1087096 h 5282095"/>
              <a:gd name="connsiteX16668" fmla="*/ 2363540 w 7714416"/>
              <a:gd name="connsiteY16668" fmla="*/ 1090681 h 5282095"/>
              <a:gd name="connsiteX16669" fmla="*/ 2356559 w 7714416"/>
              <a:gd name="connsiteY16669" fmla="*/ 1086855 h 5282095"/>
              <a:gd name="connsiteX16670" fmla="*/ 2363807 w 7714416"/>
              <a:gd name="connsiteY16670" fmla="*/ 1083048 h 5282095"/>
              <a:gd name="connsiteX16671" fmla="*/ 1964399 w 7714416"/>
              <a:gd name="connsiteY16671" fmla="*/ 1080564 h 5282095"/>
              <a:gd name="connsiteX16672" fmla="*/ 1967350 w 7714416"/>
              <a:gd name="connsiteY16672" fmla="*/ 1088369 h 5282095"/>
              <a:gd name="connsiteX16673" fmla="*/ 1959321 w 7714416"/>
              <a:gd name="connsiteY16673" fmla="*/ 1089553 h 5282095"/>
              <a:gd name="connsiteX16674" fmla="*/ 1955850 w 7714416"/>
              <a:gd name="connsiteY16674" fmla="*/ 1087013 h 5282095"/>
              <a:gd name="connsiteX16675" fmla="*/ 1955890 w 7714416"/>
              <a:gd name="connsiteY16675" fmla="*/ 1085758 h 5282095"/>
              <a:gd name="connsiteX16676" fmla="*/ 1956238 w 7714416"/>
              <a:gd name="connsiteY16676" fmla="*/ 1081137 h 5282095"/>
              <a:gd name="connsiteX16677" fmla="*/ 1964399 w 7714416"/>
              <a:gd name="connsiteY16677" fmla="*/ 1080564 h 5282095"/>
              <a:gd name="connsiteX16678" fmla="*/ 1206936 w 7714416"/>
              <a:gd name="connsiteY16678" fmla="*/ 1079544 h 5282095"/>
              <a:gd name="connsiteX16679" fmla="*/ 1222346 w 7714416"/>
              <a:gd name="connsiteY16679" fmla="*/ 1092873 h 5282095"/>
              <a:gd name="connsiteX16680" fmla="*/ 1215863 w 7714416"/>
              <a:gd name="connsiteY16680" fmla="*/ 1094932 h 5282095"/>
              <a:gd name="connsiteX16681" fmla="*/ 1216942 w 7714416"/>
              <a:gd name="connsiteY16681" fmla="*/ 1095336 h 5282095"/>
              <a:gd name="connsiteX16682" fmla="*/ 1209110 w 7714416"/>
              <a:gd name="connsiteY16682" fmla="*/ 1099102 h 5282095"/>
              <a:gd name="connsiteX16683" fmla="*/ 1208097 w 7714416"/>
              <a:gd name="connsiteY16683" fmla="*/ 1100671 h 5282095"/>
              <a:gd name="connsiteX16684" fmla="*/ 1203892 w 7714416"/>
              <a:gd name="connsiteY16684" fmla="*/ 1105295 h 5282095"/>
              <a:gd name="connsiteX16685" fmla="*/ 1196692 w 7714416"/>
              <a:gd name="connsiteY16685" fmla="*/ 1101180 h 5282095"/>
              <a:gd name="connsiteX16686" fmla="*/ 1195135 w 7714416"/>
              <a:gd name="connsiteY16686" fmla="*/ 1101453 h 5282095"/>
              <a:gd name="connsiteX16687" fmla="*/ 1172614 w 7714416"/>
              <a:gd name="connsiteY16687" fmla="*/ 1098064 h 5282095"/>
              <a:gd name="connsiteX16688" fmla="*/ 1182566 w 7714416"/>
              <a:gd name="connsiteY16688" fmla="*/ 1093025 h 5282095"/>
              <a:gd name="connsiteX16689" fmla="*/ 1192732 w 7714416"/>
              <a:gd name="connsiteY16689" fmla="*/ 1091609 h 5282095"/>
              <a:gd name="connsiteX16690" fmla="*/ 1192545 w 7714416"/>
              <a:gd name="connsiteY16690" fmla="*/ 1087878 h 5282095"/>
              <a:gd name="connsiteX16691" fmla="*/ 1186796 w 7714416"/>
              <a:gd name="connsiteY16691" fmla="*/ 1091628 h 5282095"/>
              <a:gd name="connsiteX16692" fmla="*/ 1153458 w 7714416"/>
              <a:gd name="connsiteY16692" fmla="*/ 1090975 h 5282095"/>
              <a:gd name="connsiteX16693" fmla="*/ 1170454 w 7714416"/>
              <a:gd name="connsiteY16693" fmla="*/ 1082879 h 5282095"/>
              <a:gd name="connsiteX16694" fmla="*/ 1193091 w 7714416"/>
              <a:gd name="connsiteY16694" fmla="*/ 1085839 h 5282095"/>
              <a:gd name="connsiteX16695" fmla="*/ 1194011 w 7714416"/>
              <a:gd name="connsiteY16695" fmla="*/ 1082406 h 5282095"/>
              <a:gd name="connsiteX16696" fmla="*/ 1201130 w 7714416"/>
              <a:gd name="connsiteY16696" fmla="*/ 1083508 h 5282095"/>
              <a:gd name="connsiteX16697" fmla="*/ 1204324 w 7714416"/>
              <a:gd name="connsiteY16697" fmla="*/ 1085975 h 5282095"/>
              <a:gd name="connsiteX16698" fmla="*/ 5902405 w 7714416"/>
              <a:gd name="connsiteY16698" fmla="*/ 1078883 h 5282095"/>
              <a:gd name="connsiteX16699" fmla="*/ 5877031 w 7714416"/>
              <a:gd name="connsiteY16699" fmla="*/ 1101639 h 5282095"/>
              <a:gd name="connsiteX16700" fmla="*/ 5902405 w 7714416"/>
              <a:gd name="connsiteY16700" fmla="*/ 1078883 h 5282095"/>
              <a:gd name="connsiteX16701" fmla="*/ 4938050 w 7714416"/>
              <a:gd name="connsiteY16701" fmla="*/ 1078549 h 5282095"/>
              <a:gd name="connsiteX16702" fmla="*/ 4951838 w 7714416"/>
              <a:gd name="connsiteY16702" fmla="*/ 1090178 h 5282095"/>
              <a:gd name="connsiteX16703" fmla="*/ 4938628 w 7714416"/>
              <a:gd name="connsiteY16703" fmla="*/ 1081924 h 5282095"/>
              <a:gd name="connsiteX16704" fmla="*/ 4938050 w 7714416"/>
              <a:gd name="connsiteY16704" fmla="*/ 1078549 h 5282095"/>
              <a:gd name="connsiteX16705" fmla="*/ 2235523 w 7714416"/>
              <a:gd name="connsiteY16705" fmla="*/ 1077855 h 5282095"/>
              <a:gd name="connsiteX16706" fmla="*/ 2239602 w 7714416"/>
              <a:gd name="connsiteY16706" fmla="*/ 1078403 h 5282095"/>
              <a:gd name="connsiteX16707" fmla="*/ 2232214 w 7714416"/>
              <a:gd name="connsiteY16707" fmla="*/ 1079413 h 5282095"/>
              <a:gd name="connsiteX16708" fmla="*/ 2235523 w 7714416"/>
              <a:gd name="connsiteY16708" fmla="*/ 1077855 h 5282095"/>
              <a:gd name="connsiteX16709" fmla="*/ 1823330 w 7714416"/>
              <a:gd name="connsiteY16709" fmla="*/ 1075770 h 5282095"/>
              <a:gd name="connsiteX16710" fmla="*/ 1813038 w 7714416"/>
              <a:gd name="connsiteY16710" fmla="*/ 1096471 h 5282095"/>
              <a:gd name="connsiteX16711" fmla="*/ 1839591 w 7714416"/>
              <a:gd name="connsiteY16711" fmla="*/ 1113592 h 5282095"/>
              <a:gd name="connsiteX16712" fmla="*/ 1831735 w 7714416"/>
              <a:gd name="connsiteY16712" fmla="*/ 1114132 h 5282095"/>
              <a:gd name="connsiteX16713" fmla="*/ 1831167 w 7714416"/>
              <a:gd name="connsiteY16713" fmla="*/ 1118464 h 5282095"/>
              <a:gd name="connsiteX16714" fmla="*/ 1829525 w 7714416"/>
              <a:gd name="connsiteY16714" fmla="*/ 1119059 h 5282095"/>
              <a:gd name="connsiteX16715" fmla="*/ 1830754 w 7714416"/>
              <a:gd name="connsiteY16715" fmla="*/ 1121113 h 5282095"/>
              <a:gd name="connsiteX16716" fmla="*/ 1831764 w 7714416"/>
              <a:gd name="connsiteY16716" fmla="*/ 1122880 h 5282095"/>
              <a:gd name="connsiteX16717" fmla="*/ 1828613 w 7714416"/>
              <a:gd name="connsiteY16717" fmla="*/ 1124679 h 5282095"/>
              <a:gd name="connsiteX16718" fmla="*/ 1825845 w 7714416"/>
              <a:gd name="connsiteY16718" fmla="*/ 1123938 h 5282095"/>
              <a:gd name="connsiteX16719" fmla="*/ 1824324 w 7714416"/>
              <a:gd name="connsiteY16719" fmla="*/ 1126292 h 5282095"/>
              <a:gd name="connsiteX16720" fmla="*/ 1816586 w 7714416"/>
              <a:gd name="connsiteY16720" fmla="*/ 1117548 h 5282095"/>
              <a:gd name="connsiteX16721" fmla="*/ 1820201 w 7714416"/>
              <a:gd name="connsiteY16721" fmla="*/ 1119552 h 5282095"/>
              <a:gd name="connsiteX16722" fmla="*/ 1817702 w 7714416"/>
              <a:gd name="connsiteY16722" fmla="*/ 1116697 h 5282095"/>
              <a:gd name="connsiteX16723" fmla="*/ 1816470 w 7714416"/>
              <a:gd name="connsiteY16723" fmla="*/ 1109122 h 5282095"/>
              <a:gd name="connsiteX16724" fmla="*/ 1820591 w 7714416"/>
              <a:gd name="connsiteY16724" fmla="*/ 1110341 h 5282095"/>
              <a:gd name="connsiteX16725" fmla="*/ 1812940 w 7714416"/>
              <a:gd name="connsiteY16725" fmla="*/ 1106796 h 5282095"/>
              <a:gd name="connsiteX16726" fmla="*/ 1802685 w 7714416"/>
              <a:gd name="connsiteY16726" fmla="*/ 1103013 h 5282095"/>
              <a:gd name="connsiteX16727" fmla="*/ 1790647 w 7714416"/>
              <a:gd name="connsiteY16727" fmla="*/ 1105882 h 5282095"/>
              <a:gd name="connsiteX16728" fmla="*/ 1783262 w 7714416"/>
              <a:gd name="connsiteY16728" fmla="*/ 1103558 h 5282095"/>
              <a:gd name="connsiteX16729" fmla="*/ 1810185 w 7714416"/>
              <a:gd name="connsiteY16729" fmla="*/ 1078342 h 5282095"/>
              <a:gd name="connsiteX16730" fmla="*/ 1823330 w 7714416"/>
              <a:gd name="connsiteY16730" fmla="*/ 1075770 h 5282095"/>
              <a:gd name="connsiteX16731" fmla="*/ 1745059 w 7714416"/>
              <a:gd name="connsiteY16731" fmla="*/ 1074577 h 5282095"/>
              <a:gd name="connsiteX16732" fmla="*/ 1749983 w 7714416"/>
              <a:gd name="connsiteY16732" fmla="*/ 1076126 h 5282095"/>
              <a:gd name="connsiteX16733" fmla="*/ 1747463 w 7714416"/>
              <a:gd name="connsiteY16733" fmla="*/ 1084421 h 5282095"/>
              <a:gd name="connsiteX16734" fmla="*/ 1757338 w 7714416"/>
              <a:gd name="connsiteY16734" fmla="*/ 1087413 h 5282095"/>
              <a:gd name="connsiteX16735" fmla="*/ 1741637 w 7714416"/>
              <a:gd name="connsiteY16735" fmla="*/ 1105055 h 5282095"/>
              <a:gd name="connsiteX16736" fmla="*/ 1740693 w 7714416"/>
              <a:gd name="connsiteY16736" fmla="*/ 1105263 h 5282095"/>
              <a:gd name="connsiteX16737" fmla="*/ 1741494 w 7714416"/>
              <a:gd name="connsiteY16737" fmla="*/ 1105591 h 5282095"/>
              <a:gd name="connsiteX16738" fmla="*/ 1749597 w 7714416"/>
              <a:gd name="connsiteY16738" fmla="*/ 1105233 h 5282095"/>
              <a:gd name="connsiteX16739" fmla="*/ 1748987 w 7714416"/>
              <a:gd name="connsiteY16739" fmla="*/ 1123010 h 5282095"/>
              <a:gd name="connsiteX16740" fmla="*/ 1747523 w 7714416"/>
              <a:gd name="connsiteY16740" fmla="*/ 1125148 h 5282095"/>
              <a:gd name="connsiteX16741" fmla="*/ 1749184 w 7714416"/>
              <a:gd name="connsiteY16741" fmla="*/ 1125593 h 5282095"/>
              <a:gd name="connsiteX16742" fmla="*/ 1747207 w 7714416"/>
              <a:gd name="connsiteY16742" fmla="*/ 1126328 h 5282095"/>
              <a:gd name="connsiteX16743" fmla="*/ 1747150 w 7714416"/>
              <a:gd name="connsiteY16743" fmla="*/ 1126543 h 5282095"/>
              <a:gd name="connsiteX16744" fmla="*/ 1746862 w 7714416"/>
              <a:gd name="connsiteY16744" fmla="*/ 1127615 h 5282095"/>
              <a:gd name="connsiteX16745" fmla="*/ 1741983 w 7714416"/>
              <a:gd name="connsiteY16745" fmla="*/ 1130334 h 5282095"/>
              <a:gd name="connsiteX16746" fmla="*/ 1739930 w 7714416"/>
              <a:gd name="connsiteY16746" fmla="*/ 1130243 h 5282095"/>
              <a:gd name="connsiteX16747" fmla="*/ 1737975 w 7714416"/>
              <a:gd name="connsiteY16747" fmla="*/ 1128684 h 5282095"/>
              <a:gd name="connsiteX16748" fmla="*/ 1734299 w 7714416"/>
              <a:gd name="connsiteY16748" fmla="*/ 1121375 h 5282095"/>
              <a:gd name="connsiteX16749" fmla="*/ 1704962 w 7714416"/>
              <a:gd name="connsiteY16749" fmla="*/ 1111329 h 5282095"/>
              <a:gd name="connsiteX16750" fmla="*/ 1708810 w 7714416"/>
              <a:gd name="connsiteY16750" fmla="*/ 1100284 h 5282095"/>
              <a:gd name="connsiteX16751" fmla="*/ 1712763 w 7714416"/>
              <a:gd name="connsiteY16751" fmla="*/ 1098813 h 5282095"/>
              <a:gd name="connsiteX16752" fmla="*/ 1709223 w 7714416"/>
              <a:gd name="connsiteY16752" fmla="*/ 1097635 h 5282095"/>
              <a:gd name="connsiteX16753" fmla="*/ 1725316 w 7714416"/>
              <a:gd name="connsiteY16753" fmla="*/ 1079637 h 5282095"/>
              <a:gd name="connsiteX16754" fmla="*/ 1728543 w 7714416"/>
              <a:gd name="connsiteY16754" fmla="*/ 1078662 h 5282095"/>
              <a:gd name="connsiteX16755" fmla="*/ 1732130 w 7714416"/>
              <a:gd name="connsiteY16755" fmla="*/ 1080772 h 5282095"/>
              <a:gd name="connsiteX16756" fmla="*/ 1733117 w 7714416"/>
              <a:gd name="connsiteY16756" fmla="*/ 1084832 h 5282095"/>
              <a:gd name="connsiteX16757" fmla="*/ 1734311 w 7714416"/>
              <a:gd name="connsiteY16757" fmla="*/ 1084807 h 5282095"/>
              <a:gd name="connsiteX16758" fmla="*/ 1734425 w 7714416"/>
              <a:gd name="connsiteY16758" fmla="*/ 1084378 h 5282095"/>
              <a:gd name="connsiteX16759" fmla="*/ 1743071 w 7714416"/>
              <a:gd name="connsiteY16759" fmla="*/ 1076459 h 5282095"/>
              <a:gd name="connsiteX16760" fmla="*/ 1745059 w 7714416"/>
              <a:gd name="connsiteY16760" fmla="*/ 1074577 h 5282095"/>
              <a:gd name="connsiteX16761" fmla="*/ 5305176 w 7714416"/>
              <a:gd name="connsiteY16761" fmla="*/ 1074223 h 5282095"/>
              <a:gd name="connsiteX16762" fmla="*/ 5322084 w 7714416"/>
              <a:gd name="connsiteY16762" fmla="*/ 1096349 h 5282095"/>
              <a:gd name="connsiteX16763" fmla="*/ 5315051 w 7714416"/>
              <a:gd name="connsiteY16763" fmla="*/ 1094924 h 5282095"/>
              <a:gd name="connsiteX16764" fmla="*/ 5310721 w 7714416"/>
              <a:gd name="connsiteY16764" fmla="*/ 1092269 h 5282095"/>
              <a:gd name="connsiteX16765" fmla="*/ 5309355 w 7714416"/>
              <a:gd name="connsiteY16765" fmla="*/ 1092939 h 5282095"/>
              <a:gd name="connsiteX16766" fmla="*/ 5303713 w 7714416"/>
              <a:gd name="connsiteY16766" fmla="*/ 1085216 h 5282095"/>
              <a:gd name="connsiteX16767" fmla="*/ 5300149 w 7714416"/>
              <a:gd name="connsiteY16767" fmla="*/ 1080812 h 5282095"/>
              <a:gd name="connsiteX16768" fmla="*/ 5305176 w 7714416"/>
              <a:gd name="connsiteY16768" fmla="*/ 1074223 h 5282095"/>
              <a:gd name="connsiteX16769" fmla="*/ 5034853 w 7714416"/>
              <a:gd name="connsiteY16769" fmla="*/ 1073667 h 5282095"/>
              <a:gd name="connsiteX16770" fmla="*/ 5040147 w 7714416"/>
              <a:gd name="connsiteY16770" fmla="*/ 1077155 h 5282095"/>
              <a:gd name="connsiteX16771" fmla="*/ 5041214 w 7714416"/>
              <a:gd name="connsiteY16771" fmla="*/ 1078707 h 5282095"/>
              <a:gd name="connsiteX16772" fmla="*/ 5054284 w 7714416"/>
              <a:gd name="connsiteY16772" fmla="*/ 1084163 h 5282095"/>
              <a:gd name="connsiteX16773" fmla="*/ 5066038 w 7714416"/>
              <a:gd name="connsiteY16773" fmla="*/ 1087888 h 5282095"/>
              <a:gd name="connsiteX16774" fmla="*/ 5068421 w 7714416"/>
              <a:gd name="connsiteY16774" fmla="*/ 1091172 h 5282095"/>
              <a:gd name="connsiteX16775" fmla="*/ 5070052 w 7714416"/>
              <a:gd name="connsiteY16775" fmla="*/ 1091724 h 5282095"/>
              <a:gd name="connsiteX16776" fmla="*/ 5071051 w 7714416"/>
              <a:gd name="connsiteY16776" fmla="*/ 1094637 h 5282095"/>
              <a:gd name="connsiteX16777" fmla="*/ 5066336 w 7714416"/>
              <a:gd name="connsiteY16777" fmla="*/ 1094523 h 5282095"/>
              <a:gd name="connsiteX16778" fmla="*/ 5061004 w 7714416"/>
              <a:gd name="connsiteY16778" fmla="*/ 1092289 h 5282095"/>
              <a:gd name="connsiteX16779" fmla="*/ 5053181 w 7714416"/>
              <a:gd name="connsiteY16779" fmla="*/ 1089388 h 5282095"/>
              <a:gd name="connsiteX16780" fmla="*/ 5042831 w 7714416"/>
              <a:gd name="connsiteY16780" fmla="*/ 1083740 h 5282095"/>
              <a:gd name="connsiteX16781" fmla="*/ 5036392 w 7714416"/>
              <a:gd name="connsiteY16781" fmla="*/ 1081209 h 5282095"/>
              <a:gd name="connsiteX16782" fmla="*/ 5035752 w 7714416"/>
              <a:gd name="connsiteY16782" fmla="*/ 1081383 h 5282095"/>
              <a:gd name="connsiteX16783" fmla="*/ 5030650 w 7714416"/>
              <a:gd name="connsiteY16783" fmla="*/ 1078290 h 5282095"/>
              <a:gd name="connsiteX16784" fmla="*/ 5031184 w 7714416"/>
              <a:gd name="connsiteY16784" fmla="*/ 1077399 h 5282095"/>
              <a:gd name="connsiteX16785" fmla="*/ 5028953 w 7714416"/>
              <a:gd name="connsiteY16785" fmla="*/ 1075766 h 5282095"/>
              <a:gd name="connsiteX16786" fmla="*/ 5031997 w 7714416"/>
              <a:gd name="connsiteY16786" fmla="*/ 1076582 h 5282095"/>
              <a:gd name="connsiteX16787" fmla="*/ 5614126 w 7714416"/>
              <a:gd name="connsiteY16787" fmla="*/ 1073400 h 5282095"/>
              <a:gd name="connsiteX16788" fmla="*/ 5582466 w 7714416"/>
              <a:gd name="connsiteY16788" fmla="*/ 1100798 h 5282095"/>
              <a:gd name="connsiteX16789" fmla="*/ 5579789 w 7714416"/>
              <a:gd name="connsiteY16789" fmla="*/ 1096400 h 5282095"/>
              <a:gd name="connsiteX16790" fmla="*/ 5614126 w 7714416"/>
              <a:gd name="connsiteY16790" fmla="*/ 1073400 h 5282095"/>
              <a:gd name="connsiteX16791" fmla="*/ 1752257 w 7714416"/>
              <a:gd name="connsiteY16791" fmla="*/ 1073171 h 5282095"/>
              <a:gd name="connsiteX16792" fmla="*/ 1757909 w 7714416"/>
              <a:gd name="connsiteY16792" fmla="*/ 1079745 h 5282095"/>
              <a:gd name="connsiteX16793" fmla="*/ 1760914 w 7714416"/>
              <a:gd name="connsiteY16793" fmla="*/ 1081815 h 5282095"/>
              <a:gd name="connsiteX16794" fmla="*/ 1757583 w 7714416"/>
              <a:gd name="connsiteY16794" fmla="*/ 1082073 h 5282095"/>
              <a:gd name="connsiteX16795" fmla="*/ 1754906 w 7714416"/>
              <a:gd name="connsiteY16795" fmla="*/ 1077675 h 5282095"/>
              <a:gd name="connsiteX16796" fmla="*/ 1751602 w 7714416"/>
              <a:gd name="connsiteY16796" fmla="*/ 1077825 h 5282095"/>
              <a:gd name="connsiteX16797" fmla="*/ 1749983 w 7714416"/>
              <a:gd name="connsiteY16797" fmla="*/ 1076126 h 5282095"/>
              <a:gd name="connsiteX16798" fmla="*/ 1752257 w 7714416"/>
              <a:gd name="connsiteY16798" fmla="*/ 1073171 h 5282095"/>
              <a:gd name="connsiteX16799" fmla="*/ 1233602 w 7714416"/>
              <a:gd name="connsiteY16799" fmla="*/ 1073005 h 5282095"/>
              <a:gd name="connsiteX16800" fmla="*/ 1254454 w 7714416"/>
              <a:gd name="connsiteY16800" fmla="*/ 1082616 h 5282095"/>
              <a:gd name="connsiteX16801" fmla="*/ 1238726 w 7714416"/>
              <a:gd name="connsiteY16801" fmla="*/ 1091513 h 5282095"/>
              <a:gd name="connsiteX16802" fmla="*/ 1228789 w 7714416"/>
              <a:gd name="connsiteY16802" fmla="*/ 1083215 h 5282095"/>
              <a:gd name="connsiteX16803" fmla="*/ 1233602 w 7714416"/>
              <a:gd name="connsiteY16803" fmla="*/ 1073005 h 5282095"/>
              <a:gd name="connsiteX16804" fmla="*/ 1372443 w 7714416"/>
              <a:gd name="connsiteY16804" fmla="*/ 1072831 h 5282095"/>
              <a:gd name="connsiteX16805" fmla="*/ 1376973 w 7714416"/>
              <a:gd name="connsiteY16805" fmla="*/ 1083590 h 5282095"/>
              <a:gd name="connsiteX16806" fmla="*/ 1374155 w 7714416"/>
              <a:gd name="connsiteY16806" fmla="*/ 1085250 h 5282095"/>
              <a:gd name="connsiteX16807" fmla="*/ 1366452 w 7714416"/>
              <a:gd name="connsiteY16807" fmla="*/ 1087441 h 5282095"/>
              <a:gd name="connsiteX16808" fmla="*/ 1361988 w 7714416"/>
              <a:gd name="connsiteY16808" fmla="*/ 1084175 h 5282095"/>
              <a:gd name="connsiteX16809" fmla="*/ 1363062 w 7714416"/>
              <a:gd name="connsiteY16809" fmla="*/ 1079058 h 5282095"/>
              <a:gd name="connsiteX16810" fmla="*/ 1372443 w 7714416"/>
              <a:gd name="connsiteY16810" fmla="*/ 1072831 h 5282095"/>
              <a:gd name="connsiteX16811" fmla="*/ 1343381 w 7714416"/>
              <a:gd name="connsiteY16811" fmla="*/ 1071715 h 5282095"/>
              <a:gd name="connsiteX16812" fmla="*/ 1355143 w 7714416"/>
              <a:gd name="connsiteY16812" fmla="*/ 1077625 h 5282095"/>
              <a:gd name="connsiteX16813" fmla="*/ 1353651 w 7714416"/>
              <a:gd name="connsiteY16813" fmla="*/ 1079871 h 5282095"/>
              <a:gd name="connsiteX16814" fmla="*/ 1348995 w 7714416"/>
              <a:gd name="connsiteY16814" fmla="*/ 1079543 h 5282095"/>
              <a:gd name="connsiteX16815" fmla="*/ 1342138 w 7714416"/>
              <a:gd name="connsiteY16815" fmla="*/ 1074141 h 5282095"/>
              <a:gd name="connsiteX16816" fmla="*/ 1343381 w 7714416"/>
              <a:gd name="connsiteY16816" fmla="*/ 1071715 h 5282095"/>
              <a:gd name="connsiteX16817" fmla="*/ 1449438 w 7714416"/>
              <a:gd name="connsiteY16817" fmla="*/ 1071037 h 5282095"/>
              <a:gd name="connsiteX16818" fmla="*/ 1454213 w 7714416"/>
              <a:gd name="connsiteY16818" fmla="*/ 1076457 h 5282095"/>
              <a:gd name="connsiteX16819" fmla="*/ 1446969 w 7714416"/>
              <a:gd name="connsiteY16819" fmla="*/ 1085786 h 5282095"/>
              <a:gd name="connsiteX16820" fmla="*/ 1445320 w 7714416"/>
              <a:gd name="connsiteY16820" fmla="*/ 1084194 h 5282095"/>
              <a:gd name="connsiteX16821" fmla="*/ 1448633 w 7714416"/>
              <a:gd name="connsiteY16821" fmla="*/ 1091751 h 5282095"/>
              <a:gd name="connsiteX16822" fmla="*/ 1439936 w 7714416"/>
              <a:gd name="connsiteY16822" fmla="*/ 1093216 h 5282095"/>
              <a:gd name="connsiteX16823" fmla="*/ 1440757 w 7714416"/>
              <a:gd name="connsiteY16823" fmla="*/ 1094586 h 5282095"/>
              <a:gd name="connsiteX16824" fmla="*/ 1438453 w 7714416"/>
              <a:gd name="connsiteY16824" fmla="*/ 1097648 h 5282095"/>
              <a:gd name="connsiteX16825" fmla="*/ 1434762 w 7714416"/>
              <a:gd name="connsiteY16825" fmla="*/ 1094819 h 5282095"/>
              <a:gd name="connsiteX16826" fmla="*/ 1434934 w 7714416"/>
              <a:gd name="connsiteY16826" fmla="*/ 1094176 h 5282095"/>
              <a:gd name="connsiteX16827" fmla="*/ 1412901 w 7714416"/>
              <a:gd name="connsiteY16827" fmla="*/ 1097817 h 5282095"/>
              <a:gd name="connsiteX16828" fmla="*/ 1413006 w 7714416"/>
              <a:gd name="connsiteY16828" fmla="*/ 1098535 h 5282095"/>
              <a:gd name="connsiteX16829" fmla="*/ 1398836 w 7714416"/>
              <a:gd name="connsiteY16829" fmla="*/ 1103824 h 5282095"/>
              <a:gd name="connsiteX16830" fmla="*/ 1397371 w 7714416"/>
              <a:gd name="connsiteY16830" fmla="*/ 1100441 h 5282095"/>
              <a:gd name="connsiteX16831" fmla="*/ 1375061 w 7714416"/>
              <a:gd name="connsiteY16831" fmla="*/ 1104009 h 5282095"/>
              <a:gd name="connsiteX16832" fmla="*/ 1441327 w 7714416"/>
              <a:gd name="connsiteY16832" fmla="*/ 1078063 h 5282095"/>
              <a:gd name="connsiteX16833" fmla="*/ 1442366 w 7714416"/>
              <a:gd name="connsiteY16833" fmla="*/ 1079721 h 5282095"/>
              <a:gd name="connsiteX16834" fmla="*/ 1442951 w 7714416"/>
              <a:gd name="connsiteY16834" fmla="*/ 1076428 h 5282095"/>
              <a:gd name="connsiteX16835" fmla="*/ 1445878 w 7714416"/>
              <a:gd name="connsiteY16835" fmla="*/ 1072153 h 5282095"/>
              <a:gd name="connsiteX16836" fmla="*/ 1449438 w 7714416"/>
              <a:gd name="connsiteY16836" fmla="*/ 1071037 h 5282095"/>
              <a:gd name="connsiteX16837" fmla="*/ 1305293 w 7714416"/>
              <a:gd name="connsiteY16837" fmla="*/ 1068869 h 5282095"/>
              <a:gd name="connsiteX16838" fmla="*/ 1308308 w 7714416"/>
              <a:gd name="connsiteY16838" fmla="*/ 1069791 h 5282095"/>
              <a:gd name="connsiteX16839" fmla="*/ 1306723 w 7714416"/>
              <a:gd name="connsiteY16839" fmla="*/ 1070171 h 5282095"/>
              <a:gd name="connsiteX16840" fmla="*/ 1305293 w 7714416"/>
              <a:gd name="connsiteY16840" fmla="*/ 1068869 h 5282095"/>
              <a:gd name="connsiteX16841" fmla="*/ 5366428 w 7714416"/>
              <a:gd name="connsiteY16841" fmla="*/ 1068096 h 5282095"/>
              <a:gd name="connsiteX16842" fmla="*/ 5368995 w 7714416"/>
              <a:gd name="connsiteY16842" fmla="*/ 1078444 h 5282095"/>
              <a:gd name="connsiteX16843" fmla="*/ 5362771 w 7714416"/>
              <a:gd name="connsiteY16843" fmla="*/ 1070681 h 5282095"/>
              <a:gd name="connsiteX16844" fmla="*/ 5366428 w 7714416"/>
              <a:gd name="connsiteY16844" fmla="*/ 1068096 h 5282095"/>
              <a:gd name="connsiteX16845" fmla="*/ 5627494 w 7714416"/>
              <a:gd name="connsiteY16845" fmla="*/ 1067783 h 5282095"/>
              <a:gd name="connsiteX16846" fmla="*/ 5620134 w 7714416"/>
              <a:gd name="connsiteY16846" fmla="*/ 1086395 h 5282095"/>
              <a:gd name="connsiteX16847" fmla="*/ 5615366 w 7714416"/>
              <a:gd name="connsiteY16847" fmla="*/ 1074307 h 5282095"/>
              <a:gd name="connsiteX16848" fmla="*/ 5627494 w 7714416"/>
              <a:gd name="connsiteY16848" fmla="*/ 1067783 h 5282095"/>
              <a:gd name="connsiteX16849" fmla="*/ 5947562 w 7714416"/>
              <a:gd name="connsiteY16849" fmla="*/ 1067523 h 5282095"/>
              <a:gd name="connsiteX16850" fmla="*/ 5951026 w 7714416"/>
              <a:gd name="connsiteY16850" fmla="*/ 1067875 h 5282095"/>
              <a:gd name="connsiteX16851" fmla="*/ 5952751 w 7714416"/>
              <a:gd name="connsiteY16851" fmla="*/ 1070293 h 5282095"/>
              <a:gd name="connsiteX16852" fmla="*/ 5953233 w 7714416"/>
              <a:gd name="connsiteY16852" fmla="*/ 1075138 h 5282095"/>
              <a:gd name="connsiteX16853" fmla="*/ 5950271 w 7714416"/>
              <a:gd name="connsiteY16853" fmla="*/ 1077334 h 5282095"/>
              <a:gd name="connsiteX16854" fmla="*/ 5946732 w 7714416"/>
              <a:gd name="connsiteY16854" fmla="*/ 1076155 h 5282095"/>
              <a:gd name="connsiteX16855" fmla="*/ 5943211 w 7714416"/>
              <a:gd name="connsiteY16855" fmla="*/ 1076017 h 5282095"/>
              <a:gd name="connsiteX16856" fmla="*/ 5943221 w 7714416"/>
              <a:gd name="connsiteY16856" fmla="*/ 1074869 h 5282095"/>
              <a:gd name="connsiteX16857" fmla="*/ 5941485 w 7714416"/>
              <a:gd name="connsiteY16857" fmla="*/ 1073600 h 5282095"/>
              <a:gd name="connsiteX16858" fmla="*/ 5944220 w 7714416"/>
              <a:gd name="connsiteY16858" fmla="*/ 1068928 h 5282095"/>
              <a:gd name="connsiteX16859" fmla="*/ 5947562 w 7714416"/>
              <a:gd name="connsiteY16859" fmla="*/ 1067523 h 5282095"/>
              <a:gd name="connsiteX16860" fmla="*/ 4854683 w 7714416"/>
              <a:gd name="connsiteY16860" fmla="*/ 1066906 h 5282095"/>
              <a:gd name="connsiteX16861" fmla="*/ 4860066 w 7714416"/>
              <a:gd name="connsiteY16861" fmla="*/ 1067428 h 5282095"/>
              <a:gd name="connsiteX16862" fmla="*/ 4864634 w 7714416"/>
              <a:gd name="connsiteY16862" fmla="*/ 1071412 h 5282095"/>
              <a:gd name="connsiteX16863" fmla="*/ 4864576 w 7714416"/>
              <a:gd name="connsiteY16863" fmla="*/ 1071627 h 5282095"/>
              <a:gd name="connsiteX16864" fmla="*/ 4869557 w 7714416"/>
              <a:gd name="connsiteY16864" fmla="*/ 1072962 h 5282095"/>
              <a:gd name="connsiteX16865" fmla="*/ 4876197 w 7714416"/>
              <a:gd name="connsiteY16865" fmla="*/ 1074741 h 5282095"/>
              <a:gd name="connsiteX16866" fmla="*/ 4868464 w 7714416"/>
              <a:gd name="connsiteY16866" fmla="*/ 1077039 h 5282095"/>
              <a:gd name="connsiteX16867" fmla="*/ 4866424 w 7714416"/>
              <a:gd name="connsiteY16867" fmla="*/ 1075803 h 5282095"/>
              <a:gd name="connsiteX16868" fmla="*/ 4863214 w 7714416"/>
              <a:gd name="connsiteY16868" fmla="*/ 1077816 h 5282095"/>
              <a:gd name="connsiteX16869" fmla="*/ 4852918 w 7714416"/>
              <a:gd name="connsiteY16869" fmla="*/ 1075289 h 5282095"/>
              <a:gd name="connsiteX16870" fmla="*/ 4854683 w 7714416"/>
              <a:gd name="connsiteY16870" fmla="*/ 1066906 h 5282095"/>
              <a:gd name="connsiteX16871" fmla="*/ 1772852 w 7714416"/>
              <a:gd name="connsiteY16871" fmla="*/ 1066039 h 5282095"/>
              <a:gd name="connsiteX16872" fmla="*/ 1774196 w 7714416"/>
              <a:gd name="connsiteY16872" fmla="*/ 1067664 h 5282095"/>
              <a:gd name="connsiteX16873" fmla="*/ 1765894 w 7714416"/>
              <a:gd name="connsiteY16873" fmla="*/ 1083150 h 5282095"/>
              <a:gd name="connsiteX16874" fmla="*/ 1765780 w 7714416"/>
              <a:gd name="connsiteY16874" fmla="*/ 1074724 h 5282095"/>
              <a:gd name="connsiteX16875" fmla="*/ 1772852 w 7714416"/>
              <a:gd name="connsiteY16875" fmla="*/ 1066039 h 5282095"/>
              <a:gd name="connsiteX16876" fmla="*/ 5460720 w 7714416"/>
              <a:gd name="connsiteY16876" fmla="*/ 1064840 h 5282095"/>
              <a:gd name="connsiteX16877" fmla="*/ 5470437 w 7714416"/>
              <a:gd name="connsiteY16877" fmla="*/ 1072849 h 5282095"/>
              <a:gd name="connsiteX16878" fmla="*/ 5465090 w 7714416"/>
              <a:gd name="connsiteY16878" fmla="*/ 1075097 h 5282095"/>
              <a:gd name="connsiteX16879" fmla="*/ 5457382 w 7714416"/>
              <a:gd name="connsiteY16879" fmla="*/ 1071766 h 5282095"/>
              <a:gd name="connsiteX16880" fmla="*/ 5460720 w 7714416"/>
              <a:gd name="connsiteY16880" fmla="*/ 1064840 h 5282095"/>
              <a:gd name="connsiteX16881" fmla="*/ 1191797 w 7714416"/>
              <a:gd name="connsiteY16881" fmla="*/ 1064103 h 5282095"/>
              <a:gd name="connsiteX16882" fmla="*/ 1197256 w 7714416"/>
              <a:gd name="connsiteY16882" fmla="*/ 1064760 h 5282095"/>
              <a:gd name="connsiteX16883" fmla="*/ 1193548 w 7714416"/>
              <a:gd name="connsiteY16883" fmla="*/ 1069747 h 5282095"/>
              <a:gd name="connsiteX16884" fmla="*/ 1191797 w 7714416"/>
              <a:gd name="connsiteY16884" fmla="*/ 1064103 h 5282095"/>
              <a:gd name="connsiteX16885" fmla="*/ 1354280 w 7714416"/>
              <a:gd name="connsiteY16885" fmla="*/ 1063134 h 5282095"/>
              <a:gd name="connsiteX16886" fmla="*/ 1349893 w 7714416"/>
              <a:gd name="connsiteY16886" fmla="*/ 1069548 h 5282095"/>
              <a:gd name="connsiteX16887" fmla="*/ 1344811 w 7714416"/>
              <a:gd name="connsiteY16887" fmla="*/ 1064162 h 5282095"/>
              <a:gd name="connsiteX16888" fmla="*/ 1354280 w 7714416"/>
              <a:gd name="connsiteY16888" fmla="*/ 1063134 h 5282095"/>
              <a:gd name="connsiteX16889" fmla="*/ 1362298 w 7714416"/>
              <a:gd name="connsiteY16889" fmla="*/ 1063098 h 5282095"/>
              <a:gd name="connsiteX16890" fmla="*/ 1362139 w 7714416"/>
              <a:gd name="connsiteY16890" fmla="*/ 1068115 h 5282095"/>
              <a:gd name="connsiteX16891" fmla="*/ 1358237 w 7714416"/>
              <a:gd name="connsiteY16891" fmla="*/ 1067184 h 5282095"/>
              <a:gd name="connsiteX16892" fmla="*/ 1356397 w 7714416"/>
              <a:gd name="connsiteY16892" fmla="*/ 1065196 h 5282095"/>
              <a:gd name="connsiteX16893" fmla="*/ 1357746 w 7714416"/>
              <a:gd name="connsiteY16893" fmla="*/ 1063488 h 5282095"/>
              <a:gd name="connsiteX16894" fmla="*/ 1362298 w 7714416"/>
              <a:gd name="connsiteY16894" fmla="*/ 1063098 h 5282095"/>
              <a:gd name="connsiteX16895" fmla="*/ 5182506 w 7714416"/>
              <a:gd name="connsiteY16895" fmla="*/ 1062745 h 5282095"/>
              <a:gd name="connsiteX16896" fmla="*/ 5188242 w 7714416"/>
              <a:gd name="connsiteY16896" fmla="*/ 1063476 h 5282095"/>
              <a:gd name="connsiteX16897" fmla="*/ 5191742 w 7714416"/>
              <a:gd name="connsiteY16897" fmla="*/ 1065910 h 5282095"/>
              <a:gd name="connsiteX16898" fmla="*/ 5192812 w 7714416"/>
              <a:gd name="connsiteY16898" fmla="*/ 1072981 h 5282095"/>
              <a:gd name="connsiteX16899" fmla="*/ 5177475 w 7714416"/>
              <a:gd name="connsiteY16899" fmla="*/ 1072667 h 5282095"/>
              <a:gd name="connsiteX16900" fmla="*/ 5175351 w 7714416"/>
              <a:gd name="connsiteY16900" fmla="*/ 1068418 h 5282095"/>
              <a:gd name="connsiteX16901" fmla="*/ 5178467 w 7714416"/>
              <a:gd name="connsiteY16901" fmla="*/ 1064537 h 5282095"/>
              <a:gd name="connsiteX16902" fmla="*/ 5182506 w 7714416"/>
              <a:gd name="connsiteY16902" fmla="*/ 1062745 h 5282095"/>
              <a:gd name="connsiteX16903" fmla="*/ 4921491 w 7714416"/>
              <a:gd name="connsiteY16903" fmla="*/ 1060657 h 5282095"/>
              <a:gd name="connsiteX16904" fmla="*/ 4924237 w 7714416"/>
              <a:gd name="connsiteY16904" fmla="*/ 1072547 h 5282095"/>
              <a:gd name="connsiteX16905" fmla="*/ 4921491 w 7714416"/>
              <a:gd name="connsiteY16905" fmla="*/ 1060657 h 5282095"/>
              <a:gd name="connsiteX16906" fmla="*/ 2211946 w 7714416"/>
              <a:gd name="connsiteY16906" fmla="*/ 1057652 h 5282095"/>
              <a:gd name="connsiteX16907" fmla="*/ 2224039 w 7714416"/>
              <a:gd name="connsiteY16907" fmla="*/ 1066757 h 5282095"/>
              <a:gd name="connsiteX16908" fmla="*/ 2218904 w 7714416"/>
              <a:gd name="connsiteY16908" fmla="*/ 1067106 h 5282095"/>
              <a:gd name="connsiteX16909" fmla="*/ 2211946 w 7714416"/>
              <a:gd name="connsiteY16909" fmla="*/ 1057652 h 5282095"/>
              <a:gd name="connsiteX16910" fmla="*/ 1807201 w 7714416"/>
              <a:gd name="connsiteY16910" fmla="*/ 1056828 h 5282095"/>
              <a:gd name="connsiteX16911" fmla="*/ 1819284 w 7714416"/>
              <a:gd name="connsiteY16911" fmla="*/ 1057665 h 5282095"/>
              <a:gd name="connsiteX16912" fmla="*/ 1823511 w 7714416"/>
              <a:gd name="connsiteY16912" fmla="*/ 1059603 h 5282095"/>
              <a:gd name="connsiteX16913" fmla="*/ 1827442 w 7714416"/>
              <a:gd name="connsiteY16913" fmla="*/ 1060426 h 5282095"/>
              <a:gd name="connsiteX16914" fmla="*/ 1834957 w 7714416"/>
              <a:gd name="connsiteY16914" fmla="*/ 1066694 h 5282095"/>
              <a:gd name="connsiteX16915" fmla="*/ 1801305 w 7714416"/>
              <a:gd name="connsiteY16915" fmla="*/ 1063888 h 5282095"/>
              <a:gd name="connsiteX16916" fmla="*/ 1797881 w 7714416"/>
              <a:gd name="connsiteY16916" fmla="*/ 1062279 h 5282095"/>
              <a:gd name="connsiteX16917" fmla="*/ 1797770 w 7714416"/>
              <a:gd name="connsiteY16917" fmla="*/ 1059376 h 5282095"/>
              <a:gd name="connsiteX16918" fmla="*/ 1807201 w 7714416"/>
              <a:gd name="connsiteY16918" fmla="*/ 1056828 h 5282095"/>
              <a:gd name="connsiteX16919" fmla="*/ 5728685 w 7714416"/>
              <a:gd name="connsiteY16919" fmla="*/ 1056485 h 5282095"/>
              <a:gd name="connsiteX16920" fmla="*/ 5722842 w 7714416"/>
              <a:gd name="connsiteY16920" fmla="*/ 1067225 h 5282095"/>
              <a:gd name="connsiteX16921" fmla="*/ 5728685 w 7714416"/>
              <a:gd name="connsiteY16921" fmla="*/ 1056485 h 5282095"/>
              <a:gd name="connsiteX16922" fmla="*/ 5440830 w 7714416"/>
              <a:gd name="connsiteY16922" fmla="*/ 1056061 h 5282095"/>
              <a:gd name="connsiteX16923" fmla="*/ 5436097 w 7714416"/>
              <a:gd name="connsiteY16923" fmla="*/ 1063763 h 5282095"/>
              <a:gd name="connsiteX16924" fmla="*/ 5435116 w 7714416"/>
              <a:gd name="connsiteY16924" fmla="*/ 1061890 h 5282095"/>
              <a:gd name="connsiteX16925" fmla="*/ 5436798 w 7714416"/>
              <a:gd name="connsiteY16925" fmla="*/ 1060041 h 5282095"/>
              <a:gd name="connsiteX16926" fmla="*/ 5440830 w 7714416"/>
              <a:gd name="connsiteY16926" fmla="*/ 1056061 h 5282095"/>
              <a:gd name="connsiteX16927" fmla="*/ 5156946 w 7714416"/>
              <a:gd name="connsiteY16927" fmla="*/ 1055205 h 5282095"/>
              <a:gd name="connsiteX16928" fmla="*/ 5153290 w 7714416"/>
              <a:gd name="connsiteY16928" fmla="*/ 1063312 h 5282095"/>
              <a:gd name="connsiteX16929" fmla="*/ 5152005 w 7714416"/>
              <a:gd name="connsiteY16929" fmla="*/ 1061471 h 5282095"/>
              <a:gd name="connsiteX16930" fmla="*/ 5153409 w 7714416"/>
              <a:gd name="connsiteY16930" fmla="*/ 1059548 h 5282095"/>
              <a:gd name="connsiteX16931" fmla="*/ 5156946 w 7714416"/>
              <a:gd name="connsiteY16931" fmla="*/ 1055205 h 5282095"/>
              <a:gd name="connsiteX16932" fmla="*/ 2238798 w 7714416"/>
              <a:gd name="connsiteY16932" fmla="*/ 1054842 h 5282095"/>
              <a:gd name="connsiteX16933" fmla="*/ 2245751 w 7714416"/>
              <a:gd name="connsiteY16933" fmla="*/ 1058774 h 5282095"/>
              <a:gd name="connsiteX16934" fmla="*/ 2234844 w 7714416"/>
              <a:gd name="connsiteY16934" fmla="*/ 1065167 h 5282095"/>
              <a:gd name="connsiteX16935" fmla="*/ 2230342 w 7714416"/>
              <a:gd name="connsiteY16935" fmla="*/ 1063155 h 5282095"/>
              <a:gd name="connsiteX16936" fmla="*/ 2233329 w 7714416"/>
              <a:gd name="connsiteY16936" fmla="*/ 1055331 h 5282095"/>
              <a:gd name="connsiteX16937" fmla="*/ 2238798 w 7714416"/>
              <a:gd name="connsiteY16937" fmla="*/ 1054842 h 5282095"/>
              <a:gd name="connsiteX16938" fmla="*/ 5145273 w 7714416"/>
              <a:gd name="connsiteY16938" fmla="*/ 1054493 h 5282095"/>
              <a:gd name="connsiteX16939" fmla="*/ 5146934 w 7714416"/>
              <a:gd name="connsiteY16939" fmla="*/ 1054938 h 5282095"/>
              <a:gd name="connsiteX16940" fmla="*/ 5144890 w 7714416"/>
              <a:gd name="connsiteY16940" fmla="*/ 1057034 h 5282095"/>
              <a:gd name="connsiteX16941" fmla="*/ 5145273 w 7714416"/>
              <a:gd name="connsiteY16941" fmla="*/ 1054493 h 5282095"/>
              <a:gd name="connsiteX16942" fmla="*/ 5128686 w 7714416"/>
              <a:gd name="connsiteY16942" fmla="*/ 1054418 h 5282095"/>
              <a:gd name="connsiteX16943" fmla="*/ 5141062 w 7714416"/>
              <a:gd name="connsiteY16943" fmla="*/ 1056929 h 5282095"/>
              <a:gd name="connsiteX16944" fmla="*/ 5145381 w 7714416"/>
              <a:gd name="connsiteY16944" fmla="*/ 1060732 h 5282095"/>
              <a:gd name="connsiteX16945" fmla="*/ 5147200 w 7714416"/>
              <a:gd name="connsiteY16945" fmla="*/ 1065014 h 5282095"/>
              <a:gd name="connsiteX16946" fmla="*/ 5143053 w 7714416"/>
              <a:gd name="connsiteY16946" fmla="*/ 1069423 h 5282095"/>
              <a:gd name="connsiteX16947" fmla="*/ 5141392 w 7714416"/>
              <a:gd name="connsiteY16947" fmla="*/ 1068978 h 5282095"/>
              <a:gd name="connsiteX16948" fmla="*/ 5140254 w 7714416"/>
              <a:gd name="connsiteY16948" fmla="*/ 1072123 h 5282095"/>
              <a:gd name="connsiteX16949" fmla="*/ 5134938 w 7714416"/>
              <a:gd name="connsiteY16949" fmla="*/ 1079784 h 5282095"/>
              <a:gd name="connsiteX16950" fmla="*/ 5137792 w 7714416"/>
              <a:gd name="connsiteY16950" fmla="*/ 1071349 h 5282095"/>
              <a:gd name="connsiteX16951" fmla="*/ 5139484 w 7714416"/>
              <a:gd name="connsiteY16951" fmla="*/ 1068353 h 5282095"/>
              <a:gd name="connsiteX16952" fmla="*/ 5137023 w 7714416"/>
              <a:gd name="connsiteY16952" fmla="*/ 1067578 h 5282095"/>
              <a:gd name="connsiteX16953" fmla="*/ 5128686 w 7714416"/>
              <a:gd name="connsiteY16953" fmla="*/ 1054418 h 5282095"/>
              <a:gd name="connsiteX16954" fmla="*/ 4897953 w 7714416"/>
              <a:gd name="connsiteY16954" fmla="*/ 1053315 h 5282095"/>
              <a:gd name="connsiteX16955" fmla="*/ 4908996 w 7714416"/>
              <a:gd name="connsiteY16955" fmla="*/ 1061909 h 5282095"/>
              <a:gd name="connsiteX16956" fmla="*/ 4909245 w 7714416"/>
              <a:gd name="connsiteY16956" fmla="*/ 1062090 h 5282095"/>
              <a:gd name="connsiteX16957" fmla="*/ 4909618 w 7714416"/>
              <a:gd name="connsiteY16957" fmla="*/ 1060695 h 5282095"/>
              <a:gd name="connsiteX16958" fmla="*/ 4909884 w 7714416"/>
              <a:gd name="connsiteY16958" fmla="*/ 1061917 h 5282095"/>
              <a:gd name="connsiteX16959" fmla="*/ 4909158 w 7714416"/>
              <a:gd name="connsiteY16959" fmla="*/ 1062413 h 5282095"/>
              <a:gd name="connsiteX16960" fmla="*/ 4911738 w 7714416"/>
              <a:gd name="connsiteY16960" fmla="*/ 1068279 h 5282095"/>
              <a:gd name="connsiteX16961" fmla="*/ 4910750 w 7714416"/>
              <a:gd name="connsiteY16961" fmla="*/ 1073074 h 5282095"/>
              <a:gd name="connsiteX16962" fmla="*/ 4898302 w 7714416"/>
              <a:gd name="connsiteY16962" fmla="*/ 1075259 h 5282095"/>
              <a:gd name="connsiteX16963" fmla="*/ 4885060 w 7714416"/>
              <a:gd name="connsiteY16963" fmla="*/ 1061590 h 5282095"/>
              <a:gd name="connsiteX16964" fmla="*/ 4887518 w 7714416"/>
              <a:gd name="connsiteY16964" fmla="*/ 1056843 h 5282095"/>
              <a:gd name="connsiteX16965" fmla="*/ 4897953 w 7714416"/>
              <a:gd name="connsiteY16965" fmla="*/ 1053315 h 5282095"/>
              <a:gd name="connsiteX16966" fmla="*/ 1125324 w 7714416"/>
              <a:gd name="connsiteY16966" fmla="*/ 1053191 h 5282095"/>
              <a:gd name="connsiteX16967" fmla="*/ 1134901 w 7714416"/>
              <a:gd name="connsiteY16967" fmla="*/ 1058402 h 5282095"/>
              <a:gd name="connsiteX16968" fmla="*/ 1136179 w 7714416"/>
              <a:gd name="connsiteY16968" fmla="*/ 1058055 h 5282095"/>
              <a:gd name="connsiteX16969" fmla="*/ 1144919 w 7714416"/>
              <a:gd name="connsiteY16969" fmla="*/ 1069712 h 5282095"/>
              <a:gd name="connsiteX16970" fmla="*/ 1143094 w 7714416"/>
              <a:gd name="connsiteY16970" fmla="*/ 1072099 h 5282095"/>
              <a:gd name="connsiteX16971" fmla="*/ 1143255 w 7714416"/>
              <a:gd name="connsiteY16971" fmla="*/ 1072601 h 5282095"/>
              <a:gd name="connsiteX16972" fmla="*/ 1134999 w 7714416"/>
              <a:gd name="connsiteY16972" fmla="*/ 1074643 h 5282095"/>
              <a:gd name="connsiteX16973" fmla="*/ 1128223 w 7714416"/>
              <a:gd name="connsiteY16973" fmla="*/ 1072254 h 5282095"/>
              <a:gd name="connsiteX16974" fmla="*/ 1123016 w 7714416"/>
              <a:gd name="connsiteY16974" fmla="*/ 1068444 h 5282095"/>
              <a:gd name="connsiteX16975" fmla="*/ 1121095 w 7714416"/>
              <a:gd name="connsiteY16975" fmla="*/ 1063443 h 5282095"/>
              <a:gd name="connsiteX16976" fmla="*/ 1117619 w 7714416"/>
              <a:gd name="connsiteY16976" fmla="*/ 1055382 h 5282095"/>
              <a:gd name="connsiteX16977" fmla="*/ 1125324 w 7714416"/>
              <a:gd name="connsiteY16977" fmla="*/ 1053191 h 5282095"/>
              <a:gd name="connsiteX16978" fmla="*/ 1797805 w 7714416"/>
              <a:gd name="connsiteY16978" fmla="*/ 1052600 h 5282095"/>
              <a:gd name="connsiteX16979" fmla="*/ 1800534 w 7714416"/>
              <a:gd name="connsiteY16979" fmla="*/ 1054595 h 5282095"/>
              <a:gd name="connsiteX16980" fmla="*/ 1799617 w 7714416"/>
              <a:gd name="connsiteY16980" fmla="*/ 1054695 h 5282095"/>
              <a:gd name="connsiteX16981" fmla="*/ 1797518 w 7714416"/>
              <a:gd name="connsiteY16981" fmla="*/ 1053672 h 5282095"/>
              <a:gd name="connsiteX16982" fmla="*/ 1797805 w 7714416"/>
              <a:gd name="connsiteY16982" fmla="*/ 1052600 h 5282095"/>
              <a:gd name="connsiteX16983" fmla="*/ 1728804 w 7714416"/>
              <a:gd name="connsiteY16983" fmla="*/ 1050987 h 5282095"/>
              <a:gd name="connsiteX16984" fmla="*/ 1761585 w 7714416"/>
              <a:gd name="connsiteY16984" fmla="*/ 1069345 h 5282095"/>
              <a:gd name="connsiteX16985" fmla="*/ 1739001 w 7714416"/>
              <a:gd name="connsiteY16985" fmla="*/ 1063983 h 5282095"/>
              <a:gd name="connsiteX16986" fmla="*/ 1716641 w 7714416"/>
              <a:gd name="connsiteY16986" fmla="*/ 1052242 h 5282095"/>
              <a:gd name="connsiteX16987" fmla="*/ 1728804 w 7714416"/>
              <a:gd name="connsiteY16987" fmla="*/ 1050987 h 5282095"/>
              <a:gd name="connsiteX16988" fmla="*/ 5080205 w 7714416"/>
              <a:gd name="connsiteY16988" fmla="*/ 1050514 h 5282095"/>
              <a:gd name="connsiteX16989" fmla="*/ 5089914 w 7714416"/>
              <a:gd name="connsiteY16989" fmla="*/ 1082900 h 5282095"/>
              <a:gd name="connsiteX16990" fmla="*/ 5083374 w 7714416"/>
              <a:gd name="connsiteY16990" fmla="*/ 1076318 h 5282095"/>
              <a:gd name="connsiteX16991" fmla="*/ 5080931 w 7714416"/>
              <a:gd name="connsiteY16991" fmla="*/ 1076584 h 5282095"/>
              <a:gd name="connsiteX16992" fmla="*/ 5074146 w 7714416"/>
              <a:gd name="connsiteY16992" fmla="*/ 1075340 h 5282095"/>
              <a:gd name="connsiteX16993" fmla="*/ 5073108 w 7714416"/>
              <a:gd name="connsiteY16993" fmla="*/ 1064827 h 5282095"/>
              <a:gd name="connsiteX16994" fmla="*/ 5077926 w 7714416"/>
              <a:gd name="connsiteY16994" fmla="*/ 1065658 h 5282095"/>
              <a:gd name="connsiteX16995" fmla="*/ 5078537 w 7714416"/>
              <a:gd name="connsiteY16995" fmla="*/ 1065592 h 5282095"/>
              <a:gd name="connsiteX16996" fmla="*/ 1361597 w 7714416"/>
              <a:gd name="connsiteY16996" fmla="*/ 1049110 h 5282095"/>
              <a:gd name="connsiteX16997" fmla="*/ 1368429 w 7714416"/>
              <a:gd name="connsiteY16997" fmla="*/ 1051285 h 5282095"/>
              <a:gd name="connsiteX16998" fmla="*/ 1370879 w 7714416"/>
              <a:gd name="connsiteY16998" fmla="*/ 1053207 h 5282095"/>
              <a:gd name="connsiteX16999" fmla="*/ 1362701 w 7714416"/>
              <a:gd name="connsiteY16999" fmla="*/ 1061595 h 5282095"/>
              <a:gd name="connsiteX17000" fmla="*/ 1354723 w 7714416"/>
              <a:gd name="connsiteY17000" fmla="*/ 1060377 h 5282095"/>
              <a:gd name="connsiteX17001" fmla="*/ 1349297 w 7714416"/>
              <a:gd name="connsiteY17001" fmla="*/ 1056279 h 5282095"/>
              <a:gd name="connsiteX17002" fmla="*/ 1350816 w 7714416"/>
              <a:gd name="connsiteY17002" fmla="*/ 1053926 h 5282095"/>
              <a:gd name="connsiteX17003" fmla="*/ 1352948 w 7714416"/>
              <a:gd name="connsiteY17003" fmla="*/ 1051507 h 5282095"/>
              <a:gd name="connsiteX17004" fmla="*/ 1361597 w 7714416"/>
              <a:gd name="connsiteY17004" fmla="*/ 1049110 h 5282095"/>
              <a:gd name="connsiteX17005" fmla="*/ 5146464 w 7714416"/>
              <a:gd name="connsiteY17005" fmla="*/ 1048946 h 5282095"/>
              <a:gd name="connsiteX17006" fmla="*/ 5151426 w 7714416"/>
              <a:gd name="connsiteY17006" fmla="*/ 1049242 h 5282095"/>
              <a:gd name="connsiteX17007" fmla="*/ 5145503 w 7714416"/>
              <a:gd name="connsiteY17007" fmla="*/ 1053635 h 5282095"/>
              <a:gd name="connsiteX17008" fmla="*/ 5146464 w 7714416"/>
              <a:gd name="connsiteY17008" fmla="*/ 1048946 h 5282095"/>
              <a:gd name="connsiteX17009" fmla="*/ 1662644 w 7714416"/>
              <a:gd name="connsiteY17009" fmla="*/ 1047893 h 5282095"/>
              <a:gd name="connsiteX17010" fmla="*/ 1667165 w 7714416"/>
              <a:gd name="connsiteY17010" fmla="*/ 1050946 h 5282095"/>
              <a:gd name="connsiteX17011" fmla="*/ 1674180 w 7714416"/>
              <a:gd name="connsiteY17011" fmla="*/ 1051330 h 5282095"/>
              <a:gd name="connsiteX17012" fmla="*/ 1675725 w 7714416"/>
              <a:gd name="connsiteY17012" fmla="*/ 1052204 h 5282095"/>
              <a:gd name="connsiteX17013" fmla="*/ 1676013 w 7714416"/>
              <a:gd name="connsiteY17013" fmla="*/ 1051131 h 5282095"/>
              <a:gd name="connsiteX17014" fmla="*/ 1721066 w 7714416"/>
              <a:gd name="connsiteY17014" fmla="*/ 1074473 h 5282095"/>
              <a:gd name="connsiteX17015" fmla="*/ 1702123 w 7714416"/>
              <a:gd name="connsiteY17015" fmla="*/ 1079862 h 5282095"/>
              <a:gd name="connsiteX17016" fmla="*/ 1674669 w 7714416"/>
              <a:gd name="connsiteY17016" fmla="*/ 1058361 h 5282095"/>
              <a:gd name="connsiteX17017" fmla="*/ 1675542 w 7714416"/>
              <a:gd name="connsiteY17017" fmla="*/ 1053995 h 5282095"/>
              <a:gd name="connsiteX17018" fmla="*/ 1674464 w 7714416"/>
              <a:gd name="connsiteY17018" fmla="*/ 1053591 h 5282095"/>
              <a:gd name="connsiteX17019" fmla="*/ 1672947 w 7714416"/>
              <a:gd name="connsiteY17019" fmla="*/ 1052610 h 5282095"/>
              <a:gd name="connsiteX17020" fmla="*/ 1660724 w 7714416"/>
              <a:gd name="connsiteY17020" fmla="*/ 1051749 h 5282095"/>
              <a:gd name="connsiteX17021" fmla="*/ 1658328 w 7714416"/>
              <a:gd name="connsiteY17021" fmla="*/ 1049612 h 5282095"/>
              <a:gd name="connsiteX17022" fmla="*/ 1662644 w 7714416"/>
              <a:gd name="connsiteY17022" fmla="*/ 1047893 h 5282095"/>
              <a:gd name="connsiteX17023" fmla="*/ 1631578 w 7714416"/>
              <a:gd name="connsiteY17023" fmla="*/ 1047620 h 5282095"/>
              <a:gd name="connsiteX17024" fmla="*/ 1624578 w 7714416"/>
              <a:gd name="connsiteY17024" fmla="*/ 1078175 h 5282095"/>
              <a:gd name="connsiteX17025" fmla="*/ 1620139 w 7714416"/>
              <a:gd name="connsiteY17025" fmla="*/ 1069280 h 5282095"/>
              <a:gd name="connsiteX17026" fmla="*/ 1631578 w 7714416"/>
              <a:gd name="connsiteY17026" fmla="*/ 1047620 h 5282095"/>
              <a:gd name="connsiteX17027" fmla="*/ 5060042 w 7714416"/>
              <a:gd name="connsiteY17027" fmla="*/ 1047180 h 5282095"/>
              <a:gd name="connsiteX17028" fmla="*/ 5062593 w 7714416"/>
              <a:gd name="connsiteY17028" fmla="*/ 1053154 h 5282095"/>
              <a:gd name="connsiteX17029" fmla="*/ 5058586 w 7714416"/>
              <a:gd name="connsiteY17029" fmla="*/ 1051506 h 5282095"/>
              <a:gd name="connsiteX17030" fmla="*/ 5058485 w 7714416"/>
              <a:gd name="connsiteY17030" fmla="*/ 1047454 h 5282095"/>
              <a:gd name="connsiteX17031" fmla="*/ 5060042 w 7714416"/>
              <a:gd name="connsiteY17031" fmla="*/ 1047180 h 5282095"/>
              <a:gd name="connsiteX17032" fmla="*/ 1209913 w 7714416"/>
              <a:gd name="connsiteY17032" fmla="*/ 1046302 h 5282095"/>
              <a:gd name="connsiteX17033" fmla="*/ 1226479 w 7714416"/>
              <a:gd name="connsiteY17033" fmla="*/ 1057526 h 5282095"/>
              <a:gd name="connsiteX17034" fmla="*/ 1228266 w 7714416"/>
              <a:gd name="connsiteY17034" fmla="*/ 1065249 h 5282095"/>
              <a:gd name="connsiteX17035" fmla="*/ 1223273 w 7714416"/>
              <a:gd name="connsiteY17035" fmla="*/ 1065062 h 5282095"/>
              <a:gd name="connsiteX17036" fmla="*/ 1214318 w 7714416"/>
              <a:gd name="connsiteY17036" fmla="*/ 1058637 h 5282095"/>
              <a:gd name="connsiteX17037" fmla="*/ 1209913 w 7714416"/>
              <a:gd name="connsiteY17037" fmla="*/ 1046302 h 5282095"/>
              <a:gd name="connsiteX17038" fmla="*/ 1389232 w 7714416"/>
              <a:gd name="connsiteY17038" fmla="*/ 1045589 h 5282095"/>
              <a:gd name="connsiteX17039" fmla="*/ 1405812 w 7714416"/>
              <a:gd name="connsiteY17039" fmla="*/ 1052332 h 5282095"/>
              <a:gd name="connsiteX17040" fmla="*/ 1393008 w 7714416"/>
              <a:gd name="connsiteY17040" fmla="*/ 1056951 h 5282095"/>
              <a:gd name="connsiteX17041" fmla="*/ 1388057 w 7714416"/>
              <a:gd name="connsiteY17041" fmla="*/ 1055509 h 5282095"/>
              <a:gd name="connsiteX17042" fmla="*/ 1382717 w 7714416"/>
              <a:gd name="connsiteY17042" fmla="*/ 1051089 h 5282095"/>
              <a:gd name="connsiteX17043" fmla="*/ 1389232 w 7714416"/>
              <a:gd name="connsiteY17043" fmla="*/ 1045589 h 5282095"/>
              <a:gd name="connsiteX17044" fmla="*/ 4935089 w 7714416"/>
              <a:gd name="connsiteY17044" fmla="*/ 1045325 h 5282095"/>
              <a:gd name="connsiteX17045" fmla="*/ 4963978 w 7714416"/>
              <a:gd name="connsiteY17045" fmla="*/ 1082506 h 5282095"/>
              <a:gd name="connsiteX17046" fmla="*/ 4957689 w 7714416"/>
              <a:gd name="connsiteY17046" fmla="*/ 1081626 h 5282095"/>
              <a:gd name="connsiteX17047" fmla="*/ 4948209 w 7714416"/>
              <a:gd name="connsiteY17047" fmla="*/ 1074946 h 5282095"/>
              <a:gd name="connsiteX17048" fmla="*/ 4945227 w 7714416"/>
              <a:gd name="connsiteY17048" fmla="*/ 1070582 h 5282095"/>
              <a:gd name="connsiteX17049" fmla="*/ 4943451 w 7714416"/>
              <a:gd name="connsiteY17049" fmla="*/ 1070566 h 5282095"/>
              <a:gd name="connsiteX17050" fmla="*/ 4933641 w 7714416"/>
              <a:gd name="connsiteY17050" fmla="*/ 1069548 h 5282095"/>
              <a:gd name="connsiteX17051" fmla="*/ 4931190 w 7714416"/>
              <a:gd name="connsiteY17051" fmla="*/ 1067626 h 5282095"/>
              <a:gd name="connsiteX17052" fmla="*/ 4932243 w 7714416"/>
              <a:gd name="connsiteY17052" fmla="*/ 1064803 h 5282095"/>
              <a:gd name="connsiteX17053" fmla="*/ 4940681 w 7714416"/>
              <a:gd name="connsiteY17053" fmla="*/ 1064304 h 5282095"/>
              <a:gd name="connsiteX17054" fmla="*/ 4936455 w 7714416"/>
              <a:gd name="connsiteY17054" fmla="*/ 1053511 h 5282095"/>
              <a:gd name="connsiteX17055" fmla="*/ 4935089 w 7714416"/>
              <a:gd name="connsiteY17055" fmla="*/ 1045325 h 5282095"/>
              <a:gd name="connsiteX17056" fmla="*/ 2290290 w 7714416"/>
              <a:gd name="connsiteY17056" fmla="*/ 1045293 h 5282095"/>
              <a:gd name="connsiteX17057" fmla="*/ 2308358 w 7714416"/>
              <a:gd name="connsiteY17057" fmla="*/ 1053125 h 5282095"/>
              <a:gd name="connsiteX17058" fmla="*/ 2301285 w 7714416"/>
              <a:gd name="connsiteY17058" fmla="*/ 1061810 h 5282095"/>
              <a:gd name="connsiteX17059" fmla="*/ 2288701 w 7714416"/>
              <a:gd name="connsiteY17059" fmla="*/ 1057863 h 5282095"/>
              <a:gd name="connsiteX17060" fmla="*/ 2290290 w 7714416"/>
              <a:gd name="connsiteY17060" fmla="*/ 1045293 h 5282095"/>
              <a:gd name="connsiteX17061" fmla="*/ 1952031 w 7714416"/>
              <a:gd name="connsiteY17061" fmla="*/ 1044818 h 5282095"/>
              <a:gd name="connsiteX17062" fmla="*/ 1958161 w 7714416"/>
              <a:gd name="connsiteY17062" fmla="*/ 1050716 h 5282095"/>
              <a:gd name="connsiteX17063" fmla="*/ 1962845 w 7714416"/>
              <a:gd name="connsiteY17063" fmla="*/ 1054270 h 5282095"/>
              <a:gd name="connsiteX17064" fmla="*/ 1962736 w 7714416"/>
              <a:gd name="connsiteY17064" fmla="*/ 1056886 h 5282095"/>
              <a:gd name="connsiteX17065" fmla="*/ 1963196 w 7714416"/>
              <a:gd name="connsiteY17065" fmla="*/ 1055170 h 5282095"/>
              <a:gd name="connsiteX17066" fmla="*/ 1965898 w 7714416"/>
              <a:gd name="connsiteY17066" fmla="*/ 1053939 h 5282095"/>
              <a:gd name="connsiteX17067" fmla="*/ 1969467 w 7714416"/>
              <a:gd name="connsiteY17067" fmla="*/ 1055011 h 5282095"/>
              <a:gd name="connsiteX17068" fmla="*/ 1974370 w 7714416"/>
              <a:gd name="connsiteY17068" fmla="*/ 1058854 h 5282095"/>
              <a:gd name="connsiteX17069" fmla="*/ 1974365 w 7714416"/>
              <a:gd name="connsiteY17069" fmla="*/ 1062188 h 5282095"/>
              <a:gd name="connsiteX17070" fmla="*/ 1972503 w 7714416"/>
              <a:gd name="connsiteY17070" fmla="*/ 1062494 h 5282095"/>
              <a:gd name="connsiteX17071" fmla="*/ 1973599 w 7714416"/>
              <a:gd name="connsiteY17071" fmla="*/ 1063937 h 5282095"/>
              <a:gd name="connsiteX17072" fmla="*/ 1975045 w 7714416"/>
              <a:gd name="connsiteY17072" fmla="*/ 1069615 h 5282095"/>
              <a:gd name="connsiteX17073" fmla="*/ 1970718 w 7714416"/>
              <a:gd name="connsiteY17073" fmla="*/ 1063626 h 5282095"/>
              <a:gd name="connsiteX17074" fmla="*/ 1971130 w 7714416"/>
              <a:gd name="connsiteY17074" fmla="*/ 1069832 h 5282095"/>
              <a:gd name="connsiteX17075" fmla="*/ 1966885 w 7714416"/>
              <a:gd name="connsiteY17075" fmla="*/ 1075710 h 5282095"/>
              <a:gd name="connsiteX17076" fmla="*/ 1959093 w 7714416"/>
              <a:gd name="connsiteY17076" fmla="*/ 1072701 h 5282095"/>
              <a:gd name="connsiteX17077" fmla="*/ 1959501 w 7714416"/>
              <a:gd name="connsiteY17077" fmla="*/ 1073385 h 5282095"/>
              <a:gd name="connsiteX17078" fmla="*/ 1927315 w 7714416"/>
              <a:gd name="connsiteY17078" fmla="*/ 1077296 h 5282095"/>
              <a:gd name="connsiteX17079" fmla="*/ 1922973 w 7714416"/>
              <a:gd name="connsiteY17079" fmla="*/ 1075788 h 5282095"/>
              <a:gd name="connsiteX17080" fmla="*/ 1921826 w 7714416"/>
              <a:gd name="connsiteY17080" fmla="*/ 1076746 h 5282095"/>
              <a:gd name="connsiteX17081" fmla="*/ 1918484 w 7714416"/>
              <a:gd name="connsiteY17081" fmla="*/ 1078151 h 5282095"/>
              <a:gd name="connsiteX17082" fmla="*/ 1914866 w 7714416"/>
              <a:gd name="connsiteY17082" fmla="*/ 1079481 h 5282095"/>
              <a:gd name="connsiteX17083" fmla="*/ 1912602 w 7714416"/>
              <a:gd name="connsiteY17083" fmla="*/ 1081289 h 5282095"/>
              <a:gd name="connsiteX17084" fmla="*/ 1905997 w 7714416"/>
              <a:gd name="connsiteY17084" fmla="*/ 1081590 h 5282095"/>
              <a:gd name="connsiteX17085" fmla="*/ 1907956 w 7714416"/>
              <a:gd name="connsiteY17085" fmla="*/ 1079814 h 5282095"/>
              <a:gd name="connsiteX17086" fmla="*/ 1911575 w 7714416"/>
              <a:gd name="connsiteY17086" fmla="*/ 1078484 h 5282095"/>
              <a:gd name="connsiteX17087" fmla="*/ 1912179 w 7714416"/>
              <a:gd name="connsiteY17087" fmla="*/ 1076230 h 5282095"/>
              <a:gd name="connsiteX17088" fmla="*/ 1917030 w 7714416"/>
              <a:gd name="connsiteY17088" fmla="*/ 1073620 h 5282095"/>
              <a:gd name="connsiteX17089" fmla="*/ 1915675 w 7714416"/>
              <a:gd name="connsiteY17089" fmla="*/ 1073143 h 5282095"/>
              <a:gd name="connsiteX17090" fmla="*/ 1898429 w 7714416"/>
              <a:gd name="connsiteY17090" fmla="*/ 1063346 h 5282095"/>
              <a:gd name="connsiteX17091" fmla="*/ 1898299 w 7714416"/>
              <a:gd name="connsiteY17091" fmla="*/ 1059402 h 5282095"/>
              <a:gd name="connsiteX17092" fmla="*/ 1911183 w 7714416"/>
              <a:gd name="connsiteY17092" fmla="*/ 1052274 h 5282095"/>
              <a:gd name="connsiteX17093" fmla="*/ 1918619 w 7714416"/>
              <a:gd name="connsiteY17093" fmla="*/ 1052196 h 5282095"/>
              <a:gd name="connsiteX17094" fmla="*/ 1915965 w 7714416"/>
              <a:gd name="connsiteY17094" fmla="*/ 1051024 h 5282095"/>
              <a:gd name="connsiteX17095" fmla="*/ 1911941 w 7714416"/>
              <a:gd name="connsiteY17095" fmla="*/ 1048336 h 5282095"/>
              <a:gd name="connsiteX17096" fmla="*/ 1916109 w 7714416"/>
              <a:gd name="connsiteY17096" fmla="*/ 1050488 h 5282095"/>
              <a:gd name="connsiteX17097" fmla="*/ 1919441 w 7714416"/>
              <a:gd name="connsiteY17097" fmla="*/ 1050231 h 5282095"/>
              <a:gd name="connsiteX17098" fmla="*/ 1921454 w 7714416"/>
              <a:gd name="connsiteY17098" fmla="*/ 1051576 h 5282095"/>
              <a:gd name="connsiteX17099" fmla="*/ 1921805 w 7714416"/>
              <a:gd name="connsiteY17099" fmla="*/ 1052475 h 5282095"/>
              <a:gd name="connsiteX17100" fmla="*/ 1931824 w 7714416"/>
              <a:gd name="connsiteY17100" fmla="*/ 1054930 h 5282095"/>
              <a:gd name="connsiteX17101" fmla="*/ 1941297 w 7714416"/>
              <a:gd name="connsiteY17101" fmla="*/ 1059423 h 5282095"/>
              <a:gd name="connsiteX17102" fmla="*/ 1941573 w 7714416"/>
              <a:gd name="connsiteY17102" fmla="*/ 1059497 h 5282095"/>
              <a:gd name="connsiteX17103" fmla="*/ 1941545 w 7714416"/>
              <a:gd name="connsiteY17103" fmla="*/ 1059603 h 5282095"/>
              <a:gd name="connsiteX17104" fmla="*/ 1945246 w 7714416"/>
              <a:gd name="connsiteY17104" fmla="*/ 1061287 h 5282095"/>
              <a:gd name="connsiteX17105" fmla="*/ 1954887 w 7714416"/>
              <a:gd name="connsiteY17105" fmla="*/ 1068470 h 5282095"/>
              <a:gd name="connsiteX17106" fmla="*/ 1954478 w 7714416"/>
              <a:gd name="connsiteY17106" fmla="*/ 1067784 h 5282095"/>
              <a:gd name="connsiteX17107" fmla="*/ 1960421 w 7714416"/>
              <a:gd name="connsiteY17107" fmla="*/ 1061098 h 5282095"/>
              <a:gd name="connsiteX17108" fmla="*/ 1963915 w 7714416"/>
              <a:gd name="connsiteY17108" fmla="*/ 1061342 h 5282095"/>
              <a:gd name="connsiteX17109" fmla="*/ 1962201 w 7714416"/>
              <a:gd name="connsiteY17109" fmla="*/ 1057779 h 5282095"/>
              <a:gd name="connsiteX17110" fmla="*/ 1962230 w 7714416"/>
              <a:gd name="connsiteY17110" fmla="*/ 1057671 h 5282095"/>
              <a:gd name="connsiteX17111" fmla="*/ 1948623 w 7714416"/>
              <a:gd name="connsiteY17111" fmla="*/ 1053106 h 5282095"/>
              <a:gd name="connsiteX17112" fmla="*/ 1945706 w 7714416"/>
              <a:gd name="connsiteY17112" fmla="*/ 1050713 h 5282095"/>
              <a:gd name="connsiteX17113" fmla="*/ 1942051 w 7714416"/>
              <a:gd name="connsiteY17113" fmla="*/ 1049965 h 5282095"/>
              <a:gd name="connsiteX17114" fmla="*/ 1943838 w 7714416"/>
              <a:gd name="connsiteY17114" fmla="*/ 1048834 h 5282095"/>
              <a:gd name="connsiteX17115" fmla="*/ 1943313 w 7714416"/>
              <a:gd name="connsiteY17115" fmla="*/ 1048577 h 5282095"/>
              <a:gd name="connsiteX17116" fmla="*/ 1943953 w 7714416"/>
              <a:gd name="connsiteY17116" fmla="*/ 1048404 h 5282095"/>
              <a:gd name="connsiteX17117" fmla="*/ 1943543 w 7714416"/>
              <a:gd name="connsiteY17117" fmla="*/ 1047719 h 5282095"/>
              <a:gd name="connsiteX17118" fmla="*/ 1943985 w 7714416"/>
              <a:gd name="connsiteY17118" fmla="*/ 1044963 h 5282095"/>
              <a:gd name="connsiteX17119" fmla="*/ 1952031 w 7714416"/>
              <a:gd name="connsiteY17119" fmla="*/ 1044818 h 5282095"/>
              <a:gd name="connsiteX17120" fmla="*/ 5779456 w 7714416"/>
              <a:gd name="connsiteY17120" fmla="*/ 1044099 h 5282095"/>
              <a:gd name="connsiteX17121" fmla="*/ 5783487 w 7714416"/>
              <a:gd name="connsiteY17121" fmla="*/ 1048974 h 5282095"/>
              <a:gd name="connsiteX17122" fmla="*/ 5776411 w 7714416"/>
              <a:gd name="connsiteY17122" fmla="*/ 1052138 h 5282095"/>
              <a:gd name="connsiteX17123" fmla="*/ 5773702 w 7714416"/>
              <a:gd name="connsiteY17123" fmla="*/ 1051183 h 5282095"/>
              <a:gd name="connsiteX17124" fmla="*/ 5769947 w 7714416"/>
              <a:gd name="connsiteY17124" fmla="*/ 1046381 h 5282095"/>
              <a:gd name="connsiteX17125" fmla="*/ 5779456 w 7714416"/>
              <a:gd name="connsiteY17125" fmla="*/ 1044099 h 5282095"/>
              <a:gd name="connsiteX17126" fmla="*/ 5563306 w 7714416"/>
              <a:gd name="connsiteY17126" fmla="*/ 1043912 h 5282095"/>
              <a:gd name="connsiteX17127" fmla="*/ 5570845 w 7714416"/>
              <a:gd name="connsiteY17127" fmla="*/ 1044553 h 5282095"/>
              <a:gd name="connsiteX17128" fmla="*/ 5581691 w 7714416"/>
              <a:gd name="connsiteY17128" fmla="*/ 1050564 h 5282095"/>
              <a:gd name="connsiteX17129" fmla="*/ 5577109 w 7714416"/>
              <a:gd name="connsiteY17129" fmla="*/ 1059916 h 5282095"/>
              <a:gd name="connsiteX17130" fmla="*/ 5578855 w 7714416"/>
              <a:gd name="connsiteY17130" fmla="*/ 1060039 h 5282095"/>
              <a:gd name="connsiteX17131" fmla="*/ 5577548 w 7714416"/>
              <a:gd name="connsiteY17131" fmla="*/ 1060493 h 5282095"/>
              <a:gd name="connsiteX17132" fmla="*/ 5576441 w 7714416"/>
              <a:gd name="connsiteY17132" fmla="*/ 1060197 h 5282095"/>
              <a:gd name="connsiteX17133" fmla="*/ 5570367 w 7714416"/>
              <a:gd name="connsiteY17133" fmla="*/ 1062940 h 5282095"/>
              <a:gd name="connsiteX17134" fmla="*/ 5563428 w 7714416"/>
              <a:gd name="connsiteY17134" fmla="*/ 1063381 h 5282095"/>
              <a:gd name="connsiteX17135" fmla="*/ 5553043 w 7714416"/>
              <a:gd name="connsiteY17135" fmla="*/ 1055653 h 5282095"/>
              <a:gd name="connsiteX17136" fmla="*/ 5563306 w 7714416"/>
              <a:gd name="connsiteY17136" fmla="*/ 1043912 h 5282095"/>
              <a:gd name="connsiteX17137" fmla="*/ 6084406 w 7714416"/>
              <a:gd name="connsiteY17137" fmla="*/ 1043814 h 5282095"/>
              <a:gd name="connsiteX17138" fmla="*/ 6098744 w 7714416"/>
              <a:gd name="connsiteY17138" fmla="*/ 1050071 h 5282095"/>
              <a:gd name="connsiteX17139" fmla="*/ 6101842 w 7714416"/>
              <a:gd name="connsiteY17139" fmla="*/ 1054007 h 5282095"/>
              <a:gd name="connsiteX17140" fmla="*/ 6068694 w 7714416"/>
              <a:gd name="connsiteY17140" fmla="*/ 1062604 h 5282095"/>
              <a:gd name="connsiteX17141" fmla="*/ 6065729 w 7714416"/>
              <a:gd name="connsiteY17141" fmla="*/ 1059280 h 5282095"/>
              <a:gd name="connsiteX17142" fmla="*/ 6064314 w 7714416"/>
              <a:gd name="connsiteY17142" fmla="*/ 1053496 h 5282095"/>
              <a:gd name="connsiteX17143" fmla="*/ 6084406 w 7714416"/>
              <a:gd name="connsiteY17143" fmla="*/ 1043814 h 5282095"/>
              <a:gd name="connsiteX17144" fmla="*/ 2361014 w 7714416"/>
              <a:gd name="connsiteY17144" fmla="*/ 1043659 h 5282095"/>
              <a:gd name="connsiteX17145" fmla="*/ 2364393 w 7714416"/>
              <a:gd name="connsiteY17145" fmla="*/ 1053189 h 5282095"/>
              <a:gd name="connsiteX17146" fmla="*/ 2354223 w 7714416"/>
              <a:gd name="connsiteY17146" fmla="*/ 1049085 h 5282095"/>
              <a:gd name="connsiteX17147" fmla="*/ 2361014 w 7714416"/>
              <a:gd name="connsiteY17147" fmla="*/ 1043659 h 5282095"/>
              <a:gd name="connsiteX17148" fmla="*/ 1230493 w 7714416"/>
              <a:gd name="connsiteY17148" fmla="*/ 1043651 h 5282095"/>
              <a:gd name="connsiteX17149" fmla="*/ 1236235 w 7714416"/>
              <a:gd name="connsiteY17149" fmla="*/ 1046570 h 5282095"/>
              <a:gd name="connsiteX17150" fmla="*/ 1228811 w 7714416"/>
              <a:gd name="connsiteY17150" fmla="*/ 1054355 h 5282095"/>
              <a:gd name="connsiteX17151" fmla="*/ 1223043 w 7714416"/>
              <a:gd name="connsiteY17151" fmla="*/ 1048209 h 5282095"/>
              <a:gd name="connsiteX17152" fmla="*/ 1224719 w 7714416"/>
              <a:gd name="connsiteY17152" fmla="*/ 1044174 h 5282095"/>
              <a:gd name="connsiteX17153" fmla="*/ 1230493 w 7714416"/>
              <a:gd name="connsiteY17153" fmla="*/ 1043651 h 5282095"/>
              <a:gd name="connsiteX17154" fmla="*/ 1148384 w 7714416"/>
              <a:gd name="connsiteY17154" fmla="*/ 1043500 h 5282095"/>
              <a:gd name="connsiteX17155" fmla="*/ 1169366 w 7714416"/>
              <a:gd name="connsiteY17155" fmla="*/ 1057057 h 5282095"/>
              <a:gd name="connsiteX17156" fmla="*/ 1164606 w 7714416"/>
              <a:gd name="connsiteY17156" fmla="*/ 1056011 h 5282095"/>
              <a:gd name="connsiteX17157" fmla="*/ 1148384 w 7714416"/>
              <a:gd name="connsiteY17157" fmla="*/ 1043500 h 5282095"/>
              <a:gd name="connsiteX17158" fmla="*/ 4832997 w 7714416"/>
              <a:gd name="connsiteY17158" fmla="*/ 1043385 h 5282095"/>
              <a:gd name="connsiteX17159" fmla="*/ 4840791 w 7714416"/>
              <a:gd name="connsiteY17159" fmla="*/ 1046393 h 5282095"/>
              <a:gd name="connsiteX17160" fmla="*/ 4845747 w 7714416"/>
              <a:gd name="connsiteY17160" fmla="*/ 1053356 h 5282095"/>
              <a:gd name="connsiteX17161" fmla="*/ 4849991 w 7714416"/>
              <a:gd name="connsiteY17161" fmla="*/ 1056333 h 5282095"/>
              <a:gd name="connsiteX17162" fmla="*/ 4849703 w 7714416"/>
              <a:gd name="connsiteY17162" fmla="*/ 1057406 h 5282095"/>
              <a:gd name="connsiteX17163" fmla="*/ 4831236 w 7714416"/>
              <a:gd name="connsiteY17163" fmla="*/ 1047743 h 5282095"/>
              <a:gd name="connsiteX17164" fmla="*/ 4830122 w 7714416"/>
              <a:gd name="connsiteY17164" fmla="*/ 1045259 h 5282095"/>
              <a:gd name="connsiteX17165" fmla="*/ 4832997 w 7714416"/>
              <a:gd name="connsiteY17165" fmla="*/ 1043385 h 5282095"/>
              <a:gd name="connsiteX17166" fmla="*/ 5969304 w 7714416"/>
              <a:gd name="connsiteY17166" fmla="*/ 1041724 h 5282095"/>
              <a:gd name="connsiteX17167" fmla="*/ 5985554 w 7714416"/>
              <a:gd name="connsiteY17167" fmla="*/ 1045273 h 5282095"/>
              <a:gd name="connsiteX17168" fmla="*/ 5989065 w 7714416"/>
              <a:gd name="connsiteY17168" fmla="*/ 1046558 h 5282095"/>
              <a:gd name="connsiteX17169" fmla="*/ 5992299 w 7714416"/>
              <a:gd name="connsiteY17169" fmla="*/ 1047770 h 5282095"/>
              <a:gd name="connsiteX17170" fmla="*/ 5994555 w 7714416"/>
              <a:gd name="connsiteY17170" fmla="*/ 1052629 h 5282095"/>
              <a:gd name="connsiteX17171" fmla="*/ 5977809 w 7714416"/>
              <a:gd name="connsiteY17171" fmla="*/ 1048717 h 5282095"/>
              <a:gd name="connsiteX17172" fmla="*/ 5963421 w 7714416"/>
              <a:gd name="connsiteY17172" fmla="*/ 1044862 h 5282095"/>
              <a:gd name="connsiteX17173" fmla="*/ 5964665 w 7714416"/>
              <a:gd name="connsiteY17173" fmla="*/ 1042434 h 5282095"/>
              <a:gd name="connsiteX17174" fmla="*/ 5969304 w 7714416"/>
              <a:gd name="connsiteY17174" fmla="*/ 1041724 h 5282095"/>
              <a:gd name="connsiteX17175" fmla="*/ 5657921 w 7714416"/>
              <a:gd name="connsiteY17175" fmla="*/ 1041664 h 5282095"/>
              <a:gd name="connsiteX17176" fmla="*/ 5668206 w 7714416"/>
              <a:gd name="connsiteY17176" fmla="*/ 1045340 h 5282095"/>
              <a:gd name="connsiteX17177" fmla="*/ 5676287 w 7714416"/>
              <a:gd name="connsiteY17177" fmla="*/ 1056130 h 5282095"/>
              <a:gd name="connsiteX17178" fmla="*/ 5657206 w 7714416"/>
              <a:gd name="connsiteY17178" fmla="*/ 1049868 h 5282095"/>
              <a:gd name="connsiteX17179" fmla="*/ 5653745 w 7714416"/>
              <a:gd name="connsiteY17179" fmla="*/ 1046181 h 5282095"/>
              <a:gd name="connsiteX17180" fmla="*/ 5652919 w 7714416"/>
              <a:gd name="connsiteY17180" fmla="*/ 1042624 h 5282095"/>
              <a:gd name="connsiteX17181" fmla="*/ 5657921 w 7714416"/>
              <a:gd name="connsiteY17181" fmla="*/ 1041664 h 5282095"/>
              <a:gd name="connsiteX17182" fmla="*/ 5344516 w 7714416"/>
              <a:gd name="connsiteY17182" fmla="*/ 1041409 h 5282095"/>
              <a:gd name="connsiteX17183" fmla="*/ 5346179 w 7714416"/>
              <a:gd name="connsiteY17183" fmla="*/ 1047375 h 5282095"/>
              <a:gd name="connsiteX17184" fmla="*/ 5342535 w 7714416"/>
              <a:gd name="connsiteY17184" fmla="*/ 1045479 h 5282095"/>
              <a:gd name="connsiteX17185" fmla="*/ 5343017 w 7714416"/>
              <a:gd name="connsiteY17185" fmla="*/ 1041467 h 5282095"/>
              <a:gd name="connsiteX17186" fmla="*/ 5344516 w 7714416"/>
              <a:gd name="connsiteY17186" fmla="*/ 1041409 h 5282095"/>
              <a:gd name="connsiteX17187" fmla="*/ 1774936 w 7714416"/>
              <a:gd name="connsiteY17187" fmla="*/ 1041383 h 5282095"/>
              <a:gd name="connsiteX17188" fmla="*/ 1782497 w 7714416"/>
              <a:gd name="connsiteY17188" fmla="*/ 1043323 h 5282095"/>
              <a:gd name="connsiteX17189" fmla="*/ 1781279 w 7714416"/>
              <a:gd name="connsiteY17189" fmla="*/ 1048976 h 5282095"/>
              <a:gd name="connsiteX17190" fmla="*/ 1772421 w 7714416"/>
              <a:gd name="connsiteY17190" fmla="*/ 1049939 h 5282095"/>
              <a:gd name="connsiteX17191" fmla="*/ 1766999 w 7714416"/>
              <a:gd name="connsiteY17191" fmla="*/ 1051360 h 5282095"/>
              <a:gd name="connsiteX17192" fmla="*/ 1764727 w 7714416"/>
              <a:gd name="connsiteY17192" fmla="*/ 1050981 h 5282095"/>
              <a:gd name="connsiteX17193" fmla="*/ 1762190 w 7714416"/>
              <a:gd name="connsiteY17193" fmla="*/ 1049381 h 5282095"/>
              <a:gd name="connsiteX17194" fmla="*/ 1770637 w 7714416"/>
              <a:gd name="connsiteY17194" fmla="*/ 1042214 h 5282095"/>
              <a:gd name="connsiteX17195" fmla="*/ 1774936 w 7714416"/>
              <a:gd name="connsiteY17195" fmla="*/ 1041383 h 5282095"/>
              <a:gd name="connsiteX17196" fmla="*/ 1865775 w 7714416"/>
              <a:gd name="connsiteY17196" fmla="*/ 1040221 h 5282095"/>
              <a:gd name="connsiteX17197" fmla="*/ 1865488 w 7714416"/>
              <a:gd name="connsiteY17197" fmla="*/ 1041294 h 5282095"/>
              <a:gd name="connsiteX17198" fmla="*/ 1861839 w 7714416"/>
              <a:gd name="connsiteY17198" fmla="*/ 1042732 h 5282095"/>
              <a:gd name="connsiteX17199" fmla="*/ 1857003 w 7714416"/>
              <a:gd name="connsiteY17199" fmla="*/ 1049716 h 5282095"/>
              <a:gd name="connsiteX17200" fmla="*/ 1853699 w 7714416"/>
              <a:gd name="connsiteY17200" fmla="*/ 1049866 h 5282095"/>
              <a:gd name="connsiteX17201" fmla="*/ 1852684 w 7714416"/>
              <a:gd name="connsiteY17201" fmla="*/ 1045914 h 5282095"/>
              <a:gd name="connsiteX17202" fmla="*/ 1857934 w 7714416"/>
              <a:gd name="connsiteY17202" fmla="*/ 1045135 h 5282095"/>
              <a:gd name="connsiteX17203" fmla="*/ 1860496 w 7714416"/>
              <a:gd name="connsiteY17203" fmla="*/ 1041107 h 5282095"/>
              <a:gd name="connsiteX17204" fmla="*/ 1865775 w 7714416"/>
              <a:gd name="connsiteY17204" fmla="*/ 1040221 h 5282095"/>
              <a:gd name="connsiteX17205" fmla="*/ 5440849 w 7714416"/>
              <a:gd name="connsiteY17205" fmla="*/ 1039391 h 5282095"/>
              <a:gd name="connsiteX17206" fmla="*/ 5447593 w 7714416"/>
              <a:gd name="connsiteY17206" fmla="*/ 1041889 h 5282095"/>
              <a:gd name="connsiteX17207" fmla="*/ 5458679 w 7714416"/>
              <a:gd name="connsiteY17207" fmla="*/ 1045893 h 5282095"/>
              <a:gd name="connsiteX17208" fmla="*/ 5458540 w 7714416"/>
              <a:gd name="connsiteY17208" fmla="*/ 1051951 h 5282095"/>
              <a:gd name="connsiteX17209" fmla="*/ 5439393 w 7714416"/>
              <a:gd name="connsiteY17209" fmla="*/ 1052571 h 5282095"/>
              <a:gd name="connsiteX17210" fmla="*/ 5428029 w 7714416"/>
              <a:gd name="connsiteY17210" fmla="*/ 1048491 h 5282095"/>
              <a:gd name="connsiteX17211" fmla="*/ 5434272 w 7714416"/>
              <a:gd name="connsiteY17211" fmla="*/ 1039583 h 5282095"/>
              <a:gd name="connsiteX17212" fmla="*/ 5440849 w 7714416"/>
              <a:gd name="connsiteY17212" fmla="*/ 1039391 h 5282095"/>
              <a:gd name="connsiteX17213" fmla="*/ 5600133 w 7714416"/>
              <a:gd name="connsiteY17213" fmla="*/ 1039290 h 5282095"/>
              <a:gd name="connsiteX17214" fmla="*/ 5602746 w 7714416"/>
              <a:gd name="connsiteY17214" fmla="*/ 1041715 h 5282095"/>
              <a:gd name="connsiteX17215" fmla="*/ 5601056 w 7714416"/>
              <a:gd name="connsiteY17215" fmla="*/ 1041378 h 5282095"/>
              <a:gd name="connsiteX17216" fmla="*/ 5600133 w 7714416"/>
              <a:gd name="connsiteY17216" fmla="*/ 1039290 h 5282095"/>
              <a:gd name="connsiteX17217" fmla="*/ 1373492 w 7714416"/>
              <a:gd name="connsiteY17217" fmla="*/ 1037922 h 5282095"/>
              <a:gd name="connsiteX17218" fmla="*/ 1377765 w 7714416"/>
              <a:gd name="connsiteY17218" fmla="*/ 1049647 h 5282095"/>
              <a:gd name="connsiteX17219" fmla="*/ 1372144 w 7714416"/>
              <a:gd name="connsiteY17219" fmla="*/ 1039631 h 5282095"/>
              <a:gd name="connsiteX17220" fmla="*/ 1373492 w 7714416"/>
              <a:gd name="connsiteY17220" fmla="*/ 1037922 h 5282095"/>
              <a:gd name="connsiteX17221" fmla="*/ 5096196 w 7714416"/>
              <a:gd name="connsiteY17221" fmla="*/ 1037318 h 5282095"/>
              <a:gd name="connsiteX17222" fmla="*/ 5109805 w 7714416"/>
              <a:gd name="connsiteY17222" fmla="*/ 1047405 h 5282095"/>
              <a:gd name="connsiteX17223" fmla="*/ 5098514 w 7714416"/>
              <a:gd name="connsiteY17223" fmla="*/ 1047484 h 5282095"/>
              <a:gd name="connsiteX17224" fmla="*/ 5092520 w 7714416"/>
              <a:gd name="connsiteY17224" fmla="*/ 1038863 h 5282095"/>
              <a:gd name="connsiteX17225" fmla="*/ 5096196 w 7714416"/>
              <a:gd name="connsiteY17225" fmla="*/ 1037318 h 5282095"/>
              <a:gd name="connsiteX17226" fmla="*/ 4864738 w 7714416"/>
              <a:gd name="connsiteY17226" fmla="*/ 1036710 h 5282095"/>
              <a:gd name="connsiteX17227" fmla="*/ 4872533 w 7714416"/>
              <a:gd name="connsiteY17227" fmla="*/ 1039718 h 5282095"/>
              <a:gd name="connsiteX17228" fmla="*/ 4872217 w 7714416"/>
              <a:gd name="connsiteY17228" fmla="*/ 1049754 h 5282095"/>
              <a:gd name="connsiteX17229" fmla="*/ 4873345 w 7714416"/>
              <a:gd name="connsiteY17229" fmla="*/ 1056611 h 5282095"/>
              <a:gd name="connsiteX17230" fmla="*/ 4869576 w 7714416"/>
              <a:gd name="connsiteY17230" fmla="*/ 1047437 h 5282095"/>
              <a:gd name="connsiteX17231" fmla="*/ 4865303 w 7714416"/>
              <a:gd name="connsiteY17231" fmla="*/ 1044566 h 5282095"/>
              <a:gd name="connsiteX17232" fmla="*/ 4864738 w 7714416"/>
              <a:gd name="connsiteY17232" fmla="*/ 1036710 h 5282095"/>
              <a:gd name="connsiteX17233" fmla="*/ 1598339 w 7714416"/>
              <a:gd name="connsiteY17233" fmla="*/ 1036644 h 5282095"/>
              <a:gd name="connsiteX17234" fmla="*/ 1605428 w 7714416"/>
              <a:gd name="connsiteY17234" fmla="*/ 1037853 h 5282095"/>
              <a:gd name="connsiteX17235" fmla="*/ 1607724 w 7714416"/>
              <a:gd name="connsiteY17235" fmla="*/ 1041458 h 5282095"/>
              <a:gd name="connsiteX17236" fmla="*/ 1605949 w 7714416"/>
              <a:gd name="connsiteY17236" fmla="*/ 1041443 h 5282095"/>
              <a:gd name="connsiteX17237" fmla="*/ 1599392 w 7714416"/>
              <a:gd name="connsiteY17237" fmla="*/ 1042675 h 5282095"/>
              <a:gd name="connsiteX17238" fmla="*/ 1598339 w 7714416"/>
              <a:gd name="connsiteY17238" fmla="*/ 1036644 h 5282095"/>
              <a:gd name="connsiteX17239" fmla="*/ 5071746 w 7714416"/>
              <a:gd name="connsiteY17239" fmla="*/ 1035597 h 5282095"/>
              <a:gd name="connsiteX17240" fmla="*/ 5076812 w 7714416"/>
              <a:gd name="connsiteY17240" fmla="*/ 1045464 h 5282095"/>
              <a:gd name="connsiteX17241" fmla="*/ 5071746 w 7714416"/>
              <a:gd name="connsiteY17241" fmla="*/ 1035597 h 5282095"/>
              <a:gd name="connsiteX17242" fmla="*/ 1267162 w 7714416"/>
              <a:gd name="connsiteY17242" fmla="*/ 1035190 h 5282095"/>
              <a:gd name="connsiteX17243" fmla="*/ 1288702 w 7714416"/>
              <a:gd name="connsiteY17243" fmla="*/ 1072128 h 5282095"/>
              <a:gd name="connsiteX17244" fmla="*/ 1269551 w 7714416"/>
              <a:gd name="connsiteY17244" fmla="*/ 1076082 h 5282095"/>
              <a:gd name="connsiteX17245" fmla="*/ 1263550 w 7714416"/>
              <a:gd name="connsiteY17245" fmla="*/ 1074129 h 5282095"/>
              <a:gd name="connsiteX17246" fmla="*/ 1247343 w 7714416"/>
              <a:gd name="connsiteY17246" fmla="*/ 1057136 h 5282095"/>
              <a:gd name="connsiteX17247" fmla="*/ 1267162 w 7714416"/>
              <a:gd name="connsiteY17247" fmla="*/ 1035190 h 5282095"/>
              <a:gd name="connsiteX17248" fmla="*/ 5716188 w 7714416"/>
              <a:gd name="connsiteY17248" fmla="*/ 1034507 h 5282095"/>
              <a:gd name="connsiteX17249" fmla="*/ 5735449 w 7714416"/>
              <a:gd name="connsiteY17249" fmla="*/ 1042313 h 5282095"/>
              <a:gd name="connsiteX17250" fmla="*/ 5730342 w 7714416"/>
              <a:gd name="connsiteY17250" fmla="*/ 1042554 h 5282095"/>
              <a:gd name="connsiteX17251" fmla="*/ 5711386 w 7714416"/>
              <a:gd name="connsiteY17251" fmla="*/ 1034715 h 5282095"/>
              <a:gd name="connsiteX17252" fmla="*/ 5716188 w 7714416"/>
              <a:gd name="connsiteY17252" fmla="*/ 1034507 h 5282095"/>
              <a:gd name="connsiteX17253" fmla="*/ 5059474 w 7714416"/>
              <a:gd name="connsiteY17253" fmla="*/ 1033804 h 5282095"/>
              <a:gd name="connsiteX17254" fmla="*/ 5060469 w 7714416"/>
              <a:gd name="connsiteY17254" fmla="*/ 1040050 h 5282095"/>
              <a:gd name="connsiteX17255" fmla="*/ 5054982 w 7714416"/>
              <a:gd name="connsiteY17255" fmla="*/ 1039500 h 5282095"/>
              <a:gd name="connsiteX17256" fmla="*/ 5054558 w 7714416"/>
              <a:gd name="connsiteY17256" fmla="*/ 1034441 h 5282095"/>
              <a:gd name="connsiteX17257" fmla="*/ 5059474 w 7714416"/>
              <a:gd name="connsiteY17257" fmla="*/ 1033804 h 5282095"/>
              <a:gd name="connsiteX17258" fmla="*/ 4943636 w 7714416"/>
              <a:gd name="connsiteY17258" fmla="*/ 1033355 h 5282095"/>
              <a:gd name="connsiteX17259" fmla="*/ 4952515 w 7714416"/>
              <a:gd name="connsiteY17259" fmla="*/ 1038954 h 5282095"/>
              <a:gd name="connsiteX17260" fmla="*/ 4956766 w 7714416"/>
              <a:gd name="connsiteY17260" fmla="*/ 1044118 h 5282095"/>
              <a:gd name="connsiteX17261" fmla="*/ 4957187 w 7714416"/>
              <a:gd name="connsiteY17261" fmla="*/ 1043655 h 5282095"/>
              <a:gd name="connsiteX17262" fmla="*/ 4962225 w 7714416"/>
              <a:gd name="connsiteY17262" fmla="*/ 1044776 h 5282095"/>
              <a:gd name="connsiteX17263" fmla="*/ 4968018 w 7714416"/>
              <a:gd name="connsiteY17263" fmla="*/ 1054149 h 5282095"/>
              <a:gd name="connsiteX17264" fmla="*/ 4972984 w 7714416"/>
              <a:gd name="connsiteY17264" fmla="*/ 1059964 h 5282095"/>
              <a:gd name="connsiteX17265" fmla="*/ 4964726 w 7714416"/>
              <a:gd name="connsiteY17265" fmla="*/ 1053151 h 5282095"/>
              <a:gd name="connsiteX17266" fmla="*/ 4959325 w 7714416"/>
              <a:gd name="connsiteY17266" fmla="*/ 1052279 h 5282095"/>
              <a:gd name="connsiteX17267" fmla="*/ 4957266 w 7714416"/>
              <a:gd name="connsiteY17267" fmla="*/ 1050002 h 5282095"/>
              <a:gd name="connsiteX17268" fmla="*/ 4955346 w 7714416"/>
              <a:gd name="connsiteY17268" fmla="*/ 1050523 h 5282095"/>
              <a:gd name="connsiteX17269" fmla="*/ 4951279 w 7714416"/>
              <a:gd name="connsiteY17269" fmla="*/ 1052423 h 5282095"/>
              <a:gd name="connsiteX17270" fmla="*/ 4940987 w 7714416"/>
              <a:gd name="connsiteY17270" fmla="*/ 1037705 h 5282095"/>
              <a:gd name="connsiteX17271" fmla="*/ 4943636 w 7714416"/>
              <a:gd name="connsiteY17271" fmla="*/ 1033355 h 5282095"/>
              <a:gd name="connsiteX17272" fmla="*/ 4890321 w 7714416"/>
              <a:gd name="connsiteY17272" fmla="*/ 1033100 h 5282095"/>
              <a:gd name="connsiteX17273" fmla="*/ 4897882 w 7714416"/>
              <a:gd name="connsiteY17273" fmla="*/ 1040301 h 5282095"/>
              <a:gd name="connsiteX17274" fmla="*/ 4895492 w 7714416"/>
              <a:gd name="connsiteY17274" fmla="*/ 1043686 h 5282095"/>
              <a:gd name="connsiteX17275" fmla="*/ 4887464 w 7714416"/>
              <a:gd name="connsiteY17275" fmla="*/ 1044869 h 5282095"/>
              <a:gd name="connsiteX17276" fmla="*/ 4884708 w 7714416"/>
              <a:gd name="connsiteY17276" fmla="*/ 1042980 h 5282095"/>
              <a:gd name="connsiteX17277" fmla="*/ 4885538 w 7714416"/>
              <a:gd name="connsiteY17277" fmla="*/ 1034348 h 5282095"/>
              <a:gd name="connsiteX17278" fmla="*/ 4890321 w 7714416"/>
              <a:gd name="connsiteY17278" fmla="*/ 1033100 h 5282095"/>
              <a:gd name="connsiteX17279" fmla="*/ 1315545 w 7714416"/>
              <a:gd name="connsiteY17279" fmla="*/ 1031710 h 5282095"/>
              <a:gd name="connsiteX17280" fmla="*/ 1323933 w 7714416"/>
              <a:gd name="connsiteY17280" fmla="*/ 1033613 h 5282095"/>
              <a:gd name="connsiteX17281" fmla="*/ 1320534 w 7714416"/>
              <a:gd name="connsiteY17281" fmla="*/ 1035231 h 5282095"/>
              <a:gd name="connsiteX17282" fmla="*/ 1315258 w 7714416"/>
              <a:gd name="connsiteY17282" fmla="*/ 1032782 h 5282095"/>
              <a:gd name="connsiteX17283" fmla="*/ 1315545 w 7714416"/>
              <a:gd name="connsiteY17283" fmla="*/ 1031710 h 5282095"/>
              <a:gd name="connsiteX17284" fmla="*/ 1633077 w 7714416"/>
              <a:gd name="connsiteY17284" fmla="*/ 1029851 h 5282095"/>
              <a:gd name="connsiteX17285" fmla="*/ 1622368 w 7714416"/>
              <a:gd name="connsiteY17285" fmla="*/ 1038827 h 5282095"/>
              <a:gd name="connsiteX17286" fmla="*/ 1633077 w 7714416"/>
              <a:gd name="connsiteY17286" fmla="*/ 1029851 h 5282095"/>
              <a:gd name="connsiteX17287" fmla="*/ 5345971 w 7714416"/>
              <a:gd name="connsiteY17287" fmla="*/ 1028229 h 5282095"/>
              <a:gd name="connsiteX17288" fmla="*/ 5345831 w 7714416"/>
              <a:gd name="connsiteY17288" fmla="*/ 1034287 h 5282095"/>
              <a:gd name="connsiteX17289" fmla="*/ 5340706 w 7714416"/>
              <a:gd name="connsiteY17289" fmla="*/ 1033488 h 5282095"/>
              <a:gd name="connsiteX17290" fmla="*/ 5341141 w 7714416"/>
              <a:gd name="connsiteY17290" fmla="*/ 1028544 h 5282095"/>
              <a:gd name="connsiteX17291" fmla="*/ 5345971 w 7714416"/>
              <a:gd name="connsiteY17291" fmla="*/ 1028229 h 5282095"/>
              <a:gd name="connsiteX17292" fmla="*/ 1687214 w 7714416"/>
              <a:gd name="connsiteY17292" fmla="*/ 1028143 h 5282095"/>
              <a:gd name="connsiteX17293" fmla="*/ 1697867 w 7714416"/>
              <a:gd name="connsiteY17293" fmla="*/ 1037092 h 5282095"/>
              <a:gd name="connsiteX17294" fmla="*/ 1687222 w 7714416"/>
              <a:gd name="connsiteY17294" fmla="*/ 1030329 h 5282095"/>
              <a:gd name="connsiteX17295" fmla="*/ 1687214 w 7714416"/>
              <a:gd name="connsiteY17295" fmla="*/ 1028143 h 5282095"/>
              <a:gd name="connsiteX17296" fmla="*/ 2219328 w 7714416"/>
              <a:gd name="connsiteY17296" fmla="*/ 1027889 h 5282095"/>
              <a:gd name="connsiteX17297" fmla="*/ 2231477 w 7714416"/>
              <a:gd name="connsiteY17297" fmla="*/ 1036780 h 5282095"/>
              <a:gd name="connsiteX17298" fmla="*/ 2209495 w 7714416"/>
              <a:gd name="connsiteY17298" fmla="*/ 1046875 h 5282095"/>
              <a:gd name="connsiteX17299" fmla="*/ 2200950 w 7714416"/>
              <a:gd name="connsiteY17299" fmla="*/ 1041135 h 5282095"/>
              <a:gd name="connsiteX17300" fmla="*/ 2201036 w 7714416"/>
              <a:gd name="connsiteY17300" fmla="*/ 1040813 h 5282095"/>
              <a:gd name="connsiteX17301" fmla="*/ 2196771 w 7714416"/>
              <a:gd name="connsiteY17301" fmla="*/ 1040130 h 5282095"/>
              <a:gd name="connsiteX17302" fmla="*/ 2190612 w 7714416"/>
              <a:gd name="connsiteY17302" fmla="*/ 1034341 h 5282095"/>
              <a:gd name="connsiteX17303" fmla="*/ 2193536 w 7714416"/>
              <a:gd name="connsiteY17303" fmla="*/ 1030064 h 5282095"/>
              <a:gd name="connsiteX17304" fmla="*/ 2198338 w 7714416"/>
              <a:gd name="connsiteY17304" fmla="*/ 1029855 h 5282095"/>
              <a:gd name="connsiteX17305" fmla="*/ 2205587 w 7714416"/>
              <a:gd name="connsiteY17305" fmla="*/ 1034903 h 5282095"/>
              <a:gd name="connsiteX17306" fmla="*/ 2207009 w 7714416"/>
              <a:gd name="connsiteY17306" fmla="*/ 1034019 h 5282095"/>
              <a:gd name="connsiteX17307" fmla="*/ 2219328 w 7714416"/>
              <a:gd name="connsiteY17307" fmla="*/ 1027889 h 5282095"/>
              <a:gd name="connsiteX17308" fmla="*/ 874852 w 7714416"/>
              <a:gd name="connsiteY17308" fmla="*/ 1027248 h 5282095"/>
              <a:gd name="connsiteX17309" fmla="*/ 878417 w 7714416"/>
              <a:gd name="connsiteY17309" fmla="*/ 1031653 h 5282095"/>
              <a:gd name="connsiteX17310" fmla="*/ 875364 w 7714416"/>
              <a:gd name="connsiteY17310" fmla="*/ 1031985 h 5282095"/>
              <a:gd name="connsiteX17311" fmla="*/ 875657 w 7714416"/>
              <a:gd name="connsiteY17311" fmla="*/ 1033099 h 5282095"/>
              <a:gd name="connsiteX17312" fmla="*/ 872279 w 7714416"/>
              <a:gd name="connsiteY17312" fmla="*/ 1032424 h 5282095"/>
              <a:gd name="connsiteX17313" fmla="*/ 871680 w 7714416"/>
              <a:gd name="connsiteY17313" fmla="*/ 1031343 h 5282095"/>
              <a:gd name="connsiteX17314" fmla="*/ 871154 w 7714416"/>
              <a:gd name="connsiteY17314" fmla="*/ 1031088 h 5282095"/>
              <a:gd name="connsiteX17315" fmla="*/ 872342 w 7714416"/>
              <a:gd name="connsiteY17315" fmla="*/ 1028875 h 5282095"/>
              <a:gd name="connsiteX17316" fmla="*/ 874852 w 7714416"/>
              <a:gd name="connsiteY17316" fmla="*/ 1027248 h 5282095"/>
              <a:gd name="connsiteX17317" fmla="*/ 5583789 w 7714416"/>
              <a:gd name="connsiteY17317" fmla="*/ 1025021 h 5282095"/>
              <a:gd name="connsiteX17318" fmla="*/ 5584318 w 7714416"/>
              <a:gd name="connsiteY17318" fmla="*/ 1030798 h 5282095"/>
              <a:gd name="connsiteX17319" fmla="*/ 5571040 w 7714416"/>
              <a:gd name="connsiteY17319" fmla="*/ 1032760 h 5282095"/>
              <a:gd name="connsiteX17320" fmla="*/ 5562753 w 7714416"/>
              <a:gd name="connsiteY17320" fmla="*/ 1034910 h 5282095"/>
              <a:gd name="connsiteX17321" fmla="*/ 5572502 w 7714416"/>
              <a:gd name="connsiteY17321" fmla="*/ 1030622 h 5282095"/>
              <a:gd name="connsiteX17322" fmla="*/ 5573728 w 7714416"/>
              <a:gd name="connsiteY17322" fmla="*/ 1027155 h 5282095"/>
              <a:gd name="connsiteX17323" fmla="*/ 5583789 w 7714416"/>
              <a:gd name="connsiteY17323" fmla="*/ 1025021 h 5282095"/>
              <a:gd name="connsiteX17324" fmla="*/ 1103738 w 7714416"/>
              <a:gd name="connsiteY17324" fmla="*/ 1024177 h 5282095"/>
              <a:gd name="connsiteX17325" fmla="*/ 1113940 w 7714416"/>
              <a:gd name="connsiteY17325" fmla="*/ 1024841 h 5282095"/>
              <a:gd name="connsiteX17326" fmla="*/ 1116301 w 7714416"/>
              <a:gd name="connsiteY17326" fmla="*/ 1030419 h 5282095"/>
              <a:gd name="connsiteX17327" fmla="*/ 1106099 w 7714416"/>
              <a:gd name="connsiteY17327" fmla="*/ 1029754 h 5282095"/>
              <a:gd name="connsiteX17328" fmla="*/ 1103738 w 7714416"/>
              <a:gd name="connsiteY17328" fmla="*/ 1024177 h 5282095"/>
              <a:gd name="connsiteX17329" fmla="*/ 1297726 w 7714416"/>
              <a:gd name="connsiteY17329" fmla="*/ 1024061 h 5282095"/>
              <a:gd name="connsiteX17330" fmla="*/ 1306102 w 7714416"/>
              <a:gd name="connsiteY17330" fmla="*/ 1027109 h 5282095"/>
              <a:gd name="connsiteX17331" fmla="*/ 1304323 w 7714416"/>
              <a:gd name="connsiteY17331" fmla="*/ 1030428 h 5282095"/>
              <a:gd name="connsiteX17332" fmla="*/ 1297635 w 7714416"/>
              <a:gd name="connsiteY17332" fmla="*/ 1027717 h 5282095"/>
              <a:gd name="connsiteX17333" fmla="*/ 1297726 w 7714416"/>
              <a:gd name="connsiteY17333" fmla="*/ 1024061 h 5282095"/>
              <a:gd name="connsiteX17334" fmla="*/ 4931640 w 7714416"/>
              <a:gd name="connsiteY17334" fmla="*/ 1022781 h 5282095"/>
              <a:gd name="connsiteX17335" fmla="*/ 4938073 w 7714416"/>
              <a:gd name="connsiteY17335" fmla="*/ 1023124 h 5282095"/>
              <a:gd name="connsiteX17336" fmla="*/ 4931934 w 7714416"/>
              <a:gd name="connsiteY17336" fmla="*/ 1023895 h 5282095"/>
              <a:gd name="connsiteX17337" fmla="*/ 4931640 w 7714416"/>
              <a:gd name="connsiteY17337" fmla="*/ 1022781 h 5282095"/>
              <a:gd name="connsiteX17338" fmla="*/ 1903779 w 7714416"/>
              <a:gd name="connsiteY17338" fmla="*/ 1022215 h 5282095"/>
              <a:gd name="connsiteX17339" fmla="*/ 1909135 w 7714416"/>
              <a:gd name="connsiteY17339" fmla="*/ 1022284 h 5282095"/>
              <a:gd name="connsiteX17340" fmla="*/ 1907497 w 7714416"/>
              <a:gd name="connsiteY17340" fmla="*/ 1046111 h 5282095"/>
              <a:gd name="connsiteX17341" fmla="*/ 1908984 w 7714416"/>
              <a:gd name="connsiteY17341" fmla="*/ 1047199 h 5282095"/>
              <a:gd name="connsiteX17342" fmla="*/ 1910414 w 7714416"/>
              <a:gd name="connsiteY17342" fmla="*/ 1048503 h 5282095"/>
              <a:gd name="connsiteX17343" fmla="*/ 1908610 w 7714416"/>
              <a:gd name="connsiteY17343" fmla="*/ 1048594 h 5282095"/>
              <a:gd name="connsiteX17344" fmla="*/ 1906206 w 7714416"/>
              <a:gd name="connsiteY17344" fmla="*/ 1047605 h 5282095"/>
              <a:gd name="connsiteX17345" fmla="*/ 1905739 w 7714416"/>
              <a:gd name="connsiteY17345" fmla="*/ 1047135 h 5282095"/>
              <a:gd name="connsiteX17346" fmla="*/ 1899291 w 7714416"/>
              <a:gd name="connsiteY17346" fmla="*/ 1051272 h 5282095"/>
              <a:gd name="connsiteX17347" fmla="*/ 1882650 w 7714416"/>
              <a:gd name="connsiteY17347" fmla="*/ 1056933 h 5282095"/>
              <a:gd name="connsiteX17348" fmla="*/ 1877594 w 7714416"/>
              <a:gd name="connsiteY17348" fmla="*/ 1054774 h 5282095"/>
              <a:gd name="connsiteX17349" fmla="*/ 1870945 w 7714416"/>
              <a:gd name="connsiteY17349" fmla="*/ 1041952 h 5282095"/>
              <a:gd name="connsiteX17350" fmla="*/ 1872574 w 7714416"/>
              <a:gd name="connsiteY17350" fmla="*/ 1036983 h 5282095"/>
              <a:gd name="connsiteX17351" fmla="*/ 1870482 w 7714416"/>
              <a:gd name="connsiteY17351" fmla="*/ 1038148 h 5282095"/>
              <a:gd name="connsiteX17352" fmla="*/ 1866091 w 7714416"/>
              <a:gd name="connsiteY17352" fmla="*/ 1039042 h 5282095"/>
              <a:gd name="connsiteX17353" fmla="*/ 1869738 w 7714416"/>
              <a:gd name="connsiteY17353" fmla="*/ 1037604 h 5282095"/>
              <a:gd name="connsiteX17354" fmla="*/ 1870065 w 7714416"/>
              <a:gd name="connsiteY17354" fmla="*/ 1035276 h 5282095"/>
              <a:gd name="connsiteX17355" fmla="*/ 1872292 w 7714416"/>
              <a:gd name="connsiteY17355" fmla="*/ 1034722 h 5282095"/>
              <a:gd name="connsiteX17356" fmla="*/ 1873397 w 7714416"/>
              <a:gd name="connsiteY17356" fmla="*/ 1035020 h 5282095"/>
              <a:gd name="connsiteX17357" fmla="*/ 1878938 w 7714416"/>
              <a:gd name="connsiteY17357" fmla="*/ 1029833 h 5282095"/>
              <a:gd name="connsiteX17358" fmla="*/ 1887045 w 7714416"/>
              <a:gd name="connsiteY17358" fmla="*/ 1026141 h 5282095"/>
              <a:gd name="connsiteX17359" fmla="*/ 1887074 w 7714416"/>
              <a:gd name="connsiteY17359" fmla="*/ 1026034 h 5282095"/>
              <a:gd name="connsiteX17360" fmla="*/ 1890388 w 7714416"/>
              <a:gd name="connsiteY17360" fmla="*/ 1024736 h 5282095"/>
              <a:gd name="connsiteX17361" fmla="*/ 1903779 w 7714416"/>
              <a:gd name="connsiteY17361" fmla="*/ 1022215 h 5282095"/>
              <a:gd name="connsiteX17362" fmla="*/ 2455594 w 7714416"/>
              <a:gd name="connsiteY17362" fmla="*/ 1021621 h 5282095"/>
              <a:gd name="connsiteX17363" fmla="*/ 2458361 w 7714416"/>
              <a:gd name="connsiteY17363" fmla="*/ 1022362 h 5282095"/>
              <a:gd name="connsiteX17364" fmla="*/ 2456748 w 7714416"/>
              <a:gd name="connsiteY17364" fmla="*/ 1022849 h 5282095"/>
              <a:gd name="connsiteX17365" fmla="*/ 2455594 w 7714416"/>
              <a:gd name="connsiteY17365" fmla="*/ 1021621 h 5282095"/>
              <a:gd name="connsiteX17366" fmla="*/ 5882408 w 7714416"/>
              <a:gd name="connsiteY17366" fmla="*/ 1019589 h 5282095"/>
              <a:gd name="connsiteX17367" fmla="*/ 5882088 w 7714416"/>
              <a:gd name="connsiteY17367" fmla="*/ 1024104 h 5282095"/>
              <a:gd name="connsiteX17368" fmla="*/ 5881115 w 7714416"/>
              <a:gd name="connsiteY17368" fmla="*/ 1024418 h 5282095"/>
              <a:gd name="connsiteX17369" fmla="*/ 5885301 w 7714416"/>
              <a:gd name="connsiteY17369" fmla="*/ 1027610 h 5282095"/>
              <a:gd name="connsiteX17370" fmla="*/ 5878688 w 7714416"/>
              <a:gd name="connsiteY17370" fmla="*/ 1034578 h 5282095"/>
              <a:gd name="connsiteX17371" fmla="*/ 5867617 w 7714416"/>
              <a:gd name="connsiteY17371" fmla="*/ 1026092 h 5282095"/>
              <a:gd name="connsiteX17372" fmla="*/ 5870549 w 7714416"/>
              <a:gd name="connsiteY17372" fmla="*/ 1024001 h 5282095"/>
              <a:gd name="connsiteX17373" fmla="*/ 5869227 w 7714416"/>
              <a:gd name="connsiteY17373" fmla="*/ 1020083 h 5282095"/>
              <a:gd name="connsiteX17374" fmla="*/ 5882408 w 7714416"/>
              <a:gd name="connsiteY17374" fmla="*/ 1019589 h 5282095"/>
              <a:gd name="connsiteX17375" fmla="*/ 2252417 w 7714416"/>
              <a:gd name="connsiteY17375" fmla="*/ 1019506 h 5282095"/>
              <a:gd name="connsiteX17376" fmla="*/ 2245083 w 7714416"/>
              <a:gd name="connsiteY17376" fmla="*/ 1032491 h 5282095"/>
              <a:gd name="connsiteX17377" fmla="*/ 2252417 w 7714416"/>
              <a:gd name="connsiteY17377" fmla="*/ 1019506 h 5282095"/>
              <a:gd name="connsiteX17378" fmla="*/ 1566496 w 7714416"/>
              <a:gd name="connsiteY17378" fmla="*/ 1018925 h 5282095"/>
              <a:gd name="connsiteX17379" fmla="*/ 1572745 w 7714416"/>
              <a:gd name="connsiteY17379" fmla="*/ 1023690 h 5282095"/>
              <a:gd name="connsiteX17380" fmla="*/ 1565076 w 7714416"/>
              <a:gd name="connsiteY17380" fmla="*/ 1027961 h 5282095"/>
              <a:gd name="connsiteX17381" fmla="*/ 1568127 w 7714416"/>
              <a:gd name="connsiteY17381" fmla="*/ 1030963 h 5282095"/>
              <a:gd name="connsiteX17382" fmla="*/ 1567782 w 7714416"/>
              <a:gd name="connsiteY17382" fmla="*/ 1041106 h 5282095"/>
              <a:gd name="connsiteX17383" fmla="*/ 1566883 w 7714416"/>
              <a:gd name="connsiteY17383" fmla="*/ 1042245 h 5282095"/>
              <a:gd name="connsiteX17384" fmla="*/ 1587199 w 7714416"/>
              <a:gd name="connsiteY17384" fmla="*/ 1047228 h 5282095"/>
              <a:gd name="connsiteX17385" fmla="*/ 1593124 w 7714416"/>
              <a:gd name="connsiteY17385" fmla="*/ 1048356 h 5282095"/>
              <a:gd name="connsiteX17386" fmla="*/ 1594270 w 7714416"/>
              <a:gd name="connsiteY17386" fmla="*/ 1047398 h 5282095"/>
              <a:gd name="connsiteX17387" fmla="*/ 1599617 w 7714416"/>
              <a:gd name="connsiteY17387" fmla="*/ 1045151 h 5282095"/>
              <a:gd name="connsiteX17388" fmla="*/ 1603488 w 7714416"/>
              <a:gd name="connsiteY17388" fmla="*/ 1049523 h 5282095"/>
              <a:gd name="connsiteX17389" fmla="*/ 1603562 w 7714416"/>
              <a:gd name="connsiteY17389" fmla="*/ 1050349 h 5282095"/>
              <a:gd name="connsiteX17390" fmla="*/ 1604421 w 7714416"/>
              <a:gd name="connsiteY17390" fmla="*/ 1050464 h 5282095"/>
              <a:gd name="connsiteX17391" fmla="*/ 1603725 w 7714416"/>
              <a:gd name="connsiteY17391" fmla="*/ 1050852 h 5282095"/>
              <a:gd name="connsiteX17392" fmla="*/ 1604181 w 7714416"/>
              <a:gd name="connsiteY17392" fmla="*/ 1052469 h 5282095"/>
              <a:gd name="connsiteX17393" fmla="*/ 1602621 w 7714416"/>
              <a:gd name="connsiteY17393" fmla="*/ 1056076 h 5282095"/>
              <a:gd name="connsiteX17394" fmla="*/ 1599585 w 7714416"/>
              <a:gd name="connsiteY17394" fmla="*/ 1057447 h 5282095"/>
              <a:gd name="connsiteX17395" fmla="*/ 1595851 w 7714416"/>
              <a:gd name="connsiteY17395" fmla="*/ 1059207 h 5282095"/>
              <a:gd name="connsiteX17396" fmla="*/ 1594964 w 7714416"/>
              <a:gd name="connsiteY17396" fmla="*/ 1059200 h 5282095"/>
              <a:gd name="connsiteX17397" fmla="*/ 1593949 w 7714416"/>
              <a:gd name="connsiteY17397" fmla="*/ 1060768 h 5282095"/>
              <a:gd name="connsiteX17398" fmla="*/ 1590643 w 7714416"/>
              <a:gd name="connsiteY17398" fmla="*/ 1073106 h 5282095"/>
              <a:gd name="connsiteX17399" fmla="*/ 1593935 w 7714416"/>
              <a:gd name="connsiteY17399" fmla="*/ 1074104 h 5282095"/>
              <a:gd name="connsiteX17400" fmla="*/ 1601575 w 7714416"/>
              <a:gd name="connsiteY17400" fmla="*/ 1078796 h 5282095"/>
              <a:gd name="connsiteX17401" fmla="*/ 1589401 w 7714416"/>
              <a:gd name="connsiteY17401" fmla="*/ 1084389 h 5282095"/>
              <a:gd name="connsiteX17402" fmla="*/ 1585584 w 7714416"/>
              <a:gd name="connsiteY17402" fmla="*/ 1083137 h 5282095"/>
              <a:gd name="connsiteX17403" fmla="*/ 1583902 w 7714416"/>
              <a:gd name="connsiteY17403" fmla="*/ 1084985 h 5282095"/>
              <a:gd name="connsiteX17404" fmla="*/ 1577990 w 7714416"/>
              <a:gd name="connsiteY17404" fmla="*/ 1088232 h 5282095"/>
              <a:gd name="connsiteX17405" fmla="*/ 1528363 w 7714416"/>
              <a:gd name="connsiteY17405" fmla="*/ 1076429 h 5282095"/>
              <a:gd name="connsiteX17406" fmla="*/ 1527983 w 7714416"/>
              <a:gd name="connsiteY17406" fmla="*/ 1075638 h 5282095"/>
              <a:gd name="connsiteX17407" fmla="*/ 1524439 w 7714416"/>
              <a:gd name="connsiteY17407" fmla="*/ 1077793 h 5282095"/>
              <a:gd name="connsiteX17408" fmla="*/ 1527702 w 7714416"/>
              <a:gd name="connsiteY17408" fmla="*/ 1078897 h 5282095"/>
              <a:gd name="connsiteX17409" fmla="*/ 1528352 w 7714416"/>
              <a:gd name="connsiteY17409" fmla="*/ 1086431 h 5282095"/>
              <a:gd name="connsiteX17410" fmla="*/ 1519164 w 7714416"/>
              <a:gd name="connsiteY17410" fmla="*/ 1084200 h 5282095"/>
              <a:gd name="connsiteX17411" fmla="*/ 1515969 w 7714416"/>
              <a:gd name="connsiteY17411" fmla="*/ 1081733 h 5282095"/>
              <a:gd name="connsiteX17412" fmla="*/ 1505642 w 7714416"/>
              <a:gd name="connsiteY17412" fmla="*/ 1082646 h 5282095"/>
              <a:gd name="connsiteX17413" fmla="*/ 1497473 w 7714416"/>
              <a:gd name="connsiteY17413" fmla="*/ 1081032 h 5282095"/>
              <a:gd name="connsiteX17414" fmla="*/ 1488266 w 7714416"/>
              <a:gd name="connsiteY17414" fmla="*/ 1077761 h 5282095"/>
              <a:gd name="connsiteX17415" fmla="*/ 1468175 w 7714416"/>
              <a:gd name="connsiteY17415" fmla="*/ 1060877 h 5282095"/>
              <a:gd name="connsiteX17416" fmla="*/ 1464115 w 7714416"/>
              <a:gd name="connsiteY17416" fmla="*/ 1056108 h 5282095"/>
              <a:gd name="connsiteX17417" fmla="*/ 1462016 w 7714416"/>
              <a:gd name="connsiteY17417" fmla="*/ 1055086 h 5282095"/>
              <a:gd name="connsiteX17418" fmla="*/ 1456360 w 7714416"/>
              <a:gd name="connsiteY17418" fmla="*/ 1051846 h 5282095"/>
              <a:gd name="connsiteX17419" fmla="*/ 1456076 w 7714416"/>
              <a:gd name="connsiteY17419" fmla="*/ 1049585 h 5282095"/>
              <a:gd name="connsiteX17420" fmla="*/ 1460082 w 7714416"/>
              <a:gd name="connsiteY17420" fmla="*/ 1051233 h 5282095"/>
              <a:gd name="connsiteX17421" fmla="*/ 1459206 w 7714416"/>
              <a:gd name="connsiteY17421" fmla="*/ 1050078 h 5282095"/>
              <a:gd name="connsiteX17422" fmla="*/ 1447774 w 7714416"/>
              <a:gd name="connsiteY17422" fmla="*/ 1038505 h 5282095"/>
              <a:gd name="connsiteX17423" fmla="*/ 1470101 w 7714416"/>
              <a:gd name="connsiteY17423" fmla="*/ 1035978 h 5282095"/>
              <a:gd name="connsiteX17424" fmla="*/ 1476567 w 7714416"/>
              <a:gd name="connsiteY17424" fmla="*/ 1032879 h 5282095"/>
              <a:gd name="connsiteX17425" fmla="*/ 1475661 w 7714416"/>
              <a:gd name="connsiteY17425" fmla="*/ 1031832 h 5282095"/>
              <a:gd name="connsiteX17426" fmla="*/ 1475021 w 7714416"/>
              <a:gd name="connsiteY17426" fmla="*/ 1032006 h 5282095"/>
              <a:gd name="connsiteX17427" fmla="*/ 1471223 w 7714416"/>
              <a:gd name="connsiteY17427" fmla="*/ 1022938 h 5282095"/>
              <a:gd name="connsiteX17428" fmla="*/ 1487681 w 7714416"/>
              <a:gd name="connsiteY17428" fmla="*/ 1027923 h 5282095"/>
              <a:gd name="connsiteX17429" fmla="*/ 1488426 w 7714416"/>
              <a:gd name="connsiteY17429" fmla="*/ 1028467 h 5282095"/>
              <a:gd name="connsiteX17430" fmla="*/ 1494783 w 7714416"/>
              <a:gd name="connsiteY17430" fmla="*/ 1027985 h 5282095"/>
              <a:gd name="connsiteX17431" fmla="*/ 1502702 w 7714416"/>
              <a:gd name="connsiteY17431" fmla="*/ 1029418 h 5282095"/>
              <a:gd name="connsiteX17432" fmla="*/ 1513835 w 7714416"/>
              <a:gd name="connsiteY17432" fmla="*/ 1034356 h 5282095"/>
              <a:gd name="connsiteX17433" fmla="*/ 1515050 w 7714416"/>
              <a:gd name="connsiteY17433" fmla="*/ 1032036 h 5282095"/>
              <a:gd name="connsiteX17434" fmla="*/ 1521475 w 7714416"/>
              <a:gd name="connsiteY17434" fmla="*/ 1039048 h 5282095"/>
              <a:gd name="connsiteX17435" fmla="*/ 1521084 w 7714416"/>
              <a:gd name="connsiteY17435" fmla="*/ 1039404 h 5282095"/>
              <a:gd name="connsiteX17436" fmla="*/ 1526775 w 7714416"/>
              <a:gd name="connsiteY17436" fmla="*/ 1044723 h 5282095"/>
              <a:gd name="connsiteX17437" fmla="*/ 1531947 w 7714416"/>
              <a:gd name="connsiteY17437" fmla="*/ 1037599 h 5282095"/>
              <a:gd name="connsiteX17438" fmla="*/ 1539112 w 7714416"/>
              <a:gd name="connsiteY17438" fmla="*/ 1030779 h 5282095"/>
              <a:gd name="connsiteX17439" fmla="*/ 1554813 w 7714416"/>
              <a:gd name="connsiteY17439" fmla="*/ 1021991 h 5282095"/>
              <a:gd name="connsiteX17440" fmla="*/ 1555395 w 7714416"/>
              <a:gd name="connsiteY17440" fmla="*/ 1022032 h 5282095"/>
              <a:gd name="connsiteX17441" fmla="*/ 1558880 w 7714416"/>
              <a:gd name="connsiteY17441" fmla="*/ 1020090 h 5282095"/>
              <a:gd name="connsiteX17442" fmla="*/ 1566496 w 7714416"/>
              <a:gd name="connsiteY17442" fmla="*/ 1018925 h 5282095"/>
              <a:gd name="connsiteX17443" fmla="*/ 5704591 w 7714416"/>
              <a:gd name="connsiteY17443" fmla="*/ 1016910 h 5282095"/>
              <a:gd name="connsiteX17444" fmla="*/ 5716199 w 7714416"/>
              <a:gd name="connsiteY17444" fmla="*/ 1024505 h 5282095"/>
              <a:gd name="connsiteX17445" fmla="*/ 5708005 w 7714416"/>
              <a:gd name="connsiteY17445" fmla="*/ 1028519 h 5282095"/>
              <a:gd name="connsiteX17446" fmla="*/ 5702705 w 7714416"/>
              <a:gd name="connsiteY17446" fmla="*/ 1022844 h 5282095"/>
              <a:gd name="connsiteX17447" fmla="*/ 5704591 w 7714416"/>
              <a:gd name="connsiteY17447" fmla="*/ 1016910 h 5282095"/>
              <a:gd name="connsiteX17448" fmla="*/ 1616982 w 7714416"/>
              <a:gd name="connsiteY17448" fmla="*/ 1015763 h 5282095"/>
              <a:gd name="connsiteX17449" fmla="*/ 1616378 w 7714416"/>
              <a:gd name="connsiteY17449" fmla="*/ 1018016 h 5282095"/>
              <a:gd name="connsiteX17450" fmla="*/ 1615357 w 7714416"/>
              <a:gd name="connsiteY17450" fmla="*/ 1017399 h 5282095"/>
              <a:gd name="connsiteX17451" fmla="*/ 1615455 w 7714416"/>
              <a:gd name="connsiteY17451" fmla="*/ 1015929 h 5282095"/>
              <a:gd name="connsiteX17452" fmla="*/ 1616982 w 7714416"/>
              <a:gd name="connsiteY17452" fmla="*/ 1015763 h 5282095"/>
              <a:gd name="connsiteX17453" fmla="*/ 2306242 w 7714416"/>
              <a:gd name="connsiteY17453" fmla="*/ 1015643 h 5282095"/>
              <a:gd name="connsiteX17454" fmla="*/ 2330006 w 7714416"/>
              <a:gd name="connsiteY17454" fmla="*/ 1025460 h 5282095"/>
              <a:gd name="connsiteX17455" fmla="*/ 2314485 w 7714416"/>
              <a:gd name="connsiteY17455" fmla="*/ 1026936 h 5282095"/>
              <a:gd name="connsiteX17456" fmla="*/ 2301218 w 7714416"/>
              <a:gd name="connsiteY17456" fmla="*/ 1018896 h 5282095"/>
              <a:gd name="connsiteX17457" fmla="*/ 2306242 w 7714416"/>
              <a:gd name="connsiteY17457" fmla="*/ 1015643 h 5282095"/>
              <a:gd name="connsiteX17458" fmla="*/ 1549771 w 7714416"/>
              <a:gd name="connsiteY17458" fmla="*/ 1015350 h 5282095"/>
              <a:gd name="connsiteX17459" fmla="*/ 1549132 w 7714416"/>
              <a:gd name="connsiteY17459" fmla="*/ 1015523 h 5282095"/>
              <a:gd name="connsiteX17460" fmla="*/ 1548845 w 7714416"/>
              <a:gd name="connsiteY17460" fmla="*/ 1016597 h 5282095"/>
              <a:gd name="connsiteX17461" fmla="*/ 4858702 w 7714416"/>
              <a:gd name="connsiteY17461" fmla="*/ 1014967 h 5282095"/>
              <a:gd name="connsiteX17462" fmla="*/ 4862194 w 7714416"/>
              <a:gd name="connsiteY17462" fmla="*/ 1015213 h 5282095"/>
              <a:gd name="connsiteX17463" fmla="*/ 4877639 w 7714416"/>
              <a:gd name="connsiteY17463" fmla="*/ 1021766 h 5282095"/>
              <a:gd name="connsiteX17464" fmla="*/ 4879548 w 7714416"/>
              <a:gd name="connsiteY17464" fmla="*/ 1022393 h 5282095"/>
              <a:gd name="connsiteX17465" fmla="*/ 4886656 w 7714416"/>
              <a:gd name="connsiteY17465" fmla="*/ 1024643 h 5282095"/>
              <a:gd name="connsiteX17466" fmla="*/ 4873434 w 7714416"/>
              <a:gd name="connsiteY17466" fmla="*/ 1035245 h 5282095"/>
              <a:gd name="connsiteX17467" fmla="*/ 4863054 w 7714416"/>
              <a:gd name="connsiteY17467" fmla="*/ 1024184 h 5282095"/>
              <a:gd name="connsiteX17468" fmla="*/ 4869144 w 7714416"/>
              <a:gd name="connsiteY17468" fmla="*/ 1022481 h 5282095"/>
              <a:gd name="connsiteX17469" fmla="*/ 4868896 w 7714416"/>
              <a:gd name="connsiteY17469" fmla="*/ 1022300 h 5282095"/>
              <a:gd name="connsiteX17470" fmla="*/ 4860768 w 7714416"/>
              <a:gd name="connsiteY17470" fmla="*/ 1019431 h 5282095"/>
              <a:gd name="connsiteX17471" fmla="*/ 4858386 w 7714416"/>
              <a:gd name="connsiteY17471" fmla="*/ 1016147 h 5282095"/>
              <a:gd name="connsiteX17472" fmla="*/ 1276418 w 7714416"/>
              <a:gd name="connsiteY17472" fmla="*/ 1014484 h 5282095"/>
              <a:gd name="connsiteX17473" fmla="*/ 1282694 w 7714416"/>
              <a:gd name="connsiteY17473" fmla="*/ 1014857 h 5282095"/>
              <a:gd name="connsiteX17474" fmla="*/ 1283394 w 7714416"/>
              <a:gd name="connsiteY17474" fmla="*/ 1019991 h 5282095"/>
              <a:gd name="connsiteX17475" fmla="*/ 1281264 w 7714416"/>
              <a:gd name="connsiteY17475" fmla="*/ 1022410 h 5282095"/>
              <a:gd name="connsiteX17476" fmla="*/ 1283697 w 7714416"/>
              <a:gd name="connsiteY17476" fmla="*/ 1023290 h 5282095"/>
              <a:gd name="connsiteX17477" fmla="*/ 1284311 w 7714416"/>
              <a:gd name="connsiteY17477" fmla="*/ 1037601 h 5282095"/>
              <a:gd name="connsiteX17478" fmla="*/ 1275675 w 7714416"/>
              <a:gd name="connsiteY17478" fmla="*/ 1035518 h 5282095"/>
              <a:gd name="connsiteX17479" fmla="*/ 1269178 w 7714416"/>
              <a:gd name="connsiteY17479" fmla="*/ 1033201 h 5282095"/>
              <a:gd name="connsiteX17480" fmla="*/ 1266774 w 7714416"/>
              <a:gd name="connsiteY17480" fmla="*/ 1023356 h 5282095"/>
              <a:gd name="connsiteX17481" fmla="*/ 1267166 w 7714416"/>
              <a:gd name="connsiteY17481" fmla="*/ 1023002 h 5282095"/>
              <a:gd name="connsiteX17482" fmla="*/ 1266889 w 7714416"/>
              <a:gd name="connsiteY17482" fmla="*/ 1022928 h 5282095"/>
              <a:gd name="connsiteX17483" fmla="*/ 1265186 w 7714416"/>
              <a:gd name="connsiteY17483" fmla="*/ 1018216 h 5282095"/>
              <a:gd name="connsiteX17484" fmla="*/ 1269904 w 7714416"/>
              <a:gd name="connsiteY17484" fmla="*/ 1014996 h 5282095"/>
              <a:gd name="connsiteX17485" fmla="*/ 1276418 w 7714416"/>
              <a:gd name="connsiteY17485" fmla="*/ 1014484 h 5282095"/>
              <a:gd name="connsiteX17486" fmla="*/ 4839720 w 7714416"/>
              <a:gd name="connsiteY17486" fmla="*/ 1012756 h 5282095"/>
              <a:gd name="connsiteX17487" fmla="*/ 4844032 w 7714416"/>
              <a:gd name="connsiteY17487" fmla="*/ 1023227 h 5282095"/>
              <a:gd name="connsiteX17488" fmla="*/ 4845725 w 7714416"/>
              <a:gd name="connsiteY17488" fmla="*/ 1029086 h 5282095"/>
              <a:gd name="connsiteX17489" fmla="*/ 4842983 w 7714416"/>
              <a:gd name="connsiteY17489" fmla="*/ 1031570 h 5282095"/>
              <a:gd name="connsiteX17490" fmla="*/ 4841456 w 7714416"/>
              <a:gd name="connsiteY17490" fmla="*/ 1031736 h 5282095"/>
              <a:gd name="connsiteX17491" fmla="*/ 4839455 w 7714416"/>
              <a:gd name="connsiteY17491" fmla="*/ 1029245 h 5282095"/>
              <a:gd name="connsiteX17492" fmla="*/ 4837816 w 7714416"/>
              <a:gd name="connsiteY17492" fmla="*/ 1017651 h 5282095"/>
              <a:gd name="connsiteX17493" fmla="*/ 4836978 w 7714416"/>
              <a:gd name="connsiteY17493" fmla="*/ 1015242 h 5282095"/>
              <a:gd name="connsiteX17494" fmla="*/ 4839720 w 7714416"/>
              <a:gd name="connsiteY17494" fmla="*/ 1012756 h 5282095"/>
              <a:gd name="connsiteX17495" fmla="*/ 1353824 w 7714416"/>
              <a:gd name="connsiteY17495" fmla="*/ 1008387 h 5282095"/>
              <a:gd name="connsiteX17496" fmla="*/ 1369418 w 7714416"/>
              <a:gd name="connsiteY17496" fmla="*/ 1028780 h 5282095"/>
              <a:gd name="connsiteX17497" fmla="*/ 1360691 w 7714416"/>
              <a:gd name="connsiteY17497" fmla="*/ 1030352 h 5282095"/>
              <a:gd name="connsiteX17498" fmla="*/ 1355665 w 7714416"/>
              <a:gd name="connsiteY17498" fmla="*/ 1028084 h 5282095"/>
              <a:gd name="connsiteX17499" fmla="*/ 1352790 w 7714416"/>
              <a:gd name="connsiteY17499" fmla="*/ 1029959 h 5282095"/>
              <a:gd name="connsiteX17500" fmla="*/ 1346830 w 7714416"/>
              <a:gd name="connsiteY17500" fmla="*/ 1026752 h 5282095"/>
              <a:gd name="connsiteX17501" fmla="*/ 1349038 w 7714416"/>
              <a:gd name="connsiteY17501" fmla="*/ 1021824 h 5282095"/>
              <a:gd name="connsiteX17502" fmla="*/ 1348212 w 7714416"/>
              <a:gd name="connsiteY17502" fmla="*/ 1018267 h 5282095"/>
              <a:gd name="connsiteX17503" fmla="*/ 1345960 w 7714416"/>
              <a:gd name="connsiteY17503" fmla="*/ 1010074 h 5282095"/>
              <a:gd name="connsiteX17504" fmla="*/ 1353824 w 7714416"/>
              <a:gd name="connsiteY17504" fmla="*/ 1008387 h 5282095"/>
              <a:gd name="connsiteX17505" fmla="*/ 2300208 w 7714416"/>
              <a:gd name="connsiteY17505" fmla="*/ 1008275 h 5282095"/>
              <a:gd name="connsiteX17506" fmla="*/ 2322176 w 7714416"/>
              <a:gd name="connsiteY17506" fmla="*/ 1020372 h 5282095"/>
              <a:gd name="connsiteX17507" fmla="*/ 2317328 w 7714416"/>
              <a:gd name="connsiteY17507" fmla="*/ 1019648 h 5282095"/>
              <a:gd name="connsiteX17508" fmla="*/ 2300208 w 7714416"/>
              <a:gd name="connsiteY17508" fmla="*/ 1008275 h 5282095"/>
              <a:gd name="connsiteX17509" fmla="*/ 5218777 w 7714416"/>
              <a:gd name="connsiteY17509" fmla="*/ 1008177 h 5282095"/>
              <a:gd name="connsiteX17510" fmla="*/ 5225372 w 7714416"/>
              <a:gd name="connsiteY17510" fmla="*/ 1009024 h 5282095"/>
              <a:gd name="connsiteX17511" fmla="*/ 5220427 w 7714416"/>
              <a:gd name="connsiteY17511" fmla="*/ 1009769 h 5282095"/>
              <a:gd name="connsiteX17512" fmla="*/ 5219043 w 7714416"/>
              <a:gd name="connsiteY17512" fmla="*/ 1009399 h 5282095"/>
              <a:gd name="connsiteX17513" fmla="*/ 5218777 w 7714416"/>
              <a:gd name="connsiteY17513" fmla="*/ 1008177 h 5282095"/>
              <a:gd name="connsiteX17514" fmla="*/ 960640 w 7714416"/>
              <a:gd name="connsiteY17514" fmla="*/ 1008144 h 5282095"/>
              <a:gd name="connsiteX17515" fmla="*/ 968145 w 7714416"/>
              <a:gd name="connsiteY17515" fmla="*/ 1012225 h 5282095"/>
              <a:gd name="connsiteX17516" fmla="*/ 968580 w 7714416"/>
              <a:gd name="connsiteY17516" fmla="*/ 1016136 h 5282095"/>
              <a:gd name="connsiteX17517" fmla="*/ 966328 w 7714416"/>
              <a:gd name="connsiteY17517" fmla="*/ 1016799 h 5282095"/>
              <a:gd name="connsiteX17518" fmla="*/ 963456 w 7714416"/>
              <a:gd name="connsiteY17518" fmla="*/ 1015339 h 5282095"/>
              <a:gd name="connsiteX17519" fmla="*/ 959183 w 7714416"/>
              <a:gd name="connsiteY17519" fmla="*/ 1012469 h 5282095"/>
              <a:gd name="connsiteX17520" fmla="*/ 959148 w 7714416"/>
              <a:gd name="connsiteY17520" fmla="*/ 1010389 h 5282095"/>
              <a:gd name="connsiteX17521" fmla="*/ 960640 w 7714416"/>
              <a:gd name="connsiteY17521" fmla="*/ 1008144 h 5282095"/>
              <a:gd name="connsiteX17522" fmla="*/ 5006761 w 7714416"/>
              <a:gd name="connsiteY17522" fmla="*/ 1008063 h 5282095"/>
              <a:gd name="connsiteX17523" fmla="*/ 5004784 w 7714416"/>
              <a:gd name="connsiteY17523" fmla="*/ 1017655 h 5282095"/>
              <a:gd name="connsiteX17524" fmla="*/ 5000205 w 7714416"/>
              <a:gd name="connsiteY17524" fmla="*/ 1014817 h 5282095"/>
              <a:gd name="connsiteX17525" fmla="*/ 5006761 w 7714416"/>
              <a:gd name="connsiteY17525" fmla="*/ 1008063 h 5282095"/>
              <a:gd name="connsiteX17526" fmla="*/ 1644469 w 7714416"/>
              <a:gd name="connsiteY17526" fmla="*/ 1007259 h 5282095"/>
              <a:gd name="connsiteX17527" fmla="*/ 1660892 w 7714416"/>
              <a:gd name="connsiteY17527" fmla="*/ 1010163 h 5282095"/>
              <a:gd name="connsiteX17528" fmla="*/ 1658846 w 7714416"/>
              <a:gd name="connsiteY17528" fmla="*/ 1029971 h 5282095"/>
              <a:gd name="connsiteX17529" fmla="*/ 1655734 w 7714416"/>
              <a:gd name="connsiteY17529" fmla="*/ 1030517 h 5282095"/>
              <a:gd name="connsiteX17530" fmla="*/ 1668032 w 7714416"/>
              <a:gd name="connsiteY17530" fmla="*/ 1035537 h 5282095"/>
              <a:gd name="connsiteX17531" fmla="*/ 1703913 w 7714416"/>
              <a:gd name="connsiteY17531" fmla="*/ 1048832 h 5282095"/>
              <a:gd name="connsiteX17532" fmla="*/ 1663791 w 7714416"/>
              <a:gd name="connsiteY17532" fmla="*/ 1046937 h 5282095"/>
              <a:gd name="connsiteX17533" fmla="*/ 1656410 w 7714416"/>
              <a:gd name="connsiteY17533" fmla="*/ 1041278 h 5282095"/>
              <a:gd name="connsiteX17534" fmla="*/ 1654818 w 7714416"/>
              <a:gd name="connsiteY17534" fmla="*/ 1030616 h 5282095"/>
              <a:gd name="connsiteX17535" fmla="*/ 1647592 w 7714416"/>
              <a:gd name="connsiteY17535" fmla="*/ 1032130 h 5282095"/>
              <a:gd name="connsiteX17536" fmla="*/ 1639693 w 7714416"/>
              <a:gd name="connsiteY17536" fmla="*/ 1019549 h 5282095"/>
              <a:gd name="connsiteX17537" fmla="*/ 1644469 w 7714416"/>
              <a:gd name="connsiteY17537" fmla="*/ 1007259 h 5282095"/>
              <a:gd name="connsiteX17538" fmla="*/ 992983 w 7714416"/>
              <a:gd name="connsiteY17538" fmla="*/ 1007108 h 5282095"/>
              <a:gd name="connsiteX17539" fmla="*/ 1011451 w 7714416"/>
              <a:gd name="connsiteY17539" fmla="*/ 1008879 h 5282095"/>
              <a:gd name="connsiteX17540" fmla="*/ 1015677 w 7714416"/>
              <a:gd name="connsiteY17540" fmla="*/ 1010817 h 5282095"/>
              <a:gd name="connsiteX17541" fmla="*/ 1023292 w 7714416"/>
              <a:gd name="connsiteY17541" fmla="*/ 1012281 h 5282095"/>
              <a:gd name="connsiteX17542" fmla="*/ 1021014 w 7714416"/>
              <a:gd name="connsiteY17542" fmla="*/ 1027427 h 5282095"/>
              <a:gd name="connsiteX17543" fmla="*/ 1001763 w 7714416"/>
              <a:gd name="connsiteY17543" fmla="*/ 1036184 h 5282095"/>
              <a:gd name="connsiteX17544" fmla="*/ 996172 w 7714416"/>
              <a:gd name="connsiteY17544" fmla="*/ 1034915 h 5282095"/>
              <a:gd name="connsiteX17545" fmla="*/ 993620 w 7714416"/>
              <a:gd name="connsiteY17545" fmla="*/ 1037797 h 5282095"/>
              <a:gd name="connsiteX17546" fmla="*/ 974703 w 7714416"/>
              <a:gd name="connsiteY17546" fmla="*/ 1037558 h 5282095"/>
              <a:gd name="connsiteX17547" fmla="*/ 968062 w 7714416"/>
              <a:gd name="connsiteY17547" fmla="*/ 1035779 h 5282095"/>
              <a:gd name="connsiteX17548" fmla="*/ 961203 w 7714416"/>
              <a:gd name="connsiteY17548" fmla="*/ 1024855 h 5282095"/>
              <a:gd name="connsiteX17549" fmla="*/ 962324 w 7714416"/>
              <a:gd name="connsiteY17549" fmla="*/ 1020671 h 5282095"/>
              <a:gd name="connsiteX17550" fmla="*/ 980252 w 7714416"/>
              <a:gd name="connsiteY17550" fmla="*/ 1025705 h 5282095"/>
              <a:gd name="connsiteX17551" fmla="*/ 985042 w 7714416"/>
              <a:gd name="connsiteY17551" fmla="*/ 1026643 h 5282095"/>
              <a:gd name="connsiteX17552" fmla="*/ 982746 w 7714416"/>
              <a:gd name="connsiteY17552" fmla="*/ 1023038 h 5282095"/>
              <a:gd name="connsiteX17553" fmla="*/ 983681 w 7714416"/>
              <a:gd name="connsiteY17553" fmla="*/ 1015123 h 5282095"/>
              <a:gd name="connsiteX17554" fmla="*/ 992983 w 7714416"/>
              <a:gd name="connsiteY17554" fmla="*/ 1007108 h 5282095"/>
              <a:gd name="connsiteX17555" fmla="*/ 1914727 w 7714416"/>
              <a:gd name="connsiteY17555" fmla="*/ 1005842 h 5282095"/>
              <a:gd name="connsiteX17556" fmla="*/ 1914138 w 7714416"/>
              <a:gd name="connsiteY17556" fmla="*/ 1012470 h 5282095"/>
              <a:gd name="connsiteX17557" fmla="*/ 1907525 w 7714416"/>
              <a:gd name="connsiteY17557" fmla="*/ 1010583 h 5282095"/>
              <a:gd name="connsiteX17558" fmla="*/ 1914727 w 7714416"/>
              <a:gd name="connsiteY17558" fmla="*/ 1005842 h 5282095"/>
              <a:gd name="connsiteX17559" fmla="*/ 1402925 w 7714416"/>
              <a:gd name="connsiteY17559" fmla="*/ 1005558 h 5282095"/>
              <a:gd name="connsiteX17560" fmla="*/ 1419016 w 7714416"/>
              <a:gd name="connsiteY17560" fmla="*/ 1022980 h 5282095"/>
              <a:gd name="connsiteX17561" fmla="*/ 1410244 w 7714416"/>
              <a:gd name="connsiteY17561" fmla="*/ 1023619 h 5282095"/>
              <a:gd name="connsiteX17562" fmla="*/ 1397745 w 7714416"/>
              <a:gd name="connsiteY17562" fmla="*/ 1010495 h 5282095"/>
              <a:gd name="connsiteX17563" fmla="*/ 1402925 w 7714416"/>
              <a:gd name="connsiteY17563" fmla="*/ 1005558 h 5282095"/>
              <a:gd name="connsiteX17564" fmla="*/ 5725470 w 7714416"/>
              <a:gd name="connsiteY17564" fmla="*/ 1003184 h 5282095"/>
              <a:gd name="connsiteX17565" fmla="*/ 5729818 w 7714416"/>
              <a:gd name="connsiteY17565" fmla="*/ 1006878 h 5282095"/>
              <a:gd name="connsiteX17566" fmla="*/ 5729966 w 7714416"/>
              <a:gd name="connsiteY17566" fmla="*/ 1011863 h 5282095"/>
              <a:gd name="connsiteX17567" fmla="*/ 5723131 w 7714416"/>
              <a:gd name="connsiteY17567" fmla="*/ 1013022 h 5282095"/>
              <a:gd name="connsiteX17568" fmla="*/ 5716367 w 7714416"/>
              <a:gd name="connsiteY17568" fmla="*/ 1009484 h 5282095"/>
              <a:gd name="connsiteX17569" fmla="*/ 5720058 w 7714416"/>
              <a:gd name="connsiteY17569" fmla="*/ 1003458 h 5282095"/>
              <a:gd name="connsiteX17570" fmla="*/ 5725470 w 7714416"/>
              <a:gd name="connsiteY17570" fmla="*/ 1003184 h 5282095"/>
              <a:gd name="connsiteX17571" fmla="*/ 1567423 w 7714416"/>
              <a:gd name="connsiteY17571" fmla="*/ 1002599 h 5282095"/>
              <a:gd name="connsiteX17572" fmla="*/ 1582998 w 7714416"/>
              <a:gd name="connsiteY17572" fmla="*/ 1004242 h 5282095"/>
              <a:gd name="connsiteX17573" fmla="*/ 1582013 w 7714416"/>
              <a:gd name="connsiteY17573" fmla="*/ 1005704 h 5282095"/>
              <a:gd name="connsiteX17574" fmla="*/ 1556913 w 7714416"/>
              <a:gd name="connsiteY17574" fmla="*/ 1005303 h 5282095"/>
              <a:gd name="connsiteX17575" fmla="*/ 1567423 w 7714416"/>
              <a:gd name="connsiteY17575" fmla="*/ 1002599 h 5282095"/>
              <a:gd name="connsiteX17576" fmla="*/ 2342451 w 7714416"/>
              <a:gd name="connsiteY17576" fmla="*/ 1000044 h 5282095"/>
              <a:gd name="connsiteX17577" fmla="*/ 2361184 w 7714416"/>
              <a:gd name="connsiteY17577" fmla="*/ 1002074 h 5282095"/>
              <a:gd name="connsiteX17578" fmla="*/ 2368508 w 7714416"/>
              <a:gd name="connsiteY17578" fmla="*/ 1007946 h 5282095"/>
              <a:gd name="connsiteX17579" fmla="*/ 2368810 w 7714416"/>
              <a:gd name="connsiteY17579" fmla="*/ 1011247 h 5282095"/>
              <a:gd name="connsiteX17580" fmla="*/ 2377557 w 7714416"/>
              <a:gd name="connsiteY17580" fmla="*/ 1016236 h 5282095"/>
              <a:gd name="connsiteX17581" fmla="*/ 2380448 w 7714416"/>
              <a:gd name="connsiteY17581" fmla="*/ 1024256 h 5282095"/>
              <a:gd name="connsiteX17582" fmla="*/ 2375429 w 7714416"/>
              <a:gd name="connsiteY17582" fmla="*/ 1024175 h 5282095"/>
              <a:gd name="connsiteX17583" fmla="*/ 2366740 w 7714416"/>
              <a:gd name="connsiteY17583" fmla="*/ 1018972 h 5282095"/>
              <a:gd name="connsiteX17584" fmla="*/ 2364084 w 7714416"/>
              <a:gd name="connsiteY17584" fmla="*/ 1021136 h 5282095"/>
              <a:gd name="connsiteX17585" fmla="*/ 2357497 w 7714416"/>
              <a:gd name="connsiteY17585" fmla="*/ 1022476 h 5282095"/>
              <a:gd name="connsiteX17586" fmla="*/ 2355007 w 7714416"/>
              <a:gd name="connsiteY17586" fmla="*/ 1021809 h 5282095"/>
              <a:gd name="connsiteX17587" fmla="*/ 2355187 w 7714416"/>
              <a:gd name="connsiteY17587" fmla="*/ 1023352 h 5282095"/>
              <a:gd name="connsiteX17588" fmla="*/ 2349774 w 7714416"/>
              <a:gd name="connsiteY17588" fmla="*/ 1023627 h 5282095"/>
              <a:gd name="connsiteX17589" fmla="*/ 2347263 w 7714416"/>
              <a:gd name="connsiteY17589" fmla="*/ 1025253 h 5282095"/>
              <a:gd name="connsiteX17590" fmla="*/ 2341861 w 7714416"/>
              <a:gd name="connsiteY17590" fmla="*/ 1024382 h 5282095"/>
              <a:gd name="connsiteX17591" fmla="*/ 2339842 w 7714416"/>
              <a:gd name="connsiteY17591" fmla="*/ 1020851 h 5282095"/>
              <a:gd name="connsiteX17592" fmla="*/ 2339766 w 7714416"/>
              <a:gd name="connsiteY17592" fmla="*/ 1020025 h 5282095"/>
              <a:gd name="connsiteX17593" fmla="*/ 2336740 w 7714416"/>
              <a:gd name="connsiteY17593" fmla="*/ 1020249 h 5282095"/>
              <a:gd name="connsiteX17594" fmla="*/ 2335408 w 7714416"/>
              <a:gd name="connsiteY17594" fmla="*/ 1017477 h 5282095"/>
              <a:gd name="connsiteX17595" fmla="*/ 2339217 w 7714416"/>
              <a:gd name="connsiteY17595" fmla="*/ 1016543 h 5282095"/>
              <a:gd name="connsiteX17596" fmla="*/ 2339198 w 7714416"/>
              <a:gd name="connsiteY17596" fmla="*/ 1015503 h 5282095"/>
              <a:gd name="connsiteX17597" fmla="*/ 2340453 w 7714416"/>
              <a:gd name="connsiteY17597" fmla="*/ 1011929 h 5282095"/>
              <a:gd name="connsiteX17598" fmla="*/ 2339986 w 7714416"/>
              <a:gd name="connsiteY17598" fmla="*/ 1011459 h 5282095"/>
              <a:gd name="connsiteX17599" fmla="*/ 2342451 w 7714416"/>
              <a:gd name="connsiteY17599" fmla="*/ 1000044 h 5282095"/>
              <a:gd name="connsiteX17600" fmla="*/ 1420454 w 7714416"/>
              <a:gd name="connsiteY17600" fmla="*/ 999904 h 5282095"/>
              <a:gd name="connsiteX17601" fmla="*/ 1415383 w 7714416"/>
              <a:gd name="connsiteY17601" fmla="*/ 1002225 h 5282095"/>
              <a:gd name="connsiteX17602" fmla="*/ 1413226 w 7714416"/>
              <a:gd name="connsiteY17602" fmla="*/ 1001418 h 5282095"/>
              <a:gd name="connsiteX17603" fmla="*/ 1420454 w 7714416"/>
              <a:gd name="connsiteY17603" fmla="*/ 999904 h 5282095"/>
              <a:gd name="connsiteX17604" fmla="*/ 1246360 w 7714416"/>
              <a:gd name="connsiteY17604" fmla="*/ 996612 h 5282095"/>
              <a:gd name="connsiteX17605" fmla="*/ 1242065 w 7714416"/>
              <a:gd name="connsiteY17605" fmla="*/ 1004891 h 5282095"/>
              <a:gd name="connsiteX17606" fmla="*/ 1234476 w 7714416"/>
              <a:gd name="connsiteY17606" fmla="*/ 997797 h 5282095"/>
              <a:gd name="connsiteX17607" fmla="*/ 1246360 w 7714416"/>
              <a:gd name="connsiteY17607" fmla="*/ 996612 h 5282095"/>
              <a:gd name="connsiteX17608" fmla="*/ 5235588 w 7714416"/>
              <a:gd name="connsiteY17608" fmla="*/ 996351 h 5282095"/>
              <a:gd name="connsiteX17609" fmla="*/ 5243728 w 7714416"/>
              <a:gd name="connsiteY17609" fmla="*/ 998072 h 5282095"/>
              <a:gd name="connsiteX17610" fmla="*/ 5242207 w 7714416"/>
              <a:gd name="connsiteY17610" fmla="*/ 1009280 h 5282095"/>
              <a:gd name="connsiteX17611" fmla="*/ 5240870 w 7714416"/>
              <a:gd name="connsiteY17611" fmla="*/ 1009842 h 5282095"/>
              <a:gd name="connsiteX17612" fmla="*/ 5241949 w 7714416"/>
              <a:gd name="connsiteY17612" fmla="*/ 1010246 h 5282095"/>
              <a:gd name="connsiteX17613" fmla="*/ 5243336 w 7714416"/>
              <a:gd name="connsiteY17613" fmla="*/ 1016138 h 5282095"/>
              <a:gd name="connsiteX17614" fmla="*/ 5232171 w 7714416"/>
              <a:gd name="connsiteY17614" fmla="*/ 1014641 h 5282095"/>
              <a:gd name="connsiteX17615" fmla="*/ 5232976 w 7714416"/>
              <a:gd name="connsiteY17615" fmla="*/ 1011637 h 5282095"/>
              <a:gd name="connsiteX17616" fmla="*/ 5227154 w 7714416"/>
              <a:gd name="connsiteY17616" fmla="*/ 1011227 h 5282095"/>
              <a:gd name="connsiteX17617" fmla="*/ 5235588 w 7714416"/>
              <a:gd name="connsiteY17617" fmla="*/ 996351 h 5282095"/>
              <a:gd name="connsiteX17618" fmla="*/ 972088 w 7714416"/>
              <a:gd name="connsiteY17618" fmla="*/ 995715 h 5282095"/>
              <a:gd name="connsiteX17619" fmla="*/ 981981 w 7714416"/>
              <a:gd name="connsiteY17619" fmla="*/ 998222 h 5282095"/>
              <a:gd name="connsiteX17620" fmla="*/ 982343 w 7714416"/>
              <a:gd name="connsiteY17620" fmla="*/ 1006830 h 5282095"/>
              <a:gd name="connsiteX17621" fmla="*/ 977751 w 7714416"/>
              <a:gd name="connsiteY17621" fmla="*/ 1008474 h 5282095"/>
              <a:gd name="connsiteX17622" fmla="*/ 967596 w 7714416"/>
              <a:gd name="connsiteY17622" fmla="*/ 1008744 h 5282095"/>
              <a:gd name="connsiteX17623" fmla="*/ 968196 w 7714416"/>
              <a:gd name="connsiteY17623" fmla="*/ 1009824 h 5282095"/>
              <a:gd name="connsiteX17624" fmla="*/ 963765 w 7714416"/>
              <a:gd name="connsiteY17624" fmla="*/ 1003117 h 5282095"/>
              <a:gd name="connsiteX17625" fmla="*/ 972088 w 7714416"/>
              <a:gd name="connsiteY17625" fmla="*/ 995715 h 5282095"/>
              <a:gd name="connsiteX17626" fmla="*/ 5499367 w 7714416"/>
              <a:gd name="connsiteY17626" fmla="*/ 993660 h 5282095"/>
              <a:gd name="connsiteX17627" fmla="*/ 5501368 w 7714416"/>
              <a:gd name="connsiteY17627" fmla="*/ 996151 h 5282095"/>
              <a:gd name="connsiteX17628" fmla="*/ 5501861 w 7714416"/>
              <a:gd name="connsiteY17628" fmla="*/ 999848 h 5282095"/>
              <a:gd name="connsiteX17629" fmla="*/ 5493279 w 7714416"/>
              <a:gd name="connsiteY17629" fmla="*/ 1000884 h 5282095"/>
              <a:gd name="connsiteX17630" fmla="*/ 5491277 w 7714416"/>
              <a:gd name="connsiteY17630" fmla="*/ 998393 h 5282095"/>
              <a:gd name="connsiteX17631" fmla="*/ 5492561 w 7714416"/>
              <a:gd name="connsiteY17631" fmla="*/ 994712 h 5282095"/>
              <a:gd name="connsiteX17632" fmla="*/ 5499367 w 7714416"/>
              <a:gd name="connsiteY17632" fmla="*/ 993660 h 5282095"/>
              <a:gd name="connsiteX17633" fmla="*/ 5171148 w 7714416"/>
              <a:gd name="connsiteY17633" fmla="*/ 993345 h 5282095"/>
              <a:gd name="connsiteX17634" fmla="*/ 5196885 w 7714416"/>
              <a:gd name="connsiteY17634" fmla="*/ 996907 h 5282095"/>
              <a:gd name="connsiteX17635" fmla="*/ 5177886 w 7714416"/>
              <a:gd name="connsiteY17635" fmla="*/ 1002510 h 5282095"/>
              <a:gd name="connsiteX17636" fmla="*/ 5169330 w 7714416"/>
              <a:gd name="connsiteY17636" fmla="*/ 997918 h 5282095"/>
              <a:gd name="connsiteX17637" fmla="*/ 5171148 w 7714416"/>
              <a:gd name="connsiteY17637" fmla="*/ 993345 h 5282095"/>
              <a:gd name="connsiteX17638" fmla="*/ 2091969 w 7714416"/>
              <a:gd name="connsiteY17638" fmla="*/ 992958 h 5282095"/>
              <a:gd name="connsiteX17639" fmla="*/ 2094534 w 7714416"/>
              <a:gd name="connsiteY17639" fmla="*/ 994451 h 5282095"/>
              <a:gd name="connsiteX17640" fmla="*/ 2100324 w 7714416"/>
              <a:gd name="connsiteY17640" fmla="*/ 998302 h 5282095"/>
              <a:gd name="connsiteX17641" fmla="*/ 2089249 w 7714416"/>
              <a:gd name="connsiteY17641" fmla="*/ 993150 h 5282095"/>
              <a:gd name="connsiteX17642" fmla="*/ 2091969 w 7714416"/>
              <a:gd name="connsiteY17642" fmla="*/ 992958 h 5282095"/>
              <a:gd name="connsiteX17643" fmla="*/ 1597117 w 7714416"/>
              <a:gd name="connsiteY17643" fmla="*/ 992500 h 5282095"/>
              <a:gd name="connsiteX17644" fmla="*/ 1611736 w 7714416"/>
              <a:gd name="connsiteY17644" fmla="*/ 995497 h 5282095"/>
              <a:gd name="connsiteX17645" fmla="*/ 1618264 w 7714416"/>
              <a:gd name="connsiteY17645" fmla="*/ 1003227 h 5282095"/>
              <a:gd name="connsiteX17646" fmla="*/ 1610295 w 7714416"/>
              <a:gd name="connsiteY17646" fmla="*/ 1004196 h 5282095"/>
              <a:gd name="connsiteX17647" fmla="*/ 1603075 w 7714416"/>
              <a:gd name="connsiteY17647" fmla="*/ 999041 h 5282095"/>
              <a:gd name="connsiteX17648" fmla="*/ 1597638 w 7714416"/>
              <a:gd name="connsiteY17648" fmla="*/ 996089 h 5282095"/>
              <a:gd name="connsiteX17649" fmla="*/ 1597117 w 7714416"/>
              <a:gd name="connsiteY17649" fmla="*/ 992500 h 5282095"/>
              <a:gd name="connsiteX17650" fmla="*/ 2305190 w 7714416"/>
              <a:gd name="connsiteY17650" fmla="*/ 991901 h 5282095"/>
              <a:gd name="connsiteX17651" fmla="*/ 2311389 w 7714416"/>
              <a:gd name="connsiteY17651" fmla="*/ 996435 h 5282095"/>
              <a:gd name="connsiteX17652" fmla="*/ 2309602 w 7714416"/>
              <a:gd name="connsiteY17652" fmla="*/ 1006422 h 5282095"/>
              <a:gd name="connsiteX17653" fmla="*/ 2291433 w 7714416"/>
              <a:gd name="connsiteY17653" fmla="*/ 1003393 h 5282095"/>
              <a:gd name="connsiteX17654" fmla="*/ 2305190 w 7714416"/>
              <a:gd name="connsiteY17654" fmla="*/ 991901 h 5282095"/>
              <a:gd name="connsiteX17655" fmla="*/ 2268855 w 7714416"/>
              <a:gd name="connsiteY17655" fmla="*/ 991364 h 5282095"/>
              <a:gd name="connsiteX17656" fmla="*/ 2288364 w 7714416"/>
              <a:gd name="connsiteY17656" fmla="*/ 999352 h 5282095"/>
              <a:gd name="connsiteX17657" fmla="*/ 2254617 w 7714416"/>
              <a:gd name="connsiteY17657" fmla="*/ 1006869 h 5282095"/>
              <a:gd name="connsiteX17658" fmla="*/ 2248020 w 7714416"/>
              <a:gd name="connsiteY17658" fmla="*/ 1000502 h 5282095"/>
              <a:gd name="connsiteX17659" fmla="*/ 2248742 w 7714416"/>
              <a:gd name="connsiteY17659" fmla="*/ 994485 h 5282095"/>
              <a:gd name="connsiteX17660" fmla="*/ 2254995 w 7714416"/>
              <a:gd name="connsiteY17660" fmla="*/ 993286 h 5282095"/>
              <a:gd name="connsiteX17661" fmla="*/ 2254147 w 7714416"/>
              <a:gd name="connsiteY17661" fmla="*/ 992024 h 5282095"/>
              <a:gd name="connsiteX17662" fmla="*/ 2263996 w 7714416"/>
              <a:gd name="connsiteY17662" fmla="*/ 991787 h 5282095"/>
              <a:gd name="connsiteX17663" fmla="*/ 2264244 w 7714416"/>
              <a:gd name="connsiteY17663" fmla="*/ 991969 h 5282095"/>
              <a:gd name="connsiteX17664" fmla="*/ 4918496 w 7714416"/>
              <a:gd name="connsiteY17664" fmla="*/ 991313 h 5282095"/>
              <a:gd name="connsiteX17665" fmla="*/ 4925726 w 7714416"/>
              <a:gd name="connsiteY17665" fmla="*/ 993941 h 5282095"/>
              <a:gd name="connsiteX17666" fmla="*/ 4912994 w 7714416"/>
              <a:gd name="connsiteY17666" fmla="*/ 1002718 h 5282095"/>
              <a:gd name="connsiteX17667" fmla="*/ 4907610 w 7714416"/>
              <a:gd name="connsiteY17667" fmla="*/ 1002886 h 5282095"/>
              <a:gd name="connsiteX17668" fmla="*/ 4902993 w 7714416"/>
              <a:gd name="connsiteY17668" fmla="*/ 1001305 h 5282095"/>
              <a:gd name="connsiteX17669" fmla="*/ 4902558 w 7714416"/>
              <a:gd name="connsiteY17669" fmla="*/ 997393 h 5282095"/>
              <a:gd name="connsiteX17670" fmla="*/ 4909730 w 7714416"/>
              <a:gd name="connsiteY17670" fmla="*/ 992760 h 5282095"/>
              <a:gd name="connsiteX17671" fmla="*/ 4918496 w 7714416"/>
              <a:gd name="connsiteY17671" fmla="*/ 991313 h 5282095"/>
              <a:gd name="connsiteX17672" fmla="*/ 2414491 w 7714416"/>
              <a:gd name="connsiteY17672" fmla="*/ 991287 h 5282095"/>
              <a:gd name="connsiteX17673" fmla="*/ 2437860 w 7714416"/>
              <a:gd name="connsiteY17673" fmla="*/ 995939 h 5282095"/>
              <a:gd name="connsiteX17674" fmla="*/ 2437572 w 7714416"/>
              <a:gd name="connsiteY17674" fmla="*/ 997012 h 5282095"/>
              <a:gd name="connsiteX17675" fmla="*/ 2420148 w 7714416"/>
              <a:gd name="connsiteY17675" fmla="*/ 994527 h 5282095"/>
              <a:gd name="connsiteX17676" fmla="*/ 2414204 w 7714416"/>
              <a:gd name="connsiteY17676" fmla="*/ 992359 h 5282095"/>
              <a:gd name="connsiteX17677" fmla="*/ 2415864 w 7714416"/>
              <a:gd name="connsiteY17677" fmla="*/ 992805 h 5282095"/>
              <a:gd name="connsiteX17678" fmla="*/ 2414491 w 7714416"/>
              <a:gd name="connsiteY17678" fmla="*/ 991287 h 5282095"/>
              <a:gd name="connsiteX17679" fmla="*/ 814917 w 7714416"/>
              <a:gd name="connsiteY17679" fmla="*/ 990833 h 5282095"/>
              <a:gd name="connsiteX17680" fmla="*/ 811800 w 7714416"/>
              <a:gd name="connsiteY17680" fmla="*/ 1003569 h 5282095"/>
              <a:gd name="connsiteX17681" fmla="*/ 814917 w 7714416"/>
              <a:gd name="connsiteY17681" fmla="*/ 990833 h 5282095"/>
              <a:gd name="connsiteX17682" fmla="*/ 5570714 w 7714416"/>
              <a:gd name="connsiteY17682" fmla="*/ 990812 h 5282095"/>
              <a:gd name="connsiteX17683" fmla="*/ 5580456 w 7714416"/>
              <a:gd name="connsiteY17683" fmla="*/ 993193 h 5282095"/>
              <a:gd name="connsiteX17684" fmla="*/ 5579542 w 7714416"/>
              <a:gd name="connsiteY17684" fmla="*/ 1007669 h 5282095"/>
              <a:gd name="connsiteX17685" fmla="*/ 5569060 w 7714416"/>
              <a:gd name="connsiteY17685" fmla="*/ 1001409 h 5282095"/>
              <a:gd name="connsiteX17686" fmla="*/ 5568320 w 7714416"/>
              <a:gd name="connsiteY17686" fmla="*/ 997531 h 5282095"/>
              <a:gd name="connsiteX17687" fmla="*/ 5572039 w 7714416"/>
              <a:gd name="connsiteY17687" fmla="*/ 991397 h 5282095"/>
              <a:gd name="connsiteX17688" fmla="*/ 5570714 w 7714416"/>
              <a:gd name="connsiteY17688" fmla="*/ 990812 h 5282095"/>
              <a:gd name="connsiteX17689" fmla="*/ 5536464 w 7714416"/>
              <a:gd name="connsiteY17689" fmla="*/ 988304 h 5282095"/>
              <a:gd name="connsiteX17690" fmla="*/ 5549058 w 7714416"/>
              <a:gd name="connsiteY17690" fmla="*/ 989724 h 5282095"/>
              <a:gd name="connsiteX17691" fmla="*/ 5558319 w 7714416"/>
              <a:gd name="connsiteY17691" fmla="*/ 996116 h 5282095"/>
              <a:gd name="connsiteX17692" fmla="*/ 5555318 w 7714416"/>
              <a:gd name="connsiteY17692" fmla="*/ 1017277 h 5282095"/>
              <a:gd name="connsiteX17693" fmla="*/ 5551480 w 7714416"/>
              <a:gd name="connsiteY17693" fmla="*/ 1018319 h 5282095"/>
              <a:gd name="connsiteX17694" fmla="*/ 5546733 w 7714416"/>
              <a:gd name="connsiteY17694" fmla="*/ 1021646 h 5282095"/>
              <a:gd name="connsiteX17695" fmla="*/ 5529042 w 7714416"/>
              <a:gd name="connsiteY17695" fmla="*/ 1009086 h 5282095"/>
              <a:gd name="connsiteX17696" fmla="*/ 5530095 w 7714416"/>
              <a:gd name="connsiteY17696" fmla="*/ 988554 h 5282095"/>
              <a:gd name="connsiteX17697" fmla="*/ 5536464 w 7714416"/>
              <a:gd name="connsiteY17697" fmla="*/ 988304 h 5282095"/>
              <a:gd name="connsiteX17698" fmla="*/ 1962468 w 7714416"/>
              <a:gd name="connsiteY17698" fmla="*/ 988159 h 5282095"/>
              <a:gd name="connsiteX17699" fmla="*/ 1974958 w 7714416"/>
              <a:gd name="connsiteY17699" fmla="*/ 1016807 h 5282095"/>
              <a:gd name="connsiteX17700" fmla="*/ 1972942 w 7714416"/>
              <a:gd name="connsiteY17700" fmla="*/ 1018796 h 5282095"/>
              <a:gd name="connsiteX17701" fmla="*/ 1976608 w 7714416"/>
              <a:gd name="connsiteY17701" fmla="*/ 1018398 h 5282095"/>
              <a:gd name="connsiteX17702" fmla="*/ 1982627 w 7714416"/>
              <a:gd name="connsiteY17702" fmla="*/ 1021391 h 5282095"/>
              <a:gd name="connsiteX17703" fmla="*/ 1982016 w 7714416"/>
              <a:gd name="connsiteY17703" fmla="*/ 1021458 h 5282095"/>
              <a:gd name="connsiteX17704" fmla="*/ 1988017 w 7714416"/>
              <a:gd name="connsiteY17704" fmla="*/ 1023411 h 5282095"/>
              <a:gd name="connsiteX17705" fmla="*/ 1998518 w 7714416"/>
              <a:gd name="connsiteY17705" fmla="*/ 1030709 h 5282095"/>
              <a:gd name="connsiteX17706" fmla="*/ 2005676 w 7714416"/>
              <a:gd name="connsiteY17706" fmla="*/ 1039412 h 5282095"/>
              <a:gd name="connsiteX17707" fmla="*/ 2006973 w 7714416"/>
              <a:gd name="connsiteY17707" fmla="*/ 1040105 h 5282095"/>
              <a:gd name="connsiteX17708" fmla="*/ 2012799 w 7714416"/>
              <a:gd name="connsiteY17708" fmla="*/ 1046036 h 5282095"/>
              <a:gd name="connsiteX17709" fmla="*/ 2012827 w 7714416"/>
              <a:gd name="connsiteY17709" fmla="*/ 1045928 h 5282095"/>
              <a:gd name="connsiteX17710" fmla="*/ 2020550 w 7714416"/>
              <a:gd name="connsiteY17710" fmla="*/ 1035922 h 5282095"/>
              <a:gd name="connsiteX17711" fmla="*/ 2022354 w 7714416"/>
              <a:gd name="connsiteY17711" fmla="*/ 1035831 h 5282095"/>
              <a:gd name="connsiteX17712" fmla="*/ 2024298 w 7714416"/>
              <a:gd name="connsiteY17712" fmla="*/ 1038537 h 5282095"/>
              <a:gd name="connsiteX17713" fmla="*/ 2021591 w 7714416"/>
              <a:gd name="connsiteY17713" fmla="*/ 1043101 h 5282095"/>
              <a:gd name="connsiteX17714" fmla="*/ 2016050 w 7714416"/>
              <a:gd name="connsiteY17714" fmla="*/ 1048287 h 5282095"/>
              <a:gd name="connsiteX17715" fmla="*/ 2014990 w 7714416"/>
              <a:gd name="connsiteY17715" fmla="*/ 1048923 h 5282095"/>
              <a:gd name="connsiteX17716" fmla="*/ 2024780 w 7714416"/>
              <a:gd name="connsiteY17716" fmla="*/ 1061092 h 5282095"/>
              <a:gd name="connsiteX17717" fmla="*/ 2029234 w 7714416"/>
              <a:gd name="connsiteY17717" fmla="*/ 1062170 h 5282095"/>
              <a:gd name="connsiteX17718" fmla="*/ 2029321 w 7714416"/>
              <a:gd name="connsiteY17718" fmla="*/ 1061848 h 5282095"/>
              <a:gd name="connsiteX17719" fmla="*/ 2039269 w 7714416"/>
              <a:gd name="connsiteY17719" fmla="*/ 1060143 h 5282095"/>
              <a:gd name="connsiteX17720" fmla="*/ 2044726 w 7714416"/>
              <a:gd name="connsiteY17720" fmla="*/ 1060801 h 5282095"/>
              <a:gd name="connsiteX17721" fmla="*/ 2044450 w 7714416"/>
              <a:gd name="connsiteY17721" fmla="*/ 1060727 h 5282095"/>
              <a:gd name="connsiteX17722" fmla="*/ 2044500 w 7714416"/>
              <a:gd name="connsiteY17722" fmla="*/ 1058326 h 5282095"/>
              <a:gd name="connsiteX17723" fmla="*/ 2056130 w 7714416"/>
              <a:gd name="connsiteY17723" fmla="*/ 1054771 h 5282095"/>
              <a:gd name="connsiteX17724" fmla="*/ 2063611 w 7714416"/>
              <a:gd name="connsiteY17724" fmla="*/ 1055626 h 5282095"/>
              <a:gd name="connsiteX17725" fmla="*/ 2061962 w 7714416"/>
              <a:gd name="connsiteY17725" fmla="*/ 1045179 h 5282095"/>
              <a:gd name="connsiteX17726" fmla="*/ 2061427 w 7714416"/>
              <a:gd name="connsiteY17726" fmla="*/ 1019506 h 5282095"/>
              <a:gd name="connsiteX17727" fmla="*/ 2078691 w 7714416"/>
              <a:gd name="connsiteY17727" fmla="*/ 1012631 h 5282095"/>
              <a:gd name="connsiteX17728" fmla="*/ 2082323 w 7714416"/>
              <a:gd name="connsiteY17728" fmla="*/ 1006819 h 5282095"/>
              <a:gd name="connsiteX17729" fmla="*/ 2074939 w 7714416"/>
              <a:gd name="connsiteY17729" fmla="*/ 1013350 h 5282095"/>
              <a:gd name="connsiteX17730" fmla="*/ 2069628 w 7714416"/>
              <a:gd name="connsiteY17730" fmla="*/ 991112 h 5282095"/>
              <a:gd name="connsiteX17731" fmla="*/ 2085274 w 7714416"/>
              <a:gd name="connsiteY17731" fmla="*/ 996914 h 5282095"/>
              <a:gd name="connsiteX17732" fmla="*/ 2082409 w 7714416"/>
              <a:gd name="connsiteY17732" fmla="*/ 1006497 h 5282095"/>
              <a:gd name="connsiteX17733" fmla="*/ 2085145 w 7714416"/>
              <a:gd name="connsiteY17733" fmla="*/ 1001825 h 5282095"/>
              <a:gd name="connsiteX17734" fmla="*/ 2133849 w 7714416"/>
              <a:gd name="connsiteY17734" fmla="*/ 1002686 h 5282095"/>
              <a:gd name="connsiteX17735" fmla="*/ 2158579 w 7714416"/>
              <a:gd name="connsiteY17735" fmla="*/ 1018857 h 5282095"/>
              <a:gd name="connsiteX17736" fmla="*/ 2168421 w 7714416"/>
              <a:gd name="connsiteY17736" fmla="*/ 1025289 h 5282095"/>
              <a:gd name="connsiteX17737" fmla="*/ 2174419 w 7714416"/>
              <a:gd name="connsiteY17737" fmla="*/ 1021721 h 5282095"/>
              <a:gd name="connsiteX17738" fmla="*/ 2177535 w 7714416"/>
              <a:gd name="connsiteY17738" fmla="*/ 1026696 h 5282095"/>
              <a:gd name="connsiteX17739" fmla="*/ 2174763 w 7714416"/>
              <a:gd name="connsiteY17739" fmla="*/ 1029289 h 5282095"/>
              <a:gd name="connsiteX17740" fmla="*/ 2183615 w 7714416"/>
              <a:gd name="connsiteY17740" fmla="*/ 1034996 h 5282095"/>
              <a:gd name="connsiteX17741" fmla="*/ 2185549 w 7714416"/>
              <a:gd name="connsiteY17741" fmla="*/ 1047703 h 5282095"/>
              <a:gd name="connsiteX17742" fmla="*/ 2194949 w 7714416"/>
              <a:gd name="connsiteY17742" fmla="*/ 1048037 h 5282095"/>
              <a:gd name="connsiteX17743" fmla="*/ 2193327 w 7714416"/>
              <a:gd name="connsiteY17743" fmla="*/ 1055193 h 5282095"/>
              <a:gd name="connsiteX17744" fmla="*/ 2189012 w 7714416"/>
              <a:gd name="connsiteY17744" fmla="*/ 1056911 h 5282095"/>
              <a:gd name="connsiteX17745" fmla="*/ 2191096 w 7714416"/>
              <a:gd name="connsiteY17745" fmla="*/ 1062415 h 5282095"/>
              <a:gd name="connsiteX17746" fmla="*/ 2193471 w 7714416"/>
              <a:gd name="connsiteY17746" fmla="*/ 1072366 h 5282095"/>
              <a:gd name="connsiteX17747" fmla="*/ 2197270 w 7714416"/>
              <a:gd name="connsiteY17747" fmla="*/ 1072580 h 5282095"/>
              <a:gd name="connsiteX17748" fmla="*/ 2198538 w 7714416"/>
              <a:gd name="connsiteY17748" fmla="*/ 1073379 h 5282095"/>
              <a:gd name="connsiteX17749" fmla="*/ 2199426 w 7714416"/>
              <a:gd name="connsiteY17749" fmla="*/ 1073387 h 5282095"/>
              <a:gd name="connsiteX17750" fmla="*/ 2204931 w 7714416"/>
              <a:gd name="connsiteY17750" fmla="*/ 1074977 h 5282095"/>
              <a:gd name="connsiteX17751" fmla="*/ 2213041 w 7714416"/>
              <a:gd name="connsiteY17751" fmla="*/ 1076806 h 5282095"/>
              <a:gd name="connsiteX17752" fmla="*/ 2230960 w 7714416"/>
              <a:gd name="connsiteY17752" fmla="*/ 1082987 h 5282095"/>
              <a:gd name="connsiteX17753" fmla="*/ 2233801 w 7714416"/>
              <a:gd name="connsiteY17753" fmla="*/ 1084554 h 5282095"/>
              <a:gd name="connsiteX17754" fmla="*/ 2243875 w 7714416"/>
              <a:gd name="connsiteY17754" fmla="*/ 1081272 h 5282095"/>
              <a:gd name="connsiteX17755" fmla="*/ 2264326 w 7714416"/>
              <a:gd name="connsiteY17755" fmla="*/ 1083531 h 5282095"/>
              <a:gd name="connsiteX17756" fmla="*/ 2227962 w 7714416"/>
              <a:gd name="connsiteY17756" fmla="*/ 1091959 h 5282095"/>
              <a:gd name="connsiteX17757" fmla="*/ 2223003 w 7714416"/>
              <a:gd name="connsiteY17757" fmla="*/ 1088330 h 5282095"/>
              <a:gd name="connsiteX17758" fmla="*/ 2228541 w 7714416"/>
              <a:gd name="connsiteY17758" fmla="*/ 1086479 h 5282095"/>
              <a:gd name="connsiteX17759" fmla="*/ 2227405 w 7714416"/>
              <a:gd name="connsiteY17759" fmla="*/ 1086290 h 5282095"/>
              <a:gd name="connsiteX17760" fmla="*/ 2213045 w 7714416"/>
              <a:gd name="connsiteY17760" fmla="*/ 1082327 h 5282095"/>
              <a:gd name="connsiteX17761" fmla="*/ 2202024 w 7714416"/>
              <a:gd name="connsiteY17761" fmla="*/ 1080294 h 5282095"/>
              <a:gd name="connsiteX17762" fmla="*/ 2199789 w 7714416"/>
              <a:gd name="connsiteY17762" fmla="*/ 1081995 h 5282095"/>
              <a:gd name="connsiteX17763" fmla="*/ 2195893 w 7714416"/>
              <a:gd name="connsiteY17763" fmla="*/ 1083251 h 5282095"/>
              <a:gd name="connsiteX17764" fmla="*/ 2192250 w 7714416"/>
              <a:gd name="connsiteY17764" fmla="*/ 1081355 h 5282095"/>
              <a:gd name="connsiteX17765" fmla="*/ 2189914 w 7714416"/>
              <a:gd name="connsiteY17765" fmla="*/ 1087858 h 5282095"/>
              <a:gd name="connsiteX17766" fmla="*/ 2188691 w 7714416"/>
              <a:gd name="connsiteY17766" fmla="*/ 1087992 h 5282095"/>
              <a:gd name="connsiteX17767" fmla="*/ 2180908 w 7714416"/>
              <a:gd name="connsiteY17767" fmla="*/ 1092691 h 5282095"/>
              <a:gd name="connsiteX17768" fmla="*/ 2173808 w 7714416"/>
              <a:gd name="connsiteY17768" fmla="*/ 1092627 h 5282095"/>
              <a:gd name="connsiteX17769" fmla="*/ 2171323 w 7714416"/>
              <a:gd name="connsiteY17769" fmla="*/ 1094147 h 5282095"/>
              <a:gd name="connsiteX17770" fmla="*/ 2159813 w 7714416"/>
              <a:gd name="connsiteY17770" fmla="*/ 1102794 h 5282095"/>
              <a:gd name="connsiteX17771" fmla="*/ 2149393 w 7714416"/>
              <a:gd name="connsiteY17771" fmla="*/ 1101841 h 5282095"/>
              <a:gd name="connsiteX17772" fmla="*/ 2145975 w 7714416"/>
              <a:gd name="connsiteY17772" fmla="*/ 1102420 h 5282095"/>
              <a:gd name="connsiteX17773" fmla="*/ 2144487 w 7714416"/>
              <a:gd name="connsiteY17773" fmla="*/ 1101332 h 5282095"/>
              <a:gd name="connsiteX17774" fmla="*/ 2137530 w 7714416"/>
              <a:gd name="connsiteY17774" fmla="*/ 1100733 h 5282095"/>
              <a:gd name="connsiteX17775" fmla="*/ 2113532 w 7714416"/>
              <a:gd name="connsiteY17775" fmla="*/ 1095107 h 5282095"/>
              <a:gd name="connsiteX17776" fmla="*/ 2090961 w 7714416"/>
              <a:gd name="connsiteY17776" fmla="*/ 1085264 h 5282095"/>
              <a:gd name="connsiteX17777" fmla="*/ 2075294 w 7714416"/>
              <a:gd name="connsiteY17777" fmla="*/ 1072902 h 5282095"/>
              <a:gd name="connsiteX17778" fmla="*/ 2076961 w 7714416"/>
              <a:gd name="connsiteY17778" fmla="*/ 1075533 h 5282095"/>
              <a:gd name="connsiteX17779" fmla="*/ 2076261 w 7714416"/>
              <a:gd name="connsiteY17779" fmla="*/ 1088111 h 5282095"/>
              <a:gd name="connsiteX17780" fmla="*/ 2059348 w 7714416"/>
              <a:gd name="connsiteY17780" fmla="*/ 1087030 h 5282095"/>
              <a:gd name="connsiteX17781" fmla="*/ 2057336 w 7714416"/>
              <a:gd name="connsiteY17781" fmla="*/ 1085685 h 5282095"/>
              <a:gd name="connsiteX17782" fmla="*/ 2054437 w 7714416"/>
              <a:gd name="connsiteY17782" fmla="*/ 1084333 h 5282095"/>
              <a:gd name="connsiteX17783" fmla="*/ 2054332 w 7714416"/>
              <a:gd name="connsiteY17783" fmla="*/ 1083616 h 5282095"/>
              <a:gd name="connsiteX17784" fmla="*/ 2046559 w 7714416"/>
              <a:gd name="connsiteY17784" fmla="*/ 1078312 h 5282095"/>
              <a:gd name="connsiteX17785" fmla="*/ 2045212 w 7714416"/>
              <a:gd name="connsiteY17785" fmla="*/ 1071166 h 5282095"/>
              <a:gd name="connsiteX17786" fmla="*/ 2045949 w 7714416"/>
              <a:gd name="connsiteY17786" fmla="*/ 1069523 h 5282095"/>
              <a:gd name="connsiteX17787" fmla="*/ 2045118 w 7714416"/>
              <a:gd name="connsiteY17787" fmla="*/ 1069300 h 5282095"/>
              <a:gd name="connsiteX17788" fmla="*/ 2041740 w 7714416"/>
              <a:gd name="connsiteY17788" fmla="*/ 1068626 h 5282095"/>
              <a:gd name="connsiteX17789" fmla="*/ 2043637 w 7714416"/>
              <a:gd name="connsiteY17789" fmla="*/ 1070399 h 5282095"/>
              <a:gd name="connsiteX17790" fmla="*/ 2038359 w 7714416"/>
              <a:gd name="connsiteY17790" fmla="*/ 1071285 h 5282095"/>
              <a:gd name="connsiteX17791" fmla="*/ 2033766 w 7714416"/>
              <a:gd name="connsiteY17791" fmla="*/ 1072930 h 5282095"/>
              <a:gd name="connsiteX17792" fmla="*/ 2031161 w 7714416"/>
              <a:gd name="connsiteY17792" fmla="*/ 1072691 h 5282095"/>
              <a:gd name="connsiteX17793" fmla="*/ 2019658 w 7714416"/>
              <a:gd name="connsiteY17793" fmla="*/ 1074669 h 5282095"/>
              <a:gd name="connsiteX17794" fmla="*/ 2012149 w 7714416"/>
              <a:gd name="connsiteY17794" fmla="*/ 1073922 h 5282095"/>
              <a:gd name="connsiteX17795" fmla="*/ 2012090 w 7714416"/>
              <a:gd name="connsiteY17795" fmla="*/ 1074137 h 5282095"/>
              <a:gd name="connsiteX17796" fmla="*/ 2012970 w 7714416"/>
              <a:gd name="connsiteY17796" fmla="*/ 1080812 h 5282095"/>
              <a:gd name="connsiteX17797" fmla="*/ 2009675 w 7714416"/>
              <a:gd name="connsiteY17797" fmla="*/ 1083149 h 5282095"/>
              <a:gd name="connsiteX17798" fmla="*/ 2004406 w 7714416"/>
              <a:gd name="connsiteY17798" fmla="*/ 1082887 h 5282095"/>
              <a:gd name="connsiteX17799" fmla="*/ 1999236 w 7714416"/>
              <a:gd name="connsiteY17799" fmla="*/ 1081157 h 5282095"/>
              <a:gd name="connsiteX17800" fmla="*/ 1989785 w 7714416"/>
              <a:gd name="connsiteY17800" fmla="*/ 1074370 h 5282095"/>
              <a:gd name="connsiteX17801" fmla="*/ 1985897 w 7714416"/>
              <a:gd name="connsiteY17801" fmla="*/ 1068958 h 5282095"/>
              <a:gd name="connsiteX17802" fmla="*/ 1982386 w 7714416"/>
              <a:gd name="connsiteY17802" fmla="*/ 1067673 h 5282095"/>
              <a:gd name="connsiteX17803" fmla="*/ 1985080 w 7714416"/>
              <a:gd name="connsiteY17803" fmla="*/ 1064255 h 5282095"/>
              <a:gd name="connsiteX17804" fmla="*/ 1986335 w 7714416"/>
              <a:gd name="connsiteY17804" fmla="*/ 1060680 h 5282095"/>
              <a:gd name="connsiteX17805" fmla="*/ 1991919 w 7714416"/>
              <a:gd name="connsiteY17805" fmla="*/ 1059761 h 5282095"/>
              <a:gd name="connsiteX17806" fmla="*/ 1993465 w 7714416"/>
              <a:gd name="connsiteY17806" fmla="*/ 1060635 h 5282095"/>
              <a:gd name="connsiteX17807" fmla="*/ 2000929 w 7714416"/>
              <a:gd name="connsiteY17807" fmla="*/ 1060451 h 5282095"/>
              <a:gd name="connsiteX17808" fmla="*/ 2002830 w 7714416"/>
              <a:gd name="connsiteY17808" fmla="*/ 1058890 h 5282095"/>
              <a:gd name="connsiteX17809" fmla="*/ 2001012 w 7714416"/>
              <a:gd name="connsiteY17809" fmla="*/ 1054608 h 5282095"/>
              <a:gd name="connsiteX17810" fmla="*/ 1999010 w 7714416"/>
              <a:gd name="connsiteY17810" fmla="*/ 1052116 h 5282095"/>
              <a:gd name="connsiteX17811" fmla="*/ 1994687 w 7714416"/>
              <a:gd name="connsiteY17811" fmla="*/ 1051648 h 5282095"/>
              <a:gd name="connsiteX17812" fmla="*/ 1979325 w 7714416"/>
              <a:gd name="connsiteY17812" fmla="*/ 1048106 h 5282095"/>
              <a:gd name="connsiteX17813" fmla="*/ 1981110 w 7714416"/>
              <a:gd name="connsiteY17813" fmla="*/ 1046975 h 5282095"/>
              <a:gd name="connsiteX17814" fmla="*/ 1993526 w 7714416"/>
              <a:gd name="connsiteY17814" fmla="*/ 1048232 h 5282095"/>
              <a:gd name="connsiteX17815" fmla="*/ 1995825 w 7714416"/>
              <a:gd name="connsiteY17815" fmla="*/ 1048503 h 5282095"/>
              <a:gd name="connsiteX17816" fmla="*/ 1993576 w 7714416"/>
              <a:gd name="connsiteY17816" fmla="*/ 1045831 h 5282095"/>
              <a:gd name="connsiteX17817" fmla="*/ 1980988 w 7714416"/>
              <a:gd name="connsiteY17817" fmla="*/ 1027507 h 5282095"/>
              <a:gd name="connsiteX17818" fmla="*/ 1981013 w 7714416"/>
              <a:gd name="connsiteY17818" fmla="*/ 1021879 h 5282095"/>
              <a:gd name="connsiteX17819" fmla="*/ 1974006 w 7714416"/>
              <a:gd name="connsiteY17819" fmla="*/ 1023681 h 5282095"/>
              <a:gd name="connsiteX17820" fmla="*/ 1966942 w 7714416"/>
              <a:gd name="connsiteY17820" fmla="*/ 1025698 h 5282095"/>
              <a:gd name="connsiteX17821" fmla="*/ 1953929 w 7714416"/>
              <a:gd name="connsiteY17821" fmla="*/ 1028882 h 5282095"/>
              <a:gd name="connsiteX17822" fmla="*/ 1951158 w 7714416"/>
              <a:gd name="connsiteY17822" fmla="*/ 1031475 h 5282095"/>
              <a:gd name="connsiteX17823" fmla="*/ 1950213 w 7714416"/>
              <a:gd name="connsiteY17823" fmla="*/ 1031681 h 5282095"/>
              <a:gd name="connsiteX17824" fmla="*/ 1949896 w 7714416"/>
              <a:gd name="connsiteY17824" fmla="*/ 1032862 h 5282095"/>
              <a:gd name="connsiteX17825" fmla="*/ 1948398 w 7714416"/>
              <a:gd name="connsiteY17825" fmla="*/ 1032920 h 5282095"/>
              <a:gd name="connsiteX17826" fmla="*/ 1948962 w 7714416"/>
              <a:gd name="connsiteY17826" fmla="*/ 1031921 h 5282095"/>
              <a:gd name="connsiteX17827" fmla="*/ 1946767 w 7714416"/>
              <a:gd name="connsiteY17827" fmla="*/ 1032368 h 5282095"/>
              <a:gd name="connsiteX17828" fmla="*/ 1936934 w 7714416"/>
              <a:gd name="connsiteY17828" fmla="*/ 1024789 h 5282095"/>
              <a:gd name="connsiteX17829" fmla="*/ 1939138 w 7714416"/>
              <a:gd name="connsiteY17829" fmla="*/ 1017673 h 5282095"/>
              <a:gd name="connsiteX17830" fmla="*/ 1954202 w 7714416"/>
              <a:gd name="connsiteY17830" fmla="*/ 1023436 h 5282095"/>
              <a:gd name="connsiteX17831" fmla="*/ 1954670 w 7714416"/>
              <a:gd name="connsiteY17831" fmla="*/ 1023905 h 5282095"/>
              <a:gd name="connsiteX17832" fmla="*/ 1954728 w 7714416"/>
              <a:gd name="connsiteY17832" fmla="*/ 1023691 h 5282095"/>
              <a:gd name="connsiteX17833" fmla="*/ 1958709 w 7714416"/>
              <a:gd name="connsiteY17833" fmla="*/ 1022112 h 5282095"/>
              <a:gd name="connsiteX17834" fmla="*/ 1947213 w 7714416"/>
              <a:gd name="connsiteY17834" fmla="*/ 1017422 h 5282095"/>
              <a:gd name="connsiteX17835" fmla="*/ 1926327 w 7714416"/>
              <a:gd name="connsiteY17835" fmla="*/ 1002395 h 5282095"/>
              <a:gd name="connsiteX17836" fmla="*/ 1962468 w 7714416"/>
              <a:gd name="connsiteY17836" fmla="*/ 988159 h 5282095"/>
              <a:gd name="connsiteX17837" fmla="*/ 1790480 w 7714416"/>
              <a:gd name="connsiteY17837" fmla="*/ 988076 h 5282095"/>
              <a:gd name="connsiteX17838" fmla="*/ 1784853 w 7714416"/>
              <a:gd name="connsiteY17838" fmla="*/ 1002439 h 5282095"/>
              <a:gd name="connsiteX17839" fmla="*/ 1782681 w 7714416"/>
              <a:gd name="connsiteY17839" fmla="*/ 1006112 h 5282095"/>
              <a:gd name="connsiteX17840" fmla="*/ 1784532 w 7714416"/>
              <a:gd name="connsiteY17840" fmla="*/ 1006952 h 5282095"/>
              <a:gd name="connsiteX17841" fmla="*/ 1787260 w 7714416"/>
              <a:gd name="connsiteY17841" fmla="*/ 1008948 h 5282095"/>
              <a:gd name="connsiteX17842" fmla="*/ 1790695 w 7714416"/>
              <a:gd name="connsiteY17842" fmla="*/ 1009409 h 5282095"/>
              <a:gd name="connsiteX17843" fmla="*/ 1791421 w 7714416"/>
              <a:gd name="connsiteY17843" fmla="*/ 1008914 h 5282095"/>
              <a:gd name="connsiteX17844" fmla="*/ 1793009 w 7714416"/>
              <a:gd name="connsiteY17844" fmla="*/ 1005199 h 5282095"/>
              <a:gd name="connsiteX17845" fmla="*/ 1796559 w 7714416"/>
              <a:gd name="connsiteY17845" fmla="*/ 1005230 h 5282095"/>
              <a:gd name="connsiteX17846" fmla="*/ 1797301 w 7714416"/>
              <a:gd name="connsiteY17846" fmla="*/ 1009109 h 5282095"/>
              <a:gd name="connsiteX17847" fmla="*/ 1792136 w 7714416"/>
              <a:gd name="connsiteY17847" fmla="*/ 1009565 h 5282095"/>
              <a:gd name="connsiteX17848" fmla="*/ 1805849 w 7714416"/>
              <a:gd name="connsiteY17848" fmla="*/ 1011514 h 5282095"/>
              <a:gd name="connsiteX17849" fmla="*/ 1810657 w 7714416"/>
              <a:gd name="connsiteY17849" fmla="*/ 1013493 h 5282095"/>
              <a:gd name="connsiteX17850" fmla="*/ 1810726 w 7714416"/>
              <a:gd name="connsiteY17850" fmla="*/ 1012131 h 5282095"/>
              <a:gd name="connsiteX17851" fmla="*/ 1819398 w 7714416"/>
              <a:gd name="connsiteY17851" fmla="*/ 1016295 h 5282095"/>
              <a:gd name="connsiteX17852" fmla="*/ 1819005 w 7714416"/>
              <a:gd name="connsiteY17852" fmla="*/ 1016649 h 5282095"/>
              <a:gd name="connsiteX17853" fmla="*/ 1827295 w 7714416"/>
              <a:gd name="connsiteY17853" fmla="*/ 1020021 h 5282095"/>
              <a:gd name="connsiteX17854" fmla="*/ 1838511 w 7714416"/>
              <a:gd name="connsiteY17854" fmla="*/ 1027971 h 5282095"/>
              <a:gd name="connsiteX17855" fmla="*/ 1805051 w 7714416"/>
              <a:gd name="connsiteY17855" fmla="*/ 1025561 h 5282095"/>
              <a:gd name="connsiteX17856" fmla="*/ 1798413 w 7714416"/>
              <a:gd name="connsiteY17856" fmla="*/ 1047012 h 5282095"/>
              <a:gd name="connsiteX17857" fmla="*/ 1791686 w 7714416"/>
              <a:gd name="connsiteY17857" fmla="*/ 1027845 h 5282095"/>
              <a:gd name="connsiteX17858" fmla="*/ 1791051 w 7714416"/>
              <a:gd name="connsiteY17858" fmla="*/ 1024685 h 5282095"/>
              <a:gd name="connsiteX17859" fmla="*/ 1788688 w 7714416"/>
              <a:gd name="connsiteY17859" fmla="*/ 1022441 h 5282095"/>
              <a:gd name="connsiteX17860" fmla="*/ 1780007 w 7714416"/>
              <a:gd name="connsiteY17860" fmla="*/ 1016091 h 5282095"/>
              <a:gd name="connsiteX17861" fmla="*/ 1779034 w 7714416"/>
              <a:gd name="connsiteY17861" fmla="*/ 1016404 h 5282095"/>
              <a:gd name="connsiteX17862" fmla="*/ 1778948 w 7714416"/>
              <a:gd name="connsiteY17862" fmla="*/ 1016726 h 5282095"/>
              <a:gd name="connsiteX17863" fmla="*/ 1779195 w 7714416"/>
              <a:gd name="connsiteY17863" fmla="*/ 1016908 h 5282095"/>
              <a:gd name="connsiteX17864" fmla="*/ 1778718 w 7714416"/>
              <a:gd name="connsiteY17864" fmla="*/ 1017585 h 5282095"/>
              <a:gd name="connsiteX17865" fmla="*/ 1778430 w 7714416"/>
              <a:gd name="connsiteY17865" fmla="*/ 1018658 h 5282095"/>
              <a:gd name="connsiteX17866" fmla="*/ 1778125 w 7714416"/>
              <a:gd name="connsiteY17866" fmla="*/ 1018691 h 5282095"/>
              <a:gd name="connsiteX17867" fmla="*/ 1777503 w 7714416"/>
              <a:gd name="connsiteY17867" fmla="*/ 1019903 h 5282095"/>
              <a:gd name="connsiteX17868" fmla="*/ 1773072 w 7714416"/>
              <a:gd name="connsiteY17868" fmla="*/ 1022052 h 5282095"/>
              <a:gd name="connsiteX17869" fmla="*/ 1767046 w 7714416"/>
              <a:gd name="connsiteY17869" fmla="*/ 1025727 h 5282095"/>
              <a:gd name="connsiteX17870" fmla="*/ 1742975 w 7714416"/>
              <a:gd name="connsiteY17870" fmla="*/ 1033653 h 5282095"/>
              <a:gd name="connsiteX17871" fmla="*/ 1749825 w 7714416"/>
              <a:gd name="connsiteY17871" fmla="*/ 1028013 h 5282095"/>
              <a:gd name="connsiteX17872" fmla="*/ 1747967 w 7714416"/>
              <a:gd name="connsiteY17872" fmla="*/ 1024985 h 5282095"/>
              <a:gd name="connsiteX17873" fmla="*/ 1751895 w 7714416"/>
              <a:gd name="connsiteY17873" fmla="*/ 1020288 h 5282095"/>
              <a:gd name="connsiteX17874" fmla="*/ 1753904 w 7714416"/>
              <a:gd name="connsiteY17874" fmla="*/ 1024966 h 5282095"/>
              <a:gd name="connsiteX17875" fmla="*/ 1753731 w 7714416"/>
              <a:gd name="connsiteY17875" fmla="*/ 1025609 h 5282095"/>
              <a:gd name="connsiteX17876" fmla="*/ 1761314 w 7714416"/>
              <a:gd name="connsiteY17876" fmla="*/ 1021661 h 5282095"/>
              <a:gd name="connsiteX17877" fmla="*/ 1769634 w 7714416"/>
              <a:gd name="connsiteY17877" fmla="*/ 1016071 h 5282095"/>
              <a:gd name="connsiteX17878" fmla="*/ 1774290 w 7714416"/>
              <a:gd name="connsiteY17878" fmla="*/ 1016398 h 5282095"/>
              <a:gd name="connsiteX17879" fmla="*/ 1775684 w 7714416"/>
              <a:gd name="connsiteY17879" fmla="*/ 1015622 h 5282095"/>
              <a:gd name="connsiteX17880" fmla="*/ 1777679 w 7714416"/>
              <a:gd name="connsiteY17880" fmla="*/ 1015926 h 5282095"/>
              <a:gd name="connsiteX17881" fmla="*/ 1777956 w 7714416"/>
              <a:gd name="connsiteY17881" fmla="*/ 1016001 h 5282095"/>
              <a:gd name="connsiteX17882" fmla="*/ 1778319 w 7714416"/>
              <a:gd name="connsiteY17882" fmla="*/ 1015753 h 5282095"/>
              <a:gd name="connsiteX17883" fmla="*/ 1779293 w 7714416"/>
              <a:gd name="connsiteY17883" fmla="*/ 1015438 h 5282095"/>
              <a:gd name="connsiteX17884" fmla="*/ 1771854 w 7714416"/>
              <a:gd name="connsiteY17884" fmla="*/ 1009996 h 5282095"/>
              <a:gd name="connsiteX17885" fmla="*/ 1773504 w 7714416"/>
              <a:gd name="connsiteY17885" fmla="*/ 1002732 h 5282095"/>
              <a:gd name="connsiteX17886" fmla="*/ 1778092 w 7714416"/>
              <a:gd name="connsiteY17886" fmla="*/ 1004422 h 5282095"/>
              <a:gd name="connsiteX17887" fmla="*/ 1779968 w 7714416"/>
              <a:gd name="connsiteY17887" fmla="*/ 999635 h 5282095"/>
              <a:gd name="connsiteX17888" fmla="*/ 1789485 w 7714416"/>
              <a:gd name="connsiteY17888" fmla="*/ 990684 h 5282095"/>
              <a:gd name="connsiteX17889" fmla="*/ 1790480 w 7714416"/>
              <a:gd name="connsiteY17889" fmla="*/ 988076 h 5282095"/>
              <a:gd name="connsiteX17890" fmla="*/ 1445950 w 7714416"/>
              <a:gd name="connsiteY17890" fmla="*/ 987760 h 5282095"/>
              <a:gd name="connsiteX17891" fmla="*/ 1449604 w 7714416"/>
              <a:gd name="connsiteY17891" fmla="*/ 988510 h 5282095"/>
              <a:gd name="connsiteX17892" fmla="*/ 1457939 w 7714416"/>
              <a:gd name="connsiteY17892" fmla="*/ 996148 h 5282095"/>
              <a:gd name="connsiteX17893" fmla="*/ 1454872 w 7714416"/>
              <a:gd name="connsiteY17893" fmla="*/ 997626 h 5282095"/>
              <a:gd name="connsiteX17894" fmla="*/ 1458967 w 7714416"/>
              <a:gd name="connsiteY17894" fmla="*/ 998953 h 5282095"/>
              <a:gd name="connsiteX17895" fmla="*/ 1462627 w 7714416"/>
              <a:gd name="connsiteY17895" fmla="*/ 1001890 h 5282095"/>
              <a:gd name="connsiteX17896" fmla="*/ 1466458 w 7714416"/>
              <a:gd name="connsiteY17896" fmla="*/ 1007516 h 5282095"/>
              <a:gd name="connsiteX17897" fmla="*/ 1469275 w 7714416"/>
              <a:gd name="connsiteY17897" fmla="*/ 1005856 h 5282095"/>
              <a:gd name="connsiteX17898" fmla="*/ 1473523 w 7714416"/>
              <a:gd name="connsiteY17898" fmla="*/ 1005499 h 5282095"/>
              <a:gd name="connsiteX17899" fmla="*/ 1477225 w 7714416"/>
              <a:gd name="connsiteY17899" fmla="*/ 1007181 h 5282095"/>
              <a:gd name="connsiteX17900" fmla="*/ 1477490 w 7714416"/>
              <a:gd name="connsiteY17900" fmla="*/ 1008401 h 5282095"/>
              <a:gd name="connsiteX17901" fmla="*/ 1478001 w 7714416"/>
              <a:gd name="connsiteY17901" fmla="*/ 1013139 h 5282095"/>
              <a:gd name="connsiteX17902" fmla="*/ 1473933 w 7714416"/>
              <a:gd name="connsiteY17902" fmla="*/ 1015039 h 5282095"/>
              <a:gd name="connsiteX17903" fmla="*/ 1470049 w 7714416"/>
              <a:gd name="connsiteY17903" fmla="*/ 1015148 h 5282095"/>
              <a:gd name="connsiteX17904" fmla="*/ 1470227 w 7714416"/>
              <a:gd name="connsiteY17904" fmla="*/ 1016691 h 5282095"/>
              <a:gd name="connsiteX17905" fmla="*/ 1463022 w 7714416"/>
              <a:gd name="connsiteY17905" fmla="*/ 1024766 h 5282095"/>
              <a:gd name="connsiteX17906" fmla="*/ 1461391 w 7714416"/>
              <a:gd name="connsiteY17906" fmla="*/ 1024213 h 5282095"/>
              <a:gd name="connsiteX17907" fmla="*/ 1462260 w 7714416"/>
              <a:gd name="connsiteY17907" fmla="*/ 1032037 h 5282095"/>
              <a:gd name="connsiteX17908" fmla="*/ 1455903 w 7714416"/>
              <a:gd name="connsiteY17908" fmla="*/ 1032518 h 5282095"/>
              <a:gd name="connsiteX17909" fmla="*/ 1449263 w 7714416"/>
              <a:gd name="connsiteY17909" fmla="*/ 1030739 h 5282095"/>
              <a:gd name="connsiteX17910" fmla="*/ 1438360 w 7714416"/>
              <a:gd name="connsiteY17910" fmla="*/ 1024942 h 5282095"/>
              <a:gd name="connsiteX17911" fmla="*/ 1435327 w 7714416"/>
              <a:gd name="connsiteY17911" fmla="*/ 1022979 h 5282095"/>
              <a:gd name="connsiteX17912" fmla="*/ 1434764 w 7714416"/>
              <a:gd name="connsiteY17912" fmla="*/ 1023979 h 5282095"/>
              <a:gd name="connsiteX17913" fmla="*/ 1433476 w 7714416"/>
              <a:gd name="connsiteY17913" fmla="*/ 1022139 h 5282095"/>
              <a:gd name="connsiteX17914" fmla="*/ 1433200 w 7714416"/>
              <a:gd name="connsiteY17914" fmla="*/ 1022065 h 5282095"/>
              <a:gd name="connsiteX17915" fmla="*/ 1431597 w 7714416"/>
              <a:gd name="connsiteY17915" fmla="*/ 1021405 h 5282095"/>
              <a:gd name="connsiteX17916" fmla="*/ 1427259 w 7714416"/>
              <a:gd name="connsiteY17916" fmla="*/ 1016563 h 5282095"/>
              <a:gd name="connsiteX17917" fmla="*/ 1429114 w 7714416"/>
              <a:gd name="connsiteY17917" fmla="*/ 1014070 h 5282095"/>
              <a:gd name="connsiteX17918" fmla="*/ 1438076 w 7714416"/>
              <a:gd name="connsiteY17918" fmla="*/ 1013826 h 5282095"/>
              <a:gd name="connsiteX17919" fmla="*/ 1441347 w 7714416"/>
              <a:gd name="connsiteY17919" fmla="*/ 999407 h 5282095"/>
              <a:gd name="connsiteX17920" fmla="*/ 1446324 w 7714416"/>
              <a:gd name="connsiteY17920" fmla="*/ 995221 h 5282095"/>
              <a:gd name="connsiteX17921" fmla="*/ 1444006 w 7714416"/>
              <a:gd name="connsiteY17921" fmla="*/ 993910 h 5282095"/>
              <a:gd name="connsiteX17922" fmla="*/ 1442590 w 7714416"/>
              <a:gd name="connsiteY17922" fmla="*/ 988126 h 5282095"/>
              <a:gd name="connsiteX17923" fmla="*/ 1443132 w 7714416"/>
              <a:gd name="connsiteY17923" fmla="*/ 989421 h 5282095"/>
              <a:gd name="connsiteX17924" fmla="*/ 1446216 w 7714416"/>
              <a:gd name="connsiteY17924" fmla="*/ 988982 h 5282095"/>
              <a:gd name="connsiteX17925" fmla="*/ 1445950 w 7714416"/>
              <a:gd name="connsiteY17925" fmla="*/ 987760 h 5282095"/>
              <a:gd name="connsiteX17926" fmla="*/ 1725350 w 7714416"/>
              <a:gd name="connsiteY17926" fmla="*/ 987645 h 5282095"/>
              <a:gd name="connsiteX17927" fmla="*/ 1725120 w 7714416"/>
              <a:gd name="connsiteY17927" fmla="*/ 988503 h 5282095"/>
              <a:gd name="connsiteX17928" fmla="*/ 1728440 w 7714416"/>
              <a:gd name="connsiteY17928" fmla="*/ 989392 h 5282095"/>
              <a:gd name="connsiteX17929" fmla="*/ 1726895 w 7714416"/>
              <a:gd name="connsiteY17929" fmla="*/ 988519 h 5282095"/>
              <a:gd name="connsiteX17930" fmla="*/ 1726591 w 7714416"/>
              <a:gd name="connsiteY17930" fmla="*/ 988552 h 5282095"/>
              <a:gd name="connsiteX17931" fmla="*/ 1725350 w 7714416"/>
              <a:gd name="connsiteY17931" fmla="*/ 987645 h 5282095"/>
              <a:gd name="connsiteX17932" fmla="*/ 1979563 w 7714416"/>
              <a:gd name="connsiteY17932" fmla="*/ 987449 h 5282095"/>
              <a:gd name="connsiteX17933" fmla="*/ 1991220 w 7714416"/>
              <a:gd name="connsiteY17933" fmla="*/ 992643 h 5282095"/>
              <a:gd name="connsiteX17934" fmla="*/ 1982965 w 7714416"/>
              <a:gd name="connsiteY17934" fmla="*/ 1000207 h 5282095"/>
              <a:gd name="connsiteX17935" fmla="*/ 1974934 w 7714416"/>
              <a:gd name="connsiteY17935" fmla="*/ 995869 h 5282095"/>
              <a:gd name="connsiteX17936" fmla="*/ 1979563 w 7714416"/>
              <a:gd name="connsiteY17936" fmla="*/ 987449 h 5282095"/>
              <a:gd name="connsiteX17937" fmla="*/ 2364293 w 7714416"/>
              <a:gd name="connsiteY17937" fmla="*/ 987152 h 5282095"/>
              <a:gd name="connsiteX17938" fmla="*/ 2374628 w 7714416"/>
              <a:gd name="connsiteY17938" fmla="*/ 988426 h 5282095"/>
              <a:gd name="connsiteX17939" fmla="*/ 2372856 w 7714416"/>
              <a:gd name="connsiteY17939" fmla="*/ 993931 h 5282095"/>
              <a:gd name="connsiteX17940" fmla="*/ 2359287 w 7714416"/>
              <a:gd name="connsiteY17940" fmla="*/ 991446 h 5282095"/>
              <a:gd name="connsiteX17941" fmla="*/ 2354706 w 7714416"/>
              <a:gd name="connsiteY17941" fmla="*/ 991943 h 5282095"/>
              <a:gd name="connsiteX17942" fmla="*/ 2350555 w 7714416"/>
              <a:gd name="connsiteY17942" fmla="*/ 990830 h 5282095"/>
              <a:gd name="connsiteX17943" fmla="*/ 2361770 w 7714416"/>
              <a:gd name="connsiteY17943" fmla="*/ 989925 h 5282095"/>
              <a:gd name="connsiteX17944" fmla="*/ 2364293 w 7714416"/>
              <a:gd name="connsiteY17944" fmla="*/ 987152 h 5282095"/>
              <a:gd name="connsiteX17945" fmla="*/ 4811002 w 7714416"/>
              <a:gd name="connsiteY17945" fmla="*/ 987121 h 5282095"/>
              <a:gd name="connsiteX17946" fmla="*/ 4804961 w 7714416"/>
              <a:gd name="connsiteY17946" fmla="*/ 995277 h 5282095"/>
              <a:gd name="connsiteX17947" fmla="*/ 4800482 w 7714416"/>
              <a:gd name="connsiteY17947" fmla="*/ 987638 h 5282095"/>
              <a:gd name="connsiteX17948" fmla="*/ 4811002 w 7714416"/>
              <a:gd name="connsiteY17948" fmla="*/ 987121 h 5282095"/>
              <a:gd name="connsiteX17949" fmla="*/ 5056510 w 7714416"/>
              <a:gd name="connsiteY17949" fmla="*/ 986204 h 5282095"/>
              <a:gd name="connsiteX17950" fmla="*/ 5065149 w 7714416"/>
              <a:gd name="connsiteY17950" fmla="*/ 993809 h 5282095"/>
              <a:gd name="connsiteX17951" fmla="*/ 5059888 w 7714416"/>
              <a:gd name="connsiteY17951" fmla="*/ 995734 h 5282095"/>
              <a:gd name="connsiteX17952" fmla="*/ 5067039 w 7714416"/>
              <a:gd name="connsiteY17952" fmla="*/ 1002250 h 5282095"/>
              <a:gd name="connsiteX17953" fmla="*/ 5069827 w 7714416"/>
              <a:gd name="connsiteY17953" fmla="*/ 1009552 h 5282095"/>
              <a:gd name="connsiteX17954" fmla="*/ 5063635 w 7714416"/>
              <a:gd name="connsiteY17954" fmla="*/ 1016058 h 5282095"/>
              <a:gd name="connsiteX17955" fmla="*/ 5057479 w 7714416"/>
              <a:gd name="connsiteY17955" fmla="*/ 1015789 h 5282095"/>
              <a:gd name="connsiteX17956" fmla="*/ 5059377 w 7714416"/>
              <a:gd name="connsiteY17956" fmla="*/ 1017562 h 5282095"/>
              <a:gd name="connsiteX17957" fmla="*/ 5062694 w 7714416"/>
              <a:gd name="connsiteY17957" fmla="*/ 1021785 h 5282095"/>
              <a:gd name="connsiteX17958" fmla="*/ 5056326 w 7714416"/>
              <a:gd name="connsiteY17958" fmla="*/ 1023415 h 5282095"/>
              <a:gd name="connsiteX17959" fmla="*/ 5051812 w 7714416"/>
              <a:gd name="connsiteY17959" fmla="*/ 1022550 h 5282095"/>
              <a:gd name="connsiteX17960" fmla="*/ 5052211 w 7714416"/>
              <a:gd name="connsiteY17960" fmla="*/ 1024383 h 5282095"/>
              <a:gd name="connsiteX17961" fmla="*/ 5034035 w 7714416"/>
              <a:gd name="connsiteY17961" fmla="*/ 1028022 h 5282095"/>
              <a:gd name="connsiteX17962" fmla="*/ 5031294 w 7714416"/>
              <a:gd name="connsiteY17962" fmla="*/ 1021652 h 5282095"/>
              <a:gd name="connsiteX17963" fmla="*/ 5030507 w 7714416"/>
              <a:gd name="connsiteY17963" fmla="*/ 1016842 h 5282095"/>
              <a:gd name="connsiteX17964" fmla="*/ 5042164 w 7714416"/>
              <a:gd name="connsiteY17964" fmla="*/ 1013180 h 5282095"/>
              <a:gd name="connsiteX17965" fmla="*/ 5042717 w 7714416"/>
              <a:gd name="connsiteY17965" fmla="*/ 1013328 h 5282095"/>
              <a:gd name="connsiteX17966" fmla="*/ 5042775 w 7714416"/>
              <a:gd name="connsiteY17966" fmla="*/ 1013114 h 5282095"/>
              <a:gd name="connsiteX17967" fmla="*/ 5045449 w 7714416"/>
              <a:gd name="connsiteY17967" fmla="*/ 1011990 h 5282095"/>
              <a:gd name="connsiteX17968" fmla="*/ 5042329 w 7714416"/>
              <a:gd name="connsiteY17968" fmla="*/ 1010349 h 5282095"/>
              <a:gd name="connsiteX17969" fmla="*/ 5038402 w 7714416"/>
              <a:gd name="connsiteY17969" fmla="*/ 997337 h 5282095"/>
              <a:gd name="connsiteX17970" fmla="*/ 5037809 w 7714416"/>
              <a:gd name="connsiteY17970" fmla="*/ 998442 h 5282095"/>
              <a:gd name="connsiteX17971" fmla="*/ 5011626 w 7714416"/>
              <a:gd name="connsiteY17971" fmla="*/ 1000972 h 5282095"/>
              <a:gd name="connsiteX17972" fmla="*/ 5014731 w 7714416"/>
              <a:gd name="connsiteY17972" fmla="*/ 998239 h 5282095"/>
              <a:gd name="connsiteX17973" fmla="*/ 5016650 w 7714416"/>
              <a:gd name="connsiteY17973" fmla="*/ 997718 h 5282095"/>
              <a:gd name="connsiteX17974" fmla="*/ 5016938 w 7714416"/>
              <a:gd name="connsiteY17974" fmla="*/ 996645 h 5282095"/>
              <a:gd name="connsiteX17975" fmla="*/ 5018541 w 7714416"/>
              <a:gd name="connsiteY17975" fmla="*/ 997305 h 5282095"/>
              <a:gd name="connsiteX17976" fmla="*/ 5022655 w 7714416"/>
              <a:gd name="connsiteY17976" fmla="*/ 996337 h 5282095"/>
              <a:gd name="connsiteX17977" fmla="*/ 5029856 w 7714416"/>
              <a:gd name="connsiteY17977" fmla="*/ 991597 h 5282095"/>
              <a:gd name="connsiteX17978" fmla="*/ 5040767 w 7714416"/>
              <a:gd name="connsiteY17978" fmla="*/ 990725 h 5282095"/>
              <a:gd name="connsiteX17979" fmla="*/ 5043092 w 7714416"/>
              <a:gd name="connsiteY17979" fmla="*/ 994223 h 5282095"/>
              <a:gd name="connsiteX17980" fmla="*/ 5047206 w 7714416"/>
              <a:gd name="connsiteY17980" fmla="*/ 993256 h 5282095"/>
              <a:gd name="connsiteX17981" fmla="*/ 5051989 w 7714416"/>
              <a:gd name="connsiteY17981" fmla="*/ 992007 h 5282095"/>
              <a:gd name="connsiteX17982" fmla="*/ 5052956 w 7714416"/>
              <a:gd name="connsiteY17982" fmla="*/ 989506 h 5282095"/>
              <a:gd name="connsiteX17983" fmla="*/ 5056510 w 7714416"/>
              <a:gd name="connsiteY17983" fmla="*/ 986204 h 5282095"/>
              <a:gd name="connsiteX17984" fmla="*/ 1528882 w 7714416"/>
              <a:gd name="connsiteY17984" fmla="*/ 985673 h 5282095"/>
              <a:gd name="connsiteX17985" fmla="*/ 1543235 w 7714416"/>
              <a:gd name="connsiteY17985" fmla="*/ 987723 h 5282095"/>
              <a:gd name="connsiteX17986" fmla="*/ 1548885 w 7714416"/>
              <a:gd name="connsiteY17986" fmla="*/ 988776 h 5282095"/>
              <a:gd name="connsiteX17987" fmla="*/ 1552018 w 7714416"/>
              <a:gd name="connsiteY17987" fmla="*/ 985936 h 5282095"/>
              <a:gd name="connsiteX17988" fmla="*/ 1558799 w 7714416"/>
              <a:gd name="connsiteY17988" fmla="*/ 990513 h 5282095"/>
              <a:gd name="connsiteX17989" fmla="*/ 1556916 w 7714416"/>
              <a:gd name="connsiteY17989" fmla="*/ 993113 h 5282095"/>
              <a:gd name="connsiteX17990" fmla="*/ 1560046 w 7714416"/>
              <a:gd name="connsiteY17990" fmla="*/ 993607 h 5282095"/>
              <a:gd name="connsiteX17991" fmla="*/ 1555610 w 7714416"/>
              <a:gd name="connsiteY17991" fmla="*/ 999089 h 5282095"/>
              <a:gd name="connsiteX17992" fmla="*/ 1554920 w 7714416"/>
              <a:gd name="connsiteY17992" fmla="*/ 1001664 h 5282095"/>
              <a:gd name="connsiteX17993" fmla="*/ 1552528 w 7714416"/>
              <a:gd name="connsiteY17993" fmla="*/ 999528 h 5282095"/>
              <a:gd name="connsiteX17994" fmla="*/ 1556272 w 7714416"/>
              <a:gd name="connsiteY17994" fmla="*/ 996621 h 5282095"/>
              <a:gd name="connsiteX17995" fmla="*/ 1553879 w 7714416"/>
              <a:gd name="connsiteY17995" fmla="*/ 994485 h 5282095"/>
              <a:gd name="connsiteX17996" fmla="*/ 1554835 w 7714416"/>
              <a:gd name="connsiteY17996" fmla="*/ 993131 h 5282095"/>
              <a:gd name="connsiteX17997" fmla="*/ 1555198 w 7714416"/>
              <a:gd name="connsiteY17997" fmla="*/ 992884 h 5282095"/>
              <a:gd name="connsiteX17998" fmla="*/ 1554673 w 7714416"/>
              <a:gd name="connsiteY17998" fmla="*/ 992628 h 5282095"/>
              <a:gd name="connsiteX17999" fmla="*/ 1554835 w 7714416"/>
              <a:gd name="connsiteY17999" fmla="*/ 993131 h 5282095"/>
              <a:gd name="connsiteX18000" fmla="*/ 1538761 w 7714416"/>
              <a:gd name="connsiteY18000" fmla="*/ 994459 h 5282095"/>
              <a:gd name="connsiteX18001" fmla="*/ 1538112 w 7714416"/>
              <a:gd name="connsiteY18001" fmla="*/ 995780 h 5282095"/>
              <a:gd name="connsiteX18002" fmla="*/ 1539321 w 7714416"/>
              <a:gd name="connsiteY18002" fmla="*/ 996794 h 5282095"/>
              <a:gd name="connsiteX18003" fmla="*/ 1544284 w 7714416"/>
              <a:gd name="connsiteY18003" fmla="*/ 997088 h 5282095"/>
              <a:gd name="connsiteX18004" fmla="*/ 1555766 w 7714416"/>
              <a:gd name="connsiteY18004" fmla="*/ 1006261 h 5282095"/>
              <a:gd name="connsiteX18005" fmla="*/ 1553434 w 7714416"/>
              <a:gd name="connsiteY18005" fmla="*/ 1009431 h 5282095"/>
              <a:gd name="connsiteX18006" fmla="*/ 1551741 w 7714416"/>
              <a:gd name="connsiteY18006" fmla="*/ 1012427 h 5282095"/>
              <a:gd name="connsiteX18007" fmla="*/ 1552668 w 7714416"/>
              <a:gd name="connsiteY18007" fmla="*/ 1011180 h 5282095"/>
              <a:gd name="connsiteX18008" fmla="*/ 1560743 w 7714416"/>
              <a:gd name="connsiteY18008" fmla="*/ 1010929 h 5282095"/>
              <a:gd name="connsiteX18009" fmla="*/ 1555341 w 7714416"/>
              <a:gd name="connsiteY18009" fmla="*/ 1018912 h 5282095"/>
              <a:gd name="connsiteX18010" fmla="*/ 1548787 w 7714416"/>
              <a:gd name="connsiteY18010" fmla="*/ 1016811 h 5282095"/>
              <a:gd name="connsiteX18011" fmla="*/ 1548481 w 7714416"/>
              <a:gd name="connsiteY18011" fmla="*/ 1016844 h 5282095"/>
              <a:gd name="connsiteX18012" fmla="*/ 1546634 w 7714416"/>
              <a:gd name="connsiteY18012" fmla="*/ 1021524 h 5282095"/>
              <a:gd name="connsiteX18013" fmla="*/ 1544801 w 7714416"/>
              <a:gd name="connsiteY18013" fmla="*/ 1021723 h 5282095"/>
              <a:gd name="connsiteX18014" fmla="*/ 1542189 w 7714416"/>
              <a:gd name="connsiteY18014" fmla="*/ 1019298 h 5282095"/>
              <a:gd name="connsiteX18015" fmla="*/ 1542649 w 7714416"/>
              <a:gd name="connsiteY18015" fmla="*/ 1017581 h 5282095"/>
              <a:gd name="connsiteX18016" fmla="*/ 1536264 w 7714416"/>
              <a:gd name="connsiteY18016" fmla="*/ 1018170 h 5282095"/>
              <a:gd name="connsiteX18017" fmla="*/ 1523421 w 7714416"/>
              <a:gd name="connsiteY18017" fmla="*/ 1006334 h 5282095"/>
              <a:gd name="connsiteX18018" fmla="*/ 1534692 w 7714416"/>
              <a:gd name="connsiteY18018" fmla="*/ 996359 h 5282095"/>
              <a:gd name="connsiteX18019" fmla="*/ 1534675 w 7714416"/>
              <a:gd name="connsiteY18019" fmla="*/ 995319 h 5282095"/>
              <a:gd name="connsiteX18020" fmla="*/ 1532786 w 7714416"/>
              <a:gd name="connsiteY18020" fmla="*/ 995733 h 5282095"/>
              <a:gd name="connsiteX18021" fmla="*/ 1530865 w 7714416"/>
              <a:gd name="connsiteY18021" fmla="*/ 996253 h 5282095"/>
              <a:gd name="connsiteX18022" fmla="*/ 1527182 w 7714416"/>
              <a:gd name="connsiteY18022" fmla="*/ 995612 h 5282095"/>
              <a:gd name="connsiteX18023" fmla="*/ 1517865 w 7714416"/>
              <a:gd name="connsiteY18023" fmla="*/ 989435 h 5282095"/>
              <a:gd name="connsiteX18024" fmla="*/ 1528882 w 7714416"/>
              <a:gd name="connsiteY18024" fmla="*/ 985673 h 5282095"/>
              <a:gd name="connsiteX18025" fmla="*/ 2008332 w 7714416"/>
              <a:gd name="connsiteY18025" fmla="*/ 984118 h 5282095"/>
              <a:gd name="connsiteX18026" fmla="*/ 2024154 w 7714416"/>
              <a:gd name="connsiteY18026" fmla="*/ 985943 h 5282095"/>
              <a:gd name="connsiteX18027" fmla="*/ 2006051 w 7714416"/>
              <a:gd name="connsiteY18027" fmla="*/ 993742 h 5282095"/>
              <a:gd name="connsiteX18028" fmla="*/ 2008332 w 7714416"/>
              <a:gd name="connsiteY18028" fmla="*/ 984118 h 5282095"/>
              <a:gd name="connsiteX18029" fmla="*/ 1889803 w 7714416"/>
              <a:gd name="connsiteY18029" fmla="*/ 983754 h 5282095"/>
              <a:gd name="connsiteX18030" fmla="*/ 1889296 w 7714416"/>
              <a:gd name="connsiteY18030" fmla="*/ 984539 h 5282095"/>
              <a:gd name="connsiteX18031" fmla="*/ 1890594 w 7714416"/>
              <a:gd name="connsiteY18031" fmla="*/ 985231 h 5282095"/>
              <a:gd name="connsiteX18032" fmla="*/ 1891642 w 7714416"/>
              <a:gd name="connsiteY18032" fmla="*/ 985742 h 5282095"/>
              <a:gd name="connsiteX18033" fmla="*/ 1892466 w 7714416"/>
              <a:gd name="connsiteY18033" fmla="*/ 983777 h 5282095"/>
              <a:gd name="connsiteX18034" fmla="*/ 1345787 w 7714416"/>
              <a:gd name="connsiteY18034" fmla="*/ 983735 h 5282095"/>
              <a:gd name="connsiteX18035" fmla="*/ 1357850 w 7714416"/>
              <a:gd name="connsiteY18035" fmla="*/ 984510 h 5282095"/>
              <a:gd name="connsiteX18036" fmla="*/ 1362654 w 7714416"/>
              <a:gd name="connsiteY18036" fmla="*/ 989821 h 5282095"/>
              <a:gd name="connsiteX18037" fmla="*/ 1339958 w 7714416"/>
              <a:gd name="connsiteY18037" fmla="*/ 990411 h 5282095"/>
              <a:gd name="connsiteX18038" fmla="*/ 1345787 w 7714416"/>
              <a:gd name="connsiteY18038" fmla="*/ 983735 h 5282095"/>
              <a:gd name="connsiteX18039" fmla="*/ 1383325 w 7714416"/>
              <a:gd name="connsiteY18039" fmla="*/ 983516 h 5282095"/>
              <a:gd name="connsiteX18040" fmla="*/ 1380148 w 7714416"/>
              <a:gd name="connsiteY18040" fmla="*/ 990944 h 5282095"/>
              <a:gd name="connsiteX18041" fmla="*/ 1370895 w 7714416"/>
              <a:gd name="connsiteY18041" fmla="*/ 986740 h 5282095"/>
              <a:gd name="connsiteX18042" fmla="*/ 1383325 w 7714416"/>
              <a:gd name="connsiteY18042" fmla="*/ 983516 h 5282095"/>
              <a:gd name="connsiteX18043" fmla="*/ 5322639 w 7714416"/>
              <a:gd name="connsiteY18043" fmla="*/ 981381 h 5282095"/>
              <a:gd name="connsiteX18044" fmla="*/ 5326185 w 7714416"/>
              <a:gd name="connsiteY18044" fmla="*/ 984747 h 5282095"/>
              <a:gd name="connsiteX18045" fmla="*/ 5326046 w 7714416"/>
              <a:gd name="connsiteY18045" fmla="*/ 990804 h 5282095"/>
              <a:gd name="connsiteX18046" fmla="*/ 5322905 w 7714416"/>
              <a:gd name="connsiteY18046" fmla="*/ 991458 h 5282095"/>
              <a:gd name="connsiteX18047" fmla="*/ 5311973 w 7714416"/>
              <a:gd name="connsiteY18047" fmla="*/ 985768 h 5282095"/>
              <a:gd name="connsiteX18048" fmla="*/ 5311538 w 7714416"/>
              <a:gd name="connsiteY18048" fmla="*/ 981857 h 5282095"/>
              <a:gd name="connsiteX18049" fmla="*/ 5322639 w 7714416"/>
              <a:gd name="connsiteY18049" fmla="*/ 981381 h 5282095"/>
              <a:gd name="connsiteX18050" fmla="*/ 4978282 w 7714416"/>
              <a:gd name="connsiteY18050" fmla="*/ 980423 h 5282095"/>
              <a:gd name="connsiteX18051" fmla="*/ 4973495 w 7714416"/>
              <a:gd name="connsiteY18051" fmla="*/ 993861 h 5282095"/>
              <a:gd name="connsiteX18052" fmla="*/ 4964119 w 7714416"/>
              <a:gd name="connsiteY18052" fmla="*/ 996752 h 5282095"/>
              <a:gd name="connsiteX18053" fmla="*/ 4961461 w 7714416"/>
              <a:gd name="connsiteY18053" fmla="*/ 993395 h 5282095"/>
              <a:gd name="connsiteX18054" fmla="*/ 4964637 w 7714416"/>
              <a:gd name="connsiteY18054" fmla="*/ 985966 h 5282095"/>
              <a:gd name="connsiteX18055" fmla="*/ 4978282 w 7714416"/>
              <a:gd name="connsiteY18055" fmla="*/ 980423 h 5282095"/>
              <a:gd name="connsiteX18056" fmla="*/ 1012232 w 7714416"/>
              <a:gd name="connsiteY18056" fmla="*/ 980237 h 5282095"/>
              <a:gd name="connsiteX18057" fmla="*/ 1012028 w 7714416"/>
              <a:gd name="connsiteY18057" fmla="*/ 989023 h 5282095"/>
              <a:gd name="connsiteX18058" fmla="*/ 999589 w 7714416"/>
              <a:gd name="connsiteY18058" fmla="*/ 981206 h 5282095"/>
              <a:gd name="connsiteX18059" fmla="*/ 1012232 w 7714416"/>
              <a:gd name="connsiteY18059" fmla="*/ 980237 h 5282095"/>
              <a:gd name="connsiteX18060" fmla="*/ 1794554 w 7714416"/>
              <a:gd name="connsiteY18060" fmla="*/ 979508 h 5282095"/>
              <a:gd name="connsiteX18061" fmla="*/ 1799651 w 7714416"/>
              <a:gd name="connsiteY18061" fmla="*/ 980413 h 5282095"/>
              <a:gd name="connsiteX18062" fmla="*/ 1794444 w 7714416"/>
              <a:gd name="connsiteY18062" fmla="*/ 985458 h 5282095"/>
              <a:gd name="connsiteX18063" fmla="*/ 1793477 w 7714416"/>
              <a:gd name="connsiteY18063" fmla="*/ 987959 h 5282095"/>
              <a:gd name="connsiteX18064" fmla="*/ 1791141 w 7714416"/>
              <a:gd name="connsiteY18064" fmla="*/ 985608 h 5282095"/>
              <a:gd name="connsiteX18065" fmla="*/ 1795382 w 7714416"/>
              <a:gd name="connsiteY18065" fmla="*/ 983064 h 5282095"/>
              <a:gd name="connsiteX18066" fmla="*/ 1793322 w 7714416"/>
              <a:gd name="connsiteY18066" fmla="*/ 980788 h 5282095"/>
              <a:gd name="connsiteX18067" fmla="*/ 1794554 w 7714416"/>
              <a:gd name="connsiteY18067" fmla="*/ 979508 h 5282095"/>
              <a:gd name="connsiteX18068" fmla="*/ 5299468 w 7714416"/>
              <a:gd name="connsiteY18068" fmla="*/ 979313 h 5282095"/>
              <a:gd name="connsiteX18069" fmla="*/ 5310532 w 7714416"/>
              <a:gd name="connsiteY18069" fmla="*/ 994468 h 5282095"/>
              <a:gd name="connsiteX18070" fmla="*/ 5293887 w 7714416"/>
              <a:gd name="connsiteY18070" fmla="*/ 994608 h 5282095"/>
              <a:gd name="connsiteX18071" fmla="*/ 5291921 w 7714416"/>
              <a:gd name="connsiteY18071" fmla="*/ 985341 h 5282095"/>
              <a:gd name="connsiteX18072" fmla="*/ 5299468 w 7714416"/>
              <a:gd name="connsiteY18072" fmla="*/ 979313 h 5282095"/>
              <a:gd name="connsiteX18073" fmla="*/ 1402935 w 7714416"/>
              <a:gd name="connsiteY18073" fmla="*/ 977845 h 5282095"/>
              <a:gd name="connsiteX18074" fmla="*/ 1406662 w 7714416"/>
              <a:gd name="connsiteY18074" fmla="*/ 982754 h 5282095"/>
              <a:gd name="connsiteX18075" fmla="*/ 1407306 w 7714416"/>
              <a:gd name="connsiteY18075" fmla="*/ 988102 h 5282095"/>
              <a:gd name="connsiteX18076" fmla="*/ 1408470 w 7714416"/>
              <a:gd name="connsiteY18076" fmla="*/ 988183 h 5282095"/>
              <a:gd name="connsiteX18077" fmla="*/ 1408786 w 7714416"/>
              <a:gd name="connsiteY18077" fmla="*/ 987002 h 5282095"/>
              <a:gd name="connsiteX18078" fmla="*/ 1411675 w 7714416"/>
              <a:gd name="connsiteY18078" fmla="*/ 989502 h 5282095"/>
              <a:gd name="connsiteX18079" fmla="*/ 1413554 w 7714416"/>
              <a:gd name="connsiteY18079" fmla="*/ 999090 h 5282095"/>
              <a:gd name="connsiteX18080" fmla="*/ 1408372 w 7714416"/>
              <a:gd name="connsiteY18080" fmla="*/ 998507 h 5282095"/>
              <a:gd name="connsiteX18081" fmla="*/ 1405512 w 7714416"/>
              <a:gd name="connsiteY18081" fmla="*/ 995900 h 5282095"/>
              <a:gd name="connsiteX18082" fmla="*/ 1402731 w 7714416"/>
              <a:gd name="connsiteY18082" fmla="*/ 990785 h 5282095"/>
              <a:gd name="connsiteX18083" fmla="*/ 1403628 w 7714416"/>
              <a:gd name="connsiteY18083" fmla="*/ 989645 h 5282095"/>
              <a:gd name="connsiteX18084" fmla="*/ 1402015 w 7714416"/>
              <a:gd name="connsiteY18084" fmla="*/ 990133 h 5282095"/>
              <a:gd name="connsiteX18085" fmla="*/ 1395622 w 7714416"/>
              <a:gd name="connsiteY18085" fmla="*/ 988536 h 5282095"/>
              <a:gd name="connsiteX18086" fmla="*/ 1391597 w 7714416"/>
              <a:gd name="connsiteY18086" fmla="*/ 985847 h 5282095"/>
              <a:gd name="connsiteX18087" fmla="*/ 1390916 w 7714416"/>
              <a:gd name="connsiteY18087" fmla="*/ 981754 h 5282095"/>
              <a:gd name="connsiteX18088" fmla="*/ 1393132 w 7714416"/>
              <a:gd name="connsiteY18088" fmla="*/ 979012 h 5282095"/>
              <a:gd name="connsiteX18089" fmla="*/ 1402935 w 7714416"/>
              <a:gd name="connsiteY18089" fmla="*/ 977845 h 5282095"/>
              <a:gd name="connsiteX18090" fmla="*/ 2214973 w 7714416"/>
              <a:gd name="connsiteY18090" fmla="*/ 977732 h 5282095"/>
              <a:gd name="connsiteX18091" fmla="*/ 2216992 w 7714416"/>
              <a:gd name="connsiteY18091" fmla="*/ 981263 h 5282095"/>
              <a:gd name="connsiteX18092" fmla="*/ 2226944 w 7714416"/>
              <a:gd name="connsiteY18092" fmla="*/ 985080 h 5282095"/>
              <a:gd name="connsiteX18093" fmla="*/ 2235352 w 7714416"/>
              <a:gd name="connsiteY18093" fmla="*/ 993542 h 5282095"/>
              <a:gd name="connsiteX18094" fmla="*/ 2220607 w 7714416"/>
              <a:gd name="connsiteY18094" fmla="*/ 1000977 h 5282095"/>
              <a:gd name="connsiteX18095" fmla="*/ 2219750 w 7714416"/>
              <a:gd name="connsiteY18095" fmla="*/ 1000862 h 5282095"/>
              <a:gd name="connsiteX18096" fmla="*/ 2218706 w 7714416"/>
              <a:gd name="connsiteY18096" fmla="*/ 1002537 h 5282095"/>
              <a:gd name="connsiteX18097" fmla="*/ 2213464 w 7714416"/>
              <a:gd name="connsiteY18097" fmla="*/ 1005503 h 5282095"/>
              <a:gd name="connsiteX18098" fmla="*/ 2209511 w 7714416"/>
              <a:gd name="connsiteY18098" fmla="*/ 1006974 h 5282095"/>
              <a:gd name="connsiteX18099" fmla="*/ 2202317 w 7714416"/>
              <a:gd name="connsiteY18099" fmla="*/ 1013901 h 5282095"/>
              <a:gd name="connsiteX18100" fmla="*/ 2186595 w 7714416"/>
              <a:gd name="connsiteY18100" fmla="*/ 1016128 h 5282095"/>
              <a:gd name="connsiteX18101" fmla="*/ 2199014 w 7714416"/>
              <a:gd name="connsiteY18101" fmla="*/ 996342 h 5282095"/>
              <a:gd name="connsiteX18102" fmla="*/ 2199406 w 7714416"/>
              <a:gd name="connsiteY18102" fmla="*/ 995986 h 5282095"/>
              <a:gd name="connsiteX18103" fmla="*/ 2196054 w 7714416"/>
              <a:gd name="connsiteY18103" fmla="*/ 989682 h 5282095"/>
              <a:gd name="connsiteX18104" fmla="*/ 2196908 w 7714416"/>
              <a:gd name="connsiteY18104" fmla="*/ 984276 h 5282095"/>
              <a:gd name="connsiteX18105" fmla="*/ 2197578 w 7714416"/>
              <a:gd name="connsiteY18105" fmla="*/ 983995 h 5282095"/>
              <a:gd name="connsiteX18106" fmla="*/ 2196136 w 7714416"/>
              <a:gd name="connsiteY18106" fmla="*/ 983839 h 5282095"/>
              <a:gd name="connsiteX18107" fmla="*/ 2192672 w 7714416"/>
              <a:gd name="connsiteY18107" fmla="*/ 983486 h 5282095"/>
              <a:gd name="connsiteX18108" fmla="*/ 2189765 w 7714416"/>
              <a:gd name="connsiteY18108" fmla="*/ 979948 h 5282095"/>
              <a:gd name="connsiteX18109" fmla="*/ 2191568 w 7714416"/>
              <a:gd name="connsiteY18109" fmla="*/ 979856 h 5282095"/>
              <a:gd name="connsiteX18110" fmla="*/ 2197937 w 7714416"/>
              <a:gd name="connsiteY18110" fmla="*/ 978227 h 5282095"/>
              <a:gd name="connsiteX18111" fmla="*/ 2199335 w 7714416"/>
              <a:gd name="connsiteY18111" fmla="*/ 982971 h 5282095"/>
              <a:gd name="connsiteX18112" fmla="*/ 2204214 w 7714416"/>
              <a:gd name="connsiteY18112" fmla="*/ 980254 h 5282095"/>
              <a:gd name="connsiteX18113" fmla="*/ 2211563 w 7714416"/>
              <a:gd name="connsiteY18113" fmla="*/ 980499 h 5282095"/>
              <a:gd name="connsiteX18114" fmla="*/ 2420328 w 7714416"/>
              <a:gd name="connsiteY18114" fmla="*/ 977671 h 5282095"/>
              <a:gd name="connsiteX18115" fmla="*/ 2425711 w 7714416"/>
              <a:gd name="connsiteY18115" fmla="*/ 978193 h 5282095"/>
              <a:gd name="connsiteX18116" fmla="*/ 2418563 w 7714416"/>
              <a:gd name="connsiteY18116" fmla="*/ 986052 h 5282095"/>
              <a:gd name="connsiteX18117" fmla="*/ 2420328 w 7714416"/>
              <a:gd name="connsiteY18117" fmla="*/ 977671 h 5282095"/>
              <a:gd name="connsiteX18118" fmla="*/ 4914043 w 7714416"/>
              <a:gd name="connsiteY18118" fmla="*/ 976665 h 5282095"/>
              <a:gd name="connsiteX18119" fmla="*/ 4917231 w 7714416"/>
              <a:gd name="connsiteY18119" fmla="*/ 976944 h 5282095"/>
              <a:gd name="connsiteX18120" fmla="*/ 4920580 w 7714416"/>
              <a:gd name="connsiteY18120" fmla="*/ 977726 h 5282095"/>
              <a:gd name="connsiteX18121" fmla="*/ 4921191 w 7714416"/>
              <a:gd name="connsiteY18121" fmla="*/ 977660 h 5282095"/>
              <a:gd name="connsiteX18122" fmla="*/ 4921411 w 7714416"/>
              <a:gd name="connsiteY18122" fmla="*/ 977949 h 5282095"/>
              <a:gd name="connsiteX18123" fmla="*/ 4922545 w 7714416"/>
              <a:gd name="connsiteY18123" fmla="*/ 978138 h 5282095"/>
              <a:gd name="connsiteX18124" fmla="*/ 4923527 w 7714416"/>
              <a:gd name="connsiteY18124" fmla="*/ 980011 h 5282095"/>
              <a:gd name="connsiteX18125" fmla="*/ 4923458 w 7714416"/>
              <a:gd name="connsiteY18125" fmla="*/ 981372 h 5282095"/>
              <a:gd name="connsiteX18126" fmla="*/ 4924278 w 7714416"/>
              <a:gd name="connsiteY18126" fmla="*/ 982742 h 5282095"/>
              <a:gd name="connsiteX18127" fmla="*/ 4920673 w 7714416"/>
              <a:gd name="connsiteY18127" fmla="*/ 988447 h 5282095"/>
              <a:gd name="connsiteX18128" fmla="*/ 4912624 w 7714416"/>
              <a:gd name="connsiteY18128" fmla="*/ 991925 h 5282095"/>
              <a:gd name="connsiteX18129" fmla="*/ 4901372 w 7714416"/>
              <a:gd name="connsiteY18129" fmla="*/ 990751 h 5282095"/>
              <a:gd name="connsiteX18130" fmla="*/ 4897337 w 7714416"/>
              <a:gd name="connsiteY18130" fmla="*/ 989209 h 5282095"/>
              <a:gd name="connsiteX18131" fmla="*/ 4898336 w 7714416"/>
              <a:gd name="connsiteY18131" fmla="*/ 983266 h 5282095"/>
              <a:gd name="connsiteX18132" fmla="*/ 4906863 w 7714416"/>
              <a:gd name="connsiteY18132" fmla="*/ 979111 h 5282095"/>
              <a:gd name="connsiteX18133" fmla="*/ 4912477 w 7714416"/>
              <a:gd name="connsiteY18133" fmla="*/ 978085 h 5282095"/>
              <a:gd name="connsiteX18134" fmla="*/ 1496253 w 7714416"/>
              <a:gd name="connsiteY18134" fmla="*/ 974904 h 5282095"/>
              <a:gd name="connsiteX18135" fmla="*/ 1513095 w 7714416"/>
              <a:gd name="connsiteY18135" fmla="*/ 995057 h 5282095"/>
              <a:gd name="connsiteX18136" fmla="*/ 1511570 w 7714416"/>
              <a:gd name="connsiteY18136" fmla="*/ 995223 h 5282095"/>
              <a:gd name="connsiteX18137" fmla="*/ 1517774 w 7714416"/>
              <a:gd name="connsiteY18137" fmla="*/ 1001946 h 5282095"/>
              <a:gd name="connsiteX18138" fmla="*/ 1495063 w 7714416"/>
              <a:gd name="connsiteY18138" fmla="*/ 1007015 h 5282095"/>
              <a:gd name="connsiteX18139" fmla="*/ 1491293 w 7714416"/>
              <a:gd name="connsiteY18139" fmla="*/ 1006696 h 5282095"/>
              <a:gd name="connsiteX18140" fmla="*/ 1491836 w 7714416"/>
              <a:gd name="connsiteY18140" fmla="*/ 1007990 h 5282095"/>
              <a:gd name="connsiteX18141" fmla="*/ 1489461 w 7714416"/>
              <a:gd name="connsiteY18141" fmla="*/ 1006894 h 5282095"/>
              <a:gd name="connsiteX18142" fmla="*/ 1489155 w 7714416"/>
              <a:gd name="connsiteY18142" fmla="*/ 1006928 h 5282095"/>
              <a:gd name="connsiteX18143" fmla="*/ 1487600 w 7714416"/>
              <a:gd name="connsiteY18143" fmla="*/ 1007201 h 5282095"/>
              <a:gd name="connsiteX18144" fmla="*/ 1480797 w 7714416"/>
              <a:gd name="connsiteY18144" fmla="*/ 1004917 h 5282095"/>
              <a:gd name="connsiteX18145" fmla="*/ 1480408 w 7714416"/>
              <a:gd name="connsiteY18145" fmla="*/ 1001939 h 5282095"/>
              <a:gd name="connsiteX18146" fmla="*/ 1486694 w 7714416"/>
              <a:gd name="connsiteY18146" fmla="*/ 997298 h 5282095"/>
              <a:gd name="connsiteX18147" fmla="*/ 1479684 w 7714416"/>
              <a:gd name="connsiteY18147" fmla="*/ 975870 h 5282095"/>
              <a:gd name="connsiteX18148" fmla="*/ 1496253 w 7714416"/>
              <a:gd name="connsiteY18148" fmla="*/ 974904 h 5282095"/>
              <a:gd name="connsiteX18149" fmla="*/ 2446692 w 7714416"/>
              <a:gd name="connsiteY18149" fmla="*/ 974601 h 5282095"/>
              <a:gd name="connsiteX18150" fmla="*/ 2457773 w 7714416"/>
              <a:gd name="connsiteY18150" fmla="*/ 975858 h 5282095"/>
              <a:gd name="connsiteX18151" fmla="*/ 2443869 w 7714416"/>
              <a:gd name="connsiteY18151" fmla="*/ 982369 h 5282095"/>
              <a:gd name="connsiteX18152" fmla="*/ 2446692 w 7714416"/>
              <a:gd name="connsiteY18152" fmla="*/ 974601 h 5282095"/>
              <a:gd name="connsiteX18153" fmla="*/ 2065158 w 7714416"/>
              <a:gd name="connsiteY18153" fmla="*/ 972513 h 5282095"/>
              <a:gd name="connsiteX18154" fmla="*/ 2076960 w 7714416"/>
              <a:gd name="connsiteY18154" fmla="*/ 972607 h 5282095"/>
              <a:gd name="connsiteX18155" fmla="*/ 2046352 w 7714416"/>
              <a:gd name="connsiteY18155" fmla="*/ 997181 h 5282095"/>
              <a:gd name="connsiteX18156" fmla="*/ 2034300 w 7714416"/>
              <a:gd name="connsiteY18156" fmla="*/ 986821 h 5282095"/>
              <a:gd name="connsiteX18157" fmla="*/ 2065158 w 7714416"/>
              <a:gd name="connsiteY18157" fmla="*/ 972513 h 5282095"/>
              <a:gd name="connsiteX18158" fmla="*/ 4944236 w 7714416"/>
              <a:gd name="connsiteY18158" fmla="*/ 972450 h 5282095"/>
              <a:gd name="connsiteX18159" fmla="*/ 4946256 w 7714416"/>
              <a:gd name="connsiteY18159" fmla="*/ 975981 h 5282095"/>
              <a:gd name="connsiteX18160" fmla="*/ 4940758 w 7714416"/>
              <a:gd name="connsiteY18160" fmla="*/ 976578 h 5282095"/>
              <a:gd name="connsiteX18161" fmla="*/ 4937725 w 7714416"/>
              <a:gd name="connsiteY18161" fmla="*/ 974616 h 5282095"/>
              <a:gd name="connsiteX18162" fmla="*/ 4944236 w 7714416"/>
              <a:gd name="connsiteY18162" fmla="*/ 972450 h 5282095"/>
              <a:gd name="connsiteX18163" fmla="*/ 1346897 w 7714416"/>
              <a:gd name="connsiteY18163" fmla="*/ 972260 h 5282095"/>
              <a:gd name="connsiteX18164" fmla="*/ 1356844 w 7714416"/>
              <a:gd name="connsiteY18164" fmla="*/ 979410 h 5282095"/>
              <a:gd name="connsiteX18165" fmla="*/ 1354268 w 7714416"/>
              <a:gd name="connsiteY18165" fmla="*/ 979064 h 5282095"/>
              <a:gd name="connsiteX18166" fmla="*/ 1351845 w 7714416"/>
              <a:gd name="connsiteY18166" fmla="*/ 977036 h 5282095"/>
              <a:gd name="connsiteX18167" fmla="*/ 1346897 w 7714416"/>
              <a:gd name="connsiteY18167" fmla="*/ 972260 h 5282095"/>
              <a:gd name="connsiteX18168" fmla="*/ 5222588 w 7714416"/>
              <a:gd name="connsiteY18168" fmla="*/ 971823 h 5282095"/>
              <a:gd name="connsiteX18169" fmla="*/ 5219378 w 7714416"/>
              <a:gd name="connsiteY18169" fmla="*/ 982693 h 5282095"/>
              <a:gd name="connsiteX18170" fmla="*/ 5212511 w 7714416"/>
              <a:gd name="connsiteY18170" fmla="*/ 978438 h 5282095"/>
              <a:gd name="connsiteX18171" fmla="*/ 5222588 w 7714416"/>
              <a:gd name="connsiteY18171" fmla="*/ 971823 h 5282095"/>
              <a:gd name="connsiteX18172" fmla="*/ 2486859 w 7714416"/>
              <a:gd name="connsiteY18172" fmla="*/ 971347 h 5282095"/>
              <a:gd name="connsiteX18173" fmla="*/ 2489604 w 7714416"/>
              <a:gd name="connsiteY18173" fmla="*/ 983237 h 5282095"/>
              <a:gd name="connsiteX18174" fmla="*/ 2486859 w 7714416"/>
              <a:gd name="connsiteY18174" fmla="*/ 971347 h 5282095"/>
              <a:gd name="connsiteX18175" fmla="*/ 2304095 w 7714416"/>
              <a:gd name="connsiteY18175" fmla="*/ 971223 h 5282095"/>
              <a:gd name="connsiteX18176" fmla="*/ 2308704 w 7714416"/>
              <a:gd name="connsiteY18176" fmla="*/ 972142 h 5282095"/>
              <a:gd name="connsiteX18177" fmla="*/ 2311975 w 7714416"/>
              <a:gd name="connsiteY18177" fmla="*/ 975432 h 5282095"/>
              <a:gd name="connsiteX18178" fmla="*/ 2307353 w 7714416"/>
              <a:gd name="connsiteY18178" fmla="*/ 977185 h 5282095"/>
              <a:gd name="connsiteX18179" fmla="*/ 2302142 w 7714416"/>
              <a:gd name="connsiteY18179" fmla="*/ 976709 h 5282095"/>
              <a:gd name="connsiteX18180" fmla="*/ 2300828 w 7714416"/>
              <a:gd name="connsiteY18180" fmla="*/ 974976 h 5282095"/>
              <a:gd name="connsiteX18181" fmla="*/ 2300134 w 7714416"/>
              <a:gd name="connsiteY18181" fmla="*/ 972030 h 5282095"/>
              <a:gd name="connsiteX18182" fmla="*/ 2304095 w 7714416"/>
              <a:gd name="connsiteY18182" fmla="*/ 971223 h 5282095"/>
              <a:gd name="connsiteX18183" fmla="*/ 1774298 w 7714416"/>
              <a:gd name="connsiteY18183" fmla="*/ 970989 h 5282095"/>
              <a:gd name="connsiteX18184" fmla="*/ 1789828 w 7714416"/>
              <a:gd name="connsiteY18184" fmla="*/ 975021 h 5282095"/>
              <a:gd name="connsiteX18185" fmla="*/ 1793700 w 7714416"/>
              <a:gd name="connsiteY18185" fmla="*/ 976058 h 5282095"/>
              <a:gd name="connsiteX18186" fmla="*/ 1794554 w 7714416"/>
              <a:gd name="connsiteY18186" fmla="*/ 979508 h 5282095"/>
              <a:gd name="connsiteX18187" fmla="*/ 1770130 w 7714416"/>
              <a:gd name="connsiteY18187" fmla="*/ 981013 h 5282095"/>
              <a:gd name="connsiteX18188" fmla="*/ 1766255 w 7714416"/>
              <a:gd name="connsiteY18188" fmla="*/ 979975 h 5282095"/>
              <a:gd name="connsiteX18189" fmla="*/ 1757940 w 7714416"/>
              <a:gd name="connsiteY18189" fmla="*/ 973376 h 5282095"/>
              <a:gd name="connsiteX18190" fmla="*/ 1774298 w 7714416"/>
              <a:gd name="connsiteY18190" fmla="*/ 970989 h 5282095"/>
              <a:gd name="connsiteX18191" fmla="*/ 2275044 w 7714416"/>
              <a:gd name="connsiteY18191" fmla="*/ 970482 h 5282095"/>
              <a:gd name="connsiteX18192" fmla="*/ 2284997 w 7714416"/>
              <a:gd name="connsiteY18192" fmla="*/ 979820 h 5282095"/>
              <a:gd name="connsiteX18193" fmla="*/ 2273401 w 7714416"/>
              <a:gd name="connsiteY18193" fmla="*/ 979932 h 5282095"/>
              <a:gd name="connsiteX18194" fmla="*/ 2263156 w 7714416"/>
              <a:gd name="connsiteY18194" fmla="*/ 975002 h 5282095"/>
              <a:gd name="connsiteX18195" fmla="*/ 2275044 w 7714416"/>
              <a:gd name="connsiteY18195" fmla="*/ 970482 h 5282095"/>
              <a:gd name="connsiteX18196" fmla="*/ 5171681 w 7714416"/>
              <a:gd name="connsiteY18196" fmla="*/ 969222 h 5282095"/>
              <a:gd name="connsiteX18197" fmla="*/ 5142332 w 7714416"/>
              <a:gd name="connsiteY18197" fmla="*/ 995744 h 5282095"/>
              <a:gd name="connsiteX18198" fmla="*/ 5171681 w 7714416"/>
              <a:gd name="connsiteY18198" fmla="*/ 969222 h 5282095"/>
              <a:gd name="connsiteX18199" fmla="*/ 1029650 w 7714416"/>
              <a:gd name="connsiteY18199" fmla="*/ 967525 h 5282095"/>
              <a:gd name="connsiteX18200" fmla="*/ 1053164 w 7714416"/>
              <a:gd name="connsiteY18200" fmla="*/ 980495 h 5282095"/>
              <a:gd name="connsiteX18201" fmla="*/ 1039791 w 7714416"/>
              <a:gd name="connsiteY18201" fmla="*/ 980592 h 5282095"/>
              <a:gd name="connsiteX18202" fmla="*/ 1029843 w 7714416"/>
              <a:gd name="connsiteY18202" fmla="*/ 973442 h 5282095"/>
              <a:gd name="connsiteX18203" fmla="*/ 1029650 w 7714416"/>
              <a:gd name="connsiteY18203" fmla="*/ 967525 h 5282095"/>
              <a:gd name="connsiteX18204" fmla="*/ 1685601 w 7714416"/>
              <a:gd name="connsiteY18204" fmla="*/ 966644 h 5282095"/>
              <a:gd name="connsiteX18205" fmla="*/ 1689198 w 7714416"/>
              <a:gd name="connsiteY18205" fmla="*/ 967607 h 5282095"/>
              <a:gd name="connsiteX18206" fmla="*/ 1696531 w 7714416"/>
              <a:gd name="connsiteY18206" fmla="*/ 975668 h 5282095"/>
              <a:gd name="connsiteX18207" fmla="*/ 1692243 w 7714416"/>
              <a:gd name="connsiteY18207" fmla="*/ 977279 h 5282095"/>
              <a:gd name="connsiteX18208" fmla="*/ 1689752 w 7714416"/>
              <a:gd name="connsiteY18208" fmla="*/ 976612 h 5282095"/>
              <a:gd name="connsiteX18209" fmla="*/ 1684049 w 7714416"/>
              <a:gd name="connsiteY18209" fmla="*/ 981293 h 5282095"/>
              <a:gd name="connsiteX18210" fmla="*/ 1661802 w 7714416"/>
              <a:gd name="connsiteY18210" fmla="*/ 981312 h 5282095"/>
              <a:gd name="connsiteX18211" fmla="*/ 1681070 w 7714416"/>
              <a:gd name="connsiteY18211" fmla="*/ 973595 h 5282095"/>
              <a:gd name="connsiteX18212" fmla="*/ 1686881 w 7714416"/>
              <a:gd name="connsiteY18212" fmla="*/ 975152 h 5282095"/>
              <a:gd name="connsiteX18213" fmla="*/ 1683133 w 7714416"/>
              <a:gd name="connsiteY18213" fmla="*/ 972538 h 5282095"/>
              <a:gd name="connsiteX18214" fmla="*/ 1682300 w 7714416"/>
              <a:gd name="connsiteY18214" fmla="*/ 966794 h 5282095"/>
              <a:gd name="connsiteX18215" fmla="*/ 1682594 w 7714416"/>
              <a:gd name="connsiteY18215" fmla="*/ 967907 h 5282095"/>
              <a:gd name="connsiteX18216" fmla="*/ 1685897 w 7714416"/>
              <a:gd name="connsiteY18216" fmla="*/ 967758 h 5282095"/>
              <a:gd name="connsiteX18217" fmla="*/ 1685601 w 7714416"/>
              <a:gd name="connsiteY18217" fmla="*/ 966644 h 5282095"/>
              <a:gd name="connsiteX18218" fmla="*/ 1017597 w 7714416"/>
              <a:gd name="connsiteY18218" fmla="*/ 966020 h 5282095"/>
              <a:gd name="connsiteX18219" fmla="*/ 1025956 w 7714416"/>
              <a:gd name="connsiteY18219" fmla="*/ 968030 h 5282095"/>
              <a:gd name="connsiteX18220" fmla="*/ 1022175 w 7714416"/>
              <a:gd name="connsiteY18220" fmla="*/ 977712 h 5282095"/>
              <a:gd name="connsiteX18221" fmla="*/ 1017022 w 7714416"/>
              <a:gd name="connsiteY18221" fmla="*/ 977021 h 5282095"/>
              <a:gd name="connsiteX18222" fmla="*/ 1013778 w 7714416"/>
              <a:gd name="connsiteY18222" fmla="*/ 968102 h 5282095"/>
              <a:gd name="connsiteX18223" fmla="*/ 1017597 w 7714416"/>
              <a:gd name="connsiteY18223" fmla="*/ 966020 h 5282095"/>
              <a:gd name="connsiteX18224" fmla="*/ 1105873 w 7714416"/>
              <a:gd name="connsiteY18224" fmla="*/ 965293 h 5282095"/>
              <a:gd name="connsiteX18225" fmla="*/ 1108550 w 7714416"/>
              <a:gd name="connsiteY18225" fmla="*/ 969691 h 5282095"/>
              <a:gd name="connsiteX18226" fmla="*/ 1105525 w 7714416"/>
              <a:gd name="connsiteY18226" fmla="*/ 969915 h 5282095"/>
              <a:gd name="connsiteX18227" fmla="*/ 1105819 w 7714416"/>
              <a:gd name="connsiteY18227" fmla="*/ 971029 h 5282095"/>
              <a:gd name="connsiteX18228" fmla="*/ 1102221 w 7714416"/>
              <a:gd name="connsiteY18228" fmla="*/ 970065 h 5282095"/>
              <a:gd name="connsiteX18229" fmla="*/ 1102204 w 7714416"/>
              <a:gd name="connsiteY18229" fmla="*/ 969025 h 5282095"/>
              <a:gd name="connsiteX18230" fmla="*/ 1101708 w 7714416"/>
              <a:gd name="connsiteY18230" fmla="*/ 968663 h 5282095"/>
              <a:gd name="connsiteX18231" fmla="*/ 1103142 w 7714416"/>
              <a:gd name="connsiteY18231" fmla="*/ 966632 h 5282095"/>
              <a:gd name="connsiteX18232" fmla="*/ 1105873 w 7714416"/>
              <a:gd name="connsiteY18232" fmla="*/ 965293 h 5282095"/>
              <a:gd name="connsiteX18233" fmla="*/ 1946401 w 7714416"/>
              <a:gd name="connsiteY18233" fmla="*/ 965109 h 5282095"/>
              <a:gd name="connsiteX18234" fmla="*/ 1945456 w 7714416"/>
              <a:gd name="connsiteY18234" fmla="*/ 965316 h 5282095"/>
              <a:gd name="connsiteX18235" fmla="*/ 1945705 w 7714416"/>
              <a:gd name="connsiteY18235" fmla="*/ 965497 h 5282095"/>
              <a:gd name="connsiteX18236" fmla="*/ 2150545 w 7714416"/>
              <a:gd name="connsiteY18236" fmla="*/ 964723 h 5282095"/>
              <a:gd name="connsiteX18237" fmla="*/ 2155471 w 7714416"/>
              <a:gd name="connsiteY18237" fmla="*/ 971793 h 5282095"/>
              <a:gd name="connsiteX18238" fmla="*/ 2155242 w 7714416"/>
              <a:gd name="connsiteY18238" fmla="*/ 972651 h 5282095"/>
              <a:gd name="connsiteX18239" fmla="*/ 2160819 w 7714416"/>
              <a:gd name="connsiteY18239" fmla="*/ 978401 h 5282095"/>
              <a:gd name="connsiteX18240" fmla="*/ 2150774 w 7714416"/>
              <a:gd name="connsiteY18240" fmla="*/ 981575 h 5282095"/>
              <a:gd name="connsiteX18241" fmla="*/ 2140730 w 7714416"/>
              <a:gd name="connsiteY18241" fmla="*/ 975894 h 5282095"/>
              <a:gd name="connsiteX18242" fmla="*/ 2143802 w 7714416"/>
              <a:gd name="connsiteY18242" fmla="*/ 967747 h 5282095"/>
              <a:gd name="connsiteX18243" fmla="*/ 2147342 w 7714416"/>
              <a:gd name="connsiteY18243" fmla="*/ 968925 h 5282095"/>
              <a:gd name="connsiteX18244" fmla="*/ 2147429 w 7714416"/>
              <a:gd name="connsiteY18244" fmla="*/ 968603 h 5282095"/>
              <a:gd name="connsiteX18245" fmla="*/ 2150545 w 7714416"/>
              <a:gd name="connsiteY18245" fmla="*/ 964723 h 5282095"/>
              <a:gd name="connsiteX18246" fmla="*/ 4779234 w 7714416"/>
              <a:gd name="connsiteY18246" fmla="*/ 964004 h 5282095"/>
              <a:gd name="connsiteX18247" fmla="*/ 4779917 w 7714416"/>
              <a:gd name="connsiteY18247" fmla="*/ 968096 h 5282095"/>
              <a:gd name="connsiteX18248" fmla="*/ 4779774 w 7714416"/>
              <a:gd name="connsiteY18248" fmla="*/ 968632 h 5282095"/>
              <a:gd name="connsiteX18249" fmla="*/ 4783145 w 7714416"/>
              <a:gd name="connsiteY18249" fmla="*/ 967121 h 5282095"/>
              <a:gd name="connsiteX18250" fmla="*/ 4780550 w 7714416"/>
              <a:gd name="connsiteY18250" fmla="*/ 965735 h 5282095"/>
              <a:gd name="connsiteX18251" fmla="*/ 900167 w 7714416"/>
              <a:gd name="connsiteY18251" fmla="*/ 963765 h 5282095"/>
              <a:gd name="connsiteX18252" fmla="*/ 928229 w 7714416"/>
              <a:gd name="connsiteY18252" fmla="*/ 979679 h 5282095"/>
              <a:gd name="connsiteX18253" fmla="*/ 926242 w 7714416"/>
              <a:gd name="connsiteY18253" fmla="*/ 981562 h 5282095"/>
              <a:gd name="connsiteX18254" fmla="*/ 921670 w 7714416"/>
              <a:gd name="connsiteY18254" fmla="*/ 980912 h 5282095"/>
              <a:gd name="connsiteX18255" fmla="*/ 906847 w 7714416"/>
              <a:gd name="connsiteY18255" fmla="*/ 973145 h 5282095"/>
              <a:gd name="connsiteX18256" fmla="*/ 904121 w 7714416"/>
              <a:gd name="connsiteY18256" fmla="*/ 971150 h 5282095"/>
              <a:gd name="connsiteX18257" fmla="*/ 900868 w 7714416"/>
              <a:gd name="connsiteY18257" fmla="*/ 968898 h 5282095"/>
              <a:gd name="connsiteX18258" fmla="*/ 900167 w 7714416"/>
              <a:gd name="connsiteY18258" fmla="*/ 963765 h 5282095"/>
              <a:gd name="connsiteX18259" fmla="*/ 2315492 w 7714416"/>
              <a:gd name="connsiteY18259" fmla="*/ 961196 h 5282095"/>
              <a:gd name="connsiteX18260" fmla="*/ 2324172 w 7714416"/>
              <a:gd name="connsiteY18260" fmla="*/ 967545 h 5282095"/>
              <a:gd name="connsiteX18261" fmla="*/ 2317315 w 7714416"/>
              <a:gd name="connsiteY18261" fmla="*/ 970999 h 5282095"/>
              <a:gd name="connsiteX18262" fmla="*/ 2308730 w 7714416"/>
              <a:gd name="connsiteY18262" fmla="*/ 966514 h 5282095"/>
              <a:gd name="connsiteX18263" fmla="*/ 2315492 w 7714416"/>
              <a:gd name="connsiteY18263" fmla="*/ 961196 h 5282095"/>
              <a:gd name="connsiteX18264" fmla="*/ 4776576 w 7714416"/>
              <a:gd name="connsiteY18264" fmla="*/ 960646 h 5282095"/>
              <a:gd name="connsiteX18265" fmla="*/ 4777175 w 7714416"/>
              <a:gd name="connsiteY18265" fmla="*/ 961727 h 5282095"/>
              <a:gd name="connsiteX18266" fmla="*/ 4776335 w 7714416"/>
              <a:gd name="connsiteY18266" fmla="*/ 962651 h 5282095"/>
              <a:gd name="connsiteX18267" fmla="*/ 4777919 w 7714416"/>
              <a:gd name="connsiteY18267" fmla="*/ 962270 h 5282095"/>
              <a:gd name="connsiteX18268" fmla="*/ 2352518 w 7714416"/>
              <a:gd name="connsiteY18268" fmla="*/ 959156 h 5282095"/>
              <a:gd name="connsiteX18269" fmla="*/ 2355960 w 7714416"/>
              <a:gd name="connsiteY18269" fmla="*/ 961803 h 5282095"/>
              <a:gd name="connsiteX18270" fmla="*/ 2354160 w 7714416"/>
              <a:gd name="connsiteY18270" fmla="*/ 967417 h 5282095"/>
              <a:gd name="connsiteX18271" fmla="*/ 2346426 w 7714416"/>
              <a:gd name="connsiteY18271" fmla="*/ 969714 h 5282095"/>
              <a:gd name="connsiteX18272" fmla="*/ 2343904 w 7714416"/>
              <a:gd name="connsiteY18272" fmla="*/ 972488 h 5282095"/>
              <a:gd name="connsiteX18273" fmla="*/ 2342272 w 7714416"/>
              <a:gd name="connsiteY18273" fmla="*/ 971936 h 5282095"/>
              <a:gd name="connsiteX18274" fmla="*/ 2349463 w 7714416"/>
              <a:gd name="connsiteY18274" fmla="*/ 959487 h 5282095"/>
              <a:gd name="connsiteX18275" fmla="*/ 2352518 w 7714416"/>
              <a:gd name="connsiteY18275" fmla="*/ 959156 h 5282095"/>
              <a:gd name="connsiteX18276" fmla="*/ 1729117 w 7714416"/>
              <a:gd name="connsiteY18276" fmla="*/ 956985 h 5282095"/>
              <a:gd name="connsiteX18277" fmla="*/ 1738173 w 7714416"/>
              <a:gd name="connsiteY18277" fmla="*/ 957500 h 5282095"/>
              <a:gd name="connsiteX18278" fmla="*/ 1742589 w 7714416"/>
              <a:gd name="connsiteY18278" fmla="*/ 959833 h 5282095"/>
              <a:gd name="connsiteX18279" fmla="*/ 1742144 w 7714416"/>
              <a:gd name="connsiteY18279" fmla="*/ 957070 h 5282095"/>
              <a:gd name="connsiteX18280" fmla="*/ 1775283 w 7714416"/>
              <a:gd name="connsiteY18280" fmla="*/ 963994 h 5282095"/>
              <a:gd name="connsiteX18281" fmla="*/ 1778345 w 7714416"/>
              <a:gd name="connsiteY18281" fmla="*/ 965849 h 5282095"/>
              <a:gd name="connsiteX18282" fmla="*/ 1777874 w 7714416"/>
              <a:gd name="connsiteY18282" fmla="*/ 968712 h 5282095"/>
              <a:gd name="connsiteX18283" fmla="*/ 1755608 w 7714416"/>
              <a:gd name="connsiteY18283" fmla="*/ 967691 h 5282095"/>
              <a:gd name="connsiteX18284" fmla="*/ 1751803 w 7714416"/>
              <a:gd name="connsiteY18284" fmla="*/ 965293 h 5282095"/>
              <a:gd name="connsiteX18285" fmla="*/ 1749761 w 7714416"/>
              <a:gd name="connsiteY18285" fmla="*/ 964055 h 5282095"/>
              <a:gd name="connsiteX18286" fmla="*/ 1753442 w 7714416"/>
              <a:gd name="connsiteY18286" fmla="*/ 968031 h 5282095"/>
              <a:gd name="connsiteX18287" fmla="*/ 1752399 w 7714416"/>
              <a:gd name="connsiteY18287" fmla="*/ 978562 h 5282095"/>
              <a:gd name="connsiteX18288" fmla="*/ 1750624 w 7714416"/>
              <a:gd name="connsiteY18288" fmla="*/ 978546 h 5282095"/>
              <a:gd name="connsiteX18289" fmla="*/ 1755884 w 7714416"/>
              <a:gd name="connsiteY18289" fmla="*/ 985476 h 5282095"/>
              <a:gd name="connsiteX18290" fmla="*/ 1732411 w 7714416"/>
              <a:gd name="connsiteY18290" fmla="*/ 988961 h 5282095"/>
              <a:gd name="connsiteX18291" fmla="*/ 1728670 w 7714416"/>
              <a:gd name="connsiteY18291" fmla="*/ 988535 h 5282095"/>
              <a:gd name="connsiteX18292" fmla="*/ 1728994 w 7714416"/>
              <a:gd name="connsiteY18292" fmla="*/ 989541 h 5282095"/>
              <a:gd name="connsiteX18293" fmla="*/ 1732314 w 7714416"/>
              <a:gd name="connsiteY18293" fmla="*/ 990431 h 5282095"/>
              <a:gd name="connsiteX18294" fmla="*/ 1749262 w 7714416"/>
              <a:gd name="connsiteY18294" fmla="*/ 1002447 h 5282095"/>
              <a:gd name="connsiteX18295" fmla="*/ 1723650 w 7714416"/>
              <a:gd name="connsiteY18295" fmla="*/ 997309 h 5282095"/>
              <a:gd name="connsiteX18296" fmla="*/ 1706858 w 7714416"/>
              <a:gd name="connsiteY18296" fmla="*/ 983609 h 5282095"/>
              <a:gd name="connsiteX18297" fmla="*/ 1717956 w 7714416"/>
              <a:gd name="connsiteY18297" fmla="*/ 986468 h 5282095"/>
              <a:gd name="connsiteX18298" fmla="*/ 1723212 w 7714416"/>
              <a:gd name="connsiteY18298" fmla="*/ 987877 h 5282095"/>
              <a:gd name="connsiteX18299" fmla="*/ 1718403 w 7714416"/>
              <a:gd name="connsiteY18299" fmla="*/ 985899 h 5282095"/>
              <a:gd name="connsiteX18300" fmla="*/ 1718292 w 7714416"/>
              <a:gd name="connsiteY18300" fmla="*/ 982993 h 5282095"/>
              <a:gd name="connsiteX18301" fmla="*/ 1725626 w 7714416"/>
              <a:gd name="connsiteY18301" fmla="*/ 978863 h 5282095"/>
              <a:gd name="connsiteX18302" fmla="*/ 1722077 w 7714416"/>
              <a:gd name="connsiteY18302" fmla="*/ 969977 h 5282095"/>
              <a:gd name="connsiteX18303" fmla="*/ 1721667 w 7714416"/>
              <a:gd name="connsiteY18303" fmla="*/ 969292 h 5282095"/>
              <a:gd name="connsiteX18304" fmla="*/ 1721695 w 7714416"/>
              <a:gd name="connsiteY18304" fmla="*/ 969185 h 5282095"/>
              <a:gd name="connsiteX18305" fmla="*/ 1719981 w 7714416"/>
              <a:gd name="connsiteY18305" fmla="*/ 965621 h 5282095"/>
              <a:gd name="connsiteX18306" fmla="*/ 1720039 w 7714416"/>
              <a:gd name="connsiteY18306" fmla="*/ 965407 h 5282095"/>
              <a:gd name="connsiteX18307" fmla="*/ 1719467 w 7714416"/>
              <a:gd name="connsiteY18307" fmla="*/ 964218 h 5282095"/>
              <a:gd name="connsiteX18308" fmla="*/ 1721613 w 7714416"/>
              <a:gd name="connsiteY18308" fmla="*/ 957317 h 5282095"/>
              <a:gd name="connsiteX18309" fmla="*/ 1729117 w 7714416"/>
              <a:gd name="connsiteY18309" fmla="*/ 956985 h 5282095"/>
              <a:gd name="connsiteX18310" fmla="*/ 2011151 w 7714416"/>
              <a:gd name="connsiteY18310" fmla="*/ 955893 h 5282095"/>
              <a:gd name="connsiteX18311" fmla="*/ 2027954 w 7714416"/>
              <a:gd name="connsiteY18311" fmla="*/ 959591 h 5282095"/>
              <a:gd name="connsiteX18312" fmla="*/ 2010949 w 7714416"/>
              <a:gd name="connsiteY18312" fmla="*/ 983209 h 5282095"/>
              <a:gd name="connsiteX18313" fmla="*/ 2004351 w 7714416"/>
              <a:gd name="connsiteY18313" fmla="*/ 976841 h 5282095"/>
              <a:gd name="connsiteX18314" fmla="*/ 2011151 w 7714416"/>
              <a:gd name="connsiteY18314" fmla="*/ 955893 h 5282095"/>
              <a:gd name="connsiteX18315" fmla="*/ 1368610 w 7714416"/>
              <a:gd name="connsiteY18315" fmla="*/ 955422 h 5282095"/>
              <a:gd name="connsiteX18316" fmla="*/ 1378036 w 7714416"/>
              <a:gd name="connsiteY18316" fmla="*/ 958983 h 5282095"/>
              <a:gd name="connsiteX18317" fmla="*/ 1374199 w 7714416"/>
              <a:gd name="connsiteY18317" fmla="*/ 968880 h 5282095"/>
              <a:gd name="connsiteX18318" fmla="*/ 1368548 w 7714416"/>
              <a:gd name="connsiteY18318" fmla="*/ 967826 h 5282095"/>
              <a:gd name="connsiteX18319" fmla="*/ 1363763 w 7714416"/>
              <a:gd name="connsiteY18319" fmla="*/ 963553 h 5282095"/>
              <a:gd name="connsiteX18320" fmla="*/ 1362411 w 7714416"/>
              <a:gd name="connsiteY18320" fmla="*/ 959742 h 5282095"/>
              <a:gd name="connsiteX18321" fmla="*/ 1364801 w 7714416"/>
              <a:gd name="connsiteY18321" fmla="*/ 956357 h 5282095"/>
              <a:gd name="connsiteX18322" fmla="*/ 1368610 w 7714416"/>
              <a:gd name="connsiteY18322" fmla="*/ 955422 h 5282095"/>
              <a:gd name="connsiteX18323" fmla="*/ 1227595 w 7714416"/>
              <a:gd name="connsiteY18323" fmla="*/ 953748 h 5282095"/>
              <a:gd name="connsiteX18324" fmla="*/ 1246040 w 7714416"/>
              <a:gd name="connsiteY18324" fmla="*/ 956850 h 5282095"/>
              <a:gd name="connsiteX18325" fmla="*/ 1249903 w 7714416"/>
              <a:gd name="connsiteY18325" fmla="*/ 959035 h 5282095"/>
              <a:gd name="connsiteX18326" fmla="*/ 1257070 w 7714416"/>
              <a:gd name="connsiteY18326" fmla="*/ 961072 h 5282095"/>
              <a:gd name="connsiteX18327" fmla="*/ 1252548 w 7714416"/>
              <a:gd name="connsiteY18327" fmla="*/ 975730 h 5282095"/>
              <a:gd name="connsiteX18328" fmla="*/ 1231953 w 7714416"/>
              <a:gd name="connsiteY18328" fmla="*/ 982861 h 5282095"/>
              <a:gd name="connsiteX18329" fmla="*/ 1225646 w 7714416"/>
              <a:gd name="connsiteY18329" fmla="*/ 980942 h 5282095"/>
              <a:gd name="connsiteX18330" fmla="*/ 1214722 w 7714416"/>
              <a:gd name="connsiteY18330" fmla="*/ 968584 h 5282095"/>
              <a:gd name="connsiteX18331" fmla="*/ 1217040 w 7714416"/>
              <a:gd name="connsiteY18331" fmla="*/ 961040 h 5282095"/>
              <a:gd name="connsiteX18332" fmla="*/ 1227595 w 7714416"/>
              <a:gd name="connsiteY18332" fmla="*/ 953748 h 5282095"/>
              <a:gd name="connsiteX18333" fmla="*/ 5513728 w 7714416"/>
              <a:gd name="connsiteY18333" fmla="*/ 953347 h 5282095"/>
              <a:gd name="connsiteX18334" fmla="*/ 5518852 w 7714416"/>
              <a:gd name="connsiteY18334" fmla="*/ 954145 h 5282095"/>
              <a:gd name="connsiteX18335" fmla="*/ 5519617 w 7714416"/>
              <a:gd name="connsiteY18335" fmla="*/ 961250 h 5282095"/>
              <a:gd name="connsiteX18336" fmla="*/ 5513662 w 7714416"/>
              <a:gd name="connsiteY18336" fmla="*/ 960229 h 5282095"/>
              <a:gd name="connsiteX18337" fmla="*/ 5507309 w 7714416"/>
              <a:gd name="connsiteY18337" fmla="*/ 957378 h 5282095"/>
              <a:gd name="connsiteX18338" fmla="*/ 5508801 w 7714416"/>
              <a:gd name="connsiteY18338" fmla="*/ 955132 h 5282095"/>
              <a:gd name="connsiteX18339" fmla="*/ 5513728 w 7714416"/>
              <a:gd name="connsiteY18339" fmla="*/ 953347 h 5282095"/>
              <a:gd name="connsiteX18340" fmla="*/ 1566781 w 7714416"/>
              <a:gd name="connsiteY18340" fmla="*/ 952976 h 5282095"/>
              <a:gd name="connsiteX18341" fmla="*/ 1570989 w 7714416"/>
              <a:gd name="connsiteY18341" fmla="*/ 953874 h 5282095"/>
              <a:gd name="connsiteX18342" fmla="*/ 1571039 w 7714416"/>
              <a:gd name="connsiteY18342" fmla="*/ 969182 h 5282095"/>
              <a:gd name="connsiteX18343" fmla="*/ 1567744 w 7714416"/>
              <a:gd name="connsiteY18343" fmla="*/ 971519 h 5282095"/>
              <a:gd name="connsiteX18344" fmla="*/ 1566529 w 7714416"/>
              <a:gd name="connsiteY18344" fmla="*/ 973839 h 5282095"/>
              <a:gd name="connsiteX18345" fmla="*/ 1556704 w 7714416"/>
              <a:gd name="connsiteY18345" fmla="*/ 977302 h 5282095"/>
              <a:gd name="connsiteX18346" fmla="*/ 1564488 w 7714416"/>
              <a:gd name="connsiteY18346" fmla="*/ 954892 h 5282095"/>
              <a:gd name="connsiteX18347" fmla="*/ 1566781 w 7714416"/>
              <a:gd name="connsiteY18347" fmla="*/ 952976 h 5282095"/>
              <a:gd name="connsiteX18348" fmla="*/ 2108716 w 7714416"/>
              <a:gd name="connsiteY18348" fmla="*/ 952595 h 5282095"/>
              <a:gd name="connsiteX18349" fmla="*/ 2116097 w 7714416"/>
              <a:gd name="connsiteY18349" fmla="*/ 958252 h 5282095"/>
              <a:gd name="connsiteX18350" fmla="*/ 2120610 w 7714416"/>
              <a:gd name="connsiteY18350" fmla="*/ 959117 h 5282095"/>
              <a:gd name="connsiteX18351" fmla="*/ 2131611 w 7714416"/>
              <a:gd name="connsiteY18351" fmla="*/ 972300 h 5282095"/>
              <a:gd name="connsiteX18352" fmla="*/ 2126939 w 7714416"/>
              <a:gd name="connsiteY18352" fmla="*/ 976453 h 5282095"/>
              <a:gd name="connsiteX18353" fmla="*/ 2127499 w 7714416"/>
              <a:gd name="connsiteY18353" fmla="*/ 978789 h 5282095"/>
              <a:gd name="connsiteX18354" fmla="*/ 2125907 w 7714416"/>
              <a:gd name="connsiteY18354" fmla="*/ 985837 h 5282095"/>
              <a:gd name="connsiteX18355" fmla="*/ 2116657 w 7714416"/>
              <a:gd name="connsiteY18355" fmla="*/ 978298 h 5282095"/>
              <a:gd name="connsiteX18356" fmla="*/ 2113980 w 7714416"/>
              <a:gd name="connsiteY18356" fmla="*/ 973900 h 5282095"/>
              <a:gd name="connsiteX18357" fmla="*/ 2101176 w 7714416"/>
              <a:gd name="connsiteY18357" fmla="*/ 969665 h 5282095"/>
              <a:gd name="connsiteX18358" fmla="*/ 2093820 w 7714416"/>
              <a:gd name="connsiteY18358" fmla="*/ 958379 h 5282095"/>
              <a:gd name="connsiteX18359" fmla="*/ 2106765 w 7714416"/>
              <a:gd name="connsiteY18359" fmla="*/ 956557 h 5282095"/>
              <a:gd name="connsiteX18360" fmla="*/ 2108482 w 7714416"/>
              <a:gd name="connsiteY18360" fmla="*/ 956787 h 5282095"/>
              <a:gd name="connsiteX18361" fmla="*/ 950707 w 7714416"/>
              <a:gd name="connsiteY18361" fmla="*/ 952237 h 5282095"/>
              <a:gd name="connsiteX18362" fmla="*/ 953683 w 7714416"/>
              <a:gd name="connsiteY18362" fmla="*/ 954415 h 5282095"/>
              <a:gd name="connsiteX18363" fmla="*/ 956974 w 7714416"/>
              <a:gd name="connsiteY18363" fmla="*/ 955411 h 5282095"/>
              <a:gd name="connsiteX18364" fmla="*/ 956658 w 7714416"/>
              <a:gd name="connsiteY18364" fmla="*/ 956592 h 5282095"/>
              <a:gd name="connsiteX18365" fmla="*/ 958002 w 7714416"/>
              <a:gd name="connsiteY18365" fmla="*/ 958217 h 5282095"/>
              <a:gd name="connsiteX18366" fmla="*/ 954056 w 7714416"/>
              <a:gd name="connsiteY18366" fmla="*/ 961874 h 5282095"/>
              <a:gd name="connsiteX18367" fmla="*/ 950362 w 7714416"/>
              <a:gd name="connsiteY18367" fmla="*/ 962379 h 5282095"/>
              <a:gd name="connsiteX18368" fmla="*/ 947156 w 7714416"/>
              <a:gd name="connsiteY18368" fmla="*/ 961061 h 5282095"/>
              <a:gd name="connsiteX18369" fmla="*/ 946128 w 7714416"/>
              <a:gd name="connsiteY18369" fmla="*/ 958256 h 5282095"/>
              <a:gd name="connsiteX18370" fmla="*/ 947060 w 7714416"/>
              <a:gd name="connsiteY18370" fmla="*/ 953675 h 5282095"/>
              <a:gd name="connsiteX18371" fmla="*/ 950707 w 7714416"/>
              <a:gd name="connsiteY18371" fmla="*/ 952237 h 5282095"/>
              <a:gd name="connsiteX18372" fmla="*/ 1806019 w 7714416"/>
              <a:gd name="connsiteY18372" fmla="*/ 952218 h 5282095"/>
              <a:gd name="connsiteX18373" fmla="*/ 1817119 w 7714416"/>
              <a:gd name="connsiteY18373" fmla="*/ 969454 h 5282095"/>
              <a:gd name="connsiteX18374" fmla="*/ 1816084 w 7714416"/>
              <a:gd name="connsiteY18374" fmla="*/ 973317 h 5282095"/>
              <a:gd name="connsiteX18375" fmla="*/ 1820737 w 7714416"/>
              <a:gd name="connsiteY18375" fmla="*/ 976978 h 5282095"/>
              <a:gd name="connsiteX18376" fmla="*/ 1815648 w 7714416"/>
              <a:gd name="connsiteY18376" fmla="*/ 995970 h 5282095"/>
              <a:gd name="connsiteX18377" fmla="*/ 1809705 w 7714416"/>
              <a:gd name="connsiteY18377" fmla="*/ 993802 h 5282095"/>
              <a:gd name="connsiteX18378" fmla="*/ 1809267 w 7714416"/>
              <a:gd name="connsiteY18378" fmla="*/ 993225 h 5282095"/>
              <a:gd name="connsiteX18379" fmla="*/ 1807520 w 7714416"/>
              <a:gd name="connsiteY18379" fmla="*/ 993102 h 5282095"/>
              <a:gd name="connsiteX18380" fmla="*/ 1794857 w 7714416"/>
              <a:gd name="connsiteY18380" fmla="*/ 991664 h 5282095"/>
              <a:gd name="connsiteX18381" fmla="*/ 1805777 w 7714416"/>
              <a:gd name="connsiteY18381" fmla="*/ 989645 h 5282095"/>
              <a:gd name="connsiteX18382" fmla="*/ 1806636 w 7714416"/>
              <a:gd name="connsiteY18382" fmla="*/ 989761 h 5282095"/>
              <a:gd name="connsiteX18383" fmla="*/ 1804473 w 7714416"/>
              <a:gd name="connsiteY18383" fmla="*/ 986765 h 5282095"/>
              <a:gd name="connsiteX18384" fmla="*/ 1802615 w 7714416"/>
              <a:gd name="connsiteY18384" fmla="*/ 974883 h 5282095"/>
              <a:gd name="connsiteX18385" fmla="*/ 1805053 w 7714416"/>
              <a:gd name="connsiteY18385" fmla="*/ 972430 h 5282095"/>
              <a:gd name="connsiteX18386" fmla="*/ 1803996 w 7714416"/>
              <a:gd name="connsiteY18386" fmla="*/ 969732 h 5282095"/>
              <a:gd name="connsiteX18387" fmla="*/ 1806019 w 7714416"/>
              <a:gd name="connsiteY18387" fmla="*/ 952218 h 5282095"/>
              <a:gd name="connsiteX18388" fmla="*/ 5794999 w 7714416"/>
              <a:gd name="connsiteY18388" fmla="*/ 951778 h 5282095"/>
              <a:gd name="connsiteX18389" fmla="*/ 5821790 w 7714416"/>
              <a:gd name="connsiteY18389" fmla="*/ 952516 h 5282095"/>
              <a:gd name="connsiteX18390" fmla="*/ 5825289 w 7714416"/>
              <a:gd name="connsiteY18390" fmla="*/ 954949 h 5282095"/>
              <a:gd name="connsiteX18391" fmla="*/ 5827065 w 7714416"/>
              <a:gd name="connsiteY18391" fmla="*/ 954964 h 5282095"/>
              <a:gd name="connsiteX18392" fmla="*/ 5828819 w 7714416"/>
              <a:gd name="connsiteY18392" fmla="*/ 957274 h 5282095"/>
              <a:gd name="connsiteX18393" fmla="*/ 5819015 w 7714416"/>
              <a:gd name="connsiteY18393" fmla="*/ 958443 h 5282095"/>
              <a:gd name="connsiteX18394" fmla="*/ 5810502 w 7714416"/>
              <a:gd name="connsiteY18394" fmla="*/ 958116 h 5282095"/>
              <a:gd name="connsiteX18395" fmla="*/ 5791884 w 7714416"/>
              <a:gd name="connsiteY18395" fmla="*/ 955657 h 5282095"/>
              <a:gd name="connsiteX18396" fmla="*/ 5783173 w 7714416"/>
              <a:gd name="connsiteY18396" fmla="*/ 952749 h 5282095"/>
              <a:gd name="connsiteX18397" fmla="*/ 5794999 w 7714416"/>
              <a:gd name="connsiteY18397" fmla="*/ 951778 h 5282095"/>
              <a:gd name="connsiteX18398" fmla="*/ 1968265 w 7714416"/>
              <a:gd name="connsiteY18398" fmla="*/ 949923 h 5282095"/>
              <a:gd name="connsiteX18399" fmla="*/ 1989123 w 7714416"/>
              <a:gd name="connsiteY18399" fmla="*/ 956201 h 5282095"/>
              <a:gd name="connsiteX18400" fmla="*/ 1987948 w 7714416"/>
              <a:gd name="connsiteY18400" fmla="*/ 957266 h 5282095"/>
              <a:gd name="connsiteX18401" fmla="*/ 1999532 w 7714416"/>
              <a:gd name="connsiteY18401" fmla="*/ 958300 h 5282095"/>
              <a:gd name="connsiteX18402" fmla="*/ 1957254 w 7714416"/>
              <a:gd name="connsiteY18402" fmla="*/ 964452 h 5282095"/>
              <a:gd name="connsiteX18403" fmla="*/ 1972559 w 7714416"/>
              <a:gd name="connsiteY18403" fmla="*/ 959352 h 5282095"/>
              <a:gd name="connsiteX18404" fmla="*/ 1971452 w 7714416"/>
              <a:gd name="connsiteY18404" fmla="*/ 959056 h 5282095"/>
              <a:gd name="connsiteX18405" fmla="*/ 1968265 w 7714416"/>
              <a:gd name="connsiteY18405" fmla="*/ 949923 h 5282095"/>
              <a:gd name="connsiteX18406" fmla="*/ 1501072 w 7714416"/>
              <a:gd name="connsiteY18406" fmla="*/ 949171 h 5282095"/>
              <a:gd name="connsiteX18407" fmla="*/ 1509448 w 7714416"/>
              <a:gd name="connsiteY18407" fmla="*/ 952219 h 5282095"/>
              <a:gd name="connsiteX18408" fmla="*/ 1507749 w 7714416"/>
              <a:gd name="connsiteY18408" fmla="*/ 953029 h 5282095"/>
              <a:gd name="connsiteX18409" fmla="*/ 1508217 w 7714416"/>
              <a:gd name="connsiteY18409" fmla="*/ 953499 h 5282095"/>
              <a:gd name="connsiteX18410" fmla="*/ 1504361 w 7714416"/>
              <a:gd name="connsiteY18410" fmla="*/ 953501 h 5282095"/>
              <a:gd name="connsiteX18411" fmla="*/ 1499361 w 7714416"/>
              <a:gd name="connsiteY18411" fmla="*/ 951126 h 5282095"/>
              <a:gd name="connsiteX18412" fmla="*/ 1501072 w 7714416"/>
              <a:gd name="connsiteY18412" fmla="*/ 949171 h 5282095"/>
              <a:gd name="connsiteX18413" fmla="*/ 4892751 w 7714416"/>
              <a:gd name="connsiteY18413" fmla="*/ 948765 h 5282095"/>
              <a:gd name="connsiteX18414" fmla="*/ 4896313 w 7714416"/>
              <a:gd name="connsiteY18414" fmla="*/ 956504 h 5282095"/>
              <a:gd name="connsiteX18415" fmla="*/ 4887656 w 7714416"/>
              <a:gd name="connsiteY18415" fmla="*/ 956714 h 5282095"/>
              <a:gd name="connsiteX18416" fmla="*/ 4880074 w 7714416"/>
              <a:gd name="connsiteY18416" fmla="*/ 951808 h 5282095"/>
              <a:gd name="connsiteX18417" fmla="*/ 4892751 w 7714416"/>
              <a:gd name="connsiteY18417" fmla="*/ 948765 h 5282095"/>
              <a:gd name="connsiteX18418" fmla="*/ 5607372 w 7714416"/>
              <a:gd name="connsiteY18418" fmla="*/ 948079 h 5282095"/>
              <a:gd name="connsiteX18419" fmla="*/ 5623921 w 7714416"/>
              <a:gd name="connsiteY18419" fmla="*/ 949408 h 5282095"/>
              <a:gd name="connsiteX18420" fmla="*/ 5627442 w 7714416"/>
              <a:gd name="connsiteY18420" fmla="*/ 949547 h 5282095"/>
              <a:gd name="connsiteX18421" fmla="*/ 5630971 w 7714416"/>
              <a:gd name="connsiteY18421" fmla="*/ 951872 h 5282095"/>
              <a:gd name="connsiteX18422" fmla="*/ 5616177 w 7714416"/>
              <a:gd name="connsiteY18422" fmla="*/ 952852 h 5282095"/>
              <a:gd name="connsiteX18423" fmla="*/ 5607634 w 7714416"/>
              <a:gd name="connsiteY18423" fmla="*/ 952634 h 5282095"/>
              <a:gd name="connsiteX18424" fmla="*/ 5604134 w 7714416"/>
              <a:gd name="connsiteY18424" fmla="*/ 950201 h 5282095"/>
              <a:gd name="connsiteX18425" fmla="*/ 5603840 w 7714416"/>
              <a:gd name="connsiteY18425" fmla="*/ 949087 h 5282095"/>
              <a:gd name="connsiteX18426" fmla="*/ 5607372 w 7714416"/>
              <a:gd name="connsiteY18426" fmla="*/ 948079 h 5282095"/>
              <a:gd name="connsiteX18427" fmla="*/ 1278590 w 7714416"/>
              <a:gd name="connsiteY18427" fmla="*/ 947991 h 5282095"/>
              <a:gd name="connsiteX18428" fmla="*/ 1297848 w 7714416"/>
              <a:gd name="connsiteY18428" fmla="*/ 954977 h 5282095"/>
              <a:gd name="connsiteX18429" fmla="*/ 1293170 w 7714416"/>
              <a:gd name="connsiteY18429" fmla="*/ 965798 h 5282095"/>
              <a:gd name="connsiteX18430" fmla="*/ 1285804 w 7714416"/>
              <a:gd name="connsiteY18430" fmla="*/ 964515 h 5282095"/>
              <a:gd name="connsiteX18431" fmla="*/ 1279306 w 7714416"/>
              <a:gd name="connsiteY18431" fmla="*/ 962198 h 5282095"/>
              <a:gd name="connsiteX18432" fmla="*/ 1268327 w 7714416"/>
              <a:gd name="connsiteY18432" fmla="*/ 955577 h 5282095"/>
              <a:gd name="connsiteX18433" fmla="*/ 1278590 w 7714416"/>
              <a:gd name="connsiteY18433" fmla="*/ 947991 h 5282095"/>
              <a:gd name="connsiteX18434" fmla="*/ 2023739 w 7714416"/>
              <a:gd name="connsiteY18434" fmla="*/ 947651 h 5282095"/>
              <a:gd name="connsiteX18435" fmla="*/ 2029381 w 7714416"/>
              <a:gd name="connsiteY18435" fmla="*/ 955372 h 5282095"/>
              <a:gd name="connsiteX18436" fmla="*/ 2025409 w 7714416"/>
              <a:gd name="connsiteY18436" fmla="*/ 955804 h 5282095"/>
              <a:gd name="connsiteX18437" fmla="*/ 2019757 w 7714416"/>
              <a:gd name="connsiteY18437" fmla="*/ 949229 h 5282095"/>
              <a:gd name="connsiteX18438" fmla="*/ 2023739 w 7714416"/>
              <a:gd name="connsiteY18438" fmla="*/ 947651 h 5282095"/>
              <a:gd name="connsiteX18439" fmla="*/ 2370493 w 7714416"/>
              <a:gd name="connsiteY18439" fmla="*/ 947412 h 5282095"/>
              <a:gd name="connsiteX18440" fmla="*/ 2364807 w 7714416"/>
              <a:gd name="connsiteY18440" fmla="*/ 970844 h 5282095"/>
              <a:gd name="connsiteX18441" fmla="*/ 2360632 w 7714416"/>
              <a:gd name="connsiteY18441" fmla="*/ 948794 h 5282095"/>
              <a:gd name="connsiteX18442" fmla="*/ 2370493 w 7714416"/>
              <a:gd name="connsiteY18442" fmla="*/ 947412 h 5282095"/>
              <a:gd name="connsiteX18443" fmla="*/ 4920041 w 7714416"/>
              <a:gd name="connsiteY18443" fmla="*/ 946532 h 5282095"/>
              <a:gd name="connsiteX18444" fmla="*/ 4915538 w 7714416"/>
              <a:gd name="connsiteY18444" fmla="*/ 953376 h 5282095"/>
              <a:gd name="connsiteX18445" fmla="*/ 4912836 w 7714416"/>
              <a:gd name="connsiteY18445" fmla="*/ 954606 h 5282095"/>
              <a:gd name="connsiteX18446" fmla="*/ 4916404 w 7714416"/>
              <a:gd name="connsiteY18446" fmla="*/ 955677 h 5282095"/>
              <a:gd name="connsiteX18447" fmla="*/ 4922546 w 7714416"/>
              <a:gd name="connsiteY18447" fmla="*/ 969283 h 5282095"/>
              <a:gd name="connsiteX18448" fmla="*/ 4915273 w 7714416"/>
              <a:gd name="connsiteY18448" fmla="*/ 969864 h 5282095"/>
              <a:gd name="connsiteX18449" fmla="*/ 4906313 w 7714416"/>
              <a:gd name="connsiteY18449" fmla="*/ 966774 h 5282095"/>
              <a:gd name="connsiteX18450" fmla="*/ 4905157 w 7714416"/>
              <a:gd name="connsiteY18450" fmla="*/ 960024 h 5282095"/>
              <a:gd name="connsiteX18451" fmla="*/ 4907432 w 7714416"/>
              <a:gd name="connsiteY18451" fmla="*/ 957068 h 5282095"/>
              <a:gd name="connsiteX18452" fmla="*/ 4905121 w 7714416"/>
              <a:gd name="connsiteY18452" fmla="*/ 957944 h 5282095"/>
              <a:gd name="connsiteX18453" fmla="*/ 4905735 w 7714416"/>
              <a:gd name="connsiteY18453" fmla="*/ 954543 h 5282095"/>
              <a:gd name="connsiteX18454" fmla="*/ 4920041 w 7714416"/>
              <a:gd name="connsiteY18454" fmla="*/ 946532 h 5282095"/>
              <a:gd name="connsiteX18455" fmla="*/ 2048994 w 7714416"/>
              <a:gd name="connsiteY18455" fmla="*/ 946368 h 5282095"/>
              <a:gd name="connsiteX18456" fmla="*/ 2078155 w 7714416"/>
              <a:gd name="connsiteY18456" fmla="*/ 960392 h 5282095"/>
              <a:gd name="connsiteX18457" fmla="*/ 2076416 w 7714416"/>
              <a:gd name="connsiteY18457" fmla="*/ 962456 h 5282095"/>
              <a:gd name="connsiteX18458" fmla="*/ 2072007 w 7714416"/>
              <a:gd name="connsiteY18458" fmla="*/ 962310 h 5282095"/>
              <a:gd name="connsiteX18459" fmla="*/ 2056620 w 7714416"/>
              <a:gd name="connsiteY18459" fmla="*/ 955542 h 5282095"/>
              <a:gd name="connsiteX18460" fmla="*/ 2053587 w 7714416"/>
              <a:gd name="connsiteY18460" fmla="*/ 953579 h 5282095"/>
              <a:gd name="connsiteX18461" fmla="*/ 2050248 w 7714416"/>
              <a:gd name="connsiteY18461" fmla="*/ 951648 h 5282095"/>
              <a:gd name="connsiteX18462" fmla="*/ 2048994 w 7714416"/>
              <a:gd name="connsiteY18462" fmla="*/ 946368 h 5282095"/>
              <a:gd name="connsiteX18463" fmla="*/ 4969359 w 7714416"/>
              <a:gd name="connsiteY18463" fmla="*/ 943991 h 5282095"/>
              <a:gd name="connsiteX18464" fmla="*/ 4981650 w 7714416"/>
              <a:gd name="connsiteY18464" fmla="*/ 946824 h 5282095"/>
              <a:gd name="connsiteX18465" fmla="*/ 4988312 w 7714416"/>
              <a:gd name="connsiteY18465" fmla="*/ 955164 h 5282095"/>
              <a:gd name="connsiteX18466" fmla="*/ 4967246 w 7714416"/>
              <a:gd name="connsiteY18466" fmla="*/ 956305 h 5282095"/>
              <a:gd name="connsiteX18467" fmla="*/ 4969359 w 7714416"/>
              <a:gd name="connsiteY18467" fmla="*/ 943991 h 5282095"/>
              <a:gd name="connsiteX18468" fmla="*/ 2455966 w 7714416"/>
              <a:gd name="connsiteY18468" fmla="*/ 943864 h 5282095"/>
              <a:gd name="connsiteX18469" fmla="*/ 2463250 w 7714416"/>
              <a:gd name="connsiteY18469" fmla="*/ 950992 h 5282095"/>
              <a:gd name="connsiteX18470" fmla="*/ 2461137 w 7714416"/>
              <a:gd name="connsiteY18470" fmla="*/ 954450 h 5282095"/>
              <a:gd name="connsiteX18471" fmla="*/ 2452832 w 7714416"/>
              <a:gd name="connsiteY18471" fmla="*/ 955560 h 5282095"/>
              <a:gd name="connsiteX18472" fmla="*/ 2450352 w 7714416"/>
              <a:gd name="connsiteY18472" fmla="*/ 953745 h 5282095"/>
              <a:gd name="connsiteX18473" fmla="*/ 2451182 w 7714416"/>
              <a:gd name="connsiteY18473" fmla="*/ 945113 h 5282095"/>
              <a:gd name="connsiteX18474" fmla="*/ 2455966 w 7714416"/>
              <a:gd name="connsiteY18474" fmla="*/ 943864 h 5282095"/>
              <a:gd name="connsiteX18475" fmla="*/ 5853870 w 7714416"/>
              <a:gd name="connsiteY18475" fmla="*/ 942367 h 5282095"/>
              <a:gd name="connsiteX18476" fmla="*/ 5848709 w 7714416"/>
              <a:gd name="connsiteY18476" fmla="*/ 957198 h 5282095"/>
              <a:gd name="connsiteX18477" fmla="*/ 5837008 w 7714416"/>
              <a:gd name="connsiteY18477" fmla="*/ 947739 h 5282095"/>
              <a:gd name="connsiteX18478" fmla="*/ 5853870 w 7714416"/>
              <a:gd name="connsiteY18478" fmla="*/ 942367 h 5282095"/>
              <a:gd name="connsiteX18479" fmla="*/ 5032678 w 7714416"/>
              <a:gd name="connsiteY18479" fmla="*/ 942327 h 5282095"/>
              <a:gd name="connsiteX18480" fmla="*/ 5059120 w 7714416"/>
              <a:gd name="connsiteY18480" fmla="*/ 965397 h 5282095"/>
              <a:gd name="connsiteX18481" fmla="*/ 5049283 w 7714416"/>
              <a:gd name="connsiteY18481" fmla="*/ 970007 h 5282095"/>
              <a:gd name="connsiteX18482" fmla="*/ 5027662 w 7714416"/>
              <a:gd name="connsiteY18482" fmla="*/ 956623 h 5282095"/>
              <a:gd name="connsiteX18483" fmla="*/ 5028934 w 7714416"/>
              <a:gd name="connsiteY18483" fmla="*/ 945233 h 5282095"/>
              <a:gd name="connsiteX18484" fmla="*/ 5032678 w 7714416"/>
              <a:gd name="connsiteY18484" fmla="*/ 942327 h 5282095"/>
              <a:gd name="connsiteX18485" fmla="*/ 5501875 w 7714416"/>
              <a:gd name="connsiteY18485" fmla="*/ 942236 h 5282095"/>
              <a:gd name="connsiteX18486" fmla="*/ 5513723 w 7714416"/>
              <a:gd name="connsiteY18486" fmla="*/ 947826 h 5282095"/>
              <a:gd name="connsiteX18487" fmla="*/ 5505451 w 7714416"/>
              <a:gd name="connsiteY18487" fmla="*/ 954350 h 5282095"/>
              <a:gd name="connsiteX18488" fmla="*/ 5495372 w 7714416"/>
              <a:gd name="connsiteY18488" fmla="*/ 946588 h 5282095"/>
              <a:gd name="connsiteX18489" fmla="*/ 5501875 w 7714416"/>
              <a:gd name="connsiteY18489" fmla="*/ 942236 h 5282095"/>
              <a:gd name="connsiteX18490" fmla="*/ 1259563 w 7714416"/>
              <a:gd name="connsiteY18490" fmla="*/ 940694 h 5282095"/>
              <a:gd name="connsiteX18491" fmla="*/ 1253368 w 7714416"/>
              <a:gd name="connsiteY18491" fmla="*/ 950533 h 5282095"/>
              <a:gd name="connsiteX18492" fmla="*/ 1259563 w 7714416"/>
              <a:gd name="connsiteY18492" fmla="*/ 940694 h 5282095"/>
              <a:gd name="connsiteX18493" fmla="*/ 4668776 w 7714416"/>
              <a:gd name="connsiteY18493" fmla="*/ 940157 h 5282095"/>
              <a:gd name="connsiteX18494" fmla="*/ 4685016 w 7714416"/>
              <a:gd name="connsiteY18494" fmla="*/ 944853 h 5282095"/>
              <a:gd name="connsiteX18495" fmla="*/ 4675438 w 7714416"/>
              <a:gd name="connsiteY18495" fmla="*/ 948496 h 5282095"/>
              <a:gd name="connsiteX18496" fmla="*/ 4668776 w 7714416"/>
              <a:gd name="connsiteY18496" fmla="*/ 940157 h 5282095"/>
              <a:gd name="connsiteX18497" fmla="*/ 4945189 w 7714416"/>
              <a:gd name="connsiteY18497" fmla="*/ 939010 h 5282095"/>
              <a:gd name="connsiteX18498" fmla="*/ 4940065 w 7714416"/>
              <a:gd name="connsiteY18498" fmla="*/ 955922 h 5282095"/>
              <a:gd name="connsiteX18499" fmla="*/ 4938628 w 7714416"/>
              <a:gd name="connsiteY18499" fmla="*/ 952432 h 5282095"/>
              <a:gd name="connsiteX18500" fmla="*/ 4945189 w 7714416"/>
              <a:gd name="connsiteY18500" fmla="*/ 939010 h 5282095"/>
              <a:gd name="connsiteX18501" fmla="*/ 1524859 w 7714416"/>
              <a:gd name="connsiteY18501" fmla="*/ 938983 h 5282095"/>
              <a:gd name="connsiteX18502" fmla="*/ 1537580 w 7714416"/>
              <a:gd name="connsiteY18502" fmla="*/ 949062 h 5282095"/>
              <a:gd name="connsiteX18503" fmla="*/ 1524392 w 7714416"/>
              <a:gd name="connsiteY18503" fmla="*/ 956224 h 5282095"/>
              <a:gd name="connsiteX18504" fmla="*/ 1520050 w 7714416"/>
              <a:gd name="connsiteY18504" fmla="*/ 954715 h 5282095"/>
              <a:gd name="connsiteX18505" fmla="*/ 1515921 w 7714416"/>
              <a:gd name="connsiteY18505" fmla="*/ 951308 h 5282095"/>
              <a:gd name="connsiteX18506" fmla="*/ 1514563 w 7714416"/>
              <a:gd name="connsiteY18506" fmla="*/ 945310 h 5282095"/>
              <a:gd name="connsiteX18507" fmla="*/ 1515824 w 7714416"/>
              <a:gd name="connsiteY18507" fmla="*/ 943922 h 5282095"/>
              <a:gd name="connsiteX18508" fmla="*/ 1511616 w 7714416"/>
              <a:gd name="connsiteY18508" fmla="*/ 943025 h 5282095"/>
              <a:gd name="connsiteX18509" fmla="*/ 1511915 w 7714416"/>
              <a:gd name="connsiteY18509" fmla="*/ 940805 h 5282095"/>
              <a:gd name="connsiteX18510" fmla="*/ 1514977 w 7714416"/>
              <a:gd name="connsiteY18510" fmla="*/ 942661 h 5282095"/>
              <a:gd name="connsiteX18511" fmla="*/ 1515939 w 7714416"/>
              <a:gd name="connsiteY18511" fmla="*/ 943493 h 5282095"/>
              <a:gd name="connsiteX18512" fmla="*/ 1517621 w 7714416"/>
              <a:gd name="connsiteY18512" fmla="*/ 941644 h 5282095"/>
              <a:gd name="connsiteX18513" fmla="*/ 1524859 w 7714416"/>
              <a:gd name="connsiteY18513" fmla="*/ 938983 h 5282095"/>
              <a:gd name="connsiteX18514" fmla="*/ 5465984 w 7714416"/>
              <a:gd name="connsiteY18514" fmla="*/ 938944 h 5282095"/>
              <a:gd name="connsiteX18515" fmla="*/ 5475999 w 7714416"/>
              <a:gd name="connsiteY18515" fmla="*/ 944733 h 5282095"/>
              <a:gd name="connsiteX18516" fmla="*/ 5465915 w 7714416"/>
              <a:gd name="connsiteY18516" fmla="*/ 949161 h 5282095"/>
              <a:gd name="connsiteX18517" fmla="*/ 5462645 w 7714416"/>
              <a:gd name="connsiteY18517" fmla="*/ 945870 h 5282095"/>
              <a:gd name="connsiteX18518" fmla="*/ 5465984 w 7714416"/>
              <a:gd name="connsiteY18518" fmla="*/ 938944 h 5282095"/>
              <a:gd name="connsiteX18519" fmla="*/ 4696418 w 7714416"/>
              <a:gd name="connsiteY18519" fmla="*/ 938822 h 5282095"/>
              <a:gd name="connsiteX18520" fmla="*/ 4696741 w 7714416"/>
              <a:gd name="connsiteY18520" fmla="*/ 939829 h 5282095"/>
              <a:gd name="connsiteX18521" fmla="*/ 4694079 w 7714416"/>
              <a:gd name="connsiteY18521" fmla="*/ 939805 h 5282095"/>
              <a:gd name="connsiteX18522" fmla="*/ 4692809 w 7714416"/>
              <a:gd name="connsiteY18522" fmla="*/ 939006 h 5282095"/>
              <a:gd name="connsiteX18523" fmla="*/ 4696418 w 7714416"/>
              <a:gd name="connsiteY18523" fmla="*/ 938822 h 5282095"/>
              <a:gd name="connsiteX18524" fmla="*/ 6110223 w 7714416"/>
              <a:gd name="connsiteY18524" fmla="*/ 938606 h 5282095"/>
              <a:gd name="connsiteX18525" fmla="*/ 6112426 w 7714416"/>
              <a:gd name="connsiteY18525" fmla="*/ 949200 h 5282095"/>
              <a:gd name="connsiteX18526" fmla="*/ 6102005 w 7714416"/>
              <a:gd name="connsiteY18526" fmla="*/ 948248 h 5282095"/>
              <a:gd name="connsiteX18527" fmla="*/ 6110223 w 7714416"/>
              <a:gd name="connsiteY18527" fmla="*/ 938606 h 5282095"/>
              <a:gd name="connsiteX18528" fmla="*/ 4704521 w 7714416"/>
              <a:gd name="connsiteY18528" fmla="*/ 938464 h 5282095"/>
              <a:gd name="connsiteX18529" fmla="*/ 4706904 w 7714416"/>
              <a:gd name="connsiteY18529" fmla="*/ 941747 h 5282095"/>
              <a:gd name="connsiteX18530" fmla="*/ 4701836 w 7714416"/>
              <a:gd name="connsiteY18530" fmla="*/ 940735 h 5282095"/>
              <a:gd name="connsiteX18531" fmla="*/ 4697611 w 7714416"/>
              <a:gd name="connsiteY18531" fmla="*/ 938797 h 5282095"/>
              <a:gd name="connsiteX18532" fmla="*/ 4704521 w 7714416"/>
              <a:gd name="connsiteY18532" fmla="*/ 938464 h 5282095"/>
              <a:gd name="connsiteX18533" fmla="*/ 4685881 w 7714416"/>
              <a:gd name="connsiteY18533" fmla="*/ 938299 h 5282095"/>
              <a:gd name="connsiteX18534" fmla="*/ 4688304 w 7714416"/>
              <a:gd name="connsiteY18534" fmla="*/ 940328 h 5282095"/>
              <a:gd name="connsiteX18535" fmla="*/ 4684400 w 7714416"/>
              <a:gd name="connsiteY18535" fmla="*/ 939398 h 5282095"/>
              <a:gd name="connsiteX18536" fmla="*/ 4685881 w 7714416"/>
              <a:gd name="connsiteY18536" fmla="*/ 938299 h 5282095"/>
              <a:gd name="connsiteX18537" fmla="*/ 4728630 w 7714416"/>
              <a:gd name="connsiteY18537" fmla="*/ 938139 h 5282095"/>
              <a:gd name="connsiteX18538" fmla="*/ 4737931 w 7714416"/>
              <a:gd name="connsiteY18538" fmla="*/ 943276 h 5282095"/>
              <a:gd name="connsiteX18539" fmla="*/ 4727678 w 7714416"/>
              <a:gd name="connsiteY18539" fmla="*/ 953869 h 5282095"/>
              <a:gd name="connsiteX18540" fmla="*/ 4721163 w 7714416"/>
              <a:gd name="connsiteY18540" fmla="*/ 950513 h 5282095"/>
              <a:gd name="connsiteX18541" fmla="*/ 4728630 w 7714416"/>
              <a:gd name="connsiteY18541" fmla="*/ 938139 h 5282095"/>
              <a:gd name="connsiteX18542" fmla="*/ 2270688 w 7714416"/>
              <a:gd name="connsiteY18542" fmla="*/ 938034 h 5282095"/>
              <a:gd name="connsiteX18543" fmla="*/ 2300322 w 7714416"/>
              <a:gd name="connsiteY18543" fmla="*/ 958050 h 5282095"/>
              <a:gd name="connsiteX18544" fmla="*/ 2258259 w 7714416"/>
              <a:gd name="connsiteY18544" fmla="*/ 967824 h 5282095"/>
              <a:gd name="connsiteX18545" fmla="*/ 2255520 w 7714416"/>
              <a:gd name="connsiteY18545" fmla="*/ 966976 h 5282095"/>
              <a:gd name="connsiteX18546" fmla="*/ 2253946 w 7714416"/>
              <a:gd name="connsiteY18546" fmla="*/ 983920 h 5282095"/>
              <a:gd name="connsiteX18547" fmla="*/ 2248681 w 7714416"/>
              <a:gd name="connsiteY18547" fmla="*/ 980324 h 5282095"/>
              <a:gd name="connsiteX18548" fmla="*/ 2247672 w 7714416"/>
              <a:gd name="connsiteY18548" fmla="*/ 978558 h 5282095"/>
              <a:gd name="connsiteX18549" fmla="*/ 2244138 w 7714416"/>
              <a:gd name="connsiteY18549" fmla="*/ 979566 h 5282095"/>
              <a:gd name="connsiteX18550" fmla="*/ 2238199 w 7714416"/>
              <a:gd name="connsiteY18550" fmla="*/ 974065 h 5282095"/>
              <a:gd name="connsiteX18551" fmla="*/ 2242694 w 7714416"/>
              <a:gd name="connsiteY18551" fmla="*/ 973890 h 5282095"/>
              <a:gd name="connsiteX18552" fmla="*/ 2246493 w 7714416"/>
              <a:gd name="connsiteY18552" fmla="*/ 974102 h 5282095"/>
              <a:gd name="connsiteX18553" fmla="*/ 2248114 w 7714416"/>
              <a:gd name="connsiteY18553" fmla="*/ 966946 h 5282095"/>
              <a:gd name="connsiteX18554" fmla="*/ 2253336 w 7714416"/>
              <a:gd name="connsiteY18554" fmla="*/ 966276 h 5282095"/>
              <a:gd name="connsiteX18555" fmla="*/ 2246295 w 7714416"/>
              <a:gd name="connsiteY18555" fmla="*/ 962664 h 5282095"/>
              <a:gd name="connsiteX18556" fmla="*/ 2245170 w 7714416"/>
              <a:gd name="connsiteY18556" fmla="*/ 961328 h 5282095"/>
              <a:gd name="connsiteX18557" fmla="*/ 2243291 w 7714416"/>
              <a:gd name="connsiteY18557" fmla="*/ 960594 h 5282095"/>
              <a:gd name="connsiteX18558" fmla="*/ 2243884 w 7714416"/>
              <a:gd name="connsiteY18558" fmla="*/ 959488 h 5282095"/>
              <a:gd name="connsiteX18559" fmla="*/ 2242102 w 7714416"/>
              <a:gd name="connsiteY18559" fmla="*/ 957285 h 5282095"/>
              <a:gd name="connsiteX18560" fmla="*/ 2270688 w 7714416"/>
              <a:gd name="connsiteY18560" fmla="*/ 938034 h 5282095"/>
              <a:gd name="connsiteX18561" fmla="*/ 4657040 w 7714416"/>
              <a:gd name="connsiteY18561" fmla="*/ 937471 h 5282095"/>
              <a:gd name="connsiteX18562" fmla="*/ 4684429 w 7714416"/>
              <a:gd name="connsiteY18562" fmla="*/ 939290 h 5282095"/>
              <a:gd name="connsiteX18563" fmla="*/ 4657040 w 7714416"/>
              <a:gd name="connsiteY18563" fmla="*/ 937471 h 5282095"/>
              <a:gd name="connsiteX18564" fmla="*/ 4847621 w 7714416"/>
              <a:gd name="connsiteY18564" fmla="*/ 936787 h 5282095"/>
              <a:gd name="connsiteX18565" fmla="*/ 4864816 w 7714416"/>
              <a:gd name="connsiteY18565" fmla="*/ 940129 h 5282095"/>
              <a:gd name="connsiteX18566" fmla="*/ 4870950 w 7714416"/>
              <a:gd name="connsiteY18566" fmla="*/ 942693 h 5282095"/>
              <a:gd name="connsiteX18567" fmla="*/ 4869318 w 7714416"/>
              <a:gd name="connsiteY18567" fmla="*/ 942140 h 5282095"/>
              <a:gd name="connsiteX18568" fmla="*/ 4870356 w 7714416"/>
              <a:gd name="connsiteY18568" fmla="*/ 943799 h 5282095"/>
              <a:gd name="connsiteX18569" fmla="*/ 4863123 w 7714416"/>
              <a:gd name="connsiteY18569" fmla="*/ 943126 h 5282095"/>
              <a:gd name="connsiteX18570" fmla="*/ 4855929 w 7714416"/>
              <a:gd name="connsiteY18570" fmla="*/ 941198 h 5282095"/>
              <a:gd name="connsiteX18571" fmla="*/ 4847333 w 7714416"/>
              <a:gd name="connsiteY18571" fmla="*/ 937859 h 5282095"/>
              <a:gd name="connsiteX18572" fmla="*/ 4847621 w 7714416"/>
              <a:gd name="connsiteY18572" fmla="*/ 936787 h 5282095"/>
              <a:gd name="connsiteX18573" fmla="*/ 2171424 w 7714416"/>
              <a:gd name="connsiteY18573" fmla="*/ 933287 h 5282095"/>
              <a:gd name="connsiteX18574" fmla="*/ 2181569 w 7714416"/>
              <a:gd name="connsiteY18574" fmla="*/ 934166 h 5282095"/>
              <a:gd name="connsiteX18575" fmla="*/ 2174073 w 7714416"/>
              <a:gd name="connsiteY18575" fmla="*/ 937792 h 5282095"/>
              <a:gd name="connsiteX18576" fmla="*/ 2171424 w 7714416"/>
              <a:gd name="connsiteY18576" fmla="*/ 933287 h 5282095"/>
              <a:gd name="connsiteX18577" fmla="*/ 1918185 w 7714416"/>
              <a:gd name="connsiteY18577" fmla="*/ 933168 h 5282095"/>
              <a:gd name="connsiteX18578" fmla="*/ 1922135 w 7714416"/>
              <a:gd name="connsiteY18578" fmla="*/ 935032 h 5282095"/>
              <a:gd name="connsiteX18579" fmla="*/ 1922267 w 7714416"/>
              <a:gd name="connsiteY18579" fmla="*/ 935642 h 5282095"/>
              <a:gd name="connsiteX18580" fmla="*/ 1931410 w 7714416"/>
              <a:gd name="connsiteY18580" fmla="*/ 936941 h 5282095"/>
              <a:gd name="connsiteX18581" fmla="*/ 1928024 w 7714416"/>
              <a:gd name="connsiteY18581" fmla="*/ 942934 h 5282095"/>
              <a:gd name="connsiteX18582" fmla="*/ 1926278 w 7714416"/>
              <a:gd name="connsiteY18582" fmla="*/ 942812 h 5282095"/>
              <a:gd name="connsiteX18583" fmla="*/ 1930198 w 7714416"/>
              <a:gd name="connsiteY18583" fmla="*/ 944782 h 5282095"/>
              <a:gd name="connsiteX18584" fmla="*/ 1953887 w 7714416"/>
              <a:gd name="connsiteY18584" fmla="*/ 953774 h 5282095"/>
              <a:gd name="connsiteX18585" fmla="*/ 1951616 w 7714416"/>
              <a:gd name="connsiteY18585" fmla="*/ 962250 h 5282095"/>
              <a:gd name="connsiteX18586" fmla="*/ 1949409 w 7714416"/>
              <a:gd name="connsiteY18586" fmla="*/ 963845 h 5282095"/>
              <a:gd name="connsiteX18587" fmla="*/ 1951881 w 7714416"/>
              <a:gd name="connsiteY18587" fmla="*/ 963473 h 5282095"/>
              <a:gd name="connsiteX18588" fmla="*/ 1954185 w 7714416"/>
              <a:gd name="connsiteY18588" fmla="*/ 969264 h 5282095"/>
              <a:gd name="connsiteX18589" fmla="*/ 1947114 w 7714416"/>
              <a:gd name="connsiteY18589" fmla="*/ 969095 h 5282095"/>
              <a:gd name="connsiteX18590" fmla="*/ 1945492 w 7714416"/>
              <a:gd name="connsiteY18590" fmla="*/ 967395 h 5282095"/>
              <a:gd name="connsiteX18591" fmla="*/ 1944120 w 7714416"/>
              <a:gd name="connsiteY18591" fmla="*/ 965877 h 5282095"/>
              <a:gd name="connsiteX18592" fmla="*/ 1940587 w 7714416"/>
              <a:gd name="connsiteY18592" fmla="*/ 966886 h 5282095"/>
              <a:gd name="connsiteX18593" fmla="*/ 1924689 w 7714416"/>
              <a:gd name="connsiteY18593" fmla="*/ 964236 h 5282095"/>
              <a:gd name="connsiteX18594" fmla="*/ 1922677 w 7714416"/>
              <a:gd name="connsiteY18594" fmla="*/ 962891 h 5282095"/>
              <a:gd name="connsiteX18595" fmla="*/ 1922314 w 7714416"/>
              <a:gd name="connsiteY18595" fmla="*/ 963140 h 5282095"/>
              <a:gd name="connsiteX18596" fmla="*/ 1919762 w 7714416"/>
              <a:gd name="connsiteY18596" fmla="*/ 966022 h 5282095"/>
              <a:gd name="connsiteX18597" fmla="*/ 1922893 w 7714416"/>
              <a:gd name="connsiteY18597" fmla="*/ 966515 h 5282095"/>
              <a:gd name="connsiteX18598" fmla="*/ 1911532 w 7714416"/>
              <a:gd name="connsiteY18598" fmla="*/ 985666 h 5282095"/>
              <a:gd name="connsiteX18599" fmla="*/ 1909298 w 7714416"/>
              <a:gd name="connsiteY18599" fmla="*/ 987368 h 5282095"/>
              <a:gd name="connsiteX18600" fmla="*/ 1908018 w 7714416"/>
              <a:gd name="connsiteY18600" fmla="*/ 987714 h 5282095"/>
              <a:gd name="connsiteX18601" fmla="*/ 1906998 w 7714416"/>
              <a:gd name="connsiteY18601" fmla="*/ 987096 h 5282095"/>
              <a:gd name="connsiteX18602" fmla="*/ 1905891 w 7714416"/>
              <a:gd name="connsiteY18602" fmla="*/ 986800 h 5282095"/>
              <a:gd name="connsiteX18603" fmla="*/ 1906023 w 7714416"/>
              <a:gd name="connsiteY18603" fmla="*/ 987410 h 5282095"/>
              <a:gd name="connsiteX18604" fmla="*/ 1904072 w 7714416"/>
              <a:gd name="connsiteY18604" fmla="*/ 991373 h 5282095"/>
              <a:gd name="connsiteX18605" fmla="*/ 1907363 w 7714416"/>
              <a:gd name="connsiteY18605" fmla="*/ 992369 h 5282095"/>
              <a:gd name="connsiteX18606" fmla="*/ 1913186 w 7714416"/>
              <a:gd name="connsiteY18606" fmla="*/ 992779 h 5282095"/>
              <a:gd name="connsiteX18607" fmla="*/ 1915273 w 7714416"/>
              <a:gd name="connsiteY18607" fmla="*/ 994950 h 5282095"/>
              <a:gd name="connsiteX18608" fmla="*/ 1910490 w 7714416"/>
              <a:gd name="connsiteY18608" fmla="*/ 996197 h 5282095"/>
              <a:gd name="connsiteX18609" fmla="*/ 1906667 w 7714416"/>
              <a:gd name="connsiteY18609" fmla="*/ 992758 h 5282095"/>
              <a:gd name="connsiteX18610" fmla="*/ 1903536 w 7714416"/>
              <a:gd name="connsiteY18610" fmla="*/ 992264 h 5282095"/>
              <a:gd name="connsiteX18611" fmla="*/ 1901164 w 7714416"/>
              <a:gd name="connsiteY18611" fmla="*/ 996688 h 5282095"/>
              <a:gd name="connsiteX18612" fmla="*/ 1890725 w 7714416"/>
              <a:gd name="connsiteY18612" fmla="*/ 1003551 h 5282095"/>
              <a:gd name="connsiteX18613" fmla="*/ 1893274 w 7714416"/>
              <a:gd name="connsiteY18613" fmla="*/ 1004004 h 5282095"/>
              <a:gd name="connsiteX18614" fmla="*/ 1897500 w 7714416"/>
              <a:gd name="connsiteY18614" fmla="*/ 1005941 h 5282095"/>
              <a:gd name="connsiteX18615" fmla="*/ 1897708 w 7714416"/>
              <a:gd name="connsiteY18615" fmla="*/ 1007378 h 5282095"/>
              <a:gd name="connsiteX18616" fmla="*/ 1899760 w 7714416"/>
              <a:gd name="connsiteY18616" fmla="*/ 1007467 h 5282095"/>
              <a:gd name="connsiteX18617" fmla="*/ 1907669 w 7714416"/>
              <a:gd name="connsiteY18617" fmla="*/ 1010047 h 5282095"/>
              <a:gd name="connsiteX18618" fmla="*/ 1897829 w 7714416"/>
              <a:gd name="connsiteY18618" fmla="*/ 1009135 h 5282095"/>
              <a:gd name="connsiteX18619" fmla="*/ 1897553 w 7714416"/>
              <a:gd name="connsiteY18619" fmla="*/ 1009061 h 5282095"/>
              <a:gd name="connsiteX18620" fmla="*/ 1897266 w 7714416"/>
              <a:gd name="connsiteY18620" fmla="*/ 1010133 h 5282095"/>
              <a:gd name="connsiteX18621" fmla="*/ 1898782 w 7714416"/>
              <a:gd name="connsiteY18621" fmla="*/ 1011115 h 5282095"/>
              <a:gd name="connsiteX18622" fmla="*/ 1897533 w 7714416"/>
              <a:gd name="connsiteY18622" fmla="*/ 1011355 h 5282095"/>
              <a:gd name="connsiteX18623" fmla="*/ 1896823 w 7714416"/>
              <a:gd name="connsiteY18623" fmla="*/ 1012891 h 5282095"/>
              <a:gd name="connsiteX18624" fmla="*/ 1889238 w 7714416"/>
              <a:gd name="connsiteY18624" fmla="*/ 1011318 h 5282095"/>
              <a:gd name="connsiteX18625" fmla="*/ 1889266 w 7714416"/>
              <a:gd name="connsiteY18625" fmla="*/ 1011211 h 5282095"/>
              <a:gd name="connsiteX18626" fmla="*/ 1880136 w 7714416"/>
              <a:gd name="connsiteY18626" fmla="*/ 1017619 h 5282095"/>
              <a:gd name="connsiteX18627" fmla="*/ 1876441 w 7714416"/>
              <a:gd name="connsiteY18627" fmla="*/ 1018124 h 5282095"/>
              <a:gd name="connsiteX18628" fmla="*/ 1874730 w 7714416"/>
              <a:gd name="connsiteY18628" fmla="*/ 1020081 h 5282095"/>
              <a:gd name="connsiteX18629" fmla="*/ 1873444 w 7714416"/>
              <a:gd name="connsiteY18629" fmla="*/ 1018241 h 5282095"/>
              <a:gd name="connsiteX18630" fmla="*/ 1873081 w 7714416"/>
              <a:gd name="connsiteY18630" fmla="*/ 1018489 h 5282095"/>
              <a:gd name="connsiteX18631" fmla="*/ 1872948 w 7714416"/>
              <a:gd name="connsiteY18631" fmla="*/ 1017878 h 5282095"/>
              <a:gd name="connsiteX18632" fmla="*/ 1871784 w 7714416"/>
              <a:gd name="connsiteY18632" fmla="*/ 1017796 h 5282095"/>
              <a:gd name="connsiteX18633" fmla="*/ 1868446 w 7714416"/>
              <a:gd name="connsiteY18633" fmla="*/ 1015867 h 5282095"/>
              <a:gd name="connsiteX18634" fmla="*/ 1870217 w 7714416"/>
              <a:gd name="connsiteY18634" fmla="*/ 1010361 h 5282095"/>
              <a:gd name="connsiteX18635" fmla="*/ 1879208 w 7714416"/>
              <a:gd name="connsiteY18635" fmla="*/ 1010010 h 5282095"/>
              <a:gd name="connsiteX18636" fmla="*/ 1884573 w 7714416"/>
              <a:gd name="connsiteY18636" fmla="*/ 1008803 h 5282095"/>
              <a:gd name="connsiteX18637" fmla="*/ 1888246 w 7714416"/>
              <a:gd name="connsiteY18637" fmla="*/ 1010593 h 5282095"/>
              <a:gd name="connsiteX18638" fmla="*/ 1885985 w 7714416"/>
              <a:gd name="connsiteY18638" fmla="*/ 1009066 h 5282095"/>
              <a:gd name="connsiteX18639" fmla="*/ 1885148 w 7714416"/>
              <a:gd name="connsiteY18639" fmla="*/ 1006658 h 5282095"/>
              <a:gd name="connsiteX18640" fmla="*/ 1887383 w 7714416"/>
              <a:gd name="connsiteY18640" fmla="*/ 1004956 h 5282095"/>
              <a:gd name="connsiteX18641" fmla="*/ 1889809 w 7714416"/>
              <a:gd name="connsiteY18641" fmla="*/ 1003651 h 5282095"/>
              <a:gd name="connsiteX18642" fmla="*/ 1879596 w 7714416"/>
              <a:gd name="connsiteY18642" fmla="*/ 1004135 h 5282095"/>
              <a:gd name="connsiteX18643" fmla="*/ 1888074 w 7714416"/>
              <a:gd name="connsiteY18643" fmla="*/ 993526 h 5282095"/>
              <a:gd name="connsiteX18644" fmla="*/ 1891441 w 7714416"/>
              <a:gd name="connsiteY18644" fmla="*/ 986493 h 5282095"/>
              <a:gd name="connsiteX18645" fmla="*/ 1890421 w 7714416"/>
              <a:gd name="connsiteY18645" fmla="*/ 985874 h 5282095"/>
              <a:gd name="connsiteX18646" fmla="*/ 1888368 w 7714416"/>
              <a:gd name="connsiteY18646" fmla="*/ 985785 h 5282095"/>
              <a:gd name="connsiteX18647" fmla="*/ 1888282 w 7714416"/>
              <a:gd name="connsiteY18647" fmla="*/ 986106 h 5282095"/>
              <a:gd name="connsiteX18648" fmla="*/ 1880189 w 7714416"/>
              <a:gd name="connsiteY18648" fmla="*/ 994174 h 5282095"/>
              <a:gd name="connsiteX18649" fmla="*/ 1878875 w 7714416"/>
              <a:gd name="connsiteY18649" fmla="*/ 992441 h 5282095"/>
              <a:gd name="connsiteX18650" fmla="*/ 1883521 w 7714416"/>
              <a:gd name="connsiteY18650" fmla="*/ 985060 h 5282095"/>
              <a:gd name="connsiteX18651" fmla="*/ 1884505 w 7714416"/>
              <a:gd name="connsiteY18651" fmla="*/ 983600 h 5282095"/>
              <a:gd name="connsiteX18652" fmla="*/ 1880372 w 7714416"/>
              <a:gd name="connsiteY18652" fmla="*/ 983527 h 5282095"/>
              <a:gd name="connsiteX18653" fmla="*/ 1853490 w 7714416"/>
              <a:gd name="connsiteY18653" fmla="*/ 980924 h 5282095"/>
              <a:gd name="connsiteX18654" fmla="*/ 1846058 w 7714416"/>
              <a:gd name="connsiteY18654" fmla="*/ 977667 h 5282095"/>
              <a:gd name="connsiteX18655" fmla="*/ 1846891 w 7714416"/>
              <a:gd name="connsiteY18655" fmla="*/ 983411 h 5282095"/>
              <a:gd name="connsiteX18656" fmla="*/ 1847129 w 7714416"/>
              <a:gd name="connsiteY18656" fmla="*/ 984739 h 5282095"/>
              <a:gd name="connsiteX18657" fmla="*/ 1851280 w 7714416"/>
              <a:gd name="connsiteY18657" fmla="*/ 985852 h 5282095"/>
              <a:gd name="connsiteX18658" fmla="*/ 1856835 w 7714416"/>
              <a:gd name="connsiteY18658" fmla="*/ 993896 h 5282095"/>
              <a:gd name="connsiteX18659" fmla="*/ 1853608 w 7714416"/>
              <a:gd name="connsiteY18659" fmla="*/ 994871 h 5282095"/>
              <a:gd name="connsiteX18660" fmla="*/ 1848703 w 7714416"/>
              <a:gd name="connsiteY18660" fmla="*/ 994361 h 5282095"/>
              <a:gd name="connsiteX18661" fmla="*/ 1849375 w 7714416"/>
              <a:gd name="connsiteY18661" fmla="*/ 999601 h 5282095"/>
              <a:gd name="connsiteX18662" fmla="*/ 1852311 w 7714416"/>
              <a:gd name="connsiteY18662" fmla="*/ 1003033 h 5282095"/>
              <a:gd name="connsiteX18663" fmla="*/ 1852386 w 7714416"/>
              <a:gd name="connsiteY18663" fmla="*/ 1003859 h 5282095"/>
              <a:gd name="connsiteX18664" fmla="*/ 1853902 w 7714416"/>
              <a:gd name="connsiteY18664" fmla="*/ 1004840 h 5282095"/>
              <a:gd name="connsiteX18665" fmla="*/ 1853643 w 7714416"/>
              <a:gd name="connsiteY18665" fmla="*/ 1005806 h 5282095"/>
              <a:gd name="connsiteX18666" fmla="*/ 1852404 w 7714416"/>
              <a:gd name="connsiteY18666" fmla="*/ 1004898 h 5282095"/>
              <a:gd name="connsiteX18667" fmla="*/ 1852335 w 7714416"/>
              <a:gd name="connsiteY18667" fmla="*/ 1006260 h 5282095"/>
              <a:gd name="connsiteX18668" fmla="*/ 1853833 w 7714416"/>
              <a:gd name="connsiteY18668" fmla="*/ 1006201 h 5282095"/>
              <a:gd name="connsiteX18669" fmla="*/ 1852677 w 7714416"/>
              <a:gd name="connsiteY18669" fmla="*/ 1008307 h 5282095"/>
              <a:gd name="connsiteX18670" fmla="*/ 1852238 w 7714416"/>
              <a:gd name="connsiteY18670" fmla="*/ 1007729 h 5282095"/>
              <a:gd name="connsiteX18671" fmla="*/ 1852220 w 7714416"/>
              <a:gd name="connsiteY18671" fmla="*/ 1006689 h 5282095"/>
              <a:gd name="connsiteX18672" fmla="*/ 1847950 w 7714416"/>
              <a:gd name="connsiteY18672" fmla="*/ 1009341 h 5282095"/>
              <a:gd name="connsiteX18673" fmla="*/ 1840440 w 7714416"/>
              <a:gd name="connsiteY18673" fmla="*/ 1008592 h 5282095"/>
              <a:gd name="connsiteX18674" fmla="*/ 1831618 w 7714416"/>
              <a:gd name="connsiteY18674" fmla="*/ 1002779 h 5282095"/>
              <a:gd name="connsiteX18675" fmla="*/ 1842524 w 7714416"/>
              <a:gd name="connsiteY18675" fmla="*/ 996386 h 5282095"/>
              <a:gd name="connsiteX18676" fmla="*/ 1843136 w 7714416"/>
              <a:gd name="connsiteY18676" fmla="*/ 996320 h 5282095"/>
              <a:gd name="connsiteX18677" fmla="*/ 1842888 w 7714416"/>
              <a:gd name="connsiteY18677" fmla="*/ 996138 h 5282095"/>
              <a:gd name="connsiteX18678" fmla="*/ 1840215 w 7714416"/>
              <a:gd name="connsiteY18678" fmla="*/ 988407 h 5282095"/>
              <a:gd name="connsiteX18679" fmla="*/ 1840169 w 7714416"/>
              <a:gd name="connsiteY18679" fmla="*/ 987474 h 5282095"/>
              <a:gd name="connsiteX18680" fmla="*/ 1837164 w 7714416"/>
              <a:gd name="connsiteY18680" fmla="*/ 985404 h 5282095"/>
              <a:gd name="connsiteX18681" fmla="*/ 1836920 w 7714416"/>
              <a:gd name="connsiteY18681" fmla="*/ 981889 h 5282095"/>
              <a:gd name="connsiteX18682" fmla="*/ 1840240 w 7714416"/>
              <a:gd name="connsiteY18682" fmla="*/ 982779 h 5282095"/>
              <a:gd name="connsiteX18683" fmla="*/ 1840298 w 7714416"/>
              <a:gd name="connsiteY18683" fmla="*/ 982565 h 5282095"/>
              <a:gd name="connsiteX18684" fmla="*/ 1840366 w 7714416"/>
              <a:gd name="connsiteY18684" fmla="*/ 981203 h 5282095"/>
              <a:gd name="connsiteX18685" fmla="*/ 1840503 w 7714416"/>
              <a:gd name="connsiteY18685" fmla="*/ 978479 h 5282095"/>
              <a:gd name="connsiteX18686" fmla="*/ 1845821 w 7714416"/>
              <a:gd name="connsiteY18686" fmla="*/ 976340 h 5282095"/>
              <a:gd name="connsiteX18687" fmla="*/ 1845735 w 7714416"/>
              <a:gd name="connsiteY18687" fmla="*/ 976661 h 5282095"/>
              <a:gd name="connsiteX18688" fmla="*/ 1849421 w 7714416"/>
              <a:gd name="connsiteY18688" fmla="*/ 973969 h 5282095"/>
              <a:gd name="connsiteX18689" fmla="*/ 1876711 w 7714416"/>
              <a:gd name="connsiteY18689" fmla="*/ 971736 h 5282095"/>
              <a:gd name="connsiteX18690" fmla="*/ 1890021 w 7714416"/>
              <a:gd name="connsiteY18690" fmla="*/ 975188 h 5282095"/>
              <a:gd name="connsiteX18691" fmla="*/ 1884406 w 7714416"/>
              <a:gd name="connsiteY18691" fmla="*/ 970692 h 5282095"/>
              <a:gd name="connsiteX18692" fmla="*/ 1873107 w 7714416"/>
              <a:gd name="connsiteY18692" fmla="*/ 959730 h 5282095"/>
              <a:gd name="connsiteX18693" fmla="*/ 1873394 w 7714416"/>
              <a:gd name="connsiteY18693" fmla="*/ 958657 h 5282095"/>
              <a:gd name="connsiteX18694" fmla="*/ 1877499 w 7714416"/>
              <a:gd name="connsiteY18694" fmla="*/ 958836 h 5282095"/>
              <a:gd name="connsiteX18695" fmla="*/ 1882839 w 7714416"/>
              <a:gd name="connsiteY18695" fmla="*/ 963257 h 5282095"/>
              <a:gd name="connsiteX18696" fmla="*/ 1891797 w 7714416"/>
              <a:gd name="connsiteY18696" fmla="*/ 975203 h 5282095"/>
              <a:gd name="connsiteX18697" fmla="*/ 1892789 w 7714416"/>
              <a:gd name="connsiteY18697" fmla="*/ 975929 h 5282095"/>
              <a:gd name="connsiteX18698" fmla="*/ 1896109 w 7714416"/>
              <a:gd name="connsiteY18698" fmla="*/ 976819 h 5282095"/>
              <a:gd name="connsiteX18699" fmla="*/ 1899667 w 7714416"/>
              <a:gd name="connsiteY18699" fmla="*/ 979037 h 5282095"/>
              <a:gd name="connsiteX18700" fmla="*/ 1904936 w 7714416"/>
              <a:gd name="connsiteY18700" fmla="*/ 979299 h 5282095"/>
              <a:gd name="connsiteX18701" fmla="*/ 1905589 w 7714416"/>
              <a:gd name="connsiteY18701" fmla="*/ 983499 h 5282095"/>
              <a:gd name="connsiteX18702" fmla="*/ 1909198 w 7714416"/>
              <a:gd name="connsiteY18702" fmla="*/ 974461 h 5282095"/>
              <a:gd name="connsiteX18703" fmla="*/ 1909621 w 7714416"/>
              <a:gd name="connsiteY18703" fmla="*/ 970664 h 5282095"/>
              <a:gd name="connsiteX18704" fmla="*/ 1909631 w 7714416"/>
              <a:gd name="connsiteY18704" fmla="*/ 969517 h 5282095"/>
              <a:gd name="connsiteX18705" fmla="*/ 1909079 w 7714416"/>
              <a:gd name="connsiteY18705" fmla="*/ 969369 h 5282095"/>
              <a:gd name="connsiteX18706" fmla="*/ 1909039 w 7714416"/>
              <a:gd name="connsiteY18706" fmla="*/ 961767 h 5282095"/>
              <a:gd name="connsiteX18707" fmla="*/ 1911094 w 7714416"/>
              <a:gd name="connsiteY18707" fmla="*/ 958524 h 5282095"/>
              <a:gd name="connsiteX18708" fmla="*/ 1910789 w 7714416"/>
              <a:gd name="connsiteY18708" fmla="*/ 958557 h 5282095"/>
              <a:gd name="connsiteX18709" fmla="*/ 1907889 w 7714416"/>
              <a:gd name="connsiteY18709" fmla="*/ 957204 h 5282095"/>
              <a:gd name="connsiteX18710" fmla="*/ 1910162 w 7714416"/>
              <a:gd name="connsiteY18710" fmla="*/ 939873 h 5282095"/>
              <a:gd name="connsiteX18711" fmla="*/ 1911871 w 7714416"/>
              <a:gd name="connsiteY18711" fmla="*/ 937917 h 5282095"/>
              <a:gd name="connsiteX18712" fmla="*/ 1910269 w 7714416"/>
              <a:gd name="connsiteY18712" fmla="*/ 937256 h 5282095"/>
              <a:gd name="connsiteX18713" fmla="*/ 1912466 w 7714416"/>
              <a:gd name="connsiteY18713" fmla="*/ 936810 h 5282095"/>
              <a:gd name="connsiteX18714" fmla="*/ 1912522 w 7714416"/>
              <a:gd name="connsiteY18714" fmla="*/ 936596 h 5282095"/>
              <a:gd name="connsiteX18715" fmla="*/ 1912810 w 7714416"/>
              <a:gd name="connsiteY18715" fmla="*/ 935523 h 5282095"/>
              <a:gd name="connsiteX18716" fmla="*/ 1918185 w 7714416"/>
              <a:gd name="connsiteY18716" fmla="*/ 933168 h 5282095"/>
              <a:gd name="connsiteX18717" fmla="*/ 2133228 w 7714416"/>
              <a:gd name="connsiteY18717" fmla="*/ 933059 h 5282095"/>
              <a:gd name="connsiteX18718" fmla="*/ 2140289 w 7714416"/>
              <a:gd name="connsiteY18718" fmla="*/ 934375 h 5282095"/>
              <a:gd name="connsiteX18719" fmla="*/ 2140783 w 7714416"/>
              <a:gd name="connsiteY18719" fmla="*/ 938072 h 5282095"/>
              <a:gd name="connsiteX18720" fmla="*/ 2136401 w 7714416"/>
              <a:gd name="connsiteY18720" fmla="*/ 937818 h 5282095"/>
              <a:gd name="connsiteX18721" fmla="*/ 2131974 w 7714416"/>
              <a:gd name="connsiteY18721" fmla="*/ 936632 h 5282095"/>
              <a:gd name="connsiteX18722" fmla="*/ 2133228 w 7714416"/>
              <a:gd name="connsiteY18722" fmla="*/ 933059 h 5282095"/>
              <a:gd name="connsiteX18723" fmla="*/ 2299099 w 7714416"/>
              <a:gd name="connsiteY18723" fmla="*/ 931617 h 5282095"/>
              <a:gd name="connsiteX18724" fmla="*/ 2306190 w 7714416"/>
              <a:gd name="connsiteY18724" fmla="*/ 932827 h 5282095"/>
              <a:gd name="connsiteX18725" fmla="*/ 2307189 w 7714416"/>
              <a:gd name="connsiteY18725" fmla="*/ 935740 h 5282095"/>
              <a:gd name="connsiteX18726" fmla="*/ 2305963 w 7714416"/>
              <a:gd name="connsiteY18726" fmla="*/ 939206 h 5282095"/>
              <a:gd name="connsiteX18727" fmla="*/ 2297270 w 7714416"/>
              <a:gd name="connsiteY18727" fmla="*/ 937338 h 5282095"/>
              <a:gd name="connsiteX18728" fmla="*/ 2296548 w 7714416"/>
              <a:gd name="connsiteY18728" fmla="*/ 934499 h 5282095"/>
              <a:gd name="connsiteX18729" fmla="*/ 2299099 w 7714416"/>
              <a:gd name="connsiteY18729" fmla="*/ 931617 h 5282095"/>
              <a:gd name="connsiteX18730" fmla="*/ 1429672 w 7714416"/>
              <a:gd name="connsiteY18730" fmla="*/ 931188 h 5282095"/>
              <a:gd name="connsiteX18731" fmla="*/ 1441829 w 7714416"/>
              <a:gd name="connsiteY18731" fmla="*/ 933410 h 5282095"/>
              <a:gd name="connsiteX18732" fmla="*/ 1435281 w 7714416"/>
              <a:gd name="connsiteY18732" fmla="*/ 933496 h 5282095"/>
              <a:gd name="connsiteX18733" fmla="*/ 1429672 w 7714416"/>
              <a:gd name="connsiteY18733" fmla="*/ 931188 h 5282095"/>
              <a:gd name="connsiteX18734" fmla="*/ 1191828 w 7714416"/>
              <a:gd name="connsiteY18734" fmla="*/ 931169 h 5282095"/>
              <a:gd name="connsiteX18735" fmla="*/ 1210917 w 7714416"/>
              <a:gd name="connsiteY18735" fmla="*/ 939619 h 5282095"/>
              <a:gd name="connsiteX18736" fmla="*/ 1208988 w 7714416"/>
              <a:gd name="connsiteY18736" fmla="*/ 941287 h 5282095"/>
              <a:gd name="connsiteX18737" fmla="*/ 1212642 w 7714416"/>
              <a:gd name="connsiteY18737" fmla="*/ 942036 h 5282095"/>
              <a:gd name="connsiteX18738" fmla="*/ 1217698 w 7714416"/>
              <a:gd name="connsiteY18738" fmla="*/ 944195 h 5282095"/>
              <a:gd name="connsiteX18739" fmla="*/ 1216620 w 7714416"/>
              <a:gd name="connsiteY18739" fmla="*/ 952647 h 5282095"/>
              <a:gd name="connsiteX18740" fmla="*/ 1212085 w 7714416"/>
              <a:gd name="connsiteY18740" fmla="*/ 954077 h 5282095"/>
              <a:gd name="connsiteX18741" fmla="*/ 1201855 w 7714416"/>
              <a:gd name="connsiteY18741" fmla="*/ 953520 h 5282095"/>
              <a:gd name="connsiteX18742" fmla="*/ 1202119 w 7714416"/>
              <a:gd name="connsiteY18742" fmla="*/ 954742 h 5282095"/>
              <a:gd name="connsiteX18743" fmla="*/ 1198634 w 7714416"/>
              <a:gd name="connsiteY18743" fmla="*/ 947828 h 5282095"/>
              <a:gd name="connsiteX18744" fmla="*/ 1199170 w 7714416"/>
              <a:gd name="connsiteY18744" fmla="*/ 946936 h 5282095"/>
              <a:gd name="connsiteX18745" fmla="*/ 1197833 w 7714416"/>
              <a:gd name="connsiteY18745" fmla="*/ 947498 h 5282095"/>
              <a:gd name="connsiteX18746" fmla="*/ 1190301 w 7714416"/>
              <a:gd name="connsiteY18746" fmla="*/ 940190 h 5282095"/>
              <a:gd name="connsiteX18747" fmla="*/ 1191828 w 7714416"/>
              <a:gd name="connsiteY18747" fmla="*/ 931169 h 5282095"/>
              <a:gd name="connsiteX18748" fmla="*/ 5952613 w 7714416"/>
              <a:gd name="connsiteY18748" fmla="*/ 931076 h 5282095"/>
              <a:gd name="connsiteX18749" fmla="*/ 5982286 w 7714416"/>
              <a:gd name="connsiteY18749" fmla="*/ 935720 h 5282095"/>
              <a:gd name="connsiteX18750" fmla="*/ 5930513 w 7714416"/>
              <a:gd name="connsiteY18750" fmla="*/ 939673 h 5282095"/>
              <a:gd name="connsiteX18751" fmla="*/ 5952613 w 7714416"/>
              <a:gd name="connsiteY18751" fmla="*/ 931076 h 5282095"/>
              <a:gd name="connsiteX18752" fmla="*/ 4838493 w 7714416"/>
              <a:gd name="connsiteY18752" fmla="*/ 931006 h 5282095"/>
              <a:gd name="connsiteX18753" fmla="*/ 4839837 w 7714416"/>
              <a:gd name="connsiteY18753" fmla="*/ 932631 h 5282095"/>
              <a:gd name="connsiteX18754" fmla="*/ 4832811 w 7714416"/>
              <a:gd name="connsiteY18754" fmla="*/ 933394 h 5282095"/>
              <a:gd name="connsiteX18755" fmla="*/ 4831105 w 7714416"/>
              <a:gd name="connsiteY18755" fmla="*/ 932016 h 5282095"/>
              <a:gd name="connsiteX18756" fmla="*/ 4838493 w 7714416"/>
              <a:gd name="connsiteY18756" fmla="*/ 931006 h 5282095"/>
              <a:gd name="connsiteX18757" fmla="*/ 1890356 w 7714416"/>
              <a:gd name="connsiteY18757" fmla="*/ 930772 h 5282095"/>
              <a:gd name="connsiteX18758" fmla="*/ 1890884 w 7714416"/>
              <a:gd name="connsiteY18758" fmla="*/ 963113 h 5282095"/>
              <a:gd name="connsiteX18759" fmla="*/ 1882429 w 7714416"/>
              <a:gd name="connsiteY18759" fmla="*/ 944863 h 5282095"/>
              <a:gd name="connsiteX18760" fmla="*/ 1890356 w 7714416"/>
              <a:gd name="connsiteY18760" fmla="*/ 930772 h 5282095"/>
              <a:gd name="connsiteX18761" fmla="*/ 2096189 w 7714416"/>
              <a:gd name="connsiteY18761" fmla="*/ 930723 h 5282095"/>
              <a:gd name="connsiteX18762" fmla="*/ 2099252 w 7714416"/>
              <a:gd name="connsiteY18762" fmla="*/ 932579 h 5282095"/>
              <a:gd name="connsiteX18763" fmla="*/ 2102600 w 7714416"/>
              <a:gd name="connsiteY18763" fmla="*/ 933362 h 5282095"/>
              <a:gd name="connsiteX18764" fmla="*/ 2102560 w 7714416"/>
              <a:gd name="connsiteY18764" fmla="*/ 934615 h 5282095"/>
              <a:gd name="connsiteX18765" fmla="*/ 2102256 w 7714416"/>
              <a:gd name="connsiteY18765" fmla="*/ 934649 h 5282095"/>
              <a:gd name="connsiteX18766" fmla="*/ 2103218 w 7714416"/>
              <a:gd name="connsiteY18766" fmla="*/ 935482 h 5282095"/>
              <a:gd name="connsiteX18767" fmla="*/ 2105130 w 7714416"/>
              <a:gd name="connsiteY18767" fmla="*/ 932773 h 5282095"/>
              <a:gd name="connsiteX18768" fmla="*/ 2112011 w 7714416"/>
              <a:gd name="connsiteY18768" fmla="*/ 932548 h 5282095"/>
              <a:gd name="connsiteX18769" fmla="*/ 2114197 w 7714416"/>
              <a:gd name="connsiteY18769" fmla="*/ 933248 h 5282095"/>
              <a:gd name="connsiteX18770" fmla="*/ 2116097 w 7714416"/>
              <a:gd name="connsiteY18770" fmla="*/ 931688 h 5282095"/>
              <a:gd name="connsiteX18771" fmla="*/ 2121689 w 7714416"/>
              <a:gd name="connsiteY18771" fmla="*/ 932955 h 5282095"/>
              <a:gd name="connsiteX18772" fmla="*/ 2121983 w 7714416"/>
              <a:gd name="connsiteY18772" fmla="*/ 934070 h 5282095"/>
              <a:gd name="connsiteX18773" fmla="*/ 2119587 w 7714416"/>
              <a:gd name="connsiteY18773" fmla="*/ 935268 h 5282095"/>
              <a:gd name="connsiteX18774" fmla="*/ 2119835 w 7714416"/>
              <a:gd name="connsiteY18774" fmla="*/ 935450 h 5282095"/>
              <a:gd name="connsiteX18775" fmla="*/ 2128654 w 7714416"/>
              <a:gd name="connsiteY18775" fmla="*/ 944598 h 5282095"/>
              <a:gd name="connsiteX18776" fmla="*/ 2120676 w 7714416"/>
              <a:gd name="connsiteY18776" fmla="*/ 952234 h 5282095"/>
              <a:gd name="connsiteX18777" fmla="*/ 2108974 w 7714416"/>
              <a:gd name="connsiteY18777" fmla="*/ 951629 h 5282095"/>
              <a:gd name="connsiteX18778" fmla="*/ 2101259 w 7714416"/>
              <a:gd name="connsiteY18778" fmla="*/ 946112 h 5282095"/>
              <a:gd name="connsiteX18779" fmla="*/ 2099757 w 7714416"/>
              <a:gd name="connsiteY18779" fmla="*/ 940649 h 5282095"/>
              <a:gd name="connsiteX18780" fmla="*/ 2100120 w 7714416"/>
              <a:gd name="connsiteY18780" fmla="*/ 940402 h 5282095"/>
              <a:gd name="connsiteX18781" fmla="*/ 2097284 w 7714416"/>
              <a:gd name="connsiteY18781" fmla="*/ 941022 h 5282095"/>
              <a:gd name="connsiteX18782" fmla="*/ 2094022 w 7714416"/>
              <a:gd name="connsiteY18782" fmla="*/ 939918 h 5282095"/>
              <a:gd name="connsiteX18783" fmla="*/ 2092660 w 7714416"/>
              <a:gd name="connsiteY18783" fmla="*/ 937253 h 5282095"/>
              <a:gd name="connsiteX18784" fmla="*/ 2091686 w 7714416"/>
              <a:gd name="connsiteY18784" fmla="*/ 937566 h 5282095"/>
              <a:gd name="connsiteX18785" fmla="*/ 2084139 w 7714416"/>
              <a:gd name="connsiteY18785" fmla="*/ 934740 h 5282095"/>
              <a:gd name="connsiteX18786" fmla="*/ 2090478 w 7714416"/>
              <a:gd name="connsiteY18786" fmla="*/ 933218 h 5282095"/>
              <a:gd name="connsiteX18787" fmla="*/ 2092721 w 7714416"/>
              <a:gd name="connsiteY18787" fmla="*/ 933704 h 5282095"/>
              <a:gd name="connsiteX18788" fmla="*/ 2092790 w 7714416"/>
              <a:gd name="connsiteY18788" fmla="*/ 932343 h 5282095"/>
              <a:gd name="connsiteX18789" fmla="*/ 2096189 w 7714416"/>
              <a:gd name="connsiteY18789" fmla="*/ 930723 h 5282095"/>
              <a:gd name="connsiteX18790" fmla="*/ 4862877 w 7714416"/>
              <a:gd name="connsiteY18790" fmla="*/ 929935 h 5282095"/>
              <a:gd name="connsiteX18791" fmla="*/ 4875917 w 7714416"/>
              <a:gd name="connsiteY18791" fmla="*/ 930799 h 5282095"/>
              <a:gd name="connsiteX18792" fmla="*/ 4874680 w 7714416"/>
              <a:gd name="connsiteY18792" fmla="*/ 935413 h 5282095"/>
              <a:gd name="connsiteX18793" fmla="*/ 4871141 w 7714416"/>
              <a:gd name="connsiteY18793" fmla="*/ 934234 h 5282095"/>
              <a:gd name="connsiteX18794" fmla="*/ 4845260 w 7714416"/>
              <a:gd name="connsiteY18794" fmla="*/ 931209 h 5282095"/>
              <a:gd name="connsiteX18795" fmla="*/ 4862877 w 7714416"/>
              <a:gd name="connsiteY18795" fmla="*/ 929935 h 5282095"/>
              <a:gd name="connsiteX18796" fmla="*/ 967649 w 7714416"/>
              <a:gd name="connsiteY18796" fmla="*/ 929457 h 5282095"/>
              <a:gd name="connsiteX18797" fmla="*/ 980229 w 7714416"/>
              <a:gd name="connsiteY18797" fmla="*/ 933927 h 5282095"/>
              <a:gd name="connsiteX18798" fmla="*/ 930853 w 7714416"/>
              <a:gd name="connsiteY18798" fmla="*/ 945537 h 5282095"/>
              <a:gd name="connsiteX18799" fmla="*/ 967649 w 7714416"/>
              <a:gd name="connsiteY18799" fmla="*/ 929457 h 5282095"/>
              <a:gd name="connsiteX18800" fmla="*/ 1165049 w 7714416"/>
              <a:gd name="connsiteY18800" fmla="*/ 929284 h 5282095"/>
              <a:gd name="connsiteX18801" fmla="*/ 1182080 w 7714416"/>
              <a:gd name="connsiteY18801" fmla="*/ 935457 h 5282095"/>
              <a:gd name="connsiteX18802" fmla="*/ 1180933 w 7714416"/>
              <a:gd name="connsiteY18802" fmla="*/ 936415 h 5282095"/>
              <a:gd name="connsiteX18803" fmla="*/ 1182841 w 7714416"/>
              <a:gd name="connsiteY18803" fmla="*/ 937041 h 5282095"/>
              <a:gd name="connsiteX18804" fmla="*/ 1187495 w 7714416"/>
              <a:gd name="connsiteY18804" fmla="*/ 940703 h 5282095"/>
              <a:gd name="connsiteX18805" fmla="*/ 1187983 w 7714416"/>
              <a:gd name="connsiteY18805" fmla="*/ 956589 h 5282095"/>
              <a:gd name="connsiteX18806" fmla="*/ 1172214 w 7714416"/>
              <a:gd name="connsiteY18806" fmla="*/ 957884 h 5282095"/>
              <a:gd name="connsiteX18807" fmla="*/ 1173569 w 7714416"/>
              <a:gd name="connsiteY18807" fmla="*/ 958363 h 5282095"/>
              <a:gd name="connsiteX18808" fmla="*/ 1186937 w 7714416"/>
              <a:gd name="connsiteY18808" fmla="*/ 979309 h 5282095"/>
              <a:gd name="connsiteX18809" fmla="*/ 1181995 w 7714416"/>
              <a:gd name="connsiteY18809" fmla="*/ 976720 h 5282095"/>
              <a:gd name="connsiteX18810" fmla="*/ 1180928 w 7714416"/>
              <a:gd name="connsiteY18810" fmla="*/ 975169 h 5282095"/>
              <a:gd name="connsiteX18811" fmla="*/ 1179269 w 7714416"/>
              <a:gd name="connsiteY18811" fmla="*/ 974725 h 5282095"/>
              <a:gd name="connsiteX18812" fmla="*/ 1179307 w 7714416"/>
              <a:gd name="connsiteY18812" fmla="*/ 973470 h 5282095"/>
              <a:gd name="connsiteX18813" fmla="*/ 1176620 w 7714416"/>
              <a:gd name="connsiteY18813" fmla="*/ 970219 h 5282095"/>
              <a:gd name="connsiteX18814" fmla="*/ 1167359 w 7714416"/>
              <a:gd name="connsiteY18814" fmla="*/ 963828 h 5282095"/>
              <a:gd name="connsiteX18815" fmla="*/ 1162310 w 7714416"/>
              <a:gd name="connsiteY18815" fmla="*/ 955000 h 5282095"/>
              <a:gd name="connsiteX18816" fmla="*/ 1165958 w 7714416"/>
              <a:gd name="connsiteY18816" fmla="*/ 953563 h 5282095"/>
              <a:gd name="connsiteX18817" fmla="*/ 1163270 w 7714416"/>
              <a:gd name="connsiteY18817" fmla="*/ 950312 h 5282095"/>
              <a:gd name="connsiteX18818" fmla="*/ 1159766 w 7714416"/>
              <a:gd name="connsiteY18818" fmla="*/ 942359 h 5282095"/>
              <a:gd name="connsiteX18819" fmla="*/ 1165441 w 7714416"/>
              <a:gd name="connsiteY18819" fmla="*/ 937784 h 5282095"/>
              <a:gd name="connsiteX18820" fmla="*/ 1162436 w 7714416"/>
              <a:gd name="connsiteY18820" fmla="*/ 935714 h 5282095"/>
              <a:gd name="connsiteX18821" fmla="*/ 1165049 w 7714416"/>
              <a:gd name="connsiteY18821" fmla="*/ 929284 h 5282095"/>
              <a:gd name="connsiteX18822" fmla="*/ 4675899 w 7714416"/>
              <a:gd name="connsiteY18822" fmla="*/ 929069 h 5282095"/>
              <a:gd name="connsiteX18823" fmla="*/ 4680875 w 7714416"/>
              <a:gd name="connsiteY18823" fmla="*/ 933738 h 5282095"/>
              <a:gd name="connsiteX18824" fmla="*/ 4657241 w 7714416"/>
              <a:gd name="connsiteY18824" fmla="*/ 936720 h 5282095"/>
              <a:gd name="connsiteX18825" fmla="*/ 4675899 w 7714416"/>
              <a:gd name="connsiteY18825" fmla="*/ 929069 h 5282095"/>
              <a:gd name="connsiteX18826" fmla="*/ 5225567 w 7714416"/>
              <a:gd name="connsiteY18826" fmla="*/ 928398 h 5282095"/>
              <a:gd name="connsiteX18827" fmla="*/ 5238554 w 7714416"/>
              <a:gd name="connsiteY18827" fmla="*/ 946546 h 5282095"/>
              <a:gd name="connsiteX18828" fmla="*/ 5223565 w 7714416"/>
              <a:gd name="connsiteY18828" fmla="*/ 950465 h 5282095"/>
              <a:gd name="connsiteX18829" fmla="*/ 5216942 w 7714416"/>
              <a:gd name="connsiteY18829" fmla="*/ 940870 h 5282095"/>
              <a:gd name="connsiteX18830" fmla="*/ 5215674 w 7714416"/>
              <a:gd name="connsiteY18830" fmla="*/ 931214 h 5282095"/>
              <a:gd name="connsiteX18831" fmla="*/ 5225567 w 7714416"/>
              <a:gd name="connsiteY18831" fmla="*/ 928398 h 5282095"/>
              <a:gd name="connsiteX18832" fmla="*/ 5246162 w 7714416"/>
              <a:gd name="connsiteY18832" fmla="*/ 928114 h 5282095"/>
              <a:gd name="connsiteX18833" fmla="*/ 5248738 w 7714416"/>
              <a:gd name="connsiteY18833" fmla="*/ 928459 h 5282095"/>
              <a:gd name="connsiteX18834" fmla="*/ 5252411 w 7714416"/>
              <a:gd name="connsiteY18834" fmla="*/ 930249 h 5282095"/>
              <a:gd name="connsiteX18835" fmla="*/ 5249008 w 7714416"/>
              <a:gd name="connsiteY18835" fmla="*/ 935202 h 5282095"/>
              <a:gd name="connsiteX18836" fmla="*/ 5246172 w 7714416"/>
              <a:gd name="connsiteY18836" fmla="*/ 935822 h 5282095"/>
              <a:gd name="connsiteX18837" fmla="*/ 5244103 w 7714416"/>
              <a:gd name="connsiteY18837" fmla="*/ 934692 h 5282095"/>
              <a:gd name="connsiteX18838" fmla="*/ 5243391 w 7714416"/>
              <a:gd name="connsiteY18838" fmla="*/ 930706 h 5282095"/>
              <a:gd name="connsiteX18839" fmla="*/ 5246162 w 7714416"/>
              <a:gd name="connsiteY18839" fmla="*/ 928114 h 5282095"/>
              <a:gd name="connsiteX18840" fmla="*/ 2076608 w 7714416"/>
              <a:gd name="connsiteY18840" fmla="*/ 927433 h 5282095"/>
              <a:gd name="connsiteX18841" fmla="*/ 2075202 w 7714416"/>
              <a:gd name="connsiteY18841" fmla="*/ 947065 h 5282095"/>
              <a:gd name="connsiteX18842" fmla="*/ 2067398 w 7714416"/>
              <a:gd name="connsiteY18842" fmla="*/ 945204 h 5282095"/>
              <a:gd name="connsiteX18843" fmla="*/ 2052579 w 7714416"/>
              <a:gd name="connsiteY18843" fmla="*/ 934103 h 5282095"/>
              <a:gd name="connsiteX18844" fmla="*/ 2076608 w 7714416"/>
              <a:gd name="connsiteY18844" fmla="*/ 927433 h 5282095"/>
              <a:gd name="connsiteX18845" fmla="*/ 1848089 w 7714416"/>
              <a:gd name="connsiteY18845" fmla="*/ 926921 h 5282095"/>
              <a:gd name="connsiteX18846" fmla="*/ 1841348 w 7714416"/>
              <a:gd name="connsiteY18846" fmla="*/ 929944 h 5282095"/>
              <a:gd name="connsiteX18847" fmla="*/ 1833353 w 7714416"/>
              <a:gd name="connsiteY18847" fmla="*/ 927687 h 5282095"/>
              <a:gd name="connsiteX18848" fmla="*/ 1848089 w 7714416"/>
              <a:gd name="connsiteY18848" fmla="*/ 926921 h 5282095"/>
              <a:gd name="connsiteX18849" fmla="*/ 1480788 w 7714416"/>
              <a:gd name="connsiteY18849" fmla="*/ 926370 h 5282095"/>
              <a:gd name="connsiteX18850" fmla="*/ 1485286 w 7714416"/>
              <a:gd name="connsiteY18850" fmla="*/ 940570 h 5282095"/>
              <a:gd name="connsiteX18851" fmla="*/ 1480788 w 7714416"/>
              <a:gd name="connsiteY18851" fmla="*/ 926370 h 5282095"/>
              <a:gd name="connsiteX18852" fmla="*/ 4792715 w 7714416"/>
              <a:gd name="connsiteY18852" fmla="*/ 925869 h 5282095"/>
              <a:gd name="connsiteX18853" fmla="*/ 4796474 w 7714416"/>
              <a:gd name="connsiteY18853" fmla="*/ 927337 h 5282095"/>
              <a:gd name="connsiteX18854" fmla="*/ 4795554 w 7714416"/>
              <a:gd name="connsiteY18854" fmla="*/ 930770 h 5282095"/>
              <a:gd name="connsiteX18855" fmla="*/ 4782707 w 7714416"/>
              <a:gd name="connsiteY18855" fmla="*/ 931123 h 5282095"/>
              <a:gd name="connsiteX18856" fmla="*/ 4780026 w 7714416"/>
              <a:gd name="connsiteY18856" fmla="*/ 930060 h 5282095"/>
              <a:gd name="connsiteX18857" fmla="*/ 4792715 w 7714416"/>
              <a:gd name="connsiteY18857" fmla="*/ 925869 h 5282095"/>
              <a:gd name="connsiteX18858" fmla="*/ 2424346 w 7714416"/>
              <a:gd name="connsiteY18858" fmla="*/ 925732 h 5282095"/>
              <a:gd name="connsiteX18859" fmla="*/ 2427840 w 7714416"/>
              <a:gd name="connsiteY18859" fmla="*/ 925977 h 5282095"/>
              <a:gd name="connsiteX18860" fmla="*/ 2443284 w 7714416"/>
              <a:gd name="connsiteY18860" fmla="*/ 932531 h 5282095"/>
              <a:gd name="connsiteX18861" fmla="*/ 2445193 w 7714416"/>
              <a:gd name="connsiteY18861" fmla="*/ 933157 h 5282095"/>
              <a:gd name="connsiteX18862" fmla="*/ 2452024 w 7714416"/>
              <a:gd name="connsiteY18862" fmla="*/ 935333 h 5282095"/>
              <a:gd name="connsiteX18863" fmla="*/ 2439080 w 7714416"/>
              <a:gd name="connsiteY18863" fmla="*/ 946010 h 5282095"/>
              <a:gd name="connsiteX18864" fmla="*/ 2428698 w 7714416"/>
              <a:gd name="connsiteY18864" fmla="*/ 934948 h 5282095"/>
              <a:gd name="connsiteX18865" fmla="*/ 2434790 w 7714416"/>
              <a:gd name="connsiteY18865" fmla="*/ 933245 h 5282095"/>
              <a:gd name="connsiteX18866" fmla="*/ 2434264 w 7714416"/>
              <a:gd name="connsiteY18866" fmla="*/ 932989 h 5282095"/>
              <a:gd name="connsiteX18867" fmla="*/ 2426412 w 7714416"/>
              <a:gd name="connsiteY18867" fmla="*/ 930196 h 5282095"/>
              <a:gd name="connsiteX18868" fmla="*/ 2423754 w 7714416"/>
              <a:gd name="connsiteY18868" fmla="*/ 926838 h 5282095"/>
              <a:gd name="connsiteX18869" fmla="*/ 1088603 w 7714416"/>
              <a:gd name="connsiteY18869" fmla="*/ 925705 h 5282095"/>
              <a:gd name="connsiteX18870" fmla="*/ 1094313 w 7714416"/>
              <a:gd name="connsiteY18870" fmla="*/ 940921 h 5282095"/>
              <a:gd name="connsiteX18871" fmla="*/ 1088229 w 7714416"/>
              <a:gd name="connsiteY18871" fmla="*/ 953665 h 5282095"/>
              <a:gd name="connsiteX18872" fmla="*/ 1088603 w 7714416"/>
              <a:gd name="connsiteY18872" fmla="*/ 925705 h 5282095"/>
              <a:gd name="connsiteX18873" fmla="*/ 2399174 w 7714416"/>
              <a:gd name="connsiteY18873" fmla="*/ 924909 h 5282095"/>
              <a:gd name="connsiteX18874" fmla="*/ 2414475 w 7714416"/>
              <a:gd name="connsiteY18874" fmla="*/ 928261 h 5282095"/>
              <a:gd name="connsiteX18875" fmla="*/ 2412796 w 7714416"/>
              <a:gd name="connsiteY18875" fmla="*/ 935632 h 5282095"/>
              <a:gd name="connsiteX18876" fmla="*/ 2396212 w 7714416"/>
              <a:gd name="connsiteY18876" fmla="*/ 932223 h 5282095"/>
              <a:gd name="connsiteX18877" fmla="*/ 2387954 w 7714416"/>
              <a:gd name="connsiteY18877" fmla="*/ 925411 h 5282095"/>
              <a:gd name="connsiteX18878" fmla="*/ 2399174 w 7714416"/>
              <a:gd name="connsiteY18878" fmla="*/ 924909 h 5282095"/>
              <a:gd name="connsiteX18879" fmla="*/ 2508943 w 7714416"/>
              <a:gd name="connsiteY18879" fmla="*/ 924349 h 5282095"/>
              <a:gd name="connsiteX18880" fmla="*/ 2513367 w 7714416"/>
              <a:gd name="connsiteY18880" fmla="*/ 925549 h 5282095"/>
              <a:gd name="connsiteX18881" fmla="*/ 2515996 w 7714416"/>
              <a:gd name="connsiteY18881" fmla="*/ 929015 h 5282095"/>
              <a:gd name="connsiteX18882" fmla="*/ 2511432 w 7714416"/>
              <a:gd name="connsiteY18882" fmla="*/ 930552 h 5282095"/>
              <a:gd name="connsiteX18883" fmla="*/ 2506032 w 7714416"/>
              <a:gd name="connsiteY18883" fmla="*/ 929679 h 5282095"/>
              <a:gd name="connsiteX18884" fmla="*/ 2505051 w 7714416"/>
              <a:gd name="connsiteY18884" fmla="*/ 927807 h 5282095"/>
              <a:gd name="connsiteX18885" fmla="*/ 2504939 w 7714416"/>
              <a:gd name="connsiteY18885" fmla="*/ 924901 h 5282095"/>
              <a:gd name="connsiteX18886" fmla="*/ 2508943 w 7714416"/>
              <a:gd name="connsiteY18886" fmla="*/ 924349 h 5282095"/>
              <a:gd name="connsiteX18887" fmla="*/ 2257048 w 7714416"/>
              <a:gd name="connsiteY18887" fmla="*/ 922535 h 5282095"/>
              <a:gd name="connsiteX18888" fmla="*/ 2261109 w 7714416"/>
              <a:gd name="connsiteY18888" fmla="*/ 927302 h 5282095"/>
              <a:gd name="connsiteX18889" fmla="*/ 2256325 w 7714416"/>
              <a:gd name="connsiteY18889" fmla="*/ 928551 h 5282095"/>
              <a:gd name="connsiteX18890" fmla="*/ 2254698 w 7714416"/>
              <a:gd name="connsiteY18890" fmla="*/ 924665 h 5282095"/>
              <a:gd name="connsiteX18891" fmla="*/ 2257048 w 7714416"/>
              <a:gd name="connsiteY18891" fmla="*/ 922535 h 5282095"/>
              <a:gd name="connsiteX18892" fmla="*/ 1029298 w 7714416"/>
              <a:gd name="connsiteY18892" fmla="*/ 922351 h 5282095"/>
              <a:gd name="connsiteX18893" fmla="*/ 1044175 w 7714416"/>
              <a:gd name="connsiteY18893" fmla="*/ 933237 h 5282095"/>
              <a:gd name="connsiteX18894" fmla="*/ 1040144 w 7714416"/>
              <a:gd name="connsiteY18894" fmla="*/ 937216 h 5282095"/>
              <a:gd name="connsiteX18895" fmla="*/ 1034149 w 7714416"/>
              <a:gd name="connsiteY18895" fmla="*/ 937451 h 5282095"/>
              <a:gd name="connsiteX18896" fmla="*/ 1022812 w 7714416"/>
              <a:gd name="connsiteY18896" fmla="*/ 927742 h 5282095"/>
              <a:gd name="connsiteX18897" fmla="*/ 1029298 w 7714416"/>
              <a:gd name="connsiteY18897" fmla="*/ 922351 h 5282095"/>
              <a:gd name="connsiteX18898" fmla="*/ 2311426 w 7714416"/>
              <a:gd name="connsiteY18898" fmla="*/ 918819 h 5282095"/>
              <a:gd name="connsiteX18899" fmla="*/ 2312809 w 7714416"/>
              <a:gd name="connsiteY18899" fmla="*/ 919191 h 5282095"/>
              <a:gd name="connsiteX18900" fmla="*/ 2312561 w 7714416"/>
              <a:gd name="connsiteY18900" fmla="*/ 919009 h 5282095"/>
              <a:gd name="connsiteX18901" fmla="*/ 5328530 w 7714416"/>
              <a:gd name="connsiteY18901" fmla="*/ 918444 h 5282095"/>
              <a:gd name="connsiteX18902" fmla="*/ 5338545 w 7714416"/>
              <a:gd name="connsiteY18902" fmla="*/ 924233 h 5282095"/>
              <a:gd name="connsiteX18903" fmla="*/ 5319927 w 7714416"/>
              <a:gd name="connsiteY18903" fmla="*/ 930628 h 5282095"/>
              <a:gd name="connsiteX18904" fmla="*/ 5317584 w 7714416"/>
              <a:gd name="connsiteY18904" fmla="*/ 926091 h 5282095"/>
              <a:gd name="connsiteX18905" fmla="*/ 5328530 w 7714416"/>
              <a:gd name="connsiteY18905" fmla="*/ 918444 h 5282095"/>
              <a:gd name="connsiteX18906" fmla="*/ 4924588 w 7714416"/>
              <a:gd name="connsiteY18906" fmla="*/ 917389 h 5282095"/>
              <a:gd name="connsiteX18907" fmla="*/ 4937367 w 7714416"/>
              <a:gd name="connsiteY18907" fmla="*/ 918399 h 5282095"/>
              <a:gd name="connsiteX18908" fmla="*/ 4938139 w 7714416"/>
              <a:gd name="connsiteY18908" fmla="*/ 918835 h 5282095"/>
              <a:gd name="connsiteX18909" fmla="*/ 4939390 w 7714416"/>
              <a:gd name="connsiteY18909" fmla="*/ 918596 h 5282095"/>
              <a:gd name="connsiteX18910" fmla="*/ 4940457 w 7714416"/>
              <a:gd name="connsiteY18910" fmla="*/ 920146 h 5282095"/>
              <a:gd name="connsiteX18911" fmla="*/ 4941201 w 7714416"/>
              <a:gd name="connsiteY18911" fmla="*/ 920691 h 5282095"/>
              <a:gd name="connsiteX18912" fmla="*/ 4943081 w 7714416"/>
              <a:gd name="connsiteY18912" fmla="*/ 921425 h 5282095"/>
              <a:gd name="connsiteX18913" fmla="*/ 4945316 w 7714416"/>
              <a:gd name="connsiteY18913" fmla="*/ 919723 h 5282095"/>
              <a:gd name="connsiteX18914" fmla="*/ 4952388 w 7714416"/>
              <a:gd name="connsiteY18914" fmla="*/ 919893 h 5282095"/>
              <a:gd name="connsiteX18915" fmla="*/ 4953415 w 7714416"/>
              <a:gd name="connsiteY18915" fmla="*/ 922699 h 5282095"/>
              <a:gd name="connsiteX18916" fmla="*/ 4945750 w 7714416"/>
              <a:gd name="connsiteY18916" fmla="*/ 923635 h 5282095"/>
              <a:gd name="connsiteX18917" fmla="*/ 4945434 w 7714416"/>
              <a:gd name="connsiteY18917" fmla="*/ 924815 h 5282095"/>
              <a:gd name="connsiteX18918" fmla="*/ 4948093 w 7714416"/>
              <a:gd name="connsiteY18918" fmla="*/ 928173 h 5282095"/>
              <a:gd name="connsiteX18919" fmla="*/ 4944521 w 7714416"/>
              <a:gd name="connsiteY18919" fmla="*/ 939291 h 5282095"/>
              <a:gd name="connsiteX18920" fmla="*/ 4930826 w 7714416"/>
              <a:gd name="connsiteY18920" fmla="*/ 938382 h 5282095"/>
              <a:gd name="connsiteX18921" fmla="*/ 4925741 w 7714416"/>
              <a:gd name="connsiteY18921" fmla="*/ 936329 h 5282095"/>
              <a:gd name="connsiteX18922" fmla="*/ 4918809 w 7714416"/>
              <a:gd name="connsiteY18922" fmla="*/ 930101 h 5282095"/>
              <a:gd name="connsiteX18923" fmla="*/ 4924588 w 7714416"/>
              <a:gd name="connsiteY18923" fmla="*/ 917389 h 5282095"/>
              <a:gd name="connsiteX18924" fmla="*/ 5579422 w 7714416"/>
              <a:gd name="connsiteY18924" fmla="*/ 917359 h 5282095"/>
              <a:gd name="connsiteX18925" fmla="*/ 5580777 w 7714416"/>
              <a:gd name="connsiteY18925" fmla="*/ 917837 h 5282095"/>
              <a:gd name="connsiteX18926" fmla="*/ 5581388 w 7714416"/>
              <a:gd name="connsiteY18926" fmla="*/ 917771 h 5282095"/>
              <a:gd name="connsiteX18927" fmla="*/ 5583752 w 7714416"/>
              <a:gd name="connsiteY18927" fmla="*/ 920014 h 5282095"/>
              <a:gd name="connsiteX18928" fmla="*/ 5584532 w 7714416"/>
              <a:gd name="connsiteY18928" fmla="*/ 922639 h 5282095"/>
              <a:gd name="connsiteX18929" fmla="*/ 5582393 w 7714416"/>
              <a:gd name="connsiteY18929" fmla="*/ 922870 h 5282095"/>
              <a:gd name="connsiteX18930" fmla="*/ 5577995 w 7714416"/>
              <a:gd name="connsiteY18930" fmla="*/ 921577 h 5282095"/>
              <a:gd name="connsiteX18931" fmla="*/ 5578570 w 7714416"/>
              <a:gd name="connsiteY18931" fmla="*/ 919431 h 5282095"/>
              <a:gd name="connsiteX18932" fmla="*/ 5577245 w 7714416"/>
              <a:gd name="connsiteY18932" fmla="*/ 918845 h 5282095"/>
              <a:gd name="connsiteX18933" fmla="*/ 5579422 w 7714416"/>
              <a:gd name="connsiteY18933" fmla="*/ 917359 h 5282095"/>
              <a:gd name="connsiteX18934" fmla="*/ 4549208 w 7714416"/>
              <a:gd name="connsiteY18934" fmla="*/ 911568 h 5282095"/>
              <a:gd name="connsiteX18935" fmla="*/ 4553553 w 7714416"/>
              <a:gd name="connsiteY18935" fmla="*/ 918597 h 5282095"/>
              <a:gd name="connsiteX18936" fmla="*/ 4549208 w 7714416"/>
              <a:gd name="connsiteY18936" fmla="*/ 911568 h 5282095"/>
              <a:gd name="connsiteX18937" fmla="*/ 1297030 w 7714416"/>
              <a:gd name="connsiteY18937" fmla="*/ 909332 h 5282095"/>
              <a:gd name="connsiteX18938" fmla="*/ 1319637 w 7714416"/>
              <a:gd name="connsiteY18938" fmla="*/ 938965 h 5282095"/>
              <a:gd name="connsiteX18939" fmla="*/ 1293721 w 7714416"/>
              <a:gd name="connsiteY18939" fmla="*/ 916150 h 5282095"/>
              <a:gd name="connsiteX18940" fmla="*/ 1297030 w 7714416"/>
              <a:gd name="connsiteY18940" fmla="*/ 909332 h 5282095"/>
              <a:gd name="connsiteX18941" fmla="*/ 2516381 w 7714416"/>
              <a:gd name="connsiteY18941" fmla="*/ 908762 h 5282095"/>
              <a:gd name="connsiteX18942" fmla="*/ 2517129 w 7714416"/>
              <a:gd name="connsiteY18942" fmla="*/ 914827 h 5282095"/>
              <a:gd name="connsiteX18943" fmla="*/ 2512037 w 7714416"/>
              <a:gd name="connsiteY18943" fmla="*/ 910588 h 5282095"/>
              <a:gd name="connsiteX18944" fmla="*/ 2516381 w 7714416"/>
              <a:gd name="connsiteY18944" fmla="*/ 908762 h 5282095"/>
              <a:gd name="connsiteX18945" fmla="*/ 2128521 w 7714416"/>
              <a:gd name="connsiteY18945" fmla="*/ 908567 h 5282095"/>
              <a:gd name="connsiteX18946" fmla="*/ 2136708 w 7714416"/>
              <a:gd name="connsiteY18946" fmla="*/ 911220 h 5282095"/>
              <a:gd name="connsiteX18947" fmla="*/ 2139456 w 7714416"/>
              <a:gd name="connsiteY18947" fmla="*/ 910921 h 5282095"/>
              <a:gd name="connsiteX18948" fmla="*/ 2145181 w 7714416"/>
              <a:gd name="connsiteY18948" fmla="*/ 912800 h 5282095"/>
              <a:gd name="connsiteX18949" fmla="*/ 2145752 w 7714416"/>
              <a:gd name="connsiteY18949" fmla="*/ 913988 h 5282095"/>
              <a:gd name="connsiteX18950" fmla="*/ 2154244 w 7714416"/>
              <a:gd name="connsiteY18950" fmla="*/ 916608 h 5282095"/>
              <a:gd name="connsiteX18951" fmla="*/ 2175933 w 7714416"/>
              <a:gd name="connsiteY18951" fmla="*/ 928631 h 5282095"/>
              <a:gd name="connsiteX18952" fmla="*/ 2163877 w 7714416"/>
              <a:gd name="connsiteY18952" fmla="*/ 930460 h 5282095"/>
              <a:gd name="connsiteX18953" fmla="*/ 2152982 w 7714416"/>
              <a:gd name="connsiteY18953" fmla="*/ 926851 h 5282095"/>
              <a:gd name="connsiteX18954" fmla="*/ 2144789 w 7714416"/>
              <a:gd name="connsiteY18954" fmla="*/ 922010 h 5282095"/>
              <a:gd name="connsiteX18955" fmla="*/ 2143844 w 7714416"/>
              <a:gd name="connsiteY18955" fmla="*/ 922218 h 5282095"/>
              <a:gd name="connsiteX18956" fmla="*/ 2129450 w 7714416"/>
              <a:gd name="connsiteY18956" fmla="*/ 921696 h 5282095"/>
              <a:gd name="connsiteX18957" fmla="*/ 2129067 w 7714416"/>
              <a:gd name="connsiteY18957" fmla="*/ 915382 h 5282095"/>
              <a:gd name="connsiteX18958" fmla="*/ 2132593 w 7714416"/>
              <a:gd name="connsiteY18958" fmla="*/ 912187 h 5282095"/>
              <a:gd name="connsiteX18959" fmla="*/ 2194492 w 7714416"/>
              <a:gd name="connsiteY18959" fmla="*/ 908072 h 5282095"/>
              <a:gd name="connsiteX18960" fmla="*/ 2202570 w 7714416"/>
              <a:gd name="connsiteY18960" fmla="*/ 913342 h 5282095"/>
              <a:gd name="connsiteX18961" fmla="*/ 2167104 w 7714416"/>
              <a:gd name="connsiteY18961" fmla="*/ 920630 h 5282095"/>
              <a:gd name="connsiteX18962" fmla="*/ 2157118 w 7714416"/>
              <a:gd name="connsiteY18962" fmla="*/ 914734 h 5282095"/>
              <a:gd name="connsiteX18963" fmla="*/ 2194492 w 7714416"/>
              <a:gd name="connsiteY18963" fmla="*/ 908072 h 5282095"/>
              <a:gd name="connsiteX18964" fmla="*/ 2393499 w 7714416"/>
              <a:gd name="connsiteY18964" fmla="*/ 908036 h 5282095"/>
              <a:gd name="connsiteX18965" fmla="*/ 2408337 w 7714416"/>
              <a:gd name="connsiteY18965" fmla="*/ 911321 h 5282095"/>
              <a:gd name="connsiteX18966" fmla="*/ 2416304 w 7714416"/>
              <a:gd name="connsiteY18966" fmla="*/ 913687 h 5282095"/>
              <a:gd name="connsiteX18967" fmla="*/ 2419268 w 7714416"/>
              <a:gd name="connsiteY18967" fmla="*/ 917011 h 5282095"/>
              <a:gd name="connsiteX18968" fmla="*/ 2418981 w 7714416"/>
              <a:gd name="connsiteY18968" fmla="*/ 918084 h 5282095"/>
              <a:gd name="connsiteX18969" fmla="*/ 2415154 w 7714416"/>
              <a:gd name="connsiteY18969" fmla="*/ 917978 h 5282095"/>
              <a:gd name="connsiteX18970" fmla="*/ 2399480 w 7714416"/>
              <a:gd name="connsiteY18970" fmla="*/ 912284 h 5282095"/>
              <a:gd name="connsiteX18971" fmla="*/ 2396216 w 7714416"/>
              <a:gd name="connsiteY18971" fmla="*/ 911178 h 5282095"/>
              <a:gd name="connsiteX18972" fmla="*/ 2393499 w 7714416"/>
              <a:gd name="connsiteY18972" fmla="*/ 908036 h 5282095"/>
              <a:gd name="connsiteX18973" fmla="*/ 2484571 w 7714416"/>
              <a:gd name="connsiteY18973" fmla="*/ 907943 h 5282095"/>
              <a:gd name="connsiteX18974" fmla="*/ 2495022 w 7714416"/>
              <a:gd name="connsiteY18974" fmla="*/ 908789 h 5282095"/>
              <a:gd name="connsiteX18975" fmla="*/ 2486961 w 7714416"/>
              <a:gd name="connsiteY18975" fmla="*/ 913414 h 5282095"/>
              <a:gd name="connsiteX18976" fmla="*/ 2484571 w 7714416"/>
              <a:gd name="connsiteY18976" fmla="*/ 907943 h 5282095"/>
              <a:gd name="connsiteX18977" fmla="*/ 876424 w 7714416"/>
              <a:gd name="connsiteY18977" fmla="*/ 907378 h 5282095"/>
              <a:gd name="connsiteX18978" fmla="*/ 883498 w 7714416"/>
              <a:gd name="connsiteY18978" fmla="*/ 916403 h 5282095"/>
              <a:gd name="connsiteX18979" fmla="*/ 873370 w 7714416"/>
              <a:gd name="connsiteY18979" fmla="*/ 916565 h 5282095"/>
              <a:gd name="connsiteX18980" fmla="*/ 868879 w 7714416"/>
              <a:gd name="connsiteY18980" fmla="*/ 913406 h 5282095"/>
              <a:gd name="connsiteX18981" fmla="*/ 870524 w 7714416"/>
              <a:gd name="connsiteY18981" fmla="*/ 909477 h 5282095"/>
              <a:gd name="connsiteX18982" fmla="*/ 876424 w 7714416"/>
              <a:gd name="connsiteY18982" fmla="*/ 907378 h 5282095"/>
              <a:gd name="connsiteX18983" fmla="*/ 1798405 w 7714416"/>
              <a:gd name="connsiteY18983" fmla="*/ 906478 h 5282095"/>
              <a:gd name="connsiteX18984" fmla="*/ 1803156 w 7714416"/>
              <a:gd name="connsiteY18984" fmla="*/ 926381 h 5282095"/>
              <a:gd name="connsiteX18985" fmla="*/ 1804306 w 7714416"/>
              <a:gd name="connsiteY18985" fmla="*/ 930944 h 5282095"/>
              <a:gd name="connsiteX18986" fmla="*/ 1808165 w 7714416"/>
              <a:gd name="connsiteY18986" fmla="*/ 927608 h 5282095"/>
              <a:gd name="connsiteX18987" fmla="*/ 1814666 w 7714416"/>
              <a:gd name="connsiteY18987" fmla="*/ 944301 h 5282095"/>
              <a:gd name="connsiteX18988" fmla="*/ 1808836 w 7714416"/>
              <a:gd name="connsiteY18988" fmla="*/ 941703 h 5282095"/>
              <a:gd name="connsiteX18989" fmla="*/ 1804621 w 7714416"/>
              <a:gd name="connsiteY18989" fmla="*/ 938619 h 5282095"/>
              <a:gd name="connsiteX18990" fmla="*/ 1802860 w 7714416"/>
              <a:gd name="connsiteY18990" fmla="*/ 942977 h 5282095"/>
              <a:gd name="connsiteX18991" fmla="*/ 1797513 w 7714416"/>
              <a:gd name="connsiteY18991" fmla="*/ 936369 h 5282095"/>
              <a:gd name="connsiteX18992" fmla="*/ 1796360 w 7714416"/>
              <a:gd name="connsiteY18992" fmla="*/ 935141 h 5282095"/>
              <a:gd name="connsiteX18993" fmla="*/ 1792142 w 7714416"/>
              <a:gd name="connsiteY18993" fmla="*/ 935390 h 5282095"/>
              <a:gd name="connsiteX18994" fmla="*/ 1784958 w 7714416"/>
              <a:gd name="connsiteY18994" fmla="*/ 932315 h 5282095"/>
              <a:gd name="connsiteX18995" fmla="*/ 1786893 w 7714416"/>
              <a:gd name="connsiteY18995" fmla="*/ 941690 h 5282095"/>
              <a:gd name="connsiteX18996" fmla="*/ 1779620 w 7714416"/>
              <a:gd name="connsiteY18996" fmla="*/ 959981 h 5282095"/>
              <a:gd name="connsiteX18997" fmla="*/ 1772302 w 7714416"/>
              <a:gd name="connsiteY18997" fmla="*/ 959629 h 5282095"/>
              <a:gd name="connsiteX18998" fmla="*/ 1761308 w 7714416"/>
              <a:gd name="connsiteY18998" fmla="*/ 948633 h 5282095"/>
              <a:gd name="connsiteX18999" fmla="*/ 1773091 w 7714416"/>
              <a:gd name="connsiteY18999" fmla="*/ 925686 h 5282095"/>
              <a:gd name="connsiteX19000" fmla="*/ 1773397 w 7714416"/>
              <a:gd name="connsiteY19000" fmla="*/ 925653 h 5282095"/>
              <a:gd name="connsiteX19001" fmla="*/ 1765807 w 7714416"/>
              <a:gd name="connsiteY19001" fmla="*/ 918559 h 5282095"/>
              <a:gd name="connsiteX19002" fmla="*/ 1774436 w 7714416"/>
              <a:gd name="connsiteY19002" fmla="*/ 909601 h 5282095"/>
              <a:gd name="connsiteX19003" fmla="*/ 1784465 w 7714416"/>
              <a:gd name="connsiteY19003" fmla="*/ 910908 h 5282095"/>
              <a:gd name="connsiteX19004" fmla="*/ 1784724 w 7714416"/>
              <a:gd name="connsiteY19004" fmla="*/ 909942 h 5282095"/>
              <a:gd name="connsiteX19005" fmla="*/ 1798405 w 7714416"/>
              <a:gd name="connsiteY19005" fmla="*/ 906478 h 5282095"/>
              <a:gd name="connsiteX19006" fmla="*/ 2340161 w 7714416"/>
              <a:gd name="connsiteY19006" fmla="*/ 904554 h 5282095"/>
              <a:gd name="connsiteX19007" fmla="*/ 2339988 w 7714416"/>
              <a:gd name="connsiteY19007" fmla="*/ 905198 h 5282095"/>
              <a:gd name="connsiteX19008" fmla="*/ 2341343 w 7714416"/>
              <a:gd name="connsiteY19008" fmla="*/ 905675 h 5282095"/>
              <a:gd name="connsiteX19009" fmla="*/ 821590 w 7714416"/>
              <a:gd name="connsiteY19009" fmla="*/ 902144 h 5282095"/>
              <a:gd name="connsiteX19010" fmla="*/ 824807 w 7714416"/>
              <a:gd name="connsiteY19010" fmla="*/ 909648 h 5282095"/>
              <a:gd name="connsiteX19011" fmla="*/ 819309 w 7714416"/>
              <a:gd name="connsiteY19011" fmla="*/ 910244 h 5282095"/>
              <a:gd name="connsiteX19012" fmla="*/ 809897 w 7714416"/>
              <a:gd name="connsiteY19012" fmla="*/ 902202 h 5282095"/>
              <a:gd name="connsiteX19013" fmla="*/ 821590 w 7714416"/>
              <a:gd name="connsiteY19013" fmla="*/ 902144 h 5282095"/>
              <a:gd name="connsiteX19014" fmla="*/ 2083070 w 7714416"/>
              <a:gd name="connsiteY19014" fmla="*/ 901103 h 5282095"/>
              <a:gd name="connsiteX19015" fmla="*/ 2085520 w 7714416"/>
              <a:gd name="connsiteY19015" fmla="*/ 903024 h 5282095"/>
              <a:gd name="connsiteX19016" fmla="*/ 2085578 w 7714416"/>
              <a:gd name="connsiteY19016" fmla="*/ 902810 h 5282095"/>
              <a:gd name="connsiteX19017" fmla="*/ 2091162 w 7714416"/>
              <a:gd name="connsiteY19017" fmla="*/ 901891 h 5282095"/>
              <a:gd name="connsiteX19018" fmla="*/ 2101465 w 7714416"/>
              <a:gd name="connsiteY19018" fmla="*/ 915461 h 5282095"/>
              <a:gd name="connsiteX19019" fmla="*/ 2093437 w 7714416"/>
              <a:gd name="connsiteY19019" fmla="*/ 916646 h 5282095"/>
              <a:gd name="connsiteX19020" fmla="*/ 2090594 w 7714416"/>
              <a:gd name="connsiteY19020" fmla="*/ 915079 h 5282095"/>
              <a:gd name="connsiteX19021" fmla="*/ 2089419 w 7714416"/>
              <a:gd name="connsiteY19021" fmla="*/ 916145 h 5282095"/>
              <a:gd name="connsiteX19022" fmla="*/ 2084180 w 7714416"/>
              <a:gd name="connsiteY19022" fmla="*/ 915776 h 5282095"/>
              <a:gd name="connsiteX19023" fmla="*/ 2084675 w 7714416"/>
              <a:gd name="connsiteY19023" fmla="*/ 916138 h 5282095"/>
              <a:gd name="connsiteX19024" fmla="*/ 2083281 w 7714416"/>
              <a:gd name="connsiteY19024" fmla="*/ 925770 h 5282095"/>
              <a:gd name="connsiteX19025" fmla="*/ 2063308 w 7714416"/>
              <a:gd name="connsiteY19025" fmla="*/ 922834 h 5282095"/>
              <a:gd name="connsiteX19026" fmla="*/ 2057842 w 7714416"/>
              <a:gd name="connsiteY19026" fmla="*/ 919988 h 5282095"/>
              <a:gd name="connsiteX19027" fmla="*/ 2069554 w 7714416"/>
              <a:gd name="connsiteY19027" fmla="*/ 910591 h 5282095"/>
              <a:gd name="connsiteX19028" fmla="*/ 2075290 w 7714416"/>
              <a:gd name="connsiteY19028" fmla="*/ 911323 h 5282095"/>
              <a:gd name="connsiteX19029" fmla="*/ 2070140 w 7714416"/>
              <a:gd name="connsiteY19029" fmla="*/ 907298 h 5282095"/>
              <a:gd name="connsiteX19030" fmla="*/ 2068199 w 7714416"/>
              <a:gd name="connsiteY19030" fmla="*/ 901258 h 5282095"/>
              <a:gd name="connsiteX19031" fmla="*/ 2083070 w 7714416"/>
              <a:gd name="connsiteY19031" fmla="*/ 901103 h 5282095"/>
              <a:gd name="connsiteX19032" fmla="*/ 4685684 w 7714416"/>
              <a:gd name="connsiteY19032" fmla="*/ 900297 h 5282095"/>
              <a:gd name="connsiteX19033" fmla="*/ 4689824 w 7714416"/>
              <a:gd name="connsiteY19033" fmla="*/ 902555 h 5282095"/>
              <a:gd name="connsiteX19034" fmla="*/ 4684724 w 7714416"/>
              <a:gd name="connsiteY19034" fmla="*/ 913839 h 5282095"/>
              <a:gd name="connsiteX19035" fmla="*/ 4677861 w 7714416"/>
              <a:gd name="connsiteY19035" fmla="*/ 906249 h 5282095"/>
              <a:gd name="connsiteX19036" fmla="*/ 4685684 w 7714416"/>
              <a:gd name="connsiteY19036" fmla="*/ 900297 h 5282095"/>
              <a:gd name="connsiteX19037" fmla="*/ 1301145 w 7714416"/>
              <a:gd name="connsiteY19037" fmla="*/ 899509 h 5282095"/>
              <a:gd name="connsiteX19038" fmla="*/ 1300273 w 7714416"/>
              <a:gd name="connsiteY19038" fmla="*/ 903876 h 5282095"/>
              <a:gd name="connsiteX19039" fmla="*/ 1299241 w 7714416"/>
              <a:gd name="connsiteY19039" fmla="*/ 904405 h 5282095"/>
              <a:gd name="connsiteX19040" fmla="*/ 1298640 w 7714416"/>
              <a:gd name="connsiteY19040" fmla="*/ 903323 h 5282095"/>
              <a:gd name="connsiteX19041" fmla="*/ 1301145 w 7714416"/>
              <a:gd name="connsiteY19041" fmla="*/ 899509 h 5282095"/>
              <a:gd name="connsiteX19042" fmla="*/ 4760599 w 7714416"/>
              <a:gd name="connsiteY19042" fmla="*/ 898519 h 5282095"/>
              <a:gd name="connsiteX19043" fmla="*/ 4745348 w 7714416"/>
              <a:gd name="connsiteY19043" fmla="*/ 906738 h 5282095"/>
              <a:gd name="connsiteX19044" fmla="*/ 4725123 w 7714416"/>
              <a:gd name="connsiteY19044" fmla="*/ 906954 h 5282095"/>
              <a:gd name="connsiteX19045" fmla="*/ 4760599 w 7714416"/>
              <a:gd name="connsiteY19045" fmla="*/ 898519 h 5282095"/>
              <a:gd name="connsiteX19046" fmla="*/ 2376646 w 7714416"/>
              <a:gd name="connsiteY19046" fmla="*/ 897885 h 5282095"/>
              <a:gd name="connsiteX19047" fmla="*/ 2370605 w 7714416"/>
              <a:gd name="connsiteY19047" fmla="*/ 906042 h 5282095"/>
              <a:gd name="connsiteX19048" fmla="*/ 2366099 w 7714416"/>
              <a:gd name="connsiteY19048" fmla="*/ 898510 h 5282095"/>
              <a:gd name="connsiteX19049" fmla="*/ 2376646 w 7714416"/>
              <a:gd name="connsiteY19049" fmla="*/ 897885 h 5282095"/>
              <a:gd name="connsiteX19050" fmla="*/ 2533325 w 7714416"/>
              <a:gd name="connsiteY19050" fmla="*/ 897546 h 5282095"/>
              <a:gd name="connsiteX19051" fmla="*/ 2541856 w 7714416"/>
              <a:gd name="connsiteY19051" fmla="*/ 898913 h 5282095"/>
              <a:gd name="connsiteX19052" fmla="*/ 2542885 w 7714416"/>
              <a:gd name="connsiteY19052" fmla="*/ 901718 h 5282095"/>
              <a:gd name="connsiteX19053" fmla="*/ 2540580 w 7714416"/>
              <a:gd name="connsiteY19053" fmla="*/ 904781 h 5282095"/>
              <a:gd name="connsiteX19054" fmla="*/ 2533710 w 7714416"/>
              <a:gd name="connsiteY19054" fmla="*/ 903860 h 5282095"/>
              <a:gd name="connsiteX19055" fmla="*/ 2532377 w 7714416"/>
              <a:gd name="connsiteY19055" fmla="*/ 901087 h 5282095"/>
              <a:gd name="connsiteX19056" fmla="*/ 2533325 w 7714416"/>
              <a:gd name="connsiteY19056" fmla="*/ 897546 h 5282095"/>
              <a:gd name="connsiteX19057" fmla="*/ 4779843 w 7714416"/>
              <a:gd name="connsiteY19057" fmla="*/ 896431 h 5282095"/>
              <a:gd name="connsiteX19058" fmla="*/ 4780278 w 7714416"/>
              <a:gd name="connsiteY19058" fmla="*/ 900342 h 5282095"/>
              <a:gd name="connsiteX19059" fmla="*/ 4776439 w 7714416"/>
              <a:gd name="connsiteY19059" fmla="*/ 901384 h 5282095"/>
              <a:gd name="connsiteX19060" fmla="*/ 4773928 w 7714416"/>
              <a:gd name="connsiteY19060" fmla="*/ 903010 h 5282095"/>
              <a:gd name="connsiteX19061" fmla="*/ 4771265 w 7714416"/>
              <a:gd name="connsiteY19061" fmla="*/ 902987 h 5282095"/>
              <a:gd name="connsiteX19062" fmla="*/ 4769062 w 7714416"/>
              <a:gd name="connsiteY19062" fmla="*/ 901247 h 5282095"/>
              <a:gd name="connsiteX19063" fmla="*/ 4771574 w 7714416"/>
              <a:gd name="connsiteY19063" fmla="*/ 899619 h 5282095"/>
              <a:gd name="connsiteX19064" fmla="*/ 4779843 w 7714416"/>
              <a:gd name="connsiteY19064" fmla="*/ 896431 h 5282095"/>
              <a:gd name="connsiteX19065" fmla="*/ 2164202 w 7714416"/>
              <a:gd name="connsiteY19065" fmla="*/ 894939 h 5282095"/>
              <a:gd name="connsiteX19066" fmla="*/ 2180024 w 7714416"/>
              <a:gd name="connsiteY19066" fmla="*/ 897871 h 5282095"/>
              <a:gd name="connsiteX19067" fmla="*/ 2184585 w 7714416"/>
              <a:gd name="connsiteY19067" fmla="*/ 908523 h 5282095"/>
              <a:gd name="connsiteX19068" fmla="*/ 2165771 w 7714416"/>
              <a:gd name="connsiteY19068" fmla="*/ 909003 h 5282095"/>
              <a:gd name="connsiteX19069" fmla="*/ 2159494 w 7714416"/>
              <a:gd name="connsiteY19069" fmla="*/ 906975 h 5282095"/>
              <a:gd name="connsiteX19070" fmla="*/ 2164202 w 7714416"/>
              <a:gd name="connsiteY19070" fmla="*/ 894939 h 5282095"/>
              <a:gd name="connsiteX19071" fmla="*/ 5018815 w 7714416"/>
              <a:gd name="connsiteY19071" fmla="*/ 894452 h 5282095"/>
              <a:gd name="connsiteX19072" fmla="*/ 5042522 w 7714416"/>
              <a:gd name="connsiteY19072" fmla="*/ 895630 h 5282095"/>
              <a:gd name="connsiteX19073" fmla="*/ 5031752 w 7714416"/>
              <a:gd name="connsiteY19073" fmla="*/ 908154 h 5282095"/>
              <a:gd name="connsiteX19074" fmla="*/ 5018815 w 7714416"/>
              <a:gd name="connsiteY19074" fmla="*/ 894452 h 5282095"/>
              <a:gd name="connsiteX19075" fmla="*/ 4494975 w 7714416"/>
              <a:gd name="connsiteY19075" fmla="*/ 893155 h 5282095"/>
              <a:gd name="connsiteX19076" fmla="*/ 4505474 w 7714416"/>
              <a:gd name="connsiteY19076" fmla="*/ 895480 h 5282095"/>
              <a:gd name="connsiteX19077" fmla="*/ 4498797 w 7714416"/>
              <a:gd name="connsiteY19077" fmla="*/ 909330 h 5282095"/>
              <a:gd name="connsiteX19078" fmla="*/ 4489547 w 7714416"/>
              <a:gd name="connsiteY19078" fmla="*/ 910647 h 5282095"/>
              <a:gd name="connsiteX19079" fmla="*/ 4484962 w 7714416"/>
              <a:gd name="connsiteY19079" fmla="*/ 905623 h 5282095"/>
              <a:gd name="connsiteX19080" fmla="*/ 4488707 w 7714416"/>
              <a:gd name="connsiteY19080" fmla="*/ 902717 h 5282095"/>
              <a:gd name="connsiteX19081" fmla="*/ 4487895 w 7714416"/>
              <a:gd name="connsiteY19081" fmla="*/ 894679 h 5282095"/>
              <a:gd name="connsiteX19082" fmla="*/ 4494975 w 7714416"/>
              <a:gd name="connsiteY19082" fmla="*/ 893155 h 5282095"/>
              <a:gd name="connsiteX19083" fmla="*/ 5968217 w 7714416"/>
              <a:gd name="connsiteY19083" fmla="*/ 891929 h 5282095"/>
              <a:gd name="connsiteX19084" fmla="*/ 5973978 w 7714416"/>
              <a:gd name="connsiteY19084" fmla="*/ 895888 h 5282095"/>
              <a:gd name="connsiteX19085" fmla="*/ 5977165 w 7714416"/>
              <a:gd name="connsiteY19085" fmla="*/ 905023 h 5282095"/>
              <a:gd name="connsiteX19086" fmla="*/ 5956135 w 7714416"/>
              <a:gd name="connsiteY19086" fmla="*/ 908242 h 5282095"/>
              <a:gd name="connsiteX19087" fmla="*/ 5949811 w 7714416"/>
              <a:gd name="connsiteY19087" fmla="*/ 905283 h 5282095"/>
              <a:gd name="connsiteX19088" fmla="*/ 5948657 w 7714416"/>
              <a:gd name="connsiteY19088" fmla="*/ 895199 h 5282095"/>
              <a:gd name="connsiteX19089" fmla="*/ 5968217 w 7714416"/>
              <a:gd name="connsiteY19089" fmla="*/ 891929 h 5282095"/>
              <a:gd name="connsiteX19090" fmla="*/ 2298788 w 7714416"/>
              <a:gd name="connsiteY19090" fmla="*/ 891413 h 5282095"/>
              <a:gd name="connsiteX19091" fmla="*/ 2299995 w 7714416"/>
              <a:gd name="connsiteY19091" fmla="*/ 898392 h 5282095"/>
              <a:gd name="connsiteX19092" fmla="*/ 2288367 w 7714416"/>
              <a:gd name="connsiteY19092" fmla="*/ 893092 h 5282095"/>
              <a:gd name="connsiteX19093" fmla="*/ 2298788 w 7714416"/>
              <a:gd name="connsiteY19093" fmla="*/ 891413 h 5282095"/>
              <a:gd name="connsiteX19094" fmla="*/ 5066196 w 7714416"/>
              <a:gd name="connsiteY19094" fmla="*/ 891393 h 5282095"/>
              <a:gd name="connsiteX19095" fmla="*/ 5097018 w 7714416"/>
              <a:gd name="connsiteY19095" fmla="*/ 914716 h 5282095"/>
              <a:gd name="connsiteX19096" fmla="*/ 5088782 w 7714416"/>
              <a:gd name="connsiteY19096" fmla="*/ 923320 h 5282095"/>
              <a:gd name="connsiteX19097" fmla="*/ 5089115 w 7714416"/>
              <a:gd name="connsiteY19097" fmla="*/ 923179 h 5282095"/>
              <a:gd name="connsiteX19098" fmla="*/ 5126143 w 7714416"/>
              <a:gd name="connsiteY19098" fmla="*/ 935516 h 5282095"/>
              <a:gd name="connsiteX19099" fmla="*/ 5125464 w 7714416"/>
              <a:gd name="connsiteY19099" fmla="*/ 936944 h 5282095"/>
              <a:gd name="connsiteX19100" fmla="*/ 5129030 w 7714416"/>
              <a:gd name="connsiteY19100" fmla="*/ 932494 h 5282095"/>
              <a:gd name="connsiteX19101" fmla="*/ 5137158 w 7714416"/>
              <a:gd name="connsiteY19101" fmla="*/ 935362 h 5282095"/>
              <a:gd name="connsiteX19102" fmla="*/ 5139217 w 7714416"/>
              <a:gd name="connsiteY19102" fmla="*/ 937639 h 5282095"/>
              <a:gd name="connsiteX19103" fmla="*/ 5140605 w 7714416"/>
              <a:gd name="connsiteY19103" fmla="*/ 934675 h 5282095"/>
              <a:gd name="connsiteX19104" fmla="*/ 5142788 w 7714416"/>
              <a:gd name="connsiteY19104" fmla="*/ 935376 h 5282095"/>
              <a:gd name="connsiteX19105" fmla="*/ 5144712 w 7714416"/>
              <a:gd name="connsiteY19105" fmla="*/ 931522 h 5282095"/>
              <a:gd name="connsiteX19106" fmla="*/ 5159345 w 7714416"/>
              <a:gd name="connsiteY19106" fmla="*/ 930036 h 5282095"/>
              <a:gd name="connsiteX19107" fmla="*/ 5165317 w 7714416"/>
              <a:gd name="connsiteY19107" fmla="*/ 932096 h 5282095"/>
              <a:gd name="connsiteX19108" fmla="*/ 5155747 w 7714416"/>
              <a:gd name="connsiteY19108" fmla="*/ 955638 h 5282095"/>
              <a:gd name="connsiteX19109" fmla="*/ 5150518 w 7714416"/>
              <a:gd name="connsiteY19109" fmla="*/ 954122 h 5282095"/>
              <a:gd name="connsiteX19110" fmla="*/ 5143680 w 7714416"/>
              <a:gd name="connsiteY19110" fmla="*/ 949760 h 5282095"/>
              <a:gd name="connsiteX19111" fmla="*/ 5147330 w 7714416"/>
              <a:gd name="connsiteY19111" fmla="*/ 944988 h 5282095"/>
              <a:gd name="connsiteX19112" fmla="*/ 5147008 w 7714416"/>
              <a:gd name="connsiteY19112" fmla="*/ 943981 h 5282095"/>
              <a:gd name="connsiteX19113" fmla="*/ 5142857 w 7714416"/>
              <a:gd name="connsiteY19113" fmla="*/ 942869 h 5282095"/>
              <a:gd name="connsiteX19114" fmla="*/ 5143834 w 7714416"/>
              <a:gd name="connsiteY19114" fmla="*/ 948077 h 5282095"/>
              <a:gd name="connsiteX19115" fmla="*/ 5141261 w 7714416"/>
              <a:gd name="connsiteY19115" fmla="*/ 953251 h 5282095"/>
              <a:gd name="connsiteX19116" fmla="*/ 5129471 w 7714416"/>
              <a:gd name="connsiteY19116" fmla="*/ 947448 h 5282095"/>
              <a:gd name="connsiteX19117" fmla="*/ 5125378 w 7714416"/>
              <a:gd name="connsiteY19117" fmla="*/ 937265 h 5282095"/>
              <a:gd name="connsiteX19118" fmla="*/ 5121130 w 7714416"/>
              <a:gd name="connsiteY19118" fmla="*/ 946478 h 5282095"/>
              <a:gd name="connsiteX19119" fmla="*/ 5087095 w 7714416"/>
              <a:gd name="connsiteY19119" fmla="*/ 955068 h 5282095"/>
              <a:gd name="connsiteX19120" fmla="*/ 5075833 w 7714416"/>
              <a:gd name="connsiteY19120" fmla="*/ 946185 h 5282095"/>
              <a:gd name="connsiteX19121" fmla="*/ 5074446 w 7714416"/>
              <a:gd name="connsiteY19121" fmla="*/ 940293 h 5282095"/>
              <a:gd name="connsiteX19122" fmla="*/ 5071989 w 7714416"/>
              <a:gd name="connsiteY19122" fmla="*/ 936184 h 5282095"/>
              <a:gd name="connsiteX19123" fmla="*/ 5072255 w 7714416"/>
              <a:gd name="connsiteY19123" fmla="*/ 937406 h 5282095"/>
              <a:gd name="connsiteX19124" fmla="*/ 5067105 w 7714416"/>
              <a:gd name="connsiteY19124" fmla="*/ 942237 h 5282095"/>
              <a:gd name="connsiteX19125" fmla="*/ 5068812 w 7714416"/>
              <a:gd name="connsiteY19125" fmla="*/ 943614 h 5282095"/>
              <a:gd name="connsiteX19126" fmla="*/ 5065567 w 7714416"/>
              <a:gd name="connsiteY19126" fmla="*/ 943549 h 5282095"/>
              <a:gd name="connsiteX19127" fmla="*/ 5062462 w 7714416"/>
              <a:gd name="connsiteY19127" fmla="*/ 946283 h 5282095"/>
              <a:gd name="connsiteX19128" fmla="*/ 5052407 w 7714416"/>
              <a:gd name="connsiteY19128" fmla="*/ 950603 h 5282095"/>
              <a:gd name="connsiteX19129" fmla="*/ 5053079 w 7714416"/>
              <a:gd name="connsiteY19129" fmla="*/ 946988 h 5282095"/>
              <a:gd name="connsiteX19130" fmla="*/ 5054617 w 7714416"/>
              <a:gd name="connsiteY19130" fmla="*/ 945676 h 5282095"/>
              <a:gd name="connsiteX19131" fmla="*/ 5054323 w 7714416"/>
              <a:gd name="connsiteY19131" fmla="*/ 944561 h 5282095"/>
              <a:gd name="connsiteX19132" fmla="*/ 5055850 w 7714416"/>
              <a:gd name="connsiteY19132" fmla="*/ 944396 h 5282095"/>
              <a:gd name="connsiteX19133" fmla="*/ 5056241 w 7714416"/>
              <a:gd name="connsiteY19133" fmla="*/ 944040 h 5282095"/>
              <a:gd name="connsiteX19134" fmla="*/ 5057111 w 7714416"/>
              <a:gd name="connsiteY19134" fmla="*/ 943009 h 5282095"/>
              <a:gd name="connsiteX19135" fmla="*/ 5049572 w 7714416"/>
              <a:gd name="connsiteY19135" fmla="*/ 942368 h 5282095"/>
              <a:gd name="connsiteX19136" fmla="*/ 5031381 w 7714416"/>
              <a:gd name="connsiteY19136" fmla="*/ 932779 h 5282095"/>
              <a:gd name="connsiteX19137" fmla="*/ 5052195 w 7714416"/>
              <a:gd name="connsiteY19137" fmla="*/ 934791 h 5282095"/>
              <a:gd name="connsiteX19138" fmla="*/ 5060208 w 7714416"/>
              <a:gd name="connsiteY19138" fmla="*/ 938089 h 5282095"/>
              <a:gd name="connsiteX19139" fmla="*/ 5060630 w 7714416"/>
              <a:gd name="connsiteY19139" fmla="*/ 937627 h 5282095"/>
              <a:gd name="connsiteX19140" fmla="*/ 5061492 w 7714416"/>
              <a:gd name="connsiteY19140" fmla="*/ 934407 h 5282095"/>
              <a:gd name="connsiteX19141" fmla="*/ 5070059 w 7714416"/>
              <a:gd name="connsiteY19141" fmla="*/ 928998 h 5282095"/>
              <a:gd name="connsiteX19142" fmla="*/ 5073922 w 7714416"/>
              <a:gd name="connsiteY19142" fmla="*/ 931183 h 5282095"/>
              <a:gd name="connsiteX19143" fmla="*/ 5076693 w 7714416"/>
              <a:gd name="connsiteY19143" fmla="*/ 928590 h 5282095"/>
              <a:gd name="connsiteX19144" fmla="*/ 5077505 w 7714416"/>
              <a:gd name="connsiteY19144" fmla="*/ 927773 h 5282095"/>
              <a:gd name="connsiteX19145" fmla="*/ 5068047 w 7714416"/>
              <a:gd name="connsiteY19145" fmla="*/ 927653 h 5282095"/>
              <a:gd name="connsiteX19146" fmla="*/ 5064144 w 7714416"/>
              <a:gd name="connsiteY19146" fmla="*/ 926723 h 5282095"/>
              <a:gd name="connsiteX19147" fmla="*/ 5062930 w 7714416"/>
              <a:gd name="connsiteY19147" fmla="*/ 929042 h 5282095"/>
              <a:gd name="connsiteX19148" fmla="*/ 5058614 w 7714416"/>
              <a:gd name="connsiteY19148" fmla="*/ 930762 h 5282095"/>
              <a:gd name="connsiteX19149" fmla="*/ 5040955 w 7714416"/>
              <a:gd name="connsiteY19149" fmla="*/ 914759 h 5282095"/>
              <a:gd name="connsiteX19150" fmla="*/ 5042989 w 7714416"/>
              <a:gd name="connsiteY19150" fmla="*/ 913809 h 5282095"/>
              <a:gd name="connsiteX19151" fmla="*/ 5035672 w 7714416"/>
              <a:gd name="connsiteY19151" fmla="*/ 901269 h 5282095"/>
              <a:gd name="connsiteX19152" fmla="*/ 5066196 w 7714416"/>
              <a:gd name="connsiteY19152" fmla="*/ 891393 h 5282095"/>
              <a:gd name="connsiteX19153" fmla="*/ 4535535 w 7714416"/>
              <a:gd name="connsiteY19153" fmla="*/ 890654 h 5282095"/>
              <a:gd name="connsiteX19154" fmla="*/ 4534596 w 7714416"/>
              <a:gd name="connsiteY19154" fmla="*/ 893048 h 5282095"/>
              <a:gd name="connsiteX19155" fmla="*/ 4533669 w 7714416"/>
              <a:gd name="connsiteY19155" fmla="*/ 894294 h 5282095"/>
              <a:gd name="connsiteX19156" fmla="*/ 4532537 w 7714416"/>
              <a:gd name="connsiteY19156" fmla="*/ 890771 h 5282095"/>
              <a:gd name="connsiteX19157" fmla="*/ 4535535 w 7714416"/>
              <a:gd name="connsiteY19157" fmla="*/ 890654 h 5282095"/>
              <a:gd name="connsiteX19158" fmla="*/ 2154050 w 7714416"/>
              <a:gd name="connsiteY19158" fmla="*/ 889933 h 5282095"/>
              <a:gd name="connsiteX19159" fmla="*/ 2163098 w 7714416"/>
              <a:gd name="connsiteY19159" fmla="*/ 892416 h 5282095"/>
              <a:gd name="connsiteX19160" fmla="*/ 2150917 w 7714416"/>
              <a:gd name="connsiteY19160" fmla="*/ 895822 h 5282095"/>
              <a:gd name="connsiteX19161" fmla="*/ 2147186 w 7714416"/>
              <a:gd name="connsiteY19161" fmla="*/ 894247 h 5282095"/>
              <a:gd name="connsiteX19162" fmla="*/ 2154050 w 7714416"/>
              <a:gd name="connsiteY19162" fmla="*/ 889933 h 5282095"/>
              <a:gd name="connsiteX19163" fmla="*/ 4516791 w 7714416"/>
              <a:gd name="connsiteY19163" fmla="*/ 889771 h 5282095"/>
              <a:gd name="connsiteX19164" fmla="*/ 4517200 w 7714416"/>
              <a:gd name="connsiteY19164" fmla="*/ 890456 h 5282095"/>
              <a:gd name="connsiteX19165" fmla="*/ 4516007 w 7714416"/>
              <a:gd name="connsiteY19165" fmla="*/ 890481 h 5282095"/>
              <a:gd name="connsiteX19166" fmla="*/ 2208542 w 7714416"/>
              <a:gd name="connsiteY19166" fmla="*/ 888837 h 5282095"/>
              <a:gd name="connsiteX19167" fmla="*/ 2206315 w 7714416"/>
              <a:gd name="connsiteY19167" fmla="*/ 892725 h 5282095"/>
              <a:gd name="connsiteX19168" fmla="*/ 2204273 w 7714416"/>
              <a:gd name="connsiteY19168" fmla="*/ 891488 h 5282095"/>
              <a:gd name="connsiteX19169" fmla="*/ 2204539 w 7714416"/>
              <a:gd name="connsiteY19169" fmla="*/ 892709 h 5282095"/>
              <a:gd name="connsiteX19170" fmla="*/ 2203501 w 7714416"/>
              <a:gd name="connsiteY19170" fmla="*/ 891052 h 5282095"/>
              <a:gd name="connsiteX19171" fmla="*/ 2203978 w 7714416"/>
              <a:gd name="connsiteY19171" fmla="*/ 890375 h 5282095"/>
              <a:gd name="connsiteX19172" fmla="*/ 2208542 w 7714416"/>
              <a:gd name="connsiteY19172" fmla="*/ 888837 h 5282095"/>
              <a:gd name="connsiteX19173" fmla="*/ 2519186 w 7714416"/>
              <a:gd name="connsiteY19173" fmla="*/ 888611 h 5282095"/>
              <a:gd name="connsiteX19174" fmla="*/ 2527241 w 7714416"/>
              <a:gd name="connsiteY19174" fmla="*/ 892581 h 5282095"/>
              <a:gd name="connsiteX19175" fmla="*/ 2528252 w 7714416"/>
              <a:gd name="connsiteY19175" fmla="*/ 894347 h 5282095"/>
              <a:gd name="connsiteX19176" fmla="*/ 2531604 w 7714416"/>
              <a:gd name="connsiteY19176" fmla="*/ 909505 h 5282095"/>
              <a:gd name="connsiteX19177" fmla="*/ 2524342 w 7714416"/>
              <a:gd name="connsiteY19177" fmla="*/ 908939 h 5282095"/>
              <a:gd name="connsiteX19178" fmla="*/ 2517646 w 7714416"/>
              <a:gd name="connsiteY19178" fmla="*/ 904040 h 5282095"/>
              <a:gd name="connsiteX19179" fmla="*/ 2511782 w 7714416"/>
              <a:gd name="connsiteY19179" fmla="*/ 890509 h 5282095"/>
              <a:gd name="connsiteX19180" fmla="*/ 2519186 w 7714416"/>
              <a:gd name="connsiteY19180" fmla="*/ 888611 h 5282095"/>
              <a:gd name="connsiteX19181" fmla="*/ 2482847 w 7714416"/>
              <a:gd name="connsiteY19181" fmla="*/ 887816 h 5282095"/>
              <a:gd name="connsiteX19182" fmla="*/ 2488190 w 7714416"/>
              <a:gd name="connsiteY19182" fmla="*/ 888903 h 5282095"/>
              <a:gd name="connsiteX19183" fmla="*/ 2489171 w 7714416"/>
              <a:gd name="connsiteY19183" fmla="*/ 890776 h 5282095"/>
              <a:gd name="connsiteX19184" fmla="*/ 2489006 w 7714416"/>
              <a:gd name="connsiteY19184" fmla="*/ 893606 h 5282095"/>
              <a:gd name="connsiteX19185" fmla="*/ 2484759 w 7714416"/>
              <a:gd name="connsiteY19185" fmla="*/ 893963 h 5282095"/>
              <a:gd name="connsiteX19186" fmla="*/ 2480389 w 7714416"/>
              <a:gd name="connsiteY19186" fmla="*/ 892562 h 5282095"/>
              <a:gd name="connsiteX19187" fmla="*/ 2477910 w 7714416"/>
              <a:gd name="connsiteY19187" fmla="*/ 890748 h 5282095"/>
              <a:gd name="connsiteX19188" fmla="*/ 2478092 w 7714416"/>
              <a:gd name="connsiteY19188" fmla="*/ 888957 h 5282095"/>
              <a:gd name="connsiteX19189" fmla="*/ 2482847 w 7714416"/>
              <a:gd name="connsiteY19189" fmla="*/ 887816 h 5282095"/>
              <a:gd name="connsiteX19190" fmla="*/ 1333229 w 7714416"/>
              <a:gd name="connsiteY19190" fmla="*/ 886026 h 5282095"/>
              <a:gd name="connsiteX19191" fmla="*/ 1334576 w 7714416"/>
              <a:gd name="connsiteY19191" fmla="*/ 893172 h 5282095"/>
              <a:gd name="connsiteX19192" fmla="*/ 1330332 w 7714416"/>
              <a:gd name="connsiteY19192" fmla="*/ 899050 h 5282095"/>
              <a:gd name="connsiteX19193" fmla="*/ 1343751 w 7714416"/>
              <a:gd name="connsiteY19193" fmla="*/ 899886 h 5282095"/>
              <a:gd name="connsiteX19194" fmla="*/ 1359310 w 7714416"/>
              <a:gd name="connsiteY19194" fmla="*/ 906010 h 5282095"/>
              <a:gd name="connsiteX19195" fmla="*/ 1376049 w 7714416"/>
              <a:gd name="connsiteY19195" fmla="*/ 943155 h 5282095"/>
              <a:gd name="connsiteX19196" fmla="*/ 1371762 w 7714416"/>
              <a:gd name="connsiteY19196" fmla="*/ 944767 h 5282095"/>
              <a:gd name="connsiteX19197" fmla="*/ 1354613 w 7714416"/>
              <a:gd name="connsiteY19197" fmla="*/ 942357 h 5282095"/>
              <a:gd name="connsiteX19198" fmla="*/ 1322291 w 7714416"/>
              <a:gd name="connsiteY19198" fmla="*/ 913571 h 5282095"/>
              <a:gd name="connsiteX19199" fmla="*/ 1322003 w 7714416"/>
              <a:gd name="connsiteY19199" fmla="*/ 905788 h 5282095"/>
              <a:gd name="connsiteX19200" fmla="*/ 1324978 w 7714416"/>
              <a:gd name="connsiteY19200" fmla="*/ 899110 h 5282095"/>
              <a:gd name="connsiteX19201" fmla="*/ 1322793 w 7714416"/>
              <a:gd name="connsiteY19201" fmla="*/ 898410 h 5282095"/>
              <a:gd name="connsiteX19202" fmla="*/ 1321125 w 7714416"/>
              <a:gd name="connsiteY19202" fmla="*/ 886923 h 5282095"/>
              <a:gd name="connsiteX19203" fmla="*/ 1333229 w 7714416"/>
              <a:gd name="connsiteY19203" fmla="*/ 886026 h 5282095"/>
              <a:gd name="connsiteX19204" fmla="*/ 4974349 w 7714416"/>
              <a:gd name="connsiteY19204" fmla="*/ 885527 h 5282095"/>
              <a:gd name="connsiteX19205" fmla="*/ 4949750 w 7714416"/>
              <a:gd name="connsiteY19205" fmla="*/ 914242 h 5282095"/>
              <a:gd name="connsiteX19206" fmla="*/ 4949074 w 7714416"/>
              <a:gd name="connsiteY19206" fmla="*/ 912335 h 5282095"/>
              <a:gd name="connsiteX19207" fmla="*/ 4943641 w 7714416"/>
              <a:gd name="connsiteY19207" fmla="*/ 914904 h 5282095"/>
              <a:gd name="connsiteX19208" fmla="*/ 4938380 w 7714416"/>
              <a:gd name="connsiteY19208" fmla="*/ 907975 h 5282095"/>
              <a:gd name="connsiteX19209" fmla="*/ 4944453 w 7714416"/>
              <a:gd name="connsiteY19209" fmla="*/ 905232 h 5282095"/>
              <a:gd name="connsiteX19210" fmla="*/ 4947209 w 7714416"/>
              <a:gd name="connsiteY19210" fmla="*/ 907121 h 5282095"/>
              <a:gd name="connsiteX19211" fmla="*/ 4946344 w 7714416"/>
              <a:gd name="connsiteY19211" fmla="*/ 904818 h 5282095"/>
              <a:gd name="connsiteX19212" fmla="*/ 4974349 w 7714416"/>
              <a:gd name="connsiteY19212" fmla="*/ 885527 h 5282095"/>
              <a:gd name="connsiteX19213" fmla="*/ 4668605 w 7714416"/>
              <a:gd name="connsiteY19213" fmla="*/ 885455 h 5282095"/>
              <a:gd name="connsiteX19214" fmla="*/ 4677692 w 7714416"/>
              <a:gd name="connsiteY19214" fmla="*/ 885850 h 5282095"/>
              <a:gd name="connsiteX19215" fmla="*/ 4667569 w 7714416"/>
              <a:gd name="connsiteY19215" fmla="*/ 891532 h 5282095"/>
              <a:gd name="connsiteX19216" fmla="*/ 4668605 w 7714416"/>
              <a:gd name="connsiteY19216" fmla="*/ 885455 h 5282095"/>
              <a:gd name="connsiteX19217" fmla="*/ 5508687 w 7714416"/>
              <a:gd name="connsiteY19217" fmla="*/ 884721 h 5282095"/>
              <a:gd name="connsiteX19218" fmla="*/ 5512456 w 7714416"/>
              <a:gd name="connsiteY19218" fmla="*/ 885041 h 5282095"/>
              <a:gd name="connsiteX19219" fmla="*/ 5512730 w 7714416"/>
              <a:gd name="connsiteY19219" fmla="*/ 888449 h 5282095"/>
              <a:gd name="connsiteX19220" fmla="*/ 5498541 w 7714416"/>
              <a:gd name="connsiteY19220" fmla="*/ 892698 h 5282095"/>
              <a:gd name="connsiteX19221" fmla="*/ 5508687 w 7714416"/>
              <a:gd name="connsiteY19221" fmla="*/ 884721 h 5282095"/>
              <a:gd name="connsiteX19222" fmla="*/ 1840777 w 7714416"/>
              <a:gd name="connsiteY19222" fmla="*/ 884481 h 5282095"/>
              <a:gd name="connsiteX19223" fmla="*/ 1831915 w 7714416"/>
              <a:gd name="connsiteY19223" fmla="*/ 888776 h 5282095"/>
              <a:gd name="connsiteX19224" fmla="*/ 1832098 w 7714416"/>
              <a:gd name="connsiteY19224" fmla="*/ 886986 h 5282095"/>
              <a:gd name="connsiteX19225" fmla="*/ 1834743 w 7714416"/>
              <a:gd name="connsiteY19225" fmla="*/ 885969 h 5282095"/>
              <a:gd name="connsiteX19226" fmla="*/ 1840777 w 7714416"/>
              <a:gd name="connsiteY19226" fmla="*/ 884481 h 5282095"/>
              <a:gd name="connsiteX19227" fmla="*/ 1870241 w 7714416"/>
              <a:gd name="connsiteY19227" fmla="*/ 884096 h 5282095"/>
              <a:gd name="connsiteX19228" fmla="*/ 1872836 w 7714416"/>
              <a:gd name="connsiteY19228" fmla="*/ 885481 h 5282095"/>
              <a:gd name="connsiteX19229" fmla="*/ 1862687 w 7714416"/>
              <a:gd name="connsiteY19229" fmla="*/ 887937 h 5282095"/>
              <a:gd name="connsiteX19230" fmla="*/ 1858623 w 7714416"/>
              <a:gd name="connsiteY19230" fmla="*/ 886503 h 5282095"/>
              <a:gd name="connsiteX19231" fmla="*/ 1870241 w 7714416"/>
              <a:gd name="connsiteY19231" fmla="*/ 884096 h 5282095"/>
              <a:gd name="connsiteX19232" fmla="*/ 4772774 w 7714416"/>
              <a:gd name="connsiteY19232" fmla="*/ 884071 h 5282095"/>
              <a:gd name="connsiteX19233" fmla="*/ 4776009 w 7714416"/>
              <a:gd name="connsiteY19233" fmla="*/ 885283 h 5282095"/>
              <a:gd name="connsiteX19234" fmla="*/ 4770906 w 7714416"/>
              <a:gd name="connsiteY19234" fmla="*/ 891045 h 5282095"/>
              <a:gd name="connsiteX19235" fmla="*/ 4765695 w 7714416"/>
              <a:gd name="connsiteY19235" fmla="*/ 890569 h 5282095"/>
              <a:gd name="connsiteX19236" fmla="*/ 4766921 w 7714416"/>
              <a:gd name="connsiteY19236" fmla="*/ 887103 h 5282095"/>
              <a:gd name="connsiteX19237" fmla="*/ 4770195 w 7714416"/>
              <a:gd name="connsiteY19237" fmla="*/ 887060 h 5282095"/>
              <a:gd name="connsiteX19238" fmla="*/ 4772774 w 7714416"/>
              <a:gd name="connsiteY19238" fmla="*/ 884071 h 5282095"/>
              <a:gd name="connsiteX19239" fmla="*/ 4682123 w 7714416"/>
              <a:gd name="connsiteY19239" fmla="*/ 883701 h 5282095"/>
              <a:gd name="connsiteX19240" fmla="*/ 4702761 w 7714416"/>
              <a:gd name="connsiteY19240" fmla="*/ 907403 h 5282095"/>
              <a:gd name="connsiteX19241" fmla="*/ 4695757 w 7714416"/>
              <a:gd name="connsiteY19241" fmla="*/ 905870 h 5282095"/>
              <a:gd name="connsiteX19242" fmla="*/ 4678756 w 7714416"/>
              <a:gd name="connsiteY19242" fmla="*/ 890734 h 5282095"/>
              <a:gd name="connsiteX19243" fmla="*/ 4682123 w 7714416"/>
              <a:gd name="connsiteY19243" fmla="*/ 883701 h 5282095"/>
              <a:gd name="connsiteX19244" fmla="*/ 2219219 w 7714416"/>
              <a:gd name="connsiteY19244" fmla="*/ 883303 h 5282095"/>
              <a:gd name="connsiteX19245" fmla="*/ 2208599 w 7714416"/>
              <a:gd name="connsiteY19245" fmla="*/ 888623 h 5282095"/>
              <a:gd name="connsiteX19246" fmla="*/ 2212279 w 7714416"/>
              <a:gd name="connsiteY19246" fmla="*/ 883744 h 5282095"/>
              <a:gd name="connsiteX19247" fmla="*/ 2219219 w 7714416"/>
              <a:gd name="connsiteY19247" fmla="*/ 883303 h 5282095"/>
              <a:gd name="connsiteX19248" fmla="*/ 4515299 w 7714416"/>
              <a:gd name="connsiteY19248" fmla="*/ 883162 h 5282095"/>
              <a:gd name="connsiteX19249" fmla="*/ 4518868 w 7714416"/>
              <a:gd name="connsiteY19249" fmla="*/ 884233 h 5282095"/>
              <a:gd name="connsiteX19250" fmla="*/ 4519004 w 7714416"/>
              <a:gd name="connsiteY19250" fmla="*/ 890364 h 5282095"/>
              <a:gd name="connsiteX19251" fmla="*/ 4516934 w 7714416"/>
              <a:gd name="connsiteY19251" fmla="*/ 889236 h 5282095"/>
              <a:gd name="connsiteX19252" fmla="*/ 4516791 w 7714416"/>
              <a:gd name="connsiteY19252" fmla="*/ 889771 h 5282095"/>
              <a:gd name="connsiteX19253" fmla="*/ 4514569 w 7714416"/>
              <a:gd name="connsiteY19253" fmla="*/ 886991 h 5282095"/>
              <a:gd name="connsiteX19254" fmla="*/ 4515299 w 7714416"/>
              <a:gd name="connsiteY19254" fmla="*/ 883162 h 5282095"/>
              <a:gd name="connsiteX19255" fmla="*/ 2183222 w 7714416"/>
              <a:gd name="connsiteY19255" fmla="*/ 880817 h 5282095"/>
              <a:gd name="connsiteX19256" fmla="*/ 2192181 w 7714416"/>
              <a:gd name="connsiteY19256" fmla="*/ 882383 h 5282095"/>
              <a:gd name="connsiteX19257" fmla="*/ 2192911 w 7714416"/>
              <a:gd name="connsiteY19257" fmla="*/ 887409 h 5282095"/>
              <a:gd name="connsiteX19258" fmla="*/ 2182048 w 7714416"/>
              <a:gd name="connsiteY19258" fmla="*/ 889213 h 5282095"/>
              <a:gd name="connsiteX19259" fmla="*/ 2174810 w 7714416"/>
              <a:gd name="connsiteY19259" fmla="*/ 883019 h 5282095"/>
              <a:gd name="connsiteX19260" fmla="*/ 2183222 w 7714416"/>
              <a:gd name="connsiteY19260" fmla="*/ 880817 h 5282095"/>
              <a:gd name="connsiteX19261" fmla="*/ 1070396 w 7714416"/>
              <a:gd name="connsiteY19261" fmla="*/ 879657 h 5282095"/>
              <a:gd name="connsiteX19262" fmla="*/ 1078477 w 7714416"/>
              <a:gd name="connsiteY19262" fmla="*/ 881591 h 5282095"/>
              <a:gd name="connsiteX19263" fmla="*/ 1080562 w 7714416"/>
              <a:gd name="connsiteY19263" fmla="*/ 904806 h 5282095"/>
              <a:gd name="connsiteX19264" fmla="*/ 1074596 w 7714416"/>
              <a:gd name="connsiteY19264" fmla="*/ 904932 h 5282095"/>
              <a:gd name="connsiteX19265" fmla="*/ 1067485 w 7714416"/>
              <a:gd name="connsiteY19265" fmla="*/ 897162 h 5282095"/>
              <a:gd name="connsiteX19266" fmla="*/ 1065343 w 7714416"/>
              <a:gd name="connsiteY19266" fmla="*/ 891872 h 5282095"/>
              <a:gd name="connsiteX19267" fmla="*/ 1067496 w 7714416"/>
              <a:gd name="connsiteY19267" fmla="*/ 887160 h 5282095"/>
              <a:gd name="connsiteX19268" fmla="*/ 1070396 w 7714416"/>
              <a:gd name="connsiteY19268" fmla="*/ 879657 h 5282095"/>
              <a:gd name="connsiteX19269" fmla="*/ 1412187 w 7714416"/>
              <a:gd name="connsiteY19269" fmla="*/ 879122 h 5282095"/>
              <a:gd name="connsiteX19270" fmla="*/ 1441844 w 7714416"/>
              <a:gd name="connsiteY19270" fmla="*/ 893510 h 5282095"/>
              <a:gd name="connsiteX19271" fmla="*/ 1431987 w 7714416"/>
              <a:gd name="connsiteY19271" fmla="*/ 891558 h 5282095"/>
              <a:gd name="connsiteX19272" fmla="*/ 1426898 w 7714416"/>
              <a:gd name="connsiteY19272" fmla="*/ 892840 h 5282095"/>
              <a:gd name="connsiteX19273" fmla="*/ 1411590 w 7714416"/>
              <a:gd name="connsiteY19273" fmla="*/ 892418 h 5282095"/>
              <a:gd name="connsiteX19274" fmla="*/ 1409474 w 7714416"/>
              <a:gd name="connsiteY19274" fmla="*/ 890356 h 5282095"/>
              <a:gd name="connsiteX19275" fmla="*/ 1393918 w 7714416"/>
              <a:gd name="connsiteY19275" fmla="*/ 889753 h 5282095"/>
              <a:gd name="connsiteX19276" fmla="*/ 1385806 w 7714416"/>
              <a:gd name="connsiteY19276" fmla="*/ 887924 h 5282095"/>
              <a:gd name="connsiteX19277" fmla="*/ 1377545 w 7714416"/>
              <a:gd name="connsiteY19277" fmla="*/ 884445 h 5282095"/>
              <a:gd name="connsiteX19278" fmla="*/ 1412187 w 7714416"/>
              <a:gd name="connsiteY19278" fmla="*/ 879122 h 5282095"/>
              <a:gd name="connsiteX19279" fmla="*/ 4739128 w 7714416"/>
              <a:gd name="connsiteY19279" fmla="*/ 877931 h 5282095"/>
              <a:gd name="connsiteX19280" fmla="*/ 4743631 w 7714416"/>
              <a:gd name="connsiteY19280" fmla="*/ 888797 h 5282095"/>
              <a:gd name="connsiteX19281" fmla="*/ 4739128 w 7714416"/>
              <a:gd name="connsiteY19281" fmla="*/ 877931 h 5282095"/>
              <a:gd name="connsiteX19282" fmla="*/ 2508549 w 7714416"/>
              <a:gd name="connsiteY19282" fmla="*/ 877395 h 5282095"/>
              <a:gd name="connsiteX19283" fmla="*/ 2519763 w 7714416"/>
              <a:gd name="connsiteY19283" fmla="*/ 879538 h 5282095"/>
              <a:gd name="connsiteX19284" fmla="*/ 2505939 w 7714416"/>
              <a:gd name="connsiteY19284" fmla="*/ 883539 h 5282095"/>
              <a:gd name="connsiteX19285" fmla="*/ 2501350 w 7714416"/>
              <a:gd name="connsiteY19285" fmla="*/ 881848 h 5282095"/>
              <a:gd name="connsiteX19286" fmla="*/ 2508549 w 7714416"/>
              <a:gd name="connsiteY19286" fmla="*/ 877395 h 5282095"/>
              <a:gd name="connsiteX19287" fmla="*/ 2354100 w 7714416"/>
              <a:gd name="connsiteY19287" fmla="*/ 876606 h 5282095"/>
              <a:gd name="connsiteX19288" fmla="*/ 2368980 w 7714416"/>
              <a:gd name="connsiteY19288" fmla="*/ 881111 h 5282095"/>
              <a:gd name="connsiteX19289" fmla="*/ 2360996 w 7714416"/>
              <a:gd name="connsiteY19289" fmla="*/ 895417 h 5282095"/>
              <a:gd name="connsiteX19290" fmla="*/ 2342173 w 7714416"/>
              <a:gd name="connsiteY19290" fmla="*/ 905898 h 5282095"/>
              <a:gd name="connsiteX19291" fmla="*/ 2346294 w 7714416"/>
              <a:gd name="connsiteY19291" fmla="*/ 907117 h 5282095"/>
              <a:gd name="connsiteX19292" fmla="*/ 2354279 w 7714416"/>
              <a:gd name="connsiteY19292" fmla="*/ 919378 h 5282095"/>
              <a:gd name="connsiteX19293" fmla="*/ 2354275 w 7714416"/>
              <a:gd name="connsiteY19293" fmla="*/ 922711 h 5282095"/>
              <a:gd name="connsiteX19294" fmla="*/ 2354970 w 7714416"/>
              <a:gd name="connsiteY19294" fmla="*/ 925657 h 5282095"/>
              <a:gd name="connsiteX19295" fmla="*/ 2356227 w 7714416"/>
              <a:gd name="connsiteY19295" fmla="*/ 927604 h 5282095"/>
              <a:gd name="connsiteX19296" fmla="*/ 2357279 w 7714416"/>
              <a:gd name="connsiteY19296" fmla="*/ 924781 h 5282095"/>
              <a:gd name="connsiteX19297" fmla="*/ 2370989 w 7714416"/>
              <a:gd name="connsiteY19297" fmla="*/ 912354 h 5282095"/>
              <a:gd name="connsiteX19298" fmla="*/ 2351975 w 7714416"/>
              <a:gd name="connsiteY19298" fmla="*/ 940150 h 5282095"/>
              <a:gd name="connsiteX19299" fmla="*/ 2356112 w 7714416"/>
              <a:gd name="connsiteY19299" fmla="*/ 928033 h 5282095"/>
              <a:gd name="connsiteX19300" fmla="*/ 2347825 w 7714416"/>
              <a:gd name="connsiteY19300" fmla="*/ 930183 h 5282095"/>
              <a:gd name="connsiteX19301" fmla="*/ 2336045 w 7714416"/>
              <a:gd name="connsiteY19301" fmla="*/ 932086 h 5282095"/>
              <a:gd name="connsiteX19302" fmla="*/ 2325376 w 7714416"/>
              <a:gd name="connsiteY19302" fmla="*/ 930954 h 5282095"/>
              <a:gd name="connsiteX19303" fmla="*/ 2323277 w 7714416"/>
              <a:gd name="connsiteY19303" fmla="*/ 929931 h 5282095"/>
              <a:gd name="connsiteX19304" fmla="*/ 2323992 w 7714416"/>
              <a:gd name="connsiteY19304" fmla="*/ 930583 h 5282095"/>
              <a:gd name="connsiteX19305" fmla="*/ 2328678 w 7714416"/>
              <a:gd name="connsiteY19305" fmla="*/ 939658 h 5282095"/>
              <a:gd name="connsiteX19306" fmla="*/ 2323680 w 7714416"/>
              <a:gd name="connsiteY19306" fmla="*/ 937283 h 5282095"/>
              <a:gd name="connsiteX19307" fmla="*/ 2322278 w 7714416"/>
              <a:gd name="connsiteY19307" fmla="*/ 935872 h 5282095"/>
              <a:gd name="connsiteX19308" fmla="*/ 2320618 w 7714416"/>
              <a:gd name="connsiteY19308" fmla="*/ 935428 h 5282095"/>
              <a:gd name="connsiteX19309" fmla="*/ 2320629 w 7714416"/>
              <a:gd name="connsiteY19309" fmla="*/ 934281 h 5282095"/>
              <a:gd name="connsiteX19310" fmla="*/ 2317330 w 7714416"/>
              <a:gd name="connsiteY19310" fmla="*/ 931097 h 5282095"/>
              <a:gd name="connsiteX19311" fmla="*/ 2307620 w 7714416"/>
              <a:gd name="connsiteY19311" fmla="*/ 925275 h 5282095"/>
              <a:gd name="connsiteX19312" fmla="*/ 2301350 w 7714416"/>
              <a:gd name="connsiteY19312" fmla="*/ 916580 h 5282095"/>
              <a:gd name="connsiteX19313" fmla="*/ 2305026 w 7714416"/>
              <a:gd name="connsiteY19313" fmla="*/ 915035 h 5282095"/>
              <a:gd name="connsiteX19314" fmla="*/ 2301727 w 7714416"/>
              <a:gd name="connsiteY19314" fmla="*/ 911851 h 5282095"/>
              <a:gd name="connsiteX19315" fmla="*/ 2304282 w 7714416"/>
              <a:gd name="connsiteY19315" fmla="*/ 896781 h 5282095"/>
              <a:gd name="connsiteX19316" fmla="*/ 2312730 w 7714416"/>
              <a:gd name="connsiteY19316" fmla="*/ 895134 h 5282095"/>
              <a:gd name="connsiteX19317" fmla="*/ 2324168 w 7714416"/>
              <a:gd name="connsiteY19317" fmla="*/ 900039 h 5282095"/>
              <a:gd name="connsiteX19318" fmla="*/ 2326950 w 7714416"/>
              <a:gd name="connsiteY19318" fmla="*/ 905155 h 5282095"/>
              <a:gd name="connsiteX19319" fmla="*/ 2330149 w 7714416"/>
              <a:gd name="connsiteY19319" fmla="*/ 904287 h 5282095"/>
              <a:gd name="connsiteX19320" fmla="*/ 2328251 w 7714416"/>
              <a:gd name="connsiteY19320" fmla="*/ 902513 h 5282095"/>
              <a:gd name="connsiteX19321" fmla="*/ 2330486 w 7714416"/>
              <a:gd name="connsiteY19321" fmla="*/ 900812 h 5282095"/>
              <a:gd name="connsiteX19322" fmla="*/ 2335259 w 7714416"/>
              <a:gd name="connsiteY19322" fmla="*/ 900710 h 5282095"/>
              <a:gd name="connsiteX19323" fmla="*/ 2332340 w 7714416"/>
              <a:gd name="connsiteY19323" fmla="*/ 898318 h 5282095"/>
              <a:gd name="connsiteX19324" fmla="*/ 2332420 w 7714416"/>
              <a:gd name="connsiteY19324" fmla="*/ 895810 h 5282095"/>
              <a:gd name="connsiteX19325" fmla="*/ 2330684 w 7714416"/>
              <a:gd name="connsiteY19325" fmla="*/ 894539 h 5282095"/>
              <a:gd name="connsiteX19326" fmla="*/ 2329904 w 7714416"/>
              <a:gd name="connsiteY19326" fmla="*/ 891916 h 5282095"/>
              <a:gd name="connsiteX19327" fmla="*/ 2328815 w 7714416"/>
              <a:gd name="connsiteY19327" fmla="*/ 892660 h 5282095"/>
              <a:gd name="connsiteX19328" fmla="*/ 2334634 w 7714416"/>
              <a:gd name="connsiteY19328" fmla="*/ 887548 h 5282095"/>
              <a:gd name="connsiteX19329" fmla="*/ 2339622 w 7714416"/>
              <a:gd name="connsiteY19329" fmla="*/ 882214 h 5282095"/>
              <a:gd name="connsiteX19330" fmla="*/ 2354100 w 7714416"/>
              <a:gd name="connsiteY19330" fmla="*/ 876606 h 5282095"/>
              <a:gd name="connsiteX19331" fmla="*/ 5579735 w 7714416"/>
              <a:gd name="connsiteY19331" fmla="*/ 875237 h 5282095"/>
              <a:gd name="connsiteX19332" fmla="*/ 5586081 w 7714416"/>
              <a:gd name="connsiteY19332" fmla="*/ 875903 h 5282095"/>
              <a:gd name="connsiteX19333" fmla="*/ 5584612 w 7714416"/>
              <a:gd name="connsiteY19333" fmla="*/ 875854 h 5282095"/>
              <a:gd name="connsiteX19334" fmla="*/ 5586376 w 7714416"/>
              <a:gd name="connsiteY19334" fmla="*/ 877017 h 5282095"/>
              <a:gd name="connsiteX19335" fmla="*/ 5562752 w 7714416"/>
              <a:gd name="connsiteY19335" fmla="*/ 878852 h 5282095"/>
              <a:gd name="connsiteX19336" fmla="*/ 5562792 w 7714416"/>
              <a:gd name="connsiteY19336" fmla="*/ 877597 h 5282095"/>
              <a:gd name="connsiteX19337" fmla="*/ 5579735 w 7714416"/>
              <a:gd name="connsiteY19337" fmla="*/ 875237 h 5282095"/>
              <a:gd name="connsiteX19338" fmla="*/ 4620095 w 7714416"/>
              <a:gd name="connsiteY19338" fmla="*/ 875017 h 5282095"/>
              <a:gd name="connsiteX19339" fmla="*/ 4623616 w 7714416"/>
              <a:gd name="connsiteY19339" fmla="*/ 875156 h 5282095"/>
              <a:gd name="connsiteX19340" fmla="*/ 4626693 w 7714416"/>
              <a:gd name="connsiteY19340" fmla="*/ 881384 h 5282095"/>
              <a:gd name="connsiteX19341" fmla="*/ 4628324 w 7714416"/>
              <a:gd name="connsiteY19341" fmla="*/ 881936 h 5282095"/>
              <a:gd name="connsiteX19342" fmla="*/ 4632438 w 7714416"/>
              <a:gd name="connsiteY19342" fmla="*/ 880969 h 5282095"/>
              <a:gd name="connsiteX19343" fmla="*/ 4647999 w 7714416"/>
              <a:gd name="connsiteY19343" fmla="*/ 887093 h 5282095"/>
              <a:gd name="connsiteX19344" fmla="*/ 4648117 w 7714416"/>
              <a:gd name="connsiteY19344" fmla="*/ 901040 h 5282095"/>
              <a:gd name="connsiteX19345" fmla="*/ 4641480 w 7714416"/>
              <a:gd name="connsiteY19345" fmla="*/ 904782 h 5282095"/>
              <a:gd name="connsiteX19346" fmla="*/ 4633369 w 7714416"/>
              <a:gd name="connsiteY19346" fmla="*/ 902954 h 5282095"/>
              <a:gd name="connsiteX19347" fmla="*/ 4622973 w 7714416"/>
              <a:gd name="connsiteY19347" fmla="*/ 896373 h 5282095"/>
              <a:gd name="connsiteX19348" fmla="*/ 4624486 w 7714416"/>
              <a:gd name="connsiteY19348" fmla="*/ 882978 h 5282095"/>
              <a:gd name="connsiteX19349" fmla="*/ 4621568 w 7714416"/>
              <a:gd name="connsiteY19349" fmla="*/ 880586 h 5282095"/>
              <a:gd name="connsiteX19350" fmla="*/ 4620095 w 7714416"/>
              <a:gd name="connsiteY19350" fmla="*/ 875017 h 5282095"/>
              <a:gd name="connsiteX19351" fmla="*/ 5552219 w 7714416"/>
              <a:gd name="connsiteY19351" fmla="*/ 874995 h 5282095"/>
              <a:gd name="connsiteX19352" fmla="*/ 5553984 w 7714416"/>
              <a:gd name="connsiteY19352" fmla="*/ 876157 h 5282095"/>
              <a:gd name="connsiteX19353" fmla="*/ 5548130 w 7714416"/>
              <a:gd name="connsiteY19353" fmla="*/ 879189 h 5282095"/>
              <a:gd name="connsiteX19354" fmla="*/ 5545639 w 7714416"/>
              <a:gd name="connsiteY19354" fmla="*/ 878521 h 5282095"/>
              <a:gd name="connsiteX19355" fmla="*/ 5552219 w 7714416"/>
              <a:gd name="connsiteY19355" fmla="*/ 874995 h 5282095"/>
              <a:gd name="connsiteX19356" fmla="*/ 2028067 w 7714416"/>
              <a:gd name="connsiteY19356" fmla="*/ 873945 h 5282095"/>
              <a:gd name="connsiteX19357" fmla="*/ 2030905 w 7714416"/>
              <a:gd name="connsiteY19357" fmla="*/ 887701 h 5282095"/>
              <a:gd name="connsiteX19358" fmla="*/ 2021843 w 7714416"/>
              <a:gd name="connsiteY19358" fmla="*/ 875037 h 5282095"/>
              <a:gd name="connsiteX19359" fmla="*/ 2028067 w 7714416"/>
              <a:gd name="connsiteY19359" fmla="*/ 873945 h 5282095"/>
              <a:gd name="connsiteX19360" fmla="*/ 5045750 w 7714416"/>
              <a:gd name="connsiteY19360" fmla="*/ 872789 h 5282095"/>
              <a:gd name="connsiteX19361" fmla="*/ 5064641 w 7714416"/>
              <a:gd name="connsiteY19361" fmla="*/ 873955 h 5282095"/>
              <a:gd name="connsiteX19362" fmla="*/ 5048236 w 7714416"/>
              <a:gd name="connsiteY19362" fmla="*/ 880944 h 5282095"/>
              <a:gd name="connsiteX19363" fmla="*/ 5027803 w 7714416"/>
              <a:gd name="connsiteY19363" fmla="*/ 879724 h 5282095"/>
              <a:gd name="connsiteX19364" fmla="*/ 5045750 w 7714416"/>
              <a:gd name="connsiteY19364" fmla="*/ 872789 h 5282095"/>
              <a:gd name="connsiteX19365" fmla="*/ 2108394 w 7714416"/>
              <a:gd name="connsiteY19365" fmla="*/ 871893 h 5282095"/>
              <a:gd name="connsiteX19366" fmla="*/ 2118773 w 7714416"/>
              <a:gd name="connsiteY19366" fmla="*/ 877434 h 5282095"/>
              <a:gd name="connsiteX19367" fmla="*/ 2116162 w 7714416"/>
              <a:gd name="connsiteY19367" fmla="*/ 880530 h 5282095"/>
              <a:gd name="connsiteX19368" fmla="*/ 2115246 w 7714416"/>
              <a:gd name="connsiteY19368" fmla="*/ 880629 h 5282095"/>
              <a:gd name="connsiteX19369" fmla="*/ 2116210 w 7714416"/>
              <a:gd name="connsiteY19369" fmla="*/ 881462 h 5282095"/>
              <a:gd name="connsiteX19370" fmla="*/ 2118129 w 7714416"/>
              <a:gd name="connsiteY19370" fmla="*/ 889796 h 5282095"/>
              <a:gd name="connsiteX19371" fmla="*/ 2117453 w 7714416"/>
              <a:gd name="connsiteY19371" fmla="*/ 896745 h 5282095"/>
              <a:gd name="connsiteX19372" fmla="*/ 2123637 w 7714416"/>
              <a:gd name="connsiteY19372" fmla="*/ 896907 h 5282095"/>
              <a:gd name="connsiteX19373" fmla="*/ 2116583 w 7714416"/>
              <a:gd name="connsiteY19373" fmla="*/ 915488 h 5282095"/>
              <a:gd name="connsiteX19374" fmla="*/ 2112022 w 7714416"/>
              <a:gd name="connsiteY19374" fmla="*/ 913691 h 5282095"/>
              <a:gd name="connsiteX19375" fmla="*/ 2113313 w 7714416"/>
              <a:gd name="connsiteY19375" fmla="*/ 903342 h 5282095"/>
              <a:gd name="connsiteX19376" fmla="*/ 2115580 w 7714416"/>
              <a:gd name="connsiteY19376" fmla="*/ 898198 h 5282095"/>
              <a:gd name="connsiteX19377" fmla="*/ 2106197 w 7714416"/>
              <a:gd name="connsiteY19377" fmla="*/ 898905 h 5282095"/>
              <a:gd name="connsiteX19378" fmla="*/ 2091802 w 7714416"/>
              <a:gd name="connsiteY19378" fmla="*/ 892863 h 5282095"/>
              <a:gd name="connsiteX19379" fmla="*/ 2105123 w 7714416"/>
              <a:gd name="connsiteY19379" fmla="*/ 877457 h 5282095"/>
              <a:gd name="connsiteX19380" fmla="*/ 2105428 w 7714416"/>
              <a:gd name="connsiteY19380" fmla="*/ 877424 h 5282095"/>
              <a:gd name="connsiteX19381" fmla="*/ 2105641 w 7714416"/>
              <a:gd name="connsiteY19381" fmla="*/ 875525 h 5282095"/>
              <a:gd name="connsiteX19382" fmla="*/ 2108394 w 7714416"/>
              <a:gd name="connsiteY19382" fmla="*/ 871893 h 5282095"/>
              <a:gd name="connsiteX19383" fmla="*/ 5217744 w 7714416"/>
              <a:gd name="connsiteY19383" fmla="*/ 870359 h 5282095"/>
              <a:gd name="connsiteX19384" fmla="*/ 5230085 w 7714416"/>
              <a:gd name="connsiteY19384" fmla="*/ 870790 h 5282095"/>
              <a:gd name="connsiteX19385" fmla="*/ 5227062 w 7714416"/>
              <a:gd name="connsiteY19385" fmla="*/ 885391 h 5282095"/>
              <a:gd name="connsiteX19386" fmla="*/ 5211305 w 7714416"/>
              <a:gd name="connsiteY19386" fmla="*/ 876684 h 5282095"/>
              <a:gd name="connsiteX19387" fmla="*/ 5217744 w 7714416"/>
              <a:gd name="connsiteY19387" fmla="*/ 870359 h 5282095"/>
              <a:gd name="connsiteX19388" fmla="*/ 2563947 w 7714416"/>
              <a:gd name="connsiteY19388" fmla="*/ 868491 h 5282095"/>
              <a:gd name="connsiteX19389" fmla="*/ 2577480 w 7714416"/>
              <a:gd name="connsiteY19389" fmla="*/ 868897 h 5282095"/>
              <a:gd name="connsiteX19390" fmla="*/ 2571120 w 7714416"/>
              <a:gd name="connsiteY19390" fmla="*/ 872713 h 5282095"/>
              <a:gd name="connsiteX19391" fmla="*/ 2563947 w 7714416"/>
              <a:gd name="connsiteY19391" fmla="*/ 868491 h 5282095"/>
              <a:gd name="connsiteX19392" fmla="*/ 4539693 w 7714416"/>
              <a:gd name="connsiteY19392" fmla="*/ 867388 h 5282095"/>
              <a:gd name="connsiteX19393" fmla="*/ 4522450 w 7714416"/>
              <a:gd name="connsiteY19393" fmla="*/ 871968 h 5282095"/>
              <a:gd name="connsiteX19394" fmla="*/ 4539693 w 7714416"/>
              <a:gd name="connsiteY19394" fmla="*/ 867388 h 5282095"/>
              <a:gd name="connsiteX19395" fmla="*/ 4468293 w 7714416"/>
              <a:gd name="connsiteY19395" fmla="*/ 867116 h 5282095"/>
              <a:gd name="connsiteX19396" fmla="*/ 4487213 w 7714416"/>
              <a:gd name="connsiteY19396" fmla="*/ 881731 h 5282095"/>
              <a:gd name="connsiteX19397" fmla="*/ 4486907 w 7714416"/>
              <a:gd name="connsiteY19397" fmla="*/ 881765 h 5282095"/>
              <a:gd name="connsiteX19398" fmla="*/ 4488373 w 7714416"/>
              <a:gd name="connsiteY19398" fmla="*/ 885147 h 5282095"/>
              <a:gd name="connsiteX19399" fmla="*/ 4482896 w 7714416"/>
              <a:gd name="connsiteY19399" fmla="*/ 892305 h 5282095"/>
              <a:gd name="connsiteX19400" fmla="*/ 4470527 w 7714416"/>
              <a:gd name="connsiteY19400" fmla="*/ 883126 h 5282095"/>
              <a:gd name="connsiteX19401" fmla="*/ 4472594 w 7714416"/>
              <a:gd name="connsiteY19401" fmla="*/ 878734 h 5282095"/>
              <a:gd name="connsiteX19402" fmla="*/ 4464199 w 7714416"/>
              <a:gd name="connsiteY19402" fmla="*/ 874645 h 5282095"/>
              <a:gd name="connsiteX19403" fmla="*/ 4468293 w 7714416"/>
              <a:gd name="connsiteY19403" fmla="*/ 867116 h 5282095"/>
              <a:gd name="connsiteX19404" fmla="*/ 4808865 w 7714416"/>
              <a:gd name="connsiteY19404" fmla="*/ 865596 h 5282095"/>
              <a:gd name="connsiteX19405" fmla="*/ 4835655 w 7714416"/>
              <a:gd name="connsiteY19405" fmla="*/ 872975 h 5282095"/>
              <a:gd name="connsiteX19406" fmla="*/ 4841390 w 7714416"/>
              <a:gd name="connsiteY19406" fmla="*/ 900271 h 5282095"/>
              <a:gd name="connsiteX19407" fmla="*/ 4839338 w 7714416"/>
              <a:gd name="connsiteY19407" fmla="*/ 900182 h 5282095"/>
              <a:gd name="connsiteX19408" fmla="*/ 4846982 w 7714416"/>
              <a:gd name="connsiteY19408" fmla="*/ 901540 h 5282095"/>
              <a:gd name="connsiteX19409" fmla="*/ 4848311 w 7714416"/>
              <a:gd name="connsiteY19409" fmla="*/ 907647 h 5282095"/>
              <a:gd name="connsiteX19410" fmla="*/ 4846381 w 7714416"/>
              <a:gd name="connsiteY19410" fmla="*/ 909314 h 5282095"/>
              <a:gd name="connsiteX19411" fmla="*/ 4851039 w 7714416"/>
              <a:gd name="connsiteY19411" fmla="*/ 909642 h 5282095"/>
              <a:gd name="connsiteX19412" fmla="*/ 4852346 w 7714416"/>
              <a:gd name="connsiteY19412" fmla="*/ 918043 h 5282095"/>
              <a:gd name="connsiteX19413" fmla="*/ 4843395 w 7714416"/>
              <a:gd name="connsiteY19413" fmla="*/ 917139 h 5282095"/>
              <a:gd name="connsiteX19414" fmla="*/ 4841576 w 7714416"/>
              <a:gd name="connsiteY19414" fmla="*/ 912856 h 5282095"/>
              <a:gd name="connsiteX19415" fmla="*/ 4835456 w 7714416"/>
              <a:gd name="connsiteY19415" fmla="*/ 914667 h 5282095"/>
              <a:gd name="connsiteX19416" fmla="*/ 4827001 w 7714416"/>
              <a:gd name="connsiteY19416" fmla="*/ 914126 h 5282095"/>
              <a:gd name="connsiteX19417" fmla="*/ 4827947 w 7714416"/>
              <a:gd name="connsiteY19417" fmla="*/ 905065 h 5282095"/>
              <a:gd name="connsiteX19418" fmla="*/ 4838479 w 7714416"/>
              <a:gd name="connsiteY19418" fmla="*/ 900067 h 5282095"/>
              <a:gd name="connsiteX19419" fmla="*/ 4836427 w 7714416"/>
              <a:gd name="connsiteY19419" fmla="*/ 899977 h 5282095"/>
              <a:gd name="connsiteX19420" fmla="*/ 4835557 w 7714416"/>
              <a:gd name="connsiteY19420" fmla="*/ 901010 h 5282095"/>
              <a:gd name="connsiteX19421" fmla="*/ 4831501 w 7714416"/>
              <a:gd name="connsiteY19421" fmla="*/ 901761 h 5282095"/>
              <a:gd name="connsiteX19422" fmla="*/ 4829689 w 7714416"/>
              <a:gd name="connsiteY19422" fmla="*/ 899666 h 5282095"/>
              <a:gd name="connsiteX19423" fmla="*/ 4824144 w 7714416"/>
              <a:gd name="connsiteY19423" fmla="*/ 899331 h 5282095"/>
              <a:gd name="connsiteX19424" fmla="*/ 4808440 w 7714416"/>
              <a:gd name="connsiteY19424" fmla="*/ 893743 h 5282095"/>
              <a:gd name="connsiteX19425" fmla="*/ 4808373 w 7714416"/>
              <a:gd name="connsiteY19425" fmla="*/ 895105 h 5282095"/>
              <a:gd name="connsiteX19426" fmla="*/ 4807244 w 7714416"/>
              <a:gd name="connsiteY19426" fmla="*/ 905957 h 5282095"/>
              <a:gd name="connsiteX19427" fmla="*/ 4803158 w 7714416"/>
              <a:gd name="connsiteY19427" fmla="*/ 897963 h 5282095"/>
              <a:gd name="connsiteX19428" fmla="*/ 4802429 w 7714416"/>
              <a:gd name="connsiteY19428" fmla="*/ 892938 h 5282095"/>
              <a:gd name="connsiteX19429" fmla="*/ 4800089 w 7714416"/>
              <a:gd name="connsiteY19429" fmla="*/ 893920 h 5282095"/>
              <a:gd name="connsiteX19430" fmla="*/ 4791382 w 7714416"/>
              <a:gd name="connsiteY19430" fmla="*/ 896533 h 5282095"/>
              <a:gd name="connsiteX19431" fmla="*/ 4784821 w 7714416"/>
              <a:gd name="connsiteY19431" fmla="*/ 892244 h 5282095"/>
              <a:gd name="connsiteX19432" fmla="*/ 4786028 w 7714416"/>
              <a:gd name="connsiteY19432" fmla="*/ 887738 h 5282095"/>
              <a:gd name="connsiteX19433" fmla="*/ 4792920 w 7714416"/>
              <a:gd name="connsiteY19433" fmla="*/ 886365 h 5282095"/>
              <a:gd name="connsiteX19434" fmla="*/ 4796966 w 7714416"/>
              <a:gd name="connsiteY19434" fmla="*/ 886758 h 5282095"/>
              <a:gd name="connsiteX19435" fmla="*/ 4795784 w 7714416"/>
              <a:gd name="connsiteY19435" fmla="*/ 885637 h 5282095"/>
              <a:gd name="connsiteX19436" fmla="*/ 4792661 w 7714416"/>
              <a:gd name="connsiteY19436" fmla="*/ 878476 h 5282095"/>
              <a:gd name="connsiteX19437" fmla="*/ 4808865 w 7714416"/>
              <a:gd name="connsiteY19437" fmla="*/ 865596 h 5282095"/>
              <a:gd name="connsiteX19438" fmla="*/ 2199979 w 7714416"/>
              <a:gd name="connsiteY19438" fmla="*/ 865181 h 5282095"/>
              <a:gd name="connsiteX19439" fmla="*/ 2213711 w 7714416"/>
              <a:gd name="connsiteY19439" fmla="*/ 867337 h 5282095"/>
              <a:gd name="connsiteX19440" fmla="*/ 2219306 w 7714416"/>
              <a:gd name="connsiteY19440" fmla="*/ 874126 h 5282095"/>
              <a:gd name="connsiteX19441" fmla="*/ 2202063 w 7714416"/>
              <a:gd name="connsiteY19441" fmla="*/ 878706 h 5282095"/>
              <a:gd name="connsiteX19442" fmla="*/ 2195825 w 7714416"/>
              <a:gd name="connsiteY19442" fmla="*/ 875424 h 5282095"/>
              <a:gd name="connsiteX19443" fmla="*/ 2199979 w 7714416"/>
              <a:gd name="connsiteY19443" fmla="*/ 865181 h 5282095"/>
              <a:gd name="connsiteX19444" fmla="*/ 2475466 w 7714416"/>
              <a:gd name="connsiteY19444" fmla="*/ 864447 h 5282095"/>
              <a:gd name="connsiteX19445" fmla="*/ 2481744 w 7714416"/>
              <a:gd name="connsiteY19445" fmla="*/ 866475 h 5282095"/>
              <a:gd name="connsiteX19446" fmla="*/ 2486731 w 7714416"/>
              <a:gd name="connsiteY19446" fmla="*/ 869997 h 5282095"/>
              <a:gd name="connsiteX19447" fmla="*/ 2487734 w 7714416"/>
              <a:gd name="connsiteY19447" fmla="*/ 869575 h 5282095"/>
              <a:gd name="connsiteX19448" fmla="*/ 2490598 w 7714416"/>
              <a:gd name="connsiteY19448" fmla="*/ 868848 h 5282095"/>
              <a:gd name="connsiteX19449" fmla="*/ 2492873 w 7714416"/>
              <a:gd name="connsiteY19449" fmla="*/ 865892 h 5282095"/>
              <a:gd name="connsiteX19450" fmla="*/ 2494533 w 7714416"/>
              <a:gd name="connsiteY19450" fmla="*/ 866337 h 5282095"/>
              <a:gd name="connsiteX19451" fmla="*/ 2488640 w 7714416"/>
              <a:gd name="connsiteY19451" fmla="*/ 879478 h 5282095"/>
              <a:gd name="connsiteX19452" fmla="*/ 2488334 w 7714416"/>
              <a:gd name="connsiteY19452" fmla="*/ 879511 h 5282095"/>
              <a:gd name="connsiteX19453" fmla="*/ 2488191 w 7714416"/>
              <a:gd name="connsiteY19453" fmla="*/ 880047 h 5282095"/>
              <a:gd name="connsiteX19454" fmla="*/ 2480917 w 7714416"/>
              <a:gd name="connsiteY19454" fmla="*/ 880629 h 5282095"/>
              <a:gd name="connsiteX19455" fmla="*/ 2471682 w 7714416"/>
              <a:gd name="connsiteY19455" fmla="*/ 877464 h 5282095"/>
              <a:gd name="connsiteX19456" fmla="*/ 2475466 w 7714416"/>
              <a:gd name="connsiteY19456" fmla="*/ 864447 h 5282095"/>
              <a:gd name="connsiteX19457" fmla="*/ 2229339 w 7714416"/>
              <a:gd name="connsiteY19457" fmla="*/ 863244 h 5282095"/>
              <a:gd name="connsiteX19458" fmla="*/ 2236206 w 7714416"/>
              <a:gd name="connsiteY19458" fmla="*/ 867499 h 5282095"/>
              <a:gd name="connsiteX19459" fmla="*/ 2236587 w 7714416"/>
              <a:gd name="connsiteY19459" fmla="*/ 868291 h 5282095"/>
              <a:gd name="connsiteX19460" fmla="*/ 2244382 w 7714416"/>
              <a:gd name="connsiteY19460" fmla="*/ 871300 h 5282095"/>
              <a:gd name="connsiteX19461" fmla="*/ 2250760 w 7714416"/>
              <a:gd name="connsiteY19461" fmla="*/ 877379 h 5282095"/>
              <a:gd name="connsiteX19462" fmla="*/ 2241815 w 7714416"/>
              <a:gd name="connsiteY19462" fmla="*/ 878662 h 5282095"/>
              <a:gd name="connsiteX19463" fmla="*/ 2238772 w 7714416"/>
              <a:gd name="connsiteY19463" fmla="*/ 877847 h 5282095"/>
              <a:gd name="connsiteX19464" fmla="*/ 2237752 w 7714416"/>
              <a:gd name="connsiteY19464" fmla="*/ 886084 h 5282095"/>
              <a:gd name="connsiteX19465" fmla="*/ 2233410 w 7714416"/>
              <a:gd name="connsiteY19465" fmla="*/ 893430 h 5282095"/>
              <a:gd name="connsiteX19466" fmla="*/ 2238839 w 7714416"/>
              <a:gd name="connsiteY19466" fmla="*/ 894196 h 5282095"/>
              <a:gd name="connsiteX19467" fmla="*/ 2250390 w 7714416"/>
              <a:gd name="connsiteY19467" fmla="*/ 910861 h 5282095"/>
              <a:gd name="connsiteX19468" fmla="*/ 2234671 w 7714416"/>
              <a:gd name="connsiteY19468" fmla="*/ 909754 h 5282095"/>
              <a:gd name="connsiteX19469" fmla="*/ 2233661 w 7714416"/>
              <a:gd name="connsiteY19469" fmla="*/ 907988 h 5282095"/>
              <a:gd name="connsiteX19470" fmla="*/ 2232327 w 7714416"/>
              <a:gd name="connsiteY19470" fmla="*/ 914071 h 5282095"/>
              <a:gd name="connsiteX19471" fmla="*/ 2230959 w 7714416"/>
              <a:gd name="connsiteY19471" fmla="*/ 918075 h 5282095"/>
              <a:gd name="connsiteX19472" fmla="*/ 2235206 w 7714416"/>
              <a:gd name="connsiteY19472" fmla="*/ 917716 h 5282095"/>
              <a:gd name="connsiteX19473" fmla="*/ 2248904 w 7714416"/>
              <a:gd name="connsiteY19473" fmla="*/ 924147 h 5282095"/>
              <a:gd name="connsiteX19474" fmla="*/ 2233926 w 7714416"/>
              <a:gd name="connsiteY19474" fmla="*/ 935775 h 5282095"/>
              <a:gd name="connsiteX19475" fmla="*/ 2222431 w 7714416"/>
              <a:gd name="connsiteY19475" fmla="*/ 922229 h 5282095"/>
              <a:gd name="connsiteX19476" fmla="*/ 2223911 w 7714416"/>
              <a:gd name="connsiteY19476" fmla="*/ 921131 h 5282095"/>
              <a:gd name="connsiteX19477" fmla="*/ 2222424 w 7714416"/>
              <a:gd name="connsiteY19477" fmla="*/ 920043 h 5282095"/>
              <a:gd name="connsiteX19478" fmla="*/ 2217375 w 7714416"/>
              <a:gd name="connsiteY19478" fmla="*/ 911214 h 5282095"/>
              <a:gd name="connsiteX19479" fmla="*/ 2223779 w 7714416"/>
              <a:gd name="connsiteY19479" fmla="*/ 911665 h 5282095"/>
              <a:gd name="connsiteX19480" fmla="*/ 2223218 w 7714416"/>
              <a:gd name="connsiteY19480" fmla="*/ 909330 h 5282095"/>
              <a:gd name="connsiteX19481" fmla="*/ 2221986 w 7714416"/>
              <a:gd name="connsiteY19481" fmla="*/ 910610 h 5282095"/>
              <a:gd name="connsiteX19482" fmla="*/ 2218310 w 7714416"/>
              <a:gd name="connsiteY19482" fmla="*/ 903299 h 5282095"/>
              <a:gd name="connsiteX19483" fmla="*/ 2218404 w 7714416"/>
              <a:gd name="connsiteY19483" fmla="*/ 896310 h 5282095"/>
              <a:gd name="connsiteX19484" fmla="*/ 2223164 w 7714416"/>
              <a:gd name="connsiteY19484" fmla="*/ 897355 h 5282095"/>
              <a:gd name="connsiteX19485" fmla="*/ 2223193 w 7714416"/>
              <a:gd name="connsiteY19485" fmla="*/ 897248 h 5282095"/>
              <a:gd name="connsiteX19486" fmla="*/ 2226205 w 7714416"/>
              <a:gd name="connsiteY19486" fmla="*/ 892650 h 5282095"/>
              <a:gd name="connsiteX19487" fmla="*/ 2228577 w 7714416"/>
              <a:gd name="connsiteY19487" fmla="*/ 897081 h 5282095"/>
              <a:gd name="connsiteX19488" fmla="*/ 2228587 w 7714416"/>
              <a:gd name="connsiteY19488" fmla="*/ 895933 h 5282095"/>
              <a:gd name="connsiteX19489" fmla="*/ 2230251 w 7714416"/>
              <a:gd name="connsiteY19489" fmla="*/ 893044 h 5282095"/>
              <a:gd name="connsiteX19490" fmla="*/ 2233104 w 7714416"/>
              <a:gd name="connsiteY19490" fmla="*/ 893464 h 5282095"/>
              <a:gd name="connsiteX19491" fmla="*/ 2226155 w 7714416"/>
              <a:gd name="connsiteY19491" fmla="*/ 886196 h 5282095"/>
              <a:gd name="connsiteX19492" fmla="*/ 2224433 w 7714416"/>
              <a:gd name="connsiteY19492" fmla="*/ 880445 h 5282095"/>
              <a:gd name="connsiteX19493" fmla="*/ 2225569 w 7714416"/>
              <a:gd name="connsiteY19493" fmla="*/ 871779 h 5282095"/>
              <a:gd name="connsiteX19494" fmla="*/ 2226018 w 7714416"/>
              <a:gd name="connsiteY19494" fmla="*/ 871210 h 5282095"/>
              <a:gd name="connsiteX19495" fmla="*/ 2221746 w 7714416"/>
              <a:gd name="connsiteY19495" fmla="*/ 868340 h 5282095"/>
              <a:gd name="connsiteX19496" fmla="*/ 2227665 w 7714416"/>
              <a:gd name="connsiteY19496" fmla="*/ 867281 h 5282095"/>
              <a:gd name="connsiteX19497" fmla="*/ 2227694 w 7714416"/>
              <a:gd name="connsiteY19497" fmla="*/ 867173 h 5282095"/>
              <a:gd name="connsiteX19498" fmla="*/ 5586039 w 7714416"/>
              <a:gd name="connsiteY19498" fmla="*/ 862781 h 5282095"/>
              <a:gd name="connsiteX19499" fmla="*/ 5586520 w 7714416"/>
              <a:gd name="connsiteY19499" fmla="*/ 867626 h 5282095"/>
              <a:gd name="connsiteX19500" fmla="*/ 5583276 w 7714416"/>
              <a:gd name="connsiteY19500" fmla="*/ 867561 h 5282095"/>
              <a:gd name="connsiteX19501" fmla="*/ 5558368 w 7714416"/>
              <a:gd name="connsiteY19501" fmla="*/ 873077 h 5282095"/>
              <a:gd name="connsiteX19502" fmla="*/ 5586039 w 7714416"/>
              <a:gd name="connsiteY19502" fmla="*/ 862781 h 5282095"/>
              <a:gd name="connsiteX19503" fmla="*/ 4502180 w 7714416"/>
              <a:gd name="connsiteY19503" fmla="*/ 862397 h 5282095"/>
              <a:gd name="connsiteX19504" fmla="*/ 4512529 w 7714416"/>
              <a:gd name="connsiteY19504" fmla="*/ 876899 h 5282095"/>
              <a:gd name="connsiteX19505" fmla="*/ 4504645 w 7714416"/>
              <a:gd name="connsiteY19505" fmla="*/ 877547 h 5282095"/>
              <a:gd name="connsiteX19506" fmla="*/ 4495629 w 7714416"/>
              <a:gd name="connsiteY19506" fmla="*/ 874671 h 5282095"/>
              <a:gd name="connsiteX19507" fmla="*/ 4502180 w 7714416"/>
              <a:gd name="connsiteY19507" fmla="*/ 862397 h 5282095"/>
              <a:gd name="connsiteX19508" fmla="*/ 4562185 w 7714416"/>
              <a:gd name="connsiteY19508" fmla="*/ 862030 h 5282095"/>
              <a:gd name="connsiteX19509" fmla="*/ 4566799 w 7714416"/>
              <a:gd name="connsiteY19509" fmla="*/ 875801 h 5282095"/>
              <a:gd name="connsiteX19510" fmla="*/ 4551346 w 7714416"/>
              <a:gd name="connsiteY19510" fmla="*/ 875916 h 5282095"/>
              <a:gd name="connsiteX19511" fmla="*/ 4545601 w 7714416"/>
              <a:gd name="connsiteY19511" fmla="*/ 867476 h 5282095"/>
              <a:gd name="connsiteX19512" fmla="*/ 4548479 w 7714416"/>
              <a:gd name="connsiteY19512" fmla="*/ 862267 h 5282095"/>
              <a:gd name="connsiteX19513" fmla="*/ 4562185 w 7714416"/>
              <a:gd name="connsiteY19513" fmla="*/ 862030 h 5282095"/>
              <a:gd name="connsiteX19514" fmla="*/ 5166367 w 7714416"/>
              <a:gd name="connsiteY19514" fmla="*/ 861768 h 5282095"/>
              <a:gd name="connsiteX19515" fmla="*/ 5172519 w 7714416"/>
              <a:gd name="connsiteY19515" fmla="*/ 874226 h 5282095"/>
              <a:gd name="connsiteX19516" fmla="*/ 5163233 w 7714416"/>
              <a:gd name="connsiteY19516" fmla="*/ 873463 h 5282095"/>
              <a:gd name="connsiteX19517" fmla="*/ 5157513 w 7714416"/>
              <a:gd name="connsiteY19517" fmla="*/ 868250 h 5282095"/>
              <a:gd name="connsiteX19518" fmla="*/ 5157747 w 7714416"/>
              <a:gd name="connsiteY19518" fmla="*/ 864057 h 5282095"/>
              <a:gd name="connsiteX19519" fmla="*/ 5166367 w 7714416"/>
              <a:gd name="connsiteY19519" fmla="*/ 861768 h 5282095"/>
              <a:gd name="connsiteX19520" fmla="*/ 5484862 w 7714416"/>
              <a:gd name="connsiteY19520" fmla="*/ 860741 h 5282095"/>
              <a:gd name="connsiteX19521" fmla="*/ 5486881 w 7714416"/>
              <a:gd name="connsiteY19521" fmla="*/ 864273 h 5282095"/>
              <a:gd name="connsiteX19522" fmla="*/ 5483892 w 7714416"/>
              <a:gd name="connsiteY19522" fmla="*/ 866577 h 5282095"/>
              <a:gd name="connsiteX19523" fmla="*/ 5482371 w 7714416"/>
              <a:gd name="connsiteY19523" fmla="*/ 868930 h 5282095"/>
              <a:gd name="connsiteX19524" fmla="*/ 5479783 w 7714416"/>
              <a:gd name="connsiteY19524" fmla="*/ 869731 h 5282095"/>
              <a:gd name="connsiteX19525" fmla="*/ 5477075 w 7714416"/>
              <a:gd name="connsiteY19525" fmla="*/ 868774 h 5282095"/>
              <a:gd name="connsiteX19526" fmla="*/ 5478594 w 7714416"/>
              <a:gd name="connsiteY19526" fmla="*/ 866423 h 5282095"/>
              <a:gd name="connsiteX19527" fmla="*/ 5484862 w 7714416"/>
              <a:gd name="connsiteY19527" fmla="*/ 860741 h 5282095"/>
              <a:gd name="connsiteX19528" fmla="*/ 2172917 w 7714416"/>
              <a:gd name="connsiteY19528" fmla="*/ 860201 h 5282095"/>
              <a:gd name="connsiteX19529" fmla="*/ 2178994 w 7714416"/>
              <a:gd name="connsiteY19529" fmla="*/ 871834 h 5282095"/>
              <a:gd name="connsiteX19530" fmla="*/ 2165629 w 7714416"/>
              <a:gd name="connsiteY19530" fmla="*/ 874118 h 5282095"/>
              <a:gd name="connsiteX19531" fmla="*/ 2156195 w 7714416"/>
              <a:gd name="connsiteY19531" fmla="*/ 868371 h 5282095"/>
              <a:gd name="connsiteX19532" fmla="*/ 2156813 w 7714416"/>
              <a:gd name="connsiteY19532" fmla="*/ 861636 h 5282095"/>
              <a:gd name="connsiteX19533" fmla="*/ 2172917 w 7714416"/>
              <a:gd name="connsiteY19533" fmla="*/ 860201 h 5282095"/>
              <a:gd name="connsiteX19534" fmla="*/ 1597673 w 7714416"/>
              <a:gd name="connsiteY19534" fmla="*/ 859822 h 5282095"/>
              <a:gd name="connsiteX19535" fmla="*/ 1595904 w 7714416"/>
              <a:gd name="connsiteY19535" fmla="*/ 861994 h 5282095"/>
              <a:gd name="connsiteX19536" fmla="*/ 1594561 w 7714416"/>
              <a:gd name="connsiteY19536" fmla="*/ 860368 h 5282095"/>
              <a:gd name="connsiteX19537" fmla="*/ 1597673 w 7714416"/>
              <a:gd name="connsiteY19537" fmla="*/ 859822 h 5282095"/>
              <a:gd name="connsiteX19538" fmla="*/ 1503661 w 7714416"/>
              <a:gd name="connsiteY19538" fmla="*/ 859818 h 5282095"/>
              <a:gd name="connsiteX19539" fmla="*/ 1510740 w 7714416"/>
              <a:gd name="connsiteY19539" fmla="*/ 879884 h 5282095"/>
              <a:gd name="connsiteX19540" fmla="*/ 1506227 w 7714416"/>
              <a:gd name="connsiteY19540" fmla="*/ 879020 h 5282095"/>
              <a:gd name="connsiteX19541" fmla="*/ 1498838 w 7714416"/>
              <a:gd name="connsiteY19541" fmla="*/ 871176 h 5282095"/>
              <a:gd name="connsiteX19542" fmla="*/ 1503661 w 7714416"/>
              <a:gd name="connsiteY19542" fmla="*/ 859818 h 5282095"/>
              <a:gd name="connsiteX19543" fmla="*/ 1617592 w 7714416"/>
              <a:gd name="connsiteY19543" fmla="*/ 859639 h 5282095"/>
              <a:gd name="connsiteX19544" fmla="*/ 1655328 w 7714416"/>
              <a:gd name="connsiteY19544" fmla="*/ 861586 h 5282095"/>
              <a:gd name="connsiteX19545" fmla="*/ 1699442 w 7714416"/>
              <a:gd name="connsiteY19545" fmla="*/ 887321 h 5282095"/>
              <a:gd name="connsiteX19546" fmla="*/ 1708276 w 7714416"/>
              <a:gd name="connsiteY19546" fmla="*/ 909698 h 5282095"/>
              <a:gd name="connsiteX19547" fmla="*/ 1709140 w 7714416"/>
              <a:gd name="connsiteY19547" fmla="*/ 912000 h 5282095"/>
              <a:gd name="connsiteX19548" fmla="*/ 1712435 w 7714416"/>
              <a:gd name="connsiteY19548" fmla="*/ 909663 h 5282095"/>
              <a:gd name="connsiteX19549" fmla="*/ 1722361 w 7714416"/>
              <a:gd name="connsiteY19549" fmla="*/ 910252 h 5282095"/>
              <a:gd name="connsiteX19550" fmla="*/ 1732502 w 7714416"/>
              <a:gd name="connsiteY19550" fmla="*/ 914465 h 5282095"/>
              <a:gd name="connsiteX19551" fmla="*/ 1725854 w 7714416"/>
              <a:gd name="connsiteY19551" fmla="*/ 919354 h 5282095"/>
              <a:gd name="connsiteX19552" fmla="*/ 1710693 w 7714416"/>
              <a:gd name="connsiteY19552" fmla="*/ 915061 h 5282095"/>
              <a:gd name="connsiteX19553" fmla="*/ 1709580 w 7714416"/>
              <a:gd name="connsiteY19553" fmla="*/ 912577 h 5282095"/>
              <a:gd name="connsiteX19554" fmla="*/ 1717355 w 7714416"/>
              <a:gd name="connsiteY19554" fmla="*/ 932257 h 5282095"/>
              <a:gd name="connsiteX19555" fmla="*/ 1676287 w 7714416"/>
              <a:gd name="connsiteY19555" fmla="*/ 965989 h 5282095"/>
              <a:gd name="connsiteX19556" fmla="*/ 1670897 w 7714416"/>
              <a:gd name="connsiteY19556" fmla="*/ 963969 h 5282095"/>
              <a:gd name="connsiteX19557" fmla="*/ 1670200 w 7714416"/>
              <a:gd name="connsiteY19557" fmla="*/ 964358 h 5282095"/>
              <a:gd name="connsiteX19558" fmla="*/ 1664683 w 7714416"/>
              <a:gd name="connsiteY19558" fmla="*/ 963915 h 5282095"/>
              <a:gd name="connsiteX19559" fmla="*/ 1661986 w 7714416"/>
              <a:gd name="connsiteY19559" fmla="*/ 961811 h 5282095"/>
              <a:gd name="connsiteX19560" fmla="*/ 1652233 w 7714416"/>
              <a:gd name="connsiteY19560" fmla="*/ 960579 h 5282095"/>
              <a:gd name="connsiteX19561" fmla="*/ 1650352 w 7714416"/>
              <a:gd name="connsiteY19561" fmla="*/ 959844 h 5282095"/>
              <a:gd name="connsiteX19562" fmla="*/ 1647108 w 7714416"/>
              <a:gd name="connsiteY19562" fmla="*/ 959780 h 5282095"/>
              <a:gd name="connsiteX19563" fmla="*/ 1646788 w 7714416"/>
              <a:gd name="connsiteY19563" fmla="*/ 964294 h 5282095"/>
              <a:gd name="connsiteX19564" fmla="*/ 1641336 w 7714416"/>
              <a:gd name="connsiteY19564" fmla="*/ 965823 h 5282095"/>
              <a:gd name="connsiteX19565" fmla="*/ 1635029 w 7714416"/>
              <a:gd name="connsiteY19565" fmla="*/ 963903 h 5282095"/>
              <a:gd name="connsiteX19566" fmla="*/ 1631368 w 7714416"/>
              <a:gd name="connsiteY19566" fmla="*/ 960968 h 5282095"/>
              <a:gd name="connsiteX19567" fmla="*/ 1631297 w 7714416"/>
              <a:gd name="connsiteY19567" fmla="*/ 956807 h 5282095"/>
              <a:gd name="connsiteX19568" fmla="*/ 1631630 w 7714416"/>
              <a:gd name="connsiteY19568" fmla="*/ 956668 h 5282095"/>
              <a:gd name="connsiteX19569" fmla="*/ 1616334 w 7714416"/>
              <a:gd name="connsiteY19569" fmla="*/ 946244 h 5282095"/>
              <a:gd name="connsiteX19570" fmla="*/ 1582640 w 7714416"/>
              <a:gd name="connsiteY19570" fmla="*/ 894895 h 5282095"/>
              <a:gd name="connsiteX19571" fmla="*/ 1586471 w 7714416"/>
              <a:gd name="connsiteY19571" fmla="*/ 882811 h 5282095"/>
              <a:gd name="connsiteX19572" fmla="*/ 1589996 w 7714416"/>
              <a:gd name="connsiteY19572" fmla="*/ 879616 h 5282095"/>
              <a:gd name="connsiteX19573" fmla="*/ 1590220 w 7714416"/>
              <a:gd name="connsiteY19573" fmla="*/ 876571 h 5282095"/>
              <a:gd name="connsiteX19574" fmla="*/ 1590622 w 7714416"/>
              <a:gd name="connsiteY19574" fmla="*/ 875069 h 5282095"/>
              <a:gd name="connsiteX19575" fmla="*/ 1588024 w 7714416"/>
              <a:gd name="connsiteY19575" fmla="*/ 877017 h 5282095"/>
              <a:gd name="connsiteX19576" fmla="*/ 1588250 w 7714416"/>
              <a:gd name="connsiteY19576" fmla="*/ 879493 h 5282095"/>
              <a:gd name="connsiteX19577" fmla="*/ 1583219 w 7714416"/>
              <a:gd name="connsiteY19577" fmla="*/ 880560 h 5282095"/>
              <a:gd name="connsiteX19578" fmla="*/ 1589487 w 7714416"/>
              <a:gd name="connsiteY19578" fmla="*/ 874880 h 5282095"/>
              <a:gd name="connsiteX19579" fmla="*/ 1590709 w 7714416"/>
              <a:gd name="connsiteY19579" fmla="*/ 874746 h 5282095"/>
              <a:gd name="connsiteX19580" fmla="*/ 1591025 w 7714416"/>
              <a:gd name="connsiteY19580" fmla="*/ 873566 h 5282095"/>
              <a:gd name="connsiteX19581" fmla="*/ 1590758 w 7714416"/>
              <a:gd name="connsiteY19581" fmla="*/ 872344 h 5282095"/>
              <a:gd name="connsiteX19582" fmla="*/ 1591572 w 7714416"/>
              <a:gd name="connsiteY19582" fmla="*/ 871527 h 5282095"/>
              <a:gd name="connsiteX19583" fmla="*/ 1592434 w 7714416"/>
              <a:gd name="connsiteY19583" fmla="*/ 868308 h 5282095"/>
              <a:gd name="connsiteX19584" fmla="*/ 1595628 w 7714416"/>
              <a:gd name="connsiteY19584" fmla="*/ 861919 h 5282095"/>
              <a:gd name="connsiteX19585" fmla="*/ 1594226 w 7714416"/>
              <a:gd name="connsiteY19585" fmla="*/ 869364 h 5282095"/>
              <a:gd name="connsiteX19586" fmla="*/ 1596310 w 7714416"/>
              <a:gd name="connsiteY19586" fmla="*/ 866012 h 5282095"/>
              <a:gd name="connsiteX19587" fmla="*/ 1596209 w 7714416"/>
              <a:gd name="connsiteY19587" fmla="*/ 861960 h 5282095"/>
              <a:gd name="connsiteX19588" fmla="*/ 1599495 w 7714416"/>
              <a:gd name="connsiteY19588" fmla="*/ 860770 h 5282095"/>
              <a:gd name="connsiteX19589" fmla="*/ 1601790 w 7714416"/>
              <a:gd name="connsiteY19589" fmla="*/ 864376 h 5282095"/>
              <a:gd name="connsiteX19590" fmla="*/ 1597026 w 7714416"/>
              <a:gd name="connsiteY19590" fmla="*/ 866664 h 5282095"/>
              <a:gd name="connsiteX19591" fmla="*/ 1595789 w 7714416"/>
              <a:gd name="connsiteY19591" fmla="*/ 871278 h 5282095"/>
              <a:gd name="connsiteX19592" fmla="*/ 1593449 w 7714416"/>
              <a:gd name="connsiteY19592" fmla="*/ 872261 h 5282095"/>
              <a:gd name="connsiteX19593" fmla="*/ 1590054 w 7714416"/>
              <a:gd name="connsiteY19593" fmla="*/ 879401 h 5282095"/>
              <a:gd name="connsiteX19594" fmla="*/ 1595176 w 7714416"/>
              <a:gd name="connsiteY19594" fmla="*/ 874678 h 5282095"/>
              <a:gd name="connsiteX19595" fmla="*/ 1617592 w 7714416"/>
              <a:gd name="connsiteY19595" fmla="*/ 859639 h 5282095"/>
              <a:gd name="connsiteX19596" fmla="*/ 5004711 w 7714416"/>
              <a:gd name="connsiteY19596" fmla="*/ 857437 h 5282095"/>
              <a:gd name="connsiteX19597" fmla="*/ 5028892 w 7714416"/>
              <a:gd name="connsiteY19597" fmla="*/ 887837 h 5282095"/>
              <a:gd name="connsiteX19598" fmla="*/ 5004711 w 7714416"/>
              <a:gd name="connsiteY19598" fmla="*/ 857437 h 5282095"/>
              <a:gd name="connsiteX19599" fmla="*/ 2643662 w 7714416"/>
              <a:gd name="connsiteY19599" fmla="*/ 857103 h 5282095"/>
              <a:gd name="connsiteX19600" fmla="*/ 2650494 w 7714416"/>
              <a:gd name="connsiteY19600" fmla="*/ 859825 h 5282095"/>
              <a:gd name="connsiteX19601" fmla="*/ 2635491 w 7714416"/>
              <a:gd name="connsiteY19601" fmla="*/ 859370 h 5282095"/>
              <a:gd name="connsiteX19602" fmla="*/ 2643662 w 7714416"/>
              <a:gd name="connsiteY19602" fmla="*/ 857103 h 5282095"/>
              <a:gd name="connsiteX19603" fmla="*/ 1281857 w 7714416"/>
              <a:gd name="connsiteY19603" fmla="*/ 856390 h 5282095"/>
              <a:gd name="connsiteX19604" fmla="*/ 1286897 w 7714416"/>
              <a:gd name="connsiteY19604" fmla="*/ 880741 h 5282095"/>
              <a:gd name="connsiteX19605" fmla="*/ 1244431 w 7714416"/>
              <a:gd name="connsiteY19605" fmla="*/ 900873 h 5282095"/>
              <a:gd name="connsiteX19606" fmla="*/ 1240130 w 7714416"/>
              <a:gd name="connsiteY19606" fmla="*/ 898111 h 5282095"/>
              <a:gd name="connsiteX19607" fmla="*/ 1236541 w 7714416"/>
              <a:gd name="connsiteY19607" fmla="*/ 890479 h 5282095"/>
              <a:gd name="connsiteX19608" fmla="*/ 1281857 w 7714416"/>
              <a:gd name="connsiteY19608" fmla="*/ 856390 h 5282095"/>
              <a:gd name="connsiteX19609" fmla="*/ 2535005 w 7714416"/>
              <a:gd name="connsiteY19609" fmla="*/ 854756 h 5282095"/>
              <a:gd name="connsiteX19610" fmla="*/ 2547018 w 7714416"/>
              <a:gd name="connsiteY19610" fmla="*/ 857515 h 5282095"/>
              <a:gd name="connsiteX19611" fmla="*/ 2553680 w 7714416"/>
              <a:gd name="connsiteY19611" fmla="*/ 865855 h 5282095"/>
              <a:gd name="connsiteX19612" fmla="*/ 2544028 w 7714416"/>
              <a:gd name="connsiteY19612" fmla="*/ 868674 h 5282095"/>
              <a:gd name="connsiteX19613" fmla="*/ 2537156 w 7714416"/>
              <a:gd name="connsiteY19613" fmla="*/ 867753 h 5282095"/>
              <a:gd name="connsiteX19614" fmla="*/ 2536818 w 7714416"/>
              <a:gd name="connsiteY19614" fmla="*/ 871227 h 5282095"/>
              <a:gd name="connsiteX19615" fmla="*/ 2531978 w 7714416"/>
              <a:gd name="connsiteY19615" fmla="*/ 872691 h 5282095"/>
              <a:gd name="connsiteX19616" fmla="*/ 2524026 w 7714416"/>
              <a:gd name="connsiteY19616" fmla="*/ 865844 h 5282095"/>
              <a:gd name="connsiteX19617" fmla="*/ 2525862 w 7714416"/>
              <a:gd name="connsiteY19617" fmla="*/ 862311 h 5282095"/>
              <a:gd name="connsiteX19618" fmla="*/ 2528984 w 7714416"/>
              <a:gd name="connsiteY19618" fmla="*/ 860618 h 5282095"/>
              <a:gd name="connsiteX19619" fmla="*/ 2532506 w 7714416"/>
              <a:gd name="connsiteY19619" fmla="*/ 860757 h 5282095"/>
              <a:gd name="connsiteX19620" fmla="*/ 2532432 w 7714416"/>
              <a:gd name="connsiteY19620" fmla="*/ 859931 h 5282095"/>
              <a:gd name="connsiteX19621" fmla="*/ 2535005 w 7714416"/>
              <a:gd name="connsiteY19621" fmla="*/ 854756 h 5282095"/>
              <a:gd name="connsiteX19622" fmla="*/ 4920277 w 7714416"/>
              <a:gd name="connsiteY19622" fmla="*/ 853789 h 5282095"/>
              <a:gd name="connsiteX19623" fmla="*/ 4927787 w 7714416"/>
              <a:gd name="connsiteY19623" fmla="*/ 854536 h 5282095"/>
              <a:gd name="connsiteX19624" fmla="*/ 4939128 w 7714416"/>
              <a:gd name="connsiteY19624" fmla="*/ 860910 h 5282095"/>
              <a:gd name="connsiteX19625" fmla="*/ 4924244 w 7714416"/>
              <a:gd name="connsiteY19625" fmla="*/ 874402 h 5282095"/>
              <a:gd name="connsiteX19626" fmla="*/ 4913115 w 7714416"/>
              <a:gd name="connsiteY19626" fmla="*/ 866129 h 5282095"/>
              <a:gd name="connsiteX19627" fmla="*/ 4920277 w 7714416"/>
              <a:gd name="connsiteY19627" fmla="*/ 853789 h 5282095"/>
              <a:gd name="connsiteX19628" fmla="*/ 1596459 w 7714416"/>
              <a:gd name="connsiteY19628" fmla="*/ 853286 h 5282095"/>
              <a:gd name="connsiteX19629" fmla="*/ 1597842 w 7714416"/>
              <a:gd name="connsiteY19629" fmla="*/ 853658 h 5282095"/>
              <a:gd name="connsiteX19630" fmla="*/ 1596321 w 7714416"/>
              <a:gd name="connsiteY19630" fmla="*/ 856010 h 5282095"/>
              <a:gd name="connsiteX19631" fmla="*/ 1596459 w 7714416"/>
              <a:gd name="connsiteY19631" fmla="*/ 853286 h 5282095"/>
              <a:gd name="connsiteX19632" fmla="*/ 2350658 w 7714416"/>
              <a:gd name="connsiteY19632" fmla="*/ 853201 h 5282095"/>
              <a:gd name="connsiteX19633" fmla="*/ 2357730 w 7714416"/>
              <a:gd name="connsiteY19633" fmla="*/ 853372 h 5282095"/>
              <a:gd name="connsiteX19634" fmla="*/ 2368104 w 7714416"/>
              <a:gd name="connsiteY19634" fmla="*/ 871101 h 5282095"/>
              <a:gd name="connsiteX19635" fmla="*/ 2349763 w 7714416"/>
              <a:gd name="connsiteY19635" fmla="*/ 859862 h 5282095"/>
              <a:gd name="connsiteX19636" fmla="*/ 2350658 w 7714416"/>
              <a:gd name="connsiteY19636" fmla="*/ 853201 h 5282095"/>
              <a:gd name="connsiteX19637" fmla="*/ 2168294 w 7714416"/>
              <a:gd name="connsiteY19637" fmla="*/ 853098 h 5282095"/>
              <a:gd name="connsiteX19638" fmla="*/ 2170071 w 7714416"/>
              <a:gd name="connsiteY19638" fmla="*/ 853113 h 5282095"/>
              <a:gd name="connsiteX19639" fmla="*/ 2168863 w 7714416"/>
              <a:gd name="connsiteY19639" fmla="*/ 857620 h 5282095"/>
              <a:gd name="connsiteX19640" fmla="*/ 2168007 w 7714416"/>
              <a:gd name="connsiteY19640" fmla="*/ 854170 h 5282095"/>
              <a:gd name="connsiteX19641" fmla="*/ 2168294 w 7714416"/>
              <a:gd name="connsiteY19641" fmla="*/ 853098 h 5282095"/>
              <a:gd name="connsiteX19642" fmla="*/ 5095646 w 7714416"/>
              <a:gd name="connsiteY19642" fmla="*/ 851213 h 5282095"/>
              <a:gd name="connsiteX19643" fmla="*/ 5102967 w 7714416"/>
              <a:gd name="connsiteY19643" fmla="*/ 851565 h 5282095"/>
              <a:gd name="connsiteX19644" fmla="*/ 5114477 w 7714416"/>
              <a:gd name="connsiteY19644" fmla="*/ 851773 h 5282095"/>
              <a:gd name="connsiteX19645" fmla="*/ 5116751 w 7714416"/>
              <a:gd name="connsiteY19645" fmla="*/ 857672 h 5282095"/>
              <a:gd name="connsiteX19646" fmla="*/ 5087729 w 7714416"/>
              <a:gd name="connsiteY19646" fmla="*/ 864157 h 5282095"/>
              <a:gd name="connsiteX19647" fmla="*/ 5083773 w 7714416"/>
              <a:gd name="connsiteY19647" fmla="*/ 860107 h 5282095"/>
              <a:gd name="connsiteX19648" fmla="*/ 5089689 w 7714416"/>
              <a:gd name="connsiteY19648" fmla="*/ 853526 h 5282095"/>
              <a:gd name="connsiteX19649" fmla="*/ 5095646 w 7714416"/>
              <a:gd name="connsiteY19649" fmla="*/ 851213 h 5282095"/>
              <a:gd name="connsiteX19650" fmla="*/ 1094631 w 7714416"/>
              <a:gd name="connsiteY19650" fmla="*/ 851189 h 5282095"/>
              <a:gd name="connsiteX19651" fmla="*/ 1112132 w 7714416"/>
              <a:gd name="connsiteY19651" fmla="*/ 854499 h 5282095"/>
              <a:gd name="connsiteX19652" fmla="*/ 1101225 w 7714416"/>
              <a:gd name="connsiteY19652" fmla="*/ 860891 h 5282095"/>
              <a:gd name="connsiteX19653" fmla="*/ 1095979 w 7714416"/>
              <a:gd name="connsiteY19653" fmla="*/ 858336 h 5282095"/>
              <a:gd name="connsiteX19654" fmla="*/ 1094631 w 7714416"/>
              <a:gd name="connsiteY19654" fmla="*/ 851189 h 5282095"/>
              <a:gd name="connsiteX19655" fmla="*/ 5473524 w 7714416"/>
              <a:gd name="connsiteY19655" fmla="*/ 851034 h 5282095"/>
              <a:gd name="connsiteX19656" fmla="*/ 5477046 w 7714416"/>
              <a:gd name="connsiteY19656" fmla="*/ 851172 h 5282095"/>
              <a:gd name="connsiteX19657" fmla="*/ 5474508 w 7714416"/>
              <a:gd name="connsiteY19657" fmla="*/ 858428 h 5282095"/>
              <a:gd name="connsiteX19658" fmla="*/ 5469783 w 7714416"/>
              <a:gd name="connsiteY19658" fmla="*/ 859461 h 5282095"/>
              <a:gd name="connsiteX19659" fmla="*/ 5468917 w 7714416"/>
              <a:gd name="connsiteY19659" fmla="*/ 857159 h 5282095"/>
              <a:gd name="connsiteX19660" fmla="*/ 5469262 w 7714416"/>
              <a:gd name="connsiteY19660" fmla="*/ 855872 h 5282095"/>
              <a:gd name="connsiteX19661" fmla="*/ 5472547 w 7714416"/>
              <a:gd name="connsiteY19661" fmla="*/ 854681 h 5282095"/>
              <a:gd name="connsiteX19662" fmla="*/ 5473524 w 7714416"/>
              <a:gd name="connsiteY19662" fmla="*/ 851034 h 5282095"/>
              <a:gd name="connsiteX19663" fmla="*/ 2234392 w 7714416"/>
              <a:gd name="connsiteY19663" fmla="*/ 851029 h 5282095"/>
              <a:gd name="connsiteX19664" fmla="*/ 2250659 w 7714416"/>
              <a:gd name="connsiteY19664" fmla="*/ 855617 h 5282095"/>
              <a:gd name="connsiteX19665" fmla="*/ 2240806 w 7714416"/>
              <a:gd name="connsiteY19665" fmla="*/ 859187 h 5282095"/>
              <a:gd name="connsiteX19666" fmla="*/ 2234392 w 7714416"/>
              <a:gd name="connsiteY19666" fmla="*/ 851029 h 5282095"/>
              <a:gd name="connsiteX19667" fmla="*/ 2663122 w 7714416"/>
              <a:gd name="connsiteY19667" fmla="*/ 850329 h 5282095"/>
              <a:gd name="connsiteX19668" fmla="*/ 2666536 w 7714416"/>
              <a:gd name="connsiteY19668" fmla="*/ 853084 h 5282095"/>
              <a:gd name="connsiteX19669" fmla="*/ 2660283 w 7714416"/>
              <a:gd name="connsiteY19669" fmla="*/ 863139 h 5282095"/>
              <a:gd name="connsiteX19670" fmla="*/ 2660028 w 7714416"/>
              <a:gd name="connsiteY19670" fmla="*/ 851915 h 5282095"/>
              <a:gd name="connsiteX19671" fmla="*/ 2663122 w 7714416"/>
              <a:gd name="connsiteY19671" fmla="*/ 850329 h 5282095"/>
              <a:gd name="connsiteX19672" fmla="*/ 951916 w 7714416"/>
              <a:gd name="connsiteY19672" fmla="*/ 850051 h 5282095"/>
              <a:gd name="connsiteX19673" fmla="*/ 959542 w 7714416"/>
              <a:gd name="connsiteY19673" fmla="*/ 850643 h 5282095"/>
              <a:gd name="connsiteX19674" fmla="*/ 961964 w 7714416"/>
              <a:gd name="connsiteY19674" fmla="*/ 852672 h 5282095"/>
              <a:gd name="connsiteX19675" fmla="*/ 959747 w 7714416"/>
              <a:gd name="connsiteY19675" fmla="*/ 855413 h 5282095"/>
              <a:gd name="connsiteX19676" fmla="*/ 950220 w 7714416"/>
              <a:gd name="connsiteY19676" fmla="*/ 856655 h 5282095"/>
              <a:gd name="connsiteX19677" fmla="*/ 947798 w 7714416"/>
              <a:gd name="connsiteY19677" fmla="*/ 854626 h 5282095"/>
              <a:gd name="connsiteX19678" fmla="*/ 951916 w 7714416"/>
              <a:gd name="connsiteY19678" fmla="*/ 850051 h 5282095"/>
              <a:gd name="connsiteX19679" fmla="*/ 1201430 w 7714416"/>
              <a:gd name="connsiteY19679" fmla="*/ 849819 h 5282095"/>
              <a:gd name="connsiteX19680" fmla="*/ 1221797 w 7714416"/>
              <a:gd name="connsiteY19680" fmla="*/ 853637 h 5282095"/>
              <a:gd name="connsiteX19681" fmla="*/ 1223539 w 7714416"/>
              <a:gd name="connsiteY19681" fmla="*/ 865950 h 5282095"/>
              <a:gd name="connsiteX19682" fmla="*/ 1209653 w 7714416"/>
              <a:gd name="connsiteY19682" fmla="*/ 864645 h 5282095"/>
              <a:gd name="connsiteX19683" fmla="*/ 1196745 w 7714416"/>
              <a:gd name="connsiteY19683" fmla="*/ 859691 h 5282095"/>
              <a:gd name="connsiteX19684" fmla="*/ 1201430 w 7714416"/>
              <a:gd name="connsiteY19684" fmla="*/ 849819 h 5282095"/>
              <a:gd name="connsiteX19685" fmla="*/ 2262062 w 7714416"/>
              <a:gd name="connsiteY19685" fmla="*/ 849587 h 5282095"/>
              <a:gd name="connsiteX19686" fmla="*/ 2262386 w 7714416"/>
              <a:gd name="connsiteY19686" fmla="*/ 850594 h 5282095"/>
              <a:gd name="connsiteX19687" fmla="*/ 2259723 w 7714416"/>
              <a:gd name="connsiteY19687" fmla="*/ 850570 h 5282095"/>
              <a:gd name="connsiteX19688" fmla="*/ 2258454 w 7714416"/>
              <a:gd name="connsiteY19688" fmla="*/ 849770 h 5282095"/>
              <a:gd name="connsiteX19689" fmla="*/ 2262062 w 7714416"/>
              <a:gd name="connsiteY19689" fmla="*/ 849587 h 5282095"/>
              <a:gd name="connsiteX19690" fmla="*/ 2203365 w 7714416"/>
              <a:gd name="connsiteY19690" fmla="*/ 849499 h 5282095"/>
              <a:gd name="connsiteX19691" fmla="*/ 2213279 w 7714416"/>
              <a:gd name="connsiteY19691" fmla="*/ 851236 h 5282095"/>
              <a:gd name="connsiteX19692" fmla="*/ 2221494 w 7714416"/>
              <a:gd name="connsiteY19692" fmla="*/ 853782 h 5282095"/>
              <a:gd name="connsiteX19693" fmla="*/ 2246343 w 7714416"/>
              <a:gd name="connsiteY19693" fmla="*/ 866190 h 5282095"/>
              <a:gd name="connsiteX19694" fmla="*/ 2234741 w 7714416"/>
              <a:gd name="connsiteY19694" fmla="*/ 864117 h 5282095"/>
              <a:gd name="connsiteX19695" fmla="*/ 2208989 w 7714416"/>
              <a:gd name="connsiteY19695" fmla="*/ 856181 h 5282095"/>
              <a:gd name="connsiteX19696" fmla="*/ 2206329 w 7714416"/>
              <a:gd name="connsiteY19696" fmla="*/ 852824 h 5282095"/>
              <a:gd name="connsiteX19697" fmla="*/ 2204670 w 7714416"/>
              <a:gd name="connsiteY19697" fmla="*/ 852379 h 5282095"/>
              <a:gd name="connsiteX19698" fmla="*/ 2203365 w 7714416"/>
              <a:gd name="connsiteY19698" fmla="*/ 849499 h 5282095"/>
              <a:gd name="connsiteX19699" fmla="*/ 2269889 w 7714416"/>
              <a:gd name="connsiteY19699" fmla="*/ 849154 h 5282095"/>
              <a:gd name="connsiteX19700" fmla="*/ 2272549 w 7714416"/>
              <a:gd name="connsiteY19700" fmla="*/ 852512 h 5282095"/>
              <a:gd name="connsiteX19701" fmla="*/ 2267482 w 7714416"/>
              <a:gd name="connsiteY19701" fmla="*/ 851500 h 5282095"/>
              <a:gd name="connsiteX19702" fmla="*/ 2263255 w 7714416"/>
              <a:gd name="connsiteY19702" fmla="*/ 849562 h 5282095"/>
              <a:gd name="connsiteX19703" fmla="*/ 2269889 w 7714416"/>
              <a:gd name="connsiteY19703" fmla="*/ 849154 h 5282095"/>
              <a:gd name="connsiteX19704" fmla="*/ 2251527 w 7714416"/>
              <a:gd name="connsiteY19704" fmla="*/ 849063 h 5282095"/>
              <a:gd name="connsiteX19705" fmla="*/ 2253948 w 7714416"/>
              <a:gd name="connsiteY19705" fmla="*/ 851093 h 5282095"/>
              <a:gd name="connsiteX19706" fmla="*/ 2250046 w 7714416"/>
              <a:gd name="connsiteY19706" fmla="*/ 850163 h 5282095"/>
              <a:gd name="connsiteX19707" fmla="*/ 2251527 w 7714416"/>
              <a:gd name="connsiteY19707" fmla="*/ 849063 h 5282095"/>
              <a:gd name="connsiteX19708" fmla="*/ 2294275 w 7714416"/>
              <a:gd name="connsiteY19708" fmla="*/ 848903 h 5282095"/>
              <a:gd name="connsiteX19709" fmla="*/ 2303575 w 7714416"/>
              <a:gd name="connsiteY19709" fmla="*/ 854040 h 5282095"/>
              <a:gd name="connsiteX19710" fmla="*/ 2293294 w 7714416"/>
              <a:gd name="connsiteY19710" fmla="*/ 864741 h 5282095"/>
              <a:gd name="connsiteX19711" fmla="*/ 2286808 w 7714416"/>
              <a:gd name="connsiteY19711" fmla="*/ 861277 h 5282095"/>
              <a:gd name="connsiteX19712" fmla="*/ 2294275 w 7714416"/>
              <a:gd name="connsiteY19712" fmla="*/ 848903 h 5282095"/>
              <a:gd name="connsiteX19713" fmla="*/ 2222684 w 7714416"/>
              <a:gd name="connsiteY19713" fmla="*/ 848235 h 5282095"/>
              <a:gd name="connsiteX19714" fmla="*/ 2249797 w 7714416"/>
              <a:gd name="connsiteY19714" fmla="*/ 849981 h 5282095"/>
              <a:gd name="connsiteX19715" fmla="*/ 2222684 w 7714416"/>
              <a:gd name="connsiteY19715" fmla="*/ 848235 h 5282095"/>
              <a:gd name="connsiteX19716" fmla="*/ 1601867 w 7714416"/>
              <a:gd name="connsiteY19716" fmla="*/ 847491 h 5282095"/>
              <a:gd name="connsiteX19717" fmla="*/ 1596660 w 7714416"/>
              <a:gd name="connsiteY19717" fmla="*/ 852536 h 5282095"/>
              <a:gd name="connsiteX19718" fmla="*/ 1596790 w 7714416"/>
              <a:gd name="connsiteY19718" fmla="*/ 847626 h 5282095"/>
              <a:gd name="connsiteX19719" fmla="*/ 1601867 w 7714416"/>
              <a:gd name="connsiteY19719" fmla="*/ 847491 h 5282095"/>
              <a:gd name="connsiteX19720" fmla="*/ 1124433 w 7714416"/>
              <a:gd name="connsiteY19720" fmla="*/ 847330 h 5282095"/>
              <a:gd name="connsiteX19721" fmla="*/ 1130225 w 7714416"/>
              <a:gd name="connsiteY19721" fmla="*/ 856702 h 5282095"/>
              <a:gd name="connsiteX19722" fmla="*/ 1120022 w 7714416"/>
              <a:gd name="connsiteY19722" fmla="*/ 856038 h 5282095"/>
              <a:gd name="connsiteX19723" fmla="*/ 1115893 w 7714416"/>
              <a:gd name="connsiteY19723" fmla="*/ 852632 h 5282095"/>
              <a:gd name="connsiteX19724" fmla="*/ 1118064 w 7714416"/>
              <a:gd name="connsiteY19724" fmla="*/ 848958 h 5282095"/>
              <a:gd name="connsiteX19725" fmla="*/ 1124433 w 7714416"/>
              <a:gd name="connsiteY19725" fmla="*/ 847330 h 5282095"/>
              <a:gd name="connsiteX19726" fmla="*/ 2208914 w 7714416"/>
              <a:gd name="connsiteY19726" fmla="*/ 846501 h 5282095"/>
              <a:gd name="connsiteX19727" fmla="*/ 2210707 w 7714416"/>
              <a:gd name="connsiteY19727" fmla="*/ 847556 h 5282095"/>
              <a:gd name="connsiteX19728" fmla="*/ 2195952 w 7714416"/>
              <a:gd name="connsiteY19728" fmla="*/ 847283 h 5282095"/>
              <a:gd name="connsiteX19729" fmla="*/ 2208914 w 7714416"/>
              <a:gd name="connsiteY19729" fmla="*/ 846501 h 5282095"/>
              <a:gd name="connsiteX19730" fmla="*/ 5052159 w 7714416"/>
              <a:gd name="connsiteY19730" fmla="*/ 846102 h 5282095"/>
              <a:gd name="connsiteX19731" fmla="*/ 5065996 w 7714416"/>
              <a:gd name="connsiteY19731" fmla="*/ 847868 h 5282095"/>
              <a:gd name="connsiteX19732" fmla="*/ 5071250 w 7714416"/>
              <a:gd name="connsiteY19732" fmla="*/ 852611 h 5282095"/>
              <a:gd name="connsiteX19733" fmla="*/ 5055859 w 7714416"/>
              <a:gd name="connsiteY19733" fmla="*/ 858032 h 5282095"/>
              <a:gd name="connsiteX19734" fmla="*/ 5049494 w 7714416"/>
              <a:gd name="connsiteY19734" fmla="*/ 856326 h 5282095"/>
              <a:gd name="connsiteX19735" fmla="*/ 5042933 w 7714416"/>
              <a:gd name="connsiteY19735" fmla="*/ 852038 h 5282095"/>
              <a:gd name="connsiteX19736" fmla="*/ 5052159 w 7714416"/>
              <a:gd name="connsiteY19736" fmla="*/ 846102 h 5282095"/>
              <a:gd name="connsiteX19737" fmla="*/ 2090218 w 7714416"/>
              <a:gd name="connsiteY19737" fmla="*/ 846063 h 5282095"/>
              <a:gd name="connsiteX19738" fmla="*/ 2097034 w 7714416"/>
              <a:gd name="connsiteY19738" fmla="*/ 846769 h 5282095"/>
              <a:gd name="connsiteX19739" fmla="*/ 2098443 w 7714416"/>
              <a:gd name="connsiteY19739" fmla="*/ 850366 h 5282095"/>
              <a:gd name="connsiteX19740" fmla="*/ 2087925 w 7714416"/>
              <a:gd name="connsiteY19740" fmla="*/ 850882 h 5282095"/>
              <a:gd name="connsiteX19741" fmla="*/ 2090218 w 7714416"/>
              <a:gd name="connsiteY19741" fmla="*/ 846063 h 5282095"/>
              <a:gd name="connsiteX19742" fmla="*/ 5499434 w 7714416"/>
              <a:gd name="connsiteY19742" fmla="*/ 845096 h 5282095"/>
              <a:gd name="connsiteX19743" fmla="*/ 5503365 w 7714416"/>
              <a:gd name="connsiteY19743" fmla="*/ 845919 h 5282095"/>
              <a:gd name="connsiteX19744" fmla="*/ 5502395 w 7714416"/>
              <a:gd name="connsiteY19744" fmla="*/ 851754 h 5282095"/>
              <a:gd name="connsiteX19745" fmla="*/ 5491805 w 7714416"/>
              <a:gd name="connsiteY19745" fmla="*/ 856967 h 5282095"/>
              <a:gd name="connsiteX19746" fmla="*/ 5487855 w 7714416"/>
              <a:gd name="connsiteY19746" fmla="*/ 855104 h 5282095"/>
              <a:gd name="connsiteX19747" fmla="*/ 5487069 w 7714416"/>
              <a:gd name="connsiteY19747" fmla="*/ 850292 h 5282095"/>
              <a:gd name="connsiteX19748" fmla="*/ 5499434 w 7714416"/>
              <a:gd name="connsiteY19748" fmla="*/ 845096 h 5282095"/>
              <a:gd name="connsiteX19749" fmla="*/ 1540481 w 7714416"/>
              <a:gd name="connsiteY19749" fmla="*/ 844153 h 5282095"/>
              <a:gd name="connsiteX19750" fmla="*/ 1538990 w 7714416"/>
              <a:gd name="connsiteY19750" fmla="*/ 846397 h 5282095"/>
              <a:gd name="connsiteX19751" fmla="*/ 1535972 w 7714416"/>
              <a:gd name="connsiteY19751" fmla="*/ 848809 h 5282095"/>
              <a:gd name="connsiteX19752" fmla="*/ 1536255 w 7714416"/>
              <a:gd name="connsiteY19752" fmla="*/ 851071 h 5282095"/>
              <a:gd name="connsiteX19753" fmla="*/ 1525255 w 7714416"/>
              <a:gd name="connsiteY19753" fmla="*/ 855598 h 5282095"/>
              <a:gd name="connsiteX19754" fmla="*/ 1529765 w 7714416"/>
              <a:gd name="connsiteY19754" fmla="*/ 850942 h 5282095"/>
              <a:gd name="connsiteX19755" fmla="*/ 1532727 w 7714416"/>
              <a:gd name="connsiteY19755" fmla="*/ 848744 h 5282095"/>
              <a:gd name="connsiteX19756" fmla="*/ 1533969 w 7714416"/>
              <a:gd name="connsiteY19756" fmla="*/ 846318 h 5282095"/>
              <a:gd name="connsiteX19757" fmla="*/ 1540481 w 7714416"/>
              <a:gd name="connsiteY19757" fmla="*/ 844153 h 5282095"/>
              <a:gd name="connsiteX19758" fmla="*/ 4682034 w 7714416"/>
              <a:gd name="connsiteY19758" fmla="*/ 843082 h 5282095"/>
              <a:gd name="connsiteX19759" fmla="*/ 4682167 w 7714416"/>
              <a:gd name="connsiteY19759" fmla="*/ 852548 h 5282095"/>
              <a:gd name="connsiteX19760" fmla="*/ 4678092 w 7714416"/>
              <a:gd name="connsiteY19760" fmla="*/ 852261 h 5282095"/>
              <a:gd name="connsiteX19761" fmla="*/ 4672173 w 7714416"/>
              <a:gd name="connsiteY19761" fmla="*/ 844465 h 5282095"/>
              <a:gd name="connsiteX19762" fmla="*/ 4682034 w 7714416"/>
              <a:gd name="connsiteY19762" fmla="*/ 843082 h 5282095"/>
              <a:gd name="connsiteX19763" fmla="*/ 2621337 w 7714416"/>
              <a:gd name="connsiteY19763" fmla="*/ 842468 h 5282095"/>
              <a:gd name="connsiteX19764" fmla="*/ 2626087 w 7714416"/>
              <a:gd name="connsiteY19764" fmla="*/ 844661 h 5282095"/>
              <a:gd name="connsiteX19765" fmla="*/ 2625807 w 7714416"/>
              <a:gd name="connsiteY19765" fmla="*/ 847921 h 5282095"/>
              <a:gd name="connsiteX19766" fmla="*/ 2627168 w 7714416"/>
              <a:gd name="connsiteY19766" fmla="*/ 850586 h 5282095"/>
              <a:gd name="connsiteX19767" fmla="*/ 2623320 w 7714416"/>
              <a:gd name="connsiteY19767" fmla="*/ 852774 h 5282095"/>
              <a:gd name="connsiteX19768" fmla="*/ 2622206 w 7714416"/>
              <a:gd name="connsiteY19768" fmla="*/ 850291 h 5282095"/>
              <a:gd name="connsiteX19769" fmla="*/ 2621337 w 7714416"/>
              <a:gd name="connsiteY19769" fmla="*/ 842468 h 5282095"/>
              <a:gd name="connsiteX19770" fmla="*/ 2404137 w 7714416"/>
              <a:gd name="connsiteY19770" fmla="*/ 841771 h 5282095"/>
              <a:gd name="connsiteX19771" fmla="*/ 2405453 w 7714416"/>
              <a:gd name="connsiteY19771" fmla="*/ 843503 h 5282095"/>
              <a:gd name="connsiteX19772" fmla="*/ 2398457 w 7714416"/>
              <a:gd name="connsiteY19772" fmla="*/ 844159 h 5282095"/>
              <a:gd name="connsiteX19773" fmla="*/ 2396444 w 7714416"/>
              <a:gd name="connsiteY19773" fmla="*/ 842814 h 5282095"/>
              <a:gd name="connsiteX19774" fmla="*/ 2404137 w 7714416"/>
              <a:gd name="connsiteY19774" fmla="*/ 841771 h 5282095"/>
              <a:gd name="connsiteX19775" fmla="*/ 1578350 w 7714416"/>
              <a:gd name="connsiteY19775" fmla="*/ 840485 h 5282095"/>
              <a:gd name="connsiteX19776" fmla="*/ 1594286 w 7714416"/>
              <a:gd name="connsiteY19776" fmla="*/ 842584 h 5282095"/>
              <a:gd name="connsiteX19777" fmla="*/ 1582893 w 7714416"/>
              <a:gd name="connsiteY19777" fmla="*/ 856322 h 5282095"/>
              <a:gd name="connsiteX19778" fmla="*/ 1573269 w 7714416"/>
              <a:gd name="connsiteY19778" fmla="*/ 850178 h 5282095"/>
              <a:gd name="connsiteX19779" fmla="*/ 1578350 w 7714416"/>
              <a:gd name="connsiteY19779" fmla="*/ 840485 h 5282095"/>
              <a:gd name="connsiteX19780" fmla="*/ 2536223 w 7714416"/>
              <a:gd name="connsiteY19780" fmla="*/ 840248 h 5282095"/>
              <a:gd name="connsiteX19781" fmla="*/ 2538102 w 7714416"/>
              <a:gd name="connsiteY19781" fmla="*/ 840980 h 5282095"/>
              <a:gd name="connsiteX19782" fmla="*/ 2542598 w 7714416"/>
              <a:gd name="connsiteY19782" fmla="*/ 840805 h 5282095"/>
              <a:gd name="connsiteX19783" fmla="*/ 2546716 w 7714416"/>
              <a:gd name="connsiteY19783" fmla="*/ 845359 h 5282095"/>
              <a:gd name="connsiteX19784" fmla="*/ 2529919 w 7714416"/>
              <a:gd name="connsiteY19784" fmla="*/ 852703 h 5282095"/>
              <a:gd name="connsiteX19785" fmla="*/ 2524324 w 7714416"/>
              <a:gd name="connsiteY19785" fmla="*/ 845914 h 5282095"/>
              <a:gd name="connsiteX19786" fmla="*/ 2519459 w 7714416"/>
              <a:gd name="connsiteY19786" fmla="*/ 844150 h 5282095"/>
              <a:gd name="connsiteX19787" fmla="*/ 2536223 w 7714416"/>
              <a:gd name="connsiteY19787" fmla="*/ 840248 h 5282095"/>
              <a:gd name="connsiteX19788" fmla="*/ 2055878 w 7714416"/>
              <a:gd name="connsiteY19788" fmla="*/ 839881 h 5282095"/>
              <a:gd name="connsiteX19789" fmla="*/ 2056633 w 7714416"/>
              <a:gd name="connsiteY19789" fmla="*/ 848133 h 5282095"/>
              <a:gd name="connsiteX19790" fmla="*/ 2048993 w 7714416"/>
              <a:gd name="connsiteY19790" fmla="*/ 852296 h 5282095"/>
              <a:gd name="connsiteX19791" fmla="*/ 2054882 w 7714416"/>
              <a:gd name="connsiteY19791" fmla="*/ 860200 h 5282095"/>
              <a:gd name="connsiteX19792" fmla="*/ 2059130 w 7714416"/>
              <a:gd name="connsiteY19792" fmla="*/ 877552 h 5282095"/>
              <a:gd name="connsiteX19793" fmla="*/ 2035236 w 7714416"/>
              <a:gd name="connsiteY19793" fmla="*/ 854935 h 5282095"/>
              <a:gd name="connsiteX19794" fmla="*/ 2033647 w 7714416"/>
              <a:gd name="connsiteY19794" fmla="*/ 849795 h 5282095"/>
              <a:gd name="connsiteX19795" fmla="*/ 2031862 w 7714416"/>
              <a:gd name="connsiteY19795" fmla="*/ 850926 h 5282095"/>
              <a:gd name="connsiteX19796" fmla="*/ 2022634 w 7714416"/>
              <a:gd name="connsiteY19796" fmla="*/ 849949 h 5282095"/>
              <a:gd name="connsiteX19797" fmla="*/ 2030288 w 7714416"/>
              <a:gd name="connsiteY19797" fmla="*/ 841304 h 5282095"/>
              <a:gd name="connsiteX19798" fmla="*/ 2033073 w 7714416"/>
              <a:gd name="connsiteY19798" fmla="*/ 843085 h 5282095"/>
              <a:gd name="connsiteX19799" fmla="*/ 2038012 w 7714416"/>
              <a:gd name="connsiteY19799" fmla="*/ 840153 h 5282095"/>
              <a:gd name="connsiteX19800" fmla="*/ 2046609 w 7714416"/>
              <a:gd name="connsiteY19800" fmla="*/ 840157 h 5282095"/>
              <a:gd name="connsiteX19801" fmla="*/ 2046854 w 7714416"/>
              <a:gd name="connsiteY19801" fmla="*/ 843673 h 5282095"/>
              <a:gd name="connsiteX19802" fmla="*/ 2247480 w 7714416"/>
              <a:gd name="connsiteY19802" fmla="*/ 839815 h 5282095"/>
              <a:gd name="connsiteX19803" fmla="*/ 2251030 w 7714416"/>
              <a:gd name="connsiteY19803" fmla="*/ 839846 h 5282095"/>
              <a:gd name="connsiteX19804" fmla="*/ 2254598 w 7714416"/>
              <a:gd name="connsiteY19804" fmla="*/ 840917 h 5282095"/>
              <a:gd name="connsiteX19805" fmla="*/ 2250958 w 7714416"/>
              <a:gd name="connsiteY19805" fmla="*/ 844542 h 5282095"/>
              <a:gd name="connsiteX19806" fmla="*/ 2248755 w 7714416"/>
              <a:gd name="connsiteY19806" fmla="*/ 842802 h 5282095"/>
              <a:gd name="connsiteX19807" fmla="*/ 2247389 w 7714416"/>
              <a:gd name="connsiteY19807" fmla="*/ 843471 h 5282095"/>
              <a:gd name="connsiteX19808" fmla="*/ 2246552 w 7714416"/>
              <a:gd name="connsiteY19808" fmla="*/ 841061 h 5282095"/>
              <a:gd name="connsiteX19809" fmla="*/ 2247642 w 7714416"/>
              <a:gd name="connsiteY19809" fmla="*/ 840318 h 5282095"/>
              <a:gd name="connsiteX19810" fmla="*/ 2247480 w 7714416"/>
              <a:gd name="connsiteY19810" fmla="*/ 839815 h 5282095"/>
              <a:gd name="connsiteX19811" fmla="*/ 1369395 w 7714416"/>
              <a:gd name="connsiteY19811" fmla="*/ 839595 h 5282095"/>
              <a:gd name="connsiteX19812" fmla="*/ 1377639 w 7714416"/>
              <a:gd name="connsiteY19812" fmla="*/ 842035 h 5282095"/>
              <a:gd name="connsiteX19813" fmla="*/ 1374299 w 7714416"/>
              <a:gd name="connsiteY19813" fmla="*/ 843439 h 5282095"/>
              <a:gd name="connsiteX19814" fmla="*/ 1369384 w 7714416"/>
              <a:gd name="connsiteY19814" fmla="*/ 840743 h 5282095"/>
              <a:gd name="connsiteX19815" fmla="*/ 1369395 w 7714416"/>
              <a:gd name="connsiteY19815" fmla="*/ 839595 h 5282095"/>
              <a:gd name="connsiteX19816" fmla="*/ 4687680 w 7714416"/>
              <a:gd name="connsiteY19816" fmla="*/ 838614 h 5282095"/>
              <a:gd name="connsiteX19817" fmla="*/ 4692966 w 7714416"/>
              <a:gd name="connsiteY19817" fmla="*/ 839916 h 5282095"/>
              <a:gd name="connsiteX19818" fmla="*/ 4694701 w 7714416"/>
              <a:gd name="connsiteY19818" fmla="*/ 841186 h 5282095"/>
              <a:gd name="connsiteX19819" fmla="*/ 4696477 w 7714416"/>
              <a:gd name="connsiteY19819" fmla="*/ 841202 h 5282095"/>
              <a:gd name="connsiteX19820" fmla="*/ 4696466 w 7714416"/>
              <a:gd name="connsiteY19820" fmla="*/ 842350 h 5282095"/>
              <a:gd name="connsiteX19821" fmla="*/ 4699966 w 7714416"/>
              <a:gd name="connsiteY19821" fmla="*/ 844782 h 5282095"/>
              <a:gd name="connsiteX19822" fmla="*/ 4710834 w 7714416"/>
              <a:gd name="connsiteY19822" fmla="*/ 848499 h 5282095"/>
              <a:gd name="connsiteX19823" fmla="*/ 4718393 w 7714416"/>
              <a:gd name="connsiteY19823" fmla="*/ 855700 h 5282095"/>
              <a:gd name="connsiteX19824" fmla="*/ 4717495 w 7714416"/>
              <a:gd name="connsiteY19824" fmla="*/ 856839 h 5282095"/>
              <a:gd name="connsiteX19825" fmla="*/ 4720787 w 7714416"/>
              <a:gd name="connsiteY19825" fmla="*/ 857836 h 5282095"/>
              <a:gd name="connsiteX19826" fmla="*/ 4726368 w 7714416"/>
              <a:gd name="connsiteY19826" fmla="*/ 869107 h 5282095"/>
              <a:gd name="connsiteX19827" fmla="*/ 4721965 w 7714416"/>
              <a:gd name="connsiteY19827" fmla="*/ 871147 h 5282095"/>
              <a:gd name="connsiteX19828" fmla="*/ 4718706 w 7714416"/>
              <a:gd name="connsiteY19828" fmla="*/ 875564 h 5282095"/>
              <a:gd name="connsiteX19829" fmla="*/ 4710685 w 7714416"/>
              <a:gd name="connsiteY19829" fmla="*/ 878934 h 5282095"/>
              <a:gd name="connsiteX19830" fmla="*/ 4703975 w 7714416"/>
              <a:gd name="connsiteY19830" fmla="*/ 878518 h 5282095"/>
              <a:gd name="connsiteX19831" fmla="*/ 4698614 w 7714416"/>
              <a:gd name="connsiteY19831" fmla="*/ 876390 h 5282095"/>
              <a:gd name="connsiteX19832" fmla="*/ 4692085 w 7714416"/>
              <a:gd name="connsiteY19832" fmla="*/ 868661 h 5282095"/>
              <a:gd name="connsiteX19833" fmla="*/ 4691934 w 7714416"/>
              <a:gd name="connsiteY19833" fmla="*/ 867010 h 5282095"/>
              <a:gd name="connsiteX19834" fmla="*/ 4691075 w 7714416"/>
              <a:gd name="connsiteY19834" fmla="*/ 866895 h 5282095"/>
              <a:gd name="connsiteX19835" fmla="*/ 4673736 w 7714416"/>
              <a:gd name="connsiteY19835" fmla="*/ 864089 h 5282095"/>
              <a:gd name="connsiteX19836" fmla="*/ 4690511 w 7714416"/>
              <a:gd name="connsiteY19836" fmla="*/ 859038 h 5282095"/>
              <a:gd name="connsiteX19837" fmla="*/ 4694996 w 7714416"/>
              <a:gd name="connsiteY19837" fmla="*/ 860011 h 5282095"/>
              <a:gd name="connsiteX19838" fmla="*/ 4700688 w 7714416"/>
              <a:gd name="connsiteY19838" fmla="*/ 856476 h 5282095"/>
              <a:gd name="connsiteX19839" fmla="*/ 4708076 w 7714416"/>
              <a:gd name="connsiteY19839" fmla="*/ 855466 h 5282095"/>
              <a:gd name="connsiteX19840" fmla="*/ 4706301 w 7714416"/>
              <a:gd name="connsiteY19840" fmla="*/ 855449 h 5282095"/>
              <a:gd name="connsiteX19841" fmla="*/ 4687680 w 7714416"/>
              <a:gd name="connsiteY19841" fmla="*/ 838614 h 5282095"/>
              <a:gd name="connsiteX19842" fmla="*/ 1348190 w 7714416"/>
              <a:gd name="connsiteY19842" fmla="*/ 837939 h 5282095"/>
              <a:gd name="connsiteX19843" fmla="*/ 1351981 w 7714416"/>
              <a:gd name="connsiteY19843" fmla="*/ 853675 h 5282095"/>
              <a:gd name="connsiteX19844" fmla="*/ 1340421 w 7714416"/>
              <a:gd name="connsiteY19844" fmla="*/ 847012 h 5282095"/>
              <a:gd name="connsiteX19845" fmla="*/ 1348190 w 7714416"/>
              <a:gd name="connsiteY19845" fmla="*/ 837939 h 5282095"/>
              <a:gd name="connsiteX19846" fmla="*/ 4770907 w 7714416"/>
              <a:gd name="connsiteY19846" fmla="*/ 837915 h 5282095"/>
              <a:gd name="connsiteX19847" fmla="*/ 4777214 w 7714416"/>
              <a:gd name="connsiteY19847" fmla="*/ 839835 h 5282095"/>
              <a:gd name="connsiteX19848" fmla="*/ 4762300 w 7714416"/>
              <a:gd name="connsiteY19848" fmla="*/ 862289 h 5282095"/>
              <a:gd name="connsiteX19849" fmla="*/ 4757042 w 7714416"/>
              <a:gd name="connsiteY19849" fmla="*/ 860880 h 5282095"/>
              <a:gd name="connsiteX19850" fmla="*/ 4750452 w 7714416"/>
              <a:gd name="connsiteY19850" fmla="*/ 856700 h 5282095"/>
              <a:gd name="connsiteX19851" fmla="*/ 4755328 w 7714416"/>
              <a:gd name="connsiteY19851" fmla="*/ 839606 h 5282095"/>
              <a:gd name="connsiteX19852" fmla="*/ 4770907 w 7714416"/>
              <a:gd name="connsiteY19852" fmla="*/ 837915 h 5282095"/>
              <a:gd name="connsiteX19853" fmla="*/ 943991 w 7714416"/>
              <a:gd name="connsiteY19853" fmla="*/ 837850 h 5282095"/>
              <a:gd name="connsiteX19854" fmla="*/ 950037 w 7714416"/>
              <a:gd name="connsiteY19854" fmla="*/ 840736 h 5282095"/>
              <a:gd name="connsiteX19855" fmla="*/ 944443 w 7714416"/>
              <a:gd name="connsiteY19855" fmla="*/ 842802 h 5282095"/>
              <a:gd name="connsiteX19856" fmla="*/ 942544 w 7714416"/>
              <a:gd name="connsiteY19856" fmla="*/ 841028 h 5282095"/>
              <a:gd name="connsiteX19857" fmla="*/ 943991 w 7714416"/>
              <a:gd name="connsiteY19857" fmla="*/ 837850 h 5282095"/>
              <a:gd name="connsiteX19858" fmla="*/ 4788946 w 7714416"/>
              <a:gd name="connsiteY19858" fmla="*/ 836999 h 5282095"/>
              <a:gd name="connsiteX19859" fmla="*/ 4796820 w 7714416"/>
              <a:gd name="connsiteY19859" fmla="*/ 864064 h 5282095"/>
              <a:gd name="connsiteX19860" fmla="*/ 4786984 w 7714416"/>
              <a:gd name="connsiteY19860" fmla="*/ 850963 h 5282095"/>
              <a:gd name="connsiteX19861" fmla="*/ 4788946 w 7714416"/>
              <a:gd name="connsiteY19861" fmla="*/ 836999 h 5282095"/>
              <a:gd name="connsiteX19862" fmla="*/ 1726050 w 7714416"/>
              <a:gd name="connsiteY19862" fmla="*/ 836721 h 5282095"/>
              <a:gd name="connsiteX19863" fmla="*/ 1727659 w 7714416"/>
              <a:gd name="connsiteY19863" fmla="*/ 848422 h 5282095"/>
              <a:gd name="connsiteX19864" fmla="*/ 1725712 w 7714416"/>
              <a:gd name="connsiteY19864" fmla="*/ 849049 h 5282095"/>
              <a:gd name="connsiteX19865" fmla="*/ 1706328 w 7714416"/>
              <a:gd name="connsiteY19865" fmla="*/ 848341 h 5282095"/>
              <a:gd name="connsiteX19866" fmla="*/ 1709336 w 7714416"/>
              <a:gd name="connsiteY19866" fmla="*/ 838222 h 5282095"/>
              <a:gd name="connsiteX19867" fmla="*/ 1726050 w 7714416"/>
              <a:gd name="connsiteY19867" fmla="*/ 836721 h 5282095"/>
              <a:gd name="connsiteX19868" fmla="*/ 4922167 w 7714416"/>
              <a:gd name="connsiteY19868" fmla="*/ 835665 h 5282095"/>
              <a:gd name="connsiteX19869" fmla="*/ 4925315 w 7714416"/>
              <a:gd name="connsiteY19869" fmla="*/ 846053 h 5282095"/>
              <a:gd name="connsiteX19870" fmla="*/ 4922929 w 7714416"/>
              <a:gd name="connsiteY19870" fmla="*/ 846105 h 5282095"/>
              <a:gd name="connsiteX19871" fmla="*/ 4920087 w 7714416"/>
              <a:gd name="connsiteY19871" fmla="*/ 844537 h 5282095"/>
              <a:gd name="connsiteX19872" fmla="*/ 4922167 w 7714416"/>
              <a:gd name="connsiteY19872" fmla="*/ 835665 h 5282095"/>
              <a:gd name="connsiteX19873" fmla="*/ 1416004 w 7714416"/>
              <a:gd name="connsiteY19873" fmla="*/ 835410 h 5282095"/>
              <a:gd name="connsiteX19874" fmla="*/ 1423601 w 7714416"/>
              <a:gd name="connsiteY19874" fmla="*/ 845380 h 5282095"/>
              <a:gd name="connsiteX19875" fmla="*/ 1411843 w 7714416"/>
              <a:gd name="connsiteY19875" fmla="*/ 844989 h 5282095"/>
              <a:gd name="connsiteX19876" fmla="*/ 1409385 w 7714416"/>
              <a:gd name="connsiteY19876" fmla="*/ 840881 h 5282095"/>
              <a:gd name="connsiteX19877" fmla="*/ 1416004 w 7714416"/>
              <a:gd name="connsiteY19877" fmla="*/ 835410 h 5282095"/>
              <a:gd name="connsiteX19878" fmla="*/ 1737466 w 7714416"/>
              <a:gd name="connsiteY19878" fmla="*/ 835064 h 5282095"/>
              <a:gd name="connsiteX19879" fmla="*/ 1758456 w 7714416"/>
              <a:gd name="connsiteY19879" fmla="*/ 850809 h 5282095"/>
              <a:gd name="connsiteX19880" fmla="*/ 1758180 w 7714416"/>
              <a:gd name="connsiteY19880" fmla="*/ 850735 h 5282095"/>
              <a:gd name="connsiteX19881" fmla="*/ 1759283 w 7714416"/>
              <a:gd name="connsiteY19881" fmla="*/ 854365 h 5282095"/>
              <a:gd name="connsiteX19882" fmla="*/ 1753954 w 7714416"/>
              <a:gd name="connsiteY19882" fmla="*/ 857652 h 5282095"/>
              <a:gd name="connsiteX19883" fmla="*/ 1753252 w 7714416"/>
              <a:gd name="connsiteY19883" fmla="*/ 852519 h 5282095"/>
              <a:gd name="connsiteX19884" fmla="*/ 1755776 w 7714416"/>
              <a:gd name="connsiteY19884" fmla="*/ 849745 h 5282095"/>
              <a:gd name="connsiteX19885" fmla="*/ 1744833 w 7714416"/>
              <a:gd name="connsiteY19885" fmla="*/ 845203 h 5282095"/>
              <a:gd name="connsiteX19886" fmla="*/ 1736363 w 7714416"/>
              <a:gd name="connsiteY19886" fmla="*/ 840288 h 5282095"/>
              <a:gd name="connsiteX19887" fmla="*/ 1737466 w 7714416"/>
              <a:gd name="connsiteY19887" fmla="*/ 835064 h 5282095"/>
              <a:gd name="connsiteX19888" fmla="*/ 4825342 w 7714416"/>
              <a:gd name="connsiteY19888" fmla="*/ 833986 h 5282095"/>
              <a:gd name="connsiteX19889" fmla="*/ 4828864 w 7714416"/>
              <a:gd name="connsiteY19889" fmla="*/ 834124 h 5282095"/>
              <a:gd name="connsiteX19890" fmla="*/ 4828130 w 7714416"/>
              <a:gd name="connsiteY19890" fmla="*/ 841289 h 5282095"/>
              <a:gd name="connsiteX19891" fmla="*/ 4826830 w 7714416"/>
              <a:gd name="connsiteY19891" fmla="*/ 843929 h 5282095"/>
              <a:gd name="connsiteX19892" fmla="*/ 4826743 w 7714416"/>
              <a:gd name="connsiteY19892" fmla="*/ 844252 h 5282095"/>
              <a:gd name="connsiteX19893" fmla="*/ 4829212 w 7714416"/>
              <a:gd name="connsiteY19893" fmla="*/ 847212 h 5282095"/>
              <a:gd name="connsiteX19894" fmla="*/ 4831095 w 7714416"/>
              <a:gd name="connsiteY19894" fmla="*/ 853468 h 5282095"/>
              <a:gd name="connsiteX19895" fmla="*/ 4822988 w 7714416"/>
              <a:gd name="connsiteY19895" fmla="*/ 857161 h 5282095"/>
              <a:gd name="connsiteX19896" fmla="*/ 4818855 w 7714416"/>
              <a:gd name="connsiteY19896" fmla="*/ 857088 h 5282095"/>
              <a:gd name="connsiteX19897" fmla="*/ 4818406 w 7714416"/>
              <a:gd name="connsiteY19897" fmla="*/ 857658 h 5282095"/>
              <a:gd name="connsiteX19898" fmla="*/ 4812905 w 7714416"/>
              <a:gd name="connsiteY19898" fmla="*/ 861589 h 5282095"/>
              <a:gd name="connsiteX19899" fmla="*/ 4813559 w 7714416"/>
              <a:gd name="connsiteY19899" fmla="*/ 856933 h 5282095"/>
              <a:gd name="connsiteX19900" fmla="*/ 4812671 w 7714416"/>
              <a:gd name="connsiteY19900" fmla="*/ 856926 h 5282095"/>
              <a:gd name="connsiteX19901" fmla="*/ 4807644 w 7714416"/>
              <a:gd name="connsiteY19901" fmla="*/ 854659 h 5282095"/>
              <a:gd name="connsiteX19902" fmla="*/ 4818274 w 7714416"/>
              <a:gd name="connsiteY19902" fmla="*/ 839337 h 5282095"/>
              <a:gd name="connsiteX19903" fmla="*/ 4819877 w 7714416"/>
              <a:gd name="connsiteY19903" fmla="*/ 839996 h 5282095"/>
              <a:gd name="connsiteX19904" fmla="*/ 4820940 w 7714416"/>
              <a:gd name="connsiteY19904" fmla="*/ 836026 h 5282095"/>
              <a:gd name="connsiteX19905" fmla="*/ 4824778 w 7714416"/>
              <a:gd name="connsiteY19905" fmla="*/ 834984 h 5282095"/>
              <a:gd name="connsiteX19906" fmla="*/ 4825342 w 7714416"/>
              <a:gd name="connsiteY19906" fmla="*/ 833986 h 5282095"/>
              <a:gd name="connsiteX19907" fmla="*/ 4503700 w 7714416"/>
              <a:gd name="connsiteY19907" fmla="*/ 833479 h 5282095"/>
              <a:gd name="connsiteX19908" fmla="*/ 4504418 w 7714416"/>
              <a:gd name="connsiteY19908" fmla="*/ 848506 h 5282095"/>
              <a:gd name="connsiteX19909" fmla="*/ 4503700 w 7714416"/>
              <a:gd name="connsiteY19909" fmla="*/ 833479 h 5282095"/>
              <a:gd name="connsiteX19910" fmla="*/ 4964575 w 7714416"/>
              <a:gd name="connsiteY19910" fmla="*/ 833458 h 5282095"/>
              <a:gd name="connsiteX19911" fmla="*/ 4969659 w 7714416"/>
              <a:gd name="connsiteY19911" fmla="*/ 835510 h 5282095"/>
              <a:gd name="connsiteX19912" fmla="*/ 4971905 w 7714416"/>
              <a:gd name="connsiteY19912" fmla="*/ 841517 h 5282095"/>
              <a:gd name="connsiteX19913" fmla="*/ 4956874 w 7714416"/>
              <a:gd name="connsiteY19913" fmla="*/ 841169 h 5282095"/>
              <a:gd name="connsiteX19914" fmla="*/ 4954883 w 7714416"/>
              <a:gd name="connsiteY19914" fmla="*/ 837531 h 5282095"/>
              <a:gd name="connsiteX19915" fmla="*/ 4964575 w 7714416"/>
              <a:gd name="connsiteY19915" fmla="*/ 833458 h 5282095"/>
              <a:gd name="connsiteX19916" fmla="*/ 1759747 w 7714416"/>
              <a:gd name="connsiteY19916" fmla="*/ 831603 h 5282095"/>
              <a:gd name="connsiteX19917" fmla="*/ 1761072 w 7714416"/>
              <a:gd name="connsiteY19917" fmla="*/ 832189 h 5282095"/>
              <a:gd name="connsiteX19918" fmla="*/ 1762492 w 7714416"/>
              <a:gd name="connsiteY19918" fmla="*/ 834640 h 5282095"/>
              <a:gd name="connsiteX19919" fmla="*/ 1763046 w 7714416"/>
              <a:gd name="connsiteY19919" fmla="*/ 834788 h 5282095"/>
              <a:gd name="connsiteX19920" fmla="*/ 1767907 w 7714416"/>
              <a:gd name="connsiteY19920" fmla="*/ 839885 h 5282095"/>
              <a:gd name="connsiteX19921" fmla="*/ 1759954 w 7714416"/>
              <a:gd name="connsiteY19921" fmla="*/ 841894 h 5282095"/>
              <a:gd name="connsiteX19922" fmla="*/ 1754166 w 7714416"/>
              <a:gd name="connsiteY19922" fmla="*/ 838043 h 5282095"/>
              <a:gd name="connsiteX19923" fmla="*/ 1753102 w 7714416"/>
              <a:gd name="connsiteY19923" fmla="*/ 833158 h 5282095"/>
              <a:gd name="connsiteX19924" fmla="*/ 1757645 w 7714416"/>
              <a:gd name="connsiteY19924" fmla="*/ 833915 h 5282095"/>
              <a:gd name="connsiteX19925" fmla="*/ 1807879 w 7714416"/>
              <a:gd name="connsiteY19925" fmla="*/ 831276 h 5282095"/>
              <a:gd name="connsiteX19926" fmla="*/ 1824344 w 7714416"/>
              <a:gd name="connsiteY19926" fmla="*/ 838448 h 5282095"/>
              <a:gd name="connsiteX19927" fmla="*/ 1819982 w 7714416"/>
              <a:gd name="connsiteY19927" fmla="*/ 839234 h 5282095"/>
              <a:gd name="connsiteX19928" fmla="*/ 1807879 w 7714416"/>
              <a:gd name="connsiteY19928" fmla="*/ 831276 h 5282095"/>
              <a:gd name="connsiteX19929" fmla="*/ 1352473 w 7714416"/>
              <a:gd name="connsiteY19929" fmla="*/ 830807 h 5282095"/>
              <a:gd name="connsiteX19930" fmla="*/ 1360648 w 7714416"/>
              <a:gd name="connsiteY19930" fmla="*/ 834607 h 5282095"/>
              <a:gd name="connsiteX19931" fmla="*/ 1358098 w 7714416"/>
              <a:gd name="connsiteY19931" fmla="*/ 837489 h 5282095"/>
              <a:gd name="connsiteX19932" fmla="*/ 1351830 w 7714416"/>
              <a:gd name="connsiteY19932" fmla="*/ 834314 h 5282095"/>
              <a:gd name="connsiteX19933" fmla="*/ 1352473 w 7714416"/>
              <a:gd name="connsiteY19933" fmla="*/ 830807 h 5282095"/>
              <a:gd name="connsiteX19934" fmla="*/ 2378142 w 7714416"/>
              <a:gd name="connsiteY19934" fmla="*/ 830320 h 5282095"/>
              <a:gd name="connsiteX19935" fmla="*/ 2393552 w 7714416"/>
              <a:gd name="connsiteY19935" fmla="*/ 843649 h 5282095"/>
              <a:gd name="connsiteX19936" fmla="*/ 2387068 w 7714416"/>
              <a:gd name="connsiteY19936" fmla="*/ 845707 h 5282095"/>
              <a:gd name="connsiteX19937" fmla="*/ 2388175 w 7714416"/>
              <a:gd name="connsiteY19937" fmla="*/ 846003 h 5282095"/>
              <a:gd name="connsiteX19938" fmla="*/ 2380316 w 7714416"/>
              <a:gd name="connsiteY19938" fmla="*/ 849878 h 5282095"/>
              <a:gd name="connsiteX19939" fmla="*/ 2379302 w 7714416"/>
              <a:gd name="connsiteY19939" fmla="*/ 851446 h 5282095"/>
              <a:gd name="connsiteX19940" fmla="*/ 2375127 w 7714416"/>
              <a:gd name="connsiteY19940" fmla="*/ 855963 h 5282095"/>
              <a:gd name="connsiteX19941" fmla="*/ 2367896 w 7714416"/>
              <a:gd name="connsiteY19941" fmla="*/ 851954 h 5282095"/>
              <a:gd name="connsiteX19942" fmla="*/ 2366340 w 7714416"/>
              <a:gd name="connsiteY19942" fmla="*/ 852228 h 5282095"/>
              <a:gd name="connsiteX19943" fmla="*/ 2343820 w 7714416"/>
              <a:gd name="connsiteY19943" fmla="*/ 848839 h 5282095"/>
              <a:gd name="connsiteX19944" fmla="*/ 2353770 w 7714416"/>
              <a:gd name="connsiteY19944" fmla="*/ 843801 h 5282095"/>
              <a:gd name="connsiteX19945" fmla="*/ 2363936 w 7714416"/>
              <a:gd name="connsiteY19945" fmla="*/ 842383 h 5282095"/>
              <a:gd name="connsiteX19946" fmla="*/ 2363749 w 7714416"/>
              <a:gd name="connsiteY19946" fmla="*/ 838654 h 5282095"/>
              <a:gd name="connsiteX19947" fmla="*/ 2361572 w 7714416"/>
              <a:gd name="connsiteY19947" fmla="*/ 840140 h 5282095"/>
              <a:gd name="connsiteX19948" fmla="*/ 2361198 w 7714416"/>
              <a:gd name="connsiteY19948" fmla="*/ 841535 h 5282095"/>
              <a:gd name="connsiteX19949" fmla="*/ 2358726 w 7714416"/>
              <a:gd name="connsiteY19949" fmla="*/ 841907 h 5282095"/>
              <a:gd name="connsiteX19950" fmla="*/ 2358000 w 7714416"/>
              <a:gd name="connsiteY19950" fmla="*/ 842403 h 5282095"/>
              <a:gd name="connsiteX19951" fmla="*/ 2324663 w 7714416"/>
              <a:gd name="connsiteY19951" fmla="*/ 841750 h 5282095"/>
              <a:gd name="connsiteX19952" fmla="*/ 2341660 w 7714416"/>
              <a:gd name="connsiteY19952" fmla="*/ 833656 h 5282095"/>
              <a:gd name="connsiteX19953" fmla="*/ 2364295 w 7714416"/>
              <a:gd name="connsiteY19953" fmla="*/ 836615 h 5282095"/>
              <a:gd name="connsiteX19954" fmla="*/ 2365215 w 7714416"/>
              <a:gd name="connsiteY19954" fmla="*/ 833181 h 5282095"/>
              <a:gd name="connsiteX19955" fmla="*/ 2372363 w 7714416"/>
              <a:gd name="connsiteY19955" fmla="*/ 834177 h 5282095"/>
              <a:gd name="connsiteX19956" fmla="*/ 2375529 w 7714416"/>
              <a:gd name="connsiteY19956" fmla="*/ 836750 h 5282095"/>
              <a:gd name="connsiteX19957" fmla="*/ 1985930 w 7714416"/>
              <a:gd name="connsiteY19957" fmla="*/ 829763 h 5282095"/>
              <a:gd name="connsiteX19958" fmla="*/ 1988409 w 7714416"/>
              <a:gd name="connsiteY19958" fmla="*/ 831578 h 5282095"/>
              <a:gd name="connsiteX19959" fmla="*/ 1984421 w 7714416"/>
              <a:gd name="connsiteY19959" fmla="*/ 830969 h 5282095"/>
              <a:gd name="connsiteX19960" fmla="*/ 1985930 w 7714416"/>
              <a:gd name="connsiteY19960" fmla="*/ 829763 h 5282095"/>
              <a:gd name="connsiteX19961" fmla="*/ 1996391 w 7714416"/>
              <a:gd name="connsiteY19961" fmla="*/ 829461 h 5282095"/>
              <a:gd name="connsiteX19962" fmla="*/ 1996714 w 7714416"/>
              <a:gd name="connsiteY19962" fmla="*/ 830468 h 5282095"/>
              <a:gd name="connsiteX19963" fmla="*/ 1994270 w 7714416"/>
              <a:gd name="connsiteY19963" fmla="*/ 830734 h 5282095"/>
              <a:gd name="connsiteX19964" fmla="*/ 1992725 w 7714416"/>
              <a:gd name="connsiteY19964" fmla="*/ 829859 h 5282095"/>
              <a:gd name="connsiteX19965" fmla="*/ 1996391 w 7714416"/>
              <a:gd name="connsiteY19965" fmla="*/ 829461 h 5282095"/>
              <a:gd name="connsiteX19966" fmla="*/ 1951676 w 7714416"/>
              <a:gd name="connsiteY19966" fmla="*/ 829210 h 5282095"/>
              <a:gd name="connsiteX19967" fmla="*/ 1957792 w 7714416"/>
              <a:gd name="connsiteY19967" fmla="*/ 830734 h 5282095"/>
              <a:gd name="connsiteX19968" fmla="*/ 1962039 w 7714416"/>
              <a:gd name="connsiteY19968" fmla="*/ 830377 h 5282095"/>
              <a:gd name="connsiteX19969" fmla="*/ 1984478 w 7714416"/>
              <a:gd name="connsiteY19969" fmla="*/ 830754 h 5282095"/>
              <a:gd name="connsiteX19970" fmla="*/ 1970570 w 7714416"/>
              <a:gd name="connsiteY19970" fmla="*/ 831742 h 5282095"/>
              <a:gd name="connsiteX19971" fmla="*/ 1958345 w 7714416"/>
              <a:gd name="connsiteY19971" fmla="*/ 830882 h 5282095"/>
              <a:gd name="connsiteX19972" fmla="*/ 1967476 w 7714416"/>
              <a:gd name="connsiteY19972" fmla="*/ 833329 h 5282095"/>
              <a:gd name="connsiteX19973" fmla="*/ 2000601 w 7714416"/>
              <a:gd name="connsiteY19973" fmla="*/ 844735 h 5282095"/>
              <a:gd name="connsiteX19974" fmla="*/ 2020473 w 7714416"/>
              <a:gd name="connsiteY19974" fmla="*/ 870185 h 5282095"/>
              <a:gd name="connsiteX19975" fmla="*/ 2016629 w 7714416"/>
              <a:gd name="connsiteY19975" fmla="*/ 877895 h 5282095"/>
              <a:gd name="connsiteX19976" fmla="*/ 2015187 w 7714416"/>
              <a:gd name="connsiteY19976" fmla="*/ 886594 h 5282095"/>
              <a:gd name="connsiteX19977" fmla="*/ 2021681 w 7714416"/>
              <a:gd name="connsiteY19977" fmla="*/ 892243 h 5282095"/>
              <a:gd name="connsiteX19978" fmla="*/ 2020218 w 7714416"/>
              <a:gd name="connsiteY19978" fmla="*/ 903236 h 5282095"/>
              <a:gd name="connsiteX19979" fmla="*/ 2012973 w 7714416"/>
              <a:gd name="connsiteY19979" fmla="*/ 903710 h 5282095"/>
              <a:gd name="connsiteX19980" fmla="*/ 2012599 w 7714416"/>
              <a:gd name="connsiteY19980" fmla="*/ 905106 h 5282095"/>
              <a:gd name="connsiteX19981" fmla="*/ 1988394 w 7714416"/>
              <a:gd name="connsiteY19981" fmla="*/ 915755 h 5282095"/>
              <a:gd name="connsiteX19982" fmla="*/ 1986301 w 7714416"/>
              <a:gd name="connsiteY19982" fmla="*/ 916919 h 5282095"/>
              <a:gd name="connsiteX19983" fmla="*/ 1990890 w 7714416"/>
              <a:gd name="connsiteY19983" fmla="*/ 918608 h 5282095"/>
              <a:gd name="connsiteX19984" fmla="*/ 1995990 w 7714416"/>
              <a:gd name="connsiteY19984" fmla="*/ 925035 h 5282095"/>
              <a:gd name="connsiteX19985" fmla="*/ 2003395 w 7714416"/>
              <a:gd name="connsiteY19985" fmla="*/ 925064 h 5282095"/>
              <a:gd name="connsiteX19986" fmla="*/ 2020340 w 7714416"/>
              <a:gd name="connsiteY19986" fmla="*/ 931560 h 5282095"/>
              <a:gd name="connsiteX19987" fmla="*/ 2024799 w 7714416"/>
              <a:gd name="connsiteY19987" fmla="*/ 938160 h 5282095"/>
              <a:gd name="connsiteX19988" fmla="*/ 2025906 w 7714416"/>
              <a:gd name="connsiteY19988" fmla="*/ 938457 h 5282095"/>
              <a:gd name="connsiteX19989" fmla="*/ 2027663 w 7714416"/>
              <a:gd name="connsiteY19989" fmla="*/ 946287 h 5282095"/>
              <a:gd name="connsiteX19990" fmla="*/ 2019254 w 7714416"/>
              <a:gd name="connsiteY19990" fmla="*/ 946679 h 5282095"/>
              <a:gd name="connsiteX19991" fmla="*/ 2016116 w 7714416"/>
              <a:gd name="connsiteY19991" fmla="*/ 943999 h 5282095"/>
              <a:gd name="connsiteX19992" fmla="*/ 2016404 w 7714416"/>
              <a:gd name="connsiteY19992" fmla="*/ 942925 h 5282095"/>
              <a:gd name="connsiteX19993" fmla="*/ 2016674 w 7714416"/>
              <a:gd name="connsiteY19993" fmla="*/ 940812 h 5282095"/>
              <a:gd name="connsiteX19994" fmla="*/ 2005057 w 7714416"/>
              <a:gd name="connsiteY19994" fmla="*/ 943220 h 5282095"/>
              <a:gd name="connsiteX19995" fmla="*/ 1978184 w 7714416"/>
              <a:gd name="connsiteY19995" fmla="*/ 939470 h 5282095"/>
              <a:gd name="connsiteX19996" fmla="*/ 1985034 w 7714416"/>
              <a:gd name="connsiteY19996" fmla="*/ 924975 h 5282095"/>
              <a:gd name="connsiteX19997" fmla="*/ 1985587 w 7714416"/>
              <a:gd name="connsiteY19997" fmla="*/ 925123 h 5282095"/>
              <a:gd name="connsiteX19998" fmla="*/ 1985292 w 7714416"/>
              <a:gd name="connsiteY19998" fmla="*/ 924008 h 5282095"/>
              <a:gd name="connsiteX19999" fmla="*/ 1982873 w 7714416"/>
              <a:gd name="connsiteY19999" fmla="*/ 918646 h 5282095"/>
              <a:gd name="connsiteX20000" fmla="*/ 1985356 w 7714416"/>
              <a:gd name="connsiteY20000" fmla="*/ 917126 h 5282095"/>
              <a:gd name="connsiteX20001" fmla="*/ 1964434 w 7714416"/>
              <a:gd name="connsiteY20001" fmla="*/ 926586 h 5282095"/>
              <a:gd name="connsiteX20002" fmla="*/ 1950599 w 7714416"/>
              <a:gd name="connsiteY20002" fmla="*/ 922879 h 5282095"/>
              <a:gd name="connsiteX20003" fmla="*/ 1950265 w 7714416"/>
              <a:gd name="connsiteY20003" fmla="*/ 923018 h 5282095"/>
              <a:gd name="connsiteX20004" fmla="*/ 1950503 w 7714416"/>
              <a:gd name="connsiteY20004" fmla="*/ 924347 h 5282095"/>
              <a:gd name="connsiteX20005" fmla="*/ 1952105 w 7714416"/>
              <a:gd name="connsiteY20005" fmla="*/ 925007 h 5282095"/>
              <a:gd name="connsiteX20006" fmla="*/ 1949899 w 7714416"/>
              <a:gd name="connsiteY20006" fmla="*/ 926600 h 5282095"/>
              <a:gd name="connsiteX20007" fmla="*/ 1937587 w 7714416"/>
              <a:gd name="connsiteY20007" fmla="*/ 926061 h 5282095"/>
              <a:gd name="connsiteX20008" fmla="*/ 1936570 w 7714416"/>
              <a:gd name="connsiteY20008" fmla="*/ 922109 h 5282095"/>
              <a:gd name="connsiteX20009" fmla="*/ 1938385 w 7714416"/>
              <a:gd name="connsiteY20009" fmla="*/ 920870 h 5282095"/>
              <a:gd name="connsiteX20010" fmla="*/ 1928078 w 7714416"/>
              <a:gd name="connsiteY20010" fmla="*/ 919488 h 5282095"/>
              <a:gd name="connsiteX20011" fmla="*/ 1895576 w 7714416"/>
              <a:gd name="connsiteY20011" fmla="*/ 906869 h 5282095"/>
              <a:gd name="connsiteX20012" fmla="*/ 1880145 w 7714416"/>
              <a:gd name="connsiteY20012" fmla="*/ 878125 h 5282095"/>
              <a:gd name="connsiteX20013" fmla="*/ 1883362 w 7714416"/>
              <a:gd name="connsiteY20013" fmla="*/ 869442 h 5282095"/>
              <a:gd name="connsiteX20014" fmla="*/ 1876669 w 7714416"/>
              <a:gd name="connsiteY20014" fmla="*/ 870064 h 5282095"/>
              <a:gd name="connsiteX20015" fmla="*/ 1873511 w 7714416"/>
              <a:gd name="connsiteY20015" fmla="*/ 860822 h 5282095"/>
              <a:gd name="connsiteX20016" fmla="*/ 1878836 w 7714416"/>
              <a:gd name="connsiteY20016" fmla="*/ 860868 h 5282095"/>
              <a:gd name="connsiteX20017" fmla="*/ 1885524 w 7714416"/>
              <a:gd name="connsiteY20017" fmla="*/ 863581 h 5282095"/>
              <a:gd name="connsiteX20018" fmla="*/ 1886031 w 7714416"/>
              <a:gd name="connsiteY20018" fmla="*/ 862796 h 5282095"/>
              <a:gd name="connsiteX20019" fmla="*/ 1891289 w 7714416"/>
              <a:gd name="connsiteY20019" fmla="*/ 855350 h 5282095"/>
              <a:gd name="connsiteX20020" fmla="*/ 1887850 w 7714416"/>
              <a:gd name="connsiteY20020" fmla="*/ 849369 h 5282095"/>
              <a:gd name="connsiteX20021" fmla="*/ 1894750 w 7714416"/>
              <a:gd name="connsiteY20021" fmla="*/ 850183 h 5282095"/>
              <a:gd name="connsiteX20022" fmla="*/ 1896546 w 7714416"/>
              <a:gd name="connsiteY20022" fmla="*/ 847904 h 5282095"/>
              <a:gd name="connsiteX20023" fmla="*/ 1903673 w 7714416"/>
              <a:gd name="connsiteY20023" fmla="*/ 842338 h 5282095"/>
              <a:gd name="connsiteX20024" fmla="*/ 1902957 w 7714416"/>
              <a:gd name="connsiteY20024" fmla="*/ 841687 h 5282095"/>
              <a:gd name="connsiteX20025" fmla="*/ 1903601 w 7714416"/>
              <a:gd name="connsiteY20025" fmla="*/ 838179 h 5282095"/>
              <a:gd name="connsiteX20026" fmla="*/ 1911104 w 7714416"/>
              <a:gd name="connsiteY20026" fmla="*/ 836739 h 5282095"/>
              <a:gd name="connsiteX20027" fmla="*/ 1912192 w 7714416"/>
              <a:gd name="connsiteY20027" fmla="*/ 835996 h 5282095"/>
              <a:gd name="connsiteX20028" fmla="*/ 1933560 w 7714416"/>
              <a:gd name="connsiteY20028" fmla="*/ 829301 h 5282095"/>
              <a:gd name="connsiteX20029" fmla="*/ 1951676 w 7714416"/>
              <a:gd name="connsiteY20029" fmla="*/ 829210 h 5282095"/>
              <a:gd name="connsiteX20030" fmla="*/ 1430079 w 7714416"/>
              <a:gd name="connsiteY20030" fmla="*/ 828816 h 5282095"/>
              <a:gd name="connsiteX20031" fmla="*/ 1436178 w 7714416"/>
              <a:gd name="connsiteY20031" fmla="*/ 829430 h 5282095"/>
              <a:gd name="connsiteX20032" fmla="*/ 1434823 w 7714416"/>
              <a:gd name="connsiteY20032" fmla="*/ 837808 h 5282095"/>
              <a:gd name="connsiteX20033" fmla="*/ 1429394 w 7714416"/>
              <a:gd name="connsiteY20033" fmla="*/ 837042 h 5282095"/>
              <a:gd name="connsiteX20034" fmla="*/ 1424104 w 7714416"/>
              <a:gd name="connsiteY20034" fmla="*/ 830220 h 5282095"/>
              <a:gd name="connsiteX20035" fmla="*/ 1430079 w 7714416"/>
              <a:gd name="connsiteY20035" fmla="*/ 828816 h 5282095"/>
              <a:gd name="connsiteX20036" fmla="*/ 2004084 w 7714416"/>
              <a:gd name="connsiteY20036" fmla="*/ 828418 h 5282095"/>
              <a:gd name="connsiteX20037" fmla="*/ 2007327 w 7714416"/>
              <a:gd name="connsiteY20037" fmla="*/ 831816 h 5282095"/>
              <a:gd name="connsiteX20038" fmla="*/ 2001896 w 7714416"/>
              <a:gd name="connsiteY20038" fmla="*/ 831051 h 5282095"/>
              <a:gd name="connsiteX20039" fmla="*/ 1997584 w 7714416"/>
              <a:gd name="connsiteY20039" fmla="*/ 829436 h 5282095"/>
              <a:gd name="connsiteX20040" fmla="*/ 2004084 w 7714416"/>
              <a:gd name="connsiteY20040" fmla="*/ 828418 h 5282095"/>
              <a:gd name="connsiteX20041" fmla="*/ 2489956 w 7714416"/>
              <a:gd name="connsiteY20041" fmla="*/ 828080 h 5282095"/>
              <a:gd name="connsiteX20042" fmla="*/ 2508448 w 7714416"/>
              <a:gd name="connsiteY20042" fmla="*/ 832115 h 5282095"/>
              <a:gd name="connsiteX20043" fmla="*/ 2510932 w 7714416"/>
              <a:gd name="connsiteY20043" fmla="*/ 830595 h 5282095"/>
              <a:gd name="connsiteX20044" fmla="*/ 2518032 w 7714416"/>
              <a:gd name="connsiteY20044" fmla="*/ 830658 h 5282095"/>
              <a:gd name="connsiteX20045" fmla="*/ 2519060 w 7714416"/>
              <a:gd name="connsiteY20045" fmla="*/ 833464 h 5282095"/>
              <a:gd name="connsiteX20046" fmla="*/ 2511366 w 7714416"/>
              <a:gd name="connsiteY20046" fmla="*/ 834507 h 5282095"/>
              <a:gd name="connsiteX20047" fmla="*/ 2511079 w 7714416"/>
              <a:gd name="connsiteY20047" fmla="*/ 835580 h 5282095"/>
              <a:gd name="connsiteX20048" fmla="*/ 2513461 w 7714416"/>
              <a:gd name="connsiteY20048" fmla="*/ 838863 h 5282095"/>
              <a:gd name="connsiteX20049" fmla="*/ 2510165 w 7714416"/>
              <a:gd name="connsiteY20049" fmla="*/ 850056 h 5282095"/>
              <a:gd name="connsiteX20050" fmla="*/ 2496471 w 7714416"/>
              <a:gd name="connsiteY20050" fmla="*/ 849146 h 5282095"/>
              <a:gd name="connsiteX20051" fmla="*/ 2491386 w 7714416"/>
              <a:gd name="connsiteY20051" fmla="*/ 847093 h 5282095"/>
              <a:gd name="connsiteX20052" fmla="*/ 2484453 w 7714416"/>
              <a:gd name="connsiteY20052" fmla="*/ 840866 h 5282095"/>
              <a:gd name="connsiteX20053" fmla="*/ 2489956 w 7714416"/>
              <a:gd name="connsiteY20053" fmla="*/ 828080 h 5282095"/>
              <a:gd name="connsiteX20054" fmla="*/ 4391570 w 7714416"/>
              <a:gd name="connsiteY20054" fmla="*/ 828043 h 5282095"/>
              <a:gd name="connsiteX20055" fmla="*/ 4404939 w 7714416"/>
              <a:gd name="connsiteY20055" fmla="*/ 831281 h 5282095"/>
              <a:gd name="connsiteX20056" fmla="*/ 4397240 w 7714416"/>
              <a:gd name="connsiteY20056" fmla="*/ 835658 h 5282095"/>
              <a:gd name="connsiteX20057" fmla="*/ 4391570 w 7714416"/>
              <a:gd name="connsiteY20057" fmla="*/ 828043 h 5282095"/>
              <a:gd name="connsiteX20058" fmla="*/ 5651446 w 7714416"/>
              <a:gd name="connsiteY20058" fmla="*/ 827867 h 5282095"/>
              <a:gd name="connsiteX20059" fmla="*/ 5653447 w 7714416"/>
              <a:gd name="connsiteY20059" fmla="*/ 830358 h 5282095"/>
              <a:gd name="connsiteX20060" fmla="*/ 5646925 w 7714416"/>
              <a:gd name="connsiteY20060" fmla="*/ 833670 h 5282095"/>
              <a:gd name="connsiteX20061" fmla="*/ 5646914 w 7714416"/>
              <a:gd name="connsiteY20061" fmla="*/ 834817 h 5282095"/>
              <a:gd name="connsiteX20062" fmla="*/ 5650691 w 7714416"/>
              <a:gd name="connsiteY20062" fmla="*/ 837324 h 5282095"/>
              <a:gd name="connsiteX20063" fmla="*/ 5652024 w 7714416"/>
              <a:gd name="connsiteY20063" fmla="*/ 848951 h 5282095"/>
              <a:gd name="connsiteX20064" fmla="*/ 5633686 w 7714416"/>
              <a:gd name="connsiteY20064" fmla="*/ 852088 h 5282095"/>
              <a:gd name="connsiteX20065" fmla="*/ 5624871 w 7714416"/>
              <a:gd name="connsiteY20065" fmla="*/ 848461 h 5282095"/>
              <a:gd name="connsiteX20066" fmla="*/ 5622568 w 7714416"/>
              <a:gd name="connsiteY20066" fmla="*/ 842668 h 5282095"/>
              <a:gd name="connsiteX20067" fmla="*/ 5624811 w 7714416"/>
              <a:gd name="connsiteY20067" fmla="*/ 834300 h 5282095"/>
              <a:gd name="connsiteX20068" fmla="*/ 5643414 w 7714416"/>
              <a:gd name="connsiteY20068" fmla="*/ 832384 h 5282095"/>
              <a:gd name="connsiteX20069" fmla="*/ 5644905 w 7714416"/>
              <a:gd name="connsiteY20069" fmla="*/ 830139 h 5282095"/>
              <a:gd name="connsiteX20070" fmla="*/ 5651446 w 7714416"/>
              <a:gd name="connsiteY20070" fmla="*/ 827867 h 5282095"/>
              <a:gd name="connsiteX20071" fmla="*/ 934438 w 7714416"/>
              <a:gd name="connsiteY20071" fmla="*/ 827011 h 5282095"/>
              <a:gd name="connsiteX20072" fmla="*/ 941862 w 7714416"/>
              <a:gd name="connsiteY20072" fmla="*/ 836936 h 5282095"/>
              <a:gd name="connsiteX20073" fmla="*/ 930384 w 7714416"/>
              <a:gd name="connsiteY20073" fmla="*/ 842140 h 5282095"/>
              <a:gd name="connsiteX20074" fmla="*/ 927685 w 7714416"/>
              <a:gd name="connsiteY20074" fmla="*/ 840037 h 5282095"/>
              <a:gd name="connsiteX20075" fmla="*/ 925464 w 7714416"/>
              <a:gd name="connsiteY20075" fmla="*/ 837257 h 5282095"/>
              <a:gd name="connsiteX20076" fmla="*/ 924771 w 7714416"/>
              <a:gd name="connsiteY20076" fmla="*/ 834311 h 5282095"/>
              <a:gd name="connsiteX20077" fmla="*/ 925748 w 7714416"/>
              <a:gd name="connsiteY20077" fmla="*/ 830663 h 5282095"/>
              <a:gd name="connsiteX20078" fmla="*/ 931048 w 7714416"/>
              <a:gd name="connsiteY20078" fmla="*/ 827482 h 5282095"/>
              <a:gd name="connsiteX20079" fmla="*/ 934438 w 7714416"/>
              <a:gd name="connsiteY20079" fmla="*/ 827011 h 5282095"/>
              <a:gd name="connsiteX20080" fmla="*/ 5064530 w 7714416"/>
              <a:gd name="connsiteY20080" fmla="*/ 826775 h 5282095"/>
              <a:gd name="connsiteX20081" fmla="*/ 5080248 w 7714416"/>
              <a:gd name="connsiteY20081" fmla="*/ 827882 h 5282095"/>
              <a:gd name="connsiteX20082" fmla="*/ 5070564 w 7714416"/>
              <a:gd name="connsiteY20082" fmla="*/ 834142 h 5282095"/>
              <a:gd name="connsiteX20083" fmla="*/ 5065726 w 7714416"/>
              <a:gd name="connsiteY20083" fmla="*/ 832271 h 5282095"/>
              <a:gd name="connsiteX20084" fmla="*/ 5064530 w 7714416"/>
              <a:gd name="connsiteY20084" fmla="*/ 826775 h 5282095"/>
              <a:gd name="connsiteX20085" fmla="*/ 1621456 w 7714416"/>
              <a:gd name="connsiteY20085" fmla="*/ 826404 h 5282095"/>
              <a:gd name="connsiteX20086" fmla="*/ 1668326 w 7714416"/>
              <a:gd name="connsiteY20086" fmla="*/ 836318 h 5282095"/>
              <a:gd name="connsiteX20087" fmla="*/ 1673228 w 7714416"/>
              <a:gd name="connsiteY20087" fmla="*/ 840161 h 5282095"/>
              <a:gd name="connsiteX20088" fmla="*/ 1676541 w 7714416"/>
              <a:gd name="connsiteY20088" fmla="*/ 838865 h 5282095"/>
              <a:gd name="connsiteX20089" fmla="*/ 1681173 w 7714416"/>
              <a:gd name="connsiteY20089" fmla="*/ 835966 h 5282095"/>
              <a:gd name="connsiteX20090" fmla="*/ 1686298 w 7714416"/>
              <a:gd name="connsiteY20090" fmla="*/ 836763 h 5282095"/>
              <a:gd name="connsiteX20091" fmla="*/ 1680580 w 7714416"/>
              <a:gd name="connsiteY20091" fmla="*/ 845927 h 5282095"/>
              <a:gd name="connsiteX20092" fmla="*/ 1669077 w 7714416"/>
              <a:gd name="connsiteY20092" fmla="*/ 847905 h 5282095"/>
              <a:gd name="connsiteX20093" fmla="*/ 1667658 w 7714416"/>
              <a:gd name="connsiteY20093" fmla="*/ 845454 h 5282095"/>
              <a:gd name="connsiteX20094" fmla="*/ 1668521 w 7714416"/>
              <a:gd name="connsiteY20094" fmla="*/ 842235 h 5282095"/>
              <a:gd name="connsiteX20095" fmla="*/ 1672894 w 7714416"/>
              <a:gd name="connsiteY20095" fmla="*/ 840302 h 5282095"/>
              <a:gd name="connsiteX20096" fmla="*/ 1651253 w 7714416"/>
              <a:gd name="connsiteY20096" fmla="*/ 843589 h 5282095"/>
              <a:gd name="connsiteX20097" fmla="*/ 1638416 w 7714416"/>
              <a:gd name="connsiteY20097" fmla="*/ 842794 h 5282095"/>
              <a:gd name="connsiteX20098" fmla="*/ 1623255 w 7714416"/>
              <a:gd name="connsiteY20098" fmla="*/ 838502 h 5282095"/>
              <a:gd name="connsiteX20099" fmla="*/ 1621456 w 7714416"/>
              <a:gd name="connsiteY20099" fmla="*/ 826404 h 5282095"/>
              <a:gd name="connsiteX20100" fmla="*/ 5048697 w 7714416"/>
              <a:gd name="connsiteY20100" fmla="*/ 826097 h 5282095"/>
              <a:gd name="connsiteX20101" fmla="*/ 5061019 w 7714416"/>
              <a:gd name="connsiteY20101" fmla="*/ 834344 h 5282095"/>
              <a:gd name="connsiteX20102" fmla="*/ 5054238 w 7714416"/>
              <a:gd name="connsiteY20102" fmla="*/ 838623 h 5282095"/>
              <a:gd name="connsiteX20103" fmla="*/ 5048697 w 7714416"/>
              <a:gd name="connsiteY20103" fmla="*/ 826097 h 5282095"/>
              <a:gd name="connsiteX20104" fmla="*/ 4752454 w 7714416"/>
              <a:gd name="connsiteY20104" fmla="*/ 823771 h 5282095"/>
              <a:gd name="connsiteX20105" fmla="*/ 4755336 w 7714416"/>
              <a:gd name="connsiteY20105" fmla="*/ 824083 h 5282095"/>
              <a:gd name="connsiteX20106" fmla="*/ 4758634 w 7714416"/>
              <a:gd name="connsiteY20106" fmla="*/ 827267 h 5282095"/>
              <a:gd name="connsiteX20107" fmla="*/ 4752630 w 7714416"/>
              <a:gd name="connsiteY20107" fmla="*/ 828648 h 5282095"/>
              <a:gd name="connsiteX20108" fmla="*/ 4752454 w 7714416"/>
              <a:gd name="connsiteY20108" fmla="*/ 823771 h 5282095"/>
              <a:gd name="connsiteX20109" fmla="*/ 2159584 w 7714416"/>
              <a:gd name="connsiteY20109" fmla="*/ 823623 h 5282095"/>
              <a:gd name="connsiteX20110" fmla="*/ 2155920 w 7714416"/>
              <a:gd name="connsiteY20110" fmla="*/ 832876 h 5282095"/>
              <a:gd name="connsiteX20111" fmla="*/ 2151341 w 7714416"/>
              <a:gd name="connsiteY20111" fmla="*/ 830039 h 5282095"/>
              <a:gd name="connsiteX20112" fmla="*/ 2159584 w 7714416"/>
              <a:gd name="connsiteY20112" fmla="*/ 823623 h 5282095"/>
              <a:gd name="connsiteX20113" fmla="*/ 2407221 w 7714416"/>
              <a:gd name="connsiteY20113" fmla="*/ 823621 h 5282095"/>
              <a:gd name="connsiteX20114" fmla="*/ 2406276 w 7714416"/>
              <a:gd name="connsiteY20114" fmla="*/ 823829 h 5282095"/>
              <a:gd name="connsiteX20115" fmla="*/ 2407441 w 7714416"/>
              <a:gd name="connsiteY20115" fmla="*/ 823910 h 5282095"/>
              <a:gd name="connsiteX20116" fmla="*/ 2543647 w 7714416"/>
              <a:gd name="connsiteY20116" fmla="*/ 823606 h 5282095"/>
              <a:gd name="connsiteX20117" fmla="*/ 2548179 w 7714416"/>
              <a:gd name="connsiteY20117" fmla="*/ 834366 h 5282095"/>
              <a:gd name="connsiteX20118" fmla="*/ 2545361 w 7714416"/>
              <a:gd name="connsiteY20118" fmla="*/ 836025 h 5282095"/>
              <a:gd name="connsiteX20119" fmla="*/ 2537657 w 7714416"/>
              <a:gd name="connsiteY20119" fmla="*/ 838216 h 5282095"/>
              <a:gd name="connsiteX20120" fmla="*/ 2533222 w 7714416"/>
              <a:gd name="connsiteY20120" fmla="*/ 834843 h 5282095"/>
              <a:gd name="connsiteX20121" fmla="*/ 2534268 w 7714416"/>
              <a:gd name="connsiteY20121" fmla="*/ 829833 h 5282095"/>
              <a:gd name="connsiteX20122" fmla="*/ 2543647 w 7714416"/>
              <a:gd name="connsiteY20122" fmla="*/ 823606 h 5282095"/>
              <a:gd name="connsiteX20123" fmla="*/ 2114852 w 7714416"/>
              <a:gd name="connsiteY20123" fmla="*/ 822333 h 5282095"/>
              <a:gd name="connsiteX20124" fmla="*/ 2118921 w 7714416"/>
              <a:gd name="connsiteY20124" fmla="*/ 829288 h 5282095"/>
              <a:gd name="connsiteX20125" fmla="*/ 2114852 w 7714416"/>
              <a:gd name="connsiteY20125" fmla="*/ 822333 h 5282095"/>
              <a:gd name="connsiteX20126" fmla="*/ 2620672 w 7714416"/>
              <a:gd name="connsiteY20126" fmla="*/ 821705 h 5282095"/>
              <a:gd name="connsiteX20127" fmla="*/ 2625419 w 7714416"/>
              <a:gd name="connsiteY20127" fmla="*/ 827232 h 5282095"/>
              <a:gd name="connsiteX20128" fmla="*/ 2618174 w 7714416"/>
              <a:gd name="connsiteY20128" fmla="*/ 836560 h 5282095"/>
              <a:gd name="connsiteX20129" fmla="*/ 2616525 w 7714416"/>
              <a:gd name="connsiteY20129" fmla="*/ 834969 h 5282095"/>
              <a:gd name="connsiteX20130" fmla="*/ 2619838 w 7714416"/>
              <a:gd name="connsiteY20130" fmla="*/ 842526 h 5282095"/>
              <a:gd name="connsiteX20131" fmla="*/ 2611141 w 7714416"/>
              <a:gd name="connsiteY20131" fmla="*/ 843992 h 5282095"/>
              <a:gd name="connsiteX20132" fmla="*/ 2611961 w 7714416"/>
              <a:gd name="connsiteY20132" fmla="*/ 845360 h 5282095"/>
              <a:gd name="connsiteX20133" fmla="*/ 2609657 w 7714416"/>
              <a:gd name="connsiteY20133" fmla="*/ 848424 h 5282095"/>
              <a:gd name="connsiteX20134" fmla="*/ 2605996 w 7714416"/>
              <a:gd name="connsiteY20134" fmla="*/ 845487 h 5282095"/>
              <a:gd name="connsiteX20135" fmla="*/ 2606139 w 7714416"/>
              <a:gd name="connsiteY20135" fmla="*/ 844951 h 5282095"/>
              <a:gd name="connsiteX20136" fmla="*/ 2584107 w 7714416"/>
              <a:gd name="connsiteY20136" fmla="*/ 848592 h 5282095"/>
              <a:gd name="connsiteX20137" fmla="*/ 2584211 w 7714416"/>
              <a:gd name="connsiteY20137" fmla="*/ 849311 h 5282095"/>
              <a:gd name="connsiteX20138" fmla="*/ 2570041 w 7714416"/>
              <a:gd name="connsiteY20138" fmla="*/ 854599 h 5282095"/>
              <a:gd name="connsiteX20139" fmla="*/ 2568576 w 7714416"/>
              <a:gd name="connsiteY20139" fmla="*/ 851216 h 5282095"/>
              <a:gd name="connsiteX20140" fmla="*/ 2546266 w 7714416"/>
              <a:gd name="connsiteY20140" fmla="*/ 854784 h 5282095"/>
              <a:gd name="connsiteX20141" fmla="*/ 2612532 w 7714416"/>
              <a:gd name="connsiteY20141" fmla="*/ 828838 h 5282095"/>
              <a:gd name="connsiteX20142" fmla="*/ 2613571 w 7714416"/>
              <a:gd name="connsiteY20142" fmla="*/ 830497 h 5282095"/>
              <a:gd name="connsiteX20143" fmla="*/ 2614157 w 7714416"/>
              <a:gd name="connsiteY20143" fmla="*/ 827204 h 5282095"/>
              <a:gd name="connsiteX20144" fmla="*/ 2617082 w 7714416"/>
              <a:gd name="connsiteY20144" fmla="*/ 822928 h 5282095"/>
              <a:gd name="connsiteX20145" fmla="*/ 2620672 w 7714416"/>
              <a:gd name="connsiteY20145" fmla="*/ 821705 h 5282095"/>
              <a:gd name="connsiteX20146" fmla="*/ 1765762 w 7714416"/>
              <a:gd name="connsiteY20146" fmla="*/ 820220 h 5282095"/>
              <a:gd name="connsiteX20147" fmla="*/ 1770322 w 7714416"/>
              <a:gd name="connsiteY20147" fmla="*/ 822018 h 5282095"/>
              <a:gd name="connsiteX20148" fmla="*/ 1766891 w 7714416"/>
              <a:gd name="connsiteY20148" fmla="*/ 827078 h 5282095"/>
              <a:gd name="connsiteX20149" fmla="*/ 1762370 w 7714416"/>
              <a:gd name="connsiteY20149" fmla="*/ 824026 h 5282095"/>
              <a:gd name="connsiteX20150" fmla="*/ 1765762 w 7714416"/>
              <a:gd name="connsiteY20150" fmla="*/ 820220 h 5282095"/>
              <a:gd name="connsiteX20151" fmla="*/ 1189261 w 7714416"/>
              <a:gd name="connsiteY20151" fmla="*/ 819835 h 5282095"/>
              <a:gd name="connsiteX20152" fmla="*/ 1195899 w 7714416"/>
              <a:gd name="connsiteY20152" fmla="*/ 823008 h 5282095"/>
              <a:gd name="connsiteX20153" fmla="*/ 1188039 w 7714416"/>
              <a:gd name="connsiteY20153" fmla="*/ 826882 h 5282095"/>
              <a:gd name="connsiteX20154" fmla="*/ 1180018 w 7714416"/>
              <a:gd name="connsiteY20154" fmla="*/ 821398 h 5282095"/>
              <a:gd name="connsiteX20155" fmla="*/ 1189261 w 7714416"/>
              <a:gd name="connsiteY20155" fmla="*/ 819835 h 5282095"/>
              <a:gd name="connsiteX20156" fmla="*/ 2476498 w 7714416"/>
              <a:gd name="connsiteY20156" fmla="*/ 819644 h 5282095"/>
              <a:gd name="connsiteX20157" fmla="*/ 2479541 w 7714416"/>
              <a:gd name="connsiteY20157" fmla="*/ 820459 h 5282095"/>
              <a:gd name="connsiteX20158" fmla="*/ 2477928 w 7714416"/>
              <a:gd name="connsiteY20158" fmla="*/ 820947 h 5282095"/>
              <a:gd name="connsiteX20159" fmla="*/ 2476498 w 7714416"/>
              <a:gd name="connsiteY20159" fmla="*/ 819644 h 5282095"/>
              <a:gd name="connsiteX20160" fmla="*/ 5000526 w 7714416"/>
              <a:gd name="connsiteY20160" fmla="*/ 818825 h 5282095"/>
              <a:gd name="connsiteX20161" fmla="*/ 5004047 w 7714416"/>
              <a:gd name="connsiteY20161" fmla="*/ 818964 h 5282095"/>
              <a:gd name="connsiteX20162" fmla="*/ 5010763 w 7714416"/>
              <a:gd name="connsiteY20162" fmla="*/ 821569 h 5282095"/>
              <a:gd name="connsiteX20163" fmla="*/ 5012841 w 7714416"/>
              <a:gd name="connsiteY20163" fmla="*/ 824885 h 5282095"/>
              <a:gd name="connsiteX20164" fmla="*/ 5010634 w 7714416"/>
              <a:gd name="connsiteY20164" fmla="*/ 826479 h 5282095"/>
              <a:gd name="connsiteX20165" fmla="*/ 5009753 w 7714416"/>
              <a:gd name="connsiteY20165" fmla="*/ 828658 h 5282095"/>
              <a:gd name="connsiteX20166" fmla="*/ 5008121 w 7714416"/>
              <a:gd name="connsiteY20166" fmla="*/ 828106 h 5282095"/>
              <a:gd name="connsiteX20167" fmla="*/ 5005955 w 7714416"/>
              <a:gd name="connsiteY20167" fmla="*/ 828445 h 5282095"/>
              <a:gd name="connsiteX20168" fmla="*/ 5000644 w 7714416"/>
              <a:gd name="connsiteY20168" fmla="*/ 823918 h 5282095"/>
              <a:gd name="connsiteX20169" fmla="*/ 4999397 w 7714416"/>
              <a:gd name="connsiteY20169" fmla="*/ 820823 h 5282095"/>
              <a:gd name="connsiteX20170" fmla="*/ 5000526 w 7714416"/>
              <a:gd name="connsiteY20170" fmla="*/ 818825 h 5282095"/>
              <a:gd name="connsiteX20171" fmla="*/ 4629252 w 7714416"/>
              <a:gd name="connsiteY20171" fmla="*/ 818704 h 5282095"/>
              <a:gd name="connsiteX20172" fmla="*/ 4633479 w 7714416"/>
              <a:gd name="connsiteY20172" fmla="*/ 820642 h 5282095"/>
              <a:gd name="connsiteX20173" fmla="*/ 4632817 w 7714416"/>
              <a:gd name="connsiteY20173" fmla="*/ 823110 h 5282095"/>
              <a:gd name="connsiteX20174" fmla="*/ 4633960 w 7714416"/>
              <a:gd name="connsiteY20174" fmla="*/ 825486 h 5282095"/>
              <a:gd name="connsiteX20175" fmla="*/ 4632127 w 7714416"/>
              <a:gd name="connsiteY20175" fmla="*/ 825685 h 5282095"/>
              <a:gd name="connsiteX20176" fmla="*/ 4630894 w 7714416"/>
              <a:gd name="connsiteY20176" fmla="*/ 826964 h 5282095"/>
              <a:gd name="connsiteX20177" fmla="*/ 4623556 w 7714416"/>
              <a:gd name="connsiteY20177" fmla="*/ 825573 h 5282095"/>
              <a:gd name="connsiteX20178" fmla="*/ 4620552 w 7714416"/>
              <a:gd name="connsiteY20178" fmla="*/ 823503 h 5282095"/>
              <a:gd name="connsiteX20179" fmla="*/ 4619992 w 7714416"/>
              <a:gd name="connsiteY20179" fmla="*/ 821168 h 5282095"/>
              <a:gd name="connsiteX20180" fmla="*/ 4622810 w 7714416"/>
              <a:gd name="connsiteY20180" fmla="*/ 819508 h 5282095"/>
              <a:gd name="connsiteX20181" fmla="*/ 4629252 w 7714416"/>
              <a:gd name="connsiteY20181" fmla="*/ 818704 h 5282095"/>
              <a:gd name="connsiteX20182" fmla="*/ 2093258 w 7714416"/>
              <a:gd name="connsiteY20182" fmla="*/ 817697 h 5282095"/>
              <a:gd name="connsiteX20183" fmla="*/ 2102666 w 7714416"/>
              <a:gd name="connsiteY20183" fmla="*/ 820218 h 5282095"/>
              <a:gd name="connsiteX20184" fmla="*/ 2092982 w 7714416"/>
              <a:gd name="connsiteY20184" fmla="*/ 835332 h 5282095"/>
              <a:gd name="connsiteX20185" fmla="*/ 2093258 w 7714416"/>
              <a:gd name="connsiteY20185" fmla="*/ 817697 h 5282095"/>
              <a:gd name="connsiteX20186" fmla="*/ 5782949 w 7714416"/>
              <a:gd name="connsiteY20186" fmla="*/ 817447 h 5282095"/>
              <a:gd name="connsiteX20187" fmla="*/ 5775381 w 7714416"/>
              <a:gd name="connsiteY20187" fmla="*/ 825769 h 5282095"/>
              <a:gd name="connsiteX20188" fmla="*/ 5782949 w 7714416"/>
              <a:gd name="connsiteY20188" fmla="*/ 817447 h 5282095"/>
              <a:gd name="connsiteX20189" fmla="*/ 4733182 w 7714416"/>
              <a:gd name="connsiteY20189" fmla="*/ 817111 h 5282095"/>
              <a:gd name="connsiteX20190" fmla="*/ 4736733 w 7714416"/>
              <a:gd name="connsiteY20190" fmla="*/ 817142 h 5282095"/>
              <a:gd name="connsiteX20191" fmla="*/ 4737332 w 7714416"/>
              <a:gd name="connsiteY20191" fmla="*/ 827079 h 5282095"/>
              <a:gd name="connsiteX20192" fmla="*/ 4734526 w 7714416"/>
              <a:gd name="connsiteY20192" fmla="*/ 827592 h 5282095"/>
              <a:gd name="connsiteX20193" fmla="*/ 4733810 w 7714416"/>
              <a:gd name="connsiteY20193" fmla="*/ 826940 h 5282095"/>
              <a:gd name="connsiteX20194" fmla="*/ 4731123 w 7714416"/>
              <a:gd name="connsiteY20194" fmla="*/ 823690 h 5282095"/>
              <a:gd name="connsiteX20195" fmla="*/ 4733182 w 7714416"/>
              <a:gd name="connsiteY20195" fmla="*/ 817111 h 5282095"/>
              <a:gd name="connsiteX20196" fmla="*/ 4470018 w 7714416"/>
              <a:gd name="connsiteY20196" fmla="*/ 816403 h 5282095"/>
              <a:gd name="connsiteX20197" fmla="*/ 4478919 w 7714416"/>
              <a:gd name="connsiteY20197" fmla="*/ 828564 h 5282095"/>
              <a:gd name="connsiteX20198" fmla="*/ 4462378 w 7714416"/>
              <a:gd name="connsiteY20198" fmla="*/ 829422 h 5282095"/>
              <a:gd name="connsiteX20199" fmla="*/ 4458077 w 7714416"/>
              <a:gd name="connsiteY20199" fmla="*/ 826658 h 5282095"/>
              <a:gd name="connsiteX20200" fmla="*/ 4470018 w 7714416"/>
              <a:gd name="connsiteY20200" fmla="*/ 816403 h 5282095"/>
              <a:gd name="connsiteX20201" fmla="*/ 4758408 w 7714416"/>
              <a:gd name="connsiteY20201" fmla="*/ 815936 h 5282095"/>
              <a:gd name="connsiteX20202" fmla="*/ 4761959 w 7714416"/>
              <a:gd name="connsiteY20202" fmla="*/ 815968 h 5282095"/>
              <a:gd name="connsiteX20203" fmla="*/ 4766196 w 7714416"/>
              <a:gd name="connsiteY20203" fmla="*/ 816758 h 5282095"/>
              <a:gd name="connsiteX20204" fmla="*/ 4774361 w 7714416"/>
              <a:gd name="connsiteY20204" fmla="*/ 821706 h 5282095"/>
              <a:gd name="connsiteX20205" fmla="*/ 4776110 w 7714416"/>
              <a:gd name="connsiteY20205" fmla="*/ 827350 h 5282095"/>
              <a:gd name="connsiteX20206" fmla="*/ 4775507 w 7714416"/>
              <a:gd name="connsiteY20206" fmla="*/ 829602 h 5282095"/>
              <a:gd name="connsiteX20207" fmla="*/ 4767317 w 7714416"/>
              <a:gd name="connsiteY20207" fmla="*/ 830283 h 5282095"/>
              <a:gd name="connsiteX20208" fmla="*/ 4760554 w 7714416"/>
              <a:gd name="connsiteY20208" fmla="*/ 826746 h 5282095"/>
              <a:gd name="connsiteX20209" fmla="*/ 4758408 w 7714416"/>
              <a:gd name="connsiteY20209" fmla="*/ 815936 h 5282095"/>
              <a:gd name="connsiteX20210" fmla="*/ 2363032 w 7714416"/>
              <a:gd name="connsiteY20210" fmla="*/ 814771 h 5282095"/>
              <a:gd name="connsiteX20211" fmla="*/ 2368461 w 7714416"/>
              <a:gd name="connsiteY20211" fmla="*/ 815536 h 5282095"/>
              <a:gd name="connsiteX20212" fmla="*/ 2364752 w 7714416"/>
              <a:gd name="connsiteY20212" fmla="*/ 820522 h 5282095"/>
              <a:gd name="connsiteX20213" fmla="*/ 2363032 w 7714416"/>
              <a:gd name="connsiteY20213" fmla="*/ 814771 h 5282095"/>
              <a:gd name="connsiteX20214" fmla="*/ 4408870 w 7714416"/>
              <a:gd name="connsiteY20214" fmla="*/ 814394 h 5282095"/>
              <a:gd name="connsiteX20215" fmla="*/ 4426018 w 7714416"/>
              <a:gd name="connsiteY20215" fmla="*/ 816804 h 5282095"/>
              <a:gd name="connsiteX20216" fmla="*/ 4417868 w 7714416"/>
              <a:gd name="connsiteY20216" fmla="*/ 825085 h 5282095"/>
              <a:gd name="connsiteX20217" fmla="*/ 4424613 w 7714416"/>
              <a:gd name="connsiteY20217" fmla="*/ 827583 h 5282095"/>
              <a:gd name="connsiteX20218" fmla="*/ 4413142 w 7714416"/>
              <a:gd name="connsiteY20218" fmla="*/ 834974 h 5282095"/>
              <a:gd name="connsiteX20219" fmla="*/ 4407724 w 7714416"/>
              <a:gd name="connsiteY20219" fmla="*/ 833062 h 5282095"/>
              <a:gd name="connsiteX20220" fmla="*/ 4406782 w 7714416"/>
              <a:gd name="connsiteY20220" fmla="*/ 829935 h 5282095"/>
              <a:gd name="connsiteX20221" fmla="*/ 4406595 w 7714416"/>
              <a:gd name="connsiteY20221" fmla="*/ 826204 h 5282095"/>
              <a:gd name="connsiteX20222" fmla="*/ 4409707 w 7714416"/>
              <a:gd name="connsiteY20222" fmla="*/ 825658 h 5282095"/>
              <a:gd name="connsiteX20223" fmla="*/ 4402761 w 7714416"/>
              <a:gd name="connsiteY20223" fmla="*/ 823912 h 5282095"/>
              <a:gd name="connsiteX20224" fmla="*/ 4408870 w 7714416"/>
              <a:gd name="connsiteY20224" fmla="*/ 814394 h 5282095"/>
              <a:gd name="connsiteX20225" fmla="*/ 4517231 w 7714416"/>
              <a:gd name="connsiteY20225" fmla="*/ 814248 h 5282095"/>
              <a:gd name="connsiteX20226" fmla="*/ 4538346 w 7714416"/>
              <a:gd name="connsiteY20226" fmla="*/ 815966 h 5282095"/>
              <a:gd name="connsiteX20227" fmla="*/ 4539955 w 7714416"/>
              <a:gd name="connsiteY20227" fmla="*/ 827668 h 5282095"/>
              <a:gd name="connsiteX20228" fmla="*/ 4525391 w 7714416"/>
              <a:gd name="connsiteY20228" fmla="*/ 827790 h 5282095"/>
              <a:gd name="connsiteX20229" fmla="*/ 4512109 w 7714416"/>
              <a:gd name="connsiteY20229" fmla="*/ 824231 h 5282095"/>
              <a:gd name="connsiteX20230" fmla="*/ 4517231 w 7714416"/>
              <a:gd name="connsiteY20230" fmla="*/ 814248 h 5282095"/>
              <a:gd name="connsiteX20231" fmla="*/ 4677123 w 7714416"/>
              <a:gd name="connsiteY20231" fmla="*/ 811190 h 5282095"/>
              <a:gd name="connsiteX20232" fmla="*/ 4689991 w 7714416"/>
              <a:gd name="connsiteY20232" fmla="*/ 820029 h 5282095"/>
              <a:gd name="connsiteX20233" fmla="*/ 4670161 w 7714416"/>
              <a:gd name="connsiteY20233" fmla="*/ 825411 h 5282095"/>
              <a:gd name="connsiteX20234" fmla="*/ 4666058 w 7714416"/>
              <a:gd name="connsiteY20234" fmla="*/ 816376 h 5282095"/>
              <a:gd name="connsiteX20235" fmla="*/ 4677123 w 7714416"/>
              <a:gd name="connsiteY20235" fmla="*/ 811190 h 5282095"/>
              <a:gd name="connsiteX20236" fmla="*/ 2251329 w 7714416"/>
              <a:gd name="connsiteY20236" fmla="*/ 811061 h 5282095"/>
              <a:gd name="connsiteX20237" fmla="*/ 2255468 w 7714416"/>
              <a:gd name="connsiteY20237" fmla="*/ 813320 h 5282095"/>
              <a:gd name="connsiteX20238" fmla="*/ 2250370 w 7714416"/>
              <a:gd name="connsiteY20238" fmla="*/ 824604 h 5282095"/>
              <a:gd name="connsiteX20239" fmla="*/ 2243506 w 7714416"/>
              <a:gd name="connsiteY20239" fmla="*/ 817014 h 5282095"/>
              <a:gd name="connsiteX20240" fmla="*/ 2251329 w 7714416"/>
              <a:gd name="connsiteY20240" fmla="*/ 811061 h 5282095"/>
              <a:gd name="connsiteX20241" fmla="*/ 2404123 w 7714416"/>
              <a:gd name="connsiteY20241" fmla="*/ 810832 h 5282095"/>
              <a:gd name="connsiteX20242" fmla="*/ 2402043 w 7714416"/>
              <a:gd name="connsiteY20242" fmla="*/ 810849 h 5282095"/>
              <a:gd name="connsiteX20243" fmla="*/ 2401202 w 7714416"/>
              <a:gd name="connsiteY20243" fmla="*/ 811774 h 5282095"/>
              <a:gd name="connsiteX20244" fmla="*/ 2399646 w 7714416"/>
              <a:gd name="connsiteY20244" fmla="*/ 812047 h 5282095"/>
              <a:gd name="connsiteX20245" fmla="*/ 2399808 w 7714416"/>
              <a:gd name="connsiteY20245" fmla="*/ 812549 h 5282095"/>
              <a:gd name="connsiteX20246" fmla="*/ 2399721 w 7714416"/>
              <a:gd name="connsiteY20246" fmla="*/ 812872 h 5282095"/>
              <a:gd name="connsiteX20247" fmla="*/ 1998712 w 7714416"/>
              <a:gd name="connsiteY20247" fmla="*/ 809728 h 5282095"/>
              <a:gd name="connsiteX20248" fmla="*/ 2027237 w 7714416"/>
              <a:gd name="connsiteY20248" fmla="*/ 829447 h 5282095"/>
              <a:gd name="connsiteX20249" fmla="*/ 1998712 w 7714416"/>
              <a:gd name="connsiteY20249" fmla="*/ 809728 h 5282095"/>
              <a:gd name="connsiteX20250" fmla="*/ 4814623 w 7714416"/>
              <a:gd name="connsiteY20250" fmla="*/ 808689 h 5282095"/>
              <a:gd name="connsiteX20251" fmla="*/ 4832735 w 7714416"/>
              <a:gd name="connsiteY20251" fmla="*/ 820787 h 5282095"/>
              <a:gd name="connsiteX20252" fmla="*/ 4832677 w 7714416"/>
              <a:gd name="connsiteY20252" fmla="*/ 821001 h 5282095"/>
              <a:gd name="connsiteX20253" fmla="*/ 4839436 w 7714416"/>
              <a:gd name="connsiteY20253" fmla="*/ 827873 h 5282095"/>
              <a:gd name="connsiteX20254" fmla="*/ 4844323 w 7714416"/>
              <a:gd name="connsiteY20254" fmla="*/ 836197 h 5282095"/>
              <a:gd name="connsiteX20255" fmla="*/ 4821508 w 7714416"/>
              <a:gd name="connsiteY20255" fmla="*/ 831694 h 5282095"/>
              <a:gd name="connsiteX20256" fmla="*/ 4829975 w 7714416"/>
              <a:gd name="connsiteY20256" fmla="*/ 822232 h 5282095"/>
              <a:gd name="connsiteX20257" fmla="*/ 4827214 w 7714416"/>
              <a:gd name="connsiteY20257" fmla="*/ 823678 h 5282095"/>
              <a:gd name="connsiteX20258" fmla="*/ 4818177 w 7714416"/>
              <a:gd name="connsiteY20258" fmla="*/ 823096 h 5282095"/>
              <a:gd name="connsiteX20259" fmla="*/ 4814623 w 7714416"/>
              <a:gd name="connsiteY20259" fmla="*/ 808689 h 5282095"/>
              <a:gd name="connsiteX20260" fmla="*/ 1835783 w 7714416"/>
              <a:gd name="connsiteY20260" fmla="*/ 807933 h 5282095"/>
              <a:gd name="connsiteX20261" fmla="*/ 1844027 w 7714416"/>
              <a:gd name="connsiteY20261" fmla="*/ 810370 h 5282095"/>
              <a:gd name="connsiteX20262" fmla="*/ 1841406 w 7714416"/>
              <a:gd name="connsiteY20262" fmla="*/ 814615 h 5282095"/>
              <a:gd name="connsiteX20263" fmla="*/ 1836139 w 7714416"/>
              <a:gd name="connsiteY20263" fmla="*/ 814352 h 5282095"/>
              <a:gd name="connsiteX20264" fmla="*/ 1836455 w 7714416"/>
              <a:gd name="connsiteY20264" fmla="*/ 813172 h 5282095"/>
              <a:gd name="connsiteX20265" fmla="*/ 1835783 w 7714416"/>
              <a:gd name="connsiteY20265" fmla="*/ 807933 h 5282095"/>
              <a:gd name="connsiteX20266" fmla="*/ 2345182 w 7714416"/>
              <a:gd name="connsiteY20266" fmla="*/ 807228 h 5282095"/>
              <a:gd name="connsiteX20267" fmla="*/ 2345922 w 7714416"/>
              <a:gd name="connsiteY20267" fmla="*/ 811106 h 5282095"/>
              <a:gd name="connsiteX20268" fmla="*/ 2342056 w 7714416"/>
              <a:gd name="connsiteY20268" fmla="*/ 812256 h 5282095"/>
              <a:gd name="connsiteX20269" fmla="*/ 2339572 w 7714416"/>
              <a:gd name="connsiteY20269" fmla="*/ 813775 h 5282095"/>
              <a:gd name="connsiteX20270" fmla="*/ 2336909 w 7714416"/>
              <a:gd name="connsiteY20270" fmla="*/ 813752 h 5282095"/>
              <a:gd name="connsiteX20271" fmla="*/ 2334678 w 7714416"/>
              <a:gd name="connsiteY20271" fmla="*/ 812119 h 5282095"/>
              <a:gd name="connsiteX20272" fmla="*/ 2336914 w 7714416"/>
              <a:gd name="connsiteY20272" fmla="*/ 810417 h 5282095"/>
              <a:gd name="connsiteX20273" fmla="*/ 2345182 w 7714416"/>
              <a:gd name="connsiteY20273" fmla="*/ 807228 h 5282095"/>
              <a:gd name="connsiteX20274" fmla="*/ 1738369 w 7714416"/>
              <a:gd name="connsiteY20274" fmla="*/ 804026 h 5282095"/>
              <a:gd name="connsiteX20275" fmla="*/ 1749247 w 7714416"/>
              <a:gd name="connsiteY20275" fmla="*/ 806595 h 5282095"/>
              <a:gd name="connsiteX20276" fmla="*/ 1746598 w 7714416"/>
              <a:gd name="connsiteY20276" fmla="*/ 819800 h 5282095"/>
              <a:gd name="connsiteX20277" fmla="*/ 1738369 w 7714416"/>
              <a:gd name="connsiteY20277" fmla="*/ 804026 h 5282095"/>
              <a:gd name="connsiteX20278" fmla="*/ 2296529 w 7714416"/>
              <a:gd name="connsiteY20278" fmla="*/ 803966 h 5282095"/>
              <a:gd name="connsiteX20279" fmla="*/ 2306106 w 7714416"/>
              <a:gd name="connsiteY20279" fmla="*/ 809177 h 5282095"/>
              <a:gd name="connsiteX20280" fmla="*/ 2307385 w 7714416"/>
              <a:gd name="connsiteY20280" fmla="*/ 808831 h 5282095"/>
              <a:gd name="connsiteX20281" fmla="*/ 2316124 w 7714416"/>
              <a:gd name="connsiteY20281" fmla="*/ 820488 h 5282095"/>
              <a:gd name="connsiteX20282" fmla="*/ 2314298 w 7714416"/>
              <a:gd name="connsiteY20282" fmla="*/ 822873 h 5282095"/>
              <a:gd name="connsiteX20283" fmla="*/ 2314489 w 7714416"/>
              <a:gd name="connsiteY20283" fmla="*/ 823269 h 5282095"/>
              <a:gd name="connsiteX20284" fmla="*/ 2306202 w 7714416"/>
              <a:gd name="connsiteY20284" fmla="*/ 825419 h 5282095"/>
              <a:gd name="connsiteX20285" fmla="*/ 2299429 w 7714416"/>
              <a:gd name="connsiteY20285" fmla="*/ 823029 h 5282095"/>
              <a:gd name="connsiteX20286" fmla="*/ 2294222 w 7714416"/>
              <a:gd name="connsiteY20286" fmla="*/ 819219 h 5282095"/>
              <a:gd name="connsiteX20287" fmla="*/ 2292298 w 7714416"/>
              <a:gd name="connsiteY20287" fmla="*/ 814219 h 5282095"/>
              <a:gd name="connsiteX20288" fmla="*/ 2288825 w 7714416"/>
              <a:gd name="connsiteY20288" fmla="*/ 806157 h 5282095"/>
              <a:gd name="connsiteX20289" fmla="*/ 2296529 w 7714416"/>
              <a:gd name="connsiteY20289" fmla="*/ 803966 h 5282095"/>
              <a:gd name="connsiteX20290" fmla="*/ 4871962 w 7714416"/>
              <a:gd name="connsiteY20290" fmla="*/ 802777 h 5282095"/>
              <a:gd name="connsiteX20291" fmla="*/ 4872900 w 7714416"/>
              <a:gd name="connsiteY20291" fmla="*/ 809239 h 5282095"/>
              <a:gd name="connsiteX20292" fmla="*/ 4873838 w 7714416"/>
              <a:gd name="connsiteY20292" fmla="*/ 806845 h 5282095"/>
              <a:gd name="connsiteX20293" fmla="*/ 4876615 w 7714416"/>
              <a:gd name="connsiteY20293" fmla="*/ 806439 h 5282095"/>
              <a:gd name="connsiteX20294" fmla="*/ 4880605 w 7714416"/>
              <a:gd name="connsiteY20294" fmla="*/ 807047 h 5282095"/>
              <a:gd name="connsiteX20295" fmla="*/ 4879634 w 7714416"/>
              <a:gd name="connsiteY20295" fmla="*/ 812883 h 5282095"/>
              <a:gd name="connsiteX20296" fmla="*/ 4874632 w 7714416"/>
              <a:gd name="connsiteY20296" fmla="*/ 813842 h 5282095"/>
              <a:gd name="connsiteX20297" fmla="*/ 4872314 w 7714416"/>
              <a:gd name="connsiteY20297" fmla="*/ 812531 h 5282095"/>
              <a:gd name="connsiteX20298" fmla="*/ 4872630 w 7714416"/>
              <a:gd name="connsiteY20298" fmla="*/ 811351 h 5282095"/>
              <a:gd name="connsiteX20299" fmla="*/ 4867499 w 7714416"/>
              <a:gd name="connsiteY20299" fmla="*/ 817221 h 5282095"/>
              <a:gd name="connsiteX20300" fmla="*/ 4846587 w 7714416"/>
              <a:gd name="connsiteY20300" fmla="*/ 825533 h 5282095"/>
              <a:gd name="connsiteX20301" fmla="*/ 4871962 w 7714416"/>
              <a:gd name="connsiteY20301" fmla="*/ 802777 h 5282095"/>
              <a:gd name="connsiteX20302" fmla="*/ 2101179 w 7714416"/>
              <a:gd name="connsiteY20302" fmla="*/ 801419 h 5282095"/>
              <a:gd name="connsiteX20303" fmla="*/ 2100242 w 7714416"/>
              <a:gd name="connsiteY20303" fmla="*/ 803812 h 5282095"/>
              <a:gd name="connsiteX20304" fmla="*/ 2099285 w 7714416"/>
              <a:gd name="connsiteY20304" fmla="*/ 805166 h 5282095"/>
              <a:gd name="connsiteX20305" fmla="*/ 2098183 w 7714416"/>
              <a:gd name="connsiteY20305" fmla="*/ 801536 h 5282095"/>
              <a:gd name="connsiteX20306" fmla="*/ 2101179 w 7714416"/>
              <a:gd name="connsiteY20306" fmla="*/ 801419 h 5282095"/>
              <a:gd name="connsiteX20307" fmla="*/ 2082435 w 7714416"/>
              <a:gd name="connsiteY20307" fmla="*/ 800536 h 5282095"/>
              <a:gd name="connsiteX20308" fmla="*/ 2082845 w 7714416"/>
              <a:gd name="connsiteY20308" fmla="*/ 801221 h 5282095"/>
              <a:gd name="connsiteX20309" fmla="*/ 2081652 w 7714416"/>
              <a:gd name="connsiteY20309" fmla="*/ 801246 h 5282095"/>
              <a:gd name="connsiteX20310" fmla="*/ 5240680 w 7714416"/>
              <a:gd name="connsiteY20310" fmla="*/ 800258 h 5282095"/>
              <a:gd name="connsiteX20311" fmla="*/ 5243885 w 7714416"/>
              <a:gd name="connsiteY20311" fmla="*/ 801577 h 5282095"/>
              <a:gd name="connsiteX20312" fmla="*/ 5242330 w 7714416"/>
              <a:gd name="connsiteY20312" fmla="*/ 801849 h 5282095"/>
              <a:gd name="connsiteX20313" fmla="*/ 5240680 w 7714416"/>
              <a:gd name="connsiteY20313" fmla="*/ 800258 h 5282095"/>
              <a:gd name="connsiteX20314" fmla="*/ 5433763 w 7714416"/>
              <a:gd name="connsiteY20314" fmla="*/ 799094 h 5282095"/>
              <a:gd name="connsiteX20315" fmla="*/ 5437988 w 7714416"/>
              <a:gd name="connsiteY20315" fmla="*/ 801031 h 5282095"/>
              <a:gd name="connsiteX20316" fmla="*/ 5433241 w 7714416"/>
              <a:gd name="connsiteY20316" fmla="*/ 804359 h 5282095"/>
              <a:gd name="connsiteX20317" fmla="*/ 5430905 w 7714416"/>
              <a:gd name="connsiteY20317" fmla="*/ 802009 h 5282095"/>
              <a:gd name="connsiteX20318" fmla="*/ 5430899 w 7714416"/>
              <a:gd name="connsiteY20318" fmla="*/ 799822 h 5282095"/>
              <a:gd name="connsiteX20319" fmla="*/ 5433763 w 7714416"/>
              <a:gd name="connsiteY20319" fmla="*/ 799094 h 5282095"/>
              <a:gd name="connsiteX20320" fmla="*/ 5414074 w 7714416"/>
              <a:gd name="connsiteY20320" fmla="*/ 798418 h 5282095"/>
              <a:gd name="connsiteX20321" fmla="*/ 5418396 w 7714416"/>
              <a:gd name="connsiteY20321" fmla="*/ 807742 h 5282095"/>
              <a:gd name="connsiteX20322" fmla="*/ 5416247 w 7714416"/>
              <a:gd name="connsiteY20322" fmla="*/ 809122 h 5282095"/>
              <a:gd name="connsiteX20323" fmla="*/ 5415141 w 7714416"/>
              <a:gd name="connsiteY20323" fmla="*/ 808825 h 5282095"/>
              <a:gd name="connsiteX20324" fmla="*/ 5411640 w 7714416"/>
              <a:gd name="connsiteY20324" fmla="*/ 806391 h 5282095"/>
              <a:gd name="connsiteX20325" fmla="*/ 5410012 w 7714416"/>
              <a:gd name="connsiteY20325" fmla="*/ 802505 h 5282095"/>
              <a:gd name="connsiteX20326" fmla="*/ 5410818 w 7714416"/>
              <a:gd name="connsiteY20326" fmla="*/ 799500 h 5282095"/>
              <a:gd name="connsiteX20327" fmla="*/ 5414074 w 7714416"/>
              <a:gd name="connsiteY20327" fmla="*/ 798418 h 5282095"/>
              <a:gd name="connsiteX20328" fmla="*/ 2802783 w 7714416"/>
              <a:gd name="connsiteY20328" fmla="*/ 798396 h 5282095"/>
              <a:gd name="connsiteX20329" fmla="*/ 2795783 w 7714416"/>
              <a:gd name="connsiteY20329" fmla="*/ 828950 h 5282095"/>
              <a:gd name="connsiteX20330" fmla="*/ 2791344 w 7714416"/>
              <a:gd name="connsiteY20330" fmla="*/ 820055 h 5282095"/>
              <a:gd name="connsiteX20331" fmla="*/ 2802783 w 7714416"/>
              <a:gd name="connsiteY20331" fmla="*/ 798396 h 5282095"/>
              <a:gd name="connsiteX20332" fmla="*/ 2560713 w 7714416"/>
              <a:gd name="connsiteY20332" fmla="*/ 796439 h 5282095"/>
              <a:gd name="connsiteX20333" fmla="*/ 2577046 w 7714416"/>
              <a:gd name="connsiteY20333" fmla="*/ 803001 h 5282095"/>
              <a:gd name="connsiteX20334" fmla="*/ 2564214 w 7714416"/>
              <a:gd name="connsiteY20334" fmla="*/ 807726 h 5282095"/>
              <a:gd name="connsiteX20335" fmla="*/ 2559262 w 7714416"/>
              <a:gd name="connsiteY20335" fmla="*/ 806284 h 5282095"/>
              <a:gd name="connsiteX20336" fmla="*/ 2553951 w 7714416"/>
              <a:gd name="connsiteY20336" fmla="*/ 801757 h 5282095"/>
              <a:gd name="connsiteX20337" fmla="*/ 2560713 w 7714416"/>
              <a:gd name="connsiteY20337" fmla="*/ 796439 h 5282095"/>
              <a:gd name="connsiteX20338" fmla="*/ 1901747 w 7714416"/>
              <a:gd name="connsiteY20338" fmla="*/ 796397 h 5282095"/>
              <a:gd name="connsiteX20339" fmla="*/ 1917387 w 7714416"/>
              <a:gd name="connsiteY20339" fmla="*/ 808867 h 5282095"/>
              <a:gd name="connsiteX20340" fmla="*/ 1901747 w 7714416"/>
              <a:gd name="connsiteY20340" fmla="*/ 796397 h 5282095"/>
              <a:gd name="connsiteX20341" fmla="*/ 1838888 w 7714416"/>
              <a:gd name="connsiteY20341" fmla="*/ 796343 h 5282095"/>
              <a:gd name="connsiteX20342" fmla="*/ 1854575 w 7714416"/>
              <a:gd name="connsiteY20342" fmla="*/ 800892 h 5282095"/>
              <a:gd name="connsiteX20343" fmla="*/ 1860610 w 7714416"/>
              <a:gd name="connsiteY20343" fmla="*/ 804925 h 5282095"/>
              <a:gd name="connsiteX20344" fmla="*/ 1860754 w 7714416"/>
              <a:gd name="connsiteY20344" fmla="*/ 804388 h 5282095"/>
              <a:gd name="connsiteX20345" fmla="*/ 1866473 w 7714416"/>
              <a:gd name="connsiteY20345" fmla="*/ 804080 h 5282095"/>
              <a:gd name="connsiteX20346" fmla="*/ 1872365 w 7714416"/>
              <a:gd name="connsiteY20346" fmla="*/ 808649 h 5282095"/>
              <a:gd name="connsiteX20347" fmla="*/ 1874812 w 7714416"/>
              <a:gd name="connsiteY20347" fmla="*/ 813905 h 5282095"/>
              <a:gd name="connsiteX20348" fmla="*/ 1875974 w 7714416"/>
              <a:gd name="connsiteY20348" fmla="*/ 817321 h 5282095"/>
              <a:gd name="connsiteX20349" fmla="*/ 1883657 w 7714416"/>
              <a:gd name="connsiteY20349" fmla="*/ 826279 h 5282095"/>
              <a:gd name="connsiteX20350" fmla="*/ 1883186 w 7714416"/>
              <a:gd name="connsiteY20350" fmla="*/ 837999 h 5282095"/>
              <a:gd name="connsiteX20351" fmla="*/ 1838888 w 7714416"/>
              <a:gd name="connsiteY20351" fmla="*/ 796343 h 5282095"/>
              <a:gd name="connsiteX20352" fmla="*/ 2539993 w 7714416"/>
              <a:gd name="connsiteY20352" fmla="*/ 796292 h 5282095"/>
              <a:gd name="connsiteX20353" fmla="*/ 2537621 w 7714416"/>
              <a:gd name="connsiteY20353" fmla="*/ 800716 h 5282095"/>
              <a:gd name="connsiteX20354" fmla="*/ 2539633 w 7714416"/>
              <a:gd name="connsiteY20354" fmla="*/ 802060 h 5282095"/>
              <a:gd name="connsiteX20355" fmla="*/ 2542085 w 7714416"/>
              <a:gd name="connsiteY20355" fmla="*/ 803982 h 5282095"/>
              <a:gd name="connsiteX20356" fmla="*/ 2533905 w 7714416"/>
              <a:gd name="connsiteY20356" fmla="*/ 812370 h 5282095"/>
              <a:gd name="connsiteX20357" fmla="*/ 2531053 w 7714416"/>
              <a:gd name="connsiteY20357" fmla="*/ 811952 h 5282095"/>
              <a:gd name="connsiteX20358" fmla="*/ 2530545 w 7714416"/>
              <a:gd name="connsiteY20358" fmla="*/ 812736 h 5282095"/>
              <a:gd name="connsiteX20359" fmla="*/ 2528978 w 7714416"/>
              <a:gd name="connsiteY20359" fmla="*/ 814156 h 5282095"/>
              <a:gd name="connsiteX20360" fmla="*/ 2533503 w 7714416"/>
              <a:gd name="connsiteY20360" fmla="*/ 813872 h 5282095"/>
              <a:gd name="connsiteX20361" fmla="*/ 2533345 w 7714416"/>
              <a:gd name="connsiteY20361" fmla="*/ 818890 h 5282095"/>
              <a:gd name="connsiteX20362" fmla="*/ 2529471 w 7714416"/>
              <a:gd name="connsiteY20362" fmla="*/ 817853 h 5282095"/>
              <a:gd name="connsiteX20363" fmla="*/ 2527603 w 7714416"/>
              <a:gd name="connsiteY20363" fmla="*/ 815972 h 5282095"/>
              <a:gd name="connsiteX20364" fmla="*/ 2528442 w 7714416"/>
              <a:gd name="connsiteY20364" fmla="*/ 815047 h 5282095"/>
              <a:gd name="connsiteX20365" fmla="*/ 2526790 w 7714416"/>
              <a:gd name="connsiteY20365" fmla="*/ 816789 h 5282095"/>
              <a:gd name="connsiteX20366" fmla="*/ 2526273 w 7714416"/>
              <a:gd name="connsiteY20366" fmla="*/ 818721 h 5282095"/>
              <a:gd name="connsiteX20367" fmla="*/ 2524285 w 7714416"/>
              <a:gd name="connsiteY20367" fmla="*/ 820604 h 5282095"/>
              <a:gd name="connsiteX20368" fmla="*/ 2523149 w 7714416"/>
              <a:gd name="connsiteY20368" fmla="*/ 820414 h 5282095"/>
              <a:gd name="connsiteX20369" fmla="*/ 2518881 w 7714416"/>
              <a:gd name="connsiteY20369" fmla="*/ 823065 h 5282095"/>
              <a:gd name="connsiteX20370" fmla="*/ 2522621 w 7714416"/>
              <a:gd name="connsiteY20370" fmla="*/ 823493 h 5282095"/>
              <a:gd name="connsiteX20371" fmla="*/ 2526348 w 7714416"/>
              <a:gd name="connsiteY20371" fmla="*/ 828400 h 5282095"/>
              <a:gd name="connsiteX20372" fmla="*/ 2524857 w 7714416"/>
              <a:gd name="connsiteY20372" fmla="*/ 830646 h 5282095"/>
              <a:gd name="connsiteX20373" fmla="*/ 2520199 w 7714416"/>
              <a:gd name="connsiteY20373" fmla="*/ 830318 h 5282095"/>
              <a:gd name="connsiteX20374" fmla="*/ 2513343 w 7714416"/>
              <a:gd name="connsiteY20374" fmla="*/ 824916 h 5282095"/>
              <a:gd name="connsiteX20375" fmla="*/ 2514529 w 7714416"/>
              <a:gd name="connsiteY20375" fmla="*/ 822704 h 5282095"/>
              <a:gd name="connsiteX20376" fmla="*/ 2511959 w 7714416"/>
              <a:gd name="connsiteY20376" fmla="*/ 815691 h 5282095"/>
              <a:gd name="connsiteX20377" fmla="*/ 2518536 w 7714416"/>
              <a:gd name="connsiteY20377" fmla="*/ 806642 h 5282095"/>
              <a:gd name="connsiteX20378" fmla="*/ 2522136 w 7714416"/>
              <a:gd name="connsiteY20378" fmla="*/ 804272 h 5282095"/>
              <a:gd name="connsiteX20379" fmla="*/ 2524152 w 7714416"/>
              <a:gd name="connsiteY20379" fmla="*/ 802282 h 5282095"/>
              <a:gd name="connsiteX20380" fmla="*/ 2526711 w 7714416"/>
              <a:gd name="connsiteY20380" fmla="*/ 801588 h 5282095"/>
              <a:gd name="connsiteX20381" fmla="*/ 2529586 w 7714416"/>
              <a:gd name="connsiteY20381" fmla="*/ 799713 h 5282095"/>
              <a:gd name="connsiteX20382" fmla="*/ 2539993 w 7714416"/>
              <a:gd name="connsiteY20382" fmla="*/ 796292 h 5282095"/>
              <a:gd name="connsiteX20383" fmla="*/ 2234245 w 7714416"/>
              <a:gd name="connsiteY20383" fmla="*/ 796234 h 5282095"/>
              <a:gd name="connsiteX20384" fmla="*/ 2243308 w 7714416"/>
              <a:gd name="connsiteY20384" fmla="*/ 796722 h 5282095"/>
              <a:gd name="connsiteX20385" fmla="*/ 2233214 w 7714416"/>
              <a:gd name="connsiteY20385" fmla="*/ 802296 h 5282095"/>
              <a:gd name="connsiteX20386" fmla="*/ 2234245 w 7714416"/>
              <a:gd name="connsiteY20386" fmla="*/ 796234 h 5282095"/>
              <a:gd name="connsiteX20387" fmla="*/ 1208634 w 7714416"/>
              <a:gd name="connsiteY20387" fmla="*/ 796233 h 5282095"/>
              <a:gd name="connsiteX20388" fmla="*/ 1216141 w 7714416"/>
              <a:gd name="connsiteY20388" fmla="*/ 797267 h 5282095"/>
              <a:gd name="connsiteX20389" fmla="*/ 1218506 w 7714416"/>
              <a:gd name="connsiteY20389" fmla="*/ 799510 h 5282095"/>
              <a:gd name="connsiteX20390" fmla="*/ 1215736 w 7714416"/>
              <a:gd name="connsiteY20390" fmla="*/ 802103 h 5282095"/>
              <a:gd name="connsiteX20391" fmla="*/ 1206076 w 7714416"/>
              <a:gd name="connsiteY20391" fmla="*/ 802734 h 5282095"/>
              <a:gd name="connsiteX20392" fmla="*/ 1203740 w 7714416"/>
              <a:gd name="connsiteY20392" fmla="*/ 800383 h 5282095"/>
              <a:gd name="connsiteX20393" fmla="*/ 1208634 w 7714416"/>
              <a:gd name="connsiteY20393" fmla="*/ 796233 h 5282095"/>
              <a:gd name="connsiteX20394" fmla="*/ 2247767 w 7714416"/>
              <a:gd name="connsiteY20394" fmla="*/ 794466 h 5282095"/>
              <a:gd name="connsiteX20395" fmla="*/ 2268406 w 7714416"/>
              <a:gd name="connsiteY20395" fmla="*/ 818166 h 5282095"/>
              <a:gd name="connsiteX20396" fmla="*/ 2261402 w 7714416"/>
              <a:gd name="connsiteY20396" fmla="*/ 816634 h 5282095"/>
              <a:gd name="connsiteX20397" fmla="*/ 2244372 w 7714416"/>
              <a:gd name="connsiteY20397" fmla="*/ 801606 h 5282095"/>
              <a:gd name="connsiteX20398" fmla="*/ 2247767 w 7714416"/>
              <a:gd name="connsiteY20398" fmla="*/ 794466 h 5282095"/>
              <a:gd name="connsiteX20399" fmla="*/ 2319589 w 7714416"/>
              <a:gd name="connsiteY20399" fmla="*/ 794275 h 5282095"/>
              <a:gd name="connsiteX20400" fmla="*/ 2330503 w 7714416"/>
              <a:gd name="connsiteY20400" fmla="*/ 798924 h 5282095"/>
              <a:gd name="connsiteX20401" fmla="*/ 2331189 w 7714416"/>
              <a:gd name="connsiteY20401" fmla="*/ 799684 h 5282095"/>
              <a:gd name="connsiteX20402" fmla="*/ 2331391 w 7714416"/>
              <a:gd name="connsiteY20402" fmla="*/ 798933 h 5282095"/>
              <a:gd name="connsiteX20403" fmla="*/ 2332288 w 7714416"/>
              <a:gd name="connsiteY20403" fmla="*/ 797793 h 5282095"/>
              <a:gd name="connsiteX20404" fmla="*/ 2335839 w 7714416"/>
              <a:gd name="connsiteY20404" fmla="*/ 797824 h 5282095"/>
              <a:gd name="connsiteX20405" fmla="*/ 2338419 w 7714416"/>
              <a:gd name="connsiteY20405" fmla="*/ 794836 h 5282095"/>
              <a:gd name="connsiteX20406" fmla="*/ 2341653 w 7714416"/>
              <a:gd name="connsiteY20406" fmla="*/ 796047 h 5282095"/>
              <a:gd name="connsiteX20407" fmla="*/ 2336245 w 7714416"/>
              <a:gd name="connsiteY20407" fmla="*/ 801843 h 5282095"/>
              <a:gd name="connsiteX20408" fmla="*/ 2333364 w 7714416"/>
              <a:gd name="connsiteY20408" fmla="*/ 801531 h 5282095"/>
              <a:gd name="connsiteX20409" fmla="*/ 2340572 w 7714416"/>
              <a:gd name="connsiteY20409" fmla="*/ 807832 h 5282095"/>
              <a:gd name="connsiteX20410" fmla="*/ 2335811 w 7714416"/>
              <a:gd name="connsiteY20410" fmla="*/ 806787 h 5282095"/>
              <a:gd name="connsiteX20411" fmla="*/ 2319589 w 7714416"/>
              <a:gd name="connsiteY20411" fmla="*/ 794275 h 5282095"/>
              <a:gd name="connsiteX20412" fmla="*/ 2080944 w 7714416"/>
              <a:gd name="connsiteY20412" fmla="*/ 793927 h 5282095"/>
              <a:gd name="connsiteX20413" fmla="*/ 2084512 w 7714416"/>
              <a:gd name="connsiteY20413" fmla="*/ 794998 h 5282095"/>
              <a:gd name="connsiteX20414" fmla="*/ 2084345 w 7714416"/>
              <a:gd name="connsiteY20414" fmla="*/ 801162 h 5282095"/>
              <a:gd name="connsiteX20415" fmla="*/ 2082579 w 7714416"/>
              <a:gd name="connsiteY20415" fmla="*/ 800000 h 5282095"/>
              <a:gd name="connsiteX20416" fmla="*/ 2082435 w 7714416"/>
              <a:gd name="connsiteY20416" fmla="*/ 800536 h 5282095"/>
              <a:gd name="connsiteX20417" fmla="*/ 2080216 w 7714416"/>
              <a:gd name="connsiteY20417" fmla="*/ 797757 h 5282095"/>
              <a:gd name="connsiteX20418" fmla="*/ 2080944 w 7714416"/>
              <a:gd name="connsiteY20418" fmla="*/ 793927 h 5282095"/>
              <a:gd name="connsiteX20419" fmla="*/ 838048 w 7714416"/>
              <a:gd name="connsiteY20419" fmla="*/ 793824 h 5282095"/>
              <a:gd name="connsiteX20420" fmla="*/ 876600 w 7714416"/>
              <a:gd name="connsiteY20420" fmla="*/ 818183 h 5282095"/>
              <a:gd name="connsiteX20421" fmla="*/ 840082 w 7714416"/>
              <a:gd name="connsiteY20421" fmla="*/ 801729 h 5282095"/>
              <a:gd name="connsiteX20422" fmla="*/ 838048 w 7714416"/>
              <a:gd name="connsiteY20422" fmla="*/ 793824 h 5282095"/>
              <a:gd name="connsiteX20423" fmla="*/ 6003706 w 7714416"/>
              <a:gd name="connsiteY20423" fmla="*/ 793797 h 5282095"/>
              <a:gd name="connsiteX20424" fmla="*/ 6013164 w 7714416"/>
              <a:gd name="connsiteY20424" fmla="*/ 793917 h 5282095"/>
              <a:gd name="connsiteX20425" fmla="*/ 6017792 w 7714416"/>
              <a:gd name="connsiteY20425" fmla="*/ 803207 h 5282095"/>
              <a:gd name="connsiteX20426" fmla="*/ 6004553 w 7714416"/>
              <a:gd name="connsiteY20426" fmla="*/ 803915 h 5282095"/>
              <a:gd name="connsiteX20427" fmla="*/ 6003706 w 7714416"/>
              <a:gd name="connsiteY20427" fmla="*/ 793797 h 5282095"/>
              <a:gd name="connsiteX20428" fmla="*/ 1494161 w 7714416"/>
              <a:gd name="connsiteY20428" fmla="*/ 793446 h 5282095"/>
              <a:gd name="connsiteX20429" fmla="*/ 1505195 w 7714416"/>
              <a:gd name="connsiteY20429" fmla="*/ 794332 h 5282095"/>
              <a:gd name="connsiteX20430" fmla="*/ 1500721 w 7714416"/>
              <a:gd name="connsiteY20430" fmla="*/ 801068 h 5282095"/>
              <a:gd name="connsiteX20431" fmla="*/ 1485676 w 7714416"/>
              <a:gd name="connsiteY20431" fmla="*/ 801868 h 5282095"/>
              <a:gd name="connsiteX20432" fmla="*/ 1482788 w 7714416"/>
              <a:gd name="connsiteY20432" fmla="*/ 799368 h 5282095"/>
              <a:gd name="connsiteX20433" fmla="*/ 1484842 w 7714416"/>
              <a:gd name="connsiteY20433" fmla="*/ 796124 h 5282095"/>
              <a:gd name="connsiteX20434" fmla="*/ 1494161 w 7714416"/>
              <a:gd name="connsiteY20434" fmla="*/ 793446 h 5282095"/>
              <a:gd name="connsiteX20435" fmla="*/ 5726588 w 7714416"/>
              <a:gd name="connsiteY20435" fmla="*/ 793144 h 5282095"/>
              <a:gd name="connsiteX20436" fmla="*/ 5719796 w 7714416"/>
              <a:gd name="connsiteY20436" fmla="*/ 816279 h 5282095"/>
              <a:gd name="connsiteX20437" fmla="*/ 5713841 w 7714416"/>
              <a:gd name="connsiteY20437" fmla="*/ 806405 h 5282095"/>
              <a:gd name="connsiteX20438" fmla="*/ 5716191 w 7714416"/>
              <a:gd name="connsiteY20438" fmla="*/ 795420 h 5282095"/>
              <a:gd name="connsiteX20439" fmla="*/ 5726588 w 7714416"/>
              <a:gd name="connsiteY20439" fmla="*/ 793144 h 5282095"/>
              <a:gd name="connsiteX20440" fmla="*/ 1812293 w 7714416"/>
              <a:gd name="connsiteY20440" fmla="*/ 792668 h 5282095"/>
              <a:gd name="connsiteX20441" fmla="*/ 1813227 w 7714416"/>
              <a:gd name="connsiteY20441" fmla="*/ 793607 h 5282095"/>
              <a:gd name="connsiteX20442" fmla="*/ 1812062 w 7714416"/>
              <a:gd name="connsiteY20442" fmla="*/ 793526 h 5282095"/>
              <a:gd name="connsiteX20443" fmla="*/ 1774344 w 7714416"/>
              <a:gd name="connsiteY20443" fmla="*/ 792619 h 5282095"/>
              <a:gd name="connsiteX20444" fmla="*/ 1777495 w 7714416"/>
              <a:gd name="connsiteY20444" fmla="*/ 799674 h 5282095"/>
              <a:gd name="connsiteX20445" fmla="*/ 1770873 w 7714416"/>
              <a:gd name="connsiteY20445" fmla="*/ 798935 h 5282095"/>
              <a:gd name="connsiteX20446" fmla="*/ 1774344 w 7714416"/>
              <a:gd name="connsiteY20446" fmla="*/ 792619 h 5282095"/>
              <a:gd name="connsiteX20447" fmla="*/ 1831076 w 7714416"/>
              <a:gd name="connsiteY20447" fmla="*/ 792295 h 5282095"/>
              <a:gd name="connsiteX20448" fmla="*/ 1830663 w 7714416"/>
              <a:gd name="connsiteY20448" fmla="*/ 794945 h 5282095"/>
              <a:gd name="connsiteX20449" fmla="*/ 1829706 w 7714416"/>
              <a:gd name="connsiteY20449" fmla="*/ 796298 h 5282095"/>
              <a:gd name="connsiteX20450" fmla="*/ 1828022 w 7714416"/>
              <a:gd name="connsiteY20450" fmla="*/ 792627 h 5282095"/>
              <a:gd name="connsiteX20451" fmla="*/ 1831076 w 7714416"/>
              <a:gd name="connsiteY20451" fmla="*/ 792295 h 5282095"/>
              <a:gd name="connsiteX20452" fmla="*/ 873459 w 7714416"/>
              <a:gd name="connsiteY20452" fmla="*/ 792271 h 5282095"/>
              <a:gd name="connsiteX20453" fmla="*/ 882762 w 7714416"/>
              <a:gd name="connsiteY20453" fmla="*/ 794074 h 5282095"/>
              <a:gd name="connsiteX20454" fmla="*/ 880973 w 7714416"/>
              <a:gd name="connsiteY20454" fmla="*/ 798540 h 5282095"/>
              <a:gd name="connsiteX20455" fmla="*/ 873459 w 7714416"/>
              <a:gd name="connsiteY20455" fmla="*/ 792271 h 5282095"/>
              <a:gd name="connsiteX20456" fmla="*/ 4335986 w 7714416"/>
              <a:gd name="connsiteY20456" fmla="*/ 791989 h 5282095"/>
              <a:gd name="connsiteX20457" fmla="*/ 4338552 w 7714416"/>
              <a:gd name="connsiteY20457" fmla="*/ 802337 h 5282095"/>
              <a:gd name="connsiteX20458" fmla="*/ 4332327 w 7714416"/>
              <a:gd name="connsiteY20458" fmla="*/ 794575 h 5282095"/>
              <a:gd name="connsiteX20459" fmla="*/ 4335986 w 7714416"/>
              <a:gd name="connsiteY20459" fmla="*/ 791989 h 5282095"/>
              <a:gd name="connsiteX20460" fmla="*/ 4597051 w 7714416"/>
              <a:gd name="connsiteY20460" fmla="*/ 791677 h 5282095"/>
              <a:gd name="connsiteX20461" fmla="*/ 4599739 w 7714416"/>
              <a:gd name="connsiteY20461" fmla="*/ 803781 h 5282095"/>
              <a:gd name="connsiteX20462" fmla="*/ 4595441 w 7714416"/>
              <a:gd name="connsiteY20462" fmla="*/ 806539 h 5282095"/>
              <a:gd name="connsiteX20463" fmla="*/ 4609865 w 7714416"/>
              <a:gd name="connsiteY20463" fmla="*/ 812474 h 5282095"/>
              <a:gd name="connsiteX20464" fmla="*/ 4619866 w 7714416"/>
              <a:gd name="connsiteY20464" fmla="*/ 822744 h 5282095"/>
              <a:gd name="connsiteX20465" fmla="*/ 4613203 w 7714416"/>
              <a:gd name="connsiteY20465" fmla="*/ 823259 h 5282095"/>
              <a:gd name="connsiteX20466" fmla="*/ 4605513 w 7714416"/>
              <a:gd name="connsiteY20466" fmla="*/ 820969 h 5282095"/>
              <a:gd name="connsiteX20467" fmla="*/ 4591416 w 7714416"/>
              <a:gd name="connsiteY20467" fmla="*/ 812706 h 5282095"/>
              <a:gd name="connsiteX20468" fmla="*/ 4591143 w 7714416"/>
              <a:gd name="connsiteY20468" fmla="*/ 809298 h 5282095"/>
              <a:gd name="connsiteX20469" fmla="*/ 4589691 w 7714416"/>
              <a:gd name="connsiteY20469" fmla="*/ 810289 h 5282095"/>
              <a:gd name="connsiteX20470" fmla="*/ 4584639 w 7714416"/>
              <a:gd name="connsiteY20470" fmla="*/ 804795 h 5282095"/>
              <a:gd name="connsiteX20471" fmla="*/ 4583653 w 7714416"/>
              <a:gd name="connsiteY20471" fmla="*/ 815111 h 5282095"/>
              <a:gd name="connsiteX20472" fmla="*/ 4579999 w 7714416"/>
              <a:gd name="connsiteY20472" fmla="*/ 814362 h 5282095"/>
              <a:gd name="connsiteX20473" fmla="*/ 4577559 w 7714416"/>
              <a:gd name="connsiteY20473" fmla="*/ 811294 h 5282095"/>
              <a:gd name="connsiteX20474" fmla="*/ 4576830 w 7714416"/>
              <a:gd name="connsiteY20474" fmla="*/ 806268 h 5282095"/>
              <a:gd name="connsiteX20475" fmla="*/ 4570580 w 7714416"/>
              <a:gd name="connsiteY20475" fmla="*/ 812988 h 5282095"/>
              <a:gd name="connsiteX20476" fmla="*/ 4552023 w 7714416"/>
              <a:gd name="connsiteY20476" fmla="*/ 824691 h 5282095"/>
              <a:gd name="connsiteX20477" fmla="*/ 4549346 w 7714416"/>
              <a:gd name="connsiteY20477" fmla="*/ 820294 h 5282095"/>
              <a:gd name="connsiteX20478" fmla="*/ 4573754 w 7714416"/>
              <a:gd name="connsiteY20478" fmla="*/ 800039 h 5282095"/>
              <a:gd name="connsiteX20479" fmla="*/ 4577592 w 7714416"/>
              <a:gd name="connsiteY20479" fmla="*/ 798996 h 5282095"/>
              <a:gd name="connsiteX20480" fmla="*/ 4578051 w 7714416"/>
              <a:gd name="connsiteY20480" fmla="*/ 797280 h 5282095"/>
              <a:gd name="connsiteX20481" fmla="*/ 4578770 w 7714416"/>
              <a:gd name="connsiteY20481" fmla="*/ 794597 h 5282095"/>
              <a:gd name="connsiteX20482" fmla="*/ 4584948 w 7714416"/>
              <a:gd name="connsiteY20482" fmla="*/ 792573 h 5282095"/>
              <a:gd name="connsiteX20483" fmla="*/ 4584635 w 7714416"/>
              <a:gd name="connsiteY20483" fmla="*/ 799274 h 5282095"/>
              <a:gd name="connsiteX20484" fmla="*/ 4584661 w 7714416"/>
              <a:gd name="connsiteY20484" fmla="*/ 802500 h 5282095"/>
              <a:gd name="connsiteX20485" fmla="*/ 4584922 w 7714416"/>
              <a:gd name="connsiteY20485" fmla="*/ 798201 h 5282095"/>
              <a:gd name="connsiteX20486" fmla="*/ 4597051 w 7714416"/>
              <a:gd name="connsiteY20486" fmla="*/ 791677 h 5282095"/>
              <a:gd name="connsiteX20487" fmla="*/ 2693719 w 7714416"/>
              <a:gd name="connsiteY20487" fmla="*/ 791482 h 5282095"/>
              <a:gd name="connsiteX20488" fmla="*/ 2697981 w 7714416"/>
              <a:gd name="connsiteY20488" fmla="*/ 795499 h 5282095"/>
              <a:gd name="connsiteX20489" fmla="*/ 2700370 w 7714416"/>
              <a:gd name="connsiteY20489" fmla="*/ 792114 h 5282095"/>
              <a:gd name="connsiteX20490" fmla="*/ 4917120 w 7714416"/>
              <a:gd name="connsiteY20490" fmla="*/ 791416 h 5282095"/>
              <a:gd name="connsiteX20491" fmla="*/ 4920583 w 7714416"/>
              <a:gd name="connsiteY20491" fmla="*/ 791769 h 5282095"/>
              <a:gd name="connsiteX20492" fmla="*/ 4922308 w 7714416"/>
              <a:gd name="connsiteY20492" fmla="*/ 794187 h 5282095"/>
              <a:gd name="connsiteX20493" fmla="*/ 4922790 w 7714416"/>
              <a:gd name="connsiteY20493" fmla="*/ 799031 h 5282095"/>
              <a:gd name="connsiteX20494" fmla="*/ 4919828 w 7714416"/>
              <a:gd name="connsiteY20494" fmla="*/ 801228 h 5282095"/>
              <a:gd name="connsiteX20495" fmla="*/ 4916289 w 7714416"/>
              <a:gd name="connsiteY20495" fmla="*/ 800049 h 5282095"/>
              <a:gd name="connsiteX20496" fmla="*/ 4912767 w 7714416"/>
              <a:gd name="connsiteY20496" fmla="*/ 799911 h 5282095"/>
              <a:gd name="connsiteX20497" fmla="*/ 4912778 w 7714416"/>
              <a:gd name="connsiteY20497" fmla="*/ 798763 h 5282095"/>
              <a:gd name="connsiteX20498" fmla="*/ 4911043 w 7714416"/>
              <a:gd name="connsiteY20498" fmla="*/ 797494 h 5282095"/>
              <a:gd name="connsiteX20499" fmla="*/ 4913777 w 7714416"/>
              <a:gd name="connsiteY20499" fmla="*/ 792821 h 5282095"/>
              <a:gd name="connsiteX20500" fmla="*/ 4917120 w 7714416"/>
              <a:gd name="connsiteY20500" fmla="*/ 791416 h 5282095"/>
              <a:gd name="connsiteX20501" fmla="*/ 4430278 w 7714416"/>
              <a:gd name="connsiteY20501" fmla="*/ 788735 h 5282095"/>
              <a:gd name="connsiteX20502" fmla="*/ 4439718 w 7714416"/>
              <a:gd name="connsiteY20502" fmla="*/ 796670 h 5282095"/>
              <a:gd name="connsiteX20503" fmla="*/ 4434646 w 7714416"/>
              <a:gd name="connsiteY20503" fmla="*/ 798990 h 5282095"/>
              <a:gd name="connsiteX20504" fmla="*/ 4426939 w 7714416"/>
              <a:gd name="connsiteY20504" fmla="*/ 795660 h 5282095"/>
              <a:gd name="connsiteX20505" fmla="*/ 4430278 w 7714416"/>
              <a:gd name="connsiteY20505" fmla="*/ 788735 h 5282095"/>
              <a:gd name="connsiteX20506" fmla="*/ 2544697 w 7714416"/>
              <a:gd name="connsiteY20506" fmla="*/ 788697 h 5282095"/>
              <a:gd name="connsiteX20507" fmla="*/ 2548969 w 7714416"/>
              <a:gd name="connsiteY20507" fmla="*/ 800422 h 5282095"/>
              <a:gd name="connsiteX20508" fmla="*/ 2543350 w 7714416"/>
              <a:gd name="connsiteY20508" fmla="*/ 790406 h 5282095"/>
              <a:gd name="connsiteX20509" fmla="*/ 2544697 w 7714416"/>
              <a:gd name="connsiteY20509" fmla="*/ 788697 h 5282095"/>
              <a:gd name="connsiteX20510" fmla="*/ 2304773 w 7714416"/>
              <a:gd name="connsiteY20510" fmla="*/ 788696 h 5282095"/>
              <a:gd name="connsiteX20511" fmla="*/ 2309247 w 7714416"/>
              <a:gd name="connsiteY20511" fmla="*/ 799669 h 5282095"/>
              <a:gd name="connsiteX20512" fmla="*/ 2304773 w 7714416"/>
              <a:gd name="connsiteY20512" fmla="*/ 788696 h 5282095"/>
              <a:gd name="connsiteX20513" fmla="*/ 5440741 w 7714416"/>
              <a:gd name="connsiteY20513" fmla="*/ 788544 h 5282095"/>
              <a:gd name="connsiteX20514" fmla="*/ 5450236 w 7714416"/>
              <a:gd name="connsiteY20514" fmla="*/ 790742 h 5282095"/>
              <a:gd name="connsiteX20515" fmla="*/ 5453991 w 7714416"/>
              <a:gd name="connsiteY20515" fmla="*/ 795544 h 5282095"/>
              <a:gd name="connsiteX20516" fmla="*/ 5454217 w 7714416"/>
              <a:gd name="connsiteY20516" fmla="*/ 798019 h 5282095"/>
              <a:gd name="connsiteX20517" fmla="*/ 5439440 w 7714416"/>
              <a:gd name="connsiteY20517" fmla="*/ 800040 h 5282095"/>
              <a:gd name="connsiteX20518" fmla="*/ 5432710 w 7714416"/>
              <a:gd name="connsiteY20518" fmla="*/ 793061 h 5282095"/>
              <a:gd name="connsiteX20519" fmla="*/ 5433429 w 7714416"/>
              <a:gd name="connsiteY20519" fmla="*/ 790379 h 5282095"/>
              <a:gd name="connsiteX20520" fmla="*/ 5436684 w 7714416"/>
              <a:gd name="connsiteY20520" fmla="*/ 789296 h 5282095"/>
              <a:gd name="connsiteX20521" fmla="*/ 5440741 w 7714416"/>
              <a:gd name="connsiteY20521" fmla="*/ 788544 h 5282095"/>
              <a:gd name="connsiteX20522" fmla="*/ 2769543 w 7714416"/>
              <a:gd name="connsiteY20522" fmla="*/ 787418 h 5282095"/>
              <a:gd name="connsiteX20523" fmla="*/ 2776633 w 7714416"/>
              <a:gd name="connsiteY20523" fmla="*/ 788628 h 5282095"/>
              <a:gd name="connsiteX20524" fmla="*/ 2778929 w 7714416"/>
              <a:gd name="connsiteY20524" fmla="*/ 792233 h 5282095"/>
              <a:gd name="connsiteX20525" fmla="*/ 2777154 w 7714416"/>
              <a:gd name="connsiteY20525" fmla="*/ 792218 h 5282095"/>
              <a:gd name="connsiteX20526" fmla="*/ 2770596 w 7714416"/>
              <a:gd name="connsiteY20526" fmla="*/ 793451 h 5282095"/>
              <a:gd name="connsiteX20527" fmla="*/ 2769543 w 7714416"/>
              <a:gd name="connsiteY20527" fmla="*/ 787418 h 5282095"/>
              <a:gd name="connsiteX20528" fmla="*/ 1810133 w 7714416"/>
              <a:gd name="connsiteY20528" fmla="*/ 786339 h 5282095"/>
              <a:gd name="connsiteX20529" fmla="*/ 1813787 w 7714416"/>
              <a:gd name="connsiteY20529" fmla="*/ 787088 h 5282095"/>
              <a:gd name="connsiteX20530" fmla="*/ 1814507 w 7714416"/>
              <a:gd name="connsiteY20530" fmla="*/ 793261 h 5282095"/>
              <a:gd name="connsiteX20531" fmla="*/ 1812684 w 7714416"/>
              <a:gd name="connsiteY20531" fmla="*/ 792313 h 5282095"/>
              <a:gd name="connsiteX20532" fmla="*/ 1812293 w 7714416"/>
              <a:gd name="connsiteY20532" fmla="*/ 792668 h 5282095"/>
              <a:gd name="connsiteX20533" fmla="*/ 1809986 w 7714416"/>
              <a:gd name="connsiteY20533" fmla="*/ 790209 h 5282095"/>
              <a:gd name="connsiteX20534" fmla="*/ 1810133 w 7714416"/>
              <a:gd name="connsiteY20534" fmla="*/ 786339 h 5282095"/>
              <a:gd name="connsiteX20535" fmla="*/ 4944050 w 7714416"/>
              <a:gd name="connsiteY20535" fmla="*/ 786097 h 5282095"/>
              <a:gd name="connsiteX20536" fmla="*/ 4948218 w 7714416"/>
              <a:gd name="connsiteY20536" fmla="*/ 788249 h 5282095"/>
              <a:gd name="connsiteX20537" fmla="*/ 4946974 w 7714416"/>
              <a:gd name="connsiteY20537" fmla="*/ 790676 h 5282095"/>
              <a:gd name="connsiteX20538" fmla="*/ 4947811 w 7714416"/>
              <a:gd name="connsiteY20538" fmla="*/ 793085 h 5282095"/>
              <a:gd name="connsiteX20539" fmla="*/ 4946008 w 7714416"/>
              <a:gd name="connsiteY20539" fmla="*/ 793177 h 5282095"/>
              <a:gd name="connsiteX20540" fmla="*/ 4944775 w 7714416"/>
              <a:gd name="connsiteY20540" fmla="*/ 794457 h 5282095"/>
              <a:gd name="connsiteX20541" fmla="*/ 4940291 w 7714416"/>
              <a:gd name="connsiteY20541" fmla="*/ 793485 h 5282095"/>
              <a:gd name="connsiteX20542" fmla="*/ 4937304 w 7714416"/>
              <a:gd name="connsiteY20542" fmla="*/ 792455 h 5282095"/>
              <a:gd name="connsiteX20543" fmla="*/ 4934635 w 7714416"/>
              <a:gd name="connsiteY20543" fmla="*/ 790245 h 5282095"/>
              <a:gd name="connsiteX20544" fmla="*/ 4934408 w 7714416"/>
              <a:gd name="connsiteY20544" fmla="*/ 787769 h 5282095"/>
              <a:gd name="connsiteX20545" fmla="*/ 4937415 w 7714416"/>
              <a:gd name="connsiteY20545" fmla="*/ 786505 h 5282095"/>
              <a:gd name="connsiteX20546" fmla="*/ 4944050 w 7714416"/>
              <a:gd name="connsiteY20546" fmla="*/ 786097 h 5282095"/>
              <a:gd name="connsiteX20547" fmla="*/ 2438368 w 7714416"/>
              <a:gd name="connsiteY20547" fmla="*/ 785967 h 5282095"/>
              <a:gd name="connsiteX20548" fmla="*/ 2459906 w 7714416"/>
              <a:gd name="connsiteY20548" fmla="*/ 822904 h 5282095"/>
              <a:gd name="connsiteX20549" fmla="*/ 2441033 w 7714416"/>
              <a:gd name="connsiteY20549" fmla="*/ 826931 h 5282095"/>
              <a:gd name="connsiteX20550" fmla="*/ 2434755 w 7714416"/>
              <a:gd name="connsiteY20550" fmla="*/ 824904 h 5282095"/>
              <a:gd name="connsiteX20551" fmla="*/ 2418549 w 7714416"/>
              <a:gd name="connsiteY20551" fmla="*/ 807912 h 5282095"/>
              <a:gd name="connsiteX20552" fmla="*/ 2438368 w 7714416"/>
              <a:gd name="connsiteY20552" fmla="*/ 785967 h 5282095"/>
              <a:gd name="connsiteX20553" fmla="*/ 1409637 w 7714416"/>
              <a:gd name="connsiteY20553" fmla="*/ 784598 h 5282095"/>
              <a:gd name="connsiteX20554" fmla="*/ 1418553 w 7714416"/>
              <a:gd name="connsiteY20554" fmla="*/ 792277 h 5282095"/>
              <a:gd name="connsiteX20555" fmla="*/ 1416005 w 7714416"/>
              <a:gd name="connsiteY20555" fmla="*/ 791824 h 5282095"/>
              <a:gd name="connsiteX20556" fmla="*/ 1413917 w 7714416"/>
              <a:gd name="connsiteY20556" fmla="*/ 789655 h 5282095"/>
              <a:gd name="connsiteX20557" fmla="*/ 1409637 w 7714416"/>
              <a:gd name="connsiteY20557" fmla="*/ 784598 h 5282095"/>
              <a:gd name="connsiteX20558" fmla="*/ 995089 w 7714416"/>
              <a:gd name="connsiteY20558" fmla="*/ 784108 h 5282095"/>
              <a:gd name="connsiteX20559" fmla="*/ 1010198 w 7714416"/>
              <a:gd name="connsiteY20559" fmla="*/ 794411 h 5282095"/>
              <a:gd name="connsiteX20560" fmla="*/ 1012552 w 7714416"/>
              <a:gd name="connsiteY20560" fmla="*/ 797800 h 5282095"/>
              <a:gd name="connsiteX20561" fmla="*/ 1013019 w 7714416"/>
              <a:gd name="connsiteY20561" fmla="*/ 798271 h 5282095"/>
              <a:gd name="connsiteX20562" fmla="*/ 1014280 w 7714416"/>
              <a:gd name="connsiteY20562" fmla="*/ 796884 h 5282095"/>
              <a:gd name="connsiteX20563" fmla="*/ 1016856 w 7714416"/>
              <a:gd name="connsiteY20563" fmla="*/ 797229 h 5282095"/>
              <a:gd name="connsiteX20564" fmla="*/ 1021330 w 7714416"/>
              <a:gd name="connsiteY20564" fmla="*/ 799348 h 5282095"/>
              <a:gd name="connsiteX20565" fmla="*/ 1024985 w 7714416"/>
              <a:gd name="connsiteY20565" fmla="*/ 800098 h 5282095"/>
              <a:gd name="connsiteX20566" fmla="*/ 1026394 w 7714416"/>
              <a:gd name="connsiteY20566" fmla="*/ 803695 h 5282095"/>
              <a:gd name="connsiteX20567" fmla="*/ 1022768 w 7714416"/>
              <a:gd name="connsiteY20567" fmla="*/ 802838 h 5282095"/>
              <a:gd name="connsiteX20568" fmla="*/ 1017434 w 7714416"/>
              <a:gd name="connsiteY20568" fmla="*/ 800605 h 5282095"/>
              <a:gd name="connsiteX20569" fmla="*/ 1014973 w 7714416"/>
              <a:gd name="connsiteY20569" fmla="*/ 799830 h 5282095"/>
              <a:gd name="connsiteX20570" fmla="*/ 1017834 w 7714416"/>
              <a:gd name="connsiteY20570" fmla="*/ 802436 h 5282095"/>
              <a:gd name="connsiteX20571" fmla="*/ 1014596 w 7714416"/>
              <a:gd name="connsiteY20571" fmla="*/ 804559 h 5282095"/>
              <a:gd name="connsiteX20572" fmla="*/ 1013048 w 7714416"/>
              <a:gd name="connsiteY20572" fmla="*/ 807019 h 5282095"/>
              <a:gd name="connsiteX20573" fmla="*/ 1015879 w 7714416"/>
              <a:gd name="connsiteY20573" fmla="*/ 809733 h 5282095"/>
              <a:gd name="connsiteX20574" fmla="*/ 1010657 w 7714416"/>
              <a:gd name="connsiteY20574" fmla="*/ 810403 h 5282095"/>
              <a:gd name="connsiteX20575" fmla="*/ 1010162 w 7714416"/>
              <a:gd name="connsiteY20575" fmla="*/ 810040 h 5282095"/>
              <a:gd name="connsiteX20576" fmla="*/ 1005033 w 7714416"/>
              <a:gd name="connsiteY20576" fmla="*/ 812577 h 5282095"/>
              <a:gd name="connsiteX20577" fmla="*/ 988273 w 7714416"/>
              <a:gd name="connsiteY20577" fmla="*/ 813145 h 5282095"/>
              <a:gd name="connsiteX20578" fmla="*/ 977001 w 7714416"/>
              <a:gd name="connsiteY20578" fmla="*/ 805410 h 5282095"/>
              <a:gd name="connsiteX20579" fmla="*/ 974362 w 7714416"/>
              <a:gd name="connsiteY20579" fmla="*/ 790903 h 5282095"/>
              <a:gd name="connsiteX20580" fmla="*/ 980850 w 7714416"/>
              <a:gd name="connsiteY20580" fmla="*/ 785512 h 5282095"/>
              <a:gd name="connsiteX20581" fmla="*/ 995089 w 7714416"/>
              <a:gd name="connsiteY20581" fmla="*/ 784108 h 5282095"/>
              <a:gd name="connsiteX20582" fmla="*/ 1202288 w 7714416"/>
              <a:gd name="connsiteY20582" fmla="*/ 783665 h 5282095"/>
              <a:gd name="connsiteX20583" fmla="*/ 1208221 w 7714416"/>
              <a:gd name="connsiteY20583" fmla="*/ 786980 h 5282095"/>
              <a:gd name="connsiteX20584" fmla="*/ 1202159 w 7714416"/>
              <a:gd name="connsiteY20584" fmla="*/ 788575 h 5282095"/>
              <a:gd name="connsiteX20585" fmla="*/ 1200596 w 7714416"/>
              <a:gd name="connsiteY20585" fmla="*/ 786661 h 5282095"/>
              <a:gd name="connsiteX20586" fmla="*/ 1202288 w 7714416"/>
              <a:gd name="connsiteY20586" fmla="*/ 783665 h 5282095"/>
              <a:gd name="connsiteX20587" fmla="*/ 4333974 w 7714416"/>
              <a:gd name="connsiteY20587" fmla="*/ 781790 h 5282095"/>
              <a:gd name="connsiteX20588" fmla="*/ 4345849 w 7714416"/>
              <a:gd name="connsiteY20588" fmla="*/ 787273 h 5282095"/>
              <a:gd name="connsiteX20589" fmla="*/ 4334756 w 7714416"/>
              <a:gd name="connsiteY20589" fmla="*/ 789935 h 5282095"/>
              <a:gd name="connsiteX20590" fmla="*/ 4333974 w 7714416"/>
              <a:gd name="connsiteY20590" fmla="*/ 781790 h 5282095"/>
              <a:gd name="connsiteX20591" fmla="*/ 4635039 w 7714416"/>
              <a:gd name="connsiteY20591" fmla="*/ 781615 h 5282095"/>
              <a:gd name="connsiteX20592" fmla="*/ 4644238 w 7714416"/>
              <a:gd name="connsiteY20592" fmla="*/ 791554 h 5282095"/>
              <a:gd name="connsiteX20593" fmla="*/ 4635039 w 7714416"/>
              <a:gd name="connsiteY20593" fmla="*/ 781615 h 5282095"/>
              <a:gd name="connsiteX20594" fmla="*/ 2804282 w 7714416"/>
              <a:gd name="connsiteY20594" fmla="*/ 780627 h 5282095"/>
              <a:gd name="connsiteX20595" fmla="*/ 2793573 w 7714416"/>
              <a:gd name="connsiteY20595" fmla="*/ 789602 h 5282095"/>
              <a:gd name="connsiteX20596" fmla="*/ 2804282 w 7714416"/>
              <a:gd name="connsiteY20596" fmla="*/ 780627 h 5282095"/>
              <a:gd name="connsiteX20597" fmla="*/ 4697966 w 7714416"/>
              <a:gd name="connsiteY20597" fmla="*/ 780305 h 5282095"/>
              <a:gd name="connsiteX20598" fmla="*/ 4692399 w 7714416"/>
              <a:gd name="connsiteY20598" fmla="*/ 791118 h 5282095"/>
              <a:gd name="connsiteX20599" fmla="*/ 4697966 w 7714416"/>
              <a:gd name="connsiteY20599" fmla="*/ 780305 h 5282095"/>
              <a:gd name="connsiteX20600" fmla="*/ 4410387 w 7714416"/>
              <a:gd name="connsiteY20600" fmla="*/ 779955 h 5282095"/>
              <a:gd name="connsiteX20601" fmla="*/ 4405654 w 7714416"/>
              <a:gd name="connsiteY20601" fmla="*/ 787656 h 5282095"/>
              <a:gd name="connsiteX20602" fmla="*/ 4404673 w 7714416"/>
              <a:gd name="connsiteY20602" fmla="*/ 785784 h 5282095"/>
              <a:gd name="connsiteX20603" fmla="*/ 4406079 w 7714416"/>
              <a:gd name="connsiteY20603" fmla="*/ 783861 h 5282095"/>
              <a:gd name="connsiteX20604" fmla="*/ 4410387 w 7714416"/>
              <a:gd name="connsiteY20604" fmla="*/ 779955 h 5282095"/>
              <a:gd name="connsiteX20605" fmla="*/ 4983198 w 7714416"/>
              <a:gd name="connsiteY20605" fmla="*/ 779451 h 5282095"/>
              <a:gd name="connsiteX20606" fmla="*/ 4990231 w 7714416"/>
              <a:gd name="connsiteY20606" fmla="*/ 780876 h 5282095"/>
              <a:gd name="connsiteX20607" fmla="*/ 4972880 w 7714416"/>
              <a:gd name="connsiteY20607" fmla="*/ 796928 h 5282095"/>
              <a:gd name="connsiteX20608" fmla="*/ 4970239 w 7714416"/>
              <a:gd name="connsiteY20608" fmla="*/ 794610 h 5282095"/>
              <a:gd name="connsiteX20609" fmla="*/ 4970272 w 7714416"/>
              <a:gd name="connsiteY20609" fmla="*/ 791169 h 5282095"/>
              <a:gd name="connsiteX20610" fmla="*/ 4978232 w 7714416"/>
              <a:gd name="connsiteY20610" fmla="*/ 782491 h 5282095"/>
              <a:gd name="connsiteX20611" fmla="*/ 4980744 w 7714416"/>
              <a:gd name="connsiteY20611" fmla="*/ 780864 h 5282095"/>
              <a:gd name="connsiteX20612" fmla="*/ 4983198 w 7714416"/>
              <a:gd name="connsiteY20612" fmla="*/ 779451 h 5282095"/>
              <a:gd name="connsiteX20613" fmla="*/ 2041124 w 7714416"/>
              <a:gd name="connsiteY20613" fmla="*/ 777622 h 5282095"/>
              <a:gd name="connsiteX20614" fmla="*/ 2044606 w 7714416"/>
              <a:gd name="connsiteY20614" fmla="*/ 779015 h 5282095"/>
              <a:gd name="connsiteX20615" fmla="*/ 2046058 w 7714416"/>
              <a:gd name="connsiteY20615" fmla="*/ 778024 h 5282095"/>
              <a:gd name="connsiteX20616" fmla="*/ 2048099 w 7714416"/>
              <a:gd name="connsiteY20616" fmla="*/ 779261 h 5282095"/>
              <a:gd name="connsiteX20617" fmla="*/ 2048613 w 7714416"/>
              <a:gd name="connsiteY20617" fmla="*/ 780664 h 5282095"/>
              <a:gd name="connsiteX20618" fmla="*/ 2053694 w 7714416"/>
              <a:gd name="connsiteY20618" fmla="*/ 786049 h 5282095"/>
              <a:gd name="connsiteX20619" fmla="*/ 2052856 w 7714416"/>
              <a:gd name="connsiteY20619" fmla="*/ 792495 h 5282095"/>
              <a:gd name="connsiteX20620" fmla="*/ 2040584 w 7714416"/>
              <a:gd name="connsiteY20620" fmla="*/ 790703 h 5282095"/>
              <a:gd name="connsiteX20621" fmla="*/ 2029844 w 7714416"/>
              <a:gd name="connsiteY20621" fmla="*/ 785409 h 5282095"/>
              <a:gd name="connsiteX20622" fmla="*/ 2033938 w 7714416"/>
              <a:gd name="connsiteY20622" fmla="*/ 777881 h 5282095"/>
              <a:gd name="connsiteX20623" fmla="*/ 2041124 w 7714416"/>
              <a:gd name="connsiteY20623" fmla="*/ 777622 h 5282095"/>
              <a:gd name="connsiteX20624" fmla="*/ 1042487 w 7714416"/>
              <a:gd name="connsiteY20624" fmla="*/ 776841 h 5282095"/>
              <a:gd name="connsiteX20625" fmla="*/ 1053299 w 7714416"/>
              <a:gd name="connsiteY20625" fmla="*/ 786294 h 5282095"/>
              <a:gd name="connsiteX20626" fmla="*/ 1038598 w 7714416"/>
              <a:gd name="connsiteY20626" fmla="*/ 780285 h 5282095"/>
              <a:gd name="connsiteX20627" fmla="*/ 1037847 w 7714416"/>
              <a:gd name="connsiteY20627" fmla="*/ 777553 h 5282095"/>
              <a:gd name="connsiteX20628" fmla="*/ 1042487 w 7714416"/>
              <a:gd name="connsiteY20628" fmla="*/ 776841 h 5282095"/>
              <a:gd name="connsiteX20629" fmla="*/ 2374509 w 7714416"/>
              <a:gd name="connsiteY20629" fmla="*/ 776359 h 5282095"/>
              <a:gd name="connsiteX20630" fmla="*/ 2401299 w 7714416"/>
              <a:gd name="connsiteY20630" fmla="*/ 783739 h 5282095"/>
              <a:gd name="connsiteX20631" fmla="*/ 2407006 w 7714416"/>
              <a:gd name="connsiteY20631" fmla="*/ 811143 h 5282095"/>
              <a:gd name="connsiteX20632" fmla="*/ 2404954 w 7714416"/>
              <a:gd name="connsiteY20632" fmla="*/ 811054 h 5282095"/>
              <a:gd name="connsiteX20633" fmla="*/ 2412626 w 7714416"/>
              <a:gd name="connsiteY20633" fmla="*/ 812304 h 5282095"/>
              <a:gd name="connsiteX20634" fmla="*/ 2413956 w 7714416"/>
              <a:gd name="connsiteY20634" fmla="*/ 818411 h 5282095"/>
              <a:gd name="connsiteX20635" fmla="*/ 2412026 w 7714416"/>
              <a:gd name="connsiteY20635" fmla="*/ 820078 h 5282095"/>
              <a:gd name="connsiteX20636" fmla="*/ 2416683 w 7714416"/>
              <a:gd name="connsiteY20636" fmla="*/ 820407 h 5282095"/>
              <a:gd name="connsiteX20637" fmla="*/ 2417603 w 7714416"/>
              <a:gd name="connsiteY20637" fmla="*/ 825829 h 5282095"/>
              <a:gd name="connsiteX20638" fmla="*/ 2418404 w 7714416"/>
              <a:gd name="connsiteY20638" fmla="*/ 826158 h 5282095"/>
              <a:gd name="connsiteX20639" fmla="*/ 2425936 w 7714416"/>
              <a:gd name="connsiteY20639" fmla="*/ 833466 h 5282095"/>
              <a:gd name="connsiteX20640" fmla="*/ 2418494 w 7714416"/>
              <a:gd name="connsiteY20640" fmla="*/ 840212 h 5282095"/>
              <a:gd name="connsiteX20641" fmla="*/ 2420661 w 7714416"/>
              <a:gd name="connsiteY20641" fmla="*/ 839872 h 5282095"/>
              <a:gd name="connsiteX20642" fmla="*/ 2441561 w 7714416"/>
              <a:gd name="connsiteY20642" fmla="*/ 841563 h 5282095"/>
              <a:gd name="connsiteX20643" fmla="*/ 2442064 w 7714416"/>
              <a:gd name="connsiteY20643" fmla="*/ 844114 h 5282095"/>
              <a:gd name="connsiteX20644" fmla="*/ 2448105 w 7714416"/>
              <a:gd name="connsiteY20644" fmla="*/ 844812 h 5282095"/>
              <a:gd name="connsiteX20645" fmla="*/ 2450563 w 7714416"/>
              <a:gd name="connsiteY20645" fmla="*/ 848920 h 5282095"/>
              <a:gd name="connsiteX20646" fmla="*/ 2452672 w 7714416"/>
              <a:gd name="connsiteY20646" fmla="*/ 848796 h 5282095"/>
              <a:gd name="connsiteX20647" fmla="*/ 2460269 w 7714416"/>
              <a:gd name="connsiteY20647" fmla="*/ 849220 h 5282095"/>
              <a:gd name="connsiteX20648" fmla="*/ 2459889 w 7714416"/>
              <a:gd name="connsiteY20648" fmla="*/ 848429 h 5282095"/>
              <a:gd name="connsiteX20649" fmla="*/ 2462382 w 7714416"/>
              <a:gd name="connsiteY20649" fmla="*/ 845761 h 5282095"/>
              <a:gd name="connsiteX20650" fmla="*/ 2475876 w 7714416"/>
              <a:gd name="connsiteY20650" fmla="*/ 847422 h 5282095"/>
              <a:gd name="connsiteX20651" fmla="*/ 2484695 w 7714416"/>
              <a:gd name="connsiteY20651" fmla="*/ 847716 h 5282095"/>
              <a:gd name="connsiteX20652" fmla="*/ 2473918 w 7714416"/>
              <a:gd name="connsiteY20652" fmla="*/ 849198 h 5282095"/>
              <a:gd name="connsiteX20653" fmla="*/ 2471366 w 7714416"/>
              <a:gd name="connsiteY20653" fmla="*/ 852080 h 5282095"/>
              <a:gd name="connsiteX20654" fmla="*/ 2468064 w 7714416"/>
              <a:gd name="connsiteY20654" fmla="*/ 852229 h 5282095"/>
              <a:gd name="connsiteX20655" fmla="*/ 2468242 w 7714416"/>
              <a:gd name="connsiteY20655" fmla="*/ 853772 h 5282095"/>
              <a:gd name="connsiteX20656" fmla="*/ 2469928 w 7714416"/>
              <a:gd name="connsiteY20656" fmla="*/ 857444 h 5282095"/>
              <a:gd name="connsiteX20657" fmla="*/ 2457283 w 7714416"/>
              <a:gd name="connsiteY20657" fmla="*/ 857045 h 5282095"/>
              <a:gd name="connsiteX20658" fmla="*/ 2451853 w 7714416"/>
              <a:gd name="connsiteY20658" fmla="*/ 856281 h 5282095"/>
              <a:gd name="connsiteX20659" fmla="*/ 2451767 w 7714416"/>
              <a:gd name="connsiteY20659" fmla="*/ 856602 h 5282095"/>
              <a:gd name="connsiteX20660" fmla="*/ 2445176 w 7714416"/>
              <a:gd name="connsiteY20660" fmla="*/ 861277 h 5282095"/>
              <a:gd name="connsiteX20661" fmla="*/ 2442092 w 7714416"/>
              <a:gd name="connsiteY20661" fmla="*/ 861716 h 5282095"/>
              <a:gd name="connsiteX20662" fmla="*/ 2435236 w 7714416"/>
              <a:gd name="connsiteY20662" fmla="*/ 874024 h 5282095"/>
              <a:gd name="connsiteX20663" fmla="*/ 2421567 w 7714416"/>
              <a:gd name="connsiteY20663" fmla="*/ 867486 h 5282095"/>
              <a:gd name="connsiteX20664" fmla="*/ 2423942 w 7714416"/>
              <a:gd name="connsiteY20664" fmla="*/ 859727 h 5282095"/>
              <a:gd name="connsiteX20665" fmla="*/ 2416237 w 7714416"/>
              <a:gd name="connsiteY20665" fmla="*/ 853063 h 5282095"/>
              <a:gd name="connsiteX20666" fmla="*/ 2418339 w 7714416"/>
              <a:gd name="connsiteY20666" fmla="*/ 850751 h 5282095"/>
              <a:gd name="connsiteX20667" fmla="*/ 2412978 w 7714416"/>
              <a:gd name="connsiteY20667" fmla="*/ 848624 h 5282095"/>
              <a:gd name="connsiteX20668" fmla="*/ 2413265 w 7714416"/>
              <a:gd name="connsiteY20668" fmla="*/ 847552 h 5282095"/>
              <a:gd name="connsiteX20669" fmla="*/ 2419935 w 7714416"/>
              <a:gd name="connsiteY20669" fmla="*/ 849223 h 5282095"/>
              <a:gd name="connsiteX20670" fmla="*/ 2420862 w 7714416"/>
              <a:gd name="connsiteY20670" fmla="*/ 847977 h 5282095"/>
              <a:gd name="connsiteX20671" fmla="*/ 2427765 w 7714416"/>
              <a:gd name="connsiteY20671" fmla="*/ 845457 h 5282095"/>
              <a:gd name="connsiteX20672" fmla="*/ 2424462 w 7714416"/>
              <a:gd name="connsiteY20672" fmla="*/ 845606 h 5282095"/>
              <a:gd name="connsiteX20673" fmla="*/ 2410904 w 7714416"/>
              <a:gd name="connsiteY20673" fmla="*/ 841974 h 5282095"/>
              <a:gd name="connsiteX20674" fmla="*/ 2409959 w 7714416"/>
              <a:gd name="connsiteY20674" fmla="*/ 842180 h 5282095"/>
              <a:gd name="connsiteX20675" fmla="*/ 2399995 w 7714416"/>
              <a:gd name="connsiteY20675" fmla="*/ 833990 h 5282095"/>
              <a:gd name="connsiteX20676" fmla="*/ 2404662 w 7714416"/>
              <a:gd name="connsiteY20676" fmla="*/ 824315 h 5282095"/>
              <a:gd name="connsiteX20677" fmla="*/ 2401073 w 7714416"/>
              <a:gd name="connsiteY20677" fmla="*/ 825539 h 5282095"/>
              <a:gd name="connsiteX20678" fmla="*/ 2392646 w 7714416"/>
              <a:gd name="connsiteY20678" fmla="*/ 824891 h 5282095"/>
              <a:gd name="connsiteX20679" fmla="*/ 2393315 w 7714416"/>
              <a:gd name="connsiteY20679" fmla="*/ 815756 h 5282095"/>
              <a:gd name="connsiteX20680" fmla="*/ 2393982 w 7714416"/>
              <a:gd name="connsiteY20680" fmla="*/ 815474 h 5282095"/>
              <a:gd name="connsiteX20681" fmla="*/ 2385523 w 7714416"/>
              <a:gd name="connsiteY20681" fmla="*/ 809412 h 5282095"/>
              <a:gd name="connsiteX20682" fmla="*/ 2384646 w 7714416"/>
              <a:gd name="connsiteY20682" fmla="*/ 808258 h 5282095"/>
              <a:gd name="connsiteX20683" fmla="*/ 2369496 w 7714416"/>
              <a:gd name="connsiteY20683" fmla="*/ 802817 h 5282095"/>
              <a:gd name="connsiteX20684" fmla="*/ 2365734 w 7714416"/>
              <a:gd name="connsiteY20684" fmla="*/ 804685 h 5282095"/>
              <a:gd name="connsiteX20685" fmla="*/ 2357027 w 7714416"/>
              <a:gd name="connsiteY20685" fmla="*/ 807297 h 5282095"/>
              <a:gd name="connsiteX20686" fmla="*/ 2350436 w 7714416"/>
              <a:gd name="connsiteY20686" fmla="*/ 803115 h 5282095"/>
              <a:gd name="connsiteX20687" fmla="*/ 2351672 w 7714416"/>
              <a:gd name="connsiteY20687" fmla="*/ 798502 h 5282095"/>
              <a:gd name="connsiteX20688" fmla="*/ 2358565 w 7714416"/>
              <a:gd name="connsiteY20688" fmla="*/ 797128 h 5282095"/>
              <a:gd name="connsiteX20689" fmla="*/ 2362611 w 7714416"/>
              <a:gd name="connsiteY20689" fmla="*/ 797523 h 5282095"/>
              <a:gd name="connsiteX20690" fmla="*/ 2361430 w 7714416"/>
              <a:gd name="connsiteY20690" fmla="*/ 796401 h 5282095"/>
              <a:gd name="connsiteX20691" fmla="*/ 2358307 w 7714416"/>
              <a:gd name="connsiteY20691" fmla="*/ 789240 h 5282095"/>
              <a:gd name="connsiteX20692" fmla="*/ 2374509 w 7714416"/>
              <a:gd name="connsiteY20692" fmla="*/ 776359 h 5282095"/>
              <a:gd name="connsiteX20693" fmla="*/ 2976256 w 7714416"/>
              <a:gd name="connsiteY20693" fmla="*/ 776336 h 5282095"/>
              <a:gd name="connsiteX20694" fmla="*/ 2976731 w 7714416"/>
              <a:gd name="connsiteY20694" fmla="*/ 778994 h 5282095"/>
              <a:gd name="connsiteX20695" fmla="*/ 2985692 w 7714416"/>
              <a:gd name="connsiteY20695" fmla="*/ 778750 h 5282095"/>
              <a:gd name="connsiteX20696" fmla="*/ 2468959 w 7714416"/>
              <a:gd name="connsiteY20696" fmla="*/ 774728 h 5282095"/>
              <a:gd name="connsiteX20697" fmla="*/ 2477307 w 7714416"/>
              <a:gd name="connsiteY20697" fmla="*/ 777885 h 5282095"/>
              <a:gd name="connsiteX20698" fmla="*/ 2475529 w 7714416"/>
              <a:gd name="connsiteY20698" fmla="*/ 781204 h 5282095"/>
              <a:gd name="connsiteX20699" fmla="*/ 2468841 w 7714416"/>
              <a:gd name="connsiteY20699" fmla="*/ 778492 h 5282095"/>
              <a:gd name="connsiteX20700" fmla="*/ 2468959 w 7714416"/>
              <a:gd name="connsiteY20700" fmla="*/ 774728 h 5282095"/>
              <a:gd name="connsiteX20701" fmla="*/ 1570126 w 7714416"/>
              <a:gd name="connsiteY20701" fmla="*/ 774470 h 5282095"/>
              <a:gd name="connsiteX20702" fmla="*/ 1578330 w 7714416"/>
              <a:gd name="connsiteY20702" fmla="*/ 778164 h 5282095"/>
              <a:gd name="connsiteX20703" fmla="*/ 1576410 w 7714416"/>
              <a:gd name="connsiteY20703" fmla="*/ 778684 h 5282095"/>
              <a:gd name="connsiteX20704" fmla="*/ 1576878 w 7714416"/>
              <a:gd name="connsiteY20704" fmla="*/ 779155 h 5282095"/>
              <a:gd name="connsiteX20705" fmla="*/ 1573080 w 7714416"/>
              <a:gd name="connsiteY20705" fmla="*/ 778941 h 5282095"/>
              <a:gd name="connsiteX20706" fmla="*/ 1568168 w 7714416"/>
              <a:gd name="connsiteY20706" fmla="*/ 776245 h 5282095"/>
              <a:gd name="connsiteX20707" fmla="*/ 1570126 w 7714416"/>
              <a:gd name="connsiteY20707" fmla="*/ 774470 h 5282095"/>
              <a:gd name="connsiteX20708" fmla="*/ 2067824 w 7714416"/>
              <a:gd name="connsiteY20708" fmla="*/ 773161 h 5282095"/>
              <a:gd name="connsiteX20709" fmla="*/ 2078144 w 7714416"/>
              <a:gd name="connsiteY20709" fmla="*/ 787771 h 5282095"/>
              <a:gd name="connsiteX20710" fmla="*/ 2070289 w 7714416"/>
              <a:gd name="connsiteY20710" fmla="*/ 788312 h 5282095"/>
              <a:gd name="connsiteX20711" fmla="*/ 2061272 w 7714416"/>
              <a:gd name="connsiteY20711" fmla="*/ 785435 h 5282095"/>
              <a:gd name="connsiteX20712" fmla="*/ 2067824 w 7714416"/>
              <a:gd name="connsiteY20712" fmla="*/ 773161 h 5282095"/>
              <a:gd name="connsiteX20713" fmla="*/ 1841109 w 7714416"/>
              <a:gd name="connsiteY20713" fmla="*/ 772558 h 5282095"/>
              <a:gd name="connsiteX20714" fmla="*/ 1844088 w 7714416"/>
              <a:gd name="connsiteY20714" fmla="*/ 780257 h 5282095"/>
              <a:gd name="connsiteX20715" fmla="*/ 1839136 w 7714416"/>
              <a:gd name="connsiteY20715" fmla="*/ 778815 h 5282095"/>
              <a:gd name="connsiteX20716" fmla="*/ 1841109 w 7714416"/>
              <a:gd name="connsiteY20716" fmla="*/ 772558 h 5282095"/>
              <a:gd name="connsiteX20717" fmla="*/ 1194350 w 7714416"/>
              <a:gd name="connsiteY20717" fmla="*/ 772338 h 5282095"/>
              <a:gd name="connsiteX20718" fmla="*/ 1196334 w 7714416"/>
              <a:gd name="connsiteY20718" fmla="*/ 773790 h 5282095"/>
              <a:gd name="connsiteX20719" fmla="*/ 1197365 w 7714416"/>
              <a:gd name="connsiteY20719" fmla="*/ 773260 h 5282095"/>
              <a:gd name="connsiteX20720" fmla="*/ 1202281 w 7714416"/>
              <a:gd name="connsiteY20720" fmla="*/ 772623 h 5282095"/>
              <a:gd name="connsiteX20721" fmla="*/ 1204196 w 7714416"/>
              <a:gd name="connsiteY20721" fmla="*/ 775436 h 5282095"/>
              <a:gd name="connsiteX20722" fmla="*/ 1205541 w 7714416"/>
              <a:gd name="connsiteY20722" fmla="*/ 777061 h 5282095"/>
              <a:gd name="connsiteX20723" fmla="*/ 1208796 w 7714416"/>
              <a:gd name="connsiteY20723" fmla="*/ 775979 h 5282095"/>
              <a:gd name="connsiteX20724" fmla="*/ 1214029 w 7714416"/>
              <a:gd name="connsiteY20724" fmla="*/ 774160 h 5282095"/>
              <a:gd name="connsiteX20725" fmla="*/ 1218623 w 7714416"/>
              <a:gd name="connsiteY20725" fmla="*/ 790226 h 5282095"/>
              <a:gd name="connsiteX20726" fmla="*/ 1211779 w 7714416"/>
              <a:gd name="connsiteY20726" fmla="*/ 789198 h 5282095"/>
              <a:gd name="connsiteX20727" fmla="*/ 1206134 w 7714416"/>
              <a:gd name="connsiteY20727" fmla="*/ 784810 h 5282095"/>
              <a:gd name="connsiteX20728" fmla="*/ 1204909 w 7714416"/>
              <a:gd name="connsiteY20728" fmla="*/ 779422 h 5282095"/>
              <a:gd name="connsiteX20729" fmla="*/ 1203573 w 7714416"/>
              <a:gd name="connsiteY20729" fmla="*/ 779984 h 5282095"/>
              <a:gd name="connsiteX20730" fmla="*/ 1200661 w 7714416"/>
              <a:gd name="connsiteY20730" fmla="*/ 779778 h 5282095"/>
              <a:gd name="connsiteX20731" fmla="*/ 1200495 w 7714416"/>
              <a:gd name="connsiteY20731" fmla="*/ 782609 h 5282095"/>
              <a:gd name="connsiteX20732" fmla="*/ 1188083 w 7714416"/>
              <a:gd name="connsiteY20732" fmla="*/ 786874 h 5282095"/>
              <a:gd name="connsiteX20733" fmla="*/ 1185995 w 7714416"/>
              <a:gd name="connsiteY20733" fmla="*/ 784705 h 5282095"/>
              <a:gd name="connsiteX20734" fmla="*/ 1184109 w 7714416"/>
              <a:gd name="connsiteY20734" fmla="*/ 781784 h 5282095"/>
              <a:gd name="connsiteX20735" fmla="*/ 1184974 w 7714416"/>
              <a:gd name="connsiteY20735" fmla="*/ 775231 h 5282095"/>
              <a:gd name="connsiteX20736" fmla="*/ 1191048 w 7714416"/>
              <a:gd name="connsiteY20736" fmla="*/ 772488 h 5282095"/>
              <a:gd name="connsiteX20737" fmla="*/ 1194350 w 7714416"/>
              <a:gd name="connsiteY20737" fmla="*/ 772338 h 5282095"/>
              <a:gd name="connsiteX20738" fmla="*/ 1664752 w 7714416"/>
              <a:gd name="connsiteY20738" fmla="*/ 771075 h 5282095"/>
              <a:gd name="connsiteX20739" fmla="*/ 1681372 w 7714416"/>
              <a:gd name="connsiteY20739" fmla="*/ 785418 h 5282095"/>
              <a:gd name="connsiteX20740" fmla="*/ 1689023 w 7714416"/>
              <a:gd name="connsiteY20740" fmla="*/ 788963 h 5282095"/>
              <a:gd name="connsiteX20741" fmla="*/ 1689892 w 7714416"/>
              <a:gd name="connsiteY20741" fmla="*/ 787931 h 5282095"/>
              <a:gd name="connsiteX20742" fmla="*/ 1689644 w 7714416"/>
              <a:gd name="connsiteY20742" fmla="*/ 787749 h 5282095"/>
              <a:gd name="connsiteX20743" fmla="*/ 1699146 w 7714416"/>
              <a:gd name="connsiteY20743" fmla="*/ 783280 h 5282095"/>
              <a:gd name="connsiteX20744" fmla="*/ 1702167 w 7714416"/>
              <a:gd name="connsiteY20744" fmla="*/ 795245 h 5282095"/>
              <a:gd name="connsiteX20745" fmla="*/ 1702023 w 7714416"/>
              <a:gd name="connsiteY20745" fmla="*/ 795782 h 5282095"/>
              <a:gd name="connsiteX20746" fmla="*/ 1706257 w 7714416"/>
              <a:gd name="connsiteY20746" fmla="*/ 799906 h 5282095"/>
              <a:gd name="connsiteX20747" fmla="*/ 1709229 w 7714416"/>
              <a:gd name="connsiteY20747" fmla="*/ 805417 h 5282095"/>
              <a:gd name="connsiteX20748" fmla="*/ 1709249 w 7714416"/>
              <a:gd name="connsiteY20748" fmla="*/ 811978 h 5282095"/>
              <a:gd name="connsiteX20749" fmla="*/ 1712894 w 7714416"/>
              <a:gd name="connsiteY20749" fmla="*/ 813874 h 5282095"/>
              <a:gd name="connsiteX20750" fmla="*/ 1700310 w 7714416"/>
              <a:gd name="connsiteY20750" fmla="*/ 827638 h 5282095"/>
              <a:gd name="connsiteX20751" fmla="*/ 1699289 w 7714416"/>
              <a:gd name="connsiteY20751" fmla="*/ 827020 h 5282095"/>
              <a:gd name="connsiteX20752" fmla="*/ 1691735 w 7714416"/>
              <a:gd name="connsiteY20752" fmla="*/ 830860 h 5282095"/>
              <a:gd name="connsiteX20753" fmla="*/ 1663511 w 7714416"/>
              <a:gd name="connsiteY20753" fmla="*/ 832154 h 5282095"/>
              <a:gd name="connsiteX20754" fmla="*/ 1637179 w 7714416"/>
              <a:gd name="connsiteY20754" fmla="*/ 806467 h 5282095"/>
              <a:gd name="connsiteX20755" fmla="*/ 1638892 w 7714416"/>
              <a:gd name="connsiteY20755" fmla="*/ 801176 h 5282095"/>
              <a:gd name="connsiteX20756" fmla="*/ 1638617 w 7714416"/>
              <a:gd name="connsiteY20756" fmla="*/ 801102 h 5282095"/>
              <a:gd name="connsiteX20757" fmla="*/ 1639772 w 7714416"/>
              <a:gd name="connsiteY20757" fmla="*/ 798997 h 5282095"/>
              <a:gd name="connsiteX20758" fmla="*/ 1640232 w 7714416"/>
              <a:gd name="connsiteY20758" fmla="*/ 797280 h 5282095"/>
              <a:gd name="connsiteX20759" fmla="*/ 1664752 w 7714416"/>
              <a:gd name="connsiteY20759" fmla="*/ 771075 h 5282095"/>
              <a:gd name="connsiteX20760" fmla="*/ 5174315 w 7714416"/>
              <a:gd name="connsiteY20760" fmla="*/ 769020 h 5282095"/>
              <a:gd name="connsiteX20761" fmla="*/ 5185296 w 7714416"/>
              <a:gd name="connsiteY20761" fmla="*/ 772309 h 5282095"/>
              <a:gd name="connsiteX20762" fmla="*/ 5190895 w 7714416"/>
              <a:gd name="connsiteY20762" fmla="*/ 793474 h 5282095"/>
              <a:gd name="connsiteX20763" fmla="*/ 5187933 w 7714416"/>
              <a:gd name="connsiteY20763" fmla="*/ 795670 h 5282095"/>
              <a:gd name="connsiteX20764" fmla="*/ 5184923 w 7714416"/>
              <a:gd name="connsiteY20764" fmla="*/ 800269 h 5282095"/>
              <a:gd name="connsiteX20765" fmla="*/ 5170667 w 7714416"/>
              <a:gd name="connsiteY20765" fmla="*/ 797023 h 5282095"/>
              <a:gd name="connsiteX20766" fmla="*/ 5164036 w 7714416"/>
              <a:gd name="connsiteY20766" fmla="*/ 794097 h 5282095"/>
              <a:gd name="connsiteX20767" fmla="*/ 5153072 w 7714416"/>
              <a:gd name="connsiteY20767" fmla="*/ 782994 h 5282095"/>
              <a:gd name="connsiteX20768" fmla="*/ 5156709 w 7714416"/>
              <a:gd name="connsiteY20768" fmla="*/ 773848 h 5282095"/>
              <a:gd name="connsiteX20769" fmla="*/ 5174315 w 7714416"/>
              <a:gd name="connsiteY20769" fmla="*/ 769020 h 5282095"/>
              <a:gd name="connsiteX20770" fmla="*/ 1831770 w 7714416"/>
              <a:gd name="connsiteY20770" fmla="*/ 768676 h 5282095"/>
              <a:gd name="connsiteX20771" fmla="*/ 1815653 w 7714416"/>
              <a:gd name="connsiteY20771" fmla="*/ 774593 h 5282095"/>
              <a:gd name="connsiteX20772" fmla="*/ 1831770 w 7714416"/>
              <a:gd name="connsiteY20772" fmla="*/ 768676 h 5282095"/>
              <a:gd name="connsiteX20773" fmla="*/ 1547553 w 7714416"/>
              <a:gd name="connsiteY20773" fmla="*/ 768234 h 5282095"/>
              <a:gd name="connsiteX20774" fmla="*/ 1559198 w 7714416"/>
              <a:gd name="connsiteY20774" fmla="*/ 774301 h 5282095"/>
              <a:gd name="connsiteX20775" fmla="*/ 1552669 w 7714416"/>
              <a:gd name="connsiteY20775" fmla="*/ 784282 h 5282095"/>
              <a:gd name="connsiteX20776" fmla="*/ 1537992 w 7714416"/>
              <a:gd name="connsiteY20776" fmla="*/ 772645 h 5282095"/>
              <a:gd name="connsiteX20777" fmla="*/ 1547553 w 7714416"/>
              <a:gd name="connsiteY20777" fmla="*/ 768234 h 5282095"/>
              <a:gd name="connsiteX20778" fmla="*/ 4749013 w 7714416"/>
              <a:gd name="connsiteY20778" fmla="*/ 767993 h 5282095"/>
              <a:gd name="connsiteX20779" fmla="*/ 4753045 w 7714416"/>
              <a:gd name="connsiteY20779" fmla="*/ 772868 h 5282095"/>
              <a:gd name="connsiteX20780" fmla="*/ 4745968 w 7714416"/>
              <a:gd name="connsiteY20780" fmla="*/ 776032 h 5282095"/>
              <a:gd name="connsiteX20781" fmla="*/ 4743259 w 7714416"/>
              <a:gd name="connsiteY20781" fmla="*/ 775076 h 5282095"/>
              <a:gd name="connsiteX20782" fmla="*/ 4739504 w 7714416"/>
              <a:gd name="connsiteY20782" fmla="*/ 770275 h 5282095"/>
              <a:gd name="connsiteX20783" fmla="*/ 4749013 w 7714416"/>
              <a:gd name="connsiteY20783" fmla="*/ 767993 h 5282095"/>
              <a:gd name="connsiteX20784" fmla="*/ 4532863 w 7714416"/>
              <a:gd name="connsiteY20784" fmla="*/ 767806 h 5282095"/>
              <a:gd name="connsiteX20785" fmla="*/ 4540402 w 7714416"/>
              <a:gd name="connsiteY20785" fmla="*/ 768447 h 5282095"/>
              <a:gd name="connsiteX20786" fmla="*/ 4551248 w 7714416"/>
              <a:gd name="connsiteY20786" fmla="*/ 774458 h 5282095"/>
              <a:gd name="connsiteX20787" fmla="*/ 4546665 w 7714416"/>
              <a:gd name="connsiteY20787" fmla="*/ 783810 h 5282095"/>
              <a:gd name="connsiteX20788" fmla="*/ 4548412 w 7714416"/>
              <a:gd name="connsiteY20788" fmla="*/ 783933 h 5282095"/>
              <a:gd name="connsiteX20789" fmla="*/ 4547104 w 7714416"/>
              <a:gd name="connsiteY20789" fmla="*/ 784387 h 5282095"/>
              <a:gd name="connsiteX20790" fmla="*/ 4545997 w 7714416"/>
              <a:gd name="connsiteY20790" fmla="*/ 784090 h 5282095"/>
              <a:gd name="connsiteX20791" fmla="*/ 4539924 w 7714416"/>
              <a:gd name="connsiteY20791" fmla="*/ 786834 h 5282095"/>
              <a:gd name="connsiteX20792" fmla="*/ 4532984 w 7714416"/>
              <a:gd name="connsiteY20792" fmla="*/ 787275 h 5282095"/>
              <a:gd name="connsiteX20793" fmla="*/ 4522600 w 7714416"/>
              <a:gd name="connsiteY20793" fmla="*/ 779547 h 5282095"/>
              <a:gd name="connsiteX20794" fmla="*/ 4532863 w 7714416"/>
              <a:gd name="connsiteY20794" fmla="*/ 767806 h 5282095"/>
              <a:gd name="connsiteX20795" fmla="*/ 5053963 w 7714416"/>
              <a:gd name="connsiteY20795" fmla="*/ 767707 h 5282095"/>
              <a:gd name="connsiteX20796" fmla="*/ 5068301 w 7714416"/>
              <a:gd name="connsiteY20796" fmla="*/ 773964 h 5282095"/>
              <a:gd name="connsiteX20797" fmla="*/ 5071398 w 7714416"/>
              <a:gd name="connsiteY20797" fmla="*/ 777900 h 5282095"/>
              <a:gd name="connsiteX20798" fmla="*/ 5038251 w 7714416"/>
              <a:gd name="connsiteY20798" fmla="*/ 786498 h 5282095"/>
              <a:gd name="connsiteX20799" fmla="*/ 5035286 w 7714416"/>
              <a:gd name="connsiteY20799" fmla="*/ 783173 h 5282095"/>
              <a:gd name="connsiteX20800" fmla="*/ 5033871 w 7714416"/>
              <a:gd name="connsiteY20800" fmla="*/ 777390 h 5282095"/>
              <a:gd name="connsiteX20801" fmla="*/ 5053963 w 7714416"/>
              <a:gd name="connsiteY20801" fmla="*/ 767707 h 5282095"/>
              <a:gd name="connsiteX20802" fmla="*/ 2788187 w 7714416"/>
              <a:gd name="connsiteY20802" fmla="*/ 766538 h 5282095"/>
              <a:gd name="connsiteX20803" fmla="*/ 2787583 w 7714416"/>
              <a:gd name="connsiteY20803" fmla="*/ 768792 h 5282095"/>
              <a:gd name="connsiteX20804" fmla="*/ 2786562 w 7714416"/>
              <a:gd name="connsiteY20804" fmla="*/ 768174 h 5282095"/>
              <a:gd name="connsiteX20805" fmla="*/ 2786689 w 7714416"/>
              <a:gd name="connsiteY20805" fmla="*/ 766598 h 5282095"/>
              <a:gd name="connsiteX20806" fmla="*/ 2788187 w 7714416"/>
              <a:gd name="connsiteY20806" fmla="*/ 766538 h 5282095"/>
              <a:gd name="connsiteX20807" fmla="*/ 1470532 w 7714416"/>
              <a:gd name="connsiteY20807" fmla="*/ 766529 h 5282095"/>
              <a:gd name="connsiteX20808" fmla="*/ 1488519 w 7714416"/>
              <a:gd name="connsiteY20808" fmla="*/ 768014 h 5282095"/>
              <a:gd name="connsiteX20809" fmla="*/ 1481300 w 7714416"/>
              <a:gd name="connsiteY20809" fmla="*/ 780569 h 5282095"/>
              <a:gd name="connsiteX20810" fmla="*/ 1470532 w 7714416"/>
              <a:gd name="connsiteY20810" fmla="*/ 766529 h 5282095"/>
              <a:gd name="connsiteX20811" fmla="*/ 1751429 w 7714416"/>
              <a:gd name="connsiteY20811" fmla="*/ 766354 h 5282095"/>
              <a:gd name="connsiteX20812" fmla="*/ 1743425 w 7714416"/>
              <a:gd name="connsiteY20812" fmla="*/ 797330 h 5282095"/>
              <a:gd name="connsiteX20813" fmla="*/ 1742779 w 7714416"/>
              <a:gd name="connsiteY20813" fmla="*/ 768751 h 5282095"/>
              <a:gd name="connsiteX20814" fmla="*/ 1751429 w 7714416"/>
              <a:gd name="connsiteY20814" fmla="*/ 766354 h 5282095"/>
              <a:gd name="connsiteX20815" fmla="*/ 984826 w 7714416"/>
              <a:gd name="connsiteY20815" fmla="*/ 765689 h 5282095"/>
              <a:gd name="connsiteX20816" fmla="*/ 991791 w 7714416"/>
              <a:gd name="connsiteY20816" fmla="*/ 772343 h 5282095"/>
              <a:gd name="connsiteX20817" fmla="*/ 985658 w 7714416"/>
              <a:gd name="connsiteY20817" fmla="*/ 778634 h 5282095"/>
              <a:gd name="connsiteX20818" fmla="*/ 980534 w 7714416"/>
              <a:gd name="connsiteY20818" fmla="*/ 777836 h 5282095"/>
              <a:gd name="connsiteX20819" fmla="*/ 976822 w 7714416"/>
              <a:gd name="connsiteY20819" fmla="*/ 777301 h 5282095"/>
              <a:gd name="connsiteX20820" fmla="*/ 971701 w 7714416"/>
              <a:gd name="connsiteY20820" fmla="*/ 773169 h 5282095"/>
              <a:gd name="connsiteX20821" fmla="*/ 971107 w 7714416"/>
              <a:gd name="connsiteY20821" fmla="*/ 774276 h 5282095"/>
              <a:gd name="connsiteX20822" fmla="*/ 972146 w 7714416"/>
              <a:gd name="connsiteY20822" fmla="*/ 767079 h 5282095"/>
              <a:gd name="connsiteX20823" fmla="*/ 984826 w 7714416"/>
              <a:gd name="connsiteY20823" fmla="*/ 765689 h 5282095"/>
              <a:gd name="connsiteX20824" fmla="*/ 4938861 w 7714416"/>
              <a:gd name="connsiteY20824" fmla="*/ 765617 h 5282095"/>
              <a:gd name="connsiteX20825" fmla="*/ 4954834 w 7714416"/>
              <a:gd name="connsiteY20825" fmla="*/ 769092 h 5282095"/>
              <a:gd name="connsiteX20826" fmla="*/ 4958622 w 7714416"/>
              <a:gd name="connsiteY20826" fmla="*/ 770452 h 5282095"/>
              <a:gd name="connsiteX20827" fmla="*/ 4961855 w 7714416"/>
              <a:gd name="connsiteY20827" fmla="*/ 771663 h 5282095"/>
              <a:gd name="connsiteX20828" fmla="*/ 4964113 w 7714416"/>
              <a:gd name="connsiteY20828" fmla="*/ 776523 h 5282095"/>
              <a:gd name="connsiteX20829" fmla="*/ 4947366 w 7714416"/>
              <a:gd name="connsiteY20829" fmla="*/ 772611 h 5282095"/>
              <a:gd name="connsiteX20830" fmla="*/ 4932701 w 7714416"/>
              <a:gd name="connsiteY20830" fmla="*/ 768681 h 5282095"/>
              <a:gd name="connsiteX20831" fmla="*/ 4934222 w 7714416"/>
              <a:gd name="connsiteY20831" fmla="*/ 766328 h 5282095"/>
              <a:gd name="connsiteX20832" fmla="*/ 4938861 w 7714416"/>
              <a:gd name="connsiteY20832" fmla="*/ 765617 h 5282095"/>
              <a:gd name="connsiteX20833" fmla="*/ 4627478 w 7714416"/>
              <a:gd name="connsiteY20833" fmla="*/ 765557 h 5282095"/>
              <a:gd name="connsiteX20834" fmla="*/ 4637763 w 7714416"/>
              <a:gd name="connsiteY20834" fmla="*/ 769234 h 5282095"/>
              <a:gd name="connsiteX20835" fmla="*/ 4645845 w 7714416"/>
              <a:gd name="connsiteY20835" fmla="*/ 780024 h 5282095"/>
              <a:gd name="connsiteX20836" fmla="*/ 4626763 w 7714416"/>
              <a:gd name="connsiteY20836" fmla="*/ 773762 h 5282095"/>
              <a:gd name="connsiteX20837" fmla="*/ 4623303 w 7714416"/>
              <a:gd name="connsiteY20837" fmla="*/ 770075 h 5282095"/>
              <a:gd name="connsiteX20838" fmla="*/ 4622476 w 7714416"/>
              <a:gd name="connsiteY20838" fmla="*/ 766518 h 5282095"/>
              <a:gd name="connsiteX20839" fmla="*/ 4627478 w 7714416"/>
              <a:gd name="connsiteY20839" fmla="*/ 765557 h 5282095"/>
              <a:gd name="connsiteX20840" fmla="*/ 4314073 w 7714416"/>
              <a:gd name="connsiteY20840" fmla="*/ 765303 h 5282095"/>
              <a:gd name="connsiteX20841" fmla="*/ 4315737 w 7714416"/>
              <a:gd name="connsiteY20841" fmla="*/ 771269 h 5282095"/>
              <a:gd name="connsiteX20842" fmla="*/ 4312092 w 7714416"/>
              <a:gd name="connsiteY20842" fmla="*/ 769373 h 5282095"/>
              <a:gd name="connsiteX20843" fmla="*/ 4312574 w 7714416"/>
              <a:gd name="connsiteY20843" fmla="*/ 765361 h 5282095"/>
              <a:gd name="connsiteX20844" fmla="*/ 4314073 w 7714416"/>
              <a:gd name="connsiteY20844" fmla="*/ 765303 h 5282095"/>
              <a:gd name="connsiteX20845" fmla="*/ 2447624 w 7714416"/>
              <a:gd name="connsiteY20845" fmla="*/ 765260 h 5282095"/>
              <a:gd name="connsiteX20846" fmla="*/ 2453899 w 7714416"/>
              <a:gd name="connsiteY20846" fmla="*/ 765632 h 5282095"/>
              <a:gd name="connsiteX20847" fmla="*/ 2454599 w 7714416"/>
              <a:gd name="connsiteY20847" fmla="*/ 770766 h 5282095"/>
              <a:gd name="connsiteX20848" fmla="*/ 2452469 w 7714416"/>
              <a:gd name="connsiteY20848" fmla="*/ 773185 h 5282095"/>
              <a:gd name="connsiteX20849" fmla="*/ 2454901 w 7714416"/>
              <a:gd name="connsiteY20849" fmla="*/ 774066 h 5282095"/>
              <a:gd name="connsiteX20850" fmla="*/ 2455793 w 7714416"/>
              <a:gd name="connsiteY20850" fmla="*/ 788451 h 5282095"/>
              <a:gd name="connsiteX20851" fmla="*/ 2446880 w 7714416"/>
              <a:gd name="connsiteY20851" fmla="*/ 786293 h 5282095"/>
              <a:gd name="connsiteX20852" fmla="*/ 2440384 w 7714416"/>
              <a:gd name="connsiteY20852" fmla="*/ 783976 h 5282095"/>
              <a:gd name="connsiteX20853" fmla="*/ 2437979 w 7714416"/>
              <a:gd name="connsiteY20853" fmla="*/ 774133 h 5282095"/>
              <a:gd name="connsiteX20854" fmla="*/ 2438371 w 7714416"/>
              <a:gd name="connsiteY20854" fmla="*/ 773777 h 5282095"/>
              <a:gd name="connsiteX20855" fmla="*/ 2438094 w 7714416"/>
              <a:gd name="connsiteY20855" fmla="*/ 773704 h 5282095"/>
              <a:gd name="connsiteX20856" fmla="*/ 2436391 w 7714416"/>
              <a:gd name="connsiteY20856" fmla="*/ 768992 h 5282095"/>
              <a:gd name="connsiteX20857" fmla="*/ 2441109 w 7714416"/>
              <a:gd name="connsiteY20857" fmla="*/ 765771 h 5282095"/>
              <a:gd name="connsiteX20858" fmla="*/ 2447624 w 7714416"/>
              <a:gd name="connsiteY20858" fmla="*/ 765260 h 5282095"/>
              <a:gd name="connsiteX20859" fmla="*/ 2485922 w 7714416"/>
              <a:gd name="connsiteY20859" fmla="*/ 764553 h 5282095"/>
              <a:gd name="connsiteX20860" fmla="*/ 2493432 w 7714416"/>
              <a:gd name="connsiteY20860" fmla="*/ 765301 h 5282095"/>
              <a:gd name="connsiteX20861" fmla="*/ 2504745 w 7714416"/>
              <a:gd name="connsiteY20861" fmla="*/ 771782 h 5282095"/>
              <a:gd name="connsiteX20862" fmla="*/ 2496522 w 7714416"/>
              <a:gd name="connsiteY20862" fmla="*/ 784759 h 5282095"/>
              <a:gd name="connsiteX20863" fmla="*/ 2493802 w 7714416"/>
              <a:gd name="connsiteY20863" fmla="*/ 784950 h 5282095"/>
              <a:gd name="connsiteX20864" fmla="*/ 2492045 w 7714416"/>
              <a:gd name="connsiteY20864" fmla="*/ 785974 h 5282095"/>
              <a:gd name="connsiteX20865" fmla="*/ 2490193 w 7714416"/>
              <a:gd name="connsiteY20865" fmla="*/ 785134 h 5282095"/>
              <a:gd name="connsiteX20866" fmla="*/ 2489889 w 7714416"/>
              <a:gd name="connsiteY20866" fmla="*/ 785166 h 5282095"/>
              <a:gd name="connsiteX20867" fmla="*/ 2489364 w 7714416"/>
              <a:gd name="connsiteY20867" fmla="*/ 784911 h 5282095"/>
              <a:gd name="connsiteX20868" fmla="*/ 2486740 w 7714416"/>
              <a:gd name="connsiteY20868" fmla="*/ 783633 h 5282095"/>
              <a:gd name="connsiteX20869" fmla="*/ 2486665 w 7714416"/>
              <a:gd name="connsiteY20869" fmla="*/ 782807 h 5282095"/>
              <a:gd name="connsiteX20870" fmla="*/ 2478731 w 7714416"/>
              <a:gd name="connsiteY20870" fmla="*/ 777001 h 5282095"/>
              <a:gd name="connsiteX20871" fmla="*/ 2485922 w 7714416"/>
              <a:gd name="connsiteY20871" fmla="*/ 764553 h 5282095"/>
              <a:gd name="connsiteX20872" fmla="*/ 1142496 w 7714416"/>
              <a:gd name="connsiteY20872" fmla="*/ 764424 h 5282095"/>
              <a:gd name="connsiteX20873" fmla="*/ 1141026 w 7714416"/>
              <a:gd name="connsiteY20873" fmla="*/ 773230 h 5282095"/>
              <a:gd name="connsiteX20874" fmla="*/ 1137370 w 7714416"/>
              <a:gd name="connsiteY20874" fmla="*/ 772480 h 5282095"/>
              <a:gd name="connsiteX20875" fmla="*/ 1133433 w 7714416"/>
              <a:gd name="connsiteY20875" fmla="*/ 769469 h 5282095"/>
              <a:gd name="connsiteX20876" fmla="*/ 1132940 w 7714416"/>
              <a:gd name="connsiteY20876" fmla="*/ 765773 h 5282095"/>
              <a:gd name="connsiteX20877" fmla="*/ 1142496 w 7714416"/>
              <a:gd name="connsiteY20877" fmla="*/ 764424 h 5282095"/>
              <a:gd name="connsiteX20878" fmla="*/ 4410128 w 7714416"/>
              <a:gd name="connsiteY20878" fmla="*/ 763210 h 5282095"/>
              <a:gd name="connsiteX20879" fmla="*/ 4417150 w 7714416"/>
              <a:gd name="connsiteY20879" fmla="*/ 765782 h 5282095"/>
              <a:gd name="connsiteX20880" fmla="*/ 4428236 w 7714416"/>
              <a:gd name="connsiteY20880" fmla="*/ 769787 h 5282095"/>
              <a:gd name="connsiteX20881" fmla="*/ 4428096 w 7714416"/>
              <a:gd name="connsiteY20881" fmla="*/ 775844 h 5282095"/>
              <a:gd name="connsiteX20882" fmla="*/ 4408950 w 7714416"/>
              <a:gd name="connsiteY20882" fmla="*/ 776465 h 5282095"/>
              <a:gd name="connsiteX20883" fmla="*/ 4397587 w 7714416"/>
              <a:gd name="connsiteY20883" fmla="*/ 772385 h 5282095"/>
              <a:gd name="connsiteX20884" fmla="*/ 4403829 w 7714416"/>
              <a:gd name="connsiteY20884" fmla="*/ 763477 h 5282095"/>
              <a:gd name="connsiteX20885" fmla="*/ 4410128 w 7714416"/>
              <a:gd name="connsiteY20885" fmla="*/ 763210 h 5282095"/>
              <a:gd name="connsiteX20886" fmla="*/ 4569690 w 7714416"/>
              <a:gd name="connsiteY20886" fmla="*/ 763184 h 5282095"/>
              <a:gd name="connsiteX20887" fmla="*/ 4572303 w 7714416"/>
              <a:gd name="connsiteY20887" fmla="*/ 765609 h 5282095"/>
              <a:gd name="connsiteX20888" fmla="*/ 4570613 w 7714416"/>
              <a:gd name="connsiteY20888" fmla="*/ 765271 h 5282095"/>
              <a:gd name="connsiteX20889" fmla="*/ 4569690 w 7714416"/>
              <a:gd name="connsiteY20889" fmla="*/ 763184 h 5282095"/>
              <a:gd name="connsiteX20890" fmla="*/ 5204310 w 7714416"/>
              <a:gd name="connsiteY20890" fmla="*/ 762222 h 5282095"/>
              <a:gd name="connsiteX20891" fmla="*/ 5209085 w 7714416"/>
              <a:gd name="connsiteY20891" fmla="*/ 776497 h 5282095"/>
              <a:gd name="connsiteX20892" fmla="*/ 5203103 w 7714416"/>
              <a:gd name="connsiteY20892" fmla="*/ 775584 h 5282095"/>
              <a:gd name="connsiteX20893" fmla="*/ 5197044 w 7714416"/>
              <a:gd name="connsiteY20893" fmla="*/ 773847 h 5282095"/>
              <a:gd name="connsiteX20894" fmla="*/ 5195053 w 7714416"/>
              <a:gd name="connsiteY20894" fmla="*/ 770207 h 5282095"/>
              <a:gd name="connsiteX20895" fmla="*/ 5193634 w 7714416"/>
              <a:gd name="connsiteY20895" fmla="*/ 767757 h 5282095"/>
              <a:gd name="connsiteX20896" fmla="*/ 5196005 w 7714416"/>
              <a:gd name="connsiteY20896" fmla="*/ 763332 h 5282095"/>
              <a:gd name="connsiteX20897" fmla="*/ 5194259 w 7714416"/>
              <a:gd name="connsiteY20897" fmla="*/ 763209 h 5282095"/>
              <a:gd name="connsiteX20898" fmla="*/ 5204310 w 7714416"/>
              <a:gd name="connsiteY20898" fmla="*/ 762222 h 5282095"/>
              <a:gd name="connsiteX20899" fmla="*/ 1882889 w 7714416"/>
              <a:gd name="connsiteY20899" fmla="*/ 760523 h 5282095"/>
              <a:gd name="connsiteX20900" fmla="*/ 1875835 w 7714416"/>
              <a:gd name="connsiteY20900" fmla="*/ 787958 h 5282095"/>
              <a:gd name="connsiteX20901" fmla="*/ 1868022 w 7714416"/>
              <a:gd name="connsiteY20901" fmla="*/ 783910 h 5282095"/>
              <a:gd name="connsiteX20902" fmla="*/ 1882889 w 7714416"/>
              <a:gd name="connsiteY20902" fmla="*/ 760523 h 5282095"/>
              <a:gd name="connsiteX20903" fmla="*/ 2525030 w 7714416"/>
              <a:gd name="connsiteY20903" fmla="*/ 759162 h 5282095"/>
              <a:gd name="connsiteX20904" fmla="*/ 2540622 w 7714416"/>
              <a:gd name="connsiteY20904" fmla="*/ 779555 h 5282095"/>
              <a:gd name="connsiteX20905" fmla="*/ 2531897 w 7714416"/>
              <a:gd name="connsiteY20905" fmla="*/ 781127 h 5282095"/>
              <a:gd name="connsiteX20906" fmla="*/ 2526870 w 7714416"/>
              <a:gd name="connsiteY20906" fmla="*/ 778859 h 5282095"/>
              <a:gd name="connsiteX20907" fmla="*/ 2523996 w 7714416"/>
              <a:gd name="connsiteY20907" fmla="*/ 780734 h 5282095"/>
              <a:gd name="connsiteX20908" fmla="*/ 2518033 w 7714416"/>
              <a:gd name="connsiteY20908" fmla="*/ 777527 h 5282095"/>
              <a:gd name="connsiteX20909" fmla="*/ 2520243 w 7714416"/>
              <a:gd name="connsiteY20909" fmla="*/ 772600 h 5282095"/>
              <a:gd name="connsiteX20910" fmla="*/ 2519445 w 7714416"/>
              <a:gd name="connsiteY20910" fmla="*/ 768936 h 5282095"/>
              <a:gd name="connsiteX20911" fmla="*/ 2517164 w 7714416"/>
              <a:gd name="connsiteY20911" fmla="*/ 760849 h 5282095"/>
              <a:gd name="connsiteX20912" fmla="*/ 2525030 w 7714416"/>
              <a:gd name="connsiteY20912" fmla="*/ 759162 h 5282095"/>
              <a:gd name="connsiteX20913" fmla="*/ 2131873 w 7714416"/>
              <a:gd name="connsiteY20913" fmla="*/ 758811 h 5282095"/>
              <a:gd name="connsiteX20914" fmla="*/ 2139351 w 7714416"/>
              <a:gd name="connsiteY20914" fmla="*/ 763001 h 5282095"/>
              <a:gd name="connsiteX20915" fmla="*/ 2139814 w 7714416"/>
              <a:gd name="connsiteY20915" fmla="*/ 766805 h 5282095"/>
              <a:gd name="connsiteX20916" fmla="*/ 2137532 w 7714416"/>
              <a:gd name="connsiteY20916" fmla="*/ 767574 h 5282095"/>
              <a:gd name="connsiteX20917" fmla="*/ 2134662 w 7714416"/>
              <a:gd name="connsiteY20917" fmla="*/ 766114 h 5282095"/>
              <a:gd name="connsiteX20918" fmla="*/ 2130389 w 7714416"/>
              <a:gd name="connsiteY20918" fmla="*/ 763244 h 5282095"/>
              <a:gd name="connsiteX20919" fmla="*/ 2130352 w 7714416"/>
              <a:gd name="connsiteY20919" fmla="*/ 761165 h 5282095"/>
              <a:gd name="connsiteX20920" fmla="*/ 2131873 w 7714416"/>
              <a:gd name="connsiteY20920" fmla="*/ 758811 h 5282095"/>
              <a:gd name="connsiteX20921" fmla="*/ 4685745 w 7714416"/>
              <a:gd name="connsiteY20921" fmla="*/ 758400 h 5282095"/>
              <a:gd name="connsiteX20922" fmla="*/ 4704729 w 7714416"/>
              <a:gd name="connsiteY20922" fmla="*/ 766132 h 5282095"/>
              <a:gd name="connsiteX20923" fmla="*/ 4699899 w 7714416"/>
              <a:gd name="connsiteY20923" fmla="*/ 766448 h 5282095"/>
              <a:gd name="connsiteX20924" fmla="*/ 4680943 w 7714416"/>
              <a:gd name="connsiteY20924" fmla="*/ 758609 h 5282095"/>
              <a:gd name="connsiteX20925" fmla="*/ 4685745 w 7714416"/>
              <a:gd name="connsiteY20925" fmla="*/ 758400 h 5282095"/>
              <a:gd name="connsiteX20926" fmla="*/ 4903126 w 7714416"/>
              <a:gd name="connsiteY20926" fmla="*/ 757306 h 5282095"/>
              <a:gd name="connsiteX20927" fmla="*/ 4898703 w 7714416"/>
              <a:gd name="connsiteY20927" fmla="*/ 779352 h 5282095"/>
              <a:gd name="connsiteX20928" fmla="*/ 4895105 w 7714416"/>
              <a:gd name="connsiteY20928" fmla="*/ 778388 h 5282095"/>
              <a:gd name="connsiteX20929" fmla="*/ 4893028 w 7714416"/>
              <a:gd name="connsiteY20929" fmla="*/ 775071 h 5282095"/>
              <a:gd name="connsiteX20930" fmla="*/ 4894577 w 7714416"/>
              <a:gd name="connsiteY20930" fmla="*/ 763757 h 5282095"/>
              <a:gd name="connsiteX20931" fmla="*/ 4895515 w 7714416"/>
              <a:gd name="connsiteY20931" fmla="*/ 761363 h 5282095"/>
              <a:gd name="connsiteX20932" fmla="*/ 4896787 w 7714416"/>
              <a:gd name="connsiteY20932" fmla="*/ 758828 h 5282095"/>
              <a:gd name="connsiteX20933" fmla="*/ 4903126 w 7714416"/>
              <a:gd name="connsiteY20933" fmla="*/ 757306 h 5282095"/>
              <a:gd name="connsiteX20934" fmla="*/ 2574130 w 7714416"/>
              <a:gd name="connsiteY20934" fmla="*/ 756333 h 5282095"/>
              <a:gd name="connsiteX20935" fmla="*/ 2590249 w 7714416"/>
              <a:gd name="connsiteY20935" fmla="*/ 773648 h 5282095"/>
              <a:gd name="connsiteX20936" fmla="*/ 2581448 w 7714416"/>
              <a:gd name="connsiteY20936" fmla="*/ 774394 h 5282095"/>
              <a:gd name="connsiteX20937" fmla="*/ 2568951 w 7714416"/>
              <a:gd name="connsiteY20937" fmla="*/ 761270 h 5282095"/>
              <a:gd name="connsiteX20938" fmla="*/ 2574130 w 7714416"/>
              <a:gd name="connsiteY20938" fmla="*/ 756333 h 5282095"/>
              <a:gd name="connsiteX20939" fmla="*/ 1265158 w 7714416"/>
              <a:gd name="connsiteY20939" fmla="*/ 756005 h 5282095"/>
              <a:gd name="connsiteX20940" fmla="*/ 1275990 w 7714416"/>
              <a:gd name="connsiteY20940" fmla="*/ 757642 h 5282095"/>
              <a:gd name="connsiteX20941" fmla="*/ 1278648 w 7714416"/>
              <a:gd name="connsiteY20941" fmla="*/ 760999 h 5282095"/>
              <a:gd name="connsiteX20942" fmla="*/ 1273513 w 7714416"/>
              <a:gd name="connsiteY20942" fmla="*/ 761348 h 5282095"/>
              <a:gd name="connsiteX20943" fmla="*/ 1271119 w 7714416"/>
              <a:gd name="connsiteY20943" fmla="*/ 759212 h 5282095"/>
              <a:gd name="connsiteX20944" fmla="*/ 1265719 w 7714416"/>
              <a:gd name="connsiteY20944" fmla="*/ 758340 h 5282095"/>
              <a:gd name="connsiteX20945" fmla="*/ 1265158 w 7714416"/>
              <a:gd name="connsiteY20945" fmla="*/ 756005 h 5282095"/>
              <a:gd name="connsiteX20946" fmla="*/ 5113419 w 7714416"/>
              <a:gd name="connsiteY20946" fmla="*/ 755004 h 5282095"/>
              <a:gd name="connsiteX20947" fmla="*/ 5106421 w 7714416"/>
              <a:gd name="connsiteY20947" fmla="*/ 773369 h 5282095"/>
              <a:gd name="connsiteX20948" fmla="*/ 5105811 w 7714416"/>
              <a:gd name="connsiteY20948" fmla="*/ 755725 h 5282095"/>
              <a:gd name="connsiteX20949" fmla="*/ 5113419 w 7714416"/>
              <a:gd name="connsiteY20949" fmla="*/ 755004 h 5282095"/>
              <a:gd name="connsiteX20950" fmla="*/ 828691 w 7714416"/>
              <a:gd name="connsiteY20950" fmla="*/ 754315 h 5282095"/>
              <a:gd name="connsiteX20951" fmla="*/ 845009 w 7714416"/>
              <a:gd name="connsiteY20951" fmla="*/ 755668 h 5282095"/>
              <a:gd name="connsiteX20952" fmla="*/ 849216 w 7714416"/>
              <a:gd name="connsiteY20952" fmla="*/ 765421 h 5282095"/>
              <a:gd name="connsiteX20953" fmla="*/ 823437 w 7714416"/>
              <a:gd name="connsiteY20953" fmla="*/ 766448 h 5282095"/>
              <a:gd name="connsiteX20954" fmla="*/ 828691 w 7714416"/>
              <a:gd name="connsiteY20954" fmla="*/ 754315 h 5282095"/>
              <a:gd name="connsiteX20955" fmla="*/ 2247680 w 7714416"/>
              <a:gd name="connsiteY20955" fmla="*/ 753846 h 5282095"/>
              <a:gd name="connsiteX20956" fmla="*/ 2247812 w 7714416"/>
              <a:gd name="connsiteY20956" fmla="*/ 763312 h 5282095"/>
              <a:gd name="connsiteX20957" fmla="*/ 2243737 w 7714416"/>
              <a:gd name="connsiteY20957" fmla="*/ 763026 h 5282095"/>
              <a:gd name="connsiteX20958" fmla="*/ 2237541 w 7714416"/>
              <a:gd name="connsiteY20958" fmla="*/ 755156 h 5282095"/>
              <a:gd name="connsiteX20959" fmla="*/ 2247680 w 7714416"/>
              <a:gd name="connsiteY20959" fmla="*/ 753846 h 5282095"/>
              <a:gd name="connsiteX20960" fmla="*/ 2738629 w 7714416"/>
              <a:gd name="connsiteY20960" fmla="*/ 753374 h 5282095"/>
              <a:gd name="connsiteX20961" fmla="*/ 2754203 w 7714416"/>
              <a:gd name="connsiteY20961" fmla="*/ 755018 h 5282095"/>
              <a:gd name="connsiteX20962" fmla="*/ 2753247 w 7714416"/>
              <a:gd name="connsiteY20962" fmla="*/ 756372 h 5282095"/>
              <a:gd name="connsiteX20963" fmla="*/ 2728145 w 7714416"/>
              <a:gd name="connsiteY20963" fmla="*/ 755970 h 5282095"/>
              <a:gd name="connsiteX20964" fmla="*/ 2738629 w 7714416"/>
              <a:gd name="connsiteY20964" fmla="*/ 753374 h 5282095"/>
              <a:gd name="connsiteX20965" fmla="*/ 1681483 w 7714416"/>
              <a:gd name="connsiteY20965" fmla="*/ 752903 h 5282095"/>
              <a:gd name="connsiteX20966" fmla="*/ 1685807 w 7714416"/>
              <a:gd name="connsiteY20966" fmla="*/ 753371 h 5282095"/>
              <a:gd name="connsiteX20967" fmla="*/ 1688390 w 7714416"/>
              <a:gd name="connsiteY20967" fmla="*/ 755903 h 5282095"/>
              <a:gd name="connsiteX20968" fmla="*/ 1688638 w 7714416"/>
              <a:gd name="connsiteY20968" fmla="*/ 756085 h 5282095"/>
              <a:gd name="connsiteX20969" fmla="*/ 1691872 w 7714416"/>
              <a:gd name="connsiteY20969" fmla="*/ 757296 h 5282095"/>
              <a:gd name="connsiteX20970" fmla="*/ 1692462 w 7714416"/>
              <a:gd name="connsiteY20970" fmla="*/ 759524 h 5282095"/>
              <a:gd name="connsiteX20971" fmla="*/ 1697338 w 7714416"/>
              <a:gd name="connsiteY20971" fmla="*/ 760141 h 5282095"/>
              <a:gd name="connsiteX20972" fmla="*/ 1704173 w 7714416"/>
              <a:gd name="connsiteY20972" fmla="*/ 758982 h 5282095"/>
              <a:gd name="connsiteX20973" fmla="*/ 1705425 w 7714416"/>
              <a:gd name="connsiteY20973" fmla="*/ 758742 h 5282095"/>
              <a:gd name="connsiteX20974" fmla="*/ 1708540 w 7714416"/>
              <a:gd name="connsiteY20974" fmla="*/ 754862 h 5282095"/>
              <a:gd name="connsiteX20975" fmla="*/ 1715256 w 7714416"/>
              <a:gd name="connsiteY20975" fmla="*/ 757466 h 5282095"/>
              <a:gd name="connsiteX20976" fmla="*/ 1715131 w 7714416"/>
              <a:gd name="connsiteY20976" fmla="*/ 759043 h 5282095"/>
              <a:gd name="connsiteX20977" fmla="*/ 1722268 w 7714416"/>
              <a:gd name="connsiteY20977" fmla="*/ 761186 h 5282095"/>
              <a:gd name="connsiteX20978" fmla="*/ 1721796 w 7714416"/>
              <a:gd name="connsiteY20978" fmla="*/ 772904 h 5282095"/>
              <a:gd name="connsiteX20979" fmla="*/ 1691898 w 7714416"/>
              <a:gd name="connsiteY20979" fmla="*/ 778233 h 5282095"/>
              <a:gd name="connsiteX20980" fmla="*/ 1691631 w 7714416"/>
              <a:gd name="connsiteY20980" fmla="*/ 777012 h 5282095"/>
              <a:gd name="connsiteX20981" fmla="*/ 1681875 w 7714416"/>
              <a:gd name="connsiteY20981" fmla="*/ 779112 h 5282095"/>
              <a:gd name="connsiteX20982" fmla="*/ 1675633 w 7714416"/>
              <a:gd name="connsiteY20982" fmla="*/ 770310 h 5282095"/>
              <a:gd name="connsiteX20983" fmla="*/ 1676104 w 7714416"/>
              <a:gd name="connsiteY20983" fmla="*/ 767446 h 5282095"/>
              <a:gd name="connsiteX20984" fmla="*/ 1673481 w 7714416"/>
              <a:gd name="connsiteY20984" fmla="*/ 766169 h 5282095"/>
              <a:gd name="connsiteX20985" fmla="*/ 1675116 w 7714416"/>
              <a:gd name="connsiteY20985" fmla="*/ 754531 h 5282095"/>
              <a:gd name="connsiteX20986" fmla="*/ 1680366 w 7714416"/>
              <a:gd name="connsiteY20986" fmla="*/ 753753 h 5282095"/>
              <a:gd name="connsiteX20987" fmla="*/ 1665317 w 7714416"/>
              <a:gd name="connsiteY20987" fmla="*/ 752365 h 5282095"/>
              <a:gd name="connsiteX20988" fmla="*/ 1670944 w 7714416"/>
              <a:gd name="connsiteY20988" fmla="*/ 755713 h 5282095"/>
              <a:gd name="connsiteX20989" fmla="*/ 1665992 w 7714416"/>
              <a:gd name="connsiteY20989" fmla="*/ 754271 h 5282095"/>
              <a:gd name="connsiteX20990" fmla="*/ 1665029 w 7714416"/>
              <a:gd name="connsiteY20990" fmla="*/ 753438 h 5282095"/>
              <a:gd name="connsiteX20991" fmla="*/ 1665317 w 7714416"/>
              <a:gd name="connsiteY20991" fmla="*/ 752365 h 5282095"/>
              <a:gd name="connsiteX20992" fmla="*/ 4315528 w 7714416"/>
              <a:gd name="connsiteY20992" fmla="*/ 752122 h 5282095"/>
              <a:gd name="connsiteX20993" fmla="*/ 4315388 w 7714416"/>
              <a:gd name="connsiteY20993" fmla="*/ 758180 h 5282095"/>
              <a:gd name="connsiteX20994" fmla="*/ 4310263 w 7714416"/>
              <a:gd name="connsiteY20994" fmla="*/ 757382 h 5282095"/>
              <a:gd name="connsiteX20995" fmla="*/ 4310699 w 7714416"/>
              <a:gd name="connsiteY20995" fmla="*/ 752438 h 5282095"/>
              <a:gd name="connsiteX20996" fmla="*/ 4315528 w 7714416"/>
              <a:gd name="connsiteY20996" fmla="*/ 752122 h 5282095"/>
              <a:gd name="connsiteX20997" fmla="*/ 1856624 w 7714416"/>
              <a:gd name="connsiteY20997" fmla="*/ 751185 h 5282095"/>
              <a:gd name="connsiteX20998" fmla="*/ 1845502 w 7714416"/>
              <a:gd name="connsiteY20998" fmla="*/ 762810 h 5282095"/>
              <a:gd name="connsiteX20999" fmla="*/ 1842106 w 7714416"/>
              <a:gd name="connsiteY20999" fmla="*/ 752240 h 5282095"/>
              <a:gd name="connsiteX21000" fmla="*/ 1856624 w 7714416"/>
              <a:gd name="connsiteY21000" fmla="*/ 751185 h 5282095"/>
              <a:gd name="connsiteX21001" fmla="*/ 1552647 w 7714416"/>
              <a:gd name="connsiteY21001" fmla="*/ 751156 h 5282095"/>
              <a:gd name="connsiteX21002" fmla="*/ 1554933 w 7714416"/>
              <a:gd name="connsiteY21002" fmla="*/ 764763 h 5282095"/>
              <a:gd name="connsiteX21003" fmla="*/ 1552647 w 7714416"/>
              <a:gd name="connsiteY21003" fmla="*/ 751156 h 5282095"/>
              <a:gd name="connsiteX21004" fmla="*/ 2376587 w 7714416"/>
              <a:gd name="connsiteY21004" fmla="*/ 750898 h 5282095"/>
              <a:gd name="connsiteX21005" fmla="*/ 2391292 w 7714416"/>
              <a:gd name="connsiteY21005" fmla="*/ 753572 h 5282095"/>
              <a:gd name="connsiteX21006" fmla="*/ 2396740 w 7714416"/>
              <a:gd name="connsiteY21006" fmla="*/ 764233 h 5282095"/>
              <a:gd name="connsiteX21007" fmla="*/ 2378039 w 7714416"/>
              <a:gd name="connsiteY21007" fmla="*/ 767616 h 5282095"/>
              <a:gd name="connsiteX21008" fmla="*/ 2373288 w 7714416"/>
              <a:gd name="connsiteY21008" fmla="*/ 765424 h 5282095"/>
              <a:gd name="connsiteX21009" fmla="*/ 2376587 w 7714416"/>
              <a:gd name="connsiteY21009" fmla="*/ 750898 h 5282095"/>
              <a:gd name="connsiteX21010" fmla="*/ 2591658 w 7714416"/>
              <a:gd name="connsiteY21010" fmla="*/ 750680 h 5282095"/>
              <a:gd name="connsiteX21011" fmla="*/ 2586617 w 7714416"/>
              <a:gd name="connsiteY21011" fmla="*/ 752893 h 5282095"/>
              <a:gd name="connsiteX21012" fmla="*/ 2584432 w 7714416"/>
              <a:gd name="connsiteY21012" fmla="*/ 752193 h 5282095"/>
              <a:gd name="connsiteX21013" fmla="*/ 2591658 w 7714416"/>
              <a:gd name="connsiteY21013" fmla="*/ 750680 h 5282095"/>
              <a:gd name="connsiteX21014" fmla="*/ 1012337 w 7714416"/>
              <a:gd name="connsiteY21014" fmla="*/ 749903 h 5282095"/>
              <a:gd name="connsiteX21015" fmla="*/ 1018276 w 7714416"/>
              <a:gd name="connsiteY21015" fmla="*/ 755404 h 5282095"/>
              <a:gd name="connsiteX21016" fmla="*/ 1011380 w 7714416"/>
              <a:gd name="connsiteY21016" fmla="*/ 751256 h 5282095"/>
              <a:gd name="connsiteX21017" fmla="*/ 1012337 w 7714416"/>
              <a:gd name="connsiteY21017" fmla="*/ 749903 h 5282095"/>
              <a:gd name="connsiteX21018" fmla="*/ 2253324 w 7714416"/>
              <a:gd name="connsiteY21018" fmla="*/ 749379 h 5282095"/>
              <a:gd name="connsiteX21019" fmla="*/ 2258305 w 7714416"/>
              <a:gd name="connsiteY21019" fmla="*/ 750713 h 5282095"/>
              <a:gd name="connsiteX21020" fmla="*/ 2260346 w 7714416"/>
              <a:gd name="connsiteY21020" fmla="*/ 751951 h 5282095"/>
              <a:gd name="connsiteX21021" fmla="*/ 2262121 w 7714416"/>
              <a:gd name="connsiteY21021" fmla="*/ 751967 h 5282095"/>
              <a:gd name="connsiteX21022" fmla="*/ 2262111 w 7714416"/>
              <a:gd name="connsiteY21022" fmla="*/ 753114 h 5282095"/>
              <a:gd name="connsiteX21023" fmla="*/ 2265611 w 7714416"/>
              <a:gd name="connsiteY21023" fmla="*/ 755546 h 5282095"/>
              <a:gd name="connsiteX21024" fmla="*/ 2276448 w 7714416"/>
              <a:gd name="connsiteY21024" fmla="*/ 759370 h 5282095"/>
              <a:gd name="connsiteX21025" fmla="*/ 2283761 w 7714416"/>
              <a:gd name="connsiteY21025" fmla="*/ 766390 h 5282095"/>
              <a:gd name="connsiteX21026" fmla="*/ 2280744 w 7714416"/>
              <a:gd name="connsiteY21026" fmla="*/ 768801 h 5282095"/>
              <a:gd name="connsiteX21027" fmla="*/ 2284272 w 7714416"/>
              <a:gd name="connsiteY21027" fmla="*/ 771127 h 5282095"/>
              <a:gd name="connsiteX21028" fmla="*/ 2284350 w 7714416"/>
              <a:gd name="connsiteY21028" fmla="*/ 786328 h 5282095"/>
              <a:gd name="connsiteX21029" fmla="*/ 2276330 w 7714416"/>
              <a:gd name="connsiteY21029" fmla="*/ 789699 h 5282095"/>
              <a:gd name="connsiteX21030" fmla="*/ 2269620 w 7714416"/>
              <a:gd name="connsiteY21030" fmla="*/ 789281 h 5282095"/>
              <a:gd name="connsiteX21031" fmla="*/ 2264260 w 7714416"/>
              <a:gd name="connsiteY21031" fmla="*/ 787155 h 5282095"/>
              <a:gd name="connsiteX21032" fmla="*/ 2257730 w 7714416"/>
              <a:gd name="connsiteY21032" fmla="*/ 779426 h 5282095"/>
              <a:gd name="connsiteX21033" fmla="*/ 2257579 w 7714416"/>
              <a:gd name="connsiteY21033" fmla="*/ 777775 h 5282095"/>
              <a:gd name="connsiteX21034" fmla="*/ 2256720 w 7714416"/>
              <a:gd name="connsiteY21034" fmla="*/ 777660 h 5282095"/>
              <a:gd name="connsiteX21035" fmla="*/ 2239381 w 7714416"/>
              <a:gd name="connsiteY21035" fmla="*/ 774854 h 5282095"/>
              <a:gd name="connsiteX21036" fmla="*/ 2256128 w 7714416"/>
              <a:gd name="connsiteY21036" fmla="*/ 769910 h 5282095"/>
              <a:gd name="connsiteX21037" fmla="*/ 2260641 w 7714416"/>
              <a:gd name="connsiteY21037" fmla="*/ 770776 h 5282095"/>
              <a:gd name="connsiteX21038" fmla="*/ 2266304 w 7714416"/>
              <a:gd name="connsiteY21038" fmla="*/ 767348 h 5282095"/>
              <a:gd name="connsiteX21039" fmla="*/ 2273722 w 7714416"/>
              <a:gd name="connsiteY21039" fmla="*/ 766231 h 5282095"/>
              <a:gd name="connsiteX21040" fmla="*/ 2271945 w 7714416"/>
              <a:gd name="connsiteY21040" fmla="*/ 766214 h 5282095"/>
              <a:gd name="connsiteX21041" fmla="*/ 2253324 w 7714416"/>
              <a:gd name="connsiteY21041" fmla="*/ 749379 h 5282095"/>
              <a:gd name="connsiteX21042" fmla="*/ 4553346 w 7714416"/>
              <a:gd name="connsiteY21042" fmla="*/ 748915 h 5282095"/>
              <a:gd name="connsiteX21043" fmla="*/ 4553874 w 7714416"/>
              <a:gd name="connsiteY21043" fmla="*/ 754691 h 5282095"/>
              <a:gd name="connsiteX21044" fmla="*/ 4540597 w 7714416"/>
              <a:gd name="connsiteY21044" fmla="*/ 756654 h 5282095"/>
              <a:gd name="connsiteX21045" fmla="*/ 4532309 w 7714416"/>
              <a:gd name="connsiteY21045" fmla="*/ 758803 h 5282095"/>
              <a:gd name="connsiteX21046" fmla="*/ 4542059 w 7714416"/>
              <a:gd name="connsiteY21046" fmla="*/ 754515 h 5282095"/>
              <a:gd name="connsiteX21047" fmla="*/ 4543284 w 7714416"/>
              <a:gd name="connsiteY21047" fmla="*/ 751048 h 5282095"/>
              <a:gd name="connsiteX21048" fmla="*/ 4553346 w 7714416"/>
              <a:gd name="connsiteY21048" fmla="*/ 748915 h 5282095"/>
              <a:gd name="connsiteX21049" fmla="*/ 1281591 w 7714416"/>
              <a:gd name="connsiteY21049" fmla="*/ 748908 h 5282095"/>
              <a:gd name="connsiteX21050" fmla="*/ 1285455 w 7714416"/>
              <a:gd name="connsiteY21050" fmla="*/ 751093 h 5282095"/>
              <a:gd name="connsiteX21051" fmla="*/ 1289300 w 7714416"/>
              <a:gd name="connsiteY21051" fmla="*/ 752239 h 5282095"/>
              <a:gd name="connsiteX21052" fmla="*/ 1290127 w 7714416"/>
              <a:gd name="connsiteY21052" fmla="*/ 755795 h 5282095"/>
              <a:gd name="connsiteX21053" fmla="*/ 1286529 w 7714416"/>
              <a:gd name="connsiteY21053" fmla="*/ 754831 h 5282095"/>
              <a:gd name="connsiteX21054" fmla="*/ 1277028 w 7714416"/>
              <a:gd name="connsiteY21054" fmla="*/ 750445 h 5282095"/>
              <a:gd name="connsiteX21055" fmla="*/ 1281591 w 7714416"/>
              <a:gd name="connsiteY21055" fmla="*/ 748908 h 5282095"/>
              <a:gd name="connsiteX21056" fmla="*/ 2336551 w 7714416"/>
              <a:gd name="connsiteY21056" fmla="*/ 748680 h 5282095"/>
              <a:gd name="connsiteX21057" fmla="*/ 2342552 w 7714416"/>
              <a:gd name="connsiteY21057" fmla="*/ 750633 h 5282095"/>
              <a:gd name="connsiteX21058" fmla="*/ 2327944 w 7714416"/>
              <a:gd name="connsiteY21058" fmla="*/ 773054 h 5282095"/>
              <a:gd name="connsiteX21059" fmla="*/ 2322687 w 7714416"/>
              <a:gd name="connsiteY21059" fmla="*/ 771645 h 5282095"/>
              <a:gd name="connsiteX21060" fmla="*/ 2316096 w 7714416"/>
              <a:gd name="connsiteY21060" fmla="*/ 767464 h 5282095"/>
              <a:gd name="connsiteX21061" fmla="*/ 2320696 w 7714416"/>
              <a:gd name="connsiteY21061" fmla="*/ 750296 h 5282095"/>
              <a:gd name="connsiteX21062" fmla="*/ 2336551 w 7714416"/>
              <a:gd name="connsiteY21062" fmla="*/ 748680 h 5282095"/>
              <a:gd name="connsiteX21063" fmla="*/ 1926471 w 7714416"/>
              <a:gd name="connsiteY21063" fmla="*/ 748396 h 5282095"/>
              <a:gd name="connsiteX21064" fmla="*/ 1911681 w 7714416"/>
              <a:gd name="connsiteY21064" fmla="*/ 763753 h 5282095"/>
              <a:gd name="connsiteX21065" fmla="*/ 1908374 w 7714416"/>
              <a:gd name="connsiteY21065" fmla="*/ 758382 h 5282095"/>
              <a:gd name="connsiteX21066" fmla="*/ 1926471 w 7714416"/>
              <a:gd name="connsiteY21066" fmla="*/ 748396 h 5282095"/>
              <a:gd name="connsiteX21067" fmla="*/ 1720478 w 7714416"/>
              <a:gd name="connsiteY21067" fmla="*/ 747941 h 5282095"/>
              <a:gd name="connsiteX21068" fmla="*/ 1724827 w 7714416"/>
              <a:gd name="connsiteY21068" fmla="*/ 751637 h 5282095"/>
              <a:gd name="connsiteX21069" fmla="*/ 1723155 w 7714416"/>
              <a:gd name="connsiteY21069" fmla="*/ 752338 h 5282095"/>
              <a:gd name="connsiteX21070" fmla="*/ 1724786 w 7714416"/>
              <a:gd name="connsiteY21070" fmla="*/ 752890 h 5282095"/>
              <a:gd name="connsiteX21071" fmla="*/ 1722486 w 7714416"/>
              <a:gd name="connsiteY21071" fmla="*/ 752619 h 5282095"/>
              <a:gd name="connsiteX21072" fmla="*/ 1721494 w 7714416"/>
              <a:gd name="connsiteY21072" fmla="*/ 751893 h 5282095"/>
              <a:gd name="connsiteX21073" fmla="*/ 1720478 w 7714416"/>
              <a:gd name="connsiteY21073" fmla="*/ 747941 h 5282095"/>
              <a:gd name="connsiteX21074" fmla="*/ 2354315 w 7714416"/>
              <a:gd name="connsiteY21074" fmla="*/ 747690 h 5282095"/>
              <a:gd name="connsiteX21075" fmla="*/ 2362464 w 7714416"/>
              <a:gd name="connsiteY21075" fmla="*/ 774829 h 5282095"/>
              <a:gd name="connsiteX21076" fmla="*/ 2352629 w 7714416"/>
              <a:gd name="connsiteY21076" fmla="*/ 761728 h 5282095"/>
              <a:gd name="connsiteX21077" fmla="*/ 2354315 w 7714416"/>
              <a:gd name="connsiteY21077" fmla="*/ 747690 h 5282095"/>
              <a:gd name="connsiteX21078" fmla="*/ 2417564 w 7714416"/>
              <a:gd name="connsiteY21078" fmla="*/ 747387 h 5282095"/>
              <a:gd name="connsiteX21079" fmla="*/ 2413271 w 7714416"/>
              <a:gd name="connsiteY21079" fmla="*/ 755667 h 5282095"/>
              <a:gd name="connsiteX21080" fmla="*/ 2405680 w 7714416"/>
              <a:gd name="connsiteY21080" fmla="*/ 748573 h 5282095"/>
              <a:gd name="connsiteX21081" fmla="*/ 2417564 w 7714416"/>
              <a:gd name="connsiteY21081" fmla="*/ 747387 h 5282095"/>
              <a:gd name="connsiteX21082" fmla="*/ 2143294 w 7714416"/>
              <a:gd name="connsiteY21082" fmla="*/ 746490 h 5282095"/>
              <a:gd name="connsiteX21083" fmla="*/ 2153187 w 7714416"/>
              <a:gd name="connsiteY21083" fmla="*/ 748998 h 5282095"/>
              <a:gd name="connsiteX21084" fmla="*/ 2153578 w 7714416"/>
              <a:gd name="connsiteY21084" fmla="*/ 757498 h 5282095"/>
              <a:gd name="connsiteX21085" fmla="*/ 2148957 w 7714416"/>
              <a:gd name="connsiteY21085" fmla="*/ 759250 h 5282095"/>
              <a:gd name="connsiteX21086" fmla="*/ 2138830 w 7714416"/>
              <a:gd name="connsiteY21086" fmla="*/ 759412 h 5282095"/>
              <a:gd name="connsiteX21087" fmla="*/ 2139400 w 7714416"/>
              <a:gd name="connsiteY21087" fmla="*/ 760600 h 5282095"/>
              <a:gd name="connsiteX21088" fmla="*/ 2134970 w 7714416"/>
              <a:gd name="connsiteY21088" fmla="*/ 753892 h 5282095"/>
              <a:gd name="connsiteX21089" fmla="*/ 2143294 w 7714416"/>
              <a:gd name="connsiteY21089" fmla="*/ 746490 h 5282095"/>
              <a:gd name="connsiteX21090" fmla="*/ 1884157 w 7714416"/>
              <a:gd name="connsiteY21090" fmla="*/ 743613 h 5282095"/>
              <a:gd name="connsiteX21091" fmla="*/ 1897130 w 7714416"/>
              <a:gd name="connsiteY21091" fmla="*/ 750539 h 5282095"/>
              <a:gd name="connsiteX21092" fmla="*/ 1889321 w 7714416"/>
              <a:gd name="connsiteY21092" fmla="*/ 760866 h 5282095"/>
              <a:gd name="connsiteX21093" fmla="*/ 1876931 w 7714416"/>
              <a:gd name="connsiteY21093" fmla="*/ 745126 h 5282095"/>
              <a:gd name="connsiteX21094" fmla="*/ 1884157 w 7714416"/>
              <a:gd name="connsiteY21094" fmla="*/ 743613 h 5282095"/>
              <a:gd name="connsiteX21095" fmla="*/ 4851965 w 7714416"/>
              <a:gd name="connsiteY21095" fmla="*/ 743483 h 5282095"/>
              <a:gd name="connsiteX21096" fmla="*/ 4851645 w 7714416"/>
              <a:gd name="connsiteY21096" fmla="*/ 747998 h 5282095"/>
              <a:gd name="connsiteX21097" fmla="*/ 4850671 w 7714416"/>
              <a:gd name="connsiteY21097" fmla="*/ 748311 h 5282095"/>
              <a:gd name="connsiteX21098" fmla="*/ 4854857 w 7714416"/>
              <a:gd name="connsiteY21098" fmla="*/ 751503 h 5282095"/>
              <a:gd name="connsiteX21099" fmla="*/ 4848245 w 7714416"/>
              <a:gd name="connsiteY21099" fmla="*/ 758472 h 5282095"/>
              <a:gd name="connsiteX21100" fmla="*/ 4837174 w 7714416"/>
              <a:gd name="connsiteY21100" fmla="*/ 749985 h 5282095"/>
              <a:gd name="connsiteX21101" fmla="*/ 4840107 w 7714416"/>
              <a:gd name="connsiteY21101" fmla="*/ 747895 h 5282095"/>
              <a:gd name="connsiteX21102" fmla="*/ 4838784 w 7714416"/>
              <a:gd name="connsiteY21102" fmla="*/ 743976 h 5282095"/>
              <a:gd name="connsiteX21103" fmla="*/ 4851965 w 7714416"/>
              <a:gd name="connsiteY21103" fmla="*/ 743483 h 5282095"/>
              <a:gd name="connsiteX21104" fmla="*/ 2768322 w 7714416"/>
              <a:gd name="connsiteY21104" fmla="*/ 743275 h 5282095"/>
              <a:gd name="connsiteX21105" fmla="*/ 2782940 w 7714416"/>
              <a:gd name="connsiteY21105" fmla="*/ 746273 h 5282095"/>
              <a:gd name="connsiteX21106" fmla="*/ 2789499 w 7714416"/>
              <a:gd name="connsiteY21106" fmla="*/ 753895 h 5282095"/>
              <a:gd name="connsiteX21107" fmla="*/ 2781500 w 7714416"/>
              <a:gd name="connsiteY21107" fmla="*/ 754972 h 5282095"/>
              <a:gd name="connsiteX21108" fmla="*/ 2774280 w 7714416"/>
              <a:gd name="connsiteY21108" fmla="*/ 749817 h 5282095"/>
              <a:gd name="connsiteX21109" fmla="*/ 2768843 w 7714416"/>
              <a:gd name="connsiteY21109" fmla="*/ 746865 h 5282095"/>
              <a:gd name="connsiteX21110" fmla="*/ 2768322 w 7714416"/>
              <a:gd name="connsiteY21110" fmla="*/ 743275 h 5282095"/>
              <a:gd name="connsiteX21111" fmla="*/ 872931 w 7714416"/>
              <a:gd name="connsiteY21111" fmla="*/ 742220 h 5282095"/>
              <a:gd name="connsiteX21112" fmla="*/ 876426 w 7714416"/>
              <a:gd name="connsiteY21112" fmla="*/ 742466 h 5282095"/>
              <a:gd name="connsiteX21113" fmla="*/ 876324 w 7714416"/>
              <a:gd name="connsiteY21113" fmla="*/ 747269 h 5282095"/>
              <a:gd name="connsiteX21114" fmla="*/ 873118 w 7714416"/>
              <a:gd name="connsiteY21114" fmla="*/ 745950 h 5282095"/>
              <a:gd name="connsiteX21115" fmla="*/ 872802 w 7714416"/>
              <a:gd name="connsiteY21115" fmla="*/ 747130 h 5282095"/>
              <a:gd name="connsiteX21116" fmla="*/ 870161 w 7714416"/>
              <a:gd name="connsiteY21116" fmla="*/ 744812 h 5282095"/>
              <a:gd name="connsiteX21117" fmla="*/ 870448 w 7714416"/>
              <a:gd name="connsiteY21117" fmla="*/ 743739 h 5282095"/>
              <a:gd name="connsiteX21118" fmla="*/ 870229 w 7714416"/>
              <a:gd name="connsiteY21118" fmla="*/ 743449 h 5282095"/>
              <a:gd name="connsiteX21119" fmla="*/ 872931 w 7714416"/>
              <a:gd name="connsiteY21119" fmla="*/ 742220 h 5282095"/>
              <a:gd name="connsiteX21120" fmla="*/ 1775737 w 7714416"/>
              <a:gd name="connsiteY21120" fmla="*/ 742048 h 5282095"/>
              <a:gd name="connsiteX21121" fmla="*/ 1787839 w 7714416"/>
              <a:gd name="connsiteY21121" fmla="*/ 758860 h 5282095"/>
              <a:gd name="connsiteX21122" fmla="*/ 1767482 w 7714416"/>
              <a:gd name="connsiteY21122" fmla="*/ 758465 h 5282095"/>
              <a:gd name="connsiteX21123" fmla="*/ 1766414 w 7714416"/>
              <a:gd name="connsiteY21123" fmla="*/ 756914 h 5282095"/>
              <a:gd name="connsiteX21124" fmla="*/ 1764552 w 7714416"/>
              <a:gd name="connsiteY21124" fmla="*/ 757220 h 5282095"/>
              <a:gd name="connsiteX21125" fmla="*/ 1752004 w 7714416"/>
              <a:gd name="connsiteY21125" fmla="*/ 755353 h 5282095"/>
              <a:gd name="connsiteX21126" fmla="*/ 1758023 w 7714416"/>
              <a:gd name="connsiteY21126" fmla="*/ 749491 h 5282095"/>
              <a:gd name="connsiteX21127" fmla="*/ 1763672 w 7714416"/>
              <a:gd name="connsiteY21127" fmla="*/ 750544 h 5282095"/>
              <a:gd name="connsiteX21128" fmla="*/ 1764229 w 7714416"/>
              <a:gd name="connsiteY21128" fmla="*/ 747359 h 5282095"/>
              <a:gd name="connsiteX21129" fmla="*/ 1775737 w 7714416"/>
              <a:gd name="connsiteY21129" fmla="*/ 742048 h 5282095"/>
              <a:gd name="connsiteX21130" fmla="*/ 1986121 w 7714416"/>
              <a:gd name="connsiteY21130" fmla="*/ 741609 h 5282095"/>
              <a:gd name="connsiteX21131" fmla="*/ 1983034 w 7714416"/>
              <a:gd name="connsiteY21131" fmla="*/ 754236 h 5282095"/>
              <a:gd name="connsiteX21132" fmla="*/ 1986121 w 7714416"/>
              <a:gd name="connsiteY21132" fmla="*/ 741609 h 5282095"/>
              <a:gd name="connsiteX21133" fmla="*/ 1630229 w 7714416"/>
              <a:gd name="connsiteY21133" fmla="*/ 741210 h 5282095"/>
              <a:gd name="connsiteX21134" fmla="*/ 1630987 w 7714416"/>
              <a:gd name="connsiteY21134" fmla="*/ 750987 h 5282095"/>
              <a:gd name="connsiteX21135" fmla="*/ 1624278 w 7714416"/>
              <a:gd name="connsiteY21135" fmla="*/ 741715 h 5282095"/>
              <a:gd name="connsiteX21136" fmla="*/ 1630229 w 7714416"/>
              <a:gd name="connsiteY21136" fmla="*/ 741210 h 5282095"/>
              <a:gd name="connsiteX21137" fmla="*/ 4674148 w 7714416"/>
              <a:gd name="connsiteY21137" fmla="*/ 740803 h 5282095"/>
              <a:gd name="connsiteX21138" fmla="*/ 4685755 w 7714416"/>
              <a:gd name="connsiteY21138" fmla="*/ 748398 h 5282095"/>
              <a:gd name="connsiteX21139" fmla="*/ 4677562 w 7714416"/>
              <a:gd name="connsiteY21139" fmla="*/ 752412 h 5282095"/>
              <a:gd name="connsiteX21140" fmla="*/ 4672262 w 7714416"/>
              <a:gd name="connsiteY21140" fmla="*/ 746737 h 5282095"/>
              <a:gd name="connsiteX21141" fmla="*/ 4674148 w 7714416"/>
              <a:gd name="connsiteY21141" fmla="*/ 740803 h 5282095"/>
              <a:gd name="connsiteX21142" fmla="*/ 4532350 w 7714416"/>
              <a:gd name="connsiteY21142" fmla="*/ 739838 h 5282095"/>
              <a:gd name="connsiteX21143" fmla="*/ 4536590 w 7714416"/>
              <a:gd name="connsiteY21143" fmla="*/ 755005 h 5282095"/>
              <a:gd name="connsiteX21144" fmla="*/ 4529852 w 7714416"/>
              <a:gd name="connsiteY21144" fmla="*/ 754695 h 5282095"/>
              <a:gd name="connsiteX21145" fmla="*/ 4525102 w 7714416"/>
              <a:gd name="connsiteY21145" fmla="*/ 752502 h 5282095"/>
              <a:gd name="connsiteX21146" fmla="*/ 4522076 w 7714416"/>
              <a:gd name="connsiteY21146" fmla="*/ 743870 h 5282095"/>
              <a:gd name="connsiteX21147" fmla="*/ 4532350 w 7714416"/>
              <a:gd name="connsiteY21147" fmla="*/ 739838 h 5282095"/>
              <a:gd name="connsiteX21148" fmla="*/ 2899875 w 7714416"/>
              <a:gd name="connsiteY21148" fmla="*/ 739310 h 5282095"/>
              <a:gd name="connsiteX21149" fmla="*/ 2900198 w 7714416"/>
              <a:gd name="connsiteY21149" fmla="*/ 740317 h 5282095"/>
              <a:gd name="connsiteX21150" fmla="*/ 2903519 w 7714416"/>
              <a:gd name="connsiteY21150" fmla="*/ 741206 h 5282095"/>
              <a:gd name="connsiteX21151" fmla="*/ 2909405 w 7714416"/>
              <a:gd name="connsiteY21151" fmla="*/ 743588 h 5282095"/>
              <a:gd name="connsiteX21152" fmla="*/ 2907109 w 7714416"/>
              <a:gd name="connsiteY21152" fmla="*/ 739983 h 5282095"/>
              <a:gd name="connsiteX21153" fmla="*/ 2903616 w 7714416"/>
              <a:gd name="connsiteY21153" fmla="*/ 739736 h 5282095"/>
              <a:gd name="connsiteX21154" fmla="*/ 2081614 w 7714416"/>
              <a:gd name="connsiteY21154" fmla="*/ 739043 h 5282095"/>
              <a:gd name="connsiteX21155" fmla="*/ 2132868 w 7714416"/>
              <a:gd name="connsiteY21155" fmla="*/ 773914 h 5282095"/>
              <a:gd name="connsiteX21156" fmla="*/ 2133530 w 7714416"/>
              <a:gd name="connsiteY21156" fmla="*/ 771446 h 5282095"/>
              <a:gd name="connsiteX21157" fmla="*/ 2151457 w 7714416"/>
              <a:gd name="connsiteY21157" fmla="*/ 776480 h 5282095"/>
              <a:gd name="connsiteX21158" fmla="*/ 2156247 w 7714416"/>
              <a:gd name="connsiteY21158" fmla="*/ 777418 h 5282095"/>
              <a:gd name="connsiteX21159" fmla="*/ 2153951 w 7714416"/>
              <a:gd name="connsiteY21159" fmla="*/ 773814 h 5282095"/>
              <a:gd name="connsiteX21160" fmla="*/ 2154886 w 7714416"/>
              <a:gd name="connsiteY21160" fmla="*/ 765898 h 5282095"/>
              <a:gd name="connsiteX21161" fmla="*/ 2182933 w 7714416"/>
              <a:gd name="connsiteY21161" fmla="*/ 759728 h 5282095"/>
              <a:gd name="connsiteX21162" fmla="*/ 2186883 w 7714416"/>
              <a:gd name="connsiteY21162" fmla="*/ 761592 h 5282095"/>
              <a:gd name="connsiteX21163" fmla="*/ 2194497 w 7714416"/>
              <a:gd name="connsiteY21163" fmla="*/ 763058 h 5282095"/>
              <a:gd name="connsiteX21164" fmla="*/ 2192218 w 7714416"/>
              <a:gd name="connsiteY21164" fmla="*/ 778202 h 5282095"/>
              <a:gd name="connsiteX21165" fmla="*/ 2172968 w 7714416"/>
              <a:gd name="connsiteY21165" fmla="*/ 786959 h 5282095"/>
              <a:gd name="connsiteX21166" fmla="*/ 2167405 w 7714416"/>
              <a:gd name="connsiteY21166" fmla="*/ 785583 h 5282095"/>
              <a:gd name="connsiteX21167" fmla="*/ 2164825 w 7714416"/>
              <a:gd name="connsiteY21167" fmla="*/ 788572 h 5282095"/>
              <a:gd name="connsiteX21168" fmla="*/ 2145908 w 7714416"/>
              <a:gd name="connsiteY21168" fmla="*/ 788333 h 5282095"/>
              <a:gd name="connsiteX21169" fmla="*/ 2141234 w 7714416"/>
              <a:gd name="connsiteY21169" fmla="*/ 786966 h 5282095"/>
              <a:gd name="connsiteX21170" fmla="*/ 2144292 w 7714416"/>
              <a:gd name="connsiteY21170" fmla="*/ 792155 h 5282095"/>
              <a:gd name="connsiteX21171" fmla="*/ 2120161 w 7714416"/>
              <a:gd name="connsiteY21171" fmla="*/ 794775 h 5282095"/>
              <a:gd name="connsiteX21172" fmla="*/ 2100195 w 7714416"/>
              <a:gd name="connsiteY21172" fmla="*/ 785170 h 5282095"/>
              <a:gd name="connsiteX21173" fmla="*/ 2096095 w 7714416"/>
              <a:gd name="connsiteY21173" fmla="*/ 781656 h 5282095"/>
              <a:gd name="connsiteX21174" fmla="*/ 2091980 w 7714416"/>
              <a:gd name="connsiteY21174" fmla="*/ 782623 h 5282095"/>
              <a:gd name="connsiteX21175" fmla="*/ 2088067 w 7714416"/>
              <a:gd name="connsiteY21175" fmla="*/ 782840 h 5282095"/>
              <a:gd name="connsiteX21176" fmla="*/ 2094387 w 7714416"/>
              <a:gd name="connsiteY21176" fmla="*/ 780279 h 5282095"/>
              <a:gd name="connsiteX21177" fmla="*/ 2082000 w 7714416"/>
              <a:gd name="connsiteY21177" fmla="*/ 770060 h 5282095"/>
              <a:gd name="connsiteX21178" fmla="*/ 2071659 w 7714416"/>
              <a:gd name="connsiteY21178" fmla="*/ 757744 h 5282095"/>
              <a:gd name="connsiteX21179" fmla="*/ 2070064 w 7714416"/>
              <a:gd name="connsiteY21179" fmla="*/ 759271 h 5282095"/>
              <a:gd name="connsiteX21180" fmla="*/ 2068561 w 7714416"/>
              <a:gd name="connsiteY21180" fmla="*/ 753808 h 5282095"/>
              <a:gd name="connsiteX21181" fmla="*/ 2068313 w 7714416"/>
              <a:gd name="connsiteY21181" fmla="*/ 753626 h 5282095"/>
              <a:gd name="connsiteX21182" fmla="*/ 2061532 w 7714416"/>
              <a:gd name="connsiteY21182" fmla="*/ 740195 h 5282095"/>
              <a:gd name="connsiteX21183" fmla="*/ 2081614 w 7714416"/>
              <a:gd name="connsiteY21183" fmla="*/ 739043 h 5282095"/>
              <a:gd name="connsiteX21184" fmla="*/ 1956938 w 7714416"/>
              <a:gd name="connsiteY21184" fmla="*/ 738734 h 5282095"/>
              <a:gd name="connsiteX21185" fmla="*/ 1970582 w 7714416"/>
              <a:gd name="connsiteY21185" fmla="*/ 742045 h 5282095"/>
              <a:gd name="connsiteX21186" fmla="*/ 1962886 w 7714416"/>
              <a:gd name="connsiteY21186" fmla="*/ 746423 h 5282095"/>
              <a:gd name="connsiteX21187" fmla="*/ 1956938 w 7714416"/>
              <a:gd name="connsiteY21187" fmla="*/ 738734 h 5282095"/>
              <a:gd name="connsiteX21188" fmla="*/ 2896555 w 7714416"/>
              <a:gd name="connsiteY21188" fmla="*/ 738420 h 5282095"/>
              <a:gd name="connsiteX21189" fmla="*/ 2896325 w 7714416"/>
              <a:gd name="connsiteY21189" fmla="*/ 739279 h 5282095"/>
              <a:gd name="connsiteX21190" fmla="*/ 2899645 w 7714416"/>
              <a:gd name="connsiteY21190" fmla="*/ 740168 h 5282095"/>
              <a:gd name="connsiteX21191" fmla="*/ 2898101 w 7714416"/>
              <a:gd name="connsiteY21191" fmla="*/ 739294 h 5282095"/>
              <a:gd name="connsiteX21192" fmla="*/ 2897823 w 7714416"/>
              <a:gd name="connsiteY21192" fmla="*/ 739219 h 5282095"/>
              <a:gd name="connsiteX21193" fmla="*/ 2896555 w 7714416"/>
              <a:gd name="connsiteY21193" fmla="*/ 738420 h 5282095"/>
              <a:gd name="connsiteX21194" fmla="*/ 1471440 w 7714416"/>
              <a:gd name="connsiteY21194" fmla="*/ 737678 h 5282095"/>
              <a:gd name="connsiteX21195" fmla="*/ 1474879 w 7714416"/>
              <a:gd name="connsiteY21195" fmla="*/ 743659 h 5282095"/>
              <a:gd name="connsiteX21196" fmla="*/ 1471843 w 7714416"/>
              <a:gd name="connsiteY21196" fmla="*/ 745029 h 5282095"/>
              <a:gd name="connsiteX21197" fmla="*/ 1466441 w 7714416"/>
              <a:gd name="connsiteY21197" fmla="*/ 744158 h 5282095"/>
              <a:gd name="connsiteX21198" fmla="*/ 1463268 w 7714416"/>
              <a:gd name="connsiteY21198" fmla="*/ 739397 h 5282095"/>
              <a:gd name="connsiteX21199" fmla="*/ 1466334 w 7714416"/>
              <a:gd name="connsiteY21199" fmla="*/ 737919 h 5282095"/>
              <a:gd name="connsiteX21200" fmla="*/ 1471440 w 7714416"/>
              <a:gd name="connsiteY21200" fmla="*/ 737678 h 5282095"/>
              <a:gd name="connsiteX21201" fmla="*/ 2630175 w 7714416"/>
              <a:gd name="connsiteY21201" fmla="*/ 737540 h 5282095"/>
              <a:gd name="connsiteX21202" fmla="*/ 2645616 w 7714416"/>
              <a:gd name="connsiteY21202" fmla="*/ 738572 h 5282095"/>
              <a:gd name="connsiteX21203" fmla="*/ 2635932 w 7714416"/>
              <a:gd name="connsiteY21203" fmla="*/ 744832 h 5282095"/>
              <a:gd name="connsiteX21204" fmla="*/ 2631372 w 7714416"/>
              <a:gd name="connsiteY21204" fmla="*/ 743036 h 5282095"/>
              <a:gd name="connsiteX21205" fmla="*/ 2630175 w 7714416"/>
              <a:gd name="connsiteY21205" fmla="*/ 737540 h 5282095"/>
              <a:gd name="connsiteX21206" fmla="*/ 1715555 w 7714416"/>
              <a:gd name="connsiteY21206" fmla="*/ 737537 h 5282095"/>
              <a:gd name="connsiteX21207" fmla="*/ 1720201 w 7714416"/>
              <a:gd name="connsiteY21207" fmla="*/ 747867 h 5282095"/>
              <a:gd name="connsiteX21208" fmla="*/ 1714567 w 7714416"/>
              <a:gd name="connsiteY21208" fmla="*/ 742331 h 5282095"/>
              <a:gd name="connsiteX21209" fmla="*/ 1715555 w 7714416"/>
              <a:gd name="connsiteY21209" fmla="*/ 737537 h 5282095"/>
              <a:gd name="connsiteX21210" fmla="*/ 1251740 w 7714416"/>
              <a:gd name="connsiteY21210" fmla="*/ 737459 h 5282095"/>
              <a:gd name="connsiteX21211" fmla="*/ 1260444 w 7714416"/>
              <a:gd name="connsiteY21211" fmla="*/ 738181 h 5282095"/>
              <a:gd name="connsiteX21212" fmla="*/ 1268364 w 7714416"/>
              <a:gd name="connsiteY21212" fmla="*/ 748469 h 5282095"/>
              <a:gd name="connsiteX21213" fmla="*/ 1261731 w 7714416"/>
              <a:gd name="connsiteY21213" fmla="*/ 748877 h 5282095"/>
              <a:gd name="connsiteX21214" fmla="*/ 1251547 w 7714416"/>
              <a:gd name="connsiteY21214" fmla="*/ 740398 h 5282095"/>
              <a:gd name="connsiteX21215" fmla="*/ 1251740 w 7714416"/>
              <a:gd name="connsiteY21215" fmla="*/ 737459 h 5282095"/>
              <a:gd name="connsiteX21216" fmla="*/ 1535636 w 7714416"/>
              <a:gd name="connsiteY21216" fmla="*/ 737168 h 5282095"/>
              <a:gd name="connsiteX21217" fmla="*/ 1608760 w 7714416"/>
              <a:gd name="connsiteY21217" fmla="*/ 775277 h 5282095"/>
              <a:gd name="connsiteX21218" fmla="*/ 1595370 w 7714416"/>
              <a:gd name="connsiteY21218" fmla="*/ 783189 h 5282095"/>
              <a:gd name="connsiteX21219" fmla="*/ 1552647 w 7714416"/>
              <a:gd name="connsiteY21219" fmla="*/ 751156 h 5282095"/>
              <a:gd name="connsiteX21220" fmla="*/ 1535636 w 7714416"/>
              <a:gd name="connsiteY21220" fmla="*/ 737168 h 5282095"/>
              <a:gd name="connsiteX21221" fmla="*/ 2614341 w 7714416"/>
              <a:gd name="connsiteY21221" fmla="*/ 736863 h 5282095"/>
              <a:gd name="connsiteX21222" fmla="*/ 2620504 w 7714416"/>
              <a:gd name="connsiteY21222" fmla="*/ 739318 h 5282095"/>
              <a:gd name="connsiteX21223" fmla="*/ 2620810 w 7714416"/>
              <a:gd name="connsiteY21223" fmla="*/ 739286 h 5282095"/>
              <a:gd name="connsiteX21224" fmla="*/ 2621334 w 7714416"/>
              <a:gd name="connsiteY21224" fmla="*/ 739541 h 5282095"/>
              <a:gd name="connsiteX21225" fmla="*/ 2621859 w 7714416"/>
              <a:gd name="connsiteY21225" fmla="*/ 739796 h 5282095"/>
              <a:gd name="connsiteX21226" fmla="*/ 2622326 w 7714416"/>
              <a:gd name="connsiteY21226" fmla="*/ 740266 h 5282095"/>
              <a:gd name="connsiteX21227" fmla="*/ 2626685 w 7714416"/>
              <a:gd name="connsiteY21227" fmla="*/ 742814 h 5282095"/>
              <a:gd name="connsiteX21228" fmla="*/ 2629143 w 7714416"/>
              <a:gd name="connsiteY21228" fmla="*/ 746923 h 5282095"/>
              <a:gd name="connsiteX21229" fmla="*/ 2626078 w 7714416"/>
              <a:gd name="connsiteY21229" fmla="*/ 748403 h 5282095"/>
              <a:gd name="connsiteX21230" fmla="*/ 2630171 w 7714416"/>
              <a:gd name="connsiteY21230" fmla="*/ 749728 h 5282095"/>
              <a:gd name="connsiteX21231" fmla="*/ 2633862 w 7714416"/>
              <a:gd name="connsiteY21231" fmla="*/ 752558 h 5282095"/>
              <a:gd name="connsiteX21232" fmla="*/ 2637692 w 7714416"/>
              <a:gd name="connsiteY21232" fmla="*/ 758184 h 5282095"/>
              <a:gd name="connsiteX21233" fmla="*/ 2640481 w 7714416"/>
              <a:gd name="connsiteY21233" fmla="*/ 756632 h 5282095"/>
              <a:gd name="connsiteX21234" fmla="*/ 2644728 w 7714416"/>
              <a:gd name="connsiteY21234" fmla="*/ 756274 h 5282095"/>
              <a:gd name="connsiteX21235" fmla="*/ 2648429 w 7714416"/>
              <a:gd name="connsiteY21235" fmla="*/ 757956 h 5282095"/>
              <a:gd name="connsiteX21236" fmla="*/ 2648696 w 7714416"/>
              <a:gd name="connsiteY21236" fmla="*/ 759178 h 5282095"/>
              <a:gd name="connsiteX21237" fmla="*/ 2649234 w 7714416"/>
              <a:gd name="connsiteY21237" fmla="*/ 763807 h 5282095"/>
              <a:gd name="connsiteX21238" fmla="*/ 2645138 w 7714416"/>
              <a:gd name="connsiteY21238" fmla="*/ 765814 h 5282095"/>
              <a:gd name="connsiteX21239" fmla="*/ 2641254 w 7714416"/>
              <a:gd name="connsiteY21239" fmla="*/ 765923 h 5282095"/>
              <a:gd name="connsiteX21240" fmla="*/ 2641433 w 7714416"/>
              <a:gd name="connsiteY21240" fmla="*/ 767466 h 5282095"/>
              <a:gd name="connsiteX21241" fmla="*/ 2634228 w 7714416"/>
              <a:gd name="connsiteY21241" fmla="*/ 775542 h 5282095"/>
              <a:gd name="connsiteX21242" fmla="*/ 2632625 w 7714416"/>
              <a:gd name="connsiteY21242" fmla="*/ 774882 h 5282095"/>
              <a:gd name="connsiteX21243" fmla="*/ 2633466 w 7714416"/>
              <a:gd name="connsiteY21243" fmla="*/ 782812 h 5282095"/>
              <a:gd name="connsiteX21244" fmla="*/ 2627109 w 7714416"/>
              <a:gd name="connsiteY21244" fmla="*/ 783293 h 5282095"/>
              <a:gd name="connsiteX21245" fmla="*/ 2620468 w 7714416"/>
              <a:gd name="connsiteY21245" fmla="*/ 781514 h 5282095"/>
              <a:gd name="connsiteX21246" fmla="*/ 2609565 w 7714416"/>
              <a:gd name="connsiteY21246" fmla="*/ 775718 h 5282095"/>
              <a:gd name="connsiteX21247" fmla="*/ 2606532 w 7714416"/>
              <a:gd name="connsiteY21247" fmla="*/ 773756 h 5282095"/>
              <a:gd name="connsiteX21248" fmla="*/ 2605968 w 7714416"/>
              <a:gd name="connsiteY21248" fmla="*/ 774754 h 5282095"/>
              <a:gd name="connsiteX21249" fmla="*/ 2604681 w 7714416"/>
              <a:gd name="connsiteY21249" fmla="*/ 772914 h 5282095"/>
              <a:gd name="connsiteX21250" fmla="*/ 2604405 w 7714416"/>
              <a:gd name="connsiteY21250" fmla="*/ 772840 h 5282095"/>
              <a:gd name="connsiteX21251" fmla="*/ 2602802 w 7714416"/>
              <a:gd name="connsiteY21251" fmla="*/ 772181 h 5282095"/>
              <a:gd name="connsiteX21252" fmla="*/ 2598464 w 7714416"/>
              <a:gd name="connsiteY21252" fmla="*/ 767339 h 5282095"/>
              <a:gd name="connsiteX21253" fmla="*/ 2600319 w 7714416"/>
              <a:gd name="connsiteY21253" fmla="*/ 764846 h 5282095"/>
              <a:gd name="connsiteX21254" fmla="*/ 2609281 w 7714416"/>
              <a:gd name="connsiteY21254" fmla="*/ 764602 h 5282095"/>
              <a:gd name="connsiteX21255" fmla="*/ 2609816 w 7714416"/>
              <a:gd name="connsiteY21255" fmla="*/ 763710 h 5282095"/>
              <a:gd name="connsiteX21256" fmla="*/ 2608577 w 7714416"/>
              <a:gd name="connsiteY21256" fmla="*/ 762803 h 5282095"/>
              <a:gd name="connsiteX21257" fmla="*/ 2610697 w 7714416"/>
              <a:gd name="connsiteY21257" fmla="*/ 761531 h 5282095"/>
              <a:gd name="connsiteX21258" fmla="*/ 2611722 w 7714416"/>
              <a:gd name="connsiteY21258" fmla="*/ 758816 h 5282095"/>
              <a:gd name="connsiteX21259" fmla="*/ 2612552 w 7714416"/>
              <a:gd name="connsiteY21259" fmla="*/ 750182 h 5282095"/>
              <a:gd name="connsiteX21260" fmla="*/ 2616803 w 7714416"/>
              <a:gd name="connsiteY21260" fmla="*/ 746492 h 5282095"/>
              <a:gd name="connsiteX21261" fmla="*/ 2613504 w 7714416"/>
              <a:gd name="connsiteY21261" fmla="*/ 743308 h 5282095"/>
              <a:gd name="connsiteX21262" fmla="*/ 2614118 w 7714416"/>
              <a:gd name="connsiteY21262" fmla="*/ 739908 h 5282095"/>
              <a:gd name="connsiteX21263" fmla="*/ 2613795 w 7714416"/>
              <a:gd name="connsiteY21263" fmla="*/ 738901 h 5282095"/>
              <a:gd name="connsiteX21264" fmla="*/ 2614176 w 7714416"/>
              <a:gd name="connsiteY21264" fmla="*/ 739693 h 5282095"/>
              <a:gd name="connsiteX21265" fmla="*/ 1775351 w 7714416"/>
              <a:gd name="connsiteY21265" fmla="*/ 735734 h 5282095"/>
              <a:gd name="connsiteX21266" fmla="*/ 1782453 w 7714416"/>
              <a:gd name="connsiteY21266" fmla="*/ 735797 h 5282095"/>
              <a:gd name="connsiteX21267" fmla="*/ 1783164 w 7714416"/>
              <a:gd name="connsiteY21267" fmla="*/ 739783 h 5282095"/>
              <a:gd name="connsiteX21268" fmla="*/ 1780196 w 7714416"/>
              <a:gd name="connsiteY21268" fmla="*/ 739792 h 5282095"/>
              <a:gd name="connsiteX21269" fmla="*/ 1777544 w 7714416"/>
              <a:gd name="connsiteY21269" fmla="*/ 738620 h 5282095"/>
              <a:gd name="connsiteX21270" fmla="*/ 1775351 w 7714416"/>
              <a:gd name="connsiteY21270" fmla="*/ 735734 h 5282095"/>
              <a:gd name="connsiteX21271" fmla="*/ 2318099 w 7714416"/>
              <a:gd name="connsiteY21271" fmla="*/ 734535 h 5282095"/>
              <a:gd name="connsiteX21272" fmla="*/ 2320981 w 7714416"/>
              <a:gd name="connsiteY21272" fmla="*/ 734848 h 5282095"/>
              <a:gd name="connsiteX21273" fmla="*/ 2324003 w 7714416"/>
              <a:gd name="connsiteY21273" fmla="*/ 737958 h 5282095"/>
              <a:gd name="connsiteX21274" fmla="*/ 2318275 w 7714416"/>
              <a:gd name="connsiteY21274" fmla="*/ 739412 h 5282095"/>
              <a:gd name="connsiteX21275" fmla="*/ 2318099 w 7714416"/>
              <a:gd name="connsiteY21275" fmla="*/ 734535 h 5282095"/>
              <a:gd name="connsiteX21276" fmla="*/ 2516993 w 7714416"/>
              <a:gd name="connsiteY21276" fmla="*/ 734511 h 5282095"/>
              <a:gd name="connsiteX21277" fmla="*/ 2529055 w 7714416"/>
              <a:gd name="connsiteY21277" fmla="*/ 735285 h 5282095"/>
              <a:gd name="connsiteX21278" fmla="*/ 2533860 w 7714416"/>
              <a:gd name="connsiteY21278" fmla="*/ 740598 h 5282095"/>
              <a:gd name="connsiteX21279" fmla="*/ 2511163 w 7714416"/>
              <a:gd name="connsiteY21279" fmla="*/ 741185 h 5282095"/>
              <a:gd name="connsiteX21280" fmla="*/ 2516993 w 7714416"/>
              <a:gd name="connsiteY21280" fmla="*/ 734511 h 5282095"/>
              <a:gd name="connsiteX21281" fmla="*/ 5082765 w 7714416"/>
              <a:gd name="connsiteY21281" fmla="*/ 734370 h 5282095"/>
              <a:gd name="connsiteX21282" fmla="*/ 5085453 w 7714416"/>
              <a:gd name="connsiteY21282" fmla="*/ 746475 h 5282095"/>
              <a:gd name="connsiteX21283" fmla="*/ 5082237 w 7714416"/>
              <a:gd name="connsiteY21283" fmla="*/ 746304 h 5282095"/>
              <a:gd name="connsiteX21284" fmla="*/ 5077792 w 7714416"/>
              <a:gd name="connsiteY21284" fmla="*/ 744077 h 5282095"/>
              <a:gd name="connsiteX21285" fmla="*/ 5082765 w 7714416"/>
              <a:gd name="connsiteY21285" fmla="*/ 734370 h 5282095"/>
              <a:gd name="connsiteX21286" fmla="*/ 2554531 w 7714416"/>
              <a:gd name="connsiteY21286" fmla="*/ 734291 h 5282095"/>
              <a:gd name="connsiteX21287" fmla="*/ 2551354 w 7714416"/>
              <a:gd name="connsiteY21287" fmla="*/ 741720 h 5282095"/>
              <a:gd name="connsiteX21288" fmla="*/ 2542101 w 7714416"/>
              <a:gd name="connsiteY21288" fmla="*/ 737516 h 5282095"/>
              <a:gd name="connsiteX21289" fmla="*/ 2554531 w 7714416"/>
              <a:gd name="connsiteY21289" fmla="*/ 734291 h 5282095"/>
              <a:gd name="connsiteX21290" fmla="*/ 1200931 w 7714416"/>
              <a:gd name="connsiteY21290" fmla="*/ 733390 h 5282095"/>
              <a:gd name="connsiteX21291" fmla="*/ 1209411 w 7714416"/>
              <a:gd name="connsiteY21291" fmla="*/ 737158 h 5282095"/>
              <a:gd name="connsiteX21292" fmla="*/ 1214899 w 7714416"/>
              <a:gd name="connsiteY21292" fmla="*/ 737708 h 5282095"/>
              <a:gd name="connsiteX21293" fmla="*/ 1215193 w 7714416"/>
              <a:gd name="connsiteY21293" fmla="*/ 738821 h 5282095"/>
              <a:gd name="connsiteX21294" fmla="*/ 1194663 w 7714416"/>
              <a:gd name="connsiteY21294" fmla="*/ 739071 h 5282095"/>
              <a:gd name="connsiteX21295" fmla="*/ 1192127 w 7714416"/>
              <a:gd name="connsiteY21295" fmla="*/ 737471 h 5282095"/>
              <a:gd name="connsiteX21296" fmla="*/ 1192903 w 7714416"/>
              <a:gd name="connsiteY21296" fmla="*/ 734574 h 5282095"/>
              <a:gd name="connsiteX21297" fmla="*/ 1200931 w 7714416"/>
              <a:gd name="connsiteY21297" fmla="*/ 733390 h 5282095"/>
              <a:gd name="connsiteX21298" fmla="*/ 4188335 w 7714416"/>
              <a:gd name="connsiteY21298" fmla="*/ 732071 h 5282095"/>
              <a:gd name="connsiteX21299" fmla="*/ 4194929 w 7714416"/>
              <a:gd name="connsiteY21299" fmla="*/ 732918 h 5282095"/>
              <a:gd name="connsiteX21300" fmla="*/ 4189984 w 7714416"/>
              <a:gd name="connsiteY21300" fmla="*/ 733663 h 5282095"/>
              <a:gd name="connsiteX21301" fmla="*/ 4188600 w 7714416"/>
              <a:gd name="connsiteY21301" fmla="*/ 733292 h 5282095"/>
              <a:gd name="connsiteX21302" fmla="*/ 4188335 w 7714416"/>
              <a:gd name="connsiteY21302" fmla="*/ 732071 h 5282095"/>
              <a:gd name="connsiteX21303" fmla="*/ 1672001 w 7714416"/>
              <a:gd name="connsiteY21303" fmla="*/ 731846 h 5282095"/>
              <a:gd name="connsiteX21304" fmla="*/ 1681466 w 7714416"/>
              <a:gd name="connsiteY21304" fmla="*/ 734152 h 5282095"/>
              <a:gd name="connsiteX21305" fmla="*/ 1668127 w 7714416"/>
              <a:gd name="connsiteY21305" fmla="*/ 748519 h 5282095"/>
              <a:gd name="connsiteX21306" fmla="*/ 1661881 w 7714416"/>
              <a:gd name="connsiteY21306" fmla="*/ 743050 h 5282095"/>
              <a:gd name="connsiteX21307" fmla="*/ 1672001 w 7714416"/>
              <a:gd name="connsiteY21307" fmla="*/ 731846 h 5282095"/>
              <a:gd name="connsiteX21308" fmla="*/ 2183437 w 7714416"/>
              <a:gd name="connsiteY21308" fmla="*/ 731012 h 5282095"/>
              <a:gd name="connsiteX21309" fmla="*/ 2183232 w 7714416"/>
              <a:gd name="connsiteY21309" fmla="*/ 739798 h 5282095"/>
              <a:gd name="connsiteX21310" fmla="*/ 2170795 w 7714416"/>
              <a:gd name="connsiteY21310" fmla="*/ 731981 h 5282095"/>
              <a:gd name="connsiteX21311" fmla="*/ 2183437 w 7714416"/>
              <a:gd name="connsiteY21311" fmla="*/ 731012 h 5282095"/>
              <a:gd name="connsiteX21312" fmla="*/ 4203158 w 7714416"/>
              <a:gd name="connsiteY21312" fmla="*/ 730983 h 5282095"/>
              <a:gd name="connsiteX21313" fmla="*/ 4212892 w 7714416"/>
              <a:gd name="connsiteY21313" fmla="*/ 740032 h 5282095"/>
              <a:gd name="connsiteX21314" fmla="*/ 4201727 w 7714416"/>
              <a:gd name="connsiteY21314" fmla="*/ 738535 h 5282095"/>
              <a:gd name="connsiteX21315" fmla="*/ 4203158 w 7714416"/>
              <a:gd name="connsiteY21315" fmla="*/ 730983 h 5282095"/>
              <a:gd name="connsiteX21316" fmla="*/ 1700722 w 7714416"/>
              <a:gd name="connsiteY21316" fmla="*/ 730917 h 5282095"/>
              <a:gd name="connsiteX21317" fmla="*/ 1709119 w 7714416"/>
              <a:gd name="connsiteY21317" fmla="*/ 731672 h 5282095"/>
              <a:gd name="connsiteX21318" fmla="*/ 1707343 w 7714416"/>
              <a:gd name="connsiteY21318" fmla="*/ 731656 h 5282095"/>
              <a:gd name="connsiteX21319" fmla="*/ 1707599 w 7714416"/>
              <a:gd name="connsiteY21319" fmla="*/ 734025 h 5282095"/>
              <a:gd name="connsiteX21320" fmla="*/ 1709068 w 7714416"/>
              <a:gd name="connsiteY21320" fmla="*/ 734074 h 5282095"/>
              <a:gd name="connsiteX21321" fmla="*/ 1707854 w 7714416"/>
              <a:gd name="connsiteY21321" fmla="*/ 736392 h 5282095"/>
              <a:gd name="connsiteX21322" fmla="*/ 1696282 w 7714416"/>
              <a:gd name="connsiteY21322" fmla="*/ 739733 h 5282095"/>
              <a:gd name="connsiteX21323" fmla="*/ 1693958 w 7714416"/>
              <a:gd name="connsiteY21323" fmla="*/ 736235 h 5282095"/>
              <a:gd name="connsiteX21324" fmla="*/ 1695506 w 7714416"/>
              <a:gd name="connsiteY21324" fmla="*/ 733774 h 5282095"/>
              <a:gd name="connsiteX21325" fmla="*/ 1700722 w 7714416"/>
              <a:gd name="connsiteY21325" fmla="*/ 730917 h 5282095"/>
              <a:gd name="connsiteX21326" fmla="*/ 926429 w 7714416"/>
              <a:gd name="connsiteY21326" fmla="*/ 730722 h 5282095"/>
              <a:gd name="connsiteX21327" fmla="*/ 941102 w 7714416"/>
              <a:gd name="connsiteY21327" fmla="*/ 737945 h 5282095"/>
              <a:gd name="connsiteX21328" fmla="*/ 884295 w 7714416"/>
              <a:gd name="connsiteY21328" fmla="*/ 746299 h 5282095"/>
              <a:gd name="connsiteX21329" fmla="*/ 907876 w 7714416"/>
              <a:gd name="connsiteY21329" fmla="*/ 731342 h 5282095"/>
              <a:gd name="connsiteX21330" fmla="*/ 926429 w 7714416"/>
              <a:gd name="connsiteY21330" fmla="*/ 730722 h 5282095"/>
              <a:gd name="connsiteX21331" fmla="*/ 1310226 w 7714416"/>
              <a:gd name="connsiteY21331" fmla="*/ 730590 h 5282095"/>
              <a:gd name="connsiteX21332" fmla="*/ 1319702 w 7714416"/>
              <a:gd name="connsiteY21332" fmla="*/ 740604 h 5282095"/>
              <a:gd name="connsiteX21333" fmla="*/ 1306117 w 7714416"/>
              <a:gd name="connsiteY21333" fmla="*/ 733745 h 5282095"/>
              <a:gd name="connsiteX21334" fmla="*/ 1305673 w 7714416"/>
              <a:gd name="connsiteY21334" fmla="*/ 730981 h 5282095"/>
              <a:gd name="connsiteX21335" fmla="*/ 1310226 w 7714416"/>
              <a:gd name="connsiteY21335" fmla="*/ 730590 h 5282095"/>
              <a:gd name="connsiteX21336" fmla="*/ 5551847 w 7714416"/>
              <a:gd name="connsiteY21336" fmla="*/ 730424 h 5282095"/>
              <a:gd name="connsiteX21337" fmla="*/ 5566140 w 7714416"/>
              <a:gd name="connsiteY21337" fmla="*/ 731178 h 5282095"/>
              <a:gd name="connsiteX21338" fmla="*/ 5571660 w 7714416"/>
              <a:gd name="connsiteY21338" fmla="*/ 737141 h 5282095"/>
              <a:gd name="connsiteX21339" fmla="*/ 5553709 w 7714416"/>
              <a:gd name="connsiteY21339" fmla="*/ 743257 h 5282095"/>
              <a:gd name="connsiteX21340" fmla="*/ 5547270 w 7714416"/>
              <a:gd name="connsiteY21340" fmla="*/ 740727 h 5282095"/>
              <a:gd name="connsiteX21341" fmla="*/ 5551847 w 7714416"/>
              <a:gd name="connsiteY21341" fmla="*/ 730424 h 5282095"/>
              <a:gd name="connsiteX21342" fmla="*/ 2965760 w 7714416"/>
              <a:gd name="connsiteY21342" fmla="*/ 730283 h 5282095"/>
              <a:gd name="connsiteX21343" fmla="*/ 2970884 w 7714416"/>
              <a:gd name="connsiteY21343" fmla="*/ 731081 h 5282095"/>
              <a:gd name="connsiteX21344" fmla="*/ 2965648 w 7714416"/>
              <a:gd name="connsiteY21344" fmla="*/ 736233 h 5282095"/>
              <a:gd name="connsiteX21345" fmla="*/ 2964682 w 7714416"/>
              <a:gd name="connsiteY21345" fmla="*/ 738734 h 5282095"/>
              <a:gd name="connsiteX21346" fmla="*/ 2962623 w 7714416"/>
              <a:gd name="connsiteY21346" fmla="*/ 736458 h 5282095"/>
              <a:gd name="connsiteX21347" fmla="*/ 2966615 w 7714416"/>
              <a:gd name="connsiteY21347" fmla="*/ 733732 h 5282095"/>
              <a:gd name="connsiteX21348" fmla="*/ 2964527 w 7714416"/>
              <a:gd name="connsiteY21348" fmla="*/ 731563 h 5282095"/>
              <a:gd name="connsiteX21349" fmla="*/ 2965760 w 7714416"/>
              <a:gd name="connsiteY21349" fmla="*/ 730283 h 5282095"/>
              <a:gd name="connsiteX21350" fmla="*/ 2574140 w 7714416"/>
              <a:gd name="connsiteY21350" fmla="*/ 728621 h 5282095"/>
              <a:gd name="connsiteX21351" fmla="*/ 2577867 w 7714416"/>
              <a:gd name="connsiteY21351" fmla="*/ 733529 h 5282095"/>
              <a:gd name="connsiteX21352" fmla="*/ 2578510 w 7714416"/>
              <a:gd name="connsiteY21352" fmla="*/ 738876 h 5282095"/>
              <a:gd name="connsiteX21353" fmla="*/ 2579675 w 7714416"/>
              <a:gd name="connsiteY21353" fmla="*/ 738958 h 5282095"/>
              <a:gd name="connsiteX21354" fmla="*/ 2579991 w 7714416"/>
              <a:gd name="connsiteY21354" fmla="*/ 737778 h 5282095"/>
              <a:gd name="connsiteX21355" fmla="*/ 2582908 w 7714416"/>
              <a:gd name="connsiteY21355" fmla="*/ 740170 h 5282095"/>
              <a:gd name="connsiteX21356" fmla="*/ 2584759 w 7714416"/>
              <a:gd name="connsiteY21356" fmla="*/ 749866 h 5282095"/>
              <a:gd name="connsiteX21357" fmla="*/ 2579577 w 7714416"/>
              <a:gd name="connsiteY21357" fmla="*/ 749282 h 5282095"/>
              <a:gd name="connsiteX21358" fmla="*/ 2576717 w 7714416"/>
              <a:gd name="connsiteY21358" fmla="*/ 746676 h 5282095"/>
              <a:gd name="connsiteX21359" fmla="*/ 2573936 w 7714416"/>
              <a:gd name="connsiteY21359" fmla="*/ 741560 h 5282095"/>
              <a:gd name="connsiteX21360" fmla="*/ 2574834 w 7714416"/>
              <a:gd name="connsiteY21360" fmla="*/ 740421 h 5282095"/>
              <a:gd name="connsiteX21361" fmla="*/ 2573221 w 7714416"/>
              <a:gd name="connsiteY21361" fmla="*/ 740909 h 5282095"/>
              <a:gd name="connsiteX21362" fmla="*/ 2566827 w 7714416"/>
              <a:gd name="connsiteY21362" fmla="*/ 739312 h 5282095"/>
              <a:gd name="connsiteX21363" fmla="*/ 2562803 w 7714416"/>
              <a:gd name="connsiteY21363" fmla="*/ 736623 h 5282095"/>
              <a:gd name="connsiteX21364" fmla="*/ 2562119 w 7714416"/>
              <a:gd name="connsiteY21364" fmla="*/ 732529 h 5282095"/>
              <a:gd name="connsiteX21365" fmla="*/ 2564337 w 7714416"/>
              <a:gd name="connsiteY21365" fmla="*/ 729789 h 5282095"/>
              <a:gd name="connsiteX21366" fmla="*/ 2574140 w 7714416"/>
              <a:gd name="connsiteY21366" fmla="*/ 728621 h 5282095"/>
              <a:gd name="connsiteX21367" fmla="*/ 990237 w 7714416"/>
              <a:gd name="connsiteY21367" fmla="*/ 728340 h 5282095"/>
              <a:gd name="connsiteX21368" fmla="*/ 991102 w 7714416"/>
              <a:gd name="connsiteY21368" fmla="*/ 730643 h 5282095"/>
              <a:gd name="connsiteX21369" fmla="*/ 1006566 w 7714416"/>
              <a:gd name="connsiteY21369" fmla="*/ 747091 h 5282095"/>
              <a:gd name="connsiteX21370" fmla="*/ 983488 w 7714416"/>
              <a:gd name="connsiteY21370" fmla="*/ 729177 h 5282095"/>
              <a:gd name="connsiteX21371" fmla="*/ 990237 w 7714416"/>
              <a:gd name="connsiteY21371" fmla="*/ 728340 h 5282095"/>
              <a:gd name="connsiteX21372" fmla="*/ 2298826 w 7714416"/>
              <a:gd name="connsiteY21372" fmla="*/ 727876 h 5282095"/>
              <a:gd name="connsiteX21373" fmla="*/ 2302377 w 7714416"/>
              <a:gd name="connsiteY21373" fmla="*/ 727908 h 5282095"/>
              <a:gd name="connsiteX21374" fmla="*/ 2302977 w 7714416"/>
              <a:gd name="connsiteY21374" fmla="*/ 737843 h 5282095"/>
              <a:gd name="connsiteX21375" fmla="*/ 2300170 w 7714416"/>
              <a:gd name="connsiteY21375" fmla="*/ 738357 h 5282095"/>
              <a:gd name="connsiteX21376" fmla="*/ 2299150 w 7714416"/>
              <a:gd name="connsiteY21376" fmla="*/ 737738 h 5282095"/>
              <a:gd name="connsiteX21377" fmla="*/ 2296767 w 7714416"/>
              <a:gd name="connsiteY21377" fmla="*/ 734454 h 5282095"/>
              <a:gd name="connsiteX21378" fmla="*/ 2298826 w 7714416"/>
              <a:gd name="connsiteY21378" fmla="*/ 727876 h 5282095"/>
              <a:gd name="connsiteX21379" fmla="*/ 1809545 w 7714416"/>
              <a:gd name="connsiteY21379" fmla="*/ 727660 h 5282095"/>
              <a:gd name="connsiteX21380" fmla="*/ 1831346 w 7714416"/>
              <a:gd name="connsiteY21380" fmla="*/ 728197 h 5282095"/>
              <a:gd name="connsiteX21381" fmla="*/ 1825769 w 7714416"/>
              <a:gd name="connsiteY21381" fmla="*/ 766723 h 5282095"/>
              <a:gd name="connsiteX21382" fmla="*/ 1817867 w 7714416"/>
              <a:gd name="connsiteY21382" fmla="*/ 766331 h 5282095"/>
              <a:gd name="connsiteX21383" fmla="*/ 1796931 w 7714416"/>
              <a:gd name="connsiteY21383" fmla="*/ 744851 h 5282095"/>
              <a:gd name="connsiteX21384" fmla="*/ 1797316 w 7714416"/>
              <a:gd name="connsiteY21384" fmla="*/ 742309 h 5282095"/>
              <a:gd name="connsiteX21385" fmla="*/ 1795256 w 7714416"/>
              <a:gd name="connsiteY21385" fmla="*/ 740032 h 5282095"/>
              <a:gd name="connsiteX21386" fmla="*/ 1795185 w 7714416"/>
              <a:gd name="connsiteY21386" fmla="*/ 735873 h 5282095"/>
              <a:gd name="connsiteX21387" fmla="*/ 1797988 w 7714416"/>
              <a:gd name="connsiteY21387" fmla="*/ 738693 h 5282095"/>
              <a:gd name="connsiteX21388" fmla="*/ 1798706 w 7714416"/>
              <a:gd name="connsiteY21388" fmla="*/ 736012 h 5282095"/>
              <a:gd name="connsiteX21389" fmla="*/ 1809545 w 7714416"/>
              <a:gd name="connsiteY21389" fmla="*/ 727660 h 5282095"/>
              <a:gd name="connsiteX21390" fmla="*/ 1003228 w 7714416"/>
              <a:gd name="connsiteY21390" fmla="*/ 727451 h 5282095"/>
              <a:gd name="connsiteX21391" fmla="*/ 1013145 w 7714416"/>
              <a:gd name="connsiteY21391" fmla="*/ 743564 h 5282095"/>
              <a:gd name="connsiteX21392" fmla="*/ 1011618 w 7714416"/>
              <a:gd name="connsiteY21392" fmla="*/ 743730 h 5282095"/>
              <a:gd name="connsiteX21393" fmla="*/ 1002850 w 7714416"/>
              <a:gd name="connsiteY21393" fmla="*/ 732180 h 5282095"/>
              <a:gd name="connsiteX21394" fmla="*/ 1001672 w 7714416"/>
              <a:gd name="connsiteY21394" fmla="*/ 727725 h 5282095"/>
              <a:gd name="connsiteX21395" fmla="*/ 1002243 w 7714416"/>
              <a:gd name="connsiteY21395" fmla="*/ 728913 h 5282095"/>
              <a:gd name="connsiteX21396" fmla="*/ 1003228 w 7714416"/>
              <a:gd name="connsiteY21396" fmla="*/ 727451 h 5282095"/>
              <a:gd name="connsiteX21397" fmla="*/ 2035662 w 7714416"/>
              <a:gd name="connsiteY21397" fmla="*/ 727167 h 5282095"/>
              <a:gd name="connsiteX21398" fmla="*/ 2044563 w 7714416"/>
              <a:gd name="connsiteY21398" fmla="*/ 739328 h 5282095"/>
              <a:gd name="connsiteX21399" fmla="*/ 2027717 w 7714416"/>
              <a:gd name="connsiteY21399" fmla="*/ 740218 h 5282095"/>
              <a:gd name="connsiteX21400" fmla="*/ 2023721 w 7714416"/>
              <a:gd name="connsiteY21400" fmla="*/ 737423 h 5282095"/>
              <a:gd name="connsiteX21401" fmla="*/ 2035662 w 7714416"/>
              <a:gd name="connsiteY21401" fmla="*/ 727167 h 5282095"/>
              <a:gd name="connsiteX21402" fmla="*/ 4695027 w 7714416"/>
              <a:gd name="connsiteY21402" fmla="*/ 727076 h 5282095"/>
              <a:gd name="connsiteX21403" fmla="*/ 4699375 w 7714416"/>
              <a:gd name="connsiteY21403" fmla="*/ 730772 h 5282095"/>
              <a:gd name="connsiteX21404" fmla="*/ 4699523 w 7714416"/>
              <a:gd name="connsiteY21404" fmla="*/ 735757 h 5282095"/>
              <a:gd name="connsiteX21405" fmla="*/ 4692687 w 7714416"/>
              <a:gd name="connsiteY21405" fmla="*/ 736915 h 5282095"/>
              <a:gd name="connsiteX21406" fmla="*/ 4685924 w 7714416"/>
              <a:gd name="connsiteY21406" fmla="*/ 733378 h 5282095"/>
              <a:gd name="connsiteX21407" fmla="*/ 4689616 w 7714416"/>
              <a:gd name="connsiteY21407" fmla="*/ 727352 h 5282095"/>
              <a:gd name="connsiteX21408" fmla="*/ 4695027 w 7714416"/>
              <a:gd name="connsiteY21408" fmla="*/ 727076 h 5282095"/>
              <a:gd name="connsiteX21409" fmla="*/ 2324054 w 7714416"/>
              <a:gd name="connsiteY21409" fmla="*/ 726701 h 5282095"/>
              <a:gd name="connsiteX21410" fmla="*/ 2327575 w 7714416"/>
              <a:gd name="connsiteY21410" fmla="*/ 726839 h 5282095"/>
              <a:gd name="connsiteX21411" fmla="*/ 2331841 w 7714416"/>
              <a:gd name="connsiteY21411" fmla="*/ 727522 h 5282095"/>
              <a:gd name="connsiteX21412" fmla="*/ 2340005 w 7714416"/>
              <a:gd name="connsiteY21412" fmla="*/ 732470 h 5282095"/>
              <a:gd name="connsiteX21413" fmla="*/ 2341755 w 7714416"/>
              <a:gd name="connsiteY21413" fmla="*/ 738114 h 5282095"/>
              <a:gd name="connsiteX21414" fmla="*/ 2340875 w 7714416"/>
              <a:gd name="connsiteY21414" fmla="*/ 740293 h 5282095"/>
              <a:gd name="connsiteX21415" fmla="*/ 2332962 w 7714416"/>
              <a:gd name="connsiteY21415" fmla="*/ 741048 h 5282095"/>
              <a:gd name="connsiteX21416" fmla="*/ 2325922 w 7714416"/>
              <a:gd name="connsiteY21416" fmla="*/ 737437 h 5282095"/>
              <a:gd name="connsiteX21417" fmla="*/ 2324054 w 7714416"/>
              <a:gd name="connsiteY21417" fmla="*/ 726701 h 5282095"/>
              <a:gd name="connsiteX21418" fmla="*/ 1412746 w 7714416"/>
              <a:gd name="connsiteY21418" fmla="*/ 725400 h 5282095"/>
              <a:gd name="connsiteX21419" fmla="*/ 1409864 w 7714416"/>
              <a:gd name="connsiteY21419" fmla="*/ 733942 h 5282095"/>
              <a:gd name="connsiteX21420" fmla="*/ 1406267 w 7714416"/>
              <a:gd name="connsiteY21420" fmla="*/ 732980 h 5282095"/>
              <a:gd name="connsiteX21421" fmla="*/ 1402720 w 7714416"/>
              <a:gd name="connsiteY21421" fmla="*/ 729614 h 5282095"/>
              <a:gd name="connsiteX21422" fmla="*/ 1402782 w 7714416"/>
              <a:gd name="connsiteY21422" fmla="*/ 726065 h 5282095"/>
              <a:gd name="connsiteX21423" fmla="*/ 1412746 w 7714416"/>
              <a:gd name="connsiteY21423" fmla="*/ 725400 h 5282095"/>
              <a:gd name="connsiteX21424" fmla="*/ 5340223 w 7714416"/>
              <a:gd name="connsiteY21424" fmla="*/ 725385 h 5282095"/>
              <a:gd name="connsiteX21425" fmla="*/ 5345528 w 7714416"/>
              <a:gd name="connsiteY21425" fmla="*/ 727725 h 5282095"/>
              <a:gd name="connsiteX21426" fmla="*/ 5347841 w 7714416"/>
              <a:gd name="connsiteY21426" fmla="*/ 732370 h 5282095"/>
              <a:gd name="connsiteX21427" fmla="*/ 5334505 w 7714416"/>
              <a:gd name="connsiteY21427" fmla="*/ 734547 h 5282095"/>
              <a:gd name="connsiteX21428" fmla="*/ 5335487 w 7714416"/>
              <a:gd name="connsiteY21428" fmla="*/ 727565 h 5282095"/>
              <a:gd name="connsiteX21429" fmla="*/ 5340223 w 7714416"/>
              <a:gd name="connsiteY21429" fmla="*/ 725385 h 5282095"/>
              <a:gd name="connsiteX21430" fmla="*/ 1974515 w 7714416"/>
              <a:gd name="connsiteY21430" fmla="*/ 725159 h 5282095"/>
              <a:gd name="connsiteX21431" fmla="*/ 1991663 w 7714416"/>
              <a:gd name="connsiteY21431" fmla="*/ 727568 h 5282095"/>
              <a:gd name="connsiteX21432" fmla="*/ 1968405 w 7714416"/>
              <a:gd name="connsiteY21432" fmla="*/ 734676 h 5282095"/>
              <a:gd name="connsiteX21433" fmla="*/ 1974515 w 7714416"/>
              <a:gd name="connsiteY21433" fmla="*/ 725159 h 5282095"/>
              <a:gd name="connsiteX21434" fmla="*/ 2518103 w 7714416"/>
              <a:gd name="connsiteY21434" fmla="*/ 723035 h 5282095"/>
              <a:gd name="connsiteX21435" fmla="*/ 2528049 w 7714416"/>
              <a:gd name="connsiteY21435" fmla="*/ 730185 h 5282095"/>
              <a:gd name="connsiteX21436" fmla="*/ 2525472 w 7714416"/>
              <a:gd name="connsiteY21436" fmla="*/ 729840 h 5282095"/>
              <a:gd name="connsiteX21437" fmla="*/ 2523051 w 7714416"/>
              <a:gd name="connsiteY21437" fmla="*/ 727812 h 5282095"/>
              <a:gd name="connsiteX21438" fmla="*/ 2518103 w 7714416"/>
              <a:gd name="connsiteY21438" fmla="*/ 723035 h 5282095"/>
              <a:gd name="connsiteX21439" fmla="*/ 1666629 w 7714416"/>
              <a:gd name="connsiteY21439" fmla="*/ 722012 h 5282095"/>
              <a:gd name="connsiteX21440" fmla="*/ 1663182 w 7714416"/>
              <a:gd name="connsiteY21440" fmla="*/ 731554 h 5282095"/>
              <a:gd name="connsiteX21441" fmla="*/ 1664986 w 7714416"/>
              <a:gd name="connsiteY21441" fmla="*/ 722607 h 5282095"/>
              <a:gd name="connsiteX21442" fmla="*/ 1666629 w 7714416"/>
              <a:gd name="connsiteY21442" fmla="*/ 722012 h 5282095"/>
              <a:gd name="connsiteX21443" fmla="*/ 1468232 w 7714416"/>
              <a:gd name="connsiteY21443" fmla="*/ 721982 h 5282095"/>
              <a:gd name="connsiteX21444" fmla="*/ 1474262 w 7714416"/>
              <a:gd name="connsiteY21444" fmla="*/ 732683 h 5282095"/>
              <a:gd name="connsiteX21445" fmla="*/ 1472781 w 7714416"/>
              <a:gd name="connsiteY21445" fmla="*/ 733781 h 5282095"/>
              <a:gd name="connsiteX21446" fmla="*/ 1455004 w 7714416"/>
              <a:gd name="connsiteY21446" fmla="*/ 739253 h 5282095"/>
              <a:gd name="connsiteX21447" fmla="*/ 1451248 w 7714416"/>
              <a:gd name="connsiteY21447" fmla="*/ 734452 h 5282095"/>
              <a:gd name="connsiteX21448" fmla="*/ 1453688 w 7714416"/>
              <a:gd name="connsiteY21448" fmla="*/ 728665 h 5282095"/>
              <a:gd name="connsiteX21449" fmla="*/ 1468232 w 7714416"/>
              <a:gd name="connsiteY21449" fmla="*/ 721982 h 5282095"/>
              <a:gd name="connsiteX21450" fmla="*/ 2242628 w 7714416"/>
              <a:gd name="connsiteY21450" fmla="*/ 721917 h 5282095"/>
              <a:gd name="connsiteX21451" fmla="*/ 2255635 w 7714416"/>
              <a:gd name="connsiteY21451" fmla="*/ 730794 h 5282095"/>
              <a:gd name="connsiteX21452" fmla="*/ 2235778 w 7714416"/>
              <a:gd name="connsiteY21452" fmla="*/ 736283 h 5282095"/>
              <a:gd name="connsiteX21453" fmla="*/ 2231425 w 7714416"/>
              <a:gd name="connsiteY21453" fmla="*/ 727066 h 5282095"/>
              <a:gd name="connsiteX21454" fmla="*/ 2242628 w 7714416"/>
              <a:gd name="connsiteY21454" fmla="*/ 721917 h 5282095"/>
              <a:gd name="connsiteX21455" fmla="*/ 3175610 w 7714416"/>
              <a:gd name="connsiteY21455" fmla="*/ 721881 h 5282095"/>
              <a:gd name="connsiteX21456" fmla="*/ 3175035 w 7714416"/>
              <a:gd name="connsiteY21456" fmla="*/ 724026 h 5282095"/>
              <a:gd name="connsiteX21457" fmla="*/ 3162778 w 7714416"/>
              <a:gd name="connsiteY21457" fmla="*/ 726608 h 5282095"/>
              <a:gd name="connsiteX21458" fmla="*/ 3156755 w 7714416"/>
              <a:gd name="connsiteY21458" fmla="*/ 726949 h 5282095"/>
              <a:gd name="connsiteX21459" fmla="*/ 3129500 w 7714416"/>
              <a:gd name="connsiteY21459" fmla="*/ 731262 h 5282095"/>
              <a:gd name="connsiteX21460" fmla="*/ 3108777 w 7714416"/>
              <a:gd name="connsiteY21460" fmla="*/ 743303 h 5282095"/>
              <a:gd name="connsiteX21461" fmla="*/ 3138826 w 7714416"/>
              <a:gd name="connsiteY21461" fmla="*/ 739626 h 5282095"/>
              <a:gd name="connsiteX21462" fmla="*/ 3136059 w 7714416"/>
              <a:gd name="connsiteY21462" fmla="*/ 738884 h 5282095"/>
              <a:gd name="connsiteX21463" fmla="*/ 3148317 w 7714416"/>
              <a:gd name="connsiteY21463" fmla="*/ 736304 h 5282095"/>
              <a:gd name="connsiteX21464" fmla="*/ 3151084 w 7714416"/>
              <a:gd name="connsiteY21464" fmla="*/ 737045 h 5282095"/>
              <a:gd name="connsiteX21465" fmla="*/ 3179322 w 7714416"/>
              <a:gd name="connsiteY21465" fmla="*/ 731271 h 5282095"/>
              <a:gd name="connsiteX21466" fmla="*/ 3175585 w 7714416"/>
              <a:gd name="connsiteY21466" fmla="*/ 727509 h 5282095"/>
              <a:gd name="connsiteX21467" fmla="*/ 2945503 w 7714416"/>
              <a:gd name="connsiteY21467" fmla="*/ 721764 h 5282095"/>
              <a:gd name="connsiteX21468" fmla="*/ 2961030 w 7714416"/>
              <a:gd name="connsiteY21468" fmla="*/ 725796 h 5282095"/>
              <a:gd name="connsiteX21469" fmla="*/ 2964905 w 7714416"/>
              <a:gd name="connsiteY21469" fmla="*/ 726834 h 5282095"/>
              <a:gd name="connsiteX21470" fmla="*/ 2965760 w 7714416"/>
              <a:gd name="connsiteY21470" fmla="*/ 730283 h 5282095"/>
              <a:gd name="connsiteX21471" fmla="*/ 2941335 w 7714416"/>
              <a:gd name="connsiteY21471" fmla="*/ 731788 h 5282095"/>
              <a:gd name="connsiteX21472" fmla="*/ 2937461 w 7714416"/>
              <a:gd name="connsiteY21472" fmla="*/ 730750 h 5282095"/>
              <a:gd name="connsiteX21473" fmla="*/ 2929145 w 7714416"/>
              <a:gd name="connsiteY21473" fmla="*/ 724153 h 5282095"/>
              <a:gd name="connsiteX21474" fmla="*/ 2945503 w 7714416"/>
              <a:gd name="connsiteY21474" fmla="*/ 721764 h 5282095"/>
              <a:gd name="connsiteX21475" fmla="*/ 1618230 w 7714416"/>
              <a:gd name="connsiteY21475" fmla="*/ 721119 h 5282095"/>
              <a:gd name="connsiteX21476" fmla="*/ 1621360 w 7714416"/>
              <a:gd name="connsiteY21476" fmla="*/ 721613 h 5282095"/>
              <a:gd name="connsiteX21477" fmla="*/ 1608604 w 7714416"/>
              <a:gd name="connsiteY21477" fmla="*/ 727164 h 5282095"/>
              <a:gd name="connsiteX21478" fmla="*/ 1618230 w 7714416"/>
              <a:gd name="connsiteY21478" fmla="*/ 721119 h 5282095"/>
              <a:gd name="connsiteX21479" fmla="*/ 4833465 w 7714416"/>
              <a:gd name="connsiteY21479" fmla="*/ 719550 h 5282095"/>
              <a:gd name="connsiteX21480" fmla="*/ 4827766 w 7714416"/>
              <a:gd name="connsiteY21480" fmla="*/ 756319 h 5282095"/>
              <a:gd name="connsiteX21481" fmla="*/ 4833465 w 7714416"/>
              <a:gd name="connsiteY21481" fmla="*/ 719550 h 5282095"/>
              <a:gd name="connsiteX21482" fmla="*/ 2200855 w 7714416"/>
              <a:gd name="connsiteY21482" fmla="*/ 718300 h 5282095"/>
              <a:gd name="connsiteX21483" fmla="*/ 2224368 w 7714416"/>
              <a:gd name="connsiteY21483" fmla="*/ 731271 h 5282095"/>
              <a:gd name="connsiteX21484" fmla="*/ 2211273 w 7714416"/>
              <a:gd name="connsiteY21484" fmla="*/ 731442 h 5282095"/>
              <a:gd name="connsiteX21485" fmla="*/ 2201049 w 7714416"/>
              <a:gd name="connsiteY21485" fmla="*/ 724217 h 5282095"/>
              <a:gd name="connsiteX21486" fmla="*/ 2200855 w 7714416"/>
              <a:gd name="connsiteY21486" fmla="*/ 718300 h 5282095"/>
              <a:gd name="connsiteX21487" fmla="*/ 1706589 w 7714416"/>
              <a:gd name="connsiteY21487" fmla="*/ 718286 h 5282095"/>
              <a:gd name="connsiteX21488" fmla="*/ 1723421 w 7714416"/>
              <a:gd name="connsiteY21488" fmla="*/ 726994 h 5282095"/>
              <a:gd name="connsiteX21489" fmla="*/ 1732204 w 7714416"/>
              <a:gd name="connsiteY21489" fmla="*/ 734062 h 5282095"/>
              <a:gd name="connsiteX21490" fmla="*/ 1734231 w 7714416"/>
              <a:gd name="connsiteY21490" fmla="*/ 730926 h 5282095"/>
              <a:gd name="connsiteX21491" fmla="*/ 1758509 w 7714416"/>
              <a:gd name="connsiteY21491" fmla="*/ 733290 h 5282095"/>
              <a:gd name="connsiteX21492" fmla="*/ 1753841 w 7714416"/>
              <a:gd name="connsiteY21492" fmla="*/ 742966 h 5282095"/>
              <a:gd name="connsiteX21493" fmla="*/ 1749545 w 7714416"/>
              <a:gd name="connsiteY21493" fmla="*/ 742389 h 5282095"/>
              <a:gd name="connsiteX21494" fmla="*/ 1747016 w 7714416"/>
              <a:gd name="connsiteY21494" fmla="*/ 742977 h 5282095"/>
              <a:gd name="connsiteX21495" fmla="*/ 1747623 w 7714416"/>
              <a:gd name="connsiteY21495" fmla="*/ 746244 h 5282095"/>
              <a:gd name="connsiteX21496" fmla="*/ 1752007 w 7714416"/>
              <a:gd name="connsiteY21496" fmla="*/ 752019 h 5282095"/>
              <a:gd name="connsiteX21497" fmla="*/ 1741569 w 7714416"/>
              <a:gd name="connsiteY21497" fmla="*/ 750027 h 5282095"/>
              <a:gd name="connsiteX21498" fmla="*/ 1732315 w 7714416"/>
              <a:gd name="connsiteY21498" fmla="*/ 745823 h 5282095"/>
              <a:gd name="connsiteX21499" fmla="*/ 1737943 w 7714416"/>
              <a:gd name="connsiteY21499" fmla="*/ 740316 h 5282095"/>
              <a:gd name="connsiteX21500" fmla="*/ 1734184 w 7714416"/>
              <a:gd name="connsiteY21500" fmla="*/ 738848 h 5282095"/>
              <a:gd name="connsiteX21501" fmla="*/ 1730798 w 7714416"/>
              <a:gd name="connsiteY21501" fmla="*/ 735986 h 5282095"/>
              <a:gd name="connsiteX21502" fmla="*/ 1731813 w 7714416"/>
              <a:gd name="connsiteY21502" fmla="*/ 734417 h 5282095"/>
              <a:gd name="connsiteX21503" fmla="*/ 1720769 w 7714416"/>
              <a:gd name="connsiteY21503" fmla="*/ 734679 h 5282095"/>
              <a:gd name="connsiteX21504" fmla="*/ 1713051 w 7714416"/>
              <a:gd name="connsiteY21504" fmla="*/ 732495 h 5282095"/>
              <a:gd name="connsiteX21505" fmla="*/ 1691457 w 7714416"/>
              <a:gd name="connsiteY21505" fmla="*/ 719004 h 5282095"/>
              <a:gd name="connsiteX21506" fmla="*/ 1706589 w 7714416"/>
              <a:gd name="connsiteY21506" fmla="*/ 718286 h 5282095"/>
              <a:gd name="connsiteX21507" fmla="*/ 4468924 w 7714416"/>
              <a:gd name="connsiteY21507" fmla="*/ 717554 h 5282095"/>
              <a:gd name="connsiteX21508" fmla="*/ 4470925 w 7714416"/>
              <a:gd name="connsiteY21508" fmla="*/ 720045 h 5282095"/>
              <a:gd name="connsiteX21509" fmla="*/ 4471141 w 7714416"/>
              <a:gd name="connsiteY21509" fmla="*/ 723667 h 5282095"/>
              <a:gd name="connsiteX21510" fmla="*/ 4462837 w 7714416"/>
              <a:gd name="connsiteY21510" fmla="*/ 724778 h 5282095"/>
              <a:gd name="connsiteX21511" fmla="*/ 4460834 w 7714416"/>
              <a:gd name="connsiteY21511" fmla="*/ 722287 h 5282095"/>
              <a:gd name="connsiteX21512" fmla="*/ 4462118 w 7714416"/>
              <a:gd name="connsiteY21512" fmla="*/ 718605 h 5282095"/>
              <a:gd name="connsiteX21513" fmla="*/ 4468924 w 7714416"/>
              <a:gd name="connsiteY21513" fmla="*/ 717554 h 5282095"/>
              <a:gd name="connsiteX21514" fmla="*/ 2856836 w 7714416"/>
              <a:gd name="connsiteY21514" fmla="*/ 717312 h 5282095"/>
              <a:gd name="connsiteX21515" fmla="*/ 2860433 w 7714416"/>
              <a:gd name="connsiteY21515" fmla="*/ 718276 h 5282095"/>
              <a:gd name="connsiteX21516" fmla="*/ 2867735 w 7714416"/>
              <a:gd name="connsiteY21516" fmla="*/ 726443 h 5282095"/>
              <a:gd name="connsiteX21517" fmla="*/ 2863448 w 7714416"/>
              <a:gd name="connsiteY21517" fmla="*/ 728054 h 5282095"/>
              <a:gd name="connsiteX21518" fmla="*/ 2860986 w 7714416"/>
              <a:gd name="connsiteY21518" fmla="*/ 727279 h 5282095"/>
              <a:gd name="connsiteX21519" fmla="*/ 2859477 w 7714416"/>
              <a:gd name="connsiteY21519" fmla="*/ 728485 h 5282095"/>
              <a:gd name="connsiteX21520" fmla="*/ 2860364 w 7714416"/>
              <a:gd name="connsiteY21520" fmla="*/ 728493 h 5282095"/>
              <a:gd name="connsiteX21521" fmla="*/ 2880491 w 7714416"/>
              <a:gd name="connsiteY21521" fmla="*/ 756311 h 5282095"/>
              <a:gd name="connsiteX21522" fmla="*/ 2864608 w 7714416"/>
              <a:gd name="connsiteY21522" fmla="*/ 758035 h 5282095"/>
              <a:gd name="connsiteX21523" fmla="*/ 2842619 w 7714416"/>
              <a:gd name="connsiteY21523" fmla="*/ 739378 h 5282095"/>
              <a:gd name="connsiteX21524" fmla="*/ 2839267 w 7714416"/>
              <a:gd name="connsiteY21524" fmla="*/ 733075 h 5282095"/>
              <a:gd name="connsiteX21525" fmla="*/ 2833007 w 7714416"/>
              <a:gd name="connsiteY21525" fmla="*/ 732088 h 5282095"/>
              <a:gd name="connsiteX21526" fmla="*/ 2852276 w 7714416"/>
              <a:gd name="connsiteY21526" fmla="*/ 724370 h 5282095"/>
              <a:gd name="connsiteX21527" fmla="*/ 2858087 w 7714416"/>
              <a:gd name="connsiteY21527" fmla="*/ 725927 h 5282095"/>
              <a:gd name="connsiteX21528" fmla="*/ 2854338 w 7714416"/>
              <a:gd name="connsiteY21528" fmla="*/ 723313 h 5282095"/>
              <a:gd name="connsiteX21529" fmla="*/ 2853505 w 7714416"/>
              <a:gd name="connsiteY21529" fmla="*/ 717569 h 5282095"/>
              <a:gd name="connsiteX21530" fmla="*/ 2853799 w 7714416"/>
              <a:gd name="connsiteY21530" fmla="*/ 718684 h 5282095"/>
              <a:gd name="connsiteX21531" fmla="*/ 2857102 w 7714416"/>
              <a:gd name="connsiteY21531" fmla="*/ 718533 h 5282095"/>
              <a:gd name="connsiteX21532" fmla="*/ 2856836 w 7714416"/>
              <a:gd name="connsiteY21532" fmla="*/ 717312 h 5282095"/>
              <a:gd name="connsiteX21533" fmla="*/ 4140705 w 7714416"/>
              <a:gd name="connsiteY21533" fmla="*/ 717239 h 5282095"/>
              <a:gd name="connsiteX21534" fmla="*/ 4166166 w 7714416"/>
              <a:gd name="connsiteY21534" fmla="*/ 720726 h 5282095"/>
              <a:gd name="connsiteX21535" fmla="*/ 4147443 w 7714416"/>
              <a:gd name="connsiteY21535" fmla="*/ 726404 h 5282095"/>
              <a:gd name="connsiteX21536" fmla="*/ 4138887 w 7714416"/>
              <a:gd name="connsiteY21536" fmla="*/ 721811 h 5282095"/>
              <a:gd name="connsiteX21537" fmla="*/ 4140705 w 7714416"/>
              <a:gd name="connsiteY21537" fmla="*/ 717239 h 5282095"/>
              <a:gd name="connsiteX21538" fmla="*/ 2188803 w 7714416"/>
              <a:gd name="connsiteY21538" fmla="*/ 716796 h 5282095"/>
              <a:gd name="connsiteX21539" fmla="*/ 2197162 w 7714416"/>
              <a:gd name="connsiteY21539" fmla="*/ 718805 h 5282095"/>
              <a:gd name="connsiteX21540" fmla="*/ 2193381 w 7714416"/>
              <a:gd name="connsiteY21540" fmla="*/ 728488 h 5282095"/>
              <a:gd name="connsiteX21541" fmla="*/ 2188257 w 7714416"/>
              <a:gd name="connsiteY21541" fmla="*/ 727689 h 5282095"/>
              <a:gd name="connsiteX21542" fmla="*/ 2184982 w 7714416"/>
              <a:gd name="connsiteY21542" fmla="*/ 718876 h 5282095"/>
              <a:gd name="connsiteX21543" fmla="*/ 2188803 w 7714416"/>
              <a:gd name="connsiteY21543" fmla="*/ 716796 h 5282095"/>
              <a:gd name="connsiteX21544" fmla="*/ 2277079 w 7714416"/>
              <a:gd name="connsiteY21544" fmla="*/ 716068 h 5282095"/>
              <a:gd name="connsiteX21545" fmla="*/ 2279756 w 7714416"/>
              <a:gd name="connsiteY21545" fmla="*/ 720466 h 5282095"/>
              <a:gd name="connsiteX21546" fmla="*/ 2276730 w 7714416"/>
              <a:gd name="connsiteY21546" fmla="*/ 720690 h 5282095"/>
              <a:gd name="connsiteX21547" fmla="*/ 2277025 w 7714416"/>
              <a:gd name="connsiteY21547" fmla="*/ 721804 h 5282095"/>
              <a:gd name="connsiteX21548" fmla="*/ 2273427 w 7714416"/>
              <a:gd name="connsiteY21548" fmla="*/ 720841 h 5282095"/>
              <a:gd name="connsiteX21549" fmla="*/ 2273410 w 7714416"/>
              <a:gd name="connsiteY21549" fmla="*/ 719801 h 5282095"/>
              <a:gd name="connsiteX21550" fmla="*/ 2272913 w 7714416"/>
              <a:gd name="connsiteY21550" fmla="*/ 719438 h 5282095"/>
              <a:gd name="connsiteX21551" fmla="*/ 2274348 w 7714416"/>
              <a:gd name="connsiteY21551" fmla="*/ 717407 h 5282095"/>
              <a:gd name="connsiteX21552" fmla="*/ 2277079 w 7714416"/>
              <a:gd name="connsiteY21552" fmla="*/ 716068 h 5282095"/>
              <a:gd name="connsiteX21553" fmla="*/ 2071401 w 7714416"/>
              <a:gd name="connsiteY21553" fmla="*/ 714433 h 5282095"/>
              <a:gd name="connsiteX21554" fmla="*/ 2099435 w 7714416"/>
              <a:gd name="connsiteY21554" fmla="*/ 730455 h 5282095"/>
              <a:gd name="connsiteX21555" fmla="*/ 2097447 w 7714416"/>
              <a:gd name="connsiteY21555" fmla="*/ 732337 h 5282095"/>
              <a:gd name="connsiteX21556" fmla="*/ 2092876 w 7714416"/>
              <a:gd name="connsiteY21556" fmla="*/ 731688 h 5282095"/>
              <a:gd name="connsiteX21557" fmla="*/ 2078052 w 7714416"/>
              <a:gd name="connsiteY21557" fmla="*/ 723921 h 5282095"/>
              <a:gd name="connsiteX21558" fmla="*/ 2075353 w 7714416"/>
              <a:gd name="connsiteY21558" fmla="*/ 721818 h 5282095"/>
              <a:gd name="connsiteX21559" fmla="*/ 2072073 w 7714416"/>
              <a:gd name="connsiteY21559" fmla="*/ 719673 h 5282095"/>
              <a:gd name="connsiteX21560" fmla="*/ 2071401 w 7714416"/>
              <a:gd name="connsiteY21560" fmla="*/ 714433 h 5282095"/>
              <a:gd name="connsiteX21561" fmla="*/ 3305478 w 7714416"/>
              <a:gd name="connsiteY21561" fmla="*/ 714244 h 5282095"/>
              <a:gd name="connsiteX21562" fmla="*/ 3293554 w 7714416"/>
              <a:gd name="connsiteY21562" fmla="*/ 716684 h 5282095"/>
              <a:gd name="connsiteX21563" fmla="*/ 3296128 w 7714416"/>
              <a:gd name="connsiteY21563" fmla="*/ 720364 h 5282095"/>
              <a:gd name="connsiteX21564" fmla="*/ 3298600 w 7714416"/>
              <a:gd name="connsiteY21564" fmla="*/ 728846 h 5282095"/>
              <a:gd name="connsiteX21565" fmla="*/ 3311336 w 7714416"/>
              <a:gd name="connsiteY21565" fmla="*/ 725588 h 5282095"/>
              <a:gd name="connsiteX21566" fmla="*/ 3305478 w 7714416"/>
              <a:gd name="connsiteY21566" fmla="*/ 714244 h 5282095"/>
              <a:gd name="connsiteX21567" fmla="*/ 3177328 w 7714416"/>
              <a:gd name="connsiteY21567" fmla="*/ 713257 h 5282095"/>
              <a:gd name="connsiteX21568" fmla="*/ 3175657 w 7714416"/>
              <a:gd name="connsiteY21568" fmla="*/ 713959 h 5282095"/>
              <a:gd name="connsiteX21569" fmla="*/ 3165577 w 7714416"/>
              <a:gd name="connsiteY21569" fmla="*/ 715053 h 5282095"/>
              <a:gd name="connsiteX21570" fmla="*/ 3164373 w 7714416"/>
              <a:gd name="connsiteY21570" fmla="*/ 716225 h 5282095"/>
              <a:gd name="connsiteX21571" fmla="*/ 3153032 w 7714416"/>
              <a:gd name="connsiteY21571" fmla="*/ 718706 h 5282095"/>
              <a:gd name="connsiteX21572" fmla="*/ 3148986 w 7714416"/>
              <a:gd name="connsiteY21572" fmla="*/ 718313 h 5282095"/>
              <a:gd name="connsiteX21573" fmla="*/ 3143685 w 7714416"/>
              <a:gd name="connsiteY21573" fmla="*/ 721492 h 5282095"/>
              <a:gd name="connsiteX21574" fmla="*/ 3152198 w 7714416"/>
              <a:gd name="connsiteY21574" fmla="*/ 721819 h 5282095"/>
              <a:gd name="connsiteX21575" fmla="*/ 3151709 w 7714416"/>
              <a:gd name="connsiteY21575" fmla="*/ 723642 h 5282095"/>
              <a:gd name="connsiteX21576" fmla="*/ 3158221 w 7714416"/>
              <a:gd name="connsiteY21576" fmla="*/ 721477 h 5282095"/>
              <a:gd name="connsiteX21577" fmla="*/ 3170450 w 7714416"/>
              <a:gd name="connsiteY21577" fmla="*/ 719004 h 5282095"/>
              <a:gd name="connsiteX21578" fmla="*/ 3172311 w 7714416"/>
              <a:gd name="connsiteY21578" fmla="*/ 718698 h 5282095"/>
              <a:gd name="connsiteX21579" fmla="*/ 3175459 w 7714416"/>
              <a:gd name="connsiteY21579" fmla="*/ 720231 h 5282095"/>
              <a:gd name="connsiteX21580" fmla="*/ 3175445 w 7714416"/>
              <a:gd name="connsiteY21580" fmla="*/ 715857 h 5282095"/>
              <a:gd name="connsiteX21581" fmla="*/ 1473252 w 7714416"/>
              <a:gd name="connsiteY21581" fmla="*/ 713207 h 5282095"/>
              <a:gd name="connsiteX21582" fmla="*/ 1487040 w 7714416"/>
              <a:gd name="connsiteY21582" fmla="*/ 724837 h 5282095"/>
              <a:gd name="connsiteX21583" fmla="*/ 1473554 w 7714416"/>
              <a:gd name="connsiteY21583" fmla="*/ 716508 h 5282095"/>
              <a:gd name="connsiteX21584" fmla="*/ 1473252 w 7714416"/>
              <a:gd name="connsiteY21584" fmla="*/ 713207 h 5282095"/>
              <a:gd name="connsiteX21585" fmla="*/ 1262151 w 7714416"/>
              <a:gd name="connsiteY21585" fmla="*/ 712994 h 5282095"/>
              <a:gd name="connsiteX21586" fmla="*/ 1263047 w 7714416"/>
              <a:gd name="connsiteY21586" fmla="*/ 715188 h 5282095"/>
              <a:gd name="connsiteX21587" fmla="*/ 1261224 w 7714416"/>
              <a:gd name="connsiteY21587" fmla="*/ 714240 h 5282095"/>
              <a:gd name="connsiteX21588" fmla="*/ 1262151 w 7714416"/>
              <a:gd name="connsiteY21588" fmla="*/ 712994 h 5282095"/>
              <a:gd name="connsiteX21589" fmla="*/ 1219355 w 7714416"/>
              <a:gd name="connsiteY21589" fmla="*/ 712222 h 5282095"/>
              <a:gd name="connsiteX21590" fmla="*/ 1226704 w 7714416"/>
              <a:gd name="connsiteY21590" fmla="*/ 721321 h 5282095"/>
              <a:gd name="connsiteX21591" fmla="*/ 1232062 w 7714416"/>
              <a:gd name="connsiteY21591" fmla="*/ 726782 h 5282095"/>
              <a:gd name="connsiteX21592" fmla="*/ 1222772 w 7714416"/>
              <a:gd name="connsiteY21592" fmla="*/ 720497 h 5282095"/>
              <a:gd name="connsiteX21593" fmla="*/ 1217562 w 7714416"/>
              <a:gd name="connsiteY21593" fmla="*/ 720022 h 5282095"/>
              <a:gd name="connsiteX21594" fmla="*/ 1211633 w 7714416"/>
              <a:gd name="connsiteY21594" fmla="*/ 713373 h 5282095"/>
              <a:gd name="connsiteX21595" fmla="*/ 1219355 w 7714416"/>
              <a:gd name="connsiteY21595" fmla="*/ 712222 h 5282095"/>
              <a:gd name="connsiteX21596" fmla="*/ 4506021 w 7714416"/>
              <a:gd name="connsiteY21596" fmla="*/ 712198 h 5282095"/>
              <a:gd name="connsiteX21597" fmla="*/ 4518616 w 7714416"/>
              <a:gd name="connsiteY21597" fmla="*/ 713618 h 5282095"/>
              <a:gd name="connsiteX21598" fmla="*/ 4527876 w 7714416"/>
              <a:gd name="connsiteY21598" fmla="*/ 720010 h 5282095"/>
              <a:gd name="connsiteX21599" fmla="*/ 4524876 w 7714416"/>
              <a:gd name="connsiteY21599" fmla="*/ 741171 h 5282095"/>
              <a:gd name="connsiteX21600" fmla="*/ 4521037 w 7714416"/>
              <a:gd name="connsiteY21600" fmla="*/ 742212 h 5282095"/>
              <a:gd name="connsiteX21601" fmla="*/ 4516290 w 7714416"/>
              <a:gd name="connsiteY21601" fmla="*/ 745541 h 5282095"/>
              <a:gd name="connsiteX21602" fmla="*/ 4498599 w 7714416"/>
              <a:gd name="connsiteY21602" fmla="*/ 732980 h 5282095"/>
              <a:gd name="connsiteX21603" fmla="*/ 4499652 w 7714416"/>
              <a:gd name="connsiteY21603" fmla="*/ 712447 h 5282095"/>
              <a:gd name="connsiteX21604" fmla="*/ 4506021 w 7714416"/>
              <a:gd name="connsiteY21604" fmla="*/ 712198 h 5282095"/>
              <a:gd name="connsiteX21605" fmla="*/ 3641250 w 7714416"/>
              <a:gd name="connsiteY21605" fmla="*/ 710717 h 5282095"/>
              <a:gd name="connsiteX21606" fmla="*/ 3662834 w 7714416"/>
              <a:gd name="connsiteY21606" fmla="*/ 716500 h 5282095"/>
              <a:gd name="connsiteX21607" fmla="*/ 3651466 w 7714416"/>
              <a:gd name="connsiteY21607" fmla="*/ 715755 h 5282095"/>
              <a:gd name="connsiteX21608" fmla="*/ 3641250 w 7714416"/>
              <a:gd name="connsiteY21608" fmla="*/ 710717 h 5282095"/>
              <a:gd name="connsiteX21609" fmla="*/ 5009148 w 7714416"/>
              <a:gd name="connsiteY21609" fmla="*/ 710274 h 5282095"/>
              <a:gd name="connsiteX21610" fmla="*/ 5015303 w 7714416"/>
              <a:gd name="connsiteY21610" fmla="*/ 710544 h 5282095"/>
              <a:gd name="connsiteX21611" fmla="*/ 5019321 w 7714416"/>
              <a:gd name="connsiteY21611" fmla="*/ 737610 h 5282095"/>
              <a:gd name="connsiteX21612" fmla="*/ 5014272 w 7714416"/>
              <a:gd name="connsiteY21612" fmla="*/ 737638 h 5282095"/>
              <a:gd name="connsiteX21613" fmla="*/ 5006306 w 7714416"/>
              <a:gd name="connsiteY21613" fmla="*/ 735272 h 5282095"/>
              <a:gd name="connsiteX21614" fmla="*/ 4997803 w 7714416"/>
              <a:gd name="connsiteY21614" fmla="*/ 716089 h 5282095"/>
              <a:gd name="connsiteX21615" fmla="*/ 5009148 w 7714416"/>
              <a:gd name="connsiteY21615" fmla="*/ 710274 h 5282095"/>
              <a:gd name="connsiteX21616" fmla="*/ 1840101 w 7714416"/>
              <a:gd name="connsiteY21616" fmla="*/ 708807 h 5282095"/>
              <a:gd name="connsiteX21617" fmla="*/ 1857284 w 7714416"/>
              <a:gd name="connsiteY21617" fmla="*/ 731007 h 5282095"/>
              <a:gd name="connsiteX21618" fmla="*/ 1850253 w 7714416"/>
              <a:gd name="connsiteY21618" fmla="*/ 729583 h 5282095"/>
              <a:gd name="connsiteX21619" fmla="*/ 1845893 w 7714416"/>
              <a:gd name="connsiteY21619" fmla="*/ 727035 h 5282095"/>
              <a:gd name="connsiteX21620" fmla="*/ 1844279 w 7714416"/>
              <a:gd name="connsiteY21620" fmla="*/ 727523 h 5282095"/>
              <a:gd name="connsiteX21621" fmla="*/ 1838915 w 7714416"/>
              <a:gd name="connsiteY21621" fmla="*/ 719875 h 5282095"/>
              <a:gd name="connsiteX21622" fmla="*/ 1835323 w 7714416"/>
              <a:gd name="connsiteY21622" fmla="*/ 715577 h 5282095"/>
              <a:gd name="connsiteX21623" fmla="*/ 1840101 w 7714416"/>
              <a:gd name="connsiteY21623" fmla="*/ 708807 h 5282095"/>
              <a:gd name="connsiteX21624" fmla="*/ 1340390 w 7714416"/>
              <a:gd name="connsiteY21624" fmla="*/ 708773 h 5282095"/>
              <a:gd name="connsiteX21625" fmla="*/ 1343941 w 7714416"/>
              <a:gd name="connsiteY21625" fmla="*/ 708804 h 5282095"/>
              <a:gd name="connsiteX21626" fmla="*/ 1348749 w 7714416"/>
              <a:gd name="connsiteY21626" fmla="*/ 710783 h 5282095"/>
              <a:gd name="connsiteX21627" fmla="*/ 1348276 w 7714416"/>
              <a:gd name="connsiteY21627" fmla="*/ 716980 h 5282095"/>
              <a:gd name="connsiteX21628" fmla="*/ 1344724 w 7714416"/>
              <a:gd name="connsiteY21628" fmla="*/ 716949 h 5282095"/>
              <a:gd name="connsiteX21629" fmla="*/ 1340204 w 7714416"/>
              <a:gd name="connsiteY21629" fmla="*/ 713897 h 5282095"/>
              <a:gd name="connsiteX21630" fmla="*/ 1340390 w 7714416"/>
              <a:gd name="connsiteY21630" fmla="*/ 708773 h 5282095"/>
              <a:gd name="connsiteX21631" fmla="*/ 1570056 w 7714416"/>
              <a:gd name="connsiteY21631" fmla="*/ 708325 h 5282095"/>
              <a:gd name="connsiteX21632" fmla="*/ 1576768 w 7714416"/>
              <a:gd name="connsiteY21632" fmla="*/ 714264 h 5282095"/>
              <a:gd name="connsiteX21633" fmla="*/ 1570954 w 7714416"/>
              <a:gd name="connsiteY21633" fmla="*/ 716040 h 5282095"/>
              <a:gd name="connsiteX21634" fmla="*/ 1565850 w 7714416"/>
              <a:gd name="connsiteY21634" fmla="*/ 712948 h 5282095"/>
              <a:gd name="connsiteX21635" fmla="*/ 1570056 w 7714416"/>
              <a:gd name="connsiteY21635" fmla="*/ 708325 h 5282095"/>
              <a:gd name="connsiteX21636" fmla="*/ 2149327 w 7714416"/>
              <a:gd name="connsiteY21636" fmla="*/ 708059 h 5282095"/>
              <a:gd name="connsiteX21637" fmla="*/ 2117668 w 7714416"/>
              <a:gd name="connsiteY21637" fmla="*/ 735455 h 5282095"/>
              <a:gd name="connsiteX21638" fmla="*/ 2114990 w 7714416"/>
              <a:gd name="connsiteY21638" fmla="*/ 731058 h 5282095"/>
              <a:gd name="connsiteX21639" fmla="*/ 2149327 w 7714416"/>
              <a:gd name="connsiteY21639" fmla="*/ 708059 h 5282095"/>
              <a:gd name="connsiteX21640" fmla="*/ 3581277 w 7714416"/>
              <a:gd name="connsiteY21640" fmla="*/ 707642 h 5282095"/>
              <a:gd name="connsiteX21641" fmla="*/ 3588785 w 7714416"/>
              <a:gd name="connsiteY21641" fmla="*/ 711725 h 5282095"/>
              <a:gd name="connsiteX21642" fmla="*/ 3589812 w 7714416"/>
              <a:gd name="connsiteY21642" fmla="*/ 723385 h 5282095"/>
              <a:gd name="connsiteX21643" fmla="*/ 3583648 w 7714416"/>
              <a:gd name="connsiteY21643" fmla="*/ 720929 h 5282095"/>
              <a:gd name="connsiteX21644" fmla="*/ 3581726 w 7714416"/>
              <a:gd name="connsiteY21644" fmla="*/ 715928 h 5282095"/>
              <a:gd name="connsiteX21645" fmla="*/ 3581392 w 7714416"/>
              <a:gd name="connsiteY21645" fmla="*/ 716069 h 5282095"/>
              <a:gd name="connsiteX21646" fmla="*/ 3576746 w 7714416"/>
              <a:gd name="connsiteY21646" fmla="*/ 714593 h 5282095"/>
              <a:gd name="connsiteX21647" fmla="*/ 3581403 w 7714416"/>
              <a:gd name="connsiteY21647" fmla="*/ 714921 h 5282095"/>
              <a:gd name="connsiteX21648" fmla="*/ 3579509 w 7714416"/>
              <a:gd name="connsiteY21648" fmla="*/ 709814 h 5282095"/>
              <a:gd name="connsiteX21649" fmla="*/ 3581277 w 7714416"/>
              <a:gd name="connsiteY21649" fmla="*/ 707642 h 5282095"/>
              <a:gd name="connsiteX21650" fmla="*/ 4817025 w 7714416"/>
              <a:gd name="connsiteY21650" fmla="*/ 706750 h 5282095"/>
              <a:gd name="connsiteX21651" fmla="*/ 4809385 w 7714416"/>
              <a:gd name="connsiteY21651" fmla="*/ 719769 h 5282095"/>
              <a:gd name="connsiteX21652" fmla="*/ 4806313 w 7714416"/>
              <a:gd name="connsiteY21652" fmla="*/ 719060 h 5282095"/>
              <a:gd name="connsiteX21653" fmla="*/ 4798213 w 7714416"/>
              <a:gd name="connsiteY21653" fmla="*/ 707231 h 5282095"/>
              <a:gd name="connsiteX21654" fmla="*/ 4817025 w 7714416"/>
              <a:gd name="connsiteY21654" fmla="*/ 706750 h 5282095"/>
              <a:gd name="connsiteX21655" fmla="*/ 828858 w 7714416"/>
              <a:gd name="connsiteY21655" fmla="*/ 706375 h 5282095"/>
              <a:gd name="connsiteX21656" fmla="*/ 842584 w 7714416"/>
              <a:gd name="connsiteY21656" fmla="*/ 721552 h 5282095"/>
              <a:gd name="connsiteX21657" fmla="*/ 836326 w 7714416"/>
              <a:gd name="connsiteY21657" fmla="*/ 720565 h 5282095"/>
              <a:gd name="connsiteX21658" fmla="*/ 828778 w 7714416"/>
              <a:gd name="connsiteY21658" fmla="*/ 717738 h 5282095"/>
              <a:gd name="connsiteX21659" fmla="*/ 828858 w 7714416"/>
              <a:gd name="connsiteY21659" fmla="*/ 706375 h 5282095"/>
              <a:gd name="connsiteX21660" fmla="*/ 2539815 w 7714416"/>
              <a:gd name="connsiteY21660" fmla="*/ 706198 h 5282095"/>
              <a:gd name="connsiteX21661" fmla="*/ 2549241 w 7714416"/>
              <a:gd name="connsiteY21661" fmla="*/ 709759 h 5282095"/>
              <a:gd name="connsiteX21662" fmla="*/ 2545403 w 7714416"/>
              <a:gd name="connsiteY21662" fmla="*/ 719656 h 5282095"/>
              <a:gd name="connsiteX21663" fmla="*/ 2539754 w 7714416"/>
              <a:gd name="connsiteY21663" fmla="*/ 718602 h 5282095"/>
              <a:gd name="connsiteX21664" fmla="*/ 2534967 w 7714416"/>
              <a:gd name="connsiteY21664" fmla="*/ 714329 h 5282095"/>
              <a:gd name="connsiteX21665" fmla="*/ 2533616 w 7714416"/>
              <a:gd name="connsiteY21665" fmla="*/ 710517 h 5282095"/>
              <a:gd name="connsiteX21666" fmla="*/ 2536006 w 7714416"/>
              <a:gd name="connsiteY21666" fmla="*/ 707132 h 5282095"/>
              <a:gd name="connsiteX21667" fmla="*/ 2539815 w 7714416"/>
              <a:gd name="connsiteY21667" fmla="*/ 706198 h 5282095"/>
              <a:gd name="connsiteX21668" fmla="*/ 4292196 w 7714416"/>
              <a:gd name="connsiteY21668" fmla="*/ 705275 h 5282095"/>
              <a:gd name="connsiteX21669" fmla="*/ 4295743 w 7714416"/>
              <a:gd name="connsiteY21669" fmla="*/ 708641 h 5282095"/>
              <a:gd name="connsiteX21670" fmla="*/ 4295603 w 7714416"/>
              <a:gd name="connsiteY21670" fmla="*/ 714698 h 5282095"/>
              <a:gd name="connsiteX21671" fmla="*/ 4292462 w 7714416"/>
              <a:gd name="connsiteY21671" fmla="*/ 715351 h 5282095"/>
              <a:gd name="connsiteX21672" fmla="*/ 4281530 w 7714416"/>
              <a:gd name="connsiteY21672" fmla="*/ 709662 h 5282095"/>
              <a:gd name="connsiteX21673" fmla="*/ 4281096 w 7714416"/>
              <a:gd name="connsiteY21673" fmla="*/ 705750 h 5282095"/>
              <a:gd name="connsiteX21674" fmla="*/ 4292196 w 7714416"/>
              <a:gd name="connsiteY21674" fmla="*/ 705275 h 5282095"/>
              <a:gd name="connsiteX21675" fmla="*/ 2398662 w 7714416"/>
              <a:gd name="connsiteY21675" fmla="*/ 704486 h 5282095"/>
              <a:gd name="connsiteX21676" fmla="*/ 2417246 w 7714416"/>
              <a:gd name="connsiteY21676" fmla="*/ 707626 h 5282095"/>
              <a:gd name="connsiteX21677" fmla="*/ 2421108 w 7714416"/>
              <a:gd name="connsiteY21677" fmla="*/ 709810 h 5282095"/>
              <a:gd name="connsiteX21678" fmla="*/ 2428302 w 7714416"/>
              <a:gd name="connsiteY21678" fmla="*/ 711739 h 5282095"/>
              <a:gd name="connsiteX21679" fmla="*/ 2427161 w 7714416"/>
              <a:gd name="connsiteY21679" fmla="*/ 718217 h 5282095"/>
              <a:gd name="connsiteX21680" fmla="*/ 2437607 w 7714416"/>
              <a:gd name="connsiteY21680" fmla="*/ 713542 h 5282095"/>
              <a:gd name="connsiteX21681" fmla="*/ 2412233 w 7714416"/>
              <a:gd name="connsiteY21681" fmla="*/ 736298 h 5282095"/>
              <a:gd name="connsiteX21682" fmla="*/ 2412703 w 7714416"/>
              <a:gd name="connsiteY21682" fmla="*/ 733434 h 5282095"/>
              <a:gd name="connsiteX21683" fmla="*/ 2410479 w 7714416"/>
              <a:gd name="connsiteY21683" fmla="*/ 733988 h 5282095"/>
              <a:gd name="connsiteX21684" fmla="*/ 2403158 w 7714416"/>
              <a:gd name="connsiteY21684" fmla="*/ 733636 h 5282095"/>
              <a:gd name="connsiteX21685" fmla="*/ 2398760 w 7714416"/>
              <a:gd name="connsiteY21685" fmla="*/ 732343 h 5282095"/>
              <a:gd name="connsiteX21686" fmla="*/ 2405053 w 7714416"/>
              <a:gd name="connsiteY21686" fmla="*/ 738744 h 5282095"/>
              <a:gd name="connsiteX21687" fmla="*/ 2409968 w 7714416"/>
              <a:gd name="connsiteY21687" fmla="*/ 746961 h 5282095"/>
              <a:gd name="connsiteX21688" fmla="*/ 2386875 w 7714416"/>
              <a:gd name="connsiteY21688" fmla="*/ 742384 h 5282095"/>
              <a:gd name="connsiteX21689" fmla="*/ 2396852 w 7714416"/>
              <a:gd name="connsiteY21689" fmla="*/ 731717 h 5282095"/>
              <a:gd name="connsiteX21690" fmla="*/ 2385928 w 7714416"/>
              <a:gd name="connsiteY21690" fmla="*/ 719360 h 5282095"/>
              <a:gd name="connsiteX21691" fmla="*/ 2387969 w 7714416"/>
              <a:gd name="connsiteY21691" fmla="*/ 711741 h 5282095"/>
              <a:gd name="connsiteX21692" fmla="*/ 2398662 w 7714416"/>
              <a:gd name="connsiteY21692" fmla="*/ 704486 h 5282095"/>
              <a:gd name="connsiteX21693" fmla="*/ 3947838 w 7714416"/>
              <a:gd name="connsiteY21693" fmla="*/ 704316 h 5282095"/>
              <a:gd name="connsiteX21694" fmla="*/ 3942775 w 7714416"/>
              <a:gd name="connsiteY21694" fmla="*/ 717680 h 5282095"/>
              <a:gd name="connsiteX21695" fmla="*/ 3933676 w 7714416"/>
              <a:gd name="connsiteY21695" fmla="*/ 720646 h 5282095"/>
              <a:gd name="connsiteX21696" fmla="*/ 3931018 w 7714416"/>
              <a:gd name="connsiteY21696" fmla="*/ 717289 h 5282095"/>
              <a:gd name="connsiteX21697" fmla="*/ 3934195 w 7714416"/>
              <a:gd name="connsiteY21697" fmla="*/ 709860 h 5282095"/>
              <a:gd name="connsiteX21698" fmla="*/ 3947838 w 7714416"/>
              <a:gd name="connsiteY21698" fmla="*/ 704316 h 5282095"/>
              <a:gd name="connsiteX21699" fmla="*/ 3689275 w 7714416"/>
              <a:gd name="connsiteY21699" fmla="*/ 704150 h 5282095"/>
              <a:gd name="connsiteX21700" fmla="*/ 3718382 w 7714416"/>
              <a:gd name="connsiteY21700" fmla="*/ 706200 h 5282095"/>
              <a:gd name="connsiteX21701" fmla="*/ 3720201 w 7714416"/>
              <a:gd name="connsiteY21701" fmla="*/ 710481 h 5282095"/>
              <a:gd name="connsiteX21702" fmla="*/ 3716485 w 7714416"/>
              <a:gd name="connsiteY21702" fmla="*/ 713281 h 5282095"/>
              <a:gd name="connsiteX21703" fmla="*/ 3695319 w 7714416"/>
              <a:gd name="connsiteY21703" fmla="*/ 710370 h 5282095"/>
              <a:gd name="connsiteX21704" fmla="*/ 3689275 w 7714416"/>
              <a:gd name="connsiteY21704" fmla="*/ 704150 h 5282095"/>
              <a:gd name="connsiteX21705" fmla="*/ 2738262 w 7714416"/>
              <a:gd name="connsiteY21705" fmla="*/ 703826 h 5282095"/>
              <a:gd name="connsiteX21706" fmla="*/ 2742194 w 7714416"/>
              <a:gd name="connsiteY21706" fmla="*/ 704650 h 5282095"/>
              <a:gd name="connsiteX21707" fmla="*/ 2742245 w 7714416"/>
              <a:gd name="connsiteY21707" fmla="*/ 719957 h 5282095"/>
              <a:gd name="connsiteX21708" fmla="*/ 2739226 w 7714416"/>
              <a:gd name="connsiteY21708" fmla="*/ 722368 h 5282095"/>
              <a:gd name="connsiteX21709" fmla="*/ 2737734 w 7714416"/>
              <a:gd name="connsiteY21709" fmla="*/ 724614 h 5282095"/>
              <a:gd name="connsiteX21710" fmla="*/ 2727909 w 7714416"/>
              <a:gd name="connsiteY21710" fmla="*/ 728077 h 5282095"/>
              <a:gd name="connsiteX21711" fmla="*/ 2735693 w 7714416"/>
              <a:gd name="connsiteY21711" fmla="*/ 705668 h 5282095"/>
              <a:gd name="connsiteX21712" fmla="*/ 2738262 w 7714416"/>
              <a:gd name="connsiteY21712" fmla="*/ 703826 h 5282095"/>
              <a:gd name="connsiteX21713" fmla="*/ 4269025 w 7714416"/>
              <a:gd name="connsiteY21713" fmla="*/ 703206 h 5282095"/>
              <a:gd name="connsiteX21714" fmla="*/ 4280089 w 7714416"/>
              <a:gd name="connsiteY21714" fmla="*/ 718362 h 5282095"/>
              <a:gd name="connsiteX21715" fmla="*/ 4263444 w 7714416"/>
              <a:gd name="connsiteY21715" fmla="*/ 718501 h 5282095"/>
              <a:gd name="connsiteX21716" fmla="*/ 4261478 w 7714416"/>
              <a:gd name="connsiteY21716" fmla="*/ 709235 h 5282095"/>
              <a:gd name="connsiteX21717" fmla="*/ 4269025 w 7714416"/>
              <a:gd name="connsiteY21717" fmla="*/ 703206 h 5282095"/>
              <a:gd name="connsiteX21718" fmla="*/ 2121913 w 7714416"/>
              <a:gd name="connsiteY21718" fmla="*/ 703012 h 5282095"/>
              <a:gd name="connsiteX21719" fmla="*/ 2124887 w 7714416"/>
              <a:gd name="connsiteY21719" fmla="*/ 705190 h 5282095"/>
              <a:gd name="connsiteX21720" fmla="*/ 2128179 w 7714416"/>
              <a:gd name="connsiteY21720" fmla="*/ 706186 h 5282095"/>
              <a:gd name="connsiteX21721" fmla="*/ 2127863 w 7714416"/>
              <a:gd name="connsiteY21721" fmla="*/ 707367 h 5282095"/>
              <a:gd name="connsiteX21722" fmla="*/ 2129207 w 7714416"/>
              <a:gd name="connsiteY21722" fmla="*/ 708992 h 5282095"/>
              <a:gd name="connsiteX21723" fmla="*/ 2125261 w 7714416"/>
              <a:gd name="connsiteY21723" fmla="*/ 712650 h 5282095"/>
              <a:gd name="connsiteX21724" fmla="*/ 2121567 w 7714416"/>
              <a:gd name="connsiteY21724" fmla="*/ 713155 h 5282095"/>
              <a:gd name="connsiteX21725" fmla="*/ 2118362 w 7714416"/>
              <a:gd name="connsiteY21725" fmla="*/ 711836 h 5282095"/>
              <a:gd name="connsiteX21726" fmla="*/ 2117333 w 7714416"/>
              <a:gd name="connsiteY21726" fmla="*/ 709031 h 5282095"/>
              <a:gd name="connsiteX21727" fmla="*/ 2118295 w 7714416"/>
              <a:gd name="connsiteY21727" fmla="*/ 704342 h 5282095"/>
              <a:gd name="connsiteX21728" fmla="*/ 2121913 w 7714416"/>
              <a:gd name="connsiteY21728" fmla="*/ 703012 h 5282095"/>
              <a:gd name="connsiteX21729" fmla="*/ 1901630 w 7714416"/>
              <a:gd name="connsiteY21729" fmla="*/ 702754 h 5282095"/>
              <a:gd name="connsiteX21730" fmla="*/ 1904195 w 7714416"/>
              <a:gd name="connsiteY21730" fmla="*/ 713101 h 5282095"/>
              <a:gd name="connsiteX21731" fmla="*/ 1897944 w 7714416"/>
              <a:gd name="connsiteY21731" fmla="*/ 705446 h 5282095"/>
              <a:gd name="connsiteX21732" fmla="*/ 1901630 w 7714416"/>
              <a:gd name="connsiteY21732" fmla="*/ 702754 h 5282095"/>
              <a:gd name="connsiteX21733" fmla="*/ 2162419 w 7714416"/>
              <a:gd name="connsiteY21733" fmla="*/ 702366 h 5282095"/>
              <a:gd name="connsiteX21734" fmla="*/ 2155336 w 7714416"/>
              <a:gd name="connsiteY21734" fmla="*/ 721054 h 5282095"/>
              <a:gd name="connsiteX21735" fmla="*/ 2150290 w 7714416"/>
              <a:gd name="connsiteY21735" fmla="*/ 708891 h 5282095"/>
              <a:gd name="connsiteX21736" fmla="*/ 2162419 w 7714416"/>
              <a:gd name="connsiteY21736" fmla="*/ 702366 h 5282095"/>
              <a:gd name="connsiteX21737" fmla="*/ 5112417 w 7714416"/>
              <a:gd name="connsiteY21737" fmla="*/ 702294 h 5282095"/>
              <a:gd name="connsiteX21738" fmla="*/ 5115683 w 7714416"/>
              <a:gd name="connsiteY21738" fmla="*/ 708919 h 5282095"/>
              <a:gd name="connsiteX21739" fmla="*/ 5108888 w 7714416"/>
              <a:gd name="connsiteY21739" fmla="*/ 708823 h 5282095"/>
              <a:gd name="connsiteX21740" fmla="*/ 5112417 w 7714416"/>
              <a:gd name="connsiteY21740" fmla="*/ 702294 h 5282095"/>
              <a:gd name="connsiteX21741" fmla="*/ 2482488 w 7714416"/>
              <a:gd name="connsiteY21741" fmla="*/ 702107 h 5282095"/>
              <a:gd name="connsiteX21742" fmla="*/ 2485951 w 7714416"/>
              <a:gd name="connsiteY21742" fmla="*/ 702461 h 5282095"/>
              <a:gd name="connsiteX21743" fmla="*/ 2487953 w 7714416"/>
              <a:gd name="connsiteY21743" fmla="*/ 704952 h 5282095"/>
              <a:gd name="connsiteX21744" fmla="*/ 2488434 w 7714416"/>
              <a:gd name="connsiteY21744" fmla="*/ 709796 h 5282095"/>
              <a:gd name="connsiteX21745" fmla="*/ 2485197 w 7714416"/>
              <a:gd name="connsiteY21745" fmla="*/ 711918 h 5282095"/>
              <a:gd name="connsiteX21746" fmla="*/ 2481933 w 7714416"/>
              <a:gd name="connsiteY21746" fmla="*/ 710814 h 5282095"/>
              <a:gd name="connsiteX21747" fmla="*/ 2478411 w 7714416"/>
              <a:gd name="connsiteY21747" fmla="*/ 710675 h 5282095"/>
              <a:gd name="connsiteX21748" fmla="*/ 2478422 w 7714416"/>
              <a:gd name="connsiteY21748" fmla="*/ 709528 h 5282095"/>
              <a:gd name="connsiteX21749" fmla="*/ 2476658 w 7714416"/>
              <a:gd name="connsiteY21749" fmla="*/ 708366 h 5282095"/>
              <a:gd name="connsiteX21750" fmla="*/ 2479421 w 7714416"/>
              <a:gd name="connsiteY21750" fmla="*/ 703586 h 5282095"/>
              <a:gd name="connsiteX21751" fmla="*/ 2482488 w 7714416"/>
              <a:gd name="connsiteY21751" fmla="*/ 702107 h 5282095"/>
              <a:gd name="connsiteX21752" fmla="*/ 1283809 w 7714416"/>
              <a:gd name="connsiteY21752" fmla="*/ 701892 h 5282095"/>
              <a:gd name="connsiteX21753" fmla="*/ 1288775 w 7714416"/>
              <a:gd name="connsiteY21753" fmla="*/ 707708 h 5282095"/>
              <a:gd name="connsiteX21754" fmla="*/ 1282577 w 7714416"/>
              <a:gd name="connsiteY21754" fmla="*/ 703172 h 5282095"/>
              <a:gd name="connsiteX21755" fmla="*/ 1283809 w 7714416"/>
              <a:gd name="connsiteY21755" fmla="*/ 701892 h 5282095"/>
              <a:gd name="connsiteX21756" fmla="*/ 3890748 w 7714416"/>
              <a:gd name="connsiteY21756" fmla="*/ 701554 h 5282095"/>
              <a:gd name="connsiteX21757" fmla="*/ 3890230 w 7714416"/>
              <a:gd name="connsiteY21757" fmla="*/ 712341 h 5282095"/>
              <a:gd name="connsiteX21758" fmla="*/ 3882180 w 7714416"/>
              <a:gd name="connsiteY21758" fmla="*/ 715818 h 5282095"/>
              <a:gd name="connsiteX21759" fmla="*/ 3870929 w 7714416"/>
              <a:gd name="connsiteY21759" fmla="*/ 714644 h 5282095"/>
              <a:gd name="connsiteX21760" fmla="*/ 3866894 w 7714416"/>
              <a:gd name="connsiteY21760" fmla="*/ 713103 h 5282095"/>
              <a:gd name="connsiteX21761" fmla="*/ 3867892 w 7714416"/>
              <a:gd name="connsiteY21761" fmla="*/ 707159 h 5282095"/>
              <a:gd name="connsiteX21762" fmla="*/ 3890748 w 7714416"/>
              <a:gd name="connsiteY21762" fmla="*/ 701554 h 5282095"/>
              <a:gd name="connsiteX21763" fmla="*/ 4779570 w 7714416"/>
              <a:gd name="connsiteY21763" fmla="*/ 701545 h 5282095"/>
              <a:gd name="connsiteX21764" fmla="*/ 4792050 w 7714416"/>
              <a:gd name="connsiteY21764" fmla="*/ 704774 h 5282095"/>
              <a:gd name="connsiteX21765" fmla="*/ 4786580 w 7714416"/>
              <a:gd name="connsiteY21765" fmla="*/ 722973 h 5282095"/>
              <a:gd name="connsiteX21766" fmla="*/ 4773119 w 7714416"/>
              <a:gd name="connsiteY21766" fmla="*/ 717870 h 5282095"/>
              <a:gd name="connsiteX21767" fmla="*/ 4772954 w 7714416"/>
              <a:gd name="connsiteY21767" fmla="*/ 702992 h 5282095"/>
              <a:gd name="connsiteX21768" fmla="*/ 4779570 w 7714416"/>
              <a:gd name="connsiteY21768" fmla="*/ 701545 h 5282095"/>
              <a:gd name="connsiteX21769" fmla="*/ 5179544 w 7714416"/>
              <a:gd name="connsiteY21769" fmla="*/ 699696 h 5282095"/>
              <a:gd name="connsiteX21770" fmla="*/ 5213051 w 7714416"/>
              <a:gd name="connsiteY21770" fmla="*/ 711894 h 5282095"/>
              <a:gd name="connsiteX21771" fmla="*/ 5224201 w 7714416"/>
              <a:gd name="connsiteY21771" fmla="*/ 735582 h 5282095"/>
              <a:gd name="connsiteX21772" fmla="*/ 5179544 w 7714416"/>
              <a:gd name="connsiteY21772" fmla="*/ 699696 h 5282095"/>
              <a:gd name="connsiteX21773" fmla="*/ 1995921 w 7714416"/>
              <a:gd name="connsiteY21773" fmla="*/ 699499 h 5282095"/>
              <a:gd name="connsiteX21774" fmla="*/ 2005361 w 7714416"/>
              <a:gd name="connsiteY21774" fmla="*/ 707433 h 5282095"/>
              <a:gd name="connsiteX21775" fmla="*/ 2000292 w 7714416"/>
              <a:gd name="connsiteY21775" fmla="*/ 709754 h 5282095"/>
              <a:gd name="connsiteX21776" fmla="*/ 1992583 w 7714416"/>
              <a:gd name="connsiteY21776" fmla="*/ 706425 h 5282095"/>
              <a:gd name="connsiteX21777" fmla="*/ 1995921 w 7714416"/>
              <a:gd name="connsiteY21777" fmla="*/ 699499 h 5282095"/>
              <a:gd name="connsiteX21778" fmla="*/ 2449796 w 7714416"/>
              <a:gd name="connsiteY21778" fmla="*/ 698767 h 5282095"/>
              <a:gd name="connsiteX21779" fmla="*/ 2469054 w 7714416"/>
              <a:gd name="connsiteY21779" fmla="*/ 705753 h 5282095"/>
              <a:gd name="connsiteX21780" fmla="*/ 2464652 w 7714416"/>
              <a:gd name="connsiteY21780" fmla="*/ 716649 h 5282095"/>
              <a:gd name="connsiteX21781" fmla="*/ 2457008 w 7714416"/>
              <a:gd name="connsiteY21781" fmla="*/ 715291 h 5282095"/>
              <a:gd name="connsiteX21782" fmla="*/ 2450511 w 7714416"/>
              <a:gd name="connsiteY21782" fmla="*/ 712974 h 5282095"/>
              <a:gd name="connsiteX21783" fmla="*/ 2439533 w 7714416"/>
              <a:gd name="connsiteY21783" fmla="*/ 706352 h 5282095"/>
              <a:gd name="connsiteX21784" fmla="*/ 2449796 w 7714416"/>
              <a:gd name="connsiteY21784" fmla="*/ 698767 h 5282095"/>
              <a:gd name="connsiteX21785" fmla="*/ 1717708 w 7714416"/>
              <a:gd name="connsiteY21785" fmla="*/ 697403 h 5282095"/>
              <a:gd name="connsiteX21786" fmla="*/ 1723443 w 7714416"/>
              <a:gd name="connsiteY21786" fmla="*/ 698134 h 5282095"/>
              <a:gd name="connsiteX21787" fmla="*/ 1726944 w 7714416"/>
              <a:gd name="connsiteY21787" fmla="*/ 700567 h 5282095"/>
              <a:gd name="connsiteX21788" fmla="*/ 1727737 w 7714416"/>
              <a:gd name="connsiteY21788" fmla="*/ 707565 h 5282095"/>
              <a:gd name="connsiteX21789" fmla="*/ 1712677 w 7714416"/>
              <a:gd name="connsiteY21789" fmla="*/ 707324 h 5282095"/>
              <a:gd name="connsiteX21790" fmla="*/ 1710553 w 7714416"/>
              <a:gd name="connsiteY21790" fmla="*/ 703076 h 5282095"/>
              <a:gd name="connsiteX21791" fmla="*/ 1713392 w 7714416"/>
              <a:gd name="connsiteY21791" fmla="*/ 699122 h 5282095"/>
              <a:gd name="connsiteX21792" fmla="*/ 1717708 w 7714416"/>
              <a:gd name="connsiteY21792" fmla="*/ 697403 h 5282095"/>
              <a:gd name="connsiteX21793" fmla="*/ 3913794 w 7714416"/>
              <a:gd name="connsiteY21793" fmla="*/ 696344 h 5282095"/>
              <a:gd name="connsiteX21794" fmla="*/ 3915812 w 7714416"/>
              <a:gd name="connsiteY21794" fmla="*/ 699875 h 5282095"/>
              <a:gd name="connsiteX21795" fmla="*/ 3910315 w 7714416"/>
              <a:gd name="connsiteY21795" fmla="*/ 700471 h 5282095"/>
              <a:gd name="connsiteX21796" fmla="*/ 3907282 w 7714416"/>
              <a:gd name="connsiteY21796" fmla="*/ 698510 h 5282095"/>
              <a:gd name="connsiteX21797" fmla="*/ 3913794 w 7714416"/>
              <a:gd name="connsiteY21797" fmla="*/ 696344 h 5282095"/>
              <a:gd name="connsiteX21798" fmla="*/ 3558990 w 7714416"/>
              <a:gd name="connsiteY21798" fmla="*/ 695360 h 5282095"/>
              <a:gd name="connsiteX21799" fmla="*/ 3567553 w 7714416"/>
              <a:gd name="connsiteY21799" fmla="*/ 697985 h 5282095"/>
              <a:gd name="connsiteX21800" fmla="*/ 3571794 w 7714416"/>
              <a:gd name="connsiteY21800" fmla="*/ 704296 h 5282095"/>
              <a:gd name="connsiteX21801" fmla="*/ 3568600 w 7714416"/>
              <a:gd name="connsiteY21801" fmla="*/ 710686 h 5282095"/>
              <a:gd name="connsiteX21802" fmla="*/ 3579574 w 7714416"/>
              <a:gd name="connsiteY21802" fmla="*/ 711786 h 5282095"/>
              <a:gd name="connsiteX21803" fmla="*/ 3576135 w 7714416"/>
              <a:gd name="connsiteY21803" fmla="*/ 714661 h 5282095"/>
              <a:gd name="connsiteX21804" fmla="*/ 3576441 w 7714416"/>
              <a:gd name="connsiteY21804" fmla="*/ 714627 h 5282095"/>
              <a:gd name="connsiteX21805" fmla="*/ 3572689 w 7714416"/>
              <a:gd name="connsiteY21805" fmla="*/ 715347 h 5282095"/>
              <a:gd name="connsiteX21806" fmla="*/ 3560679 w 7714416"/>
              <a:gd name="connsiteY21806" fmla="*/ 718109 h 5282095"/>
              <a:gd name="connsiteX21807" fmla="*/ 3561591 w 7714416"/>
              <a:gd name="connsiteY21807" fmla="*/ 712488 h 5282095"/>
              <a:gd name="connsiteX21808" fmla="*/ 3565181 w 7714416"/>
              <a:gd name="connsiteY21808" fmla="*/ 711265 h 5282095"/>
              <a:gd name="connsiteX21809" fmla="*/ 3558864 w 7714416"/>
              <a:gd name="connsiteY21809" fmla="*/ 710491 h 5282095"/>
              <a:gd name="connsiteX21810" fmla="*/ 3552194 w 7714416"/>
              <a:gd name="connsiteY21810" fmla="*/ 708820 h 5282095"/>
              <a:gd name="connsiteX21811" fmla="*/ 3549924 w 7714416"/>
              <a:gd name="connsiteY21811" fmla="*/ 699587 h 5282095"/>
              <a:gd name="connsiteX21812" fmla="*/ 3558990 w 7714416"/>
              <a:gd name="connsiteY21812" fmla="*/ 695360 h 5282095"/>
              <a:gd name="connsiteX21813" fmla="*/ 1270779 w 7714416"/>
              <a:gd name="connsiteY21813" fmla="*/ 695181 h 5282095"/>
              <a:gd name="connsiteX21814" fmla="*/ 1274550 w 7714416"/>
              <a:gd name="connsiteY21814" fmla="*/ 704355 h 5282095"/>
              <a:gd name="connsiteX21815" fmla="*/ 1269414 w 7714416"/>
              <a:gd name="connsiteY21815" fmla="*/ 704705 h 5282095"/>
              <a:gd name="connsiteX21816" fmla="*/ 1261041 w 7714416"/>
              <a:gd name="connsiteY21816" fmla="*/ 698321 h 5282095"/>
              <a:gd name="connsiteX21817" fmla="*/ 1270779 w 7714416"/>
              <a:gd name="connsiteY21817" fmla="*/ 695181 h 5282095"/>
              <a:gd name="connsiteX21818" fmla="*/ 3627171 w 7714416"/>
              <a:gd name="connsiteY21818" fmla="*/ 694639 h 5282095"/>
              <a:gd name="connsiteX21819" fmla="*/ 3631997 w 7714416"/>
              <a:gd name="connsiteY21819" fmla="*/ 697657 h 5282095"/>
              <a:gd name="connsiteX21820" fmla="*/ 3633036 w 7714416"/>
              <a:gd name="connsiteY21820" fmla="*/ 699316 h 5282095"/>
              <a:gd name="connsiteX21821" fmla="*/ 3638896 w 7714416"/>
              <a:gd name="connsiteY21821" fmla="*/ 698471 h 5282095"/>
              <a:gd name="connsiteX21822" fmla="*/ 3657040 w 7714416"/>
              <a:gd name="connsiteY21822" fmla="*/ 707129 h 5282095"/>
              <a:gd name="connsiteX21823" fmla="*/ 3629999 w 7714416"/>
              <a:gd name="connsiteY21823" fmla="*/ 709542 h 5282095"/>
              <a:gd name="connsiteX21824" fmla="*/ 3630811 w 7714416"/>
              <a:gd name="connsiteY21824" fmla="*/ 717580 h 5282095"/>
              <a:gd name="connsiteX21825" fmla="*/ 3616792 w 7714416"/>
              <a:gd name="connsiteY21825" fmla="*/ 715664 h 5282095"/>
              <a:gd name="connsiteX21826" fmla="*/ 3605235 w 7714416"/>
              <a:gd name="connsiteY21826" fmla="*/ 714522 h 5282095"/>
              <a:gd name="connsiteX21827" fmla="*/ 3592029 w 7714416"/>
              <a:gd name="connsiteY21827" fmla="*/ 711788 h 5282095"/>
              <a:gd name="connsiteX21828" fmla="*/ 3582323 w 7714416"/>
              <a:gd name="connsiteY21828" fmla="*/ 702633 h 5282095"/>
              <a:gd name="connsiteX21829" fmla="*/ 3606597 w 7714416"/>
              <a:gd name="connsiteY21829" fmla="*/ 699478 h 5282095"/>
              <a:gd name="connsiteX21830" fmla="*/ 3616351 w 7714416"/>
              <a:gd name="connsiteY21830" fmla="*/ 700710 h 5282095"/>
              <a:gd name="connsiteX21831" fmla="*/ 3619032 w 7714416"/>
              <a:gd name="connsiteY21831" fmla="*/ 701774 h 5282095"/>
              <a:gd name="connsiteX21832" fmla="*/ 3621968 w 7714416"/>
              <a:gd name="connsiteY21832" fmla="*/ 696350 h 5282095"/>
              <a:gd name="connsiteX21833" fmla="*/ 3622158 w 7714416"/>
              <a:gd name="connsiteY21833" fmla="*/ 696747 h 5282095"/>
              <a:gd name="connsiteX21834" fmla="*/ 3622388 w 7714416"/>
              <a:gd name="connsiteY21834" fmla="*/ 695888 h 5282095"/>
              <a:gd name="connsiteX21835" fmla="*/ 3627171 w 7714416"/>
              <a:gd name="connsiteY21835" fmla="*/ 694639 h 5282095"/>
              <a:gd name="connsiteX21836" fmla="*/ 2685341 w 7714416"/>
              <a:gd name="connsiteY21836" fmla="*/ 694360 h 5282095"/>
              <a:gd name="connsiteX21837" fmla="*/ 2686189 w 7714416"/>
              <a:gd name="connsiteY21837" fmla="*/ 695623 h 5282095"/>
              <a:gd name="connsiteX21838" fmla="*/ 2687029 w 7714416"/>
              <a:gd name="connsiteY21838" fmla="*/ 694698 h 5282095"/>
              <a:gd name="connsiteX21839" fmla="*/ 3631994 w 7714416"/>
              <a:gd name="connsiteY21839" fmla="*/ 692136 h 5282095"/>
              <a:gd name="connsiteX21840" fmla="*/ 3633151 w 7714416"/>
              <a:gd name="connsiteY21840" fmla="*/ 698887 h 5282095"/>
              <a:gd name="connsiteX21841" fmla="*/ 3630103 w 7714416"/>
              <a:gd name="connsiteY21841" fmla="*/ 692550 h 5282095"/>
              <a:gd name="connsiteX21842" fmla="*/ 3631994 w 7714416"/>
              <a:gd name="connsiteY21842" fmla="*/ 692136 h 5282095"/>
              <a:gd name="connsiteX21843" fmla="*/ 2430769 w 7714416"/>
              <a:gd name="connsiteY21843" fmla="*/ 691469 h 5282095"/>
              <a:gd name="connsiteX21844" fmla="*/ 2424573 w 7714416"/>
              <a:gd name="connsiteY21844" fmla="*/ 701309 h 5282095"/>
              <a:gd name="connsiteX21845" fmla="*/ 2430769 w 7714416"/>
              <a:gd name="connsiteY21845" fmla="*/ 691469 h 5282095"/>
              <a:gd name="connsiteX21846" fmla="*/ 1975756 w 7714416"/>
              <a:gd name="connsiteY21846" fmla="*/ 690646 h 5282095"/>
              <a:gd name="connsiteX21847" fmla="*/ 1971022 w 7714416"/>
              <a:gd name="connsiteY21847" fmla="*/ 698347 h 5282095"/>
              <a:gd name="connsiteX21848" fmla="*/ 1970289 w 7714416"/>
              <a:gd name="connsiteY21848" fmla="*/ 696656 h 5282095"/>
              <a:gd name="connsiteX21849" fmla="*/ 1971722 w 7714416"/>
              <a:gd name="connsiteY21849" fmla="*/ 694624 h 5282095"/>
              <a:gd name="connsiteX21850" fmla="*/ 1975756 w 7714416"/>
              <a:gd name="connsiteY21850" fmla="*/ 690646 h 5282095"/>
              <a:gd name="connsiteX21851" fmla="*/ 1692118 w 7714416"/>
              <a:gd name="connsiteY21851" fmla="*/ 689971 h 5282095"/>
              <a:gd name="connsiteX21852" fmla="*/ 1688492 w 7714416"/>
              <a:gd name="connsiteY21852" fmla="*/ 697970 h 5282095"/>
              <a:gd name="connsiteX21853" fmla="*/ 1687206 w 7714416"/>
              <a:gd name="connsiteY21853" fmla="*/ 696129 h 5282095"/>
              <a:gd name="connsiteX21854" fmla="*/ 1688611 w 7714416"/>
              <a:gd name="connsiteY21854" fmla="*/ 694206 h 5282095"/>
              <a:gd name="connsiteX21855" fmla="*/ 1692118 w 7714416"/>
              <a:gd name="connsiteY21855" fmla="*/ 689971 h 5282095"/>
              <a:gd name="connsiteX21856" fmla="*/ 5175117 w 7714416"/>
              <a:gd name="connsiteY21856" fmla="*/ 689655 h 5282095"/>
              <a:gd name="connsiteX21857" fmla="*/ 5177960 w 7714416"/>
              <a:gd name="connsiteY21857" fmla="*/ 691221 h 5282095"/>
              <a:gd name="connsiteX21858" fmla="*/ 5180019 w 7714416"/>
              <a:gd name="connsiteY21858" fmla="*/ 693497 h 5282095"/>
              <a:gd name="connsiteX21859" fmla="*/ 5173546 w 7714416"/>
              <a:gd name="connsiteY21859" fmla="*/ 694409 h 5282095"/>
              <a:gd name="connsiteX21860" fmla="*/ 5173263 w 7714416"/>
              <a:gd name="connsiteY21860" fmla="*/ 692148 h 5282095"/>
              <a:gd name="connsiteX21861" fmla="*/ 5171488 w 7714416"/>
              <a:gd name="connsiteY21861" fmla="*/ 692132 h 5282095"/>
              <a:gd name="connsiteX21862" fmla="*/ 5172951 w 7714416"/>
              <a:gd name="connsiteY21862" fmla="*/ 689994 h 5282095"/>
              <a:gd name="connsiteX21863" fmla="*/ 5174725 w 7714416"/>
              <a:gd name="connsiteY21863" fmla="*/ 690009 h 5282095"/>
              <a:gd name="connsiteX21864" fmla="*/ 5175117 w 7714416"/>
              <a:gd name="connsiteY21864" fmla="*/ 689655 h 5282095"/>
              <a:gd name="connsiteX21865" fmla="*/ 1680475 w 7714416"/>
              <a:gd name="connsiteY21865" fmla="*/ 689152 h 5282095"/>
              <a:gd name="connsiteX21866" fmla="*/ 1681858 w 7714416"/>
              <a:gd name="connsiteY21866" fmla="*/ 689522 h 5282095"/>
              <a:gd name="connsiteX21867" fmla="*/ 1680090 w 7714416"/>
              <a:gd name="connsiteY21867" fmla="*/ 691693 h 5282095"/>
              <a:gd name="connsiteX21868" fmla="*/ 1680475 w 7714416"/>
              <a:gd name="connsiteY21868" fmla="*/ 689152 h 5282095"/>
              <a:gd name="connsiteX21869" fmla="*/ 1663887 w 7714416"/>
              <a:gd name="connsiteY21869" fmla="*/ 689077 h 5282095"/>
              <a:gd name="connsiteX21870" fmla="*/ 1676234 w 7714416"/>
              <a:gd name="connsiteY21870" fmla="*/ 691695 h 5282095"/>
              <a:gd name="connsiteX21871" fmla="*/ 1680554 w 7714416"/>
              <a:gd name="connsiteY21871" fmla="*/ 695497 h 5282095"/>
              <a:gd name="connsiteX21872" fmla="*/ 1682373 w 7714416"/>
              <a:gd name="connsiteY21872" fmla="*/ 699780 h 5282095"/>
              <a:gd name="connsiteX21873" fmla="*/ 1678254 w 7714416"/>
              <a:gd name="connsiteY21873" fmla="*/ 704081 h 5282095"/>
              <a:gd name="connsiteX21874" fmla="*/ 1676594 w 7714416"/>
              <a:gd name="connsiteY21874" fmla="*/ 703637 h 5282095"/>
              <a:gd name="connsiteX21875" fmla="*/ 1675455 w 7714416"/>
              <a:gd name="connsiteY21875" fmla="*/ 706781 h 5282095"/>
              <a:gd name="connsiteX21876" fmla="*/ 1670110 w 7714416"/>
              <a:gd name="connsiteY21876" fmla="*/ 714549 h 5282095"/>
              <a:gd name="connsiteX21877" fmla="*/ 1672993 w 7714416"/>
              <a:gd name="connsiteY21877" fmla="*/ 706007 h 5282095"/>
              <a:gd name="connsiteX21878" fmla="*/ 1674408 w 7714416"/>
              <a:gd name="connsiteY21878" fmla="*/ 702936 h 5282095"/>
              <a:gd name="connsiteX21879" fmla="*/ 1672223 w 7714416"/>
              <a:gd name="connsiteY21879" fmla="*/ 702236 h 5282095"/>
              <a:gd name="connsiteX21880" fmla="*/ 1663887 w 7714416"/>
              <a:gd name="connsiteY21880" fmla="*/ 689077 h 5282095"/>
              <a:gd name="connsiteX21881" fmla="*/ 1094274 w 7714416"/>
              <a:gd name="connsiteY21881" fmla="*/ 688712 h 5282095"/>
              <a:gd name="connsiteX21882" fmla="*/ 1100143 w 7714416"/>
              <a:gd name="connsiteY21882" fmla="*/ 698909 h 5282095"/>
              <a:gd name="connsiteX21883" fmla="*/ 1102446 w 7714416"/>
              <a:gd name="connsiteY21883" fmla="*/ 704702 h 5282095"/>
              <a:gd name="connsiteX21884" fmla="*/ 1100230 w 7714416"/>
              <a:gd name="connsiteY21884" fmla="*/ 707442 h 5282095"/>
              <a:gd name="connsiteX21885" fmla="*/ 1098673 w 7714416"/>
              <a:gd name="connsiteY21885" fmla="*/ 707715 h 5282095"/>
              <a:gd name="connsiteX21886" fmla="*/ 1096337 w 7714416"/>
              <a:gd name="connsiteY21886" fmla="*/ 705364 h 5282095"/>
              <a:gd name="connsiteX21887" fmla="*/ 1092923 w 7714416"/>
              <a:gd name="connsiteY21887" fmla="*/ 693755 h 5282095"/>
              <a:gd name="connsiteX21888" fmla="*/ 1092058 w 7714416"/>
              <a:gd name="connsiteY21888" fmla="*/ 691452 h 5282095"/>
              <a:gd name="connsiteX21889" fmla="*/ 1094274 w 7714416"/>
              <a:gd name="connsiteY21889" fmla="*/ 688712 h 5282095"/>
              <a:gd name="connsiteX21890" fmla="*/ 1433155 w 7714416"/>
              <a:gd name="connsiteY21890" fmla="*/ 687973 h 5282095"/>
              <a:gd name="connsiteX21891" fmla="*/ 1444199 w 7714416"/>
              <a:gd name="connsiteY21891" fmla="*/ 696567 h 5282095"/>
              <a:gd name="connsiteX21892" fmla="*/ 1444170 w 7714416"/>
              <a:gd name="connsiteY21892" fmla="*/ 696675 h 5282095"/>
              <a:gd name="connsiteX21893" fmla="*/ 1444820 w 7714416"/>
              <a:gd name="connsiteY21893" fmla="*/ 695354 h 5282095"/>
              <a:gd name="connsiteX21894" fmla="*/ 1445057 w 7714416"/>
              <a:gd name="connsiteY21894" fmla="*/ 696681 h 5282095"/>
              <a:gd name="connsiteX21895" fmla="*/ 1444360 w 7714416"/>
              <a:gd name="connsiteY21895" fmla="*/ 697070 h 5282095"/>
              <a:gd name="connsiteX21896" fmla="*/ 1446939 w 7714416"/>
              <a:gd name="connsiteY21896" fmla="*/ 702937 h 5282095"/>
              <a:gd name="connsiteX21897" fmla="*/ 1445674 w 7714416"/>
              <a:gd name="connsiteY21897" fmla="*/ 707658 h 5282095"/>
              <a:gd name="connsiteX21898" fmla="*/ 1433503 w 7714416"/>
              <a:gd name="connsiteY21898" fmla="*/ 709916 h 5282095"/>
              <a:gd name="connsiteX21899" fmla="*/ 1420262 w 7714416"/>
              <a:gd name="connsiteY21899" fmla="*/ 696248 h 5282095"/>
              <a:gd name="connsiteX21900" fmla="*/ 1422720 w 7714416"/>
              <a:gd name="connsiteY21900" fmla="*/ 691502 h 5282095"/>
              <a:gd name="connsiteX21901" fmla="*/ 1433155 w 7714416"/>
              <a:gd name="connsiteY21901" fmla="*/ 687973 h 5282095"/>
              <a:gd name="connsiteX21902" fmla="*/ 931326 w 7714416"/>
              <a:gd name="connsiteY21902" fmla="*/ 684912 h 5282095"/>
              <a:gd name="connsiteX21903" fmla="*/ 943068 w 7714416"/>
              <a:gd name="connsiteY21903" fmla="*/ 685227 h 5282095"/>
              <a:gd name="connsiteX21904" fmla="*/ 953411 w 7714416"/>
              <a:gd name="connsiteY21904" fmla="*/ 697542 h 5282095"/>
              <a:gd name="connsiteX21905" fmla="*/ 951074 w 7714416"/>
              <a:gd name="connsiteY21905" fmla="*/ 704046 h 5282095"/>
              <a:gd name="connsiteX21906" fmla="*/ 931144 w 7714416"/>
              <a:gd name="connsiteY21906" fmla="*/ 705377 h 5282095"/>
              <a:gd name="connsiteX21907" fmla="*/ 922635 w 7714416"/>
              <a:gd name="connsiteY21907" fmla="*/ 692861 h 5282095"/>
              <a:gd name="connsiteX21908" fmla="*/ 918952 w 7714416"/>
              <a:gd name="connsiteY21908" fmla="*/ 692219 h 5282095"/>
              <a:gd name="connsiteX21909" fmla="*/ 913860 w 7714416"/>
              <a:gd name="connsiteY21909" fmla="*/ 687980 h 5282095"/>
              <a:gd name="connsiteX21910" fmla="*/ 916677 w 7714416"/>
              <a:gd name="connsiteY21910" fmla="*/ 686320 h 5282095"/>
              <a:gd name="connsiteX21911" fmla="*/ 923296 w 7714416"/>
              <a:gd name="connsiteY21911" fmla="*/ 690394 h 5282095"/>
              <a:gd name="connsiteX21912" fmla="*/ 924853 w 7714416"/>
              <a:gd name="connsiteY21912" fmla="*/ 690121 h 5282095"/>
              <a:gd name="connsiteX21913" fmla="*/ 927070 w 7714416"/>
              <a:gd name="connsiteY21913" fmla="*/ 687380 h 5282095"/>
              <a:gd name="connsiteX21914" fmla="*/ 931326 w 7714416"/>
              <a:gd name="connsiteY21914" fmla="*/ 684912 h 5282095"/>
              <a:gd name="connsiteX21915" fmla="*/ 3746132 w 7714416"/>
              <a:gd name="connsiteY21915" fmla="*/ 684540 h 5282095"/>
              <a:gd name="connsiteX21916" fmla="*/ 3746732 w 7714416"/>
              <a:gd name="connsiteY21916" fmla="*/ 685621 h 5282095"/>
              <a:gd name="connsiteX21917" fmla="*/ 3745892 w 7714416"/>
              <a:gd name="connsiteY21917" fmla="*/ 686545 h 5282095"/>
              <a:gd name="connsiteX21918" fmla="*/ 3747476 w 7714416"/>
              <a:gd name="connsiteY21918" fmla="*/ 686164 h 5282095"/>
              <a:gd name="connsiteX21919" fmla="*/ 3304432 w 7714416"/>
              <a:gd name="connsiteY21919" fmla="*/ 683833 h 5282095"/>
              <a:gd name="connsiteX21920" fmla="*/ 3311494 w 7714416"/>
              <a:gd name="connsiteY21920" fmla="*/ 685150 h 5282095"/>
              <a:gd name="connsiteX21921" fmla="*/ 3311986 w 7714416"/>
              <a:gd name="connsiteY21921" fmla="*/ 688847 h 5282095"/>
              <a:gd name="connsiteX21922" fmla="*/ 3307635 w 7714416"/>
              <a:gd name="connsiteY21922" fmla="*/ 688486 h 5282095"/>
              <a:gd name="connsiteX21923" fmla="*/ 3303207 w 7714416"/>
              <a:gd name="connsiteY21923" fmla="*/ 687299 h 5282095"/>
              <a:gd name="connsiteX21924" fmla="*/ 3304432 w 7714416"/>
              <a:gd name="connsiteY21924" fmla="*/ 683833 h 5282095"/>
              <a:gd name="connsiteX21925" fmla="*/ 1681665 w 7714416"/>
              <a:gd name="connsiteY21925" fmla="*/ 683605 h 5282095"/>
              <a:gd name="connsiteX21926" fmla="*/ 1686628 w 7714416"/>
              <a:gd name="connsiteY21926" fmla="*/ 683900 h 5282095"/>
              <a:gd name="connsiteX21927" fmla="*/ 1680676 w 7714416"/>
              <a:gd name="connsiteY21927" fmla="*/ 688400 h 5282095"/>
              <a:gd name="connsiteX21928" fmla="*/ 1681665 w 7714416"/>
              <a:gd name="connsiteY21928" fmla="*/ 683605 h 5282095"/>
              <a:gd name="connsiteX21929" fmla="*/ 2363034 w 7714416"/>
              <a:gd name="connsiteY21929" fmla="*/ 681944 h 5282095"/>
              <a:gd name="connsiteX21930" fmla="*/ 2382122 w 7714416"/>
              <a:gd name="connsiteY21930" fmla="*/ 690394 h 5282095"/>
              <a:gd name="connsiteX21931" fmla="*/ 2380193 w 7714416"/>
              <a:gd name="connsiteY21931" fmla="*/ 692063 h 5282095"/>
              <a:gd name="connsiteX21932" fmla="*/ 2383847 w 7714416"/>
              <a:gd name="connsiteY21932" fmla="*/ 692811 h 5282095"/>
              <a:gd name="connsiteX21933" fmla="*/ 2388904 w 7714416"/>
              <a:gd name="connsiteY21933" fmla="*/ 694972 h 5282095"/>
              <a:gd name="connsiteX21934" fmla="*/ 2387826 w 7714416"/>
              <a:gd name="connsiteY21934" fmla="*/ 703423 h 5282095"/>
              <a:gd name="connsiteX21935" fmla="*/ 2383290 w 7714416"/>
              <a:gd name="connsiteY21935" fmla="*/ 704852 h 5282095"/>
              <a:gd name="connsiteX21936" fmla="*/ 2373059 w 7714416"/>
              <a:gd name="connsiteY21936" fmla="*/ 704297 h 5282095"/>
              <a:gd name="connsiteX21937" fmla="*/ 2373354 w 7714416"/>
              <a:gd name="connsiteY21937" fmla="*/ 705411 h 5282095"/>
              <a:gd name="connsiteX21938" fmla="*/ 2369840 w 7714416"/>
              <a:gd name="connsiteY21938" fmla="*/ 698604 h 5282095"/>
              <a:gd name="connsiteX21939" fmla="*/ 2370375 w 7714416"/>
              <a:gd name="connsiteY21939" fmla="*/ 697712 h 5282095"/>
              <a:gd name="connsiteX21940" fmla="*/ 2369038 w 7714416"/>
              <a:gd name="connsiteY21940" fmla="*/ 698274 h 5282095"/>
              <a:gd name="connsiteX21941" fmla="*/ 2361506 w 7714416"/>
              <a:gd name="connsiteY21941" fmla="*/ 690965 h 5282095"/>
              <a:gd name="connsiteX21942" fmla="*/ 2363034 w 7714416"/>
              <a:gd name="connsiteY21942" fmla="*/ 681944 h 5282095"/>
              <a:gd name="connsiteX21943" fmla="*/ 1595243 w 7714416"/>
              <a:gd name="connsiteY21943" fmla="*/ 681839 h 5282095"/>
              <a:gd name="connsiteX21944" fmla="*/ 1597794 w 7714416"/>
              <a:gd name="connsiteY21944" fmla="*/ 687813 h 5282095"/>
              <a:gd name="connsiteX21945" fmla="*/ 1593787 w 7714416"/>
              <a:gd name="connsiteY21945" fmla="*/ 686163 h 5282095"/>
              <a:gd name="connsiteX21946" fmla="*/ 1593688 w 7714416"/>
              <a:gd name="connsiteY21946" fmla="*/ 682112 h 5282095"/>
              <a:gd name="connsiteX21947" fmla="*/ 1595243 w 7714416"/>
              <a:gd name="connsiteY21947" fmla="*/ 681839 h 5282095"/>
              <a:gd name="connsiteX21948" fmla="*/ 4558987 w 7714416"/>
              <a:gd name="connsiteY21948" fmla="*/ 680548 h 5282095"/>
              <a:gd name="connsiteX21949" fmla="*/ 4612232 w 7714416"/>
              <a:gd name="connsiteY21949" fmla="*/ 699602 h 5282095"/>
              <a:gd name="connsiteX21950" fmla="*/ 4577942 w 7714416"/>
              <a:gd name="connsiteY21950" fmla="*/ 741244 h 5282095"/>
              <a:gd name="connsiteX21951" fmla="*/ 4555140 w 7714416"/>
              <a:gd name="connsiteY21951" fmla="*/ 732261 h 5282095"/>
              <a:gd name="connsiteX21952" fmla="*/ 4552308 w 7714416"/>
              <a:gd name="connsiteY21952" fmla="*/ 729546 h 5282095"/>
              <a:gd name="connsiteX21953" fmla="*/ 4549099 w 7714416"/>
              <a:gd name="connsiteY21953" fmla="*/ 731562 h 5282095"/>
              <a:gd name="connsiteX21954" fmla="*/ 4538617 w 7714416"/>
              <a:gd name="connsiteY21954" fmla="*/ 725303 h 5282095"/>
              <a:gd name="connsiteX21955" fmla="*/ 4537877 w 7714416"/>
              <a:gd name="connsiteY21955" fmla="*/ 721424 h 5282095"/>
              <a:gd name="connsiteX21956" fmla="*/ 4539142 w 7714416"/>
              <a:gd name="connsiteY21956" fmla="*/ 716704 h 5282095"/>
              <a:gd name="connsiteX21957" fmla="*/ 4540928 w 7714416"/>
              <a:gd name="connsiteY21957" fmla="*/ 715573 h 5282095"/>
              <a:gd name="connsiteX21958" fmla="*/ 4540796 w 7714416"/>
              <a:gd name="connsiteY21958" fmla="*/ 714961 h 5282095"/>
              <a:gd name="connsiteX21959" fmla="*/ 4540270 w 7714416"/>
              <a:gd name="connsiteY21959" fmla="*/ 714706 h 5282095"/>
              <a:gd name="connsiteX21960" fmla="*/ 4540824 w 7714416"/>
              <a:gd name="connsiteY21960" fmla="*/ 714854 h 5282095"/>
              <a:gd name="connsiteX21961" fmla="*/ 4537971 w 7714416"/>
              <a:gd name="connsiteY21961" fmla="*/ 705579 h 5282095"/>
              <a:gd name="connsiteX21962" fmla="*/ 4558987 w 7714416"/>
              <a:gd name="connsiteY21962" fmla="*/ 680548 h 5282095"/>
              <a:gd name="connsiteX21963" fmla="*/ 1144258 w 7714416"/>
              <a:gd name="connsiteY21963" fmla="*/ 680369 h 5282095"/>
              <a:gd name="connsiteX21964" fmla="*/ 1146407 w 7714416"/>
              <a:gd name="connsiteY21964" fmla="*/ 687845 h 5282095"/>
              <a:gd name="connsiteX21965" fmla="*/ 1124072 w 7714416"/>
              <a:gd name="connsiteY21965" fmla="*/ 688186 h 5282095"/>
              <a:gd name="connsiteX21966" fmla="*/ 1119113 w 7714416"/>
              <a:gd name="connsiteY21966" fmla="*/ 684557 h 5282095"/>
              <a:gd name="connsiteX21967" fmla="*/ 1144258 w 7714416"/>
              <a:gd name="connsiteY21967" fmla="*/ 680369 h 5282095"/>
              <a:gd name="connsiteX21968" fmla="*/ 2336254 w 7714416"/>
              <a:gd name="connsiteY21968" fmla="*/ 680059 h 5282095"/>
              <a:gd name="connsiteX21969" fmla="*/ 2353284 w 7714416"/>
              <a:gd name="connsiteY21969" fmla="*/ 686232 h 5282095"/>
              <a:gd name="connsiteX21970" fmla="*/ 2352138 w 7714416"/>
              <a:gd name="connsiteY21970" fmla="*/ 687191 h 5282095"/>
              <a:gd name="connsiteX21971" fmla="*/ 2354046 w 7714416"/>
              <a:gd name="connsiteY21971" fmla="*/ 687816 h 5282095"/>
              <a:gd name="connsiteX21972" fmla="*/ 2358699 w 7714416"/>
              <a:gd name="connsiteY21972" fmla="*/ 691479 h 5282095"/>
              <a:gd name="connsiteX21973" fmla="*/ 2359188 w 7714416"/>
              <a:gd name="connsiteY21973" fmla="*/ 707364 h 5282095"/>
              <a:gd name="connsiteX21974" fmla="*/ 2343419 w 7714416"/>
              <a:gd name="connsiteY21974" fmla="*/ 708660 h 5282095"/>
              <a:gd name="connsiteX21975" fmla="*/ 2344774 w 7714416"/>
              <a:gd name="connsiteY21975" fmla="*/ 709138 h 5282095"/>
              <a:gd name="connsiteX21976" fmla="*/ 2358142 w 7714416"/>
              <a:gd name="connsiteY21976" fmla="*/ 730084 h 5282095"/>
              <a:gd name="connsiteX21977" fmla="*/ 2353230 w 7714416"/>
              <a:gd name="connsiteY21977" fmla="*/ 727388 h 5282095"/>
              <a:gd name="connsiteX21978" fmla="*/ 2352162 w 7714416"/>
              <a:gd name="connsiteY21978" fmla="*/ 725838 h 5282095"/>
              <a:gd name="connsiteX21979" fmla="*/ 2350501 w 7714416"/>
              <a:gd name="connsiteY21979" fmla="*/ 725393 h 5282095"/>
              <a:gd name="connsiteX21980" fmla="*/ 2350542 w 7714416"/>
              <a:gd name="connsiteY21980" fmla="*/ 724138 h 5282095"/>
              <a:gd name="connsiteX21981" fmla="*/ 2347853 w 7714416"/>
              <a:gd name="connsiteY21981" fmla="*/ 720888 h 5282095"/>
              <a:gd name="connsiteX21982" fmla="*/ 2338564 w 7714416"/>
              <a:gd name="connsiteY21982" fmla="*/ 714604 h 5282095"/>
              <a:gd name="connsiteX21983" fmla="*/ 2333545 w 7714416"/>
              <a:gd name="connsiteY21983" fmla="*/ 705668 h 5282095"/>
              <a:gd name="connsiteX21984" fmla="*/ 2337162 w 7714416"/>
              <a:gd name="connsiteY21984" fmla="*/ 704338 h 5282095"/>
              <a:gd name="connsiteX21985" fmla="*/ 2334475 w 7714416"/>
              <a:gd name="connsiteY21985" fmla="*/ 701088 h 5282095"/>
              <a:gd name="connsiteX21986" fmla="*/ 2330971 w 7714416"/>
              <a:gd name="connsiteY21986" fmla="*/ 693134 h 5282095"/>
              <a:gd name="connsiteX21987" fmla="*/ 2336647 w 7714416"/>
              <a:gd name="connsiteY21987" fmla="*/ 688559 h 5282095"/>
              <a:gd name="connsiteX21988" fmla="*/ 2333671 w 7714416"/>
              <a:gd name="connsiteY21988" fmla="*/ 686382 h 5282095"/>
              <a:gd name="connsiteX21989" fmla="*/ 2336254 w 7714416"/>
              <a:gd name="connsiteY21989" fmla="*/ 680059 h 5282095"/>
              <a:gd name="connsiteX21990" fmla="*/ 1470014 w 7714416"/>
              <a:gd name="connsiteY21990" fmla="*/ 679909 h 5282095"/>
              <a:gd name="connsiteX21991" fmla="*/ 1499180 w 7714416"/>
              <a:gd name="connsiteY21991" fmla="*/ 717164 h 5282095"/>
              <a:gd name="connsiteX21992" fmla="*/ 1492891 w 7714416"/>
              <a:gd name="connsiteY21992" fmla="*/ 716284 h 5282095"/>
              <a:gd name="connsiteX21993" fmla="*/ 1483410 w 7714416"/>
              <a:gd name="connsiteY21993" fmla="*/ 709604 h 5282095"/>
              <a:gd name="connsiteX21994" fmla="*/ 1480400 w 7714416"/>
              <a:gd name="connsiteY21994" fmla="*/ 705347 h 5282095"/>
              <a:gd name="connsiteX21995" fmla="*/ 1478653 w 7714416"/>
              <a:gd name="connsiteY21995" fmla="*/ 705225 h 5282095"/>
              <a:gd name="connsiteX21996" fmla="*/ 1468842 w 7714416"/>
              <a:gd name="connsiteY21996" fmla="*/ 704206 h 5282095"/>
              <a:gd name="connsiteX21997" fmla="*/ 1466362 w 7714416"/>
              <a:gd name="connsiteY21997" fmla="*/ 702391 h 5282095"/>
              <a:gd name="connsiteX21998" fmla="*/ 1467445 w 7714416"/>
              <a:gd name="connsiteY21998" fmla="*/ 699461 h 5282095"/>
              <a:gd name="connsiteX21999" fmla="*/ 1475884 w 7714416"/>
              <a:gd name="connsiteY21999" fmla="*/ 698962 h 5282095"/>
              <a:gd name="connsiteX22000" fmla="*/ 1471627 w 7714416"/>
              <a:gd name="connsiteY22000" fmla="*/ 688276 h 5282095"/>
              <a:gd name="connsiteX22001" fmla="*/ 1470014 w 7714416"/>
              <a:gd name="connsiteY22001" fmla="*/ 679909 h 5282095"/>
              <a:gd name="connsiteX22002" fmla="*/ 3256954 w 7714416"/>
              <a:gd name="connsiteY22002" fmla="*/ 679507 h 5282095"/>
              <a:gd name="connsiteX22003" fmla="*/ 3277024 w 7714416"/>
              <a:gd name="connsiteY22003" fmla="*/ 680974 h 5282095"/>
              <a:gd name="connsiteX22004" fmla="*/ 3285038 w 7714416"/>
              <a:gd name="connsiteY22004" fmla="*/ 684272 h 5282095"/>
              <a:gd name="connsiteX22005" fmla="*/ 3287302 w 7714416"/>
              <a:gd name="connsiteY22005" fmla="*/ 682463 h 5282095"/>
              <a:gd name="connsiteX22006" fmla="*/ 3292894 w 7714416"/>
              <a:gd name="connsiteY22006" fmla="*/ 683731 h 5282095"/>
              <a:gd name="connsiteX22007" fmla="*/ 3293189 w 7714416"/>
              <a:gd name="connsiteY22007" fmla="*/ 684846 h 5282095"/>
              <a:gd name="connsiteX22008" fmla="*/ 3289063 w 7714416"/>
              <a:gd name="connsiteY22008" fmla="*/ 686960 h 5282095"/>
              <a:gd name="connsiteX22009" fmla="*/ 3288539 w 7714416"/>
              <a:gd name="connsiteY22009" fmla="*/ 686704 h 5282095"/>
              <a:gd name="connsiteX22010" fmla="*/ 3282027 w 7714416"/>
              <a:gd name="connsiteY22010" fmla="*/ 688870 h 5282095"/>
              <a:gd name="connsiteX22011" fmla="*/ 3271825 w 7714416"/>
              <a:gd name="connsiteY22011" fmla="*/ 688206 h 5282095"/>
              <a:gd name="connsiteX22012" fmla="*/ 3267484 w 7714416"/>
              <a:gd name="connsiteY22012" fmla="*/ 686698 h 5282095"/>
              <a:gd name="connsiteX22013" fmla="*/ 3262892 w 7714416"/>
              <a:gd name="connsiteY22013" fmla="*/ 688343 h 5282095"/>
              <a:gd name="connsiteX22014" fmla="*/ 3255344 w 7714416"/>
              <a:gd name="connsiteY22014" fmla="*/ 685515 h 5282095"/>
              <a:gd name="connsiteX22015" fmla="*/ 3261655 w 7714416"/>
              <a:gd name="connsiteY22015" fmla="*/ 684101 h 5282095"/>
              <a:gd name="connsiteX22016" fmla="*/ 5089525 w 7714416"/>
              <a:gd name="connsiteY22016" fmla="*/ 679256 h 5282095"/>
              <a:gd name="connsiteX22017" fmla="*/ 5080387 w 7714416"/>
              <a:gd name="connsiteY22017" fmla="*/ 710042 h 5282095"/>
              <a:gd name="connsiteX22018" fmla="*/ 5080398 w 7714416"/>
              <a:gd name="connsiteY22018" fmla="*/ 682330 h 5282095"/>
              <a:gd name="connsiteX22019" fmla="*/ 5089525 w 7714416"/>
              <a:gd name="connsiteY22019" fmla="*/ 679256 h 5282095"/>
              <a:gd name="connsiteX22020" fmla="*/ 1264440 w 7714416"/>
              <a:gd name="connsiteY22020" fmla="*/ 678992 h 5282095"/>
              <a:gd name="connsiteX22021" fmla="*/ 1265249 w 7714416"/>
              <a:gd name="connsiteY22021" fmla="*/ 681509 h 5282095"/>
              <a:gd name="connsiteX22022" fmla="*/ 1278430 w 7714416"/>
              <a:gd name="connsiteY22022" fmla="*/ 698726 h 5282095"/>
              <a:gd name="connsiteX22023" fmla="*/ 1257778 w 7714416"/>
              <a:gd name="connsiteY22023" fmla="*/ 679507 h 5282095"/>
              <a:gd name="connsiteX22024" fmla="*/ 1264440 w 7714416"/>
              <a:gd name="connsiteY22024" fmla="*/ 678992 h 5282095"/>
              <a:gd name="connsiteX22025" fmla="*/ 2314656 w 7714416"/>
              <a:gd name="connsiteY22025" fmla="*/ 678758 h 5282095"/>
              <a:gd name="connsiteX22026" fmla="*/ 2318689 w 7714416"/>
              <a:gd name="connsiteY22026" fmla="*/ 683632 h 5282095"/>
              <a:gd name="connsiteX22027" fmla="*/ 2311337 w 7714416"/>
              <a:gd name="connsiteY22027" fmla="*/ 686723 h 5282095"/>
              <a:gd name="connsiteX22028" fmla="*/ 2308903 w 7714416"/>
              <a:gd name="connsiteY22028" fmla="*/ 685841 h 5282095"/>
              <a:gd name="connsiteX22029" fmla="*/ 2304871 w 7714416"/>
              <a:gd name="connsiteY22029" fmla="*/ 680965 h 5282095"/>
              <a:gd name="connsiteX22030" fmla="*/ 2314656 w 7714416"/>
              <a:gd name="connsiteY22030" fmla="*/ 678758 h 5282095"/>
              <a:gd name="connsiteX22031" fmla="*/ 2098507 w 7714416"/>
              <a:gd name="connsiteY22031" fmla="*/ 678571 h 5282095"/>
              <a:gd name="connsiteX22032" fmla="*/ 2106047 w 7714416"/>
              <a:gd name="connsiteY22032" fmla="*/ 679211 h 5282095"/>
              <a:gd name="connsiteX22033" fmla="*/ 2116090 w 7714416"/>
              <a:gd name="connsiteY22033" fmla="*/ 684893 h 5282095"/>
              <a:gd name="connsiteX22034" fmla="*/ 2122804 w 7714416"/>
              <a:gd name="connsiteY22034" fmla="*/ 681976 h 5282095"/>
              <a:gd name="connsiteX22035" fmla="*/ 2151434 w 7714416"/>
              <a:gd name="connsiteY22035" fmla="*/ 684702 h 5282095"/>
              <a:gd name="connsiteX22036" fmla="*/ 2116720 w 7714416"/>
              <a:gd name="connsiteY22036" fmla="*/ 694721 h 5282095"/>
              <a:gd name="connsiteX22037" fmla="*/ 2110305 w 7714416"/>
              <a:gd name="connsiteY22037" fmla="*/ 695417 h 5282095"/>
              <a:gd name="connsiteX22038" fmla="*/ 2105569 w 7714416"/>
              <a:gd name="connsiteY22038" fmla="*/ 697598 h 5282095"/>
              <a:gd name="connsiteX22039" fmla="*/ 2098353 w 7714416"/>
              <a:gd name="connsiteY22039" fmla="*/ 697965 h 5282095"/>
              <a:gd name="connsiteX22040" fmla="*/ 2088244 w 7714416"/>
              <a:gd name="connsiteY22040" fmla="*/ 690311 h 5282095"/>
              <a:gd name="connsiteX22041" fmla="*/ 2098507 w 7714416"/>
              <a:gd name="connsiteY22041" fmla="*/ 678571 h 5282095"/>
              <a:gd name="connsiteX22042" fmla="*/ 2619302 w 7714416"/>
              <a:gd name="connsiteY22042" fmla="*/ 678505 h 5282095"/>
              <a:gd name="connsiteX22043" fmla="*/ 2633945 w 7714416"/>
              <a:gd name="connsiteY22043" fmla="*/ 684729 h 5282095"/>
              <a:gd name="connsiteX22044" fmla="*/ 2637043 w 7714416"/>
              <a:gd name="connsiteY22044" fmla="*/ 688664 h 5282095"/>
              <a:gd name="connsiteX22045" fmla="*/ 2603867 w 7714416"/>
              <a:gd name="connsiteY22045" fmla="*/ 697370 h 5282095"/>
              <a:gd name="connsiteX22046" fmla="*/ 2600931 w 7714416"/>
              <a:gd name="connsiteY22046" fmla="*/ 693938 h 5282095"/>
              <a:gd name="connsiteX22047" fmla="*/ 2599238 w 7714416"/>
              <a:gd name="connsiteY22047" fmla="*/ 688079 h 5282095"/>
              <a:gd name="connsiteX22048" fmla="*/ 2607762 w 7714416"/>
              <a:gd name="connsiteY22048" fmla="*/ 687259 h 5282095"/>
              <a:gd name="connsiteX22049" fmla="*/ 2610343 w 7714416"/>
              <a:gd name="connsiteY22049" fmla="*/ 684271 h 5282095"/>
              <a:gd name="connsiteX22050" fmla="*/ 2606487 w 7714416"/>
              <a:gd name="connsiteY22050" fmla="*/ 684272 h 5282095"/>
              <a:gd name="connsiteX22051" fmla="*/ 2600877 w 7714416"/>
              <a:gd name="connsiteY22051" fmla="*/ 681963 h 5282095"/>
              <a:gd name="connsiteX22052" fmla="*/ 2606901 w 7714416"/>
              <a:gd name="connsiteY22052" fmla="*/ 681623 h 5282095"/>
              <a:gd name="connsiteX22053" fmla="*/ 2610907 w 7714416"/>
              <a:gd name="connsiteY22053" fmla="*/ 683271 h 5282095"/>
              <a:gd name="connsiteX22054" fmla="*/ 2613020 w 7714416"/>
              <a:gd name="connsiteY22054" fmla="*/ 679813 h 5282095"/>
              <a:gd name="connsiteX22055" fmla="*/ 2619302 w 7714416"/>
              <a:gd name="connsiteY22055" fmla="*/ 678505 h 5282095"/>
              <a:gd name="connsiteX22056" fmla="*/ 3247813 w 7714416"/>
              <a:gd name="connsiteY22056" fmla="*/ 678208 h 5282095"/>
              <a:gd name="connsiteX22057" fmla="*/ 3246437 w 7714416"/>
              <a:gd name="connsiteY22057" fmla="*/ 697734 h 5282095"/>
              <a:gd name="connsiteX22058" fmla="*/ 3238602 w 7714416"/>
              <a:gd name="connsiteY22058" fmla="*/ 695979 h 5282095"/>
              <a:gd name="connsiteX22059" fmla="*/ 3223783 w 7714416"/>
              <a:gd name="connsiteY22059" fmla="*/ 684878 h 5282095"/>
              <a:gd name="connsiteX22060" fmla="*/ 3247813 w 7714416"/>
              <a:gd name="connsiteY22060" fmla="*/ 678208 h 5282095"/>
              <a:gd name="connsiteX22061" fmla="*/ 1367921 w 7714416"/>
              <a:gd name="connsiteY22061" fmla="*/ 677969 h 5282095"/>
              <a:gd name="connsiteX22062" fmla="*/ 1375964 w 7714416"/>
              <a:gd name="connsiteY22062" fmla="*/ 681159 h 5282095"/>
              <a:gd name="connsiteX22063" fmla="*/ 1380947 w 7714416"/>
              <a:gd name="connsiteY22063" fmla="*/ 688014 h 5282095"/>
              <a:gd name="connsiteX22064" fmla="*/ 1385191 w 7714416"/>
              <a:gd name="connsiteY22064" fmla="*/ 690991 h 5282095"/>
              <a:gd name="connsiteX22065" fmla="*/ 1384627 w 7714416"/>
              <a:gd name="connsiteY22065" fmla="*/ 691990 h 5282095"/>
              <a:gd name="connsiteX22066" fmla="*/ 1366438 w 7714416"/>
              <a:gd name="connsiteY22066" fmla="*/ 682401 h 5282095"/>
              <a:gd name="connsiteX22067" fmla="*/ 1365323 w 7714416"/>
              <a:gd name="connsiteY22067" fmla="*/ 679918 h 5282095"/>
              <a:gd name="connsiteX22068" fmla="*/ 1367921 w 7714416"/>
              <a:gd name="connsiteY22068" fmla="*/ 677969 h 5282095"/>
              <a:gd name="connsiteX22069" fmla="*/ 4483285 w 7714416"/>
              <a:gd name="connsiteY22069" fmla="*/ 677240 h 5282095"/>
              <a:gd name="connsiteX22070" fmla="*/ 4488409 w 7714416"/>
              <a:gd name="connsiteY22070" fmla="*/ 678039 h 5282095"/>
              <a:gd name="connsiteX22071" fmla="*/ 4489174 w 7714416"/>
              <a:gd name="connsiteY22071" fmla="*/ 685144 h 5282095"/>
              <a:gd name="connsiteX22072" fmla="*/ 4483219 w 7714416"/>
              <a:gd name="connsiteY22072" fmla="*/ 684123 h 5282095"/>
              <a:gd name="connsiteX22073" fmla="*/ 4476866 w 7714416"/>
              <a:gd name="connsiteY22073" fmla="*/ 681271 h 5282095"/>
              <a:gd name="connsiteX22074" fmla="*/ 4478358 w 7714416"/>
              <a:gd name="connsiteY22074" fmla="*/ 679026 h 5282095"/>
              <a:gd name="connsiteX22075" fmla="*/ 4483285 w 7714416"/>
              <a:gd name="connsiteY22075" fmla="*/ 677240 h 5282095"/>
              <a:gd name="connsiteX22076" fmla="*/ 3595551 w 7714416"/>
              <a:gd name="connsiteY22076" fmla="*/ 676507 h 5282095"/>
              <a:gd name="connsiteX22077" fmla="*/ 3599044 w 7714416"/>
              <a:gd name="connsiteY22077" fmla="*/ 676753 h 5282095"/>
              <a:gd name="connsiteX22078" fmla="*/ 3614490 w 7714416"/>
              <a:gd name="connsiteY22078" fmla="*/ 683306 h 5282095"/>
              <a:gd name="connsiteX22079" fmla="*/ 3616398 w 7714416"/>
              <a:gd name="connsiteY22079" fmla="*/ 683932 h 5282095"/>
              <a:gd name="connsiteX22080" fmla="*/ 3623229 w 7714416"/>
              <a:gd name="connsiteY22080" fmla="*/ 686109 h 5282095"/>
              <a:gd name="connsiteX22081" fmla="*/ 3610285 w 7714416"/>
              <a:gd name="connsiteY22081" fmla="*/ 696785 h 5282095"/>
              <a:gd name="connsiteX22082" fmla="*/ 3599903 w 7714416"/>
              <a:gd name="connsiteY22082" fmla="*/ 685723 h 5282095"/>
              <a:gd name="connsiteX22083" fmla="*/ 3605994 w 7714416"/>
              <a:gd name="connsiteY22083" fmla="*/ 684021 h 5282095"/>
              <a:gd name="connsiteX22084" fmla="*/ 3605470 w 7714416"/>
              <a:gd name="connsiteY22084" fmla="*/ 683764 h 5282095"/>
              <a:gd name="connsiteX22085" fmla="*/ 3597617 w 7714416"/>
              <a:gd name="connsiteY22085" fmla="*/ 680971 h 5282095"/>
              <a:gd name="connsiteX22086" fmla="*/ 3594959 w 7714416"/>
              <a:gd name="connsiteY22086" fmla="*/ 677613 h 5282095"/>
              <a:gd name="connsiteX22087" fmla="*/ 2259809 w 7714416"/>
              <a:gd name="connsiteY22087" fmla="*/ 676480 h 5282095"/>
              <a:gd name="connsiteX22088" fmla="*/ 2265518 w 7714416"/>
              <a:gd name="connsiteY22088" fmla="*/ 691696 h 5282095"/>
              <a:gd name="connsiteX22089" fmla="*/ 2264954 w 7714416"/>
              <a:gd name="connsiteY22089" fmla="*/ 692694 h 5282095"/>
              <a:gd name="connsiteX22090" fmla="*/ 2268224 w 7714416"/>
              <a:gd name="connsiteY22090" fmla="*/ 695986 h 5282095"/>
              <a:gd name="connsiteX22091" fmla="*/ 2263340 w 7714416"/>
              <a:gd name="connsiteY22091" fmla="*/ 702038 h 5282095"/>
              <a:gd name="connsiteX22092" fmla="*/ 2260706 w 7714416"/>
              <a:gd name="connsiteY22092" fmla="*/ 701907 h 5282095"/>
              <a:gd name="connsiteX22093" fmla="*/ 2259434 w 7714416"/>
              <a:gd name="connsiteY22093" fmla="*/ 704440 h 5282095"/>
              <a:gd name="connsiteX22094" fmla="*/ 2259809 w 7714416"/>
              <a:gd name="connsiteY22094" fmla="*/ 676480 h 5282095"/>
              <a:gd name="connsiteX22095" fmla="*/ 1879716 w 7714416"/>
              <a:gd name="connsiteY22095" fmla="*/ 676067 h 5282095"/>
              <a:gd name="connsiteX22096" fmla="*/ 1881381 w 7714416"/>
              <a:gd name="connsiteY22096" fmla="*/ 682033 h 5282095"/>
              <a:gd name="connsiteX22097" fmla="*/ 1877431 w 7714416"/>
              <a:gd name="connsiteY22097" fmla="*/ 680169 h 5282095"/>
              <a:gd name="connsiteX22098" fmla="*/ 1878218 w 7714416"/>
              <a:gd name="connsiteY22098" fmla="*/ 676125 h 5282095"/>
              <a:gd name="connsiteX22099" fmla="*/ 1879716 w 7714416"/>
              <a:gd name="connsiteY22099" fmla="*/ 676067 h 5282095"/>
              <a:gd name="connsiteX22100" fmla="*/ 4764556 w 7714416"/>
              <a:gd name="connsiteY22100" fmla="*/ 675671 h 5282095"/>
              <a:gd name="connsiteX22101" fmla="*/ 4791346 w 7714416"/>
              <a:gd name="connsiteY22101" fmla="*/ 676409 h 5282095"/>
              <a:gd name="connsiteX22102" fmla="*/ 4794846 w 7714416"/>
              <a:gd name="connsiteY22102" fmla="*/ 678843 h 5282095"/>
              <a:gd name="connsiteX22103" fmla="*/ 4796622 w 7714416"/>
              <a:gd name="connsiteY22103" fmla="*/ 678858 h 5282095"/>
              <a:gd name="connsiteX22104" fmla="*/ 4798375 w 7714416"/>
              <a:gd name="connsiteY22104" fmla="*/ 681167 h 5282095"/>
              <a:gd name="connsiteX22105" fmla="*/ 4788572 w 7714416"/>
              <a:gd name="connsiteY22105" fmla="*/ 682336 h 5282095"/>
              <a:gd name="connsiteX22106" fmla="*/ 4780059 w 7714416"/>
              <a:gd name="connsiteY22106" fmla="*/ 682010 h 5282095"/>
              <a:gd name="connsiteX22107" fmla="*/ 4761441 w 7714416"/>
              <a:gd name="connsiteY22107" fmla="*/ 679551 h 5282095"/>
              <a:gd name="connsiteX22108" fmla="*/ 4752730 w 7714416"/>
              <a:gd name="connsiteY22108" fmla="*/ 676642 h 5282095"/>
              <a:gd name="connsiteX22109" fmla="*/ 4764556 w 7714416"/>
              <a:gd name="connsiteY22109" fmla="*/ 675671 h 5282095"/>
              <a:gd name="connsiteX22110" fmla="*/ 2135306 w 7714416"/>
              <a:gd name="connsiteY22110" fmla="*/ 674056 h 5282095"/>
              <a:gd name="connsiteX22111" fmla="*/ 2137947 w 7714416"/>
              <a:gd name="connsiteY22111" fmla="*/ 676374 h 5282095"/>
              <a:gd name="connsiteX22112" fmla="*/ 2136258 w 7714416"/>
              <a:gd name="connsiteY22112" fmla="*/ 676036 h 5282095"/>
              <a:gd name="connsiteX22113" fmla="*/ 2135306 w 7714416"/>
              <a:gd name="connsiteY22113" fmla="*/ 674056 h 5282095"/>
              <a:gd name="connsiteX22114" fmla="*/ 1975773 w 7714416"/>
              <a:gd name="connsiteY22114" fmla="*/ 673974 h 5282095"/>
              <a:gd name="connsiteX22115" fmla="*/ 1982795 w 7714416"/>
              <a:gd name="connsiteY22115" fmla="*/ 676546 h 5282095"/>
              <a:gd name="connsiteX22116" fmla="*/ 1993881 w 7714416"/>
              <a:gd name="connsiteY22116" fmla="*/ 680552 h 5282095"/>
              <a:gd name="connsiteX22117" fmla="*/ 1993742 w 7714416"/>
              <a:gd name="connsiteY22117" fmla="*/ 686609 h 5282095"/>
              <a:gd name="connsiteX22118" fmla="*/ 1974318 w 7714416"/>
              <a:gd name="connsiteY22118" fmla="*/ 687156 h 5282095"/>
              <a:gd name="connsiteX22119" fmla="*/ 1963231 w 7714416"/>
              <a:gd name="connsiteY22119" fmla="*/ 683150 h 5282095"/>
              <a:gd name="connsiteX22120" fmla="*/ 1969473 w 7714416"/>
              <a:gd name="connsiteY22120" fmla="*/ 674242 h 5282095"/>
              <a:gd name="connsiteX22121" fmla="*/ 1975773 w 7714416"/>
              <a:gd name="connsiteY22121" fmla="*/ 673974 h 5282095"/>
              <a:gd name="connsiteX22122" fmla="*/ 3428253 w 7714416"/>
              <a:gd name="connsiteY22122" fmla="*/ 673310 h 5282095"/>
              <a:gd name="connsiteX22123" fmla="*/ 3432313 w 7714416"/>
              <a:gd name="connsiteY22123" fmla="*/ 678078 h 5282095"/>
              <a:gd name="connsiteX22124" fmla="*/ 3427531 w 7714416"/>
              <a:gd name="connsiteY22124" fmla="*/ 679326 h 5282095"/>
              <a:gd name="connsiteX22125" fmla="*/ 3425903 w 7714416"/>
              <a:gd name="connsiteY22125" fmla="*/ 675440 h 5282095"/>
              <a:gd name="connsiteX22126" fmla="*/ 3428253 w 7714416"/>
              <a:gd name="connsiteY22126" fmla="*/ 673310 h 5282095"/>
              <a:gd name="connsiteX22127" fmla="*/ 2200504 w 7714416"/>
              <a:gd name="connsiteY22127" fmla="*/ 673126 h 5282095"/>
              <a:gd name="connsiteX22128" fmla="*/ 2215381 w 7714416"/>
              <a:gd name="connsiteY22128" fmla="*/ 684012 h 5282095"/>
              <a:gd name="connsiteX22129" fmla="*/ 2211378 w 7714416"/>
              <a:gd name="connsiteY22129" fmla="*/ 687884 h 5282095"/>
              <a:gd name="connsiteX22130" fmla="*/ 2211043 w 7714416"/>
              <a:gd name="connsiteY22130" fmla="*/ 688025 h 5282095"/>
              <a:gd name="connsiteX22131" fmla="*/ 2211489 w 7714416"/>
              <a:gd name="connsiteY22131" fmla="*/ 690789 h 5282095"/>
              <a:gd name="connsiteX22132" fmla="*/ 2192132 w 7714416"/>
              <a:gd name="connsiteY22132" fmla="*/ 684452 h 5282095"/>
              <a:gd name="connsiteX22133" fmla="*/ 2188947 w 7714416"/>
              <a:gd name="connsiteY22133" fmla="*/ 680839 h 5282095"/>
              <a:gd name="connsiteX22134" fmla="*/ 2188120 w 7714416"/>
              <a:gd name="connsiteY22134" fmla="*/ 677282 h 5282095"/>
              <a:gd name="connsiteX22135" fmla="*/ 2193123 w 7714416"/>
              <a:gd name="connsiteY22135" fmla="*/ 676324 h 5282095"/>
              <a:gd name="connsiteX22136" fmla="*/ 2195556 w 7714416"/>
              <a:gd name="connsiteY22136" fmla="*/ 677204 h 5282095"/>
              <a:gd name="connsiteX22137" fmla="*/ 3016178 w 7714416"/>
              <a:gd name="connsiteY22137" fmla="*/ 672722 h 5282095"/>
              <a:gd name="connsiteX22138" fmla="*/ 3042964 w 7714416"/>
              <a:gd name="connsiteY22138" fmla="*/ 712215 h 5282095"/>
              <a:gd name="connsiteX22139" fmla="*/ 3025475 w 7714416"/>
              <a:gd name="connsiteY22139" fmla="*/ 716613 h 5282095"/>
              <a:gd name="connsiteX22140" fmla="*/ 3015000 w 7714416"/>
              <a:gd name="connsiteY22140" fmla="*/ 685976 h 5282095"/>
              <a:gd name="connsiteX22141" fmla="*/ 3015589 w 7714416"/>
              <a:gd name="connsiteY22141" fmla="*/ 679348 h 5282095"/>
              <a:gd name="connsiteX22142" fmla="*/ 3012552 w 7714416"/>
              <a:gd name="connsiteY22142" fmla="*/ 680720 h 5282095"/>
              <a:gd name="connsiteX22143" fmla="*/ 3004863 w 7714416"/>
              <a:gd name="connsiteY22143" fmla="*/ 678429 h 5282095"/>
              <a:gd name="connsiteX22144" fmla="*/ 3010735 w 7714416"/>
              <a:gd name="connsiteY22144" fmla="*/ 676438 h 5282095"/>
              <a:gd name="connsiteX22145" fmla="*/ 3015612 w 7714416"/>
              <a:gd name="connsiteY22145" fmla="*/ 677054 h 5282095"/>
              <a:gd name="connsiteX22146" fmla="*/ 3862309 w 7714416"/>
              <a:gd name="connsiteY22146" fmla="*/ 672659 h 5282095"/>
              <a:gd name="connsiteX22147" fmla="*/ 3865870 w 7714416"/>
              <a:gd name="connsiteY22147" fmla="*/ 680397 h 5282095"/>
              <a:gd name="connsiteX22148" fmla="*/ 3857213 w 7714416"/>
              <a:gd name="connsiteY22148" fmla="*/ 680608 h 5282095"/>
              <a:gd name="connsiteX22149" fmla="*/ 3849631 w 7714416"/>
              <a:gd name="connsiteY22149" fmla="*/ 675701 h 5282095"/>
              <a:gd name="connsiteX22150" fmla="*/ 3862309 w 7714416"/>
              <a:gd name="connsiteY22150" fmla="*/ 672659 h 5282095"/>
              <a:gd name="connsiteX22151" fmla="*/ 1292604 w 7714416"/>
              <a:gd name="connsiteY22151" fmla="*/ 672393 h 5282095"/>
              <a:gd name="connsiteX22152" fmla="*/ 1302001 w 7714416"/>
              <a:gd name="connsiteY22152" fmla="*/ 676061 h 5282095"/>
              <a:gd name="connsiteX22153" fmla="*/ 1294482 w 7714416"/>
              <a:gd name="connsiteY22153" fmla="*/ 681981 h 5282095"/>
              <a:gd name="connsiteX22154" fmla="*/ 1291594 w 7714416"/>
              <a:gd name="connsiteY22154" fmla="*/ 679482 h 5282095"/>
              <a:gd name="connsiteX22155" fmla="*/ 1290330 w 7714416"/>
              <a:gd name="connsiteY22155" fmla="*/ 675348 h 5282095"/>
              <a:gd name="connsiteX22156" fmla="*/ 1292604 w 7714416"/>
              <a:gd name="connsiteY22156" fmla="*/ 672393 h 5282095"/>
              <a:gd name="connsiteX22157" fmla="*/ 1282926 w 7714416"/>
              <a:gd name="connsiteY22157" fmla="*/ 671984 h 5282095"/>
              <a:gd name="connsiteX22158" fmla="*/ 1289913 w 7714416"/>
              <a:gd name="connsiteY22158" fmla="*/ 681332 h 5282095"/>
              <a:gd name="connsiteX22159" fmla="*/ 1280270 w 7714416"/>
              <a:gd name="connsiteY22159" fmla="*/ 683003 h 5282095"/>
              <a:gd name="connsiteX22160" fmla="*/ 1283958 w 7714416"/>
              <a:gd name="connsiteY22160" fmla="*/ 689166 h 5282095"/>
              <a:gd name="connsiteX22161" fmla="*/ 1285477 w 7714416"/>
              <a:gd name="connsiteY22161" fmla="*/ 695669 h 5282095"/>
              <a:gd name="connsiteX22162" fmla="*/ 1283950 w 7714416"/>
              <a:gd name="connsiteY22162" fmla="*/ 695834 h 5282095"/>
              <a:gd name="connsiteX22163" fmla="*/ 1276796 w 7714416"/>
              <a:gd name="connsiteY22163" fmla="*/ 683797 h 5282095"/>
              <a:gd name="connsiteX22164" fmla="*/ 1276673 w 7714416"/>
              <a:gd name="connsiteY22164" fmla="*/ 682040 h 5282095"/>
              <a:gd name="connsiteX22165" fmla="*/ 1273120 w 7714416"/>
              <a:gd name="connsiteY22165" fmla="*/ 676487 h 5282095"/>
              <a:gd name="connsiteX22166" fmla="*/ 1282926 w 7714416"/>
              <a:gd name="connsiteY22166" fmla="*/ 671984 h 5282095"/>
              <a:gd name="connsiteX22167" fmla="*/ 1631398 w 7714416"/>
              <a:gd name="connsiteY22167" fmla="*/ 671976 h 5282095"/>
              <a:gd name="connsiteX22168" fmla="*/ 1645007 w 7714416"/>
              <a:gd name="connsiteY22168" fmla="*/ 682063 h 5282095"/>
              <a:gd name="connsiteX22169" fmla="*/ 1633716 w 7714416"/>
              <a:gd name="connsiteY22169" fmla="*/ 682143 h 5282095"/>
              <a:gd name="connsiteX22170" fmla="*/ 1627722 w 7714416"/>
              <a:gd name="connsiteY22170" fmla="*/ 673520 h 5282095"/>
              <a:gd name="connsiteX22171" fmla="*/ 1631398 w 7714416"/>
              <a:gd name="connsiteY22171" fmla="*/ 671976 h 5282095"/>
              <a:gd name="connsiteX22172" fmla="*/ 4576929 w 7714416"/>
              <a:gd name="connsiteY22172" fmla="*/ 671973 h 5282095"/>
              <a:gd name="connsiteX22173" fmla="*/ 4593477 w 7714416"/>
              <a:gd name="connsiteY22173" fmla="*/ 673301 h 5282095"/>
              <a:gd name="connsiteX22174" fmla="*/ 4596999 w 7714416"/>
              <a:gd name="connsiteY22174" fmla="*/ 673440 h 5282095"/>
              <a:gd name="connsiteX22175" fmla="*/ 4600528 w 7714416"/>
              <a:gd name="connsiteY22175" fmla="*/ 675766 h 5282095"/>
              <a:gd name="connsiteX22176" fmla="*/ 4585734 w 7714416"/>
              <a:gd name="connsiteY22176" fmla="*/ 676746 h 5282095"/>
              <a:gd name="connsiteX22177" fmla="*/ 4577191 w 7714416"/>
              <a:gd name="connsiteY22177" fmla="*/ 676528 h 5282095"/>
              <a:gd name="connsiteX22178" fmla="*/ 4573691 w 7714416"/>
              <a:gd name="connsiteY22178" fmla="*/ 674095 h 5282095"/>
              <a:gd name="connsiteX22179" fmla="*/ 4573397 w 7714416"/>
              <a:gd name="connsiteY22179" fmla="*/ 672981 h 5282095"/>
              <a:gd name="connsiteX22180" fmla="*/ 4576929 w 7714416"/>
              <a:gd name="connsiteY22180" fmla="*/ 671973 h 5282095"/>
              <a:gd name="connsiteX22181" fmla="*/ 1399941 w 7714416"/>
              <a:gd name="connsiteY22181" fmla="*/ 671368 h 5282095"/>
              <a:gd name="connsiteX22182" fmla="*/ 1407457 w 7714416"/>
              <a:gd name="connsiteY22182" fmla="*/ 674302 h 5282095"/>
              <a:gd name="connsiteX22183" fmla="*/ 1407388 w 7714416"/>
              <a:gd name="connsiteY22183" fmla="*/ 684520 h 5282095"/>
              <a:gd name="connsiteX22184" fmla="*/ 1408270 w 7714416"/>
              <a:gd name="connsiteY22184" fmla="*/ 691195 h 5282095"/>
              <a:gd name="connsiteX22185" fmla="*/ 1404777 w 7714416"/>
              <a:gd name="connsiteY22185" fmla="*/ 682094 h 5282095"/>
              <a:gd name="connsiteX22186" fmla="*/ 1400504 w 7714416"/>
              <a:gd name="connsiteY22186" fmla="*/ 679225 h 5282095"/>
              <a:gd name="connsiteX22187" fmla="*/ 1399941 w 7714416"/>
              <a:gd name="connsiteY22187" fmla="*/ 671368 h 5282095"/>
              <a:gd name="connsiteX22188" fmla="*/ 3638689 w 7714416"/>
              <a:gd name="connsiteY22188" fmla="*/ 670470 h 5282095"/>
              <a:gd name="connsiteX22189" fmla="*/ 3638096 w 7714416"/>
              <a:gd name="connsiteY22189" fmla="*/ 671576 h 5282095"/>
              <a:gd name="connsiteX22190" fmla="*/ 3640292 w 7714416"/>
              <a:gd name="connsiteY22190" fmla="*/ 671129 h 5282095"/>
              <a:gd name="connsiteX22191" fmla="*/ 3637306 w 7714416"/>
              <a:gd name="connsiteY22191" fmla="*/ 687810 h 5282095"/>
              <a:gd name="connsiteX22192" fmla="*/ 3635979 w 7714416"/>
              <a:gd name="connsiteY22192" fmla="*/ 687225 h 5282095"/>
              <a:gd name="connsiteX22193" fmla="*/ 3636432 w 7714416"/>
              <a:gd name="connsiteY22193" fmla="*/ 674465 h 5282095"/>
              <a:gd name="connsiteX22194" fmla="*/ 3638689 w 7714416"/>
              <a:gd name="connsiteY22194" fmla="*/ 670470 h 5282095"/>
              <a:gd name="connsiteX22195" fmla="*/ 3889598 w 7714416"/>
              <a:gd name="connsiteY22195" fmla="*/ 670426 h 5282095"/>
              <a:gd name="connsiteX22196" fmla="*/ 3874677 w 7714416"/>
              <a:gd name="connsiteY22196" fmla="*/ 681838 h 5282095"/>
              <a:gd name="connsiteX22197" fmla="*/ 3875292 w 7714416"/>
              <a:gd name="connsiteY22197" fmla="*/ 678437 h 5282095"/>
              <a:gd name="connsiteX22198" fmla="*/ 3889598 w 7714416"/>
              <a:gd name="connsiteY22198" fmla="*/ 670426 h 5282095"/>
              <a:gd name="connsiteX22199" fmla="*/ 1606947 w 7714416"/>
              <a:gd name="connsiteY22199" fmla="*/ 670254 h 5282095"/>
              <a:gd name="connsiteX22200" fmla="*/ 1612014 w 7714416"/>
              <a:gd name="connsiteY22200" fmla="*/ 680123 h 5282095"/>
              <a:gd name="connsiteX22201" fmla="*/ 1606947 w 7714416"/>
              <a:gd name="connsiteY22201" fmla="*/ 670254 h 5282095"/>
              <a:gd name="connsiteX22202" fmla="*/ 3743610 w 7714416"/>
              <a:gd name="connsiteY22202" fmla="*/ 669603 h 5282095"/>
              <a:gd name="connsiteX22203" fmla="*/ 3745443 w 7714416"/>
              <a:gd name="connsiteY22203" fmla="*/ 678259 h 5282095"/>
              <a:gd name="connsiteX22204" fmla="*/ 3745137 w 7714416"/>
              <a:gd name="connsiteY22204" fmla="*/ 678293 h 5282095"/>
              <a:gd name="connsiteX22205" fmla="*/ 3747512 w 7714416"/>
              <a:gd name="connsiteY22205" fmla="*/ 679388 h 5282095"/>
              <a:gd name="connsiteX22206" fmla="*/ 3749730 w 7714416"/>
              <a:gd name="connsiteY22206" fmla="*/ 676648 h 5282095"/>
              <a:gd name="connsiteX22207" fmla="*/ 3770939 w 7714416"/>
              <a:gd name="connsiteY22207" fmla="*/ 674971 h 5282095"/>
              <a:gd name="connsiteX22208" fmla="*/ 3778435 w 7714416"/>
              <a:gd name="connsiteY22208" fmla="*/ 680199 h 5282095"/>
              <a:gd name="connsiteX22209" fmla="*/ 3778493 w 7714416"/>
              <a:gd name="connsiteY22209" fmla="*/ 688840 h 5282095"/>
              <a:gd name="connsiteX22210" fmla="*/ 3758720 w 7714416"/>
              <a:gd name="connsiteY22210" fmla="*/ 694008 h 5282095"/>
              <a:gd name="connsiteX22211" fmla="*/ 3750107 w 7714416"/>
              <a:gd name="connsiteY22211" fmla="*/ 689629 h 5282095"/>
              <a:gd name="connsiteX22212" fmla="*/ 3748791 w 7714416"/>
              <a:gd name="connsiteY22212" fmla="*/ 687898 h 5282095"/>
              <a:gd name="connsiteX22213" fmla="*/ 3749474 w 7714416"/>
              <a:gd name="connsiteY22213" fmla="*/ 691990 h 5282095"/>
              <a:gd name="connsiteX22214" fmla="*/ 3746215 w 7714416"/>
              <a:gd name="connsiteY22214" fmla="*/ 696407 h 5282095"/>
              <a:gd name="connsiteX22215" fmla="*/ 3744167 w 7714416"/>
              <a:gd name="connsiteY22215" fmla="*/ 701839 h 5282095"/>
              <a:gd name="connsiteX22216" fmla="*/ 3740357 w 7714416"/>
              <a:gd name="connsiteY22216" fmla="*/ 702772 h 5282095"/>
              <a:gd name="connsiteX22217" fmla="*/ 3738725 w 7714416"/>
              <a:gd name="connsiteY22217" fmla="*/ 702220 h 5282095"/>
              <a:gd name="connsiteX22218" fmla="*/ 3738308 w 7714416"/>
              <a:gd name="connsiteY22218" fmla="*/ 699349 h 5282095"/>
              <a:gd name="connsiteX22219" fmla="*/ 3741169 w 7714416"/>
              <a:gd name="connsiteY22219" fmla="*/ 693099 h 5282095"/>
              <a:gd name="connsiteX22220" fmla="*/ 3743311 w 7714416"/>
              <a:gd name="connsiteY22220" fmla="*/ 689534 h 5282095"/>
              <a:gd name="connsiteX22221" fmla="*/ 3738208 w 7714416"/>
              <a:gd name="connsiteY22221" fmla="*/ 695296 h 5282095"/>
              <a:gd name="connsiteX22222" fmla="*/ 3729116 w 7714416"/>
              <a:gd name="connsiteY22222" fmla="*/ 700451 h 5282095"/>
              <a:gd name="connsiteX22223" fmla="*/ 3729235 w 7714416"/>
              <a:gd name="connsiteY22223" fmla="*/ 696687 h 5282095"/>
              <a:gd name="connsiteX22224" fmla="*/ 3730496 w 7714416"/>
              <a:gd name="connsiteY22224" fmla="*/ 695300 h 5282095"/>
              <a:gd name="connsiteX22225" fmla="*/ 3729925 w 7714416"/>
              <a:gd name="connsiteY22225" fmla="*/ 694112 h 5282095"/>
              <a:gd name="connsiteX22226" fmla="*/ 3731453 w 7714416"/>
              <a:gd name="connsiteY22226" fmla="*/ 693946 h 5282095"/>
              <a:gd name="connsiteX22227" fmla="*/ 3733699 w 7714416"/>
              <a:gd name="connsiteY22227" fmla="*/ 691098 h 5282095"/>
              <a:gd name="connsiteX22228" fmla="*/ 3735463 w 7714416"/>
              <a:gd name="connsiteY22228" fmla="*/ 683406 h 5282095"/>
              <a:gd name="connsiteX22229" fmla="*/ 3738903 w 7714416"/>
              <a:gd name="connsiteY22229" fmla="*/ 680532 h 5282095"/>
              <a:gd name="connsiteX22230" fmla="*/ 3741108 w 7714416"/>
              <a:gd name="connsiteY22230" fmla="*/ 678939 h 5282095"/>
              <a:gd name="connsiteX22231" fmla="*/ 3736778 w 7714416"/>
              <a:gd name="connsiteY22231" fmla="*/ 676283 h 5282095"/>
              <a:gd name="connsiteX22232" fmla="*/ 3743610 w 7714416"/>
              <a:gd name="connsiteY22232" fmla="*/ 669603 h 5282095"/>
              <a:gd name="connsiteX22233" fmla="*/ 2251389 w 7714416"/>
              <a:gd name="connsiteY22233" fmla="*/ 669165 h 5282095"/>
              <a:gd name="connsiteX22234" fmla="*/ 2270373 w 7714416"/>
              <a:gd name="connsiteY22234" fmla="*/ 676897 h 5282095"/>
              <a:gd name="connsiteX22235" fmla="*/ 2265544 w 7714416"/>
              <a:gd name="connsiteY22235" fmla="*/ 677213 h 5282095"/>
              <a:gd name="connsiteX22236" fmla="*/ 2246588 w 7714416"/>
              <a:gd name="connsiteY22236" fmla="*/ 669373 h 5282095"/>
              <a:gd name="connsiteX22237" fmla="*/ 2251389 w 7714416"/>
              <a:gd name="connsiteY22237" fmla="*/ 669165 h 5282095"/>
              <a:gd name="connsiteX22238" fmla="*/ 1594675 w 7714416"/>
              <a:gd name="connsiteY22238" fmla="*/ 668461 h 5282095"/>
              <a:gd name="connsiteX22239" fmla="*/ 1595394 w 7714416"/>
              <a:gd name="connsiteY22239" fmla="*/ 674634 h 5282095"/>
              <a:gd name="connsiteX22240" fmla="*/ 1590183 w 7714416"/>
              <a:gd name="connsiteY22240" fmla="*/ 674158 h 5282095"/>
              <a:gd name="connsiteX22241" fmla="*/ 1589760 w 7714416"/>
              <a:gd name="connsiteY22241" fmla="*/ 669099 h 5282095"/>
              <a:gd name="connsiteX22242" fmla="*/ 1594675 w 7714416"/>
              <a:gd name="connsiteY22242" fmla="*/ 668461 h 5282095"/>
              <a:gd name="connsiteX22243" fmla="*/ 1478837 w 7714416"/>
              <a:gd name="connsiteY22243" fmla="*/ 668013 h 5282095"/>
              <a:gd name="connsiteX22244" fmla="*/ 1487717 w 7714416"/>
              <a:gd name="connsiteY22244" fmla="*/ 673612 h 5282095"/>
              <a:gd name="connsiteX22245" fmla="*/ 1491691 w 7714416"/>
              <a:gd name="connsiteY22245" fmla="*/ 678702 h 5282095"/>
              <a:gd name="connsiteX22246" fmla="*/ 1492388 w 7714416"/>
              <a:gd name="connsiteY22246" fmla="*/ 678314 h 5282095"/>
              <a:gd name="connsiteX22247" fmla="*/ 1497427 w 7714416"/>
              <a:gd name="connsiteY22247" fmla="*/ 679434 h 5282095"/>
              <a:gd name="connsiteX22248" fmla="*/ 1503218 w 7714416"/>
              <a:gd name="connsiteY22248" fmla="*/ 688806 h 5282095"/>
              <a:gd name="connsiteX22249" fmla="*/ 1508156 w 7714416"/>
              <a:gd name="connsiteY22249" fmla="*/ 694729 h 5282095"/>
              <a:gd name="connsiteX22250" fmla="*/ 1499928 w 7714416"/>
              <a:gd name="connsiteY22250" fmla="*/ 687810 h 5282095"/>
              <a:gd name="connsiteX22251" fmla="*/ 1494526 w 7714416"/>
              <a:gd name="connsiteY22251" fmla="*/ 686937 h 5282095"/>
              <a:gd name="connsiteX22252" fmla="*/ 1492467 w 7714416"/>
              <a:gd name="connsiteY22252" fmla="*/ 684660 h 5282095"/>
              <a:gd name="connsiteX22253" fmla="*/ 1490548 w 7714416"/>
              <a:gd name="connsiteY22253" fmla="*/ 685181 h 5282095"/>
              <a:gd name="connsiteX22254" fmla="*/ 1486480 w 7714416"/>
              <a:gd name="connsiteY22254" fmla="*/ 687082 h 5282095"/>
              <a:gd name="connsiteX22255" fmla="*/ 1476188 w 7714416"/>
              <a:gd name="connsiteY22255" fmla="*/ 672363 h 5282095"/>
              <a:gd name="connsiteX22256" fmla="*/ 1478837 w 7714416"/>
              <a:gd name="connsiteY22256" fmla="*/ 668013 h 5282095"/>
              <a:gd name="connsiteX22257" fmla="*/ 4823426 w 7714416"/>
              <a:gd name="connsiteY22257" fmla="*/ 666260 h 5282095"/>
              <a:gd name="connsiteX22258" fmla="*/ 4818266 w 7714416"/>
              <a:gd name="connsiteY22258" fmla="*/ 681092 h 5282095"/>
              <a:gd name="connsiteX22259" fmla="*/ 4806565 w 7714416"/>
              <a:gd name="connsiteY22259" fmla="*/ 671632 h 5282095"/>
              <a:gd name="connsiteX22260" fmla="*/ 4823426 w 7714416"/>
              <a:gd name="connsiteY22260" fmla="*/ 666260 h 5282095"/>
              <a:gd name="connsiteX22261" fmla="*/ 4002236 w 7714416"/>
              <a:gd name="connsiteY22261" fmla="*/ 666221 h 5282095"/>
              <a:gd name="connsiteX22262" fmla="*/ 4028677 w 7714416"/>
              <a:gd name="connsiteY22262" fmla="*/ 689291 h 5282095"/>
              <a:gd name="connsiteX22263" fmla="*/ 4018841 w 7714416"/>
              <a:gd name="connsiteY22263" fmla="*/ 693901 h 5282095"/>
              <a:gd name="connsiteX22264" fmla="*/ 3997219 w 7714416"/>
              <a:gd name="connsiteY22264" fmla="*/ 680517 h 5282095"/>
              <a:gd name="connsiteX22265" fmla="*/ 3998491 w 7714416"/>
              <a:gd name="connsiteY22265" fmla="*/ 669127 h 5282095"/>
              <a:gd name="connsiteX22266" fmla="*/ 4002236 w 7714416"/>
              <a:gd name="connsiteY22266" fmla="*/ 666221 h 5282095"/>
              <a:gd name="connsiteX22267" fmla="*/ 4471433 w 7714416"/>
              <a:gd name="connsiteY22267" fmla="*/ 666130 h 5282095"/>
              <a:gd name="connsiteX22268" fmla="*/ 4483281 w 7714416"/>
              <a:gd name="connsiteY22268" fmla="*/ 671720 h 5282095"/>
              <a:gd name="connsiteX22269" fmla="*/ 4475008 w 7714416"/>
              <a:gd name="connsiteY22269" fmla="*/ 678243 h 5282095"/>
              <a:gd name="connsiteX22270" fmla="*/ 4464928 w 7714416"/>
              <a:gd name="connsiteY22270" fmla="*/ 670483 h 5282095"/>
              <a:gd name="connsiteX22271" fmla="*/ 4471433 w 7714416"/>
              <a:gd name="connsiteY22271" fmla="*/ 666130 h 5282095"/>
              <a:gd name="connsiteX22272" fmla="*/ 3914747 w 7714416"/>
              <a:gd name="connsiteY22272" fmla="*/ 662904 h 5282095"/>
              <a:gd name="connsiteX22273" fmla="*/ 3909621 w 7714416"/>
              <a:gd name="connsiteY22273" fmla="*/ 679815 h 5282095"/>
              <a:gd name="connsiteX22274" fmla="*/ 3907907 w 7714416"/>
              <a:gd name="connsiteY22274" fmla="*/ 676251 h 5282095"/>
              <a:gd name="connsiteX22275" fmla="*/ 3914747 w 7714416"/>
              <a:gd name="connsiteY22275" fmla="*/ 662904 h 5282095"/>
              <a:gd name="connsiteX22276" fmla="*/ 1881173 w 7714416"/>
              <a:gd name="connsiteY22276" fmla="*/ 662887 h 5282095"/>
              <a:gd name="connsiteX22277" fmla="*/ 1881033 w 7714416"/>
              <a:gd name="connsiteY22277" fmla="*/ 668945 h 5282095"/>
              <a:gd name="connsiteX22278" fmla="*/ 1875631 w 7714416"/>
              <a:gd name="connsiteY22278" fmla="*/ 668072 h 5282095"/>
              <a:gd name="connsiteX22279" fmla="*/ 1876067 w 7714416"/>
              <a:gd name="connsiteY22279" fmla="*/ 663129 h 5282095"/>
              <a:gd name="connsiteX22280" fmla="*/ 1881173 w 7714416"/>
              <a:gd name="connsiteY22280" fmla="*/ 662887 h 5282095"/>
              <a:gd name="connsiteX22281" fmla="*/ 3621450 w 7714416"/>
              <a:gd name="connsiteY22281" fmla="*/ 662861 h 5282095"/>
              <a:gd name="connsiteX22282" fmla="*/ 3627890 w 7714416"/>
              <a:gd name="connsiteY22282" fmla="*/ 665392 h 5282095"/>
              <a:gd name="connsiteX22283" fmla="*/ 3627010 w 7714416"/>
              <a:gd name="connsiteY22283" fmla="*/ 667571 h 5282095"/>
              <a:gd name="connsiteX22284" fmla="*/ 3628878 w 7714416"/>
              <a:gd name="connsiteY22284" fmla="*/ 687161 h 5282095"/>
              <a:gd name="connsiteX22285" fmla="*/ 3621450 w 7714416"/>
              <a:gd name="connsiteY22285" fmla="*/ 662861 h 5282095"/>
              <a:gd name="connsiteX22286" fmla="*/ 4435541 w 7714416"/>
              <a:gd name="connsiteY22286" fmla="*/ 662837 h 5282095"/>
              <a:gd name="connsiteX22287" fmla="*/ 4445556 w 7714416"/>
              <a:gd name="connsiteY22287" fmla="*/ 668627 h 5282095"/>
              <a:gd name="connsiteX22288" fmla="*/ 4435472 w 7714416"/>
              <a:gd name="connsiteY22288" fmla="*/ 673055 h 5282095"/>
              <a:gd name="connsiteX22289" fmla="*/ 4432202 w 7714416"/>
              <a:gd name="connsiteY22289" fmla="*/ 669763 h 5282095"/>
              <a:gd name="connsiteX22290" fmla="*/ 4435541 w 7714416"/>
              <a:gd name="connsiteY22290" fmla="*/ 662837 h 5282095"/>
              <a:gd name="connsiteX22291" fmla="*/ 3304329 w 7714416"/>
              <a:gd name="connsiteY22291" fmla="*/ 662502 h 5282095"/>
              <a:gd name="connsiteX22292" fmla="*/ 3316386 w 7714416"/>
              <a:gd name="connsiteY22292" fmla="*/ 663576 h 5282095"/>
              <a:gd name="connsiteX22293" fmla="*/ 3319670 w 7714416"/>
              <a:gd name="connsiteY22293" fmla="*/ 671241 h 5282095"/>
              <a:gd name="connsiteX22294" fmla="*/ 3300656 w 7714416"/>
              <a:gd name="connsiteY22294" fmla="*/ 672471 h 5282095"/>
              <a:gd name="connsiteX22295" fmla="*/ 3304329 w 7714416"/>
              <a:gd name="connsiteY22295" fmla="*/ 662502 h 5282095"/>
              <a:gd name="connsiteX22296" fmla="*/ 5079780 w 7714416"/>
              <a:gd name="connsiteY22296" fmla="*/ 662498 h 5282095"/>
              <a:gd name="connsiteX22297" fmla="*/ 5081983 w 7714416"/>
              <a:gd name="connsiteY22297" fmla="*/ 673095 h 5282095"/>
              <a:gd name="connsiteX22298" fmla="*/ 5071562 w 7714416"/>
              <a:gd name="connsiteY22298" fmla="*/ 672142 h 5282095"/>
              <a:gd name="connsiteX22299" fmla="*/ 5079780 w 7714416"/>
              <a:gd name="connsiteY22299" fmla="*/ 662498 h 5282095"/>
              <a:gd name="connsiteX22300" fmla="*/ 3616240 w 7714416"/>
              <a:gd name="connsiteY22300" fmla="*/ 662385 h 5282095"/>
              <a:gd name="connsiteX22301" fmla="*/ 3622198 w 7714416"/>
              <a:gd name="connsiteY22301" fmla="*/ 668926 h 5282095"/>
              <a:gd name="connsiteX22302" fmla="*/ 3616869 w 7714416"/>
              <a:gd name="connsiteY22302" fmla="*/ 672214 h 5282095"/>
              <a:gd name="connsiteX22303" fmla="*/ 3610662 w 7714416"/>
              <a:gd name="connsiteY22303" fmla="*/ 665491 h 5282095"/>
              <a:gd name="connsiteX22304" fmla="*/ 3616240 w 7714416"/>
              <a:gd name="connsiteY22304" fmla="*/ 662385 h 5282095"/>
              <a:gd name="connsiteX22305" fmla="*/ 2468236 w 7714416"/>
              <a:gd name="connsiteY22305" fmla="*/ 660108 h 5282095"/>
              <a:gd name="connsiteX22306" fmla="*/ 2490842 w 7714416"/>
              <a:gd name="connsiteY22306" fmla="*/ 689740 h 5282095"/>
              <a:gd name="connsiteX22307" fmla="*/ 2464926 w 7714416"/>
              <a:gd name="connsiteY22307" fmla="*/ 666926 h 5282095"/>
              <a:gd name="connsiteX22308" fmla="*/ 2468236 w 7714416"/>
              <a:gd name="connsiteY22308" fmla="*/ 660108 h 5282095"/>
              <a:gd name="connsiteX22309" fmla="*/ 2118991 w 7714416"/>
              <a:gd name="connsiteY22309" fmla="*/ 659680 h 5282095"/>
              <a:gd name="connsiteX22310" fmla="*/ 2119520 w 7714416"/>
              <a:gd name="connsiteY22310" fmla="*/ 665455 h 5282095"/>
              <a:gd name="connsiteX22311" fmla="*/ 2106213 w 7714416"/>
              <a:gd name="connsiteY22311" fmla="*/ 667526 h 5282095"/>
              <a:gd name="connsiteX22312" fmla="*/ 2097956 w 7714416"/>
              <a:gd name="connsiteY22312" fmla="*/ 669568 h 5282095"/>
              <a:gd name="connsiteX22313" fmla="*/ 2107705 w 7714416"/>
              <a:gd name="connsiteY22313" fmla="*/ 665280 h 5282095"/>
              <a:gd name="connsiteX22314" fmla="*/ 2108930 w 7714416"/>
              <a:gd name="connsiteY22314" fmla="*/ 661813 h 5282095"/>
              <a:gd name="connsiteX22315" fmla="*/ 2118991 w 7714416"/>
              <a:gd name="connsiteY22315" fmla="*/ 659680 h 5282095"/>
              <a:gd name="connsiteX22316" fmla="*/ 3365696 w 7714416"/>
              <a:gd name="connsiteY22316" fmla="*/ 658848 h 5282095"/>
              <a:gd name="connsiteX22317" fmla="*/ 3373775 w 7714416"/>
              <a:gd name="connsiteY22317" fmla="*/ 664118 h 5282095"/>
              <a:gd name="connsiteX22318" fmla="*/ 3338309 w 7714416"/>
              <a:gd name="connsiteY22318" fmla="*/ 671405 h 5282095"/>
              <a:gd name="connsiteX22319" fmla="*/ 3328323 w 7714416"/>
              <a:gd name="connsiteY22319" fmla="*/ 665509 h 5282095"/>
              <a:gd name="connsiteX22320" fmla="*/ 3365696 w 7714416"/>
              <a:gd name="connsiteY22320" fmla="*/ 658848 h 5282095"/>
              <a:gd name="connsiteX22321" fmla="*/ 2047630 w 7714416"/>
              <a:gd name="connsiteY22321" fmla="*/ 658153 h 5282095"/>
              <a:gd name="connsiteX22322" fmla="*/ 2054703 w 7714416"/>
              <a:gd name="connsiteY22322" fmla="*/ 667178 h 5282095"/>
              <a:gd name="connsiteX22323" fmla="*/ 2044576 w 7714416"/>
              <a:gd name="connsiteY22323" fmla="*/ 667341 h 5282095"/>
              <a:gd name="connsiteX22324" fmla="*/ 2040112 w 7714416"/>
              <a:gd name="connsiteY22324" fmla="*/ 664074 h 5282095"/>
              <a:gd name="connsiteX22325" fmla="*/ 2041730 w 7714416"/>
              <a:gd name="connsiteY22325" fmla="*/ 660252 h 5282095"/>
              <a:gd name="connsiteX22326" fmla="*/ 2047630 w 7714416"/>
              <a:gd name="connsiteY22326" fmla="*/ 658153 h 5282095"/>
              <a:gd name="connsiteX22327" fmla="*/ 4593150 w 7714416"/>
              <a:gd name="connsiteY22327" fmla="*/ 657918 h 5282095"/>
              <a:gd name="connsiteX22328" fmla="*/ 4596788 w 7714416"/>
              <a:gd name="connsiteY22328" fmla="*/ 666483 h 5282095"/>
              <a:gd name="connsiteX22329" fmla="*/ 4587911 w 7714416"/>
              <a:gd name="connsiteY22329" fmla="*/ 666405 h 5282095"/>
              <a:gd name="connsiteX22330" fmla="*/ 4582877 w 7714416"/>
              <a:gd name="connsiteY22330" fmla="*/ 661951 h 5282095"/>
              <a:gd name="connsiteX22331" fmla="*/ 4593150 w 7714416"/>
              <a:gd name="connsiteY22331" fmla="*/ 657918 h 5282095"/>
              <a:gd name="connsiteX22332" fmla="*/ 3972161 w 7714416"/>
              <a:gd name="connsiteY22332" fmla="*/ 657817 h 5282095"/>
              <a:gd name="connsiteX22333" fmla="*/ 3980577 w 7714416"/>
              <a:gd name="connsiteY22333" fmla="*/ 659612 h 5282095"/>
              <a:gd name="connsiteX22334" fmla="*/ 3964004 w 7714416"/>
              <a:gd name="connsiteY22334" fmla="*/ 672767 h 5282095"/>
              <a:gd name="connsiteX22335" fmla="*/ 3972161 w 7714416"/>
              <a:gd name="connsiteY22335" fmla="*/ 657817 h 5282095"/>
              <a:gd name="connsiteX22336" fmla="*/ 1466536 w 7714416"/>
              <a:gd name="connsiteY22336" fmla="*/ 657473 h 5282095"/>
              <a:gd name="connsiteX22337" fmla="*/ 1473274 w 7714416"/>
              <a:gd name="connsiteY22337" fmla="*/ 657782 h 5282095"/>
              <a:gd name="connsiteX22338" fmla="*/ 1467136 w 7714416"/>
              <a:gd name="connsiteY22338" fmla="*/ 658553 h 5282095"/>
              <a:gd name="connsiteX22339" fmla="*/ 1466536 w 7714416"/>
              <a:gd name="connsiteY22339" fmla="*/ 657473 h 5282095"/>
              <a:gd name="connsiteX22340" fmla="*/ 2969610 w 7714416"/>
              <a:gd name="connsiteY22340" fmla="*/ 657253 h 5282095"/>
              <a:gd name="connsiteX22341" fmla="*/ 2974361 w 7714416"/>
              <a:gd name="connsiteY22341" fmla="*/ 677156 h 5282095"/>
              <a:gd name="connsiteX22342" fmla="*/ 2975787 w 7714416"/>
              <a:gd name="connsiteY22342" fmla="*/ 681793 h 5282095"/>
              <a:gd name="connsiteX22343" fmla="*/ 2979647 w 7714416"/>
              <a:gd name="connsiteY22343" fmla="*/ 678459 h 5282095"/>
              <a:gd name="connsiteX22344" fmla="*/ 2985870 w 7714416"/>
              <a:gd name="connsiteY22344" fmla="*/ 695075 h 5282095"/>
              <a:gd name="connsiteX22345" fmla="*/ 2980070 w 7714416"/>
              <a:gd name="connsiteY22345" fmla="*/ 692372 h 5282095"/>
              <a:gd name="connsiteX22346" fmla="*/ 2975826 w 7714416"/>
              <a:gd name="connsiteY22346" fmla="*/ 689395 h 5282095"/>
              <a:gd name="connsiteX22347" fmla="*/ 2974066 w 7714416"/>
              <a:gd name="connsiteY22347" fmla="*/ 693753 h 5282095"/>
              <a:gd name="connsiteX22348" fmla="*/ 2968718 w 7714416"/>
              <a:gd name="connsiteY22348" fmla="*/ 687145 h 5282095"/>
              <a:gd name="connsiteX22349" fmla="*/ 2967565 w 7714416"/>
              <a:gd name="connsiteY22349" fmla="*/ 685916 h 5282095"/>
              <a:gd name="connsiteX22350" fmla="*/ 2963346 w 7714416"/>
              <a:gd name="connsiteY22350" fmla="*/ 686166 h 5282095"/>
              <a:gd name="connsiteX22351" fmla="*/ 2956191 w 7714416"/>
              <a:gd name="connsiteY22351" fmla="*/ 682983 h 5282095"/>
              <a:gd name="connsiteX22352" fmla="*/ 2958099 w 7714416"/>
              <a:gd name="connsiteY22352" fmla="*/ 692465 h 5282095"/>
              <a:gd name="connsiteX22353" fmla="*/ 2950825 w 7714416"/>
              <a:gd name="connsiteY22353" fmla="*/ 710757 h 5282095"/>
              <a:gd name="connsiteX22354" fmla="*/ 2943505 w 7714416"/>
              <a:gd name="connsiteY22354" fmla="*/ 710404 h 5282095"/>
              <a:gd name="connsiteX22355" fmla="*/ 2932513 w 7714416"/>
              <a:gd name="connsiteY22355" fmla="*/ 699409 h 5282095"/>
              <a:gd name="connsiteX22356" fmla="*/ 2944297 w 7714416"/>
              <a:gd name="connsiteY22356" fmla="*/ 676461 h 5282095"/>
              <a:gd name="connsiteX22357" fmla="*/ 2944602 w 7714416"/>
              <a:gd name="connsiteY22357" fmla="*/ 676428 h 5282095"/>
              <a:gd name="connsiteX22358" fmla="*/ 2937012 w 7714416"/>
              <a:gd name="connsiteY22358" fmla="*/ 669334 h 5282095"/>
              <a:gd name="connsiteX22359" fmla="*/ 2945641 w 7714416"/>
              <a:gd name="connsiteY22359" fmla="*/ 660376 h 5282095"/>
              <a:gd name="connsiteX22360" fmla="*/ 2955670 w 7714416"/>
              <a:gd name="connsiteY22360" fmla="*/ 661683 h 5282095"/>
              <a:gd name="connsiteX22361" fmla="*/ 2955929 w 7714416"/>
              <a:gd name="connsiteY22361" fmla="*/ 660718 h 5282095"/>
              <a:gd name="connsiteX22362" fmla="*/ 2969610 w 7714416"/>
              <a:gd name="connsiteY22362" fmla="*/ 657253 h 5282095"/>
              <a:gd name="connsiteX22363" fmla="*/ 4922170 w 7714416"/>
              <a:gd name="connsiteY22363" fmla="*/ 654969 h 5282095"/>
              <a:gd name="connsiteX22364" fmla="*/ 4951843 w 7714416"/>
              <a:gd name="connsiteY22364" fmla="*/ 659613 h 5282095"/>
              <a:gd name="connsiteX22365" fmla="*/ 4900070 w 7714416"/>
              <a:gd name="connsiteY22365" fmla="*/ 663566 h 5282095"/>
              <a:gd name="connsiteX22366" fmla="*/ 4922170 w 7714416"/>
              <a:gd name="connsiteY22366" fmla="*/ 654969 h 5282095"/>
              <a:gd name="connsiteX22367" fmla="*/ 5199141 w 7714416"/>
              <a:gd name="connsiteY22367" fmla="*/ 654232 h 5282095"/>
              <a:gd name="connsiteX22368" fmla="*/ 5187264 w 7714416"/>
              <a:gd name="connsiteY22368" fmla="*/ 666459 h 5282095"/>
              <a:gd name="connsiteX22369" fmla="*/ 5184864 w 7714416"/>
              <a:gd name="connsiteY22369" fmla="*/ 662136 h 5282095"/>
              <a:gd name="connsiteX22370" fmla="*/ 5183973 w 7714416"/>
              <a:gd name="connsiteY22370" fmla="*/ 656607 h 5282095"/>
              <a:gd name="connsiteX22371" fmla="*/ 5199141 w 7714416"/>
              <a:gd name="connsiteY22371" fmla="*/ 654232 h 5282095"/>
              <a:gd name="connsiteX22372" fmla="*/ 2417333 w 7714416"/>
              <a:gd name="connsiteY22372" fmla="*/ 654173 h 5282095"/>
              <a:gd name="connsiteX22373" fmla="*/ 2417290 w 7714416"/>
              <a:gd name="connsiteY22373" fmla="*/ 658762 h 5282095"/>
              <a:gd name="connsiteX22374" fmla="*/ 2416039 w 7714416"/>
              <a:gd name="connsiteY22374" fmla="*/ 659001 h 5282095"/>
              <a:gd name="connsiteX22375" fmla="*/ 2420503 w 7714416"/>
              <a:gd name="connsiteY22375" fmla="*/ 662268 h 5282095"/>
              <a:gd name="connsiteX22376" fmla="*/ 2413890 w 7714416"/>
              <a:gd name="connsiteY22376" fmla="*/ 669237 h 5282095"/>
              <a:gd name="connsiteX22377" fmla="*/ 2402789 w 7714416"/>
              <a:gd name="connsiteY22377" fmla="*/ 660857 h 5282095"/>
              <a:gd name="connsiteX22378" fmla="*/ 2405751 w 7714416"/>
              <a:gd name="connsiteY22378" fmla="*/ 658660 h 5282095"/>
              <a:gd name="connsiteX22379" fmla="*/ 2404428 w 7714416"/>
              <a:gd name="connsiteY22379" fmla="*/ 654741 h 5282095"/>
              <a:gd name="connsiteX22380" fmla="*/ 2417333 w 7714416"/>
              <a:gd name="connsiteY22380" fmla="*/ 654173 h 5282095"/>
              <a:gd name="connsiteX22381" fmla="*/ 3645456 w 7714416"/>
              <a:gd name="connsiteY22381" fmla="*/ 652963 h 5282095"/>
              <a:gd name="connsiteX22382" fmla="*/ 3650156 w 7714416"/>
              <a:gd name="connsiteY22382" fmla="*/ 657557 h 5282095"/>
              <a:gd name="connsiteX22383" fmla="*/ 3626798 w 7714416"/>
              <a:gd name="connsiteY22383" fmla="*/ 660614 h 5282095"/>
              <a:gd name="connsiteX22384" fmla="*/ 3645456 w 7714416"/>
              <a:gd name="connsiteY22384" fmla="*/ 652963 h 5282095"/>
              <a:gd name="connsiteX22385" fmla="*/ 1981132 w 7714416"/>
              <a:gd name="connsiteY22385" fmla="*/ 652870 h 5282095"/>
              <a:gd name="connsiteX22386" fmla="*/ 1996012 w 7714416"/>
              <a:gd name="connsiteY22386" fmla="*/ 660423 h 5282095"/>
              <a:gd name="connsiteX22387" fmla="*/ 1990514 w 7714416"/>
              <a:gd name="connsiteY22387" fmla="*/ 661019 h 5282095"/>
              <a:gd name="connsiteX22388" fmla="*/ 1981132 w 7714416"/>
              <a:gd name="connsiteY22388" fmla="*/ 652870 h 5282095"/>
              <a:gd name="connsiteX22389" fmla="*/ 957076 w 7714416"/>
              <a:gd name="connsiteY22389" fmla="*/ 652870 h 5282095"/>
              <a:gd name="connsiteX22390" fmla="*/ 964109 w 7714416"/>
              <a:gd name="connsiteY22390" fmla="*/ 654294 h 5282095"/>
              <a:gd name="connsiteX22391" fmla="*/ 963793 w 7714416"/>
              <a:gd name="connsiteY22391" fmla="*/ 664330 h 5282095"/>
              <a:gd name="connsiteX22392" fmla="*/ 954712 w 7714416"/>
              <a:gd name="connsiteY22392" fmla="*/ 659481 h 5282095"/>
              <a:gd name="connsiteX22393" fmla="*/ 953199 w 7714416"/>
              <a:gd name="connsiteY22393" fmla="*/ 655166 h 5282095"/>
              <a:gd name="connsiteX22394" fmla="*/ 957076 w 7714416"/>
              <a:gd name="connsiteY22394" fmla="*/ 652870 h 5282095"/>
              <a:gd name="connsiteX22395" fmla="*/ 4195124 w 7714416"/>
              <a:gd name="connsiteY22395" fmla="*/ 652292 h 5282095"/>
              <a:gd name="connsiteX22396" fmla="*/ 4208111 w 7714416"/>
              <a:gd name="connsiteY22396" fmla="*/ 670439 h 5282095"/>
              <a:gd name="connsiteX22397" fmla="*/ 4193122 w 7714416"/>
              <a:gd name="connsiteY22397" fmla="*/ 674358 h 5282095"/>
              <a:gd name="connsiteX22398" fmla="*/ 4186499 w 7714416"/>
              <a:gd name="connsiteY22398" fmla="*/ 664763 h 5282095"/>
              <a:gd name="connsiteX22399" fmla="*/ 4185231 w 7714416"/>
              <a:gd name="connsiteY22399" fmla="*/ 655108 h 5282095"/>
              <a:gd name="connsiteX22400" fmla="*/ 4195124 w 7714416"/>
              <a:gd name="connsiteY22400" fmla="*/ 652292 h 5282095"/>
              <a:gd name="connsiteX22401" fmla="*/ 4215719 w 7714416"/>
              <a:gd name="connsiteY22401" fmla="*/ 652007 h 5282095"/>
              <a:gd name="connsiteX22402" fmla="*/ 4218295 w 7714416"/>
              <a:gd name="connsiteY22402" fmla="*/ 652353 h 5282095"/>
              <a:gd name="connsiteX22403" fmla="*/ 4221968 w 7714416"/>
              <a:gd name="connsiteY22403" fmla="*/ 654142 h 5282095"/>
              <a:gd name="connsiteX22404" fmla="*/ 4218565 w 7714416"/>
              <a:gd name="connsiteY22404" fmla="*/ 659096 h 5282095"/>
              <a:gd name="connsiteX22405" fmla="*/ 4215729 w 7714416"/>
              <a:gd name="connsiteY22405" fmla="*/ 659716 h 5282095"/>
              <a:gd name="connsiteX22406" fmla="*/ 4213660 w 7714416"/>
              <a:gd name="connsiteY22406" fmla="*/ 658586 h 5282095"/>
              <a:gd name="connsiteX22407" fmla="*/ 4212948 w 7714416"/>
              <a:gd name="connsiteY22407" fmla="*/ 654600 h 5282095"/>
              <a:gd name="connsiteX22408" fmla="*/ 4215719 w 7714416"/>
              <a:gd name="connsiteY22408" fmla="*/ 652007 h 5282095"/>
              <a:gd name="connsiteX22409" fmla="*/ 3254275 w 7714416"/>
              <a:gd name="connsiteY22409" fmla="*/ 651878 h 5282095"/>
              <a:gd name="connsiteX22410" fmla="*/ 3256725 w 7714416"/>
              <a:gd name="connsiteY22410" fmla="*/ 653799 h 5282095"/>
              <a:gd name="connsiteX22411" fmla="*/ 3256783 w 7714416"/>
              <a:gd name="connsiteY22411" fmla="*/ 653585 h 5282095"/>
              <a:gd name="connsiteX22412" fmla="*/ 3262644 w 7714416"/>
              <a:gd name="connsiteY22412" fmla="*/ 652740 h 5282095"/>
              <a:gd name="connsiteX22413" fmla="*/ 3272699 w 7714416"/>
              <a:gd name="connsiteY22413" fmla="*/ 666129 h 5282095"/>
              <a:gd name="connsiteX22414" fmla="*/ 3264671 w 7714416"/>
              <a:gd name="connsiteY22414" fmla="*/ 667315 h 5282095"/>
              <a:gd name="connsiteX22415" fmla="*/ 3262076 w 7714416"/>
              <a:gd name="connsiteY22415" fmla="*/ 665929 h 5282095"/>
              <a:gd name="connsiteX22416" fmla="*/ 3260624 w 7714416"/>
              <a:gd name="connsiteY22416" fmla="*/ 666920 h 5282095"/>
              <a:gd name="connsiteX22417" fmla="*/ 3251643 w 7714416"/>
              <a:gd name="connsiteY22417" fmla="*/ 666123 h 5282095"/>
              <a:gd name="connsiteX22418" fmla="*/ 3249879 w 7714416"/>
              <a:gd name="connsiteY22418" fmla="*/ 664961 h 5282095"/>
              <a:gd name="connsiteX22419" fmla="*/ 3239405 w 7714416"/>
              <a:gd name="connsiteY22419" fmla="*/ 652034 h 5282095"/>
              <a:gd name="connsiteX22420" fmla="*/ 3254275 w 7714416"/>
              <a:gd name="connsiteY22420" fmla="*/ 651878 h 5282095"/>
              <a:gd name="connsiteX22421" fmla="*/ 2472351 w 7714416"/>
              <a:gd name="connsiteY22421" fmla="*/ 650285 h 5282095"/>
              <a:gd name="connsiteX22422" fmla="*/ 2471477 w 7714416"/>
              <a:gd name="connsiteY22422" fmla="*/ 654651 h 5282095"/>
              <a:gd name="connsiteX22423" fmla="*/ 2470446 w 7714416"/>
              <a:gd name="connsiteY22423" fmla="*/ 655180 h 5282095"/>
              <a:gd name="connsiteX22424" fmla="*/ 2469846 w 7714416"/>
              <a:gd name="connsiteY22424" fmla="*/ 654099 h 5282095"/>
              <a:gd name="connsiteX22425" fmla="*/ 2472351 w 7714416"/>
              <a:gd name="connsiteY22425" fmla="*/ 650285 h 5282095"/>
              <a:gd name="connsiteX22426" fmla="*/ 1072042 w 7714416"/>
              <a:gd name="connsiteY22426" fmla="*/ 648139 h 5282095"/>
              <a:gd name="connsiteX22427" fmla="*/ 1078280 w 7714416"/>
              <a:gd name="connsiteY22427" fmla="*/ 652111 h 5282095"/>
              <a:gd name="connsiteX22428" fmla="*/ 1079031 w 7714416"/>
              <a:gd name="connsiteY22428" fmla="*/ 654841 h 5282095"/>
              <a:gd name="connsiteX22429" fmla="*/ 1075194 w 7714416"/>
              <a:gd name="connsiteY22429" fmla="*/ 655884 h 5282095"/>
              <a:gd name="connsiteX22430" fmla="*/ 1069602 w 7714416"/>
              <a:gd name="connsiteY22430" fmla="*/ 654615 h 5282095"/>
              <a:gd name="connsiteX22431" fmla="*/ 1065797 w 7714416"/>
              <a:gd name="connsiteY22431" fmla="*/ 652216 h 5282095"/>
              <a:gd name="connsiteX22432" fmla="*/ 1065045 w 7714416"/>
              <a:gd name="connsiteY22432" fmla="*/ 649484 h 5282095"/>
              <a:gd name="connsiteX22433" fmla="*/ 1072042 w 7714416"/>
              <a:gd name="connsiteY22433" fmla="*/ 648139 h 5282095"/>
              <a:gd name="connsiteX22434" fmla="*/ 1374646 w 7714416"/>
              <a:gd name="connsiteY22434" fmla="*/ 647340 h 5282095"/>
              <a:gd name="connsiteX22435" fmla="*/ 1379235 w 7714416"/>
              <a:gd name="connsiteY22435" fmla="*/ 657885 h 5282095"/>
              <a:gd name="connsiteX22436" fmla="*/ 1380926 w 7714416"/>
              <a:gd name="connsiteY22436" fmla="*/ 663744 h 5282095"/>
              <a:gd name="connsiteX22437" fmla="*/ 1378184 w 7714416"/>
              <a:gd name="connsiteY22437" fmla="*/ 666229 h 5282095"/>
              <a:gd name="connsiteX22438" fmla="*/ 1376658 w 7714416"/>
              <a:gd name="connsiteY22438" fmla="*/ 666394 h 5282095"/>
              <a:gd name="connsiteX22439" fmla="*/ 1374655 w 7714416"/>
              <a:gd name="connsiteY22439" fmla="*/ 663902 h 5282095"/>
              <a:gd name="connsiteX22440" fmla="*/ 1372741 w 7714416"/>
              <a:gd name="connsiteY22440" fmla="*/ 652234 h 5282095"/>
              <a:gd name="connsiteX22441" fmla="*/ 1372180 w 7714416"/>
              <a:gd name="connsiteY22441" fmla="*/ 649899 h 5282095"/>
              <a:gd name="connsiteX22442" fmla="*/ 1374646 w 7714416"/>
              <a:gd name="connsiteY22442" fmla="*/ 647340 h 5282095"/>
              <a:gd name="connsiteX22443" fmla="*/ 4058673 w 7714416"/>
              <a:gd name="connsiteY22443" fmla="*/ 647073 h 5282095"/>
              <a:gd name="connsiteX22444" fmla="*/ 4095700 w 7714416"/>
              <a:gd name="connsiteY22444" fmla="*/ 659409 h 5282095"/>
              <a:gd name="connsiteX22445" fmla="*/ 4095022 w 7714416"/>
              <a:gd name="connsiteY22445" fmla="*/ 660837 h 5282095"/>
              <a:gd name="connsiteX22446" fmla="*/ 4098586 w 7714416"/>
              <a:gd name="connsiteY22446" fmla="*/ 656387 h 5282095"/>
              <a:gd name="connsiteX22447" fmla="*/ 4106714 w 7714416"/>
              <a:gd name="connsiteY22447" fmla="*/ 659256 h 5282095"/>
              <a:gd name="connsiteX22448" fmla="*/ 4108773 w 7714416"/>
              <a:gd name="connsiteY22448" fmla="*/ 661532 h 5282095"/>
              <a:gd name="connsiteX22449" fmla="*/ 4110161 w 7714416"/>
              <a:gd name="connsiteY22449" fmla="*/ 658570 h 5282095"/>
              <a:gd name="connsiteX22450" fmla="*/ 4121189 w 7714416"/>
              <a:gd name="connsiteY22450" fmla="*/ 662789 h 5282095"/>
              <a:gd name="connsiteX22451" fmla="*/ 4118253 w 7714416"/>
              <a:gd name="connsiteY22451" fmla="*/ 668212 h 5282095"/>
              <a:gd name="connsiteX22452" fmla="*/ 4112414 w 7714416"/>
              <a:gd name="connsiteY22452" fmla="*/ 666763 h 5282095"/>
              <a:gd name="connsiteX22453" fmla="*/ 4113391 w 7714416"/>
              <a:gd name="connsiteY22453" fmla="*/ 671969 h 5282095"/>
              <a:gd name="connsiteX22454" fmla="*/ 4110818 w 7714416"/>
              <a:gd name="connsiteY22454" fmla="*/ 677146 h 5282095"/>
              <a:gd name="connsiteX22455" fmla="*/ 4099028 w 7714416"/>
              <a:gd name="connsiteY22455" fmla="*/ 671341 h 5282095"/>
              <a:gd name="connsiteX22456" fmla="*/ 4094935 w 7714416"/>
              <a:gd name="connsiteY22456" fmla="*/ 661159 h 5282095"/>
              <a:gd name="connsiteX22457" fmla="*/ 4090687 w 7714416"/>
              <a:gd name="connsiteY22457" fmla="*/ 670372 h 5282095"/>
              <a:gd name="connsiteX22458" fmla="*/ 4056652 w 7714416"/>
              <a:gd name="connsiteY22458" fmla="*/ 678961 h 5282095"/>
              <a:gd name="connsiteX22459" fmla="*/ 4045391 w 7714416"/>
              <a:gd name="connsiteY22459" fmla="*/ 670079 h 5282095"/>
              <a:gd name="connsiteX22460" fmla="*/ 4044003 w 7714416"/>
              <a:gd name="connsiteY22460" fmla="*/ 664187 h 5282095"/>
              <a:gd name="connsiteX22461" fmla="*/ 4041546 w 7714416"/>
              <a:gd name="connsiteY22461" fmla="*/ 660078 h 5282095"/>
              <a:gd name="connsiteX22462" fmla="*/ 4041812 w 7714416"/>
              <a:gd name="connsiteY22462" fmla="*/ 661300 h 5282095"/>
              <a:gd name="connsiteX22463" fmla="*/ 4036662 w 7714416"/>
              <a:gd name="connsiteY22463" fmla="*/ 666130 h 5282095"/>
              <a:gd name="connsiteX22464" fmla="*/ 4038369 w 7714416"/>
              <a:gd name="connsiteY22464" fmla="*/ 667508 h 5282095"/>
              <a:gd name="connsiteX22465" fmla="*/ 4035124 w 7714416"/>
              <a:gd name="connsiteY22465" fmla="*/ 667443 h 5282095"/>
              <a:gd name="connsiteX22466" fmla="*/ 4032019 w 7714416"/>
              <a:gd name="connsiteY22466" fmla="*/ 670176 h 5282095"/>
              <a:gd name="connsiteX22467" fmla="*/ 4021964 w 7714416"/>
              <a:gd name="connsiteY22467" fmla="*/ 674497 h 5282095"/>
              <a:gd name="connsiteX22468" fmla="*/ 4022636 w 7714416"/>
              <a:gd name="connsiteY22468" fmla="*/ 670882 h 5282095"/>
              <a:gd name="connsiteX22469" fmla="*/ 4024174 w 7714416"/>
              <a:gd name="connsiteY22469" fmla="*/ 669569 h 5282095"/>
              <a:gd name="connsiteX22470" fmla="*/ 4023879 w 7714416"/>
              <a:gd name="connsiteY22470" fmla="*/ 668455 h 5282095"/>
              <a:gd name="connsiteX22471" fmla="*/ 4025407 w 7714416"/>
              <a:gd name="connsiteY22471" fmla="*/ 668290 h 5282095"/>
              <a:gd name="connsiteX22472" fmla="*/ 4025799 w 7714416"/>
              <a:gd name="connsiteY22472" fmla="*/ 667934 h 5282095"/>
              <a:gd name="connsiteX22473" fmla="*/ 4026668 w 7714416"/>
              <a:gd name="connsiteY22473" fmla="*/ 666903 h 5282095"/>
              <a:gd name="connsiteX22474" fmla="*/ 4019129 w 7714416"/>
              <a:gd name="connsiteY22474" fmla="*/ 666262 h 5282095"/>
              <a:gd name="connsiteX22475" fmla="*/ 4000939 w 7714416"/>
              <a:gd name="connsiteY22475" fmla="*/ 656673 h 5282095"/>
              <a:gd name="connsiteX22476" fmla="*/ 4021752 w 7714416"/>
              <a:gd name="connsiteY22476" fmla="*/ 658685 h 5282095"/>
              <a:gd name="connsiteX22477" fmla="*/ 4029766 w 7714416"/>
              <a:gd name="connsiteY22477" fmla="*/ 661983 h 5282095"/>
              <a:gd name="connsiteX22478" fmla="*/ 4030187 w 7714416"/>
              <a:gd name="connsiteY22478" fmla="*/ 661520 h 5282095"/>
              <a:gd name="connsiteX22479" fmla="*/ 4031049 w 7714416"/>
              <a:gd name="connsiteY22479" fmla="*/ 658301 h 5282095"/>
              <a:gd name="connsiteX22480" fmla="*/ 4039616 w 7714416"/>
              <a:gd name="connsiteY22480" fmla="*/ 652892 h 5282095"/>
              <a:gd name="connsiteX22481" fmla="*/ 4043479 w 7714416"/>
              <a:gd name="connsiteY22481" fmla="*/ 655077 h 5282095"/>
              <a:gd name="connsiteX22482" fmla="*/ 4046250 w 7714416"/>
              <a:gd name="connsiteY22482" fmla="*/ 652484 h 5282095"/>
              <a:gd name="connsiteX22483" fmla="*/ 4054719 w 7714416"/>
              <a:gd name="connsiteY22483" fmla="*/ 648544 h 5282095"/>
              <a:gd name="connsiteX22484" fmla="*/ 4055274 w 7714416"/>
              <a:gd name="connsiteY22484" fmla="*/ 648692 h 5282095"/>
              <a:gd name="connsiteX22485" fmla="*/ 1294933 w 7714416"/>
              <a:gd name="connsiteY22485" fmla="*/ 645991 h 5282095"/>
              <a:gd name="connsiteX22486" fmla="*/ 1302555 w 7714416"/>
              <a:gd name="connsiteY22486" fmla="*/ 658499 h 5282095"/>
              <a:gd name="connsiteX22487" fmla="*/ 1225951 w 7714416"/>
              <a:gd name="connsiteY22487" fmla="*/ 677648 h 5282095"/>
              <a:gd name="connsiteX22488" fmla="*/ 1294933 w 7714416"/>
              <a:gd name="connsiteY22488" fmla="*/ 645991 h 5282095"/>
              <a:gd name="connsiteX22489" fmla="*/ 1753979 w 7714416"/>
              <a:gd name="connsiteY22489" fmla="*/ 642836 h 5282095"/>
              <a:gd name="connsiteX22490" fmla="*/ 1760545 w 7714416"/>
              <a:gd name="connsiteY22490" fmla="*/ 643789 h 5282095"/>
              <a:gd name="connsiteX22491" fmla="*/ 1755628 w 7714416"/>
              <a:gd name="connsiteY22491" fmla="*/ 644428 h 5282095"/>
              <a:gd name="connsiteX22492" fmla="*/ 1754244 w 7714416"/>
              <a:gd name="connsiteY22492" fmla="*/ 644057 h 5282095"/>
              <a:gd name="connsiteX22493" fmla="*/ 1753979 w 7714416"/>
              <a:gd name="connsiteY22493" fmla="*/ 642836 h 5282095"/>
              <a:gd name="connsiteX22494" fmla="*/ 4298087 w 7714416"/>
              <a:gd name="connsiteY22494" fmla="*/ 642337 h 5282095"/>
              <a:gd name="connsiteX22495" fmla="*/ 4308102 w 7714416"/>
              <a:gd name="connsiteY22495" fmla="*/ 648127 h 5282095"/>
              <a:gd name="connsiteX22496" fmla="*/ 4289483 w 7714416"/>
              <a:gd name="connsiteY22496" fmla="*/ 654523 h 5282095"/>
              <a:gd name="connsiteX22497" fmla="*/ 4287141 w 7714416"/>
              <a:gd name="connsiteY22497" fmla="*/ 649985 h 5282095"/>
              <a:gd name="connsiteX22498" fmla="*/ 4298087 w 7714416"/>
              <a:gd name="connsiteY22498" fmla="*/ 642337 h 5282095"/>
              <a:gd name="connsiteX22499" fmla="*/ 1768773 w 7714416"/>
              <a:gd name="connsiteY22499" fmla="*/ 641854 h 5282095"/>
              <a:gd name="connsiteX22500" fmla="*/ 1778260 w 7714416"/>
              <a:gd name="connsiteY22500" fmla="*/ 650722 h 5282095"/>
              <a:gd name="connsiteX22501" fmla="*/ 1767372 w 7714416"/>
              <a:gd name="connsiteY22501" fmla="*/ 649299 h 5282095"/>
              <a:gd name="connsiteX22502" fmla="*/ 1768773 w 7714416"/>
              <a:gd name="connsiteY22502" fmla="*/ 641854 h 5282095"/>
              <a:gd name="connsiteX22503" fmla="*/ 4548979 w 7714416"/>
              <a:gd name="connsiteY22503" fmla="*/ 641253 h 5282095"/>
              <a:gd name="connsiteX22504" fmla="*/ 4550334 w 7714416"/>
              <a:gd name="connsiteY22504" fmla="*/ 641731 h 5282095"/>
              <a:gd name="connsiteX22505" fmla="*/ 4550944 w 7714416"/>
              <a:gd name="connsiteY22505" fmla="*/ 641665 h 5282095"/>
              <a:gd name="connsiteX22506" fmla="*/ 4553309 w 7714416"/>
              <a:gd name="connsiteY22506" fmla="*/ 643908 h 5282095"/>
              <a:gd name="connsiteX22507" fmla="*/ 4554089 w 7714416"/>
              <a:gd name="connsiteY22507" fmla="*/ 646532 h 5282095"/>
              <a:gd name="connsiteX22508" fmla="*/ 4551951 w 7714416"/>
              <a:gd name="connsiteY22508" fmla="*/ 646764 h 5282095"/>
              <a:gd name="connsiteX22509" fmla="*/ 4547552 w 7714416"/>
              <a:gd name="connsiteY22509" fmla="*/ 645470 h 5282095"/>
              <a:gd name="connsiteX22510" fmla="*/ 4548128 w 7714416"/>
              <a:gd name="connsiteY22510" fmla="*/ 643324 h 5282095"/>
              <a:gd name="connsiteX22511" fmla="*/ 4546801 w 7714416"/>
              <a:gd name="connsiteY22511" fmla="*/ 642739 h 5282095"/>
              <a:gd name="connsiteX22512" fmla="*/ 4548979 w 7714416"/>
              <a:gd name="connsiteY22512" fmla="*/ 641253 h 5282095"/>
              <a:gd name="connsiteX22513" fmla="*/ 3473414 w 7714416"/>
              <a:gd name="connsiteY22513" fmla="*/ 640905 h 5282095"/>
              <a:gd name="connsiteX22514" fmla="*/ 3477845 w 7714416"/>
              <a:gd name="connsiteY22514" fmla="*/ 647613 h 5282095"/>
              <a:gd name="connsiteX22515" fmla="*/ 3480425 w 7714416"/>
              <a:gd name="connsiteY22515" fmla="*/ 653479 h 5282095"/>
              <a:gd name="connsiteX22516" fmla="*/ 3481463 w 7714416"/>
              <a:gd name="connsiteY22516" fmla="*/ 672848 h 5282095"/>
              <a:gd name="connsiteX22517" fmla="*/ 3476156 w 7714416"/>
              <a:gd name="connsiteY22517" fmla="*/ 664986 h 5282095"/>
              <a:gd name="connsiteX22518" fmla="*/ 3468674 w 7714416"/>
              <a:gd name="connsiteY22518" fmla="*/ 646420 h 5282095"/>
              <a:gd name="connsiteX22519" fmla="*/ 3471197 w 7714416"/>
              <a:gd name="connsiteY22519" fmla="*/ 643646 h 5282095"/>
              <a:gd name="connsiteX22520" fmla="*/ 3470597 w 7714416"/>
              <a:gd name="connsiteY22520" fmla="*/ 642566 h 5282095"/>
              <a:gd name="connsiteX22521" fmla="*/ 3473414 w 7714416"/>
              <a:gd name="connsiteY22521" fmla="*/ 640905 h 5282095"/>
              <a:gd name="connsiteX22522" fmla="*/ 3325256 w 7714416"/>
              <a:gd name="connsiteY22522" fmla="*/ 640709 h 5282095"/>
              <a:gd name="connsiteX22523" fmla="*/ 3334303 w 7714416"/>
              <a:gd name="connsiteY22523" fmla="*/ 643191 h 5282095"/>
              <a:gd name="connsiteX22524" fmla="*/ 3322122 w 7714416"/>
              <a:gd name="connsiteY22524" fmla="*/ 646597 h 5282095"/>
              <a:gd name="connsiteX22525" fmla="*/ 3318391 w 7714416"/>
              <a:gd name="connsiteY22525" fmla="*/ 645023 h 5282095"/>
              <a:gd name="connsiteX22526" fmla="*/ 3325256 w 7714416"/>
              <a:gd name="connsiteY22526" fmla="*/ 640709 h 5282095"/>
              <a:gd name="connsiteX22527" fmla="*/ 2623906 w 7714416"/>
              <a:gd name="connsiteY22527" fmla="*/ 640293 h 5282095"/>
              <a:gd name="connsiteX22528" fmla="*/ 2680633 w 7714416"/>
              <a:gd name="connsiteY22528" fmla="*/ 687579 h 5282095"/>
              <a:gd name="connsiteX22529" fmla="*/ 2683616 w 7714416"/>
              <a:gd name="connsiteY22529" fmla="*/ 691943 h 5282095"/>
              <a:gd name="connsiteX22530" fmla="*/ 2686180 w 7714416"/>
              <a:gd name="connsiteY22530" fmla="*/ 693436 h 5282095"/>
              <a:gd name="connsiteX22531" fmla="*/ 2687144 w 7714416"/>
              <a:gd name="connsiteY22531" fmla="*/ 694269 h 5282095"/>
              <a:gd name="connsiteX22532" fmla="*/ 2688826 w 7714416"/>
              <a:gd name="connsiteY22532" fmla="*/ 692419 h 5282095"/>
              <a:gd name="connsiteX22533" fmla="*/ 2696063 w 7714416"/>
              <a:gd name="connsiteY22533" fmla="*/ 689759 h 5282095"/>
              <a:gd name="connsiteX22534" fmla="*/ 2708785 w 7714416"/>
              <a:gd name="connsiteY22534" fmla="*/ 699837 h 5282095"/>
              <a:gd name="connsiteX22535" fmla="*/ 2700149 w 7714416"/>
              <a:gd name="connsiteY22535" fmla="*/ 706608 h 5282095"/>
              <a:gd name="connsiteX22536" fmla="*/ 2693250 w 7714416"/>
              <a:gd name="connsiteY22536" fmla="*/ 705794 h 5282095"/>
              <a:gd name="connsiteX22537" fmla="*/ 2693850 w 7714416"/>
              <a:gd name="connsiteY22537" fmla="*/ 706875 h 5282095"/>
              <a:gd name="connsiteX22538" fmla="*/ 2710480 w 7714416"/>
              <a:gd name="connsiteY22538" fmla="*/ 737781 h 5282095"/>
              <a:gd name="connsiteX22539" fmla="*/ 2714440 w 7714416"/>
              <a:gd name="connsiteY22539" fmla="*/ 738499 h 5282095"/>
              <a:gd name="connsiteX22540" fmla="*/ 2720089 w 7714416"/>
              <a:gd name="connsiteY22540" fmla="*/ 739552 h 5282095"/>
              <a:gd name="connsiteX22541" fmla="*/ 2723223 w 7714416"/>
              <a:gd name="connsiteY22541" fmla="*/ 736712 h 5282095"/>
              <a:gd name="connsiteX22542" fmla="*/ 2730004 w 7714416"/>
              <a:gd name="connsiteY22542" fmla="*/ 741288 h 5282095"/>
              <a:gd name="connsiteX22543" fmla="*/ 2728150 w 7714416"/>
              <a:gd name="connsiteY22543" fmla="*/ 743782 h 5282095"/>
              <a:gd name="connsiteX22544" fmla="*/ 2731250 w 7714416"/>
              <a:gd name="connsiteY22544" fmla="*/ 744382 h 5282095"/>
              <a:gd name="connsiteX22545" fmla="*/ 2726816 w 7714416"/>
              <a:gd name="connsiteY22545" fmla="*/ 749864 h 5282095"/>
              <a:gd name="connsiteX22546" fmla="*/ 2726126 w 7714416"/>
              <a:gd name="connsiteY22546" fmla="*/ 752440 h 5282095"/>
              <a:gd name="connsiteX22547" fmla="*/ 2723733 w 7714416"/>
              <a:gd name="connsiteY22547" fmla="*/ 750303 h 5282095"/>
              <a:gd name="connsiteX22548" fmla="*/ 2727478 w 7714416"/>
              <a:gd name="connsiteY22548" fmla="*/ 747396 h 5282095"/>
              <a:gd name="connsiteX22549" fmla="*/ 2725084 w 7714416"/>
              <a:gd name="connsiteY22549" fmla="*/ 745260 h 5282095"/>
              <a:gd name="connsiteX22550" fmla="*/ 2726040 w 7714416"/>
              <a:gd name="connsiteY22550" fmla="*/ 743906 h 5282095"/>
              <a:gd name="connsiteX22551" fmla="*/ 2726403 w 7714416"/>
              <a:gd name="connsiteY22551" fmla="*/ 743659 h 5282095"/>
              <a:gd name="connsiteX22552" fmla="*/ 2726155 w 7714416"/>
              <a:gd name="connsiteY22552" fmla="*/ 743478 h 5282095"/>
              <a:gd name="connsiteX22553" fmla="*/ 2726040 w 7714416"/>
              <a:gd name="connsiteY22553" fmla="*/ 743906 h 5282095"/>
              <a:gd name="connsiteX22554" fmla="*/ 2714242 w 7714416"/>
              <a:gd name="connsiteY22554" fmla="*/ 744770 h 5282095"/>
              <a:gd name="connsiteX22555" fmla="*/ 2716043 w 7714416"/>
              <a:gd name="connsiteY22555" fmla="*/ 748013 h 5282095"/>
              <a:gd name="connsiteX22556" fmla="*/ 2716014 w 7714416"/>
              <a:gd name="connsiteY22556" fmla="*/ 748120 h 5282095"/>
              <a:gd name="connsiteX22557" fmla="*/ 2720937 w 7714416"/>
              <a:gd name="connsiteY22557" fmla="*/ 749669 h 5282095"/>
              <a:gd name="connsiteX22558" fmla="*/ 2726971 w 7714416"/>
              <a:gd name="connsiteY22558" fmla="*/ 757036 h 5282095"/>
              <a:gd name="connsiteX22559" fmla="*/ 2724667 w 7714416"/>
              <a:gd name="connsiteY22559" fmla="*/ 760099 h 5282095"/>
              <a:gd name="connsiteX22560" fmla="*/ 2723453 w 7714416"/>
              <a:gd name="connsiteY22560" fmla="*/ 762419 h 5282095"/>
              <a:gd name="connsiteX22561" fmla="*/ 2724150 w 7714416"/>
              <a:gd name="connsiteY22561" fmla="*/ 762030 h 5282095"/>
              <a:gd name="connsiteX22562" fmla="*/ 2731948 w 7714416"/>
              <a:gd name="connsiteY22562" fmla="*/ 761704 h 5282095"/>
              <a:gd name="connsiteX22563" fmla="*/ 2732914 w 7714416"/>
              <a:gd name="connsiteY22563" fmla="*/ 768058 h 5282095"/>
              <a:gd name="connsiteX22564" fmla="*/ 2727157 w 7714416"/>
              <a:gd name="connsiteY22564" fmla="*/ 769622 h 5282095"/>
              <a:gd name="connsiteX22565" fmla="*/ 2728329 w 7714416"/>
              <a:gd name="connsiteY22565" fmla="*/ 771890 h 5282095"/>
              <a:gd name="connsiteX22566" fmla="*/ 2730086 w 7714416"/>
              <a:gd name="connsiteY22566" fmla="*/ 770865 h 5282095"/>
              <a:gd name="connsiteX22567" fmla="*/ 2743950 w 7714416"/>
              <a:gd name="connsiteY22567" fmla="*/ 774466 h 5282095"/>
              <a:gd name="connsiteX22568" fmla="*/ 2736281 w 7714416"/>
              <a:gd name="connsiteY22568" fmla="*/ 778736 h 5282095"/>
              <a:gd name="connsiteX22569" fmla="*/ 2739361 w 7714416"/>
              <a:gd name="connsiteY22569" fmla="*/ 781631 h 5282095"/>
              <a:gd name="connsiteX22570" fmla="*/ 2738986 w 7714416"/>
              <a:gd name="connsiteY22570" fmla="*/ 791881 h 5282095"/>
              <a:gd name="connsiteX22571" fmla="*/ 2738089 w 7714416"/>
              <a:gd name="connsiteY22571" fmla="*/ 793020 h 5282095"/>
              <a:gd name="connsiteX22572" fmla="*/ 2758403 w 7714416"/>
              <a:gd name="connsiteY22572" fmla="*/ 798004 h 5282095"/>
              <a:gd name="connsiteX22573" fmla="*/ 2764328 w 7714416"/>
              <a:gd name="connsiteY22573" fmla="*/ 799132 h 5282095"/>
              <a:gd name="connsiteX22574" fmla="*/ 2765475 w 7714416"/>
              <a:gd name="connsiteY22574" fmla="*/ 798173 h 5282095"/>
              <a:gd name="connsiteX22575" fmla="*/ 2770822 w 7714416"/>
              <a:gd name="connsiteY22575" fmla="*/ 795926 h 5282095"/>
              <a:gd name="connsiteX22576" fmla="*/ 2774692 w 7714416"/>
              <a:gd name="connsiteY22576" fmla="*/ 800299 h 5282095"/>
              <a:gd name="connsiteX22577" fmla="*/ 2774767 w 7714416"/>
              <a:gd name="connsiteY22577" fmla="*/ 801124 h 5282095"/>
              <a:gd name="connsiteX22578" fmla="*/ 2775627 w 7714416"/>
              <a:gd name="connsiteY22578" fmla="*/ 801239 h 5282095"/>
              <a:gd name="connsiteX22579" fmla="*/ 2774930 w 7714416"/>
              <a:gd name="connsiteY22579" fmla="*/ 801627 h 5282095"/>
              <a:gd name="connsiteX22580" fmla="*/ 2775386 w 7714416"/>
              <a:gd name="connsiteY22580" fmla="*/ 803244 h 5282095"/>
              <a:gd name="connsiteX22581" fmla="*/ 2773827 w 7714416"/>
              <a:gd name="connsiteY22581" fmla="*/ 806851 h 5282095"/>
              <a:gd name="connsiteX22582" fmla="*/ 2770789 w 7714416"/>
              <a:gd name="connsiteY22582" fmla="*/ 808223 h 5282095"/>
              <a:gd name="connsiteX22583" fmla="*/ 2767056 w 7714416"/>
              <a:gd name="connsiteY22583" fmla="*/ 809983 h 5282095"/>
              <a:gd name="connsiteX22584" fmla="*/ 2766169 w 7714416"/>
              <a:gd name="connsiteY22584" fmla="*/ 809975 h 5282095"/>
              <a:gd name="connsiteX22585" fmla="*/ 2765155 w 7714416"/>
              <a:gd name="connsiteY22585" fmla="*/ 811544 h 5282095"/>
              <a:gd name="connsiteX22586" fmla="*/ 2761849 w 7714416"/>
              <a:gd name="connsiteY22586" fmla="*/ 823882 h 5282095"/>
              <a:gd name="connsiteX22587" fmla="*/ 2765140 w 7714416"/>
              <a:gd name="connsiteY22587" fmla="*/ 824879 h 5282095"/>
              <a:gd name="connsiteX22588" fmla="*/ 2772780 w 7714416"/>
              <a:gd name="connsiteY22588" fmla="*/ 829572 h 5282095"/>
              <a:gd name="connsiteX22589" fmla="*/ 2760605 w 7714416"/>
              <a:gd name="connsiteY22589" fmla="*/ 835164 h 5282095"/>
              <a:gd name="connsiteX22590" fmla="*/ 2756817 w 7714416"/>
              <a:gd name="connsiteY22590" fmla="*/ 833804 h 5282095"/>
              <a:gd name="connsiteX22591" fmla="*/ 2756674 w 7714416"/>
              <a:gd name="connsiteY22591" fmla="*/ 834340 h 5282095"/>
              <a:gd name="connsiteX22592" fmla="*/ 2758179 w 7714416"/>
              <a:gd name="connsiteY22592" fmla="*/ 836469 h 5282095"/>
              <a:gd name="connsiteX22593" fmla="*/ 2757795 w 7714416"/>
              <a:gd name="connsiteY22593" fmla="*/ 847867 h 5282095"/>
              <a:gd name="connsiteX22594" fmla="*/ 2789799 w 7714416"/>
              <a:gd name="connsiteY22594" fmla="*/ 836892 h 5282095"/>
              <a:gd name="connsiteX22595" fmla="*/ 2816262 w 7714416"/>
              <a:gd name="connsiteY22595" fmla="*/ 857668 h 5282095"/>
              <a:gd name="connsiteX22596" fmla="*/ 2807914 w 7714416"/>
              <a:gd name="connsiteY22596" fmla="*/ 845656 h 5282095"/>
              <a:gd name="connsiteX22597" fmla="*/ 2848004 w 7714416"/>
              <a:gd name="connsiteY22597" fmla="*/ 815572 h 5282095"/>
              <a:gd name="connsiteX22598" fmla="*/ 2850125 w 7714416"/>
              <a:gd name="connsiteY22598" fmla="*/ 814301 h 5282095"/>
              <a:gd name="connsiteX22599" fmla="*/ 2845874 w 7714416"/>
              <a:gd name="connsiteY22599" fmla="*/ 809136 h 5282095"/>
              <a:gd name="connsiteX22600" fmla="*/ 2846747 w 7714416"/>
              <a:gd name="connsiteY22600" fmla="*/ 804771 h 5282095"/>
              <a:gd name="connsiteX22601" fmla="*/ 2845669 w 7714416"/>
              <a:gd name="connsiteY22601" fmla="*/ 804367 h 5282095"/>
              <a:gd name="connsiteX22602" fmla="*/ 2844152 w 7714416"/>
              <a:gd name="connsiteY22602" fmla="*/ 803385 h 5282095"/>
              <a:gd name="connsiteX22603" fmla="*/ 2831927 w 7714416"/>
              <a:gd name="connsiteY22603" fmla="*/ 802524 h 5282095"/>
              <a:gd name="connsiteX22604" fmla="*/ 2829534 w 7714416"/>
              <a:gd name="connsiteY22604" fmla="*/ 800388 h 5282095"/>
              <a:gd name="connsiteX22605" fmla="*/ 2833850 w 7714416"/>
              <a:gd name="connsiteY22605" fmla="*/ 798669 h 5282095"/>
              <a:gd name="connsiteX22606" fmla="*/ 2838370 w 7714416"/>
              <a:gd name="connsiteY22606" fmla="*/ 801720 h 5282095"/>
              <a:gd name="connsiteX22607" fmla="*/ 2845386 w 7714416"/>
              <a:gd name="connsiteY22607" fmla="*/ 802105 h 5282095"/>
              <a:gd name="connsiteX22608" fmla="*/ 2846930 w 7714416"/>
              <a:gd name="connsiteY22608" fmla="*/ 802979 h 5282095"/>
              <a:gd name="connsiteX22609" fmla="*/ 2847218 w 7714416"/>
              <a:gd name="connsiteY22609" fmla="*/ 801906 h 5282095"/>
              <a:gd name="connsiteX22610" fmla="*/ 2862178 w 7714416"/>
              <a:gd name="connsiteY22610" fmla="*/ 806950 h 5282095"/>
              <a:gd name="connsiteX22611" fmla="*/ 2869236 w 7714416"/>
              <a:gd name="connsiteY22611" fmla="*/ 802745 h 5282095"/>
              <a:gd name="connsiteX22612" fmla="*/ 2873925 w 7714416"/>
              <a:gd name="connsiteY22612" fmla="*/ 799632 h 5282095"/>
              <a:gd name="connsiteX22613" fmla="*/ 2854369 w 7714416"/>
              <a:gd name="connsiteY22613" fmla="*/ 799567 h 5282095"/>
              <a:gd name="connsiteX22614" fmla="*/ 2835025 w 7714416"/>
              <a:gd name="connsiteY22614" fmla="*/ 797604 h 5282095"/>
              <a:gd name="connsiteX22615" fmla="*/ 2827616 w 7714416"/>
              <a:gd name="connsiteY22615" fmla="*/ 792054 h 5282095"/>
              <a:gd name="connsiteX22616" fmla="*/ 2826023 w 7714416"/>
              <a:gd name="connsiteY22616" fmla="*/ 781392 h 5282095"/>
              <a:gd name="connsiteX22617" fmla="*/ 2818797 w 7714416"/>
              <a:gd name="connsiteY22617" fmla="*/ 782905 h 5282095"/>
              <a:gd name="connsiteX22618" fmla="*/ 2810898 w 7714416"/>
              <a:gd name="connsiteY22618" fmla="*/ 770324 h 5282095"/>
              <a:gd name="connsiteX22619" fmla="*/ 2815674 w 7714416"/>
              <a:gd name="connsiteY22619" fmla="*/ 758034 h 5282095"/>
              <a:gd name="connsiteX22620" fmla="*/ 2832098 w 7714416"/>
              <a:gd name="connsiteY22620" fmla="*/ 760938 h 5282095"/>
              <a:gd name="connsiteX22621" fmla="*/ 2830051 w 7714416"/>
              <a:gd name="connsiteY22621" fmla="*/ 780747 h 5282095"/>
              <a:gd name="connsiteX22622" fmla="*/ 2826969 w 7714416"/>
              <a:gd name="connsiteY22622" fmla="*/ 781185 h 5282095"/>
              <a:gd name="connsiteX22623" fmla="*/ 2839237 w 7714416"/>
              <a:gd name="connsiteY22623" fmla="*/ 786313 h 5282095"/>
              <a:gd name="connsiteX22624" fmla="*/ 2868204 w 7714416"/>
              <a:gd name="connsiteY22624" fmla="*/ 794419 h 5282095"/>
              <a:gd name="connsiteX22625" fmla="*/ 2874346 w 7714416"/>
              <a:gd name="connsiteY22625" fmla="*/ 799170 h 5282095"/>
              <a:gd name="connsiteX22626" fmla="*/ 2882913 w 7714416"/>
              <a:gd name="connsiteY22626" fmla="*/ 793761 h 5282095"/>
              <a:gd name="connsiteX22627" fmla="*/ 2858776 w 7714416"/>
              <a:gd name="connsiteY22627" fmla="*/ 785338 h 5282095"/>
              <a:gd name="connsiteX22628" fmla="*/ 2863357 w 7714416"/>
              <a:gd name="connsiteY22628" fmla="*/ 784840 h 5282095"/>
              <a:gd name="connsiteX22629" fmla="*/ 2863385 w 7714416"/>
              <a:gd name="connsiteY22629" fmla="*/ 784733 h 5282095"/>
              <a:gd name="connsiteX22630" fmla="*/ 2858427 w 7714416"/>
              <a:gd name="connsiteY22630" fmla="*/ 781104 h 5282095"/>
              <a:gd name="connsiteX22631" fmla="*/ 2858419 w 7714416"/>
              <a:gd name="connsiteY22631" fmla="*/ 778918 h 5282095"/>
              <a:gd name="connsiteX22632" fmla="*/ 2865488 w 7714416"/>
              <a:gd name="connsiteY22632" fmla="*/ 782422 h 5282095"/>
              <a:gd name="connsiteX22633" fmla="*/ 2867375 w 7714416"/>
              <a:gd name="connsiteY22633" fmla="*/ 785341 h 5282095"/>
              <a:gd name="connsiteX22634" fmla="*/ 2867957 w 7714416"/>
              <a:gd name="connsiteY22634" fmla="*/ 785382 h 5282095"/>
              <a:gd name="connsiteX22635" fmla="*/ 2879823 w 7714416"/>
              <a:gd name="connsiteY22635" fmla="*/ 783157 h 5282095"/>
              <a:gd name="connsiteX22636" fmla="*/ 2880705 w 7714416"/>
              <a:gd name="connsiteY22636" fmla="*/ 779867 h 5282095"/>
              <a:gd name="connsiteX22637" fmla="*/ 2883078 w 7714416"/>
              <a:gd name="connsiteY22637" fmla="*/ 782074 h 5282095"/>
              <a:gd name="connsiteX22638" fmla="*/ 2880772 w 7714416"/>
              <a:gd name="connsiteY22638" fmla="*/ 779617 h 5282095"/>
              <a:gd name="connsiteX22639" fmla="*/ 2880705 w 7714416"/>
              <a:gd name="connsiteY22639" fmla="*/ 779867 h 5282095"/>
              <a:gd name="connsiteX22640" fmla="*/ 2871446 w 7714416"/>
              <a:gd name="connsiteY22640" fmla="*/ 771253 h 5282095"/>
              <a:gd name="connsiteX22641" fmla="*/ 2862419 w 7714416"/>
              <a:gd name="connsiteY22641" fmla="*/ 769524 h 5282095"/>
              <a:gd name="connsiteX22642" fmla="*/ 2861607 w 7714416"/>
              <a:gd name="connsiteY22642" fmla="*/ 770342 h 5282095"/>
              <a:gd name="connsiteX22643" fmla="*/ 2861283 w 7714416"/>
              <a:gd name="connsiteY22643" fmla="*/ 769334 h 5282095"/>
              <a:gd name="connsiteX22644" fmla="*/ 2859318 w 7714416"/>
              <a:gd name="connsiteY22644" fmla="*/ 768923 h 5282095"/>
              <a:gd name="connsiteX22645" fmla="*/ 2847661 w 7714416"/>
              <a:gd name="connsiteY22645" fmla="*/ 772584 h 5282095"/>
              <a:gd name="connsiteX22646" fmla="*/ 2842403 w 7714416"/>
              <a:gd name="connsiteY22646" fmla="*/ 771176 h 5282095"/>
              <a:gd name="connsiteX22647" fmla="*/ 2840613 w 7714416"/>
              <a:gd name="connsiteY22647" fmla="*/ 766786 h 5282095"/>
              <a:gd name="connsiteX22648" fmla="*/ 2857187 w 7714416"/>
              <a:gd name="connsiteY22648" fmla="*/ 762487 h 5282095"/>
              <a:gd name="connsiteX22649" fmla="*/ 2861787 w 7714416"/>
              <a:gd name="connsiteY22649" fmla="*/ 763029 h 5282095"/>
              <a:gd name="connsiteX22650" fmla="*/ 2863727 w 7714416"/>
              <a:gd name="connsiteY22650" fmla="*/ 760214 h 5282095"/>
              <a:gd name="connsiteX22651" fmla="*/ 2864946 w 7714416"/>
              <a:gd name="connsiteY22651" fmla="*/ 763415 h 5282095"/>
              <a:gd name="connsiteX22652" fmla="*/ 2876168 w 7714416"/>
              <a:gd name="connsiteY22652" fmla="*/ 764698 h 5282095"/>
              <a:gd name="connsiteX22653" fmla="*/ 2892357 w 7714416"/>
              <a:gd name="connsiteY22653" fmla="*/ 780650 h 5282095"/>
              <a:gd name="connsiteX22654" fmla="*/ 2896637 w 7714416"/>
              <a:gd name="connsiteY22654" fmla="*/ 785708 h 5282095"/>
              <a:gd name="connsiteX22655" fmla="*/ 2944450 w 7714416"/>
              <a:gd name="connsiteY22655" fmla="*/ 781038 h 5282095"/>
              <a:gd name="connsiteX22656" fmla="*/ 2962881 w 7714416"/>
              <a:gd name="connsiteY22656" fmla="*/ 779767 h 5282095"/>
              <a:gd name="connsiteX22657" fmla="*/ 2962892 w 7714416"/>
              <a:gd name="connsiteY22657" fmla="*/ 778620 h 5282095"/>
              <a:gd name="connsiteX22658" fmla="*/ 2962255 w 7714416"/>
              <a:gd name="connsiteY22658" fmla="*/ 775460 h 5282095"/>
              <a:gd name="connsiteX22659" fmla="*/ 2959919 w 7714416"/>
              <a:gd name="connsiteY22659" fmla="*/ 773109 h 5282095"/>
              <a:gd name="connsiteX22660" fmla="*/ 2951490 w 7714416"/>
              <a:gd name="connsiteY22660" fmla="*/ 766940 h 5282095"/>
              <a:gd name="connsiteX22661" fmla="*/ 2950239 w 7714416"/>
              <a:gd name="connsiteY22661" fmla="*/ 767179 h 5282095"/>
              <a:gd name="connsiteX22662" fmla="*/ 2950152 w 7714416"/>
              <a:gd name="connsiteY22662" fmla="*/ 767502 h 5282095"/>
              <a:gd name="connsiteX22663" fmla="*/ 2950401 w 7714416"/>
              <a:gd name="connsiteY22663" fmla="*/ 767683 h 5282095"/>
              <a:gd name="connsiteX22664" fmla="*/ 2949922 w 7714416"/>
              <a:gd name="connsiteY22664" fmla="*/ 768361 h 5282095"/>
              <a:gd name="connsiteX22665" fmla="*/ 2949635 w 7714416"/>
              <a:gd name="connsiteY22665" fmla="*/ 769433 h 5282095"/>
              <a:gd name="connsiteX22666" fmla="*/ 2949329 w 7714416"/>
              <a:gd name="connsiteY22666" fmla="*/ 769466 h 5282095"/>
              <a:gd name="connsiteX22667" fmla="*/ 2948708 w 7714416"/>
              <a:gd name="connsiteY22667" fmla="*/ 770679 h 5282095"/>
              <a:gd name="connsiteX22668" fmla="*/ 2944277 w 7714416"/>
              <a:gd name="connsiteY22668" fmla="*/ 772828 h 5282095"/>
              <a:gd name="connsiteX22669" fmla="*/ 2938251 w 7714416"/>
              <a:gd name="connsiteY22669" fmla="*/ 776502 h 5282095"/>
              <a:gd name="connsiteX22670" fmla="*/ 2914181 w 7714416"/>
              <a:gd name="connsiteY22670" fmla="*/ 784429 h 5282095"/>
              <a:gd name="connsiteX22671" fmla="*/ 2921059 w 7714416"/>
              <a:gd name="connsiteY22671" fmla="*/ 778682 h 5282095"/>
              <a:gd name="connsiteX22672" fmla="*/ 2919201 w 7714416"/>
              <a:gd name="connsiteY22672" fmla="*/ 775653 h 5282095"/>
              <a:gd name="connsiteX22673" fmla="*/ 2923100 w 7714416"/>
              <a:gd name="connsiteY22673" fmla="*/ 771063 h 5282095"/>
              <a:gd name="connsiteX22674" fmla="*/ 2925109 w 7714416"/>
              <a:gd name="connsiteY22674" fmla="*/ 775741 h 5282095"/>
              <a:gd name="connsiteX22675" fmla="*/ 2924936 w 7714416"/>
              <a:gd name="connsiteY22675" fmla="*/ 776385 h 5282095"/>
              <a:gd name="connsiteX22676" fmla="*/ 2932520 w 7714416"/>
              <a:gd name="connsiteY22676" fmla="*/ 772436 h 5282095"/>
              <a:gd name="connsiteX22677" fmla="*/ 2940867 w 7714416"/>
              <a:gd name="connsiteY22677" fmla="*/ 766739 h 5282095"/>
              <a:gd name="connsiteX22678" fmla="*/ 2945496 w 7714416"/>
              <a:gd name="connsiteY22678" fmla="*/ 767175 h 5282095"/>
              <a:gd name="connsiteX22679" fmla="*/ 2946890 w 7714416"/>
              <a:gd name="connsiteY22679" fmla="*/ 766397 h 5282095"/>
              <a:gd name="connsiteX22680" fmla="*/ 2948884 w 7714416"/>
              <a:gd name="connsiteY22680" fmla="*/ 766702 h 5282095"/>
              <a:gd name="connsiteX22681" fmla="*/ 2949161 w 7714416"/>
              <a:gd name="connsiteY22681" fmla="*/ 766776 h 5282095"/>
              <a:gd name="connsiteX22682" fmla="*/ 2949524 w 7714416"/>
              <a:gd name="connsiteY22682" fmla="*/ 766528 h 5282095"/>
              <a:gd name="connsiteX22683" fmla="*/ 2950498 w 7714416"/>
              <a:gd name="connsiteY22683" fmla="*/ 766213 h 5282095"/>
              <a:gd name="connsiteX22684" fmla="*/ 2943059 w 7714416"/>
              <a:gd name="connsiteY22684" fmla="*/ 760771 h 5282095"/>
              <a:gd name="connsiteX22685" fmla="*/ 2943174 w 7714416"/>
              <a:gd name="connsiteY22685" fmla="*/ 760342 h 5282095"/>
              <a:gd name="connsiteX22686" fmla="*/ 2938150 w 7714416"/>
              <a:gd name="connsiteY22686" fmla="*/ 763595 h 5282095"/>
              <a:gd name="connsiteX22687" fmla="*/ 2923905 w 7714416"/>
              <a:gd name="connsiteY22687" fmla="*/ 768058 h 5282095"/>
              <a:gd name="connsiteX22688" fmla="*/ 2917530 w 7714416"/>
              <a:gd name="connsiteY22688" fmla="*/ 767501 h 5282095"/>
              <a:gd name="connsiteX22689" fmla="*/ 2911817 w 7714416"/>
              <a:gd name="connsiteY22689" fmla="*/ 764475 h 5282095"/>
              <a:gd name="connsiteX22690" fmla="*/ 2915331 w 7714416"/>
              <a:gd name="connsiteY22690" fmla="*/ 753571 h 5282095"/>
              <a:gd name="connsiteX22691" fmla="*/ 2914541 w 7714416"/>
              <a:gd name="connsiteY22691" fmla="*/ 752094 h 5282095"/>
              <a:gd name="connsiteX22692" fmla="*/ 2908892 w 7714416"/>
              <a:gd name="connsiteY22692" fmla="*/ 751041 h 5282095"/>
              <a:gd name="connsiteX22693" fmla="*/ 2894855 w 7714416"/>
              <a:gd name="connsiteY22693" fmla="*/ 748084 h 5282095"/>
              <a:gd name="connsiteX22694" fmla="*/ 2878062 w 7714416"/>
              <a:gd name="connsiteY22694" fmla="*/ 734385 h 5282095"/>
              <a:gd name="connsiteX22695" fmla="*/ 2889160 w 7714416"/>
              <a:gd name="connsiteY22695" fmla="*/ 737244 h 5282095"/>
              <a:gd name="connsiteX22696" fmla="*/ 2894417 w 7714416"/>
              <a:gd name="connsiteY22696" fmla="*/ 738652 h 5282095"/>
              <a:gd name="connsiteX22697" fmla="*/ 2889608 w 7714416"/>
              <a:gd name="connsiteY22697" fmla="*/ 736674 h 5282095"/>
              <a:gd name="connsiteX22698" fmla="*/ 2889526 w 7714416"/>
              <a:gd name="connsiteY22698" fmla="*/ 733662 h 5282095"/>
              <a:gd name="connsiteX22699" fmla="*/ 2896832 w 7714416"/>
              <a:gd name="connsiteY22699" fmla="*/ 729640 h 5282095"/>
              <a:gd name="connsiteX22700" fmla="*/ 2893281 w 7714416"/>
              <a:gd name="connsiteY22700" fmla="*/ 720753 h 5282095"/>
              <a:gd name="connsiteX22701" fmla="*/ 2892873 w 7714416"/>
              <a:gd name="connsiteY22701" fmla="*/ 720068 h 5282095"/>
              <a:gd name="connsiteX22702" fmla="*/ 2892901 w 7714416"/>
              <a:gd name="connsiteY22702" fmla="*/ 719960 h 5282095"/>
              <a:gd name="connsiteX22703" fmla="*/ 2891186 w 7714416"/>
              <a:gd name="connsiteY22703" fmla="*/ 716396 h 5282095"/>
              <a:gd name="connsiteX22704" fmla="*/ 2891244 w 7714416"/>
              <a:gd name="connsiteY22704" fmla="*/ 716181 h 5282095"/>
              <a:gd name="connsiteX22705" fmla="*/ 2890673 w 7714416"/>
              <a:gd name="connsiteY22705" fmla="*/ 714993 h 5282095"/>
              <a:gd name="connsiteX22706" fmla="*/ 2892818 w 7714416"/>
              <a:gd name="connsiteY22706" fmla="*/ 708093 h 5282095"/>
              <a:gd name="connsiteX22707" fmla="*/ 2909377 w 7714416"/>
              <a:gd name="connsiteY22707" fmla="*/ 708275 h 5282095"/>
              <a:gd name="connsiteX22708" fmla="*/ 2913794 w 7714416"/>
              <a:gd name="connsiteY22708" fmla="*/ 710609 h 5282095"/>
              <a:gd name="connsiteX22709" fmla="*/ 2913348 w 7714416"/>
              <a:gd name="connsiteY22709" fmla="*/ 707844 h 5282095"/>
              <a:gd name="connsiteX22710" fmla="*/ 2946488 w 7714416"/>
              <a:gd name="connsiteY22710" fmla="*/ 714769 h 5282095"/>
              <a:gd name="connsiteX22711" fmla="*/ 2949550 w 7714416"/>
              <a:gd name="connsiteY22711" fmla="*/ 716624 h 5282095"/>
              <a:gd name="connsiteX22712" fmla="*/ 2949079 w 7714416"/>
              <a:gd name="connsiteY22712" fmla="*/ 719488 h 5282095"/>
              <a:gd name="connsiteX22713" fmla="*/ 2926813 w 7714416"/>
              <a:gd name="connsiteY22713" fmla="*/ 718467 h 5282095"/>
              <a:gd name="connsiteX22714" fmla="*/ 2923008 w 7714416"/>
              <a:gd name="connsiteY22714" fmla="*/ 716068 h 5282095"/>
              <a:gd name="connsiteX22715" fmla="*/ 2920966 w 7714416"/>
              <a:gd name="connsiteY22715" fmla="*/ 714830 h 5282095"/>
              <a:gd name="connsiteX22716" fmla="*/ 2924674 w 7714416"/>
              <a:gd name="connsiteY22716" fmla="*/ 718700 h 5282095"/>
              <a:gd name="connsiteX22717" fmla="*/ 2923605 w 7714416"/>
              <a:gd name="connsiteY22717" fmla="*/ 729337 h 5282095"/>
              <a:gd name="connsiteX22718" fmla="*/ 2921828 w 7714416"/>
              <a:gd name="connsiteY22718" fmla="*/ 729321 h 5282095"/>
              <a:gd name="connsiteX22719" fmla="*/ 2924545 w 7714416"/>
              <a:gd name="connsiteY22719" fmla="*/ 732464 h 5282095"/>
              <a:gd name="connsiteX22720" fmla="*/ 2926091 w 7714416"/>
              <a:gd name="connsiteY22720" fmla="*/ 733339 h 5282095"/>
              <a:gd name="connsiteX22721" fmla="*/ 2929156 w 7714416"/>
              <a:gd name="connsiteY22721" fmla="*/ 731860 h 5282095"/>
              <a:gd name="connsiteX22722" fmla="*/ 2944446 w 7714416"/>
              <a:gd name="connsiteY22722" fmla="*/ 740097 h 5282095"/>
              <a:gd name="connsiteX22723" fmla="*/ 2958033 w 7714416"/>
              <a:gd name="connsiteY22723" fmla="*/ 743623 h 5282095"/>
              <a:gd name="connsiteX22724" fmla="*/ 2960718 w 7714416"/>
              <a:gd name="connsiteY22724" fmla="*/ 741351 h 5282095"/>
              <a:gd name="connsiteX22725" fmla="*/ 2961685 w 7714416"/>
              <a:gd name="connsiteY22725" fmla="*/ 738852 h 5282095"/>
              <a:gd name="connsiteX22726" fmla="*/ 2961412 w 7714416"/>
              <a:gd name="connsiteY22726" fmla="*/ 744298 h 5282095"/>
              <a:gd name="connsiteX22727" fmla="*/ 2961994 w 7714416"/>
              <a:gd name="connsiteY22727" fmla="*/ 744339 h 5282095"/>
              <a:gd name="connsiteX22728" fmla="*/ 2963809 w 7714416"/>
              <a:gd name="connsiteY22728" fmla="*/ 743100 h 5282095"/>
              <a:gd name="connsiteX22729" fmla="*/ 2973022 w 7714416"/>
              <a:gd name="connsiteY22729" fmla="*/ 739704 h 5282095"/>
              <a:gd name="connsiteX22730" fmla="*/ 2974320 w 7714416"/>
              <a:gd name="connsiteY22730" fmla="*/ 740397 h 5282095"/>
              <a:gd name="connsiteX22731" fmla="*/ 2976983 w 7714416"/>
              <a:gd name="connsiteY22731" fmla="*/ 740420 h 5282095"/>
              <a:gd name="connsiteX22732" fmla="*/ 2977841 w 7714416"/>
              <a:gd name="connsiteY22732" fmla="*/ 740535 h 5282095"/>
              <a:gd name="connsiteX22733" fmla="*/ 2975678 w 7714416"/>
              <a:gd name="connsiteY22733" fmla="*/ 737541 h 5282095"/>
              <a:gd name="connsiteX22734" fmla="*/ 2973849 w 7714416"/>
              <a:gd name="connsiteY22734" fmla="*/ 725550 h 5282095"/>
              <a:gd name="connsiteX22735" fmla="*/ 2976257 w 7714416"/>
              <a:gd name="connsiteY22735" fmla="*/ 723205 h 5282095"/>
              <a:gd name="connsiteX22736" fmla="*/ 2975200 w 7714416"/>
              <a:gd name="connsiteY22736" fmla="*/ 720507 h 5282095"/>
              <a:gd name="connsiteX22737" fmla="*/ 2977501 w 7714416"/>
              <a:gd name="connsiteY22737" fmla="*/ 703069 h 5282095"/>
              <a:gd name="connsiteX22738" fmla="*/ 2988324 w 7714416"/>
              <a:gd name="connsiteY22738" fmla="*/ 720229 h 5282095"/>
              <a:gd name="connsiteX22739" fmla="*/ 2987289 w 7714416"/>
              <a:gd name="connsiteY22739" fmla="*/ 724092 h 5282095"/>
              <a:gd name="connsiteX22740" fmla="*/ 2991943 w 7714416"/>
              <a:gd name="connsiteY22740" fmla="*/ 727754 h 5282095"/>
              <a:gd name="connsiteX22741" fmla="*/ 2986854 w 7714416"/>
              <a:gd name="connsiteY22741" fmla="*/ 746745 h 5282095"/>
              <a:gd name="connsiteX22742" fmla="*/ 2981988 w 7714416"/>
              <a:gd name="connsiteY22742" fmla="*/ 744981 h 5282095"/>
              <a:gd name="connsiteX22743" fmla="*/ 2985391 w 7714416"/>
              <a:gd name="connsiteY22743" fmla="*/ 748883 h 5282095"/>
              <a:gd name="connsiteX22744" fmla="*/ 2971132 w 7714416"/>
              <a:gd name="connsiteY22744" fmla="*/ 748973 h 5282095"/>
              <a:gd name="connsiteX22745" fmla="*/ 2965110 w 7714416"/>
              <a:gd name="connsiteY22745" fmla="*/ 749313 h 5282095"/>
              <a:gd name="connsiteX22746" fmla="*/ 2961853 w 7714416"/>
              <a:gd name="connsiteY22746" fmla="*/ 750397 h 5282095"/>
              <a:gd name="connsiteX22747" fmla="*/ 2959087 w 7714416"/>
              <a:gd name="connsiteY22747" fmla="*/ 749655 h 5282095"/>
              <a:gd name="connsiteX22748" fmla="*/ 2957606 w 7714416"/>
              <a:gd name="connsiteY22748" fmla="*/ 750753 h 5282095"/>
              <a:gd name="connsiteX22749" fmla="*/ 2956057 w 7714416"/>
              <a:gd name="connsiteY22749" fmla="*/ 753213 h 5282095"/>
              <a:gd name="connsiteX22750" fmla="*/ 2953886 w 7714416"/>
              <a:gd name="connsiteY22750" fmla="*/ 756886 h 5282095"/>
              <a:gd name="connsiteX22751" fmla="*/ 2955737 w 7714416"/>
              <a:gd name="connsiteY22751" fmla="*/ 757728 h 5282095"/>
              <a:gd name="connsiteX22752" fmla="*/ 2958465 w 7714416"/>
              <a:gd name="connsiteY22752" fmla="*/ 759723 h 5282095"/>
              <a:gd name="connsiteX22753" fmla="*/ 2962177 w 7714416"/>
              <a:gd name="connsiteY22753" fmla="*/ 760258 h 5282095"/>
              <a:gd name="connsiteX22754" fmla="*/ 2962626 w 7714416"/>
              <a:gd name="connsiteY22754" fmla="*/ 759689 h 5282095"/>
              <a:gd name="connsiteX22755" fmla="*/ 2964214 w 7714416"/>
              <a:gd name="connsiteY22755" fmla="*/ 755974 h 5282095"/>
              <a:gd name="connsiteX22756" fmla="*/ 2967765 w 7714416"/>
              <a:gd name="connsiteY22756" fmla="*/ 756006 h 5282095"/>
              <a:gd name="connsiteX22757" fmla="*/ 2968505 w 7714416"/>
              <a:gd name="connsiteY22757" fmla="*/ 759883 h 5282095"/>
              <a:gd name="connsiteX22758" fmla="*/ 2963618 w 7714416"/>
              <a:gd name="connsiteY22758" fmla="*/ 760414 h 5282095"/>
              <a:gd name="connsiteX22759" fmla="*/ 2977054 w 7714416"/>
              <a:gd name="connsiteY22759" fmla="*/ 762290 h 5282095"/>
              <a:gd name="connsiteX22760" fmla="*/ 2981862 w 7714416"/>
              <a:gd name="connsiteY22760" fmla="*/ 764268 h 5282095"/>
              <a:gd name="connsiteX22761" fmla="*/ 2981931 w 7714416"/>
              <a:gd name="connsiteY22761" fmla="*/ 762906 h 5282095"/>
              <a:gd name="connsiteX22762" fmla="*/ 2990602 w 7714416"/>
              <a:gd name="connsiteY22762" fmla="*/ 767069 h 5282095"/>
              <a:gd name="connsiteX22763" fmla="*/ 2990210 w 7714416"/>
              <a:gd name="connsiteY22763" fmla="*/ 767425 h 5282095"/>
              <a:gd name="connsiteX22764" fmla="*/ 2997175 w 7714416"/>
              <a:gd name="connsiteY22764" fmla="*/ 770211 h 5282095"/>
              <a:gd name="connsiteX22765" fmla="*/ 2997961 w 7714416"/>
              <a:gd name="connsiteY22765" fmla="*/ 766166 h 5282095"/>
              <a:gd name="connsiteX22766" fmla="*/ 3025244 w 7714416"/>
              <a:gd name="connsiteY22766" fmla="*/ 761747 h 5282095"/>
              <a:gd name="connsiteX22767" fmla="*/ 3036503 w 7714416"/>
              <a:gd name="connsiteY22767" fmla="*/ 756254 h 5282095"/>
              <a:gd name="connsiteX22768" fmla="*/ 3051279 w 7714416"/>
              <a:gd name="connsiteY22768" fmla="*/ 754233 h 5282095"/>
              <a:gd name="connsiteX22769" fmla="*/ 3059279 w 7714416"/>
              <a:gd name="connsiteY22769" fmla="*/ 744301 h 5282095"/>
              <a:gd name="connsiteX22770" fmla="*/ 3059900 w 7714416"/>
              <a:gd name="connsiteY22770" fmla="*/ 743087 h 5282095"/>
              <a:gd name="connsiteX22771" fmla="*/ 3057877 w 7714416"/>
              <a:gd name="connsiteY22771" fmla="*/ 742891 h 5282095"/>
              <a:gd name="connsiteX22772" fmla="*/ 3054557 w 7714416"/>
              <a:gd name="connsiteY22772" fmla="*/ 742001 h 5282095"/>
              <a:gd name="connsiteX22773" fmla="*/ 3051394 w 7714416"/>
              <a:gd name="connsiteY22773" fmla="*/ 744949 h 5282095"/>
              <a:gd name="connsiteX22774" fmla="*/ 3050079 w 7714416"/>
              <a:gd name="connsiteY22774" fmla="*/ 743216 h 5282095"/>
              <a:gd name="connsiteX22775" fmla="*/ 3051514 w 7714416"/>
              <a:gd name="connsiteY22775" fmla="*/ 741185 h 5282095"/>
              <a:gd name="connsiteX22776" fmla="*/ 3045454 w 7714416"/>
              <a:gd name="connsiteY22776" fmla="*/ 739447 h 5282095"/>
              <a:gd name="connsiteX22777" fmla="*/ 3034303 w 7714416"/>
              <a:gd name="connsiteY22777" fmla="*/ 733469 h 5282095"/>
              <a:gd name="connsiteX22778" fmla="*/ 3024695 w 7714416"/>
              <a:gd name="connsiteY22778" fmla="*/ 731699 h 5282095"/>
              <a:gd name="connsiteX22779" fmla="*/ 3017264 w 7714416"/>
              <a:gd name="connsiteY22779" fmla="*/ 728443 h 5282095"/>
              <a:gd name="connsiteX22780" fmla="*/ 3018097 w 7714416"/>
              <a:gd name="connsiteY22780" fmla="*/ 734187 h 5282095"/>
              <a:gd name="connsiteX22781" fmla="*/ 3018362 w 7714416"/>
              <a:gd name="connsiteY22781" fmla="*/ 735407 h 5282095"/>
              <a:gd name="connsiteX22782" fmla="*/ 3022513 w 7714416"/>
              <a:gd name="connsiteY22782" fmla="*/ 736520 h 5282095"/>
              <a:gd name="connsiteX22783" fmla="*/ 3028040 w 7714416"/>
              <a:gd name="connsiteY22783" fmla="*/ 744671 h 5282095"/>
              <a:gd name="connsiteX22784" fmla="*/ 3024813 w 7714416"/>
              <a:gd name="connsiteY22784" fmla="*/ 745646 h 5282095"/>
              <a:gd name="connsiteX22785" fmla="*/ 3019937 w 7714416"/>
              <a:gd name="connsiteY22785" fmla="*/ 745030 h 5282095"/>
              <a:gd name="connsiteX22786" fmla="*/ 3020579 w 7714416"/>
              <a:gd name="connsiteY22786" fmla="*/ 750377 h 5282095"/>
              <a:gd name="connsiteX22787" fmla="*/ 3023516 w 7714416"/>
              <a:gd name="connsiteY22787" fmla="*/ 753808 h 5282095"/>
              <a:gd name="connsiteX22788" fmla="*/ 3023590 w 7714416"/>
              <a:gd name="connsiteY22788" fmla="*/ 754634 h 5282095"/>
              <a:gd name="connsiteX22789" fmla="*/ 3025107 w 7714416"/>
              <a:gd name="connsiteY22789" fmla="*/ 755616 h 5282095"/>
              <a:gd name="connsiteX22790" fmla="*/ 3024848 w 7714416"/>
              <a:gd name="connsiteY22790" fmla="*/ 756581 h 5282095"/>
              <a:gd name="connsiteX22791" fmla="*/ 3023609 w 7714416"/>
              <a:gd name="connsiteY22791" fmla="*/ 755674 h 5282095"/>
              <a:gd name="connsiteX22792" fmla="*/ 3023570 w 7714416"/>
              <a:gd name="connsiteY22792" fmla="*/ 756928 h 5282095"/>
              <a:gd name="connsiteX22793" fmla="*/ 3025039 w 7714416"/>
              <a:gd name="connsiteY22793" fmla="*/ 756976 h 5282095"/>
              <a:gd name="connsiteX22794" fmla="*/ 3023882 w 7714416"/>
              <a:gd name="connsiteY22794" fmla="*/ 759082 h 5282095"/>
              <a:gd name="connsiteX22795" fmla="*/ 3023444 w 7714416"/>
              <a:gd name="connsiteY22795" fmla="*/ 758504 h 5282095"/>
              <a:gd name="connsiteX22796" fmla="*/ 3023426 w 7714416"/>
              <a:gd name="connsiteY22796" fmla="*/ 757465 h 5282095"/>
              <a:gd name="connsiteX22797" fmla="*/ 3019185 w 7714416"/>
              <a:gd name="connsiteY22797" fmla="*/ 760008 h 5282095"/>
              <a:gd name="connsiteX22798" fmla="*/ 3011646 w 7714416"/>
              <a:gd name="connsiteY22798" fmla="*/ 759369 h 5282095"/>
              <a:gd name="connsiteX22799" fmla="*/ 3002824 w 7714416"/>
              <a:gd name="connsiteY22799" fmla="*/ 753554 h 5282095"/>
              <a:gd name="connsiteX22800" fmla="*/ 3013730 w 7714416"/>
              <a:gd name="connsiteY22800" fmla="*/ 747162 h 5282095"/>
              <a:gd name="connsiteX22801" fmla="*/ 3014341 w 7714416"/>
              <a:gd name="connsiteY22801" fmla="*/ 747095 h 5282095"/>
              <a:gd name="connsiteX22802" fmla="*/ 3014093 w 7714416"/>
              <a:gd name="connsiteY22802" fmla="*/ 746913 h 5282095"/>
              <a:gd name="connsiteX22803" fmla="*/ 3011420 w 7714416"/>
              <a:gd name="connsiteY22803" fmla="*/ 739182 h 5282095"/>
              <a:gd name="connsiteX22804" fmla="*/ 3011401 w 7714416"/>
              <a:gd name="connsiteY22804" fmla="*/ 738143 h 5282095"/>
              <a:gd name="connsiteX22805" fmla="*/ 3008369 w 7714416"/>
              <a:gd name="connsiteY22805" fmla="*/ 736180 h 5282095"/>
              <a:gd name="connsiteX22806" fmla="*/ 3008125 w 7714416"/>
              <a:gd name="connsiteY22806" fmla="*/ 732664 h 5282095"/>
              <a:gd name="connsiteX22807" fmla="*/ 3011445 w 7714416"/>
              <a:gd name="connsiteY22807" fmla="*/ 733554 h 5282095"/>
              <a:gd name="connsiteX22808" fmla="*/ 3011503 w 7714416"/>
              <a:gd name="connsiteY22808" fmla="*/ 733340 h 5282095"/>
              <a:gd name="connsiteX22809" fmla="*/ 3011571 w 7714416"/>
              <a:gd name="connsiteY22809" fmla="*/ 731978 h 5282095"/>
              <a:gd name="connsiteX22810" fmla="*/ 3011707 w 7714416"/>
              <a:gd name="connsiteY22810" fmla="*/ 729254 h 5282095"/>
              <a:gd name="connsiteX22811" fmla="*/ 3017026 w 7714416"/>
              <a:gd name="connsiteY22811" fmla="*/ 727115 h 5282095"/>
              <a:gd name="connsiteX22812" fmla="*/ 3016940 w 7714416"/>
              <a:gd name="connsiteY22812" fmla="*/ 727437 h 5282095"/>
              <a:gd name="connsiteX22813" fmla="*/ 3020656 w 7714416"/>
              <a:gd name="connsiteY22813" fmla="*/ 724637 h 5282095"/>
              <a:gd name="connsiteX22814" fmla="*/ 3032885 w 7714416"/>
              <a:gd name="connsiteY22814" fmla="*/ 722164 h 5282095"/>
              <a:gd name="connsiteX22815" fmla="*/ 3043784 w 7714416"/>
              <a:gd name="connsiteY22815" fmla="*/ 722439 h 5282095"/>
              <a:gd name="connsiteX22816" fmla="*/ 3044165 w 7714416"/>
              <a:gd name="connsiteY22816" fmla="*/ 714376 h 5282095"/>
              <a:gd name="connsiteX22817" fmla="*/ 3046209 w 7714416"/>
              <a:gd name="connsiteY22817" fmla="*/ 712279 h 5282095"/>
              <a:gd name="connsiteX22818" fmla="*/ 3044312 w 7714416"/>
              <a:gd name="connsiteY22818" fmla="*/ 710505 h 5282095"/>
              <a:gd name="connsiteX22819" fmla="*/ 3044599 w 7714416"/>
              <a:gd name="connsiteY22819" fmla="*/ 709433 h 5282095"/>
              <a:gd name="connsiteX22820" fmla="*/ 3048426 w 7714416"/>
              <a:gd name="connsiteY22820" fmla="*/ 709538 h 5282095"/>
              <a:gd name="connsiteX22821" fmla="*/ 3051963 w 7714416"/>
              <a:gd name="connsiteY22821" fmla="*/ 705195 h 5282095"/>
              <a:gd name="connsiteX22822" fmla="*/ 3056757 w 7714416"/>
              <a:gd name="connsiteY22822" fmla="*/ 702800 h 5282095"/>
              <a:gd name="connsiteX22823" fmla="*/ 3053634 w 7714416"/>
              <a:gd name="connsiteY22823" fmla="*/ 695638 h 5282095"/>
              <a:gd name="connsiteX22824" fmla="*/ 3061561 w 7714416"/>
              <a:gd name="connsiteY22824" fmla="*/ 681547 h 5282095"/>
              <a:gd name="connsiteX22825" fmla="*/ 3064454 w 7714416"/>
              <a:gd name="connsiteY22825" fmla="*/ 689567 h 5282095"/>
              <a:gd name="connsiteX22826" fmla="*/ 3067232 w 7714416"/>
              <a:gd name="connsiteY22826" fmla="*/ 698017 h 5282095"/>
              <a:gd name="connsiteX22827" fmla="*/ 3078660 w 7714416"/>
              <a:gd name="connsiteY22827" fmla="*/ 695214 h 5282095"/>
              <a:gd name="connsiteX22828" fmla="*/ 3081366 w 7714416"/>
              <a:gd name="connsiteY22828" fmla="*/ 690649 h 5282095"/>
              <a:gd name="connsiteX22829" fmla="*/ 3083076 w 7714416"/>
              <a:gd name="connsiteY22829" fmla="*/ 688692 h 5282095"/>
              <a:gd name="connsiteX22830" fmla="*/ 3081473 w 7714416"/>
              <a:gd name="connsiteY22830" fmla="*/ 688032 h 5282095"/>
              <a:gd name="connsiteX22831" fmla="*/ 3083669 w 7714416"/>
              <a:gd name="connsiteY22831" fmla="*/ 687585 h 5282095"/>
              <a:gd name="connsiteX22832" fmla="*/ 3083726 w 7714416"/>
              <a:gd name="connsiteY22832" fmla="*/ 687371 h 5282095"/>
              <a:gd name="connsiteX22833" fmla="*/ 3084043 w 7714416"/>
              <a:gd name="connsiteY22833" fmla="*/ 686191 h 5282095"/>
              <a:gd name="connsiteX22834" fmla="*/ 3089419 w 7714416"/>
              <a:gd name="connsiteY22834" fmla="*/ 683836 h 5282095"/>
              <a:gd name="connsiteX22835" fmla="*/ 3093368 w 7714416"/>
              <a:gd name="connsiteY22835" fmla="*/ 685700 h 5282095"/>
              <a:gd name="connsiteX22836" fmla="*/ 3093472 w 7714416"/>
              <a:gd name="connsiteY22836" fmla="*/ 686417 h 5282095"/>
              <a:gd name="connsiteX22837" fmla="*/ 3102615 w 7714416"/>
              <a:gd name="connsiteY22837" fmla="*/ 687716 h 5282095"/>
              <a:gd name="connsiteX22838" fmla="*/ 3102963 w 7714416"/>
              <a:gd name="connsiteY22838" fmla="*/ 691950 h 5282095"/>
              <a:gd name="connsiteX22839" fmla="*/ 3101874 w 7714416"/>
              <a:gd name="connsiteY22839" fmla="*/ 692693 h 5282095"/>
              <a:gd name="connsiteX22840" fmla="*/ 3124000 w 7714416"/>
              <a:gd name="connsiteY22840" fmla="*/ 690916 h 5282095"/>
              <a:gd name="connsiteX22841" fmla="*/ 3159989 w 7714416"/>
              <a:gd name="connsiteY22841" fmla="*/ 692740 h 5282095"/>
              <a:gd name="connsiteX22842" fmla="*/ 3171593 w 7714416"/>
              <a:gd name="connsiteY22842" fmla="*/ 703669 h 5282095"/>
              <a:gd name="connsiteX22843" fmla="*/ 3180383 w 7714416"/>
              <a:gd name="connsiteY22843" fmla="*/ 704070 h 5282095"/>
              <a:gd name="connsiteX22844" fmla="*/ 3189633 w 7714416"/>
              <a:gd name="connsiteY22844" fmla="*/ 702754 h 5282095"/>
              <a:gd name="connsiteX22845" fmla="*/ 3191523 w 7714416"/>
              <a:gd name="connsiteY22845" fmla="*/ 702340 h 5282095"/>
              <a:gd name="connsiteX22846" fmla="*/ 3190963 w 7714416"/>
              <a:gd name="connsiteY22846" fmla="*/ 700004 h 5282095"/>
              <a:gd name="connsiteX22847" fmla="*/ 3194943 w 7714416"/>
              <a:gd name="connsiteY22847" fmla="*/ 698427 h 5282095"/>
              <a:gd name="connsiteX22848" fmla="*/ 3197136 w 7714416"/>
              <a:gd name="connsiteY22848" fmla="*/ 701314 h 5282095"/>
              <a:gd name="connsiteX22849" fmla="*/ 3198663 w 7714416"/>
              <a:gd name="connsiteY22849" fmla="*/ 701148 h 5282095"/>
              <a:gd name="connsiteX22850" fmla="*/ 3206199 w 7714416"/>
              <a:gd name="connsiteY22850" fmla="*/ 705122 h 5282095"/>
              <a:gd name="connsiteX22851" fmla="*/ 3205261 w 7714416"/>
              <a:gd name="connsiteY22851" fmla="*/ 707516 h 5282095"/>
              <a:gd name="connsiteX22852" fmla="*/ 3205864 w 7714416"/>
              <a:gd name="connsiteY22852" fmla="*/ 714118 h 5282095"/>
              <a:gd name="connsiteX22853" fmla="*/ 3203723 w 7714416"/>
              <a:gd name="connsiteY22853" fmla="*/ 708829 h 5282095"/>
              <a:gd name="connsiteX22854" fmla="*/ 3203982 w 7714416"/>
              <a:gd name="connsiteY22854" fmla="*/ 707863 h 5282095"/>
              <a:gd name="connsiteX22855" fmla="*/ 3202731 w 7714416"/>
              <a:gd name="connsiteY22855" fmla="*/ 708103 h 5282095"/>
              <a:gd name="connsiteX22856" fmla="*/ 3195457 w 7714416"/>
              <a:gd name="connsiteY22856" fmla="*/ 708684 h 5282095"/>
              <a:gd name="connsiteX22857" fmla="*/ 3199159 w 7714416"/>
              <a:gd name="connsiteY22857" fmla="*/ 710366 h 5282095"/>
              <a:gd name="connsiteX22858" fmla="*/ 3193991 w 7714416"/>
              <a:gd name="connsiteY22858" fmla="*/ 731867 h 5282095"/>
              <a:gd name="connsiteX22859" fmla="*/ 3192741 w 7714416"/>
              <a:gd name="connsiteY22859" fmla="*/ 732106 h 5282095"/>
              <a:gd name="connsiteX22860" fmla="*/ 3194038 w 7714416"/>
              <a:gd name="connsiteY22860" fmla="*/ 732799 h 5282095"/>
              <a:gd name="connsiteX22861" fmla="*/ 3198408 w 7714416"/>
              <a:gd name="connsiteY22861" fmla="*/ 734200 h 5282095"/>
              <a:gd name="connsiteX22862" fmla="*/ 3219944 w 7714416"/>
              <a:gd name="connsiteY22862" fmla="*/ 730195 h 5282095"/>
              <a:gd name="connsiteX22863" fmla="*/ 3218967 w 7714416"/>
              <a:gd name="connsiteY22863" fmla="*/ 733843 h 5282095"/>
              <a:gd name="connsiteX22864" fmla="*/ 3221830 w 7714416"/>
              <a:gd name="connsiteY22864" fmla="*/ 733117 h 5282095"/>
              <a:gd name="connsiteX22865" fmla="*/ 3227695 w 7714416"/>
              <a:gd name="connsiteY22865" fmla="*/ 728937 h 5282095"/>
              <a:gd name="connsiteX22866" fmla="*/ 3248164 w 7714416"/>
              <a:gd name="connsiteY22866" fmla="*/ 723382 h 5282095"/>
              <a:gd name="connsiteX22867" fmla="*/ 3245660 w 7714416"/>
              <a:gd name="connsiteY22867" fmla="*/ 727195 h 5282095"/>
              <a:gd name="connsiteX22868" fmla="*/ 3256882 w 7714416"/>
              <a:gd name="connsiteY22868" fmla="*/ 728478 h 5282095"/>
              <a:gd name="connsiteX22869" fmla="*/ 3269545 w 7714416"/>
              <a:gd name="connsiteY22869" fmla="*/ 729916 h 5282095"/>
              <a:gd name="connsiteX22870" fmla="*/ 3278548 w 7714416"/>
              <a:gd name="connsiteY22870" fmla="*/ 728418 h 5282095"/>
              <a:gd name="connsiteX22871" fmla="*/ 3284082 w 7714416"/>
              <a:gd name="connsiteY22871" fmla="*/ 729901 h 5282095"/>
              <a:gd name="connsiteX22872" fmla="*/ 3288606 w 7714416"/>
              <a:gd name="connsiteY22872" fmla="*/ 729617 h 5282095"/>
              <a:gd name="connsiteX22873" fmla="*/ 3287862 w 7714416"/>
              <a:gd name="connsiteY22873" fmla="*/ 729074 h 5282095"/>
              <a:gd name="connsiteX22874" fmla="*/ 3282040 w 7714416"/>
              <a:gd name="connsiteY22874" fmla="*/ 719809 h 5282095"/>
              <a:gd name="connsiteX22875" fmla="*/ 3281538 w 7714416"/>
              <a:gd name="connsiteY22875" fmla="*/ 717259 h 5282095"/>
              <a:gd name="connsiteX22876" fmla="*/ 3272967 w 7714416"/>
              <a:gd name="connsiteY22876" fmla="*/ 717148 h 5282095"/>
              <a:gd name="connsiteX22877" fmla="*/ 3268734 w 7714416"/>
              <a:gd name="connsiteY22877" fmla="*/ 721878 h 5282095"/>
              <a:gd name="connsiteX22878" fmla="*/ 3235105 w 7714416"/>
              <a:gd name="connsiteY22878" fmla="*/ 716778 h 5282095"/>
              <a:gd name="connsiteX22879" fmla="*/ 3253874 w 7714416"/>
              <a:gd name="connsiteY22879" fmla="*/ 712032 h 5282095"/>
              <a:gd name="connsiteX22880" fmla="*/ 3236219 w 7714416"/>
              <a:gd name="connsiteY22880" fmla="*/ 701551 h 5282095"/>
              <a:gd name="connsiteX22881" fmla="*/ 3326127 w 7714416"/>
              <a:gd name="connsiteY22881" fmla="*/ 692520 h 5282095"/>
              <a:gd name="connsiteX22882" fmla="*/ 3355825 w 7714416"/>
              <a:gd name="connsiteY22882" fmla="*/ 679088 h 5282095"/>
              <a:gd name="connsiteX22883" fmla="*/ 3357035 w 7714416"/>
              <a:gd name="connsiteY22883" fmla="*/ 706668 h 5282095"/>
              <a:gd name="connsiteX22884" fmla="*/ 3365336 w 7714416"/>
              <a:gd name="connsiteY22884" fmla="*/ 708892 h 5282095"/>
              <a:gd name="connsiteX22885" fmla="*/ 3371082 w 7714416"/>
              <a:gd name="connsiteY22885" fmla="*/ 708477 h 5282095"/>
              <a:gd name="connsiteX22886" fmla="*/ 3385619 w 7714416"/>
              <a:gd name="connsiteY22886" fmla="*/ 708461 h 5282095"/>
              <a:gd name="connsiteX22887" fmla="*/ 3383341 w 7714416"/>
              <a:gd name="connsiteY22887" fmla="*/ 705897 h 5282095"/>
              <a:gd name="connsiteX22888" fmla="*/ 3386596 w 7714416"/>
              <a:gd name="connsiteY22888" fmla="*/ 704814 h 5282095"/>
              <a:gd name="connsiteX22889" fmla="*/ 3380850 w 7714416"/>
              <a:gd name="connsiteY22889" fmla="*/ 705229 h 5282095"/>
              <a:gd name="connsiteX22890" fmla="*/ 3391290 w 7714416"/>
              <a:gd name="connsiteY22890" fmla="*/ 698366 h 5282095"/>
              <a:gd name="connsiteX22891" fmla="*/ 3385385 w 7714416"/>
              <a:gd name="connsiteY22891" fmla="*/ 677235 h 5282095"/>
              <a:gd name="connsiteX22892" fmla="*/ 3395329 w 7714416"/>
              <a:gd name="connsiteY22892" fmla="*/ 678864 h 5282095"/>
              <a:gd name="connsiteX22893" fmla="*/ 3393637 w 7714416"/>
              <a:gd name="connsiteY22893" fmla="*/ 673004 h 5282095"/>
              <a:gd name="connsiteX22894" fmla="*/ 3395117 w 7714416"/>
              <a:gd name="connsiteY22894" fmla="*/ 671907 h 5282095"/>
              <a:gd name="connsiteX22895" fmla="*/ 3393629 w 7714416"/>
              <a:gd name="connsiteY22895" fmla="*/ 670818 h 5282095"/>
              <a:gd name="connsiteX22896" fmla="*/ 3388580 w 7714416"/>
              <a:gd name="connsiteY22896" fmla="*/ 661989 h 5282095"/>
              <a:gd name="connsiteX22897" fmla="*/ 3400040 w 7714416"/>
              <a:gd name="connsiteY22897" fmla="*/ 664600 h 5282095"/>
              <a:gd name="connsiteX22898" fmla="*/ 3401887 w 7714416"/>
              <a:gd name="connsiteY22898" fmla="*/ 668776 h 5282095"/>
              <a:gd name="connsiteX22899" fmla="*/ 3406412 w 7714416"/>
              <a:gd name="connsiteY22899" fmla="*/ 668493 h 5282095"/>
              <a:gd name="connsiteX22900" fmla="*/ 3420110 w 7714416"/>
              <a:gd name="connsiteY22900" fmla="*/ 674923 h 5282095"/>
              <a:gd name="connsiteX22901" fmla="*/ 3416628 w 7714416"/>
              <a:gd name="connsiteY22901" fmla="*/ 682384 h 5282095"/>
              <a:gd name="connsiteX22902" fmla="*/ 3427153 w 7714416"/>
              <a:gd name="connsiteY22902" fmla="*/ 684056 h 5282095"/>
              <a:gd name="connsiteX22903" fmla="*/ 3461616 w 7714416"/>
              <a:gd name="connsiteY22903" fmla="*/ 686045 h 5282095"/>
              <a:gd name="connsiteX22904" fmla="*/ 3467857 w 7714416"/>
              <a:gd name="connsiteY22904" fmla="*/ 685991 h 5282095"/>
              <a:gd name="connsiteX22905" fmla="*/ 3467753 w 7714416"/>
              <a:gd name="connsiteY22905" fmla="*/ 685274 h 5282095"/>
              <a:gd name="connsiteX22906" fmla="*/ 3470305 w 7714416"/>
              <a:gd name="connsiteY22906" fmla="*/ 682392 h 5282095"/>
              <a:gd name="connsiteX22907" fmla="*/ 3477395 w 7714416"/>
              <a:gd name="connsiteY22907" fmla="*/ 683602 h 5282095"/>
              <a:gd name="connsiteX22908" fmla="*/ 3478233 w 7714416"/>
              <a:gd name="connsiteY22908" fmla="*/ 686011 h 5282095"/>
              <a:gd name="connsiteX22909" fmla="*/ 3492491 w 7714416"/>
              <a:gd name="connsiteY22909" fmla="*/ 685923 h 5282095"/>
              <a:gd name="connsiteX22910" fmla="*/ 3523640 w 7714416"/>
              <a:gd name="connsiteY22910" fmla="*/ 689209 h 5282095"/>
              <a:gd name="connsiteX22911" fmla="*/ 3528485 w 7714416"/>
              <a:gd name="connsiteY22911" fmla="*/ 675556 h 5282095"/>
              <a:gd name="connsiteX22912" fmla="*/ 3542194 w 7714416"/>
              <a:gd name="connsiteY22912" fmla="*/ 663130 h 5282095"/>
              <a:gd name="connsiteX22913" fmla="*/ 3532146 w 7714416"/>
              <a:gd name="connsiteY22913" fmla="*/ 687348 h 5282095"/>
              <a:gd name="connsiteX22914" fmla="*/ 3525186 w 7714416"/>
              <a:gd name="connsiteY22914" fmla="*/ 690083 h 5282095"/>
              <a:gd name="connsiteX22915" fmla="*/ 3528654 w 7714416"/>
              <a:gd name="connsiteY22915" fmla="*/ 695957 h 5282095"/>
              <a:gd name="connsiteX22916" fmla="*/ 3531837 w 7714416"/>
              <a:gd name="connsiteY22916" fmla="*/ 699570 h 5282095"/>
              <a:gd name="connsiteX22917" fmla="*/ 3541698 w 7714416"/>
              <a:gd name="connsiteY22917" fmla="*/ 698187 h 5282095"/>
              <a:gd name="connsiteX22918" fmla="*/ 3536013 w 7714416"/>
              <a:gd name="connsiteY22918" fmla="*/ 721619 h 5282095"/>
              <a:gd name="connsiteX22919" fmla="*/ 3529764 w 7714416"/>
              <a:gd name="connsiteY22919" fmla="*/ 710631 h 5282095"/>
              <a:gd name="connsiteX22920" fmla="*/ 3531223 w 7714416"/>
              <a:gd name="connsiteY22920" fmla="*/ 702971 h 5282095"/>
              <a:gd name="connsiteX22921" fmla="*/ 3522807 w 7714416"/>
              <a:gd name="connsiteY22921" fmla="*/ 710031 h 5282095"/>
              <a:gd name="connsiteX22922" fmla="*/ 3523752 w 7714416"/>
              <a:gd name="connsiteY22922" fmla="*/ 709824 h 5282095"/>
              <a:gd name="connsiteX22923" fmla="*/ 3527195 w 7714416"/>
              <a:gd name="connsiteY22923" fmla="*/ 712471 h 5282095"/>
              <a:gd name="connsiteX22924" fmla="*/ 3525365 w 7714416"/>
              <a:gd name="connsiteY22924" fmla="*/ 718192 h 5282095"/>
              <a:gd name="connsiteX22925" fmla="*/ 3517660 w 7714416"/>
              <a:gd name="connsiteY22925" fmla="*/ 720382 h 5282095"/>
              <a:gd name="connsiteX22926" fmla="*/ 3515645 w 7714416"/>
              <a:gd name="connsiteY22926" fmla="*/ 722372 h 5282095"/>
              <a:gd name="connsiteX22927" fmla="*/ 3515641 w 7714416"/>
              <a:gd name="connsiteY22927" fmla="*/ 725706 h 5282095"/>
              <a:gd name="connsiteX22928" fmla="*/ 3511950 w 7714416"/>
              <a:gd name="connsiteY22928" fmla="*/ 722877 h 5282095"/>
              <a:gd name="connsiteX22929" fmla="*/ 3507771 w 7714416"/>
              <a:gd name="connsiteY22929" fmla="*/ 721872 h 5282095"/>
              <a:gd name="connsiteX22930" fmla="*/ 3507235 w 7714416"/>
              <a:gd name="connsiteY22930" fmla="*/ 722764 h 5282095"/>
              <a:gd name="connsiteX22931" fmla="*/ 3496440 w 7714416"/>
              <a:gd name="connsiteY22931" fmla="*/ 723206 h 5282095"/>
              <a:gd name="connsiteX22932" fmla="*/ 3493160 w 7714416"/>
              <a:gd name="connsiteY22932" fmla="*/ 721062 h 5282095"/>
              <a:gd name="connsiteX22933" fmla="*/ 3492997 w 7714416"/>
              <a:gd name="connsiteY22933" fmla="*/ 720559 h 5282095"/>
              <a:gd name="connsiteX22934" fmla="*/ 3492243 w 7714416"/>
              <a:gd name="connsiteY22934" fmla="*/ 721161 h 5282095"/>
              <a:gd name="connsiteX22935" fmla="*/ 3488520 w 7714416"/>
              <a:gd name="connsiteY22935" fmla="*/ 721774 h 5282095"/>
              <a:gd name="connsiteX22936" fmla="*/ 3479936 w 7714416"/>
              <a:gd name="connsiteY22936" fmla="*/ 717289 h 5282095"/>
              <a:gd name="connsiteX22937" fmla="*/ 3481692 w 7714416"/>
              <a:gd name="connsiteY22937" fmla="*/ 716265 h 5282095"/>
              <a:gd name="connsiteX22938" fmla="*/ 3479640 w 7714416"/>
              <a:gd name="connsiteY22938" fmla="*/ 716174 h 5282095"/>
              <a:gd name="connsiteX22939" fmla="*/ 3477225 w 7714416"/>
              <a:gd name="connsiteY22939" fmla="*/ 725188 h 5282095"/>
              <a:gd name="connsiteX22940" fmla="*/ 3504892 w 7714416"/>
              <a:gd name="connsiteY22940" fmla="*/ 727081 h 5282095"/>
              <a:gd name="connsiteX22941" fmla="*/ 3504569 w 7714416"/>
              <a:gd name="connsiteY22941" fmla="*/ 726074 h 5282095"/>
              <a:gd name="connsiteX22942" fmla="*/ 3508274 w 7714416"/>
              <a:gd name="connsiteY22942" fmla="*/ 724422 h 5282095"/>
              <a:gd name="connsiteX22943" fmla="*/ 3510160 w 7714416"/>
              <a:gd name="connsiteY22943" fmla="*/ 727342 h 5282095"/>
              <a:gd name="connsiteX22944" fmla="*/ 3532588 w 7714416"/>
              <a:gd name="connsiteY22944" fmla="*/ 728867 h 5282095"/>
              <a:gd name="connsiteX22945" fmla="*/ 3582017 w 7714416"/>
              <a:gd name="connsiteY22945" fmla="*/ 729231 h 5282095"/>
              <a:gd name="connsiteX22946" fmla="*/ 3582304 w 7714416"/>
              <a:gd name="connsiteY22946" fmla="*/ 728158 h 5282095"/>
              <a:gd name="connsiteX22947" fmla="*/ 3583792 w 7714416"/>
              <a:gd name="connsiteY22947" fmla="*/ 729246 h 5282095"/>
              <a:gd name="connsiteX22948" fmla="*/ 3586761 w 7714416"/>
              <a:gd name="connsiteY22948" fmla="*/ 729238 h 5282095"/>
              <a:gd name="connsiteX22949" fmla="*/ 3590778 w 7714416"/>
              <a:gd name="connsiteY22949" fmla="*/ 729739 h 5282095"/>
              <a:gd name="connsiteX22950" fmla="*/ 3591705 w 7714416"/>
              <a:gd name="connsiteY22950" fmla="*/ 728492 h 5282095"/>
              <a:gd name="connsiteX22951" fmla="*/ 3596917 w 7714416"/>
              <a:gd name="connsiteY22951" fmla="*/ 728968 h 5282095"/>
              <a:gd name="connsiteX22952" fmla="*/ 3596697 w 7714416"/>
              <a:gd name="connsiteY22952" fmla="*/ 728680 h 5282095"/>
              <a:gd name="connsiteX22953" fmla="*/ 3601850 w 7714416"/>
              <a:gd name="connsiteY22953" fmla="*/ 729370 h 5282095"/>
              <a:gd name="connsiteX22954" fmla="*/ 3602259 w 7714416"/>
              <a:gd name="connsiteY22954" fmla="*/ 730056 h 5282095"/>
              <a:gd name="connsiteX22955" fmla="*/ 3604064 w 7714416"/>
              <a:gd name="connsiteY22955" fmla="*/ 729964 h 5282095"/>
              <a:gd name="connsiteX22956" fmla="*/ 3620526 w 7714416"/>
              <a:gd name="connsiteY22956" fmla="*/ 722759 h 5282095"/>
              <a:gd name="connsiteX22957" fmla="*/ 3618600 w 7714416"/>
              <a:gd name="connsiteY22957" fmla="*/ 729948 h 5282095"/>
              <a:gd name="connsiteX22958" fmla="*/ 3631436 w 7714416"/>
              <a:gd name="connsiteY22958" fmla="*/ 730743 h 5282095"/>
              <a:gd name="connsiteX22959" fmla="*/ 3634720 w 7714416"/>
              <a:gd name="connsiteY22959" fmla="*/ 729553 h 5282095"/>
              <a:gd name="connsiteX22960" fmla="*/ 3633901 w 7714416"/>
              <a:gd name="connsiteY22960" fmla="*/ 728183 h 5282095"/>
              <a:gd name="connsiteX22961" fmla="*/ 3632547 w 7714416"/>
              <a:gd name="connsiteY22961" fmla="*/ 727705 h 5282095"/>
              <a:gd name="connsiteX22962" fmla="*/ 3628094 w 7714416"/>
              <a:gd name="connsiteY22962" fmla="*/ 723292 h 5282095"/>
              <a:gd name="connsiteX22963" fmla="*/ 3630883 w 7714416"/>
              <a:gd name="connsiteY22963" fmla="*/ 721739 h 5282095"/>
              <a:gd name="connsiteX22964" fmla="*/ 3634879 w 7714416"/>
              <a:gd name="connsiteY22964" fmla="*/ 724535 h 5282095"/>
              <a:gd name="connsiteX22965" fmla="*/ 3635346 w 7714416"/>
              <a:gd name="connsiteY22965" fmla="*/ 725005 h 5282095"/>
              <a:gd name="connsiteX22966" fmla="*/ 3637064 w 7714416"/>
              <a:gd name="connsiteY22966" fmla="*/ 725236 h 5282095"/>
              <a:gd name="connsiteX22967" fmla="*/ 3638332 w 7714416"/>
              <a:gd name="connsiteY22967" fmla="*/ 726036 h 5282095"/>
              <a:gd name="connsiteX22968" fmla="*/ 3638885 w 7714416"/>
              <a:gd name="connsiteY22968" fmla="*/ 726184 h 5282095"/>
              <a:gd name="connsiteX22969" fmla="*/ 3641351 w 7714416"/>
              <a:gd name="connsiteY22969" fmla="*/ 723625 h 5282095"/>
              <a:gd name="connsiteX22970" fmla="*/ 3651251 w 7714416"/>
              <a:gd name="connsiteY22970" fmla="*/ 720987 h 5282095"/>
              <a:gd name="connsiteX22971" fmla="*/ 3657644 w 7714416"/>
              <a:gd name="connsiteY22971" fmla="*/ 722585 h 5282095"/>
              <a:gd name="connsiteX22972" fmla="*/ 3658064 w 7714416"/>
              <a:gd name="connsiteY22972" fmla="*/ 722122 h 5282095"/>
              <a:gd name="connsiteX22973" fmla="*/ 3660257 w 7714416"/>
              <a:gd name="connsiteY22973" fmla="*/ 725010 h 5282095"/>
              <a:gd name="connsiteX22974" fmla="*/ 3662147 w 7714416"/>
              <a:gd name="connsiteY22974" fmla="*/ 724597 h 5282095"/>
              <a:gd name="connsiteX22975" fmla="*/ 3665924 w 7714416"/>
              <a:gd name="connsiteY22975" fmla="*/ 727104 h 5282095"/>
              <a:gd name="connsiteX22976" fmla="*/ 3662886 w 7714416"/>
              <a:gd name="connsiteY22976" fmla="*/ 728475 h 5282095"/>
              <a:gd name="connsiteX22977" fmla="*/ 3664791 w 7714416"/>
              <a:gd name="connsiteY22977" fmla="*/ 732435 h 5282095"/>
              <a:gd name="connsiteX22978" fmla="*/ 3678677 w 7714416"/>
              <a:gd name="connsiteY22978" fmla="*/ 733741 h 5282095"/>
              <a:gd name="connsiteX22979" fmla="*/ 3703831 w 7714416"/>
              <a:gd name="connsiteY22979" fmla="*/ 737261 h 5282095"/>
              <a:gd name="connsiteX22980" fmla="*/ 3740393 w 7714416"/>
              <a:gd name="connsiteY22980" fmla="*/ 731417 h 5282095"/>
              <a:gd name="connsiteX22981" fmla="*/ 3761975 w 7714416"/>
              <a:gd name="connsiteY22981" fmla="*/ 737201 h 5282095"/>
              <a:gd name="connsiteX22982" fmla="*/ 3763413 w 7714416"/>
              <a:gd name="connsiteY22982" fmla="*/ 731835 h 5282095"/>
              <a:gd name="connsiteX22983" fmla="*/ 3727136 w 7714416"/>
              <a:gd name="connsiteY22983" fmla="*/ 704520 h 5282095"/>
              <a:gd name="connsiteX22984" fmla="*/ 3782273 w 7714416"/>
              <a:gd name="connsiteY22984" fmla="*/ 705724 h 5282095"/>
              <a:gd name="connsiteX22985" fmla="*/ 3808887 w 7714416"/>
              <a:gd name="connsiteY22985" fmla="*/ 710439 h 5282095"/>
              <a:gd name="connsiteX22986" fmla="*/ 3816929 w 7714416"/>
              <a:gd name="connsiteY22986" fmla="*/ 713630 h 5282095"/>
              <a:gd name="connsiteX22987" fmla="*/ 3817054 w 7714416"/>
              <a:gd name="connsiteY22987" fmla="*/ 712053 h 5282095"/>
              <a:gd name="connsiteX22988" fmla="*/ 3822786 w 7714416"/>
              <a:gd name="connsiteY22988" fmla="*/ 716119 h 5282095"/>
              <a:gd name="connsiteX22989" fmla="*/ 3835529 w 7714416"/>
              <a:gd name="connsiteY22989" fmla="*/ 723904 h 5282095"/>
              <a:gd name="connsiteX22990" fmla="*/ 3834551 w 7714416"/>
              <a:gd name="connsiteY22990" fmla="*/ 727551 h 5282095"/>
              <a:gd name="connsiteX22991" fmla="*/ 3842115 w 7714416"/>
              <a:gd name="connsiteY22991" fmla="*/ 731418 h 5282095"/>
              <a:gd name="connsiteX22992" fmla="*/ 3835025 w 7714416"/>
              <a:gd name="connsiteY22992" fmla="*/ 739064 h 5282095"/>
              <a:gd name="connsiteX22993" fmla="*/ 3828305 w 7714416"/>
              <a:gd name="connsiteY22993" fmla="*/ 739793 h 5282095"/>
              <a:gd name="connsiteX22994" fmla="*/ 3826764 w 7714416"/>
              <a:gd name="connsiteY22994" fmla="*/ 744440 h 5282095"/>
              <a:gd name="connsiteX22995" fmla="*/ 3825114 w 7714416"/>
              <a:gd name="connsiteY22995" fmla="*/ 742848 h 5282095"/>
              <a:gd name="connsiteX22996" fmla="*/ 3824159 w 7714416"/>
              <a:gd name="connsiteY22996" fmla="*/ 744203 h 5282095"/>
              <a:gd name="connsiteX22997" fmla="*/ 3826436 w 7714416"/>
              <a:gd name="connsiteY22997" fmla="*/ 746767 h 5282095"/>
              <a:gd name="connsiteX22998" fmla="*/ 3868089 w 7714416"/>
              <a:gd name="connsiteY22998" fmla="*/ 754018 h 5282095"/>
              <a:gd name="connsiteX22999" fmla="*/ 3868578 w 7714416"/>
              <a:gd name="connsiteY22999" fmla="*/ 752194 h 5282095"/>
              <a:gd name="connsiteX23000" fmla="*/ 3876603 w 7714416"/>
              <a:gd name="connsiteY23000" fmla="*/ 754345 h 5282095"/>
              <a:gd name="connsiteX23001" fmla="*/ 3899929 w 7714416"/>
              <a:gd name="connsiteY23001" fmla="*/ 754729 h 5282095"/>
              <a:gd name="connsiteX23002" fmla="*/ 3912743 w 7714416"/>
              <a:gd name="connsiteY23002" fmla="*/ 757818 h 5282095"/>
              <a:gd name="connsiteX23003" fmla="*/ 3913192 w 7714416"/>
              <a:gd name="connsiteY23003" fmla="*/ 757249 h 5282095"/>
              <a:gd name="connsiteX23004" fmla="*/ 3917752 w 7714416"/>
              <a:gd name="connsiteY23004" fmla="*/ 759045 h 5282095"/>
              <a:gd name="connsiteX23005" fmla="*/ 3927495 w 7714416"/>
              <a:gd name="connsiteY23005" fmla="*/ 761426 h 5282095"/>
              <a:gd name="connsiteX23006" fmla="*/ 3950094 w 7714416"/>
              <a:gd name="connsiteY23006" fmla="*/ 762306 h 5282095"/>
              <a:gd name="connsiteX23007" fmla="*/ 3998230 w 7714416"/>
              <a:gd name="connsiteY23007" fmla="*/ 767499 h 5282095"/>
              <a:gd name="connsiteX23008" fmla="*/ 4011465 w 7714416"/>
              <a:gd name="connsiteY23008" fmla="*/ 761271 h 5282095"/>
              <a:gd name="connsiteX23009" fmla="*/ 4008975 w 7714416"/>
              <a:gd name="connsiteY23009" fmla="*/ 760602 h 5282095"/>
              <a:gd name="connsiteX23010" fmla="*/ 3993462 w 7714416"/>
              <a:gd name="connsiteY23010" fmla="*/ 764266 h 5282095"/>
              <a:gd name="connsiteX23011" fmla="*/ 3987439 w 7714416"/>
              <a:gd name="connsiteY23011" fmla="*/ 764608 h 5282095"/>
              <a:gd name="connsiteX23012" fmla="*/ 3950583 w 7714416"/>
              <a:gd name="connsiteY23012" fmla="*/ 760482 h 5282095"/>
              <a:gd name="connsiteX23013" fmla="*/ 3950232 w 7714416"/>
              <a:gd name="connsiteY23013" fmla="*/ 750728 h 5282095"/>
              <a:gd name="connsiteX23014" fmla="*/ 3929138 w 7714416"/>
              <a:gd name="connsiteY23014" fmla="*/ 743121 h 5282095"/>
              <a:gd name="connsiteX23015" fmla="*/ 3911834 w 7714416"/>
              <a:gd name="connsiteY23015" fmla="*/ 742394 h 5282095"/>
              <a:gd name="connsiteX23016" fmla="*/ 3904396 w 7714416"/>
              <a:gd name="connsiteY23016" fmla="*/ 745806 h 5282095"/>
              <a:gd name="connsiteX23017" fmla="*/ 3907630 w 7714416"/>
              <a:gd name="connsiteY23017" fmla="*/ 747017 h 5282095"/>
              <a:gd name="connsiteX23018" fmla="*/ 3901492 w 7714416"/>
              <a:gd name="connsiteY23018" fmla="*/ 747788 h 5282095"/>
              <a:gd name="connsiteX23019" fmla="*/ 3900662 w 7714416"/>
              <a:gd name="connsiteY23019" fmla="*/ 747566 h 5282095"/>
              <a:gd name="connsiteX23020" fmla="*/ 3900327 w 7714416"/>
              <a:gd name="connsiteY23020" fmla="*/ 747706 h 5282095"/>
              <a:gd name="connsiteX23021" fmla="*/ 3882303 w 7714416"/>
              <a:gd name="connsiteY23021" fmla="*/ 744141 h 5282095"/>
              <a:gd name="connsiteX23022" fmla="*/ 3859419 w 7714416"/>
              <a:gd name="connsiteY23022" fmla="*/ 732145 h 5282095"/>
              <a:gd name="connsiteX23023" fmla="*/ 3846809 w 7714416"/>
              <a:gd name="connsiteY23023" fmla="*/ 724971 h 5282095"/>
              <a:gd name="connsiteX23024" fmla="*/ 3873905 w 7714416"/>
              <a:gd name="connsiteY23024" fmla="*/ 725677 h 5282095"/>
              <a:gd name="connsiteX23025" fmla="*/ 3872550 w 7714416"/>
              <a:gd name="connsiteY23025" fmla="*/ 725199 h 5282095"/>
              <a:gd name="connsiteX23026" fmla="*/ 3872115 w 7714416"/>
              <a:gd name="connsiteY23026" fmla="*/ 721287 h 5282095"/>
              <a:gd name="connsiteX23027" fmla="*/ 3879287 w 7714416"/>
              <a:gd name="connsiteY23027" fmla="*/ 716653 h 5282095"/>
              <a:gd name="connsiteX23028" fmla="*/ 3895283 w 7714416"/>
              <a:gd name="connsiteY23028" fmla="*/ 717834 h 5282095"/>
              <a:gd name="connsiteX23029" fmla="*/ 3883219 w 7714416"/>
              <a:gd name="connsiteY23029" fmla="*/ 726332 h 5282095"/>
              <a:gd name="connsiteX23030" fmla="*/ 3898811 w 7714416"/>
              <a:gd name="connsiteY23030" fmla="*/ 729016 h 5282095"/>
              <a:gd name="connsiteX23031" fmla="*/ 3913789 w 7714416"/>
              <a:gd name="connsiteY23031" fmla="*/ 735098 h 5282095"/>
              <a:gd name="connsiteX23032" fmla="*/ 3927837 w 7714416"/>
              <a:gd name="connsiteY23032" fmla="*/ 736907 h 5282095"/>
              <a:gd name="connsiteX23033" fmla="*/ 3941884 w 7714416"/>
              <a:gd name="connsiteY23033" fmla="*/ 738716 h 5282095"/>
              <a:gd name="connsiteX23034" fmla="*/ 3935814 w 7714416"/>
              <a:gd name="connsiteY23034" fmla="*/ 729269 h 5282095"/>
              <a:gd name="connsiteX23035" fmla="*/ 3992463 w 7714416"/>
              <a:gd name="connsiteY23035" fmla="*/ 734788 h 5282095"/>
              <a:gd name="connsiteX23036" fmla="*/ 4011111 w 7714416"/>
              <a:gd name="connsiteY23036" fmla="*/ 737140 h 5282095"/>
              <a:gd name="connsiteX23037" fmla="*/ 4011721 w 7714416"/>
              <a:gd name="connsiteY23037" fmla="*/ 737073 h 5282095"/>
              <a:gd name="connsiteX23038" fmla="*/ 4012274 w 7714416"/>
              <a:gd name="connsiteY23038" fmla="*/ 737222 h 5282095"/>
              <a:gd name="connsiteX23039" fmla="*/ 4012332 w 7714416"/>
              <a:gd name="connsiteY23039" fmla="*/ 737007 h 5282095"/>
              <a:gd name="connsiteX23040" fmla="*/ 4015006 w 7714416"/>
              <a:gd name="connsiteY23040" fmla="*/ 735884 h 5282095"/>
              <a:gd name="connsiteX23041" fmla="*/ 4011887 w 7714416"/>
              <a:gd name="connsiteY23041" fmla="*/ 734243 h 5282095"/>
              <a:gd name="connsiteX23042" fmla="*/ 4007959 w 7714416"/>
              <a:gd name="connsiteY23042" fmla="*/ 721231 h 5282095"/>
              <a:gd name="connsiteX23043" fmla="*/ 4007366 w 7714416"/>
              <a:gd name="connsiteY23043" fmla="*/ 722336 h 5282095"/>
              <a:gd name="connsiteX23044" fmla="*/ 3981184 w 7714416"/>
              <a:gd name="connsiteY23044" fmla="*/ 724866 h 5282095"/>
              <a:gd name="connsiteX23045" fmla="*/ 3984288 w 7714416"/>
              <a:gd name="connsiteY23045" fmla="*/ 722133 h 5282095"/>
              <a:gd name="connsiteX23046" fmla="*/ 3986207 w 7714416"/>
              <a:gd name="connsiteY23046" fmla="*/ 721612 h 5282095"/>
              <a:gd name="connsiteX23047" fmla="*/ 3986495 w 7714416"/>
              <a:gd name="connsiteY23047" fmla="*/ 720539 h 5282095"/>
              <a:gd name="connsiteX23048" fmla="*/ 3988098 w 7714416"/>
              <a:gd name="connsiteY23048" fmla="*/ 721198 h 5282095"/>
              <a:gd name="connsiteX23049" fmla="*/ 3992212 w 7714416"/>
              <a:gd name="connsiteY23049" fmla="*/ 720231 h 5282095"/>
              <a:gd name="connsiteX23050" fmla="*/ 3999414 w 7714416"/>
              <a:gd name="connsiteY23050" fmla="*/ 715491 h 5282095"/>
              <a:gd name="connsiteX23051" fmla="*/ 4010324 w 7714416"/>
              <a:gd name="connsiteY23051" fmla="*/ 714619 h 5282095"/>
              <a:gd name="connsiteX23052" fmla="*/ 4012649 w 7714416"/>
              <a:gd name="connsiteY23052" fmla="*/ 718117 h 5282095"/>
              <a:gd name="connsiteX23053" fmla="*/ 4016763 w 7714416"/>
              <a:gd name="connsiteY23053" fmla="*/ 717150 h 5282095"/>
              <a:gd name="connsiteX23054" fmla="*/ 4021546 w 7714416"/>
              <a:gd name="connsiteY23054" fmla="*/ 715901 h 5282095"/>
              <a:gd name="connsiteX23055" fmla="*/ 4022513 w 7714416"/>
              <a:gd name="connsiteY23055" fmla="*/ 713400 h 5282095"/>
              <a:gd name="connsiteX23056" fmla="*/ 4026068 w 7714416"/>
              <a:gd name="connsiteY23056" fmla="*/ 710097 h 5282095"/>
              <a:gd name="connsiteX23057" fmla="*/ 4034706 w 7714416"/>
              <a:gd name="connsiteY23057" fmla="*/ 717701 h 5282095"/>
              <a:gd name="connsiteX23058" fmla="*/ 4029445 w 7714416"/>
              <a:gd name="connsiteY23058" fmla="*/ 719627 h 5282095"/>
              <a:gd name="connsiteX23059" fmla="*/ 4036596 w 7714416"/>
              <a:gd name="connsiteY23059" fmla="*/ 726144 h 5282095"/>
              <a:gd name="connsiteX23060" fmla="*/ 4039384 w 7714416"/>
              <a:gd name="connsiteY23060" fmla="*/ 733446 h 5282095"/>
              <a:gd name="connsiteX23061" fmla="*/ 4033192 w 7714416"/>
              <a:gd name="connsiteY23061" fmla="*/ 739952 h 5282095"/>
              <a:gd name="connsiteX23062" fmla="*/ 4027037 w 7714416"/>
              <a:gd name="connsiteY23062" fmla="*/ 739682 h 5282095"/>
              <a:gd name="connsiteX23063" fmla="*/ 4028658 w 7714416"/>
              <a:gd name="connsiteY23063" fmla="*/ 741382 h 5282095"/>
              <a:gd name="connsiteX23064" fmla="*/ 4031148 w 7714416"/>
              <a:gd name="connsiteY23064" fmla="*/ 742049 h 5282095"/>
              <a:gd name="connsiteX23065" fmla="*/ 4044207 w 7714416"/>
              <a:gd name="connsiteY23065" fmla="*/ 748653 h 5282095"/>
              <a:gd name="connsiteX23066" fmla="*/ 4110698 w 7714416"/>
              <a:gd name="connsiteY23066" fmla="*/ 760604 h 5282095"/>
              <a:gd name="connsiteX23067" fmla="*/ 4152674 w 7714416"/>
              <a:gd name="connsiteY23067" fmla="*/ 777717 h 5282095"/>
              <a:gd name="connsiteX23068" fmla="*/ 4123602 w 7714416"/>
              <a:gd name="connsiteY23068" fmla="*/ 777747 h 5282095"/>
              <a:gd name="connsiteX23069" fmla="*/ 4125604 w 7714416"/>
              <a:gd name="connsiteY23069" fmla="*/ 780239 h 5282095"/>
              <a:gd name="connsiteX23070" fmla="*/ 4126503 w 7714416"/>
              <a:gd name="connsiteY23070" fmla="*/ 779099 h 5282095"/>
              <a:gd name="connsiteX23071" fmla="*/ 4125938 w 7714416"/>
              <a:gd name="connsiteY23071" fmla="*/ 780098 h 5282095"/>
              <a:gd name="connsiteX23072" fmla="*/ 4125823 w 7714416"/>
              <a:gd name="connsiteY23072" fmla="*/ 780527 h 5282095"/>
              <a:gd name="connsiteX23073" fmla="*/ 4128263 w 7714416"/>
              <a:gd name="connsiteY23073" fmla="*/ 783596 h 5282095"/>
              <a:gd name="connsiteX23074" fmla="*/ 4135234 w 7714416"/>
              <a:gd name="connsiteY23074" fmla="*/ 788569 h 5282095"/>
              <a:gd name="connsiteX23075" fmla="*/ 4145750 w 7714416"/>
              <a:gd name="connsiteY23075" fmla="*/ 791386 h 5282095"/>
              <a:gd name="connsiteX23076" fmla="*/ 4148024 w 7714416"/>
              <a:gd name="connsiteY23076" fmla="*/ 788431 h 5282095"/>
              <a:gd name="connsiteX23077" fmla="*/ 4152063 w 7714416"/>
              <a:gd name="connsiteY23077" fmla="*/ 786638 h 5282095"/>
              <a:gd name="connsiteX23078" fmla="*/ 4157799 w 7714416"/>
              <a:gd name="connsiteY23078" fmla="*/ 787370 h 5282095"/>
              <a:gd name="connsiteX23079" fmla="*/ 4161299 w 7714416"/>
              <a:gd name="connsiteY23079" fmla="*/ 789804 h 5282095"/>
              <a:gd name="connsiteX23080" fmla="*/ 4161623 w 7714416"/>
              <a:gd name="connsiteY23080" fmla="*/ 790810 h 5282095"/>
              <a:gd name="connsiteX23081" fmla="*/ 4161899 w 7714416"/>
              <a:gd name="connsiteY23081" fmla="*/ 790884 h 5282095"/>
              <a:gd name="connsiteX23082" fmla="*/ 4166097 w 7714416"/>
              <a:gd name="connsiteY23082" fmla="*/ 792929 h 5282095"/>
              <a:gd name="connsiteX23083" fmla="*/ 4164796 w 7714416"/>
              <a:gd name="connsiteY23083" fmla="*/ 786714 h 5282095"/>
              <a:gd name="connsiteX23084" fmla="*/ 4220956 w 7714416"/>
              <a:gd name="connsiteY23084" fmla="*/ 794057 h 5282095"/>
              <a:gd name="connsiteX23085" fmla="*/ 4204004 w 7714416"/>
              <a:gd name="connsiteY23085" fmla="*/ 803086 h 5282095"/>
              <a:gd name="connsiteX23086" fmla="*/ 4212028 w 7714416"/>
              <a:gd name="connsiteY23086" fmla="*/ 805236 h 5282095"/>
              <a:gd name="connsiteX23087" fmla="*/ 4273723 w 7714416"/>
              <a:gd name="connsiteY23087" fmla="*/ 814062 h 5282095"/>
              <a:gd name="connsiteX23088" fmla="*/ 4275243 w 7714416"/>
              <a:gd name="connsiteY23088" fmla="*/ 811709 h 5282095"/>
              <a:gd name="connsiteX23089" fmla="*/ 4273270 w 7714416"/>
              <a:gd name="connsiteY23089" fmla="*/ 809110 h 5282095"/>
              <a:gd name="connsiteX23090" fmla="*/ 4269706 w 7714416"/>
              <a:gd name="connsiteY23090" fmla="*/ 804705 h 5282095"/>
              <a:gd name="connsiteX23091" fmla="*/ 4274734 w 7714416"/>
              <a:gd name="connsiteY23091" fmla="*/ 798117 h 5282095"/>
              <a:gd name="connsiteX23092" fmla="*/ 4282276 w 7714416"/>
              <a:gd name="connsiteY23092" fmla="*/ 804279 h 5282095"/>
              <a:gd name="connsiteX23093" fmla="*/ 4285934 w 7714416"/>
              <a:gd name="connsiteY23093" fmla="*/ 801694 h 5282095"/>
              <a:gd name="connsiteX23094" fmla="*/ 4313698 w 7714416"/>
              <a:gd name="connsiteY23094" fmla="*/ 828683 h 5282095"/>
              <a:gd name="connsiteX23095" fmla="*/ 4307214 w 7714416"/>
              <a:gd name="connsiteY23095" fmla="*/ 830741 h 5282095"/>
              <a:gd name="connsiteX23096" fmla="*/ 4299191 w 7714416"/>
              <a:gd name="connsiteY23096" fmla="*/ 828591 h 5282095"/>
              <a:gd name="connsiteX23097" fmla="*/ 4308516 w 7714416"/>
              <a:gd name="connsiteY23097" fmla="*/ 836955 h 5282095"/>
              <a:gd name="connsiteX23098" fmla="*/ 4287468 w 7714416"/>
              <a:gd name="connsiteY23098" fmla="*/ 839136 h 5282095"/>
              <a:gd name="connsiteX23099" fmla="*/ 4299366 w 7714416"/>
              <a:gd name="connsiteY23099" fmla="*/ 842324 h 5282095"/>
              <a:gd name="connsiteX23100" fmla="*/ 4302834 w 7714416"/>
              <a:gd name="connsiteY23100" fmla="*/ 839343 h 5282095"/>
              <a:gd name="connsiteX23101" fmla="*/ 4310136 w 7714416"/>
              <a:gd name="connsiteY23101" fmla="*/ 838654 h 5282095"/>
              <a:gd name="connsiteX23102" fmla="*/ 4310165 w 7714416"/>
              <a:gd name="connsiteY23102" fmla="*/ 838547 h 5282095"/>
              <a:gd name="connsiteX23103" fmla="*/ 4311315 w 7714416"/>
              <a:gd name="connsiteY23103" fmla="*/ 834254 h 5282095"/>
              <a:gd name="connsiteX23104" fmla="*/ 4318789 w 7714416"/>
              <a:gd name="connsiteY23104" fmla="*/ 832922 h 5282095"/>
              <a:gd name="connsiteX23105" fmla="*/ 4331485 w 7714416"/>
              <a:gd name="connsiteY23105" fmla="*/ 839775 h 5282095"/>
              <a:gd name="connsiteX23106" fmla="*/ 4331370 w 7714416"/>
              <a:gd name="connsiteY23106" fmla="*/ 840204 h 5282095"/>
              <a:gd name="connsiteX23107" fmla="*/ 4336121 w 7714416"/>
              <a:gd name="connsiteY23107" fmla="*/ 842396 h 5282095"/>
              <a:gd name="connsiteX23108" fmla="*/ 4339072 w 7714416"/>
              <a:gd name="connsiteY23108" fmla="*/ 841347 h 5282095"/>
              <a:gd name="connsiteX23109" fmla="*/ 4336581 w 7714416"/>
              <a:gd name="connsiteY23109" fmla="*/ 840680 h 5282095"/>
              <a:gd name="connsiteX23110" fmla="*/ 4335798 w 7714416"/>
              <a:gd name="connsiteY23110" fmla="*/ 832535 h 5282095"/>
              <a:gd name="connsiteX23111" fmla="*/ 4358873 w 7714416"/>
              <a:gd name="connsiteY23111" fmla="*/ 836072 h 5282095"/>
              <a:gd name="connsiteX23112" fmla="*/ 4360770 w 7714416"/>
              <a:gd name="connsiteY23112" fmla="*/ 837846 h 5282095"/>
              <a:gd name="connsiteX23113" fmla="*/ 4360741 w 7714416"/>
              <a:gd name="connsiteY23113" fmla="*/ 837954 h 5282095"/>
              <a:gd name="connsiteX23114" fmla="*/ 4362915 w 7714416"/>
              <a:gd name="connsiteY23114" fmla="*/ 839800 h 5282095"/>
              <a:gd name="connsiteX23115" fmla="*/ 4365682 w 7714416"/>
              <a:gd name="connsiteY23115" fmla="*/ 840542 h 5282095"/>
              <a:gd name="connsiteX23116" fmla="*/ 4369397 w 7714416"/>
              <a:gd name="connsiteY23116" fmla="*/ 837743 h 5282095"/>
              <a:gd name="connsiteX23117" fmla="*/ 4457170 w 7714416"/>
              <a:gd name="connsiteY23117" fmla="*/ 878741 h 5282095"/>
              <a:gd name="connsiteX23118" fmla="*/ 4456681 w 7714416"/>
              <a:gd name="connsiteY23118" fmla="*/ 880565 h 5282095"/>
              <a:gd name="connsiteX23119" fmla="*/ 4478587 w 7714416"/>
              <a:gd name="connsiteY23119" fmla="*/ 896211 h 5282095"/>
              <a:gd name="connsiteX23120" fmla="*/ 4471403 w 7714416"/>
              <a:gd name="connsiteY23120" fmla="*/ 901990 h 5282095"/>
              <a:gd name="connsiteX23121" fmla="*/ 4476172 w 7714416"/>
              <a:gd name="connsiteY23121" fmla="*/ 905224 h 5282095"/>
              <a:gd name="connsiteX23122" fmla="*/ 4468960 w 7714416"/>
              <a:gd name="connsiteY23122" fmla="*/ 911110 h 5282095"/>
              <a:gd name="connsiteX23123" fmla="*/ 4495843 w 7714416"/>
              <a:gd name="connsiteY23123" fmla="*/ 913714 h 5282095"/>
              <a:gd name="connsiteX23124" fmla="*/ 4519905 w 7714416"/>
              <a:gd name="connsiteY23124" fmla="*/ 912457 h 5282095"/>
              <a:gd name="connsiteX23125" fmla="*/ 4522047 w 7714416"/>
              <a:gd name="connsiteY23125" fmla="*/ 908891 h 5282095"/>
              <a:gd name="connsiteX23126" fmla="*/ 4524692 w 7714416"/>
              <a:gd name="connsiteY23126" fmla="*/ 907874 h 5282095"/>
              <a:gd name="connsiteX23127" fmla="*/ 4522957 w 7714416"/>
              <a:gd name="connsiteY23127" fmla="*/ 906605 h 5282095"/>
              <a:gd name="connsiteX23128" fmla="*/ 4522881 w 7714416"/>
              <a:gd name="connsiteY23128" fmla="*/ 905779 h 5282095"/>
              <a:gd name="connsiteX23129" fmla="*/ 4518296 w 7714416"/>
              <a:gd name="connsiteY23129" fmla="*/ 900755 h 5282095"/>
              <a:gd name="connsiteX23130" fmla="*/ 4525699 w 7714416"/>
              <a:gd name="connsiteY23130" fmla="*/ 895264 h 5282095"/>
              <a:gd name="connsiteX23131" fmla="*/ 4528926 w 7714416"/>
              <a:gd name="connsiteY23131" fmla="*/ 894289 h 5282095"/>
              <a:gd name="connsiteX23132" fmla="*/ 4534460 w 7714416"/>
              <a:gd name="connsiteY23132" fmla="*/ 895772 h 5282095"/>
              <a:gd name="connsiteX23133" fmla="*/ 4539351 w 7714416"/>
              <a:gd name="connsiteY23133" fmla="*/ 900762 h 5282095"/>
              <a:gd name="connsiteX23134" fmla="*/ 4533080 w 7714416"/>
              <a:gd name="connsiteY23134" fmla="*/ 900921 h 5282095"/>
              <a:gd name="connsiteX23135" fmla="*/ 4530313 w 7714416"/>
              <a:gd name="connsiteY23135" fmla="*/ 900180 h 5282095"/>
              <a:gd name="connsiteX23136" fmla="*/ 4529365 w 7714416"/>
              <a:gd name="connsiteY23136" fmla="*/ 903721 h 5282095"/>
              <a:gd name="connsiteX23137" fmla="*/ 4530183 w 7714416"/>
              <a:gd name="connsiteY23137" fmla="*/ 905090 h 5282095"/>
              <a:gd name="connsiteX23138" fmla="*/ 4528444 w 7714416"/>
              <a:gd name="connsiteY23138" fmla="*/ 907155 h 5282095"/>
              <a:gd name="connsiteX23139" fmla="*/ 4537298 w 7714416"/>
              <a:gd name="connsiteY23139" fmla="*/ 909527 h 5282095"/>
              <a:gd name="connsiteX23140" fmla="*/ 4536533 w 7714416"/>
              <a:gd name="connsiteY23140" fmla="*/ 920132 h 5282095"/>
              <a:gd name="connsiteX23141" fmla="*/ 4536141 w 7714416"/>
              <a:gd name="connsiteY23141" fmla="*/ 920487 h 5282095"/>
              <a:gd name="connsiteX23142" fmla="*/ 4545211 w 7714416"/>
              <a:gd name="connsiteY23142" fmla="*/ 926483 h 5282095"/>
              <a:gd name="connsiteX23143" fmla="*/ 4568915 w 7714416"/>
              <a:gd name="connsiteY23143" fmla="*/ 939849 h 5282095"/>
              <a:gd name="connsiteX23144" fmla="*/ 4577916 w 7714416"/>
              <a:gd name="connsiteY23144" fmla="*/ 938351 h 5282095"/>
              <a:gd name="connsiteX23145" fmla="*/ 4589121 w 7714416"/>
              <a:gd name="connsiteY23145" fmla="*/ 929737 h 5282095"/>
              <a:gd name="connsiteX23146" fmla="*/ 4570546 w 7714416"/>
              <a:gd name="connsiteY23146" fmla="*/ 922691 h 5282095"/>
              <a:gd name="connsiteX23147" fmla="*/ 4586383 w 7714416"/>
              <a:gd name="connsiteY23147" fmla="*/ 920034 h 5282095"/>
              <a:gd name="connsiteX23148" fmla="*/ 4586965 w 7714416"/>
              <a:gd name="connsiteY23148" fmla="*/ 920075 h 5282095"/>
              <a:gd name="connsiteX23149" fmla="*/ 4585696 w 7714416"/>
              <a:gd name="connsiteY23149" fmla="*/ 919274 h 5282095"/>
              <a:gd name="connsiteX23150" fmla="*/ 4594217 w 7714416"/>
              <a:gd name="connsiteY23150" fmla="*/ 912933 h 5282095"/>
              <a:gd name="connsiteX23151" fmla="*/ 4597436 w 7714416"/>
              <a:gd name="connsiteY23151" fmla="*/ 918626 h 5282095"/>
              <a:gd name="connsiteX23152" fmla="*/ 4595536 w 7714416"/>
              <a:gd name="connsiteY23152" fmla="*/ 920186 h 5282095"/>
              <a:gd name="connsiteX23153" fmla="*/ 4601692 w 7714416"/>
              <a:gd name="connsiteY23153" fmla="*/ 920456 h 5282095"/>
              <a:gd name="connsiteX23154" fmla="*/ 4629962 w 7714416"/>
              <a:gd name="connsiteY23154" fmla="*/ 928951 h 5282095"/>
              <a:gd name="connsiteX23155" fmla="*/ 4638698 w 7714416"/>
              <a:gd name="connsiteY23155" fmla="*/ 935087 h 5282095"/>
              <a:gd name="connsiteX23156" fmla="*/ 4643269 w 7714416"/>
              <a:gd name="connsiteY23156" fmla="*/ 935736 h 5282095"/>
              <a:gd name="connsiteX23157" fmla="*/ 4645062 w 7714416"/>
              <a:gd name="connsiteY23157" fmla="*/ 936792 h 5282095"/>
              <a:gd name="connsiteX23158" fmla="*/ 4641149 w 7714416"/>
              <a:gd name="connsiteY23158" fmla="*/ 937009 h 5282095"/>
              <a:gd name="connsiteX23159" fmla="*/ 4644897 w 7714416"/>
              <a:gd name="connsiteY23159" fmla="*/ 939623 h 5282095"/>
              <a:gd name="connsiteX23160" fmla="*/ 4646683 w 7714416"/>
              <a:gd name="connsiteY23160" fmla="*/ 938492 h 5282095"/>
              <a:gd name="connsiteX23161" fmla="*/ 4652641 w 7714416"/>
              <a:gd name="connsiteY23161" fmla="*/ 945033 h 5282095"/>
              <a:gd name="connsiteX23162" fmla="*/ 4652612 w 7714416"/>
              <a:gd name="connsiteY23162" fmla="*/ 945140 h 5282095"/>
              <a:gd name="connsiteX23163" fmla="*/ 4654100 w 7714416"/>
              <a:gd name="connsiteY23163" fmla="*/ 946229 h 5282095"/>
              <a:gd name="connsiteX23164" fmla="*/ 4654093 w 7714416"/>
              <a:gd name="connsiteY23164" fmla="*/ 944043 h 5282095"/>
              <a:gd name="connsiteX23165" fmla="*/ 4651893 w 7714416"/>
              <a:gd name="connsiteY23165" fmla="*/ 938967 h 5282095"/>
              <a:gd name="connsiteX23166" fmla="*/ 4658333 w 7714416"/>
              <a:gd name="connsiteY23166" fmla="*/ 941498 h 5282095"/>
              <a:gd name="connsiteX23167" fmla="*/ 4657453 w 7714416"/>
              <a:gd name="connsiteY23167" fmla="*/ 943677 h 5282095"/>
              <a:gd name="connsiteX23168" fmla="*/ 4660158 w 7714416"/>
              <a:gd name="connsiteY23168" fmla="*/ 947967 h 5282095"/>
              <a:gd name="connsiteX23169" fmla="*/ 4660708 w 7714416"/>
              <a:gd name="connsiteY23169" fmla="*/ 951449 h 5282095"/>
              <a:gd name="connsiteX23170" fmla="*/ 4663435 w 7714416"/>
              <a:gd name="connsiteY23170" fmla="*/ 953446 h 5282095"/>
              <a:gd name="connsiteX23171" fmla="*/ 4663694 w 7714416"/>
              <a:gd name="connsiteY23171" fmla="*/ 952480 h 5282095"/>
              <a:gd name="connsiteX23172" fmla="*/ 4667003 w 7714416"/>
              <a:gd name="connsiteY23172" fmla="*/ 954517 h 5282095"/>
              <a:gd name="connsiteX23173" fmla="*/ 4666875 w 7714416"/>
              <a:gd name="connsiteY23173" fmla="*/ 950572 h 5282095"/>
              <a:gd name="connsiteX23174" fmla="*/ 4669131 w 7714416"/>
              <a:gd name="connsiteY23174" fmla="*/ 946576 h 5282095"/>
              <a:gd name="connsiteX23175" fmla="*/ 4668539 w 7714416"/>
              <a:gd name="connsiteY23175" fmla="*/ 947683 h 5282095"/>
              <a:gd name="connsiteX23176" fmla="*/ 4670734 w 7714416"/>
              <a:gd name="connsiteY23176" fmla="*/ 947236 h 5282095"/>
              <a:gd name="connsiteX23177" fmla="*/ 4670313 w 7714416"/>
              <a:gd name="connsiteY23177" fmla="*/ 956553 h 5282095"/>
              <a:gd name="connsiteX23178" fmla="*/ 4670590 w 7714416"/>
              <a:gd name="connsiteY23178" fmla="*/ 956627 h 5282095"/>
              <a:gd name="connsiteX23179" fmla="*/ 4670943 w 7714416"/>
              <a:gd name="connsiteY23179" fmla="*/ 957527 h 5282095"/>
              <a:gd name="connsiteX23180" fmla="*/ 4678737 w 7714416"/>
              <a:gd name="connsiteY23180" fmla="*/ 960535 h 5282095"/>
              <a:gd name="connsiteX23181" fmla="*/ 4685392 w 7714416"/>
              <a:gd name="connsiteY23181" fmla="*/ 966688 h 5282095"/>
              <a:gd name="connsiteX23182" fmla="*/ 4676171 w 7714416"/>
              <a:gd name="connsiteY23182" fmla="*/ 967898 h 5282095"/>
              <a:gd name="connsiteX23183" fmla="*/ 4673127 w 7714416"/>
              <a:gd name="connsiteY23183" fmla="*/ 967082 h 5282095"/>
              <a:gd name="connsiteX23184" fmla="*/ 4672106 w 7714416"/>
              <a:gd name="connsiteY23184" fmla="*/ 975319 h 5282095"/>
              <a:gd name="connsiteX23185" fmla="*/ 4670357 w 7714416"/>
              <a:gd name="connsiteY23185" fmla="*/ 978530 h 5282095"/>
              <a:gd name="connsiteX23186" fmla="*/ 4670705 w 7714416"/>
              <a:gd name="connsiteY23186" fmla="*/ 982764 h 5282095"/>
              <a:gd name="connsiteX23187" fmla="*/ 4672337 w 7714416"/>
              <a:gd name="connsiteY23187" fmla="*/ 983316 h 5282095"/>
              <a:gd name="connsiteX23188" fmla="*/ 4673472 w 7714416"/>
              <a:gd name="connsiteY23188" fmla="*/ 983505 h 5282095"/>
              <a:gd name="connsiteX23189" fmla="*/ 4673939 w 7714416"/>
              <a:gd name="connsiteY23189" fmla="*/ 983976 h 5282095"/>
              <a:gd name="connsiteX23190" fmla="*/ 4677421 w 7714416"/>
              <a:gd name="connsiteY23190" fmla="*/ 985369 h 5282095"/>
              <a:gd name="connsiteX23191" fmla="*/ 4686570 w 7714416"/>
              <a:gd name="connsiteY23191" fmla="*/ 988855 h 5282095"/>
              <a:gd name="connsiteX23192" fmla="*/ 4716102 w 7714416"/>
              <a:gd name="connsiteY23192" fmla="*/ 987107 h 5282095"/>
              <a:gd name="connsiteX23193" fmla="*/ 4725546 w 7714416"/>
              <a:gd name="connsiteY23193" fmla="*/ 973998 h 5282095"/>
              <a:gd name="connsiteX23194" fmla="*/ 4760965 w 7714416"/>
              <a:gd name="connsiteY23194" fmla="*/ 983488 h 5282095"/>
              <a:gd name="connsiteX23195" fmla="*/ 4766753 w 7714416"/>
              <a:gd name="connsiteY23195" fmla="*/ 987340 h 5282095"/>
              <a:gd name="connsiteX23196" fmla="*/ 4767699 w 7714416"/>
              <a:gd name="connsiteY23196" fmla="*/ 978278 h 5282095"/>
              <a:gd name="connsiteX23197" fmla="*/ 4768960 w 7714416"/>
              <a:gd name="connsiteY23197" fmla="*/ 976890 h 5282095"/>
              <a:gd name="connsiteX23198" fmla="*/ 4768751 w 7714416"/>
              <a:gd name="connsiteY23198" fmla="*/ 975455 h 5282095"/>
              <a:gd name="connsiteX23199" fmla="*/ 4771612 w 7714416"/>
              <a:gd name="connsiteY23199" fmla="*/ 969206 h 5282095"/>
              <a:gd name="connsiteX23200" fmla="*/ 4773754 w 7714416"/>
              <a:gd name="connsiteY23200" fmla="*/ 965640 h 5282095"/>
              <a:gd name="connsiteX23201" fmla="*/ 4768652 w 7714416"/>
              <a:gd name="connsiteY23201" fmla="*/ 971403 h 5282095"/>
              <a:gd name="connsiteX23202" fmla="*/ 4759560 w 7714416"/>
              <a:gd name="connsiteY23202" fmla="*/ 976557 h 5282095"/>
              <a:gd name="connsiteX23203" fmla="*/ 4759678 w 7714416"/>
              <a:gd name="connsiteY23203" fmla="*/ 972794 h 5282095"/>
              <a:gd name="connsiteX23204" fmla="*/ 4760940 w 7714416"/>
              <a:gd name="connsiteY23204" fmla="*/ 971406 h 5282095"/>
              <a:gd name="connsiteX23205" fmla="*/ 4760368 w 7714416"/>
              <a:gd name="connsiteY23205" fmla="*/ 970219 h 5282095"/>
              <a:gd name="connsiteX23206" fmla="*/ 4761895 w 7714416"/>
              <a:gd name="connsiteY23206" fmla="*/ 970052 h 5282095"/>
              <a:gd name="connsiteX23207" fmla="*/ 4764142 w 7714416"/>
              <a:gd name="connsiteY23207" fmla="*/ 967205 h 5282095"/>
              <a:gd name="connsiteX23208" fmla="*/ 4765906 w 7714416"/>
              <a:gd name="connsiteY23208" fmla="*/ 959512 h 5282095"/>
              <a:gd name="connsiteX23209" fmla="*/ 4773729 w 7714416"/>
              <a:gd name="connsiteY23209" fmla="*/ 953558 h 5282095"/>
              <a:gd name="connsiteX23210" fmla="*/ 4777956 w 7714416"/>
              <a:gd name="connsiteY23210" fmla="*/ 955495 h 5282095"/>
              <a:gd name="connsiteX23211" fmla="*/ 4780173 w 7714416"/>
              <a:gd name="connsiteY23211" fmla="*/ 952754 h 5282095"/>
              <a:gd name="connsiteX23212" fmla="*/ 4784805 w 7714416"/>
              <a:gd name="connsiteY23212" fmla="*/ 949856 h 5282095"/>
              <a:gd name="connsiteX23213" fmla="*/ 4784118 w 7714416"/>
              <a:gd name="connsiteY23213" fmla="*/ 949097 h 5282095"/>
              <a:gd name="connsiteX23214" fmla="*/ 4785013 w 7714416"/>
              <a:gd name="connsiteY23214" fmla="*/ 942437 h 5282095"/>
              <a:gd name="connsiteX23215" fmla="*/ 4792085 w 7714416"/>
              <a:gd name="connsiteY23215" fmla="*/ 942607 h 5282095"/>
              <a:gd name="connsiteX23216" fmla="*/ 4796344 w 7714416"/>
              <a:gd name="connsiteY23216" fmla="*/ 949958 h 5282095"/>
              <a:gd name="connsiteX23217" fmla="*/ 4801381 w 7714416"/>
              <a:gd name="connsiteY23217" fmla="*/ 951078 h 5282095"/>
              <a:gd name="connsiteX23218" fmla="*/ 4808878 w 7714416"/>
              <a:gd name="connsiteY23218" fmla="*/ 956306 h 5282095"/>
              <a:gd name="connsiteX23219" fmla="*/ 4808935 w 7714416"/>
              <a:gd name="connsiteY23219" fmla="*/ 964947 h 5282095"/>
              <a:gd name="connsiteX23220" fmla="*/ 4801486 w 7714416"/>
              <a:gd name="connsiteY23220" fmla="*/ 969505 h 5282095"/>
              <a:gd name="connsiteX23221" fmla="*/ 4803613 w 7714416"/>
              <a:gd name="connsiteY23221" fmla="*/ 970421 h 5282095"/>
              <a:gd name="connsiteX23222" fmla="*/ 4795351 w 7714416"/>
              <a:gd name="connsiteY23222" fmla="*/ 984653 h 5282095"/>
              <a:gd name="connsiteX23223" fmla="*/ 4777254 w 7714416"/>
              <a:gd name="connsiteY23223" fmla="*/ 994638 h 5282095"/>
              <a:gd name="connsiteX23224" fmla="*/ 4785149 w 7714416"/>
              <a:gd name="connsiteY23224" fmla="*/ 1001699 h 5282095"/>
              <a:gd name="connsiteX23225" fmla="*/ 4789917 w 7714416"/>
              <a:gd name="connsiteY23225" fmla="*/ 1004931 h 5282095"/>
              <a:gd name="connsiteX23226" fmla="*/ 4794963 w 7714416"/>
              <a:gd name="connsiteY23226" fmla="*/ 1008238 h 5282095"/>
              <a:gd name="connsiteX23227" fmla="*/ 4792196 w 7714416"/>
              <a:gd name="connsiteY23227" fmla="*/ 1007497 h 5282095"/>
              <a:gd name="connsiteX23228" fmla="*/ 4795973 w 7714416"/>
              <a:gd name="connsiteY23228" fmla="*/ 1010004 h 5282095"/>
              <a:gd name="connsiteX23229" fmla="*/ 4805345 w 7714416"/>
              <a:gd name="connsiteY23229" fmla="*/ 1001590 h 5282095"/>
              <a:gd name="connsiteX23230" fmla="*/ 4808274 w 7714416"/>
              <a:gd name="connsiteY23230" fmla="*/ 1011690 h 5282095"/>
              <a:gd name="connsiteX23231" fmla="*/ 4805538 w 7714416"/>
              <a:gd name="connsiteY23231" fmla="*/ 1016362 h 5282095"/>
              <a:gd name="connsiteX23232" fmla="*/ 4806283 w 7714416"/>
              <a:gd name="connsiteY23232" fmla="*/ 1016906 h 5282095"/>
              <a:gd name="connsiteX23233" fmla="*/ 4807130 w 7714416"/>
              <a:gd name="connsiteY23233" fmla="*/ 1027024 h 5282095"/>
              <a:gd name="connsiteX23234" fmla="*/ 4797561 w 7714416"/>
              <a:gd name="connsiteY23234" fmla="*/ 1023999 h 5282095"/>
              <a:gd name="connsiteX23235" fmla="*/ 4795296 w 7714416"/>
              <a:gd name="connsiteY23235" fmla="*/ 1025808 h 5282095"/>
              <a:gd name="connsiteX23236" fmla="*/ 4786360 w 7714416"/>
              <a:gd name="connsiteY23236" fmla="*/ 1029278 h 5282095"/>
              <a:gd name="connsiteX23237" fmla="*/ 4789633 w 7714416"/>
              <a:gd name="connsiteY23237" fmla="*/ 1020380 h 5282095"/>
              <a:gd name="connsiteX23238" fmla="*/ 4781267 w 7714416"/>
              <a:gd name="connsiteY23238" fmla="*/ 1016184 h 5282095"/>
              <a:gd name="connsiteX23239" fmla="*/ 4785684 w 7714416"/>
              <a:gd name="connsiteY23239" fmla="*/ 1009662 h 5282095"/>
              <a:gd name="connsiteX23240" fmla="*/ 4778637 w 7714416"/>
              <a:gd name="connsiteY23240" fmla="*/ 1003863 h 5282095"/>
              <a:gd name="connsiteX23241" fmla="*/ 4778149 w 7714416"/>
              <a:gd name="connsiteY23241" fmla="*/ 1005688 h 5282095"/>
              <a:gd name="connsiteX23242" fmla="*/ 4778928 w 7714416"/>
              <a:gd name="connsiteY23242" fmla="*/ 1043732 h 5282095"/>
              <a:gd name="connsiteX23243" fmla="*/ 4783675 w 7714416"/>
              <a:gd name="connsiteY23243" fmla="*/ 1049259 h 5282095"/>
              <a:gd name="connsiteX23244" fmla="*/ 4784095 w 7714416"/>
              <a:gd name="connsiteY23244" fmla="*/ 1048796 h 5282095"/>
              <a:gd name="connsiteX23245" fmla="*/ 4786901 w 7714416"/>
              <a:gd name="connsiteY23245" fmla="*/ 1048284 h 5282095"/>
              <a:gd name="connsiteX23246" fmla="*/ 4790344 w 7714416"/>
              <a:gd name="connsiteY23246" fmla="*/ 1050931 h 5282095"/>
              <a:gd name="connsiteX23247" fmla="*/ 4792231 w 7714416"/>
              <a:gd name="connsiteY23247" fmla="*/ 1053852 h 5282095"/>
              <a:gd name="connsiteX23248" fmla="*/ 4789241 w 7714416"/>
              <a:gd name="connsiteY23248" fmla="*/ 1056156 h 5282095"/>
              <a:gd name="connsiteX23249" fmla="*/ 4790337 w 7714416"/>
              <a:gd name="connsiteY23249" fmla="*/ 1057600 h 5282095"/>
              <a:gd name="connsiteX23250" fmla="*/ 4796608 w 7714416"/>
              <a:gd name="connsiteY23250" fmla="*/ 1057440 h 5282095"/>
              <a:gd name="connsiteX23251" fmla="*/ 4794577 w 7714416"/>
              <a:gd name="connsiteY23251" fmla="*/ 1055055 h 5282095"/>
              <a:gd name="connsiteX23252" fmla="*/ 4794988 w 7714416"/>
              <a:gd name="connsiteY23252" fmla="*/ 1038031 h 5282095"/>
              <a:gd name="connsiteX23253" fmla="*/ 4804848 w 7714416"/>
              <a:gd name="connsiteY23253" fmla="*/ 1036648 h 5282095"/>
              <a:gd name="connsiteX23254" fmla="*/ 4804377 w 7714416"/>
              <a:gd name="connsiteY23254" fmla="*/ 1057222 h 5282095"/>
              <a:gd name="connsiteX23255" fmla="*/ 4802677 w 7714416"/>
              <a:gd name="connsiteY23255" fmla="*/ 1058031 h 5282095"/>
              <a:gd name="connsiteX23256" fmla="*/ 4806609 w 7714416"/>
              <a:gd name="connsiteY23256" fmla="*/ 1058855 h 5282095"/>
              <a:gd name="connsiteX23257" fmla="*/ 4841178 w 7714416"/>
              <a:gd name="connsiteY23257" fmla="*/ 1084793 h 5282095"/>
              <a:gd name="connsiteX23258" fmla="*/ 4844405 w 7714416"/>
              <a:gd name="connsiteY23258" fmla="*/ 1083817 h 5282095"/>
              <a:gd name="connsiteX23259" fmla="*/ 4849480 w 7714416"/>
              <a:gd name="connsiteY23259" fmla="*/ 1087017 h 5282095"/>
              <a:gd name="connsiteX23260" fmla="*/ 4848502 w 7714416"/>
              <a:gd name="connsiteY23260" fmla="*/ 1090666 h 5282095"/>
              <a:gd name="connsiteX23261" fmla="*/ 4839712 w 7714416"/>
              <a:gd name="connsiteY23261" fmla="*/ 1090265 h 5282095"/>
              <a:gd name="connsiteX23262" fmla="*/ 4841990 w 7714416"/>
              <a:gd name="connsiteY23262" fmla="*/ 1092830 h 5282095"/>
              <a:gd name="connsiteX23263" fmla="*/ 4851024 w 7714416"/>
              <a:gd name="connsiteY23263" fmla="*/ 1096746 h 5282095"/>
              <a:gd name="connsiteX23264" fmla="*/ 4854686 w 7714416"/>
              <a:gd name="connsiteY23264" fmla="*/ 1099682 h 5282095"/>
              <a:gd name="connsiteX23265" fmla="*/ 4855574 w 7714416"/>
              <a:gd name="connsiteY23265" fmla="*/ 1099690 h 5282095"/>
              <a:gd name="connsiteX23266" fmla="*/ 4867691 w 7714416"/>
              <a:gd name="connsiteY23266" fmla="*/ 1103167 h 5282095"/>
              <a:gd name="connsiteX23267" fmla="*/ 4870433 w 7714416"/>
              <a:gd name="connsiteY23267" fmla="*/ 1100682 h 5282095"/>
              <a:gd name="connsiteX23268" fmla="*/ 4873089 w 7714416"/>
              <a:gd name="connsiteY23268" fmla="*/ 1098518 h 5282095"/>
              <a:gd name="connsiteX23269" fmla="*/ 4872040 w 7714416"/>
              <a:gd name="connsiteY23269" fmla="*/ 1098008 h 5282095"/>
              <a:gd name="connsiteX23270" fmla="*/ 4871094 w 7714416"/>
              <a:gd name="connsiteY23270" fmla="*/ 1098214 h 5282095"/>
              <a:gd name="connsiteX23271" fmla="*/ 4867519 w 7714416"/>
              <a:gd name="connsiteY23271" fmla="*/ 1094956 h 5282095"/>
              <a:gd name="connsiteX23272" fmla="*/ 4867580 w 7714416"/>
              <a:gd name="connsiteY23272" fmla="*/ 1091408 h 5282095"/>
              <a:gd name="connsiteX23273" fmla="*/ 4877545 w 7714416"/>
              <a:gd name="connsiteY23273" fmla="*/ 1090742 h 5282095"/>
              <a:gd name="connsiteX23274" fmla="*/ 4877312 w 7714416"/>
              <a:gd name="connsiteY23274" fmla="*/ 1094934 h 5282095"/>
              <a:gd name="connsiteX23275" fmla="*/ 4875504 w 7714416"/>
              <a:gd name="connsiteY23275" fmla="*/ 1098360 h 5282095"/>
              <a:gd name="connsiteX23276" fmla="*/ 4878386 w 7714416"/>
              <a:gd name="connsiteY23276" fmla="*/ 1098673 h 5282095"/>
              <a:gd name="connsiteX23277" fmla="*/ 4905826 w 7714416"/>
              <a:gd name="connsiteY23277" fmla="*/ 1115800 h 5282095"/>
              <a:gd name="connsiteX23278" fmla="*/ 4906056 w 7714416"/>
              <a:gd name="connsiteY23278" fmla="*/ 1114942 h 5282095"/>
              <a:gd name="connsiteX23279" fmla="*/ 4902315 w 7714416"/>
              <a:gd name="connsiteY23279" fmla="*/ 1114515 h 5282095"/>
              <a:gd name="connsiteX23280" fmla="*/ 4888049 w 7714416"/>
              <a:gd name="connsiteY23280" fmla="*/ 1103561 h 5282095"/>
              <a:gd name="connsiteX23281" fmla="*/ 4890525 w 7714416"/>
              <a:gd name="connsiteY23281" fmla="*/ 1099855 h 5282095"/>
              <a:gd name="connsiteX23282" fmla="*/ 4899412 w 7714416"/>
              <a:gd name="connsiteY23282" fmla="*/ 1098786 h 5282095"/>
              <a:gd name="connsiteX23283" fmla="*/ 4900853 w 7714416"/>
              <a:gd name="connsiteY23283" fmla="*/ 1098942 h 5282095"/>
              <a:gd name="connsiteX23284" fmla="*/ 4897155 w 7714416"/>
              <a:gd name="connsiteY23284" fmla="*/ 1093926 h 5282095"/>
              <a:gd name="connsiteX23285" fmla="*/ 4891621 w 7714416"/>
              <a:gd name="connsiteY23285" fmla="*/ 1092443 h 5282095"/>
              <a:gd name="connsiteX23286" fmla="*/ 4889314 w 7714416"/>
              <a:gd name="connsiteY23286" fmla="*/ 1089985 h 5282095"/>
              <a:gd name="connsiteX23287" fmla="*/ 4887525 w 7714416"/>
              <a:gd name="connsiteY23287" fmla="*/ 1085597 h 5282095"/>
              <a:gd name="connsiteX23288" fmla="*/ 4896315 w 7714416"/>
              <a:gd name="connsiteY23288" fmla="*/ 1085996 h 5282095"/>
              <a:gd name="connsiteX23289" fmla="*/ 4903850 w 7714416"/>
              <a:gd name="connsiteY23289" fmla="*/ 1089971 h 5282095"/>
              <a:gd name="connsiteX23290" fmla="*/ 4906617 w 7714416"/>
              <a:gd name="connsiteY23290" fmla="*/ 1090711 h 5282095"/>
              <a:gd name="connsiteX23291" fmla="*/ 4909872 w 7714416"/>
              <a:gd name="connsiteY23291" fmla="*/ 1089629 h 5282095"/>
              <a:gd name="connsiteX23292" fmla="*/ 4913129 w 7714416"/>
              <a:gd name="connsiteY23292" fmla="*/ 1088546 h 5282095"/>
              <a:gd name="connsiteX23293" fmla="*/ 4942690 w 7714416"/>
              <a:gd name="connsiteY23293" fmla="*/ 1086693 h 5282095"/>
              <a:gd name="connsiteX23294" fmla="*/ 4935538 w 7714416"/>
              <a:gd name="connsiteY23294" fmla="*/ 1089031 h 5282095"/>
              <a:gd name="connsiteX23295" fmla="*/ 4939839 w 7714416"/>
              <a:gd name="connsiteY23295" fmla="*/ 1091794 h 5282095"/>
              <a:gd name="connsiteX23296" fmla="*/ 4939089 w 7714416"/>
              <a:gd name="connsiteY23296" fmla="*/ 1097918 h 5282095"/>
              <a:gd name="connsiteX23297" fmla="*/ 4937579 w 7714416"/>
              <a:gd name="connsiteY23297" fmla="*/ 1099123 h 5282095"/>
              <a:gd name="connsiteX23298" fmla="*/ 4928239 w 7714416"/>
              <a:gd name="connsiteY23298" fmla="*/ 1104096 h 5282095"/>
              <a:gd name="connsiteX23299" fmla="*/ 4920718 w 7714416"/>
              <a:gd name="connsiteY23299" fmla="*/ 1104496 h 5282095"/>
              <a:gd name="connsiteX23300" fmla="*/ 4922806 w 7714416"/>
              <a:gd name="connsiteY23300" fmla="*/ 1106664 h 5282095"/>
              <a:gd name="connsiteX23301" fmla="*/ 4922852 w 7714416"/>
              <a:gd name="connsiteY23301" fmla="*/ 1116453 h 5282095"/>
              <a:gd name="connsiteX23302" fmla="*/ 4922363 w 7714416"/>
              <a:gd name="connsiteY23302" fmla="*/ 1118277 h 5282095"/>
              <a:gd name="connsiteX23303" fmla="*/ 4916129 w 7714416"/>
              <a:gd name="connsiteY23303" fmla="*/ 1120516 h 5282095"/>
              <a:gd name="connsiteX23304" fmla="*/ 4931998 w 7714416"/>
              <a:gd name="connsiteY23304" fmla="*/ 1132128 h 5282095"/>
              <a:gd name="connsiteX23305" fmla="*/ 4927355 w 7714416"/>
              <a:gd name="connsiteY23305" fmla="*/ 1127319 h 5282095"/>
              <a:gd name="connsiteX23306" fmla="*/ 4932307 w 7714416"/>
              <a:gd name="connsiteY23306" fmla="*/ 1128761 h 5282095"/>
              <a:gd name="connsiteX23307" fmla="*/ 4936551 w 7714416"/>
              <a:gd name="connsiteY23307" fmla="*/ 1131738 h 5282095"/>
              <a:gd name="connsiteX23308" fmla="*/ 4947155 w 7714416"/>
              <a:gd name="connsiteY23308" fmla="*/ 1130900 h 5282095"/>
              <a:gd name="connsiteX23309" fmla="*/ 4953347 w 7714416"/>
              <a:gd name="connsiteY23309" fmla="*/ 1133249 h 5282095"/>
              <a:gd name="connsiteX23310" fmla="*/ 4950853 w 7714416"/>
              <a:gd name="connsiteY23310" fmla="*/ 1144770 h 5282095"/>
              <a:gd name="connsiteX23311" fmla="*/ 4948934 w 7714416"/>
              <a:gd name="connsiteY23311" fmla="*/ 1145291 h 5282095"/>
              <a:gd name="connsiteX23312" fmla="*/ 4964926 w 7714416"/>
              <a:gd name="connsiteY23312" fmla="*/ 1158661 h 5282095"/>
              <a:gd name="connsiteX23313" fmla="*/ 4969992 w 7714416"/>
              <a:gd name="connsiteY23313" fmla="*/ 1159674 h 5282095"/>
              <a:gd name="connsiteX23314" fmla="*/ 4968558 w 7714416"/>
              <a:gd name="connsiteY23314" fmla="*/ 1161704 h 5282095"/>
              <a:gd name="connsiteX23315" fmla="*/ 4969111 w 7714416"/>
              <a:gd name="connsiteY23315" fmla="*/ 1161852 h 5282095"/>
              <a:gd name="connsiteX23316" fmla="*/ 4990482 w 7714416"/>
              <a:gd name="connsiteY23316" fmla="*/ 1178390 h 5282095"/>
              <a:gd name="connsiteX23317" fmla="*/ 4990540 w 7714416"/>
              <a:gd name="connsiteY23317" fmla="*/ 1178174 h 5282095"/>
              <a:gd name="connsiteX23318" fmla="*/ 5011526 w 7714416"/>
              <a:gd name="connsiteY23318" fmla="*/ 1179543 h 5282095"/>
              <a:gd name="connsiteX23319" fmla="*/ 5016179 w 7714416"/>
              <a:gd name="connsiteY23319" fmla="*/ 1174350 h 5282095"/>
              <a:gd name="connsiteX23320" fmla="*/ 5016208 w 7714416"/>
              <a:gd name="connsiteY23320" fmla="*/ 1174243 h 5282095"/>
              <a:gd name="connsiteX23321" fmla="*/ 5015849 w 7714416"/>
              <a:gd name="connsiteY23321" fmla="*/ 1171156 h 5282095"/>
              <a:gd name="connsiteX23322" fmla="*/ 5016449 w 7714416"/>
              <a:gd name="connsiteY23322" fmla="*/ 1172237 h 5282095"/>
              <a:gd name="connsiteX23323" fmla="*/ 5014969 w 7714416"/>
              <a:gd name="connsiteY23323" fmla="*/ 1164480 h 5282095"/>
              <a:gd name="connsiteX23324" fmla="*/ 5019586 w 7714416"/>
              <a:gd name="connsiteY23324" fmla="*/ 1166062 h 5282095"/>
              <a:gd name="connsiteX23325" fmla="*/ 5023144 w 7714416"/>
              <a:gd name="connsiteY23325" fmla="*/ 1168281 h 5282095"/>
              <a:gd name="connsiteX23326" fmla="*/ 5022404 w 7714416"/>
              <a:gd name="connsiteY23326" fmla="*/ 1164402 h 5282095"/>
              <a:gd name="connsiteX23327" fmla="*/ 5041199 w 7714416"/>
              <a:gd name="connsiteY23327" fmla="*/ 1162883 h 5282095"/>
              <a:gd name="connsiteX23328" fmla="*/ 5042657 w 7714416"/>
              <a:gd name="connsiteY23328" fmla="*/ 1164079 h 5282095"/>
              <a:gd name="connsiteX23329" fmla="*/ 5047638 w 7714416"/>
              <a:gd name="connsiteY23329" fmla="*/ 1165414 h 5282095"/>
              <a:gd name="connsiteX23330" fmla="*/ 5061527 w 7714416"/>
              <a:gd name="connsiteY23330" fmla="*/ 1163385 h 5282095"/>
              <a:gd name="connsiteX23331" fmla="*/ 5083387 w 7714416"/>
              <a:gd name="connsiteY23331" fmla="*/ 1186953 h 5282095"/>
              <a:gd name="connsiteX23332" fmla="*/ 5086081 w 7714416"/>
              <a:gd name="connsiteY23332" fmla="*/ 1192390 h 5282095"/>
              <a:gd name="connsiteX23333" fmla="*/ 5086254 w 7714416"/>
              <a:gd name="connsiteY23333" fmla="*/ 1191746 h 5282095"/>
              <a:gd name="connsiteX23334" fmla="*/ 5122667 w 7714416"/>
              <a:gd name="connsiteY23334" fmla="*/ 1198628 h 5282095"/>
              <a:gd name="connsiteX23335" fmla="*/ 5129279 w 7714416"/>
              <a:gd name="connsiteY23335" fmla="*/ 1200514 h 5282095"/>
              <a:gd name="connsiteX23336" fmla="*/ 5128841 w 7714416"/>
              <a:gd name="connsiteY23336" fmla="*/ 1199937 h 5282095"/>
              <a:gd name="connsiteX23337" fmla="*/ 5128310 w 7714416"/>
              <a:gd name="connsiteY23337" fmla="*/ 1197495 h 5282095"/>
              <a:gd name="connsiteX23338" fmla="*/ 5118463 w 7714416"/>
              <a:gd name="connsiteY23338" fmla="*/ 1194396 h 5282095"/>
              <a:gd name="connsiteX23339" fmla="*/ 5101977 w 7714416"/>
              <a:gd name="connsiteY23339" fmla="*/ 1171809 h 5282095"/>
              <a:gd name="connsiteX23340" fmla="*/ 5103690 w 7714416"/>
              <a:gd name="connsiteY23340" fmla="*/ 1166518 h 5282095"/>
              <a:gd name="connsiteX23341" fmla="*/ 5103443 w 7714416"/>
              <a:gd name="connsiteY23341" fmla="*/ 1166337 h 5282095"/>
              <a:gd name="connsiteX23342" fmla="*/ 5104571 w 7714416"/>
              <a:gd name="connsiteY23342" fmla="*/ 1164339 h 5282095"/>
              <a:gd name="connsiteX23343" fmla="*/ 5105031 w 7714416"/>
              <a:gd name="connsiteY23343" fmla="*/ 1162622 h 5282095"/>
              <a:gd name="connsiteX23344" fmla="*/ 5114022 w 7714416"/>
              <a:gd name="connsiteY23344" fmla="*/ 1153416 h 5282095"/>
              <a:gd name="connsiteX23345" fmla="*/ 5108525 w 7714416"/>
              <a:gd name="connsiteY23345" fmla="*/ 1145157 h 5282095"/>
              <a:gd name="connsiteX23346" fmla="*/ 5133909 w 7714416"/>
              <a:gd name="connsiteY23346" fmla="*/ 1130109 h 5282095"/>
              <a:gd name="connsiteX23347" fmla="*/ 5138118 w 7714416"/>
              <a:gd name="connsiteY23347" fmla="*/ 1131006 h 5282095"/>
              <a:gd name="connsiteX23348" fmla="*/ 5136874 w 7714416"/>
              <a:gd name="connsiteY23348" fmla="*/ 1124578 h 5282095"/>
              <a:gd name="connsiteX23349" fmla="*/ 5139914 w 7714416"/>
              <a:gd name="connsiteY23349" fmla="*/ 1119874 h 5282095"/>
              <a:gd name="connsiteX23350" fmla="*/ 5145164 w 7714416"/>
              <a:gd name="connsiteY23350" fmla="*/ 1119095 h 5282095"/>
              <a:gd name="connsiteX23351" fmla="*/ 5146311 w 7714416"/>
              <a:gd name="connsiteY23351" fmla="*/ 1118137 h 5282095"/>
              <a:gd name="connsiteX23352" fmla="*/ 5150605 w 7714416"/>
              <a:gd name="connsiteY23352" fmla="*/ 1118712 h 5282095"/>
              <a:gd name="connsiteX23353" fmla="*/ 5153189 w 7714416"/>
              <a:gd name="connsiteY23353" fmla="*/ 1121245 h 5282095"/>
              <a:gd name="connsiteX23354" fmla="*/ 5153437 w 7714416"/>
              <a:gd name="connsiteY23354" fmla="*/ 1121427 h 5282095"/>
              <a:gd name="connsiteX23355" fmla="*/ 5156672 w 7714416"/>
              <a:gd name="connsiteY23355" fmla="*/ 1122638 h 5282095"/>
              <a:gd name="connsiteX23356" fmla="*/ 5157260 w 7714416"/>
              <a:gd name="connsiteY23356" fmla="*/ 1124865 h 5282095"/>
              <a:gd name="connsiteX23357" fmla="*/ 5162137 w 7714416"/>
              <a:gd name="connsiteY23357" fmla="*/ 1125483 h 5282095"/>
              <a:gd name="connsiteX23358" fmla="*/ 5169001 w 7714416"/>
              <a:gd name="connsiteY23358" fmla="*/ 1124217 h 5282095"/>
              <a:gd name="connsiteX23359" fmla="*/ 5170222 w 7714416"/>
              <a:gd name="connsiteY23359" fmla="*/ 1124084 h 5282095"/>
              <a:gd name="connsiteX23360" fmla="*/ 5173338 w 7714416"/>
              <a:gd name="connsiteY23360" fmla="*/ 1120204 h 5282095"/>
              <a:gd name="connsiteX23361" fmla="*/ 5180054 w 7714416"/>
              <a:gd name="connsiteY23361" fmla="*/ 1122809 h 5282095"/>
              <a:gd name="connsiteX23362" fmla="*/ 5180205 w 7714416"/>
              <a:gd name="connsiteY23362" fmla="*/ 1124459 h 5282095"/>
              <a:gd name="connsiteX23363" fmla="*/ 5187066 w 7714416"/>
              <a:gd name="connsiteY23363" fmla="*/ 1126527 h 5282095"/>
              <a:gd name="connsiteX23364" fmla="*/ 5186594 w 7714416"/>
              <a:gd name="connsiteY23364" fmla="*/ 1138247 h 5282095"/>
              <a:gd name="connsiteX23365" fmla="*/ 5164692 w 7714416"/>
              <a:gd name="connsiteY23365" fmla="*/ 1145832 h 5282095"/>
              <a:gd name="connsiteX23366" fmla="*/ 5160817 w 7714416"/>
              <a:gd name="connsiteY23366" fmla="*/ 1144794 h 5282095"/>
              <a:gd name="connsiteX23367" fmla="*/ 5163638 w 7714416"/>
              <a:gd name="connsiteY23367" fmla="*/ 1148656 h 5282095"/>
              <a:gd name="connsiteX23368" fmla="*/ 5163973 w 7714416"/>
              <a:gd name="connsiteY23368" fmla="*/ 1148516 h 5282095"/>
              <a:gd name="connsiteX23369" fmla="*/ 5166966 w 7714416"/>
              <a:gd name="connsiteY23369" fmla="*/ 1160588 h 5282095"/>
              <a:gd name="connsiteX23370" fmla="*/ 5166823 w 7714416"/>
              <a:gd name="connsiteY23370" fmla="*/ 1161124 h 5282095"/>
              <a:gd name="connsiteX23371" fmla="*/ 5171360 w 7714416"/>
              <a:gd name="connsiteY23371" fmla="*/ 1165215 h 5282095"/>
              <a:gd name="connsiteX23372" fmla="*/ 5174027 w 7714416"/>
              <a:gd name="connsiteY23372" fmla="*/ 1170759 h 5282095"/>
              <a:gd name="connsiteX23373" fmla="*/ 5174325 w 7714416"/>
              <a:gd name="connsiteY23373" fmla="*/ 1177394 h 5282095"/>
              <a:gd name="connsiteX23374" fmla="*/ 5177721 w 7714416"/>
              <a:gd name="connsiteY23374" fmla="*/ 1179109 h 5282095"/>
              <a:gd name="connsiteX23375" fmla="*/ 5165385 w 7714416"/>
              <a:gd name="connsiteY23375" fmla="*/ 1193054 h 5282095"/>
              <a:gd name="connsiteX23376" fmla="*/ 5164115 w 7714416"/>
              <a:gd name="connsiteY23376" fmla="*/ 1192254 h 5282095"/>
              <a:gd name="connsiteX23377" fmla="*/ 5156562 w 7714416"/>
              <a:gd name="connsiteY23377" fmla="*/ 1196095 h 5282095"/>
              <a:gd name="connsiteX23378" fmla="*/ 5142835 w 7714416"/>
              <a:gd name="connsiteY23378" fmla="*/ 1198627 h 5282095"/>
              <a:gd name="connsiteX23379" fmla="*/ 5134713 w 7714416"/>
              <a:gd name="connsiteY23379" fmla="*/ 1197946 h 5282095"/>
              <a:gd name="connsiteX23380" fmla="*/ 5134961 w 7714416"/>
              <a:gd name="connsiteY23380" fmla="*/ 1198127 h 5282095"/>
              <a:gd name="connsiteX23381" fmla="*/ 5133250 w 7714416"/>
              <a:gd name="connsiteY23381" fmla="*/ 1200083 h 5282095"/>
              <a:gd name="connsiteX23382" fmla="*/ 5132018 w 7714416"/>
              <a:gd name="connsiteY23382" fmla="*/ 1201363 h 5282095"/>
              <a:gd name="connsiteX23383" fmla="*/ 5133125 w 7714416"/>
              <a:gd name="connsiteY23383" fmla="*/ 1201659 h 5282095"/>
              <a:gd name="connsiteX23384" fmla="*/ 5138026 w 7714416"/>
              <a:gd name="connsiteY23384" fmla="*/ 1205503 h 5282095"/>
              <a:gd name="connsiteX23385" fmla="*/ 5141340 w 7714416"/>
              <a:gd name="connsiteY23385" fmla="*/ 1204206 h 5282095"/>
              <a:gd name="connsiteX23386" fmla="*/ 5146248 w 7714416"/>
              <a:gd name="connsiteY23386" fmla="*/ 1201382 h 5282095"/>
              <a:gd name="connsiteX23387" fmla="*/ 5151096 w 7714416"/>
              <a:gd name="connsiteY23387" fmla="*/ 1202105 h 5282095"/>
              <a:gd name="connsiteX23388" fmla="*/ 5145407 w 7714416"/>
              <a:gd name="connsiteY23388" fmla="*/ 1211161 h 5282095"/>
              <a:gd name="connsiteX23389" fmla="*/ 5134152 w 7714416"/>
              <a:gd name="connsiteY23389" fmla="*/ 1213320 h 5282095"/>
              <a:gd name="connsiteX23390" fmla="*/ 5132457 w 7714416"/>
              <a:gd name="connsiteY23390" fmla="*/ 1210796 h 5282095"/>
              <a:gd name="connsiteX23391" fmla="*/ 5133319 w 7714416"/>
              <a:gd name="connsiteY23391" fmla="*/ 1207577 h 5282095"/>
              <a:gd name="connsiteX23392" fmla="*/ 5137969 w 7714416"/>
              <a:gd name="connsiteY23392" fmla="*/ 1205718 h 5282095"/>
              <a:gd name="connsiteX23393" fmla="*/ 5116080 w 7714416"/>
              <a:gd name="connsiteY23393" fmla="*/ 1208823 h 5282095"/>
              <a:gd name="connsiteX23394" fmla="*/ 5103216 w 7714416"/>
              <a:gd name="connsiteY23394" fmla="*/ 1208136 h 5282095"/>
              <a:gd name="connsiteX23395" fmla="*/ 5094943 w 7714416"/>
              <a:gd name="connsiteY23395" fmla="*/ 1205804 h 5282095"/>
              <a:gd name="connsiteX23396" fmla="*/ 5098507 w 7714416"/>
              <a:gd name="connsiteY23396" fmla="*/ 1210210 h 5282095"/>
              <a:gd name="connsiteX23397" fmla="*/ 5081040 w 7714416"/>
              <a:gd name="connsiteY23397" fmla="*/ 1221170 h 5282095"/>
              <a:gd name="connsiteX23398" fmla="*/ 5084604 w 7714416"/>
              <a:gd name="connsiteY23398" fmla="*/ 1225574 h 5282095"/>
              <a:gd name="connsiteX23399" fmla="*/ 5095165 w 7714416"/>
              <a:gd name="connsiteY23399" fmla="*/ 1229324 h 5282095"/>
              <a:gd name="connsiteX23400" fmla="*/ 5120126 w 7714416"/>
              <a:gd name="connsiteY23400" fmla="*/ 1226928 h 5282095"/>
              <a:gd name="connsiteX23401" fmla="*/ 5133527 w 7714416"/>
              <a:gd name="connsiteY23401" fmla="*/ 1235578 h 5282095"/>
              <a:gd name="connsiteX23402" fmla="*/ 5136908 w 7714416"/>
              <a:gd name="connsiteY23402" fmla="*/ 1232919 h 5282095"/>
              <a:gd name="connsiteX23403" fmla="*/ 5140793 w 7714416"/>
              <a:gd name="connsiteY23403" fmla="*/ 1232810 h 5282095"/>
              <a:gd name="connsiteX23404" fmla="*/ 5143693 w 7714416"/>
              <a:gd name="connsiteY23404" fmla="*/ 1234162 h 5282095"/>
              <a:gd name="connsiteX23405" fmla="*/ 5144692 w 7714416"/>
              <a:gd name="connsiteY23405" fmla="*/ 1237075 h 5282095"/>
              <a:gd name="connsiteX23406" fmla="*/ 5143207 w 7714416"/>
              <a:gd name="connsiteY23406" fmla="*/ 1241508 h 5282095"/>
              <a:gd name="connsiteX23407" fmla="*/ 5147099 w 7714416"/>
              <a:gd name="connsiteY23407" fmla="*/ 1243585 h 5282095"/>
              <a:gd name="connsiteX23408" fmla="*/ 5148407 w 7714416"/>
              <a:gd name="connsiteY23408" fmla="*/ 1243131 h 5282095"/>
              <a:gd name="connsiteX23409" fmla="*/ 5153176 w 7714416"/>
              <a:gd name="connsiteY23409" fmla="*/ 1246363 h 5282095"/>
              <a:gd name="connsiteX23410" fmla="*/ 5153586 w 7714416"/>
              <a:gd name="connsiteY23410" fmla="*/ 1247049 h 5282095"/>
              <a:gd name="connsiteX23411" fmla="*/ 5164240 w 7714416"/>
              <a:gd name="connsiteY23411" fmla="*/ 1252664 h 5282095"/>
              <a:gd name="connsiteX23412" fmla="*/ 5165077 w 7714416"/>
              <a:gd name="connsiteY23412" fmla="*/ 1255072 h 5282095"/>
              <a:gd name="connsiteX23413" fmla="*/ 5165355 w 7714416"/>
              <a:gd name="connsiteY23413" fmla="*/ 1255147 h 5282095"/>
              <a:gd name="connsiteX23414" fmla="*/ 5172344 w 7714416"/>
              <a:gd name="connsiteY23414" fmla="*/ 1261159 h 5282095"/>
              <a:gd name="connsiteX23415" fmla="*/ 5169038 w 7714416"/>
              <a:gd name="connsiteY23415" fmla="*/ 1264643 h 5282095"/>
              <a:gd name="connsiteX23416" fmla="*/ 5173073 w 7714416"/>
              <a:gd name="connsiteY23416" fmla="*/ 1275040 h 5282095"/>
              <a:gd name="connsiteX23417" fmla="*/ 5173968 w 7714416"/>
              <a:gd name="connsiteY23417" fmla="*/ 1277235 h 5282095"/>
              <a:gd name="connsiteX23418" fmla="*/ 5177235 w 7714416"/>
              <a:gd name="connsiteY23418" fmla="*/ 1275006 h 5282095"/>
              <a:gd name="connsiteX23419" fmla="*/ 5187437 w 7714416"/>
              <a:gd name="connsiteY23419" fmla="*/ 1275669 h 5282095"/>
              <a:gd name="connsiteX23420" fmla="*/ 5197578 w 7714416"/>
              <a:gd name="connsiteY23420" fmla="*/ 1279881 h 5282095"/>
              <a:gd name="connsiteX23421" fmla="*/ 5190653 w 7714416"/>
              <a:gd name="connsiteY23421" fmla="*/ 1284696 h 5282095"/>
              <a:gd name="connsiteX23422" fmla="*/ 5175768 w 7714416"/>
              <a:gd name="connsiteY23422" fmla="*/ 1280478 h 5282095"/>
              <a:gd name="connsiteX23423" fmla="*/ 5174377 w 7714416"/>
              <a:gd name="connsiteY23423" fmla="*/ 1277920 h 5282095"/>
              <a:gd name="connsiteX23424" fmla="*/ 5176624 w 7714416"/>
              <a:gd name="connsiteY23424" fmla="*/ 1283927 h 5282095"/>
              <a:gd name="connsiteX23425" fmla="*/ 5181823 w 7714416"/>
              <a:gd name="connsiteY23425" fmla="*/ 1285550 h 5282095"/>
              <a:gd name="connsiteX23426" fmla="*/ 5192112 w 7714416"/>
              <a:gd name="connsiteY23426" fmla="*/ 1285892 h 5282095"/>
              <a:gd name="connsiteX23427" fmla="*/ 5197368 w 7714416"/>
              <a:gd name="connsiteY23427" fmla="*/ 1287301 h 5282095"/>
              <a:gd name="connsiteX23428" fmla="*/ 5196420 w 7714416"/>
              <a:gd name="connsiteY23428" fmla="*/ 1290841 h 5282095"/>
              <a:gd name="connsiteX23429" fmla="*/ 5182560 w 7714416"/>
              <a:gd name="connsiteY23429" fmla="*/ 1292763 h 5282095"/>
              <a:gd name="connsiteX23430" fmla="*/ 5179879 w 7714416"/>
              <a:gd name="connsiteY23430" fmla="*/ 1291699 h 5282095"/>
              <a:gd name="connsiteX23431" fmla="*/ 5182154 w 7714416"/>
              <a:gd name="connsiteY23431" fmla="*/ 1297599 h 5282095"/>
              <a:gd name="connsiteX23432" fmla="*/ 5165019 w 7714416"/>
              <a:gd name="connsiteY23432" fmla="*/ 1317273 h 5282095"/>
              <a:gd name="connsiteX23433" fmla="*/ 5163337 w 7714416"/>
              <a:gd name="connsiteY23433" fmla="*/ 1319122 h 5282095"/>
              <a:gd name="connsiteX23434" fmla="*/ 5167075 w 7714416"/>
              <a:gd name="connsiteY23434" fmla="*/ 1322884 h 5282095"/>
              <a:gd name="connsiteX23435" fmla="*/ 5173234 w 7714416"/>
              <a:gd name="connsiteY23435" fmla="*/ 1328674 h 5282095"/>
              <a:gd name="connsiteX23436" fmla="*/ 5174456 w 7714416"/>
              <a:gd name="connsiteY23436" fmla="*/ 1328541 h 5282095"/>
              <a:gd name="connsiteX23437" fmla="*/ 5186436 w 7714416"/>
              <a:gd name="connsiteY23437" fmla="*/ 1334741 h 5282095"/>
              <a:gd name="connsiteX23438" fmla="*/ 5182415 w 7714416"/>
              <a:gd name="connsiteY23438" fmla="*/ 1337574 h 5282095"/>
              <a:gd name="connsiteX23439" fmla="*/ 5185743 w 7714416"/>
              <a:gd name="connsiteY23439" fmla="*/ 1340651 h 5282095"/>
              <a:gd name="connsiteX23440" fmla="*/ 5175358 w 7714416"/>
              <a:gd name="connsiteY23440" fmla="*/ 1341779 h 5282095"/>
              <a:gd name="connsiteX23441" fmla="*/ 5172781 w 7714416"/>
              <a:gd name="connsiteY23441" fmla="*/ 1341433 h 5282095"/>
              <a:gd name="connsiteX23442" fmla="*/ 5174973 w 7714416"/>
              <a:gd name="connsiteY23442" fmla="*/ 1344320 h 5282095"/>
              <a:gd name="connsiteX23443" fmla="*/ 5172835 w 7714416"/>
              <a:gd name="connsiteY23443" fmla="*/ 1344552 h 5282095"/>
              <a:gd name="connsiteX23444" fmla="*/ 5172996 w 7714416"/>
              <a:gd name="connsiteY23444" fmla="*/ 1345056 h 5282095"/>
              <a:gd name="connsiteX23445" fmla="*/ 5183281 w 7714416"/>
              <a:gd name="connsiteY23445" fmla="*/ 1348731 h 5282095"/>
              <a:gd name="connsiteX23446" fmla="*/ 5183120 w 7714416"/>
              <a:gd name="connsiteY23446" fmla="*/ 1348228 h 5282095"/>
              <a:gd name="connsiteX23447" fmla="*/ 5190425 w 7714416"/>
              <a:gd name="connsiteY23447" fmla="*/ 1344205 h 5282095"/>
              <a:gd name="connsiteX23448" fmla="*/ 5186875 w 7714416"/>
              <a:gd name="connsiteY23448" fmla="*/ 1335319 h 5282095"/>
              <a:gd name="connsiteX23449" fmla="*/ 5186742 w 7714416"/>
              <a:gd name="connsiteY23449" fmla="*/ 1334708 h 5282095"/>
              <a:gd name="connsiteX23450" fmla="*/ 5186494 w 7714416"/>
              <a:gd name="connsiteY23450" fmla="*/ 1334527 h 5282095"/>
              <a:gd name="connsiteX23451" fmla="*/ 5184780 w 7714416"/>
              <a:gd name="connsiteY23451" fmla="*/ 1330963 h 5282095"/>
              <a:gd name="connsiteX23452" fmla="*/ 5184837 w 7714416"/>
              <a:gd name="connsiteY23452" fmla="*/ 1330748 h 5282095"/>
              <a:gd name="connsiteX23453" fmla="*/ 5184267 w 7714416"/>
              <a:gd name="connsiteY23453" fmla="*/ 1329560 h 5282095"/>
              <a:gd name="connsiteX23454" fmla="*/ 5186411 w 7714416"/>
              <a:gd name="connsiteY23454" fmla="*/ 1322660 h 5282095"/>
              <a:gd name="connsiteX23455" fmla="*/ 5202971 w 7714416"/>
              <a:gd name="connsiteY23455" fmla="*/ 1322842 h 5282095"/>
              <a:gd name="connsiteX23456" fmla="*/ 5207387 w 7714416"/>
              <a:gd name="connsiteY23456" fmla="*/ 1325176 h 5282095"/>
              <a:gd name="connsiteX23457" fmla="*/ 5206941 w 7714416"/>
              <a:gd name="connsiteY23457" fmla="*/ 1322411 h 5282095"/>
              <a:gd name="connsiteX23458" fmla="*/ 5224557 w 7714416"/>
              <a:gd name="connsiteY23458" fmla="*/ 1325291 h 5282095"/>
              <a:gd name="connsiteX23459" fmla="*/ 5228463 w 7714416"/>
              <a:gd name="connsiteY23459" fmla="*/ 1322888 h 5282095"/>
              <a:gd name="connsiteX23460" fmla="*/ 5229674 w 7714416"/>
              <a:gd name="connsiteY23460" fmla="*/ 1323901 h 5282095"/>
              <a:gd name="connsiteX23461" fmla="*/ 5234023 w 7714416"/>
              <a:gd name="connsiteY23461" fmla="*/ 1327597 h 5282095"/>
              <a:gd name="connsiteX23462" fmla="*/ 5240082 w 7714416"/>
              <a:gd name="connsiteY23462" fmla="*/ 1329335 h 5282095"/>
              <a:gd name="connsiteX23463" fmla="*/ 5243144 w 7714416"/>
              <a:gd name="connsiteY23463" fmla="*/ 1331191 h 5282095"/>
              <a:gd name="connsiteX23464" fmla="*/ 5242672 w 7714416"/>
              <a:gd name="connsiteY23464" fmla="*/ 1334055 h 5282095"/>
              <a:gd name="connsiteX23465" fmla="*/ 5237803 w 7714416"/>
              <a:gd name="connsiteY23465" fmla="*/ 1335625 h 5282095"/>
              <a:gd name="connsiteX23466" fmla="*/ 5233422 w 7714416"/>
              <a:gd name="connsiteY23466" fmla="*/ 1335371 h 5282095"/>
              <a:gd name="connsiteX23467" fmla="*/ 5232697 w 7714416"/>
              <a:gd name="connsiteY23467" fmla="*/ 1335866 h 5282095"/>
              <a:gd name="connsiteX23468" fmla="*/ 5239377 w 7714416"/>
              <a:gd name="connsiteY23468" fmla="*/ 1336391 h 5282095"/>
              <a:gd name="connsiteX23469" fmla="*/ 5254901 w 7714416"/>
              <a:gd name="connsiteY23469" fmla="*/ 1340437 h 5282095"/>
              <a:gd name="connsiteX23470" fmla="*/ 5258498 w 7714416"/>
              <a:gd name="connsiteY23470" fmla="*/ 1341401 h 5282095"/>
              <a:gd name="connsiteX23471" fmla="*/ 5259354 w 7714416"/>
              <a:gd name="connsiteY23471" fmla="*/ 1344850 h 5282095"/>
              <a:gd name="connsiteX23472" fmla="*/ 5234928 w 7714416"/>
              <a:gd name="connsiteY23472" fmla="*/ 1346354 h 5282095"/>
              <a:gd name="connsiteX23473" fmla="*/ 5231331 w 7714416"/>
              <a:gd name="connsiteY23473" fmla="*/ 1345391 h 5282095"/>
              <a:gd name="connsiteX23474" fmla="*/ 5222739 w 7714416"/>
              <a:gd name="connsiteY23474" fmla="*/ 1338719 h 5282095"/>
              <a:gd name="connsiteX23475" fmla="*/ 5227752 w 7714416"/>
              <a:gd name="connsiteY23475" fmla="*/ 1336612 h 5282095"/>
              <a:gd name="connsiteX23476" fmla="*/ 5222789 w 7714416"/>
              <a:gd name="connsiteY23476" fmla="*/ 1336317 h 5282095"/>
              <a:gd name="connsiteX23477" fmla="*/ 5218049 w 7714416"/>
              <a:gd name="connsiteY23477" fmla="*/ 1332977 h 5282095"/>
              <a:gd name="connsiteX23478" fmla="*/ 5218268 w 7714416"/>
              <a:gd name="connsiteY23478" fmla="*/ 1333266 h 5282095"/>
              <a:gd name="connsiteX23479" fmla="*/ 5217197 w 7714416"/>
              <a:gd name="connsiteY23479" fmla="*/ 1343904 h 5282095"/>
              <a:gd name="connsiteX23480" fmla="*/ 5215422 w 7714416"/>
              <a:gd name="connsiteY23480" fmla="*/ 1343888 h 5282095"/>
              <a:gd name="connsiteX23481" fmla="*/ 5220684 w 7714416"/>
              <a:gd name="connsiteY23481" fmla="*/ 1350818 h 5282095"/>
              <a:gd name="connsiteX23482" fmla="*/ 5197210 w 7714416"/>
              <a:gd name="connsiteY23482" fmla="*/ 1354303 h 5282095"/>
              <a:gd name="connsiteX23483" fmla="*/ 5196045 w 7714416"/>
              <a:gd name="connsiteY23483" fmla="*/ 1354222 h 5282095"/>
              <a:gd name="connsiteX23484" fmla="*/ 5202999 w 7714416"/>
              <a:gd name="connsiteY23484" fmla="*/ 1358155 h 5282095"/>
              <a:gd name="connsiteX23485" fmla="*/ 5209629 w 7714416"/>
              <a:gd name="connsiteY23485" fmla="*/ 1361081 h 5282095"/>
              <a:gd name="connsiteX23486" fmla="*/ 5210696 w 7714416"/>
              <a:gd name="connsiteY23486" fmla="*/ 1362632 h 5282095"/>
              <a:gd name="connsiteX23487" fmla="*/ 5211717 w 7714416"/>
              <a:gd name="connsiteY23487" fmla="*/ 1363251 h 5282095"/>
              <a:gd name="connsiteX23488" fmla="*/ 5230960 w 7714416"/>
              <a:gd name="connsiteY23488" fmla="*/ 1378872 h 5282095"/>
              <a:gd name="connsiteX23489" fmla="*/ 5232979 w 7714416"/>
              <a:gd name="connsiteY23489" fmla="*/ 1382403 h 5282095"/>
              <a:gd name="connsiteX23490" fmla="*/ 5234460 w 7714416"/>
              <a:gd name="connsiteY23490" fmla="*/ 1381305 h 5282095"/>
              <a:gd name="connsiteX23491" fmla="*/ 5239088 w 7714416"/>
              <a:gd name="connsiteY23491" fmla="*/ 1381740 h 5282095"/>
              <a:gd name="connsiteX23492" fmla="*/ 5240483 w 7714416"/>
              <a:gd name="connsiteY23492" fmla="*/ 1380964 h 5282095"/>
              <a:gd name="connsiteX23493" fmla="*/ 5242477 w 7714416"/>
              <a:gd name="connsiteY23493" fmla="*/ 1381268 h 5282095"/>
              <a:gd name="connsiteX23494" fmla="*/ 5237863 w 7714416"/>
              <a:gd name="connsiteY23494" fmla="*/ 1376351 h 5282095"/>
              <a:gd name="connsiteX23495" fmla="*/ 5236653 w 7714416"/>
              <a:gd name="connsiteY23495" fmla="*/ 1375337 h 5282095"/>
              <a:gd name="connsiteX23496" fmla="*/ 5238302 w 7714416"/>
              <a:gd name="connsiteY23496" fmla="*/ 1368074 h 5282095"/>
              <a:gd name="connsiteX23497" fmla="*/ 5242891 w 7714416"/>
              <a:gd name="connsiteY23497" fmla="*/ 1369764 h 5282095"/>
              <a:gd name="connsiteX23498" fmla="*/ 5245044 w 7714416"/>
              <a:gd name="connsiteY23498" fmla="*/ 1365051 h 5282095"/>
              <a:gd name="connsiteX23499" fmla="*/ 5248044 w 7714416"/>
              <a:gd name="connsiteY23499" fmla="*/ 1361600 h 5282095"/>
              <a:gd name="connsiteX23500" fmla="*/ 5247824 w 7714416"/>
              <a:gd name="connsiteY23500" fmla="*/ 1361311 h 5282095"/>
              <a:gd name="connsiteX23501" fmla="*/ 5247635 w 7714416"/>
              <a:gd name="connsiteY23501" fmla="*/ 1360914 h 5282095"/>
              <a:gd name="connsiteX23502" fmla="*/ 5244867 w 7714416"/>
              <a:gd name="connsiteY23502" fmla="*/ 1360173 h 5282095"/>
              <a:gd name="connsiteX23503" fmla="*/ 5243078 w 7714416"/>
              <a:gd name="connsiteY23503" fmla="*/ 1355784 h 5282095"/>
              <a:gd name="connsiteX23504" fmla="*/ 5249130 w 7714416"/>
              <a:gd name="connsiteY23504" fmla="*/ 1355335 h 5282095"/>
              <a:gd name="connsiteX23505" fmla="*/ 5251897 w 7714416"/>
              <a:gd name="connsiteY23505" fmla="*/ 1356077 h 5282095"/>
              <a:gd name="connsiteX23506" fmla="*/ 5253165 w 7714416"/>
              <a:gd name="connsiteY23506" fmla="*/ 1356877 h 5282095"/>
              <a:gd name="connsiteX23507" fmla="*/ 5254311 w 7714416"/>
              <a:gd name="connsiteY23507" fmla="*/ 1355918 h 5282095"/>
              <a:gd name="connsiteX23508" fmla="*/ 5255555 w 7714416"/>
              <a:gd name="connsiteY23508" fmla="*/ 1353492 h 5282095"/>
              <a:gd name="connsiteX23509" fmla="*/ 5256259 w 7714416"/>
              <a:gd name="connsiteY23509" fmla="*/ 1355291 h 5282095"/>
              <a:gd name="connsiteX23510" fmla="*/ 5255207 w 7714416"/>
              <a:gd name="connsiteY23510" fmla="*/ 1358114 h 5282095"/>
              <a:gd name="connsiteX23511" fmla="*/ 5255731 w 7714416"/>
              <a:gd name="connsiteY23511" fmla="*/ 1358369 h 5282095"/>
              <a:gd name="connsiteX23512" fmla="*/ 5256665 w 7714416"/>
              <a:gd name="connsiteY23512" fmla="*/ 1359309 h 5282095"/>
              <a:gd name="connsiteX23513" fmla="*/ 5256503 w 7714416"/>
              <a:gd name="connsiteY23513" fmla="*/ 1358807 h 5282095"/>
              <a:gd name="connsiteX23514" fmla="*/ 5263396 w 7714416"/>
              <a:gd name="connsiteY23514" fmla="*/ 1357433 h 5282095"/>
              <a:gd name="connsiteX23515" fmla="*/ 5259655 w 7714416"/>
              <a:gd name="connsiteY23515" fmla="*/ 1357006 h 5282095"/>
              <a:gd name="connsiteX23516" fmla="*/ 5270575 w 7714416"/>
              <a:gd name="connsiteY23516" fmla="*/ 1354987 h 5282095"/>
              <a:gd name="connsiteX23517" fmla="*/ 5271435 w 7714416"/>
              <a:gd name="connsiteY23517" fmla="*/ 1355102 h 5282095"/>
              <a:gd name="connsiteX23518" fmla="*/ 5269271 w 7714416"/>
              <a:gd name="connsiteY23518" fmla="*/ 1352107 h 5282095"/>
              <a:gd name="connsiteX23519" fmla="*/ 5267442 w 7714416"/>
              <a:gd name="connsiteY23519" fmla="*/ 1340117 h 5282095"/>
              <a:gd name="connsiteX23520" fmla="*/ 5270128 w 7714416"/>
              <a:gd name="connsiteY23520" fmla="*/ 1337846 h 5282095"/>
              <a:gd name="connsiteX23521" fmla="*/ 5268794 w 7714416"/>
              <a:gd name="connsiteY23521" fmla="*/ 1335074 h 5282095"/>
              <a:gd name="connsiteX23522" fmla="*/ 5271095 w 7714416"/>
              <a:gd name="connsiteY23522" fmla="*/ 1317634 h 5282095"/>
              <a:gd name="connsiteX23523" fmla="*/ 5281918 w 7714416"/>
              <a:gd name="connsiteY23523" fmla="*/ 1334795 h 5282095"/>
              <a:gd name="connsiteX23524" fmla="*/ 5280883 w 7714416"/>
              <a:gd name="connsiteY23524" fmla="*/ 1338658 h 5282095"/>
              <a:gd name="connsiteX23525" fmla="*/ 5285537 w 7714416"/>
              <a:gd name="connsiteY23525" fmla="*/ 1342320 h 5282095"/>
              <a:gd name="connsiteX23526" fmla="*/ 5280724 w 7714416"/>
              <a:gd name="connsiteY23526" fmla="*/ 1361386 h 5282095"/>
              <a:gd name="connsiteX23527" fmla="*/ 5274503 w 7714416"/>
              <a:gd name="connsiteY23527" fmla="*/ 1359144 h 5282095"/>
              <a:gd name="connsiteX23528" fmla="*/ 5274065 w 7714416"/>
              <a:gd name="connsiteY23528" fmla="*/ 1358566 h 5282095"/>
              <a:gd name="connsiteX23529" fmla="*/ 5272319 w 7714416"/>
              <a:gd name="connsiteY23529" fmla="*/ 1358444 h 5282095"/>
              <a:gd name="connsiteX23530" fmla="*/ 5272013 w 7714416"/>
              <a:gd name="connsiteY23530" fmla="*/ 1358477 h 5282095"/>
              <a:gd name="connsiteX23531" fmla="*/ 5278992 w 7714416"/>
              <a:gd name="connsiteY23531" fmla="*/ 1365637 h 5282095"/>
              <a:gd name="connsiteX23532" fmla="*/ 5267025 w 7714416"/>
              <a:gd name="connsiteY23532" fmla="*/ 1372665 h 5282095"/>
              <a:gd name="connsiteX23533" fmla="*/ 5258975 w 7714416"/>
              <a:gd name="connsiteY23533" fmla="*/ 1367289 h 5282095"/>
              <a:gd name="connsiteX23534" fmla="*/ 5257873 w 7714416"/>
              <a:gd name="connsiteY23534" fmla="*/ 1363657 h 5282095"/>
              <a:gd name="connsiteX23535" fmla="*/ 5254901 w 7714416"/>
              <a:gd name="connsiteY23535" fmla="*/ 1367002 h 5282095"/>
              <a:gd name="connsiteX23536" fmla="*/ 5252220 w 7714416"/>
              <a:gd name="connsiteY23536" fmla="*/ 1365938 h 5282095"/>
              <a:gd name="connsiteX23537" fmla="*/ 5251256 w 7714416"/>
              <a:gd name="connsiteY23537" fmla="*/ 1365105 h 5282095"/>
              <a:gd name="connsiteX23538" fmla="*/ 5249650 w 7714416"/>
              <a:gd name="connsiteY23538" fmla="*/ 1367780 h 5282095"/>
              <a:gd name="connsiteX23539" fmla="*/ 5247480 w 7714416"/>
              <a:gd name="connsiteY23539" fmla="*/ 1371453 h 5282095"/>
              <a:gd name="connsiteX23540" fmla="*/ 5249607 w 7714416"/>
              <a:gd name="connsiteY23540" fmla="*/ 1372369 h 5282095"/>
              <a:gd name="connsiteX23541" fmla="*/ 5252059 w 7714416"/>
              <a:gd name="connsiteY23541" fmla="*/ 1374290 h 5282095"/>
              <a:gd name="connsiteX23542" fmla="*/ 5255771 w 7714416"/>
              <a:gd name="connsiteY23542" fmla="*/ 1374825 h 5282095"/>
              <a:gd name="connsiteX23543" fmla="*/ 5256219 w 7714416"/>
              <a:gd name="connsiteY23543" fmla="*/ 1374256 h 5282095"/>
              <a:gd name="connsiteX23544" fmla="*/ 5258084 w 7714416"/>
              <a:gd name="connsiteY23544" fmla="*/ 1370614 h 5282095"/>
              <a:gd name="connsiteX23545" fmla="*/ 5261359 w 7714416"/>
              <a:gd name="connsiteY23545" fmla="*/ 1370572 h 5282095"/>
              <a:gd name="connsiteX23546" fmla="*/ 5262098 w 7714416"/>
              <a:gd name="connsiteY23546" fmla="*/ 1374450 h 5282095"/>
              <a:gd name="connsiteX23547" fmla="*/ 5257211 w 7714416"/>
              <a:gd name="connsiteY23547" fmla="*/ 1374981 h 5282095"/>
              <a:gd name="connsiteX23548" fmla="*/ 5270648 w 7714416"/>
              <a:gd name="connsiteY23548" fmla="*/ 1376857 h 5282095"/>
              <a:gd name="connsiteX23549" fmla="*/ 5275456 w 7714416"/>
              <a:gd name="connsiteY23549" fmla="*/ 1378834 h 5282095"/>
              <a:gd name="connsiteX23550" fmla="*/ 5275524 w 7714416"/>
              <a:gd name="connsiteY23550" fmla="*/ 1377473 h 5282095"/>
              <a:gd name="connsiteX23551" fmla="*/ 5284195 w 7714416"/>
              <a:gd name="connsiteY23551" fmla="*/ 1381637 h 5282095"/>
              <a:gd name="connsiteX23552" fmla="*/ 5283803 w 7714416"/>
              <a:gd name="connsiteY23552" fmla="*/ 1381991 h 5282095"/>
              <a:gd name="connsiteX23553" fmla="*/ 5292094 w 7714416"/>
              <a:gd name="connsiteY23553" fmla="*/ 1385363 h 5282095"/>
              <a:gd name="connsiteX23554" fmla="*/ 5303309 w 7714416"/>
              <a:gd name="connsiteY23554" fmla="*/ 1393313 h 5282095"/>
              <a:gd name="connsiteX23555" fmla="*/ 5296101 w 7714416"/>
              <a:gd name="connsiteY23555" fmla="*/ 1395867 h 5282095"/>
              <a:gd name="connsiteX23556" fmla="*/ 5302730 w 7714416"/>
              <a:gd name="connsiteY23556" fmla="*/ 1398794 h 5282095"/>
              <a:gd name="connsiteX23557" fmla="*/ 5314007 w 7714416"/>
              <a:gd name="connsiteY23557" fmla="*/ 1403194 h 5282095"/>
              <a:gd name="connsiteX23558" fmla="*/ 5323239 w 7714416"/>
              <a:gd name="connsiteY23558" fmla="*/ 1409693 h 5282095"/>
              <a:gd name="connsiteX23559" fmla="*/ 5325294 w 7714416"/>
              <a:gd name="connsiteY23559" fmla="*/ 1406450 h 5282095"/>
              <a:gd name="connsiteX23560" fmla="*/ 5330850 w 7714416"/>
              <a:gd name="connsiteY23560" fmla="*/ 1405638 h 5282095"/>
              <a:gd name="connsiteX23561" fmla="*/ 5330562 w 7714416"/>
              <a:gd name="connsiteY23561" fmla="*/ 1406711 h 5282095"/>
              <a:gd name="connsiteX23562" fmla="*/ 5326638 w 7714416"/>
              <a:gd name="connsiteY23562" fmla="*/ 1408074 h 5282095"/>
              <a:gd name="connsiteX23563" fmla="*/ 5323953 w 7714416"/>
              <a:gd name="connsiteY23563" fmla="*/ 1410345 h 5282095"/>
              <a:gd name="connsiteX23564" fmla="*/ 5324755 w 7714416"/>
              <a:gd name="connsiteY23564" fmla="*/ 1410675 h 5282095"/>
              <a:gd name="connsiteX23565" fmla="*/ 5316123 w 7714416"/>
              <a:gd name="connsiteY23565" fmla="*/ 1431822 h 5282095"/>
              <a:gd name="connsiteX23566" fmla="*/ 5291497 w 7714416"/>
              <a:gd name="connsiteY23566" fmla="*/ 1425223 h 5282095"/>
              <a:gd name="connsiteX23567" fmla="*/ 5277824 w 7714416"/>
              <a:gd name="connsiteY23567" fmla="*/ 1395455 h 5282095"/>
              <a:gd name="connsiteX23568" fmla="*/ 5278179 w 7714416"/>
              <a:gd name="connsiteY23568" fmla="*/ 1393020 h 5282095"/>
              <a:gd name="connsiteX23569" fmla="*/ 5270126 w 7714416"/>
              <a:gd name="connsiteY23569" fmla="*/ 1390977 h 5282095"/>
              <a:gd name="connsiteX23570" fmla="*/ 5269780 w 7714416"/>
              <a:gd name="connsiteY23570" fmla="*/ 1409975 h 5282095"/>
              <a:gd name="connsiteX23571" fmla="*/ 5269141 w 7714416"/>
              <a:gd name="connsiteY23571" fmla="*/ 1410148 h 5282095"/>
              <a:gd name="connsiteX23572" fmla="*/ 5280507 w 7714416"/>
              <a:gd name="connsiteY23572" fmla="*/ 1410894 h 5282095"/>
              <a:gd name="connsiteX23573" fmla="*/ 5273083 w 7714416"/>
              <a:gd name="connsiteY23573" fmla="*/ 1418679 h 5282095"/>
              <a:gd name="connsiteX23574" fmla="*/ 5273299 w 7714416"/>
              <a:gd name="connsiteY23574" fmla="*/ 1422302 h 5282095"/>
              <a:gd name="connsiteX23575" fmla="*/ 5284360 w 7714416"/>
              <a:gd name="connsiteY23575" fmla="*/ 1423082 h 5282095"/>
              <a:gd name="connsiteX23576" fmla="*/ 5288309 w 7714416"/>
              <a:gd name="connsiteY23576" fmla="*/ 1424944 h 5282095"/>
              <a:gd name="connsiteX23577" fmla="*/ 5292240 w 7714416"/>
              <a:gd name="connsiteY23577" fmla="*/ 1425768 h 5282095"/>
              <a:gd name="connsiteX23578" fmla="*/ 5299754 w 7714416"/>
              <a:gd name="connsiteY23578" fmla="*/ 1432036 h 5282095"/>
              <a:gd name="connsiteX23579" fmla="*/ 5279235 w 7714416"/>
              <a:gd name="connsiteY23579" fmla="*/ 1431139 h 5282095"/>
              <a:gd name="connsiteX23580" fmla="*/ 5274969 w 7714416"/>
              <a:gd name="connsiteY23580" fmla="*/ 1430456 h 5282095"/>
              <a:gd name="connsiteX23581" fmla="*/ 5276702 w 7714416"/>
              <a:gd name="connsiteY23581" fmla="*/ 1435060 h 5282095"/>
              <a:gd name="connsiteX23582" fmla="*/ 5277151 w 7714416"/>
              <a:gd name="connsiteY23582" fmla="*/ 1443345 h 5282095"/>
              <a:gd name="connsiteX23583" fmla="*/ 5288129 w 7714416"/>
              <a:gd name="connsiteY23583" fmla="*/ 1441111 h 5282095"/>
              <a:gd name="connsiteX23584" fmla="*/ 5289984 w 7714416"/>
              <a:gd name="connsiteY23584" fmla="*/ 1447473 h 5282095"/>
              <a:gd name="connsiteX23585" fmla="*/ 5288395 w 7714416"/>
              <a:gd name="connsiteY23585" fmla="*/ 1451188 h 5282095"/>
              <a:gd name="connsiteX23586" fmla="*/ 5288949 w 7714416"/>
              <a:gd name="connsiteY23586" fmla="*/ 1451336 h 5282095"/>
              <a:gd name="connsiteX23587" fmla="*/ 5312677 w 7714416"/>
              <a:gd name="connsiteY23587" fmla="*/ 1467929 h 5282095"/>
              <a:gd name="connsiteX23588" fmla="*/ 5322730 w 7714416"/>
              <a:gd name="connsiteY23588" fmla="*/ 1472463 h 5282095"/>
              <a:gd name="connsiteX23589" fmla="*/ 5323018 w 7714416"/>
              <a:gd name="connsiteY23589" fmla="*/ 1471390 h 5282095"/>
              <a:gd name="connsiteX23590" fmla="*/ 5326418 w 7714416"/>
              <a:gd name="connsiteY23590" fmla="*/ 1469771 h 5282095"/>
              <a:gd name="connsiteX23591" fmla="*/ 5328157 w 7714416"/>
              <a:gd name="connsiteY23591" fmla="*/ 1467707 h 5282095"/>
              <a:gd name="connsiteX23592" fmla="*/ 5338323 w 7714416"/>
              <a:gd name="connsiteY23592" fmla="*/ 1466291 h 5282095"/>
              <a:gd name="connsiteX23593" fmla="*/ 5332735 w 7714416"/>
              <a:gd name="connsiteY23593" fmla="*/ 1479399 h 5282095"/>
              <a:gd name="connsiteX23594" fmla="*/ 5329896 w 7714416"/>
              <a:gd name="connsiteY23594" fmla="*/ 1483354 h 5282095"/>
              <a:gd name="connsiteX23595" fmla="*/ 5338276 w 7714416"/>
              <a:gd name="connsiteY23595" fmla="*/ 1483068 h 5282095"/>
              <a:gd name="connsiteX23596" fmla="*/ 5366511 w 7714416"/>
              <a:gd name="connsiteY23596" fmla="*/ 1480629 h 5282095"/>
              <a:gd name="connsiteX23597" fmla="*/ 5368121 w 7714416"/>
              <a:gd name="connsiteY23597" fmla="*/ 1483475 h 5282095"/>
              <a:gd name="connsiteX23598" fmla="*/ 5368732 w 7714416"/>
              <a:gd name="connsiteY23598" fmla="*/ 1483409 h 5282095"/>
              <a:gd name="connsiteX23599" fmla="*/ 5375175 w 7714416"/>
              <a:gd name="connsiteY23599" fmla="*/ 1482606 h 5282095"/>
              <a:gd name="connsiteX23600" fmla="*/ 5380839 w 7714416"/>
              <a:gd name="connsiteY23600" fmla="*/ 1488033 h 5282095"/>
              <a:gd name="connsiteX23601" fmla="*/ 5376483 w 7714416"/>
              <a:gd name="connsiteY23601" fmla="*/ 1491005 h 5282095"/>
              <a:gd name="connsiteX23602" fmla="*/ 5377867 w 7714416"/>
              <a:gd name="connsiteY23602" fmla="*/ 1491377 h 5282095"/>
              <a:gd name="connsiteX23603" fmla="*/ 5381859 w 7714416"/>
              <a:gd name="connsiteY23603" fmla="*/ 1488652 h 5282095"/>
              <a:gd name="connsiteX23604" fmla="*/ 5388812 w 7714416"/>
              <a:gd name="connsiteY23604" fmla="*/ 1501440 h 5282095"/>
              <a:gd name="connsiteX23605" fmla="*/ 5390739 w 7714416"/>
              <a:gd name="connsiteY23605" fmla="*/ 1503106 h 5282095"/>
              <a:gd name="connsiteX23606" fmla="*/ 5396385 w 7714416"/>
              <a:gd name="connsiteY23606" fmla="*/ 1498638 h 5282095"/>
              <a:gd name="connsiteX23607" fmla="*/ 5397739 w 7714416"/>
              <a:gd name="connsiteY23607" fmla="*/ 1499116 h 5282095"/>
              <a:gd name="connsiteX23608" fmla="*/ 5397768 w 7714416"/>
              <a:gd name="connsiteY23608" fmla="*/ 1499009 h 5282095"/>
              <a:gd name="connsiteX23609" fmla="*/ 5399622 w 7714416"/>
              <a:gd name="connsiteY23609" fmla="*/ 1496516 h 5282095"/>
              <a:gd name="connsiteX23610" fmla="*/ 5405336 w 7714416"/>
              <a:gd name="connsiteY23610" fmla="*/ 1499542 h 5282095"/>
              <a:gd name="connsiteX23611" fmla="*/ 5406126 w 7714416"/>
              <a:gd name="connsiteY23611" fmla="*/ 1501019 h 5282095"/>
              <a:gd name="connsiteX23612" fmla="*/ 5406709 w 7714416"/>
              <a:gd name="connsiteY23612" fmla="*/ 1501060 h 5282095"/>
              <a:gd name="connsiteX23613" fmla="*/ 5408858 w 7714416"/>
              <a:gd name="connsiteY23613" fmla="*/ 1499680 h 5282095"/>
              <a:gd name="connsiteX23614" fmla="*/ 5408355 w 7714416"/>
              <a:gd name="connsiteY23614" fmla="*/ 1497131 h 5282095"/>
              <a:gd name="connsiteX23615" fmla="*/ 5414338 w 7714416"/>
              <a:gd name="connsiteY23615" fmla="*/ 1498045 h 5282095"/>
              <a:gd name="connsiteX23616" fmla="*/ 5419692 w 7714416"/>
              <a:gd name="connsiteY23616" fmla="*/ 1497984 h 5282095"/>
              <a:gd name="connsiteX23617" fmla="*/ 5424375 w 7714416"/>
              <a:gd name="connsiteY23617" fmla="*/ 1501538 h 5282095"/>
              <a:gd name="connsiteX23618" fmla="*/ 5424145 w 7714416"/>
              <a:gd name="connsiteY23618" fmla="*/ 1502397 h 5282095"/>
              <a:gd name="connsiteX23619" fmla="*/ 5430781 w 7714416"/>
              <a:gd name="connsiteY23619" fmla="*/ 1499703 h 5282095"/>
              <a:gd name="connsiteX23620" fmla="*/ 5414280 w 7714416"/>
              <a:gd name="connsiteY23620" fmla="*/ 1482187 h 5282095"/>
              <a:gd name="connsiteX23621" fmla="*/ 5400760 w 7714416"/>
              <a:gd name="connsiteY23621" fmla="*/ 1464049 h 5282095"/>
              <a:gd name="connsiteX23622" fmla="*/ 5385308 w 7714416"/>
              <a:gd name="connsiteY23622" fmla="*/ 1446700 h 5282095"/>
              <a:gd name="connsiteX23623" fmla="*/ 5399079 w 7714416"/>
              <a:gd name="connsiteY23623" fmla="*/ 1443889 h 5282095"/>
              <a:gd name="connsiteX23624" fmla="*/ 5392113 w 7714416"/>
              <a:gd name="connsiteY23624" fmla="*/ 1442638 h 5282095"/>
              <a:gd name="connsiteX23625" fmla="*/ 5388048 w 7714416"/>
              <a:gd name="connsiteY23625" fmla="*/ 1441205 h 5282095"/>
              <a:gd name="connsiteX23626" fmla="*/ 5386625 w 7714416"/>
              <a:gd name="connsiteY23626" fmla="*/ 1442088 h 5282095"/>
              <a:gd name="connsiteX23627" fmla="*/ 5383283 w 7714416"/>
              <a:gd name="connsiteY23627" fmla="*/ 1443492 h 5282095"/>
              <a:gd name="connsiteX23628" fmla="*/ 5379664 w 7714416"/>
              <a:gd name="connsiteY23628" fmla="*/ 1444823 h 5282095"/>
              <a:gd name="connsiteX23629" fmla="*/ 5377706 w 7714416"/>
              <a:gd name="connsiteY23629" fmla="*/ 1446598 h 5282095"/>
              <a:gd name="connsiteX23630" fmla="*/ 5370795 w 7714416"/>
              <a:gd name="connsiteY23630" fmla="*/ 1446932 h 5282095"/>
              <a:gd name="connsiteX23631" fmla="*/ 5373031 w 7714416"/>
              <a:gd name="connsiteY23631" fmla="*/ 1445230 h 5282095"/>
              <a:gd name="connsiteX23632" fmla="*/ 5376650 w 7714416"/>
              <a:gd name="connsiteY23632" fmla="*/ 1443899 h 5282095"/>
              <a:gd name="connsiteX23633" fmla="*/ 5376976 w 7714416"/>
              <a:gd name="connsiteY23633" fmla="*/ 1441573 h 5282095"/>
              <a:gd name="connsiteX23634" fmla="*/ 5381857 w 7714416"/>
              <a:gd name="connsiteY23634" fmla="*/ 1438855 h 5282095"/>
              <a:gd name="connsiteX23635" fmla="*/ 5380473 w 7714416"/>
              <a:gd name="connsiteY23635" fmla="*/ 1438485 h 5282095"/>
              <a:gd name="connsiteX23636" fmla="*/ 5363227 w 7714416"/>
              <a:gd name="connsiteY23636" fmla="*/ 1428688 h 5282095"/>
              <a:gd name="connsiteX23637" fmla="*/ 5363099 w 7714416"/>
              <a:gd name="connsiteY23637" fmla="*/ 1424743 h 5282095"/>
              <a:gd name="connsiteX23638" fmla="*/ 5375982 w 7714416"/>
              <a:gd name="connsiteY23638" fmla="*/ 1417616 h 5282095"/>
              <a:gd name="connsiteX23639" fmla="*/ 5383416 w 7714416"/>
              <a:gd name="connsiteY23639" fmla="*/ 1417537 h 5282095"/>
              <a:gd name="connsiteX23640" fmla="*/ 5380765 w 7714416"/>
              <a:gd name="connsiteY23640" fmla="*/ 1416366 h 5282095"/>
              <a:gd name="connsiteX23641" fmla="*/ 5377046 w 7714416"/>
              <a:gd name="connsiteY23641" fmla="*/ 1413645 h 5282095"/>
              <a:gd name="connsiteX23642" fmla="*/ 5380909 w 7714416"/>
              <a:gd name="connsiteY23642" fmla="*/ 1415830 h 5282095"/>
              <a:gd name="connsiteX23643" fmla="*/ 5384516 w 7714416"/>
              <a:gd name="connsiteY23643" fmla="*/ 1415647 h 5282095"/>
              <a:gd name="connsiteX23644" fmla="*/ 5386252 w 7714416"/>
              <a:gd name="connsiteY23644" fmla="*/ 1416917 h 5282095"/>
              <a:gd name="connsiteX23645" fmla="*/ 5386603 w 7714416"/>
              <a:gd name="connsiteY23645" fmla="*/ 1417817 h 5282095"/>
              <a:gd name="connsiteX23646" fmla="*/ 5396622 w 7714416"/>
              <a:gd name="connsiteY23646" fmla="*/ 1420272 h 5282095"/>
              <a:gd name="connsiteX23647" fmla="*/ 5406372 w 7714416"/>
              <a:gd name="connsiteY23647" fmla="*/ 1424838 h 5282095"/>
              <a:gd name="connsiteX23648" fmla="*/ 5410321 w 7714416"/>
              <a:gd name="connsiteY23648" fmla="*/ 1426702 h 5282095"/>
              <a:gd name="connsiteX23649" fmla="*/ 5419686 w 7714416"/>
              <a:gd name="connsiteY23649" fmla="*/ 1433811 h 5282095"/>
              <a:gd name="connsiteX23650" fmla="*/ 5419276 w 7714416"/>
              <a:gd name="connsiteY23650" fmla="*/ 1433126 h 5282095"/>
              <a:gd name="connsiteX23651" fmla="*/ 5425221 w 7714416"/>
              <a:gd name="connsiteY23651" fmla="*/ 1426440 h 5282095"/>
              <a:gd name="connsiteX23652" fmla="*/ 5428990 w 7714416"/>
              <a:gd name="connsiteY23652" fmla="*/ 1426759 h 5282095"/>
              <a:gd name="connsiteX23653" fmla="*/ 5427275 w 7714416"/>
              <a:gd name="connsiteY23653" fmla="*/ 1423195 h 5282095"/>
              <a:gd name="connsiteX23654" fmla="*/ 5427304 w 7714416"/>
              <a:gd name="connsiteY23654" fmla="*/ 1423088 h 5282095"/>
              <a:gd name="connsiteX23655" fmla="*/ 5413423 w 7714416"/>
              <a:gd name="connsiteY23655" fmla="*/ 1418448 h 5282095"/>
              <a:gd name="connsiteX23656" fmla="*/ 5410505 w 7714416"/>
              <a:gd name="connsiteY23656" fmla="*/ 1416056 h 5282095"/>
              <a:gd name="connsiteX23657" fmla="*/ 5406850 w 7714416"/>
              <a:gd name="connsiteY23657" fmla="*/ 1415307 h 5282095"/>
              <a:gd name="connsiteX23658" fmla="*/ 5408636 w 7714416"/>
              <a:gd name="connsiteY23658" fmla="*/ 1414175 h 5282095"/>
              <a:gd name="connsiteX23659" fmla="*/ 5408112 w 7714416"/>
              <a:gd name="connsiteY23659" fmla="*/ 1413920 h 5282095"/>
              <a:gd name="connsiteX23660" fmla="*/ 5408751 w 7714416"/>
              <a:gd name="connsiteY23660" fmla="*/ 1413745 h 5282095"/>
              <a:gd name="connsiteX23661" fmla="*/ 5408342 w 7714416"/>
              <a:gd name="connsiteY23661" fmla="*/ 1413061 h 5282095"/>
              <a:gd name="connsiteX23662" fmla="*/ 5408784 w 7714416"/>
              <a:gd name="connsiteY23662" fmla="*/ 1410305 h 5282095"/>
              <a:gd name="connsiteX23663" fmla="*/ 5417135 w 7714416"/>
              <a:gd name="connsiteY23663" fmla="*/ 1410127 h 5282095"/>
              <a:gd name="connsiteX23664" fmla="*/ 5422960 w 7714416"/>
              <a:gd name="connsiteY23664" fmla="*/ 1416059 h 5282095"/>
              <a:gd name="connsiteX23665" fmla="*/ 5427642 w 7714416"/>
              <a:gd name="connsiteY23665" fmla="*/ 1419613 h 5282095"/>
              <a:gd name="connsiteX23666" fmla="*/ 5427534 w 7714416"/>
              <a:gd name="connsiteY23666" fmla="*/ 1422229 h 5282095"/>
              <a:gd name="connsiteX23667" fmla="*/ 5427994 w 7714416"/>
              <a:gd name="connsiteY23667" fmla="*/ 1420512 h 5282095"/>
              <a:gd name="connsiteX23668" fmla="*/ 5431003 w 7714416"/>
              <a:gd name="connsiteY23668" fmla="*/ 1419248 h 5282095"/>
              <a:gd name="connsiteX23669" fmla="*/ 5434542 w 7714416"/>
              <a:gd name="connsiteY23669" fmla="*/ 1420427 h 5282095"/>
              <a:gd name="connsiteX23670" fmla="*/ 5439166 w 7714416"/>
              <a:gd name="connsiteY23670" fmla="*/ 1424197 h 5282095"/>
              <a:gd name="connsiteX23671" fmla="*/ 5439163 w 7714416"/>
              <a:gd name="connsiteY23671" fmla="*/ 1427530 h 5282095"/>
              <a:gd name="connsiteX23672" fmla="*/ 5437579 w 7714416"/>
              <a:gd name="connsiteY23672" fmla="*/ 1427910 h 5282095"/>
              <a:gd name="connsiteX23673" fmla="*/ 5438675 w 7714416"/>
              <a:gd name="connsiteY23673" fmla="*/ 1429354 h 5282095"/>
              <a:gd name="connsiteX23674" fmla="*/ 5439842 w 7714416"/>
              <a:gd name="connsiteY23674" fmla="*/ 1434957 h 5282095"/>
              <a:gd name="connsiteX23675" fmla="*/ 5435792 w 7714416"/>
              <a:gd name="connsiteY23675" fmla="*/ 1429041 h 5282095"/>
              <a:gd name="connsiteX23676" fmla="*/ 5435929 w 7714416"/>
              <a:gd name="connsiteY23676" fmla="*/ 1435174 h 5282095"/>
              <a:gd name="connsiteX23677" fmla="*/ 5433840 w 7714416"/>
              <a:gd name="connsiteY23677" fmla="*/ 1438067 h 5282095"/>
              <a:gd name="connsiteX23678" fmla="*/ 5436322 w 7714416"/>
              <a:gd name="connsiteY23678" fmla="*/ 1438487 h 5282095"/>
              <a:gd name="connsiteX23679" fmla="*/ 5443317 w 7714416"/>
              <a:gd name="connsiteY23679" fmla="*/ 1434163 h 5282095"/>
              <a:gd name="connsiteX23680" fmla="*/ 5450818 w 7714416"/>
              <a:gd name="connsiteY23680" fmla="*/ 1436057 h 5282095"/>
              <a:gd name="connsiteX23681" fmla="*/ 5453267 w 7714416"/>
              <a:gd name="connsiteY23681" fmla="*/ 1437980 h 5282095"/>
              <a:gd name="connsiteX23682" fmla="*/ 5450724 w 7714416"/>
              <a:gd name="connsiteY23682" fmla="*/ 1434193 h 5282095"/>
              <a:gd name="connsiteX23683" fmla="*/ 5447184 w 7714416"/>
              <a:gd name="connsiteY23683" fmla="*/ 1433014 h 5282095"/>
              <a:gd name="connsiteX23684" fmla="*/ 5449879 w 7714416"/>
              <a:gd name="connsiteY23684" fmla="*/ 1429596 h 5282095"/>
              <a:gd name="connsiteX23685" fmla="*/ 5451134 w 7714416"/>
              <a:gd name="connsiteY23685" fmla="*/ 1426022 h 5282095"/>
              <a:gd name="connsiteX23686" fmla="*/ 5456717 w 7714416"/>
              <a:gd name="connsiteY23686" fmla="*/ 1425104 h 5282095"/>
              <a:gd name="connsiteX23687" fmla="*/ 5458540 w 7714416"/>
              <a:gd name="connsiteY23687" fmla="*/ 1426052 h 5282095"/>
              <a:gd name="connsiteX23688" fmla="*/ 5465727 w 7714416"/>
              <a:gd name="connsiteY23688" fmla="*/ 1425792 h 5282095"/>
              <a:gd name="connsiteX23689" fmla="*/ 5467628 w 7714416"/>
              <a:gd name="connsiteY23689" fmla="*/ 1424232 h 5282095"/>
              <a:gd name="connsiteX23690" fmla="*/ 5465809 w 7714416"/>
              <a:gd name="connsiteY23690" fmla="*/ 1419950 h 5282095"/>
              <a:gd name="connsiteX23691" fmla="*/ 5463808 w 7714416"/>
              <a:gd name="connsiteY23691" fmla="*/ 1417459 h 5282095"/>
              <a:gd name="connsiteX23692" fmla="*/ 5459762 w 7714416"/>
              <a:gd name="connsiteY23692" fmla="*/ 1417064 h 5282095"/>
              <a:gd name="connsiteX23693" fmla="*/ 5444399 w 7714416"/>
              <a:gd name="connsiteY23693" fmla="*/ 1413523 h 5282095"/>
              <a:gd name="connsiteX23694" fmla="*/ 5445908 w 7714416"/>
              <a:gd name="connsiteY23694" fmla="*/ 1412318 h 5282095"/>
              <a:gd name="connsiteX23695" fmla="*/ 5458324 w 7714416"/>
              <a:gd name="connsiteY23695" fmla="*/ 1413574 h 5282095"/>
              <a:gd name="connsiteX23696" fmla="*/ 5460901 w 7714416"/>
              <a:gd name="connsiteY23696" fmla="*/ 1413920 h 5282095"/>
              <a:gd name="connsiteX23697" fmla="*/ 5458403 w 7714416"/>
              <a:gd name="connsiteY23697" fmla="*/ 1411065 h 5282095"/>
              <a:gd name="connsiteX23698" fmla="*/ 5445787 w 7714416"/>
              <a:gd name="connsiteY23698" fmla="*/ 1392849 h 5282095"/>
              <a:gd name="connsiteX23699" fmla="*/ 5445841 w 7714416"/>
              <a:gd name="connsiteY23699" fmla="*/ 1387113 h 5282095"/>
              <a:gd name="connsiteX23700" fmla="*/ 5438804 w 7714416"/>
              <a:gd name="connsiteY23700" fmla="*/ 1389023 h 5282095"/>
              <a:gd name="connsiteX23701" fmla="*/ 5432016 w 7714416"/>
              <a:gd name="connsiteY23701" fmla="*/ 1391115 h 5282095"/>
              <a:gd name="connsiteX23702" fmla="*/ 5419032 w 7714416"/>
              <a:gd name="connsiteY23702" fmla="*/ 1394190 h 5282095"/>
              <a:gd name="connsiteX23703" fmla="*/ 5416262 w 7714416"/>
              <a:gd name="connsiteY23703" fmla="*/ 1396783 h 5282095"/>
              <a:gd name="connsiteX23704" fmla="*/ 5415011 w 7714416"/>
              <a:gd name="connsiteY23704" fmla="*/ 1397024 h 5282095"/>
              <a:gd name="connsiteX23705" fmla="*/ 5414695 w 7714416"/>
              <a:gd name="connsiteY23705" fmla="*/ 1398203 h 5282095"/>
              <a:gd name="connsiteX23706" fmla="*/ 5413197 w 7714416"/>
              <a:gd name="connsiteY23706" fmla="*/ 1398262 h 5282095"/>
              <a:gd name="connsiteX23707" fmla="*/ 5413760 w 7714416"/>
              <a:gd name="connsiteY23707" fmla="*/ 1397263 h 5282095"/>
              <a:gd name="connsiteX23708" fmla="*/ 5411565 w 7714416"/>
              <a:gd name="connsiteY23708" fmla="*/ 1397709 h 5282095"/>
              <a:gd name="connsiteX23709" fmla="*/ 5401734 w 7714416"/>
              <a:gd name="connsiteY23709" fmla="*/ 1390131 h 5282095"/>
              <a:gd name="connsiteX23710" fmla="*/ 5404212 w 7714416"/>
              <a:gd name="connsiteY23710" fmla="*/ 1383090 h 5282095"/>
              <a:gd name="connsiteX23711" fmla="*/ 5419000 w 7714416"/>
              <a:gd name="connsiteY23711" fmla="*/ 1388777 h 5282095"/>
              <a:gd name="connsiteX23712" fmla="*/ 5419468 w 7714416"/>
              <a:gd name="connsiteY23712" fmla="*/ 1389247 h 5282095"/>
              <a:gd name="connsiteX23713" fmla="*/ 5419525 w 7714416"/>
              <a:gd name="connsiteY23713" fmla="*/ 1389033 h 5282095"/>
              <a:gd name="connsiteX23714" fmla="*/ 5434018 w 7714416"/>
              <a:gd name="connsiteY23714" fmla="*/ 1384751 h 5282095"/>
              <a:gd name="connsiteX23715" fmla="*/ 5437740 w 7714416"/>
              <a:gd name="connsiteY23715" fmla="*/ 1384139 h 5282095"/>
              <a:gd name="connsiteX23716" fmla="*/ 5441407 w 7714416"/>
              <a:gd name="connsiteY23716" fmla="*/ 1383740 h 5282095"/>
              <a:gd name="connsiteX23717" fmla="*/ 5447426 w 7714416"/>
              <a:gd name="connsiteY23717" fmla="*/ 1386734 h 5282095"/>
              <a:gd name="connsiteX23718" fmla="*/ 5447091 w 7714416"/>
              <a:gd name="connsiteY23718" fmla="*/ 1386874 h 5282095"/>
              <a:gd name="connsiteX23719" fmla="*/ 5452816 w 7714416"/>
              <a:gd name="connsiteY23719" fmla="*/ 1388752 h 5282095"/>
              <a:gd name="connsiteX23720" fmla="*/ 5463316 w 7714416"/>
              <a:gd name="connsiteY23720" fmla="*/ 1396051 h 5282095"/>
              <a:gd name="connsiteX23721" fmla="*/ 5470474 w 7714416"/>
              <a:gd name="connsiteY23721" fmla="*/ 1404754 h 5282095"/>
              <a:gd name="connsiteX23722" fmla="*/ 5471772 w 7714416"/>
              <a:gd name="connsiteY23722" fmla="*/ 1405447 h 5282095"/>
              <a:gd name="connsiteX23723" fmla="*/ 5477597 w 7714416"/>
              <a:gd name="connsiteY23723" fmla="*/ 1411377 h 5282095"/>
              <a:gd name="connsiteX23724" fmla="*/ 5477654 w 7714416"/>
              <a:gd name="connsiteY23724" fmla="*/ 1411164 h 5282095"/>
              <a:gd name="connsiteX23725" fmla="*/ 5485348 w 7714416"/>
              <a:gd name="connsiteY23725" fmla="*/ 1401265 h 5282095"/>
              <a:gd name="connsiteX23726" fmla="*/ 5487152 w 7714416"/>
              <a:gd name="connsiteY23726" fmla="*/ 1401173 h 5282095"/>
              <a:gd name="connsiteX23727" fmla="*/ 5489096 w 7714416"/>
              <a:gd name="connsiteY23727" fmla="*/ 1403879 h 5282095"/>
              <a:gd name="connsiteX23728" fmla="*/ 5486667 w 7714416"/>
              <a:gd name="connsiteY23728" fmla="*/ 1408518 h 5282095"/>
              <a:gd name="connsiteX23729" fmla="*/ 5480848 w 7714416"/>
              <a:gd name="connsiteY23729" fmla="*/ 1413630 h 5282095"/>
              <a:gd name="connsiteX23730" fmla="*/ 5479789 w 7714416"/>
              <a:gd name="connsiteY23730" fmla="*/ 1414265 h 5282095"/>
              <a:gd name="connsiteX23731" fmla="*/ 5489854 w 7714416"/>
              <a:gd name="connsiteY23731" fmla="*/ 1426507 h 5282095"/>
              <a:gd name="connsiteX23732" fmla="*/ 5494034 w 7714416"/>
              <a:gd name="connsiteY23732" fmla="*/ 1427512 h 5282095"/>
              <a:gd name="connsiteX23733" fmla="*/ 5494120 w 7714416"/>
              <a:gd name="connsiteY23733" fmla="*/ 1427191 h 5282095"/>
              <a:gd name="connsiteX23734" fmla="*/ 5504096 w 7714416"/>
              <a:gd name="connsiteY23734" fmla="*/ 1425378 h 5282095"/>
              <a:gd name="connsiteX23735" fmla="*/ 5509525 w 7714416"/>
              <a:gd name="connsiteY23735" fmla="*/ 1426143 h 5282095"/>
              <a:gd name="connsiteX23736" fmla="*/ 5509277 w 7714416"/>
              <a:gd name="connsiteY23736" fmla="*/ 1425962 h 5282095"/>
              <a:gd name="connsiteX23737" fmla="*/ 5509299 w 7714416"/>
              <a:gd name="connsiteY23737" fmla="*/ 1423667 h 5282095"/>
              <a:gd name="connsiteX23738" fmla="*/ 5520928 w 7714416"/>
              <a:gd name="connsiteY23738" fmla="*/ 1420113 h 5282095"/>
              <a:gd name="connsiteX23739" fmla="*/ 5528410 w 7714416"/>
              <a:gd name="connsiteY23739" fmla="*/ 1420968 h 5282095"/>
              <a:gd name="connsiteX23740" fmla="*/ 5526761 w 7714416"/>
              <a:gd name="connsiteY23740" fmla="*/ 1410521 h 5282095"/>
              <a:gd name="connsiteX23741" fmla="*/ 5526225 w 7714416"/>
              <a:gd name="connsiteY23741" fmla="*/ 1384847 h 5282095"/>
              <a:gd name="connsiteX23742" fmla="*/ 5550248 w 7714416"/>
              <a:gd name="connsiteY23742" fmla="*/ 1367134 h 5282095"/>
              <a:gd name="connsiteX23743" fmla="*/ 5598647 w 7714416"/>
              <a:gd name="connsiteY23743" fmla="*/ 1368027 h 5282095"/>
              <a:gd name="connsiteX23744" fmla="*/ 5623377 w 7714416"/>
              <a:gd name="connsiteY23744" fmla="*/ 1384199 h 5282095"/>
              <a:gd name="connsiteX23745" fmla="*/ 5633220 w 7714416"/>
              <a:gd name="connsiteY23745" fmla="*/ 1390631 h 5282095"/>
              <a:gd name="connsiteX23746" fmla="*/ 5639218 w 7714416"/>
              <a:gd name="connsiteY23746" fmla="*/ 1387063 h 5282095"/>
              <a:gd name="connsiteX23747" fmla="*/ 5642333 w 7714416"/>
              <a:gd name="connsiteY23747" fmla="*/ 1392037 h 5282095"/>
              <a:gd name="connsiteX23748" fmla="*/ 5639563 w 7714416"/>
              <a:gd name="connsiteY23748" fmla="*/ 1394630 h 5282095"/>
              <a:gd name="connsiteX23749" fmla="*/ 5648413 w 7714416"/>
              <a:gd name="connsiteY23749" fmla="*/ 1400338 h 5282095"/>
              <a:gd name="connsiteX23750" fmla="*/ 5650652 w 7714416"/>
              <a:gd name="connsiteY23750" fmla="*/ 1413012 h 5282095"/>
              <a:gd name="connsiteX23751" fmla="*/ 5659747 w 7714416"/>
              <a:gd name="connsiteY23751" fmla="*/ 1413379 h 5282095"/>
              <a:gd name="connsiteX23752" fmla="*/ 5658156 w 7714416"/>
              <a:gd name="connsiteY23752" fmla="*/ 1420428 h 5282095"/>
              <a:gd name="connsiteX23753" fmla="*/ 5653840 w 7714416"/>
              <a:gd name="connsiteY23753" fmla="*/ 1422146 h 5282095"/>
              <a:gd name="connsiteX23754" fmla="*/ 5655895 w 7714416"/>
              <a:gd name="connsiteY23754" fmla="*/ 1427757 h 5282095"/>
              <a:gd name="connsiteX23755" fmla="*/ 5654712 w 7714416"/>
              <a:gd name="connsiteY23755" fmla="*/ 1453200 h 5282095"/>
              <a:gd name="connsiteX23756" fmla="*/ 5653519 w 7714416"/>
              <a:gd name="connsiteY23756" fmla="*/ 1453226 h 5282095"/>
              <a:gd name="connsiteX23757" fmla="*/ 5645983 w 7714416"/>
              <a:gd name="connsiteY23757" fmla="*/ 1458107 h 5282095"/>
              <a:gd name="connsiteX23758" fmla="*/ 5638882 w 7714416"/>
              <a:gd name="connsiteY23758" fmla="*/ 1458044 h 5282095"/>
              <a:gd name="connsiteX23759" fmla="*/ 5636123 w 7714416"/>
              <a:gd name="connsiteY23759" fmla="*/ 1459490 h 5282095"/>
              <a:gd name="connsiteX23760" fmla="*/ 5624641 w 7714416"/>
              <a:gd name="connsiteY23760" fmla="*/ 1468028 h 5282095"/>
              <a:gd name="connsiteX23761" fmla="*/ 5578331 w 7714416"/>
              <a:gd name="connsiteY23761" fmla="*/ 1460450 h 5282095"/>
              <a:gd name="connsiteX23762" fmla="*/ 5555760 w 7714416"/>
              <a:gd name="connsiteY23762" fmla="*/ 1450607 h 5282095"/>
              <a:gd name="connsiteX23763" fmla="*/ 5540092 w 7714416"/>
              <a:gd name="connsiteY23763" fmla="*/ 1438244 h 5282095"/>
              <a:gd name="connsiteX23764" fmla="*/ 5541759 w 7714416"/>
              <a:gd name="connsiteY23764" fmla="*/ 1440875 h 5282095"/>
              <a:gd name="connsiteX23765" fmla="*/ 5541087 w 7714416"/>
              <a:gd name="connsiteY23765" fmla="*/ 1453345 h 5282095"/>
              <a:gd name="connsiteX23766" fmla="*/ 5524147 w 7714416"/>
              <a:gd name="connsiteY23766" fmla="*/ 1452371 h 5282095"/>
              <a:gd name="connsiteX23767" fmla="*/ 5510011 w 7714416"/>
              <a:gd name="connsiteY23767" fmla="*/ 1436508 h 5282095"/>
              <a:gd name="connsiteX23768" fmla="*/ 5510776 w 7714416"/>
              <a:gd name="connsiteY23768" fmla="*/ 1434758 h 5282095"/>
              <a:gd name="connsiteX23769" fmla="*/ 5510222 w 7714416"/>
              <a:gd name="connsiteY23769" fmla="*/ 1434610 h 5282095"/>
              <a:gd name="connsiteX23770" fmla="*/ 5506816 w 7714416"/>
              <a:gd name="connsiteY23770" fmla="*/ 1434042 h 5282095"/>
              <a:gd name="connsiteX23771" fmla="*/ 5508437 w 7714416"/>
              <a:gd name="connsiteY23771" fmla="*/ 1435741 h 5282095"/>
              <a:gd name="connsiteX23772" fmla="*/ 5503462 w 7714416"/>
              <a:gd name="connsiteY23772" fmla="*/ 1436594 h 5282095"/>
              <a:gd name="connsiteX23773" fmla="*/ 5498842 w 7714416"/>
              <a:gd name="connsiteY23773" fmla="*/ 1438346 h 5282095"/>
              <a:gd name="connsiteX23774" fmla="*/ 5495988 w 7714416"/>
              <a:gd name="connsiteY23774" fmla="*/ 1437926 h 5282095"/>
              <a:gd name="connsiteX23775" fmla="*/ 5484456 w 7714416"/>
              <a:gd name="connsiteY23775" fmla="*/ 1440011 h 5282095"/>
              <a:gd name="connsiteX23776" fmla="*/ 5476946 w 7714416"/>
              <a:gd name="connsiteY23776" fmla="*/ 1439264 h 5282095"/>
              <a:gd name="connsiteX23777" fmla="*/ 5476888 w 7714416"/>
              <a:gd name="connsiteY23777" fmla="*/ 1439478 h 5282095"/>
              <a:gd name="connsiteX23778" fmla="*/ 5477682 w 7714416"/>
              <a:gd name="connsiteY23778" fmla="*/ 1445498 h 5282095"/>
              <a:gd name="connsiteX23779" fmla="*/ 5584089 w 7714416"/>
              <a:gd name="connsiteY23779" fmla="*/ 1463534 h 5282095"/>
              <a:gd name="connsiteX23780" fmla="*/ 5585755 w 7714416"/>
              <a:gd name="connsiteY23780" fmla="*/ 1463043 h 5282095"/>
              <a:gd name="connsiteX23781" fmla="*/ 5588924 w 7714416"/>
              <a:gd name="connsiteY23781" fmla="*/ 1464353 h 5282095"/>
              <a:gd name="connsiteX23782" fmla="*/ 5648433 w 7714416"/>
              <a:gd name="connsiteY23782" fmla="*/ 1474440 h 5282095"/>
              <a:gd name="connsiteX23783" fmla="*/ 5651121 w 7714416"/>
              <a:gd name="connsiteY23783" fmla="*/ 1472134 h 5282095"/>
              <a:gd name="connsiteX23784" fmla="*/ 5660934 w 7714416"/>
              <a:gd name="connsiteY23784" fmla="*/ 1476559 h 5282095"/>
              <a:gd name="connsiteX23785" fmla="*/ 5698817 w 7714416"/>
              <a:gd name="connsiteY23785" fmla="*/ 1482980 h 5282095"/>
              <a:gd name="connsiteX23786" fmla="*/ 5701978 w 7714416"/>
              <a:gd name="connsiteY23786" fmla="*/ 1477136 h 5282095"/>
              <a:gd name="connsiteX23787" fmla="*/ 5711278 w 7714416"/>
              <a:gd name="connsiteY23787" fmla="*/ 1482273 h 5282095"/>
              <a:gd name="connsiteX23788" fmla="*/ 5711714 w 7714416"/>
              <a:gd name="connsiteY23788" fmla="*/ 1485167 h 5282095"/>
              <a:gd name="connsiteX23789" fmla="*/ 5831359 w 7714416"/>
              <a:gd name="connsiteY23789" fmla="*/ 1505446 h 5282095"/>
              <a:gd name="connsiteX23790" fmla="*/ 5831044 w 7714416"/>
              <a:gd name="connsiteY23790" fmla="*/ 1504588 h 5282095"/>
              <a:gd name="connsiteX23791" fmla="*/ 5831911 w 7714416"/>
              <a:gd name="connsiteY23791" fmla="*/ 1489180 h 5282095"/>
              <a:gd name="connsiteX23792" fmla="*/ 5830778 w 7714416"/>
              <a:gd name="connsiteY23792" fmla="*/ 1494512 h 5282095"/>
              <a:gd name="connsiteX23793" fmla="*/ 5826739 w 7714416"/>
              <a:gd name="connsiteY23793" fmla="*/ 1496306 h 5282095"/>
              <a:gd name="connsiteX23794" fmla="*/ 5798911 w 7714416"/>
              <a:gd name="connsiteY23794" fmla="*/ 1476198 h 5282095"/>
              <a:gd name="connsiteX23795" fmla="*/ 5800238 w 7714416"/>
              <a:gd name="connsiteY23795" fmla="*/ 1450218 h 5282095"/>
              <a:gd name="connsiteX23796" fmla="*/ 5829869 w 7714416"/>
              <a:gd name="connsiteY23796" fmla="*/ 1479088 h 5282095"/>
              <a:gd name="connsiteX23797" fmla="*/ 5832036 w 7714416"/>
              <a:gd name="connsiteY23797" fmla="*/ 1487604 h 5282095"/>
              <a:gd name="connsiteX23798" fmla="*/ 5837142 w 7714416"/>
              <a:gd name="connsiteY23798" fmla="*/ 1478508 h 5282095"/>
              <a:gd name="connsiteX23799" fmla="*/ 5849256 w 7714416"/>
              <a:gd name="connsiteY23799" fmla="*/ 1503029 h 5282095"/>
              <a:gd name="connsiteX23800" fmla="*/ 5880110 w 7714416"/>
              <a:gd name="connsiteY23800" fmla="*/ 1505201 h 5282095"/>
              <a:gd name="connsiteX23801" fmla="*/ 5868179 w 7714416"/>
              <a:gd name="connsiteY23801" fmla="*/ 1511686 h 5282095"/>
              <a:gd name="connsiteX23802" fmla="*/ 6070995 w 7714416"/>
              <a:gd name="connsiteY23802" fmla="*/ 1546064 h 5282095"/>
              <a:gd name="connsiteX23803" fmla="*/ 6113489 w 7714416"/>
              <a:gd name="connsiteY23803" fmla="*/ 1554738 h 5282095"/>
              <a:gd name="connsiteX23804" fmla="*/ 6148256 w 7714416"/>
              <a:gd name="connsiteY23804" fmla="*/ 1565779 h 5282095"/>
              <a:gd name="connsiteX23805" fmla="*/ 6184954 w 7714416"/>
              <a:gd name="connsiteY23805" fmla="*/ 1578396 h 5282095"/>
              <a:gd name="connsiteX23806" fmla="*/ 6208133 w 7714416"/>
              <a:gd name="connsiteY23806" fmla="*/ 1589436 h 5282095"/>
              <a:gd name="connsiteX23807" fmla="*/ 6219720 w 7714416"/>
              <a:gd name="connsiteY23807" fmla="*/ 1600477 h 5282095"/>
              <a:gd name="connsiteX23808" fmla="*/ 6221653 w 7714416"/>
              <a:gd name="connsiteY23808" fmla="*/ 1611518 h 5282095"/>
              <a:gd name="connsiteX23809" fmla="*/ 6211994 w 7714416"/>
              <a:gd name="connsiteY23809" fmla="*/ 1619404 h 5282095"/>
              <a:gd name="connsiteX23810" fmla="*/ 6190749 w 7714416"/>
              <a:gd name="connsiteY23810" fmla="*/ 1628866 h 5282095"/>
              <a:gd name="connsiteX23811" fmla="*/ 6167602 w 7714416"/>
              <a:gd name="connsiteY23811" fmla="*/ 1634774 h 5282095"/>
              <a:gd name="connsiteX23812" fmla="*/ 6158861 w 7714416"/>
              <a:gd name="connsiteY23812" fmla="*/ 1644752 h 5282095"/>
              <a:gd name="connsiteX23813" fmla="*/ 6161876 w 7714416"/>
              <a:gd name="connsiteY23813" fmla="*/ 1645675 h 5282095"/>
              <a:gd name="connsiteX23814" fmla="*/ 6166806 w 7714416"/>
              <a:gd name="connsiteY23814" fmla="*/ 1649412 h 5282095"/>
              <a:gd name="connsiteX23815" fmla="*/ 6157832 w 7714416"/>
              <a:gd name="connsiteY23815" fmla="*/ 1659658 h 5282095"/>
              <a:gd name="connsiteX23816" fmla="*/ 6150976 w 7714416"/>
              <a:gd name="connsiteY23816" fmla="*/ 1654255 h 5282095"/>
              <a:gd name="connsiteX23817" fmla="*/ 6150757 w 7714416"/>
              <a:gd name="connsiteY23817" fmla="*/ 1653967 h 5282095"/>
              <a:gd name="connsiteX23818" fmla="*/ 6146075 w 7714416"/>
              <a:gd name="connsiteY23818" fmla="*/ 1659267 h 5282095"/>
              <a:gd name="connsiteX23819" fmla="*/ 6131111 w 7714416"/>
              <a:gd name="connsiteY23819" fmla="*/ 1648703 h 5282095"/>
              <a:gd name="connsiteX23820" fmla="*/ 6139477 w 7714416"/>
              <a:gd name="connsiteY23820" fmla="*/ 1640533 h 5282095"/>
              <a:gd name="connsiteX23821" fmla="*/ 6124489 w 7714416"/>
              <a:gd name="connsiteY23821" fmla="*/ 1643314 h 5282095"/>
              <a:gd name="connsiteX23822" fmla="*/ 6126239 w 7714416"/>
              <a:gd name="connsiteY23822" fmla="*/ 1644751 h 5282095"/>
              <a:gd name="connsiteX23823" fmla="*/ 6112141 w 7714416"/>
              <a:gd name="connsiteY23823" fmla="*/ 1654199 h 5282095"/>
              <a:gd name="connsiteX23824" fmla="*/ 6108238 w 7714416"/>
              <a:gd name="connsiteY23824" fmla="*/ 1653268 h 5282095"/>
              <a:gd name="connsiteX23825" fmla="*/ 6109820 w 7714416"/>
              <a:gd name="connsiteY23825" fmla="*/ 1656222 h 5282095"/>
              <a:gd name="connsiteX23826" fmla="*/ 6107702 w 7714416"/>
              <a:gd name="connsiteY23826" fmla="*/ 1663015 h 5282095"/>
              <a:gd name="connsiteX23827" fmla="*/ 6100807 w 7714416"/>
              <a:gd name="connsiteY23827" fmla="*/ 1667723 h 5282095"/>
              <a:gd name="connsiteX23828" fmla="*/ 6096139 w 7714416"/>
              <a:gd name="connsiteY23828" fmla="*/ 1659687 h 5282095"/>
              <a:gd name="connsiteX23829" fmla="*/ 6103373 w 7714416"/>
              <a:gd name="connsiteY23829" fmla="*/ 1651505 h 5282095"/>
              <a:gd name="connsiteX23830" fmla="*/ 6106503 w 7714416"/>
              <a:gd name="connsiteY23830" fmla="*/ 1651998 h 5282095"/>
              <a:gd name="connsiteX23831" fmla="*/ 6101439 w 7714416"/>
              <a:gd name="connsiteY23831" fmla="*/ 1647651 h 5282095"/>
              <a:gd name="connsiteX23832" fmla="*/ 6101178 w 7714416"/>
              <a:gd name="connsiteY23832" fmla="*/ 1646943 h 5282095"/>
              <a:gd name="connsiteX23833" fmla="*/ 6068436 w 7714416"/>
              <a:gd name="connsiteY23833" fmla="*/ 1651606 h 5282095"/>
              <a:gd name="connsiteX23834" fmla="*/ 6072216 w 7714416"/>
              <a:gd name="connsiteY23834" fmla="*/ 1654886 h 5282095"/>
              <a:gd name="connsiteX23835" fmla="*/ 6061997 w 7714416"/>
              <a:gd name="connsiteY23835" fmla="*/ 1653183 h 5282095"/>
              <a:gd name="connsiteX23836" fmla="*/ 6062730 w 7714416"/>
              <a:gd name="connsiteY23836" fmla="*/ 1654875 h 5282095"/>
              <a:gd name="connsiteX23837" fmla="*/ 6061005 w 7714416"/>
              <a:gd name="connsiteY23837" fmla="*/ 1661313 h 5282095"/>
              <a:gd name="connsiteX23838" fmla="*/ 6054712 w 7714416"/>
              <a:gd name="connsiteY23838" fmla="*/ 1663767 h 5282095"/>
              <a:gd name="connsiteX23839" fmla="*/ 6051467 w 7714416"/>
              <a:gd name="connsiteY23839" fmla="*/ 1663703 h 5282095"/>
              <a:gd name="connsiteX23840" fmla="*/ 6045746 w 7714416"/>
              <a:gd name="connsiteY23840" fmla="*/ 1658489 h 5282095"/>
              <a:gd name="connsiteX23841" fmla="*/ 6046113 w 7714416"/>
              <a:gd name="connsiteY23841" fmla="*/ 1654785 h 5282095"/>
              <a:gd name="connsiteX23842" fmla="*/ 6034296 w 7714416"/>
              <a:gd name="connsiteY23842" fmla="*/ 1656468 h 5282095"/>
              <a:gd name="connsiteX23843" fmla="*/ 6037062 w 7714416"/>
              <a:gd name="connsiteY23843" fmla="*/ 1666406 h 5282095"/>
              <a:gd name="connsiteX23844" fmla="*/ 6042835 w 7714416"/>
              <a:gd name="connsiteY23844" fmla="*/ 1667140 h 5282095"/>
              <a:gd name="connsiteX23845" fmla="*/ 6075134 w 7714416"/>
              <a:gd name="connsiteY23845" fmla="*/ 1701554 h 5282095"/>
              <a:gd name="connsiteX23846" fmla="*/ 6071836 w 7714416"/>
              <a:gd name="connsiteY23846" fmla="*/ 1734449 h 5282095"/>
              <a:gd name="connsiteX23847" fmla="*/ 6086448 w 7714416"/>
              <a:gd name="connsiteY23847" fmla="*/ 1751888 h 5282095"/>
              <a:gd name="connsiteX23848" fmla="*/ 6101755 w 7714416"/>
              <a:gd name="connsiteY23848" fmla="*/ 1764756 h 5282095"/>
              <a:gd name="connsiteX23849" fmla="*/ 6105549 w 7714416"/>
              <a:gd name="connsiteY23849" fmla="*/ 1765134 h 5282095"/>
              <a:gd name="connsiteX23850" fmla="*/ 6108940 w 7714416"/>
              <a:gd name="connsiteY23850" fmla="*/ 1770184 h 5282095"/>
              <a:gd name="connsiteX23851" fmla="*/ 6108850 w 7714416"/>
              <a:gd name="connsiteY23851" fmla="*/ 1770720 h 5282095"/>
              <a:gd name="connsiteX23852" fmla="*/ 6119281 w 7714416"/>
              <a:gd name="connsiteY23852" fmla="*/ 1779488 h 5282095"/>
              <a:gd name="connsiteX23853" fmla="*/ 6155982 w 7714416"/>
              <a:gd name="connsiteY23853" fmla="*/ 1805512 h 5282095"/>
              <a:gd name="connsiteX23854" fmla="*/ 6198475 w 7714416"/>
              <a:gd name="connsiteY23854" fmla="*/ 1830748 h 5282095"/>
              <a:gd name="connsiteX23855" fmla="*/ 6200421 w 7714416"/>
              <a:gd name="connsiteY23855" fmla="*/ 1831670 h 5282095"/>
              <a:gd name="connsiteX23856" fmla="*/ 6206947 w 7714416"/>
              <a:gd name="connsiteY23856" fmla="*/ 1826115 h 5282095"/>
              <a:gd name="connsiteX23857" fmla="*/ 6210486 w 7714416"/>
              <a:gd name="connsiteY23857" fmla="*/ 1827293 h 5282095"/>
              <a:gd name="connsiteX23858" fmla="*/ 6218327 w 7714416"/>
              <a:gd name="connsiteY23858" fmla="*/ 1831235 h 5282095"/>
              <a:gd name="connsiteX23859" fmla="*/ 6217731 w 7714416"/>
              <a:gd name="connsiteY23859" fmla="*/ 1835674 h 5282095"/>
              <a:gd name="connsiteX23860" fmla="*/ 6211720 w 7714416"/>
              <a:gd name="connsiteY23860" fmla="*/ 1837022 h 5282095"/>
              <a:gd name="connsiteX23861" fmla="*/ 6246762 w 7714416"/>
              <a:gd name="connsiteY23861" fmla="*/ 1853617 h 5282095"/>
              <a:gd name="connsiteX23862" fmla="*/ 6287172 w 7714416"/>
              <a:gd name="connsiteY23862" fmla="*/ 1871338 h 5282095"/>
              <a:gd name="connsiteX23863" fmla="*/ 6299172 w 7714416"/>
              <a:gd name="connsiteY23863" fmla="*/ 1870399 h 5282095"/>
              <a:gd name="connsiteX23864" fmla="*/ 6348274 w 7714416"/>
              <a:gd name="connsiteY23864" fmla="*/ 1865363 h 5282095"/>
              <a:gd name="connsiteX23865" fmla="*/ 6368914 w 7714416"/>
              <a:gd name="connsiteY23865" fmla="*/ 1894584 h 5282095"/>
              <a:gd name="connsiteX23866" fmla="*/ 6432198 w 7714416"/>
              <a:gd name="connsiteY23866" fmla="*/ 1890840 h 5282095"/>
              <a:gd name="connsiteX23867" fmla="*/ 6460974 w 7714416"/>
              <a:gd name="connsiteY23867" fmla="*/ 1925116 h 5282095"/>
              <a:gd name="connsiteX23868" fmla="*/ 6520128 w 7714416"/>
              <a:gd name="connsiteY23868" fmla="*/ 1953387 h 5282095"/>
              <a:gd name="connsiteX23869" fmla="*/ 6527660 w 7714416"/>
              <a:gd name="connsiteY23869" fmla="*/ 1960695 h 5282095"/>
              <a:gd name="connsiteX23870" fmla="*/ 6529866 w 7714416"/>
              <a:gd name="connsiteY23870" fmla="*/ 1959102 h 5282095"/>
              <a:gd name="connsiteX23871" fmla="*/ 6540380 w 7714416"/>
              <a:gd name="connsiteY23871" fmla="*/ 1961919 h 5282095"/>
              <a:gd name="connsiteX23872" fmla="*/ 6539064 w 7714416"/>
              <a:gd name="connsiteY23872" fmla="*/ 1966281 h 5282095"/>
              <a:gd name="connsiteX23873" fmla="*/ 6538266 w 7714416"/>
              <a:gd name="connsiteY23873" fmla="*/ 1966894 h 5282095"/>
              <a:gd name="connsiteX23874" fmla="*/ 6582845 w 7714416"/>
              <a:gd name="connsiteY23874" fmla="*/ 1982159 h 5282095"/>
              <a:gd name="connsiteX23875" fmla="*/ 6550592 w 7714416"/>
              <a:gd name="connsiteY23875" fmla="*/ 1993446 h 5282095"/>
              <a:gd name="connsiteX23876" fmla="*/ 6562893 w 7714416"/>
              <a:gd name="connsiteY23876" fmla="*/ 2016252 h 5282095"/>
              <a:gd name="connsiteX23877" fmla="*/ 6565819 w 7714416"/>
              <a:gd name="connsiteY23877" fmla="*/ 2020830 h 5282095"/>
              <a:gd name="connsiteX23878" fmla="*/ 6554829 w 7714416"/>
              <a:gd name="connsiteY23878" fmla="*/ 2061844 h 5282095"/>
              <a:gd name="connsiteX23879" fmla="*/ 6580914 w 7714416"/>
              <a:gd name="connsiteY23879" fmla="*/ 2064174 h 5282095"/>
              <a:gd name="connsiteX23880" fmla="*/ 6633065 w 7714416"/>
              <a:gd name="connsiteY23880" fmla="*/ 2072060 h 5282095"/>
              <a:gd name="connsiteX23881" fmla="*/ 6679420 w 7714416"/>
              <a:gd name="connsiteY23881" fmla="*/ 2083099 h 5282095"/>
              <a:gd name="connsiteX23882" fmla="*/ 6719982 w 7714416"/>
              <a:gd name="connsiteY23882" fmla="*/ 2095717 h 5282095"/>
              <a:gd name="connsiteX23883" fmla="*/ 6754750 w 7714416"/>
              <a:gd name="connsiteY23883" fmla="*/ 2109913 h 5282095"/>
              <a:gd name="connsiteX23884" fmla="*/ 6787585 w 7714416"/>
              <a:gd name="connsiteY23884" fmla="*/ 2126472 h 5282095"/>
              <a:gd name="connsiteX23885" fmla="*/ 6814626 w 7714416"/>
              <a:gd name="connsiteY23885" fmla="*/ 2144611 h 5282095"/>
              <a:gd name="connsiteX23886" fmla="*/ 6841668 w 7714416"/>
              <a:gd name="connsiteY23886" fmla="*/ 2162748 h 5282095"/>
              <a:gd name="connsiteX23887" fmla="*/ 6864846 w 7714416"/>
              <a:gd name="connsiteY23887" fmla="*/ 2181675 h 5282095"/>
              <a:gd name="connsiteX23888" fmla="*/ 6886092 w 7714416"/>
              <a:gd name="connsiteY23888" fmla="*/ 2201390 h 5282095"/>
              <a:gd name="connsiteX23889" fmla="*/ 6909270 w 7714416"/>
              <a:gd name="connsiteY23889" fmla="*/ 2221105 h 5282095"/>
              <a:gd name="connsiteX23890" fmla="*/ 6932450 w 7714416"/>
              <a:gd name="connsiteY23890" fmla="*/ 2240820 h 5282095"/>
              <a:gd name="connsiteX23891" fmla="*/ 6976874 w 7714416"/>
              <a:gd name="connsiteY23891" fmla="*/ 2278672 h 5282095"/>
              <a:gd name="connsiteX23892" fmla="*/ 7019368 w 7714416"/>
              <a:gd name="connsiteY23892" fmla="*/ 2316525 h 5282095"/>
              <a:gd name="connsiteX23893" fmla="*/ 7059928 w 7714416"/>
              <a:gd name="connsiteY23893" fmla="*/ 2354379 h 5282095"/>
              <a:gd name="connsiteX23894" fmla="*/ 7106285 w 7714416"/>
              <a:gd name="connsiteY23894" fmla="*/ 2391443 h 5282095"/>
              <a:gd name="connsiteX23895" fmla="*/ 7158436 w 7714416"/>
              <a:gd name="connsiteY23895" fmla="*/ 2427719 h 5282095"/>
              <a:gd name="connsiteX23896" fmla="*/ 7193203 w 7714416"/>
              <a:gd name="connsiteY23896" fmla="*/ 2455319 h 5282095"/>
              <a:gd name="connsiteX23897" fmla="*/ 7216381 w 7714416"/>
              <a:gd name="connsiteY23897" fmla="*/ 2483708 h 5282095"/>
              <a:gd name="connsiteX23898" fmla="*/ 7227970 w 7714416"/>
              <a:gd name="connsiteY23898" fmla="*/ 2512098 h 5282095"/>
              <a:gd name="connsiteX23899" fmla="*/ 7231832 w 7714416"/>
              <a:gd name="connsiteY23899" fmla="*/ 2540487 h 5282095"/>
              <a:gd name="connsiteX23900" fmla="*/ 7231832 w 7714416"/>
              <a:gd name="connsiteY23900" fmla="*/ 2568877 h 5282095"/>
              <a:gd name="connsiteX23901" fmla="*/ 7227970 w 7714416"/>
              <a:gd name="connsiteY23901" fmla="*/ 2598055 h 5282095"/>
              <a:gd name="connsiteX23902" fmla="*/ 7226038 w 7714416"/>
              <a:gd name="connsiteY23902" fmla="*/ 2626445 h 5282095"/>
              <a:gd name="connsiteX23903" fmla="*/ 7222174 w 7714416"/>
              <a:gd name="connsiteY23903" fmla="*/ 2654835 h 5282095"/>
              <a:gd name="connsiteX23904" fmla="*/ 7218312 w 7714416"/>
              <a:gd name="connsiteY23904" fmla="*/ 2660355 h 5282095"/>
              <a:gd name="connsiteX23905" fmla="*/ 7202860 w 7714416"/>
              <a:gd name="connsiteY23905" fmla="*/ 2666663 h 5282095"/>
              <a:gd name="connsiteX23906" fmla="*/ 7181612 w 7714416"/>
              <a:gd name="connsiteY23906" fmla="*/ 2672973 h 5282095"/>
              <a:gd name="connsiteX23907" fmla="*/ 7156504 w 7714416"/>
              <a:gd name="connsiteY23907" fmla="*/ 2678492 h 5282095"/>
              <a:gd name="connsiteX23908" fmla="*/ 7127532 w 7714416"/>
              <a:gd name="connsiteY23908" fmla="*/ 2684802 h 5282095"/>
              <a:gd name="connsiteX23909" fmla="*/ 7104352 w 7714416"/>
              <a:gd name="connsiteY23909" fmla="*/ 2691110 h 5282095"/>
              <a:gd name="connsiteX23910" fmla="*/ 7032887 w 7714416"/>
              <a:gd name="connsiteY23910" fmla="*/ 2710037 h 5282095"/>
              <a:gd name="connsiteX23911" fmla="*/ 6961420 w 7714416"/>
              <a:gd name="connsiteY23911" fmla="*/ 2728175 h 5282095"/>
              <a:gd name="connsiteX23912" fmla="*/ 6990394 w 7714416"/>
              <a:gd name="connsiteY23912" fmla="*/ 2744735 h 5282095"/>
              <a:gd name="connsiteX23913" fmla="*/ 7023228 w 7714416"/>
              <a:gd name="connsiteY23913" fmla="*/ 2762872 h 5282095"/>
              <a:gd name="connsiteX23914" fmla="*/ 7056065 w 7714416"/>
              <a:gd name="connsiteY23914" fmla="*/ 2779434 h 5282095"/>
              <a:gd name="connsiteX23915" fmla="*/ 7104352 w 7714416"/>
              <a:gd name="connsiteY23915" fmla="*/ 2795994 h 5282095"/>
              <a:gd name="connsiteX23916" fmla="*/ 7158436 w 7714416"/>
              <a:gd name="connsiteY23916" fmla="*/ 2810978 h 5282095"/>
              <a:gd name="connsiteX23917" fmla="*/ 7210586 w 7714416"/>
              <a:gd name="connsiteY23917" fmla="*/ 2826749 h 5282095"/>
              <a:gd name="connsiteX23918" fmla="*/ 7209368 w 7714416"/>
              <a:gd name="connsiteY23918" fmla="*/ 2829317 h 5282095"/>
              <a:gd name="connsiteX23919" fmla="*/ 7280138 w 7714416"/>
              <a:gd name="connsiteY23919" fmla="*/ 2817644 h 5282095"/>
              <a:gd name="connsiteX23920" fmla="*/ 7295840 w 7714416"/>
              <a:gd name="connsiteY23920" fmla="*/ 2816843 h 5282095"/>
              <a:gd name="connsiteX23921" fmla="*/ 7313506 w 7714416"/>
              <a:gd name="connsiteY23921" fmla="*/ 2817644 h 5282095"/>
              <a:gd name="connsiteX23922" fmla="*/ 7331172 w 7714416"/>
              <a:gd name="connsiteY23922" fmla="*/ 2818445 h 5282095"/>
              <a:gd name="connsiteX23923" fmla="*/ 7350798 w 7714416"/>
              <a:gd name="connsiteY23923" fmla="*/ 2820047 h 5282095"/>
              <a:gd name="connsiteX23924" fmla="*/ 7339021 w 7714416"/>
              <a:gd name="connsiteY23924" fmla="*/ 2841670 h 5282095"/>
              <a:gd name="connsiteX23925" fmla="*/ 7327244 w 7714416"/>
              <a:gd name="connsiteY23925" fmla="*/ 2860090 h 5282095"/>
              <a:gd name="connsiteX23926" fmla="*/ 7323320 w 7714416"/>
              <a:gd name="connsiteY23926" fmla="*/ 2874505 h 5282095"/>
              <a:gd name="connsiteX23927" fmla="*/ 7323320 w 7714416"/>
              <a:gd name="connsiteY23927" fmla="*/ 2884981 h 5282095"/>
              <a:gd name="connsiteX23928" fmla="*/ 7469489 w 7714416"/>
              <a:gd name="connsiteY23928" fmla="*/ 2884982 h 5282095"/>
              <a:gd name="connsiteX23929" fmla="*/ 7466338 w 7714416"/>
              <a:gd name="connsiteY23929" fmla="*/ 2890758 h 5282095"/>
              <a:gd name="connsiteX23930" fmla="*/ 7458030 w 7714416"/>
              <a:gd name="connsiteY23930" fmla="*/ 2901866 h 5282095"/>
              <a:gd name="connsiteX23931" fmla="*/ 7449150 w 7714416"/>
              <a:gd name="connsiteY23931" fmla="*/ 2900644 h 5282095"/>
              <a:gd name="connsiteX23932" fmla="*/ 7447431 w 7714416"/>
              <a:gd name="connsiteY23932" fmla="*/ 2900644 h 5282095"/>
              <a:gd name="connsiteX23933" fmla="*/ 7421549 w 7714416"/>
              <a:gd name="connsiteY23933" fmla="*/ 2924578 h 5282095"/>
              <a:gd name="connsiteX23934" fmla="*/ 7427351 w 7714416"/>
              <a:gd name="connsiteY23934" fmla="*/ 2925761 h 5282095"/>
              <a:gd name="connsiteX23935" fmla="*/ 7440883 w 7714416"/>
              <a:gd name="connsiteY23935" fmla="*/ 2928632 h 5282095"/>
              <a:gd name="connsiteX23936" fmla="*/ 7452588 w 7714416"/>
              <a:gd name="connsiteY23936" fmla="*/ 2918530 h 5282095"/>
              <a:gd name="connsiteX23937" fmla="*/ 7454306 w 7714416"/>
              <a:gd name="connsiteY23937" fmla="*/ 2907865 h 5282095"/>
              <a:gd name="connsiteX23938" fmla="*/ 7468056 w 7714416"/>
              <a:gd name="connsiteY23938" fmla="*/ 2902755 h 5282095"/>
              <a:gd name="connsiteX23939" fmla="*/ 7473786 w 7714416"/>
              <a:gd name="connsiteY23939" fmla="*/ 2904310 h 5282095"/>
              <a:gd name="connsiteX23940" fmla="*/ 7466266 w 7714416"/>
              <a:gd name="connsiteY23940" fmla="*/ 2923736 h 5282095"/>
              <a:gd name="connsiteX23941" fmla="*/ 7452675 w 7714416"/>
              <a:gd name="connsiteY23941" fmla="*/ 2931134 h 5282095"/>
              <a:gd name="connsiteX23942" fmla="*/ 7476420 w 7714416"/>
              <a:gd name="connsiteY23942" fmla="*/ 2936173 h 5282095"/>
              <a:gd name="connsiteX23943" fmla="*/ 7496048 w 7714416"/>
              <a:gd name="connsiteY23943" fmla="*/ 2941779 h 5282095"/>
              <a:gd name="connsiteX23944" fmla="*/ 7517639 w 7714416"/>
              <a:gd name="connsiteY23944" fmla="*/ 2948186 h 5282095"/>
              <a:gd name="connsiteX23945" fmla="*/ 7537267 w 7714416"/>
              <a:gd name="connsiteY23945" fmla="*/ 2955394 h 5282095"/>
              <a:gd name="connsiteX23946" fmla="*/ 7537267 w 7714416"/>
              <a:gd name="connsiteY23946" fmla="*/ 3454335 h 5282095"/>
              <a:gd name="connsiteX23947" fmla="*/ 7484272 w 7714416"/>
              <a:gd name="connsiteY23947" fmla="*/ 3470353 h 5282095"/>
              <a:gd name="connsiteX23948" fmla="*/ 7431274 w 7714416"/>
              <a:gd name="connsiteY23948" fmla="*/ 3487171 h 5282095"/>
              <a:gd name="connsiteX23949" fmla="*/ 7378278 w 7714416"/>
              <a:gd name="connsiteY23949" fmla="*/ 3503189 h 5282095"/>
              <a:gd name="connsiteX23950" fmla="*/ 7319393 w 7714416"/>
              <a:gd name="connsiteY23950" fmla="*/ 3515201 h 5282095"/>
              <a:gd name="connsiteX23951" fmla="*/ 7291914 w 7714416"/>
              <a:gd name="connsiteY23951" fmla="*/ 3520807 h 5282095"/>
              <a:gd name="connsiteX23952" fmla="*/ 7268360 w 7714416"/>
              <a:gd name="connsiteY23952" fmla="*/ 3528816 h 5282095"/>
              <a:gd name="connsiteX23953" fmla="*/ 7242842 w 7714416"/>
              <a:gd name="connsiteY23953" fmla="*/ 3538426 h 5282095"/>
              <a:gd name="connsiteX23954" fmla="*/ 7219290 w 7714416"/>
              <a:gd name="connsiteY23954" fmla="*/ 3549638 h 5282095"/>
              <a:gd name="connsiteX23955" fmla="*/ 7197698 w 7714416"/>
              <a:gd name="connsiteY23955" fmla="*/ 3560050 h 5282095"/>
              <a:gd name="connsiteX23956" fmla="*/ 7174144 w 7714416"/>
              <a:gd name="connsiteY23956" fmla="*/ 3571262 h 5282095"/>
              <a:gd name="connsiteX23957" fmla="*/ 7148627 w 7714416"/>
              <a:gd name="connsiteY23957" fmla="*/ 3580873 h 5282095"/>
              <a:gd name="connsiteX23958" fmla="*/ 7123112 w 7714416"/>
              <a:gd name="connsiteY23958" fmla="*/ 3591284 h 5282095"/>
              <a:gd name="connsiteX23959" fmla="*/ 7099556 w 7714416"/>
              <a:gd name="connsiteY23959" fmla="*/ 3599293 h 5282095"/>
              <a:gd name="connsiteX23960" fmla="*/ 7068150 w 7714416"/>
              <a:gd name="connsiteY23960" fmla="*/ 3605700 h 5282095"/>
              <a:gd name="connsiteX23961" fmla="*/ 7038708 w 7714416"/>
              <a:gd name="connsiteY23961" fmla="*/ 3608902 h 5282095"/>
              <a:gd name="connsiteX23962" fmla="*/ 7009423 w 7714416"/>
              <a:gd name="connsiteY23962" fmla="*/ 3608903 h 5282095"/>
              <a:gd name="connsiteX23963" fmla="*/ 7007530 w 7714416"/>
              <a:gd name="connsiteY23963" fmla="*/ 3609744 h 5282095"/>
              <a:gd name="connsiteX23964" fmla="*/ 7007139 w 7714416"/>
              <a:gd name="connsiteY23964" fmla="*/ 3608903 h 5282095"/>
              <a:gd name="connsiteX23965" fmla="*/ 7005340 w 7714416"/>
              <a:gd name="connsiteY23965" fmla="*/ 3608903 h 5282095"/>
              <a:gd name="connsiteX23966" fmla="*/ 6996148 w 7714416"/>
              <a:gd name="connsiteY23966" fmla="*/ 3608311 h 5282095"/>
              <a:gd name="connsiteX23967" fmla="*/ 6993099 w 7714416"/>
              <a:gd name="connsiteY23967" fmla="*/ 3609799 h 5282095"/>
              <a:gd name="connsiteX23968" fmla="*/ 6980781 w 7714416"/>
              <a:gd name="connsiteY23968" fmla="*/ 3608022 h 5282095"/>
              <a:gd name="connsiteX23969" fmla="*/ 6980072 w 7714416"/>
              <a:gd name="connsiteY23969" fmla="*/ 3607275 h 5282095"/>
              <a:gd name="connsiteX23970" fmla="*/ 6968047 w 7714416"/>
              <a:gd name="connsiteY23970" fmla="*/ 3606500 h 5282095"/>
              <a:gd name="connsiteX23971" fmla="*/ 6966335 w 7714416"/>
              <a:gd name="connsiteY23971" fmla="*/ 3606234 h 5282095"/>
              <a:gd name="connsiteX23972" fmla="*/ 6957649 w 7714416"/>
              <a:gd name="connsiteY23972" fmla="*/ 3606911 h 5282095"/>
              <a:gd name="connsiteX23973" fmla="*/ 6954898 w 7714416"/>
              <a:gd name="connsiteY23973" fmla="*/ 3604456 h 5282095"/>
              <a:gd name="connsiteX23974" fmla="*/ 6926827 w 7714416"/>
              <a:gd name="connsiteY23974" fmla="*/ 3600093 h 5282095"/>
              <a:gd name="connsiteX23975" fmla="*/ 6881682 w 7714416"/>
              <a:gd name="connsiteY23975" fmla="*/ 3588881 h 5282095"/>
              <a:gd name="connsiteX23976" fmla="*/ 6869904 w 7714416"/>
              <a:gd name="connsiteY23976" fmla="*/ 3588080 h 5282095"/>
              <a:gd name="connsiteX23977" fmla="*/ 6854202 w 7714416"/>
              <a:gd name="connsiteY23977" fmla="*/ 3588882 h 5282095"/>
              <a:gd name="connsiteX23978" fmla="*/ 6836536 w 7714416"/>
              <a:gd name="connsiteY23978" fmla="*/ 3592084 h 5282095"/>
              <a:gd name="connsiteX23979" fmla="*/ 6827621 w 7714416"/>
              <a:gd name="connsiteY23979" fmla="*/ 3593903 h 5282095"/>
              <a:gd name="connsiteX23980" fmla="*/ 6821471 w 7714416"/>
              <a:gd name="connsiteY23980" fmla="*/ 3599983 h 5282095"/>
              <a:gd name="connsiteX23981" fmla="*/ 6803746 w 7714416"/>
              <a:gd name="connsiteY23981" fmla="*/ 3609244 h 5282095"/>
              <a:gd name="connsiteX23982" fmla="*/ 6800881 w 7714416"/>
              <a:gd name="connsiteY23982" fmla="*/ 3619242 h 5282095"/>
              <a:gd name="connsiteX23983" fmla="*/ 6798876 w 7714416"/>
              <a:gd name="connsiteY23983" fmla="*/ 3620685 h 5282095"/>
              <a:gd name="connsiteX23984" fmla="*/ 6799162 w 7714416"/>
              <a:gd name="connsiteY23984" fmla="*/ 3626350 h 5282095"/>
              <a:gd name="connsiteX23985" fmla="*/ 6787131 w 7714416"/>
              <a:gd name="connsiteY23985" fmla="*/ 3622573 h 5282095"/>
              <a:gd name="connsiteX23986" fmla="*/ 6788563 w 7714416"/>
              <a:gd name="connsiteY23986" fmla="*/ 3620241 h 5282095"/>
              <a:gd name="connsiteX23987" fmla="*/ 6792574 w 7714416"/>
              <a:gd name="connsiteY23987" fmla="*/ 3618908 h 5282095"/>
              <a:gd name="connsiteX23988" fmla="*/ 6790855 w 7714416"/>
              <a:gd name="connsiteY23988" fmla="*/ 3616353 h 5282095"/>
              <a:gd name="connsiteX23989" fmla="*/ 6789136 w 7714416"/>
              <a:gd name="connsiteY23989" fmla="*/ 3617687 h 5282095"/>
              <a:gd name="connsiteX23990" fmla="*/ 6774813 w 7714416"/>
              <a:gd name="connsiteY23990" fmla="*/ 3623795 h 5282095"/>
              <a:gd name="connsiteX23991" fmla="*/ 6765932 w 7714416"/>
              <a:gd name="connsiteY23991" fmla="*/ 3626573 h 5282095"/>
              <a:gd name="connsiteX23992" fmla="*/ 6769657 w 7714416"/>
              <a:gd name="connsiteY23992" fmla="*/ 3627795 h 5282095"/>
              <a:gd name="connsiteX23993" fmla="*/ 6778537 w 7714416"/>
              <a:gd name="connsiteY23993" fmla="*/ 3635570 h 5282095"/>
              <a:gd name="connsiteX23994" fmla="*/ 6763928 w 7714416"/>
              <a:gd name="connsiteY23994" fmla="*/ 3640236 h 5282095"/>
              <a:gd name="connsiteX23995" fmla="*/ 6755620 w 7714416"/>
              <a:gd name="connsiteY23995" fmla="*/ 3637126 h 5282095"/>
              <a:gd name="connsiteX23996" fmla="*/ 6753328 w 7714416"/>
              <a:gd name="connsiteY23996" fmla="*/ 3632571 h 5282095"/>
              <a:gd name="connsiteX23997" fmla="*/ 6751896 w 7714416"/>
              <a:gd name="connsiteY23997" fmla="*/ 3630571 h 5282095"/>
              <a:gd name="connsiteX23998" fmla="*/ 6749031 w 7714416"/>
              <a:gd name="connsiteY23998" fmla="*/ 3631349 h 5282095"/>
              <a:gd name="connsiteX23999" fmla="*/ 6747886 w 7714416"/>
              <a:gd name="connsiteY23999" fmla="*/ 3634238 h 5282095"/>
              <a:gd name="connsiteX24000" fmla="*/ 6735569 w 7714416"/>
              <a:gd name="connsiteY24000" fmla="*/ 3639569 h 5282095"/>
              <a:gd name="connsiteX24001" fmla="*/ 6732130 w 7714416"/>
              <a:gd name="connsiteY24001" fmla="*/ 3635792 h 5282095"/>
              <a:gd name="connsiteX24002" fmla="*/ 6724968 w 7714416"/>
              <a:gd name="connsiteY24002" fmla="*/ 3637680 h 5282095"/>
              <a:gd name="connsiteX24003" fmla="*/ 6721244 w 7714416"/>
              <a:gd name="connsiteY24003" fmla="*/ 3625129 h 5282095"/>
              <a:gd name="connsiteX24004" fmla="*/ 6723822 w 7714416"/>
              <a:gd name="connsiteY24004" fmla="*/ 3624462 h 5282095"/>
              <a:gd name="connsiteX24005" fmla="*/ 6725254 w 7714416"/>
              <a:gd name="connsiteY24005" fmla="*/ 3618130 h 5282095"/>
              <a:gd name="connsiteX24006" fmla="*/ 6730186 w 7714416"/>
              <a:gd name="connsiteY24006" fmla="*/ 3612099 h 5282095"/>
              <a:gd name="connsiteX24007" fmla="*/ 6726620 w 7714416"/>
              <a:gd name="connsiteY24007" fmla="*/ 3612908 h 5282095"/>
              <a:gd name="connsiteX24008" fmla="*/ 6710916 w 7714416"/>
              <a:gd name="connsiteY24008" fmla="*/ 3613708 h 5282095"/>
              <a:gd name="connsiteX24009" fmla="*/ 6697176 w 7714416"/>
              <a:gd name="connsiteY24009" fmla="*/ 3612907 h 5282095"/>
              <a:gd name="connsiteX24010" fmla="*/ 6663809 w 7714416"/>
              <a:gd name="connsiteY24010" fmla="*/ 3608101 h 5282095"/>
              <a:gd name="connsiteX24011" fmla="*/ 6649896 w 7714416"/>
              <a:gd name="connsiteY24011" fmla="*/ 3607228 h 5282095"/>
              <a:gd name="connsiteX24012" fmla="*/ 6643943 w 7714416"/>
              <a:gd name="connsiteY24012" fmla="*/ 3610125 h 5282095"/>
              <a:gd name="connsiteX24013" fmla="*/ 6632726 w 7714416"/>
              <a:gd name="connsiteY24013" fmla="*/ 3608799 h 5282095"/>
              <a:gd name="connsiteX24014" fmla="*/ 6635587 w 7714416"/>
              <a:gd name="connsiteY24014" fmla="*/ 3606670 h 5282095"/>
              <a:gd name="connsiteX24015" fmla="*/ 6612775 w 7714416"/>
              <a:gd name="connsiteY24015" fmla="*/ 3608102 h 5282095"/>
              <a:gd name="connsiteX24016" fmla="*/ 6601737 w 7714416"/>
              <a:gd name="connsiteY24016" fmla="*/ 3610150 h 5282095"/>
              <a:gd name="connsiteX24017" fmla="*/ 6600071 w 7714416"/>
              <a:gd name="connsiteY24017" fmla="*/ 3620019 h 5282095"/>
              <a:gd name="connsiteX24018" fmla="*/ 6573715 w 7714416"/>
              <a:gd name="connsiteY24018" fmla="*/ 3644790 h 5282095"/>
              <a:gd name="connsiteX24019" fmla="*/ 6502292 w 7714416"/>
              <a:gd name="connsiteY24019" fmla="*/ 3652632 h 5282095"/>
              <a:gd name="connsiteX24020" fmla="*/ 6496304 w 7714416"/>
              <a:gd name="connsiteY24020" fmla="*/ 3650534 h 5282095"/>
              <a:gd name="connsiteX24021" fmla="*/ 6489225 w 7714416"/>
              <a:gd name="connsiteY24021" fmla="*/ 3653184 h 5282095"/>
              <a:gd name="connsiteX24022" fmla="*/ 6490927 w 7714416"/>
              <a:gd name="connsiteY24022" fmla="*/ 3654900 h 5282095"/>
              <a:gd name="connsiteX24023" fmla="*/ 6476030 w 7714416"/>
              <a:gd name="connsiteY24023" fmla="*/ 3661342 h 5282095"/>
              <a:gd name="connsiteX24024" fmla="*/ 6473712 w 7714416"/>
              <a:gd name="connsiteY24024" fmla="*/ 3658992 h 5282095"/>
              <a:gd name="connsiteX24025" fmla="*/ 6450182 w 7714416"/>
              <a:gd name="connsiteY24025" fmla="*/ 3667802 h 5282095"/>
              <a:gd name="connsiteX24026" fmla="*/ 6475207 w 7714416"/>
              <a:gd name="connsiteY24026" fmla="*/ 3677074 h 5282095"/>
              <a:gd name="connsiteX24027" fmla="*/ 6498375 w 7714416"/>
              <a:gd name="connsiteY24027" fmla="*/ 3694556 h 5282095"/>
              <a:gd name="connsiteX24028" fmla="*/ 6493792 w 7714416"/>
              <a:gd name="connsiteY24028" fmla="*/ 3710441 h 5282095"/>
              <a:gd name="connsiteX24029" fmla="*/ 6494938 w 7714416"/>
              <a:gd name="connsiteY24029" fmla="*/ 3713329 h 5282095"/>
              <a:gd name="connsiteX24030" fmla="*/ 6504390 w 7714416"/>
              <a:gd name="connsiteY24030" fmla="*/ 3715550 h 5282095"/>
              <a:gd name="connsiteX24031" fmla="*/ 6502386 w 7714416"/>
              <a:gd name="connsiteY24031" fmla="*/ 3724214 h 5282095"/>
              <a:gd name="connsiteX24032" fmla="*/ 6497516 w 7714416"/>
              <a:gd name="connsiteY24032" fmla="*/ 3727103 h 5282095"/>
              <a:gd name="connsiteX24033" fmla="*/ 6499521 w 7714416"/>
              <a:gd name="connsiteY24033" fmla="*/ 3729102 h 5282095"/>
              <a:gd name="connsiteX24034" fmla="*/ 6482620 w 7714416"/>
              <a:gd name="connsiteY24034" fmla="*/ 3750430 h 5282095"/>
              <a:gd name="connsiteX24035" fmla="*/ 6465718 w 7714416"/>
              <a:gd name="connsiteY24035" fmla="*/ 3758095 h 5282095"/>
              <a:gd name="connsiteX24036" fmla="*/ 6460275 w 7714416"/>
              <a:gd name="connsiteY24036" fmla="*/ 3756650 h 5282095"/>
              <a:gd name="connsiteX24037" fmla="*/ 6458556 w 7714416"/>
              <a:gd name="connsiteY24037" fmla="*/ 3755096 h 5282095"/>
              <a:gd name="connsiteX24038" fmla="*/ 6455978 w 7714416"/>
              <a:gd name="connsiteY24038" fmla="*/ 3754540 h 5282095"/>
              <a:gd name="connsiteX24039" fmla="*/ 6438790 w 7714416"/>
              <a:gd name="connsiteY24039" fmla="*/ 3757428 h 5282095"/>
              <a:gd name="connsiteX24040" fmla="*/ 6445379 w 7714416"/>
              <a:gd name="connsiteY24040" fmla="*/ 3757983 h 5282095"/>
              <a:gd name="connsiteX24041" fmla="*/ 6443660 w 7714416"/>
              <a:gd name="connsiteY24041" fmla="*/ 3757984 h 5282095"/>
              <a:gd name="connsiteX24042" fmla="*/ 6443946 w 7714416"/>
              <a:gd name="connsiteY24042" fmla="*/ 3760316 h 5282095"/>
              <a:gd name="connsiteX24043" fmla="*/ 6445379 w 7714416"/>
              <a:gd name="connsiteY24043" fmla="*/ 3760428 h 5282095"/>
              <a:gd name="connsiteX24044" fmla="*/ 6443946 w 7714416"/>
              <a:gd name="connsiteY24044" fmla="*/ 3762761 h 5282095"/>
              <a:gd name="connsiteX24045" fmla="*/ 6432202 w 7714416"/>
              <a:gd name="connsiteY24045" fmla="*/ 3765983 h 5282095"/>
              <a:gd name="connsiteX24046" fmla="*/ 6429910 w 7714416"/>
              <a:gd name="connsiteY24046" fmla="*/ 3762427 h 5282095"/>
              <a:gd name="connsiteX24047" fmla="*/ 6431056 w 7714416"/>
              <a:gd name="connsiteY24047" fmla="*/ 3760984 h 5282095"/>
              <a:gd name="connsiteX24048" fmla="*/ 6428478 w 7714416"/>
              <a:gd name="connsiteY24048" fmla="*/ 3759095 h 5282095"/>
              <a:gd name="connsiteX24049" fmla="*/ 6408425 w 7714416"/>
              <a:gd name="connsiteY24049" fmla="*/ 3762316 h 5282095"/>
              <a:gd name="connsiteX24050" fmla="*/ 6358008 w 7714416"/>
              <a:gd name="connsiteY24050" fmla="*/ 3729880 h 5282095"/>
              <a:gd name="connsiteX24051" fmla="*/ 6358581 w 7714416"/>
              <a:gd name="connsiteY24051" fmla="*/ 3728436 h 5282095"/>
              <a:gd name="connsiteX24052" fmla="*/ 6356575 w 7714416"/>
              <a:gd name="connsiteY24052" fmla="*/ 3726880 h 5282095"/>
              <a:gd name="connsiteX24053" fmla="*/ 6353710 w 7714416"/>
              <a:gd name="connsiteY24053" fmla="*/ 3718661 h 5282095"/>
              <a:gd name="connsiteX24054" fmla="*/ 6361445 w 7714416"/>
              <a:gd name="connsiteY24054" fmla="*/ 3715995 h 5282095"/>
              <a:gd name="connsiteX24055" fmla="*/ 6363450 w 7714416"/>
              <a:gd name="connsiteY24055" fmla="*/ 3716106 h 5282095"/>
              <a:gd name="connsiteX24056" fmla="*/ 6363736 w 7714416"/>
              <a:gd name="connsiteY24056" fmla="*/ 3713551 h 5282095"/>
              <a:gd name="connsiteX24057" fmla="*/ 6363166 w 7714416"/>
              <a:gd name="connsiteY24057" fmla="*/ 3700381 h 5282095"/>
              <a:gd name="connsiteX24058" fmla="*/ 6355217 w 7714416"/>
              <a:gd name="connsiteY24058" fmla="*/ 3703359 h 5282095"/>
              <a:gd name="connsiteX24059" fmla="*/ 6357434 w 7714416"/>
              <a:gd name="connsiteY24059" fmla="*/ 3709107 h 5282095"/>
              <a:gd name="connsiteX24060" fmla="*/ 6348351 w 7714416"/>
              <a:gd name="connsiteY24060" fmla="*/ 3705929 h 5282095"/>
              <a:gd name="connsiteX24061" fmla="*/ 6301099 w 7714416"/>
              <a:gd name="connsiteY24061" fmla="*/ 3723621 h 5282095"/>
              <a:gd name="connsiteX24062" fmla="*/ 6299569 w 7714416"/>
              <a:gd name="connsiteY24062" fmla="*/ 3728922 h 5282095"/>
              <a:gd name="connsiteX24063" fmla="*/ 6294412 w 7714416"/>
              <a:gd name="connsiteY24063" fmla="*/ 3738767 h 5282095"/>
              <a:gd name="connsiteX24064" fmla="*/ 6300570 w 7714416"/>
              <a:gd name="connsiteY24064" fmla="*/ 3723819 h 5282095"/>
              <a:gd name="connsiteX24065" fmla="*/ 6277325 w 7714416"/>
              <a:gd name="connsiteY24065" fmla="*/ 3732522 h 5282095"/>
              <a:gd name="connsiteX24066" fmla="*/ 6277798 w 7714416"/>
              <a:gd name="connsiteY24066" fmla="*/ 3733768 h 5282095"/>
              <a:gd name="connsiteX24067" fmla="*/ 6276078 w 7714416"/>
              <a:gd name="connsiteY24067" fmla="*/ 3733545 h 5282095"/>
              <a:gd name="connsiteX24068" fmla="*/ 6274318 w 7714416"/>
              <a:gd name="connsiteY24068" fmla="*/ 3733649 h 5282095"/>
              <a:gd name="connsiteX24069" fmla="*/ 6270520 w 7714416"/>
              <a:gd name="connsiteY24069" fmla="*/ 3735070 h 5282095"/>
              <a:gd name="connsiteX24070" fmla="*/ 6270922 w 7714416"/>
              <a:gd name="connsiteY24070" fmla="*/ 3737879 h 5282095"/>
              <a:gd name="connsiteX24071" fmla="*/ 6269775 w 7714416"/>
              <a:gd name="connsiteY24071" fmla="*/ 3739989 h 5282095"/>
              <a:gd name="connsiteX24072" fmla="*/ 6270636 w 7714416"/>
              <a:gd name="connsiteY24072" fmla="*/ 3741766 h 5282095"/>
              <a:gd name="connsiteX24073" fmla="*/ 6281235 w 7714416"/>
              <a:gd name="connsiteY24073" fmla="*/ 3739989 h 5282095"/>
              <a:gd name="connsiteX24074" fmla="*/ 6293265 w 7714416"/>
              <a:gd name="connsiteY24074" fmla="*/ 3738878 h 5282095"/>
              <a:gd name="connsiteX24075" fmla="*/ 6294126 w 7714416"/>
              <a:gd name="connsiteY24075" fmla="*/ 3739100 h 5282095"/>
              <a:gd name="connsiteX24076" fmla="*/ 6294126 w 7714416"/>
              <a:gd name="connsiteY24076" fmla="*/ 3738766 h 5282095"/>
              <a:gd name="connsiteX24077" fmla="*/ 6294698 w 7714416"/>
              <a:gd name="connsiteY24077" fmla="*/ 3739211 h 5282095"/>
              <a:gd name="connsiteX24078" fmla="*/ 6297850 w 7714416"/>
              <a:gd name="connsiteY24078" fmla="*/ 3739988 h 5282095"/>
              <a:gd name="connsiteX24079" fmla="*/ 6293553 w 7714416"/>
              <a:gd name="connsiteY24079" fmla="*/ 3742432 h 5282095"/>
              <a:gd name="connsiteX24080" fmla="*/ 6291261 w 7714416"/>
              <a:gd name="connsiteY24080" fmla="*/ 3742877 h 5282095"/>
              <a:gd name="connsiteX24081" fmla="*/ 6290115 w 7714416"/>
              <a:gd name="connsiteY24081" fmla="*/ 3743987 h 5282095"/>
              <a:gd name="connsiteX24082" fmla="*/ 6288970 w 7714416"/>
              <a:gd name="connsiteY24082" fmla="*/ 3743432 h 5282095"/>
              <a:gd name="connsiteX24083" fmla="*/ 6284100 w 7714416"/>
              <a:gd name="connsiteY24083" fmla="*/ 3744321 h 5282095"/>
              <a:gd name="connsiteX24084" fmla="*/ 6274073 w 7714416"/>
              <a:gd name="connsiteY24084" fmla="*/ 3748653 h 5282095"/>
              <a:gd name="connsiteX24085" fmla="*/ 6262042 w 7714416"/>
              <a:gd name="connsiteY24085" fmla="*/ 3749320 h 5282095"/>
              <a:gd name="connsiteX24086" fmla="*/ 6261182 w 7714416"/>
              <a:gd name="connsiteY24086" fmla="*/ 3746099 h 5282095"/>
              <a:gd name="connsiteX24087" fmla="*/ 6256313 w 7714416"/>
              <a:gd name="connsiteY24087" fmla="*/ 3746987 h 5282095"/>
              <a:gd name="connsiteX24088" fmla="*/ 6245749 w 7714416"/>
              <a:gd name="connsiteY24088" fmla="*/ 3746515 h 5282095"/>
              <a:gd name="connsiteX24089" fmla="*/ 6244507 w 7714416"/>
              <a:gd name="connsiteY24089" fmla="*/ 3744810 h 5282095"/>
              <a:gd name="connsiteX24090" fmla="*/ 6171139 w 7714416"/>
              <a:gd name="connsiteY24090" fmla="*/ 3772280 h 5282095"/>
              <a:gd name="connsiteX24091" fmla="*/ 6160635 w 7714416"/>
              <a:gd name="connsiteY24091" fmla="*/ 3774184 h 5282095"/>
              <a:gd name="connsiteX24092" fmla="*/ 6158342 w 7714416"/>
              <a:gd name="connsiteY24092" fmla="*/ 3784311 h 5282095"/>
              <a:gd name="connsiteX24093" fmla="*/ 6148316 w 7714416"/>
              <a:gd name="connsiteY24093" fmla="*/ 3795641 h 5282095"/>
              <a:gd name="connsiteX24094" fmla="*/ 6141154 w 7714416"/>
              <a:gd name="connsiteY24094" fmla="*/ 3799862 h 5282095"/>
              <a:gd name="connsiteX24095" fmla="*/ 6149748 w 7714416"/>
              <a:gd name="connsiteY24095" fmla="*/ 3804195 h 5282095"/>
              <a:gd name="connsiteX24096" fmla="*/ 6171806 w 7714416"/>
              <a:gd name="connsiteY24096" fmla="*/ 3824523 h 5282095"/>
              <a:gd name="connsiteX24097" fmla="*/ 6138002 w 7714416"/>
              <a:gd name="connsiteY24097" fmla="*/ 3803418 h 5282095"/>
              <a:gd name="connsiteX24098" fmla="*/ 6139148 w 7714416"/>
              <a:gd name="connsiteY24098" fmla="*/ 3800973 h 5282095"/>
              <a:gd name="connsiteX24099" fmla="*/ 6135424 w 7714416"/>
              <a:gd name="connsiteY24099" fmla="*/ 3803306 h 5282095"/>
              <a:gd name="connsiteX24100" fmla="*/ 6104486 w 7714416"/>
              <a:gd name="connsiteY24100" fmla="*/ 3817524 h 5282095"/>
              <a:gd name="connsiteX24101" fmla="*/ 6100190 w 7714416"/>
              <a:gd name="connsiteY24101" fmla="*/ 3815969 h 5282095"/>
              <a:gd name="connsiteX24102" fmla="*/ 6101622 w 7714416"/>
              <a:gd name="connsiteY24102" fmla="*/ 3816858 h 5282095"/>
              <a:gd name="connsiteX24103" fmla="*/ 6106205 w 7714416"/>
              <a:gd name="connsiteY24103" fmla="*/ 3820191 h 5282095"/>
              <a:gd name="connsiteX24104" fmla="*/ 6093887 w 7714416"/>
              <a:gd name="connsiteY24104" fmla="*/ 3814525 h 5282095"/>
              <a:gd name="connsiteX24105" fmla="*/ 6092168 w 7714416"/>
              <a:gd name="connsiteY24105" fmla="*/ 3813413 h 5282095"/>
              <a:gd name="connsiteX24106" fmla="*/ 6083002 w 7714416"/>
              <a:gd name="connsiteY24106" fmla="*/ 3812970 h 5282095"/>
              <a:gd name="connsiteX24107" fmla="*/ 6065240 w 7714416"/>
              <a:gd name="connsiteY24107" fmla="*/ 3815748 h 5282095"/>
              <a:gd name="connsiteX24108" fmla="*/ 6049593 w 7714416"/>
              <a:gd name="connsiteY24108" fmla="*/ 3803362 h 5282095"/>
              <a:gd name="connsiteX24109" fmla="*/ 6045208 w 7714416"/>
              <a:gd name="connsiteY24109" fmla="*/ 3800699 h 5282095"/>
              <a:gd name="connsiteX24110" fmla="*/ 6013373 w 7714416"/>
              <a:gd name="connsiteY24110" fmla="*/ 3809745 h 5282095"/>
              <a:gd name="connsiteX24111" fmla="*/ 6010311 w 7714416"/>
              <a:gd name="connsiteY24111" fmla="*/ 3817469 h 5282095"/>
              <a:gd name="connsiteX24112" fmla="*/ 5997062 w 7714416"/>
              <a:gd name="connsiteY24112" fmla="*/ 3827300 h 5282095"/>
              <a:gd name="connsiteX24113" fmla="*/ 5995344 w 7714416"/>
              <a:gd name="connsiteY24113" fmla="*/ 3830188 h 5282095"/>
              <a:gd name="connsiteX24114" fmla="*/ 5992765 w 7714416"/>
              <a:gd name="connsiteY24114" fmla="*/ 3829299 h 5282095"/>
              <a:gd name="connsiteX24115" fmla="*/ 5987896 w 7714416"/>
              <a:gd name="connsiteY24115" fmla="*/ 3831410 h 5282095"/>
              <a:gd name="connsiteX24116" fmla="*/ 5989041 w 7714416"/>
              <a:gd name="connsiteY24116" fmla="*/ 3827078 h 5282095"/>
              <a:gd name="connsiteX24117" fmla="*/ 5987609 w 7714416"/>
              <a:gd name="connsiteY24117" fmla="*/ 3824857 h 5282095"/>
              <a:gd name="connsiteX24118" fmla="*/ 5989041 w 7714416"/>
              <a:gd name="connsiteY24118" fmla="*/ 3821413 h 5282095"/>
              <a:gd name="connsiteX24119" fmla="*/ 5992192 w 7714416"/>
              <a:gd name="connsiteY24119" fmla="*/ 3819635 h 5282095"/>
              <a:gd name="connsiteX24120" fmla="*/ 5996091 w 7714416"/>
              <a:gd name="connsiteY24120" fmla="*/ 3814595 h 5282095"/>
              <a:gd name="connsiteX24121" fmla="*/ 5960254 w 7714416"/>
              <a:gd name="connsiteY24121" fmla="*/ 3824518 h 5282095"/>
              <a:gd name="connsiteX24122" fmla="*/ 5962400 w 7714416"/>
              <a:gd name="connsiteY24122" fmla="*/ 3824745 h 5282095"/>
              <a:gd name="connsiteX24123" fmla="*/ 5963832 w 7714416"/>
              <a:gd name="connsiteY24123" fmla="*/ 3827189 h 5282095"/>
              <a:gd name="connsiteX24124" fmla="*/ 5963260 w 7714416"/>
              <a:gd name="connsiteY24124" fmla="*/ 3831854 h 5282095"/>
              <a:gd name="connsiteX24125" fmla="*/ 5959823 w 7714416"/>
              <a:gd name="connsiteY24125" fmla="*/ 3834076 h 5282095"/>
              <a:gd name="connsiteX24126" fmla="*/ 5953806 w 7714416"/>
              <a:gd name="connsiteY24126" fmla="*/ 3847183 h 5282095"/>
              <a:gd name="connsiteX24127" fmla="*/ 5950368 w 7714416"/>
              <a:gd name="connsiteY24127" fmla="*/ 3856181 h 5282095"/>
              <a:gd name="connsiteX24128" fmla="*/ 5955525 w 7714416"/>
              <a:gd name="connsiteY24128" fmla="*/ 3858513 h 5282095"/>
              <a:gd name="connsiteX24129" fmla="*/ 5949796 w 7714416"/>
              <a:gd name="connsiteY24129" fmla="*/ 3870067 h 5282095"/>
              <a:gd name="connsiteX24130" fmla="*/ 5944926 w 7714416"/>
              <a:gd name="connsiteY24130" fmla="*/ 3869955 h 5282095"/>
              <a:gd name="connsiteX24131" fmla="*/ 5940056 w 7714416"/>
              <a:gd name="connsiteY24131" fmla="*/ 3867957 h 5282095"/>
              <a:gd name="connsiteX24132" fmla="*/ 5927452 w 7714416"/>
              <a:gd name="connsiteY24132" fmla="*/ 3872622 h 5282095"/>
              <a:gd name="connsiteX24133" fmla="*/ 5904820 w 7714416"/>
              <a:gd name="connsiteY24133" fmla="*/ 3870733 h 5282095"/>
              <a:gd name="connsiteX24134" fmla="*/ 5910550 w 7714416"/>
              <a:gd name="connsiteY24134" fmla="*/ 3874843 h 5282095"/>
              <a:gd name="connsiteX24135" fmla="*/ 5917712 w 7714416"/>
              <a:gd name="connsiteY24135" fmla="*/ 3872178 h 5282095"/>
              <a:gd name="connsiteX24136" fmla="*/ 5934326 w 7714416"/>
              <a:gd name="connsiteY24136" fmla="*/ 3878842 h 5282095"/>
              <a:gd name="connsiteX24137" fmla="*/ 5922582 w 7714416"/>
              <a:gd name="connsiteY24137" fmla="*/ 3883952 h 5282095"/>
              <a:gd name="connsiteX24138" fmla="*/ 5916852 w 7714416"/>
              <a:gd name="connsiteY24138" fmla="*/ 3888062 h 5282095"/>
              <a:gd name="connsiteX24139" fmla="*/ 5915993 w 7714416"/>
              <a:gd name="connsiteY24139" fmla="*/ 3895172 h 5282095"/>
              <a:gd name="connsiteX24140" fmla="*/ 5909118 w 7714416"/>
              <a:gd name="connsiteY24140" fmla="*/ 3909502 h 5282095"/>
              <a:gd name="connsiteX24141" fmla="*/ 5905394 w 7714416"/>
              <a:gd name="connsiteY24141" fmla="*/ 3914944 h 5282095"/>
              <a:gd name="connsiteX24142" fmla="*/ 5912555 w 7714416"/>
              <a:gd name="connsiteY24142" fmla="*/ 3915833 h 5282095"/>
              <a:gd name="connsiteX24143" fmla="*/ 5908258 w 7714416"/>
              <a:gd name="connsiteY24143" fmla="*/ 3919832 h 5282095"/>
              <a:gd name="connsiteX24144" fmla="*/ 5903962 w 7714416"/>
              <a:gd name="connsiteY24144" fmla="*/ 3921276 h 5282095"/>
              <a:gd name="connsiteX24145" fmla="*/ 5909690 w 7714416"/>
              <a:gd name="connsiteY24145" fmla="*/ 3925942 h 5282095"/>
              <a:gd name="connsiteX24146" fmla="*/ 5921722 w 7714416"/>
              <a:gd name="connsiteY24146" fmla="*/ 3930830 h 5282095"/>
              <a:gd name="connsiteX24147" fmla="*/ 5914561 w 7714416"/>
              <a:gd name="connsiteY24147" fmla="*/ 3941382 h 5282095"/>
              <a:gd name="connsiteX24148" fmla="*/ 5915706 w 7714416"/>
              <a:gd name="connsiteY24148" fmla="*/ 3941049 h 5282095"/>
              <a:gd name="connsiteX24149" fmla="*/ 5899951 w 7714416"/>
              <a:gd name="connsiteY24149" fmla="*/ 3958378 h 5282095"/>
              <a:gd name="connsiteX24150" fmla="*/ 5897372 w 7714416"/>
              <a:gd name="connsiteY24150" fmla="*/ 3959267 h 5282095"/>
              <a:gd name="connsiteX24151" fmla="*/ 5896513 w 7714416"/>
              <a:gd name="connsiteY24151" fmla="*/ 3963266 h 5282095"/>
              <a:gd name="connsiteX24152" fmla="*/ 5893362 w 7714416"/>
              <a:gd name="connsiteY24152" fmla="*/ 3960265 h 5282095"/>
              <a:gd name="connsiteX24153" fmla="*/ 5891070 w 7714416"/>
              <a:gd name="connsiteY24153" fmla="*/ 3960933 h 5282095"/>
              <a:gd name="connsiteX24154" fmla="*/ 5871018 w 7714416"/>
              <a:gd name="connsiteY24154" fmla="*/ 3974152 h 5282095"/>
              <a:gd name="connsiteX24155" fmla="*/ 5871018 w 7714416"/>
              <a:gd name="connsiteY24155" fmla="*/ 3977928 h 5282095"/>
              <a:gd name="connsiteX24156" fmla="*/ 5862710 w 7714416"/>
              <a:gd name="connsiteY24156" fmla="*/ 3985481 h 5282095"/>
              <a:gd name="connsiteX24157" fmla="*/ 5831772 w 7714416"/>
              <a:gd name="connsiteY24157" fmla="*/ 4006143 h 5282095"/>
              <a:gd name="connsiteX24158" fmla="*/ 5845809 w 7714416"/>
              <a:gd name="connsiteY24158" fmla="*/ 3979817 h 5282095"/>
              <a:gd name="connsiteX24159" fmla="*/ 5854116 w 7714416"/>
              <a:gd name="connsiteY24159" fmla="*/ 3979817 h 5282095"/>
              <a:gd name="connsiteX24160" fmla="*/ 5859846 w 7714416"/>
              <a:gd name="connsiteY24160" fmla="*/ 3974152 h 5282095"/>
              <a:gd name="connsiteX24161" fmla="*/ 5862710 w 7714416"/>
              <a:gd name="connsiteY24161" fmla="*/ 3970375 h 5282095"/>
              <a:gd name="connsiteX24162" fmla="*/ 5862710 w 7714416"/>
              <a:gd name="connsiteY24162" fmla="*/ 3968597 h 5282095"/>
              <a:gd name="connsiteX24163" fmla="*/ 5860132 w 7714416"/>
              <a:gd name="connsiteY24163" fmla="*/ 3962155 h 5282095"/>
              <a:gd name="connsiteX24164" fmla="*/ 5853545 w 7714416"/>
              <a:gd name="connsiteY24164" fmla="*/ 3958378 h 5282095"/>
              <a:gd name="connsiteX24165" fmla="*/ 5854976 w 7714416"/>
              <a:gd name="connsiteY24165" fmla="*/ 3961266 h 5282095"/>
              <a:gd name="connsiteX24166" fmla="*/ 5855262 w 7714416"/>
              <a:gd name="connsiteY24166" fmla="*/ 3976262 h 5282095"/>
              <a:gd name="connsiteX24167" fmla="*/ 5824896 w 7714416"/>
              <a:gd name="connsiteY24167" fmla="*/ 3964266 h 5282095"/>
              <a:gd name="connsiteX24168" fmla="*/ 5819454 w 7714416"/>
              <a:gd name="connsiteY24168" fmla="*/ 3956156 h 5282095"/>
              <a:gd name="connsiteX24169" fmla="*/ 5812579 w 7714416"/>
              <a:gd name="connsiteY24169" fmla="*/ 3971375 h 5282095"/>
              <a:gd name="connsiteX24170" fmla="*/ 5806277 w 7714416"/>
              <a:gd name="connsiteY24170" fmla="*/ 3987482 h 5282095"/>
              <a:gd name="connsiteX24171" fmla="*/ 5806564 w 7714416"/>
              <a:gd name="connsiteY24171" fmla="*/ 3991925 h 5282095"/>
              <a:gd name="connsiteX24172" fmla="*/ 5807710 w 7714416"/>
              <a:gd name="connsiteY24172" fmla="*/ 3992480 h 5282095"/>
              <a:gd name="connsiteX24173" fmla="*/ 5812579 w 7714416"/>
              <a:gd name="connsiteY24173" fmla="*/ 3989926 h 5282095"/>
              <a:gd name="connsiteX24174" fmla="*/ 5823178 w 7714416"/>
              <a:gd name="connsiteY24174" fmla="*/ 3989259 h 5282095"/>
              <a:gd name="connsiteX24175" fmla="*/ 5814298 w 7714416"/>
              <a:gd name="connsiteY24175" fmla="*/ 4005477 h 5282095"/>
              <a:gd name="connsiteX24176" fmla="*/ 5809428 w 7714416"/>
              <a:gd name="connsiteY24176" fmla="*/ 4011697 h 5282095"/>
              <a:gd name="connsiteX24177" fmla="*/ 5818595 w 7714416"/>
              <a:gd name="connsiteY24177" fmla="*/ 4011365 h 5282095"/>
              <a:gd name="connsiteX24178" fmla="*/ 5828048 w 7714416"/>
              <a:gd name="connsiteY24178" fmla="*/ 4019363 h 5282095"/>
              <a:gd name="connsiteX24179" fmla="*/ 5811720 w 7714416"/>
              <a:gd name="connsiteY24179" fmla="*/ 4021695 h 5282095"/>
              <a:gd name="connsiteX24180" fmla="*/ 5804844 w 7714416"/>
              <a:gd name="connsiteY24180" fmla="*/ 4017696 h 5282095"/>
              <a:gd name="connsiteX24181" fmla="*/ 5800834 w 7714416"/>
              <a:gd name="connsiteY24181" fmla="*/ 4023028 h 5282095"/>
              <a:gd name="connsiteX24182" fmla="*/ 5786798 w 7714416"/>
              <a:gd name="connsiteY24182" fmla="*/ 4021140 h 5282095"/>
              <a:gd name="connsiteX24183" fmla="*/ 5783932 w 7714416"/>
              <a:gd name="connsiteY24183" fmla="*/ 4021140 h 5282095"/>
              <a:gd name="connsiteX24184" fmla="*/ 5783646 w 7714416"/>
              <a:gd name="connsiteY24184" fmla="*/ 4021362 h 5282095"/>
              <a:gd name="connsiteX24185" fmla="*/ 5783360 w 7714416"/>
              <a:gd name="connsiteY24185" fmla="*/ 4021695 h 5282095"/>
              <a:gd name="connsiteX24186" fmla="*/ 5784219 w 7714416"/>
              <a:gd name="connsiteY24186" fmla="*/ 4023250 h 5282095"/>
              <a:gd name="connsiteX24187" fmla="*/ 5776484 w 7714416"/>
              <a:gd name="connsiteY24187" fmla="*/ 4027582 h 5282095"/>
              <a:gd name="connsiteX24188" fmla="*/ 5774193 w 7714416"/>
              <a:gd name="connsiteY24188" fmla="*/ 4027471 h 5282095"/>
              <a:gd name="connsiteX24189" fmla="*/ 5766458 w 7714416"/>
              <a:gd name="connsiteY24189" fmla="*/ 4032248 h 5282095"/>
              <a:gd name="connsiteX24190" fmla="*/ 5760729 w 7714416"/>
              <a:gd name="connsiteY24190" fmla="*/ 4037358 h 5282095"/>
              <a:gd name="connsiteX24191" fmla="*/ 5761016 w 7714416"/>
              <a:gd name="connsiteY24191" fmla="*/ 4037358 h 5282095"/>
              <a:gd name="connsiteX24192" fmla="*/ 5762162 w 7714416"/>
              <a:gd name="connsiteY24192" fmla="*/ 4038691 h 5282095"/>
              <a:gd name="connsiteX24193" fmla="*/ 5764453 w 7714416"/>
              <a:gd name="connsiteY24193" fmla="*/ 4038247 h 5282095"/>
              <a:gd name="connsiteX24194" fmla="*/ 5791668 w 7714416"/>
              <a:gd name="connsiteY24194" fmla="*/ 4043690 h 5282095"/>
              <a:gd name="connsiteX24195" fmla="*/ 5793672 w 7714416"/>
              <a:gd name="connsiteY24195" fmla="*/ 4044800 h 5282095"/>
              <a:gd name="connsiteX24196" fmla="*/ 5794818 w 7714416"/>
              <a:gd name="connsiteY24196" fmla="*/ 4040468 h 5282095"/>
              <a:gd name="connsiteX24197" fmla="*/ 5795105 w 7714416"/>
              <a:gd name="connsiteY24197" fmla="*/ 4032693 h 5282095"/>
              <a:gd name="connsiteX24198" fmla="*/ 5816877 w 7714416"/>
              <a:gd name="connsiteY24198" fmla="*/ 4024472 h 5282095"/>
              <a:gd name="connsiteX24199" fmla="*/ 5826043 w 7714416"/>
              <a:gd name="connsiteY24199" fmla="*/ 4027027 h 5282095"/>
              <a:gd name="connsiteX24200" fmla="*/ 5821461 w 7714416"/>
              <a:gd name="connsiteY24200" fmla="*/ 4043911 h 5282095"/>
              <a:gd name="connsiteX24201" fmla="*/ 5814871 w 7714416"/>
              <a:gd name="connsiteY24201" fmla="*/ 4056353 h 5282095"/>
              <a:gd name="connsiteX24202" fmla="*/ 5823178 w 7714416"/>
              <a:gd name="connsiteY24202" fmla="*/ 4061907 h 5282095"/>
              <a:gd name="connsiteX24203" fmla="*/ 5850106 w 7714416"/>
              <a:gd name="connsiteY24203" fmla="*/ 4107007 h 5282095"/>
              <a:gd name="connsiteX24204" fmla="*/ 5831772 w 7714416"/>
              <a:gd name="connsiteY24204" fmla="*/ 4109118 h 5282095"/>
              <a:gd name="connsiteX24205" fmla="*/ 5818882 w 7714416"/>
              <a:gd name="connsiteY24205" fmla="*/ 4079014 h 5282095"/>
              <a:gd name="connsiteX24206" fmla="*/ 5811434 w 7714416"/>
              <a:gd name="connsiteY24206" fmla="*/ 4061130 h 5282095"/>
              <a:gd name="connsiteX24207" fmla="*/ 5810574 w 7714416"/>
              <a:gd name="connsiteY24207" fmla="*/ 4062908 h 5282095"/>
              <a:gd name="connsiteX24208" fmla="*/ 5802840 w 7714416"/>
              <a:gd name="connsiteY24208" fmla="*/ 4067239 h 5282095"/>
              <a:gd name="connsiteX24209" fmla="*/ 5801407 w 7714416"/>
              <a:gd name="connsiteY24209" fmla="*/ 4068462 h 5282095"/>
              <a:gd name="connsiteX24210" fmla="*/ 5781068 w 7714416"/>
              <a:gd name="connsiteY24210" fmla="*/ 4075793 h 5282095"/>
              <a:gd name="connsiteX24211" fmla="*/ 5779922 w 7714416"/>
              <a:gd name="connsiteY24211" fmla="*/ 4080348 h 5282095"/>
              <a:gd name="connsiteX24212" fmla="*/ 5783646 w 7714416"/>
              <a:gd name="connsiteY24212" fmla="*/ 4077903 h 5282095"/>
              <a:gd name="connsiteX24213" fmla="*/ 5803699 w 7714416"/>
              <a:gd name="connsiteY24213" fmla="*/ 4073127 h 5282095"/>
              <a:gd name="connsiteX24214" fmla="*/ 5803986 w 7714416"/>
              <a:gd name="connsiteY24214" fmla="*/ 4077903 h 5282095"/>
              <a:gd name="connsiteX24215" fmla="*/ 5800548 w 7714416"/>
              <a:gd name="connsiteY24215" fmla="*/ 4077792 h 5282095"/>
              <a:gd name="connsiteX24216" fmla="*/ 5789376 w 7714416"/>
              <a:gd name="connsiteY24216" fmla="*/ 4082235 h 5282095"/>
              <a:gd name="connsiteX24217" fmla="*/ 5779063 w 7714416"/>
              <a:gd name="connsiteY24217" fmla="*/ 4082791 h 5282095"/>
              <a:gd name="connsiteX24218" fmla="*/ 5777630 w 7714416"/>
              <a:gd name="connsiteY24218" fmla="*/ 4088012 h 5282095"/>
              <a:gd name="connsiteX24219" fmla="*/ 5769896 w 7714416"/>
              <a:gd name="connsiteY24219" fmla="*/ 4100231 h 5282095"/>
              <a:gd name="connsiteX24220" fmla="*/ 5741536 w 7714416"/>
              <a:gd name="connsiteY24220" fmla="*/ 4115227 h 5282095"/>
              <a:gd name="connsiteX24221" fmla="*/ 5738958 w 7714416"/>
              <a:gd name="connsiteY24221" fmla="*/ 4092788 h 5282095"/>
              <a:gd name="connsiteX24222" fmla="*/ 5764166 w 7714416"/>
              <a:gd name="connsiteY24222" fmla="*/ 4074015 h 5282095"/>
              <a:gd name="connsiteX24223" fmla="*/ 5768177 w 7714416"/>
              <a:gd name="connsiteY24223" fmla="*/ 4069683 h 5282095"/>
              <a:gd name="connsiteX24224" fmla="*/ 5747552 w 7714416"/>
              <a:gd name="connsiteY24224" fmla="*/ 4062352 h 5282095"/>
              <a:gd name="connsiteX24225" fmla="*/ 5741822 w 7714416"/>
              <a:gd name="connsiteY24225" fmla="*/ 4056353 h 5282095"/>
              <a:gd name="connsiteX24226" fmla="*/ 5726926 w 7714416"/>
              <a:gd name="connsiteY24226" fmla="*/ 4073460 h 5282095"/>
              <a:gd name="connsiteX24227" fmla="*/ 5731224 w 7714416"/>
              <a:gd name="connsiteY24227" fmla="*/ 4069794 h 5282095"/>
              <a:gd name="connsiteX24228" fmla="*/ 5742682 w 7714416"/>
              <a:gd name="connsiteY24228" fmla="*/ 4068016 h 5282095"/>
              <a:gd name="connsiteX24229" fmla="*/ 5759297 w 7714416"/>
              <a:gd name="connsiteY24229" fmla="*/ 4074904 h 5282095"/>
              <a:gd name="connsiteX24230" fmla="*/ 5757864 w 7714416"/>
              <a:gd name="connsiteY24230" fmla="*/ 4079236 h 5282095"/>
              <a:gd name="connsiteX24231" fmla="*/ 5733515 w 7714416"/>
              <a:gd name="connsiteY24231" fmla="*/ 4083013 h 5282095"/>
              <a:gd name="connsiteX24232" fmla="*/ 5728358 w 7714416"/>
              <a:gd name="connsiteY24232" fmla="*/ 4080347 h 5282095"/>
              <a:gd name="connsiteX24233" fmla="*/ 5732082 w 7714416"/>
              <a:gd name="connsiteY24233" fmla="*/ 4085345 h 5282095"/>
              <a:gd name="connsiteX24234" fmla="*/ 5730650 w 7714416"/>
              <a:gd name="connsiteY24234" fmla="*/ 4096454 h 5282095"/>
              <a:gd name="connsiteX24235" fmla="*/ 5728645 w 7714416"/>
              <a:gd name="connsiteY24235" fmla="*/ 4096010 h 5282095"/>
              <a:gd name="connsiteX24236" fmla="*/ 5728932 w 7714416"/>
              <a:gd name="connsiteY24236" fmla="*/ 4097898 h 5282095"/>
              <a:gd name="connsiteX24237" fmla="*/ 5714322 w 7714416"/>
              <a:gd name="connsiteY24237" fmla="*/ 4102119 h 5282095"/>
              <a:gd name="connsiteX24238" fmla="*/ 5718233 w 7714416"/>
              <a:gd name="connsiteY24238" fmla="*/ 4098233 h 5282095"/>
              <a:gd name="connsiteX24239" fmla="*/ 5722916 w 7714416"/>
              <a:gd name="connsiteY24239" fmla="*/ 4095010 h 5282095"/>
              <a:gd name="connsiteX24240" fmla="*/ 5718905 w 7714416"/>
              <a:gd name="connsiteY24240" fmla="*/ 4097565 h 5282095"/>
              <a:gd name="connsiteX24241" fmla="*/ 5718233 w 7714416"/>
              <a:gd name="connsiteY24241" fmla="*/ 4098233 h 5282095"/>
              <a:gd name="connsiteX24242" fmla="*/ 5707339 w 7714416"/>
              <a:gd name="connsiteY24242" fmla="*/ 4105729 h 5282095"/>
              <a:gd name="connsiteX24243" fmla="*/ 5699712 w 7714416"/>
              <a:gd name="connsiteY24243" fmla="*/ 4122781 h 5282095"/>
              <a:gd name="connsiteX24244" fmla="*/ 5679946 w 7714416"/>
              <a:gd name="connsiteY24244" fmla="*/ 4126447 h 5282095"/>
              <a:gd name="connsiteX24245" fmla="*/ 5660466 w 7714416"/>
              <a:gd name="connsiteY24245" fmla="*/ 4158438 h 5282095"/>
              <a:gd name="connsiteX24246" fmla="*/ 5634972 w 7714416"/>
              <a:gd name="connsiteY24246" fmla="*/ 4167880 h 5282095"/>
              <a:gd name="connsiteX24247" fmla="*/ 5651873 w 7714416"/>
              <a:gd name="connsiteY24247" fmla="*/ 4175323 h 5282095"/>
              <a:gd name="connsiteX24248" fmla="*/ 5646430 w 7714416"/>
              <a:gd name="connsiteY24248" fmla="*/ 4188542 h 5282095"/>
              <a:gd name="connsiteX24249" fmla="*/ 5659034 w 7714416"/>
              <a:gd name="connsiteY24249" fmla="*/ 4185765 h 5282095"/>
              <a:gd name="connsiteX24250" fmla="*/ 5669634 w 7714416"/>
              <a:gd name="connsiteY24250" fmla="*/ 4178433 h 5282095"/>
              <a:gd name="connsiteX24251" fmla="*/ 5658175 w 7714416"/>
              <a:gd name="connsiteY24251" fmla="*/ 4181544 h 5282095"/>
              <a:gd name="connsiteX24252" fmla="*/ 5654451 w 7714416"/>
              <a:gd name="connsiteY24252" fmla="*/ 4168992 h 5282095"/>
              <a:gd name="connsiteX24253" fmla="*/ 5697421 w 7714416"/>
              <a:gd name="connsiteY24253" fmla="*/ 4158994 h 5282095"/>
              <a:gd name="connsiteX24254" fmla="*/ 5708306 w 7714416"/>
              <a:gd name="connsiteY24254" fmla="*/ 4156551 h 5282095"/>
              <a:gd name="connsiteX24255" fmla="*/ 5702290 w 7714416"/>
              <a:gd name="connsiteY24255" fmla="*/ 4155328 h 5282095"/>
              <a:gd name="connsiteX24256" fmla="*/ 5693410 w 7714416"/>
              <a:gd name="connsiteY24256" fmla="*/ 4145553 h 5282095"/>
              <a:gd name="connsiteX24257" fmla="*/ 5702004 w 7714416"/>
              <a:gd name="connsiteY24257" fmla="*/ 4145553 h 5282095"/>
              <a:gd name="connsiteX24258" fmla="*/ 5702004 w 7714416"/>
              <a:gd name="connsiteY24258" fmla="*/ 4141887 h 5282095"/>
              <a:gd name="connsiteX24259" fmla="*/ 5704296 w 7714416"/>
              <a:gd name="connsiteY24259" fmla="*/ 4131890 h 5282095"/>
              <a:gd name="connsiteX24260" fmla="*/ 5710598 w 7714416"/>
              <a:gd name="connsiteY24260" fmla="*/ 4132556 h 5282095"/>
              <a:gd name="connsiteX24261" fmla="*/ 5704868 w 7714416"/>
              <a:gd name="connsiteY24261" fmla="*/ 4141887 h 5282095"/>
              <a:gd name="connsiteX24262" fmla="*/ 5704868 w 7714416"/>
              <a:gd name="connsiteY24262" fmla="*/ 4143665 h 5282095"/>
              <a:gd name="connsiteX24263" fmla="*/ 5711172 w 7714416"/>
              <a:gd name="connsiteY24263" fmla="*/ 4143553 h 5282095"/>
              <a:gd name="connsiteX24264" fmla="*/ 5715468 w 7714416"/>
              <a:gd name="connsiteY24264" fmla="*/ 4142331 h 5282095"/>
              <a:gd name="connsiteX24265" fmla="*/ 5714322 w 7714416"/>
              <a:gd name="connsiteY24265" fmla="*/ 4133889 h 5282095"/>
              <a:gd name="connsiteX24266" fmla="*/ 5717473 w 7714416"/>
              <a:gd name="connsiteY24266" fmla="*/ 4123337 h 5282095"/>
              <a:gd name="connsiteX24267" fmla="*/ 5734661 w 7714416"/>
              <a:gd name="connsiteY24267" fmla="*/ 4142221 h 5282095"/>
              <a:gd name="connsiteX24268" fmla="*/ 5765312 w 7714416"/>
              <a:gd name="connsiteY24268" fmla="*/ 4133334 h 5282095"/>
              <a:gd name="connsiteX24269" fmla="*/ 5736952 w 7714416"/>
              <a:gd name="connsiteY24269" fmla="*/ 4153107 h 5282095"/>
              <a:gd name="connsiteX24270" fmla="*/ 5734088 w 7714416"/>
              <a:gd name="connsiteY24270" fmla="*/ 4163104 h 5282095"/>
              <a:gd name="connsiteX24271" fmla="*/ 5732082 w 7714416"/>
              <a:gd name="connsiteY24271" fmla="*/ 4164660 h 5282095"/>
              <a:gd name="connsiteX24272" fmla="*/ 5732369 w 7714416"/>
              <a:gd name="connsiteY24272" fmla="*/ 4170324 h 5282095"/>
              <a:gd name="connsiteX24273" fmla="*/ 5720338 w 7714416"/>
              <a:gd name="connsiteY24273" fmla="*/ 4166437 h 5282095"/>
              <a:gd name="connsiteX24274" fmla="*/ 5721770 w 7714416"/>
              <a:gd name="connsiteY24274" fmla="*/ 4164215 h 5282095"/>
              <a:gd name="connsiteX24275" fmla="*/ 5725780 w 7714416"/>
              <a:gd name="connsiteY24275" fmla="*/ 4162771 h 5282095"/>
              <a:gd name="connsiteX24276" fmla="*/ 5724062 w 7714416"/>
              <a:gd name="connsiteY24276" fmla="*/ 4160216 h 5282095"/>
              <a:gd name="connsiteX24277" fmla="*/ 5722343 w 7714416"/>
              <a:gd name="connsiteY24277" fmla="*/ 4161549 h 5282095"/>
              <a:gd name="connsiteX24278" fmla="*/ 5708020 w 7714416"/>
              <a:gd name="connsiteY24278" fmla="*/ 4167658 h 5282095"/>
              <a:gd name="connsiteX24279" fmla="*/ 5703150 w 7714416"/>
              <a:gd name="connsiteY24279" fmla="*/ 4169102 h 5282095"/>
              <a:gd name="connsiteX24280" fmla="*/ 5703723 w 7714416"/>
              <a:gd name="connsiteY24280" fmla="*/ 4172213 h 5282095"/>
              <a:gd name="connsiteX24281" fmla="*/ 5709452 w 7714416"/>
              <a:gd name="connsiteY24281" fmla="*/ 4176767 h 5282095"/>
              <a:gd name="connsiteX24282" fmla="*/ 5711744 w 7714416"/>
              <a:gd name="connsiteY24282" fmla="*/ 4179433 h 5282095"/>
              <a:gd name="connsiteX24283" fmla="*/ 5706587 w 7714416"/>
              <a:gd name="connsiteY24283" fmla="*/ 4183432 h 5282095"/>
              <a:gd name="connsiteX24284" fmla="*/ 5704582 w 7714416"/>
              <a:gd name="connsiteY24284" fmla="*/ 4183654 h 5282095"/>
              <a:gd name="connsiteX24285" fmla="*/ 5699713 w 7714416"/>
              <a:gd name="connsiteY24285" fmla="*/ 4199872 h 5282095"/>
              <a:gd name="connsiteX24286" fmla="*/ 5665910 w 7714416"/>
              <a:gd name="connsiteY24286" fmla="*/ 4231753 h 5282095"/>
              <a:gd name="connsiteX24287" fmla="*/ 5629528 w 7714416"/>
              <a:gd name="connsiteY24287" fmla="*/ 4224310 h 5282095"/>
              <a:gd name="connsiteX24288" fmla="*/ 5637836 w 7714416"/>
              <a:gd name="connsiteY24288" fmla="*/ 4196096 h 5282095"/>
              <a:gd name="connsiteX24289" fmla="*/ 5630102 w 7714416"/>
              <a:gd name="connsiteY24289" fmla="*/ 4197762 h 5282095"/>
              <a:gd name="connsiteX24290" fmla="*/ 5628956 w 7714416"/>
              <a:gd name="connsiteY24290" fmla="*/ 4198317 h 5282095"/>
              <a:gd name="connsiteX24291" fmla="*/ 5625804 w 7714416"/>
              <a:gd name="connsiteY24291" fmla="*/ 4202761 h 5282095"/>
              <a:gd name="connsiteX24292" fmla="*/ 5628956 w 7714416"/>
              <a:gd name="connsiteY24292" fmla="*/ 4204205 h 5282095"/>
              <a:gd name="connsiteX24293" fmla="*/ 5632393 w 7714416"/>
              <a:gd name="connsiteY24293" fmla="*/ 4211314 h 5282095"/>
              <a:gd name="connsiteX24294" fmla="*/ 5630961 w 7714416"/>
              <a:gd name="connsiteY24294" fmla="*/ 4218646 h 5282095"/>
              <a:gd name="connsiteX24295" fmla="*/ 5621221 w 7714416"/>
              <a:gd name="connsiteY24295" fmla="*/ 4214091 h 5282095"/>
              <a:gd name="connsiteX24296" fmla="*/ 5621794 w 7714416"/>
              <a:gd name="connsiteY24296" fmla="*/ 4208760 h 5282095"/>
              <a:gd name="connsiteX24297" fmla="*/ 5617784 w 7714416"/>
              <a:gd name="connsiteY24297" fmla="*/ 4214313 h 5282095"/>
              <a:gd name="connsiteX24298" fmla="*/ 5612914 w 7714416"/>
              <a:gd name="connsiteY24298" fmla="*/ 4218312 h 5282095"/>
              <a:gd name="connsiteX24299" fmla="*/ 5610622 w 7714416"/>
              <a:gd name="connsiteY24299" fmla="*/ 4219090 h 5282095"/>
              <a:gd name="connsiteX24300" fmla="*/ 5604033 w 7714416"/>
              <a:gd name="connsiteY24300" fmla="*/ 4233642 h 5282095"/>
              <a:gd name="connsiteX24301" fmla="*/ 5634971 w 7714416"/>
              <a:gd name="connsiteY24301" fmla="*/ 4231754 h 5282095"/>
              <a:gd name="connsiteX24302" fmla="*/ 5598590 w 7714416"/>
              <a:gd name="connsiteY24302" fmla="*/ 4265634 h 5282095"/>
              <a:gd name="connsiteX24303" fmla="*/ 5584554 w 7714416"/>
              <a:gd name="connsiteY24303" fmla="*/ 4248638 h 5282095"/>
              <a:gd name="connsiteX24304" fmla="*/ 5562782 w 7714416"/>
              <a:gd name="connsiteY24304" fmla="*/ 4260080 h 5282095"/>
              <a:gd name="connsiteX24305" fmla="*/ 5563928 w 7714416"/>
              <a:gd name="connsiteY24305" fmla="*/ 4264412 h 5282095"/>
              <a:gd name="connsiteX24306" fmla="*/ 5558773 w 7714416"/>
              <a:gd name="connsiteY24306" fmla="*/ 4269521 h 5282095"/>
              <a:gd name="connsiteX24307" fmla="*/ 5553329 w 7714416"/>
              <a:gd name="connsiteY24307" fmla="*/ 4268189 h 5282095"/>
              <a:gd name="connsiteX24308" fmla="*/ 5545881 w 7714416"/>
              <a:gd name="connsiteY24308" fmla="*/ 4274298 h 5282095"/>
              <a:gd name="connsiteX24309" fmla="*/ 5519812 w 7714416"/>
              <a:gd name="connsiteY24309" fmla="*/ 4307068 h 5282095"/>
              <a:gd name="connsiteX24310" fmla="*/ 5529839 w 7714416"/>
              <a:gd name="connsiteY24310" fmla="*/ 4307511 h 5282095"/>
              <a:gd name="connsiteX24311" fmla="*/ 5536714 w 7714416"/>
              <a:gd name="connsiteY24311" fmla="*/ 4309178 h 5282095"/>
              <a:gd name="connsiteX24312" fmla="*/ 5538719 w 7714416"/>
              <a:gd name="connsiteY24312" fmla="*/ 4299625 h 5282095"/>
              <a:gd name="connsiteX24313" fmla="*/ 5539006 w 7714416"/>
              <a:gd name="connsiteY24313" fmla="*/ 4287184 h 5282095"/>
              <a:gd name="connsiteX24314" fmla="*/ 5544448 w 7714416"/>
              <a:gd name="connsiteY24314" fmla="*/ 4287183 h 5282095"/>
              <a:gd name="connsiteX24315" fmla="*/ 5548746 w 7714416"/>
              <a:gd name="connsiteY24315" fmla="*/ 4288628 h 5282095"/>
              <a:gd name="connsiteX24316" fmla="*/ 5563642 w 7714416"/>
              <a:gd name="connsiteY24316" fmla="*/ 4283185 h 5282095"/>
              <a:gd name="connsiteX24317" fmla="*/ 5580830 w 7714416"/>
              <a:gd name="connsiteY24317" fmla="*/ 4284517 h 5282095"/>
              <a:gd name="connsiteX24318" fmla="*/ 5579111 w 7714416"/>
              <a:gd name="connsiteY24318" fmla="*/ 4287405 h 5282095"/>
              <a:gd name="connsiteX24319" fmla="*/ 5581402 w 7714416"/>
              <a:gd name="connsiteY24319" fmla="*/ 4288405 h 5282095"/>
              <a:gd name="connsiteX24320" fmla="*/ 5579111 w 7714416"/>
              <a:gd name="connsiteY24320" fmla="*/ 4300291 h 5282095"/>
              <a:gd name="connsiteX24321" fmla="*/ 5569084 w 7714416"/>
              <a:gd name="connsiteY24321" fmla="*/ 4300847 h 5282095"/>
              <a:gd name="connsiteX24322" fmla="*/ 5562782 w 7714416"/>
              <a:gd name="connsiteY24322" fmla="*/ 4297959 h 5282095"/>
              <a:gd name="connsiteX24323" fmla="*/ 5551324 w 7714416"/>
              <a:gd name="connsiteY24323" fmla="*/ 4297182 h 5282095"/>
              <a:gd name="connsiteX24324" fmla="*/ 5553329 w 7714416"/>
              <a:gd name="connsiteY24324" fmla="*/ 4299292 h 5282095"/>
              <a:gd name="connsiteX24325" fmla="*/ 5555907 w 7714416"/>
              <a:gd name="connsiteY24325" fmla="*/ 4307512 h 5282095"/>
              <a:gd name="connsiteX24326" fmla="*/ 5550464 w 7714416"/>
              <a:gd name="connsiteY24326" fmla="*/ 4310178 h 5282095"/>
              <a:gd name="connsiteX24327" fmla="*/ 5557339 w 7714416"/>
              <a:gd name="connsiteY24327" fmla="*/ 4307734 h 5282095"/>
              <a:gd name="connsiteX24328" fmla="*/ 5557626 w 7714416"/>
              <a:gd name="connsiteY24328" fmla="*/ 4307512 h 5282095"/>
              <a:gd name="connsiteX24329" fmla="*/ 5559058 w 7714416"/>
              <a:gd name="connsiteY24329" fmla="*/ 4307067 h 5282095"/>
              <a:gd name="connsiteX24330" fmla="*/ 5561064 w 7714416"/>
              <a:gd name="connsiteY24330" fmla="*/ 4315399 h 5282095"/>
              <a:gd name="connsiteX24331" fmla="*/ 5570230 w 7714416"/>
              <a:gd name="connsiteY24331" fmla="*/ 4319398 h 5282095"/>
              <a:gd name="connsiteX24332" fmla="*/ 5570803 w 7714416"/>
              <a:gd name="connsiteY24332" fmla="*/ 4320064 h 5282095"/>
              <a:gd name="connsiteX24333" fmla="*/ 5573382 w 7714416"/>
              <a:gd name="connsiteY24333" fmla="*/ 4317065 h 5282095"/>
              <a:gd name="connsiteX24334" fmla="*/ 5570230 w 7714416"/>
              <a:gd name="connsiteY24334" fmla="*/ 4316843 h 5282095"/>
              <a:gd name="connsiteX24335" fmla="*/ 5567652 w 7714416"/>
              <a:gd name="connsiteY24335" fmla="*/ 4309734 h 5282095"/>
              <a:gd name="connsiteX24336" fmla="*/ 5577106 w 7714416"/>
              <a:gd name="connsiteY24336" fmla="*/ 4309512 h 5282095"/>
              <a:gd name="connsiteX24337" fmla="*/ 5580543 w 7714416"/>
              <a:gd name="connsiteY24337" fmla="*/ 4311178 h 5282095"/>
              <a:gd name="connsiteX24338" fmla="*/ 5590569 w 7714416"/>
              <a:gd name="connsiteY24338" fmla="*/ 4307511 h 5282095"/>
              <a:gd name="connsiteX24339" fmla="*/ 5608616 w 7714416"/>
              <a:gd name="connsiteY24339" fmla="*/ 4307734 h 5282095"/>
              <a:gd name="connsiteX24340" fmla="*/ 5632393 w 7714416"/>
              <a:gd name="connsiteY24340" fmla="*/ 4318842 h 5282095"/>
              <a:gd name="connsiteX24341" fmla="*/ 5637550 w 7714416"/>
              <a:gd name="connsiteY24341" fmla="*/ 4322398 h 5282095"/>
              <a:gd name="connsiteX24342" fmla="*/ 5639841 w 7714416"/>
              <a:gd name="connsiteY24342" fmla="*/ 4322841 h 5282095"/>
              <a:gd name="connsiteX24343" fmla="*/ 5646144 w 7714416"/>
              <a:gd name="connsiteY24343" fmla="*/ 4324508 h 5282095"/>
              <a:gd name="connsiteX24344" fmla="*/ 5647003 w 7714416"/>
              <a:gd name="connsiteY24344" fmla="*/ 4326618 h 5282095"/>
              <a:gd name="connsiteX24345" fmla="*/ 5642706 w 7714416"/>
              <a:gd name="connsiteY24345" fmla="*/ 4326174 h 5282095"/>
              <a:gd name="connsiteX24346" fmla="*/ 5643852 w 7714416"/>
              <a:gd name="connsiteY24346" fmla="*/ 4326951 h 5282095"/>
              <a:gd name="connsiteX24347" fmla="*/ 5657888 w 7714416"/>
              <a:gd name="connsiteY24347" fmla="*/ 4335171 h 5282095"/>
              <a:gd name="connsiteX24348" fmla="*/ 5636976 w 7714416"/>
              <a:gd name="connsiteY24348" fmla="*/ 4343392 h 5282095"/>
              <a:gd name="connsiteX24349" fmla="*/ 5631534 w 7714416"/>
              <a:gd name="connsiteY24349" fmla="*/ 4348057 h 5282095"/>
              <a:gd name="connsiteX24350" fmla="*/ 5632680 w 7714416"/>
              <a:gd name="connsiteY24350" fmla="*/ 4348835 h 5282095"/>
              <a:gd name="connsiteX24351" fmla="*/ 5633252 w 7714416"/>
              <a:gd name="connsiteY24351" fmla="*/ 4348501 h 5282095"/>
              <a:gd name="connsiteX24352" fmla="*/ 5639268 w 7714416"/>
              <a:gd name="connsiteY24352" fmla="*/ 4356278 h 5282095"/>
              <a:gd name="connsiteX24353" fmla="*/ 5622080 w 7714416"/>
              <a:gd name="connsiteY24353" fmla="*/ 4355722 h 5282095"/>
              <a:gd name="connsiteX24354" fmla="*/ 5621221 w 7714416"/>
              <a:gd name="connsiteY24354" fmla="*/ 4355389 h 5282095"/>
              <a:gd name="connsiteX24355" fmla="*/ 5615205 w 7714416"/>
              <a:gd name="connsiteY24355" fmla="*/ 4357499 h 5282095"/>
              <a:gd name="connsiteX24356" fmla="*/ 5607184 w 7714416"/>
              <a:gd name="connsiteY24356" fmla="*/ 4358277 h 5282095"/>
              <a:gd name="connsiteX24357" fmla="*/ 5595153 w 7714416"/>
              <a:gd name="connsiteY24357" fmla="*/ 4356278 h 5282095"/>
              <a:gd name="connsiteX24358" fmla="*/ 5594580 w 7714416"/>
              <a:gd name="connsiteY24358" fmla="*/ 4358832 h 5282095"/>
              <a:gd name="connsiteX24359" fmla="*/ 5592861 w 7714416"/>
              <a:gd name="connsiteY24359" fmla="*/ 4358388 h 5282095"/>
              <a:gd name="connsiteX24360" fmla="*/ 5609762 w 7714416"/>
              <a:gd name="connsiteY24360" fmla="*/ 4380715 h 5282095"/>
              <a:gd name="connsiteX24361" fmla="*/ 5620362 w 7714416"/>
              <a:gd name="connsiteY24361" fmla="*/ 4377828 h 5282095"/>
              <a:gd name="connsiteX24362" fmla="*/ 5624086 w 7714416"/>
              <a:gd name="connsiteY24362" fmla="*/ 4377161 h 5282095"/>
              <a:gd name="connsiteX24363" fmla="*/ 5623226 w 7714416"/>
              <a:gd name="connsiteY24363" fmla="*/ 4376162 h 5282095"/>
              <a:gd name="connsiteX24364" fmla="*/ 5625804 w 7714416"/>
              <a:gd name="connsiteY24364" fmla="*/ 4376494 h 5282095"/>
              <a:gd name="connsiteX24365" fmla="*/ 5626092 w 7714416"/>
              <a:gd name="connsiteY24365" fmla="*/ 4376383 h 5282095"/>
              <a:gd name="connsiteX24366" fmla="*/ 5627523 w 7714416"/>
              <a:gd name="connsiteY24366" fmla="*/ 4375716 h 5282095"/>
              <a:gd name="connsiteX24367" fmla="*/ 5634685 w 7714416"/>
              <a:gd name="connsiteY24367" fmla="*/ 4376161 h 5282095"/>
              <a:gd name="connsiteX24368" fmla="*/ 5635831 w 7714416"/>
              <a:gd name="connsiteY24368" fmla="*/ 4378938 h 5282095"/>
              <a:gd name="connsiteX24369" fmla="*/ 5630961 w 7714416"/>
              <a:gd name="connsiteY24369" fmla="*/ 4385048 h 5282095"/>
              <a:gd name="connsiteX24370" fmla="*/ 5643279 w 7714416"/>
              <a:gd name="connsiteY24370" fmla="*/ 4403932 h 5282095"/>
              <a:gd name="connsiteX24371" fmla="*/ 5636117 w 7714416"/>
              <a:gd name="connsiteY24371" fmla="*/ 4406598 h 5282095"/>
              <a:gd name="connsiteX24372" fmla="*/ 5633252 w 7714416"/>
              <a:gd name="connsiteY24372" fmla="*/ 4408153 h 5282095"/>
              <a:gd name="connsiteX24373" fmla="*/ 5642706 w 7714416"/>
              <a:gd name="connsiteY24373" fmla="*/ 4418928 h 5282095"/>
              <a:gd name="connsiteX24374" fmla="*/ 5691691 w 7714416"/>
              <a:gd name="connsiteY24374" fmla="*/ 4480357 h 5282095"/>
              <a:gd name="connsiteX24375" fmla="*/ 5624658 w 7714416"/>
              <a:gd name="connsiteY24375" fmla="*/ 4449364 h 5282095"/>
              <a:gd name="connsiteX24376" fmla="*/ 5620648 w 7714416"/>
              <a:gd name="connsiteY24376" fmla="*/ 4445922 h 5282095"/>
              <a:gd name="connsiteX24377" fmla="*/ 5617784 w 7714416"/>
              <a:gd name="connsiteY24377" fmla="*/ 4445144 h 5282095"/>
              <a:gd name="connsiteX24378" fmla="*/ 5616638 w 7714416"/>
              <a:gd name="connsiteY24378" fmla="*/ 4444588 h 5282095"/>
              <a:gd name="connsiteX24379" fmla="*/ 5615492 w 7714416"/>
              <a:gd name="connsiteY24379" fmla="*/ 4446810 h 5282095"/>
              <a:gd name="connsiteX24380" fmla="*/ 5609190 w 7714416"/>
              <a:gd name="connsiteY24380" fmla="*/ 4451253 h 5282095"/>
              <a:gd name="connsiteX24381" fmla="*/ 5594293 w 7714416"/>
              <a:gd name="connsiteY24381" fmla="*/ 4444811 h 5282095"/>
              <a:gd name="connsiteX24382" fmla="*/ 5600883 w 7714416"/>
              <a:gd name="connsiteY24382" fmla="*/ 4436035 h 5282095"/>
              <a:gd name="connsiteX24383" fmla="*/ 5607758 w 7714416"/>
              <a:gd name="connsiteY24383" fmla="*/ 4435035 h 5282095"/>
              <a:gd name="connsiteX24384" fmla="*/ 5606898 w 7714416"/>
              <a:gd name="connsiteY24384" fmla="*/ 4434147 h 5282095"/>
              <a:gd name="connsiteX24385" fmla="*/ 5582835 w 7714416"/>
              <a:gd name="connsiteY24385" fmla="*/ 4408598 h 5282095"/>
              <a:gd name="connsiteX24386" fmla="*/ 5578824 w 7714416"/>
              <a:gd name="connsiteY24386" fmla="*/ 4408931 h 5282095"/>
              <a:gd name="connsiteX24387" fmla="*/ 5573095 w 7714416"/>
              <a:gd name="connsiteY24387" fmla="*/ 4409375 h 5282095"/>
              <a:gd name="connsiteX24388" fmla="*/ 5570803 w 7714416"/>
              <a:gd name="connsiteY24388" fmla="*/ 4412929 h 5282095"/>
              <a:gd name="connsiteX24389" fmla="*/ 5563069 w 7714416"/>
              <a:gd name="connsiteY24389" fmla="*/ 4410264 h 5282095"/>
              <a:gd name="connsiteX24390" fmla="*/ 5564214 w 7714416"/>
              <a:gd name="connsiteY24390" fmla="*/ 4407376 h 5282095"/>
              <a:gd name="connsiteX24391" fmla="*/ 5561064 w 7714416"/>
              <a:gd name="connsiteY24391" fmla="*/ 4407598 h 5282095"/>
              <a:gd name="connsiteX24392" fmla="*/ 5563928 w 7714416"/>
              <a:gd name="connsiteY24392" fmla="*/ 4401156 h 5282095"/>
              <a:gd name="connsiteX24393" fmla="*/ 5563928 w 7714416"/>
              <a:gd name="connsiteY24393" fmla="*/ 4398489 h 5282095"/>
              <a:gd name="connsiteX24394" fmla="*/ 5566793 w 7714416"/>
              <a:gd name="connsiteY24394" fmla="*/ 4399933 h 5282095"/>
              <a:gd name="connsiteX24395" fmla="*/ 5563928 w 7714416"/>
              <a:gd name="connsiteY24395" fmla="*/ 4403710 h 5282095"/>
              <a:gd name="connsiteX24396" fmla="*/ 5566794 w 7714416"/>
              <a:gd name="connsiteY24396" fmla="*/ 4405154 h 5282095"/>
              <a:gd name="connsiteX24397" fmla="*/ 5566220 w 7714416"/>
              <a:gd name="connsiteY24397" fmla="*/ 4406709 h 5282095"/>
              <a:gd name="connsiteX24398" fmla="*/ 5565933 w 7714416"/>
              <a:gd name="connsiteY24398" fmla="*/ 4407042 h 5282095"/>
              <a:gd name="connsiteX24399" fmla="*/ 5566221 w 7714416"/>
              <a:gd name="connsiteY24399" fmla="*/ 4407153 h 5282095"/>
              <a:gd name="connsiteX24400" fmla="*/ 5566220 w 7714416"/>
              <a:gd name="connsiteY24400" fmla="*/ 4406709 h 5282095"/>
              <a:gd name="connsiteX24401" fmla="*/ 5577392 w 7714416"/>
              <a:gd name="connsiteY24401" fmla="*/ 4402821 h 5282095"/>
              <a:gd name="connsiteX24402" fmla="*/ 5574814 w 7714416"/>
              <a:gd name="connsiteY24402" fmla="*/ 4400155 h 5282095"/>
              <a:gd name="connsiteX24403" fmla="*/ 5574814 w 7714416"/>
              <a:gd name="connsiteY24403" fmla="*/ 4400044 h 5282095"/>
              <a:gd name="connsiteX24404" fmla="*/ 5569658 w 7714416"/>
              <a:gd name="connsiteY24404" fmla="*/ 4399822 h 5282095"/>
              <a:gd name="connsiteX24405" fmla="*/ 5561923 w 7714416"/>
              <a:gd name="connsiteY24405" fmla="*/ 4394268 h 5282095"/>
              <a:gd name="connsiteX24406" fmla="*/ 5563355 w 7714416"/>
              <a:gd name="connsiteY24406" fmla="*/ 4390713 h 5282095"/>
              <a:gd name="connsiteX24407" fmla="*/ 5563928 w 7714416"/>
              <a:gd name="connsiteY24407" fmla="*/ 4388158 h 5282095"/>
              <a:gd name="connsiteX24408" fmla="*/ 5563355 w 7714416"/>
              <a:gd name="connsiteY24408" fmla="*/ 4388714 h 5282095"/>
              <a:gd name="connsiteX24409" fmla="*/ 5555907 w 7714416"/>
              <a:gd name="connsiteY24409" fmla="*/ 4391046 h 5282095"/>
              <a:gd name="connsiteX24410" fmla="*/ 5553329 w 7714416"/>
              <a:gd name="connsiteY24410" fmla="*/ 4385158 h 5282095"/>
              <a:gd name="connsiteX24411" fmla="*/ 5558485 w 7714416"/>
              <a:gd name="connsiteY24411" fmla="*/ 4382160 h 5282095"/>
              <a:gd name="connsiteX24412" fmla="*/ 5556766 w 7714416"/>
              <a:gd name="connsiteY24412" fmla="*/ 4380271 h 5282095"/>
              <a:gd name="connsiteX24413" fmla="*/ 5555334 w 7714416"/>
              <a:gd name="connsiteY24413" fmla="*/ 4381715 h 5282095"/>
              <a:gd name="connsiteX24414" fmla="*/ 5541011 w 7714416"/>
              <a:gd name="connsiteY24414" fmla="*/ 4381827 h 5282095"/>
              <a:gd name="connsiteX24415" fmla="*/ 5547313 w 7714416"/>
              <a:gd name="connsiteY24415" fmla="*/ 4375717 h 5282095"/>
              <a:gd name="connsiteX24416" fmla="*/ 5543589 w 7714416"/>
              <a:gd name="connsiteY24416" fmla="*/ 4373718 h 5282095"/>
              <a:gd name="connsiteX24417" fmla="*/ 5541298 w 7714416"/>
              <a:gd name="connsiteY24417" fmla="*/ 4363720 h 5282095"/>
              <a:gd name="connsiteX24418" fmla="*/ 5541870 w 7714416"/>
              <a:gd name="connsiteY24418" fmla="*/ 4362387 h 5282095"/>
              <a:gd name="connsiteX24419" fmla="*/ 5520958 w 7714416"/>
              <a:gd name="connsiteY24419" fmla="*/ 4362831 h 5282095"/>
              <a:gd name="connsiteX24420" fmla="*/ 5514943 w 7714416"/>
              <a:gd name="connsiteY24420" fmla="*/ 4363276 h 5282095"/>
              <a:gd name="connsiteX24421" fmla="*/ 5514083 w 7714416"/>
              <a:gd name="connsiteY24421" fmla="*/ 4364498 h 5282095"/>
              <a:gd name="connsiteX24422" fmla="*/ 5509500 w 7714416"/>
              <a:gd name="connsiteY24422" fmla="*/ 4368052 h 5282095"/>
              <a:gd name="connsiteX24423" fmla="*/ 5504630 w 7714416"/>
              <a:gd name="connsiteY24423" fmla="*/ 4364830 h 5282095"/>
              <a:gd name="connsiteX24424" fmla="*/ 5504344 w 7714416"/>
              <a:gd name="connsiteY24424" fmla="*/ 4364053 h 5282095"/>
              <a:gd name="connsiteX24425" fmla="*/ 5503484 w 7714416"/>
              <a:gd name="connsiteY24425" fmla="*/ 4364164 h 5282095"/>
              <a:gd name="connsiteX24426" fmla="*/ 5504058 w 7714416"/>
              <a:gd name="connsiteY24426" fmla="*/ 4363609 h 5282095"/>
              <a:gd name="connsiteX24427" fmla="*/ 5503198 w 7714416"/>
              <a:gd name="connsiteY24427" fmla="*/ 4362165 h 5282095"/>
              <a:gd name="connsiteX24428" fmla="*/ 5503770 w 7714416"/>
              <a:gd name="connsiteY24428" fmla="*/ 4358277 h 5282095"/>
              <a:gd name="connsiteX24429" fmla="*/ 5506349 w 7714416"/>
              <a:gd name="connsiteY24429" fmla="*/ 4356166 h 5282095"/>
              <a:gd name="connsiteX24430" fmla="*/ 5509500 w 7714416"/>
              <a:gd name="connsiteY24430" fmla="*/ 4353500 h 5282095"/>
              <a:gd name="connsiteX24431" fmla="*/ 5510359 w 7714416"/>
              <a:gd name="connsiteY24431" fmla="*/ 4353278 h 5282095"/>
              <a:gd name="connsiteX24432" fmla="*/ 5510932 w 7714416"/>
              <a:gd name="connsiteY24432" fmla="*/ 4351500 h 5282095"/>
              <a:gd name="connsiteX24433" fmla="*/ 5510932 w 7714416"/>
              <a:gd name="connsiteY24433" fmla="*/ 4338726 h 5282095"/>
              <a:gd name="connsiteX24434" fmla="*/ 5507495 w 7714416"/>
              <a:gd name="connsiteY24434" fmla="*/ 4338615 h 5282095"/>
              <a:gd name="connsiteX24435" fmla="*/ 5498901 w 7714416"/>
              <a:gd name="connsiteY24435" fmla="*/ 4336060 h 5282095"/>
              <a:gd name="connsiteX24436" fmla="*/ 5509214 w 7714416"/>
              <a:gd name="connsiteY24436" fmla="*/ 4327507 h 5282095"/>
              <a:gd name="connsiteX24437" fmla="*/ 5513223 w 7714416"/>
              <a:gd name="connsiteY24437" fmla="*/ 4327840 h 5282095"/>
              <a:gd name="connsiteX24438" fmla="*/ 5513224 w 7714416"/>
              <a:gd name="connsiteY24438" fmla="*/ 4327285 h 5282095"/>
              <a:gd name="connsiteX24439" fmla="*/ 5511219 w 7714416"/>
              <a:gd name="connsiteY24439" fmla="*/ 4325619 h 5282095"/>
              <a:gd name="connsiteX24440" fmla="*/ 5508640 w 7714416"/>
              <a:gd name="connsiteY24440" fmla="*/ 4314510 h 5282095"/>
              <a:gd name="connsiteX24441" fmla="*/ 5480567 w 7714416"/>
              <a:gd name="connsiteY24441" fmla="*/ 4333394 h 5282095"/>
              <a:gd name="connsiteX24442" fmla="*/ 5449629 w 7714416"/>
              <a:gd name="connsiteY24442" fmla="*/ 4320176 h 5282095"/>
              <a:gd name="connsiteX24443" fmla="*/ 5460801 w 7714416"/>
              <a:gd name="connsiteY24443" fmla="*/ 4329618 h 5282095"/>
              <a:gd name="connsiteX24444" fmla="*/ 5429863 w 7714416"/>
              <a:gd name="connsiteY24444" fmla="*/ 4369052 h 5282095"/>
              <a:gd name="connsiteX24445" fmla="*/ 5428144 w 7714416"/>
              <a:gd name="connsiteY24445" fmla="*/ 4370829 h 5282095"/>
              <a:gd name="connsiteX24446" fmla="*/ 5433587 w 7714416"/>
              <a:gd name="connsiteY24446" fmla="*/ 4374717 h 5282095"/>
              <a:gd name="connsiteX24447" fmla="*/ 5433873 w 7714416"/>
              <a:gd name="connsiteY24447" fmla="*/ 4379161 h 5282095"/>
              <a:gd name="connsiteX24448" fmla="*/ 5435019 w 7714416"/>
              <a:gd name="connsiteY24448" fmla="*/ 4379272 h 5282095"/>
              <a:gd name="connsiteX24449" fmla="*/ 5436738 w 7714416"/>
              <a:gd name="connsiteY24449" fmla="*/ 4379827 h 5282095"/>
              <a:gd name="connsiteX24450" fmla="*/ 5448770 w 7714416"/>
              <a:gd name="connsiteY24450" fmla="*/ 4377494 h 5282095"/>
              <a:gd name="connsiteX24451" fmla="*/ 5451634 w 7714416"/>
              <a:gd name="connsiteY24451" fmla="*/ 4378938 h 5282095"/>
              <a:gd name="connsiteX24452" fmla="*/ 5447910 w 7714416"/>
              <a:gd name="connsiteY24452" fmla="*/ 4381716 h 5282095"/>
              <a:gd name="connsiteX24453" fmla="*/ 5442754 w 7714416"/>
              <a:gd name="connsiteY24453" fmla="*/ 4379938 h 5282095"/>
              <a:gd name="connsiteX24454" fmla="*/ 5435878 w 7714416"/>
              <a:gd name="connsiteY24454" fmla="*/ 4381382 h 5282095"/>
              <a:gd name="connsiteX24455" fmla="*/ 5434160 w 7714416"/>
              <a:gd name="connsiteY24455" fmla="*/ 4380938 h 5282095"/>
              <a:gd name="connsiteX24456" fmla="*/ 5434160 w 7714416"/>
              <a:gd name="connsiteY24456" fmla="*/ 4382049 h 5282095"/>
              <a:gd name="connsiteX24457" fmla="*/ 5418404 w 7714416"/>
              <a:gd name="connsiteY24457" fmla="*/ 4381049 h 5282095"/>
              <a:gd name="connsiteX24458" fmla="*/ 5412675 w 7714416"/>
              <a:gd name="connsiteY24458" fmla="*/ 4386936 h 5282095"/>
              <a:gd name="connsiteX24459" fmla="*/ 5408951 w 7714416"/>
              <a:gd name="connsiteY24459" fmla="*/ 4391158 h 5282095"/>
              <a:gd name="connsiteX24460" fmla="*/ 5427858 w 7714416"/>
              <a:gd name="connsiteY24460" fmla="*/ 4386159 h 5282095"/>
              <a:gd name="connsiteX24461" fmla="*/ 5447051 w 7714416"/>
              <a:gd name="connsiteY24461" fmla="*/ 4383048 h 5282095"/>
              <a:gd name="connsiteX24462" fmla="*/ 5455644 w 7714416"/>
              <a:gd name="connsiteY24462" fmla="*/ 4386492 h 5282095"/>
              <a:gd name="connsiteX24463" fmla="*/ 5459942 w 7714416"/>
              <a:gd name="connsiteY24463" fmla="*/ 4396378 h 5282095"/>
              <a:gd name="connsiteX24464" fmla="*/ 5466530 w 7714416"/>
              <a:gd name="connsiteY24464" fmla="*/ 4393046 h 5282095"/>
              <a:gd name="connsiteX24465" fmla="*/ 5477415 w 7714416"/>
              <a:gd name="connsiteY24465" fmla="*/ 4403155 h 5282095"/>
              <a:gd name="connsiteX24466" fmla="*/ 5475984 w 7714416"/>
              <a:gd name="connsiteY24466" fmla="*/ 4416262 h 5282095"/>
              <a:gd name="connsiteX24467" fmla="*/ 5459368 w 7714416"/>
              <a:gd name="connsiteY24467" fmla="*/ 4417707 h 5282095"/>
              <a:gd name="connsiteX24468" fmla="*/ 5456218 w 7714416"/>
              <a:gd name="connsiteY24468" fmla="*/ 4398044 h 5282095"/>
              <a:gd name="connsiteX24469" fmla="*/ 5459082 w 7714416"/>
              <a:gd name="connsiteY24469" fmla="*/ 4396823 h 5282095"/>
              <a:gd name="connsiteX24470" fmla="*/ 5445905 w 7714416"/>
              <a:gd name="connsiteY24470" fmla="*/ 4395045 h 5282095"/>
              <a:gd name="connsiteX24471" fmla="*/ 5415826 w 7714416"/>
              <a:gd name="connsiteY24471" fmla="*/ 4394712 h 5282095"/>
              <a:gd name="connsiteX24472" fmla="*/ 5408664 w 7714416"/>
              <a:gd name="connsiteY24472" fmla="*/ 4391713 h 5282095"/>
              <a:gd name="connsiteX24473" fmla="*/ 5401789 w 7714416"/>
              <a:gd name="connsiteY24473" fmla="*/ 4399155 h 5282095"/>
              <a:gd name="connsiteX24474" fmla="*/ 5427284 w 7714416"/>
              <a:gd name="connsiteY24474" fmla="*/ 4401044 h 5282095"/>
              <a:gd name="connsiteX24475" fmla="*/ 5422988 w 7714416"/>
              <a:gd name="connsiteY24475" fmla="*/ 4402711 h 5282095"/>
              <a:gd name="connsiteX24476" fmla="*/ 5422988 w 7714416"/>
              <a:gd name="connsiteY24476" fmla="*/ 4402822 h 5282095"/>
              <a:gd name="connsiteX24477" fmla="*/ 5428717 w 7714416"/>
              <a:gd name="connsiteY24477" fmla="*/ 4405043 h 5282095"/>
              <a:gd name="connsiteX24478" fmla="*/ 5429290 w 7714416"/>
              <a:gd name="connsiteY24478" fmla="*/ 4407153 h 5282095"/>
              <a:gd name="connsiteX24479" fmla="*/ 5421555 w 7714416"/>
              <a:gd name="connsiteY24479" fmla="*/ 4405598 h 5282095"/>
              <a:gd name="connsiteX24480" fmla="*/ 5418977 w 7714416"/>
              <a:gd name="connsiteY24480" fmla="*/ 4403265 h 5282095"/>
              <a:gd name="connsiteX24481" fmla="*/ 5418404 w 7714416"/>
              <a:gd name="connsiteY24481" fmla="*/ 4403377 h 5282095"/>
              <a:gd name="connsiteX24482" fmla="*/ 5407518 w 7714416"/>
              <a:gd name="connsiteY24482" fmla="*/ 4408597 h 5282095"/>
              <a:gd name="connsiteX24483" fmla="*/ 5407518 w 7714416"/>
              <a:gd name="connsiteY24483" fmla="*/ 4412005 h 5282095"/>
              <a:gd name="connsiteX24484" fmla="*/ 5404654 w 7714416"/>
              <a:gd name="connsiteY24484" fmla="*/ 4410485 h 5282095"/>
              <a:gd name="connsiteX24485" fmla="*/ 5407518 w 7714416"/>
              <a:gd name="connsiteY24485" fmla="*/ 4412263 h 5282095"/>
              <a:gd name="connsiteX24486" fmla="*/ 5407518 w 7714416"/>
              <a:gd name="connsiteY24486" fmla="*/ 4412005 h 5282095"/>
              <a:gd name="connsiteX24487" fmla="*/ 5418691 w 7714416"/>
              <a:gd name="connsiteY24487" fmla="*/ 4417928 h 5282095"/>
              <a:gd name="connsiteX24488" fmla="*/ 5427858 w 7714416"/>
              <a:gd name="connsiteY24488" fmla="*/ 4417262 h 5282095"/>
              <a:gd name="connsiteX24489" fmla="*/ 5428430 w 7714416"/>
              <a:gd name="connsiteY24489" fmla="*/ 4416262 h 5282095"/>
              <a:gd name="connsiteX24490" fmla="*/ 5429004 w 7714416"/>
              <a:gd name="connsiteY24490" fmla="*/ 4417151 h 5282095"/>
              <a:gd name="connsiteX24491" fmla="*/ 5431009 w 7714416"/>
              <a:gd name="connsiteY24491" fmla="*/ 4417039 h 5282095"/>
              <a:gd name="connsiteX24492" fmla="*/ 5441321 w 7714416"/>
              <a:gd name="connsiteY24492" fmla="*/ 4410486 h 5282095"/>
              <a:gd name="connsiteX24493" fmla="*/ 5446764 w 7714416"/>
              <a:gd name="connsiteY24493" fmla="*/ 4410486 h 5282095"/>
              <a:gd name="connsiteX24494" fmla="*/ 5449629 w 7714416"/>
              <a:gd name="connsiteY24494" fmla="*/ 4414263 h 5282095"/>
              <a:gd name="connsiteX24495" fmla="*/ 5434733 w 7714416"/>
              <a:gd name="connsiteY24495" fmla="*/ 4422706 h 5282095"/>
              <a:gd name="connsiteX24496" fmla="*/ 5430149 w 7714416"/>
              <a:gd name="connsiteY24496" fmla="*/ 4423372 h 5282095"/>
              <a:gd name="connsiteX24497" fmla="*/ 5429004 w 7714416"/>
              <a:gd name="connsiteY24497" fmla="*/ 4426593 h 5282095"/>
              <a:gd name="connsiteX24498" fmla="*/ 5426998 w 7714416"/>
              <a:gd name="connsiteY24498" fmla="*/ 4423816 h 5282095"/>
              <a:gd name="connsiteX24499" fmla="*/ 5415826 w 7714416"/>
              <a:gd name="connsiteY24499" fmla="*/ 4425482 h 5282095"/>
              <a:gd name="connsiteX24500" fmla="*/ 5396060 w 7714416"/>
              <a:gd name="connsiteY24500" fmla="*/ 4414263 h 5282095"/>
              <a:gd name="connsiteX24501" fmla="*/ 5390618 w 7714416"/>
              <a:gd name="connsiteY24501" fmla="*/ 4410486 h 5282095"/>
              <a:gd name="connsiteX24502" fmla="*/ 5345642 w 7714416"/>
              <a:gd name="connsiteY24502" fmla="*/ 4427370 h 5282095"/>
              <a:gd name="connsiteX24503" fmla="*/ 5328168 w 7714416"/>
              <a:gd name="connsiteY24503" fmla="*/ 4433369 h 5282095"/>
              <a:gd name="connsiteX24504" fmla="*/ 5328454 w 7714416"/>
              <a:gd name="connsiteY24504" fmla="*/ 4434480 h 5282095"/>
              <a:gd name="connsiteX24505" fmla="*/ 5329886 w 7714416"/>
              <a:gd name="connsiteY24505" fmla="*/ 4437368 h 5282095"/>
              <a:gd name="connsiteX24506" fmla="*/ 5332752 w 7714416"/>
              <a:gd name="connsiteY24506" fmla="*/ 4439035 h 5282095"/>
              <a:gd name="connsiteX24507" fmla="*/ 5342491 w 7714416"/>
              <a:gd name="connsiteY24507" fmla="*/ 4442811 h 5282095"/>
              <a:gd name="connsiteX24508" fmla="*/ 5343637 w 7714416"/>
              <a:gd name="connsiteY24508" fmla="*/ 4442256 h 5282095"/>
              <a:gd name="connsiteX24509" fmla="*/ 5343637 w 7714416"/>
              <a:gd name="connsiteY24509" fmla="*/ 4441922 h 5282095"/>
              <a:gd name="connsiteX24510" fmla="*/ 5343350 w 7714416"/>
              <a:gd name="connsiteY24510" fmla="*/ 4441811 h 5282095"/>
              <a:gd name="connsiteX24511" fmla="*/ 5343637 w 7714416"/>
              <a:gd name="connsiteY24511" fmla="*/ 4441033 h 5282095"/>
              <a:gd name="connsiteX24512" fmla="*/ 5343637 w 7714416"/>
              <a:gd name="connsiteY24512" fmla="*/ 4439923 h 5282095"/>
              <a:gd name="connsiteX24513" fmla="*/ 5343924 w 7714416"/>
              <a:gd name="connsiteY24513" fmla="*/ 4439812 h 5282095"/>
              <a:gd name="connsiteX24514" fmla="*/ 5344210 w 7714416"/>
              <a:gd name="connsiteY24514" fmla="*/ 4438479 h 5282095"/>
              <a:gd name="connsiteX24515" fmla="*/ 5347934 w 7714416"/>
              <a:gd name="connsiteY24515" fmla="*/ 4435257 h 5282095"/>
              <a:gd name="connsiteX24516" fmla="*/ 5352804 w 7714416"/>
              <a:gd name="connsiteY24516" fmla="*/ 4430148 h 5282095"/>
              <a:gd name="connsiteX24517" fmla="*/ 5374002 w 7714416"/>
              <a:gd name="connsiteY24517" fmla="*/ 4416262 h 5282095"/>
              <a:gd name="connsiteX24518" fmla="*/ 5368846 w 7714416"/>
              <a:gd name="connsiteY24518" fmla="*/ 4423593 h 5282095"/>
              <a:gd name="connsiteX24519" fmla="*/ 5371424 w 7714416"/>
              <a:gd name="connsiteY24519" fmla="*/ 4426038 h 5282095"/>
              <a:gd name="connsiteX24520" fmla="*/ 5368846 w 7714416"/>
              <a:gd name="connsiteY24520" fmla="*/ 4431481 h 5282095"/>
              <a:gd name="connsiteX24521" fmla="*/ 5365695 w 7714416"/>
              <a:gd name="connsiteY24521" fmla="*/ 4427482 h 5282095"/>
              <a:gd name="connsiteX24522" fmla="*/ 5365695 w 7714416"/>
              <a:gd name="connsiteY24522" fmla="*/ 4426816 h 5282095"/>
              <a:gd name="connsiteX24523" fmla="*/ 5359392 w 7714416"/>
              <a:gd name="connsiteY24523" fmla="*/ 4432592 h 5282095"/>
              <a:gd name="connsiteX24524" fmla="*/ 5352804 w 7714416"/>
              <a:gd name="connsiteY24524" fmla="*/ 4440256 h 5282095"/>
              <a:gd name="connsiteX24525" fmla="*/ 5348221 w 7714416"/>
              <a:gd name="connsiteY24525" fmla="*/ 4441033 h 5282095"/>
              <a:gd name="connsiteX24526" fmla="*/ 5347074 w 7714416"/>
              <a:gd name="connsiteY24526" fmla="*/ 4442144 h 5282095"/>
              <a:gd name="connsiteX24527" fmla="*/ 5345069 w 7714416"/>
              <a:gd name="connsiteY24527" fmla="*/ 4442367 h 5282095"/>
              <a:gd name="connsiteX24528" fmla="*/ 5344783 w 7714416"/>
              <a:gd name="connsiteY24528" fmla="*/ 4442367 h 5282095"/>
              <a:gd name="connsiteX24529" fmla="*/ 5344496 w 7714416"/>
              <a:gd name="connsiteY24529" fmla="*/ 4442700 h 5282095"/>
              <a:gd name="connsiteX24530" fmla="*/ 5343637 w 7714416"/>
              <a:gd name="connsiteY24530" fmla="*/ 4443256 h 5282095"/>
              <a:gd name="connsiteX24531" fmla="*/ 5352231 w 7714416"/>
              <a:gd name="connsiteY24531" fmla="*/ 4446587 h 5282095"/>
              <a:gd name="connsiteX24532" fmla="*/ 5352231 w 7714416"/>
              <a:gd name="connsiteY24532" fmla="*/ 4447032 h 5282095"/>
              <a:gd name="connsiteX24533" fmla="*/ 5356242 w 7714416"/>
              <a:gd name="connsiteY24533" fmla="*/ 4442590 h 5282095"/>
              <a:gd name="connsiteX24534" fmla="*/ 5368846 w 7714416"/>
              <a:gd name="connsiteY24534" fmla="*/ 4434591 h 5282095"/>
              <a:gd name="connsiteX24535" fmla="*/ 5375148 w 7714416"/>
              <a:gd name="connsiteY24535" fmla="*/ 4433480 h 5282095"/>
              <a:gd name="connsiteX24536" fmla="*/ 5381450 w 7714416"/>
              <a:gd name="connsiteY24536" fmla="*/ 4434925 h 5282095"/>
              <a:gd name="connsiteX24537" fmla="*/ 5380878 w 7714416"/>
              <a:gd name="connsiteY24537" fmla="*/ 4446366 h 5282095"/>
              <a:gd name="connsiteX24538" fmla="*/ 5382023 w 7714416"/>
              <a:gd name="connsiteY24538" fmla="*/ 4447588 h 5282095"/>
              <a:gd name="connsiteX24539" fmla="*/ 5387752 w 7714416"/>
              <a:gd name="connsiteY24539" fmla="*/ 4447143 h 5282095"/>
              <a:gd name="connsiteX24540" fmla="*/ 5402076 w 7714416"/>
              <a:gd name="connsiteY24540" fmla="*/ 4446366 h 5282095"/>
              <a:gd name="connsiteX24541" fmla="*/ 5421842 w 7714416"/>
              <a:gd name="connsiteY24541" fmla="*/ 4455252 h 5282095"/>
              <a:gd name="connsiteX24542" fmla="*/ 5410383 w 7714416"/>
              <a:gd name="connsiteY24542" fmla="*/ 4455363 h 5282095"/>
              <a:gd name="connsiteX24543" fmla="*/ 5404940 w 7714416"/>
              <a:gd name="connsiteY24543" fmla="*/ 4455364 h 5282095"/>
              <a:gd name="connsiteX24544" fmla="*/ 5410097 w 7714416"/>
              <a:gd name="connsiteY24544" fmla="*/ 4456030 h 5282095"/>
              <a:gd name="connsiteX24545" fmla="*/ 5410956 w 7714416"/>
              <a:gd name="connsiteY24545" fmla="*/ 4458919 h 5282095"/>
              <a:gd name="connsiteX24546" fmla="*/ 5404940 w 7714416"/>
              <a:gd name="connsiteY24546" fmla="*/ 4464695 h 5282095"/>
              <a:gd name="connsiteX24547" fmla="*/ 5410670 w 7714416"/>
              <a:gd name="connsiteY24547" fmla="*/ 4472360 h 5282095"/>
              <a:gd name="connsiteX24548" fmla="*/ 5411242 w 7714416"/>
              <a:gd name="connsiteY24548" fmla="*/ 4472915 h 5282095"/>
              <a:gd name="connsiteX24549" fmla="*/ 5411242 w 7714416"/>
              <a:gd name="connsiteY24549" fmla="*/ 4473026 h 5282095"/>
              <a:gd name="connsiteX24550" fmla="*/ 5413821 w 7714416"/>
              <a:gd name="connsiteY24550" fmla="*/ 4476025 h 5282095"/>
              <a:gd name="connsiteX24551" fmla="*/ 5413821 w 7714416"/>
              <a:gd name="connsiteY24551" fmla="*/ 4476247 h 5282095"/>
              <a:gd name="connsiteX24552" fmla="*/ 5414680 w 7714416"/>
              <a:gd name="connsiteY24552" fmla="*/ 4477247 h 5282095"/>
              <a:gd name="connsiteX24553" fmla="*/ 5414394 w 7714416"/>
              <a:gd name="connsiteY24553" fmla="*/ 4484467 h 5282095"/>
              <a:gd name="connsiteX24554" fmla="*/ 5398352 w 7714416"/>
              <a:gd name="connsiteY24554" fmla="*/ 4488577 h 5282095"/>
              <a:gd name="connsiteX24555" fmla="*/ 5393482 w 7714416"/>
              <a:gd name="connsiteY24555" fmla="*/ 4487466 h 5282095"/>
              <a:gd name="connsiteX24556" fmla="*/ 5394628 w 7714416"/>
              <a:gd name="connsiteY24556" fmla="*/ 4490021 h 5282095"/>
              <a:gd name="connsiteX24557" fmla="*/ 5360825 w 7714416"/>
              <a:gd name="connsiteY24557" fmla="*/ 4491910 h 5282095"/>
              <a:gd name="connsiteX24558" fmla="*/ 5357387 w 7714416"/>
              <a:gd name="connsiteY24558" fmla="*/ 4490910 h 5282095"/>
              <a:gd name="connsiteX24559" fmla="*/ 5357101 w 7714416"/>
              <a:gd name="connsiteY24559" fmla="*/ 4488022 h 5282095"/>
              <a:gd name="connsiteX24560" fmla="*/ 5378872 w 7714416"/>
              <a:gd name="connsiteY24560" fmla="*/ 4483246 h 5282095"/>
              <a:gd name="connsiteX24561" fmla="*/ 5383169 w 7714416"/>
              <a:gd name="connsiteY24561" fmla="*/ 4484578 h 5282095"/>
              <a:gd name="connsiteX24562" fmla="*/ 5385461 w 7714416"/>
              <a:gd name="connsiteY24562" fmla="*/ 4485245 h 5282095"/>
              <a:gd name="connsiteX24563" fmla="*/ 5380878 w 7714416"/>
              <a:gd name="connsiteY24563" fmla="*/ 4482468 h 5282095"/>
              <a:gd name="connsiteX24564" fmla="*/ 5379158 w 7714416"/>
              <a:gd name="connsiteY24564" fmla="*/ 4471915 h 5282095"/>
              <a:gd name="connsiteX24565" fmla="*/ 5380879 w 7714416"/>
              <a:gd name="connsiteY24565" fmla="*/ 4471471 h 5282095"/>
              <a:gd name="connsiteX24566" fmla="*/ 5377440 w 7714416"/>
              <a:gd name="connsiteY24566" fmla="*/ 4469138 h 5282095"/>
              <a:gd name="connsiteX24567" fmla="*/ 5375721 w 7714416"/>
              <a:gd name="connsiteY24567" fmla="*/ 4468693 h 5282095"/>
              <a:gd name="connsiteX24568" fmla="*/ 5373143 w 7714416"/>
              <a:gd name="connsiteY24568" fmla="*/ 4470915 h 5282095"/>
              <a:gd name="connsiteX24569" fmla="*/ 5356242 w 7714416"/>
              <a:gd name="connsiteY24569" fmla="*/ 4466916 h 5282095"/>
              <a:gd name="connsiteX24570" fmla="*/ 5342205 w 7714416"/>
              <a:gd name="connsiteY24570" fmla="*/ 4467027 h 5282095"/>
              <a:gd name="connsiteX24571" fmla="*/ 5340200 w 7714416"/>
              <a:gd name="connsiteY24571" fmla="*/ 4469916 h 5282095"/>
              <a:gd name="connsiteX24572" fmla="*/ 5339913 w 7714416"/>
              <a:gd name="connsiteY24572" fmla="*/ 4472581 h 5282095"/>
              <a:gd name="connsiteX24573" fmla="*/ 5338767 w 7714416"/>
              <a:gd name="connsiteY24573" fmla="*/ 4467250 h 5282095"/>
              <a:gd name="connsiteX24574" fmla="*/ 5338194 w 7714416"/>
              <a:gd name="connsiteY24574" fmla="*/ 4467361 h 5282095"/>
              <a:gd name="connsiteX24575" fmla="*/ 5336762 w 7714416"/>
              <a:gd name="connsiteY24575" fmla="*/ 4469026 h 5282095"/>
              <a:gd name="connsiteX24576" fmla="*/ 5328741 w 7714416"/>
              <a:gd name="connsiteY24576" fmla="*/ 4474692 h 5282095"/>
              <a:gd name="connsiteX24577" fmla="*/ 5327308 w 7714416"/>
              <a:gd name="connsiteY24577" fmla="*/ 4474358 h 5282095"/>
              <a:gd name="connsiteX24578" fmla="*/ 5324731 w 7714416"/>
              <a:gd name="connsiteY24578" fmla="*/ 4475025 h 5282095"/>
              <a:gd name="connsiteX24579" fmla="*/ 5323871 w 7714416"/>
              <a:gd name="connsiteY24579" fmla="*/ 4475136 h 5282095"/>
              <a:gd name="connsiteX24580" fmla="*/ 5326736 w 7714416"/>
              <a:gd name="connsiteY24580" fmla="*/ 4477469 h 5282095"/>
              <a:gd name="connsiteX24581" fmla="*/ 5331606 w 7714416"/>
              <a:gd name="connsiteY24581" fmla="*/ 4488577 h 5282095"/>
              <a:gd name="connsiteX24582" fmla="*/ 5329887 w 7714416"/>
              <a:gd name="connsiteY24582" fmla="*/ 4491466 h 5282095"/>
              <a:gd name="connsiteX24583" fmla="*/ 5331606 w 7714416"/>
              <a:gd name="connsiteY24583" fmla="*/ 4493798 h 5282095"/>
              <a:gd name="connsiteX24584" fmla="*/ 5333897 w 7714416"/>
              <a:gd name="connsiteY24584" fmla="*/ 4511238 h 5282095"/>
              <a:gd name="connsiteX24585" fmla="*/ 5319001 w 7714416"/>
              <a:gd name="connsiteY24585" fmla="*/ 4497464 h 5282095"/>
              <a:gd name="connsiteX24586" fmla="*/ 5319001 w 7714416"/>
              <a:gd name="connsiteY24586" fmla="*/ 4493465 h 5282095"/>
              <a:gd name="connsiteX24587" fmla="*/ 5313558 w 7714416"/>
              <a:gd name="connsiteY24587" fmla="*/ 4491132 h 5282095"/>
              <a:gd name="connsiteX24588" fmla="*/ 5313558 w 7714416"/>
              <a:gd name="connsiteY24588" fmla="*/ 4471471 h 5282095"/>
              <a:gd name="connsiteX24589" fmla="*/ 5318715 w 7714416"/>
              <a:gd name="connsiteY24589" fmla="*/ 4471915 h 5282095"/>
              <a:gd name="connsiteX24590" fmla="*/ 5314419 w 7714416"/>
              <a:gd name="connsiteY24590" fmla="*/ 4469027 h 5282095"/>
              <a:gd name="connsiteX24591" fmla="*/ 5328168 w 7714416"/>
              <a:gd name="connsiteY24591" fmla="*/ 4465249 h 5282095"/>
              <a:gd name="connsiteX24592" fmla="*/ 5333897 w 7714416"/>
              <a:gd name="connsiteY24592" fmla="*/ 4463362 h 5282095"/>
              <a:gd name="connsiteX24593" fmla="*/ 5336762 w 7714416"/>
              <a:gd name="connsiteY24593" fmla="*/ 4461473 h 5282095"/>
              <a:gd name="connsiteX24594" fmla="*/ 5339625 w 7714416"/>
              <a:gd name="connsiteY24594" fmla="*/ 4461473 h 5282095"/>
              <a:gd name="connsiteX24595" fmla="*/ 5340772 w 7714416"/>
              <a:gd name="connsiteY24595" fmla="*/ 4460030 h 5282095"/>
              <a:gd name="connsiteX24596" fmla="*/ 5341632 w 7714416"/>
              <a:gd name="connsiteY24596" fmla="*/ 4457252 h 5282095"/>
              <a:gd name="connsiteX24597" fmla="*/ 5342778 w 7714416"/>
              <a:gd name="connsiteY24597" fmla="*/ 4453142 h 5282095"/>
              <a:gd name="connsiteX24598" fmla="*/ 5340772 w 7714416"/>
              <a:gd name="connsiteY24598" fmla="*/ 4452809 h 5282095"/>
              <a:gd name="connsiteX24599" fmla="*/ 5337621 w 7714416"/>
              <a:gd name="connsiteY24599" fmla="*/ 4451587 h 5282095"/>
              <a:gd name="connsiteX24600" fmla="*/ 5333897 w 7714416"/>
              <a:gd name="connsiteY24600" fmla="*/ 4452031 h 5282095"/>
              <a:gd name="connsiteX24601" fmla="*/ 5333611 w 7714416"/>
              <a:gd name="connsiteY24601" fmla="*/ 4452698 h 5282095"/>
              <a:gd name="connsiteX24602" fmla="*/ 5333038 w 7714416"/>
              <a:gd name="connsiteY24602" fmla="*/ 4456697 h 5282095"/>
              <a:gd name="connsiteX24603" fmla="*/ 5329600 w 7714416"/>
              <a:gd name="connsiteY24603" fmla="*/ 4457585 h 5282095"/>
              <a:gd name="connsiteX24604" fmla="*/ 5327882 w 7714416"/>
              <a:gd name="connsiteY24604" fmla="*/ 4454031 h 5282095"/>
              <a:gd name="connsiteX24605" fmla="*/ 5332465 w 7714416"/>
              <a:gd name="connsiteY24605" fmla="*/ 4452253 h 5282095"/>
              <a:gd name="connsiteX24606" fmla="*/ 5319001 w 7714416"/>
              <a:gd name="connsiteY24606" fmla="*/ 4453920 h 5282095"/>
              <a:gd name="connsiteX24607" fmla="*/ 5313845 w 7714416"/>
              <a:gd name="connsiteY24607" fmla="*/ 4453253 h 5282095"/>
              <a:gd name="connsiteX24608" fmla="*/ 5314131 w 7714416"/>
              <a:gd name="connsiteY24608" fmla="*/ 4454586 h 5282095"/>
              <a:gd name="connsiteX24609" fmla="*/ 5304678 w 7714416"/>
              <a:gd name="connsiteY24609" fmla="*/ 4452808 h 5282095"/>
              <a:gd name="connsiteX24610" fmla="*/ 5304964 w 7714416"/>
              <a:gd name="connsiteY24610" fmla="*/ 4452365 h 5282095"/>
              <a:gd name="connsiteX24611" fmla="*/ 5297516 w 7714416"/>
              <a:gd name="connsiteY24611" fmla="*/ 4451476 h 5282095"/>
              <a:gd name="connsiteX24612" fmla="*/ 5297803 w 7714416"/>
              <a:gd name="connsiteY24612" fmla="*/ 4455586 h 5282095"/>
              <a:gd name="connsiteX24613" fmla="*/ 5272594 w 7714416"/>
              <a:gd name="connsiteY24613" fmla="*/ 4466916 h 5282095"/>
              <a:gd name="connsiteX24614" fmla="*/ 5263140 w 7714416"/>
              <a:gd name="connsiteY24614" fmla="*/ 4475136 h 5282095"/>
              <a:gd name="connsiteX24615" fmla="*/ 5249391 w 7714416"/>
              <a:gd name="connsiteY24615" fmla="*/ 4480912 h 5282095"/>
              <a:gd name="connsiteX24616" fmla="*/ 5244234 w 7714416"/>
              <a:gd name="connsiteY24616" fmla="*/ 4492576 h 5282095"/>
              <a:gd name="connsiteX24617" fmla="*/ 5243948 w 7714416"/>
              <a:gd name="connsiteY24617" fmla="*/ 4493909 h 5282095"/>
              <a:gd name="connsiteX24618" fmla="*/ 5245953 w 7714416"/>
              <a:gd name="connsiteY24618" fmla="*/ 4493576 h 5282095"/>
              <a:gd name="connsiteX24619" fmla="*/ 5249390 w 7714416"/>
              <a:gd name="connsiteY24619" fmla="*/ 4493575 h 5282095"/>
              <a:gd name="connsiteX24620" fmla="*/ 5251682 w 7714416"/>
              <a:gd name="connsiteY24620" fmla="*/ 4489910 h 5282095"/>
              <a:gd name="connsiteX24621" fmla="*/ 5253401 w 7714416"/>
              <a:gd name="connsiteY24621" fmla="*/ 4491243 h 5282095"/>
              <a:gd name="connsiteX24622" fmla="*/ 5252541 w 7714416"/>
              <a:gd name="connsiteY24622" fmla="*/ 4493576 h 5282095"/>
              <a:gd name="connsiteX24623" fmla="*/ 5258844 w 7714416"/>
              <a:gd name="connsiteY24623" fmla="*/ 4493687 h 5282095"/>
              <a:gd name="connsiteX24624" fmla="*/ 5271162 w 7714416"/>
              <a:gd name="connsiteY24624" fmla="*/ 4496575 h 5282095"/>
              <a:gd name="connsiteX24625" fmla="*/ 5280901 w 7714416"/>
              <a:gd name="connsiteY24625" fmla="*/ 4495798 h 5282095"/>
              <a:gd name="connsiteX24626" fmla="*/ 5288922 w 7714416"/>
              <a:gd name="connsiteY24626" fmla="*/ 4497019 h 5282095"/>
              <a:gd name="connsiteX24627" fmla="*/ 5286630 w 7714416"/>
              <a:gd name="connsiteY24627" fmla="*/ 4491687 h 5282095"/>
              <a:gd name="connsiteX24628" fmla="*/ 5286058 w 7714416"/>
              <a:gd name="connsiteY24628" fmla="*/ 4490577 h 5282095"/>
              <a:gd name="connsiteX24629" fmla="*/ 5281761 w 7714416"/>
              <a:gd name="connsiteY24629" fmla="*/ 4490577 h 5282095"/>
              <a:gd name="connsiteX24630" fmla="*/ 5274313 w 7714416"/>
              <a:gd name="connsiteY24630" fmla="*/ 4484134 h 5282095"/>
              <a:gd name="connsiteX24631" fmla="*/ 5277177 w 7714416"/>
              <a:gd name="connsiteY24631" fmla="*/ 4482357 h 5282095"/>
              <a:gd name="connsiteX24632" fmla="*/ 5282047 w 7714416"/>
              <a:gd name="connsiteY24632" fmla="*/ 4481690 h 5282095"/>
              <a:gd name="connsiteX24633" fmla="*/ 5280042 w 7714416"/>
              <a:gd name="connsiteY24633" fmla="*/ 4476690 h 5282095"/>
              <a:gd name="connsiteX24634" fmla="*/ 5276318 w 7714416"/>
              <a:gd name="connsiteY24634" fmla="*/ 4474137 h 5282095"/>
              <a:gd name="connsiteX24635" fmla="*/ 5276032 w 7714416"/>
              <a:gd name="connsiteY24635" fmla="*/ 4473359 h 5282095"/>
              <a:gd name="connsiteX24636" fmla="*/ 5274314 w 7714416"/>
              <a:gd name="connsiteY24636" fmla="*/ 4472803 h 5282095"/>
              <a:gd name="connsiteX24637" fmla="*/ 5274313 w 7714416"/>
              <a:gd name="connsiteY24637" fmla="*/ 4471803 h 5282095"/>
              <a:gd name="connsiteX24638" fmla="*/ 5275745 w 7714416"/>
              <a:gd name="connsiteY24638" fmla="*/ 4472360 h 5282095"/>
              <a:gd name="connsiteX24639" fmla="*/ 5275458 w 7714416"/>
              <a:gd name="connsiteY24639" fmla="*/ 4471137 h 5282095"/>
              <a:gd name="connsiteX24640" fmla="*/ 5274026 w 7714416"/>
              <a:gd name="connsiteY24640" fmla="*/ 4471470 h 5282095"/>
              <a:gd name="connsiteX24641" fmla="*/ 5274599 w 7714416"/>
              <a:gd name="connsiteY24641" fmla="*/ 4469138 h 5282095"/>
              <a:gd name="connsiteX24642" fmla="*/ 5275172 w 7714416"/>
              <a:gd name="connsiteY24642" fmla="*/ 4469582 h 5282095"/>
              <a:gd name="connsiteX24643" fmla="*/ 5275459 w 7714416"/>
              <a:gd name="connsiteY24643" fmla="*/ 4470582 h 5282095"/>
              <a:gd name="connsiteX24644" fmla="*/ 5278896 w 7714416"/>
              <a:gd name="connsiteY24644" fmla="*/ 4467026 h 5282095"/>
              <a:gd name="connsiteX24645" fmla="*/ 5286344 w 7714416"/>
              <a:gd name="connsiteY24645" fmla="*/ 4465695 h 5282095"/>
              <a:gd name="connsiteX24646" fmla="*/ 5296370 w 7714416"/>
              <a:gd name="connsiteY24646" fmla="*/ 4469027 h 5282095"/>
              <a:gd name="connsiteX24647" fmla="*/ 5287490 w 7714416"/>
              <a:gd name="connsiteY24647" fmla="*/ 4478025 h 5282095"/>
              <a:gd name="connsiteX24648" fmla="*/ 5286917 w 7714416"/>
              <a:gd name="connsiteY24648" fmla="*/ 4478247 h 5282095"/>
              <a:gd name="connsiteX24649" fmla="*/ 5287204 w 7714416"/>
              <a:gd name="connsiteY24649" fmla="*/ 4478358 h 5282095"/>
              <a:gd name="connsiteX24650" fmla="*/ 5291787 w 7714416"/>
              <a:gd name="connsiteY24650" fmla="*/ 4485133 h 5282095"/>
              <a:gd name="connsiteX24651" fmla="*/ 5292074 w 7714416"/>
              <a:gd name="connsiteY24651" fmla="*/ 4486133 h 5282095"/>
              <a:gd name="connsiteX24652" fmla="*/ 5295511 w 7714416"/>
              <a:gd name="connsiteY24652" fmla="*/ 4487245 h 5282095"/>
              <a:gd name="connsiteX24653" fmla="*/ 5296657 w 7714416"/>
              <a:gd name="connsiteY24653" fmla="*/ 4490577 h 5282095"/>
              <a:gd name="connsiteX24654" fmla="*/ 5293219 w 7714416"/>
              <a:gd name="connsiteY24654" fmla="*/ 4490577 h 5282095"/>
              <a:gd name="connsiteX24655" fmla="*/ 5293219 w 7714416"/>
              <a:gd name="connsiteY24655" fmla="*/ 4490799 h 5282095"/>
              <a:gd name="connsiteX24656" fmla="*/ 5293506 w 7714416"/>
              <a:gd name="connsiteY24656" fmla="*/ 4492132 h 5282095"/>
              <a:gd name="connsiteX24657" fmla="*/ 5294079 w 7714416"/>
              <a:gd name="connsiteY24657" fmla="*/ 4494799 h 5282095"/>
              <a:gd name="connsiteX24658" fmla="*/ 5289495 w 7714416"/>
              <a:gd name="connsiteY24658" fmla="*/ 4498241 h 5282095"/>
              <a:gd name="connsiteX24659" fmla="*/ 5289495 w 7714416"/>
              <a:gd name="connsiteY24659" fmla="*/ 4497908 h 5282095"/>
              <a:gd name="connsiteX24660" fmla="*/ 5286630 w 7714416"/>
              <a:gd name="connsiteY24660" fmla="*/ 4501574 h 5282095"/>
              <a:gd name="connsiteX24661" fmla="*/ 5275458 w 7714416"/>
              <a:gd name="connsiteY24661" fmla="*/ 4507128 h 5282095"/>
              <a:gd name="connsiteX24662" fmla="*/ 5264859 w 7714416"/>
              <a:gd name="connsiteY24662" fmla="*/ 4509683 h 5282095"/>
              <a:gd name="connsiteX24663" fmla="*/ 5266578 w 7714416"/>
              <a:gd name="connsiteY24663" fmla="*/ 4517570 h 5282095"/>
              <a:gd name="connsiteX24664" fmla="*/ 5265146 w 7714416"/>
              <a:gd name="connsiteY24664" fmla="*/ 4520125 h 5282095"/>
              <a:gd name="connsiteX24665" fmla="*/ 5267438 w 7714416"/>
              <a:gd name="connsiteY24665" fmla="*/ 4521347 h 5282095"/>
              <a:gd name="connsiteX24666" fmla="*/ 5267438 w 7714416"/>
              <a:gd name="connsiteY24666" fmla="*/ 4522458 h 5282095"/>
              <a:gd name="connsiteX24667" fmla="*/ 5263714 w 7714416"/>
              <a:gd name="connsiteY24667" fmla="*/ 4523346 h 5282095"/>
              <a:gd name="connsiteX24668" fmla="*/ 5261422 w 7714416"/>
              <a:gd name="connsiteY24668" fmla="*/ 4528456 h 5282095"/>
              <a:gd name="connsiteX24669" fmla="*/ 5257411 w 7714416"/>
              <a:gd name="connsiteY24669" fmla="*/ 4532011 h 5282095"/>
              <a:gd name="connsiteX24670" fmla="*/ 5262281 w 7714416"/>
              <a:gd name="connsiteY24670" fmla="*/ 4538120 h 5282095"/>
              <a:gd name="connsiteX24671" fmla="*/ 5258271 w 7714416"/>
              <a:gd name="connsiteY24671" fmla="*/ 4553783 h 5282095"/>
              <a:gd name="connsiteX24672" fmla="*/ 5253401 w 7714416"/>
              <a:gd name="connsiteY24672" fmla="*/ 4546785 h 5282095"/>
              <a:gd name="connsiteX24673" fmla="*/ 5248531 w 7714416"/>
              <a:gd name="connsiteY24673" fmla="*/ 4539343 h 5282095"/>
              <a:gd name="connsiteX24674" fmla="*/ 5238218 w 7714416"/>
              <a:gd name="connsiteY24674" fmla="*/ 4545007 h 5282095"/>
              <a:gd name="connsiteX24675" fmla="*/ 5236786 w 7714416"/>
              <a:gd name="connsiteY24675" fmla="*/ 4550118 h 5282095"/>
              <a:gd name="connsiteX24676" fmla="*/ 5235640 w 7714416"/>
              <a:gd name="connsiteY24676" fmla="*/ 4552450 h 5282095"/>
              <a:gd name="connsiteX24677" fmla="*/ 5237359 w 7714416"/>
              <a:gd name="connsiteY24677" fmla="*/ 4552672 h 5282095"/>
              <a:gd name="connsiteX24678" fmla="*/ 5235354 w 7714416"/>
              <a:gd name="connsiteY24678" fmla="*/ 4553672 h 5282095"/>
              <a:gd name="connsiteX24679" fmla="*/ 5235354 w 7714416"/>
              <a:gd name="connsiteY24679" fmla="*/ 4553894 h 5282095"/>
              <a:gd name="connsiteX24680" fmla="*/ 5235354 w 7714416"/>
              <a:gd name="connsiteY24680" fmla="*/ 4555116 h 5282095"/>
              <a:gd name="connsiteX24681" fmla="*/ 5230770 w 7714416"/>
              <a:gd name="connsiteY24681" fmla="*/ 4558781 h 5282095"/>
              <a:gd name="connsiteX24682" fmla="*/ 5226473 w 7714416"/>
              <a:gd name="connsiteY24682" fmla="*/ 4558003 h 5282095"/>
              <a:gd name="connsiteX24683" fmla="*/ 5226187 w 7714416"/>
              <a:gd name="connsiteY24683" fmla="*/ 4557338 h 5282095"/>
              <a:gd name="connsiteX24684" fmla="*/ 5217020 w 7714416"/>
              <a:gd name="connsiteY24684" fmla="*/ 4558449 h 5282095"/>
              <a:gd name="connsiteX24685" fmla="*/ 5215588 w 7714416"/>
              <a:gd name="connsiteY24685" fmla="*/ 4554450 h 5282095"/>
              <a:gd name="connsiteX24686" fmla="*/ 5216447 w 7714416"/>
              <a:gd name="connsiteY24686" fmla="*/ 4553450 h 5282095"/>
              <a:gd name="connsiteX24687" fmla="*/ 5195535 w 7714416"/>
              <a:gd name="connsiteY24687" fmla="*/ 4560893 h 5282095"/>
              <a:gd name="connsiteX24688" fmla="*/ 5160300 w 7714416"/>
              <a:gd name="connsiteY24688" fmla="*/ 4568447 h 5282095"/>
              <a:gd name="connsiteX24689" fmla="*/ 5146263 w 7714416"/>
              <a:gd name="connsiteY24689" fmla="*/ 4560892 h 5282095"/>
              <a:gd name="connsiteX24690" fmla="*/ 5137669 w 7714416"/>
              <a:gd name="connsiteY24690" fmla="*/ 4562781 h 5282095"/>
              <a:gd name="connsiteX24691" fmla="*/ 5129075 w 7714416"/>
              <a:gd name="connsiteY24691" fmla="*/ 4566447 h 5282095"/>
              <a:gd name="connsiteX24692" fmla="*/ 5127356 w 7714416"/>
              <a:gd name="connsiteY24692" fmla="*/ 4567335 h 5282095"/>
              <a:gd name="connsiteX24693" fmla="*/ 5128502 w 7714416"/>
              <a:gd name="connsiteY24693" fmla="*/ 4569446 h 5282095"/>
              <a:gd name="connsiteX24694" fmla="*/ 5125065 w 7714416"/>
              <a:gd name="connsiteY24694" fmla="*/ 4572000 h 5282095"/>
              <a:gd name="connsiteX24695" fmla="*/ 5122200 w 7714416"/>
              <a:gd name="connsiteY24695" fmla="*/ 4569779 h 5282095"/>
              <a:gd name="connsiteX24696" fmla="*/ 5120768 w 7714416"/>
              <a:gd name="connsiteY24696" fmla="*/ 4570334 h 5282095"/>
              <a:gd name="connsiteX24697" fmla="*/ 5112461 w 7714416"/>
              <a:gd name="connsiteY24697" fmla="*/ 4568446 h 5282095"/>
              <a:gd name="connsiteX24698" fmla="*/ 5112747 w 7714416"/>
              <a:gd name="connsiteY24698" fmla="*/ 4565892 h 5282095"/>
              <a:gd name="connsiteX24699" fmla="*/ 5110455 w 7714416"/>
              <a:gd name="connsiteY24699" fmla="*/ 4559671 h 5282095"/>
              <a:gd name="connsiteX24700" fmla="*/ 5113892 w 7714416"/>
              <a:gd name="connsiteY24700" fmla="*/ 4564225 h 5282095"/>
              <a:gd name="connsiteX24701" fmla="*/ 5113892 w 7714416"/>
              <a:gd name="connsiteY24701" fmla="*/ 4565225 h 5282095"/>
              <a:gd name="connsiteX24702" fmla="*/ 5115038 w 7714416"/>
              <a:gd name="connsiteY24702" fmla="*/ 4564669 h 5282095"/>
              <a:gd name="connsiteX24703" fmla="*/ 5121914 w 7714416"/>
              <a:gd name="connsiteY24703" fmla="*/ 4562225 h 5282095"/>
              <a:gd name="connsiteX24704" fmla="*/ 5117903 w 7714416"/>
              <a:gd name="connsiteY24704" fmla="*/ 4561559 h 5282095"/>
              <a:gd name="connsiteX24705" fmla="*/ 5117330 w 7714416"/>
              <a:gd name="connsiteY24705" fmla="*/ 4539453 h 5282095"/>
              <a:gd name="connsiteX24706" fmla="*/ 5118476 w 7714416"/>
              <a:gd name="connsiteY24706" fmla="*/ 4538898 h 5282095"/>
              <a:gd name="connsiteX24707" fmla="*/ 5117044 w 7714416"/>
              <a:gd name="connsiteY24707" fmla="*/ 4538565 h 5282095"/>
              <a:gd name="connsiteX24708" fmla="*/ 5112460 w 7714416"/>
              <a:gd name="connsiteY24708" fmla="*/ 4538343 h 5282095"/>
              <a:gd name="connsiteX24709" fmla="*/ 5092694 w 7714416"/>
              <a:gd name="connsiteY24709" fmla="*/ 4547785 h 5282095"/>
              <a:gd name="connsiteX24710" fmla="*/ 5092694 w 7714416"/>
              <a:gd name="connsiteY24710" fmla="*/ 4544008 h 5282095"/>
              <a:gd name="connsiteX24711" fmla="*/ 5090117 w 7714416"/>
              <a:gd name="connsiteY24711" fmla="*/ 4545451 h 5282095"/>
              <a:gd name="connsiteX24712" fmla="*/ 5085533 w 7714416"/>
              <a:gd name="connsiteY24712" fmla="*/ 4551006 h 5282095"/>
              <a:gd name="connsiteX24713" fmla="*/ 5067199 w 7714416"/>
              <a:gd name="connsiteY24713" fmla="*/ 4561670 h 5282095"/>
              <a:gd name="connsiteX24714" fmla="*/ 5068631 w 7714416"/>
              <a:gd name="connsiteY24714" fmla="*/ 4557338 h 5282095"/>
              <a:gd name="connsiteX24715" fmla="*/ 5057459 w 7714416"/>
              <a:gd name="connsiteY24715" fmla="*/ 4559003 h 5282095"/>
              <a:gd name="connsiteX24716" fmla="*/ 5044855 w 7714416"/>
              <a:gd name="connsiteY24716" fmla="*/ 4560893 h 5282095"/>
              <a:gd name="connsiteX24717" fmla="*/ 5036547 w 7714416"/>
              <a:gd name="connsiteY24717" fmla="*/ 4564669 h 5282095"/>
              <a:gd name="connsiteX24718" fmla="*/ 5030818 w 7714416"/>
              <a:gd name="connsiteY24718" fmla="*/ 4564669 h 5282095"/>
              <a:gd name="connsiteX24719" fmla="*/ 5026521 w 7714416"/>
              <a:gd name="connsiteY24719" fmla="*/ 4566113 h 5282095"/>
              <a:gd name="connsiteX24720" fmla="*/ 5027380 w 7714416"/>
              <a:gd name="connsiteY24720" fmla="*/ 4566446 h 5282095"/>
              <a:gd name="connsiteX24721" fmla="*/ 5035402 w 7714416"/>
              <a:gd name="connsiteY24721" fmla="*/ 4573889 h 5282095"/>
              <a:gd name="connsiteX24722" fmla="*/ 5036547 w 7714416"/>
              <a:gd name="connsiteY24722" fmla="*/ 4576222 h 5282095"/>
              <a:gd name="connsiteX24723" fmla="*/ 5044856 w 7714416"/>
              <a:gd name="connsiteY24723" fmla="*/ 4574111 h 5282095"/>
              <a:gd name="connsiteX24724" fmla="*/ 5047719 w 7714416"/>
              <a:gd name="connsiteY24724" fmla="*/ 4568446 h 5282095"/>
              <a:gd name="connsiteX24725" fmla="*/ 5081522 w 7714416"/>
              <a:gd name="connsiteY24725" fmla="*/ 4564668 h 5282095"/>
              <a:gd name="connsiteX24726" fmla="*/ 5064621 w 7714416"/>
              <a:gd name="connsiteY24726" fmla="*/ 4574112 h 5282095"/>
              <a:gd name="connsiteX24727" fmla="*/ 5084387 w 7714416"/>
              <a:gd name="connsiteY24727" fmla="*/ 4579665 h 5282095"/>
              <a:gd name="connsiteX24728" fmla="*/ 4999880 w 7714416"/>
              <a:gd name="connsiteY24728" fmla="*/ 4611658 h 5282095"/>
              <a:gd name="connsiteX24729" fmla="*/ 4974671 w 7714416"/>
              <a:gd name="connsiteY24729" fmla="*/ 4632318 h 5282095"/>
              <a:gd name="connsiteX24730" fmla="*/ 4966364 w 7714416"/>
              <a:gd name="connsiteY24730" fmla="*/ 4605991 h 5282095"/>
              <a:gd name="connsiteX24731" fmla="*/ 4957770 w 7714416"/>
              <a:gd name="connsiteY24731" fmla="*/ 4605992 h 5282095"/>
              <a:gd name="connsiteX24732" fmla="*/ 4952327 w 7714416"/>
              <a:gd name="connsiteY24732" fmla="*/ 4607881 h 5282095"/>
              <a:gd name="connsiteX24733" fmla="*/ 4938290 w 7714416"/>
              <a:gd name="connsiteY24733" fmla="*/ 4611658 h 5282095"/>
              <a:gd name="connsiteX24734" fmla="*/ 4941154 w 7714416"/>
              <a:gd name="connsiteY24734" fmla="*/ 4613545 h 5282095"/>
              <a:gd name="connsiteX24735" fmla="*/ 4938290 w 7714416"/>
              <a:gd name="connsiteY24735" fmla="*/ 4615434 h 5282095"/>
              <a:gd name="connsiteX24736" fmla="*/ 4943733 w 7714416"/>
              <a:gd name="connsiteY24736" fmla="*/ 4613545 h 5282095"/>
              <a:gd name="connsiteX24737" fmla="*/ 4935425 w 7714416"/>
              <a:gd name="connsiteY24737" fmla="*/ 4622877 h 5282095"/>
              <a:gd name="connsiteX24738" fmla="*/ 4946598 w 7714416"/>
              <a:gd name="connsiteY24738" fmla="*/ 4641762 h 5282095"/>
              <a:gd name="connsiteX24739" fmla="*/ 4936571 w 7714416"/>
              <a:gd name="connsiteY24739" fmla="*/ 4642760 h 5282095"/>
              <a:gd name="connsiteX24740" fmla="*/ 4939722 w 7714416"/>
              <a:gd name="connsiteY24740" fmla="*/ 4647982 h 5282095"/>
              <a:gd name="connsiteX24741" fmla="*/ 4938576 w 7714416"/>
              <a:gd name="connsiteY24741" fmla="*/ 4649425 h 5282095"/>
              <a:gd name="connsiteX24742" fmla="*/ 4940295 w 7714416"/>
              <a:gd name="connsiteY24742" fmla="*/ 4650092 h 5282095"/>
              <a:gd name="connsiteX24743" fmla="*/ 4947457 w 7714416"/>
              <a:gd name="connsiteY24743" fmla="*/ 4657313 h 5282095"/>
              <a:gd name="connsiteX24744" fmla="*/ 4935712 w 7714416"/>
              <a:gd name="connsiteY24744" fmla="*/ 4657757 h 5282095"/>
              <a:gd name="connsiteX24745" fmla="*/ 4932847 w 7714416"/>
              <a:gd name="connsiteY24745" fmla="*/ 4654202 h 5282095"/>
              <a:gd name="connsiteX24746" fmla="*/ 4928550 w 7714416"/>
              <a:gd name="connsiteY24746" fmla="*/ 4655646 h 5282095"/>
              <a:gd name="connsiteX24747" fmla="*/ 4913654 w 7714416"/>
              <a:gd name="connsiteY24747" fmla="*/ 4652980 h 5282095"/>
              <a:gd name="connsiteX24748" fmla="*/ 4915086 w 7714416"/>
              <a:gd name="connsiteY24748" fmla="*/ 4644871 h 5282095"/>
              <a:gd name="connsiteX24749" fmla="*/ 4904487 w 7714416"/>
              <a:gd name="connsiteY24749" fmla="*/ 4645982 h 5282095"/>
              <a:gd name="connsiteX24750" fmla="*/ 4870684 w 7714416"/>
              <a:gd name="connsiteY24750" fmla="*/ 4652981 h 5282095"/>
              <a:gd name="connsiteX24751" fmla="*/ 4864669 w 7714416"/>
              <a:gd name="connsiteY24751" fmla="*/ 4654647 h 5282095"/>
              <a:gd name="connsiteX24752" fmla="*/ 4864955 w 7714416"/>
              <a:gd name="connsiteY24752" fmla="*/ 4655313 h 5282095"/>
              <a:gd name="connsiteX24753" fmla="*/ 4863236 w 7714416"/>
              <a:gd name="connsiteY24753" fmla="*/ 4658757 h 5282095"/>
              <a:gd name="connsiteX24754" fmla="*/ 4856075 w 7714416"/>
              <a:gd name="connsiteY24754" fmla="*/ 4659423 h 5282095"/>
              <a:gd name="connsiteX24755" fmla="*/ 4854642 w 7714416"/>
              <a:gd name="connsiteY24755" fmla="*/ 4657313 h 5282095"/>
              <a:gd name="connsiteX24756" fmla="*/ 4840892 w 7714416"/>
              <a:gd name="connsiteY24756" fmla="*/ 4661089 h 5282095"/>
              <a:gd name="connsiteX24757" fmla="*/ 4809954 w 7714416"/>
              <a:gd name="connsiteY24757" fmla="*/ 4665976 h 5282095"/>
              <a:gd name="connsiteX24758" fmla="*/ 4808808 w 7714416"/>
              <a:gd name="connsiteY24758" fmla="*/ 4680418 h 5282095"/>
              <a:gd name="connsiteX24759" fmla="*/ 4798781 w 7714416"/>
              <a:gd name="connsiteY24759" fmla="*/ 4695970 h 5282095"/>
              <a:gd name="connsiteX24760" fmla="*/ 4802220 w 7714416"/>
              <a:gd name="connsiteY24760" fmla="*/ 4669976 h 5282095"/>
              <a:gd name="connsiteX24761" fmla="*/ 4808235 w 7714416"/>
              <a:gd name="connsiteY24761" fmla="*/ 4665533 h 5282095"/>
              <a:gd name="connsiteX24762" fmla="*/ 4803365 w 7714416"/>
              <a:gd name="connsiteY24762" fmla="*/ 4660756 h 5282095"/>
              <a:gd name="connsiteX24763" fmla="*/ 4799355 w 7714416"/>
              <a:gd name="connsiteY24763" fmla="*/ 4658091 h 5282095"/>
              <a:gd name="connsiteX24764" fmla="*/ 4790188 w 7714416"/>
              <a:gd name="connsiteY24764" fmla="*/ 4661978 h 5282095"/>
              <a:gd name="connsiteX24765" fmla="*/ 4789615 w 7714416"/>
              <a:gd name="connsiteY24765" fmla="*/ 4637873 h 5282095"/>
              <a:gd name="connsiteX24766" fmla="*/ 4798495 w 7714416"/>
              <a:gd name="connsiteY24766" fmla="*/ 4646871 h 5282095"/>
              <a:gd name="connsiteX24767" fmla="*/ 4799068 w 7714416"/>
              <a:gd name="connsiteY24767" fmla="*/ 4654647 h 5282095"/>
              <a:gd name="connsiteX24768" fmla="*/ 4805370 w 7714416"/>
              <a:gd name="connsiteY24768" fmla="*/ 4645649 h 5282095"/>
              <a:gd name="connsiteX24769" fmla="*/ 4804511 w 7714416"/>
              <a:gd name="connsiteY24769" fmla="*/ 4646093 h 5282095"/>
              <a:gd name="connsiteX24770" fmla="*/ 4800500 w 7714416"/>
              <a:gd name="connsiteY24770" fmla="*/ 4644427 h 5282095"/>
              <a:gd name="connsiteX24771" fmla="*/ 4800787 w 7714416"/>
              <a:gd name="connsiteY24771" fmla="*/ 4638428 h 5282095"/>
              <a:gd name="connsiteX24772" fmla="*/ 4807662 w 7714416"/>
              <a:gd name="connsiteY24772" fmla="*/ 4634317 h 5282095"/>
              <a:gd name="connsiteX24773" fmla="*/ 4809094 w 7714416"/>
              <a:gd name="connsiteY24773" fmla="*/ 4631875 h 5282095"/>
              <a:gd name="connsiteX24774" fmla="*/ 4808236 w 7714416"/>
              <a:gd name="connsiteY24774" fmla="*/ 4628653 h 5282095"/>
              <a:gd name="connsiteX24775" fmla="*/ 4812532 w 7714416"/>
              <a:gd name="connsiteY24775" fmla="*/ 4630430 h 5282095"/>
              <a:gd name="connsiteX24776" fmla="*/ 4816829 w 7714416"/>
              <a:gd name="connsiteY24776" fmla="*/ 4630320 h 5282095"/>
              <a:gd name="connsiteX24777" fmla="*/ 4817116 w 7714416"/>
              <a:gd name="connsiteY24777" fmla="*/ 4629319 h 5282095"/>
              <a:gd name="connsiteX24778" fmla="*/ 4827428 w 7714416"/>
              <a:gd name="connsiteY24778" fmla="*/ 4626098 h 5282095"/>
              <a:gd name="connsiteX24779" fmla="*/ 4831152 w 7714416"/>
              <a:gd name="connsiteY24779" fmla="*/ 4627321 h 5282095"/>
              <a:gd name="connsiteX24780" fmla="*/ 4831439 w 7714416"/>
              <a:gd name="connsiteY24780" fmla="*/ 4627764 h 5282095"/>
              <a:gd name="connsiteX24781" fmla="*/ 4832012 w 7714416"/>
              <a:gd name="connsiteY24781" fmla="*/ 4626987 h 5282095"/>
              <a:gd name="connsiteX24782" fmla="*/ 4835450 w 7714416"/>
              <a:gd name="connsiteY24782" fmla="*/ 4625432 h 5282095"/>
              <a:gd name="connsiteX24783" fmla="*/ 4844902 w 7714416"/>
              <a:gd name="connsiteY24783" fmla="*/ 4627542 h 5282095"/>
              <a:gd name="connsiteX24784" fmla="*/ 4843470 w 7714416"/>
              <a:gd name="connsiteY24784" fmla="*/ 4628987 h 5282095"/>
              <a:gd name="connsiteX24785" fmla="*/ 4845476 w 7714416"/>
              <a:gd name="connsiteY24785" fmla="*/ 4628542 h 5282095"/>
              <a:gd name="connsiteX24786" fmla="*/ 4845476 w 7714416"/>
              <a:gd name="connsiteY24786" fmla="*/ 4619212 h 5282095"/>
              <a:gd name="connsiteX24787" fmla="*/ 4818262 w 7714416"/>
              <a:gd name="connsiteY24787" fmla="*/ 4624543 h 5282095"/>
              <a:gd name="connsiteX24788" fmla="*/ 4818834 w 7714416"/>
              <a:gd name="connsiteY24788" fmla="*/ 4625432 h 5282095"/>
              <a:gd name="connsiteX24789" fmla="*/ 4815683 w 7714416"/>
              <a:gd name="connsiteY24789" fmla="*/ 4627987 h 5282095"/>
              <a:gd name="connsiteX24790" fmla="*/ 4813105 w 7714416"/>
              <a:gd name="connsiteY24790" fmla="*/ 4625654 h 5282095"/>
              <a:gd name="connsiteX24791" fmla="*/ 4791047 w 7714416"/>
              <a:gd name="connsiteY24791" fmla="*/ 4629987 h 5282095"/>
              <a:gd name="connsiteX24792" fmla="*/ 4743209 w 7714416"/>
              <a:gd name="connsiteY24792" fmla="*/ 4642428 h 5282095"/>
              <a:gd name="connsiteX24793" fmla="*/ 4743208 w 7714416"/>
              <a:gd name="connsiteY24793" fmla="*/ 4643538 h 5282095"/>
              <a:gd name="connsiteX24794" fmla="*/ 4741489 w 7714416"/>
              <a:gd name="connsiteY24794" fmla="*/ 4642872 h 5282095"/>
              <a:gd name="connsiteX24795" fmla="*/ 4738624 w 7714416"/>
              <a:gd name="connsiteY24795" fmla="*/ 4643649 h 5282095"/>
              <a:gd name="connsiteX24796" fmla="*/ 4734614 w 7714416"/>
              <a:gd name="connsiteY24796" fmla="*/ 4644204 h 5282095"/>
              <a:gd name="connsiteX24797" fmla="*/ 4734041 w 7714416"/>
              <a:gd name="connsiteY24797" fmla="*/ 4645649 h 5282095"/>
              <a:gd name="connsiteX24798" fmla="*/ 4728884 w 7714416"/>
              <a:gd name="connsiteY24798" fmla="*/ 4646538 h 5282095"/>
              <a:gd name="connsiteX24799" fmla="*/ 4729171 w 7714416"/>
              <a:gd name="connsiteY24799" fmla="*/ 4646760 h 5282095"/>
              <a:gd name="connsiteX24800" fmla="*/ 4724015 w 7714416"/>
              <a:gd name="connsiteY24800" fmla="*/ 4647427 h 5282095"/>
              <a:gd name="connsiteX24801" fmla="*/ 4723442 w 7714416"/>
              <a:gd name="connsiteY24801" fmla="*/ 4646871 h 5282095"/>
              <a:gd name="connsiteX24802" fmla="*/ 4721723 w 7714416"/>
              <a:gd name="connsiteY24802" fmla="*/ 4647426 h 5282095"/>
              <a:gd name="connsiteX24803" fmla="*/ 4707686 w 7714416"/>
              <a:gd name="connsiteY24803" fmla="*/ 4658646 h 5282095"/>
              <a:gd name="connsiteX24804" fmla="*/ 4707686 w 7714416"/>
              <a:gd name="connsiteY24804" fmla="*/ 4651203 h 5282095"/>
              <a:gd name="connsiteX24805" fmla="*/ 4695082 w 7714416"/>
              <a:gd name="connsiteY24805" fmla="*/ 4653758 h 5282095"/>
              <a:gd name="connsiteX24806" fmla="*/ 4692217 w 7714416"/>
              <a:gd name="connsiteY24806" fmla="*/ 4655757 h 5282095"/>
              <a:gd name="connsiteX24807" fmla="*/ 4693363 w 7714416"/>
              <a:gd name="connsiteY24807" fmla="*/ 4656868 h 5282095"/>
              <a:gd name="connsiteX24808" fmla="*/ 4694795 w 7714416"/>
              <a:gd name="connsiteY24808" fmla="*/ 4656979 h 5282095"/>
              <a:gd name="connsiteX24809" fmla="*/ 4700238 w 7714416"/>
              <a:gd name="connsiteY24809" fmla="*/ 4660089 h 5282095"/>
              <a:gd name="connsiteX24810" fmla="*/ 4697946 w 7714416"/>
              <a:gd name="connsiteY24810" fmla="*/ 4662312 h 5282095"/>
              <a:gd name="connsiteX24811" fmla="*/ 4693363 w 7714416"/>
              <a:gd name="connsiteY24811" fmla="*/ 4660646 h 5282095"/>
              <a:gd name="connsiteX24812" fmla="*/ 4692790 w 7714416"/>
              <a:gd name="connsiteY24812" fmla="*/ 4660312 h 5282095"/>
              <a:gd name="connsiteX24813" fmla="*/ 4691071 w 7714416"/>
              <a:gd name="connsiteY24813" fmla="*/ 4660534 h 5282095"/>
              <a:gd name="connsiteX24814" fmla="*/ 4689639 w 7714416"/>
              <a:gd name="connsiteY24814" fmla="*/ 4660089 h 5282095"/>
              <a:gd name="connsiteX24815" fmla="*/ 4689065 w 7714416"/>
              <a:gd name="connsiteY24815" fmla="*/ 4660090 h 5282095"/>
              <a:gd name="connsiteX24816" fmla="*/ 4687347 w 7714416"/>
              <a:gd name="connsiteY24816" fmla="*/ 4663200 h 5282095"/>
              <a:gd name="connsiteX24817" fmla="*/ 4678467 w 7714416"/>
              <a:gd name="connsiteY24817" fmla="*/ 4668310 h 5282095"/>
              <a:gd name="connsiteX24818" fmla="*/ 4671878 w 7714416"/>
              <a:gd name="connsiteY24818" fmla="*/ 4668421 h 5282095"/>
              <a:gd name="connsiteX24819" fmla="*/ 4671592 w 7714416"/>
              <a:gd name="connsiteY24819" fmla="*/ 4668976 h 5282095"/>
              <a:gd name="connsiteX24820" fmla="*/ 4668727 w 7714416"/>
              <a:gd name="connsiteY24820" fmla="*/ 4666755 h 5282095"/>
              <a:gd name="connsiteX24821" fmla="*/ 4667008 w 7714416"/>
              <a:gd name="connsiteY24821" fmla="*/ 4667643 h 5282095"/>
              <a:gd name="connsiteX24822" fmla="*/ 4662711 w 7714416"/>
              <a:gd name="connsiteY24822" fmla="*/ 4666200 h 5282095"/>
              <a:gd name="connsiteX24823" fmla="*/ 4665290 w 7714416"/>
              <a:gd name="connsiteY24823" fmla="*/ 4664088 h 5282095"/>
              <a:gd name="connsiteX24824" fmla="*/ 4662425 w 7714416"/>
              <a:gd name="connsiteY24824" fmla="*/ 4660756 h 5282095"/>
              <a:gd name="connsiteX24825" fmla="*/ 4648674 w 7714416"/>
              <a:gd name="connsiteY24825" fmla="*/ 4663089 h 5282095"/>
              <a:gd name="connsiteX24826" fmla="*/ 4623466 w 7714416"/>
              <a:gd name="connsiteY24826" fmla="*/ 4666199 h 5282095"/>
              <a:gd name="connsiteX24827" fmla="*/ 4589663 w 7714416"/>
              <a:gd name="connsiteY24827" fmla="*/ 4681307 h 5282095"/>
              <a:gd name="connsiteX24828" fmla="*/ 4567319 w 7714416"/>
              <a:gd name="connsiteY24828" fmla="*/ 4681307 h 5282095"/>
              <a:gd name="connsiteX24829" fmla="*/ 4567319 w 7714416"/>
              <a:gd name="connsiteY24829" fmla="*/ 4686861 h 5282095"/>
              <a:gd name="connsiteX24830" fmla="*/ 4609429 w 7714416"/>
              <a:gd name="connsiteY24830" fmla="*/ 4703856 h 5282095"/>
              <a:gd name="connsiteX24831" fmla="*/ 4555860 w 7714416"/>
              <a:gd name="connsiteY24831" fmla="*/ 4716965 h 5282095"/>
              <a:gd name="connsiteX24832" fmla="*/ 4528932 w 7714416"/>
              <a:gd name="connsiteY24832" fmla="*/ 4719296 h 5282095"/>
              <a:gd name="connsiteX24833" fmla="*/ 4520338 w 7714416"/>
              <a:gd name="connsiteY24833" fmla="*/ 4718297 h 5282095"/>
              <a:gd name="connsiteX24834" fmla="*/ 4520625 w 7714416"/>
              <a:gd name="connsiteY24834" fmla="*/ 4719852 h 5282095"/>
              <a:gd name="connsiteX24835" fmla="*/ 4514036 w 7714416"/>
              <a:gd name="connsiteY24835" fmla="*/ 4717409 h 5282095"/>
              <a:gd name="connsiteX24836" fmla="*/ 4499713 w 7714416"/>
              <a:gd name="connsiteY24836" fmla="*/ 4713187 h 5282095"/>
              <a:gd name="connsiteX24837" fmla="*/ 4499713 w 7714416"/>
              <a:gd name="connsiteY24837" fmla="*/ 4709411 h 5282095"/>
              <a:gd name="connsiteX24838" fmla="*/ 4491406 w 7714416"/>
              <a:gd name="connsiteY24838" fmla="*/ 4707633 h 5282095"/>
              <a:gd name="connsiteX24839" fmla="*/ 4496276 w 7714416"/>
              <a:gd name="connsiteY24839" fmla="*/ 4698414 h 5282095"/>
              <a:gd name="connsiteX24840" fmla="*/ 4502578 w 7714416"/>
              <a:gd name="connsiteY24840" fmla="*/ 4695970 h 5282095"/>
              <a:gd name="connsiteX24841" fmla="*/ 4502864 w 7714416"/>
              <a:gd name="connsiteY24841" fmla="*/ 4691082 h 5282095"/>
              <a:gd name="connsiteX24842" fmla="*/ 4504870 w 7714416"/>
              <a:gd name="connsiteY24842" fmla="*/ 4692193 h 5282095"/>
              <a:gd name="connsiteX24843" fmla="*/ 4505442 w 7714416"/>
              <a:gd name="connsiteY24843" fmla="*/ 4690637 h 5282095"/>
              <a:gd name="connsiteX24844" fmla="*/ 4502578 w 7714416"/>
              <a:gd name="connsiteY24844" fmla="*/ 4688750 h 5282095"/>
              <a:gd name="connsiteX24845" fmla="*/ 4460468 w 7714416"/>
              <a:gd name="connsiteY24845" fmla="*/ 4692526 h 5282095"/>
              <a:gd name="connsiteX24846" fmla="*/ 4460468 w 7714416"/>
              <a:gd name="connsiteY24846" fmla="*/ 4694415 h 5282095"/>
              <a:gd name="connsiteX24847" fmla="*/ 4452160 w 7714416"/>
              <a:gd name="connsiteY24847" fmla="*/ 4694415 h 5282095"/>
              <a:gd name="connsiteX24848" fmla="*/ 4429529 w 7714416"/>
              <a:gd name="connsiteY24848" fmla="*/ 4700079 h 5282095"/>
              <a:gd name="connsiteX24849" fmla="*/ 4416352 w 7714416"/>
              <a:gd name="connsiteY24849" fmla="*/ 4700413 h 5282095"/>
              <a:gd name="connsiteX24850" fmla="*/ 4416066 w 7714416"/>
              <a:gd name="connsiteY24850" fmla="*/ 4701080 h 5282095"/>
              <a:gd name="connsiteX24851" fmla="*/ 4411196 w 7714416"/>
              <a:gd name="connsiteY24851" fmla="*/ 4700524 h 5282095"/>
              <a:gd name="connsiteX24852" fmla="*/ 4401169 w 7714416"/>
              <a:gd name="connsiteY24852" fmla="*/ 4700746 h 5282095"/>
              <a:gd name="connsiteX24853" fmla="*/ 4379112 w 7714416"/>
              <a:gd name="connsiteY24853" fmla="*/ 4705744 h 5282095"/>
              <a:gd name="connsiteX24854" fmla="*/ 4331272 w 7714416"/>
              <a:gd name="connsiteY24854" fmla="*/ 4713187 h 5282095"/>
              <a:gd name="connsiteX24855" fmla="*/ 4320100 w 7714416"/>
              <a:gd name="connsiteY24855" fmla="*/ 4722629 h 5282095"/>
              <a:gd name="connsiteX24856" fmla="*/ 4322678 w 7714416"/>
              <a:gd name="connsiteY24856" fmla="*/ 4722629 h 5282095"/>
              <a:gd name="connsiteX24857" fmla="*/ 4336715 w 7714416"/>
              <a:gd name="connsiteY24857" fmla="*/ 4715076 h 5282095"/>
              <a:gd name="connsiteX24858" fmla="*/ 4342444 w 7714416"/>
              <a:gd name="connsiteY24858" fmla="*/ 4713187 h 5282095"/>
              <a:gd name="connsiteX24859" fmla="*/ 4379112 w 7714416"/>
              <a:gd name="connsiteY24859" fmla="*/ 4707633 h 5282095"/>
              <a:gd name="connsiteX24860" fmla="*/ 4381976 w 7714416"/>
              <a:gd name="connsiteY24860" fmla="*/ 4716964 h 5282095"/>
              <a:gd name="connsiteX24861" fmla="*/ 4404320 w 7714416"/>
              <a:gd name="connsiteY24861" fmla="*/ 4718852 h 5282095"/>
              <a:gd name="connsiteX24862" fmla="*/ 4421222 w 7714416"/>
              <a:gd name="connsiteY24862" fmla="*/ 4715076 h 5282095"/>
              <a:gd name="connsiteX24863" fmla="*/ 4427524 w 7714416"/>
              <a:gd name="connsiteY24863" fmla="*/ 4709856 h 5282095"/>
              <a:gd name="connsiteX24864" fmla="*/ 4424086 w 7714416"/>
              <a:gd name="connsiteY24864" fmla="*/ 4709522 h 5282095"/>
              <a:gd name="connsiteX24865" fmla="*/ 4429816 w 7714416"/>
              <a:gd name="connsiteY24865" fmla="*/ 4707189 h 5282095"/>
              <a:gd name="connsiteX24866" fmla="*/ 4430675 w 7714416"/>
              <a:gd name="connsiteY24866" fmla="*/ 4707188 h 5282095"/>
              <a:gd name="connsiteX24867" fmla="*/ 4430962 w 7714416"/>
              <a:gd name="connsiteY24867" fmla="*/ 4706967 h 5282095"/>
              <a:gd name="connsiteX24868" fmla="*/ 4449295 w 7714416"/>
              <a:gd name="connsiteY24868" fmla="*/ 4705745 h 5282095"/>
              <a:gd name="connsiteX24869" fmla="*/ 4474504 w 7714416"/>
              <a:gd name="connsiteY24869" fmla="*/ 4711410 h 5282095"/>
              <a:gd name="connsiteX24870" fmla="*/ 4488541 w 7714416"/>
              <a:gd name="connsiteY24870" fmla="*/ 4715076 h 5282095"/>
              <a:gd name="connsiteX24871" fmla="*/ 4462187 w 7714416"/>
              <a:gd name="connsiteY24871" fmla="*/ 4721407 h 5282095"/>
              <a:gd name="connsiteX24872" fmla="*/ 4463618 w 7714416"/>
              <a:gd name="connsiteY24872" fmla="*/ 4721519 h 5282095"/>
              <a:gd name="connsiteX24873" fmla="*/ 4465051 w 7714416"/>
              <a:gd name="connsiteY24873" fmla="*/ 4725184 h 5282095"/>
              <a:gd name="connsiteX24874" fmla="*/ 4459322 w 7714416"/>
              <a:gd name="connsiteY24874" fmla="*/ 4731515 h 5282095"/>
              <a:gd name="connsiteX24875" fmla="*/ 4443566 w 7714416"/>
              <a:gd name="connsiteY24875" fmla="*/ 4734515 h 5282095"/>
              <a:gd name="connsiteX24876" fmla="*/ 4453019 w 7714416"/>
              <a:gd name="connsiteY24876" fmla="*/ 4723185 h 5282095"/>
              <a:gd name="connsiteX24877" fmla="*/ 4437264 w 7714416"/>
              <a:gd name="connsiteY24877" fmla="*/ 4724629 h 5282095"/>
              <a:gd name="connsiteX24878" fmla="*/ 4421222 w 7714416"/>
              <a:gd name="connsiteY24878" fmla="*/ 4722630 h 5282095"/>
              <a:gd name="connsiteX24879" fmla="*/ 4407185 w 7714416"/>
              <a:gd name="connsiteY24879" fmla="*/ 4724518 h 5282095"/>
              <a:gd name="connsiteX24880" fmla="*/ 4393148 w 7714416"/>
              <a:gd name="connsiteY24880" fmla="*/ 4726406 h 5282095"/>
              <a:gd name="connsiteX24881" fmla="*/ 4401456 w 7714416"/>
              <a:gd name="connsiteY24881" fmla="*/ 4733960 h 5282095"/>
              <a:gd name="connsiteX24882" fmla="*/ 4345309 w 7714416"/>
              <a:gd name="connsiteY24882" fmla="*/ 4743291 h 5282095"/>
              <a:gd name="connsiteX24883" fmla="*/ 4326688 w 7714416"/>
              <a:gd name="connsiteY24883" fmla="*/ 4745846 h 5282095"/>
              <a:gd name="connsiteX24884" fmla="*/ 4326116 w 7714416"/>
              <a:gd name="connsiteY24884" fmla="*/ 4746068 h 5282095"/>
              <a:gd name="connsiteX24885" fmla="*/ 4325543 w 7714416"/>
              <a:gd name="connsiteY24885" fmla="*/ 4746068 h 5282095"/>
              <a:gd name="connsiteX24886" fmla="*/ 4325543 w 7714416"/>
              <a:gd name="connsiteY24886" fmla="*/ 4746290 h 5282095"/>
              <a:gd name="connsiteX24887" fmla="*/ 4323251 w 7714416"/>
              <a:gd name="connsiteY24887" fmla="*/ 4748068 h 5282095"/>
              <a:gd name="connsiteX24888" fmla="*/ 4326688 w 7714416"/>
              <a:gd name="connsiteY24888" fmla="*/ 4748845 h 5282095"/>
              <a:gd name="connsiteX24889" fmla="*/ 4333850 w 7714416"/>
              <a:gd name="connsiteY24889" fmla="*/ 4760397 h 5282095"/>
              <a:gd name="connsiteX24890" fmla="*/ 4334137 w 7714416"/>
              <a:gd name="connsiteY24890" fmla="*/ 4759176 h 5282095"/>
              <a:gd name="connsiteX24891" fmla="*/ 4358772 w 7714416"/>
              <a:gd name="connsiteY24891" fmla="*/ 4749955 h 5282095"/>
              <a:gd name="connsiteX24892" fmla="*/ 4356480 w 7714416"/>
              <a:gd name="connsiteY24892" fmla="*/ 4753400 h 5282095"/>
              <a:gd name="connsiteX24893" fmla="*/ 4354762 w 7714416"/>
              <a:gd name="connsiteY24893" fmla="*/ 4754399 h 5282095"/>
              <a:gd name="connsiteX24894" fmla="*/ 4354762 w 7714416"/>
              <a:gd name="connsiteY24894" fmla="*/ 4755510 h 5282095"/>
              <a:gd name="connsiteX24895" fmla="*/ 4353043 w 7714416"/>
              <a:gd name="connsiteY24895" fmla="*/ 4755287 h 5282095"/>
              <a:gd name="connsiteX24896" fmla="*/ 4349319 w 7714416"/>
              <a:gd name="connsiteY24896" fmla="*/ 4757288 h 5282095"/>
              <a:gd name="connsiteX24897" fmla="*/ 4343590 w 7714416"/>
              <a:gd name="connsiteY24897" fmla="*/ 4763729 h 5282095"/>
              <a:gd name="connsiteX24898" fmla="*/ 4333277 w 7714416"/>
              <a:gd name="connsiteY24898" fmla="*/ 4767396 h 5282095"/>
              <a:gd name="connsiteX24899" fmla="*/ 4330126 w 7714416"/>
              <a:gd name="connsiteY24899" fmla="*/ 4764619 h 5282095"/>
              <a:gd name="connsiteX24900" fmla="*/ 4326402 w 7714416"/>
              <a:gd name="connsiteY24900" fmla="*/ 4766618 h 5282095"/>
              <a:gd name="connsiteX24901" fmla="*/ 4322105 w 7714416"/>
              <a:gd name="connsiteY24901" fmla="*/ 4769063 h 5282095"/>
              <a:gd name="connsiteX24902" fmla="*/ 4321819 w 7714416"/>
              <a:gd name="connsiteY24902" fmla="*/ 4771728 h 5282095"/>
              <a:gd name="connsiteX24903" fmla="*/ 4319240 w 7714416"/>
              <a:gd name="connsiteY24903" fmla="*/ 4775839 h 5282095"/>
              <a:gd name="connsiteX24904" fmla="*/ 4308928 w 7714416"/>
              <a:gd name="connsiteY24904" fmla="*/ 4770729 h 5282095"/>
              <a:gd name="connsiteX24905" fmla="*/ 4313511 w 7714416"/>
              <a:gd name="connsiteY24905" fmla="*/ 4767507 h 5282095"/>
              <a:gd name="connsiteX24906" fmla="*/ 4304917 w 7714416"/>
              <a:gd name="connsiteY24906" fmla="*/ 4763064 h 5282095"/>
              <a:gd name="connsiteX24907" fmla="*/ 4300334 w 7714416"/>
              <a:gd name="connsiteY24907" fmla="*/ 4756731 h 5282095"/>
              <a:gd name="connsiteX24908" fmla="*/ 4304631 w 7714416"/>
              <a:gd name="connsiteY24908" fmla="*/ 4748845 h 5282095"/>
              <a:gd name="connsiteX24909" fmla="*/ 4310646 w 7714416"/>
              <a:gd name="connsiteY24909" fmla="*/ 4747512 h 5282095"/>
              <a:gd name="connsiteX24910" fmla="*/ 4308641 w 7714416"/>
              <a:gd name="connsiteY24910" fmla="*/ 4746290 h 5282095"/>
              <a:gd name="connsiteX24911" fmla="*/ 4306063 w 7714416"/>
              <a:gd name="connsiteY24911" fmla="*/ 4746289 h 5282095"/>
              <a:gd name="connsiteX24912" fmla="*/ 4291740 w 7714416"/>
              <a:gd name="connsiteY24912" fmla="*/ 4743291 h 5282095"/>
              <a:gd name="connsiteX24913" fmla="*/ 4224421 w 7714416"/>
              <a:gd name="connsiteY24913" fmla="*/ 4748956 h 5282095"/>
              <a:gd name="connsiteX24914" fmla="*/ 4179446 w 7714416"/>
              <a:gd name="connsiteY24914" fmla="*/ 4743292 h 5282095"/>
              <a:gd name="connsiteX24915" fmla="*/ 4207520 w 7714416"/>
              <a:gd name="connsiteY24915" fmla="*/ 4735737 h 5282095"/>
              <a:gd name="connsiteX24916" fmla="*/ 4204941 w 7714416"/>
              <a:gd name="connsiteY24916" fmla="*/ 4733848 h 5282095"/>
              <a:gd name="connsiteX24917" fmla="*/ 4204368 w 7714416"/>
              <a:gd name="connsiteY24917" fmla="*/ 4735182 h 5282095"/>
              <a:gd name="connsiteX24918" fmla="*/ 4204655 w 7714416"/>
              <a:gd name="connsiteY24918" fmla="*/ 4734071 h 5282095"/>
              <a:gd name="connsiteX24919" fmla="*/ 4204655 w 7714416"/>
              <a:gd name="connsiteY24919" fmla="*/ 4733627 h 5282095"/>
              <a:gd name="connsiteX24920" fmla="*/ 4201504 w 7714416"/>
              <a:gd name="connsiteY24920" fmla="*/ 4731294 h 5282095"/>
              <a:gd name="connsiteX24921" fmla="*/ 4193483 w 7714416"/>
              <a:gd name="connsiteY24921" fmla="*/ 4728295 h 5282095"/>
              <a:gd name="connsiteX24922" fmla="*/ 4182597 w 7714416"/>
              <a:gd name="connsiteY24922" fmla="*/ 4728295 h 5282095"/>
              <a:gd name="connsiteX24923" fmla="*/ 4181165 w 7714416"/>
              <a:gd name="connsiteY24923" fmla="*/ 4731739 h 5282095"/>
              <a:gd name="connsiteX24924" fmla="*/ 4177727 w 7714416"/>
              <a:gd name="connsiteY24924" fmla="*/ 4734515 h 5282095"/>
              <a:gd name="connsiteX24925" fmla="*/ 4171998 w 7714416"/>
              <a:gd name="connsiteY24925" fmla="*/ 4735293 h 5282095"/>
              <a:gd name="connsiteX24926" fmla="*/ 4167987 w 7714416"/>
              <a:gd name="connsiteY24926" fmla="*/ 4733849 h 5282095"/>
              <a:gd name="connsiteX24927" fmla="*/ 4167414 w 7714416"/>
              <a:gd name="connsiteY24927" fmla="*/ 4732960 h 5282095"/>
              <a:gd name="connsiteX24928" fmla="*/ 4167128 w 7714416"/>
              <a:gd name="connsiteY24928" fmla="*/ 4732960 h 5282095"/>
              <a:gd name="connsiteX24929" fmla="*/ 4162544 w 7714416"/>
              <a:gd name="connsiteY24929" fmla="*/ 4732070 h 5282095"/>
              <a:gd name="connsiteX24930" fmla="*/ 4165409 w 7714416"/>
              <a:gd name="connsiteY24930" fmla="*/ 4737737 h 5282095"/>
              <a:gd name="connsiteX24931" fmla="*/ 4109262 w 7714416"/>
              <a:gd name="connsiteY24931" fmla="*/ 4745180 h 5282095"/>
              <a:gd name="connsiteX24932" fmla="*/ 4123299 w 7714416"/>
              <a:gd name="connsiteY24932" fmla="*/ 4732071 h 5282095"/>
              <a:gd name="connsiteX24933" fmla="*/ 4114992 w 7714416"/>
              <a:gd name="connsiteY24933" fmla="*/ 4732071 h 5282095"/>
              <a:gd name="connsiteX24934" fmla="*/ 4053115 w 7714416"/>
              <a:gd name="connsiteY24934" fmla="*/ 4739514 h 5282095"/>
              <a:gd name="connsiteX24935" fmla="*/ 4052256 w 7714416"/>
              <a:gd name="connsiteY24935" fmla="*/ 4742180 h 5282095"/>
              <a:gd name="connsiteX24936" fmla="*/ 4054834 w 7714416"/>
              <a:gd name="connsiteY24936" fmla="*/ 4744180 h 5282095"/>
              <a:gd name="connsiteX24937" fmla="*/ 4059417 w 7714416"/>
              <a:gd name="connsiteY24937" fmla="*/ 4747511 h 5282095"/>
              <a:gd name="connsiteX24938" fmla="*/ 4056266 w 7714416"/>
              <a:gd name="connsiteY24938" fmla="*/ 4755177 h 5282095"/>
              <a:gd name="connsiteX24939" fmla="*/ 4047386 w 7714416"/>
              <a:gd name="connsiteY24939" fmla="*/ 4751178 h 5282095"/>
              <a:gd name="connsiteX24940" fmla="*/ 4044521 w 7714416"/>
              <a:gd name="connsiteY24940" fmla="*/ 4754621 h 5282095"/>
              <a:gd name="connsiteX24941" fmla="*/ 4010718 w 7714416"/>
              <a:gd name="connsiteY24941" fmla="*/ 4735737 h 5282095"/>
              <a:gd name="connsiteX24942" fmla="*/ 4016448 w 7714416"/>
              <a:gd name="connsiteY24942" fmla="*/ 4732071 h 5282095"/>
              <a:gd name="connsiteX24943" fmla="*/ 4024755 w 7714416"/>
              <a:gd name="connsiteY24943" fmla="*/ 4732071 h 5282095"/>
              <a:gd name="connsiteX24944" fmla="*/ 4013583 w 7714416"/>
              <a:gd name="connsiteY24944" fmla="*/ 4726406 h 5282095"/>
              <a:gd name="connsiteX24945" fmla="*/ 4033349 w 7714416"/>
              <a:gd name="connsiteY24945" fmla="*/ 4718852 h 5282095"/>
              <a:gd name="connsiteX24946" fmla="*/ 4021031 w 7714416"/>
              <a:gd name="connsiteY24946" fmla="*/ 4718853 h 5282095"/>
              <a:gd name="connsiteX24947" fmla="*/ 4018453 w 7714416"/>
              <a:gd name="connsiteY24947" fmla="*/ 4722629 h 5282095"/>
              <a:gd name="connsiteX24948" fmla="*/ 4011578 w 7714416"/>
              <a:gd name="connsiteY24948" fmla="*/ 4725184 h 5282095"/>
              <a:gd name="connsiteX24949" fmla="*/ 4011578 w 7714416"/>
              <a:gd name="connsiteY24949" fmla="*/ 4725296 h 5282095"/>
              <a:gd name="connsiteX24950" fmla="*/ 4011578 w 7714416"/>
              <a:gd name="connsiteY24950" fmla="*/ 4729738 h 5282095"/>
              <a:gd name="connsiteX24951" fmla="*/ 4004703 w 7714416"/>
              <a:gd name="connsiteY24951" fmla="*/ 4732960 h 5282095"/>
              <a:gd name="connsiteX24952" fmla="*/ 3990666 w 7714416"/>
              <a:gd name="connsiteY24952" fmla="*/ 4729627 h 5282095"/>
              <a:gd name="connsiteX24953" fmla="*/ 3990666 w 7714416"/>
              <a:gd name="connsiteY24953" fmla="*/ 4729184 h 5282095"/>
              <a:gd name="connsiteX24954" fmla="*/ 3985510 w 7714416"/>
              <a:gd name="connsiteY24954" fmla="*/ 4728295 h 5282095"/>
              <a:gd name="connsiteX24955" fmla="*/ 3982931 w 7714416"/>
              <a:gd name="connsiteY24955" fmla="*/ 4730072 h 5282095"/>
              <a:gd name="connsiteX24956" fmla="*/ 3985510 w 7714416"/>
              <a:gd name="connsiteY24956" fmla="*/ 4730072 h 5282095"/>
              <a:gd name="connsiteX24957" fmla="*/ 3988374 w 7714416"/>
              <a:gd name="connsiteY24957" fmla="*/ 4737737 h 5282095"/>
              <a:gd name="connsiteX24958" fmla="*/ 3965171 w 7714416"/>
              <a:gd name="connsiteY24958" fmla="*/ 4740292 h 5282095"/>
              <a:gd name="connsiteX24959" fmla="*/ 3962879 w 7714416"/>
              <a:gd name="connsiteY24959" fmla="*/ 4739070 h 5282095"/>
              <a:gd name="connsiteX24960" fmla="*/ 3962880 w 7714416"/>
              <a:gd name="connsiteY24960" fmla="*/ 4738958 h 5282095"/>
              <a:gd name="connsiteX24961" fmla="*/ 3960301 w 7714416"/>
              <a:gd name="connsiteY24961" fmla="*/ 4737737 h 5282095"/>
              <a:gd name="connsiteX24962" fmla="*/ 3957436 w 7714416"/>
              <a:gd name="connsiteY24962" fmla="*/ 4737737 h 5282095"/>
              <a:gd name="connsiteX24963" fmla="*/ 3954572 w 7714416"/>
              <a:gd name="connsiteY24963" fmla="*/ 4741402 h 5282095"/>
              <a:gd name="connsiteX24964" fmla="*/ 3859180 w 7714416"/>
              <a:gd name="connsiteY24964" fmla="*/ 4724518 h 5282095"/>
              <a:gd name="connsiteX24965" fmla="*/ 3859179 w 7714416"/>
              <a:gd name="connsiteY24965" fmla="*/ 4722629 h 5282095"/>
              <a:gd name="connsiteX24966" fmla="*/ 3833970 w 7714416"/>
              <a:gd name="connsiteY24966" fmla="*/ 4713187 h 5282095"/>
              <a:gd name="connsiteX24967" fmla="*/ 3839413 w 7714416"/>
              <a:gd name="connsiteY24967" fmla="*/ 4705745 h 5282095"/>
              <a:gd name="connsiteX24968" fmla="*/ 3833970 w 7714416"/>
              <a:gd name="connsiteY24968" fmla="*/ 4703856 h 5282095"/>
              <a:gd name="connsiteX24969" fmla="*/ 3839412 w 7714416"/>
              <a:gd name="connsiteY24969" fmla="*/ 4696303 h 5282095"/>
              <a:gd name="connsiteX24970" fmla="*/ 3812772 w 7714416"/>
              <a:gd name="connsiteY24970" fmla="*/ 4700745 h 5282095"/>
              <a:gd name="connsiteX24971" fmla="*/ 3789855 w 7714416"/>
              <a:gd name="connsiteY24971" fmla="*/ 4708189 h 5282095"/>
              <a:gd name="connsiteX24972" fmla="*/ 3788709 w 7714416"/>
              <a:gd name="connsiteY24972" fmla="*/ 4712187 h 5282095"/>
              <a:gd name="connsiteX24973" fmla="*/ 3786417 w 7714416"/>
              <a:gd name="connsiteY24973" fmla="*/ 4713853 h 5282095"/>
              <a:gd name="connsiteX24974" fmla="*/ 3788422 w 7714416"/>
              <a:gd name="connsiteY24974" fmla="*/ 4714631 h 5282095"/>
              <a:gd name="connsiteX24975" fmla="*/ 3788709 w 7714416"/>
              <a:gd name="connsiteY24975" fmla="*/ 4715409 h 5282095"/>
              <a:gd name="connsiteX24976" fmla="*/ 3794438 w 7714416"/>
              <a:gd name="connsiteY24976" fmla="*/ 4719075 h 5282095"/>
              <a:gd name="connsiteX24977" fmla="*/ 3788709 w 7714416"/>
              <a:gd name="connsiteY24977" fmla="*/ 4726295 h 5282095"/>
              <a:gd name="connsiteX24978" fmla="*/ 3785844 w 7714416"/>
              <a:gd name="connsiteY24978" fmla="*/ 4728072 h 5282095"/>
              <a:gd name="connsiteX24979" fmla="*/ 3780115 w 7714416"/>
              <a:gd name="connsiteY24979" fmla="*/ 4728073 h 5282095"/>
              <a:gd name="connsiteX24980" fmla="*/ 3774099 w 7714416"/>
              <a:gd name="connsiteY24980" fmla="*/ 4724518 h 5282095"/>
              <a:gd name="connsiteX24981" fmla="*/ 3780115 w 7714416"/>
              <a:gd name="connsiteY24981" fmla="*/ 4722741 h 5282095"/>
              <a:gd name="connsiteX24982" fmla="*/ 3782979 w 7714416"/>
              <a:gd name="connsiteY24982" fmla="*/ 4722741 h 5282095"/>
              <a:gd name="connsiteX24983" fmla="*/ 3782979 w 7714416"/>
              <a:gd name="connsiteY24983" fmla="*/ 4719075 h 5282095"/>
              <a:gd name="connsiteX24984" fmla="*/ 3781834 w 7714416"/>
              <a:gd name="connsiteY24984" fmla="*/ 4717964 h 5282095"/>
              <a:gd name="connsiteX24985" fmla="*/ 3782979 w 7714416"/>
              <a:gd name="connsiteY24985" fmla="*/ 4715520 h 5282095"/>
              <a:gd name="connsiteX24986" fmla="*/ 3773813 w 7714416"/>
              <a:gd name="connsiteY24986" fmla="*/ 4715519 h 5282095"/>
              <a:gd name="connsiteX24987" fmla="*/ 3771807 w 7714416"/>
              <a:gd name="connsiteY24987" fmla="*/ 4705079 h 5282095"/>
              <a:gd name="connsiteX24988" fmla="*/ 3772094 w 7714416"/>
              <a:gd name="connsiteY24988" fmla="*/ 4704635 h 5282095"/>
              <a:gd name="connsiteX24989" fmla="*/ 3761781 w 7714416"/>
              <a:gd name="connsiteY24989" fmla="*/ 4701190 h 5282095"/>
              <a:gd name="connsiteX24990" fmla="*/ 3735426 w 7714416"/>
              <a:gd name="connsiteY24990" fmla="*/ 4694414 h 5282095"/>
              <a:gd name="connsiteX24991" fmla="*/ 3727119 w 7714416"/>
              <a:gd name="connsiteY24991" fmla="*/ 4698191 h 5282095"/>
              <a:gd name="connsiteX24992" fmla="*/ 3718525 w 7714416"/>
              <a:gd name="connsiteY24992" fmla="*/ 4709411 h 5282095"/>
              <a:gd name="connsiteX24993" fmla="*/ 3738291 w 7714416"/>
              <a:gd name="connsiteY24993" fmla="*/ 4711410 h 5282095"/>
              <a:gd name="connsiteX24994" fmla="*/ 3723681 w 7714416"/>
              <a:gd name="connsiteY24994" fmla="*/ 4718075 h 5282095"/>
              <a:gd name="connsiteX24995" fmla="*/ 3723108 w 7714416"/>
              <a:gd name="connsiteY24995" fmla="*/ 4718186 h 5282095"/>
              <a:gd name="connsiteX24996" fmla="*/ 3724542 w 7714416"/>
              <a:gd name="connsiteY24996" fmla="*/ 4718631 h 5282095"/>
              <a:gd name="connsiteX24997" fmla="*/ 3717952 w 7714416"/>
              <a:gd name="connsiteY24997" fmla="*/ 4726962 h 5282095"/>
              <a:gd name="connsiteX24998" fmla="*/ 3713369 w 7714416"/>
              <a:gd name="connsiteY24998" fmla="*/ 4722296 h 5282095"/>
              <a:gd name="connsiteX24999" fmla="*/ 3714802 w 7714416"/>
              <a:gd name="connsiteY24999" fmla="*/ 4720297 h 5282095"/>
              <a:gd name="connsiteX25000" fmla="*/ 3708786 w 7714416"/>
              <a:gd name="connsiteY25000" fmla="*/ 4721630 h 5282095"/>
              <a:gd name="connsiteX25001" fmla="*/ 3679279 w 7714416"/>
              <a:gd name="connsiteY25001" fmla="*/ 4720741 h 5282095"/>
              <a:gd name="connsiteX25002" fmla="*/ 3669253 w 7714416"/>
              <a:gd name="connsiteY25002" fmla="*/ 4717076 h 5282095"/>
              <a:gd name="connsiteX25003" fmla="*/ 3664670 w 7714416"/>
              <a:gd name="connsiteY25003" fmla="*/ 4717631 h 5282095"/>
              <a:gd name="connsiteX25004" fmla="*/ 3662664 w 7714416"/>
              <a:gd name="connsiteY25004" fmla="*/ 4717075 h 5282095"/>
              <a:gd name="connsiteX25005" fmla="*/ 3666388 w 7714416"/>
              <a:gd name="connsiteY25005" fmla="*/ 4715853 h 5282095"/>
              <a:gd name="connsiteX25006" fmla="*/ 3662091 w 7714416"/>
              <a:gd name="connsiteY25006" fmla="*/ 4714298 h 5282095"/>
              <a:gd name="connsiteX25007" fmla="*/ 3660659 w 7714416"/>
              <a:gd name="connsiteY25007" fmla="*/ 4715853 h 5282095"/>
              <a:gd name="connsiteX25008" fmla="*/ 3653211 w 7714416"/>
              <a:gd name="connsiteY25008" fmla="*/ 4711077 h 5282095"/>
              <a:gd name="connsiteX25009" fmla="*/ 3653211 w 7714416"/>
              <a:gd name="connsiteY25009" fmla="*/ 4710966 h 5282095"/>
              <a:gd name="connsiteX25010" fmla="*/ 3651492 w 7714416"/>
              <a:gd name="connsiteY25010" fmla="*/ 4710300 h 5282095"/>
              <a:gd name="connsiteX25011" fmla="*/ 3652065 w 7714416"/>
              <a:gd name="connsiteY25011" fmla="*/ 4712410 h 5282095"/>
              <a:gd name="connsiteX25012" fmla="*/ 3655503 w 7714416"/>
              <a:gd name="connsiteY25012" fmla="*/ 4716742 h 5282095"/>
              <a:gd name="connsiteX25013" fmla="*/ 3648628 w 7714416"/>
              <a:gd name="connsiteY25013" fmla="*/ 4715964 h 5282095"/>
              <a:gd name="connsiteX25014" fmla="*/ 3648915 w 7714416"/>
              <a:gd name="connsiteY25014" fmla="*/ 4713632 h 5282095"/>
              <a:gd name="connsiteX25015" fmla="*/ 3645190 w 7714416"/>
              <a:gd name="connsiteY25015" fmla="*/ 4710188 h 5282095"/>
              <a:gd name="connsiteX25016" fmla="*/ 3643758 w 7714416"/>
              <a:gd name="connsiteY25016" fmla="*/ 4706966 h 5282095"/>
              <a:gd name="connsiteX25017" fmla="*/ 3640607 w 7714416"/>
              <a:gd name="connsiteY25017" fmla="*/ 4705745 h 5282095"/>
              <a:gd name="connsiteX25018" fmla="*/ 3640607 w 7714416"/>
              <a:gd name="connsiteY25018" fmla="*/ 4706744 h 5282095"/>
              <a:gd name="connsiteX25019" fmla="*/ 3636883 w 7714416"/>
              <a:gd name="connsiteY25019" fmla="*/ 4705634 h 5282095"/>
              <a:gd name="connsiteX25020" fmla="*/ 3638028 w 7714416"/>
              <a:gd name="connsiteY25020" fmla="*/ 4709411 h 5282095"/>
              <a:gd name="connsiteX25021" fmla="*/ 3636883 w 7714416"/>
              <a:gd name="connsiteY25021" fmla="*/ 4713854 h 5282095"/>
              <a:gd name="connsiteX25022" fmla="*/ 3637169 w 7714416"/>
              <a:gd name="connsiteY25022" fmla="*/ 4712632 h 5282095"/>
              <a:gd name="connsiteX25023" fmla="*/ 3635164 w 7714416"/>
              <a:gd name="connsiteY25023" fmla="*/ 4713632 h 5282095"/>
              <a:gd name="connsiteX25024" fmla="*/ 3633159 w 7714416"/>
              <a:gd name="connsiteY25024" fmla="*/ 4704523 h 5282095"/>
              <a:gd name="connsiteX25025" fmla="*/ 3632873 w 7714416"/>
              <a:gd name="connsiteY25025" fmla="*/ 4704523 h 5282095"/>
              <a:gd name="connsiteX25026" fmla="*/ 3632299 w 7714416"/>
              <a:gd name="connsiteY25026" fmla="*/ 4703746 h 5282095"/>
              <a:gd name="connsiteX25027" fmla="*/ 3623992 w 7714416"/>
              <a:gd name="connsiteY25027" fmla="*/ 4702857 h 5282095"/>
              <a:gd name="connsiteX25028" fmla="*/ 3615971 w 7714416"/>
              <a:gd name="connsiteY25028" fmla="*/ 4698636 h 5282095"/>
              <a:gd name="connsiteX25029" fmla="*/ 3624565 w 7714416"/>
              <a:gd name="connsiteY25029" fmla="*/ 4695081 h 5282095"/>
              <a:gd name="connsiteX25030" fmla="*/ 3627717 w 7714416"/>
              <a:gd name="connsiteY25030" fmla="*/ 4695081 h 5282095"/>
              <a:gd name="connsiteX25031" fmla="*/ 3626570 w 7714416"/>
              <a:gd name="connsiteY25031" fmla="*/ 4686861 h 5282095"/>
              <a:gd name="connsiteX25032" fmla="*/ 3627430 w 7714416"/>
              <a:gd name="connsiteY25032" fmla="*/ 4683306 h 5282095"/>
              <a:gd name="connsiteX25033" fmla="*/ 3625998 w 7714416"/>
              <a:gd name="connsiteY25033" fmla="*/ 4679307 h 5282095"/>
              <a:gd name="connsiteX25034" fmla="*/ 3624278 w 7714416"/>
              <a:gd name="connsiteY25034" fmla="*/ 4679196 h 5282095"/>
              <a:gd name="connsiteX25035" fmla="*/ 3623132 w 7714416"/>
              <a:gd name="connsiteY25035" fmla="*/ 4679307 h 5282095"/>
              <a:gd name="connsiteX25036" fmla="*/ 3622559 w 7714416"/>
              <a:gd name="connsiteY25036" fmla="*/ 4678974 h 5282095"/>
              <a:gd name="connsiteX25037" fmla="*/ 3618835 w 7714416"/>
              <a:gd name="connsiteY25037" fmla="*/ 4678530 h 5282095"/>
              <a:gd name="connsiteX25038" fmla="*/ 3609096 w 7714416"/>
              <a:gd name="connsiteY25038" fmla="*/ 4677529 h 5282095"/>
              <a:gd name="connsiteX25039" fmla="*/ 3581022 w 7714416"/>
              <a:gd name="connsiteY25039" fmla="*/ 4686861 h 5282095"/>
              <a:gd name="connsiteX25040" fmla="*/ 3575293 w 7714416"/>
              <a:gd name="connsiteY25040" fmla="*/ 4701968 h 5282095"/>
              <a:gd name="connsiteX25041" fmla="*/ 3538626 w 7714416"/>
              <a:gd name="connsiteY25041" fmla="*/ 4701968 h 5282095"/>
              <a:gd name="connsiteX25042" fmla="*/ 3532037 w 7714416"/>
              <a:gd name="connsiteY25042" fmla="*/ 4699746 h 5282095"/>
              <a:gd name="connsiteX25043" fmla="*/ 3533469 w 7714416"/>
              <a:gd name="connsiteY25043" fmla="*/ 4708744 h 5282095"/>
              <a:gd name="connsiteX25044" fmla="*/ 3532610 w 7714416"/>
              <a:gd name="connsiteY25044" fmla="*/ 4710411 h 5282095"/>
              <a:gd name="connsiteX25045" fmla="*/ 3533183 w 7714416"/>
              <a:gd name="connsiteY25045" fmla="*/ 4711743 h 5282095"/>
              <a:gd name="connsiteX25046" fmla="*/ 3532037 w 7714416"/>
              <a:gd name="connsiteY25046" fmla="*/ 4718520 h 5282095"/>
              <a:gd name="connsiteX25047" fmla="*/ 3530891 w 7714416"/>
              <a:gd name="connsiteY25047" fmla="*/ 4722518 h 5282095"/>
              <a:gd name="connsiteX25048" fmla="*/ 3534328 w 7714416"/>
              <a:gd name="connsiteY25048" fmla="*/ 4715631 h 5282095"/>
              <a:gd name="connsiteX25049" fmla="*/ 3541776 w 7714416"/>
              <a:gd name="connsiteY25049" fmla="*/ 4708299 h 5282095"/>
              <a:gd name="connsiteX25050" fmla="*/ 3542637 w 7714416"/>
              <a:gd name="connsiteY25050" fmla="*/ 4711966 h 5282095"/>
              <a:gd name="connsiteX25051" fmla="*/ 3541776 w 7714416"/>
              <a:gd name="connsiteY25051" fmla="*/ 4713632 h 5282095"/>
              <a:gd name="connsiteX25052" fmla="*/ 3542637 w 7714416"/>
              <a:gd name="connsiteY25052" fmla="*/ 4714631 h 5282095"/>
              <a:gd name="connsiteX25053" fmla="*/ 3541204 w 7714416"/>
              <a:gd name="connsiteY25053" fmla="*/ 4715187 h 5282095"/>
              <a:gd name="connsiteX25054" fmla="*/ 3539772 w 7714416"/>
              <a:gd name="connsiteY25054" fmla="*/ 4718519 h 5282095"/>
              <a:gd name="connsiteX25055" fmla="*/ 3540058 w 7714416"/>
              <a:gd name="connsiteY25055" fmla="*/ 4726406 h 5282095"/>
              <a:gd name="connsiteX25056" fmla="*/ 3534043 w 7714416"/>
              <a:gd name="connsiteY25056" fmla="*/ 4734182 h 5282095"/>
              <a:gd name="connsiteX25057" fmla="*/ 3529459 w 7714416"/>
              <a:gd name="connsiteY25057" fmla="*/ 4733404 h 5282095"/>
              <a:gd name="connsiteX25058" fmla="*/ 3528026 w 7714416"/>
              <a:gd name="connsiteY25058" fmla="*/ 4736626 h 5282095"/>
              <a:gd name="connsiteX25059" fmla="*/ 3524302 w 7714416"/>
              <a:gd name="connsiteY25059" fmla="*/ 4740625 h 5282095"/>
              <a:gd name="connsiteX25060" fmla="*/ 3525162 w 7714416"/>
              <a:gd name="connsiteY25060" fmla="*/ 4741180 h 5282095"/>
              <a:gd name="connsiteX25061" fmla="*/ 3526021 w 7714416"/>
              <a:gd name="connsiteY25061" fmla="*/ 4747845 h 5282095"/>
              <a:gd name="connsiteX25062" fmla="*/ 3519147 w 7714416"/>
              <a:gd name="connsiteY25062" fmla="*/ 4749511 h 5282095"/>
              <a:gd name="connsiteX25063" fmla="*/ 3513130 w 7714416"/>
              <a:gd name="connsiteY25063" fmla="*/ 4743514 h 5282095"/>
              <a:gd name="connsiteX25064" fmla="*/ 3507974 w 7714416"/>
              <a:gd name="connsiteY25064" fmla="*/ 4743735 h 5282095"/>
              <a:gd name="connsiteX25065" fmla="*/ 3499380 w 7714416"/>
              <a:gd name="connsiteY25065" fmla="*/ 4740625 h 5282095"/>
              <a:gd name="connsiteX25066" fmla="*/ 3497088 w 7714416"/>
              <a:gd name="connsiteY25066" fmla="*/ 4732293 h 5282095"/>
              <a:gd name="connsiteX25067" fmla="*/ 3503104 w 7714416"/>
              <a:gd name="connsiteY25067" fmla="*/ 4725962 h 5282095"/>
              <a:gd name="connsiteX25068" fmla="*/ 3500812 w 7714416"/>
              <a:gd name="connsiteY25068" fmla="*/ 4725628 h 5282095"/>
              <a:gd name="connsiteX25069" fmla="*/ 3505109 w 7714416"/>
              <a:gd name="connsiteY25069" fmla="*/ 4709743 h 5282095"/>
              <a:gd name="connsiteX25070" fmla="*/ 3520005 w 7714416"/>
              <a:gd name="connsiteY25070" fmla="*/ 4695414 h 5282095"/>
              <a:gd name="connsiteX25071" fmla="*/ 3510553 w 7714416"/>
              <a:gd name="connsiteY25071" fmla="*/ 4690637 h 5282095"/>
              <a:gd name="connsiteX25072" fmla="*/ 3505110 w 7714416"/>
              <a:gd name="connsiteY25072" fmla="*/ 4688750 h 5282095"/>
              <a:gd name="connsiteX25073" fmla="*/ 3499380 w 7714416"/>
              <a:gd name="connsiteY25073" fmla="*/ 4686861 h 5282095"/>
              <a:gd name="connsiteX25074" fmla="*/ 3502244 w 7714416"/>
              <a:gd name="connsiteY25074" fmla="*/ 4686861 h 5282095"/>
              <a:gd name="connsiteX25075" fmla="*/ 3497947 w 7714416"/>
              <a:gd name="connsiteY25075" fmla="*/ 4685416 h 5282095"/>
              <a:gd name="connsiteX25076" fmla="*/ 3491073 w 7714416"/>
              <a:gd name="connsiteY25076" fmla="*/ 4695970 h 5282095"/>
              <a:gd name="connsiteX25077" fmla="*/ 3485629 w 7714416"/>
              <a:gd name="connsiteY25077" fmla="*/ 4686972 h 5282095"/>
              <a:gd name="connsiteX25078" fmla="*/ 3487062 w 7714416"/>
              <a:gd name="connsiteY25078" fmla="*/ 4681751 h 5282095"/>
              <a:gd name="connsiteX25079" fmla="*/ 3486202 w 7714416"/>
              <a:gd name="connsiteY25079" fmla="*/ 4681418 h 5282095"/>
              <a:gd name="connsiteX25080" fmla="*/ 3482766 w 7714416"/>
              <a:gd name="connsiteY25080" fmla="*/ 4671864 h 5282095"/>
              <a:gd name="connsiteX25081" fmla="*/ 3492791 w 7714416"/>
              <a:gd name="connsiteY25081" fmla="*/ 4672309 h 5282095"/>
              <a:gd name="connsiteX25082" fmla="*/ 3494511 w 7714416"/>
              <a:gd name="connsiteY25082" fmla="*/ 4669976 h 5282095"/>
              <a:gd name="connsiteX25083" fmla="*/ 3502244 w 7714416"/>
              <a:gd name="connsiteY25083" fmla="*/ 4664310 h 5282095"/>
              <a:gd name="connsiteX25084" fmla="*/ 3501385 w 7714416"/>
              <a:gd name="connsiteY25084" fmla="*/ 4673753 h 5282095"/>
              <a:gd name="connsiteX25085" fmla="*/ 3510552 w 7714416"/>
              <a:gd name="connsiteY25085" fmla="*/ 4675641 h 5282095"/>
              <a:gd name="connsiteX25086" fmla="*/ 3507975 w 7714416"/>
              <a:gd name="connsiteY25086" fmla="*/ 4683084 h 5282095"/>
              <a:gd name="connsiteX25087" fmla="*/ 3516281 w 7714416"/>
              <a:gd name="connsiteY25087" fmla="*/ 4686861 h 5282095"/>
              <a:gd name="connsiteX25088" fmla="*/ 3516281 w 7714416"/>
              <a:gd name="connsiteY25088" fmla="*/ 4684971 h 5282095"/>
              <a:gd name="connsiteX25089" fmla="*/ 3505683 w 7714416"/>
              <a:gd name="connsiteY25089" fmla="*/ 4648426 h 5282095"/>
              <a:gd name="connsiteX25090" fmla="*/ 3499666 w 7714416"/>
              <a:gd name="connsiteY25090" fmla="*/ 4644316 h 5282095"/>
              <a:gd name="connsiteX25091" fmla="*/ 3499380 w 7714416"/>
              <a:gd name="connsiteY25091" fmla="*/ 4644872 h 5282095"/>
              <a:gd name="connsiteX25092" fmla="*/ 3496802 w 7714416"/>
              <a:gd name="connsiteY25092" fmla="*/ 4646093 h 5282095"/>
              <a:gd name="connsiteX25093" fmla="*/ 3492791 w 7714416"/>
              <a:gd name="connsiteY25093" fmla="*/ 4644427 h 5282095"/>
              <a:gd name="connsiteX25094" fmla="*/ 3490214 w 7714416"/>
              <a:gd name="connsiteY25094" fmla="*/ 4642094 h 5282095"/>
              <a:gd name="connsiteX25095" fmla="*/ 3492506 w 7714416"/>
              <a:gd name="connsiteY25095" fmla="*/ 4639095 h 5282095"/>
              <a:gd name="connsiteX25096" fmla="*/ 3491072 w 7714416"/>
              <a:gd name="connsiteY25096" fmla="*/ 4637984 h 5282095"/>
              <a:gd name="connsiteX25097" fmla="*/ 3485056 w 7714416"/>
              <a:gd name="connsiteY25097" fmla="*/ 4639761 h 5282095"/>
              <a:gd name="connsiteX25098" fmla="*/ 3487635 w 7714416"/>
              <a:gd name="connsiteY25098" fmla="*/ 4641538 h 5282095"/>
              <a:gd name="connsiteX25099" fmla="*/ 3491645 w 7714416"/>
              <a:gd name="connsiteY25099" fmla="*/ 4658090 h 5282095"/>
              <a:gd name="connsiteX25100" fmla="*/ 3482478 w 7714416"/>
              <a:gd name="connsiteY25100" fmla="*/ 4661978 h 5282095"/>
              <a:gd name="connsiteX25101" fmla="*/ 3477609 w 7714416"/>
              <a:gd name="connsiteY25101" fmla="*/ 4641983 h 5282095"/>
              <a:gd name="connsiteX25102" fmla="*/ 3479042 w 7714416"/>
              <a:gd name="connsiteY25102" fmla="*/ 4640762 h 5282095"/>
              <a:gd name="connsiteX25103" fmla="*/ 3475031 w 7714416"/>
              <a:gd name="connsiteY25103" fmla="*/ 4640983 h 5282095"/>
              <a:gd name="connsiteX25104" fmla="*/ 3434926 w 7714416"/>
              <a:gd name="connsiteY25104" fmla="*/ 4624876 h 5282095"/>
              <a:gd name="connsiteX25105" fmla="*/ 3432061 w 7714416"/>
              <a:gd name="connsiteY25105" fmla="*/ 4626654 h 5282095"/>
              <a:gd name="connsiteX25106" fmla="*/ 3426331 w 7714416"/>
              <a:gd name="connsiteY25106" fmla="*/ 4624876 h 5282095"/>
              <a:gd name="connsiteX25107" fmla="*/ 3426332 w 7714416"/>
              <a:gd name="connsiteY25107" fmla="*/ 4621099 h 5282095"/>
              <a:gd name="connsiteX25108" fmla="*/ 3434925 w 7714416"/>
              <a:gd name="connsiteY25108" fmla="*/ 4619211 h 5282095"/>
              <a:gd name="connsiteX25109" fmla="*/ 3432061 w 7714416"/>
              <a:gd name="connsiteY25109" fmla="*/ 4617323 h 5282095"/>
              <a:gd name="connsiteX25110" fmla="*/ 3422321 w 7714416"/>
              <a:gd name="connsiteY25110" fmla="*/ 4615879 h 5282095"/>
              <a:gd name="connsiteX25111" fmla="*/ 3418024 w 7714416"/>
              <a:gd name="connsiteY25111" fmla="*/ 4613990 h 5282095"/>
              <a:gd name="connsiteX25112" fmla="*/ 3417165 w 7714416"/>
              <a:gd name="connsiteY25112" fmla="*/ 4614212 h 5282095"/>
              <a:gd name="connsiteX25113" fmla="*/ 3404561 w 7714416"/>
              <a:gd name="connsiteY25113" fmla="*/ 4613990 h 5282095"/>
              <a:gd name="connsiteX25114" fmla="*/ 3402555 w 7714416"/>
              <a:gd name="connsiteY25114" fmla="*/ 4617100 h 5282095"/>
              <a:gd name="connsiteX25115" fmla="*/ 3400550 w 7714416"/>
              <a:gd name="connsiteY25115" fmla="*/ 4619878 h 5282095"/>
              <a:gd name="connsiteX25116" fmla="*/ 3401695 w 7714416"/>
              <a:gd name="connsiteY25116" fmla="*/ 4620099 h 5282095"/>
              <a:gd name="connsiteX25117" fmla="*/ 3402555 w 7714416"/>
              <a:gd name="connsiteY25117" fmla="*/ 4619655 h 5282095"/>
              <a:gd name="connsiteX25118" fmla="*/ 3406852 w 7714416"/>
              <a:gd name="connsiteY25118" fmla="*/ 4621877 h 5282095"/>
              <a:gd name="connsiteX25119" fmla="*/ 3407712 w 7714416"/>
              <a:gd name="connsiteY25119" fmla="*/ 4625320 h 5282095"/>
              <a:gd name="connsiteX25120" fmla="*/ 3398259 w 7714416"/>
              <a:gd name="connsiteY25120" fmla="*/ 4628542 h 5282095"/>
              <a:gd name="connsiteX25121" fmla="*/ 3397398 w 7714416"/>
              <a:gd name="connsiteY25121" fmla="*/ 4624431 h 5282095"/>
              <a:gd name="connsiteX25122" fmla="*/ 3398258 w 7714416"/>
              <a:gd name="connsiteY25122" fmla="*/ 4620655 h 5282095"/>
              <a:gd name="connsiteX25123" fmla="*/ 3395393 w 7714416"/>
              <a:gd name="connsiteY25123" fmla="*/ 4621099 h 5282095"/>
              <a:gd name="connsiteX25124" fmla="*/ 3364456 w 7714416"/>
              <a:gd name="connsiteY25124" fmla="*/ 4611658 h 5282095"/>
              <a:gd name="connsiteX25125" fmla="*/ 3364455 w 7714416"/>
              <a:gd name="connsiteY25125" fmla="*/ 4612546 h 5282095"/>
              <a:gd name="connsiteX25126" fmla="*/ 3368180 w 7714416"/>
              <a:gd name="connsiteY25126" fmla="*/ 4611990 h 5282095"/>
              <a:gd name="connsiteX25127" fmla="*/ 3384794 w 7714416"/>
              <a:gd name="connsiteY25127" fmla="*/ 4618878 h 5282095"/>
              <a:gd name="connsiteX25128" fmla="*/ 3383362 w 7714416"/>
              <a:gd name="connsiteY25128" fmla="*/ 4623099 h 5282095"/>
              <a:gd name="connsiteX25129" fmla="*/ 3375054 w 7714416"/>
              <a:gd name="connsiteY25129" fmla="*/ 4626432 h 5282095"/>
              <a:gd name="connsiteX25130" fmla="*/ 3373622 w 7714416"/>
              <a:gd name="connsiteY25130" fmla="*/ 4626653 h 5282095"/>
              <a:gd name="connsiteX25131" fmla="*/ 3378493 w 7714416"/>
              <a:gd name="connsiteY25131" fmla="*/ 4630542 h 5282095"/>
              <a:gd name="connsiteX25132" fmla="*/ 3384221 w 7714416"/>
              <a:gd name="connsiteY25132" fmla="*/ 4630541 h 5282095"/>
              <a:gd name="connsiteX25133" fmla="*/ 3387086 w 7714416"/>
              <a:gd name="connsiteY25133" fmla="*/ 4632319 h 5282095"/>
              <a:gd name="connsiteX25134" fmla="*/ 3389951 w 7714416"/>
              <a:gd name="connsiteY25134" fmla="*/ 4636095 h 5282095"/>
              <a:gd name="connsiteX25135" fmla="*/ 3381356 w 7714416"/>
              <a:gd name="connsiteY25135" fmla="*/ 4637984 h 5282095"/>
              <a:gd name="connsiteX25136" fmla="*/ 3373050 w 7714416"/>
              <a:gd name="connsiteY25136" fmla="*/ 4636096 h 5282095"/>
              <a:gd name="connsiteX25137" fmla="*/ 3370184 w 7714416"/>
              <a:gd name="connsiteY25137" fmla="*/ 4636095 h 5282095"/>
              <a:gd name="connsiteX25138" fmla="*/ 3367321 w 7714416"/>
              <a:gd name="connsiteY25138" fmla="*/ 4637984 h 5282095"/>
              <a:gd name="connsiteX25139" fmla="*/ 3364455 w 7714416"/>
              <a:gd name="connsiteY25139" fmla="*/ 4639873 h 5282095"/>
              <a:gd name="connsiteX25140" fmla="*/ 3336381 w 7714416"/>
              <a:gd name="connsiteY25140" fmla="*/ 4649314 h 5282095"/>
              <a:gd name="connsiteX25141" fmla="*/ 3342685 w 7714416"/>
              <a:gd name="connsiteY25141" fmla="*/ 4645204 h 5282095"/>
              <a:gd name="connsiteX25142" fmla="*/ 3337814 w 7714416"/>
              <a:gd name="connsiteY25142" fmla="*/ 4643650 h 5282095"/>
              <a:gd name="connsiteX25143" fmla="*/ 3336954 w 7714416"/>
              <a:gd name="connsiteY25143" fmla="*/ 4637539 h 5282095"/>
              <a:gd name="connsiteX25144" fmla="*/ 3338101 w 7714416"/>
              <a:gd name="connsiteY25144" fmla="*/ 4635985 h 5282095"/>
              <a:gd name="connsiteX25145" fmla="*/ 3345835 w 7714416"/>
              <a:gd name="connsiteY25145" fmla="*/ 4628764 h 5282095"/>
              <a:gd name="connsiteX25146" fmla="*/ 3352997 w 7714416"/>
              <a:gd name="connsiteY25146" fmla="*/ 4626432 h 5282095"/>
              <a:gd name="connsiteX25147" fmla="*/ 3350418 w 7714416"/>
              <a:gd name="connsiteY25147" fmla="*/ 4624876 h 5282095"/>
              <a:gd name="connsiteX25148" fmla="*/ 3347840 w 7714416"/>
              <a:gd name="connsiteY25148" fmla="*/ 4615434 h 5282095"/>
              <a:gd name="connsiteX25149" fmla="*/ 3347840 w 7714416"/>
              <a:gd name="connsiteY25149" fmla="*/ 4613545 h 5282095"/>
              <a:gd name="connsiteX25150" fmla="*/ 3353283 w 7714416"/>
              <a:gd name="connsiteY25150" fmla="*/ 4609769 h 5282095"/>
              <a:gd name="connsiteX25151" fmla="*/ 3334949 w 7714416"/>
              <a:gd name="connsiteY25151" fmla="*/ 4602660 h 5282095"/>
              <a:gd name="connsiteX25152" fmla="*/ 3340678 w 7714416"/>
              <a:gd name="connsiteY25152" fmla="*/ 4606103 h 5282095"/>
              <a:gd name="connsiteX25153" fmla="*/ 3335522 w 7714416"/>
              <a:gd name="connsiteY25153" fmla="*/ 4605991 h 5282095"/>
              <a:gd name="connsiteX25154" fmla="*/ 3330652 w 7714416"/>
              <a:gd name="connsiteY25154" fmla="*/ 4604214 h 5282095"/>
              <a:gd name="connsiteX25155" fmla="*/ 3320627 w 7714416"/>
              <a:gd name="connsiteY25155" fmla="*/ 4607770 h 5282095"/>
              <a:gd name="connsiteX25156" fmla="*/ 3314038 w 7714416"/>
              <a:gd name="connsiteY25156" fmla="*/ 4607103 h 5282095"/>
              <a:gd name="connsiteX25157" fmla="*/ 3313464 w 7714416"/>
              <a:gd name="connsiteY25157" fmla="*/ 4595328 h 5282095"/>
              <a:gd name="connsiteX25158" fmla="*/ 3315183 w 7714416"/>
              <a:gd name="connsiteY25158" fmla="*/ 4594329 h 5282095"/>
              <a:gd name="connsiteX25159" fmla="*/ 3296276 w 7714416"/>
              <a:gd name="connsiteY25159" fmla="*/ 4585553 h 5282095"/>
              <a:gd name="connsiteX25160" fmla="*/ 3291120 w 7714416"/>
              <a:gd name="connsiteY25160" fmla="*/ 4585886 h 5282095"/>
              <a:gd name="connsiteX25161" fmla="*/ 3291980 w 7714416"/>
              <a:gd name="connsiteY25161" fmla="*/ 4583554 h 5282095"/>
              <a:gd name="connsiteX25162" fmla="*/ 3291408 w 7714416"/>
              <a:gd name="connsiteY25162" fmla="*/ 4583554 h 5282095"/>
              <a:gd name="connsiteX25163" fmla="*/ 3266484 w 7714416"/>
              <a:gd name="connsiteY25163" fmla="*/ 4573112 h 5282095"/>
              <a:gd name="connsiteX25164" fmla="*/ 3266484 w 7714416"/>
              <a:gd name="connsiteY25164" fmla="*/ 4573334 h 5282095"/>
              <a:gd name="connsiteX25165" fmla="*/ 3245859 w 7714416"/>
              <a:gd name="connsiteY25165" fmla="*/ 4577444 h 5282095"/>
              <a:gd name="connsiteX25166" fmla="*/ 3242709 w 7714416"/>
              <a:gd name="connsiteY25166" fmla="*/ 4583664 h 5282095"/>
              <a:gd name="connsiteX25167" fmla="*/ 3242708 w 7714416"/>
              <a:gd name="connsiteY25167" fmla="*/ 4583775 h 5282095"/>
              <a:gd name="connsiteX25168" fmla="*/ 3243854 w 7714416"/>
              <a:gd name="connsiteY25168" fmla="*/ 4586663 h 5282095"/>
              <a:gd name="connsiteX25169" fmla="*/ 3242994 w 7714416"/>
              <a:gd name="connsiteY25169" fmla="*/ 4585775 h 5282095"/>
              <a:gd name="connsiteX25170" fmla="*/ 3246432 w 7714416"/>
              <a:gd name="connsiteY25170" fmla="*/ 4592884 h 5282095"/>
              <a:gd name="connsiteX25171" fmla="*/ 3241562 w 7714416"/>
              <a:gd name="connsiteY25171" fmla="*/ 4592552 h 5282095"/>
              <a:gd name="connsiteX25172" fmla="*/ 3237551 w 7714416"/>
              <a:gd name="connsiteY25172" fmla="*/ 4591329 h 5282095"/>
              <a:gd name="connsiteX25173" fmla="*/ 3239271 w 7714416"/>
              <a:gd name="connsiteY25173" fmla="*/ 4594884 h 5282095"/>
              <a:gd name="connsiteX25174" fmla="*/ 3221510 w 7714416"/>
              <a:gd name="connsiteY25174" fmla="*/ 4601215 h 5282095"/>
              <a:gd name="connsiteX25175" fmla="*/ 3219791 w 7714416"/>
              <a:gd name="connsiteY25175" fmla="*/ 4600438 h 5282095"/>
              <a:gd name="connsiteX25176" fmla="*/ 3214635 w 7714416"/>
              <a:gd name="connsiteY25176" fmla="*/ 4600438 h 5282095"/>
              <a:gd name="connsiteX25177" fmla="*/ 3201743 w 7714416"/>
              <a:gd name="connsiteY25177" fmla="*/ 4605992 h 5282095"/>
              <a:gd name="connsiteX25178" fmla="*/ 3174529 w 7714416"/>
              <a:gd name="connsiteY25178" fmla="*/ 4588885 h 5282095"/>
              <a:gd name="connsiteX25179" fmla="*/ 3170519 w 7714416"/>
              <a:gd name="connsiteY25179" fmla="*/ 4584330 h 5282095"/>
              <a:gd name="connsiteX25180" fmla="*/ 3170519 w 7714416"/>
              <a:gd name="connsiteY25180" fmla="*/ 4584997 h 5282095"/>
              <a:gd name="connsiteX25181" fmla="*/ 3133565 w 7714416"/>
              <a:gd name="connsiteY25181" fmla="*/ 4587774 h 5282095"/>
              <a:gd name="connsiteX25182" fmla="*/ 3126690 w 7714416"/>
              <a:gd name="connsiteY25182" fmla="*/ 4587664 h 5282095"/>
              <a:gd name="connsiteX25183" fmla="*/ 3127263 w 7714416"/>
              <a:gd name="connsiteY25183" fmla="*/ 4588108 h 5282095"/>
              <a:gd name="connsiteX25184" fmla="*/ 3128408 w 7714416"/>
              <a:gd name="connsiteY25184" fmla="*/ 4590329 h 5282095"/>
              <a:gd name="connsiteX25185" fmla="*/ 3138721 w 7714416"/>
              <a:gd name="connsiteY25185" fmla="*/ 4590774 h 5282095"/>
              <a:gd name="connsiteX25186" fmla="*/ 3160493 w 7714416"/>
              <a:gd name="connsiteY25186" fmla="*/ 4608325 h 5282095"/>
              <a:gd name="connsiteX25187" fmla="*/ 3160206 w 7714416"/>
              <a:gd name="connsiteY25187" fmla="*/ 4613879 h 5282095"/>
              <a:gd name="connsiteX25188" fmla="*/ 3160492 w 7714416"/>
              <a:gd name="connsiteY25188" fmla="*/ 4613991 h 5282095"/>
              <a:gd name="connsiteX25189" fmla="*/ 3159920 w 7714416"/>
              <a:gd name="connsiteY25189" fmla="*/ 4616212 h 5282095"/>
              <a:gd name="connsiteX25190" fmla="*/ 3159920 w 7714416"/>
              <a:gd name="connsiteY25190" fmla="*/ 4617989 h 5282095"/>
              <a:gd name="connsiteX25191" fmla="*/ 3153617 w 7714416"/>
              <a:gd name="connsiteY25191" fmla="*/ 4629208 h 5282095"/>
              <a:gd name="connsiteX25192" fmla="*/ 3161066 w 7714416"/>
              <a:gd name="connsiteY25192" fmla="*/ 4635763 h 5282095"/>
              <a:gd name="connsiteX25193" fmla="*/ 3140440 w 7714416"/>
              <a:gd name="connsiteY25193" fmla="*/ 4656868 h 5282095"/>
              <a:gd name="connsiteX25194" fmla="*/ 3136143 w 7714416"/>
              <a:gd name="connsiteY25194" fmla="*/ 4657091 h 5282095"/>
              <a:gd name="connsiteX25195" fmla="*/ 3139008 w 7714416"/>
              <a:gd name="connsiteY25195" fmla="*/ 4662978 h 5282095"/>
              <a:gd name="connsiteX25196" fmla="*/ 3137290 w 7714416"/>
              <a:gd name="connsiteY25196" fmla="*/ 4668310 h 5282095"/>
              <a:gd name="connsiteX25197" fmla="*/ 3132419 w 7714416"/>
              <a:gd name="connsiteY25197" fmla="*/ 4670421 h 5282095"/>
              <a:gd name="connsiteX25198" fmla="*/ 3131559 w 7714416"/>
              <a:gd name="connsiteY25198" fmla="*/ 4671642 h 5282095"/>
              <a:gd name="connsiteX25199" fmla="*/ 3127264 w 7714416"/>
              <a:gd name="connsiteY25199" fmla="*/ 4672198 h 5282095"/>
              <a:gd name="connsiteX25200" fmla="*/ 3124111 w 7714416"/>
              <a:gd name="connsiteY25200" fmla="*/ 4670421 h 5282095"/>
              <a:gd name="connsiteX25201" fmla="*/ 3123825 w 7714416"/>
              <a:gd name="connsiteY25201" fmla="*/ 4670310 h 5282095"/>
              <a:gd name="connsiteX25202" fmla="*/ 3120388 w 7714416"/>
              <a:gd name="connsiteY25202" fmla="*/ 4669976 h 5282095"/>
              <a:gd name="connsiteX25203" fmla="*/ 3119242 w 7714416"/>
              <a:gd name="connsiteY25203" fmla="*/ 4667977 h 5282095"/>
              <a:gd name="connsiteX25204" fmla="*/ 3114372 w 7714416"/>
              <a:gd name="connsiteY25204" fmla="*/ 4668643 h 5282095"/>
              <a:gd name="connsiteX25205" fmla="*/ 3108070 w 7714416"/>
              <a:gd name="connsiteY25205" fmla="*/ 4671642 h 5282095"/>
              <a:gd name="connsiteX25206" fmla="*/ 3106924 w 7714416"/>
              <a:gd name="connsiteY25206" fmla="*/ 4672087 h 5282095"/>
              <a:gd name="connsiteX25207" fmla="*/ 3104918 w 7714416"/>
              <a:gd name="connsiteY25207" fmla="*/ 4676641 h 5282095"/>
              <a:gd name="connsiteX25208" fmla="*/ 3097758 w 7714416"/>
              <a:gd name="connsiteY25208" fmla="*/ 4675863 h 5282095"/>
              <a:gd name="connsiteX25209" fmla="*/ 3097185 w 7714416"/>
              <a:gd name="connsiteY25209" fmla="*/ 4674308 h 5282095"/>
              <a:gd name="connsiteX25210" fmla="*/ 3090022 w 7714416"/>
              <a:gd name="connsiteY25210" fmla="*/ 4674086 h 5282095"/>
              <a:gd name="connsiteX25211" fmla="*/ 3087445 w 7714416"/>
              <a:gd name="connsiteY25211" fmla="*/ 4662645 h 5282095"/>
              <a:gd name="connsiteX25212" fmla="*/ 3106637 w 7714416"/>
              <a:gd name="connsiteY25212" fmla="*/ 4649648 h 5282095"/>
              <a:gd name="connsiteX25213" fmla="*/ 3110648 w 7714416"/>
              <a:gd name="connsiteY25213" fmla="*/ 4649648 h 5282095"/>
              <a:gd name="connsiteX25214" fmla="*/ 3106924 w 7714416"/>
              <a:gd name="connsiteY25214" fmla="*/ 4646648 h 5282095"/>
              <a:gd name="connsiteX25215" fmla="*/ 3106637 w 7714416"/>
              <a:gd name="connsiteY25215" fmla="*/ 4646871 h 5282095"/>
              <a:gd name="connsiteX25216" fmla="*/ 3100622 w 7714416"/>
              <a:gd name="connsiteY25216" fmla="*/ 4635985 h 5282095"/>
              <a:gd name="connsiteX25217" fmla="*/ 3100622 w 7714416"/>
              <a:gd name="connsiteY25217" fmla="*/ 4635429 h 5282095"/>
              <a:gd name="connsiteX25218" fmla="*/ 3095180 w 7714416"/>
              <a:gd name="connsiteY25218" fmla="*/ 4632652 h 5282095"/>
              <a:gd name="connsiteX25219" fmla="*/ 3091169 w 7714416"/>
              <a:gd name="connsiteY25219" fmla="*/ 4627987 h 5282095"/>
              <a:gd name="connsiteX25220" fmla="*/ 3089163 w 7714416"/>
              <a:gd name="connsiteY25220" fmla="*/ 4621655 h 5282095"/>
              <a:gd name="connsiteX25221" fmla="*/ 3085439 w 7714416"/>
              <a:gd name="connsiteY25221" fmla="*/ 4620877 h 5282095"/>
              <a:gd name="connsiteX25222" fmla="*/ 3093746 w 7714416"/>
              <a:gd name="connsiteY25222" fmla="*/ 4604215 h 5282095"/>
              <a:gd name="connsiteX25223" fmla="*/ 3095179 w 7714416"/>
              <a:gd name="connsiteY25223" fmla="*/ 4604659 h 5282095"/>
              <a:gd name="connsiteX25224" fmla="*/ 3101481 w 7714416"/>
              <a:gd name="connsiteY25224" fmla="*/ 4598994 h 5282095"/>
              <a:gd name="connsiteX25225" fmla="*/ 3114085 w 7714416"/>
              <a:gd name="connsiteY25225" fmla="*/ 4592995 h 5282095"/>
              <a:gd name="connsiteX25226" fmla="*/ 3122106 w 7714416"/>
              <a:gd name="connsiteY25226" fmla="*/ 4591551 h 5282095"/>
              <a:gd name="connsiteX25227" fmla="*/ 3121820 w 7714416"/>
              <a:gd name="connsiteY25227" fmla="*/ 4591440 h 5282095"/>
              <a:gd name="connsiteX25228" fmla="*/ 3122967 w 7714416"/>
              <a:gd name="connsiteY25228" fmla="*/ 4589108 h 5282095"/>
              <a:gd name="connsiteX25229" fmla="*/ 3123826 w 7714416"/>
              <a:gd name="connsiteY25229" fmla="*/ 4587552 h 5282095"/>
              <a:gd name="connsiteX25230" fmla="*/ 3122679 w 7714416"/>
              <a:gd name="connsiteY25230" fmla="*/ 4587552 h 5282095"/>
              <a:gd name="connsiteX25231" fmla="*/ 3116951 w 7714416"/>
              <a:gd name="connsiteY25231" fmla="*/ 4585109 h 5282095"/>
              <a:gd name="connsiteX25232" fmla="*/ 3114085 w 7714416"/>
              <a:gd name="connsiteY25232" fmla="*/ 4587219 h 5282095"/>
              <a:gd name="connsiteX25233" fmla="*/ 3110075 w 7714416"/>
              <a:gd name="connsiteY25233" fmla="*/ 4591218 h 5282095"/>
              <a:gd name="connsiteX25234" fmla="*/ 3105205 w 7714416"/>
              <a:gd name="connsiteY25234" fmla="*/ 4591774 h 5282095"/>
              <a:gd name="connsiteX25235" fmla="*/ 3108356 w 7714416"/>
              <a:gd name="connsiteY25235" fmla="*/ 4581554 h 5282095"/>
              <a:gd name="connsiteX25236" fmla="*/ 3118669 w 7714416"/>
              <a:gd name="connsiteY25236" fmla="*/ 4576555 h 5282095"/>
              <a:gd name="connsiteX25237" fmla="*/ 3120961 w 7714416"/>
              <a:gd name="connsiteY25237" fmla="*/ 4578555 h 5282095"/>
              <a:gd name="connsiteX25238" fmla="*/ 3120960 w 7714416"/>
              <a:gd name="connsiteY25238" fmla="*/ 4581887 h 5282095"/>
              <a:gd name="connsiteX25239" fmla="*/ 3116950 w 7714416"/>
              <a:gd name="connsiteY25239" fmla="*/ 4584887 h 5282095"/>
              <a:gd name="connsiteX25240" fmla="*/ 3137290 w 7714416"/>
              <a:gd name="connsiteY25240" fmla="*/ 4576222 h 5282095"/>
              <a:gd name="connsiteX25241" fmla="*/ 3149893 w 7714416"/>
              <a:gd name="connsiteY25241" fmla="*/ 4573556 h 5282095"/>
              <a:gd name="connsiteX25242" fmla="*/ 3158487 w 7714416"/>
              <a:gd name="connsiteY25242" fmla="*/ 4573667 h 5282095"/>
              <a:gd name="connsiteX25243" fmla="*/ 3153904 w 7714416"/>
              <a:gd name="connsiteY25243" fmla="*/ 4570334 h 5282095"/>
              <a:gd name="connsiteX25244" fmla="*/ 3167940 w 7714416"/>
              <a:gd name="connsiteY25244" fmla="*/ 4555227 h 5282095"/>
              <a:gd name="connsiteX25245" fmla="*/ 3163357 w 7714416"/>
              <a:gd name="connsiteY25245" fmla="*/ 4551895 h 5282095"/>
              <a:gd name="connsiteX25246" fmla="*/ 3152186 w 7714416"/>
              <a:gd name="connsiteY25246" fmla="*/ 4551006 h 5282095"/>
              <a:gd name="connsiteX25247" fmla="*/ 3128695 w 7714416"/>
              <a:gd name="connsiteY25247" fmla="*/ 4559781 h 5282095"/>
              <a:gd name="connsiteX25248" fmla="*/ 3113513 w 7714416"/>
              <a:gd name="connsiteY25248" fmla="*/ 4554894 h 5282095"/>
              <a:gd name="connsiteX25249" fmla="*/ 3110935 w 7714416"/>
              <a:gd name="connsiteY25249" fmla="*/ 4558337 h 5282095"/>
              <a:gd name="connsiteX25250" fmla="*/ 3107210 w 7714416"/>
              <a:gd name="connsiteY25250" fmla="*/ 4559448 h 5282095"/>
              <a:gd name="connsiteX25251" fmla="*/ 3104060 w 7714416"/>
              <a:gd name="connsiteY25251" fmla="*/ 4558893 h 5282095"/>
              <a:gd name="connsiteX25252" fmla="*/ 3102340 w 7714416"/>
              <a:gd name="connsiteY25252" fmla="*/ 4556338 h 5282095"/>
              <a:gd name="connsiteX25253" fmla="*/ 3102627 w 7714416"/>
              <a:gd name="connsiteY25253" fmla="*/ 4551673 h 5282095"/>
              <a:gd name="connsiteX25254" fmla="*/ 3098330 w 7714416"/>
              <a:gd name="connsiteY25254" fmla="*/ 4550673 h 5282095"/>
              <a:gd name="connsiteX25255" fmla="*/ 3097185 w 7714416"/>
              <a:gd name="connsiteY25255" fmla="*/ 4551450 h 5282095"/>
              <a:gd name="connsiteX25256" fmla="*/ 3091742 w 7714416"/>
              <a:gd name="connsiteY25256" fmla="*/ 4549563 h 5282095"/>
              <a:gd name="connsiteX25257" fmla="*/ 3091168 w 7714416"/>
              <a:gd name="connsiteY25257" fmla="*/ 4549006 h 5282095"/>
              <a:gd name="connsiteX25258" fmla="*/ 3079423 w 7714416"/>
              <a:gd name="connsiteY25258" fmla="*/ 4546340 h 5282095"/>
              <a:gd name="connsiteX25259" fmla="*/ 3077991 w 7714416"/>
              <a:gd name="connsiteY25259" fmla="*/ 4544230 h 5282095"/>
              <a:gd name="connsiteX25260" fmla="*/ 3077705 w 7714416"/>
              <a:gd name="connsiteY25260" fmla="*/ 4544230 h 5282095"/>
              <a:gd name="connsiteX25261" fmla="*/ 3069398 w 7714416"/>
              <a:gd name="connsiteY25261" fmla="*/ 4540231 h 5282095"/>
              <a:gd name="connsiteX25262" fmla="*/ 3071688 w 7714416"/>
              <a:gd name="connsiteY25262" fmla="*/ 4536010 h 5282095"/>
              <a:gd name="connsiteX25263" fmla="*/ 3065100 w 7714416"/>
              <a:gd name="connsiteY25263" fmla="*/ 4527012 h 5282095"/>
              <a:gd name="connsiteX25264" fmla="*/ 3063667 w 7714416"/>
              <a:gd name="connsiteY25264" fmla="*/ 4525124 h 5282095"/>
              <a:gd name="connsiteX25265" fmla="*/ 3061089 w 7714416"/>
              <a:gd name="connsiteY25265" fmla="*/ 4528123 h 5282095"/>
              <a:gd name="connsiteX25266" fmla="*/ 3051063 w 7714416"/>
              <a:gd name="connsiteY25266" fmla="*/ 4530123 h 5282095"/>
              <a:gd name="connsiteX25267" fmla="*/ 3040177 w 7714416"/>
              <a:gd name="connsiteY25267" fmla="*/ 4528678 h 5282095"/>
              <a:gd name="connsiteX25268" fmla="*/ 3045620 w 7714416"/>
              <a:gd name="connsiteY25268" fmla="*/ 4522235 h 5282095"/>
              <a:gd name="connsiteX25269" fmla="*/ 3061090 w 7714416"/>
              <a:gd name="connsiteY25269" fmla="*/ 4522458 h 5282095"/>
              <a:gd name="connsiteX25270" fmla="*/ 3063096 w 7714416"/>
              <a:gd name="connsiteY25270" fmla="*/ 4524569 h 5282095"/>
              <a:gd name="connsiteX25271" fmla="*/ 3059370 w 7714416"/>
              <a:gd name="connsiteY25271" fmla="*/ 4519348 h 5282095"/>
              <a:gd name="connsiteX25272" fmla="*/ 3053928 w 7714416"/>
              <a:gd name="connsiteY25272" fmla="*/ 4519125 h 5282095"/>
              <a:gd name="connsiteX25273" fmla="*/ 3043902 w 7714416"/>
              <a:gd name="connsiteY25273" fmla="*/ 4521458 h 5282095"/>
              <a:gd name="connsiteX25274" fmla="*/ 3038459 w 7714416"/>
              <a:gd name="connsiteY25274" fmla="*/ 4521457 h 5282095"/>
              <a:gd name="connsiteX25275" fmla="*/ 3038459 w 7714416"/>
              <a:gd name="connsiteY25275" fmla="*/ 4517792 h 5282095"/>
              <a:gd name="connsiteX25276" fmla="*/ 3051349 w 7714416"/>
              <a:gd name="connsiteY25276" fmla="*/ 4512349 h 5282095"/>
              <a:gd name="connsiteX25277" fmla="*/ 3054214 w 7714416"/>
              <a:gd name="connsiteY25277" fmla="*/ 4512682 h 5282095"/>
              <a:gd name="connsiteX25278" fmla="*/ 3050490 w 7714416"/>
              <a:gd name="connsiteY25278" fmla="*/ 4507572 h 5282095"/>
              <a:gd name="connsiteX25279" fmla="*/ 3061950 w 7714416"/>
              <a:gd name="connsiteY25279" fmla="*/ 4484134 h 5282095"/>
              <a:gd name="connsiteX25280" fmla="*/ 3063096 w 7714416"/>
              <a:gd name="connsiteY25280" fmla="*/ 4481912 h 5282095"/>
              <a:gd name="connsiteX25281" fmla="*/ 3058512 w 7714416"/>
              <a:gd name="connsiteY25281" fmla="*/ 4479246 h 5282095"/>
              <a:gd name="connsiteX25282" fmla="*/ 3051063 w 7714416"/>
              <a:gd name="connsiteY25282" fmla="*/ 4475247 h 5282095"/>
              <a:gd name="connsiteX25283" fmla="*/ 3049918 w 7714416"/>
              <a:gd name="connsiteY25283" fmla="*/ 4475692 h 5282095"/>
              <a:gd name="connsiteX25284" fmla="*/ 3036740 w 7714416"/>
              <a:gd name="connsiteY25284" fmla="*/ 4472804 h 5282095"/>
              <a:gd name="connsiteX25285" fmla="*/ 3039891 w 7714416"/>
              <a:gd name="connsiteY25285" fmla="*/ 4469027 h 5282095"/>
              <a:gd name="connsiteX25286" fmla="*/ 3035880 w 7714416"/>
              <a:gd name="connsiteY25286" fmla="*/ 4466915 h 5282095"/>
              <a:gd name="connsiteX25287" fmla="*/ 3045620 w 7714416"/>
              <a:gd name="connsiteY25287" fmla="*/ 4463140 h 5282095"/>
              <a:gd name="connsiteX25288" fmla="*/ 3048198 w 7714416"/>
              <a:gd name="connsiteY25288" fmla="*/ 4462806 h 5282095"/>
              <a:gd name="connsiteX25289" fmla="*/ 3045335 w 7714416"/>
              <a:gd name="connsiteY25289" fmla="*/ 4460585 h 5282095"/>
              <a:gd name="connsiteX25290" fmla="*/ 3047339 w 7714416"/>
              <a:gd name="connsiteY25290" fmla="*/ 4459807 h 5282095"/>
              <a:gd name="connsiteX25291" fmla="*/ 3047053 w 7714416"/>
              <a:gd name="connsiteY25291" fmla="*/ 4459363 h 5282095"/>
              <a:gd name="connsiteX25292" fmla="*/ 3036168 w 7714416"/>
              <a:gd name="connsiteY25292" fmla="*/ 4458473 h 5282095"/>
              <a:gd name="connsiteX25293" fmla="*/ 3036453 w 7714416"/>
              <a:gd name="connsiteY25293" fmla="*/ 4458918 h 5282095"/>
              <a:gd name="connsiteX25294" fmla="*/ 3030438 w 7714416"/>
              <a:gd name="connsiteY25294" fmla="*/ 4464694 h 5282095"/>
              <a:gd name="connsiteX25295" fmla="*/ 3036168 w 7714416"/>
              <a:gd name="connsiteY25295" fmla="*/ 4472359 h 5282095"/>
              <a:gd name="connsiteX25296" fmla="*/ 3036454 w 7714416"/>
              <a:gd name="connsiteY25296" fmla="*/ 4472915 h 5282095"/>
              <a:gd name="connsiteX25297" fmla="*/ 3036741 w 7714416"/>
              <a:gd name="connsiteY25297" fmla="*/ 4473026 h 5282095"/>
              <a:gd name="connsiteX25298" fmla="*/ 3039318 w 7714416"/>
              <a:gd name="connsiteY25298" fmla="*/ 4476025 h 5282095"/>
              <a:gd name="connsiteX25299" fmla="*/ 3039318 w 7714416"/>
              <a:gd name="connsiteY25299" fmla="*/ 4476247 h 5282095"/>
              <a:gd name="connsiteX25300" fmla="*/ 3040177 w 7714416"/>
              <a:gd name="connsiteY25300" fmla="*/ 4477247 h 5282095"/>
              <a:gd name="connsiteX25301" fmla="*/ 3039891 w 7714416"/>
              <a:gd name="connsiteY25301" fmla="*/ 4484467 h 5282095"/>
              <a:gd name="connsiteX25302" fmla="*/ 3023849 w 7714416"/>
              <a:gd name="connsiteY25302" fmla="*/ 4488578 h 5282095"/>
              <a:gd name="connsiteX25303" fmla="*/ 3018979 w 7714416"/>
              <a:gd name="connsiteY25303" fmla="*/ 4487466 h 5282095"/>
              <a:gd name="connsiteX25304" fmla="*/ 3020125 w 7714416"/>
              <a:gd name="connsiteY25304" fmla="*/ 4490021 h 5282095"/>
              <a:gd name="connsiteX25305" fmla="*/ 3002365 w 7714416"/>
              <a:gd name="connsiteY25305" fmla="*/ 4491799 h 5282095"/>
              <a:gd name="connsiteX25306" fmla="*/ 2999213 w 7714416"/>
              <a:gd name="connsiteY25306" fmla="*/ 4495131 h 5282095"/>
              <a:gd name="connsiteX25307" fmla="*/ 2997782 w 7714416"/>
              <a:gd name="connsiteY25307" fmla="*/ 4494465 h 5282095"/>
              <a:gd name="connsiteX25308" fmla="*/ 2992624 w 7714416"/>
              <a:gd name="connsiteY25308" fmla="*/ 4492020 h 5282095"/>
              <a:gd name="connsiteX25309" fmla="*/ 2986322 w 7714416"/>
              <a:gd name="connsiteY25309" fmla="*/ 4491910 h 5282095"/>
              <a:gd name="connsiteX25310" fmla="*/ 2982884 w 7714416"/>
              <a:gd name="connsiteY25310" fmla="*/ 4490910 h 5282095"/>
              <a:gd name="connsiteX25311" fmla="*/ 2982599 w 7714416"/>
              <a:gd name="connsiteY25311" fmla="*/ 4488022 h 5282095"/>
              <a:gd name="connsiteX25312" fmla="*/ 2986895 w 7714416"/>
              <a:gd name="connsiteY25312" fmla="*/ 4485245 h 5282095"/>
              <a:gd name="connsiteX25313" fmla="*/ 2991192 w 7714416"/>
              <a:gd name="connsiteY25313" fmla="*/ 4484356 h 5282095"/>
              <a:gd name="connsiteX25314" fmla="*/ 2991765 w 7714416"/>
              <a:gd name="connsiteY25314" fmla="*/ 4483690 h 5282095"/>
              <a:gd name="connsiteX25315" fmla="*/ 2985177 w 7714416"/>
              <a:gd name="connsiteY25315" fmla="*/ 4484912 h 5282095"/>
              <a:gd name="connsiteX25316" fmla="*/ 2969134 w 7714416"/>
              <a:gd name="connsiteY25316" fmla="*/ 4485022 h 5282095"/>
              <a:gd name="connsiteX25317" fmla="*/ 2965410 w 7714416"/>
              <a:gd name="connsiteY25317" fmla="*/ 4485022 h 5282095"/>
              <a:gd name="connsiteX25318" fmla="*/ 2963692 w 7714416"/>
              <a:gd name="connsiteY25318" fmla="*/ 4481913 h 5282095"/>
              <a:gd name="connsiteX25319" fmla="*/ 2986896 w 7714416"/>
              <a:gd name="connsiteY25319" fmla="*/ 4474137 h 5282095"/>
              <a:gd name="connsiteX25320" fmla="*/ 2990620 w 7714416"/>
              <a:gd name="connsiteY25320" fmla="*/ 4474137 h 5282095"/>
              <a:gd name="connsiteX25321" fmla="*/ 3000645 w 7714416"/>
              <a:gd name="connsiteY25321" fmla="*/ 4478358 h 5282095"/>
              <a:gd name="connsiteX25322" fmla="*/ 2996348 w 7714416"/>
              <a:gd name="connsiteY25322" fmla="*/ 4481690 h 5282095"/>
              <a:gd name="connsiteX25323" fmla="*/ 3001219 w 7714416"/>
              <a:gd name="connsiteY25323" fmla="*/ 4480691 h 5282095"/>
              <a:gd name="connsiteX25324" fmla="*/ 3006662 w 7714416"/>
              <a:gd name="connsiteY25324" fmla="*/ 4482690 h 5282095"/>
              <a:gd name="connsiteX25325" fmla="*/ 3006376 w 7714416"/>
              <a:gd name="connsiteY25325" fmla="*/ 4482467 h 5282095"/>
              <a:gd name="connsiteX25326" fmla="*/ 3004656 w 7714416"/>
              <a:gd name="connsiteY25326" fmla="*/ 4471914 h 5282095"/>
              <a:gd name="connsiteX25327" fmla="*/ 3006375 w 7714416"/>
              <a:gd name="connsiteY25327" fmla="*/ 4471471 h 5282095"/>
              <a:gd name="connsiteX25328" fmla="*/ 2999499 w 7714416"/>
              <a:gd name="connsiteY25328" fmla="*/ 4466139 h 5282095"/>
              <a:gd name="connsiteX25329" fmla="*/ 3021271 w 7714416"/>
              <a:gd name="connsiteY25329" fmla="*/ 4456697 h 5282095"/>
              <a:gd name="connsiteX25330" fmla="*/ 3022418 w 7714416"/>
              <a:gd name="connsiteY25330" fmla="*/ 4456474 h 5282095"/>
              <a:gd name="connsiteX25331" fmla="*/ 3014682 w 7714416"/>
              <a:gd name="connsiteY25331" fmla="*/ 4454475 h 5282095"/>
              <a:gd name="connsiteX25332" fmla="*/ 3007520 w 7714416"/>
              <a:gd name="connsiteY25332" fmla="*/ 4453365 h 5282095"/>
              <a:gd name="connsiteX25333" fmla="*/ 3006088 w 7714416"/>
              <a:gd name="connsiteY25333" fmla="*/ 4452142 h 5282095"/>
              <a:gd name="connsiteX25334" fmla="*/ 3004943 w 7714416"/>
              <a:gd name="connsiteY25334" fmla="*/ 4451809 h 5282095"/>
              <a:gd name="connsiteX25335" fmla="*/ 2982312 w 7714416"/>
              <a:gd name="connsiteY25335" fmla="*/ 4441701 h 5282095"/>
              <a:gd name="connsiteX25336" fmla="*/ 2979448 w 7714416"/>
              <a:gd name="connsiteY25336" fmla="*/ 4438812 h 5282095"/>
              <a:gd name="connsiteX25337" fmla="*/ 2978301 w 7714416"/>
              <a:gd name="connsiteY25337" fmla="*/ 4440255 h 5282095"/>
              <a:gd name="connsiteX25338" fmla="*/ 2973718 w 7714416"/>
              <a:gd name="connsiteY25338" fmla="*/ 4441034 h 5282095"/>
              <a:gd name="connsiteX25339" fmla="*/ 2972572 w 7714416"/>
              <a:gd name="connsiteY25339" fmla="*/ 4442144 h 5282095"/>
              <a:gd name="connsiteX25340" fmla="*/ 2970567 w 7714416"/>
              <a:gd name="connsiteY25340" fmla="*/ 4442367 h 5282095"/>
              <a:gd name="connsiteX25341" fmla="*/ 2976296 w 7714416"/>
              <a:gd name="connsiteY25341" fmla="*/ 4445922 h 5282095"/>
              <a:gd name="connsiteX25342" fmla="*/ 2977729 w 7714416"/>
              <a:gd name="connsiteY25342" fmla="*/ 4446588 h 5282095"/>
              <a:gd name="connsiteX25343" fmla="*/ 2978015 w 7714416"/>
              <a:gd name="connsiteY25343" fmla="*/ 4454031 h 5282095"/>
              <a:gd name="connsiteX25344" fmla="*/ 2973145 w 7714416"/>
              <a:gd name="connsiteY25344" fmla="*/ 4453586 h 5282095"/>
              <a:gd name="connsiteX25345" fmla="*/ 2972285 w 7714416"/>
              <a:gd name="connsiteY25345" fmla="*/ 4458696 h 5282095"/>
              <a:gd name="connsiteX25346" fmla="*/ 2970280 w 7714416"/>
              <a:gd name="connsiteY25346" fmla="*/ 4462806 h 5282095"/>
              <a:gd name="connsiteX25347" fmla="*/ 2970567 w 7714416"/>
              <a:gd name="connsiteY25347" fmla="*/ 4463029 h 5282095"/>
              <a:gd name="connsiteX25348" fmla="*/ 2970853 w 7714416"/>
              <a:gd name="connsiteY25348" fmla="*/ 4463362 h 5282095"/>
              <a:gd name="connsiteX25349" fmla="*/ 2973719 w 7714416"/>
              <a:gd name="connsiteY25349" fmla="*/ 4463362 h 5282095"/>
              <a:gd name="connsiteX25350" fmla="*/ 2976583 w 7714416"/>
              <a:gd name="connsiteY25350" fmla="*/ 4467139 h 5282095"/>
              <a:gd name="connsiteX25351" fmla="*/ 2970853 w 7714416"/>
              <a:gd name="connsiteY25351" fmla="*/ 4469138 h 5282095"/>
              <a:gd name="connsiteX25352" fmla="*/ 2967988 w 7714416"/>
              <a:gd name="connsiteY25352" fmla="*/ 4469138 h 5282095"/>
              <a:gd name="connsiteX25353" fmla="*/ 2966557 w 7714416"/>
              <a:gd name="connsiteY25353" fmla="*/ 4468694 h 5282095"/>
              <a:gd name="connsiteX25354" fmla="*/ 2965697 w 7714416"/>
              <a:gd name="connsiteY25354" fmla="*/ 4469916 h 5282095"/>
              <a:gd name="connsiteX25355" fmla="*/ 2965125 w 7714416"/>
              <a:gd name="connsiteY25355" fmla="*/ 4472581 h 5282095"/>
              <a:gd name="connsiteX25356" fmla="*/ 2963978 w 7714416"/>
              <a:gd name="connsiteY25356" fmla="*/ 4471026 h 5282095"/>
              <a:gd name="connsiteX25357" fmla="*/ 2964264 w 7714416"/>
              <a:gd name="connsiteY25357" fmla="*/ 4468027 h 5282095"/>
              <a:gd name="connsiteX25358" fmla="*/ 2963691 w 7714416"/>
              <a:gd name="connsiteY25358" fmla="*/ 4467916 h 5282095"/>
              <a:gd name="connsiteX25359" fmla="*/ 2962547 w 7714416"/>
              <a:gd name="connsiteY25359" fmla="*/ 4467250 h 5282095"/>
              <a:gd name="connsiteX25360" fmla="*/ 2962832 w 7714416"/>
              <a:gd name="connsiteY25360" fmla="*/ 4467694 h 5282095"/>
              <a:gd name="connsiteX25361" fmla="*/ 2956531 w 7714416"/>
              <a:gd name="connsiteY25361" fmla="*/ 4470805 h 5282095"/>
              <a:gd name="connsiteX25362" fmla="*/ 2960254 w 7714416"/>
              <a:gd name="connsiteY25362" fmla="*/ 4470249 h 5282095"/>
              <a:gd name="connsiteX25363" fmla="*/ 2950229 w 7714416"/>
              <a:gd name="connsiteY25363" fmla="*/ 4475025 h 5282095"/>
              <a:gd name="connsiteX25364" fmla="*/ 2949369 w 7714416"/>
              <a:gd name="connsiteY25364" fmla="*/ 4475136 h 5282095"/>
              <a:gd name="connsiteX25365" fmla="*/ 2952233 w 7714416"/>
              <a:gd name="connsiteY25365" fmla="*/ 4477469 h 5282095"/>
              <a:gd name="connsiteX25366" fmla="*/ 2957103 w 7714416"/>
              <a:gd name="connsiteY25366" fmla="*/ 4488578 h 5282095"/>
              <a:gd name="connsiteX25367" fmla="*/ 2955097 w 7714416"/>
              <a:gd name="connsiteY25367" fmla="*/ 4491466 h 5282095"/>
              <a:gd name="connsiteX25368" fmla="*/ 2957103 w 7714416"/>
              <a:gd name="connsiteY25368" fmla="*/ 4493798 h 5282095"/>
              <a:gd name="connsiteX25369" fmla="*/ 2959394 w 7714416"/>
              <a:gd name="connsiteY25369" fmla="*/ 4511239 h 5282095"/>
              <a:gd name="connsiteX25370" fmla="*/ 2944499 w 7714416"/>
              <a:gd name="connsiteY25370" fmla="*/ 4497464 h 5282095"/>
              <a:gd name="connsiteX25371" fmla="*/ 2944499 w 7714416"/>
              <a:gd name="connsiteY25371" fmla="*/ 4493465 h 5282095"/>
              <a:gd name="connsiteX25372" fmla="*/ 2939055 w 7714416"/>
              <a:gd name="connsiteY25372" fmla="*/ 4491132 h 5282095"/>
              <a:gd name="connsiteX25373" fmla="*/ 2938769 w 7714416"/>
              <a:gd name="connsiteY25373" fmla="*/ 4471470 h 5282095"/>
              <a:gd name="connsiteX25374" fmla="*/ 2945358 w 7714416"/>
              <a:gd name="connsiteY25374" fmla="*/ 4472026 h 5282095"/>
              <a:gd name="connsiteX25375" fmla="*/ 2945931 w 7714416"/>
              <a:gd name="connsiteY25375" fmla="*/ 4472471 h 5282095"/>
              <a:gd name="connsiteX25376" fmla="*/ 2947649 w 7714416"/>
              <a:gd name="connsiteY25376" fmla="*/ 4472137 h 5282095"/>
              <a:gd name="connsiteX25377" fmla="*/ 2947937 w 7714416"/>
              <a:gd name="connsiteY25377" fmla="*/ 4472026 h 5282095"/>
              <a:gd name="connsiteX25378" fmla="*/ 2939342 w 7714416"/>
              <a:gd name="connsiteY25378" fmla="*/ 4466916 h 5282095"/>
              <a:gd name="connsiteX25379" fmla="*/ 2949082 w 7714416"/>
              <a:gd name="connsiteY25379" fmla="*/ 4457030 h 5282095"/>
              <a:gd name="connsiteX25380" fmla="*/ 2958249 w 7714416"/>
              <a:gd name="connsiteY25380" fmla="*/ 4460140 h 5282095"/>
              <a:gd name="connsiteX25381" fmla="*/ 2960255 w 7714416"/>
              <a:gd name="connsiteY25381" fmla="*/ 4463362 h 5282095"/>
              <a:gd name="connsiteX25382" fmla="*/ 2962259 w 7714416"/>
              <a:gd name="connsiteY25382" fmla="*/ 4459363 h 5282095"/>
              <a:gd name="connsiteX25383" fmla="*/ 2965125 w 7714416"/>
              <a:gd name="connsiteY25383" fmla="*/ 4459696 h 5282095"/>
              <a:gd name="connsiteX25384" fmla="*/ 2966270 w 7714416"/>
              <a:gd name="connsiteY25384" fmla="*/ 4460251 h 5282095"/>
              <a:gd name="connsiteX25385" fmla="*/ 2967129 w 7714416"/>
              <a:gd name="connsiteY25385" fmla="*/ 4457252 h 5282095"/>
              <a:gd name="connsiteX25386" fmla="*/ 2968275 w 7714416"/>
              <a:gd name="connsiteY25386" fmla="*/ 4453142 h 5282095"/>
              <a:gd name="connsiteX25387" fmla="*/ 2965984 w 7714416"/>
              <a:gd name="connsiteY25387" fmla="*/ 4452808 h 5282095"/>
              <a:gd name="connsiteX25388" fmla="*/ 2963118 w 7714416"/>
              <a:gd name="connsiteY25388" fmla="*/ 4451587 h 5282095"/>
              <a:gd name="connsiteX25389" fmla="*/ 2959394 w 7714416"/>
              <a:gd name="connsiteY25389" fmla="*/ 4452031 h 5282095"/>
              <a:gd name="connsiteX25390" fmla="*/ 2959108 w 7714416"/>
              <a:gd name="connsiteY25390" fmla="*/ 4452697 h 5282095"/>
              <a:gd name="connsiteX25391" fmla="*/ 2958249 w 7714416"/>
              <a:gd name="connsiteY25391" fmla="*/ 4456697 h 5282095"/>
              <a:gd name="connsiteX25392" fmla="*/ 2955097 w 7714416"/>
              <a:gd name="connsiteY25392" fmla="*/ 4457585 h 5282095"/>
              <a:gd name="connsiteX25393" fmla="*/ 2953380 w 7714416"/>
              <a:gd name="connsiteY25393" fmla="*/ 4454031 h 5282095"/>
              <a:gd name="connsiteX25394" fmla="*/ 2957962 w 7714416"/>
              <a:gd name="connsiteY25394" fmla="*/ 4452253 h 5282095"/>
              <a:gd name="connsiteX25395" fmla="*/ 2944498 w 7714416"/>
              <a:gd name="connsiteY25395" fmla="*/ 4453919 h 5282095"/>
              <a:gd name="connsiteX25396" fmla="*/ 2939343 w 7714416"/>
              <a:gd name="connsiteY25396" fmla="*/ 4453253 h 5282095"/>
              <a:gd name="connsiteX25397" fmla="*/ 2939628 w 7714416"/>
              <a:gd name="connsiteY25397" fmla="*/ 4454586 h 5282095"/>
              <a:gd name="connsiteX25398" fmla="*/ 2930175 w 7714416"/>
              <a:gd name="connsiteY25398" fmla="*/ 4452808 h 5282095"/>
              <a:gd name="connsiteX25399" fmla="*/ 2930462 w 7714416"/>
              <a:gd name="connsiteY25399" fmla="*/ 4452364 h 5282095"/>
              <a:gd name="connsiteX25400" fmla="*/ 2921581 w 7714416"/>
              <a:gd name="connsiteY25400" fmla="*/ 4451253 h 5282095"/>
              <a:gd name="connsiteX25401" fmla="*/ 2908690 w 7714416"/>
              <a:gd name="connsiteY25401" fmla="*/ 4446477 h 5282095"/>
              <a:gd name="connsiteX25402" fmla="*/ 2914992 w 7714416"/>
              <a:gd name="connsiteY25402" fmla="*/ 4442144 h 5282095"/>
              <a:gd name="connsiteX25403" fmla="*/ 2907832 w 7714416"/>
              <a:gd name="connsiteY25403" fmla="*/ 4441033 h 5282095"/>
              <a:gd name="connsiteX25404" fmla="*/ 2895800 w 7714416"/>
              <a:gd name="connsiteY25404" fmla="*/ 4439701 h 5282095"/>
              <a:gd name="connsiteX25405" fmla="*/ 2885201 w 7714416"/>
              <a:gd name="connsiteY25405" fmla="*/ 4435813 h 5282095"/>
              <a:gd name="connsiteX25406" fmla="*/ 2884054 w 7714416"/>
              <a:gd name="connsiteY25406" fmla="*/ 4439478 h 5282095"/>
              <a:gd name="connsiteX25407" fmla="*/ 2878898 w 7714416"/>
              <a:gd name="connsiteY25407" fmla="*/ 4441700 h 5282095"/>
              <a:gd name="connsiteX25408" fmla="*/ 2878899 w 7714416"/>
              <a:gd name="connsiteY25408" fmla="*/ 4440590 h 5282095"/>
              <a:gd name="connsiteX25409" fmla="*/ 2882336 w 7714416"/>
              <a:gd name="connsiteY25409" fmla="*/ 4438257 h 5282095"/>
              <a:gd name="connsiteX25410" fmla="*/ 2884341 w 7714416"/>
              <a:gd name="connsiteY25410" fmla="*/ 4435368 h 5282095"/>
              <a:gd name="connsiteX25411" fmla="*/ 2883481 w 7714416"/>
              <a:gd name="connsiteY25411" fmla="*/ 4435257 h 5282095"/>
              <a:gd name="connsiteX25412" fmla="*/ 2886346 w 7714416"/>
              <a:gd name="connsiteY25412" fmla="*/ 4412597 h 5282095"/>
              <a:gd name="connsiteX25413" fmla="*/ 2911841 w 7714416"/>
              <a:gd name="connsiteY25413" fmla="*/ 4412597 h 5282095"/>
              <a:gd name="connsiteX25414" fmla="*/ 2932754 w 7714416"/>
              <a:gd name="connsiteY25414" fmla="*/ 4437812 h 5282095"/>
              <a:gd name="connsiteX25415" fmla="*/ 2933041 w 7714416"/>
              <a:gd name="connsiteY25415" fmla="*/ 4440256 h 5282095"/>
              <a:gd name="connsiteX25416" fmla="*/ 2941347 w 7714416"/>
              <a:gd name="connsiteY25416" fmla="*/ 4440145 h 5282095"/>
              <a:gd name="connsiteX25417" fmla="*/ 2936764 w 7714416"/>
              <a:gd name="connsiteY25417" fmla="*/ 4421706 h 5282095"/>
              <a:gd name="connsiteX25418" fmla="*/ 2937338 w 7714416"/>
              <a:gd name="connsiteY25418" fmla="*/ 4421372 h 5282095"/>
              <a:gd name="connsiteX25419" fmla="*/ 2926165 w 7714416"/>
              <a:gd name="connsiteY25419" fmla="*/ 4423593 h 5282095"/>
              <a:gd name="connsiteX25420" fmla="*/ 2931321 w 7714416"/>
              <a:gd name="connsiteY25420" fmla="*/ 4414152 h 5282095"/>
              <a:gd name="connsiteX25421" fmla="*/ 2930176 w 7714416"/>
              <a:gd name="connsiteY25421" fmla="*/ 4410708 h 5282095"/>
              <a:gd name="connsiteX25422" fmla="*/ 2919290 w 7714416"/>
              <a:gd name="connsiteY25422" fmla="*/ 4412818 h 5282095"/>
              <a:gd name="connsiteX25423" fmla="*/ 2914992 w 7714416"/>
              <a:gd name="connsiteY25423" fmla="*/ 4412041 h 5282095"/>
              <a:gd name="connsiteX25424" fmla="*/ 2910982 w 7714416"/>
              <a:gd name="connsiteY25424" fmla="*/ 4412263 h 5282095"/>
              <a:gd name="connsiteX25425" fmla="*/ 2902102 w 7714416"/>
              <a:gd name="connsiteY25425" fmla="*/ 4408153 h 5282095"/>
              <a:gd name="connsiteX25426" fmla="*/ 2922155 w 7714416"/>
              <a:gd name="connsiteY25426" fmla="*/ 4403709 h 5282095"/>
              <a:gd name="connsiteX25427" fmla="*/ 2926451 w 7714416"/>
              <a:gd name="connsiteY25427" fmla="*/ 4403265 h 5282095"/>
              <a:gd name="connsiteX25428" fmla="*/ 2923586 w 7714416"/>
              <a:gd name="connsiteY25428" fmla="*/ 4399267 h 5282095"/>
              <a:gd name="connsiteX25429" fmla="*/ 2921008 w 7714416"/>
              <a:gd name="connsiteY25429" fmla="*/ 4391380 h 5282095"/>
              <a:gd name="connsiteX25430" fmla="*/ 2910983 w 7714416"/>
              <a:gd name="connsiteY25430" fmla="*/ 4396378 h 5282095"/>
              <a:gd name="connsiteX25431" fmla="*/ 2907545 w 7714416"/>
              <a:gd name="connsiteY25431" fmla="*/ 4390713 h 5282095"/>
              <a:gd name="connsiteX25432" fmla="*/ 2908117 w 7714416"/>
              <a:gd name="connsiteY25432" fmla="*/ 4386714 h 5282095"/>
              <a:gd name="connsiteX25433" fmla="*/ 2907545 w 7714416"/>
              <a:gd name="connsiteY25433" fmla="*/ 4386714 h 5282095"/>
              <a:gd name="connsiteX25434" fmla="*/ 2880330 w 7714416"/>
              <a:gd name="connsiteY25434" fmla="*/ 4376827 h 5282095"/>
              <a:gd name="connsiteX25435" fmla="*/ 2869445 w 7714416"/>
              <a:gd name="connsiteY25435" fmla="*/ 4375051 h 5282095"/>
              <a:gd name="connsiteX25436" fmla="*/ 2869446 w 7714416"/>
              <a:gd name="connsiteY25436" fmla="*/ 4376162 h 5282095"/>
              <a:gd name="connsiteX25437" fmla="*/ 2866581 w 7714416"/>
              <a:gd name="connsiteY25437" fmla="*/ 4378605 h 5282095"/>
              <a:gd name="connsiteX25438" fmla="*/ 2865434 w 7714416"/>
              <a:gd name="connsiteY25438" fmla="*/ 4381049 h 5282095"/>
              <a:gd name="connsiteX25439" fmla="*/ 2855981 w 7714416"/>
              <a:gd name="connsiteY25439" fmla="*/ 4385048 h 5282095"/>
              <a:gd name="connsiteX25440" fmla="*/ 2857986 w 7714416"/>
              <a:gd name="connsiteY25440" fmla="*/ 4370941 h 5282095"/>
              <a:gd name="connsiteX25441" fmla="*/ 2859705 w 7714416"/>
              <a:gd name="connsiteY25441" fmla="*/ 4366385 h 5282095"/>
              <a:gd name="connsiteX25442" fmla="*/ 2851684 w 7714416"/>
              <a:gd name="connsiteY25442" fmla="*/ 4368830 h 5282095"/>
              <a:gd name="connsiteX25443" fmla="*/ 2825043 w 7714416"/>
              <a:gd name="connsiteY25443" fmla="*/ 4378494 h 5282095"/>
              <a:gd name="connsiteX25444" fmla="*/ 2822752 w 7714416"/>
              <a:gd name="connsiteY25444" fmla="*/ 4376161 h 5282095"/>
              <a:gd name="connsiteX25445" fmla="*/ 2822179 w 7714416"/>
              <a:gd name="connsiteY25445" fmla="*/ 4376383 h 5282095"/>
              <a:gd name="connsiteX25446" fmla="*/ 2816162 w 7714416"/>
              <a:gd name="connsiteY25446" fmla="*/ 4378827 h 5282095"/>
              <a:gd name="connsiteX25447" fmla="*/ 2809287 w 7714416"/>
              <a:gd name="connsiteY25447" fmla="*/ 4375051 h 5282095"/>
              <a:gd name="connsiteX25448" fmla="*/ 2812726 w 7714416"/>
              <a:gd name="connsiteY25448" fmla="*/ 4371051 h 5282095"/>
              <a:gd name="connsiteX25449" fmla="*/ 2811293 w 7714416"/>
              <a:gd name="connsiteY25449" fmla="*/ 4371051 h 5282095"/>
              <a:gd name="connsiteX25450" fmla="*/ 2808142 w 7714416"/>
              <a:gd name="connsiteY25450" fmla="*/ 4374717 h 5282095"/>
              <a:gd name="connsiteX25451" fmla="*/ 2798115 w 7714416"/>
              <a:gd name="connsiteY25451" fmla="*/ 4364164 h 5282095"/>
              <a:gd name="connsiteX25452" fmla="*/ 2795823 w 7714416"/>
              <a:gd name="connsiteY25452" fmla="*/ 4363053 h 5282095"/>
              <a:gd name="connsiteX25453" fmla="*/ 2791526 w 7714416"/>
              <a:gd name="connsiteY25453" fmla="*/ 4368830 h 5282095"/>
              <a:gd name="connsiteX25454" fmla="*/ 2790094 w 7714416"/>
              <a:gd name="connsiteY25454" fmla="*/ 4368719 h 5282095"/>
              <a:gd name="connsiteX25455" fmla="*/ 2790094 w 7714416"/>
              <a:gd name="connsiteY25455" fmla="*/ 4368830 h 5282095"/>
              <a:gd name="connsiteX25456" fmla="*/ 2788948 w 7714416"/>
              <a:gd name="connsiteY25456" fmla="*/ 4371718 h 5282095"/>
              <a:gd name="connsiteX25457" fmla="*/ 2782646 w 7714416"/>
              <a:gd name="connsiteY25457" fmla="*/ 4370274 h 5282095"/>
              <a:gd name="connsiteX25458" fmla="*/ 2781500 w 7714416"/>
              <a:gd name="connsiteY25458" fmla="*/ 4369051 h 5282095"/>
              <a:gd name="connsiteX25459" fmla="*/ 2780927 w 7714416"/>
              <a:gd name="connsiteY25459" fmla="*/ 4369163 h 5282095"/>
              <a:gd name="connsiteX25460" fmla="*/ 2779209 w 7714416"/>
              <a:gd name="connsiteY25460" fmla="*/ 4371051 h 5282095"/>
              <a:gd name="connsiteX25461" fmla="*/ 2780354 w 7714416"/>
              <a:gd name="connsiteY25461" fmla="*/ 4373383 h 5282095"/>
              <a:gd name="connsiteX25462" fmla="*/ 2774338 w 7714416"/>
              <a:gd name="connsiteY25462" fmla="*/ 4374050 h 5282095"/>
              <a:gd name="connsiteX25463" fmla="*/ 2769182 w 7714416"/>
              <a:gd name="connsiteY25463" fmla="*/ 4375495 h 5282095"/>
              <a:gd name="connsiteX25464" fmla="*/ 2763739 w 7714416"/>
              <a:gd name="connsiteY25464" fmla="*/ 4373273 h 5282095"/>
              <a:gd name="connsiteX25465" fmla="*/ 2763739 w 7714416"/>
              <a:gd name="connsiteY25465" fmla="*/ 4372384 h 5282095"/>
              <a:gd name="connsiteX25466" fmla="*/ 2758010 w 7714416"/>
              <a:gd name="connsiteY25466" fmla="*/ 4376717 h 5282095"/>
              <a:gd name="connsiteX25467" fmla="*/ 2745692 w 7714416"/>
              <a:gd name="connsiteY25467" fmla="*/ 4380383 h 5282095"/>
              <a:gd name="connsiteX25468" fmla="*/ 2742254 w 7714416"/>
              <a:gd name="connsiteY25468" fmla="*/ 4378160 h 5282095"/>
              <a:gd name="connsiteX25469" fmla="*/ 2737957 w 7714416"/>
              <a:gd name="connsiteY25469" fmla="*/ 4381826 h 5282095"/>
              <a:gd name="connsiteX25470" fmla="*/ 2729937 w 7714416"/>
              <a:gd name="connsiteY25470" fmla="*/ 4382604 h 5282095"/>
              <a:gd name="connsiteX25471" fmla="*/ 2740823 w 7714416"/>
              <a:gd name="connsiteY25471" fmla="*/ 4356389 h 5282095"/>
              <a:gd name="connsiteX25472" fmla="*/ 2738245 w 7714416"/>
              <a:gd name="connsiteY25472" fmla="*/ 4342170 h 5282095"/>
              <a:gd name="connsiteX25473" fmla="*/ 2761162 w 7714416"/>
              <a:gd name="connsiteY25473" fmla="*/ 4351500 h 5282095"/>
              <a:gd name="connsiteX25474" fmla="*/ 2766031 w 7714416"/>
              <a:gd name="connsiteY25474" fmla="*/ 4355611 h 5282095"/>
              <a:gd name="connsiteX25475" fmla="*/ 2766031 w 7714416"/>
              <a:gd name="connsiteY25475" fmla="*/ 4355389 h 5282095"/>
              <a:gd name="connsiteX25476" fmla="*/ 2773766 w 7714416"/>
              <a:gd name="connsiteY25476" fmla="*/ 4351279 h 5282095"/>
              <a:gd name="connsiteX25477" fmla="*/ 2775771 w 7714416"/>
              <a:gd name="connsiteY25477" fmla="*/ 4352278 h 5282095"/>
              <a:gd name="connsiteX25478" fmla="*/ 2776344 w 7714416"/>
              <a:gd name="connsiteY25478" fmla="*/ 4352168 h 5282095"/>
              <a:gd name="connsiteX25479" fmla="*/ 2773479 w 7714416"/>
              <a:gd name="connsiteY25479" fmla="*/ 4350501 h 5282095"/>
              <a:gd name="connsiteX25480" fmla="*/ 2763167 w 7714416"/>
              <a:gd name="connsiteY25480" fmla="*/ 4338949 h 5282095"/>
              <a:gd name="connsiteX25481" fmla="*/ 2743115 w 7714416"/>
              <a:gd name="connsiteY25481" fmla="*/ 4335505 h 5282095"/>
              <a:gd name="connsiteX25482" fmla="*/ 2735952 w 7714416"/>
              <a:gd name="connsiteY25482" fmla="*/ 4331728 h 5282095"/>
              <a:gd name="connsiteX25483" fmla="*/ 2735093 w 7714416"/>
              <a:gd name="connsiteY25483" fmla="*/ 4334505 h 5282095"/>
              <a:gd name="connsiteX25484" fmla="*/ 2727072 w 7714416"/>
              <a:gd name="connsiteY25484" fmla="*/ 4338059 h 5282095"/>
              <a:gd name="connsiteX25485" fmla="*/ 2727358 w 7714416"/>
              <a:gd name="connsiteY25485" fmla="*/ 4329062 h 5282095"/>
              <a:gd name="connsiteX25486" fmla="*/ 2729937 w 7714416"/>
              <a:gd name="connsiteY25486" fmla="*/ 4328396 h 5282095"/>
              <a:gd name="connsiteX25487" fmla="*/ 2721056 w 7714416"/>
              <a:gd name="connsiteY25487" fmla="*/ 4322064 h 5282095"/>
              <a:gd name="connsiteX25488" fmla="*/ 2718764 w 7714416"/>
              <a:gd name="connsiteY25488" fmla="*/ 4320064 h 5282095"/>
              <a:gd name="connsiteX25489" fmla="*/ 2717046 w 7714416"/>
              <a:gd name="connsiteY25489" fmla="*/ 4328174 h 5282095"/>
              <a:gd name="connsiteX25490" fmla="*/ 2707019 w 7714416"/>
              <a:gd name="connsiteY25490" fmla="*/ 4339503 h 5282095"/>
              <a:gd name="connsiteX25491" fmla="*/ 2699858 w 7714416"/>
              <a:gd name="connsiteY25491" fmla="*/ 4343725 h 5282095"/>
              <a:gd name="connsiteX25492" fmla="*/ 2708452 w 7714416"/>
              <a:gd name="connsiteY25492" fmla="*/ 4348058 h 5282095"/>
              <a:gd name="connsiteX25493" fmla="*/ 2730509 w 7714416"/>
              <a:gd name="connsiteY25493" fmla="*/ 4368385 h 5282095"/>
              <a:gd name="connsiteX25494" fmla="*/ 2696707 w 7714416"/>
              <a:gd name="connsiteY25494" fmla="*/ 4347279 h 5282095"/>
              <a:gd name="connsiteX25495" fmla="*/ 2697566 w 7714416"/>
              <a:gd name="connsiteY25495" fmla="*/ 4344835 h 5282095"/>
              <a:gd name="connsiteX25496" fmla="*/ 2694129 w 7714416"/>
              <a:gd name="connsiteY25496" fmla="*/ 4347169 h 5282095"/>
              <a:gd name="connsiteX25497" fmla="*/ 2663191 w 7714416"/>
              <a:gd name="connsiteY25497" fmla="*/ 4361387 h 5282095"/>
              <a:gd name="connsiteX25498" fmla="*/ 2658894 w 7714416"/>
              <a:gd name="connsiteY25498" fmla="*/ 4359832 h 5282095"/>
              <a:gd name="connsiteX25499" fmla="*/ 2660327 w 7714416"/>
              <a:gd name="connsiteY25499" fmla="*/ 4360721 h 5282095"/>
              <a:gd name="connsiteX25500" fmla="*/ 2664909 w 7714416"/>
              <a:gd name="connsiteY25500" fmla="*/ 4364053 h 5282095"/>
              <a:gd name="connsiteX25501" fmla="*/ 2652592 w 7714416"/>
              <a:gd name="connsiteY25501" fmla="*/ 4358388 h 5282095"/>
              <a:gd name="connsiteX25502" fmla="*/ 2650873 w 7714416"/>
              <a:gd name="connsiteY25502" fmla="*/ 4357277 h 5282095"/>
              <a:gd name="connsiteX25503" fmla="*/ 2641705 w 7714416"/>
              <a:gd name="connsiteY25503" fmla="*/ 4356833 h 5282095"/>
              <a:gd name="connsiteX25504" fmla="*/ 2623945 w 7714416"/>
              <a:gd name="connsiteY25504" fmla="*/ 4359610 h 5282095"/>
              <a:gd name="connsiteX25505" fmla="*/ 2588996 w 7714416"/>
              <a:gd name="connsiteY25505" fmla="*/ 4335505 h 5282095"/>
              <a:gd name="connsiteX25506" fmla="*/ 2591001 w 7714416"/>
              <a:gd name="connsiteY25506" fmla="*/ 4293404 h 5282095"/>
              <a:gd name="connsiteX25507" fmla="*/ 2618502 w 7714416"/>
              <a:gd name="connsiteY25507" fmla="*/ 4274742 h 5282095"/>
              <a:gd name="connsiteX25508" fmla="*/ 2621081 w 7714416"/>
              <a:gd name="connsiteY25508" fmla="*/ 4273187 h 5282095"/>
              <a:gd name="connsiteX25509" fmla="*/ 2619648 w 7714416"/>
              <a:gd name="connsiteY25509" fmla="*/ 4257525 h 5282095"/>
              <a:gd name="connsiteX25510" fmla="*/ 2625950 w 7714416"/>
              <a:gd name="connsiteY25510" fmla="*/ 4244860 h 5282095"/>
              <a:gd name="connsiteX25511" fmla="*/ 2622226 w 7714416"/>
              <a:gd name="connsiteY25511" fmla="*/ 4243972 h 5282095"/>
              <a:gd name="connsiteX25512" fmla="*/ 2617356 w 7714416"/>
              <a:gd name="connsiteY25512" fmla="*/ 4252637 h 5282095"/>
              <a:gd name="connsiteX25513" fmla="*/ 2605324 w 7714416"/>
              <a:gd name="connsiteY25513" fmla="*/ 4262635 h 5282095"/>
              <a:gd name="connsiteX25514" fmla="*/ 2598737 w 7714416"/>
              <a:gd name="connsiteY25514" fmla="*/ 4266300 h 5282095"/>
              <a:gd name="connsiteX25515" fmla="*/ 2597303 w 7714416"/>
              <a:gd name="connsiteY25515" fmla="*/ 4267189 h 5282095"/>
              <a:gd name="connsiteX25516" fmla="*/ 2597017 w 7714416"/>
              <a:gd name="connsiteY25516" fmla="*/ 4267189 h 5282095"/>
              <a:gd name="connsiteX25517" fmla="*/ 2588710 w 7714416"/>
              <a:gd name="connsiteY25517" fmla="*/ 4271520 h 5282095"/>
              <a:gd name="connsiteX25518" fmla="*/ 2569230 w 7714416"/>
              <a:gd name="connsiteY25518" fmla="*/ 4278630 h 5282095"/>
              <a:gd name="connsiteX25519" fmla="*/ 2556053 w 7714416"/>
              <a:gd name="connsiteY25519" fmla="*/ 4281407 h 5282095"/>
              <a:gd name="connsiteX25520" fmla="*/ 2572095 w 7714416"/>
              <a:gd name="connsiteY25520" fmla="*/ 4281963 h 5282095"/>
              <a:gd name="connsiteX25521" fmla="*/ 2566079 w 7714416"/>
              <a:gd name="connsiteY25521" fmla="*/ 4314844 h 5282095"/>
              <a:gd name="connsiteX25522" fmla="*/ 2558917 w 7714416"/>
              <a:gd name="connsiteY25522" fmla="*/ 4323841 h 5282095"/>
              <a:gd name="connsiteX25523" fmla="*/ 2511937 w 7714416"/>
              <a:gd name="connsiteY25523" fmla="*/ 4282184 h 5282095"/>
              <a:gd name="connsiteX25524" fmla="*/ 2514515 w 7714416"/>
              <a:gd name="connsiteY25524" fmla="*/ 4281630 h 5282095"/>
              <a:gd name="connsiteX25525" fmla="*/ 2509932 w 7714416"/>
              <a:gd name="connsiteY25525" fmla="*/ 4280852 h 5282095"/>
              <a:gd name="connsiteX25526" fmla="*/ 2533422 w 7714416"/>
              <a:gd name="connsiteY25526" fmla="*/ 4255970 h 5282095"/>
              <a:gd name="connsiteX25527" fmla="*/ 2536860 w 7714416"/>
              <a:gd name="connsiteY25527" fmla="*/ 4254303 h 5282095"/>
              <a:gd name="connsiteX25528" fmla="*/ 2539151 w 7714416"/>
              <a:gd name="connsiteY25528" fmla="*/ 4246639 h 5282095"/>
              <a:gd name="connsiteX25529" fmla="*/ 2549177 w 7714416"/>
              <a:gd name="connsiteY25529" fmla="*/ 4248527 h 5282095"/>
              <a:gd name="connsiteX25530" fmla="*/ 2562069 w 7714416"/>
              <a:gd name="connsiteY25530" fmla="*/ 4244639 h 5282095"/>
              <a:gd name="connsiteX25531" fmla="*/ 2592434 w 7714416"/>
              <a:gd name="connsiteY25531" fmla="*/ 4239307 h 5282095"/>
              <a:gd name="connsiteX25532" fmla="*/ 2600168 w 7714416"/>
              <a:gd name="connsiteY25532" fmla="*/ 4237752 h 5282095"/>
              <a:gd name="connsiteX25533" fmla="*/ 2591575 w 7714416"/>
              <a:gd name="connsiteY25533" fmla="*/ 4233753 h 5282095"/>
              <a:gd name="connsiteX25534" fmla="*/ 2589569 w 7714416"/>
              <a:gd name="connsiteY25534" fmla="*/ 4227532 h 5282095"/>
              <a:gd name="connsiteX25535" fmla="*/ 2599309 w 7714416"/>
              <a:gd name="connsiteY25535" fmla="*/ 4229198 h 5282095"/>
              <a:gd name="connsiteX25536" fmla="*/ 2607330 w 7714416"/>
              <a:gd name="connsiteY25536" fmla="*/ 4230643 h 5282095"/>
              <a:gd name="connsiteX25537" fmla="*/ 2607617 w 7714416"/>
              <a:gd name="connsiteY25537" fmla="*/ 4229532 h 5282095"/>
              <a:gd name="connsiteX25538" fmla="*/ 2608189 w 7714416"/>
              <a:gd name="connsiteY25538" fmla="*/ 4230754 h 5282095"/>
              <a:gd name="connsiteX25539" fmla="*/ 2611340 w 7714416"/>
              <a:gd name="connsiteY25539" fmla="*/ 4231420 h 5282095"/>
              <a:gd name="connsiteX25540" fmla="*/ 2617070 w 7714416"/>
              <a:gd name="connsiteY25540" fmla="*/ 4233309 h 5282095"/>
              <a:gd name="connsiteX25541" fmla="*/ 2620795 w 7714416"/>
              <a:gd name="connsiteY25541" fmla="*/ 4232086 h 5282095"/>
              <a:gd name="connsiteX25542" fmla="*/ 2621653 w 7714416"/>
              <a:gd name="connsiteY25542" fmla="*/ 4234864 h 5282095"/>
              <a:gd name="connsiteX25543" fmla="*/ 2621940 w 7714416"/>
              <a:gd name="connsiteY25543" fmla="*/ 4234864 h 5282095"/>
              <a:gd name="connsiteX25544" fmla="*/ 2627096 w 7714416"/>
              <a:gd name="connsiteY25544" fmla="*/ 4240528 h 5282095"/>
              <a:gd name="connsiteX25545" fmla="*/ 2626523 w 7714416"/>
              <a:gd name="connsiteY25545" fmla="*/ 4243750 h 5282095"/>
              <a:gd name="connsiteX25546" fmla="*/ 2627383 w 7714416"/>
              <a:gd name="connsiteY25546" fmla="*/ 4241751 h 5282095"/>
              <a:gd name="connsiteX25547" fmla="*/ 2639414 w 7714416"/>
              <a:gd name="connsiteY25547" fmla="*/ 4232975 h 5282095"/>
              <a:gd name="connsiteX25548" fmla="*/ 2644284 w 7714416"/>
              <a:gd name="connsiteY25548" fmla="*/ 4231420 h 5282095"/>
              <a:gd name="connsiteX25549" fmla="*/ 2635404 w 7714416"/>
              <a:gd name="connsiteY25549" fmla="*/ 4226533 h 5282095"/>
              <a:gd name="connsiteX25550" fmla="*/ 2621939 w 7714416"/>
              <a:gd name="connsiteY25550" fmla="*/ 4208203 h 5282095"/>
              <a:gd name="connsiteX25551" fmla="*/ 2621654 w 7714416"/>
              <a:gd name="connsiteY25551" fmla="*/ 4207204 h 5282095"/>
              <a:gd name="connsiteX25552" fmla="*/ 2612773 w 7714416"/>
              <a:gd name="connsiteY25552" fmla="*/ 4211981 h 5282095"/>
              <a:gd name="connsiteX25553" fmla="*/ 2543735 w 7714416"/>
              <a:gd name="connsiteY25553" fmla="*/ 4206871 h 5282095"/>
              <a:gd name="connsiteX25554" fmla="*/ 2517667 w 7714416"/>
              <a:gd name="connsiteY25554" fmla="*/ 4184654 h 5282095"/>
              <a:gd name="connsiteX25555" fmla="*/ 2517666 w 7714416"/>
              <a:gd name="connsiteY25555" fmla="*/ 4167436 h 5282095"/>
              <a:gd name="connsiteX25556" fmla="*/ 2515661 w 7714416"/>
              <a:gd name="connsiteY25556" fmla="*/ 4154662 h 5282095"/>
              <a:gd name="connsiteX25557" fmla="*/ 2496183 w 7714416"/>
              <a:gd name="connsiteY25557" fmla="*/ 4165881 h 5282095"/>
              <a:gd name="connsiteX25558" fmla="*/ 2484723 w 7714416"/>
              <a:gd name="connsiteY25558" fmla="*/ 4180989 h 5282095"/>
              <a:gd name="connsiteX25559" fmla="*/ 2483865 w 7714416"/>
              <a:gd name="connsiteY25559" fmla="*/ 4186542 h 5282095"/>
              <a:gd name="connsiteX25560" fmla="*/ 2499047 w 7714416"/>
              <a:gd name="connsiteY25560" fmla="*/ 4194652 h 5282095"/>
              <a:gd name="connsiteX25561" fmla="*/ 2514515 w 7714416"/>
              <a:gd name="connsiteY25561" fmla="*/ 4212535 h 5282095"/>
              <a:gd name="connsiteX25562" fmla="*/ 2501339 w 7714416"/>
              <a:gd name="connsiteY25562" fmla="*/ 4218646 h 5282095"/>
              <a:gd name="connsiteX25563" fmla="*/ 2487588 w 7714416"/>
              <a:gd name="connsiteY25563" fmla="*/ 4199984 h 5282095"/>
              <a:gd name="connsiteX25564" fmla="*/ 2485870 w 7714416"/>
              <a:gd name="connsiteY25564" fmla="*/ 4198651 h 5282095"/>
              <a:gd name="connsiteX25565" fmla="*/ 2487015 w 7714416"/>
              <a:gd name="connsiteY25565" fmla="*/ 4202316 h 5282095"/>
              <a:gd name="connsiteX25566" fmla="*/ 2460661 w 7714416"/>
              <a:gd name="connsiteY25566" fmla="*/ 4210981 h 5282095"/>
              <a:gd name="connsiteX25567" fmla="*/ 2449201 w 7714416"/>
              <a:gd name="connsiteY25567" fmla="*/ 4216313 h 5282095"/>
              <a:gd name="connsiteX25568" fmla="*/ 2458368 w 7714416"/>
              <a:gd name="connsiteY25568" fmla="*/ 4214313 h 5282095"/>
              <a:gd name="connsiteX25569" fmla="*/ 2450921 w 7714416"/>
              <a:gd name="connsiteY25569" fmla="*/ 4219868 h 5282095"/>
              <a:gd name="connsiteX25570" fmla="*/ 2448629 w 7714416"/>
              <a:gd name="connsiteY25570" fmla="*/ 4216646 h 5282095"/>
              <a:gd name="connsiteX25571" fmla="*/ 2443472 w 7714416"/>
              <a:gd name="connsiteY25571" fmla="*/ 4218979 h 5282095"/>
              <a:gd name="connsiteX25572" fmla="*/ 2444045 w 7714416"/>
              <a:gd name="connsiteY25572" fmla="*/ 4219423 h 5282095"/>
              <a:gd name="connsiteX25573" fmla="*/ 2443759 w 7714416"/>
              <a:gd name="connsiteY25573" fmla="*/ 4220534 h 5282095"/>
              <a:gd name="connsiteX25574" fmla="*/ 2442040 w 7714416"/>
              <a:gd name="connsiteY25574" fmla="*/ 4219867 h 5282095"/>
              <a:gd name="connsiteX25575" fmla="*/ 2442040 w 7714416"/>
              <a:gd name="connsiteY25575" fmla="*/ 4219646 h 5282095"/>
              <a:gd name="connsiteX25576" fmla="*/ 2438029 w 7714416"/>
              <a:gd name="connsiteY25576" fmla="*/ 4221533 h 5282095"/>
              <a:gd name="connsiteX25577" fmla="*/ 2414540 w 7714416"/>
              <a:gd name="connsiteY25577" fmla="*/ 4258413 h 5282095"/>
              <a:gd name="connsiteX25578" fmla="*/ 2225186 w 7714416"/>
              <a:gd name="connsiteY25578" fmla="*/ 4278297 h 5282095"/>
              <a:gd name="connsiteX25579" fmla="*/ 2140393 w 7714416"/>
              <a:gd name="connsiteY25579" fmla="*/ 4250415 h 5282095"/>
              <a:gd name="connsiteX25580" fmla="*/ 2132086 w 7714416"/>
              <a:gd name="connsiteY25580" fmla="*/ 4251859 h 5282095"/>
              <a:gd name="connsiteX25581" fmla="*/ 2131227 w 7714416"/>
              <a:gd name="connsiteY25581" fmla="*/ 4253859 h 5282095"/>
              <a:gd name="connsiteX25582" fmla="*/ 2130080 w 7714416"/>
              <a:gd name="connsiteY25582" fmla="*/ 4254414 h 5282095"/>
              <a:gd name="connsiteX25583" fmla="*/ 2130080 w 7714416"/>
              <a:gd name="connsiteY25583" fmla="*/ 4255525 h 5282095"/>
              <a:gd name="connsiteX25584" fmla="*/ 2120341 w 7714416"/>
              <a:gd name="connsiteY25584" fmla="*/ 4263190 h 5282095"/>
              <a:gd name="connsiteX25585" fmla="*/ 2118908 w 7714416"/>
              <a:gd name="connsiteY25585" fmla="*/ 4262523 h 5282095"/>
              <a:gd name="connsiteX25586" fmla="*/ 2117476 w 7714416"/>
              <a:gd name="connsiteY25586" fmla="*/ 4269855 h 5282095"/>
              <a:gd name="connsiteX25587" fmla="*/ 2093986 w 7714416"/>
              <a:gd name="connsiteY25587" fmla="*/ 4263079 h 5282095"/>
              <a:gd name="connsiteX25588" fmla="*/ 2091122 w 7714416"/>
              <a:gd name="connsiteY25588" fmla="*/ 4261190 h 5282095"/>
              <a:gd name="connsiteX25589" fmla="*/ 2090262 w 7714416"/>
              <a:gd name="connsiteY25589" fmla="*/ 4262300 h 5282095"/>
              <a:gd name="connsiteX25590" fmla="*/ 2089402 w 7714416"/>
              <a:gd name="connsiteY25590" fmla="*/ 4260524 h 5282095"/>
              <a:gd name="connsiteX25591" fmla="*/ 2089117 w 7714416"/>
              <a:gd name="connsiteY25591" fmla="*/ 4260413 h 5282095"/>
              <a:gd name="connsiteX25592" fmla="*/ 2087683 w 7714416"/>
              <a:gd name="connsiteY25592" fmla="*/ 4259858 h 5282095"/>
              <a:gd name="connsiteX25593" fmla="*/ 2084246 w 7714416"/>
              <a:gd name="connsiteY25593" fmla="*/ 4255302 h 5282095"/>
              <a:gd name="connsiteX25594" fmla="*/ 2085105 w 7714416"/>
              <a:gd name="connsiteY25594" fmla="*/ 4254303 h 5282095"/>
              <a:gd name="connsiteX25595" fmla="*/ 2081381 w 7714416"/>
              <a:gd name="connsiteY25595" fmla="*/ 4253303 h 5282095"/>
              <a:gd name="connsiteX25596" fmla="*/ 2080235 w 7714416"/>
              <a:gd name="connsiteY25596" fmla="*/ 4254304 h 5282095"/>
              <a:gd name="connsiteX25597" fmla="*/ 2035834 w 7714416"/>
              <a:gd name="connsiteY25597" fmla="*/ 4251304 h 5282095"/>
              <a:gd name="connsiteX25598" fmla="*/ 2063048 w 7714416"/>
              <a:gd name="connsiteY25598" fmla="*/ 4246861 h 5282095"/>
              <a:gd name="connsiteX25599" fmla="*/ 2064766 w 7714416"/>
              <a:gd name="connsiteY25599" fmla="*/ 4246750 h 5282095"/>
              <a:gd name="connsiteX25600" fmla="*/ 2064480 w 7714416"/>
              <a:gd name="connsiteY25600" fmla="*/ 4246639 h 5282095"/>
              <a:gd name="connsiteX25601" fmla="*/ 2061330 w 7714416"/>
              <a:gd name="connsiteY25601" fmla="*/ 4240307 h 5282095"/>
              <a:gd name="connsiteX25602" fmla="*/ 2087397 w 7714416"/>
              <a:gd name="connsiteY25602" fmla="*/ 4245638 h 5282095"/>
              <a:gd name="connsiteX25603" fmla="*/ 2098570 w 7714416"/>
              <a:gd name="connsiteY25603" fmla="*/ 4250637 h 5282095"/>
              <a:gd name="connsiteX25604" fmla="*/ 2099716 w 7714416"/>
              <a:gd name="connsiteY25604" fmla="*/ 4249638 h 5282095"/>
              <a:gd name="connsiteX25605" fmla="*/ 2100574 w 7714416"/>
              <a:gd name="connsiteY25605" fmla="*/ 4246639 h 5282095"/>
              <a:gd name="connsiteX25606" fmla="*/ 2099142 w 7714416"/>
              <a:gd name="connsiteY25606" fmla="*/ 4246638 h 5282095"/>
              <a:gd name="connsiteX25607" fmla="*/ 2093987 w 7714416"/>
              <a:gd name="connsiteY25607" fmla="*/ 4243084 h 5282095"/>
              <a:gd name="connsiteX25608" fmla="*/ 2096564 w 7714416"/>
              <a:gd name="connsiteY25608" fmla="*/ 4241085 h 5282095"/>
              <a:gd name="connsiteX25609" fmla="*/ 2100861 w 7714416"/>
              <a:gd name="connsiteY25609" fmla="*/ 4242862 h 5282095"/>
              <a:gd name="connsiteX25610" fmla="*/ 2101435 w 7714416"/>
              <a:gd name="connsiteY25610" fmla="*/ 4243195 h 5282095"/>
              <a:gd name="connsiteX25611" fmla="*/ 2101720 w 7714416"/>
              <a:gd name="connsiteY25611" fmla="*/ 4241862 h 5282095"/>
              <a:gd name="connsiteX25612" fmla="*/ 2103153 w 7714416"/>
              <a:gd name="connsiteY25612" fmla="*/ 4240751 h 5282095"/>
              <a:gd name="connsiteX25613" fmla="*/ 2092267 w 7714416"/>
              <a:gd name="connsiteY25613" fmla="*/ 4233198 h 5282095"/>
              <a:gd name="connsiteX25614" fmla="*/ 2053881 w 7714416"/>
              <a:gd name="connsiteY25614" fmla="*/ 4208870 h 5282095"/>
              <a:gd name="connsiteX25615" fmla="*/ 2045574 w 7714416"/>
              <a:gd name="connsiteY25615" fmla="*/ 4201539 h 5282095"/>
              <a:gd name="connsiteX25616" fmla="*/ 2045860 w 7714416"/>
              <a:gd name="connsiteY25616" fmla="*/ 4201095 h 5282095"/>
              <a:gd name="connsiteX25617" fmla="*/ 2044428 w 7714416"/>
              <a:gd name="connsiteY25617" fmla="*/ 4200317 h 5282095"/>
              <a:gd name="connsiteX25618" fmla="*/ 2037839 w 7714416"/>
              <a:gd name="connsiteY25618" fmla="*/ 4194652 h 5282095"/>
              <a:gd name="connsiteX25619" fmla="*/ 2026095 w 7714416"/>
              <a:gd name="connsiteY25619" fmla="*/ 4177434 h 5282095"/>
              <a:gd name="connsiteX25620" fmla="*/ 2022657 w 7714416"/>
              <a:gd name="connsiteY25620" fmla="*/ 4165881 h 5282095"/>
              <a:gd name="connsiteX25621" fmla="*/ 2017214 w 7714416"/>
              <a:gd name="connsiteY25621" fmla="*/ 4168325 h 5282095"/>
              <a:gd name="connsiteX25622" fmla="*/ 2002605 w 7714416"/>
              <a:gd name="connsiteY25622" fmla="*/ 4170547 h 5282095"/>
              <a:gd name="connsiteX25623" fmla="*/ 2002032 w 7714416"/>
              <a:gd name="connsiteY25623" fmla="*/ 4164437 h 5282095"/>
              <a:gd name="connsiteX25624" fmla="*/ 2004037 w 7714416"/>
              <a:gd name="connsiteY25624" fmla="*/ 4162105 h 5282095"/>
              <a:gd name="connsiteX25625" fmla="*/ 1998021 w 7714416"/>
              <a:gd name="connsiteY25625" fmla="*/ 4162549 h 5282095"/>
              <a:gd name="connsiteX25626" fmla="*/ 1939582 w 7714416"/>
              <a:gd name="connsiteY25626" fmla="*/ 4176990 h 5282095"/>
              <a:gd name="connsiteX25627" fmla="*/ 1777156 w 7714416"/>
              <a:gd name="connsiteY25627" fmla="*/ 4260968 h 5282095"/>
              <a:gd name="connsiteX25628" fmla="*/ 1749657 w 7714416"/>
              <a:gd name="connsiteY25628" fmla="*/ 4238085 h 5282095"/>
              <a:gd name="connsiteX25629" fmla="*/ 1689499 w 7714416"/>
              <a:gd name="connsiteY25629" fmla="*/ 4258080 h 5282095"/>
              <a:gd name="connsiteX25630" fmla="*/ 1652832 w 7714416"/>
              <a:gd name="connsiteY25630" fmla="*/ 4232420 h 5282095"/>
              <a:gd name="connsiteX25631" fmla="*/ 1588376 w 7714416"/>
              <a:gd name="connsiteY25631" fmla="*/ 4220423 h 5282095"/>
              <a:gd name="connsiteX25632" fmla="*/ 1579210 w 7714416"/>
              <a:gd name="connsiteY25632" fmla="*/ 4215313 h 5282095"/>
              <a:gd name="connsiteX25633" fmla="*/ 1577491 w 7714416"/>
              <a:gd name="connsiteY25633" fmla="*/ 4217423 h 5282095"/>
              <a:gd name="connsiteX25634" fmla="*/ 1566605 w 7714416"/>
              <a:gd name="connsiteY25634" fmla="*/ 4217424 h 5282095"/>
              <a:gd name="connsiteX25635" fmla="*/ 1569469 w 7714416"/>
              <a:gd name="connsiteY25635" fmla="*/ 4209315 h 5282095"/>
              <a:gd name="connsiteX25636" fmla="*/ 1570616 w 7714416"/>
              <a:gd name="connsiteY25636" fmla="*/ 4209537 h 5282095"/>
              <a:gd name="connsiteX25637" fmla="*/ 1551136 w 7714416"/>
              <a:gd name="connsiteY25637" fmla="*/ 4192319 h 5282095"/>
              <a:gd name="connsiteX25638" fmla="*/ 1530797 w 7714416"/>
              <a:gd name="connsiteY25638" fmla="*/ 4170768 h 5282095"/>
              <a:gd name="connsiteX25639" fmla="*/ 1526786 w 7714416"/>
              <a:gd name="connsiteY25639" fmla="*/ 4167103 h 5282095"/>
              <a:gd name="connsiteX25640" fmla="*/ 1526786 w 7714416"/>
              <a:gd name="connsiteY25640" fmla="*/ 3999812 h 5282095"/>
              <a:gd name="connsiteX25641" fmla="*/ 1538245 w 7714416"/>
              <a:gd name="connsiteY25641" fmla="*/ 3988481 h 5282095"/>
              <a:gd name="connsiteX25642" fmla="*/ 1554001 w 7714416"/>
              <a:gd name="connsiteY25642" fmla="*/ 3979151 h 5282095"/>
              <a:gd name="connsiteX25643" fmla="*/ 1539104 w 7714416"/>
              <a:gd name="connsiteY25643" fmla="*/ 3938605 h 5282095"/>
              <a:gd name="connsiteX25644" fmla="*/ 1589523 w 7714416"/>
              <a:gd name="connsiteY25644" fmla="*/ 3957156 h 5282095"/>
              <a:gd name="connsiteX25645" fmla="*/ 1636502 w 7714416"/>
              <a:gd name="connsiteY25645" fmla="*/ 3921721 h 5282095"/>
              <a:gd name="connsiteX25646" fmla="*/ 1674602 w 7714416"/>
              <a:gd name="connsiteY25646" fmla="*/ 3939161 h 5282095"/>
              <a:gd name="connsiteX25647" fmla="*/ 1758822 w 7714416"/>
              <a:gd name="connsiteY25647" fmla="*/ 3925276 h 5282095"/>
              <a:gd name="connsiteX25648" fmla="*/ 1787756 w 7714416"/>
              <a:gd name="connsiteY25648" fmla="*/ 3902836 h 5282095"/>
              <a:gd name="connsiteX25649" fmla="*/ 1793772 w 7714416"/>
              <a:gd name="connsiteY25649" fmla="*/ 3908391 h 5282095"/>
              <a:gd name="connsiteX25650" fmla="*/ 1795203 w 7714416"/>
              <a:gd name="connsiteY25650" fmla="*/ 3908057 h 5282095"/>
              <a:gd name="connsiteX25651" fmla="*/ 1800933 w 7714416"/>
              <a:gd name="connsiteY25651" fmla="*/ 3911945 h 5282095"/>
              <a:gd name="connsiteX25652" fmla="*/ 1800933 w 7714416"/>
              <a:gd name="connsiteY25652" fmla="*/ 3914611 h 5282095"/>
              <a:gd name="connsiteX25653" fmla="*/ 1813251 w 7714416"/>
              <a:gd name="connsiteY25653" fmla="*/ 3925496 h 5282095"/>
              <a:gd name="connsiteX25654" fmla="*/ 1853357 w 7714416"/>
              <a:gd name="connsiteY25654" fmla="*/ 3943271 h 5282095"/>
              <a:gd name="connsiteX25655" fmla="*/ 1962785 w 7714416"/>
              <a:gd name="connsiteY25655" fmla="*/ 3931274 h 5282095"/>
              <a:gd name="connsiteX25656" fmla="*/ 1955624 w 7714416"/>
              <a:gd name="connsiteY25656" fmla="*/ 3947269 h 5282095"/>
              <a:gd name="connsiteX25657" fmla="*/ 1941873 w 7714416"/>
              <a:gd name="connsiteY25657" fmla="*/ 3954934 h 5282095"/>
              <a:gd name="connsiteX25658" fmla="*/ 1942160 w 7714416"/>
              <a:gd name="connsiteY25658" fmla="*/ 3957490 h 5282095"/>
              <a:gd name="connsiteX25659" fmla="*/ 1939582 w 7714416"/>
              <a:gd name="connsiteY25659" fmla="*/ 3956156 h 5282095"/>
              <a:gd name="connsiteX25660" fmla="*/ 1939581 w 7714416"/>
              <a:gd name="connsiteY25660" fmla="*/ 3956378 h 5282095"/>
              <a:gd name="connsiteX25661" fmla="*/ 1916379 w 7714416"/>
              <a:gd name="connsiteY25661" fmla="*/ 3981261 h 5282095"/>
              <a:gd name="connsiteX25662" fmla="*/ 1971093 w 7714416"/>
              <a:gd name="connsiteY25662" fmla="*/ 3972263 h 5282095"/>
              <a:gd name="connsiteX25663" fmla="*/ 1977396 w 7714416"/>
              <a:gd name="connsiteY25663" fmla="*/ 3970153 h 5282095"/>
              <a:gd name="connsiteX25664" fmla="*/ 1978254 w 7714416"/>
              <a:gd name="connsiteY25664" fmla="*/ 3970264 h 5282095"/>
              <a:gd name="connsiteX25665" fmla="*/ 1977968 w 7714416"/>
              <a:gd name="connsiteY25665" fmla="*/ 3970042 h 5282095"/>
              <a:gd name="connsiteX25666" fmla="*/ 1980259 w 7714416"/>
              <a:gd name="connsiteY25666" fmla="*/ 3969264 h 5282095"/>
              <a:gd name="connsiteX25667" fmla="*/ 1990858 w 7714416"/>
              <a:gd name="connsiteY25667" fmla="*/ 3968597 h 5282095"/>
              <a:gd name="connsiteX25668" fmla="*/ 1959920 w 7714416"/>
              <a:gd name="connsiteY25668" fmla="*/ 4021806 h 5282095"/>
              <a:gd name="connsiteX25669" fmla="*/ 1971379 w 7714416"/>
              <a:gd name="connsiteY25669" fmla="*/ 4026916 h 5282095"/>
              <a:gd name="connsiteX25670" fmla="*/ 2051017 w 7714416"/>
              <a:gd name="connsiteY25670" fmla="*/ 3966042 h 5282095"/>
              <a:gd name="connsiteX25671" fmla="*/ 2050731 w 7714416"/>
              <a:gd name="connsiteY25671" fmla="*/ 3961488 h 5282095"/>
              <a:gd name="connsiteX25672" fmla="*/ 2045860 w 7714416"/>
              <a:gd name="connsiteY25672" fmla="*/ 3960711 h 5282095"/>
              <a:gd name="connsiteX25673" fmla="*/ 1997735 w 7714416"/>
              <a:gd name="connsiteY25673" fmla="*/ 3956823 h 5282095"/>
              <a:gd name="connsiteX25674" fmla="*/ 2031824 w 7714416"/>
              <a:gd name="connsiteY25674" fmla="*/ 3950047 h 5282095"/>
              <a:gd name="connsiteX25675" fmla="*/ 2050157 w 7714416"/>
              <a:gd name="connsiteY25675" fmla="*/ 3953712 h 5282095"/>
              <a:gd name="connsiteX25676" fmla="*/ 2050157 w 7714416"/>
              <a:gd name="connsiteY25676" fmla="*/ 3951491 h 5282095"/>
              <a:gd name="connsiteX25677" fmla="*/ 2043568 w 7714416"/>
              <a:gd name="connsiteY25677" fmla="*/ 3937827 h 5282095"/>
              <a:gd name="connsiteX25678" fmla="*/ 2109742 w 7714416"/>
              <a:gd name="connsiteY25678" fmla="*/ 3936939 h 5282095"/>
              <a:gd name="connsiteX25679" fmla="*/ 2156721 w 7714416"/>
              <a:gd name="connsiteY25679" fmla="*/ 3901502 h 5282095"/>
              <a:gd name="connsiteX25680" fmla="*/ 2171624 w 7714416"/>
              <a:gd name="connsiteY25680" fmla="*/ 3906505 h 5282095"/>
              <a:gd name="connsiteX25681" fmla="*/ 2174817 w 7714416"/>
              <a:gd name="connsiteY25681" fmla="*/ 3890008 h 5282095"/>
              <a:gd name="connsiteX25682" fmla="*/ 2176779 w 7714416"/>
              <a:gd name="connsiteY25682" fmla="*/ 3876393 h 5282095"/>
              <a:gd name="connsiteX25683" fmla="*/ 2176780 w 7714416"/>
              <a:gd name="connsiteY25683" fmla="*/ 3860376 h 5282095"/>
              <a:gd name="connsiteX25684" fmla="*/ 2176779 w 7714416"/>
              <a:gd name="connsiteY25684" fmla="*/ 3841956 h 5282095"/>
              <a:gd name="connsiteX25685" fmla="*/ 2174816 w 7714416"/>
              <a:gd name="connsiteY25685" fmla="*/ 3817129 h 5282095"/>
              <a:gd name="connsiteX25686" fmla="*/ 2159444 w 7714416"/>
              <a:gd name="connsiteY25686" fmla="*/ 3824139 h 5282095"/>
              <a:gd name="connsiteX25687" fmla="*/ 2157903 w 7714416"/>
              <a:gd name="connsiteY25687" fmla="*/ 3842337 h 5282095"/>
              <a:gd name="connsiteX25688" fmla="*/ 2150992 w 7714416"/>
              <a:gd name="connsiteY25688" fmla="*/ 3862180 h 5282095"/>
              <a:gd name="connsiteX25689" fmla="*/ 2141540 w 7714416"/>
              <a:gd name="connsiteY25689" fmla="*/ 3867400 h 5282095"/>
              <a:gd name="connsiteX25690" fmla="*/ 2132015 w 7714416"/>
              <a:gd name="connsiteY25690" fmla="*/ 3837798 h 5282095"/>
              <a:gd name="connsiteX25691" fmla="*/ 2120174 w 7714416"/>
              <a:gd name="connsiteY25691" fmla="*/ 3844643 h 5282095"/>
              <a:gd name="connsiteX25692" fmla="*/ 2117762 w 7714416"/>
              <a:gd name="connsiteY25692" fmla="*/ 3848517 h 5282095"/>
              <a:gd name="connsiteX25693" fmla="*/ 2112690 w 7714416"/>
              <a:gd name="connsiteY25693" fmla="*/ 3848438 h 5282095"/>
              <a:gd name="connsiteX25694" fmla="*/ 2094341 w 7714416"/>
              <a:gd name="connsiteY25694" fmla="*/ 3857173 h 5282095"/>
              <a:gd name="connsiteX25695" fmla="*/ 2070787 w 7714416"/>
              <a:gd name="connsiteY25695" fmla="*/ 3868383 h 5282095"/>
              <a:gd name="connsiteX25696" fmla="*/ 2058803 w 7714416"/>
              <a:gd name="connsiteY25696" fmla="*/ 3874252 h 5282095"/>
              <a:gd name="connsiteX25697" fmla="*/ 2057319 w 7714416"/>
              <a:gd name="connsiteY25697" fmla="*/ 3876288 h 5282095"/>
              <a:gd name="connsiteX25698" fmla="*/ 2053022 w 7714416"/>
              <a:gd name="connsiteY25698" fmla="*/ 3877176 h 5282095"/>
              <a:gd name="connsiteX25699" fmla="*/ 2052915 w 7714416"/>
              <a:gd name="connsiteY25699" fmla="*/ 3877135 h 5282095"/>
              <a:gd name="connsiteX25700" fmla="*/ 2051158 w 7714416"/>
              <a:gd name="connsiteY25700" fmla="*/ 3877995 h 5282095"/>
              <a:gd name="connsiteX25701" fmla="*/ 2044196 w 7714416"/>
              <a:gd name="connsiteY25701" fmla="*/ 3869827 h 5282095"/>
              <a:gd name="connsiteX25702" fmla="*/ 2028673 w 7714416"/>
              <a:gd name="connsiteY25702" fmla="*/ 3884063 h 5282095"/>
              <a:gd name="connsiteX25703" fmla="*/ 1920388 w 7714416"/>
              <a:gd name="connsiteY25703" fmla="*/ 3890950 h 5282095"/>
              <a:gd name="connsiteX25704" fmla="*/ 1834162 w 7714416"/>
              <a:gd name="connsiteY25704" fmla="*/ 3825966 h 5282095"/>
              <a:gd name="connsiteX25705" fmla="*/ 1847340 w 7714416"/>
              <a:gd name="connsiteY25705" fmla="*/ 3775313 h 5282095"/>
              <a:gd name="connsiteX25706" fmla="*/ 1851923 w 7714416"/>
              <a:gd name="connsiteY25706" fmla="*/ 3772535 h 5282095"/>
              <a:gd name="connsiteX25707" fmla="*/ 1842756 w 7714416"/>
              <a:gd name="connsiteY25707" fmla="*/ 3772647 h 5282095"/>
              <a:gd name="connsiteX25708" fmla="*/ 1804370 w 7714416"/>
              <a:gd name="connsiteY25708" fmla="*/ 3772648 h 5282095"/>
              <a:gd name="connsiteX25709" fmla="*/ 1812106 w 7714416"/>
              <a:gd name="connsiteY25709" fmla="*/ 3784311 h 5282095"/>
              <a:gd name="connsiteX25710" fmla="*/ 1796349 w 7714416"/>
              <a:gd name="connsiteY25710" fmla="*/ 3778645 h 5282095"/>
              <a:gd name="connsiteX25711" fmla="*/ 1792339 w 7714416"/>
              <a:gd name="connsiteY25711" fmla="*/ 3779756 h 5282095"/>
              <a:gd name="connsiteX25712" fmla="*/ 1791480 w 7714416"/>
              <a:gd name="connsiteY25712" fmla="*/ 3788087 h 5282095"/>
              <a:gd name="connsiteX25713" fmla="*/ 1807235 w 7714416"/>
              <a:gd name="connsiteY25713" fmla="*/ 3793864 h 5282095"/>
              <a:gd name="connsiteX25714" fmla="*/ 1810099 w 7714416"/>
              <a:gd name="connsiteY25714" fmla="*/ 3795642 h 5282095"/>
              <a:gd name="connsiteX25715" fmla="*/ 1806090 w 7714416"/>
              <a:gd name="connsiteY25715" fmla="*/ 3798529 h 5282095"/>
              <a:gd name="connsiteX25716" fmla="*/ 1784892 w 7714416"/>
              <a:gd name="connsiteY25716" fmla="*/ 3789310 h 5282095"/>
              <a:gd name="connsiteX25717" fmla="*/ 1786609 w 7714416"/>
              <a:gd name="connsiteY25717" fmla="*/ 3776202 h 5282095"/>
              <a:gd name="connsiteX25718" fmla="*/ 1789188 w 7714416"/>
              <a:gd name="connsiteY25718" fmla="*/ 3772425 h 5282095"/>
              <a:gd name="connsiteX25719" fmla="*/ 1755098 w 7714416"/>
              <a:gd name="connsiteY25719" fmla="*/ 3759206 h 5282095"/>
              <a:gd name="connsiteX25720" fmla="*/ 1730085 w 7714416"/>
              <a:gd name="connsiteY25720" fmla="*/ 3749055 h 5282095"/>
              <a:gd name="connsiteX25721" fmla="*/ 1713948 w 7714416"/>
              <a:gd name="connsiteY25721" fmla="*/ 3749055 h 5282095"/>
              <a:gd name="connsiteX25722" fmla="*/ 1708979 w 7714416"/>
              <a:gd name="connsiteY25722" fmla="*/ 3751208 h 5282095"/>
              <a:gd name="connsiteX25723" fmla="*/ 1702487 w 7714416"/>
              <a:gd name="connsiteY25723" fmla="*/ 3749055 h 5282095"/>
              <a:gd name="connsiteX25724" fmla="*/ 1697849 w 7714416"/>
              <a:gd name="connsiteY25724" fmla="*/ 3749055 h 5282095"/>
              <a:gd name="connsiteX25725" fmla="*/ 1666443 w 7714416"/>
              <a:gd name="connsiteY25725" fmla="*/ 3751457 h 5282095"/>
              <a:gd name="connsiteX25726" fmla="*/ 1659554 w 7714416"/>
              <a:gd name="connsiteY25726" fmla="*/ 3752735 h 5282095"/>
              <a:gd name="connsiteX25727" fmla="*/ 1663143 w 7714416"/>
              <a:gd name="connsiteY25727" fmla="*/ 3762650 h 5282095"/>
              <a:gd name="connsiteX25728" fmla="*/ 1648820 w 7714416"/>
              <a:gd name="connsiteY25728" fmla="*/ 3757762 h 5282095"/>
              <a:gd name="connsiteX25729" fmla="*/ 1627551 w 7714416"/>
              <a:gd name="connsiteY25729" fmla="*/ 3765177 h 5282095"/>
              <a:gd name="connsiteX25730" fmla="*/ 1623856 w 7714416"/>
              <a:gd name="connsiteY25730" fmla="*/ 3764664 h 5282095"/>
              <a:gd name="connsiteX25731" fmla="*/ 1595782 w 7714416"/>
              <a:gd name="connsiteY25731" fmla="*/ 3779488 h 5282095"/>
              <a:gd name="connsiteX25732" fmla="*/ 1562414 w 7714416"/>
              <a:gd name="connsiteY25732" fmla="*/ 3792302 h 5282095"/>
              <a:gd name="connsiteX25733" fmla="*/ 1523158 w 7714416"/>
              <a:gd name="connsiteY25733" fmla="*/ 3801111 h 5282095"/>
              <a:gd name="connsiteX25734" fmla="*/ 1481938 w 7714416"/>
              <a:gd name="connsiteY25734" fmla="*/ 3807518 h 5282095"/>
              <a:gd name="connsiteX25735" fmla="*/ 1438756 w 7714416"/>
              <a:gd name="connsiteY25735" fmla="*/ 3811522 h 5282095"/>
              <a:gd name="connsiteX25736" fmla="*/ 1395572 w 7714416"/>
              <a:gd name="connsiteY25736" fmla="*/ 3813125 h 5282095"/>
              <a:gd name="connsiteX25737" fmla="*/ 1352390 w 7714416"/>
              <a:gd name="connsiteY25737" fmla="*/ 3814726 h 5282095"/>
              <a:gd name="connsiteX25738" fmla="*/ 1307246 w 7714416"/>
              <a:gd name="connsiteY25738" fmla="*/ 3815526 h 5282095"/>
              <a:gd name="connsiteX25739" fmla="*/ 1262101 w 7714416"/>
              <a:gd name="connsiteY25739" fmla="*/ 3817930 h 5282095"/>
              <a:gd name="connsiteX25740" fmla="*/ 1222845 w 7714416"/>
              <a:gd name="connsiteY25740" fmla="*/ 3821134 h 5282095"/>
              <a:gd name="connsiteX25741" fmla="*/ 1181625 w 7714416"/>
              <a:gd name="connsiteY25741" fmla="*/ 3826739 h 5282095"/>
              <a:gd name="connsiteX25742" fmla="*/ 1167884 w 7714416"/>
              <a:gd name="connsiteY25742" fmla="*/ 3826739 h 5282095"/>
              <a:gd name="connsiteX25743" fmla="*/ 1150219 w 7714416"/>
              <a:gd name="connsiteY25743" fmla="*/ 3824336 h 5282095"/>
              <a:gd name="connsiteX25744" fmla="*/ 1132553 w 7714416"/>
              <a:gd name="connsiteY25744" fmla="*/ 3819531 h 5282095"/>
              <a:gd name="connsiteX25745" fmla="*/ 1114889 w 7714416"/>
              <a:gd name="connsiteY25745" fmla="*/ 3813925 h 5282095"/>
              <a:gd name="connsiteX25746" fmla="*/ 1097223 w 7714416"/>
              <a:gd name="connsiteY25746" fmla="*/ 3809120 h 5282095"/>
              <a:gd name="connsiteX25747" fmla="*/ 1087409 w 7714416"/>
              <a:gd name="connsiteY25747" fmla="*/ 3824337 h 5282095"/>
              <a:gd name="connsiteX25748" fmla="*/ 1071706 w 7714416"/>
              <a:gd name="connsiteY25748" fmla="*/ 3841155 h 5282095"/>
              <a:gd name="connsiteX25749" fmla="*/ 1046189 w 7714416"/>
              <a:gd name="connsiteY25749" fmla="*/ 3857973 h 5282095"/>
              <a:gd name="connsiteX25750" fmla="*/ 1014785 w 7714416"/>
              <a:gd name="connsiteY25750" fmla="*/ 3874792 h 5282095"/>
              <a:gd name="connsiteX25751" fmla="*/ 975527 w 7714416"/>
              <a:gd name="connsiteY25751" fmla="*/ 3891610 h 5282095"/>
              <a:gd name="connsiteX25752" fmla="*/ 936271 w 7714416"/>
              <a:gd name="connsiteY25752" fmla="*/ 3907627 h 5282095"/>
              <a:gd name="connsiteX25753" fmla="*/ 893088 w 7714416"/>
              <a:gd name="connsiteY25753" fmla="*/ 3923645 h 5282095"/>
              <a:gd name="connsiteX25754" fmla="*/ 847943 w 7714416"/>
              <a:gd name="connsiteY25754" fmla="*/ 3938060 h 5282095"/>
              <a:gd name="connsiteX25755" fmla="*/ 804761 w 7714416"/>
              <a:gd name="connsiteY25755" fmla="*/ 3949272 h 5282095"/>
              <a:gd name="connsiteX25756" fmla="*/ 763541 w 7714416"/>
              <a:gd name="connsiteY25756" fmla="*/ 3958883 h 5282095"/>
              <a:gd name="connsiteX25757" fmla="*/ 724284 w 7714416"/>
              <a:gd name="connsiteY25757" fmla="*/ 3966090 h 5282095"/>
              <a:gd name="connsiteX25758" fmla="*/ 688953 w 7714416"/>
              <a:gd name="connsiteY25758" fmla="*/ 3969294 h 5282095"/>
              <a:gd name="connsiteX25759" fmla="*/ 659511 w 7714416"/>
              <a:gd name="connsiteY25759" fmla="*/ 3969294 h 5282095"/>
              <a:gd name="connsiteX25760" fmla="*/ 643809 w 7714416"/>
              <a:gd name="connsiteY25760" fmla="*/ 3983710 h 5282095"/>
              <a:gd name="connsiteX25761" fmla="*/ 626143 w 7714416"/>
              <a:gd name="connsiteY25761" fmla="*/ 3997324 h 5282095"/>
              <a:gd name="connsiteX25762" fmla="*/ 608478 w 7714416"/>
              <a:gd name="connsiteY25762" fmla="*/ 4013342 h 5282095"/>
              <a:gd name="connsiteX25763" fmla="*/ 584925 w 7714416"/>
              <a:gd name="connsiteY25763" fmla="*/ 4031762 h 5282095"/>
              <a:gd name="connsiteX25764" fmla="*/ 557445 w 7714416"/>
              <a:gd name="connsiteY25764" fmla="*/ 4054186 h 5282095"/>
              <a:gd name="connsiteX25765" fmla="*/ 482857 w 7714416"/>
              <a:gd name="connsiteY25765" fmla="*/ 4001329 h 5282095"/>
              <a:gd name="connsiteX25766" fmla="*/ 410232 w 7714416"/>
              <a:gd name="connsiteY25766" fmla="*/ 3951674 h 5282095"/>
              <a:gd name="connsiteX25767" fmla="*/ 345459 w 7714416"/>
              <a:gd name="connsiteY25767" fmla="*/ 3905225 h 5282095"/>
              <a:gd name="connsiteX25768" fmla="*/ 280685 w 7714416"/>
              <a:gd name="connsiteY25768" fmla="*/ 3860376 h 5282095"/>
              <a:gd name="connsiteX25769" fmla="*/ 213950 w 7714416"/>
              <a:gd name="connsiteY25769" fmla="*/ 3817930 h 5282095"/>
              <a:gd name="connsiteX25770" fmla="*/ 166842 w 7714416"/>
              <a:gd name="connsiteY25770" fmla="*/ 3792302 h 5282095"/>
              <a:gd name="connsiteX25771" fmla="*/ 111882 w 7714416"/>
              <a:gd name="connsiteY25771" fmla="*/ 3769077 h 5282095"/>
              <a:gd name="connsiteX25772" fmla="*/ 54959 w 7714416"/>
              <a:gd name="connsiteY25772" fmla="*/ 3745852 h 5282095"/>
              <a:gd name="connsiteX25773" fmla="*/ 1 w 7714416"/>
              <a:gd name="connsiteY25773" fmla="*/ 3723427 h 5282095"/>
              <a:gd name="connsiteX25774" fmla="*/ 0 w 7714416"/>
              <a:gd name="connsiteY25774" fmla="*/ 3531219 h 5282095"/>
              <a:gd name="connsiteX25775" fmla="*/ 125622 w 7714416"/>
              <a:gd name="connsiteY25775" fmla="*/ 3517604 h 5282095"/>
              <a:gd name="connsiteX25776" fmla="*/ 253205 w 7714416"/>
              <a:gd name="connsiteY25776" fmla="*/ 3503188 h 5282095"/>
              <a:gd name="connsiteX25777" fmla="*/ 233577 w 7714416"/>
              <a:gd name="connsiteY25777" fmla="*/ 3481564 h 5282095"/>
              <a:gd name="connsiteX25778" fmla="*/ 221801 w 7714416"/>
              <a:gd name="connsiteY25778" fmla="*/ 3463144 h 5282095"/>
              <a:gd name="connsiteX25779" fmla="*/ 219838 w 7714416"/>
              <a:gd name="connsiteY25779" fmla="*/ 3445526 h 5282095"/>
              <a:gd name="connsiteX25780" fmla="*/ 225727 w 7714416"/>
              <a:gd name="connsiteY25780" fmla="*/ 3430309 h 5282095"/>
              <a:gd name="connsiteX25781" fmla="*/ 241428 w 7714416"/>
              <a:gd name="connsiteY25781" fmla="*/ 3416695 h 5282095"/>
              <a:gd name="connsiteX25782" fmla="*/ 263021 w 7714416"/>
              <a:gd name="connsiteY25782" fmla="*/ 3404681 h 5282095"/>
              <a:gd name="connsiteX25783" fmla="*/ 290501 w 7714416"/>
              <a:gd name="connsiteY25783" fmla="*/ 3393469 h 5282095"/>
              <a:gd name="connsiteX25784" fmla="*/ 323867 w 7714416"/>
              <a:gd name="connsiteY25784" fmla="*/ 3383057 h 5282095"/>
              <a:gd name="connsiteX25785" fmla="*/ 361162 w 7714416"/>
              <a:gd name="connsiteY25785" fmla="*/ 3373447 h 5282095"/>
              <a:gd name="connsiteX25786" fmla="*/ 402382 w 7714416"/>
              <a:gd name="connsiteY25786" fmla="*/ 3365438 h 5282095"/>
              <a:gd name="connsiteX25787" fmla="*/ 433786 w 7714416"/>
              <a:gd name="connsiteY25787" fmla="*/ 3355828 h 5282095"/>
              <a:gd name="connsiteX25788" fmla="*/ 459303 w 7714416"/>
              <a:gd name="connsiteY25788" fmla="*/ 3343815 h 5282095"/>
              <a:gd name="connsiteX25789" fmla="*/ 478930 w 7714416"/>
              <a:gd name="connsiteY25789" fmla="*/ 3330200 h 5282095"/>
              <a:gd name="connsiteX25790" fmla="*/ 496597 w 7714416"/>
              <a:gd name="connsiteY25790" fmla="*/ 3312581 h 5282095"/>
              <a:gd name="connsiteX25791" fmla="*/ 514262 w 7714416"/>
              <a:gd name="connsiteY25791" fmla="*/ 3295762 h 5282095"/>
              <a:gd name="connsiteX25792" fmla="*/ 531928 w 7714416"/>
              <a:gd name="connsiteY25792" fmla="*/ 3280546 h 5282095"/>
              <a:gd name="connsiteX25793" fmla="*/ 553518 w 7714416"/>
              <a:gd name="connsiteY25793" fmla="*/ 3266931 h 5282095"/>
              <a:gd name="connsiteX25794" fmla="*/ 577073 w 7714416"/>
              <a:gd name="connsiteY25794" fmla="*/ 3255720 h 5282095"/>
              <a:gd name="connsiteX25795" fmla="*/ 604552 w 7714416"/>
              <a:gd name="connsiteY25795" fmla="*/ 3246109 h 5282095"/>
              <a:gd name="connsiteX25796" fmla="*/ 633996 w 7714416"/>
              <a:gd name="connsiteY25796" fmla="*/ 3240503 h 5282095"/>
              <a:gd name="connsiteX25797" fmla="*/ 671288 w 7714416"/>
              <a:gd name="connsiteY25797" fmla="*/ 3238100 h 5282095"/>
              <a:gd name="connsiteX25798" fmla="*/ 710545 w 7714416"/>
              <a:gd name="connsiteY25798" fmla="*/ 3238901 h 5282095"/>
              <a:gd name="connsiteX25799" fmla="*/ 755689 w 7714416"/>
              <a:gd name="connsiteY25799" fmla="*/ 3244507 h 5282095"/>
              <a:gd name="connsiteX25800" fmla="*/ 822427 w 7714416"/>
              <a:gd name="connsiteY25800" fmla="*/ 3200459 h 5282095"/>
              <a:gd name="connsiteX25801" fmla="*/ 881311 w 7714416"/>
              <a:gd name="connsiteY25801" fmla="*/ 3160416 h 5282095"/>
              <a:gd name="connsiteX25802" fmla="*/ 936271 w 7714416"/>
              <a:gd name="connsiteY25802" fmla="*/ 3121173 h 5282095"/>
              <a:gd name="connsiteX25803" fmla="*/ 971602 w 7714416"/>
              <a:gd name="connsiteY25803" fmla="*/ 3096347 h 5282095"/>
              <a:gd name="connsiteX25804" fmla="*/ 1004970 w 7714416"/>
              <a:gd name="connsiteY25804" fmla="*/ 3070719 h 5282095"/>
              <a:gd name="connsiteX25805" fmla="*/ 1042265 w 7714416"/>
              <a:gd name="connsiteY25805" fmla="*/ 3046693 h 5282095"/>
              <a:gd name="connsiteX25806" fmla="*/ 1079556 w 7714416"/>
              <a:gd name="connsiteY25806" fmla="*/ 3024268 h 5282095"/>
              <a:gd name="connsiteX25807" fmla="*/ 1120777 w 7714416"/>
              <a:gd name="connsiteY25807" fmla="*/ 3001844 h 5282095"/>
              <a:gd name="connsiteX25808" fmla="*/ 1169847 w 7714416"/>
              <a:gd name="connsiteY25808" fmla="*/ 2982623 h 5282095"/>
              <a:gd name="connsiteX25809" fmla="*/ 1222845 w 7714416"/>
              <a:gd name="connsiteY25809" fmla="*/ 2965004 h 5282095"/>
              <a:gd name="connsiteX25810" fmla="*/ 1283692 w 7714416"/>
              <a:gd name="connsiteY25810" fmla="*/ 2949788 h 5282095"/>
              <a:gd name="connsiteX25811" fmla="*/ 1352390 w 7714416"/>
              <a:gd name="connsiteY25811" fmla="*/ 2937774 h 5282095"/>
              <a:gd name="connsiteX25812" fmla="*/ 1356316 w 7714416"/>
              <a:gd name="connsiteY25812" fmla="*/ 2936974 h 5282095"/>
              <a:gd name="connsiteX25813" fmla="*/ 1358280 w 7714416"/>
              <a:gd name="connsiteY25813" fmla="*/ 2935371 h 5282095"/>
              <a:gd name="connsiteX25814" fmla="*/ 1364167 w 7714416"/>
              <a:gd name="connsiteY25814" fmla="*/ 2932169 h 5282095"/>
              <a:gd name="connsiteX25815" fmla="*/ 1366130 w 7714416"/>
              <a:gd name="connsiteY25815" fmla="*/ 2929766 h 5282095"/>
              <a:gd name="connsiteX25816" fmla="*/ 1370057 w 7714416"/>
              <a:gd name="connsiteY25816" fmla="*/ 2927364 h 5282095"/>
              <a:gd name="connsiteX25817" fmla="*/ 1438756 w 7714416"/>
              <a:gd name="connsiteY25817" fmla="*/ 2888921 h 5282095"/>
              <a:gd name="connsiteX25818" fmla="*/ 1509417 w 7714416"/>
              <a:gd name="connsiteY25818" fmla="*/ 2848878 h 5282095"/>
              <a:gd name="connsiteX25819" fmla="*/ 1552091 w 7714416"/>
              <a:gd name="connsiteY25819" fmla="*/ 2825180 h 5282095"/>
              <a:gd name="connsiteX25820" fmla="*/ 1551260 w 7714416"/>
              <a:gd name="connsiteY25820" fmla="*/ 2822807 h 5282095"/>
              <a:gd name="connsiteX25821" fmla="*/ 1526151 w 7714416"/>
              <a:gd name="connsiteY25821" fmla="*/ 2701362 h 5282095"/>
              <a:gd name="connsiteX25822" fmla="*/ 1495247 w 7714416"/>
              <a:gd name="connsiteY25822" fmla="*/ 2580706 h 5282095"/>
              <a:gd name="connsiteX25823" fmla="*/ 1340725 w 7714416"/>
              <a:gd name="connsiteY25823" fmla="*/ 2552316 h 5282095"/>
              <a:gd name="connsiteX25824" fmla="*/ 1178478 w 7714416"/>
              <a:gd name="connsiteY25824" fmla="*/ 2523139 h 5282095"/>
              <a:gd name="connsiteX25825" fmla="*/ 1008506 w 7714416"/>
              <a:gd name="connsiteY25825" fmla="*/ 2492383 h 5282095"/>
              <a:gd name="connsiteX25826" fmla="*/ 834669 w 7714416"/>
              <a:gd name="connsiteY25826" fmla="*/ 2460051 h 5282095"/>
              <a:gd name="connsiteX25827" fmla="*/ 886821 w 7714416"/>
              <a:gd name="connsiteY25827" fmla="*/ 2446644 h 5282095"/>
              <a:gd name="connsiteX25828" fmla="*/ 931246 w 7714416"/>
              <a:gd name="connsiteY25828" fmla="*/ 2431660 h 5282095"/>
              <a:gd name="connsiteX25829" fmla="*/ 964081 w 7714416"/>
              <a:gd name="connsiteY25829" fmla="*/ 2416677 h 5282095"/>
              <a:gd name="connsiteX25830" fmla="*/ 987260 w 7714416"/>
              <a:gd name="connsiteY25830" fmla="*/ 2400906 h 5282095"/>
              <a:gd name="connsiteX25831" fmla="*/ 1004643 w 7714416"/>
              <a:gd name="connsiteY25831" fmla="*/ 2383557 h 5282095"/>
              <a:gd name="connsiteX25832" fmla="*/ 1014300 w 7714416"/>
              <a:gd name="connsiteY25832" fmla="*/ 2366207 h 5282095"/>
              <a:gd name="connsiteX25833" fmla="*/ 1018163 w 7714416"/>
              <a:gd name="connsiteY25833" fmla="*/ 2349647 h 5282095"/>
              <a:gd name="connsiteX25834" fmla="*/ 1016233 w 7714416"/>
              <a:gd name="connsiteY25834" fmla="*/ 2331509 h 5282095"/>
              <a:gd name="connsiteX25835" fmla="*/ 1010437 w 7714416"/>
              <a:gd name="connsiteY25835" fmla="*/ 2313371 h 5282095"/>
              <a:gd name="connsiteX25836" fmla="*/ 1002712 w 7714416"/>
              <a:gd name="connsiteY25836" fmla="*/ 2294445 h 5282095"/>
              <a:gd name="connsiteX25837" fmla="*/ 993054 w 7714416"/>
              <a:gd name="connsiteY25837" fmla="*/ 2275518 h 5282095"/>
              <a:gd name="connsiteX25838" fmla="*/ 981464 w 7714416"/>
              <a:gd name="connsiteY25838" fmla="*/ 2257380 h 5282095"/>
              <a:gd name="connsiteX25839" fmla="*/ 973739 w 7714416"/>
              <a:gd name="connsiteY25839" fmla="*/ 2238455 h 5282095"/>
              <a:gd name="connsiteX25840" fmla="*/ 967945 w 7714416"/>
              <a:gd name="connsiteY25840" fmla="*/ 2225047 h 5282095"/>
              <a:gd name="connsiteX25841" fmla="*/ 964081 w 7714416"/>
              <a:gd name="connsiteY25841" fmla="*/ 2211642 h 5282095"/>
              <a:gd name="connsiteX25842" fmla="*/ 964081 w 7714416"/>
              <a:gd name="connsiteY25842" fmla="*/ 2196658 h 5282095"/>
              <a:gd name="connsiteX25843" fmla="*/ 962149 w 7714416"/>
              <a:gd name="connsiteY25843" fmla="*/ 2183252 h 5282095"/>
              <a:gd name="connsiteX25844" fmla="*/ 960219 w 7714416"/>
              <a:gd name="connsiteY25844" fmla="*/ 2169846 h 5282095"/>
              <a:gd name="connsiteX25845" fmla="*/ 956356 w 7714416"/>
              <a:gd name="connsiteY25845" fmla="*/ 2158017 h 5282095"/>
              <a:gd name="connsiteX25846" fmla="*/ 948630 w 7714416"/>
              <a:gd name="connsiteY25846" fmla="*/ 2148554 h 5282095"/>
              <a:gd name="connsiteX25847" fmla="*/ 933178 w 7714416"/>
              <a:gd name="connsiteY25847" fmla="*/ 2142245 h 5282095"/>
              <a:gd name="connsiteX25848" fmla="*/ 882958 w 7714416"/>
              <a:gd name="connsiteY25848" fmla="*/ 2129627 h 5282095"/>
              <a:gd name="connsiteX25849" fmla="*/ 828875 w 7714416"/>
              <a:gd name="connsiteY25849" fmla="*/ 2119376 h 5282095"/>
              <a:gd name="connsiteX25850" fmla="*/ 770930 w 7714416"/>
              <a:gd name="connsiteY25850" fmla="*/ 2110701 h 5282095"/>
              <a:gd name="connsiteX25851" fmla="*/ 712984 w 7714416"/>
              <a:gd name="connsiteY25851" fmla="*/ 2103603 h 5282095"/>
              <a:gd name="connsiteX25852" fmla="*/ 653107 w 7714416"/>
              <a:gd name="connsiteY25852" fmla="*/ 2096506 h 5282095"/>
              <a:gd name="connsiteX25853" fmla="*/ 593232 w 7714416"/>
              <a:gd name="connsiteY25853" fmla="*/ 2088621 h 5282095"/>
              <a:gd name="connsiteX25854" fmla="*/ 527560 w 7714416"/>
              <a:gd name="connsiteY25854" fmla="*/ 2079157 h 5282095"/>
              <a:gd name="connsiteX25855" fmla="*/ 458026 w 7714416"/>
              <a:gd name="connsiteY25855" fmla="*/ 2070482 h 5282095"/>
              <a:gd name="connsiteX25856" fmla="*/ 384627 w 7714416"/>
              <a:gd name="connsiteY25856" fmla="*/ 2061020 h 5282095"/>
              <a:gd name="connsiteX25857" fmla="*/ 305436 w 7714416"/>
              <a:gd name="connsiteY25857" fmla="*/ 2050767 h 5282095"/>
              <a:gd name="connsiteX25858" fmla="*/ 355655 w 7714416"/>
              <a:gd name="connsiteY25858" fmla="*/ 2029476 h 5282095"/>
              <a:gd name="connsiteX25859" fmla="*/ 405875 w 7714416"/>
              <a:gd name="connsiteY25859" fmla="*/ 2010550 h 5282095"/>
              <a:gd name="connsiteX25860" fmla="*/ 458026 w 7714416"/>
              <a:gd name="connsiteY25860" fmla="*/ 1993200 h 5282095"/>
              <a:gd name="connsiteX25861" fmla="*/ 510177 w 7714416"/>
              <a:gd name="connsiteY25861" fmla="*/ 1978216 h 5282095"/>
              <a:gd name="connsiteX25862" fmla="*/ 564258 w 7714416"/>
              <a:gd name="connsiteY25862" fmla="*/ 1966387 h 5282095"/>
              <a:gd name="connsiteX25863" fmla="*/ 622204 w 7714416"/>
              <a:gd name="connsiteY25863" fmla="*/ 1957713 h 5282095"/>
              <a:gd name="connsiteX25864" fmla="*/ 680149 w 7714416"/>
              <a:gd name="connsiteY25864" fmla="*/ 1952981 h 5282095"/>
              <a:gd name="connsiteX25865" fmla="*/ 745820 w 7714416"/>
              <a:gd name="connsiteY25865" fmla="*/ 1950615 h 5282095"/>
              <a:gd name="connsiteX25866" fmla="*/ 790245 w 7714416"/>
              <a:gd name="connsiteY25866" fmla="*/ 1949827 h 5282095"/>
              <a:gd name="connsiteX25867" fmla="*/ 825012 w 7714416"/>
              <a:gd name="connsiteY25867" fmla="*/ 1946672 h 5282095"/>
              <a:gd name="connsiteX25868" fmla="*/ 853985 w 7714416"/>
              <a:gd name="connsiteY25868" fmla="*/ 1940364 h 5282095"/>
              <a:gd name="connsiteX25869" fmla="*/ 875232 w 7714416"/>
              <a:gd name="connsiteY25869" fmla="*/ 1931689 h 5282095"/>
              <a:gd name="connsiteX25870" fmla="*/ 888752 w 7714416"/>
              <a:gd name="connsiteY25870" fmla="*/ 1919860 h 5282095"/>
              <a:gd name="connsiteX25871" fmla="*/ 900341 w 7714416"/>
              <a:gd name="connsiteY25871" fmla="*/ 1905665 h 5282095"/>
              <a:gd name="connsiteX25872" fmla="*/ 906136 w 7714416"/>
              <a:gd name="connsiteY25872" fmla="*/ 1888315 h 5282095"/>
              <a:gd name="connsiteX25873" fmla="*/ 920503 w 7714416"/>
              <a:gd name="connsiteY25873" fmla="*/ 1835522 h 5282095"/>
              <a:gd name="connsiteX25874" fmla="*/ 493771 w 7714416"/>
              <a:gd name="connsiteY25874" fmla="*/ 1721180 h 5282095"/>
              <a:gd name="connsiteX25875" fmla="*/ 498310 w 7714416"/>
              <a:gd name="connsiteY25875" fmla="*/ 1716416 h 5282095"/>
              <a:gd name="connsiteX25876" fmla="*/ 509210 w 7714416"/>
              <a:gd name="connsiteY25876" fmla="*/ 1707836 h 5282095"/>
              <a:gd name="connsiteX25877" fmla="*/ 517471 w 7714416"/>
              <a:gd name="connsiteY25877" fmla="*/ 1711314 h 5282095"/>
              <a:gd name="connsiteX25878" fmla="*/ 519132 w 7714416"/>
              <a:gd name="connsiteY25878" fmla="*/ 1711759 h 5282095"/>
              <a:gd name="connsiteX25879" fmla="*/ 564015 w 7714416"/>
              <a:gd name="connsiteY25879" fmla="*/ 1688135 h 5282095"/>
              <a:gd name="connsiteX25880" fmla="*/ 563782 w 7714416"/>
              <a:gd name="connsiteY25880" fmla="*/ 1674618 h 5282095"/>
              <a:gd name="connsiteX25881" fmla="*/ 586910 w 7714416"/>
              <a:gd name="connsiteY25881" fmla="*/ 1663564 h 5282095"/>
              <a:gd name="connsiteX25882" fmla="*/ 599689 w 7714416"/>
              <a:gd name="connsiteY25882" fmla="*/ 1664574 h 5282095"/>
              <a:gd name="connsiteX25883" fmla="*/ 616514 w 7714416"/>
              <a:gd name="connsiteY25883" fmla="*/ 1648266 h 5282095"/>
              <a:gd name="connsiteX25884" fmla="*/ 633562 w 7714416"/>
              <a:gd name="connsiteY25884" fmla="*/ 1646625 h 5282095"/>
              <a:gd name="connsiteX25885" fmla="*/ 624532 w 7714416"/>
              <a:gd name="connsiteY25885" fmla="*/ 1639376 h 5282095"/>
              <a:gd name="connsiteX25886" fmla="*/ 630009 w 7714416"/>
              <a:gd name="connsiteY25886" fmla="*/ 1632217 h 5282095"/>
              <a:gd name="connsiteX25887" fmla="*/ 612922 w 7714416"/>
              <a:gd name="connsiteY25887" fmla="*/ 1635114 h 5282095"/>
              <a:gd name="connsiteX25888" fmla="*/ 592294 w 7714416"/>
              <a:gd name="connsiteY25888" fmla="*/ 1636832 h 5282095"/>
              <a:gd name="connsiteX25889" fmla="*/ 599445 w 7714416"/>
              <a:gd name="connsiteY25889" fmla="*/ 1616783 h 5282095"/>
              <a:gd name="connsiteX25890" fmla="*/ 625155 w 7714416"/>
              <a:gd name="connsiteY25890" fmla="*/ 1602741 h 5282095"/>
              <a:gd name="connsiteX25891" fmla="*/ 646054 w 7714416"/>
              <a:gd name="connsiteY25891" fmla="*/ 1613286 h 5282095"/>
              <a:gd name="connsiteX25892" fmla="*/ 636474 w 7714416"/>
              <a:gd name="connsiteY25892" fmla="*/ 1629120 h 5282095"/>
              <a:gd name="connsiteX25893" fmla="*/ 651268 w 7714416"/>
              <a:gd name="connsiteY25893" fmla="*/ 1628138 h 5282095"/>
              <a:gd name="connsiteX25894" fmla="*/ 663102 w 7714416"/>
              <a:gd name="connsiteY25894" fmla="*/ 1611644 h 5282095"/>
              <a:gd name="connsiteX25895" fmla="*/ 643970 w 7714416"/>
              <a:gd name="connsiteY25895" fmla="*/ 1607783 h 5282095"/>
              <a:gd name="connsiteX25896" fmla="*/ 671627 w 7714416"/>
              <a:gd name="connsiteY25896" fmla="*/ 1593113 h 5282095"/>
              <a:gd name="connsiteX25897" fmla="*/ 677444 w 7714416"/>
              <a:gd name="connsiteY25897" fmla="*/ 1605712 h 5282095"/>
              <a:gd name="connsiteX25898" fmla="*/ 726254 w 7714416"/>
              <a:gd name="connsiteY25898" fmla="*/ 1580724 h 5282095"/>
              <a:gd name="connsiteX25899" fmla="*/ 702456 w 7714416"/>
              <a:gd name="connsiteY25899" fmla="*/ 1574349 h 5282095"/>
              <a:gd name="connsiteX25900" fmla="*/ 713531 w 7714416"/>
              <a:gd name="connsiteY25900" fmla="*/ 1552935 h 5282095"/>
              <a:gd name="connsiteX25901" fmla="*/ 734378 w 7714416"/>
              <a:gd name="connsiteY25901" fmla="*/ 1578072 h 5282095"/>
              <a:gd name="connsiteX25902" fmla="*/ 754333 w 7714416"/>
              <a:gd name="connsiteY25902" fmla="*/ 1571113 h 5282095"/>
              <a:gd name="connsiteX25903" fmla="*/ 770993 w 7714416"/>
              <a:gd name="connsiteY25903" fmla="*/ 1584202 h 5282095"/>
              <a:gd name="connsiteX25904" fmla="*/ 765627 w 7714416"/>
              <a:gd name="connsiteY25904" fmla="*/ 1576555 h 5282095"/>
              <a:gd name="connsiteX25905" fmla="*/ 790855 w 7714416"/>
              <a:gd name="connsiteY25905" fmla="*/ 1557669 h 5282095"/>
              <a:gd name="connsiteX25906" fmla="*/ 812926 w 7714416"/>
              <a:gd name="connsiteY25906" fmla="*/ 1543918 h 5282095"/>
              <a:gd name="connsiteX25907" fmla="*/ 797747 w 7714416"/>
              <a:gd name="connsiteY25907" fmla="*/ 1538585 h 5282095"/>
              <a:gd name="connsiteX25908" fmla="*/ 810853 w 7714416"/>
              <a:gd name="connsiteY25908" fmla="*/ 1537268 h 5282095"/>
              <a:gd name="connsiteX25909" fmla="*/ 811428 w 7714416"/>
              <a:gd name="connsiteY25909" fmla="*/ 1535121 h 5282095"/>
              <a:gd name="connsiteX25910" fmla="*/ 812829 w 7714416"/>
              <a:gd name="connsiteY25910" fmla="*/ 1536532 h 5282095"/>
              <a:gd name="connsiteX25911" fmla="*/ 811456 w 7714416"/>
              <a:gd name="connsiteY25911" fmla="*/ 1535014 h 5282095"/>
              <a:gd name="connsiteX25912" fmla="*/ 811428 w 7714416"/>
              <a:gd name="connsiteY25912" fmla="*/ 1535121 h 5282095"/>
              <a:gd name="connsiteX25913" fmla="*/ 805765 w 7714416"/>
              <a:gd name="connsiteY25913" fmla="*/ 1529694 h 5282095"/>
              <a:gd name="connsiteX25914" fmla="*/ 790693 w 7714416"/>
              <a:gd name="connsiteY25914" fmla="*/ 1530601 h 5282095"/>
              <a:gd name="connsiteX25915" fmla="*/ 787372 w 7714416"/>
              <a:gd name="connsiteY25915" fmla="*/ 1529711 h 5282095"/>
              <a:gd name="connsiteX25916" fmla="*/ 786317 w 7714416"/>
              <a:gd name="connsiteY25916" fmla="*/ 1527013 h 5282095"/>
              <a:gd name="connsiteX25917" fmla="*/ 808633 w 7714416"/>
              <a:gd name="connsiteY25917" fmla="*/ 1525633 h 5282095"/>
              <a:gd name="connsiteX25918" fmla="*/ 818692 w 7714416"/>
              <a:gd name="connsiteY25918" fmla="*/ 1535688 h 5282095"/>
              <a:gd name="connsiteX25919" fmla="*/ 821408 w 7714416"/>
              <a:gd name="connsiteY25919" fmla="*/ 1538831 h 5282095"/>
              <a:gd name="connsiteX25920" fmla="*/ 851562 w 7714416"/>
              <a:gd name="connsiteY25920" fmla="*/ 1535869 h 5282095"/>
              <a:gd name="connsiteX25921" fmla="*/ 886695 w 7714416"/>
              <a:gd name="connsiteY25921" fmla="*/ 1534244 h 5282095"/>
              <a:gd name="connsiteX25922" fmla="*/ 885215 w 7714416"/>
              <a:gd name="connsiteY25922" fmla="*/ 1526487 h 5282095"/>
              <a:gd name="connsiteX25923" fmla="*/ 902274 w 7714416"/>
              <a:gd name="connsiteY25923" fmla="*/ 1523698 h 5282095"/>
              <a:gd name="connsiteX25924" fmla="*/ 920213 w 7714416"/>
              <a:gd name="connsiteY25924" fmla="*/ 1518729 h 5282095"/>
              <a:gd name="connsiteX25925" fmla="*/ 932895 w 7714416"/>
              <a:gd name="connsiteY25925" fmla="*/ 1512352 h 5282095"/>
              <a:gd name="connsiteX25926" fmla="*/ 902497 w 7714416"/>
              <a:gd name="connsiteY25926" fmla="*/ 1502942 h 5282095"/>
              <a:gd name="connsiteX25927" fmla="*/ 913665 w 7714416"/>
              <a:gd name="connsiteY25927" fmla="*/ 1501105 h 5282095"/>
              <a:gd name="connsiteX25928" fmla="*/ 939515 w 7714416"/>
              <a:gd name="connsiteY25928" fmla="*/ 1481006 h 5282095"/>
              <a:gd name="connsiteX25929" fmla="*/ 987179 w 7714416"/>
              <a:gd name="connsiteY25929" fmla="*/ 1480208 h 5282095"/>
              <a:gd name="connsiteX25930" fmla="*/ 994521 w 7714416"/>
              <a:gd name="connsiteY25930" fmla="*/ 1487120 h 5282095"/>
              <a:gd name="connsiteX25931" fmla="*/ 999818 w 7714416"/>
              <a:gd name="connsiteY25931" fmla="*/ 1487274 h 5282095"/>
              <a:gd name="connsiteX25932" fmla="*/ 1011263 w 7714416"/>
              <a:gd name="connsiteY25932" fmla="*/ 1485511 h 5282095"/>
              <a:gd name="connsiteX25933" fmla="*/ 1016233 w 7714416"/>
              <a:gd name="connsiteY25933" fmla="*/ 1487993 h 5282095"/>
              <a:gd name="connsiteX25934" fmla="*/ 1013664 w 7714416"/>
              <a:gd name="connsiteY25934" fmla="*/ 1489834 h 5282095"/>
              <a:gd name="connsiteX25935" fmla="*/ 1002496 w 7714416"/>
              <a:gd name="connsiteY25935" fmla="*/ 1491672 h 5282095"/>
              <a:gd name="connsiteX25936" fmla="*/ 976995 w 7714416"/>
              <a:gd name="connsiteY25936" fmla="*/ 1498293 h 5282095"/>
              <a:gd name="connsiteX25937" fmla="*/ 982263 w 7714416"/>
              <a:gd name="connsiteY25937" fmla="*/ 1498556 h 5282095"/>
              <a:gd name="connsiteX25938" fmla="*/ 981975 w 7714416"/>
              <a:gd name="connsiteY25938" fmla="*/ 1499628 h 5282095"/>
              <a:gd name="connsiteX25939" fmla="*/ 985900 w 7714416"/>
              <a:gd name="connsiteY25939" fmla="*/ 1498265 h 5282095"/>
              <a:gd name="connsiteX25940" fmla="*/ 993738 w 7714416"/>
              <a:gd name="connsiteY25940" fmla="*/ 1496685 h 5282095"/>
              <a:gd name="connsiteX25941" fmla="*/ 997058 w 7714416"/>
              <a:gd name="connsiteY25941" fmla="*/ 1497574 h 5282095"/>
              <a:gd name="connsiteX25942" fmla="*/ 996425 w 7714416"/>
              <a:gd name="connsiteY25942" fmla="*/ 1499935 h 5282095"/>
              <a:gd name="connsiteX25943" fmla="*/ 988617 w 7714416"/>
              <a:gd name="connsiteY25943" fmla="*/ 1501407 h 5282095"/>
              <a:gd name="connsiteX25944" fmla="*/ 984980 w 7714416"/>
              <a:gd name="connsiteY25944" fmla="*/ 1501698 h 5282095"/>
              <a:gd name="connsiteX25945" fmla="*/ 967921 w 7714416"/>
              <a:gd name="connsiteY25945" fmla="*/ 1504487 h 5282095"/>
              <a:gd name="connsiteX25946" fmla="*/ 954895 w 7714416"/>
              <a:gd name="connsiteY25946" fmla="*/ 1512152 h 5282095"/>
              <a:gd name="connsiteX25947" fmla="*/ 973920 w 7714416"/>
              <a:gd name="connsiteY25947" fmla="*/ 1509775 h 5282095"/>
              <a:gd name="connsiteX25948" fmla="*/ 971983 w 7714416"/>
              <a:gd name="connsiteY25948" fmla="*/ 1509256 h 5282095"/>
              <a:gd name="connsiteX25949" fmla="*/ 979819 w 7714416"/>
              <a:gd name="connsiteY25949" fmla="*/ 1507675 h 5282095"/>
              <a:gd name="connsiteX25950" fmla="*/ 981480 w 7714416"/>
              <a:gd name="connsiteY25950" fmla="*/ 1508121 h 5282095"/>
              <a:gd name="connsiteX25951" fmla="*/ 1004716 w 7714416"/>
              <a:gd name="connsiteY25951" fmla="*/ 1503307 h 5282095"/>
              <a:gd name="connsiteX25952" fmla="*/ 1011317 w 7714416"/>
              <a:gd name="connsiteY25952" fmla="*/ 1506341 h 5282095"/>
              <a:gd name="connsiteX25953" fmla="*/ 1024739 w 7714416"/>
              <a:gd name="connsiteY25953" fmla="*/ 1503842 h 5282095"/>
              <a:gd name="connsiteX25954" fmla="*/ 1024135 w 7714416"/>
              <a:gd name="connsiteY25954" fmla="*/ 1506095 h 5282095"/>
              <a:gd name="connsiteX25955" fmla="*/ 1039850 w 7714416"/>
              <a:gd name="connsiteY25955" fmla="*/ 1501681 h 5282095"/>
              <a:gd name="connsiteX25956" fmla="*/ 1055673 w 7714416"/>
              <a:gd name="connsiteY25956" fmla="*/ 1503505 h 5282095"/>
              <a:gd name="connsiteX25957" fmla="*/ 1061533 w 7714416"/>
              <a:gd name="connsiteY25957" fmla="*/ 1502660 h 5282095"/>
              <a:gd name="connsiteX25958" fmla="*/ 1064854 w 7714416"/>
              <a:gd name="connsiteY25958" fmla="*/ 1503550 h 5282095"/>
              <a:gd name="connsiteX25959" fmla="*/ 1082190 w 7714416"/>
              <a:gd name="connsiteY25959" fmla="*/ 1500835 h 5282095"/>
              <a:gd name="connsiteX25960" fmla="*/ 1078485 w 7714416"/>
              <a:gd name="connsiteY25960" fmla="*/ 1493632 h 5282095"/>
              <a:gd name="connsiteX25961" fmla="*/ 1057801 w 7714416"/>
              <a:gd name="connsiteY25961" fmla="*/ 1495566 h 5282095"/>
              <a:gd name="connsiteX25962" fmla="*/ 1055526 w 7714416"/>
              <a:gd name="connsiteY25962" fmla="*/ 1498521 h 5282095"/>
              <a:gd name="connsiteX25963" fmla="*/ 1034139 w 7714416"/>
              <a:gd name="connsiteY25963" fmla="*/ 1495321 h 5282095"/>
              <a:gd name="connsiteX25964" fmla="*/ 1045902 w 7714416"/>
              <a:gd name="connsiteY25964" fmla="*/ 1492377 h 5282095"/>
              <a:gd name="connsiteX25965" fmla="*/ 1034953 w 7714416"/>
              <a:gd name="connsiteY25965" fmla="*/ 1485648 h 5282095"/>
              <a:gd name="connsiteX25966" fmla="*/ 1091347 w 7714416"/>
              <a:gd name="connsiteY25966" fmla="*/ 1479943 h 5282095"/>
              <a:gd name="connsiteX25967" fmla="*/ 1110207 w 7714416"/>
              <a:gd name="connsiteY25967" fmla="*/ 1471542 h 5282095"/>
              <a:gd name="connsiteX25968" fmla="*/ 1110902 w 7714416"/>
              <a:gd name="connsiteY25968" fmla="*/ 1488864 h 5282095"/>
              <a:gd name="connsiteX25969" fmla="*/ 1116159 w 7714416"/>
              <a:gd name="connsiteY25969" fmla="*/ 1490272 h 5282095"/>
              <a:gd name="connsiteX25970" fmla="*/ 1119796 w 7714416"/>
              <a:gd name="connsiteY25970" fmla="*/ 1489982 h 5282095"/>
              <a:gd name="connsiteX25971" fmla="*/ 1128977 w 7714416"/>
              <a:gd name="connsiteY25971" fmla="*/ 1490027 h 5282095"/>
              <a:gd name="connsiteX25972" fmla="*/ 1126585 w 7714416"/>
              <a:gd name="connsiteY25972" fmla="*/ 1487890 h 5282095"/>
              <a:gd name="connsiteX25973" fmla="*/ 1125696 w 7714416"/>
              <a:gd name="connsiteY25973" fmla="*/ 1487882 h 5282095"/>
              <a:gd name="connsiteX25974" fmla="*/ 1126042 w 7714416"/>
              <a:gd name="connsiteY25974" fmla="*/ 1486595 h 5282095"/>
              <a:gd name="connsiteX25975" fmla="*/ 1126764 w 7714416"/>
              <a:gd name="connsiteY25975" fmla="*/ 1480579 h 5282095"/>
              <a:gd name="connsiteX25976" fmla="*/ 1132834 w 7714416"/>
              <a:gd name="connsiteY25976" fmla="*/ 1481170 h 5282095"/>
              <a:gd name="connsiteX25977" fmla="*/ 1133057 w 7714416"/>
              <a:gd name="connsiteY25977" fmla="*/ 1478125 h 5282095"/>
              <a:gd name="connsiteX25978" fmla="*/ 1128608 w 7714416"/>
              <a:gd name="connsiteY25978" fmla="*/ 1470377 h 5282095"/>
              <a:gd name="connsiteX25979" fmla="*/ 1176687 w 7714416"/>
              <a:gd name="connsiteY25979" fmla="*/ 1475785 h 5282095"/>
              <a:gd name="connsiteX25980" fmla="*/ 1176963 w 7714416"/>
              <a:gd name="connsiteY25980" fmla="*/ 1475859 h 5282095"/>
              <a:gd name="connsiteX25981" fmla="*/ 1175543 w 7714416"/>
              <a:gd name="connsiteY25981" fmla="*/ 1473408 h 5282095"/>
              <a:gd name="connsiteX25982" fmla="*/ 1178501 w 7714416"/>
              <a:gd name="connsiteY25982" fmla="*/ 1465691 h 5282095"/>
              <a:gd name="connsiteX25983" fmla="*/ 1196997 w 7714416"/>
              <a:gd name="connsiteY25983" fmla="*/ 1466392 h 5282095"/>
              <a:gd name="connsiteX25984" fmla="*/ 1205047 w 7714416"/>
              <a:gd name="connsiteY25984" fmla="*/ 1471769 h 5282095"/>
              <a:gd name="connsiteX25985" fmla="*/ 1206053 w 7714416"/>
              <a:gd name="connsiteY25985" fmla="*/ 1476869 h 5282095"/>
              <a:gd name="connsiteX25986" fmla="*/ 1216169 w 7714416"/>
              <a:gd name="connsiteY25986" fmla="*/ 1477855 h 5282095"/>
              <a:gd name="connsiteX25987" fmla="*/ 1221563 w 7714416"/>
              <a:gd name="connsiteY25987" fmla="*/ 1485395 h 5282095"/>
              <a:gd name="connsiteX25988" fmla="*/ 1208701 w 7714416"/>
              <a:gd name="connsiteY25988" fmla="*/ 1499083 h 5282095"/>
              <a:gd name="connsiteX25989" fmla="*/ 1187909 w 7714416"/>
              <a:gd name="connsiteY25989" fmla="*/ 1494777 h 5282095"/>
              <a:gd name="connsiteX25990" fmla="*/ 1186356 w 7714416"/>
              <a:gd name="connsiteY25990" fmla="*/ 1500572 h 5282095"/>
              <a:gd name="connsiteX25991" fmla="*/ 1255102 w 7714416"/>
              <a:gd name="connsiteY25991" fmla="*/ 1503006 h 5282095"/>
              <a:gd name="connsiteX25992" fmla="*/ 1266248 w 7714416"/>
              <a:gd name="connsiteY25992" fmla="*/ 1503463 h 5282095"/>
              <a:gd name="connsiteX25993" fmla="*/ 1276389 w 7714416"/>
              <a:gd name="connsiteY25993" fmla="*/ 1498820 h 5282095"/>
              <a:gd name="connsiteX25994" fmla="*/ 1275153 w 7714416"/>
              <a:gd name="connsiteY25994" fmla="*/ 1503433 h 5282095"/>
              <a:gd name="connsiteX25995" fmla="*/ 1293229 w 7714416"/>
              <a:gd name="connsiteY25995" fmla="*/ 1504597 h 5282095"/>
              <a:gd name="connsiteX25996" fmla="*/ 1293545 w 7714416"/>
              <a:gd name="connsiteY25996" fmla="*/ 1503417 h 5282095"/>
              <a:gd name="connsiteX25997" fmla="*/ 1304990 w 7714416"/>
              <a:gd name="connsiteY25997" fmla="*/ 1501654 h 5282095"/>
              <a:gd name="connsiteX25998" fmla="*/ 1296866 w 7714416"/>
              <a:gd name="connsiteY25998" fmla="*/ 1504307 h 5282095"/>
              <a:gd name="connsiteX25999" fmla="*/ 1328787 w 7714416"/>
              <a:gd name="connsiteY25999" fmla="*/ 1508030 h 5282095"/>
              <a:gd name="connsiteX26000" fmla="*/ 1351736 w 7714416"/>
              <a:gd name="connsiteY26000" fmla="*/ 1504289 h 5282095"/>
              <a:gd name="connsiteX26001" fmla="*/ 1365294 w 7714416"/>
              <a:gd name="connsiteY26001" fmla="*/ 1507922 h 5282095"/>
              <a:gd name="connsiteX26002" fmla="*/ 1366185 w 7714416"/>
              <a:gd name="connsiteY26002" fmla="*/ 1504595 h 5282095"/>
              <a:gd name="connsiteX26003" fmla="*/ 1343518 w 7714416"/>
              <a:gd name="connsiteY26003" fmla="*/ 1487366 h 5282095"/>
              <a:gd name="connsiteX26004" fmla="*/ 1378020 w 7714416"/>
              <a:gd name="connsiteY26004" fmla="*/ 1488101 h 5282095"/>
              <a:gd name="connsiteX26005" fmla="*/ 1411421 w 7714416"/>
              <a:gd name="connsiteY26005" fmla="*/ 1499581 h 5282095"/>
              <a:gd name="connsiteX26006" fmla="*/ 1410818 w 7714416"/>
              <a:gd name="connsiteY26006" fmla="*/ 1501835 h 5282095"/>
              <a:gd name="connsiteX26007" fmla="*/ 1415788 w 7714416"/>
              <a:gd name="connsiteY26007" fmla="*/ 1504316 h 5282095"/>
              <a:gd name="connsiteX26008" fmla="*/ 1404421 w 7714416"/>
              <a:gd name="connsiteY26008" fmla="*/ 1512426 h 5282095"/>
              <a:gd name="connsiteX26009" fmla="*/ 1405793 w 7714416"/>
              <a:gd name="connsiteY26009" fmla="*/ 1513944 h 5282095"/>
              <a:gd name="connsiteX26010" fmla="*/ 1432131 w 7714416"/>
              <a:gd name="connsiteY26010" fmla="*/ 1518586 h 5282095"/>
              <a:gd name="connsiteX26011" fmla="*/ 1432448 w 7714416"/>
              <a:gd name="connsiteY26011" fmla="*/ 1517406 h 5282095"/>
              <a:gd name="connsiteX26012" fmla="*/ 1437428 w 7714416"/>
              <a:gd name="connsiteY26012" fmla="*/ 1518740 h 5282095"/>
              <a:gd name="connsiteX26013" fmla="*/ 1452183 w 7714416"/>
              <a:gd name="connsiteY26013" fmla="*/ 1519014 h 5282095"/>
              <a:gd name="connsiteX26014" fmla="*/ 1483817 w 7714416"/>
              <a:gd name="connsiteY26014" fmla="*/ 1523810 h 5282095"/>
              <a:gd name="connsiteX26015" fmla="*/ 1513801 w 7714416"/>
              <a:gd name="connsiteY26015" fmla="*/ 1527014 h 5282095"/>
              <a:gd name="connsiteX26016" fmla="*/ 1522271 w 7714416"/>
              <a:gd name="connsiteY26016" fmla="*/ 1523074 h 5282095"/>
              <a:gd name="connsiteX26017" fmla="*/ 1520612 w 7714416"/>
              <a:gd name="connsiteY26017" fmla="*/ 1522629 h 5282095"/>
              <a:gd name="connsiteX26018" fmla="*/ 1510797 w 7714416"/>
              <a:gd name="connsiteY26018" fmla="*/ 1524944 h 5282095"/>
              <a:gd name="connsiteX26019" fmla="*/ 1507161 w 7714416"/>
              <a:gd name="connsiteY26019" fmla="*/ 1525234 h 5282095"/>
              <a:gd name="connsiteX26020" fmla="*/ 1484134 w 7714416"/>
              <a:gd name="connsiteY26020" fmla="*/ 1522630 h 5282095"/>
              <a:gd name="connsiteX26021" fmla="*/ 1483720 w 7714416"/>
              <a:gd name="connsiteY26021" fmla="*/ 1516423 h 5282095"/>
              <a:gd name="connsiteX26022" fmla="*/ 1470477 w 7714416"/>
              <a:gd name="connsiteY26022" fmla="*/ 1511611 h 5282095"/>
              <a:gd name="connsiteX26023" fmla="*/ 1459607 w 7714416"/>
              <a:gd name="connsiteY26023" fmla="*/ 1511228 h 5282095"/>
              <a:gd name="connsiteX26024" fmla="*/ 1440927 w 7714416"/>
              <a:gd name="connsiteY26024" fmla="*/ 1512318 h 5282095"/>
              <a:gd name="connsiteX26025" fmla="*/ 1426629 w 7714416"/>
              <a:gd name="connsiteY26025" fmla="*/ 1504806 h 5282095"/>
              <a:gd name="connsiteX26026" fmla="*/ 1418655 w 7714416"/>
              <a:gd name="connsiteY26026" fmla="*/ 1500255 h 5282095"/>
              <a:gd name="connsiteX26027" fmla="*/ 1460843 w 7714416"/>
              <a:gd name="connsiteY26027" fmla="*/ 1506614 h 5282095"/>
              <a:gd name="connsiteX26028" fmla="*/ 1466578 w 7714416"/>
              <a:gd name="connsiteY26028" fmla="*/ 1507345 h 5282095"/>
              <a:gd name="connsiteX26029" fmla="*/ 1469738 w 7714416"/>
              <a:gd name="connsiteY26029" fmla="*/ 1507732 h 5282095"/>
              <a:gd name="connsiteX26030" fmla="*/ 1478632 w 7714416"/>
              <a:gd name="connsiteY26030" fmla="*/ 1508850 h 5282095"/>
              <a:gd name="connsiteX26031" fmla="*/ 1477126 w 7714416"/>
              <a:gd name="connsiteY26031" fmla="*/ 1506722 h 5282095"/>
              <a:gd name="connsiteX26032" fmla="*/ 1473518 w 7714416"/>
              <a:gd name="connsiteY26032" fmla="*/ 1506904 h 5282095"/>
              <a:gd name="connsiteX26033" fmla="*/ 1466578 w 7714416"/>
              <a:gd name="connsiteY26033" fmla="*/ 1507345 h 5282095"/>
              <a:gd name="connsiteX26034" fmla="*/ 1465339 w 7714416"/>
              <a:gd name="connsiteY26034" fmla="*/ 1506439 h 5282095"/>
              <a:gd name="connsiteX26035" fmla="*/ 1466946 w 7714416"/>
              <a:gd name="connsiteY26035" fmla="*/ 1503764 h 5282095"/>
              <a:gd name="connsiteX26036" fmla="*/ 1473999 w 7714416"/>
              <a:gd name="connsiteY26036" fmla="*/ 1502894 h 5282095"/>
              <a:gd name="connsiteX26037" fmla="*/ 1490577 w 7714416"/>
              <a:gd name="connsiteY26037" fmla="*/ 1504116 h 5282095"/>
              <a:gd name="connsiteX26038" fmla="*/ 1494271 w 7714416"/>
              <a:gd name="connsiteY26038" fmla="*/ 1503610 h 5282095"/>
              <a:gd name="connsiteX26039" fmla="*/ 1491453 w 7714416"/>
              <a:gd name="connsiteY26039" fmla="*/ 1505271 h 5282095"/>
              <a:gd name="connsiteX26040" fmla="*/ 1490537 w 7714416"/>
              <a:gd name="connsiteY26040" fmla="*/ 1505370 h 5282095"/>
              <a:gd name="connsiteX26041" fmla="*/ 1493391 w 7714416"/>
              <a:gd name="connsiteY26041" fmla="*/ 1505790 h 5282095"/>
              <a:gd name="connsiteX26042" fmla="*/ 1510445 w 7714416"/>
              <a:gd name="connsiteY26042" fmla="*/ 1506334 h 5282095"/>
              <a:gd name="connsiteX26043" fmla="*/ 1542542 w 7714416"/>
              <a:gd name="connsiteY26043" fmla="*/ 1514935 h 5282095"/>
              <a:gd name="connsiteX26044" fmla="*/ 1562394 w 7714416"/>
              <a:gd name="connsiteY26044" fmla="*/ 1516114 h 5282095"/>
              <a:gd name="connsiteX26045" fmla="*/ 1576143 w 7714416"/>
              <a:gd name="connsiteY26045" fmla="*/ 1520143 h 5282095"/>
              <a:gd name="connsiteX26046" fmla="*/ 1578674 w 7714416"/>
              <a:gd name="connsiteY26046" fmla="*/ 1519556 h 5282095"/>
              <a:gd name="connsiteX26047" fmla="*/ 1585515 w 7714416"/>
              <a:gd name="connsiteY26047" fmla="*/ 1520583 h 5282095"/>
              <a:gd name="connsiteX26048" fmla="*/ 1589205 w 7714416"/>
              <a:gd name="connsiteY26048" fmla="*/ 1523413 h 5282095"/>
              <a:gd name="connsiteX26049" fmla="*/ 1593442 w 7714416"/>
              <a:gd name="connsiteY26049" fmla="*/ 1524203 h 5282095"/>
              <a:gd name="connsiteX26050" fmla="*/ 1610889 w 7714416"/>
              <a:gd name="connsiteY26050" fmla="*/ 1533248 h 5282095"/>
              <a:gd name="connsiteX26051" fmla="*/ 1594609 w 7714416"/>
              <a:gd name="connsiteY26051" fmla="*/ 1533358 h 5282095"/>
              <a:gd name="connsiteX26052" fmla="*/ 1595685 w 7714416"/>
              <a:gd name="connsiteY26052" fmla="*/ 1533446 h 5282095"/>
              <a:gd name="connsiteX26053" fmla="*/ 1618723 w 7714416"/>
              <a:gd name="connsiteY26053" fmla="*/ 1540165 h 5282095"/>
              <a:gd name="connsiteX26054" fmla="*/ 1618518 w 7714416"/>
              <a:gd name="connsiteY26054" fmla="*/ 1539088 h 5282095"/>
              <a:gd name="connsiteX26055" fmla="*/ 1644132 w 7714416"/>
              <a:gd name="connsiteY26055" fmla="*/ 1540891 h 5282095"/>
              <a:gd name="connsiteX26056" fmla="*/ 1653235 w 7714416"/>
              <a:gd name="connsiteY26056" fmla="*/ 1543445 h 5282095"/>
              <a:gd name="connsiteX26057" fmla="*/ 1642178 w 7714416"/>
              <a:gd name="connsiteY26057" fmla="*/ 1530477 h 5282095"/>
              <a:gd name="connsiteX26058" fmla="*/ 1672062 w 7714416"/>
              <a:gd name="connsiteY26058" fmla="*/ 1520774 h 5282095"/>
              <a:gd name="connsiteX26059" fmla="*/ 1718699 w 7714416"/>
              <a:gd name="connsiteY26059" fmla="*/ 1543736 h 5282095"/>
              <a:gd name="connsiteX26060" fmla="*/ 1716920 w 7714416"/>
              <a:gd name="connsiteY26060" fmla="*/ 1547054 h 5282095"/>
              <a:gd name="connsiteX26061" fmla="*/ 1701195 w 7714416"/>
              <a:gd name="connsiteY26061" fmla="*/ 1552615 h 5282095"/>
              <a:gd name="connsiteX26062" fmla="*/ 1707537 w 7714416"/>
              <a:gd name="connsiteY26062" fmla="*/ 1556615 h 5282095"/>
              <a:gd name="connsiteX26063" fmla="*/ 1709470 w 7714416"/>
              <a:gd name="connsiteY26063" fmla="*/ 1560468 h 5282095"/>
              <a:gd name="connsiteX26064" fmla="*/ 1710779 w 7714416"/>
              <a:gd name="connsiteY26064" fmla="*/ 1560013 h 5282095"/>
              <a:gd name="connsiteX26065" fmla="*/ 1710427 w 7714416"/>
              <a:gd name="connsiteY26065" fmla="*/ 1559114 h 5282095"/>
              <a:gd name="connsiteX26066" fmla="*/ 1727892 w 7714416"/>
              <a:gd name="connsiteY26066" fmla="*/ 1560343 h 5282095"/>
              <a:gd name="connsiteX26067" fmla="*/ 1730781 w 7714416"/>
              <a:gd name="connsiteY26067" fmla="*/ 1562843 h 5282095"/>
              <a:gd name="connsiteX26068" fmla="*/ 1731362 w 7714416"/>
              <a:gd name="connsiteY26068" fmla="*/ 1562884 h 5282095"/>
              <a:gd name="connsiteX26069" fmla="*/ 1734259 w 7714416"/>
              <a:gd name="connsiteY26069" fmla="*/ 1567570 h 5282095"/>
              <a:gd name="connsiteX26070" fmla="*/ 1733448 w 7714416"/>
              <a:gd name="connsiteY26070" fmla="*/ 1568388 h 5282095"/>
              <a:gd name="connsiteX26071" fmla="*/ 1735164 w 7714416"/>
              <a:gd name="connsiteY26071" fmla="*/ 1568617 h 5282095"/>
              <a:gd name="connsiteX26072" fmla="*/ 1733518 w 7714416"/>
              <a:gd name="connsiteY26072" fmla="*/ 1554837 h 5282095"/>
              <a:gd name="connsiteX26073" fmla="*/ 1736796 w 7714416"/>
              <a:gd name="connsiteY26073" fmla="*/ 1551460 h 5282095"/>
              <a:gd name="connsiteX26074" fmla="*/ 1735804 w 7714416"/>
              <a:gd name="connsiteY26074" fmla="*/ 1550733 h 5282095"/>
              <a:gd name="connsiteX26075" fmla="*/ 1743951 w 7714416"/>
              <a:gd name="connsiteY26075" fmla="*/ 1545786 h 5282095"/>
              <a:gd name="connsiteX26076" fmla="*/ 1747516 w 7714416"/>
              <a:gd name="connsiteY26076" fmla="*/ 1550192 h 5282095"/>
              <a:gd name="connsiteX26077" fmla="*/ 1750980 w 7714416"/>
              <a:gd name="connsiteY26077" fmla="*/ 1550545 h 5282095"/>
              <a:gd name="connsiteX26078" fmla="*/ 1754491 w 7714416"/>
              <a:gd name="connsiteY26078" fmla="*/ 1542976 h 5282095"/>
              <a:gd name="connsiteX26079" fmla="*/ 1760406 w 7714416"/>
              <a:gd name="connsiteY26079" fmla="*/ 1536395 h 5282095"/>
              <a:gd name="connsiteX26080" fmla="*/ 1757786 w 7714416"/>
              <a:gd name="connsiteY26080" fmla="*/ 1567204 h 5282095"/>
              <a:gd name="connsiteX26081" fmla="*/ 1750952 w 7714416"/>
              <a:gd name="connsiteY26081" fmla="*/ 1559508 h 5282095"/>
              <a:gd name="connsiteX26082" fmla="*/ 1750962 w 7714416"/>
              <a:gd name="connsiteY26082" fmla="*/ 1558360 h 5282095"/>
              <a:gd name="connsiteX26083" fmla="*/ 1750253 w 7714416"/>
              <a:gd name="connsiteY26083" fmla="*/ 1559895 h 5282095"/>
              <a:gd name="connsiteX26084" fmla="*/ 1748342 w 7714416"/>
              <a:gd name="connsiteY26084" fmla="*/ 1571459 h 5282095"/>
              <a:gd name="connsiteX26085" fmla="*/ 1777956 w 7714416"/>
              <a:gd name="connsiteY26085" fmla="*/ 1581578 h 5282095"/>
              <a:gd name="connsiteX26086" fmla="*/ 1791379 w 7714416"/>
              <a:gd name="connsiteY26086" fmla="*/ 1587935 h 5282095"/>
              <a:gd name="connsiteX26087" fmla="*/ 1794793 w 7714416"/>
              <a:gd name="connsiteY26087" fmla="*/ 1590690 h 5282095"/>
              <a:gd name="connsiteX26088" fmla="*/ 1796858 w 7714416"/>
              <a:gd name="connsiteY26088" fmla="*/ 1586299 h 5282095"/>
              <a:gd name="connsiteX26089" fmla="*/ 1800988 w 7714416"/>
              <a:gd name="connsiteY26089" fmla="*/ 1580850 h 5282095"/>
              <a:gd name="connsiteX26090" fmla="*/ 1825996 w 7714416"/>
              <a:gd name="connsiteY26090" fmla="*/ 1579386 h 5282095"/>
              <a:gd name="connsiteX26091" fmla="*/ 1826520 w 7714416"/>
              <a:gd name="connsiteY26091" fmla="*/ 1579642 h 5282095"/>
              <a:gd name="connsiteX26092" fmla="*/ 1832511 w 7714416"/>
              <a:gd name="connsiteY26092" fmla="*/ 1581247 h 5282095"/>
              <a:gd name="connsiteX26093" fmla="*/ 1833534 w 7714416"/>
              <a:gd name="connsiteY26093" fmla="*/ 1576550 h 5282095"/>
              <a:gd name="connsiteX26094" fmla="*/ 1828345 w 7714416"/>
              <a:gd name="connsiteY26094" fmla="*/ 1577256 h 5282095"/>
              <a:gd name="connsiteX26095" fmla="*/ 1831292 w 7714416"/>
              <a:gd name="connsiteY26095" fmla="*/ 1565711 h 5282095"/>
              <a:gd name="connsiteX26096" fmla="*/ 1836723 w 7714416"/>
              <a:gd name="connsiteY26096" fmla="*/ 1561904 h 5282095"/>
              <a:gd name="connsiteX26097" fmla="*/ 1842917 w 7714416"/>
              <a:gd name="connsiteY26097" fmla="*/ 1533446 h 5282095"/>
              <a:gd name="connsiteX26098" fmla="*/ 1855584 w 7714416"/>
              <a:gd name="connsiteY26098" fmla="*/ 1491606 h 5282095"/>
              <a:gd name="connsiteX26099" fmla="*/ 1855288 w 7714416"/>
              <a:gd name="connsiteY26099" fmla="*/ 1479608 h 5282095"/>
              <a:gd name="connsiteX26100" fmla="*/ 1859914 w 7714416"/>
              <a:gd name="connsiteY26100" fmla="*/ 1477306 h 5282095"/>
              <a:gd name="connsiteX26101" fmla="*/ 1864166 w 7714416"/>
              <a:gd name="connsiteY26101" fmla="*/ 1463261 h 5282095"/>
              <a:gd name="connsiteX26102" fmla="*/ 1875755 w 7714416"/>
              <a:gd name="connsiteY26102" fmla="*/ 1439603 h 5282095"/>
              <a:gd name="connsiteX26103" fmla="*/ 1885412 w 7714416"/>
              <a:gd name="connsiteY26103" fmla="*/ 1416733 h 5282095"/>
              <a:gd name="connsiteX26104" fmla="*/ 1902795 w 7714416"/>
              <a:gd name="connsiteY26104" fmla="*/ 1394653 h 5282095"/>
              <a:gd name="connsiteX26105" fmla="*/ 1924042 w 7714416"/>
              <a:gd name="connsiteY26105" fmla="*/ 1371783 h 5282095"/>
              <a:gd name="connsiteX26106" fmla="*/ 1925873 w 7714416"/>
              <a:gd name="connsiteY26106" fmla="*/ 1370449 h 5282095"/>
              <a:gd name="connsiteX26107" fmla="*/ 1919939 w 7714416"/>
              <a:gd name="connsiteY26107" fmla="*/ 1371564 h 5282095"/>
              <a:gd name="connsiteX26108" fmla="*/ 1914824 w 7714416"/>
              <a:gd name="connsiteY26108" fmla="*/ 1378474 h 5282095"/>
              <a:gd name="connsiteX26109" fmla="*/ 1859750 w 7714416"/>
              <a:gd name="connsiteY26109" fmla="*/ 1391432 h 5282095"/>
              <a:gd name="connsiteX26110" fmla="*/ 1850384 w 7714416"/>
              <a:gd name="connsiteY26110" fmla="*/ 1357758 h 5282095"/>
              <a:gd name="connsiteX26111" fmla="*/ 1850361 w 7714416"/>
              <a:gd name="connsiteY26111" fmla="*/ 1354530 h 5282095"/>
              <a:gd name="connsiteX26112" fmla="*/ 1843597 w 7714416"/>
              <a:gd name="connsiteY26112" fmla="*/ 1350993 h 5282095"/>
              <a:gd name="connsiteX26113" fmla="*/ 1842294 w 7714416"/>
              <a:gd name="connsiteY26113" fmla="*/ 1348114 h 5282095"/>
              <a:gd name="connsiteX26114" fmla="*/ 1846655 w 7714416"/>
              <a:gd name="connsiteY26114" fmla="*/ 1347328 h 5282095"/>
              <a:gd name="connsiteX26115" fmla="*/ 1851482 w 7714416"/>
              <a:gd name="connsiteY26115" fmla="*/ 1350347 h 5282095"/>
              <a:gd name="connsiteX26116" fmla="*/ 1852898 w 7714416"/>
              <a:gd name="connsiteY26116" fmla="*/ 1347276 h 5282095"/>
              <a:gd name="connsiteX26117" fmla="*/ 1915746 w 7714416"/>
              <a:gd name="connsiteY26117" fmla="*/ 1348476 h 5282095"/>
              <a:gd name="connsiteX26118" fmla="*/ 1922292 w 7714416"/>
              <a:gd name="connsiteY26118" fmla="*/ 1357245 h 5282095"/>
              <a:gd name="connsiteX26119" fmla="*/ 1925549 w 7714416"/>
              <a:gd name="connsiteY26119" fmla="*/ 1356162 h 5282095"/>
              <a:gd name="connsiteX26120" fmla="*/ 1934109 w 7714416"/>
              <a:gd name="connsiteY26120" fmla="*/ 1357420 h 5282095"/>
              <a:gd name="connsiteX26121" fmla="*/ 1933760 w 7714416"/>
              <a:gd name="connsiteY26121" fmla="*/ 1364699 h 5282095"/>
              <a:gd name="connsiteX26122" fmla="*/ 1937566 w 7714416"/>
              <a:gd name="connsiteY26122" fmla="*/ 1361924 h 5282095"/>
              <a:gd name="connsiteX26123" fmla="*/ 1937367 w 7714416"/>
              <a:gd name="connsiteY26123" fmla="*/ 1361859 h 5282095"/>
              <a:gd name="connsiteX26124" fmla="*/ 1939632 w 7714416"/>
              <a:gd name="connsiteY26124" fmla="*/ 1360051 h 5282095"/>
              <a:gd name="connsiteX26125" fmla="*/ 1939780 w 7714416"/>
              <a:gd name="connsiteY26125" fmla="*/ 1360310 h 5282095"/>
              <a:gd name="connsiteX26126" fmla="*/ 1951083 w 7714416"/>
              <a:gd name="connsiteY26126" fmla="*/ 1352068 h 5282095"/>
              <a:gd name="connsiteX26127" fmla="*/ 1968467 w 7714416"/>
              <a:gd name="connsiteY26127" fmla="*/ 1342605 h 5282095"/>
              <a:gd name="connsiteX26128" fmla="*/ 1980873 w 7714416"/>
              <a:gd name="connsiteY26128" fmla="*/ 1337080 h 5282095"/>
              <a:gd name="connsiteX26129" fmla="*/ 1967600 w 7714416"/>
              <a:gd name="connsiteY26129" fmla="*/ 1329824 h 5282095"/>
              <a:gd name="connsiteX26130" fmla="*/ 1973397 w 7714416"/>
              <a:gd name="connsiteY26130" fmla="*/ 1318152 h 5282095"/>
              <a:gd name="connsiteX26131" fmla="*/ 1993776 w 7714416"/>
              <a:gd name="connsiteY26131" fmla="*/ 1331483 h 5282095"/>
              <a:gd name="connsiteX26132" fmla="*/ 2012891 w 7714416"/>
              <a:gd name="connsiteY26132" fmla="*/ 1323678 h 5282095"/>
              <a:gd name="connsiteX26133" fmla="*/ 2026287 w 7714416"/>
              <a:gd name="connsiteY26133" fmla="*/ 1319381 h 5282095"/>
              <a:gd name="connsiteX26134" fmla="*/ 2026176 w 7714416"/>
              <a:gd name="connsiteY26134" fmla="*/ 1319299 h 5282095"/>
              <a:gd name="connsiteX26135" fmla="*/ 2022510 w 7714416"/>
              <a:gd name="connsiteY26135" fmla="*/ 1319697 h 5282095"/>
              <a:gd name="connsiteX26136" fmla="*/ 2017236 w 7714416"/>
              <a:gd name="connsiteY26136" fmla="*/ 1317249 h 5282095"/>
              <a:gd name="connsiteX26137" fmla="*/ 2022446 w 7714416"/>
              <a:gd name="connsiteY26137" fmla="*/ 1308870 h 5282095"/>
              <a:gd name="connsiteX26138" fmla="*/ 2027725 w 7714416"/>
              <a:gd name="connsiteY26138" fmla="*/ 1307985 h 5282095"/>
              <a:gd name="connsiteX26139" fmla="*/ 2033378 w 7714416"/>
              <a:gd name="connsiteY26139" fmla="*/ 1305704 h 5282095"/>
              <a:gd name="connsiteX26140" fmla="*/ 2033140 w 7714416"/>
              <a:gd name="connsiteY26140" fmla="*/ 1304375 h 5282095"/>
              <a:gd name="connsiteX26141" fmla="*/ 2028062 w 7714416"/>
              <a:gd name="connsiteY26141" fmla="*/ 1304510 h 5282095"/>
              <a:gd name="connsiteX26142" fmla="*/ 1994431 w 7714416"/>
              <a:gd name="connsiteY26142" fmla="*/ 1302743 h 5282095"/>
              <a:gd name="connsiteX26143" fmla="*/ 1960361 w 7714416"/>
              <a:gd name="connsiteY26143" fmla="*/ 1282689 h 5282095"/>
              <a:gd name="connsiteX26144" fmla="*/ 1940492 w 7714416"/>
              <a:gd name="connsiteY26144" fmla="*/ 1245049 h 5282095"/>
              <a:gd name="connsiteX26145" fmla="*/ 1961529 w 7714416"/>
              <a:gd name="connsiteY26145" fmla="*/ 1208596 h 5282095"/>
              <a:gd name="connsiteX26146" fmla="*/ 1977985 w 7714416"/>
              <a:gd name="connsiteY26146" fmla="*/ 1208060 h 5282095"/>
              <a:gd name="connsiteX26147" fmla="*/ 1985153 w 7714416"/>
              <a:gd name="connsiteY26147" fmla="*/ 1206761 h 5282095"/>
              <a:gd name="connsiteX26148" fmla="*/ 1993006 w 7714416"/>
              <a:gd name="connsiteY26148" fmla="*/ 1191844 h 5282095"/>
              <a:gd name="connsiteX26149" fmla="*/ 2005622 w 7714416"/>
              <a:gd name="connsiteY26149" fmla="*/ 1183495 h 5282095"/>
              <a:gd name="connsiteX26150" fmla="*/ 2013633 w 7714416"/>
              <a:gd name="connsiteY26150" fmla="*/ 1181272 h 5282095"/>
              <a:gd name="connsiteX26151" fmla="*/ 2006453 w 7714416"/>
              <a:gd name="connsiteY26151" fmla="*/ 1174862 h 5282095"/>
              <a:gd name="connsiteX26152" fmla="*/ 1990408 w 7714416"/>
              <a:gd name="connsiteY26152" fmla="*/ 1149518 h 5282095"/>
              <a:gd name="connsiteX26153" fmla="*/ 2017598 w 7714416"/>
              <a:gd name="connsiteY26153" fmla="*/ 1178654 h 5282095"/>
              <a:gd name="connsiteX26154" fmla="*/ 2015858 w 7714416"/>
              <a:gd name="connsiteY26154" fmla="*/ 1180718 h 5282095"/>
              <a:gd name="connsiteX26155" fmla="*/ 2020059 w 7714416"/>
              <a:gd name="connsiteY26155" fmla="*/ 1179428 h 5282095"/>
              <a:gd name="connsiteX26156" fmla="*/ 2053623 w 7714416"/>
              <a:gd name="connsiteY26156" fmla="*/ 1173702 h 5282095"/>
              <a:gd name="connsiteX26157" fmla="*/ 2057370 w 7714416"/>
              <a:gd name="connsiteY26157" fmla="*/ 1176316 h 5282095"/>
              <a:gd name="connsiteX26158" fmla="*/ 2056218 w 7714416"/>
              <a:gd name="connsiteY26158" fmla="*/ 1175087 h 5282095"/>
              <a:gd name="connsiteX26159" fmla="*/ 2052652 w 7714416"/>
              <a:gd name="connsiteY26159" fmla="*/ 1170682 h 5282095"/>
              <a:gd name="connsiteX26160" fmla="*/ 2063084 w 7714416"/>
              <a:gd name="connsiteY26160" fmla="*/ 1179342 h 5282095"/>
              <a:gd name="connsiteX26161" fmla="*/ 2064457 w 7714416"/>
              <a:gd name="connsiteY26161" fmla="*/ 1180860 h 5282095"/>
              <a:gd name="connsiteX26162" fmla="*/ 2073196 w 7714416"/>
              <a:gd name="connsiteY26162" fmla="*/ 1183661 h 5282095"/>
              <a:gd name="connsiteX26163" fmla="*/ 2091072 w 7714416"/>
              <a:gd name="connsiteY26163" fmla="*/ 1185576 h 5282095"/>
              <a:gd name="connsiteX26164" fmla="*/ 2118590 w 7714416"/>
              <a:gd name="connsiteY26164" fmla="*/ 1217905 h 5282095"/>
              <a:gd name="connsiteX26165" fmla="*/ 2112325 w 7714416"/>
              <a:gd name="connsiteY26165" fmla="*/ 1237962 h 5282095"/>
              <a:gd name="connsiteX26166" fmla="*/ 2109013 w 7714416"/>
              <a:gd name="connsiteY26166" fmla="*/ 1248113 h 5282095"/>
              <a:gd name="connsiteX26167" fmla="*/ 2132058 w 7714416"/>
              <a:gd name="connsiteY26167" fmla="*/ 1251759 h 5282095"/>
              <a:gd name="connsiteX26168" fmla="*/ 2133413 w 7714416"/>
              <a:gd name="connsiteY26168" fmla="*/ 1252237 h 5282095"/>
              <a:gd name="connsiteX26169" fmla="*/ 2135350 w 7714416"/>
              <a:gd name="connsiteY26169" fmla="*/ 1243900 h 5282095"/>
              <a:gd name="connsiteX26170" fmla="*/ 2144624 w 7714416"/>
              <a:gd name="connsiteY26170" fmla="*/ 1236955 h 5282095"/>
              <a:gd name="connsiteX26171" fmla="*/ 2158399 w 7714416"/>
              <a:gd name="connsiteY26171" fmla="*/ 1235357 h 5282095"/>
              <a:gd name="connsiteX26172" fmla="*/ 2168932 w 7714416"/>
              <a:gd name="connsiteY26172" fmla="*/ 1221504 h 5282095"/>
              <a:gd name="connsiteX26173" fmla="*/ 2202208 w 7714416"/>
              <a:gd name="connsiteY26173" fmla="*/ 1216850 h 5282095"/>
              <a:gd name="connsiteX26174" fmla="*/ 2216881 w 7714416"/>
              <a:gd name="connsiteY26174" fmla="*/ 1205256 h 5282095"/>
              <a:gd name="connsiteX26175" fmla="*/ 2207110 w 7714416"/>
              <a:gd name="connsiteY26175" fmla="*/ 1202983 h 5282095"/>
              <a:gd name="connsiteX26176" fmla="*/ 2203685 w 7714416"/>
              <a:gd name="connsiteY26176" fmla="*/ 1201376 h 5282095"/>
              <a:gd name="connsiteX26177" fmla="*/ 2199664 w 7714416"/>
              <a:gd name="connsiteY26177" fmla="*/ 1204209 h 5282095"/>
              <a:gd name="connsiteX26178" fmla="*/ 2195693 w 7714416"/>
              <a:gd name="connsiteY26178" fmla="*/ 1204640 h 5282095"/>
              <a:gd name="connsiteX26179" fmla="*/ 2192736 w 7714416"/>
              <a:gd name="connsiteY26179" fmla="*/ 1203501 h 5282095"/>
              <a:gd name="connsiteX26180" fmla="*/ 2191986 w 7714416"/>
              <a:gd name="connsiteY26180" fmla="*/ 1200770 h 5282095"/>
              <a:gd name="connsiteX26181" fmla="*/ 2193745 w 7714416"/>
              <a:gd name="connsiteY26181" fmla="*/ 1196412 h 5282095"/>
              <a:gd name="connsiteX26182" fmla="*/ 2197641 w 7714416"/>
              <a:gd name="connsiteY26182" fmla="*/ 1195156 h 5282095"/>
              <a:gd name="connsiteX26183" fmla="*/ 2206845 w 7714416"/>
              <a:gd name="connsiteY26183" fmla="*/ 1184051 h 5282095"/>
              <a:gd name="connsiteX26184" fmla="*/ 2212495 w 7714416"/>
              <a:gd name="connsiteY26184" fmla="*/ 1176250 h 5282095"/>
              <a:gd name="connsiteX26185" fmla="*/ 2208117 w 7714416"/>
              <a:gd name="connsiteY26185" fmla="*/ 1172662 h 5282095"/>
              <a:gd name="connsiteX26186" fmla="*/ 2216641 w 7714416"/>
              <a:gd name="connsiteY26186" fmla="*/ 1162986 h 5282095"/>
              <a:gd name="connsiteX26187" fmla="*/ 2221316 w 7714416"/>
              <a:gd name="connsiteY26187" fmla="*/ 1164355 h 5282095"/>
              <a:gd name="connsiteX26188" fmla="*/ 2225503 w 7714416"/>
              <a:gd name="connsiteY26188" fmla="*/ 1167546 h 5282095"/>
              <a:gd name="connsiteX26189" fmla="*/ 2238885 w 7714416"/>
              <a:gd name="connsiteY26189" fmla="*/ 1166301 h 5282095"/>
              <a:gd name="connsiteX26190" fmla="*/ 2260257 w 7714416"/>
              <a:gd name="connsiteY26190" fmla="*/ 1173983 h 5282095"/>
              <a:gd name="connsiteX26191" fmla="*/ 2255786 w 7714416"/>
              <a:gd name="connsiteY26191" fmla="*/ 1168530 h 5282095"/>
              <a:gd name="connsiteX26192" fmla="*/ 2248178 w 7714416"/>
              <a:gd name="connsiteY26192" fmla="*/ 1169252 h 5282095"/>
              <a:gd name="connsiteX26193" fmla="*/ 2233855 w 7714416"/>
              <a:gd name="connsiteY26193" fmla="*/ 1158513 h 5282095"/>
              <a:gd name="connsiteX26194" fmla="*/ 2246521 w 7714416"/>
              <a:gd name="connsiteY26194" fmla="*/ 1156618 h 5282095"/>
              <a:gd name="connsiteX26195" fmla="*/ 2253120 w 7714416"/>
              <a:gd name="connsiteY26195" fmla="*/ 1154131 h 5282095"/>
              <a:gd name="connsiteX26196" fmla="*/ 2255790 w 7714416"/>
              <a:gd name="connsiteY26196" fmla="*/ 1147485 h 5282095"/>
              <a:gd name="connsiteX26197" fmla="*/ 2266139 w 7714416"/>
              <a:gd name="connsiteY26197" fmla="*/ 1135423 h 5282095"/>
              <a:gd name="connsiteX26198" fmla="*/ 2271145 w 7714416"/>
              <a:gd name="connsiteY26198" fmla="*/ 1131130 h 5282095"/>
              <a:gd name="connsiteX26199" fmla="*/ 2264458 w 7714416"/>
              <a:gd name="connsiteY26199" fmla="*/ 1128418 h 5282095"/>
              <a:gd name="connsiteX26200" fmla="*/ 2269644 w 7714416"/>
              <a:gd name="connsiteY26200" fmla="*/ 1125668 h 5282095"/>
              <a:gd name="connsiteX26201" fmla="*/ 2274167 w 7714416"/>
              <a:gd name="connsiteY26201" fmla="*/ 1125384 h 5282095"/>
              <a:gd name="connsiteX26202" fmla="*/ 2269842 w 7714416"/>
              <a:gd name="connsiteY26202" fmla="*/ 1119395 h 5282095"/>
              <a:gd name="connsiteX26203" fmla="*/ 2259485 w 7714416"/>
              <a:gd name="connsiteY26203" fmla="*/ 1111561 h 5282095"/>
              <a:gd name="connsiteX26204" fmla="*/ 2269134 w 7714416"/>
              <a:gd name="connsiteY26204" fmla="*/ 1103221 h 5282095"/>
              <a:gd name="connsiteX26205" fmla="*/ 2267941 w 7714416"/>
              <a:gd name="connsiteY26205" fmla="*/ 1103246 h 5282095"/>
              <a:gd name="connsiteX26206" fmla="*/ 2287644 w 7714416"/>
              <a:gd name="connsiteY26206" fmla="*/ 1090585 h 5282095"/>
              <a:gd name="connsiteX26207" fmla="*/ 2290365 w 7714416"/>
              <a:gd name="connsiteY26207" fmla="*/ 1090394 h 5282095"/>
              <a:gd name="connsiteX26208" fmla="*/ 2292230 w 7714416"/>
              <a:gd name="connsiteY26208" fmla="*/ 1086754 h 5282095"/>
              <a:gd name="connsiteX26209" fmla="*/ 2294497 w 7714416"/>
              <a:gd name="connsiteY26209" fmla="*/ 1090467 h 5282095"/>
              <a:gd name="connsiteX26210" fmla="*/ 2296884 w 7714416"/>
              <a:gd name="connsiteY26210" fmla="*/ 1090416 h 5282095"/>
              <a:gd name="connsiteX26211" fmla="*/ 2319674 w 7714416"/>
              <a:gd name="connsiteY26211" fmla="*/ 1082837 h 5282095"/>
              <a:gd name="connsiteX26212" fmla="*/ 2320651 w 7714416"/>
              <a:gd name="connsiteY26212" fmla="*/ 1079190 h 5282095"/>
              <a:gd name="connsiteX26213" fmla="*/ 2330631 w 7714416"/>
              <a:gd name="connsiteY26213" fmla="*/ 1074043 h 5282095"/>
              <a:gd name="connsiteX26214" fmla="*/ 2365863 w 7714416"/>
              <a:gd name="connsiteY26214" fmla="*/ 1062093 h 5282095"/>
              <a:gd name="connsiteX26215" fmla="*/ 2345490 w 7714416"/>
              <a:gd name="connsiteY26215" fmla="*/ 1083889 h 5282095"/>
              <a:gd name="connsiteX26216" fmla="*/ 2337466 w 7714416"/>
              <a:gd name="connsiteY26216" fmla="*/ 1081739 h 5282095"/>
              <a:gd name="connsiteX26217" fmla="*/ 2330465 w 7714416"/>
              <a:gd name="connsiteY26217" fmla="*/ 1085728 h 5282095"/>
              <a:gd name="connsiteX26218" fmla="*/ 2326721 w 7714416"/>
              <a:gd name="connsiteY26218" fmla="*/ 1088635 h 5282095"/>
              <a:gd name="connsiteX26219" fmla="*/ 2326261 w 7714416"/>
              <a:gd name="connsiteY26219" fmla="*/ 1090353 h 5282095"/>
              <a:gd name="connsiteX26220" fmla="*/ 2327084 w 7714416"/>
              <a:gd name="connsiteY26220" fmla="*/ 1097243 h 5282095"/>
              <a:gd name="connsiteX26221" fmla="*/ 2332470 w 7714416"/>
              <a:gd name="connsiteY26221" fmla="*/ 1102596 h 5282095"/>
              <a:gd name="connsiteX26222" fmla="*/ 2331834 w 7714416"/>
              <a:gd name="connsiteY26222" fmla="*/ 1099436 h 5282095"/>
              <a:gd name="connsiteX26223" fmla="*/ 2335439 w 7714416"/>
              <a:gd name="connsiteY26223" fmla="*/ 1084877 h 5282095"/>
              <a:gd name="connsiteX26224" fmla="*/ 2361664 w 7714416"/>
              <a:gd name="connsiteY26224" fmla="*/ 1104324 h 5282095"/>
              <a:gd name="connsiteX26225" fmla="*/ 2364823 w 7714416"/>
              <a:gd name="connsiteY26225" fmla="*/ 1113565 h 5282095"/>
              <a:gd name="connsiteX26226" fmla="*/ 2375403 w 7714416"/>
              <a:gd name="connsiteY26226" fmla="*/ 1100645 h 5282095"/>
              <a:gd name="connsiteX26227" fmla="*/ 2385659 w 7714416"/>
              <a:gd name="connsiteY26227" fmla="*/ 1086717 h 5282095"/>
              <a:gd name="connsiteX26228" fmla="*/ 2386532 w 7714416"/>
              <a:gd name="connsiteY26228" fmla="*/ 1082351 h 5282095"/>
              <a:gd name="connsiteX26229" fmla="*/ 2385568 w 7714416"/>
              <a:gd name="connsiteY26229" fmla="*/ 1081519 h 5282095"/>
              <a:gd name="connsiteX26230" fmla="*/ 2380204 w 7714416"/>
              <a:gd name="connsiteY26230" fmla="*/ 1082725 h 5282095"/>
              <a:gd name="connsiteX26231" fmla="*/ 2369794 w 7714416"/>
              <a:gd name="connsiteY26231" fmla="*/ 1080627 h 5282095"/>
              <a:gd name="connsiteX26232" fmla="*/ 2382569 w 7714416"/>
              <a:gd name="connsiteY26232" fmla="*/ 1067259 h 5282095"/>
              <a:gd name="connsiteX26233" fmla="*/ 2388883 w 7714416"/>
              <a:gd name="connsiteY26233" fmla="*/ 1062511 h 5282095"/>
              <a:gd name="connsiteX26234" fmla="*/ 2379942 w 7714416"/>
              <a:gd name="connsiteY26234" fmla="*/ 1060460 h 5282095"/>
              <a:gd name="connsiteX26235" fmla="*/ 2372881 w 7714416"/>
              <a:gd name="connsiteY26235" fmla="*/ 1050289 h 5282095"/>
              <a:gd name="connsiteX26236" fmla="*/ 2389256 w 7714416"/>
              <a:gd name="connsiteY26236" fmla="*/ 1052261 h 5282095"/>
              <a:gd name="connsiteX26237" fmla="*/ 2394863 w 7714416"/>
              <a:gd name="connsiteY26237" fmla="*/ 1057904 h 5282095"/>
              <a:gd name="connsiteX26238" fmla="*/ 2400116 w 7714416"/>
              <a:gd name="connsiteY26238" fmla="*/ 1053791 h 5282095"/>
              <a:gd name="connsiteX26239" fmla="*/ 2413185 w 7714416"/>
              <a:gd name="connsiteY26239" fmla="*/ 1059248 h 5282095"/>
              <a:gd name="connsiteX26240" fmla="*/ 2415954 w 7714416"/>
              <a:gd name="connsiteY26240" fmla="*/ 1059989 h 5282095"/>
              <a:gd name="connsiteX26241" fmla="*/ 2416288 w 7714416"/>
              <a:gd name="connsiteY26241" fmla="*/ 1059849 h 5282095"/>
              <a:gd name="connsiteX26242" fmla="*/ 2416650 w 7714416"/>
              <a:gd name="connsiteY26242" fmla="*/ 1059601 h 5282095"/>
              <a:gd name="connsiteX26243" fmla="*/ 2416223 w 7714416"/>
              <a:gd name="connsiteY26243" fmla="*/ 1057877 h 5282095"/>
              <a:gd name="connsiteX26244" fmla="*/ 2424815 w 7714416"/>
              <a:gd name="connsiteY26244" fmla="*/ 1055695 h 5282095"/>
              <a:gd name="connsiteX26245" fmla="*/ 2427000 w 7714416"/>
              <a:gd name="connsiteY26245" fmla="*/ 1056395 h 5282095"/>
              <a:gd name="connsiteX26246" fmla="*/ 2435707 w 7714416"/>
              <a:gd name="connsiteY26246" fmla="*/ 1053783 h 5282095"/>
              <a:gd name="connsiteX26247" fmla="*/ 2442564 w 7714416"/>
              <a:gd name="connsiteY26247" fmla="*/ 1050329 h 5282095"/>
              <a:gd name="connsiteX26248" fmla="*/ 2442286 w 7714416"/>
              <a:gd name="connsiteY26248" fmla="*/ 1050255 h 5282095"/>
              <a:gd name="connsiteX26249" fmla="*/ 2441525 w 7714416"/>
              <a:gd name="connsiteY26249" fmla="*/ 1048671 h 5282095"/>
              <a:gd name="connsiteX26250" fmla="*/ 2439196 w 7714416"/>
              <a:gd name="connsiteY26250" fmla="*/ 1048508 h 5282095"/>
              <a:gd name="connsiteX26251" fmla="*/ 2414318 w 7714416"/>
              <a:gd name="connsiteY26251" fmla="*/ 1036206 h 5282095"/>
              <a:gd name="connsiteX26252" fmla="*/ 2412669 w 7714416"/>
              <a:gd name="connsiteY26252" fmla="*/ 1034615 h 5282095"/>
              <a:gd name="connsiteX26253" fmla="*/ 2410441 w 7714416"/>
              <a:gd name="connsiteY26253" fmla="*/ 1038502 h 5282095"/>
              <a:gd name="connsiteX26254" fmla="*/ 2408151 w 7714416"/>
              <a:gd name="connsiteY26254" fmla="*/ 1045939 h 5282095"/>
              <a:gd name="connsiteX26255" fmla="*/ 2384995 w 7714416"/>
              <a:gd name="connsiteY26255" fmla="*/ 1048244 h 5282095"/>
              <a:gd name="connsiteX26256" fmla="*/ 2376801 w 7714416"/>
              <a:gd name="connsiteY26256" fmla="*/ 1043404 h 5282095"/>
              <a:gd name="connsiteX26257" fmla="*/ 2385598 w 7714416"/>
              <a:gd name="connsiteY26257" fmla="*/ 1028280 h 5282095"/>
              <a:gd name="connsiteX26258" fmla="*/ 2395183 w 7714416"/>
              <a:gd name="connsiteY26258" fmla="*/ 1017969 h 5282095"/>
              <a:gd name="connsiteX26259" fmla="*/ 2388596 w 7714416"/>
              <a:gd name="connsiteY26259" fmla="*/ 1010454 h 5282095"/>
              <a:gd name="connsiteX26260" fmla="*/ 2374259 w 7714416"/>
              <a:gd name="connsiteY26260" fmla="*/ 959921 h 5282095"/>
              <a:gd name="connsiteX26261" fmla="*/ 2392514 w 7714416"/>
              <a:gd name="connsiteY26261" fmla="*/ 962627 h 5282095"/>
              <a:gd name="connsiteX26262" fmla="*/ 2397174 w 7714416"/>
              <a:gd name="connsiteY26262" fmla="*/ 995042 h 5282095"/>
              <a:gd name="connsiteX26263" fmla="*/ 2399739 w 7714416"/>
              <a:gd name="connsiteY26263" fmla="*/ 1014244 h 5282095"/>
              <a:gd name="connsiteX26264" fmla="*/ 2401030 w 7714416"/>
              <a:gd name="connsiteY26264" fmla="*/ 1012750 h 5282095"/>
              <a:gd name="connsiteX26265" fmla="*/ 2409621 w 7714416"/>
              <a:gd name="connsiteY26265" fmla="*/ 1010567 h 5282095"/>
              <a:gd name="connsiteX26266" fmla="*/ 2411322 w 7714416"/>
              <a:gd name="connsiteY26266" fmla="*/ 1009758 h 5282095"/>
              <a:gd name="connsiteX26267" fmla="*/ 2432865 w 7714416"/>
              <a:gd name="connsiteY26267" fmla="*/ 1007940 h 5282095"/>
              <a:gd name="connsiteX26268" fmla="*/ 2435151 w 7714416"/>
              <a:gd name="connsiteY26268" fmla="*/ 1003838 h 5282095"/>
              <a:gd name="connsiteX26269" fmla="*/ 2430921 w 7714416"/>
              <a:gd name="connsiteY26269" fmla="*/ 1005235 h 5282095"/>
              <a:gd name="connsiteX26270" fmla="*/ 2410315 w 7714416"/>
              <a:gd name="connsiteY26270" fmla="*/ 1004659 h 5282095"/>
              <a:gd name="connsiteX26271" fmla="*/ 2411275 w 7714416"/>
              <a:gd name="connsiteY26271" fmla="*/ 999971 h 5282095"/>
              <a:gd name="connsiteX26272" fmla="*/ 2414567 w 7714416"/>
              <a:gd name="connsiteY26272" fmla="*/ 1000967 h 5282095"/>
              <a:gd name="connsiteX26273" fmla="*/ 2426508 w 7714416"/>
              <a:gd name="connsiteY26273" fmla="*/ 999567 h 5282095"/>
              <a:gd name="connsiteX26274" fmla="*/ 2436613 w 7714416"/>
              <a:gd name="connsiteY26274" fmla="*/ 1001699 h 5282095"/>
              <a:gd name="connsiteX26275" fmla="*/ 2439349 w 7714416"/>
              <a:gd name="connsiteY26275" fmla="*/ 997027 h 5282095"/>
              <a:gd name="connsiteX26276" fmla="*/ 2449982 w 7714416"/>
              <a:gd name="connsiteY26276" fmla="*/ 987226 h 5282095"/>
              <a:gd name="connsiteX26277" fmla="*/ 2481257 w 7714416"/>
              <a:gd name="connsiteY26277" fmla="*/ 980081 h 5282095"/>
              <a:gd name="connsiteX26278" fmla="*/ 2477939 w 7714416"/>
              <a:gd name="connsiteY26278" fmla="*/ 1002422 h 5282095"/>
              <a:gd name="connsiteX26279" fmla="*/ 2448731 w 7714416"/>
              <a:gd name="connsiteY26279" fmla="*/ 1014032 h 5282095"/>
              <a:gd name="connsiteX26280" fmla="*/ 2443736 w 7714416"/>
              <a:gd name="connsiteY26280" fmla="*/ 1017178 h 5282095"/>
              <a:gd name="connsiteX26281" fmla="*/ 2461760 w 7714416"/>
              <a:gd name="connsiteY26281" fmla="*/ 1029599 h 5282095"/>
              <a:gd name="connsiteX26282" fmla="*/ 2465743 w 7714416"/>
              <a:gd name="connsiteY26282" fmla="*/ 1036875 h 5282095"/>
              <a:gd name="connsiteX26283" fmla="*/ 2484559 w 7714416"/>
              <a:gd name="connsiteY26283" fmla="*/ 1024206 h 5282095"/>
              <a:gd name="connsiteX26284" fmla="*/ 2479458 w 7714416"/>
              <a:gd name="connsiteY26284" fmla="*/ 1026635 h 5282095"/>
              <a:gd name="connsiteX26285" fmla="*/ 2467931 w 7714416"/>
              <a:gd name="connsiteY26285" fmla="*/ 1025387 h 5282095"/>
              <a:gd name="connsiteX26286" fmla="*/ 2453665 w 7714416"/>
              <a:gd name="connsiteY26286" fmla="*/ 1014433 h 5282095"/>
              <a:gd name="connsiteX26287" fmla="*/ 2456170 w 7714416"/>
              <a:gd name="connsiteY26287" fmla="*/ 1010620 h 5282095"/>
              <a:gd name="connsiteX26288" fmla="*/ 2480667 w 7714416"/>
              <a:gd name="connsiteY26288" fmla="*/ 1013274 h 5282095"/>
              <a:gd name="connsiteX26289" fmla="*/ 2484958 w 7714416"/>
              <a:gd name="connsiteY26289" fmla="*/ 1017183 h 5282095"/>
              <a:gd name="connsiteX26290" fmla="*/ 2482655 w 7714416"/>
              <a:gd name="connsiteY26290" fmla="*/ 1011392 h 5282095"/>
              <a:gd name="connsiteX26291" fmla="*/ 2486913 w 7714416"/>
              <a:gd name="connsiteY26291" fmla="*/ 1001032 h 5282095"/>
              <a:gd name="connsiteX26292" fmla="*/ 2488735 w 7714416"/>
              <a:gd name="connsiteY26292" fmla="*/ 1001980 h 5282095"/>
              <a:gd name="connsiteX26293" fmla="*/ 2488946 w 7714416"/>
              <a:gd name="connsiteY26293" fmla="*/ 1000082 h 5282095"/>
              <a:gd name="connsiteX26294" fmla="*/ 2504151 w 7714416"/>
              <a:gd name="connsiteY26294" fmla="*/ 999786 h 5282095"/>
              <a:gd name="connsiteX26295" fmla="*/ 2498545 w 7714416"/>
              <a:gd name="connsiteY26295" fmla="*/ 1002999 h 5282095"/>
              <a:gd name="connsiteX26296" fmla="*/ 2494010 w 7714416"/>
              <a:gd name="connsiteY26296" fmla="*/ 1004429 h 5282095"/>
              <a:gd name="connsiteX26297" fmla="*/ 2523611 w 7714416"/>
              <a:gd name="connsiteY26297" fmla="*/ 983610 h 5282095"/>
              <a:gd name="connsiteX26298" fmla="*/ 2543652 w 7714416"/>
              <a:gd name="connsiteY26298" fmla="*/ 985185 h 5282095"/>
              <a:gd name="connsiteX26299" fmla="*/ 2570748 w 7714416"/>
              <a:gd name="connsiteY26299" fmla="*/ 959325 h 5282095"/>
              <a:gd name="connsiteX26300" fmla="*/ 2597818 w 7714416"/>
              <a:gd name="connsiteY26300" fmla="*/ 956803 h 5282095"/>
              <a:gd name="connsiteX26301" fmla="*/ 2583418 w 7714416"/>
              <a:gd name="connsiteY26301" fmla="*/ 945239 h 5282095"/>
              <a:gd name="connsiteX26302" fmla="*/ 2592097 w 7714416"/>
              <a:gd name="connsiteY26302" fmla="*/ 933880 h 5282095"/>
              <a:gd name="connsiteX26303" fmla="*/ 2579204 w 7714416"/>
              <a:gd name="connsiteY26303" fmla="*/ 933301 h 5282095"/>
              <a:gd name="connsiteX26304" fmla="*/ 2567068 w 7714416"/>
              <a:gd name="connsiteY26304" fmla="*/ 937639 h 5282095"/>
              <a:gd name="connsiteX26305" fmla="*/ 2578941 w 7714416"/>
              <a:gd name="connsiteY26305" fmla="*/ 937600 h 5282095"/>
              <a:gd name="connsiteX26306" fmla="*/ 2579290 w 7714416"/>
              <a:gd name="connsiteY26306" fmla="*/ 950687 h 5282095"/>
              <a:gd name="connsiteX26307" fmla="*/ 2535197 w 7714416"/>
              <a:gd name="connsiteY26307" fmla="*/ 949224 h 5282095"/>
              <a:gd name="connsiteX26308" fmla="*/ 2524050 w 7714416"/>
              <a:gd name="connsiteY26308" fmla="*/ 948767 h 5282095"/>
              <a:gd name="connsiteX26309" fmla="*/ 2529544 w 7714416"/>
              <a:gd name="connsiteY26309" fmla="*/ 951504 h 5282095"/>
              <a:gd name="connsiteX26310" fmla="*/ 2535592 w 7714416"/>
              <a:gd name="connsiteY26310" fmla="*/ 963245 h 5282095"/>
              <a:gd name="connsiteX26311" fmla="*/ 2527291 w 7714416"/>
              <a:gd name="connsiteY26311" fmla="*/ 961020 h 5282095"/>
              <a:gd name="connsiteX26312" fmla="*/ 2526342 w 7714416"/>
              <a:gd name="connsiteY26312" fmla="*/ 964561 h 5282095"/>
              <a:gd name="connsiteX26313" fmla="*/ 2521540 w 7714416"/>
              <a:gd name="connsiteY26313" fmla="*/ 973625 h 5282095"/>
              <a:gd name="connsiteX26314" fmla="*/ 2515626 w 7714416"/>
              <a:gd name="connsiteY26314" fmla="*/ 971350 h 5282095"/>
              <a:gd name="connsiteX26315" fmla="*/ 2523575 w 7714416"/>
              <a:gd name="connsiteY26315" fmla="*/ 963820 h 5282095"/>
              <a:gd name="connsiteX26316" fmla="*/ 2524035 w 7714416"/>
              <a:gd name="connsiteY26316" fmla="*/ 962104 h 5282095"/>
              <a:gd name="connsiteX26317" fmla="*/ 2517918 w 7714416"/>
              <a:gd name="connsiteY26317" fmla="*/ 960580 h 5282095"/>
              <a:gd name="connsiteX26318" fmla="*/ 2513452 w 7714416"/>
              <a:gd name="connsiteY26318" fmla="*/ 960647 h 5282095"/>
              <a:gd name="connsiteX26319" fmla="*/ 2512373 w 7714416"/>
              <a:gd name="connsiteY26319" fmla="*/ 969099 h 5282095"/>
              <a:gd name="connsiteX26320" fmla="*/ 2506599 w 7714416"/>
              <a:gd name="connsiteY26320" fmla="*/ 978477 h 5282095"/>
              <a:gd name="connsiteX26321" fmla="*/ 2494884 w 7714416"/>
              <a:gd name="connsiteY26321" fmla="*/ 955787 h 5282095"/>
              <a:gd name="connsiteX26322" fmla="*/ 2462977 w 7714416"/>
              <a:gd name="connsiteY26322" fmla="*/ 956437 h 5282095"/>
              <a:gd name="connsiteX26323" fmla="*/ 2495489 w 7714416"/>
              <a:gd name="connsiteY26323" fmla="*/ 944678 h 5282095"/>
              <a:gd name="connsiteX26324" fmla="*/ 2500842 w 7714416"/>
              <a:gd name="connsiteY26324" fmla="*/ 935763 h 5282095"/>
              <a:gd name="connsiteX26325" fmla="*/ 2503182 w 7714416"/>
              <a:gd name="connsiteY26325" fmla="*/ 934781 h 5282095"/>
              <a:gd name="connsiteX26326" fmla="*/ 2504371 w 7714416"/>
              <a:gd name="connsiteY26326" fmla="*/ 929234 h 5282095"/>
              <a:gd name="connsiteX26327" fmla="*/ 2514987 w 7714416"/>
              <a:gd name="connsiteY26327" fmla="*/ 936103 h 5282095"/>
              <a:gd name="connsiteX26328" fmla="*/ 2513028 w 7714416"/>
              <a:gd name="connsiteY26328" fmla="*/ 937879 h 5282095"/>
              <a:gd name="connsiteX26329" fmla="*/ 2508781 w 7714416"/>
              <a:gd name="connsiteY26329" fmla="*/ 938235 h 5282095"/>
              <a:gd name="connsiteX26330" fmla="*/ 2509779 w 7714416"/>
              <a:gd name="connsiteY26330" fmla="*/ 941148 h 5282095"/>
              <a:gd name="connsiteX26331" fmla="*/ 2511785 w 7714416"/>
              <a:gd name="connsiteY26331" fmla="*/ 940305 h 5282095"/>
              <a:gd name="connsiteX26332" fmla="*/ 2527201 w 7714416"/>
              <a:gd name="connsiteY26332" fmla="*/ 938111 h 5282095"/>
              <a:gd name="connsiteX26333" fmla="*/ 2532279 w 7714416"/>
              <a:gd name="connsiteY26333" fmla="*/ 937977 h 5282095"/>
              <a:gd name="connsiteX26334" fmla="*/ 2532530 w 7714416"/>
              <a:gd name="connsiteY26334" fmla="*/ 934824 h 5282095"/>
              <a:gd name="connsiteX26335" fmla="*/ 2528175 w 7714416"/>
              <a:gd name="connsiteY26335" fmla="*/ 928942 h 5282095"/>
              <a:gd name="connsiteX26336" fmla="*/ 2526651 w 7714416"/>
              <a:gd name="connsiteY26336" fmla="*/ 925774 h 5282095"/>
              <a:gd name="connsiteX26337" fmla="*/ 2532668 w 7714416"/>
              <a:gd name="connsiteY26337" fmla="*/ 923246 h 5282095"/>
              <a:gd name="connsiteX26338" fmla="*/ 2534662 w 7714416"/>
              <a:gd name="connsiteY26338" fmla="*/ 923550 h 5282095"/>
              <a:gd name="connsiteX26339" fmla="*/ 2543563 w 7714416"/>
              <a:gd name="connsiteY26339" fmla="*/ 909145 h 5282095"/>
              <a:gd name="connsiteX26340" fmla="*/ 2584465 w 7714416"/>
              <a:gd name="connsiteY26340" fmla="*/ 887099 h 5282095"/>
              <a:gd name="connsiteX26341" fmla="*/ 2617681 w 7714416"/>
              <a:gd name="connsiteY26341" fmla="*/ 903704 h 5282095"/>
              <a:gd name="connsiteX26342" fmla="*/ 2602354 w 7714416"/>
              <a:gd name="connsiteY26342" fmla="*/ 928807 h 5282095"/>
              <a:gd name="connsiteX26343" fmla="*/ 2610255 w 7714416"/>
              <a:gd name="connsiteY26343" fmla="*/ 929200 h 5282095"/>
              <a:gd name="connsiteX26344" fmla="*/ 2611506 w 7714416"/>
              <a:gd name="connsiteY26344" fmla="*/ 928960 h 5282095"/>
              <a:gd name="connsiteX26345" fmla="*/ 2615701 w 7714416"/>
              <a:gd name="connsiteY26345" fmla="*/ 925484 h 5282095"/>
              <a:gd name="connsiteX26346" fmla="*/ 2613030 w 7714416"/>
              <a:gd name="connsiteY26346" fmla="*/ 923273 h 5282095"/>
              <a:gd name="connsiteX26347" fmla="*/ 2611550 w 7714416"/>
              <a:gd name="connsiteY26347" fmla="*/ 915517 h 5282095"/>
              <a:gd name="connsiteX26348" fmla="*/ 2614831 w 7714416"/>
              <a:gd name="connsiteY26348" fmla="*/ 908805 h 5282095"/>
              <a:gd name="connsiteX26349" fmla="*/ 2623060 w 7714416"/>
              <a:gd name="connsiteY26349" fmla="*/ 915726 h 5282095"/>
              <a:gd name="connsiteX26350" fmla="*/ 2621126 w 7714416"/>
              <a:gd name="connsiteY26350" fmla="*/ 920728 h 5282095"/>
              <a:gd name="connsiteX26351" fmla="*/ 2626437 w 7714416"/>
              <a:gd name="connsiteY26351" fmla="*/ 916401 h 5282095"/>
              <a:gd name="connsiteX26352" fmla="*/ 2632176 w 7714416"/>
              <a:gd name="connsiteY26352" fmla="*/ 913799 h 5282095"/>
              <a:gd name="connsiteX26353" fmla="*/ 2634592 w 7714416"/>
              <a:gd name="connsiteY26353" fmla="*/ 913640 h 5282095"/>
              <a:gd name="connsiteX26354" fmla="*/ 2644722 w 7714416"/>
              <a:gd name="connsiteY26354" fmla="*/ 901290 h 5282095"/>
              <a:gd name="connsiteX26355" fmla="*/ 2614350 w 7714416"/>
              <a:gd name="connsiteY26355" fmla="*/ 895107 h 5282095"/>
              <a:gd name="connsiteX26356" fmla="*/ 2658260 w 7714416"/>
              <a:gd name="connsiteY26356" fmla="*/ 871796 h 5282095"/>
              <a:gd name="connsiteX26357" fmla="*/ 2667419 w 7714416"/>
              <a:gd name="connsiteY26357" fmla="*/ 891846 h 5282095"/>
              <a:gd name="connsiteX26358" fmla="*/ 2691411 w 7714416"/>
              <a:gd name="connsiteY26358" fmla="*/ 886429 h 5282095"/>
              <a:gd name="connsiteX26359" fmla="*/ 2691425 w 7714416"/>
              <a:gd name="connsiteY26359" fmla="*/ 881948 h 5282095"/>
              <a:gd name="connsiteX26360" fmla="*/ 2697727 w 7714416"/>
              <a:gd name="connsiteY26360" fmla="*/ 878347 h 5282095"/>
              <a:gd name="connsiteX26361" fmla="*/ 2702640 w 7714416"/>
              <a:gd name="connsiteY26361" fmla="*/ 881044 h 5282095"/>
              <a:gd name="connsiteX26362" fmla="*/ 2711416 w 7714416"/>
              <a:gd name="connsiteY26362" fmla="*/ 877070 h 5282095"/>
              <a:gd name="connsiteX26363" fmla="*/ 2745077 w 7714416"/>
              <a:gd name="connsiteY26363" fmla="*/ 852164 h 5282095"/>
              <a:gd name="connsiteX26364" fmla="*/ 2735507 w 7714416"/>
              <a:gd name="connsiteY26364" fmla="*/ 849140 h 5282095"/>
              <a:gd name="connsiteX26365" fmla="*/ 2729298 w 7714416"/>
              <a:gd name="connsiteY26365" fmla="*/ 845751 h 5282095"/>
              <a:gd name="connsiteX26366" fmla="*/ 2724889 w 7714416"/>
              <a:gd name="connsiteY26366" fmla="*/ 854459 h 5282095"/>
              <a:gd name="connsiteX26367" fmla="*/ 2721391 w 7714416"/>
              <a:gd name="connsiteY26367" fmla="*/ 866402 h 5282095"/>
              <a:gd name="connsiteX26368" fmla="*/ 2716135 w 7714416"/>
              <a:gd name="connsiteY26368" fmla="*/ 864994 h 5282095"/>
              <a:gd name="connsiteX26369" fmla="*/ 2712357 w 7714416"/>
              <a:gd name="connsiteY26369" fmla="*/ 862486 h 5282095"/>
              <a:gd name="connsiteX26370" fmla="*/ 2696560 w 7714416"/>
              <a:gd name="connsiteY26370" fmla="*/ 863889 h 5282095"/>
              <a:gd name="connsiteX26371" fmla="*/ 2680302 w 7714416"/>
              <a:gd name="connsiteY26371" fmla="*/ 858153 h 5282095"/>
              <a:gd name="connsiteX26372" fmla="*/ 2682710 w 7714416"/>
              <a:gd name="connsiteY26372" fmla="*/ 855808 h 5282095"/>
              <a:gd name="connsiteX26373" fmla="*/ 2680756 w 7714416"/>
              <a:gd name="connsiteY26373" fmla="*/ 854249 h 5282095"/>
              <a:gd name="connsiteX26374" fmla="*/ 2686045 w 7714416"/>
              <a:gd name="connsiteY26374" fmla="*/ 843362 h 5282095"/>
              <a:gd name="connsiteX26375" fmla="*/ 2695875 w 7714416"/>
              <a:gd name="connsiteY26375" fmla="*/ 845420 h 5282095"/>
              <a:gd name="connsiteX26376" fmla="*/ 2701214 w 7714416"/>
              <a:gd name="connsiteY26376" fmla="*/ 849841 h 5282095"/>
              <a:gd name="connsiteX26377" fmla="*/ 2712081 w 7714416"/>
              <a:gd name="connsiteY26377" fmla="*/ 853558 h 5282095"/>
              <a:gd name="connsiteX26378" fmla="*/ 2710690 w 7714416"/>
              <a:gd name="connsiteY26378" fmla="*/ 851001 h 5282095"/>
              <a:gd name="connsiteX26379" fmla="*/ 2710327 w 7714416"/>
              <a:gd name="connsiteY26379" fmla="*/ 842394 h 5282095"/>
              <a:gd name="connsiteX26380" fmla="*/ 2716275 w 7714416"/>
              <a:gd name="connsiteY26380" fmla="*/ 841226 h 5282095"/>
              <a:gd name="connsiteX26381" fmla="*/ 2709001 w 7714416"/>
              <a:gd name="connsiteY26381" fmla="*/ 841807 h 5282095"/>
              <a:gd name="connsiteX26382" fmla="*/ 2708667 w 7714416"/>
              <a:gd name="connsiteY26382" fmla="*/ 841949 h 5282095"/>
              <a:gd name="connsiteX26383" fmla="*/ 2707169 w 7714416"/>
              <a:gd name="connsiteY26383" fmla="*/ 842007 h 5282095"/>
              <a:gd name="connsiteX26384" fmla="*/ 2707388 w 7714416"/>
              <a:gd name="connsiteY26384" fmla="*/ 833439 h 5282095"/>
              <a:gd name="connsiteX26385" fmla="*/ 2699569 w 7714416"/>
              <a:gd name="connsiteY26385" fmla="*/ 827205 h 5282095"/>
              <a:gd name="connsiteX26386" fmla="*/ 2699188 w 7714416"/>
              <a:gd name="connsiteY26386" fmla="*/ 826413 h 5282095"/>
              <a:gd name="connsiteX26387" fmla="*/ 2695920 w 7714416"/>
              <a:gd name="connsiteY26387" fmla="*/ 828642 h 5282095"/>
              <a:gd name="connsiteX26388" fmla="*/ 2698908 w 7714416"/>
              <a:gd name="connsiteY26388" fmla="*/ 829672 h 5282095"/>
              <a:gd name="connsiteX26389" fmla="*/ 2699558 w 7714416"/>
              <a:gd name="connsiteY26389" fmla="*/ 837206 h 5282095"/>
              <a:gd name="connsiteX26390" fmla="*/ 2690368 w 7714416"/>
              <a:gd name="connsiteY26390" fmla="*/ 834975 h 5282095"/>
              <a:gd name="connsiteX26391" fmla="*/ 2687480 w 7714416"/>
              <a:gd name="connsiteY26391" fmla="*/ 832476 h 5282095"/>
              <a:gd name="connsiteX26392" fmla="*/ 2676846 w 7714416"/>
              <a:gd name="connsiteY26392" fmla="*/ 833422 h 5282095"/>
              <a:gd name="connsiteX26393" fmla="*/ 2659472 w 7714416"/>
              <a:gd name="connsiteY26393" fmla="*/ 828536 h 5282095"/>
              <a:gd name="connsiteX26394" fmla="*/ 2639380 w 7714416"/>
              <a:gd name="connsiteY26394" fmla="*/ 811653 h 5282095"/>
              <a:gd name="connsiteX26395" fmla="*/ 2635319 w 7714416"/>
              <a:gd name="connsiteY26395" fmla="*/ 806884 h 5282095"/>
              <a:gd name="connsiteX26396" fmla="*/ 2633221 w 7714416"/>
              <a:gd name="connsiteY26396" fmla="*/ 805862 h 5282095"/>
              <a:gd name="connsiteX26397" fmla="*/ 2627564 w 7714416"/>
              <a:gd name="connsiteY26397" fmla="*/ 802621 h 5282095"/>
              <a:gd name="connsiteX26398" fmla="*/ 2627281 w 7714416"/>
              <a:gd name="connsiteY26398" fmla="*/ 800360 h 5282095"/>
              <a:gd name="connsiteX26399" fmla="*/ 2631316 w 7714416"/>
              <a:gd name="connsiteY26399" fmla="*/ 801901 h 5282095"/>
              <a:gd name="connsiteX26400" fmla="*/ 2630410 w 7714416"/>
              <a:gd name="connsiteY26400" fmla="*/ 800854 h 5282095"/>
              <a:gd name="connsiteX26401" fmla="*/ 2618980 w 7714416"/>
              <a:gd name="connsiteY26401" fmla="*/ 789281 h 5282095"/>
              <a:gd name="connsiteX26402" fmla="*/ 2641307 w 7714416"/>
              <a:gd name="connsiteY26402" fmla="*/ 786753 h 5282095"/>
              <a:gd name="connsiteX26403" fmla="*/ 2647771 w 7714416"/>
              <a:gd name="connsiteY26403" fmla="*/ 783655 h 5282095"/>
              <a:gd name="connsiteX26404" fmla="*/ 2646866 w 7714416"/>
              <a:gd name="connsiteY26404" fmla="*/ 782607 h 5282095"/>
              <a:gd name="connsiteX26405" fmla="*/ 2646227 w 7714416"/>
              <a:gd name="connsiteY26405" fmla="*/ 782781 h 5282095"/>
              <a:gd name="connsiteX26406" fmla="*/ 2642429 w 7714416"/>
              <a:gd name="connsiteY26406" fmla="*/ 773713 h 5282095"/>
              <a:gd name="connsiteX26407" fmla="*/ 2658887 w 7714416"/>
              <a:gd name="connsiteY26407" fmla="*/ 778698 h 5282095"/>
              <a:gd name="connsiteX26408" fmla="*/ 2659631 w 7714416"/>
              <a:gd name="connsiteY26408" fmla="*/ 779242 h 5282095"/>
              <a:gd name="connsiteX26409" fmla="*/ 2665988 w 7714416"/>
              <a:gd name="connsiteY26409" fmla="*/ 778761 h 5282095"/>
              <a:gd name="connsiteX26410" fmla="*/ 2673937 w 7714416"/>
              <a:gd name="connsiteY26410" fmla="*/ 780086 h 5282095"/>
              <a:gd name="connsiteX26411" fmla="*/ 2685040 w 7714416"/>
              <a:gd name="connsiteY26411" fmla="*/ 785132 h 5282095"/>
              <a:gd name="connsiteX26412" fmla="*/ 2686255 w 7714416"/>
              <a:gd name="connsiteY26412" fmla="*/ 782811 h 5282095"/>
              <a:gd name="connsiteX26413" fmla="*/ 2687800 w 7714416"/>
              <a:gd name="connsiteY26413" fmla="*/ 783686 h 5282095"/>
              <a:gd name="connsiteX26414" fmla="*/ 2677254 w 7714416"/>
              <a:gd name="connsiteY26414" fmla="*/ 757744 h 5282095"/>
              <a:gd name="connsiteX26415" fmla="*/ 2666268 w 7714416"/>
              <a:gd name="connsiteY26415" fmla="*/ 757790 h 5282095"/>
              <a:gd name="connsiteX26416" fmla="*/ 2662498 w 7714416"/>
              <a:gd name="connsiteY26416" fmla="*/ 757471 h 5282095"/>
              <a:gd name="connsiteX26417" fmla="*/ 2663070 w 7714416"/>
              <a:gd name="connsiteY26417" fmla="*/ 758659 h 5282095"/>
              <a:gd name="connsiteX26418" fmla="*/ 2660666 w 7714416"/>
              <a:gd name="connsiteY26418" fmla="*/ 757670 h 5282095"/>
              <a:gd name="connsiteX26419" fmla="*/ 2660360 w 7714416"/>
              <a:gd name="connsiteY26419" fmla="*/ 757703 h 5282095"/>
              <a:gd name="connsiteX26420" fmla="*/ 2658805 w 7714416"/>
              <a:gd name="connsiteY26420" fmla="*/ 757976 h 5282095"/>
              <a:gd name="connsiteX26421" fmla="*/ 2652002 w 7714416"/>
              <a:gd name="connsiteY26421" fmla="*/ 755693 h 5282095"/>
              <a:gd name="connsiteX26422" fmla="*/ 2651613 w 7714416"/>
              <a:gd name="connsiteY26422" fmla="*/ 752714 h 5282095"/>
              <a:gd name="connsiteX26423" fmla="*/ 2657899 w 7714416"/>
              <a:gd name="connsiteY26423" fmla="*/ 748073 h 5282095"/>
              <a:gd name="connsiteX26424" fmla="*/ 2650888 w 7714416"/>
              <a:gd name="connsiteY26424" fmla="*/ 726644 h 5282095"/>
              <a:gd name="connsiteX26425" fmla="*/ 2658496 w 7714416"/>
              <a:gd name="connsiteY26425" fmla="*/ 725923 h 5282095"/>
              <a:gd name="connsiteX26426" fmla="*/ 2661666 w 7714416"/>
              <a:gd name="connsiteY26426" fmla="*/ 725162 h 5282095"/>
              <a:gd name="connsiteX26427" fmla="*/ 2655323 w 7714416"/>
              <a:gd name="connsiteY26427" fmla="*/ 712308 h 5282095"/>
              <a:gd name="connsiteX26428" fmla="*/ 2623906 w 7714416"/>
              <a:gd name="connsiteY26428" fmla="*/ 640293 h 5282095"/>
              <a:gd name="connsiteX26429" fmla="*/ 3379748 w 7714416"/>
              <a:gd name="connsiteY26429" fmla="*/ 639613 h 5282095"/>
              <a:gd name="connsiteX26430" fmla="*/ 3377548 w 7714416"/>
              <a:gd name="connsiteY26430" fmla="*/ 643393 h 5282095"/>
              <a:gd name="connsiteX26431" fmla="*/ 3375478 w 7714416"/>
              <a:gd name="connsiteY26431" fmla="*/ 642264 h 5282095"/>
              <a:gd name="connsiteX26432" fmla="*/ 3375744 w 7714416"/>
              <a:gd name="connsiteY26432" fmla="*/ 643485 h 5282095"/>
              <a:gd name="connsiteX26433" fmla="*/ 3374706 w 7714416"/>
              <a:gd name="connsiteY26433" fmla="*/ 641827 h 5282095"/>
              <a:gd name="connsiteX26434" fmla="*/ 3375213 w 7714416"/>
              <a:gd name="connsiteY26434" fmla="*/ 641043 h 5282095"/>
              <a:gd name="connsiteX26435" fmla="*/ 3379748 w 7714416"/>
              <a:gd name="connsiteY26435" fmla="*/ 639613 h 5282095"/>
              <a:gd name="connsiteX26436" fmla="*/ 1162341 w 7714416"/>
              <a:gd name="connsiteY26436" fmla="*/ 639444 h 5282095"/>
              <a:gd name="connsiteX26437" fmla="*/ 1167494 w 7714416"/>
              <a:gd name="connsiteY26437" fmla="*/ 640134 h 5282095"/>
              <a:gd name="connsiteX26438" fmla="*/ 1169820 w 7714416"/>
              <a:gd name="connsiteY26438" fmla="*/ 643633 h 5282095"/>
              <a:gd name="connsiteX26439" fmla="*/ 1172737 w 7714416"/>
              <a:gd name="connsiteY26439" fmla="*/ 646025 h 5282095"/>
              <a:gd name="connsiteX26440" fmla="*/ 1171235 w 7714416"/>
              <a:gd name="connsiteY26440" fmla="*/ 649417 h 5282095"/>
              <a:gd name="connsiteX26441" fmla="*/ 1168594 w 7714416"/>
              <a:gd name="connsiteY26441" fmla="*/ 647100 h 5282095"/>
              <a:gd name="connsiteX26442" fmla="*/ 1162341 w 7714416"/>
              <a:gd name="connsiteY26442" fmla="*/ 639444 h 5282095"/>
              <a:gd name="connsiteX26443" fmla="*/ 1147920 w 7714416"/>
              <a:gd name="connsiteY26443" fmla="*/ 639030 h 5282095"/>
              <a:gd name="connsiteX26444" fmla="*/ 1156990 w 7714416"/>
              <a:gd name="connsiteY26444" fmla="*/ 645025 h 5282095"/>
              <a:gd name="connsiteX26445" fmla="*/ 1157482 w 7714416"/>
              <a:gd name="connsiteY26445" fmla="*/ 648722 h 5282095"/>
              <a:gd name="connsiteX26446" fmla="*/ 1154133 w 7714416"/>
              <a:gd name="connsiteY26446" fmla="*/ 647940 h 5282095"/>
              <a:gd name="connsiteX26447" fmla="*/ 1152646 w 7714416"/>
              <a:gd name="connsiteY26447" fmla="*/ 646851 h 5282095"/>
              <a:gd name="connsiteX26448" fmla="*/ 1151866 w 7714416"/>
              <a:gd name="connsiteY26448" fmla="*/ 644228 h 5282095"/>
              <a:gd name="connsiteX26449" fmla="*/ 1147069 w 7714416"/>
              <a:gd name="connsiteY26449" fmla="*/ 641102 h 5282095"/>
              <a:gd name="connsiteX26450" fmla="*/ 1147920 w 7714416"/>
              <a:gd name="connsiteY26450" fmla="*/ 639030 h 5282095"/>
              <a:gd name="connsiteX26451" fmla="*/ 3654081 w 7714416"/>
              <a:gd name="connsiteY26451" fmla="*/ 638484 h 5282095"/>
              <a:gd name="connsiteX26452" fmla="*/ 3659396 w 7714416"/>
              <a:gd name="connsiteY26452" fmla="*/ 639678 h 5282095"/>
              <a:gd name="connsiteX26453" fmla="*/ 3660376 w 7714416"/>
              <a:gd name="connsiteY26453" fmla="*/ 641551 h 5282095"/>
              <a:gd name="connsiteX26454" fmla="*/ 3660211 w 7714416"/>
              <a:gd name="connsiteY26454" fmla="*/ 644382 h 5282095"/>
              <a:gd name="connsiteX26455" fmla="*/ 3655963 w 7714416"/>
              <a:gd name="connsiteY26455" fmla="*/ 644738 h 5282095"/>
              <a:gd name="connsiteX26456" fmla="*/ 3651622 w 7714416"/>
              <a:gd name="connsiteY26456" fmla="*/ 643230 h 5282095"/>
              <a:gd name="connsiteX26457" fmla="*/ 3649114 w 7714416"/>
              <a:gd name="connsiteY26457" fmla="*/ 641524 h 5282095"/>
              <a:gd name="connsiteX26458" fmla="*/ 3649297 w 7714416"/>
              <a:gd name="connsiteY26458" fmla="*/ 639732 h 5282095"/>
              <a:gd name="connsiteX26459" fmla="*/ 3654081 w 7714416"/>
              <a:gd name="connsiteY26459" fmla="*/ 638484 h 5282095"/>
              <a:gd name="connsiteX26460" fmla="*/ 2504434 w 7714416"/>
              <a:gd name="connsiteY26460" fmla="*/ 636802 h 5282095"/>
              <a:gd name="connsiteX26461" fmla="*/ 2505782 w 7714416"/>
              <a:gd name="connsiteY26461" fmla="*/ 643947 h 5282095"/>
              <a:gd name="connsiteX26462" fmla="*/ 2501537 w 7714416"/>
              <a:gd name="connsiteY26462" fmla="*/ 649826 h 5282095"/>
              <a:gd name="connsiteX26463" fmla="*/ 2514955 w 7714416"/>
              <a:gd name="connsiteY26463" fmla="*/ 650660 h 5282095"/>
              <a:gd name="connsiteX26464" fmla="*/ 2530516 w 7714416"/>
              <a:gd name="connsiteY26464" fmla="*/ 656785 h 5282095"/>
              <a:gd name="connsiteX26465" fmla="*/ 2547255 w 7714416"/>
              <a:gd name="connsiteY26465" fmla="*/ 693931 h 5282095"/>
              <a:gd name="connsiteX26466" fmla="*/ 2542967 w 7714416"/>
              <a:gd name="connsiteY26466" fmla="*/ 695542 h 5282095"/>
              <a:gd name="connsiteX26467" fmla="*/ 2525819 w 7714416"/>
              <a:gd name="connsiteY26467" fmla="*/ 693132 h 5282095"/>
              <a:gd name="connsiteX26468" fmla="*/ 2504682 w 7714416"/>
              <a:gd name="connsiteY26468" fmla="*/ 681258 h 5282095"/>
              <a:gd name="connsiteX26469" fmla="*/ 2504434 w 7714416"/>
              <a:gd name="connsiteY26469" fmla="*/ 681077 h 5282095"/>
              <a:gd name="connsiteX26470" fmla="*/ 2498345 w 7714416"/>
              <a:gd name="connsiteY26470" fmla="*/ 679445 h 5282095"/>
              <a:gd name="connsiteX26471" fmla="*/ 2499866 w 7714416"/>
              <a:gd name="connsiteY26471" fmla="*/ 677093 h 5282095"/>
              <a:gd name="connsiteX26472" fmla="*/ 2501728 w 7714416"/>
              <a:gd name="connsiteY26472" fmla="*/ 676786 h 5282095"/>
              <a:gd name="connsiteX26473" fmla="*/ 2493494 w 7714416"/>
              <a:gd name="connsiteY26473" fmla="*/ 664345 h 5282095"/>
              <a:gd name="connsiteX26474" fmla="*/ 2493207 w 7714416"/>
              <a:gd name="connsiteY26474" fmla="*/ 656564 h 5282095"/>
              <a:gd name="connsiteX26475" fmla="*/ 2496183 w 7714416"/>
              <a:gd name="connsiteY26475" fmla="*/ 649886 h 5282095"/>
              <a:gd name="connsiteX26476" fmla="*/ 2494027 w 7714416"/>
              <a:gd name="connsiteY26476" fmla="*/ 649078 h 5282095"/>
              <a:gd name="connsiteX26477" fmla="*/ 2492360 w 7714416"/>
              <a:gd name="connsiteY26477" fmla="*/ 637591 h 5282095"/>
              <a:gd name="connsiteX26478" fmla="*/ 2504434 w 7714416"/>
              <a:gd name="connsiteY26478" fmla="*/ 636802 h 5282095"/>
              <a:gd name="connsiteX26479" fmla="*/ 4865205 w 7714416"/>
              <a:gd name="connsiteY26479" fmla="*/ 636514 h 5282095"/>
              <a:gd name="connsiteX26480" fmla="*/ 4879641 w 7714416"/>
              <a:gd name="connsiteY26480" fmla="*/ 641302 h 5282095"/>
              <a:gd name="connsiteX26481" fmla="*/ 4876141 w 7714416"/>
              <a:gd name="connsiteY26481" fmla="*/ 647724 h 5282095"/>
              <a:gd name="connsiteX26482" fmla="*/ 4865205 w 7714416"/>
              <a:gd name="connsiteY26482" fmla="*/ 636514 h 5282095"/>
              <a:gd name="connsiteX26483" fmla="*/ 4016614 w 7714416"/>
              <a:gd name="connsiteY26483" fmla="*/ 635803 h 5282095"/>
              <a:gd name="connsiteX26484" fmla="*/ 4031900 w 7714416"/>
              <a:gd name="connsiteY26484" fmla="*/ 638519 h 5282095"/>
              <a:gd name="connsiteX26485" fmla="*/ 4028171 w 7714416"/>
              <a:gd name="connsiteY26485" fmla="*/ 654656 h 5282095"/>
              <a:gd name="connsiteX26486" fmla="*/ 4016614 w 7714416"/>
              <a:gd name="connsiteY26486" fmla="*/ 635803 h 5282095"/>
              <a:gd name="connsiteX26487" fmla="*/ 3011982 w 7714416"/>
              <a:gd name="connsiteY26487" fmla="*/ 635256 h 5282095"/>
              <a:gd name="connsiteX26488" fmla="*/ 3003120 w 7714416"/>
              <a:gd name="connsiteY26488" fmla="*/ 639552 h 5282095"/>
              <a:gd name="connsiteX26489" fmla="*/ 3003333 w 7714416"/>
              <a:gd name="connsiteY26489" fmla="*/ 637655 h 5282095"/>
              <a:gd name="connsiteX26490" fmla="*/ 3005949 w 7714416"/>
              <a:gd name="connsiteY26490" fmla="*/ 636745 h 5282095"/>
              <a:gd name="connsiteX26491" fmla="*/ 3011982 w 7714416"/>
              <a:gd name="connsiteY26491" fmla="*/ 635256 h 5282095"/>
              <a:gd name="connsiteX26492" fmla="*/ 1073642 w 7714416"/>
              <a:gd name="connsiteY26492" fmla="*/ 635112 h 5282095"/>
              <a:gd name="connsiteX26493" fmla="*/ 1077004 w 7714416"/>
              <a:gd name="connsiteY26493" fmla="*/ 640268 h 5282095"/>
              <a:gd name="connsiteX26494" fmla="*/ 1073397 w 7714416"/>
              <a:gd name="connsiteY26494" fmla="*/ 640452 h 5282095"/>
              <a:gd name="connsiteX26495" fmla="*/ 1070525 w 7714416"/>
              <a:gd name="connsiteY26495" fmla="*/ 638993 h 5282095"/>
              <a:gd name="connsiteX26496" fmla="*/ 1070212 w 7714416"/>
              <a:gd name="connsiteY26496" fmla="*/ 636838 h 5282095"/>
              <a:gd name="connsiteX26497" fmla="*/ 1073642 w 7714416"/>
              <a:gd name="connsiteY26497" fmla="*/ 635112 h 5282095"/>
              <a:gd name="connsiteX26498" fmla="*/ 3041446 w 7714416"/>
              <a:gd name="connsiteY26498" fmla="*/ 634871 h 5282095"/>
              <a:gd name="connsiteX26499" fmla="*/ 3044318 w 7714416"/>
              <a:gd name="connsiteY26499" fmla="*/ 636331 h 5282095"/>
              <a:gd name="connsiteX26500" fmla="*/ 3033892 w 7714416"/>
              <a:gd name="connsiteY26500" fmla="*/ 638712 h 5282095"/>
              <a:gd name="connsiteX26501" fmla="*/ 3029828 w 7714416"/>
              <a:gd name="connsiteY26501" fmla="*/ 637278 h 5282095"/>
              <a:gd name="connsiteX26502" fmla="*/ 3041446 w 7714416"/>
              <a:gd name="connsiteY26502" fmla="*/ 634871 h 5282095"/>
              <a:gd name="connsiteX26503" fmla="*/ 3390424 w 7714416"/>
              <a:gd name="connsiteY26503" fmla="*/ 634078 h 5282095"/>
              <a:gd name="connsiteX26504" fmla="*/ 3379805 w 7714416"/>
              <a:gd name="connsiteY26504" fmla="*/ 639398 h 5282095"/>
              <a:gd name="connsiteX26505" fmla="*/ 3383485 w 7714416"/>
              <a:gd name="connsiteY26505" fmla="*/ 634519 h 5282095"/>
              <a:gd name="connsiteX26506" fmla="*/ 3390424 w 7714416"/>
              <a:gd name="connsiteY26506" fmla="*/ 634078 h 5282095"/>
              <a:gd name="connsiteX26507" fmla="*/ 3959437 w 7714416"/>
              <a:gd name="connsiteY26507" fmla="*/ 633362 h 5282095"/>
              <a:gd name="connsiteX26508" fmla="*/ 3956227 w 7714416"/>
              <a:gd name="connsiteY26508" fmla="*/ 644233 h 5282095"/>
              <a:gd name="connsiteX26509" fmla="*/ 3949360 w 7714416"/>
              <a:gd name="connsiteY26509" fmla="*/ 639978 h 5282095"/>
              <a:gd name="connsiteX26510" fmla="*/ 3959437 w 7714416"/>
              <a:gd name="connsiteY26510" fmla="*/ 633362 h 5282095"/>
              <a:gd name="connsiteX26511" fmla="*/ 1211706 w 7714416"/>
              <a:gd name="connsiteY26511" fmla="*/ 632302 h 5282095"/>
              <a:gd name="connsiteX26512" fmla="*/ 1223565 w 7714416"/>
              <a:gd name="connsiteY26512" fmla="*/ 633424 h 5282095"/>
              <a:gd name="connsiteX26513" fmla="*/ 1231988 w 7714416"/>
              <a:gd name="connsiteY26513" fmla="*/ 646260 h 5282095"/>
              <a:gd name="connsiteX26514" fmla="*/ 1228822 w 7714416"/>
              <a:gd name="connsiteY26514" fmla="*/ 652543 h 5282095"/>
              <a:gd name="connsiteX26515" fmla="*/ 1224431 w 7714416"/>
              <a:gd name="connsiteY26515" fmla="*/ 653435 h 5282095"/>
              <a:gd name="connsiteX26516" fmla="*/ 1222926 w 7714416"/>
              <a:gd name="connsiteY26516" fmla="*/ 660162 h 5282095"/>
              <a:gd name="connsiteX26517" fmla="*/ 1214236 w 7714416"/>
              <a:gd name="connsiteY26517" fmla="*/ 663814 h 5282095"/>
              <a:gd name="connsiteX26518" fmla="*/ 1211272 w 7714416"/>
              <a:gd name="connsiteY26518" fmla="*/ 660489 h 5282095"/>
              <a:gd name="connsiteX26519" fmla="*/ 1213111 w 7714416"/>
              <a:gd name="connsiteY26519" fmla="*/ 653622 h 5282095"/>
              <a:gd name="connsiteX26520" fmla="*/ 1208683 w 7714416"/>
              <a:gd name="connsiteY26520" fmla="*/ 652437 h 5282095"/>
              <a:gd name="connsiteX26521" fmla="*/ 1203010 w 7714416"/>
              <a:gd name="connsiteY26521" fmla="*/ 648156 h 5282095"/>
              <a:gd name="connsiteX26522" fmla="*/ 1202248 w 7714416"/>
              <a:gd name="connsiteY26522" fmla="*/ 646572 h 5282095"/>
              <a:gd name="connsiteX26523" fmla="*/ 1200663 w 7714416"/>
              <a:gd name="connsiteY26523" fmla="*/ 646952 h 5282095"/>
              <a:gd name="connsiteX26524" fmla="*/ 1195438 w 7714416"/>
              <a:gd name="connsiteY26524" fmla="*/ 642102 h 5282095"/>
              <a:gd name="connsiteX26525" fmla="*/ 1200365 w 7714416"/>
              <a:gd name="connsiteY26525" fmla="*/ 640318 h 5282095"/>
              <a:gd name="connsiteX26526" fmla="*/ 1199545 w 7714416"/>
              <a:gd name="connsiteY26526" fmla="*/ 638948 h 5282095"/>
              <a:gd name="connsiteX26527" fmla="*/ 1198162 w 7714416"/>
              <a:gd name="connsiteY26527" fmla="*/ 638577 h 5282095"/>
              <a:gd name="connsiteX26528" fmla="*/ 1193461 w 7714416"/>
              <a:gd name="connsiteY26528" fmla="*/ 633982 h 5282095"/>
              <a:gd name="connsiteX26529" fmla="*/ 1196498 w 7714416"/>
              <a:gd name="connsiteY26529" fmla="*/ 632610 h 5282095"/>
              <a:gd name="connsiteX26530" fmla="*/ 1200523 w 7714416"/>
              <a:gd name="connsiteY26530" fmla="*/ 635299 h 5282095"/>
              <a:gd name="connsiteX26531" fmla="*/ 1200991 w 7714416"/>
              <a:gd name="connsiteY26531" fmla="*/ 635770 h 5282095"/>
              <a:gd name="connsiteX26532" fmla="*/ 1202708 w 7714416"/>
              <a:gd name="connsiteY26532" fmla="*/ 636000 h 5282095"/>
              <a:gd name="connsiteX26533" fmla="*/ 1203976 w 7714416"/>
              <a:gd name="connsiteY26533" fmla="*/ 636800 h 5282095"/>
              <a:gd name="connsiteX26534" fmla="*/ 1204530 w 7714416"/>
              <a:gd name="connsiteY26534" fmla="*/ 636948 h 5282095"/>
              <a:gd name="connsiteX26535" fmla="*/ 1206995 w 7714416"/>
              <a:gd name="connsiteY26535" fmla="*/ 634389 h 5282095"/>
              <a:gd name="connsiteX26536" fmla="*/ 1211706 w 7714416"/>
              <a:gd name="connsiteY26536" fmla="*/ 632302 h 5282095"/>
              <a:gd name="connsiteX26537" fmla="*/ 3354427 w 7714416"/>
              <a:gd name="connsiteY26537" fmla="*/ 631592 h 5282095"/>
              <a:gd name="connsiteX26538" fmla="*/ 3363387 w 7714416"/>
              <a:gd name="connsiteY26538" fmla="*/ 633158 h 5282095"/>
              <a:gd name="connsiteX26539" fmla="*/ 3364145 w 7714416"/>
              <a:gd name="connsiteY26539" fmla="*/ 638077 h 5282095"/>
              <a:gd name="connsiteX26540" fmla="*/ 3353253 w 7714416"/>
              <a:gd name="connsiteY26540" fmla="*/ 639989 h 5282095"/>
              <a:gd name="connsiteX26541" fmla="*/ 3346015 w 7714416"/>
              <a:gd name="connsiteY26541" fmla="*/ 633794 h 5282095"/>
              <a:gd name="connsiteX26542" fmla="*/ 3354427 w 7714416"/>
              <a:gd name="connsiteY26542" fmla="*/ 631592 h 5282095"/>
              <a:gd name="connsiteX26543" fmla="*/ 2241601 w 7714416"/>
              <a:gd name="connsiteY26543" fmla="*/ 630432 h 5282095"/>
              <a:gd name="connsiteX26544" fmla="*/ 2249683 w 7714416"/>
              <a:gd name="connsiteY26544" fmla="*/ 632367 h 5282095"/>
              <a:gd name="connsiteX26545" fmla="*/ 2253913 w 7714416"/>
              <a:gd name="connsiteY26545" fmla="*/ 639825 h 5282095"/>
              <a:gd name="connsiteX26546" fmla="*/ 2255259 w 7714416"/>
              <a:gd name="connsiteY26546" fmla="*/ 638116 h 5282095"/>
              <a:gd name="connsiteX26547" fmla="*/ 2260672 w 7714416"/>
              <a:gd name="connsiteY26547" fmla="*/ 637841 h 5282095"/>
              <a:gd name="connsiteX26548" fmla="*/ 2265020 w 7714416"/>
              <a:gd name="connsiteY26548" fmla="*/ 641538 h 5282095"/>
              <a:gd name="connsiteX26549" fmla="*/ 2265139 w 7714416"/>
              <a:gd name="connsiteY26549" fmla="*/ 646629 h 5282095"/>
              <a:gd name="connsiteX26550" fmla="*/ 2258333 w 7714416"/>
              <a:gd name="connsiteY26550" fmla="*/ 647680 h 5282095"/>
              <a:gd name="connsiteX26551" fmla="*/ 2254937 w 7714416"/>
              <a:gd name="connsiteY26551" fmla="*/ 645965 h 5282095"/>
              <a:gd name="connsiteX26552" fmla="*/ 2254724 w 7714416"/>
              <a:gd name="connsiteY26552" fmla="*/ 647863 h 5282095"/>
              <a:gd name="connsiteX26553" fmla="*/ 2251766 w 7714416"/>
              <a:gd name="connsiteY26553" fmla="*/ 655580 h 5282095"/>
              <a:gd name="connsiteX26554" fmla="*/ 2248493 w 7714416"/>
              <a:gd name="connsiteY26554" fmla="*/ 655624 h 5282095"/>
              <a:gd name="connsiteX26555" fmla="*/ 2251400 w 7714416"/>
              <a:gd name="connsiteY26555" fmla="*/ 659163 h 5282095"/>
              <a:gd name="connsiteX26556" fmla="*/ 2243206 w 7714416"/>
              <a:gd name="connsiteY26556" fmla="*/ 663177 h 5282095"/>
              <a:gd name="connsiteX26557" fmla="*/ 2237906 w 7714416"/>
              <a:gd name="connsiteY26557" fmla="*/ 657502 h 5282095"/>
              <a:gd name="connsiteX26558" fmla="*/ 2239793 w 7714416"/>
              <a:gd name="connsiteY26558" fmla="*/ 651567 h 5282095"/>
              <a:gd name="connsiteX26559" fmla="*/ 2242254 w 7714416"/>
              <a:gd name="connsiteY26559" fmla="*/ 652342 h 5282095"/>
              <a:gd name="connsiteX26560" fmla="*/ 2238690 w 7714416"/>
              <a:gd name="connsiteY26560" fmla="*/ 647937 h 5282095"/>
              <a:gd name="connsiteX26561" fmla="*/ 2236549 w 7714416"/>
              <a:gd name="connsiteY26561" fmla="*/ 642647 h 5282095"/>
              <a:gd name="connsiteX26562" fmla="*/ 2238700 w 7714416"/>
              <a:gd name="connsiteY26562" fmla="*/ 637933 h 5282095"/>
              <a:gd name="connsiteX26563" fmla="*/ 2241601 w 7714416"/>
              <a:gd name="connsiteY26563" fmla="*/ 630432 h 5282095"/>
              <a:gd name="connsiteX26564" fmla="*/ 2583392 w 7714416"/>
              <a:gd name="connsiteY26564" fmla="*/ 629898 h 5282095"/>
              <a:gd name="connsiteX26565" fmla="*/ 2613050 w 7714416"/>
              <a:gd name="connsiteY26565" fmla="*/ 644285 h 5282095"/>
              <a:gd name="connsiteX26566" fmla="*/ 2603221 w 7714416"/>
              <a:gd name="connsiteY26566" fmla="*/ 642226 h 5282095"/>
              <a:gd name="connsiteX26567" fmla="*/ 2598104 w 7714416"/>
              <a:gd name="connsiteY26567" fmla="*/ 643615 h 5282095"/>
              <a:gd name="connsiteX26568" fmla="*/ 2582796 w 7714416"/>
              <a:gd name="connsiteY26568" fmla="*/ 643193 h 5282095"/>
              <a:gd name="connsiteX26569" fmla="*/ 2580679 w 7714416"/>
              <a:gd name="connsiteY26569" fmla="*/ 641131 h 5282095"/>
              <a:gd name="connsiteX26570" fmla="*/ 2565122 w 7714416"/>
              <a:gd name="connsiteY26570" fmla="*/ 640527 h 5282095"/>
              <a:gd name="connsiteX26571" fmla="*/ 2557012 w 7714416"/>
              <a:gd name="connsiteY26571" fmla="*/ 638700 h 5282095"/>
              <a:gd name="connsiteX26572" fmla="*/ 2548750 w 7714416"/>
              <a:gd name="connsiteY26572" fmla="*/ 635221 h 5282095"/>
              <a:gd name="connsiteX26573" fmla="*/ 2583392 w 7714416"/>
              <a:gd name="connsiteY26573" fmla="*/ 629898 h 5282095"/>
              <a:gd name="connsiteX26574" fmla="*/ 3914010 w 7714416"/>
              <a:gd name="connsiteY26574" fmla="*/ 629126 h 5282095"/>
              <a:gd name="connsiteX26575" fmla="*/ 3918995 w 7714416"/>
              <a:gd name="connsiteY26575" fmla="*/ 635981 h 5282095"/>
              <a:gd name="connsiteX26576" fmla="*/ 3913198 w 7714416"/>
              <a:gd name="connsiteY26576" fmla="*/ 638798 h 5282095"/>
              <a:gd name="connsiteX26577" fmla="*/ 3909795 w 7714416"/>
              <a:gd name="connsiteY26577" fmla="*/ 634896 h 5282095"/>
              <a:gd name="connsiteX26578" fmla="*/ 3908786 w 7714416"/>
              <a:gd name="connsiteY26578" fmla="*/ 633131 h 5282095"/>
              <a:gd name="connsiteX26579" fmla="*/ 3909626 w 7714416"/>
              <a:gd name="connsiteY26579" fmla="*/ 641061 h 5282095"/>
              <a:gd name="connsiteX26580" fmla="*/ 3908641 w 7714416"/>
              <a:gd name="connsiteY26580" fmla="*/ 642522 h 5282095"/>
              <a:gd name="connsiteX26581" fmla="*/ 3908947 w 7714416"/>
              <a:gd name="connsiteY26581" fmla="*/ 642490 h 5282095"/>
              <a:gd name="connsiteX26582" fmla="*/ 3909816 w 7714416"/>
              <a:gd name="connsiteY26582" fmla="*/ 650312 h 5282095"/>
              <a:gd name="connsiteX26583" fmla="*/ 3904243 w 7714416"/>
              <a:gd name="connsiteY26583" fmla="*/ 650084 h 5282095"/>
              <a:gd name="connsiteX26584" fmla="*/ 3903287 w 7714416"/>
              <a:gd name="connsiteY26584" fmla="*/ 651438 h 5282095"/>
              <a:gd name="connsiteX26585" fmla="*/ 3879181 w 7714416"/>
              <a:gd name="connsiteY26585" fmla="*/ 657284 h 5282095"/>
              <a:gd name="connsiteX26586" fmla="*/ 3908254 w 7714416"/>
              <a:gd name="connsiteY26586" fmla="*/ 630688 h 5282095"/>
              <a:gd name="connsiteX26587" fmla="*/ 3908548 w 7714416"/>
              <a:gd name="connsiteY26587" fmla="*/ 631802 h 5282095"/>
              <a:gd name="connsiteX26588" fmla="*/ 3911049 w 7714416"/>
              <a:gd name="connsiteY26588" fmla="*/ 631322 h 5282095"/>
              <a:gd name="connsiteX26589" fmla="*/ 3914010 w 7714416"/>
              <a:gd name="connsiteY26589" fmla="*/ 629126 h 5282095"/>
              <a:gd name="connsiteX26590" fmla="*/ 3283124 w 7714416"/>
              <a:gd name="connsiteY26590" fmla="*/ 628328 h 5282095"/>
              <a:gd name="connsiteX26591" fmla="*/ 3287415 w 7714416"/>
              <a:gd name="connsiteY26591" fmla="*/ 632237 h 5282095"/>
              <a:gd name="connsiteX26592" fmla="*/ 3288507 w 7714416"/>
              <a:gd name="connsiteY26592" fmla="*/ 637015 h 5282095"/>
              <a:gd name="connsiteX26593" fmla="*/ 3293571 w 7714416"/>
              <a:gd name="connsiteY26593" fmla="*/ 641362 h 5282095"/>
              <a:gd name="connsiteX26594" fmla="*/ 3288953 w 7714416"/>
              <a:gd name="connsiteY26594" fmla="*/ 639780 h 5282095"/>
              <a:gd name="connsiteX26595" fmla="*/ 3289334 w 7714416"/>
              <a:gd name="connsiteY26595" fmla="*/ 640572 h 5282095"/>
              <a:gd name="connsiteX26596" fmla="*/ 3288658 w 7714416"/>
              <a:gd name="connsiteY26596" fmla="*/ 647520 h 5282095"/>
              <a:gd name="connsiteX26597" fmla="*/ 3294842 w 7714416"/>
              <a:gd name="connsiteY26597" fmla="*/ 647683 h 5282095"/>
              <a:gd name="connsiteX26598" fmla="*/ 3287788 w 7714416"/>
              <a:gd name="connsiteY26598" fmla="*/ 666263 h 5282095"/>
              <a:gd name="connsiteX26599" fmla="*/ 3283227 w 7714416"/>
              <a:gd name="connsiteY26599" fmla="*/ 664466 h 5282095"/>
              <a:gd name="connsiteX26600" fmla="*/ 3284518 w 7714416"/>
              <a:gd name="connsiteY26600" fmla="*/ 654117 h 5282095"/>
              <a:gd name="connsiteX26601" fmla="*/ 3286785 w 7714416"/>
              <a:gd name="connsiteY26601" fmla="*/ 648974 h 5282095"/>
              <a:gd name="connsiteX26602" fmla="*/ 3277403 w 7714416"/>
              <a:gd name="connsiteY26602" fmla="*/ 649680 h 5282095"/>
              <a:gd name="connsiteX26603" fmla="*/ 3263007 w 7714416"/>
              <a:gd name="connsiteY26603" fmla="*/ 643638 h 5282095"/>
              <a:gd name="connsiteX26604" fmla="*/ 3283124 w 7714416"/>
              <a:gd name="connsiteY26604" fmla="*/ 628328 h 5282095"/>
              <a:gd name="connsiteX26605" fmla="*/ 2034568 w 7714416"/>
              <a:gd name="connsiteY26605" fmla="*/ 628318 h 5282095"/>
              <a:gd name="connsiteX26606" fmla="*/ 2036569 w 7714416"/>
              <a:gd name="connsiteY26606" fmla="*/ 630810 h 5282095"/>
              <a:gd name="connsiteX26607" fmla="*/ 2036785 w 7714416"/>
              <a:gd name="connsiteY26607" fmla="*/ 634433 h 5282095"/>
              <a:gd name="connsiteX26608" fmla="*/ 2028481 w 7714416"/>
              <a:gd name="connsiteY26608" fmla="*/ 635542 h 5282095"/>
              <a:gd name="connsiteX26609" fmla="*/ 2026479 w 7714416"/>
              <a:gd name="connsiteY26609" fmla="*/ 633050 h 5282095"/>
              <a:gd name="connsiteX26610" fmla="*/ 2027762 w 7714416"/>
              <a:gd name="connsiteY26610" fmla="*/ 629370 h 5282095"/>
              <a:gd name="connsiteX26611" fmla="*/ 2034568 w 7714416"/>
              <a:gd name="connsiteY26611" fmla="*/ 628318 h 5282095"/>
              <a:gd name="connsiteX26612" fmla="*/ 1706072 w 7714416"/>
              <a:gd name="connsiteY26612" fmla="*/ 627930 h 5282095"/>
              <a:gd name="connsiteX26613" fmla="*/ 1731810 w 7714416"/>
              <a:gd name="connsiteY26613" fmla="*/ 631490 h 5282095"/>
              <a:gd name="connsiteX26614" fmla="*/ 1713088 w 7714416"/>
              <a:gd name="connsiteY26614" fmla="*/ 637169 h 5282095"/>
              <a:gd name="connsiteX26615" fmla="*/ 1704531 w 7714416"/>
              <a:gd name="connsiteY26615" fmla="*/ 632576 h 5282095"/>
              <a:gd name="connsiteX26616" fmla="*/ 1706072 w 7714416"/>
              <a:gd name="connsiteY26616" fmla="*/ 627930 h 5282095"/>
              <a:gd name="connsiteX26617" fmla="*/ 5419520 w 7714416"/>
              <a:gd name="connsiteY26617" fmla="*/ 626455 h 5282095"/>
              <a:gd name="connsiteX26618" fmla="*/ 5419830 w 7714416"/>
              <a:gd name="connsiteY26618" fmla="*/ 640798 h 5282095"/>
              <a:gd name="connsiteX26619" fmla="*/ 5417167 w 7714416"/>
              <a:gd name="connsiteY26619" fmla="*/ 631920 h 5282095"/>
              <a:gd name="connsiteX26620" fmla="*/ 5419520 w 7714416"/>
              <a:gd name="connsiteY26620" fmla="*/ 626455 h 5282095"/>
              <a:gd name="connsiteX26621" fmla="*/ 1453445 w 7714416"/>
              <a:gd name="connsiteY26621" fmla="*/ 625947 h 5282095"/>
              <a:gd name="connsiteX26622" fmla="*/ 1460650 w 7714416"/>
              <a:gd name="connsiteY26622" fmla="*/ 628525 h 5282095"/>
              <a:gd name="connsiteX26623" fmla="*/ 1448194 w 7714416"/>
              <a:gd name="connsiteY26623" fmla="*/ 637377 h 5282095"/>
              <a:gd name="connsiteX26624" fmla="*/ 1442812 w 7714416"/>
              <a:gd name="connsiteY26624" fmla="*/ 637544 h 5282095"/>
              <a:gd name="connsiteX26625" fmla="*/ 1438195 w 7714416"/>
              <a:gd name="connsiteY26625" fmla="*/ 635962 h 5282095"/>
              <a:gd name="connsiteX26626" fmla="*/ 1437759 w 7714416"/>
              <a:gd name="connsiteY26626" fmla="*/ 632050 h 5282095"/>
              <a:gd name="connsiteX26627" fmla="*/ 1444933 w 7714416"/>
              <a:gd name="connsiteY26627" fmla="*/ 627418 h 5282095"/>
              <a:gd name="connsiteX26628" fmla="*/ 1453445 w 7714416"/>
              <a:gd name="connsiteY26628" fmla="*/ 625947 h 5282095"/>
              <a:gd name="connsiteX26629" fmla="*/ 2761827 w 7714416"/>
              <a:gd name="connsiteY26629" fmla="*/ 625844 h 5282095"/>
              <a:gd name="connsiteX26630" fmla="*/ 2761406 w 7714416"/>
              <a:gd name="connsiteY26630" fmla="*/ 626306 h 5282095"/>
              <a:gd name="connsiteX26631" fmla="*/ 2761816 w 7714416"/>
              <a:gd name="connsiteY26631" fmla="*/ 626991 h 5282095"/>
              <a:gd name="connsiteX26632" fmla="*/ 2105638 w 7714416"/>
              <a:gd name="connsiteY26632" fmla="*/ 625396 h 5282095"/>
              <a:gd name="connsiteX26633" fmla="*/ 2115658 w 7714416"/>
              <a:gd name="connsiteY26633" fmla="*/ 627850 h 5282095"/>
              <a:gd name="connsiteX26634" fmla="*/ 2114744 w 7714416"/>
              <a:gd name="connsiteY26634" fmla="*/ 642326 h 5282095"/>
              <a:gd name="connsiteX26635" fmla="*/ 2104262 w 7714416"/>
              <a:gd name="connsiteY26635" fmla="*/ 636068 h 5282095"/>
              <a:gd name="connsiteX26636" fmla="*/ 2103521 w 7714416"/>
              <a:gd name="connsiteY26636" fmla="*/ 632189 h 5282095"/>
              <a:gd name="connsiteX26637" fmla="*/ 2107241 w 7714416"/>
              <a:gd name="connsiteY26637" fmla="*/ 626055 h 5282095"/>
              <a:gd name="connsiteX26638" fmla="*/ 2105638 w 7714416"/>
              <a:gd name="connsiteY26638" fmla="*/ 625396 h 5282095"/>
              <a:gd name="connsiteX26639" fmla="*/ 3199272 w 7714416"/>
              <a:gd name="connsiteY26639" fmla="*/ 624720 h 5282095"/>
              <a:gd name="connsiteX26640" fmla="*/ 3202110 w 7714416"/>
              <a:gd name="connsiteY26640" fmla="*/ 638476 h 5282095"/>
              <a:gd name="connsiteX26641" fmla="*/ 3193048 w 7714416"/>
              <a:gd name="connsiteY26641" fmla="*/ 625813 h 5282095"/>
              <a:gd name="connsiteX26642" fmla="*/ 3199272 w 7714416"/>
              <a:gd name="connsiteY26642" fmla="*/ 624720 h 5282095"/>
              <a:gd name="connsiteX26643" fmla="*/ 2071631 w 7714416"/>
              <a:gd name="connsiteY26643" fmla="*/ 622954 h 5282095"/>
              <a:gd name="connsiteX26644" fmla="*/ 2083983 w 7714416"/>
              <a:gd name="connsiteY26644" fmla="*/ 624309 h 5282095"/>
              <a:gd name="connsiteX26645" fmla="*/ 2093520 w 7714416"/>
              <a:gd name="connsiteY26645" fmla="*/ 630774 h 5282095"/>
              <a:gd name="connsiteX26646" fmla="*/ 2090519 w 7714416"/>
              <a:gd name="connsiteY26646" fmla="*/ 651936 h 5282095"/>
              <a:gd name="connsiteX26647" fmla="*/ 2086682 w 7714416"/>
              <a:gd name="connsiteY26647" fmla="*/ 652977 h 5282095"/>
              <a:gd name="connsiteX26648" fmla="*/ 2081935 w 7714416"/>
              <a:gd name="connsiteY26648" fmla="*/ 656305 h 5282095"/>
              <a:gd name="connsiteX26649" fmla="*/ 2064244 w 7714416"/>
              <a:gd name="connsiteY26649" fmla="*/ 643744 h 5282095"/>
              <a:gd name="connsiteX26650" fmla="*/ 2065297 w 7714416"/>
              <a:gd name="connsiteY26650" fmla="*/ 623212 h 5282095"/>
              <a:gd name="connsiteX26651" fmla="*/ 2071631 w 7714416"/>
              <a:gd name="connsiteY26651" fmla="*/ 622954 h 5282095"/>
              <a:gd name="connsiteX26652" fmla="*/ 1591711 w 7714416"/>
              <a:gd name="connsiteY26652" fmla="*/ 620861 h 5282095"/>
              <a:gd name="connsiteX26653" fmla="*/ 1600350 w 7714416"/>
              <a:gd name="connsiteY26653" fmla="*/ 628466 h 5282095"/>
              <a:gd name="connsiteX26654" fmla="*/ 1594813 w 7714416"/>
              <a:gd name="connsiteY26654" fmla="*/ 630318 h 5282095"/>
              <a:gd name="connsiteX26655" fmla="*/ 1602241 w 7714416"/>
              <a:gd name="connsiteY26655" fmla="*/ 636908 h 5282095"/>
              <a:gd name="connsiteX26656" fmla="*/ 1605029 w 7714416"/>
              <a:gd name="connsiteY26656" fmla="*/ 644210 h 5282095"/>
              <a:gd name="connsiteX26657" fmla="*/ 1598837 w 7714416"/>
              <a:gd name="connsiteY26657" fmla="*/ 650716 h 5282095"/>
              <a:gd name="connsiteX26658" fmla="*/ 1592652 w 7714416"/>
              <a:gd name="connsiteY26658" fmla="*/ 650554 h 5282095"/>
              <a:gd name="connsiteX26659" fmla="*/ 1594578 w 7714416"/>
              <a:gd name="connsiteY26659" fmla="*/ 652220 h 5282095"/>
              <a:gd name="connsiteX26660" fmla="*/ 1597867 w 7714416"/>
              <a:gd name="connsiteY26660" fmla="*/ 656551 h 5282095"/>
              <a:gd name="connsiteX26661" fmla="*/ 1591499 w 7714416"/>
              <a:gd name="connsiteY26661" fmla="*/ 658181 h 5282095"/>
              <a:gd name="connsiteX26662" fmla="*/ 1587014 w 7714416"/>
              <a:gd name="connsiteY26662" fmla="*/ 657208 h 5282095"/>
              <a:gd name="connsiteX26663" fmla="*/ 1587137 w 7714416"/>
              <a:gd name="connsiteY26663" fmla="*/ 658966 h 5282095"/>
              <a:gd name="connsiteX26664" fmla="*/ 1568961 w 7714416"/>
              <a:gd name="connsiteY26664" fmla="*/ 662606 h 5282095"/>
              <a:gd name="connsiteX26665" fmla="*/ 1566219 w 7714416"/>
              <a:gd name="connsiteY26665" fmla="*/ 656236 h 5282095"/>
              <a:gd name="connsiteX26666" fmla="*/ 1565707 w 7714416"/>
              <a:gd name="connsiteY26666" fmla="*/ 651500 h 5282095"/>
              <a:gd name="connsiteX26667" fmla="*/ 1577366 w 7714416"/>
              <a:gd name="connsiteY26667" fmla="*/ 647837 h 5282095"/>
              <a:gd name="connsiteX26668" fmla="*/ 1577919 w 7714416"/>
              <a:gd name="connsiteY26668" fmla="*/ 647986 h 5282095"/>
              <a:gd name="connsiteX26669" fmla="*/ 1577976 w 7714416"/>
              <a:gd name="connsiteY26669" fmla="*/ 647772 h 5282095"/>
              <a:gd name="connsiteX26670" fmla="*/ 1580650 w 7714416"/>
              <a:gd name="connsiteY26670" fmla="*/ 646648 h 5282095"/>
              <a:gd name="connsiteX26671" fmla="*/ 1577530 w 7714416"/>
              <a:gd name="connsiteY26671" fmla="*/ 645007 h 5282095"/>
              <a:gd name="connsiteX26672" fmla="*/ 1573604 w 7714416"/>
              <a:gd name="connsiteY26672" fmla="*/ 631995 h 5282095"/>
              <a:gd name="connsiteX26673" fmla="*/ 1573010 w 7714416"/>
              <a:gd name="connsiteY26673" fmla="*/ 633101 h 5282095"/>
              <a:gd name="connsiteX26674" fmla="*/ 1546827 w 7714416"/>
              <a:gd name="connsiteY26674" fmla="*/ 635630 h 5282095"/>
              <a:gd name="connsiteX26675" fmla="*/ 1549656 w 7714416"/>
              <a:gd name="connsiteY26675" fmla="*/ 632823 h 5282095"/>
              <a:gd name="connsiteX26676" fmla="*/ 1551852 w 7714416"/>
              <a:gd name="connsiteY26676" fmla="*/ 632377 h 5282095"/>
              <a:gd name="connsiteX26677" fmla="*/ 1552139 w 7714416"/>
              <a:gd name="connsiteY26677" fmla="*/ 631304 h 5282095"/>
              <a:gd name="connsiteX26678" fmla="*/ 1553742 w 7714416"/>
              <a:gd name="connsiteY26678" fmla="*/ 631963 h 5282095"/>
              <a:gd name="connsiteX26679" fmla="*/ 1557581 w 7714416"/>
              <a:gd name="connsiteY26679" fmla="*/ 630921 h 5282095"/>
              <a:gd name="connsiteX26680" fmla="*/ 1564781 w 7714416"/>
              <a:gd name="connsiteY26680" fmla="*/ 626181 h 5282095"/>
              <a:gd name="connsiteX26681" fmla="*/ 1575968 w 7714416"/>
              <a:gd name="connsiteY26681" fmla="*/ 625383 h 5282095"/>
              <a:gd name="connsiteX26682" fmla="*/ 1578293 w 7714416"/>
              <a:gd name="connsiteY26682" fmla="*/ 628881 h 5282095"/>
              <a:gd name="connsiteX26683" fmla="*/ 1582408 w 7714416"/>
              <a:gd name="connsiteY26683" fmla="*/ 627913 h 5282095"/>
              <a:gd name="connsiteX26684" fmla="*/ 1587162 w 7714416"/>
              <a:gd name="connsiteY26684" fmla="*/ 626773 h 5282095"/>
              <a:gd name="connsiteX26685" fmla="*/ 1588157 w 7714416"/>
              <a:gd name="connsiteY26685" fmla="*/ 624163 h 5282095"/>
              <a:gd name="connsiteX26686" fmla="*/ 1591711 w 7714416"/>
              <a:gd name="connsiteY26686" fmla="*/ 620861 h 5282095"/>
              <a:gd name="connsiteX26687" fmla="*/ 1146921 w 7714416"/>
              <a:gd name="connsiteY26687" fmla="*/ 618407 h 5282095"/>
              <a:gd name="connsiteX26688" fmla="*/ 1154399 w 7714416"/>
              <a:gd name="connsiteY26688" fmla="*/ 622596 h 5282095"/>
              <a:gd name="connsiteX26689" fmla="*/ 1155427 w 7714416"/>
              <a:gd name="connsiteY26689" fmla="*/ 634257 h 5282095"/>
              <a:gd name="connsiteX26690" fmla="*/ 1149293 w 7714416"/>
              <a:gd name="connsiteY26690" fmla="*/ 631693 h 5282095"/>
              <a:gd name="connsiteX26691" fmla="*/ 1144847 w 7714416"/>
              <a:gd name="connsiteY26691" fmla="*/ 620611 h 5282095"/>
              <a:gd name="connsiteX26692" fmla="*/ 1146921 w 7714416"/>
              <a:gd name="connsiteY26692" fmla="*/ 618407 h 5282095"/>
              <a:gd name="connsiteX26693" fmla="*/ 3988372 w 7714416"/>
              <a:gd name="connsiteY26693" fmla="*/ 618345 h 5282095"/>
              <a:gd name="connsiteX26694" fmla="*/ 4012079 w 7714416"/>
              <a:gd name="connsiteY26694" fmla="*/ 619523 h 5282095"/>
              <a:gd name="connsiteX26695" fmla="*/ 4001309 w 7714416"/>
              <a:gd name="connsiteY26695" fmla="*/ 632048 h 5282095"/>
              <a:gd name="connsiteX26696" fmla="*/ 3988372 w 7714416"/>
              <a:gd name="connsiteY26696" fmla="*/ 618345 h 5282095"/>
              <a:gd name="connsiteX26697" fmla="*/ 5604155 w 7714416"/>
              <a:gd name="connsiteY26697" fmla="*/ 618082 h 5282095"/>
              <a:gd name="connsiteX26698" fmla="*/ 5604096 w 7714416"/>
              <a:gd name="connsiteY26698" fmla="*/ 627152 h 5282095"/>
              <a:gd name="connsiteX26699" fmla="*/ 5599878 w 7714416"/>
              <a:gd name="connsiteY26699" fmla="*/ 627402 h 5282095"/>
              <a:gd name="connsiteX26700" fmla="*/ 5593758 w 7714416"/>
              <a:gd name="connsiteY26700" fmla="*/ 620356 h 5282095"/>
              <a:gd name="connsiteX26701" fmla="*/ 5604155 w 7714416"/>
              <a:gd name="connsiteY26701" fmla="*/ 618082 h 5282095"/>
              <a:gd name="connsiteX26702" fmla="*/ 1857563 w 7714416"/>
              <a:gd name="connsiteY26702" fmla="*/ 615965 h 5282095"/>
              <a:gd name="connsiteX26703" fmla="*/ 1861387 w 7714416"/>
              <a:gd name="connsiteY26703" fmla="*/ 619404 h 5282095"/>
              <a:gd name="connsiteX26704" fmla="*/ 1861246 w 7714416"/>
              <a:gd name="connsiteY26704" fmla="*/ 625462 h 5282095"/>
              <a:gd name="connsiteX26705" fmla="*/ 1858107 w 7714416"/>
              <a:gd name="connsiteY26705" fmla="*/ 626115 h 5282095"/>
              <a:gd name="connsiteX26706" fmla="*/ 1847175 w 7714416"/>
              <a:gd name="connsiteY26706" fmla="*/ 620427 h 5282095"/>
              <a:gd name="connsiteX26707" fmla="*/ 1846740 w 7714416"/>
              <a:gd name="connsiteY26707" fmla="*/ 616515 h 5282095"/>
              <a:gd name="connsiteX26708" fmla="*/ 1857563 w 7714416"/>
              <a:gd name="connsiteY26708" fmla="*/ 615965 h 5282095"/>
              <a:gd name="connsiteX26709" fmla="*/ 3371188 w 7714416"/>
              <a:gd name="connsiteY26709" fmla="*/ 615943 h 5282095"/>
              <a:gd name="connsiteX26710" fmla="*/ 3384944 w 7714416"/>
              <a:gd name="connsiteY26710" fmla="*/ 618005 h 5282095"/>
              <a:gd name="connsiteX26711" fmla="*/ 3390511 w 7714416"/>
              <a:gd name="connsiteY26711" fmla="*/ 624901 h 5282095"/>
              <a:gd name="connsiteX26712" fmla="*/ 3373269 w 7714416"/>
              <a:gd name="connsiteY26712" fmla="*/ 629482 h 5282095"/>
              <a:gd name="connsiteX26713" fmla="*/ 3367030 w 7714416"/>
              <a:gd name="connsiteY26713" fmla="*/ 626200 h 5282095"/>
              <a:gd name="connsiteX26714" fmla="*/ 3371188 w 7714416"/>
              <a:gd name="connsiteY26714" fmla="*/ 615943 h 5282095"/>
              <a:gd name="connsiteX26715" fmla="*/ 4937774 w 7714416"/>
              <a:gd name="connsiteY26715" fmla="*/ 615823 h 5282095"/>
              <a:gd name="connsiteX26716" fmla="*/ 4943535 w 7714416"/>
              <a:gd name="connsiteY26716" fmla="*/ 619782 h 5282095"/>
              <a:gd name="connsiteX26717" fmla="*/ 4946722 w 7714416"/>
              <a:gd name="connsiteY26717" fmla="*/ 628916 h 5282095"/>
              <a:gd name="connsiteX26718" fmla="*/ 4925692 w 7714416"/>
              <a:gd name="connsiteY26718" fmla="*/ 632136 h 5282095"/>
              <a:gd name="connsiteX26719" fmla="*/ 4919368 w 7714416"/>
              <a:gd name="connsiteY26719" fmla="*/ 629176 h 5282095"/>
              <a:gd name="connsiteX26720" fmla="*/ 4918214 w 7714416"/>
              <a:gd name="connsiteY26720" fmla="*/ 619093 h 5282095"/>
              <a:gd name="connsiteX26721" fmla="*/ 4937774 w 7714416"/>
              <a:gd name="connsiteY26721" fmla="*/ 615823 h 5282095"/>
              <a:gd name="connsiteX26722" fmla="*/ 3646671 w 7714416"/>
              <a:gd name="connsiteY26722" fmla="*/ 615224 h 5282095"/>
              <a:gd name="connsiteX26723" fmla="*/ 3659396 w 7714416"/>
              <a:gd name="connsiteY26723" fmla="*/ 630822 h 5282095"/>
              <a:gd name="connsiteX26724" fmla="*/ 3652122 w 7714416"/>
              <a:gd name="connsiteY26724" fmla="*/ 631404 h 5282095"/>
              <a:gd name="connsiteX26725" fmla="*/ 3642887 w 7714416"/>
              <a:gd name="connsiteY26725" fmla="*/ 628240 h 5282095"/>
              <a:gd name="connsiteX26726" fmla="*/ 3646671 w 7714416"/>
              <a:gd name="connsiteY26726" fmla="*/ 615224 h 5282095"/>
              <a:gd name="connsiteX26727" fmla="*/ 4653861 w 7714416"/>
              <a:gd name="connsiteY26727" fmla="*/ 615075 h 5282095"/>
              <a:gd name="connsiteX26728" fmla="*/ 4667125 w 7714416"/>
              <a:gd name="connsiteY26728" fmla="*/ 617594 h 5282095"/>
              <a:gd name="connsiteX26729" fmla="*/ 4665016 w 7714416"/>
              <a:gd name="connsiteY26729" fmla="*/ 626574 h 5282095"/>
              <a:gd name="connsiteX26730" fmla="*/ 4651612 w 7714416"/>
              <a:gd name="connsiteY26730" fmla="*/ 621258 h 5282095"/>
              <a:gd name="connsiteX26731" fmla="*/ 4653861 w 7714416"/>
              <a:gd name="connsiteY26731" fmla="*/ 615075 h 5282095"/>
              <a:gd name="connsiteX26732" fmla="*/ 1513206 w 7714416"/>
              <a:gd name="connsiteY26732" fmla="*/ 615007 h 5282095"/>
              <a:gd name="connsiteX26733" fmla="*/ 1508421 w 7714416"/>
              <a:gd name="connsiteY26733" fmla="*/ 628444 h 5282095"/>
              <a:gd name="connsiteX26734" fmla="*/ 1499321 w 7714416"/>
              <a:gd name="connsiteY26734" fmla="*/ 631411 h 5282095"/>
              <a:gd name="connsiteX26735" fmla="*/ 1496661 w 7714416"/>
              <a:gd name="connsiteY26735" fmla="*/ 628053 h 5282095"/>
              <a:gd name="connsiteX26736" fmla="*/ 1499838 w 7714416"/>
              <a:gd name="connsiteY26736" fmla="*/ 620624 h 5282095"/>
              <a:gd name="connsiteX26737" fmla="*/ 1513206 w 7714416"/>
              <a:gd name="connsiteY26737" fmla="*/ 615007 h 5282095"/>
              <a:gd name="connsiteX26738" fmla="*/ 3400544 w 7714416"/>
              <a:gd name="connsiteY26738" fmla="*/ 614020 h 5282095"/>
              <a:gd name="connsiteX26739" fmla="*/ 3407440 w 7714416"/>
              <a:gd name="connsiteY26739" fmla="*/ 618167 h 5282095"/>
              <a:gd name="connsiteX26740" fmla="*/ 3407792 w 7714416"/>
              <a:gd name="connsiteY26740" fmla="*/ 619066 h 5282095"/>
              <a:gd name="connsiteX26741" fmla="*/ 3415587 w 7714416"/>
              <a:gd name="connsiteY26741" fmla="*/ 622075 h 5282095"/>
              <a:gd name="connsiteX26742" fmla="*/ 3421965 w 7714416"/>
              <a:gd name="connsiteY26742" fmla="*/ 628155 h 5282095"/>
              <a:gd name="connsiteX26743" fmla="*/ 3413021 w 7714416"/>
              <a:gd name="connsiteY26743" fmla="*/ 629438 h 5282095"/>
              <a:gd name="connsiteX26744" fmla="*/ 3409977 w 7714416"/>
              <a:gd name="connsiteY26744" fmla="*/ 628622 h 5282095"/>
              <a:gd name="connsiteX26745" fmla="*/ 3408956 w 7714416"/>
              <a:gd name="connsiteY26745" fmla="*/ 636859 h 5282095"/>
              <a:gd name="connsiteX26746" fmla="*/ 3404615 w 7714416"/>
              <a:gd name="connsiteY26746" fmla="*/ 644205 h 5282095"/>
              <a:gd name="connsiteX26747" fmla="*/ 3410045 w 7714416"/>
              <a:gd name="connsiteY26747" fmla="*/ 644971 h 5282095"/>
              <a:gd name="connsiteX26748" fmla="*/ 3421595 w 7714416"/>
              <a:gd name="connsiteY26748" fmla="*/ 661636 h 5282095"/>
              <a:gd name="connsiteX26749" fmla="*/ 3405876 w 7714416"/>
              <a:gd name="connsiteY26749" fmla="*/ 660530 h 5282095"/>
              <a:gd name="connsiteX26750" fmla="*/ 3404019 w 7714416"/>
              <a:gd name="connsiteY26750" fmla="*/ 657501 h 5282095"/>
              <a:gd name="connsiteX26751" fmla="*/ 3402035 w 7714416"/>
              <a:gd name="connsiteY26751" fmla="*/ 656050 h 5282095"/>
              <a:gd name="connsiteX26752" fmla="*/ 3397863 w 7714416"/>
              <a:gd name="connsiteY26752" fmla="*/ 657233 h 5282095"/>
              <a:gd name="connsiteX26753" fmla="*/ 3393191 w 7714416"/>
              <a:gd name="connsiteY26753" fmla="*/ 661385 h 5282095"/>
              <a:gd name="connsiteX26754" fmla="*/ 3389514 w 7714416"/>
              <a:gd name="connsiteY26754" fmla="*/ 654075 h 5282095"/>
              <a:gd name="connsiteX26755" fmla="*/ 3389608 w 7714416"/>
              <a:gd name="connsiteY26755" fmla="*/ 647084 h 5282095"/>
              <a:gd name="connsiteX26756" fmla="*/ 3399961 w 7714416"/>
              <a:gd name="connsiteY26756" fmla="*/ 649400 h 5282095"/>
              <a:gd name="connsiteX26757" fmla="*/ 3399792 w 7714416"/>
              <a:gd name="connsiteY26757" fmla="*/ 646709 h 5282095"/>
              <a:gd name="connsiteX26758" fmla="*/ 3401457 w 7714416"/>
              <a:gd name="connsiteY26758" fmla="*/ 643820 h 5282095"/>
              <a:gd name="connsiteX26759" fmla="*/ 3404309 w 7714416"/>
              <a:gd name="connsiteY26759" fmla="*/ 644239 h 5282095"/>
              <a:gd name="connsiteX26760" fmla="*/ 3397360 w 7714416"/>
              <a:gd name="connsiteY26760" fmla="*/ 636971 h 5282095"/>
              <a:gd name="connsiteX26761" fmla="*/ 3395638 w 7714416"/>
              <a:gd name="connsiteY26761" fmla="*/ 631221 h 5282095"/>
              <a:gd name="connsiteX26762" fmla="*/ 3396775 w 7714416"/>
              <a:gd name="connsiteY26762" fmla="*/ 622555 h 5282095"/>
              <a:gd name="connsiteX26763" fmla="*/ 3397224 w 7714416"/>
              <a:gd name="connsiteY26763" fmla="*/ 621985 h 5282095"/>
              <a:gd name="connsiteX26764" fmla="*/ 3392951 w 7714416"/>
              <a:gd name="connsiteY26764" fmla="*/ 619115 h 5282095"/>
              <a:gd name="connsiteX26765" fmla="*/ 3398870 w 7714416"/>
              <a:gd name="connsiteY26765" fmla="*/ 618056 h 5282095"/>
              <a:gd name="connsiteX26766" fmla="*/ 3398898 w 7714416"/>
              <a:gd name="connsiteY26766" fmla="*/ 617949 h 5282095"/>
              <a:gd name="connsiteX26767" fmla="*/ 1834364 w 7714416"/>
              <a:gd name="connsiteY26767" fmla="*/ 614004 h 5282095"/>
              <a:gd name="connsiteX26768" fmla="*/ 1845734 w 7714416"/>
              <a:gd name="connsiteY26768" fmla="*/ 629125 h 5282095"/>
              <a:gd name="connsiteX26769" fmla="*/ 1828782 w 7714416"/>
              <a:gd name="connsiteY26769" fmla="*/ 629299 h 5282095"/>
              <a:gd name="connsiteX26770" fmla="*/ 1826845 w 7714416"/>
              <a:gd name="connsiteY26770" fmla="*/ 619925 h 5282095"/>
              <a:gd name="connsiteX26771" fmla="*/ 1834364 w 7714416"/>
              <a:gd name="connsiteY26771" fmla="*/ 614004 h 5282095"/>
              <a:gd name="connsiteX26772" fmla="*/ 1456392 w 7714416"/>
              <a:gd name="connsiteY26772" fmla="*/ 612319 h 5282095"/>
              <a:gd name="connsiteX26773" fmla="*/ 1455874 w 7714416"/>
              <a:gd name="connsiteY26773" fmla="*/ 623104 h 5282095"/>
              <a:gd name="connsiteX26774" fmla="*/ 1447825 w 7714416"/>
              <a:gd name="connsiteY26774" fmla="*/ 626583 h 5282095"/>
              <a:gd name="connsiteX26775" fmla="*/ 1436545 w 7714416"/>
              <a:gd name="connsiteY26775" fmla="*/ 625516 h 5282095"/>
              <a:gd name="connsiteX26776" fmla="*/ 1432261 w 7714416"/>
              <a:gd name="connsiteY26776" fmla="*/ 623792 h 5282095"/>
              <a:gd name="connsiteX26777" fmla="*/ 1433260 w 7714416"/>
              <a:gd name="connsiteY26777" fmla="*/ 617850 h 5282095"/>
              <a:gd name="connsiteX26778" fmla="*/ 1456392 w 7714416"/>
              <a:gd name="connsiteY26778" fmla="*/ 612319 h 5282095"/>
              <a:gd name="connsiteX26779" fmla="*/ 3344122 w 7714416"/>
              <a:gd name="connsiteY26779" fmla="*/ 610976 h 5282095"/>
              <a:gd name="connsiteX26780" fmla="*/ 3350198 w 7714416"/>
              <a:gd name="connsiteY26780" fmla="*/ 622609 h 5282095"/>
              <a:gd name="connsiteX26781" fmla="*/ 3336833 w 7714416"/>
              <a:gd name="connsiteY26781" fmla="*/ 624893 h 5282095"/>
              <a:gd name="connsiteX26782" fmla="*/ 3327430 w 7714416"/>
              <a:gd name="connsiteY26782" fmla="*/ 619039 h 5282095"/>
              <a:gd name="connsiteX26783" fmla="*/ 3328019 w 7714416"/>
              <a:gd name="connsiteY26783" fmla="*/ 612411 h 5282095"/>
              <a:gd name="connsiteX26784" fmla="*/ 3344122 w 7714416"/>
              <a:gd name="connsiteY26784" fmla="*/ 610976 h 5282095"/>
              <a:gd name="connsiteX26785" fmla="*/ 4762947 w 7714416"/>
              <a:gd name="connsiteY26785" fmla="*/ 610840 h 5282095"/>
              <a:gd name="connsiteX26786" fmla="*/ 4779230 w 7714416"/>
              <a:gd name="connsiteY26786" fmla="*/ 610947 h 5282095"/>
              <a:gd name="connsiteX26787" fmla="*/ 4806886 w 7714416"/>
              <a:gd name="connsiteY26787" fmla="*/ 640552 h 5282095"/>
              <a:gd name="connsiteX26788" fmla="*/ 4768036 w 7714416"/>
              <a:gd name="connsiteY26788" fmla="*/ 644978 h 5282095"/>
              <a:gd name="connsiteX26789" fmla="*/ 4762947 w 7714416"/>
              <a:gd name="connsiteY26789" fmla="*/ 610840 h 5282095"/>
              <a:gd name="connsiteX26790" fmla="*/ 2768878 w 7714416"/>
              <a:gd name="connsiteY26790" fmla="*/ 610597 h 5282095"/>
              <a:gd name="connsiteX26791" fmla="*/ 2767110 w 7714416"/>
              <a:gd name="connsiteY26791" fmla="*/ 612769 h 5282095"/>
              <a:gd name="connsiteX26792" fmla="*/ 2765766 w 7714416"/>
              <a:gd name="connsiteY26792" fmla="*/ 611144 h 5282095"/>
              <a:gd name="connsiteX26793" fmla="*/ 2768878 w 7714416"/>
              <a:gd name="connsiteY26793" fmla="*/ 610597 h 5282095"/>
              <a:gd name="connsiteX26794" fmla="*/ 2674866 w 7714416"/>
              <a:gd name="connsiteY26794" fmla="*/ 610593 h 5282095"/>
              <a:gd name="connsiteX26795" fmla="*/ 2681975 w 7714416"/>
              <a:gd name="connsiteY26795" fmla="*/ 630552 h 5282095"/>
              <a:gd name="connsiteX26796" fmla="*/ 2677432 w 7714416"/>
              <a:gd name="connsiteY26796" fmla="*/ 629795 h 5282095"/>
              <a:gd name="connsiteX26797" fmla="*/ 2670043 w 7714416"/>
              <a:gd name="connsiteY26797" fmla="*/ 621951 h 5282095"/>
              <a:gd name="connsiteX26798" fmla="*/ 2674866 w 7714416"/>
              <a:gd name="connsiteY26798" fmla="*/ 610593 h 5282095"/>
              <a:gd name="connsiteX26799" fmla="*/ 2788797 w 7714416"/>
              <a:gd name="connsiteY26799" fmla="*/ 610414 h 5282095"/>
              <a:gd name="connsiteX26800" fmla="*/ 2826533 w 7714416"/>
              <a:gd name="connsiteY26800" fmla="*/ 612362 h 5282095"/>
              <a:gd name="connsiteX26801" fmla="*/ 2870647 w 7714416"/>
              <a:gd name="connsiteY26801" fmla="*/ 638097 h 5282095"/>
              <a:gd name="connsiteX26802" fmla="*/ 2879480 w 7714416"/>
              <a:gd name="connsiteY26802" fmla="*/ 660474 h 5282095"/>
              <a:gd name="connsiteX26803" fmla="*/ 2880375 w 7714416"/>
              <a:gd name="connsiteY26803" fmla="*/ 662668 h 5282095"/>
              <a:gd name="connsiteX26804" fmla="*/ 2883641 w 7714416"/>
              <a:gd name="connsiteY26804" fmla="*/ 660439 h 5282095"/>
              <a:gd name="connsiteX26805" fmla="*/ 2893567 w 7714416"/>
              <a:gd name="connsiteY26805" fmla="*/ 661028 h 5282095"/>
              <a:gd name="connsiteX26806" fmla="*/ 2903707 w 7714416"/>
              <a:gd name="connsiteY26806" fmla="*/ 665240 h 5282095"/>
              <a:gd name="connsiteX26807" fmla="*/ 2897059 w 7714416"/>
              <a:gd name="connsiteY26807" fmla="*/ 670130 h 5282095"/>
              <a:gd name="connsiteX26808" fmla="*/ 2881899 w 7714416"/>
              <a:gd name="connsiteY26808" fmla="*/ 665837 h 5282095"/>
              <a:gd name="connsiteX26809" fmla="*/ 2880784 w 7714416"/>
              <a:gd name="connsiteY26809" fmla="*/ 663353 h 5282095"/>
              <a:gd name="connsiteX26810" fmla="*/ 2888560 w 7714416"/>
              <a:gd name="connsiteY26810" fmla="*/ 683032 h 5282095"/>
              <a:gd name="connsiteX26811" fmla="*/ 2847492 w 7714416"/>
              <a:gd name="connsiteY26811" fmla="*/ 716764 h 5282095"/>
              <a:gd name="connsiteX26812" fmla="*/ 2842103 w 7714416"/>
              <a:gd name="connsiteY26812" fmla="*/ 714744 h 5282095"/>
              <a:gd name="connsiteX26813" fmla="*/ 2841681 w 7714416"/>
              <a:gd name="connsiteY26813" fmla="*/ 715207 h 5282095"/>
              <a:gd name="connsiteX26814" fmla="*/ 2835889 w 7714416"/>
              <a:gd name="connsiteY26814" fmla="*/ 714689 h 5282095"/>
              <a:gd name="connsiteX26815" fmla="*/ 2833190 w 7714416"/>
              <a:gd name="connsiteY26815" fmla="*/ 712587 h 5282095"/>
              <a:gd name="connsiteX26816" fmla="*/ 2823437 w 7714416"/>
              <a:gd name="connsiteY26816" fmla="*/ 711352 h 5282095"/>
              <a:gd name="connsiteX26817" fmla="*/ 2821558 w 7714416"/>
              <a:gd name="connsiteY26817" fmla="*/ 710620 h 5282095"/>
              <a:gd name="connsiteX26818" fmla="*/ 2818342 w 7714416"/>
              <a:gd name="connsiteY26818" fmla="*/ 710448 h 5282095"/>
              <a:gd name="connsiteX26819" fmla="*/ 2817993 w 7714416"/>
              <a:gd name="connsiteY26819" fmla="*/ 715069 h 5282095"/>
              <a:gd name="connsiteX26820" fmla="*/ 2812541 w 7714416"/>
              <a:gd name="connsiteY26820" fmla="*/ 716599 h 5282095"/>
              <a:gd name="connsiteX26821" fmla="*/ 2806235 w 7714416"/>
              <a:gd name="connsiteY26821" fmla="*/ 714679 h 5282095"/>
              <a:gd name="connsiteX26822" fmla="*/ 2802601 w 7714416"/>
              <a:gd name="connsiteY26822" fmla="*/ 711635 h 5282095"/>
              <a:gd name="connsiteX26823" fmla="*/ 2802501 w 7714416"/>
              <a:gd name="connsiteY26823" fmla="*/ 707583 h 5282095"/>
              <a:gd name="connsiteX26824" fmla="*/ 2802835 w 7714416"/>
              <a:gd name="connsiteY26824" fmla="*/ 707443 h 5282095"/>
              <a:gd name="connsiteX26825" fmla="*/ 2787538 w 7714416"/>
              <a:gd name="connsiteY26825" fmla="*/ 697019 h 5282095"/>
              <a:gd name="connsiteX26826" fmla="*/ 2753845 w 7714416"/>
              <a:gd name="connsiteY26826" fmla="*/ 645670 h 5282095"/>
              <a:gd name="connsiteX26827" fmla="*/ 2756958 w 7714416"/>
              <a:gd name="connsiteY26827" fmla="*/ 636269 h 5282095"/>
              <a:gd name="connsiteX26828" fmla="*/ 2751909 w 7714416"/>
              <a:gd name="connsiteY26828" fmla="*/ 636297 h 5282095"/>
              <a:gd name="connsiteX26829" fmla="*/ 2756052 w 7714416"/>
              <a:gd name="connsiteY26829" fmla="*/ 617511 h 5282095"/>
              <a:gd name="connsiteX26830" fmla="*/ 2760692 w 7714416"/>
              <a:gd name="connsiteY26830" fmla="*/ 625655 h 5282095"/>
              <a:gd name="connsiteX26831" fmla="*/ 2761914 w 7714416"/>
              <a:gd name="connsiteY26831" fmla="*/ 625521 h 5282095"/>
              <a:gd name="connsiteX26832" fmla="*/ 2762230 w 7714416"/>
              <a:gd name="connsiteY26832" fmla="*/ 624342 h 5282095"/>
              <a:gd name="connsiteX26833" fmla="*/ 2761993 w 7714416"/>
              <a:gd name="connsiteY26833" fmla="*/ 623012 h 5282095"/>
              <a:gd name="connsiteX26834" fmla="*/ 2762776 w 7714416"/>
              <a:gd name="connsiteY26834" fmla="*/ 622303 h 5282095"/>
              <a:gd name="connsiteX26835" fmla="*/ 2763639 w 7714416"/>
              <a:gd name="connsiteY26835" fmla="*/ 619083 h 5282095"/>
              <a:gd name="connsiteX26836" fmla="*/ 2766833 w 7714416"/>
              <a:gd name="connsiteY26836" fmla="*/ 612695 h 5282095"/>
              <a:gd name="connsiteX26837" fmla="*/ 2765432 w 7714416"/>
              <a:gd name="connsiteY26837" fmla="*/ 620139 h 5282095"/>
              <a:gd name="connsiteX26838" fmla="*/ 2767516 w 7714416"/>
              <a:gd name="connsiteY26838" fmla="*/ 616788 h 5282095"/>
              <a:gd name="connsiteX26839" fmla="*/ 2767415 w 7714416"/>
              <a:gd name="connsiteY26839" fmla="*/ 612736 h 5282095"/>
              <a:gd name="connsiteX26840" fmla="*/ 2770699 w 7714416"/>
              <a:gd name="connsiteY26840" fmla="*/ 611546 h 5282095"/>
              <a:gd name="connsiteX26841" fmla="*/ 2772996 w 7714416"/>
              <a:gd name="connsiteY26841" fmla="*/ 615151 h 5282095"/>
              <a:gd name="connsiteX26842" fmla="*/ 2768231 w 7714416"/>
              <a:gd name="connsiteY26842" fmla="*/ 617440 h 5282095"/>
              <a:gd name="connsiteX26843" fmla="*/ 2766994 w 7714416"/>
              <a:gd name="connsiteY26843" fmla="*/ 622053 h 5282095"/>
              <a:gd name="connsiteX26844" fmla="*/ 2764655 w 7714416"/>
              <a:gd name="connsiteY26844" fmla="*/ 623036 h 5282095"/>
              <a:gd name="connsiteX26845" fmla="*/ 2762387 w 7714416"/>
              <a:gd name="connsiteY26845" fmla="*/ 628178 h 5282095"/>
              <a:gd name="connsiteX26846" fmla="*/ 2762798 w 7714416"/>
              <a:gd name="connsiteY26846" fmla="*/ 628864 h 5282095"/>
              <a:gd name="connsiteX26847" fmla="*/ 2766380 w 7714416"/>
              <a:gd name="connsiteY26847" fmla="*/ 625454 h 5282095"/>
              <a:gd name="connsiteX26848" fmla="*/ 2788797 w 7714416"/>
              <a:gd name="connsiteY26848" fmla="*/ 610414 h 5282095"/>
              <a:gd name="connsiteX26849" fmla="*/ 4478244 w 7714416"/>
              <a:gd name="connsiteY26849" fmla="*/ 608614 h 5282095"/>
              <a:gd name="connsiteX26850" fmla="*/ 4482013 w 7714416"/>
              <a:gd name="connsiteY26850" fmla="*/ 608935 h 5282095"/>
              <a:gd name="connsiteX26851" fmla="*/ 4482287 w 7714416"/>
              <a:gd name="connsiteY26851" fmla="*/ 612343 h 5282095"/>
              <a:gd name="connsiteX26852" fmla="*/ 4468099 w 7714416"/>
              <a:gd name="connsiteY26852" fmla="*/ 616591 h 5282095"/>
              <a:gd name="connsiteX26853" fmla="*/ 4478244 w 7714416"/>
              <a:gd name="connsiteY26853" fmla="*/ 608614 h 5282095"/>
              <a:gd name="connsiteX26854" fmla="*/ 2453062 w 7714416"/>
              <a:gd name="connsiteY26854" fmla="*/ 607166 h 5282095"/>
              <a:gd name="connsiteX26855" fmla="*/ 2458103 w 7714416"/>
              <a:gd name="connsiteY26855" fmla="*/ 631517 h 5282095"/>
              <a:gd name="connsiteX26856" fmla="*/ 2415637 w 7714416"/>
              <a:gd name="connsiteY26856" fmla="*/ 651650 h 5282095"/>
              <a:gd name="connsiteX26857" fmla="*/ 2411336 w 7714416"/>
              <a:gd name="connsiteY26857" fmla="*/ 648886 h 5282095"/>
              <a:gd name="connsiteX26858" fmla="*/ 2407773 w 7714416"/>
              <a:gd name="connsiteY26858" fmla="*/ 641147 h 5282095"/>
              <a:gd name="connsiteX26859" fmla="*/ 2453062 w 7714416"/>
              <a:gd name="connsiteY26859" fmla="*/ 607166 h 5282095"/>
              <a:gd name="connsiteX26860" fmla="*/ 1187612 w 7714416"/>
              <a:gd name="connsiteY26860" fmla="*/ 607115 h 5282095"/>
              <a:gd name="connsiteX26861" fmla="*/ 1184758 w 7714416"/>
              <a:gd name="connsiteY26861" fmla="*/ 624405 h 5282095"/>
              <a:gd name="connsiteX26862" fmla="*/ 1182710 w 7714416"/>
              <a:gd name="connsiteY26862" fmla="*/ 620981 h 5282095"/>
              <a:gd name="connsiteX26863" fmla="*/ 1187612 w 7714416"/>
              <a:gd name="connsiteY26863" fmla="*/ 607115 h 5282095"/>
              <a:gd name="connsiteX26864" fmla="*/ 1479439 w 7714416"/>
              <a:gd name="connsiteY26864" fmla="*/ 607108 h 5282095"/>
              <a:gd name="connsiteX26865" fmla="*/ 1481459 w 7714416"/>
              <a:gd name="connsiteY26865" fmla="*/ 610640 h 5282095"/>
              <a:gd name="connsiteX26866" fmla="*/ 1475959 w 7714416"/>
              <a:gd name="connsiteY26866" fmla="*/ 611236 h 5282095"/>
              <a:gd name="connsiteX26867" fmla="*/ 1472650 w 7714416"/>
              <a:gd name="connsiteY26867" fmla="*/ 609199 h 5282095"/>
              <a:gd name="connsiteX26868" fmla="*/ 1479439 w 7714416"/>
              <a:gd name="connsiteY26868" fmla="*/ 607108 h 5282095"/>
              <a:gd name="connsiteX26869" fmla="*/ 1043646 w 7714416"/>
              <a:gd name="connsiteY26869" fmla="*/ 606489 h 5282095"/>
              <a:gd name="connsiteX26870" fmla="*/ 1081285 w 7714416"/>
              <a:gd name="connsiteY26870" fmla="*/ 636471 h 5282095"/>
              <a:gd name="connsiteX26871" fmla="*/ 1074400 w 7714416"/>
              <a:gd name="connsiteY26871" fmla="*/ 631175 h 5282095"/>
              <a:gd name="connsiteX26872" fmla="*/ 1072603 w 7714416"/>
              <a:gd name="connsiteY26872" fmla="*/ 633454 h 5282095"/>
              <a:gd name="connsiteX26873" fmla="*/ 1062084 w 7714416"/>
              <a:gd name="connsiteY26873" fmla="*/ 633971 h 5282095"/>
              <a:gd name="connsiteX26874" fmla="*/ 1058803 w 7714416"/>
              <a:gd name="connsiteY26874" fmla="*/ 631826 h 5282095"/>
              <a:gd name="connsiteX26875" fmla="*/ 1058052 w 7714416"/>
              <a:gd name="connsiteY26875" fmla="*/ 629095 h 5282095"/>
              <a:gd name="connsiteX26876" fmla="*/ 1057999 w 7714416"/>
              <a:gd name="connsiteY26876" fmla="*/ 625976 h 5282095"/>
              <a:gd name="connsiteX26877" fmla="*/ 1061610 w 7714416"/>
              <a:gd name="connsiteY26877" fmla="*/ 622458 h 5282095"/>
              <a:gd name="connsiteX26878" fmla="*/ 1052132 w 7714416"/>
              <a:gd name="connsiteY26878" fmla="*/ 615778 h 5282095"/>
              <a:gd name="connsiteX26879" fmla="*/ 1043646 w 7714416"/>
              <a:gd name="connsiteY26879" fmla="*/ 606489 h 5282095"/>
              <a:gd name="connsiteX26880" fmla="*/ 1124633 w 7714416"/>
              <a:gd name="connsiteY26880" fmla="*/ 606124 h 5282095"/>
              <a:gd name="connsiteX26881" fmla="*/ 1133199 w 7714416"/>
              <a:gd name="connsiteY26881" fmla="*/ 608749 h 5282095"/>
              <a:gd name="connsiteX26882" fmla="*/ 1133679 w 7714416"/>
              <a:gd name="connsiteY26882" fmla="*/ 622450 h 5282095"/>
              <a:gd name="connsiteX26883" fmla="*/ 1117839 w 7714416"/>
              <a:gd name="connsiteY26883" fmla="*/ 619584 h 5282095"/>
              <a:gd name="connsiteX26884" fmla="*/ 1115567 w 7714416"/>
              <a:gd name="connsiteY26884" fmla="*/ 610350 h 5282095"/>
              <a:gd name="connsiteX26885" fmla="*/ 1124633 w 7714416"/>
              <a:gd name="connsiteY26885" fmla="*/ 606124 h 5282095"/>
              <a:gd name="connsiteX26886" fmla="*/ 2767664 w 7714416"/>
              <a:gd name="connsiteY26886" fmla="*/ 604062 h 5282095"/>
              <a:gd name="connsiteX26887" fmla="*/ 2769047 w 7714416"/>
              <a:gd name="connsiteY26887" fmla="*/ 604433 h 5282095"/>
              <a:gd name="connsiteX26888" fmla="*/ 2767527 w 7714416"/>
              <a:gd name="connsiteY26888" fmla="*/ 606786 h 5282095"/>
              <a:gd name="connsiteX26889" fmla="*/ 2767664 w 7714416"/>
              <a:gd name="connsiteY26889" fmla="*/ 604062 h 5282095"/>
              <a:gd name="connsiteX26890" fmla="*/ 3339500 w 7714416"/>
              <a:gd name="connsiteY26890" fmla="*/ 603873 h 5282095"/>
              <a:gd name="connsiteX26891" fmla="*/ 3341276 w 7714416"/>
              <a:gd name="connsiteY26891" fmla="*/ 603889 h 5282095"/>
              <a:gd name="connsiteX26892" fmla="*/ 3340068 w 7714416"/>
              <a:gd name="connsiteY26892" fmla="*/ 608395 h 5282095"/>
              <a:gd name="connsiteX26893" fmla="*/ 3339213 w 7714416"/>
              <a:gd name="connsiteY26893" fmla="*/ 604946 h 5282095"/>
              <a:gd name="connsiteX26894" fmla="*/ 3339500 w 7714416"/>
              <a:gd name="connsiteY26894" fmla="*/ 603873 h 5282095"/>
              <a:gd name="connsiteX26895" fmla="*/ 3595355 w 7714416"/>
              <a:gd name="connsiteY26895" fmla="*/ 603083 h 5282095"/>
              <a:gd name="connsiteX26896" fmla="*/ 3596249 w 7714416"/>
              <a:gd name="connsiteY26896" fmla="*/ 605278 h 5282095"/>
              <a:gd name="connsiteX26897" fmla="*/ 3597881 w 7714416"/>
              <a:gd name="connsiteY26897" fmla="*/ 605830 h 5282095"/>
              <a:gd name="connsiteX26898" fmla="*/ 3601996 w 7714416"/>
              <a:gd name="connsiteY26898" fmla="*/ 604863 h 5282095"/>
              <a:gd name="connsiteX26899" fmla="*/ 3606100 w 7714416"/>
              <a:gd name="connsiteY26899" fmla="*/ 605043 h 5282095"/>
              <a:gd name="connsiteX26900" fmla="*/ 1197638 w 7714416"/>
              <a:gd name="connsiteY26900" fmla="*/ 602901 h 5282095"/>
              <a:gd name="connsiteX26901" fmla="*/ 1198794 w 7714416"/>
              <a:gd name="connsiteY26901" fmla="*/ 609651 h 5282095"/>
              <a:gd name="connsiteX26902" fmla="*/ 1195719 w 7714416"/>
              <a:gd name="connsiteY26902" fmla="*/ 603422 h 5282095"/>
              <a:gd name="connsiteX26903" fmla="*/ 1197638 w 7714416"/>
              <a:gd name="connsiteY26903" fmla="*/ 602901 h 5282095"/>
              <a:gd name="connsiteX26904" fmla="*/ 2265836 w 7714416"/>
              <a:gd name="connsiteY26904" fmla="*/ 601965 h 5282095"/>
              <a:gd name="connsiteX26905" fmla="*/ 2283614 w 7714416"/>
              <a:gd name="connsiteY26905" fmla="*/ 605348 h 5282095"/>
              <a:gd name="connsiteX26906" fmla="*/ 2272430 w 7714416"/>
              <a:gd name="connsiteY26906" fmla="*/ 611666 h 5282095"/>
              <a:gd name="connsiteX26907" fmla="*/ 2267184 w 7714416"/>
              <a:gd name="connsiteY26907" fmla="*/ 609111 h 5282095"/>
              <a:gd name="connsiteX26908" fmla="*/ 2265836 w 7714416"/>
              <a:gd name="connsiteY26908" fmla="*/ 601965 h 5282095"/>
              <a:gd name="connsiteX26909" fmla="*/ 3405625 w 7714416"/>
              <a:gd name="connsiteY26909" fmla="*/ 601696 h 5282095"/>
              <a:gd name="connsiteX26910" fmla="*/ 3421865 w 7714416"/>
              <a:gd name="connsiteY26910" fmla="*/ 606392 h 5282095"/>
              <a:gd name="connsiteX26911" fmla="*/ 3412011 w 7714416"/>
              <a:gd name="connsiteY26911" fmla="*/ 609962 h 5282095"/>
              <a:gd name="connsiteX26912" fmla="*/ 3405625 w 7714416"/>
              <a:gd name="connsiteY26912" fmla="*/ 601696 h 5282095"/>
              <a:gd name="connsiteX26913" fmla="*/ 2123120 w 7714416"/>
              <a:gd name="connsiteY26913" fmla="*/ 600827 h 5282095"/>
              <a:gd name="connsiteX26914" fmla="*/ 2130747 w 7714416"/>
              <a:gd name="connsiteY26914" fmla="*/ 601418 h 5282095"/>
              <a:gd name="connsiteX26915" fmla="*/ 2133169 w 7714416"/>
              <a:gd name="connsiteY26915" fmla="*/ 603447 h 5282095"/>
              <a:gd name="connsiteX26916" fmla="*/ 2130951 w 7714416"/>
              <a:gd name="connsiteY26916" fmla="*/ 606188 h 5282095"/>
              <a:gd name="connsiteX26917" fmla="*/ 2121425 w 7714416"/>
              <a:gd name="connsiteY26917" fmla="*/ 607430 h 5282095"/>
              <a:gd name="connsiteX26918" fmla="*/ 2119004 w 7714416"/>
              <a:gd name="connsiteY26918" fmla="*/ 605401 h 5282095"/>
              <a:gd name="connsiteX26919" fmla="*/ 2123120 w 7714416"/>
              <a:gd name="connsiteY26919" fmla="*/ 600827 h 5282095"/>
              <a:gd name="connsiteX26920" fmla="*/ 2372647 w 7714416"/>
              <a:gd name="connsiteY26920" fmla="*/ 600555 h 5282095"/>
              <a:gd name="connsiteX26921" fmla="*/ 2393001 w 7714416"/>
              <a:gd name="connsiteY26921" fmla="*/ 604414 h 5282095"/>
              <a:gd name="connsiteX26922" fmla="*/ 2394773 w 7714416"/>
              <a:gd name="connsiteY26922" fmla="*/ 616618 h 5282095"/>
              <a:gd name="connsiteX26923" fmla="*/ 2380859 w 7714416"/>
              <a:gd name="connsiteY26923" fmla="*/ 615420 h 5282095"/>
              <a:gd name="connsiteX26924" fmla="*/ 2367951 w 7714416"/>
              <a:gd name="connsiteY26924" fmla="*/ 610466 h 5282095"/>
              <a:gd name="connsiteX26925" fmla="*/ 2372647 w 7714416"/>
              <a:gd name="connsiteY26925" fmla="*/ 600555 h 5282095"/>
              <a:gd name="connsiteX26926" fmla="*/ 3433267 w 7714416"/>
              <a:gd name="connsiteY26926" fmla="*/ 600362 h 5282095"/>
              <a:gd name="connsiteX26927" fmla="*/ 3433591 w 7714416"/>
              <a:gd name="connsiteY26927" fmla="*/ 601369 h 5282095"/>
              <a:gd name="connsiteX26928" fmla="*/ 3430928 w 7714416"/>
              <a:gd name="connsiteY26928" fmla="*/ 601345 h 5282095"/>
              <a:gd name="connsiteX26929" fmla="*/ 3429660 w 7714416"/>
              <a:gd name="connsiteY26929" fmla="*/ 600546 h 5282095"/>
              <a:gd name="connsiteX26930" fmla="*/ 3433267 w 7714416"/>
              <a:gd name="connsiteY26930" fmla="*/ 600362 h 5282095"/>
              <a:gd name="connsiteX26931" fmla="*/ 3422731 w 7714416"/>
              <a:gd name="connsiteY26931" fmla="*/ 599839 h 5282095"/>
              <a:gd name="connsiteX26932" fmla="*/ 3425153 w 7714416"/>
              <a:gd name="connsiteY26932" fmla="*/ 601868 h 5282095"/>
              <a:gd name="connsiteX26933" fmla="*/ 3421251 w 7714416"/>
              <a:gd name="connsiteY26933" fmla="*/ 600938 h 5282095"/>
              <a:gd name="connsiteX26934" fmla="*/ 3422731 w 7714416"/>
              <a:gd name="connsiteY26934" fmla="*/ 599839 h 5282095"/>
              <a:gd name="connsiteX26935" fmla="*/ 4549292 w 7714416"/>
              <a:gd name="connsiteY26935" fmla="*/ 599131 h 5282095"/>
              <a:gd name="connsiteX26936" fmla="*/ 4555638 w 7714416"/>
              <a:gd name="connsiteY26936" fmla="*/ 599797 h 5282095"/>
              <a:gd name="connsiteX26937" fmla="*/ 4554169 w 7714416"/>
              <a:gd name="connsiteY26937" fmla="*/ 599748 h 5282095"/>
              <a:gd name="connsiteX26938" fmla="*/ 4555933 w 7714416"/>
              <a:gd name="connsiteY26938" fmla="*/ 600910 h 5282095"/>
              <a:gd name="connsiteX26939" fmla="*/ 4532309 w 7714416"/>
              <a:gd name="connsiteY26939" fmla="*/ 602745 h 5282095"/>
              <a:gd name="connsiteX26940" fmla="*/ 4532349 w 7714416"/>
              <a:gd name="connsiteY26940" fmla="*/ 601491 h 5282095"/>
              <a:gd name="connsiteX26941" fmla="*/ 4549292 w 7714416"/>
              <a:gd name="connsiteY26941" fmla="*/ 599131 h 5282095"/>
              <a:gd name="connsiteX26942" fmla="*/ 3393889 w 7714416"/>
              <a:gd name="connsiteY26942" fmla="*/ 599011 h 5282095"/>
              <a:gd name="connsiteX26943" fmla="*/ 3421002 w 7714416"/>
              <a:gd name="connsiteY26943" fmla="*/ 600756 h 5282095"/>
              <a:gd name="connsiteX26944" fmla="*/ 3393889 w 7714416"/>
              <a:gd name="connsiteY26944" fmla="*/ 599011 h 5282095"/>
              <a:gd name="connsiteX26945" fmla="*/ 4521776 w 7714416"/>
              <a:gd name="connsiteY26945" fmla="*/ 598889 h 5282095"/>
              <a:gd name="connsiteX26946" fmla="*/ 4523541 w 7714416"/>
              <a:gd name="connsiteY26946" fmla="*/ 600051 h 5282095"/>
              <a:gd name="connsiteX26947" fmla="*/ 4517687 w 7714416"/>
              <a:gd name="connsiteY26947" fmla="*/ 603082 h 5282095"/>
              <a:gd name="connsiteX26948" fmla="*/ 4515196 w 7714416"/>
              <a:gd name="connsiteY26948" fmla="*/ 602415 h 5282095"/>
              <a:gd name="connsiteX26949" fmla="*/ 4521776 w 7714416"/>
              <a:gd name="connsiteY26949" fmla="*/ 598889 h 5282095"/>
              <a:gd name="connsiteX26950" fmla="*/ 3584470 w 7714416"/>
              <a:gd name="connsiteY26950" fmla="*/ 598327 h 5282095"/>
              <a:gd name="connsiteX26951" fmla="*/ 3590033 w 7714416"/>
              <a:gd name="connsiteY26951" fmla="*/ 599702 h 5282095"/>
              <a:gd name="connsiteX26952" fmla="*/ 3589653 w 7714416"/>
              <a:gd name="connsiteY26952" fmla="*/ 598910 h 5282095"/>
              <a:gd name="connsiteX26953" fmla="*/ 3593174 w 7714416"/>
              <a:gd name="connsiteY26953" fmla="*/ 599049 h 5282095"/>
              <a:gd name="connsiteX26954" fmla="*/ 3594242 w 7714416"/>
              <a:gd name="connsiteY26954" fmla="*/ 600600 h 5282095"/>
              <a:gd name="connsiteX26955" fmla="*/ 3601666 w 7714416"/>
              <a:gd name="connsiteY26955" fmla="*/ 601668 h 5282095"/>
              <a:gd name="connsiteX26956" fmla="*/ 3607523 w 7714416"/>
              <a:gd name="connsiteY26956" fmla="*/ 604158 h 5282095"/>
              <a:gd name="connsiteX26957" fmla="*/ 3605892 w 7714416"/>
              <a:gd name="connsiteY26957" fmla="*/ 603606 h 5282095"/>
              <a:gd name="connsiteX26958" fmla="*/ 3607265 w 7714416"/>
              <a:gd name="connsiteY26958" fmla="*/ 605124 h 5282095"/>
              <a:gd name="connsiteX26959" fmla="*/ 3607541 w 7714416"/>
              <a:gd name="connsiteY26959" fmla="*/ 605198 h 5282095"/>
              <a:gd name="connsiteX26960" fmla="*/ 3617556 w 7714416"/>
              <a:gd name="connsiteY26960" fmla="*/ 610987 h 5282095"/>
              <a:gd name="connsiteX26961" fmla="*/ 3617674 w 7714416"/>
              <a:gd name="connsiteY26961" fmla="*/ 624933 h 5282095"/>
              <a:gd name="connsiteX26962" fmla="*/ 3611037 w 7714416"/>
              <a:gd name="connsiteY26962" fmla="*/ 628676 h 5282095"/>
              <a:gd name="connsiteX26963" fmla="*/ 3602926 w 7714416"/>
              <a:gd name="connsiteY26963" fmla="*/ 626848 h 5282095"/>
              <a:gd name="connsiteX26964" fmla="*/ 3592530 w 7714416"/>
              <a:gd name="connsiteY26964" fmla="*/ 620267 h 5282095"/>
              <a:gd name="connsiteX26965" fmla="*/ 3594044 w 7714416"/>
              <a:gd name="connsiteY26965" fmla="*/ 606872 h 5282095"/>
              <a:gd name="connsiteX26966" fmla="*/ 3591125 w 7714416"/>
              <a:gd name="connsiteY26966" fmla="*/ 604480 h 5282095"/>
              <a:gd name="connsiteX26967" fmla="*/ 3590375 w 7714416"/>
              <a:gd name="connsiteY26967" fmla="*/ 601749 h 5282095"/>
              <a:gd name="connsiteX26968" fmla="*/ 3584183 w 7714416"/>
              <a:gd name="connsiteY26968" fmla="*/ 599399 h 5282095"/>
              <a:gd name="connsiteX26969" fmla="*/ 3584470 w 7714416"/>
              <a:gd name="connsiteY26969" fmla="*/ 598327 h 5282095"/>
              <a:gd name="connsiteX26970" fmla="*/ 2773072 w 7714416"/>
              <a:gd name="connsiteY26970" fmla="*/ 598267 h 5282095"/>
              <a:gd name="connsiteX26971" fmla="*/ 2767894 w 7714416"/>
              <a:gd name="connsiteY26971" fmla="*/ 603203 h 5282095"/>
              <a:gd name="connsiteX26972" fmla="*/ 2767994 w 7714416"/>
              <a:gd name="connsiteY26972" fmla="*/ 598401 h 5282095"/>
              <a:gd name="connsiteX26973" fmla="*/ 2773072 w 7714416"/>
              <a:gd name="connsiteY26973" fmla="*/ 598267 h 5282095"/>
              <a:gd name="connsiteX26974" fmla="*/ 2295638 w 7714416"/>
              <a:gd name="connsiteY26974" fmla="*/ 598105 h 5282095"/>
              <a:gd name="connsiteX26975" fmla="*/ 2301430 w 7714416"/>
              <a:gd name="connsiteY26975" fmla="*/ 607478 h 5282095"/>
              <a:gd name="connsiteX26976" fmla="*/ 2291228 w 7714416"/>
              <a:gd name="connsiteY26976" fmla="*/ 606814 h 5282095"/>
              <a:gd name="connsiteX26977" fmla="*/ 2287099 w 7714416"/>
              <a:gd name="connsiteY26977" fmla="*/ 603408 h 5282095"/>
              <a:gd name="connsiteX26978" fmla="*/ 2289270 w 7714416"/>
              <a:gd name="connsiteY26978" fmla="*/ 599733 h 5282095"/>
              <a:gd name="connsiteX26979" fmla="*/ 2295638 w 7714416"/>
              <a:gd name="connsiteY26979" fmla="*/ 598105 h 5282095"/>
              <a:gd name="connsiteX26980" fmla="*/ 3773189 w 7714416"/>
              <a:gd name="connsiteY26980" fmla="*/ 597948 h 5282095"/>
              <a:gd name="connsiteX26981" fmla="*/ 3776952 w 7714416"/>
              <a:gd name="connsiteY26981" fmla="*/ 604936 h 5282095"/>
              <a:gd name="connsiteX26982" fmla="*/ 3777541 w 7714416"/>
              <a:gd name="connsiteY26982" fmla="*/ 607165 h 5282095"/>
              <a:gd name="connsiteX26983" fmla="*/ 3787834 w 7714416"/>
              <a:gd name="connsiteY26983" fmla="*/ 604172 h 5282095"/>
              <a:gd name="connsiteX26984" fmla="*/ 3874726 w 7714416"/>
              <a:gd name="connsiteY26984" fmla="*/ 611929 h 5282095"/>
              <a:gd name="connsiteX26985" fmla="*/ 3860973 w 7714416"/>
              <a:gd name="connsiteY26985" fmla="*/ 628945 h 5282095"/>
              <a:gd name="connsiteX26986" fmla="*/ 3726990 w 7714416"/>
              <a:gd name="connsiteY26986" fmla="*/ 628695 h 5282095"/>
              <a:gd name="connsiteX26987" fmla="*/ 3735212 w 7714416"/>
              <a:gd name="connsiteY26987" fmla="*/ 624572 h 5282095"/>
              <a:gd name="connsiteX26988" fmla="*/ 3727374 w 7714416"/>
              <a:gd name="connsiteY26988" fmla="*/ 626153 h 5282095"/>
              <a:gd name="connsiteX26989" fmla="*/ 3723853 w 7714416"/>
              <a:gd name="connsiteY26989" fmla="*/ 626014 h 5282095"/>
              <a:gd name="connsiteX26990" fmla="*/ 3723156 w 7714416"/>
              <a:gd name="connsiteY26990" fmla="*/ 626402 h 5282095"/>
              <a:gd name="connsiteX26991" fmla="*/ 3714905 w 7714416"/>
              <a:gd name="connsiteY26991" fmla="*/ 630632 h 5282095"/>
              <a:gd name="connsiteX26992" fmla="*/ 3694681 w 7714416"/>
              <a:gd name="connsiteY26992" fmla="*/ 630848 h 5282095"/>
              <a:gd name="connsiteX26993" fmla="*/ 3700776 w 7714416"/>
              <a:gd name="connsiteY26993" fmla="*/ 625811 h 5282095"/>
              <a:gd name="connsiteX26994" fmla="*/ 3706590 w 7714416"/>
              <a:gd name="connsiteY26994" fmla="*/ 624034 h 5282095"/>
              <a:gd name="connsiteX26995" fmla="*/ 3703736 w 7714416"/>
              <a:gd name="connsiteY26995" fmla="*/ 623613 h 5282095"/>
              <a:gd name="connsiteX26996" fmla="*/ 3688597 w 7714416"/>
              <a:gd name="connsiteY26996" fmla="*/ 617027 h 5282095"/>
              <a:gd name="connsiteX26997" fmla="*/ 3730131 w 7714416"/>
              <a:gd name="connsiteY26997" fmla="*/ 601476 h 5282095"/>
              <a:gd name="connsiteX26998" fmla="*/ 3736115 w 7714416"/>
              <a:gd name="connsiteY26998" fmla="*/ 611245 h 5282095"/>
              <a:gd name="connsiteX26999" fmla="*/ 3743014 w 7714416"/>
              <a:gd name="connsiteY26999" fmla="*/ 620913 h 5282095"/>
              <a:gd name="connsiteX27000" fmla="*/ 3761130 w 7714416"/>
              <a:gd name="connsiteY27000" fmla="*/ 611967 h 5282095"/>
              <a:gd name="connsiteX27001" fmla="*/ 3770171 w 7714416"/>
              <a:gd name="connsiteY27001" fmla="*/ 609214 h 5282095"/>
              <a:gd name="connsiteX27002" fmla="*/ 3767982 w 7714416"/>
              <a:gd name="connsiteY27002" fmla="*/ 602993 h 5282095"/>
              <a:gd name="connsiteX27003" fmla="*/ 3770725 w 7714416"/>
              <a:gd name="connsiteY27003" fmla="*/ 600508 h 5282095"/>
              <a:gd name="connsiteX27004" fmla="*/ 3770430 w 7714416"/>
              <a:gd name="connsiteY27004" fmla="*/ 599394 h 5282095"/>
              <a:gd name="connsiteX27005" fmla="*/ 3773189 w 7714416"/>
              <a:gd name="connsiteY27005" fmla="*/ 597948 h 5282095"/>
              <a:gd name="connsiteX27006" fmla="*/ 3380119 w 7714416"/>
              <a:gd name="connsiteY27006" fmla="*/ 597276 h 5282095"/>
              <a:gd name="connsiteX27007" fmla="*/ 3381912 w 7714416"/>
              <a:gd name="connsiteY27007" fmla="*/ 598332 h 5282095"/>
              <a:gd name="connsiteX27008" fmla="*/ 3367157 w 7714416"/>
              <a:gd name="connsiteY27008" fmla="*/ 598058 h 5282095"/>
              <a:gd name="connsiteX27009" fmla="*/ 3380119 w 7714416"/>
              <a:gd name="connsiteY27009" fmla="*/ 597276 h 5282095"/>
              <a:gd name="connsiteX27010" fmla="*/ 4015307 w 7714416"/>
              <a:gd name="connsiteY27010" fmla="*/ 596683 h 5282095"/>
              <a:gd name="connsiteX27011" fmla="*/ 4034198 w 7714416"/>
              <a:gd name="connsiteY27011" fmla="*/ 597849 h 5282095"/>
              <a:gd name="connsiteX27012" fmla="*/ 4017793 w 7714416"/>
              <a:gd name="connsiteY27012" fmla="*/ 604838 h 5282095"/>
              <a:gd name="connsiteX27013" fmla="*/ 3997360 w 7714416"/>
              <a:gd name="connsiteY27013" fmla="*/ 603618 h 5282095"/>
              <a:gd name="connsiteX27014" fmla="*/ 4015307 w 7714416"/>
              <a:gd name="connsiteY27014" fmla="*/ 596683 h 5282095"/>
              <a:gd name="connsiteX27015" fmla="*/ 1311777 w 7714416"/>
              <a:gd name="connsiteY27015" fmla="*/ 595305 h 5282095"/>
              <a:gd name="connsiteX27016" fmla="*/ 1312377 w 7714416"/>
              <a:gd name="connsiteY27016" fmla="*/ 596385 h 5282095"/>
              <a:gd name="connsiteX27017" fmla="*/ 1311536 w 7714416"/>
              <a:gd name="connsiteY27017" fmla="*/ 597310 h 5282095"/>
              <a:gd name="connsiteX27018" fmla="*/ 1313121 w 7714416"/>
              <a:gd name="connsiteY27018" fmla="*/ 596929 h 5282095"/>
              <a:gd name="connsiteX27019" fmla="*/ 2711686 w 7714416"/>
              <a:gd name="connsiteY27019" fmla="*/ 594928 h 5282095"/>
              <a:gd name="connsiteX27020" fmla="*/ 2710195 w 7714416"/>
              <a:gd name="connsiteY27020" fmla="*/ 597174 h 5282095"/>
              <a:gd name="connsiteX27021" fmla="*/ 2707205 w 7714416"/>
              <a:gd name="connsiteY27021" fmla="*/ 599477 h 5282095"/>
              <a:gd name="connsiteX27022" fmla="*/ 2707461 w 7714416"/>
              <a:gd name="connsiteY27022" fmla="*/ 601846 h 5282095"/>
              <a:gd name="connsiteX27023" fmla="*/ 2696489 w 7714416"/>
              <a:gd name="connsiteY27023" fmla="*/ 606266 h 5282095"/>
              <a:gd name="connsiteX27024" fmla="*/ 2700970 w 7714416"/>
              <a:gd name="connsiteY27024" fmla="*/ 601717 h 5282095"/>
              <a:gd name="connsiteX27025" fmla="*/ 2703932 w 7714416"/>
              <a:gd name="connsiteY27025" fmla="*/ 599520 h 5282095"/>
              <a:gd name="connsiteX27026" fmla="*/ 2705175 w 7714416"/>
              <a:gd name="connsiteY27026" fmla="*/ 597094 h 5282095"/>
              <a:gd name="connsiteX27027" fmla="*/ 2711686 w 7714416"/>
              <a:gd name="connsiteY27027" fmla="*/ 594928 h 5282095"/>
              <a:gd name="connsiteX27028" fmla="*/ 4187301 w 7714416"/>
              <a:gd name="connsiteY27028" fmla="*/ 594252 h 5282095"/>
              <a:gd name="connsiteX27029" fmla="*/ 4199642 w 7714416"/>
              <a:gd name="connsiteY27029" fmla="*/ 594684 h 5282095"/>
              <a:gd name="connsiteX27030" fmla="*/ 4196619 w 7714416"/>
              <a:gd name="connsiteY27030" fmla="*/ 609284 h 5282095"/>
              <a:gd name="connsiteX27031" fmla="*/ 4180862 w 7714416"/>
              <a:gd name="connsiteY27031" fmla="*/ 600577 h 5282095"/>
              <a:gd name="connsiteX27032" fmla="*/ 4187301 w 7714416"/>
              <a:gd name="connsiteY27032" fmla="*/ 594252 h 5282095"/>
              <a:gd name="connsiteX27033" fmla="*/ 3896194 w 7714416"/>
              <a:gd name="connsiteY27033" fmla="*/ 591577 h 5282095"/>
              <a:gd name="connsiteX27034" fmla="*/ 3902167 w 7714416"/>
              <a:gd name="connsiteY27034" fmla="*/ 593637 h 5282095"/>
              <a:gd name="connsiteX27035" fmla="*/ 3892597 w 7714416"/>
              <a:gd name="connsiteY27035" fmla="*/ 617178 h 5282095"/>
              <a:gd name="connsiteX27036" fmla="*/ 3887368 w 7714416"/>
              <a:gd name="connsiteY27036" fmla="*/ 615662 h 5282095"/>
              <a:gd name="connsiteX27037" fmla="*/ 3880529 w 7714416"/>
              <a:gd name="connsiteY27037" fmla="*/ 611300 h 5282095"/>
              <a:gd name="connsiteX27038" fmla="*/ 3881561 w 7714416"/>
              <a:gd name="connsiteY27038" fmla="*/ 593061 h 5282095"/>
              <a:gd name="connsiteX27039" fmla="*/ 3896194 w 7714416"/>
              <a:gd name="connsiteY27039" fmla="*/ 591577 h 5282095"/>
              <a:gd name="connsiteX27040" fmla="*/ 3599725 w 7714416"/>
              <a:gd name="connsiteY27040" fmla="*/ 591475 h 5282095"/>
              <a:gd name="connsiteX27041" fmla="*/ 3612766 w 7714416"/>
              <a:gd name="connsiteY27041" fmla="*/ 592338 h 5282095"/>
              <a:gd name="connsiteX27042" fmla="*/ 3611253 w 7714416"/>
              <a:gd name="connsiteY27042" fmla="*/ 596878 h 5282095"/>
              <a:gd name="connsiteX27043" fmla="*/ 3607990 w 7714416"/>
              <a:gd name="connsiteY27043" fmla="*/ 595773 h 5282095"/>
              <a:gd name="connsiteX27044" fmla="*/ 3582109 w 7714416"/>
              <a:gd name="connsiteY27044" fmla="*/ 592749 h 5282095"/>
              <a:gd name="connsiteX27045" fmla="*/ 3599725 w 7714416"/>
              <a:gd name="connsiteY27045" fmla="*/ 591475 h 5282095"/>
              <a:gd name="connsiteX27046" fmla="*/ 2749560 w 7714416"/>
              <a:gd name="connsiteY27046" fmla="*/ 591247 h 5282095"/>
              <a:gd name="connsiteX27047" fmla="*/ 2765518 w 7714416"/>
              <a:gd name="connsiteY27047" fmla="*/ 593253 h 5282095"/>
              <a:gd name="connsiteX27048" fmla="*/ 2754098 w 7714416"/>
              <a:gd name="connsiteY27048" fmla="*/ 607098 h 5282095"/>
              <a:gd name="connsiteX27049" fmla="*/ 2744474 w 7714416"/>
              <a:gd name="connsiteY27049" fmla="*/ 600953 h 5282095"/>
              <a:gd name="connsiteX27050" fmla="*/ 2749560 w 7714416"/>
              <a:gd name="connsiteY27050" fmla="*/ 591247 h 5282095"/>
              <a:gd name="connsiteX27051" fmla="*/ 3227083 w 7714416"/>
              <a:gd name="connsiteY27051" fmla="*/ 590656 h 5282095"/>
              <a:gd name="connsiteX27052" fmla="*/ 3227866 w 7714416"/>
              <a:gd name="connsiteY27052" fmla="*/ 598801 h 5282095"/>
              <a:gd name="connsiteX27053" fmla="*/ 3220198 w 7714416"/>
              <a:gd name="connsiteY27053" fmla="*/ 603071 h 5282095"/>
              <a:gd name="connsiteX27054" fmla="*/ 3226087 w 7714416"/>
              <a:gd name="connsiteY27054" fmla="*/ 610974 h 5282095"/>
              <a:gd name="connsiteX27055" fmla="*/ 3230334 w 7714416"/>
              <a:gd name="connsiteY27055" fmla="*/ 628328 h 5282095"/>
              <a:gd name="connsiteX27056" fmla="*/ 3202855 w 7714416"/>
              <a:gd name="connsiteY27056" fmla="*/ 594745 h 5282095"/>
              <a:gd name="connsiteX27057" fmla="*/ 3217815 w 7714416"/>
              <a:gd name="connsiteY27057" fmla="*/ 590933 h 5282095"/>
              <a:gd name="connsiteX27058" fmla="*/ 3218060 w 7714416"/>
              <a:gd name="connsiteY27058" fmla="*/ 594449 h 5282095"/>
              <a:gd name="connsiteX27059" fmla="*/ 2540601 w 7714416"/>
              <a:gd name="connsiteY27059" fmla="*/ 590372 h 5282095"/>
              <a:gd name="connsiteX27060" fmla="*/ 2548845 w 7714416"/>
              <a:gd name="connsiteY27060" fmla="*/ 592810 h 5282095"/>
              <a:gd name="connsiteX27061" fmla="*/ 2545501 w 7714416"/>
              <a:gd name="connsiteY27061" fmla="*/ 594215 h 5282095"/>
              <a:gd name="connsiteX27062" fmla="*/ 2540590 w 7714416"/>
              <a:gd name="connsiteY27062" fmla="*/ 591519 h 5282095"/>
              <a:gd name="connsiteX27063" fmla="*/ 2540601 w 7714416"/>
              <a:gd name="connsiteY27063" fmla="*/ 590372 h 5282095"/>
              <a:gd name="connsiteX27064" fmla="*/ 2519672 w 7714416"/>
              <a:gd name="connsiteY27064" fmla="*/ 588789 h 5282095"/>
              <a:gd name="connsiteX27065" fmla="*/ 2523186 w 7714416"/>
              <a:gd name="connsiteY27065" fmla="*/ 604450 h 5282095"/>
              <a:gd name="connsiteX27066" fmla="*/ 2511625 w 7714416"/>
              <a:gd name="connsiteY27066" fmla="*/ 597788 h 5282095"/>
              <a:gd name="connsiteX27067" fmla="*/ 2519672 w 7714416"/>
              <a:gd name="connsiteY27067" fmla="*/ 588789 h 5282095"/>
              <a:gd name="connsiteX27068" fmla="*/ 2115194 w 7714416"/>
              <a:gd name="connsiteY27068" fmla="*/ 588626 h 5282095"/>
              <a:gd name="connsiteX27069" fmla="*/ 2121244 w 7714416"/>
              <a:gd name="connsiteY27069" fmla="*/ 591512 h 5282095"/>
              <a:gd name="connsiteX27070" fmla="*/ 2115648 w 7714416"/>
              <a:gd name="connsiteY27070" fmla="*/ 593578 h 5282095"/>
              <a:gd name="connsiteX27071" fmla="*/ 2113750 w 7714416"/>
              <a:gd name="connsiteY27071" fmla="*/ 591803 h 5282095"/>
              <a:gd name="connsiteX27072" fmla="*/ 2115194 w 7714416"/>
              <a:gd name="connsiteY27072" fmla="*/ 588626 h 5282095"/>
              <a:gd name="connsiteX27073" fmla="*/ 2048928 w 7714416"/>
              <a:gd name="connsiteY27073" fmla="*/ 588005 h 5282095"/>
              <a:gd name="connsiteX27074" fmla="*/ 2054053 w 7714416"/>
              <a:gd name="connsiteY27074" fmla="*/ 588803 h 5282095"/>
              <a:gd name="connsiteX27075" fmla="*/ 2054541 w 7714416"/>
              <a:gd name="connsiteY27075" fmla="*/ 595834 h 5282095"/>
              <a:gd name="connsiteX27076" fmla="*/ 2048836 w 7714416"/>
              <a:gd name="connsiteY27076" fmla="*/ 594995 h 5282095"/>
              <a:gd name="connsiteX27077" fmla="*/ 2042510 w 7714416"/>
              <a:gd name="connsiteY27077" fmla="*/ 592036 h 5282095"/>
              <a:gd name="connsiteX27078" fmla="*/ 2043974 w 7714416"/>
              <a:gd name="connsiteY27078" fmla="*/ 589898 h 5282095"/>
              <a:gd name="connsiteX27079" fmla="*/ 2048928 w 7714416"/>
              <a:gd name="connsiteY27079" fmla="*/ 588005 h 5282095"/>
              <a:gd name="connsiteX27080" fmla="*/ 2897255 w 7714416"/>
              <a:gd name="connsiteY27080" fmla="*/ 587496 h 5282095"/>
              <a:gd name="connsiteX27081" fmla="*/ 2898864 w 7714416"/>
              <a:gd name="connsiteY27081" fmla="*/ 599197 h 5282095"/>
              <a:gd name="connsiteX27082" fmla="*/ 2896917 w 7714416"/>
              <a:gd name="connsiteY27082" fmla="*/ 599824 h 5282095"/>
              <a:gd name="connsiteX27083" fmla="*/ 2877534 w 7714416"/>
              <a:gd name="connsiteY27083" fmla="*/ 599116 h 5282095"/>
              <a:gd name="connsiteX27084" fmla="*/ 2880541 w 7714416"/>
              <a:gd name="connsiteY27084" fmla="*/ 588997 h 5282095"/>
              <a:gd name="connsiteX27085" fmla="*/ 2897255 w 7714416"/>
              <a:gd name="connsiteY27085" fmla="*/ 587496 h 5282095"/>
              <a:gd name="connsiteX27086" fmla="*/ 4555596 w 7714416"/>
              <a:gd name="connsiteY27086" fmla="*/ 586675 h 5282095"/>
              <a:gd name="connsiteX27087" fmla="*/ 4556077 w 7714416"/>
              <a:gd name="connsiteY27087" fmla="*/ 591520 h 5282095"/>
              <a:gd name="connsiteX27088" fmla="*/ 4552832 w 7714416"/>
              <a:gd name="connsiteY27088" fmla="*/ 591454 h 5282095"/>
              <a:gd name="connsiteX27089" fmla="*/ 4527925 w 7714416"/>
              <a:gd name="connsiteY27089" fmla="*/ 596971 h 5282095"/>
              <a:gd name="connsiteX27090" fmla="*/ 4555596 w 7714416"/>
              <a:gd name="connsiteY27090" fmla="*/ 586675 h 5282095"/>
              <a:gd name="connsiteX27091" fmla="*/ 2329924 w 7714416"/>
              <a:gd name="connsiteY27091" fmla="*/ 586362 h 5282095"/>
              <a:gd name="connsiteX27092" fmla="*/ 2356714 w 7714416"/>
              <a:gd name="connsiteY27092" fmla="*/ 587101 h 5282095"/>
              <a:gd name="connsiteX27093" fmla="*/ 2360491 w 7714416"/>
              <a:gd name="connsiteY27093" fmla="*/ 589607 h 5282095"/>
              <a:gd name="connsiteX27094" fmla="*/ 2361990 w 7714416"/>
              <a:gd name="connsiteY27094" fmla="*/ 589549 h 5282095"/>
              <a:gd name="connsiteX27095" fmla="*/ 2363992 w 7714416"/>
              <a:gd name="connsiteY27095" fmla="*/ 592040 h 5282095"/>
              <a:gd name="connsiteX27096" fmla="*/ 2354216 w 7714416"/>
              <a:gd name="connsiteY27096" fmla="*/ 593101 h 5282095"/>
              <a:gd name="connsiteX27097" fmla="*/ 2345704 w 7714416"/>
              <a:gd name="connsiteY27097" fmla="*/ 592776 h 5282095"/>
              <a:gd name="connsiteX27098" fmla="*/ 2326808 w 7714416"/>
              <a:gd name="connsiteY27098" fmla="*/ 590242 h 5282095"/>
              <a:gd name="connsiteX27099" fmla="*/ 2318374 w 7714416"/>
              <a:gd name="connsiteY27099" fmla="*/ 587407 h 5282095"/>
              <a:gd name="connsiteX27100" fmla="*/ 2329924 w 7714416"/>
              <a:gd name="connsiteY27100" fmla="*/ 586362 h 5282095"/>
              <a:gd name="connsiteX27101" fmla="*/ 2587209 w 7714416"/>
              <a:gd name="connsiteY27101" fmla="*/ 586185 h 5282095"/>
              <a:gd name="connsiteX27102" fmla="*/ 2594805 w 7714416"/>
              <a:gd name="connsiteY27102" fmla="*/ 596155 h 5282095"/>
              <a:gd name="connsiteX27103" fmla="*/ 2583076 w 7714416"/>
              <a:gd name="connsiteY27103" fmla="*/ 595657 h 5282095"/>
              <a:gd name="connsiteX27104" fmla="*/ 2580589 w 7714416"/>
              <a:gd name="connsiteY27104" fmla="*/ 591656 h 5282095"/>
              <a:gd name="connsiteX27105" fmla="*/ 2587209 w 7714416"/>
              <a:gd name="connsiteY27105" fmla="*/ 586185 h 5282095"/>
              <a:gd name="connsiteX27106" fmla="*/ 2908672 w 7714416"/>
              <a:gd name="connsiteY27106" fmla="*/ 585839 h 5282095"/>
              <a:gd name="connsiteX27107" fmla="*/ 2929661 w 7714416"/>
              <a:gd name="connsiteY27107" fmla="*/ 601584 h 5282095"/>
              <a:gd name="connsiteX27108" fmla="*/ 2929385 w 7714416"/>
              <a:gd name="connsiteY27108" fmla="*/ 601510 h 5282095"/>
              <a:gd name="connsiteX27109" fmla="*/ 2930488 w 7714416"/>
              <a:gd name="connsiteY27109" fmla="*/ 605140 h 5282095"/>
              <a:gd name="connsiteX27110" fmla="*/ 2925187 w 7714416"/>
              <a:gd name="connsiteY27110" fmla="*/ 608319 h 5282095"/>
              <a:gd name="connsiteX27111" fmla="*/ 2924458 w 7714416"/>
              <a:gd name="connsiteY27111" fmla="*/ 603294 h 5282095"/>
              <a:gd name="connsiteX27112" fmla="*/ 2927010 w 7714416"/>
              <a:gd name="connsiteY27112" fmla="*/ 600413 h 5282095"/>
              <a:gd name="connsiteX27113" fmla="*/ 2916039 w 7714416"/>
              <a:gd name="connsiteY27113" fmla="*/ 595978 h 5282095"/>
              <a:gd name="connsiteX27114" fmla="*/ 2907597 w 7714416"/>
              <a:gd name="connsiteY27114" fmla="*/ 590956 h 5282095"/>
              <a:gd name="connsiteX27115" fmla="*/ 2908672 w 7714416"/>
              <a:gd name="connsiteY27115" fmla="*/ 585839 h 5282095"/>
              <a:gd name="connsiteX27116" fmla="*/ 4135924 w 7714416"/>
              <a:gd name="connsiteY27116" fmla="*/ 585661 h 5282095"/>
              <a:gd name="connsiteX27117" fmla="*/ 4142077 w 7714416"/>
              <a:gd name="connsiteY27117" fmla="*/ 598119 h 5282095"/>
              <a:gd name="connsiteX27118" fmla="*/ 4132790 w 7714416"/>
              <a:gd name="connsiteY27118" fmla="*/ 597357 h 5282095"/>
              <a:gd name="connsiteX27119" fmla="*/ 4127070 w 7714416"/>
              <a:gd name="connsiteY27119" fmla="*/ 592143 h 5282095"/>
              <a:gd name="connsiteX27120" fmla="*/ 4127304 w 7714416"/>
              <a:gd name="connsiteY27120" fmla="*/ 587951 h 5282095"/>
              <a:gd name="connsiteX27121" fmla="*/ 4135924 w 7714416"/>
              <a:gd name="connsiteY27121" fmla="*/ 585661 h 5282095"/>
              <a:gd name="connsiteX27122" fmla="*/ 4454419 w 7714416"/>
              <a:gd name="connsiteY27122" fmla="*/ 584635 h 5282095"/>
              <a:gd name="connsiteX27123" fmla="*/ 4456438 w 7714416"/>
              <a:gd name="connsiteY27123" fmla="*/ 588167 h 5282095"/>
              <a:gd name="connsiteX27124" fmla="*/ 4453448 w 7714416"/>
              <a:gd name="connsiteY27124" fmla="*/ 590470 h 5282095"/>
              <a:gd name="connsiteX27125" fmla="*/ 4451928 w 7714416"/>
              <a:gd name="connsiteY27125" fmla="*/ 592823 h 5282095"/>
              <a:gd name="connsiteX27126" fmla="*/ 4449341 w 7714416"/>
              <a:gd name="connsiteY27126" fmla="*/ 593625 h 5282095"/>
              <a:gd name="connsiteX27127" fmla="*/ 4446632 w 7714416"/>
              <a:gd name="connsiteY27127" fmla="*/ 592668 h 5282095"/>
              <a:gd name="connsiteX27128" fmla="*/ 4448151 w 7714416"/>
              <a:gd name="connsiteY27128" fmla="*/ 590316 h 5282095"/>
              <a:gd name="connsiteX27129" fmla="*/ 4454419 w 7714416"/>
              <a:gd name="connsiteY27129" fmla="*/ 584635 h 5282095"/>
              <a:gd name="connsiteX27130" fmla="*/ 1427678 w 7714416"/>
              <a:gd name="connsiteY27130" fmla="*/ 583349 h 5282095"/>
              <a:gd name="connsiteX27131" fmla="*/ 1431514 w 7714416"/>
              <a:gd name="connsiteY27131" fmla="*/ 591162 h 5282095"/>
              <a:gd name="connsiteX27132" fmla="*/ 1422858 w 7714416"/>
              <a:gd name="connsiteY27132" fmla="*/ 591373 h 5282095"/>
              <a:gd name="connsiteX27133" fmla="*/ 1415275 w 7714416"/>
              <a:gd name="connsiteY27133" fmla="*/ 586466 h 5282095"/>
              <a:gd name="connsiteX27134" fmla="*/ 1427678 w 7714416"/>
              <a:gd name="connsiteY27134" fmla="*/ 583349 h 5282095"/>
              <a:gd name="connsiteX27135" fmla="*/ 1323102 w 7714416"/>
              <a:gd name="connsiteY27135" fmla="*/ 582784 h 5282095"/>
              <a:gd name="connsiteX27136" fmla="*/ 1336583 w 7714416"/>
              <a:gd name="connsiteY27136" fmla="*/ 585736 h 5282095"/>
              <a:gd name="connsiteX27137" fmla="*/ 1343774 w 7714416"/>
              <a:gd name="connsiteY27137" fmla="*/ 590997 h 5282095"/>
              <a:gd name="connsiteX27138" fmla="*/ 1344137 w 7714416"/>
              <a:gd name="connsiteY27138" fmla="*/ 599605 h 5282095"/>
              <a:gd name="connsiteX27139" fmla="*/ 1324365 w 7714416"/>
              <a:gd name="connsiteY27139" fmla="*/ 604772 h 5282095"/>
              <a:gd name="connsiteX27140" fmla="*/ 1315475 w 7714416"/>
              <a:gd name="connsiteY27140" fmla="*/ 600320 h 5282095"/>
              <a:gd name="connsiteX27141" fmla="*/ 1314436 w 7714416"/>
              <a:gd name="connsiteY27141" fmla="*/ 598661 h 5282095"/>
              <a:gd name="connsiteX27142" fmla="*/ 1315119 w 7714416"/>
              <a:gd name="connsiteY27142" fmla="*/ 602755 h 5282095"/>
              <a:gd name="connsiteX27143" fmla="*/ 1311859 w 7714416"/>
              <a:gd name="connsiteY27143" fmla="*/ 607171 h 5282095"/>
              <a:gd name="connsiteX27144" fmla="*/ 1309811 w 7714416"/>
              <a:gd name="connsiteY27144" fmla="*/ 612602 h 5282095"/>
              <a:gd name="connsiteX27145" fmla="*/ 1305973 w 7714416"/>
              <a:gd name="connsiteY27145" fmla="*/ 613644 h 5282095"/>
              <a:gd name="connsiteX27146" fmla="*/ 1304371 w 7714416"/>
              <a:gd name="connsiteY27146" fmla="*/ 612985 h 5282095"/>
              <a:gd name="connsiteX27147" fmla="*/ 1303955 w 7714416"/>
              <a:gd name="connsiteY27147" fmla="*/ 610113 h 5282095"/>
              <a:gd name="connsiteX27148" fmla="*/ 1306815 w 7714416"/>
              <a:gd name="connsiteY27148" fmla="*/ 603864 h 5282095"/>
              <a:gd name="connsiteX27149" fmla="*/ 1308956 w 7714416"/>
              <a:gd name="connsiteY27149" fmla="*/ 600298 h 5282095"/>
              <a:gd name="connsiteX27150" fmla="*/ 1303853 w 7714416"/>
              <a:gd name="connsiteY27150" fmla="*/ 606061 h 5282095"/>
              <a:gd name="connsiteX27151" fmla="*/ 1294761 w 7714416"/>
              <a:gd name="connsiteY27151" fmla="*/ 611215 h 5282095"/>
              <a:gd name="connsiteX27152" fmla="*/ 1294880 w 7714416"/>
              <a:gd name="connsiteY27152" fmla="*/ 607451 h 5282095"/>
              <a:gd name="connsiteX27153" fmla="*/ 1296142 w 7714416"/>
              <a:gd name="connsiteY27153" fmla="*/ 606065 h 5282095"/>
              <a:gd name="connsiteX27154" fmla="*/ 1295570 w 7714416"/>
              <a:gd name="connsiteY27154" fmla="*/ 604877 h 5282095"/>
              <a:gd name="connsiteX27155" fmla="*/ 1297096 w 7714416"/>
              <a:gd name="connsiteY27155" fmla="*/ 604711 h 5282095"/>
              <a:gd name="connsiteX27156" fmla="*/ 1299343 w 7714416"/>
              <a:gd name="connsiteY27156" fmla="*/ 601862 h 5282095"/>
              <a:gd name="connsiteX27157" fmla="*/ 1301108 w 7714416"/>
              <a:gd name="connsiteY27157" fmla="*/ 594171 h 5282095"/>
              <a:gd name="connsiteX27158" fmla="*/ 1308931 w 7714416"/>
              <a:gd name="connsiteY27158" fmla="*/ 588217 h 5282095"/>
              <a:gd name="connsiteX27159" fmla="*/ 1313157 w 7714416"/>
              <a:gd name="connsiteY27159" fmla="*/ 590153 h 5282095"/>
              <a:gd name="connsiteX27160" fmla="*/ 1315374 w 7714416"/>
              <a:gd name="connsiteY27160" fmla="*/ 587413 h 5282095"/>
              <a:gd name="connsiteX27161" fmla="*/ 1323102 w 7714416"/>
              <a:gd name="connsiteY27161" fmla="*/ 582784 h 5282095"/>
              <a:gd name="connsiteX27162" fmla="*/ 2142573 w 7714416"/>
              <a:gd name="connsiteY27162" fmla="*/ 582737 h 5282095"/>
              <a:gd name="connsiteX27163" fmla="*/ 2159094 w 7714416"/>
              <a:gd name="connsiteY27163" fmla="*/ 584173 h 5282095"/>
              <a:gd name="connsiteX27164" fmla="*/ 2162644 w 7714416"/>
              <a:gd name="connsiteY27164" fmla="*/ 584204 h 5282095"/>
              <a:gd name="connsiteX27165" fmla="*/ 2166173 w 7714416"/>
              <a:gd name="connsiteY27165" fmla="*/ 586531 h 5282095"/>
              <a:gd name="connsiteX27166" fmla="*/ 2151102 w 7714416"/>
              <a:gd name="connsiteY27166" fmla="*/ 587437 h 5282095"/>
              <a:gd name="connsiteX27167" fmla="*/ 2142836 w 7714416"/>
              <a:gd name="connsiteY27167" fmla="*/ 587293 h 5282095"/>
              <a:gd name="connsiteX27168" fmla="*/ 2139059 w 7714416"/>
              <a:gd name="connsiteY27168" fmla="*/ 584784 h 5282095"/>
              <a:gd name="connsiteX27169" fmla="*/ 2139041 w 7714416"/>
              <a:gd name="connsiteY27169" fmla="*/ 583746 h 5282095"/>
              <a:gd name="connsiteX27170" fmla="*/ 2142573 w 7714416"/>
              <a:gd name="connsiteY27170" fmla="*/ 582737 h 5282095"/>
              <a:gd name="connsiteX27171" fmla="*/ 2930952 w 7714416"/>
              <a:gd name="connsiteY27171" fmla="*/ 582379 h 5282095"/>
              <a:gd name="connsiteX27172" fmla="*/ 2932278 w 7714416"/>
              <a:gd name="connsiteY27172" fmla="*/ 582965 h 5282095"/>
              <a:gd name="connsiteX27173" fmla="*/ 2933697 w 7714416"/>
              <a:gd name="connsiteY27173" fmla="*/ 585415 h 5282095"/>
              <a:gd name="connsiteX27174" fmla="*/ 2934251 w 7714416"/>
              <a:gd name="connsiteY27174" fmla="*/ 585564 h 5282095"/>
              <a:gd name="connsiteX27175" fmla="*/ 2939113 w 7714416"/>
              <a:gd name="connsiteY27175" fmla="*/ 590661 h 5282095"/>
              <a:gd name="connsiteX27176" fmla="*/ 2931160 w 7714416"/>
              <a:gd name="connsiteY27176" fmla="*/ 592670 h 5282095"/>
              <a:gd name="connsiteX27177" fmla="*/ 2925371 w 7714416"/>
              <a:gd name="connsiteY27177" fmla="*/ 588819 h 5282095"/>
              <a:gd name="connsiteX27178" fmla="*/ 2924308 w 7714416"/>
              <a:gd name="connsiteY27178" fmla="*/ 583934 h 5282095"/>
              <a:gd name="connsiteX27179" fmla="*/ 2928850 w 7714416"/>
              <a:gd name="connsiteY27179" fmla="*/ 584691 h 5282095"/>
              <a:gd name="connsiteX27180" fmla="*/ 2979084 w 7714416"/>
              <a:gd name="connsiteY27180" fmla="*/ 582051 h 5282095"/>
              <a:gd name="connsiteX27181" fmla="*/ 2995549 w 7714416"/>
              <a:gd name="connsiteY27181" fmla="*/ 589223 h 5282095"/>
              <a:gd name="connsiteX27182" fmla="*/ 2991464 w 7714416"/>
              <a:gd name="connsiteY27182" fmla="*/ 590083 h 5282095"/>
              <a:gd name="connsiteX27183" fmla="*/ 2979084 w 7714416"/>
              <a:gd name="connsiteY27183" fmla="*/ 582051 h 5282095"/>
              <a:gd name="connsiteX27184" fmla="*/ 2523678 w 7714416"/>
              <a:gd name="connsiteY27184" fmla="*/ 581582 h 5282095"/>
              <a:gd name="connsiteX27185" fmla="*/ 2531883 w 7714416"/>
              <a:gd name="connsiteY27185" fmla="*/ 585276 h 5282095"/>
              <a:gd name="connsiteX27186" fmla="*/ 2529303 w 7714416"/>
              <a:gd name="connsiteY27186" fmla="*/ 588264 h 5282095"/>
              <a:gd name="connsiteX27187" fmla="*/ 2523035 w 7714416"/>
              <a:gd name="connsiteY27187" fmla="*/ 585090 h 5282095"/>
              <a:gd name="connsiteX27188" fmla="*/ 2523678 w 7714416"/>
              <a:gd name="connsiteY27188" fmla="*/ 581582 h 5282095"/>
              <a:gd name="connsiteX27189" fmla="*/ 1204305 w 7714416"/>
              <a:gd name="connsiteY27189" fmla="*/ 581342 h 5282095"/>
              <a:gd name="connsiteX27190" fmla="*/ 1203711 w 7714416"/>
              <a:gd name="connsiteY27190" fmla="*/ 582448 h 5282095"/>
              <a:gd name="connsiteX27191" fmla="*/ 1205659 w 7714416"/>
              <a:gd name="connsiteY27191" fmla="*/ 581820 h 5282095"/>
              <a:gd name="connsiteX27192" fmla="*/ 1202949 w 7714416"/>
              <a:gd name="connsiteY27192" fmla="*/ 598574 h 5282095"/>
              <a:gd name="connsiteX27193" fmla="*/ 1201623 w 7714416"/>
              <a:gd name="connsiteY27193" fmla="*/ 597988 h 5282095"/>
              <a:gd name="connsiteX27194" fmla="*/ 1202077 w 7714416"/>
              <a:gd name="connsiteY27194" fmla="*/ 585230 h 5282095"/>
              <a:gd name="connsiteX27195" fmla="*/ 1204305 w 7714416"/>
              <a:gd name="connsiteY27195" fmla="*/ 581342 h 5282095"/>
              <a:gd name="connsiteX27196" fmla="*/ 3974268 w 7714416"/>
              <a:gd name="connsiteY27196" fmla="*/ 581331 h 5282095"/>
              <a:gd name="connsiteX27197" fmla="*/ 3998449 w 7714416"/>
              <a:gd name="connsiteY27197" fmla="*/ 611730 h 5282095"/>
              <a:gd name="connsiteX27198" fmla="*/ 3974268 w 7714416"/>
              <a:gd name="connsiteY27198" fmla="*/ 581331 h 5282095"/>
              <a:gd name="connsiteX27199" fmla="*/ 1455243 w 7714416"/>
              <a:gd name="connsiteY27199" fmla="*/ 581189 h 5282095"/>
              <a:gd name="connsiteX27200" fmla="*/ 1440323 w 7714416"/>
              <a:gd name="connsiteY27200" fmla="*/ 592602 h 5282095"/>
              <a:gd name="connsiteX27201" fmla="*/ 1440937 w 7714416"/>
              <a:gd name="connsiteY27201" fmla="*/ 589202 h 5282095"/>
              <a:gd name="connsiteX27202" fmla="*/ 1455243 w 7714416"/>
              <a:gd name="connsiteY27202" fmla="*/ 581189 h 5282095"/>
              <a:gd name="connsiteX27203" fmla="*/ 3157134 w 7714416"/>
              <a:gd name="connsiteY27203" fmla="*/ 580539 h 5282095"/>
              <a:gd name="connsiteX27204" fmla="*/ 3159614 w 7714416"/>
              <a:gd name="connsiteY27204" fmla="*/ 582353 h 5282095"/>
              <a:gd name="connsiteX27205" fmla="*/ 3155625 w 7714416"/>
              <a:gd name="connsiteY27205" fmla="*/ 581745 h 5282095"/>
              <a:gd name="connsiteX27206" fmla="*/ 3157134 w 7714416"/>
              <a:gd name="connsiteY27206" fmla="*/ 580539 h 5282095"/>
              <a:gd name="connsiteX27207" fmla="*/ 3167595 w 7714416"/>
              <a:gd name="connsiteY27207" fmla="*/ 580237 h 5282095"/>
              <a:gd name="connsiteX27208" fmla="*/ 3167919 w 7714416"/>
              <a:gd name="connsiteY27208" fmla="*/ 581243 h 5282095"/>
              <a:gd name="connsiteX27209" fmla="*/ 3165475 w 7714416"/>
              <a:gd name="connsiteY27209" fmla="*/ 581509 h 5282095"/>
              <a:gd name="connsiteX27210" fmla="*/ 3163930 w 7714416"/>
              <a:gd name="connsiteY27210" fmla="*/ 580634 h 5282095"/>
              <a:gd name="connsiteX27211" fmla="*/ 3167595 w 7714416"/>
              <a:gd name="connsiteY27211" fmla="*/ 580237 h 5282095"/>
              <a:gd name="connsiteX27212" fmla="*/ 3104794 w 7714416"/>
              <a:gd name="connsiteY27212" fmla="*/ 579969 h 5282095"/>
              <a:gd name="connsiteX27213" fmla="*/ 3122881 w 7714416"/>
              <a:gd name="connsiteY27213" fmla="*/ 579986 h 5282095"/>
              <a:gd name="connsiteX27214" fmla="*/ 3128997 w 7714416"/>
              <a:gd name="connsiteY27214" fmla="*/ 581509 h 5282095"/>
              <a:gd name="connsiteX27215" fmla="*/ 3133245 w 7714416"/>
              <a:gd name="connsiteY27215" fmla="*/ 581153 h 5282095"/>
              <a:gd name="connsiteX27216" fmla="*/ 3155683 w 7714416"/>
              <a:gd name="connsiteY27216" fmla="*/ 581529 h 5282095"/>
              <a:gd name="connsiteX27217" fmla="*/ 3141776 w 7714416"/>
              <a:gd name="connsiteY27217" fmla="*/ 582519 h 5282095"/>
              <a:gd name="connsiteX27218" fmla="*/ 3129550 w 7714416"/>
              <a:gd name="connsiteY27218" fmla="*/ 581658 h 5282095"/>
              <a:gd name="connsiteX27219" fmla="*/ 3138710 w 7714416"/>
              <a:gd name="connsiteY27219" fmla="*/ 583996 h 5282095"/>
              <a:gd name="connsiteX27220" fmla="*/ 3171807 w 7714416"/>
              <a:gd name="connsiteY27220" fmla="*/ 595510 h 5282095"/>
              <a:gd name="connsiteX27221" fmla="*/ 3191679 w 7714416"/>
              <a:gd name="connsiteY27221" fmla="*/ 620960 h 5282095"/>
              <a:gd name="connsiteX27222" fmla="*/ 3187833 w 7714416"/>
              <a:gd name="connsiteY27222" fmla="*/ 628671 h 5282095"/>
              <a:gd name="connsiteX27223" fmla="*/ 3186392 w 7714416"/>
              <a:gd name="connsiteY27223" fmla="*/ 637369 h 5282095"/>
              <a:gd name="connsiteX27224" fmla="*/ 3192886 w 7714416"/>
              <a:gd name="connsiteY27224" fmla="*/ 643018 h 5282095"/>
              <a:gd name="connsiteX27225" fmla="*/ 3191423 w 7714416"/>
              <a:gd name="connsiteY27225" fmla="*/ 654012 h 5282095"/>
              <a:gd name="connsiteX27226" fmla="*/ 3184179 w 7714416"/>
              <a:gd name="connsiteY27226" fmla="*/ 654485 h 5282095"/>
              <a:gd name="connsiteX27227" fmla="*/ 3183833 w 7714416"/>
              <a:gd name="connsiteY27227" fmla="*/ 655774 h 5282095"/>
              <a:gd name="connsiteX27228" fmla="*/ 3159598 w 7714416"/>
              <a:gd name="connsiteY27228" fmla="*/ 666530 h 5282095"/>
              <a:gd name="connsiteX27229" fmla="*/ 3157536 w 7714416"/>
              <a:gd name="connsiteY27229" fmla="*/ 667587 h 5282095"/>
              <a:gd name="connsiteX27230" fmla="*/ 3162125 w 7714416"/>
              <a:gd name="connsiteY27230" fmla="*/ 669276 h 5282095"/>
              <a:gd name="connsiteX27231" fmla="*/ 3167195 w 7714416"/>
              <a:gd name="connsiteY27231" fmla="*/ 675810 h 5282095"/>
              <a:gd name="connsiteX27232" fmla="*/ 3174601 w 7714416"/>
              <a:gd name="connsiteY27232" fmla="*/ 675840 h 5282095"/>
              <a:gd name="connsiteX27233" fmla="*/ 3191573 w 7714416"/>
              <a:gd name="connsiteY27233" fmla="*/ 682228 h 5282095"/>
              <a:gd name="connsiteX27234" fmla="*/ 3196004 w 7714416"/>
              <a:gd name="connsiteY27234" fmla="*/ 688935 h 5282095"/>
              <a:gd name="connsiteX27235" fmla="*/ 3197111 w 7714416"/>
              <a:gd name="connsiteY27235" fmla="*/ 689232 h 5282095"/>
              <a:gd name="connsiteX27236" fmla="*/ 3198868 w 7714416"/>
              <a:gd name="connsiteY27236" fmla="*/ 697062 h 5282095"/>
              <a:gd name="connsiteX27237" fmla="*/ 3190459 w 7714416"/>
              <a:gd name="connsiteY27237" fmla="*/ 697454 h 5282095"/>
              <a:gd name="connsiteX27238" fmla="*/ 3187322 w 7714416"/>
              <a:gd name="connsiteY27238" fmla="*/ 694774 h 5282095"/>
              <a:gd name="connsiteX27239" fmla="*/ 3187610 w 7714416"/>
              <a:gd name="connsiteY27239" fmla="*/ 693702 h 5282095"/>
              <a:gd name="connsiteX27240" fmla="*/ 3187879 w 7714416"/>
              <a:gd name="connsiteY27240" fmla="*/ 691587 h 5282095"/>
              <a:gd name="connsiteX27241" fmla="*/ 3176261 w 7714416"/>
              <a:gd name="connsiteY27241" fmla="*/ 693995 h 5282095"/>
              <a:gd name="connsiteX27242" fmla="*/ 3149388 w 7714416"/>
              <a:gd name="connsiteY27242" fmla="*/ 690244 h 5282095"/>
              <a:gd name="connsiteX27243" fmla="*/ 3156238 w 7714416"/>
              <a:gd name="connsiteY27243" fmla="*/ 675750 h 5282095"/>
              <a:gd name="connsiteX27244" fmla="*/ 3156791 w 7714416"/>
              <a:gd name="connsiteY27244" fmla="*/ 675899 h 5282095"/>
              <a:gd name="connsiteX27245" fmla="*/ 3156497 w 7714416"/>
              <a:gd name="connsiteY27245" fmla="*/ 674784 h 5282095"/>
              <a:gd name="connsiteX27246" fmla="*/ 3154078 w 7714416"/>
              <a:gd name="connsiteY27246" fmla="*/ 669422 h 5282095"/>
              <a:gd name="connsiteX27247" fmla="*/ 3156561 w 7714416"/>
              <a:gd name="connsiteY27247" fmla="*/ 667902 h 5282095"/>
              <a:gd name="connsiteX27248" fmla="*/ 3135640 w 7714416"/>
              <a:gd name="connsiteY27248" fmla="*/ 677361 h 5282095"/>
              <a:gd name="connsiteX27249" fmla="*/ 3121804 w 7714416"/>
              <a:gd name="connsiteY27249" fmla="*/ 673654 h 5282095"/>
              <a:gd name="connsiteX27250" fmla="*/ 3121470 w 7714416"/>
              <a:gd name="connsiteY27250" fmla="*/ 673794 h 5282095"/>
              <a:gd name="connsiteX27251" fmla="*/ 3121708 w 7714416"/>
              <a:gd name="connsiteY27251" fmla="*/ 675123 h 5282095"/>
              <a:gd name="connsiteX27252" fmla="*/ 3123339 w 7714416"/>
              <a:gd name="connsiteY27252" fmla="*/ 675675 h 5282095"/>
              <a:gd name="connsiteX27253" fmla="*/ 3121104 w 7714416"/>
              <a:gd name="connsiteY27253" fmla="*/ 677375 h 5282095"/>
              <a:gd name="connsiteX27254" fmla="*/ 3108792 w 7714416"/>
              <a:gd name="connsiteY27254" fmla="*/ 676837 h 5282095"/>
              <a:gd name="connsiteX27255" fmla="*/ 3107804 w 7714416"/>
              <a:gd name="connsiteY27255" fmla="*/ 672777 h 5282095"/>
              <a:gd name="connsiteX27256" fmla="*/ 3109590 w 7714416"/>
              <a:gd name="connsiteY27256" fmla="*/ 671645 h 5282095"/>
              <a:gd name="connsiteX27257" fmla="*/ 3099284 w 7714416"/>
              <a:gd name="connsiteY27257" fmla="*/ 670264 h 5282095"/>
              <a:gd name="connsiteX27258" fmla="*/ 3066781 w 7714416"/>
              <a:gd name="connsiteY27258" fmla="*/ 657645 h 5282095"/>
              <a:gd name="connsiteX27259" fmla="*/ 3051350 w 7714416"/>
              <a:gd name="connsiteY27259" fmla="*/ 628900 h 5282095"/>
              <a:gd name="connsiteX27260" fmla="*/ 3057265 w 7714416"/>
              <a:gd name="connsiteY27260" fmla="*/ 613465 h 5282095"/>
              <a:gd name="connsiteX27261" fmla="*/ 3062523 w 7714416"/>
              <a:gd name="connsiteY27261" fmla="*/ 606018 h 5282095"/>
              <a:gd name="connsiteX27262" fmla="*/ 3059083 w 7714416"/>
              <a:gd name="connsiteY27262" fmla="*/ 600037 h 5282095"/>
              <a:gd name="connsiteX27263" fmla="*/ 3065954 w 7714416"/>
              <a:gd name="connsiteY27263" fmla="*/ 600958 h 5282095"/>
              <a:gd name="connsiteX27264" fmla="*/ 3067751 w 7714416"/>
              <a:gd name="connsiteY27264" fmla="*/ 598679 h 5282095"/>
              <a:gd name="connsiteX27265" fmla="*/ 3074877 w 7714416"/>
              <a:gd name="connsiteY27265" fmla="*/ 593114 h 5282095"/>
              <a:gd name="connsiteX27266" fmla="*/ 3074191 w 7714416"/>
              <a:gd name="connsiteY27266" fmla="*/ 592355 h 5282095"/>
              <a:gd name="connsiteX27267" fmla="*/ 3074805 w 7714416"/>
              <a:gd name="connsiteY27267" fmla="*/ 588955 h 5282095"/>
              <a:gd name="connsiteX27268" fmla="*/ 3082337 w 7714416"/>
              <a:gd name="connsiteY27268" fmla="*/ 587407 h 5282095"/>
              <a:gd name="connsiteX27269" fmla="*/ 3083398 w 7714416"/>
              <a:gd name="connsiteY27269" fmla="*/ 586771 h 5282095"/>
              <a:gd name="connsiteX27270" fmla="*/ 3104794 w 7714416"/>
              <a:gd name="connsiteY27270" fmla="*/ 579969 h 5282095"/>
              <a:gd name="connsiteX27271" fmla="*/ 2601283 w 7714416"/>
              <a:gd name="connsiteY27271" fmla="*/ 579592 h 5282095"/>
              <a:gd name="connsiteX27272" fmla="*/ 2607384 w 7714416"/>
              <a:gd name="connsiteY27272" fmla="*/ 580206 h 5282095"/>
              <a:gd name="connsiteX27273" fmla="*/ 2606028 w 7714416"/>
              <a:gd name="connsiteY27273" fmla="*/ 588583 h 5282095"/>
              <a:gd name="connsiteX27274" fmla="*/ 2600598 w 7714416"/>
              <a:gd name="connsiteY27274" fmla="*/ 587818 h 5282095"/>
              <a:gd name="connsiteX27275" fmla="*/ 2595309 w 7714416"/>
              <a:gd name="connsiteY27275" fmla="*/ 580995 h 5282095"/>
              <a:gd name="connsiteX27276" fmla="*/ 2601283 w 7714416"/>
              <a:gd name="connsiteY27276" fmla="*/ 579592 h 5282095"/>
              <a:gd name="connsiteX27277" fmla="*/ 3175289 w 7714416"/>
              <a:gd name="connsiteY27277" fmla="*/ 579193 h 5282095"/>
              <a:gd name="connsiteX27278" fmla="*/ 3178560 w 7714416"/>
              <a:gd name="connsiteY27278" fmla="*/ 582484 h 5282095"/>
              <a:gd name="connsiteX27279" fmla="*/ 3173100 w 7714416"/>
              <a:gd name="connsiteY27279" fmla="*/ 581827 h 5282095"/>
              <a:gd name="connsiteX27280" fmla="*/ 3168789 w 7714416"/>
              <a:gd name="connsiteY27280" fmla="*/ 580211 h 5282095"/>
              <a:gd name="connsiteX27281" fmla="*/ 3175289 w 7714416"/>
              <a:gd name="connsiteY27281" fmla="*/ 579193 h 5282095"/>
              <a:gd name="connsiteX27282" fmla="*/ 3661161 w 7714416"/>
              <a:gd name="connsiteY27282" fmla="*/ 578856 h 5282095"/>
              <a:gd name="connsiteX27283" fmla="*/ 3674216 w 7714416"/>
              <a:gd name="connsiteY27283" fmla="*/ 579938 h 5282095"/>
              <a:gd name="connsiteX27284" fmla="*/ 3675266 w 7714416"/>
              <a:gd name="connsiteY27284" fmla="*/ 580449 h 5282095"/>
              <a:gd name="connsiteX27285" fmla="*/ 3681576 w 7714416"/>
              <a:gd name="connsiteY27285" fmla="*/ 579035 h 5282095"/>
              <a:gd name="connsiteX27286" fmla="*/ 3695648 w 7714416"/>
              <a:gd name="connsiteY27286" fmla="*/ 592926 h 5282095"/>
              <a:gd name="connsiteX27287" fmla="*/ 3684476 w 7714416"/>
              <a:gd name="connsiteY27287" fmla="*/ 598098 h 5282095"/>
              <a:gd name="connsiteX27288" fmla="*/ 3683818 w 7714416"/>
              <a:gd name="connsiteY27288" fmla="*/ 597232 h 5282095"/>
              <a:gd name="connsiteX27289" fmla="*/ 3681371 w 7714416"/>
              <a:gd name="connsiteY27289" fmla="*/ 600831 h 5282095"/>
              <a:gd name="connsiteX27290" fmla="*/ 3667676 w 7714416"/>
              <a:gd name="connsiteY27290" fmla="*/ 599921 h 5282095"/>
              <a:gd name="connsiteX27291" fmla="*/ 3662591 w 7714416"/>
              <a:gd name="connsiteY27291" fmla="*/ 597868 h 5282095"/>
              <a:gd name="connsiteX27292" fmla="*/ 3655659 w 7714416"/>
              <a:gd name="connsiteY27292" fmla="*/ 591641 h 5282095"/>
              <a:gd name="connsiteX27293" fmla="*/ 3661161 w 7714416"/>
              <a:gd name="connsiteY27293" fmla="*/ 578856 h 5282095"/>
              <a:gd name="connsiteX27294" fmla="*/ 2105643 w 7714416"/>
              <a:gd name="connsiteY27294" fmla="*/ 577786 h 5282095"/>
              <a:gd name="connsiteX27295" fmla="*/ 2113067 w 7714416"/>
              <a:gd name="connsiteY27295" fmla="*/ 587711 h 5282095"/>
              <a:gd name="connsiteX27296" fmla="*/ 2101589 w 7714416"/>
              <a:gd name="connsiteY27296" fmla="*/ 592916 h 5282095"/>
              <a:gd name="connsiteX27297" fmla="*/ 2098919 w 7714416"/>
              <a:gd name="connsiteY27297" fmla="*/ 590705 h 5282095"/>
              <a:gd name="connsiteX27298" fmla="*/ 2096671 w 7714416"/>
              <a:gd name="connsiteY27298" fmla="*/ 588032 h 5282095"/>
              <a:gd name="connsiteX27299" fmla="*/ 2095976 w 7714416"/>
              <a:gd name="connsiteY27299" fmla="*/ 585086 h 5282095"/>
              <a:gd name="connsiteX27300" fmla="*/ 2096953 w 7714416"/>
              <a:gd name="connsiteY27300" fmla="*/ 581438 h 5282095"/>
              <a:gd name="connsiteX27301" fmla="*/ 2102283 w 7714416"/>
              <a:gd name="connsiteY27301" fmla="*/ 578151 h 5282095"/>
              <a:gd name="connsiteX27302" fmla="*/ 2105643 w 7714416"/>
              <a:gd name="connsiteY27302" fmla="*/ 577786 h 5282095"/>
              <a:gd name="connsiteX27303" fmla="*/ 2792660 w 7714416"/>
              <a:gd name="connsiteY27303" fmla="*/ 577179 h 5282095"/>
              <a:gd name="connsiteX27304" fmla="*/ 2839531 w 7714416"/>
              <a:gd name="connsiteY27304" fmla="*/ 587094 h 5282095"/>
              <a:gd name="connsiteX27305" fmla="*/ 2844433 w 7714416"/>
              <a:gd name="connsiteY27305" fmla="*/ 590936 h 5282095"/>
              <a:gd name="connsiteX27306" fmla="*/ 2847746 w 7714416"/>
              <a:gd name="connsiteY27306" fmla="*/ 589640 h 5282095"/>
              <a:gd name="connsiteX27307" fmla="*/ 2852378 w 7714416"/>
              <a:gd name="connsiteY27307" fmla="*/ 586741 h 5282095"/>
              <a:gd name="connsiteX27308" fmla="*/ 2857503 w 7714416"/>
              <a:gd name="connsiteY27308" fmla="*/ 587538 h 5282095"/>
              <a:gd name="connsiteX27309" fmla="*/ 2851814 w 7714416"/>
              <a:gd name="connsiteY27309" fmla="*/ 596595 h 5282095"/>
              <a:gd name="connsiteX27310" fmla="*/ 2840282 w 7714416"/>
              <a:gd name="connsiteY27310" fmla="*/ 598680 h 5282095"/>
              <a:gd name="connsiteX27311" fmla="*/ 2838863 w 7714416"/>
              <a:gd name="connsiteY27311" fmla="*/ 596229 h 5282095"/>
              <a:gd name="connsiteX27312" fmla="*/ 2839725 w 7714416"/>
              <a:gd name="connsiteY27312" fmla="*/ 593011 h 5282095"/>
              <a:gd name="connsiteX27313" fmla="*/ 2844099 w 7714416"/>
              <a:gd name="connsiteY27313" fmla="*/ 591078 h 5282095"/>
              <a:gd name="connsiteX27314" fmla="*/ 2822487 w 7714416"/>
              <a:gd name="connsiteY27314" fmla="*/ 594256 h 5282095"/>
              <a:gd name="connsiteX27315" fmla="*/ 2809622 w 7714416"/>
              <a:gd name="connsiteY27315" fmla="*/ 593569 h 5282095"/>
              <a:gd name="connsiteX27316" fmla="*/ 2794460 w 7714416"/>
              <a:gd name="connsiteY27316" fmla="*/ 589277 h 5282095"/>
              <a:gd name="connsiteX27317" fmla="*/ 2792660 w 7714416"/>
              <a:gd name="connsiteY27317" fmla="*/ 577179 h 5282095"/>
              <a:gd name="connsiteX27318" fmla="*/ 2389070 w 7714416"/>
              <a:gd name="connsiteY27318" fmla="*/ 577024 h 5282095"/>
              <a:gd name="connsiteX27319" fmla="*/ 2383909 w 7714416"/>
              <a:gd name="connsiteY27319" fmla="*/ 591857 h 5282095"/>
              <a:gd name="connsiteX27320" fmla="*/ 2372209 w 7714416"/>
              <a:gd name="connsiteY27320" fmla="*/ 582397 h 5282095"/>
              <a:gd name="connsiteX27321" fmla="*/ 2389070 w 7714416"/>
              <a:gd name="connsiteY27321" fmla="*/ 577024 h 5282095"/>
              <a:gd name="connsiteX27322" fmla="*/ 1567880 w 7714416"/>
              <a:gd name="connsiteY27322" fmla="*/ 576985 h 5282095"/>
              <a:gd name="connsiteX27323" fmla="*/ 1594045 w 7714416"/>
              <a:gd name="connsiteY27323" fmla="*/ 599981 h 5282095"/>
              <a:gd name="connsiteX27324" fmla="*/ 1584485 w 7714416"/>
              <a:gd name="connsiteY27324" fmla="*/ 604665 h 5282095"/>
              <a:gd name="connsiteX27325" fmla="*/ 1562863 w 7714416"/>
              <a:gd name="connsiteY27325" fmla="*/ 591281 h 5282095"/>
              <a:gd name="connsiteX27326" fmla="*/ 1564135 w 7714416"/>
              <a:gd name="connsiteY27326" fmla="*/ 579892 h 5282095"/>
              <a:gd name="connsiteX27327" fmla="*/ 1567880 w 7714416"/>
              <a:gd name="connsiteY27327" fmla="*/ 576985 h 5282095"/>
              <a:gd name="connsiteX27328" fmla="*/ 2037078 w 7714416"/>
              <a:gd name="connsiteY27328" fmla="*/ 576895 h 5282095"/>
              <a:gd name="connsiteX27329" fmla="*/ 2048925 w 7714416"/>
              <a:gd name="connsiteY27329" fmla="*/ 582484 h 5282095"/>
              <a:gd name="connsiteX27330" fmla="*/ 2040653 w 7714416"/>
              <a:gd name="connsiteY27330" fmla="*/ 589008 h 5282095"/>
              <a:gd name="connsiteX27331" fmla="*/ 2030296 w 7714416"/>
              <a:gd name="connsiteY27331" fmla="*/ 581172 h 5282095"/>
              <a:gd name="connsiteX27332" fmla="*/ 2037078 w 7714416"/>
              <a:gd name="connsiteY27332" fmla="*/ 576895 h 5282095"/>
              <a:gd name="connsiteX27333" fmla="*/ 4065203 w 7714416"/>
              <a:gd name="connsiteY27333" fmla="*/ 575107 h 5282095"/>
              <a:gd name="connsiteX27334" fmla="*/ 4072524 w 7714416"/>
              <a:gd name="connsiteY27334" fmla="*/ 575458 h 5282095"/>
              <a:gd name="connsiteX27335" fmla="*/ 4084034 w 7714416"/>
              <a:gd name="connsiteY27335" fmla="*/ 575667 h 5282095"/>
              <a:gd name="connsiteX27336" fmla="*/ 4086309 w 7714416"/>
              <a:gd name="connsiteY27336" fmla="*/ 581566 h 5282095"/>
              <a:gd name="connsiteX27337" fmla="*/ 4057287 w 7714416"/>
              <a:gd name="connsiteY27337" fmla="*/ 588050 h 5282095"/>
              <a:gd name="connsiteX27338" fmla="*/ 4053330 w 7714416"/>
              <a:gd name="connsiteY27338" fmla="*/ 584001 h 5282095"/>
              <a:gd name="connsiteX27339" fmla="*/ 4059246 w 7714416"/>
              <a:gd name="connsiteY27339" fmla="*/ 577419 h 5282095"/>
              <a:gd name="connsiteX27340" fmla="*/ 4065203 w 7714416"/>
              <a:gd name="connsiteY27340" fmla="*/ 575107 h 5282095"/>
              <a:gd name="connsiteX27341" fmla="*/ 4443082 w 7714416"/>
              <a:gd name="connsiteY27341" fmla="*/ 574927 h 5282095"/>
              <a:gd name="connsiteX27342" fmla="*/ 4446603 w 7714416"/>
              <a:gd name="connsiteY27342" fmla="*/ 575066 h 5282095"/>
              <a:gd name="connsiteX27343" fmla="*/ 4444065 w 7714416"/>
              <a:gd name="connsiteY27343" fmla="*/ 582321 h 5282095"/>
              <a:gd name="connsiteX27344" fmla="*/ 4439341 w 7714416"/>
              <a:gd name="connsiteY27344" fmla="*/ 583355 h 5282095"/>
              <a:gd name="connsiteX27345" fmla="*/ 4438474 w 7714416"/>
              <a:gd name="connsiteY27345" fmla="*/ 581053 h 5282095"/>
              <a:gd name="connsiteX27346" fmla="*/ 4438819 w 7714416"/>
              <a:gd name="connsiteY27346" fmla="*/ 579765 h 5282095"/>
              <a:gd name="connsiteX27347" fmla="*/ 4442104 w 7714416"/>
              <a:gd name="connsiteY27347" fmla="*/ 578575 h 5282095"/>
              <a:gd name="connsiteX27348" fmla="*/ 4443082 w 7714416"/>
              <a:gd name="connsiteY27348" fmla="*/ 574927 h 5282095"/>
              <a:gd name="connsiteX27349" fmla="*/ 3330790 w 7714416"/>
              <a:gd name="connsiteY27349" fmla="*/ 574398 h 5282095"/>
              <a:gd name="connsiteX27350" fmla="*/ 3327125 w 7714416"/>
              <a:gd name="connsiteY27350" fmla="*/ 583651 h 5282095"/>
              <a:gd name="connsiteX27351" fmla="*/ 3322547 w 7714416"/>
              <a:gd name="connsiteY27351" fmla="*/ 580814 h 5282095"/>
              <a:gd name="connsiteX27352" fmla="*/ 3330790 w 7714416"/>
              <a:gd name="connsiteY27352" fmla="*/ 574398 h 5282095"/>
              <a:gd name="connsiteX27353" fmla="*/ 1480362 w 7714416"/>
              <a:gd name="connsiteY27353" fmla="*/ 573775 h 5282095"/>
              <a:gd name="connsiteX27354" fmla="*/ 1475267 w 7714416"/>
              <a:gd name="connsiteY27354" fmla="*/ 590580 h 5282095"/>
              <a:gd name="connsiteX27355" fmla="*/ 1473553 w 7714416"/>
              <a:gd name="connsiteY27355" fmla="*/ 587016 h 5282095"/>
              <a:gd name="connsiteX27356" fmla="*/ 1480362 w 7714416"/>
              <a:gd name="connsiteY27356" fmla="*/ 573775 h 5282095"/>
              <a:gd name="connsiteX27357" fmla="*/ 1187095 w 7714416"/>
              <a:gd name="connsiteY27357" fmla="*/ 573626 h 5282095"/>
              <a:gd name="connsiteX27358" fmla="*/ 1193535 w 7714416"/>
              <a:gd name="connsiteY27358" fmla="*/ 576156 h 5282095"/>
              <a:gd name="connsiteX27359" fmla="*/ 1192655 w 7714416"/>
              <a:gd name="connsiteY27359" fmla="*/ 578335 h 5282095"/>
              <a:gd name="connsiteX27360" fmla="*/ 1194494 w 7714416"/>
              <a:gd name="connsiteY27360" fmla="*/ 598034 h 5282095"/>
              <a:gd name="connsiteX27361" fmla="*/ 1187095 w 7714416"/>
              <a:gd name="connsiteY27361" fmla="*/ 573626 h 5282095"/>
              <a:gd name="connsiteX27362" fmla="*/ 2001185 w 7714416"/>
              <a:gd name="connsiteY27362" fmla="*/ 573602 h 5282095"/>
              <a:gd name="connsiteX27363" fmla="*/ 2011200 w 7714416"/>
              <a:gd name="connsiteY27363" fmla="*/ 579391 h 5282095"/>
              <a:gd name="connsiteX27364" fmla="*/ 2001117 w 7714416"/>
              <a:gd name="connsiteY27364" fmla="*/ 583819 h 5282095"/>
              <a:gd name="connsiteX27365" fmla="*/ 1997847 w 7714416"/>
              <a:gd name="connsiteY27365" fmla="*/ 580528 h 5282095"/>
              <a:gd name="connsiteX27366" fmla="*/ 2001185 w 7714416"/>
              <a:gd name="connsiteY27366" fmla="*/ 573602 h 5282095"/>
              <a:gd name="connsiteX27367" fmla="*/ 2645425 w 7714416"/>
              <a:gd name="connsiteY27367" fmla="*/ 573263 h 5282095"/>
              <a:gd name="connsiteX27368" fmla="*/ 2647599 w 7714416"/>
              <a:gd name="connsiteY27368" fmla="*/ 583966 h 5282095"/>
              <a:gd name="connsiteX27369" fmla="*/ 2637207 w 7714416"/>
              <a:gd name="connsiteY27369" fmla="*/ 582907 h 5282095"/>
              <a:gd name="connsiteX27370" fmla="*/ 2645425 w 7714416"/>
              <a:gd name="connsiteY27370" fmla="*/ 573263 h 5282095"/>
              <a:gd name="connsiteX27371" fmla="*/ 1181578 w 7714416"/>
              <a:gd name="connsiteY27371" fmla="*/ 573183 h 5282095"/>
              <a:gd name="connsiteX27372" fmla="*/ 1187842 w 7714416"/>
              <a:gd name="connsiteY27372" fmla="*/ 579691 h 5282095"/>
              <a:gd name="connsiteX27373" fmla="*/ 1182237 w 7714416"/>
              <a:gd name="connsiteY27373" fmla="*/ 582905 h 5282095"/>
              <a:gd name="connsiteX27374" fmla="*/ 1176280 w 7714416"/>
              <a:gd name="connsiteY27374" fmla="*/ 576363 h 5282095"/>
              <a:gd name="connsiteX27375" fmla="*/ 1181578 w 7714416"/>
              <a:gd name="connsiteY27375" fmla="*/ 573183 h 5282095"/>
              <a:gd name="connsiteX27376" fmla="*/ 3286057 w 7714416"/>
              <a:gd name="connsiteY27376" fmla="*/ 573108 h 5282095"/>
              <a:gd name="connsiteX27377" fmla="*/ 3290126 w 7714416"/>
              <a:gd name="connsiteY27377" fmla="*/ 580063 h 5282095"/>
              <a:gd name="connsiteX27378" fmla="*/ 3286057 w 7714416"/>
              <a:gd name="connsiteY27378" fmla="*/ 573108 h 5282095"/>
              <a:gd name="connsiteX27379" fmla="*/ 2936968 w 7714416"/>
              <a:gd name="connsiteY27379" fmla="*/ 570996 h 5282095"/>
              <a:gd name="connsiteX27380" fmla="*/ 2941528 w 7714416"/>
              <a:gd name="connsiteY27380" fmla="*/ 572793 h 5282095"/>
              <a:gd name="connsiteX27381" fmla="*/ 2938124 w 7714416"/>
              <a:gd name="connsiteY27381" fmla="*/ 577746 h 5282095"/>
              <a:gd name="connsiteX27382" fmla="*/ 2933575 w 7714416"/>
              <a:gd name="connsiteY27382" fmla="*/ 574802 h 5282095"/>
              <a:gd name="connsiteX27383" fmla="*/ 2936968 w 7714416"/>
              <a:gd name="connsiteY27383" fmla="*/ 570996 h 5282095"/>
              <a:gd name="connsiteX27384" fmla="*/ 2360466 w 7714416"/>
              <a:gd name="connsiteY27384" fmla="*/ 570611 h 5282095"/>
              <a:gd name="connsiteX27385" fmla="*/ 2367104 w 7714416"/>
              <a:gd name="connsiteY27385" fmla="*/ 573783 h 5282095"/>
              <a:gd name="connsiteX27386" fmla="*/ 2359244 w 7714416"/>
              <a:gd name="connsiteY27386" fmla="*/ 577658 h 5282095"/>
              <a:gd name="connsiteX27387" fmla="*/ 2351224 w 7714416"/>
              <a:gd name="connsiteY27387" fmla="*/ 572173 h 5282095"/>
              <a:gd name="connsiteX27388" fmla="*/ 2360466 w 7714416"/>
              <a:gd name="connsiteY27388" fmla="*/ 570611 h 5282095"/>
              <a:gd name="connsiteX27389" fmla="*/ 4468991 w 7714416"/>
              <a:gd name="connsiteY27389" fmla="*/ 568989 h 5282095"/>
              <a:gd name="connsiteX27390" fmla="*/ 4472922 w 7714416"/>
              <a:gd name="connsiteY27390" fmla="*/ 569813 h 5282095"/>
              <a:gd name="connsiteX27391" fmla="*/ 4471952 w 7714416"/>
              <a:gd name="connsiteY27391" fmla="*/ 575647 h 5282095"/>
              <a:gd name="connsiteX27392" fmla="*/ 4461362 w 7714416"/>
              <a:gd name="connsiteY27392" fmla="*/ 580860 h 5282095"/>
              <a:gd name="connsiteX27393" fmla="*/ 4457412 w 7714416"/>
              <a:gd name="connsiteY27393" fmla="*/ 578997 h 5282095"/>
              <a:gd name="connsiteX27394" fmla="*/ 4456625 w 7714416"/>
              <a:gd name="connsiteY27394" fmla="*/ 574186 h 5282095"/>
              <a:gd name="connsiteX27395" fmla="*/ 4468991 w 7714416"/>
              <a:gd name="connsiteY27395" fmla="*/ 568989 h 5282095"/>
              <a:gd name="connsiteX27396" fmla="*/ 2487711 w 7714416"/>
              <a:gd name="connsiteY27396" fmla="*/ 565706 h 5282095"/>
              <a:gd name="connsiteX27397" fmla="*/ 2517487 w 7714416"/>
              <a:gd name="connsiteY27397" fmla="*/ 570378 h 5282095"/>
              <a:gd name="connsiteX27398" fmla="*/ 2465715 w 7714416"/>
              <a:gd name="connsiteY27398" fmla="*/ 574330 h 5282095"/>
              <a:gd name="connsiteX27399" fmla="*/ 2487711 w 7714416"/>
              <a:gd name="connsiteY27399" fmla="*/ 565706 h 5282095"/>
              <a:gd name="connsiteX27400" fmla="*/ 1211072 w 7714416"/>
              <a:gd name="connsiteY27400" fmla="*/ 563835 h 5282095"/>
              <a:gd name="connsiteX27401" fmla="*/ 1215772 w 7714416"/>
              <a:gd name="connsiteY27401" fmla="*/ 568429 h 5282095"/>
              <a:gd name="connsiteX27402" fmla="*/ 1192165 w 7714416"/>
              <a:gd name="connsiteY27402" fmla="*/ 571304 h 5282095"/>
              <a:gd name="connsiteX27403" fmla="*/ 1211072 w 7714416"/>
              <a:gd name="connsiteY27403" fmla="*/ 563835 h 5282095"/>
              <a:gd name="connsiteX27404" fmla="*/ 1760756 w 7714416"/>
              <a:gd name="connsiteY27404" fmla="*/ 563101 h 5282095"/>
              <a:gd name="connsiteX27405" fmla="*/ 1773755 w 7714416"/>
              <a:gd name="connsiteY27405" fmla="*/ 581203 h 5282095"/>
              <a:gd name="connsiteX27406" fmla="*/ 1758766 w 7714416"/>
              <a:gd name="connsiteY27406" fmla="*/ 585122 h 5282095"/>
              <a:gd name="connsiteX27407" fmla="*/ 1752143 w 7714416"/>
              <a:gd name="connsiteY27407" fmla="*/ 575528 h 5282095"/>
              <a:gd name="connsiteX27408" fmla="*/ 1750846 w 7714416"/>
              <a:gd name="connsiteY27408" fmla="*/ 565980 h 5282095"/>
              <a:gd name="connsiteX27409" fmla="*/ 1760756 w 7714416"/>
              <a:gd name="connsiteY27409" fmla="*/ 563101 h 5282095"/>
              <a:gd name="connsiteX27410" fmla="*/ 1781363 w 7714416"/>
              <a:gd name="connsiteY27410" fmla="*/ 562772 h 5282095"/>
              <a:gd name="connsiteX27411" fmla="*/ 1783939 w 7714416"/>
              <a:gd name="connsiteY27411" fmla="*/ 563118 h 5282095"/>
              <a:gd name="connsiteX27412" fmla="*/ 1787613 w 7714416"/>
              <a:gd name="connsiteY27412" fmla="*/ 564906 h 5282095"/>
              <a:gd name="connsiteX27413" fmla="*/ 1784208 w 7714416"/>
              <a:gd name="connsiteY27413" fmla="*/ 569860 h 5282095"/>
              <a:gd name="connsiteX27414" fmla="*/ 1781374 w 7714416"/>
              <a:gd name="connsiteY27414" fmla="*/ 570479 h 5282095"/>
              <a:gd name="connsiteX27415" fmla="*/ 1779303 w 7714416"/>
              <a:gd name="connsiteY27415" fmla="*/ 569350 h 5282095"/>
              <a:gd name="connsiteX27416" fmla="*/ 1778564 w 7714416"/>
              <a:gd name="connsiteY27416" fmla="*/ 565472 h 5282095"/>
              <a:gd name="connsiteX27417" fmla="*/ 1781363 w 7714416"/>
              <a:gd name="connsiteY27417" fmla="*/ 562772 h 5282095"/>
              <a:gd name="connsiteX27418" fmla="*/ 3422534 w 7714416"/>
              <a:gd name="connsiteY27418" fmla="*/ 561836 h 5282095"/>
              <a:gd name="connsiteX27419" fmla="*/ 3426674 w 7714416"/>
              <a:gd name="connsiteY27419" fmla="*/ 564095 h 5282095"/>
              <a:gd name="connsiteX27420" fmla="*/ 3421574 w 7714416"/>
              <a:gd name="connsiteY27420" fmla="*/ 575379 h 5282095"/>
              <a:gd name="connsiteX27421" fmla="*/ 3414710 w 7714416"/>
              <a:gd name="connsiteY27421" fmla="*/ 567789 h 5282095"/>
              <a:gd name="connsiteX27422" fmla="*/ 3422534 w 7714416"/>
              <a:gd name="connsiteY27422" fmla="*/ 561836 h 5282095"/>
              <a:gd name="connsiteX27423" fmla="*/ 3169917 w 7714416"/>
              <a:gd name="connsiteY27423" fmla="*/ 560503 h 5282095"/>
              <a:gd name="connsiteX27424" fmla="*/ 3198442 w 7714416"/>
              <a:gd name="connsiteY27424" fmla="*/ 580222 h 5282095"/>
              <a:gd name="connsiteX27425" fmla="*/ 3169917 w 7714416"/>
              <a:gd name="connsiteY27425" fmla="*/ 560503 h 5282095"/>
              <a:gd name="connsiteX27426" fmla="*/ 3891724 w 7714416"/>
              <a:gd name="connsiteY27426" fmla="*/ 559558 h 5282095"/>
              <a:gd name="connsiteX27427" fmla="*/ 3894872 w 7714416"/>
              <a:gd name="connsiteY27427" fmla="*/ 569947 h 5282095"/>
              <a:gd name="connsiteX27428" fmla="*/ 3892486 w 7714416"/>
              <a:gd name="connsiteY27428" fmla="*/ 569998 h 5282095"/>
              <a:gd name="connsiteX27429" fmla="*/ 3889643 w 7714416"/>
              <a:gd name="connsiteY27429" fmla="*/ 568431 h 5282095"/>
              <a:gd name="connsiteX27430" fmla="*/ 3891724 w 7714416"/>
              <a:gd name="connsiteY27430" fmla="*/ 559558 h 5282095"/>
              <a:gd name="connsiteX27431" fmla="*/ 3006988 w 7714416"/>
              <a:gd name="connsiteY27431" fmla="*/ 558708 h 5282095"/>
              <a:gd name="connsiteX27432" fmla="*/ 3015232 w 7714416"/>
              <a:gd name="connsiteY27432" fmla="*/ 561146 h 5282095"/>
              <a:gd name="connsiteX27433" fmla="*/ 3012612 w 7714416"/>
              <a:gd name="connsiteY27433" fmla="*/ 565390 h 5282095"/>
              <a:gd name="connsiteX27434" fmla="*/ 3007345 w 7714416"/>
              <a:gd name="connsiteY27434" fmla="*/ 565128 h 5282095"/>
              <a:gd name="connsiteX27435" fmla="*/ 3007661 w 7714416"/>
              <a:gd name="connsiteY27435" fmla="*/ 563948 h 5282095"/>
              <a:gd name="connsiteX27436" fmla="*/ 3006988 w 7714416"/>
              <a:gd name="connsiteY27436" fmla="*/ 558708 h 5282095"/>
              <a:gd name="connsiteX27437" fmla="*/ 3794899 w 7714416"/>
              <a:gd name="connsiteY27437" fmla="*/ 557880 h 5282095"/>
              <a:gd name="connsiteX27438" fmla="*/ 3798421 w 7714416"/>
              <a:gd name="connsiteY27438" fmla="*/ 558018 h 5282095"/>
              <a:gd name="connsiteX27439" fmla="*/ 3797688 w 7714416"/>
              <a:gd name="connsiteY27439" fmla="*/ 565181 h 5282095"/>
              <a:gd name="connsiteX27440" fmla="*/ 3795363 w 7714416"/>
              <a:gd name="connsiteY27440" fmla="*/ 570539 h 5282095"/>
              <a:gd name="connsiteX27441" fmla="*/ 3782462 w 7714416"/>
              <a:gd name="connsiteY27441" fmla="*/ 585482 h 5282095"/>
              <a:gd name="connsiteX27442" fmla="*/ 3783482 w 7714416"/>
              <a:gd name="connsiteY27442" fmla="*/ 577246 h 5282095"/>
              <a:gd name="connsiteX27443" fmla="*/ 3790497 w 7714416"/>
              <a:gd name="connsiteY27443" fmla="*/ 559920 h 5282095"/>
              <a:gd name="connsiteX27444" fmla="*/ 3794335 w 7714416"/>
              <a:gd name="connsiteY27444" fmla="*/ 558878 h 5282095"/>
              <a:gd name="connsiteX27445" fmla="*/ 3794899 w 7714416"/>
              <a:gd name="connsiteY27445" fmla="*/ 557880 h 5282095"/>
              <a:gd name="connsiteX27446" fmla="*/ 1624317 w 7714416"/>
              <a:gd name="connsiteY27446" fmla="*/ 557837 h 5282095"/>
              <a:gd name="connsiteX27447" fmla="*/ 1661345 w 7714416"/>
              <a:gd name="connsiteY27447" fmla="*/ 570173 h 5282095"/>
              <a:gd name="connsiteX27448" fmla="*/ 1660666 w 7714416"/>
              <a:gd name="connsiteY27448" fmla="*/ 571602 h 5282095"/>
              <a:gd name="connsiteX27449" fmla="*/ 1664231 w 7714416"/>
              <a:gd name="connsiteY27449" fmla="*/ 567152 h 5282095"/>
              <a:gd name="connsiteX27450" fmla="*/ 1672360 w 7714416"/>
              <a:gd name="connsiteY27450" fmla="*/ 570020 h 5282095"/>
              <a:gd name="connsiteX27451" fmla="*/ 1674419 w 7714416"/>
              <a:gd name="connsiteY27451" fmla="*/ 572297 h 5282095"/>
              <a:gd name="connsiteX27452" fmla="*/ 1675776 w 7714416"/>
              <a:gd name="connsiteY27452" fmla="*/ 569441 h 5282095"/>
              <a:gd name="connsiteX27453" fmla="*/ 1686835 w 7714416"/>
              <a:gd name="connsiteY27453" fmla="*/ 573554 h 5282095"/>
              <a:gd name="connsiteX27454" fmla="*/ 1683899 w 7714416"/>
              <a:gd name="connsiteY27454" fmla="*/ 578977 h 5282095"/>
              <a:gd name="connsiteX27455" fmla="*/ 1677782 w 7714416"/>
              <a:gd name="connsiteY27455" fmla="*/ 577453 h 5282095"/>
              <a:gd name="connsiteX27456" fmla="*/ 1679036 w 7714416"/>
              <a:gd name="connsiteY27456" fmla="*/ 582734 h 5282095"/>
              <a:gd name="connsiteX27457" fmla="*/ 1676464 w 7714416"/>
              <a:gd name="connsiteY27457" fmla="*/ 587910 h 5282095"/>
              <a:gd name="connsiteX27458" fmla="*/ 1664672 w 7714416"/>
              <a:gd name="connsiteY27458" fmla="*/ 582105 h 5282095"/>
              <a:gd name="connsiteX27459" fmla="*/ 1660551 w 7714416"/>
              <a:gd name="connsiteY27459" fmla="*/ 572031 h 5282095"/>
              <a:gd name="connsiteX27460" fmla="*/ 1656333 w 7714416"/>
              <a:gd name="connsiteY27460" fmla="*/ 581135 h 5282095"/>
              <a:gd name="connsiteX27461" fmla="*/ 1622020 w 7714416"/>
              <a:gd name="connsiteY27461" fmla="*/ 589652 h 5282095"/>
              <a:gd name="connsiteX27462" fmla="*/ 1611035 w 7714416"/>
              <a:gd name="connsiteY27462" fmla="*/ 580843 h 5282095"/>
              <a:gd name="connsiteX27463" fmla="*/ 1609649 w 7714416"/>
              <a:gd name="connsiteY27463" fmla="*/ 574952 h 5282095"/>
              <a:gd name="connsiteX27464" fmla="*/ 1607190 w 7714416"/>
              <a:gd name="connsiteY27464" fmla="*/ 570843 h 5282095"/>
              <a:gd name="connsiteX27465" fmla="*/ 1607456 w 7714416"/>
              <a:gd name="connsiteY27465" fmla="*/ 572064 h 5282095"/>
              <a:gd name="connsiteX27466" fmla="*/ 1602029 w 7714416"/>
              <a:gd name="connsiteY27466" fmla="*/ 576821 h 5282095"/>
              <a:gd name="connsiteX27467" fmla="*/ 1604013 w 7714416"/>
              <a:gd name="connsiteY27467" fmla="*/ 578272 h 5282095"/>
              <a:gd name="connsiteX27468" fmla="*/ 1600491 w 7714416"/>
              <a:gd name="connsiteY27468" fmla="*/ 578133 h 5282095"/>
              <a:gd name="connsiteX27469" fmla="*/ 1597663 w 7714416"/>
              <a:gd name="connsiteY27469" fmla="*/ 580941 h 5282095"/>
              <a:gd name="connsiteX27470" fmla="*/ 1587608 w 7714416"/>
              <a:gd name="connsiteY27470" fmla="*/ 585262 h 5282095"/>
              <a:gd name="connsiteX27471" fmla="*/ 1588280 w 7714416"/>
              <a:gd name="connsiteY27471" fmla="*/ 581647 h 5282095"/>
              <a:gd name="connsiteX27472" fmla="*/ 1589513 w 7714416"/>
              <a:gd name="connsiteY27472" fmla="*/ 580367 h 5282095"/>
              <a:gd name="connsiteX27473" fmla="*/ 1589247 w 7714416"/>
              <a:gd name="connsiteY27473" fmla="*/ 579146 h 5282095"/>
              <a:gd name="connsiteX27474" fmla="*/ 1591051 w 7714416"/>
              <a:gd name="connsiteY27474" fmla="*/ 579054 h 5282095"/>
              <a:gd name="connsiteX27475" fmla="*/ 1591442 w 7714416"/>
              <a:gd name="connsiteY27475" fmla="*/ 578699 h 5282095"/>
              <a:gd name="connsiteX27476" fmla="*/ 1592313 w 7714416"/>
              <a:gd name="connsiteY27476" fmla="*/ 577667 h 5282095"/>
              <a:gd name="connsiteX27477" fmla="*/ 1584773 w 7714416"/>
              <a:gd name="connsiteY27477" fmla="*/ 577026 h 5282095"/>
              <a:gd name="connsiteX27478" fmla="*/ 1566582 w 7714416"/>
              <a:gd name="connsiteY27478" fmla="*/ 567438 h 5282095"/>
              <a:gd name="connsiteX27479" fmla="*/ 1587397 w 7714416"/>
              <a:gd name="connsiteY27479" fmla="*/ 569450 h 5282095"/>
              <a:gd name="connsiteX27480" fmla="*/ 1595410 w 7714416"/>
              <a:gd name="connsiteY27480" fmla="*/ 572747 h 5282095"/>
              <a:gd name="connsiteX27481" fmla="*/ 1595525 w 7714416"/>
              <a:gd name="connsiteY27481" fmla="*/ 572318 h 5282095"/>
              <a:gd name="connsiteX27482" fmla="*/ 1596693 w 7714416"/>
              <a:gd name="connsiteY27482" fmla="*/ 569065 h 5282095"/>
              <a:gd name="connsiteX27483" fmla="*/ 1605262 w 7714416"/>
              <a:gd name="connsiteY27483" fmla="*/ 563656 h 5282095"/>
              <a:gd name="connsiteX27484" fmla="*/ 1609123 w 7714416"/>
              <a:gd name="connsiteY27484" fmla="*/ 565841 h 5282095"/>
              <a:gd name="connsiteX27485" fmla="*/ 1611865 w 7714416"/>
              <a:gd name="connsiteY27485" fmla="*/ 563356 h 5282095"/>
              <a:gd name="connsiteX27486" fmla="*/ 1620365 w 7714416"/>
              <a:gd name="connsiteY27486" fmla="*/ 559309 h 5282095"/>
              <a:gd name="connsiteX27487" fmla="*/ 1620641 w 7714416"/>
              <a:gd name="connsiteY27487" fmla="*/ 559382 h 5282095"/>
              <a:gd name="connsiteX27488" fmla="*/ 3934132 w 7714416"/>
              <a:gd name="connsiteY27488" fmla="*/ 557352 h 5282095"/>
              <a:gd name="connsiteX27489" fmla="*/ 3939217 w 7714416"/>
              <a:gd name="connsiteY27489" fmla="*/ 559404 h 5282095"/>
              <a:gd name="connsiteX27490" fmla="*/ 3941462 w 7714416"/>
              <a:gd name="connsiteY27490" fmla="*/ 565411 h 5282095"/>
              <a:gd name="connsiteX27491" fmla="*/ 3926431 w 7714416"/>
              <a:gd name="connsiteY27491" fmla="*/ 565063 h 5282095"/>
              <a:gd name="connsiteX27492" fmla="*/ 3924440 w 7714416"/>
              <a:gd name="connsiteY27492" fmla="*/ 561424 h 5282095"/>
              <a:gd name="connsiteX27493" fmla="*/ 3934132 w 7714416"/>
              <a:gd name="connsiteY27493" fmla="*/ 557352 h 5282095"/>
              <a:gd name="connsiteX27494" fmla="*/ 3228940 w 7714416"/>
              <a:gd name="connsiteY27494" fmla="*/ 557300 h 5282095"/>
              <a:gd name="connsiteX27495" fmla="*/ 3253888 w 7714416"/>
              <a:gd name="connsiteY27495" fmla="*/ 569203 h 5282095"/>
              <a:gd name="connsiteX27496" fmla="*/ 3257463 w 7714416"/>
              <a:gd name="connsiteY27496" fmla="*/ 572461 h 5282095"/>
              <a:gd name="connsiteX27497" fmla="*/ 3258897 w 7714416"/>
              <a:gd name="connsiteY27497" fmla="*/ 570431 h 5282095"/>
              <a:gd name="connsiteX27498" fmla="*/ 3264464 w 7714416"/>
              <a:gd name="connsiteY27498" fmla="*/ 568472 h 5282095"/>
              <a:gd name="connsiteX27499" fmla="*/ 3274149 w 7714416"/>
              <a:gd name="connsiteY27499" fmla="*/ 571067 h 5282095"/>
              <a:gd name="connsiteX27500" fmla="*/ 3270658 w 7714416"/>
              <a:gd name="connsiteY27500" fmla="*/ 585197 h 5282095"/>
              <a:gd name="connsiteX27501" fmla="*/ 3268521 w 7714416"/>
              <a:gd name="connsiteY27501" fmla="*/ 585429 h 5282095"/>
              <a:gd name="connsiteX27502" fmla="*/ 3269340 w 7714416"/>
              <a:gd name="connsiteY27502" fmla="*/ 586798 h 5282095"/>
              <a:gd name="connsiteX27503" fmla="*/ 3268797 w 7714416"/>
              <a:gd name="connsiteY27503" fmla="*/ 594358 h 5282095"/>
              <a:gd name="connsiteX27504" fmla="*/ 3264222 w 7714416"/>
              <a:gd name="connsiteY27504" fmla="*/ 597043 h 5282095"/>
              <a:gd name="connsiteX27505" fmla="*/ 3268240 w 7714416"/>
              <a:gd name="connsiteY27505" fmla="*/ 597544 h 5282095"/>
              <a:gd name="connsiteX27506" fmla="*/ 3269678 w 7714416"/>
              <a:gd name="connsiteY27506" fmla="*/ 601034 h 5282095"/>
              <a:gd name="connsiteX27507" fmla="*/ 3259130 w 7714416"/>
              <a:gd name="connsiteY27507" fmla="*/ 601658 h 5282095"/>
              <a:gd name="connsiteX27508" fmla="*/ 3260345 w 7714416"/>
              <a:gd name="connsiteY27508" fmla="*/ 599339 h 5282095"/>
              <a:gd name="connsiteX27509" fmla="*/ 3243632 w 7714416"/>
              <a:gd name="connsiteY27509" fmla="*/ 591985 h 5282095"/>
              <a:gd name="connsiteX27510" fmla="*/ 3209515 w 7714416"/>
              <a:gd name="connsiteY27510" fmla="*/ 562143 h 5282095"/>
              <a:gd name="connsiteX27511" fmla="*/ 3228940 w 7714416"/>
              <a:gd name="connsiteY27511" fmla="*/ 557300 h 5282095"/>
              <a:gd name="connsiteX27512" fmla="*/ 2909574 w 7714416"/>
              <a:gd name="connsiteY27512" fmla="*/ 554801 h 5282095"/>
              <a:gd name="connsiteX27513" fmla="*/ 2920452 w 7714416"/>
              <a:gd name="connsiteY27513" fmla="*/ 557370 h 5282095"/>
              <a:gd name="connsiteX27514" fmla="*/ 2917803 w 7714416"/>
              <a:gd name="connsiteY27514" fmla="*/ 570576 h 5282095"/>
              <a:gd name="connsiteX27515" fmla="*/ 2909574 w 7714416"/>
              <a:gd name="connsiteY27515" fmla="*/ 554801 h 5282095"/>
              <a:gd name="connsiteX27516" fmla="*/ 1863732 w 7714416"/>
              <a:gd name="connsiteY27516" fmla="*/ 553102 h 5282095"/>
              <a:gd name="connsiteX27517" fmla="*/ 1873718 w 7714416"/>
              <a:gd name="connsiteY27517" fmla="*/ 558999 h 5282095"/>
              <a:gd name="connsiteX27518" fmla="*/ 1855129 w 7714416"/>
              <a:gd name="connsiteY27518" fmla="*/ 565287 h 5282095"/>
              <a:gd name="connsiteX27519" fmla="*/ 1852509 w 7714416"/>
              <a:gd name="connsiteY27519" fmla="*/ 560675 h 5282095"/>
              <a:gd name="connsiteX27520" fmla="*/ 1863732 w 7714416"/>
              <a:gd name="connsiteY27520" fmla="*/ 553102 h 5282095"/>
              <a:gd name="connsiteX27521" fmla="*/ 1467549 w 7714416"/>
              <a:gd name="connsiteY27521" fmla="*/ 552977 h 5282095"/>
              <a:gd name="connsiteX27522" fmla="*/ 1474590 w 7714416"/>
              <a:gd name="connsiteY27522" fmla="*/ 553254 h 5282095"/>
              <a:gd name="connsiteX27523" fmla="*/ 1475184 w 7714416"/>
              <a:gd name="connsiteY27523" fmla="*/ 561003 h 5282095"/>
              <a:gd name="connsiteX27524" fmla="*/ 1468141 w 7714416"/>
              <a:gd name="connsiteY27524" fmla="*/ 560725 h 5282095"/>
              <a:gd name="connsiteX27525" fmla="*/ 1467549 w 7714416"/>
              <a:gd name="connsiteY27525" fmla="*/ 552977 h 5282095"/>
              <a:gd name="connsiteX27526" fmla="*/ 3272384 w 7714416"/>
              <a:gd name="connsiteY27526" fmla="*/ 552194 h 5282095"/>
              <a:gd name="connsiteX27527" fmla="*/ 3271446 w 7714416"/>
              <a:gd name="connsiteY27527" fmla="*/ 554588 h 5282095"/>
              <a:gd name="connsiteX27528" fmla="*/ 3270519 w 7714416"/>
              <a:gd name="connsiteY27528" fmla="*/ 555835 h 5282095"/>
              <a:gd name="connsiteX27529" fmla="*/ 3269387 w 7714416"/>
              <a:gd name="connsiteY27529" fmla="*/ 552310 h 5282095"/>
              <a:gd name="connsiteX27530" fmla="*/ 3272384 w 7714416"/>
              <a:gd name="connsiteY27530" fmla="*/ 552194 h 5282095"/>
              <a:gd name="connsiteX27531" fmla="*/ 2114347 w 7714416"/>
              <a:gd name="connsiteY27531" fmla="*/ 551944 h 5282095"/>
              <a:gd name="connsiteX27532" fmla="*/ 2115977 w 7714416"/>
              <a:gd name="connsiteY27532" fmla="*/ 552495 h 5282095"/>
              <a:gd name="connsiteX27533" fmla="*/ 2116589 w 7714416"/>
              <a:gd name="connsiteY27533" fmla="*/ 552430 h 5282095"/>
              <a:gd name="connsiteX27534" fmla="*/ 2118953 w 7714416"/>
              <a:gd name="connsiteY27534" fmla="*/ 554673 h 5282095"/>
              <a:gd name="connsiteX27535" fmla="*/ 2119733 w 7714416"/>
              <a:gd name="connsiteY27535" fmla="*/ 557296 h 5282095"/>
              <a:gd name="connsiteX27536" fmla="*/ 2117596 w 7714416"/>
              <a:gd name="connsiteY27536" fmla="*/ 557529 h 5282095"/>
              <a:gd name="connsiteX27537" fmla="*/ 2113197 w 7714416"/>
              <a:gd name="connsiteY27537" fmla="*/ 556235 h 5282095"/>
              <a:gd name="connsiteX27538" fmla="*/ 2113772 w 7714416"/>
              <a:gd name="connsiteY27538" fmla="*/ 554089 h 5282095"/>
              <a:gd name="connsiteX27539" fmla="*/ 2112141 w 7714416"/>
              <a:gd name="connsiteY27539" fmla="*/ 553537 h 5282095"/>
              <a:gd name="connsiteX27540" fmla="*/ 2114347 w 7714416"/>
              <a:gd name="connsiteY27540" fmla="*/ 551944 h 5282095"/>
              <a:gd name="connsiteX27541" fmla="*/ 1039029 w 7714416"/>
              <a:gd name="connsiteY27541" fmla="*/ 551776 h 5282095"/>
              <a:gd name="connsiteX27542" fmla="*/ 1043489 w 7714416"/>
              <a:gd name="connsiteY27542" fmla="*/ 558376 h 5282095"/>
              <a:gd name="connsiteX27543" fmla="*/ 1045792 w 7714416"/>
              <a:gd name="connsiteY27543" fmla="*/ 564169 h 5282095"/>
              <a:gd name="connsiteX27544" fmla="*/ 1047107 w 7714416"/>
              <a:gd name="connsiteY27544" fmla="*/ 583612 h 5282095"/>
              <a:gd name="connsiteX27545" fmla="*/ 1041799 w 7714416"/>
              <a:gd name="connsiteY27545" fmla="*/ 575749 h 5282095"/>
              <a:gd name="connsiteX27546" fmla="*/ 1034318 w 7714416"/>
              <a:gd name="connsiteY27546" fmla="*/ 557185 h 5282095"/>
              <a:gd name="connsiteX27547" fmla="*/ 1036812 w 7714416"/>
              <a:gd name="connsiteY27547" fmla="*/ 554518 h 5282095"/>
              <a:gd name="connsiteX27548" fmla="*/ 1036240 w 7714416"/>
              <a:gd name="connsiteY27548" fmla="*/ 553329 h 5282095"/>
              <a:gd name="connsiteX27549" fmla="*/ 1039029 w 7714416"/>
              <a:gd name="connsiteY27549" fmla="*/ 551776 h 5282095"/>
              <a:gd name="connsiteX27550" fmla="*/ 4621002 w 7714416"/>
              <a:gd name="connsiteY27550" fmla="*/ 551761 h 5282095"/>
              <a:gd name="connsiteX27551" fmla="*/ 4623005 w 7714416"/>
              <a:gd name="connsiteY27551" fmla="*/ 554252 h 5282095"/>
              <a:gd name="connsiteX27552" fmla="*/ 4616482 w 7714416"/>
              <a:gd name="connsiteY27552" fmla="*/ 557563 h 5282095"/>
              <a:gd name="connsiteX27553" fmla="*/ 4616471 w 7714416"/>
              <a:gd name="connsiteY27553" fmla="*/ 558711 h 5282095"/>
              <a:gd name="connsiteX27554" fmla="*/ 4620248 w 7714416"/>
              <a:gd name="connsiteY27554" fmla="*/ 561218 h 5282095"/>
              <a:gd name="connsiteX27555" fmla="*/ 4621581 w 7714416"/>
              <a:gd name="connsiteY27555" fmla="*/ 572845 h 5282095"/>
              <a:gd name="connsiteX27556" fmla="*/ 4603243 w 7714416"/>
              <a:gd name="connsiteY27556" fmla="*/ 575981 h 5282095"/>
              <a:gd name="connsiteX27557" fmla="*/ 4594428 w 7714416"/>
              <a:gd name="connsiteY27557" fmla="*/ 572354 h 5282095"/>
              <a:gd name="connsiteX27558" fmla="*/ 4592124 w 7714416"/>
              <a:gd name="connsiteY27558" fmla="*/ 566562 h 5282095"/>
              <a:gd name="connsiteX27559" fmla="*/ 4594367 w 7714416"/>
              <a:gd name="connsiteY27559" fmla="*/ 558193 h 5282095"/>
              <a:gd name="connsiteX27560" fmla="*/ 4612971 w 7714416"/>
              <a:gd name="connsiteY27560" fmla="*/ 556278 h 5282095"/>
              <a:gd name="connsiteX27561" fmla="*/ 4614462 w 7714416"/>
              <a:gd name="connsiteY27561" fmla="*/ 554032 h 5282095"/>
              <a:gd name="connsiteX27562" fmla="*/ 4621002 w 7714416"/>
              <a:gd name="connsiteY27562" fmla="*/ 551761 h 5282095"/>
              <a:gd name="connsiteX27563" fmla="*/ 3253641 w 7714416"/>
              <a:gd name="connsiteY27563" fmla="*/ 551312 h 5282095"/>
              <a:gd name="connsiteX27564" fmla="*/ 3254050 w 7714416"/>
              <a:gd name="connsiteY27564" fmla="*/ 551996 h 5282095"/>
              <a:gd name="connsiteX27565" fmla="*/ 3252856 w 7714416"/>
              <a:gd name="connsiteY27565" fmla="*/ 552021 h 5282095"/>
              <a:gd name="connsiteX27566" fmla="*/ 3376152 w 7714416"/>
              <a:gd name="connsiteY27566" fmla="*/ 550098 h 5282095"/>
              <a:gd name="connsiteX27567" fmla="*/ 3394171 w 7714416"/>
              <a:gd name="connsiteY27567" fmla="*/ 551476 h 5282095"/>
              <a:gd name="connsiteX27568" fmla="*/ 3382700 w 7714416"/>
              <a:gd name="connsiteY27568" fmla="*/ 558867 h 5282095"/>
              <a:gd name="connsiteX27569" fmla="*/ 3377281 w 7714416"/>
              <a:gd name="connsiteY27569" fmla="*/ 556956 h 5282095"/>
              <a:gd name="connsiteX27570" fmla="*/ 3376339 w 7714416"/>
              <a:gd name="connsiteY27570" fmla="*/ 553828 h 5282095"/>
              <a:gd name="connsiteX27571" fmla="*/ 3376152 w 7714416"/>
              <a:gd name="connsiteY27571" fmla="*/ 550098 h 5282095"/>
              <a:gd name="connsiteX27572" fmla="*/ 3010370 w 7714416"/>
              <a:gd name="connsiteY27572" fmla="*/ 547194 h 5282095"/>
              <a:gd name="connsiteX27573" fmla="*/ 3025780 w 7714416"/>
              <a:gd name="connsiteY27573" fmla="*/ 551667 h 5282095"/>
              <a:gd name="connsiteX27574" fmla="*/ 3031816 w 7714416"/>
              <a:gd name="connsiteY27574" fmla="*/ 555700 h 5282095"/>
              <a:gd name="connsiteX27575" fmla="*/ 3031960 w 7714416"/>
              <a:gd name="connsiteY27575" fmla="*/ 555164 h 5282095"/>
              <a:gd name="connsiteX27576" fmla="*/ 3037954 w 7714416"/>
              <a:gd name="connsiteY27576" fmla="*/ 554929 h 5282095"/>
              <a:gd name="connsiteX27577" fmla="*/ 3043600 w 7714416"/>
              <a:gd name="connsiteY27577" fmla="*/ 559317 h 5282095"/>
              <a:gd name="connsiteX27578" fmla="*/ 3046018 w 7714416"/>
              <a:gd name="connsiteY27578" fmla="*/ 564681 h 5282095"/>
              <a:gd name="connsiteX27579" fmla="*/ 3047178 w 7714416"/>
              <a:gd name="connsiteY27579" fmla="*/ 568097 h 5282095"/>
              <a:gd name="connsiteX27580" fmla="*/ 3054862 w 7714416"/>
              <a:gd name="connsiteY27580" fmla="*/ 577055 h 5282095"/>
              <a:gd name="connsiteX27581" fmla="*/ 3054391 w 7714416"/>
              <a:gd name="connsiteY27581" fmla="*/ 588774 h 5282095"/>
              <a:gd name="connsiteX27582" fmla="*/ 3010370 w 7714416"/>
              <a:gd name="connsiteY27582" fmla="*/ 547194 h 5282095"/>
              <a:gd name="connsiteX27583" fmla="*/ 3711198 w 7714416"/>
              <a:gd name="connsiteY27583" fmla="*/ 547067 h 5282095"/>
              <a:gd name="connsiteX27584" fmla="*/ 3686600 w 7714416"/>
              <a:gd name="connsiteY27584" fmla="*/ 575782 h 5282095"/>
              <a:gd name="connsiteX27585" fmla="*/ 3711198 w 7714416"/>
              <a:gd name="connsiteY27585" fmla="*/ 547067 h 5282095"/>
              <a:gd name="connsiteX27586" fmla="*/ 3072981 w 7714416"/>
              <a:gd name="connsiteY27586" fmla="*/ 547065 h 5282095"/>
              <a:gd name="connsiteX27587" fmla="*/ 3088591 w 7714416"/>
              <a:gd name="connsiteY27587" fmla="*/ 559643 h 5282095"/>
              <a:gd name="connsiteX27588" fmla="*/ 3072981 w 7714416"/>
              <a:gd name="connsiteY27588" fmla="*/ 547065 h 5282095"/>
              <a:gd name="connsiteX27589" fmla="*/ 3405455 w 7714416"/>
              <a:gd name="connsiteY27589" fmla="*/ 546995 h 5282095"/>
              <a:gd name="connsiteX27590" fmla="*/ 3414542 w 7714416"/>
              <a:gd name="connsiteY27590" fmla="*/ 547390 h 5282095"/>
              <a:gd name="connsiteX27591" fmla="*/ 3404419 w 7714416"/>
              <a:gd name="connsiteY27591" fmla="*/ 553072 h 5282095"/>
              <a:gd name="connsiteX27592" fmla="*/ 3405455 w 7714416"/>
              <a:gd name="connsiteY27592" fmla="*/ 546995 h 5282095"/>
              <a:gd name="connsiteX27593" fmla="*/ 2379849 w 7714416"/>
              <a:gd name="connsiteY27593" fmla="*/ 546968 h 5282095"/>
              <a:gd name="connsiteX27594" fmla="*/ 2387347 w 7714416"/>
              <a:gd name="connsiteY27594" fmla="*/ 548042 h 5282095"/>
              <a:gd name="connsiteX27595" fmla="*/ 2389711 w 7714416"/>
              <a:gd name="connsiteY27595" fmla="*/ 550285 h 5282095"/>
              <a:gd name="connsiteX27596" fmla="*/ 2386969 w 7714416"/>
              <a:gd name="connsiteY27596" fmla="*/ 552772 h 5282095"/>
              <a:gd name="connsiteX27597" fmla="*/ 2377281 w 7714416"/>
              <a:gd name="connsiteY27597" fmla="*/ 553510 h 5282095"/>
              <a:gd name="connsiteX27598" fmla="*/ 2374945 w 7714416"/>
              <a:gd name="connsiteY27598" fmla="*/ 551160 h 5282095"/>
              <a:gd name="connsiteX27599" fmla="*/ 2379849 w 7714416"/>
              <a:gd name="connsiteY27599" fmla="*/ 546968 h 5282095"/>
              <a:gd name="connsiteX27600" fmla="*/ 1582258 w 7714416"/>
              <a:gd name="connsiteY27600" fmla="*/ 546568 h 5282095"/>
              <a:gd name="connsiteX27601" fmla="*/ 1597546 w 7714416"/>
              <a:gd name="connsiteY27601" fmla="*/ 549284 h 5282095"/>
              <a:gd name="connsiteX27602" fmla="*/ 1593786 w 7714416"/>
              <a:gd name="connsiteY27602" fmla="*/ 565526 h 5282095"/>
              <a:gd name="connsiteX27603" fmla="*/ 1582258 w 7714416"/>
              <a:gd name="connsiteY27603" fmla="*/ 546568 h 5282095"/>
              <a:gd name="connsiteX27604" fmla="*/ 3252149 w 7714416"/>
              <a:gd name="connsiteY27604" fmla="*/ 544702 h 5282095"/>
              <a:gd name="connsiteX27605" fmla="*/ 3255717 w 7714416"/>
              <a:gd name="connsiteY27605" fmla="*/ 545773 h 5282095"/>
              <a:gd name="connsiteX27606" fmla="*/ 3255577 w 7714416"/>
              <a:gd name="connsiteY27606" fmla="*/ 551831 h 5282095"/>
              <a:gd name="connsiteX27607" fmla="*/ 3253785 w 7714416"/>
              <a:gd name="connsiteY27607" fmla="*/ 550775 h 5282095"/>
              <a:gd name="connsiteX27608" fmla="*/ 3253641 w 7714416"/>
              <a:gd name="connsiteY27608" fmla="*/ 551312 h 5282095"/>
              <a:gd name="connsiteX27609" fmla="*/ 3251420 w 7714416"/>
              <a:gd name="connsiteY27609" fmla="*/ 548531 h 5282095"/>
              <a:gd name="connsiteX27610" fmla="*/ 3252149 w 7714416"/>
              <a:gd name="connsiteY27610" fmla="*/ 544702 h 5282095"/>
              <a:gd name="connsiteX27611" fmla="*/ 2009254 w 7714416"/>
              <a:gd name="connsiteY27611" fmla="*/ 544599 h 5282095"/>
              <a:gd name="connsiteX27612" fmla="*/ 2047804 w 7714416"/>
              <a:gd name="connsiteY27612" fmla="*/ 568959 h 5282095"/>
              <a:gd name="connsiteX27613" fmla="*/ 2011287 w 7714416"/>
              <a:gd name="connsiteY27613" fmla="*/ 552504 h 5282095"/>
              <a:gd name="connsiteX27614" fmla="*/ 2009254 w 7714416"/>
              <a:gd name="connsiteY27614" fmla="*/ 544599 h 5282095"/>
              <a:gd name="connsiteX27615" fmla="*/ 2665367 w 7714416"/>
              <a:gd name="connsiteY27615" fmla="*/ 544222 h 5282095"/>
              <a:gd name="connsiteX27616" fmla="*/ 2676399 w 7714416"/>
              <a:gd name="connsiteY27616" fmla="*/ 545107 h 5282095"/>
              <a:gd name="connsiteX27617" fmla="*/ 2671925 w 7714416"/>
              <a:gd name="connsiteY27617" fmla="*/ 551844 h 5282095"/>
              <a:gd name="connsiteX27618" fmla="*/ 2656882 w 7714416"/>
              <a:gd name="connsiteY27618" fmla="*/ 552643 h 5282095"/>
              <a:gd name="connsiteX27619" fmla="*/ 2653993 w 7714416"/>
              <a:gd name="connsiteY27619" fmla="*/ 550144 h 5282095"/>
              <a:gd name="connsiteX27620" fmla="*/ 2656048 w 7714416"/>
              <a:gd name="connsiteY27620" fmla="*/ 546899 h 5282095"/>
              <a:gd name="connsiteX27621" fmla="*/ 2665367 w 7714416"/>
              <a:gd name="connsiteY27621" fmla="*/ 544222 h 5282095"/>
              <a:gd name="connsiteX27622" fmla="*/ 840097 w 7714416"/>
              <a:gd name="connsiteY27622" fmla="*/ 543785 h 5282095"/>
              <a:gd name="connsiteX27623" fmla="*/ 859214 w 7714416"/>
              <a:gd name="connsiteY27623" fmla="*/ 552126 h 5282095"/>
              <a:gd name="connsiteX27624" fmla="*/ 846821 w 7714416"/>
              <a:gd name="connsiteY27624" fmla="*/ 548575 h 5282095"/>
              <a:gd name="connsiteX27625" fmla="*/ 840097 w 7714416"/>
              <a:gd name="connsiteY27625" fmla="*/ 543785 h 5282095"/>
              <a:gd name="connsiteX27626" fmla="*/ 2983498 w 7714416"/>
              <a:gd name="connsiteY27626" fmla="*/ 543443 h 5282095"/>
              <a:gd name="connsiteX27627" fmla="*/ 2984432 w 7714416"/>
              <a:gd name="connsiteY27627" fmla="*/ 544384 h 5282095"/>
              <a:gd name="connsiteX27628" fmla="*/ 2983267 w 7714416"/>
              <a:gd name="connsiteY27628" fmla="*/ 544301 h 5282095"/>
              <a:gd name="connsiteX27629" fmla="*/ 2945550 w 7714416"/>
              <a:gd name="connsiteY27629" fmla="*/ 543394 h 5282095"/>
              <a:gd name="connsiteX27630" fmla="*/ 2948701 w 7714416"/>
              <a:gd name="connsiteY27630" fmla="*/ 550450 h 5282095"/>
              <a:gd name="connsiteX27631" fmla="*/ 2942078 w 7714416"/>
              <a:gd name="connsiteY27631" fmla="*/ 549710 h 5282095"/>
              <a:gd name="connsiteX27632" fmla="*/ 2945550 w 7714416"/>
              <a:gd name="connsiteY27632" fmla="*/ 543394 h 5282095"/>
              <a:gd name="connsiteX27633" fmla="*/ 3002281 w 7714416"/>
              <a:gd name="connsiteY27633" fmla="*/ 543070 h 5282095"/>
              <a:gd name="connsiteX27634" fmla="*/ 3001868 w 7714416"/>
              <a:gd name="connsiteY27634" fmla="*/ 545720 h 5282095"/>
              <a:gd name="connsiteX27635" fmla="*/ 3000912 w 7714416"/>
              <a:gd name="connsiteY27635" fmla="*/ 547074 h 5282095"/>
              <a:gd name="connsiteX27636" fmla="*/ 2999503 w 7714416"/>
              <a:gd name="connsiteY27636" fmla="*/ 543476 h 5282095"/>
              <a:gd name="connsiteX27637" fmla="*/ 3002281 w 7714416"/>
              <a:gd name="connsiteY27637" fmla="*/ 543070 h 5282095"/>
              <a:gd name="connsiteX27638" fmla="*/ 2044664 w 7714416"/>
              <a:gd name="connsiteY27638" fmla="*/ 543046 h 5282095"/>
              <a:gd name="connsiteX27639" fmla="*/ 2053967 w 7714416"/>
              <a:gd name="connsiteY27639" fmla="*/ 544850 h 5282095"/>
              <a:gd name="connsiteX27640" fmla="*/ 2052179 w 7714416"/>
              <a:gd name="connsiteY27640" fmla="*/ 549316 h 5282095"/>
              <a:gd name="connsiteX27641" fmla="*/ 2044664 w 7714416"/>
              <a:gd name="connsiteY27641" fmla="*/ 543046 h 5282095"/>
              <a:gd name="connsiteX27642" fmla="*/ 3970083 w 7714416"/>
              <a:gd name="connsiteY27642" fmla="*/ 542719 h 5282095"/>
              <a:gd name="connsiteX27643" fmla="*/ 3973604 w 7714416"/>
              <a:gd name="connsiteY27643" fmla="*/ 542857 h 5282095"/>
              <a:gd name="connsiteX27644" fmla="*/ 3980043 w 7714416"/>
              <a:gd name="connsiteY27644" fmla="*/ 545388 h 5282095"/>
              <a:gd name="connsiteX27645" fmla="*/ 3982398 w 7714416"/>
              <a:gd name="connsiteY27645" fmla="*/ 548779 h 5282095"/>
              <a:gd name="connsiteX27646" fmla="*/ 3980191 w 7714416"/>
              <a:gd name="connsiteY27646" fmla="*/ 550372 h 5282095"/>
              <a:gd name="connsiteX27647" fmla="*/ 3979310 w 7714416"/>
              <a:gd name="connsiteY27647" fmla="*/ 552551 h 5282095"/>
              <a:gd name="connsiteX27648" fmla="*/ 3977680 w 7714416"/>
              <a:gd name="connsiteY27648" fmla="*/ 552000 h 5282095"/>
              <a:gd name="connsiteX27649" fmla="*/ 3975512 w 7714416"/>
              <a:gd name="connsiteY27649" fmla="*/ 552338 h 5282095"/>
              <a:gd name="connsiteX27650" fmla="*/ 3970201 w 7714416"/>
              <a:gd name="connsiteY27650" fmla="*/ 547810 h 5282095"/>
              <a:gd name="connsiteX27651" fmla="*/ 3968954 w 7714416"/>
              <a:gd name="connsiteY27651" fmla="*/ 544716 h 5282095"/>
              <a:gd name="connsiteX27652" fmla="*/ 3970083 w 7714416"/>
              <a:gd name="connsiteY27652" fmla="*/ 542719 h 5282095"/>
              <a:gd name="connsiteX27653" fmla="*/ 3598809 w 7714416"/>
              <a:gd name="connsiteY27653" fmla="*/ 542598 h 5282095"/>
              <a:gd name="connsiteX27654" fmla="*/ 3603036 w 7714416"/>
              <a:gd name="connsiteY27654" fmla="*/ 544535 h 5282095"/>
              <a:gd name="connsiteX27655" fmla="*/ 3602375 w 7714416"/>
              <a:gd name="connsiteY27655" fmla="*/ 547003 h 5282095"/>
              <a:gd name="connsiteX27656" fmla="*/ 3603517 w 7714416"/>
              <a:gd name="connsiteY27656" fmla="*/ 549380 h 5282095"/>
              <a:gd name="connsiteX27657" fmla="*/ 3601685 w 7714416"/>
              <a:gd name="connsiteY27657" fmla="*/ 549578 h 5282095"/>
              <a:gd name="connsiteX27658" fmla="*/ 3600452 w 7714416"/>
              <a:gd name="connsiteY27658" fmla="*/ 550858 h 5282095"/>
              <a:gd name="connsiteX27659" fmla="*/ 3593114 w 7714416"/>
              <a:gd name="connsiteY27659" fmla="*/ 549466 h 5282095"/>
              <a:gd name="connsiteX27660" fmla="*/ 3590110 w 7714416"/>
              <a:gd name="connsiteY27660" fmla="*/ 547397 h 5282095"/>
              <a:gd name="connsiteX27661" fmla="*/ 3589549 w 7714416"/>
              <a:gd name="connsiteY27661" fmla="*/ 545062 h 5282095"/>
              <a:gd name="connsiteX27662" fmla="*/ 3592366 w 7714416"/>
              <a:gd name="connsiteY27662" fmla="*/ 543401 h 5282095"/>
              <a:gd name="connsiteX27663" fmla="*/ 3598809 w 7714416"/>
              <a:gd name="connsiteY27663" fmla="*/ 542598 h 5282095"/>
              <a:gd name="connsiteX27664" fmla="*/ 4752506 w 7714416"/>
              <a:gd name="connsiteY27664" fmla="*/ 541341 h 5282095"/>
              <a:gd name="connsiteX27665" fmla="*/ 4744938 w 7714416"/>
              <a:gd name="connsiteY27665" fmla="*/ 549663 h 5282095"/>
              <a:gd name="connsiteX27666" fmla="*/ 4752506 w 7714416"/>
              <a:gd name="connsiteY27666" fmla="*/ 541341 h 5282095"/>
              <a:gd name="connsiteX27667" fmla="*/ 1479626 w 7714416"/>
              <a:gd name="connsiteY27667" fmla="*/ 539998 h 5282095"/>
              <a:gd name="connsiteX27668" fmla="*/ 1484639 w 7714416"/>
              <a:gd name="connsiteY27668" fmla="*/ 546746 h 5282095"/>
              <a:gd name="connsiteX27669" fmla="*/ 1478843 w 7714416"/>
              <a:gd name="connsiteY27669" fmla="*/ 549563 h 5282095"/>
              <a:gd name="connsiteX27670" fmla="*/ 1473581 w 7714416"/>
              <a:gd name="connsiteY27670" fmla="*/ 542633 h 5282095"/>
              <a:gd name="connsiteX27671" fmla="*/ 1479626 w 7714416"/>
              <a:gd name="connsiteY27671" fmla="*/ 539998 h 5282095"/>
              <a:gd name="connsiteX27672" fmla="*/ 2861098 w 7714416"/>
              <a:gd name="connsiteY27672" fmla="*/ 538706 h 5282095"/>
              <a:gd name="connsiteX27673" fmla="*/ 2858129 w 7714416"/>
              <a:gd name="connsiteY27673" fmla="*/ 538716 h 5282095"/>
              <a:gd name="connsiteX27674" fmla="*/ 2860256 w 7714416"/>
              <a:gd name="connsiteY27674" fmla="*/ 539630 h 5282095"/>
              <a:gd name="connsiteX27675" fmla="*/ 3491863 w 7714416"/>
              <a:gd name="connsiteY27675" fmla="*/ 538294 h 5282095"/>
              <a:gd name="connsiteX27676" fmla="*/ 3507904 w 7714416"/>
              <a:gd name="connsiteY27676" fmla="*/ 539860 h 5282095"/>
              <a:gd name="connsiteX27677" fmla="*/ 3510454 w 7714416"/>
              <a:gd name="connsiteY27677" fmla="*/ 545834 h 5282095"/>
              <a:gd name="connsiteX27678" fmla="*/ 3510368 w 7714416"/>
              <a:gd name="connsiteY27678" fmla="*/ 546155 h 5282095"/>
              <a:gd name="connsiteX27679" fmla="*/ 3511141 w 7714416"/>
              <a:gd name="connsiteY27679" fmla="*/ 546592 h 5282095"/>
              <a:gd name="connsiteX27680" fmla="*/ 3512859 w 7714416"/>
              <a:gd name="connsiteY27680" fmla="*/ 546823 h 5282095"/>
              <a:gd name="connsiteX27681" fmla="*/ 3510145 w 7714416"/>
              <a:gd name="connsiteY27681" fmla="*/ 549201 h 5282095"/>
              <a:gd name="connsiteX27682" fmla="*/ 3509639 w 7714416"/>
              <a:gd name="connsiteY27682" fmla="*/ 549985 h 5282095"/>
              <a:gd name="connsiteX27683" fmla="*/ 3509513 w 7714416"/>
              <a:gd name="connsiteY27683" fmla="*/ 551561 h 5282095"/>
              <a:gd name="connsiteX27684" fmla="*/ 3508348 w 7714416"/>
              <a:gd name="connsiteY27684" fmla="*/ 551480 h 5282095"/>
              <a:gd name="connsiteX27685" fmla="*/ 3507480 w 7714416"/>
              <a:gd name="connsiteY27685" fmla="*/ 552511 h 5282095"/>
              <a:gd name="connsiteX27686" fmla="*/ 3502546 w 7714416"/>
              <a:gd name="connsiteY27686" fmla="*/ 552109 h 5282095"/>
              <a:gd name="connsiteX27687" fmla="*/ 3502383 w 7714416"/>
              <a:gd name="connsiteY27687" fmla="*/ 551606 h 5282095"/>
              <a:gd name="connsiteX27688" fmla="*/ 3494949 w 7714416"/>
              <a:gd name="connsiteY27688" fmla="*/ 551684 h 5282095"/>
              <a:gd name="connsiteX27689" fmla="*/ 3483603 w 7714416"/>
              <a:gd name="connsiteY27689" fmla="*/ 548644 h 5282095"/>
              <a:gd name="connsiteX27690" fmla="*/ 3480480 w 7714416"/>
              <a:gd name="connsiteY27690" fmla="*/ 550337 h 5282095"/>
              <a:gd name="connsiteX27691" fmla="*/ 3475977 w 7714416"/>
              <a:gd name="connsiteY27691" fmla="*/ 539470 h 5282095"/>
              <a:gd name="connsiteX27692" fmla="*/ 3480100 w 7714416"/>
              <a:gd name="connsiteY27692" fmla="*/ 540690 h 5282095"/>
              <a:gd name="connsiteX27693" fmla="*/ 3480158 w 7714416"/>
              <a:gd name="connsiteY27693" fmla="*/ 540476 h 5282095"/>
              <a:gd name="connsiteX27694" fmla="*/ 3491863 w 7714416"/>
              <a:gd name="connsiteY27694" fmla="*/ 538294 h 5282095"/>
              <a:gd name="connsiteX27695" fmla="*/ 2981338 w 7714416"/>
              <a:gd name="connsiteY27695" fmla="*/ 537114 h 5282095"/>
              <a:gd name="connsiteX27696" fmla="*/ 2984992 w 7714416"/>
              <a:gd name="connsiteY27696" fmla="*/ 537863 h 5282095"/>
              <a:gd name="connsiteX27697" fmla="*/ 2985711 w 7714416"/>
              <a:gd name="connsiteY27697" fmla="*/ 544036 h 5282095"/>
              <a:gd name="connsiteX27698" fmla="*/ 2983890 w 7714416"/>
              <a:gd name="connsiteY27698" fmla="*/ 543088 h 5282095"/>
              <a:gd name="connsiteX27699" fmla="*/ 2983498 w 7714416"/>
              <a:gd name="connsiteY27699" fmla="*/ 543443 h 5282095"/>
              <a:gd name="connsiteX27700" fmla="*/ 2981190 w 7714416"/>
              <a:gd name="connsiteY27700" fmla="*/ 540985 h 5282095"/>
              <a:gd name="connsiteX27701" fmla="*/ 2981338 w 7714416"/>
              <a:gd name="connsiteY27701" fmla="*/ 537114 h 5282095"/>
              <a:gd name="connsiteX27702" fmla="*/ 2580843 w 7714416"/>
              <a:gd name="connsiteY27702" fmla="*/ 535374 h 5282095"/>
              <a:gd name="connsiteX27703" fmla="*/ 2589757 w 7714416"/>
              <a:gd name="connsiteY27703" fmla="*/ 543052 h 5282095"/>
              <a:gd name="connsiteX27704" fmla="*/ 2587210 w 7714416"/>
              <a:gd name="connsiteY27704" fmla="*/ 542599 h 5282095"/>
              <a:gd name="connsiteX27705" fmla="*/ 2585151 w 7714416"/>
              <a:gd name="connsiteY27705" fmla="*/ 540323 h 5282095"/>
              <a:gd name="connsiteX27706" fmla="*/ 2580843 w 7714416"/>
              <a:gd name="connsiteY27706" fmla="*/ 535374 h 5282095"/>
              <a:gd name="connsiteX27707" fmla="*/ 2166295 w 7714416"/>
              <a:gd name="connsiteY27707" fmla="*/ 534884 h 5282095"/>
              <a:gd name="connsiteX27708" fmla="*/ 2181403 w 7714416"/>
              <a:gd name="connsiteY27708" fmla="*/ 545186 h 5282095"/>
              <a:gd name="connsiteX27709" fmla="*/ 2183756 w 7714416"/>
              <a:gd name="connsiteY27709" fmla="*/ 548576 h 5282095"/>
              <a:gd name="connsiteX27710" fmla="*/ 2184224 w 7714416"/>
              <a:gd name="connsiteY27710" fmla="*/ 549046 h 5282095"/>
              <a:gd name="connsiteX27711" fmla="*/ 2185485 w 7714416"/>
              <a:gd name="connsiteY27711" fmla="*/ 547660 h 5282095"/>
              <a:gd name="connsiteX27712" fmla="*/ 2188062 w 7714416"/>
              <a:gd name="connsiteY27712" fmla="*/ 548004 h 5282095"/>
              <a:gd name="connsiteX27713" fmla="*/ 2192536 w 7714416"/>
              <a:gd name="connsiteY27713" fmla="*/ 550123 h 5282095"/>
              <a:gd name="connsiteX27714" fmla="*/ 2196191 w 7714416"/>
              <a:gd name="connsiteY27714" fmla="*/ 550873 h 5282095"/>
              <a:gd name="connsiteX27715" fmla="*/ 2197599 w 7714416"/>
              <a:gd name="connsiteY27715" fmla="*/ 554471 h 5282095"/>
              <a:gd name="connsiteX27716" fmla="*/ 2193973 w 7714416"/>
              <a:gd name="connsiteY27716" fmla="*/ 553614 h 5282095"/>
              <a:gd name="connsiteX27717" fmla="*/ 2188640 w 7714416"/>
              <a:gd name="connsiteY27717" fmla="*/ 551380 h 5282095"/>
              <a:gd name="connsiteX27718" fmla="*/ 2186179 w 7714416"/>
              <a:gd name="connsiteY27718" fmla="*/ 550605 h 5282095"/>
              <a:gd name="connsiteX27719" fmla="*/ 2189068 w 7714416"/>
              <a:gd name="connsiteY27719" fmla="*/ 553104 h 5282095"/>
              <a:gd name="connsiteX27720" fmla="*/ 2185801 w 7714416"/>
              <a:gd name="connsiteY27720" fmla="*/ 555334 h 5282095"/>
              <a:gd name="connsiteX27721" fmla="*/ 2184281 w 7714416"/>
              <a:gd name="connsiteY27721" fmla="*/ 557687 h 5282095"/>
              <a:gd name="connsiteX27722" fmla="*/ 2187084 w 7714416"/>
              <a:gd name="connsiteY27722" fmla="*/ 560508 h 5282095"/>
              <a:gd name="connsiteX27723" fmla="*/ 2181863 w 7714416"/>
              <a:gd name="connsiteY27723" fmla="*/ 561179 h 5282095"/>
              <a:gd name="connsiteX27724" fmla="*/ 2181366 w 7714416"/>
              <a:gd name="connsiteY27724" fmla="*/ 560816 h 5282095"/>
              <a:gd name="connsiteX27725" fmla="*/ 2176239 w 7714416"/>
              <a:gd name="connsiteY27725" fmla="*/ 563352 h 5282095"/>
              <a:gd name="connsiteX27726" fmla="*/ 2159478 w 7714416"/>
              <a:gd name="connsiteY27726" fmla="*/ 563922 h 5282095"/>
              <a:gd name="connsiteX27727" fmla="*/ 2148205 w 7714416"/>
              <a:gd name="connsiteY27727" fmla="*/ 556185 h 5282095"/>
              <a:gd name="connsiteX27728" fmla="*/ 2145567 w 7714416"/>
              <a:gd name="connsiteY27728" fmla="*/ 541678 h 5282095"/>
              <a:gd name="connsiteX27729" fmla="*/ 2152054 w 7714416"/>
              <a:gd name="connsiteY27729" fmla="*/ 536286 h 5282095"/>
              <a:gd name="connsiteX27730" fmla="*/ 2166295 w 7714416"/>
              <a:gd name="connsiteY27730" fmla="*/ 534884 h 5282095"/>
              <a:gd name="connsiteX27731" fmla="*/ 2373493 w 7714416"/>
              <a:gd name="connsiteY27731" fmla="*/ 534440 h 5282095"/>
              <a:gd name="connsiteX27732" fmla="*/ 2379426 w 7714416"/>
              <a:gd name="connsiteY27732" fmla="*/ 537755 h 5282095"/>
              <a:gd name="connsiteX27733" fmla="*/ 2373364 w 7714416"/>
              <a:gd name="connsiteY27733" fmla="*/ 539350 h 5282095"/>
              <a:gd name="connsiteX27734" fmla="*/ 2371801 w 7714416"/>
              <a:gd name="connsiteY27734" fmla="*/ 537436 h 5282095"/>
              <a:gd name="connsiteX27735" fmla="*/ 2373493 w 7714416"/>
              <a:gd name="connsiteY27735" fmla="*/ 534440 h 5282095"/>
              <a:gd name="connsiteX27736" fmla="*/ 1295801 w 7714416"/>
              <a:gd name="connsiteY27736" fmla="*/ 533177 h 5282095"/>
              <a:gd name="connsiteX27737" fmla="*/ 1280551 w 7714416"/>
              <a:gd name="connsiteY27737" fmla="*/ 541396 h 5282095"/>
              <a:gd name="connsiteX27738" fmla="*/ 1260296 w 7714416"/>
              <a:gd name="connsiteY27738" fmla="*/ 541719 h 5282095"/>
              <a:gd name="connsiteX27739" fmla="*/ 1295801 w 7714416"/>
              <a:gd name="connsiteY27739" fmla="*/ 533177 h 5282095"/>
              <a:gd name="connsiteX27740" fmla="*/ 3784180 w 7714416"/>
              <a:gd name="connsiteY27740" fmla="*/ 532582 h 5282095"/>
              <a:gd name="connsiteX27741" fmla="*/ 3802292 w 7714416"/>
              <a:gd name="connsiteY27741" fmla="*/ 544679 h 5282095"/>
              <a:gd name="connsiteX27742" fmla="*/ 3787734 w 7714416"/>
              <a:gd name="connsiteY27742" fmla="*/ 546989 h 5282095"/>
              <a:gd name="connsiteX27743" fmla="*/ 3784180 w 7714416"/>
              <a:gd name="connsiteY27743" fmla="*/ 532582 h 5282095"/>
              <a:gd name="connsiteX27744" fmla="*/ 3846172 w 7714416"/>
              <a:gd name="connsiteY27744" fmla="*/ 530333 h 5282095"/>
              <a:gd name="connsiteX27745" fmla="*/ 3850162 w 7714416"/>
              <a:gd name="connsiteY27745" fmla="*/ 530942 h 5282095"/>
              <a:gd name="connsiteX27746" fmla="*/ 3849191 w 7714416"/>
              <a:gd name="connsiteY27746" fmla="*/ 536777 h 5282095"/>
              <a:gd name="connsiteX27747" fmla="*/ 3844189 w 7714416"/>
              <a:gd name="connsiteY27747" fmla="*/ 537736 h 5282095"/>
              <a:gd name="connsiteX27748" fmla="*/ 3841871 w 7714416"/>
              <a:gd name="connsiteY27748" fmla="*/ 536425 h 5282095"/>
              <a:gd name="connsiteX27749" fmla="*/ 3842170 w 7714416"/>
              <a:gd name="connsiteY27749" fmla="*/ 534206 h 5282095"/>
              <a:gd name="connsiteX27750" fmla="*/ 3843395 w 7714416"/>
              <a:gd name="connsiteY27750" fmla="*/ 530739 h 5282095"/>
              <a:gd name="connsiteX27751" fmla="*/ 3846172 w 7714416"/>
              <a:gd name="connsiteY27751" fmla="*/ 530333 h 5282095"/>
              <a:gd name="connsiteX27752" fmla="*/ 1554017 w 7714416"/>
              <a:gd name="connsiteY27752" fmla="*/ 529110 h 5282095"/>
              <a:gd name="connsiteX27753" fmla="*/ 1577723 w 7714416"/>
              <a:gd name="connsiteY27753" fmla="*/ 530287 h 5282095"/>
              <a:gd name="connsiteX27754" fmla="*/ 1566676 w 7714416"/>
              <a:gd name="connsiteY27754" fmla="*/ 542737 h 5282095"/>
              <a:gd name="connsiteX27755" fmla="*/ 1554017 w 7714416"/>
              <a:gd name="connsiteY27755" fmla="*/ 529110 h 5282095"/>
              <a:gd name="connsiteX27756" fmla="*/ 3276543 w 7714416"/>
              <a:gd name="connsiteY27756" fmla="*/ 528928 h 5282095"/>
              <a:gd name="connsiteX27757" fmla="*/ 3259300 w 7714416"/>
              <a:gd name="connsiteY27757" fmla="*/ 533508 h 5282095"/>
              <a:gd name="connsiteX27758" fmla="*/ 3276543 w 7714416"/>
              <a:gd name="connsiteY27758" fmla="*/ 528928 h 5282095"/>
              <a:gd name="connsiteX27759" fmla="*/ 3205142 w 7714416"/>
              <a:gd name="connsiteY27759" fmla="*/ 528656 h 5282095"/>
              <a:gd name="connsiteX27760" fmla="*/ 3224062 w 7714416"/>
              <a:gd name="connsiteY27760" fmla="*/ 543270 h 5282095"/>
              <a:gd name="connsiteX27761" fmla="*/ 3211790 w 7714416"/>
              <a:gd name="connsiteY27761" fmla="*/ 541478 h 5282095"/>
              <a:gd name="connsiteX27762" fmla="*/ 3201049 w 7714416"/>
              <a:gd name="connsiteY27762" fmla="*/ 536185 h 5282095"/>
              <a:gd name="connsiteX27763" fmla="*/ 3205142 w 7714416"/>
              <a:gd name="connsiteY27763" fmla="*/ 528656 h 5282095"/>
              <a:gd name="connsiteX27764" fmla="*/ 3425377 w 7714416"/>
              <a:gd name="connsiteY27764" fmla="*/ 527983 h 5282095"/>
              <a:gd name="connsiteX27765" fmla="*/ 3425759 w 7714416"/>
              <a:gd name="connsiteY27765" fmla="*/ 528774 h 5282095"/>
              <a:gd name="connsiteX27766" fmla="*/ 3426207 w 7714416"/>
              <a:gd name="connsiteY27766" fmla="*/ 528205 h 5282095"/>
              <a:gd name="connsiteX27767" fmla="*/ 2213691 w 7714416"/>
              <a:gd name="connsiteY27767" fmla="*/ 527617 h 5282095"/>
              <a:gd name="connsiteX27768" fmla="*/ 2224504 w 7714416"/>
              <a:gd name="connsiteY27768" fmla="*/ 537070 h 5282095"/>
              <a:gd name="connsiteX27769" fmla="*/ 2209831 w 7714416"/>
              <a:gd name="connsiteY27769" fmla="*/ 530952 h 5282095"/>
              <a:gd name="connsiteX27770" fmla="*/ 2209081 w 7714416"/>
              <a:gd name="connsiteY27770" fmla="*/ 528221 h 5282095"/>
              <a:gd name="connsiteX27771" fmla="*/ 2213691 w 7714416"/>
              <a:gd name="connsiteY27771" fmla="*/ 527617 h 5282095"/>
              <a:gd name="connsiteX27772" fmla="*/ 2503142 w 7714416"/>
              <a:gd name="connsiteY27772" fmla="*/ 526514 h 5282095"/>
              <a:gd name="connsiteX27773" fmla="*/ 2508902 w 7714416"/>
              <a:gd name="connsiteY27773" fmla="*/ 530472 h 5282095"/>
              <a:gd name="connsiteX27774" fmla="*/ 2512091 w 7714416"/>
              <a:gd name="connsiteY27774" fmla="*/ 539606 h 5282095"/>
              <a:gd name="connsiteX27775" fmla="*/ 2491061 w 7714416"/>
              <a:gd name="connsiteY27775" fmla="*/ 542827 h 5282095"/>
              <a:gd name="connsiteX27776" fmla="*/ 2485012 w 7714416"/>
              <a:gd name="connsiteY27776" fmla="*/ 539941 h 5282095"/>
              <a:gd name="connsiteX27777" fmla="*/ 2483859 w 7714416"/>
              <a:gd name="connsiteY27777" fmla="*/ 529857 h 5282095"/>
              <a:gd name="connsiteX27778" fmla="*/ 2503142 w 7714416"/>
              <a:gd name="connsiteY27778" fmla="*/ 526514 h 5282095"/>
              <a:gd name="connsiteX27779" fmla="*/ 2741608 w 7714416"/>
              <a:gd name="connsiteY27779" fmla="*/ 525320 h 5282095"/>
              <a:gd name="connsiteX27780" fmla="*/ 2749535 w 7714416"/>
              <a:gd name="connsiteY27780" fmla="*/ 528939 h 5282095"/>
              <a:gd name="connsiteX27781" fmla="*/ 2747892 w 7714416"/>
              <a:gd name="connsiteY27781" fmla="*/ 529534 h 5282095"/>
              <a:gd name="connsiteX27782" fmla="*/ 2748083 w 7714416"/>
              <a:gd name="connsiteY27782" fmla="*/ 529930 h 5282095"/>
              <a:gd name="connsiteX27783" fmla="*/ 2744285 w 7714416"/>
              <a:gd name="connsiteY27783" fmla="*/ 529716 h 5282095"/>
              <a:gd name="connsiteX27784" fmla="*/ 2739372 w 7714416"/>
              <a:gd name="connsiteY27784" fmla="*/ 527021 h 5282095"/>
              <a:gd name="connsiteX27785" fmla="*/ 2741608 w 7714416"/>
              <a:gd name="connsiteY27785" fmla="*/ 525320 h 5282095"/>
              <a:gd name="connsiteX27786" fmla="*/ 4210237 w 7714416"/>
              <a:gd name="connsiteY27786" fmla="*/ 524152 h 5282095"/>
              <a:gd name="connsiteX27787" fmla="*/ 4213443 w 7714416"/>
              <a:gd name="connsiteY27787" fmla="*/ 525471 h 5282095"/>
              <a:gd name="connsiteX27788" fmla="*/ 4211886 w 7714416"/>
              <a:gd name="connsiteY27788" fmla="*/ 525744 h 5282095"/>
              <a:gd name="connsiteX27789" fmla="*/ 4210237 w 7714416"/>
              <a:gd name="connsiteY27789" fmla="*/ 524152 h 5282095"/>
              <a:gd name="connsiteX27790" fmla="*/ 3239029 w 7714416"/>
              <a:gd name="connsiteY27790" fmla="*/ 523936 h 5282095"/>
              <a:gd name="connsiteX27791" fmla="*/ 3249379 w 7714416"/>
              <a:gd name="connsiteY27791" fmla="*/ 538439 h 5282095"/>
              <a:gd name="connsiteX27792" fmla="*/ 3241494 w 7714416"/>
              <a:gd name="connsiteY27792" fmla="*/ 539087 h 5282095"/>
              <a:gd name="connsiteX27793" fmla="*/ 3232478 w 7714416"/>
              <a:gd name="connsiteY27793" fmla="*/ 536211 h 5282095"/>
              <a:gd name="connsiteX27794" fmla="*/ 3239029 w 7714416"/>
              <a:gd name="connsiteY27794" fmla="*/ 523936 h 5282095"/>
              <a:gd name="connsiteX27795" fmla="*/ 3299035 w 7714416"/>
              <a:gd name="connsiteY27795" fmla="*/ 523570 h 5282095"/>
              <a:gd name="connsiteX27796" fmla="*/ 3303649 w 7714416"/>
              <a:gd name="connsiteY27796" fmla="*/ 537341 h 5282095"/>
              <a:gd name="connsiteX27797" fmla="*/ 3288196 w 7714416"/>
              <a:gd name="connsiteY27797" fmla="*/ 537456 h 5282095"/>
              <a:gd name="connsiteX27798" fmla="*/ 3282450 w 7714416"/>
              <a:gd name="connsiteY27798" fmla="*/ 529016 h 5282095"/>
              <a:gd name="connsiteX27799" fmla="*/ 3285329 w 7714416"/>
              <a:gd name="connsiteY27799" fmla="*/ 523807 h 5282095"/>
              <a:gd name="connsiteX27800" fmla="*/ 3299035 w 7714416"/>
              <a:gd name="connsiteY27800" fmla="*/ 523570 h 5282095"/>
              <a:gd name="connsiteX27801" fmla="*/ 3012344 w 7714416"/>
              <a:gd name="connsiteY27801" fmla="*/ 523227 h 5282095"/>
              <a:gd name="connsiteX27802" fmla="*/ 3015294 w 7714416"/>
              <a:gd name="connsiteY27802" fmla="*/ 531032 h 5282095"/>
              <a:gd name="connsiteX27803" fmla="*/ 3010342 w 7714416"/>
              <a:gd name="connsiteY27803" fmla="*/ 529591 h 5282095"/>
              <a:gd name="connsiteX27804" fmla="*/ 3012344 w 7714416"/>
              <a:gd name="connsiteY27804" fmla="*/ 523227 h 5282095"/>
              <a:gd name="connsiteX27805" fmla="*/ 2365555 w 7714416"/>
              <a:gd name="connsiteY27805" fmla="*/ 523113 h 5282095"/>
              <a:gd name="connsiteX27806" fmla="*/ 2367539 w 7714416"/>
              <a:gd name="connsiteY27806" fmla="*/ 524565 h 5282095"/>
              <a:gd name="connsiteX27807" fmla="*/ 2368570 w 7714416"/>
              <a:gd name="connsiteY27807" fmla="*/ 524035 h 5282095"/>
              <a:gd name="connsiteX27808" fmla="*/ 2373487 w 7714416"/>
              <a:gd name="connsiteY27808" fmla="*/ 523398 h 5282095"/>
              <a:gd name="connsiteX27809" fmla="*/ 2375402 w 7714416"/>
              <a:gd name="connsiteY27809" fmla="*/ 526211 h 5282095"/>
              <a:gd name="connsiteX27810" fmla="*/ 2376745 w 7714416"/>
              <a:gd name="connsiteY27810" fmla="*/ 527837 h 5282095"/>
              <a:gd name="connsiteX27811" fmla="*/ 2380002 w 7714416"/>
              <a:gd name="connsiteY27811" fmla="*/ 526754 h 5282095"/>
              <a:gd name="connsiteX27812" fmla="*/ 2385233 w 7714416"/>
              <a:gd name="connsiteY27812" fmla="*/ 524936 h 5282095"/>
              <a:gd name="connsiteX27813" fmla="*/ 2389825 w 7714416"/>
              <a:gd name="connsiteY27813" fmla="*/ 541002 h 5282095"/>
              <a:gd name="connsiteX27814" fmla="*/ 2382984 w 7714416"/>
              <a:gd name="connsiteY27814" fmla="*/ 539973 h 5282095"/>
              <a:gd name="connsiteX27815" fmla="*/ 2377367 w 7714416"/>
              <a:gd name="connsiteY27815" fmla="*/ 535478 h 5282095"/>
              <a:gd name="connsiteX27816" fmla="*/ 2376141 w 7714416"/>
              <a:gd name="connsiteY27816" fmla="*/ 530089 h 5282095"/>
              <a:gd name="connsiteX27817" fmla="*/ 2374777 w 7714416"/>
              <a:gd name="connsiteY27817" fmla="*/ 530759 h 5282095"/>
              <a:gd name="connsiteX27818" fmla="*/ 2371866 w 7714416"/>
              <a:gd name="connsiteY27818" fmla="*/ 530554 h 5282095"/>
              <a:gd name="connsiteX27819" fmla="*/ 2371700 w 7714416"/>
              <a:gd name="connsiteY27819" fmla="*/ 533385 h 5282095"/>
              <a:gd name="connsiteX27820" fmla="*/ 2359289 w 7714416"/>
              <a:gd name="connsiteY27820" fmla="*/ 537649 h 5282095"/>
              <a:gd name="connsiteX27821" fmla="*/ 2357200 w 7714416"/>
              <a:gd name="connsiteY27821" fmla="*/ 535479 h 5282095"/>
              <a:gd name="connsiteX27822" fmla="*/ 2355314 w 7714416"/>
              <a:gd name="connsiteY27822" fmla="*/ 532559 h 5282095"/>
              <a:gd name="connsiteX27823" fmla="*/ 2356180 w 7714416"/>
              <a:gd name="connsiteY27823" fmla="*/ 526006 h 5282095"/>
              <a:gd name="connsiteX27824" fmla="*/ 2362253 w 7714416"/>
              <a:gd name="connsiteY27824" fmla="*/ 523263 h 5282095"/>
              <a:gd name="connsiteX27825" fmla="*/ 2365555 w 7714416"/>
              <a:gd name="connsiteY27825" fmla="*/ 523113 h 5282095"/>
              <a:gd name="connsiteX27826" fmla="*/ 4403320 w 7714416"/>
              <a:gd name="connsiteY27826" fmla="*/ 522988 h 5282095"/>
              <a:gd name="connsiteX27827" fmla="*/ 4407545 w 7714416"/>
              <a:gd name="connsiteY27827" fmla="*/ 524924 h 5282095"/>
              <a:gd name="connsiteX27828" fmla="*/ 4402798 w 7714416"/>
              <a:gd name="connsiteY27828" fmla="*/ 528253 h 5282095"/>
              <a:gd name="connsiteX27829" fmla="*/ 4400462 w 7714416"/>
              <a:gd name="connsiteY27829" fmla="*/ 525901 h 5282095"/>
              <a:gd name="connsiteX27830" fmla="*/ 4400456 w 7714416"/>
              <a:gd name="connsiteY27830" fmla="*/ 523715 h 5282095"/>
              <a:gd name="connsiteX27831" fmla="*/ 4403320 w 7714416"/>
              <a:gd name="connsiteY27831" fmla="*/ 522988 h 5282095"/>
              <a:gd name="connsiteX27832" fmla="*/ 4383630 w 7714416"/>
              <a:gd name="connsiteY27832" fmla="*/ 522312 h 5282095"/>
              <a:gd name="connsiteX27833" fmla="*/ 4387953 w 7714416"/>
              <a:gd name="connsiteY27833" fmla="*/ 531635 h 5282095"/>
              <a:gd name="connsiteX27834" fmla="*/ 4385804 w 7714416"/>
              <a:gd name="connsiteY27834" fmla="*/ 533014 h 5282095"/>
              <a:gd name="connsiteX27835" fmla="*/ 4384697 w 7714416"/>
              <a:gd name="connsiteY27835" fmla="*/ 532717 h 5282095"/>
              <a:gd name="connsiteX27836" fmla="*/ 4381197 w 7714416"/>
              <a:gd name="connsiteY27836" fmla="*/ 530285 h 5282095"/>
              <a:gd name="connsiteX27837" fmla="*/ 4379569 w 7714416"/>
              <a:gd name="connsiteY27837" fmla="*/ 526399 h 5282095"/>
              <a:gd name="connsiteX27838" fmla="*/ 4380375 w 7714416"/>
              <a:gd name="connsiteY27838" fmla="*/ 523394 h 5282095"/>
              <a:gd name="connsiteX27839" fmla="*/ 4383630 w 7714416"/>
              <a:gd name="connsiteY27839" fmla="*/ 522312 h 5282095"/>
              <a:gd name="connsiteX27840" fmla="*/ 3002976 w 7714416"/>
              <a:gd name="connsiteY27840" fmla="*/ 519451 h 5282095"/>
              <a:gd name="connsiteX27841" fmla="*/ 2986887 w 7714416"/>
              <a:gd name="connsiteY27841" fmla="*/ 525260 h 5282095"/>
              <a:gd name="connsiteX27842" fmla="*/ 3002976 w 7714416"/>
              <a:gd name="connsiteY27842" fmla="*/ 519451 h 5282095"/>
              <a:gd name="connsiteX27843" fmla="*/ 2043612 w 7714416"/>
              <a:gd name="connsiteY27843" fmla="*/ 519305 h 5282095"/>
              <a:gd name="connsiteX27844" fmla="*/ 2047658 w 7714416"/>
              <a:gd name="connsiteY27844" fmla="*/ 519698 h 5282095"/>
              <a:gd name="connsiteX27845" fmla="*/ 2047931 w 7714416"/>
              <a:gd name="connsiteY27845" fmla="*/ 523107 h 5282095"/>
              <a:gd name="connsiteX27846" fmla="*/ 2033715 w 7714416"/>
              <a:gd name="connsiteY27846" fmla="*/ 527462 h 5282095"/>
              <a:gd name="connsiteX27847" fmla="*/ 2043612 w 7714416"/>
              <a:gd name="connsiteY27847" fmla="*/ 519305 h 5282095"/>
              <a:gd name="connsiteX27848" fmla="*/ 2718757 w 7714416"/>
              <a:gd name="connsiteY27848" fmla="*/ 519010 h 5282095"/>
              <a:gd name="connsiteX27849" fmla="*/ 2730403 w 7714416"/>
              <a:gd name="connsiteY27849" fmla="*/ 525077 h 5282095"/>
              <a:gd name="connsiteX27850" fmla="*/ 2723873 w 7714416"/>
              <a:gd name="connsiteY27850" fmla="*/ 535058 h 5282095"/>
              <a:gd name="connsiteX27851" fmla="*/ 2709197 w 7714416"/>
              <a:gd name="connsiteY27851" fmla="*/ 523420 h 5282095"/>
              <a:gd name="connsiteX27852" fmla="*/ 2718757 w 7714416"/>
              <a:gd name="connsiteY27852" fmla="*/ 519010 h 5282095"/>
              <a:gd name="connsiteX27853" fmla="*/ 4973263 w 7714416"/>
              <a:gd name="connsiteY27853" fmla="*/ 517690 h 5282095"/>
              <a:gd name="connsiteX27854" fmla="*/ 4982721 w 7714416"/>
              <a:gd name="connsiteY27854" fmla="*/ 517811 h 5282095"/>
              <a:gd name="connsiteX27855" fmla="*/ 4987072 w 7714416"/>
              <a:gd name="connsiteY27855" fmla="*/ 527027 h 5282095"/>
              <a:gd name="connsiteX27856" fmla="*/ 4974110 w 7714416"/>
              <a:gd name="connsiteY27856" fmla="*/ 527808 h 5282095"/>
              <a:gd name="connsiteX27857" fmla="*/ 4973263 w 7714416"/>
              <a:gd name="connsiteY27857" fmla="*/ 517690 h 5282095"/>
              <a:gd name="connsiteX27858" fmla="*/ 2641735 w 7714416"/>
              <a:gd name="connsiteY27858" fmla="*/ 517304 h 5282095"/>
              <a:gd name="connsiteX27859" fmla="*/ 2659754 w 7714416"/>
              <a:gd name="connsiteY27859" fmla="*/ 518682 h 5282095"/>
              <a:gd name="connsiteX27860" fmla="*/ 2652505 w 7714416"/>
              <a:gd name="connsiteY27860" fmla="*/ 531345 h 5282095"/>
              <a:gd name="connsiteX27861" fmla="*/ 2641735 w 7714416"/>
              <a:gd name="connsiteY27861" fmla="*/ 517304 h 5282095"/>
              <a:gd name="connsiteX27862" fmla="*/ 2922634 w 7714416"/>
              <a:gd name="connsiteY27862" fmla="*/ 517129 h 5282095"/>
              <a:gd name="connsiteX27863" fmla="*/ 2914630 w 7714416"/>
              <a:gd name="connsiteY27863" fmla="*/ 548105 h 5282095"/>
              <a:gd name="connsiteX27864" fmla="*/ 2913984 w 7714416"/>
              <a:gd name="connsiteY27864" fmla="*/ 519526 h 5282095"/>
              <a:gd name="connsiteX27865" fmla="*/ 2922634 w 7714416"/>
              <a:gd name="connsiteY27865" fmla="*/ 517129 h 5282095"/>
              <a:gd name="connsiteX27866" fmla="*/ 4696145 w 7714416"/>
              <a:gd name="connsiteY27866" fmla="*/ 517038 h 5282095"/>
              <a:gd name="connsiteX27867" fmla="*/ 4689353 w 7714416"/>
              <a:gd name="connsiteY27867" fmla="*/ 540173 h 5282095"/>
              <a:gd name="connsiteX27868" fmla="*/ 4683398 w 7714416"/>
              <a:gd name="connsiteY27868" fmla="*/ 530298 h 5282095"/>
              <a:gd name="connsiteX27869" fmla="*/ 4685748 w 7714416"/>
              <a:gd name="connsiteY27869" fmla="*/ 519313 h 5282095"/>
              <a:gd name="connsiteX27870" fmla="*/ 4696145 w 7714416"/>
              <a:gd name="connsiteY27870" fmla="*/ 517038 h 5282095"/>
              <a:gd name="connsiteX27871" fmla="*/ 2156046 w 7714416"/>
              <a:gd name="connsiteY27871" fmla="*/ 516411 h 5282095"/>
              <a:gd name="connsiteX27872" fmla="*/ 2163026 w 7714416"/>
              <a:gd name="connsiteY27872" fmla="*/ 523012 h 5282095"/>
              <a:gd name="connsiteX27873" fmla="*/ 2156863 w 7714416"/>
              <a:gd name="connsiteY27873" fmla="*/ 529410 h 5282095"/>
              <a:gd name="connsiteX27874" fmla="*/ 2151737 w 7714416"/>
              <a:gd name="connsiteY27874" fmla="*/ 528612 h 5282095"/>
              <a:gd name="connsiteX27875" fmla="*/ 2148026 w 7714416"/>
              <a:gd name="connsiteY27875" fmla="*/ 528077 h 5282095"/>
              <a:gd name="connsiteX27876" fmla="*/ 2142905 w 7714416"/>
              <a:gd name="connsiteY27876" fmla="*/ 523945 h 5282095"/>
              <a:gd name="connsiteX27877" fmla="*/ 2142312 w 7714416"/>
              <a:gd name="connsiteY27877" fmla="*/ 525051 h 5282095"/>
              <a:gd name="connsiteX27878" fmla="*/ 2143351 w 7714416"/>
              <a:gd name="connsiteY27878" fmla="*/ 517855 h 5282095"/>
              <a:gd name="connsiteX27879" fmla="*/ 2156046 w 7714416"/>
              <a:gd name="connsiteY27879" fmla="*/ 516411 h 5282095"/>
              <a:gd name="connsiteX27880" fmla="*/ 3657126 w 7714416"/>
              <a:gd name="connsiteY27880" fmla="*/ 515329 h 5282095"/>
              <a:gd name="connsiteX27881" fmla="*/ 3664637 w 7714416"/>
              <a:gd name="connsiteY27881" fmla="*/ 516076 h 5282095"/>
              <a:gd name="connsiteX27882" fmla="*/ 3675978 w 7714416"/>
              <a:gd name="connsiteY27882" fmla="*/ 522449 h 5282095"/>
              <a:gd name="connsiteX27883" fmla="*/ 3661094 w 7714416"/>
              <a:gd name="connsiteY27883" fmla="*/ 535941 h 5282095"/>
              <a:gd name="connsiteX27884" fmla="*/ 3649964 w 7714416"/>
              <a:gd name="connsiteY27884" fmla="*/ 527669 h 5282095"/>
              <a:gd name="connsiteX27885" fmla="*/ 3657126 w 7714416"/>
              <a:gd name="connsiteY27885" fmla="*/ 515329 h 5282095"/>
              <a:gd name="connsiteX27886" fmla="*/ 2313700 w 7714416"/>
              <a:gd name="connsiteY27886" fmla="*/ 515199 h 5282095"/>
              <a:gd name="connsiteX27887" fmla="*/ 2312259 w 7714416"/>
              <a:gd name="connsiteY27887" fmla="*/ 523897 h 5282095"/>
              <a:gd name="connsiteX27888" fmla="*/ 2308576 w 7714416"/>
              <a:gd name="connsiteY27888" fmla="*/ 523255 h 5282095"/>
              <a:gd name="connsiteX27889" fmla="*/ 2304637 w 7714416"/>
              <a:gd name="connsiteY27889" fmla="*/ 520245 h 5282095"/>
              <a:gd name="connsiteX27890" fmla="*/ 2304145 w 7714416"/>
              <a:gd name="connsiteY27890" fmla="*/ 516548 h 5282095"/>
              <a:gd name="connsiteX27891" fmla="*/ 2313700 w 7714416"/>
              <a:gd name="connsiteY27891" fmla="*/ 515199 h 5282095"/>
              <a:gd name="connsiteX27892" fmla="*/ 4410298 w 7714416"/>
              <a:gd name="connsiteY27892" fmla="*/ 512437 h 5282095"/>
              <a:gd name="connsiteX27893" fmla="*/ 4419793 w 7714416"/>
              <a:gd name="connsiteY27893" fmla="*/ 514636 h 5282095"/>
              <a:gd name="connsiteX27894" fmla="*/ 4423548 w 7714416"/>
              <a:gd name="connsiteY27894" fmla="*/ 519437 h 5282095"/>
              <a:gd name="connsiteX27895" fmla="*/ 4423774 w 7714416"/>
              <a:gd name="connsiteY27895" fmla="*/ 521913 h 5282095"/>
              <a:gd name="connsiteX27896" fmla="*/ 4408997 w 7714416"/>
              <a:gd name="connsiteY27896" fmla="*/ 523934 h 5282095"/>
              <a:gd name="connsiteX27897" fmla="*/ 4402267 w 7714416"/>
              <a:gd name="connsiteY27897" fmla="*/ 516956 h 5282095"/>
              <a:gd name="connsiteX27898" fmla="*/ 4402986 w 7714416"/>
              <a:gd name="connsiteY27898" fmla="*/ 514272 h 5282095"/>
              <a:gd name="connsiteX27899" fmla="*/ 4406241 w 7714416"/>
              <a:gd name="connsiteY27899" fmla="*/ 513190 h 5282095"/>
              <a:gd name="connsiteX27900" fmla="*/ 4410298 w 7714416"/>
              <a:gd name="connsiteY27900" fmla="*/ 512437 h 5282095"/>
              <a:gd name="connsiteX27901" fmla="*/ 3054093 w 7714416"/>
              <a:gd name="connsiteY27901" fmla="*/ 511299 h 5282095"/>
              <a:gd name="connsiteX27902" fmla="*/ 3047040 w 7714416"/>
              <a:gd name="connsiteY27902" fmla="*/ 538733 h 5282095"/>
              <a:gd name="connsiteX27903" fmla="*/ 3039227 w 7714416"/>
              <a:gd name="connsiteY27903" fmla="*/ 534685 h 5282095"/>
              <a:gd name="connsiteX27904" fmla="*/ 3054093 w 7714416"/>
              <a:gd name="connsiteY27904" fmla="*/ 511299 h 5282095"/>
              <a:gd name="connsiteX27905" fmla="*/ 3913607 w 7714416"/>
              <a:gd name="connsiteY27905" fmla="*/ 509991 h 5282095"/>
              <a:gd name="connsiteX27906" fmla="*/ 3917775 w 7714416"/>
              <a:gd name="connsiteY27906" fmla="*/ 512143 h 5282095"/>
              <a:gd name="connsiteX27907" fmla="*/ 3916531 w 7714416"/>
              <a:gd name="connsiteY27907" fmla="*/ 514570 h 5282095"/>
              <a:gd name="connsiteX27908" fmla="*/ 3917369 w 7714416"/>
              <a:gd name="connsiteY27908" fmla="*/ 516979 h 5282095"/>
              <a:gd name="connsiteX27909" fmla="*/ 3915594 w 7714416"/>
              <a:gd name="connsiteY27909" fmla="*/ 516964 h 5282095"/>
              <a:gd name="connsiteX27910" fmla="*/ 3914332 w 7714416"/>
              <a:gd name="connsiteY27910" fmla="*/ 518350 h 5282095"/>
              <a:gd name="connsiteX27911" fmla="*/ 3909848 w 7714416"/>
              <a:gd name="connsiteY27911" fmla="*/ 517379 h 5282095"/>
              <a:gd name="connsiteX27912" fmla="*/ 3906862 w 7714416"/>
              <a:gd name="connsiteY27912" fmla="*/ 516349 h 5282095"/>
              <a:gd name="connsiteX27913" fmla="*/ 3904191 w 7714416"/>
              <a:gd name="connsiteY27913" fmla="*/ 514138 h 5282095"/>
              <a:gd name="connsiteX27914" fmla="*/ 3903965 w 7714416"/>
              <a:gd name="connsiteY27914" fmla="*/ 511662 h 5282095"/>
              <a:gd name="connsiteX27915" fmla="*/ 3906972 w 7714416"/>
              <a:gd name="connsiteY27915" fmla="*/ 510399 h 5282095"/>
              <a:gd name="connsiteX27916" fmla="*/ 3913607 w 7714416"/>
              <a:gd name="connsiteY27916" fmla="*/ 509991 h 5282095"/>
              <a:gd name="connsiteX27917" fmla="*/ 2114938 w 7714416"/>
              <a:gd name="connsiteY27917" fmla="*/ 509896 h 5282095"/>
              <a:gd name="connsiteX27918" fmla="*/ 2121284 w 7714416"/>
              <a:gd name="connsiteY27918" fmla="*/ 510561 h 5282095"/>
              <a:gd name="connsiteX27919" fmla="*/ 2119536 w 7714416"/>
              <a:gd name="connsiteY27919" fmla="*/ 510438 h 5282095"/>
              <a:gd name="connsiteX27920" fmla="*/ 2121577 w 7714416"/>
              <a:gd name="connsiteY27920" fmla="*/ 511675 h 5282095"/>
              <a:gd name="connsiteX27921" fmla="*/ 2097953 w 7714416"/>
              <a:gd name="connsiteY27921" fmla="*/ 513510 h 5282095"/>
              <a:gd name="connsiteX27922" fmla="*/ 2097688 w 7714416"/>
              <a:gd name="connsiteY27922" fmla="*/ 512289 h 5282095"/>
              <a:gd name="connsiteX27923" fmla="*/ 2114938 w 7714416"/>
              <a:gd name="connsiteY27923" fmla="*/ 509896 h 5282095"/>
              <a:gd name="connsiteX27924" fmla="*/ 1155296 w 7714416"/>
              <a:gd name="connsiteY27924" fmla="*/ 509675 h 5282095"/>
              <a:gd name="connsiteX27925" fmla="*/ 1158818 w 7714416"/>
              <a:gd name="connsiteY27925" fmla="*/ 509813 h 5282095"/>
              <a:gd name="connsiteX27926" fmla="*/ 1161895 w 7714416"/>
              <a:gd name="connsiteY27926" fmla="*/ 516043 h 5282095"/>
              <a:gd name="connsiteX27927" fmla="*/ 1163525 w 7714416"/>
              <a:gd name="connsiteY27927" fmla="*/ 516594 h 5282095"/>
              <a:gd name="connsiteX27928" fmla="*/ 1167364 w 7714416"/>
              <a:gd name="connsiteY27928" fmla="*/ 515553 h 5282095"/>
              <a:gd name="connsiteX27929" fmla="*/ 1183201 w 7714416"/>
              <a:gd name="connsiteY27929" fmla="*/ 521752 h 5282095"/>
              <a:gd name="connsiteX27930" fmla="*/ 1183291 w 7714416"/>
              <a:gd name="connsiteY27930" fmla="*/ 535806 h 5282095"/>
              <a:gd name="connsiteX27931" fmla="*/ 1176405 w 7714416"/>
              <a:gd name="connsiteY27931" fmla="*/ 539366 h 5282095"/>
              <a:gd name="connsiteX27932" fmla="*/ 1168571 w 7714416"/>
              <a:gd name="connsiteY27932" fmla="*/ 537611 h 5282095"/>
              <a:gd name="connsiteX27933" fmla="*/ 1158174 w 7714416"/>
              <a:gd name="connsiteY27933" fmla="*/ 531031 h 5282095"/>
              <a:gd name="connsiteX27934" fmla="*/ 1159411 w 7714416"/>
              <a:gd name="connsiteY27934" fmla="*/ 517562 h 5282095"/>
              <a:gd name="connsiteX27935" fmla="*/ 1156769 w 7714416"/>
              <a:gd name="connsiteY27935" fmla="*/ 515245 h 5282095"/>
              <a:gd name="connsiteX27936" fmla="*/ 1155296 w 7714416"/>
              <a:gd name="connsiteY27936" fmla="*/ 509675 h 5282095"/>
              <a:gd name="connsiteX27937" fmla="*/ 2087145 w 7714416"/>
              <a:gd name="connsiteY27937" fmla="*/ 509579 h 5282095"/>
              <a:gd name="connsiteX27938" fmla="*/ 2089185 w 7714416"/>
              <a:gd name="connsiteY27938" fmla="*/ 510816 h 5282095"/>
              <a:gd name="connsiteX27939" fmla="*/ 2083055 w 7714416"/>
              <a:gd name="connsiteY27939" fmla="*/ 513773 h 5282095"/>
              <a:gd name="connsiteX27940" fmla="*/ 2080841 w 7714416"/>
              <a:gd name="connsiteY27940" fmla="*/ 513180 h 5282095"/>
              <a:gd name="connsiteX27941" fmla="*/ 2087145 w 7714416"/>
              <a:gd name="connsiteY27941" fmla="*/ 509579 h 5282095"/>
              <a:gd name="connsiteX27942" fmla="*/ 1338835 w 7714416"/>
              <a:gd name="connsiteY27942" fmla="*/ 508712 h 5282095"/>
              <a:gd name="connsiteX27943" fmla="*/ 1342596 w 7714416"/>
              <a:gd name="connsiteY27943" fmla="*/ 515701 h 5282095"/>
              <a:gd name="connsiteX27944" fmla="*/ 1344012 w 7714416"/>
              <a:gd name="connsiteY27944" fmla="*/ 521486 h 5282095"/>
              <a:gd name="connsiteX27945" fmla="*/ 1342445 w 7714416"/>
              <a:gd name="connsiteY27945" fmla="*/ 540616 h 5282095"/>
              <a:gd name="connsiteX27946" fmla="*/ 1338360 w 7714416"/>
              <a:gd name="connsiteY27946" fmla="*/ 532621 h 5282095"/>
              <a:gd name="connsiteX27947" fmla="*/ 1333599 w 7714416"/>
              <a:gd name="connsiteY27947" fmla="*/ 513865 h 5282095"/>
              <a:gd name="connsiteX27948" fmla="*/ 1336368 w 7714416"/>
              <a:gd name="connsiteY27948" fmla="*/ 511272 h 5282095"/>
              <a:gd name="connsiteX27949" fmla="*/ 1335799 w 7714416"/>
              <a:gd name="connsiteY27949" fmla="*/ 510084 h 5282095"/>
              <a:gd name="connsiteX27950" fmla="*/ 1338835 w 7714416"/>
              <a:gd name="connsiteY27950" fmla="*/ 508712 h 5282095"/>
              <a:gd name="connsiteX27951" fmla="*/ 1018853 w 7714416"/>
              <a:gd name="connsiteY27951" fmla="*/ 508650 h 5282095"/>
              <a:gd name="connsiteX27952" fmla="*/ 1018097 w 7714416"/>
              <a:gd name="connsiteY27952" fmla="*/ 526963 h 5282095"/>
              <a:gd name="connsiteX27953" fmla="*/ 1009613 w 7714416"/>
              <a:gd name="connsiteY27953" fmla="*/ 508819 h 5282095"/>
              <a:gd name="connsiteX27954" fmla="*/ 1018853 w 7714416"/>
              <a:gd name="connsiteY27954" fmla="*/ 508650 h 5282095"/>
              <a:gd name="connsiteX27955" fmla="*/ 3788871 w 7714416"/>
              <a:gd name="connsiteY27955" fmla="*/ 507605 h 5282095"/>
              <a:gd name="connsiteX27956" fmla="*/ 3802569 w 7714416"/>
              <a:gd name="connsiteY27956" fmla="*/ 509334 h 5282095"/>
              <a:gd name="connsiteX27957" fmla="*/ 3808099 w 7714416"/>
              <a:gd name="connsiteY27957" fmla="*/ 514151 h 5282095"/>
              <a:gd name="connsiteX27958" fmla="*/ 3792708 w 7714416"/>
              <a:gd name="connsiteY27958" fmla="*/ 519571 h 5282095"/>
              <a:gd name="connsiteX27959" fmla="*/ 3786344 w 7714416"/>
              <a:gd name="connsiteY27959" fmla="*/ 517866 h 5282095"/>
              <a:gd name="connsiteX27960" fmla="*/ 3779783 w 7714416"/>
              <a:gd name="connsiteY27960" fmla="*/ 513578 h 5282095"/>
              <a:gd name="connsiteX27961" fmla="*/ 3788871 w 7714416"/>
              <a:gd name="connsiteY27961" fmla="*/ 507605 h 5282095"/>
              <a:gd name="connsiteX27962" fmla="*/ 1580952 w 7714416"/>
              <a:gd name="connsiteY27962" fmla="*/ 507448 h 5282095"/>
              <a:gd name="connsiteX27963" fmla="*/ 1599842 w 7714416"/>
              <a:gd name="connsiteY27963" fmla="*/ 508614 h 5282095"/>
              <a:gd name="connsiteX27964" fmla="*/ 1583438 w 7714416"/>
              <a:gd name="connsiteY27964" fmla="*/ 515603 h 5282095"/>
              <a:gd name="connsiteX27965" fmla="*/ 1563004 w 7714416"/>
              <a:gd name="connsiteY27965" fmla="*/ 514384 h 5282095"/>
              <a:gd name="connsiteX27966" fmla="*/ 1580952 w 7714416"/>
              <a:gd name="connsiteY27966" fmla="*/ 507448 h 5282095"/>
              <a:gd name="connsiteX27967" fmla="*/ 2436363 w 7714416"/>
              <a:gd name="connsiteY27967" fmla="*/ 506781 h 5282095"/>
              <a:gd name="connsiteX27968" fmla="*/ 2447195 w 7714416"/>
              <a:gd name="connsiteY27968" fmla="*/ 508417 h 5282095"/>
              <a:gd name="connsiteX27969" fmla="*/ 2449853 w 7714416"/>
              <a:gd name="connsiteY27969" fmla="*/ 511774 h 5282095"/>
              <a:gd name="connsiteX27970" fmla="*/ 2444718 w 7714416"/>
              <a:gd name="connsiteY27970" fmla="*/ 512124 h 5282095"/>
              <a:gd name="connsiteX27971" fmla="*/ 2442354 w 7714416"/>
              <a:gd name="connsiteY27971" fmla="*/ 509881 h 5282095"/>
              <a:gd name="connsiteX27972" fmla="*/ 2436953 w 7714416"/>
              <a:gd name="connsiteY27972" fmla="*/ 509008 h 5282095"/>
              <a:gd name="connsiteX27973" fmla="*/ 2436363 w 7714416"/>
              <a:gd name="connsiteY27973" fmla="*/ 506781 h 5282095"/>
              <a:gd name="connsiteX27974" fmla="*/ 3303530 w 7714416"/>
              <a:gd name="connsiteY27974" fmla="*/ 505684 h 5282095"/>
              <a:gd name="connsiteX27975" fmla="*/ 3315407 w 7714416"/>
              <a:gd name="connsiteY27975" fmla="*/ 511166 h 5282095"/>
              <a:gd name="connsiteX27976" fmla="*/ 3304314 w 7714416"/>
              <a:gd name="connsiteY27976" fmla="*/ 513829 h 5282095"/>
              <a:gd name="connsiteX27977" fmla="*/ 3303530 w 7714416"/>
              <a:gd name="connsiteY27977" fmla="*/ 505684 h 5282095"/>
              <a:gd name="connsiteX27978" fmla="*/ 3604596 w 7714416"/>
              <a:gd name="connsiteY27978" fmla="*/ 505508 h 5282095"/>
              <a:gd name="connsiteX27979" fmla="*/ 3613795 w 7714416"/>
              <a:gd name="connsiteY27979" fmla="*/ 515448 h 5282095"/>
              <a:gd name="connsiteX27980" fmla="*/ 3604596 w 7714416"/>
              <a:gd name="connsiteY27980" fmla="*/ 505508 h 5282095"/>
              <a:gd name="connsiteX27981" fmla="*/ 1999896 w 7714416"/>
              <a:gd name="connsiteY27981" fmla="*/ 505090 h 5282095"/>
              <a:gd name="connsiteX27982" fmla="*/ 2016214 w 7714416"/>
              <a:gd name="connsiteY27982" fmla="*/ 506444 h 5282095"/>
              <a:gd name="connsiteX27983" fmla="*/ 2020422 w 7714416"/>
              <a:gd name="connsiteY27983" fmla="*/ 516196 h 5282095"/>
              <a:gd name="connsiteX27984" fmla="*/ 1994642 w 7714416"/>
              <a:gd name="connsiteY27984" fmla="*/ 517224 h 5282095"/>
              <a:gd name="connsiteX27985" fmla="*/ 1999896 w 7714416"/>
              <a:gd name="connsiteY27985" fmla="*/ 505090 h 5282095"/>
              <a:gd name="connsiteX27986" fmla="*/ 1752946 w 7714416"/>
              <a:gd name="connsiteY27986" fmla="*/ 505017 h 5282095"/>
              <a:gd name="connsiteX27987" fmla="*/ 1765287 w 7714416"/>
              <a:gd name="connsiteY27987" fmla="*/ 505449 h 5282095"/>
              <a:gd name="connsiteX27988" fmla="*/ 1762264 w 7714416"/>
              <a:gd name="connsiteY27988" fmla="*/ 520049 h 5282095"/>
              <a:gd name="connsiteX27989" fmla="*/ 1746478 w 7714416"/>
              <a:gd name="connsiteY27989" fmla="*/ 511448 h 5282095"/>
              <a:gd name="connsiteX27990" fmla="*/ 1752946 w 7714416"/>
              <a:gd name="connsiteY27990" fmla="*/ 505017 h 5282095"/>
              <a:gd name="connsiteX27991" fmla="*/ 3418883 w 7714416"/>
              <a:gd name="connsiteY27991" fmla="*/ 504622 h 5282095"/>
              <a:gd name="connsiteX27992" fmla="*/ 3419017 w 7714416"/>
              <a:gd name="connsiteY27992" fmla="*/ 514088 h 5282095"/>
              <a:gd name="connsiteX27993" fmla="*/ 3414942 w 7714416"/>
              <a:gd name="connsiteY27993" fmla="*/ 513800 h 5282095"/>
              <a:gd name="connsiteX27994" fmla="*/ 3408746 w 7714416"/>
              <a:gd name="connsiteY27994" fmla="*/ 505931 h 5282095"/>
              <a:gd name="connsiteX27995" fmla="*/ 3418883 w 7714416"/>
              <a:gd name="connsiteY27995" fmla="*/ 504622 h 5282095"/>
              <a:gd name="connsiteX27996" fmla="*/ 3952755 w 7714416"/>
              <a:gd name="connsiteY27996" fmla="*/ 503346 h 5282095"/>
              <a:gd name="connsiteX27997" fmla="*/ 3959788 w 7714416"/>
              <a:gd name="connsiteY27997" fmla="*/ 504770 h 5282095"/>
              <a:gd name="connsiteX27998" fmla="*/ 3942437 w 7714416"/>
              <a:gd name="connsiteY27998" fmla="*/ 520822 h 5282095"/>
              <a:gd name="connsiteX27999" fmla="*/ 3939796 w 7714416"/>
              <a:gd name="connsiteY27999" fmla="*/ 518503 h 5282095"/>
              <a:gd name="connsiteX28000" fmla="*/ 3939829 w 7714416"/>
              <a:gd name="connsiteY28000" fmla="*/ 515062 h 5282095"/>
              <a:gd name="connsiteX28001" fmla="*/ 3947789 w 7714416"/>
              <a:gd name="connsiteY28001" fmla="*/ 506385 h 5282095"/>
              <a:gd name="connsiteX28002" fmla="*/ 3950301 w 7714416"/>
              <a:gd name="connsiteY28002" fmla="*/ 504758 h 5282095"/>
              <a:gd name="connsiteX28003" fmla="*/ 3952755 w 7714416"/>
              <a:gd name="connsiteY28003" fmla="*/ 503346 h 5282095"/>
              <a:gd name="connsiteX28004" fmla="*/ 3027828 w 7714416"/>
              <a:gd name="connsiteY28004" fmla="*/ 501961 h 5282095"/>
              <a:gd name="connsiteX28005" fmla="*/ 3016707 w 7714416"/>
              <a:gd name="connsiteY28005" fmla="*/ 513585 h 5282095"/>
              <a:gd name="connsiteX28006" fmla="*/ 3013339 w 7714416"/>
              <a:gd name="connsiteY28006" fmla="*/ 502908 h 5282095"/>
              <a:gd name="connsiteX28007" fmla="*/ 3027828 w 7714416"/>
              <a:gd name="connsiteY28007" fmla="*/ 501961 h 5282095"/>
              <a:gd name="connsiteX28008" fmla="*/ 2723881 w 7714416"/>
              <a:gd name="connsiteY28008" fmla="*/ 501825 h 5282095"/>
              <a:gd name="connsiteX28009" fmla="*/ 2726137 w 7714416"/>
              <a:gd name="connsiteY28009" fmla="*/ 515539 h 5282095"/>
              <a:gd name="connsiteX28010" fmla="*/ 2723881 w 7714416"/>
              <a:gd name="connsiteY28010" fmla="*/ 501825 h 5282095"/>
              <a:gd name="connsiteX28011" fmla="*/ 3547797 w 7714416"/>
              <a:gd name="connsiteY28011" fmla="*/ 501659 h 5282095"/>
              <a:gd name="connsiteX28012" fmla="*/ 3562526 w 7714416"/>
              <a:gd name="connsiteY28012" fmla="*/ 504240 h 5282095"/>
              <a:gd name="connsiteX28013" fmla="*/ 3567945 w 7714416"/>
              <a:gd name="connsiteY28013" fmla="*/ 515008 h 5282095"/>
              <a:gd name="connsiteX28014" fmla="*/ 3559838 w 7714416"/>
              <a:gd name="connsiteY28014" fmla="*/ 518700 h 5282095"/>
              <a:gd name="connsiteX28015" fmla="*/ 3554264 w 7714416"/>
              <a:gd name="connsiteY28015" fmla="*/ 518472 h 5282095"/>
              <a:gd name="connsiteX28016" fmla="*/ 3554192 w 7714416"/>
              <a:gd name="connsiteY28016" fmla="*/ 523167 h 5282095"/>
              <a:gd name="connsiteX28017" fmla="*/ 3554063 w 7714416"/>
              <a:gd name="connsiteY28017" fmla="*/ 528078 h 5282095"/>
              <a:gd name="connsiteX28018" fmla="*/ 3559799 w 7714416"/>
              <a:gd name="connsiteY28018" fmla="*/ 528810 h 5282095"/>
              <a:gd name="connsiteX28019" fmla="*/ 3560351 w 7714416"/>
              <a:gd name="connsiteY28019" fmla="*/ 528958 h 5282095"/>
              <a:gd name="connsiteX28020" fmla="*/ 3560190 w 7714416"/>
              <a:gd name="connsiteY28020" fmla="*/ 528455 h 5282095"/>
              <a:gd name="connsiteX28021" fmla="*/ 3589423 w 7714416"/>
              <a:gd name="connsiteY28021" fmla="*/ 546637 h 5282095"/>
              <a:gd name="connsiteX28022" fmla="*/ 3582761 w 7714416"/>
              <a:gd name="connsiteY28022" fmla="*/ 547153 h 5282095"/>
              <a:gd name="connsiteX28023" fmla="*/ 3581654 w 7714416"/>
              <a:gd name="connsiteY28023" fmla="*/ 546856 h 5282095"/>
              <a:gd name="connsiteX28024" fmla="*/ 3578240 w 7714416"/>
              <a:gd name="connsiteY28024" fmla="*/ 561811 h 5282095"/>
              <a:gd name="connsiteX28025" fmla="*/ 3576188 w 7714416"/>
              <a:gd name="connsiteY28025" fmla="*/ 561722 h 5282095"/>
              <a:gd name="connsiteX28026" fmla="*/ 3583832 w 7714416"/>
              <a:gd name="connsiteY28026" fmla="*/ 563080 h 5282095"/>
              <a:gd name="connsiteX28027" fmla="*/ 3585161 w 7714416"/>
              <a:gd name="connsiteY28027" fmla="*/ 569187 h 5282095"/>
              <a:gd name="connsiteX28028" fmla="*/ 3583231 w 7714416"/>
              <a:gd name="connsiteY28028" fmla="*/ 570854 h 5282095"/>
              <a:gd name="connsiteX28029" fmla="*/ 3587888 w 7714416"/>
              <a:gd name="connsiteY28029" fmla="*/ 571182 h 5282095"/>
              <a:gd name="connsiteX28030" fmla="*/ 3589197 w 7714416"/>
              <a:gd name="connsiteY28030" fmla="*/ 579583 h 5282095"/>
              <a:gd name="connsiteX28031" fmla="*/ 3580244 w 7714416"/>
              <a:gd name="connsiteY28031" fmla="*/ 578679 h 5282095"/>
              <a:gd name="connsiteX28032" fmla="*/ 3578427 w 7714416"/>
              <a:gd name="connsiteY28032" fmla="*/ 574397 h 5282095"/>
              <a:gd name="connsiteX28033" fmla="*/ 3572307 w 7714416"/>
              <a:gd name="connsiteY28033" fmla="*/ 576207 h 5282095"/>
              <a:gd name="connsiteX28034" fmla="*/ 3563852 w 7714416"/>
              <a:gd name="connsiteY28034" fmla="*/ 575666 h 5282095"/>
              <a:gd name="connsiteX28035" fmla="*/ 3564519 w 7714416"/>
              <a:gd name="connsiteY28035" fmla="*/ 566531 h 5282095"/>
              <a:gd name="connsiteX28036" fmla="*/ 3575329 w 7714416"/>
              <a:gd name="connsiteY28036" fmla="*/ 561607 h 5282095"/>
              <a:gd name="connsiteX28037" fmla="*/ 3573277 w 7714416"/>
              <a:gd name="connsiteY28037" fmla="*/ 561517 h 5282095"/>
              <a:gd name="connsiteX28038" fmla="*/ 3572407 w 7714416"/>
              <a:gd name="connsiteY28038" fmla="*/ 562549 h 5282095"/>
              <a:gd name="connsiteX28039" fmla="*/ 3568350 w 7714416"/>
              <a:gd name="connsiteY28039" fmla="*/ 563301 h 5282095"/>
              <a:gd name="connsiteX28040" fmla="*/ 3566540 w 7714416"/>
              <a:gd name="connsiteY28040" fmla="*/ 561206 h 5282095"/>
              <a:gd name="connsiteX28041" fmla="*/ 3560995 w 7714416"/>
              <a:gd name="connsiteY28041" fmla="*/ 560871 h 5282095"/>
              <a:gd name="connsiteX28042" fmla="*/ 3540702 w 7714416"/>
              <a:gd name="connsiteY28042" fmla="*/ 553594 h 5282095"/>
              <a:gd name="connsiteX28043" fmla="*/ 3536939 w 7714416"/>
              <a:gd name="connsiteY28043" fmla="*/ 555460 h 5282095"/>
              <a:gd name="connsiteX28044" fmla="*/ 3528232 w 7714416"/>
              <a:gd name="connsiteY28044" fmla="*/ 558072 h 5282095"/>
              <a:gd name="connsiteX28045" fmla="*/ 3521670 w 7714416"/>
              <a:gd name="connsiteY28045" fmla="*/ 553784 h 5282095"/>
              <a:gd name="connsiteX28046" fmla="*/ 3522877 w 7714416"/>
              <a:gd name="connsiteY28046" fmla="*/ 549277 h 5282095"/>
              <a:gd name="connsiteX28047" fmla="*/ 3529770 w 7714416"/>
              <a:gd name="connsiteY28047" fmla="*/ 547903 h 5282095"/>
              <a:gd name="connsiteX28048" fmla="*/ 3533816 w 7714416"/>
              <a:gd name="connsiteY28048" fmla="*/ 548298 h 5282095"/>
              <a:gd name="connsiteX28049" fmla="*/ 3532633 w 7714416"/>
              <a:gd name="connsiteY28049" fmla="*/ 547177 h 5282095"/>
              <a:gd name="connsiteX28050" fmla="*/ 3529512 w 7714416"/>
              <a:gd name="connsiteY28050" fmla="*/ 540015 h 5282095"/>
              <a:gd name="connsiteX28051" fmla="*/ 3545722 w 7714416"/>
              <a:gd name="connsiteY28051" fmla="*/ 527109 h 5282095"/>
              <a:gd name="connsiteX28052" fmla="*/ 3545999 w 7714416"/>
              <a:gd name="connsiteY28052" fmla="*/ 527183 h 5282095"/>
              <a:gd name="connsiteX28053" fmla="*/ 3546298 w 7714416"/>
              <a:gd name="connsiteY28053" fmla="*/ 524962 h 5282095"/>
              <a:gd name="connsiteX28054" fmla="*/ 3546948 w 7714416"/>
              <a:gd name="connsiteY28054" fmla="*/ 523642 h 5282095"/>
              <a:gd name="connsiteX28055" fmla="*/ 3547609 w 7714416"/>
              <a:gd name="connsiteY28055" fmla="*/ 521174 h 5282095"/>
              <a:gd name="connsiteX28056" fmla="*/ 3548328 w 7714416"/>
              <a:gd name="connsiteY28056" fmla="*/ 518491 h 5282095"/>
              <a:gd name="connsiteX28057" fmla="*/ 3548967 w 7714416"/>
              <a:gd name="connsiteY28057" fmla="*/ 518318 h 5282095"/>
              <a:gd name="connsiteX28058" fmla="*/ 3544493 w 7714416"/>
              <a:gd name="connsiteY28058" fmla="*/ 516199 h 5282095"/>
              <a:gd name="connsiteX28059" fmla="*/ 3547797 w 7714416"/>
              <a:gd name="connsiteY28059" fmla="*/ 501659 h 5282095"/>
              <a:gd name="connsiteX28060" fmla="*/ 2183541 w 7714416"/>
              <a:gd name="connsiteY28060" fmla="*/ 500678 h 5282095"/>
              <a:gd name="connsiteX28061" fmla="*/ 2189481 w 7714416"/>
              <a:gd name="connsiteY28061" fmla="*/ 506179 h 5282095"/>
              <a:gd name="connsiteX28062" fmla="*/ 2182586 w 7714416"/>
              <a:gd name="connsiteY28062" fmla="*/ 502031 h 5282095"/>
              <a:gd name="connsiteX28063" fmla="*/ 2183541 w 7714416"/>
              <a:gd name="connsiteY28063" fmla="*/ 500678 h 5282095"/>
              <a:gd name="connsiteX28064" fmla="*/ 2842289 w 7714416"/>
              <a:gd name="connsiteY28064" fmla="*/ 500432 h 5282095"/>
              <a:gd name="connsiteX28065" fmla="*/ 2876205 w 7714416"/>
              <a:gd name="connsiteY28065" fmla="*/ 504459 h 5282095"/>
              <a:gd name="connsiteX28066" fmla="*/ 2878846 w 7714416"/>
              <a:gd name="connsiteY28066" fmla="*/ 506777 h 5282095"/>
              <a:gd name="connsiteX28067" fmla="*/ 2879745 w 7714416"/>
              <a:gd name="connsiteY28067" fmla="*/ 505637 h 5282095"/>
              <a:gd name="connsiteX28068" fmla="*/ 2886461 w 7714416"/>
              <a:gd name="connsiteY28068" fmla="*/ 508242 h 5282095"/>
              <a:gd name="connsiteX28069" fmla="*/ 2886335 w 7714416"/>
              <a:gd name="connsiteY28069" fmla="*/ 509819 h 5282095"/>
              <a:gd name="connsiteX28070" fmla="*/ 2893472 w 7714416"/>
              <a:gd name="connsiteY28070" fmla="*/ 511961 h 5282095"/>
              <a:gd name="connsiteX28071" fmla="*/ 2893001 w 7714416"/>
              <a:gd name="connsiteY28071" fmla="*/ 523680 h 5282095"/>
              <a:gd name="connsiteX28072" fmla="*/ 2890794 w 7714416"/>
              <a:gd name="connsiteY28072" fmla="*/ 525273 h 5282095"/>
              <a:gd name="connsiteX28073" fmla="*/ 2888879 w 7714416"/>
              <a:gd name="connsiteY28073" fmla="*/ 531315 h 5282095"/>
              <a:gd name="connsiteX28074" fmla="*/ 2881534 w 7714416"/>
              <a:gd name="connsiteY28074" fmla="*/ 536592 h 5282095"/>
              <a:gd name="connsiteX28075" fmla="*/ 2873639 w 7714416"/>
              <a:gd name="connsiteY28075" fmla="*/ 538387 h 5282095"/>
              <a:gd name="connsiteX28076" fmla="*/ 2874516 w 7714416"/>
              <a:gd name="connsiteY28076" fmla="*/ 539542 h 5282095"/>
              <a:gd name="connsiteX28077" fmla="*/ 2873373 w 7714416"/>
              <a:gd name="connsiteY28077" fmla="*/ 546021 h 5282095"/>
              <a:gd name="connsiteX28078" fmla="*/ 2873229 w 7714416"/>
              <a:gd name="connsiteY28078" fmla="*/ 546557 h 5282095"/>
              <a:gd name="connsiteX28079" fmla="*/ 2877491 w 7714416"/>
              <a:gd name="connsiteY28079" fmla="*/ 550574 h 5282095"/>
              <a:gd name="connsiteX28080" fmla="*/ 2880434 w 7714416"/>
              <a:gd name="connsiteY28080" fmla="*/ 556192 h 5282095"/>
              <a:gd name="connsiteX28081" fmla="*/ 2880455 w 7714416"/>
              <a:gd name="connsiteY28081" fmla="*/ 562753 h 5282095"/>
              <a:gd name="connsiteX28082" fmla="*/ 2884127 w 7714416"/>
              <a:gd name="connsiteY28082" fmla="*/ 564543 h 5282095"/>
              <a:gd name="connsiteX28083" fmla="*/ 2871514 w 7714416"/>
              <a:gd name="connsiteY28083" fmla="*/ 578413 h 5282095"/>
              <a:gd name="connsiteX28084" fmla="*/ 2870523 w 7714416"/>
              <a:gd name="connsiteY28084" fmla="*/ 577688 h 5282095"/>
              <a:gd name="connsiteX28085" fmla="*/ 2862968 w 7714416"/>
              <a:gd name="connsiteY28085" fmla="*/ 581528 h 5282095"/>
              <a:gd name="connsiteX28086" fmla="*/ 2834716 w 7714416"/>
              <a:gd name="connsiteY28086" fmla="*/ 582929 h 5282095"/>
              <a:gd name="connsiteX28087" fmla="*/ 2808383 w 7714416"/>
              <a:gd name="connsiteY28087" fmla="*/ 557242 h 5282095"/>
              <a:gd name="connsiteX28088" fmla="*/ 2810097 w 7714416"/>
              <a:gd name="connsiteY28088" fmla="*/ 551951 h 5282095"/>
              <a:gd name="connsiteX28089" fmla="*/ 2809849 w 7714416"/>
              <a:gd name="connsiteY28089" fmla="*/ 551770 h 5282095"/>
              <a:gd name="connsiteX28090" fmla="*/ 2810978 w 7714416"/>
              <a:gd name="connsiteY28090" fmla="*/ 549772 h 5282095"/>
              <a:gd name="connsiteX28091" fmla="*/ 2811438 w 7714416"/>
              <a:gd name="connsiteY28091" fmla="*/ 548056 h 5282095"/>
              <a:gd name="connsiteX28092" fmla="*/ 2822952 w 7714416"/>
              <a:gd name="connsiteY28092" fmla="*/ 536075 h 5282095"/>
              <a:gd name="connsiteX28093" fmla="*/ 2832115 w 7714416"/>
              <a:gd name="connsiteY28093" fmla="*/ 526225 h 5282095"/>
              <a:gd name="connsiteX28094" fmla="*/ 2831372 w 7714416"/>
              <a:gd name="connsiteY28094" fmla="*/ 525681 h 5282095"/>
              <a:gd name="connsiteX28095" fmla="*/ 2835731 w 7714416"/>
              <a:gd name="connsiteY28095" fmla="*/ 510519 h 5282095"/>
              <a:gd name="connsiteX28096" fmla="*/ 2838857 w 7714416"/>
              <a:gd name="connsiteY28096" fmla="*/ 505492 h 5282095"/>
              <a:gd name="connsiteX28097" fmla="*/ 2837197 w 7714416"/>
              <a:gd name="connsiteY28097" fmla="*/ 505047 h 5282095"/>
              <a:gd name="connsiteX28098" fmla="*/ 2836234 w 7714416"/>
              <a:gd name="connsiteY28098" fmla="*/ 504214 h 5282095"/>
              <a:gd name="connsiteX28099" fmla="*/ 2836550 w 7714416"/>
              <a:gd name="connsiteY28099" fmla="*/ 503033 h 5282095"/>
              <a:gd name="connsiteX28100" fmla="*/ 2839680 w 7714416"/>
              <a:gd name="connsiteY28100" fmla="*/ 503528 h 5282095"/>
              <a:gd name="connsiteX28101" fmla="*/ 2839900 w 7714416"/>
              <a:gd name="connsiteY28101" fmla="*/ 503816 h 5282095"/>
              <a:gd name="connsiteX28102" fmla="*/ 3424530 w 7714416"/>
              <a:gd name="connsiteY28102" fmla="*/ 500154 h 5282095"/>
              <a:gd name="connsiteX28103" fmla="*/ 3429539 w 7714416"/>
              <a:gd name="connsiteY28103" fmla="*/ 501382 h 5282095"/>
              <a:gd name="connsiteX28104" fmla="*/ 3431552 w 7714416"/>
              <a:gd name="connsiteY28104" fmla="*/ 502726 h 5282095"/>
              <a:gd name="connsiteX28105" fmla="*/ 3433326 w 7714416"/>
              <a:gd name="connsiteY28105" fmla="*/ 502742 h 5282095"/>
              <a:gd name="connsiteX28106" fmla="*/ 3433316 w 7714416"/>
              <a:gd name="connsiteY28106" fmla="*/ 503889 h 5282095"/>
              <a:gd name="connsiteX28107" fmla="*/ 3436816 w 7714416"/>
              <a:gd name="connsiteY28107" fmla="*/ 506322 h 5282095"/>
              <a:gd name="connsiteX28108" fmla="*/ 3447683 w 7714416"/>
              <a:gd name="connsiteY28108" fmla="*/ 510038 h 5282095"/>
              <a:gd name="connsiteX28109" fmla="*/ 3451287 w 7714416"/>
              <a:gd name="connsiteY28109" fmla="*/ 513190 h 5282095"/>
              <a:gd name="connsiteX28110" fmla="*/ 3453595 w 7714416"/>
              <a:gd name="connsiteY28110" fmla="*/ 515648 h 5282095"/>
              <a:gd name="connsiteX28111" fmla="*/ 3459243 w 7714416"/>
              <a:gd name="connsiteY28111" fmla="*/ 516702 h 5282095"/>
              <a:gd name="connsiteX28112" fmla="*/ 3468942 w 7714416"/>
              <a:gd name="connsiteY28112" fmla="*/ 550235 h 5282095"/>
              <a:gd name="connsiteX28113" fmla="*/ 3467205 w 7714416"/>
              <a:gd name="connsiteY28113" fmla="*/ 557820 h 5282095"/>
              <a:gd name="connsiteX28114" fmla="*/ 3475666 w 7714416"/>
              <a:gd name="connsiteY28114" fmla="*/ 555027 h 5282095"/>
              <a:gd name="connsiteX28115" fmla="*/ 3499257 w 7714416"/>
              <a:gd name="connsiteY28115" fmla="*/ 556633 h 5282095"/>
              <a:gd name="connsiteX28116" fmla="*/ 3511069 w 7714416"/>
              <a:gd name="connsiteY28116" fmla="*/ 560143 h 5282095"/>
              <a:gd name="connsiteX28117" fmla="*/ 3516693 w 7714416"/>
              <a:gd name="connsiteY28117" fmla="*/ 557971 h 5282095"/>
              <a:gd name="connsiteX28118" fmla="*/ 3517127 w 7714416"/>
              <a:gd name="connsiteY28118" fmla="*/ 561881 h 5282095"/>
              <a:gd name="connsiteX28119" fmla="*/ 3524293 w 7714416"/>
              <a:gd name="connsiteY28119" fmla="*/ 563916 h 5282095"/>
              <a:gd name="connsiteX28120" fmla="*/ 3567671 w 7714416"/>
              <a:gd name="connsiteY28120" fmla="*/ 591295 h 5282095"/>
              <a:gd name="connsiteX28121" fmla="*/ 3569176 w 7714416"/>
              <a:gd name="connsiteY28121" fmla="*/ 593423 h 5282095"/>
              <a:gd name="connsiteX28122" fmla="*/ 3575342 w 7714416"/>
              <a:gd name="connsiteY28122" fmla="*/ 592547 h 5282095"/>
              <a:gd name="connsiteX28123" fmla="*/ 3576687 w 7714416"/>
              <a:gd name="connsiteY28123" fmla="*/ 594171 h 5282095"/>
              <a:gd name="connsiteX28124" fmla="*/ 3573050 w 7714416"/>
              <a:gd name="connsiteY28124" fmla="*/ 594462 h 5282095"/>
              <a:gd name="connsiteX28125" fmla="*/ 3570273 w 7714416"/>
              <a:gd name="connsiteY28125" fmla="*/ 594868 h 5282095"/>
              <a:gd name="connsiteX28126" fmla="*/ 3580183 w 7714416"/>
              <a:gd name="connsiteY28126" fmla="*/ 608793 h 5282095"/>
              <a:gd name="connsiteX28127" fmla="*/ 3547312 w 7714416"/>
              <a:gd name="connsiteY28127" fmla="*/ 661742 h 5282095"/>
              <a:gd name="connsiteX28128" fmla="*/ 3525829 w 7714416"/>
              <a:gd name="connsiteY28128" fmla="*/ 660010 h 5282095"/>
              <a:gd name="connsiteX28129" fmla="*/ 3514438 w 7714416"/>
              <a:gd name="connsiteY28129" fmla="*/ 656038 h 5282095"/>
              <a:gd name="connsiteX28130" fmla="*/ 3513044 w 7714416"/>
              <a:gd name="connsiteY28130" fmla="*/ 656814 h 5282095"/>
              <a:gd name="connsiteX28131" fmla="*/ 3511366 w 7714416"/>
              <a:gd name="connsiteY28131" fmla="*/ 655329 h 5282095"/>
              <a:gd name="connsiteX28132" fmla="*/ 3509651 w 7714416"/>
              <a:gd name="connsiteY28132" fmla="*/ 660620 h 5282095"/>
              <a:gd name="connsiteX28133" fmla="*/ 3499456 w 7714416"/>
              <a:gd name="connsiteY28133" fmla="*/ 653289 h 5282095"/>
              <a:gd name="connsiteX28134" fmla="*/ 3501968 w 7714416"/>
              <a:gd name="connsiteY28134" fmla="*/ 651661 h 5282095"/>
              <a:gd name="connsiteX28135" fmla="*/ 3504659 w 7714416"/>
              <a:gd name="connsiteY28135" fmla="*/ 651578 h 5282095"/>
              <a:gd name="connsiteX28136" fmla="*/ 3493376 w 7714416"/>
              <a:gd name="connsiteY28136" fmla="*/ 644989 h 5282095"/>
              <a:gd name="connsiteX28137" fmla="*/ 3466029 w 7714416"/>
              <a:gd name="connsiteY28137" fmla="*/ 620871 h 5282095"/>
              <a:gd name="connsiteX28138" fmla="*/ 3461380 w 7714416"/>
              <a:gd name="connsiteY28138" fmla="*/ 613875 h 5282095"/>
              <a:gd name="connsiteX28139" fmla="*/ 3458013 w 7714416"/>
              <a:gd name="connsiteY28139" fmla="*/ 612053 h 5282095"/>
              <a:gd name="connsiteX28140" fmla="*/ 3457833 w 7714416"/>
              <a:gd name="connsiteY28140" fmla="*/ 610510 h 5282095"/>
              <a:gd name="connsiteX28141" fmla="*/ 3457333 w 7714416"/>
              <a:gd name="connsiteY28141" fmla="*/ 613481 h 5282095"/>
              <a:gd name="connsiteX28142" fmla="*/ 3452453 w 7714416"/>
              <a:gd name="connsiteY28142" fmla="*/ 616198 h 5282095"/>
              <a:gd name="connsiteX28143" fmla="*/ 3440084 w 7714416"/>
              <a:gd name="connsiteY28143" fmla="*/ 607019 h 5282095"/>
              <a:gd name="connsiteX28144" fmla="*/ 3441759 w 7714416"/>
              <a:gd name="connsiteY28144" fmla="*/ 602983 h 5282095"/>
              <a:gd name="connsiteX28145" fmla="*/ 3438686 w 7714416"/>
              <a:gd name="connsiteY28145" fmla="*/ 602275 h 5282095"/>
              <a:gd name="connsiteX28146" fmla="*/ 3434460 w 7714416"/>
              <a:gd name="connsiteY28146" fmla="*/ 600337 h 5282095"/>
              <a:gd name="connsiteX28147" fmla="*/ 3441094 w 7714416"/>
              <a:gd name="connsiteY28147" fmla="*/ 599930 h 5282095"/>
              <a:gd name="connsiteX28148" fmla="*/ 3442611 w 7714416"/>
              <a:gd name="connsiteY28148" fmla="*/ 600911 h 5282095"/>
              <a:gd name="connsiteX28149" fmla="*/ 3443969 w 7714416"/>
              <a:gd name="connsiteY28149" fmla="*/ 598055 h 5282095"/>
              <a:gd name="connsiteX28150" fmla="*/ 3451405 w 7714416"/>
              <a:gd name="connsiteY28150" fmla="*/ 597977 h 5282095"/>
              <a:gd name="connsiteX28151" fmla="*/ 3448918 w 7714416"/>
              <a:gd name="connsiteY28151" fmla="*/ 593975 h 5282095"/>
              <a:gd name="connsiteX28152" fmla="*/ 3446747 w 7714416"/>
              <a:gd name="connsiteY28152" fmla="*/ 571083 h 5282095"/>
              <a:gd name="connsiteX28153" fmla="*/ 3449834 w 7714416"/>
              <a:gd name="connsiteY28153" fmla="*/ 567311 h 5282095"/>
              <a:gd name="connsiteX28154" fmla="*/ 3443039 w 7714416"/>
              <a:gd name="connsiteY28154" fmla="*/ 567216 h 5282095"/>
              <a:gd name="connsiteX28155" fmla="*/ 3439500 w 7714416"/>
              <a:gd name="connsiteY28155" fmla="*/ 566036 h 5282095"/>
              <a:gd name="connsiteX28156" fmla="*/ 3439610 w 7714416"/>
              <a:gd name="connsiteY28156" fmla="*/ 568942 h 5282095"/>
              <a:gd name="connsiteX28157" fmla="*/ 3432606 w 7714416"/>
              <a:gd name="connsiteY28157" fmla="*/ 567410 h 5282095"/>
              <a:gd name="connsiteX28158" fmla="*/ 3423346 w 7714416"/>
              <a:gd name="connsiteY28158" fmla="*/ 561019 h 5282095"/>
              <a:gd name="connsiteX28159" fmla="*/ 3421714 w 7714416"/>
              <a:gd name="connsiteY28159" fmla="*/ 560467 h 5282095"/>
              <a:gd name="connsiteX28160" fmla="*/ 3421697 w 7714416"/>
              <a:gd name="connsiteY28160" fmla="*/ 559427 h 5282095"/>
              <a:gd name="connsiteX28161" fmla="*/ 3415606 w 7714416"/>
              <a:gd name="connsiteY28161" fmla="*/ 552275 h 5282095"/>
              <a:gd name="connsiteX28162" fmla="*/ 3418973 w 7714416"/>
              <a:gd name="connsiteY28162" fmla="*/ 545241 h 5282095"/>
              <a:gd name="connsiteX28163" fmla="*/ 3421672 w 7714416"/>
              <a:gd name="connsiteY28163" fmla="*/ 547345 h 5282095"/>
              <a:gd name="connsiteX28164" fmla="*/ 3421622 w 7714416"/>
              <a:gd name="connsiteY28164" fmla="*/ 540892 h 5282095"/>
              <a:gd name="connsiteX28165" fmla="*/ 3418459 w 7714416"/>
              <a:gd name="connsiteY28165" fmla="*/ 543838 h 5282095"/>
              <a:gd name="connsiteX28166" fmla="*/ 3407772 w 7714416"/>
              <a:gd name="connsiteY28166" fmla="*/ 541666 h 5282095"/>
              <a:gd name="connsiteX28167" fmla="*/ 3391594 w 7714416"/>
              <a:gd name="connsiteY28167" fmla="*/ 524565 h 5282095"/>
              <a:gd name="connsiteX28168" fmla="*/ 3414392 w 7714416"/>
              <a:gd name="connsiteY28168" fmla="*/ 519173 h 5282095"/>
              <a:gd name="connsiteX28169" fmla="*/ 3419361 w 7714416"/>
              <a:gd name="connsiteY28169" fmla="*/ 521655 h 5282095"/>
              <a:gd name="connsiteX28170" fmla="*/ 3427360 w 7714416"/>
              <a:gd name="connsiteY28170" fmla="*/ 520579 h 5282095"/>
              <a:gd name="connsiteX28171" fmla="*/ 3430710 w 7714416"/>
              <a:gd name="connsiteY28171" fmla="*/ 521360 h 5282095"/>
              <a:gd name="connsiteX28172" fmla="*/ 3435155 w 7714416"/>
              <a:gd name="connsiteY28172" fmla="*/ 514732 h 5282095"/>
              <a:gd name="connsiteX28173" fmla="*/ 3439899 w 7714416"/>
              <a:gd name="connsiteY28173" fmla="*/ 514738 h 5282095"/>
              <a:gd name="connsiteX28174" fmla="*/ 3430448 w 7714416"/>
              <a:gd name="connsiteY28174" fmla="*/ 507951 h 5282095"/>
              <a:gd name="connsiteX28175" fmla="*/ 3424530 w 7714416"/>
              <a:gd name="connsiteY28175" fmla="*/ 500154 h 5282095"/>
              <a:gd name="connsiteX28176" fmla="*/ 2452797 w 7714416"/>
              <a:gd name="connsiteY28176" fmla="*/ 499683 h 5282095"/>
              <a:gd name="connsiteX28177" fmla="*/ 2456660 w 7714416"/>
              <a:gd name="connsiteY28177" fmla="*/ 501869 h 5282095"/>
              <a:gd name="connsiteX28178" fmla="*/ 2460506 w 7714416"/>
              <a:gd name="connsiteY28178" fmla="*/ 503014 h 5282095"/>
              <a:gd name="connsiteX28179" fmla="*/ 2461331 w 7714416"/>
              <a:gd name="connsiteY28179" fmla="*/ 506571 h 5282095"/>
              <a:gd name="connsiteX28180" fmla="*/ 2457734 w 7714416"/>
              <a:gd name="connsiteY28180" fmla="*/ 505607 h 5282095"/>
              <a:gd name="connsiteX28181" fmla="*/ 2448234 w 7714416"/>
              <a:gd name="connsiteY28181" fmla="*/ 501221 h 5282095"/>
              <a:gd name="connsiteX28182" fmla="*/ 2452797 w 7714416"/>
              <a:gd name="connsiteY28182" fmla="*/ 499683 h 5282095"/>
              <a:gd name="connsiteX28183" fmla="*/ 3507757 w 7714416"/>
              <a:gd name="connsiteY28183" fmla="*/ 499455 h 5282095"/>
              <a:gd name="connsiteX28184" fmla="*/ 3513787 w 7714416"/>
              <a:gd name="connsiteY28184" fmla="*/ 501301 h 5282095"/>
              <a:gd name="connsiteX28185" fmla="*/ 3499149 w 7714416"/>
              <a:gd name="connsiteY28185" fmla="*/ 523829 h 5282095"/>
              <a:gd name="connsiteX28186" fmla="*/ 3493893 w 7714416"/>
              <a:gd name="connsiteY28186" fmla="*/ 522420 h 5282095"/>
              <a:gd name="connsiteX28187" fmla="*/ 3487302 w 7714416"/>
              <a:gd name="connsiteY28187" fmla="*/ 518240 h 5282095"/>
              <a:gd name="connsiteX28188" fmla="*/ 3491902 w 7714416"/>
              <a:gd name="connsiteY28188" fmla="*/ 501072 h 5282095"/>
              <a:gd name="connsiteX28189" fmla="*/ 3507757 w 7714416"/>
              <a:gd name="connsiteY28189" fmla="*/ 499455 h 5282095"/>
              <a:gd name="connsiteX28190" fmla="*/ 3097677 w 7714416"/>
              <a:gd name="connsiteY28190" fmla="*/ 499171 h 5282095"/>
              <a:gd name="connsiteX28191" fmla="*/ 3082914 w 7714416"/>
              <a:gd name="connsiteY28191" fmla="*/ 514421 h 5282095"/>
              <a:gd name="connsiteX28192" fmla="*/ 3079579 w 7714416"/>
              <a:gd name="connsiteY28192" fmla="*/ 509157 h 5282095"/>
              <a:gd name="connsiteX28193" fmla="*/ 3097677 w 7714416"/>
              <a:gd name="connsiteY28193" fmla="*/ 499171 h 5282095"/>
              <a:gd name="connsiteX28194" fmla="*/ 2891683 w 7714416"/>
              <a:gd name="connsiteY28194" fmla="*/ 498716 h 5282095"/>
              <a:gd name="connsiteX28195" fmla="*/ 2896031 w 7714416"/>
              <a:gd name="connsiteY28195" fmla="*/ 502412 h 5282095"/>
              <a:gd name="connsiteX28196" fmla="*/ 2894360 w 7714416"/>
              <a:gd name="connsiteY28196" fmla="*/ 503113 h 5282095"/>
              <a:gd name="connsiteX28197" fmla="*/ 2895992 w 7714416"/>
              <a:gd name="connsiteY28197" fmla="*/ 503665 h 5282095"/>
              <a:gd name="connsiteX28198" fmla="*/ 2893692 w 7714416"/>
              <a:gd name="connsiteY28198" fmla="*/ 503394 h 5282095"/>
              <a:gd name="connsiteX28199" fmla="*/ 2892700 w 7714416"/>
              <a:gd name="connsiteY28199" fmla="*/ 502668 h 5282095"/>
              <a:gd name="connsiteX28200" fmla="*/ 2891683 w 7714416"/>
              <a:gd name="connsiteY28200" fmla="*/ 498716 h 5282095"/>
              <a:gd name="connsiteX28201" fmla="*/ 3525520 w 7714416"/>
              <a:gd name="connsiteY28201" fmla="*/ 498465 h 5282095"/>
              <a:gd name="connsiteX28202" fmla="*/ 3533669 w 7714416"/>
              <a:gd name="connsiteY28202" fmla="*/ 525604 h 5282095"/>
              <a:gd name="connsiteX28203" fmla="*/ 3523834 w 7714416"/>
              <a:gd name="connsiteY28203" fmla="*/ 512504 h 5282095"/>
              <a:gd name="connsiteX28204" fmla="*/ 3525520 w 7714416"/>
              <a:gd name="connsiteY28204" fmla="*/ 498465 h 5282095"/>
              <a:gd name="connsiteX28205" fmla="*/ 2121212 w 7714416"/>
              <a:gd name="connsiteY28205" fmla="*/ 497547 h 5282095"/>
              <a:gd name="connsiteX28206" fmla="*/ 2121721 w 7714416"/>
              <a:gd name="connsiteY28206" fmla="*/ 502283 h 5282095"/>
              <a:gd name="connsiteX28207" fmla="*/ 2118477 w 7714416"/>
              <a:gd name="connsiteY28207" fmla="*/ 502219 h 5282095"/>
              <a:gd name="connsiteX28208" fmla="*/ 2093570 w 7714416"/>
              <a:gd name="connsiteY28208" fmla="*/ 507736 h 5282095"/>
              <a:gd name="connsiteX28209" fmla="*/ 2121212 w 7714416"/>
              <a:gd name="connsiteY28209" fmla="*/ 497547 h 5282095"/>
              <a:gd name="connsiteX28210" fmla="*/ 1701569 w 7714416"/>
              <a:gd name="connsiteY28210" fmla="*/ 496426 h 5282095"/>
              <a:gd name="connsiteX28211" fmla="*/ 1707722 w 7714416"/>
              <a:gd name="connsiteY28211" fmla="*/ 508884 h 5282095"/>
              <a:gd name="connsiteX28212" fmla="*/ 1698159 w 7714416"/>
              <a:gd name="connsiteY28212" fmla="*/ 508046 h 5282095"/>
              <a:gd name="connsiteX28213" fmla="*/ 1692714 w 7714416"/>
              <a:gd name="connsiteY28213" fmla="*/ 502908 h 5282095"/>
              <a:gd name="connsiteX28214" fmla="*/ 1692948 w 7714416"/>
              <a:gd name="connsiteY28214" fmla="*/ 498716 h 5282095"/>
              <a:gd name="connsiteX28215" fmla="*/ 1701569 w 7714416"/>
              <a:gd name="connsiteY28215" fmla="*/ 496426 h 5282095"/>
              <a:gd name="connsiteX28216" fmla="*/ 2020063 w 7714416"/>
              <a:gd name="connsiteY28216" fmla="*/ 495399 h 5282095"/>
              <a:gd name="connsiteX28217" fmla="*/ 2022083 w 7714416"/>
              <a:gd name="connsiteY28217" fmla="*/ 498930 h 5282095"/>
              <a:gd name="connsiteX28218" fmla="*/ 2019094 w 7714416"/>
              <a:gd name="connsiteY28218" fmla="*/ 501234 h 5282095"/>
              <a:gd name="connsiteX28219" fmla="*/ 2017296 w 7714416"/>
              <a:gd name="connsiteY28219" fmla="*/ 503514 h 5282095"/>
              <a:gd name="connsiteX28220" fmla="*/ 2014985 w 7714416"/>
              <a:gd name="connsiteY28220" fmla="*/ 504389 h 5282095"/>
              <a:gd name="connsiteX28221" fmla="*/ 2012276 w 7714416"/>
              <a:gd name="connsiteY28221" fmla="*/ 503434 h 5282095"/>
              <a:gd name="connsiteX28222" fmla="*/ 2013796 w 7714416"/>
              <a:gd name="connsiteY28222" fmla="*/ 501081 h 5282095"/>
              <a:gd name="connsiteX28223" fmla="*/ 2020063 w 7714416"/>
              <a:gd name="connsiteY28223" fmla="*/ 495399 h 5282095"/>
              <a:gd name="connsiteX28224" fmla="*/ 3240549 w 7714416"/>
              <a:gd name="connsiteY28224" fmla="*/ 495019 h 5282095"/>
              <a:gd name="connsiteX28225" fmla="*/ 3241269 w 7714416"/>
              <a:gd name="connsiteY28225" fmla="*/ 510046 h 5282095"/>
              <a:gd name="connsiteX28226" fmla="*/ 3240549 w 7714416"/>
              <a:gd name="connsiteY28226" fmla="*/ 495019 h 5282095"/>
              <a:gd name="connsiteX28227" fmla="*/ 3055640 w 7714416"/>
              <a:gd name="connsiteY28227" fmla="*/ 494462 h 5282095"/>
              <a:gd name="connsiteX28228" fmla="*/ 3068335 w 7714416"/>
              <a:gd name="connsiteY28228" fmla="*/ 501315 h 5282095"/>
              <a:gd name="connsiteX28229" fmla="*/ 3060526 w 7714416"/>
              <a:gd name="connsiteY28229" fmla="*/ 511641 h 5282095"/>
              <a:gd name="connsiteX28230" fmla="*/ 3048135 w 7714416"/>
              <a:gd name="connsiteY28230" fmla="*/ 495902 h 5282095"/>
              <a:gd name="connsiteX28231" fmla="*/ 3055640 w 7714416"/>
              <a:gd name="connsiteY28231" fmla="*/ 494462 h 5282095"/>
              <a:gd name="connsiteX28232" fmla="*/ 2044136 w 7714416"/>
              <a:gd name="connsiteY28232" fmla="*/ 492995 h 5282095"/>
              <a:gd name="connsiteX28233" fmla="*/ 2047630 w 7714416"/>
              <a:gd name="connsiteY28233" fmla="*/ 493241 h 5282095"/>
              <a:gd name="connsiteX28234" fmla="*/ 2047557 w 7714416"/>
              <a:gd name="connsiteY28234" fmla="*/ 497937 h 5282095"/>
              <a:gd name="connsiteX28235" fmla="*/ 2044323 w 7714416"/>
              <a:gd name="connsiteY28235" fmla="*/ 496725 h 5282095"/>
              <a:gd name="connsiteX28236" fmla="*/ 2044007 w 7714416"/>
              <a:gd name="connsiteY28236" fmla="*/ 497905 h 5282095"/>
              <a:gd name="connsiteX28237" fmla="*/ 2041367 w 7714416"/>
              <a:gd name="connsiteY28237" fmla="*/ 495588 h 5282095"/>
              <a:gd name="connsiteX28238" fmla="*/ 2041654 w 7714416"/>
              <a:gd name="connsiteY28238" fmla="*/ 494514 h 5282095"/>
              <a:gd name="connsiteX28239" fmla="*/ 2041711 w 7714416"/>
              <a:gd name="connsiteY28239" fmla="*/ 494300 h 5282095"/>
              <a:gd name="connsiteX28240" fmla="*/ 2044136 w 7714416"/>
              <a:gd name="connsiteY28240" fmla="*/ 492995 h 5282095"/>
              <a:gd name="connsiteX28241" fmla="*/ 4143872 w 7714416"/>
              <a:gd name="connsiteY28241" fmla="*/ 492914 h 5282095"/>
              <a:gd name="connsiteX28242" fmla="*/ 4154854 w 7714416"/>
              <a:gd name="connsiteY28242" fmla="*/ 496202 h 5282095"/>
              <a:gd name="connsiteX28243" fmla="*/ 4160452 w 7714416"/>
              <a:gd name="connsiteY28243" fmla="*/ 517367 h 5282095"/>
              <a:gd name="connsiteX28244" fmla="*/ 4157490 w 7714416"/>
              <a:gd name="connsiteY28244" fmla="*/ 519564 h 5282095"/>
              <a:gd name="connsiteX28245" fmla="*/ 4154479 w 7714416"/>
              <a:gd name="connsiteY28245" fmla="*/ 524162 h 5282095"/>
              <a:gd name="connsiteX28246" fmla="*/ 4140224 w 7714416"/>
              <a:gd name="connsiteY28246" fmla="*/ 520917 h 5282095"/>
              <a:gd name="connsiteX28247" fmla="*/ 4133593 w 7714416"/>
              <a:gd name="connsiteY28247" fmla="*/ 517990 h 5282095"/>
              <a:gd name="connsiteX28248" fmla="*/ 4122630 w 7714416"/>
              <a:gd name="connsiteY28248" fmla="*/ 506887 h 5282095"/>
              <a:gd name="connsiteX28249" fmla="*/ 4126266 w 7714416"/>
              <a:gd name="connsiteY28249" fmla="*/ 497742 h 5282095"/>
              <a:gd name="connsiteX28250" fmla="*/ 4143872 w 7714416"/>
              <a:gd name="connsiteY28250" fmla="*/ 492914 h 5282095"/>
              <a:gd name="connsiteX28251" fmla="*/ 2946970 w 7714416"/>
              <a:gd name="connsiteY28251" fmla="*/ 492715 h 5282095"/>
              <a:gd name="connsiteX28252" fmla="*/ 2959044 w 7714416"/>
              <a:gd name="connsiteY28252" fmla="*/ 509636 h 5282095"/>
              <a:gd name="connsiteX28253" fmla="*/ 2938687 w 7714416"/>
              <a:gd name="connsiteY28253" fmla="*/ 509240 h 5282095"/>
              <a:gd name="connsiteX28254" fmla="*/ 2937619 w 7714416"/>
              <a:gd name="connsiteY28254" fmla="*/ 507689 h 5282095"/>
              <a:gd name="connsiteX28255" fmla="*/ 2935758 w 7714416"/>
              <a:gd name="connsiteY28255" fmla="*/ 507996 h 5282095"/>
              <a:gd name="connsiteX28256" fmla="*/ 2923209 w 7714416"/>
              <a:gd name="connsiteY28256" fmla="*/ 506128 h 5282095"/>
              <a:gd name="connsiteX28257" fmla="*/ 2929257 w 7714416"/>
              <a:gd name="connsiteY28257" fmla="*/ 500159 h 5282095"/>
              <a:gd name="connsiteX28258" fmla="*/ 2934878 w 7714416"/>
              <a:gd name="connsiteY28258" fmla="*/ 501320 h 5282095"/>
              <a:gd name="connsiteX28259" fmla="*/ 2935435 w 7714416"/>
              <a:gd name="connsiteY28259" fmla="*/ 498134 h 5282095"/>
              <a:gd name="connsiteX28260" fmla="*/ 2946970 w 7714416"/>
              <a:gd name="connsiteY28260" fmla="*/ 492715 h 5282095"/>
              <a:gd name="connsiteX28261" fmla="*/ 1539636 w 7714416"/>
              <a:gd name="connsiteY28261" fmla="*/ 492021 h 5282095"/>
              <a:gd name="connsiteX28262" fmla="*/ 1564093 w 7714416"/>
              <a:gd name="connsiteY28262" fmla="*/ 522495 h 5282095"/>
              <a:gd name="connsiteX28263" fmla="*/ 1539636 w 7714416"/>
              <a:gd name="connsiteY28263" fmla="*/ 492021 h 5282095"/>
              <a:gd name="connsiteX28264" fmla="*/ 2801446 w 7714416"/>
              <a:gd name="connsiteY28264" fmla="*/ 491940 h 5282095"/>
              <a:gd name="connsiteX28265" fmla="*/ 2802192 w 7714416"/>
              <a:gd name="connsiteY28265" fmla="*/ 501762 h 5282095"/>
              <a:gd name="connsiteX28266" fmla="*/ 2795484 w 7714416"/>
              <a:gd name="connsiteY28266" fmla="*/ 492490 h 5282095"/>
              <a:gd name="connsiteX28267" fmla="*/ 2801446 w 7714416"/>
              <a:gd name="connsiteY28267" fmla="*/ 491940 h 5282095"/>
              <a:gd name="connsiteX28268" fmla="*/ 1237159 w 7714416"/>
              <a:gd name="connsiteY28268" fmla="*/ 491934 h 5282095"/>
              <a:gd name="connsiteX28269" fmla="*/ 1261292 w 7714416"/>
              <a:gd name="connsiteY28269" fmla="*/ 503691 h 5282095"/>
              <a:gd name="connsiteX28270" fmla="*/ 1250119 w 7714416"/>
              <a:gd name="connsiteY28270" fmla="*/ 508862 h 5282095"/>
              <a:gd name="connsiteX28271" fmla="*/ 1238279 w 7714416"/>
              <a:gd name="connsiteY28271" fmla="*/ 496604 h 5282095"/>
              <a:gd name="connsiteX28272" fmla="*/ 1237159 w 7714416"/>
              <a:gd name="connsiteY28272" fmla="*/ 491934 h 5282095"/>
              <a:gd name="connsiteX28273" fmla="*/ 3128143 w 7714416"/>
              <a:gd name="connsiteY28273" fmla="*/ 489509 h 5282095"/>
              <a:gd name="connsiteX28274" fmla="*/ 3141788 w 7714416"/>
              <a:gd name="connsiteY28274" fmla="*/ 492820 h 5282095"/>
              <a:gd name="connsiteX28275" fmla="*/ 3134091 w 7714416"/>
              <a:gd name="connsiteY28275" fmla="*/ 497198 h 5282095"/>
              <a:gd name="connsiteX28276" fmla="*/ 3128143 w 7714416"/>
              <a:gd name="connsiteY28276" fmla="*/ 489509 h 5282095"/>
              <a:gd name="connsiteX28277" fmla="*/ 2642673 w 7714416"/>
              <a:gd name="connsiteY28277" fmla="*/ 488345 h 5282095"/>
              <a:gd name="connsiteX28278" fmla="*/ 2646084 w 7714416"/>
              <a:gd name="connsiteY28278" fmla="*/ 494434 h 5282095"/>
              <a:gd name="connsiteX28279" fmla="*/ 2643047 w 7714416"/>
              <a:gd name="connsiteY28279" fmla="*/ 495805 h 5282095"/>
              <a:gd name="connsiteX28280" fmla="*/ 2637646 w 7714416"/>
              <a:gd name="connsiteY28280" fmla="*/ 494933 h 5282095"/>
              <a:gd name="connsiteX28281" fmla="*/ 2634502 w 7714416"/>
              <a:gd name="connsiteY28281" fmla="*/ 490065 h 5282095"/>
              <a:gd name="connsiteX28282" fmla="*/ 2637538 w 7714416"/>
              <a:gd name="connsiteY28282" fmla="*/ 488694 h 5282095"/>
              <a:gd name="connsiteX28283" fmla="*/ 2642673 w 7714416"/>
              <a:gd name="connsiteY28283" fmla="*/ 488345 h 5282095"/>
              <a:gd name="connsiteX28284" fmla="*/ 3801380 w 7714416"/>
              <a:gd name="connsiteY28284" fmla="*/ 488315 h 5282095"/>
              <a:gd name="connsiteX28285" fmla="*/ 3817098 w 7714416"/>
              <a:gd name="connsiteY28285" fmla="*/ 489422 h 5282095"/>
              <a:gd name="connsiteX28286" fmla="*/ 3807137 w 7714416"/>
              <a:gd name="connsiteY28286" fmla="*/ 495607 h 5282095"/>
              <a:gd name="connsiteX28287" fmla="*/ 3802576 w 7714416"/>
              <a:gd name="connsiteY28287" fmla="*/ 493811 h 5282095"/>
              <a:gd name="connsiteX28288" fmla="*/ 3801380 w 7714416"/>
              <a:gd name="connsiteY28288" fmla="*/ 488315 h 5282095"/>
              <a:gd name="connsiteX28289" fmla="*/ 2886759 w 7714416"/>
              <a:gd name="connsiteY28289" fmla="*/ 488311 h 5282095"/>
              <a:gd name="connsiteX28290" fmla="*/ 2891406 w 7714416"/>
              <a:gd name="connsiteY28290" fmla="*/ 498642 h 5282095"/>
              <a:gd name="connsiteX28291" fmla="*/ 2885771 w 7714416"/>
              <a:gd name="connsiteY28291" fmla="*/ 493107 h 5282095"/>
              <a:gd name="connsiteX28292" fmla="*/ 2886759 w 7714416"/>
              <a:gd name="connsiteY28292" fmla="*/ 488311 h 5282095"/>
              <a:gd name="connsiteX28293" fmla="*/ 2422945 w 7714416"/>
              <a:gd name="connsiteY28293" fmla="*/ 488235 h 5282095"/>
              <a:gd name="connsiteX28294" fmla="*/ 2431649 w 7714416"/>
              <a:gd name="connsiteY28294" fmla="*/ 488957 h 5282095"/>
              <a:gd name="connsiteX28295" fmla="*/ 2439569 w 7714416"/>
              <a:gd name="connsiteY28295" fmla="*/ 499245 h 5282095"/>
              <a:gd name="connsiteX28296" fmla="*/ 2432936 w 7714416"/>
              <a:gd name="connsiteY28296" fmla="*/ 499651 h 5282095"/>
              <a:gd name="connsiteX28297" fmla="*/ 2422752 w 7714416"/>
              <a:gd name="connsiteY28297" fmla="*/ 491173 h 5282095"/>
              <a:gd name="connsiteX28298" fmla="*/ 2422945 w 7714416"/>
              <a:gd name="connsiteY28298" fmla="*/ 488235 h 5282095"/>
              <a:gd name="connsiteX28299" fmla="*/ 2706841 w 7714416"/>
              <a:gd name="connsiteY28299" fmla="*/ 487943 h 5282095"/>
              <a:gd name="connsiteX28300" fmla="*/ 2779965 w 7714416"/>
              <a:gd name="connsiteY28300" fmla="*/ 526052 h 5282095"/>
              <a:gd name="connsiteX28301" fmla="*/ 2766576 w 7714416"/>
              <a:gd name="connsiteY28301" fmla="*/ 533964 h 5282095"/>
              <a:gd name="connsiteX28302" fmla="*/ 2723881 w 7714416"/>
              <a:gd name="connsiteY28302" fmla="*/ 501825 h 5282095"/>
              <a:gd name="connsiteX28303" fmla="*/ 2706841 w 7714416"/>
              <a:gd name="connsiteY28303" fmla="*/ 487943 h 5282095"/>
              <a:gd name="connsiteX28304" fmla="*/ 3785547 w 7714416"/>
              <a:gd name="connsiteY28304" fmla="*/ 487637 h 5282095"/>
              <a:gd name="connsiteX28305" fmla="*/ 3797868 w 7714416"/>
              <a:gd name="connsiteY28305" fmla="*/ 495884 h 5282095"/>
              <a:gd name="connsiteX28306" fmla="*/ 3791088 w 7714416"/>
              <a:gd name="connsiteY28306" fmla="*/ 500163 h 5282095"/>
              <a:gd name="connsiteX28307" fmla="*/ 3785547 w 7714416"/>
              <a:gd name="connsiteY28307" fmla="*/ 487637 h 5282095"/>
              <a:gd name="connsiteX28308" fmla="*/ 2946557 w 7714416"/>
              <a:gd name="connsiteY28308" fmla="*/ 486509 h 5282095"/>
              <a:gd name="connsiteX28309" fmla="*/ 2953657 w 7714416"/>
              <a:gd name="connsiteY28309" fmla="*/ 486572 h 5282095"/>
              <a:gd name="connsiteX28310" fmla="*/ 2954370 w 7714416"/>
              <a:gd name="connsiteY28310" fmla="*/ 490558 h 5282095"/>
              <a:gd name="connsiteX28311" fmla="*/ 2951401 w 7714416"/>
              <a:gd name="connsiteY28311" fmla="*/ 490568 h 5282095"/>
              <a:gd name="connsiteX28312" fmla="*/ 2948749 w 7714416"/>
              <a:gd name="connsiteY28312" fmla="*/ 489396 h 5282095"/>
              <a:gd name="connsiteX28313" fmla="*/ 2946557 w 7714416"/>
              <a:gd name="connsiteY28313" fmla="*/ 486509 h 5282095"/>
              <a:gd name="connsiteX28314" fmla="*/ 4173867 w 7714416"/>
              <a:gd name="connsiteY28314" fmla="*/ 486116 h 5282095"/>
              <a:gd name="connsiteX28315" fmla="*/ 4178642 w 7714416"/>
              <a:gd name="connsiteY28315" fmla="*/ 500391 h 5282095"/>
              <a:gd name="connsiteX28316" fmla="*/ 4172660 w 7714416"/>
              <a:gd name="connsiteY28316" fmla="*/ 499478 h 5282095"/>
              <a:gd name="connsiteX28317" fmla="*/ 4166600 w 7714416"/>
              <a:gd name="connsiteY28317" fmla="*/ 497740 h 5282095"/>
              <a:gd name="connsiteX28318" fmla="*/ 4164610 w 7714416"/>
              <a:gd name="connsiteY28318" fmla="*/ 494101 h 5282095"/>
              <a:gd name="connsiteX28319" fmla="*/ 4163190 w 7714416"/>
              <a:gd name="connsiteY28319" fmla="*/ 491651 h 5282095"/>
              <a:gd name="connsiteX28320" fmla="*/ 4165562 w 7714416"/>
              <a:gd name="connsiteY28320" fmla="*/ 487226 h 5282095"/>
              <a:gd name="connsiteX28321" fmla="*/ 4163816 w 7714416"/>
              <a:gd name="connsiteY28321" fmla="*/ 487103 h 5282095"/>
              <a:gd name="connsiteX28322" fmla="*/ 4173867 w 7714416"/>
              <a:gd name="connsiteY28322" fmla="*/ 486116 h 5282095"/>
              <a:gd name="connsiteX28323" fmla="*/ 1630848 w 7714416"/>
              <a:gd name="connsiteY28323" fmla="*/ 485871 h 5282095"/>
              <a:gd name="connsiteX28324" fmla="*/ 1637891 w 7714416"/>
              <a:gd name="connsiteY28324" fmla="*/ 486148 h 5282095"/>
              <a:gd name="connsiteX28325" fmla="*/ 1649678 w 7714416"/>
              <a:gd name="connsiteY28325" fmla="*/ 486431 h 5282095"/>
              <a:gd name="connsiteX28326" fmla="*/ 1651924 w 7714416"/>
              <a:gd name="connsiteY28326" fmla="*/ 492438 h 5282095"/>
              <a:gd name="connsiteX28327" fmla="*/ 1622655 w 7714416"/>
              <a:gd name="connsiteY28327" fmla="*/ 498740 h 5282095"/>
              <a:gd name="connsiteX28328" fmla="*/ 1618974 w 7714416"/>
              <a:gd name="connsiteY28328" fmla="*/ 494764 h 5282095"/>
              <a:gd name="connsiteX28329" fmla="*/ 1624861 w 7714416"/>
              <a:gd name="connsiteY28329" fmla="*/ 488292 h 5282095"/>
              <a:gd name="connsiteX28330" fmla="*/ 1630848 w 7714416"/>
              <a:gd name="connsiteY28330" fmla="*/ 485871 h 5282095"/>
              <a:gd name="connsiteX28331" fmla="*/ 2008725 w 7714416"/>
              <a:gd name="connsiteY28331" fmla="*/ 485691 h 5282095"/>
              <a:gd name="connsiteX28332" fmla="*/ 2011971 w 7714416"/>
              <a:gd name="connsiteY28332" fmla="*/ 485756 h 5282095"/>
              <a:gd name="connsiteX28333" fmla="*/ 2009711 w 7714416"/>
              <a:gd name="connsiteY28333" fmla="*/ 493086 h 5282095"/>
              <a:gd name="connsiteX28334" fmla="*/ 2004984 w 7714416"/>
              <a:gd name="connsiteY28334" fmla="*/ 494119 h 5282095"/>
              <a:gd name="connsiteX28335" fmla="*/ 2004119 w 7714416"/>
              <a:gd name="connsiteY28335" fmla="*/ 491817 h 5282095"/>
              <a:gd name="connsiteX28336" fmla="*/ 2004464 w 7714416"/>
              <a:gd name="connsiteY28336" fmla="*/ 490530 h 5282095"/>
              <a:gd name="connsiteX28337" fmla="*/ 2007443 w 7714416"/>
              <a:gd name="connsiteY28337" fmla="*/ 489373 h 5282095"/>
              <a:gd name="connsiteX28338" fmla="*/ 2008725 w 7714416"/>
              <a:gd name="connsiteY28338" fmla="*/ 485691 h 5282095"/>
              <a:gd name="connsiteX28339" fmla="*/ 3489304 w 7714416"/>
              <a:gd name="connsiteY28339" fmla="*/ 485311 h 5282095"/>
              <a:gd name="connsiteX28340" fmla="*/ 3492187 w 7714416"/>
              <a:gd name="connsiteY28340" fmla="*/ 485623 h 5282095"/>
              <a:gd name="connsiteX28341" fmla="*/ 3495209 w 7714416"/>
              <a:gd name="connsiteY28341" fmla="*/ 488733 h 5282095"/>
              <a:gd name="connsiteX28342" fmla="*/ 3489480 w 7714416"/>
              <a:gd name="connsiteY28342" fmla="*/ 490188 h 5282095"/>
              <a:gd name="connsiteX28343" fmla="*/ 3489304 w 7714416"/>
              <a:gd name="connsiteY28343" fmla="*/ 485311 h 5282095"/>
              <a:gd name="connsiteX28344" fmla="*/ 2372165 w 7714416"/>
              <a:gd name="connsiteY28344" fmla="*/ 484058 h 5282095"/>
              <a:gd name="connsiteX28345" fmla="*/ 2380617 w 7714416"/>
              <a:gd name="connsiteY28345" fmla="*/ 487933 h 5282095"/>
              <a:gd name="connsiteX28346" fmla="*/ 2386104 w 7714416"/>
              <a:gd name="connsiteY28346" fmla="*/ 488484 h 5282095"/>
              <a:gd name="connsiteX28347" fmla="*/ 2386399 w 7714416"/>
              <a:gd name="connsiteY28347" fmla="*/ 489597 h 5282095"/>
              <a:gd name="connsiteX28348" fmla="*/ 2365869 w 7714416"/>
              <a:gd name="connsiteY28348" fmla="*/ 489846 h 5282095"/>
              <a:gd name="connsiteX28349" fmla="*/ 2363332 w 7714416"/>
              <a:gd name="connsiteY28349" fmla="*/ 488247 h 5282095"/>
              <a:gd name="connsiteX28350" fmla="*/ 2364108 w 7714416"/>
              <a:gd name="connsiteY28350" fmla="*/ 485349 h 5282095"/>
              <a:gd name="connsiteX28351" fmla="*/ 2372165 w 7714416"/>
              <a:gd name="connsiteY28351" fmla="*/ 484058 h 5282095"/>
              <a:gd name="connsiteX28352" fmla="*/ 2843206 w 7714416"/>
              <a:gd name="connsiteY28352" fmla="*/ 482621 h 5282095"/>
              <a:gd name="connsiteX28353" fmla="*/ 2852672 w 7714416"/>
              <a:gd name="connsiteY28353" fmla="*/ 484928 h 5282095"/>
              <a:gd name="connsiteX28354" fmla="*/ 2839360 w 7714416"/>
              <a:gd name="connsiteY28354" fmla="*/ 499187 h 5282095"/>
              <a:gd name="connsiteX28355" fmla="*/ 2833115 w 7714416"/>
              <a:gd name="connsiteY28355" fmla="*/ 493718 h 5282095"/>
              <a:gd name="connsiteX28356" fmla="*/ 2843206 w 7714416"/>
              <a:gd name="connsiteY28356" fmla="*/ 482621 h 5282095"/>
              <a:gd name="connsiteX28357" fmla="*/ 3568840 w 7714416"/>
              <a:gd name="connsiteY28357" fmla="*/ 481783 h 5282095"/>
              <a:gd name="connsiteX28358" fmla="*/ 3581173 w 7714416"/>
              <a:gd name="connsiteY28358" fmla="*/ 497737 h 5282095"/>
              <a:gd name="connsiteX28359" fmla="*/ 3558081 w 7714416"/>
              <a:gd name="connsiteY28359" fmla="*/ 493159 h 5282095"/>
              <a:gd name="connsiteX28360" fmla="*/ 3568840 w 7714416"/>
              <a:gd name="connsiteY28360" fmla="*/ 481783 h 5282095"/>
              <a:gd name="connsiteX28361" fmla="*/ 2871925 w 7714416"/>
              <a:gd name="connsiteY28361" fmla="*/ 481692 h 5282095"/>
              <a:gd name="connsiteX28362" fmla="*/ 2880324 w 7714416"/>
              <a:gd name="connsiteY28362" fmla="*/ 482447 h 5282095"/>
              <a:gd name="connsiteX28363" fmla="*/ 2878548 w 7714416"/>
              <a:gd name="connsiteY28363" fmla="*/ 482431 h 5282095"/>
              <a:gd name="connsiteX28364" fmla="*/ 2878804 w 7714416"/>
              <a:gd name="connsiteY28364" fmla="*/ 484800 h 5282095"/>
              <a:gd name="connsiteX28365" fmla="*/ 2880273 w 7714416"/>
              <a:gd name="connsiteY28365" fmla="*/ 484849 h 5282095"/>
              <a:gd name="connsiteX28366" fmla="*/ 2879059 w 7714416"/>
              <a:gd name="connsiteY28366" fmla="*/ 487168 h 5282095"/>
              <a:gd name="connsiteX28367" fmla="*/ 2867487 w 7714416"/>
              <a:gd name="connsiteY28367" fmla="*/ 490508 h 5282095"/>
              <a:gd name="connsiteX28368" fmla="*/ 2865162 w 7714416"/>
              <a:gd name="connsiteY28368" fmla="*/ 487010 h 5282095"/>
              <a:gd name="connsiteX28369" fmla="*/ 2866712 w 7714416"/>
              <a:gd name="connsiteY28369" fmla="*/ 484550 h 5282095"/>
              <a:gd name="connsiteX28370" fmla="*/ 2871925 w 7714416"/>
              <a:gd name="connsiteY28370" fmla="*/ 481692 h 5282095"/>
              <a:gd name="connsiteX28371" fmla="*/ 2097635 w 7714416"/>
              <a:gd name="connsiteY28371" fmla="*/ 481498 h 5282095"/>
              <a:gd name="connsiteX28372" fmla="*/ 2112307 w 7714416"/>
              <a:gd name="connsiteY28372" fmla="*/ 488720 h 5282095"/>
              <a:gd name="connsiteX28373" fmla="*/ 2055499 w 7714416"/>
              <a:gd name="connsiteY28373" fmla="*/ 497074 h 5282095"/>
              <a:gd name="connsiteX28374" fmla="*/ 2079081 w 7714416"/>
              <a:gd name="connsiteY28374" fmla="*/ 482118 h 5282095"/>
              <a:gd name="connsiteX28375" fmla="*/ 2097635 w 7714416"/>
              <a:gd name="connsiteY28375" fmla="*/ 481498 h 5282095"/>
              <a:gd name="connsiteX28376" fmla="*/ 2481431 w 7714416"/>
              <a:gd name="connsiteY28376" fmla="*/ 481366 h 5282095"/>
              <a:gd name="connsiteX28377" fmla="*/ 2490907 w 7714416"/>
              <a:gd name="connsiteY28377" fmla="*/ 491380 h 5282095"/>
              <a:gd name="connsiteX28378" fmla="*/ 2477323 w 7714416"/>
              <a:gd name="connsiteY28378" fmla="*/ 484520 h 5282095"/>
              <a:gd name="connsiteX28379" fmla="*/ 2476878 w 7714416"/>
              <a:gd name="connsiteY28379" fmla="*/ 481756 h 5282095"/>
              <a:gd name="connsiteX28380" fmla="*/ 2481431 w 7714416"/>
              <a:gd name="connsiteY28380" fmla="*/ 481366 h 5282095"/>
              <a:gd name="connsiteX28381" fmla="*/ 3872683 w 7714416"/>
              <a:gd name="connsiteY28381" fmla="*/ 481200 h 5282095"/>
              <a:gd name="connsiteX28382" fmla="*/ 3868260 w 7714416"/>
              <a:gd name="connsiteY28382" fmla="*/ 503245 h 5282095"/>
              <a:gd name="connsiteX28383" fmla="*/ 3864663 w 7714416"/>
              <a:gd name="connsiteY28383" fmla="*/ 502281 h 5282095"/>
              <a:gd name="connsiteX28384" fmla="*/ 3862585 w 7714416"/>
              <a:gd name="connsiteY28384" fmla="*/ 498965 h 5282095"/>
              <a:gd name="connsiteX28385" fmla="*/ 3864134 w 7714416"/>
              <a:gd name="connsiteY28385" fmla="*/ 487650 h 5282095"/>
              <a:gd name="connsiteX28386" fmla="*/ 3865072 w 7714416"/>
              <a:gd name="connsiteY28386" fmla="*/ 485256 h 5282095"/>
              <a:gd name="connsiteX28387" fmla="*/ 3866344 w 7714416"/>
              <a:gd name="connsiteY28387" fmla="*/ 482721 h 5282095"/>
              <a:gd name="connsiteX28388" fmla="*/ 3872683 w 7714416"/>
              <a:gd name="connsiteY28388" fmla="*/ 481200 h 5282095"/>
              <a:gd name="connsiteX28389" fmla="*/ 2034636 w 7714416"/>
              <a:gd name="connsiteY28389" fmla="*/ 479754 h 5282095"/>
              <a:gd name="connsiteX28390" fmla="*/ 2038568 w 7714416"/>
              <a:gd name="connsiteY28390" fmla="*/ 480577 h 5282095"/>
              <a:gd name="connsiteX28391" fmla="*/ 2037568 w 7714416"/>
              <a:gd name="connsiteY28391" fmla="*/ 486519 h 5282095"/>
              <a:gd name="connsiteX28392" fmla="*/ 2026730 w 7714416"/>
              <a:gd name="connsiteY28392" fmla="*/ 491551 h 5282095"/>
              <a:gd name="connsiteX28393" fmla="*/ 2022780 w 7714416"/>
              <a:gd name="connsiteY28393" fmla="*/ 489688 h 5282095"/>
              <a:gd name="connsiteX28394" fmla="*/ 2022270 w 7714416"/>
              <a:gd name="connsiteY28394" fmla="*/ 484951 h 5282095"/>
              <a:gd name="connsiteX28395" fmla="*/ 2034636 w 7714416"/>
              <a:gd name="connsiteY28395" fmla="*/ 479754 h 5282095"/>
              <a:gd name="connsiteX28396" fmla="*/ 4082976 w 7714416"/>
              <a:gd name="connsiteY28396" fmla="*/ 478897 h 5282095"/>
              <a:gd name="connsiteX28397" fmla="*/ 4075978 w 7714416"/>
              <a:gd name="connsiteY28397" fmla="*/ 497263 h 5282095"/>
              <a:gd name="connsiteX28398" fmla="*/ 4075368 w 7714416"/>
              <a:gd name="connsiteY28398" fmla="*/ 479619 h 5282095"/>
              <a:gd name="connsiteX28399" fmla="*/ 4082976 w 7714416"/>
              <a:gd name="connsiteY28399" fmla="*/ 478897 h 5282095"/>
              <a:gd name="connsiteX28400" fmla="*/ 3470032 w 7714416"/>
              <a:gd name="connsiteY28400" fmla="*/ 478651 h 5282095"/>
              <a:gd name="connsiteX28401" fmla="*/ 3473582 w 7714416"/>
              <a:gd name="connsiteY28401" fmla="*/ 478682 h 5282095"/>
              <a:gd name="connsiteX28402" fmla="*/ 3474182 w 7714416"/>
              <a:gd name="connsiteY28402" fmla="*/ 488619 h 5282095"/>
              <a:gd name="connsiteX28403" fmla="*/ 3471375 w 7714416"/>
              <a:gd name="connsiteY28403" fmla="*/ 489132 h 5282095"/>
              <a:gd name="connsiteX28404" fmla="*/ 3470383 w 7714416"/>
              <a:gd name="connsiteY28404" fmla="*/ 488406 h 5282095"/>
              <a:gd name="connsiteX28405" fmla="*/ 3467972 w 7714416"/>
              <a:gd name="connsiteY28405" fmla="*/ 485229 h 5282095"/>
              <a:gd name="connsiteX28406" fmla="*/ 3470032 w 7714416"/>
              <a:gd name="connsiteY28406" fmla="*/ 478651 h 5282095"/>
              <a:gd name="connsiteX28407" fmla="*/ 2980754 w 7714416"/>
              <a:gd name="connsiteY28407" fmla="*/ 478422 h 5282095"/>
              <a:gd name="connsiteX28408" fmla="*/ 3002552 w 7714416"/>
              <a:gd name="connsiteY28408" fmla="*/ 478973 h 5282095"/>
              <a:gd name="connsiteX28409" fmla="*/ 2996975 w 7714416"/>
              <a:gd name="connsiteY28409" fmla="*/ 517499 h 5282095"/>
              <a:gd name="connsiteX28410" fmla="*/ 2989101 w 7714416"/>
              <a:gd name="connsiteY28410" fmla="*/ 516999 h 5282095"/>
              <a:gd name="connsiteX28411" fmla="*/ 2968136 w 7714416"/>
              <a:gd name="connsiteY28411" fmla="*/ 495626 h 5282095"/>
              <a:gd name="connsiteX28412" fmla="*/ 2968520 w 7714416"/>
              <a:gd name="connsiteY28412" fmla="*/ 493084 h 5282095"/>
              <a:gd name="connsiteX28413" fmla="*/ 2966461 w 7714416"/>
              <a:gd name="connsiteY28413" fmla="*/ 490807 h 5282095"/>
              <a:gd name="connsiteX28414" fmla="*/ 2966418 w 7714416"/>
              <a:gd name="connsiteY28414" fmla="*/ 486541 h 5282095"/>
              <a:gd name="connsiteX28415" fmla="*/ 2969192 w 7714416"/>
              <a:gd name="connsiteY28415" fmla="*/ 489469 h 5282095"/>
              <a:gd name="connsiteX28416" fmla="*/ 2969940 w 7714416"/>
              <a:gd name="connsiteY28416" fmla="*/ 486680 h 5282095"/>
              <a:gd name="connsiteX28417" fmla="*/ 2980754 w 7714416"/>
              <a:gd name="connsiteY28417" fmla="*/ 478422 h 5282095"/>
              <a:gd name="connsiteX28418" fmla="*/ 3206868 w 7714416"/>
              <a:gd name="connsiteY28418" fmla="*/ 477943 h 5282095"/>
              <a:gd name="connsiteX28419" fmla="*/ 3215768 w 7714416"/>
              <a:gd name="connsiteY28419" fmla="*/ 490103 h 5282095"/>
              <a:gd name="connsiteX28420" fmla="*/ 3198950 w 7714416"/>
              <a:gd name="connsiteY28420" fmla="*/ 490887 h 5282095"/>
              <a:gd name="connsiteX28421" fmla="*/ 3194926 w 7714416"/>
              <a:gd name="connsiteY28421" fmla="*/ 488198 h 5282095"/>
              <a:gd name="connsiteX28422" fmla="*/ 3206868 w 7714416"/>
              <a:gd name="connsiteY28422" fmla="*/ 477943 h 5282095"/>
              <a:gd name="connsiteX28423" fmla="*/ 2583952 w 7714416"/>
              <a:gd name="connsiteY28423" fmla="*/ 476176 h 5282095"/>
              <a:gd name="connsiteX28424" fmla="*/ 2581069 w 7714416"/>
              <a:gd name="connsiteY28424" fmla="*/ 484719 h 5282095"/>
              <a:gd name="connsiteX28425" fmla="*/ 2577501 w 7714416"/>
              <a:gd name="connsiteY28425" fmla="*/ 483647 h 5282095"/>
              <a:gd name="connsiteX28426" fmla="*/ 2573926 w 7714416"/>
              <a:gd name="connsiteY28426" fmla="*/ 480389 h 5282095"/>
              <a:gd name="connsiteX28427" fmla="*/ 2573987 w 7714416"/>
              <a:gd name="connsiteY28427" fmla="*/ 476840 h 5282095"/>
              <a:gd name="connsiteX28428" fmla="*/ 2583952 w 7714416"/>
              <a:gd name="connsiteY28428" fmla="*/ 476176 h 5282095"/>
              <a:gd name="connsiteX28429" fmla="*/ 3145720 w 7714416"/>
              <a:gd name="connsiteY28429" fmla="*/ 475934 h 5282095"/>
              <a:gd name="connsiteX28430" fmla="*/ 3162868 w 7714416"/>
              <a:gd name="connsiteY28430" fmla="*/ 478344 h 5282095"/>
              <a:gd name="connsiteX28431" fmla="*/ 3139610 w 7714416"/>
              <a:gd name="connsiteY28431" fmla="*/ 485452 h 5282095"/>
              <a:gd name="connsiteX28432" fmla="*/ 3145720 w 7714416"/>
              <a:gd name="connsiteY28432" fmla="*/ 475934 h 5282095"/>
              <a:gd name="connsiteX28433" fmla="*/ 2639437 w 7714416"/>
              <a:gd name="connsiteY28433" fmla="*/ 472758 h 5282095"/>
              <a:gd name="connsiteX28434" fmla="*/ 2645495 w 7714416"/>
              <a:gd name="connsiteY28434" fmla="*/ 483352 h 5282095"/>
              <a:gd name="connsiteX28435" fmla="*/ 2643986 w 7714416"/>
              <a:gd name="connsiteY28435" fmla="*/ 484557 h 5282095"/>
              <a:gd name="connsiteX28436" fmla="*/ 2626209 w 7714416"/>
              <a:gd name="connsiteY28436" fmla="*/ 490029 h 5282095"/>
              <a:gd name="connsiteX28437" fmla="*/ 2622454 w 7714416"/>
              <a:gd name="connsiteY28437" fmla="*/ 485227 h 5282095"/>
              <a:gd name="connsiteX28438" fmla="*/ 2624893 w 7714416"/>
              <a:gd name="connsiteY28438" fmla="*/ 479441 h 5282095"/>
              <a:gd name="connsiteX28439" fmla="*/ 2639437 w 7714416"/>
              <a:gd name="connsiteY28439" fmla="*/ 472758 h 5282095"/>
              <a:gd name="connsiteX28440" fmla="*/ 3413835 w 7714416"/>
              <a:gd name="connsiteY28440" fmla="*/ 472694 h 5282095"/>
              <a:gd name="connsiteX28441" fmla="*/ 3426841 w 7714416"/>
              <a:gd name="connsiteY28441" fmla="*/ 481569 h 5282095"/>
              <a:gd name="connsiteX28442" fmla="*/ 3407011 w 7714416"/>
              <a:gd name="connsiteY28442" fmla="*/ 486950 h 5282095"/>
              <a:gd name="connsiteX28443" fmla="*/ 3402631 w 7714416"/>
              <a:gd name="connsiteY28443" fmla="*/ 477842 h 5282095"/>
              <a:gd name="connsiteX28444" fmla="*/ 3413835 w 7714416"/>
              <a:gd name="connsiteY28444" fmla="*/ 472694 h 5282095"/>
              <a:gd name="connsiteX28445" fmla="*/ 2837863 w 7714416"/>
              <a:gd name="connsiteY28445" fmla="*/ 472679 h 5282095"/>
              <a:gd name="connsiteX28446" fmla="*/ 2834387 w 7714416"/>
              <a:gd name="connsiteY28446" fmla="*/ 482329 h 5282095"/>
              <a:gd name="connsiteX28447" fmla="*/ 2836191 w 7714416"/>
              <a:gd name="connsiteY28447" fmla="*/ 473382 h 5282095"/>
              <a:gd name="connsiteX28448" fmla="*/ 2837863 w 7714416"/>
              <a:gd name="connsiteY28448" fmla="*/ 472679 h 5282095"/>
              <a:gd name="connsiteX28449" fmla="*/ 2789435 w 7714416"/>
              <a:gd name="connsiteY28449" fmla="*/ 471894 h 5282095"/>
              <a:gd name="connsiteX28450" fmla="*/ 2792565 w 7714416"/>
              <a:gd name="connsiteY28450" fmla="*/ 472387 h 5282095"/>
              <a:gd name="connsiteX28451" fmla="*/ 2779808 w 7714416"/>
              <a:gd name="connsiteY28451" fmla="*/ 477940 h 5282095"/>
              <a:gd name="connsiteX28452" fmla="*/ 2789435 w 7714416"/>
              <a:gd name="connsiteY28452" fmla="*/ 471894 h 5282095"/>
              <a:gd name="connsiteX28453" fmla="*/ 1457091 w 7714416"/>
              <a:gd name="connsiteY28453" fmla="*/ 470249 h 5282095"/>
              <a:gd name="connsiteX28454" fmla="*/ 1460516 w 7714416"/>
              <a:gd name="connsiteY28454" fmla="*/ 480712 h 5282095"/>
              <a:gd name="connsiteX28455" fmla="*/ 1458130 w 7714416"/>
              <a:gd name="connsiteY28455" fmla="*/ 480762 h 5282095"/>
              <a:gd name="connsiteX28456" fmla="*/ 1455288 w 7714416"/>
              <a:gd name="connsiteY28456" fmla="*/ 479196 h 5282095"/>
              <a:gd name="connsiteX28457" fmla="*/ 1457091 w 7714416"/>
              <a:gd name="connsiteY28457" fmla="*/ 470249 h 5282095"/>
              <a:gd name="connsiteX28458" fmla="*/ 2877797 w 7714416"/>
              <a:gd name="connsiteY28458" fmla="*/ 469049 h 5282095"/>
              <a:gd name="connsiteX28459" fmla="*/ 2894626 w 7714416"/>
              <a:gd name="connsiteY28459" fmla="*/ 477769 h 5282095"/>
              <a:gd name="connsiteX28460" fmla="*/ 2903409 w 7714416"/>
              <a:gd name="connsiteY28460" fmla="*/ 484837 h 5282095"/>
              <a:gd name="connsiteX28461" fmla="*/ 2905436 w 7714416"/>
              <a:gd name="connsiteY28461" fmla="*/ 481701 h 5282095"/>
              <a:gd name="connsiteX28462" fmla="*/ 2929714 w 7714416"/>
              <a:gd name="connsiteY28462" fmla="*/ 484065 h 5282095"/>
              <a:gd name="connsiteX28463" fmla="*/ 2925046 w 7714416"/>
              <a:gd name="connsiteY28463" fmla="*/ 493741 h 5282095"/>
              <a:gd name="connsiteX28464" fmla="*/ 2920751 w 7714416"/>
              <a:gd name="connsiteY28464" fmla="*/ 493165 h 5282095"/>
              <a:gd name="connsiteX28465" fmla="*/ 2918221 w 7714416"/>
              <a:gd name="connsiteY28465" fmla="*/ 493752 h 5282095"/>
              <a:gd name="connsiteX28466" fmla="*/ 2918828 w 7714416"/>
              <a:gd name="connsiteY28466" fmla="*/ 497019 h 5282095"/>
              <a:gd name="connsiteX28467" fmla="*/ 2923213 w 7714416"/>
              <a:gd name="connsiteY28467" fmla="*/ 502795 h 5282095"/>
              <a:gd name="connsiteX28468" fmla="*/ 2912773 w 7714416"/>
              <a:gd name="connsiteY28468" fmla="*/ 500802 h 5282095"/>
              <a:gd name="connsiteX28469" fmla="*/ 2903520 w 7714416"/>
              <a:gd name="connsiteY28469" fmla="*/ 496598 h 5282095"/>
              <a:gd name="connsiteX28470" fmla="*/ 2909148 w 7714416"/>
              <a:gd name="connsiteY28470" fmla="*/ 491091 h 5282095"/>
              <a:gd name="connsiteX28471" fmla="*/ 2905389 w 7714416"/>
              <a:gd name="connsiteY28471" fmla="*/ 489623 h 5282095"/>
              <a:gd name="connsiteX28472" fmla="*/ 2902004 w 7714416"/>
              <a:gd name="connsiteY28472" fmla="*/ 486761 h 5282095"/>
              <a:gd name="connsiteX28473" fmla="*/ 2903017 w 7714416"/>
              <a:gd name="connsiteY28473" fmla="*/ 485193 h 5282095"/>
              <a:gd name="connsiteX28474" fmla="*/ 2892003 w 7714416"/>
              <a:gd name="connsiteY28474" fmla="*/ 485347 h 5282095"/>
              <a:gd name="connsiteX28475" fmla="*/ 2884255 w 7714416"/>
              <a:gd name="connsiteY28475" fmla="*/ 483270 h 5282095"/>
              <a:gd name="connsiteX28476" fmla="*/ 2862690 w 7714416"/>
              <a:gd name="connsiteY28476" fmla="*/ 469672 h 5282095"/>
              <a:gd name="connsiteX28477" fmla="*/ 2877797 w 7714416"/>
              <a:gd name="connsiteY28477" fmla="*/ 469049 h 5282095"/>
              <a:gd name="connsiteX28478" fmla="*/ 1360543 w 7714416"/>
              <a:gd name="connsiteY28478" fmla="*/ 468644 h 5282095"/>
              <a:gd name="connsiteX28479" fmla="*/ 1364065 w 7714416"/>
              <a:gd name="connsiteY28479" fmla="*/ 468783 h 5282095"/>
              <a:gd name="connsiteX28480" fmla="*/ 1363027 w 7714416"/>
              <a:gd name="connsiteY28480" fmla="*/ 475979 h 5282095"/>
              <a:gd name="connsiteX28481" fmla="*/ 1361006 w 7714416"/>
              <a:gd name="connsiteY28481" fmla="*/ 481304 h 5282095"/>
              <a:gd name="connsiteX28482" fmla="*/ 1348106 w 7714416"/>
              <a:gd name="connsiteY28482" fmla="*/ 496246 h 5282095"/>
              <a:gd name="connsiteX28483" fmla="*/ 1349127 w 7714416"/>
              <a:gd name="connsiteY28483" fmla="*/ 488010 h 5282095"/>
              <a:gd name="connsiteX28484" fmla="*/ 1356141 w 7714416"/>
              <a:gd name="connsiteY28484" fmla="*/ 470685 h 5282095"/>
              <a:gd name="connsiteX28485" fmla="*/ 1359979 w 7714416"/>
              <a:gd name="connsiteY28485" fmla="*/ 469643 h 5282095"/>
              <a:gd name="connsiteX28486" fmla="*/ 1360543 w 7714416"/>
              <a:gd name="connsiteY28486" fmla="*/ 468644 h 5282095"/>
              <a:gd name="connsiteX28487" fmla="*/ 1499776 w 7714416"/>
              <a:gd name="connsiteY28487" fmla="*/ 468116 h 5282095"/>
              <a:gd name="connsiteX28488" fmla="*/ 1504834 w 7714416"/>
              <a:gd name="connsiteY28488" fmla="*/ 470276 h 5282095"/>
              <a:gd name="connsiteX28489" fmla="*/ 1507108 w 7714416"/>
              <a:gd name="connsiteY28489" fmla="*/ 476176 h 5282095"/>
              <a:gd name="connsiteX28490" fmla="*/ 1492076 w 7714416"/>
              <a:gd name="connsiteY28490" fmla="*/ 475827 h 5282095"/>
              <a:gd name="connsiteX28491" fmla="*/ 1490085 w 7714416"/>
              <a:gd name="connsiteY28491" fmla="*/ 472189 h 5282095"/>
              <a:gd name="connsiteX28492" fmla="*/ 1499776 w 7714416"/>
              <a:gd name="connsiteY28492" fmla="*/ 468116 h 5282095"/>
              <a:gd name="connsiteX28493" fmla="*/ 3608812 w 7714416"/>
              <a:gd name="connsiteY28493" fmla="*/ 464317 h 5282095"/>
              <a:gd name="connsiteX28494" fmla="*/ 3583438 w 7714416"/>
              <a:gd name="connsiteY28494" fmla="*/ 487073 h 5282095"/>
              <a:gd name="connsiteX28495" fmla="*/ 3608812 w 7714416"/>
              <a:gd name="connsiteY28495" fmla="*/ 464317 h 5282095"/>
              <a:gd name="connsiteX28496" fmla="*/ 2644457 w 7714416"/>
              <a:gd name="connsiteY28496" fmla="*/ 463983 h 5282095"/>
              <a:gd name="connsiteX28497" fmla="*/ 2658246 w 7714416"/>
              <a:gd name="connsiteY28497" fmla="*/ 475612 h 5282095"/>
              <a:gd name="connsiteX28498" fmla="*/ 2644759 w 7714416"/>
              <a:gd name="connsiteY28498" fmla="*/ 467284 h 5282095"/>
              <a:gd name="connsiteX28499" fmla="*/ 2644457 w 7714416"/>
              <a:gd name="connsiteY28499" fmla="*/ 463983 h 5282095"/>
              <a:gd name="connsiteX28500" fmla="*/ 2433356 w 7714416"/>
              <a:gd name="connsiteY28500" fmla="*/ 463769 h 5282095"/>
              <a:gd name="connsiteX28501" fmla="*/ 2434279 w 7714416"/>
              <a:gd name="connsiteY28501" fmla="*/ 465856 h 5282095"/>
              <a:gd name="connsiteX28502" fmla="*/ 2432458 w 7714416"/>
              <a:gd name="connsiteY28502" fmla="*/ 464909 h 5282095"/>
              <a:gd name="connsiteX28503" fmla="*/ 2433356 w 7714416"/>
              <a:gd name="connsiteY28503" fmla="*/ 463769 h 5282095"/>
              <a:gd name="connsiteX28504" fmla="*/ 3501907 w 7714416"/>
              <a:gd name="connsiteY28504" fmla="*/ 463733 h 5282095"/>
              <a:gd name="connsiteX28505" fmla="*/ 3506147 w 7714416"/>
              <a:gd name="connsiteY28505" fmla="*/ 478898 h 5282095"/>
              <a:gd name="connsiteX28506" fmla="*/ 3504095 w 7714416"/>
              <a:gd name="connsiteY28506" fmla="*/ 478809 h 5282095"/>
              <a:gd name="connsiteX28507" fmla="*/ 3507052 w 7714416"/>
              <a:gd name="connsiteY28507" fmla="*/ 479946 h 5282095"/>
              <a:gd name="connsiteX28508" fmla="*/ 3511210 w 7714416"/>
              <a:gd name="connsiteY28508" fmla="*/ 483246 h 5282095"/>
              <a:gd name="connsiteX28509" fmla="*/ 3512960 w 7714416"/>
              <a:gd name="connsiteY28509" fmla="*/ 488890 h 5282095"/>
              <a:gd name="connsiteX28510" fmla="*/ 3512080 w 7714416"/>
              <a:gd name="connsiteY28510" fmla="*/ 491068 h 5282095"/>
              <a:gd name="connsiteX28511" fmla="*/ 3504167 w 7714416"/>
              <a:gd name="connsiteY28511" fmla="*/ 491824 h 5282095"/>
              <a:gd name="connsiteX28512" fmla="*/ 3497127 w 7714416"/>
              <a:gd name="connsiteY28512" fmla="*/ 488212 h 5282095"/>
              <a:gd name="connsiteX28513" fmla="*/ 3495259 w 7714416"/>
              <a:gd name="connsiteY28513" fmla="*/ 477476 h 5282095"/>
              <a:gd name="connsiteX28514" fmla="*/ 3497311 w 7714416"/>
              <a:gd name="connsiteY28514" fmla="*/ 477566 h 5282095"/>
              <a:gd name="connsiteX28515" fmla="*/ 3494659 w 7714416"/>
              <a:gd name="connsiteY28515" fmla="*/ 476395 h 5282095"/>
              <a:gd name="connsiteX28516" fmla="*/ 3491633 w 7714416"/>
              <a:gd name="connsiteY28516" fmla="*/ 467764 h 5282095"/>
              <a:gd name="connsiteX28517" fmla="*/ 3501907 w 7714416"/>
              <a:gd name="connsiteY28517" fmla="*/ 463733 h 5282095"/>
              <a:gd name="connsiteX28518" fmla="*/ 2390561 w 7714416"/>
              <a:gd name="connsiteY28518" fmla="*/ 462997 h 5282095"/>
              <a:gd name="connsiteX28519" fmla="*/ 2397909 w 7714416"/>
              <a:gd name="connsiteY28519" fmla="*/ 472096 h 5282095"/>
              <a:gd name="connsiteX28520" fmla="*/ 2403267 w 7714416"/>
              <a:gd name="connsiteY28520" fmla="*/ 477557 h 5282095"/>
              <a:gd name="connsiteX28521" fmla="*/ 2393978 w 7714416"/>
              <a:gd name="connsiteY28521" fmla="*/ 471273 h 5282095"/>
              <a:gd name="connsiteX28522" fmla="*/ 2388768 w 7714416"/>
              <a:gd name="connsiteY28522" fmla="*/ 470797 h 5282095"/>
              <a:gd name="connsiteX28523" fmla="*/ 2382839 w 7714416"/>
              <a:gd name="connsiteY28523" fmla="*/ 464148 h 5282095"/>
              <a:gd name="connsiteX28524" fmla="*/ 2390561 w 7714416"/>
              <a:gd name="connsiteY28524" fmla="*/ 462997 h 5282095"/>
              <a:gd name="connsiteX28525" fmla="*/ 2186648 w 7714416"/>
              <a:gd name="connsiteY28525" fmla="*/ 462525 h 5282095"/>
              <a:gd name="connsiteX28526" fmla="*/ 2188373 w 7714416"/>
              <a:gd name="connsiteY28526" fmla="*/ 464941 h 5282095"/>
              <a:gd name="connsiteX28527" fmla="*/ 2182127 w 7714416"/>
              <a:gd name="connsiteY28527" fmla="*/ 468328 h 5282095"/>
              <a:gd name="connsiteX28528" fmla="*/ 2182116 w 7714416"/>
              <a:gd name="connsiteY28528" fmla="*/ 469476 h 5282095"/>
              <a:gd name="connsiteX28529" fmla="*/ 2185892 w 7714416"/>
              <a:gd name="connsiteY28529" fmla="*/ 471982 h 5282095"/>
              <a:gd name="connsiteX28530" fmla="*/ 2187197 w 7714416"/>
              <a:gd name="connsiteY28530" fmla="*/ 483717 h 5282095"/>
              <a:gd name="connsiteX28531" fmla="*/ 2184447 w 7714416"/>
              <a:gd name="connsiteY28531" fmla="*/ 484015 h 5282095"/>
              <a:gd name="connsiteX28532" fmla="*/ 2180160 w 7714416"/>
              <a:gd name="connsiteY28532" fmla="*/ 485627 h 5282095"/>
              <a:gd name="connsiteX28533" fmla="*/ 2181972 w 7714416"/>
              <a:gd name="connsiteY28533" fmla="*/ 487722 h 5282095"/>
              <a:gd name="connsiteX28534" fmla="*/ 2184351 w 7714416"/>
              <a:gd name="connsiteY28534" fmla="*/ 494340 h 5282095"/>
              <a:gd name="connsiteX28535" fmla="*/ 2182823 w 7714416"/>
              <a:gd name="connsiteY28535" fmla="*/ 494505 h 5282095"/>
              <a:gd name="connsiteX28536" fmla="*/ 2179269 w 7714416"/>
              <a:gd name="connsiteY28536" fmla="*/ 488953 h 5282095"/>
              <a:gd name="connsiteX28537" fmla="*/ 2177268 w 7714416"/>
              <a:gd name="connsiteY28537" fmla="*/ 486461 h 5282095"/>
              <a:gd name="connsiteX28538" fmla="*/ 2174404 w 7714416"/>
              <a:gd name="connsiteY28538" fmla="*/ 487189 h 5282095"/>
              <a:gd name="connsiteX28539" fmla="*/ 2170328 w 7714416"/>
              <a:gd name="connsiteY28539" fmla="*/ 486902 h 5282095"/>
              <a:gd name="connsiteX28540" fmla="*/ 2172283 w 7714416"/>
              <a:gd name="connsiteY28540" fmla="*/ 488462 h 5282095"/>
              <a:gd name="connsiteX28541" fmla="*/ 2177770 w 7714416"/>
              <a:gd name="connsiteY28541" fmla="*/ 497866 h 5282095"/>
              <a:gd name="connsiteX28542" fmla="*/ 2154694 w 7714416"/>
              <a:gd name="connsiteY28542" fmla="*/ 479952 h 5282095"/>
              <a:gd name="connsiteX28543" fmla="*/ 2157730 w 7714416"/>
              <a:gd name="connsiteY28543" fmla="*/ 478581 h 5282095"/>
              <a:gd name="connsiteX28544" fmla="*/ 2158283 w 7714416"/>
              <a:gd name="connsiteY28544" fmla="*/ 478729 h 5282095"/>
              <a:gd name="connsiteX28545" fmla="*/ 2157492 w 7714416"/>
              <a:gd name="connsiteY28545" fmla="*/ 477252 h 5282095"/>
              <a:gd name="connsiteX28546" fmla="*/ 2160011 w 7714416"/>
              <a:gd name="connsiteY28546" fmla="*/ 468958 h 5282095"/>
              <a:gd name="connsiteX28547" fmla="*/ 2178587 w 7714416"/>
              <a:gd name="connsiteY28547" fmla="*/ 467150 h 5282095"/>
              <a:gd name="connsiteX28548" fmla="*/ 2180107 w 7714416"/>
              <a:gd name="connsiteY28548" fmla="*/ 464797 h 5282095"/>
              <a:gd name="connsiteX28549" fmla="*/ 2186648 w 7714416"/>
              <a:gd name="connsiteY28549" fmla="*/ 462525 h 5282095"/>
              <a:gd name="connsiteX28550" fmla="*/ 941768 w 7714416"/>
              <a:gd name="connsiteY28550" fmla="*/ 460970 h 5282095"/>
              <a:gd name="connsiteX28551" fmla="*/ 959814 w 7714416"/>
              <a:gd name="connsiteY28551" fmla="*/ 462240 h 5282095"/>
              <a:gd name="connsiteX28552" fmla="*/ 948344 w 7714416"/>
              <a:gd name="connsiteY28552" fmla="*/ 469632 h 5282095"/>
              <a:gd name="connsiteX28553" fmla="*/ 942648 w 7714416"/>
              <a:gd name="connsiteY28553" fmla="*/ 467645 h 5282095"/>
              <a:gd name="connsiteX28554" fmla="*/ 941983 w 7714416"/>
              <a:gd name="connsiteY28554" fmla="*/ 464593 h 5282095"/>
              <a:gd name="connsiteX28555" fmla="*/ 941768 w 7714416"/>
              <a:gd name="connsiteY28555" fmla="*/ 460970 h 5282095"/>
              <a:gd name="connsiteX28556" fmla="*/ 3011307 w 7714416"/>
              <a:gd name="connsiteY28556" fmla="*/ 459583 h 5282095"/>
              <a:gd name="connsiteX28557" fmla="*/ 3028490 w 7714416"/>
              <a:gd name="connsiteY28557" fmla="*/ 481783 h 5282095"/>
              <a:gd name="connsiteX28558" fmla="*/ 3021458 w 7714416"/>
              <a:gd name="connsiteY28558" fmla="*/ 480358 h 5282095"/>
              <a:gd name="connsiteX28559" fmla="*/ 3017127 w 7714416"/>
              <a:gd name="connsiteY28559" fmla="*/ 477703 h 5282095"/>
              <a:gd name="connsiteX28560" fmla="*/ 3015485 w 7714416"/>
              <a:gd name="connsiteY28560" fmla="*/ 478298 h 5282095"/>
              <a:gd name="connsiteX28561" fmla="*/ 3010120 w 7714416"/>
              <a:gd name="connsiteY28561" fmla="*/ 470650 h 5282095"/>
              <a:gd name="connsiteX28562" fmla="*/ 3006555 w 7714416"/>
              <a:gd name="connsiteY28562" fmla="*/ 466245 h 5282095"/>
              <a:gd name="connsiteX28563" fmla="*/ 3011307 w 7714416"/>
              <a:gd name="connsiteY28563" fmla="*/ 459583 h 5282095"/>
              <a:gd name="connsiteX28564" fmla="*/ 2511595 w 7714416"/>
              <a:gd name="connsiteY28564" fmla="*/ 459548 h 5282095"/>
              <a:gd name="connsiteX28565" fmla="*/ 2515145 w 7714416"/>
              <a:gd name="connsiteY28565" fmla="*/ 459580 h 5282095"/>
              <a:gd name="connsiteX28566" fmla="*/ 2519954 w 7714416"/>
              <a:gd name="connsiteY28566" fmla="*/ 461558 h 5282095"/>
              <a:gd name="connsiteX28567" fmla="*/ 2519480 w 7714416"/>
              <a:gd name="connsiteY28567" fmla="*/ 467755 h 5282095"/>
              <a:gd name="connsiteX28568" fmla="*/ 2515930 w 7714416"/>
              <a:gd name="connsiteY28568" fmla="*/ 467724 h 5282095"/>
              <a:gd name="connsiteX28569" fmla="*/ 2511409 w 7714416"/>
              <a:gd name="connsiteY28569" fmla="*/ 464672 h 5282095"/>
              <a:gd name="connsiteX28570" fmla="*/ 2511595 w 7714416"/>
              <a:gd name="connsiteY28570" fmla="*/ 459548 h 5282095"/>
              <a:gd name="connsiteX28571" fmla="*/ 2741260 w 7714416"/>
              <a:gd name="connsiteY28571" fmla="*/ 459101 h 5282095"/>
              <a:gd name="connsiteX28572" fmla="*/ 2747974 w 7714416"/>
              <a:gd name="connsiteY28572" fmla="*/ 465039 h 5282095"/>
              <a:gd name="connsiteX28573" fmla="*/ 2742158 w 7714416"/>
              <a:gd name="connsiteY28573" fmla="*/ 466817 h 5282095"/>
              <a:gd name="connsiteX28574" fmla="*/ 2737056 w 7714416"/>
              <a:gd name="connsiteY28574" fmla="*/ 463723 h 5282095"/>
              <a:gd name="connsiteX28575" fmla="*/ 2741260 w 7714416"/>
              <a:gd name="connsiteY28575" fmla="*/ 459101 h 5282095"/>
              <a:gd name="connsiteX28576" fmla="*/ 3320533 w 7714416"/>
              <a:gd name="connsiteY28576" fmla="*/ 458834 h 5282095"/>
              <a:gd name="connsiteX28577" fmla="*/ 3288872 w 7714416"/>
              <a:gd name="connsiteY28577" fmla="*/ 486231 h 5282095"/>
              <a:gd name="connsiteX28578" fmla="*/ 3286195 w 7714416"/>
              <a:gd name="connsiteY28578" fmla="*/ 481833 h 5282095"/>
              <a:gd name="connsiteX28579" fmla="*/ 3320533 w 7714416"/>
              <a:gd name="connsiteY28579" fmla="*/ 458834 h 5282095"/>
              <a:gd name="connsiteX28580" fmla="*/ 4052323 w 7714416"/>
              <a:gd name="connsiteY28580" fmla="*/ 458264 h 5282095"/>
              <a:gd name="connsiteX28581" fmla="*/ 4055010 w 7714416"/>
              <a:gd name="connsiteY28581" fmla="*/ 470369 h 5282095"/>
              <a:gd name="connsiteX28582" fmla="*/ 4051794 w 7714416"/>
              <a:gd name="connsiteY28582" fmla="*/ 470197 h 5282095"/>
              <a:gd name="connsiteX28583" fmla="*/ 4047349 w 7714416"/>
              <a:gd name="connsiteY28583" fmla="*/ 467971 h 5282095"/>
              <a:gd name="connsiteX28584" fmla="*/ 4052323 w 7714416"/>
              <a:gd name="connsiteY28584" fmla="*/ 458264 h 5282095"/>
              <a:gd name="connsiteX28585" fmla="*/ 2000062 w 7714416"/>
              <a:gd name="connsiteY28585" fmla="*/ 457150 h 5282095"/>
              <a:gd name="connsiteX28586" fmla="*/ 2013789 w 7714416"/>
              <a:gd name="connsiteY28586" fmla="*/ 472329 h 5282095"/>
              <a:gd name="connsiteX28587" fmla="*/ 2007530 w 7714416"/>
              <a:gd name="connsiteY28587" fmla="*/ 471341 h 5282095"/>
              <a:gd name="connsiteX28588" fmla="*/ 1999983 w 7714416"/>
              <a:gd name="connsiteY28588" fmla="*/ 468513 h 5282095"/>
              <a:gd name="connsiteX28589" fmla="*/ 2000062 w 7714416"/>
              <a:gd name="connsiteY28589" fmla="*/ 457150 h 5282095"/>
              <a:gd name="connsiteX28590" fmla="*/ 4521404 w 7714416"/>
              <a:gd name="connsiteY28590" fmla="*/ 454317 h 5282095"/>
              <a:gd name="connsiteX28591" fmla="*/ 4535696 w 7714416"/>
              <a:gd name="connsiteY28591" fmla="*/ 455071 h 5282095"/>
              <a:gd name="connsiteX28592" fmla="*/ 4541217 w 7714416"/>
              <a:gd name="connsiteY28592" fmla="*/ 461035 h 5282095"/>
              <a:gd name="connsiteX28593" fmla="*/ 4523266 w 7714416"/>
              <a:gd name="connsiteY28593" fmla="*/ 467151 h 5282095"/>
              <a:gd name="connsiteX28594" fmla="*/ 4516827 w 7714416"/>
              <a:gd name="connsiteY28594" fmla="*/ 464621 h 5282095"/>
              <a:gd name="connsiteX28595" fmla="*/ 4521404 w 7714416"/>
              <a:gd name="connsiteY28595" fmla="*/ 454317 h 5282095"/>
              <a:gd name="connsiteX28596" fmla="*/ 3072835 w 7714416"/>
              <a:gd name="connsiteY28596" fmla="*/ 453529 h 5282095"/>
              <a:gd name="connsiteX28597" fmla="*/ 3075401 w 7714416"/>
              <a:gd name="connsiteY28597" fmla="*/ 463877 h 5282095"/>
              <a:gd name="connsiteX28598" fmla="*/ 3069177 w 7714416"/>
              <a:gd name="connsiteY28598" fmla="*/ 456115 h 5282095"/>
              <a:gd name="connsiteX28599" fmla="*/ 3072835 w 7714416"/>
              <a:gd name="connsiteY28599" fmla="*/ 453529 h 5282095"/>
              <a:gd name="connsiteX28600" fmla="*/ 1535726 w 7714416"/>
              <a:gd name="connsiteY28600" fmla="*/ 453484 h 5282095"/>
              <a:gd name="connsiteX28601" fmla="*/ 1539248 w 7714416"/>
              <a:gd name="connsiteY28601" fmla="*/ 453622 h 5282095"/>
              <a:gd name="connsiteX28602" fmla="*/ 1545689 w 7714416"/>
              <a:gd name="connsiteY28602" fmla="*/ 456153 h 5282095"/>
              <a:gd name="connsiteX28603" fmla="*/ 1548041 w 7714416"/>
              <a:gd name="connsiteY28603" fmla="*/ 459543 h 5282095"/>
              <a:gd name="connsiteX28604" fmla="*/ 1545836 w 7714416"/>
              <a:gd name="connsiteY28604" fmla="*/ 461137 h 5282095"/>
              <a:gd name="connsiteX28605" fmla="*/ 1544956 w 7714416"/>
              <a:gd name="connsiteY28605" fmla="*/ 463316 h 5282095"/>
              <a:gd name="connsiteX28606" fmla="*/ 1543323 w 7714416"/>
              <a:gd name="connsiteY28606" fmla="*/ 462764 h 5282095"/>
              <a:gd name="connsiteX28607" fmla="*/ 1541156 w 7714416"/>
              <a:gd name="connsiteY28607" fmla="*/ 463103 h 5282095"/>
              <a:gd name="connsiteX28608" fmla="*/ 1535845 w 7714416"/>
              <a:gd name="connsiteY28608" fmla="*/ 458575 h 5282095"/>
              <a:gd name="connsiteX28609" fmla="*/ 1534599 w 7714416"/>
              <a:gd name="connsiteY28609" fmla="*/ 455481 h 5282095"/>
              <a:gd name="connsiteX28610" fmla="*/ 1535726 w 7714416"/>
              <a:gd name="connsiteY28610" fmla="*/ 453484 h 5282095"/>
              <a:gd name="connsiteX28611" fmla="*/ 1164454 w 7714416"/>
              <a:gd name="connsiteY28611" fmla="*/ 453362 h 5282095"/>
              <a:gd name="connsiteX28612" fmla="*/ 1168679 w 7714416"/>
              <a:gd name="connsiteY28612" fmla="*/ 455300 h 5282095"/>
              <a:gd name="connsiteX28613" fmla="*/ 1168018 w 7714416"/>
              <a:gd name="connsiteY28613" fmla="*/ 457768 h 5282095"/>
              <a:gd name="connsiteX28614" fmla="*/ 1168885 w 7714416"/>
              <a:gd name="connsiteY28614" fmla="*/ 460069 h 5282095"/>
              <a:gd name="connsiteX28615" fmla="*/ 1167329 w 7714416"/>
              <a:gd name="connsiteY28615" fmla="*/ 460343 h 5282095"/>
              <a:gd name="connsiteX28616" fmla="*/ 1166097 w 7714416"/>
              <a:gd name="connsiteY28616" fmla="*/ 461623 h 5282095"/>
              <a:gd name="connsiteX28617" fmla="*/ 1158758 w 7714416"/>
              <a:gd name="connsiteY28617" fmla="*/ 460231 h 5282095"/>
              <a:gd name="connsiteX28618" fmla="*/ 1155754 w 7714416"/>
              <a:gd name="connsiteY28618" fmla="*/ 458162 h 5282095"/>
              <a:gd name="connsiteX28619" fmla="*/ 1155195 w 7714416"/>
              <a:gd name="connsiteY28619" fmla="*/ 455826 h 5282095"/>
              <a:gd name="connsiteX28620" fmla="*/ 1158011 w 7714416"/>
              <a:gd name="connsiteY28620" fmla="*/ 454166 h 5282095"/>
              <a:gd name="connsiteX28621" fmla="*/ 1164454 w 7714416"/>
              <a:gd name="connsiteY28621" fmla="*/ 453362 h 5282095"/>
              <a:gd name="connsiteX28622" fmla="*/ 3333901 w 7714416"/>
              <a:gd name="connsiteY28622" fmla="*/ 453216 h 5282095"/>
              <a:gd name="connsiteX28623" fmla="*/ 3326541 w 7714416"/>
              <a:gd name="connsiteY28623" fmla="*/ 471829 h 5282095"/>
              <a:gd name="connsiteX28624" fmla="*/ 3321773 w 7714416"/>
              <a:gd name="connsiteY28624" fmla="*/ 459741 h 5282095"/>
              <a:gd name="connsiteX28625" fmla="*/ 3333901 w 7714416"/>
              <a:gd name="connsiteY28625" fmla="*/ 453216 h 5282095"/>
              <a:gd name="connsiteX28626" fmla="*/ 3653692 w 7714416"/>
              <a:gd name="connsiteY28626" fmla="*/ 452882 h 5282095"/>
              <a:gd name="connsiteX28627" fmla="*/ 3657156 w 7714416"/>
              <a:gd name="connsiteY28627" fmla="*/ 453235 h 5282095"/>
              <a:gd name="connsiteX28628" fmla="*/ 3659158 w 7714416"/>
              <a:gd name="connsiteY28628" fmla="*/ 455727 h 5282095"/>
              <a:gd name="connsiteX28629" fmla="*/ 3659639 w 7714416"/>
              <a:gd name="connsiteY28629" fmla="*/ 460571 h 5282095"/>
              <a:gd name="connsiteX28630" fmla="*/ 3656402 w 7714416"/>
              <a:gd name="connsiteY28630" fmla="*/ 462694 h 5282095"/>
              <a:gd name="connsiteX28631" fmla="*/ 3653138 w 7714416"/>
              <a:gd name="connsiteY28631" fmla="*/ 461588 h 5282095"/>
              <a:gd name="connsiteX28632" fmla="*/ 3649617 w 7714416"/>
              <a:gd name="connsiteY28632" fmla="*/ 461450 h 5282095"/>
              <a:gd name="connsiteX28633" fmla="*/ 3649628 w 7714416"/>
              <a:gd name="connsiteY28633" fmla="*/ 460303 h 5282095"/>
              <a:gd name="connsiteX28634" fmla="*/ 3647892 w 7714416"/>
              <a:gd name="connsiteY28634" fmla="*/ 459033 h 5282095"/>
              <a:gd name="connsiteX28635" fmla="*/ 3650626 w 7714416"/>
              <a:gd name="connsiteY28635" fmla="*/ 454361 h 5282095"/>
              <a:gd name="connsiteX28636" fmla="*/ 3653692 w 7714416"/>
              <a:gd name="connsiteY28636" fmla="*/ 452882 h 5282095"/>
              <a:gd name="connsiteX28637" fmla="*/ 2455015 w 7714416"/>
              <a:gd name="connsiteY28637" fmla="*/ 452667 h 5282095"/>
              <a:gd name="connsiteX28638" fmla="*/ 2459981 w 7714416"/>
              <a:gd name="connsiteY28638" fmla="*/ 458484 h 5282095"/>
              <a:gd name="connsiteX28639" fmla="*/ 2453782 w 7714416"/>
              <a:gd name="connsiteY28639" fmla="*/ 453947 h 5282095"/>
              <a:gd name="connsiteX28640" fmla="*/ 2455015 w 7714416"/>
              <a:gd name="connsiteY28640" fmla="*/ 452667 h 5282095"/>
              <a:gd name="connsiteX28641" fmla="*/ 2318150 w 7714416"/>
              <a:gd name="connsiteY28641" fmla="*/ 452105 h 5282095"/>
              <a:gd name="connsiteX28642" fmla="*/ 2310581 w 7714416"/>
              <a:gd name="connsiteY28642" fmla="*/ 460427 h 5282095"/>
              <a:gd name="connsiteX28643" fmla="*/ 2318150 w 7714416"/>
              <a:gd name="connsiteY28643" fmla="*/ 452105 h 5282095"/>
              <a:gd name="connsiteX28644" fmla="*/ 3167127 w 7714416"/>
              <a:gd name="connsiteY28644" fmla="*/ 450275 h 5282095"/>
              <a:gd name="connsiteX28645" fmla="*/ 3176567 w 7714416"/>
              <a:gd name="connsiteY28645" fmla="*/ 458210 h 5282095"/>
              <a:gd name="connsiteX28646" fmla="*/ 3171497 w 7714416"/>
              <a:gd name="connsiteY28646" fmla="*/ 460530 h 5282095"/>
              <a:gd name="connsiteX28647" fmla="*/ 3163788 w 7714416"/>
              <a:gd name="connsiteY28647" fmla="*/ 457200 h 5282095"/>
              <a:gd name="connsiteX28648" fmla="*/ 3167127 w 7714416"/>
              <a:gd name="connsiteY28648" fmla="*/ 450275 h 5282095"/>
              <a:gd name="connsiteX28649" fmla="*/ 4309780 w 7714416"/>
              <a:gd name="connsiteY28649" fmla="*/ 449278 h 5282095"/>
              <a:gd name="connsiteX28650" fmla="*/ 4315085 w 7714416"/>
              <a:gd name="connsiteY28650" fmla="*/ 451619 h 5282095"/>
              <a:gd name="connsiteX28651" fmla="*/ 4317398 w 7714416"/>
              <a:gd name="connsiteY28651" fmla="*/ 456264 h 5282095"/>
              <a:gd name="connsiteX28652" fmla="*/ 4304063 w 7714416"/>
              <a:gd name="connsiteY28652" fmla="*/ 458441 h 5282095"/>
              <a:gd name="connsiteX28653" fmla="*/ 4305044 w 7714416"/>
              <a:gd name="connsiteY28653" fmla="*/ 451459 h 5282095"/>
              <a:gd name="connsiteX28654" fmla="*/ 4309780 w 7714416"/>
              <a:gd name="connsiteY28654" fmla="*/ 449278 h 5282095"/>
              <a:gd name="connsiteX28655" fmla="*/ 1052384 w 7714416"/>
              <a:gd name="connsiteY28655" fmla="*/ 448950 h 5282095"/>
              <a:gd name="connsiteX28656" fmla="*/ 1073271 w 7714416"/>
              <a:gd name="connsiteY28656" fmla="*/ 450551 h 5282095"/>
              <a:gd name="connsiteX28657" fmla="*/ 1074881 w 7714416"/>
              <a:gd name="connsiteY28657" fmla="*/ 462252 h 5282095"/>
              <a:gd name="connsiteX28658" fmla="*/ 1060563 w 7714416"/>
              <a:gd name="connsiteY28658" fmla="*/ 462556 h 5282095"/>
              <a:gd name="connsiteX28659" fmla="*/ 1047282 w 7714416"/>
              <a:gd name="connsiteY28659" fmla="*/ 458997 h 5282095"/>
              <a:gd name="connsiteX28660" fmla="*/ 1052384 w 7714416"/>
              <a:gd name="connsiteY28660" fmla="*/ 448950 h 5282095"/>
              <a:gd name="connsiteX28661" fmla="*/ 2888913 w 7714416"/>
              <a:gd name="connsiteY28661" fmla="*/ 448178 h 5282095"/>
              <a:gd name="connsiteX28662" fmla="*/ 2894648 w 7714416"/>
              <a:gd name="connsiteY28662" fmla="*/ 448909 h 5282095"/>
              <a:gd name="connsiteX28663" fmla="*/ 2898148 w 7714416"/>
              <a:gd name="connsiteY28663" fmla="*/ 451343 h 5282095"/>
              <a:gd name="connsiteX28664" fmla="*/ 2898942 w 7714416"/>
              <a:gd name="connsiteY28664" fmla="*/ 458340 h 5282095"/>
              <a:gd name="connsiteX28665" fmla="*/ 2883882 w 7714416"/>
              <a:gd name="connsiteY28665" fmla="*/ 458100 h 5282095"/>
              <a:gd name="connsiteX28666" fmla="*/ 2881758 w 7714416"/>
              <a:gd name="connsiteY28666" fmla="*/ 453851 h 5282095"/>
              <a:gd name="connsiteX28667" fmla="*/ 2884597 w 7714416"/>
              <a:gd name="connsiteY28667" fmla="*/ 449897 h 5282095"/>
              <a:gd name="connsiteX28668" fmla="*/ 2888913 w 7714416"/>
              <a:gd name="connsiteY28668" fmla="*/ 448178 h 5282095"/>
              <a:gd name="connsiteX28669" fmla="*/ 2441984 w 7714416"/>
              <a:gd name="connsiteY28669" fmla="*/ 445956 h 5282095"/>
              <a:gd name="connsiteX28670" fmla="*/ 2445754 w 7714416"/>
              <a:gd name="connsiteY28670" fmla="*/ 455131 h 5282095"/>
              <a:gd name="connsiteX28671" fmla="*/ 2440647 w 7714416"/>
              <a:gd name="connsiteY28671" fmla="*/ 455373 h 5282095"/>
              <a:gd name="connsiteX28672" fmla="*/ 2432246 w 7714416"/>
              <a:gd name="connsiteY28672" fmla="*/ 449096 h 5282095"/>
              <a:gd name="connsiteX28673" fmla="*/ 2441984 w 7714416"/>
              <a:gd name="connsiteY28673" fmla="*/ 445956 h 5282095"/>
              <a:gd name="connsiteX28674" fmla="*/ 3803022 w 7714416"/>
              <a:gd name="connsiteY28674" fmla="*/ 443444 h 5282095"/>
              <a:gd name="connsiteX28675" fmla="*/ 3797323 w 7714416"/>
              <a:gd name="connsiteY28675" fmla="*/ 480213 h 5282095"/>
              <a:gd name="connsiteX28676" fmla="*/ 3803022 w 7714416"/>
              <a:gd name="connsiteY28676" fmla="*/ 443444 h 5282095"/>
              <a:gd name="connsiteX28677" fmla="*/ 1349825 w 7714416"/>
              <a:gd name="connsiteY28677" fmla="*/ 443346 h 5282095"/>
              <a:gd name="connsiteX28678" fmla="*/ 1367935 w 7714416"/>
              <a:gd name="connsiteY28678" fmla="*/ 455444 h 5282095"/>
              <a:gd name="connsiteX28679" fmla="*/ 1353101 w 7714416"/>
              <a:gd name="connsiteY28679" fmla="*/ 457680 h 5282095"/>
              <a:gd name="connsiteX28680" fmla="*/ 1349825 w 7714416"/>
              <a:gd name="connsiteY28680" fmla="*/ 443346 h 5282095"/>
              <a:gd name="connsiteX28681" fmla="*/ 3434815 w 7714416"/>
              <a:gd name="connsiteY28681" fmla="*/ 441844 h 5282095"/>
              <a:gd name="connsiteX28682" fmla="*/ 3429249 w 7714416"/>
              <a:gd name="connsiteY28682" fmla="*/ 452658 h 5282095"/>
              <a:gd name="connsiteX28683" fmla="*/ 3434815 w 7714416"/>
              <a:gd name="connsiteY28683" fmla="*/ 441844 h 5282095"/>
              <a:gd name="connsiteX28684" fmla="*/ 3146960 w 7714416"/>
              <a:gd name="connsiteY28684" fmla="*/ 441420 h 5282095"/>
              <a:gd name="connsiteX28685" fmla="*/ 3142227 w 7714416"/>
              <a:gd name="connsiteY28685" fmla="*/ 449122 h 5282095"/>
              <a:gd name="connsiteX28686" fmla="*/ 3141523 w 7714416"/>
              <a:gd name="connsiteY28686" fmla="*/ 447323 h 5282095"/>
              <a:gd name="connsiteX28687" fmla="*/ 3142928 w 7714416"/>
              <a:gd name="connsiteY28687" fmla="*/ 445401 h 5282095"/>
              <a:gd name="connsiteX28688" fmla="*/ 3146960 w 7714416"/>
              <a:gd name="connsiteY28688" fmla="*/ 441420 h 5282095"/>
              <a:gd name="connsiteX28689" fmla="*/ 1411818 w 7714416"/>
              <a:gd name="connsiteY28689" fmla="*/ 441098 h 5282095"/>
              <a:gd name="connsiteX28690" fmla="*/ 1415806 w 7714416"/>
              <a:gd name="connsiteY28690" fmla="*/ 441706 h 5282095"/>
              <a:gd name="connsiteX28691" fmla="*/ 1414836 w 7714416"/>
              <a:gd name="connsiteY28691" fmla="*/ 447541 h 5282095"/>
              <a:gd name="connsiteX28692" fmla="*/ 1409834 w 7714416"/>
              <a:gd name="connsiteY28692" fmla="*/ 448501 h 5282095"/>
              <a:gd name="connsiteX28693" fmla="*/ 1407515 w 7714416"/>
              <a:gd name="connsiteY28693" fmla="*/ 447190 h 5282095"/>
              <a:gd name="connsiteX28694" fmla="*/ 1407785 w 7714416"/>
              <a:gd name="connsiteY28694" fmla="*/ 445077 h 5282095"/>
              <a:gd name="connsiteX28695" fmla="*/ 1409039 w 7714416"/>
              <a:gd name="connsiteY28695" fmla="*/ 441502 h 5282095"/>
              <a:gd name="connsiteX28696" fmla="*/ 1411818 w 7714416"/>
              <a:gd name="connsiteY28696" fmla="*/ 441098 h 5282095"/>
              <a:gd name="connsiteX28697" fmla="*/ 2863352 w 7714416"/>
              <a:gd name="connsiteY28697" fmla="*/ 440639 h 5282095"/>
              <a:gd name="connsiteX28698" fmla="*/ 2859698 w 7714416"/>
              <a:gd name="connsiteY28698" fmla="*/ 448745 h 5282095"/>
              <a:gd name="connsiteX28699" fmla="*/ 2858411 w 7714416"/>
              <a:gd name="connsiteY28699" fmla="*/ 446904 h 5282095"/>
              <a:gd name="connsiteX28700" fmla="*/ 2859816 w 7714416"/>
              <a:gd name="connsiteY28700" fmla="*/ 444982 h 5282095"/>
              <a:gd name="connsiteX28701" fmla="*/ 2863352 w 7714416"/>
              <a:gd name="connsiteY28701" fmla="*/ 440639 h 5282095"/>
              <a:gd name="connsiteX28702" fmla="*/ 2851680 w 7714416"/>
              <a:gd name="connsiteY28702" fmla="*/ 439926 h 5282095"/>
              <a:gd name="connsiteX28703" fmla="*/ 2853064 w 7714416"/>
              <a:gd name="connsiteY28703" fmla="*/ 440297 h 5282095"/>
              <a:gd name="connsiteX28704" fmla="*/ 2851296 w 7714416"/>
              <a:gd name="connsiteY28704" fmla="*/ 442469 h 5282095"/>
              <a:gd name="connsiteX28705" fmla="*/ 2851680 w 7714416"/>
              <a:gd name="connsiteY28705" fmla="*/ 439926 h 5282095"/>
              <a:gd name="connsiteX28706" fmla="*/ 2835092 w 7714416"/>
              <a:gd name="connsiteY28706" fmla="*/ 439852 h 5282095"/>
              <a:gd name="connsiteX28707" fmla="*/ 2847469 w 7714416"/>
              <a:gd name="connsiteY28707" fmla="*/ 442363 h 5282095"/>
              <a:gd name="connsiteX28708" fmla="*/ 2851788 w 7714416"/>
              <a:gd name="connsiteY28708" fmla="*/ 446165 h 5282095"/>
              <a:gd name="connsiteX28709" fmla="*/ 2853606 w 7714416"/>
              <a:gd name="connsiteY28709" fmla="*/ 450448 h 5282095"/>
              <a:gd name="connsiteX28710" fmla="*/ 2849459 w 7714416"/>
              <a:gd name="connsiteY28710" fmla="*/ 454856 h 5282095"/>
              <a:gd name="connsiteX28711" fmla="*/ 2847799 w 7714416"/>
              <a:gd name="connsiteY28711" fmla="*/ 454411 h 5282095"/>
              <a:gd name="connsiteX28712" fmla="*/ 2846660 w 7714416"/>
              <a:gd name="connsiteY28712" fmla="*/ 457557 h 5282095"/>
              <a:gd name="connsiteX28713" fmla="*/ 2841345 w 7714416"/>
              <a:gd name="connsiteY28713" fmla="*/ 465217 h 5282095"/>
              <a:gd name="connsiteX28714" fmla="*/ 2844198 w 7714416"/>
              <a:gd name="connsiteY28714" fmla="*/ 456783 h 5282095"/>
              <a:gd name="connsiteX28715" fmla="*/ 2845614 w 7714416"/>
              <a:gd name="connsiteY28715" fmla="*/ 453711 h 5282095"/>
              <a:gd name="connsiteX28716" fmla="*/ 2843429 w 7714416"/>
              <a:gd name="connsiteY28716" fmla="*/ 453011 h 5282095"/>
              <a:gd name="connsiteX28717" fmla="*/ 2835092 w 7714416"/>
              <a:gd name="connsiteY28717" fmla="*/ 439852 h 5282095"/>
              <a:gd name="connsiteX28718" fmla="*/ 2265480 w 7714416"/>
              <a:gd name="connsiteY28718" fmla="*/ 439487 h 5282095"/>
              <a:gd name="connsiteX28719" fmla="*/ 2271348 w 7714416"/>
              <a:gd name="connsiteY28719" fmla="*/ 449684 h 5282095"/>
              <a:gd name="connsiteX28720" fmla="*/ 2273651 w 7714416"/>
              <a:gd name="connsiteY28720" fmla="*/ 455477 h 5282095"/>
              <a:gd name="connsiteX28721" fmla="*/ 2271433 w 7714416"/>
              <a:gd name="connsiteY28721" fmla="*/ 458218 h 5282095"/>
              <a:gd name="connsiteX28722" fmla="*/ 2269906 w 7714416"/>
              <a:gd name="connsiteY28722" fmla="*/ 458383 h 5282095"/>
              <a:gd name="connsiteX28723" fmla="*/ 2267571 w 7714416"/>
              <a:gd name="connsiteY28723" fmla="*/ 456033 h 5282095"/>
              <a:gd name="connsiteX28724" fmla="*/ 2264129 w 7714416"/>
              <a:gd name="connsiteY28724" fmla="*/ 444530 h 5282095"/>
              <a:gd name="connsiteX28725" fmla="*/ 2263262 w 7714416"/>
              <a:gd name="connsiteY28725" fmla="*/ 442228 h 5282095"/>
              <a:gd name="connsiteX28726" fmla="*/ 2265480 w 7714416"/>
              <a:gd name="connsiteY28726" fmla="*/ 439487 h 5282095"/>
              <a:gd name="connsiteX28727" fmla="*/ 1125834 w 7714416"/>
              <a:gd name="connsiteY28727" fmla="*/ 439220 h 5282095"/>
              <a:gd name="connsiteX28728" fmla="*/ 1154791 w 7714416"/>
              <a:gd name="connsiteY28728" fmla="*/ 457328 h 5282095"/>
              <a:gd name="connsiteX28729" fmla="*/ 1148129 w 7714416"/>
              <a:gd name="connsiteY28729" fmla="*/ 457844 h 5282095"/>
              <a:gd name="connsiteX28730" fmla="*/ 1140437 w 7714416"/>
              <a:gd name="connsiteY28730" fmla="*/ 455553 h 5282095"/>
              <a:gd name="connsiteX28731" fmla="*/ 1126589 w 7714416"/>
              <a:gd name="connsiteY28731" fmla="*/ 447471 h 5282095"/>
              <a:gd name="connsiteX28732" fmla="*/ 1125834 w 7714416"/>
              <a:gd name="connsiteY28732" fmla="*/ 439220 h 5282095"/>
              <a:gd name="connsiteX28733" fmla="*/ 2604361 w 7714416"/>
              <a:gd name="connsiteY28733" fmla="*/ 438748 h 5282095"/>
              <a:gd name="connsiteX28734" fmla="*/ 2615403 w 7714416"/>
              <a:gd name="connsiteY28734" fmla="*/ 447342 h 5282095"/>
              <a:gd name="connsiteX28735" fmla="*/ 2615374 w 7714416"/>
              <a:gd name="connsiteY28735" fmla="*/ 447449 h 5282095"/>
              <a:gd name="connsiteX28736" fmla="*/ 2616025 w 7714416"/>
              <a:gd name="connsiteY28736" fmla="*/ 446129 h 5282095"/>
              <a:gd name="connsiteX28737" fmla="*/ 2616291 w 7714416"/>
              <a:gd name="connsiteY28737" fmla="*/ 447350 h 5282095"/>
              <a:gd name="connsiteX28738" fmla="*/ 2615565 w 7714416"/>
              <a:gd name="connsiteY28738" fmla="*/ 447846 h 5282095"/>
              <a:gd name="connsiteX28739" fmla="*/ 2618145 w 7714416"/>
              <a:gd name="connsiteY28739" fmla="*/ 453713 h 5282095"/>
              <a:gd name="connsiteX28740" fmla="*/ 2616880 w 7714416"/>
              <a:gd name="connsiteY28740" fmla="*/ 458434 h 5282095"/>
              <a:gd name="connsiteX28741" fmla="*/ 2613405 w 7714416"/>
              <a:gd name="connsiteY28741" fmla="*/ 459227 h 5282095"/>
              <a:gd name="connsiteX28742" fmla="*/ 2615831 w 7714416"/>
              <a:gd name="connsiteY28742" fmla="*/ 466777 h 5282095"/>
              <a:gd name="connsiteX28743" fmla="*/ 2617842 w 7714416"/>
              <a:gd name="connsiteY28743" fmla="*/ 494687 h 5282095"/>
              <a:gd name="connsiteX28744" fmla="*/ 2590072 w 7714416"/>
              <a:gd name="connsiteY28744" fmla="*/ 492075 h 5282095"/>
              <a:gd name="connsiteX28745" fmla="*/ 2589943 w 7714416"/>
              <a:gd name="connsiteY28745" fmla="*/ 452711 h 5282095"/>
              <a:gd name="connsiteX28746" fmla="*/ 2593285 w 7714416"/>
              <a:gd name="connsiteY28746" fmla="*/ 451307 h 5282095"/>
              <a:gd name="connsiteX28747" fmla="*/ 2591466 w 7714416"/>
              <a:gd name="connsiteY28747" fmla="*/ 447024 h 5282095"/>
              <a:gd name="connsiteX28748" fmla="*/ 2593925 w 7714416"/>
              <a:gd name="connsiteY28748" fmla="*/ 442277 h 5282095"/>
              <a:gd name="connsiteX28749" fmla="*/ 2604361 w 7714416"/>
              <a:gd name="connsiteY28749" fmla="*/ 438748 h 5282095"/>
              <a:gd name="connsiteX28750" fmla="*/ 2102532 w 7714416"/>
              <a:gd name="connsiteY28750" fmla="*/ 435687 h 5282095"/>
              <a:gd name="connsiteX28751" fmla="*/ 2114273 w 7714416"/>
              <a:gd name="connsiteY28751" fmla="*/ 436002 h 5282095"/>
              <a:gd name="connsiteX28752" fmla="*/ 2124615 w 7714416"/>
              <a:gd name="connsiteY28752" fmla="*/ 448318 h 5282095"/>
              <a:gd name="connsiteX28753" fmla="*/ 2122280 w 7714416"/>
              <a:gd name="connsiteY28753" fmla="*/ 454822 h 5282095"/>
              <a:gd name="connsiteX28754" fmla="*/ 2102349 w 7714416"/>
              <a:gd name="connsiteY28754" fmla="*/ 456152 h 5282095"/>
              <a:gd name="connsiteX28755" fmla="*/ 2093840 w 7714416"/>
              <a:gd name="connsiteY28755" fmla="*/ 443637 h 5282095"/>
              <a:gd name="connsiteX28756" fmla="*/ 2090157 w 7714416"/>
              <a:gd name="connsiteY28756" fmla="*/ 442994 h 5282095"/>
              <a:gd name="connsiteX28757" fmla="*/ 2085094 w 7714416"/>
              <a:gd name="connsiteY28757" fmla="*/ 438648 h 5282095"/>
              <a:gd name="connsiteX28758" fmla="*/ 2087882 w 7714416"/>
              <a:gd name="connsiteY28758" fmla="*/ 437096 h 5282095"/>
              <a:gd name="connsiteX28759" fmla="*/ 2094501 w 7714416"/>
              <a:gd name="connsiteY28759" fmla="*/ 441170 h 5282095"/>
              <a:gd name="connsiteX28760" fmla="*/ 2096058 w 7714416"/>
              <a:gd name="connsiteY28760" fmla="*/ 440896 h 5282095"/>
              <a:gd name="connsiteX28761" fmla="*/ 2098275 w 7714416"/>
              <a:gd name="connsiteY28761" fmla="*/ 438155 h 5282095"/>
              <a:gd name="connsiteX28762" fmla="*/ 2102532 w 7714416"/>
              <a:gd name="connsiteY28762" fmla="*/ 435687 h 5282095"/>
              <a:gd name="connsiteX28763" fmla="*/ 1775882 w 7714416"/>
              <a:gd name="connsiteY28763" fmla="*/ 434917 h 5282095"/>
              <a:gd name="connsiteX28764" fmla="*/ 1779087 w 7714416"/>
              <a:gd name="connsiteY28764" fmla="*/ 436235 h 5282095"/>
              <a:gd name="connsiteX28765" fmla="*/ 1777531 w 7714416"/>
              <a:gd name="connsiteY28765" fmla="*/ 436508 h 5282095"/>
              <a:gd name="connsiteX28766" fmla="*/ 1775882 w 7714416"/>
              <a:gd name="connsiteY28766" fmla="*/ 434917 h 5282095"/>
              <a:gd name="connsiteX28767" fmla="*/ 2852870 w 7714416"/>
              <a:gd name="connsiteY28767" fmla="*/ 434381 h 5282095"/>
              <a:gd name="connsiteX28768" fmla="*/ 2857833 w 7714416"/>
              <a:gd name="connsiteY28768" fmla="*/ 434675 h 5282095"/>
              <a:gd name="connsiteX28769" fmla="*/ 2851910 w 7714416"/>
              <a:gd name="connsiteY28769" fmla="*/ 439069 h 5282095"/>
              <a:gd name="connsiteX28770" fmla="*/ 2852870 w 7714416"/>
              <a:gd name="connsiteY28770" fmla="*/ 434381 h 5282095"/>
              <a:gd name="connsiteX28771" fmla="*/ 3978706 w 7714416"/>
              <a:gd name="connsiteY28771" fmla="*/ 434168 h 5282095"/>
              <a:gd name="connsiteX28772" fmla="*/ 3984861 w 7714416"/>
              <a:gd name="connsiteY28772" fmla="*/ 434437 h 5282095"/>
              <a:gd name="connsiteX28773" fmla="*/ 3988878 w 7714416"/>
              <a:gd name="connsiteY28773" fmla="*/ 461503 h 5282095"/>
              <a:gd name="connsiteX28774" fmla="*/ 3983829 w 7714416"/>
              <a:gd name="connsiteY28774" fmla="*/ 461531 h 5282095"/>
              <a:gd name="connsiteX28775" fmla="*/ 3975863 w 7714416"/>
              <a:gd name="connsiteY28775" fmla="*/ 459166 h 5282095"/>
              <a:gd name="connsiteX28776" fmla="*/ 3967360 w 7714416"/>
              <a:gd name="connsiteY28776" fmla="*/ 439983 h 5282095"/>
              <a:gd name="connsiteX28777" fmla="*/ 3978706 w 7714416"/>
              <a:gd name="connsiteY28777" fmla="*/ 434168 h 5282095"/>
              <a:gd name="connsiteX28778" fmla="*/ 1968963 w 7714416"/>
              <a:gd name="connsiteY28778" fmla="*/ 433751 h 5282095"/>
              <a:gd name="connsiteX28779" fmla="*/ 1973190 w 7714416"/>
              <a:gd name="connsiteY28779" fmla="*/ 435689 h 5282095"/>
              <a:gd name="connsiteX28780" fmla="*/ 1968443 w 7714416"/>
              <a:gd name="connsiteY28780" fmla="*/ 439017 h 5282095"/>
              <a:gd name="connsiteX28781" fmla="*/ 1966108 w 7714416"/>
              <a:gd name="connsiteY28781" fmla="*/ 436666 h 5282095"/>
              <a:gd name="connsiteX28782" fmla="*/ 1966099 w 7714416"/>
              <a:gd name="connsiteY28782" fmla="*/ 434479 h 5282095"/>
              <a:gd name="connsiteX28783" fmla="*/ 1968963 w 7714416"/>
              <a:gd name="connsiteY28783" fmla="*/ 433751 h 5282095"/>
              <a:gd name="connsiteX28784" fmla="*/ 1949275 w 7714416"/>
              <a:gd name="connsiteY28784" fmla="*/ 433077 h 5282095"/>
              <a:gd name="connsiteX28785" fmla="*/ 1953598 w 7714416"/>
              <a:gd name="connsiteY28785" fmla="*/ 442399 h 5282095"/>
              <a:gd name="connsiteX28786" fmla="*/ 1951449 w 7714416"/>
              <a:gd name="connsiteY28786" fmla="*/ 443779 h 5282095"/>
              <a:gd name="connsiteX28787" fmla="*/ 1950342 w 7714416"/>
              <a:gd name="connsiteY28787" fmla="*/ 443482 h 5282095"/>
              <a:gd name="connsiteX28788" fmla="*/ 1946813 w 7714416"/>
              <a:gd name="connsiteY28788" fmla="*/ 441157 h 5282095"/>
              <a:gd name="connsiteX28789" fmla="*/ 1945214 w 7714416"/>
              <a:gd name="connsiteY28789" fmla="*/ 437164 h 5282095"/>
              <a:gd name="connsiteX28790" fmla="*/ 1946019 w 7714416"/>
              <a:gd name="connsiteY28790" fmla="*/ 434159 h 5282095"/>
              <a:gd name="connsiteX28791" fmla="*/ 1949275 w 7714416"/>
              <a:gd name="connsiteY28791" fmla="*/ 433077 h 5282095"/>
              <a:gd name="connsiteX28792" fmla="*/ 2766448 w 7714416"/>
              <a:gd name="connsiteY28792" fmla="*/ 432614 h 5282095"/>
              <a:gd name="connsiteX28793" fmla="*/ 2768999 w 7714416"/>
              <a:gd name="connsiteY28793" fmla="*/ 438587 h 5282095"/>
              <a:gd name="connsiteX28794" fmla="*/ 2764992 w 7714416"/>
              <a:gd name="connsiteY28794" fmla="*/ 436939 h 5282095"/>
              <a:gd name="connsiteX28795" fmla="*/ 2764892 w 7714416"/>
              <a:gd name="connsiteY28795" fmla="*/ 432887 h 5282095"/>
              <a:gd name="connsiteX28796" fmla="*/ 2766448 w 7714416"/>
              <a:gd name="connsiteY28796" fmla="*/ 432614 h 5282095"/>
              <a:gd name="connsiteX28797" fmla="*/ 2315492 w 7714416"/>
              <a:gd name="connsiteY28797" fmla="*/ 431037 h 5282095"/>
              <a:gd name="connsiteX28798" fmla="*/ 2317888 w 7714416"/>
              <a:gd name="connsiteY28798" fmla="*/ 438694 h 5282095"/>
              <a:gd name="connsiteX28799" fmla="*/ 2295554 w 7714416"/>
              <a:gd name="connsiteY28799" fmla="*/ 439035 h 5282095"/>
              <a:gd name="connsiteX28800" fmla="*/ 2290318 w 7714416"/>
              <a:gd name="connsiteY28800" fmla="*/ 435333 h 5282095"/>
              <a:gd name="connsiteX28801" fmla="*/ 2315492 w 7714416"/>
              <a:gd name="connsiteY28801" fmla="*/ 431037 h 5282095"/>
              <a:gd name="connsiteX28802" fmla="*/ 2641220 w 7714416"/>
              <a:gd name="connsiteY28802" fmla="*/ 430684 h 5282095"/>
              <a:gd name="connsiteX28803" fmla="*/ 2670384 w 7714416"/>
              <a:gd name="connsiteY28803" fmla="*/ 467939 h 5282095"/>
              <a:gd name="connsiteX28804" fmla="*/ 2664096 w 7714416"/>
              <a:gd name="connsiteY28804" fmla="*/ 467060 h 5282095"/>
              <a:gd name="connsiteX28805" fmla="*/ 2654616 w 7714416"/>
              <a:gd name="connsiteY28805" fmla="*/ 460380 h 5282095"/>
              <a:gd name="connsiteX28806" fmla="*/ 2651633 w 7714416"/>
              <a:gd name="connsiteY28806" fmla="*/ 456015 h 5282095"/>
              <a:gd name="connsiteX28807" fmla="*/ 2649858 w 7714416"/>
              <a:gd name="connsiteY28807" fmla="*/ 456000 h 5282095"/>
              <a:gd name="connsiteX28808" fmla="*/ 2640047 w 7714416"/>
              <a:gd name="connsiteY28808" fmla="*/ 454981 h 5282095"/>
              <a:gd name="connsiteX28809" fmla="*/ 2637597 w 7714416"/>
              <a:gd name="connsiteY28809" fmla="*/ 453059 h 5282095"/>
              <a:gd name="connsiteX28810" fmla="*/ 2638650 w 7714416"/>
              <a:gd name="connsiteY28810" fmla="*/ 450237 h 5282095"/>
              <a:gd name="connsiteX28811" fmla="*/ 2647087 w 7714416"/>
              <a:gd name="connsiteY28811" fmla="*/ 449737 h 5282095"/>
              <a:gd name="connsiteX28812" fmla="*/ 2642862 w 7714416"/>
              <a:gd name="connsiteY28812" fmla="*/ 438944 h 5282095"/>
              <a:gd name="connsiteX28813" fmla="*/ 2641220 w 7714416"/>
              <a:gd name="connsiteY28813" fmla="*/ 430684 h 5282095"/>
              <a:gd name="connsiteX28814" fmla="*/ 2435646 w 7714416"/>
              <a:gd name="connsiteY28814" fmla="*/ 429767 h 5282095"/>
              <a:gd name="connsiteX28815" fmla="*/ 2436454 w 7714416"/>
              <a:gd name="connsiteY28815" fmla="*/ 432284 h 5282095"/>
              <a:gd name="connsiteX28816" fmla="*/ 2449635 w 7714416"/>
              <a:gd name="connsiteY28816" fmla="*/ 449501 h 5282095"/>
              <a:gd name="connsiteX28817" fmla="*/ 2428984 w 7714416"/>
              <a:gd name="connsiteY28817" fmla="*/ 430282 h 5282095"/>
              <a:gd name="connsiteX28818" fmla="*/ 2435646 w 7714416"/>
              <a:gd name="connsiteY28818" fmla="*/ 429767 h 5282095"/>
              <a:gd name="connsiteX28819" fmla="*/ 3485862 w 7714416"/>
              <a:gd name="connsiteY28819" fmla="*/ 429533 h 5282095"/>
              <a:gd name="connsiteX28820" fmla="*/ 3489894 w 7714416"/>
              <a:gd name="connsiteY28820" fmla="*/ 434407 h 5282095"/>
              <a:gd name="connsiteX28821" fmla="*/ 3482542 w 7714416"/>
              <a:gd name="connsiteY28821" fmla="*/ 437498 h 5282095"/>
              <a:gd name="connsiteX28822" fmla="*/ 3480109 w 7714416"/>
              <a:gd name="connsiteY28822" fmla="*/ 436616 h 5282095"/>
              <a:gd name="connsiteX28823" fmla="*/ 3476077 w 7714416"/>
              <a:gd name="connsiteY28823" fmla="*/ 431741 h 5282095"/>
              <a:gd name="connsiteX28824" fmla="*/ 3485862 w 7714416"/>
              <a:gd name="connsiteY28824" fmla="*/ 429533 h 5282095"/>
              <a:gd name="connsiteX28825" fmla="*/ 3269713 w 7714416"/>
              <a:gd name="connsiteY28825" fmla="*/ 429346 h 5282095"/>
              <a:gd name="connsiteX28826" fmla="*/ 3277253 w 7714416"/>
              <a:gd name="connsiteY28826" fmla="*/ 429986 h 5282095"/>
              <a:gd name="connsiteX28827" fmla="*/ 3288097 w 7714416"/>
              <a:gd name="connsiteY28827" fmla="*/ 435998 h 5282095"/>
              <a:gd name="connsiteX28828" fmla="*/ 3283516 w 7714416"/>
              <a:gd name="connsiteY28828" fmla="*/ 445350 h 5282095"/>
              <a:gd name="connsiteX28829" fmla="*/ 3285261 w 7714416"/>
              <a:gd name="connsiteY28829" fmla="*/ 445473 h 5282095"/>
              <a:gd name="connsiteX28830" fmla="*/ 3283954 w 7714416"/>
              <a:gd name="connsiteY28830" fmla="*/ 445927 h 5282095"/>
              <a:gd name="connsiteX28831" fmla="*/ 3282847 w 7714416"/>
              <a:gd name="connsiteY28831" fmla="*/ 445630 h 5282095"/>
              <a:gd name="connsiteX28832" fmla="*/ 3276773 w 7714416"/>
              <a:gd name="connsiteY28832" fmla="*/ 448374 h 5282095"/>
              <a:gd name="connsiteX28833" fmla="*/ 3269557 w 7714416"/>
              <a:gd name="connsiteY28833" fmla="*/ 448741 h 5282095"/>
              <a:gd name="connsiteX28834" fmla="*/ 3259449 w 7714416"/>
              <a:gd name="connsiteY28834" fmla="*/ 441086 h 5282095"/>
              <a:gd name="connsiteX28835" fmla="*/ 3269713 w 7714416"/>
              <a:gd name="connsiteY28835" fmla="*/ 429346 h 5282095"/>
              <a:gd name="connsiteX28836" fmla="*/ 3779941 w 7714416"/>
              <a:gd name="connsiteY28836" fmla="*/ 428864 h 5282095"/>
              <a:gd name="connsiteX28837" fmla="*/ 3785476 w 7714416"/>
              <a:gd name="connsiteY28837" fmla="*/ 430347 h 5282095"/>
              <a:gd name="connsiteX28838" fmla="*/ 3790536 w 7714416"/>
              <a:gd name="connsiteY28838" fmla="*/ 429173 h 5282095"/>
              <a:gd name="connsiteX28839" fmla="*/ 3805150 w 7714416"/>
              <a:gd name="connsiteY28839" fmla="*/ 435504 h 5282095"/>
              <a:gd name="connsiteX28840" fmla="*/ 3808248 w 7714416"/>
              <a:gd name="connsiteY28840" fmla="*/ 439440 h 5282095"/>
              <a:gd name="connsiteX28841" fmla="*/ 3775100 w 7714416"/>
              <a:gd name="connsiteY28841" fmla="*/ 448038 h 5282095"/>
              <a:gd name="connsiteX28842" fmla="*/ 3772136 w 7714416"/>
              <a:gd name="connsiteY28842" fmla="*/ 444713 h 5282095"/>
              <a:gd name="connsiteX28843" fmla="*/ 3770444 w 7714416"/>
              <a:gd name="connsiteY28843" fmla="*/ 438856 h 5282095"/>
              <a:gd name="connsiteX28844" fmla="*/ 3771360 w 7714416"/>
              <a:gd name="connsiteY28844" fmla="*/ 438755 h 5282095"/>
              <a:gd name="connsiteX28845" fmla="*/ 3770045 w 7714416"/>
              <a:gd name="connsiteY28845" fmla="*/ 437023 h 5282095"/>
              <a:gd name="connsiteX28846" fmla="*/ 3767770 w 7714416"/>
              <a:gd name="connsiteY28846" fmla="*/ 431124 h 5282095"/>
              <a:gd name="connsiteX28847" fmla="*/ 3779941 w 7714416"/>
              <a:gd name="connsiteY28847" fmla="*/ 428864 h 5282095"/>
              <a:gd name="connsiteX28848" fmla="*/ 2542821 w 7714416"/>
              <a:gd name="connsiteY28848" fmla="*/ 428239 h 5282095"/>
              <a:gd name="connsiteX28849" fmla="*/ 2543288 w 7714416"/>
              <a:gd name="connsiteY28849" fmla="*/ 428709 h 5282095"/>
              <a:gd name="connsiteX28850" fmla="*/ 2544118 w 7714416"/>
              <a:gd name="connsiteY28850" fmla="*/ 428931 h 5282095"/>
              <a:gd name="connsiteX28851" fmla="*/ 2548366 w 7714416"/>
              <a:gd name="connsiteY28851" fmla="*/ 428575 h 5282095"/>
              <a:gd name="connsiteX28852" fmla="*/ 2552717 w 7714416"/>
              <a:gd name="connsiteY28852" fmla="*/ 437791 h 5282095"/>
              <a:gd name="connsiteX28853" fmla="*/ 2551466 w 7714416"/>
              <a:gd name="connsiteY28853" fmla="*/ 438031 h 5282095"/>
              <a:gd name="connsiteX28854" fmla="*/ 2552153 w 7714416"/>
              <a:gd name="connsiteY28854" fmla="*/ 438790 h 5282095"/>
              <a:gd name="connsiteX28855" fmla="*/ 2556397 w 7714416"/>
              <a:gd name="connsiteY28855" fmla="*/ 441766 h 5282095"/>
              <a:gd name="connsiteX28856" fmla="*/ 2555833 w 7714416"/>
              <a:gd name="connsiteY28856" fmla="*/ 442766 h 5282095"/>
              <a:gd name="connsiteX28857" fmla="*/ 2547657 w 7714416"/>
              <a:gd name="connsiteY28857" fmla="*/ 438965 h 5282095"/>
              <a:gd name="connsiteX28858" fmla="*/ 2546742 w 7714416"/>
              <a:gd name="connsiteY28858" fmla="*/ 439064 h 5282095"/>
              <a:gd name="connsiteX28859" fmla="*/ 2539755 w 7714416"/>
              <a:gd name="connsiteY28859" fmla="*/ 438573 h 5282095"/>
              <a:gd name="connsiteX28860" fmla="*/ 2539435 w 7714416"/>
              <a:gd name="connsiteY28860" fmla="*/ 434233 h 5282095"/>
              <a:gd name="connsiteX28861" fmla="*/ 2537642 w 7714416"/>
              <a:gd name="connsiteY28861" fmla="*/ 433177 h 5282095"/>
              <a:gd name="connsiteX28862" fmla="*/ 2536528 w 7714416"/>
              <a:gd name="connsiteY28862" fmla="*/ 430693 h 5282095"/>
              <a:gd name="connsiteX28863" fmla="*/ 2538735 w 7714416"/>
              <a:gd name="connsiteY28863" fmla="*/ 429099 h 5282095"/>
              <a:gd name="connsiteX28864" fmla="*/ 2538907 w 7714416"/>
              <a:gd name="connsiteY28864" fmla="*/ 428455 h 5282095"/>
              <a:gd name="connsiteX28865" fmla="*/ 2540348 w 7714416"/>
              <a:gd name="connsiteY28865" fmla="*/ 428612 h 5282095"/>
              <a:gd name="connsiteX28866" fmla="*/ 2261789 w 7714416"/>
              <a:gd name="connsiteY28866" fmla="*/ 427803 h 5282095"/>
              <a:gd name="connsiteX28867" fmla="*/ 2254997 w 7714416"/>
              <a:gd name="connsiteY28867" fmla="*/ 450938 h 5282095"/>
              <a:gd name="connsiteX28868" fmla="*/ 2248766 w 7714416"/>
              <a:gd name="connsiteY28868" fmla="*/ 440988 h 5282095"/>
              <a:gd name="connsiteX28869" fmla="*/ 2251394 w 7714416"/>
              <a:gd name="connsiteY28869" fmla="*/ 430077 h 5282095"/>
              <a:gd name="connsiteX28870" fmla="*/ 2261789 w 7714416"/>
              <a:gd name="connsiteY28870" fmla="*/ 427803 h 5282095"/>
              <a:gd name="connsiteX28871" fmla="*/ 3675710 w 7714416"/>
              <a:gd name="connsiteY28871" fmla="*/ 427157 h 5282095"/>
              <a:gd name="connsiteX28872" fmla="*/ 3691684 w 7714416"/>
              <a:gd name="connsiteY28872" fmla="*/ 430632 h 5282095"/>
              <a:gd name="connsiteX28873" fmla="*/ 3695195 w 7714416"/>
              <a:gd name="connsiteY28873" fmla="*/ 431917 h 5282095"/>
              <a:gd name="connsiteX28874" fmla="*/ 3698706 w 7714416"/>
              <a:gd name="connsiteY28874" fmla="*/ 433203 h 5282095"/>
              <a:gd name="connsiteX28875" fmla="*/ 3700962 w 7714416"/>
              <a:gd name="connsiteY28875" fmla="*/ 438062 h 5282095"/>
              <a:gd name="connsiteX28876" fmla="*/ 3683939 w 7714416"/>
              <a:gd name="connsiteY28876" fmla="*/ 434077 h 5282095"/>
              <a:gd name="connsiteX28877" fmla="*/ 3669551 w 7714416"/>
              <a:gd name="connsiteY28877" fmla="*/ 430221 h 5282095"/>
              <a:gd name="connsiteX28878" fmla="*/ 3671071 w 7714416"/>
              <a:gd name="connsiteY28878" fmla="*/ 427869 h 5282095"/>
              <a:gd name="connsiteX28879" fmla="*/ 3675710 w 7714416"/>
              <a:gd name="connsiteY28879" fmla="*/ 427157 h 5282095"/>
              <a:gd name="connsiteX28880" fmla="*/ 1119872 w 7714416"/>
              <a:gd name="connsiteY28880" fmla="*/ 427157 h 5282095"/>
              <a:gd name="connsiteX28881" fmla="*/ 1118855 w 7714416"/>
              <a:gd name="connsiteY28881" fmla="*/ 449769 h 5282095"/>
              <a:gd name="connsiteX28882" fmla="*/ 1115201 w 7714416"/>
              <a:gd name="connsiteY28882" fmla="*/ 449020 h 5282095"/>
              <a:gd name="connsiteX28883" fmla="*/ 1112760 w 7714416"/>
              <a:gd name="connsiteY28883" fmla="*/ 445951 h 5282095"/>
              <a:gd name="connsiteX28884" fmla="*/ 1112593 w 7714416"/>
              <a:gd name="connsiteY28884" fmla="*/ 434407 h 5282095"/>
              <a:gd name="connsiteX28885" fmla="*/ 1113253 w 7714416"/>
              <a:gd name="connsiteY28885" fmla="*/ 431938 h 5282095"/>
              <a:gd name="connsiteX28886" fmla="*/ 1113667 w 7714416"/>
              <a:gd name="connsiteY28886" fmla="*/ 429289 h 5282095"/>
              <a:gd name="connsiteX28887" fmla="*/ 1119872 w 7714416"/>
              <a:gd name="connsiteY28887" fmla="*/ 427157 h 5282095"/>
              <a:gd name="connsiteX28888" fmla="*/ 3364328 w 7714416"/>
              <a:gd name="connsiteY28888" fmla="*/ 427098 h 5282095"/>
              <a:gd name="connsiteX28889" fmla="*/ 3374612 w 7714416"/>
              <a:gd name="connsiteY28889" fmla="*/ 430774 h 5282095"/>
              <a:gd name="connsiteX28890" fmla="*/ 3382695 w 7714416"/>
              <a:gd name="connsiteY28890" fmla="*/ 441564 h 5282095"/>
              <a:gd name="connsiteX28891" fmla="*/ 3363335 w 7714416"/>
              <a:gd name="connsiteY28891" fmla="*/ 435228 h 5282095"/>
              <a:gd name="connsiteX28892" fmla="*/ 3360152 w 7714416"/>
              <a:gd name="connsiteY28892" fmla="*/ 431615 h 5282095"/>
              <a:gd name="connsiteX28893" fmla="*/ 3359325 w 7714416"/>
              <a:gd name="connsiteY28893" fmla="*/ 428057 h 5282095"/>
              <a:gd name="connsiteX28894" fmla="*/ 3364328 w 7714416"/>
              <a:gd name="connsiteY28894" fmla="*/ 427098 h 5282095"/>
              <a:gd name="connsiteX28895" fmla="*/ 3050922 w 7714416"/>
              <a:gd name="connsiteY28895" fmla="*/ 426842 h 5282095"/>
              <a:gd name="connsiteX28896" fmla="*/ 3052586 w 7714416"/>
              <a:gd name="connsiteY28896" fmla="*/ 432808 h 5282095"/>
              <a:gd name="connsiteX28897" fmla="*/ 3048941 w 7714416"/>
              <a:gd name="connsiteY28897" fmla="*/ 430912 h 5282095"/>
              <a:gd name="connsiteX28898" fmla="*/ 3049424 w 7714416"/>
              <a:gd name="connsiteY28898" fmla="*/ 426901 h 5282095"/>
              <a:gd name="connsiteX28899" fmla="*/ 3050922 w 7714416"/>
              <a:gd name="connsiteY28899" fmla="*/ 426842 h 5282095"/>
              <a:gd name="connsiteX28900" fmla="*/ 4081974 w 7714416"/>
              <a:gd name="connsiteY28900" fmla="*/ 426188 h 5282095"/>
              <a:gd name="connsiteX28901" fmla="*/ 4085240 w 7714416"/>
              <a:gd name="connsiteY28901" fmla="*/ 432813 h 5282095"/>
              <a:gd name="connsiteX28902" fmla="*/ 4078445 w 7714416"/>
              <a:gd name="connsiteY28902" fmla="*/ 432717 h 5282095"/>
              <a:gd name="connsiteX28903" fmla="*/ 4081974 w 7714416"/>
              <a:gd name="connsiteY28903" fmla="*/ 426188 h 5282095"/>
              <a:gd name="connsiteX28904" fmla="*/ 3749126 w 7714416"/>
              <a:gd name="connsiteY28904" fmla="*/ 425438 h 5282095"/>
              <a:gd name="connsiteX28905" fmla="*/ 3761607 w 7714416"/>
              <a:gd name="connsiteY28905" fmla="*/ 428667 h 5282095"/>
              <a:gd name="connsiteX28906" fmla="*/ 3756137 w 7714416"/>
              <a:gd name="connsiteY28906" fmla="*/ 446867 h 5282095"/>
              <a:gd name="connsiteX28907" fmla="*/ 3742676 w 7714416"/>
              <a:gd name="connsiteY28907" fmla="*/ 441764 h 5282095"/>
              <a:gd name="connsiteX28908" fmla="*/ 3742511 w 7714416"/>
              <a:gd name="connsiteY28908" fmla="*/ 426885 h 5282095"/>
              <a:gd name="connsiteX28909" fmla="*/ 3749126 w 7714416"/>
              <a:gd name="connsiteY28909" fmla="*/ 425438 h 5282095"/>
              <a:gd name="connsiteX28910" fmla="*/ 3146978 w 7714416"/>
              <a:gd name="connsiteY28910" fmla="*/ 424750 h 5282095"/>
              <a:gd name="connsiteX28911" fmla="*/ 3154000 w 7714416"/>
              <a:gd name="connsiteY28911" fmla="*/ 427322 h 5282095"/>
              <a:gd name="connsiteX28912" fmla="*/ 3165086 w 7714416"/>
              <a:gd name="connsiteY28912" fmla="*/ 431327 h 5282095"/>
              <a:gd name="connsiteX28913" fmla="*/ 3164946 w 7714416"/>
              <a:gd name="connsiteY28913" fmla="*/ 437384 h 5282095"/>
              <a:gd name="connsiteX28914" fmla="*/ 3145522 w 7714416"/>
              <a:gd name="connsiteY28914" fmla="*/ 437930 h 5282095"/>
              <a:gd name="connsiteX28915" fmla="*/ 3134437 w 7714416"/>
              <a:gd name="connsiteY28915" fmla="*/ 433925 h 5282095"/>
              <a:gd name="connsiteX28916" fmla="*/ 3140679 w 7714416"/>
              <a:gd name="connsiteY28916" fmla="*/ 425017 h 5282095"/>
              <a:gd name="connsiteX28917" fmla="*/ 3146978 w 7714416"/>
              <a:gd name="connsiteY28917" fmla="*/ 424750 h 5282095"/>
              <a:gd name="connsiteX28918" fmla="*/ 3306540 w 7714416"/>
              <a:gd name="connsiteY28918" fmla="*/ 424724 h 5282095"/>
              <a:gd name="connsiteX28919" fmla="*/ 3309152 w 7714416"/>
              <a:gd name="connsiteY28919" fmla="*/ 427149 h 5282095"/>
              <a:gd name="connsiteX28920" fmla="*/ 3307464 w 7714416"/>
              <a:gd name="connsiteY28920" fmla="*/ 426811 h 5282095"/>
              <a:gd name="connsiteX28921" fmla="*/ 3306540 w 7714416"/>
              <a:gd name="connsiteY28921" fmla="*/ 424724 h 5282095"/>
              <a:gd name="connsiteX28922" fmla="*/ 4149102 w 7714416"/>
              <a:gd name="connsiteY28922" fmla="*/ 423589 h 5282095"/>
              <a:gd name="connsiteX28923" fmla="*/ 4182608 w 7714416"/>
              <a:gd name="connsiteY28923" fmla="*/ 435788 h 5282095"/>
              <a:gd name="connsiteX28924" fmla="*/ 4193758 w 7714416"/>
              <a:gd name="connsiteY28924" fmla="*/ 459476 h 5282095"/>
              <a:gd name="connsiteX28925" fmla="*/ 4149102 w 7714416"/>
              <a:gd name="connsiteY28925" fmla="*/ 423589 h 5282095"/>
              <a:gd name="connsiteX28926" fmla="*/ 1975914 w 7714416"/>
              <a:gd name="connsiteY28926" fmla="*/ 423309 h 5282095"/>
              <a:gd name="connsiteX28927" fmla="*/ 1985437 w 7714416"/>
              <a:gd name="connsiteY28927" fmla="*/ 425400 h 5282095"/>
              <a:gd name="connsiteX28928" fmla="*/ 1989192 w 7714416"/>
              <a:gd name="connsiteY28928" fmla="*/ 430202 h 5282095"/>
              <a:gd name="connsiteX28929" fmla="*/ 1989418 w 7714416"/>
              <a:gd name="connsiteY28929" fmla="*/ 432678 h 5282095"/>
              <a:gd name="connsiteX28930" fmla="*/ 1974642 w 7714416"/>
              <a:gd name="connsiteY28930" fmla="*/ 434698 h 5282095"/>
              <a:gd name="connsiteX28931" fmla="*/ 1967634 w 7714416"/>
              <a:gd name="connsiteY28931" fmla="*/ 427645 h 5282095"/>
              <a:gd name="connsiteX28932" fmla="*/ 1968601 w 7714416"/>
              <a:gd name="connsiteY28932" fmla="*/ 425144 h 5282095"/>
              <a:gd name="connsiteX28933" fmla="*/ 1971886 w 7714416"/>
              <a:gd name="connsiteY28933" fmla="*/ 423954 h 5282095"/>
              <a:gd name="connsiteX28934" fmla="*/ 1975914 w 7714416"/>
              <a:gd name="connsiteY28934" fmla="*/ 423309 h 5282095"/>
              <a:gd name="connsiteX28935" fmla="*/ 2463809 w 7714416"/>
              <a:gd name="connsiteY28935" fmla="*/ 423168 h 5282095"/>
              <a:gd name="connsiteX28936" fmla="*/ 2473207 w 7714416"/>
              <a:gd name="connsiteY28936" fmla="*/ 426836 h 5282095"/>
              <a:gd name="connsiteX28937" fmla="*/ 2465717 w 7714416"/>
              <a:gd name="connsiteY28937" fmla="*/ 432650 h 5282095"/>
              <a:gd name="connsiteX28938" fmla="*/ 2462799 w 7714416"/>
              <a:gd name="connsiteY28938" fmla="*/ 430257 h 5282095"/>
              <a:gd name="connsiteX28939" fmla="*/ 2461533 w 7714416"/>
              <a:gd name="connsiteY28939" fmla="*/ 426124 h 5282095"/>
              <a:gd name="connsiteX28940" fmla="*/ 2463809 w 7714416"/>
              <a:gd name="connsiteY28940" fmla="*/ 423168 h 5282095"/>
              <a:gd name="connsiteX28941" fmla="*/ 2454132 w 7714416"/>
              <a:gd name="connsiteY28941" fmla="*/ 422759 h 5282095"/>
              <a:gd name="connsiteX28942" fmla="*/ 2461117 w 7714416"/>
              <a:gd name="connsiteY28942" fmla="*/ 432107 h 5282095"/>
              <a:gd name="connsiteX28943" fmla="*/ 2451475 w 7714416"/>
              <a:gd name="connsiteY28943" fmla="*/ 433779 h 5282095"/>
              <a:gd name="connsiteX28944" fmla="*/ 2455162 w 7714416"/>
              <a:gd name="connsiteY28944" fmla="*/ 439942 h 5282095"/>
              <a:gd name="connsiteX28945" fmla="*/ 2456683 w 7714416"/>
              <a:gd name="connsiteY28945" fmla="*/ 446445 h 5282095"/>
              <a:gd name="connsiteX28946" fmla="*/ 2455156 w 7714416"/>
              <a:gd name="connsiteY28946" fmla="*/ 446610 h 5282095"/>
              <a:gd name="connsiteX28947" fmla="*/ 2448001 w 7714416"/>
              <a:gd name="connsiteY28947" fmla="*/ 434572 h 5282095"/>
              <a:gd name="connsiteX28948" fmla="*/ 2447878 w 7714416"/>
              <a:gd name="connsiteY28948" fmla="*/ 432815 h 5282095"/>
              <a:gd name="connsiteX28949" fmla="*/ 2444324 w 7714416"/>
              <a:gd name="connsiteY28949" fmla="*/ 427263 h 5282095"/>
              <a:gd name="connsiteX28950" fmla="*/ 2454132 w 7714416"/>
              <a:gd name="connsiteY28950" fmla="*/ 422759 h 5282095"/>
              <a:gd name="connsiteX28951" fmla="*/ 2802603 w 7714416"/>
              <a:gd name="connsiteY28951" fmla="*/ 422751 h 5282095"/>
              <a:gd name="connsiteX28952" fmla="*/ 2816212 w 7714416"/>
              <a:gd name="connsiteY28952" fmla="*/ 432838 h 5282095"/>
              <a:gd name="connsiteX28953" fmla="*/ 2804921 w 7714416"/>
              <a:gd name="connsiteY28953" fmla="*/ 432917 h 5282095"/>
              <a:gd name="connsiteX28954" fmla="*/ 2798927 w 7714416"/>
              <a:gd name="connsiteY28954" fmla="*/ 424296 h 5282095"/>
              <a:gd name="connsiteX28955" fmla="*/ 2802603 w 7714416"/>
              <a:gd name="connsiteY28955" fmla="*/ 422751 h 5282095"/>
              <a:gd name="connsiteX28956" fmla="*/ 2571144 w 7714416"/>
              <a:gd name="connsiteY28956" fmla="*/ 422144 h 5282095"/>
              <a:gd name="connsiteX28957" fmla="*/ 2578663 w 7714416"/>
              <a:gd name="connsiteY28957" fmla="*/ 425078 h 5282095"/>
              <a:gd name="connsiteX28958" fmla="*/ 2578623 w 7714416"/>
              <a:gd name="connsiteY28958" fmla="*/ 435188 h 5282095"/>
              <a:gd name="connsiteX28959" fmla="*/ 2579475 w 7714416"/>
              <a:gd name="connsiteY28959" fmla="*/ 441970 h 5282095"/>
              <a:gd name="connsiteX28960" fmla="*/ 2575981 w 7714416"/>
              <a:gd name="connsiteY28960" fmla="*/ 432869 h 5282095"/>
              <a:gd name="connsiteX28961" fmla="*/ 2571709 w 7714416"/>
              <a:gd name="connsiteY28961" fmla="*/ 430000 h 5282095"/>
              <a:gd name="connsiteX28962" fmla="*/ 2571144 w 7714416"/>
              <a:gd name="connsiteY28962" fmla="*/ 422144 h 5282095"/>
              <a:gd name="connsiteX28963" fmla="*/ 2778152 w 7714416"/>
              <a:gd name="connsiteY28963" fmla="*/ 421030 h 5282095"/>
              <a:gd name="connsiteX28964" fmla="*/ 2783219 w 7714416"/>
              <a:gd name="connsiteY28964" fmla="*/ 430898 h 5282095"/>
              <a:gd name="connsiteX28965" fmla="*/ 2778152 w 7714416"/>
              <a:gd name="connsiteY28965" fmla="*/ 421030 h 5282095"/>
              <a:gd name="connsiteX28966" fmla="*/ 1479250 w 7714416"/>
              <a:gd name="connsiteY28966" fmla="*/ 420755 h 5282095"/>
              <a:gd name="connsiteX28967" fmla="*/ 1483143 w 7714416"/>
              <a:gd name="connsiteY28967" fmla="*/ 422833 h 5282095"/>
              <a:gd name="connsiteX28968" fmla="*/ 1482177 w 7714416"/>
              <a:gd name="connsiteY28968" fmla="*/ 425334 h 5282095"/>
              <a:gd name="connsiteX28969" fmla="*/ 1482737 w 7714416"/>
              <a:gd name="connsiteY28969" fmla="*/ 427669 h 5282095"/>
              <a:gd name="connsiteX28970" fmla="*/ 1481209 w 7714416"/>
              <a:gd name="connsiteY28970" fmla="*/ 427835 h 5282095"/>
              <a:gd name="connsiteX28971" fmla="*/ 1479976 w 7714416"/>
              <a:gd name="connsiteY28971" fmla="*/ 429115 h 5282095"/>
              <a:gd name="connsiteX28972" fmla="*/ 1475492 w 7714416"/>
              <a:gd name="connsiteY28972" fmla="*/ 428143 h 5282095"/>
              <a:gd name="connsiteX28973" fmla="*/ 1472505 w 7714416"/>
              <a:gd name="connsiteY28973" fmla="*/ 427113 h 5282095"/>
              <a:gd name="connsiteX28974" fmla="*/ 1469836 w 7714416"/>
              <a:gd name="connsiteY28974" fmla="*/ 424903 h 5282095"/>
              <a:gd name="connsiteX28975" fmla="*/ 1469580 w 7714416"/>
              <a:gd name="connsiteY28975" fmla="*/ 422534 h 5282095"/>
              <a:gd name="connsiteX28976" fmla="*/ 1472617 w 7714416"/>
              <a:gd name="connsiteY28976" fmla="*/ 421162 h 5282095"/>
              <a:gd name="connsiteX28977" fmla="*/ 1479250 w 7714416"/>
              <a:gd name="connsiteY28977" fmla="*/ 420755 h 5282095"/>
              <a:gd name="connsiteX28978" fmla="*/ 3422594 w 7714416"/>
              <a:gd name="connsiteY28978" fmla="*/ 419940 h 5282095"/>
              <a:gd name="connsiteX28979" fmla="*/ 3441579 w 7714416"/>
              <a:gd name="connsiteY28979" fmla="*/ 427672 h 5282095"/>
              <a:gd name="connsiteX28980" fmla="*/ 3436749 w 7714416"/>
              <a:gd name="connsiteY28980" fmla="*/ 427988 h 5282095"/>
              <a:gd name="connsiteX28981" fmla="*/ 3417794 w 7714416"/>
              <a:gd name="connsiteY28981" fmla="*/ 420149 h 5282095"/>
              <a:gd name="connsiteX28982" fmla="*/ 3422594 w 7714416"/>
              <a:gd name="connsiteY28982" fmla="*/ 419940 h 5282095"/>
              <a:gd name="connsiteX28983" fmla="*/ 2765880 w 7714416"/>
              <a:gd name="connsiteY28983" fmla="*/ 419237 h 5282095"/>
              <a:gd name="connsiteX28984" fmla="*/ 2766875 w 7714416"/>
              <a:gd name="connsiteY28984" fmla="*/ 425483 h 5282095"/>
              <a:gd name="connsiteX28985" fmla="*/ 2761389 w 7714416"/>
              <a:gd name="connsiteY28985" fmla="*/ 424934 h 5282095"/>
              <a:gd name="connsiteX28986" fmla="*/ 2760965 w 7714416"/>
              <a:gd name="connsiteY28986" fmla="*/ 419874 h 5282095"/>
              <a:gd name="connsiteX28987" fmla="*/ 2765880 w 7714416"/>
              <a:gd name="connsiteY28987" fmla="*/ 419237 h 5282095"/>
              <a:gd name="connsiteX28988" fmla="*/ 2650042 w 7714416"/>
              <a:gd name="connsiteY28988" fmla="*/ 418788 h 5282095"/>
              <a:gd name="connsiteX28989" fmla="*/ 2658922 w 7714416"/>
              <a:gd name="connsiteY28989" fmla="*/ 424387 h 5282095"/>
              <a:gd name="connsiteX28990" fmla="*/ 2662897 w 7714416"/>
              <a:gd name="connsiteY28990" fmla="*/ 429478 h 5282095"/>
              <a:gd name="connsiteX28991" fmla="*/ 2663593 w 7714416"/>
              <a:gd name="connsiteY28991" fmla="*/ 429089 h 5282095"/>
              <a:gd name="connsiteX28992" fmla="*/ 2668631 w 7714416"/>
              <a:gd name="connsiteY28992" fmla="*/ 430210 h 5282095"/>
              <a:gd name="connsiteX28993" fmla="*/ 2674424 w 7714416"/>
              <a:gd name="connsiteY28993" fmla="*/ 439582 h 5282095"/>
              <a:gd name="connsiteX28994" fmla="*/ 2679390 w 7714416"/>
              <a:gd name="connsiteY28994" fmla="*/ 445397 h 5282095"/>
              <a:gd name="connsiteX28995" fmla="*/ 2671132 w 7714416"/>
              <a:gd name="connsiteY28995" fmla="*/ 438585 h 5282095"/>
              <a:gd name="connsiteX28996" fmla="*/ 2665731 w 7714416"/>
              <a:gd name="connsiteY28996" fmla="*/ 437712 h 5282095"/>
              <a:gd name="connsiteX28997" fmla="*/ 2663672 w 7714416"/>
              <a:gd name="connsiteY28997" fmla="*/ 435435 h 5282095"/>
              <a:gd name="connsiteX28998" fmla="*/ 2661753 w 7714416"/>
              <a:gd name="connsiteY28998" fmla="*/ 435957 h 5282095"/>
              <a:gd name="connsiteX28999" fmla="*/ 2657685 w 7714416"/>
              <a:gd name="connsiteY28999" fmla="*/ 437857 h 5282095"/>
              <a:gd name="connsiteX29000" fmla="*/ 2647393 w 7714416"/>
              <a:gd name="connsiteY29000" fmla="*/ 423138 h 5282095"/>
              <a:gd name="connsiteX29001" fmla="*/ 2650042 w 7714416"/>
              <a:gd name="connsiteY29001" fmla="*/ 418788 h 5282095"/>
              <a:gd name="connsiteX29002" fmla="*/ 869175 w 7714416"/>
              <a:gd name="connsiteY29002" fmla="*/ 416449 h 5282095"/>
              <a:gd name="connsiteX29003" fmla="*/ 881051 w 7714416"/>
              <a:gd name="connsiteY29003" fmla="*/ 421930 h 5282095"/>
              <a:gd name="connsiteX29004" fmla="*/ 869958 w 7714416"/>
              <a:gd name="connsiteY29004" fmla="*/ 424594 h 5282095"/>
              <a:gd name="connsiteX29005" fmla="*/ 869175 w 7714416"/>
              <a:gd name="connsiteY29005" fmla="*/ 416449 h 5282095"/>
              <a:gd name="connsiteX29006" fmla="*/ 1170240 w 7714416"/>
              <a:gd name="connsiteY29006" fmla="*/ 416272 h 5282095"/>
              <a:gd name="connsiteX29007" fmla="*/ 1179440 w 7714416"/>
              <a:gd name="connsiteY29007" fmla="*/ 426212 h 5282095"/>
              <a:gd name="connsiteX29008" fmla="*/ 1170240 w 7714416"/>
              <a:gd name="connsiteY29008" fmla="*/ 416272 h 5282095"/>
              <a:gd name="connsiteX29009" fmla="*/ 1518399 w 7714416"/>
              <a:gd name="connsiteY29009" fmla="*/ 414109 h 5282095"/>
              <a:gd name="connsiteX29010" fmla="*/ 1525156 w 7714416"/>
              <a:gd name="connsiteY29010" fmla="*/ 415460 h 5282095"/>
              <a:gd name="connsiteX29011" fmla="*/ 1508082 w 7714416"/>
              <a:gd name="connsiteY29011" fmla="*/ 431586 h 5282095"/>
              <a:gd name="connsiteX29012" fmla="*/ 1505441 w 7714416"/>
              <a:gd name="connsiteY29012" fmla="*/ 429268 h 5282095"/>
              <a:gd name="connsiteX29013" fmla="*/ 1505196 w 7714416"/>
              <a:gd name="connsiteY29013" fmla="*/ 425753 h 5282095"/>
              <a:gd name="connsiteX29014" fmla="*/ 1513433 w 7714416"/>
              <a:gd name="connsiteY29014" fmla="*/ 417149 h 5282095"/>
              <a:gd name="connsiteX29015" fmla="*/ 1515916 w 7714416"/>
              <a:gd name="connsiteY29015" fmla="*/ 415629 h 5282095"/>
              <a:gd name="connsiteX29016" fmla="*/ 1518399 w 7714416"/>
              <a:gd name="connsiteY29016" fmla="*/ 414109 h 5282095"/>
              <a:gd name="connsiteX29017" fmla="*/ 3052377 w 7714416"/>
              <a:gd name="connsiteY29017" fmla="*/ 413662 h 5282095"/>
              <a:gd name="connsiteX29018" fmla="*/ 3052238 w 7714416"/>
              <a:gd name="connsiteY29018" fmla="*/ 419720 h 5282095"/>
              <a:gd name="connsiteX29019" fmla="*/ 3046836 w 7714416"/>
              <a:gd name="connsiteY29019" fmla="*/ 418847 h 5282095"/>
              <a:gd name="connsiteX29020" fmla="*/ 3047272 w 7714416"/>
              <a:gd name="connsiteY29020" fmla="*/ 413904 h 5282095"/>
              <a:gd name="connsiteX29021" fmla="*/ 3052377 w 7714416"/>
              <a:gd name="connsiteY29021" fmla="*/ 413662 h 5282095"/>
              <a:gd name="connsiteX29022" fmla="*/ 4144675 w 7714416"/>
              <a:gd name="connsiteY29022" fmla="*/ 413548 h 5282095"/>
              <a:gd name="connsiteX29023" fmla="*/ 4147517 w 7714416"/>
              <a:gd name="connsiteY29023" fmla="*/ 415114 h 5282095"/>
              <a:gd name="connsiteX29024" fmla="*/ 4149576 w 7714416"/>
              <a:gd name="connsiteY29024" fmla="*/ 417392 h 5282095"/>
              <a:gd name="connsiteX29025" fmla="*/ 4143103 w 7714416"/>
              <a:gd name="connsiteY29025" fmla="*/ 418303 h 5282095"/>
              <a:gd name="connsiteX29026" fmla="*/ 4142820 w 7714416"/>
              <a:gd name="connsiteY29026" fmla="*/ 416041 h 5282095"/>
              <a:gd name="connsiteX29027" fmla="*/ 4141045 w 7714416"/>
              <a:gd name="connsiteY29027" fmla="*/ 416025 h 5282095"/>
              <a:gd name="connsiteX29028" fmla="*/ 4142508 w 7714416"/>
              <a:gd name="connsiteY29028" fmla="*/ 413887 h 5282095"/>
              <a:gd name="connsiteX29029" fmla="*/ 4144282 w 7714416"/>
              <a:gd name="connsiteY29029" fmla="*/ 413903 h 5282095"/>
              <a:gd name="connsiteX29030" fmla="*/ 4144675 w 7714416"/>
              <a:gd name="connsiteY29030" fmla="*/ 413548 h 5282095"/>
              <a:gd name="connsiteX29031" fmla="*/ 3290197 w 7714416"/>
              <a:gd name="connsiteY29031" fmla="*/ 410455 h 5282095"/>
              <a:gd name="connsiteX29032" fmla="*/ 3290725 w 7714416"/>
              <a:gd name="connsiteY29032" fmla="*/ 416231 h 5282095"/>
              <a:gd name="connsiteX29033" fmla="*/ 3277446 w 7714416"/>
              <a:gd name="connsiteY29033" fmla="*/ 418193 h 5282095"/>
              <a:gd name="connsiteX29034" fmla="*/ 3269160 w 7714416"/>
              <a:gd name="connsiteY29034" fmla="*/ 420343 h 5282095"/>
              <a:gd name="connsiteX29035" fmla="*/ 3278909 w 7714416"/>
              <a:gd name="connsiteY29035" fmla="*/ 416055 h 5282095"/>
              <a:gd name="connsiteX29036" fmla="*/ 3280135 w 7714416"/>
              <a:gd name="connsiteY29036" fmla="*/ 412588 h 5282095"/>
              <a:gd name="connsiteX29037" fmla="*/ 3290197 w 7714416"/>
              <a:gd name="connsiteY29037" fmla="*/ 410455 h 5282095"/>
              <a:gd name="connsiteX29038" fmla="*/ 4859488 w 7714416"/>
              <a:gd name="connsiteY29038" fmla="*/ 409924 h 5282095"/>
              <a:gd name="connsiteX29039" fmla="*/ 4889649 w 7714416"/>
              <a:gd name="connsiteY29039" fmla="*/ 418006 h 5282095"/>
              <a:gd name="connsiteX29040" fmla="*/ 4868428 w 7714416"/>
              <a:gd name="connsiteY29040" fmla="*/ 465105 h 5282095"/>
              <a:gd name="connsiteX29041" fmla="*/ 4851901 w 7714416"/>
              <a:gd name="connsiteY29041" fmla="*/ 461483 h 5282095"/>
              <a:gd name="connsiteX29042" fmla="*/ 4859488 w 7714416"/>
              <a:gd name="connsiteY29042" fmla="*/ 409924 h 5282095"/>
              <a:gd name="connsiteX29043" fmla="*/ 2637770 w 7714416"/>
              <a:gd name="connsiteY29043" fmla="*/ 408140 h 5282095"/>
              <a:gd name="connsiteX29044" fmla="*/ 2644480 w 7714416"/>
              <a:gd name="connsiteY29044" fmla="*/ 408557 h 5282095"/>
              <a:gd name="connsiteX29045" fmla="*/ 2638341 w 7714416"/>
              <a:gd name="connsiteY29045" fmla="*/ 409329 h 5282095"/>
              <a:gd name="connsiteX29046" fmla="*/ 2637770 w 7714416"/>
              <a:gd name="connsiteY29046" fmla="*/ 408140 h 5282095"/>
              <a:gd name="connsiteX29047" fmla="*/ 3588538 w 7714416"/>
              <a:gd name="connsiteY29047" fmla="*/ 404948 h 5282095"/>
              <a:gd name="connsiteX29048" fmla="*/ 3588495 w 7714416"/>
              <a:gd name="connsiteY29048" fmla="*/ 409537 h 5282095"/>
              <a:gd name="connsiteX29049" fmla="*/ 3587244 w 7714416"/>
              <a:gd name="connsiteY29049" fmla="*/ 409777 h 5282095"/>
              <a:gd name="connsiteX29050" fmla="*/ 3591708 w 7714416"/>
              <a:gd name="connsiteY29050" fmla="*/ 413043 h 5282095"/>
              <a:gd name="connsiteX29051" fmla="*/ 3585095 w 7714416"/>
              <a:gd name="connsiteY29051" fmla="*/ 420012 h 5282095"/>
              <a:gd name="connsiteX29052" fmla="*/ 3574023 w 7714416"/>
              <a:gd name="connsiteY29052" fmla="*/ 411525 h 5282095"/>
              <a:gd name="connsiteX29053" fmla="*/ 3576956 w 7714416"/>
              <a:gd name="connsiteY29053" fmla="*/ 409435 h 5282095"/>
              <a:gd name="connsiteX29054" fmla="*/ 3575633 w 7714416"/>
              <a:gd name="connsiteY29054" fmla="*/ 405516 h 5282095"/>
              <a:gd name="connsiteX29055" fmla="*/ 3588538 w 7714416"/>
              <a:gd name="connsiteY29055" fmla="*/ 404948 h 5282095"/>
              <a:gd name="connsiteX29056" fmla="*/ 1709517 w 7714416"/>
              <a:gd name="connsiteY29056" fmla="*/ 403679 h 5282095"/>
              <a:gd name="connsiteX29057" fmla="*/ 1720498 w 7714416"/>
              <a:gd name="connsiteY29057" fmla="*/ 406966 h 5282095"/>
              <a:gd name="connsiteX29058" fmla="*/ 1726097 w 7714416"/>
              <a:gd name="connsiteY29058" fmla="*/ 428131 h 5282095"/>
              <a:gd name="connsiteX29059" fmla="*/ 1723135 w 7714416"/>
              <a:gd name="connsiteY29059" fmla="*/ 430328 h 5282095"/>
              <a:gd name="connsiteX29060" fmla="*/ 1720095 w 7714416"/>
              <a:gd name="connsiteY29060" fmla="*/ 435034 h 5282095"/>
              <a:gd name="connsiteX29061" fmla="*/ 1705868 w 7714416"/>
              <a:gd name="connsiteY29061" fmla="*/ 431682 h 5282095"/>
              <a:gd name="connsiteX29062" fmla="*/ 1699238 w 7714416"/>
              <a:gd name="connsiteY29062" fmla="*/ 428755 h 5282095"/>
              <a:gd name="connsiteX29063" fmla="*/ 1688274 w 7714416"/>
              <a:gd name="connsiteY29063" fmla="*/ 417652 h 5282095"/>
              <a:gd name="connsiteX29064" fmla="*/ 1691882 w 7714416"/>
              <a:gd name="connsiteY29064" fmla="*/ 408614 h 5282095"/>
              <a:gd name="connsiteX29065" fmla="*/ 1709517 w 7714416"/>
              <a:gd name="connsiteY29065" fmla="*/ 403679 h 5282095"/>
              <a:gd name="connsiteX29066" fmla="*/ 2128282 w 7714416"/>
              <a:gd name="connsiteY29066" fmla="*/ 403645 h 5282095"/>
              <a:gd name="connsiteX29067" fmla="*/ 2135315 w 7714416"/>
              <a:gd name="connsiteY29067" fmla="*/ 405070 h 5282095"/>
              <a:gd name="connsiteX29068" fmla="*/ 2134998 w 7714416"/>
              <a:gd name="connsiteY29068" fmla="*/ 415105 h 5282095"/>
              <a:gd name="connsiteX29069" fmla="*/ 2125916 w 7714416"/>
              <a:gd name="connsiteY29069" fmla="*/ 410256 h 5282095"/>
              <a:gd name="connsiteX29070" fmla="*/ 2124404 w 7714416"/>
              <a:gd name="connsiteY29070" fmla="*/ 405941 h 5282095"/>
              <a:gd name="connsiteX29071" fmla="*/ 2128282 w 7714416"/>
              <a:gd name="connsiteY29071" fmla="*/ 403645 h 5282095"/>
              <a:gd name="connsiteX29072" fmla="*/ 4059083 w 7714416"/>
              <a:gd name="connsiteY29072" fmla="*/ 403149 h 5282095"/>
              <a:gd name="connsiteX29073" fmla="*/ 4049944 w 7714416"/>
              <a:gd name="connsiteY29073" fmla="*/ 433936 h 5282095"/>
              <a:gd name="connsiteX29074" fmla="*/ 4049956 w 7714416"/>
              <a:gd name="connsiteY29074" fmla="*/ 406224 h 5282095"/>
              <a:gd name="connsiteX29075" fmla="*/ 4059083 w 7714416"/>
              <a:gd name="connsiteY29075" fmla="*/ 403149 h 5282095"/>
              <a:gd name="connsiteX29076" fmla="*/ 3410998 w 7714416"/>
              <a:gd name="connsiteY29076" fmla="*/ 402343 h 5282095"/>
              <a:gd name="connsiteX29077" fmla="*/ 3422605 w 7714416"/>
              <a:gd name="connsiteY29077" fmla="*/ 409938 h 5282095"/>
              <a:gd name="connsiteX29078" fmla="*/ 3414412 w 7714416"/>
              <a:gd name="connsiteY29078" fmla="*/ 413952 h 5282095"/>
              <a:gd name="connsiteX29079" fmla="*/ 3409111 w 7714416"/>
              <a:gd name="connsiteY29079" fmla="*/ 408277 h 5282095"/>
              <a:gd name="connsiteX29080" fmla="*/ 3410998 w 7714416"/>
              <a:gd name="connsiteY29080" fmla="*/ 402343 h 5282095"/>
              <a:gd name="connsiteX29081" fmla="*/ 2243272 w 7714416"/>
              <a:gd name="connsiteY29081" fmla="*/ 398820 h 5282095"/>
              <a:gd name="connsiteX29082" fmla="*/ 2249485 w 7714416"/>
              <a:gd name="connsiteY29082" fmla="*/ 402886 h 5282095"/>
              <a:gd name="connsiteX29083" fmla="*/ 2250237 w 7714416"/>
              <a:gd name="connsiteY29083" fmla="*/ 405618 h 5282095"/>
              <a:gd name="connsiteX29084" fmla="*/ 2246399 w 7714416"/>
              <a:gd name="connsiteY29084" fmla="*/ 406659 h 5282095"/>
              <a:gd name="connsiteX29085" fmla="*/ 2240807 w 7714416"/>
              <a:gd name="connsiteY29085" fmla="*/ 405390 h 5282095"/>
              <a:gd name="connsiteX29086" fmla="*/ 2237031 w 7714416"/>
              <a:gd name="connsiteY29086" fmla="*/ 402883 h 5282095"/>
              <a:gd name="connsiteX29087" fmla="*/ 2236279 w 7714416"/>
              <a:gd name="connsiteY29087" fmla="*/ 400153 h 5282095"/>
              <a:gd name="connsiteX29088" fmla="*/ 2243272 w 7714416"/>
              <a:gd name="connsiteY29088" fmla="*/ 398820 h 5282095"/>
              <a:gd name="connsiteX29089" fmla="*/ 2545851 w 7714416"/>
              <a:gd name="connsiteY29089" fmla="*/ 398115 h 5282095"/>
              <a:gd name="connsiteX29090" fmla="*/ 2550439 w 7714416"/>
              <a:gd name="connsiteY29090" fmla="*/ 408660 h 5282095"/>
              <a:gd name="connsiteX29091" fmla="*/ 2552132 w 7714416"/>
              <a:gd name="connsiteY29091" fmla="*/ 414519 h 5282095"/>
              <a:gd name="connsiteX29092" fmla="*/ 2549389 w 7714416"/>
              <a:gd name="connsiteY29092" fmla="*/ 417004 h 5282095"/>
              <a:gd name="connsiteX29093" fmla="*/ 2547863 w 7714416"/>
              <a:gd name="connsiteY29093" fmla="*/ 417169 h 5282095"/>
              <a:gd name="connsiteX29094" fmla="*/ 2545861 w 7714416"/>
              <a:gd name="connsiteY29094" fmla="*/ 414678 h 5282095"/>
              <a:gd name="connsiteX29095" fmla="*/ 2543946 w 7714416"/>
              <a:gd name="connsiteY29095" fmla="*/ 403010 h 5282095"/>
              <a:gd name="connsiteX29096" fmla="*/ 2543385 w 7714416"/>
              <a:gd name="connsiteY29096" fmla="*/ 400675 h 5282095"/>
              <a:gd name="connsiteX29097" fmla="*/ 2545851 w 7714416"/>
              <a:gd name="connsiteY29097" fmla="*/ 398115 h 5282095"/>
              <a:gd name="connsiteX29098" fmla="*/ 1739483 w 7714416"/>
              <a:gd name="connsiteY29098" fmla="*/ 396988 h 5282095"/>
              <a:gd name="connsiteX29099" fmla="*/ 1744289 w 7714416"/>
              <a:gd name="connsiteY29099" fmla="*/ 411155 h 5282095"/>
              <a:gd name="connsiteX29100" fmla="*/ 1738304 w 7714416"/>
              <a:gd name="connsiteY29100" fmla="*/ 410242 h 5282095"/>
              <a:gd name="connsiteX29101" fmla="*/ 1732246 w 7714416"/>
              <a:gd name="connsiteY29101" fmla="*/ 408504 h 5282095"/>
              <a:gd name="connsiteX29102" fmla="*/ 1730226 w 7714416"/>
              <a:gd name="connsiteY29102" fmla="*/ 404973 h 5282095"/>
              <a:gd name="connsiteX29103" fmla="*/ 1728836 w 7714416"/>
              <a:gd name="connsiteY29103" fmla="*/ 402415 h 5282095"/>
              <a:gd name="connsiteX29104" fmla="*/ 1731207 w 7714416"/>
              <a:gd name="connsiteY29104" fmla="*/ 397991 h 5282095"/>
              <a:gd name="connsiteX29105" fmla="*/ 1729460 w 7714416"/>
              <a:gd name="connsiteY29105" fmla="*/ 397867 h 5282095"/>
              <a:gd name="connsiteX29106" fmla="*/ 1739483 w 7714416"/>
              <a:gd name="connsiteY29106" fmla="*/ 396988 h 5282095"/>
              <a:gd name="connsiteX29107" fmla="*/ 2466167 w 7714416"/>
              <a:gd name="connsiteY29107" fmla="*/ 396660 h 5282095"/>
              <a:gd name="connsiteX29108" fmla="*/ 2473760 w 7714416"/>
              <a:gd name="connsiteY29108" fmla="*/ 409274 h 5282095"/>
              <a:gd name="connsiteX29109" fmla="*/ 2397155 w 7714416"/>
              <a:gd name="connsiteY29109" fmla="*/ 428424 h 5282095"/>
              <a:gd name="connsiteX29110" fmla="*/ 2466167 w 7714416"/>
              <a:gd name="connsiteY29110" fmla="*/ 396660 h 5282095"/>
              <a:gd name="connsiteX29111" fmla="*/ 2925184 w 7714416"/>
              <a:gd name="connsiteY29111" fmla="*/ 393611 h 5282095"/>
              <a:gd name="connsiteX29112" fmla="*/ 2931778 w 7714416"/>
              <a:gd name="connsiteY29112" fmla="*/ 394457 h 5282095"/>
              <a:gd name="connsiteX29113" fmla="*/ 2926833 w 7714416"/>
              <a:gd name="connsiteY29113" fmla="*/ 395203 h 5282095"/>
              <a:gd name="connsiteX29114" fmla="*/ 2925450 w 7714416"/>
              <a:gd name="connsiteY29114" fmla="*/ 394832 h 5282095"/>
              <a:gd name="connsiteX29115" fmla="*/ 2925184 w 7714416"/>
              <a:gd name="connsiteY29115" fmla="*/ 393611 h 5282095"/>
              <a:gd name="connsiteX29116" fmla="*/ 2940008 w 7714416"/>
              <a:gd name="connsiteY29116" fmla="*/ 392522 h 5282095"/>
              <a:gd name="connsiteX29117" fmla="*/ 2949465 w 7714416"/>
              <a:gd name="connsiteY29117" fmla="*/ 401497 h 5282095"/>
              <a:gd name="connsiteX29118" fmla="*/ 2938577 w 7714416"/>
              <a:gd name="connsiteY29118" fmla="*/ 400074 h 5282095"/>
              <a:gd name="connsiteX29119" fmla="*/ 2940008 w 7714416"/>
              <a:gd name="connsiteY29119" fmla="*/ 392522 h 5282095"/>
              <a:gd name="connsiteX29120" fmla="*/ 1438051 w 7714416"/>
              <a:gd name="connsiteY29120" fmla="*/ 391891 h 5282095"/>
              <a:gd name="connsiteX29121" fmla="*/ 1433903 w 7714416"/>
              <a:gd name="connsiteY29121" fmla="*/ 414010 h 5282095"/>
              <a:gd name="connsiteX29122" fmla="*/ 1430306 w 7714416"/>
              <a:gd name="connsiteY29122" fmla="*/ 413046 h 5282095"/>
              <a:gd name="connsiteX29123" fmla="*/ 1428230 w 7714416"/>
              <a:gd name="connsiteY29123" fmla="*/ 409728 h 5282095"/>
              <a:gd name="connsiteX29124" fmla="*/ 1429779 w 7714416"/>
              <a:gd name="connsiteY29124" fmla="*/ 398414 h 5282095"/>
              <a:gd name="connsiteX29125" fmla="*/ 1430717 w 7714416"/>
              <a:gd name="connsiteY29125" fmla="*/ 396020 h 5282095"/>
              <a:gd name="connsiteX29126" fmla="*/ 1431683 w 7714416"/>
              <a:gd name="connsiteY29126" fmla="*/ 393519 h 5282095"/>
              <a:gd name="connsiteX29127" fmla="*/ 1438051 w 7714416"/>
              <a:gd name="connsiteY29127" fmla="*/ 391891 h 5282095"/>
              <a:gd name="connsiteX29128" fmla="*/ 2333546 w 7714416"/>
              <a:gd name="connsiteY29128" fmla="*/ 390220 h 5282095"/>
              <a:gd name="connsiteX29129" fmla="*/ 2338700 w 7714416"/>
              <a:gd name="connsiteY29129" fmla="*/ 390910 h 5282095"/>
              <a:gd name="connsiteX29130" fmla="*/ 2341024 w 7714416"/>
              <a:gd name="connsiteY29130" fmla="*/ 394408 h 5282095"/>
              <a:gd name="connsiteX29131" fmla="*/ 2343942 w 7714416"/>
              <a:gd name="connsiteY29131" fmla="*/ 396800 h 5282095"/>
              <a:gd name="connsiteX29132" fmla="*/ 2342441 w 7714416"/>
              <a:gd name="connsiteY29132" fmla="*/ 400193 h 5282095"/>
              <a:gd name="connsiteX29133" fmla="*/ 2339799 w 7714416"/>
              <a:gd name="connsiteY29133" fmla="*/ 397875 h 5282095"/>
              <a:gd name="connsiteX29134" fmla="*/ 2333546 w 7714416"/>
              <a:gd name="connsiteY29134" fmla="*/ 390220 h 5282095"/>
              <a:gd name="connsiteX29135" fmla="*/ 2319154 w 7714416"/>
              <a:gd name="connsiteY29135" fmla="*/ 389698 h 5282095"/>
              <a:gd name="connsiteX29136" fmla="*/ 2328224 w 7714416"/>
              <a:gd name="connsiteY29136" fmla="*/ 395694 h 5282095"/>
              <a:gd name="connsiteX29137" fmla="*/ 2328688 w 7714416"/>
              <a:gd name="connsiteY29137" fmla="*/ 399498 h 5282095"/>
              <a:gd name="connsiteX29138" fmla="*/ 2325615 w 7714416"/>
              <a:gd name="connsiteY29138" fmla="*/ 398789 h 5282095"/>
              <a:gd name="connsiteX29139" fmla="*/ 2323850 w 7714416"/>
              <a:gd name="connsiteY29139" fmla="*/ 397627 h 5282095"/>
              <a:gd name="connsiteX29140" fmla="*/ 2323100 w 7714416"/>
              <a:gd name="connsiteY29140" fmla="*/ 394896 h 5282095"/>
              <a:gd name="connsiteX29141" fmla="*/ 2318550 w 7714416"/>
              <a:gd name="connsiteY29141" fmla="*/ 391952 h 5282095"/>
              <a:gd name="connsiteX29142" fmla="*/ 2319154 w 7714416"/>
              <a:gd name="connsiteY29142" fmla="*/ 389698 h 5282095"/>
              <a:gd name="connsiteX29143" fmla="*/ 1648619 w 7714416"/>
              <a:gd name="connsiteY29143" fmla="*/ 389662 h 5282095"/>
              <a:gd name="connsiteX29144" fmla="*/ 1641623 w 7714416"/>
              <a:gd name="connsiteY29144" fmla="*/ 408027 h 5282095"/>
              <a:gd name="connsiteX29145" fmla="*/ 1641012 w 7714416"/>
              <a:gd name="connsiteY29145" fmla="*/ 390383 h 5282095"/>
              <a:gd name="connsiteX29146" fmla="*/ 1648619 w 7714416"/>
              <a:gd name="connsiteY29146" fmla="*/ 389662 h 5282095"/>
              <a:gd name="connsiteX29147" fmla="*/ 3431877 w 7714416"/>
              <a:gd name="connsiteY29147" fmla="*/ 388616 h 5282095"/>
              <a:gd name="connsiteX29148" fmla="*/ 3436225 w 7714416"/>
              <a:gd name="connsiteY29148" fmla="*/ 392312 h 5282095"/>
              <a:gd name="connsiteX29149" fmla="*/ 3436372 w 7714416"/>
              <a:gd name="connsiteY29149" fmla="*/ 397296 h 5282095"/>
              <a:gd name="connsiteX29150" fmla="*/ 3429538 w 7714416"/>
              <a:gd name="connsiteY29150" fmla="*/ 398455 h 5282095"/>
              <a:gd name="connsiteX29151" fmla="*/ 3422775 w 7714416"/>
              <a:gd name="connsiteY29151" fmla="*/ 394918 h 5282095"/>
              <a:gd name="connsiteX29152" fmla="*/ 3426465 w 7714416"/>
              <a:gd name="connsiteY29152" fmla="*/ 388892 h 5282095"/>
              <a:gd name="connsiteX29153" fmla="*/ 3431877 w 7714416"/>
              <a:gd name="connsiteY29153" fmla="*/ 388616 h 5282095"/>
              <a:gd name="connsiteX29154" fmla="*/ 2244846 w 7714416"/>
              <a:gd name="connsiteY29154" fmla="*/ 385887 h 5282095"/>
              <a:gd name="connsiteX29155" fmla="*/ 2248210 w 7714416"/>
              <a:gd name="connsiteY29155" fmla="*/ 391044 h 5282095"/>
              <a:gd name="connsiteX29156" fmla="*/ 2244601 w 7714416"/>
              <a:gd name="connsiteY29156" fmla="*/ 391228 h 5282095"/>
              <a:gd name="connsiteX29157" fmla="*/ 2241731 w 7714416"/>
              <a:gd name="connsiteY29157" fmla="*/ 389768 h 5282095"/>
              <a:gd name="connsiteX29158" fmla="*/ 2241418 w 7714416"/>
              <a:gd name="connsiteY29158" fmla="*/ 387614 h 5282095"/>
              <a:gd name="connsiteX29159" fmla="*/ 2244846 w 7714416"/>
              <a:gd name="connsiteY29159" fmla="*/ 385887 h 5282095"/>
              <a:gd name="connsiteX29160" fmla="*/ 2382912 w 7714416"/>
              <a:gd name="connsiteY29160" fmla="*/ 383077 h 5282095"/>
              <a:gd name="connsiteX29161" fmla="*/ 2394770 w 7714416"/>
              <a:gd name="connsiteY29161" fmla="*/ 384199 h 5282095"/>
              <a:gd name="connsiteX29162" fmla="*/ 2403193 w 7714416"/>
              <a:gd name="connsiteY29162" fmla="*/ 397035 h 5282095"/>
              <a:gd name="connsiteX29163" fmla="*/ 2400027 w 7714416"/>
              <a:gd name="connsiteY29163" fmla="*/ 403318 h 5282095"/>
              <a:gd name="connsiteX29164" fmla="*/ 2395635 w 7714416"/>
              <a:gd name="connsiteY29164" fmla="*/ 404212 h 5282095"/>
              <a:gd name="connsiteX29165" fmla="*/ 2394130 w 7714416"/>
              <a:gd name="connsiteY29165" fmla="*/ 410937 h 5282095"/>
              <a:gd name="connsiteX29166" fmla="*/ 2385440 w 7714416"/>
              <a:gd name="connsiteY29166" fmla="*/ 414589 h 5282095"/>
              <a:gd name="connsiteX29167" fmla="*/ 2382475 w 7714416"/>
              <a:gd name="connsiteY29167" fmla="*/ 411265 h 5282095"/>
              <a:gd name="connsiteX29168" fmla="*/ 2384315 w 7714416"/>
              <a:gd name="connsiteY29168" fmla="*/ 404398 h 5282095"/>
              <a:gd name="connsiteX29169" fmla="*/ 2379889 w 7714416"/>
              <a:gd name="connsiteY29169" fmla="*/ 403212 h 5282095"/>
              <a:gd name="connsiteX29170" fmla="*/ 2374214 w 7714416"/>
              <a:gd name="connsiteY29170" fmla="*/ 398931 h 5282095"/>
              <a:gd name="connsiteX29171" fmla="*/ 2373452 w 7714416"/>
              <a:gd name="connsiteY29171" fmla="*/ 397347 h 5282095"/>
              <a:gd name="connsiteX29172" fmla="*/ 2371868 w 7714416"/>
              <a:gd name="connsiteY29172" fmla="*/ 397727 h 5282095"/>
              <a:gd name="connsiteX29173" fmla="*/ 2366643 w 7714416"/>
              <a:gd name="connsiteY29173" fmla="*/ 392878 h 5282095"/>
              <a:gd name="connsiteX29174" fmla="*/ 2371570 w 7714416"/>
              <a:gd name="connsiteY29174" fmla="*/ 391093 h 5282095"/>
              <a:gd name="connsiteX29175" fmla="*/ 2370751 w 7714416"/>
              <a:gd name="connsiteY29175" fmla="*/ 389723 h 5282095"/>
              <a:gd name="connsiteX29176" fmla="*/ 2369367 w 7714416"/>
              <a:gd name="connsiteY29176" fmla="*/ 389352 h 5282095"/>
              <a:gd name="connsiteX29177" fmla="*/ 2364667 w 7714416"/>
              <a:gd name="connsiteY29177" fmla="*/ 384758 h 5282095"/>
              <a:gd name="connsiteX29178" fmla="*/ 2367732 w 7714416"/>
              <a:gd name="connsiteY29178" fmla="*/ 383278 h 5282095"/>
              <a:gd name="connsiteX29179" fmla="*/ 2371729 w 7714416"/>
              <a:gd name="connsiteY29179" fmla="*/ 386075 h 5282095"/>
              <a:gd name="connsiteX29180" fmla="*/ 2372195 w 7714416"/>
              <a:gd name="connsiteY29180" fmla="*/ 386545 h 5282095"/>
              <a:gd name="connsiteX29181" fmla="*/ 2373913 w 7714416"/>
              <a:gd name="connsiteY29181" fmla="*/ 386775 h 5282095"/>
              <a:gd name="connsiteX29182" fmla="*/ 2375182 w 7714416"/>
              <a:gd name="connsiteY29182" fmla="*/ 387576 h 5282095"/>
              <a:gd name="connsiteX29183" fmla="*/ 2375734 w 7714416"/>
              <a:gd name="connsiteY29183" fmla="*/ 387724 h 5282095"/>
              <a:gd name="connsiteX29184" fmla="*/ 2378200 w 7714416"/>
              <a:gd name="connsiteY29184" fmla="*/ 385165 h 5282095"/>
              <a:gd name="connsiteX29185" fmla="*/ 2382912 w 7714416"/>
              <a:gd name="connsiteY29185" fmla="*/ 383077 h 5282095"/>
              <a:gd name="connsiteX29186" fmla="*/ 3562708 w 7714416"/>
              <a:gd name="connsiteY29186" fmla="*/ 381812 h 5282095"/>
              <a:gd name="connsiteX29187" fmla="*/ 3566345 w 7714416"/>
              <a:gd name="connsiteY29187" fmla="*/ 390377 h 5282095"/>
              <a:gd name="connsiteX29188" fmla="*/ 3557469 w 7714416"/>
              <a:gd name="connsiteY29188" fmla="*/ 390299 h 5282095"/>
              <a:gd name="connsiteX29189" fmla="*/ 3552434 w 7714416"/>
              <a:gd name="connsiteY29189" fmla="*/ 385844 h 5282095"/>
              <a:gd name="connsiteX29190" fmla="*/ 3562708 w 7714416"/>
              <a:gd name="connsiteY29190" fmla="*/ 381812 h 5282095"/>
              <a:gd name="connsiteX29191" fmla="*/ 3205773 w 7714416"/>
              <a:gd name="connsiteY29191" fmla="*/ 379094 h 5282095"/>
              <a:gd name="connsiteX29192" fmla="*/ 3207775 w 7714416"/>
              <a:gd name="connsiteY29192" fmla="*/ 381585 h 5282095"/>
              <a:gd name="connsiteX29193" fmla="*/ 3207990 w 7714416"/>
              <a:gd name="connsiteY29193" fmla="*/ 385207 h 5282095"/>
              <a:gd name="connsiteX29194" fmla="*/ 3199686 w 7714416"/>
              <a:gd name="connsiteY29194" fmla="*/ 386317 h 5282095"/>
              <a:gd name="connsiteX29195" fmla="*/ 3197684 w 7714416"/>
              <a:gd name="connsiteY29195" fmla="*/ 383827 h 5282095"/>
              <a:gd name="connsiteX29196" fmla="*/ 3198967 w 7714416"/>
              <a:gd name="connsiteY29196" fmla="*/ 380145 h 5282095"/>
              <a:gd name="connsiteX29197" fmla="*/ 3205773 w 7714416"/>
              <a:gd name="connsiteY29197" fmla="*/ 379094 h 5282095"/>
              <a:gd name="connsiteX29198" fmla="*/ 2877278 w 7714416"/>
              <a:gd name="connsiteY29198" fmla="*/ 378705 h 5282095"/>
              <a:gd name="connsiteX29199" fmla="*/ 2903016 w 7714416"/>
              <a:gd name="connsiteY29199" fmla="*/ 382266 h 5282095"/>
              <a:gd name="connsiteX29200" fmla="*/ 2884292 w 7714416"/>
              <a:gd name="connsiteY29200" fmla="*/ 387944 h 5282095"/>
              <a:gd name="connsiteX29201" fmla="*/ 2875736 w 7714416"/>
              <a:gd name="connsiteY29201" fmla="*/ 383352 h 5282095"/>
              <a:gd name="connsiteX29202" fmla="*/ 2877278 w 7714416"/>
              <a:gd name="connsiteY29202" fmla="*/ 378705 h 5282095"/>
              <a:gd name="connsiteX29203" fmla="*/ 4168698 w 7714416"/>
              <a:gd name="connsiteY29203" fmla="*/ 378125 h 5282095"/>
              <a:gd name="connsiteX29204" fmla="*/ 4156821 w 7714416"/>
              <a:gd name="connsiteY29204" fmla="*/ 390353 h 5282095"/>
              <a:gd name="connsiteX29205" fmla="*/ 4154420 w 7714416"/>
              <a:gd name="connsiteY29205" fmla="*/ 386029 h 5282095"/>
              <a:gd name="connsiteX29206" fmla="*/ 4153530 w 7714416"/>
              <a:gd name="connsiteY29206" fmla="*/ 380500 h 5282095"/>
              <a:gd name="connsiteX29207" fmla="*/ 4168698 w 7714416"/>
              <a:gd name="connsiteY29207" fmla="*/ 378125 h 5282095"/>
              <a:gd name="connsiteX29208" fmla="*/ 2624660 w 7714416"/>
              <a:gd name="connsiteY29208" fmla="*/ 376681 h 5282095"/>
              <a:gd name="connsiteX29209" fmla="*/ 2631856 w 7714416"/>
              <a:gd name="connsiteY29209" fmla="*/ 379300 h 5282095"/>
              <a:gd name="connsiteX29210" fmla="*/ 2619400 w 7714416"/>
              <a:gd name="connsiteY29210" fmla="*/ 388152 h 5282095"/>
              <a:gd name="connsiteX29211" fmla="*/ 2614017 w 7714416"/>
              <a:gd name="connsiteY29211" fmla="*/ 388320 h 5282095"/>
              <a:gd name="connsiteX29212" fmla="*/ 2609399 w 7714416"/>
              <a:gd name="connsiteY29212" fmla="*/ 386738 h 5282095"/>
              <a:gd name="connsiteX29213" fmla="*/ 2608965 w 7714416"/>
              <a:gd name="connsiteY29213" fmla="*/ 382827 h 5282095"/>
              <a:gd name="connsiteX29214" fmla="*/ 2616137 w 7714416"/>
              <a:gd name="connsiteY29214" fmla="*/ 378193 h 5282095"/>
              <a:gd name="connsiteX29215" fmla="*/ 2624660 w 7714416"/>
              <a:gd name="connsiteY29215" fmla="*/ 376681 h 5282095"/>
              <a:gd name="connsiteX29216" fmla="*/ 3276843 w 7714416"/>
              <a:gd name="connsiteY29216" fmla="*/ 376171 h 5282095"/>
              <a:gd name="connsiteX29217" fmla="*/ 3286862 w 7714416"/>
              <a:gd name="connsiteY29217" fmla="*/ 378626 h 5282095"/>
              <a:gd name="connsiteX29218" fmla="*/ 3285950 w 7714416"/>
              <a:gd name="connsiteY29218" fmla="*/ 393101 h 5282095"/>
              <a:gd name="connsiteX29219" fmla="*/ 3275467 w 7714416"/>
              <a:gd name="connsiteY29219" fmla="*/ 386843 h 5282095"/>
              <a:gd name="connsiteX29220" fmla="*/ 3274727 w 7714416"/>
              <a:gd name="connsiteY29220" fmla="*/ 382964 h 5282095"/>
              <a:gd name="connsiteX29221" fmla="*/ 3278446 w 7714416"/>
              <a:gd name="connsiteY29221" fmla="*/ 376831 h 5282095"/>
              <a:gd name="connsiteX29222" fmla="*/ 3276843 w 7714416"/>
              <a:gd name="connsiteY29222" fmla="*/ 376171 h 5282095"/>
              <a:gd name="connsiteX29223" fmla="*/ 1067551 w 7714416"/>
              <a:gd name="connsiteY29223" fmla="*/ 374496 h 5282095"/>
              <a:gd name="connsiteX29224" fmla="*/ 1071515 w 7714416"/>
              <a:gd name="connsiteY29224" fmla="*/ 389589 h 5282095"/>
              <a:gd name="connsiteX29225" fmla="*/ 1064776 w 7714416"/>
              <a:gd name="connsiteY29225" fmla="*/ 389278 h 5282095"/>
              <a:gd name="connsiteX29226" fmla="*/ 1060302 w 7714416"/>
              <a:gd name="connsiteY29226" fmla="*/ 387160 h 5282095"/>
              <a:gd name="connsiteX29227" fmla="*/ 1057278 w 7714416"/>
              <a:gd name="connsiteY29227" fmla="*/ 378529 h 5282095"/>
              <a:gd name="connsiteX29228" fmla="*/ 1067551 w 7714416"/>
              <a:gd name="connsiteY29228" fmla="*/ 374496 h 5282095"/>
              <a:gd name="connsiteX29229" fmla="*/ 3242836 w 7714416"/>
              <a:gd name="connsiteY29229" fmla="*/ 373728 h 5282095"/>
              <a:gd name="connsiteX29230" fmla="*/ 3255189 w 7714416"/>
              <a:gd name="connsiteY29230" fmla="*/ 375084 h 5282095"/>
              <a:gd name="connsiteX29231" fmla="*/ 3264726 w 7714416"/>
              <a:gd name="connsiteY29231" fmla="*/ 381550 h 5282095"/>
              <a:gd name="connsiteX29232" fmla="*/ 3261725 w 7714416"/>
              <a:gd name="connsiteY29232" fmla="*/ 402711 h 5282095"/>
              <a:gd name="connsiteX29233" fmla="*/ 3257887 w 7714416"/>
              <a:gd name="connsiteY29233" fmla="*/ 403752 h 5282095"/>
              <a:gd name="connsiteX29234" fmla="*/ 3253139 w 7714416"/>
              <a:gd name="connsiteY29234" fmla="*/ 407081 h 5282095"/>
              <a:gd name="connsiteX29235" fmla="*/ 3235449 w 7714416"/>
              <a:gd name="connsiteY29235" fmla="*/ 394520 h 5282095"/>
              <a:gd name="connsiteX29236" fmla="*/ 3236502 w 7714416"/>
              <a:gd name="connsiteY29236" fmla="*/ 373987 h 5282095"/>
              <a:gd name="connsiteX29237" fmla="*/ 3242836 w 7714416"/>
              <a:gd name="connsiteY29237" fmla="*/ 373728 h 5282095"/>
              <a:gd name="connsiteX29238" fmla="*/ 2762917 w 7714416"/>
              <a:gd name="connsiteY29238" fmla="*/ 371637 h 5282095"/>
              <a:gd name="connsiteX29239" fmla="*/ 2771555 w 7714416"/>
              <a:gd name="connsiteY29239" fmla="*/ 379242 h 5282095"/>
              <a:gd name="connsiteX29240" fmla="*/ 2766017 w 7714416"/>
              <a:gd name="connsiteY29240" fmla="*/ 381093 h 5282095"/>
              <a:gd name="connsiteX29241" fmla="*/ 2773446 w 7714416"/>
              <a:gd name="connsiteY29241" fmla="*/ 387683 h 5282095"/>
              <a:gd name="connsiteX29242" fmla="*/ 2776234 w 7714416"/>
              <a:gd name="connsiteY29242" fmla="*/ 394985 h 5282095"/>
              <a:gd name="connsiteX29243" fmla="*/ 2770043 w 7714416"/>
              <a:gd name="connsiteY29243" fmla="*/ 401492 h 5282095"/>
              <a:gd name="connsiteX29244" fmla="*/ 2763887 w 7714416"/>
              <a:gd name="connsiteY29244" fmla="*/ 401222 h 5282095"/>
              <a:gd name="connsiteX29245" fmla="*/ 2765784 w 7714416"/>
              <a:gd name="connsiteY29245" fmla="*/ 402996 h 5282095"/>
              <a:gd name="connsiteX29246" fmla="*/ 2769100 w 7714416"/>
              <a:gd name="connsiteY29246" fmla="*/ 407219 h 5282095"/>
              <a:gd name="connsiteX29247" fmla="*/ 2762733 w 7714416"/>
              <a:gd name="connsiteY29247" fmla="*/ 408848 h 5282095"/>
              <a:gd name="connsiteX29248" fmla="*/ 2758220 w 7714416"/>
              <a:gd name="connsiteY29248" fmla="*/ 407984 h 5282095"/>
              <a:gd name="connsiteX29249" fmla="*/ 2758341 w 7714416"/>
              <a:gd name="connsiteY29249" fmla="*/ 409742 h 5282095"/>
              <a:gd name="connsiteX29250" fmla="*/ 2740165 w 7714416"/>
              <a:gd name="connsiteY29250" fmla="*/ 413382 h 5282095"/>
              <a:gd name="connsiteX29251" fmla="*/ 2737424 w 7714416"/>
              <a:gd name="connsiteY29251" fmla="*/ 407011 h 5282095"/>
              <a:gd name="connsiteX29252" fmla="*/ 2736913 w 7714416"/>
              <a:gd name="connsiteY29252" fmla="*/ 402275 h 5282095"/>
              <a:gd name="connsiteX29253" fmla="*/ 2748570 w 7714416"/>
              <a:gd name="connsiteY29253" fmla="*/ 398613 h 5282095"/>
              <a:gd name="connsiteX29254" fmla="*/ 2749125 w 7714416"/>
              <a:gd name="connsiteY29254" fmla="*/ 398762 h 5282095"/>
              <a:gd name="connsiteX29255" fmla="*/ 2749182 w 7714416"/>
              <a:gd name="connsiteY29255" fmla="*/ 398547 h 5282095"/>
              <a:gd name="connsiteX29256" fmla="*/ 2751855 w 7714416"/>
              <a:gd name="connsiteY29256" fmla="*/ 397424 h 5282095"/>
              <a:gd name="connsiteX29257" fmla="*/ 2748736 w 7714416"/>
              <a:gd name="connsiteY29257" fmla="*/ 395783 h 5282095"/>
              <a:gd name="connsiteX29258" fmla="*/ 2744808 w 7714416"/>
              <a:gd name="connsiteY29258" fmla="*/ 382771 h 5282095"/>
              <a:gd name="connsiteX29259" fmla="*/ 2744216 w 7714416"/>
              <a:gd name="connsiteY29259" fmla="*/ 383876 h 5282095"/>
              <a:gd name="connsiteX29260" fmla="*/ 2718033 w 7714416"/>
              <a:gd name="connsiteY29260" fmla="*/ 386405 h 5282095"/>
              <a:gd name="connsiteX29261" fmla="*/ 2720861 w 7714416"/>
              <a:gd name="connsiteY29261" fmla="*/ 383598 h 5282095"/>
              <a:gd name="connsiteX29262" fmla="*/ 2723057 w 7714416"/>
              <a:gd name="connsiteY29262" fmla="*/ 383152 h 5282095"/>
              <a:gd name="connsiteX29263" fmla="*/ 2723344 w 7714416"/>
              <a:gd name="connsiteY29263" fmla="*/ 382079 h 5282095"/>
              <a:gd name="connsiteX29264" fmla="*/ 2724947 w 7714416"/>
              <a:gd name="connsiteY29264" fmla="*/ 382739 h 5282095"/>
              <a:gd name="connsiteX29265" fmla="*/ 2728784 w 7714416"/>
              <a:gd name="connsiteY29265" fmla="*/ 381697 h 5282095"/>
              <a:gd name="connsiteX29266" fmla="*/ 2735987 w 7714416"/>
              <a:gd name="connsiteY29266" fmla="*/ 376956 h 5282095"/>
              <a:gd name="connsiteX29267" fmla="*/ 2747173 w 7714416"/>
              <a:gd name="connsiteY29267" fmla="*/ 376158 h 5282095"/>
              <a:gd name="connsiteX29268" fmla="*/ 2749498 w 7714416"/>
              <a:gd name="connsiteY29268" fmla="*/ 379656 h 5282095"/>
              <a:gd name="connsiteX29269" fmla="*/ 2753613 w 7714416"/>
              <a:gd name="connsiteY29269" fmla="*/ 378689 h 5282095"/>
              <a:gd name="connsiteX29270" fmla="*/ 2758396 w 7714416"/>
              <a:gd name="connsiteY29270" fmla="*/ 377441 h 5282095"/>
              <a:gd name="connsiteX29271" fmla="*/ 2759363 w 7714416"/>
              <a:gd name="connsiteY29271" fmla="*/ 374940 h 5282095"/>
              <a:gd name="connsiteX29272" fmla="*/ 2762917 w 7714416"/>
              <a:gd name="connsiteY29272" fmla="*/ 371637 h 5282095"/>
              <a:gd name="connsiteX29273" fmla="*/ 2318126 w 7714416"/>
              <a:gd name="connsiteY29273" fmla="*/ 369182 h 5282095"/>
              <a:gd name="connsiteX29274" fmla="*/ 2325634 w 7714416"/>
              <a:gd name="connsiteY29274" fmla="*/ 373264 h 5282095"/>
              <a:gd name="connsiteX29275" fmla="*/ 2326661 w 7714416"/>
              <a:gd name="connsiteY29275" fmla="*/ 384924 h 5282095"/>
              <a:gd name="connsiteX29276" fmla="*/ 2320498 w 7714416"/>
              <a:gd name="connsiteY29276" fmla="*/ 382469 h 5282095"/>
              <a:gd name="connsiteX29277" fmla="*/ 2316082 w 7714416"/>
              <a:gd name="connsiteY29277" fmla="*/ 371279 h 5282095"/>
              <a:gd name="connsiteX29278" fmla="*/ 2318126 w 7714416"/>
              <a:gd name="connsiteY29278" fmla="*/ 369182 h 5282095"/>
              <a:gd name="connsiteX29279" fmla="*/ 1617967 w 7714416"/>
              <a:gd name="connsiteY29279" fmla="*/ 369028 h 5282095"/>
              <a:gd name="connsiteX29280" fmla="*/ 1620654 w 7714416"/>
              <a:gd name="connsiteY29280" fmla="*/ 381133 h 5282095"/>
              <a:gd name="connsiteX29281" fmla="*/ 1617162 w 7714416"/>
              <a:gd name="connsiteY29281" fmla="*/ 380887 h 5282095"/>
              <a:gd name="connsiteX29282" fmla="*/ 1612993 w 7714416"/>
              <a:gd name="connsiteY29282" fmla="*/ 378735 h 5282095"/>
              <a:gd name="connsiteX29283" fmla="*/ 1617967 w 7714416"/>
              <a:gd name="connsiteY29283" fmla="*/ 369028 h 5282095"/>
              <a:gd name="connsiteX29284" fmla="*/ 3028769 w 7714416"/>
              <a:gd name="connsiteY29284" fmla="*/ 366741 h 5282095"/>
              <a:gd name="connsiteX29285" fmla="*/ 3032592 w 7714416"/>
              <a:gd name="connsiteY29285" fmla="*/ 370179 h 5282095"/>
              <a:gd name="connsiteX29286" fmla="*/ 3032452 w 7714416"/>
              <a:gd name="connsiteY29286" fmla="*/ 376238 h 5282095"/>
              <a:gd name="connsiteX29287" fmla="*/ 3029311 w 7714416"/>
              <a:gd name="connsiteY29287" fmla="*/ 376891 h 5282095"/>
              <a:gd name="connsiteX29288" fmla="*/ 3018380 w 7714416"/>
              <a:gd name="connsiteY29288" fmla="*/ 371202 h 5282095"/>
              <a:gd name="connsiteX29289" fmla="*/ 3017945 w 7714416"/>
              <a:gd name="connsiteY29289" fmla="*/ 367290 h 5282095"/>
              <a:gd name="connsiteX29290" fmla="*/ 3028769 w 7714416"/>
              <a:gd name="connsiteY29290" fmla="*/ 366741 h 5282095"/>
              <a:gd name="connsiteX29291" fmla="*/ 2684411 w 7714416"/>
              <a:gd name="connsiteY29291" fmla="*/ 365782 h 5282095"/>
              <a:gd name="connsiteX29292" fmla="*/ 2679624 w 7714416"/>
              <a:gd name="connsiteY29292" fmla="*/ 379220 h 5282095"/>
              <a:gd name="connsiteX29293" fmla="*/ 2670527 w 7714416"/>
              <a:gd name="connsiteY29293" fmla="*/ 382186 h 5282095"/>
              <a:gd name="connsiteX29294" fmla="*/ 2667867 w 7714416"/>
              <a:gd name="connsiteY29294" fmla="*/ 378828 h 5282095"/>
              <a:gd name="connsiteX29295" fmla="*/ 2671044 w 7714416"/>
              <a:gd name="connsiteY29295" fmla="*/ 371400 h 5282095"/>
              <a:gd name="connsiteX29296" fmla="*/ 2684411 w 7714416"/>
              <a:gd name="connsiteY29296" fmla="*/ 365782 h 5282095"/>
              <a:gd name="connsiteX29297" fmla="*/ 2087014 w 7714416"/>
              <a:gd name="connsiteY29297" fmla="*/ 365073 h 5282095"/>
              <a:gd name="connsiteX29298" fmla="*/ 2101065 w 7714416"/>
              <a:gd name="connsiteY29298" fmla="*/ 365762 h 5282095"/>
              <a:gd name="connsiteX29299" fmla="*/ 2106860 w 7714416"/>
              <a:gd name="connsiteY29299" fmla="*/ 371800 h 5282095"/>
              <a:gd name="connsiteX29300" fmla="*/ 2088911 w 7714416"/>
              <a:gd name="connsiteY29300" fmla="*/ 377915 h 5282095"/>
              <a:gd name="connsiteX29301" fmla="*/ 2082471 w 7714416"/>
              <a:gd name="connsiteY29301" fmla="*/ 375384 h 5282095"/>
              <a:gd name="connsiteX29302" fmla="*/ 2087014 w 7714416"/>
              <a:gd name="connsiteY29302" fmla="*/ 365073 h 5282095"/>
              <a:gd name="connsiteX29303" fmla="*/ 3005598 w 7714416"/>
              <a:gd name="connsiteY29303" fmla="*/ 364672 h 5282095"/>
              <a:gd name="connsiteX29304" fmla="*/ 3016939 w 7714416"/>
              <a:gd name="connsiteY29304" fmla="*/ 379901 h 5282095"/>
              <a:gd name="connsiteX29305" fmla="*/ 3000016 w 7714416"/>
              <a:gd name="connsiteY29305" fmla="*/ 379967 h 5282095"/>
              <a:gd name="connsiteX29306" fmla="*/ 2998051 w 7714416"/>
              <a:gd name="connsiteY29306" fmla="*/ 370700 h 5282095"/>
              <a:gd name="connsiteX29307" fmla="*/ 3005598 w 7714416"/>
              <a:gd name="connsiteY29307" fmla="*/ 364672 h 5282095"/>
              <a:gd name="connsiteX29308" fmla="*/ 2627597 w 7714416"/>
              <a:gd name="connsiteY29308" fmla="*/ 363094 h 5282095"/>
              <a:gd name="connsiteX29309" fmla="*/ 2627080 w 7714416"/>
              <a:gd name="connsiteY29309" fmla="*/ 373880 h 5282095"/>
              <a:gd name="connsiteX29310" fmla="*/ 2619030 w 7714416"/>
              <a:gd name="connsiteY29310" fmla="*/ 377358 h 5282095"/>
              <a:gd name="connsiteX29311" fmla="*/ 2607778 w 7714416"/>
              <a:gd name="connsiteY29311" fmla="*/ 376183 h 5282095"/>
              <a:gd name="connsiteX29312" fmla="*/ 2603467 w 7714416"/>
              <a:gd name="connsiteY29312" fmla="*/ 374568 h 5282095"/>
              <a:gd name="connsiteX29313" fmla="*/ 2604465 w 7714416"/>
              <a:gd name="connsiteY29313" fmla="*/ 368625 h 5282095"/>
              <a:gd name="connsiteX29314" fmla="*/ 2627597 w 7714416"/>
              <a:gd name="connsiteY29314" fmla="*/ 363094 h 5282095"/>
              <a:gd name="connsiteX29315" fmla="*/ 3834762 w 7714416"/>
              <a:gd name="connsiteY29315" fmla="*/ 360407 h 5282095"/>
              <a:gd name="connsiteX29316" fmla="*/ 3849198 w 7714416"/>
              <a:gd name="connsiteY29316" fmla="*/ 365196 h 5282095"/>
              <a:gd name="connsiteX29317" fmla="*/ 3845698 w 7714416"/>
              <a:gd name="connsiteY29317" fmla="*/ 371618 h 5282095"/>
              <a:gd name="connsiteX29318" fmla="*/ 3834762 w 7714416"/>
              <a:gd name="connsiteY29318" fmla="*/ 360407 h 5282095"/>
              <a:gd name="connsiteX29319" fmla="*/ 1875425 w 7714416"/>
              <a:gd name="connsiteY29319" fmla="*/ 360042 h 5282095"/>
              <a:gd name="connsiteX29320" fmla="*/ 1880728 w 7714416"/>
              <a:gd name="connsiteY29320" fmla="*/ 362383 h 5282095"/>
              <a:gd name="connsiteX29321" fmla="*/ 1883043 w 7714416"/>
              <a:gd name="connsiteY29321" fmla="*/ 367029 h 5282095"/>
              <a:gd name="connsiteX29322" fmla="*/ 1869431 w 7714416"/>
              <a:gd name="connsiteY29322" fmla="*/ 369131 h 5282095"/>
              <a:gd name="connsiteX29323" fmla="*/ 1870412 w 7714416"/>
              <a:gd name="connsiteY29323" fmla="*/ 362149 h 5282095"/>
              <a:gd name="connsiteX29324" fmla="*/ 1875425 w 7714416"/>
              <a:gd name="connsiteY29324" fmla="*/ 360042 h 5282095"/>
              <a:gd name="connsiteX29325" fmla="*/ 2358817 w 7714416"/>
              <a:gd name="connsiteY29325" fmla="*/ 357890 h 5282095"/>
              <a:gd name="connsiteX29326" fmla="*/ 2355963 w 7714416"/>
              <a:gd name="connsiteY29326" fmla="*/ 375180 h 5282095"/>
              <a:gd name="connsiteX29327" fmla="*/ 2353916 w 7714416"/>
              <a:gd name="connsiteY29327" fmla="*/ 371757 h 5282095"/>
              <a:gd name="connsiteX29328" fmla="*/ 2358817 w 7714416"/>
              <a:gd name="connsiteY29328" fmla="*/ 357890 h 5282095"/>
              <a:gd name="connsiteX29329" fmla="*/ 2650643 w 7714416"/>
              <a:gd name="connsiteY29329" fmla="*/ 357883 h 5282095"/>
              <a:gd name="connsiteX29330" fmla="*/ 2652663 w 7714416"/>
              <a:gd name="connsiteY29330" fmla="*/ 361415 h 5282095"/>
              <a:gd name="connsiteX29331" fmla="*/ 2647164 w 7714416"/>
              <a:gd name="connsiteY29331" fmla="*/ 362011 h 5282095"/>
              <a:gd name="connsiteX29332" fmla="*/ 2643854 w 7714416"/>
              <a:gd name="connsiteY29332" fmla="*/ 359975 h 5282095"/>
              <a:gd name="connsiteX29333" fmla="*/ 2650643 w 7714416"/>
              <a:gd name="connsiteY29333" fmla="*/ 357883 h 5282095"/>
              <a:gd name="connsiteX29334" fmla="*/ 2214852 w 7714416"/>
              <a:gd name="connsiteY29334" fmla="*/ 357266 h 5282095"/>
              <a:gd name="connsiteX29335" fmla="*/ 2252490 w 7714416"/>
              <a:gd name="connsiteY29335" fmla="*/ 387246 h 5282095"/>
              <a:gd name="connsiteX29336" fmla="*/ 2245605 w 7714416"/>
              <a:gd name="connsiteY29336" fmla="*/ 381950 h 5282095"/>
              <a:gd name="connsiteX29337" fmla="*/ 2243808 w 7714416"/>
              <a:gd name="connsiteY29337" fmla="*/ 384230 h 5282095"/>
              <a:gd name="connsiteX29338" fmla="*/ 2233289 w 7714416"/>
              <a:gd name="connsiteY29338" fmla="*/ 384746 h 5282095"/>
              <a:gd name="connsiteX29339" fmla="*/ 2230009 w 7714416"/>
              <a:gd name="connsiteY29339" fmla="*/ 382602 h 5282095"/>
              <a:gd name="connsiteX29340" fmla="*/ 2229258 w 7714416"/>
              <a:gd name="connsiteY29340" fmla="*/ 379870 h 5282095"/>
              <a:gd name="connsiteX29341" fmla="*/ 2229204 w 7714416"/>
              <a:gd name="connsiteY29341" fmla="*/ 376751 h 5282095"/>
              <a:gd name="connsiteX29342" fmla="*/ 2232815 w 7714416"/>
              <a:gd name="connsiteY29342" fmla="*/ 373234 h 5282095"/>
              <a:gd name="connsiteX29343" fmla="*/ 2223365 w 7714416"/>
              <a:gd name="connsiteY29343" fmla="*/ 366447 h 5282095"/>
              <a:gd name="connsiteX29344" fmla="*/ 2214852 w 7714416"/>
              <a:gd name="connsiteY29344" fmla="*/ 357266 h 5282095"/>
              <a:gd name="connsiteX29345" fmla="*/ 2295839 w 7714416"/>
              <a:gd name="connsiteY29345" fmla="*/ 356899 h 5282095"/>
              <a:gd name="connsiteX29346" fmla="*/ 2304402 w 7714416"/>
              <a:gd name="connsiteY29346" fmla="*/ 359525 h 5282095"/>
              <a:gd name="connsiteX29347" fmla="*/ 2304884 w 7714416"/>
              <a:gd name="connsiteY29347" fmla="*/ 373225 h 5282095"/>
              <a:gd name="connsiteX29348" fmla="*/ 2289044 w 7714416"/>
              <a:gd name="connsiteY29348" fmla="*/ 370360 h 5282095"/>
              <a:gd name="connsiteX29349" fmla="*/ 2286773 w 7714416"/>
              <a:gd name="connsiteY29349" fmla="*/ 361126 h 5282095"/>
              <a:gd name="connsiteX29350" fmla="*/ 2295839 w 7714416"/>
              <a:gd name="connsiteY29350" fmla="*/ 356899 h 5282095"/>
              <a:gd name="connsiteX29351" fmla="*/ 1368668 w 7714416"/>
              <a:gd name="connsiteY29351" fmla="*/ 354209 h 5282095"/>
              <a:gd name="connsiteX29352" fmla="*/ 1362691 w 7714416"/>
              <a:gd name="connsiteY29352" fmla="*/ 390903 h 5282095"/>
              <a:gd name="connsiteX29353" fmla="*/ 1368668 w 7714416"/>
              <a:gd name="connsiteY29353" fmla="*/ 354209 h 5282095"/>
              <a:gd name="connsiteX29354" fmla="*/ 2368843 w 7714416"/>
              <a:gd name="connsiteY29354" fmla="*/ 353676 h 5282095"/>
              <a:gd name="connsiteX29355" fmla="*/ 2370000 w 7714416"/>
              <a:gd name="connsiteY29355" fmla="*/ 360427 h 5282095"/>
              <a:gd name="connsiteX29356" fmla="*/ 2366952 w 7714416"/>
              <a:gd name="connsiteY29356" fmla="*/ 354090 h 5282095"/>
              <a:gd name="connsiteX29357" fmla="*/ 2368843 w 7714416"/>
              <a:gd name="connsiteY29357" fmla="*/ 353676 h 5282095"/>
              <a:gd name="connsiteX29358" fmla="*/ 4389078 w 7714416"/>
              <a:gd name="connsiteY29358" fmla="*/ 350349 h 5282095"/>
              <a:gd name="connsiteX29359" fmla="*/ 4389387 w 7714416"/>
              <a:gd name="connsiteY29359" fmla="*/ 364692 h 5282095"/>
              <a:gd name="connsiteX29360" fmla="*/ 4386724 w 7714416"/>
              <a:gd name="connsiteY29360" fmla="*/ 355813 h 5282095"/>
              <a:gd name="connsiteX29361" fmla="*/ 4389078 w 7714416"/>
              <a:gd name="connsiteY29361" fmla="*/ 350349 h 5282095"/>
              <a:gd name="connsiteX29362" fmla="*/ 2482981 w 7714416"/>
              <a:gd name="connsiteY29362" fmla="*/ 346079 h 5282095"/>
              <a:gd name="connsiteX29363" fmla="*/ 2483582 w 7714416"/>
              <a:gd name="connsiteY29363" fmla="*/ 347161 h 5282095"/>
              <a:gd name="connsiteX29364" fmla="*/ 2482741 w 7714416"/>
              <a:gd name="connsiteY29364" fmla="*/ 348085 h 5282095"/>
              <a:gd name="connsiteX29365" fmla="*/ 2484327 w 7714416"/>
              <a:gd name="connsiteY29365" fmla="*/ 347704 h 5282095"/>
              <a:gd name="connsiteX29366" fmla="*/ 1544349 w 7714416"/>
              <a:gd name="connsiteY29366" fmla="*/ 344931 h 5282095"/>
              <a:gd name="connsiteX29367" fmla="*/ 1550229 w 7714416"/>
              <a:gd name="connsiteY29367" fmla="*/ 345128 h 5282095"/>
              <a:gd name="connsiteX29368" fmla="*/ 1554523 w 7714416"/>
              <a:gd name="connsiteY29368" fmla="*/ 372268 h 5282095"/>
              <a:gd name="connsiteX29369" fmla="*/ 1549197 w 7714416"/>
              <a:gd name="connsiteY29369" fmla="*/ 372221 h 5282095"/>
              <a:gd name="connsiteX29370" fmla="*/ 1541230 w 7714416"/>
              <a:gd name="connsiteY29370" fmla="*/ 369856 h 5282095"/>
              <a:gd name="connsiteX29371" fmla="*/ 1532976 w 7714416"/>
              <a:gd name="connsiteY29371" fmla="*/ 350855 h 5282095"/>
              <a:gd name="connsiteX29372" fmla="*/ 1544349 w 7714416"/>
              <a:gd name="connsiteY29372" fmla="*/ 344931 h 5282095"/>
              <a:gd name="connsiteX29373" fmla="*/ 4573711 w 7714416"/>
              <a:gd name="connsiteY29373" fmla="*/ 341975 h 5282095"/>
              <a:gd name="connsiteX29374" fmla="*/ 4573654 w 7714416"/>
              <a:gd name="connsiteY29374" fmla="*/ 351046 h 5282095"/>
              <a:gd name="connsiteX29375" fmla="*/ 4569435 w 7714416"/>
              <a:gd name="connsiteY29375" fmla="*/ 351295 h 5282095"/>
              <a:gd name="connsiteX29376" fmla="*/ 4563315 w 7714416"/>
              <a:gd name="connsiteY29376" fmla="*/ 344249 h 5282095"/>
              <a:gd name="connsiteX29377" fmla="*/ 4573711 w 7714416"/>
              <a:gd name="connsiteY29377" fmla="*/ 341975 h 5282095"/>
              <a:gd name="connsiteX29378" fmla="*/ 1351950 w 7714416"/>
              <a:gd name="connsiteY29378" fmla="*/ 341334 h 5282095"/>
              <a:gd name="connsiteX29379" fmla="*/ 1344311 w 7714416"/>
              <a:gd name="connsiteY29379" fmla="*/ 354353 h 5282095"/>
              <a:gd name="connsiteX29380" fmla="*/ 1341515 w 7714416"/>
              <a:gd name="connsiteY29380" fmla="*/ 353718 h 5282095"/>
              <a:gd name="connsiteX29381" fmla="*/ 1333415 w 7714416"/>
              <a:gd name="connsiteY29381" fmla="*/ 341888 h 5282095"/>
              <a:gd name="connsiteX29382" fmla="*/ 1351950 w 7714416"/>
              <a:gd name="connsiteY29382" fmla="*/ 341334 h 5282095"/>
              <a:gd name="connsiteX29383" fmla="*/ 3623418 w 7714416"/>
              <a:gd name="connsiteY29383" fmla="*/ 338969 h 5282095"/>
              <a:gd name="connsiteX29384" fmla="*/ 3636682 w 7714416"/>
              <a:gd name="connsiteY29384" fmla="*/ 341488 h 5282095"/>
              <a:gd name="connsiteX29385" fmla="*/ 3634573 w 7714416"/>
              <a:gd name="connsiteY29385" fmla="*/ 350468 h 5282095"/>
              <a:gd name="connsiteX29386" fmla="*/ 3621168 w 7714416"/>
              <a:gd name="connsiteY29386" fmla="*/ 345151 h 5282095"/>
              <a:gd name="connsiteX29387" fmla="*/ 3623418 w 7714416"/>
              <a:gd name="connsiteY29387" fmla="*/ 338969 h 5282095"/>
              <a:gd name="connsiteX29388" fmla="*/ 3220134 w 7714416"/>
              <a:gd name="connsiteY29388" fmla="*/ 338780 h 5282095"/>
              <a:gd name="connsiteX29389" fmla="*/ 3225258 w 7714416"/>
              <a:gd name="connsiteY29389" fmla="*/ 339578 h 5282095"/>
              <a:gd name="connsiteX29390" fmla="*/ 3225747 w 7714416"/>
              <a:gd name="connsiteY29390" fmla="*/ 346609 h 5282095"/>
              <a:gd name="connsiteX29391" fmla="*/ 3220069 w 7714416"/>
              <a:gd name="connsiteY29391" fmla="*/ 345663 h 5282095"/>
              <a:gd name="connsiteX29392" fmla="*/ 3213716 w 7714416"/>
              <a:gd name="connsiteY29392" fmla="*/ 342811 h 5282095"/>
              <a:gd name="connsiteX29393" fmla="*/ 3215207 w 7714416"/>
              <a:gd name="connsiteY29393" fmla="*/ 340566 h 5282095"/>
              <a:gd name="connsiteX29394" fmla="*/ 3220134 w 7714416"/>
              <a:gd name="connsiteY29394" fmla="*/ 338780 h 5282095"/>
              <a:gd name="connsiteX29395" fmla="*/ 3501129 w 7714416"/>
              <a:gd name="connsiteY29395" fmla="*/ 337137 h 5282095"/>
              <a:gd name="connsiteX29396" fmla="*/ 3527919 w 7714416"/>
              <a:gd name="connsiteY29396" fmla="*/ 337875 h 5282095"/>
              <a:gd name="connsiteX29397" fmla="*/ 3531696 w 7714416"/>
              <a:gd name="connsiteY29397" fmla="*/ 340383 h 5282095"/>
              <a:gd name="connsiteX29398" fmla="*/ 3533195 w 7714416"/>
              <a:gd name="connsiteY29398" fmla="*/ 340324 h 5282095"/>
              <a:gd name="connsiteX29399" fmla="*/ 3535225 w 7714416"/>
              <a:gd name="connsiteY29399" fmla="*/ 342707 h 5282095"/>
              <a:gd name="connsiteX29400" fmla="*/ 3525422 w 7714416"/>
              <a:gd name="connsiteY29400" fmla="*/ 343876 h 5282095"/>
              <a:gd name="connsiteX29401" fmla="*/ 3516908 w 7714416"/>
              <a:gd name="connsiteY29401" fmla="*/ 343549 h 5282095"/>
              <a:gd name="connsiteX29402" fmla="*/ 3498014 w 7714416"/>
              <a:gd name="connsiteY29402" fmla="*/ 341017 h 5282095"/>
              <a:gd name="connsiteX29403" fmla="*/ 3489580 w 7714416"/>
              <a:gd name="connsiteY29403" fmla="*/ 338182 h 5282095"/>
              <a:gd name="connsiteX29404" fmla="*/ 3501129 w 7714416"/>
              <a:gd name="connsiteY29404" fmla="*/ 337137 h 5282095"/>
              <a:gd name="connsiteX29405" fmla="*/ 1647590 w 7714416"/>
              <a:gd name="connsiteY29405" fmla="*/ 337059 h 5282095"/>
              <a:gd name="connsiteX29406" fmla="*/ 1650885 w 7714416"/>
              <a:gd name="connsiteY29406" fmla="*/ 343578 h 5282095"/>
              <a:gd name="connsiteX29407" fmla="*/ 1643813 w 7714416"/>
              <a:gd name="connsiteY29407" fmla="*/ 343408 h 5282095"/>
              <a:gd name="connsiteX29408" fmla="*/ 1647590 w 7714416"/>
              <a:gd name="connsiteY29408" fmla="*/ 337059 h 5282095"/>
              <a:gd name="connsiteX29409" fmla="*/ 1314494 w 7714416"/>
              <a:gd name="connsiteY29409" fmla="*/ 336129 h 5282095"/>
              <a:gd name="connsiteX29410" fmla="*/ 1327251 w 7714416"/>
              <a:gd name="connsiteY29410" fmla="*/ 339432 h 5282095"/>
              <a:gd name="connsiteX29411" fmla="*/ 1321754 w 7714416"/>
              <a:gd name="connsiteY29411" fmla="*/ 357739 h 5282095"/>
              <a:gd name="connsiteX29412" fmla="*/ 1308320 w 7714416"/>
              <a:gd name="connsiteY29412" fmla="*/ 352530 h 5282095"/>
              <a:gd name="connsiteX29413" fmla="*/ 1308157 w 7714416"/>
              <a:gd name="connsiteY29413" fmla="*/ 337650 h 5282095"/>
              <a:gd name="connsiteX29414" fmla="*/ 1314494 w 7714416"/>
              <a:gd name="connsiteY29414" fmla="*/ 336129 h 5282095"/>
              <a:gd name="connsiteX29415" fmla="*/ 1714746 w 7714416"/>
              <a:gd name="connsiteY29415" fmla="*/ 334354 h 5282095"/>
              <a:gd name="connsiteX29416" fmla="*/ 1748252 w 7714416"/>
              <a:gd name="connsiteY29416" fmla="*/ 346552 h 5282095"/>
              <a:gd name="connsiteX29417" fmla="*/ 1759126 w 7714416"/>
              <a:gd name="connsiteY29417" fmla="*/ 370166 h 5282095"/>
              <a:gd name="connsiteX29418" fmla="*/ 1714746 w 7714416"/>
              <a:gd name="connsiteY29418" fmla="*/ 334354 h 5282095"/>
              <a:gd name="connsiteX29419" fmla="*/ 2598882 w 7714416"/>
              <a:gd name="connsiteY29419" fmla="*/ 334124 h 5282095"/>
              <a:gd name="connsiteX29420" fmla="*/ 2602719 w 7714416"/>
              <a:gd name="connsiteY29420" fmla="*/ 341938 h 5282095"/>
              <a:gd name="connsiteX29421" fmla="*/ 2594063 w 7714416"/>
              <a:gd name="connsiteY29421" fmla="*/ 342148 h 5282095"/>
              <a:gd name="connsiteX29422" fmla="*/ 2586480 w 7714416"/>
              <a:gd name="connsiteY29422" fmla="*/ 337241 h 5282095"/>
              <a:gd name="connsiteX29423" fmla="*/ 2598882 w 7714416"/>
              <a:gd name="connsiteY29423" fmla="*/ 334124 h 5282095"/>
              <a:gd name="connsiteX29424" fmla="*/ 2494306 w 7714416"/>
              <a:gd name="connsiteY29424" fmla="*/ 333560 h 5282095"/>
              <a:gd name="connsiteX29425" fmla="*/ 2507789 w 7714416"/>
              <a:gd name="connsiteY29425" fmla="*/ 336511 h 5282095"/>
              <a:gd name="connsiteX29426" fmla="*/ 2515008 w 7714416"/>
              <a:gd name="connsiteY29426" fmla="*/ 341665 h 5282095"/>
              <a:gd name="connsiteX29427" fmla="*/ 2515342 w 7714416"/>
              <a:gd name="connsiteY29427" fmla="*/ 350380 h 5282095"/>
              <a:gd name="connsiteX29428" fmla="*/ 2495570 w 7714416"/>
              <a:gd name="connsiteY29428" fmla="*/ 355547 h 5282095"/>
              <a:gd name="connsiteX29429" fmla="*/ 2486679 w 7714416"/>
              <a:gd name="connsiteY29429" fmla="*/ 351094 h 5282095"/>
              <a:gd name="connsiteX29430" fmla="*/ 2485641 w 7714416"/>
              <a:gd name="connsiteY29430" fmla="*/ 349437 h 5282095"/>
              <a:gd name="connsiteX29431" fmla="*/ 2486324 w 7714416"/>
              <a:gd name="connsiteY29431" fmla="*/ 353529 h 5282095"/>
              <a:gd name="connsiteX29432" fmla="*/ 2483065 w 7714416"/>
              <a:gd name="connsiteY29432" fmla="*/ 357946 h 5282095"/>
              <a:gd name="connsiteX29433" fmla="*/ 2481016 w 7714416"/>
              <a:gd name="connsiteY29433" fmla="*/ 363377 h 5282095"/>
              <a:gd name="connsiteX29434" fmla="*/ 2477207 w 7714416"/>
              <a:gd name="connsiteY29434" fmla="*/ 364312 h 5282095"/>
              <a:gd name="connsiteX29435" fmla="*/ 2475575 w 7714416"/>
              <a:gd name="connsiteY29435" fmla="*/ 363760 h 5282095"/>
              <a:gd name="connsiteX29436" fmla="*/ 2475158 w 7714416"/>
              <a:gd name="connsiteY29436" fmla="*/ 360888 h 5282095"/>
              <a:gd name="connsiteX29437" fmla="*/ 2478019 w 7714416"/>
              <a:gd name="connsiteY29437" fmla="*/ 354640 h 5282095"/>
              <a:gd name="connsiteX29438" fmla="*/ 2480160 w 7714416"/>
              <a:gd name="connsiteY29438" fmla="*/ 351074 h 5282095"/>
              <a:gd name="connsiteX29439" fmla="*/ 2475058 w 7714416"/>
              <a:gd name="connsiteY29439" fmla="*/ 356836 h 5282095"/>
              <a:gd name="connsiteX29440" fmla="*/ 2465965 w 7714416"/>
              <a:gd name="connsiteY29440" fmla="*/ 361991 h 5282095"/>
              <a:gd name="connsiteX29441" fmla="*/ 2466086 w 7714416"/>
              <a:gd name="connsiteY29441" fmla="*/ 358226 h 5282095"/>
              <a:gd name="connsiteX29442" fmla="*/ 2467346 w 7714416"/>
              <a:gd name="connsiteY29442" fmla="*/ 356839 h 5282095"/>
              <a:gd name="connsiteX29443" fmla="*/ 2466775 w 7714416"/>
              <a:gd name="connsiteY29443" fmla="*/ 355652 h 5282095"/>
              <a:gd name="connsiteX29444" fmla="*/ 2468302 w 7714416"/>
              <a:gd name="connsiteY29444" fmla="*/ 355486 h 5282095"/>
              <a:gd name="connsiteX29445" fmla="*/ 2470548 w 7714416"/>
              <a:gd name="connsiteY29445" fmla="*/ 352638 h 5282095"/>
              <a:gd name="connsiteX29446" fmla="*/ 2472313 w 7714416"/>
              <a:gd name="connsiteY29446" fmla="*/ 344946 h 5282095"/>
              <a:gd name="connsiteX29447" fmla="*/ 2480137 w 7714416"/>
              <a:gd name="connsiteY29447" fmla="*/ 338992 h 5282095"/>
              <a:gd name="connsiteX29448" fmla="*/ 2484361 w 7714416"/>
              <a:gd name="connsiteY29448" fmla="*/ 340929 h 5282095"/>
              <a:gd name="connsiteX29449" fmla="*/ 2486579 w 7714416"/>
              <a:gd name="connsiteY29449" fmla="*/ 338188 h 5282095"/>
              <a:gd name="connsiteX29450" fmla="*/ 2494306 w 7714416"/>
              <a:gd name="connsiteY29450" fmla="*/ 333560 h 5282095"/>
              <a:gd name="connsiteX29451" fmla="*/ 3313778 w 7714416"/>
              <a:gd name="connsiteY29451" fmla="*/ 333512 h 5282095"/>
              <a:gd name="connsiteX29452" fmla="*/ 3330328 w 7714416"/>
              <a:gd name="connsiteY29452" fmla="*/ 334841 h 5282095"/>
              <a:gd name="connsiteX29453" fmla="*/ 3333849 w 7714416"/>
              <a:gd name="connsiteY29453" fmla="*/ 334980 h 5282095"/>
              <a:gd name="connsiteX29454" fmla="*/ 3337378 w 7714416"/>
              <a:gd name="connsiteY29454" fmla="*/ 337306 h 5282095"/>
              <a:gd name="connsiteX29455" fmla="*/ 3322307 w 7714416"/>
              <a:gd name="connsiteY29455" fmla="*/ 338213 h 5282095"/>
              <a:gd name="connsiteX29456" fmla="*/ 3314041 w 7714416"/>
              <a:gd name="connsiteY29456" fmla="*/ 338067 h 5282095"/>
              <a:gd name="connsiteX29457" fmla="*/ 3310541 w 7714416"/>
              <a:gd name="connsiteY29457" fmla="*/ 335635 h 5282095"/>
              <a:gd name="connsiteX29458" fmla="*/ 3310246 w 7714416"/>
              <a:gd name="connsiteY29458" fmla="*/ 334521 h 5282095"/>
              <a:gd name="connsiteX29459" fmla="*/ 3313778 w 7714416"/>
              <a:gd name="connsiteY29459" fmla="*/ 333512 h 5282095"/>
              <a:gd name="connsiteX29460" fmla="*/ 2375538 w 7714416"/>
              <a:gd name="connsiteY29460" fmla="*/ 332010 h 5282095"/>
              <a:gd name="connsiteX29461" fmla="*/ 2374945 w 7714416"/>
              <a:gd name="connsiteY29461" fmla="*/ 333116 h 5282095"/>
              <a:gd name="connsiteX29462" fmla="*/ 2376864 w 7714416"/>
              <a:gd name="connsiteY29462" fmla="*/ 332595 h 5282095"/>
              <a:gd name="connsiteX29463" fmla="*/ 2374155 w 7714416"/>
              <a:gd name="connsiteY29463" fmla="*/ 349349 h 5282095"/>
              <a:gd name="connsiteX29464" fmla="*/ 2372829 w 7714416"/>
              <a:gd name="connsiteY29464" fmla="*/ 348764 h 5282095"/>
              <a:gd name="connsiteX29465" fmla="*/ 2373281 w 7714416"/>
              <a:gd name="connsiteY29465" fmla="*/ 336005 h 5282095"/>
              <a:gd name="connsiteX29466" fmla="*/ 2375538 w 7714416"/>
              <a:gd name="connsiteY29466" fmla="*/ 332010 h 5282095"/>
              <a:gd name="connsiteX29467" fmla="*/ 2626449 w 7714416"/>
              <a:gd name="connsiteY29467" fmla="*/ 331966 h 5282095"/>
              <a:gd name="connsiteX29468" fmla="*/ 2611528 w 7714416"/>
              <a:gd name="connsiteY29468" fmla="*/ 343378 h 5282095"/>
              <a:gd name="connsiteX29469" fmla="*/ 2612142 w 7714416"/>
              <a:gd name="connsiteY29469" fmla="*/ 339977 h 5282095"/>
              <a:gd name="connsiteX29470" fmla="*/ 2626449 w 7714416"/>
              <a:gd name="connsiteY29470" fmla="*/ 331966 h 5282095"/>
              <a:gd name="connsiteX29471" fmla="*/ 3560276 w 7714416"/>
              <a:gd name="connsiteY29471" fmla="*/ 327800 h 5282095"/>
              <a:gd name="connsiteX29472" fmla="*/ 3555116 w 7714416"/>
              <a:gd name="connsiteY29472" fmla="*/ 342632 h 5282095"/>
              <a:gd name="connsiteX29473" fmla="*/ 3543415 w 7714416"/>
              <a:gd name="connsiteY29473" fmla="*/ 333172 h 5282095"/>
              <a:gd name="connsiteX29474" fmla="*/ 3560276 w 7714416"/>
              <a:gd name="connsiteY29474" fmla="*/ 327800 h 5282095"/>
              <a:gd name="connsiteX29475" fmla="*/ 2739085 w 7714416"/>
              <a:gd name="connsiteY29475" fmla="*/ 327761 h 5282095"/>
              <a:gd name="connsiteX29476" fmla="*/ 2765249 w 7714416"/>
              <a:gd name="connsiteY29476" fmla="*/ 350756 h 5282095"/>
              <a:gd name="connsiteX29477" fmla="*/ 2755691 w 7714416"/>
              <a:gd name="connsiteY29477" fmla="*/ 355441 h 5282095"/>
              <a:gd name="connsiteX29478" fmla="*/ 2734068 w 7714416"/>
              <a:gd name="connsiteY29478" fmla="*/ 342056 h 5282095"/>
              <a:gd name="connsiteX29479" fmla="*/ 2735340 w 7714416"/>
              <a:gd name="connsiteY29479" fmla="*/ 330667 h 5282095"/>
              <a:gd name="connsiteX29480" fmla="*/ 2739085 w 7714416"/>
              <a:gd name="connsiteY29480" fmla="*/ 327761 h 5282095"/>
              <a:gd name="connsiteX29481" fmla="*/ 3208282 w 7714416"/>
              <a:gd name="connsiteY29481" fmla="*/ 327670 h 5282095"/>
              <a:gd name="connsiteX29482" fmla="*/ 3220131 w 7714416"/>
              <a:gd name="connsiteY29482" fmla="*/ 333260 h 5282095"/>
              <a:gd name="connsiteX29483" fmla="*/ 3211858 w 7714416"/>
              <a:gd name="connsiteY29483" fmla="*/ 339783 h 5282095"/>
              <a:gd name="connsiteX29484" fmla="*/ 3201501 w 7714416"/>
              <a:gd name="connsiteY29484" fmla="*/ 331949 h 5282095"/>
              <a:gd name="connsiteX29485" fmla="*/ 3208282 w 7714416"/>
              <a:gd name="connsiteY29485" fmla="*/ 327670 h 5282095"/>
              <a:gd name="connsiteX29486" fmla="*/ 2651596 w 7714416"/>
              <a:gd name="connsiteY29486" fmla="*/ 324444 h 5282095"/>
              <a:gd name="connsiteX29487" fmla="*/ 2646471 w 7714416"/>
              <a:gd name="connsiteY29487" fmla="*/ 341355 h 5282095"/>
              <a:gd name="connsiteX29488" fmla="*/ 2644757 w 7714416"/>
              <a:gd name="connsiteY29488" fmla="*/ 337791 h 5282095"/>
              <a:gd name="connsiteX29489" fmla="*/ 2651596 w 7714416"/>
              <a:gd name="connsiteY29489" fmla="*/ 324444 h 5282095"/>
              <a:gd name="connsiteX29490" fmla="*/ 2358300 w 7714416"/>
              <a:gd name="connsiteY29490" fmla="*/ 324401 h 5282095"/>
              <a:gd name="connsiteX29491" fmla="*/ 2364740 w 7714416"/>
              <a:gd name="connsiteY29491" fmla="*/ 326931 h 5282095"/>
              <a:gd name="connsiteX29492" fmla="*/ 2363859 w 7714416"/>
              <a:gd name="connsiteY29492" fmla="*/ 329110 h 5282095"/>
              <a:gd name="connsiteX29493" fmla="*/ 2365727 w 7714416"/>
              <a:gd name="connsiteY29493" fmla="*/ 348701 h 5282095"/>
              <a:gd name="connsiteX29494" fmla="*/ 2358300 w 7714416"/>
              <a:gd name="connsiteY29494" fmla="*/ 324401 h 5282095"/>
              <a:gd name="connsiteX29495" fmla="*/ 3172390 w 7714416"/>
              <a:gd name="connsiteY29495" fmla="*/ 324377 h 5282095"/>
              <a:gd name="connsiteX29496" fmla="*/ 3182405 w 7714416"/>
              <a:gd name="connsiteY29496" fmla="*/ 330166 h 5282095"/>
              <a:gd name="connsiteX29497" fmla="*/ 3172321 w 7714416"/>
              <a:gd name="connsiteY29497" fmla="*/ 334595 h 5282095"/>
              <a:gd name="connsiteX29498" fmla="*/ 3169052 w 7714416"/>
              <a:gd name="connsiteY29498" fmla="*/ 331303 h 5282095"/>
              <a:gd name="connsiteX29499" fmla="*/ 3172390 w 7714416"/>
              <a:gd name="connsiteY29499" fmla="*/ 324377 h 5282095"/>
              <a:gd name="connsiteX29500" fmla="*/ 1710015 w 7714416"/>
              <a:gd name="connsiteY29500" fmla="*/ 324347 h 5282095"/>
              <a:gd name="connsiteX29501" fmla="*/ 1713161 w 7714416"/>
              <a:gd name="connsiteY29501" fmla="*/ 325879 h 5282095"/>
              <a:gd name="connsiteX29502" fmla="*/ 1714943 w 7714416"/>
              <a:gd name="connsiteY29502" fmla="*/ 328081 h 5282095"/>
              <a:gd name="connsiteX29503" fmla="*/ 1708749 w 7714416"/>
              <a:gd name="connsiteY29503" fmla="*/ 329067 h 5282095"/>
              <a:gd name="connsiteX29504" fmla="*/ 1708466 w 7714416"/>
              <a:gd name="connsiteY29504" fmla="*/ 326805 h 5282095"/>
              <a:gd name="connsiteX29505" fmla="*/ 1706689 w 7714416"/>
              <a:gd name="connsiteY29505" fmla="*/ 326790 h 5282095"/>
              <a:gd name="connsiteX29506" fmla="*/ 1708151 w 7714416"/>
              <a:gd name="connsiteY29506" fmla="*/ 324652 h 5282095"/>
              <a:gd name="connsiteX29507" fmla="*/ 1709928 w 7714416"/>
              <a:gd name="connsiteY29507" fmla="*/ 324667 h 5282095"/>
              <a:gd name="connsiteX29508" fmla="*/ 1710015 w 7714416"/>
              <a:gd name="connsiteY29508" fmla="*/ 324347 h 5282095"/>
              <a:gd name="connsiteX29509" fmla="*/ 3816630 w 7714416"/>
              <a:gd name="connsiteY29509" fmla="*/ 324039 h 5282095"/>
              <a:gd name="connsiteX29510" fmla="*/ 3818833 w 7714416"/>
              <a:gd name="connsiteY29510" fmla="*/ 334635 h 5282095"/>
              <a:gd name="connsiteX29511" fmla="*/ 3808412 w 7714416"/>
              <a:gd name="connsiteY29511" fmla="*/ 333682 h 5282095"/>
              <a:gd name="connsiteX29512" fmla="*/ 3816630 w 7714416"/>
              <a:gd name="connsiteY29512" fmla="*/ 324039 h 5282095"/>
              <a:gd name="connsiteX29513" fmla="*/ 2353089 w 7714416"/>
              <a:gd name="connsiteY29513" fmla="*/ 323925 h 5282095"/>
              <a:gd name="connsiteX29514" fmla="*/ 2359047 w 7714416"/>
              <a:gd name="connsiteY29514" fmla="*/ 330466 h 5282095"/>
              <a:gd name="connsiteX29515" fmla="*/ 2353441 w 7714416"/>
              <a:gd name="connsiteY29515" fmla="*/ 333679 h 5282095"/>
              <a:gd name="connsiteX29516" fmla="*/ 2347511 w 7714416"/>
              <a:gd name="connsiteY29516" fmla="*/ 327030 h 5282095"/>
              <a:gd name="connsiteX29517" fmla="*/ 2353089 w 7714416"/>
              <a:gd name="connsiteY29517" fmla="*/ 323925 h 5282095"/>
              <a:gd name="connsiteX29518" fmla="*/ 3408383 w 7714416"/>
              <a:gd name="connsiteY29518" fmla="*/ 323556 h 5282095"/>
              <a:gd name="connsiteX29519" fmla="*/ 3433088 w 7714416"/>
              <a:gd name="connsiteY29519" fmla="*/ 327645 h 5282095"/>
              <a:gd name="connsiteX29520" fmla="*/ 3427223 w 7714416"/>
              <a:gd name="connsiteY29520" fmla="*/ 358390 h 5282095"/>
              <a:gd name="connsiteX29521" fmla="*/ 3408383 w 7714416"/>
              <a:gd name="connsiteY29521" fmla="*/ 323556 h 5282095"/>
              <a:gd name="connsiteX29522" fmla="*/ 3658915 w 7714416"/>
              <a:gd name="connsiteY29522" fmla="*/ 316481 h 5282095"/>
              <a:gd name="connsiteX29523" fmla="*/ 3688692 w 7714416"/>
              <a:gd name="connsiteY29523" fmla="*/ 321153 h 5282095"/>
              <a:gd name="connsiteX29524" fmla="*/ 3636920 w 7714416"/>
              <a:gd name="connsiteY29524" fmla="*/ 325106 h 5282095"/>
              <a:gd name="connsiteX29525" fmla="*/ 3658915 w 7714416"/>
              <a:gd name="connsiteY29525" fmla="*/ 316481 h 5282095"/>
              <a:gd name="connsiteX29526" fmla="*/ 2382305 w 7714416"/>
              <a:gd name="connsiteY29526" fmla="*/ 314503 h 5282095"/>
              <a:gd name="connsiteX29527" fmla="*/ 2387005 w 7714416"/>
              <a:gd name="connsiteY29527" fmla="*/ 319098 h 5282095"/>
              <a:gd name="connsiteX29528" fmla="*/ 2363371 w 7714416"/>
              <a:gd name="connsiteY29528" fmla="*/ 322079 h 5282095"/>
              <a:gd name="connsiteX29529" fmla="*/ 2382305 w 7714416"/>
              <a:gd name="connsiteY29529" fmla="*/ 314503 h 5282095"/>
              <a:gd name="connsiteX29530" fmla="*/ 1624728 w 7714416"/>
              <a:gd name="connsiteY29530" fmla="*/ 313913 h 5282095"/>
              <a:gd name="connsiteX29531" fmla="*/ 1615588 w 7714416"/>
              <a:gd name="connsiteY29531" fmla="*/ 344701 h 5282095"/>
              <a:gd name="connsiteX29532" fmla="*/ 1615570 w 7714416"/>
              <a:gd name="connsiteY29532" fmla="*/ 317095 h 5282095"/>
              <a:gd name="connsiteX29533" fmla="*/ 1624728 w 7714416"/>
              <a:gd name="connsiteY29533" fmla="*/ 313913 h 5282095"/>
              <a:gd name="connsiteX29534" fmla="*/ 2931974 w 7714416"/>
              <a:gd name="connsiteY29534" fmla="*/ 313831 h 5282095"/>
              <a:gd name="connsiteX29535" fmla="*/ 2944960 w 7714416"/>
              <a:gd name="connsiteY29535" fmla="*/ 331979 h 5282095"/>
              <a:gd name="connsiteX29536" fmla="*/ 2929971 w 7714416"/>
              <a:gd name="connsiteY29536" fmla="*/ 335898 h 5282095"/>
              <a:gd name="connsiteX29537" fmla="*/ 2923349 w 7714416"/>
              <a:gd name="connsiteY29537" fmla="*/ 326303 h 5282095"/>
              <a:gd name="connsiteX29538" fmla="*/ 2922081 w 7714416"/>
              <a:gd name="connsiteY29538" fmla="*/ 316648 h 5282095"/>
              <a:gd name="connsiteX29539" fmla="*/ 2931974 w 7714416"/>
              <a:gd name="connsiteY29539" fmla="*/ 313831 h 5282095"/>
              <a:gd name="connsiteX29540" fmla="*/ 2952568 w 7714416"/>
              <a:gd name="connsiteY29540" fmla="*/ 313547 h 5282095"/>
              <a:gd name="connsiteX29541" fmla="*/ 2955144 w 7714416"/>
              <a:gd name="connsiteY29541" fmla="*/ 313893 h 5282095"/>
              <a:gd name="connsiteX29542" fmla="*/ 2958817 w 7714416"/>
              <a:gd name="connsiteY29542" fmla="*/ 315682 h 5282095"/>
              <a:gd name="connsiteX29543" fmla="*/ 2955414 w 7714416"/>
              <a:gd name="connsiteY29543" fmla="*/ 320635 h 5282095"/>
              <a:gd name="connsiteX29544" fmla="*/ 2952579 w 7714416"/>
              <a:gd name="connsiteY29544" fmla="*/ 321256 h 5282095"/>
              <a:gd name="connsiteX29545" fmla="*/ 2950509 w 7714416"/>
              <a:gd name="connsiteY29545" fmla="*/ 320125 h 5282095"/>
              <a:gd name="connsiteX29546" fmla="*/ 2949798 w 7714416"/>
              <a:gd name="connsiteY29546" fmla="*/ 316139 h 5282095"/>
              <a:gd name="connsiteX29547" fmla="*/ 2952568 w 7714416"/>
              <a:gd name="connsiteY29547" fmla="*/ 313547 h 5282095"/>
              <a:gd name="connsiteX29548" fmla="*/ 2795522 w 7714416"/>
              <a:gd name="connsiteY29548" fmla="*/ 308612 h 5282095"/>
              <a:gd name="connsiteX29549" fmla="*/ 2832551 w 7714416"/>
              <a:gd name="connsiteY29549" fmla="*/ 320949 h 5282095"/>
              <a:gd name="connsiteX29550" fmla="*/ 2831871 w 7714416"/>
              <a:gd name="connsiteY29550" fmla="*/ 322377 h 5282095"/>
              <a:gd name="connsiteX29551" fmla="*/ 2835436 w 7714416"/>
              <a:gd name="connsiteY29551" fmla="*/ 317927 h 5282095"/>
              <a:gd name="connsiteX29552" fmla="*/ 2843565 w 7714416"/>
              <a:gd name="connsiteY29552" fmla="*/ 320796 h 5282095"/>
              <a:gd name="connsiteX29553" fmla="*/ 2845624 w 7714416"/>
              <a:gd name="connsiteY29553" fmla="*/ 323072 h 5282095"/>
              <a:gd name="connsiteX29554" fmla="*/ 2847011 w 7714416"/>
              <a:gd name="connsiteY29554" fmla="*/ 320109 h 5282095"/>
              <a:gd name="connsiteX29555" fmla="*/ 2858040 w 7714416"/>
              <a:gd name="connsiteY29555" fmla="*/ 324329 h 5282095"/>
              <a:gd name="connsiteX29556" fmla="*/ 2855103 w 7714416"/>
              <a:gd name="connsiteY29556" fmla="*/ 329752 h 5282095"/>
              <a:gd name="connsiteX29557" fmla="*/ 2848987 w 7714416"/>
              <a:gd name="connsiteY29557" fmla="*/ 328228 h 5282095"/>
              <a:gd name="connsiteX29558" fmla="*/ 2850241 w 7714416"/>
              <a:gd name="connsiteY29558" fmla="*/ 333509 h 5282095"/>
              <a:gd name="connsiteX29559" fmla="*/ 2847667 w 7714416"/>
              <a:gd name="connsiteY29559" fmla="*/ 338685 h 5282095"/>
              <a:gd name="connsiteX29560" fmla="*/ 2835878 w 7714416"/>
              <a:gd name="connsiteY29560" fmla="*/ 332881 h 5282095"/>
              <a:gd name="connsiteX29561" fmla="*/ 2831785 w 7714416"/>
              <a:gd name="connsiteY29561" fmla="*/ 322699 h 5282095"/>
              <a:gd name="connsiteX29562" fmla="*/ 2827537 w 7714416"/>
              <a:gd name="connsiteY29562" fmla="*/ 331911 h 5282095"/>
              <a:gd name="connsiteX29563" fmla="*/ 2793225 w 7714416"/>
              <a:gd name="connsiteY29563" fmla="*/ 340427 h 5282095"/>
              <a:gd name="connsiteX29564" fmla="*/ 2782240 w 7714416"/>
              <a:gd name="connsiteY29564" fmla="*/ 331619 h 5282095"/>
              <a:gd name="connsiteX29565" fmla="*/ 2780853 w 7714416"/>
              <a:gd name="connsiteY29565" fmla="*/ 325727 h 5282095"/>
              <a:gd name="connsiteX29566" fmla="*/ 2778395 w 7714416"/>
              <a:gd name="connsiteY29566" fmla="*/ 321618 h 5282095"/>
              <a:gd name="connsiteX29567" fmla="*/ 2778661 w 7714416"/>
              <a:gd name="connsiteY29567" fmla="*/ 322840 h 5282095"/>
              <a:gd name="connsiteX29568" fmla="*/ 2773235 w 7714416"/>
              <a:gd name="connsiteY29568" fmla="*/ 327596 h 5282095"/>
              <a:gd name="connsiteX29569" fmla="*/ 2775218 w 7714416"/>
              <a:gd name="connsiteY29569" fmla="*/ 329048 h 5282095"/>
              <a:gd name="connsiteX29570" fmla="*/ 2771697 w 7714416"/>
              <a:gd name="connsiteY29570" fmla="*/ 328909 h 5282095"/>
              <a:gd name="connsiteX29571" fmla="*/ 2768868 w 7714416"/>
              <a:gd name="connsiteY29571" fmla="*/ 331716 h 5282095"/>
              <a:gd name="connsiteX29572" fmla="*/ 2758813 w 7714416"/>
              <a:gd name="connsiteY29572" fmla="*/ 336037 h 5282095"/>
              <a:gd name="connsiteX29573" fmla="*/ 2759486 w 7714416"/>
              <a:gd name="connsiteY29573" fmla="*/ 332422 h 5282095"/>
              <a:gd name="connsiteX29574" fmla="*/ 2760747 w 7714416"/>
              <a:gd name="connsiteY29574" fmla="*/ 331035 h 5282095"/>
              <a:gd name="connsiteX29575" fmla="*/ 2760452 w 7714416"/>
              <a:gd name="connsiteY29575" fmla="*/ 329921 h 5282095"/>
              <a:gd name="connsiteX29576" fmla="*/ 2762256 w 7714416"/>
              <a:gd name="connsiteY29576" fmla="*/ 329829 h 5282095"/>
              <a:gd name="connsiteX29577" fmla="*/ 2762648 w 7714416"/>
              <a:gd name="connsiteY29577" fmla="*/ 329474 h 5282095"/>
              <a:gd name="connsiteX29578" fmla="*/ 2763517 w 7714416"/>
              <a:gd name="connsiteY29578" fmla="*/ 328442 h 5282095"/>
              <a:gd name="connsiteX29579" fmla="*/ 2755978 w 7714416"/>
              <a:gd name="connsiteY29579" fmla="*/ 327801 h 5282095"/>
              <a:gd name="connsiteX29580" fmla="*/ 2737788 w 7714416"/>
              <a:gd name="connsiteY29580" fmla="*/ 318213 h 5282095"/>
              <a:gd name="connsiteX29581" fmla="*/ 2758602 w 7714416"/>
              <a:gd name="connsiteY29581" fmla="*/ 320225 h 5282095"/>
              <a:gd name="connsiteX29582" fmla="*/ 2766615 w 7714416"/>
              <a:gd name="connsiteY29582" fmla="*/ 323523 h 5282095"/>
              <a:gd name="connsiteX29583" fmla="*/ 2766759 w 7714416"/>
              <a:gd name="connsiteY29583" fmla="*/ 322986 h 5282095"/>
              <a:gd name="connsiteX29584" fmla="*/ 2767899 w 7714416"/>
              <a:gd name="connsiteY29584" fmla="*/ 319840 h 5282095"/>
              <a:gd name="connsiteX29585" fmla="*/ 2776466 w 7714416"/>
              <a:gd name="connsiteY29585" fmla="*/ 314431 h 5282095"/>
              <a:gd name="connsiteX29586" fmla="*/ 2780329 w 7714416"/>
              <a:gd name="connsiteY29586" fmla="*/ 316617 h 5282095"/>
              <a:gd name="connsiteX29587" fmla="*/ 2783099 w 7714416"/>
              <a:gd name="connsiteY29587" fmla="*/ 314023 h 5282095"/>
              <a:gd name="connsiteX29588" fmla="*/ 2791570 w 7714416"/>
              <a:gd name="connsiteY29588" fmla="*/ 310084 h 5282095"/>
              <a:gd name="connsiteX29589" fmla="*/ 2791846 w 7714416"/>
              <a:gd name="connsiteY29589" fmla="*/ 310157 h 5282095"/>
              <a:gd name="connsiteX29590" fmla="*/ 3034936 w 7714416"/>
              <a:gd name="connsiteY29590" fmla="*/ 303877 h 5282095"/>
              <a:gd name="connsiteX29591" fmla="*/ 3044951 w 7714416"/>
              <a:gd name="connsiteY29591" fmla="*/ 309666 h 5282095"/>
              <a:gd name="connsiteX29592" fmla="*/ 3026334 w 7714416"/>
              <a:gd name="connsiteY29592" fmla="*/ 316062 h 5282095"/>
              <a:gd name="connsiteX29593" fmla="*/ 3023714 w 7714416"/>
              <a:gd name="connsiteY29593" fmla="*/ 311450 h 5282095"/>
              <a:gd name="connsiteX29594" fmla="*/ 3034936 w 7714416"/>
              <a:gd name="connsiteY29594" fmla="*/ 303877 h 5282095"/>
              <a:gd name="connsiteX29595" fmla="*/ 2638753 w 7714416"/>
              <a:gd name="connsiteY29595" fmla="*/ 303752 h 5282095"/>
              <a:gd name="connsiteX29596" fmla="*/ 2645796 w 7714416"/>
              <a:gd name="connsiteY29596" fmla="*/ 304029 h 5282095"/>
              <a:gd name="connsiteX29597" fmla="*/ 2646389 w 7714416"/>
              <a:gd name="connsiteY29597" fmla="*/ 311778 h 5282095"/>
              <a:gd name="connsiteX29598" fmla="*/ 2639346 w 7714416"/>
              <a:gd name="connsiteY29598" fmla="*/ 311501 h 5282095"/>
              <a:gd name="connsiteX29599" fmla="*/ 2638753 w 7714416"/>
              <a:gd name="connsiteY29599" fmla="*/ 303752 h 5282095"/>
              <a:gd name="connsiteX29600" fmla="*/ 3285552 w 7714416"/>
              <a:gd name="connsiteY29600" fmla="*/ 302719 h 5282095"/>
              <a:gd name="connsiteX29601" fmla="*/ 3287183 w 7714416"/>
              <a:gd name="connsiteY29601" fmla="*/ 303271 h 5282095"/>
              <a:gd name="connsiteX29602" fmla="*/ 3287794 w 7714416"/>
              <a:gd name="connsiteY29602" fmla="*/ 303205 h 5282095"/>
              <a:gd name="connsiteX29603" fmla="*/ 3290159 w 7714416"/>
              <a:gd name="connsiteY29603" fmla="*/ 305448 h 5282095"/>
              <a:gd name="connsiteX29604" fmla="*/ 3290939 w 7714416"/>
              <a:gd name="connsiteY29604" fmla="*/ 308072 h 5282095"/>
              <a:gd name="connsiteX29605" fmla="*/ 3288800 w 7714416"/>
              <a:gd name="connsiteY29605" fmla="*/ 308304 h 5282095"/>
              <a:gd name="connsiteX29606" fmla="*/ 3284402 w 7714416"/>
              <a:gd name="connsiteY29606" fmla="*/ 307010 h 5282095"/>
              <a:gd name="connsiteX29607" fmla="*/ 3284977 w 7714416"/>
              <a:gd name="connsiteY29607" fmla="*/ 304864 h 5282095"/>
              <a:gd name="connsiteX29608" fmla="*/ 3283374 w 7714416"/>
              <a:gd name="connsiteY29608" fmla="*/ 304205 h 5282095"/>
              <a:gd name="connsiteX29609" fmla="*/ 3285552 w 7714416"/>
              <a:gd name="connsiteY29609" fmla="*/ 302719 h 5282095"/>
              <a:gd name="connsiteX29610" fmla="*/ 2210264 w 7714416"/>
              <a:gd name="connsiteY29610" fmla="*/ 302444 h 5282095"/>
              <a:gd name="connsiteX29611" fmla="*/ 2214694 w 7714416"/>
              <a:gd name="connsiteY29611" fmla="*/ 309152 h 5282095"/>
              <a:gd name="connsiteX29612" fmla="*/ 2216997 w 7714416"/>
              <a:gd name="connsiteY29612" fmla="*/ 314945 h 5282095"/>
              <a:gd name="connsiteX29613" fmla="*/ 2218313 w 7714416"/>
              <a:gd name="connsiteY29613" fmla="*/ 334388 h 5282095"/>
              <a:gd name="connsiteX29614" fmla="*/ 2213005 w 7714416"/>
              <a:gd name="connsiteY29614" fmla="*/ 326524 h 5282095"/>
              <a:gd name="connsiteX29615" fmla="*/ 2205523 w 7714416"/>
              <a:gd name="connsiteY29615" fmla="*/ 307960 h 5282095"/>
              <a:gd name="connsiteX29616" fmla="*/ 2208046 w 7714416"/>
              <a:gd name="connsiteY29616" fmla="*/ 305187 h 5282095"/>
              <a:gd name="connsiteX29617" fmla="*/ 2207446 w 7714416"/>
              <a:gd name="connsiteY29617" fmla="*/ 304106 h 5282095"/>
              <a:gd name="connsiteX29618" fmla="*/ 2210264 w 7714416"/>
              <a:gd name="connsiteY29618" fmla="*/ 302444 h 5282095"/>
              <a:gd name="connsiteX29619" fmla="*/ 2753464 w 7714416"/>
              <a:gd name="connsiteY29619" fmla="*/ 297343 h 5282095"/>
              <a:gd name="connsiteX29620" fmla="*/ 2768751 w 7714416"/>
              <a:gd name="connsiteY29620" fmla="*/ 300059 h 5282095"/>
              <a:gd name="connsiteX29621" fmla="*/ 2765020 w 7714416"/>
              <a:gd name="connsiteY29621" fmla="*/ 316195 h 5282095"/>
              <a:gd name="connsiteX29622" fmla="*/ 2753464 w 7714416"/>
              <a:gd name="connsiteY29622" fmla="*/ 297343 h 5282095"/>
              <a:gd name="connsiteX29623" fmla="*/ 2011301 w 7714416"/>
              <a:gd name="connsiteY29623" fmla="*/ 294559 h 5282095"/>
              <a:gd name="connsiteX29624" fmla="*/ 2030420 w 7714416"/>
              <a:gd name="connsiteY29624" fmla="*/ 302902 h 5282095"/>
              <a:gd name="connsiteX29625" fmla="*/ 2018025 w 7714416"/>
              <a:gd name="connsiteY29625" fmla="*/ 299351 h 5282095"/>
              <a:gd name="connsiteX29626" fmla="*/ 2011301 w 7714416"/>
              <a:gd name="connsiteY29626" fmla="*/ 294559 h 5282095"/>
              <a:gd name="connsiteX29627" fmla="*/ 1128353 w 7714416"/>
              <a:gd name="connsiteY29627" fmla="*/ 292577 h 5282095"/>
              <a:gd name="connsiteX29628" fmla="*/ 1131988 w 7714416"/>
              <a:gd name="connsiteY29628" fmla="*/ 301141 h 5282095"/>
              <a:gd name="connsiteX29629" fmla="*/ 1123112 w 7714416"/>
              <a:gd name="connsiteY29629" fmla="*/ 301064 h 5282095"/>
              <a:gd name="connsiteX29630" fmla="*/ 1118078 w 7714416"/>
              <a:gd name="connsiteY29630" fmla="*/ 296609 h 5282095"/>
              <a:gd name="connsiteX29631" fmla="*/ 1128353 w 7714416"/>
              <a:gd name="connsiteY29631" fmla="*/ 292577 h 5282095"/>
              <a:gd name="connsiteX29632" fmla="*/ 2650860 w 7714416"/>
              <a:gd name="connsiteY29632" fmla="*/ 290665 h 5282095"/>
              <a:gd name="connsiteX29633" fmla="*/ 2655844 w 7714416"/>
              <a:gd name="connsiteY29633" fmla="*/ 297521 h 5282095"/>
              <a:gd name="connsiteX29634" fmla="*/ 2650048 w 7714416"/>
              <a:gd name="connsiteY29634" fmla="*/ 300338 h 5282095"/>
              <a:gd name="connsiteX29635" fmla="*/ 2644787 w 7714416"/>
              <a:gd name="connsiteY29635" fmla="*/ 293408 h 5282095"/>
              <a:gd name="connsiteX29636" fmla="*/ 2650860 w 7714416"/>
              <a:gd name="connsiteY29636" fmla="*/ 290665 h 5282095"/>
              <a:gd name="connsiteX29637" fmla="*/ 1734066 w 7714416"/>
              <a:gd name="connsiteY29637" fmla="*/ 288815 h 5282095"/>
              <a:gd name="connsiteX29638" fmla="*/ 1722437 w 7714416"/>
              <a:gd name="connsiteY29638" fmla="*/ 301225 h 5282095"/>
              <a:gd name="connsiteX29639" fmla="*/ 1720065 w 7714416"/>
              <a:gd name="connsiteY29639" fmla="*/ 296794 h 5282095"/>
              <a:gd name="connsiteX29640" fmla="*/ 1719174 w 7714416"/>
              <a:gd name="connsiteY29640" fmla="*/ 291265 h 5282095"/>
              <a:gd name="connsiteX29641" fmla="*/ 1734066 w 7714416"/>
              <a:gd name="connsiteY29641" fmla="*/ 288815 h 5282095"/>
              <a:gd name="connsiteX29642" fmla="*/ 2467006 w 7714416"/>
              <a:gd name="connsiteY29642" fmla="*/ 283953 h 5282095"/>
              <a:gd name="connsiteX29643" fmla="*/ 2451755 w 7714416"/>
              <a:gd name="connsiteY29643" fmla="*/ 292172 h 5282095"/>
              <a:gd name="connsiteX29644" fmla="*/ 2431531 w 7714416"/>
              <a:gd name="connsiteY29644" fmla="*/ 292388 h 5282095"/>
              <a:gd name="connsiteX29645" fmla="*/ 2467006 w 7714416"/>
              <a:gd name="connsiteY29645" fmla="*/ 283953 h 5282095"/>
              <a:gd name="connsiteX29646" fmla="*/ 2725222 w 7714416"/>
              <a:gd name="connsiteY29646" fmla="*/ 279885 h 5282095"/>
              <a:gd name="connsiteX29647" fmla="*/ 2748929 w 7714416"/>
              <a:gd name="connsiteY29647" fmla="*/ 281063 h 5282095"/>
              <a:gd name="connsiteX29648" fmla="*/ 2738158 w 7714416"/>
              <a:gd name="connsiteY29648" fmla="*/ 293588 h 5282095"/>
              <a:gd name="connsiteX29649" fmla="*/ 2725222 w 7714416"/>
              <a:gd name="connsiteY29649" fmla="*/ 279885 h 5282095"/>
              <a:gd name="connsiteX29650" fmla="*/ 3674347 w 7714416"/>
              <a:gd name="connsiteY29650" fmla="*/ 277289 h 5282095"/>
              <a:gd name="connsiteX29651" fmla="*/ 3680108 w 7714416"/>
              <a:gd name="connsiteY29651" fmla="*/ 281248 h 5282095"/>
              <a:gd name="connsiteX29652" fmla="*/ 3683296 w 7714416"/>
              <a:gd name="connsiteY29652" fmla="*/ 290382 h 5282095"/>
              <a:gd name="connsiteX29653" fmla="*/ 3662266 w 7714416"/>
              <a:gd name="connsiteY29653" fmla="*/ 293602 h 5282095"/>
              <a:gd name="connsiteX29654" fmla="*/ 3656217 w 7714416"/>
              <a:gd name="connsiteY29654" fmla="*/ 290716 h 5282095"/>
              <a:gd name="connsiteX29655" fmla="*/ 3655064 w 7714416"/>
              <a:gd name="connsiteY29655" fmla="*/ 280633 h 5282095"/>
              <a:gd name="connsiteX29656" fmla="*/ 3674347 w 7714416"/>
              <a:gd name="connsiteY29656" fmla="*/ 277289 h 5282095"/>
              <a:gd name="connsiteX29657" fmla="*/ 1400407 w 7714416"/>
              <a:gd name="connsiteY29657" fmla="*/ 271172 h 5282095"/>
              <a:gd name="connsiteX29658" fmla="*/ 1414842 w 7714416"/>
              <a:gd name="connsiteY29658" fmla="*/ 275961 h 5282095"/>
              <a:gd name="connsiteX29659" fmla="*/ 1411342 w 7714416"/>
              <a:gd name="connsiteY29659" fmla="*/ 282382 h 5282095"/>
              <a:gd name="connsiteX29660" fmla="*/ 1400407 w 7714416"/>
              <a:gd name="connsiteY29660" fmla="*/ 271172 h 5282095"/>
              <a:gd name="connsiteX29661" fmla="*/ 3214817 w 7714416"/>
              <a:gd name="connsiteY29661" fmla="*/ 270080 h 5282095"/>
              <a:gd name="connsiteX29662" fmla="*/ 3218863 w 7714416"/>
              <a:gd name="connsiteY29662" fmla="*/ 270474 h 5282095"/>
              <a:gd name="connsiteX29663" fmla="*/ 3219136 w 7714416"/>
              <a:gd name="connsiteY29663" fmla="*/ 273882 h 5282095"/>
              <a:gd name="connsiteX29664" fmla="*/ 3204948 w 7714416"/>
              <a:gd name="connsiteY29664" fmla="*/ 278131 h 5282095"/>
              <a:gd name="connsiteX29665" fmla="*/ 3214817 w 7714416"/>
              <a:gd name="connsiteY29665" fmla="*/ 270080 h 5282095"/>
              <a:gd name="connsiteX29666" fmla="*/ 1954446 w 7714416"/>
              <a:gd name="connsiteY29666" fmla="*/ 261040 h 5282095"/>
              <a:gd name="connsiteX29667" fmla="*/ 1955030 w 7714416"/>
              <a:gd name="connsiteY29667" fmla="*/ 275456 h 5282095"/>
              <a:gd name="connsiteX29668" fmla="*/ 1952368 w 7714416"/>
              <a:gd name="connsiteY29668" fmla="*/ 266578 h 5282095"/>
              <a:gd name="connsiteX29669" fmla="*/ 1954446 w 7714416"/>
              <a:gd name="connsiteY29669" fmla="*/ 261040 h 5282095"/>
              <a:gd name="connsiteX29670" fmla="*/ 3286142 w 7714416"/>
              <a:gd name="connsiteY29670" fmla="*/ 260670 h 5282095"/>
              <a:gd name="connsiteX29671" fmla="*/ 3292488 w 7714416"/>
              <a:gd name="connsiteY29671" fmla="*/ 261337 h 5282095"/>
              <a:gd name="connsiteX29672" fmla="*/ 3290742 w 7714416"/>
              <a:gd name="connsiteY29672" fmla="*/ 261214 h 5282095"/>
              <a:gd name="connsiteX29673" fmla="*/ 3292783 w 7714416"/>
              <a:gd name="connsiteY29673" fmla="*/ 262450 h 5282095"/>
              <a:gd name="connsiteX29674" fmla="*/ 3269158 w 7714416"/>
              <a:gd name="connsiteY29674" fmla="*/ 264285 h 5282095"/>
              <a:gd name="connsiteX29675" fmla="*/ 3268921 w 7714416"/>
              <a:gd name="connsiteY29675" fmla="*/ 262956 h 5282095"/>
              <a:gd name="connsiteX29676" fmla="*/ 3286142 w 7714416"/>
              <a:gd name="connsiteY29676" fmla="*/ 260670 h 5282095"/>
              <a:gd name="connsiteX29677" fmla="*/ 2326502 w 7714416"/>
              <a:gd name="connsiteY29677" fmla="*/ 260450 h 5282095"/>
              <a:gd name="connsiteX29678" fmla="*/ 2330024 w 7714416"/>
              <a:gd name="connsiteY29678" fmla="*/ 260589 h 5282095"/>
              <a:gd name="connsiteX29679" fmla="*/ 2333100 w 7714416"/>
              <a:gd name="connsiteY29679" fmla="*/ 266817 h 5282095"/>
              <a:gd name="connsiteX29680" fmla="*/ 2334731 w 7714416"/>
              <a:gd name="connsiteY29680" fmla="*/ 267370 h 5282095"/>
              <a:gd name="connsiteX29681" fmla="*/ 2338846 w 7714416"/>
              <a:gd name="connsiteY29681" fmla="*/ 266403 h 5282095"/>
              <a:gd name="connsiteX29682" fmla="*/ 2354405 w 7714416"/>
              <a:gd name="connsiteY29682" fmla="*/ 272526 h 5282095"/>
              <a:gd name="connsiteX29683" fmla="*/ 2354523 w 7714416"/>
              <a:gd name="connsiteY29683" fmla="*/ 286473 h 5282095"/>
              <a:gd name="connsiteX29684" fmla="*/ 2347610 w 7714416"/>
              <a:gd name="connsiteY29684" fmla="*/ 290142 h 5282095"/>
              <a:gd name="connsiteX29685" fmla="*/ 2339776 w 7714416"/>
              <a:gd name="connsiteY29685" fmla="*/ 288386 h 5282095"/>
              <a:gd name="connsiteX29686" fmla="*/ 2329379 w 7714416"/>
              <a:gd name="connsiteY29686" fmla="*/ 281806 h 5282095"/>
              <a:gd name="connsiteX29687" fmla="*/ 2330893 w 7714416"/>
              <a:gd name="connsiteY29687" fmla="*/ 268412 h 5282095"/>
              <a:gd name="connsiteX29688" fmla="*/ 2327974 w 7714416"/>
              <a:gd name="connsiteY29688" fmla="*/ 266020 h 5282095"/>
              <a:gd name="connsiteX29689" fmla="*/ 2326502 w 7714416"/>
              <a:gd name="connsiteY29689" fmla="*/ 260450 h 5282095"/>
              <a:gd name="connsiteX29690" fmla="*/ 3258349 w 7714416"/>
              <a:gd name="connsiteY29690" fmla="*/ 260355 h 5282095"/>
              <a:gd name="connsiteX29691" fmla="*/ 3260390 w 7714416"/>
              <a:gd name="connsiteY29691" fmla="*/ 261591 h 5282095"/>
              <a:gd name="connsiteX29692" fmla="*/ 3254260 w 7714416"/>
              <a:gd name="connsiteY29692" fmla="*/ 264548 h 5282095"/>
              <a:gd name="connsiteX29693" fmla="*/ 3252046 w 7714416"/>
              <a:gd name="connsiteY29693" fmla="*/ 263955 h 5282095"/>
              <a:gd name="connsiteX29694" fmla="*/ 3258349 w 7714416"/>
              <a:gd name="connsiteY29694" fmla="*/ 260355 h 5282095"/>
              <a:gd name="connsiteX29695" fmla="*/ 2510039 w 7714416"/>
              <a:gd name="connsiteY29695" fmla="*/ 259488 h 5282095"/>
              <a:gd name="connsiteX29696" fmla="*/ 2513802 w 7714416"/>
              <a:gd name="connsiteY29696" fmla="*/ 266476 h 5282095"/>
              <a:gd name="connsiteX29697" fmla="*/ 2515217 w 7714416"/>
              <a:gd name="connsiteY29697" fmla="*/ 272261 h 5282095"/>
              <a:gd name="connsiteX29698" fmla="*/ 2513651 w 7714416"/>
              <a:gd name="connsiteY29698" fmla="*/ 291391 h 5282095"/>
              <a:gd name="connsiteX29699" fmla="*/ 2509565 w 7714416"/>
              <a:gd name="connsiteY29699" fmla="*/ 283396 h 5282095"/>
              <a:gd name="connsiteX29700" fmla="*/ 2504831 w 7714416"/>
              <a:gd name="connsiteY29700" fmla="*/ 264533 h 5282095"/>
              <a:gd name="connsiteX29701" fmla="*/ 2507574 w 7714416"/>
              <a:gd name="connsiteY29701" fmla="*/ 262047 h 5282095"/>
              <a:gd name="connsiteX29702" fmla="*/ 2507002 w 7714416"/>
              <a:gd name="connsiteY29702" fmla="*/ 260860 h 5282095"/>
              <a:gd name="connsiteX29703" fmla="*/ 2510039 w 7714416"/>
              <a:gd name="connsiteY29703" fmla="*/ 259488 h 5282095"/>
              <a:gd name="connsiteX29704" fmla="*/ 2190058 w 7714416"/>
              <a:gd name="connsiteY29704" fmla="*/ 259426 h 5282095"/>
              <a:gd name="connsiteX29705" fmla="*/ 2189302 w 7714416"/>
              <a:gd name="connsiteY29705" fmla="*/ 277738 h 5282095"/>
              <a:gd name="connsiteX29706" fmla="*/ 2180819 w 7714416"/>
              <a:gd name="connsiteY29706" fmla="*/ 259595 h 5282095"/>
              <a:gd name="connsiteX29707" fmla="*/ 2190058 w 7714416"/>
              <a:gd name="connsiteY29707" fmla="*/ 259426 h 5282095"/>
              <a:gd name="connsiteX29708" fmla="*/ 2752157 w 7714416"/>
              <a:gd name="connsiteY29708" fmla="*/ 258223 h 5282095"/>
              <a:gd name="connsiteX29709" fmla="*/ 2771047 w 7714416"/>
              <a:gd name="connsiteY29709" fmla="*/ 259388 h 5282095"/>
              <a:gd name="connsiteX29710" fmla="*/ 2754642 w 7714416"/>
              <a:gd name="connsiteY29710" fmla="*/ 266378 h 5282095"/>
              <a:gd name="connsiteX29711" fmla="*/ 2734210 w 7714416"/>
              <a:gd name="connsiteY29711" fmla="*/ 265158 h 5282095"/>
              <a:gd name="connsiteX29712" fmla="*/ 2752157 w 7714416"/>
              <a:gd name="connsiteY29712" fmla="*/ 258223 h 5282095"/>
              <a:gd name="connsiteX29713" fmla="*/ 2924152 w 7714416"/>
              <a:gd name="connsiteY29713" fmla="*/ 255792 h 5282095"/>
              <a:gd name="connsiteX29714" fmla="*/ 2936492 w 7714416"/>
              <a:gd name="connsiteY29714" fmla="*/ 256224 h 5282095"/>
              <a:gd name="connsiteX29715" fmla="*/ 2933469 w 7714416"/>
              <a:gd name="connsiteY29715" fmla="*/ 270824 h 5282095"/>
              <a:gd name="connsiteX29716" fmla="*/ 2917711 w 7714416"/>
              <a:gd name="connsiteY29716" fmla="*/ 262117 h 5282095"/>
              <a:gd name="connsiteX29717" fmla="*/ 2924152 w 7714416"/>
              <a:gd name="connsiteY29717" fmla="*/ 255792 h 5282095"/>
              <a:gd name="connsiteX29718" fmla="*/ 2139357 w 7714416"/>
              <a:gd name="connsiteY29718" fmla="*/ 252739 h 5282095"/>
              <a:gd name="connsiteX29719" fmla="*/ 2139298 w 7714416"/>
              <a:gd name="connsiteY29719" fmla="*/ 261809 h 5282095"/>
              <a:gd name="connsiteX29720" fmla="*/ 2135079 w 7714416"/>
              <a:gd name="connsiteY29720" fmla="*/ 262059 h 5282095"/>
              <a:gd name="connsiteX29721" fmla="*/ 2128960 w 7714416"/>
              <a:gd name="connsiteY29721" fmla="*/ 255014 h 5282095"/>
              <a:gd name="connsiteX29722" fmla="*/ 2139357 w 7714416"/>
              <a:gd name="connsiteY29722" fmla="*/ 252739 h 5282095"/>
              <a:gd name="connsiteX29723" fmla="*/ 1189062 w 7714416"/>
              <a:gd name="connsiteY29723" fmla="*/ 249733 h 5282095"/>
              <a:gd name="connsiteX29724" fmla="*/ 1202326 w 7714416"/>
              <a:gd name="connsiteY29724" fmla="*/ 252252 h 5282095"/>
              <a:gd name="connsiteX29725" fmla="*/ 1200217 w 7714416"/>
              <a:gd name="connsiteY29725" fmla="*/ 261232 h 5282095"/>
              <a:gd name="connsiteX29726" fmla="*/ 1186785 w 7714416"/>
              <a:gd name="connsiteY29726" fmla="*/ 256023 h 5282095"/>
              <a:gd name="connsiteX29727" fmla="*/ 1189062 w 7714416"/>
              <a:gd name="connsiteY29727" fmla="*/ 249733 h 5282095"/>
              <a:gd name="connsiteX29728" fmla="*/ 3292445 w 7714416"/>
              <a:gd name="connsiteY29728" fmla="*/ 248214 h 5282095"/>
              <a:gd name="connsiteX29729" fmla="*/ 3292927 w 7714416"/>
              <a:gd name="connsiteY29729" fmla="*/ 253059 h 5282095"/>
              <a:gd name="connsiteX29730" fmla="*/ 3289682 w 7714416"/>
              <a:gd name="connsiteY29730" fmla="*/ 252994 h 5282095"/>
              <a:gd name="connsiteX29731" fmla="*/ 3264775 w 7714416"/>
              <a:gd name="connsiteY29731" fmla="*/ 258511 h 5282095"/>
              <a:gd name="connsiteX29732" fmla="*/ 3292445 w 7714416"/>
              <a:gd name="connsiteY29732" fmla="*/ 248214 h 5282095"/>
              <a:gd name="connsiteX29733" fmla="*/ 2872775 w 7714416"/>
              <a:gd name="connsiteY29733" fmla="*/ 247201 h 5282095"/>
              <a:gd name="connsiteX29734" fmla="*/ 2878926 w 7714416"/>
              <a:gd name="connsiteY29734" fmla="*/ 259660 h 5282095"/>
              <a:gd name="connsiteX29735" fmla="*/ 2869364 w 7714416"/>
              <a:gd name="connsiteY29735" fmla="*/ 258822 h 5282095"/>
              <a:gd name="connsiteX29736" fmla="*/ 2863919 w 7714416"/>
              <a:gd name="connsiteY29736" fmla="*/ 253683 h 5282095"/>
              <a:gd name="connsiteX29737" fmla="*/ 2864153 w 7714416"/>
              <a:gd name="connsiteY29737" fmla="*/ 249491 h 5282095"/>
              <a:gd name="connsiteX29738" fmla="*/ 2872775 w 7714416"/>
              <a:gd name="connsiteY29738" fmla="*/ 247201 h 5282095"/>
              <a:gd name="connsiteX29739" fmla="*/ 3191269 w 7714416"/>
              <a:gd name="connsiteY29739" fmla="*/ 246175 h 5282095"/>
              <a:gd name="connsiteX29740" fmla="*/ 3193287 w 7714416"/>
              <a:gd name="connsiteY29740" fmla="*/ 249706 h 5282095"/>
              <a:gd name="connsiteX29741" fmla="*/ 3190298 w 7714416"/>
              <a:gd name="connsiteY29741" fmla="*/ 252010 h 5282095"/>
              <a:gd name="connsiteX29742" fmla="*/ 3188501 w 7714416"/>
              <a:gd name="connsiteY29742" fmla="*/ 254289 h 5282095"/>
              <a:gd name="connsiteX29743" fmla="*/ 3186191 w 7714416"/>
              <a:gd name="connsiteY29743" fmla="*/ 255165 h 5282095"/>
              <a:gd name="connsiteX29744" fmla="*/ 3183481 w 7714416"/>
              <a:gd name="connsiteY29744" fmla="*/ 254208 h 5282095"/>
              <a:gd name="connsiteX29745" fmla="*/ 3185001 w 7714416"/>
              <a:gd name="connsiteY29745" fmla="*/ 251856 h 5282095"/>
              <a:gd name="connsiteX29746" fmla="*/ 3191269 w 7714416"/>
              <a:gd name="connsiteY29746" fmla="*/ 246175 h 5282095"/>
              <a:gd name="connsiteX29747" fmla="*/ 2710841 w 7714416"/>
              <a:gd name="connsiteY29747" fmla="*/ 242797 h 5282095"/>
              <a:gd name="connsiteX29748" fmla="*/ 2735298 w 7714416"/>
              <a:gd name="connsiteY29748" fmla="*/ 273270 h 5282095"/>
              <a:gd name="connsiteX29749" fmla="*/ 2710841 w 7714416"/>
              <a:gd name="connsiteY29749" fmla="*/ 242797 h 5282095"/>
              <a:gd name="connsiteX29750" fmla="*/ 2408363 w 7714416"/>
              <a:gd name="connsiteY29750" fmla="*/ 242710 h 5282095"/>
              <a:gd name="connsiteX29751" fmla="*/ 2432497 w 7714416"/>
              <a:gd name="connsiteY29751" fmla="*/ 254466 h 5282095"/>
              <a:gd name="connsiteX29752" fmla="*/ 2421325 w 7714416"/>
              <a:gd name="connsiteY29752" fmla="*/ 259637 h 5282095"/>
              <a:gd name="connsiteX29753" fmla="*/ 2409484 w 7714416"/>
              <a:gd name="connsiteY29753" fmla="*/ 247380 h 5282095"/>
              <a:gd name="connsiteX29754" fmla="*/ 2408363 w 7714416"/>
              <a:gd name="connsiteY29754" fmla="*/ 242710 h 5282095"/>
              <a:gd name="connsiteX29755" fmla="*/ 2802053 w 7714416"/>
              <a:gd name="connsiteY29755" fmla="*/ 236646 h 5282095"/>
              <a:gd name="connsiteX29756" fmla="*/ 2809097 w 7714416"/>
              <a:gd name="connsiteY29756" fmla="*/ 236924 h 5282095"/>
              <a:gd name="connsiteX29757" fmla="*/ 2820883 w 7714416"/>
              <a:gd name="connsiteY29757" fmla="*/ 237207 h 5282095"/>
              <a:gd name="connsiteX29758" fmla="*/ 2823158 w 7714416"/>
              <a:gd name="connsiteY29758" fmla="*/ 243106 h 5282095"/>
              <a:gd name="connsiteX29759" fmla="*/ 2793859 w 7714416"/>
              <a:gd name="connsiteY29759" fmla="*/ 249516 h 5282095"/>
              <a:gd name="connsiteX29760" fmla="*/ 2790180 w 7714416"/>
              <a:gd name="connsiteY29760" fmla="*/ 245541 h 5282095"/>
              <a:gd name="connsiteX29761" fmla="*/ 2796095 w 7714416"/>
              <a:gd name="connsiteY29761" fmla="*/ 238959 h 5282095"/>
              <a:gd name="connsiteX29762" fmla="*/ 2802053 w 7714416"/>
              <a:gd name="connsiteY29762" fmla="*/ 236646 h 5282095"/>
              <a:gd name="connsiteX29763" fmla="*/ 3179931 w 7714416"/>
              <a:gd name="connsiteY29763" fmla="*/ 236466 h 5282095"/>
              <a:gd name="connsiteX29764" fmla="*/ 3183176 w 7714416"/>
              <a:gd name="connsiteY29764" fmla="*/ 236531 h 5282095"/>
              <a:gd name="connsiteX29765" fmla="*/ 3180915 w 7714416"/>
              <a:gd name="connsiteY29765" fmla="*/ 243861 h 5282095"/>
              <a:gd name="connsiteX29766" fmla="*/ 3176190 w 7714416"/>
              <a:gd name="connsiteY29766" fmla="*/ 244894 h 5282095"/>
              <a:gd name="connsiteX29767" fmla="*/ 3175324 w 7714416"/>
              <a:gd name="connsiteY29767" fmla="*/ 242593 h 5282095"/>
              <a:gd name="connsiteX29768" fmla="*/ 3175669 w 7714416"/>
              <a:gd name="connsiteY29768" fmla="*/ 241305 h 5282095"/>
              <a:gd name="connsiteX29769" fmla="*/ 3178677 w 7714416"/>
              <a:gd name="connsiteY29769" fmla="*/ 240041 h 5282095"/>
              <a:gd name="connsiteX29770" fmla="*/ 3179931 w 7714416"/>
              <a:gd name="connsiteY29770" fmla="*/ 236466 h 5282095"/>
              <a:gd name="connsiteX29771" fmla="*/ 3205841 w 7714416"/>
              <a:gd name="connsiteY29771" fmla="*/ 230529 h 5282095"/>
              <a:gd name="connsiteX29772" fmla="*/ 3209772 w 7714416"/>
              <a:gd name="connsiteY29772" fmla="*/ 231352 h 5282095"/>
              <a:gd name="connsiteX29773" fmla="*/ 3208802 w 7714416"/>
              <a:gd name="connsiteY29773" fmla="*/ 237187 h 5282095"/>
              <a:gd name="connsiteX29774" fmla="*/ 3197934 w 7714416"/>
              <a:gd name="connsiteY29774" fmla="*/ 242326 h 5282095"/>
              <a:gd name="connsiteX29775" fmla="*/ 3193986 w 7714416"/>
              <a:gd name="connsiteY29775" fmla="*/ 240463 h 5282095"/>
              <a:gd name="connsiteX29776" fmla="*/ 3193475 w 7714416"/>
              <a:gd name="connsiteY29776" fmla="*/ 235726 h 5282095"/>
              <a:gd name="connsiteX29777" fmla="*/ 3205841 w 7714416"/>
              <a:gd name="connsiteY29777" fmla="*/ 230529 h 5282095"/>
              <a:gd name="connsiteX29778" fmla="*/ 2628574 w 7714416"/>
              <a:gd name="connsiteY29778" fmla="*/ 221098 h 5282095"/>
              <a:gd name="connsiteX29779" fmla="*/ 2631722 w 7714416"/>
              <a:gd name="connsiteY29779" fmla="*/ 231487 h 5282095"/>
              <a:gd name="connsiteX29780" fmla="*/ 2629336 w 7714416"/>
              <a:gd name="connsiteY29780" fmla="*/ 231538 h 5282095"/>
              <a:gd name="connsiteX29781" fmla="*/ 2626492 w 7714416"/>
              <a:gd name="connsiteY29781" fmla="*/ 229971 h 5282095"/>
              <a:gd name="connsiteX29782" fmla="*/ 2628574 w 7714416"/>
              <a:gd name="connsiteY29782" fmla="*/ 221098 h 5282095"/>
              <a:gd name="connsiteX29783" fmla="*/ 3813613 w 7714416"/>
              <a:gd name="connsiteY29783" fmla="*/ 220189 h 5282095"/>
              <a:gd name="connsiteX29784" fmla="*/ 3805257 w 7714416"/>
              <a:gd name="connsiteY29784" fmla="*/ 267975 h 5282095"/>
              <a:gd name="connsiteX29785" fmla="*/ 3813613 w 7714416"/>
              <a:gd name="connsiteY29785" fmla="*/ 220189 h 5282095"/>
              <a:gd name="connsiteX29786" fmla="*/ 2531749 w 7714416"/>
              <a:gd name="connsiteY29786" fmla="*/ 219420 h 5282095"/>
              <a:gd name="connsiteX29787" fmla="*/ 2535271 w 7714416"/>
              <a:gd name="connsiteY29787" fmla="*/ 219558 h 5282095"/>
              <a:gd name="connsiteX29788" fmla="*/ 2534261 w 7714416"/>
              <a:gd name="connsiteY29788" fmla="*/ 226648 h 5282095"/>
              <a:gd name="connsiteX29789" fmla="*/ 2532212 w 7714416"/>
              <a:gd name="connsiteY29789" fmla="*/ 232079 h 5282095"/>
              <a:gd name="connsiteX29790" fmla="*/ 2519311 w 7714416"/>
              <a:gd name="connsiteY29790" fmla="*/ 247022 h 5282095"/>
              <a:gd name="connsiteX29791" fmla="*/ 2520332 w 7714416"/>
              <a:gd name="connsiteY29791" fmla="*/ 238785 h 5282095"/>
              <a:gd name="connsiteX29792" fmla="*/ 2527347 w 7714416"/>
              <a:gd name="connsiteY29792" fmla="*/ 221460 h 5282095"/>
              <a:gd name="connsiteX29793" fmla="*/ 2531185 w 7714416"/>
              <a:gd name="connsiteY29793" fmla="*/ 220418 h 5282095"/>
              <a:gd name="connsiteX29794" fmla="*/ 2531749 w 7714416"/>
              <a:gd name="connsiteY29794" fmla="*/ 219420 h 5282095"/>
              <a:gd name="connsiteX29795" fmla="*/ 2670982 w 7714416"/>
              <a:gd name="connsiteY29795" fmla="*/ 218892 h 5282095"/>
              <a:gd name="connsiteX29796" fmla="*/ 2676066 w 7714416"/>
              <a:gd name="connsiteY29796" fmla="*/ 220944 h 5282095"/>
              <a:gd name="connsiteX29797" fmla="*/ 2678312 w 7714416"/>
              <a:gd name="connsiteY29797" fmla="*/ 226951 h 5282095"/>
              <a:gd name="connsiteX29798" fmla="*/ 2663281 w 7714416"/>
              <a:gd name="connsiteY29798" fmla="*/ 226602 h 5282095"/>
              <a:gd name="connsiteX29799" fmla="*/ 2661290 w 7714416"/>
              <a:gd name="connsiteY29799" fmla="*/ 222964 h 5282095"/>
              <a:gd name="connsiteX29800" fmla="*/ 2670982 w 7714416"/>
              <a:gd name="connsiteY29800" fmla="*/ 218892 h 5282095"/>
              <a:gd name="connsiteX29801" fmla="*/ 3357852 w 7714416"/>
              <a:gd name="connsiteY29801" fmla="*/ 213300 h 5282095"/>
              <a:gd name="connsiteX29802" fmla="*/ 3359577 w 7714416"/>
              <a:gd name="connsiteY29802" fmla="*/ 215717 h 5282095"/>
              <a:gd name="connsiteX29803" fmla="*/ 3353332 w 7714416"/>
              <a:gd name="connsiteY29803" fmla="*/ 219103 h 5282095"/>
              <a:gd name="connsiteX29804" fmla="*/ 3353321 w 7714416"/>
              <a:gd name="connsiteY29804" fmla="*/ 220251 h 5282095"/>
              <a:gd name="connsiteX29805" fmla="*/ 3357098 w 7714416"/>
              <a:gd name="connsiteY29805" fmla="*/ 222757 h 5282095"/>
              <a:gd name="connsiteX29806" fmla="*/ 3358430 w 7714416"/>
              <a:gd name="connsiteY29806" fmla="*/ 234384 h 5282095"/>
              <a:gd name="connsiteX29807" fmla="*/ 3340092 w 7714416"/>
              <a:gd name="connsiteY29807" fmla="*/ 237521 h 5282095"/>
              <a:gd name="connsiteX29808" fmla="*/ 3331278 w 7714416"/>
              <a:gd name="connsiteY29808" fmla="*/ 233894 h 5282095"/>
              <a:gd name="connsiteX29809" fmla="*/ 3328697 w 7714416"/>
              <a:gd name="connsiteY29809" fmla="*/ 228027 h 5282095"/>
              <a:gd name="connsiteX29810" fmla="*/ 3331217 w 7714416"/>
              <a:gd name="connsiteY29810" fmla="*/ 219733 h 5282095"/>
              <a:gd name="connsiteX29811" fmla="*/ 3349821 w 7714416"/>
              <a:gd name="connsiteY29811" fmla="*/ 217818 h 5282095"/>
              <a:gd name="connsiteX29812" fmla="*/ 3351313 w 7714416"/>
              <a:gd name="connsiteY29812" fmla="*/ 215572 h 5282095"/>
              <a:gd name="connsiteX29813" fmla="*/ 3357852 w 7714416"/>
              <a:gd name="connsiteY29813" fmla="*/ 213300 h 5282095"/>
              <a:gd name="connsiteX29814" fmla="*/ 2113002 w 7714416"/>
              <a:gd name="connsiteY29814" fmla="*/ 211638 h 5282095"/>
              <a:gd name="connsiteX29815" fmla="*/ 2131020 w 7714416"/>
              <a:gd name="connsiteY29815" fmla="*/ 213016 h 5282095"/>
              <a:gd name="connsiteX29816" fmla="*/ 2119549 w 7714416"/>
              <a:gd name="connsiteY29816" fmla="*/ 220407 h 5282095"/>
              <a:gd name="connsiteX29817" fmla="*/ 2113853 w 7714416"/>
              <a:gd name="connsiteY29817" fmla="*/ 218421 h 5282095"/>
              <a:gd name="connsiteX29818" fmla="*/ 2113188 w 7714416"/>
              <a:gd name="connsiteY29818" fmla="*/ 215368 h 5282095"/>
              <a:gd name="connsiteX29819" fmla="*/ 2113002 w 7714416"/>
              <a:gd name="connsiteY29819" fmla="*/ 211638 h 5282095"/>
              <a:gd name="connsiteX29820" fmla="*/ 2706932 w 7714416"/>
              <a:gd name="connsiteY29820" fmla="*/ 204259 h 5282095"/>
              <a:gd name="connsiteX29821" fmla="*/ 2710454 w 7714416"/>
              <a:gd name="connsiteY29821" fmla="*/ 204397 h 5282095"/>
              <a:gd name="connsiteX29822" fmla="*/ 2716893 w 7714416"/>
              <a:gd name="connsiteY29822" fmla="*/ 206928 h 5282095"/>
              <a:gd name="connsiteX29823" fmla="*/ 2719247 w 7714416"/>
              <a:gd name="connsiteY29823" fmla="*/ 210319 h 5282095"/>
              <a:gd name="connsiteX29824" fmla="*/ 2717041 w 7714416"/>
              <a:gd name="connsiteY29824" fmla="*/ 211912 h 5282095"/>
              <a:gd name="connsiteX29825" fmla="*/ 2716160 w 7714416"/>
              <a:gd name="connsiteY29825" fmla="*/ 214091 h 5282095"/>
              <a:gd name="connsiteX29826" fmla="*/ 2714529 w 7714416"/>
              <a:gd name="connsiteY29826" fmla="*/ 213539 h 5282095"/>
              <a:gd name="connsiteX29827" fmla="*/ 2712361 w 7714416"/>
              <a:gd name="connsiteY29827" fmla="*/ 213878 h 5282095"/>
              <a:gd name="connsiteX29828" fmla="*/ 2707050 w 7714416"/>
              <a:gd name="connsiteY29828" fmla="*/ 209350 h 5282095"/>
              <a:gd name="connsiteX29829" fmla="*/ 2705804 w 7714416"/>
              <a:gd name="connsiteY29829" fmla="*/ 206256 h 5282095"/>
              <a:gd name="connsiteX29830" fmla="*/ 2706932 w 7714416"/>
              <a:gd name="connsiteY29830" fmla="*/ 204259 h 5282095"/>
              <a:gd name="connsiteX29831" fmla="*/ 2335659 w 7714416"/>
              <a:gd name="connsiteY29831" fmla="*/ 204137 h 5282095"/>
              <a:gd name="connsiteX29832" fmla="*/ 2339885 w 7714416"/>
              <a:gd name="connsiteY29832" fmla="*/ 206075 h 5282095"/>
              <a:gd name="connsiteX29833" fmla="*/ 2339224 w 7714416"/>
              <a:gd name="connsiteY29833" fmla="*/ 208543 h 5282095"/>
              <a:gd name="connsiteX29834" fmla="*/ 2340366 w 7714416"/>
              <a:gd name="connsiteY29834" fmla="*/ 210919 h 5282095"/>
              <a:gd name="connsiteX29835" fmla="*/ 2338534 w 7714416"/>
              <a:gd name="connsiteY29835" fmla="*/ 211118 h 5282095"/>
              <a:gd name="connsiteX29836" fmla="*/ 2337301 w 7714416"/>
              <a:gd name="connsiteY29836" fmla="*/ 212397 h 5282095"/>
              <a:gd name="connsiteX29837" fmla="*/ 2329963 w 7714416"/>
              <a:gd name="connsiteY29837" fmla="*/ 211006 h 5282095"/>
              <a:gd name="connsiteX29838" fmla="*/ 2326959 w 7714416"/>
              <a:gd name="connsiteY29838" fmla="*/ 208937 h 5282095"/>
              <a:gd name="connsiteX29839" fmla="*/ 2326398 w 7714416"/>
              <a:gd name="connsiteY29839" fmla="*/ 206601 h 5282095"/>
              <a:gd name="connsiteX29840" fmla="*/ 2329215 w 7714416"/>
              <a:gd name="connsiteY29840" fmla="*/ 204941 h 5282095"/>
              <a:gd name="connsiteX29841" fmla="*/ 2335659 w 7714416"/>
              <a:gd name="connsiteY29841" fmla="*/ 204137 h 5282095"/>
              <a:gd name="connsiteX29842" fmla="*/ 3489355 w 7714416"/>
              <a:gd name="connsiteY29842" fmla="*/ 202881 h 5282095"/>
              <a:gd name="connsiteX29843" fmla="*/ 3481787 w 7714416"/>
              <a:gd name="connsiteY29843" fmla="*/ 211203 h 5282095"/>
              <a:gd name="connsiteX29844" fmla="*/ 3489355 w 7714416"/>
              <a:gd name="connsiteY29844" fmla="*/ 202881 h 5282095"/>
              <a:gd name="connsiteX29845" fmla="*/ 2223603 w 7714416"/>
              <a:gd name="connsiteY29845" fmla="*/ 199672 h 5282095"/>
              <a:gd name="connsiteX29846" fmla="*/ 2244475 w 7714416"/>
              <a:gd name="connsiteY29846" fmla="*/ 201325 h 5282095"/>
              <a:gd name="connsiteX29847" fmla="*/ 2246086 w 7714416"/>
              <a:gd name="connsiteY29847" fmla="*/ 213027 h 5282095"/>
              <a:gd name="connsiteX29848" fmla="*/ 2231798 w 7714416"/>
              <a:gd name="connsiteY29848" fmla="*/ 213224 h 5282095"/>
              <a:gd name="connsiteX29849" fmla="*/ 2218516 w 7714416"/>
              <a:gd name="connsiteY29849" fmla="*/ 209665 h 5282095"/>
              <a:gd name="connsiteX29850" fmla="*/ 2223603 w 7714416"/>
              <a:gd name="connsiteY29850" fmla="*/ 199672 h 5282095"/>
              <a:gd name="connsiteX29851" fmla="*/ 2521029 w 7714416"/>
              <a:gd name="connsiteY29851" fmla="*/ 194122 h 5282095"/>
              <a:gd name="connsiteX29852" fmla="*/ 2539141 w 7714416"/>
              <a:gd name="connsiteY29852" fmla="*/ 206219 h 5282095"/>
              <a:gd name="connsiteX29853" fmla="*/ 2524307 w 7714416"/>
              <a:gd name="connsiteY29853" fmla="*/ 208455 h 5282095"/>
              <a:gd name="connsiteX29854" fmla="*/ 2521029 w 7714416"/>
              <a:gd name="connsiteY29854" fmla="*/ 194122 h 5282095"/>
              <a:gd name="connsiteX29855" fmla="*/ 2583022 w 7714416"/>
              <a:gd name="connsiteY29855" fmla="*/ 191872 h 5282095"/>
              <a:gd name="connsiteX29856" fmla="*/ 2587011 w 7714416"/>
              <a:gd name="connsiteY29856" fmla="*/ 192481 h 5282095"/>
              <a:gd name="connsiteX29857" fmla="*/ 2586041 w 7714416"/>
              <a:gd name="connsiteY29857" fmla="*/ 198316 h 5282095"/>
              <a:gd name="connsiteX29858" fmla="*/ 2581038 w 7714416"/>
              <a:gd name="connsiteY29858" fmla="*/ 199275 h 5282095"/>
              <a:gd name="connsiteX29859" fmla="*/ 2578720 w 7714416"/>
              <a:gd name="connsiteY29859" fmla="*/ 197965 h 5282095"/>
              <a:gd name="connsiteX29860" fmla="*/ 2579019 w 7714416"/>
              <a:gd name="connsiteY29860" fmla="*/ 195744 h 5282095"/>
              <a:gd name="connsiteX29861" fmla="*/ 2580244 w 7714416"/>
              <a:gd name="connsiteY29861" fmla="*/ 192277 h 5282095"/>
              <a:gd name="connsiteX29862" fmla="*/ 2583022 w 7714416"/>
              <a:gd name="connsiteY29862" fmla="*/ 191872 h 5282095"/>
              <a:gd name="connsiteX29863" fmla="*/ 2297039 w 7714416"/>
              <a:gd name="connsiteY29863" fmla="*/ 189995 h 5282095"/>
              <a:gd name="connsiteX29864" fmla="*/ 2325996 w 7714416"/>
              <a:gd name="connsiteY29864" fmla="*/ 208103 h 5282095"/>
              <a:gd name="connsiteX29865" fmla="*/ 2319334 w 7714416"/>
              <a:gd name="connsiteY29865" fmla="*/ 208619 h 5282095"/>
              <a:gd name="connsiteX29866" fmla="*/ 2311643 w 7714416"/>
              <a:gd name="connsiteY29866" fmla="*/ 206328 h 5282095"/>
              <a:gd name="connsiteX29867" fmla="*/ 2297822 w 7714416"/>
              <a:gd name="connsiteY29867" fmla="*/ 198139 h 5282095"/>
              <a:gd name="connsiteX29868" fmla="*/ 2297039 w 7714416"/>
              <a:gd name="connsiteY29868" fmla="*/ 189995 h 5282095"/>
              <a:gd name="connsiteX29869" fmla="*/ 2947087 w 7714416"/>
              <a:gd name="connsiteY29869" fmla="*/ 185692 h 5282095"/>
              <a:gd name="connsiteX29870" fmla="*/ 2950293 w 7714416"/>
              <a:gd name="connsiteY29870" fmla="*/ 187010 h 5282095"/>
              <a:gd name="connsiteX29871" fmla="*/ 2948736 w 7714416"/>
              <a:gd name="connsiteY29871" fmla="*/ 187284 h 5282095"/>
              <a:gd name="connsiteX29872" fmla="*/ 2947087 w 7714416"/>
              <a:gd name="connsiteY29872" fmla="*/ 185692 h 5282095"/>
              <a:gd name="connsiteX29873" fmla="*/ 3140169 w 7714416"/>
              <a:gd name="connsiteY29873" fmla="*/ 184527 h 5282095"/>
              <a:gd name="connsiteX29874" fmla="*/ 3144395 w 7714416"/>
              <a:gd name="connsiteY29874" fmla="*/ 186464 h 5282095"/>
              <a:gd name="connsiteX29875" fmla="*/ 3139647 w 7714416"/>
              <a:gd name="connsiteY29875" fmla="*/ 189793 h 5282095"/>
              <a:gd name="connsiteX29876" fmla="*/ 3137313 w 7714416"/>
              <a:gd name="connsiteY29876" fmla="*/ 187441 h 5282095"/>
              <a:gd name="connsiteX29877" fmla="*/ 3137305 w 7714416"/>
              <a:gd name="connsiteY29877" fmla="*/ 185255 h 5282095"/>
              <a:gd name="connsiteX29878" fmla="*/ 3140169 w 7714416"/>
              <a:gd name="connsiteY29878" fmla="*/ 184527 h 5282095"/>
              <a:gd name="connsiteX29879" fmla="*/ 3120480 w 7714416"/>
              <a:gd name="connsiteY29879" fmla="*/ 183852 h 5282095"/>
              <a:gd name="connsiteX29880" fmla="*/ 3124803 w 7714416"/>
              <a:gd name="connsiteY29880" fmla="*/ 193175 h 5282095"/>
              <a:gd name="connsiteX29881" fmla="*/ 3122654 w 7714416"/>
              <a:gd name="connsiteY29881" fmla="*/ 194554 h 5282095"/>
              <a:gd name="connsiteX29882" fmla="*/ 3121547 w 7714416"/>
              <a:gd name="connsiteY29882" fmla="*/ 194257 h 5282095"/>
              <a:gd name="connsiteX29883" fmla="*/ 3118047 w 7714416"/>
              <a:gd name="connsiteY29883" fmla="*/ 191824 h 5282095"/>
              <a:gd name="connsiteX29884" fmla="*/ 3116419 w 7714416"/>
              <a:gd name="connsiteY29884" fmla="*/ 187939 h 5282095"/>
              <a:gd name="connsiteX29885" fmla="*/ 3117224 w 7714416"/>
              <a:gd name="connsiteY29885" fmla="*/ 184934 h 5282095"/>
              <a:gd name="connsiteX29886" fmla="*/ 3120480 w 7714416"/>
              <a:gd name="connsiteY29886" fmla="*/ 183852 h 5282095"/>
              <a:gd name="connsiteX29887" fmla="*/ 3710112 w 7714416"/>
              <a:gd name="connsiteY29887" fmla="*/ 179230 h 5282095"/>
              <a:gd name="connsiteX29888" fmla="*/ 3719571 w 7714416"/>
              <a:gd name="connsiteY29888" fmla="*/ 179350 h 5282095"/>
              <a:gd name="connsiteX29889" fmla="*/ 3723923 w 7714416"/>
              <a:gd name="connsiteY29889" fmla="*/ 188567 h 5282095"/>
              <a:gd name="connsiteX29890" fmla="*/ 3710961 w 7714416"/>
              <a:gd name="connsiteY29890" fmla="*/ 189348 h 5282095"/>
              <a:gd name="connsiteX29891" fmla="*/ 3710112 w 7714416"/>
              <a:gd name="connsiteY29891" fmla="*/ 179230 h 5282095"/>
              <a:gd name="connsiteX29892" fmla="*/ 3432995 w 7714416"/>
              <a:gd name="connsiteY29892" fmla="*/ 178578 h 5282095"/>
              <a:gd name="connsiteX29893" fmla="*/ 3426202 w 7714416"/>
              <a:gd name="connsiteY29893" fmla="*/ 201713 h 5282095"/>
              <a:gd name="connsiteX29894" fmla="*/ 3419971 w 7714416"/>
              <a:gd name="connsiteY29894" fmla="*/ 191764 h 5282095"/>
              <a:gd name="connsiteX29895" fmla="*/ 3422598 w 7714416"/>
              <a:gd name="connsiteY29895" fmla="*/ 180853 h 5282095"/>
              <a:gd name="connsiteX29896" fmla="*/ 3432995 w 7714416"/>
              <a:gd name="connsiteY29896" fmla="*/ 178578 h 5282095"/>
              <a:gd name="connsiteX29897" fmla="*/ 2291078 w 7714416"/>
              <a:gd name="connsiteY29897" fmla="*/ 177933 h 5282095"/>
              <a:gd name="connsiteX29898" fmla="*/ 2290061 w 7714416"/>
              <a:gd name="connsiteY29898" fmla="*/ 200545 h 5282095"/>
              <a:gd name="connsiteX29899" fmla="*/ 2286406 w 7714416"/>
              <a:gd name="connsiteY29899" fmla="*/ 199796 h 5282095"/>
              <a:gd name="connsiteX29900" fmla="*/ 2283965 w 7714416"/>
              <a:gd name="connsiteY29900" fmla="*/ 196727 h 5282095"/>
              <a:gd name="connsiteX29901" fmla="*/ 2283798 w 7714416"/>
              <a:gd name="connsiteY29901" fmla="*/ 185182 h 5282095"/>
              <a:gd name="connsiteX29902" fmla="*/ 2284459 w 7714416"/>
              <a:gd name="connsiteY29902" fmla="*/ 182714 h 5282095"/>
              <a:gd name="connsiteX29903" fmla="*/ 2284900 w 7714416"/>
              <a:gd name="connsiteY29903" fmla="*/ 179957 h 5282095"/>
              <a:gd name="connsiteX29904" fmla="*/ 2291078 w 7714416"/>
              <a:gd name="connsiteY29904" fmla="*/ 177933 h 5282095"/>
              <a:gd name="connsiteX29905" fmla="*/ 3147147 w 7714416"/>
              <a:gd name="connsiteY29905" fmla="*/ 173977 h 5282095"/>
              <a:gd name="connsiteX29906" fmla="*/ 3156642 w 7714416"/>
              <a:gd name="connsiteY29906" fmla="*/ 176175 h 5282095"/>
              <a:gd name="connsiteX29907" fmla="*/ 3160397 w 7714416"/>
              <a:gd name="connsiteY29907" fmla="*/ 180977 h 5282095"/>
              <a:gd name="connsiteX29908" fmla="*/ 3160624 w 7714416"/>
              <a:gd name="connsiteY29908" fmla="*/ 183453 h 5282095"/>
              <a:gd name="connsiteX29909" fmla="*/ 3145847 w 7714416"/>
              <a:gd name="connsiteY29909" fmla="*/ 185473 h 5282095"/>
              <a:gd name="connsiteX29910" fmla="*/ 3138839 w 7714416"/>
              <a:gd name="connsiteY29910" fmla="*/ 178421 h 5282095"/>
              <a:gd name="connsiteX29911" fmla="*/ 3139835 w 7714416"/>
              <a:gd name="connsiteY29911" fmla="*/ 175812 h 5282095"/>
              <a:gd name="connsiteX29912" fmla="*/ 3143090 w 7714416"/>
              <a:gd name="connsiteY29912" fmla="*/ 174730 h 5282095"/>
              <a:gd name="connsiteX29913" fmla="*/ 3147147 w 7714416"/>
              <a:gd name="connsiteY29913" fmla="*/ 173977 h 5282095"/>
              <a:gd name="connsiteX29914" fmla="*/ 2650456 w 7714416"/>
              <a:gd name="connsiteY29914" fmla="*/ 171531 h 5282095"/>
              <a:gd name="connsiteX29915" fmla="*/ 2654624 w 7714416"/>
              <a:gd name="connsiteY29915" fmla="*/ 173683 h 5282095"/>
              <a:gd name="connsiteX29916" fmla="*/ 2653381 w 7714416"/>
              <a:gd name="connsiteY29916" fmla="*/ 176110 h 5282095"/>
              <a:gd name="connsiteX29917" fmla="*/ 2653942 w 7714416"/>
              <a:gd name="connsiteY29917" fmla="*/ 178444 h 5282095"/>
              <a:gd name="connsiteX29918" fmla="*/ 2652415 w 7714416"/>
              <a:gd name="connsiteY29918" fmla="*/ 178611 h 5282095"/>
              <a:gd name="connsiteX29919" fmla="*/ 2651181 w 7714416"/>
              <a:gd name="connsiteY29919" fmla="*/ 179890 h 5282095"/>
              <a:gd name="connsiteX29920" fmla="*/ 2646697 w 7714416"/>
              <a:gd name="connsiteY29920" fmla="*/ 178918 h 5282095"/>
              <a:gd name="connsiteX29921" fmla="*/ 2643711 w 7714416"/>
              <a:gd name="connsiteY29921" fmla="*/ 177888 h 5282095"/>
              <a:gd name="connsiteX29922" fmla="*/ 2641040 w 7714416"/>
              <a:gd name="connsiteY29922" fmla="*/ 175678 h 5282095"/>
              <a:gd name="connsiteX29923" fmla="*/ 2640815 w 7714416"/>
              <a:gd name="connsiteY29923" fmla="*/ 173202 h 5282095"/>
              <a:gd name="connsiteX29924" fmla="*/ 2643823 w 7714416"/>
              <a:gd name="connsiteY29924" fmla="*/ 171939 h 5282095"/>
              <a:gd name="connsiteX29925" fmla="*/ 2650456 w 7714416"/>
              <a:gd name="connsiteY29925" fmla="*/ 171531 h 5282095"/>
              <a:gd name="connsiteX29926" fmla="*/ 2040379 w 7714416"/>
              <a:gd name="connsiteY29926" fmla="*/ 167223 h 5282095"/>
              <a:gd name="connsiteX29927" fmla="*/ 2052257 w 7714416"/>
              <a:gd name="connsiteY29927" fmla="*/ 172705 h 5282095"/>
              <a:gd name="connsiteX29928" fmla="*/ 2041164 w 7714416"/>
              <a:gd name="connsiteY29928" fmla="*/ 175369 h 5282095"/>
              <a:gd name="connsiteX29929" fmla="*/ 2040379 w 7714416"/>
              <a:gd name="connsiteY29929" fmla="*/ 167223 h 5282095"/>
              <a:gd name="connsiteX29930" fmla="*/ 2341445 w 7714416"/>
              <a:gd name="connsiteY29930" fmla="*/ 167048 h 5282095"/>
              <a:gd name="connsiteX29931" fmla="*/ 2350644 w 7714416"/>
              <a:gd name="connsiteY29931" fmla="*/ 176987 h 5282095"/>
              <a:gd name="connsiteX29932" fmla="*/ 2341445 w 7714416"/>
              <a:gd name="connsiteY29932" fmla="*/ 167048 h 5282095"/>
              <a:gd name="connsiteX29933" fmla="*/ 2689604 w 7714416"/>
              <a:gd name="connsiteY29933" fmla="*/ 164885 h 5282095"/>
              <a:gd name="connsiteX29934" fmla="*/ 2696361 w 7714416"/>
              <a:gd name="connsiteY29934" fmla="*/ 166236 h 5282095"/>
              <a:gd name="connsiteX29935" fmla="*/ 2679288 w 7714416"/>
              <a:gd name="connsiteY29935" fmla="*/ 182361 h 5282095"/>
              <a:gd name="connsiteX29936" fmla="*/ 2676646 w 7714416"/>
              <a:gd name="connsiteY29936" fmla="*/ 180043 h 5282095"/>
              <a:gd name="connsiteX29937" fmla="*/ 2676401 w 7714416"/>
              <a:gd name="connsiteY29937" fmla="*/ 176528 h 5282095"/>
              <a:gd name="connsiteX29938" fmla="*/ 2684638 w 7714416"/>
              <a:gd name="connsiteY29938" fmla="*/ 167925 h 5282095"/>
              <a:gd name="connsiteX29939" fmla="*/ 2687150 w 7714416"/>
              <a:gd name="connsiteY29939" fmla="*/ 166297 h 5282095"/>
              <a:gd name="connsiteX29940" fmla="*/ 2689604 w 7714416"/>
              <a:gd name="connsiteY29940" fmla="*/ 164885 h 5282095"/>
              <a:gd name="connsiteX29941" fmla="*/ 2880721 w 7714416"/>
              <a:gd name="connsiteY29941" fmla="*/ 154454 h 5282095"/>
              <a:gd name="connsiteX29942" fmla="*/ 2891703 w 7714416"/>
              <a:gd name="connsiteY29942" fmla="*/ 157742 h 5282095"/>
              <a:gd name="connsiteX29943" fmla="*/ 2897301 w 7714416"/>
              <a:gd name="connsiteY29943" fmla="*/ 178907 h 5282095"/>
              <a:gd name="connsiteX29944" fmla="*/ 2894341 w 7714416"/>
              <a:gd name="connsiteY29944" fmla="*/ 181104 h 5282095"/>
              <a:gd name="connsiteX29945" fmla="*/ 2891329 w 7714416"/>
              <a:gd name="connsiteY29945" fmla="*/ 185702 h 5282095"/>
              <a:gd name="connsiteX29946" fmla="*/ 2877073 w 7714416"/>
              <a:gd name="connsiteY29946" fmla="*/ 182457 h 5282095"/>
              <a:gd name="connsiteX29947" fmla="*/ 2870444 w 7714416"/>
              <a:gd name="connsiteY29947" fmla="*/ 179530 h 5282095"/>
              <a:gd name="connsiteX29948" fmla="*/ 2859480 w 7714416"/>
              <a:gd name="connsiteY29948" fmla="*/ 168427 h 5282095"/>
              <a:gd name="connsiteX29949" fmla="*/ 2863117 w 7714416"/>
              <a:gd name="connsiteY29949" fmla="*/ 159282 h 5282095"/>
              <a:gd name="connsiteX29950" fmla="*/ 2880721 w 7714416"/>
              <a:gd name="connsiteY29950" fmla="*/ 154454 h 5282095"/>
              <a:gd name="connsiteX29951" fmla="*/ 2910717 w 7714416"/>
              <a:gd name="connsiteY29951" fmla="*/ 147655 h 5282095"/>
              <a:gd name="connsiteX29952" fmla="*/ 2915493 w 7714416"/>
              <a:gd name="connsiteY29952" fmla="*/ 161931 h 5282095"/>
              <a:gd name="connsiteX29953" fmla="*/ 2909509 w 7714416"/>
              <a:gd name="connsiteY29953" fmla="*/ 161017 h 5282095"/>
              <a:gd name="connsiteX29954" fmla="*/ 2903451 w 7714416"/>
              <a:gd name="connsiteY29954" fmla="*/ 159280 h 5282095"/>
              <a:gd name="connsiteX29955" fmla="*/ 2901460 w 7714416"/>
              <a:gd name="connsiteY29955" fmla="*/ 155641 h 5282095"/>
              <a:gd name="connsiteX29956" fmla="*/ 2900040 w 7714416"/>
              <a:gd name="connsiteY29956" fmla="*/ 153191 h 5282095"/>
              <a:gd name="connsiteX29957" fmla="*/ 2902412 w 7714416"/>
              <a:gd name="connsiteY29957" fmla="*/ 148766 h 5282095"/>
              <a:gd name="connsiteX29958" fmla="*/ 2900666 w 7714416"/>
              <a:gd name="connsiteY29958" fmla="*/ 148643 h 5282095"/>
              <a:gd name="connsiteX29959" fmla="*/ 2910717 w 7714416"/>
              <a:gd name="connsiteY29959" fmla="*/ 147655 h 5282095"/>
              <a:gd name="connsiteX29960" fmla="*/ 2609533 w 7714416"/>
              <a:gd name="connsiteY29960" fmla="*/ 142740 h 5282095"/>
              <a:gd name="connsiteX29961" fmla="*/ 2605109 w 7714416"/>
              <a:gd name="connsiteY29961" fmla="*/ 164785 h 5282095"/>
              <a:gd name="connsiteX29962" fmla="*/ 2601512 w 7714416"/>
              <a:gd name="connsiteY29962" fmla="*/ 163821 h 5282095"/>
              <a:gd name="connsiteX29963" fmla="*/ 2599435 w 7714416"/>
              <a:gd name="connsiteY29963" fmla="*/ 160505 h 5282095"/>
              <a:gd name="connsiteX29964" fmla="*/ 2600984 w 7714416"/>
              <a:gd name="connsiteY29964" fmla="*/ 149190 h 5282095"/>
              <a:gd name="connsiteX29965" fmla="*/ 2601922 w 7714416"/>
              <a:gd name="connsiteY29965" fmla="*/ 146796 h 5282095"/>
              <a:gd name="connsiteX29966" fmla="*/ 2603194 w 7714416"/>
              <a:gd name="connsiteY29966" fmla="*/ 144261 h 5282095"/>
              <a:gd name="connsiteX29967" fmla="*/ 2609533 w 7714416"/>
              <a:gd name="connsiteY29967" fmla="*/ 142740 h 5282095"/>
              <a:gd name="connsiteX29968" fmla="*/ 2819825 w 7714416"/>
              <a:gd name="connsiteY29968" fmla="*/ 140437 h 5282095"/>
              <a:gd name="connsiteX29969" fmla="*/ 2812827 w 7714416"/>
              <a:gd name="connsiteY29969" fmla="*/ 158803 h 5282095"/>
              <a:gd name="connsiteX29970" fmla="*/ 2812217 w 7714416"/>
              <a:gd name="connsiteY29970" fmla="*/ 141158 h 5282095"/>
              <a:gd name="connsiteX29971" fmla="*/ 2819825 w 7714416"/>
              <a:gd name="connsiteY29971" fmla="*/ 140437 h 5282095"/>
              <a:gd name="connsiteX29972" fmla="*/ 2238756 w 7714416"/>
              <a:gd name="connsiteY29972" fmla="*/ 125273 h 5282095"/>
              <a:gd name="connsiteX29973" fmla="*/ 2242720 w 7714416"/>
              <a:gd name="connsiteY29973" fmla="*/ 140364 h 5282095"/>
              <a:gd name="connsiteX29974" fmla="*/ 2235982 w 7714416"/>
              <a:gd name="connsiteY29974" fmla="*/ 140054 h 5282095"/>
              <a:gd name="connsiteX29975" fmla="*/ 2231508 w 7714416"/>
              <a:gd name="connsiteY29975" fmla="*/ 137935 h 5282095"/>
              <a:gd name="connsiteX29976" fmla="*/ 2228483 w 7714416"/>
              <a:gd name="connsiteY29976" fmla="*/ 129304 h 5282095"/>
              <a:gd name="connsiteX29977" fmla="*/ 2238756 w 7714416"/>
              <a:gd name="connsiteY29977" fmla="*/ 125273 h 5282095"/>
              <a:gd name="connsiteX29978" fmla="*/ 3668054 w 7714416"/>
              <a:gd name="connsiteY29978" fmla="*/ 123686 h 5282095"/>
              <a:gd name="connsiteX29979" fmla="*/ 3681695 w 7714416"/>
              <a:gd name="connsiteY29979" fmla="*/ 174607 h 5282095"/>
              <a:gd name="connsiteX29980" fmla="*/ 3656338 w 7714416"/>
              <a:gd name="connsiteY29980" fmla="*/ 171838 h 5282095"/>
              <a:gd name="connsiteX29981" fmla="*/ 3631364 w 7714416"/>
              <a:gd name="connsiteY29981" fmla="*/ 125585 h 5282095"/>
              <a:gd name="connsiteX29982" fmla="*/ 3668054 w 7714416"/>
              <a:gd name="connsiteY29982" fmla="*/ 123686 h 5282095"/>
              <a:gd name="connsiteX29983" fmla="*/ 2789172 w 7714416"/>
              <a:gd name="connsiteY29983" fmla="*/ 119803 h 5282095"/>
              <a:gd name="connsiteX29984" fmla="*/ 2791860 w 7714416"/>
              <a:gd name="connsiteY29984" fmla="*/ 131908 h 5282095"/>
              <a:gd name="connsiteX29985" fmla="*/ 2788367 w 7714416"/>
              <a:gd name="connsiteY29985" fmla="*/ 131663 h 5282095"/>
              <a:gd name="connsiteX29986" fmla="*/ 2784199 w 7714416"/>
              <a:gd name="connsiteY29986" fmla="*/ 129511 h 5282095"/>
              <a:gd name="connsiteX29987" fmla="*/ 2789172 w 7714416"/>
              <a:gd name="connsiteY29987" fmla="*/ 119803 h 5282095"/>
              <a:gd name="connsiteX29988" fmla="*/ 3258219 w 7714416"/>
              <a:gd name="connsiteY29988" fmla="*/ 115849 h 5282095"/>
              <a:gd name="connsiteX29989" fmla="*/ 3272269 w 7714416"/>
              <a:gd name="connsiteY29989" fmla="*/ 116538 h 5282095"/>
              <a:gd name="connsiteX29990" fmla="*/ 3278066 w 7714416"/>
              <a:gd name="connsiteY29990" fmla="*/ 122575 h 5282095"/>
              <a:gd name="connsiteX29991" fmla="*/ 3260116 w 7714416"/>
              <a:gd name="connsiteY29991" fmla="*/ 128690 h 5282095"/>
              <a:gd name="connsiteX29992" fmla="*/ 3253676 w 7714416"/>
              <a:gd name="connsiteY29992" fmla="*/ 126160 h 5282095"/>
              <a:gd name="connsiteX29993" fmla="*/ 3258219 w 7714416"/>
              <a:gd name="connsiteY29993" fmla="*/ 115849 h 5282095"/>
              <a:gd name="connsiteX29994" fmla="*/ 3046629 w 7714416"/>
              <a:gd name="connsiteY29994" fmla="*/ 110818 h 5282095"/>
              <a:gd name="connsiteX29995" fmla="*/ 3051934 w 7714416"/>
              <a:gd name="connsiteY29995" fmla="*/ 113160 h 5282095"/>
              <a:gd name="connsiteX29996" fmla="*/ 3054249 w 7714416"/>
              <a:gd name="connsiteY29996" fmla="*/ 117804 h 5282095"/>
              <a:gd name="connsiteX29997" fmla="*/ 3040636 w 7714416"/>
              <a:gd name="connsiteY29997" fmla="*/ 119906 h 5282095"/>
              <a:gd name="connsiteX29998" fmla="*/ 3041617 w 7714416"/>
              <a:gd name="connsiteY29998" fmla="*/ 112925 h 5282095"/>
              <a:gd name="connsiteX29999" fmla="*/ 3046629 w 7714416"/>
              <a:gd name="connsiteY29999" fmla="*/ 110818 h 5282095"/>
              <a:gd name="connsiteX30000" fmla="*/ 2539872 w 7714416"/>
              <a:gd name="connsiteY30000" fmla="*/ 104984 h 5282095"/>
              <a:gd name="connsiteX30001" fmla="*/ 2533895 w 7714416"/>
              <a:gd name="connsiteY30001" fmla="*/ 141678 h 5282095"/>
              <a:gd name="connsiteX30002" fmla="*/ 2539872 w 7714416"/>
              <a:gd name="connsiteY30002" fmla="*/ 104984 h 5282095"/>
              <a:gd name="connsiteX30003" fmla="*/ 2715555 w 7714416"/>
              <a:gd name="connsiteY30003" fmla="*/ 95708 h 5282095"/>
              <a:gd name="connsiteX30004" fmla="*/ 2721434 w 7714416"/>
              <a:gd name="connsiteY30004" fmla="*/ 95903 h 5282095"/>
              <a:gd name="connsiteX30005" fmla="*/ 2725728 w 7714416"/>
              <a:gd name="connsiteY30005" fmla="*/ 123043 h 5282095"/>
              <a:gd name="connsiteX30006" fmla="*/ 2720402 w 7714416"/>
              <a:gd name="connsiteY30006" fmla="*/ 122997 h 5282095"/>
              <a:gd name="connsiteX30007" fmla="*/ 2712436 w 7714416"/>
              <a:gd name="connsiteY30007" fmla="*/ 120632 h 5282095"/>
              <a:gd name="connsiteX30008" fmla="*/ 2704209 w 7714416"/>
              <a:gd name="connsiteY30008" fmla="*/ 101522 h 5282095"/>
              <a:gd name="connsiteX30009" fmla="*/ 2715555 w 7714416"/>
              <a:gd name="connsiteY30009" fmla="*/ 95708 h 5282095"/>
              <a:gd name="connsiteX30010" fmla="*/ 2523155 w 7714416"/>
              <a:gd name="connsiteY30010" fmla="*/ 92110 h 5282095"/>
              <a:gd name="connsiteX30011" fmla="*/ 2515515 w 7714416"/>
              <a:gd name="connsiteY30011" fmla="*/ 105128 h 5282095"/>
              <a:gd name="connsiteX30012" fmla="*/ 2512720 w 7714416"/>
              <a:gd name="connsiteY30012" fmla="*/ 104494 h 5282095"/>
              <a:gd name="connsiteX30013" fmla="*/ 2504619 w 7714416"/>
              <a:gd name="connsiteY30013" fmla="*/ 92664 h 5282095"/>
              <a:gd name="connsiteX30014" fmla="*/ 2523155 w 7714416"/>
              <a:gd name="connsiteY30014" fmla="*/ 92110 h 5282095"/>
              <a:gd name="connsiteX30015" fmla="*/ 2818823 w 7714416"/>
              <a:gd name="connsiteY30015" fmla="*/ 87728 h 5282095"/>
              <a:gd name="connsiteX30016" fmla="*/ 2822090 w 7714416"/>
              <a:gd name="connsiteY30016" fmla="*/ 94353 h 5282095"/>
              <a:gd name="connsiteX30017" fmla="*/ 2815018 w 7714416"/>
              <a:gd name="connsiteY30017" fmla="*/ 94183 h 5282095"/>
              <a:gd name="connsiteX30018" fmla="*/ 2818823 w 7714416"/>
              <a:gd name="connsiteY30018" fmla="*/ 87728 h 5282095"/>
              <a:gd name="connsiteX30019" fmla="*/ 2485699 w 7714416"/>
              <a:gd name="connsiteY30019" fmla="*/ 86904 h 5282095"/>
              <a:gd name="connsiteX30020" fmla="*/ 2498457 w 7714416"/>
              <a:gd name="connsiteY30020" fmla="*/ 90207 h 5282095"/>
              <a:gd name="connsiteX30021" fmla="*/ 2492986 w 7714416"/>
              <a:gd name="connsiteY30021" fmla="*/ 108407 h 5282095"/>
              <a:gd name="connsiteX30022" fmla="*/ 2479526 w 7714416"/>
              <a:gd name="connsiteY30022" fmla="*/ 103305 h 5282095"/>
              <a:gd name="connsiteX30023" fmla="*/ 2479361 w 7714416"/>
              <a:gd name="connsiteY30023" fmla="*/ 88425 h 5282095"/>
              <a:gd name="connsiteX30024" fmla="*/ 2485699 w 7714416"/>
              <a:gd name="connsiteY30024" fmla="*/ 86904 h 5282095"/>
              <a:gd name="connsiteX30025" fmla="*/ 2885951 w 7714416"/>
              <a:gd name="connsiteY30025" fmla="*/ 85129 h 5282095"/>
              <a:gd name="connsiteX30026" fmla="*/ 2919457 w 7714416"/>
              <a:gd name="connsiteY30026" fmla="*/ 97328 h 5282095"/>
              <a:gd name="connsiteX30027" fmla="*/ 2930331 w 7714416"/>
              <a:gd name="connsiteY30027" fmla="*/ 120942 h 5282095"/>
              <a:gd name="connsiteX30028" fmla="*/ 2885951 w 7714416"/>
              <a:gd name="connsiteY30028" fmla="*/ 85129 h 5282095"/>
              <a:gd name="connsiteX30029" fmla="*/ 2881524 w 7714416"/>
              <a:gd name="connsiteY30029" fmla="*/ 75088 h 5282095"/>
              <a:gd name="connsiteX30030" fmla="*/ 2884366 w 7714416"/>
              <a:gd name="connsiteY30030" fmla="*/ 76654 h 5282095"/>
              <a:gd name="connsiteX30031" fmla="*/ 2886149 w 7714416"/>
              <a:gd name="connsiteY30031" fmla="*/ 78858 h 5282095"/>
              <a:gd name="connsiteX30032" fmla="*/ 2879953 w 7714416"/>
              <a:gd name="connsiteY30032" fmla="*/ 79842 h 5282095"/>
              <a:gd name="connsiteX30033" fmla="*/ 2879669 w 7714416"/>
              <a:gd name="connsiteY30033" fmla="*/ 77581 h 5282095"/>
              <a:gd name="connsiteX30034" fmla="*/ 2877894 w 7714416"/>
              <a:gd name="connsiteY30034" fmla="*/ 77565 h 5282095"/>
              <a:gd name="connsiteX30035" fmla="*/ 2879357 w 7714416"/>
              <a:gd name="connsiteY30035" fmla="*/ 75427 h 5282095"/>
              <a:gd name="connsiteX30036" fmla="*/ 2881132 w 7714416"/>
              <a:gd name="connsiteY30036" fmla="*/ 75443 h 5282095"/>
              <a:gd name="connsiteX30037" fmla="*/ 2881524 w 7714416"/>
              <a:gd name="connsiteY30037" fmla="*/ 75088 h 5282095"/>
              <a:gd name="connsiteX30038" fmla="*/ 2795933 w 7714416"/>
              <a:gd name="connsiteY30038" fmla="*/ 64689 h 5282095"/>
              <a:gd name="connsiteX30039" fmla="*/ 2786793 w 7714416"/>
              <a:gd name="connsiteY30039" fmla="*/ 95476 h 5282095"/>
              <a:gd name="connsiteX30040" fmla="*/ 2786805 w 7714416"/>
              <a:gd name="connsiteY30040" fmla="*/ 67763 h 5282095"/>
              <a:gd name="connsiteX30041" fmla="*/ 2795933 w 7714416"/>
              <a:gd name="connsiteY30041" fmla="*/ 64689 h 5282095"/>
              <a:gd name="connsiteX30042" fmla="*/ 2299557 w 7714416"/>
              <a:gd name="connsiteY30042" fmla="*/ 43352 h 5282095"/>
              <a:gd name="connsiteX30043" fmla="*/ 2303194 w 7714416"/>
              <a:gd name="connsiteY30043" fmla="*/ 51917 h 5282095"/>
              <a:gd name="connsiteX30044" fmla="*/ 2294318 w 7714416"/>
              <a:gd name="connsiteY30044" fmla="*/ 51839 h 5282095"/>
              <a:gd name="connsiteX30045" fmla="*/ 2289283 w 7714416"/>
              <a:gd name="connsiteY30045" fmla="*/ 47384 h 5282095"/>
              <a:gd name="connsiteX30046" fmla="*/ 2299557 w 7714416"/>
              <a:gd name="connsiteY30046" fmla="*/ 43352 h 5282095"/>
              <a:gd name="connsiteX30047" fmla="*/ 2905270 w 7714416"/>
              <a:gd name="connsiteY30047" fmla="*/ 39591 h 5282095"/>
              <a:gd name="connsiteX30048" fmla="*/ 2893670 w 7714416"/>
              <a:gd name="connsiteY30048" fmla="*/ 51892 h 5282095"/>
              <a:gd name="connsiteX30049" fmla="*/ 2891270 w 7714416"/>
              <a:gd name="connsiteY30049" fmla="*/ 47569 h 5282095"/>
              <a:gd name="connsiteX30050" fmla="*/ 2890379 w 7714416"/>
              <a:gd name="connsiteY30050" fmla="*/ 42040 h 5282095"/>
              <a:gd name="connsiteX30051" fmla="*/ 2905270 w 7714416"/>
              <a:gd name="connsiteY30051" fmla="*/ 39591 h 5282095"/>
              <a:gd name="connsiteX30052" fmla="*/ 2571613 w 7714416"/>
              <a:gd name="connsiteY30052" fmla="*/ 21948 h 5282095"/>
              <a:gd name="connsiteX30053" fmla="*/ 2586047 w 7714416"/>
              <a:gd name="connsiteY30053" fmla="*/ 26736 h 5282095"/>
              <a:gd name="connsiteX30054" fmla="*/ 2582548 w 7714416"/>
              <a:gd name="connsiteY30054" fmla="*/ 33158 h 5282095"/>
              <a:gd name="connsiteX30055" fmla="*/ 2571613 w 7714416"/>
              <a:gd name="connsiteY30055" fmla="*/ 21948 h 5282095"/>
              <a:gd name="connsiteX30056" fmla="*/ 3125651 w 7714416"/>
              <a:gd name="connsiteY30056" fmla="*/ 11815 h 5282095"/>
              <a:gd name="connsiteX30057" fmla="*/ 3126236 w 7714416"/>
              <a:gd name="connsiteY30057" fmla="*/ 26232 h 5282095"/>
              <a:gd name="connsiteX30058" fmla="*/ 3123574 w 7714416"/>
              <a:gd name="connsiteY30058" fmla="*/ 17353 h 5282095"/>
              <a:gd name="connsiteX30059" fmla="*/ 3125651 w 7714416"/>
              <a:gd name="connsiteY30059" fmla="*/ 11815 h 5282095"/>
              <a:gd name="connsiteX30060" fmla="*/ 3310561 w 7714416"/>
              <a:gd name="connsiteY30060" fmla="*/ 3515 h 5282095"/>
              <a:gd name="connsiteX30061" fmla="*/ 3310503 w 7714416"/>
              <a:gd name="connsiteY30061" fmla="*/ 12585 h 5282095"/>
              <a:gd name="connsiteX30062" fmla="*/ 3306285 w 7714416"/>
              <a:gd name="connsiteY30062" fmla="*/ 12835 h 5282095"/>
              <a:gd name="connsiteX30063" fmla="*/ 3300166 w 7714416"/>
              <a:gd name="connsiteY30063" fmla="*/ 5789 h 5282095"/>
              <a:gd name="connsiteX30064" fmla="*/ 3310561 w 7714416"/>
              <a:gd name="connsiteY30064" fmla="*/ 3515 h 5282095"/>
              <a:gd name="connsiteX30065" fmla="*/ 2360268 w 7714416"/>
              <a:gd name="connsiteY30065" fmla="*/ 509 h 5282095"/>
              <a:gd name="connsiteX30066" fmla="*/ 2373532 w 7714416"/>
              <a:gd name="connsiteY30066" fmla="*/ 3028 h 5282095"/>
              <a:gd name="connsiteX30067" fmla="*/ 2371422 w 7714416"/>
              <a:gd name="connsiteY30067" fmla="*/ 12008 h 5282095"/>
              <a:gd name="connsiteX30068" fmla="*/ 2358017 w 7714416"/>
              <a:gd name="connsiteY30068" fmla="*/ 6691 h 5282095"/>
              <a:gd name="connsiteX30069" fmla="*/ 2360268 w 7714416"/>
              <a:gd name="connsiteY30069" fmla="*/ 509 h 528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</a:cxnLst>
            <a:rect l="l" t="t" r="r" b="b"/>
            <a:pathLst>
              <a:path w="7714416" h="5282095">
                <a:moveTo>
                  <a:pt x="5194962" y="5263049"/>
                </a:moveTo>
                <a:cubicBezTo>
                  <a:pt x="5198686" y="5262938"/>
                  <a:pt x="5200691" y="5265603"/>
                  <a:pt x="5202696" y="5268270"/>
                </a:cubicBezTo>
                <a:cubicBezTo>
                  <a:pt x="5199546" y="5269936"/>
                  <a:pt x="5199259" y="5272490"/>
                  <a:pt x="5193243" y="5273157"/>
                </a:cubicBezTo>
                <a:cubicBezTo>
                  <a:pt x="5192098" y="5270047"/>
                  <a:pt x="5192098" y="5267492"/>
                  <a:pt x="5190952" y="5264381"/>
                </a:cubicBezTo>
                <a:cubicBezTo>
                  <a:pt x="5192384" y="5263604"/>
                  <a:pt x="5193816" y="5263160"/>
                  <a:pt x="5194962" y="5263049"/>
                </a:cubicBezTo>
                <a:close/>
                <a:moveTo>
                  <a:pt x="3887252" y="5263048"/>
                </a:moveTo>
                <a:cubicBezTo>
                  <a:pt x="3890690" y="5262937"/>
                  <a:pt x="3892982" y="5265603"/>
                  <a:pt x="3894987" y="5268270"/>
                </a:cubicBezTo>
                <a:cubicBezTo>
                  <a:pt x="3891836" y="5269935"/>
                  <a:pt x="3891549" y="5272491"/>
                  <a:pt x="3885534" y="5273157"/>
                </a:cubicBezTo>
                <a:cubicBezTo>
                  <a:pt x="3884388" y="5270047"/>
                  <a:pt x="3884389" y="5267492"/>
                  <a:pt x="3883242" y="5264381"/>
                </a:cubicBezTo>
                <a:cubicBezTo>
                  <a:pt x="3884674" y="5263604"/>
                  <a:pt x="3886106" y="5263160"/>
                  <a:pt x="3887252" y="5263048"/>
                </a:cubicBezTo>
                <a:close/>
                <a:moveTo>
                  <a:pt x="2820459" y="5263048"/>
                </a:moveTo>
                <a:cubicBezTo>
                  <a:pt x="2823897" y="5262937"/>
                  <a:pt x="2826188" y="5265604"/>
                  <a:pt x="2828194" y="5268270"/>
                </a:cubicBezTo>
                <a:cubicBezTo>
                  <a:pt x="2825043" y="5269936"/>
                  <a:pt x="2824756" y="5272491"/>
                  <a:pt x="2818741" y="5273157"/>
                </a:cubicBezTo>
                <a:cubicBezTo>
                  <a:pt x="2817595" y="5270047"/>
                  <a:pt x="2817596" y="5267492"/>
                  <a:pt x="2816450" y="5264381"/>
                </a:cubicBezTo>
                <a:cubicBezTo>
                  <a:pt x="2817882" y="5263604"/>
                  <a:pt x="2819313" y="5263160"/>
                  <a:pt x="2820459" y="5263048"/>
                </a:cubicBezTo>
                <a:close/>
                <a:moveTo>
                  <a:pt x="3585892" y="5229723"/>
                </a:moveTo>
                <a:cubicBezTo>
                  <a:pt x="3626570" y="5231279"/>
                  <a:pt x="3669826" y="5254606"/>
                  <a:pt x="3591908" y="5281488"/>
                </a:cubicBezTo>
                <a:cubicBezTo>
                  <a:pt x="3583028" y="5275712"/>
                  <a:pt x="3569563" y="5284376"/>
                  <a:pt x="3560683" y="5281488"/>
                </a:cubicBezTo>
                <a:cubicBezTo>
                  <a:pt x="3527453" y="5249052"/>
                  <a:pt x="3543496" y="5233945"/>
                  <a:pt x="3568991" y="5230501"/>
                </a:cubicBezTo>
                <a:cubicBezTo>
                  <a:pt x="3574433" y="5229723"/>
                  <a:pt x="3580163" y="5229501"/>
                  <a:pt x="3585892" y="5229723"/>
                </a:cubicBezTo>
                <a:close/>
                <a:moveTo>
                  <a:pt x="4057698" y="5203508"/>
                </a:moveTo>
                <a:cubicBezTo>
                  <a:pt x="4058272" y="5207285"/>
                  <a:pt x="4060850" y="5209506"/>
                  <a:pt x="4062568" y="5211395"/>
                </a:cubicBezTo>
                <a:cubicBezTo>
                  <a:pt x="4064001" y="5213284"/>
                  <a:pt x="4064574" y="5214838"/>
                  <a:pt x="4061709" y="5217282"/>
                </a:cubicBezTo>
                <a:cubicBezTo>
                  <a:pt x="4054834" y="5216393"/>
                  <a:pt x="4052542" y="5207396"/>
                  <a:pt x="4057698" y="5203508"/>
                </a:cubicBezTo>
                <a:close/>
                <a:moveTo>
                  <a:pt x="5365408" y="5203508"/>
                </a:moveTo>
                <a:cubicBezTo>
                  <a:pt x="5366268" y="5207285"/>
                  <a:pt x="5368560" y="5209507"/>
                  <a:pt x="5370278" y="5211395"/>
                </a:cubicBezTo>
                <a:cubicBezTo>
                  <a:pt x="5371710" y="5213284"/>
                  <a:pt x="5372570" y="5214838"/>
                  <a:pt x="5369705" y="5217282"/>
                </a:cubicBezTo>
                <a:cubicBezTo>
                  <a:pt x="5362830" y="5216393"/>
                  <a:pt x="5360252" y="5207396"/>
                  <a:pt x="5365408" y="5203508"/>
                </a:cubicBezTo>
                <a:close/>
                <a:moveTo>
                  <a:pt x="2990905" y="5203508"/>
                </a:moveTo>
                <a:cubicBezTo>
                  <a:pt x="2991478" y="5207285"/>
                  <a:pt x="2994057" y="5209507"/>
                  <a:pt x="2995775" y="5211395"/>
                </a:cubicBezTo>
                <a:cubicBezTo>
                  <a:pt x="2997208" y="5213283"/>
                  <a:pt x="2997781" y="5214839"/>
                  <a:pt x="2994916" y="5217282"/>
                </a:cubicBezTo>
                <a:cubicBezTo>
                  <a:pt x="2988042" y="5216394"/>
                  <a:pt x="2985749" y="5207396"/>
                  <a:pt x="2990905" y="5203508"/>
                </a:cubicBezTo>
                <a:close/>
                <a:moveTo>
                  <a:pt x="4815683" y="5200065"/>
                </a:moveTo>
                <a:cubicBezTo>
                  <a:pt x="4836309" y="5202286"/>
                  <a:pt x="4845189" y="5221059"/>
                  <a:pt x="4851778" y="5238277"/>
                </a:cubicBezTo>
                <a:cubicBezTo>
                  <a:pt x="4838600" y="5241055"/>
                  <a:pt x="4830006" y="5246830"/>
                  <a:pt x="4816829" y="5249608"/>
                </a:cubicBezTo>
                <a:cubicBezTo>
                  <a:pt x="4790761" y="5243942"/>
                  <a:pt x="4790474" y="5218282"/>
                  <a:pt x="4790474" y="5203952"/>
                </a:cubicBezTo>
                <a:cubicBezTo>
                  <a:pt x="4800501" y="5200398"/>
                  <a:pt x="4808808" y="5199287"/>
                  <a:pt x="4815683" y="5200065"/>
                </a:cubicBezTo>
                <a:close/>
                <a:moveTo>
                  <a:pt x="2383888" y="5197287"/>
                </a:moveTo>
                <a:cubicBezTo>
                  <a:pt x="2385033" y="5200508"/>
                  <a:pt x="2386179" y="5203731"/>
                  <a:pt x="2387325" y="5206840"/>
                </a:cubicBezTo>
                <a:cubicBezTo>
                  <a:pt x="2383601" y="5206952"/>
                  <a:pt x="2380450" y="5208618"/>
                  <a:pt x="2378158" y="5209173"/>
                </a:cubicBezTo>
                <a:cubicBezTo>
                  <a:pt x="2373862" y="5207729"/>
                  <a:pt x="2371857" y="5205618"/>
                  <a:pt x="2371284" y="5201397"/>
                </a:cubicBezTo>
                <a:cubicBezTo>
                  <a:pt x="2377872" y="5198065"/>
                  <a:pt x="2375295" y="5198621"/>
                  <a:pt x="2383888" y="5197287"/>
                </a:cubicBezTo>
                <a:close/>
                <a:moveTo>
                  <a:pt x="4758390" y="5197287"/>
                </a:moveTo>
                <a:cubicBezTo>
                  <a:pt x="4759536" y="5200508"/>
                  <a:pt x="4760682" y="5203730"/>
                  <a:pt x="4761828" y="5206841"/>
                </a:cubicBezTo>
                <a:cubicBezTo>
                  <a:pt x="4758104" y="5206952"/>
                  <a:pt x="4754953" y="5208618"/>
                  <a:pt x="4752661" y="5209173"/>
                </a:cubicBezTo>
                <a:cubicBezTo>
                  <a:pt x="4748364" y="5207730"/>
                  <a:pt x="4746359" y="5205619"/>
                  <a:pt x="4746072" y="5201397"/>
                </a:cubicBezTo>
                <a:cubicBezTo>
                  <a:pt x="4752374" y="5198065"/>
                  <a:pt x="4750083" y="5198621"/>
                  <a:pt x="4758390" y="5197287"/>
                </a:cubicBezTo>
                <a:close/>
                <a:moveTo>
                  <a:pt x="3450681" y="5197287"/>
                </a:moveTo>
                <a:cubicBezTo>
                  <a:pt x="3451827" y="5200508"/>
                  <a:pt x="3452972" y="5203730"/>
                  <a:pt x="3454118" y="5206841"/>
                </a:cubicBezTo>
                <a:cubicBezTo>
                  <a:pt x="3450395" y="5206952"/>
                  <a:pt x="3447243" y="5208618"/>
                  <a:pt x="3444951" y="5209173"/>
                </a:cubicBezTo>
                <a:cubicBezTo>
                  <a:pt x="3440656" y="5207730"/>
                  <a:pt x="3438650" y="5205619"/>
                  <a:pt x="3438364" y="5201397"/>
                </a:cubicBezTo>
                <a:cubicBezTo>
                  <a:pt x="3444665" y="5198065"/>
                  <a:pt x="3442374" y="5198621"/>
                  <a:pt x="3450681" y="5197287"/>
                </a:cubicBezTo>
                <a:close/>
                <a:moveTo>
                  <a:pt x="4646956" y="5145745"/>
                </a:moveTo>
                <a:cubicBezTo>
                  <a:pt x="4682764" y="5157075"/>
                  <a:pt x="4687061" y="5188401"/>
                  <a:pt x="4651253" y="5194066"/>
                </a:cubicBezTo>
                <a:cubicBezTo>
                  <a:pt x="4628908" y="5182735"/>
                  <a:pt x="4624325" y="5165629"/>
                  <a:pt x="4646956" y="5145745"/>
                </a:cubicBezTo>
                <a:close/>
                <a:moveTo>
                  <a:pt x="3901862" y="5139191"/>
                </a:moveTo>
                <a:cubicBezTo>
                  <a:pt x="3903867" y="5138858"/>
                  <a:pt x="3906159" y="5139080"/>
                  <a:pt x="3908737" y="5139968"/>
                </a:cubicBezTo>
                <a:cubicBezTo>
                  <a:pt x="3915612" y="5149300"/>
                  <a:pt x="3902435" y="5155632"/>
                  <a:pt x="3892982" y="5154076"/>
                </a:cubicBezTo>
                <a:cubicBezTo>
                  <a:pt x="3890117" y="5153521"/>
                  <a:pt x="3887252" y="5152188"/>
                  <a:pt x="3886106" y="5149744"/>
                </a:cubicBezTo>
                <a:cubicBezTo>
                  <a:pt x="3890977" y="5145300"/>
                  <a:pt x="3895560" y="5140080"/>
                  <a:pt x="3901862" y="5139191"/>
                </a:cubicBezTo>
                <a:close/>
                <a:moveTo>
                  <a:pt x="2835070" y="5139191"/>
                </a:moveTo>
                <a:cubicBezTo>
                  <a:pt x="2837074" y="5138858"/>
                  <a:pt x="2839366" y="5139080"/>
                  <a:pt x="2841944" y="5139968"/>
                </a:cubicBezTo>
                <a:cubicBezTo>
                  <a:pt x="2848819" y="5149299"/>
                  <a:pt x="2835642" y="5155631"/>
                  <a:pt x="2826189" y="5154076"/>
                </a:cubicBezTo>
                <a:cubicBezTo>
                  <a:pt x="2823325" y="5153521"/>
                  <a:pt x="2820459" y="5152187"/>
                  <a:pt x="2819314" y="5149744"/>
                </a:cubicBezTo>
                <a:cubicBezTo>
                  <a:pt x="2824184" y="5145301"/>
                  <a:pt x="2828767" y="5140079"/>
                  <a:pt x="2835070" y="5139191"/>
                </a:cubicBezTo>
                <a:close/>
                <a:moveTo>
                  <a:pt x="5209572" y="5139191"/>
                </a:moveTo>
                <a:cubicBezTo>
                  <a:pt x="5211577" y="5138858"/>
                  <a:pt x="5213869" y="5139080"/>
                  <a:pt x="5216447" y="5139967"/>
                </a:cubicBezTo>
                <a:cubicBezTo>
                  <a:pt x="5223322" y="5149300"/>
                  <a:pt x="5210145" y="5155631"/>
                  <a:pt x="5200979" y="5154076"/>
                </a:cubicBezTo>
                <a:cubicBezTo>
                  <a:pt x="5197827" y="5153521"/>
                  <a:pt x="5195248" y="5152188"/>
                  <a:pt x="5193816" y="5149744"/>
                </a:cubicBezTo>
                <a:cubicBezTo>
                  <a:pt x="5198686" y="5145300"/>
                  <a:pt x="5203270" y="5140080"/>
                  <a:pt x="5209572" y="5139191"/>
                </a:cubicBezTo>
                <a:close/>
                <a:moveTo>
                  <a:pt x="4275698" y="5118529"/>
                </a:moveTo>
                <a:cubicBezTo>
                  <a:pt x="4277130" y="5118974"/>
                  <a:pt x="4278276" y="5120418"/>
                  <a:pt x="4279136" y="5122084"/>
                </a:cubicBezTo>
                <a:cubicBezTo>
                  <a:pt x="4280281" y="5123750"/>
                  <a:pt x="4280854" y="5125639"/>
                  <a:pt x="4281427" y="5127194"/>
                </a:cubicBezTo>
                <a:cubicBezTo>
                  <a:pt x="4278849" y="5130416"/>
                  <a:pt x="4273406" y="5132637"/>
                  <a:pt x="4267390" y="5133414"/>
                </a:cubicBezTo>
                <a:cubicBezTo>
                  <a:pt x="4265099" y="5127194"/>
                  <a:pt x="4268536" y="5122862"/>
                  <a:pt x="4275698" y="5118529"/>
                </a:cubicBezTo>
                <a:close/>
                <a:moveTo>
                  <a:pt x="3208906" y="5118529"/>
                </a:moveTo>
                <a:cubicBezTo>
                  <a:pt x="3210337" y="5118974"/>
                  <a:pt x="3211484" y="5120418"/>
                  <a:pt x="3212343" y="5122084"/>
                </a:cubicBezTo>
                <a:cubicBezTo>
                  <a:pt x="3213203" y="5123751"/>
                  <a:pt x="3214061" y="5125639"/>
                  <a:pt x="3214634" y="5127194"/>
                </a:cubicBezTo>
                <a:cubicBezTo>
                  <a:pt x="3212057" y="5130415"/>
                  <a:pt x="3206613" y="5132637"/>
                  <a:pt x="3200597" y="5133415"/>
                </a:cubicBezTo>
                <a:cubicBezTo>
                  <a:pt x="3198306" y="5127194"/>
                  <a:pt x="3201743" y="5122862"/>
                  <a:pt x="3208906" y="5118529"/>
                </a:cubicBezTo>
                <a:close/>
                <a:moveTo>
                  <a:pt x="5583408" y="5118528"/>
                </a:moveTo>
                <a:cubicBezTo>
                  <a:pt x="5584840" y="5118974"/>
                  <a:pt x="5585986" y="5120418"/>
                  <a:pt x="5586845" y="5122084"/>
                </a:cubicBezTo>
                <a:cubicBezTo>
                  <a:pt x="5587991" y="5123751"/>
                  <a:pt x="5588564" y="5125639"/>
                  <a:pt x="5589137" y="5127194"/>
                </a:cubicBezTo>
                <a:cubicBezTo>
                  <a:pt x="5586559" y="5130415"/>
                  <a:pt x="5581402" y="5132637"/>
                  <a:pt x="5575387" y="5133415"/>
                </a:cubicBezTo>
                <a:cubicBezTo>
                  <a:pt x="5573095" y="5127193"/>
                  <a:pt x="5576246" y="5122862"/>
                  <a:pt x="5583408" y="5118528"/>
                </a:cubicBezTo>
                <a:close/>
                <a:moveTo>
                  <a:pt x="3666388" y="5116863"/>
                </a:moveTo>
                <a:cubicBezTo>
                  <a:pt x="3669539" y="5125528"/>
                  <a:pt x="3665529" y="5127638"/>
                  <a:pt x="3661232" y="5126860"/>
                </a:cubicBezTo>
                <a:cubicBezTo>
                  <a:pt x="3654070" y="5125639"/>
                  <a:pt x="3645476" y="5116641"/>
                  <a:pt x="3666388" y="5116863"/>
                </a:cubicBezTo>
                <a:close/>
                <a:moveTo>
                  <a:pt x="4974098" y="5116863"/>
                </a:moveTo>
                <a:cubicBezTo>
                  <a:pt x="4977249" y="5125527"/>
                  <a:pt x="4973238" y="5127638"/>
                  <a:pt x="4968942" y="5126861"/>
                </a:cubicBezTo>
                <a:cubicBezTo>
                  <a:pt x="4961780" y="5125639"/>
                  <a:pt x="4953186" y="5116642"/>
                  <a:pt x="4974098" y="5116863"/>
                </a:cubicBezTo>
                <a:close/>
                <a:moveTo>
                  <a:pt x="2599595" y="5116863"/>
                </a:moveTo>
                <a:cubicBezTo>
                  <a:pt x="2602746" y="5125528"/>
                  <a:pt x="2598736" y="5127638"/>
                  <a:pt x="2594439" y="5126860"/>
                </a:cubicBezTo>
                <a:cubicBezTo>
                  <a:pt x="2587277" y="5125639"/>
                  <a:pt x="2578683" y="5116641"/>
                  <a:pt x="2599595" y="5116863"/>
                </a:cubicBezTo>
                <a:close/>
                <a:moveTo>
                  <a:pt x="2655742" y="5111643"/>
                </a:moveTo>
                <a:cubicBezTo>
                  <a:pt x="2660613" y="5112642"/>
                  <a:pt x="2662904" y="5115863"/>
                  <a:pt x="2664050" y="5119641"/>
                </a:cubicBezTo>
                <a:cubicBezTo>
                  <a:pt x="2665482" y="5123417"/>
                  <a:pt x="2665196" y="5127749"/>
                  <a:pt x="2664623" y="5130859"/>
                </a:cubicBezTo>
                <a:cubicBezTo>
                  <a:pt x="2660039" y="5131971"/>
                  <a:pt x="2659754" y="5134637"/>
                  <a:pt x="2655169" y="5135748"/>
                </a:cubicBezTo>
                <a:cubicBezTo>
                  <a:pt x="2651445" y="5126416"/>
                  <a:pt x="2646289" y="5116530"/>
                  <a:pt x="2655742" y="5111643"/>
                </a:cubicBezTo>
                <a:close/>
                <a:moveTo>
                  <a:pt x="5030245" y="5111643"/>
                </a:moveTo>
                <a:cubicBezTo>
                  <a:pt x="5035115" y="5112642"/>
                  <a:pt x="5037693" y="5115864"/>
                  <a:pt x="5038839" y="5119641"/>
                </a:cubicBezTo>
                <a:cubicBezTo>
                  <a:pt x="5039985" y="5123417"/>
                  <a:pt x="5039698" y="5127749"/>
                  <a:pt x="5039126" y="5130859"/>
                </a:cubicBezTo>
                <a:cubicBezTo>
                  <a:pt x="5034542" y="5131970"/>
                  <a:pt x="5034256" y="5134637"/>
                  <a:pt x="5029672" y="5135748"/>
                </a:cubicBezTo>
                <a:cubicBezTo>
                  <a:pt x="5025948" y="5126416"/>
                  <a:pt x="5020792" y="5116530"/>
                  <a:pt x="5030245" y="5111643"/>
                </a:cubicBezTo>
                <a:close/>
                <a:moveTo>
                  <a:pt x="3722536" y="5111642"/>
                </a:moveTo>
                <a:cubicBezTo>
                  <a:pt x="3727406" y="5112642"/>
                  <a:pt x="3729697" y="5115864"/>
                  <a:pt x="3730843" y="5119640"/>
                </a:cubicBezTo>
                <a:cubicBezTo>
                  <a:pt x="3732275" y="5123416"/>
                  <a:pt x="3731989" y="5127749"/>
                  <a:pt x="3731416" y="5130860"/>
                </a:cubicBezTo>
                <a:cubicBezTo>
                  <a:pt x="3726832" y="5131970"/>
                  <a:pt x="3726546" y="5134637"/>
                  <a:pt x="3721962" y="5135747"/>
                </a:cubicBezTo>
                <a:cubicBezTo>
                  <a:pt x="3718238" y="5126417"/>
                  <a:pt x="3713082" y="5116530"/>
                  <a:pt x="3722536" y="5111642"/>
                </a:cubicBezTo>
                <a:close/>
                <a:moveTo>
                  <a:pt x="4115851" y="5090870"/>
                </a:moveTo>
                <a:cubicBezTo>
                  <a:pt x="4118429" y="5092758"/>
                  <a:pt x="4117570" y="5095313"/>
                  <a:pt x="4116710" y="5097868"/>
                </a:cubicBezTo>
                <a:cubicBezTo>
                  <a:pt x="4115851" y="5099979"/>
                  <a:pt x="4114418" y="5100979"/>
                  <a:pt x="4112700" y="5101201"/>
                </a:cubicBezTo>
                <a:cubicBezTo>
                  <a:pt x="4110981" y="5101534"/>
                  <a:pt x="4108976" y="5101089"/>
                  <a:pt x="4106970" y="5100311"/>
                </a:cubicBezTo>
                <a:cubicBezTo>
                  <a:pt x="4102674" y="5098979"/>
                  <a:pt x="4103533" y="5096424"/>
                  <a:pt x="4103533" y="5096424"/>
                </a:cubicBezTo>
                <a:cubicBezTo>
                  <a:pt x="4105538" y="5092314"/>
                  <a:pt x="4110122" y="5089981"/>
                  <a:pt x="4115851" y="5090870"/>
                </a:cubicBezTo>
                <a:close/>
                <a:moveTo>
                  <a:pt x="3049059" y="5090870"/>
                </a:moveTo>
                <a:cubicBezTo>
                  <a:pt x="3051636" y="5092757"/>
                  <a:pt x="3050777" y="5095313"/>
                  <a:pt x="3049918" y="5097868"/>
                </a:cubicBezTo>
                <a:cubicBezTo>
                  <a:pt x="3049058" y="5099979"/>
                  <a:pt x="3047626" y="5100979"/>
                  <a:pt x="3045908" y="5101200"/>
                </a:cubicBezTo>
                <a:cubicBezTo>
                  <a:pt x="3044189" y="5101534"/>
                  <a:pt x="3042183" y="5100979"/>
                  <a:pt x="3040177" y="5100312"/>
                </a:cubicBezTo>
                <a:cubicBezTo>
                  <a:pt x="3035880" y="5098978"/>
                  <a:pt x="3036740" y="5096424"/>
                  <a:pt x="3036740" y="5096424"/>
                </a:cubicBezTo>
                <a:cubicBezTo>
                  <a:pt x="3038746" y="5092314"/>
                  <a:pt x="3043329" y="5089981"/>
                  <a:pt x="3049059" y="5090870"/>
                </a:cubicBezTo>
                <a:close/>
                <a:moveTo>
                  <a:pt x="5423847" y="5090870"/>
                </a:moveTo>
                <a:cubicBezTo>
                  <a:pt x="5426139" y="5092758"/>
                  <a:pt x="5425566" y="5095313"/>
                  <a:pt x="5424706" y="5097868"/>
                </a:cubicBezTo>
                <a:cubicBezTo>
                  <a:pt x="5423560" y="5099979"/>
                  <a:pt x="5422128" y="5100979"/>
                  <a:pt x="5420410" y="5101200"/>
                </a:cubicBezTo>
                <a:cubicBezTo>
                  <a:pt x="5418691" y="5101533"/>
                  <a:pt x="5416686" y="5100979"/>
                  <a:pt x="5414680" y="5100312"/>
                </a:cubicBezTo>
                <a:cubicBezTo>
                  <a:pt x="5410383" y="5098979"/>
                  <a:pt x="5411242" y="5096424"/>
                  <a:pt x="5411242" y="5096424"/>
                </a:cubicBezTo>
                <a:cubicBezTo>
                  <a:pt x="5413249" y="5092314"/>
                  <a:pt x="5417831" y="5089981"/>
                  <a:pt x="5423847" y="5090870"/>
                </a:cubicBezTo>
                <a:close/>
                <a:moveTo>
                  <a:pt x="5589424" y="5087982"/>
                </a:moveTo>
                <a:cubicBezTo>
                  <a:pt x="5588278" y="5089425"/>
                  <a:pt x="5588278" y="5089425"/>
                  <a:pt x="5590283" y="5090093"/>
                </a:cubicBezTo>
                <a:cubicBezTo>
                  <a:pt x="5590283" y="5090093"/>
                  <a:pt x="5590283" y="5090093"/>
                  <a:pt x="5592002" y="5089648"/>
                </a:cubicBezTo>
                <a:cubicBezTo>
                  <a:pt x="5592288" y="5090758"/>
                  <a:pt x="5590856" y="5091092"/>
                  <a:pt x="5591141" y="5092092"/>
                </a:cubicBezTo>
                <a:cubicBezTo>
                  <a:pt x="5591141" y="5092092"/>
                  <a:pt x="5589424" y="5092536"/>
                  <a:pt x="5589424" y="5092536"/>
                </a:cubicBezTo>
                <a:cubicBezTo>
                  <a:pt x="5589710" y="5093092"/>
                  <a:pt x="5589710" y="5093092"/>
                  <a:pt x="5589137" y="5092980"/>
                </a:cubicBezTo>
                <a:cubicBezTo>
                  <a:pt x="5588850" y="5092758"/>
                  <a:pt x="5587705" y="5092314"/>
                  <a:pt x="5585986" y="5092203"/>
                </a:cubicBezTo>
                <a:cubicBezTo>
                  <a:pt x="5583980" y="5091537"/>
                  <a:pt x="5582548" y="5091980"/>
                  <a:pt x="5583694" y="5090537"/>
                </a:cubicBezTo>
                <a:cubicBezTo>
                  <a:pt x="5584840" y="5089093"/>
                  <a:pt x="5584840" y="5089093"/>
                  <a:pt x="5589424" y="5087982"/>
                </a:cubicBezTo>
                <a:close/>
                <a:moveTo>
                  <a:pt x="4281714" y="5087981"/>
                </a:moveTo>
                <a:cubicBezTo>
                  <a:pt x="4280568" y="5089425"/>
                  <a:pt x="4280568" y="5089425"/>
                  <a:pt x="4282573" y="5090093"/>
                </a:cubicBezTo>
                <a:cubicBezTo>
                  <a:pt x="4282573" y="5090093"/>
                  <a:pt x="4282573" y="5090093"/>
                  <a:pt x="4284292" y="5089648"/>
                </a:cubicBezTo>
                <a:cubicBezTo>
                  <a:pt x="4284578" y="5090759"/>
                  <a:pt x="4282860" y="5091092"/>
                  <a:pt x="4283432" y="5092092"/>
                </a:cubicBezTo>
                <a:cubicBezTo>
                  <a:pt x="4283432" y="5092092"/>
                  <a:pt x="4281714" y="5092536"/>
                  <a:pt x="4281714" y="5092536"/>
                </a:cubicBezTo>
                <a:cubicBezTo>
                  <a:pt x="4282000" y="5093091"/>
                  <a:pt x="4282000" y="5093091"/>
                  <a:pt x="4281427" y="5092980"/>
                </a:cubicBezTo>
                <a:cubicBezTo>
                  <a:pt x="4281141" y="5092758"/>
                  <a:pt x="4279995" y="5092314"/>
                  <a:pt x="4278276" y="5092203"/>
                </a:cubicBezTo>
                <a:cubicBezTo>
                  <a:pt x="4276271" y="5091537"/>
                  <a:pt x="4274552" y="5091980"/>
                  <a:pt x="4275698" y="5090536"/>
                </a:cubicBezTo>
                <a:cubicBezTo>
                  <a:pt x="4277130" y="5089093"/>
                  <a:pt x="4277130" y="5089093"/>
                  <a:pt x="4281714" y="5087981"/>
                </a:cubicBezTo>
                <a:close/>
                <a:moveTo>
                  <a:pt x="3214921" y="5087981"/>
                </a:moveTo>
                <a:cubicBezTo>
                  <a:pt x="3213775" y="5089426"/>
                  <a:pt x="3213775" y="5089426"/>
                  <a:pt x="3215780" y="5090092"/>
                </a:cubicBezTo>
                <a:cubicBezTo>
                  <a:pt x="3215780" y="5090092"/>
                  <a:pt x="3215780" y="5090092"/>
                  <a:pt x="3217499" y="5089648"/>
                </a:cubicBezTo>
                <a:cubicBezTo>
                  <a:pt x="3217786" y="5090759"/>
                  <a:pt x="3216066" y="5091092"/>
                  <a:pt x="3216640" y="5092092"/>
                </a:cubicBezTo>
                <a:cubicBezTo>
                  <a:pt x="3216640" y="5092092"/>
                  <a:pt x="3214921" y="5092536"/>
                  <a:pt x="3214921" y="5092536"/>
                </a:cubicBezTo>
                <a:cubicBezTo>
                  <a:pt x="3215207" y="5093091"/>
                  <a:pt x="3215207" y="5093091"/>
                  <a:pt x="3214634" y="5092980"/>
                </a:cubicBezTo>
                <a:cubicBezTo>
                  <a:pt x="3214348" y="5092757"/>
                  <a:pt x="3213202" y="5092314"/>
                  <a:pt x="3211483" y="5092203"/>
                </a:cubicBezTo>
                <a:cubicBezTo>
                  <a:pt x="3209478" y="5091536"/>
                  <a:pt x="3207759" y="5091981"/>
                  <a:pt x="3208906" y="5090536"/>
                </a:cubicBezTo>
                <a:cubicBezTo>
                  <a:pt x="3210337" y="5089092"/>
                  <a:pt x="3210337" y="5089092"/>
                  <a:pt x="3214921" y="5087981"/>
                </a:cubicBezTo>
                <a:close/>
                <a:moveTo>
                  <a:pt x="4778443" y="5083983"/>
                </a:moveTo>
                <a:cubicBezTo>
                  <a:pt x="4781021" y="5083983"/>
                  <a:pt x="4783313" y="5084316"/>
                  <a:pt x="4785032" y="5085205"/>
                </a:cubicBezTo>
                <a:cubicBezTo>
                  <a:pt x="4786178" y="5088426"/>
                  <a:pt x="4787610" y="5091536"/>
                  <a:pt x="4788756" y="5094647"/>
                </a:cubicBezTo>
                <a:cubicBezTo>
                  <a:pt x="4786178" y="5100645"/>
                  <a:pt x="4778156" y="5103755"/>
                  <a:pt x="4770995" y="5102867"/>
                </a:cubicBezTo>
                <a:cubicBezTo>
                  <a:pt x="4768416" y="5102534"/>
                  <a:pt x="4766125" y="5101755"/>
                  <a:pt x="4764406" y="5100534"/>
                </a:cubicBezTo>
                <a:cubicBezTo>
                  <a:pt x="4761828" y="5098868"/>
                  <a:pt x="4759537" y="5096202"/>
                  <a:pt x="4758963" y="5092536"/>
                </a:cubicBezTo>
                <a:cubicBezTo>
                  <a:pt x="4759823" y="5087870"/>
                  <a:pt x="4770422" y="5084094"/>
                  <a:pt x="4778443" y="5083983"/>
                </a:cubicBezTo>
                <a:close/>
                <a:moveTo>
                  <a:pt x="2403654" y="5083983"/>
                </a:moveTo>
                <a:cubicBezTo>
                  <a:pt x="2406518" y="5083983"/>
                  <a:pt x="2408810" y="5084316"/>
                  <a:pt x="2410530" y="5085205"/>
                </a:cubicBezTo>
                <a:cubicBezTo>
                  <a:pt x="2411675" y="5088426"/>
                  <a:pt x="2413108" y="5091537"/>
                  <a:pt x="2414253" y="5094646"/>
                </a:cubicBezTo>
                <a:cubicBezTo>
                  <a:pt x="2411675" y="5100645"/>
                  <a:pt x="2403367" y="5103756"/>
                  <a:pt x="2396206" y="5102867"/>
                </a:cubicBezTo>
                <a:cubicBezTo>
                  <a:pt x="2393914" y="5102534"/>
                  <a:pt x="2391623" y="5101756"/>
                  <a:pt x="2389617" y="5100534"/>
                </a:cubicBezTo>
                <a:cubicBezTo>
                  <a:pt x="2387039" y="5098868"/>
                  <a:pt x="2385033" y="5096202"/>
                  <a:pt x="2384174" y="5092536"/>
                </a:cubicBezTo>
                <a:cubicBezTo>
                  <a:pt x="2385033" y="5087870"/>
                  <a:pt x="2395633" y="5084094"/>
                  <a:pt x="2403654" y="5083983"/>
                </a:cubicBezTo>
                <a:close/>
                <a:moveTo>
                  <a:pt x="3470448" y="5083983"/>
                </a:moveTo>
                <a:cubicBezTo>
                  <a:pt x="3473311" y="5083983"/>
                  <a:pt x="3475603" y="5084316"/>
                  <a:pt x="3477323" y="5085205"/>
                </a:cubicBezTo>
                <a:cubicBezTo>
                  <a:pt x="3478468" y="5088426"/>
                  <a:pt x="3479901" y="5091537"/>
                  <a:pt x="3481046" y="5094646"/>
                </a:cubicBezTo>
                <a:cubicBezTo>
                  <a:pt x="3478469" y="5100645"/>
                  <a:pt x="3470160" y="5103755"/>
                  <a:pt x="3462999" y="5102867"/>
                </a:cubicBezTo>
                <a:cubicBezTo>
                  <a:pt x="3460707" y="5102534"/>
                  <a:pt x="3458416" y="5101756"/>
                  <a:pt x="3456411" y="5100534"/>
                </a:cubicBezTo>
                <a:cubicBezTo>
                  <a:pt x="3453832" y="5098868"/>
                  <a:pt x="3451828" y="5096202"/>
                  <a:pt x="3450967" y="5092536"/>
                </a:cubicBezTo>
                <a:cubicBezTo>
                  <a:pt x="3451827" y="5087870"/>
                  <a:pt x="3462427" y="5084094"/>
                  <a:pt x="3470448" y="5083983"/>
                </a:cubicBezTo>
                <a:close/>
                <a:moveTo>
                  <a:pt x="4626903" y="5083094"/>
                </a:moveTo>
                <a:cubicBezTo>
                  <a:pt x="4630054" y="5088093"/>
                  <a:pt x="4627476" y="5091314"/>
                  <a:pt x="4621460" y="5094535"/>
                </a:cubicBezTo>
                <a:cubicBezTo>
                  <a:pt x="4617164" y="5093091"/>
                  <a:pt x="4614013" y="5087982"/>
                  <a:pt x="4616590" y="5084872"/>
                </a:cubicBezTo>
                <a:cubicBezTo>
                  <a:pt x="4621747" y="5082650"/>
                  <a:pt x="4623752" y="5084649"/>
                  <a:pt x="4626903" y="5083094"/>
                </a:cubicBezTo>
                <a:close/>
                <a:moveTo>
                  <a:pt x="3319194" y="5083094"/>
                </a:moveTo>
                <a:cubicBezTo>
                  <a:pt x="3322345" y="5088093"/>
                  <a:pt x="3319767" y="5091314"/>
                  <a:pt x="3313751" y="5094535"/>
                </a:cubicBezTo>
                <a:cubicBezTo>
                  <a:pt x="3309455" y="5093091"/>
                  <a:pt x="3306304" y="5087982"/>
                  <a:pt x="3308881" y="5084872"/>
                </a:cubicBezTo>
                <a:cubicBezTo>
                  <a:pt x="3314037" y="5082649"/>
                  <a:pt x="3316043" y="5084649"/>
                  <a:pt x="3319194" y="5083094"/>
                </a:cubicBezTo>
                <a:close/>
                <a:moveTo>
                  <a:pt x="2252400" y="5083094"/>
                </a:moveTo>
                <a:cubicBezTo>
                  <a:pt x="2255552" y="5088093"/>
                  <a:pt x="2252973" y="5091314"/>
                  <a:pt x="2246958" y="5094535"/>
                </a:cubicBezTo>
                <a:cubicBezTo>
                  <a:pt x="2242661" y="5093092"/>
                  <a:pt x="2239511" y="5087981"/>
                  <a:pt x="2242088" y="5084871"/>
                </a:cubicBezTo>
                <a:cubicBezTo>
                  <a:pt x="2247244" y="5082650"/>
                  <a:pt x="2249249" y="5084649"/>
                  <a:pt x="2252400" y="5083094"/>
                </a:cubicBezTo>
                <a:close/>
                <a:moveTo>
                  <a:pt x="5530125" y="5061322"/>
                </a:moveTo>
                <a:cubicBezTo>
                  <a:pt x="5544162" y="5074207"/>
                  <a:pt x="5570803" y="5068431"/>
                  <a:pt x="5582262" y="5084427"/>
                </a:cubicBezTo>
                <a:cubicBezTo>
                  <a:pt x="5574241" y="5087759"/>
                  <a:pt x="5559058" y="5085982"/>
                  <a:pt x="5546741" y="5081316"/>
                </a:cubicBezTo>
                <a:cubicBezTo>
                  <a:pt x="5534709" y="5076762"/>
                  <a:pt x="5525542" y="5069320"/>
                  <a:pt x="5530125" y="5061322"/>
                </a:cubicBezTo>
                <a:close/>
                <a:moveTo>
                  <a:pt x="3155337" y="5061322"/>
                </a:moveTo>
                <a:cubicBezTo>
                  <a:pt x="3169373" y="5074207"/>
                  <a:pt x="3196300" y="5068431"/>
                  <a:pt x="3207759" y="5084427"/>
                </a:cubicBezTo>
                <a:cubicBezTo>
                  <a:pt x="3199738" y="5087759"/>
                  <a:pt x="3184269" y="5085982"/>
                  <a:pt x="3172238" y="5081317"/>
                </a:cubicBezTo>
                <a:cubicBezTo>
                  <a:pt x="3159920" y="5076762"/>
                  <a:pt x="3151039" y="5069320"/>
                  <a:pt x="3155337" y="5061322"/>
                </a:cubicBezTo>
                <a:close/>
                <a:moveTo>
                  <a:pt x="4222129" y="5061321"/>
                </a:moveTo>
                <a:cubicBezTo>
                  <a:pt x="4236166" y="5074207"/>
                  <a:pt x="4263094" y="5068431"/>
                  <a:pt x="4274552" y="5084427"/>
                </a:cubicBezTo>
                <a:cubicBezTo>
                  <a:pt x="4266531" y="5087759"/>
                  <a:pt x="4251062" y="5085982"/>
                  <a:pt x="4239030" y="5081317"/>
                </a:cubicBezTo>
                <a:cubicBezTo>
                  <a:pt x="4226712" y="5076763"/>
                  <a:pt x="4217832" y="5069320"/>
                  <a:pt x="4222129" y="5061321"/>
                </a:cubicBezTo>
                <a:close/>
                <a:moveTo>
                  <a:pt x="5648435" y="5057323"/>
                </a:moveTo>
                <a:cubicBezTo>
                  <a:pt x="5649581" y="5060433"/>
                  <a:pt x="5650727" y="5063433"/>
                  <a:pt x="5646430" y="5064543"/>
                </a:cubicBezTo>
                <a:cubicBezTo>
                  <a:pt x="5644138" y="5062432"/>
                  <a:pt x="5642133" y="5063099"/>
                  <a:pt x="5641560" y="5058989"/>
                </a:cubicBezTo>
                <a:cubicBezTo>
                  <a:pt x="5643852" y="5058434"/>
                  <a:pt x="5646144" y="5057878"/>
                  <a:pt x="5648435" y="5057323"/>
                </a:cubicBezTo>
                <a:close/>
                <a:moveTo>
                  <a:pt x="4340439" y="5057323"/>
                </a:moveTo>
                <a:cubicBezTo>
                  <a:pt x="4341871" y="5060432"/>
                  <a:pt x="4343017" y="5063432"/>
                  <a:pt x="4338721" y="5064543"/>
                </a:cubicBezTo>
                <a:cubicBezTo>
                  <a:pt x="4336428" y="5062433"/>
                  <a:pt x="4334137" y="5063099"/>
                  <a:pt x="4333850" y="5058989"/>
                </a:cubicBezTo>
                <a:cubicBezTo>
                  <a:pt x="4336142" y="5058434"/>
                  <a:pt x="4338434" y="5057878"/>
                  <a:pt x="4340439" y="5057323"/>
                </a:cubicBezTo>
                <a:close/>
                <a:moveTo>
                  <a:pt x="3273646" y="5057322"/>
                </a:moveTo>
                <a:cubicBezTo>
                  <a:pt x="3275078" y="5060433"/>
                  <a:pt x="3276224" y="5063433"/>
                  <a:pt x="3271928" y="5064543"/>
                </a:cubicBezTo>
                <a:cubicBezTo>
                  <a:pt x="3269635" y="5062432"/>
                  <a:pt x="3267344" y="5063099"/>
                  <a:pt x="3267057" y="5058989"/>
                </a:cubicBezTo>
                <a:cubicBezTo>
                  <a:pt x="3269349" y="5058434"/>
                  <a:pt x="3271354" y="5057878"/>
                  <a:pt x="3273646" y="5057322"/>
                </a:cubicBezTo>
                <a:close/>
                <a:moveTo>
                  <a:pt x="5888778" y="5056101"/>
                </a:moveTo>
                <a:cubicBezTo>
                  <a:pt x="5897086" y="5056212"/>
                  <a:pt x="5900238" y="5058989"/>
                  <a:pt x="5902242" y="5064099"/>
                </a:cubicBezTo>
                <a:cubicBezTo>
                  <a:pt x="5898518" y="5066099"/>
                  <a:pt x="5890498" y="5065988"/>
                  <a:pt x="5887060" y="5063210"/>
                </a:cubicBezTo>
                <a:cubicBezTo>
                  <a:pt x="5886200" y="5059100"/>
                  <a:pt x="5889639" y="5058656"/>
                  <a:pt x="5888778" y="5056101"/>
                </a:cubicBezTo>
                <a:close/>
                <a:moveTo>
                  <a:pt x="4581069" y="5056101"/>
                </a:moveTo>
                <a:cubicBezTo>
                  <a:pt x="4589376" y="5056212"/>
                  <a:pt x="4592528" y="5058989"/>
                  <a:pt x="4594533" y="5064099"/>
                </a:cubicBezTo>
                <a:cubicBezTo>
                  <a:pt x="4590809" y="5066100"/>
                  <a:pt x="4582788" y="5065988"/>
                  <a:pt x="4579350" y="5063210"/>
                </a:cubicBezTo>
                <a:cubicBezTo>
                  <a:pt x="4578491" y="5059100"/>
                  <a:pt x="4581928" y="5058656"/>
                  <a:pt x="4581069" y="5056101"/>
                </a:cubicBezTo>
                <a:close/>
                <a:moveTo>
                  <a:pt x="3514277" y="5056101"/>
                </a:moveTo>
                <a:cubicBezTo>
                  <a:pt x="3522583" y="5056211"/>
                  <a:pt x="3525735" y="5058988"/>
                  <a:pt x="3527740" y="5064099"/>
                </a:cubicBezTo>
                <a:cubicBezTo>
                  <a:pt x="3524017" y="5066099"/>
                  <a:pt x="3515995" y="5065987"/>
                  <a:pt x="3512557" y="5063210"/>
                </a:cubicBezTo>
                <a:cubicBezTo>
                  <a:pt x="3511699" y="5059099"/>
                  <a:pt x="3515135" y="5058656"/>
                  <a:pt x="3514277" y="5056101"/>
                </a:cubicBezTo>
                <a:close/>
                <a:moveTo>
                  <a:pt x="3997541" y="5054768"/>
                </a:moveTo>
                <a:cubicBezTo>
                  <a:pt x="4000692" y="5055879"/>
                  <a:pt x="4004703" y="5057323"/>
                  <a:pt x="4005848" y="5059767"/>
                </a:cubicBezTo>
                <a:cubicBezTo>
                  <a:pt x="4006135" y="5060544"/>
                  <a:pt x="4006422" y="5061433"/>
                  <a:pt x="4005848" y="5062544"/>
                </a:cubicBezTo>
                <a:cubicBezTo>
                  <a:pt x="4004130" y="5062877"/>
                  <a:pt x="4004703" y="5063988"/>
                  <a:pt x="4002984" y="5064432"/>
                </a:cubicBezTo>
                <a:cubicBezTo>
                  <a:pt x="4002984" y="5064432"/>
                  <a:pt x="4001552" y="5065432"/>
                  <a:pt x="3999260" y="5066209"/>
                </a:cubicBezTo>
                <a:cubicBezTo>
                  <a:pt x="3996968" y="5066875"/>
                  <a:pt x="3993530" y="5067431"/>
                  <a:pt x="3989520" y="5066543"/>
                </a:cubicBezTo>
                <a:cubicBezTo>
                  <a:pt x="3987515" y="5065765"/>
                  <a:pt x="3982931" y="5063210"/>
                  <a:pt x="3984650" y="5062877"/>
                </a:cubicBezTo>
                <a:cubicBezTo>
                  <a:pt x="3985796" y="5061322"/>
                  <a:pt x="3984077" y="5061655"/>
                  <a:pt x="3983791" y="5060544"/>
                </a:cubicBezTo>
                <a:cubicBezTo>
                  <a:pt x="3987228" y="5055990"/>
                  <a:pt x="3991812" y="5053768"/>
                  <a:pt x="3997541" y="5054768"/>
                </a:cubicBezTo>
                <a:close/>
                <a:moveTo>
                  <a:pt x="3796443" y="5054768"/>
                </a:moveTo>
                <a:cubicBezTo>
                  <a:pt x="3800167" y="5054990"/>
                  <a:pt x="3802172" y="5055767"/>
                  <a:pt x="3805897" y="5055990"/>
                </a:cubicBezTo>
                <a:cubicBezTo>
                  <a:pt x="3806756" y="5057656"/>
                  <a:pt x="3808475" y="5059100"/>
                  <a:pt x="3809621" y="5060989"/>
                </a:cubicBezTo>
                <a:cubicBezTo>
                  <a:pt x="3811053" y="5062988"/>
                  <a:pt x="3811626" y="5065543"/>
                  <a:pt x="3809621" y="5069653"/>
                </a:cubicBezTo>
                <a:cubicBezTo>
                  <a:pt x="3803891" y="5078317"/>
                  <a:pt x="3791860" y="5075207"/>
                  <a:pt x="3792146" y="5076318"/>
                </a:cubicBezTo>
                <a:cubicBezTo>
                  <a:pt x="3791000" y="5077762"/>
                  <a:pt x="3791000" y="5077762"/>
                  <a:pt x="3791287" y="5078873"/>
                </a:cubicBezTo>
                <a:cubicBezTo>
                  <a:pt x="3789855" y="5079318"/>
                  <a:pt x="3786990" y="5081206"/>
                  <a:pt x="3785558" y="5082761"/>
                </a:cubicBezTo>
                <a:cubicBezTo>
                  <a:pt x="3785271" y="5081650"/>
                  <a:pt x="3784698" y="5080538"/>
                  <a:pt x="3782979" y="5080872"/>
                </a:cubicBezTo>
                <a:cubicBezTo>
                  <a:pt x="3785558" y="5077873"/>
                  <a:pt x="3787276" y="5077540"/>
                  <a:pt x="3788422" y="5075985"/>
                </a:cubicBezTo>
                <a:cubicBezTo>
                  <a:pt x="3786703" y="5076428"/>
                  <a:pt x="3788136" y="5074874"/>
                  <a:pt x="3788136" y="5074874"/>
                </a:cubicBezTo>
                <a:cubicBezTo>
                  <a:pt x="3788136" y="5074874"/>
                  <a:pt x="3788136" y="5074874"/>
                  <a:pt x="3783839" y="5073430"/>
                </a:cubicBezTo>
                <a:cubicBezTo>
                  <a:pt x="3783839" y="5073430"/>
                  <a:pt x="3774958" y="5069653"/>
                  <a:pt x="3779542" y="5062544"/>
                </a:cubicBezTo>
                <a:cubicBezTo>
                  <a:pt x="3781547" y="5063210"/>
                  <a:pt x="3788995" y="5054101"/>
                  <a:pt x="3796443" y="5054768"/>
                </a:cubicBezTo>
                <a:close/>
                <a:moveTo>
                  <a:pt x="5305251" y="5054768"/>
                </a:moveTo>
                <a:cubicBezTo>
                  <a:pt x="5308402" y="5055879"/>
                  <a:pt x="5312699" y="5057323"/>
                  <a:pt x="5313845" y="5059766"/>
                </a:cubicBezTo>
                <a:cubicBezTo>
                  <a:pt x="5314131" y="5060544"/>
                  <a:pt x="5314131" y="5061433"/>
                  <a:pt x="5313558" y="5062543"/>
                </a:cubicBezTo>
                <a:cubicBezTo>
                  <a:pt x="5311840" y="5062877"/>
                  <a:pt x="5312412" y="5063988"/>
                  <a:pt x="5310694" y="5064433"/>
                </a:cubicBezTo>
                <a:cubicBezTo>
                  <a:pt x="5310694" y="5064433"/>
                  <a:pt x="5309261" y="5065432"/>
                  <a:pt x="5306970" y="5066209"/>
                </a:cubicBezTo>
                <a:cubicBezTo>
                  <a:pt x="5304678" y="5066876"/>
                  <a:pt x="5301240" y="5067431"/>
                  <a:pt x="5297230" y="5066543"/>
                </a:cubicBezTo>
                <a:cubicBezTo>
                  <a:pt x="5295224" y="5065765"/>
                  <a:pt x="5290641" y="5063210"/>
                  <a:pt x="5292360" y="5062877"/>
                </a:cubicBezTo>
                <a:cubicBezTo>
                  <a:pt x="5293506" y="5061321"/>
                  <a:pt x="5292074" y="5061655"/>
                  <a:pt x="5291500" y="5060544"/>
                </a:cubicBezTo>
                <a:cubicBezTo>
                  <a:pt x="5295224" y="5055990"/>
                  <a:pt x="5299522" y="5053768"/>
                  <a:pt x="5305251" y="5054768"/>
                </a:cubicBezTo>
                <a:close/>
                <a:moveTo>
                  <a:pt x="5104153" y="5054768"/>
                </a:moveTo>
                <a:cubicBezTo>
                  <a:pt x="5107877" y="5054990"/>
                  <a:pt x="5109883" y="5055767"/>
                  <a:pt x="5113606" y="5055990"/>
                </a:cubicBezTo>
                <a:cubicBezTo>
                  <a:pt x="5114466" y="5057656"/>
                  <a:pt x="5116184" y="5059100"/>
                  <a:pt x="5117617" y="5060989"/>
                </a:cubicBezTo>
                <a:cubicBezTo>
                  <a:pt x="5118762" y="5062988"/>
                  <a:pt x="5119335" y="5065543"/>
                  <a:pt x="5117330" y="5069653"/>
                </a:cubicBezTo>
                <a:cubicBezTo>
                  <a:pt x="5111601" y="5078318"/>
                  <a:pt x="5099570" y="5075208"/>
                  <a:pt x="5099856" y="5076318"/>
                </a:cubicBezTo>
                <a:cubicBezTo>
                  <a:pt x="5098710" y="5077762"/>
                  <a:pt x="5098710" y="5077762"/>
                  <a:pt x="5098996" y="5078873"/>
                </a:cubicBezTo>
                <a:cubicBezTo>
                  <a:pt x="5097564" y="5079318"/>
                  <a:pt x="5094700" y="5081206"/>
                  <a:pt x="5093267" y="5082761"/>
                </a:cubicBezTo>
                <a:cubicBezTo>
                  <a:pt x="5092981" y="5081650"/>
                  <a:pt x="5092695" y="5080539"/>
                  <a:pt x="5090976" y="5080872"/>
                </a:cubicBezTo>
                <a:cubicBezTo>
                  <a:pt x="5093267" y="5077873"/>
                  <a:pt x="5094986" y="5077540"/>
                  <a:pt x="5096132" y="5075985"/>
                </a:cubicBezTo>
                <a:cubicBezTo>
                  <a:pt x="5094700" y="5076429"/>
                  <a:pt x="5095845" y="5074874"/>
                  <a:pt x="5095845" y="5074874"/>
                </a:cubicBezTo>
                <a:cubicBezTo>
                  <a:pt x="5095845" y="5074874"/>
                  <a:pt x="5095845" y="5074874"/>
                  <a:pt x="5091548" y="5073430"/>
                </a:cubicBezTo>
                <a:cubicBezTo>
                  <a:pt x="5091548" y="5073430"/>
                  <a:pt x="5082668" y="5069653"/>
                  <a:pt x="5087252" y="5062544"/>
                </a:cubicBezTo>
                <a:cubicBezTo>
                  <a:pt x="5089257" y="5063210"/>
                  <a:pt x="5096705" y="5054101"/>
                  <a:pt x="5104153" y="5054768"/>
                </a:cubicBezTo>
                <a:close/>
                <a:moveTo>
                  <a:pt x="2930748" y="5054768"/>
                </a:moveTo>
                <a:cubicBezTo>
                  <a:pt x="2933899" y="5055879"/>
                  <a:pt x="2937910" y="5057323"/>
                  <a:pt x="2939056" y="5059766"/>
                </a:cubicBezTo>
                <a:cubicBezTo>
                  <a:pt x="2939342" y="5060544"/>
                  <a:pt x="2939628" y="5061433"/>
                  <a:pt x="2939056" y="5062544"/>
                </a:cubicBezTo>
                <a:cubicBezTo>
                  <a:pt x="2937337" y="5062877"/>
                  <a:pt x="2937910" y="5063988"/>
                  <a:pt x="2936191" y="5064432"/>
                </a:cubicBezTo>
                <a:cubicBezTo>
                  <a:pt x="2936191" y="5064432"/>
                  <a:pt x="2934758" y="5065431"/>
                  <a:pt x="2932468" y="5066209"/>
                </a:cubicBezTo>
                <a:cubicBezTo>
                  <a:pt x="2930175" y="5066876"/>
                  <a:pt x="2926737" y="5067431"/>
                  <a:pt x="2922727" y="5066543"/>
                </a:cubicBezTo>
                <a:cubicBezTo>
                  <a:pt x="2920722" y="5065765"/>
                  <a:pt x="2916138" y="5063210"/>
                  <a:pt x="2917857" y="5062877"/>
                </a:cubicBezTo>
                <a:cubicBezTo>
                  <a:pt x="2919003" y="5061321"/>
                  <a:pt x="2917284" y="5061655"/>
                  <a:pt x="2916999" y="5060544"/>
                </a:cubicBezTo>
                <a:cubicBezTo>
                  <a:pt x="2920435" y="5055990"/>
                  <a:pt x="2925019" y="5053768"/>
                  <a:pt x="2930748" y="5054768"/>
                </a:cubicBezTo>
                <a:close/>
                <a:moveTo>
                  <a:pt x="2729650" y="5054768"/>
                </a:moveTo>
                <a:cubicBezTo>
                  <a:pt x="2733374" y="5054990"/>
                  <a:pt x="2735379" y="5055768"/>
                  <a:pt x="2739103" y="5055990"/>
                </a:cubicBezTo>
                <a:cubicBezTo>
                  <a:pt x="2739963" y="5057655"/>
                  <a:pt x="2741683" y="5059100"/>
                  <a:pt x="2742827" y="5060989"/>
                </a:cubicBezTo>
                <a:cubicBezTo>
                  <a:pt x="2744260" y="5062988"/>
                  <a:pt x="2744834" y="5065543"/>
                  <a:pt x="2742828" y="5069653"/>
                </a:cubicBezTo>
                <a:cubicBezTo>
                  <a:pt x="2737099" y="5078317"/>
                  <a:pt x="2725068" y="5075207"/>
                  <a:pt x="2725353" y="5076318"/>
                </a:cubicBezTo>
                <a:cubicBezTo>
                  <a:pt x="2724207" y="5077763"/>
                  <a:pt x="2724207" y="5077763"/>
                  <a:pt x="2724495" y="5078873"/>
                </a:cubicBezTo>
                <a:cubicBezTo>
                  <a:pt x="2723062" y="5079317"/>
                  <a:pt x="2720197" y="5081205"/>
                  <a:pt x="2718764" y="5082760"/>
                </a:cubicBezTo>
                <a:cubicBezTo>
                  <a:pt x="2718479" y="5081650"/>
                  <a:pt x="2717906" y="5080539"/>
                  <a:pt x="2716186" y="5080873"/>
                </a:cubicBezTo>
                <a:cubicBezTo>
                  <a:pt x="2718764" y="5077873"/>
                  <a:pt x="2720483" y="5077540"/>
                  <a:pt x="2721629" y="5075985"/>
                </a:cubicBezTo>
                <a:cubicBezTo>
                  <a:pt x="2719910" y="5076429"/>
                  <a:pt x="2721343" y="5074874"/>
                  <a:pt x="2721343" y="5074874"/>
                </a:cubicBezTo>
                <a:cubicBezTo>
                  <a:pt x="2721343" y="5074874"/>
                  <a:pt x="2721056" y="5074874"/>
                  <a:pt x="2717047" y="5073430"/>
                </a:cubicBezTo>
                <a:cubicBezTo>
                  <a:pt x="2717047" y="5073430"/>
                  <a:pt x="2708165" y="5069653"/>
                  <a:pt x="2712750" y="5062544"/>
                </a:cubicBezTo>
                <a:cubicBezTo>
                  <a:pt x="2714754" y="5063210"/>
                  <a:pt x="2722202" y="5054100"/>
                  <a:pt x="2729650" y="5054768"/>
                </a:cubicBezTo>
                <a:close/>
                <a:moveTo>
                  <a:pt x="4002411" y="5048992"/>
                </a:moveTo>
                <a:cubicBezTo>
                  <a:pt x="4003270" y="5049325"/>
                  <a:pt x="4004703" y="5049880"/>
                  <a:pt x="4005276" y="5050658"/>
                </a:cubicBezTo>
                <a:cubicBezTo>
                  <a:pt x="4006135" y="5051324"/>
                  <a:pt x="4006422" y="5052101"/>
                  <a:pt x="4005848" y="5052768"/>
                </a:cubicBezTo>
                <a:cubicBezTo>
                  <a:pt x="4005276" y="5054101"/>
                  <a:pt x="4004416" y="5054324"/>
                  <a:pt x="4003270" y="5054212"/>
                </a:cubicBezTo>
                <a:cubicBezTo>
                  <a:pt x="4002124" y="5054101"/>
                  <a:pt x="4000692" y="5053546"/>
                  <a:pt x="3998687" y="5053434"/>
                </a:cubicBezTo>
                <a:close/>
                <a:moveTo>
                  <a:pt x="2935618" y="5048992"/>
                </a:moveTo>
                <a:cubicBezTo>
                  <a:pt x="2936477" y="5049325"/>
                  <a:pt x="2937910" y="5049880"/>
                  <a:pt x="2938484" y="5050658"/>
                </a:cubicBezTo>
                <a:cubicBezTo>
                  <a:pt x="2939342" y="5051324"/>
                  <a:pt x="2939628" y="5052101"/>
                  <a:pt x="2939055" y="5052769"/>
                </a:cubicBezTo>
                <a:cubicBezTo>
                  <a:pt x="2938483" y="5054101"/>
                  <a:pt x="2937623" y="5054324"/>
                  <a:pt x="2936477" y="5054213"/>
                </a:cubicBezTo>
                <a:cubicBezTo>
                  <a:pt x="2935331" y="5054101"/>
                  <a:pt x="2933899" y="5053546"/>
                  <a:pt x="2931894" y="5053435"/>
                </a:cubicBezTo>
                <a:close/>
                <a:moveTo>
                  <a:pt x="5310121" y="5048991"/>
                </a:moveTo>
                <a:cubicBezTo>
                  <a:pt x="5311266" y="5049325"/>
                  <a:pt x="5312412" y="5049880"/>
                  <a:pt x="5312985" y="5050658"/>
                </a:cubicBezTo>
                <a:cubicBezTo>
                  <a:pt x="5313846" y="5051324"/>
                  <a:pt x="5314131" y="5052101"/>
                  <a:pt x="5313558" y="5052768"/>
                </a:cubicBezTo>
                <a:cubicBezTo>
                  <a:pt x="5312985" y="5054101"/>
                  <a:pt x="5312126" y="5054324"/>
                  <a:pt x="5310980" y="5054212"/>
                </a:cubicBezTo>
                <a:cubicBezTo>
                  <a:pt x="5309834" y="5054101"/>
                  <a:pt x="5308402" y="5053546"/>
                  <a:pt x="5306397" y="5053435"/>
                </a:cubicBezTo>
                <a:close/>
                <a:moveTo>
                  <a:pt x="5675363" y="5048769"/>
                </a:moveTo>
                <a:cubicBezTo>
                  <a:pt x="5676222" y="5057211"/>
                  <a:pt x="5675649" y="5065099"/>
                  <a:pt x="5682524" y="5075540"/>
                </a:cubicBezTo>
                <a:cubicBezTo>
                  <a:pt x="5677940" y="5076651"/>
                  <a:pt x="5680806" y="5080206"/>
                  <a:pt x="5674503" y="5080872"/>
                </a:cubicBezTo>
                <a:cubicBezTo>
                  <a:pt x="5662758" y="5076874"/>
                  <a:pt x="5658461" y="5053879"/>
                  <a:pt x="5675363" y="5048769"/>
                </a:cubicBezTo>
                <a:close/>
                <a:moveTo>
                  <a:pt x="4367653" y="5048769"/>
                </a:moveTo>
                <a:cubicBezTo>
                  <a:pt x="4368512" y="5057212"/>
                  <a:pt x="4367940" y="5065099"/>
                  <a:pt x="4374814" y="5075540"/>
                </a:cubicBezTo>
                <a:cubicBezTo>
                  <a:pt x="4370231" y="5076651"/>
                  <a:pt x="4372809" y="5080206"/>
                  <a:pt x="4366794" y="5080872"/>
                </a:cubicBezTo>
                <a:cubicBezTo>
                  <a:pt x="4354762" y="5076874"/>
                  <a:pt x="4350752" y="5053879"/>
                  <a:pt x="4367653" y="5048769"/>
                </a:cubicBezTo>
                <a:close/>
                <a:moveTo>
                  <a:pt x="3300860" y="5048769"/>
                </a:moveTo>
                <a:cubicBezTo>
                  <a:pt x="3301719" y="5057212"/>
                  <a:pt x="3301146" y="5065099"/>
                  <a:pt x="3308022" y="5075540"/>
                </a:cubicBezTo>
                <a:cubicBezTo>
                  <a:pt x="3303439" y="5076651"/>
                  <a:pt x="3306016" y="5080206"/>
                  <a:pt x="3300001" y="5080872"/>
                </a:cubicBezTo>
                <a:cubicBezTo>
                  <a:pt x="3287969" y="5076874"/>
                  <a:pt x="3283960" y="5053879"/>
                  <a:pt x="3300860" y="5048769"/>
                </a:cubicBezTo>
                <a:close/>
                <a:moveTo>
                  <a:pt x="2420270" y="5046992"/>
                </a:moveTo>
                <a:cubicBezTo>
                  <a:pt x="2422847" y="5060100"/>
                  <a:pt x="2383028" y="5065543"/>
                  <a:pt x="2371283" y="5064209"/>
                </a:cubicBezTo>
                <a:cubicBezTo>
                  <a:pt x="2383888" y="5057655"/>
                  <a:pt x="2405086" y="5047325"/>
                  <a:pt x="2420270" y="5046992"/>
                </a:cubicBezTo>
                <a:close/>
                <a:moveTo>
                  <a:pt x="4794771" y="5046992"/>
                </a:moveTo>
                <a:cubicBezTo>
                  <a:pt x="4797350" y="5060100"/>
                  <a:pt x="4757818" y="5065543"/>
                  <a:pt x="4745786" y="5064210"/>
                </a:cubicBezTo>
                <a:cubicBezTo>
                  <a:pt x="4758390" y="5057656"/>
                  <a:pt x="4779589" y="5047325"/>
                  <a:pt x="4794771" y="5046992"/>
                </a:cubicBezTo>
                <a:close/>
                <a:moveTo>
                  <a:pt x="3487063" y="5046992"/>
                </a:moveTo>
                <a:cubicBezTo>
                  <a:pt x="3489640" y="5060099"/>
                  <a:pt x="3449821" y="5065543"/>
                  <a:pt x="3438076" y="5064210"/>
                </a:cubicBezTo>
                <a:cubicBezTo>
                  <a:pt x="3450681" y="5057656"/>
                  <a:pt x="3471879" y="5047325"/>
                  <a:pt x="3487063" y="5046992"/>
                </a:cubicBezTo>
                <a:close/>
                <a:moveTo>
                  <a:pt x="5325303" y="5039994"/>
                </a:moveTo>
                <a:cubicBezTo>
                  <a:pt x="5325876" y="5039550"/>
                  <a:pt x="5326163" y="5039439"/>
                  <a:pt x="5326449" y="5039994"/>
                </a:cubicBezTo>
                <a:cubicBezTo>
                  <a:pt x="5327882" y="5039550"/>
                  <a:pt x="5328454" y="5040660"/>
                  <a:pt x="5330460" y="5041438"/>
                </a:cubicBezTo>
                <a:cubicBezTo>
                  <a:pt x="5331892" y="5042327"/>
                  <a:pt x="5332752" y="5043549"/>
                  <a:pt x="5333038" y="5044770"/>
                </a:cubicBezTo>
                <a:cubicBezTo>
                  <a:pt x="5333611" y="5045993"/>
                  <a:pt x="5333611" y="5047214"/>
                  <a:pt x="5333039" y="5047881"/>
                </a:cubicBezTo>
                <a:cubicBezTo>
                  <a:pt x="5331892" y="5049436"/>
                  <a:pt x="5330173" y="5049769"/>
                  <a:pt x="5330173" y="5049769"/>
                </a:cubicBezTo>
                <a:cubicBezTo>
                  <a:pt x="5324444" y="5048769"/>
                  <a:pt x="5319860" y="5046325"/>
                  <a:pt x="5323584" y="5041882"/>
                </a:cubicBezTo>
                <a:cubicBezTo>
                  <a:pt x="5324158" y="5041216"/>
                  <a:pt x="5324730" y="5040439"/>
                  <a:pt x="5325303" y="5039994"/>
                </a:cubicBezTo>
                <a:close/>
                <a:moveTo>
                  <a:pt x="4017594" y="5039994"/>
                </a:moveTo>
                <a:cubicBezTo>
                  <a:pt x="4017880" y="5039550"/>
                  <a:pt x="4018453" y="5039438"/>
                  <a:pt x="4018740" y="5039994"/>
                </a:cubicBezTo>
                <a:cubicBezTo>
                  <a:pt x="4020172" y="5039550"/>
                  <a:pt x="4020745" y="5040660"/>
                  <a:pt x="4022750" y="5041438"/>
                </a:cubicBezTo>
                <a:cubicBezTo>
                  <a:pt x="4023896" y="5042327"/>
                  <a:pt x="4025042" y="5043549"/>
                  <a:pt x="4025327" y="5044770"/>
                </a:cubicBezTo>
                <a:cubicBezTo>
                  <a:pt x="4025901" y="5045992"/>
                  <a:pt x="4025901" y="5047214"/>
                  <a:pt x="4025328" y="5047881"/>
                </a:cubicBezTo>
                <a:cubicBezTo>
                  <a:pt x="4024182" y="5049436"/>
                  <a:pt x="4022464" y="5049769"/>
                  <a:pt x="4022464" y="5049769"/>
                </a:cubicBezTo>
                <a:cubicBezTo>
                  <a:pt x="4016734" y="5048769"/>
                  <a:pt x="4012151" y="5046325"/>
                  <a:pt x="4015875" y="5041882"/>
                </a:cubicBezTo>
                <a:cubicBezTo>
                  <a:pt x="4016448" y="5041216"/>
                  <a:pt x="4017020" y="5040438"/>
                  <a:pt x="4017594" y="5039994"/>
                </a:cubicBezTo>
                <a:close/>
                <a:moveTo>
                  <a:pt x="2951946" y="5039994"/>
                </a:moveTo>
                <a:cubicBezTo>
                  <a:pt x="2953379" y="5039550"/>
                  <a:pt x="2953952" y="5040660"/>
                  <a:pt x="2955957" y="5041438"/>
                </a:cubicBezTo>
                <a:cubicBezTo>
                  <a:pt x="2957103" y="5042326"/>
                  <a:pt x="2958249" y="5043549"/>
                  <a:pt x="2958536" y="5044770"/>
                </a:cubicBezTo>
                <a:cubicBezTo>
                  <a:pt x="2959108" y="5045992"/>
                  <a:pt x="2959109" y="5047214"/>
                  <a:pt x="2958536" y="5047881"/>
                </a:cubicBezTo>
                <a:cubicBezTo>
                  <a:pt x="2957389" y="5049436"/>
                  <a:pt x="2955670" y="5049769"/>
                  <a:pt x="2955670" y="5049769"/>
                </a:cubicBezTo>
                <a:cubicBezTo>
                  <a:pt x="2949941" y="5048769"/>
                  <a:pt x="2945358" y="5046325"/>
                  <a:pt x="2949082" y="5041882"/>
                </a:cubicBezTo>
                <a:cubicBezTo>
                  <a:pt x="2949655" y="5041216"/>
                  <a:pt x="2950229" y="5040439"/>
                  <a:pt x="2950800" y="5039994"/>
                </a:cubicBezTo>
                <a:cubicBezTo>
                  <a:pt x="2951087" y="5039549"/>
                  <a:pt x="2951660" y="5039438"/>
                  <a:pt x="2951946" y="5039994"/>
                </a:cubicBezTo>
                <a:close/>
                <a:moveTo>
                  <a:pt x="3619408" y="5030774"/>
                </a:moveTo>
                <a:cubicBezTo>
                  <a:pt x="3633159" y="5042215"/>
                  <a:pt x="3637742" y="5053768"/>
                  <a:pt x="3633160" y="5062432"/>
                </a:cubicBezTo>
                <a:cubicBezTo>
                  <a:pt x="3627430" y="5065321"/>
                  <a:pt x="3622274" y="5066431"/>
                  <a:pt x="3617403" y="5066542"/>
                </a:cubicBezTo>
                <a:cubicBezTo>
                  <a:pt x="3603366" y="5066654"/>
                  <a:pt x="3593054" y="5055879"/>
                  <a:pt x="3583027" y="5045104"/>
                </a:cubicBezTo>
                <a:cubicBezTo>
                  <a:pt x="3596491" y="5039439"/>
                  <a:pt x="3605658" y="5036550"/>
                  <a:pt x="3619408" y="5030774"/>
                </a:cubicBezTo>
                <a:close/>
                <a:moveTo>
                  <a:pt x="6098184" y="5021887"/>
                </a:moveTo>
                <a:cubicBezTo>
                  <a:pt x="6102768" y="5022443"/>
                  <a:pt x="6107639" y="5022998"/>
                  <a:pt x="6112508" y="5023553"/>
                </a:cubicBezTo>
                <a:cubicBezTo>
                  <a:pt x="6111075" y="5025886"/>
                  <a:pt x="6112221" y="5028441"/>
                  <a:pt x="6111934" y="5030107"/>
                </a:cubicBezTo>
                <a:cubicBezTo>
                  <a:pt x="6108210" y="5032218"/>
                  <a:pt x="6104486" y="5032662"/>
                  <a:pt x="6098471" y="5031107"/>
                </a:cubicBezTo>
                <a:cubicBezTo>
                  <a:pt x="6096466" y="5025886"/>
                  <a:pt x="6096466" y="5027553"/>
                  <a:pt x="6098184" y="5021887"/>
                </a:cubicBezTo>
                <a:close/>
                <a:moveTo>
                  <a:pt x="4790474" y="5021887"/>
                </a:moveTo>
                <a:cubicBezTo>
                  <a:pt x="4795058" y="5022442"/>
                  <a:pt x="4799928" y="5022999"/>
                  <a:pt x="4804798" y="5023553"/>
                </a:cubicBezTo>
                <a:cubicBezTo>
                  <a:pt x="4803365" y="5025886"/>
                  <a:pt x="4804511" y="5028441"/>
                  <a:pt x="4804225" y="5030107"/>
                </a:cubicBezTo>
                <a:cubicBezTo>
                  <a:pt x="4800500" y="5032218"/>
                  <a:pt x="4796776" y="5032662"/>
                  <a:pt x="4790761" y="5031107"/>
                </a:cubicBezTo>
                <a:cubicBezTo>
                  <a:pt x="4788756" y="5025886"/>
                  <a:pt x="4788756" y="5027552"/>
                  <a:pt x="4790474" y="5021887"/>
                </a:cubicBezTo>
                <a:close/>
                <a:moveTo>
                  <a:pt x="3723681" y="5021887"/>
                </a:moveTo>
                <a:cubicBezTo>
                  <a:pt x="3728265" y="5022442"/>
                  <a:pt x="3733135" y="5022998"/>
                  <a:pt x="3738004" y="5023554"/>
                </a:cubicBezTo>
                <a:cubicBezTo>
                  <a:pt x="3736572" y="5025886"/>
                  <a:pt x="3737718" y="5028441"/>
                  <a:pt x="3737432" y="5030108"/>
                </a:cubicBezTo>
                <a:cubicBezTo>
                  <a:pt x="3733708" y="5032218"/>
                  <a:pt x="3729982" y="5032663"/>
                  <a:pt x="3723968" y="5031107"/>
                </a:cubicBezTo>
                <a:cubicBezTo>
                  <a:pt x="3721962" y="5025886"/>
                  <a:pt x="3721962" y="5027553"/>
                  <a:pt x="3723681" y="5021887"/>
                </a:cubicBezTo>
                <a:close/>
                <a:moveTo>
                  <a:pt x="3165362" y="5017222"/>
                </a:moveTo>
                <a:cubicBezTo>
                  <a:pt x="3167368" y="5016888"/>
                  <a:pt x="3169374" y="5016555"/>
                  <a:pt x="3171664" y="5017332"/>
                </a:cubicBezTo>
                <a:cubicBezTo>
                  <a:pt x="3171664" y="5017332"/>
                  <a:pt x="3173670" y="5018110"/>
                  <a:pt x="3174530" y="5020332"/>
                </a:cubicBezTo>
                <a:cubicBezTo>
                  <a:pt x="3175675" y="5020887"/>
                  <a:pt x="3176248" y="5021554"/>
                  <a:pt x="3176535" y="5022331"/>
                </a:cubicBezTo>
                <a:cubicBezTo>
                  <a:pt x="3177395" y="5024665"/>
                  <a:pt x="3175389" y="5027219"/>
                  <a:pt x="3175389" y="5027219"/>
                </a:cubicBezTo>
                <a:cubicBezTo>
                  <a:pt x="3175389" y="5027219"/>
                  <a:pt x="3175390" y="5027330"/>
                  <a:pt x="3177107" y="5026886"/>
                </a:cubicBezTo>
                <a:cubicBezTo>
                  <a:pt x="3173956" y="5027664"/>
                  <a:pt x="3171092" y="5029552"/>
                  <a:pt x="3167654" y="5030441"/>
                </a:cubicBezTo>
                <a:cubicBezTo>
                  <a:pt x="3152185" y="5026997"/>
                  <a:pt x="3156195" y="5023553"/>
                  <a:pt x="3159348" y="5017888"/>
                </a:cubicBezTo>
                <a:cubicBezTo>
                  <a:pt x="3161065" y="5018110"/>
                  <a:pt x="3163071" y="5017554"/>
                  <a:pt x="3165362" y="5017222"/>
                </a:cubicBezTo>
                <a:close/>
                <a:moveTo>
                  <a:pt x="5539865" y="5017222"/>
                </a:moveTo>
                <a:cubicBezTo>
                  <a:pt x="5541870" y="5016888"/>
                  <a:pt x="5544162" y="5016555"/>
                  <a:pt x="5546167" y="5017333"/>
                </a:cubicBezTo>
                <a:cubicBezTo>
                  <a:pt x="5546167" y="5017333"/>
                  <a:pt x="5548172" y="5018110"/>
                  <a:pt x="5549031" y="5020332"/>
                </a:cubicBezTo>
                <a:cubicBezTo>
                  <a:pt x="5550178" y="5020888"/>
                  <a:pt x="5550751" y="5021554"/>
                  <a:pt x="5551037" y="5022331"/>
                </a:cubicBezTo>
                <a:cubicBezTo>
                  <a:pt x="5551896" y="5024665"/>
                  <a:pt x="5549891" y="5027219"/>
                  <a:pt x="5549891" y="5027219"/>
                </a:cubicBezTo>
                <a:cubicBezTo>
                  <a:pt x="5549891" y="5027219"/>
                  <a:pt x="5549891" y="5027330"/>
                  <a:pt x="5551610" y="5026886"/>
                </a:cubicBezTo>
                <a:cubicBezTo>
                  <a:pt x="5548459" y="5027664"/>
                  <a:pt x="5545594" y="5029552"/>
                  <a:pt x="5542157" y="5030441"/>
                </a:cubicBezTo>
                <a:cubicBezTo>
                  <a:pt x="5526688" y="5026997"/>
                  <a:pt x="5530698" y="5023554"/>
                  <a:pt x="5533849" y="5017888"/>
                </a:cubicBezTo>
                <a:cubicBezTo>
                  <a:pt x="5535568" y="5018110"/>
                  <a:pt x="5537574" y="5017555"/>
                  <a:pt x="5539865" y="5017222"/>
                </a:cubicBezTo>
                <a:close/>
                <a:moveTo>
                  <a:pt x="4232155" y="5017221"/>
                </a:moveTo>
                <a:cubicBezTo>
                  <a:pt x="4234160" y="5016888"/>
                  <a:pt x="4236166" y="5016555"/>
                  <a:pt x="4238458" y="5017333"/>
                </a:cubicBezTo>
                <a:cubicBezTo>
                  <a:pt x="4238458" y="5017333"/>
                  <a:pt x="4240463" y="5018110"/>
                  <a:pt x="4241322" y="5020332"/>
                </a:cubicBezTo>
                <a:cubicBezTo>
                  <a:pt x="4242468" y="5020887"/>
                  <a:pt x="4243041" y="5021554"/>
                  <a:pt x="4243328" y="5022331"/>
                </a:cubicBezTo>
                <a:cubicBezTo>
                  <a:pt x="4244187" y="5024665"/>
                  <a:pt x="4242182" y="5027219"/>
                  <a:pt x="4242182" y="5027219"/>
                </a:cubicBezTo>
                <a:cubicBezTo>
                  <a:pt x="4242182" y="5027219"/>
                  <a:pt x="4242182" y="5027330"/>
                  <a:pt x="4243900" y="5026886"/>
                </a:cubicBezTo>
                <a:cubicBezTo>
                  <a:pt x="4240749" y="5027664"/>
                  <a:pt x="4237885" y="5029552"/>
                  <a:pt x="4234447" y="5030441"/>
                </a:cubicBezTo>
                <a:cubicBezTo>
                  <a:pt x="4218978" y="5026997"/>
                  <a:pt x="4222988" y="5023554"/>
                  <a:pt x="4226141" y="5017889"/>
                </a:cubicBezTo>
                <a:cubicBezTo>
                  <a:pt x="4227858" y="5018110"/>
                  <a:pt x="4229864" y="5017555"/>
                  <a:pt x="4232155" y="5017221"/>
                </a:cubicBezTo>
                <a:close/>
                <a:moveTo>
                  <a:pt x="5171473" y="5015000"/>
                </a:moveTo>
                <a:cubicBezTo>
                  <a:pt x="5163738" y="5027997"/>
                  <a:pt x="5151706" y="5024775"/>
                  <a:pt x="5147409" y="5032107"/>
                </a:cubicBezTo>
                <a:cubicBezTo>
                  <a:pt x="5144831" y="5030218"/>
                  <a:pt x="5144831" y="5030218"/>
                  <a:pt x="5145690" y="5027553"/>
                </a:cubicBezTo>
                <a:cubicBezTo>
                  <a:pt x="5147122" y="5027108"/>
                  <a:pt x="5146836" y="5025997"/>
                  <a:pt x="5148841" y="5026775"/>
                </a:cubicBezTo>
                <a:cubicBezTo>
                  <a:pt x="5150846" y="5022554"/>
                  <a:pt x="5164310" y="5015556"/>
                  <a:pt x="5171473" y="5015000"/>
                </a:cubicBezTo>
                <a:close/>
                <a:moveTo>
                  <a:pt x="2796969" y="5015000"/>
                </a:moveTo>
                <a:cubicBezTo>
                  <a:pt x="2789235" y="5027996"/>
                  <a:pt x="2777203" y="5024775"/>
                  <a:pt x="2772906" y="5032107"/>
                </a:cubicBezTo>
                <a:cubicBezTo>
                  <a:pt x="2770328" y="5030219"/>
                  <a:pt x="2770328" y="5030219"/>
                  <a:pt x="2771187" y="5027552"/>
                </a:cubicBezTo>
                <a:cubicBezTo>
                  <a:pt x="2772620" y="5027109"/>
                  <a:pt x="2772334" y="5025998"/>
                  <a:pt x="2774338" y="5026775"/>
                </a:cubicBezTo>
                <a:cubicBezTo>
                  <a:pt x="2776345" y="5022554"/>
                  <a:pt x="2789809" y="5015556"/>
                  <a:pt x="2796969" y="5015000"/>
                </a:cubicBezTo>
                <a:close/>
                <a:moveTo>
                  <a:pt x="3863762" y="5015000"/>
                </a:moveTo>
                <a:cubicBezTo>
                  <a:pt x="3856028" y="5027997"/>
                  <a:pt x="3843996" y="5024775"/>
                  <a:pt x="3839699" y="5032107"/>
                </a:cubicBezTo>
                <a:cubicBezTo>
                  <a:pt x="3837121" y="5030218"/>
                  <a:pt x="3837121" y="5030218"/>
                  <a:pt x="3837980" y="5027552"/>
                </a:cubicBezTo>
                <a:cubicBezTo>
                  <a:pt x="3839413" y="5027108"/>
                  <a:pt x="3839126" y="5025997"/>
                  <a:pt x="3841132" y="5026775"/>
                </a:cubicBezTo>
                <a:cubicBezTo>
                  <a:pt x="3843137" y="5022554"/>
                  <a:pt x="3856600" y="5015556"/>
                  <a:pt x="3863762" y="5015000"/>
                </a:cubicBezTo>
                <a:close/>
                <a:moveTo>
                  <a:pt x="5664477" y="5014223"/>
                </a:moveTo>
                <a:cubicBezTo>
                  <a:pt x="5665623" y="5014334"/>
                  <a:pt x="5667342" y="5014556"/>
                  <a:pt x="5669060" y="5015222"/>
                </a:cubicBezTo>
                <a:cubicBezTo>
                  <a:pt x="5668488" y="5020221"/>
                  <a:pt x="5668201" y="5023553"/>
                  <a:pt x="5666769" y="5025886"/>
                </a:cubicBezTo>
                <a:cubicBezTo>
                  <a:pt x="5657888" y="5026108"/>
                  <a:pt x="5655596" y="5017222"/>
                  <a:pt x="5661040" y="5014889"/>
                </a:cubicBezTo>
                <a:cubicBezTo>
                  <a:pt x="5661899" y="5014445"/>
                  <a:pt x="5663045" y="5014223"/>
                  <a:pt x="5664477" y="5014223"/>
                </a:cubicBezTo>
                <a:close/>
                <a:moveTo>
                  <a:pt x="3289689" y="5014223"/>
                </a:moveTo>
                <a:cubicBezTo>
                  <a:pt x="3291121" y="5014334"/>
                  <a:pt x="3292552" y="5014555"/>
                  <a:pt x="3294558" y="5015222"/>
                </a:cubicBezTo>
                <a:cubicBezTo>
                  <a:pt x="3293986" y="5020221"/>
                  <a:pt x="3293698" y="5023554"/>
                  <a:pt x="3292266" y="5025885"/>
                </a:cubicBezTo>
                <a:cubicBezTo>
                  <a:pt x="3283387" y="5026109"/>
                  <a:pt x="3281095" y="5017222"/>
                  <a:pt x="3286537" y="5014889"/>
                </a:cubicBezTo>
                <a:cubicBezTo>
                  <a:pt x="3287396" y="5014445"/>
                  <a:pt x="3288543" y="5014222"/>
                  <a:pt x="3289689" y="5014223"/>
                </a:cubicBezTo>
                <a:close/>
                <a:moveTo>
                  <a:pt x="4356481" y="5014222"/>
                </a:moveTo>
                <a:cubicBezTo>
                  <a:pt x="4357913" y="5014334"/>
                  <a:pt x="4359632" y="5014556"/>
                  <a:pt x="4361351" y="5015222"/>
                </a:cubicBezTo>
                <a:cubicBezTo>
                  <a:pt x="4360779" y="5020221"/>
                  <a:pt x="4360491" y="5023553"/>
                  <a:pt x="4359059" y="5025886"/>
                </a:cubicBezTo>
                <a:cubicBezTo>
                  <a:pt x="4350179" y="5026108"/>
                  <a:pt x="4347887" y="5017222"/>
                  <a:pt x="4353330" y="5014889"/>
                </a:cubicBezTo>
                <a:cubicBezTo>
                  <a:pt x="4354189" y="5014445"/>
                  <a:pt x="4355335" y="5014222"/>
                  <a:pt x="4356481" y="5014222"/>
                </a:cubicBezTo>
                <a:close/>
                <a:moveTo>
                  <a:pt x="3932227" y="5013334"/>
                </a:moveTo>
                <a:cubicBezTo>
                  <a:pt x="3933660" y="5013334"/>
                  <a:pt x="3935092" y="5013556"/>
                  <a:pt x="3936524" y="5014110"/>
                </a:cubicBezTo>
                <a:cubicBezTo>
                  <a:pt x="3937097" y="5015222"/>
                  <a:pt x="3936810" y="5018888"/>
                  <a:pt x="3938530" y="5018555"/>
                </a:cubicBezTo>
                <a:cubicBezTo>
                  <a:pt x="3935665" y="5021887"/>
                  <a:pt x="3931941" y="5025553"/>
                  <a:pt x="3927930" y="5026775"/>
                </a:cubicBezTo>
                <a:cubicBezTo>
                  <a:pt x="3926784" y="5027108"/>
                  <a:pt x="3925353" y="5027219"/>
                  <a:pt x="3923920" y="5026997"/>
                </a:cubicBezTo>
                <a:cubicBezTo>
                  <a:pt x="3920196" y="5026664"/>
                  <a:pt x="3921055" y="5024109"/>
                  <a:pt x="3923347" y="5021110"/>
                </a:cubicBezTo>
                <a:cubicBezTo>
                  <a:pt x="3925352" y="5016000"/>
                  <a:pt x="3928217" y="5013334"/>
                  <a:pt x="3932227" y="5013334"/>
                </a:cubicBezTo>
                <a:close/>
                <a:moveTo>
                  <a:pt x="5240225" y="5013334"/>
                </a:moveTo>
                <a:cubicBezTo>
                  <a:pt x="5241369" y="5013334"/>
                  <a:pt x="5242802" y="5013556"/>
                  <a:pt x="5244520" y="5014111"/>
                </a:cubicBezTo>
                <a:cubicBezTo>
                  <a:pt x="5244807" y="5015222"/>
                  <a:pt x="5244520" y="5018888"/>
                  <a:pt x="5246239" y="5018555"/>
                </a:cubicBezTo>
                <a:cubicBezTo>
                  <a:pt x="5243374" y="5021887"/>
                  <a:pt x="5239650" y="5025553"/>
                  <a:pt x="5235640" y="5026775"/>
                </a:cubicBezTo>
                <a:cubicBezTo>
                  <a:pt x="5234494" y="5027109"/>
                  <a:pt x="5233062" y="5027219"/>
                  <a:pt x="5231630" y="5026997"/>
                </a:cubicBezTo>
                <a:cubicBezTo>
                  <a:pt x="5227906" y="5026663"/>
                  <a:pt x="5228765" y="5024109"/>
                  <a:pt x="5231057" y="5021110"/>
                </a:cubicBezTo>
                <a:cubicBezTo>
                  <a:pt x="5233062" y="5016000"/>
                  <a:pt x="5236213" y="5013334"/>
                  <a:pt x="5240225" y="5013334"/>
                </a:cubicBezTo>
                <a:close/>
                <a:moveTo>
                  <a:pt x="2865435" y="5013334"/>
                </a:moveTo>
                <a:cubicBezTo>
                  <a:pt x="2866866" y="5013334"/>
                  <a:pt x="2868299" y="5013556"/>
                  <a:pt x="2869731" y="5014111"/>
                </a:cubicBezTo>
                <a:cubicBezTo>
                  <a:pt x="2870304" y="5015222"/>
                  <a:pt x="2870018" y="5018888"/>
                  <a:pt x="2871736" y="5018555"/>
                </a:cubicBezTo>
                <a:cubicBezTo>
                  <a:pt x="2868872" y="5021887"/>
                  <a:pt x="2865148" y="5025553"/>
                  <a:pt x="2861137" y="5026775"/>
                </a:cubicBezTo>
                <a:cubicBezTo>
                  <a:pt x="2859705" y="5027108"/>
                  <a:pt x="2858560" y="5027219"/>
                  <a:pt x="2857127" y="5026997"/>
                </a:cubicBezTo>
                <a:cubicBezTo>
                  <a:pt x="2853404" y="5026664"/>
                  <a:pt x="2853976" y="5024109"/>
                  <a:pt x="2856554" y="5021110"/>
                </a:cubicBezTo>
                <a:cubicBezTo>
                  <a:pt x="2858559" y="5016000"/>
                  <a:pt x="2861424" y="5013334"/>
                  <a:pt x="2865435" y="5013334"/>
                </a:cubicBezTo>
                <a:close/>
                <a:moveTo>
                  <a:pt x="2791240" y="5010557"/>
                </a:moveTo>
                <a:cubicBezTo>
                  <a:pt x="2791813" y="5011667"/>
                  <a:pt x="2791527" y="5011779"/>
                  <a:pt x="2791527" y="5011779"/>
                </a:cubicBezTo>
                <a:cubicBezTo>
                  <a:pt x="2786370" y="5012112"/>
                  <a:pt x="2781501" y="5016444"/>
                  <a:pt x="2775771" y="5018444"/>
                </a:cubicBezTo>
                <a:cubicBezTo>
                  <a:pt x="2773766" y="5019110"/>
                  <a:pt x="2771761" y="5019555"/>
                  <a:pt x="2769470" y="5019443"/>
                </a:cubicBezTo>
                <a:cubicBezTo>
                  <a:pt x="2769470" y="5019443"/>
                  <a:pt x="2769182" y="5019555"/>
                  <a:pt x="2770902" y="5019110"/>
                </a:cubicBezTo>
                <a:cubicBezTo>
                  <a:pt x="2770902" y="5019110"/>
                  <a:pt x="2769470" y="5019555"/>
                  <a:pt x="2768897" y="5018444"/>
                </a:cubicBezTo>
                <a:cubicBezTo>
                  <a:pt x="2776057" y="5013222"/>
                  <a:pt x="2789522" y="5011001"/>
                  <a:pt x="2791240" y="5010557"/>
                </a:cubicBezTo>
                <a:close/>
                <a:moveTo>
                  <a:pt x="5165743" y="5010557"/>
                </a:moveTo>
                <a:cubicBezTo>
                  <a:pt x="5166316" y="5011668"/>
                  <a:pt x="5166317" y="5011779"/>
                  <a:pt x="5166317" y="5011779"/>
                </a:cubicBezTo>
                <a:cubicBezTo>
                  <a:pt x="5160873" y="5012112"/>
                  <a:pt x="5156290" y="5016444"/>
                  <a:pt x="5150274" y="5018444"/>
                </a:cubicBezTo>
                <a:cubicBezTo>
                  <a:pt x="5148268" y="5019110"/>
                  <a:pt x="5146263" y="5019554"/>
                  <a:pt x="5143971" y="5019444"/>
                </a:cubicBezTo>
                <a:cubicBezTo>
                  <a:pt x="5143971" y="5019444"/>
                  <a:pt x="5143971" y="5019555"/>
                  <a:pt x="5145690" y="5019110"/>
                </a:cubicBezTo>
                <a:cubicBezTo>
                  <a:pt x="5145690" y="5019110"/>
                  <a:pt x="5143971" y="5019555"/>
                  <a:pt x="5143398" y="5018444"/>
                </a:cubicBezTo>
                <a:cubicBezTo>
                  <a:pt x="5150560" y="5013223"/>
                  <a:pt x="5164024" y="5011001"/>
                  <a:pt x="5165743" y="5010557"/>
                </a:cubicBezTo>
                <a:close/>
                <a:moveTo>
                  <a:pt x="3858033" y="5010557"/>
                </a:moveTo>
                <a:cubicBezTo>
                  <a:pt x="3858606" y="5011668"/>
                  <a:pt x="3858319" y="5011779"/>
                  <a:pt x="3858319" y="5011779"/>
                </a:cubicBezTo>
                <a:cubicBezTo>
                  <a:pt x="3853163" y="5012112"/>
                  <a:pt x="3848293" y="5016444"/>
                  <a:pt x="3842564" y="5018443"/>
                </a:cubicBezTo>
                <a:cubicBezTo>
                  <a:pt x="3840558" y="5019110"/>
                  <a:pt x="3838553" y="5019555"/>
                  <a:pt x="3836262" y="5019444"/>
                </a:cubicBezTo>
                <a:cubicBezTo>
                  <a:pt x="3836262" y="5019444"/>
                  <a:pt x="3835975" y="5019555"/>
                  <a:pt x="3837694" y="5019110"/>
                </a:cubicBezTo>
                <a:cubicBezTo>
                  <a:pt x="3837694" y="5019110"/>
                  <a:pt x="3836262" y="5019555"/>
                  <a:pt x="3835689" y="5018444"/>
                </a:cubicBezTo>
                <a:cubicBezTo>
                  <a:pt x="3842850" y="5013223"/>
                  <a:pt x="3856314" y="5011001"/>
                  <a:pt x="3858033" y="5010557"/>
                </a:cubicBezTo>
                <a:close/>
                <a:moveTo>
                  <a:pt x="3561542" y="5008891"/>
                </a:moveTo>
                <a:cubicBezTo>
                  <a:pt x="3566700" y="5009335"/>
                  <a:pt x="3572142" y="5009779"/>
                  <a:pt x="3575293" y="5015000"/>
                </a:cubicBezTo>
                <a:cubicBezTo>
                  <a:pt x="3573574" y="5019665"/>
                  <a:pt x="3569564" y="5022331"/>
                  <a:pt x="3560397" y="5024553"/>
                </a:cubicBezTo>
                <a:cubicBezTo>
                  <a:pt x="3552950" y="5022110"/>
                  <a:pt x="3550084" y="5011779"/>
                  <a:pt x="3561542" y="5008891"/>
                </a:cubicBezTo>
                <a:close/>
                <a:moveTo>
                  <a:pt x="2494750" y="5008891"/>
                </a:moveTo>
                <a:cubicBezTo>
                  <a:pt x="2499907" y="5009335"/>
                  <a:pt x="2505062" y="5009779"/>
                  <a:pt x="2508500" y="5015000"/>
                </a:cubicBezTo>
                <a:cubicBezTo>
                  <a:pt x="2506781" y="5019666"/>
                  <a:pt x="2502771" y="5022331"/>
                  <a:pt x="2493603" y="5024554"/>
                </a:cubicBezTo>
                <a:cubicBezTo>
                  <a:pt x="2486156" y="5022110"/>
                  <a:pt x="2483291" y="5011779"/>
                  <a:pt x="2494750" y="5008891"/>
                </a:cubicBezTo>
                <a:close/>
                <a:moveTo>
                  <a:pt x="4869252" y="5008890"/>
                </a:moveTo>
                <a:cubicBezTo>
                  <a:pt x="4874408" y="5009335"/>
                  <a:pt x="4879851" y="5009779"/>
                  <a:pt x="4883002" y="5015000"/>
                </a:cubicBezTo>
                <a:cubicBezTo>
                  <a:pt x="4881284" y="5019666"/>
                  <a:pt x="4877272" y="5022331"/>
                  <a:pt x="4868106" y="5024554"/>
                </a:cubicBezTo>
                <a:cubicBezTo>
                  <a:pt x="4860658" y="5022109"/>
                  <a:pt x="4857794" y="5011779"/>
                  <a:pt x="4869252" y="5008890"/>
                </a:cubicBezTo>
                <a:close/>
                <a:moveTo>
                  <a:pt x="2805277" y="5006447"/>
                </a:moveTo>
                <a:cubicBezTo>
                  <a:pt x="2805850" y="5006225"/>
                  <a:pt x="2806709" y="5006113"/>
                  <a:pt x="2807855" y="5006447"/>
                </a:cubicBezTo>
                <a:cubicBezTo>
                  <a:pt x="2806710" y="5008002"/>
                  <a:pt x="2803558" y="5010001"/>
                  <a:pt x="2802412" y="5011556"/>
                </a:cubicBezTo>
                <a:cubicBezTo>
                  <a:pt x="2802412" y="5011556"/>
                  <a:pt x="2802412" y="5011556"/>
                  <a:pt x="2800407" y="5010890"/>
                </a:cubicBezTo>
                <a:cubicBezTo>
                  <a:pt x="2802985" y="5010223"/>
                  <a:pt x="2803558" y="5007334"/>
                  <a:pt x="2805277" y="5006447"/>
                </a:cubicBezTo>
                <a:close/>
                <a:moveTo>
                  <a:pt x="5180066" y="5006447"/>
                </a:moveTo>
                <a:cubicBezTo>
                  <a:pt x="5180639" y="5006225"/>
                  <a:pt x="5181213" y="5006113"/>
                  <a:pt x="5182358" y="5006447"/>
                </a:cubicBezTo>
                <a:cubicBezTo>
                  <a:pt x="5181212" y="5008002"/>
                  <a:pt x="5178347" y="5010001"/>
                  <a:pt x="5177201" y="5011556"/>
                </a:cubicBezTo>
                <a:cubicBezTo>
                  <a:pt x="5177201" y="5011556"/>
                  <a:pt x="5176915" y="5011556"/>
                  <a:pt x="5174910" y="5010890"/>
                </a:cubicBezTo>
                <a:cubicBezTo>
                  <a:pt x="5177488" y="5010223"/>
                  <a:pt x="5178061" y="5007335"/>
                  <a:pt x="5180066" y="5006447"/>
                </a:cubicBezTo>
                <a:close/>
                <a:moveTo>
                  <a:pt x="3872070" y="5006447"/>
                </a:moveTo>
                <a:cubicBezTo>
                  <a:pt x="3872642" y="5006225"/>
                  <a:pt x="3873502" y="5006114"/>
                  <a:pt x="3874648" y="5006447"/>
                </a:cubicBezTo>
                <a:cubicBezTo>
                  <a:pt x="3873502" y="5008002"/>
                  <a:pt x="3870351" y="5010001"/>
                  <a:pt x="3869205" y="5011556"/>
                </a:cubicBezTo>
                <a:cubicBezTo>
                  <a:pt x="3869205" y="5011556"/>
                  <a:pt x="3869205" y="5011556"/>
                  <a:pt x="3867200" y="5010890"/>
                </a:cubicBezTo>
                <a:cubicBezTo>
                  <a:pt x="3869778" y="5010223"/>
                  <a:pt x="3870351" y="5007335"/>
                  <a:pt x="3872070" y="5006447"/>
                </a:cubicBezTo>
                <a:close/>
                <a:moveTo>
                  <a:pt x="5260562" y="5005225"/>
                </a:moveTo>
                <a:cubicBezTo>
                  <a:pt x="5260849" y="5005780"/>
                  <a:pt x="5261422" y="5006557"/>
                  <a:pt x="5261996" y="5007224"/>
                </a:cubicBezTo>
                <a:cubicBezTo>
                  <a:pt x="5262568" y="5007891"/>
                  <a:pt x="5262854" y="5008446"/>
                  <a:pt x="5261995" y="5008556"/>
                </a:cubicBezTo>
                <a:cubicBezTo>
                  <a:pt x="5262568" y="5009779"/>
                  <a:pt x="5259416" y="5010557"/>
                  <a:pt x="5259416" y="5010557"/>
                </a:cubicBezTo>
                <a:cubicBezTo>
                  <a:pt x="5259703" y="5011667"/>
                  <a:pt x="5260276" y="5012778"/>
                  <a:pt x="5259130" y="5014334"/>
                </a:cubicBezTo>
                <a:cubicBezTo>
                  <a:pt x="5257125" y="5013556"/>
                  <a:pt x="5257411" y="5014778"/>
                  <a:pt x="5255979" y="5015111"/>
                </a:cubicBezTo>
                <a:cubicBezTo>
                  <a:pt x="5257125" y="5013556"/>
                  <a:pt x="5255692" y="5010112"/>
                  <a:pt x="5256266" y="5007446"/>
                </a:cubicBezTo>
                <a:cubicBezTo>
                  <a:pt x="5257985" y="5007113"/>
                  <a:pt x="5259130" y="5005558"/>
                  <a:pt x="5260562" y="5005225"/>
                </a:cubicBezTo>
                <a:close/>
                <a:moveTo>
                  <a:pt x="3952852" y="5005225"/>
                </a:moveTo>
                <a:cubicBezTo>
                  <a:pt x="3953139" y="5005780"/>
                  <a:pt x="3953712" y="5006558"/>
                  <a:pt x="3954285" y="5007225"/>
                </a:cubicBezTo>
                <a:cubicBezTo>
                  <a:pt x="3954858" y="5007891"/>
                  <a:pt x="3954858" y="5008446"/>
                  <a:pt x="3954285" y="5008557"/>
                </a:cubicBezTo>
                <a:cubicBezTo>
                  <a:pt x="3954572" y="5009779"/>
                  <a:pt x="3951420" y="5010557"/>
                  <a:pt x="3951420" y="5010557"/>
                </a:cubicBezTo>
                <a:cubicBezTo>
                  <a:pt x="3951993" y="5011667"/>
                  <a:pt x="3952566" y="5012778"/>
                  <a:pt x="3951420" y="5014333"/>
                </a:cubicBezTo>
                <a:cubicBezTo>
                  <a:pt x="3949415" y="5013556"/>
                  <a:pt x="3949702" y="5014778"/>
                  <a:pt x="3947983" y="5015112"/>
                </a:cubicBezTo>
                <a:cubicBezTo>
                  <a:pt x="3949128" y="5013556"/>
                  <a:pt x="3947983" y="5010112"/>
                  <a:pt x="3948556" y="5007445"/>
                </a:cubicBezTo>
                <a:cubicBezTo>
                  <a:pt x="3950274" y="5007114"/>
                  <a:pt x="3951420" y="5005557"/>
                  <a:pt x="3952852" y="5005225"/>
                </a:cubicBezTo>
                <a:close/>
                <a:moveTo>
                  <a:pt x="2886060" y="5005225"/>
                </a:moveTo>
                <a:cubicBezTo>
                  <a:pt x="2886346" y="5005780"/>
                  <a:pt x="2886920" y="5006557"/>
                  <a:pt x="2887492" y="5007224"/>
                </a:cubicBezTo>
                <a:cubicBezTo>
                  <a:pt x="2888066" y="5007891"/>
                  <a:pt x="2888065" y="5008446"/>
                  <a:pt x="2887493" y="5008557"/>
                </a:cubicBezTo>
                <a:cubicBezTo>
                  <a:pt x="2887778" y="5009778"/>
                  <a:pt x="2884627" y="5010556"/>
                  <a:pt x="2884627" y="5010556"/>
                </a:cubicBezTo>
                <a:cubicBezTo>
                  <a:pt x="2885200" y="5011668"/>
                  <a:pt x="2885773" y="5012779"/>
                  <a:pt x="2884627" y="5014334"/>
                </a:cubicBezTo>
                <a:cubicBezTo>
                  <a:pt x="2882622" y="5013556"/>
                  <a:pt x="2882908" y="5014778"/>
                  <a:pt x="2881191" y="5015111"/>
                </a:cubicBezTo>
                <a:cubicBezTo>
                  <a:pt x="2882336" y="5013556"/>
                  <a:pt x="2881190" y="5010113"/>
                  <a:pt x="2881763" y="5007446"/>
                </a:cubicBezTo>
                <a:cubicBezTo>
                  <a:pt x="2883482" y="5007114"/>
                  <a:pt x="2884627" y="5005558"/>
                  <a:pt x="2886060" y="5005225"/>
                </a:cubicBezTo>
                <a:close/>
                <a:moveTo>
                  <a:pt x="4424373" y="5005003"/>
                </a:moveTo>
                <a:cubicBezTo>
                  <a:pt x="4426665" y="5004780"/>
                  <a:pt x="4429243" y="5004890"/>
                  <a:pt x="4432680" y="5005225"/>
                </a:cubicBezTo>
                <a:cubicBezTo>
                  <a:pt x="4429243" y="5016444"/>
                  <a:pt x="4447863" y="5012667"/>
                  <a:pt x="4445859" y="5021554"/>
                </a:cubicBezTo>
                <a:cubicBezTo>
                  <a:pt x="4442708" y="5024331"/>
                  <a:pt x="4440988" y="5028108"/>
                  <a:pt x="4436404" y="5030107"/>
                </a:cubicBezTo>
                <a:cubicBezTo>
                  <a:pt x="4434686" y="5030774"/>
                  <a:pt x="4432680" y="5031330"/>
                  <a:pt x="4430389" y="5031440"/>
                </a:cubicBezTo>
                <a:cubicBezTo>
                  <a:pt x="4428956" y="5021332"/>
                  <a:pt x="4423514" y="5015000"/>
                  <a:pt x="4419503" y="5006336"/>
                </a:cubicBezTo>
                <a:cubicBezTo>
                  <a:pt x="4420935" y="5005669"/>
                  <a:pt x="4422369" y="5005225"/>
                  <a:pt x="4424373" y="5005003"/>
                </a:cubicBezTo>
                <a:close/>
                <a:moveTo>
                  <a:pt x="5732369" y="5005002"/>
                </a:moveTo>
                <a:cubicBezTo>
                  <a:pt x="5734374" y="5004780"/>
                  <a:pt x="5736952" y="5004890"/>
                  <a:pt x="5740676" y="5005225"/>
                </a:cubicBezTo>
                <a:cubicBezTo>
                  <a:pt x="5737239" y="5016444"/>
                  <a:pt x="5755573" y="5012667"/>
                  <a:pt x="5753568" y="5021554"/>
                </a:cubicBezTo>
                <a:cubicBezTo>
                  <a:pt x="5750417" y="5024331"/>
                  <a:pt x="5748984" y="5028108"/>
                  <a:pt x="5744114" y="5030107"/>
                </a:cubicBezTo>
                <a:cubicBezTo>
                  <a:pt x="5742682" y="5030774"/>
                  <a:pt x="5740676" y="5031330"/>
                  <a:pt x="5738385" y="5031440"/>
                </a:cubicBezTo>
                <a:cubicBezTo>
                  <a:pt x="5736666" y="5021332"/>
                  <a:pt x="5731224" y="5015000"/>
                  <a:pt x="5727213" y="5006336"/>
                </a:cubicBezTo>
                <a:cubicBezTo>
                  <a:pt x="5728645" y="5005669"/>
                  <a:pt x="5730079" y="5005225"/>
                  <a:pt x="5732369" y="5005002"/>
                </a:cubicBezTo>
                <a:close/>
                <a:moveTo>
                  <a:pt x="3357580" y="5005002"/>
                </a:moveTo>
                <a:cubicBezTo>
                  <a:pt x="3359872" y="5004781"/>
                  <a:pt x="3362450" y="5004891"/>
                  <a:pt x="3365887" y="5005225"/>
                </a:cubicBezTo>
                <a:cubicBezTo>
                  <a:pt x="3362450" y="5016444"/>
                  <a:pt x="3381070" y="5012667"/>
                  <a:pt x="3379066" y="5021554"/>
                </a:cubicBezTo>
                <a:cubicBezTo>
                  <a:pt x="3375915" y="5024331"/>
                  <a:pt x="3374195" y="5028108"/>
                  <a:pt x="3369612" y="5030108"/>
                </a:cubicBezTo>
                <a:cubicBezTo>
                  <a:pt x="3367894" y="5030774"/>
                  <a:pt x="3365888" y="5031330"/>
                  <a:pt x="3363596" y="5031440"/>
                </a:cubicBezTo>
                <a:cubicBezTo>
                  <a:pt x="3362163" y="5021332"/>
                  <a:pt x="3356721" y="5015000"/>
                  <a:pt x="3352711" y="5006335"/>
                </a:cubicBezTo>
                <a:cubicBezTo>
                  <a:pt x="3354142" y="5005669"/>
                  <a:pt x="3355576" y="5005225"/>
                  <a:pt x="3357580" y="5005002"/>
                </a:cubicBezTo>
                <a:close/>
                <a:moveTo>
                  <a:pt x="4187467" y="5002004"/>
                </a:moveTo>
                <a:cubicBezTo>
                  <a:pt x="4187753" y="5002226"/>
                  <a:pt x="4188613" y="5002670"/>
                  <a:pt x="4189472" y="5003115"/>
                </a:cubicBezTo>
                <a:cubicBezTo>
                  <a:pt x="4188040" y="5003447"/>
                  <a:pt x="4189472" y="5003115"/>
                  <a:pt x="4186034" y="5002670"/>
                </a:cubicBezTo>
                <a:cubicBezTo>
                  <a:pt x="4186608" y="5001892"/>
                  <a:pt x="4186894" y="5001781"/>
                  <a:pt x="4187467" y="5002004"/>
                </a:cubicBezTo>
                <a:close/>
                <a:moveTo>
                  <a:pt x="5495177" y="5002003"/>
                </a:moveTo>
                <a:cubicBezTo>
                  <a:pt x="5495750" y="5002226"/>
                  <a:pt x="5496322" y="5002670"/>
                  <a:pt x="5497182" y="5003115"/>
                </a:cubicBezTo>
                <a:cubicBezTo>
                  <a:pt x="5495750" y="5003448"/>
                  <a:pt x="5497182" y="5003115"/>
                  <a:pt x="5493744" y="5002670"/>
                </a:cubicBezTo>
                <a:cubicBezTo>
                  <a:pt x="5494317" y="5001892"/>
                  <a:pt x="5494890" y="5001781"/>
                  <a:pt x="5495177" y="5002003"/>
                </a:cubicBezTo>
                <a:close/>
                <a:moveTo>
                  <a:pt x="3120674" y="5002003"/>
                </a:moveTo>
                <a:cubicBezTo>
                  <a:pt x="3120960" y="5002226"/>
                  <a:pt x="3121820" y="5002670"/>
                  <a:pt x="3122679" y="5003114"/>
                </a:cubicBezTo>
                <a:cubicBezTo>
                  <a:pt x="3121247" y="5003447"/>
                  <a:pt x="3122679" y="5003114"/>
                  <a:pt x="3119242" y="5002669"/>
                </a:cubicBezTo>
                <a:cubicBezTo>
                  <a:pt x="3119814" y="5001892"/>
                  <a:pt x="3120101" y="5001781"/>
                  <a:pt x="3120674" y="5002003"/>
                </a:cubicBezTo>
                <a:close/>
                <a:moveTo>
                  <a:pt x="2873742" y="4997894"/>
                </a:moveTo>
                <a:cubicBezTo>
                  <a:pt x="2874601" y="4997670"/>
                  <a:pt x="2875461" y="4997782"/>
                  <a:pt x="2876606" y="4998116"/>
                </a:cubicBezTo>
                <a:cubicBezTo>
                  <a:pt x="2876606" y="4998116"/>
                  <a:pt x="2875747" y="5000781"/>
                  <a:pt x="2875747" y="5000781"/>
                </a:cubicBezTo>
                <a:cubicBezTo>
                  <a:pt x="2873170" y="5003781"/>
                  <a:pt x="2872023" y="5005225"/>
                  <a:pt x="2871164" y="5007891"/>
                </a:cubicBezTo>
                <a:cubicBezTo>
                  <a:pt x="2867439" y="5007668"/>
                  <a:pt x="2866866" y="5006557"/>
                  <a:pt x="2868300" y="5005002"/>
                </a:cubicBezTo>
                <a:cubicBezTo>
                  <a:pt x="2868300" y="5005002"/>
                  <a:pt x="2869445" y="5003448"/>
                  <a:pt x="2870590" y="5002003"/>
                </a:cubicBezTo>
                <a:cubicBezTo>
                  <a:pt x="2872023" y="5000449"/>
                  <a:pt x="2871450" y="4999337"/>
                  <a:pt x="2871450" y="4999337"/>
                </a:cubicBezTo>
                <a:cubicBezTo>
                  <a:pt x="2872023" y="4998559"/>
                  <a:pt x="2872882" y="4998116"/>
                  <a:pt x="2873742" y="4997894"/>
                </a:cubicBezTo>
                <a:close/>
                <a:moveTo>
                  <a:pt x="5248244" y="4997893"/>
                </a:moveTo>
                <a:cubicBezTo>
                  <a:pt x="5249104" y="4997671"/>
                  <a:pt x="5250250" y="4997782"/>
                  <a:pt x="5251109" y="4998116"/>
                </a:cubicBezTo>
                <a:cubicBezTo>
                  <a:pt x="5251109" y="4998116"/>
                  <a:pt x="5250250" y="5000781"/>
                  <a:pt x="5250250" y="5000781"/>
                </a:cubicBezTo>
                <a:cubicBezTo>
                  <a:pt x="5247672" y="5003781"/>
                  <a:pt x="5246526" y="5005225"/>
                  <a:pt x="5245666" y="5007890"/>
                </a:cubicBezTo>
                <a:cubicBezTo>
                  <a:pt x="5241942" y="5007668"/>
                  <a:pt x="5241369" y="5006558"/>
                  <a:pt x="5242802" y="5005003"/>
                </a:cubicBezTo>
                <a:cubicBezTo>
                  <a:pt x="5242802" y="5005003"/>
                  <a:pt x="5243948" y="5003447"/>
                  <a:pt x="5245093" y="5002004"/>
                </a:cubicBezTo>
                <a:cubicBezTo>
                  <a:pt x="5246526" y="5000448"/>
                  <a:pt x="5246239" y="4999337"/>
                  <a:pt x="5246239" y="4999337"/>
                </a:cubicBezTo>
                <a:cubicBezTo>
                  <a:pt x="5246812" y="4998560"/>
                  <a:pt x="5247385" y="4998116"/>
                  <a:pt x="5248244" y="4997893"/>
                </a:cubicBezTo>
                <a:close/>
                <a:moveTo>
                  <a:pt x="3940535" y="4997893"/>
                </a:moveTo>
                <a:cubicBezTo>
                  <a:pt x="3941394" y="4997671"/>
                  <a:pt x="3942254" y="4997782"/>
                  <a:pt x="3943399" y="4998116"/>
                </a:cubicBezTo>
                <a:cubicBezTo>
                  <a:pt x="3943399" y="4998116"/>
                  <a:pt x="3942540" y="5000781"/>
                  <a:pt x="3942540" y="5000781"/>
                </a:cubicBezTo>
                <a:cubicBezTo>
                  <a:pt x="3939962" y="5003781"/>
                  <a:pt x="3938816" y="5005225"/>
                  <a:pt x="3937956" y="5007891"/>
                </a:cubicBezTo>
                <a:cubicBezTo>
                  <a:pt x="3934232" y="5007669"/>
                  <a:pt x="3933660" y="5006558"/>
                  <a:pt x="3935092" y="5005003"/>
                </a:cubicBezTo>
                <a:cubicBezTo>
                  <a:pt x="3935092" y="5005003"/>
                  <a:pt x="3936238" y="5003447"/>
                  <a:pt x="3937384" y="5002003"/>
                </a:cubicBezTo>
                <a:cubicBezTo>
                  <a:pt x="3938816" y="5000448"/>
                  <a:pt x="3938243" y="4999337"/>
                  <a:pt x="3938243" y="4999337"/>
                </a:cubicBezTo>
                <a:cubicBezTo>
                  <a:pt x="3938816" y="4998560"/>
                  <a:pt x="3939675" y="4998116"/>
                  <a:pt x="3940535" y="4997893"/>
                </a:cubicBezTo>
                <a:close/>
                <a:moveTo>
                  <a:pt x="3616830" y="4995672"/>
                </a:moveTo>
                <a:cubicBezTo>
                  <a:pt x="3619408" y="4995450"/>
                  <a:pt x="3622559" y="4995561"/>
                  <a:pt x="3625997" y="4996227"/>
                </a:cubicBezTo>
                <a:cubicBezTo>
                  <a:pt x="3622273" y="4998004"/>
                  <a:pt x="3618549" y="4999226"/>
                  <a:pt x="3614825" y="5000226"/>
                </a:cubicBezTo>
                <a:cubicBezTo>
                  <a:pt x="3604512" y="5003003"/>
                  <a:pt x="3595632" y="5003004"/>
                  <a:pt x="3588758" y="5006447"/>
                </a:cubicBezTo>
                <a:cubicBezTo>
                  <a:pt x="3588758" y="5006447"/>
                  <a:pt x="3588758" y="5006447"/>
                  <a:pt x="3584746" y="5005002"/>
                </a:cubicBezTo>
                <a:cubicBezTo>
                  <a:pt x="3583027" y="5005447"/>
                  <a:pt x="3583027" y="5005447"/>
                  <a:pt x="3583027" y="5005447"/>
                </a:cubicBezTo>
                <a:cubicBezTo>
                  <a:pt x="3581596" y="5005891"/>
                  <a:pt x="3580736" y="5003670"/>
                  <a:pt x="3580736" y="5003670"/>
                </a:cubicBezTo>
                <a:cubicBezTo>
                  <a:pt x="3581309" y="5001003"/>
                  <a:pt x="3586751" y="5000892"/>
                  <a:pt x="3589902" y="5000004"/>
                </a:cubicBezTo>
                <a:cubicBezTo>
                  <a:pt x="3590762" y="4997449"/>
                  <a:pt x="3597351" y="5000781"/>
                  <a:pt x="3598210" y="4998116"/>
                </a:cubicBezTo>
                <a:cubicBezTo>
                  <a:pt x="3604226" y="5000337"/>
                  <a:pt x="3609096" y="4996449"/>
                  <a:pt x="3616830" y="4995672"/>
                </a:cubicBezTo>
                <a:close/>
                <a:moveTo>
                  <a:pt x="4924826" y="4995672"/>
                </a:moveTo>
                <a:cubicBezTo>
                  <a:pt x="4927404" y="4995450"/>
                  <a:pt x="4930269" y="4995561"/>
                  <a:pt x="4933706" y="4996227"/>
                </a:cubicBezTo>
                <a:cubicBezTo>
                  <a:pt x="4929982" y="4998004"/>
                  <a:pt x="4926258" y="4999226"/>
                  <a:pt x="4922821" y="5000226"/>
                </a:cubicBezTo>
                <a:cubicBezTo>
                  <a:pt x="4912508" y="5003003"/>
                  <a:pt x="4903341" y="5003004"/>
                  <a:pt x="4896753" y="5006447"/>
                </a:cubicBezTo>
                <a:cubicBezTo>
                  <a:pt x="4896753" y="5006447"/>
                  <a:pt x="4896753" y="5006447"/>
                  <a:pt x="4892456" y="5005003"/>
                </a:cubicBezTo>
                <a:cubicBezTo>
                  <a:pt x="4891023" y="5005447"/>
                  <a:pt x="4891023" y="5005447"/>
                  <a:pt x="4891023" y="5005447"/>
                </a:cubicBezTo>
                <a:cubicBezTo>
                  <a:pt x="4889304" y="5005891"/>
                  <a:pt x="4888445" y="5003670"/>
                  <a:pt x="4888445" y="5003670"/>
                </a:cubicBezTo>
                <a:cubicBezTo>
                  <a:pt x="4889304" y="5001004"/>
                  <a:pt x="4894461" y="5000892"/>
                  <a:pt x="4897612" y="5000004"/>
                </a:cubicBezTo>
                <a:cubicBezTo>
                  <a:pt x="4898472" y="4997449"/>
                  <a:pt x="4905060" y="5000781"/>
                  <a:pt x="4905920" y="4998116"/>
                </a:cubicBezTo>
                <a:cubicBezTo>
                  <a:pt x="4911935" y="5000337"/>
                  <a:pt x="4917092" y="4996449"/>
                  <a:pt x="4924826" y="4995672"/>
                </a:cubicBezTo>
                <a:close/>
                <a:moveTo>
                  <a:pt x="2550037" y="4995672"/>
                </a:moveTo>
                <a:cubicBezTo>
                  <a:pt x="2552615" y="4995450"/>
                  <a:pt x="2555766" y="4995561"/>
                  <a:pt x="2559205" y="4996227"/>
                </a:cubicBezTo>
                <a:cubicBezTo>
                  <a:pt x="2555481" y="4998004"/>
                  <a:pt x="2551469" y="4999226"/>
                  <a:pt x="2548032" y="5000226"/>
                </a:cubicBezTo>
                <a:cubicBezTo>
                  <a:pt x="2537720" y="5003004"/>
                  <a:pt x="2528839" y="5003003"/>
                  <a:pt x="2521964" y="5006447"/>
                </a:cubicBezTo>
                <a:cubicBezTo>
                  <a:pt x="2521964" y="5006447"/>
                  <a:pt x="2521964" y="5006447"/>
                  <a:pt x="2517953" y="5005002"/>
                </a:cubicBezTo>
                <a:cubicBezTo>
                  <a:pt x="2516234" y="5005447"/>
                  <a:pt x="2516234" y="5005447"/>
                  <a:pt x="2516234" y="5005447"/>
                </a:cubicBezTo>
                <a:cubicBezTo>
                  <a:pt x="2514803" y="5005891"/>
                  <a:pt x="2513942" y="5003669"/>
                  <a:pt x="2513942" y="5003669"/>
                </a:cubicBezTo>
                <a:cubicBezTo>
                  <a:pt x="2514516" y="5001004"/>
                  <a:pt x="2519958" y="5000893"/>
                  <a:pt x="2523109" y="5000004"/>
                </a:cubicBezTo>
                <a:cubicBezTo>
                  <a:pt x="2523969" y="4997449"/>
                  <a:pt x="2530557" y="5000781"/>
                  <a:pt x="2531417" y="4998116"/>
                </a:cubicBezTo>
                <a:cubicBezTo>
                  <a:pt x="2537432" y="5000337"/>
                  <a:pt x="2542302" y="4996450"/>
                  <a:pt x="2550037" y="4995672"/>
                </a:cubicBezTo>
                <a:close/>
                <a:moveTo>
                  <a:pt x="5633826" y="4994339"/>
                </a:moveTo>
                <a:cubicBezTo>
                  <a:pt x="5643279" y="4997227"/>
                  <a:pt x="5644138" y="5006557"/>
                  <a:pt x="5638982" y="5011224"/>
                </a:cubicBezTo>
                <a:cubicBezTo>
                  <a:pt x="5637263" y="5012779"/>
                  <a:pt x="5634971" y="5013779"/>
                  <a:pt x="5631820" y="5013890"/>
                </a:cubicBezTo>
                <a:cubicBezTo>
                  <a:pt x="5618929" y="5010113"/>
                  <a:pt x="5624086" y="4996670"/>
                  <a:pt x="5633826" y="4994339"/>
                </a:cubicBezTo>
                <a:close/>
                <a:moveTo>
                  <a:pt x="4326116" y="4994339"/>
                </a:moveTo>
                <a:cubicBezTo>
                  <a:pt x="4335569" y="4997227"/>
                  <a:pt x="4336428" y="5006557"/>
                  <a:pt x="4331272" y="5011223"/>
                </a:cubicBezTo>
                <a:cubicBezTo>
                  <a:pt x="4329553" y="5012778"/>
                  <a:pt x="4327262" y="5013779"/>
                  <a:pt x="4324110" y="5013890"/>
                </a:cubicBezTo>
                <a:cubicBezTo>
                  <a:pt x="4311220" y="5010113"/>
                  <a:pt x="4316376" y="4996671"/>
                  <a:pt x="4326116" y="4994339"/>
                </a:cubicBezTo>
                <a:close/>
                <a:moveTo>
                  <a:pt x="3259324" y="4994338"/>
                </a:moveTo>
                <a:cubicBezTo>
                  <a:pt x="3268776" y="4997227"/>
                  <a:pt x="3269635" y="5006558"/>
                  <a:pt x="3264479" y="5011223"/>
                </a:cubicBezTo>
                <a:cubicBezTo>
                  <a:pt x="3262760" y="5012778"/>
                  <a:pt x="3260468" y="5013778"/>
                  <a:pt x="3257317" y="5013889"/>
                </a:cubicBezTo>
                <a:cubicBezTo>
                  <a:pt x="3244426" y="5010112"/>
                  <a:pt x="3249583" y="4996671"/>
                  <a:pt x="3259324" y="4994338"/>
                </a:cubicBezTo>
                <a:close/>
                <a:moveTo>
                  <a:pt x="3191144" y="4988118"/>
                </a:moveTo>
                <a:cubicBezTo>
                  <a:pt x="3193150" y="4988118"/>
                  <a:pt x="3195442" y="4988451"/>
                  <a:pt x="3198306" y="4989229"/>
                </a:cubicBezTo>
                <a:cubicBezTo>
                  <a:pt x="3206327" y="4990895"/>
                  <a:pt x="3210051" y="4993895"/>
                  <a:pt x="3211770" y="4997116"/>
                </a:cubicBezTo>
                <a:cubicBezTo>
                  <a:pt x="3213203" y="5000449"/>
                  <a:pt x="3212343" y="5004002"/>
                  <a:pt x="3210624" y="5006891"/>
                </a:cubicBezTo>
                <a:cubicBezTo>
                  <a:pt x="3208905" y="5006336"/>
                  <a:pt x="3204608" y="5014000"/>
                  <a:pt x="3194868" y="5016111"/>
                </a:cubicBezTo>
                <a:cubicBezTo>
                  <a:pt x="3191717" y="5016777"/>
                  <a:pt x="3187994" y="5016888"/>
                  <a:pt x="3183410" y="5015777"/>
                </a:cubicBezTo>
                <a:cubicBezTo>
                  <a:pt x="3173670" y="5013445"/>
                  <a:pt x="3164217" y="5008446"/>
                  <a:pt x="3172524" y="4996782"/>
                </a:cubicBezTo>
                <a:cubicBezTo>
                  <a:pt x="3173097" y="4994228"/>
                  <a:pt x="3173670" y="4995339"/>
                  <a:pt x="3174816" y="4993894"/>
                </a:cubicBezTo>
                <a:cubicBezTo>
                  <a:pt x="3176248" y="4992340"/>
                  <a:pt x="3176821" y="4989673"/>
                  <a:pt x="3176535" y="4988674"/>
                </a:cubicBezTo>
                <a:cubicBezTo>
                  <a:pt x="3182264" y="4989894"/>
                  <a:pt x="3185129" y="4987896"/>
                  <a:pt x="3191144" y="4988118"/>
                </a:cubicBezTo>
                <a:close/>
                <a:moveTo>
                  <a:pt x="5565647" y="4988118"/>
                </a:moveTo>
                <a:cubicBezTo>
                  <a:pt x="5567652" y="4988118"/>
                  <a:pt x="5569944" y="4988452"/>
                  <a:pt x="5572808" y="4989229"/>
                </a:cubicBezTo>
                <a:cubicBezTo>
                  <a:pt x="5580830" y="4990895"/>
                  <a:pt x="5584555" y="4993894"/>
                  <a:pt x="5586272" y="4997116"/>
                </a:cubicBezTo>
                <a:cubicBezTo>
                  <a:pt x="5587706" y="5000448"/>
                  <a:pt x="5586845" y="5004003"/>
                  <a:pt x="5585126" y="5006891"/>
                </a:cubicBezTo>
                <a:cubicBezTo>
                  <a:pt x="5583694" y="5006336"/>
                  <a:pt x="5579111" y="5014000"/>
                  <a:pt x="5569371" y="5016111"/>
                </a:cubicBezTo>
                <a:cubicBezTo>
                  <a:pt x="5566220" y="5016778"/>
                  <a:pt x="5562496" y="5016889"/>
                  <a:pt x="5557912" y="5015777"/>
                </a:cubicBezTo>
                <a:cubicBezTo>
                  <a:pt x="5548172" y="5013445"/>
                  <a:pt x="5539006" y="5008446"/>
                  <a:pt x="5547027" y="4996782"/>
                </a:cubicBezTo>
                <a:cubicBezTo>
                  <a:pt x="5547886" y="4994227"/>
                  <a:pt x="5548172" y="4995338"/>
                  <a:pt x="5549318" y="4993894"/>
                </a:cubicBezTo>
                <a:cubicBezTo>
                  <a:pt x="5550751" y="4992339"/>
                  <a:pt x="5551324" y="4989673"/>
                  <a:pt x="5551037" y="4988673"/>
                </a:cubicBezTo>
                <a:cubicBezTo>
                  <a:pt x="5556766" y="4989895"/>
                  <a:pt x="5559631" y="4987896"/>
                  <a:pt x="5565647" y="4988118"/>
                </a:cubicBezTo>
                <a:close/>
                <a:moveTo>
                  <a:pt x="4257937" y="4988118"/>
                </a:moveTo>
                <a:cubicBezTo>
                  <a:pt x="4259943" y="4988118"/>
                  <a:pt x="4262234" y="4988451"/>
                  <a:pt x="4265099" y="4989229"/>
                </a:cubicBezTo>
                <a:cubicBezTo>
                  <a:pt x="4273120" y="4990895"/>
                  <a:pt x="4276844" y="4993894"/>
                  <a:pt x="4278562" y="4997116"/>
                </a:cubicBezTo>
                <a:cubicBezTo>
                  <a:pt x="4279995" y="5000449"/>
                  <a:pt x="4279136" y="5004003"/>
                  <a:pt x="4277417" y="5006891"/>
                </a:cubicBezTo>
                <a:cubicBezTo>
                  <a:pt x="4275698" y="5006336"/>
                  <a:pt x="4271401" y="5014000"/>
                  <a:pt x="4261661" y="5016111"/>
                </a:cubicBezTo>
                <a:cubicBezTo>
                  <a:pt x="4258510" y="5016778"/>
                  <a:pt x="4254786" y="5016889"/>
                  <a:pt x="4250202" y="5015777"/>
                </a:cubicBezTo>
                <a:cubicBezTo>
                  <a:pt x="4240463" y="5013445"/>
                  <a:pt x="4231010" y="5008446"/>
                  <a:pt x="4239317" y="4996783"/>
                </a:cubicBezTo>
                <a:cubicBezTo>
                  <a:pt x="4239890" y="4994228"/>
                  <a:pt x="4240463" y="4995338"/>
                  <a:pt x="4241609" y="4993894"/>
                </a:cubicBezTo>
                <a:cubicBezTo>
                  <a:pt x="4243041" y="4992339"/>
                  <a:pt x="4243614" y="4989672"/>
                  <a:pt x="4243328" y="4988673"/>
                </a:cubicBezTo>
                <a:cubicBezTo>
                  <a:pt x="4249057" y="4989895"/>
                  <a:pt x="4251922" y="4987896"/>
                  <a:pt x="4257937" y="4988118"/>
                </a:cubicBezTo>
                <a:close/>
                <a:moveTo>
                  <a:pt x="5224182" y="4980565"/>
                </a:moveTo>
                <a:cubicBezTo>
                  <a:pt x="5222749" y="4983563"/>
                  <a:pt x="5220171" y="4988896"/>
                  <a:pt x="5216733" y="4990895"/>
                </a:cubicBezTo>
                <a:cubicBezTo>
                  <a:pt x="5215588" y="4991561"/>
                  <a:pt x="5214155" y="4991784"/>
                  <a:pt x="5212723" y="4991561"/>
                </a:cubicBezTo>
                <a:cubicBezTo>
                  <a:pt x="5210718" y="4990895"/>
                  <a:pt x="5211865" y="4989451"/>
                  <a:pt x="5211577" y="4988340"/>
                </a:cubicBezTo>
                <a:cubicBezTo>
                  <a:pt x="5212150" y="4985785"/>
                  <a:pt x="5222176" y="4979787"/>
                  <a:pt x="5224182" y="4980565"/>
                </a:cubicBezTo>
                <a:close/>
                <a:moveTo>
                  <a:pt x="3916472" y="4980565"/>
                </a:moveTo>
                <a:cubicBezTo>
                  <a:pt x="3915039" y="4983563"/>
                  <a:pt x="3912461" y="4988896"/>
                  <a:pt x="3908737" y="4990895"/>
                </a:cubicBezTo>
                <a:cubicBezTo>
                  <a:pt x="3907591" y="4991561"/>
                  <a:pt x="3906446" y="4991784"/>
                  <a:pt x="3905014" y="4991561"/>
                </a:cubicBezTo>
                <a:cubicBezTo>
                  <a:pt x="3903008" y="4990895"/>
                  <a:pt x="3904154" y="4989451"/>
                  <a:pt x="3903867" y="4988340"/>
                </a:cubicBezTo>
                <a:cubicBezTo>
                  <a:pt x="3904440" y="4985785"/>
                  <a:pt x="3914466" y="4979787"/>
                  <a:pt x="3916472" y="4980565"/>
                </a:cubicBezTo>
                <a:close/>
                <a:moveTo>
                  <a:pt x="2849679" y="4980564"/>
                </a:moveTo>
                <a:cubicBezTo>
                  <a:pt x="2848246" y="4983564"/>
                  <a:pt x="2845668" y="4988896"/>
                  <a:pt x="2841944" y="4990895"/>
                </a:cubicBezTo>
                <a:cubicBezTo>
                  <a:pt x="2840798" y="4991561"/>
                  <a:pt x="2839653" y="4991784"/>
                  <a:pt x="2838221" y="4991561"/>
                </a:cubicBezTo>
                <a:cubicBezTo>
                  <a:pt x="2836216" y="4990895"/>
                  <a:pt x="2837361" y="4989451"/>
                  <a:pt x="2837074" y="4988340"/>
                </a:cubicBezTo>
                <a:cubicBezTo>
                  <a:pt x="2837647" y="4985785"/>
                  <a:pt x="2847673" y="4979787"/>
                  <a:pt x="2849679" y="4980564"/>
                </a:cubicBezTo>
                <a:close/>
                <a:moveTo>
                  <a:pt x="5135378" y="4973122"/>
                </a:moveTo>
                <a:cubicBezTo>
                  <a:pt x="5136238" y="4973011"/>
                  <a:pt x="5137669" y="4973122"/>
                  <a:pt x="5139961" y="4973233"/>
                </a:cubicBezTo>
                <a:cubicBezTo>
                  <a:pt x="5138242" y="4974232"/>
                  <a:pt x="5138242" y="4974232"/>
                  <a:pt x="5139961" y="4975455"/>
                </a:cubicBezTo>
                <a:cubicBezTo>
                  <a:pt x="5139961" y="4975455"/>
                  <a:pt x="5139961" y="4975455"/>
                  <a:pt x="5141680" y="4975677"/>
                </a:cubicBezTo>
                <a:cubicBezTo>
                  <a:pt x="5141393" y="4976676"/>
                  <a:pt x="5139961" y="4976566"/>
                  <a:pt x="5139961" y="4977675"/>
                </a:cubicBezTo>
                <a:cubicBezTo>
                  <a:pt x="5139961" y="4977675"/>
                  <a:pt x="5138242" y="4977565"/>
                  <a:pt x="5138242" y="4977565"/>
                </a:cubicBezTo>
                <a:cubicBezTo>
                  <a:pt x="5138242" y="4978121"/>
                  <a:pt x="5138242" y="4978121"/>
                  <a:pt x="5137669" y="4977787"/>
                </a:cubicBezTo>
                <a:cubicBezTo>
                  <a:pt x="5137383" y="4977454"/>
                  <a:pt x="5136523" y="4976898"/>
                  <a:pt x="5134804" y="4976232"/>
                </a:cubicBezTo>
                <a:cubicBezTo>
                  <a:pt x="5133372" y="4975010"/>
                  <a:pt x="5131654" y="4974900"/>
                  <a:pt x="5133372" y="4973899"/>
                </a:cubicBezTo>
                <a:cubicBezTo>
                  <a:pt x="5134232" y="4973343"/>
                  <a:pt x="5134518" y="4973122"/>
                  <a:pt x="5135378" y="4973122"/>
                </a:cubicBezTo>
                <a:close/>
                <a:moveTo>
                  <a:pt x="3827668" y="4973122"/>
                </a:moveTo>
                <a:cubicBezTo>
                  <a:pt x="3828527" y="4973011"/>
                  <a:pt x="3829960" y="4973122"/>
                  <a:pt x="3832251" y="4973233"/>
                </a:cubicBezTo>
                <a:cubicBezTo>
                  <a:pt x="3830533" y="4974232"/>
                  <a:pt x="3830533" y="4974232"/>
                  <a:pt x="3832251" y="4975454"/>
                </a:cubicBezTo>
                <a:cubicBezTo>
                  <a:pt x="3832251" y="4975454"/>
                  <a:pt x="3831965" y="4975454"/>
                  <a:pt x="3833684" y="4975677"/>
                </a:cubicBezTo>
                <a:cubicBezTo>
                  <a:pt x="3833684" y="4976676"/>
                  <a:pt x="3831966" y="4976565"/>
                  <a:pt x="3831965" y="4977676"/>
                </a:cubicBezTo>
                <a:cubicBezTo>
                  <a:pt x="3831965" y="4977676"/>
                  <a:pt x="3830532" y="4977565"/>
                  <a:pt x="3830532" y="4977565"/>
                </a:cubicBezTo>
                <a:cubicBezTo>
                  <a:pt x="3830532" y="4978120"/>
                  <a:pt x="3830246" y="4978121"/>
                  <a:pt x="3829960" y="4977787"/>
                </a:cubicBezTo>
                <a:cubicBezTo>
                  <a:pt x="3829673" y="4977455"/>
                  <a:pt x="3828814" y="4976898"/>
                  <a:pt x="3827095" y="4976232"/>
                </a:cubicBezTo>
                <a:cubicBezTo>
                  <a:pt x="3825662" y="4975010"/>
                  <a:pt x="3823944" y="4974900"/>
                  <a:pt x="3825662" y="4973899"/>
                </a:cubicBezTo>
                <a:cubicBezTo>
                  <a:pt x="3826522" y="4973344"/>
                  <a:pt x="3826808" y="4973122"/>
                  <a:pt x="3827668" y="4973122"/>
                </a:cubicBezTo>
                <a:close/>
                <a:moveTo>
                  <a:pt x="2760876" y="4973122"/>
                </a:moveTo>
                <a:cubicBezTo>
                  <a:pt x="2761734" y="4973011"/>
                  <a:pt x="2763167" y="4973122"/>
                  <a:pt x="2765458" y="4973232"/>
                </a:cubicBezTo>
                <a:cubicBezTo>
                  <a:pt x="2763740" y="4974233"/>
                  <a:pt x="2763740" y="4974233"/>
                  <a:pt x="2765458" y="4975454"/>
                </a:cubicBezTo>
                <a:cubicBezTo>
                  <a:pt x="2765458" y="4975454"/>
                  <a:pt x="2765172" y="4975454"/>
                  <a:pt x="2766890" y="4975677"/>
                </a:cubicBezTo>
                <a:cubicBezTo>
                  <a:pt x="2766890" y="4976676"/>
                  <a:pt x="2765173" y="4976565"/>
                  <a:pt x="2765172" y="4977676"/>
                </a:cubicBezTo>
                <a:cubicBezTo>
                  <a:pt x="2765172" y="4977676"/>
                  <a:pt x="2763739" y="4977565"/>
                  <a:pt x="2763739" y="4977565"/>
                </a:cubicBezTo>
                <a:cubicBezTo>
                  <a:pt x="2763739" y="4978121"/>
                  <a:pt x="2763453" y="4978121"/>
                  <a:pt x="2763166" y="4977786"/>
                </a:cubicBezTo>
                <a:cubicBezTo>
                  <a:pt x="2762881" y="4977454"/>
                  <a:pt x="2762020" y="4976898"/>
                  <a:pt x="2760302" y="4976232"/>
                </a:cubicBezTo>
                <a:cubicBezTo>
                  <a:pt x="2758870" y="4975010"/>
                  <a:pt x="2757152" y="4974899"/>
                  <a:pt x="2758869" y="4973900"/>
                </a:cubicBezTo>
                <a:cubicBezTo>
                  <a:pt x="2759729" y="4973343"/>
                  <a:pt x="2760015" y="4973122"/>
                  <a:pt x="2760876" y="4973122"/>
                </a:cubicBezTo>
                <a:close/>
                <a:moveTo>
                  <a:pt x="3563261" y="4969123"/>
                </a:moveTo>
                <a:cubicBezTo>
                  <a:pt x="3566699" y="4969567"/>
                  <a:pt x="3570423" y="4972122"/>
                  <a:pt x="3574147" y="4978453"/>
                </a:cubicBezTo>
                <a:cubicBezTo>
                  <a:pt x="3564980" y="4984119"/>
                  <a:pt x="3559252" y="4985118"/>
                  <a:pt x="3556100" y="4983786"/>
                </a:cubicBezTo>
                <a:cubicBezTo>
                  <a:pt x="3550371" y="4981453"/>
                  <a:pt x="3553809" y="4971122"/>
                  <a:pt x="3560110" y="4969233"/>
                </a:cubicBezTo>
                <a:cubicBezTo>
                  <a:pt x="3561256" y="4969012"/>
                  <a:pt x="3562402" y="4968901"/>
                  <a:pt x="3563261" y="4969123"/>
                </a:cubicBezTo>
                <a:close/>
                <a:moveTo>
                  <a:pt x="5937764" y="4969123"/>
                </a:moveTo>
                <a:cubicBezTo>
                  <a:pt x="5941202" y="4969567"/>
                  <a:pt x="5944926" y="4972121"/>
                  <a:pt x="5948650" y="4978453"/>
                </a:cubicBezTo>
                <a:cubicBezTo>
                  <a:pt x="5939484" y="4984119"/>
                  <a:pt x="5934040" y="4985119"/>
                  <a:pt x="5930889" y="4983786"/>
                </a:cubicBezTo>
                <a:cubicBezTo>
                  <a:pt x="5925161" y="4981453"/>
                  <a:pt x="5928311" y="4971122"/>
                  <a:pt x="5934900" y="4969233"/>
                </a:cubicBezTo>
                <a:cubicBezTo>
                  <a:pt x="5935759" y="4969012"/>
                  <a:pt x="5936904" y="4968901"/>
                  <a:pt x="5937764" y="4969123"/>
                </a:cubicBezTo>
                <a:close/>
                <a:moveTo>
                  <a:pt x="4629482" y="4964013"/>
                </a:moveTo>
                <a:cubicBezTo>
                  <a:pt x="4630914" y="4964569"/>
                  <a:pt x="4632060" y="4965235"/>
                  <a:pt x="4633206" y="4966457"/>
                </a:cubicBezTo>
                <a:cubicBezTo>
                  <a:pt x="4634351" y="4967678"/>
                  <a:pt x="4635497" y="4969345"/>
                  <a:pt x="4636356" y="4971677"/>
                </a:cubicBezTo>
                <a:lnTo>
                  <a:pt x="4635497" y="4972011"/>
                </a:lnTo>
                <a:lnTo>
                  <a:pt x="4637216" y="4973344"/>
                </a:lnTo>
                <a:cubicBezTo>
                  <a:pt x="4638362" y="4974677"/>
                  <a:pt x="4639508" y="4976343"/>
                  <a:pt x="4640940" y="4978454"/>
                </a:cubicBezTo>
                <a:cubicBezTo>
                  <a:pt x="4636356" y="4981342"/>
                  <a:pt x="4632632" y="4983008"/>
                  <a:pt x="4629768" y="4983786"/>
                </a:cubicBezTo>
                <a:lnTo>
                  <a:pt x="4624038" y="4983786"/>
                </a:lnTo>
                <a:lnTo>
                  <a:pt x="4619455" y="4986230"/>
                </a:lnTo>
                <a:cubicBezTo>
                  <a:pt x="4614299" y="4985452"/>
                  <a:pt x="4608283" y="4986007"/>
                  <a:pt x="4603700" y="4983897"/>
                </a:cubicBezTo>
                <a:cubicBezTo>
                  <a:pt x="4602267" y="4983231"/>
                  <a:pt x="4600835" y="4982231"/>
                  <a:pt x="4599689" y="4980898"/>
                </a:cubicBezTo>
                <a:cubicBezTo>
                  <a:pt x="4612580" y="4975899"/>
                  <a:pt x="4619169" y="4970011"/>
                  <a:pt x="4629482" y="4964013"/>
                </a:cubicBezTo>
                <a:close/>
                <a:moveTo>
                  <a:pt x="3321772" y="4964013"/>
                </a:moveTo>
                <a:cubicBezTo>
                  <a:pt x="3323204" y="4964569"/>
                  <a:pt x="3324351" y="4965235"/>
                  <a:pt x="3325496" y="4966457"/>
                </a:cubicBezTo>
                <a:cubicBezTo>
                  <a:pt x="3326642" y="4967678"/>
                  <a:pt x="3327501" y="4969345"/>
                  <a:pt x="3328360" y="4971677"/>
                </a:cubicBezTo>
                <a:cubicBezTo>
                  <a:pt x="3311747" y="4974121"/>
                  <a:pt x="3324350" y="4983786"/>
                  <a:pt x="3311460" y="4986230"/>
                </a:cubicBezTo>
                <a:cubicBezTo>
                  <a:pt x="3306589" y="4985452"/>
                  <a:pt x="3300573" y="4986007"/>
                  <a:pt x="3295990" y="4983897"/>
                </a:cubicBezTo>
                <a:cubicBezTo>
                  <a:pt x="3294558" y="4983231"/>
                  <a:pt x="3293125" y="4982231"/>
                  <a:pt x="3291980" y="4980897"/>
                </a:cubicBezTo>
                <a:cubicBezTo>
                  <a:pt x="3304870" y="4975898"/>
                  <a:pt x="3311459" y="4970011"/>
                  <a:pt x="3321772" y="4964013"/>
                </a:cubicBezTo>
                <a:close/>
                <a:moveTo>
                  <a:pt x="2254979" y="4964013"/>
                </a:moveTo>
                <a:cubicBezTo>
                  <a:pt x="2256411" y="4964568"/>
                  <a:pt x="2257558" y="4965235"/>
                  <a:pt x="2258703" y="4966457"/>
                </a:cubicBezTo>
                <a:cubicBezTo>
                  <a:pt x="2259848" y="4967679"/>
                  <a:pt x="2260708" y="4969345"/>
                  <a:pt x="2261567" y="4971678"/>
                </a:cubicBezTo>
                <a:cubicBezTo>
                  <a:pt x="2244952" y="4974121"/>
                  <a:pt x="2257557" y="4983786"/>
                  <a:pt x="2244667" y="4986230"/>
                </a:cubicBezTo>
                <a:cubicBezTo>
                  <a:pt x="2239796" y="4985451"/>
                  <a:pt x="2233780" y="4986007"/>
                  <a:pt x="2229197" y="4983897"/>
                </a:cubicBezTo>
                <a:cubicBezTo>
                  <a:pt x="2227765" y="4983231"/>
                  <a:pt x="2226332" y="4982231"/>
                  <a:pt x="2225186" y="4980897"/>
                </a:cubicBezTo>
                <a:cubicBezTo>
                  <a:pt x="2238077" y="4975898"/>
                  <a:pt x="2244666" y="4970011"/>
                  <a:pt x="2254979" y="4964013"/>
                </a:cubicBezTo>
                <a:close/>
                <a:moveTo>
                  <a:pt x="3787849" y="4963458"/>
                </a:moveTo>
                <a:cubicBezTo>
                  <a:pt x="3790141" y="4963902"/>
                  <a:pt x="3791860" y="4965124"/>
                  <a:pt x="3793865" y="4966457"/>
                </a:cubicBezTo>
                <a:cubicBezTo>
                  <a:pt x="3788136" y="4968679"/>
                  <a:pt x="3792433" y="4972900"/>
                  <a:pt x="3784985" y="4973011"/>
                </a:cubicBezTo>
                <a:cubicBezTo>
                  <a:pt x="3781834" y="4972011"/>
                  <a:pt x="3779828" y="4969900"/>
                  <a:pt x="3779255" y="4965679"/>
                </a:cubicBezTo>
                <a:cubicBezTo>
                  <a:pt x="3782979" y="4963457"/>
                  <a:pt x="3785558" y="4963124"/>
                  <a:pt x="3787849" y="4963458"/>
                </a:cubicBezTo>
                <a:close/>
                <a:moveTo>
                  <a:pt x="6162352" y="4963457"/>
                </a:moveTo>
                <a:cubicBezTo>
                  <a:pt x="6164644" y="4963902"/>
                  <a:pt x="6166361" y="4965124"/>
                  <a:pt x="6168368" y="4966456"/>
                </a:cubicBezTo>
                <a:cubicBezTo>
                  <a:pt x="6162638" y="4968678"/>
                  <a:pt x="6166936" y="4972899"/>
                  <a:pt x="6159488" y="4973010"/>
                </a:cubicBezTo>
                <a:cubicBezTo>
                  <a:pt x="6156336" y="4972011"/>
                  <a:pt x="6154331" y="4969901"/>
                  <a:pt x="6153758" y="4965680"/>
                </a:cubicBezTo>
                <a:cubicBezTo>
                  <a:pt x="6157482" y="4963458"/>
                  <a:pt x="6160060" y="4963125"/>
                  <a:pt x="6162352" y="4963457"/>
                </a:cubicBezTo>
                <a:close/>
                <a:moveTo>
                  <a:pt x="4854642" y="4963457"/>
                </a:moveTo>
                <a:cubicBezTo>
                  <a:pt x="4856934" y="4963902"/>
                  <a:pt x="4858653" y="4965124"/>
                  <a:pt x="4860658" y="4966457"/>
                </a:cubicBezTo>
                <a:cubicBezTo>
                  <a:pt x="4854930" y="4968678"/>
                  <a:pt x="4859226" y="4972899"/>
                  <a:pt x="4851778" y="4973011"/>
                </a:cubicBezTo>
                <a:cubicBezTo>
                  <a:pt x="4848626" y="4972011"/>
                  <a:pt x="4846621" y="4969901"/>
                  <a:pt x="4846048" y="4965679"/>
                </a:cubicBezTo>
                <a:cubicBezTo>
                  <a:pt x="4849772" y="4963458"/>
                  <a:pt x="4852351" y="4963125"/>
                  <a:pt x="4854642" y="4963457"/>
                </a:cubicBezTo>
                <a:close/>
                <a:moveTo>
                  <a:pt x="4988708" y="4960569"/>
                </a:moveTo>
                <a:cubicBezTo>
                  <a:pt x="5013916" y="4958125"/>
                  <a:pt x="5029958" y="4977454"/>
                  <a:pt x="5015922" y="4989340"/>
                </a:cubicBezTo>
                <a:cubicBezTo>
                  <a:pt x="5009906" y="4989895"/>
                  <a:pt x="5000739" y="4992895"/>
                  <a:pt x="4991000" y="4991784"/>
                </a:cubicBezTo>
                <a:cubicBezTo>
                  <a:pt x="4976390" y="4980676"/>
                  <a:pt x="4977822" y="4970122"/>
                  <a:pt x="4988708" y="4960569"/>
                </a:cubicBezTo>
                <a:close/>
                <a:moveTo>
                  <a:pt x="5955812" y="4960236"/>
                </a:moveTo>
                <a:cubicBezTo>
                  <a:pt x="5960681" y="4960681"/>
                  <a:pt x="5965551" y="4961125"/>
                  <a:pt x="5970134" y="4961680"/>
                </a:cubicBezTo>
                <a:cubicBezTo>
                  <a:pt x="5977297" y="4965679"/>
                  <a:pt x="5978443" y="4971900"/>
                  <a:pt x="5974145" y="4976010"/>
                </a:cubicBezTo>
                <a:cubicBezTo>
                  <a:pt x="5972712" y="4977343"/>
                  <a:pt x="5970995" y="4978453"/>
                  <a:pt x="5968416" y="4979120"/>
                </a:cubicBezTo>
                <a:cubicBezTo>
                  <a:pt x="5964978" y="4980009"/>
                  <a:pt x="5960395" y="4980120"/>
                  <a:pt x="5955238" y="4979231"/>
                </a:cubicBezTo>
                <a:cubicBezTo>
                  <a:pt x="5947218" y="4975898"/>
                  <a:pt x="5948364" y="4962680"/>
                  <a:pt x="5955812" y="4960236"/>
                </a:cubicBezTo>
                <a:close/>
                <a:moveTo>
                  <a:pt x="3581309" y="4960236"/>
                </a:moveTo>
                <a:cubicBezTo>
                  <a:pt x="3586178" y="4960681"/>
                  <a:pt x="3590762" y="4961125"/>
                  <a:pt x="3595632" y="4961681"/>
                </a:cubicBezTo>
                <a:cubicBezTo>
                  <a:pt x="3602793" y="4965679"/>
                  <a:pt x="3603939" y="4971900"/>
                  <a:pt x="3599642" y="4976010"/>
                </a:cubicBezTo>
                <a:cubicBezTo>
                  <a:pt x="3598211" y="4977343"/>
                  <a:pt x="3596206" y="4978454"/>
                  <a:pt x="3593626" y="4979120"/>
                </a:cubicBezTo>
                <a:cubicBezTo>
                  <a:pt x="3590475" y="4980008"/>
                  <a:pt x="3585892" y="4980120"/>
                  <a:pt x="3580736" y="4979231"/>
                </a:cubicBezTo>
                <a:cubicBezTo>
                  <a:pt x="3572716" y="4975899"/>
                  <a:pt x="3573860" y="4962680"/>
                  <a:pt x="3581309" y="4960236"/>
                </a:cubicBezTo>
                <a:close/>
                <a:moveTo>
                  <a:pt x="4648102" y="4960236"/>
                </a:moveTo>
                <a:cubicBezTo>
                  <a:pt x="4652972" y="4960681"/>
                  <a:pt x="4657841" y="4961125"/>
                  <a:pt x="4662425" y="4961680"/>
                </a:cubicBezTo>
                <a:cubicBezTo>
                  <a:pt x="4669586" y="4965680"/>
                  <a:pt x="4670732" y="4971900"/>
                  <a:pt x="4666435" y="4976010"/>
                </a:cubicBezTo>
                <a:cubicBezTo>
                  <a:pt x="4665003" y="4977343"/>
                  <a:pt x="4662998" y="4978454"/>
                  <a:pt x="4660420" y="4979120"/>
                </a:cubicBezTo>
                <a:cubicBezTo>
                  <a:pt x="4657268" y="4980009"/>
                  <a:pt x="4652685" y="4980119"/>
                  <a:pt x="4647529" y="4979231"/>
                </a:cubicBezTo>
                <a:cubicBezTo>
                  <a:pt x="4639509" y="4975898"/>
                  <a:pt x="4640654" y="4962680"/>
                  <a:pt x="4648102" y="4960236"/>
                </a:cubicBezTo>
                <a:close/>
                <a:moveTo>
                  <a:pt x="4721150" y="4953904"/>
                </a:moveTo>
                <a:cubicBezTo>
                  <a:pt x="4726020" y="4953682"/>
                  <a:pt x="4730317" y="4953460"/>
                  <a:pt x="4736046" y="4953905"/>
                </a:cubicBezTo>
                <a:cubicBezTo>
                  <a:pt x="4736619" y="4955016"/>
                  <a:pt x="4734900" y="4955459"/>
                  <a:pt x="4735187" y="4956570"/>
                </a:cubicBezTo>
                <a:cubicBezTo>
                  <a:pt x="4734614" y="4957348"/>
                  <a:pt x="4732895" y="4958014"/>
                  <a:pt x="4730890" y="4958458"/>
                </a:cubicBezTo>
                <a:cubicBezTo>
                  <a:pt x="4724874" y="4959903"/>
                  <a:pt x="4714848" y="4960125"/>
                  <a:pt x="4714562" y="4959236"/>
                </a:cubicBezTo>
                <a:cubicBezTo>
                  <a:pt x="4712842" y="4959681"/>
                  <a:pt x="4712556" y="4958458"/>
                  <a:pt x="4710837" y="4958903"/>
                </a:cubicBezTo>
                <a:cubicBezTo>
                  <a:pt x="4710837" y="4958903"/>
                  <a:pt x="4709118" y="4959236"/>
                  <a:pt x="4707113" y="4958570"/>
                </a:cubicBezTo>
                <a:cubicBezTo>
                  <a:pt x="4704822" y="4957792"/>
                  <a:pt x="4702816" y="4957126"/>
                  <a:pt x="4703676" y="4954459"/>
                </a:cubicBezTo>
                <a:cubicBezTo>
                  <a:pt x="4710837" y="4954460"/>
                  <a:pt x="4716280" y="4954127"/>
                  <a:pt x="4721150" y="4953904"/>
                </a:cubicBezTo>
                <a:close/>
                <a:moveTo>
                  <a:pt x="2361258" y="4953904"/>
                </a:moveTo>
                <a:cubicBezTo>
                  <a:pt x="2361831" y="4955015"/>
                  <a:pt x="2360111" y="4955459"/>
                  <a:pt x="2360684" y="4956570"/>
                </a:cubicBezTo>
                <a:cubicBezTo>
                  <a:pt x="2360111" y="4957348"/>
                  <a:pt x="2358392" y="4958014"/>
                  <a:pt x="2356387" y="4958459"/>
                </a:cubicBezTo>
                <a:cubicBezTo>
                  <a:pt x="2350371" y="4959903"/>
                  <a:pt x="2340345" y="4960124"/>
                  <a:pt x="2339773" y="4959236"/>
                </a:cubicBezTo>
                <a:cubicBezTo>
                  <a:pt x="2338341" y="4959682"/>
                  <a:pt x="2337768" y="4958459"/>
                  <a:pt x="2336048" y="4958903"/>
                </a:cubicBezTo>
                <a:cubicBezTo>
                  <a:pt x="2336048" y="4958903"/>
                  <a:pt x="2334616" y="4959236"/>
                  <a:pt x="2332610" y="4958569"/>
                </a:cubicBezTo>
                <a:cubicBezTo>
                  <a:pt x="2330319" y="4957792"/>
                  <a:pt x="2328313" y="4957126"/>
                  <a:pt x="2329174" y="4954460"/>
                </a:cubicBezTo>
                <a:cubicBezTo>
                  <a:pt x="2336335" y="4954460"/>
                  <a:pt x="2341492" y="4954127"/>
                  <a:pt x="2346361" y="4953905"/>
                </a:cubicBezTo>
                <a:cubicBezTo>
                  <a:pt x="2351232" y="4953682"/>
                  <a:pt x="2355814" y="4953460"/>
                  <a:pt x="2361258" y="4953904"/>
                </a:cubicBezTo>
                <a:close/>
                <a:moveTo>
                  <a:pt x="3413154" y="4953904"/>
                </a:moveTo>
                <a:cubicBezTo>
                  <a:pt x="3418025" y="4953682"/>
                  <a:pt x="3422607" y="4953460"/>
                  <a:pt x="3428338" y="4953905"/>
                </a:cubicBezTo>
                <a:cubicBezTo>
                  <a:pt x="3428624" y="4955016"/>
                  <a:pt x="3426904" y="4955460"/>
                  <a:pt x="3427477" y="4956571"/>
                </a:cubicBezTo>
                <a:cubicBezTo>
                  <a:pt x="3426904" y="4957348"/>
                  <a:pt x="3425185" y="4958015"/>
                  <a:pt x="3423180" y="4958458"/>
                </a:cubicBezTo>
                <a:cubicBezTo>
                  <a:pt x="3417164" y="4959903"/>
                  <a:pt x="3407138" y="4960125"/>
                  <a:pt x="3406853" y="4959236"/>
                </a:cubicBezTo>
                <a:cubicBezTo>
                  <a:pt x="3405133" y="4959681"/>
                  <a:pt x="3404561" y="4958459"/>
                  <a:pt x="3402841" y="4958903"/>
                </a:cubicBezTo>
                <a:cubicBezTo>
                  <a:pt x="3402841" y="4958903"/>
                  <a:pt x="3401409" y="4959236"/>
                  <a:pt x="3399404" y="4958570"/>
                </a:cubicBezTo>
                <a:cubicBezTo>
                  <a:pt x="3397112" y="4957792"/>
                  <a:pt x="3395108" y="4957126"/>
                  <a:pt x="3395967" y="4954460"/>
                </a:cubicBezTo>
                <a:cubicBezTo>
                  <a:pt x="3403128" y="4954460"/>
                  <a:pt x="3408285" y="4954127"/>
                  <a:pt x="3413154" y="4953904"/>
                </a:cubicBezTo>
                <a:close/>
                <a:moveTo>
                  <a:pt x="5103294" y="4950905"/>
                </a:moveTo>
                <a:cubicBezTo>
                  <a:pt x="5103294" y="4950905"/>
                  <a:pt x="5103294" y="4950905"/>
                  <a:pt x="5107304" y="4952349"/>
                </a:cubicBezTo>
                <a:lnTo>
                  <a:pt x="5107877" y="4953350"/>
                </a:lnTo>
                <a:cubicBezTo>
                  <a:pt x="5107590" y="4954015"/>
                  <a:pt x="5106444" y="4954682"/>
                  <a:pt x="5104726" y="4955237"/>
                </a:cubicBezTo>
                <a:cubicBezTo>
                  <a:pt x="5099570" y="4956793"/>
                  <a:pt x="5089543" y="4957904"/>
                  <a:pt x="5088397" y="4958237"/>
                </a:cubicBezTo>
                <a:cubicBezTo>
                  <a:pt x="5088397" y="4958237"/>
                  <a:pt x="5086678" y="4958680"/>
                  <a:pt x="5084960" y="4959014"/>
                </a:cubicBezTo>
                <a:cubicBezTo>
                  <a:pt x="5082954" y="4958348"/>
                  <a:pt x="5082382" y="4957236"/>
                  <a:pt x="5080949" y="4957681"/>
                </a:cubicBezTo>
                <a:cubicBezTo>
                  <a:pt x="5084387" y="4953238"/>
                  <a:pt x="5089830" y="4953016"/>
                  <a:pt x="5095272" y="4952904"/>
                </a:cubicBezTo>
                <a:cubicBezTo>
                  <a:pt x="5098996" y="4953238"/>
                  <a:pt x="5100429" y="4952793"/>
                  <a:pt x="5103294" y="4950905"/>
                </a:cubicBezTo>
                <a:close/>
                <a:moveTo>
                  <a:pt x="3795584" y="4950905"/>
                </a:moveTo>
                <a:cubicBezTo>
                  <a:pt x="3795584" y="4950905"/>
                  <a:pt x="3795584" y="4950905"/>
                  <a:pt x="3799594" y="4952349"/>
                </a:cubicBezTo>
                <a:lnTo>
                  <a:pt x="3800167" y="4953349"/>
                </a:lnTo>
                <a:cubicBezTo>
                  <a:pt x="3799881" y="4954015"/>
                  <a:pt x="3798735" y="4954682"/>
                  <a:pt x="3797016" y="4955237"/>
                </a:cubicBezTo>
                <a:cubicBezTo>
                  <a:pt x="3791860" y="4956793"/>
                  <a:pt x="3781834" y="4957904"/>
                  <a:pt x="3780688" y="4958237"/>
                </a:cubicBezTo>
                <a:cubicBezTo>
                  <a:pt x="3780688" y="4958237"/>
                  <a:pt x="3778969" y="4958680"/>
                  <a:pt x="3777250" y="4959014"/>
                </a:cubicBezTo>
                <a:cubicBezTo>
                  <a:pt x="3775245" y="4958348"/>
                  <a:pt x="3774672" y="4957237"/>
                  <a:pt x="3773240" y="4957681"/>
                </a:cubicBezTo>
                <a:cubicBezTo>
                  <a:pt x="3776677" y="4953238"/>
                  <a:pt x="3782120" y="4953016"/>
                  <a:pt x="3787276" y="4952905"/>
                </a:cubicBezTo>
                <a:cubicBezTo>
                  <a:pt x="3791000" y="4953238"/>
                  <a:pt x="3792719" y="4952794"/>
                  <a:pt x="3795584" y="4950905"/>
                </a:cubicBezTo>
                <a:close/>
                <a:moveTo>
                  <a:pt x="2728792" y="4950905"/>
                </a:moveTo>
                <a:cubicBezTo>
                  <a:pt x="2728792" y="4950905"/>
                  <a:pt x="2728792" y="4950905"/>
                  <a:pt x="2732801" y="4952350"/>
                </a:cubicBezTo>
                <a:lnTo>
                  <a:pt x="2733374" y="4953349"/>
                </a:lnTo>
                <a:cubicBezTo>
                  <a:pt x="2733088" y="4954016"/>
                  <a:pt x="2731942" y="4954682"/>
                  <a:pt x="2730223" y="4955237"/>
                </a:cubicBezTo>
                <a:cubicBezTo>
                  <a:pt x="2725068" y="4956792"/>
                  <a:pt x="2715041" y="4957903"/>
                  <a:pt x="2713894" y="4958237"/>
                </a:cubicBezTo>
                <a:cubicBezTo>
                  <a:pt x="2713894" y="4958237"/>
                  <a:pt x="2712177" y="4958681"/>
                  <a:pt x="2710457" y="4959015"/>
                </a:cubicBezTo>
                <a:cubicBezTo>
                  <a:pt x="2708452" y="4958348"/>
                  <a:pt x="2707879" y="4957237"/>
                  <a:pt x="2706446" y="4957681"/>
                </a:cubicBezTo>
                <a:cubicBezTo>
                  <a:pt x="2709884" y="4953238"/>
                  <a:pt x="2715327" y="4953016"/>
                  <a:pt x="2720483" y="4952904"/>
                </a:cubicBezTo>
                <a:cubicBezTo>
                  <a:pt x="2724208" y="4953238"/>
                  <a:pt x="2725926" y="4952793"/>
                  <a:pt x="2728792" y="4950905"/>
                </a:cubicBezTo>
                <a:close/>
                <a:moveTo>
                  <a:pt x="2445764" y="4941907"/>
                </a:moveTo>
                <a:cubicBezTo>
                  <a:pt x="2450062" y="4943685"/>
                  <a:pt x="2454358" y="4945462"/>
                  <a:pt x="2458656" y="4947239"/>
                </a:cubicBezTo>
                <a:lnTo>
                  <a:pt x="2456364" y="4950017"/>
                </a:lnTo>
                <a:lnTo>
                  <a:pt x="2458655" y="4953460"/>
                </a:lnTo>
                <a:cubicBezTo>
                  <a:pt x="2455504" y="4955125"/>
                  <a:pt x="2450920" y="4956237"/>
                  <a:pt x="2446051" y="4957348"/>
                </a:cubicBezTo>
                <a:cubicBezTo>
                  <a:pt x="2444332" y="4955682"/>
                  <a:pt x="2444045" y="4954237"/>
                  <a:pt x="2445191" y="4952905"/>
                </a:cubicBezTo>
                <a:lnTo>
                  <a:pt x="2446051" y="4952349"/>
                </a:lnTo>
                <a:lnTo>
                  <a:pt x="2441180" y="4950349"/>
                </a:lnTo>
                <a:cubicBezTo>
                  <a:pt x="2442041" y="4945128"/>
                  <a:pt x="2441181" y="4946573"/>
                  <a:pt x="2445764" y="4941907"/>
                </a:cubicBezTo>
                <a:close/>
                <a:moveTo>
                  <a:pt x="4820267" y="4941907"/>
                </a:moveTo>
                <a:cubicBezTo>
                  <a:pt x="4824564" y="4943684"/>
                  <a:pt x="4828860" y="4945462"/>
                  <a:pt x="4833158" y="4947240"/>
                </a:cubicBezTo>
                <a:lnTo>
                  <a:pt x="4830866" y="4950017"/>
                </a:lnTo>
                <a:lnTo>
                  <a:pt x="4833158" y="4953460"/>
                </a:lnTo>
                <a:cubicBezTo>
                  <a:pt x="4830006" y="4955126"/>
                  <a:pt x="4825423" y="4956237"/>
                  <a:pt x="4820840" y="4957348"/>
                </a:cubicBezTo>
                <a:cubicBezTo>
                  <a:pt x="4818834" y="4955682"/>
                  <a:pt x="4818834" y="4954237"/>
                  <a:pt x="4819695" y="4952904"/>
                </a:cubicBezTo>
                <a:lnTo>
                  <a:pt x="4820840" y="4952350"/>
                </a:lnTo>
                <a:lnTo>
                  <a:pt x="4815683" y="4950349"/>
                </a:lnTo>
                <a:cubicBezTo>
                  <a:pt x="4816542" y="4945128"/>
                  <a:pt x="4815683" y="4946573"/>
                  <a:pt x="4820267" y="4941907"/>
                </a:cubicBezTo>
                <a:close/>
                <a:moveTo>
                  <a:pt x="3512558" y="4941907"/>
                </a:moveTo>
                <a:cubicBezTo>
                  <a:pt x="3516854" y="4943684"/>
                  <a:pt x="3521151" y="4945462"/>
                  <a:pt x="3525449" y="4947240"/>
                </a:cubicBezTo>
                <a:lnTo>
                  <a:pt x="3523157" y="4950017"/>
                </a:lnTo>
                <a:lnTo>
                  <a:pt x="3525449" y="4953460"/>
                </a:lnTo>
                <a:cubicBezTo>
                  <a:pt x="3522297" y="4955126"/>
                  <a:pt x="3517713" y="4956237"/>
                  <a:pt x="3512844" y="4957348"/>
                </a:cubicBezTo>
                <a:cubicBezTo>
                  <a:pt x="3511125" y="4955682"/>
                  <a:pt x="3510838" y="4954238"/>
                  <a:pt x="3511985" y="4952904"/>
                </a:cubicBezTo>
                <a:lnTo>
                  <a:pt x="3512844" y="4952350"/>
                </a:lnTo>
                <a:lnTo>
                  <a:pt x="3507974" y="4950349"/>
                </a:lnTo>
                <a:cubicBezTo>
                  <a:pt x="3508833" y="4945128"/>
                  <a:pt x="3507975" y="4946573"/>
                  <a:pt x="3512558" y="4941907"/>
                </a:cubicBezTo>
                <a:close/>
                <a:moveTo>
                  <a:pt x="4599689" y="4938686"/>
                </a:moveTo>
                <a:cubicBezTo>
                  <a:pt x="4618882" y="4942352"/>
                  <a:pt x="4610288" y="4968901"/>
                  <a:pt x="4603700" y="4975677"/>
                </a:cubicBezTo>
                <a:cubicBezTo>
                  <a:pt x="4599689" y="4965346"/>
                  <a:pt x="4594246" y="4948018"/>
                  <a:pt x="4599689" y="4938686"/>
                </a:cubicBezTo>
                <a:close/>
                <a:moveTo>
                  <a:pt x="5907686" y="4938686"/>
                </a:moveTo>
                <a:cubicBezTo>
                  <a:pt x="5926592" y="4942352"/>
                  <a:pt x="5917998" y="4968901"/>
                  <a:pt x="5911410" y="4975677"/>
                </a:cubicBezTo>
                <a:cubicBezTo>
                  <a:pt x="5907399" y="4965346"/>
                  <a:pt x="5901956" y="4948017"/>
                  <a:pt x="5907686" y="4938686"/>
                </a:cubicBezTo>
                <a:close/>
                <a:moveTo>
                  <a:pt x="3532896" y="4938686"/>
                </a:moveTo>
                <a:cubicBezTo>
                  <a:pt x="3552089" y="4942352"/>
                  <a:pt x="3543495" y="4968901"/>
                  <a:pt x="3536907" y="4975676"/>
                </a:cubicBezTo>
                <a:cubicBezTo>
                  <a:pt x="3532896" y="4965346"/>
                  <a:pt x="3527454" y="4948017"/>
                  <a:pt x="3532896" y="4938686"/>
                </a:cubicBezTo>
                <a:close/>
                <a:moveTo>
                  <a:pt x="5756718" y="4937020"/>
                </a:moveTo>
                <a:cubicBezTo>
                  <a:pt x="5758438" y="4937131"/>
                  <a:pt x="5758151" y="4938353"/>
                  <a:pt x="5759870" y="4938575"/>
                </a:cubicBezTo>
                <a:cubicBezTo>
                  <a:pt x="5760729" y="4939241"/>
                  <a:pt x="5761016" y="4940463"/>
                  <a:pt x="5761016" y="4941906"/>
                </a:cubicBezTo>
                <a:cubicBezTo>
                  <a:pt x="5760442" y="4946129"/>
                  <a:pt x="5756432" y="4952461"/>
                  <a:pt x="5755286" y="4952349"/>
                </a:cubicBezTo>
                <a:cubicBezTo>
                  <a:pt x="5755000" y="4953460"/>
                  <a:pt x="5753281" y="4953350"/>
                  <a:pt x="5753281" y="4954571"/>
                </a:cubicBezTo>
                <a:cubicBezTo>
                  <a:pt x="5753281" y="4954571"/>
                  <a:pt x="5752994" y="4955571"/>
                  <a:pt x="5751276" y="4956570"/>
                </a:cubicBezTo>
                <a:cubicBezTo>
                  <a:pt x="5749557" y="4957570"/>
                  <a:pt x="5747552" y="4958570"/>
                  <a:pt x="5744400" y="4957015"/>
                </a:cubicBezTo>
                <a:cubicBezTo>
                  <a:pt x="5750416" y="4948240"/>
                  <a:pt x="5750991" y="4943462"/>
                  <a:pt x="5756718" y="4937020"/>
                </a:cubicBezTo>
                <a:close/>
                <a:moveTo>
                  <a:pt x="4449009" y="4937020"/>
                </a:moveTo>
                <a:cubicBezTo>
                  <a:pt x="4450728" y="4937131"/>
                  <a:pt x="4450441" y="4938353"/>
                  <a:pt x="4452160" y="4938575"/>
                </a:cubicBezTo>
                <a:cubicBezTo>
                  <a:pt x="4453019" y="4939242"/>
                  <a:pt x="4453306" y="4940463"/>
                  <a:pt x="4453019" y="4941907"/>
                </a:cubicBezTo>
                <a:cubicBezTo>
                  <a:pt x="4452446" y="4946128"/>
                  <a:pt x="4448722" y="4952460"/>
                  <a:pt x="4447577" y="4952349"/>
                </a:cubicBezTo>
                <a:cubicBezTo>
                  <a:pt x="4447290" y="4953460"/>
                  <a:pt x="4445571" y="4953349"/>
                  <a:pt x="4445571" y="4954571"/>
                </a:cubicBezTo>
                <a:cubicBezTo>
                  <a:pt x="4445571" y="4954571"/>
                  <a:pt x="4445285" y="4955571"/>
                  <a:pt x="4443567" y="4956570"/>
                </a:cubicBezTo>
                <a:cubicBezTo>
                  <a:pt x="4441847" y="4957570"/>
                  <a:pt x="4439842" y="4958570"/>
                  <a:pt x="4436404" y="4957015"/>
                </a:cubicBezTo>
                <a:cubicBezTo>
                  <a:pt x="4442707" y="4948240"/>
                  <a:pt x="4443280" y="4943462"/>
                  <a:pt x="4449009" y="4937020"/>
                </a:cubicBezTo>
                <a:close/>
                <a:moveTo>
                  <a:pt x="3382216" y="4937019"/>
                </a:moveTo>
                <a:cubicBezTo>
                  <a:pt x="3383935" y="4937131"/>
                  <a:pt x="3383648" y="4938353"/>
                  <a:pt x="3385367" y="4938575"/>
                </a:cubicBezTo>
                <a:cubicBezTo>
                  <a:pt x="3386227" y="4939242"/>
                  <a:pt x="3386513" y="4940464"/>
                  <a:pt x="3386226" y="4941907"/>
                </a:cubicBezTo>
                <a:cubicBezTo>
                  <a:pt x="3385654" y="4946128"/>
                  <a:pt x="3381929" y="4952460"/>
                  <a:pt x="3380784" y="4952350"/>
                </a:cubicBezTo>
                <a:cubicBezTo>
                  <a:pt x="3380498" y="4953460"/>
                  <a:pt x="3378778" y="4953350"/>
                  <a:pt x="3378779" y="4954571"/>
                </a:cubicBezTo>
                <a:cubicBezTo>
                  <a:pt x="3378779" y="4954571"/>
                  <a:pt x="3378492" y="4955570"/>
                  <a:pt x="3376773" y="4956571"/>
                </a:cubicBezTo>
                <a:cubicBezTo>
                  <a:pt x="3375054" y="4957570"/>
                  <a:pt x="3373049" y="4958570"/>
                  <a:pt x="3369612" y="4957014"/>
                </a:cubicBezTo>
                <a:cubicBezTo>
                  <a:pt x="3375914" y="4948240"/>
                  <a:pt x="3376488" y="4943462"/>
                  <a:pt x="3382216" y="4937019"/>
                </a:cubicBezTo>
                <a:close/>
                <a:moveTo>
                  <a:pt x="3458415" y="4934798"/>
                </a:moveTo>
                <a:cubicBezTo>
                  <a:pt x="3460134" y="4934243"/>
                  <a:pt x="3460707" y="4935353"/>
                  <a:pt x="3462139" y="4934798"/>
                </a:cubicBezTo>
                <a:cubicBezTo>
                  <a:pt x="3463285" y="4935132"/>
                  <a:pt x="3464145" y="4936131"/>
                  <a:pt x="3465004" y="4937464"/>
                </a:cubicBezTo>
                <a:cubicBezTo>
                  <a:pt x="3467009" y="4941352"/>
                  <a:pt x="3467582" y="4948351"/>
                  <a:pt x="3466436" y="4948794"/>
                </a:cubicBezTo>
                <a:cubicBezTo>
                  <a:pt x="3467009" y="4949795"/>
                  <a:pt x="3465577" y="4950350"/>
                  <a:pt x="3466150" y="4951349"/>
                </a:cubicBezTo>
                <a:cubicBezTo>
                  <a:pt x="3466150" y="4951349"/>
                  <a:pt x="3466723" y="4952460"/>
                  <a:pt x="3465577" y="4954126"/>
                </a:cubicBezTo>
                <a:cubicBezTo>
                  <a:pt x="3464718" y="4955682"/>
                  <a:pt x="3463858" y="4957237"/>
                  <a:pt x="3459849" y="4957237"/>
                </a:cubicBezTo>
                <a:cubicBezTo>
                  <a:pt x="3459848" y="4947128"/>
                  <a:pt x="3457269" y="4942796"/>
                  <a:pt x="3458415" y="4934798"/>
                </a:cubicBezTo>
                <a:close/>
                <a:moveTo>
                  <a:pt x="5832918" y="4934798"/>
                </a:moveTo>
                <a:cubicBezTo>
                  <a:pt x="5834637" y="4934243"/>
                  <a:pt x="5835210" y="4935353"/>
                  <a:pt x="5836642" y="4934798"/>
                </a:cubicBezTo>
                <a:cubicBezTo>
                  <a:pt x="5837788" y="4935132"/>
                  <a:pt x="5838648" y="4936131"/>
                  <a:pt x="5839507" y="4937464"/>
                </a:cubicBezTo>
                <a:cubicBezTo>
                  <a:pt x="5841512" y="4941352"/>
                  <a:pt x="5842085" y="4948350"/>
                  <a:pt x="5840939" y="4948795"/>
                </a:cubicBezTo>
                <a:cubicBezTo>
                  <a:pt x="5841512" y="4949794"/>
                  <a:pt x="5840080" y="4950349"/>
                  <a:pt x="5840652" y="4951350"/>
                </a:cubicBezTo>
                <a:cubicBezTo>
                  <a:pt x="5840652" y="4951350"/>
                  <a:pt x="5841226" y="4952460"/>
                  <a:pt x="5840080" y="4954127"/>
                </a:cubicBezTo>
                <a:cubicBezTo>
                  <a:pt x="5839220" y="4955682"/>
                  <a:pt x="5838361" y="4957237"/>
                  <a:pt x="5834350" y="4957237"/>
                </a:cubicBezTo>
                <a:cubicBezTo>
                  <a:pt x="5834350" y="4947129"/>
                  <a:pt x="5831772" y="4942796"/>
                  <a:pt x="5832918" y="4934798"/>
                </a:cubicBezTo>
                <a:close/>
                <a:moveTo>
                  <a:pt x="4525208" y="4934798"/>
                </a:moveTo>
                <a:cubicBezTo>
                  <a:pt x="4526927" y="4934243"/>
                  <a:pt x="4527500" y="4935354"/>
                  <a:pt x="4528932" y="4934798"/>
                </a:cubicBezTo>
                <a:cubicBezTo>
                  <a:pt x="4530078" y="4935131"/>
                  <a:pt x="4530938" y="4936131"/>
                  <a:pt x="4531797" y="4937465"/>
                </a:cubicBezTo>
                <a:cubicBezTo>
                  <a:pt x="4533802" y="4941352"/>
                  <a:pt x="4534375" y="4948350"/>
                  <a:pt x="4533229" y="4948795"/>
                </a:cubicBezTo>
                <a:cubicBezTo>
                  <a:pt x="4533802" y="4949794"/>
                  <a:pt x="4532370" y="4950349"/>
                  <a:pt x="4532943" y="4951350"/>
                </a:cubicBezTo>
                <a:cubicBezTo>
                  <a:pt x="4532943" y="4951350"/>
                  <a:pt x="4533516" y="4952461"/>
                  <a:pt x="4532370" y="4954127"/>
                </a:cubicBezTo>
                <a:cubicBezTo>
                  <a:pt x="4531510" y="4955682"/>
                  <a:pt x="4530651" y="4957237"/>
                  <a:pt x="4526641" y="4957237"/>
                </a:cubicBezTo>
                <a:cubicBezTo>
                  <a:pt x="4526641" y="4947129"/>
                  <a:pt x="4524062" y="4942796"/>
                  <a:pt x="4525208" y="4934798"/>
                </a:cubicBezTo>
                <a:close/>
                <a:moveTo>
                  <a:pt x="3414587" y="4931910"/>
                </a:moveTo>
                <a:cubicBezTo>
                  <a:pt x="3415733" y="4931910"/>
                  <a:pt x="3416593" y="4931799"/>
                  <a:pt x="3417737" y="4932132"/>
                </a:cubicBezTo>
                <a:cubicBezTo>
                  <a:pt x="3418883" y="4932354"/>
                  <a:pt x="3420029" y="4932910"/>
                  <a:pt x="3420888" y="4933576"/>
                </a:cubicBezTo>
                <a:cubicBezTo>
                  <a:pt x="3421748" y="4934243"/>
                  <a:pt x="3422034" y="4935021"/>
                  <a:pt x="3421749" y="4935909"/>
                </a:cubicBezTo>
                <a:cubicBezTo>
                  <a:pt x="3420029" y="4936353"/>
                  <a:pt x="3420889" y="4937465"/>
                  <a:pt x="3419170" y="4937908"/>
                </a:cubicBezTo>
                <a:cubicBezTo>
                  <a:pt x="3416592" y="4940019"/>
                  <a:pt x="3415160" y="4940575"/>
                  <a:pt x="3412867" y="4940019"/>
                </a:cubicBezTo>
                <a:cubicBezTo>
                  <a:pt x="3411149" y="4940575"/>
                  <a:pt x="3410576" y="4939574"/>
                  <a:pt x="3408284" y="4939019"/>
                </a:cubicBezTo>
                <a:cubicBezTo>
                  <a:pt x="3407711" y="4937908"/>
                  <a:pt x="3408858" y="4936353"/>
                  <a:pt x="3408858" y="4936353"/>
                </a:cubicBezTo>
                <a:cubicBezTo>
                  <a:pt x="3409716" y="4934798"/>
                  <a:pt x="3409716" y="4934798"/>
                  <a:pt x="3407426" y="4934243"/>
                </a:cubicBezTo>
                <a:cubicBezTo>
                  <a:pt x="3407426" y="4934243"/>
                  <a:pt x="3409143" y="4933687"/>
                  <a:pt x="3409143" y="4933687"/>
                </a:cubicBezTo>
                <a:cubicBezTo>
                  <a:pt x="3409716" y="4934687"/>
                  <a:pt x="3409143" y="4933687"/>
                  <a:pt x="3410003" y="4932131"/>
                </a:cubicBezTo>
                <a:cubicBezTo>
                  <a:pt x="3412008" y="4932131"/>
                  <a:pt x="3413440" y="4932021"/>
                  <a:pt x="3414587" y="4931910"/>
                </a:cubicBezTo>
                <a:close/>
                <a:moveTo>
                  <a:pt x="5789089" y="4931910"/>
                </a:moveTo>
                <a:cubicBezTo>
                  <a:pt x="5790235" y="4931910"/>
                  <a:pt x="5791094" y="4931799"/>
                  <a:pt x="5792241" y="4932132"/>
                </a:cubicBezTo>
                <a:cubicBezTo>
                  <a:pt x="5793386" y="4932354"/>
                  <a:pt x="5794532" y="4932910"/>
                  <a:pt x="5795392" y="4933576"/>
                </a:cubicBezTo>
                <a:cubicBezTo>
                  <a:pt x="5796250" y="4934243"/>
                  <a:pt x="5796824" y="4935021"/>
                  <a:pt x="5796249" y="4935909"/>
                </a:cubicBezTo>
                <a:cubicBezTo>
                  <a:pt x="5794818" y="4936353"/>
                  <a:pt x="5795392" y="4937464"/>
                  <a:pt x="5793672" y="4937908"/>
                </a:cubicBezTo>
                <a:cubicBezTo>
                  <a:pt x="5791094" y="4940019"/>
                  <a:pt x="5789662" y="4940574"/>
                  <a:pt x="5787370" y="4940019"/>
                </a:cubicBezTo>
                <a:cubicBezTo>
                  <a:pt x="5785652" y="4940574"/>
                  <a:pt x="5785078" y="4939575"/>
                  <a:pt x="5782787" y="4939020"/>
                </a:cubicBezTo>
                <a:cubicBezTo>
                  <a:pt x="5782214" y="4937909"/>
                  <a:pt x="5783360" y="4936353"/>
                  <a:pt x="5783360" y="4936353"/>
                </a:cubicBezTo>
                <a:cubicBezTo>
                  <a:pt x="5784219" y="4934798"/>
                  <a:pt x="5784219" y="4934798"/>
                  <a:pt x="5782215" y="4934243"/>
                </a:cubicBezTo>
                <a:cubicBezTo>
                  <a:pt x="5782215" y="4934243"/>
                  <a:pt x="5783646" y="4933687"/>
                  <a:pt x="5783646" y="4933687"/>
                </a:cubicBezTo>
                <a:cubicBezTo>
                  <a:pt x="5784219" y="4934687"/>
                  <a:pt x="5783646" y="4933687"/>
                  <a:pt x="5784506" y="4932132"/>
                </a:cubicBezTo>
                <a:cubicBezTo>
                  <a:pt x="5786511" y="4932132"/>
                  <a:pt x="5787943" y="4932021"/>
                  <a:pt x="5789089" y="4931910"/>
                </a:cubicBezTo>
                <a:close/>
                <a:moveTo>
                  <a:pt x="4481380" y="4931910"/>
                </a:moveTo>
                <a:cubicBezTo>
                  <a:pt x="4482525" y="4931910"/>
                  <a:pt x="4483385" y="4931799"/>
                  <a:pt x="4484530" y="4932132"/>
                </a:cubicBezTo>
                <a:cubicBezTo>
                  <a:pt x="4485676" y="4932355"/>
                  <a:pt x="4486822" y="4932909"/>
                  <a:pt x="4487682" y="4933576"/>
                </a:cubicBezTo>
                <a:cubicBezTo>
                  <a:pt x="4488541" y="4934243"/>
                  <a:pt x="4489114" y="4935020"/>
                  <a:pt x="4488541" y="4935909"/>
                </a:cubicBezTo>
                <a:cubicBezTo>
                  <a:pt x="4486822" y="4936353"/>
                  <a:pt x="4487682" y="4937464"/>
                  <a:pt x="4485963" y="4937908"/>
                </a:cubicBezTo>
                <a:cubicBezTo>
                  <a:pt x="4483384" y="4940019"/>
                  <a:pt x="4481953" y="4940574"/>
                  <a:pt x="4479660" y="4940019"/>
                </a:cubicBezTo>
                <a:cubicBezTo>
                  <a:pt x="4477942" y="4940574"/>
                  <a:pt x="4477369" y="4939575"/>
                  <a:pt x="4475077" y="4939020"/>
                </a:cubicBezTo>
                <a:cubicBezTo>
                  <a:pt x="4474504" y="4937908"/>
                  <a:pt x="4475650" y="4936353"/>
                  <a:pt x="4475650" y="4936353"/>
                </a:cubicBezTo>
                <a:cubicBezTo>
                  <a:pt x="4476510" y="4934798"/>
                  <a:pt x="4476510" y="4934798"/>
                  <a:pt x="4474218" y="4934242"/>
                </a:cubicBezTo>
                <a:cubicBezTo>
                  <a:pt x="4474218" y="4934242"/>
                  <a:pt x="4475936" y="4933798"/>
                  <a:pt x="4475936" y="4933798"/>
                </a:cubicBezTo>
                <a:cubicBezTo>
                  <a:pt x="4476510" y="4934798"/>
                  <a:pt x="4475936" y="4933687"/>
                  <a:pt x="4476796" y="4932132"/>
                </a:cubicBezTo>
                <a:cubicBezTo>
                  <a:pt x="4478801" y="4932132"/>
                  <a:pt x="4480234" y="4932021"/>
                  <a:pt x="4481380" y="4931910"/>
                </a:cubicBezTo>
                <a:close/>
                <a:moveTo>
                  <a:pt x="4586225" y="4926356"/>
                </a:moveTo>
                <a:cubicBezTo>
                  <a:pt x="4587944" y="4926134"/>
                  <a:pt x="4589663" y="4926244"/>
                  <a:pt x="4591095" y="4926911"/>
                </a:cubicBezTo>
                <a:cubicBezTo>
                  <a:pt x="4592814" y="4927688"/>
                  <a:pt x="4593960" y="4929244"/>
                  <a:pt x="4593673" y="4931910"/>
                </a:cubicBezTo>
                <a:cubicBezTo>
                  <a:pt x="4586798" y="4933686"/>
                  <a:pt x="4582215" y="4934798"/>
                  <a:pt x="4578204" y="4934910"/>
                </a:cubicBezTo>
                <a:cubicBezTo>
                  <a:pt x="4575340" y="4930800"/>
                  <a:pt x="4580782" y="4927022"/>
                  <a:pt x="4586225" y="4926356"/>
                </a:cubicBezTo>
                <a:close/>
                <a:moveTo>
                  <a:pt x="3278229" y="4926356"/>
                </a:moveTo>
                <a:cubicBezTo>
                  <a:pt x="3279948" y="4926133"/>
                  <a:pt x="3281954" y="4926244"/>
                  <a:pt x="3283386" y="4926911"/>
                </a:cubicBezTo>
                <a:cubicBezTo>
                  <a:pt x="3285104" y="4927689"/>
                  <a:pt x="3286251" y="4929244"/>
                  <a:pt x="3285964" y="4931910"/>
                </a:cubicBezTo>
                <a:cubicBezTo>
                  <a:pt x="3279090" y="4933687"/>
                  <a:pt x="3274219" y="4934798"/>
                  <a:pt x="3270495" y="4934910"/>
                </a:cubicBezTo>
                <a:cubicBezTo>
                  <a:pt x="3267344" y="4930799"/>
                  <a:pt x="3273074" y="4927022"/>
                  <a:pt x="3278229" y="4926356"/>
                </a:cubicBezTo>
                <a:close/>
                <a:moveTo>
                  <a:pt x="2211437" y="4926356"/>
                </a:moveTo>
                <a:cubicBezTo>
                  <a:pt x="2213155" y="4926133"/>
                  <a:pt x="2215160" y="4926245"/>
                  <a:pt x="2216592" y="4926911"/>
                </a:cubicBezTo>
                <a:cubicBezTo>
                  <a:pt x="2218311" y="4927688"/>
                  <a:pt x="2219458" y="4929244"/>
                  <a:pt x="2219171" y="4931910"/>
                </a:cubicBezTo>
                <a:cubicBezTo>
                  <a:pt x="2212296" y="4933687"/>
                  <a:pt x="2207426" y="4934798"/>
                  <a:pt x="2203701" y="4934909"/>
                </a:cubicBezTo>
                <a:cubicBezTo>
                  <a:pt x="2200551" y="4930800"/>
                  <a:pt x="2206281" y="4927022"/>
                  <a:pt x="2211437" y="4926356"/>
                </a:cubicBezTo>
                <a:close/>
                <a:moveTo>
                  <a:pt x="5201551" y="4922801"/>
                </a:moveTo>
                <a:cubicBezTo>
                  <a:pt x="5205561" y="4924467"/>
                  <a:pt x="5209572" y="4926134"/>
                  <a:pt x="5213582" y="4927689"/>
                </a:cubicBezTo>
                <a:cubicBezTo>
                  <a:pt x="5210431" y="4929577"/>
                  <a:pt x="5209285" y="4932132"/>
                  <a:pt x="5208140" y="4933576"/>
                </a:cubicBezTo>
                <a:cubicBezTo>
                  <a:pt x="5203270" y="4934576"/>
                  <a:pt x="5199546" y="4934021"/>
                  <a:pt x="5195248" y="4931244"/>
                </a:cubicBezTo>
                <a:cubicBezTo>
                  <a:pt x="5197254" y="4926023"/>
                  <a:pt x="5196108" y="4927467"/>
                  <a:pt x="5201551" y="4922801"/>
                </a:cubicBezTo>
                <a:close/>
                <a:moveTo>
                  <a:pt x="3893841" y="4922801"/>
                </a:moveTo>
                <a:cubicBezTo>
                  <a:pt x="3897565" y="4924467"/>
                  <a:pt x="3901576" y="4926134"/>
                  <a:pt x="3905586" y="4927689"/>
                </a:cubicBezTo>
                <a:cubicBezTo>
                  <a:pt x="3902721" y="4929577"/>
                  <a:pt x="3901576" y="4932132"/>
                  <a:pt x="3900430" y="4933576"/>
                </a:cubicBezTo>
                <a:cubicBezTo>
                  <a:pt x="3895560" y="4934576"/>
                  <a:pt x="3891836" y="4934020"/>
                  <a:pt x="3887539" y="4931244"/>
                </a:cubicBezTo>
                <a:cubicBezTo>
                  <a:pt x="3889544" y="4926023"/>
                  <a:pt x="3888112" y="4927467"/>
                  <a:pt x="3893841" y="4922801"/>
                </a:cubicBezTo>
                <a:close/>
                <a:moveTo>
                  <a:pt x="2827048" y="4922801"/>
                </a:moveTo>
                <a:cubicBezTo>
                  <a:pt x="2830772" y="4924467"/>
                  <a:pt x="2834782" y="4926133"/>
                  <a:pt x="2838794" y="4927688"/>
                </a:cubicBezTo>
                <a:cubicBezTo>
                  <a:pt x="2835928" y="4929577"/>
                  <a:pt x="2834782" y="4932132"/>
                  <a:pt x="2833637" y="4933576"/>
                </a:cubicBezTo>
                <a:cubicBezTo>
                  <a:pt x="2828767" y="4934576"/>
                  <a:pt x="2825043" y="4934020"/>
                  <a:pt x="2820747" y="4931243"/>
                </a:cubicBezTo>
                <a:cubicBezTo>
                  <a:pt x="2822751" y="4926023"/>
                  <a:pt x="2821319" y="4927467"/>
                  <a:pt x="2827048" y="4922801"/>
                </a:cubicBezTo>
                <a:close/>
                <a:moveTo>
                  <a:pt x="2601601" y="4922468"/>
                </a:moveTo>
                <a:cubicBezTo>
                  <a:pt x="2604179" y="4922246"/>
                  <a:pt x="2606470" y="4922690"/>
                  <a:pt x="2609049" y="4924134"/>
                </a:cubicBezTo>
                <a:cubicBezTo>
                  <a:pt x="2610767" y="4926578"/>
                  <a:pt x="2609049" y="4928688"/>
                  <a:pt x="2607043" y="4930910"/>
                </a:cubicBezTo>
                <a:cubicBezTo>
                  <a:pt x="2605324" y="4932466"/>
                  <a:pt x="2603607" y="4932909"/>
                  <a:pt x="2601887" y="4932577"/>
                </a:cubicBezTo>
                <a:cubicBezTo>
                  <a:pt x="2600168" y="4932354"/>
                  <a:pt x="2598449" y="4931354"/>
                  <a:pt x="2596731" y="4930133"/>
                </a:cubicBezTo>
                <a:cubicBezTo>
                  <a:pt x="2593580" y="4927467"/>
                  <a:pt x="2595298" y="4925355"/>
                  <a:pt x="2595298" y="4925355"/>
                </a:cubicBezTo>
                <a:cubicBezTo>
                  <a:pt x="2597017" y="4923690"/>
                  <a:pt x="2599309" y="4922801"/>
                  <a:pt x="2601601" y="4922468"/>
                </a:cubicBezTo>
                <a:close/>
                <a:moveTo>
                  <a:pt x="4976104" y="4922468"/>
                </a:moveTo>
                <a:cubicBezTo>
                  <a:pt x="4978682" y="4922246"/>
                  <a:pt x="4980973" y="4922691"/>
                  <a:pt x="4983551" y="4924134"/>
                </a:cubicBezTo>
                <a:cubicBezTo>
                  <a:pt x="4985270" y="4926578"/>
                  <a:pt x="4983551" y="4928688"/>
                  <a:pt x="4981546" y="4930910"/>
                </a:cubicBezTo>
                <a:cubicBezTo>
                  <a:pt x="4979827" y="4932465"/>
                  <a:pt x="4978108" y="4932910"/>
                  <a:pt x="4976390" y="4932576"/>
                </a:cubicBezTo>
                <a:cubicBezTo>
                  <a:pt x="4974671" y="4932354"/>
                  <a:pt x="4972952" y="4931354"/>
                  <a:pt x="4971233" y="4930132"/>
                </a:cubicBezTo>
                <a:cubicBezTo>
                  <a:pt x="4968082" y="4927467"/>
                  <a:pt x="4969801" y="4925356"/>
                  <a:pt x="4969801" y="4925356"/>
                </a:cubicBezTo>
                <a:cubicBezTo>
                  <a:pt x="4971520" y="4923689"/>
                  <a:pt x="4973812" y="4922801"/>
                  <a:pt x="4976104" y="4922468"/>
                </a:cubicBezTo>
                <a:close/>
                <a:moveTo>
                  <a:pt x="3668395" y="4922468"/>
                </a:moveTo>
                <a:cubicBezTo>
                  <a:pt x="3670972" y="4922246"/>
                  <a:pt x="3673264" y="4922691"/>
                  <a:pt x="3675842" y="4924134"/>
                </a:cubicBezTo>
                <a:cubicBezTo>
                  <a:pt x="3677560" y="4926578"/>
                  <a:pt x="3675842" y="4928688"/>
                  <a:pt x="3673836" y="4930911"/>
                </a:cubicBezTo>
                <a:cubicBezTo>
                  <a:pt x="3672118" y="4932465"/>
                  <a:pt x="3670400" y="4932910"/>
                  <a:pt x="3668680" y="4932577"/>
                </a:cubicBezTo>
                <a:cubicBezTo>
                  <a:pt x="3666961" y="4932355"/>
                  <a:pt x="3665243" y="4931354"/>
                  <a:pt x="3663524" y="4930132"/>
                </a:cubicBezTo>
                <a:cubicBezTo>
                  <a:pt x="3660373" y="4927467"/>
                  <a:pt x="3662091" y="4925356"/>
                  <a:pt x="3662091" y="4925356"/>
                </a:cubicBezTo>
                <a:cubicBezTo>
                  <a:pt x="3663810" y="4923690"/>
                  <a:pt x="3666102" y="4922801"/>
                  <a:pt x="3668395" y="4922468"/>
                </a:cubicBezTo>
                <a:close/>
                <a:moveTo>
                  <a:pt x="3884388" y="4919247"/>
                </a:moveTo>
                <a:cubicBezTo>
                  <a:pt x="3886966" y="4919580"/>
                  <a:pt x="3889258" y="4920135"/>
                  <a:pt x="3891263" y="4920357"/>
                </a:cubicBezTo>
                <a:cubicBezTo>
                  <a:pt x="3889830" y="4921802"/>
                  <a:pt x="3888683" y="4923357"/>
                  <a:pt x="3890403" y="4922912"/>
                </a:cubicBezTo>
                <a:cubicBezTo>
                  <a:pt x="3889258" y="4924467"/>
                  <a:pt x="3887825" y="4925356"/>
                  <a:pt x="3886106" y="4925912"/>
                </a:cubicBezTo>
                <a:cubicBezTo>
                  <a:pt x="3884674" y="4926467"/>
                  <a:pt x="3882955" y="4926578"/>
                  <a:pt x="3880950" y="4926467"/>
                </a:cubicBezTo>
                <a:cubicBezTo>
                  <a:pt x="3878945" y="4925689"/>
                  <a:pt x="3878086" y="4923579"/>
                  <a:pt x="3878372" y="4919802"/>
                </a:cubicBezTo>
                <a:cubicBezTo>
                  <a:pt x="3879804" y="4918802"/>
                  <a:pt x="3882096" y="4918913"/>
                  <a:pt x="3884388" y="4919247"/>
                </a:cubicBezTo>
                <a:close/>
                <a:moveTo>
                  <a:pt x="5192098" y="4919247"/>
                </a:moveTo>
                <a:cubicBezTo>
                  <a:pt x="5194676" y="4919579"/>
                  <a:pt x="5196967" y="4920135"/>
                  <a:pt x="5198972" y="4920357"/>
                </a:cubicBezTo>
                <a:cubicBezTo>
                  <a:pt x="5197540" y="4921802"/>
                  <a:pt x="5196394" y="4923356"/>
                  <a:pt x="5198113" y="4922912"/>
                </a:cubicBezTo>
                <a:cubicBezTo>
                  <a:pt x="5196967" y="4924467"/>
                  <a:pt x="5195535" y="4925356"/>
                  <a:pt x="5193815" y="4925912"/>
                </a:cubicBezTo>
                <a:cubicBezTo>
                  <a:pt x="5192384" y="4926467"/>
                  <a:pt x="5190665" y="4926577"/>
                  <a:pt x="5188660" y="4926467"/>
                </a:cubicBezTo>
                <a:cubicBezTo>
                  <a:pt x="5186654" y="4925689"/>
                  <a:pt x="5185795" y="4923579"/>
                  <a:pt x="5186368" y="4919802"/>
                </a:cubicBezTo>
                <a:cubicBezTo>
                  <a:pt x="5187514" y="4918802"/>
                  <a:pt x="5189806" y="4918913"/>
                  <a:pt x="5192098" y="4919247"/>
                </a:cubicBezTo>
                <a:close/>
                <a:moveTo>
                  <a:pt x="2817595" y="4919247"/>
                </a:moveTo>
                <a:cubicBezTo>
                  <a:pt x="2820173" y="4919579"/>
                  <a:pt x="2822464" y="4920135"/>
                  <a:pt x="2824470" y="4920357"/>
                </a:cubicBezTo>
                <a:cubicBezTo>
                  <a:pt x="2823037" y="4921802"/>
                  <a:pt x="2821893" y="4923357"/>
                  <a:pt x="2823611" y="4922912"/>
                </a:cubicBezTo>
                <a:cubicBezTo>
                  <a:pt x="2822464" y="4924467"/>
                  <a:pt x="2821032" y="4925356"/>
                  <a:pt x="2819314" y="4925912"/>
                </a:cubicBezTo>
                <a:cubicBezTo>
                  <a:pt x="2817881" y="4926467"/>
                  <a:pt x="2816162" y="4926578"/>
                  <a:pt x="2814157" y="4926467"/>
                </a:cubicBezTo>
                <a:cubicBezTo>
                  <a:pt x="2812152" y="4925690"/>
                  <a:pt x="2811292" y="4923578"/>
                  <a:pt x="2811579" y="4919802"/>
                </a:cubicBezTo>
                <a:cubicBezTo>
                  <a:pt x="2813011" y="4918802"/>
                  <a:pt x="2815303" y="4918913"/>
                  <a:pt x="2817595" y="4919247"/>
                </a:cubicBezTo>
                <a:close/>
                <a:moveTo>
                  <a:pt x="2372715" y="4918580"/>
                </a:moveTo>
                <a:cubicBezTo>
                  <a:pt x="2372715" y="4918580"/>
                  <a:pt x="2373002" y="4919691"/>
                  <a:pt x="2373002" y="4919691"/>
                </a:cubicBezTo>
                <a:cubicBezTo>
                  <a:pt x="2371283" y="4920135"/>
                  <a:pt x="2373002" y="4919691"/>
                  <a:pt x="2375007" y="4920468"/>
                </a:cubicBezTo>
                <a:cubicBezTo>
                  <a:pt x="2374434" y="4923023"/>
                  <a:pt x="2374721" y="4924245"/>
                  <a:pt x="2373575" y="4925690"/>
                </a:cubicBezTo>
                <a:cubicBezTo>
                  <a:pt x="2373002" y="4926467"/>
                  <a:pt x="2371856" y="4927356"/>
                  <a:pt x="2370710" y="4927911"/>
                </a:cubicBezTo>
                <a:cubicBezTo>
                  <a:pt x="2369564" y="4928467"/>
                  <a:pt x="2368418" y="4928800"/>
                  <a:pt x="2367273" y="4928467"/>
                </a:cubicBezTo>
                <a:cubicBezTo>
                  <a:pt x="2366986" y="4927355"/>
                  <a:pt x="2365268" y="4927689"/>
                  <a:pt x="2364981" y="4926578"/>
                </a:cubicBezTo>
                <a:cubicBezTo>
                  <a:pt x="2362403" y="4924801"/>
                  <a:pt x="2362116" y="4923578"/>
                  <a:pt x="2363262" y="4922024"/>
                </a:cubicBezTo>
                <a:cubicBezTo>
                  <a:pt x="2362689" y="4920913"/>
                  <a:pt x="2364408" y="4920579"/>
                  <a:pt x="2365554" y="4919135"/>
                </a:cubicBezTo>
                <a:cubicBezTo>
                  <a:pt x="2367274" y="4918691"/>
                  <a:pt x="2369278" y="4919358"/>
                  <a:pt x="2369278" y="4919358"/>
                </a:cubicBezTo>
                <a:cubicBezTo>
                  <a:pt x="2371283" y="4920135"/>
                  <a:pt x="2371283" y="4920135"/>
                  <a:pt x="2372715" y="4918580"/>
                </a:cubicBezTo>
                <a:close/>
                <a:moveTo>
                  <a:pt x="4747218" y="4918579"/>
                </a:moveTo>
                <a:cubicBezTo>
                  <a:pt x="4747218" y="4918579"/>
                  <a:pt x="4747505" y="4919691"/>
                  <a:pt x="4747505" y="4919691"/>
                </a:cubicBezTo>
                <a:cubicBezTo>
                  <a:pt x="4745786" y="4920136"/>
                  <a:pt x="4747505" y="4919691"/>
                  <a:pt x="4749510" y="4920468"/>
                </a:cubicBezTo>
                <a:cubicBezTo>
                  <a:pt x="4748937" y="4923023"/>
                  <a:pt x="4749224" y="4924246"/>
                  <a:pt x="4748078" y="4925689"/>
                </a:cubicBezTo>
                <a:cubicBezTo>
                  <a:pt x="4747505" y="4926467"/>
                  <a:pt x="4746645" y="4927355"/>
                  <a:pt x="4745500" y="4927911"/>
                </a:cubicBezTo>
                <a:cubicBezTo>
                  <a:pt x="4744354" y="4928467"/>
                  <a:pt x="4743208" y="4928800"/>
                  <a:pt x="4742062" y="4928467"/>
                </a:cubicBezTo>
                <a:cubicBezTo>
                  <a:pt x="4741489" y="4927356"/>
                  <a:pt x="4739771" y="4927688"/>
                  <a:pt x="4739484" y="4926578"/>
                </a:cubicBezTo>
                <a:cubicBezTo>
                  <a:pt x="4736906" y="4924801"/>
                  <a:pt x="4736619" y="4923579"/>
                  <a:pt x="4737765" y="4922023"/>
                </a:cubicBezTo>
                <a:cubicBezTo>
                  <a:pt x="4737192" y="4920913"/>
                  <a:pt x="4738911" y="4920580"/>
                  <a:pt x="4740343" y="4919135"/>
                </a:cubicBezTo>
                <a:cubicBezTo>
                  <a:pt x="4741776" y="4918691"/>
                  <a:pt x="4743781" y="4919358"/>
                  <a:pt x="4743781" y="4919358"/>
                </a:cubicBezTo>
                <a:cubicBezTo>
                  <a:pt x="4745786" y="4920136"/>
                  <a:pt x="4745786" y="4920136"/>
                  <a:pt x="4747218" y="4918579"/>
                </a:cubicBezTo>
                <a:close/>
                <a:moveTo>
                  <a:pt x="3439509" y="4918579"/>
                </a:moveTo>
                <a:cubicBezTo>
                  <a:pt x="3439509" y="4918579"/>
                  <a:pt x="3439795" y="4919691"/>
                  <a:pt x="3439795" y="4919691"/>
                </a:cubicBezTo>
                <a:cubicBezTo>
                  <a:pt x="3438076" y="4920136"/>
                  <a:pt x="3439795" y="4919691"/>
                  <a:pt x="3441800" y="4920468"/>
                </a:cubicBezTo>
                <a:cubicBezTo>
                  <a:pt x="3441228" y="4923023"/>
                  <a:pt x="3441514" y="4924245"/>
                  <a:pt x="3440368" y="4925689"/>
                </a:cubicBezTo>
                <a:cubicBezTo>
                  <a:pt x="3439795" y="4926467"/>
                  <a:pt x="3438649" y="4927356"/>
                  <a:pt x="3437503" y="4927911"/>
                </a:cubicBezTo>
                <a:cubicBezTo>
                  <a:pt x="3436359" y="4928467"/>
                  <a:pt x="3435212" y="4928800"/>
                  <a:pt x="3434067" y="4928467"/>
                </a:cubicBezTo>
                <a:cubicBezTo>
                  <a:pt x="3433779" y="4927355"/>
                  <a:pt x="3432062" y="4927688"/>
                  <a:pt x="3431774" y="4926578"/>
                </a:cubicBezTo>
                <a:cubicBezTo>
                  <a:pt x="3429197" y="4924800"/>
                  <a:pt x="3428909" y="4923578"/>
                  <a:pt x="3430055" y="4922024"/>
                </a:cubicBezTo>
                <a:cubicBezTo>
                  <a:pt x="3429482" y="4920913"/>
                  <a:pt x="3431201" y="4920579"/>
                  <a:pt x="3432347" y="4919136"/>
                </a:cubicBezTo>
                <a:cubicBezTo>
                  <a:pt x="3434067" y="4918691"/>
                  <a:pt x="3436071" y="4919358"/>
                  <a:pt x="3436071" y="4919358"/>
                </a:cubicBezTo>
                <a:cubicBezTo>
                  <a:pt x="3438076" y="4920136"/>
                  <a:pt x="3438076" y="4920136"/>
                  <a:pt x="3439509" y="4918579"/>
                </a:cubicBezTo>
                <a:close/>
                <a:moveTo>
                  <a:pt x="4600548" y="4917802"/>
                </a:moveTo>
                <a:cubicBezTo>
                  <a:pt x="4608283" y="4920024"/>
                  <a:pt x="4610002" y="4923357"/>
                  <a:pt x="4609142" y="4928467"/>
                </a:cubicBezTo>
                <a:cubicBezTo>
                  <a:pt x="4604559" y="4929244"/>
                  <a:pt x="4596538" y="4927022"/>
                  <a:pt x="4595106" y="4923689"/>
                </a:cubicBezTo>
                <a:cubicBezTo>
                  <a:pt x="4596538" y="4919690"/>
                  <a:pt x="4599976" y="4920357"/>
                  <a:pt x="4600548" y="4917802"/>
                </a:cubicBezTo>
                <a:close/>
                <a:moveTo>
                  <a:pt x="3292840" y="4917802"/>
                </a:moveTo>
                <a:cubicBezTo>
                  <a:pt x="3300573" y="4920024"/>
                  <a:pt x="3302292" y="4923357"/>
                  <a:pt x="3301433" y="4928467"/>
                </a:cubicBezTo>
                <a:cubicBezTo>
                  <a:pt x="3296849" y="4929244"/>
                  <a:pt x="3288829" y="4927022"/>
                  <a:pt x="3287396" y="4923690"/>
                </a:cubicBezTo>
                <a:cubicBezTo>
                  <a:pt x="3288828" y="4919691"/>
                  <a:pt x="3292266" y="4920357"/>
                  <a:pt x="3292840" y="4917802"/>
                </a:cubicBezTo>
                <a:close/>
                <a:moveTo>
                  <a:pt x="2226047" y="4917802"/>
                </a:moveTo>
                <a:cubicBezTo>
                  <a:pt x="2233780" y="4920024"/>
                  <a:pt x="2235499" y="4923356"/>
                  <a:pt x="2234640" y="4928467"/>
                </a:cubicBezTo>
                <a:cubicBezTo>
                  <a:pt x="2230057" y="4929244"/>
                  <a:pt x="2222036" y="4927022"/>
                  <a:pt x="2220603" y="4923689"/>
                </a:cubicBezTo>
                <a:cubicBezTo>
                  <a:pt x="2222035" y="4919691"/>
                  <a:pt x="2225474" y="4920357"/>
                  <a:pt x="2226047" y="4917802"/>
                </a:cubicBezTo>
                <a:close/>
                <a:moveTo>
                  <a:pt x="3933373" y="4917581"/>
                </a:moveTo>
                <a:cubicBezTo>
                  <a:pt x="3935378" y="4918358"/>
                  <a:pt x="3936524" y="4919135"/>
                  <a:pt x="3937384" y="4919913"/>
                </a:cubicBezTo>
                <a:cubicBezTo>
                  <a:pt x="3939962" y="4922246"/>
                  <a:pt x="3937956" y="4924912"/>
                  <a:pt x="3935951" y="4927467"/>
                </a:cubicBezTo>
                <a:cubicBezTo>
                  <a:pt x="3931368" y="4924801"/>
                  <a:pt x="3927071" y="4929355"/>
                  <a:pt x="3924779" y="4924467"/>
                </a:cubicBezTo>
                <a:cubicBezTo>
                  <a:pt x="3925352" y="4922023"/>
                  <a:pt x="3927644" y="4919691"/>
                  <a:pt x="3933373" y="4917581"/>
                </a:cubicBezTo>
                <a:close/>
                <a:moveTo>
                  <a:pt x="2866581" y="4917581"/>
                </a:moveTo>
                <a:cubicBezTo>
                  <a:pt x="2868586" y="4918358"/>
                  <a:pt x="2869732" y="4919135"/>
                  <a:pt x="2870590" y="4919913"/>
                </a:cubicBezTo>
                <a:cubicBezTo>
                  <a:pt x="2872883" y="4922246"/>
                  <a:pt x="2871163" y="4924911"/>
                  <a:pt x="2869159" y="4927467"/>
                </a:cubicBezTo>
                <a:cubicBezTo>
                  <a:pt x="2864575" y="4924801"/>
                  <a:pt x="2860278" y="4929355"/>
                  <a:pt x="2857986" y="4924467"/>
                </a:cubicBezTo>
                <a:cubicBezTo>
                  <a:pt x="2858559" y="4922024"/>
                  <a:pt x="2860851" y="4919691"/>
                  <a:pt x="2866581" y="4917581"/>
                </a:cubicBezTo>
                <a:close/>
                <a:moveTo>
                  <a:pt x="5241084" y="4917580"/>
                </a:moveTo>
                <a:cubicBezTo>
                  <a:pt x="5243088" y="4918357"/>
                  <a:pt x="5244234" y="4919136"/>
                  <a:pt x="5245093" y="4919913"/>
                </a:cubicBezTo>
                <a:cubicBezTo>
                  <a:pt x="5247672" y="4922246"/>
                  <a:pt x="5245666" y="4924912"/>
                  <a:pt x="5243661" y="4927467"/>
                </a:cubicBezTo>
                <a:cubicBezTo>
                  <a:pt x="5239079" y="4924800"/>
                  <a:pt x="5234780" y="4929355"/>
                  <a:pt x="5232489" y="4924467"/>
                </a:cubicBezTo>
                <a:cubicBezTo>
                  <a:pt x="5233062" y="4922024"/>
                  <a:pt x="5235354" y="4919691"/>
                  <a:pt x="5241084" y="4917580"/>
                </a:cubicBezTo>
                <a:close/>
                <a:moveTo>
                  <a:pt x="4180592" y="4917358"/>
                </a:moveTo>
                <a:cubicBezTo>
                  <a:pt x="4187467" y="4918135"/>
                  <a:pt x="4194628" y="4918802"/>
                  <a:pt x="4198066" y="4921690"/>
                </a:cubicBezTo>
                <a:cubicBezTo>
                  <a:pt x="4197780" y="4924912"/>
                  <a:pt x="4196347" y="4927578"/>
                  <a:pt x="4193483" y="4929466"/>
                </a:cubicBezTo>
                <a:cubicBezTo>
                  <a:pt x="4190905" y="4931354"/>
                  <a:pt x="4186894" y="4932465"/>
                  <a:pt x="4181452" y="4932243"/>
                </a:cubicBezTo>
                <a:cubicBezTo>
                  <a:pt x="4174576" y="4928244"/>
                  <a:pt x="4178873" y="4921357"/>
                  <a:pt x="4180592" y="4917358"/>
                </a:cubicBezTo>
                <a:close/>
                <a:moveTo>
                  <a:pt x="3113799" y="4917358"/>
                </a:moveTo>
                <a:cubicBezTo>
                  <a:pt x="3120674" y="4918136"/>
                  <a:pt x="3127835" y="4918802"/>
                  <a:pt x="3131273" y="4921690"/>
                </a:cubicBezTo>
                <a:cubicBezTo>
                  <a:pt x="3130701" y="4924912"/>
                  <a:pt x="3129555" y="4927578"/>
                  <a:pt x="3126690" y="4929466"/>
                </a:cubicBezTo>
                <a:cubicBezTo>
                  <a:pt x="3124112" y="4931355"/>
                  <a:pt x="3120101" y="4932466"/>
                  <a:pt x="3114659" y="4932243"/>
                </a:cubicBezTo>
                <a:cubicBezTo>
                  <a:pt x="3107783" y="4928245"/>
                  <a:pt x="3112080" y="4921357"/>
                  <a:pt x="3113799" y="4917358"/>
                </a:cubicBezTo>
                <a:close/>
                <a:moveTo>
                  <a:pt x="5488302" y="4917357"/>
                </a:moveTo>
                <a:cubicBezTo>
                  <a:pt x="5495177" y="4918135"/>
                  <a:pt x="5502625" y="4918802"/>
                  <a:pt x="5505776" y="4921691"/>
                </a:cubicBezTo>
                <a:cubicBezTo>
                  <a:pt x="5505491" y="4924912"/>
                  <a:pt x="5504056" y="4927578"/>
                  <a:pt x="5501192" y="4929466"/>
                </a:cubicBezTo>
                <a:cubicBezTo>
                  <a:pt x="5498614" y="4931354"/>
                  <a:pt x="5494605" y="4932465"/>
                  <a:pt x="5489161" y="4932243"/>
                </a:cubicBezTo>
                <a:cubicBezTo>
                  <a:pt x="5482572" y="4928244"/>
                  <a:pt x="5486583" y="4921357"/>
                  <a:pt x="5488302" y="4917357"/>
                </a:cubicBezTo>
                <a:close/>
                <a:moveTo>
                  <a:pt x="3342111" y="4915137"/>
                </a:moveTo>
                <a:cubicBezTo>
                  <a:pt x="3345262" y="4916580"/>
                  <a:pt x="3346981" y="4916803"/>
                  <a:pt x="3348413" y="4918135"/>
                </a:cubicBezTo>
                <a:cubicBezTo>
                  <a:pt x="3349273" y="4918802"/>
                  <a:pt x="3350132" y="4919802"/>
                  <a:pt x="3350418" y="4920802"/>
                </a:cubicBezTo>
                <a:cubicBezTo>
                  <a:pt x="3350705" y="4921690"/>
                  <a:pt x="3350705" y="4922578"/>
                  <a:pt x="3349846" y="4923023"/>
                </a:cubicBezTo>
                <a:cubicBezTo>
                  <a:pt x="3348128" y="4922801"/>
                  <a:pt x="3348127" y="4924023"/>
                  <a:pt x="3346408" y="4923801"/>
                </a:cubicBezTo>
                <a:cubicBezTo>
                  <a:pt x="3342684" y="4924579"/>
                  <a:pt x="3340965" y="4924356"/>
                  <a:pt x="3339247" y="4923023"/>
                </a:cubicBezTo>
                <a:cubicBezTo>
                  <a:pt x="3337814" y="4922801"/>
                  <a:pt x="3337815" y="4921691"/>
                  <a:pt x="3336381" y="4920356"/>
                </a:cubicBezTo>
                <a:cubicBezTo>
                  <a:pt x="3336381" y="4919136"/>
                  <a:pt x="3338101" y="4918247"/>
                  <a:pt x="3338101" y="4918247"/>
                </a:cubicBezTo>
                <a:cubicBezTo>
                  <a:pt x="3340106" y="4917247"/>
                  <a:pt x="3340106" y="4917247"/>
                  <a:pt x="3338387" y="4915914"/>
                </a:cubicBezTo>
                <a:cubicBezTo>
                  <a:pt x="3338387" y="4915914"/>
                  <a:pt x="3340106" y="4916025"/>
                  <a:pt x="3340106" y="4916025"/>
                </a:cubicBezTo>
                <a:cubicBezTo>
                  <a:pt x="3340106" y="4917247"/>
                  <a:pt x="3340106" y="4916025"/>
                  <a:pt x="3342111" y="4915137"/>
                </a:cubicBezTo>
                <a:close/>
                <a:moveTo>
                  <a:pt x="5716614" y="4915136"/>
                </a:moveTo>
                <a:cubicBezTo>
                  <a:pt x="5719765" y="4916580"/>
                  <a:pt x="5721484" y="4916802"/>
                  <a:pt x="5722916" y="4918135"/>
                </a:cubicBezTo>
                <a:cubicBezTo>
                  <a:pt x="5723775" y="4918801"/>
                  <a:pt x="5724634" y="4919802"/>
                  <a:pt x="5724921" y="4920802"/>
                </a:cubicBezTo>
                <a:cubicBezTo>
                  <a:pt x="5725208" y="4921691"/>
                  <a:pt x="5725208" y="4922579"/>
                  <a:pt x="5724348" y="4923023"/>
                </a:cubicBezTo>
                <a:cubicBezTo>
                  <a:pt x="5722630" y="4922800"/>
                  <a:pt x="5722630" y="4924023"/>
                  <a:pt x="5720910" y="4923801"/>
                </a:cubicBezTo>
                <a:cubicBezTo>
                  <a:pt x="5717186" y="4924578"/>
                  <a:pt x="5715754" y="4924357"/>
                  <a:pt x="5714036" y="4923023"/>
                </a:cubicBezTo>
                <a:cubicBezTo>
                  <a:pt x="5712317" y="4922801"/>
                  <a:pt x="5712317" y="4921690"/>
                  <a:pt x="5710884" y="4920357"/>
                </a:cubicBezTo>
                <a:cubicBezTo>
                  <a:pt x="5710884" y="4919136"/>
                  <a:pt x="5712603" y="4918247"/>
                  <a:pt x="5712603" y="4918247"/>
                </a:cubicBezTo>
                <a:cubicBezTo>
                  <a:pt x="5714608" y="4917247"/>
                  <a:pt x="5714608" y="4917247"/>
                  <a:pt x="5712890" y="4915914"/>
                </a:cubicBezTo>
                <a:cubicBezTo>
                  <a:pt x="5712890" y="4915914"/>
                  <a:pt x="5714608" y="4916025"/>
                  <a:pt x="5714608" y="4916025"/>
                </a:cubicBezTo>
                <a:cubicBezTo>
                  <a:pt x="5714608" y="4917247"/>
                  <a:pt x="5714608" y="4916025"/>
                  <a:pt x="5716614" y="4915136"/>
                </a:cubicBezTo>
                <a:close/>
                <a:moveTo>
                  <a:pt x="4408904" y="4915136"/>
                </a:moveTo>
                <a:cubicBezTo>
                  <a:pt x="4412055" y="4916581"/>
                  <a:pt x="4413774" y="4916803"/>
                  <a:pt x="4415206" y="4918135"/>
                </a:cubicBezTo>
                <a:cubicBezTo>
                  <a:pt x="4416066" y="4918801"/>
                  <a:pt x="4416925" y="4919802"/>
                  <a:pt x="4417211" y="4920802"/>
                </a:cubicBezTo>
                <a:cubicBezTo>
                  <a:pt x="4417498" y="4921691"/>
                  <a:pt x="4417498" y="4922579"/>
                  <a:pt x="4416638" y="4923022"/>
                </a:cubicBezTo>
                <a:cubicBezTo>
                  <a:pt x="4414920" y="4922801"/>
                  <a:pt x="4414920" y="4924023"/>
                  <a:pt x="4413201" y="4923801"/>
                </a:cubicBezTo>
                <a:cubicBezTo>
                  <a:pt x="4409477" y="4924578"/>
                  <a:pt x="4407758" y="4924357"/>
                  <a:pt x="4406326" y="4923023"/>
                </a:cubicBezTo>
                <a:cubicBezTo>
                  <a:pt x="4404607" y="4922801"/>
                  <a:pt x="4404608" y="4921690"/>
                  <a:pt x="4403174" y="4920357"/>
                </a:cubicBezTo>
                <a:cubicBezTo>
                  <a:pt x="4403174" y="4919135"/>
                  <a:pt x="4404894" y="4918247"/>
                  <a:pt x="4404894" y="4918247"/>
                </a:cubicBezTo>
                <a:cubicBezTo>
                  <a:pt x="4406898" y="4917247"/>
                  <a:pt x="4406898" y="4917247"/>
                  <a:pt x="4405180" y="4915914"/>
                </a:cubicBezTo>
                <a:cubicBezTo>
                  <a:pt x="4405180" y="4915914"/>
                  <a:pt x="4406898" y="4916025"/>
                  <a:pt x="4406898" y="4916025"/>
                </a:cubicBezTo>
                <a:cubicBezTo>
                  <a:pt x="4406898" y="4917247"/>
                  <a:pt x="4406898" y="4916025"/>
                  <a:pt x="4408904" y="4915136"/>
                </a:cubicBezTo>
                <a:close/>
                <a:moveTo>
                  <a:pt x="3178540" y="4912360"/>
                </a:moveTo>
                <a:cubicBezTo>
                  <a:pt x="3181404" y="4912803"/>
                  <a:pt x="3183982" y="4914137"/>
                  <a:pt x="3185415" y="4915914"/>
                </a:cubicBezTo>
                <a:cubicBezTo>
                  <a:pt x="3186275" y="4917025"/>
                  <a:pt x="3186847" y="4918469"/>
                  <a:pt x="3186274" y="4920024"/>
                </a:cubicBezTo>
                <a:cubicBezTo>
                  <a:pt x="3184555" y="4921135"/>
                  <a:pt x="3182264" y="4923468"/>
                  <a:pt x="3178540" y="4924467"/>
                </a:cubicBezTo>
                <a:cubicBezTo>
                  <a:pt x="3170519" y="4922691"/>
                  <a:pt x="3168227" y="4918913"/>
                  <a:pt x="3169373" y="4914026"/>
                </a:cubicBezTo>
                <a:cubicBezTo>
                  <a:pt x="3172237" y="4912359"/>
                  <a:pt x="3175675" y="4911915"/>
                  <a:pt x="3178540" y="4912360"/>
                </a:cubicBezTo>
                <a:close/>
                <a:moveTo>
                  <a:pt x="5553329" y="4912359"/>
                </a:moveTo>
                <a:cubicBezTo>
                  <a:pt x="5556194" y="4912803"/>
                  <a:pt x="5558485" y="4914137"/>
                  <a:pt x="5559918" y="4915914"/>
                </a:cubicBezTo>
                <a:cubicBezTo>
                  <a:pt x="5560777" y="4917024"/>
                  <a:pt x="5561350" y="4918469"/>
                  <a:pt x="5560777" y="4920024"/>
                </a:cubicBezTo>
                <a:cubicBezTo>
                  <a:pt x="5559058" y="4921134"/>
                  <a:pt x="5556766" y="4923468"/>
                  <a:pt x="5553042" y="4924467"/>
                </a:cubicBezTo>
                <a:cubicBezTo>
                  <a:pt x="5545022" y="4922690"/>
                  <a:pt x="5542730" y="4918912"/>
                  <a:pt x="5543876" y="4914026"/>
                </a:cubicBezTo>
                <a:cubicBezTo>
                  <a:pt x="5546740" y="4912359"/>
                  <a:pt x="5550178" y="4911916"/>
                  <a:pt x="5553329" y="4912359"/>
                </a:cubicBezTo>
                <a:close/>
                <a:moveTo>
                  <a:pt x="4245334" y="4912359"/>
                </a:moveTo>
                <a:cubicBezTo>
                  <a:pt x="4248197" y="4912803"/>
                  <a:pt x="4250776" y="4914137"/>
                  <a:pt x="4252208" y="4915914"/>
                </a:cubicBezTo>
                <a:cubicBezTo>
                  <a:pt x="4253067" y="4917025"/>
                  <a:pt x="4253640" y="4918469"/>
                  <a:pt x="4253067" y="4920024"/>
                </a:cubicBezTo>
                <a:cubicBezTo>
                  <a:pt x="4251348" y="4921135"/>
                  <a:pt x="4249057" y="4923468"/>
                  <a:pt x="4245333" y="4924467"/>
                </a:cubicBezTo>
                <a:cubicBezTo>
                  <a:pt x="4237312" y="4922690"/>
                  <a:pt x="4235020" y="4918913"/>
                  <a:pt x="4236166" y="4914025"/>
                </a:cubicBezTo>
                <a:cubicBezTo>
                  <a:pt x="4239030" y="4912360"/>
                  <a:pt x="4242468" y="4911915"/>
                  <a:pt x="4245334" y="4912359"/>
                </a:cubicBezTo>
                <a:close/>
                <a:moveTo>
                  <a:pt x="2612200" y="4903584"/>
                </a:moveTo>
                <a:cubicBezTo>
                  <a:pt x="2615925" y="4904583"/>
                  <a:pt x="2617930" y="4905918"/>
                  <a:pt x="2618788" y="4907694"/>
                </a:cubicBezTo>
                <a:cubicBezTo>
                  <a:pt x="2619648" y="4909361"/>
                  <a:pt x="2619648" y="4911470"/>
                  <a:pt x="2618502" y="4913914"/>
                </a:cubicBezTo>
                <a:cubicBezTo>
                  <a:pt x="2613918" y="4914915"/>
                  <a:pt x="2606470" y="4912914"/>
                  <a:pt x="2605325" y="4909582"/>
                </a:cubicBezTo>
                <a:cubicBezTo>
                  <a:pt x="2607616" y="4905695"/>
                  <a:pt x="2611340" y="4906138"/>
                  <a:pt x="2612200" y="4903584"/>
                </a:cubicBezTo>
                <a:close/>
                <a:moveTo>
                  <a:pt x="4986702" y="4903584"/>
                </a:moveTo>
                <a:cubicBezTo>
                  <a:pt x="4990425" y="4904583"/>
                  <a:pt x="4992432" y="4905917"/>
                  <a:pt x="4993291" y="4907694"/>
                </a:cubicBezTo>
                <a:cubicBezTo>
                  <a:pt x="4994150" y="4909360"/>
                  <a:pt x="4994150" y="4911471"/>
                  <a:pt x="4993005" y="4913915"/>
                </a:cubicBezTo>
                <a:cubicBezTo>
                  <a:pt x="4988421" y="4914915"/>
                  <a:pt x="4980973" y="4912915"/>
                  <a:pt x="4979827" y="4909581"/>
                </a:cubicBezTo>
                <a:cubicBezTo>
                  <a:pt x="4982119" y="4905694"/>
                  <a:pt x="4985843" y="4906138"/>
                  <a:pt x="4986702" y="4903584"/>
                </a:cubicBezTo>
                <a:close/>
                <a:moveTo>
                  <a:pt x="3678993" y="4903584"/>
                </a:moveTo>
                <a:cubicBezTo>
                  <a:pt x="3682718" y="4904583"/>
                  <a:pt x="3684723" y="4905917"/>
                  <a:pt x="3685581" y="4907694"/>
                </a:cubicBezTo>
                <a:cubicBezTo>
                  <a:pt x="3686441" y="4909360"/>
                  <a:pt x="3686441" y="4911471"/>
                  <a:pt x="3685295" y="4913915"/>
                </a:cubicBezTo>
                <a:cubicBezTo>
                  <a:pt x="3680712" y="4914915"/>
                  <a:pt x="3673264" y="4912915"/>
                  <a:pt x="3672119" y="4909582"/>
                </a:cubicBezTo>
                <a:cubicBezTo>
                  <a:pt x="3674409" y="4905694"/>
                  <a:pt x="3678133" y="4906138"/>
                  <a:pt x="3678993" y="4903584"/>
                </a:cubicBezTo>
                <a:close/>
                <a:moveTo>
                  <a:pt x="3253880" y="4901807"/>
                </a:moveTo>
                <a:cubicBezTo>
                  <a:pt x="3257031" y="4902917"/>
                  <a:pt x="3258464" y="4903362"/>
                  <a:pt x="3258751" y="4904695"/>
                </a:cubicBezTo>
                <a:cubicBezTo>
                  <a:pt x="3258750" y="4906028"/>
                  <a:pt x="3257318" y="4908250"/>
                  <a:pt x="3254739" y="4912582"/>
                </a:cubicBezTo>
                <a:cubicBezTo>
                  <a:pt x="3253307" y="4914026"/>
                  <a:pt x="3251589" y="4915358"/>
                  <a:pt x="3249583" y="4916358"/>
                </a:cubicBezTo>
                <a:cubicBezTo>
                  <a:pt x="3247578" y="4917247"/>
                  <a:pt x="3244999" y="4917802"/>
                  <a:pt x="3242421" y="4917913"/>
                </a:cubicBezTo>
                <a:cubicBezTo>
                  <a:pt x="3239557" y="4919802"/>
                  <a:pt x="3234973" y="4921024"/>
                  <a:pt x="3231249" y="4920691"/>
                </a:cubicBezTo>
                <a:cubicBezTo>
                  <a:pt x="3227239" y="4919247"/>
                  <a:pt x="3226379" y="4917024"/>
                  <a:pt x="3227525" y="4915581"/>
                </a:cubicBezTo>
                <a:cubicBezTo>
                  <a:pt x="3234973" y="4902917"/>
                  <a:pt x="3251016" y="4903695"/>
                  <a:pt x="3253880" y="4901807"/>
                </a:cubicBezTo>
                <a:close/>
                <a:moveTo>
                  <a:pt x="5628669" y="4901806"/>
                </a:moveTo>
                <a:cubicBezTo>
                  <a:pt x="5631534" y="4902917"/>
                  <a:pt x="5633252" y="4903362"/>
                  <a:pt x="5633252" y="4904695"/>
                </a:cubicBezTo>
                <a:cubicBezTo>
                  <a:pt x="5633252" y="4906028"/>
                  <a:pt x="5631820" y="4908249"/>
                  <a:pt x="5629242" y="4912582"/>
                </a:cubicBezTo>
                <a:cubicBezTo>
                  <a:pt x="5627810" y="4914025"/>
                  <a:pt x="5626377" y="4915359"/>
                  <a:pt x="5624086" y="4916358"/>
                </a:cubicBezTo>
                <a:cubicBezTo>
                  <a:pt x="5622080" y="4917247"/>
                  <a:pt x="5619789" y="4917802"/>
                  <a:pt x="5617211" y="4917913"/>
                </a:cubicBezTo>
                <a:cubicBezTo>
                  <a:pt x="5614346" y="4919802"/>
                  <a:pt x="5609476" y="4921024"/>
                  <a:pt x="5605752" y="4920690"/>
                </a:cubicBezTo>
                <a:cubicBezTo>
                  <a:pt x="5601742" y="4919247"/>
                  <a:pt x="5600882" y="4917024"/>
                  <a:pt x="5602028" y="4915581"/>
                </a:cubicBezTo>
                <a:cubicBezTo>
                  <a:pt x="5609476" y="4902917"/>
                  <a:pt x="5625805" y="4903694"/>
                  <a:pt x="5628669" y="4901806"/>
                </a:cubicBezTo>
                <a:close/>
                <a:moveTo>
                  <a:pt x="4320673" y="4901806"/>
                </a:moveTo>
                <a:cubicBezTo>
                  <a:pt x="4323824" y="4902917"/>
                  <a:pt x="4325256" y="4903362"/>
                  <a:pt x="4325543" y="4904695"/>
                </a:cubicBezTo>
                <a:cubicBezTo>
                  <a:pt x="4325543" y="4906028"/>
                  <a:pt x="4324111" y="4908249"/>
                  <a:pt x="4321532" y="4912582"/>
                </a:cubicBezTo>
                <a:cubicBezTo>
                  <a:pt x="4320100" y="4914025"/>
                  <a:pt x="4318381" y="4915359"/>
                  <a:pt x="4316376" y="4916358"/>
                </a:cubicBezTo>
                <a:cubicBezTo>
                  <a:pt x="4314370" y="4917247"/>
                  <a:pt x="4312079" y="4917802"/>
                  <a:pt x="4309214" y="4917913"/>
                </a:cubicBezTo>
                <a:cubicBezTo>
                  <a:pt x="4306350" y="4919802"/>
                  <a:pt x="4301766" y="4921024"/>
                  <a:pt x="4298042" y="4920690"/>
                </a:cubicBezTo>
                <a:cubicBezTo>
                  <a:pt x="4294032" y="4919247"/>
                  <a:pt x="4293172" y="4917025"/>
                  <a:pt x="4294318" y="4915581"/>
                </a:cubicBezTo>
                <a:cubicBezTo>
                  <a:pt x="4301766" y="4902917"/>
                  <a:pt x="4318095" y="4903694"/>
                  <a:pt x="4320673" y="4901806"/>
                </a:cubicBezTo>
                <a:close/>
                <a:moveTo>
                  <a:pt x="2219458" y="4899474"/>
                </a:moveTo>
                <a:cubicBezTo>
                  <a:pt x="2221749" y="4899252"/>
                  <a:pt x="2224040" y="4899252"/>
                  <a:pt x="2226046" y="4899474"/>
                </a:cubicBezTo>
                <a:cubicBezTo>
                  <a:pt x="2228911" y="4899807"/>
                  <a:pt x="2231489" y="4900696"/>
                  <a:pt x="2233494" y="4901918"/>
                </a:cubicBezTo>
                <a:cubicBezTo>
                  <a:pt x="2233494" y="4908915"/>
                  <a:pt x="2220890" y="4913248"/>
                  <a:pt x="2212296" y="4911915"/>
                </a:cubicBezTo>
                <a:cubicBezTo>
                  <a:pt x="2209717" y="4911470"/>
                  <a:pt x="2207140" y="4910471"/>
                  <a:pt x="2205994" y="4908693"/>
                </a:cubicBezTo>
                <a:cubicBezTo>
                  <a:pt x="2205994" y="4903362"/>
                  <a:pt x="2212295" y="4900252"/>
                  <a:pt x="2219458" y="4899474"/>
                </a:cubicBezTo>
                <a:close/>
                <a:moveTo>
                  <a:pt x="4600548" y="4899473"/>
                </a:moveTo>
                <a:cubicBezTo>
                  <a:pt x="4603413" y="4899807"/>
                  <a:pt x="4605991" y="4900696"/>
                  <a:pt x="4607996" y="4901918"/>
                </a:cubicBezTo>
                <a:cubicBezTo>
                  <a:pt x="4607996" y="4908916"/>
                  <a:pt x="4595678" y="4913248"/>
                  <a:pt x="4587085" y="4911916"/>
                </a:cubicBezTo>
                <a:cubicBezTo>
                  <a:pt x="4584220" y="4911470"/>
                  <a:pt x="4581928" y="4910471"/>
                  <a:pt x="4580496" y="4908694"/>
                </a:cubicBezTo>
                <a:cubicBezTo>
                  <a:pt x="4580496" y="4903362"/>
                  <a:pt x="4586798" y="4900251"/>
                  <a:pt x="4593960" y="4899474"/>
                </a:cubicBezTo>
                <a:cubicBezTo>
                  <a:pt x="4596252" y="4899252"/>
                  <a:pt x="4598543" y="4899252"/>
                  <a:pt x="4600548" y="4899473"/>
                </a:cubicBezTo>
                <a:close/>
                <a:moveTo>
                  <a:pt x="3292839" y="4899473"/>
                </a:moveTo>
                <a:cubicBezTo>
                  <a:pt x="3295705" y="4899807"/>
                  <a:pt x="3298282" y="4900696"/>
                  <a:pt x="3300287" y="4901918"/>
                </a:cubicBezTo>
                <a:cubicBezTo>
                  <a:pt x="3300287" y="4908916"/>
                  <a:pt x="3287683" y="4913248"/>
                  <a:pt x="3279090" y="4911916"/>
                </a:cubicBezTo>
                <a:cubicBezTo>
                  <a:pt x="3276510" y="4911470"/>
                  <a:pt x="3273933" y="4910471"/>
                  <a:pt x="3272787" y="4908694"/>
                </a:cubicBezTo>
                <a:cubicBezTo>
                  <a:pt x="3272787" y="4903362"/>
                  <a:pt x="3279090" y="4900251"/>
                  <a:pt x="3286251" y="4899474"/>
                </a:cubicBezTo>
                <a:cubicBezTo>
                  <a:pt x="3288542" y="4899252"/>
                  <a:pt x="3290834" y="4899252"/>
                  <a:pt x="3292839" y="4899473"/>
                </a:cubicBezTo>
                <a:close/>
                <a:moveTo>
                  <a:pt x="2540011" y="4898474"/>
                </a:moveTo>
                <a:cubicBezTo>
                  <a:pt x="2540870" y="4898363"/>
                  <a:pt x="2542016" y="4898363"/>
                  <a:pt x="2542875" y="4898696"/>
                </a:cubicBezTo>
                <a:cubicBezTo>
                  <a:pt x="2544881" y="4899363"/>
                  <a:pt x="2546886" y="4900140"/>
                  <a:pt x="2547745" y="4902362"/>
                </a:cubicBezTo>
                <a:cubicBezTo>
                  <a:pt x="2545453" y="4905361"/>
                  <a:pt x="2540298" y="4905472"/>
                  <a:pt x="2539151" y="4907027"/>
                </a:cubicBezTo>
                <a:cubicBezTo>
                  <a:pt x="2538578" y="4905917"/>
                  <a:pt x="2537719" y="4903584"/>
                  <a:pt x="2533995" y="4903362"/>
                </a:cubicBezTo>
                <a:cubicBezTo>
                  <a:pt x="2535714" y="4901029"/>
                  <a:pt x="2537432" y="4898807"/>
                  <a:pt x="2540011" y="4898474"/>
                </a:cubicBezTo>
                <a:close/>
                <a:moveTo>
                  <a:pt x="4914800" y="4898474"/>
                </a:moveTo>
                <a:cubicBezTo>
                  <a:pt x="4915659" y="4898363"/>
                  <a:pt x="4916519" y="4898363"/>
                  <a:pt x="4917378" y="4898696"/>
                </a:cubicBezTo>
                <a:cubicBezTo>
                  <a:pt x="4919383" y="4899363"/>
                  <a:pt x="4921675" y="4900140"/>
                  <a:pt x="4922534" y="4902362"/>
                </a:cubicBezTo>
                <a:cubicBezTo>
                  <a:pt x="4919956" y="4905361"/>
                  <a:pt x="4914800" y="4905472"/>
                  <a:pt x="4913654" y="4907027"/>
                </a:cubicBezTo>
                <a:cubicBezTo>
                  <a:pt x="4913081" y="4905916"/>
                  <a:pt x="4912222" y="4903584"/>
                  <a:pt x="4908498" y="4903362"/>
                </a:cubicBezTo>
                <a:cubicBezTo>
                  <a:pt x="4910503" y="4901029"/>
                  <a:pt x="4912222" y="4898807"/>
                  <a:pt x="4914800" y="4898474"/>
                </a:cubicBezTo>
                <a:close/>
                <a:moveTo>
                  <a:pt x="3606804" y="4898473"/>
                </a:moveTo>
                <a:cubicBezTo>
                  <a:pt x="3607663" y="4898363"/>
                  <a:pt x="3608809" y="4898363"/>
                  <a:pt x="3609668" y="4898696"/>
                </a:cubicBezTo>
                <a:cubicBezTo>
                  <a:pt x="3611674" y="4899363"/>
                  <a:pt x="3613679" y="4900141"/>
                  <a:pt x="3614538" y="4902362"/>
                </a:cubicBezTo>
                <a:cubicBezTo>
                  <a:pt x="3612247" y="4905361"/>
                  <a:pt x="3607091" y="4905472"/>
                  <a:pt x="3605944" y="4907027"/>
                </a:cubicBezTo>
                <a:cubicBezTo>
                  <a:pt x="3605372" y="4905916"/>
                  <a:pt x="3604512" y="4903584"/>
                  <a:pt x="3600788" y="4903362"/>
                </a:cubicBezTo>
                <a:cubicBezTo>
                  <a:pt x="3602507" y="4901029"/>
                  <a:pt x="3604226" y="4898807"/>
                  <a:pt x="3606804" y="4898473"/>
                </a:cubicBezTo>
                <a:close/>
                <a:moveTo>
                  <a:pt x="3012390" y="4897696"/>
                </a:moveTo>
                <a:cubicBezTo>
                  <a:pt x="3014109" y="4899030"/>
                  <a:pt x="3015255" y="4900252"/>
                  <a:pt x="3015828" y="4901473"/>
                </a:cubicBezTo>
                <a:cubicBezTo>
                  <a:pt x="3017833" y="4905139"/>
                  <a:pt x="3014396" y="4908582"/>
                  <a:pt x="3007234" y="4911693"/>
                </a:cubicBezTo>
                <a:cubicBezTo>
                  <a:pt x="3004084" y="4910360"/>
                  <a:pt x="3000933" y="4910138"/>
                  <a:pt x="2996063" y="4908693"/>
                </a:cubicBezTo>
                <a:cubicBezTo>
                  <a:pt x="2996921" y="4905139"/>
                  <a:pt x="3003796" y="4898474"/>
                  <a:pt x="3012390" y="4897696"/>
                </a:cubicBezTo>
                <a:close/>
                <a:moveTo>
                  <a:pt x="5386893" y="4897696"/>
                </a:moveTo>
                <a:cubicBezTo>
                  <a:pt x="5388612" y="4899029"/>
                  <a:pt x="5390044" y="4900252"/>
                  <a:pt x="5390617" y="4901472"/>
                </a:cubicBezTo>
                <a:cubicBezTo>
                  <a:pt x="5392336" y="4905139"/>
                  <a:pt x="5388898" y="4908583"/>
                  <a:pt x="5381737" y="4911693"/>
                </a:cubicBezTo>
                <a:cubicBezTo>
                  <a:pt x="5378872" y="4910360"/>
                  <a:pt x="5375434" y="4910138"/>
                  <a:pt x="5370565" y="4908694"/>
                </a:cubicBezTo>
                <a:cubicBezTo>
                  <a:pt x="5371424" y="4905139"/>
                  <a:pt x="5378299" y="4898474"/>
                  <a:pt x="5386893" y="4897696"/>
                </a:cubicBezTo>
                <a:close/>
                <a:moveTo>
                  <a:pt x="4079184" y="4897696"/>
                </a:moveTo>
                <a:cubicBezTo>
                  <a:pt x="4080902" y="4899029"/>
                  <a:pt x="4082048" y="4900251"/>
                  <a:pt x="4082621" y="4901473"/>
                </a:cubicBezTo>
                <a:cubicBezTo>
                  <a:pt x="4084626" y="4905139"/>
                  <a:pt x="4081189" y="4908583"/>
                  <a:pt x="4074027" y="4911693"/>
                </a:cubicBezTo>
                <a:cubicBezTo>
                  <a:pt x="4070876" y="4910359"/>
                  <a:pt x="4067725" y="4910138"/>
                  <a:pt x="4062855" y="4908694"/>
                </a:cubicBezTo>
                <a:cubicBezTo>
                  <a:pt x="4063714" y="4905139"/>
                  <a:pt x="4070590" y="4898474"/>
                  <a:pt x="4079184" y="4897696"/>
                </a:cubicBezTo>
                <a:close/>
                <a:moveTo>
                  <a:pt x="4961494" y="4895808"/>
                </a:moveTo>
                <a:cubicBezTo>
                  <a:pt x="4967796" y="4895142"/>
                  <a:pt x="4977249" y="4896919"/>
                  <a:pt x="4981832" y="4898474"/>
                </a:cubicBezTo>
                <a:cubicBezTo>
                  <a:pt x="4980973" y="4899252"/>
                  <a:pt x="4979254" y="4899696"/>
                  <a:pt x="4977249" y="4899918"/>
                </a:cubicBezTo>
                <a:cubicBezTo>
                  <a:pt x="4970947" y="4900585"/>
                  <a:pt x="4961494" y="4898918"/>
                  <a:pt x="4956910" y="4897363"/>
                </a:cubicBezTo>
                <a:cubicBezTo>
                  <a:pt x="4957770" y="4896586"/>
                  <a:pt x="4959488" y="4896031"/>
                  <a:pt x="4961494" y="4895808"/>
                </a:cubicBezTo>
                <a:close/>
                <a:moveTo>
                  <a:pt x="3653784" y="4895808"/>
                </a:moveTo>
                <a:cubicBezTo>
                  <a:pt x="3660086" y="4895141"/>
                  <a:pt x="3669539" y="4896919"/>
                  <a:pt x="3674123" y="4898474"/>
                </a:cubicBezTo>
                <a:cubicBezTo>
                  <a:pt x="3673264" y="4899252"/>
                  <a:pt x="3671545" y="4899696"/>
                  <a:pt x="3669539" y="4899918"/>
                </a:cubicBezTo>
                <a:cubicBezTo>
                  <a:pt x="3663237" y="4900584"/>
                  <a:pt x="3653497" y="4898918"/>
                  <a:pt x="3649201" y="4897363"/>
                </a:cubicBezTo>
                <a:cubicBezTo>
                  <a:pt x="3650060" y="4896585"/>
                  <a:pt x="3651779" y="4896031"/>
                  <a:pt x="3653784" y="4895808"/>
                </a:cubicBezTo>
                <a:close/>
                <a:moveTo>
                  <a:pt x="2586991" y="4895808"/>
                </a:moveTo>
                <a:cubicBezTo>
                  <a:pt x="2593293" y="4895141"/>
                  <a:pt x="2602746" y="4896919"/>
                  <a:pt x="2607330" y="4898473"/>
                </a:cubicBezTo>
                <a:cubicBezTo>
                  <a:pt x="2606470" y="4899252"/>
                  <a:pt x="2604753" y="4899696"/>
                  <a:pt x="2602746" y="4899918"/>
                </a:cubicBezTo>
                <a:cubicBezTo>
                  <a:pt x="2596445" y="4900584"/>
                  <a:pt x="2586704" y="4898918"/>
                  <a:pt x="2582121" y="4897363"/>
                </a:cubicBezTo>
                <a:cubicBezTo>
                  <a:pt x="2583268" y="4896585"/>
                  <a:pt x="2584986" y="4896030"/>
                  <a:pt x="2586991" y="4895808"/>
                </a:cubicBezTo>
                <a:close/>
                <a:moveTo>
                  <a:pt x="5847242" y="4895253"/>
                </a:moveTo>
                <a:cubicBezTo>
                  <a:pt x="5848387" y="4895585"/>
                  <a:pt x="5849246" y="4895586"/>
                  <a:pt x="5849820" y="4895919"/>
                </a:cubicBezTo>
                <a:cubicBezTo>
                  <a:pt x="5850392" y="4896252"/>
                  <a:pt x="5850392" y="4896808"/>
                  <a:pt x="5850106" y="4898140"/>
                </a:cubicBezTo>
                <a:cubicBezTo>
                  <a:pt x="5850679" y="4899252"/>
                  <a:pt x="5849246" y="4900696"/>
                  <a:pt x="5849820" y="4901806"/>
                </a:cubicBezTo>
                <a:cubicBezTo>
                  <a:pt x="5849820" y="4901806"/>
                  <a:pt x="5848675" y="4902362"/>
                  <a:pt x="5847242" y="4902917"/>
                </a:cubicBezTo>
                <a:cubicBezTo>
                  <a:pt x="5845809" y="4903362"/>
                  <a:pt x="5844376" y="4903806"/>
                  <a:pt x="5843231" y="4903362"/>
                </a:cubicBezTo>
                <a:cubicBezTo>
                  <a:pt x="5839507" y="4903139"/>
                  <a:pt x="5843232" y="4898585"/>
                  <a:pt x="5842658" y="4897474"/>
                </a:cubicBezTo>
                <a:cubicBezTo>
                  <a:pt x="5843804" y="4895919"/>
                  <a:pt x="5845236" y="4894475"/>
                  <a:pt x="5847242" y="4895253"/>
                </a:cubicBezTo>
                <a:close/>
                <a:moveTo>
                  <a:pt x="4539533" y="4895253"/>
                </a:moveTo>
                <a:cubicBezTo>
                  <a:pt x="4540391" y="4895585"/>
                  <a:pt x="4541537" y="4895586"/>
                  <a:pt x="4542110" y="4895918"/>
                </a:cubicBezTo>
                <a:cubicBezTo>
                  <a:pt x="4542683" y="4896252"/>
                  <a:pt x="4542683" y="4896808"/>
                  <a:pt x="4542396" y="4898140"/>
                </a:cubicBezTo>
                <a:cubicBezTo>
                  <a:pt x="4542969" y="4899252"/>
                  <a:pt x="4541537" y="4900696"/>
                  <a:pt x="4542110" y="4901806"/>
                </a:cubicBezTo>
                <a:cubicBezTo>
                  <a:pt x="4542110" y="4901806"/>
                  <a:pt x="4540964" y="4902362"/>
                  <a:pt x="4539532" y="4902917"/>
                </a:cubicBezTo>
                <a:cubicBezTo>
                  <a:pt x="4538099" y="4903362"/>
                  <a:pt x="4536667" y="4903805"/>
                  <a:pt x="4535521" y="4903362"/>
                </a:cubicBezTo>
                <a:cubicBezTo>
                  <a:pt x="4531797" y="4903139"/>
                  <a:pt x="4535521" y="4898585"/>
                  <a:pt x="4534949" y="4897474"/>
                </a:cubicBezTo>
                <a:cubicBezTo>
                  <a:pt x="4536094" y="4895919"/>
                  <a:pt x="4537240" y="4894475"/>
                  <a:pt x="4539533" y="4895253"/>
                </a:cubicBezTo>
                <a:close/>
                <a:moveTo>
                  <a:pt x="5116184" y="4890476"/>
                </a:moveTo>
                <a:cubicBezTo>
                  <a:pt x="5119622" y="4891920"/>
                  <a:pt x="5124778" y="4891253"/>
                  <a:pt x="5127929" y="4893808"/>
                </a:cubicBezTo>
                <a:cubicBezTo>
                  <a:pt x="5127929" y="4893808"/>
                  <a:pt x="5129648" y="4895030"/>
                  <a:pt x="5129648" y="4897363"/>
                </a:cubicBezTo>
                <a:cubicBezTo>
                  <a:pt x="5132799" y="4901140"/>
                  <a:pt x="5127643" y="4904250"/>
                  <a:pt x="5127643" y="4904250"/>
                </a:cubicBezTo>
                <a:cubicBezTo>
                  <a:pt x="5127643" y="4904250"/>
                  <a:pt x="5127643" y="4904361"/>
                  <a:pt x="5129362" y="4904472"/>
                </a:cubicBezTo>
                <a:cubicBezTo>
                  <a:pt x="5125925" y="4904139"/>
                  <a:pt x="5122486" y="4905028"/>
                  <a:pt x="5119049" y="4904694"/>
                </a:cubicBezTo>
                <a:cubicBezTo>
                  <a:pt x="5105872" y="4896586"/>
                  <a:pt x="5111028" y="4894808"/>
                  <a:pt x="5116184" y="4890476"/>
                </a:cubicBezTo>
                <a:close/>
                <a:moveTo>
                  <a:pt x="2741682" y="4890476"/>
                </a:moveTo>
                <a:cubicBezTo>
                  <a:pt x="2745119" y="4891921"/>
                  <a:pt x="2750275" y="4891253"/>
                  <a:pt x="2753428" y="4893808"/>
                </a:cubicBezTo>
                <a:cubicBezTo>
                  <a:pt x="2753428" y="4893808"/>
                  <a:pt x="2755145" y="4895030"/>
                  <a:pt x="2755145" y="4897363"/>
                </a:cubicBezTo>
                <a:cubicBezTo>
                  <a:pt x="2758296" y="4901140"/>
                  <a:pt x="2753140" y="4904251"/>
                  <a:pt x="2753140" y="4904251"/>
                </a:cubicBezTo>
                <a:cubicBezTo>
                  <a:pt x="2753140" y="4904251"/>
                  <a:pt x="2752855" y="4904362"/>
                  <a:pt x="2754573" y="4904472"/>
                </a:cubicBezTo>
                <a:cubicBezTo>
                  <a:pt x="2751421" y="4904139"/>
                  <a:pt x="2747984" y="4905028"/>
                  <a:pt x="2744546" y="4904695"/>
                </a:cubicBezTo>
                <a:cubicBezTo>
                  <a:pt x="2731369" y="4896586"/>
                  <a:pt x="2736525" y="4894808"/>
                  <a:pt x="2741682" y="4890476"/>
                </a:cubicBezTo>
                <a:close/>
                <a:moveTo>
                  <a:pt x="4453019" y="4890143"/>
                </a:moveTo>
                <a:cubicBezTo>
                  <a:pt x="4451874" y="4891698"/>
                  <a:pt x="4453879" y="4892364"/>
                  <a:pt x="4455884" y="4893142"/>
                </a:cubicBezTo>
                <a:cubicBezTo>
                  <a:pt x="4453879" y="4895364"/>
                  <a:pt x="4451874" y="4899030"/>
                  <a:pt x="4447576" y="4899584"/>
                </a:cubicBezTo>
                <a:cubicBezTo>
                  <a:pt x="4445858" y="4899696"/>
                  <a:pt x="4444139" y="4899585"/>
                  <a:pt x="4442134" y="4898918"/>
                </a:cubicBezTo>
                <a:cubicBezTo>
                  <a:pt x="4440415" y="4899252"/>
                  <a:pt x="4437264" y="4895253"/>
                  <a:pt x="4438410" y="4893697"/>
                </a:cubicBezTo>
                <a:cubicBezTo>
                  <a:pt x="4440415" y="4889587"/>
                  <a:pt x="4446144" y="4890587"/>
                  <a:pt x="4453019" y="4890143"/>
                </a:cubicBezTo>
                <a:close/>
                <a:moveTo>
                  <a:pt x="5760729" y="4890143"/>
                </a:moveTo>
                <a:cubicBezTo>
                  <a:pt x="5759584" y="4891698"/>
                  <a:pt x="5761588" y="4892364"/>
                  <a:pt x="5763594" y="4893142"/>
                </a:cubicBezTo>
                <a:cubicBezTo>
                  <a:pt x="5761875" y="4895364"/>
                  <a:pt x="5759584" y="4899030"/>
                  <a:pt x="5755286" y="4899584"/>
                </a:cubicBezTo>
                <a:cubicBezTo>
                  <a:pt x="5753568" y="4899696"/>
                  <a:pt x="5752135" y="4899585"/>
                  <a:pt x="5749844" y="4898918"/>
                </a:cubicBezTo>
                <a:cubicBezTo>
                  <a:pt x="5748411" y="4899252"/>
                  <a:pt x="5744974" y="4895253"/>
                  <a:pt x="5746120" y="4893696"/>
                </a:cubicBezTo>
                <a:cubicBezTo>
                  <a:pt x="5748124" y="4889587"/>
                  <a:pt x="5753854" y="4890587"/>
                  <a:pt x="5760729" y="4890143"/>
                </a:cubicBezTo>
                <a:close/>
                <a:moveTo>
                  <a:pt x="3386226" y="4890143"/>
                </a:moveTo>
                <a:cubicBezTo>
                  <a:pt x="3385080" y="4891698"/>
                  <a:pt x="3387087" y="4892364"/>
                  <a:pt x="3389091" y="4893141"/>
                </a:cubicBezTo>
                <a:cubicBezTo>
                  <a:pt x="3387087" y="4895363"/>
                  <a:pt x="3385080" y="4899029"/>
                  <a:pt x="3380783" y="4899585"/>
                </a:cubicBezTo>
                <a:cubicBezTo>
                  <a:pt x="3379065" y="4899696"/>
                  <a:pt x="3377346" y="4899584"/>
                  <a:pt x="3375341" y="4898918"/>
                </a:cubicBezTo>
                <a:cubicBezTo>
                  <a:pt x="3373622" y="4899252"/>
                  <a:pt x="3370471" y="4895253"/>
                  <a:pt x="3371618" y="4893697"/>
                </a:cubicBezTo>
                <a:cubicBezTo>
                  <a:pt x="3373622" y="4889587"/>
                  <a:pt x="3379351" y="4890587"/>
                  <a:pt x="3386226" y="4890143"/>
                </a:cubicBezTo>
                <a:close/>
                <a:moveTo>
                  <a:pt x="3778109" y="4888588"/>
                </a:moveTo>
                <a:cubicBezTo>
                  <a:pt x="3787849" y="4888254"/>
                  <a:pt x="3795870" y="4889254"/>
                  <a:pt x="3802459" y="4891364"/>
                </a:cubicBezTo>
                <a:lnTo>
                  <a:pt x="3805897" y="4893253"/>
                </a:lnTo>
                <a:lnTo>
                  <a:pt x="3808475" y="4890476"/>
                </a:lnTo>
                <a:cubicBezTo>
                  <a:pt x="3811912" y="4891920"/>
                  <a:pt x="3817069" y="4891253"/>
                  <a:pt x="3820221" y="4893808"/>
                </a:cubicBezTo>
                <a:cubicBezTo>
                  <a:pt x="3820221" y="4893808"/>
                  <a:pt x="3821938" y="4895030"/>
                  <a:pt x="3821938" y="4897363"/>
                </a:cubicBezTo>
                <a:cubicBezTo>
                  <a:pt x="3823371" y="4899252"/>
                  <a:pt x="3822798" y="4901029"/>
                  <a:pt x="3821938" y="4902250"/>
                </a:cubicBezTo>
                <a:lnTo>
                  <a:pt x="3820506" y="4903806"/>
                </a:lnTo>
                <a:lnTo>
                  <a:pt x="3820792" y="4904361"/>
                </a:lnTo>
                <a:lnTo>
                  <a:pt x="3821367" y="4904472"/>
                </a:lnTo>
                <a:lnTo>
                  <a:pt x="3820792" y="4904472"/>
                </a:lnTo>
                <a:lnTo>
                  <a:pt x="3825949" y="4912693"/>
                </a:lnTo>
                <a:cubicBezTo>
                  <a:pt x="3832251" y="4934909"/>
                  <a:pt x="3806183" y="4961125"/>
                  <a:pt x="3755765" y="4937686"/>
                </a:cubicBezTo>
                <a:cubicBezTo>
                  <a:pt x="3746598" y="4923246"/>
                  <a:pt x="3755765" y="4905917"/>
                  <a:pt x="3778109" y="4888588"/>
                </a:cubicBezTo>
                <a:close/>
                <a:moveTo>
                  <a:pt x="2430008" y="4876702"/>
                </a:moveTo>
                <a:cubicBezTo>
                  <a:pt x="2435165" y="4889254"/>
                  <a:pt x="2423133" y="4897252"/>
                  <a:pt x="2411389" y="4905250"/>
                </a:cubicBezTo>
                <a:cubicBezTo>
                  <a:pt x="2401362" y="4896474"/>
                  <a:pt x="2417404" y="4883145"/>
                  <a:pt x="2430008" y="4876702"/>
                </a:cubicBezTo>
                <a:close/>
                <a:moveTo>
                  <a:pt x="4804511" y="4876702"/>
                </a:moveTo>
                <a:cubicBezTo>
                  <a:pt x="4809668" y="4889253"/>
                  <a:pt x="4797636" y="4897252"/>
                  <a:pt x="4785891" y="4905251"/>
                </a:cubicBezTo>
                <a:cubicBezTo>
                  <a:pt x="4775865" y="4896475"/>
                  <a:pt x="4791907" y="4883144"/>
                  <a:pt x="4804511" y="4876702"/>
                </a:cubicBezTo>
                <a:close/>
                <a:moveTo>
                  <a:pt x="3496802" y="4876702"/>
                </a:moveTo>
                <a:cubicBezTo>
                  <a:pt x="3501958" y="4889254"/>
                  <a:pt x="3489926" y="4897252"/>
                  <a:pt x="3478182" y="4905250"/>
                </a:cubicBezTo>
                <a:lnTo>
                  <a:pt x="3475603" y="4899252"/>
                </a:lnTo>
                <a:lnTo>
                  <a:pt x="3475317" y="4901807"/>
                </a:lnTo>
                <a:cubicBezTo>
                  <a:pt x="3475317" y="4901807"/>
                  <a:pt x="3474171" y="4902362"/>
                  <a:pt x="3472739" y="4902917"/>
                </a:cubicBezTo>
                <a:cubicBezTo>
                  <a:pt x="3471306" y="4903362"/>
                  <a:pt x="3469588" y="4903806"/>
                  <a:pt x="3468728" y="4903362"/>
                </a:cubicBezTo>
                <a:cubicBezTo>
                  <a:pt x="3465004" y="4903140"/>
                  <a:pt x="3468728" y="4898586"/>
                  <a:pt x="3468155" y="4897474"/>
                </a:cubicBezTo>
                <a:cubicBezTo>
                  <a:pt x="3469301" y="4895919"/>
                  <a:pt x="3470447" y="4894474"/>
                  <a:pt x="3472740" y="4895253"/>
                </a:cubicBezTo>
                <a:cubicBezTo>
                  <a:pt x="3473598" y="4895586"/>
                  <a:pt x="3474744" y="4895585"/>
                  <a:pt x="3475317" y="4895919"/>
                </a:cubicBezTo>
                <a:lnTo>
                  <a:pt x="3475317" y="4897141"/>
                </a:lnTo>
                <a:lnTo>
                  <a:pt x="3478754" y="4890143"/>
                </a:lnTo>
                <a:cubicBezTo>
                  <a:pt x="3483339" y="4884922"/>
                  <a:pt x="3490500" y="4879923"/>
                  <a:pt x="3496802" y="4876702"/>
                </a:cubicBezTo>
                <a:close/>
                <a:moveTo>
                  <a:pt x="3417738" y="4876591"/>
                </a:moveTo>
                <a:cubicBezTo>
                  <a:pt x="3418597" y="4876590"/>
                  <a:pt x="3419744" y="4876813"/>
                  <a:pt x="3420888" y="4877368"/>
                </a:cubicBezTo>
                <a:cubicBezTo>
                  <a:pt x="3421748" y="4879923"/>
                  <a:pt x="3421462" y="4883256"/>
                  <a:pt x="3421175" y="4886477"/>
                </a:cubicBezTo>
                <a:cubicBezTo>
                  <a:pt x="3412008" y="4888032"/>
                  <a:pt x="3411149" y="4879701"/>
                  <a:pt x="3415446" y="4877256"/>
                </a:cubicBezTo>
                <a:cubicBezTo>
                  <a:pt x="3416020" y="4876813"/>
                  <a:pt x="3416878" y="4876590"/>
                  <a:pt x="3417738" y="4876591"/>
                </a:cubicBezTo>
                <a:close/>
                <a:moveTo>
                  <a:pt x="5792240" y="4876590"/>
                </a:moveTo>
                <a:cubicBezTo>
                  <a:pt x="5793100" y="4876591"/>
                  <a:pt x="5794246" y="4876813"/>
                  <a:pt x="5795392" y="4877368"/>
                </a:cubicBezTo>
                <a:cubicBezTo>
                  <a:pt x="5796250" y="4879923"/>
                  <a:pt x="5796250" y="4883255"/>
                  <a:pt x="5795678" y="4886477"/>
                </a:cubicBezTo>
                <a:cubicBezTo>
                  <a:pt x="5786798" y="4888032"/>
                  <a:pt x="5785652" y="4879700"/>
                  <a:pt x="5789948" y="4877257"/>
                </a:cubicBezTo>
                <a:cubicBezTo>
                  <a:pt x="5790522" y="4876813"/>
                  <a:pt x="5791382" y="4876590"/>
                  <a:pt x="5792240" y="4876590"/>
                </a:cubicBezTo>
                <a:close/>
                <a:moveTo>
                  <a:pt x="4484530" y="4876590"/>
                </a:moveTo>
                <a:cubicBezTo>
                  <a:pt x="4485390" y="4876591"/>
                  <a:pt x="4486536" y="4876813"/>
                  <a:pt x="4487682" y="4877368"/>
                </a:cubicBezTo>
                <a:cubicBezTo>
                  <a:pt x="4488541" y="4879923"/>
                  <a:pt x="4488255" y="4883255"/>
                  <a:pt x="4487968" y="4886477"/>
                </a:cubicBezTo>
                <a:cubicBezTo>
                  <a:pt x="4478801" y="4888032"/>
                  <a:pt x="4477942" y="4879701"/>
                  <a:pt x="4482239" y="4877257"/>
                </a:cubicBezTo>
                <a:cubicBezTo>
                  <a:pt x="4482812" y="4876813"/>
                  <a:pt x="4483671" y="4876591"/>
                  <a:pt x="4484530" y="4876590"/>
                </a:cubicBezTo>
                <a:close/>
                <a:moveTo>
                  <a:pt x="5201264" y="4874702"/>
                </a:moveTo>
                <a:cubicBezTo>
                  <a:pt x="5201264" y="4874702"/>
                  <a:pt x="5201264" y="4874813"/>
                  <a:pt x="5203842" y="4876591"/>
                </a:cubicBezTo>
                <a:cubicBezTo>
                  <a:pt x="5204415" y="4877813"/>
                  <a:pt x="5204702" y="4878923"/>
                  <a:pt x="5203556" y="4880478"/>
                </a:cubicBezTo>
                <a:cubicBezTo>
                  <a:pt x="5202410" y="4882033"/>
                  <a:pt x="5198973" y="4882811"/>
                  <a:pt x="5197254" y="4883256"/>
                </a:cubicBezTo>
                <a:cubicBezTo>
                  <a:pt x="5196967" y="4882144"/>
                  <a:pt x="5195248" y="4882478"/>
                  <a:pt x="5194676" y="4881367"/>
                </a:cubicBezTo>
                <a:cubicBezTo>
                  <a:pt x="5192098" y="4879478"/>
                  <a:pt x="5192098" y="4879478"/>
                  <a:pt x="5193530" y="4877924"/>
                </a:cubicBezTo>
                <a:cubicBezTo>
                  <a:pt x="5194676" y="4876368"/>
                  <a:pt x="5200118" y="4876257"/>
                  <a:pt x="5201264" y="4874702"/>
                </a:cubicBezTo>
                <a:close/>
                <a:moveTo>
                  <a:pt x="3893554" y="4874702"/>
                </a:moveTo>
                <a:cubicBezTo>
                  <a:pt x="3893554" y="4874702"/>
                  <a:pt x="3893554" y="4874813"/>
                  <a:pt x="3896133" y="4876591"/>
                </a:cubicBezTo>
                <a:cubicBezTo>
                  <a:pt x="3896706" y="4877813"/>
                  <a:pt x="3896992" y="4878922"/>
                  <a:pt x="3895846" y="4880478"/>
                </a:cubicBezTo>
                <a:cubicBezTo>
                  <a:pt x="3894700" y="4882034"/>
                  <a:pt x="3891263" y="4882811"/>
                  <a:pt x="3889544" y="4883255"/>
                </a:cubicBezTo>
                <a:cubicBezTo>
                  <a:pt x="3889258" y="4882144"/>
                  <a:pt x="3887539" y="4882478"/>
                  <a:pt x="3886966" y="4881367"/>
                </a:cubicBezTo>
                <a:cubicBezTo>
                  <a:pt x="3884388" y="4879479"/>
                  <a:pt x="3884388" y="4879479"/>
                  <a:pt x="3885820" y="4877924"/>
                </a:cubicBezTo>
                <a:cubicBezTo>
                  <a:pt x="3886966" y="4876367"/>
                  <a:pt x="3892408" y="4876257"/>
                  <a:pt x="3893554" y="4874702"/>
                </a:cubicBezTo>
                <a:close/>
                <a:moveTo>
                  <a:pt x="2826762" y="4874702"/>
                </a:moveTo>
                <a:cubicBezTo>
                  <a:pt x="2826762" y="4874702"/>
                  <a:pt x="2826762" y="4874813"/>
                  <a:pt x="2829341" y="4876590"/>
                </a:cubicBezTo>
                <a:cubicBezTo>
                  <a:pt x="2829914" y="4877813"/>
                  <a:pt x="2830199" y="4878923"/>
                  <a:pt x="2829054" y="4880478"/>
                </a:cubicBezTo>
                <a:cubicBezTo>
                  <a:pt x="2827907" y="4882034"/>
                  <a:pt x="2824470" y="4882812"/>
                  <a:pt x="2822751" y="4883255"/>
                </a:cubicBezTo>
                <a:cubicBezTo>
                  <a:pt x="2822464" y="4882144"/>
                  <a:pt x="2820746" y="4882478"/>
                  <a:pt x="2820173" y="4881366"/>
                </a:cubicBezTo>
                <a:cubicBezTo>
                  <a:pt x="2817596" y="4879479"/>
                  <a:pt x="2817596" y="4879479"/>
                  <a:pt x="2818740" y="4877924"/>
                </a:cubicBezTo>
                <a:cubicBezTo>
                  <a:pt x="2820173" y="4876368"/>
                  <a:pt x="2825616" y="4876257"/>
                  <a:pt x="2826762" y="4874702"/>
                </a:cubicBezTo>
                <a:close/>
                <a:moveTo>
                  <a:pt x="3082289" y="4873592"/>
                </a:moveTo>
                <a:cubicBezTo>
                  <a:pt x="3083148" y="4873369"/>
                  <a:pt x="3083720" y="4873481"/>
                  <a:pt x="3084579" y="4874147"/>
                </a:cubicBezTo>
                <a:cubicBezTo>
                  <a:pt x="3086298" y="4875369"/>
                  <a:pt x="3088018" y="4875591"/>
                  <a:pt x="3086298" y="4877813"/>
                </a:cubicBezTo>
                <a:cubicBezTo>
                  <a:pt x="3086299" y="4878923"/>
                  <a:pt x="3084579" y="4879923"/>
                  <a:pt x="3084293" y="4881033"/>
                </a:cubicBezTo>
                <a:cubicBezTo>
                  <a:pt x="3084293" y="4881033"/>
                  <a:pt x="3083148" y="4881367"/>
                  <a:pt x="3081715" y="4881366"/>
                </a:cubicBezTo>
                <a:cubicBezTo>
                  <a:pt x="3080282" y="4881367"/>
                  <a:pt x="3078564" y="4881256"/>
                  <a:pt x="3077704" y="4880589"/>
                </a:cubicBezTo>
                <a:cubicBezTo>
                  <a:pt x="3074267" y="4879145"/>
                  <a:pt x="3079424" y="4876036"/>
                  <a:pt x="3079709" y="4874924"/>
                </a:cubicBezTo>
                <a:cubicBezTo>
                  <a:pt x="3080569" y="4874368"/>
                  <a:pt x="3081428" y="4873813"/>
                  <a:pt x="3082289" y="4873592"/>
                </a:cubicBezTo>
                <a:close/>
                <a:moveTo>
                  <a:pt x="5456790" y="4873591"/>
                </a:moveTo>
                <a:cubicBezTo>
                  <a:pt x="5457650" y="4873369"/>
                  <a:pt x="5458223" y="4873480"/>
                  <a:pt x="5459082" y="4874147"/>
                </a:cubicBezTo>
                <a:cubicBezTo>
                  <a:pt x="5460801" y="4875369"/>
                  <a:pt x="5462520" y="4875590"/>
                  <a:pt x="5460801" y="4877813"/>
                </a:cubicBezTo>
                <a:cubicBezTo>
                  <a:pt x="5460801" y="4878923"/>
                  <a:pt x="5459082" y="4879923"/>
                  <a:pt x="5458796" y="4881034"/>
                </a:cubicBezTo>
                <a:cubicBezTo>
                  <a:pt x="5458796" y="4881034"/>
                  <a:pt x="5457650" y="4881367"/>
                  <a:pt x="5456218" y="4881367"/>
                </a:cubicBezTo>
                <a:cubicBezTo>
                  <a:pt x="5454785" y="4881367"/>
                  <a:pt x="5453066" y="4881256"/>
                  <a:pt x="5452207" y="4880590"/>
                </a:cubicBezTo>
                <a:cubicBezTo>
                  <a:pt x="5448770" y="4879146"/>
                  <a:pt x="5453926" y="4876035"/>
                  <a:pt x="5454212" y="4874924"/>
                </a:cubicBezTo>
                <a:cubicBezTo>
                  <a:pt x="5455072" y="4874369"/>
                  <a:pt x="5455931" y="4873813"/>
                  <a:pt x="5456790" y="4873591"/>
                </a:cubicBezTo>
                <a:close/>
                <a:moveTo>
                  <a:pt x="4149081" y="4873591"/>
                </a:moveTo>
                <a:cubicBezTo>
                  <a:pt x="4149940" y="4873369"/>
                  <a:pt x="4150513" y="4873480"/>
                  <a:pt x="4151372" y="4874147"/>
                </a:cubicBezTo>
                <a:cubicBezTo>
                  <a:pt x="4153091" y="4875369"/>
                  <a:pt x="4154811" y="4875590"/>
                  <a:pt x="4153091" y="4877813"/>
                </a:cubicBezTo>
                <a:cubicBezTo>
                  <a:pt x="4153091" y="4878923"/>
                  <a:pt x="4151372" y="4879923"/>
                  <a:pt x="4151086" y="4881034"/>
                </a:cubicBezTo>
                <a:cubicBezTo>
                  <a:pt x="4151086" y="4881034"/>
                  <a:pt x="4149941" y="4881367"/>
                  <a:pt x="4148508" y="4881367"/>
                </a:cubicBezTo>
                <a:cubicBezTo>
                  <a:pt x="4147076" y="4881367"/>
                  <a:pt x="4145357" y="4881256"/>
                  <a:pt x="4144497" y="4880589"/>
                </a:cubicBezTo>
                <a:cubicBezTo>
                  <a:pt x="4141060" y="4879145"/>
                  <a:pt x="4146217" y="4876035"/>
                  <a:pt x="4146502" y="4874924"/>
                </a:cubicBezTo>
                <a:cubicBezTo>
                  <a:pt x="4147362" y="4874369"/>
                  <a:pt x="4148221" y="4873813"/>
                  <a:pt x="4149081" y="4873591"/>
                </a:cubicBezTo>
                <a:close/>
                <a:moveTo>
                  <a:pt x="5899664" y="4871703"/>
                </a:moveTo>
                <a:cubicBezTo>
                  <a:pt x="5905394" y="4874702"/>
                  <a:pt x="5907399" y="4878257"/>
                  <a:pt x="5906540" y="4884699"/>
                </a:cubicBezTo>
                <a:cubicBezTo>
                  <a:pt x="5900238" y="4888254"/>
                  <a:pt x="5885054" y="4885810"/>
                  <a:pt x="5885914" y="4877702"/>
                </a:cubicBezTo>
                <a:cubicBezTo>
                  <a:pt x="5888492" y="4874702"/>
                  <a:pt x="5891357" y="4871592"/>
                  <a:pt x="5899664" y="4871703"/>
                </a:cubicBezTo>
                <a:close/>
                <a:moveTo>
                  <a:pt x="4591668" y="4871703"/>
                </a:moveTo>
                <a:cubicBezTo>
                  <a:pt x="4597398" y="4874702"/>
                  <a:pt x="4599689" y="4878257"/>
                  <a:pt x="4598830" y="4884699"/>
                </a:cubicBezTo>
                <a:cubicBezTo>
                  <a:pt x="4592528" y="4888254"/>
                  <a:pt x="4577345" y="4885810"/>
                  <a:pt x="4578204" y="4877701"/>
                </a:cubicBezTo>
                <a:cubicBezTo>
                  <a:pt x="4580782" y="4874702"/>
                  <a:pt x="4583361" y="4871592"/>
                  <a:pt x="4591668" y="4871703"/>
                </a:cubicBezTo>
                <a:close/>
                <a:moveTo>
                  <a:pt x="5682238" y="4871259"/>
                </a:moveTo>
                <a:cubicBezTo>
                  <a:pt x="5679660" y="4879700"/>
                  <a:pt x="5654737" y="4888032"/>
                  <a:pt x="5648149" y="4886366"/>
                </a:cubicBezTo>
                <a:cubicBezTo>
                  <a:pt x="5651013" y="4881700"/>
                  <a:pt x="5657888" y="4880700"/>
                  <a:pt x="5662186" y="4875369"/>
                </a:cubicBezTo>
                <a:cubicBezTo>
                  <a:pt x="5668201" y="4876036"/>
                  <a:pt x="5674217" y="4870148"/>
                  <a:pt x="5682238" y="4871259"/>
                </a:cubicBezTo>
                <a:close/>
                <a:moveTo>
                  <a:pt x="3307735" y="4871259"/>
                </a:moveTo>
                <a:cubicBezTo>
                  <a:pt x="3305158" y="4879701"/>
                  <a:pt x="3280234" y="4888032"/>
                  <a:pt x="3273646" y="4886366"/>
                </a:cubicBezTo>
                <a:cubicBezTo>
                  <a:pt x="3276510" y="4881700"/>
                  <a:pt x="3283386" y="4880700"/>
                  <a:pt x="3287683" y="4875369"/>
                </a:cubicBezTo>
                <a:cubicBezTo>
                  <a:pt x="3293698" y="4876035"/>
                  <a:pt x="3299715" y="4870148"/>
                  <a:pt x="3307735" y="4871259"/>
                </a:cubicBezTo>
                <a:close/>
                <a:moveTo>
                  <a:pt x="4374528" y="4871259"/>
                </a:moveTo>
                <a:cubicBezTo>
                  <a:pt x="4371950" y="4879700"/>
                  <a:pt x="4347028" y="4888032"/>
                  <a:pt x="4340439" y="4886366"/>
                </a:cubicBezTo>
                <a:cubicBezTo>
                  <a:pt x="4343304" y="4881700"/>
                  <a:pt x="4350179" y="4880700"/>
                  <a:pt x="4354476" y="4875369"/>
                </a:cubicBezTo>
                <a:cubicBezTo>
                  <a:pt x="4360491" y="4876035"/>
                  <a:pt x="4366507" y="4870148"/>
                  <a:pt x="4374528" y="4871259"/>
                </a:cubicBezTo>
                <a:close/>
                <a:moveTo>
                  <a:pt x="2587850" y="4870037"/>
                </a:moveTo>
                <a:cubicBezTo>
                  <a:pt x="2594725" y="4873813"/>
                  <a:pt x="2591861" y="4880923"/>
                  <a:pt x="2584986" y="4881923"/>
                </a:cubicBezTo>
                <a:cubicBezTo>
                  <a:pt x="2572954" y="4877924"/>
                  <a:pt x="2580975" y="4869815"/>
                  <a:pt x="2587850" y="4870037"/>
                </a:cubicBezTo>
                <a:close/>
                <a:moveTo>
                  <a:pt x="4962353" y="4870036"/>
                </a:moveTo>
                <a:cubicBezTo>
                  <a:pt x="4969514" y="4873812"/>
                  <a:pt x="4966364" y="4880923"/>
                  <a:pt x="4959775" y="4881923"/>
                </a:cubicBezTo>
                <a:cubicBezTo>
                  <a:pt x="4947743" y="4877924"/>
                  <a:pt x="4955478" y="4869815"/>
                  <a:pt x="4962353" y="4870036"/>
                </a:cubicBezTo>
                <a:close/>
                <a:moveTo>
                  <a:pt x="3654643" y="4870036"/>
                </a:moveTo>
                <a:cubicBezTo>
                  <a:pt x="3661518" y="4873813"/>
                  <a:pt x="3658654" y="4880923"/>
                  <a:pt x="3652065" y="4881923"/>
                </a:cubicBezTo>
                <a:cubicBezTo>
                  <a:pt x="3639747" y="4877924"/>
                  <a:pt x="3647769" y="4869814"/>
                  <a:pt x="3654643" y="4870036"/>
                </a:cubicBezTo>
                <a:close/>
                <a:moveTo>
                  <a:pt x="2635690" y="4868704"/>
                </a:moveTo>
                <a:cubicBezTo>
                  <a:pt x="2643138" y="4869259"/>
                  <a:pt x="2648581" y="4869259"/>
                  <a:pt x="2655742" y="4869814"/>
                </a:cubicBezTo>
                <a:cubicBezTo>
                  <a:pt x="2656888" y="4870148"/>
                  <a:pt x="2658607" y="4871259"/>
                  <a:pt x="2660040" y="4872480"/>
                </a:cubicBezTo>
                <a:cubicBezTo>
                  <a:pt x="2661472" y="4873592"/>
                  <a:pt x="2662331" y="4874923"/>
                  <a:pt x="2661758" y="4875702"/>
                </a:cubicBezTo>
                <a:cubicBezTo>
                  <a:pt x="2660612" y="4877146"/>
                  <a:pt x="2658893" y="4877590"/>
                  <a:pt x="2657175" y="4877924"/>
                </a:cubicBezTo>
                <a:cubicBezTo>
                  <a:pt x="2653450" y="4877591"/>
                  <a:pt x="2650013" y="4877368"/>
                  <a:pt x="2646289" y="4877035"/>
                </a:cubicBezTo>
                <a:cubicBezTo>
                  <a:pt x="2639987" y="4874924"/>
                  <a:pt x="2633684" y="4872814"/>
                  <a:pt x="2635690" y="4868704"/>
                </a:cubicBezTo>
                <a:close/>
                <a:moveTo>
                  <a:pt x="5010192" y="4868704"/>
                </a:moveTo>
                <a:cubicBezTo>
                  <a:pt x="5017640" y="4869259"/>
                  <a:pt x="5023084" y="4869259"/>
                  <a:pt x="5030532" y="4869815"/>
                </a:cubicBezTo>
                <a:cubicBezTo>
                  <a:pt x="5031391" y="4870148"/>
                  <a:pt x="5033110" y="4871259"/>
                  <a:pt x="5034542" y="4872481"/>
                </a:cubicBezTo>
                <a:cubicBezTo>
                  <a:pt x="5035974" y="4873591"/>
                  <a:pt x="5036834" y="4874924"/>
                  <a:pt x="5036261" y="4875702"/>
                </a:cubicBezTo>
                <a:cubicBezTo>
                  <a:pt x="5035116" y="4877146"/>
                  <a:pt x="5033396" y="4877590"/>
                  <a:pt x="5031677" y="4877924"/>
                </a:cubicBezTo>
                <a:cubicBezTo>
                  <a:pt x="5027953" y="4877590"/>
                  <a:pt x="5024516" y="4877368"/>
                  <a:pt x="5020792" y="4877035"/>
                </a:cubicBezTo>
                <a:cubicBezTo>
                  <a:pt x="5014490" y="4874924"/>
                  <a:pt x="5008187" y="4872814"/>
                  <a:pt x="5010192" y="4868704"/>
                </a:cubicBezTo>
                <a:close/>
                <a:moveTo>
                  <a:pt x="3702483" y="4868704"/>
                </a:moveTo>
                <a:cubicBezTo>
                  <a:pt x="3709931" y="4869259"/>
                  <a:pt x="3715374" y="4869259"/>
                  <a:pt x="3722535" y="4869814"/>
                </a:cubicBezTo>
                <a:cubicBezTo>
                  <a:pt x="3723681" y="4870148"/>
                  <a:pt x="3725400" y="4871259"/>
                  <a:pt x="3726832" y="4872480"/>
                </a:cubicBezTo>
                <a:cubicBezTo>
                  <a:pt x="3728265" y="4873591"/>
                  <a:pt x="3729124" y="4874924"/>
                  <a:pt x="3728551" y="4875702"/>
                </a:cubicBezTo>
                <a:cubicBezTo>
                  <a:pt x="3727405" y="4877146"/>
                  <a:pt x="3725686" y="4877591"/>
                  <a:pt x="3723968" y="4877924"/>
                </a:cubicBezTo>
                <a:cubicBezTo>
                  <a:pt x="3720245" y="4877590"/>
                  <a:pt x="3716806" y="4877368"/>
                  <a:pt x="3713082" y="4877035"/>
                </a:cubicBezTo>
                <a:cubicBezTo>
                  <a:pt x="3706780" y="4874924"/>
                  <a:pt x="3700478" y="4872814"/>
                  <a:pt x="3702483" y="4868704"/>
                </a:cubicBezTo>
                <a:close/>
                <a:moveTo>
                  <a:pt x="5144258" y="4868482"/>
                </a:moveTo>
                <a:cubicBezTo>
                  <a:pt x="5150846" y="4872591"/>
                  <a:pt x="5154570" y="4869370"/>
                  <a:pt x="5164597" y="4876035"/>
                </a:cubicBezTo>
                <a:cubicBezTo>
                  <a:pt x="5177774" y="4884144"/>
                  <a:pt x="5174050" y="4891920"/>
                  <a:pt x="5168894" y="4896142"/>
                </a:cubicBezTo>
                <a:cubicBezTo>
                  <a:pt x="5167462" y="4895141"/>
                  <a:pt x="5160300" y="4900918"/>
                  <a:pt x="5150560" y="4899918"/>
                </a:cubicBezTo>
                <a:cubicBezTo>
                  <a:pt x="5147122" y="4899584"/>
                  <a:pt x="5143398" y="4898474"/>
                  <a:pt x="5139674" y="4896141"/>
                </a:cubicBezTo>
                <a:cubicBezTo>
                  <a:pt x="5131367" y="4890809"/>
                  <a:pt x="5124778" y="4883256"/>
                  <a:pt x="5137097" y="4874924"/>
                </a:cubicBezTo>
                <a:cubicBezTo>
                  <a:pt x="5138815" y="4872703"/>
                  <a:pt x="5138815" y="4873925"/>
                  <a:pt x="5140534" y="4872924"/>
                </a:cubicBezTo>
                <a:cubicBezTo>
                  <a:pt x="5142539" y="4871814"/>
                  <a:pt x="5144258" y="4869702"/>
                  <a:pt x="5144258" y="4868482"/>
                </a:cubicBezTo>
                <a:close/>
                <a:moveTo>
                  <a:pt x="3836548" y="4868482"/>
                </a:moveTo>
                <a:cubicBezTo>
                  <a:pt x="3843137" y="4872591"/>
                  <a:pt x="3846861" y="4869370"/>
                  <a:pt x="3856887" y="4876035"/>
                </a:cubicBezTo>
                <a:cubicBezTo>
                  <a:pt x="3870064" y="4884144"/>
                  <a:pt x="3866340" y="4891920"/>
                  <a:pt x="3861184" y="4896141"/>
                </a:cubicBezTo>
                <a:cubicBezTo>
                  <a:pt x="3859752" y="4895142"/>
                  <a:pt x="3852590" y="4900918"/>
                  <a:pt x="3842565" y="4899918"/>
                </a:cubicBezTo>
                <a:cubicBezTo>
                  <a:pt x="3839414" y="4899584"/>
                  <a:pt x="3835689" y="4898474"/>
                  <a:pt x="3831965" y="4896141"/>
                </a:cubicBezTo>
                <a:cubicBezTo>
                  <a:pt x="3823657" y="4890809"/>
                  <a:pt x="3817069" y="4883256"/>
                  <a:pt x="3829386" y="4874924"/>
                </a:cubicBezTo>
                <a:cubicBezTo>
                  <a:pt x="3831105" y="4872703"/>
                  <a:pt x="3831105" y="4873924"/>
                  <a:pt x="3832824" y="4872925"/>
                </a:cubicBezTo>
                <a:cubicBezTo>
                  <a:pt x="3834543" y="4871814"/>
                  <a:pt x="3836548" y="4869703"/>
                  <a:pt x="3836548" y="4868482"/>
                </a:cubicBezTo>
                <a:close/>
                <a:moveTo>
                  <a:pt x="2769755" y="4868481"/>
                </a:moveTo>
                <a:cubicBezTo>
                  <a:pt x="2776344" y="4872592"/>
                  <a:pt x="2780068" y="4869371"/>
                  <a:pt x="2790094" y="4876036"/>
                </a:cubicBezTo>
                <a:cubicBezTo>
                  <a:pt x="2803271" y="4884144"/>
                  <a:pt x="2799548" y="4891921"/>
                  <a:pt x="2794392" y="4896141"/>
                </a:cubicBezTo>
                <a:cubicBezTo>
                  <a:pt x="2792960" y="4895141"/>
                  <a:pt x="2785798" y="4900918"/>
                  <a:pt x="2775772" y="4899918"/>
                </a:cubicBezTo>
                <a:cubicBezTo>
                  <a:pt x="2772621" y="4899585"/>
                  <a:pt x="2768896" y="4898474"/>
                  <a:pt x="2765172" y="4896142"/>
                </a:cubicBezTo>
                <a:cubicBezTo>
                  <a:pt x="2756864" y="4890809"/>
                  <a:pt x="2750275" y="4883256"/>
                  <a:pt x="2762593" y="4874924"/>
                </a:cubicBezTo>
                <a:cubicBezTo>
                  <a:pt x="2764312" y="4872703"/>
                  <a:pt x="2764312" y="4873924"/>
                  <a:pt x="2766031" y="4872925"/>
                </a:cubicBezTo>
                <a:cubicBezTo>
                  <a:pt x="2767750" y="4871814"/>
                  <a:pt x="2769755" y="4869703"/>
                  <a:pt x="2769755" y="4868481"/>
                </a:cubicBezTo>
                <a:close/>
                <a:moveTo>
                  <a:pt x="2452639" y="4864261"/>
                </a:moveTo>
                <a:cubicBezTo>
                  <a:pt x="2452353" y="4869482"/>
                  <a:pt x="2450347" y="4874258"/>
                  <a:pt x="2445477" y="4878034"/>
                </a:cubicBezTo>
                <a:cubicBezTo>
                  <a:pt x="2438316" y="4875591"/>
                  <a:pt x="2433446" y="4869925"/>
                  <a:pt x="2429435" y="4865815"/>
                </a:cubicBezTo>
                <a:cubicBezTo>
                  <a:pt x="2436884" y="4865704"/>
                  <a:pt x="2440894" y="4869702"/>
                  <a:pt x="2452639" y="4864261"/>
                </a:cubicBezTo>
                <a:close/>
                <a:moveTo>
                  <a:pt x="4827428" y="4864260"/>
                </a:moveTo>
                <a:cubicBezTo>
                  <a:pt x="4826855" y="4869481"/>
                  <a:pt x="4824850" y="4874258"/>
                  <a:pt x="4819980" y="4878034"/>
                </a:cubicBezTo>
                <a:cubicBezTo>
                  <a:pt x="4812819" y="4875590"/>
                  <a:pt x="4808235" y="4869925"/>
                  <a:pt x="4803938" y="4865816"/>
                </a:cubicBezTo>
                <a:cubicBezTo>
                  <a:pt x="4811386" y="4865704"/>
                  <a:pt x="4815683" y="4869703"/>
                  <a:pt x="4827428" y="4864260"/>
                </a:cubicBezTo>
                <a:close/>
                <a:moveTo>
                  <a:pt x="3519432" y="4864260"/>
                </a:moveTo>
                <a:lnTo>
                  <a:pt x="3513703" y="4875590"/>
                </a:lnTo>
                <a:lnTo>
                  <a:pt x="3515996" y="4873481"/>
                </a:lnTo>
                <a:cubicBezTo>
                  <a:pt x="3518001" y="4872369"/>
                  <a:pt x="3520866" y="4871703"/>
                  <a:pt x="3524875" y="4871703"/>
                </a:cubicBezTo>
                <a:cubicBezTo>
                  <a:pt x="3530604" y="4874702"/>
                  <a:pt x="3532896" y="4878257"/>
                  <a:pt x="3532038" y="4884699"/>
                </a:cubicBezTo>
                <a:cubicBezTo>
                  <a:pt x="3525734" y="4888254"/>
                  <a:pt x="3510552" y="4885810"/>
                  <a:pt x="3511411" y="4877701"/>
                </a:cubicBezTo>
                <a:lnTo>
                  <a:pt x="3511412" y="4877479"/>
                </a:lnTo>
                <a:lnTo>
                  <a:pt x="3503105" y="4872591"/>
                </a:lnTo>
                <a:cubicBezTo>
                  <a:pt x="3500526" y="4870259"/>
                  <a:pt x="3498234" y="4867927"/>
                  <a:pt x="3496229" y="4865816"/>
                </a:cubicBezTo>
                <a:cubicBezTo>
                  <a:pt x="3503678" y="4865704"/>
                  <a:pt x="3507687" y="4869703"/>
                  <a:pt x="3519432" y="4864260"/>
                </a:cubicBezTo>
                <a:close/>
                <a:moveTo>
                  <a:pt x="5679087" y="4863705"/>
                </a:moveTo>
                <a:cubicBezTo>
                  <a:pt x="5698280" y="4865593"/>
                  <a:pt x="5704296" y="4876257"/>
                  <a:pt x="5710598" y="4886810"/>
                </a:cubicBezTo>
                <a:cubicBezTo>
                  <a:pt x="5694556" y="4889477"/>
                  <a:pt x="5682811" y="4874036"/>
                  <a:pt x="5679087" y="4863705"/>
                </a:cubicBezTo>
                <a:close/>
                <a:moveTo>
                  <a:pt x="4371377" y="4863705"/>
                </a:moveTo>
                <a:cubicBezTo>
                  <a:pt x="4390570" y="4865593"/>
                  <a:pt x="4396586" y="4876257"/>
                  <a:pt x="4402602" y="4886811"/>
                </a:cubicBezTo>
                <a:cubicBezTo>
                  <a:pt x="4386560" y="4889477"/>
                  <a:pt x="4375101" y="4874036"/>
                  <a:pt x="4371377" y="4863705"/>
                </a:cubicBezTo>
                <a:close/>
                <a:moveTo>
                  <a:pt x="3304584" y="4863704"/>
                </a:moveTo>
                <a:cubicBezTo>
                  <a:pt x="3323777" y="4865593"/>
                  <a:pt x="3329793" y="4876258"/>
                  <a:pt x="3335809" y="4886810"/>
                </a:cubicBezTo>
                <a:cubicBezTo>
                  <a:pt x="3319767" y="4889476"/>
                  <a:pt x="3308308" y="4874035"/>
                  <a:pt x="3304584" y="4863704"/>
                </a:cubicBezTo>
                <a:close/>
                <a:moveTo>
                  <a:pt x="5086678" y="4863483"/>
                </a:moveTo>
                <a:cubicBezTo>
                  <a:pt x="5086965" y="4863816"/>
                  <a:pt x="5087252" y="4864484"/>
                  <a:pt x="5088111" y="4865260"/>
                </a:cubicBezTo>
                <a:cubicBezTo>
                  <a:pt x="5086393" y="4865038"/>
                  <a:pt x="5088111" y="4865149"/>
                  <a:pt x="5084960" y="4863594"/>
                </a:cubicBezTo>
                <a:cubicBezTo>
                  <a:pt x="5085819" y="4863038"/>
                  <a:pt x="5086106" y="4863149"/>
                  <a:pt x="5086678" y="4863483"/>
                </a:cubicBezTo>
                <a:close/>
                <a:moveTo>
                  <a:pt x="3778969" y="4863483"/>
                </a:moveTo>
                <a:cubicBezTo>
                  <a:pt x="3779255" y="4863816"/>
                  <a:pt x="3779542" y="4864483"/>
                  <a:pt x="3780401" y="4865260"/>
                </a:cubicBezTo>
                <a:cubicBezTo>
                  <a:pt x="3778682" y="4865038"/>
                  <a:pt x="3780401" y="4865149"/>
                  <a:pt x="3777250" y="4863594"/>
                </a:cubicBezTo>
                <a:cubicBezTo>
                  <a:pt x="3778109" y="4863038"/>
                  <a:pt x="3778396" y="4863149"/>
                  <a:pt x="3778969" y="4863483"/>
                </a:cubicBezTo>
                <a:close/>
                <a:moveTo>
                  <a:pt x="2712177" y="4863483"/>
                </a:moveTo>
                <a:cubicBezTo>
                  <a:pt x="2712462" y="4863817"/>
                  <a:pt x="2712750" y="4864483"/>
                  <a:pt x="2713609" y="4865260"/>
                </a:cubicBezTo>
                <a:cubicBezTo>
                  <a:pt x="2711889" y="4865038"/>
                  <a:pt x="2713608" y="4865149"/>
                  <a:pt x="2710457" y="4863594"/>
                </a:cubicBezTo>
                <a:cubicBezTo>
                  <a:pt x="2711317" y="4863038"/>
                  <a:pt x="2711603" y="4863150"/>
                  <a:pt x="2712177" y="4863483"/>
                </a:cubicBezTo>
                <a:close/>
                <a:moveTo>
                  <a:pt x="6195868" y="4863150"/>
                </a:moveTo>
                <a:cubicBezTo>
                  <a:pt x="6197874" y="4863149"/>
                  <a:pt x="6199306" y="4863483"/>
                  <a:pt x="6200738" y="4864038"/>
                </a:cubicBezTo>
                <a:cubicBezTo>
                  <a:pt x="6203316" y="4865371"/>
                  <a:pt x="6205036" y="4867926"/>
                  <a:pt x="6205894" y="4871592"/>
                </a:cubicBezTo>
                <a:cubicBezTo>
                  <a:pt x="6202744" y="4873258"/>
                  <a:pt x="6201025" y="4875369"/>
                  <a:pt x="6197014" y="4878145"/>
                </a:cubicBezTo>
                <a:cubicBezTo>
                  <a:pt x="6192718" y="4876591"/>
                  <a:pt x="6186415" y="4870481"/>
                  <a:pt x="6189280" y="4864594"/>
                </a:cubicBezTo>
                <a:cubicBezTo>
                  <a:pt x="6191858" y="4863705"/>
                  <a:pt x="6193863" y="4863261"/>
                  <a:pt x="6195868" y="4863150"/>
                </a:cubicBezTo>
                <a:close/>
                <a:moveTo>
                  <a:pt x="3821079" y="4863149"/>
                </a:moveTo>
                <a:cubicBezTo>
                  <a:pt x="3823084" y="4863149"/>
                  <a:pt x="3824803" y="4863483"/>
                  <a:pt x="3826235" y="4864038"/>
                </a:cubicBezTo>
                <a:cubicBezTo>
                  <a:pt x="3828814" y="4865371"/>
                  <a:pt x="3830532" y="4867927"/>
                  <a:pt x="3831392" y="4871592"/>
                </a:cubicBezTo>
                <a:cubicBezTo>
                  <a:pt x="3828240" y="4873258"/>
                  <a:pt x="3826522" y="4875369"/>
                  <a:pt x="3822511" y="4878146"/>
                </a:cubicBezTo>
                <a:cubicBezTo>
                  <a:pt x="3818214" y="4876591"/>
                  <a:pt x="3811912" y="4870480"/>
                  <a:pt x="3814490" y="4864594"/>
                </a:cubicBezTo>
                <a:cubicBezTo>
                  <a:pt x="3817069" y="4863705"/>
                  <a:pt x="3819361" y="4863260"/>
                  <a:pt x="3821079" y="4863149"/>
                </a:cubicBezTo>
                <a:close/>
                <a:moveTo>
                  <a:pt x="5125351" y="4859817"/>
                </a:moveTo>
                <a:cubicBezTo>
                  <a:pt x="5121341" y="4863150"/>
                  <a:pt x="5119908" y="4864594"/>
                  <a:pt x="5117044" y="4866482"/>
                </a:cubicBezTo>
                <a:cubicBezTo>
                  <a:pt x="5117617" y="4867593"/>
                  <a:pt x="5117903" y="4868704"/>
                  <a:pt x="5116757" y="4870148"/>
                </a:cubicBezTo>
                <a:cubicBezTo>
                  <a:pt x="5114179" y="4873147"/>
                  <a:pt x="5110455" y="4872924"/>
                  <a:pt x="5107590" y="4874813"/>
                </a:cubicBezTo>
                <a:cubicBezTo>
                  <a:pt x="5105585" y="4874147"/>
                  <a:pt x="5103007" y="4872369"/>
                  <a:pt x="5105585" y="4869371"/>
                </a:cubicBezTo>
                <a:cubicBezTo>
                  <a:pt x="5107590" y="4865372"/>
                  <a:pt x="5112460" y="4864149"/>
                  <a:pt x="5117903" y="4864038"/>
                </a:cubicBezTo>
                <a:cubicBezTo>
                  <a:pt x="5120768" y="4862039"/>
                  <a:pt x="5121627" y="4859484"/>
                  <a:pt x="5125351" y="4859817"/>
                </a:cubicBezTo>
                <a:close/>
                <a:moveTo>
                  <a:pt x="3817642" y="4859817"/>
                </a:moveTo>
                <a:cubicBezTo>
                  <a:pt x="3813345" y="4863150"/>
                  <a:pt x="3812199" y="4864594"/>
                  <a:pt x="3809334" y="4866482"/>
                </a:cubicBezTo>
                <a:cubicBezTo>
                  <a:pt x="3809907" y="4867593"/>
                  <a:pt x="3810193" y="4868704"/>
                  <a:pt x="3809049" y="4870148"/>
                </a:cubicBezTo>
                <a:cubicBezTo>
                  <a:pt x="3806470" y="4873147"/>
                  <a:pt x="3802745" y="4872925"/>
                  <a:pt x="3799881" y="4874813"/>
                </a:cubicBezTo>
                <a:cubicBezTo>
                  <a:pt x="3797876" y="4874147"/>
                  <a:pt x="3795297" y="4872369"/>
                  <a:pt x="3797876" y="4869371"/>
                </a:cubicBezTo>
                <a:cubicBezTo>
                  <a:pt x="3799881" y="4865372"/>
                  <a:pt x="3804751" y="4864149"/>
                  <a:pt x="3810193" y="4864038"/>
                </a:cubicBezTo>
                <a:cubicBezTo>
                  <a:pt x="3813058" y="4862038"/>
                  <a:pt x="3813918" y="4859484"/>
                  <a:pt x="3817642" y="4859817"/>
                </a:cubicBezTo>
                <a:close/>
                <a:moveTo>
                  <a:pt x="2750848" y="4859817"/>
                </a:moveTo>
                <a:cubicBezTo>
                  <a:pt x="2746552" y="4863149"/>
                  <a:pt x="2745407" y="4864594"/>
                  <a:pt x="2742541" y="4866482"/>
                </a:cubicBezTo>
                <a:cubicBezTo>
                  <a:pt x="2743114" y="4867593"/>
                  <a:pt x="2743400" y="4868704"/>
                  <a:pt x="2742255" y="4870148"/>
                </a:cubicBezTo>
                <a:cubicBezTo>
                  <a:pt x="2739677" y="4873147"/>
                  <a:pt x="2735952" y="4872925"/>
                  <a:pt x="2733088" y="4874813"/>
                </a:cubicBezTo>
                <a:cubicBezTo>
                  <a:pt x="2731082" y="4874147"/>
                  <a:pt x="2728504" y="4872369"/>
                  <a:pt x="2731082" y="4869370"/>
                </a:cubicBezTo>
                <a:cubicBezTo>
                  <a:pt x="2733089" y="4865371"/>
                  <a:pt x="2737957" y="4864149"/>
                  <a:pt x="2743400" y="4864038"/>
                </a:cubicBezTo>
                <a:cubicBezTo>
                  <a:pt x="2746265" y="4862039"/>
                  <a:pt x="2747125" y="4859484"/>
                  <a:pt x="2750848" y="4859817"/>
                </a:cubicBezTo>
                <a:close/>
                <a:moveTo>
                  <a:pt x="4767844" y="4857152"/>
                </a:moveTo>
                <a:cubicBezTo>
                  <a:pt x="4781021" y="4858817"/>
                  <a:pt x="4782167" y="4862039"/>
                  <a:pt x="4779302" y="4864371"/>
                </a:cubicBezTo>
                <a:cubicBezTo>
                  <a:pt x="4774719" y="4868370"/>
                  <a:pt x="4758963" y="4869815"/>
                  <a:pt x="4767844" y="4857152"/>
                </a:cubicBezTo>
                <a:close/>
                <a:moveTo>
                  <a:pt x="3701052" y="4857151"/>
                </a:moveTo>
                <a:cubicBezTo>
                  <a:pt x="3714228" y="4858818"/>
                  <a:pt x="3715375" y="4862039"/>
                  <a:pt x="3712509" y="4864371"/>
                </a:cubicBezTo>
                <a:cubicBezTo>
                  <a:pt x="3707926" y="4868370"/>
                  <a:pt x="3692171" y="4869814"/>
                  <a:pt x="3701052" y="4857151"/>
                </a:cubicBezTo>
                <a:close/>
                <a:moveTo>
                  <a:pt x="6075554" y="4857151"/>
                </a:moveTo>
                <a:cubicBezTo>
                  <a:pt x="6088731" y="4858817"/>
                  <a:pt x="6089876" y="4862039"/>
                  <a:pt x="6087012" y="4864372"/>
                </a:cubicBezTo>
                <a:cubicBezTo>
                  <a:pt x="6082428" y="4868370"/>
                  <a:pt x="6066673" y="4869815"/>
                  <a:pt x="6075554" y="4857151"/>
                </a:cubicBezTo>
                <a:close/>
                <a:moveTo>
                  <a:pt x="4167128" y="4853597"/>
                </a:moveTo>
                <a:cubicBezTo>
                  <a:pt x="4171711" y="4855707"/>
                  <a:pt x="4174290" y="4858262"/>
                  <a:pt x="4176008" y="4861150"/>
                </a:cubicBezTo>
                <a:cubicBezTo>
                  <a:pt x="4177727" y="4863927"/>
                  <a:pt x="4178873" y="4867038"/>
                  <a:pt x="4179732" y="4870148"/>
                </a:cubicBezTo>
                <a:cubicBezTo>
                  <a:pt x="4166268" y="4883811"/>
                  <a:pt x="4160253" y="4867704"/>
                  <a:pt x="4153664" y="4861261"/>
                </a:cubicBezTo>
                <a:cubicBezTo>
                  <a:pt x="4158248" y="4856707"/>
                  <a:pt x="4159966" y="4855595"/>
                  <a:pt x="4167128" y="4853597"/>
                </a:cubicBezTo>
                <a:close/>
                <a:moveTo>
                  <a:pt x="5474838" y="4853596"/>
                </a:moveTo>
                <a:cubicBezTo>
                  <a:pt x="5479421" y="4855707"/>
                  <a:pt x="5481999" y="4858262"/>
                  <a:pt x="5483718" y="4861150"/>
                </a:cubicBezTo>
                <a:cubicBezTo>
                  <a:pt x="5485723" y="4863927"/>
                  <a:pt x="5486583" y="4867038"/>
                  <a:pt x="5487442" y="4870148"/>
                </a:cubicBezTo>
                <a:cubicBezTo>
                  <a:pt x="5473978" y="4883811"/>
                  <a:pt x="5467962" y="4867704"/>
                  <a:pt x="5461374" y="4861262"/>
                </a:cubicBezTo>
                <a:cubicBezTo>
                  <a:pt x="5465957" y="4856707"/>
                  <a:pt x="5467676" y="4855596"/>
                  <a:pt x="5474838" y="4853596"/>
                </a:cubicBezTo>
                <a:close/>
                <a:moveTo>
                  <a:pt x="3100335" y="4853596"/>
                </a:moveTo>
                <a:cubicBezTo>
                  <a:pt x="3104919" y="4855707"/>
                  <a:pt x="3107496" y="4858262"/>
                  <a:pt x="3109215" y="4861150"/>
                </a:cubicBezTo>
                <a:cubicBezTo>
                  <a:pt x="3110934" y="4863927"/>
                  <a:pt x="3112080" y="4867038"/>
                  <a:pt x="3112940" y="4870148"/>
                </a:cubicBezTo>
                <a:cubicBezTo>
                  <a:pt x="3099476" y="4883811"/>
                  <a:pt x="3093460" y="4867704"/>
                  <a:pt x="3086871" y="4861261"/>
                </a:cubicBezTo>
                <a:cubicBezTo>
                  <a:pt x="3091454" y="4856707"/>
                  <a:pt x="3093174" y="4855595"/>
                  <a:pt x="3100335" y="4853596"/>
                </a:cubicBezTo>
                <a:close/>
                <a:moveTo>
                  <a:pt x="3572143" y="4851597"/>
                </a:moveTo>
                <a:cubicBezTo>
                  <a:pt x="3574720" y="4851375"/>
                  <a:pt x="3577298" y="4851930"/>
                  <a:pt x="3579590" y="4853262"/>
                </a:cubicBezTo>
                <a:cubicBezTo>
                  <a:pt x="3583027" y="4855929"/>
                  <a:pt x="3587897" y="4859817"/>
                  <a:pt x="3584460" y="4863150"/>
                </a:cubicBezTo>
                <a:cubicBezTo>
                  <a:pt x="3582741" y="4862927"/>
                  <a:pt x="3582741" y="4864149"/>
                  <a:pt x="3581022" y="4864038"/>
                </a:cubicBezTo>
                <a:cubicBezTo>
                  <a:pt x="3581022" y="4864038"/>
                  <a:pt x="3579304" y="4864483"/>
                  <a:pt x="3576726" y="4864372"/>
                </a:cubicBezTo>
                <a:cubicBezTo>
                  <a:pt x="3574148" y="4864371"/>
                  <a:pt x="3570709" y="4863705"/>
                  <a:pt x="3567558" y="4861705"/>
                </a:cubicBezTo>
                <a:cubicBezTo>
                  <a:pt x="3565840" y="4860373"/>
                  <a:pt x="3562688" y="4856595"/>
                  <a:pt x="3564408" y="4856706"/>
                </a:cubicBezTo>
                <a:cubicBezTo>
                  <a:pt x="3566126" y="4855707"/>
                  <a:pt x="3564407" y="4855595"/>
                  <a:pt x="3564408" y="4854374"/>
                </a:cubicBezTo>
                <a:cubicBezTo>
                  <a:pt x="3567272" y="4852819"/>
                  <a:pt x="3569563" y="4851819"/>
                  <a:pt x="3572143" y="4851597"/>
                </a:cubicBezTo>
                <a:close/>
                <a:moveTo>
                  <a:pt x="2505348" y="4851597"/>
                </a:moveTo>
                <a:cubicBezTo>
                  <a:pt x="2507927" y="4851375"/>
                  <a:pt x="2510505" y="4851929"/>
                  <a:pt x="2512797" y="4853263"/>
                </a:cubicBezTo>
                <a:cubicBezTo>
                  <a:pt x="2516234" y="4855929"/>
                  <a:pt x="2521104" y="4859816"/>
                  <a:pt x="2517666" y="4863149"/>
                </a:cubicBezTo>
                <a:cubicBezTo>
                  <a:pt x="2515948" y="4862927"/>
                  <a:pt x="2515948" y="4864149"/>
                  <a:pt x="2514229" y="4864038"/>
                </a:cubicBezTo>
                <a:cubicBezTo>
                  <a:pt x="2514229" y="4864038"/>
                  <a:pt x="2512510" y="4864483"/>
                  <a:pt x="2509933" y="4864371"/>
                </a:cubicBezTo>
                <a:cubicBezTo>
                  <a:pt x="2507355" y="4864372"/>
                  <a:pt x="2503916" y="4863705"/>
                  <a:pt x="2500765" y="4861706"/>
                </a:cubicBezTo>
                <a:cubicBezTo>
                  <a:pt x="2499046" y="4860373"/>
                  <a:pt x="2495895" y="4856595"/>
                  <a:pt x="2497615" y="4856707"/>
                </a:cubicBezTo>
                <a:cubicBezTo>
                  <a:pt x="2499333" y="4855707"/>
                  <a:pt x="2497614" y="4855595"/>
                  <a:pt x="2497614" y="4854374"/>
                </a:cubicBezTo>
                <a:cubicBezTo>
                  <a:pt x="2500193" y="4852819"/>
                  <a:pt x="2502770" y="4851819"/>
                  <a:pt x="2505348" y="4851597"/>
                </a:cubicBezTo>
                <a:close/>
                <a:moveTo>
                  <a:pt x="4879851" y="4851597"/>
                </a:moveTo>
                <a:cubicBezTo>
                  <a:pt x="4882430" y="4851375"/>
                  <a:pt x="4885008" y="4851930"/>
                  <a:pt x="4887586" y="4853263"/>
                </a:cubicBezTo>
                <a:cubicBezTo>
                  <a:pt x="4890737" y="4855929"/>
                  <a:pt x="4895607" y="4859817"/>
                  <a:pt x="4892169" y="4863150"/>
                </a:cubicBezTo>
                <a:lnTo>
                  <a:pt x="4890164" y="4863594"/>
                </a:lnTo>
                <a:lnTo>
                  <a:pt x="4893028" y="4864038"/>
                </a:lnTo>
                <a:cubicBezTo>
                  <a:pt x="4895607" y="4865371"/>
                  <a:pt x="4897326" y="4867926"/>
                  <a:pt x="4898185" y="4871592"/>
                </a:cubicBezTo>
                <a:cubicBezTo>
                  <a:pt x="4895034" y="4873258"/>
                  <a:pt x="4893315" y="4875369"/>
                  <a:pt x="4889304" y="4878145"/>
                </a:cubicBezTo>
                <a:cubicBezTo>
                  <a:pt x="4885009" y="4876590"/>
                  <a:pt x="4878706" y="4870481"/>
                  <a:pt x="4881284" y="4864594"/>
                </a:cubicBezTo>
                <a:lnTo>
                  <a:pt x="4883289" y="4864149"/>
                </a:lnTo>
                <a:lnTo>
                  <a:pt x="4880138" y="4863817"/>
                </a:lnTo>
                <a:cubicBezTo>
                  <a:pt x="4878706" y="4863372"/>
                  <a:pt x="4876986" y="4862705"/>
                  <a:pt x="4875268" y="4861705"/>
                </a:cubicBezTo>
                <a:cubicBezTo>
                  <a:pt x="4873836" y="4860373"/>
                  <a:pt x="4870398" y="4856596"/>
                  <a:pt x="4872117" y="4856706"/>
                </a:cubicBezTo>
                <a:cubicBezTo>
                  <a:pt x="4873836" y="4855707"/>
                  <a:pt x="4872117" y="4855596"/>
                  <a:pt x="4872403" y="4854374"/>
                </a:cubicBezTo>
                <a:cubicBezTo>
                  <a:pt x="4874981" y="4852819"/>
                  <a:pt x="4877273" y="4851819"/>
                  <a:pt x="4879851" y="4851597"/>
                </a:cubicBezTo>
                <a:close/>
                <a:moveTo>
                  <a:pt x="4716853" y="4849598"/>
                </a:moveTo>
                <a:cubicBezTo>
                  <a:pt x="4721150" y="4851264"/>
                  <a:pt x="4725447" y="4852930"/>
                  <a:pt x="4729744" y="4854707"/>
                </a:cubicBezTo>
                <a:cubicBezTo>
                  <a:pt x="4734327" y="4860039"/>
                  <a:pt x="4732036" y="4866038"/>
                  <a:pt x="4726020" y="4868481"/>
                </a:cubicBezTo>
                <a:cubicBezTo>
                  <a:pt x="4723728" y="4869370"/>
                  <a:pt x="4721436" y="4869814"/>
                  <a:pt x="4718572" y="4869703"/>
                </a:cubicBezTo>
                <a:cubicBezTo>
                  <a:pt x="4714848" y="4869703"/>
                  <a:pt x="4710551" y="4868704"/>
                  <a:pt x="4705968" y="4866482"/>
                </a:cubicBezTo>
                <a:cubicBezTo>
                  <a:pt x="4699952" y="4861372"/>
                  <a:pt x="4708259" y="4849930"/>
                  <a:pt x="4716853" y="4849598"/>
                </a:cubicBezTo>
                <a:close/>
                <a:moveTo>
                  <a:pt x="3409143" y="4849598"/>
                </a:moveTo>
                <a:cubicBezTo>
                  <a:pt x="3413440" y="4851264"/>
                  <a:pt x="3417738" y="4852930"/>
                  <a:pt x="3422034" y="4854707"/>
                </a:cubicBezTo>
                <a:cubicBezTo>
                  <a:pt x="3426618" y="4860039"/>
                  <a:pt x="3424327" y="4866038"/>
                  <a:pt x="3418310" y="4868482"/>
                </a:cubicBezTo>
                <a:cubicBezTo>
                  <a:pt x="3416019" y="4869370"/>
                  <a:pt x="3413440" y="4869815"/>
                  <a:pt x="3410862" y="4869703"/>
                </a:cubicBezTo>
                <a:cubicBezTo>
                  <a:pt x="3407138" y="4869703"/>
                  <a:pt x="3402841" y="4868704"/>
                  <a:pt x="3398258" y="4866482"/>
                </a:cubicBezTo>
                <a:cubicBezTo>
                  <a:pt x="3392242" y="4861371"/>
                  <a:pt x="3400550" y="4849930"/>
                  <a:pt x="3409143" y="4849598"/>
                </a:cubicBezTo>
                <a:close/>
                <a:moveTo>
                  <a:pt x="2342350" y="4849597"/>
                </a:moveTo>
                <a:cubicBezTo>
                  <a:pt x="2346647" y="4851264"/>
                  <a:pt x="2350944" y="4852930"/>
                  <a:pt x="2355242" y="4854708"/>
                </a:cubicBezTo>
                <a:cubicBezTo>
                  <a:pt x="2359825" y="4860039"/>
                  <a:pt x="2357533" y="4866038"/>
                  <a:pt x="2351231" y="4868481"/>
                </a:cubicBezTo>
                <a:cubicBezTo>
                  <a:pt x="2349226" y="4869371"/>
                  <a:pt x="2346647" y="4869814"/>
                  <a:pt x="2344069" y="4869703"/>
                </a:cubicBezTo>
                <a:cubicBezTo>
                  <a:pt x="2340345" y="4869702"/>
                  <a:pt x="2336048" y="4868704"/>
                  <a:pt x="2331178" y="4866482"/>
                </a:cubicBezTo>
                <a:cubicBezTo>
                  <a:pt x="2325450" y="4861372"/>
                  <a:pt x="2333756" y="4849930"/>
                  <a:pt x="2342350" y="4849597"/>
                </a:cubicBezTo>
                <a:close/>
                <a:moveTo>
                  <a:pt x="3586752" y="4849375"/>
                </a:moveTo>
                <a:cubicBezTo>
                  <a:pt x="3588470" y="4850597"/>
                  <a:pt x="3589902" y="4853041"/>
                  <a:pt x="3588184" y="4854040"/>
                </a:cubicBezTo>
                <a:cubicBezTo>
                  <a:pt x="3587324" y="4855151"/>
                  <a:pt x="3586466" y="4855040"/>
                  <a:pt x="3585319" y="4854485"/>
                </a:cubicBezTo>
                <a:cubicBezTo>
                  <a:pt x="3584461" y="4853930"/>
                  <a:pt x="3583027" y="4853040"/>
                  <a:pt x="3581310" y="4852263"/>
                </a:cubicBezTo>
                <a:close/>
                <a:moveTo>
                  <a:pt x="2519959" y="4849375"/>
                </a:moveTo>
                <a:cubicBezTo>
                  <a:pt x="2521677" y="4850596"/>
                  <a:pt x="2523109" y="4853040"/>
                  <a:pt x="2521390" y="4854041"/>
                </a:cubicBezTo>
                <a:cubicBezTo>
                  <a:pt x="2520531" y="4855151"/>
                  <a:pt x="2519673" y="4855040"/>
                  <a:pt x="2518526" y="4854485"/>
                </a:cubicBezTo>
                <a:cubicBezTo>
                  <a:pt x="2517380" y="4853929"/>
                  <a:pt x="2516234" y="4853041"/>
                  <a:pt x="2514516" y="4852263"/>
                </a:cubicBezTo>
                <a:close/>
                <a:moveTo>
                  <a:pt x="4894462" y="4849375"/>
                </a:moveTo>
                <a:cubicBezTo>
                  <a:pt x="4896180" y="4850597"/>
                  <a:pt x="4897612" y="4853041"/>
                  <a:pt x="4895893" y="4854040"/>
                </a:cubicBezTo>
                <a:cubicBezTo>
                  <a:pt x="4895034" y="4855152"/>
                  <a:pt x="4894174" y="4855040"/>
                  <a:pt x="4893028" y="4854485"/>
                </a:cubicBezTo>
                <a:cubicBezTo>
                  <a:pt x="4892169" y="4853930"/>
                  <a:pt x="4891024" y="4853041"/>
                  <a:pt x="4889304" y="4852263"/>
                </a:cubicBezTo>
                <a:close/>
                <a:moveTo>
                  <a:pt x="3604513" y="4845709"/>
                </a:moveTo>
                <a:cubicBezTo>
                  <a:pt x="3605086" y="4845487"/>
                  <a:pt x="3605372" y="4845487"/>
                  <a:pt x="3605373" y="4846154"/>
                </a:cubicBezTo>
                <a:cubicBezTo>
                  <a:pt x="3607091" y="4846265"/>
                  <a:pt x="3607090" y="4847375"/>
                  <a:pt x="3608809" y="4848598"/>
                </a:cubicBezTo>
                <a:cubicBezTo>
                  <a:pt x="3610529" y="4851041"/>
                  <a:pt x="3610241" y="4854485"/>
                  <a:pt x="3608523" y="4855485"/>
                </a:cubicBezTo>
                <a:cubicBezTo>
                  <a:pt x="3606804" y="4856485"/>
                  <a:pt x="3605085" y="4856374"/>
                  <a:pt x="3605085" y="4856374"/>
                </a:cubicBezTo>
                <a:cubicBezTo>
                  <a:pt x="3600215" y="4853708"/>
                  <a:pt x="3596779" y="4850041"/>
                  <a:pt x="3601934" y="4846932"/>
                </a:cubicBezTo>
                <a:cubicBezTo>
                  <a:pt x="3602794" y="4846487"/>
                  <a:pt x="3603653" y="4846043"/>
                  <a:pt x="3604513" y="4845709"/>
                </a:cubicBezTo>
                <a:close/>
                <a:moveTo>
                  <a:pt x="2537720" y="4845709"/>
                </a:moveTo>
                <a:cubicBezTo>
                  <a:pt x="2538292" y="4845488"/>
                  <a:pt x="2538578" y="4845488"/>
                  <a:pt x="2538579" y="4846154"/>
                </a:cubicBezTo>
                <a:cubicBezTo>
                  <a:pt x="2540297" y="4846265"/>
                  <a:pt x="2540297" y="4847375"/>
                  <a:pt x="2542016" y="4848598"/>
                </a:cubicBezTo>
                <a:cubicBezTo>
                  <a:pt x="2543735" y="4851042"/>
                  <a:pt x="2543448" y="4854485"/>
                  <a:pt x="2541729" y="4855485"/>
                </a:cubicBezTo>
                <a:cubicBezTo>
                  <a:pt x="2540012" y="4856485"/>
                  <a:pt x="2538293" y="4856374"/>
                  <a:pt x="2538293" y="4856374"/>
                </a:cubicBezTo>
                <a:cubicBezTo>
                  <a:pt x="2533135" y="4853707"/>
                  <a:pt x="2529985" y="4850042"/>
                  <a:pt x="2535141" y="4846931"/>
                </a:cubicBezTo>
                <a:cubicBezTo>
                  <a:pt x="2536001" y="4846487"/>
                  <a:pt x="2536860" y="4846043"/>
                  <a:pt x="2537720" y="4845709"/>
                </a:cubicBezTo>
                <a:close/>
                <a:moveTo>
                  <a:pt x="4912223" y="4845709"/>
                </a:moveTo>
                <a:cubicBezTo>
                  <a:pt x="4912795" y="4845487"/>
                  <a:pt x="4913368" y="4845488"/>
                  <a:pt x="4913368" y="4846154"/>
                </a:cubicBezTo>
                <a:cubicBezTo>
                  <a:pt x="4915086" y="4846265"/>
                  <a:pt x="4914800" y="4847376"/>
                  <a:pt x="4916519" y="4848598"/>
                </a:cubicBezTo>
                <a:cubicBezTo>
                  <a:pt x="4918238" y="4851041"/>
                  <a:pt x="4917951" y="4854485"/>
                  <a:pt x="4916232" y="4855485"/>
                </a:cubicBezTo>
                <a:cubicBezTo>
                  <a:pt x="4914514" y="4856484"/>
                  <a:pt x="4912795" y="4856374"/>
                  <a:pt x="4912795" y="4856374"/>
                </a:cubicBezTo>
                <a:cubicBezTo>
                  <a:pt x="4907925" y="4853707"/>
                  <a:pt x="4904487" y="4850041"/>
                  <a:pt x="4909644" y="4846931"/>
                </a:cubicBezTo>
                <a:cubicBezTo>
                  <a:pt x="4910503" y="4846487"/>
                  <a:pt x="4911649" y="4846043"/>
                  <a:pt x="4912223" y="4845709"/>
                </a:cubicBezTo>
                <a:close/>
                <a:moveTo>
                  <a:pt x="5671066" y="4844821"/>
                </a:moveTo>
                <a:cubicBezTo>
                  <a:pt x="5678228" y="4847265"/>
                  <a:pt x="5683957" y="4850263"/>
                  <a:pt x="5687108" y="4854708"/>
                </a:cubicBezTo>
                <a:cubicBezTo>
                  <a:pt x="5680806" y="4858151"/>
                  <a:pt x="5671352" y="4858818"/>
                  <a:pt x="5663904" y="4859705"/>
                </a:cubicBezTo>
                <a:cubicBezTo>
                  <a:pt x="5666769" y="4855041"/>
                  <a:pt x="5673930" y="4854152"/>
                  <a:pt x="5671066" y="4844821"/>
                </a:cubicBezTo>
                <a:close/>
                <a:moveTo>
                  <a:pt x="4363356" y="4844820"/>
                </a:moveTo>
                <a:cubicBezTo>
                  <a:pt x="4370518" y="4847264"/>
                  <a:pt x="4376247" y="4850264"/>
                  <a:pt x="4379398" y="4854707"/>
                </a:cubicBezTo>
                <a:cubicBezTo>
                  <a:pt x="4373096" y="4858150"/>
                  <a:pt x="4363356" y="4858817"/>
                  <a:pt x="4356194" y="4859706"/>
                </a:cubicBezTo>
                <a:cubicBezTo>
                  <a:pt x="4359059" y="4855040"/>
                  <a:pt x="4366221" y="4854152"/>
                  <a:pt x="4363356" y="4844820"/>
                </a:cubicBezTo>
                <a:close/>
                <a:moveTo>
                  <a:pt x="3296564" y="4844820"/>
                </a:moveTo>
                <a:cubicBezTo>
                  <a:pt x="3303725" y="4847264"/>
                  <a:pt x="3309454" y="4850264"/>
                  <a:pt x="3312605" y="4854708"/>
                </a:cubicBezTo>
                <a:cubicBezTo>
                  <a:pt x="3306303" y="4858150"/>
                  <a:pt x="3296563" y="4858817"/>
                  <a:pt x="3289401" y="4859705"/>
                </a:cubicBezTo>
                <a:cubicBezTo>
                  <a:pt x="3292266" y="4855040"/>
                  <a:pt x="3299428" y="4854151"/>
                  <a:pt x="3296564" y="4844820"/>
                </a:cubicBezTo>
                <a:close/>
                <a:moveTo>
                  <a:pt x="5368273" y="4839711"/>
                </a:moveTo>
                <a:cubicBezTo>
                  <a:pt x="5371424" y="4839266"/>
                  <a:pt x="5375435" y="4841044"/>
                  <a:pt x="5380305" y="4842377"/>
                </a:cubicBezTo>
                <a:cubicBezTo>
                  <a:pt x="5378586" y="4843376"/>
                  <a:pt x="5380304" y="4844710"/>
                  <a:pt x="5381737" y="4846043"/>
                </a:cubicBezTo>
                <a:cubicBezTo>
                  <a:pt x="5379158" y="4847598"/>
                  <a:pt x="5375721" y="4850375"/>
                  <a:pt x="5371424" y="4849375"/>
                </a:cubicBezTo>
                <a:cubicBezTo>
                  <a:pt x="5369992" y="4849153"/>
                  <a:pt x="5368273" y="4848375"/>
                  <a:pt x="5366841" y="4847042"/>
                </a:cubicBezTo>
                <a:cubicBezTo>
                  <a:pt x="5365122" y="4846931"/>
                  <a:pt x="5363690" y="4842155"/>
                  <a:pt x="5365408" y="4841155"/>
                </a:cubicBezTo>
                <a:cubicBezTo>
                  <a:pt x="5366268" y="4840378"/>
                  <a:pt x="5367127" y="4839933"/>
                  <a:pt x="5368273" y="4839711"/>
                </a:cubicBezTo>
                <a:close/>
                <a:moveTo>
                  <a:pt x="2993770" y="4839711"/>
                </a:moveTo>
                <a:cubicBezTo>
                  <a:pt x="2996921" y="4839267"/>
                  <a:pt x="3000646" y="4841044"/>
                  <a:pt x="3005802" y="4842377"/>
                </a:cubicBezTo>
                <a:cubicBezTo>
                  <a:pt x="3004083" y="4843376"/>
                  <a:pt x="3005803" y="4844710"/>
                  <a:pt x="3007234" y="4846043"/>
                </a:cubicBezTo>
                <a:cubicBezTo>
                  <a:pt x="3004656" y="4847598"/>
                  <a:pt x="3001218" y="4850375"/>
                  <a:pt x="2996635" y="4849375"/>
                </a:cubicBezTo>
                <a:cubicBezTo>
                  <a:pt x="2995203" y="4849153"/>
                  <a:pt x="2993770" y="4848375"/>
                  <a:pt x="2992338" y="4847042"/>
                </a:cubicBezTo>
                <a:cubicBezTo>
                  <a:pt x="2990619" y="4846932"/>
                  <a:pt x="2989187" y="4842155"/>
                  <a:pt x="2990905" y="4841155"/>
                </a:cubicBezTo>
                <a:cubicBezTo>
                  <a:pt x="2991766" y="4840377"/>
                  <a:pt x="2992624" y="4839933"/>
                  <a:pt x="2993770" y="4839711"/>
                </a:cubicBezTo>
                <a:close/>
                <a:moveTo>
                  <a:pt x="4060563" y="4839711"/>
                </a:moveTo>
                <a:cubicBezTo>
                  <a:pt x="4063714" y="4839266"/>
                  <a:pt x="4067438" y="4841043"/>
                  <a:pt x="4072595" y="4842377"/>
                </a:cubicBezTo>
                <a:cubicBezTo>
                  <a:pt x="4070876" y="4843377"/>
                  <a:pt x="4072595" y="4844710"/>
                  <a:pt x="4074027" y="4846043"/>
                </a:cubicBezTo>
                <a:cubicBezTo>
                  <a:pt x="4071449" y="4847598"/>
                  <a:pt x="4068011" y="4850375"/>
                  <a:pt x="4063428" y="4849374"/>
                </a:cubicBezTo>
                <a:cubicBezTo>
                  <a:pt x="4061996" y="4849153"/>
                  <a:pt x="4060563" y="4848376"/>
                  <a:pt x="4059131" y="4847043"/>
                </a:cubicBezTo>
                <a:cubicBezTo>
                  <a:pt x="4057412" y="4846931"/>
                  <a:pt x="4055980" y="4842155"/>
                  <a:pt x="4057698" y="4841155"/>
                </a:cubicBezTo>
                <a:cubicBezTo>
                  <a:pt x="4058559" y="4840378"/>
                  <a:pt x="4059417" y="4839933"/>
                  <a:pt x="4060563" y="4839711"/>
                </a:cubicBezTo>
                <a:close/>
                <a:moveTo>
                  <a:pt x="2454645" y="4837600"/>
                </a:moveTo>
                <a:cubicBezTo>
                  <a:pt x="2456936" y="4837489"/>
                  <a:pt x="2458941" y="4837711"/>
                  <a:pt x="2460087" y="4838489"/>
                </a:cubicBezTo>
                <a:cubicBezTo>
                  <a:pt x="2470401" y="4851930"/>
                  <a:pt x="2456077" y="4859373"/>
                  <a:pt x="2445764" y="4854708"/>
                </a:cubicBezTo>
                <a:cubicBezTo>
                  <a:pt x="2442326" y="4853041"/>
                  <a:pt x="2439175" y="4850153"/>
                  <a:pt x="2437743" y="4845709"/>
                </a:cubicBezTo>
                <a:cubicBezTo>
                  <a:pt x="2439748" y="4841378"/>
                  <a:pt x="2448342" y="4837823"/>
                  <a:pt x="2454645" y="4837600"/>
                </a:cubicBezTo>
                <a:close/>
                <a:moveTo>
                  <a:pt x="3520006" y="4833158"/>
                </a:moveTo>
                <a:lnTo>
                  <a:pt x="3520579" y="4837823"/>
                </a:lnTo>
                <a:lnTo>
                  <a:pt x="3521438" y="4837601"/>
                </a:lnTo>
                <a:cubicBezTo>
                  <a:pt x="3523729" y="4837489"/>
                  <a:pt x="3525734" y="4837712"/>
                  <a:pt x="3526880" y="4838489"/>
                </a:cubicBezTo>
                <a:cubicBezTo>
                  <a:pt x="3534615" y="4848598"/>
                  <a:pt x="3528599" y="4855374"/>
                  <a:pt x="3520578" y="4856040"/>
                </a:cubicBezTo>
                <a:lnTo>
                  <a:pt x="3518860" y="4855818"/>
                </a:lnTo>
                <a:lnTo>
                  <a:pt x="3518859" y="4859928"/>
                </a:lnTo>
                <a:cubicBezTo>
                  <a:pt x="3518859" y="4859928"/>
                  <a:pt x="3518859" y="4859928"/>
                  <a:pt x="3515422" y="4861928"/>
                </a:cubicBezTo>
                <a:cubicBezTo>
                  <a:pt x="3515135" y="4863038"/>
                  <a:pt x="3515135" y="4863038"/>
                  <a:pt x="3515135" y="4863038"/>
                </a:cubicBezTo>
                <a:cubicBezTo>
                  <a:pt x="3515135" y="4864149"/>
                  <a:pt x="3511699" y="4863816"/>
                  <a:pt x="3511699" y="4863816"/>
                </a:cubicBezTo>
                <a:cubicBezTo>
                  <a:pt x="3508260" y="4862260"/>
                  <a:pt x="3510265" y="4858928"/>
                  <a:pt x="3510553" y="4856707"/>
                </a:cubicBezTo>
                <a:cubicBezTo>
                  <a:pt x="3509120" y="4855929"/>
                  <a:pt x="3509979" y="4854818"/>
                  <a:pt x="3511125" y="4853819"/>
                </a:cubicBezTo>
                <a:lnTo>
                  <a:pt x="3511125" y="4853485"/>
                </a:lnTo>
                <a:lnTo>
                  <a:pt x="3507974" y="4851264"/>
                </a:lnTo>
                <a:cubicBezTo>
                  <a:pt x="3506541" y="4849709"/>
                  <a:pt x="3505395" y="4847932"/>
                  <a:pt x="3504536" y="4845709"/>
                </a:cubicBezTo>
                <a:cubicBezTo>
                  <a:pt x="3505395" y="4843488"/>
                  <a:pt x="3508261" y="4841599"/>
                  <a:pt x="3511411" y="4840044"/>
                </a:cubicBezTo>
                <a:lnTo>
                  <a:pt x="3515422" y="4839044"/>
                </a:lnTo>
                <a:lnTo>
                  <a:pt x="3515708" y="4838378"/>
                </a:lnTo>
                <a:cubicBezTo>
                  <a:pt x="3516282" y="4836600"/>
                  <a:pt x="3517427" y="4834934"/>
                  <a:pt x="3520006" y="4833158"/>
                </a:cubicBezTo>
                <a:close/>
                <a:moveTo>
                  <a:pt x="5894508" y="4833157"/>
                </a:moveTo>
                <a:cubicBezTo>
                  <a:pt x="5895368" y="4836156"/>
                  <a:pt x="5895654" y="4838934"/>
                  <a:pt x="5895654" y="4841377"/>
                </a:cubicBezTo>
                <a:cubicBezTo>
                  <a:pt x="5895368" y="4848930"/>
                  <a:pt x="5891357" y="4854374"/>
                  <a:pt x="5893362" y="4859928"/>
                </a:cubicBezTo>
                <a:cubicBezTo>
                  <a:pt x="5893362" y="4859928"/>
                  <a:pt x="5893362" y="4859928"/>
                  <a:pt x="5889924" y="4861928"/>
                </a:cubicBezTo>
                <a:cubicBezTo>
                  <a:pt x="5889638" y="4863038"/>
                  <a:pt x="5889638" y="4863038"/>
                  <a:pt x="5889638" y="4863038"/>
                </a:cubicBezTo>
                <a:cubicBezTo>
                  <a:pt x="5889638" y="4864149"/>
                  <a:pt x="5886200" y="4863817"/>
                  <a:pt x="5886200" y="4863817"/>
                </a:cubicBezTo>
                <a:cubicBezTo>
                  <a:pt x="5882763" y="4862260"/>
                  <a:pt x="5885054" y="4858927"/>
                  <a:pt x="5885341" y="4856706"/>
                </a:cubicBezTo>
                <a:cubicBezTo>
                  <a:pt x="5881904" y="4855151"/>
                  <a:pt x="5889065" y="4852485"/>
                  <a:pt x="5885914" y="4850931"/>
                </a:cubicBezTo>
                <a:cubicBezTo>
                  <a:pt x="5893076" y="4847043"/>
                  <a:pt x="5885054" y="4840266"/>
                  <a:pt x="5894508" y="4833157"/>
                </a:cubicBezTo>
                <a:close/>
                <a:moveTo>
                  <a:pt x="4586798" y="4833157"/>
                </a:moveTo>
                <a:cubicBezTo>
                  <a:pt x="4587658" y="4836157"/>
                  <a:pt x="4587945" y="4838934"/>
                  <a:pt x="4587944" y="4841378"/>
                </a:cubicBezTo>
                <a:cubicBezTo>
                  <a:pt x="4587371" y="4848931"/>
                  <a:pt x="4583647" y="4854374"/>
                  <a:pt x="4585652" y="4859928"/>
                </a:cubicBezTo>
                <a:cubicBezTo>
                  <a:pt x="4585652" y="4859928"/>
                  <a:pt x="4585652" y="4859928"/>
                  <a:pt x="4582215" y="4861928"/>
                </a:cubicBezTo>
                <a:cubicBezTo>
                  <a:pt x="4581928" y="4863038"/>
                  <a:pt x="4581928" y="4863038"/>
                  <a:pt x="4581928" y="4863038"/>
                </a:cubicBezTo>
                <a:cubicBezTo>
                  <a:pt x="4581929" y="4864149"/>
                  <a:pt x="4578491" y="4863817"/>
                  <a:pt x="4578491" y="4863817"/>
                </a:cubicBezTo>
                <a:cubicBezTo>
                  <a:pt x="4575053" y="4862261"/>
                  <a:pt x="4577345" y="4858927"/>
                  <a:pt x="4577345" y="4856707"/>
                </a:cubicBezTo>
                <a:cubicBezTo>
                  <a:pt x="4574194" y="4855151"/>
                  <a:pt x="4581356" y="4852485"/>
                  <a:pt x="4578204" y="4850930"/>
                </a:cubicBezTo>
                <a:cubicBezTo>
                  <a:pt x="4585366" y="4847042"/>
                  <a:pt x="4577345" y="4840267"/>
                  <a:pt x="4586798" y="4833157"/>
                </a:cubicBezTo>
                <a:close/>
                <a:moveTo>
                  <a:pt x="2742828" y="4832491"/>
                </a:moveTo>
                <a:cubicBezTo>
                  <a:pt x="2746838" y="4834045"/>
                  <a:pt x="2750848" y="4835712"/>
                  <a:pt x="2754859" y="4837267"/>
                </a:cubicBezTo>
                <a:cubicBezTo>
                  <a:pt x="2758297" y="4842599"/>
                  <a:pt x="2754860" y="4848599"/>
                  <a:pt x="2747984" y="4851264"/>
                </a:cubicBezTo>
                <a:cubicBezTo>
                  <a:pt x="2745692" y="4852152"/>
                  <a:pt x="2743400" y="4852597"/>
                  <a:pt x="2740537" y="4852597"/>
                </a:cubicBezTo>
                <a:cubicBezTo>
                  <a:pt x="2736812" y="4852707"/>
                  <a:pt x="2732515" y="4851708"/>
                  <a:pt x="2728504" y="4849597"/>
                </a:cubicBezTo>
                <a:cubicBezTo>
                  <a:pt x="2725927" y="4847154"/>
                  <a:pt x="2727358" y="4843044"/>
                  <a:pt x="2730509" y="4839378"/>
                </a:cubicBezTo>
                <a:lnTo>
                  <a:pt x="2728792" y="4839711"/>
                </a:lnTo>
                <a:cubicBezTo>
                  <a:pt x="2729364" y="4838934"/>
                  <a:pt x="2729650" y="4838933"/>
                  <a:pt x="2729937" y="4838934"/>
                </a:cubicBezTo>
                <a:lnTo>
                  <a:pt x="2731083" y="4838934"/>
                </a:lnTo>
                <a:lnTo>
                  <a:pt x="2736239" y="4834712"/>
                </a:lnTo>
                <a:cubicBezTo>
                  <a:pt x="2738530" y="4833490"/>
                  <a:pt x="2740823" y="4832601"/>
                  <a:pt x="2742828" y="4832491"/>
                </a:cubicBezTo>
                <a:close/>
                <a:moveTo>
                  <a:pt x="5117617" y="4832490"/>
                </a:moveTo>
                <a:cubicBezTo>
                  <a:pt x="5121341" y="4834045"/>
                  <a:pt x="5125351" y="4835712"/>
                  <a:pt x="5129362" y="4837267"/>
                </a:cubicBezTo>
                <a:cubicBezTo>
                  <a:pt x="5132799" y="4842599"/>
                  <a:pt x="5129362" y="4848598"/>
                  <a:pt x="5122486" y="4851264"/>
                </a:cubicBezTo>
                <a:cubicBezTo>
                  <a:pt x="5120195" y="4852153"/>
                  <a:pt x="5117903" y="4852597"/>
                  <a:pt x="5115038" y="4852596"/>
                </a:cubicBezTo>
                <a:cubicBezTo>
                  <a:pt x="5111314" y="4852708"/>
                  <a:pt x="5107018" y="4851708"/>
                  <a:pt x="5103007" y="4849598"/>
                </a:cubicBezTo>
                <a:cubicBezTo>
                  <a:pt x="5100428" y="4847154"/>
                  <a:pt x="5101861" y="4843044"/>
                  <a:pt x="5105012" y="4839378"/>
                </a:cubicBezTo>
                <a:lnTo>
                  <a:pt x="5103293" y="4839711"/>
                </a:lnTo>
                <a:cubicBezTo>
                  <a:pt x="5103866" y="4838934"/>
                  <a:pt x="5104153" y="4838934"/>
                  <a:pt x="5104439" y="4838934"/>
                </a:cubicBezTo>
                <a:lnTo>
                  <a:pt x="5105585" y="4838934"/>
                </a:lnTo>
                <a:lnTo>
                  <a:pt x="5110742" y="4834713"/>
                </a:lnTo>
                <a:cubicBezTo>
                  <a:pt x="5113033" y="4833490"/>
                  <a:pt x="5115324" y="4832602"/>
                  <a:pt x="5117617" y="4832490"/>
                </a:cubicBezTo>
                <a:close/>
                <a:moveTo>
                  <a:pt x="3809622" y="4832490"/>
                </a:moveTo>
                <a:cubicBezTo>
                  <a:pt x="3813631" y="4834046"/>
                  <a:pt x="3817642" y="4835712"/>
                  <a:pt x="3821652" y="4837268"/>
                </a:cubicBezTo>
                <a:cubicBezTo>
                  <a:pt x="3825090" y="4842599"/>
                  <a:pt x="3821653" y="4848598"/>
                  <a:pt x="3814777" y="4851264"/>
                </a:cubicBezTo>
                <a:cubicBezTo>
                  <a:pt x="3812485" y="4852152"/>
                  <a:pt x="3810193" y="4852596"/>
                  <a:pt x="3807329" y="4852596"/>
                </a:cubicBezTo>
                <a:cubicBezTo>
                  <a:pt x="3803605" y="4852708"/>
                  <a:pt x="3799308" y="4851708"/>
                  <a:pt x="3795297" y="4849598"/>
                </a:cubicBezTo>
                <a:cubicBezTo>
                  <a:pt x="3792719" y="4847154"/>
                  <a:pt x="3794151" y="4842932"/>
                  <a:pt x="3797303" y="4839378"/>
                </a:cubicBezTo>
                <a:lnTo>
                  <a:pt x="3795584" y="4839711"/>
                </a:lnTo>
                <a:cubicBezTo>
                  <a:pt x="3796157" y="4838934"/>
                  <a:pt x="3796443" y="4838934"/>
                  <a:pt x="3796730" y="4838934"/>
                </a:cubicBezTo>
                <a:lnTo>
                  <a:pt x="3797876" y="4838934"/>
                </a:lnTo>
                <a:lnTo>
                  <a:pt x="3803032" y="4834712"/>
                </a:lnTo>
                <a:cubicBezTo>
                  <a:pt x="3805324" y="4833490"/>
                  <a:pt x="3807615" y="4832602"/>
                  <a:pt x="3809622" y="4832490"/>
                </a:cubicBezTo>
                <a:close/>
                <a:moveTo>
                  <a:pt x="3667248" y="4831158"/>
                </a:moveTo>
                <a:cubicBezTo>
                  <a:pt x="3671831" y="4833601"/>
                  <a:pt x="3673837" y="4836379"/>
                  <a:pt x="3673551" y="4838822"/>
                </a:cubicBezTo>
                <a:cubicBezTo>
                  <a:pt x="3673550" y="4846265"/>
                  <a:pt x="3656649" y="4851485"/>
                  <a:pt x="3649488" y="4841488"/>
                </a:cubicBezTo>
                <a:cubicBezTo>
                  <a:pt x="3650347" y="4836934"/>
                  <a:pt x="3661806" y="4831492"/>
                  <a:pt x="3667248" y="4831158"/>
                </a:cubicBezTo>
                <a:close/>
                <a:moveTo>
                  <a:pt x="4974959" y="4831157"/>
                </a:moveTo>
                <a:cubicBezTo>
                  <a:pt x="4979541" y="4833601"/>
                  <a:pt x="4981546" y="4836379"/>
                  <a:pt x="4981546" y="4838822"/>
                </a:cubicBezTo>
                <a:cubicBezTo>
                  <a:pt x="4981546" y="4846265"/>
                  <a:pt x="4964358" y="4851485"/>
                  <a:pt x="4957196" y="4841488"/>
                </a:cubicBezTo>
                <a:cubicBezTo>
                  <a:pt x="4958056" y="4836934"/>
                  <a:pt x="4969514" y="4831491"/>
                  <a:pt x="4974959" y="4831157"/>
                </a:cubicBezTo>
                <a:close/>
                <a:moveTo>
                  <a:pt x="2600455" y="4831157"/>
                </a:moveTo>
                <a:cubicBezTo>
                  <a:pt x="2605038" y="4833602"/>
                  <a:pt x="2606758" y="4836379"/>
                  <a:pt x="2606757" y="4838823"/>
                </a:cubicBezTo>
                <a:cubicBezTo>
                  <a:pt x="2606757" y="4846265"/>
                  <a:pt x="2589855" y="4851486"/>
                  <a:pt x="2582695" y="4841488"/>
                </a:cubicBezTo>
                <a:cubicBezTo>
                  <a:pt x="2583554" y="4836934"/>
                  <a:pt x="2595013" y="4831491"/>
                  <a:pt x="2600455" y="4831157"/>
                </a:cubicBezTo>
                <a:close/>
                <a:moveTo>
                  <a:pt x="2097424" y="4831047"/>
                </a:moveTo>
                <a:cubicBezTo>
                  <a:pt x="2099143" y="4830713"/>
                  <a:pt x="2100861" y="4830713"/>
                  <a:pt x="2103152" y="4831157"/>
                </a:cubicBezTo>
                <a:cubicBezTo>
                  <a:pt x="2105158" y="4831491"/>
                  <a:pt x="2107737" y="4832269"/>
                  <a:pt x="2110887" y="4833601"/>
                </a:cubicBezTo>
                <a:cubicBezTo>
                  <a:pt x="2101720" y="4842710"/>
                  <a:pt x="2121200" y="4844043"/>
                  <a:pt x="2114611" y="4851485"/>
                </a:cubicBezTo>
                <a:cubicBezTo>
                  <a:pt x="2110315" y="4853152"/>
                  <a:pt x="2106590" y="4856151"/>
                  <a:pt x="2100862" y="4856707"/>
                </a:cubicBezTo>
                <a:cubicBezTo>
                  <a:pt x="2099142" y="4856929"/>
                  <a:pt x="2096850" y="4856818"/>
                  <a:pt x="2094560" y="4856262"/>
                </a:cubicBezTo>
                <a:cubicBezTo>
                  <a:pt x="2098570" y="4846931"/>
                  <a:pt x="2096850" y="4839822"/>
                  <a:pt x="2097424" y="4831047"/>
                </a:cubicBezTo>
                <a:close/>
                <a:moveTo>
                  <a:pt x="4472213" y="4831046"/>
                </a:moveTo>
                <a:cubicBezTo>
                  <a:pt x="4473931" y="4830713"/>
                  <a:pt x="4475650" y="4830712"/>
                  <a:pt x="4477655" y="4831158"/>
                </a:cubicBezTo>
                <a:cubicBezTo>
                  <a:pt x="4479947" y="4831491"/>
                  <a:pt x="4482239" y="4832269"/>
                  <a:pt x="4485390" y="4833602"/>
                </a:cubicBezTo>
                <a:cubicBezTo>
                  <a:pt x="4476224" y="4842710"/>
                  <a:pt x="4495989" y="4844043"/>
                  <a:pt x="4489115" y="4851485"/>
                </a:cubicBezTo>
                <a:cubicBezTo>
                  <a:pt x="4484817" y="4853152"/>
                  <a:pt x="4481094" y="4856151"/>
                  <a:pt x="4475364" y="4856706"/>
                </a:cubicBezTo>
                <a:cubicBezTo>
                  <a:pt x="4473645" y="4856929"/>
                  <a:pt x="4471353" y="4856818"/>
                  <a:pt x="4469061" y="4856263"/>
                </a:cubicBezTo>
                <a:cubicBezTo>
                  <a:pt x="4473072" y="4846932"/>
                  <a:pt x="4471353" y="4839822"/>
                  <a:pt x="4472213" y="4831046"/>
                </a:cubicBezTo>
                <a:close/>
                <a:moveTo>
                  <a:pt x="5639268" y="4829936"/>
                </a:moveTo>
                <a:cubicBezTo>
                  <a:pt x="5661612" y="4829047"/>
                  <a:pt x="5666196" y="4840710"/>
                  <a:pt x="5655310" y="4845154"/>
                </a:cubicBezTo>
                <a:cubicBezTo>
                  <a:pt x="5651874" y="4846598"/>
                  <a:pt x="5646716" y="4847376"/>
                  <a:pt x="5639841" y="4846487"/>
                </a:cubicBezTo>
                <a:cubicBezTo>
                  <a:pt x="5632966" y="4842488"/>
                  <a:pt x="5632966" y="4831713"/>
                  <a:pt x="5639268" y="4829936"/>
                </a:cubicBezTo>
                <a:close/>
                <a:moveTo>
                  <a:pt x="4331558" y="4829935"/>
                </a:moveTo>
                <a:cubicBezTo>
                  <a:pt x="4353903" y="4829047"/>
                  <a:pt x="4358200" y="4840711"/>
                  <a:pt x="4347600" y="4845154"/>
                </a:cubicBezTo>
                <a:cubicBezTo>
                  <a:pt x="4344163" y="4846598"/>
                  <a:pt x="4339006" y="4847375"/>
                  <a:pt x="4332132" y="4846487"/>
                </a:cubicBezTo>
                <a:cubicBezTo>
                  <a:pt x="4325256" y="4842488"/>
                  <a:pt x="4325256" y="4831713"/>
                  <a:pt x="4331558" y="4829935"/>
                </a:cubicBezTo>
                <a:close/>
                <a:moveTo>
                  <a:pt x="5395774" y="4829158"/>
                </a:moveTo>
                <a:cubicBezTo>
                  <a:pt x="5398638" y="4831935"/>
                  <a:pt x="5400070" y="4834823"/>
                  <a:pt x="5400070" y="4837601"/>
                </a:cubicBezTo>
                <a:cubicBezTo>
                  <a:pt x="5400070" y="4840377"/>
                  <a:pt x="5398065" y="4843044"/>
                  <a:pt x="5394341" y="4845377"/>
                </a:cubicBezTo>
                <a:cubicBezTo>
                  <a:pt x="5385747" y="4845154"/>
                  <a:pt x="5382023" y="4837601"/>
                  <a:pt x="5379445" y="4833601"/>
                </a:cubicBezTo>
                <a:cubicBezTo>
                  <a:pt x="5385174" y="4831046"/>
                  <a:pt x="5390904" y="4828380"/>
                  <a:pt x="5395774" y="4829158"/>
                </a:cubicBezTo>
                <a:close/>
                <a:moveTo>
                  <a:pt x="3020984" y="4829158"/>
                </a:moveTo>
                <a:cubicBezTo>
                  <a:pt x="3023849" y="4831935"/>
                  <a:pt x="3025568" y="4834823"/>
                  <a:pt x="3025282" y="4837600"/>
                </a:cubicBezTo>
                <a:cubicBezTo>
                  <a:pt x="3025282" y="4840378"/>
                  <a:pt x="3023562" y="4843044"/>
                  <a:pt x="3019553" y="4845376"/>
                </a:cubicBezTo>
                <a:cubicBezTo>
                  <a:pt x="3011244" y="4845154"/>
                  <a:pt x="3007520" y="4837600"/>
                  <a:pt x="3004942" y="4833602"/>
                </a:cubicBezTo>
                <a:cubicBezTo>
                  <a:pt x="3010672" y="4831047"/>
                  <a:pt x="3016114" y="4828380"/>
                  <a:pt x="3020984" y="4829158"/>
                </a:cubicBezTo>
                <a:close/>
                <a:moveTo>
                  <a:pt x="4087777" y="4829158"/>
                </a:moveTo>
                <a:cubicBezTo>
                  <a:pt x="4090642" y="4831935"/>
                  <a:pt x="4092361" y="4834823"/>
                  <a:pt x="4092074" y="4837600"/>
                </a:cubicBezTo>
                <a:cubicBezTo>
                  <a:pt x="4092074" y="4840377"/>
                  <a:pt x="4090356" y="4843044"/>
                  <a:pt x="4086345" y="4845377"/>
                </a:cubicBezTo>
                <a:cubicBezTo>
                  <a:pt x="4078038" y="4845154"/>
                  <a:pt x="4074314" y="4837601"/>
                  <a:pt x="4071735" y="4833601"/>
                </a:cubicBezTo>
                <a:cubicBezTo>
                  <a:pt x="4077464" y="4831047"/>
                  <a:pt x="4082908" y="4828381"/>
                  <a:pt x="4087777" y="4829158"/>
                </a:cubicBezTo>
                <a:close/>
                <a:moveTo>
                  <a:pt x="2468109" y="4826603"/>
                </a:moveTo>
                <a:cubicBezTo>
                  <a:pt x="2474410" y="4828714"/>
                  <a:pt x="2474410" y="4833490"/>
                  <a:pt x="2481000" y="4836711"/>
                </a:cubicBezTo>
                <a:cubicBezTo>
                  <a:pt x="2478995" y="4840821"/>
                  <a:pt x="2485869" y="4845154"/>
                  <a:pt x="2482719" y="4850708"/>
                </a:cubicBezTo>
                <a:cubicBezTo>
                  <a:pt x="2471259" y="4848709"/>
                  <a:pt x="2464385" y="4831047"/>
                  <a:pt x="2468109" y="4826603"/>
                </a:cubicBezTo>
                <a:close/>
                <a:moveTo>
                  <a:pt x="4842611" y="4826603"/>
                </a:moveTo>
                <a:cubicBezTo>
                  <a:pt x="4848913" y="4828714"/>
                  <a:pt x="4848913" y="4833490"/>
                  <a:pt x="4855501" y="4836712"/>
                </a:cubicBezTo>
                <a:cubicBezTo>
                  <a:pt x="4853496" y="4840822"/>
                  <a:pt x="4860658" y="4845154"/>
                  <a:pt x="4857507" y="4850708"/>
                </a:cubicBezTo>
                <a:cubicBezTo>
                  <a:pt x="4845763" y="4848709"/>
                  <a:pt x="4838887" y="4831046"/>
                  <a:pt x="4842611" y="4826603"/>
                </a:cubicBezTo>
                <a:close/>
                <a:moveTo>
                  <a:pt x="3534902" y="4826603"/>
                </a:moveTo>
                <a:cubicBezTo>
                  <a:pt x="3541204" y="4828714"/>
                  <a:pt x="3541204" y="4833490"/>
                  <a:pt x="3547793" y="4836712"/>
                </a:cubicBezTo>
                <a:cubicBezTo>
                  <a:pt x="3545788" y="4840822"/>
                  <a:pt x="3552663" y="4845154"/>
                  <a:pt x="3549512" y="4850708"/>
                </a:cubicBezTo>
                <a:cubicBezTo>
                  <a:pt x="3538053" y="4848709"/>
                  <a:pt x="3531178" y="4831046"/>
                  <a:pt x="3534902" y="4826603"/>
                </a:cubicBezTo>
                <a:close/>
                <a:moveTo>
                  <a:pt x="5056600" y="4824937"/>
                </a:moveTo>
                <a:cubicBezTo>
                  <a:pt x="5063188" y="4826493"/>
                  <a:pt x="5065194" y="4831046"/>
                  <a:pt x="5064334" y="4835379"/>
                </a:cubicBezTo>
                <a:cubicBezTo>
                  <a:pt x="5063761" y="4839712"/>
                  <a:pt x="5059751" y="4843822"/>
                  <a:pt x="5054308" y="4844821"/>
                </a:cubicBezTo>
                <a:cubicBezTo>
                  <a:pt x="5047433" y="4836600"/>
                  <a:pt x="5045428" y="4830269"/>
                  <a:pt x="5056600" y="4824937"/>
                </a:cubicBezTo>
                <a:close/>
                <a:moveTo>
                  <a:pt x="2682097" y="4824937"/>
                </a:moveTo>
                <a:cubicBezTo>
                  <a:pt x="2688686" y="4826492"/>
                  <a:pt x="2690691" y="4831046"/>
                  <a:pt x="2689831" y="4835379"/>
                </a:cubicBezTo>
                <a:cubicBezTo>
                  <a:pt x="2688973" y="4839711"/>
                  <a:pt x="2685248" y="4843821"/>
                  <a:pt x="2679805" y="4844820"/>
                </a:cubicBezTo>
                <a:cubicBezTo>
                  <a:pt x="2672930" y="4836601"/>
                  <a:pt x="2670926" y="4830269"/>
                  <a:pt x="2682097" y="4824937"/>
                </a:cubicBezTo>
                <a:close/>
                <a:moveTo>
                  <a:pt x="3096038" y="4821383"/>
                </a:moveTo>
                <a:cubicBezTo>
                  <a:pt x="3098330" y="4821049"/>
                  <a:pt x="3100909" y="4821716"/>
                  <a:pt x="3103772" y="4823715"/>
                </a:cubicBezTo>
                <a:cubicBezTo>
                  <a:pt x="3100621" y="4828047"/>
                  <a:pt x="3098616" y="4830935"/>
                  <a:pt x="3095752" y="4832713"/>
                </a:cubicBezTo>
                <a:cubicBezTo>
                  <a:pt x="3086871" y="4830491"/>
                  <a:pt x="3089737" y="4822049"/>
                  <a:pt x="3096038" y="4821383"/>
                </a:cubicBezTo>
                <a:close/>
                <a:moveTo>
                  <a:pt x="2029245" y="4821382"/>
                </a:moveTo>
                <a:cubicBezTo>
                  <a:pt x="2031536" y="4821049"/>
                  <a:pt x="2034116" y="4821715"/>
                  <a:pt x="2036980" y="4823715"/>
                </a:cubicBezTo>
                <a:cubicBezTo>
                  <a:pt x="2033829" y="4828048"/>
                  <a:pt x="2031823" y="4830935"/>
                  <a:pt x="2028959" y="4832713"/>
                </a:cubicBezTo>
                <a:cubicBezTo>
                  <a:pt x="2020078" y="4830491"/>
                  <a:pt x="2022657" y="4822049"/>
                  <a:pt x="2029245" y="4821382"/>
                </a:cubicBezTo>
                <a:close/>
                <a:moveTo>
                  <a:pt x="4403748" y="4821382"/>
                </a:moveTo>
                <a:cubicBezTo>
                  <a:pt x="4406039" y="4821049"/>
                  <a:pt x="4408618" y="4821716"/>
                  <a:pt x="4411482" y="4823715"/>
                </a:cubicBezTo>
                <a:cubicBezTo>
                  <a:pt x="4408331" y="4828047"/>
                  <a:pt x="4406326" y="4830936"/>
                  <a:pt x="4403462" y="4832713"/>
                </a:cubicBezTo>
                <a:cubicBezTo>
                  <a:pt x="4394581" y="4830492"/>
                  <a:pt x="4397445" y="4822049"/>
                  <a:pt x="4403748" y="4821382"/>
                </a:cubicBezTo>
                <a:close/>
                <a:moveTo>
                  <a:pt x="2501911" y="4819383"/>
                </a:moveTo>
                <a:cubicBezTo>
                  <a:pt x="2503630" y="4819050"/>
                  <a:pt x="2505063" y="4819050"/>
                  <a:pt x="2507355" y="4819383"/>
                </a:cubicBezTo>
                <a:cubicBezTo>
                  <a:pt x="2509360" y="4819716"/>
                  <a:pt x="2511651" y="4820494"/>
                  <a:pt x="2514803" y="4821715"/>
                </a:cubicBezTo>
                <a:cubicBezTo>
                  <a:pt x="2503343" y="4831046"/>
                  <a:pt x="2522823" y="4831935"/>
                  <a:pt x="2514516" y="4839489"/>
                </a:cubicBezTo>
                <a:cubicBezTo>
                  <a:pt x="2509932" y="4841267"/>
                  <a:pt x="2505635" y="4844487"/>
                  <a:pt x="2499907" y="4845154"/>
                </a:cubicBezTo>
                <a:cubicBezTo>
                  <a:pt x="2497900" y="4845377"/>
                  <a:pt x="2495610" y="4845377"/>
                  <a:pt x="2493318" y="4844932"/>
                </a:cubicBezTo>
                <a:cubicBezTo>
                  <a:pt x="2499333" y="4835379"/>
                  <a:pt x="2499333" y="4828269"/>
                  <a:pt x="2501911" y="4819383"/>
                </a:cubicBezTo>
                <a:close/>
                <a:moveTo>
                  <a:pt x="4876414" y="4819383"/>
                </a:moveTo>
                <a:cubicBezTo>
                  <a:pt x="4878132" y="4819050"/>
                  <a:pt x="4879851" y="4819050"/>
                  <a:pt x="4881856" y="4819383"/>
                </a:cubicBezTo>
                <a:cubicBezTo>
                  <a:pt x="4883862" y="4819716"/>
                  <a:pt x="4886155" y="4820494"/>
                  <a:pt x="4889304" y="4821715"/>
                </a:cubicBezTo>
                <a:cubicBezTo>
                  <a:pt x="4877846" y="4831047"/>
                  <a:pt x="4897326" y="4831935"/>
                  <a:pt x="4889304" y="4839489"/>
                </a:cubicBezTo>
                <a:cubicBezTo>
                  <a:pt x="4884436" y="4841267"/>
                  <a:pt x="4880138" y="4844488"/>
                  <a:pt x="4874408" y="4845154"/>
                </a:cubicBezTo>
                <a:cubicBezTo>
                  <a:pt x="4872403" y="4845376"/>
                  <a:pt x="4870398" y="4845377"/>
                  <a:pt x="4868106" y="4844932"/>
                </a:cubicBezTo>
                <a:cubicBezTo>
                  <a:pt x="4874122" y="4835379"/>
                  <a:pt x="4873836" y="4828269"/>
                  <a:pt x="4876414" y="4819383"/>
                </a:cubicBezTo>
                <a:close/>
                <a:moveTo>
                  <a:pt x="3568704" y="4819383"/>
                </a:moveTo>
                <a:cubicBezTo>
                  <a:pt x="3570423" y="4819050"/>
                  <a:pt x="3571856" y="4819050"/>
                  <a:pt x="3574148" y="4819383"/>
                </a:cubicBezTo>
                <a:cubicBezTo>
                  <a:pt x="3576153" y="4819716"/>
                  <a:pt x="3578444" y="4820494"/>
                  <a:pt x="3581596" y="4821716"/>
                </a:cubicBezTo>
                <a:cubicBezTo>
                  <a:pt x="3570136" y="4831047"/>
                  <a:pt x="3589616" y="4831935"/>
                  <a:pt x="3581309" y="4839489"/>
                </a:cubicBezTo>
                <a:cubicBezTo>
                  <a:pt x="3576726" y="4841266"/>
                  <a:pt x="3572428" y="4844488"/>
                  <a:pt x="3566699" y="4845154"/>
                </a:cubicBezTo>
                <a:cubicBezTo>
                  <a:pt x="3564694" y="4845376"/>
                  <a:pt x="3562689" y="4845376"/>
                  <a:pt x="3560111" y="4844932"/>
                </a:cubicBezTo>
                <a:cubicBezTo>
                  <a:pt x="3566126" y="4835379"/>
                  <a:pt x="3566126" y="4828269"/>
                  <a:pt x="3568704" y="4819383"/>
                </a:cubicBezTo>
                <a:close/>
                <a:moveTo>
                  <a:pt x="4779016" y="4818939"/>
                </a:moveTo>
                <a:cubicBezTo>
                  <a:pt x="4780162" y="4819049"/>
                  <a:pt x="4781594" y="4819494"/>
                  <a:pt x="4782453" y="4820160"/>
                </a:cubicBezTo>
                <a:cubicBezTo>
                  <a:pt x="4783313" y="4820716"/>
                  <a:pt x="4783886" y="4821494"/>
                  <a:pt x="4783599" y="4822271"/>
                </a:cubicBezTo>
                <a:cubicBezTo>
                  <a:pt x="4782167" y="4822937"/>
                  <a:pt x="4782740" y="4823937"/>
                  <a:pt x="4781308" y="4824603"/>
                </a:cubicBezTo>
                <a:cubicBezTo>
                  <a:pt x="4779016" y="4826825"/>
                  <a:pt x="4777584" y="4827491"/>
                  <a:pt x="4775292" y="4827048"/>
                </a:cubicBezTo>
                <a:cubicBezTo>
                  <a:pt x="4773860" y="4827714"/>
                  <a:pt x="4773000" y="4826714"/>
                  <a:pt x="4770708" y="4826270"/>
                </a:cubicBezTo>
                <a:cubicBezTo>
                  <a:pt x="4769849" y="4825270"/>
                  <a:pt x="4770708" y="4823715"/>
                  <a:pt x="4770708" y="4823715"/>
                </a:cubicBezTo>
                <a:cubicBezTo>
                  <a:pt x="4771569" y="4822049"/>
                  <a:pt x="4771281" y="4822049"/>
                  <a:pt x="4768990" y="4821716"/>
                </a:cubicBezTo>
                <a:cubicBezTo>
                  <a:pt x="4768990" y="4821716"/>
                  <a:pt x="4770708" y="4821049"/>
                  <a:pt x="4770708" y="4821049"/>
                </a:cubicBezTo>
                <a:cubicBezTo>
                  <a:pt x="4771569" y="4822049"/>
                  <a:pt x="4770708" y="4821160"/>
                  <a:pt x="4771568" y="4819494"/>
                </a:cubicBezTo>
                <a:cubicBezTo>
                  <a:pt x="4775292" y="4819272"/>
                  <a:pt x="4776724" y="4818494"/>
                  <a:pt x="4779016" y="4818939"/>
                </a:cubicBezTo>
                <a:close/>
                <a:moveTo>
                  <a:pt x="6086726" y="4818939"/>
                </a:moveTo>
                <a:cubicBezTo>
                  <a:pt x="6087872" y="4819050"/>
                  <a:pt x="6089304" y="4819493"/>
                  <a:pt x="6090164" y="4820160"/>
                </a:cubicBezTo>
                <a:cubicBezTo>
                  <a:pt x="6091309" y="4820716"/>
                  <a:pt x="6091596" y="4821493"/>
                  <a:pt x="6091309" y="4822271"/>
                </a:cubicBezTo>
                <a:cubicBezTo>
                  <a:pt x="6089876" y="4822937"/>
                  <a:pt x="6090736" y="4823938"/>
                  <a:pt x="6089018" y="4824604"/>
                </a:cubicBezTo>
                <a:cubicBezTo>
                  <a:pt x="6086726" y="4826825"/>
                  <a:pt x="6085293" y="4827491"/>
                  <a:pt x="6083002" y="4827048"/>
                </a:cubicBezTo>
                <a:cubicBezTo>
                  <a:pt x="6081570" y="4827714"/>
                  <a:pt x="6080710" y="4826714"/>
                  <a:pt x="6078418" y="4826270"/>
                </a:cubicBezTo>
                <a:cubicBezTo>
                  <a:pt x="6077558" y="4825270"/>
                  <a:pt x="6078418" y="4823715"/>
                  <a:pt x="6078418" y="4823715"/>
                </a:cubicBezTo>
                <a:cubicBezTo>
                  <a:pt x="6079278" y="4822049"/>
                  <a:pt x="6078991" y="4822048"/>
                  <a:pt x="6076700" y="4821715"/>
                </a:cubicBezTo>
                <a:cubicBezTo>
                  <a:pt x="6076700" y="4821715"/>
                  <a:pt x="6078418" y="4821049"/>
                  <a:pt x="6078418" y="4821049"/>
                </a:cubicBezTo>
                <a:cubicBezTo>
                  <a:pt x="6079278" y="4822049"/>
                  <a:pt x="6078418" y="4821160"/>
                  <a:pt x="6079278" y="4819494"/>
                </a:cubicBezTo>
                <a:cubicBezTo>
                  <a:pt x="6083003" y="4819271"/>
                  <a:pt x="6084434" y="4818494"/>
                  <a:pt x="6086726" y="4818939"/>
                </a:cubicBezTo>
                <a:close/>
                <a:moveTo>
                  <a:pt x="3712223" y="4818939"/>
                </a:moveTo>
                <a:cubicBezTo>
                  <a:pt x="3713370" y="4819050"/>
                  <a:pt x="3714514" y="4819494"/>
                  <a:pt x="3715660" y="4820160"/>
                </a:cubicBezTo>
                <a:cubicBezTo>
                  <a:pt x="3716520" y="4820715"/>
                  <a:pt x="3717093" y="4821493"/>
                  <a:pt x="3716806" y="4822271"/>
                </a:cubicBezTo>
                <a:cubicBezTo>
                  <a:pt x="3715374" y="4822938"/>
                  <a:pt x="3715948" y="4823937"/>
                  <a:pt x="3714514" y="4824604"/>
                </a:cubicBezTo>
                <a:cubicBezTo>
                  <a:pt x="3712223" y="4826825"/>
                  <a:pt x="3710790" y="4827491"/>
                  <a:pt x="3708499" y="4827047"/>
                </a:cubicBezTo>
                <a:cubicBezTo>
                  <a:pt x="3707066" y="4827714"/>
                  <a:pt x="3706207" y="4826714"/>
                  <a:pt x="3703915" y="4826270"/>
                </a:cubicBezTo>
                <a:cubicBezTo>
                  <a:pt x="3703056" y="4825270"/>
                  <a:pt x="3703915" y="4823715"/>
                  <a:pt x="3703915" y="4823715"/>
                </a:cubicBezTo>
                <a:cubicBezTo>
                  <a:pt x="3704776" y="4822049"/>
                  <a:pt x="3704488" y="4822049"/>
                  <a:pt x="3702196" y="4821715"/>
                </a:cubicBezTo>
                <a:cubicBezTo>
                  <a:pt x="3702196" y="4821715"/>
                  <a:pt x="3703915" y="4821048"/>
                  <a:pt x="3703915" y="4821048"/>
                </a:cubicBezTo>
                <a:cubicBezTo>
                  <a:pt x="3704776" y="4822049"/>
                  <a:pt x="3703915" y="4821160"/>
                  <a:pt x="3704775" y="4819494"/>
                </a:cubicBezTo>
                <a:cubicBezTo>
                  <a:pt x="3708499" y="4819271"/>
                  <a:pt x="3709932" y="4818494"/>
                  <a:pt x="3712223" y="4818939"/>
                </a:cubicBezTo>
                <a:close/>
                <a:moveTo>
                  <a:pt x="6131700" y="4818494"/>
                </a:moveTo>
                <a:cubicBezTo>
                  <a:pt x="6132846" y="4818605"/>
                  <a:pt x="6133992" y="4819604"/>
                  <a:pt x="6134852" y="4820827"/>
                </a:cubicBezTo>
                <a:cubicBezTo>
                  <a:pt x="6137716" y="4824493"/>
                  <a:pt x="6139148" y="4831380"/>
                  <a:pt x="6138002" y="4831934"/>
                </a:cubicBezTo>
                <a:cubicBezTo>
                  <a:pt x="6138862" y="4832935"/>
                  <a:pt x="6137144" y="4833490"/>
                  <a:pt x="6138002" y="4834489"/>
                </a:cubicBezTo>
                <a:cubicBezTo>
                  <a:pt x="6138002" y="4834489"/>
                  <a:pt x="6138862" y="4835601"/>
                  <a:pt x="6138289" y="4837267"/>
                </a:cubicBezTo>
                <a:cubicBezTo>
                  <a:pt x="6137430" y="4838822"/>
                  <a:pt x="6136570" y="4840489"/>
                  <a:pt x="6132846" y="4840822"/>
                </a:cubicBezTo>
                <a:cubicBezTo>
                  <a:pt x="6131128" y="4830824"/>
                  <a:pt x="6127976" y="4826714"/>
                  <a:pt x="6127977" y="4818716"/>
                </a:cubicBezTo>
                <a:cubicBezTo>
                  <a:pt x="6129408" y="4818050"/>
                  <a:pt x="6130268" y="4819050"/>
                  <a:pt x="6131700" y="4818494"/>
                </a:cubicBezTo>
                <a:close/>
                <a:moveTo>
                  <a:pt x="6097612" y="4818494"/>
                </a:moveTo>
                <a:cubicBezTo>
                  <a:pt x="6099903" y="4818161"/>
                  <a:pt x="6102768" y="4818382"/>
                  <a:pt x="6105632" y="4818716"/>
                </a:cubicBezTo>
                <a:cubicBezTo>
                  <a:pt x="6111075" y="4819494"/>
                  <a:pt x="6116804" y="4821382"/>
                  <a:pt x="6121102" y="4823049"/>
                </a:cubicBezTo>
                <a:cubicBezTo>
                  <a:pt x="6120815" y="4826270"/>
                  <a:pt x="6124253" y="4827491"/>
                  <a:pt x="6123966" y="4830713"/>
                </a:cubicBezTo>
                <a:cubicBezTo>
                  <a:pt x="6109642" y="4829268"/>
                  <a:pt x="6094174" y="4828492"/>
                  <a:pt x="6091309" y="4820716"/>
                </a:cubicBezTo>
                <a:cubicBezTo>
                  <a:pt x="6093029" y="4819494"/>
                  <a:pt x="6095033" y="4818717"/>
                  <a:pt x="6097612" y="4818494"/>
                </a:cubicBezTo>
                <a:close/>
                <a:moveTo>
                  <a:pt x="2307403" y="4817717"/>
                </a:moveTo>
                <a:cubicBezTo>
                  <a:pt x="2323731" y="4826048"/>
                  <a:pt x="2301100" y="4847487"/>
                  <a:pt x="2291073" y="4851818"/>
                </a:cubicBezTo>
                <a:cubicBezTo>
                  <a:pt x="2293078" y="4841599"/>
                  <a:pt x="2296802" y="4824715"/>
                  <a:pt x="2307403" y="4817717"/>
                </a:cubicBezTo>
                <a:close/>
                <a:moveTo>
                  <a:pt x="4681904" y="4817716"/>
                </a:moveTo>
                <a:cubicBezTo>
                  <a:pt x="4698233" y="4826048"/>
                  <a:pt x="4675602" y="4847486"/>
                  <a:pt x="4665576" y="4851819"/>
                </a:cubicBezTo>
                <a:cubicBezTo>
                  <a:pt x="4667581" y="4841599"/>
                  <a:pt x="4671305" y="4824715"/>
                  <a:pt x="4681904" y="4817716"/>
                </a:cubicBezTo>
                <a:close/>
                <a:moveTo>
                  <a:pt x="3379924" y="4815495"/>
                </a:moveTo>
                <a:cubicBezTo>
                  <a:pt x="3384509" y="4816606"/>
                  <a:pt x="3384508" y="4820271"/>
                  <a:pt x="3386799" y="4820826"/>
                </a:cubicBezTo>
                <a:cubicBezTo>
                  <a:pt x="3385080" y="4821382"/>
                  <a:pt x="3381930" y="4822383"/>
                  <a:pt x="3381643" y="4825048"/>
                </a:cubicBezTo>
                <a:lnTo>
                  <a:pt x="3378492" y="4823937"/>
                </a:lnTo>
                <a:lnTo>
                  <a:pt x="3379925" y="4825936"/>
                </a:lnTo>
                <a:cubicBezTo>
                  <a:pt x="3379924" y="4835712"/>
                  <a:pt x="3365314" y="4848598"/>
                  <a:pt x="3357866" y="4851819"/>
                </a:cubicBezTo>
                <a:cubicBezTo>
                  <a:pt x="3359873" y="4841599"/>
                  <a:pt x="3363596" y="4824715"/>
                  <a:pt x="3374196" y="4817716"/>
                </a:cubicBezTo>
                <a:lnTo>
                  <a:pt x="3375342" y="4819383"/>
                </a:lnTo>
                <a:close/>
                <a:moveTo>
                  <a:pt x="5754427" y="4815495"/>
                </a:moveTo>
                <a:cubicBezTo>
                  <a:pt x="5759010" y="4816606"/>
                  <a:pt x="5759010" y="4820272"/>
                  <a:pt x="5761302" y="4820827"/>
                </a:cubicBezTo>
                <a:cubicBezTo>
                  <a:pt x="5759870" y="4821382"/>
                  <a:pt x="5756432" y="4822382"/>
                  <a:pt x="5756146" y="4825048"/>
                </a:cubicBezTo>
                <a:cubicBezTo>
                  <a:pt x="5751848" y="4823937"/>
                  <a:pt x="5747552" y="4822826"/>
                  <a:pt x="5749557" y="4819716"/>
                </a:cubicBezTo>
                <a:cubicBezTo>
                  <a:pt x="5750416" y="4818161"/>
                  <a:pt x="5751276" y="4816495"/>
                  <a:pt x="5754427" y="4815495"/>
                </a:cubicBezTo>
                <a:close/>
                <a:moveTo>
                  <a:pt x="5240223" y="4810829"/>
                </a:moveTo>
                <a:cubicBezTo>
                  <a:pt x="5245666" y="4811051"/>
                  <a:pt x="5250250" y="4812274"/>
                  <a:pt x="5251968" y="4811829"/>
                </a:cubicBezTo>
                <a:cubicBezTo>
                  <a:pt x="5256838" y="4815718"/>
                  <a:pt x="5256838" y="4815718"/>
                  <a:pt x="5248244" y="4822049"/>
                </a:cubicBezTo>
                <a:cubicBezTo>
                  <a:pt x="5246527" y="4823049"/>
                  <a:pt x="5244520" y="4823715"/>
                  <a:pt x="5242229" y="4823938"/>
                </a:cubicBezTo>
                <a:cubicBezTo>
                  <a:pt x="5239650" y="4824159"/>
                  <a:pt x="5237359" y="4824048"/>
                  <a:pt x="5234780" y="4823270"/>
                </a:cubicBezTo>
                <a:cubicBezTo>
                  <a:pt x="5231343" y="4824159"/>
                  <a:pt x="5226473" y="4823715"/>
                  <a:pt x="5223037" y="4822271"/>
                </a:cubicBezTo>
                <a:cubicBezTo>
                  <a:pt x="5219884" y="4819716"/>
                  <a:pt x="5219884" y="4817383"/>
                  <a:pt x="5221603" y="4816384"/>
                </a:cubicBezTo>
                <a:cubicBezTo>
                  <a:pt x="5227619" y="4811606"/>
                  <a:pt x="5234494" y="4810718"/>
                  <a:pt x="5240223" y="4810829"/>
                </a:cubicBezTo>
                <a:close/>
                <a:moveTo>
                  <a:pt x="2865435" y="4810829"/>
                </a:moveTo>
                <a:cubicBezTo>
                  <a:pt x="2871163" y="4811052"/>
                  <a:pt x="2875747" y="4812274"/>
                  <a:pt x="2877466" y="4811828"/>
                </a:cubicBezTo>
                <a:cubicBezTo>
                  <a:pt x="2882336" y="4815718"/>
                  <a:pt x="2882336" y="4815718"/>
                  <a:pt x="2873742" y="4822049"/>
                </a:cubicBezTo>
                <a:cubicBezTo>
                  <a:pt x="2872023" y="4823049"/>
                  <a:pt x="2870018" y="4823715"/>
                  <a:pt x="2867439" y="4823937"/>
                </a:cubicBezTo>
                <a:cubicBezTo>
                  <a:pt x="2865148" y="4824159"/>
                  <a:pt x="2862569" y="4824048"/>
                  <a:pt x="2860278" y="4823271"/>
                </a:cubicBezTo>
                <a:cubicBezTo>
                  <a:pt x="2856840" y="4824159"/>
                  <a:pt x="2851684" y="4823715"/>
                  <a:pt x="2848533" y="4822271"/>
                </a:cubicBezTo>
                <a:cubicBezTo>
                  <a:pt x="2845096" y="4819716"/>
                  <a:pt x="2845382" y="4817384"/>
                  <a:pt x="2847100" y="4816384"/>
                </a:cubicBezTo>
                <a:cubicBezTo>
                  <a:pt x="2853116" y="4811607"/>
                  <a:pt x="2859705" y="4810719"/>
                  <a:pt x="2865435" y="4810829"/>
                </a:cubicBezTo>
                <a:close/>
                <a:moveTo>
                  <a:pt x="3932227" y="4810829"/>
                </a:moveTo>
                <a:cubicBezTo>
                  <a:pt x="3937956" y="4811051"/>
                  <a:pt x="3942540" y="4812274"/>
                  <a:pt x="3944259" y="4811829"/>
                </a:cubicBezTo>
                <a:cubicBezTo>
                  <a:pt x="3949128" y="4815718"/>
                  <a:pt x="3949128" y="4815718"/>
                  <a:pt x="3940535" y="4822049"/>
                </a:cubicBezTo>
                <a:cubicBezTo>
                  <a:pt x="3938816" y="4823049"/>
                  <a:pt x="3936810" y="4823715"/>
                  <a:pt x="3934519" y="4823938"/>
                </a:cubicBezTo>
                <a:cubicBezTo>
                  <a:pt x="3931941" y="4824159"/>
                  <a:pt x="3929362" y="4824048"/>
                  <a:pt x="3927071" y="4823270"/>
                </a:cubicBezTo>
                <a:cubicBezTo>
                  <a:pt x="3923633" y="4824159"/>
                  <a:pt x="3918477" y="4823715"/>
                  <a:pt x="3915326" y="4822271"/>
                </a:cubicBezTo>
                <a:cubicBezTo>
                  <a:pt x="3911888" y="4819717"/>
                  <a:pt x="3912175" y="4817383"/>
                  <a:pt x="3913894" y="4816384"/>
                </a:cubicBezTo>
                <a:cubicBezTo>
                  <a:pt x="3919909" y="4811606"/>
                  <a:pt x="3926498" y="4810718"/>
                  <a:pt x="3932227" y="4810829"/>
                </a:cubicBezTo>
                <a:close/>
                <a:moveTo>
                  <a:pt x="5640128" y="4809163"/>
                </a:moveTo>
                <a:cubicBezTo>
                  <a:pt x="5640700" y="4810163"/>
                  <a:pt x="5641274" y="4811274"/>
                  <a:pt x="5640414" y="4812829"/>
                </a:cubicBezTo>
                <a:cubicBezTo>
                  <a:pt x="5639268" y="4814495"/>
                  <a:pt x="5638695" y="4813384"/>
                  <a:pt x="5639555" y="4814495"/>
                </a:cubicBezTo>
                <a:cubicBezTo>
                  <a:pt x="5638409" y="4816050"/>
                  <a:pt x="5640128" y="4815495"/>
                  <a:pt x="5640128" y="4815495"/>
                </a:cubicBezTo>
                <a:cubicBezTo>
                  <a:pt x="5640128" y="4815495"/>
                  <a:pt x="5638409" y="4816050"/>
                  <a:pt x="5638409" y="4816050"/>
                </a:cubicBezTo>
                <a:cubicBezTo>
                  <a:pt x="5638409" y="4816050"/>
                  <a:pt x="5638409" y="4816050"/>
                  <a:pt x="5638122" y="4816495"/>
                </a:cubicBezTo>
                <a:lnTo>
                  <a:pt x="5637550" y="4817717"/>
                </a:lnTo>
                <a:lnTo>
                  <a:pt x="5644998" y="4816384"/>
                </a:lnTo>
                <a:cubicBezTo>
                  <a:pt x="5649868" y="4819272"/>
                  <a:pt x="5658460" y="4816606"/>
                  <a:pt x="5665050" y="4820938"/>
                </a:cubicBezTo>
                <a:cubicBezTo>
                  <a:pt x="5661326" y="4824048"/>
                  <a:pt x="5652732" y="4824826"/>
                  <a:pt x="5644424" y="4824382"/>
                </a:cubicBezTo>
                <a:lnTo>
                  <a:pt x="5635831" y="4823271"/>
                </a:lnTo>
                <a:lnTo>
                  <a:pt x="5635831" y="4823826"/>
                </a:lnTo>
                <a:cubicBezTo>
                  <a:pt x="5635831" y="4824937"/>
                  <a:pt x="5635831" y="4825826"/>
                  <a:pt x="5635544" y="4827159"/>
                </a:cubicBezTo>
                <a:cubicBezTo>
                  <a:pt x="5633826" y="4830380"/>
                  <a:pt x="5632107" y="4830935"/>
                  <a:pt x="5628669" y="4834601"/>
                </a:cubicBezTo>
                <a:cubicBezTo>
                  <a:pt x="5624945" y="4834601"/>
                  <a:pt x="5624945" y="4834490"/>
                  <a:pt x="5624372" y="4833490"/>
                </a:cubicBezTo>
                <a:cubicBezTo>
                  <a:pt x="5624945" y="4834490"/>
                  <a:pt x="5623513" y="4835157"/>
                  <a:pt x="5622367" y="4836711"/>
                </a:cubicBezTo>
                <a:cubicBezTo>
                  <a:pt x="5621794" y="4840155"/>
                  <a:pt x="5618929" y="4841933"/>
                  <a:pt x="5615205" y="4842710"/>
                </a:cubicBezTo>
                <a:lnTo>
                  <a:pt x="5614919" y="4842710"/>
                </a:lnTo>
                <a:lnTo>
                  <a:pt x="5611768" y="4845153"/>
                </a:lnTo>
                <a:cubicBezTo>
                  <a:pt x="5602601" y="4849931"/>
                  <a:pt x="5588564" y="4851042"/>
                  <a:pt x="5572808" y="4842821"/>
                </a:cubicBezTo>
                <a:lnTo>
                  <a:pt x="5573095" y="4841267"/>
                </a:lnTo>
                <a:lnTo>
                  <a:pt x="5570803" y="4846487"/>
                </a:lnTo>
                <a:cubicBezTo>
                  <a:pt x="5567652" y="4847154"/>
                  <a:pt x="5564789" y="4846820"/>
                  <a:pt x="5562209" y="4845821"/>
                </a:cubicBezTo>
                <a:lnTo>
                  <a:pt x="5559631" y="4844154"/>
                </a:lnTo>
                <a:lnTo>
                  <a:pt x="5559058" y="4847376"/>
                </a:lnTo>
                <a:cubicBezTo>
                  <a:pt x="5554188" y="4846821"/>
                  <a:pt x="5550750" y="4847376"/>
                  <a:pt x="5547312" y="4846154"/>
                </a:cubicBezTo>
                <a:cubicBezTo>
                  <a:pt x="5545881" y="4843154"/>
                  <a:pt x="5546454" y="4841155"/>
                  <a:pt x="5548746" y="4840155"/>
                </a:cubicBezTo>
                <a:lnTo>
                  <a:pt x="5555048" y="4840044"/>
                </a:lnTo>
                <a:lnTo>
                  <a:pt x="5552470" y="4835268"/>
                </a:lnTo>
                <a:cubicBezTo>
                  <a:pt x="5552183" y="4833157"/>
                  <a:pt x="5552470" y="4831269"/>
                  <a:pt x="5553616" y="4829603"/>
                </a:cubicBezTo>
                <a:cubicBezTo>
                  <a:pt x="5558199" y="4828603"/>
                  <a:pt x="5563069" y="4829825"/>
                  <a:pt x="5566506" y="4832157"/>
                </a:cubicBezTo>
                <a:lnTo>
                  <a:pt x="5573095" y="4840933"/>
                </a:lnTo>
                <a:lnTo>
                  <a:pt x="5574814" y="4830936"/>
                </a:lnTo>
                <a:cubicBezTo>
                  <a:pt x="5579397" y="4819938"/>
                  <a:pt x="5591429" y="4812385"/>
                  <a:pt x="5605752" y="4813829"/>
                </a:cubicBezTo>
                <a:cubicBezTo>
                  <a:pt x="5611481" y="4814939"/>
                  <a:pt x="5615778" y="4816939"/>
                  <a:pt x="5618643" y="4819494"/>
                </a:cubicBezTo>
                <a:lnTo>
                  <a:pt x="5621508" y="4824826"/>
                </a:lnTo>
                <a:lnTo>
                  <a:pt x="5624945" y="4828159"/>
                </a:lnTo>
                <a:cubicBezTo>
                  <a:pt x="5624945" y="4828159"/>
                  <a:pt x="5624945" y="4828159"/>
                  <a:pt x="5624372" y="4827048"/>
                </a:cubicBezTo>
                <a:lnTo>
                  <a:pt x="5628382" y="4821049"/>
                </a:lnTo>
                <a:lnTo>
                  <a:pt x="5626091" y="4820160"/>
                </a:lnTo>
                <a:lnTo>
                  <a:pt x="5629528" y="4819383"/>
                </a:lnTo>
                <a:lnTo>
                  <a:pt x="5631534" y="4815939"/>
                </a:lnTo>
                <a:cubicBezTo>
                  <a:pt x="5634398" y="4812274"/>
                  <a:pt x="5637550" y="4809385"/>
                  <a:pt x="5640128" y="4809163"/>
                </a:cubicBezTo>
                <a:close/>
                <a:moveTo>
                  <a:pt x="4332418" y="4809163"/>
                </a:moveTo>
                <a:cubicBezTo>
                  <a:pt x="4332991" y="4810163"/>
                  <a:pt x="4333564" y="4811273"/>
                  <a:pt x="4332704" y="4812829"/>
                </a:cubicBezTo>
                <a:cubicBezTo>
                  <a:pt x="4331558" y="4814495"/>
                  <a:pt x="4330986" y="4813384"/>
                  <a:pt x="4331558" y="4814495"/>
                </a:cubicBezTo>
                <a:cubicBezTo>
                  <a:pt x="4330699" y="4816050"/>
                  <a:pt x="4332132" y="4815495"/>
                  <a:pt x="4332132" y="4815495"/>
                </a:cubicBezTo>
                <a:cubicBezTo>
                  <a:pt x="4332132" y="4815495"/>
                  <a:pt x="4330699" y="4816050"/>
                  <a:pt x="4330699" y="4816050"/>
                </a:cubicBezTo>
                <a:cubicBezTo>
                  <a:pt x="4330699" y="4816050"/>
                  <a:pt x="4330699" y="4816050"/>
                  <a:pt x="4330412" y="4816495"/>
                </a:cubicBezTo>
                <a:lnTo>
                  <a:pt x="4329840" y="4817716"/>
                </a:lnTo>
                <a:lnTo>
                  <a:pt x="4337288" y="4816384"/>
                </a:lnTo>
                <a:cubicBezTo>
                  <a:pt x="4342158" y="4819271"/>
                  <a:pt x="4350752" y="4816606"/>
                  <a:pt x="4357340" y="4820937"/>
                </a:cubicBezTo>
                <a:cubicBezTo>
                  <a:pt x="4353616" y="4824048"/>
                  <a:pt x="4344736" y="4824826"/>
                  <a:pt x="4336715" y="4824382"/>
                </a:cubicBezTo>
                <a:lnTo>
                  <a:pt x="4328121" y="4823271"/>
                </a:lnTo>
                <a:lnTo>
                  <a:pt x="4327834" y="4823826"/>
                </a:lnTo>
                <a:cubicBezTo>
                  <a:pt x="4327834" y="4824937"/>
                  <a:pt x="4327834" y="4825825"/>
                  <a:pt x="4327834" y="4827159"/>
                </a:cubicBezTo>
                <a:cubicBezTo>
                  <a:pt x="4325829" y="4830380"/>
                  <a:pt x="4324396" y="4830936"/>
                  <a:pt x="4320959" y="4834601"/>
                </a:cubicBezTo>
                <a:cubicBezTo>
                  <a:pt x="4317235" y="4834601"/>
                  <a:pt x="4317235" y="4834490"/>
                  <a:pt x="4316662" y="4833490"/>
                </a:cubicBezTo>
                <a:cubicBezTo>
                  <a:pt x="4317235" y="4834490"/>
                  <a:pt x="4315803" y="4835156"/>
                  <a:pt x="4314657" y="4836712"/>
                </a:cubicBezTo>
                <a:cubicBezTo>
                  <a:pt x="4314084" y="4840155"/>
                  <a:pt x="4311220" y="4841933"/>
                  <a:pt x="4307496" y="4842710"/>
                </a:cubicBezTo>
                <a:lnTo>
                  <a:pt x="4306922" y="4842710"/>
                </a:lnTo>
                <a:lnTo>
                  <a:pt x="4304058" y="4845154"/>
                </a:lnTo>
                <a:cubicBezTo>
                  <a:pt x="4294891" y="4849930"/>
                  <a:pt x="4280854" y="4851041"/>
                  <a:pt x="4265099" y="4842821"/>
                </a:cubicBezTo>
                <a:lnTo>
                  <a:pt x="4265385" y="4841266"/>
                </a:lnTo>
                <a:lnTo>
                  <a:pt x="4263094" y="4846487"/>
                </a:lnTo>
                <a:cubicBezTo>
                  <a:pt x="4259942" y="4847154"/>
                  <a:pt x="4257078" y="4846821"/>
                  <a:pt x="4254500" y="4845821"/>
                </a:cubicBezTo>
                <a:lnTo>
                  <a:pt x="4251922" y="4844154"/>
                </a:lnTo>
                <a:lnTo>
                  <a:pt x="4251348" y="4847376"/>
                </a:lnTo>
                <a:cubicBezTo>
                  <a:pt x="4246478" y="4846820"/>
                  <a:pt x="4243041" y="4847376"/>
                  <a:pt x="4239604" y="4846155"/>
                </a:cubicBezTo>
                <a:cubicBezTo>
                  <a:pt x="4238171" y="4843154"/>
                  <a:pt x="4238744" y="4841155"/>
                  <a:pt x="4241036" y="4840155"/>
                </a:cubicBezTo>
                <a:lnTo>
                  <a:pt x="4247052" y="4840044"/>
                </a:lnTo>
                <a:lnTo>
                  <a:pt x="4244760" y="4835268"/>
                </a:lnTo>
                <a:cubicBezTo>
                  <a:pt x="4244473" y="4833158"/>
                  <a:pt x="4244760" y="4831269"/>
                  <a:pt x="4245906" y="4829603"/>
                </a:cubicBezTo>
                <a:cubicBezTo>
                  <a:pt x="4250489" y="4828603"/>
                  <a:pt x="4255359" y="4829825"/>
                  <a:pt x="4258796" y="4832158"/>
                </a:cubicBezTo>
                <a:lnTo>
                  <a:pt x="4265385" y="4840933"/>
                </a:lnTo>
                <a:lnTo>
                  <a:pt x="4267104" y="4830935"/>
                </a:lnTo>
                <a:cubicBezTo>
                  <a:pt x="4271688" y="4819938"/>
                  <a:pt x="4283432" y="4812385"/>
                  <a:pt x="4297756" y="4813829"/>
                </a:cubicBezTo>
                <a:cubicBezTo>
                  <a:pt x="4303772" y="4814939"/>
                  <a:pt x="4308068" y="4816939"/>
                  <a:pt x="4310933" y="4819494"/>
                </a:cubicBezTo>
                <a:lnTo>
                  <a:pt x="4313798" y="4824825"/>
                </a:lnTo>
                <a:lnTo>
                  <a:pt x="4317235" y="4828159"/>
                </a:lnTo>
                <a:cubicBezTo>
                  <a:pt x="4317235" y="4828159"/>
                  <a:pt x="4317235" y="4828159"/>
                  <a:pt x="4316662" y="4827048"/>
                </a:cubicBezTo>
                <a:lnTo>
                  <a:pt x="4320386" y="4821049"/>
                </a:lnTo>
                <a:lnTo>
                  <a:pt x="4318382" y="4820160"/>
                </a:lnTo>
                <a:lnTo>
                  <a:pt x="4321532" y="4819383"/>
                </a:lnTo>
                <a:lnTo>
                  <a:pt x="4323824" y="4815939"/>
                </a:lnTo>
                <a:cubicBezTo>
                  <a:pt x="4326688" y="4812274"/>
                  <a:pt x="4329553" y="4809385"/>
                  <a:pt x="4332418" y="4809163"/>
                </a:cubicBezTo>
                <a:close/>
                <a:moveTo>
                  <a:pt x="3265625" y="4809163"/>
                </a:moveTo>
                <a:cubicBezTo>
                  <a:pt x="3266198" y="4810163"/>
                  <a:pt x="3266771" y="4811274"/>
                  <a:pt x="3265911" y="4812829"/>
                </a:cubicBezTo>
                <a:cubicBezTo>
                  <a:pt x="3264765" y="4814495"/>
                  <a:pt x="3264192" y="4813384"/>
                  <a:pt x="3264765" y="4814495"/>
                </a:cubicBezTo>
                <a:cubicBezTo>
                  <a:pt x="3263906" y="4816049"/>
                  <a:pt x="3265338" y="4815495"/>
                  <a:pt x="3265338" y="4815495"/>
                </a:cubicBezTo>
                <a:cubicBezTo>
                  <a:pt x="3265338" y="4815495"/>
                  <a:pt x="3263906" y="4816049"/>
                  <a:pt x="3263906" y="4816049"/>
                </a:cubicBezTo>
                <a:cubicBezTo>
                  <a:pt x="3263906" y="4816049"/>
                  <a:pt x="3263906" y="4816049"/>
                  <a:pt x="3263620" y="4816495"/>
                </a:cubicBezTo>
                <a:lnTo>
                  <a:pt x="3263047" y="4817717"/>
                </a:lnTo>
                <a:lnTo>
                  <a:pt x="3270495" y="4816384"/>
                </a:lnTo>
                <a:cubicBezTo>
                  <a:pt x="3275366" y="4819271"/>
                  <a:pt x="3283960" y="4816606"/>
                  <a:pt x="3290548" y="4820938"/>
                </a:cubicBezTo>
                <a:cubicBezTo>
                  <a:pt x="3286823" y="4824048"/>
                  <a:pt x="3277943" y="4824825"/>
                  <a:pt x="3269923" y="4824381"/>
                </a:cubicBezTo>
                <a:lnTo>
                  <a:pt x="3261329" y="4823270"/>
                </a:lnTo>
                <a:lnTo>
                  <a:pt x="3261041" y="4823826"/>
                </a:lnTo>
                <a:cubicBezTo>
                  <a:pt x="3261041" y="4824937"/>
                  <a:pt x="3261041" y="4825825"/>
                  <a:pt x="3261041" y="4827158"/>
                </a:cubicBezTo>
                <a:cubicBezTo>
                  <a:pt x="3259036" y="4830380"/>
                  <a:pt x="3257605" y="4830936"/>
                  <a:pt x="3254167" y="4834602"/>
                </a:cubicBezTo>
                <a:cubicBezTo>
                  <a:pt x="3250442" y="4834602"/>
                  <a:pt x="3250443" y="4834490"/>
                  <a:pt x="3249869" y="4833490"/>
                </a:cubicBezTo>
                <a:cubicBezTo>
                  <a:pt x="3250443" y="4834490"/>
                  <a:pt x="3249010" y="4835156"/>
                  <a:pt x="3247864" y="4836711"/>
                </a:cubicBezTo>
                <a:lnTo>
                  <a:pt x="3247292" y="4837711"/>
                </a:lnTo>
                <a:lnTo>
                  <a:pt x="3256458" y="4835379"/>
                </a:lnTo>
                <a:lnTo>
                  <a:pt x="3260468" y="4835267"/>
                </a:lnTo>
                <a:lnTo>
                  <a:pt x="3261042" y="4832713"/>
                </a:lnTo>
                <a:cubicBezTo>
                  <a:pt x="3261901" y="4831380"/>
                  <a:pt x="3263047" y="4830380"/>
                  <a:pt x="3264765" y="4829936"/>
                </a:cubicBezTo>
                <a:cubicBezTo>
                  <a:pt x="3281667" y="4829269"/>
                  <a:pt x="3288255" y="4835712"/>
                  <a:pt x="3285964" y="4840822"/>
                </a:cubicBezTo>
                <a:lnTo>
                  <a:pt x="3284245" y="4842266"/>
                </a:lnTo>
                <a:lnTo>
                  <a:pt x="3294558" y="4852485"/>
                </a:lnTo>
                <a:cubicBezTo>
                  <a:pt x="3276510" y="4858262"/>
                  <a:pt x="3281094" y="4864149"/>
                  <a:pt x="3267630" y="4869925"/>
                </a:cubicBezTo>
                <a:cubicBezTo>
                  <a:pt x="3258750" y="4858262"/>
                  <a:pt x="3236405" y="4872814"/>
                  <a:pt x="3231822" y="4855374"/>
                </a:cubicBezTo>
                <a:lnTo>
                  <a:pt x="3237551" y="4844932"/>
                </a:lnTo>
                <a:lnTo>
                  <a:pt x="3237266" y="4845154"/>
                </a:lnTo>
                <a:cubicBezTo>
                  <a:pt x="3228098" y="4849930"/>
                  <a:pt x="3214061" y="4851042"/>
                  <a:pt x="3198306" y="4842821"/>
                </a:cubicBezTo>
                <a:lnTo>
                  <a:pt x="3198592" y="4841266"/>
                </a:lnTo>
                <a:lnTo>
                  <a:pt x="3196300" y="4846487"/>
                </a:lnTo>
                <a:cubicBezTo>
                  <a:pt x="3193149" y="4847154"/>
                  <a:pt x="3190286" y="4846820"/>
                  <a:pt x="3187706" y="4845821"/>
                </a:cubicBezTo>
                <a:lnTo>
                  <a:pt x="3185128" y="4844154"/>
                </a:lnTo>
                <a:lnTo>
                  <a:pt x="3184556" y="4847375"/>
                </a:lnTo>
                <a:lnTo>
                  <a:pt x="3182264" y="4847265"/>
                </a:lnTo>
                <a:lnTo>
                  <a:pt x="3181404" y="4851486"/>
                </a:lnTo>
                <a:cubicBezTo>
                  <a:pt x="3177108" y="4853153"/>
                  <a:pt x="3173383" y="4856152"/>
                  <a:pt x="3167655" y="4856707"/>
                </a:cubicBezTo>
                <a:cubicBezTo>
                  <a:pt x="3165936" y="4856929"/>
                  <a:pt x="3163643" y="4856818"/>
                  <a:pt x="3161352" y="4856263"/>
                </a:cubicBezTo>
                <a:cubicBezTo>
                  <a:pt x="3165363" y="4846932"/>
                  <a:pt x="3163643" y="4839821"/>
                  <a:pt x="3164504" y="4831046"/>
                </a:cubicBezTo>
                <a:cubicBezTo>
                  <a:pt x="3165936" y="4830713"/>
                  <a:pt x="3167654" y="4830713"/>
                  <a:pt x="3169946" y="4831158"/>
                </a:cubicBezTo>
                <a:cubicBezTo>
                  <a:pt x="3171951" y="4831491"/>
                  <a:pt x="3174529" y="4832269"/>
                  <a:pt x="3177680" y="4833602"/>
                </a:cubicBezTo>
                <a:cubicBezTo>
                  <a:pt x="3175389" y="4835823"/>
                  <a:pt x="3174817" y="4837601"/>
                  <a:pt x="3175389" y="4839156"/>
                </a:cubicBezTo>
                <a:lnTo>
                  <a:pt x="3175961" y="4840044"/>
                </a:lnTo>
                <a:lnTo>
                  <a:pt x="3180259" y="4840044"/>
                </a:lnTo>
                <a:lnTo>
                  <a:pt x="3177967" y="4835268"/>
                </a:lnTo>
                <a:cubicBezTo>
                  <a:pt x="3177680" y="4833157"/>
                  <a:pt x="3177967" y="4831269"/>
                  <a:pt x="3179113" y="4829602"/>
                </a:cubicBezTo>
                <a:cubicBezTo>
                  <a:pt x="3183696" y="4828603"/>
                  <a:pt x="3188567" y="4829825"/>
                  <a:pt x="3192003" y="4832157"/>
                </a:cubicBezTo>
                <a:lnTo>
                  <a:pt x="3198592" y="4840933"/>
                </a:lnTo>
                <a:lnTo>
                  <a:pt x="3200312" y="4830935"/>
                </a:lnTo>
                <a:cubicBezTo>
                  <a:pt x="3204894" y="4819937"/>
                  <a:pt x="3216639" y="4812385"/>
                  <a:pt x="3230964" y="4813829"/>
                </a:cubicBezTo>
                <a:cubicBezTo>
                  <a:pt x="3236978" y="4814939"/>
                  <a:pt x="3241275" y="4816939"/>
                  <a:pt x="3244140" y="4819494"/>
                </a:cubicBezTo>
                <a:lnTo>
                  <a:pt x="3247005" y="4824826"/>
                </a:lnTo>
                <a:lnTo>
                  <a:pt x="3250442" y="4828159"/>
                </a:lnTo>
                <a:cubicBezTo>
                  <a:pt x="3250442" y="4828159"/>
                  <a:pt x="3250442" y="4828159"/>
                  <a:pt x="3249870" y="4827047"/>
                </a:cubicBezTo>
                <a:lnTo>
                  <a:pt x="3253593" y="4821048"/>
                </a:lnTo>
                <a:lnTo>
                  <a:pt x="3251589" y="4820160"/>
                </a:lnTo>
                <a:lnTo>
                  <a:pt x="3254739" y="4819383"/>
                </a:lnTo>
                <a:lnTo>
                  <a:pt x="3257031" y="4815939"/>
                </a:lnTo>
                <a:cubicBezTo>
                  <a:pt x="3259897" y="4812274"/>
                  <a:pt x="3262760" y="4809385"/>
                  <a:pt x="3265625" y="4809163"/>
                </a:cubicBezTo>
                <a:close/>
                <a:moveTo>
                  <a:pt x="2585845" y="4807275"/>
                </a:moveTo>
                <a:cubicBezTo>
                  <a:pt x="2589283" y="4807497"/>
                  <a:pt x="2591574" y="4810385"/>
                  <a:pt x="2593579" y="4813273"/>
                </a:cubicBezTo>
                <a:cubicBezTo>
                  <a:pt x="2590429" y="4814606"/>
                  <a:pt x="2590428" y="4817161"/>
                  <a:pt x="2584413" y="4817161"/>
                </a:cubicBezTo>
                <a:cubicBezTo>
                  <a:pt x="2582980" y="4813940"/>
                  <a:pt x="2582980" y="4811274"/>
                  <a:pt x="2581834" y="4808053"/>
                </a:cubicBezTo>
                <a:cubicBezTo>
                  <a:pt x="2583268" y="4807497"/>
                  <a:pt x="2584699" y="4807275"/>
                  <a:pt x="2585845" y="4807275"/>
                </a:cubicBezTo>
                <a:close/>
                <a:moveTo>
                  <a:pt x="4960348" y="4807275"/>
                </a:moveTo>
                <a:cubicBezTo>
                  <a:pt x="4963785" y="4807496"/>
                  <a:pt x="4966077" y="4810385"/>
                  <a:pt x="4968369" y="4813273"/>
                </a:cubicBezTo>
                <a:cubicBezTo>
                  <a:pt x="4965218" y="4814606"/>
                  <a:pt x="4964931" y="4817161"/>
                  <a:pt x="4958916" y="4817161"/>
                </a:cubicBezTo>
                <a:cubicBezTo>
                  <a:pt x="4957483" y="4813940"/>
                  <a:pt x="4957770" y="4811274"/>
                  <a:pt x="4956337" y="4808052"/>
                </a:cubicBezTo>
                <a:cubicBezTo>
                  <a:pt x="4957770" y="4807496"/>
                  <a:pt x="4959202" y="4807275"/>
                  <a:pt x="4960348" y="4807275"/>
                </a:cubicBezTo>
                <a:close/>
                <a:moveTo>
                  <a:pt x="3652638" y="4807275"/>
                </a:moveTo>
                <a:cubicBezTo>
                  <a:pt x="3656077" y="4807496"/>
                  <a:pt x="3658367" y="4810385"/>
                  <a:pt x="3660373" y="4813273"/>
                </a:cubicBezTo>
                <a:cubicBezTo>
                  <a:pt x="3657222" y="4814607"/>
                  <a:pt x="3657222" y="4817161"/>
                  <a:pt x="3651206" y="4817161"/>
                </a:cubicBezTo>
                <a:cubicBezTo>
                  <a:pt x="3649773" y="4813940"/>
                  <a:pt x="3650060" y="4811274"/>
                  <a:pt x="3648628" y="4808052"/>
                </a:cubicBezTo>
                <a:cubicBezTo>
                  <a:pt x="3650061" y="4807496"/>
                  <a:pt x="3651492" y="4807275"/>
                  <a:pt x="3652638" y="4807275"/>
                </a:cubicBezTo>
                <a:close/>
                <a:moveTo>
                  <a:pt x="2965697" y="4803720"/>
                </a:moveTo>
                <a:cubicBezTo>
                  <a:pt x="2966270" y="4804831"/>
                  <a:pt x="2967703" y="4806942"/>
                  <a:pt x="2966557" y="4808607"/>
                </a:cubicBezTo>
                <a:cubicBezTo>
                  <a:pt x="2967415" y="4809719"/>
                  <a:pt x="2961974" y="4810163"/>
                  <a:pt x="2961974" y="4810163"/>
                </a:cubicBezTo>
                <a:cubicBezTo>
                  <a:pt x="2959681" y="4809608"/>
                  <a:pt x="2961114" y="4805387"/>
                  <a:pt x="2960541" y="4804275"/>
                </a:cubicBezTo>
                <a:cubicBezTo>
                  <a:pt x="2961973" y="4803720"/>
                  <a:pt x="2964265" y="4804275"/>
                  <a:pt x="2965697" y="4803720"/>
                </a:cubicBezTo>
                <a:close/>
                <a:moveTo>
                  <a:pt x="5340486" y="4803720"/>
                </a:moveTo>
                <a:cubicBezTo>
                  <a:pt x="5341059" y="4804831"/>
                  <a:pt x="5342205" y="4806941"/>
                  <a:pt x="5341345" y="4808608"/>
                </a:cubicBezTo>
                <a:cubicBezTo>
                  <a:pt x="5341918" y="4809719"/>
                  <a:pt x="5336476" y="4810163"/>
                  <a:pt x="5336476" y="4810163"/>
                </a:cubicBezTo>
                <a:cubicBezTo>
                  <a:pt x="5334184" y="4809607"/>
                  <a:pt x="5335616" y="4805386"/>
                  <a:pt x="5335043" y="4804275"/>
                </a:cubicBezTo>
                <a:cubicBezTo>
                  <a:pt x="5336476" y="4803720"/>
                  <a:pt x="5338767" y="4804275"/>
                  <a:pt x="5340486" y="4803720"/>
                </a:cubicBezTo>
                <a:close/>
                <a:moveTo>
                  <a:pt x="4032490" y="4803719"/>
                </a:moveTo>
                <a:cubicBezTo>
                  <a:pt x="4033062" y="4804831"/>
                  <a:pt x="4034496" y="4806941"/>
                  <a:pt x="4033349" y="4808607"/>
                </a:cubicBezTo>
                <a:cubicBezTo>
                  <a:pt x="4034208" y="4809718"/>
                  <a:pt x="4028766" y="4810163"/>
                  <a:pt x="4028766" y="4810163"/>
                </a:cubicBezTo>
                <a:cubicBezTo>
                  <a:pt x="4026474" y="4809607"/>
                  <a:pt x="4027906" y="4805387"/>
                  <a:pt x="4027333" y="4804275"/>
                </a:cubicBezTo>
                <a:cubicBezTo>
                  <a:pt x="4028766" y="4803720"/>
                  <a:pt x="4031058" y="4804275"/>
                  <a:pt x="4032490" y="4803719"/>
                </a:cubicBezTo>
                <a:close/>
                <a:moveTo>
                  <a:pt x="5761875" y="4801943"/>
                </a:moveTo>
                <a:cubicBezTo>
                  <a:pt x="5765026" y="4804720"/>
                  <a:pt x="5763021" y="4807942"/>
                  <a:pt x="5764453" y="4809274"/>
                </a:cubicBezTo>
                <a:cubicBezTo>
                  <a:pt x="5762734" y="4809163"/>
                  <a:pt x="5759584" y="4808719"/>
                  <a:pt x="5757578" y="4810829"/>
                </a:cubicBezTo>
                <a:cubicBezTo>
                  <a:pt x="5754428" y="4808163"/>
                  <a:pt x="5751276" y="4805498"/>
                  <a:pt x="5755000" y="4803498"/>
                </a:cubicBezTo>
                <a:cubicBezTo>
                  <a:pt x="5756718" y="4802609"/>
                  <a:pt x="5758438" y="4801610"/>
                  <a:pt x="5761875" y="4801943"/>
                </a:cubicBezTo>
                <a:close/>
                <a:moveTo>
                  <a:pt x="3781547" y="4801276"/>
                </a:moveTo>
                <a:cubicBezTo>
                  <a:pt x="3783265" y="4802276"/>
                  <a:pt x="3784412" y="4803498"/>
                  <a:pt x="3785271" y="4804831"/>
                </a:cubicBezTo>
                <a:cubicBezTo>
                  <a:pt x="3788422" y="4812052"/>
                  <a:pt x="3776964" y="4823604"/>
                  <a:pt x="3766937" y="4830713"/>
                </a:cubicBezTo>
                <a:lnTo>
                  <a:pt x="3763500" y="4832713"/>
                </a:lnTo>
                <a:lnTo>
                  <a:pt x="3763500" y="4834490"/>
                </a:lnTo>
                <a:cubicBezTo>
                  <a:pt x="3763500" y="4834490"/>
                  <a:pt x="3764359" y="4835601"/>
                  <a:pt x="3763500" y="4837268"/>
                </a:cubicBezTo>
                <a:cubicBezTo>
                  <a:pt x="3762640" y="4838822"/>
                  <a:pt x="3762067" y="4840489"/>
                  <a:pt x="3758057" y="4840821"/>
                </a:cubicBezTo>
                <a:cubicBezTo>
                  <a:pt x="3757770" y="4838267"/>
                  <a:pt x="3757198" y="4836157"/>
                  <a:pt x="3756625" y="4834268"/>
                </a:cubicBezTo>
                <a:lnTo>
                  <a:pt x="3755765" y="4831158"/>
                </a:lnTo>
                <a:lnTo>
                  <a:pt x="3756625" y="4835379"/>
                </a:lnTo>
                <a:cubicBezTo>
                  <a:pt x="3755765" y="4839711"/>
                  <a:pt x="3752041" y="4843821"/>
                  <a:pt x="3746598" y="4844821"/>
                </a:cubicBezTo>
                <a:cubicBezTo>
                  <a:pt x="3743162" y="4840710"/>
                  <a:pt x="3740869" y="4837045"/>
                  <a:pt x="3740869" y="4833824"/>
                </a:cubicBezTo>
                <a:lnTo>
                  <a:pt x="3744307" y="4830046"/>
                </a:lnTo>
                <a:lnTo>
                  <a:pt x="3728838" y="4828047"/>
                </a:lnTo>
                <a:cubicBezTo>
                  <a:pt x="3722822" y="4826714"/>
                  <a:pt x="3717952" y="4824604"/>
                  <a:pt x="3716520" y="4820715"/>
                </a:cubicBezTo>
                <a:cubicBezTo>
                  <a:pt x="3718239" y="4819494"/>
                  <a:pt x="3720530" y="4818716"/>
                  <a:pt x="3722823" y="4818494"/>
                </a:cubicBezTo>
                <a:cubicBezTo>
                  <a:pt x="3725401" y="4818161"/>
                  <a:pt x="3728265" y="4818383"/>
                  <a:pt x="3730843" y="4818717"/>
                </a:cubicBezTo>
                <a:cubicBezTo>
                  <a:pt x="3736572" y="4819494"/>
                  <a:pt x="3742301" y="4821383"/>
                  <a:pt x="3746598" y="4823049"/>
                </a:cubicBezTo>
                <a:lnTo>
                  <a:pt x="3747744" y="4826270"/>
                </a:lnTo>
                <a:lnTo>
                  <a:pt x="3748890" y="4824937"/>
                </a:lnTo>
                <a:lnTo>
                  <a:pt x="3755192" y="4828936"/>
                </a:lnTo>
                <a:lnTo>
                  <a:pt x="3753474" y="4818717"/>
                </a:lnTo>
                <a:cubicBezTo>
                  <a:pt x="3754906" y="4818050"/>
                  <a:pt x="3755765" y="4819050"/>
                  <a:pt x="3757198" y="4818494"/>
                </a:cubicBezTo>
                <a:cubicBezTo>
                  <a:pt x="3758343" y="4818605"/>
                  <a:pt x="3759489" y="4819605"/>
                  <a:pt x="3760350" y="4820826"/>
                </a:cubicBezTo>
                <a:lnTo>
                  <a:pt x="3762354" y="4825492"/>
                </a:lnTo>
                <a:lnTo>
                  <a:pt x="3766651" y="4817384"/>
                </a:lnTo>
                <a:cubicBezTo>
                  <a:pt x="3770661" y="4810829"/>
                  <a:pt x="3775531" y="4804830"/>
                  <a:pt x="3781547" y="4801276"/>
                </a:cubicBezTo>
                <a:close/>
                <a:moveTo>
                  <a:pt x="5089257" y="4801276"/>
                </a:moveTo>
                <a:cubicBezTo>
                  <a:pt x="5091263" y="4802276"/>
                  <a:pt x="5092122" y="4803498"/>
                  <a:pt x="5092981" y="4804831"/>
                </a:cubicBezTo>
                <a:cubicBezTo>
                  <a:pt x="5097278" y="4814495"/>
                  <a:pt x="5075506" y="4831935"/>
                  <a:pt x="5065766" y="4835934"/>
                </a:cubicBezTo>
                <a:cubicBezTo>
                  <a:pt x="5069778" y="4825492"/>
                  <a:pt x="5077225" y="4808497"/>
                  <a:pt x="5089257" y="4801276"/>
                </a:cubicBezTo>
                <a:close/>
                <a:moveTo>
                  <a:pt x="2714754" y="4801276"/>
                </a:moveTo>
                <a:cubicBezTo>
                  <a:pt x="2716474" y="4802276"/>
                  <a:pt x="2717618" y="4803498"/>
                  <a:pt x="2718479" y="4804831"/>
                </a:cubicBezTo>
                <a:cubicBezTo>
                  <a:pt x="2722775" y="4814494"/>
                  <a:pt x="2700718" y="4831935"/>
                  <a:pt x="2691264" y="4835934"/>
                </a:cubicBezTo>
                <a:cubicBezTo>
                  <a:pt x="2695275" y="4825492"/>
                  <a:pt x="2702722" y="4808496"/>
                  <a:pt x="2714754" y="4801276"/>
                </a:cubicBezTo>
                <a:close/>
                <a:moveTo>
                  <a:pt x="2865721" y="4799166"/>
                </a:moveTo>
                <a:cubicBezTo>
                  <a:pt x="2866866" y="4799499"/>
                  <a:pt x="2867154" y="4799943"/>
                  <a:pt x="2867154" y="4800721"/>
                </a:cubicBezTo>
                <a:cubicBezTo>
                  <a:pt x="2867153" y="4801388"/>
                  <a:pt x="2866580" y="4802165"/>
                  <a:pt x="2866008" y="4802942"/>
                </a:cubicBezTo>
                <a:cubicBezTo>
                  <a:pt x="2865148" y="4804609"/>
                  <a:pt x="2864002" y="4806164"/>
                  <a:pt x="2863142" y="4807830"/>
                </a:cubicBezTo>
                <a:cubicBezTo>
                  <a:pt x="2863142" y="4807830"/>
                  <a:pt x="2863142" y="4807830"/>
                  <a:pt x="2865721" y="4799166"/>
                </a:cubicBezTo>
                <a:close/>
                <a:moveTo>
                  <a:pt x="5240510" y="4799166"/>
                </a:moveTo>
                <a:cubicBezTo>
                  <a:pt x="5241656" y="4799499"/>
                  <a:pt x="5241656" y="4799943"/>
                  <a:pt x="5241657" y="4800721"/>
                </a:cubicBezTo>
                <a:cubicBezTo>
                  <a:pt x="5241656" y="4801387"/>
                  <a:pt x="5241083" y="4802165"/>
                  <a:pt x="5240796" y="4802943"/>
                </a:cubicBezTo>
                <a:cubicBezTo>
                  <a:pt x="5239650" y="4804609"/>
                  <a:pt x="5238791" y="4806164"/>
                  <a:pt x="5237932" y="4807830"/>
                </a:cubicBezTo>
                <a:cubicBezTo>
                  <a:pt x="5237932" y="4807830"/>
                  <a:pt x="5237932" y="4807830"/>
                  <a:pt x="5240510" y="4799166"/>
                </a:cubicBezTo>
                <a:close/>
                <a:moveTo>
                  <a:pt x="3932514" y="4799166"/>
                </a:moveTo>
                <a:cubicBezTo>
                  <a:pt x="3933660" y="4799499"/>
                  <a:pt x="3933946" y="4799944"/>
                  <a:pt x="3933946" y="4800721"/>
                </a:cubicBezTo>
                <a:cubicBezTo>
                  <a:pt x="3933946" y="4801387"/>
                  <a:pt x="3933373" y="4802165"/>
                  <a:pt x="3933086" y="4802942"/>
                </a:cubicBezTo>
                <a:cubicBezTo>
                  <a:pt x="3931941" y="4804609"/>
                  <a:pt x="3930795" y="4806164"/>
                  <a:pt x="3929936" y="4807830"/>
                </a:cubicBezTo>
                <a:cubicBezTo>
                  <a:pt x="3929936" y="4807830"/>
                  <a:pt x="3929936" y="4807830"/>
                  <a:pt x="3932514" y="4799166"/>
                </a:cubicBezTo>
                <a:close/>
                <a:moveTo>
                  <a:pt x="4388851" y="4795834"/>
                </a:moveTo>
                <a:cubicBezTo>
                  <a:pt x="4396586" y="4800943"/>
                  <a:pt x="4392289" y="4809496"/>
                  <a:pt x="4384841" y="4812385"/>
                </a:cubicBezTo>
                <a:cubicBezTo>
                  <a:pt x="4382263" y="4813273"/>
                  <a:pt x="4379398" y="4813607"/>
                  <a:pt x="4376247" y="4812829"/>
                </a:cubicBezTo>
                <a:cubicBezTo>
                  <a:pt x="4366221" y="4806164"/>
                  <a:pt x="4378252" y="4795389"/>
                  <a:pt x="4388851" y="4795834"/>
                </a:cubicBezTo>
                <a:close/>
                <a:moveTo>
                  <a:pt x="2014350" y="4795834"/>
                </a:moveTo>
                <a:cubicBezTo>
                  <a:pt x="2022083" y="4800943"/>
                  <a:pt x="2017787" y="4809497"/>
                  <a:pt x="2010053" y="4812385"/>
                </a:cubicBezTo>
                <a:cubicBezTo>
                  <a:pt x="2007761" y="4813273"/>
                  <a:pt x="2004896" y="4813606"/>
                  <a:pt x="2001745" y="4812829"/>
                </a:cubicBezTo>
                <a:cubicBezTo>
                  <a:pt x="1991718" y="4806164"/>
                  <a:pt x="2003750" y="4795389"/>
                  <a:pt x="2014350" y="4795834"/>
                </a:cubicBezTo>
                <a:close/>
                <a:moveTo>
                  <a:pt x="5209285" y="4795723"/>
                </a:moveTo>
                <a:cubicBezTo>
                  <a:pt x="5211864" y="4795611"/>
                  <a:pt x="5214728" y="4796278"/>
                  <a:pt x="5217593" y="4796944"/>
                </a:cubicBezTo>
                <a:cubicBezTo>
                  <a:pt x="5217020" y="4799499"/>
                  <a:pt x="5219884" y="4801387"/>
                  <a:pt x="5216160" y="4804497"/>
                </a:cubicBezTo>
                <a:cubicBezTo>
                  <a:pt x="5211864" y="4802832"/>
                  <a:pt x="5208999" y="4800943"/>
                  <a:pt x="5204988" y="4799277"/>
                </a:cubicBezTo>
                <a:cubicBezTo>
                  <a:pt x="5205275" y="4796721"/>
                  <a:pt x="5206994" y="4795834"/>
                  <a:pt x="5209285" y="4795723"/>
                </a:cubicBezTo>
                <a:close/>
                <a:moveTo>
                  <a:pt x="3901576" y="4795723"/>
                </a:moveTo>
                <a:cubicBezTo>
                  <a:pt x="3904154" y="4795611"/>
                  <a:pt x="3907018" y="4796277"/>
                  <a:pt x="3909883" y="4796944"/>
                </a:cubicBezTo>
                <a:cubicBezTo>
                  <a:pt x="3909310" y="4799499"/>
                  <a:pt x="3911888" y="4801388"/>
                  <a:pt x="3908450" y="4804497"/>
                </a:cubicBezTo>
                <a:cubicBezTo>
                  <a:pt x="3904154" y="4802831"/>
                  <a:pt x="3901289" y="4800943"/>
                  <a:pt x="3897278" y="4799277"/>
                </a:cubicBezTo>
                <a:cubicBezTo>
                  <a:pt x="3897565" y="4796722"/>
                  <a:pt x="3899284" y="4795834"/>
                  <a:pt x="3901576" y="4795723"/>
                </a:cubicBezTo>
                <a:close/>
                <a:moveTo>
                  <a:pt x="2834782" y="4795722"/>
                </a:moveTo>
                <a:cubicBezTo>
                  <a:pt x="2837361" y="4795611"/>
                  <a:pt x="2840225" y="4796277"/>
                  <a:pt x="2843090" y="4796944"/>
                </a:cubicBezTo>
                <a:cubicBezTo>
                  <a:pt x="2842517" y="4799499"/>
                  <a:pt x="2845095" y="4801388"/>
                  <a:pt x="2841658" y="4804497"/>
                </a:cubicBezTo>
                <a:cubicBezTo>
                  <a:pt x="2837361" y="4802831"/>
                  <a:pt x="2834496" y="4800943"/>
                  <a:pt x="2830199" y="4799276"/>
                </a:cubicBezTo>
                <a:cubicBezTo>
                  <a:pt x="2830772" y="4796721"/>
                  <a:pt x="2832491" y="4795833"/>
                  <a:pt x="2834782" y="4795722"/>
                </a:cubicBezTo>
                <a:close/>
                <a:moveTo>
                  <a:pt x="5985890" y="4795611"/>
                </a:moveTo>
                <a:cubicBezTo>
                  <a:pt x="5991046" y="4800387"/>
                  <a:pt x="5997062" y="4801276"/>
                  <a:pt x="6000500" y="4804387"/>
                </a:cubicBezTo>
                <a:cubicBezTo>
                  <a:pt x="6001646" y="4805497"/>
                  <a:pt x="6002218" y="4806830"/>
                  <a:pt x="6002792" y="4808608"/>
                </a:cubicBezTo>
                <a:cubicBezTo>
                  <a:pt x="5991620" y="4818717"/>
                  <a:pt x="5974145" y="4811718"/>
                  <a:pt x="5976437" y="4803498"/>
                </a:cubicBezTo>
                <a:cubicBezTo>
                  <a:pt x="5977010" y="4800832"/>
                  <a:pt x="5979874" y="4797944"/>
                  <a:pt x="5985890" y="4795611"/>
                </a:cubicBezTo>
                <a:close/>
                <a:moveTo>
                  <a:pt x="4946024" y="4795611"/>
                </a:moveTo>
                <a:lnTo>
                  <a:pt x="4945738" y="4796278"/>
                </a:lnTo>
                <a:lnTo>
                  <a:pt x="4946598" y="4796277"/>
                </a:lnTo>
                <a:close/>
                <a:moveTo>
                  <a:pt x="5462520" y="4795500"/>
                </a:moveTo>
                <a:cubicBezTo>
                  <a:pt x="5463379" y="4795056"/>
                  <a:pt x="5463666" y="4794945"/>
                  <a:pt x="5463952" y="4795500"/>
                </a:cubicBezTo>
                <a:cubicBezTo>
                  <a:pt x="5465384" y="4795056"/>
                  <a:pt x="5466244" y="4796055"/>
                  <a:pt x="5464525" y="4796611"/>
                </a:cubicBezTo>
                <a:cubicBezTo>
                  <a:pt x="5464525" y="4799166"/>
                  <a:pt x="5460228" y="4798055"/>
                  <a:pt x="5457936" y="4797500"/>
                </a:cubicBezTo>
                <a:cubicBezTo>
                  <a:pt x="5460228" y="4796722"/>
                  <a:pt x="5461660" y="4795944"/>
                  <a:pt x="5462520" y="4795500"/>
                </a:cubicBezTo>
                <a:close/>
                <a:moveTo>
                  <a:pt x="4156242" y="4795500"/>
                </a:moveTo>
                <a:cubicBezTo>
                  <a:pt x="4157674" y="4795055"/>
                  <a:pt x="4158248" y="4796055"/>
                  <a:pt x="4156815" y="4796611"/>
                </a:cubicBezTo>
                <a:cubicBezTo>
                  <a:pt x="4156529" y="4799166"/>
                  <a:pt x="4152518" y="4798055"/>
                  <a:pt x="4150226" y="4797500"/>
                </a:cubicBezTo>
                <a:cubicBezTo>
                  <a:pt x="4152518" y="4796722"/>
                  <a:pt x="4153950" y="4795944"/>
                  <a:pt x="4154810" y="4795500"/>
                </a:cubicBezTo>
                <a:cubicBezTo>
                  <a:pt x="4155669" y="4795055"/>
                  <a:pt x="4155956" y="4794945"/>
                  <a:pt x="4156242" y="4795500"/>
                </a:cubicBezTo>
                <a:close/>
                <a:moveTo>
                  <a:pt x="3088018" y="4795500"/>
                </a:moveTo>
                <a:cubicBezTo>
                  <a:pt x="3088876" y="4795055"/>
                  <a:pt x="3089163" y="4794944"/>
                  <a:pt x="3089449" y="4795500"/>
                </a:cubicBezTo>
                <a:cubicBezTo>
                  <a:pt x="3090882" y="4795055"/>
                  <a:pt x="3091454" y="4796055"/>
                  <a:pt x="3090022" y="4796611"/>
                </a:cubicBezTo>
                <a:cubicBezTo>
                  <a:pt x="3089736" y="4799166"/>
                  <a:pt x="3085725" y="4798055"/>
                  <a:pt x="3083434" y="4797500"/>
                </a:cubicBezTo>
                <a:cubicBezTo>
                  <a:pt x="3085725" y="4796721"/>
                  <a:pt x="3087158" y="4795944"/>
                  <a:pt x="3088018" y="4795500"/>
                </a:cubicBezTo>
                <a:close/>
                <a:moveTo>
                  <a:pt x="5449915" y="4793834"/>
                </a:moveTo>
                <a:cubicBezTo>
                  <a:pt x="5449629" y="4797166"/>
                  <a:pt x="5450488" y="4799833"/>
                  <a:pt x="5450488" y="4801499"/>
                </a:cubicBezTo>
                <a:cubicBezTo>
                  <a:pt x="5443040" y="4802387"/>
                  <a:pt x="5438457" y="4800165"/>
                  <a:pt x="5439030" y="4795277"/>
                </a:cubicBezTo>
                <a:cubicBezTo>
                  <a:pt x="5443900" y="4795723"/>
                  <a:pt x="5445046" y="4793389"/>
                  <a:pt x="5449915" y="4793834"/>
                </a:cubicBezTo>
                <a:close/>
                <a:moveTo>
                  <a:pt x="4142206" y="4793834"/>
                </a:moveTo>
                <a:cubicBezTo>
                  <a:pt x="4141919" y="4797165"/>
                  <a:pt x="4142778" y="4799833"/>
                  <a:pt x="4142778" y="4801498"/>
                </a:cubicBezTo>
                <a:cubicBezTo>
                  <a:pt x="4135330" y="4802387"/>
                  <a:pt x="4130747" y="4800165"/>
                  <a:pt x="4131034" y="4795278"/>
                </a:cubicBezTo>
                <a:cubicBezTo>
                  <a:pt x="4135903" y="4795722"/>
                  <a:pt x="4137336" y="4793389"/>
                  <a:pt x="4142206" y="4793834"/>
                </a:cubicBezTo>
                <a:close/>
                <a:moveTo>
                  <a:pt x="3075412" y="4793834"/>
                </a:moveTo>
                <a:lnTo>
                  <a:pt x="3075412" y="4796944"/>
                </a:lnTo>
                <a:lnTo>
                  <a:pt x="3081142" y="4795834"/>
                </a:lnTo>
                <a:cubicBezTo>
                  <a:pt x="3088876" y="4800943"/>
                  <a:pt x="3084579" y="4809497"/>
                  <a:pt x="3076846" y="4812385"/>
                </a:cubicBezTo>
                <a:cubicBezTo>
                  <a:pt x="3074554" y="4813273"/>
                  <a:pt x="3071688" y="4813606"/>
                  <a:pt x="3068538" y="4812829"/>
                </a:cubicBezTo>
                <a:cubicBezTo>
                  <a:pt x="3063382" y="4809496"/>
                  <a:pt x="3063954" y="4805053"/>
                  <a:pt x="3067106" y="4801610"/>
                </a:cubicBezTo>
                <a:lnTo>
                  <a:pt x="3068252" y="4800721"/>
                </a:lnTo>
                <a:lnTo>
                  <a:pt x="3067106" y="4800610"/>
                </a:lnTo>
                <a:cubicBezTo>
                  <a:pt x="3065101" y="4799499"/>
                  <a:pt x="3064240" y="4797722"/>
                  <a:pt x="3064240" y="4795277"/>
                </a:cubicBezTo>
                <a:cubicBezTo>
                  <a:pt x="3069111" y="4795723"/>
                  <a:pt x="3070543" y="4793389"/>
                  <a:pt x="3075412" y="4793834"/>
                </a:cubicBezTo>
                <a:close/>
                <a:moveTo>
                  <a:pt x="2491313" y="4792945"/>
                </a:moveTo>
                <a:cubicBezTo>
                  <a:pt x="2491312" y="4794167"/>
                  <a:pt x="2492744" y="4796833"/>
                  <a:pt x="2491025" y="4796611"/>
                </a:cubicBezTo>
                <a:cubicBezTo>
                  <a:pt x="2491025" y="4797832"/>
                  <a:pt x="2487875" y="4797500"/>
                  <a:pt x="2487875" y="4797500"/>
                </a:cubicBezTo>
                <a:cubicBezTo>
                  <a:pt x="2487874" y="4798721"/>
                  <a:pt x="2487589" y="4800054"/>
                  <a:pt x="2486155" y="4801054"/>
                </a:cubicBezTo>
                <a:cubicBezTo>
                  <a:pt x="2484438" y="4799721"/>
                  <a:pt x="2484437" y="4800943"/>
                  <a:pt x="2482718" y="4800721"/>
                </a:cubicBezTo>
                <a:cubicBezTo>
                  <a:pt x="2484438" y="4799721"/>
                  <a:pt x="2484437" y="4796055"/>
                  <a:pt x="2486155" y="4793834"/>
                </a:cubicBezTo>
                <a:cubicBezTo>
                  <a:pt x="2487875" y="4793945"/>
                  <a:pt x="2489594" y="4792835"/>
                  <a:pt x="2491313" y="4792945"/>
                </a:cubicBezTo>
                <a:close/>
                <a:moveTo>
                  <a:pt x="3558106" y="4792945"/>
                </a:moveTo>
                <a:cubicBezTo>
                  <a:pt x="3558105" y="4794167"/>
                  <a:pt x="3559537" y="4796833"/>
                  <a:pt x="3557818" y="4796611"/>
                </a:cubicBezTo>
                <a:cubicBezTo>
                  <a:pt x="3557818" y="4797833"/>
                  <a:pt x="3554668" y="4797500"/>
                  <a:pt x="3554668" y="4797500"/>
                </a:cubicBezTo>
                <a:cubicBezTo>
                  <a:pt x="3554667" y="4798722"/>
                  <a:pt x="3554381" y="4800054"/>
                  <a:pt x="3552949" y="4801054"/>
                </a:cubicBezTo>
                <a:cubicBezTo>
                  <a:pt x="3551231" y="4799721"/>
                  <a:pt x="3551230" y="4800943"/>
                  <a:pt x="3549511" y="4800721"/>
                </a:cubicBezTo>
                <a:cubicBezTo>
                  <a:pt x="3551231" y="4799721"/>
                  <a:pt x="3551230" y="4796055"/>
                  <a:pt x="3552949" y="4793834"/>
                </a:cubicBezTo>
                <a:cubicBezTo>
                  <a:pt x="3554668" y="4793945"/>
                  <a:pt x="3556386" y="4792834"/>
                  <a:pt x="3558106" y="4792945"/>
                </a:cubicBezTo>
                <a:close/>
                <a:moveTo>
                  <a:pt x="5331319" y="4791723"/>
                </a:moveTo>
                <a:cubicBezTo>
                  <a:pt x="5333038" y="4791834"/>
                  <a:pt x="5334757" y="4791945"/>
                  <a:pt x="5335330" y="4792612"/>
                </a:cubicBezTo>
                <a:cubicBezTo>
                  <a:pt x="5336189" y="4793279"/>
                  <a:pt x="5336477" y="4794500"/>
                  <a:pt x="5335902" y="4796611"/>
                </a:cubicBezTo>
                <a:cubicBezTo>
                  <a:pt x="5335902" y="4796611"/>
                  <a:pt x="5334470" y="4797055"/>
                  <a:pt x="5334470" y="4797055"/>
                </a:cubicBezTo>
                <a:cubicBezTo>
                  <a:pt x="5328741" y="4796500"/>
                  <a:pt x="5329600" y="4794945"/>
                  <a:pt x="5331319" y="4791723"/>
                </a:cubicBezTo>
                <a:close/>
                <a:moveTo>
                  <a:pt x="4023609" y="4791723"/>
                </a:moveTo>
                <a:cubicBezTo>
                  <a:pt x="4025328" y="4791834"/>
                  <a:pt x="4027047" y="4791945"/>
                  <a:pt x="4027620" y="4792612"/>
                </a:cubicBezTo>
                <a:cubicBezTo>
                  <a:pt x="4028479" y="4793278"/>
                  <a:pt x="4028766" y="4794500"/>
                  <a:pt x="4028193" y="4796611"/>
                </a:cubicBezTo>
                <a:cubicBezTo>
                  <a:pt x="4028193" y="4796611"/>
                  <a:pt x="4026760" y="4797055"/>
                  <a:pt x="4026760" y="4797055"/>
                </a:cubicBezTo>
                <a:cubicBezTo>
                  <a:pt x="4021031" y="4796500"/>
                  <a:pt x="4021890" y="4794945"/>
                  <a:pt x="4023609" y="4791723"/>
                </a:cubicBezTo>
                <a:close/>
                <a:moveTo>
                  <a:pt x="2956817" y="4791723"/>
                </a:moveTo>
                <a:cubicBezTo>
                  <a:pt x="2958536" y="4791833"/>
                  <a:pt x="2959967" y="4791945"/>
                  <a:pt x="2960827" y="4792611"/>
                </a:cubicBezTo>
                <a:cubicBezTo>
                  <a:pt x="2961686" y="4793278"/>
                  <a:pt x="2961973" y="4794500"/>
                  <a:pt x="2961401" y="4796611"/>
                </a:cubicBezTo>
                <a:cubicBezTo>
                  <a:pt x="2961401" y="4796611"/>
                  <a:pt x="2959967" y="4797055"/>
                  <a:pt x="2959967" y="4797055"/>
                </a:cubicBezTo>
                <a:cubicBezTo>
                  <a:pt x="2953952" y="4796500"/>
                  <a:pt x="2955097" y="4794945"/>
                  <a:pt x="2956817" y="4791723"/>
                </a:cubicBezTo>
                <a:close/>
                <a:moveTo>
                  <a:pt x="4197779" y="4791501"/>
                </a:moveTo>
                <a:cubicBezTo>
                  <a:pt x="4200644" y="4791501"/>
                  <a:pt x="4203795" y="4792056"/>
                  <a:pt x="4207233" y="4793723"/>
                </a:cubicBezTo>
                <a:cubicBezTo>
                  <a:pt x="4206946" y="4795389"/>
                  <a:pt x="4206946" y="4797055"/>
                  <a:pt x="4206660" y="4798610"/>
                </a:cubicBezTo>
                <a:cubicBezTo>
                  <a:pt x="4195774" y="4798388"/>
                  <a:pt x="4189472" y="4801831"/>
                  <a:pt x="4181165" y="4801831"/>
                </a:cubicBezTo>
                <a:cubicBezTo>
                  <a:pt x="4184029" y="4797721"/>
                  <a:pt x="4189472" y="4791612"/>
                  <a:pt x="4197779" y="4791501"/>
                </a:cubicBezTo>
                <a:close/>
                <a:moveTo>
                  <a:pt x="3130988" y="4791501"/>
                </a:moveTo>
                <a:cubicBezTo>
                  <a:pt x="3133851" y="4791501"/>
                  <a:pt x="3137002" y="4792057"/>
                  <a:pt x="3140440" y="4793722"/>
                </a:cubicBezTo>
                <a:cubicBezTo>
                  <a:pt x="3140154" y="4795389"/>
                  <a:pt x="3140154" y="4797055"/>
                  <a:pt x="3139867" y="4798610"/>
                </a:cubicBezTo>
                <a:cubicBezTo>
                  <a:pt x="3128981" y="4798387"/>
                  <a:pt x="3122679" y="4801832"/>
                  <a:pt x="3114085" y="4801831"/>
                </a:cubicBezTo>
                <a:cubicBezTo>
                  <a:pt x="3117236" y="4797722"/>
                  <a:pt x="3122679" y="4791611"/>
                  <a:pt x="3130988" y="4791501"/>
                </a:cubicBezTo>
                <a:close/>
                <a:moveTo>
                  <a:pt x="5505490" y="4791500"/>
                </a:moveTo>
                <a:cubicBezTo>
                  <a:pt x="5508354" y="4791501"/>
                  <a:pt x="5511505" y="4792056"/>
                  <a:pt x="5514943" y="4793723"/>
                </a:cubicBezTo>
                <a:cubicBezTo>
                  <a:pt x="5514656" y="4795389"/>
                  <a:pt x="5514656" y="4797055"/>
                  <a:pt x="5514656" y="4798610"/>
                </a:cubicBezTo>
                <a:cubicBezTo>
                  <a:pt x="5503770" y="4798388"/>
                  <a:pt x="5497182" y="4801831"/>
                  <a:pt x="5488874" y="4801831"/>
                </a:cubicBezTo>
                <a:cubicBezTo>
                  <a:pt x="5492026" y="4797722"/>
                  <a:pt x="5497182" y="4791612"/>
                  <a:pt x="5505490" y="4791500"/>
                </a:cubicBezTo>
                <a:close/>
                <a:moveTo>
                  <a:pt x="6180972" y="4791390"/>
                </a:moveTo>
                <a:cubicBezTo>
                  <a:pt x="6185556" y="4790945"/>
                  <a:pt x="6190139" y="4791167"/>
                  <a:pt x="6194722" y="4791390"/>
                </a:cubicBezTo>
                <a:cubicBezTo>
                  <a:pt x="6207614" y="4803720"/>
                  <a:pt x="6183264" y="4803386"/>
                  <a:pt x="6171806" y="4806163"/>
                </a:cubicBezTo>
                <a:cubicBezTo>
                  <a:pt x="6167508" y="4802054"/>
                  <a:pt x="6166649" y="4800499"/>
                  <a:pt x="6167222" y="4795277"/>
                </a:cubicBezTo>
                <a:cubicBezTo>
                  <a:pt x="6171806" y="4792834"/>
                  <a:pt x="6176389" y="4791834"/>
                  <a:pt x="6180972" y="4791390"/>
                </a:cubicBezTo>
                <a:close/>
                <a:moveTo>
                  <a:pt x="3806469" y="4791390"/>
                </a:moveTo>
                <a:cubicBezTo>
                  <a:pt x="3811053" y="4790945"/>
                  <a:pt x="3815636" y="4791168"/>
                  <a:pt x="3820220" y="4791390"/>
                </a:cubicBezTo>
                <a:cubicBezTo>
                  <a:pt x="3833110" y="4803720"/>
                  <a:pt x="3808761" y="4803387"/>
                  <a:pt x="3797016" y="4806164"/>
                </a:cubicBezTo>
                <a:cubicBezTo>
                  <a:pt x="3792719" y="4802054"/>
                  <a:pt x="3792146" y="4800499"/>
                  <a:pt x="3792433" y="4795278"/>
                </a:cubicBezTo>
                <a:cubicBezTo>
                  <a:pt x="3797303" y="4792834"/>
                  <a:pt x="3801886" y="4791834"/>
                  <a:pt x="3806469" y="4791390"/>
                </a:cubicBezTo>
                <a:close/>
                <a:moveTo>
                  <a:pt x="5638122" y="4789613"/>
                </a:moveTo>
                <a:cubicBezTo>
                  <a:pt x="5646430" y="4800276"/>
                  <a:pt x="5655597" y="4788835"/>
                  <a:pt x="5662472" y="4796944"/>
                </a:cubicBezTo>
                <a:cubicBezTo>
                  <a:pt x="5663045" y="4800499"/>
                  <a:pt x="5665623" y="4804498"/>
                  <a:pt x="5664191" y="4808275"/>
                </a:cubicBezTo>
                <a:cubicBezTo>
                  <a:pt x="5663618" y="4809496"/>
                  <a:pt x="5662758" y="4810829"/>
                  <a:pt x="5661326" y="4812051"/>
                </a:cubicBezTo>
                <a:cubicBezTo>
                  <a:pt x="5650727" y="4804497"/>
                  <a:pt x="5640987" y="4801832"/>
                  <a:pt x="5630102" y="4796611"/>
                </a:cubicBezTo>
                <a:cubicBezTo>
                  <a:pt x="5630388" y="4794278"/>
                  <a:pt x="5632680" y="4792278"/>
                  <a:pt x="5638122" y="4789613"/>
                </a:cubicBezTo>
                <a:close/>
                <a:moveTo>
                  <a:pt x="4330412" y="4789613"/>
                </a:moveTo>
                <a:cubicBezTo>
                  <a:pt x="4338720" y="4800276"/>
                  <a:pt x="4347887" y="4788835"/>
                  <a:pt x="4354762" y="4796944"/>
                </a:cubicBezTo>
                <a:cubicBezTo>
                  <a:pt x="4355335" y="4800499"/>
                  <a:pt x="4357913" y="4804498"/>
                  <a:pt x="4356481" y="4808275"/>
                </a:cubicBezTo>
                <a:cubicBezTo>
                  <a:pt x="4355908" y="4809496"/>
                  <a:pt x="4355048" y="4810829"/>
                  <a:pt x="4353616" y="4812052"/>
                </a:cubicBezTo>
                <a:cubicBezTo>
                  <a:pt x="4343017" y="4804497"/>
                  <a:pt x="4333277" y="4801831"/>
                  <a:pt x="4322105" y="4796611"/>
                </a:cubicBezTo>
                <a:cubicBezTo>
                  <a:pt x="4322678" y="4794278"/>
                  <a:pt x="4324683" y="4792279"/>
                  <a:pt x="4330412" y="4789613"/>
                </a:cubicBezTo>
                <a:close/>
                <a:moveTo>
                  <a:pt x="3263620" y="4789612"/>
                </a:moveTo>
                <a:cubicBezTo>
                  <a:pt x="3271927" y="4800276"/>
                  <a:pt x="3281095" y="4788835"/>
                  <a:pt x="3287969" y="4796944"/>
                </a:cubicBezTo>
                <a:cubicBezTo>
                  <a:pt x="3288542" y="4800499"/>
                  <a:pt x="3291120" y="4804497"/>
                  <a:pt x="3289688" y="4808275"/>
                </a:cubicBezTo>
                <a:cubicBezTo>
                  <a:pt x="3289115" y="4809497"/>
                  <a:pt x="3288255" y="4810828"/>
                  <a:pt x="3286823" y="4812051"/>
                </a:cubicBezTo>
                <a:cubicBezTo>
                  <a:pt x="3276224" y="4804498"/>
                  <a:pt x="3266484" y="4801831"/>
                  <a:pt x="3255312" y="4796611"/>
                </a:cubicBezTo>
                <a:cubicBezTo>
                  <a:pt x="3255885" y="4794277"/>
                  <a:pt x="3257891" y="4792278"/>
                  <a:pt x="3263620" y="4789612"/>
                </a:cubicBezTo>
                <a:close/>
                <a:moveTo>
                  <a:pt x="4693936" y="4789502"/>
                </a:moveTo>
                <a:cubicBezTo>
                  <a:pt x="4695941" y="4789390"/>
                  <a:pt x="4697660" y="4789502"/>
                  <a:pt x="4699379" y="4790168"/>
                </a:cubicBezTo>
                <a:cubicBezTo>
                  <a:pt x="4702816" y="4791612"/>
                  <a:pt x="4704535" y="4792945"/>
                  <a:pt x="4707686" y="4794389"/>
                </a:cubicBezTo>
                <a:cubicBezTo>
                  <a:pt x="4707686" y="4797833"/>
                  <a:pt x="4712556" y="4801720"/>
                  <a:pt x="4705681" y="4808164"/>
                </a:cubicBezTo>
                <a:cubicBezTo>
                  <a:pt x="4701098" y="4811274"/>
                  <a:pt x="4696514" y="4811274"/>
                  <a:pt x="4692790" y="4810496"/>
                </a:cubicBezTo>
                <a:lnTo>
                  <a:pt x="4691644" y="4810274"/>
                </a:lnTo>
                <a:lnTo>
                  <a:pt x="4685915" y="4813273"/>
                </a:lnTo>
                <a:cubicBezTo>
                  <a:pt x="4676175" y="4815161"/>
                  <a:pt x="4667008" y="4809607"/>
                  <a:pt x="4668727" y="4803498"/>
                </a:cubicBezTo>
                <a:cubicBezTo>
                  <a:pt x="4669300" y="4800832"/>
                  <a:pt x="4672164" y="4797944"/>
                  <a:pt x="4678180" y="4795611"/>
                </a:cubicBezTo>
                <a:lnTo>
                  <a:pt x="4679040" y="4796277"/>
                </a:lnTo>
                <a:lnTo>
                  <a:pt x="4680472" y="4792168"/>
                </a:lnTo>
                <a:cubicBezTo>
                  <a:pt x="4681618" y="4793167"/>
                  <a:pt x="4687920" y="4789946"/>
                  <a:pt x="4693936" y="4789502"/>
                </a:cubicBezTo>
                <a:close/>
                <a:moveTo>
                  <a:pt x="3386226" y="4789502"/>
                </a:moveTo>
                <a:cubicBezTo>
                  <a:pt x="3388233" y="4789390"/>
                  <a:pt x="3389950" y="4789501"/>
                  <a:pt x="3391669" y="4790168"/>
                </a:cubicBezTo>
                <a:cubicBezTo>
                  <a:pt x="3395108" y="4791612"/>
                  <a:pt x="3396825" y="4792945"/>
                  <a:pt x="3399977" y="4794389"/>
                </a:cubicBezTo>
                <a:cubicBezTo>
                  <a:pt x="3399978" y="4797833"/>
                  <a:pt x="3404846" y="4801720"/>
                  <a:pt x="3397686" y="4808163"/>
                </a:cubicBezTo>
                <a:cubicBezTo>
                  <a:pt x="3393388" y="4811274"/>
                  <a:pt x="3388804" y="4811274"/>
                  <a:pt x="3385080" y="4810496"/>
                </a:cubicBezTo>
                <a:lnTo>
                  <a:pt x="3384222" y="4810274"/>
                </a:lnTo>
                <a:lnTo>
                  <a:pt x="3383075" y="4810829"/>
                </a:lnTo>
                <a:lnTo>
                  <a:pt x="3381643" y="4809607"/>
                </a:lnTo>
                <a:lnTo>
                  <a:pt x="3380783" y="4809274"/>
                </a:lnTo>
                <a:cubicBezTo>
                  <a:pt x="3379639" y="4808941"/>
                  <a:pt x="3378779" y="4808719"/>
                  <a:pt x="3378778" y="4809052"/>
                </a:cubicBezTo>
                <a:cubicBezTo>
                  <a:pt x="3377059" y="4810051"/>
                  <a:pt x="3377059" y="4810051"/>
                  <a:pt x="3377059" y="4811274"/>
                </a:cubicBezTo>
                <a:cubicBezTo>
                  <a:pt x="3375341" y="4811051"/>
                  <a:pt x="3371904" y="4811940"/>
                  <a:pt x="3370184" y="4812940"/>
                </a:cubicBezTo>
                <a:cubicBezTo>
                  <a:pt x="3370184" y="4811829"/>
                  <a:pt x="3370184" y="4810719"/>
                  <a:pt x="3368466" y="4810496"/>
                </a:cubicBezTo>
                <a:cubicBezTo>
                  <a:pt x="3372191" y="4808496"/>
                  <a:pt x="3373909" y="4808608"/>
                  <a:pt x="3375627" y="4807608"/>
                </a:cubicBezTo>
                <a:cubicBezTo>
                  <a:pt x="3373909" y="4807386"/>
                  <a:pt x="3375627" y="4806386"/>
                  <a:pt x="3375627" y="4806386"/>
                </a:cubicBezTo>
                <a:cubicBezTo>
                  <a:pt x="3375627" y="4806386"/>
                  <a:pt x="3375627" y="4806386"/>
                  <a:pt x="3372190" y="4803831"/>
                </a:cubicBezTo>
                <a:cubicBezTo>
                  <a:pt x="3372190" y="4803831"/>
                  <a:pt x="3365601" y="4797500"/>
                  <a:pt x="3372762" y="4792168"/>
                </a:cubicBezTo>
                <a:cubicBezTo>
                  <a:pt x="3373909" y="4793167"/>
                  <a:pt x="3380211" y="4789946"/>
                  <a:pt x="3386226" y="4789502"/>
                </a:cubicBezTo>
                <a:close/>
                <a:moveTo>
                  <a:pt x="2319433" y="4789501"/>
                </a:moveTo>
                <a:cubicBezTo>
                  <a:pt x="2321153" y="4789390"/>
                  <a:pt x="2323157" y="4789501"/>
                  <a:pt x="2324876" y="4790168"/>
                </a:cubicBezTo>
                <a:cubicBezTo>
                  <a:pt x="2328314" y="4791612"/>
                  <a:pt x="2330032" y="4792945"/>
                  <a:pt x="2333184" y="4794389"/>
                </a:cubicBezTo>
                <a:cubicBezTo>
                  <a:pt x="2333183" y="4797833"/>
                  <a:pt x="2338053" y="4801721"/>
                  <a:pt x="2330892" y="4808164"/>
                </a:cubicBezTo>
                <a:cubicBezTo>
                  <a:pt x="2322011" y="4814495"/>
                  <a:pt x="2311986" y="4807830"/>
                  <a:pt x="2311985" y="4809053"/>
                </a:cubicBezTo>
                <a:cubicBezTo>
                  <a:pt x="2310266" y="4810052"/>
                  <a:pt x="2310266" y="4810052"/>
                  <a:pt x="2310267" y="4811274"/>
                </a:cubicBezTo>
                <a:cubicBezTo>
                  <a:pt x="2308548" y="4811051"/>
                  <a:pt x="2305111" y="4811940"/>
                  <a:pt x="2303391" y="4812940"/>
                </a:cubicBezTo>
                <a:cubicBezTo>
                  <a:pt x="2303391" y="4811829"/>
                  <a:pt x="2303391" y="4810718"/>
                  <a:pt x="2301672" y="4810496"/>
                </a:cubicBezTo>
                <a:cubicBezTo>
                  <a:pt x="2305397" y="4808496"/>
                  <a:pt x="2307116" y="4808607"/>
                  <a:pt x="2308835" y="4807608"/>
                </a:cubicBezTo>
                <a:cubicBezTo>
                  <a:pt x="2307116" y="4807386"/>
                  <a:pt x="2308834" y="4806386"/>
                  <a:pt x="2308834" y="4806386"/>
                </a:cubicBezTo>
                <a:cubicBezTo>
                  <a:pt x="2308834" y="4806386"/>
                  <a:pt x="2308834" y="4806386"/>
                  <a:pt x="2305396" y="4803830"/>
                </a:cubicBezTo>
                <a:cubicBezTo>
                  <a:pt x="2305396" y="4803830"/>
                  <a:pt x="2298808" y="4797500"/>
                  <a:pt x="2305969" y="4792167"/>
                </a:cubicBezTo>
                <a:cubicBezTo>
                  <a:pt x="2307116" y="4793167"/>
                  <a:pt x="2313417" y="4789946"/>
                  <a:pt x="2319433" y="4789501"/>
                </a:cubicBezTo>
                <a:close/>
                <a:moveTo>
                  <a:pt x="4887586" y="4788946"/>
                </a:moveTo>
                <a:cubicBezTo>
                  <a:pt x="4899331" y="4793723"/>
                  <a:pt x="4898472" y="4796944"/>
                  <a:pt x="4894748" y="4798278"/>
                </a:cubicBezTo>
                <a:lnTo>
                  <a:pt x="4890450" y="4798166"/>
                </a:lnTo>
                <a:lnTo>
                  <a:pt x="4890450" y="4798388"/>
                </a:lnTo>
                <a:cubicBezTo>
                  <a:pt x="4888445" y="4803720"/>
                  <a:pt x="4872690" y="4804164"/>
                  <a:pt x="4863809" y="4806164"/>
                </a:cubicBezTo>
                <a:cubicBezTo>
                  <a:pt x="4861804" y="4804164"/>
                  <a:pt x="4860658" y="4802609"/>
                  <a:pt x="4859799" y="4801054"/>
                </a:cubicBezTo>
                <a:lnTo>
                  <a:pt x="4859799" y="4800721"/>
                </a:lnTo>
                <a:lnTo>
                  <a:pt x="4858939" y="4800499"/>
                </a:lnTo>
                <a:cubicBezTo>
                  <a:pt x="4858653" y="4800610"/>
                  <a:pt x="4858080" y="4800831"/>
                  <a:pt x="4857220" y="4800721"/>
                </a:cubicBezTo>
                <a:cubicBezTo>
                  <a:pt x="4858080" y="4800165"/>
                  <a:pt x="4858653" y="4799055"/>
                  <a:pt x="4859226" y="4797721"/>
                </a:cubicBezTo>
                <a:lnTo>
                  <a:pt x="4859513" y="4796833"/>
                </a:lnTo>
                <a:lnTo>
                  <a:pt x="4859226" y="4795278"/>
                </a:lnTo>
                <a:lnTo>
                  <a:pt x="4860372" y="4795056"/>
                </a:lnTo>
                <a:lnTo>
                  <a:pt x="4860944" y="4793834"/>
                </a:lnTo>
                <a:cubicBezTo>
                  <a:pt x="4862664" y="4793945"/>
                  <a:pt x="4864382" y="4792834"/>
                  <a:pt x="4865814" y="4792944"/>
                </a:cubicBezTo>
                <a:lnTo>
                  <a:pt x="4866101" y="4793389"/>
                </a:lnTo>
                <a:lnTo>
                  <a:pt x="4873262" y="4791390"/>
                </a:lnTo>
                <a:lnTo>
                  <a:pt x="4885008" y="4791390"/>
                </a:lnTo>
                <a:close/>
                <a:moveTo>
                  <a:pt x="3579877" y="4788946"/>
                </a:moveTo>
                <a:cubicBezTo>
                  <a:pt x="3591336" y="4793723"/>
                  <a:pt x="3590762" y="4796944"/>
                  <a:pt x="3587038" y="4798278"/>
                </a:cubicBezTo>
                <a:cubicBezTo>
                  <a:pt x="3580449" y="4800610"/>
                  <a:pt x="3564408" y="4797832"/>
                  <a:pt x="3579877" y="4788946"/>
                </a:cubicBezTo>
                <a:close/>
                <a:moveTo>
                  <a:pt x="2513084" y="4788946"/>
                </a:moveTo>
                <a:cubicBezTo>
                  <a:pt x="2524543" y="4793722"/>
                  <a:pt x="2523969" y="4796944"/>
                  <a:pt x="2520245" y="4798277"/>
                </a:cubicBezTo>
                <a:cubicBezTo>
                  <a:pt x="2513656" y="4800610"/>
                  <a:pt x="2497614" y="4797833"/>
                  <a:pt x="2513084" y="4788946"/>
                </a:cubicBezTo>
                <a:close/>
                <a:moveTo>
                  <a:pt x="4474791" y="4788835"/>
                </a:moveTo>
                <a:cubicBezTo>
                  <a:pt x="4465337" y="4800165"/>
                  <a:pt x="4467916" y="4810829"/>
                  <a:pt x="4453592" y="4822049"/>
                </a:cubicBezTo>
                <a:lnTo>
                  <a:pt x="4453019" y="4821049"/>
                </a:lnTo>
                <a:lnTo>
                  <a:pt x="4450728" y="4822160"/>
                </a:lnTo>
                <a:cubicBezTo>
                  <a:pt x="4449582" y="4822827"/>
                  <a:pt x="4448722" y="4823714"/>
                  <a:pt x="4448436" y="4825048"/>
                </a:cubicBezTo>
                <a:cubicBezTo>
                  <a:pt x="4444139" y="4823937"/>
                  <a:pt x="4439842" y="4822826"/>
                  <a:pt x="4441847" y="4819716"/>
                </a:cubicBezTo>
                <a:cubicBezTo>
                  <a:pt x="4442707" y="4818161"/>
                  <a:pt x="4443566" y="4816495"/>
                  <a:pt x="4446717" y="4815494"/>
                </a:cubicBezTo>
                <a:cubicBezTo>
                  <a:pt x="4449009" y="4816050"/>
                  <a:pt x="4450155" y="4817273"/>
                  <a:pt x="4451014" y="4818383"/>
                </a:cubicBezTo>
                <a:lnTo>
                  <a:pt x="4452446" y="4819827"/>
                </a:lnTo>
                <a:lnTo>
                  <a:pt x="4449582" y="4812385"/>
                </a:lnTo>
                <a:lnTo>
                  <a:pt x="4450155" y="4810719"/>
                </a:lnTo>
                <a:lnTo>
                  <a:pt x="4449868" y="4810829"/>
                </a:lnTo>
                <a:cubicBezTo>
                  <a:pt x="4446717" y="4808164"/>
                  <a:pt x="4443566" y="4805497"/>
                  <a:pt x="4447004" y="4803498"/>
                </a:cubicBezTo>
                <a:lnTo>
                  <a:pt x="4452446" y="4802276"/>
                </a:lnTo>
                <a:lnTo>
                  <a:pt x="4453019" y="4800721"/>
                </a:lnTo>
                <a:cubicBezTo>
                  <a:pt x="4457316" y="4793167"/>
                  <a:pt x="4465337" y="4787391"/>
                  <a:pt x="4474791" y="4788835"/>
                </a:cubicBezTo>
                <a:close/>
                <a:moveTo>
                  <a:pt x="3167082" y="4788835"/>
                </a:moveTo>
                <a:cubicBezTo>
                  <a:pt x="3157628" y="4800165"/>
                  <a:pt x="3159919" y="4810829"/>
                  <a:pt x="3145596" y="4822049"/>
                </a:cubicBezTo>
                <a:cubicBezTo>
                  <a:pt x="3134997" y="4812384"/>
                  <a:pt x="3148462" y="4785946"/>
                  <a:pt x="3167082" y="4788835"/>
                </a:cubicBezTo>
                <a:close/>
                <a:moveTo>
                  <a:pt x="5888492" y="4788835"/>
                </a:moveTo>
                <a:cubicBezTo>
                  <a:pt x="5891070" y="4791057"/>
                  <a:pt x="5893076" y="4793279"/>
                  <a:pt x="5894508" y="4795500"/>
                </a:cubicBezTo>
                <a:cubicBezTo>
                  <a:pt x="5898804" y="4802165"/>
                  <a:pt x="5898805" y="4808496"/>
                  <a:pt x="5903962" y="4812495"/>
                </a:cubicBezTo>
                <a:cubicBezTo>
                  <a:pt x="5903962" y="4812495"/>
                  <a:pt x="5903962" y="4812385"/>
                  <a:pt x="5901956" y="4815606"/>
                </a:cubicBezTo>
                <a:cubicBezTo>
                  <a:pt x="5902816" y="4816605"/>
                  <a:pt x="5902816" y="4816605"/>
                  <a:pt x="5902816" y="4816605"/>
                </a:cubicBezTo>
                <a:cubicBezTo>
                  <a:pt x="5903388" y="4817716"/>
                  <a:pt x="5900239" y="4818716"/>
                  <a:pt x="5900239" y="4818716"/>
                </a:cubicBezTo>
                <a:cubicBezTo>
                  <a:pt x="5896227" y="4818716"/>
                  <a:pt x="5896227" y="4815050"/>
                  <a:pt x="5894794" y="4812940"/>
                </a:cubicBezTo>
                <a:cubicBezTo>
                  <a:pt x="5891070" y="4812940"/>
                  <a:pt x="5895654" y="4807719"/>
                  <a:pt x="5891930" y="4807719"/>
                </a:cubicBezTo>
                <a:cubicBezTo>
                  <a:pt x="5895654" y="4801387"/>
                  <a:pt x="5884768" y="4798833"/>
                  <a:pt x="5888492" y="4788835"/>
                </a:cubicBezTo>
                <a:close/>
                <a:moveTo>
                  <a:pt x="2100289" y="4788835"/>
                </a:moveTo>
                <a:cubicBezTo>
                  <a:pt x="2090835" y="4800165"/>
                  <a:pt x="2093127" y="4810829"/>
                  <a:pt x="2078803" y="4822049"/>
                </a:cubicBezTo>
                <a:cubicBezTo>
                  <a:pt x="2068204" y="4812385"/>
                  <a:pt x="2081669" y="4785946"/>
                  <a:pt x="2100289" y="4788835"/>
                </a:cubicBezTo>
                <a:close/>
                <a:moveTo>
                  <a:pt x="2554048" y="4788613"/>
                </a:moveTo>
                <a:cubicBezTo>
                  <a:pt x="2556054" y="4788502"/>
                  <a:pt x="2557771" y="4788502"/>
                  <a:pt x="2559777" y="4789279"/>
                </a:cubicBezTo>
                <a:cubicBezTo>
                  <a:pt x="2562928" y="4790279"/>
                  <a:pt x="2566079" y="4792501"/>
                  <a:pt x="2567799" y="4795055"/>
                </a:cubicBezTo>
                <a:lnTo>
                  <a:pt x="2568657" y="4796611"/>
                </a:lnTo>
                <a:lnTo>
                  <a:pt x="2569516" y="4796500"/>
                </a:lnTo>
                <a:cubicBezTo>
                  <a:pt x="2575246" y="4795277"/>
                  <a:pt x="2580975" y="4794389"/>
                  <a:pt x="2586992" y="4794722"/>
                </a:cubicBezTo>
                <a:cubicBezTo>
                  <a:pt x="2584414" y="4798499"/>
                  <a:pt x="2578397" y="4802276"/>
                  <a:pt x="2572095" y="4803942"/>
                </a:cubicBezTo>
                <a:lnTo>
                  <a:pt x="2567511" y="4804164"/>
                </a:lnTo>
                <a:lnTo>
                  <a:pt x="2562928" y="4809052"/>
                </a:lnTo>
                <a:cubicBezTo>
                  <a:pt x="2560923" y="4810496"/>
                  <a:pt x="2558345" y="4811274"/>
                  <a:pt x="2556053" y="4811940"/>
                </a:cubicBezTo>
                <a:cubicBezTo>
                  <a:pt x="2556053" y="4811940"/>
                  <a:pt x="2556053" y="4811940"/>
                  <a:pt x="2557772" y="4811496"/>
                </a:cubicBezTo>
                <a:cubicBezTo>
                  <a:pt x="2566079" y="4814273"/>
                  <a:pt x="2580402" y="4819161"/>
                  <a:pt x="2580116" y="4822937"/>
                </a:cubicBezTo>
                <a:cubicBezTo>
                  <a:pt x="2578397" y="4823271"/>
                  <a:pt x="2576679" y="4823715"/>
                  <a:pt x="2574673" y="4823049"/>
                </a:cubicBezTo>
                <a:cubicBezTo>
                  <a:pt x="2572669" y="4822271"/>
                  <a:pt x="2574386" y="4821938"/>
                  <a:pt x="2572669" y="4822271"/>
                </a:cubicBezTo>
                <a:cubicBezTo>
                  <a:pt x="2570662" y="4821604"/>
                  <a:pt x="2570949" y="4822715"/>
                  <a:pt x="2570949" y="4822715"/>
                </a:cubicBezTo>
                <a:cubicBezTo>
                  <a:pt x="2570949" y="4822715"/>
                  <a:pt x="2570662" y="4821604"/>
                  <a:pt x="2570662" y="4821604"/>
                </a:cubicBezTo>
                <a:cubicBezTo>
                  <a:pt x="2570662" y="4821604"/>
                  <a:pt x="2570662" y="4821604"/>
                  <a:pt x="2566365" y="4820160"/>
                </a:cubicBezTo>
                <a:cubicBezTo>
                  <a:pt x="2560636" y="4819271"/>
                  <a:pt x="2558917" y="4819605"/>
                  <a:pt x="2555194" y="4819383"/>
                </a:cubicBezTo>
                <a:cubicBezTo>
                  <a:pt x="2551184" y="4817939"/>
                  <a:pt x="2550611" y="4816828"/>
                  <a:pt x="2546026" y="4814384"/>
                </a:cubicBezTo>
                <a:cubicBezTo>
                  <a:pt x="2546886" y="4811718"/>
                  <a:pt x="2546886" y="4811718"/>
                  <a:pt x="2548605" y="4811274"/>
                </a:cubicBezTo>
                <a:cubicBezTo>
                  <a:pt x="2546886" y="4811718"/>
                  <a:pt x="2546313" y="4810607"/>
                  <a:pt x="2544309" y="4809941"/>
                </a:cubicBezTo>
                <a:cubicBezTo>
                  <a:pt x="2534855" y="4808607"/>
                  <a:pt x="2536001" y="4802387"/>
                  <a:pt x="2540584" y="4795277"/>
                </a:cubicBezTo>
                <a:cubicBezTo>
                  <a:pt x="2542590" y="4795944"/>
                  <a:pt x="2544595" y="4791834"/>
                  <a:pt x="2547459" y="4789946"/>
                </a:cubicBezTo>
                <a:cubicBezTo>
                  <a:pt x="2550038" y="4789390"/>
                  <a:pt x="2552043" y="4788835"/>
                  <a:pt x="2554048" y="4788613"/>
                </a:cubicBezTo>
                <a:close/>
                <a:moveTo>
                  <a:pt x="3620842" y="4788612"/>
                </a:moveTo>
                <a:cubicBezTo>
                  <a:pt x="3622847" y="4788501"/>
                  <a:pt x="3624565" y="4788501"/>
                  <a:pt x="3626571" y="4789279"/>
                </a:cubicBezTo>
                <a:cubicBezTo>
                  <a:pt x="3629721" y="4790279"/>
                  <a:pt x="3632872" y="4792500"/>
                  <a:pt x="3634877" y="4795055"/>
                </a:cubicBezTo>
                <a:lnTo>
                  <a:pt x="3635450" y="4796611"/>
                </a:lnTo>
                <a:lnTo>
                  <a:pt x="3636310" y="4796500"/>
                </a:lnTo>
                <a:cubicBezTo>
                  <a:pt x="3642039" y="4795278"/>
                  <a:pt x="3647768" y="4794389"/>
                  <a:pt x="3653784" y="4794722"/>
                </a:cubicBezTo>
                <a:cubicBezTo>
                  <a:pt x="3651207" y="4798499"/>
                  <a:pt x="3645190" y="4802276"/>
                  <a:pt x="3638888" y="4803942"/>
                </a:cubicBezTo>
                <a:lnTo>
                  <a:pt x="3634305" y="4804164"/>
                </a:lnTo>
                <a:lnTo>
                  <a:pt x="3629721" y="4809053"/>
                </a:lnTo>
                <a:cubicBezTo>
                  <a:pt x="3627716" y="4810496"/>
                  <a:pt x="3625138" y="4811274"/>
                  <a:pt x="3622846" y="4811940"/>
                </a:cubicBezTo>
                <a:cubicBezTo>
                  <a:pt x="3622846" y="4811940"/>
                  <a:pt x="3622846" y="4811940"/>
                  <a:pt x="3624565" y="4811496"/>
                </a:cubicBezTo>
                <a:cubicBezTo>
                  <a:pt x="3632872" y="4814273"/>
                  <a:pt x="3647482" y="4819160"/>
                  <a:pt x="3646909" y="4822938"/>
                </a:cubicBezTo>
                <a:cubicBezTo>
                  <a:pt x="3645190" y="4823270"/>
                  <a:pt x="3643472" y="4823715"/>
                  <a:pt x="3641467" y="4823049"/>
                </a:cubicBezTo>
                <a:cubicBezTo>
                  <a:pt x="3639462" y="4822271"/>
                  <a:pt x="3641181" y="4821938"/>
                  <a:pt x="3639462" y="4822271"/>
                </a:cubicBezTo>
                <a:cubicBezTo>
                  <a:pt x="3637455" y="4821604"/>
                  <a:pt x="3637742" y="4822715"/>
                  <a:pt x="3637742" y="4822715"/>
                </a:cubicBezTo>
                <a:cubicBezTo>
                  <a:pt x="3637742" y="4822715"/>
                  <a:pt x="3637455" y="4821604"/>
                  <a:pt x="3637455" y="4821604"/>
                </a:cubicBezTo>
                <a:cubicBezTo>
                  <a:pt x="3637455" y="4821604"/>
                  <a:pt x="3637455" y="4821604"/>
                  <a:pt x="3633445" y="4820160"/>
                </a:cubicBezTo>
                <a:cubicBezTo>
                  <a:pt x="3627429" y="4819272"/>
                  <a:pt x="3625710" y="4819605"/>
                  <a:pt x="3621987" y="4819383"/>
                </a:cubicBezTo>
                <a:cubicBezTo>
                  <a:pt x="3617976" y="4817939"/>
                  <a:pt x="3617403" y="4816828"/>
                  <a:pt x="3612820" y="4814384"/>
                </a:cubicBezTo>
                <a:lnTo>
                  <a:pt x="3613394" y="4813051"/>
                </a:lnTo>
                <a:lnTo>
                  <a:pt x="3609955" y="4812940"/>
                </a:lnTo>
                <a:cubicBezTo>
                  <a:pt x="3604513" y="4811496"/>
                  <a:pt x="3600788" y="4807608"/>
                  <a:pt x="3601647" y="4803497"/>
                </a:cubicBezTo>
                <a:lnTo>
                  <a:pt x="3605372" y="4800388"/>
                </a:lnTo>
                <a:lnTo>
                  <a:pt x="3607377" y="4795277"/>
                </a:lnTo>
                <a:cubicBezTo>
                  <a:pt x="3609383" y="4795944"/>
                  <a:pt x="3611388" y="4791834"/>
                  <a:pt x="3614252" y="4789946"/>
                </a:cubicBezTo>
                <a:cubicBezTo>
                  <a:pt x="3616830" y="4789389"/>
                  <a:pt x="3618836" y="4788835"/>
                  <a:pt x="3620842" y="4788612"/>
                </a:cubicBezTo>
                <a:close/>
                <a:moveTo>
                  <a:pt x="4800500" y="4786058"/>
                </a:moveTo>
                <a:cubicBezTo>
                  <a:pt x="4803653" y="4788501"/>
                  <a:pt x="4803938" y="4791945"/>
                  <a:pt x="4802220" y="4795055"/>
                </a:cubicBezTo>
                <a:lnTo>
                  <a:pt x="4793052" y="4802609"/>
                </a:lnTo>
                <a:lnTo>
                  <a:pt x="4795058" y="4802165"/>
                </a:lnTo>
                <a:lnTo>
                  <a:pt x="4795631" y="4800943"/>
                </a:lnTo>
                <a:cubicBezTo>
                  <a:pt x="4796204" y="4800165"/>
                  <a:pt x="4797636" y="4799610"/>
                  <a:pt x="4799355" y="4799166"/>
                </a:cubicBezTo>
                <a:lnTo>
                  <a:pt x="4801647" y="4800721"/>
                </a:lnTo>
                <a:lnTo>
                  <a:pt x="4807089" y="4799611"/>
                </a:lnTo>
                <a:lnTo>
                  <a:pt x="4828574" y="4801388"/>
                </a:lnTo>
                <a:lnTo>
                  <a:pt x="4831725" y="4798610"/>
                </a:lnTo>
                <a:cubicBezTo>
                  <a:pt x="4834304" y="4795834"/>
                  <a:pt x="4836882" y="4794278"/>
                  <a:pt x="4839460" y="4793834"/>
                </a:cubicBezTo>
                <a:cubicBezTo>
                  <a:pt x="4842038" y="4793500"/>
                  <a:pt x="4844616" y="4794278"/>
                  <a:pt x="4846908" y="4796278"/>
                </a:cubicBezTo>
                <a:cubicBezTo>
                  <a:pt x="4846908" y="4797389"/>
                  <a:pt x="4845189" y="4800831"/>
                  <a:pt x="4846908" y="4800943"/>
                </a:cubicBezTo>
                <a:cubicBezTo>
                  <a:pt x="4844902" y="4802054"/>
                  <a:pt x="4842611" y="4803276"/>
                  <a:pt x="4840606" y="4804054"/>
                </a:cubicBezTo>
                <a:lnTo>
                  <a:pt x="4836595" y="4804720"/>
                </a:lnTo>
                <a:lnTo>
                  <a:pt x="4838028" y="4805498"/>
                </a:lnTo>
                <a:cubicBezTo>
                  <a:pt x="4840319" y="4807164"/>
                  <a:pt x="4842038" y="4809274"/>
                  <a:pt x="4842897" y="4811606"/>
                </a:cubicBezTo>
                <a:cubicBezTo>
                  <a:pt x="4844616" y="4819716"/>
                  <a:pt x="4838887" y="4825381"/>
                  <a:pt x="4830580" y="4828269"/>
                </a:cubicBezTo>
                <a:lnTo>
                  <a:pt x="4830293" y="4828268"/>
                </a:lnTo>
                <a:lnTo>
                  <a:pt x="4830579" y="4830491"/>
                </a:lnTo>
                <a:cubicBezTo>
                  <a:pt x="4830866" y="4831269"/>
                  <a:pt x="4830579" y="4831824"/>
                  <a:pt x="4830293" y="4831934"/>
                </a:cubicBezTo>
                <a:cubicBezTo>
                  <a:pt x="4831152" y="4832935"/>
                  <a:pt x="4829434" y="4833490"/>
                  <a:pt x="4830293" y="4834489"/>
                </a:cubicBezTo>
                <a:cubicBezTo>
                  <a:pt x="4830293" y="4834489"/>
                  <a:pt x="4831152" y="4835601"/>
                  <a:pt x="4830293" y="4837267"/>
                </a:cubicBezTo>
                <a:lnTo>
                  <a:pt x="4829720" y="4837600"/>
                </a:lnTo>
                <a:lnTo>
                  <a:pt x="4834590" y="4838489"/>
                </a:lnTo>
                <a:cubicBezTo>
                  <a:pt x="4844902" y="4851930"/>
                  <a:pt x="4830579" y="4859372"/>
                  <a:pt x="4820267" y="4854708"/>
                </a:cubicBezTo>
                <a:cubicBezTo>
                  <a:pt x="4816829" y="4853041"/>
                  <a:pt x="4813964" y="4850153"/>
                  <a:pt x="4812246" y="4845709"/>
                </a:cubicBezTo>
                <a:cubicBezTo>
                  <a:pt x="4813392" y="4843488"/>
                  <a:pt x="4815970" y="4841599"/>
                  <a:pt x="4819121" y="4840044"/>
                </a:cubicBezTo>
                <a:lnTo>
                  <a:pt x="4824564" y="4838822"/>
                </a:lnTo>
                <a:lnTo>
                  <a:pt x="4823418" y="4834268"/>
                </a:lnTo>
                <a:lnTo>
                  <a:pt x="4822272" y="4829491"/>
                </a:lnTo>
                <a:lnTo>
                  <a:pt x="4816543" y="4830269"/>
                </a:lnTo>
                <a:lnTo>
                  <a:pt x="4815970" y="4830269"/>
                </a:lnTo>
                <a:lnTo>
                  <a:pt x="4816256" y="4830713"/>
                </a:lnTo>
                <a:cubicBezTo>
                  <a:pt x="4801934" y="4829269"/>
                  <a:pt x="4786178" y="4828491"/>
                  <a:pt x="4783313" y="4820716"/>
                </a:cubicBezTo>
                <a:cubicBezTo>
                  <a:pt x="4785032" y="4819494"/>
                  <a:pt x="4787323" y="4818717"/>
                  <a:pt x="4789615" y="4818494"/>
                </a:cubicBezTo>
                <a:lnTo>
                  <a:pt x="4790761" y="4818494"/>
                </a:lnTo>
                <a:lnTo>
                  <a:pt x="4790188" y="4803165"/>
                </a:lnTo>
                <a:lnTo>
                  <a:pt x="4792193" y="4802720"/>
                </a:lnTo>
                <a:lnTo>
                  <a:pt x="4784458" y="4803387"/>
                </a:lnTo>
                <a:cubicBezTo>
                  <a:pt x="4782167" y="4801720"/>
                  <a:pt x="4781308" y="4799832"/>
                  <a:pt x="4781594" y="4797832"/>
                </a:cubicBezTo>
                <a:lnTo>
                  <a:pt x="4783026" y="4795722"/>
                </a:lnTo>
                <a:lnTo>
                  <a:pt x="4778443" y="4796611"/>
                </a:lnTo>
                <a:cubicBezTo>
                  <a:pt x="4777010" y="4793500"/>
                  <a:pt x="4775005" y="4791390"/>
                  <a:pt x="4775005" y="4788835"/>
                </a:cubicBezTo>
                <a:cubicBezTo>
                  <a:pt x="4778729" y="4786725"/>
                  <a:pt x="4781594" y="4786502"/>
                  <a:pt x="4783886" y="4787391"/>
                </a:cubicBezTo>
                <a:lnTo>
                  <a:pt x="4786750" y="4791057"/>
                </a:lnTo>
                <a:lnTo>
                  <a:pt x="4792193" y="4787724"/>
                </a:lnTo>
                <a:cubicBezTo>
                  <a:pt x="4794772" y="4786614"/>
                  <a:pt x="4797636" y="4785946"/>
                  <a:pt x="4800500" y="4786058"/>
                </a:cubicBezTo>
                <a:close/>
                <a:moveTo>
                  <a:pt x="3492792" y="4786058"/>
                </a:moveTo>
                <a:cubicBezTo>
                  <a:pt x="3495943" y="4788501"/>
                  <a:pt x="3495942" y="4791945"/>
                  <a:pt x="3494224" y="4795056"/>
                </a:cubicBezTo>
                <a:lnTo>
                  <a:pt x="3485343" y="4802609"/>
                </a:lnTo>
                <a:lnTo>
                  <a:pt x="3487348" y="4802165"/>
                </a:lnTo>
                <a:lnTo>
                  <a:pt x="3487921" y="4800943"/>
                </a:lnTo>
                <a:cubicBezTo>
                  <a:pt x="3488494" y="4800165"/>
                  <a:pt x="3489927" y="4799610"/>
                  <a:pt x="3491645" y="4799166"/>
                </a:cubicBezTo>
                <a:lnTo>
                  <a:pt x="3493938" y="4800721"/>
                </a:lnTo>
                <a:lnTo>
                  <a:pt x="3499381" y="4799610"/>
                </a:lnTo>
                <a:lnTo>
                  <a:pt x="3515995" y="4800943"/>
                </a:lnTo>
                <a:lnTo>
                  <a:pt x="3515708" y="4799610"/>
                </a:lnTo>
                <a:cubicBezTo>
                  <a:pt x="3513990" y="4796944"/>
                  <a:pt x="3511984" y="4793834"/>
                  <a:pt x="3513989" y="4788835"/>
                </a:cubicBezTo>
                <a:cubicBezTo>
                  <a:pt x="3516568" y="4791056"/>
                  <a:pt x="3518573" y="4793278"/>
                  <a:pt x="3520005" y="4795499"/>
                </a:cubicBezTo>
                <a:lnTo>
                  <a:pt x="3522010" y="4800165"/>
                </a:lnTo>
                <a:lnTo>
                  <a:pt x="3524016" y="4798610"/>
                </a:lnTo>
                <a:cubicBezTo>
                  <a:pt x="3526594" y="4795833"/>
                  <a:pt x="3529172" y="4794277"/>
                  <a:pt x="3531751" y="4793834"/>
                </a:cubicBezTo>
                <a:cubicBezTo>
                  <a:pt x="3534328" y="4793500"/>
                  <a:pt x="3536907" y="4794278"/>
                  <a:pt x="3539198" y="4796277"/>
                </a:cubicBezTo>
                <a:cubicBezTo>
                  <a:pt x="3539198" y="4797388"/>
                  <a:pt x="3537480" y="4800832"/>
                  <a:pt x="3539199" y="4800943"/>
                </a:cubicBezTo>
                <a:cubicBezTo>
                  <a:pt x="3537193" y="4802054"/>
                  <a:pt x="3534901" y="4803276"/>
                  <a:pt x="3532897" y="4804053"/>
                </a:cubicBezTo>
                <a:lnTo>
                  <a:pt x="3528886" y="4804720"/>
                </a:lnTo>
                <a:lnTo>
                  <a:pt x="3530318" y="4805497"/>
                </a:lnTo>
                <a:cubicBezTo>
                  <a:pt x="3532610" y="4807164"/>
                  <a:pt x="3534328" y="4809274"/>
                  <a:pt x="3535188" y="4811606"/>
                </a:cubicBezTo>
                <a:cubicBezTo>
                  <a:pt x="3538626" y="4827936"/>
                  <a:pt x="3512272" y="4834156"/>
                  <a:pt x="3495083" y="4828047"/>
                </a:cubicBezTo>
                <a:cubicBezTo>
                  <a:pt x="3484771" y="4824381"/>
                  <a:pt x="3477608" y="4816161"/>
                  <a:pt x="3482479" y="4803165"/>
                </a:cubicBezTo>
                <a:lnTo>
                  <a:pt x="3484484" y="4802720"/>
                </a:lnTo>
                <a:lnTo>
                  <a:pt x="3476749" y="4803387"/>
                </a:lnTo>
                <a:cubicBezTo>
                  <a:pt x="3474457" y="4801721"/>
                  <a:pt x="3473599" y="4799832"/>
                  <a:pt x="3473884" y="4797832"/>
                </a:cubicBezTo>
                <a:lnTo>
                  <a:pt x="3475317" y="4795722"/>
                </a:lnTo>
                <a:lnTo>
                  <a:pt x="3470734" y="4796611"/>
                </a:lnTo>
                <a:cubicBezTo>
                  <a:pt x="3469301" y="4793500"/>
                  <a:pt x="3467296" y="4791390"/>
                  <a:pt x="3467296" y="4788835"/>
                </a:cubicBezTo>
                <a:cubicBezTo>
                  <a:pt x="3471020" y="4786725"/>
                  <a:pt x="3473884" y="4786503"/>
                  <a:pt x="3476176" y="4787391"/>
                </a:cubicBezTo>
                <a:lnTo>
                  <a:pt x="3479041" y="4791057"/>
                </a:lnTo>
                <a:lnTo>
                  <a:pt x="3484484" y="4787724"/>
                </a:lnTo>
                <a:cubicBezTo>
                  <a:pt x="3487063" y="4786614"/>
                  <a:pt x="3489926" y="4785946"/>
                  <a:pt x="3492792" y="4786058"/>
                </a:cubicBezTo>
                <a:close/>
                <a:moveTo>
                  <a:pt x="2425999" y="4786058"/>
                </a:moveTo>
                <a:cubicBezTo>
                  <a:pt x="2429149" y="4788502"/>
                  <a:pt x="2429149" y="4791945"/>
                  <a:pt x="2427431" y="4795055"/>
                </a:cubicBezTo>
                <a:lnTo>
                  <a:pt x="2418550" y="4802609"/>
                </a:lnTo>
                <a:lnTo>
                  <a:pt x="2420555" y="4802165"/>
                </a:lnTo>
                <a:lnTo>
                  <a:pt x="2421128" y="4800943"/>
                </a:lnTo>
                <a:cubicBezTo>
                  <a:pt x="2421701" y="4800164"/>
                  <a:pt x="2423133" y="4799610"/>
                  <a:pt x="2424852" y="4799166"/>
                </a:cubicBezTo>
                <a:lnTo>
                  <a:pt x="2427144" y="4800721"/>
                </a:lnTo>
                <a:lnTo>
                  <a:pt x="2432587" y="4799610"/>
                </a:lnTo>
                <a:lnTo>
                  <a:pt x="2454072" y="4801387"/>
                </a:lnTo>
                <a:lnTo>
                  <a:pt x="2457222" y="4798610"/>
                </a:lnTo>
                <a:cubicBezTo>
                  <a:pt x="2459801" y="4795834"/>
                  <a:pt x="2462380" y="4794278"/>
                  <a:pt x="2464957" y="4793834"/>
                </a:cubicBezTo>
                <a:cubicBezTo>
                  <a:pt x="2467536" y="4793500"/>
                  <a:pt x="2470113" y="4794278"/>
                  <a:pt x="2472405" y="4796277"/>
                </a:cubicBezTo>
                <a:cubicBezTo>
                  <a:pt x="2472405" y="4797388"/>
                  <a:pt x="2470687" y="4800832"/>
                  <a:pt x="2472405" y="4800943"/>
                </a:cubicBezTo>
                <a:cubicBezTo>
                  <a:pt x="2470400" y="4802054"/>
                  <a:pt x="2468108" y="4803275"/>
                  <a:pt x="2466104" y="4804053"/>
                </a:cubicBezTo>
                <a:lnTo>
                  <a:pt x="2462092" y="4804720"/>
                </a:lnTo>
                <a:lnTo>
                  <a:pt x="2463525" y="4805497"/>
                </a:lnTo>
                <a:cubicBezTo>
                  <a:pt x="2465817" y="4807164"/>
                  <a:pt x="2467535" y="4809274"/>
                  <a:pt x="2468396" y="4811607"/>
                </a:cubicBezTo>
                <a:cubicBezTo>
                  <a:pt x="2471832" y="4827937"/>
                  <a:pt x="2445478" y="4834156"/>
                  <a:pt x="2428290" y="4828048"/>
                </a:cubicBezTo>
                <a:cubicBezTo>
                  <a:pt x="2417977" y="4824382"/>
                  <a:pt x="2410815" y="4816161"/>
                  <a:pt x="2415686" y="4803165"/>
                </a:cubicBezTo>
                <a:lnTo>
                  <a:pt x="2417690" y="4802720"/>
                </a:lnTo>
                <a:lnTo>
                  <a:pt x="2409956" y="4803386"/>
                </a:lnTo>
                <a:cubicBezTo>
                  <a:pt x="2407664" y="4801720"/>
                  <a:pt x="2406805" y="4799833"/>
                  <a:pt x="2407091" y="4797833"/>
                </a:cubicBezTo>
                <a:lnTo>
                  <a:pt x="2408524" y="4795723"/>
                </a:lnTo>
                <a:lnTo>
                  <a:pt x="2403941" y="4796611"/>
                </a:lnTo>
                <a:cubicBezTo>
                  <a:pt x="2402508" y="4793500"/>
                  <a:pt x="2400502" y="4791390"/>
                  <a:pt x="2400502" y="4788835"/>
                </a:cubicBezTo>
                <a:cubicBezTo>
                  <a:pt x="2404227" y="4786725"/>
                  <a:pt x="2407091" y="4786503"/>
                  <a:pt x="2409383" y="4787391"/>
                </a:cubicBezTo>
                <a:lnTo>
                  <a:pt x="2412248" y="4791056"/>
                </a:lnTo>
                <a:lnTo>
                  <a:pt x="2417690" y="4787724"/>
                </a:lnTo>
                <a:cubicBezTo>
                  <a:pt x="2420270" y="4786613"/>
                  <a:pt x="2423133" y="4785946"/>
                  <a:pt x="2425999" y="4786058"/>
                </a:cubicBezTo>
                <a:close/>
                <a:moveTo>
                  <a:pt x="3549511" y="4782393"/>
                </a:moveTo>
                <a:cubicBezTo>
                  <a:pt x="3550370" y="4782393"/>
                  <a:pt x="3551231" y="4782837"/>
                  <a:pt x="3552090" y="4783503"/>
                </a:cubicBezTo>
                <a:cubicBezTo>
                  <a:pt x="3552090" y="4783503"/>
                  <a:pt x="3550084" y="4785724"/>
                  <a:pt x="3550084" y="4785724"/>
                </a:cubicBezTo>
                <a:cubicBezTo>
                  <a:pt x="3546647" y="4787724"/>
                  <a:pt x="3544928" y="4788724"/>
                  <a:pt x="3542922" y="4790945"/>
                </a:cubicBezTo>
                <a:cubicBezTo>
                  <a:pt x="3539485" y="4789502"/>
                  <a:pt x="3539486" y="4788280"/>
                  <a:pt x="3541491" y="4787280"/>
                </a:cubicBezTo>
                <a:cubicBezTo>
                  <a:pt x="3541491" y="4787280"/>
                  <a:pt x="3543209" y="4786280"/>
                  <a:pt x="3544929" y="4785280"/>
                </a:cubicBezTo>
                <a:cubicBezTo>
                  <a:pt x="3546933" y="4784170"/>
                  <a:pt x="3546934" y="4783059"/>
                  <a:pt x="3546934" y="4783059"/>
                </a:cubicBezTo>
                <a:cubicBezTo>
                  <a:pt x="3547793" y="4782504"/>
                  <a:pt x="3548653" y="4782281"/>
                  <a:pt x="3549511" y="4782393"/>
                </a:cubicBezTo>
                <a:close/>
                <a:moveTo>
                  <a:pt x="2482718" y="4782392"/>
                </a:moveTo>
                <a:cubicBezTo>
                  <a:pt x="2483577" y="4782393"/>
                  <a:pt x="2484438" y="4782725"/>
                  <a:pt x="2485296" y="4783392"/>
                </a:cubicBezTo>
                <a:cubicBezTo>
                  <a:pt x="2485296" y="4783392"/>
                  <a:pt x="2483291" y="4785725"/>
                  <a:pt x="2483291" y="4785725"/>
                </a:cubicBezTo>
                <a:cubicBezTo>
                  <a:pt x="2479853" y="4787724"/>
                  <a:pt x="2478134" y="4788724"/>
                  <a:pt x="2476129" y="4790945"/>
                </a:cubicBezTo>
                <a:cubicBezTo>
                  <a:pt x="2472692" y="4789502"/>
                  <a:pt x="2472693" y="4788280"/>
                  <a:pt x="2474698" y="4787280"/>
                </a:cubicBezTo>
                <a:cubicBezTo>
                  <a:pt x="2474698" y="4787280"/>
                  <a:pt x="2476416" y="4786280"/>
                  <a:pt x="2478134" y="4785280"/>
                </a:cubicBezTo>
                <a:cubicBezTo>
                  <a:pt x="2480140" y="4784170"/>
                  <a:pt x="2480141" y="4783059"/>
                  <a:pt x="2480141" y="4783059"/>
                </a:cubicBezTo>
                <a:cubicBezTo>
                  <a:pt x="2481000" y="4782503"/>
                  <a:pt x="2481859" y="4782281"/>
                  <a:pt x="2482718" y="4782392"/>
                </a:cubicBezTo>
                <a:close/>
                <a:moveTo>
                  <a:pt x="3346409" y="4781615"/>
                </a:moveTo>
                <a:cubicBezTo>
                  <a:pt x="3348128" y="4786169"/>
                  <a:pt x="3350132" y="4790835"/>
                  <a:pt x="3347554" y="4794056"/>
                </a:cubicBezTo>
                <a:cubicBezTo>
                  <a:pt x="3342970" y="4795166"/>
                  <a:pt x="3338673" y="4795389"/>
                  <a:pt x="3334949" y="4794500"/>
                </a:cubicBezTo>
                <a:cubicBezTo>
                  <a:pt x="3331512" y="4793612"/>
                  <a:pt x="3328360" y="4791501"/>
                  <a:pt x="3326355" y="4788168"/>
                </a:cubicBezTo>
                <a:cubicBezTo>
                  <a:pt x="3328933" y="4782393"/>
                  <a:pt x="3340392" y="4782170"/>
                  <a:pt x="3346409" y="4781615"/>
                </a:cubicBezTo>
                <a:close/>
                <a:moveTo>
                  <a:pt x="2279616" y="4781615"/>
                </a:moveTo>
                <a:cubicBezTo>
                  <a:pt x="2281334" y="4786169"/>
                  <a:pt x="2283339" y="4790835"/>
                  <a:pt x="2280761" y="4794056"/>
                </a:cubicBezTo>
                <a:cubicBezTo>
                  <a:pt x="2276177" y="4795167"/>
                  <a:pt x="2271880" y="4795389"/>
                  <a:pt x="2268156" y="4794500"/>
                </a:cubicBezTo>
                <a:cubicBezTo>
                  <a:pt x="2264718" y="4793611"/>
                  <a:pt x="2261567" y="4791500"/>
                  <a:pt x="2259562" y="4788168"/>
                </a:cubicBezTo>
                <a:cubicBezTo>
                  <a:pt x="2262140" y="4782392"/>
                  <a:pt x="2273599" y="4782170"/>
                  <a:pt x="2279616" y="4781615"/>
                </a:cubicBezTo>
                <a:close/>
                <a:moveTo>
                  <a:pt x="4000406" y="4778615"/>
                </a:moveTo>
                <a:cubicBezTo>
                  <a:pt x="4001265" y="4781170"/>
                  <a:pt x="4004703" y="4782281"/>
                  <a:pt x="4003270" y="4786280"/>
                </a:cubicBezTo>
                <a:cubicBezTo>
                  <a:pt x="3998400" y="4785836"/>
                  <a:pt x="3994963" y="4784614"/>
                  <a:pt x="3990380" y="4784059"/>
                </a:cubicBezTo>
                <a:cubicBezTo>
                  <a:pt x="3988374" y="4778948"/>
                  <a:pt x="3994390" y="4778838"/>
                  <a:pt x="4000406" y="4778615"/>
                </a:cubicBezTo>
                <a:close/>
                <a:moveTo>
                  <a:pt x="5067200" y="4778615"/>
                </a:moveTo>
                <a:cubicBezTo>
                  <a:pt x="5068058" y="4781170"/>
                  <a:pt x="5071496" y="4782281"/>
                  <a:pt x="5070064" y="4786280"/>
                </a:cubicBezTo>
                <a:cubicBezTo>
                  <a:pt x="5065194" y="4785836"/>
                  <a:pt x="5061756" y="4784614"/>
                  <a:pt x="5057173" y="4784058"/>
                </a:cubicBezTo>
                <a:cubicBezTo>
                  <a:pt x="5055168" y="4778948"/>
                  <a:pt x="5061183" y="4778837"/>
                  <a:pt x="5067200" y="4778615"/>
                </a:cubicBezTo>
                <a:close/>
                <a:moveTo>
                  <a:pt x="6374908" y="4778614"/>
                </a:moveTo>
                <a:cubicBezTo>
                  <a:pt x="6375768" y="4781170"/>
                  <a:pt x="6379206" y="4782281"/>
                  <a:pt x="6377774" y="4786280"/>
                </a:cubicBezTo>
                <a:cubicBezTo>
                  <a:pt x="6372904" y="4785836"/>
                  <a:pt x="6369466" y="4784614"/>
                  <a:pt x="6364882" y="4784058"/>
                </a:cubicBezTo>
                <a:cubicBezTo>
                  <a:pt x="6362877" y="4778948"/>
                  <a:pt x="6368893" y="4778837"/>
                  <a:pt x="6374908" y="4778614"/>
                </a:cubicBezTo>
                <a:close/>
                <a:moveTo>
                  <a:pt x="3372763" y="4774950"/>
                </a:moveTo>
                <a:cubicBezTo>
                  <a:pt x="3374195" y="4775505"/>
                  <a:pt x="3374769" y="4776505"/>
                  <a:pt x="3375055" y="4777949"/>
                </a:cubicBezTo>
                <a:cubicBezTo>
                  <a:pt x="3376200" y="4782059"/>
                  <a:pt x="3374195" y="4789058"/>
                  <a:pt x="3372190" y="4792612"/>
                </a:cubicBezTo>
                <a:cubicBezTo>
                  <a:pt x="3367034" y="4790501"/>
                  <a:pt x="3369899" y="4779615"/>
                  <a:pt x="3372763" y="4774950"/>
                </a:cubicBezTo>
                <a:close/>
                <a:moveTo>
                  <a:pt x="5747266" y="4774950"/>
                </a:moveTo>
                <a:cubicBezTo>
                  <a:pt x="5748698" y="4775505"/>
                  <a:pt x="5749270" y="4776504"/>
                  <a:pt x="5749844" y="4777949"/>
                </a:cubicBezTo>
                <a:cubicBezTo>
                  <a:pt x="5750703" y="4782059"/>
                  <a:pt x="5748698" y="4789057"/>
                  <a:pt x="5746692" y="4792611"/>
                </a:cubicBezTo>
                <a:cubicBezTo>
                  <a:pt x="5741822" y="4790501"/>
                  <a:pt x="5744687" y="4779615"/>
                  <a:pt x="5747266" y="4774950"/>
                </a:cubicBezTo>
                <a:close/>
                <a:moveTo>
                  <a:pt x="4439556" y="4774949"/>
                </a:moveTo>
                <a:cubicBezTo>
                  <a:pt x="4440988" y="4775505"/>
                  <a:pt x="4441562" y="4776505"/>
                  <a:pt x="4442134" y="4777949"/>
                </a:cubicBezTo>
                <a:cubicBezTo>
                  <a:pt x="4442993" y="4782059"/>
                  <a:pt x="4440988" y="4789058"/>
                  <a:pt x="4438982" y="4792612"/>
                </a:cubicBezTo>
                <a:cubicBezTo>
                  <a:pt x="4434113" y="4790501"/>
                  <a:pt x="4436977" y="4779615"/>
                  <a:pt x="4439556" y="4774949"/>
                </a:cubicBezTo>
                <a:close/>
                <a:moveTo>
                  <a:pt x="2403940" y="4774284"/>
                </a:moveTo>
                <a:cubicBezTo>
                  <a:pt x="2391622" y="4783948"/>
                  <a:pt x="2381596" y="4777283"/>
                  <a:pt x="2374434" y="4782614"/>
                </a:cubicBezTo>
                <a:cubicBezTo>
                  <a:pt x="2372715" y="4780060"/>
                  <a:pt x="2372715" y="4780060"/>
                  <a:pt x="2374434" y="4777837"/>
                </a:cubicBezTo>
                <a:cubicBezTo>
                  <a:pt x="2376153" y="4777949"/>
                  <a:pt x="2376439" y="4776727"/>
                  <a:pt x="2378159" y="4778060"/>
                </a:cubicBezTo>
                <a:cubicBezTo>
                  <a:pt x="2381596" y="4774839"/>
                  <a:pt x="2397065" y="4772506"/>
                  <a:pt x="2403940" y="4774284"/>
                </a:cubicBezTo>
                <a:close/>
                <a:moveTo>
                  <a:pt x="4778443" y="4774283"/>
                </a:moveTo>
                <a:cubicBezTo>
                  <a:pt x="4766125" y="4783948"/>
                  <a:pt x="4756099" y="4777282"/>
                  <a:pt x="4748937" y="4782613"/>
                </a:cubicBezTo>
                <a:cubicBezTo>
                  <a:pt x="4747218" y="4780060"/>
                  <a:pt x="4747505" y="4780060"/>
                  <a:pt x="4749224" y="4777837"/>
                </a:cubicBezTo>
                <a:cubicBezTo>
                  <a:pt x="4750942" y="4777949"/>
                  <a:pt x="4750942" y="4776727"/>
                  <a:pt x="4752661" y="4778060"/>
                </a:cubicBezTo>
                <a:cubicBezTo>
                  <a:pt x="4756099" y="4774838"/>
                  <a:pt x="4771568" y="4772506"/>
                  <a:pt x="4778443" y="4774283"/>
                </a:cubicBezTo>
                <a:close/>
                <a:moveTo>
                  <a:pt x="3470734" y="4774283"/>
                </a:moveTo>
                <a:cubicBezTo>
                  <a:pt x="3458416" y="4783947"/>
                  <a:pt x="3448389" y="4777282"/>
                  <a:pt x="3441227" y="4782614"/>
                </a:cubicBezTo>
                <a:cubicBezTo>
                  <a:pt x="3439510" y="4780060"/>
                  <a:pt x="3439510" y="4780060"/>
                  <a:pt x="3441227" y="4777837"/>
                </a:cubicBezTo>
                <a:cubicBezTo>
                  <a:pt x="3442946" y="4777949"/>
                  <a:pt x="3443233" y="4776727"/>
                  <a:pt x="3444952" y="4778060"/>
                </a:cubicBezTo>
                <a:cubicBezTo>
                  <a:pt x="3448389" y="4774839"/>
                  <a:pt x="3463858" y="4772506"/>
                  <a:pt x="3470734" y="4774283"/>
                </a:cubicBezTo>
                <a:close/>
                <a:moveTo>
                  <a:pt x="5174910" y="4773505"/>
                </a:moveTo>
                <a:cubicBezTo>
                  <a:pt x="5176628" y="4773616"/>
                  <a:pt x="5178347" y="4774172"/>
                  <a:pt x="5179493" y="4775061"/>
                </a:cubicBezTo>
                <a:cubicBezTo>
                  <a:pt x="5182071" y="4777060"/>
                  <a:pt x="5180639" y="4781281"/>
                  <a:pt x="5170612" y="4788057"/>
                </a:cubicBezTo>
                <a:cubicBezTo>
                  <a:pt x="5160586" y="4784502"/>
                  <a:pt x="5158008" y="4781170"/>
                  <a:pt x="5158868" y="4778615"/>
                </a:cubicBezTo>
                <a:cubicBezTo>
                  <a:pt x="5160300" y="4774950"/>
                  <a:pt x="5168894" y="4772839"/>
                  <a:pt x="5174910" y="4773505"/>
                </a:cubicBezTo>
                <a:close/>
                <a:moveTo>
                  <a:pt x="2800120" y="4773505"/>
                </a:moveTo>
                <a:cubicBezTo>
                  <a:pt x="2802125" y="4773617"/>
                  <a:pt x="2803845" y="4774172"/>
                  <a:pt x="2804991" y="4775061"/>
                </a:cubicBezTo>
                <a:cubicBezTo>
                  <a:pt x="2807568" y="4777060"/>
                  <a:pt x="2806136" y="4781281"/>
                  <a:pt x="2796110" y="4788057"/>
                </a:cubicBezTo>
                <a:cubicBezTo>
                  <a:pt x="2786084" y="4784503"/>
                  <a:pt x="2783220" y="4781170"/>
                  <a:pt x="2784365" y="4778614"/>
                </a:cubicBezTo>
                <a:cubicBezTo>
                  <a:pt x="2785512" y="4774950"/>
                  <a:pt x="2794392" y="4772839"/>
                  <a:pt x="2800120" y="4773505"/>
                </a:cubicBezTo>
                <a:close/>
                <a:moveTo>
                  <a:pt x="3866913" y="4773505"/>
                </a:moveTo>
                <a:cubicBezTo>
                  <a:pt x="3868918" y="4773616"/>
                  <a:pt x="3870637" y="4774172"/>
                  <a:pt x="3871783" y="4775061"/>
                </a:cubicBezTo>
                <a:cubicBezTo>
                  <a:pt x="3874361" y="4777060"/>
                  <a:pt x="3872929" y="4781280"/>
                  <a:pt x="3862903" y="4788057"/>
                </a:cubicBezTo>
                <a:cubicBezTo>
                  <a:pt x="3852876" y="4784502"/>
                  <a:pt x="3850012" y="4781170"/>
                  <a:pt x="3851158" y="4778615"/>
                </a:cubicBezTo>
                <a:cubicBezTo>
                  <a:pt x="3852305" y="4774950"/>
                  <a:pt x="3861184" y="4772839"/>
                  <a:pt x="3866913" y="4773505"/>
                </a:cubicBezTo>
                <a:close/>
                <a:moveTo>
                  <a:pt x="3482192" y="4768951"/>
                </a:moveTo>
                <a:cubicBezTo>
                  <a:pt x="3482765" y="4768840"/>
                  <a:pt x="3483624" y="4769173"/>
                  <a:pt x="3484197" y="4769840"/>
                </a:cubicBezTo>
                <a:cubicBezTo>
                  <a:pt x="3482478" y="4770839"/>
                  <a:pt x="3479041" y="4771728"/>
                  <a:pt x="3477323" y="4772727"/>
                </a:cubicBezTo>
                <a:cubicBezTo>
                  <a:pt x="3477323" y="4772727"/>
                  <a:pt x="3477323" y="4772727"/>
                  <a:pt x="3475603" y="4771506"/>
                </a:cubicBezTo>
                <a:cubicBezTo>
                  <a:pt x="3478181" y="4771617"/>
                  <a:pt x="3479900" y="4769063"/>
                  <a:pt x="3482192" y="4768951"/>
                </a:cubicBezTo>
                <a:close/>
                <a:moveTo>
                  <a:pt x="2415399" y="4768951"/>
                </a:moveTo>
                <a:cubicBezTo>
                  <a:pt x="2415972" y="4768840"/>
                  <a:pt x="2416831" y="4769173"/>
                  <a:pt x="2417404" y="4769840"/>
                </a:cubicBezTo>
                <a:cubicBezTo>
                  <a:pt x="2415685" y="4770840"/>
                  <a:pt x="2412248" y="4771729"/>
                  <a:pt x="2410530" y="4772727"/>
                </a:cubicBezTo>
                <a:cubicBezTo>
                  <a:pt x="2410530" y="4772727"/>
                  <a:pt x="2410530" y="4772727"/>
                  <a:pt x="2408810" y="4771505"/>
                </a:cubicBezTo>
                <a:cubicBezTo>
                  <a:pt x="2411388" y="4771617"/>
                  <a:pt x="2413107" y="4769062"/>
                  <a:pt x="2415399" y="4768951"/>
                </a:cubicBezTo>
                <a:close/>
                <a:moveTo>
                  <a:pt x="3993530" y="4767619"/>
                </a:moveTo>
                <a:cubicBezTo>
                  <a:pt x="3998687" y="4769951"/>
                  <a:pt x="4000978" y="4771839"/>
                  <a:pt x="4001552" y="4773505"/>
                </a:cubicBezTo>
                <a:cubicBezTo>
                  <a:pt x="4002124" y="4775061"/>
                  <a:pt x="4000692" y="4776172"/>
                  <a:pt x="3998687" y="4776949"/>
                </a:cubicBezTo>
                <a:cubicBezTo>
                  <a:pt x="3991526" y="4779392"/>
                  <a:pt x="3976343" y="4776949"/>
                  <a:pt x="3993530" y="4767619"/>
                </a:cubicBezTo>
                <a:close/>
                <a:moveTo>
                  <a:pt x="5301240" y="4767618"/>
                </a:moveTo>
                <a:cubicBezTo>
                  <a:pt x="5306397" y="4769951"/>
                  <a:pt x="5308688" y="4771838"/>
                  <a:pt x="5309261" y="4773505"/>
                </a:cubicBezTo>
                <a:cubicBezTo>
                  <a:pt x="5309834" y="4775061"/>
                  <a:pt x="5308402" y="4776171"/>
                  <a:pt x="5306397" y="4776949"/>
                </a:cubicBezTo>
                <a:cubicBezTo>
                  <a:pt x="5299235" y="4779392"/>
                  <a:pt x="5284052" y="4776949"/>
                  <a:pt x="5301240" y="4767618"/>
                </a:cubicBezTo>
                <a:close/>
                <a:moveTo>
                  <a:pt x="2926737" y="4767618"/>
                </a:moveTo>
                <a:cubicBezTo>
                  <a:pt x="2931894" y="4769951"/>
                  <a:pt x="2934186" y="4771839"/>
                  <a:pt x="2934758" y="4773505"/>
                </a:cubicBezTo>
                <a:cubicBezTo>
                  <a:pt x="2935331" y="4775061"/>
                  <a:pt x="2933900" y="4776172"/>
                  <a:pt x="2931894" y="4776949"/>
                </a:cubicBezTo>
                <a:cubicBezTo>
                  <a:pt x="2924733" y="4779393"/>
                  <a:pt x="2909550" y="4776949"/>
                  <a:pt x="2926737" y="4767618"/>
                </a:cubicBezTo>
                <a:close/>
                <a:moveTo>
                  <a:pt x="3457842" y="4767396"/>
                </a:moveTo>
                <a:cubicBezTo>
                  <a:pt x="3462426" y="4767729"/>
                  <a:pt x="3466150" y="4768284"/>
                  <a:pt x="3467010" y="4768396"/>
                </a:cubicBezTo>
                <a:cubicBezTo>
                  <a:pt x="3467009" y="4769506"/>
                  <a:pt x="3467009" y="4769506"/>
                  <a:pt x="3467009" y="4769506"/>
                </a:cubicBezTo>
                <a:cubicBezTo>
                  <a:pt x="3462139" y="4768285"/>
                  <a:pt x="3455837" y="4770728"/>
                  <a:pt x="3449535" y="4770728"/>
                </a:cubicBezTo>
                <a:cubicBezTo>
                  <a:pt x="3447243" y="4770728"/>
                  <a:pt x="3445239" y="4770506"/>
                  <a:pt x="3442947" y="4769840"/>
                </a:cubicBezTo>
                <a:cubicBezTo>
                  <a:pt x="3442947" y="4769840"/>
                  <a:pt x="3442947" y="4769840"/>
                  <a:pt x="3444666" y="4769951"/>
                </a:cubicBezTo>
                <a:cubicBezTo>
                  <a:pt x="3444666" y="4769951"/>
                  <a:pt x="3443233" y="4769840"/>
                  <a:pt x="3443233" y="4768617"/>
                </a:cubicBezTo>
                <a:cubicBezTo>
                  <a:pt x="3445239" y="4767951"/>
                  <a:pt x="3447817" y="4767619"/>
                  <a:pt x="3450394" y="4767396"/>
                </a:cubicBezTo>
                <a:cubicBezTo>
                  <a:pt x="3452973" y="4767285"/>
                  <a:pt x="3455265" y="4767285"/>
                  <a:pt x="3457842" y="4767396"/>
                </a:cubicBezTo>
                <a:close/>
                <a:moveTo>
                  <a:pt x="2391049" y="4767395"/>
                </a:moveTo>
                <a:cubicBezTo>
                  <a:pt x="2395633" y="4767729"/>
                  <a:pt x="2399357" y="4768285"/>
                  <a:pt x="2400216" y="4768396"/>
                </a:cubicBezTo>
                <a:cubicBezTo>
                  <a:pt x="2400216" y="4769506"/>
                  <a:pt x="2400216" y="4769506"/>
                  <a:pt x="2400216" y="4769506"/>
                </a:cubicBezTo>
                <a:cubicBezTo>
                  <a:pt x="2395346" y="4768285"/>
                  <a:pt x="2389044" y="4770728"/>
                  <a:pt x="2382742" y="4770728"/>
                </a:cubicBezTo>
                <a:cubicBezTo>
                  <a:pt x="2380450" y="4770729"/>
                  <a:pt x="2378445" y="4770506"/>
                  <a:pt x="2376154" y="4769840"/>
                </a:cubicBezTo>
                <a:cubicBezTo>
                  <a:pt x="2376154" y="4769840"/>
                  <a:pt x="2376154" y="4769840"/>
                  <a:pt x="2377872" y="4769951"/>
                </a:cubicBezTo>
                <a:cubicBezTo>
                  <a:pt x="2377872" y="4769951"/>
                  <a:pt x="2376440" y="4769840"/>
                  <a:pt x="2376439" y="4768618"/>
                </a:cubicBezTo>
                <a:cubicBezTo>
                  <a:pt x="2378446" y="4767951"/>
                  <a:pt x="2381024" y="4767618"/>
                  <a:pt x="2383601" y="4767396"/>
                </a:cubicBezTo>
                <a:cubicBezTo>
                  <a:pt x="2386179" y="4767285"/>
                  <a:pt x="2388472" y="4767285"/>
                  <a:pt x="2391049" y="4767395"/>
                </a:cubicBezTo>
                <a:close/>
                <a:moveTo>
                  <a:pt x="4960348" y="4766619"/>
                </a:moveTo>
                <a:cubicBezTo>
                  <a:pt x="4964358" y="4773395"/>
                  <a:pt x="4960634" y="4773505"/>
                  <a:pt x="4952040" y="4774728"/>
                </a:cubicBezTo>
                <a:cubicBezTo>
                  <a:pt x="4950322" y="4769951"/>
                  <a:pt x="4953472" y="4768396"/>
                  <a:pt x="4960348" y="4766619"/>
                </a:cubicBezTo>
                <a:close/>
                <a:moveTo>
                  <a:pt x="3593054" y="4766619"/>
                </a:moveTo>
                <a:cubicBezTo>
                  <a:pt x="3591622" y="4775061"/>
                  <a:pt x="3567846" y="4785059"/>
                  <a:pt x="3560970" y="4783947"/>
                </a:cubicBezTo>
                <a:cubicBezTo>
                  <a:pt x="3563261" y="4779060"/>
                  <a:pt x="3569851" y="4777615"/>
                  <a:pt x="3573574" y="4772060"/>
                </a:cubicBezTo>
                <a:cubicBezTo>
                  <a:pt x="3579590" y="4772172"/>
                  <a:pt x="3584746" y="4766063"/>
                  <a:pt x="3593054" y="4766619"/>
                </a:cubicBezTo>
                <a:close/>
                <a:moveTo>
                  <a:pt x="5967556" y="4766618"/>
                </a:moveTo>
                <a:cubicBezTo>
                  <a:pt x="5966124" y="4775061"/>
                  <a:pt x="5942348" y="4785058"/>
                  <a:pt x="5935472" y="4783948"/>
                </a:cubicBezTo>
                <a:cubicBezTo>
                  <a:pt x="5937764" y="4779060"/>
                  <a:pt x="5944353" y="4777614"/>
                  <a:pt x="5948077" y="4772061"/>
                </a:cubicBezTo>
                <a:cubicBezTo>
                  <a:pt x="5954092" y="4772173"/>
                  <a:pt x="5959249" y="4766062"/>
                  <a:pt x="5967556" y="4766618"/>
                </a:cubicBezTo>
                <a:close/>
                <a:moveTo>
                  <a:pt x="3652639" y="4766618"/>
                </a:moveTo>
                <a:cubicBezTo>
                  <a:pt x="3656649" y="4773395"/>
                  <a:pt x="3652925" y="4773505"/>
                  <a:pt x="3644331" y="4774728"/>
                </a:cubicBezTo>
                <a:cubicBezTo>
                  <a:pt x="3642326" y="4769951"/>
                  <a:pt x="3645763" y="4768396"/>
                  <a:pt x="3652639" y="4766618"/>
                </a:cubicBezTo>
                <a:close/>
                <a:moveTo>
                  <a:pt x="2585846" y="4766618"/>
                </a:moveTo>
                <a:cubicBezTo>
                  <a:pt x="2589855" y="4773395"/>
                  <a:pt x="2586131" y="4773505"/>
                  <a:pt x="2577538" y="4774727"/>
                </a:cubicBezTo>
                <a:cubicBezTo>
                  <a:pt x="2575533" y="4769951"/>
                  <a:pt x="2578683" y="4768396"/>
                  <a:pt x="2585846" y="4766618"/>
                </a:cubicBezTo>
                <a:close/>
                <a:moveTo>
                  <a:pt x="4659846" y="4766618"/>
                </a:moveTo>
                <a:cubicBezTo>
                  <a:pt x="4659560" y="4768729"/>
                  <a:pt x="4657842" y="4770951"/>
                  <a:pt x="4655262" y="4773061"/>
                </a:cubicBezTo>
                <a:lnTo>
                  <a:pt x="4650107" y="4776283"/>
                </a:lnTo>
                <a:lnTo>
                  <a:pt x="4652972" y="4775950"/>
                </a:lnTo>
                <a:cubicBezTo>
                  <a:pt x="4658701" y="4776060"/>
                  <a:pt x="4664144" y="4776837"/>
                  <a:pt x="4669300" y="4778393"/>
                </a:cubicBezTo>
                <a:cubicBezTo>
                  <a:pt x="4676175" y="4796500"/>
                  <a:pt x="4661852" y="4803831"/>
                  <a:pt x="4633206" y="4804164"/>
                </a:cubicBezTo>
                <a:cubicBezTo>
                  <a:pt x="4631200" y="4801276"/>
                  <a:pt x="4628336" y="4798832"/>
                  <a:pt x="4624898" y="4796277"/>
                </a:cubicBezTo>
                <a:lnTo>
                  <a:pt x="4615731" y="4788724"/>
                </a:lnTo>
                <a:lnTo>
                  <a:pt x="4600548" y="4802054"/>
                </a:lnTo>
                <a:lnTo>
                  <a:pt x="4592528" y="4807053"/>
                </a:lnTo>
                <a:lnTo>
                  <a:pt x="4596252" y="4812496"/>
                </a:lnTo>
                <a:cubicBezTo>
                  <a:pt x="4596252" y="4812496"/>
                  <a:pt x="4596252" y="4812385"/>
                  <a:pt x="4594246" y="4815606"/>
                </a:cubicBezTo>
                <a:cubicBezTo>
                  <a:pt x="4595106" y="4816605"/>
                  <a:pt x="4594819" y="4816605"/>
                  <a:pt x="4594819" y="4816605"/>
                </a:cubicBezTo>
                <a:cubicBezTo>
                  <a:pt x="4595392" y="4817716"/>
                  <a:pt x="4592529" y="4818716"/>
                  <a:pt x="4592529" y="4818716"/>
                </a:cubicBezTo>
                <a:cubicBezTo>
                  <a:pt x="4588517" y="4818717"/>
                  <a:pt x="4588230" y="4815051"/>
                  <a:pt x="4587085" y="4812940"/>
                </a:cubicBezTo>
                <a:lnTo>
                  <a:pt x="4585939" y="4810940"/>
                </a:lnTo>
                <a:lnTo>
                  <a:pt x="4576772" y="4816495"/>
                </a:lnTo>
                <a:cubicBezTo>
                  <a:pt x="4551850" y="4828936"/>
                  <a:pt x="4523490" y="4834823"/>
                  <a:pt x="4490833" y="4831491"/>
                </a:cubicBezTo>
                <a:cubicBezTo>
                  <a:pt x="4490833" y="4825826"/>
                  <a:pt x="4490833" y="4820049"/>
                  <a:pt x="4499713" y="4811496"/>
                </a:cubicBezTo>
                <a:cubicBezTo>
                  <a:pt x="4548698" y="4814384"/>
                  <a:pt x="4580210" y="4774172"/>
                  <a:pt x="4629195" y="4777060"/>
                </a:cubicBezTo>
                <a:lnTo>
                  <a:pt x="4622320" y="4783169"/>
                </a:lnTo>
                <a:lnTo>
                  <a:pt x="4629482" y="4779615"/>
                </a:lnTo>
                <a:lnTo>
                  <a:pt x="4632919" y="4778837"/>
                </a:lnTo>
                <a:lnTo>
                  <a:pt x="4633493" y="4778282"/>
                </a:lnTo>
                <a:cubicBezTo>
                  <a:pt x="4636070" y="4776616"/>
                  <a:pt x="4638362" y="4774838"/>
                  <a:pt x="4640367" y="4772061"/>
                </a:cubicBezTo>
                <a:cubicBezTo>
                  <a:pt x="4646383" y="4772173"/>
                  <a:pt x="4651539" y="4766062"/>
                  <a:pt x="4659846" y="4766618"/>
                </a:cubicBezTo>
                <a:close/>
                <a:moveTo>
                  <a:pt x="2754572" y="4765952"/>
                </a:moveTo>
                <a:cubicBezTo>
                  <a:pt x="2756578" y="4773616"/>
                  <a:pt x="2764885" y="4775950"/>
                  <a:pt x="2759157" y="4780282"/>
                </a:cubicBezTo>
                <a:cubicBezTo>
                  <a:pt x="2752282" y="4778615"/>
                  <a:pt x="2749703" y="4769284"/>
                  <a:pt x="2754572" y="4765952"/>
                </a:cubicBezTo>
                <a:close/>
                <a:moveTo>
                  <a:pt x="5129075" y="4765952"/>
                </a:moveTo>
                <a:cubicBezTo>
                  <a:pt x="5131080" y="4773617"/>
                  <a:pt x="5139388" y="4775950"/>
                  <a:pt x="5133659" y="4780281"/>
                </a:cubicBezTo>
                <a:cubicBezTo>
                  <a:pt x="5126784" y="4778615"/>
                  <a:pt x="5124205" y="4769285"/>
                  <a:pt x="5129075" y="4765952"/>
                </a:cubicBezTo>
                <a:close/>
                <a:moveTo>
                  <a:pt x="3821366" y="4765952"/>
                </a:moveTo>
                <a:cubicBezTo>
                  <a:pt x="3823371" y="4773617"/>
                  <a:pt x="3831678" y="4775949"/>
                  <a:pt x="3825949" y="4780281"/>
                </a:cubicBezTo>
                <a:cubicBezTo>
                  <a:pt x="3819074" y="4778615"/>
                  <a:pt x="3816496" y="4769285"/>
                  <a:pt x="3821366" y="4765952"/>
                </a:cubicBezTo>
                <a:close/>
                <a:moveTo>
                  <a:pt x="4759823" y="4765730"/>
                </a:moveTo>
                <a:cubicBezTo>
                  <a:pt x="4759823" y="4765730"/>
                  <a:pt x="4759823" y="4765730"/>
                  <a:pt x="4756099" y="4767729"/>
                </a:cubicBezTo>
                <a:lnTo>
                  <a:pt x="4752088" y="4768617"/>
                </a:lnTo>
                <a:lnTo>
                  <a:pt x="4762974" y="4767729"/>
                </a:lnTo>
                <a:lnTo>
                  <a:pt x="4761542" y="4765841"/>
                </a:lnTo>
                <a:cubicBezTo>
                  <a:pt x="4761255" y="4767063"/>
                  <a:pt x="4759823" y="4765730"/>
                  <a:pt x="4759823" y="4765730"/>
                </a:cubicBezTo>
                <a:close/>
                <a:moveTo>
                  <a:pt x="5780495" y="4763952"/>
                </a:moveTo>
                <a:cubicBezTo>
                  <a:pt x="5781354" y="4764952"/>
                  <a:pt x="5781354" y="4766063"/>
                  <a:pt x="5780782" y="4767396"/>
                </a:cubicBezTo>
                <a:cubicBezTo>
                  <a:pt x="5779063" y="4771506"/>
                  <a:pt x="5773047" y="4776727"/>
                  <a:pt x="5769036" y="4778838"/>
                </a:cubicBezTo>
                <a:cubicBezTo>
                  <a:pt x="5765886" y="4775061"/>
                  <a:pt x="5775339" y="4766840"/>
                  <a:pt x="5780495" y="4763952"/>
                </a:cubicBezTo>
                <a:close/>
                <a:moveTo>
                  <a:pt x="4472786" y="4763952"/>
                </a:moveTo>
                <a:cubicBezTo>
                  <a:pt x="4473358" y="4764952"/>
                  <a:pt x="4473645" y="4766063"/>
                  <a:pt x="4473072" y="4767396"/>
                </a:cubicBezTo>
                <a:cubicBezTo>
                  <a:pt x="4471353" y="4771506"/>
                  <a:pt x="4465337" y="4776727"/>
                  <a:pt x="4461327" y="4778838"/>
                </a:cubicBezTo>
                <a:cubicBezTo>
                  <a:pt x="4458176" y="4775061"/>
                  <a:pt x="4467342" y="4766840"/>
                  <a:pt x="4472786" y="4763952"/>
                </a:cubicBezTo>
                <a:close/>
                <a:moveTo>
                  <a:pt x="2859132" y="4763397"/>
                </a:moveTo>
                <a:cubicBezTo>
                  <a:pt x="2862856" y="4767507"/>
                  <a:pt x="2860279" y="4771506"/>
                  <a:pt x="2855695" y="4774171"/>
                </a:cubicBezTo>
                <a:cubicBezTo>
                  <a:pt x="2850824" y="4776727"/>
                  <a:pt x="2843663" y="4778060"/>
                  <a:pt x="2838506" y="4776283"/>
                </a:cubicBezTo>
                <a:cubicBezTo>
                  <a:pt x="2840799" y="4767396"/>
                  <a:pt x="2844809" y="4762064"/>
                  <a:pt x="2859132" y="4763397"/>
                </a:cubicBezTo>
                <a:close/>
                <a:moveTo>
                  <a:pt x="5233635" y="4763397"/>
                </a:moveTo>
                <a:cubicBezTo>
                  <a:pt x="5237360" y="4767507"/>
                  <a:pt x="5234779" y="4771506"/>
                  <a:pt x="5230197" y="4774172"/>
                </a:cubicBezTo>
                <a:cubicBezTo>
                  <a:pt x="5225327" y="4776727"/>
                  <a:pt x="5218166" y="4778060"/>
                  <a:pt x="5213010" y="4776282"/>
                </a:cubicBezTo>
                <a:cubicBezTo>
                  <a:pt x="5215301" y="4767396"/>
                  <a:pt x="5219312" y="4762064"/>
                  <a:pt x="5233635" y="4763397"/>
                </a:cubicBezTo>
                <a:close/>
                <a:moveTo>
                  <a:pt x="4489973" y="4760620"/>
                </a:moveTo>
                <a:cubicBezTo>
                  <a:pt x="4492838" y="4760731"/>
                  <a:pt x="4495702" y="4761842"/>
                  <a:pt x="4498567" y="4763397"/>
                </a:cubicBezTo>
                <a:cubicBezTo>
                  <a:pt x="4497994" y="4766730"/>
                  <a:pt x="4491978" y="4770395"/>
                  <a:pt x="4487108" y="4769617"/>
                </a:cubicBezTo>
                <a:cubicBezTo>
                  <a:pt x="4482812" y="4766618"/>
                  <a:pt x="4484817" y="4764730"/>
                  <a:pt x="4481666" y="4763063"/>
                </a:cubicBezTo>
                <a:cubicBezTo>
                  <a:pt x="4484530" y="4761286"/>
                  <a:pt x="4487395" y="4760509"/>
                  <a:pt x="4489973" y="4760620"/>
                </a:cubicBezTo>
                <a:close/>
                <a:moveTo>
                  <a:pt x="3423181" y="4760620"/>
                </a:moveTo>
                <a:cubicBezTo>
                  <a:pt x="3426045" y="4760731"/>
                  <a:pt x="3428909" y="4761842"/>
                  <a:pt x="3431775" y="4763397"/>
                </a:cubicBezTo>
                <a:cubicBezTo>
                  <a:pt x="3431201" y="4766730"/>
                  <a:pt x="3425185" y="4770395"/>
                  <a:pt x="3420316" y="4769617"/>
                </a:cubicBezTo>
                <a:cubicBezTo>
                  <a:pt x="3416019" y="4766619"/>
                  <a:pt x="3418024" y="4764730"/>
                  <a:pt x="3414873" y="4763063"/>
                </a:cubicBezTo>
                <a:cubicBezTo>
                  <a:pt x="3417738" y="4761286"/>
                  <a:pt x="3420602" y="4760509"/>
                  <a:pt x="3423181" y="4760620"/>
                </a:cubicBezTo>
                <a:close/>
                <a:moveTo>
                  <a:pt x="5797683" y="4760619"/>
                </a:moveTo>
                <a:cubicBezTo>
                  <a:pt x="5800548" y="4760731"/>
                  <a:pt x="5803412" y="4761842"/>
                  <a:pt x="5806277" y="4763397"/>
                </a:cubicBezTo>
                <a:cubicBezTo>
                  <a:pt x="5805705" y="4766730"/>
                  <a:pt x="5799974" y="4770394"/>
                  <a:pt x="5795105" y="4769618"/>
                </a:cubicBezTo>
                <a:cubicBezTo>
                  <a:pt x="5790522" y="4766618"/>
                  <a:pt x="5792526" y="4764730"/>
                  <a:pt x="5789376" y="4763064"/>
                </a:cubicBezTo>
                <a:cubicBezTo>
                  <a:pt x="5792240" y="4761286"/>
                  <a:pt x="5795105" y="4760510"/>
                  <a:pt x="5797683" y="4760619"/>
                </a:cubicBezTo>
                <a:close/>
                <a:moveTo>
                  <a:pt x="3621701" y="4760065"/>
                </a:moveTo>
                <a:cubicBezTo>
                  <a:pt x="3629148" y="4761175"/>
                  <a:pt x="3637455" y="4766396"/>
                  <a:pt x="3642040" y="4770284"/>
                </a:cubicBezTo>
                <a:cubicBezTo>
                  <a:pt x="3639747" y="4773061"/>
                  <a:pt x="3642612" y="4775061"/>
                  <a:pt x="3640607" y="4777949"/>
                </a:cubicBezTo>
                <a:cubicBezTo>
                  <a:pt x="3627430" y="4772839"/>
                  <a:pt x="3613106" y="4768063"/>
                  <a:pt x="3614539" y="4760397"/>
                </a:cubicBezTo>
                <a:cubicBezTo>
                  <a:pt x="3616544" y="4759620"/>
                  <a:pt x="3619122" y="4759620"/>
                  <a:pt x="3621701" y="4760065"/>
                </a:cubicBezTo>
                <a:close/>
                <a:moveTo>
                  <a:pt x="2554908" y="4760064"/>
                </a:moveTo>
                <a:cubicBezTo>
                  <a:pt x="2562355" y="4761175"/>
                  <a:pt x="2570663" y="4766396"/>
                  <a:pt x="2574959" y="4770284"/>
                </a:cubicBezTo>
                <a:cubicBezTo>
                  <a:pt x="2572954" y="4773061"/>
                  <a:pt x="2575819" y="4775061"/>
                  <a:pt x="2573527" y="4777949"/>
                </a:cubicBezTo>
                <a:cubicBezTo>
                  <a:pt x="2560636" y="4772839"/>
                  <a:pt x="2546314" y="4768063"/>
                  <a:pt x="2547746" y="4760397"/>
                </a:cubicBezTo>
                <a:cubicBezTo>
                  <a:pt x="2549750" y="4759619"/>
                  <a:pt x="2552329" y="4759620"/>
                  <a:pt x="2554908" y="4760064"/>
                </a:cubicBezTo>
                <a:close/>
                <a:moveTo>
                  <a:pt x="3531177" y="4758176"/>
                </a:moveTo>
                <a:cubicBezTo>
                  <a:pt x="3532610" y="4758065"/>
                  <a:pt x="3533755" y="4758175"/>
                  <a:pt x="3534042" y="4758509"/>
                </a:cubicBezTo>
                <a:cubicBezTo>
                  <a:pt x="3531464" y="4760953"/>
                  <a:pt x="3526880" y="4765064"/>
                  <a:pt x="3522870" y="4765841"/>
                </a:cubicBezTo>
                <a:cubicBezTo>
                  <a:pt x="3521437" y="4766174"/>
                  <a:pt x="3520005" y="4766062"/>
                  <a:pt x="3518860" y="4765396"/>
                </a:cubicBezTo>
                <a:cubicBezTo>
                  <a:pt x="3517141" y="4764063"/>
                  <a:pt x="3518859" y="4762953"/>
                  <a:pt x="3518859" y="4761842"/>
                </a:cubicBezTo>
                <a:cubicBezTo>
                  <a:pt x="3520292" y="4760287"/>
                  <a:pt x="3527167" y="4758510"/>
                  <a:pt x="3531177" y="4758176"/>
                </a:cubicBezTo>
                <a:close/>
                <a:moveTo>
                  <a:pt x="2464384" y="4758176"/>
                </a:moveTo>
                <a:cubicBezTo>
                  <a:pt x="2465817" y="4758065"/>
                  <a:pt x="2466963" y="4758176"/>
                  <a:pt x="2467249" y="4758510"/>
                </a:cubicBezTo>
                <a:cubicBezTo>
                  <a:pt x="2464671" y="4760954"/>
                  <a:pt x="2460087" y="4765063"/>
                  <a:pt x="2456077" y="4765841"/>
                </a:cubicBezTo>
                <a:cubicBezTo>
                  <a:pt x="2454644" y="4766173"/>
                  <a:pt x="2453212" y="4766062"/>
                  <a:pt x="2452067" y="4765396"/>
                </a:cubicBezTo>
                <a:cubicBezTo>
                  <a:pt x="2450347" y="4764063"/>
                  <a:pt x="2452066" y="4762952"/>
                  <a:pt x="2452066" y="4761842"/>
                </a:cubicBezTo>
                <a:cubicBezTo>
                  <a:pt x="2453499" y="4760286"/>
                  <a:pt x="2460374" y="4758509"/>
                  <a:pt x="2464384" y="4758176"/>
                </a:cubicBezTo>
                <a:close/>
                <a:moveTo>
                  <a:pt x="6287537" y="4755399"/>
                </a:moveTo>
                <a:cubicBezTo>
                  <a:pt x="6289542" y="4755066"/>
                  <a:pt x="6291548" y="4755177"/>
                  <a:pt x="6293553" y="4755843"/>
                </a:cubicBezTo>
                <a:cubicBezTo>
                  <a:pt x="6293840" y="4756621"/>
                  <a:pt x="6294412" y="4757621"/>
                  <a:pt x="6294985" y="4758620"/>
                </a:cubicBezTo>
                <a:cubicBezTo>
                  <a:pt x="6295844" y="4759731"/>
                  <a:pt x="6296131" y="4760842"/>
                  <a:pt x="6296131" y="4762175"/>
                </a:cubicBezTo>
                <a:cubicBezTo>
                  <a:pt x="6290402" y="4766951"/>
                  <a:pt x="6284386" y="4767507"/>
                  <a:pt x="6278370" y="4765507"/>
                </a:cubicBezTo>
                <a:cubicBezTo>
                  <a:pt x="6276365" y="4760842"/>
                  <a:pt x="6281522" y="4756288"/>
                  <a:pt x="6287537" y="4755399"/>
                </a:cubicBezTo>
                <a:close/>
                <a:moveTo>
                  <a:pt x="4979827" y="4755399"/>
                </a:moveTo>
                <a:cubicBezTo>
                  <a:pt x="4981831" y="4755066"/>
                  <a:pt x="4983838" y="4755177"/>
                  <a:pt x="4985556" y="4755844"/>
                </a:cubicBezTo>
                <a:cubicBezTo>
                  <a:pt x="4986130" y="4756621"/>
                  <a:pt x="4986702" y="4757621"/>
                  <a:pt x="4987275" y="4758620"/>
                </a:cubicBezTo>
                <a:cubicBezTo>
                  <a:pt x="4987848" y="4759731"/>
                  <a:pt x="4988421" y="4760842"/>
                  <a:pt x="4988421" y="4762175"/>
                </a:cubicBezTo>
                <a:cubicBezTo>
                  <a:pt x="4982692" y="4766951"/>
                  <a:pt x="4976676" y="4767507"/>
                  <a:pt x="4970660" y="4765508"/>
                </a:cubicBezTo>
                <a:cubicBezTo>
                  <a:pt x="4968655" y="4760842"/>
                  <a:pt x="4973812" y="4756287"/>
                  <a:pt x="4979827" y="4755399"/>
                </a:cubicBezTo>
                <a:close/>
                <a:moveTo>
                  <a:pt x="3913034" y="4755398"/>
                </a:moveTo>
                <a:cubicBezTo>
                  <a:pt x="3915039" y="4755066"/>
                  <a:pt x="3917044" y="4755177"/>
                  <a:pt x="3918763" y="4755843"/>
                </a:cubicBezTo>
                <a:cubicBezTo>
                  <a:pt x="3919336" y="4756621"/>
                  <a:pt x="3919909" y="4757621"/>
                  <a:pt x="3920482" y="4758620"/>
                </a:cubicBezTo>
                <a:cubicBezTo>
                  <a:pt x="3921055" y="4759731"/>
                  <a:pt x="3921628" y="4760842"/>
                  <a:pt x="3921628" y="4762175"/>
                </a:cubicBezTo>
                <a:lnTo>
                  <a:pt x="3918763" y="4763509"/>
                </a:lnTo>
                <a:lnTo>
                  <a:pt x="3925925" y="4763397"/>
                </a:lnTo>
                <a:cubicBezTo>
                  <a:pt x="3929649" y="4767507"/>
                  <a:pt x="3927071" y="4771506"/>
                  <a:pt x="3922487" y="4774172"/>
                </a:cubicBezTo>
                <a:cubicBezTo>
                  <a:pt x="3917618" y="4776727"/>
                  <a:pt x="3910456" y="4778060"/>
                  <a:pt x="3905300" y="4776282"/>
                </a:cubicBezTo>
                <a:lnTo>
                  <a:pt x="3911029" y="4766174"/>
                </a:lnTo>
                <a:lnTo>
                  <a:pt x="3903867" y="4765507"/>
                </a:lnTo>
                <a:cubicBezTo>
                  <a:pt x="3901861" y="4760842"/>
                  <a:pt x="3907018" y="4756288"/>
                  <a:pt x="3913034" y="4755398"/>
                </a:cubicBezTo>
                <a:close/>
                <a:moveTo>
                  <a:pt x="5741250" y="4755177"/>
                </a:moveTo>
                <a:cubicBezTo>
                  <a:pt x="5742968" y="4755177"/>
                  <a:pt x="5744687" y="4755731"/>
                  <a:pt x="5744974" y="4756288"/>
                </a:cubicBezTo>
                <a:cubicBezTo>
                  <a:pt x="5743542" y="4757842"/>
                  <a:pt x="5740390" y="4758620"/>
                  <a:pt x="5738958" y="4760064"/>
                </a:cubicBezTo>
                <a:cubicBezTo>
                  <a:pt x="5738672" y="4758954"/>
                  <a:pt x="5736666" y="4758287"/>
                  <a:pt x="5736093" y="4757176"/>
                </a:cubicBezTo>
                <a:cubicBezTo>
                  <a:pt x="5737525" y="4755621"/>
                  <a:pt x="5739531" y="4755177"/>
                  <a:pt x="5741250" y="4755177"/>
                </a:cubicBezTo>
                <a:close/>
                <a:moveTo>
                  <a:pt x="4433540" y="4755177"/>
                </a:moveTo>
                <a:cubicBezTo>
                  <a:pt x="4435258" y="4755176"/>
                  <a:pt x="4436691" y="4755732"/>
                  <a:pt x="4436977" y="4756287"/>
                </a:cubicBezTo>
                <a:cubicBezTo>
                  <a:pt x="4435832" y="4757843"/>
                  <a:pt x="4432680" y="4758619"/>
                  <a:pt x="4431248" y="4760064"/>
                </a:cubicBezTo>
                <a:cubicBezTo>
                  <a:pt x="4430962" y="4758953"/>
                  <a:pt x="4428670" y="4758287"/>
                  <a:pt x="4428384" y="4757175"/>
                </a:cubicBezTo>
                <a:cubicBezTo>
                  <a:pt x="4429529" y="4755621"/>
                  <a:pt x="4431821" y="4755177"/>
                  <a:pt x="4433540" y="4755177"/>
                </a:cubicBezTo>
                <a:close/>
                <a:moveTo>
                  <a:pt x="3366748" y="4755176"/>
                </a:moveTo>
                <a:cubicBezTo>
                  <a:pt x="3368466" y="4755177"/>
                  <a:pt x="3369898" y="4755732"/>
                  <a:pt x="3370184" y="4756288"/>
                </a:cubicBezTo>
                <a:cubicBezTo>
                  <a:pt x="3369039" y="4757842"/>
                  <a:pt x="3365601" y="4758620"/>
                  <a:pt x="3364455" y="4760065"/>
                </a:cubicBezTo>
                <a:cubicBezTo>
                  <a:pt x="3364169" y="4758954"/>
                  <a:pt x="3361878" y="4758287"/>
                  <a:pt x="3361590" y="4757176"/>
                </a:cubicBezTo>
                <a:cubicBezTo>
                  <a:pt x="3362736" y="4755620"/>
                  <a:pt x="3365028" y="4755176"/>
                  <a:pt x="3366748" y="4755176"/>
                </a:cubicBezTo>
                <a:close/>
                <a:moveTo>
                  <a:pt x="2326308" y="4755066"/>
                </a:moveTo>
                <a:cubicBezTo>
                  <a:pt x="2328886" y="4754621"/>
                  <a:pt x="2331752" y="4754621"/>
                  <a:pt x="2335762" y="4755732"/>
                </a:cubicBezTo>
                <a:cubicBezTo>
                  <a:pt x="2339772" y="4759953"/>
                  <a:pt x="2339772" y="4763619"/>
                  <a:pt x="2335475" y="4769284"/>
                </a:cubicBezTo>
                <a:cubicBezTo>
                  <a:pt x="2327741" y="4770729"/>
                  <a:pt x="2314278" y="4764619"/>
                  <a:pt x="2319433" y="4757510"/>
                </a:cubicBezTo>
                <a:cubicBezTo>
                  <a:pt x="2321438" y="4756510"/>
                  <a:pt x="2323730" y="4755510"/>
                  <a:pt x="2326308" y="4755066"/>
                </a:cubicBezTo>
                <a:close/>
                <a:moveTo>
                  <a:pt x="4700811" y="4755066"/>
                </a:moveTo>
                <a:cubicBezTo>
                  <a:pt x="4703389" y="4754621"/>
                  <a:pt x="4706541" y="4754621"/>
                  <a:pt x="4710551" y="4755733"/>
                </a:cubicBezTo>
                <a:cubicBezTo>
                  <a:pt x="4714275" y="4759953"/>
                  <a:pt x="4714275" y="4763619"/>
                  <a:pt x="4710264" y="4769284"/>
                </a:cubicBezTo>
                <a:cubicBezTo>
                  <a:pt x="4702243" y="4770728"/>
                  <a:pt x="4688780" y="4764618"/>
                  <a:pt x="4693936" y="4757510"/>
                </a:cubicBezTo>
                <a:cubicBezTo>
                  <a:pt x="4696228" y="4756510"/>
                  <a:pt x="4698233" y="4755510"/>
                  <a:pt x="4700811" y="4755066"/>
                </a:cubicBezTo>
                <a:close/>
                <a:moveTo>
                  <a:pt x="3393101" y="4755066"/>
                </a:moveTo>
                <a:cubicBezTo>
                  <a:pt x="3395680" y="4754621"/>
                  <a:pt x="3398545" y="4754621"/>
                  <a:pt x="3402555" y="4755732"/>
                </a:cubicBezTo>
                <a:cubicBezTo>
                  <a:pt x="3404560" y="4757842"/>
                  <a:pt x="3405706" y="4759843"/>
                  <a:pt x="3405420" y="4761952"/>
                </a:cubicBezTo>
                <a:lnTo>
                  <a:pt x="3403987" y="4765396"/>
                </a:lnTo>
                <a:lnTo>
                  <a:pt x="3405992" y="4763953"/>
                </a:lnTo>
                <a:cubicBezTo>
                  <a:pt x="3406565" y="4764952"/>
                  <a:pt x="3406853" y="4766062"/>
                  <a:pt x="3406279" y="4767396"/>
                </a:cubicBezTo>
                <a:cubicBezTo>
                  <a:pt x="3404561" y="4771506"/>
                  <a:pt x="3398544" y="4776727"/>
                  <a:pt x="3394534" y="4778837"/>
                </a:cubicBezTo>
                <a:cubicBezTo>
                  <a:pt x="3393101" y="4776949"/>
                  <a:pt x="3394534" y="4773950"/>
                  <a:pt x="3397112" y="4771062"/>
                </a:cubicBezTo>
                <a:lnTo>
                  <a:pt x="3399405" y="4769174"/>
                </a:lnTo>
                <a:lnTo>
                  <a:pt x="3395681" y="4769062"/>
                </a:lnTo>
                <a:cubicBezTo>
                  <a:pt x="3388804" y="4767618"/>
                  <a:pt x="3382503" y="4762841"/>
                  <a:pt x="3386226" y="4757509"/>
                </a:cubicBezTo>
                <a:cubicBezTo>
                  <a:pt x="3388518" y="4756510"/>
                  <a:pt x="3390523" y="4755510"/>
                  <a:pt x="3393101" y="4755066"/>
                </a:cubicBezTo>
                <a:close/>
                <a:moveTo>
                  <a:pt x="5076652" y="4751622"/>
                </a:moveTo>
                <a:cubicBezTo>
                  <a:pt x="5080663" y="4752621"/>
                  <a:pt x="5083528" y="4755288"/>
                  <a:pt x="5084387" y="4758287"/>
                </a:cubicBezTo>
                <a:cubicBezTo>
                  <a:pt x="5084673" y="4760286"/>
                  <a:pt x="5084387" y="4762397"/>
                  <a:pt x="5082955" y="4764063"/>
                </a:cubicBezTo>
                <a:cubicBezTo>
                  <a:pt x="5080663" y="4766285"/>
                  <a:pt x="5076652" y="4767951"/>
                  <a:pt x="5069777" y="4767840"/>
                </a:cubicBezTo>
                <a:cubicBezTo>
                  <a:pt x="5063761" y="4763286"/>
                  <a:pt x="5064621" y="4759731"/>
                  <a:pt x="5061756" y="4755732"/>
                </a:cubicBezTo>
                <a:cubicBezTo>
                  <a:pt x="5067487" y="4751622"/>
                  <a:pt x="5072642" y="4750733"/>
                  <a:pt x="5076652" y="4751622"/>
                </a:cubicBezTo>
                <a:close/>
                <a:moveTo>
                  <a:pt x="3768943" y="4751622"/>
                </a:moveTo>
                <a:cubicBezTo>
                  <a:pt x="3772953" y="4752622"/>
                  <a:pt x="3775818" y="4755288"/>
                  <a:pt x="3776677" y="4758287"/>
                </a:cubicBezTo>
                <a:cubicBezTo>
                  <a:pt x="3776964" y="4760287"/>
                  <a:pt x="3776677" y="4762397"/>
                  <a:pt x="3775245" y="4764063"/>
                </a:cubicBezTo>
                <a:cubicBezTo>
                  <a:pt x="3772953" y="4766285"/>
                  <a:pt x="3768656" y="4767951"/>
                  <a:pt x="3762067" y="4767840"/>
                </a:cubicBezTo>
                <a:cubicBezTo>
                  <a:pt x="3756052" y="4763286"/>
                  <a:pt x="3756911" y="4759730"/>
                  <a:pt x="3754046" y="4755732"/>
                </a:cubicBezTo>
                <a:cubicBezTo>
                  <a:pt x="3759776" y="4751622"/>
                  <a:pt x="3764932" y="4750734"/>
                  <a:pt x="3768943" y="4751622"/>
                </a:cubicBezTo>
                <a:close/>
                <a:moveTo>
                  <a:pt x="2702149" y="4751622"/>
                </a:moveTo>
                <a:cubicBezTo>
                  <a:pt x="2706161" y="4752622"/>
                  <a:pt x="2709026" y="4755287"/>
                  <a:pt x="2709884" y="4758287"/>
                </a:cubicBezTo>
                <a:cubicBezTo>
                  <a:pt x="2710171" y="4760287"/>
                  <a:pt x="2709885" y="4762397"/>
                  <a:pt x="2708453" y="4764063"/>
                </a:cubicBezTo>
                <a:cubicBezTo>
                  <a:pt x="2706161" y="4766285"/>
                  <a:pt x="2701863" y="4767951"/>
                  <a:pt x="2695274" y="4767840"/>
                </a:cubicBezTo>
                <a:cubicBezTo>
                  <a:pt x="2689259" y="4763286"/>
                  <a:pt x="2690118" y="4759731"/>
                  <a:pt x="2687253" y="4755732"/>
                </a:cubicBezTo>
                <a:cubicBezTo>
                  <a:pt x="2692983" y="4751622"/>
                  <a:pt x="2698139" y="4750734"/>
                  <a:pt x="2702149" y="4751622"/>
                </a:cubicBezTo>
                <a:close/>
                <a:moveTo>
                  <a:pt x="5235926" y="4750622"/>
                </a:moveTo>
                <a:cubicBezTo>
                  <a:pt x="5238791" y="4753399"/>
                  <a:pt x="5241942" y="4755177"/>
                  <a:pt x="5243661" y="4756510"/>
                </a:cubicBezTo>
                <a:cubicBezTo>
                  <a:pt x="5239364" y="4760620"/>
                  <a:pt x="5233921" y="4761064"/>
                  <a:pt x="5229624" y="4756843"/>
                </a:cubicBezTo>
                <a:cubicBezTo>
                  <a:pt x="5233349" y="4754955"/>
                  <a:pt x="5232202" y="4752400"/>
                  <a:pt x="5235926" y="4750622"/>
                </a:cubicBezTo>
                <a:close/>
                <a:moveTo>
                  <a:pt x="3928217" y="4750622"/>
                </a:moveTo>
                <a:cubicBezTo>
                  <a:pt x="3931081" y="4753399"/>
                  <a:pt x="3934232" y="4755177"/>
                  <a:pt x="3935665" y="4756510"/>
                </a:cubicBezTo>
                <a:cubicBezTo>
                  <a:pt x="3931368" y="4760620"/>
                  <a:pt x="3926212" y="4761064"/>
                  <a:pt x="3921914" y="4756843"/>
                </a:cubicBezTo>
                <a:cubicBezTo>
                  <a:pt x="3925638" y="4754955"/>
                  <a:pt x="3924492" y="4752400"/>
                  <a:pt x="3928217" y="4750622"/>
                </a:cubicBezTo>
                <a:close/>
                <a:moveTo>
                  <a:pt x="2861425" y="4750622"/>
                </a:moveTo>
                <a:cubicBezTo>
                  <a:pt x="2864288" y="4753400"/>
                  <a:pt x="2867439" y="4755177"/>
                  <a:pt x="2868873" y="4756510"/>
                </a:cubicBezTo>
                <a:cubicBezTo>
                  <a:pt x="2864575" y="4760620"/>
                  <a:pt x="2859418" y="4761064"/>
                  <a:pt x="2855121" y="4756844"/>
                </a:cubicBezTo>
                <a:cubicBezTo>
                  <a:pt x="2858845" y="4754955"/>
                  <a:pt x="2857700" y="4752400"/>
                  <a:pt x="2861425" y="4750622"/>
                </a:cubicBezTo>
                <a:close/>
                <a:moveTo>
                  <a:pt x="3630294" y="4749511"/>
                </a:moveTo>
                <a:cubicBezTo>
                  <a:pt x="3633445" y="4749179"/>
                  <a:pt x="3637170" y="4751955"/>
                  <a:pt x="3638888" y="4755066"/>
                </a:cubicBezTo>
                <a:cubicBezTo>
                  <a:pt x="3640320" y="4758175"/>
                  <a:pt x="3639461" y="4761620"/>
                  <a:pt x="3632873" y="4762842"/>
                </a:cubicBezTo>
                <a:cubicBezTo>
                  <a:pt x="3631153" y="4763286"/>
                  <a:pt x="3629434" y="4762730"/>
                  <a:pt x="3628289" y="4761731"/>
                </a:cubicBezTo>
                <a:cubicBezTo>
                  <a:pt x="3624278" y="4758842"/>
                  <a:pt x="3623420" y="4751289"/>
                  <a:pt x="3630294" y="4749511"/>
                </a:cubicBezTo>
                <a:close/>
                <a:moveTo>
                  <a:pt x="4938004" y="4749511"/>
                </a:moveTo>
                <a:cubicBezTo>
                  <a:pt x="4941154" y="4749179"/>
                  <a:pt x="4944879" y="4751955"/>
                  <a:pt x="4946598" y="4755066"/>
                </a:cubicBezTo>
                <a:cubicBezTo>
                  <a:pt x="4948030" y="4758176"/>
                  <a:pt x="4947170" y="4761620"/>
                  <a:pt x="4940582" y="4762841"/>
                </a:cubicBezTo>
                <a:cubicBezTo>
                  <a:pt x="4938863" y="4763286"/>
                  <a:pt x="4937144" y="4762730"/>
                  <a:pt x="4935998" y="4761731"/>
                </a:cubicBezTo>
                <a:cubicBezTo>
                  <a:pt x="4931988" y="4758842"/>
                  <a:pt x="4931129" y="4751289"/>
                  <a:pt x="4938004" y="4749511"/>
                </a:cubicBezTo>
                <a:close/>
                <a:moveTo>
                  <a:pt x="2563501" y="4749511"/>
                </a:moveTo>
                <a:cubicBezTo>
                  <a:pt x="2566652" y="4749178"/>
                  <a:pt x="2570377" y="4751955"/>
                  <a:pt x="2572095" y="4755066"/>
                </a:cubicBezTo>
                <a:cubicBezTo>
                  <a:pt x="2573527" y="4758176"/>
                  <a:pt x="2572668" y="4761620"/>
                  <a:pt x="2566080" y="4762842"/>
                </a:cubicBezTo>
                <a:cubicBezTo>
                  <a:pt x="2564360" y="4763286"/>
                  <a:pt x="2562641" y="4762730"/>
                  <a:pt x="2561495" y="4761731"/>
                </a:cubicBezTo>
                <a:cubicBezTo>
                  <a:pt x="2557486" y="4758843"/>
                  <a:pt x="2556626" y="4751289"/>
                  <a:pt x="2563501" y="4749511"/>
                </a:cubicBezTo>
                <a:close/>
                <a:moveTo>
                  <a:pt x="2731083" y="4747956"/>
                </a:moveTo>
                <a:cubicBezTo>
                  <a:pt x="2727646" y="4751622"/>
                  <a:pt x="2717906" y="4757399"/>
                  <a:pt x="2715613" y="4756843"/>
                </a:cubicBezTo>
                <a:cubicBezTo>
                  <a:pt x="2718191" y="4754733"/>
                  <a:pt x="2727359" y="4747845"/>
                  <a:pt x="2731083" y="4747956"/>
                </a:cubicBezTo>
                <a:close/>
                <a:moveTo>
                  <a:pt x="5105585" y="4747956"/>
                </a:moveTo>
                <a:cubicBezTo>
                  <a:pt x="5102148" y="4751622"/>
                  <a:pt x="5092408" y="4757398"/>
                  <a:pt x="5090116" y="4756843"/>
                </a:cubicBezTo>
                <a:cubicBezTo>
                  <a:pt x="5092694" y="4754732"/>
                  <a:pt x="5101861" y="4747845"/>
                  <a:pt x="5105585" y="4747956"/>
                </a:cubicBezTo>
                <a:close/>
                <a:moveTo>
                  <a:pt x="3797876" y="4747956"/>
                </a:moveTo>
                <a:cubicBezTo>
                  <a:pt x="3794438" y="4751622"/>
                  <a:pt x="3784698" y="4757399"/>
                  <a:pt x="3782406" y="4756844"/>
                </a:cubicBezTo>
                <a:cubicBezTo>
                  <a:pt x="3784985" y="4754732"/>
                  <a:pt x="3794151" y="4747845"/>
                  <a:pt x="3797876" y="4747956"/>
                </a:cubicBezTo>
                <a:close/>
                <a:moveTo>
                  <a:pt x="3682717" y="4746735"/>
                </a:moveTo>
                <a:cubicBezTo>
                  <a:pt x="3685868" y="4746846"/>
                  <a:pt x="3689592" y="4747512"/>
                  <a:pt x="3694463" y="4750400"/>
                </a:cubicBezTo>
                <a:cubicBezTo>
                  <a:pt x="3703915" y="4757399"/>
                  <a:pt x="3695035" y="4763508"/>
                  <a:pt x="3696468" y="4763730"/>
                </a:cubicBezTo>
                <a:cubicBezTo>
                  <a:pt x="3698186" y="4765063"/>
                  <a:pt x="3698186" y="4765063"/>
                  <a:pt x="3699905" y="4765285"/>
                </a:cubicBezTo>
                <a:cubicBezTo>
                  <a:pt x="3699618" y="4766396"/>
                  <a:pt x="3701052" y="4768951"/>
                  <a:pt x="3702769" y="4770284"/>
                </a:cubicBezTo>
                <a:cubicBezTo>
                  <a:pt x="3701051" y="4770173"/>
                  <a:pt x="3699332" y="4769951"/>
                  <a:pt x="3699333" y="4771061"/>
                </a:cubicBezTo>
                <a:cubicBezTo>
                  <a:pt x="3696181" y="4768396"/>
                  <a:pt x="3696181" y="4767285"/>
                  <a:pt x="3694749" y="4765841"/>
                </a:cubicBezTo>
                <a:cubicBezTo>
                  <a:pt x="3694462" y="4767062"/>
                  <a:pt x="3693030" y="4765730"/>
                  <a:pt x="3693030" y="4765730"/>
                </a:cubicBezTo>
                <a:cubicBezTo>
                  <a:pt x="3693030" y="4765730"/>
                  <a:pt x="3693030" y="4765730"/>
                  <a:pt x="3689307" y="4767729"/>
                </a:cubicBezTo>
                <a:cubicBezTo>
                  <a:pt x="3689307" y="4767729"/>
                  <a:pt x="3680426" y="4771506"/>
                  <a:pt x="3672691" y="4765841"/>
                </a:cubicBezTo>
                <a:cubicBezTo>
                  <a:pt x="3674410" y="4764841"/>
                  <a:pt x="3664956" y="4756732"/>
                  <a:pt x="3668967" y="4752400"/>
                </a:cubicBezTo>
                <a:cubicBezTo>
                  <a:pt x="3670686" y="4750178"/>
                  <a:pt x="3672404" y="4749179"/>
                  <a:pt x="3674410" y="4747068"/>
                </a:cubicBezTo>
                <a:cubicBezTo>
                  <a:pt x="3676988" y="4747290"/>
                  <a:pt x="3679567" y="4746734"/>
                  <a:pt x="3682717" y="4746735"/>
                </a:cubicBezTo>
                <a:close/>
                <a:moveTo>
                  <a:pt x="6057220" y="4746734"/>
                </a:moveTo>
                <a:cubicBezTo>
                  <a:pt x="6060371" y="4746846"/>
                  <a:pt x="6064095" y="4747512"/>
                  <a:pt x="6068965" y="4750400"/>
                </a:cubicBezTo>
                <a:cubicBezTo>
                  <a:pt x="6078418" y="4757398"/>
                  <a:pt x="6069538" y="4763508"/>
                  <a:pt x="6070970" y="4763730"/>
                </a:cubicBezTo>
                <a:cubicBezTo>
                  <a:pt x="6072689" y="4765064"/>
                  <a:pt x="6072689" y="4765064"/>
                  <a:pt x="6074408" y="4765285"/>
                </a:cubicBezTo>
                <a:cubicBezTo>
                  <a:pt x="6074121" y="4766396"/>
                  <a:pt x="6075554" y="4768951"/>
                  <a:pt x="6077272" y="4770284"/>
                </a:cubicBezTo>
                <a:cubicBezTo>
                  <a:pt x="6075554" y="4770173"/>
                  <a:pt x="6073834" y="4769951"/>
                  <a:pt x="6073834" y="4771061"/>
                </a:cubicBezTo>
                <a:cubicBezTo>
                  <a:pt x="6070684" y="4768396"/>
                  <a:pt x="6070969" y="4767285"/>
                  <a:pt x="6069251" y="4765841"/>
                </a:cubicBezTo>
                <a:cubicBezTo>
                  <a:pt x="6069251" y="4767062"/>
                  <a:pt x="6067532" y="4765730"/>
                  <a:pt x="6067532" y="4765730"/>
                </a:cubicBezTo>
                <a:cubicBezTo>
                  <a:pt x="6067532" y="4765730"/>
                  <a:pt x="6067532" y="4765730"/>
                  <a:pt x="6063808" y="4767729"/>
                </a:cubicBezTo>
                <a:cubicBezTo>
                  <a:pt x="6063808" y="4767729"/>
                  <a:pt x="6054928" y="4771506"/>
                  <a:pt x="6047194" y="4765841"/>
                </a:cubicBezTo>
                <a:cubicBezTo>
                  <a:pt x="6048912" y="4764841"/>
                  <a:pt x="6039746" y="4756731"/>
                  <a:pt x="6043470" y="4752400"/>
                </a:cubicBezTo>
                <a:cubicBezTo>
                  <a:pt x="6045474" y="4750179"/>
                  <a:pt x="6047194" y="4749179"/>
                  <a:pt x="6049198" y="4747068"/>
                </a:cubicBezTo>
                <a:cubicBezTo>
                  <a:pt x="6051490" y="4747290"/>
                  <a:pt x="6054068" y="4746735"/>
                  <a:pt x="6057220" y="4746734"/>
                </a:cubicBezTo>
                <a:close/>
                <a:moveTo>
                  <a:pt x="4749510" y="4746734"/>
                </a:moveTo>
                <a:cubicBezTo>
                  <a:pt x="4752661" y="4746846"/>
                  <a:pt x="4756385" y="4747512"/>
                  <a:pt x="4761255" y="4750400"/>
                </a:cubicBezTo>
                <a:cubicBezTo>
                  <a:pt x="4770708" y="4757398"/>
                  <a:pt x="4761828" y="4763509"/>
                  <a:pt x="4763260" y="4763730"/>
                </a:cubicBezTo>
                <a:cubicBezTo>
                  <a:pt x="4764979" y="4765063"/>
                  <a:pt x="4764979" y="4765063"/>
                  <a:pt x="4766698" y="4765285"/>
                </a:cubicBezTo>
                <a:lnTo>
                  <a:pt x="4768130" y="4767729"/>
                </a:lnTo>
                <a:lnTo>
                  <a:pt x="4774719" y="4768396"/>
                </a:lnTo>
                <a:cubicBezTo>
                  <a:pt x="4774719" y="4769507"/>
                  <a:pt x="4774719" y="4769507"/>
                  <a:pt x="4774719" y="4769507"/>
                </a:cubicBezTo>
                <a:lnTo>
                  <a:pt x="4768990" y="4769618"/>
                </a:lnTo>
                <a:lnTo>
                  <a:pt x="4769562" y="4770283"/>
                </a:lnTo>
                <a:cubicBezTo>
                  <a:pt x="4767844" y="4770173"/>
                  <a:pt x="4766125" y="4769951"/>
                  <a:pt x="4766125" y="4771061"/>
                </a:cubicBezTo>
                <a:lnTo>
                  <a:pt x="4764692" y="4769840"/>
                </a:lnTo>
                <a:lnTo>
                  <a:pt x="4757244" y="4770728"/>
                </a:lnTo>
                <a:cubicBezTo>
                  <a:pt x="4755239" y="4770728"/>
                  <a:pt x="4752948" y="4770506"/>
                  <a:pt x="4750942" y="4769840"/>
                </a:cubicBezTo>
                <a:cubicBezTo>
                  <a:pt x="4750942" y="4769840"/>
                  <a:pt x="4750942" y="4769840"/>
                  <a:pt x="4752661" y="4769951"/>
                </a:cubicBezTo>
                <a:lnTo>
                  <a:pt x="4750942" y="4768840"/>
                </a:lnTo>
                <a:lnTo>
                  <a:pt x="4750656" y="4768840"/>
                </a:lnTo>
                <a:cubicBezTo>
                  <a:pt x="4747506" y="4769062"/>
                  <a:pt x="4743494" y="4768729"/>
                  <a:pt x="4739484" y="4765841"/>
                </a:cubicBezTo>
                <a:cubicBezTo>
                  <a:pt x="4741202" y="4764841"/>
                  <a:pt x="4731749" y="4756732"/>
                  <a:pt x="4735760" y="4752399"/>
                </a:cubicBezTo>
                <a:cubicBezTo>
                  <a:pt x="4737478" y="4750179"/>
                  <a:pt x="4739484" y="4749178"/>
                  <a:pt x="4741203" y="4747067"/>
                </a:cubicBezTo>
                <a:cubicBezTo>
                  <a:pt x="4743781" y="4747290"/>
                  <a:pt x="4746359" y="4746735"/>
                  <a:pt x="4749510" y="4746734"/>
                </a:cubicBezTo>
                <a:close/>
                <a:moveTo>
                  <a:pt x="4693650" y="4743180"/>
                </a:moveTo>
                <a:cubicBezTo>
                  <a:pt x="4695368" y="4743291"/>
                  <a:pt x="4697374" y="4743735"/>
                  <a:pt x="4698233" y="4743513"/>
                </a:cubicBezTo>
                <a:cubicBezTo>
                  <a:pt x="4699379" y="4743735"/>
                  <a:pt x="4700238" y="4744069"/>
                  <a:pt x="4701098" y="4744513"/>
                </a:cubicBezTo>
                <a:cubicBezTo>
                  <a:pt x="4701670" y="4744957"/>
                  <a:pt x="4701957" y="4745513"/>
                  <a:pt x="4701384" y="4746290"/>
                </a:cubicBezTo>
                <a:cubicBezTo>
                  <a:pt x="4700238" y="4747735"/>
                  <a:pt x="4700811" y="4748845"/>
                  <a:pt x="4697087" y="4748734"/>
                </a:cubicBezTo>
                <a:cubicBezTo>
                  <a:pt x="4695368" y="4749179"/>
                  <a:pt x="4693364" y="4748512"/>
                  <a:pt x="4691644" y="4748956"/>
                </a:cubicBezTo>
                <a:cubicBezTo>
                  <a:pt x="4691644" y="4748956"/>
                  <a:pt x="4691071" y="4748290"/>
                  <a:pt x="4690212" y="4747401"/>
                </a:cubicBezTo>
                <a:cubicBezTo>
                  <a:pt x="4689639" y="4746513"/>
                  <a:pt x="4689066" y="4745401"/>
                  <a:pt x="4689639" y="4744623"/>
                </a:cubicBezTo>
                <a:cubicBezTo>
                  <a:pt x="4689925" y="4743291"/>
                  <a:pt x="4691644" y="4743068"/>
                  <a:pt x="4693650" y="4743180"/>
                </a:cubicBezTo>
                <a:close/>
                <a:moveTo>
                  <a:pt x="2319147" y="4743180"/>
                </a:moveTo>
                <a:cubicBezTo>
                  <a:pt x="2320865" y="4743291"/>
                  <a:pt x="2322872" y="4743735"/>
                  <a:pt x="2323730" y="4743513"/>
                </a:cubicBezTo>
                <a:cubicBezTo>
                  <a:pt x="2324876" y="4743734"/>
                  <a:pt x="2325735" y="4744068"/>
                  <a:pt x="2326595" y="4744513"/>
                </a:cubicBezTo>
                <a:cubicBezTo>
                  <a:pt x="2327169" y="4744957"/>
                  <a:pt x="2327455" y="4745512"/>
                  <a:pt x="2326881" y="4746289"/>
                </a:cubicBezTo>
                <a:cubicBezTo>
                  <a:pt x="2325735" y="4747734"/>
                  <a:pt x="2326308" y="4748845"/>
                  <a:pt x="2322584" y="4748734"/>
                </a:cubicBezTo>
                <a:cubicBezTo>
                  <a:pt x="2320865" y="4749179"/>
                  <a:pt x="2318860" y="4748512"/>
                  <a:pt x="2317141" y="4748955"/>
                </a:cubicBezTo>
                <a:cubicBezTo>
                  <a:pt x="2317141" y="4748955"/>
                  <a:pt x="2316282" y="4748290"/>
                  <a:pt x="2315710" y="4747401"/>
                </a:cubicBezTo>
                <a:cubicBezTo>
                  <a:pt x="2315136" y="4746512"/>
                  <a:pt x="2314563" y="4745401"/>
                  <a:pt x="2315136" y="4744624"/>
                </a:cubicBezTo>
                <a:cubicBezTo>
                  <a:pt x="2315424" y="4743291"/>
                  <a:pt x="2317141" y="4743069"/>
                  <a:pt x="2319147" y="4743180"/>
                </a:cubicBezTo>
                <a:close/>
                <a:moveTo>
                  <a:pt x="5713462" y="4741736"/>
                </a:moveTo>
                <a:cubicBezTo>
                  <a:pt x="5715754" y="4742291"/>
                  <a:pt x="5716328" y="4743291"/>
                  <a:pt x="5716900" y="4744291"/>
                </a:cubicBezTo>
                <a:cubicBezTo>
                  <a:pt x="5716614" y="4746957"/>
                  <a:pt x="5716327" y="4749622"/>
                  <a:pt x="5715754" y="4752289"/>
                </a:cubicBezTo>
                <a:cubicBezTo>
                  <a:pt x="5712890" y="4756954"/>
                  <a:pt x="5710312" y="4761731"/>
                  <a:pt x="5704296" y="4761175"/>
                </a:cubicBezTo>
                <a:cubicBezTo>
                  <a:pt x="5704869" y="4755954"/>
                  <a:pt x="5704582" y="4752178"/>
                  <a:pt x="5705442" y="4746956"/>
                </a:cubicBezTo>
                <a:cubicBezTo>
                  <a:pt x="5706301" y="4745400"/>
                  <a:pt x="5711457" y="4741180"/>
                  <a:pt x="5713462" y="4741736"/>
                </a:cubicBezTo>
                <a:close/>
                <a:moveTo>
                  <a:pt x="4405753" y="4741736"/>
                </a:moveTo>
                <a:cubicBezTo>
                  <a:pt x="4408044" y="4742291"/>
                  <a:pt x="4408618" y="4743291"/>
                  <a:pt x="4409190" y="4744291"/>
                </a:cubicBezTo>
                <a:cubicBezTo>
                  <a:pt x="4408904" y="4746957"/>
                  <a:pt x="4408618" y="4749622"/>
                  <a:pt x="4408044" y="4752289"/>
                </a:cubicBezTo>
                <a:cubicBezTo>
                  <a:pt x="4405180" y="4756954"/>
                  <a:pt x="4402315" y="4761730"/>
                  <a:pt x="4396300" y="4761175"/>
                </a:cubicBezTo>
                <a:cubicBezTo>
                  <a:pt x="4397159" y="4755954"/>
                  <a:pt x="4396872" y="4752177"/>
                  <a:pt x="4397732" y="4746957"/>
                </a:cubicBezTo>
                <a:cubicBezTo>
                  <a:pt x="4398591" y="4745401"/>
                  <a:pt x="4403748" y="4741180"/>
                  <a:pt x="4405753" y="4741736"/>
                </a:cubicBezTo>
                <a:close/>
                <a:moveTo>
                  <a:pt x="3338960" y="4741736"/>
                </a:moveTo>
                <a:cubicBezTo>
                  <a:pt x="3341251" y="4742290"/>
                  <a:pt x="3341825" y="4743291"/>
                  <a:pt x="3342397" y="4744291"/>
                </a:cubicBezTo>
                <a:cubicBezTo>
                  <a:pt x="3342112" y="4746956"/>
                  <a:pt x="3341825" y="4749623"/>
                  <a:pt x="3341251" y="4752288"/>
                </a:cubicBezTo>
                <a:cubicBezTo>
                  <a:pt x="3338387" y="4756954"/>
                  <a:pt x="3335522" y="4761731"/>
                  <a:pt x="3329506" y="4761175"/>
                </a:cubicBezTo>
                <a:cubicBezTo>
                  <a:pt x="3330366" y="4755955"/>
                  <a:pt x="3330079" y="4752178"/>
                  <a:pt x="3330652" y="4746956"/>
                </a:cubicBezTo>
                <a:cubicBezTo>
                  <a:pt x="3331799" y="4745401"/>
                  <a:pt x="3336668" y="4741179"/>
                  <a:pt x="3338960" y="4741736"/>
                </a:cubicBezTo>
                <a:close/>
                <a:moveTo>
                  <a:pt x="5121341" y="4737959"/>
                </a:moveTo>
                <a:cubicBezTo>
                  <a:pt x="5124205" y="4737403"/>
                  <a:pt x="5127070" y="4737403"/>
                  <a:pt x="5130794" y="4738404"/>
                </a:cubicBezTo>
                <a:cubicBezTo>
                  <a:pt x="5133946" y="4742514"/>
                  <a:pt x="5133086" y="4746290"/>
                  <a:pt x="5127643" y="4751955"/>
                </a:cubicBezTo>
                <a:cubicBezTo>
                  <a:pt x="5119622" y="4753622"/>
                  <a:pt x="5107305" y="4747734"/>
                  <a:pt x="5113892" y="4740625"/>
                </a:cubicBezTo>
                <a:cubicBezTo>
                  <a:pt x="5116184" y="4739514"/>
                  <a:pt x="5118762" y="4738515"/>
                  <a:pt x="5121341" y="4737959"/>
                </a:cubicBezTo>
                <a:close/>
                <a:moveTo>
                  <a:pt x="3813631" y="4737959"/>
                </a:moveTo>
                <a:cubicBezTo>
                  <a:pt x="3816209" y="4737403"/>
                  <a:pt x="3819360" y="4737404"/>
                  <a:pt x="3823084" y="4738404"/>
                </a:cubicBezTo>
                <a:cubicBezTo>
                  <a:pt x="3826235" y="4742513"/>
                  <a:pt x="3825376" y="4746289"/>
                  <a:pt x="3819933" y="4751955"/>
                </a:cubicBezTo>
                <a:cubicBezTo>
                  <a:pt x="3811912" y="4753622"/>
                  <a:pt x="3799594" y="4747735"/>
                  <a:pt x="3806183" y="4740625"/>
                </a:cubicBezTo>
                <a:cubicBezTo>
                  <a:pt x="3808474" y="4739514"/>
                  <a:pt x="3810766" y="4738514"/>
                  <a:pt x="3813631" y="4737959"/>
                </a:cubicBezTo>
                <a:close/>
                <a:moveTo>
                  <a:pt x="2746838" y="4737958"/>
                </a:moveTo>
                <a:cubicBezTo>
                  <a:pt x="2749416" y="4737404"/>
                  <a:pt x="2752567" y="4737403"/>
                  <a:pt x="2756291" y="4738403"/>
                </a:cubicBezTo>
                <a:cubicBezTo>
                  <a:pt x="2759156" y="4742514"/>
                  <a:pt x="2758583" y="4746290"/>
                  <a:pt x="2753140" y="4751954"/>
                </a:cubicBezTo>
                <a:cubicBezTo>
                  <a:pt x="2744833" y="4753621"/>
                  <a:pt x="2732801" y="4747735"/>
                  <a:pt x="2739390" y="4740625"/>
                </a:cubicBezTo>
                <a:cubicBezTo>
                  <a:pt x="2741683" y="4739514"/>
                  <a:pt x="2743973" y="4738515"/>
                  <a:pt x="2746838" y="4737958"/>
                </a:cubicBezTo>
                <a:close/>
                <a:moveTo>
                  <a:pt x="2974577" y="4737737"/>
                </a:moveTo>
                <a:lnTo>
                  <a:pt x="2979448" y="4739181"/>
                </a:lnTo>
                <a:lnTo>
                  <a:pt x="2980593" y="4738181"/>
                </a:lnTo>
                <a:cubicBezTo>
                  <a:pt x="2983745" y="4739847"/>
                  <a:pt x="2986609" y="4741625"/>
                  <a:pt x="2988041" y="4744180"/>
                </a:cubicBezTo>
                <a:lnTo>
                  <a:pt x="2992624" y="4747512"/>
                </a:lnTo>
                <a:cubicBezTo>
                  <a:pt x="2990046" y="4750400"/>
                  <a:pt x="2992338" y="4752289"/>
                  <a:pt x="2989473" y="4755177"/>
                </a:cubicBezTo>
                <a:cubicBezTo>
                  <a:pt x="2977728" y="4750400"/>
                  <a:pt x="2964264" y="4745957"/>
                  <a:pt x="2967415" y="4738181"/>
                </a:cubicBezTo>
                <a:cubicBezTo>
                  <a:pt x="2969708" y="4737403"/>
                  <a:pt x="2972286" y="4737404"/>
                  <a:pt x="2974577" y="4737737"/>
                </a:cubicBezTo>
                <a:close/>
                <a:moveTo>
                  <a:pt x="5349080" y="4737737"/>
                </a:moveTo>
                <a:lnTo>
                  <a:pt x="5353950" y="4739181"/>
                </a:lnTo>
                <a:lnTo>
                  <a:pt x="5355382" y="4738181"/>
                </a:lnTo>
                <a:cubicBezTo>
                  <a:pt x="5358247" y="4739847"/>
                  <a:pt x="5361398" y="4741625"/>
                  <a:pt x="5362544" y="4744180"/>
                </a:cubicBezTo>
                <a:lnTo>
                  <a:pt x="5367127" y="4747512"/>
                </a:lnTo>
                <a:cubicBezTo>
                  <a:pt x="5364549" y="4750400"/>
                  <a:pt x="5366841" y="4752289"/>
                  <a:pt x="5364262" y="4755177"/>
                </a:cubicBezTo>
                <a:cubicBezTo>
                  <a:pt x="5352518" y="4750400"/>
                  <a:pt x="5338767" y="4745957"/>
                  <a:pt x="5341918" y="4738181"/>
                </a:cubicBezTo>
                <a:cubicBezTo>
                  <a:pt x="5344210" y="4737404"/>
                  <a:pt x="5346789" y="4737403"/>
                  <a:pt x="5349080" y="4737737"/>
                </a:cubicBezTo>
                <a:close/>
                <a:moveTo>
                  <a:pt x="2437456" y="4735071"/>
                </a:moveTo>
                <a:cubicBezTo>
                  <a:pt x="2444332" y="4735293"/>
                  <a:pt x="2454932" y="4736181"/>
                  <a:pt x="2458368" y="4741180"/>
                </a:cubicBezTo>
                <a:cubicBezTo>
                  <a:pt x="2459515" y="4742846"/>
                  <a:pt x="2460087" y="4745068"/>
                  <a:pt x="2459228" y="4747845"/>
                </a:cubicBezTo>
                <a:cubicBezTo>
                  <a:pt x="2456936" y="4748401"/>
                  <a:pt x="2454644" y="4748956"/>
                  <a:pt x="2452354" y="4749511"/>
                </a:cubicBezTo>
                <a:cubicBezTo>
                  <a:pt x="2448342" y="4742846"/>
                  <a:pt x="2440894" y="4740292"/>
                  <a:pt x="2437456" y="4735071"/>
                </a:cubicBezTo>
                <a:close/>
                <a:moveTo>
                  <a:pt x="3149034" y="4733738"/>
                </a:moveTo>
                <a:cubicBezTo>
                  <a:pt x="3149034" y="4734849"/>
                  <a:pt x="3150753" y="4737293"/>
                  <a:pt x="3149320" y="4738514"/>
                </a:cubicBezTo>
                <a:cubicBezTo>
                  <a:pt x="3147601" y="4739625"/>
                  <a:pt x="3147601" y="4739625"/>
                  <a:pt x="3144451" y="4739514"/>
                </a:cubicBezTo>
                <a:cubicBezTo>
                  <a:pt x="3145883" y="4735960"/>
                  <a:pt x="3145883" y="4735960"/>
                  <a:pt x="3149034" y="4733738"/>
                </a:cubicBezTo>
                <a:close/>
                <a:moveTo>
                  <a:pt x="5523537" y="4733737"/>
                </a:moveTo>
                <a:cubicBezTo>
                  <a:pt x="5523537" y="4734848"/>
                  <a:pt x="5525256" y="4737292"/>
                  <a:pt x="5523823" y="4738514"/>
                </a:cubicBezTo>
                <a:cubicBezTo>
                  <a:pt x="5522104" y="4739625"/>
                  <a:pt x="5522104" y="4739625"/>
                  <a:pt x="5518953" y="4739514"/>
                </a:cubicBezTo>
                <a:cubicBezTo>
                  <a:pt x="5520386" y="4735960"/>
                  <a:pt x="5520386" y="4735960"/>
                  <a:pt x="5523537" y="4733737"/>
                </a:cubicBezTo>
                <a:close/>
                <a:moveTo>
                  <a:pt x="3294271" y="4732071"/>
                </a:moveTo>
                <a:cubicBezTo>
                  <a:pt x="3295991" y="4731739"/>
                  <a:pt x="3297995" y="4732071"/>
                  <a:pt x="3299428" y="4733627"/>
                </a:cubicBezTo>
                <a:cubicBezTo>
                  <a:pt x="3299141" y="4736180"/>
                  <a:pt x="3297136" y="4739070"/>
                  <a:pt x="3294844" y="4741847"/>
                </a:cubicBezTo>
                <a:cubicBezTo>
                  <a:pt x="3285391" y="4740847"/>
                  <a:pt x="3289115" y="4733293"/>
                  <a:pt x="3294271" y="4732071"/>
                </a:cubicBezTo>
                <a:close/>
                <a:moveTo>
                  <a:pt x="2227478" y="4732071"/>
                </a:moveTo>
                <a:cubicBezTo>
                  <a:pt x="2229198" y="4731738"/>
                  <a:pt x="2231202" y="4732070"/>
                  <a:pt x="2232634" y="4733627"/>
                </a:cubicBezTo>
                <a:cubicBezTo>
                  <a:pt x="2232348" y="4736181"/>
                  <a:pt x="2230343" y="4739070"/>
                  <a:pt x="2228051" y="4741847"/>
                </a:cubicBezTo>
                <a:cubicBezTo>
                  <a:pt x="2218598" y="4740847"/>
                  <a:pt x="2222322" y="4733294"/>
                  <a:pt x="2227478" y="4732071"/>
                </a:cubicBezTo>
                <a:close/>
                <a:moveTo>
                  <a:pt x="5775626" y="4731294"/>
                </a:moveTo>
                <a:cubicBezTo>
                  <a:pt x="5777058" y="4731072"/>
                  <a:pt x="5778489" y="4731183"/>
                  <a:pt x="5780208" y="4731738"/>
                </a:cubicBezTo>
                <a:cubicBezTo>
                  <a:pt x="5781068" y="4734070"/>
                  <a:pt x="5781354" y="4735182"/>
                  <a:pt x="5780782" y="4737737"/>
                </a:cubicBezTo>
                <a:cubicBezTo>
                  <a:pt x="5770469" y="4748956"/>
                  <a:pt x="5761016" y="4747512"/>
                  <a:pt x="5759870" y="4749067"/>
                </a:cubicBezTo>
                <a:cubicBezTo>
                  <a:pt x="5753568" y="4746846"/>
                  <a:pt x="5755859" y="4743846"/>
                  <a:pt x="5757578" y="4738514"/>
                </a:cubicBezTo>
                <a:cubicBezTo>
                  <a:pt x="5759584" y="4739181"/>
                  <a:pt x="5763308" y="4734626"/>
                  <a:pt x="5764453" y="4733071"/>
                </a:cubicBezTo>
                <a:cubicBezTo>
                  <a:pt x="5767604" y="4734182"/>
                  <a:pt x="5771328" y="4731627"/>
                  <a:pt x="5775626" y="4731294"/>
                </a:cubicBezTo>
                <a:close/>
                <a:moveTo>
                  <a:pt x="4467916" y="4731294"/>
                </a:moveTo>
                <a:cubicBezTo>
                  <a:pt x="4469348" y="4731072"/>
                  <a:pt x="4470780" y="4731183"/>
                  <a:pt x="4472212" y="4731738"/>
                </a:cubicBezTo>
                <a:cubicBezTo>
                  <a:pt x="4473072" y="4734071"/>
                  <a:pt x="4473645" y="4735182"/>
                  <a:pt x="4472786" y="4737737"/>
                </a:cubicBezTo>
                <a:cubicBezTo>
                  <a:pt x="4462759" y="4748956"/>
                  <a:pt x="4453305" y="4747512"/>
                  <a:pt x="4452160" y="4749067"/>
                </a:cubicBezTo>
                <a:cubicBezTo>
                  <a:pt x="4445858" y="4746846"/>
                  <a:pt x="4448150" y="4743846"/>
                  <a:pt x="4449868" y="4738514"/>
                </a:cubicBezTo>
                <a:cubicBezTo>
                  <a:pt x="4451874" y="4739181"/>
                  <a:pt x="4455598" y="4734626"/>
                  <a:pt x="4456744" y="4733071"/>
                </a:cubicBezTo>
                <a:cubicBezTo>
                  <a:pt x="4459894" y="4734182"/>
                  <a:pt x="4463618" y="4731627"/>
                  <a:pt x="4467916" y="4731294"/>
                </a:cubicBezTo>
                <a:close/>
                <a:moveTo>
                  <a:pt x="3401122" y="4731294"/>
                </a:moveTo>
                <a:cubicBezTo>
                  <a:pt x="3402555" y="4731072"/>
                  <a:pt x="3403988" y="4731182"/>
                  <a:pt x="3405419" y="4731739"/>
                </a:cubicBezTo>
                <a:cubicBezTo>
                  <a:pt x="3406279" y="4734071"/>
                  <a:pt x="3406852" y="4735182"/>
                  <a:pt x="3405993" y="4737737"/>
                </a:cubicBezTo>
                <a:cubicBezTo>
                  <a:pt x="3403414" y="4740514"/>
                  <a:pt x="3401122" y="4742514"/>
                  <a:pt x="3398832" y="4743957"/>
                </a:cubicBezTo>
                <a:lnTo>
                  <a:pt x="3393674" y="4746401"/>
                </a:lnTo>
                <a:lnTo>
                  <a:pt x="3392529" y="4748179"/>
                </a:lnTo>
                <a:cubicBezTo>
                  <a:pt x="3391956" y="4748623"/>
                  <a:pt x="3391096" y="4748845"/>
                  <a:pt x="3389377" y="4748734"/>
                </a:cubicBezTo>
                <a:lnTo>
                  <a:pt x="3385940" y="4748845"/>
                </a:lnTo>
                <a:lnTo>
                  <a:pt x="3385367" y="4749066"/>
                </a:lnTo>
                <a:lnTo>
                  <a:pt x="3385080" y="4748845"/>
                </a:lnTo>
                <a:lnTo>
                  <a:pt x="3383935" y="4748956"/>
                </a:lnTo>
                <a:cubicBezTo>
                  <a:pt x="3383935" y="4748956"/>
                  <a:pt x="3383075" y="4748290"/>
                  <a:pt x="3382502" y="4747401"/>
                </a:cubicBezTo>
                <a:lnTo>
                  <a:pt x="3382216" y="4746068"/>
                </a:lnTo>
                <a:lnTo>
                  <a:pt x="3381070" y="4744957"/>
                </a:lnTo>
                <a:cubicBezTo>
                  <a:pt x="3381071" y="4743291"/>
                  <a:pt x="3382216" y="4741180"/>
                  <a:pt x="3383075" y="4738515"/>
                </a:cubicBezTo>
                <a:cubicBezTo>
                  <a:pt x="3385080" y="4739181"/>
                  <a:pt x="3388804" y="4734626"/>
                  <a:pt x="3389951" y="4733071"/>
                </a:cubicBezTo>
                <a:cubicBezTo>
                  <a:pt x="3393101" y="4734182"/>
                  <a:pt x="3396826" y="4731627"/>
                  <a:pt x="3401122" y="4731294"/>
                </a:cubicBezTo>
                <a:close/>
                <a:moveTo>
                  <a:pt x="5523250" y="4730295"/>
                </a:moveTo>
                <a:cubicBezTo>
                  <a:pt x="5524969" y="4730294"/>
                  <a:pt x="5524969" y="4731627"/>
                  <a:pt x="5523537" y="4732849"/>
                </a:cubicBezTo>
                <a:cubicBezTo>
                  <a:pt x="5523537" y="4732849"/>
                  <a:pt x="5522104" y="4732849"/>
                  <a:pt x="5522104" y="4732849"/>
                </a:cubicBezTo>
                <a:cubicBezTo>
                  <a:pt x="5522104" y="4731516"/>
                  <a:pt x="5521819" y="4730294"/>
                  <a:pt x="5523250" y="4730295"/>
                </a:cubicBezTo>
                <a:close/>
                <a:moveTo>
                  <a:pt x="3148747" y="4730294"/>
                </a:moveTo>
                <a:cubicBezTo>
                  <a:pt x="3150466" y="4730294"/>
                  <a:pt x="3150466" y="4731627"/>
                  <a:pt x="3149034" y="4732849"/>
                </a:cubicBezTo>
                <a:cubicBezTo>
                  <a:pt x="3149034" y="4732849"/>
                  <a:pt x="3147315" y="4732848"/>
                  <a:pt x="3147315" y="4732848"/>
                </a:cubicBezTo>
                <a:cubicBezTo>
                  <a:pt x="3147315" y="4731516"/>
                  <a:pt x="3147316" y="4730294"/>
                  <a:pt x="3148747" y="4730294"/>
                </a:cubicBezTo>
                <a:close/>
                <a:moveTo>
                  <a:pt x="3263333" y="4729627"/>
                </a:moveTo>
                <a:cubicBezTo>
                  <a:pt x="3265625" y="4731627"/>
                  <a:pt x="3266771" y="4733405"/>
                  <a:pt x="3267630" y="4735071"/>
                </a:cubicBezTo>
                <a:cubicBezTo>
                  <a:pt x="3268489" y="4736737"/>
                  <a:pt x="3269062" y="4738292"/>
                  <a:pt x="3269635" y="4739514"/>
                </a:cubicBezTo>
                <a:cubicBezTo>
                  <a:pt x="3265625" y="4741625"/>
                  <a:pt x="3263333" y="4743958"/>
                  <a:pt x="3259324" y="4746068"/>
                </a:cubicBezTo>
                <a:lnTo>
                  <a:pt x="3258750" y="4746068"/>
                </a:lnTo>
                <a:lnTo>
                  <a:pt x="3258751" y="4746290"/>
                </a:lnTo>
                <a:lnTo>
                  <a:pt x="3256459" y="4748067"/>
                </a:lnTo>
                <a:lnTo>
                  <a:pt x="3259896" y="4748845"/>
                </a:lnTo>
                <a:cubicBezTo>
                  <a:pt x="3266198" y="4753177"/>
                  <a:pt x="3267344" y="4756844"/>
                  <a:pt x="3267057" y="4760398"/>
                </a:cubicBezTo>
                <a:cubicBezTo>
                  <a:pt x="3267057" y="4760398"/>
                  <a:pt x="3267057" y="4760287"/>
                  <a:pt x="3267344" y="4759176"/>
                </a:cubicBezTo>
                <a:cubicBezTo>
                  <a:pt x="3274505" y="4755176"/>
                  <a:pt x="3286824" y="4748290"/>
                  <a:pt x="3291980" y="4749956"/>
                </a:cubicBezTo>
                <a:cubicBezTo>
                  <a:pt x="3291693" y="4751178"/>
                  <a:pt x="3291694" y="4752401"/>
                  <a:pt x="3289689" y="4753400"/>
                </a:cubicBezTo>
                <a:cubicBezTo>
                  <a:pt x="3287970" y="4754399"/>
                  <a:pt x="3287970" y="4753177"/>
                  <a:pt x="3287970" y="4754399"/>
                </a:cubicBezTo>
                <a:cubicBezTo>
                  <a:pt x="3286250" y="4755399"/>
                  <a:pt x="3287969" y="4755509"/>
                  <a:pt x="3287969" y="4755509"/>
                </a:cubicBezTo>
                <a:cubicBezTo>
                  <a:pt x="3287969" y="4755509"/>
                  <a:pt x="3286250" y="4755287"/>
                  <a:pt x="3286250" y="4755287"/>
                </a:cubicBezTo>
                <a:cubicBezTo>
                  <a:pt x="3286250" y="4755287"/>
                  <a:pt x="3286250" y="4755399"/>
                  <a:pt x="3282526" y="4757287"/>
                </a:cubicBezTo>
                <a:cubicBezTo>
                  <a:pt x="3278803" y="4760509"/>
                  <a:pt x="3278802" y="4761620"/>
                  <a:pt x="3276798" y="4763730"/>
                </a:cubicBezTo>
                <a:cubicBezTo>
                  <a:pt x="3273359" y="4765729"/>
                  <a:pt x="3271641" y="4765618"/>
                  <a:pt x="3266485" y="4767396"/>
                </a:cubicBezTo>
                <a:cubicBezTo>
                  <a:pt x="3263333" y="4765952"/>
                  <a:pt x="3263334" y="4765841"/>
                  <a:pt x="3263333" y="4764619"/>
                </a:cubicBezTo>
                <a:cubicBezTo>
                  <a:pt x="3263334" y="4765841"/>
                  <a:pt x="3261615" y="4765619"/>
                  <a:pt x="3259610" y="4766618"/>
                </a:cubicBezTo>
                <a:lnTo>
                  <a:pt x="3255313" y="4769062"/>
                </a:lnTo>
                <a:lnTo>
                  <a:pt x="3255027" y="4771729"/>
                </a:lnTo>
                <a:cubicBezTo>
                  <a:pt x="3255027" y="4772950"/>
                  <a:pt x="3254453" y="4774172"/>
                  <a:pt x="3252447" y="4775838"/>
                </a:cubicBezTo>
                <a:cubicBezTo>
                  <a:pt x="3248437" y="4774284"/>
                  <a:pt x="3246146" y="4772283"/>
                  <a:pt x="3242135" y="4770728"/>
                </a:cubicBezTo>
                <a:lnTo>
                  <a:pt x="3246718" y="4767507"/>
                </a:lnTo>
                <a:lnTo>
                  <a:pt x="3238125" y="4763063"/>
                </a:lnTo>
                <a:cubicBezTo>
                  <a:pt x="3239844" y="4762064"/>
                  <a:pt x="3234974" y="4759287"/>
                  <a:pt x="3233541" y="4756732"/>
                </a:cubicBezTo>
                <a:cubicBezTo>
                  <a:pt x="3234115" y="4753177"/>
                  <a:pt x="3234114" y="4750845"/>
                  <a:pt x="3237839" y="4748845"/>
                </a:cubicBezTo>
                <a:lnTo>
                  <a:pt x="3243855" y="4747512"/>
                </a:lnTo>
                <a:lnTo>
                  <a:pt x="3241562" y="4746290"/>
                </a:lnTo>
                <a:cubicBezTo>
                  <a:pt x="3240416" y="4744957"/>
                  <a:pt x="3239270" y="4743735"/>
                  <a:pt x="3237265" y="4743068"/>
                </a:cubicBezTo>
                <a:cubicBezTo>
                  <a:pt x="3238697" y="4742069"/>
                  <a:pt x="3240417" y="4740736"/>
                  <a:pt x="3242994" y="4739846"/>
                </a:cubicBezTo>
                <a:lnTo>
                  <a:pt x="3247579" y="4739514"/>
                </a:lnTo>
                <a:lnTo>
                  <a:pt x="3246719" y="4737847"/>
                </a:lnTo>
                <a:cubicBezTo>
                  <a:pt x="3248151" y="4733516"/>
                  <a:pt x="3254166" y="4729184"/>
                  <a:pt x="3263333" y="4729627"/>
                </a:cubicBezTo>
                <a:close/>
                <a:moveTo>
                  <a:pt x="5638122" y="4729627"/>
                </a:moveTo>
                <a:cubicBezTo>
                  <a:pt x="5640128" y="4731627"/>
                  <a:pt x="5641560" y="4733404"/>
                  <a:pt x="5642419" y="4735071"/>
                </a:cubicBezTo>
                <a:cubicBezTo>
                  <a:pt x="5642992" y="4736737"/>
                  <a:pt x="5643565" y="4738292"/>
                  <a:pt x="5644138" y="4739514"/>
                </a:cubicBezTo>
                <a:cubicBezTo>
                  <a:pt x="5640128" y="4741625"/>
                  <a:pt x="5637837" y="4743957"/>
                  <a:pt x="5633826" y="4746068"/>
                </a:cubicBezTo>
                <a:lnTo>
                  <a:pt x="5633252" y="4746068"/>
                </a:lnTo>
                <a:lnTo>
                  <a:pt x="5633251" y="4746290"/>
                </a:lnTo>
                <a:lnTo>
                  <a:pt x="5630961" y="4748068"/>
                </a:lnTo>
                <a:lnTo>
                  <a:pt x="5634398" y="4748845"/>
                </a:lnTo>
                <a:cubicBezTo>
                  <a:pt x="5640700" y="4753178"/>
                  <a:pt x="5641846" y="4756843"/>
                  <a:pt x="5641560" y="4760397"/>
                </a:cubicBezTo>
                <a:cubicBezTo>
                  <a:pt x="5641560" y="4760397"/>
                  <a:pt x="5641560" y="4760286"/>
                  <a:pt x="5641846" y="4759176"/>
                </a:cubicBezTo>
                <a:cubicBezTo>
                  <a:pt x="5649008" y="4755177"/>
                  <a:pt x="5661327" y="4748290"/>
                  <a:pt x="5666482" y="4749956"/>
                </a:cubicBezTo>
                <a:cubicBezTo>
                  <a:pt x="5666196" y="4751177"/>
                  <a:pt x="5666196" y="4752400"/>
                  <a:pt x="5664478" y="4753399"/>
                </a:cubicBezTo>
                <a:cubicBezTo>
                  <a:pt x="5662758" y="4754399"/>
                  <a:pt x="5662758" y="4753178"/>
                  <a:pt x="5662472" y="4754399"/>
                </a:cubicBezTo>
                <a:cubicBezTo>
                  <a:pt x="5660753" y="4755398"/>
                  <a:pt x="5662472" y="4755510"/>
                  <a:pt x="5662472" y="4755510"/>
                </a:cubicBezTo>
                <a:cubicBezTo>
                  <a:pt x="5662472" y="4755510"/>
                  <a:pt x="5660753" y="4755288"/>
                  <a:pt x="5660753" y="4755288"/>
                </a:cubicBezTo>
                <a:cubicBezTo>
                  <a:pt x="5660753" y="4755288"/>
                  <a:pt x="5660753" y="4755398"/>
                  <a:pt x="5657316" y="4757287"/>
                </a:cubicBezTo>
                <a:cubicBezTo>
                  <a:pt x="5653592" y="4760509"/>
                  <a:pt x="5653305" y="4761620"/>
                  <a:pt x="5651587" y="4763730"/>
                </a:cubicBezTo>
                <a:cubicBezTo>
                  <a:pt x="5647862" y="4765730"/>
                  <a:pt x="5646144" y="4765619"/>
                  <a:pt x="5640987" y="4767397"/>
                </a:cubicBezTo>
                <a:cubicBezTo>
                  <a:pt x="5637836" y="4765952"/>
                  <a:pt x="5637836" y="4765841"/>
                  <a:pt x="5637836" y="4764619"/>
                </a:cubicBezTo>
                <a:cubicBezTo>
                  <a:pt x="5637836" y="4765841"/>
                  <a:pt x="5636117" y="4765618"/>
                  <a:pt x="5634112" y="4766619"/>
                </a:cubicBezTo>
                <a:lnTo>
                  <a:pt x="5629815" y="4769063"/>
                </a:lnTo>
                <a:lnTo>
                  <a:pt x="5629528" y="4771728"/>
                </a:lnTo>
                <a:cubicBezTo>
                  <a:pt x="5629528" y="4772950"/>
                  <a:pt x="5628956" y="4774171"/>
                  <a:pt x="5626950" y="4775838"/>
                </a:cubicBezTo>
                <a:cubicBezTo>
                  <a:pt x="5622940" y="4774283"/>
                  <a:pt x="5620648" y="4772284"/>
                  <a:pt x="5616638" y="4770728"/>
                </a:cubicBezTo>
                <a:lnTo>
                  <a:pt x="5621508" y="4767507"/>
                </a:lnTo>
                <a:lnTo>
                  <a:pt x="5612627" y="4763064"/>
                </a:lnTo>
                <a:cubicBezTo>
                  <a:pt x="5614346" y="4762063"/>
                  <a:pt x="5609476" y="4759286"/>
                  <a:pt x="5608044" y="4756732"/>
                </a:cubicBezTo>
                <a:cubicBezTo>
                  <a:pt x="5608616" y="4753178"/>
                  <a:pt x="5608616" y="4750845"/>
                  <a:pt x="5612340" y="4748845"/>
                </a:cubicBezTo>
                <a:lnTo>
                  <a:pt x="5618356" y="4747511"/>
                </a:lnTo>
                <a:lnTo>
                  <a:pt x="5616064" y="4746290"/>
                </a:lnTo>
                <a:cubicBezTo>
                  <a:pt x="5614919" y="4744957"/>
                  <a:pt x="5614059" y="4743735"/>
                  <a:pt x="5611768" y="4743068"/>
                </a:cubicBezTo>
                <a:cubicBezTo>
                  <a:pt x="5613200" y="4742069"/>
                  <a:pt x="5614919" y="4740736"/>
                  <a:pt x="5617497" y="4739847"/>
                </a:cubicBezTo>
                <a:lnTo>
                  <a:pt x="5622080" y="4739514"/>
                </a:lnTo>
                <a:lnTo>
                  <a:pt x="5621509" y="4737847"/>
                </a:lnTo>
                <a:cubicBezTo>
                  <a:pt x="5622653" y="4733516"/>
                  <a:pt x="5628956" y="4729183"/>
                  <a:pt x="5638122" y="4729627"/>
                </a:cubicBezTo>
                <a:close/>
                <a:moveTo>
                  <a:pt x="5088970" y="4729295"/>
                </a:moveTo>
                <a:cubicBezTo>
                  <a:pt x="5089830" y="4730294"/>
                  <a:pt x="5090402" y="4731294"/>
                  <a:pt x="5090976" y="4732405"/>
                </a:cubicBezTo>
                <a:cubicBezTo>
                  <a:pt x="5090116" y="4733960"/>
                  <a:pt x="5090116" y="4733960"/>
                  <a:pt x="5088111" y="4733294"/>
                </a:cubicBezTo>
                <a:cubicBezTo>
                  <a:pt x="5087538" y="4732293"/>
                  <a:pt x="5086965" y="4731182"/>
                  <a:pt x="5088397" y="4730739"/>
                </a:cubicBezTo>
                <a:cubicBezTo>
                  <a:pt x="5087824" y="4729627"/>
                  <a:pt x="5087538" y="4729738"/>
                  <a:pt x="5088970" y="4729295"/>
                </a:cubicBezTo>
                <a:close/>
                <a:moveTo>
                  <a:pt x="3781261" y="4729295"/>
                </a:moveTo>
                <a:cubicBezTo>
                  <a:pt x="3782120" y="4730294"/>
                  <a:pt x="3782692" y="4731294"/>
                  <a:pt x="3783267" y="4732405"/>
                </a:cubicBezTo>
                <a:cubicBezTo>
                  <a:pt x="3782406" y="4733960"/>
                  <a:pt x="3782406" y="4733960"/>
                  <a:pt x="3780401" y="4733293"/>
                </a:cubicBezTo>
                <a:cubicBezTo>
                  <a:pt x="3779828" y="4732293"/>
                  <a:pt x="3779255" y="4731183"/>
                  <a:pt x="3780688" y="4730739"/>
                </a:cubicBezTo>
                <a:cubicBezTo>
                  <a:pt x="3780115" y="4729627"/>
                  <a:pt x="3779828" y="4729739"/>
                  <a:pt x="3781261" y="4729295"/>
                </a:cubicBezTo>
                <a:close/>
                <a:moveTo>
                  <a:pt x="2729651" y="4729295"/>
                </a:moveTo>
                <a:cubicBezTo>
                  <a:pt x="2731082" y="4728739"/>
                  <a:pt x="2731369" y="4728739"/>
                  <a:pt x="2731942" y="4729850"/>
                </a:cubicBezTo>
                <a:lnTo>
                  <a:pt x="2731942" y="4729295"/>
                </a:lnTo>
                <a:lnTo>
                  <a:pt x="2734806" y="4731405"/>
                </a:lnTo>
                <a:cubicBezTo>
                  <a:pt x="2735093" y="4732516"/>
                  <a:pt x="2735094" y="4733960"/>
                  <a:pt x="2735094" y="4735293"/>
                </a:cubicBezTo>
                <a:cubicBezTo>
                  <a:pt x="2733661" y="4735737"/>
                  <a:pt x="2733374" y="4735737"/>
                  <a:pt x="2731369" y="4735182"/>
                </a:cubicBezTo>
                <a:cubicBezTo>
                  <a:pt x="2729937" y="4735626"/>
                  <a:pt x="2730224" y="4730294"/>
                  <a:pt x="2729651" y="4729295"/>
                </a:cubicBezTo>
                <a:close/>
                <a:moveTo>
                  <a:pt x="5104439" y="4729294"/>
                </a:moveTo>
                <a:cubicBezTo>
                  <a:pt x="5105872" y="4728739"/>
                  <a:pt x="5105872" y="4728739"/>
                  <a:pt x="5106444" y="4729850"/>
                </a:cubicBezTo>
                <a:lnTo>
                  <a:pt x="5106444" y="4729294"/>
                </a:lnTo>
                <a:lnTo>
                  <a:pt x="5109309" y="4731405"/>
                </a:lnTo>
                <a:cubicBezTo>
                  <a:pt x="5109596" y="4732516"/>
                  <a:pt x="5109596" y="4733960"/>
                  <a:pt x="5109596" y="4735293"/>
                </a:cubicBezTo>
                <a:cubicBezTo>
                  <a:pt x="5108163" y="4735737"/>
                  <a:pt x="5107877" y="4735737"/>
                  <a:pt x="5105873" y="4735182"/>
                </a:cubicBezTo>
                <a:cubicBezTo>
                  <a:pt x="5104439" y="4735626"/>
                  <a:pt x="5105012" y="4730295"/>
                  <a:pt x="5104439" y="4729294"/>
                </a:cubicBezTo>
                <a:close/>
                <a:moveTo>
                  <a:pt x="2714467" y="4729294"/>
                </a:moveTo>
                <a:cubicBezTo>
                  <a:pt x="2715040" y="4730294"/>
                  <a:pt x="2715901" y="4731294"/>
                  <a:pt x="2716474" y="4732405"/>
                </a:cubicBezTo>
                <a:cubicBezTo>
                  <a:pt x="2715613" y="4733960"/>
                  <a:pt x="2715613" y="4733960"/>
                  <a:pt x="2713608" y="4733293"/>
                </a:cubicBezTo>
                <a:cubicBezTo>
                  <a:pt x="2713035" y="4732294"/>
                  <a:pt x="2712462" y="4731182"/>
                  <a:pt x="2713894" y="4730738"/>
                </a:cubicBezTo>
                <a:cubicBezTo>
                  <a:pt x="2713035" y="4729628"/>
                  <a:pt x="2713036" y="4729739"/>
                  <a:pt x="2714467" y="4729294"/>
                </a:cubicBezTo>
                <a:close/>
                <a:moveTo>
                  <a:pt x="3796443" y="4729294"/>
                </a:moveTo>
                <a:cubicBezTo>
                  <a:pt x="3797876" y="4728739"/>
                  <a:pt x="3798162" y="4728739"/>
                  <a:pt x="3798735" y="4729850"/>
                </a:cubicBezTo>
                <a:lnTo>
                  <a:pt x="3798735" y="4729294"/>
                </a:lnTo>
                <a:lnTo>
                  <a:pt x="3801600" y="4731405"/>
                </a:lnTo>
                <a:cubicBezTo>
                  <a:pt x="3801886" y="4732516"/>
                  <a:pt x="3801887" y="4733960"/>
                  <a:pt x="3801886" y="4735293"/>
                </a:cubicBezTo>
                <a:cubicBezTo>
                  <a:pt x="3800454" y="4735737"/>
                  <a:pt x="3800167" y="4735737"/>
                  <a:pt x="3798162" y="4735182"/>
                </a:cubicBezTo>
                <a:cubicBezTo>
                  <a:pt x="3796730" y="4735626"/>
                  <a:pt x="3797016" y="4730294"/>
                  <a:pt x="3796443" y="4729294"/>
                </a:cubicBezTo>
                <a:close/>
                <a:moveTo>
                  <a:pt x="3799308" y="4728406"/>
                </a:moveTo>
                <a:lnTo>
                  <a:pt x="3798735" y="4729294"/>
                </a:lnTo>
                <a:lnTo>
                  <a:pt x="3798162" y="4728739"/>
                </a:lnTo>
                <a:cubicBezTo>
                  <a:pt x="3798735" y="4728517"/>
                  <a:pt x="3799021" y="4728295"/>
                  <a:pt x="3799308" y="4728406"/>
                </a:cubicBezTo>
                <a:close/>
                <a:moveTo>
                  <a:pt x="5107018" y="4728406"/>
                </a:moveTo>
                <a:lnTo>
                  <a:pt x="5106444" y="4729294"/>
                </a:lnTo>
                <a:lnTo>
                  <a:pt x="5105872" y="4728739"/>
                </a:lnTo>
                <a:cubicBezTo>
                  <a:pt x="5106444" y="4728517"/>
                  <a:pt x="5106731" y="4728295"/>
                  <a:pt x="5107018" y="4728406"/>
                </a:cubicBezTo>
                <a:close/>
                <a:moveTo>
                  <a:pt x="2732515" y="4728406"/>
                </a:moveTo>
                <a:lnTo>
                  <a:pt x="2731942" y="4729295"/>
                </a:lnTo>
                <a:lnTo>
                  <a:pt x="2731369" y="4728739"/>
                </a:lnTo>
                <a:cubicBezTo>
                  <a:pt x="2731942" y="4728517"/>
                  <a:pt x="2732228" y="4728295"/>
                  <a:pt x="2732515" y="4728406"/>
                </a:cubicBezTo>
                <a:close/>
                <a:moveTo>
                  <a:pt x="5149414" y="4727961"/>
                </a:moveTo>
                <a:cubicBezTo>
                  <a:pt x="5154284" y="4728183"/>
                  <a:pt x="5158868" y="4729184"/>
                  <a:pt x="5161159" y="4730295"/>
                </a:cubicBezTo>
                <a:cubicBezTo>
                  <a:pt x="5162592" y="4734182"/>
                  <a:pt x="5161732" y="4736959"/>
                  <a:pt x="5159154" y="4738625"/>
                </a:cubicBezTo>
                <a:cubicBezTo>
                  <a:pt x="5152279" y="4743846"/>
                  <a:pt x="5133372" y="4739625"/>
                  <a:pt x="5137096" y="4729406"/>
                </a:cubicBezTo>
                <a:cubicBezTo>
                  <a:pt x="5139674" y="4728072"/>
                  <a:pt x="5144544" y="4727629"/>
                  <a:pt x="5149414" y="4727961"/>
                </a:cubicBezTo>
                <a:close/>
                <a:moveTo>
                  <a:pt x="3606804" y="4727961"/>
                </a:moveTo>
                <a:cubicBezTo>
                  <a:pt x="3608236" y="4727961"/>
                  <a:pt x="3609097" y="4728183"/>
                  <a:pt x="3611387" y="4728739"/>
                </a:cubicBezTo>
                <a:cubicBezTo>
                  <a:pt x="3609955" y="4729294"/>
                  <a:pt x="3607091" y="4731405"/>
                  <a:pt x="3604799" y="4730850"/>
                </a:cubicBezTo>
                <a:cubicBezTo>
                  <a:pt x="3602793" y="4730404"/>
                  <a:pt x="3602793" y="4730404"/>
                  <a:pt x="3601647" y="4728295"/>
                </a:cubicBezTo>
                <a:cubicBezTo>
                  <a:pt x="3604226" y="4727961"/>
                  <a:pt x="3605659" y="4727851"/>
                  <a:pt x="3606804" y="4727961"/>
                </a:cubicBezTo>
                <a:close/>
                <a:moveTo>
                  <a:pt x="2774911" y="4727961"/>
                </a:moveTo>
                <a:cubicBezTo>
                  <a:pt x="2779781" y="4728184"/>
                  <a:pt x="2784365" y="4729183"/>
                  <a:pt x="2786656" y="4730294"/>
                </a:cubicBezTo>
                <a:cubicBezTo>
                  <a:pt x="2788089" y="4734182"/>
                  <a:pt x="2787229" y="4736959"/>
                  <a:pt x="2784652" y="4738626"/>
                </a:cubicBezTo>
                <a:cubicBezTo>
                  <a:pt x="2777777" y="4743845"/>
                  <a:pt x="2758870" y="4739625"/>
                  <a:pt x="2762593" y="4729406"/>
                </a:cubicBezTo>
                <a:cubicBezTo>
                  <a:pt x="2765172" y="4728073"/>
                  <a:pt x="2770041" y="4727629"/>
                  <a:pt x="2774911" y="4727961"/>
                </a:cubicBezTo>
                <a:close/>
                <a:moveTo>
                  <a:pt x="2540011" y="4727961"/>
                </a:moveTo>
                <a:cubicBezTo>
                  <a:pt x="2541156" y="4727961"/>
                  <a:pt x="2542303" y="4728184"/>
                  <a:pt x="2544594" y="4728739"/>
                </a:cubicBezTo>
                <a:cubicBezTo>
                  <a:pt x="2543162" y="4729294"/>
                  <a:pt x="2540298" y="4731404"/>
                  <a:pt x="2538005" y="4730849"/>
                </a:cubicBezTo>
                <a:cubicBezTo>
                  <a:pt x="2536000" y="4730405"/>
                  <a:pt x="2536000" y="4730405"/>
                  <a:pt x="2534854" y="4728295"/>
                </a:cubicBezTo>
                <a:cubicBezTo>
                  <a:pt x="2537432" y="4727961"/>
                  <a:pt x="2538866" y="4727851"/>
                  <a:pt x="2540011" y="4727961"/>
                </a:cubicBezTo>
                <a:close/>
                <a:moveTo>
                  <a:pt x="3196015" y="4727517"/>
                </a:moveTo>
                <a:cubicBezTo>
                  <a:pt x="3200598" y="4727851"/>
                  <a:pt x="3205181" y="4729850"/>
                  <a:pt x="3204035" y="4734294"/>
                </a:cubicBezTo>
                <a:cubicBezTo>
                  <a:pt x="3204035" y="4735514"/>
                  <a:pt x="3202603" y="4736292"/>
                  <a:pt x="3200884" y="4736737"/>
                </a:cubicBezTo>
                <a:cubicBezTo>
                  <a:pt x="3195155" y="4737958"/>
                  <a:pt x="3184555" y="4735515"/>
                  <a:pt x="3185129" y="4730516"/>
                </a:cubicBezTo>
                <a:cubicBezTo>
                  <a:pt x="3185988" y="4728517"/>
                  <a:pt x="3191144" y="4727183"/>
                  <a:pt x="3196015" y="4727517"/>
                </a:cubicBezTo>
                <a:close/>
                <a:moveTo>
                  <a:pt x="5570517" y="4727517"/>
                </a:moveTo>
                <a:cubicBezTo>
                  <a:pt x="5575100" y="4727851"/>
                  <a:pt x="5579684" y="4729850"/>
                  <a:pt x="5578538" y="4734294"/>
                </a:cubicBezTo>
                <a:cubicBezTo>
                  <a:pt x="5578538" y="4735515"/>
                  <a:pt x="5577392" y="4736292"/>
                  <a:pt x="5575387" y="4736737"/>
                </a:cubicBezTo>
                <a:cubicBezTo>
                  <a:pt x="5569944" y="4737959"/>
                  <a:pt x="5559058" y="4735515"/>
                  <a:pt x="5559631" y="4730516"/>
                </a:cubicBezTo>
                <a:cubicBezTo>
                  <a:pt x="5560490" y="4728517"/>
                  <a:pt x="5565647" y="4727184"/>
                  <a:pt x="5570517" y="4727517"/>
                </a:cubicBezTo>
                <a:close/>
                <a:moveTo>
                  <a:pt x="3614538" y="4726851"/>
                </a:moveTo>
                <a:cubicBezTo>
                  <a:pt x="3615111" y="4726740"/>
                  <a:pt x="3615684" y="4726851"/>
                  <a:pt x="3615971" y="4727295"/>
                </a:cubicBezTo>
                <a:cubicBezTo>
                  <a:pt x="3616545" y="4728295"/>
                  <a:pt x="3614825" y="4728850"/>
                  <a:pt x="3612533" y="4728406"/>
                </a:cubicBezTo>
                <a:cubicBezTo>
                  <a:pt x="3612533" y="4728406"/>
                  <a:pt x="3611961" y="4727517"/>
                  <a:pt x="3611961" y="4727517"/>
                </a:cubicBezTo>
                <a:cubicBezTo>
                  <a:pt x="3612821" y="4727183"/>
                  <a:pt x="3613679" y="4726962"/>
                  <a:pt x="3614538" y="4726851"/>
                </a:cubicBezTo>
                <a:close/>
                <a:moveTo>
                  <a:pt x="4922248" y="4726851"/>
                </a:moveTo>
                <a:cubicBezTo>
                  <a:pt x="4922821" y="4726739"/>
                  <a:pt x="4923394" y="4726851"/>
                  <a:pt x="4923680" y="4727295"/>
                </a:cubicBezTo>
                <a:cubicBezTo>
                  <a:pt x="4924254" y="4728295"/>
                  <a:pt x="4922534" y="4728850"/>
                  <a:pt x="4920243" y="4728406"/>
                </a:cubicBezTo>
                <a:cubicBezTo>
                  <a:pt x="4920243" y="4728406"/>
                  <a:pt x="4919670" y="4727517"/>
                  <a:pt x="4919670" y="4727517"/>
                </a:cubicBezTo>
                <a:cubicBezTo>
                  <a:pt x="4920529" y="4727183"/>
                  <a:pt x="4921388" y="4726962"/>
                  <a:pt x="4922248" y="4726851"/>
                </a:cubicBezTo>
                <a:close/>
                <a:moveTo>
                  <a:pt x="2547745" y="4726851"/>
                </a:moveTo>
                <a:cubicBezTo>
                  <a:pt x="2548318" y="4726739"/>
                  <a:pt x="2548891" y="4726850"/>
                  <a:pt x="2549178" y="4727295"/>
                </a:cubicBezTo>
                <a:cubicBezTo>
                  <a:pt x="2549750" y="4728295"/>
                  <a:pt x="2548032" y="4728850"/>
                  <a:pt x="2545740" y="4728406"/>
                </a:cubicBezTo>
                <a:cubicBezTo>
                  <a:pt x="2545740" y="4728406"/>
                  <a:pt x="2545168" y="4727517"/>
                  <a:pt x="2545168" y="4727517"/>
                </a:cubicBezTo>
                <a:cubicBezTo>
                  <a:pt x="2546026" y="4727183"/>
                  <a:pt x="2546886" y="4726962"/>
                  <a:pt x="2547745" y="4726851"/>
                </a:cubicBezTo>
                <a:close/>
                <a:moveTo>
                  <a:pt x="5513510" y="4726406"/>
                </a:moveTo>
                <a:cubicBezTo>
                  <a:pt x="5514656" y="4726628"/>
                  <a:pt x="5515229" y="4727184"/>
                  <a:pt x="5515229" y="4727851"/>
                </a:cubicBezTo>
                <a:cubicBezTo>
                  <a:pt x="5515229" y="4728517"/>
                  <a:pt x="5514656" y="4729294"/>
                  <a:pt x="5514370" y="4730072"/>
                </a:cubicBezTo>
                <a:cubicBezTo>
                  <a:pt x="5513797" y="4731738"/>
                  <a:pt x="5512938" y="4733516"/>
                  <a:pt x="5512078" y="4735182"/>
                </a:cubicBezTo>
                <a:cubicBezTo>
                  <a:pt x="5512078" y="4735182"/>
                  <a:pt x="5512364" y="4735182"/>
                  <a:pt x="5513510" y="4726406"/>
                </a:cubicBezTo>
                <a:close/>
                <a:moveTo>
                  <a:pt x="3139008" y="4726406"/>
                </a:moveTo>
                <a:cubicBezTo>
                  <a:pt x="3140153" y="4726629"/>
                  <a:pt x="3140726" y="4727183"/>
                  <a:pt x="3140726" y="4727851"/>
                </a:cubicBezTo>
                <a:cubicBezTo>
                  <a:pt x="3140726" y="4728516"/>
                  <a:pt x="3140153" y="4729295"/>
                  <a:pt x="3139867" y="4730072"/>
                </a:cubicBezTo>
                <a:cubicBezTo>
                  <a:pt x="3139009" y="4731739"/>
                  <a:pt x="3138435" y="4733516"/>
                  <a:pt x="3137576" y="4735182"/>
                </a:cubicBezTo>
                <a:cubicBezTo>
                  <a:pt x="3137576" y="4735182"/>
                  <a:pt x="3137576" y="4735182"/>
                  <a:pt x="3139008" y="4726406"/>
                </a:cubicBezTo>
                <a:close/>
                <a:moveTo>
                  <a:pt x="5903675" y="4726073"/>
                </a:moveTo>
                <a:lnTo>
                  <a:pt x="5902242" y="4726851"/>
                </a:lnTo>
                <a:lnTo>
                  <a:pt x="5903962" y="4728072"/>
                </a:lnTo>
                <a:cubicBezTo>
                  <a:pt x="5903962" y="4728072"/>
                  <a:pt x="5903962" y="4728183"/>
                  <a:pt x="5903102" y="4727183"/>
                </a:cubicBezTo>
                <a:close/>
                <a:moveTo>
                  <a:pt x="4595965" y="4726073"/>
                </a:moveTo>
                <a:lnTo>
                  <a:pt x="4594533" y="4726851"/>
                </a:lnTo>
                <a:lnTo>
                  <a:pt x="4596252" y="4728072"/>
                </a:lnTo>
                <a:cubicBezTo>
                  <a:pt x="4596252" y="4728072"/>
                  <a:pt x="4596252" y="4728183"/>
                  <a:pt x="4595392" y="4727183"/>
                </a:cubicBezTo>
                <a:close/>
                <a:moveTo>
                  <a:pt x="3529173" y="4726073"/>
                </a:moveTo>
                <a:lnTo>
                  <a:pt x="3527740" y="4726851"/>
                </a:lnTo>
                <a:lnTo>
                  <a:pt x="3529458" y="4728072"/>
                </a:lnTo>
                <a:cubicBezTo>
                  <a:pt x="3529458" y="4728072"/>
                  <a:pt x="3529458" y="4728183"/>
                  <a:pt x="3528600" y="4727183"/>
                </a:cubicBezTo>
                <a:close/>
                <a:moveTo>
                  <a:pt x="4931701" y="4724740"/>
                </a:moveTo>
                <a:cubicBezTo>
                  <a:pt x="4931701" y="4724740"/>
                  <a:pt x="4930557" y="4726184"/>
                  <a:pt x="4930557" y="4726184"/>
                </a:cubicBezTo>
                <a:cubicBezTo>
                  <a:pt x="4928264" y="4725850"/>
                  <a:pt x="4928837" y="4726851"/>
                  <a:pt x="4927691" y="4724851"/>
                </a:cubicBezTo>
                <a:cubicBezTo>
                  <a:pt x="4929982" y="4725296"/>
                  <a:pt x="4929982" y="4725296"/>
                  <a:pt x="4931701" y="4724740"/>
                </a:cubicBezTo>
                <a:close/>
                <a:moveTo>
                  <a:pt x="3623992" y="4724740"/>
                </a:moveTo>
                <a:cubicBezTo>
                  <a:pt x="3623992" y="4724740"/>
                  <a:pt x="3622846" y="4726185"/>
                  <a:pt x="3622846" y="4726185"/>
                </a:cubicBezTo>
                <a:cubicBezTo>
                  <a:pt x="3620554" y="4725851"/>
                  <a:pt x="3621128" y="4726851"/>
                  <a:pt x="3619981" y="4724851"/>
                </a:cubicBezTo>
                <a:cubicBezTo>
                  <a:pt x="3622273" y="4725296"/>
                  <a:pt x="3622273" y="4725296"/>
                  <a:pt x="3623992" y="4724740"/>
                </a:cubicBezTo>
                <a:close/>
                <a:moveTo>
                  <a:pt x="2557198" y="4724740"/>
                </a:moveTo>
                <a:cubicBezTo>
                  <a:pt x="2557198" y="4724740"/>
                  <a:pt x="2556053" y="4726185"/>
                  <a:pt x="2556053" y="4726185"/>
                </a:cubicBezTo>
                <a:cubicBezTo>
                  <a:pt x="2553762" y="4725851"/>
                  <a:pt x="2554334" y="4726851"/>
                  <a:pt x="2553188" y="4724850"/>
                </a:cubicBezTo>
                <a:cubicBezTo>
                  <a:pt x="2555480" y="4725296"/>
                  <a:pt x="2555480" y="4725296"/>
                  <a:pt x="2557198" y="4724740"/>
                </a:cubicBezTo>
                <a:close/>
                <a:moveTo>
                  <a:pt x="3240129" y="4723963"/>
                </a:moveTo>
                <a:cubicBezTo>
                  <a:pt x="3240989" y="4724962"/>
                  <a:pt x="3242421" y="4727073"/>
                  <a:pt x="3241848" y="4728739"/>
                </a:cubicBezTo>
                <a:cubicBezTo>
                  <a:pt x="3242421" y="4729739"/>
                  <a:pt x="3237265" y="4730628"/>
                  <a:pt x="3237265" y="4730628"/>
                </a:cubicBezTo>
                <a:cubicBezTo>
                  <a:pt x="3234974" y="4730294"/>
                  <a:pt x="3235546" y="4725962"/>
                  <a:pt x="3234688" y="4724851"/>
                </a:cubicBezTo>
                <a:cubicBezTo>
                  <a:pt x="3236119" y="4724296"/>
                  <a:pt x="3238697" y="4724518"/>
                  <a:pt x="3240129" y="4723963"/>
                </a:cubicBezTo>
                <a:close/>
                <a:moveTo>
                  <a:pt x="5614632" y="4723962"/>
                </a:moveTo>
                <a:cubicBezTo>
                  <a:pt x="5615492" y="4724962"/>
                  <a:pt x="5616924" y="4727072"/>
                  <a:pt x="5616351" y="4728739"/>
                </a:cubicBezTo>
                <a:cubicBezTo>
                  <a:pt x="5616924" y="4729738"/>
                  <a:pt x="5611768" y="4730627"/>
                  <a:pt x="5611768" y="4730627"/>
                </a:cubicBezTo>
                <a:cubicBezTo>
                  <a:pt x="5609476" y="4730295"/>
                  <a:pt x="5610049" y="4725962"/>
                  <a:pt x="5609190" y="4724851"/>
                </a:cubicBezTo>
                <a:cubicBezTo>
                  <a:pt x="5610908" y="4724296"/>
                  <a:pt x="5613200" y="4724518"/>
                  <a:pt x="5614632" y="4723962"/>
                </a:cubicBezTo>
                <a:close/>
                <a:moveTo>
                  <a:pt x="5592002" y="4723851"/>
                </a:moveTo>
                <a:cubicBezTo>
                  <a:pt x="5602601" y="4724073"/>
                  <a:pt x="5601455" y="4726517"/>
                  <a:pt x="5599450" y="4732071"/>
                </a:cubicBezTo>
                <a:cubicBezTo>
                  <a:pt x="5592288" y="4731405"/>
                  <a:pt x="5591429" y="4728739"/>
                  <a:pt x="5592002" y="4723851"/>
                </a:cubicBezTo>
                <a:close/>
                <a:moveTo>
                  <a:pt x="3217500" y="4723851"/>
                </a:moveTo>
                <a:cubicBezTo>
                  <a:pt x="3228098" y="4724074"/>
                  <a:pt x="3226953" y="4726517"/>
                  <a:pt x="3224947" y="4732071"/>
                </a:cubicBezTo>
                <a:cubicBezTo>
                  <a:pt x="3217785" y="4731405"/>
                  <a:pt x="3216926" y="4728739"/>
                  <a:pt x="3217500" y="4723851"/>
                </a:cubicBezTo>
                <a:close/>
                <a:moveTo>
                  <a:pt x="5487728" y="4723630"/>
                </a:moveTo>
                <a:cubicBezTo>
                  <a:pt x="5489734" y="4724406"/>
                  <a:pt x="5490593" y="4725628"/>
                  <a:pt x="5490880" y="4727184"/>
                </a:cubicBezTo>
                <a:cubicBezTo>
                  <a:pt x="5490880" y="4728628"/>
                  <a:pt x="5490307" y="4730294"/>
                  <a:pt x="5489161" y="4731738"/>
                </a:cubicBezTo>
                <a:cubicBezTo>
                  <a:pt x="5488874" y="4733071"/>
                  <a:pt x="5487156" y="4733960"/>
                  <a:pt x="5485438" y="4734515"/>
                </a:cubicBezTo>
                <a:cubicBezTo>
                  <a:pt x="5483718" y="4735182"/>
                  <a:pt x="5481713" y="4735404"/>
                  <a:pt x="5479708" y="4735292"/>
                </a:cubicBezTo>
                <a:cubicBezTo>
                  <a:pt x="5477702" y="4734515"/>
                  <a:pt x="5477702" y="4734515"/>
                  <a:pt x="5475697" y="4733848"/>
                </a:cubicBezTo>
                <a:cubicBezTo>
                  <a:pt x="5474838" y="4731627"/>
                  <a:pt x="5472260" y="4729961"/>
                  <a:pt x="5473120" y="4727295"/>
                </a:cubicBezTo>
                <a:cubicBezTo>
                  <a:pt x="5475411" y="4724296"/>
                  <a:pt x="5484004" y="4723407"/>
                  <a:pt x="5487728" y="4723630"/>
                </a:cubicBezTo>
                <a:close/>
                <a:moveTo>
                  <a:pt x="3113226" y="4723629"/>
                </a:moveTo>
                <a:cubicBezTo>
                  <a:pt x="3115231" y="4724407"/>
                  <a:pt x="3116090" y="4725629"/>
                  <a:pt x="3116378" y="4727183"/>
                </a:cubicBezTo>
                <a:cubicBezTo>
                  <a:pt x="3116378" y="4728628"/>
                  <a:pt x="3115804" y="4730295"/>
                  <a:pt x="3114372" y="4731738"/>
                </a:cubicBezTo>
                <a:cubicBezTo>
                  <a:pt x="3114086" y="4733071"/>
                  <a:pt x="3112654" y="4733960"/>
                  <a:pt x="3110934" y="4734515"/>
                </a:cubicBezTo>
                <a:cubicBezTo>
                  <a:pt x="3109215" y="4735182"/>
                  <a:pt x="3107211" y="4735404"/>
                  <a:pt x="3105205" y="4735293"/>
                </a:cubicBezTo>
                <a:cubicBezTo>
                  <a:pt x="3103200" y="4734515"/>
                  <a:pt x="3103200" y="4734515"/>
                  <a:pt x="3101194" y="4733848"/>
                </a:cubicBezTo>
                <a:cubicBezTo>
                  <a:pt x="3100335" y="4731626"/>
                  <a:pt x="3097757" y="4729960"/>
                  <a:pt x="3098331" y="4727295"/>
                </a:cubicBezTo>
                <a:cubicBezTo>
                  <a:pt x="3100909" y="4724296"/>
                  <a:pt x="3109503" y="4723407"/>
                  <a:pt x="3113226" y="4723629"/>
                </a:cubicBezTo>
                <a:close/>
                <a:moveTo>
                  <a:pt x="3578444" y="4721963"/>
                </a:moveTo>
                <a:cubicBezTo>
                  <a:pt x="3580736" y="4721518"/>
                  <a:pt x="3583027" y="4721963"/>
                  <a:pt x="3585606" y="4723518"/>
                </a:cubicBezTo>
                <a:cubicBezTo>
                  <a:pt x="3592768" y="4728406"/>
                  <a:pt x="3587897" y="4732960"/>
                  <a:pt x="3581595" y="4737404"/>
                </a:cubicBezTo>
                <a:cubicBezTo>
                  <a:pt x="3578158" y="4736181"/>
                  <a:pt x="3574720" y="4736071"/>
                  <a:pt x="3571282" y="4734848"/>
                </a:cubicBezTo>
                <a:cubicBezTo>
                  <a:pt x="3568704" y="4731182"/>
                  <a:pt x="3572142" y="4723074"/>
                  <a:pt x="3578444" y="4721963"/>
                </a:cubicBezTo>
                <a:close/>
                <a:moveTo>
                  <a:pt x="2511651" y="4721963"/>
                </a:moveTo>
                <a:cubicBezTo>
                  <a:pt x="2513657" y="4721518"/>
                  <a:pt x="2516234" y="4721963"/>
                  <a:pt x="2518813" y="4723518"/>
                </a:cubicBezTo>
                <a:cubicBezTo>
                  <a:pt x="2525975" y="4728406"/>
                  <a:pt x="2521104" y="4732960"/>
                  <a:pt x="2514802" y="4737403"/>
                </a:cubicBezTo>
                <a:cubicBezTo>
                  <a:pt x="2511365" y="4736181"/>
                  <a:pt x="2507927" y="4736070"/>
                  <a:pt x="2504489" y="4734848"/>
                </a:cubicBezTo>
                <a:cubicBezTo>
                  <a:pt x="2501624" y="4731183"/>
                  <a:pt x="2505348" y="4723073"/>
                  <a:pt x="2511651" y="4721963"/>
                </a:cubicBezTo>
                <a:close/>
                <a:moveTo>
                  <a:pt x="3524303" y="4721186"/>
                </a:moveTo>
                <a:lnTo>
                  <a:pt x="3521437" y="4723518"/>
                </a:lnTo>
                <a:lnTo>
                  <a:pt x="3524302" y="4724185"/>
                </a:lnTo>
                <a:lnTo>
                  <a:pt x="3526021" y="4725517"/>
                </a:lnTo>
                <a:lnTo>
                  <a:pt x="3524302" y="4721741"/>
                </a:lnTo>
                <a:close/>
                <a:moveTo>
                  <a:pt x="3391956" y="4721186"/>
                </a:moveTo>
                <a:cubicBezTo>
                  <a:pt x="3393962" y="4720852"/>
                  <a:pt x="3396254" y="4720852"/>
                  <a:pt x="3396826" y="4721518"/>
                </a:cubicBezTo>
                <a:cubicBezTo>
                  <a:pt x="3398544" y="4722852"/>
                  <a:pt x="3398258" y="4723962"/>
                  <a:pt x="3398259" y="4725184"/>
                </a:cubicBezTo>
                <a:cubicBezTo>
                  <a:pt x="3396253" y="4727295"/>
                  <a:pt x="3394534" y="4729406"/>
                  <a:pt x="3392529" y="4731516"/>
                </a:cubicBezTo>
                <a:cubicBezTo>
                  <a:pt x="3387087" y="4734405"/>
                  <a:pt x="3381643" y="4737403"/>
                  <a:pt x="3376774" y="4734515"/>
                </a:cubicBezTo>
                <a:cubicBezTo>
                  <a:pt x="3380784" y="4730183"/>
                  <a:pt x="3382790" y="4726962"/>
                  <a:pt x="3386800" y="4722741"/>
                </a:cubicBezTo>
                <a:cubicBezTo>
                  <a:pt x="3387659" y="4722185"/>
                  <a:pt x="3389665" y="4721519"/>
                  <a:pt x="3391956" y="4721186"/>
                </a:cubicBezTo>
                <a:close/>
                <a:moveTo>
                  <a:pt x="5766458" y="4721185"/>
                </a:moveTo>
                <a:cubicBezTo>
                  <a:pt x="5768464" y="4720852"/>
                  <a:pt x="5770756" y="4720852"/>
                  <a:pt x="5771328" y="4721519"/>
                </a:cubicBezTo>
                <a:cubicBezTo>
                  <a:pt x="5773047" y="4722852"/>
                  <a:pt x="5773047" y="4723962"/>
                  <a:pt x="5772760" y="4725184"/>
                </a:cubicBezTo>
                <a:cubicBezTo>
                  <a:pt x="5771042" y="4727295"/>
                  <a:pt x="5769036" y="4729406"/>
                  <a:pt x="5767032" y="4731516"/>
                </a:cubicBezTo>
                <a:cubicBezTo>
                  <a:pt x="5761875" y="4734404"/>
                  <a:pt x="5756432" y="4737404"/>
                  <a:pt x="5751562" y="4734515"/>
                </a:cubicBezTo>
                <a:cubicBezTo>
                  <a:pt x="5755286" y="4730183"/>
                  <a:pt x="5757292" y="4726962"/>
                  <a:pt x="5761302" y="4722741"/>
                </a:cubicBezTo>
                <a:cubicBezTo>
                  <a:pt x="5762162" y="4722185"/>
                  <a:pt x="5764166" y="4721518"/>
                  <a:pt x="5766458" y="4721185"/>
                </a:cubicBezTo>
                <a:close/>
                <a:moveTo>
                  <a:pt x="5280901" y="4720741"/>
                </a:moveTo>
                <a:cubicBezTo>
                  <a:pt x="5282620" y="4722074"/>
                  <a:pt x="5284052" y="4723518"/>
                  <a:pt x="5285485" y="4724962"/>
                </a:cubicBezTo>
                <a:cubicBezTo>
                  <a:pt x="5277750" y="4729739"/>
                  <a:pt x="5276318" y="4735404"/>
                  <a:pt x="5270588" y="4739292"/>
                </a:cubicBezTo>
                <a:cubicBezTo>
                  <a:pt x="5268297" y="4732960"/>
                  <a:pt x="5265432" y="4721852"/>
                  <a:pt x="5280901" y="4720741"/>
                </a:cubicBezTo>
                <a:close/>
                <a:moveTo>
                  <a:pt x="4717712" y="4720297"/>
                </a:moveTo>
                <a:cubicBezTo>
                  <a:pt x="4720290" y="4726295"/>
                  <a:pt x="4709405" y="4732960"/>
                  <a:pt x="4701670" y="4732516"/>
                </a:cubicBezTo>
                <a:cubicBezTo>
                  <a:pt x="4699093" y="4732293"/>
                  <a:pt x="4697087" y="4731294"/>
                  <a:pt x="4695941" y="4729294"/>
                </a:cubicBezTo>
                <a:cubicBezTo>
                  <a:pt x="4697946" y="4721852"/>
                  <a:pt x="4707686" y="4723740"/>
                  <a:pt x="4717712" y="4720297"/>
                </a:cubicBezTo>
                <a:close/>
                <a:moveTo>
                  <a:pt x="6025708" y="4720297"/>
                </a:moveTo>
                <a:cubicBezTo>
                  <a:pt x="6028000" y="4726295"/>
                  <a:pt x="6017114" y="4732960"/>
                  <a:pt x="6009380" y="4732516"/>
                </a:cubicBezTo>
                <a:cubicBezTo>
                  <a:pt x="6006803" y="4732293"/>
                  <a:pt x="6004796" y="4731294"/>
                  <a:pt x="6003651" y="4729295"/>
                </a:cubicBezTo>
                <a:cubicBezTo>
                  <a:pt x="6005656" y="4721852"/>
                  <a:pt x="6015396" y="4723740"/>
                  <a:pt x="6025708" y="4720297"/>
                </a:cubicBezTo>
                <a:close/>
                <a:moveTo>
                  <a:pt x="3650919" y="4720297"/>
                </a:moveTo>
                <a:cubicBezTo>
                  <a:pt x="3653497" y="4726295"/>
                  <a:pt x="3642613" y="4732960"/>
                  <a:pt x="3634877" y="4732515"/>
                </a:cubicBezTo>
                <a:cubicBezTo>
                  <a:pt x="3632300" y="4732294"/>
                  <a:pt x="3630294" y="4731294"/>
                  <a:pt x="3628863" y="4729295"/>
                </a:cubicBezTo>
                <a:cubicBezTo>
                  <a:pt x="3631153" y="4721852"/>
                  <a:pt x="3640893" y="4723739"/>
                  <a:pt x="3650919" y="4720297"/>
                </a:cubicBezTo>
                <a:close/>
                <a:moveTo>
                  <a:pt x="4958629" y="4719520"/>
                </a:moveTo>
                <a:cubicBezTo>
                  <a:pt x="4955478" y="4720630"/>
                  <a:pt x="4937717" y="4725406"/>
                  <a:pt x="4931988" y="4724851"/>
                </a:cubicBezTo>
                <a:cubicBezTo>
                  <a:pt x="4940295" y="4723296"/>
                  <a:pt x="4950608" y="4718630"/>
                  <a:pt x="4958629" y="4719520"/>
                </a:cubicBezTo>
                <a:close/>
                <a:moveTo>
                  <a:pt x="3650919" y="4719520"/>
                </a:moveTo>
                <a:cubicBezTo>
                  <a:pt x="3647768" y="4720630"/>
                  <a:pt x="3630007" y="4725406"/>
                  <a:pt x="3623993" y="4724851"/>
                </a:cubicBezTo>
                <a:cubicBezTo>
                  <a:pt x="3632586" y="4723296"/>
                  <a:pt x="3642898" y="4718631"/>
                  <a:pt x="3650919" y="4719520"/>
                </a:cubicBezTo>
                <a:close/>
                <a:moveTo>
                  <a:pt x="2584126" y="4719519"/>
                </a:moveTo>
                <a:cubicBezTo>
                  <a:pt x="2580975" y="4720630"/>
                  <a:pt x="2563214" y="4725406"/>
                  <a:pt x="2557199" y="4724851"/>
                </a:cubicBezTo>
                <a:cubicBezTo>
                  <a:pt x="2565792" y="4723296"/>
                  <a:pt x="2576106" y="4718631"/>
                  <a:pt x="2584126" y="4719519"/>
                </a:cubicBezTo>
                <a:close/>
                <a:moveTo>
                  <a:pt x="6261756" y="4719186"/>
                </a:moveTo>
                <a:cubicBezTo>
                  <a:pt x="6265480" y="4719075"/>
                  <a:pt x="6267484" y="4721741"/>
                  <a:pt x="6269490" y="4724407"/>
                </a:cubicBezTo>
                <a:cubicBezTo>
                  <a:pt x="6266338" y="4726073"/>
                  <a:pt x="6266052" y="4728628"/>
                  <a:pt x="6260036" y="4729295"/>
                </a:cubicBezTo>
                <a:cubicBezTo>
                  <a:pt x="6258890" y="4726184"/>
                  <a:pt x="6258890" y="4723629"/>
                  <a:pt x="6257745" y="4720519"/>
                </a:cubicBezTo>
                <a:cubicBezTo>
                  <a:pt x="6259177" y="4719741"/>
                  <a:pt x="6260610" y="4719297"/>
                  <a:pt x="6261756" y="4719186"/>
                </a:cubicBezTo>
                <a:close/>
                <a:moveTo>
                  <a:pt x="3830819" y="4718075"/>
                </a:moveTo>
                <a:cubicBezTo>
                  <a:pt x="3838553" y="4717964"/>
                  <a:pt x="3843137" y="4720518"/>
                  <a:pt x="3845142" y="4723740"/>
                </a:cubicBezTo>
                <a:lnTo>
                  <a:pt x="3844282" y="4728517"/>
                </a:lnTo>
                <a:lnTo>
                  <a:pt x="3853450" y="4730295"/>
                </a:lnTo>
                <a:cubicBezTo>
                  <a:pt x="3854882" y="4734182"/>
                  <a:pt x="3854022" y="4736960"/>
                  <a:pt x="3851444" y="4738626"/>
                </a:cubicBezTo>
                <a:cubicBezTo>
                  <a:pt x="3844569" y="4743846"/>
                  <a:pt x="3825663" y="4739625"/>
                  <a:pt x="3829386" y="4729406"/>
                </a:cubicBezTo>
                <a:lnTo>
                  <a:pt x="3829673" y="4729295"/>
                </a:lnTo>
                <a:lnTo>
                  <a:pt x="3827381" y="4726406"/>
                </a:lnTo>
                <a:cubicBezTo>
                  <a:pt x="3825949" y="4723407"/>
                  <a:pt x="3826235" y="4720519"/>
                  <a:pt x="3830819" y="4718075"/>
                </a:cubicBezTo>
                <a:close/>
                <a:moveTo>
                  <a:pt x="6205322" y="4718074"/>
                </a:moveTo>
                <a:cubicBezTo>
                  <a:pt x="6220791" y="4717742"/>
                  <a:pt x="6224228" y="4728406"/>
                  <a:pt x="6218212" y="4733404"/>
                </a:cubicBezTo>
                <a:cubicBezTo>
                  <a:pt x="6216208" y="4735071"/>
                  <a:pt x="6213343" y="4736181"/>
                  <a:pt x="6209332" y="4735960"/>
                </a:cubicBezTo>
                <a:cubicBezTo>
                  <a:pt x="6203890" y="4729628"/>
                  <a:pt x="6196155" y="4722962"/>
                  <a:pt x="6205322" y="4718074"/>
                </a:cubicBezTo>
                <a:close/>
                <a:moveTo>
                  <a:pt x="5303246" y="4717631"/>
                </a:moveTo>
                <a:cubicBezTo>
                  <a:pt x="5320433" y="4716965"/>
                  <a:pt x="5323584" y="4724851"/>
                  <a:pt x="5319288" y="4729628"/>
                </a:cubicBezTo>
                <a:cubicBezTo>
                  <a:pt x="5317855" y="4731294"/>
                  <a:pt x="5315564" y="4732516"/>
                  <a:pt x="5312412" y="4732960"/>
                </a:cubicBezTo>
                <a:cubicBezTo>
                  <a:pt x="5308688" y="4733626"/>
                  <a:pt x="5303818" y="4732849"/>
                  <a:pt x="5298377" y="4729627"/>
                </a:cubicBezTo>
                <a:cubicBezTo>
                  <a:pt x="5297803" y="4723740"/>
                  <a:pt x="5301527" y="4721630"/>
                  <a:pt x="5303246" y="4717631"/>
                </a:cubicBezTo>
                <a:close/>
                <a:moveTo>
                  <a:pt x="2928743" y="4717631"/>
                </a:moveTo>
                <a:cubicBezTo>
                  <a:pt x="2945932" y="4716964"/>
                  <a:pt x="2949083" y="4724851"/>
                  <a:pt x="2944785" y="4729627"/>
                </a:cubicBezTo>
                <a:cubicBezTo>
                  <a:pt x="2943352" y="4731294"/>
                  <a:pt x="2940774" y="4732516"/>
                  <a:pt x="2937910" y="4732960"/>
                </a:cubicBezTo>
                <a:cubicBezTo>
                  <a:pt x="2934186" y="4733627"/>
                  <a:pt x="2929316" y="4732849"/>
                  <a:pt x="2923873" y="4729628"/>
                </a:cubicBezTo>
                <a:cubicBezTo>
                  <a:pt x="2923300" y="4723740"/>
                  <a:pt x="2927024" y="4721630"/>
                  <a:pt x="2928743" y="4717631"/>
                </a:cubicBezTo>
                <a:close/>
                <a:moveTo>
                  <a:pt x="5027094" y="4717076"/>
                </a:moveTo>
                <a:cubicBezTo>
                  <a:pt x="5029099" y="4716742"/>
                  <a:pt x="5030818" y="4717076"/>
                  <a:pt x="5032250" y="4718631"/>
                </a:cubicBezTo>
                <a:cubicBezTo>
                  <a:pt x="5031104" y="4721186"/>
                  <a:pt x="5028526" y="4724074"/>
                  <a:pt x="5025948" y="4726962"/>
                </a:cubicBezTo>
                <a:cubicBezTo>
                  <a:pt x="5016495" y="4726185"/>
                  <a:pt x="5021651" y="4718408"/>
                  <a:pt x="5027094" y="4717076"/>
                </a:cubicBezTo>
                <a:close/>
                <a:moveTo>
                  <a:pt x="2652592" y="4717075"/>
                </a:moveTo>
                <a:cubicBezTo>
                  <a:pt x="2654596" y="4716742"/>
                  <a:pt x="2656315" y="4717076"/>
                  <a:pt x="2657748" y="4718631"/>
                </a:cubicBezTo>
                <a:cubicBezTo>
                  <a:pt x="2656603" y="4721185"/>
                  <a:pt x="2654023" y="4724073"/>
                  <a:pt x="2651159" y="4726962"/>
                </a:cubicBezTo>
                <a:cubicBezTo>
                  <a:pt x="2641992" y="4726184"/>
                  <a:pt x="2647148" y="4718409"/>
                  <a:pt x="2652592" y="4717075"/>
                </a:cubicBezTo>
                <a:close/>
                <a:moveTo>
                  <a:pt x="4938290" y="4713632"/>
                </a:moveTo>
                <a:cubicBezTo>
                  <a:pt x="4942014" y="4713632"/>
                  <a:pt x="4945738" y="4715631"/>
                  <a:pt x="4946598" y="4719963"/>
                </a:cubicBezTo>
                <a:cubicBezTo>
                  <a:pt x="4939149" y="4723407"/>
                  <a:pt x="4934280" y="4722741"/>
                  <a:pt x="4929696" y="4719630"/>
                </a:cubicBezTo>
                <a:cubicBezTo>
                  <a:pt x="4930556" y="4715630"/>
                  <a:pt x="4934280" y="4713632"/>
                  <a:pt x="4938290" y="4713632"/>
                </a:cubicBezTo>
                <a:close/>
                <a:moveTo>
                  <a:pt x="3630294" y="4713632"/>
                </a:moveTo>
                <a:cubicBezTo>
                  <a:pt x="3634018" y="4713632"/>
                  <a:pt x="3638028" y="4715631"/>
                  <a:pt x="3638888" y="4719964"/>
                </a:cubicBezTo>
                <a:cubicBezTo>
                  <a:pt x="3631440" y="4723407"/>
                  <a:pt x="3626571" y="4722741"/>
                  <a:pt x="3621987" y="4719630"/>
                </a:cubicBezTo>
                <a:cubicBezTo>
                  <a:pt x="3622846" y="4715631"/>
                  <a:pt x="3626570" y="4713632"/>
                  <a:pt x="3630294" y="4713632"/>
                </a:cubicBezTo>
                <a:close/>
                <a:moveTo>
                  <a:pt x="2563501" y="4713631"/>
                </a:moveTo>
                <a:cubicBezTo>
                  <a:pt x="2567225" y="4713632"/>
                  <a:pt x="2571235" y="4715631"/>
                  <a:pt x="2572095" y="4719963"/>
                </a:cubicBezTo>
                <a:cubicBezTo>
                  <a:pt x="2564647" y="4723407"/>
                  <a:pt x="2559778" y="4722741"/>
                  <a:pt x="2555194" y="4719630"/>
                </a:cubicBezTo>
                <a:cubicBezTo>
                  <a:pt x="2556053" y="4715631"/>
                  <a:pt x="2559777" y="4713632"/>
                  <a:pt x="2563501" y="4713631"/>
                </a:cubicBezTo>
                <a:close/>
                <a:moveTo>
                  <a:pt x="4984697" y="4713521"/>
                </a:moveTo>
                <a:cubicBezTo>
                  <a:pt x="4982119" y="4715631"/>
                  <a:pt x="4976676" y="4718630"/>
                  <a:pt x="4972379" y="4717631"/>
                </a:cubicBezTo>
                <a:cubicBezTo>
                  <a:pt x="4972379" y="4717631"/>
                  <a:pt x="4972379" y="4717631"/>
                  <a:pt x="4970374" y="4717075"/>
                </a:cubicBezTo>
                <a:cubicBezTo>
                  <a:pt x="4974958" y="4715631"/>
                  <a:pt x="4980973" y="4713520"/>
                  <a:pt x="4984697" y="4713521"/>
                </a:cubicBezTo>
                <a:close/>
                <a:moveTo>
                  <a:pt x="2902962" y="4713521"/>
                </a:moveTo>
                <a:cubicBezTo>
                  <a:pt x="2906685" y="4713743"/>
                  <a:pt x="2911268" y="4715410"/>
                  <a:pt x="2915279" y="4719297"/>
                </a:cubicBezTo>
                <a:lnTo>
                  <a:pt x="2910409" y="4724518"/>
                </a:lnTo>
                <a:lnTo>
                  <a:pt x="2910695" y="4724962"/>
                </a:lnTo>
                <a:cubicBezTo>
                  <a:pt x="2902961" y="4729738"/>
                  <a:pt x="2901815" y="4735403"/>
                  <a:pt x="2896086" y="4739292"/>
                </a:cubicBezTo>
                <a:lnTo>
                  <a:pt x="2894653" y="4729295"/>
                </a:lnTo>
                <a:lnTo>
                  <a:pt x="2891502" y="4726851"/>
                </a:lnTo>
                <a:cubicBezTo>
                  <a:pt x="2887493" y="4720518"/>
                  <a:pt x="2894082" y="4713187"/>
                  <a:pt x="2902962" y="4713521"/>
                </a:cubicBezTo>
                <a:close/>
                <a:moveTo>
                  <a:pt x="1836169" y="4713521"/>
                </a:moveTo>
                <a:cubicBezTo>
                  <a:pt x="1839892" y="4713742"/>
                  <a:pt x="1844475" y="4715409"/>
                  <a:pt x="1848486" y="4719297"/>
                </a:cubicBezTo>
                <a:cubicBezTo>
                  <a:pt x="1840465" y="4724851"/>
                  <a:pt x="1842471" y="4730627"/>
                  <a:pt x="1832157" y="4732627"/>
                </a:cubicBezTo>
                <a:cubicBezTo>
                  <a:pt x="1816688" y="4726073"/>
                  <a:pt x="1824423" y="4713076"/>
                  <a:pt x="1836169" y="4713521"/>
                </a:cubicBezTo>
                <a:close/>
                <a:moveTo>
                  <a:pt x="2609908" y="4713521"/>
                </a:moveTo>
                <a:cubicBezTo>
                  <a:pt x="2607616" y="4715631"/>
                  <a:pt x="2602173" y="4718631"/>
                  <a:pt x="2597876" y="4717631"/>
                </a:cubicBezTo>
                <a:cubicBezTo>
                  <a:pt x="2597876" y="4717631"/>
                  <a:pt x="2597876" y="4717631"/>
                  <a:pt x="2595871" y="4717076"/>
                </a:cubicBezTo>
                <a:cubicBezTo>
                  <a:pt x="2600455" y="4715631"/>
                  <a:pt x="2606470" y="4713521"/>
                  <a:pt x="2609908" y="4713521"/>
                </a:cubicBezTo>
                <a:close/>
                <a:moveTo>
                  <a:pt x="3229244" y="4712743"/>
                </a:moveTo>
                <a:cubicBezTo>
                  <a:pt x="3231249" y="4712632"/>
                  <a:pt x="3232682" y="4712632"/>
                  <a:pt x="3233542" y="4713298"/>
                </a:cubicBezTo>
                <a:cubicBezTo>
                  <a:pt x="3234687" y="4713854"/>
                  <a:pt x="3234973" y="4715076"/>
                  <a:pt x="3234687" y="4717186"/>
                </a:cubicBezTo>
                <a:cubicBezTo>
                  <a:pt x="3234687" y="4717186"/>
                  <a:pt x="3233254" y="4717853"/>
                  <a:pt x="3233254" y="4717853"/>
                </a:cubicBezTo>
                <a:cubicBezTo>
                  <a:pt x="3227239" y="4717631"/>
                  <a:pt x="3228098" y="4715964"/>
                  <a:pt x="3229244" y="4712743"/>
                </a:cubicBezTo>
                <a:close/>
                <a:moveTo>
                  <a:pt x="5603747" y="4712743"/>
                </a:moveTo>
                <a:cubicBezTo>
                  <a:pt x="5605752" y="4712632"/>
                  <a:pt x="5607184" y="4712631"/>
                  <a:pt x="5608044" y="4713299"/>
                </a:cubicBezTo>
                <a:cubicBezTo>
                  <a:pt x="5609190" y="4713853"/>
                  <a:pt x="5609476" y="4715076"/>
                  <a:pt x="5609190" y="4717186"/>
                </a:cubicBezTo>
                <a:cubicBezTo>
                  <a:pt x="5609190" y="4717186"/>
                  <a:pt x="5607757" y="4717853"/>
                  <a:pt x="5607757" y="4717853"/>
                </a:cubicBezTo>
                <a:cubicBezTo>
                  <a:pt x="5601742" y="4717631"/>
                  <a:pt x="5602601" y="4715965"/>
                  <a:pt x="5603747" y="4712743"/>
                </a:cubicBezTo>
                <a:close/>
                <a:moveTo>
                  <a:pt x="3755765" y="4710966"/>
                </a:moveTo>
                <a:cubicBezTo>
                  <a:pt x="3757198" y="4712410"/>
                  <a:pt x="3760349" y="4714076"/>
                  <a:pt x="3761781" y="4716631"/>
                </a:cubicBezTo>
                <a:cubicBezTo>
                  <a:pt x="3755192" y="4723740"/>
                  <a:pt x="3746885" y="4711966"/>
                  <a:pt x="3755765" y="4710966"/>
                </a:cubicBezTo>
                <a:close/>
                <a:moveTo>
                  <a:pt x="5063761" y="4710966"/>
                </a:moveTo>
                <a:cubicBezTo>
                  <a:pt x="5065194" y="4712410"/>
                  <a:pt x="5068345" y="4714076"/>
                  <a:pt x="5069491" y="4716631"/>
                </a:cubicBezTo>
                <a:cubicBezTo>
                  <a:pt x="5062902" y="4723739"/>
                  <a:pt x="5054881" y="4711966"/>
                  <a:pt x="5063761" y="4710966"/>
                </a:cubicBezTo>
                <a:close/>
                <a:moveTo>
                  <a:pt x="2688972" y="4710966"/>
                </a:moveTo>
                <a:cubicBezTo>
                  <a:pt x="2690405" y="4712410"/>
                  <a:pt x="2693556" y="4714076"/>
                  <a:pt x="2694988" y="4716631"/>
                </a:cubicBezTo>
                <a:cubicBezTo>
                  <a:pt x="2688400" y="4723740"/>
                  <a:pt x="2680092" y="4711966"/>
                  <a:pt x="2688972" y="4710966"/>
                </a:cubicBezTo>
                <a:close/>
                <a:moveTo>
                  <a:pt x="3039604" y="4709744"/>
                </a:moveTo>
                <a:cubicBezTo>
                  <a:pt x="3040465" y="4709743"/>
                  <a:pt x="3041610" y="4709966"/>
                  <a:pt x="3042469" y="4710188"/>
                </a:cubicBezTo>
                <a:cubicBezTo>
                  <a:pt x="3043901" y="4710854"/>
                  <a:pt x="3045334" y="4711854"/>
                  <a:pt x="3045334" y="4712410"/>
                </a:cubicBezTo>
                <a:cubicBezTo>
                  <a:pt x="3043615" y="4713409"/>
                  <a:pt x="3040178" y="4713187"/>
                  <a:pt x="3038172" y="4714187"/>
                </a:cubicBezTo>
                <a:cubicBezTo>
                  <a:pt x="3038459" y="4713076"/>
                  <a:pt x="3036740" y="4711632"/>
                  <a:pt x="3036741" y="4710521"/>
                </a:cubicBezTo>
                <a:cubicBezTo>
                  <a:pt x="3037599" y="4709966"/>
                  <a:pt x="3038745" y="4709855"/>
                  <a:pt x="3039604" y="4709744"/>
                </a:cubicBezTo>
                <a:close/>
                <a:moveTo>
                  <a:pt x="5414107" y="4709743"/>
                </a:moveTo>
                <a:cubicBezTo>
                  <a:pt x="5414967" y="4709744"/>
                  <a:pt x="5416112" y="4709966"/>
                  <a:pt x="5416972" y="4710188"/>
                </a:cubicBezTo>
                <a:cubicBezTo>
                  <a:pt x="5418691" y="4710854"/>
                  <a:pt x="5419836" y="4711855"/>
                  <a:pt x="5419836" y="4712410"/>
                </a:cubicBezTo>
                <a:cubicBezTo>
                  <a:pt x="5418118" y="4713409"/>
                  <a:pt x="5414680" y="4713187"/>
                  <a:pt x="5412962" y="4714187"/>
                </a:cubicBezTo>
                <a:cubicBezTo>
                  <a:pt x="5412962" y="4713076"/>
                  <a:pt x="5411242" y="4711632"/>
                  <a:pt x="5411242" y="4710521"/>
                </a:cubicBezTo>
                <a:cubicBezTo>
                  <a:pt x="5412102" y="4709966"/>
                  <a:pt x="5413248" y="4709855"/>
                  <a:pt x="5414107" y="4709743"/>
                </a:cubicBezTo>
                <a:close/>
                <a:moveTo>
                  <a:pt x="5916280" y="4708300"/>
                </a:moveTo>
                <a:cubicBezTo>
                  <a:pt x="5917138" y="4709299"/>
                  <a:pt x="5917998" y="4710300"/>
                  <a:pt x="5917138" y="4711966"/>
                </a:cubicBezTo>
                <a:cubicBezTo>
                  <a:pt x="5916566" y="4713631"/>
                  <a:pt x="5915706" y="4712632"/>
                  <a:pt x="5916280" y="4713632"/>
                </a:cubicBezTo>
                <a:cubicBezTo>
                  <a:pt x="5915706" y="4715298"/>
                  <a:pt x="5917138" y="4714631"/>
                  <a:pt x="5917138" y="4714631"/>
                </a:cubicBezTo>
                <a:cubicBezTo>
                  <a:pt x="5917138" y="4714631"/>
                  <a:pt x="5915706" y="4715187"/>
                  <a:pt x="5915706" y="4715187"/>
                </a:cubicBezTo>
                <a:cubicBezTo>
                  <a:pt x="5915706" y="4715187"/>
                  <a:pt x="5915706" y="4715298"/>
                  <a:pt x="5914274" y="4718520"/>
                </a:cubicBezTo>
                <a:cubicBezTo>
                  <a:pt x="5913700" y="4722741"/>
                  <a:pt x="5914274" y="4723850"/>
                  <a:pt x="5914560" y="4726406"/>
                </a:cubicBezTo>
                <a:cubicBezTo>
                  <a:pt x="5913128" y="4729739"/>
                  <a:pt x="5911410" y="4730295"/>
                  <a:pt x="5908544" y="4734181"/>
                </a:cubicBezTo>
                <a:cubicBezTo>
                  <a:pt x="5904820" y="4734404"/>
                  <a:pt x="5904820" y="4734404"/>
                  <a:pt x="5903962" y="4733404"/>
                </a:cubicBezTo>
                <a:cubicBezTo>
                  <a:pt x="5904820" y="4734404"/>
                  <a:pt x="5903388" y="4735071"/>
                  <a:pt x="5902529" y="4736626"/>
                </a:cubicBezTo>
                <a:cubicBezTo>
                  <a:pt x="5901956" y="4743513"/>
                  <a:pt x="5893076" y="4744624"/>
                  <a:pt x="5882476" y="4743735"/>
                </a:cubicBezTo>
                <a:cubicBezTo>
                  <a:pt x="5883050" y="4742069"/>
                  <a:pt x="5877034" y="4741958"/>
                  <a:pt x="5874169" y="4740625"/>
                </a:cubicBezTo>
                <a:cubicBezTo>
                  <a:pt x="5871878" y="4737514"/>
                  <a:pt x="5870158" y="4735515"/>
                  <a:pt x="5871591" y="4732293"/>
                </a:cubicBezTo>
                <a:cubicBezTo>
                  <a:pt x="5873882" y="4727406"/>
                  <a:pt x="5882763" y="4721074"/>
                  <a:pt x="5889352" y="4722184"/>
                </a:cubicBezTo>
                <a:cubicBezTo>
                  <a:pt x="5893648" y="4722407"/>
                  <a:pt x="5896800" y="4723185"/>
                  <a:pt x="5899092" y="4724185"/>
                </a:cubicBezTo>
                <a:lnTo>
                  <a:pt x="5900524" y="4725518"/>
                </a:lnTo>
                <a:lnTo>
                  <a:pt x="5898805" y="4721741"/>
                </a:lnTo>
                <a:cubicBezTo>
                  <a:pt x="5898805" y="4719963"/>
                  <a:pt x="5899951" y="4718297"/>
                  <a:pt x="5900810" y="4716631"/>
                </a:cubicBezTo>
                <a:cubicBezTo>
                  <a:pt x="5902816" y="4714520"/>
                  <a:pt x="5902816" y="4713298"/>
                  <a:pt x="5901383" y="4710854"/>
                </a:cubicBezTo>
                <a:cubicBezTo>
                  <a:pt x="5901383" y="4710854"/>
                  <a:pt x="5901383" y="4710854"/>
                  <a:pt x="5904820" y="4708966"/>
                </a:cubicBezTo>
                <a:lnTo>
                  <a:pt x="5906540" y="4709077"/>
                </a:lnTo>
                <a:cubicBezTo>
                  <a:pt x="5907399" y="4709522"/>
                  <a:pt x="5907686" y="4710521"/>
                  <a:pt x="5907686" y="4711744"/>
                </a:cubicBezTo>
                <a:cubicBezTo>
                  <a:pt x="5907972" y="4713743"/>
                  <a:pt x="5907399" y="4716298"/>
                  <a:pt x="5906540" y="4718519"/>
                </a:cubicBezTo>
                <a:lnTo>
                  <a:pt x="5905394" y="4722519"/>
                </a:lnTo>
                <a:lnTo>
                  <a:pt x="5908831" y="4715631"/>
                </a:lnTo>
                <a:cubicBezTo>
                  <a:pt x="5911123" y="4711854"/>
                  <a:pt x="5913701" y="4708745"/>
                  <a:pt x="5916280" y="4708300"/>
                </a:cubicBezTo>
                <a:close/>
                <a:moveTo>
                  <a:pt x="4608570" y="4708300"/>
                </a:moveTo>
                <a:cubicBezTo>
                  <a:pt x="4609430" y="4709299"/>
                  <a:pt x="4610002" y="4710299"/>
                  <a:pt x="4609429" y="4711966"/>
                </a:cubicBezTo>
                <a:cubicBezTo>
                  <a:pt x="4608570" y="4713632"/>
                  <a:pt x="4607996" y="4712632"/>
                  <a:pt x="4608570" y="4713632"/>
                </a:cubicBezTo>
                <a:cubicBezTo>
                  <a:pt x="4607996" y="4715298"/>
                  <a:pt x="4609429" y="4714631"/>
                  <a:pt x="4609429" y="4714631"/>
                </a:cubicBezTo>
                <a:cubicBezTo>
                  <a:pt x="4609429" y="4714631"/>
                  <a:pt x="4607996" y="4715187"/>
                  <a:pt x="4607996" y="4715187"/>
                </a:cubicBezTo>
                <a:cubicBezTo>
                  <a:pt x="4607996" y="4715187"/>
                  <a:pt x="4607996" y="4715298"/>
                  <a:pt x="4606564" y="4718519"/>
                </a:cubicBezTo>
                <a:cubicBezTo>
                  <a:pt x="4605705" y="4722741"/>
                  <a:pt x="4606564" y="4723851"/>
                  <a:pt x="4606851" y="4726406"/>
                </a:cubicBezTo>
                <a:cubicBezTo>
                  <a:pt x="4605991" y="4728073"/>
                  <a:pt x="4605132" y="4728961"/>
                  <a:pt x="4604272" y="4730072"/>
                </a:cubicBezTo>
                <a:lnTo>
                  <a:pt x="4602554" y="4732182"/>
                </a:lnTo>
                <a:lnTo>
                  <a:pt x="4607424" y="4733627"/>
                </a:lnTo>
                <a:cubicBezTo>
                  <a:pt x="4606851" y="4736181"/>
                  <a:pt x="4604846" y="4739070"/>
                  <a:pt x="4602554" y="4741847"/>
                </a:cubicBezTo>
                <a:cubicBezTo>
                  <a:pt x="4595392" y="4741070"/>
                  <a:pt x="4595678" y="4736626"/>
                  <a:pt x="4598543" y="4733960"/>
                </a:cubicBezTo>
                <a:lnTo>
                  <a:pt x="4598830" y="4733848"/>
                </a:lnTo>
                <a:lnTo>
                  <a:pt x="4596252" y="4733405"/>
                </a:lnTo>
                <a:cubicBezTo>
                  <a:pt x="4597111" y="4734404"/>
                  <a:pt x="4595678" y="4735071"/>
                  <a:pt x="4594819" y="4736626"/>
                </a:cubicBezTo>
                <a:cubicBezTo>
                  <a:pt x="4594246" y="4743513"/>
                  <a:pt x="4585366" y="4744624"/>
                  <a:pt x="4574767" y="4743735"/>
                </a:cubicBezTo>
                <a:cubicBezTo>
                  <a:pt x="4575340" y="4742069"/>
                  <a:pt x="4569324" y="4741958"/>
                  <a:pt x="4566173" y="4740625"/>
                </a:cubicBezTo>
                <a:cubicBezTo>
                  <a:pt x="4563881" y="4737515"/>
                  <a:pt x="4562449" y="4735515"/>
                  <a:pt x="4563881" y="4732294"/>
                </a:cubicBezTo>
                <a:cubicBezTo>
                  <a:pt x="4566173" y="4727406"/>
                  <a:pt x="4575053" y="4721074"/>
                  <a:pt x="4581642" y="4722185"/>
                </a:cubicBezTo>
                <a:cubicBezTo>
                  <a:pt x="4585939" y="4722407"/>
                  <a:pt x="4589090" y="4723185"/>
                  <a:pt x="4591095" y="4724184"/>
                </a:cubicBezTo>
                <a:lnTo>
                  <a:pt x="4592814" y="4725517"/>
                </a:lnTo>
                <a:lnTo>
                  <a:pt x="4591095" y="4721741"/>
                </a:lnTo>
                <a:cubicBezTo>
                  <a:pt x="4591095" y="4719963"/>
                  <a:pt x="4591954" y="4718297"/>
                  <a:pt x="4593100" y="4716630"/>
                </a:cubicBezTo>
                <a:cubicBezTo>
                  <a:pt x="4594819" y="4714521"/>
                  <a:pt x="4595106" y="4713298"/>
                  <a:pt x="4593673" y="4710854"/>
                </a:cubicBezTo>
                <a:cubicBezTo>
                  <a:pt x="4593673" y="4710854"/>
                  <a:pt x="4593673" y="4710854"/>
                  <a:pt x="4597111" y="4708966"/>
                </a:cubicBezTo>
                <a:lnTo>
                  <a:pt x="4598830" y="4709077"/>
                </a:lnTo>
                <a:cubicBezTo>
                  <a:pt x="4599689" y="4709522"/>
                  <a:pt x="4599976" y="4710521"/>
                  <a:pt x="4599976" y="4711744"/>
                </a:cubicBezTo>
                <a:cubicBezTo>
                  <a:pt x="4600262" y="4713743"/>
                  <a:pt x="4599403" y="4716297"/>
                  <a:pt x="4598830" y="4718520"/>
                </a:cubicBezTo>
                <a:lnTo>
                  <a:pt x="4597684" y="4722519"/>
                </a:lnTo>
                <a:lnTo>
                  <a:pt x="4601122" y="4715631"/>
                </a:lnTo>
                <a:cubicBezTo>
                  <a:pt x="4603413" y="4711854"/>
                  <a:pt x="4605991" y="4708744"/>
                  <a:pt x="4608570" y="4708300"/>
                </a:cubicBezTo>
                <a:close/>
                <a:moveTo>
                  <a:pt x="3363023" y="4707188"/>
                </a:moveTo>
                <a:cubicBezTo>
                  <a:pt x="3364455" y="4706633"/>
                  <a:pt x="3365028" y="4707522"/>
                  <a:pt x="3363596" y="4708189"/>
                </a:cubicBezTo>
                <a:cubicBezTo>
                  <a:pt x="3363882" y="4710744"/>
                  <a:pt x="3359585" y="4709966"/>
                  <a:pt x="3357294" y="4709522"/>
                </a:cubicBezTo>
                <a:cubicBezTo>
                  <a:pt x="3361590" y="4707744"/>
                  <a:pt x="3362450" y="4706189"/>
                  <a:pt x="3363023" y="4707188"/>
                </a:cubicBezTo>
                <a:close/>
                <a:moveTo>
                  <a:pt x="5737526" y="4707188"/>
                </a:moveTo>
                <a:cubicBezTo>
                  <a:pt x="5738958" y="4706634"/>
                  <a:pt x="5739816" y="4707522"/>
                  <a:pt x="5738385" y="4708188"/>
                </a:cubicBezTo>
                <a:cubicBezTo>
                  <a:pt x="5738385" y="4710743"/>
                  <a:pt x="5734088" y="4709966"/>
                  <a:pt x="5731796" y="4709521"/>
                </a:cubicBezTo>
                <a:cubicBezTo>
                  <a:pt x="5736093" y="4707744"/>
                  <a:pt x="5736952" y="4706189"/>
                  <a:pt x="5737526" y="4707188"/>
                </a:cubicBezTo>
                <a:close/>
                <a:moveTo>
                  <a:pt x="4724301" y="4706523"/>
                </a:moveTo>
                <a:cubicBezTo>
                  <a:pt x="4728884" y="4707300"/>
                  <a:pt x="4729744" y="4710966"/>
                  <a:pt x="4732036" y="4711410"/>
                </a:cubicBezTo>
                <a:cubicBezTo>
                  <a:pt x="4730603" y="4711966"/>
                  <a:pt x="4727452" y="4713187"/>
                  <a:pt x="4727452" y="4715854"/>
                </a:cubicBezTo>
                <a:cubicBezTo>
                  <a:pt x="4722869" y="4715076"/>
                  <a:pt x="4718285" y="4714298"/>
                  <a:pt x="4720004" y="4711077"/>
                </a:cubicBezTo>
                <a:cubicBezTo>
                  <a:pt x="4720577" y="4709522"/>
                  <a:pt x="4721436" y="4707855"/>
                  <a:pt x="4724301" y="4706523"/>
                </a:cubicBezTo>
                <a:close/>
                <a:moveTo>
                  <a:pt x="6032298" y="4706522"/>
                </a:moveTo>
                <a:cubicBezTo>
                  <a:pt x="6036594" y="4707300"/>
                  <a:pt x="6037454" y="4710966"/>
                  <a:pt x="6039746" y="4711410"/>
                </a:cubicBezTo>
                <a:cubicBezTo>
                  <a:pt x="6038313" y="4711966"/>
                  <a:pt x="6035162" y="4713187"/>
                  <a:pt x="6035162" y="4715853"/>
                </a:cubicBezTo>
                <a:cubicBezTo>
                  <a:pt x="6030865" y="4715075"/>
                  <a:pt x="6026282" y="4714299"/>
                  <a:pt x="6027714" y="4711077"/>
                </a:cubicBezTo>
                <a:cubicBezTo>
                  <a:pt x="6028287" y="4709522"/>
                  <a:pt x="6029146" y="4707856"/>
                  <a:pt x="6032298" y="4706522"/>
                </a:cubicBezTo>
                <a:close/>
                <a:moveTo>
                  <a:pt x="3152471" y="4705745"/>
                </a:moveTo>
                <a:cubicBezTo>
                  <a:pt x="3152471" y="4706856"/>
                  <a:pt x="3152471" y="4710632"/>
                  <a:pt x="3151899" y="4714631"/>
                </a:cubicBezTo>
                <a:lnTo>
                  <a:pt x="3151039" y="4717963"/>
                </a:lnTo>
                <a:lnTo>
                  <a:pt x="3153617" y="4718075"/>
                </a:lnTo>
                <a:cubicBezTo>
                  <a:pt x="3158202" y="4719630"/>
                  <a:pt x="3159634" y="4724629"/>
                  <a:pt x="3165076" y="4728627"/>
                </a:cubicBezTo>
                <a:cubicBezTo>
                  <a:pt x="3161352" y="4730738"/>
                  <a:pt x="3156483" y="4730627"/>
                  <a:pt x="3152471" y="4729406"/>
                </a:cubicBezTo>
                <a:lnTo>
                  <a:pt x="3147316" y="4726851"/>
                </a:lnTo>
                <a:lnTo>
                  <a:pt x="3144450" y="4723185"/>
                </a:lnTo>
                <a:cubicBezTo>
                  <a:pt x="3144164" y="4721407"/>
                  <a:pt x="3144738" y="4719519"/>
                  <a:pt x="3147316" y="4717853"/>
                </a:cubicBezTo>
                <a:lnTo>
                  <a:pt x="3149034" y="4717853"/>
                </a:lnTo>
                <a:lnTo>
                  <a:pt x="3149320" y="4714521"/>
                </a:lnTo>
                <a:cubicBezTo>
                  <a:pt x="3149608" y="4711188"/>
                  <a:pt x="3150180" y="4707966"/>
                  <a:pt x="3152471" y="4705745"/>
                </a:cubicBezTo>
                <a:close/>
                <a:moveTo>
                  <a:pt x="5526974" y="4705745"/>
                </a:moveTo>
                <a:cubicBezTo>
                  <a:pt x="5526975" y="4706856"/>
                  <a:pt x="5526974" y="4710632"/>
                  <a:pt x="5526401" y="4714630"/>
                </a:cubicBezTo>
                <a:lnTo>
                  <a:pt x="5525828" y="4717964"/>
                </a:lnTo>
                <a:lnTo>
                  <a:pt x="5528120" y="4718075"/>
                </a:lnTo>
                <a:cubicBezTo>
                  <a:pt x="5532990" y="4719630"/>
                  <a:pt x="5534136" y="4724628"/>
                  <a:pt x="5539579" y="4728628"/>
                </a:cubicBezTo>
                <a:cubicBezTo>
                  <a:pt x="5535854" y="4730739"/>
                  <a:pt x="5530985" y="4730627"/>
                  <a:pt x="5526974" y="4729406"/>
                </a:cubicBezTo>
                <a:lnTo>
                  <a:pt x="5521818" y="4726851"/>
                </a:lnTo>
                <a:lnTo>
                  <a:pt x="5518953" y="4723185"/>
                </a:lnTo>
                <a:cubicBezTo>
                  <a:pt x="5518667" y="4721408"/>
                  <a:pt x="5519240" y="4719520"/>
                  <a:pt x="5521818" y="4717853"/>
                </a:cubicBezTo>
                <a:lnTo>
                  <a:pt x="5523537" y="4717853"/>
                </a:lnTo>
                <a:lnTo>
                  <a:pt x="5523823" y="4714521"/>
                </a:lnTo>
                <a:cubicBezTo>
                  <a:pt x="5524110" y="4711188"/>
                  <a:pt x="5524682" y="4707965"/>
                  <a:pt x="5526974" y="4705745"/>
                </a:cubicBezTo>
                <a:close/>
                <a:moveTo>
                  <a:pt x="5345069" y="4704412"/>
                </a:moveTo>
                <a:cubicBezTo>
                  <a:pt x="5347934" y="4705633"/>
                  <a:pt x="5349653" y="4710521"/>
                  <a:pt x="5351085" y="4713854"/>
                </a:cubicBezTo>
                <a:cubicBezTo>
                  <a:pt x="5348507" y="4716742"/>
                  <a:pt x="5343350" y="4718408"/>
                  <a:pt x="5337335" y="4718519"/>
                </a:cubicBezTo>
                <a:cubicBezTo>
                  <a:pt x="5334756" y="4712077"/>
                  <a:pt x="5337908" y="4708078"/>
                  <a:pt x="5345069" y="4704412"/>
                </a:cubicBezTo>
                <a:close/>
                <a:moveTo>
                  <a:pt x="2970280" y="4704411"/>
                </a:moveTo>
                <a:cubicBezTo>
                  <a:pt x="2973146" y="4705634"/>
                  <a:pt x="2975150" y="4710521"/>
                  <a:pt x="2976296" y="4713853"/>
                </a:cubicBezTo>
                <a:cubicBezTo>
                  <a:pt x="2974005" y="4716742"/>
                  <a:pt x="2968561" y="4718408"/>
                  <a:pt x="2962546" y="4718519"/>
                </a:cubicBezTo>
                <a:cubicBezTo>
                  <a:pt x="2960255" y="4712077"/>
                  <a:pt x="2963405" y="4708077"/>
                  <a:pt x="2970280" y="4704411"/>
                </a:cubicBezTo>
                <a:close/>
                <a:moveTo>
                  <a:pt x="3819647" y="4702079"/>
                </a:moveTo>
                <a:cubicBezTo>
                  <a:pt x="3822511" y="4702079"/>
                  <a:pt x="3825376" y="4703856"/>
                  <a:pt x="3825376" y="4705745"/>
                </a:cubicBezTo>
                <a:cubicBezTo>
                  <a:pt x="3825376" y="4707633"/>
                  <a:pt x="3822511" y="4709522"/>
                  <a:pt x="3822511" y="4709522"/>
                </a:cubicBezTo>
                <a:cubicBezTo>
                  <a:pt x="3822511" y="4713299"/>
                  <a:pt x="3828240" y="4713299"/>
                  <a:pt x="3825376" y="4717075"/>
                </a:cubicBezTo>
                <a:cubicBezTo>
                  <a:pt x="3819647" y="4717075"/>
                  <a:pt x="3819647" y="4724629"/>
                  <a:pt x="3808188" y="4720852"/>
                </a:cubicBezTo>
                <a:cubicBezTo>
                  <a:pt x="3805324" y="4717075"/>
                  <a:pt x="3796730" y="4707633"/>
                  <a:pt x="3811053" y="4705745"/>
                </a:cubicBezTo>
                <a:cubicBezTo>
                  <a:pt x="3813918" y="4703856"/>
                  <a:pt x="3816782" y="4702080"/>
                  <a:pt x="3819647" y="4702079"/>
                </a:cubicBezTo>
                <a:close/>
                <a:moveTo>
                  <a:pt x="3493077" y="4701968"/>
                </a:moveTo>
                <a:cubicBezTo>
                  <a:pt x="3494223" y="4705079"/>
                  <a:pt x="3498234" y="4704967"/>
                  <a:pt x="3499380" y="4708188"/>
                </a:cubicBezTo>
                <a:cubicBezTo>
                  <a:pt x="3494796" y="4709300"/>
                  <a:pt x="3491646" y="4710854"/>
                  <a:pt x="3489353" y="4711410"/>
                </a:cubicBezTo>
                <a:cubicBezTo>
                  <a:pt x="3485056" y="4707300"/>
                  <a:pt x="3486202" y="4703634"/>
                  <a:pt x="3493077" y="4701968"/>
                </a:cubicBezTo>
                <a:close/>
                <a:moveTo>
                  <a:pt x="2426284" y="4701968"/>
                </a:moveTo>
                <a:cubicBezTo>
                  <a:pt x="2427430" y="4705078"/>
                  <a:pt x="2431441" y="4704966"/>
                  <a:pt x="2432586" y="4708189"/>
                </a:cubicBezTo>
                <a:cubicBezTo>
                  <a:pt x="2428003" y="4709299"/>
                  <a:pt x="2424853" y="4710855"/>
                  <a:pt x="2422561" y="4711410"/>
                </a:cubicBezTo>
                <a:cubicBezTo>
                  <a:pt x="2418263" y="4707300"/>
                  <a:pt x="2419409" y="4703634"/>
                  <a:pt x="2426284" y="4701968"/>
                </a:cubicBezTo>
                <a:close/>
                <a:moveTo>
                  <a:pt x="2712750" y="4698413"/>
                </a:moveTo>
                <a:cubicBezTo>
                  <a:pt x="2727646" y="4702190"/>
                  <a:pt x="2725353" y="4712632"/>
                  <a:pt x="2717046" y="4715520"/>
                </a:cubicBezTo>
                <a:cubicBezTo>
                  <a:pt x="2714181" y="4716520"/>
                  <a:pt x="2710743" y="4716741"/>
                  <a:pt x="2707020" y="4715520"/>
                </a:cubicBezTo>
                <a:cubicBezTo>
                  <a:pt x="2705301" y="4708411"/>
                  <a:pt x="2701290" y="4700523"/>
                  <a:pt x="2712750" y="4698413"/>
                </a:cubicBezTo>
                <a:close/>
                <a:moveTo>
                  <a:pt x="4700524" y="4696747"/>
                </a:moveTo>
                <a:cubicBezTo>
                  <a:pt x="4702243" y="4696970"/>
                  <a:pt x="4701956" y="4696970"/>
                  <a:pt x="4701956" y="4696970"/>
                </a:cubicBezTo>
                <a:cubicBezTo>
                  <a:pt x="4700524" y="4700413"/>
                  <a:pt x="4704248" y="4704967"/>
                  <a:pt x="4704822" y="4709411"/>
                </a:cubicBezTo>
                <a:cubicBezTo>
                  <a:pt x="4704822" y="4710966"/>
                  <a:pt x="4704822" y="4712409"/>
                  <a:pt x="4703676" y="4713853"/>
                </a:cubicBezTo>
                <a:cubicBezTo>
                  <a:pt x="4703676" y="4713853"/>
                  <a:pt x="4703676" y="4713743"/>
                  <a:pt x="4703962" y="4712631"/>
                </a:cubicBezTo>
                <a:cubicBezTo>
                  <a:pt x="4703962" y="4712631"/>
                  <a:pt x="4703676" y="4713853"/>
                  <a:pt x="4701957" y="4713632"/>
                </a:cubicBezTo>
                <a:cubicBezTo>
                  <a:pt x="4697660" y="4707189"/>
                  <a:pt x="4700238" y="4697969"/>
                  <a:pt x="4700524" y="4696747"/>
                </a:cubicBezTo>
                <a:close/>
                <a:moveTo>
                  <a:pt x="6008235" y="4696747"/>
                </a:moveTo>
                <a:cubicBezTo>
                  <a:pt x="6009953" y="4696969"/>
                  <a:pt x="6009666" y="4696970"/>
                  <a:pt x="6009666" y="4696970"/>
                </a:cubicBezTo>
                <a:cubicBezTo>
                  <a:pt x="6008234" y="4700412"/>
                  <a:pt x="6011958" y="4704967"/>
                  <a:pt x="6012532" y="4709411"/>
                </a:cubicBezTo>
                <a:cubicBezTo>
                  <a:pt x="6012532" y="4710965"/>
                  <a:pt x="6012532" y="4712410"/>
                  <a:pt x="6011386" y="4713853"/>
                </a:cubicBezTo>
                <a:cubicBezTo>
                  <a:pt x="6011386" y="4713853"/>
                  <a:pt x="6011386" y="4713743"/>
                  <a:pt x="6011672" y="4712632"/>
                </a:cubicBezTo>
                <a:cubicBezTo>
                  <a:pt x="6011672" y="4712632"/>
                  <a:pt x="6011672" y="4713853"/>
                  <a:pt x="6009953" y="4713632"/>
                </a:cubicBezTo>
                <a:cubicBezTo>
                  <a:pt x="6005656" y="4707188"/>
                  <a:pt x="6008234" y="4697969"/>
                  <a:pt x="6008235" y="4696747"/>
                </a:cubicBezTo>
                <a:close/>
                <a:moveTo>
                  <a:pt x="2633684" y="4696525"/>
                </a:moveTo>
                <a:cubicBezTo>
                  <a:pt x="2634257" y="4698080"/>
                  <a:pt x="2635118" y="4699080"/>
                  <a:pt x="2635404" y="4699635"/>
                </a:cubicBezTo>
                <a:cubicBezTo>
                  <a:pt x="2635977" y="4700302"/>
                  <a:pt x="2635976" y="4700524"/>
                  <a:pt x="2635117" y="4700746"/>
                </a:cubicBezTo>
                <a:cubicBezTo>
                  <a:pt x="2635690" y="4701746"/>
                  <a:pt x="2633972" y="4702190"/>
                  <a:pt x="2633685" y="4701190"/>
                </a:cubicBezTo>
                <a:cubicBezTo>
                  <a:pt x="2629960" y="4700857"/>
                  <a:pt x="2632539" y="4697969"/>
                  <a:pt x="2633684" y="4696525"/>
                </a:cubicBezTo>
                <a:close/>
                <a:moveTo>
                  <a:pt x="5008187" y="4696525"/>
                </a:moveTo>
                <a:cubicBezTo>
                  <a:pt x="5008760" y="4698080"/>
                  <a:pt x="5009620" y="4699080"/>
                  <a:pt x="5009906" y="4699636"/>
                </a:cubicBezTo>
                <a:cubicBezTo>
                  <a:pt x="5010479" y="4700302"/>
                  <a:pt x="5010766" y="4700524"/>
                  <a:pt x="5009906" y="4700746"/>
                </a:cubicBezTo>
                <a:cubicBezTo>
                  <a:pt x="5010192" y="4701746"/>
                  <a:pt x="5008760" y="4702190"/>
                  <a:pt x="5008187" y="4701191"/>
                </a:cubicBezTo>
                <a:cubicBezTo>
                  <a:pt x="5004463" y="4700857"/>
                  <a:pt x="5007042" y="4697970"/>
                  <a:pt x="5008187" y="4696525"/>
                </a:cubicBezTo>
                <a:close/>
                <a:moveTo>
                  <a:pt x="6016542" y="4695192"/>
                </a:moveTo>
                <a:cubicBezTo>
                  <a:pt x="6031152" y="4705078"/>
                  <a:pt x="6021984" y="4711188"/>
                  <a:pt x="6030006" y="4716742"/>
                </a:cubicBezTo>
                <a:cubicBezTo>
                  <a:pt x="6026282" y="4717520"/>
                  <a:pt x="6026282" y="4717520"/>
                  <a:pt x="6023130" y="4715965"/>
                </a:cubicBezTo>
                <a:cubicBezTo>
                  <a:pt x="6023130" y="4714853"/>
                  <a:pt x="6021412" y="4714631"/>
                  <a:pt x="6023417" y="4713632"/>
                </a:cubicBezTo>
                <a:cubicBezTo>
                  <a:pt x="6018547" y="4710744"/>
                  <a:pt x="6014250" y="4699635"/>
                  <a:pt x="6016542" y="4695192"/>
                </a:cubicBezTo>
                <a:close/>
                <a:moveTo>
                  <a:pt x="4708832" y="4695192"/>
                </a:moveTo>
                <a:cubicBezTo>
                  <a:pt x="4723442" y="4705079"/>
                  <a:pt x="4713988" y="4711188"/>
                  <a:pt x="4722296" y="4716742"/>
                </a:cubicBezTo>
                <a:cubicBezTo>
                  <a:pt x="4718572" y="4717519"/>
                  <a:pt x="4718572" y="4717519"/>
                  <a:pt x="4715421" y="4715965"/>
                </a:cubicBezTo>
                <a:cubicBezTo>
                  <a:pt x="4715421" y="4714853"/>
                  <a:pt x="4713702" y="4714630"/>
                  <a:pt x="4715707" y="4713632"/>
                </a:cubicBezTo>
                <a:cubicBezTo>
                  <a:pt x="4710551" y="4710744"/>
                  <a:pt x="4706540" y="4699636"/>
                  <a:pt x="4708832" y="4695192"/>
                </a:cubicBezTo>
                <a:close/>
                <a:moveTo>
                  <a:pt x="5370851" y="4693970"/>
                </a:moveTo>
                <a:cubicBezTo>
                  <a:pt x="5383456" y="4692748"/>
                  <a:pt x="5393482" y="4700302"/>
                  <a:pt x="5396633" y="4709188"/>
                </a:cubicBezTo>
                <a:lnTo>
                  <a:pt x="5396920" y="4711744"/>
                </a:lnTo>
                <a:lnTo>
                  <a:pt x="5399498" y="4713410"/>
                </a:lnTo>
                <a:cubicBezTo>
                  <a:pt x="5400357" y="4714409"/>
                  <a:pt x="5400930" y="4715520"/>
                  <a:pt x="5400644" y="4717520"/>
                </a:cubicBezTo>
                <a:lnTo>
                  <a:pt x="5397206" y="4715410"/>
                </a:lnTo>
                <a:lnTo>
                  <a:pt x="5397206" y="4718297"/>
                </a:lnTo>
                <a:cubicBezTo>
                  <a:pt x="5395487" y="4726406"/>
                  <a:pt x="5386607" y="4733627"/>
                  <a:pt x="5367700" y="4734182"/>
                </a:cubicBezTo>
                <a:cubicBezTo>
                  <a:pt x="5351372" y="4720963"/>
                  <a:pt x="5347934" y="4702746"/>
                  <a:pt x="5363116" y="4695525"/>
                </a:cubicBezTo>
                <a:cubicBezTo>
                  <a:pt x="5365694" y="4694637"/>
                  <a:pt x="5368273" y="4694081"/>
                  <a:pt x="5370851" y="4693970"/>
                </a:cubicBezTo>
                <a:close/>
                <a:moveTo>
                  <a:pt x="3195155" y="4691082"/>
                </a:moveTo>
                <a:lnTo>
                  <a:pt x="3203176" y="4695747"/>
                </a:lnTo>
                <a:lnTo>
                  <a:pt x="3205467" y="4694859"/>
                </a:lnTo>
                <a:cubicBezTo>
                  <a:pt x="3206614" y="4694525"/>
                  <a:pt x="3208045" y="4694526"/>
                  <a:pt x="3212342" y="4694303"/>
                </a:cubicBezTo>
                <a:cubicBezTo>
                  <a:pt x="3213488" y="4697635"/>
                  <a:pt x="3214921" y="4700968"/>
                  <a:pt x="3216067" y="4704189"/>
                </a:cubicBezTo>
                <a:cubicBezTo>
                  <a:pt x="3214348" y="4704078"/>
                  <a:pt x="3212630" y="4704301"/>
                  <a:pt x="3211198" y="4704634"/>
                </a:cubicBezTo>
                <a:lnTo>
                  <a:pt x="3210625" y="4704856"/>
                </a:lnTo>
                <a:lnTo>
                  <a:pt x="3212915" y="4719852"/>
                </a:lnTo>
                <a:cubicBezTo>
                  <a:pt x="3196014" y="4717963"/>
                  <a:pt x="3193149" y="4701302"/>
                  <a:pt x="3195155" y="4691082"/>
                </a:cubicBezTo>
                <a:close/>
                <a:moveTo>
                  <a:pt x="2128362" y="4691082"/>
                </a:moveTo>
                <a:lnTo>
                  <a:pt x="2136382" y="4695747"/>
                </a:lnTo>
                <a:lnTo>
                  <a:pt x="2138674" y="4694858"/>
                </a:lnTo>
                <a:cubicBezTo>
                  <a:pt x="2139821" y="4694526"/>
                  <a:pt x="2141252" y="4694525"/>
                  <a:pt x="2145549" y="4694303"/>
                </a:cubicBezTo>
                <a:cubicBezTo>
                  <a:pt x="2146696" y="4697636"/>
                  <a:pt x="2148127" y="4700968"/>
                  <a:pt x="2149273" y="4704190"/>
                </a:cubicBezTo>
                <a:cubicBezTo>
                  <a:pt x="2147555" y="4704078"/>
                  <a:pt x="2145837" y="4704301"/>
                  <a:pt x="2144403" y="4704634"/>
                </a:cubicBezTo>
                <a:lnTo>
                  <a:pt x="2143831" y="4704856"/>
                </a:lnTo>
                <a:lnTo>
                  <a:pt x="2146122" y="4719852"/>
                </a:lnTo>
                <a:cubicBezTo>
                  <a:pt x="2129221" y="4717963"/>
                  <a:pt x="2126357" y="4701302"/>
                  <a:pt x="2128362" y="4691082"/>
                </a:cubicBezTo>
                <a:close/>
                <a:moveTo>
                  <a:pt x="4830866" y="4689971"/>
                </a:moveTo>
                <a:cubicBezTo>
                  <a:pt x="4834304" y="4689082"/>
                  <a:pt x="4839173" y="4692971"/>
                  <a:pt x="4842611" y="4694415"/>
                </a:cubicBezTo>
                <a:cubicBezTo>
                  <a:pt x="4840892" y="4695526"/>
                  <a:pt x="4839173" y="4696525"/>
                  <a:pt x="4840606" y="4696636"/>
                </a:cubicBezTo>
                <a:lnTo>
                  <a:pt x="4838028" y="4697414"/>
                </a:lnTo>
                <a:lnTo>
                  <a:pt x="4850632" y="4700857"/>
                </a:lnTo>
                <a:cubicBezTo>
                  <a:pt x="4862376" y="4704856"/>
                  <a:pt x="4873549" y="4710521"/>
                  <a:pt x="4883290" y="4717075"/>
                </a:cubicBezTo>
                <a:lnTo>
                  <a:pt x="4889591" y="4722629"/>
                </a:lnTo>
                <a:lnTo>
                  <a:pt x="4893315" y="4723517"/>
                </a:lnTo>
                <a:lnTo>
                  <a:pt x="4893888" y="4724962"/>
                </a:lnTo>
                <a:lnTo>
                  <a:pt x="4893602" y="4721963"/>
                </a:lnTo>
                <a:cubicBezTo>
                  <a:pt x="4894175" y="4720630"/>
                  <a:pt x="4895321" y="4719297"/>
                  <a:pt x="4897612" y="4718075"/>
                </a:cubicBezTo>
                <a:cubicBezTo>
                  <a:pt x="4905346" y="4717963"/>
                  <a:pt x="4909930" y="4720519"/>
                  <a:pt x="4911935" y="4723740"/>
                </a:cubicBezTo>
                <a:lnTo>
                  <a:pt x="4911362" y="4728073"/>
                </a:lnTo>
                <a:lnTo>
                  <a:pt x="4914514" y="4727961"/>
                </a:lnTo>
                <a:cubicBezTo>
                  <a:pt x="4915946" y="4727961"/>
                  <a:pt x="4916806" y="4728183"/>
                  <a:pt x="4919097" y="4728739"/>
                </a:cubicBezTo>
                <a:cubicBezTo>
                  <a:pt x="4917664" y="4729294"/>
                  <a:pt x="4915086" y="4731405"/>
                  <a:pt x="4912795" y="4730849"/>
                </a:cubicBezTo>
                <a:lnTo>
                  <a:pt x="4911076" y="4730294"/>
                </a:lnTo>
                <a:lnTo>
                  <a:pt x="4910504" y="4733404"/>
                </a:lnTo>
                <a:lnTo>
                  <a:pt x="4903341" y="4735403"/>
                </a:lnTo>
                <a:lnTo>
                  <a:pt x="4906779" y="4738626"/>
                </a:lnTo>
                <a:cubicBezTo>
                  <a:pt x="4912508" y="4746068"/>
                  <a:pt x="4915374" y="4753511"/>
                  <a:pt x="4914800" y="4760176"/>
                </a:cubicBezTo>
                <a:lnTo>
                  <a:pt x="4912795" y="4764619"/>
                </a:lnTo>
                <a:lnTo>
                  <a:pt x="4919384" y="4762952"/>
                </a:lnTo>
                <a:lnTo>
                  <a:pt x="4923107" y="4763175"/>
                </a:lnTo>
                <a:lnTo>
                  <a:pt x="4922248" y="4760398"/>
                </a:lnTo>
                <a:cubicBezTo>
                  <a:pt x="4924253" y="4759620"/>
                  <a:pt x="4926832" y="4759620"/>
                  <a:pt x="4929410" y="4760065"/>
                </a:cubicBezTo>
                <a:lnTo>
                  <a:pt x="4940009" y="4763841"/>
                </a:lnTo>
                <a:lnTo>
                  <a:pt x="4941728" y="4763953"/>
                </a:lnTo>
                <a:lnTo>
                  <a:pt x="4942014" y="4764952"/>
                </a:lnTo>
                <a:lnTo>
                  <a:pt x="4949748" y="4770284"/>
                </a:lnTo>
                <a:cubicBezTo>
                  <a:pt x="4947457" y="4773061"/>
                  <a:pt x="4950322" y="4775061"/>
                  <a:pt x="4948316" y="4777949"/>
                </a:cubicBezTo>
                <a:lnTo>
                  <a:pt x="4945165" y="4776616"/>
                </a:lnTo>
                <a:lnTo>
                  <a:pt x="4946884" y="4782837"/>
                </a:lnTo>
                <a:lnTo>
                  <a:pt x="4949176" y="4779171"/>
                </a:lnTo>
                <a:cubicBezTo>
                  <a:pt x="4954618" y="4778394"/>
                  <a:pt x="4958056" y="4778282"/>
                  <a:pt x="4960060" y="4778504"/>
                </a:cubicBezTo>
                <a:cubicBezTo>
                  <a:pt x="4966936" y="4779392"/>
                  <a:pt x="4963499" y="4784280"/>
                  <a:pt x="4980114" y="4790835"/>
                </a:cubicBezTo>
                <a:cubicBezTo>
                  <a:pt x="4976963" y="4799610"/>
                  <a:pt x="4967796" y="4802609"/>
                  <a:pt x="4959488" y="4801943"/>
                </a:cubicBezTo>
                <a:lnTo>
                  <a:pt x="4954046" y="4800831"/>
                </a:lnTo>
                <a:lnTo>
                  <a:pt x="4946598" y="4803943"/>
                </a:lnTo>
                <a:lnTo>
                  <a:pt x="4943160" y="4804054"/>
                </a:lnTo>
                <a:lnTo>
                  <a:pt x="4940582" y="4811607"/>
                </a:lnTo>
                <a:lnTo>
                  <a:pt x="4935998" y="4812829"/>
                </a:lnTo>
                <a:lnTo>
                  <a:pt x="4946884" y="4816938"/>
                </a:lnTo>
                <a:cubicBezTo>
                  <a:pt x="4951467" y="4818939"/>
                  <a:pt x="4954906" y="4821049"/>
                  <a:pt x="4954618" y="4822938"/>
                </a:cubicBezTo>
                <a:cubicBezTo>
                  <a:pt x="4952900" y="4823270"/>
                  <a:pt x="4951467" y="4823715"/>
                  <a:pt x="4949462" y="4823049"/>
                </a:cubicBezTo>
                <a:cubicBezTo>
                  <a:pt x="4947170" y="4822271"/>
                  <a:pt x="4948889" y="4821938"/>
                  <a:pt x="4947170" y="4822271"/>
                </a:cubicBezTo>
                <a:cubicBezTo>
                  <a:pt x="4945165" y="4821603"/>
                  <a:pt x="4945452" y="4822715"/>
                  <a:pt x="4945452" y="4822715"/>
                </a:cubicBezTo>
                <a:cubicBezTo>
                  <a:pt x="4945452" y="4822715"/>
                  <a:pt x="4945165" y="4821603"/>
                  <a:pt x="4945165" y="4821603"/>
                </a:cubicBezTo>
                <a:cubicBezTo>
                  <a:pt x="4945165" y="4821603"/>
                  <a:pt x="4945165" y="4821603"/>
                  <a:pt x="4941154" y="4820160"/>
                </a:cubicBezTo>
                <a:cubicBezTo>
                  <a:pt x="4935139" y="4819271"/>
                  <a:pt x="4933420" y="4819605"/>
                  <a:pt x="4929696" y="4819383"/>
                </a:cubicBezTo>
                <a:cubicBezTo>
                  <a:pt x="4927691" y="4818605"/>
                  <a:pt x="4926545" y="4818050"/>
                  <a:pt x="4925400" y="4817272"/>
                </a:cubicBezTo>
                <a:lnTo>
                  <a:pt x="4922534" y="4815495"/>
                </a:lnTo>
                <a:lnTo>
                  <a:pt x="4916805" y="4815939"/>
                </a:lnTo>
                <a:cubicBezTo>
                  <a:pt x="4899617" y="4815051"/>
                  <a:pt x="4898758" y="4800499"/>
                  <a:pt x="4898757" y="4786058"/>
                </a:cubicBezTo>
                <a:lnTo>
                  <a:pt x="4898472" y="4778282"/>
                </a:lnTo>
                <a:lnTo>
                  <a:pt x="4891023" y="4783170"/>
                </a:lnTo>
                <a:cubicBezTo>
                  <a:pt x="4884148" y="4785614"/>
                  <a:pt x="4876414" y="4787169"/>
                  <a:pt x="4867820" y="4787724"/>
                </a:cubicBezTo>
                <a:lnTo>
                  <a:pt x="4855502" y="4787391"/>
                </a:lnTo>
                <a:lnTo>
                  <a:pt x="4850632" y="4790945"/>
                </a:lnTo>
                <a:lnTo>
                  <a:pt x="4849200" y="4787280"/>
                </a:lnTo>
                <a:lnTo>
                  <a:pt x="4841752" y="4787169"/>
                </a:lnTo>
                <a:cubicBezTo>
                  <a:pt x="4823991" y="4785058"/>
                  <a:pt x="4806230" y="4779837"/>
                  <a:pt x="4792766" y="4771950"/>
                </a:cubicBezTo>
                <a:lnTo>
                  <a:pt x="4790761" y="4770284"/>
                </a:lnTo>
                <a:lnTo>
                  <a:pt x="4785032" y="4772728"/>
                </a:lnTo>
                <a:cubicBezTo>
                  <a:pt x="4785032" y="4772728"/>
                  <a:pt x="4785032" y="4772728"/>
                  <a:pt x="4783313" y="4771506"/>
                </a:cubicBezTo>
                <a:cubicBezTo>
                  <a:pt x="4784745" y="4771506"/>
                  <a:pt x="4785891" y="4770951"/>
                  <a:pt x="4786750" y="4770284"/>
                </a:cubicBezTo>
                <a:lnTo>
                  <a:pt x="4789328" y="4769173"/>
                </a:lnTo>
                <a:lnTo>
                  <a:pt x="4776151" y="4758287"/>
                </a:lnTo>
                <a:cubicBezTo>
                  <a:pt x="4763548" y="4742846"/>
                  <a:pt x="4764979" y="4722296"/>
                  <a:pt x="4794198" y="4698635"/>
                </a:cubicBezTo>
                <a:cubicBezTo>
                  <a:pt x="4800787" y="4696081"/>
                  <a:pt x="4807949" y="4694859"/>
                  <a:pt x="4815397" y="4694748"/>
                </a:cubicBezTo>
                <a:lnTo>
                  <a:pt x="4827428" y="4695636"/>
                </a:lnTo>
                <a:lnTo>
                  <a:pt x="4828574" y="4694526"/>
                </a:lnTo>
                <a:lnTo>
                  <a:pt x="4830579" y="4695525"/>
                </a:lnTo>
                <a:close/>
                <a:moveTo>
                  <a:pt x="4638648" y="4689971"/>
                </a:moveTo>
                <a:cubicBezTo>
                  <a:pt x="4641513" y="4690416"/>
                  <a:pt x="4643804" y="4691749"/>
                  <a:pt x="4646096" y="4694415"/>
                </a:cubicBezTo>
                <a:cubicBezTo>
                  <a:pt x="4628908" y="4698080"/>
                  <a:pt x="4634638" y="4698080"/>
                  <a:pt x="4617450" y="4699968"/>
                </a:cubicBezTo>
                <a:cubicBezTo>
                  <a:pt x="4617450" y="4699968"/>
                  <a:pt x="4617450" y="4699968"/>
                  <a:pt x="4614585" y="4696303"/>
                </a:cubicBezTo>
                <a:cubicBezTo>
                  <a:pt x="4614585" y="4694414"/>
                  <a:pt x="4614585" y="4692637"/>
                  <a:pt x="4617450" y="4692637"/>
                </a:cubicBezTo>
                <a:cubicBezTo>
                  <a:pt x="4621747" y="4695414"/>
                  <a:pt x="4630914" y="4688750"/>
                  <a:pt x="4638648" y="4689971"/>
                </a:cubicBezTo>
                <a:close/>
                <a:moveTo>
                  <a:pt x="2456363" y="4689971"/>
                </a:moveTo>
                <a:cubicBezTo>
                  <a:pt x="2459801" y="4689082"/>
                  <a:pt x="2464671" y="4692970"/>
                  <a:pt x="2467823" y="4694414"/>
                </a:cubicBezTo>
                <a:cubicBezTo>
                  <a:pt x="2466104" y="4695525"/>
                  <a:pt x="2464671" y="4696524"/>
                  <a:pt x="2466103" y="4696636"/>
                </a:cubicBezTo>
                <a:lnTo>
                  <a:pt x="2461519" y="4697970"/>
                </a:lnTo>
                <a:lnTo>
                  <a:pt x="2465244" y="4699636"/>
                </a:lnTo>
                <a:cubicBezTo>
                  <a:pt x="2467250" y="4702079"/>
                  <a:pt x="2467536" y="4705412"/>
                  <a:pt x="2466676" y="4708745"/>
                </a:cubicBezTo>
                <a:cubicBezTo>
                  <a:pt x="2464098" y="4719852"/>
                  <a:pt x="2447769" y="4732183"/>
                  <a:pt x="2434019" y="4725629"/>
                </a:cubicBezTo>
                <a:cubicBezTo>
                  <a:pt x="2434305" y="4715076"/>
                  <a:pt x="2438316" y="4703967"/>
                  <a:pt x="2454071" y="4694526"/>
                </a:cubicBezTo>
                <a:lnTo>
                  <a:pt x="2456077" y="4695525"/>
                </a:lnTo>
                <a:close/>
                <a:moveTo>
                  <a:pt x="3073980" y="4689860"/>
                </a:moveTo>
                <a:cubicBezTo>
                  <a:pt x="3077418" y="4689860"/>
                  <a:pt x="3080855" y="4690527"/>
                  <a:pt x="3084006" y="4691526"/>
                </a:cubicBezTo>
                <a:lnTo>
                  <a:pt x="3080283" y="4698302"/>
                </a:lnTo>
                <a:lnTo>
                  <a:pt x="3084293" y="4698747"/>
                </a:lnTo>
                <a:cubicBezTo>
                  <a:pt x="3085726" y="4699080"/>
                  <a:pt x="3086871" y="4699636"/>
                  <a:pt x="3088303" y="4700635"/>
                </a:cubicBezTo>
                <a:lnTo>
                  <a:pt x="3087731" y="4702412"/>
                </a:lnTo>
                <a:lnTo>
                  <a:pt x="3098330" y="4699413"/>
                </a:lnTo>
                <a:cubicBezTo>
                  <a:pt x="3100908" y="4699080"/>
                  <a:pt x="3103773" y="4699080"/>
                  <a:pt x="3106351" y="4699413"/>
                </a:cubicBezTo>
                <a:cubicBezTo>
                  <a:pt x="3114659" y="4700413"/>
                  <a:pt x="3122679" y="4703635"/>
                  <a:pt x="3130700" y="4706967"/>
                </a:cubicBezTo>
                <a:cubicBezTo>
                  <a:pt x="3124111" y="4713965"/>
                  <a:pt x="3109788" y="4711854"/>
                  <a:pt x="3097757" y="4707411"/>
                </a:cubicBezTo>
                <a:lnTo>
                  <a:pt x="3087444" y="4702857"/>
                </a:lnTo>
                <a:lnTo>
                  <a:pt x="3086298" y="4706411"/>
                </a:lnTo>
                <a:cubicBezTo>
                  <a:pt x="3072262" y="4713632"/>
                  <a:pt x="3063954" y="4709300"/>
                  <a:pt x="3062235" y="4710410"/>
                </a:cubicBezTo>
                <a:cubicBezTo>
                  <a:pt x="3057079" y="4706411"/>
                  <a:pt x="3060803" y="4704301"/>
                  <a:pt x="3064241" y="4699857"/>
                </a:cubicBezTo>
                <a:cubicBezTo>
                  <a:pt x="3065100" y="4700523"/>
                  <a:pt x="3066819" y="4700079"/>
                  <a:pt x="3068538" y="4699302"/>
                </a:cubicBezTo>
                <a:lnTo>
                  <a:pt x="3070829" y="4698080"/>
                </a:lnTo>
                <a:lnTo>
                  <a:pt x="3069397" y="4695081"/>
                </a:lnTo>
                <a:cubicBezTo>
                  <a:pt x="3068251" y="4693748"/>
                  <a:pt x="3066246" y="4692304"/>
                  <a:pt x="3063667" y="4690637"/>
                </a:cubicBezTo>
                <a:cubicBezTo>
                  <a:pt x="3067105" y="4690082"/>
                  <a:pt x="3070829" y="4689749"/>
                  <a:pt x="3073980" y="4689860"/>
                </a:cubicBezTo>
                <a:close/>
                <a:moveTo>
                  <a:pt x="5448770" y="4689860"/>
                </a:moveTo>
                <a:cubicBezTo>
                  <a:pt x="5452207" y="4689860"/>
                  <a:pt x="5455359" y="4690527"/>
                  <a:pt x="5458796" y="4691526"/>
                </a:cubicBezTo>
                <a:lnTo>
                  <a:pt x="5454785" y="4698301"/>
                </a:lnTo>
                <a:lnTo>
                  <a:pt x="5458796" y="4698747"/>
                </a:lnTo>
                <a:cubicBezTo>
                  <a:pt x="5460228" y="4699080"/>
                  <a:pt x="5461660" y="4699635"/>
                  <a:pt x="5462806" y="4700635"/>
                </a:cubicBezTo>
                <a:lnTo>
                  <a:pt x="5462233" y="4702412"/>
                </a:lnTo>
                <a:lnTo>
                  <a:pt x="5472832" y="4699413"/>
                </a:lnTo>
                <a:cubicBezTo>
                  <a:pt x="5475411" y="4699080"/>
                  <a:pt x="5478275" y="4699080"/>
                  <a:pt x="5480855" y="4699413"/>
                </a:cubicBezTo>
                <a:cubicBezTo>
                  <a:pt x="5489161" y="4700412"/>
                  <a:pt x="5497182" y="4703634"/>
                  <a:pt x="5505203" y="4706967"/>
                </a:cubicBezTo>
                <a:cubicBezTo>
                  <a:pt x="5498614" y="4713965"/>
                  <a:pt x="5484292" y="4711854"/>
                  <a:pt x="5472261" y="4707411"/>
                </a:cubicBezTo>
                <a:lnTo>
                  <a:pt x="5461947" y="4702857"/>
                </a:lnTo>
                <a:lnTo>
                  <a:pt x="5460801" y="4706411"/>
                </a:lnTo>
                <a:cubicBezTo>
                  <a:pt x="5447051" y="4713632"/>
                  <a:pt x="5438457" y="4709299"/>
                  <a:pt x="5436738" y="4710410"/>
                </a:cubicBezTo>
                <a:cubicBezTo>
                  <a:pt x="5431868" y="4706411"/>
                  <a:pt x="5435306" y="4704301"/>
                  <a:pt x="5438743" y="4699856"/>
                </a:cubicBezTo>
                <a:cubicBezTo>
                  <a:pt x="5439602" y="4700524"/>
                  <a:pt x="5441321" y="4700079"/>
                  <a:pt x="5443040" y="4699302"/>
                </a:cubicBezTo>
                <a:lnTo>
                  <a:pt x="5445332" y="4698080"/>
                </a:lnTo>
                <a:lnTo>
                  <a:pt x="5443901" y="4695081"/>
                </a:lnTo>
                <a:cubicBezTo>
                  <a:pt x="5442754" y="4693748"/>
                  <a:pt x="5441035" y="4692303"/>
                  <a:pt x="5438170" y="4690637"/>
                </a:cubicBezTo>
                <a:cubicBezTo>
                  <a:pt x="5441894" y="4690082"/>
                  <a:pt x="5445332" y="4689748"/>
                  <a:pt x="5448770" y="4689860"/>
                </a:cubicBezTo>
                <a:close/>
                <a:moveTo>
                  <a:pt x="1915805" y="4689082"/>
                </a:moveTo>
                <a:cubicBezTo>
                  <a:pt x="1922394" y="4691526"/>
                  <a:pt x="1928696" y="4694081"/>
                  <a:pt x="1930415" y="4697413"/>
                </a:cubicBezTo>
                <a:cubicBezTo>
                  <a:pt x="1928410" y="4700191"/>
                  <a:pt x="1925545" y="4702301"/>
                  <a:pt x="1921821" y="4703300"/>
                </a:cubicBezTo>
                <a:cubicBezTo>
                  <a:pt x="1918383" y="4704190"/>
                  <a:pt x="1913801" y="4704078"/>
                  <a:pt x="1908930" y="4702523"/>
                </a:cubicBezTo>
                <a:cubicBezTo>
                  <a:pt x="1904634" y="4697191"/>
                  <a:pt x="1912367" y="4692193"/>
                  <a:pt x="1915805" y="4689082"/>
                </a:cubicBezTo>
                <a:close/>
                <a:moveTo>
                  <a:pt x="3120674" y="4688082"/>
                </a:moveTo>
                <a:cubicBezTo>
                  <a:pt x="3122966" y="4688750"/>
                  <a:pt x="3123825" y="4689860"/>
                  <a:pt x="3123826" y="4690859"/>
                </a:cubicBezTo>
                <a:cubicBezTo>
                  <a:pt x="3124112" y="4691859"/>
                  <a:pt x="3123538" y="4692860"/>
                  <a:pt x="3122680" y="4693637"/>
                </a:cubicBezTo>
                <a:cubicBezTo>
                  <a:pt x="3122679" y="4695525"/>
                  <a:pt x="3120960" y="4696858"/>
                  <a:pt x="3118383" y="4697747"/>
                </a:cubicBezTo>
                <a:cubicBezTo>
                  <a:pt x="3116091" y="4698635"/>
                  <a:pt x="3113226" y="4699080"/>
                  <a:pt x="3110361" y="4699191"/>
                </a:cubicBezTo>
                <a:cubicBezTo>
                  <a:pt x="3112080" y="4698747"/>
                  <a:pt x="3112080" y="4698747"/>
                  <a:pt x="3112080" y="4698747"/>
                </a:cubicBezTo>
                <a:cubicBezTo>
                  <a:pt x="3113227" y="4697191"/>
                  <a:pt x="3111794" y="4697636"/>
                  <a:pt x="3111221" y="4696525"/>
                </a:cubicBezTo>
                <a:cubicBezTo>
                  <a:pt x="3111221" y="4696525"/>
                  <a:pt x="3111507" y="4697636"/>
                  <a:pt x="3109502" y="4696858"/>
                </a:cubicBezTo>
                <a:cubicBezTo>
                  <a:pt x="3111221" y="4696525"/>
                  <a:pt x="3110934" y="4695415"/>
                  <a:pt x="3110362" y="4694303"/>
                </a:cubicBezTo>
                <a:cubicBezTo>
                  <a:pt x="3112939" y="4691193"/>
                  <a:pt x="3116950" y="4687750"/>
                  <a:pt x="3120674" y="4688082"/>
                </a:cubicBezTo>
                <a:close/>
                <a:moveTo>
                  <a:pt x="5495177" y="4688081"/>
                </a:moveTo>
                <a:cubicBezTo>
                  <a:pt x="5497468" y="4688749"/>
                  <a:pt x="5498328" y="4689860"/>
                  <a:pt x="5498328" y="4690860"/>
                </a:cubicBezTo>
                <a:cubicBezTo>
                  <a:pt x="5498614" y="4691860"/>
                  <a:pt x="5498041" y="4692860"/>
                  <a:pt x="5497468" y="4693637"/>
                </a:cubicBezTo>
                <a:cubicBezTo>
                  <a:pt x="5497182" y="4695525"/>
                  <a:pt x="5495464" y="4696858"/>
                  <a:pt x="5493172" y="4697747"/>
                </a:cubicBezTo>
                <a:cubicBezTo>
                  <a:pt x="5490880" y="4698636"/>
                  <a:pt x="5487728" y="4699080"/>
                  <a:pt x="5484865" y="4699191"/>
                </a:cubicBezTo>
                <a:cubicBezTo>
                  <a:pt x="5486583" y="4698747"/>
                  <a:pt x="5486583" y="4698747"/>
                  <a:pt x="5486583" y="4698747"/>
                </a:cubicBezTo>
                <a:cubicBezTo>
                  <a:pt x="5488015" y="4697191"/>
                  <a:pt x="5486296" y="4697636"/>
                  <a:pt x="5485723" y="4696525"/>
                </a:cubicBezTo>
                <a:cubicBezTo>
                  <a:pt x="5485723" y="4696525"/>
                  <a:pt x="5486296" y="4697636"/>
                  <a:pt x="5484291" y="4696858"/>
                </a:cubicBezTo>
                <a:cubicBezTo>
                  <a:pt x="5485723" y="4696525"/>
                  <a:pt x="5485437" y="4695415"/>
                  <a:pt x="5484864" y="4694303"/>
                </a:cubicBezTo>
                <a:cubicBezTo>
                  <a:pt x="5487442" y="4691193"/>
                  <a:pt x="5491453" y="4687749"/>
                  <a:pt x="5495177" y="4688081"/>
                </a:cubicBezTo>
                <a:close/>
                <a:moveTo>
                  <a:pt x="5309261" y="4687972"/>
                </a:moveTo>
                <a:cubicBezTo>
                  <a:pt x="5311840" y="4688082"/>
                  <a:pt x="5314418" y="4688749"/>
                  <a:pt x="5317855" y="4689860"/>
                </a:cubicBezTo>
                <a:cubicBezTo>
                  <a:pt x="5319860" y="4698080"/>
                  <a:pt x="5327882" y="4712188"/>
                  <a:pt x="5309548" y="4716298"/>
                </a:cubicBezTo>
                <a:cubicBezTo>
                  <a:pt x="5294079" y="4708745"/>
                  <a:pt x="5292074" y="4687194"/>
                  <a:pt x="5309261" y="4687972"/>
                </a:cubicBezTo>
                <a:close/>
                <a:moveTo>
                  <a:pt x="2934759" y="4687972"/>
                </a:moveTo>
                <a:cubicBezTo>
                  <a:pt x="2937050" y="4688081"/>
                  <a:pt x="2939915" y="4688750"/>
                  <a:pt x="2943352" y="4689860"/>
                </a:cubicBezTo>
                <a:cubicBezTo>
                  <a:pt x="2945359" y="4698081"/>
                  <a:pt x="2953092" y="4712188"/>
                  <a:pt x="2934758" y="4716298"/>
                </a:cubicBezTo>
                <a:cubicBezTo>
                  <a:pt x="2919576" y="4708745"/>
                  <a:pt x="2917571" y="4687194"/>
                  <a:pt x="2934759" y="4687972"/>
                </a:cubicBezTo>
                <a:close/>
                <a:moveTo>
                  <a:pt x="3062809" y="4687416"/>
                </a:moveTo>
                <a:cubicBezTo>
                  <a:pt x="3063095" y="4691193"/>
                  <a:pt x="3061662" y="4693414"/>
                  <a:pt x="3058511" y="4694747"/>
                </a:cubicBezTo>
                <a:lnTo>
                  <a:pt x="3052495" y="4695081"/>
                </a:lnTo>
                <a:lnTo>
                  <a:pt x="3052783" y="4698302"/>
                </a:lnTo>
                <a:cubicBezTo>
                  <a:pt x="3051922" y="4701079"/>
                  <a:pt x="3048771" y="4704078"/>
                  <a:pt x="3043328" y="4706522"/>
                </a:cubicBezTo>
                <a:cubicBezTo>
                  <a:pt x="3034736" y="4706300"/>
                  <a:pt x="3024709" y="4697636"/>
                  <a:pt x="3027287" y="4693303"/>
                </a:cubicBezTo>
                <a:cubicBezTo>
                  <a:pt x="3034735" y="4687750"/>
                  <a:pt x="3041896" y="4686861"/>
                  <a:pt x="3046766" y="4688415"/>
                </a:cubicBezTo>
                <a:lnTo>
                  <a:pt x="3048486" y="4689638"/>
                </a:lnTo>
                <a:lnTo>
                  <a:pt x="3050204" y="4688860"/>
                </a:lnTo>
                <a:cubicBezTo>
                  <a:pt x="3053641" y="4688081"/>
                  <a:pt x="3058511" y="4688194"/>
                  <a:pt x="3062809" y="4687416"/>
                </a:cubicBezTo>
                <a:close/>
                <a:moveTo>
                  <a:pt x="5529266" y="4687416"/>
                </a:moveTo>
                <a:cubicBezTo>
                  <a:pt x="5530985" y="4689748"/>
                  <a:pt x="5532990" y="4694414"/>
                  <a:pt x="5529839" y="4696525"/>
                </a:cubicBezTo>
                <a:cubicBezTo>
                  <a:pt x="5529839" y="4696525"/>
                  <a:pt x="5529839" y="4696636"/>
                  <a:pt x="5528406" y="4697636"/>
                </a:cubicBezTo>
                <a:cubicBezTo>
                  <a:pt x="5528121" y="4694303"/>
                  <a:pt x="5527834" y="4689638"/>
                  <a:pt x="5529266" y="4687416"/>
                </a:cubicBezTo>
                <a:close/>
                <a:moveTo>
                  <a:pt x="5437311" y="4687416"/>
                </a:moveTo>
                <a:cubicBezTo>
                  <a:pt x="5437597" y="4691193"/>
                  <a:pt x="5436165" y="4693415"/>
                  <a:pt x="5433014" y="4694748"/>
                </a:cubicBezTo>
                <a:lnTo>
                  <a:pt x="5427284" y="4695081"/>
                </a:lnTo>
                <a:lnTo>
                  <a:pt x="5427571" y="4698302"/>
                </a:lnTo>
                <a:cubicBezTo>
                  <a:pt x="5426426" y="4701079"/>
                  <a:pt x="5423560" y="4704079"/>
                  <a:pt x="5417831" y="4706522"/>
                </a:cubicBezTo>
                <a:cubicBezTo>
                  <a:pt x="5409524" y="4706301"/>
                  <a:pt x="5399211" y="4697636"/>
                  <a:pt x="5401789" y="4693304"/>
                </a:cubicBezTo>
                <a:cubicBezTo>
                  <a:pt x="5409237" y="4687749"/>
                  <a:pt x="5416399" y="4686861"/>
                  <a:pt x="5421555" y="4688416"/>
                </a:cubicBezTo>
                <a:lnTo>
                  <a:pt x="5422988" y="4689637"/>
                </a:lnTo>
                <a:lnTo>
                  <a:pt x="5424706" y="4688861"/>
                </a:lnTo>
                <a:cubicBezTo>
                  <a:pt x="5428144" y="4688082"/>
                  <a:pt x="5433014" y="4688193"/>
                  <a:pt x="5437311" y="4687416"/>
                </a:cubicBezTo>
                <a:close/>
                <a:moveTo>
                  <a:pt x="3154763" y="4687416"/>
                </a:moveTo>
                <a:cubicBezTo>
                  <a:pt x="3156482" y="4689748"/>
                  <a:pt x="3158488" y="4694414"/>
                  <a:pt x="3155336" y="4696525"/>
                </a:cubicBezTo>
                <a:cubicBezTo>
                  <a:pt x="3155336" y="4696525"/>
                  <a:pt x="3155336" y="4696636"/>
                  <a:pt x="3153617" y="4697636"/>
                </a:cubicBezTo>
                <a:cubicBezTo>
                  <a:pt x="3153332" y="4694303"/>
                  <a:pt x="3153331" y="4689638"/>
                  <a:pt x="3154763" y="4687416"/>
                </a:cubicBezTo>
                <a:close/>
                <a:moveTo>
                  <a:pt x="2967415" y="4687194"/>
                </a:moveTo>
                <a:cubicBezTo>
                  <a:pt x="2968848" y="4686638"/>
                  <a:pt x="2970568" y="4686416"/>
                  <a:pt x="2972573" y="4687305"/>
                </a:cubicBezTo>
                <a:cubicBezTo>
                  <a:pt x="2972285" y="4688971"/>
                  <a:pt x="2973431" y="4691637"/>
                  <a:pt x="2971999" y="4693970"/>
                </a:cubicBezTo>
                <a:cubicBezTo>
                  <a:pt x="2962832" y="4695414"/>
                  <a:pt x="2963119" y="4689082"/>
                  <a:pt x="2967415" y="4687194"/>
                </a:cubicBezTo>
                <a:close/>
                <a:moveTo>
                  <a:pt x="5341918" y="4687194"/>
                </a:moveTo>
                <a:cubicBezTo>
                  <a:pt x="5343350" y="4686639"/>
                  <a:pt x="5345070" y="4686416"/>
                  <a:pt x="5347074" y="4687305"/>
                </a:cubicBezTo>
                <a:cubicBezTo>
                  <a:pt x="5347075" y="4688971"/>
                  <a:pt x="5347934" y="4691637"/>
                  <a:pt x="5346788" y="4693970"/>
                </a:cubicBezTo>
                <a:cubicBezTo>
                  <a:pt x="5337621" y="4695415"/>
                  <a:pt x="5337621" y="4689082"/>
                  <a:pt x="5341918" y="4687194"/>
                </a:cubicBezTo>
                <a:close/>
                <a:moveTo>
                  <a:pt x="2777777" y="4687083"/>
                </a:moveTo>
                <a:cubicBezTo>
                  <a:pt x="2788089" y="4690637"/>
                  <a:pt x="2800980" y="4692860"/>
                  <a:pt x="2810146" y="4698747"/>
                </a:cubicBezTo>
                <a:cubicBezTo>
                  <a:pt x="2798974" y="4701746"/>
                  <a:pt x="2776630" y="4698525"/>
                  <a:pt x="2777777" y="4687083"/>
                </a:cubicBezTo>
                <a:close/>
                <a:moveTo>
                  <a:pt x="5152279" y="4687083"/>
                </a:moveTo>
                <a:cubicBezTo>
                  <a:pt x="5162592" y="4690637"/>
                  <a:pt x="5175769" y="4692859"/>
                  <a:pt x="5184936" y="4698746"/>
                </a:cubicBezTo>
                <a:cubicBezTo>
                  <a:pt x="5173764" y="4701746"/>
                  <a:pt x="5151133" y="4698524"/>
                  <a:pt x="5152279" y="4687083"/>
                </a:cubicBezTo>
                <a:close/>
                <a:moveTo>
                  <a:pt x="5469968" y="4686416"/>
                </a:moveTo>
                <a:cubicBezTo>
                  <a:pt x="5473406" y="4687749"/>
                  <a:pt x="5475124" y="4689081"/>
                  <a:pt x="5476843" y="4690304"/>
                </a:cubicBezTo>
                <a:cubicBezTo>
                  <a:pt x="5480280" y="4691637"/>
                  <a:pt x="5480280" y="4692860"/>
                  <a:pt x="5477130" y="4695192"/>
                </a:cubicBezTo>
                <a:cubicBezTo>
                  <a:pt x="5473692" y="4693859"/>
                  <a:pt x="5468249" y="4688861"/>
                  <a:pt x="5469968" y="4686416"/>
                </a:cubicBezTo>
                <a:close/>
                <a:moveTo>
                  <a:pt x="3095465" y="4686416"/>
                </a:moveTo>
                <a:cubicBezTo>
                  <a:pt x="3098617" y="4687750"/>
                  <a:pt x="3100621" y="4689082"/>
                  <a:pt x="3102340" y="4690304"/>
                </a:cubicBezTo>
                <a:cubicBezTo>
                  <a:pt x="3105779" y="4691637"/>
                  <a:pt x="3105778" y="4692859"/>
                  <a:pt x="3102627" y="4695192"/>
                </a:cubicBezTo>
                <a:cubicBezTo>
                  <a:pt x="3099189" y="4693859"/>
                  <a:pt x="3093746" y="4688861"/>
                  <a:pt x="3095465" y="4686416"/>
                </a:cubicBezTo>
                <a:close/>
                <a:moveTo>
                  <a:pt x="2996349" y="4685417"/>
                </a:moveTo>
                <a:lnTo>
                  <a:pt x="2989187" y="4691748"/>
                </a:lnTo>
                <a:lnTo>
                  <a:pt x="2991765" y="4692860"/>
                </a:lnTo>
                <a:lnTo>
                  <a:pt x="2993770" y="4694525"/>
                </a:lnTo>
                <a:lnTo>
                  <a:pt x="2996348" y="4693969"/>
                </a:lnTo>
                <a:cubicBezTo>
                  <a:pt x="3008954" y="4692748"/>
                  <a:pt x="3018979" y="4700302"/>
                  <a:pt x="3022131" y="4709188"/>
                </a:cubicBezTo>
                <a:lnTo>
                  <a:pt x="3022130" y="4711743"/>
                </a:lnTo>
                <a:lnTo>
                  <a:pt x="3024996" y="4713409"/>
                </a:lnTo>
                <a:cubicBezTo>
                  <a:pt x="3025854" y="4714410"/>
                  <a:pt x="3026427" y="4715520"/>
                  <a:pt x="3026141" y="4717519"/>
                </a:cubicBezTo>
                <a:lnTo>
                  <a:pt x="3022417" y="4715409"/>
                </a:lnTo>
                <a:lnTo>
                  <a:pt x="3022704" y="4718297"/>
                </a:lnTo>
                <a:cubicBezTo>
                  <a:pt x="3020984" y="4726406"/>
                  <a:pt x="3012104" y="4733627"/>
                  <a:pt x="2993197" y="4734182"/>
                </a:cubicBezTo>
                <a:cubicBezTo>
                  <a:pt x="2985177" y="4727629"/>
                  <a:pt x="2980021" y="4719741"/>
                  <a:pt x="2979160" y="4712632"/>
                </a:cubicBezTo>
                <a:lnTo>
                  <a:pt x="2980593" y="4702857"/>
                </a:lnTo>
                <a:lnTo>
                  <a:pt x="2975723" y="4702524"/>
                </a:lnTo>
                <a:cubicBezTo>
                  <a:pt x="2971426" y="4697191"/>
                  <a:pt x="2979160" y="4692193"/>
                  <a:pt x="2982598" y="4689082"/>
                </a:cubicBezTo>
                <a:lnTo>
                  <a:pt x="2987182" y="4690859"/>
                </a:lnTo>
                <a:lnTo>
                  <a:pt x="2988614" y="4689526"/>
                </a:lnTo>
                <a:cubicBezTo>
                  <a:pt x="2991478" y="4687416"/>
                  <a:pt x="2994344" y="4685528"/>
                  <a:pt x="2996349" y="4685417"/>
                </a:cubicBezTo>
                <a:close/>
                <a:moveTo>
                  <a:pt x="5370851" y="4685417"/>
                </a:moveTo>
                <a:cubicBezTo>
                  <a:pt x="5367986" y="4689305"/>
                  <a:pt x="5359106" y="4695636"/>
                  <a:pt x="5356814" y="4695192"/>
                </a:cubicBezTo>
                <a:cubicBezTo>
                  <a:pt x="5359106" y="4692970"/>
                  <a:pt x="5367127" y="4685638"/>
                  <a:pt x="5370851" y="4685417"/>
                </a:cubicBezTo>
                <a:close/>
                <a:moveTo>
                  <a:pt x="6009380" y="4684972"/>
                </a:moveTo>
                <a:cubicBezTo>
                  <a:pt x="6011100" y="4686305"/>
                  <a:pt x="6012532" y="4688860"/>
                  <a:pt x="6013964" y="4690304"/>
                </a:cubicBezTo>
                <a:cubicBezTo>
                  <a:pt x="6013964" y="4690304"/>
                  <a:pt x="6013964" y="4690193"/>
                  <a:pt x="6012245" y="4691192"/>
                </a:cubicBezTo>
                <a:cubicBezTo>
                  <a:pt x="6012245" y="4688860"/>
                  <a:pt x="6005655" y="4686972"/>
                  <a:pt x="6009380" y="4684972"/>
                </a:cubicBezTo>
                <a:close/>
                <a:moveTo>
                  <a:pt x="4701670" y="4684972"/>
                </a:moveTo>
                <a:cubicBezTo>
                  <a:pt x="4703103" y="4686305"/>
                  <a:pt x="4704535" y="4688861"/>
                  <a:pt x="4706254" y="4690305"/>
                </a:cubicBezTo>
                <a:cubicBezTo>
                  <a:pt x="4706254" y="4690305"/>
                  <a:pt x="4706254" y="4690193"/>
                  <a:pt x="4704535" y="4691193"/>
                </a:cubicBezTo>
                <a:cubicBezTo>
                  <a:pt x="4704535" y="4688861"/>
                  <a:pt x="4697946" y="4686972"/>
                  <a:pt x="4701670" y="4684972"/>
                </a:cubicBezTo>
                <a:close/>
                <a:moveTo>
                  <a:pt x="4970660" y="4684750"/>
                </a:moveTo>
                <a:cubicBezTo>
                  <a:pt x="4972666" y="4684639"/>
                  <a:pt x="4974958" y="4685195"/>
                  <a:pt x="4977536" y="4686305"/>
                </a:cubicBezTo>
                <a:cubicBezTo>
                  <a:pt x="4984697" y="4696413"/>
                  <a:pt x="4971806" y="4701302"/>
                  <a:pt x="4962353" y="4698858"/>
                </a:cubicBezTo>
                <a:cubicBezTo>
                  <a:pt x="4959202" y="4697970"/>
                  <a:pt x="4956624" y="4696303"/>
                  <a:pt x="4955191" y="4693637"/>
                </a:cubicBezTo>
                <a:cubicBezTo>
                  <a:pt x="4960061" y="4689748"/>
                  <a:pt x="4964358" y="4684972"/>
                  <a:pt x="4970660" y="4684750"/>
                </a:cubicBezTo>
                <a:close/>
                <a:moveTo>
                  <a:pt x="2596158" y="4684750"/>
                </a:moveTo>
                <a:cubicBezTo>
                  <a:pt x="2598163" y="4684639"/>
                  <a:pt x="2600455" y="4685195"/>
                  <a:pt x="2603034" y="4686305"/>
                </a:cubicBezTo>
                <a:cubicBezTo>
                  <a:pt x="2610195" y="4696414"/>
                  <a:pt x="2597017" y="4701302"/>
                  <a:pt x="2587851" y="4698857"/>
                </a:cubicBezTo>
                <a:cubicBezTo>
                  <a:pt x="2584699" y="4697969"/>
                  <a:pt x="2582122" y="4696303"/>
                  <a:pt x="2580689" y="4693637"/>
                </a:cubicBezTo>
                <a:cubicBezTo>
                  <a:pt x="2585558" y="4689748"/>
                  <a:pt x="2589855" y="4684972"/>
                  <a:pt x="2596158" y="4684750"/>
                </a:cubicBezTo>
                <a:close/>
                <a:moveTo>
                  <a:pt x="5688540" y="4682973"/>
                </a:moveTo>
                <a:cubicBezTo>
                  <a:pt x="5693410" y="4685084"/>
                  <a:pt x="5695702" y="4685750"/>
                  <a:pt x="5698280" y="4687416"/>
                </a:cubicBezTo>
                <a:cubicBezTo>
                  <a:pt x="5699999" y="4686861"/>
                  <a:pt x="5701718" y="4686306"/>
                  <a:pt x="5703723" y="4686861"/>
                </a:cubicBezTo>
                <a:lnTo>
                  <a:pt x="5706301" y="4688526"/>
                </a:lnTo>
                <a:lnTo>
                  <a:pt x="5708020" y="4687527"/>
                </a:lnTo>
                <a:cubicBezTo>
                  <a:pt x="5709166" y="4686750"/>
                  <a:pt x="5710313" y="4685861"/>
                  <a:pt x="5711457" y="4684638"/>
                </a:cubicBezTo>
                <a:cubicBezTo>
                  <a:pt x="5717473" y="4690415"/>
                  <a:pt x="5724348" y="4692193"/>
                  <a:pt x="5725208" y="4696192"/>
                </a:cubicBezTo>
                <a:cubicBezTo>
                  <a:pt x="5725494" y="4697525"/>
                  <a:pt x="5725208" y="4699080"/>
                  <a:pt x="5723775" y="4701080"/>
                </a:cubicBezTo>
                <a:cubicBezTo>
                  <a:pt x="5720338" y="4701524"/>
                  <a:pt x="5716900" y="4700079"/>
                  <a:pt x="5713749" y="4697969"/>
                </a:cubicBezTo>
                <a:lnTo>
                  <a:pt x="5708592" y="4694081"/>
                </a:lnTo>
                <a:lnTo>
                  <a:pt x="5708020" y="4694637"/>
                </a:lnTo>
                <a:cubicBezTo>
                  <a:pt x="5706588" y="4695192"/>
                  <a:pt x="5704868" y="4695414"/>
                  <a:pt x="5702863" y="4694858"/>
                </a:cubicBezTo>
                <a:cubicBezTo>
                  <a:pt x="5696848" y="4694303"/>
                  <a:pt x="5695129" y="4690971"/>
                  <a:pt x="5694842" y="4687305"/>
                </a:cubicBezTo>
                <a:cubicBezTo>
                  <a:pt x="5691978" y="4685638"/>
                  <a:pt x="5688255" y="4685638"/>
                  <a:pt x="5688540" y="4682973"/>
                </a:cubicBezTo>
                <a:close/>
                <a:moveTo>
                  <a:pt x="3314037" y="4682973"/>
                </a:moveTo>
                <a:cubicBezTo>
                  <a:pt x="3318907" y="4685083"/>
                  <a:pt x="3321200" y="4685749"/>
                  <a:pt x="3323777" y="4687416"/>
                </a:cubicBezTo>
                <a:cubicBezTo>
                  <a:pt x="3325496" y="4686861"/>
                  <a:pt x="3326928" y="4686306"/>
                  <a:pt x="3329220" y="4686861"/>
                </a:cubicBezTo>
                <a:lnTo>
                  <a:pt x="3331798" y="4688527"/>
                </a:lnTo>
                <a:lnTo>
                  <a:pt x="3333517" y="4687527"/>
                </a:lnTo>
                <a:cubicBezTo>
                  <a:pt x="3334663" y="4686750"/>
                  <a:pt x="3335809" y="4685861"/>
                  <a:pt x="3336954" y="4684639"/>
                </a:cubicBezTo>
                <a:cubicBezTo>
                  <a:pt x="3342971" y="4690416"/>
                  <a:pt x="3349845" y="4692193"/>
                  <a:pt x="3350705" y="4696192"/>
                </a:cubicBezTo>
                <a:cubicBezTo>
                  <a:pt x="3350991" y="4697524"/>
                  <a:pt x="3350706" y="4699080"/>
                  <a:pt x="3349272" y="4701079"/>
                </a:cubicBezTo>
                <a:cubicBezTo>
                  <a:pt x="3345835" y="4701524"/>
                  <a:pt x="3342397" y="4700080"/>
                  <a:pt x="3339247" y="4697969"/>
                </a:cubicBezTo>
                <a:lnTo>
                  <a:pt x="3333804" y="4694081"/>
                </a:lnTo>
                <a:lnTo>
                  <a:pt x="3333517" y="4694637"/>
                </a:lnTo>
                <a:cubicBezTo>
                  <a:pt x="3332085" y="4695192"/>
                  <a:pt x="3330367" y="4695414"/>
                  <a:pt x="3328360" y="4694859"/>
                </a:cubicBezTo>
                <a:cubicBezTo>
                  <a:pt x="3322345" y="4694303"/>
                  <a:pt x="3320627" y="4690971"/>
                  <a:pt x="3320340" y="4687305"/>
                </a:cubicBezTo>
                <a:cubicBezTo>
                  <a:pt x="3317475" y="4685638"/>
                  <a:pt x="3313751" y="4685639"/>
                  <a:pt x="3314037" y="4682973"/>
                </a:cubicBezTo>
                <a:close/>
                <a:moveTo>
                  <a:pt x="5466530" y="4682417"/>
                </a:moveTo>
                <a:cubicBezTo>
                  <a:pt x="5467390" y="4682528"/>
                  <a:pt x="5467676" y="4682862"/>
                  <a:pt x="5467676" y="4682862"/>
                </a:cubicBezTo>
                <a:cubicBezTo>
                  <a:pt x="5469396" y="4684083"/>
                  <a:pt x="5471114" y="4685306"/>
                  <a:pt x="5469681" y="4686416"/>
                </a:cubicBezTo>
                <a:cubicBezTo>
                  <a:pt x="5469681" y="4686416"/>
                  <a:pt x="5467962" y="4686416"/>
                  <a:pt x="5464525" y="4683972"/>
                </a:cubicBezTo>
                <a:cubicBezTo>
                  <a:pt x="5465957" y="4684084"/>
                  <a:pt x="5465958" y="4682862"/>
                  <a:pt x="5465958" y="4682862"/>
                </a:cubicBezTo>
                <a:cubicBezTo>
                  <a:pt x="5465958" y="4682862"/>
                  <a:pt x="5465958" y="4682862"/>
                  <a:pt x="5464238" y="4682751"/>
                </a:cubicBezTo>
                <a:cubicBezTo>
                  <a:pt x="5465098" y="4682196"/>
                  <a:pt x="5465957" y="4682195"/>
                  <a:pt x="5466530" y="4682417"/>
                </a:cubicBezTo>
                <a:close/>
                <a:moveTo>
                  <a:pt x="3092027" y="4682416"/>
                </a:moveTo>
                <a:cubicBezTo>
                  <a:pt x="3092600" y="4682528"/>
                  <a:pt x="3093173" y="4682862"/>
                  <a:pt x="3093173" y="4682862"/>
                </a:cubicBezTo>
                <a:cubicBezTo>
                  <a:pt x="3094892" y="4684084"/>
                  <a:pt x="3096611" y="4685305"/>
                  <a:pt x="3095180" y="4686416"/>
                </a:cubicBezTo>
                <a:cubicBezTo>
                  <a:pt x="3095180" y="4686416"/>
                  <a:pt x="3093460" y="4686416"/>
                  <a:pt x="3089737" y="4683972"/>
                </a:cubicBezTo>
                <a:cubicBezTo>
                  <a:pt x="3091454" y="4684084"/>
                  <a:pt x="3091454" y="4682862"/>
                  <a:pt x="3091454" y="4682862"/>
                </a:cubicBezTo>
                <a:cubicBezTo>
                  <a:pt x="3091454" y="4682862"/>
                  <a:pt x="3091454" y="4682862"/>
                  <a:pt x="3089737" y="4682751"/>
                </a:cubicBezTo>
                <a:cubicBezTo>
                  <a:pt x="3090596" y="4682195"/>
                  <a:pt x="3091454" y="4682196"/>
                  <a:pt x="3092027" y="4682416"/>
                </a:cubicBezTo>
                <a:close/>
                <a:moveTo>
                  <a:pt x="5088111" y="4682085"/>
                </a:moveTo>
                <a:lnTo>
                  <a:pt x="5087538" y="4684639"/>
                </a:lnTo>
                <a:lnTo>
                  <a:pt x="5105585" y="4687416"/>
                </a:lnTo>
                <a:cubicBezTo>
                  <a:pt x="5119049" y="4690971"/>
                  <a:pt x="5122486" y="4696747"/>
                  <a:pt x="5146264" y="4707411"/>
                </a:cubicBezTo>
                <a:cubicBezTo>
                  <a:pt x="5141680" y="4720297"/>
                  <a:pt x="5119049" y="4718853"/>
                  <a:pt x="5101575" y="4712077"/>
                </a:cubicBezTo>
                <a:lnTo>
                  <a:pt x="5097278" y="4709854"/>
                </a:lnTo>
                <a:lnTo>
                  <a:pt x="5096418" y="4712187"/>
                </a:lnTo>
                <a:cubicBezTo>
                  <a:pt x="5095272" y="4713632"/>
                  <a:pt x="5093554" y="4714853"/>
                  <a:pt x="5091548" y="4715520"/>
                </a:cubicBezTo>
                <a:cubicBezTo>
                  <a:pt x="5088684" y="4716520"/>
                  <a:pt x="5085246" y="4716742"/>
                  <a:pt x="5081522" y="4715520"/>
                </a:cubicBezTo>
                <a:cubicBezTo>
                  <a:pt x="5080376" y="4710188"/>
                  <a:pt x="5077798" y="4704412"/>
                  <a:pt x="5081236" y="4700968"/>
                </a:cubicBezTo>
                <a:lnTo>
                  <a:pt x="5083241" y="4700191"/>
                </a:lnTo>
                <a:lnTo>
                  <a:pt x="5082095" y="4699080"/>
                </a:lnTo>
                <a:cubicBezTo>
                  <a:pt x="5080376" y="4696636"/>
                  <a:pt x="5079803" y="4694081"/>
                  <a:pt x="5080663" y="4691636"/>
                </a:cubicBezTo>
                <a:lnTo>
                  <a:pt x="5084387" y="4687861"/>
                </a:lnTo>
                <a:lnTo>
                  <a:pt x="5080376" y="4688415"/>
                </a:lnTo>
                <a:cubicBezTo>
                  <a:pt x="5079231" y="4687972"/>
                  <a:pt x="5078084" y="4687083"/>
                  <a:pt x="5078084" y="4685417"/>
                </a:cubicBezTo>
                <a:cubicBezTo>
                  <a:pt x="5081237" y="4683750"/>
                  <a:pt x="5083528" y="4683195"/>
                  <a:pt x="5088111" y="4682085"/>
                </a:cubicBezTo>
                <a:close/>
                <a:moveTo>
                  <a:pt x="2713608" y="4682084"/>
                </a:moveTo>
                <a:cubicBezTo>
                  <a:pt x="2717332" y="4686306"/>
                  <a:pt x="2709885" y="4689748"/>
                  <a:pt x="2705874" y="4688416"/>
                </a:cubicBezTo>
                <a:cubicBezTo>
                  <a:pt x="2704728" y="4687972"/>
                  <a:pt x="2703583" y="4687083"/>
                  <a:pt x="2703582" y="4685417"/>
                </a:cubicBezTo>
                <a:cubicBezTo>
                  <a:pt x="2706734" y="4683751"/>
                  <a:pt x="2709025" y="4683195"/>
                  <a:pt x="2713608" y="4682084"/>
                </a:cubicBezTo>
                <a:close/>
                <a:moveTo>
                  <a:pt x="4724301" y="4681085"/>
                </a:moveTo>
                <a:cubicBezTo>
                  <a:pt x="4730317" y="4683417"/>
                  <a:pt x="4736046" y="4685749"/>
                  <a:pt x="4737192" y="4689081"/>
                </a:cubicBezTo>
                <a:lnTo>
                  <a:pt x="4731749" y="4692304"/>
                </a:lnTo>
                <a:lnTo>
                  <a:pt x="4732322" y="4692415"/>
                </a:lnTo>
                <a:cubicBezTo>
                  <a:pt x="4735473" y="4693858"/>
                  <a:pt x="4737192" y="4693970"/>
                  <a:pt x="4740630" y="4693081"/>
                </a:cubicBezTo>
                <a:cubicBezTo>
                  <a:pt x="4740630" y="4693081"/>
                  <a:pt x="4740630" y="4693081"/>
                  <a:pt x="4744066" y="4695636"/>
                </a:cubicBezTo>
                <a:lnTo>
                  <a:pt x="4743782" y="4696858"/>
                </a:lnTo>
                <a:cubicBezTo>
                  <a:pt x="4743494" y="4697414"/>
                  <a:pt x="4742062" y="4697525"/>
                  <a:pt x="4740343" y="4697525"/>
                </a:cubicBezTo>
                <a:cubicBezTo>
                  <a:pt x="4734614" y="4697413"/>
                  <a:pt x="4724874" y="4695303"/>
                  <a:pt x="4723728" y="4695192"/>
                </a:cubicBezTo>
                <a:lnTo>
                  <a:pt x="4721723" y="4695081"/>
                </a:lnTo>
                <a:lnTo>
                  <a:pt x="4714561" y="4694747"/>
                </a:lnTo>
                <a:cubicBezTo>
                  <a:pt x="4711124" y="4689527"/>
                  <a:pt x="4720004" y="4684306"/>
                  <a:pt x="4724301" y="4681085"/>
                </a:cubicBezTo>
                <a:close/>
                <a:moveTo>
                  <a:pt x="3416592" y="4681085"/>
                </a:moveTo>
                <a:cubicBezTo>
                  <a:pt x="3422608" y="4683417"/>
                  <a:pt x="3428337" y="4685749"/>
                  <a:pt x="3429483" y="4689082"/>
                </a:cubicBezTo>
                <a:lnTo>
                  <a:pt x="3424040" y="4692304"/>
                </a:lnTo>
                <a:lnTo>
                  <a:pt x="3424326" y="4692415"/>
                </a:lnTo>
                <a:cubicBezTo>
                  <a:pt x="3427765" y="4693859"/>
                  <a:pt x="3429483" y="4693970"/>
                  <a:pt x="3432920" y="4693081"/>
                </a:cubicBezTo>
                <a:cubicBezTo>
                  <a:pt x="3432920" y="4693081"/>
                  <a:pt x="3432920" y="4693081"/>
                  <a:pt x="3436071" y="4695636"/>
                </a:cubicBezTo>
                <a:lnTo>
                  <a:pt x="3436072" y="4696858"/>
                </a:lnTo>
                <a:cubicBezTo>
                  <a:pt x="3435785" y="4697413"/>
                  <a:pt x="3434353" y="4697525"/>
                  <a:pt x="3432634" y="4697525"/>
                </a:cubicBezTo>
                <a:cubicBezTo>
                  <a:pt x="3426905" y="4697413"/>
                  <a:pt x="3417164" y="4695303"/>
                  <a:pt x="3416020" y="4695192"/>
                </a:cubicBezTo>
                <a:lnTo>
                  <a:pt x="3414013" y="4695081"/>
                </a:lnTo>
                <a:lnTo>
                  <a:pt x="3406566" y="4694747"/>
                </a:lnTo>
                <a:cubicBezTo>
                  <a:pt x="3403414" y="4689527"/>
                  <a:pt x="3412295" y="4684306"/>
                  <a:pt x="3416592" y="4681085"/>
                </a:cubicBezTo>
                <a:close/>
                <a:moveTo>
                  <a:pt x="2349798" y="4681084"/>
                </a:moveTo>
                <a:cubicBezTo>
                  <a:pt x="2355815" y="4683417"/>
                  <a:pt x="2361543" y="4685750"/>
                  <a:pt x="2362690" y="4689082"/>
                </a:cubicBezTo>
                <a:lnTo>
                  <a:pt x="2357246" y="4692303"/>
                </a:lnTo>
                <a:lnTo>
                  <a:pt x="2357533" y="4692415"/>
                </a:lnTo>
                <a:cubicBezTo>
                  <a:pt x="2360971" y="4693859"/>
                  <a:pt x="2362690" y="4693970"/>
                  <a:pt x="2366128" y="4693081"/>
                </a:cubicBezTo>
                <a:cubicBezTo>
                  <a:pt x="2366128" y="4693081"/>
                  <a:pt x="2366128" y="4693081"/>
                  <a:pt x="2369278" y="4695636"/>
                </a:cubicBezTo>
                <a:lnTo>
                  <a:pt x="2369278" y="4696858"/>
                </a:lnTo>
                <a:cubicBezTo>
                  <a:pt x="2368991" y="4697413"/>
                  <a:pt x="2367560" y="4697524"/>
                  <a:pt x="2365554" y="4697524"/>
                </a:cubicBezTo>
                <a:cubicBezTo>
                  <a:pt x="2360111" y="4697414"/>
                  <a:pt x="2350372" y="4695303"/>
                  <a:pt x="2349226" y="4695191"/>
                </a:cubicBezTo>
                <a:lnTo>
                  <a:pt x="2347220" y="4695081"/>
                </a:lnTo>
                <a:lnTo>
                  <a:pt x="2339772" y="4694748"/>
                </a:lnTo>
                <a:cubicBezTo>
                  <a:pt x="2336621" y="4689527"/>
                  <a:pt x="2345501" y="4684306"/>
                  <a:pt x="2349798" y="4681084"/>
                </a:cubicBezTo>
                <a:close/>
                <a:moveTo>
                  <a:pt x="5007042" y="4679752"/>
                </a:moveTo>
                <a:cubicBezTo>
                  <a:pt x="5011625" y="4679418"/>
                  <a:pt x="5015635" y="4680528"/>
                  <a:pt x="5017640" y="4682973"/>
                </a:cubicBezTo>
                <a:cubicBezTo>
                  <a:pt x="5019073" y="4684528"/>
                  <a:pt x="5019646" y="4686749"/>
                  <a:pt x="5018787" y="4689527"/>
                </a:cubicBezTo>
                <a:cubicBezTo>
                  <a:pt x="5014776" y="4693637"/>
                  <a:pt x="5008760" y="4695636"/>
                  <a:pt x="5003604" y="4695080"/>
                </a:cubicBezTo>
                <a:cubicBezTo>
                  <a:pt x="4998448" y="4694525"/>
                  <a:pt x="4994437" y="4691526"/>
                  <a:pt x="4994724" y="4685417"/>
                </a:cubicBezTo>
                <a:cubicBezTo>
                  <a:pt x="4998161" y="4681973"/>
                  <a:pt x="5002744" y="4680196"/>
                  <a:pt x="5007042" y="4679752"/>
                </a:cubicBezTo>
                <a:close/>
                <a:moveTo>
                  <a:pt x="2632539" y="4679752"/>
                </a:moveTo>
                <a:cubicBezTo>
                  <a:pt x="2637122" y="4679418"/>
                  <a:pt x="2641133" y="4680529"/>
                  <a:pt x="2643138" y="4682973"/>
                </a:cubicBezTo>
                <a:cubicBezTo>
                  <a:pt x="2644570" y="4684528"/>
                  <a:pt x="2645144" y="4686749"/>
                  <a:pt x="2644284" y="4689527"/>
                </a:cubicBezTo>
                <a:cubicBezTo>
                  <a:pt x="2640273" y="4693637"/>
                  <a:pt x="2633971" y="4695636"/>
                  <a:pt x="2629102" y="4695081"/>
                </a:cubicBezTo>
                <a:cubicBezTo>
                  <a:pt x="2623945" y="4694525"/>
                  <a:pt x="2619934" y="4691526"/>
                  <a:pt x="2619935" y="4685417"/>
                </a:cubicBezTo>
                <a:cubicBezTo>
                  <a:pt x="2623372" y="4681972"/>
                  <a:pt x="2628242" y="4680196"/>
                  <a:pt x="2632539" y="4679752"/>
                </a:cubicBezTo>
                <a:close/>
                <a:moveTo>
                  <a:pt x="5176342" y="4678974"/>
                </a:moveTo>
                <a:cubicBezTo>
                  <a:pt x="5177488" y="4678973"/>
                  <a:pt x="5178634" y="4679084"/>
                  <a:pt x="5180925" y="4679418"/>
                </a:cubicBezTo>
                <a:cubicBezTo>
                  <a:pt x="5179493" y="4680085"/>
                  <a:pt x="5177201" y="4682417"/>
                  <a:pt x="5174909" y="4682085"/>
                </a:cubicBezTo>
                <a:cubicBezTo>
                  <a:pt x="5172618" y="4681751"/>
                  <a:pt x="5172618" y="4681639"/>
                  <a:pt x="5170898" y="4679752"/>
                </a:cubicBezTo>
                <a:cubicBezTo>
                  <a:pt x="5173764" y="4679196"/>
                  <a:pt x="5175196" y="4679085"/>
                  <a:pt x="5176342" y="4678974"/>
                </a:cubicBezTo>
                <a:close/>
                <a:moveTo>
                  <a:pt x="2801553" y="4678974"/>
                </a:moveTo>
                <a:cubicBezTo>
                  <a:pt x="2802986" y="4678974"/>
                  <a:pt x="2804131" y="4679085"/>
                  <a:pt x="2806423" y="4679418"/>
                </a:cubicBezTo>
                <a:cubicBezTo>
                  <a:pt x="2804705" y="4680084"/>
                  <a:pt x="2802412" y="4682416"/>
                  <a:pt x="2800120" y="4682084"/>
                </a:cubicBezTo>
                <a:cubicBezTo>
                  <a:pt x="2797829" y="4681751"/>
                  <a:pt x="2798116" y="4681640"/>
                  <a:pt x="2796397" y="4679752"/>
                </a:cubicBezTo>
                <a:cubicBezTo>
                  <a:pt x="2799261" y="4679196"/>
                  <a:pt x="2800407" y="4679084"/>
                  <a:pt x="2801553" y="4678974"/>
                </a:cubicBezTo>
                <a:close/>
                <a:moveTo>
                  <a:pt x="5263713" y="4678530"/>
                </a:moveTo>
                <a:cubicBezTo>
                  <a:pt x="5273167" y="4683195"/>
                  <a:pt x="5280615" y="4680529"/>
                  <a:pt x="5282048" y="4686638"/>
                </a:cubicBezTo>
                <a:cubicBezTo>
                  <a:pt x="5276032" y="4688971"/>
                  <a:pt x="5264573" y="4683528"/>
                  <a:pt x="5263713" y="4678530"/>
                </a:cubicBezTo>
                <a:close/>
                <a:moveTo>
                  <a:pt x="5622367" y="4678529"/>
                </a:moveTo>
                <a:cubicBezTo>
                  <a:pt x="5624945" y="4678085"/>
                  <a:pt x="5627810" y="4678530"/>
                  <a:pt x="5628096" y="4680196"/>
                </a:cubicBezTo>
                <a:cubicBezTo>
                  <a:pt x="5628670" y="4681418"/>
                  <a:pt x="5627810" y="4683195"/>
                  <a:pt x="5625232" y="4685750"/>
                </a:cubicBezTo>
                <a:cubicBezTo>
                  <a:pt x="5619502" y="4684528"/>
                  <a:pt x="5617210" y="4682973"/>
                  <a:pt x="5617210" y="4681751"/>
                </a:cubicBezTo>
                <a:cubicBezTo>
                  <a:pt x="5617210" y="4680307"/>
                  <a:pt x="5619789" y="4678973"/>
                  <a:pt x="5622367" y="4678529"/>
                </a:cubicBezTo>
                <a:close/>
                <a:moveTo>
                  <a:pt x="2889212" y="4678529"/>
                </a:moveTo>
                <a:cubicBezTo>
                  <a:pt x="2898664" y="4683195"/>
                  <a:pt x="2906112" y="4680529"/>
                  <a:pt x="2907544" y="4686639"/>
                </a:cubicBezTo>
                <a:cubicBezTo>
                  <a:pt x="2901529" y="4688971"/>
                  <a:pt x="2890070" y="4683528"/>
                  <a:pt x="2889212" y="4678529"/>
                </a:cubicBezTo>
                <a:close/>
                <a:moveTo>
                  <a:pt x="5583121" y="4677529"/>
                </a:moveTo>
                <a:cubicBezTo>
                  <a:pt x="5581402" y="4679752"/>
                  <a:pt x="5578538" y="4684306"/>
                  <a:pt x="5575387" y="4685861"/>
                </a:cubicBezTo>
                <a:cubicBezTo>
                  <a:pt x="5574241" y="4686416"/>
                  <a:pt x="5573383" y="4686638"/>
                  <a:pt x="5572236" y="4686195"/>
                </a:cubicBezTo>
                <a:cubicBezTo>
                  <a:pt x="5574527" y="4683195"/>
                  <a:pt x="5576246" y="4677974"/>
                  <a:pt x="5583121" y="4677529"/>
                </a:cubicBezTo>
                <a:close/>
                <a:moveTo>
                  <a:pt x="5183790" y="4677307"/>
                </a:moveTo>
                <a:cubicBezTo>
                  <a:pt x="5184363" y="4677197"/>
                  <a:pt x="5185222" y="4677307"/>
                  <a:pt x="5185509" y="4677752"/>
                </a:cubicBezTo>
                <a:cubicBezTo>
                  <a:pt x="5186082" y="4678640"/>
                  <a:pt x="5184649" y="4679307"/>
                  <a:pt x="5182071" y="4679084"/>
                </a:cubicBezTo>
                <a:cubicBezTo>
                  <a:pt x="5182071" y="4679084"/>
                  <a:pt x="5181499" y="4678196"/>
                  <a:pt x="5181499" y="4678196"/>
                </a:cubicBezTo>
                <a:cubicBezTo>
                  <a:pt x="5182358" y="4677863"/>
                  <a:pt x="5182930" y="4677529"/>
                  <a:pt x="5183790" y="4677307"/>
                </a:cubicBezTo>
                <a:close/>
                <a:moveTo>
                  <a:pt x="2809288" y="4677307"/>
                </a:moveTo>
                <a:cubicBezTo>
                  <a:pt x="2809861" y="4677197"/>
                  <a:pt x="2810720" y="4677307"/>
                  <a:pt x="2811006" y="4677752"/>
                </a:cubicBezTo>
                <a:cubicBezTo>
                  <a:pt x="2811580" y="4678641"/>
                  <a:pt x="2809860" y="4679307"/>
                  <a:pt x="2807568" y="4679084"/>
                </a:cubicBezTo>
                <a:cubicBezTo>
                  <a:pt x="2807568" y="4679084"/>
                  <a:pt x="2806995" y="4678196"/>
                  <a:pt x="2806995" y="4678196"/>
                </a:cubicBezTo>
                <a:cubicBezTo>
                  <a:pt x="2807855" y="4677863"/>
                  <a:pt x="2808428" y="4677529"/>
                  <a:pt x="2809288" y="4677307"/>
                </a:cubicBezTo>
                <a:close/>
                <a:moveTo>
                  <a:pt x="2587278" y="4676863"/>
                </a:moveTo>
                <a:cubicBezTo>
                  <a:pt x="2586992" y="4679418"/>
                  <a:pt x="2585845" y="4680973"/>
                  <a:pt x="2584986" y="4682528"/>
                </a:cubicBezTo>
                <a:cubicBezTo>
                  <a:pt x="2584413" y="4685195"/>
                  <a:pt x="2582694" y="4685750"/>
                  <a:pt x="2578397" y="4684750"/>
                </a:cubicBezTo>
                <a:cubicBezTo>
                  <a:pt x="2578683" y="4682085"/>
                  <a:pt x="2583553" y="4676862"/>
                  <a:pt x="2587278" y="4676863"/>
                </a:cubicBezTo>
                <a:close/>
                <a:moveTo>
                  <a:pt x="4961780" y="4676863"/>
                </a:moveTo>
                <a:cubicBezTo>
                  <a:pt x="4961494" y="4679418"/>
                  <a:pt x="4960348" y="4680973"/>
                  <a:pt x="4959488" y="4682529"/>
                </a:cubicBezTo>
                <a:cubicBezTo>
                  <a:pt x="4958916" y="4685194"/>
                  <a:pt x="4957483" y="4685750"/>
                  <a:pt x="4952900" y="4684750"/>
                </a:cubicBezTo>
                <a:cubicBezTo>
                  <a:pt x="4953186" y="4682085"/>
                  <a:pt x="4958056" y="4676863"/>
                  <a:pt x="4961780" y="4676863"/>
                </a:cubicBezTo>
                <a:close/>
                <a:moveTo>
                  <a:pt x="5822892" y="4676197"/>
                </a:moveTo>
                <a:cubicBezTo>
                  <a:pt x="5823752" y="4676197"/>
                  <a:pt x="5824610" y="4676975"/>
                  <a:pt x="5825470" y="4678085"/>
                </a:cubicBezTo>
                <a:cubicBezTo>
                  <a:pt x="5828048" y="4681307"/>
                  <a:pt x="5829767" y="4688082"/>
                  <a:pt x="5830340" y="4688861"/>
                </a:cubicBezTo>
                <a:cubicBezTo>
                  <a:pt x="5830340" y="4688861"/>
                  <a:pt x="5830913" y="4689860"/>
                  <a:pt x="5831486" y="4690971"/>
                </a:cubicBezTo>
                <a:cubicBezTo>
                  <a:pt x="5830626" y="4692525"/>
                  <a:pt x="5829194" y="4693081"/>
                  <a:pt x="5829767" y="4694081"/>
                </a:cubicBezTo>
                <a:cubicBezTo>
                  <a:pt x="5823178" y="4692526"/>
                  <a:pt x="5822892" y="4688749"/>
                  <a:pt x="5822606" y="4685083"/>
                </a:cubicBezTo>
                <a:cubicBezTo>
                  <a:pt x="5822892" y="4682528"/>
                  <a:pt x="5822319" y="4681418"/>
                  <a:pt x="5819454" y="4679862"/>
                </a:cubicBezTo>
                <a:cubicBezTo>
                  <a:pt x="5819454" y="4679862"/>
                  <a:pt x="5819454" y="4679862"/>
                  <a:pt x="5821460" y="4676752"/>
                </a:cubicBezTo>
                <a:close/>
                <a:moveTo>
                  <a:pt x="3448389" y="4676197"/>
                </a:moveTo>
                <a:cubicBezTo>
                  <a:pt x="3449248" y="4676197"/>
                  <a:pt x="3450108" y="4676974"/>
                  <a:pt x="3450967" y="4678085"/>
                </a:cubicBezTo>
                <a:cubicBezTo>
                  <a:pt x="3453545" y="4681307"/>
                  <a:pt x="3455264" y="4688082"/>
                  <a:pt x="3455551" y="4688861"/>
                </a:cubicBezTo>
                <a:cubicBezTo>
                  <a:pt x="3455551" y="4688861"/>
                  <a:pt x="3456410" y="4689860"/>
                  <a:pt x="3456983" y="4690970"/>
                </a:cubicBezTo>
                <a:cubicBezTo>
                  <a:pt x="3456124" y="4692526"/>
                  <a:pt x="3454405" y="4693081"/>
                  <a:pt x="3454979" y="4694081"/>
                </a:cubicBezTo>
                <a:cubicBezTo>
                  <a:pt x="3448676" y="4692525"/>
                  <a:pt x="3448389" y="4688749"/>
                  <a:pt x="3448103" y="4685083"/>
                </a:cubicBezTo>
                <a:cubicBezTo>
                  <a:pt x="3448389" y="4682528"/>
                  <a:pt x="3447530" y="4681418"/>
                  <a:pt x="3444951" y="4679862"/>
                </a:cubicBezTo>
                <a:cubicBezTo>
                  <a:pt x="3444951" y="4679862"/>
                  <a:pt x="3444951" y="4679862"/>
                  <a:pt x="3446957" y="4676752"/>
                </a:cubicBezTo>
                <a:close/>
                <a:moveTo>
                  <a:pt x="3400550" y="4675420"/>
                </a:moveTo>
                <a:cubicBezTo>
                  <a:pt x="3401982" y="4675641"/>
                  <a:pt x="3403128" y="4675975"/>
                  <a:pt x="3403701" y="4676530"/>
                </a:cubicBezTo>
                <a:cubicBezTo>
                  <a:pt x="3405706" y="4678307"/>
                  <a:pt x="3404846" y="4681529"/>
                  <a:pt x="3405133" y="4685083"/>
                </a:cubicBezTo>
                <a:cubicBezTo>
                  <a:pt x="3402842" y="4684528"/>
                  <a:pt x="3401982" y="4686083"/>
                  <a:pt x="3400836" y="4687527"/>
                </a:cubicBezTo>
                <a:cubicBezTo>
                  <a:pt x="3397686" y="4686638"/>
                  <a:pt x="3392243" y="4685528"/>
                  <a:pt x="3391669" y="4682528"/>
                </a:cubicBezTo>
                <a:cubicBezTo>
                  <a:pt x="3391669" y="4681528"/>
                  <a:pt x="3391956" y="4680196"/>
                  <a:pt x="3393101" y="4678640"/>
                </a:cubicBezTo>
                <a:cubicBezTo>
                  <a:pt x="3392530" y="4677530"/>
                  <a:pt x="3398544" y="4674753"/>
                  <a:pt x="3400550" y="4675420"/>
                </a:cubicBezTo>
                <a:close/>
                <a:moveTo>
                  <a:pt x="2333756" y="4675419"/>
                </a:moveTo>
                <a:cubicBezTo>
                  <a:pt x="2335189" y="4675640"/>
                  <a:pt x="2336334" y="4675974"/>
                  <a:pt x="2336907" y="4676530"/>
                </a:cubicBezTo>
                <a:cubicBezTo>
                  <a:pt x="2338913" y="4678307"/>
                  <a:pt x="2338053" y="4681528"/>
                  <a:pt x="2338340" y="4685084"/>
                </a:cubicBezTo>
                <a:cubicBezTo>
                  <a:pt x="2336049" y="4684528"/>
                  <a:pt x="2334902" y="4686083"/>
                  <a:pt x="2334043" y="4687527"/>
                </a:cubicBezTo>
                <a:cubicBezTo>
                  <a:pt x="2330893" y="4686638"/>
                  <a:pt x="2325450" y="4685528"/>
                  <a:pt x="2324876" y="4682528"/>
                </a:cubicBezTo>
                <a:cubicBezTo>
                  <a:pt x="2324876" y="4681529"/>
                  <a:pt x="2325163" y="4680196"/>
                  <a:pt x="2326309" y="4678640"/>
                </a:cubicBezTo>
                <a:cubicBezTo>
                  <a:pt x="2325736" y="4677529"/>
                  <a:pt x="2331751" y="4674753"/>
                  <a:pt x="2333756" y="4675419"/>
                </a:cubicBezTo>
                <a:close/>
                <a:moveTo>
                  <a:pt x="5193243" y="4674531"/>
                </a:moveTo>
                <a:cubicBezTo>
                  <a:pt x="5193243" y="4674531"/>
                  <a:pt x="5192098" y="4676085"/>
                  <a:pt x="5192098" y="4676085"/>
                </a:cubicBezTo>
                <a:cubicBezTo>
                  <a:pt x="5189806" y="4675863"/>
                  <a:pt x="5190378" y="4676752"/>
                  <a:pt x="5189233" y="4674975"/>
                </a:cubicBezTo>
                <a:cubicBezTo>
                  <a:pt x="5191524" y="4675197"/>
                  <a:pt x="5191524" y="4675197"/>
                  <a:pt x="5193243" y="4674531"/>
                </a:cubicBezTo>
                <a:close/>
                <a:moveTo>
                  <a:pt x="2818455" y="4674531"/>
                </a:moveTo>
                <a:cubicBezTo>
                  <a:pt x="2818455" y="4674531"/>
                  <a:pt x="2817595" y="4676085"/>
                  <a:pt x="2817595" y="4676085"/>
                </a:cubicBezTo>
                <a:cubicBezTo>
                  <a:pt x="2815303" y="4675864"/>
                  <a:pt x="2815876" y="4676752"/>
                  <a:pt x="2814443" y="4674975"/>
                </a:cubicBezTo>
                <a:cubicBezTo>
                  <a:pt x="2817022" y="4675197"/>
                  <a:pt x="2816736" y="4675197"/>
                  <a:pt x="2818455" y="4674531"/>
                </a:cubicBezTo>
                <a:close/>
                <a:moveTo>
                  <a:pt x="2148128" y="4673753"/>
                </a:moveTo>
                <a:cubicBezTo>
                  <a:pt x="2150133" y="4673975"/>
                  <a:pt x="2152138" y="4674420"/>
                  <a:pt x="2153857" y="4674530"/>
                </a:cubicBezTo>
                <a:cubicBezTo>
                  <a:pt x="2155575" y="4672309"/>
                  <a:pt x="2160445" y="4677530"/>
                  <a:pt x="2162164" y="4675308"/>
                </a:cubicBezTo>
                <a:cubicBezTo>
                  <a:pt x="2168753" y="4680529"/>
                  <a:pt x="2177347" y="4675308"/>
                  <a:pt x="2189093" y="4682195"/>
                </a:cubicBezTo>
                <a:cubicBezTo>
                  <a:pt x="2184796" y="4682639"/>
                  <a:pt x="2180784" y="4682751"/>
                  <a:pt x="2177061" y="4682528"/>
                </a:cubicBezTo>
                <a:cubicBezTo>
                  <a:pt x="2166175" y="4681973"/>
                  <a:pt x="2157868" y="4678974"/>
                  <a:pt x="2150134" y="4680085"/>
                </a:cubicBezTo>
                <a:cubicBezTo>
                  <a:pt x="2150134" y="4680085"/>
                  <a:pt x="2150133" y="4680196"/>
                  <a:pt x="2146983" y="4677529"/>
                </a:cubicBezTo>
                <a:cubicBezTo>
                  <a:pt x="2145264" y="4677419"/>
                  <a:pt x="2145264" y="4677419"/>
                  <a:pt x="2145264" y="4677419"/>
                </a:cubicBezTo>
                <a:cubicBezTo>
                  <a:pt x="2143545" y="4677307"/>
                  <a:pt x="2143544" y="4674864"/>
                  <a:pt x="2143544" y="4674864"/>
                </a:cubicBezTo>
                <a:cubicBezTo>
                  <a:pt x="2144691" y="4673754"/>
                  <a:pt x="2146409" y="4673641"/>
                  <a:pt x="2148128" y="4673753"/>
                </a:cubicBezTo>
                <a:close/>
                <a:moveTo>
                  <a:pt x="3214921" y="4673753"/>
                </a:moveTo>
                <a:cubicBezTo>
                  <a:pt x="3216926" y="4673975"/>
                  <a:pt x="3218931" y="4674419"/>
                  <a:pt x="3220650" y="4674531"/>
                </a:cubicBezTo>
                <a:cubicBezTo>
                  <a:pt x="3222370" y="4672309"/>
                  <a:pt x="3227239" y="4677529"/>
                  <a:pt x="3228957" y="4675308"/>
                </a:cubicBezTo>
                <a:cubicBezTo>
                  <a:pt x="3232395" y="4677863"/>
                  <a:pt x="3236119" y="4677974"/>
                  <a:pt x="3240416" y="4678086"/>
                </a:cubicBezTo>
                <a:lnTo>
                  <a:pt x="3247292" y="4678863"/>
                </a:lnTo>
                <a:lnTo>
                  <a:pt x="3247864" y="4678530"/>
                </a:lnTo>
                <a:cubicBezTo>
                  <a:pt x="3250442" y="4678086"/>
                  <a:pt x="3253307" y="4678529"/>
                  <a:pt x="3253593" y="4680196"/>
                </a:cubicBezTo>
                <a:lnTo>
                  <a:pt x="3253307" y="4681195"/>
                </a:lnTo>
                <a:lnTo>
                  <a:pt x="3255885" y="4682195"/>
                </a:lnTo>
                <a:lnTo>
                  <a:pt x="3252734" y="4682196"/>
                </a:lnTo>
                <a:lnTo>
                  <a:pt x="3250729" y="4685749"/>
                </a:lnTo>
                <a:cubicBezTo>
                  <a:pt x="3247864" y="4685084"/>
                  <a:pt x="3245859" y="4684417"/>
                  <a:pt x="3244714" y="4683751"/>
                </a:cubicBezTo>
                <a:lnTo>
                  <a:pt x="3243281" y="4682529"/>
                </a:lnTo>
                <a:lnTo>
                  <a:pt x="3229245" y="4680640"/>
                </a:lnTo>
                <a:cubicBezTo>
                  <a:pt x="3224948" y="4679974"/>
                  <a:pt x="3220650" y="4679529"/>
                  <a:pt x="3216927" y="4680084"/>
                </a:cubicBezTo>
                <a:cubicBezTo>
                  <a:pt x="3216927" y="4680084"/>
                  <a:pt x="3216926" y="4680196"/>
                  <a:pt x="3213776" y="4677530"/>
                </a:cubicBezTo>
                <a:cubicBezTo>
                  <a:pt x="3212056" y="4677419"/>
                  <a:pt x="3212056" y="4677419"/>
                  <a:pt x="3212056" y="4677419"/>
                </a:cubicBezTo>
                <a:cubicBezTo>
                  <a:pt x="3210337" y="4677307"/>
                  <a:pt x="3210338" y="4674863"/>
                  <a:pt x="3210338" y="4674863"/>
                </a:cubicBezTo>
                <a:cubicBezTo>
                  <a:pt x="3211483" y="4673753"/>
                  <a:pt x="3213202" y="4673642"/>
                  <a:pt x="3214921" y="4673753"/>
                </a:cubicBezTo>
                <a:close/>
                <a:moveTo>
                  <a:pt x="4679613" y="4673419"/>
                </a:moveTo>
                <a:cubicBezTo>
                  <a:pt x="4683910" y="4673197"/>
                  <a:pt x="4687920" y="4673642"/>
                  <a:pt x="4690785" y="4675641"/>
                </a:cubicBezTo>
                <a:cubicBezTo>
                  <a:pt x="4687920" y="4677529"/>
                  <a:pt x="4671305" y="4681418"/>
                  <a:pt x="4668440" y="4675641"/>
                </a:cubicBezTo>
                <a:cubicBezTo>
                  <a:pt x="4671305" y="4674642"/>
                  <a:pt x="4675602" y="4673642"/>
                  <a:pt x="4679613" y="4673419"/>
                </a:cubicBezTo>
                <a:close/>
                <a:moveTo>
                  <a:pt x="5520099" y="4672419"/>
                </a:moveTo>
                <a:cubicBezTo>
                  <a:pt x="5523823" y="4673197"/>
                  <a:pt x="5526115" y="4674530"/>
                  <a:pt x="5527547" y="4676086"/>
                </a:cubicBezTo>
                <a:cubicBezTo>
                  <a:pt x="5531844" y="4680529"/>
                  <a:pt x="5527547" y="4686972"/>
                  <a:pt x="5520672" y="4689415"/>
                </a:cubicBezTo>
                <a:cubicBezTo>
                  <a:pt x="5517807" y="4690415"/>
                  <a:pt x="5514370" y="4690749"/>
                  <a:pt x="5510932" y="4689638"/>
                </a:cubicBezTo>
                <a:cubicBezTo>
                  <a:pt x="5510645" y="4682529"/>
                  <a:pt x="5508354" y="4674642"/>
                  <a:pt x="5520099" y="4672419"/>
                </a:cubicBezTo>
                <a:close/>
                <a:moveTo>
                  <a:pt x="3145596" y="4672419"/>
                </a:moveTo>
                <a:cubicBezTo>
                  <a:pt x="3149034" y="4673197"/>
                  <a:pt x="3151613" y="4674531"/>
                  <a:pt x="3153044" y="4676085"/>
                </a:cubicBezTo>
                <a:cubicBezTo>
                  <a:pt x="3157056" y="4680529"/>
                  <a:pt x="3153044" y="4686972"/>
                  <a:pt x="3146170" y="4689416"/>
                </a:cubicBezTo>
                <a:cubicBezTo>
                  <a:pt x="3143305" y="4690416"/>
                  <a:pt x="3139867" y="4690748"/>
                  <a:pt x="3136429" y="4689638"/>
                </a:cubicBezTo>
                <a:cubicBezTo>
                  <a:pt x="3136144" y="4682528"/>
                  <a:pt x="3133852" y="4674642"/>
                  <a:pt x="3145596" y="4672419"/>
                </a:cubicBezTo>
                <a:close/>
                <a:moveTo>
                  <a:pt x="3197734" y="4671975"/>
                </a:moveTo>
                <a:lnTo>
                  <a:pt x="3203749" y="4679862"/>
                </a:lnTo>
                <a:lnTo>
                  <a:pt x="3208618" y="4677530"/>
                </a:lnTo>
                <a:lnTo>
                  <a:pt x="3205181" y="4681862"/>
                </a:lnTo>
                <a:lnTo>
                  <a:pt x="3207760" y="4685083"/>
                </a:lnTo>
                <a:lnTo>
                  <a:pt x="3201743" y="4685195"/>
                </a:lnTo>
                <a:lnTo>
                  <a:pt x="3200884" y="4685861"/>
                </a:lnTo>
                <a:cubicBezTo>
                  <a:pt x="3199738" y="4686416"/>
                  <a:pt x="3198593" y="4686638"/>
                  <a:pt x="3197733" y="4686195"/>
                </a:cubicBezTo>
                <a:lnTo>
                  <a:pt x="3198307" y="4685194"/>
                </a:lnTo>
                <a:lnTo>
                  <a:pt x="3195156" y="4685305"/>
                </a:lnTo>
                <a:cubicBezTo>
                  <a:pt x="3190858" y="4684861"/>
                  <a:pt x="3186561" y="4683972"/>
                  <a:pt x="3182838" y="4683417"/>
                </a:cubicBezTo>
                <a:cubicBezTo>
                  <a:pt x="3187994" y="4679973"/>
                  <a:pt x="3195441" y="4681195"/>
                  <a:pt x="3197734" y="4671975"/>
                </a:cubicBezTo>
                <a:close/>
                <a:moveTo>
                  <a:pt x="2130941" y="4671975"/>
                </a:moveTo>
                <a:cubicBezTo>
                  <a:pt x="2136382" y="4675975"/>
                  <a:pt x="2140393" y="4680307"/>
                  <a:pt x="2140966" y="4685084"/>
                </a:cubicBezTo>
                <a:cubicBezTo>
                  <a:pt x="2132946" y="4686527"/>
                  <a:pt x="2123491" y="4684528"/>
                  <a:pt x="2116043" y="4683417"/>
                </a:cubicBezTo>
                <a:cubicBezTo>
                  <a:pt x="2121200" y="4679974"/>
                  <a:pt x="2128648" y="4681195"/>
                  <a:pt x="2130941" y="4671975"/>
                </a:cubicBezTo>
                <a:close/>
                <a:moveTo>
                  <a:pt x="4964645" y="4671864"/>
                </a:moveTo>
                <a:cubicBezTo>
                  <a:pt x="4965790" y="4672087"/>
                  <a:pt x="4966077" y="4672753"/>
                  <a:pt x="4966077" y="4673197"/>
                </a:cubicBezTo>
                <a:cubicBezTo>
                  <a:pt x="4966077" y="4673642"/>
                  <a:pt x="4965790" y="4674086"/>
                  <a:pt x="4965790" y="4674086"/>
                </a:cubicBezTo>
                <a:cubicBezTo>
                  <a:pt x="4964931" y="4675641"/>
                  <a:pt x="4963785" y="4677197"/>
                  <a:pt x="4961780" y="4676641"/>
                </a:cubicBezTo>
                <a:cubicBezTo>
                  <a:pt x="4961780" y="4676641"/>
                  <a:pt x="4961207" y="4675530"/>
                  <a:pt x="4962926" y="4672419"/>
                </a:cubicBezTo>
                <a:cubicBezTo>
                  <a:pt x="4963499" y="4673419"/>
                  <a:pt x="4965218" y="4672975"/>
                  <a:pt x="4965218" y="4672975"/>
                </a:cubicBezTo>
                <a:cubicBezTo>
                  <a:pt x="4965218" y="4672975"/>
                  <a:pt x="4965218" y="4672864"/>
                  <a:pt x="4964645" y="4671864"/>
                </a:cubicBezTo>
                <a:close/>
                <a:moveTo>
                  <a:pt x="2590142" y="4671864"/>
                </a:moveTo>
                <a:cubicBezTo>
                  <a:pt x="2591289" y="4672087"/>
                  <a:pt x="2591574" y="4672753"/>
                  <a:pt x="2591574" y="4673196"/>
                </a:cubicBezTo>
                <a:cubicBezTo>
                  <a:pt x="2591574" y="4673642"/>
                  <a:pt x="2591288" y="4674086"/>
                  <a:pt x="2591288" y="4674086"/>
                </a:cubicBezTo>
                <a:cubicBezTo>
                  <a:pt x="2590428" y="4675641"/>
                  <a:pt x="2589283" y="4677197"/>
                  <a:pt x="2587277" y="4676641"/>
                </a:cubicBezTo>
                <a:cubicBezTo>
                  <a:pt x="2587277" y="4676641"/>
                  <a:pt x="2586704" y="4675531"/>
                  <a:pt x="2588423" y="4672419"/>
                </a:cubicBezTo>
                <a:cubicBezTo>
                  <a:pt x="2588996" y="4673420"/>
                  <a:pt x="2590715" y="4672976"/>
                  <a:pt x="2590715" y="4672976"/>
                </a:cubicBezTo>
                <a:cubicBezTo>
                  <a:pt x="2590715" y="4672976"/>
                  <a:pt x="2590715" y="4672865"/>
                  <a:pt x="2590142" y="4671864"/>
                </a:cubicBezTo>
                <a:close/>
                <a:moveTo>
                  <a:pt x="6162639" y="4670865"/>
                </a:moveTo>
                <a:cubicBezTo>
                  <a:pt x="6165790" y="4672864"/>
                  <a:pt x="6167796" y="4674974"/>
                  <a:pt x="6169801" y="4677085"/>
                </a:cubicBezTo>
                <a:cubicBezTo>
                  <a:pt x="6174956" y="4683306"/>
                  <a:pt x="6176102" y="4689527"/>
                  <a:pt x="6181832" y="4693081"/>
                </a:cubicBezTo>
                <a:cubicBezTo>
                  <a:pt x="6181832" y="4693081"/>
                  <a:pt x="6181832" y="4693081"/>
                  <a:pt x="6180113" y="4696414"/>
                </a:cubicBezTo>
                <a:cubicBezTo>
                  <a:pt x="6180972" y="4697302"/>
                  <a:pt x="6180972" y="4697302"/>
                  <a:pt x="6180972" y="4697302"/>
                </a:cubicBezTo>
                <a:cubicBezTo>
                  <a:pt x="6181832" y="4698302"/>
                  <a:pt x="6178680" y="4699636"/>
                  <a:pt x="6178680" y="4699636"/>
                </a:cubicBezTo>
                <a:cubicBezTo>
                  <a:pt x="6174957" y="4699857"/>
                  <a:pt x="6174097" y="4696303"/>
                  <a:pt x="6172665" y="4694303"/>
                </a:cubicBezTo>
                <a:cubicBezTo>
                  <a:pt x="6168941" y="4694525"/>
                  <a:pt x="6172665" y="4688971"/>
                  <a:pt x="6168941" y="4689304"/>
                </a:cubicBezTo>
                <a:cubicBezTo>
                  <a:pt x="6171806" y="4682751"/>
                  <a:pt x="6160347" y="4680973"/>
                  <a:pt x="6162639" y="4670865"/>
                </a:cubicBezTo>
                <a:close/>
                <a:moveTo>
                  <a:pt x="4854929" y="4670865"/>
                </a:moveTo>
                <a:cubicBezTo>
                  <a:pt x="4858080" y="4672864"/>
                  <a:pt x="4860085" y="4674975"/>
                  <a:pt x="4862090" y="4677086"/>
                </a:cubicBezTo>
                <a:cubicBezTo>
                  <a:pt x="4867247" y="4683305"/>
                  <a:pt x="4868393" y="4689527"/>
                  <a:pt x="4874122" y="4693081"/>
                </a:cubicBezTo>
                <a:cubicBezTo>
                  <a:pt x="4874122" y="4693081"/>
                  <a:pt x="4874122" y="4693081"/>
                  <a:pt x="4872403" y="4696414"/>
                </a:cubicBezTo>
                <a:cubicBezTo>
                  <a:pt x="4873262" y="4697302"/>
                  <a:pt x="4873262" y="4697302"/>
                  <a:pt x="4873262" y="4697302"/>
                </a:cubicBezTo>
                <a:cubicBezTo>
                  <a:pt x="4874122" y="4698302"/>
                  <a:pt x="4870970" y="4699636"/>
                  <a:pt x="4870970" y="4699636"/>
                </a:cubicBezTo>
                <a:cubicBezTo>
                  <a:pt x="4867247" y="4699857"/>
                  <a:pt x="4866388" y="4696303"/>
                  <a:pt x="4864955" y="4694303"/>
                </a:cubicBezTo>
                <a:cubicBezTo>
                  <a:pt x="4861231" y="4694526"/>
                  <a:pt x="4864955" y="4688971"/>
                  <a:pt x="4860944" y="4689304"/>
                </a:cubicBezTo>
                <a:cubicBezTo>
                  <a:pt x="4864096" y="4682751"/>
                  <a:pt x="4852637" y="4680973"/>
                  <a:pt x="4854929" y="4670865"/>
                </a:cubicBezTo>
                <a:close/>
                <a:moveTo>
                  <a:pt x="4987275" y="4669421"/>
                </a:moveTo>
                <a:cubicBezTo>
                  <a:pt x="4990713" y="4669087"/>
                  <a:pt x="4994150" y="4670198"/>
                  <a:pt x="4995869" y="4673531"/>
                </a:cubicBezTo>
                <a:cubicBezTo>
                  <a:pt x="4993578" y="4676752"/>
                  <a:pt x="4983551" y="4680084"/>
                  <a:pt x="4979254" y="4678640"/>
                </a:cubicBezTo>
                <a:cubicBezTo>
                  <a:pt x="4978682" y="4677085"/>
                  <a:pt x="4977822" y="4675641"/>
                  <a:pt x="4977249" y="4674086"/>
                </a:cubicBezTo>
                <a:cubicBezTo>
                  <a:pt x="4980114" y="4671642"/>
                  <a:pt x="4983838" y="4669754"/>
                  <a:pt x="4987275" y="4669421"/>
                </a:cubicBezTo>
                <a:close/>
                <a:moveTo>
                  <a:pt x="2612774" y="4669421"/>
                </a:moveTo>
                <a:cubicBezTo>
                  <a:pt x="2616210" y="4669087"/>
                  <a:pt x="2619361" y="4670198"/>
                  <a:pt x="2621367" y="4673531"/>
                </a:cubicBezTo>
                <a:cubicBezTo>
                  <a:pt x="2618788" y="4676752"/>
                  <a:pt x="2609049" y="4680084"/>
                  <a:pt x="2604752" y="4678641"/>
                </a:cubicBezTo>
                <a:cubicBezTo>
                  <a:pt x="2604179" y="4677085"/>
                  <a:pt x="2603320" y="4675641"/>
                  <a:pt x="2602746" y="4674086"/>
                </a:cubicBezTo>
                <a:cubicBezTo>
                  <a:pt x="2605612" y="4671642"/>
                  <a:pt x="2609335" y="4669754"/>
                  <a:pt x="2612774" y="4669421"/>
                </a:cubicBezTo>
                <a:close/>
                <a:moveTo>
                  <a:pt x="5351658" y="4667977"/>
                </a:moveTo>
                <a:cubicBezTo>
                  <a:pt x="5352518" y="4668977"/>
                  <a:pt x="5353377" y="4670087"/>
                  <a:pt x="5353950" y="4671087"/>
                </a:cubicBezTo>
                <a:cubicBezTo>
                  <a:pt x="5353377" y="4672642"/>
                  <a:pt x="5353377" y="4672642"/>
                  <a:pt x="5351372" y="4672198"/>
                </a:cubicBezTo>
                <a:cubicBezTo>
                  <a:pt x="5350512" y="4671198"/>
                  <a:pt x="5349653" y="4670198"/>
                  <a:pt x="5351085" y="4669532"/>
                </a:cubicBezTo>
                <a:cubicBezTo>
                  <a:pt x="5350226" y="4668643"/>
                  <a:pt x="5350512" y="4668532"/>
                  <a:pt x="5351658" y="4667977"/>
                </a:cubicBezTo>
                <a:close/>
                <a:moveTo>
                  <a:pt x="2977155" y="4667977"/>
                </a:moveTo>
                <a:cubicBezTo>
                  <a:pt x="2978015" y="4668976"/>
                  <a:pt x="2978588" y="4670087"/>
                  <a:pt x="2979448" y="4671087"/>
                </a:cubicBezTo>
                <a:cubicBezTo>
                  <a:pt x="2978875" y="4672642"/>
                  <a:pt x="2978875" y="4672642"/>
                  <a:pt x="2976582" y="4672198"/>
                </a:cubicBezTo>
                <a:cubicBezTo>
                  <a:pt x="2976010" y="4671198"/>
                  <a:pt x="2975150" y="4670198"/>
                  <a:pt x="2976582" y="4669532"/>
                </a:cubicBezTo>
                <a:cubicBezTo>
                  <a:pt x="2975723" y="4668643"/>
                  <a:pt x="2975723" y="4668532"/>
                  <a:pt x="2977155" y="4667977"/>
                </a:cubicBezTo>
                <a:close/>
                <a:moveTo>
                  <a:pt x="6019120" y="4667087"/>
                </a:moveTo>
                <a:cubicBezTo>
                  <a:pt x="6020551" y="4667532"/>
                  <a:pt x="6021412" y="4668532"/>
                  <a:pt x="6021984" y="4669866"/>
                </a:cubicBezTo>
                <a:cubicBezTo>
                  <a:pt x="6023704" y="4673864"/>
                  <a:pt x="6022558" y="4680862"/>
                  <a:pt x="6020840" y="4684528"/>
                </a:cubicBezTo>
                <a:cubicBezTo>
                  <a:pt x="6015682" y="4682751"/>
                  <a:pt x="6017114" y="4671864"/>
                  <a:pt x="6019120" y="4667087"/>
                </a:cubicBezTo>
                <a:close/>
                <a:moveTo>
                  <a:pt x="5367127" y="4666977"/>
                </a:moveTo>
                <a:cubicBezTo>
                  <a:pt x="5368273" y="4666422"/>
                  <a:pt x="5368273" y="4666422"/>
                  <a:pt x="5369132" y="4667421"/>
                </a:cubicBezTo>
                <a:lnTo>
                  <a:pt x="5369419" y="4666977"/>
                </a:lnTo>
                <a:lnTo>
                  <a:pt x="5372284" y="4668754"/>
                </a:lnTo>
                <a:cubicBezTo>
                  <a:pt x="5372856" y="4669865"/>
                  <a:pt x="5373143" y="4671198"/>
                  <a:pt x="5373143" y="4672531"/>
                </a:cubicBezTo>
                <a:cubicBezTo>
                  <a:pt x="5371710" y="4673197"/>
                  <a:pt x="5371710" y="4673197"/>
                  <a:pt x="5369420" y="4672753"/>
                </a:cubicBezTo>
                <a:cubicBezTo>
                  <a:pt x="5367986" y="4673309"/>
                  <a:pt x="5367700" y="4667977"/>
                  <a:pt x="5367127" y="4666977"/>
                </a:cubicBezTo>
                <a:close/>
                <a:moveTo>
                  <a:pt x="2992339" y="4666977"/>
                </a:moveTo>
                <a:cubicBezTo>
                  <a:pt x="2993770" y="4666422"/>
                  <a:pt x="2993770" y="4666422"/>
                  <a:pt x="2994631" y="4667421"/>
                </a:cubicBezTo>
                <a:lnTo>
                  <a:pt x="2994631" y="4666977"/>
                </a:lnTo>
                <a:lnTo>
                  <a:pt x="2997781" y="4668754"/>
                </a:lnTo>
                <a:cubicBezTo>
                  <a:pt x="2998354" y="4669865"/>
                  <a:pt x="2998640" y="4671198"/>
                  <a:pt x="2998640" y="4672531"/>
                </a:cubicBezTo>
                <a:cubicBezTo>
                  <a:pt x="2997209" y="4673197"/>
                  <a:pt x="2997209" y="4673197"/>
                  <a:pt x="2994916" y="4672753"/>
                </a:cubicBezTo>
                <a:cubicBezTo>
                  <a:pt x="2993484" y="4673308"/>
                  <a:pt x="2993197" y="4667977"/>
                  <a:pt x="2992339" y="4666977"/>
                </a:cubicBezTo>
                <a:close/>
                <a:moveTo>
                  <a:pt x="5369420" y="4666088"/>
                </a:moveTo>
                <a:lnTo>
                  <a:pt x="5369419" y="4666977"/>
                </a:lnTo>
                <a:lnTo>
                  <a:pt x="5368273" y="4666310"/>
                </a:lnTo>
                <a:cubicBezTo>
                  <a:pt x="5369132" y="4666088"/>
                  <a:pt x="5369419" y="4665977"/>
                  <a:pt x="5369420" y="4666088"/>
                </a:cubicBezTo>
                <a:close/>
                <a:moveTo>
                  <a:pt x="3141014" y="4666088"/>
                </a:moveTo>
                <a:cubicBezTo>
                  <a:pt x="3143305" y="4666310"/>
                  <a:pt x="3145023" y="4666199"/>
                  <a:pt x="3145884" y="4666200"/>
                </a:cubicBezTo>
                <a:cubicBezTo>
                  <a:pt x="3147030" y="4666200"/>
                  <a:pt x="3147601" y="4666199"/>
                  <a:pt x="3147315" y="4666754"/>
                </a:cubicBezTo>
                <a:cubicBezTo>
                  <a:pt x="3149034" y="4666977"/>
                  <a:pt x="3149034" y="4668088"/>
                  <a:pt x="3147315" y="4667977"/>
                </a:cubicBezTo>
                <a:cubicBezTo>
                  <a:pt x="3145597" y="4670087"/>
                  <a:pt x="3142446" y="4667421"/>
                  <a:pt x="3141014" y="4666088"/>
                </a:cubicBezTo>
                <a:close/>
                <a:moveTo>
                  <a:pt x="2994917" y="4666088"/>
                </a:moveTo>
                <a:lnTo>
                  <a:pt x="2994631" y="4666977"/>
                </a:lnTo>
                <a:lnTo>
                  <a:pt x="2993770" y="4666311"/>
                </a:lnTo>
                <a:cubicBezTo>
                  <a:pt x="2994343" y="4666087"/>
                  <a:pt x="2994916" y="4665977"/>
                  <a:pt x="2994917" y="4666088"/>
                </a:cubicBezTo>
                <a:close/>
                <a:moveTo>
                  <a:pt x="2435451" y="4664311"/>
                </a:moveTo>
                <a:cubicBezTo>
                  <a:pt x="2435165" y="4669643"/>
                  <a:pt x="2435451" y="4675086"/>
                  <a:pt x="2434305" y="4680418"/>
                </a:cubicBezTo>
                <a:cubicBezTo>
                  <a:pt x="2433159" y="4685749"/>
                  <a:pt x="2430295" y="4690971"/>
                  <a:pt x="2424280" y="4695969"/>
                </a:cubicBezTo>
                <a:cubicBezTo>
                  <a:pt x="2411103" y="4684417"/>
                  <a:pt x="2425711" y="4669976"/>
                  <a:pt x="2435451" y="4664311"/>
                </a:cubicBezTo>
                <a:close/>
                <a:moveTo>
                  <a:pt x="4738052" y="4661867"/>
                </a:moveTo>
                <a:cubicBezTo>
                  <a:pt x="4742635" y="4662644"/>
                  <a:pt x="4746932" y="4664422"/>
                  <a:pt x="4749796" y="4668198"/>
                </a:cubicBezTo>
                <a:cubicBezTo>
                  <a:pt x="4749795" y="4671976"/>
                  <a:pt x="4738338" y="4675641"/>
                  <a:pt x="4727166" y="4677529"/>
                </a:cubicBezTo>
                <a:cubicBezTo>
                  <a:pt x="4724301" y="4678418"/>
                  <a:pt x="4720865" y="4678973"/>
                  <a:pt x="4717426" y="4678863"/>
                </a:cubicBezTo>
                <a:lnTo>
                  <a:pt x="4714561" y="4678530"/>
                </a:lnTo>
                <a:lnTo>
                  <a:pt x="4713129" y="4684528"/>
                </a:lnTo>
                <a:lnTo>
                  <a:pt x="4712842" y="4684195"/>
                </a:lnTo>
                <a:lnTo>
                  <a:pt x="4712842" y="4685083"/>
                </a:lnTo>
                <a:cubicBezTo>
                  <a:pt x="4710837" y="4684528"/>
                  <a:pt x="4709692" y="4686083"/>
                  <a:pt x="4708546" y="4687526"/>
                </a:cubicBezTo>
                <a:cubicBezTo>
                  <a:pt x="4706827" y="4687083"/>
                  <a:pt x="4704822" y="4686527"/>
                  <a:pt x="4703103" y="4685861"/>
                </a:cubicBezTo>
                <a:lnTo>
                  <a:pt x="4701670" y="4684528"/>
                </a:lnTo>
                <a:lnTo>
                  <a:pt x="4696228" y="4686861"/>
                </a:lnTo>
                <a:cubicBezTo>
                  <a:pt x="4690498" y="4683084"/>
                  <a:pt x="4682191" y="4685083"/>
                  <a:pt x="4676462" y="4683195"/>
                </a:cubicBezTo>
                <a:cubicBezTo>
                  <a:pt x="4690498" y="4681307"/>
                  <a:pt x="4693363" y="4677641"/>
                  <a:pt x="4701957" y="4673863"/>
                </a:cubicBezTo>
                <a:cubicBezTo>
                  <a:pt x="4701957" y="4673863"/>
                  <a:pt x="4701957" y="4673863"/>
                  <a:pt x="4699092" y="4666311"/>
                </a:cubicBezTo>
                <a:cubicBezTo>
                  <a:pt x="4704822" y="4666311"/>
                  <a:pt x="4707400" y="4664533"/>
                  <a:pt x="4713129" y="4664533"/>
                </a:cubicBezTo>
                <a:cubicBezTo>
                  <a:pt x="4715994" y="4662644"/>
                  <a:pt x="4721723" y="4660756"/>
                  <a:pt x="4724588" y="4662644"/>
                </a:cubicBezTo>
                <a:cubicBezTo>
                  <a:pt x="4728598" y="4661644"/>
                  <a:pt x="4733468" y="4661201"/>
                  <a:pt x="4738052" y="4661867"/>
                </a:cubicBezTo>
                <a:close/>
                <a:moveTo>
                  <a:pt x="5785938" y="4660423"/>
                </a:moveTo>
                <a:cubicBezTo>
                  <a:pt x="5788802" y="4664311"/>
                  <a:pt x="5790235" y="4665754"/>
                  <a:pt x="5791668" y="4668309"/>
                </a:cubicBezTo>
                <a:cubicBezTo>
                  <a:pt x="5793386" y="4668421"/>
                  <a:pt x="5795105" y="4668643"/>
                  <a:pt x="5796537" y="4669976"/>
                </a:cubicBezTo>
                <a:cubicBezTo>
                  <a:pt x="5799688" y="4672753"/>
                  <a:pt x="5797683" y="4674863"/>
                  <a:pt x="5799117" y="4677418"/>
                </a:cubicBezTo>
                <a:cubicBezTo>
                  <a:pt x="5797396" y="4678418"/>
                  <a:pt x="5793959" y="4679307"/>
                  <a:pt x="5791094" y="4676530"/>
                </a:cubicBezTo>
                <a:cubicBezTo>
                  <a:pt x="5786224" y="4673642"/>
                  <a:pt x="5786511" y="4670087"/>
                  <a:pt x="5788516" y="4666755"/>
                </a:cubicBezTo>
                <a:cubicBezTo>
                  <a:pt x="5787084" y="4664200"/>
                  <a:pt x="5783932" y="4662644"/>
                  <a:pt x="5785938" y="4660423"/>
                </a:cubicBezTo>
                <a:close/>
                <a:moveTo>
                  <a:pt x="3411150" y="4660423"/>
                </a:moveTo>
                <a:cubicBezTo>
                  <a:pt x="3414301" y="4664311"/>
                  <a:pt x="3415733" y="4665755"/>
                  <a:pt x="3417164" y="4668309"/>
                </a:cubicBezTo>
                <a:cubicBezTo>
                  <a:pt x="3418883" y="4668421"/>
                  <a:pt x="3420602" y="4668643"/>
                  <a:pt x="3422034" y="4669976"/>
                </a:cubicBezTo>
                <a:cubicBezTo>
                  <a:pt x="3425186" y="4672753"/>
                  <a:pt x="3423180" y="4674864"/>
                  <a:pt x="3424613" y="4677419"/>
                </a:cubicBezTo>
                <a:cubicBezTo>
                  <a:pt x="3422894" y="4678418"/>
                  <a:pt x="3419456" y="4679307"/>
                  <a:pt x="3416305" y="4676530"/>
                </a:cubicBezTo>
                <a:cubicBezTo>
                  <a:pt x="3411723" y="4673642"/>
                  <a:pt x="3412009" y="4670087"/>
                  <a:pt x="3414013" y="4666755"/>
                </a:cubicBezTo>
                <a:cubicBezTo>
                  <a:pt x="3412581" y="4664199"/>
                  <a:pt x="3409430" y="4662645"/>
                  <a:pt x="3411150" y="4660423"/>
                </a:cubicBezTo>
                <a:close/>
                <a:moveTo>
                  <a:pt x="5555334" y="4660312"/>
                </a:moveTo>
                <a:cubicBezTo>
                  <a:pt x="5558485" y="4661978"/>
                  <a:pt x="5561350" y="4664756"/>
                  <a:pt x="5564214" y="4667532"/>
                </a:cubicBezTo>
                <a:cubicBezTo>
                  <a:pt x="5557626" y="4674863"/>
                  <a:pt x="5545022" y="4661089"/>
                  <a:pt x="5555334" y="4660312"/>
                </a:cubicBezTo>
                <a:close/>
                <a:moveTo>
                  <a:pt x="6432202" y="4659646"/>
                </a:moveTo>
                <a:cubicBezTo>
                  <a:pt x="6433061" y="4663311"/>
                  <a:pt x="6435352" y="4665644"/>
                  <a:pt x="6437072" y="4667532"/>
                </a:cubicBezTo>
                <a:cubicBezTo>
                  <a:pt x="6438504" y="4669421"/>
                  <a:pt x="6439363" y="4670976"/>
                  <a:pt x="6436498" y="4673420"/>
                </a:cubicBezTo>
                <a:cubicBezTo>
                  <a:pt x="6429624" y="4672531"/>
                  <a:pt x="6427045" y="4663533"/>
                  <a:pt x="6432202" y="4659646"/>
                </a:cubicBezTo>
                <a:close/>
                <a:moveTo>
                  <a:pt x="4943160" y="4659089"/>
                </a:moveTo>
                <a:cubicBezTo>
                  <a:pt x="4945452" y="4661089"/>
                  <a:pt x="4947457" y="4663088"/>
                  <a:pt x="4948604" y="4665199"/>
                </a:cubicBezTo>
                <a:cubicBezTo>
                  <a:pt x="4950035" y="4667311"/>
                  <a:pt x="4950608" y="4669643"/>
                  <a:pt x="4950322" y="4671976"/>
                </a:cubicBezTo>
                <a:lnTo>
                  <a:pt x="4939722" y="4672419"/>
                </a:lnTo>
                <a:lnTo>
                  <a:pt x="4940582" y="4674974"/>
                </a:lnTo>
                <a:cubicBezTo>
                  <a:pt x="4940868" y="4675974"/>
                  <a:pt x="4940582" y="4677085"/>
                  <a:pt x="4939722" y="4678196"/>
                </a:cubicBezTo>
                <a:lnTo>
                  <a:pt x="4936858" y="4678529"/>
                </a:lnTo>
                <a:lnTo>
                  <a:pt x="4945452" y="4683750"/>
                </a:lnTo>
                <a:cubicBezTo>
                  <a:pt x="4946884" y="4685417"/>
                  <a:pt x="4948030" y="4687083"/>
                  <a:pt x="4948603" y="4688860"/>
                </a:cubicBezTo>
                <a:cubicBezTo>
                  <a:pt x="4949748" y="4691526"/>
                  <a:pt x="4949748" y="4694526"/>
                  <a:pt x="4949748" y="4697525"/>
                </a:cubicBezTo>
                <a:lnTo>
                  <a:pt x="4949462" y="4698190"/>
                </a:lnTo>
                <a:lnTo>
                  <a:pt x="4954332" y="4699857"/>
                </a:lnTo>
                <a:cubicBezTo>
                  <a:pt x="4953186" y="4700857"/>
                  <a:pt x="4951467" y="4701746"/>
                  <a:pt x="4948889" y="4702412"/>
                </a:cubicBezTo>
                <a:lnTo>
                  <a:pt x="4948889" y="4702524"/>
                </a:lnTo>
                <a:lnTo>
                  <a:pt x="4948316" y="4706744"/>
                </a:lnTo>
                <a:cubicBezTo>
                  <a:pt x="4945165" y="4706411"/>
                  <a:pt x="4942587" y="4705634"/>
                  <a:pt x="4940582" y="4704523"/>
                </a:cubicBezTo>
                <a:lnTo>
                  <a:pt x="4940009" y="4703745"/>
                </a:lnTo>
                <a:lnTo>
                  <a:pt x="4931701" y="4702857"/>
                </a:lnTo>
                <a:cubicBezTo>
                  <a:pt x="4928837" y="4702080"/>
                  <a:pt x="4925972" y="4700746"/>
                  <a:pt x="4923967" y="4698635"/>
                </a:cubicBezTo>
                <a:cubicBezTo>
                  <a:pt x="4926832" y="4696747"/>
                  <a:pt x="4929410" y="4695636"/>
                  <a:pt x="4932274" y="4695081"/>
                </a:cubicBezTo>
                <a:lnTo>
                  <a:pt x="4935425" y="4695080"/>
                </a:lnTo>
                <a:lnTo>
                  <a:pt x="4934280" y="4686861"/>
                </a:lnTo>
                <a:lnTo>
                  <a:pt x="4936571" y="4678641"/>
                </a:lnTo>
                <a:lnTo>
                  <a:pt x="4931128" y="4679307"/>
                </a:lnTo>
                <a:cubicBezTo>
                  <a:pt x="4915373" y="4673753"/>
                  <a:pt x="4917951" y="4666865"/>
                  <a:pt x="4915659" y="4666200"/>
                </a:cubicBezTo>
                <a:cubicBezTo>
                  <a:pt x="4919097" y="4661533"/>
                  <a:pt x="4923680" y="4662867"/>
                  <a:pt x="4931128" y="4663199"/>
                </a:cubicBezTo>
                <a:cubicBezTo>
                  <a:pt x="4930556" y="4663977"/>
                  <a:pt x="4931988" y="4664866"/>
                  <a:pt x="4933706" y="4665643"/>
                </a:cubicBezTo>
                <a:lnTo>
                  <a:pt x="4935998" y="4666532"/>
                </a:lnTo>
                <a:lnTo>
                  <a:pt x="4939722" y="4664311"/>
                </a:lnTo>
                <a:cubicBezTo>
                  <a:pt x="4940868" y="4663089"/>
                  <a:pt x="4942014" y="4661423"/>
                  <a:pt x="4943160" y="4659089"/>
                </a:cubicBezTo>
                <a:close/>
                <a:moveTo>
                  <a:pt x="2568657" y="4659089"/>
                </a:moveTo>
                <a:cubicBezTo>
                  <a:pt x="2570949" y="4661090"/>
                  <a:pt x="2572955" y="4663089"/>
                  <a:pt x="2574101" y="4665199"/>
                </a:cubicBezTo>
                <a:cubicBezTo>
                  <a:pt x="2575532" y="4667310"/>
                  <a:pt x="2576106" y="4669643"/>
                  <a:pt x="2575819" y="4671975"/>
                </a:cubicBezTo>
                <a:lnTo>
                  <a:pt x="2564933" y="4672420"/>
                </a:lnTo>
                <a:lnTo>
                  <a:pt x="2566079" y="4674974"/>
                </a:lnTo>
                <a:cubicBezTo>
                  <a:pt x="2566365" y="4675975"/>
                  <a:pt x="2566079" y="4677085"/>
                  <a:pt x="2565219" y="4678196"/>
                </a:cubicBezTo>
                <a:lnTo>
                  <a:pt x="2562355" y="4678530"/>
                </a:lnTo>
                <a:lnTo>
                  <a:pt x="2570950" y="4683750"/>
                </a:lnTo>
                <a:cubicBezTo>
                  <a:pt x="2572381" y="4685417"/>
                  <a:pt x="2573240" y="4687082"/>
                  <a:pt x="2574101" y="4688861"/>
                </a:cubicBezTo>
                <a:cubicBezTo>
                  <a:pt x="2574959" y="4691526"/>
                  <a:pt x="2575246" y="4694525"/>
                  <a:pt x="2574960" y="4697524"/>
                </a:cubicBezTo>
                <a:lnTo>
                  <a:pt x="2574959" y="4698191"/>
                </a:lnTo>
                <a:lnTo>
                  <a:pt x="2579830" y="4699857"/>
                </a:lnTo>
                <a:cubicBezTo>
                  <a:pt x="2578683" y="4700856"/>
                  <a:pt x="2576965" y="4701746"/>
                  <a:pt x="2574386" y="4702412"/>
                </a:cubicBezTo>
                <a:lnTo>
                  <a:pt x="2574386" y="4702523"/>
                </a:lnTo>
                <a:lnTo>
                  <a:pt x="2573527" y="4706745"/>
                </a:lnTo>
                <a:cubicBezTo>
                  <a:pt x="2570662" y="4706411"/>
                  <a:pt x="2568085" y="4705633"/>
                  <a:pt x="2566079" y="4704523"/>
                </a:cubicBezTo>
                <a:lnTo>
                  <a:pt x="2565506" y="4703746"/>
                </a:lnTo>
                <a:lnTo>
                  <a:pt x="2557198" y="4702857"/>
                </a:lnTo>
                <a:cubicBezTo>
                  <a:pt x="2554335" y="4702079"/>
                  <a:pt x="2551469" y="4700746"/>
                  <a:pt x="2549177" y="4698635"/>
                </a:cubicBezTo>
                <a:cubicBezTo>
                  <a:pt x="2552330" y="4696747"/>
                  <a:pt x="2554907" y="4695636"/>
                  <a:pt x="2557771" y="4695081"/>
                </a:cubicBezTo>
                <a:lnTo>
                  <a:pt x="2560924" y="4695081"/>
                </a:lnTo>
                <a:lnTo>
                  <a:pt x="2559777" y="4686861"/>
                </a:lnTo>
                <a:lnTo>
                  <a:pt x="2561782" y="4678640"/>
                </a:lnTo>
                <a:lnTo>
                  <a:pt x="2556339" y="4679307"/>
                </a:lnTo>
                <a:cubicBezTo>
                  <a:pt x="2540870" y="4673753"/>
                  <a:pt x="2543449" y="4666866"/>
                  <a:pt x="2541156" y="4666199"/>
                </a:cubicBezTo>
                <a:cubicBezTo>
                  <a:pt x="2544594" y="4661534"/>
                  <a:pt x="2548891" y="4662867"/>
                  <a:pt x="2556339" y="4663199"/>
                </a:cubicBezTo>
                <a:cubicBezTo>
                  <a:pt x="2555766" y="4663978"/>
                  <a:pt x="2557198" y="4664865"/>
                  <a:pt x="2558917" y="4665644"/>
                </a:cubicBezTo>
                <a:lnTo>
                  <a:pt x="2561495" y="4666532"/>
                </a:lnTo>
                <a:lnTo>
                  <a:pt x="2564933" y="4664310"/>
                </a:lnTo>
                <a:cubicBezTo>
                  <a:pt x="2566365" y="4663088"/>
                  <a:pt x="2567511" y="4661423"/>
                  <a:pt x="2568657" y="4659089"/>
                </a:cubicBezTo>
                <a:close/>
                <a:moveTo>
                  <a:pt x="3357866" y="4658201"/>
                </a:moveTo>
                <a:cubicBezTo>
                  <a:pt x="3366460" y="4658423"/>
                  <a:pt x="3371903" y="4664533"/>
                  <a:pt x="3363596" y="4668977"/>
                </a:cubicBezTo>
                <a:cubicBezTo>
                  <a:pt x="3358440" y="4665310"/>
                  <a:pt x="3353283" y="4661534"/>
                  <a:pt x="3357866" y="4658201"/>
                </a:cubicBezTo>
                <a:close/>
                <a:moveTo>
                  <a:pt x="2291073" y="4658201"/>
                </a:moveTo>
                <a:cubicBezTo>
                  <a:pt x="2299667" y="4658423"/>
                  <a:pt x="2305110" y="4664533"/>
                  <a:pt x="2296802" y="4668976"/>
                </a:cubicBezTo>
                <a:cubicBezTo>
                  <a:pt x="2291646" y="4665311"/>
                  <a:pt x="2286490" y="4661534"/>
                  <a:pt x="2291073" y="4658201"/>
                </a:cubicBezTo>
                <a:close/>
                <a:moveTo>
                  <a:pt x="3323205" y="4658091"/>
                </a:moveTo>
                <a:cubicBezTo>
                  <a:pt x="3326928" y="4658312"/>
                  <a:pt x="3330652" y="4659868"/>
                  <a:pt x="3334090" y="4662089"/>
                </a:cubicBezTo>
                <a:lnTo>
                  <a:pt x="3338100" y="4665532"/>
                </a:lnTo>
                <a:lnTo>
                  <a:pt x="3339820" y="4665088"/>
                </a:lnTo>
                <a:cubicBezTo>
                  <a:pt x="3343258" y="4664200"/>
                  <a:pt x="3346408" y="4663311"/>
                  <a:pt x="3349559" y="4663533"/>
                </a:cubicBezTo>
                <a:cubicBezTo>
                  <a:pt x="3350705" y="4663867"/>
                  <a:pt x="3351851" y="4664088"/>
                  <a:pt x="3352424" y="4664755"/>
                </a:cubicBezTo>
                <a:cubicBezTo>
                  <a:pt x="3352996" y="4665310"/>
                  <a:pt x="3352996" y="4666199"/>
                  <a:pt x="3352137" y="4667754"/>
                </a:cubicBezTo>
                <a:cubicBezTo>
                  <a:pt x="3351565" y="4670421"/>
                  <a:pt x="3350132" y="4670976"/>
                  <a:pt x="3344116" y="4670420"/>
                </a:cubicBezTo>
                <a:lnTo>
                  <a:pt x="3350991" y="4679751"/>
                </a:lnTo>
                <a:cubicBezTo>
                  <a:pt x="3352996" y="4682751"/>
                  <a:pt x="3354142" y="4685417"/>
                  <a:pt x="3354429" y="4687305"/>
                </a:cubicBezTo>
                <a:cubicBezTo>
                  <a:pt x="3341825" y="4680640"/>
                  <a:pt x="3321773" y="4669087"/>
                  <a:pt x="3316903" y="4658868"/>
                </a:cubicBezTo>
                <a:cubicBezTo>
                  <a:pt x="3318907" y="4658090"/>
                  <a:pt x="3320912" y="4657868"/>
                  <a:pt x="3323205" y="4658091"/>
                </a:cubicBezTo>
                <a:close/>
                <a:moveTo>
                  <a:pt x="5697708" y="4658090"/>
                </a:moveTo>
                <a:cubicBezTo>
                  <a:pt x="5701431" y="4658312"/>
                  <a:pt x="5705155" y="4659868"/>
                  <a:pt x="5708593" y="4662089"/>
                </a:cubicBezTo>
                <a:lnTo>
                  <a:pt x="5712603" y="4665533"/>
                </a:lnTo>
                <a:lnTo>
                  <a:pt x="5714322" y="4665088"/>
                </a:lnTo>
                <a:cubicBezTo>
                  <a:pt x="5717760" y="4664199"/>
                  <a:pt x="5721197" y="4663311"/>
                  <a:pt x="5724062" y="4663533"/>
                </a:cubicBezTo>
                <a:cubicBezTo>
                  <a:pt x="5725209" y="4663867"/>
                  <a:pt x="5726354" y="4664089"/>
                  <a:pt x="5726926" y="4664756"/>
                </a:cubicBezTo>
                <a:cubicBezTo>
                  <a:pt x="5727500" y="4665310"/>
                  <a:pt x="5727500" y="4666199"/>
                  <a:pt x="5726640" y="4667755"/>
                </a:cubicBezTo>
                <a:cubicBezTo>
                  <a:pt x="5726067" y="4670420"/>
                  <a:pt x="5724634" y="4670976"/>
                  <a:pt x="5718619" y="4670421"/>
                </a:cubicBezTo>
                <a:lnTo>
                  <a:pt x="5725494" y="4679752"/>
                </a:lnTo>
                <a:cubicBezTo>
                  <a:pt x="5727500" y="4682751"/>
                  <a:pt x="5728645" y="4685417"/>
                  <a:pt x="5729218" y="4687305"/>
                </a:cubicBezTo>
                <a:cubicBezTo>
                  <a:pt x="5716615" y="4680640"/>
                  <a:pt x="5696275" y="4669087"/>
                  <a:pt x="5691405" y="4658867"/>
                </a:cubicBezTo>
                <a:cubicBezTo>
                  <a:pt x="5693410" y="4658090"/>
                  <a:pt x="5695702" y="4657868"/>
                  <a:pt x="5697708" y="4658090"/>
                </a:cubicBezTo>
                <a:close/>
                <a:moveTo>
                  <a:pt x="5015635" y="4654980"/>
                </a:moveTo>
                <a:cubicBezTo>
                  <a:pt x="5017354" y="4654980"/>
                  <a:pt x="5018786" y="4655091"/>
                  <a:pt x="5019647" y="4655535"/>
                </a:cubicBezTo>
                <a:cubicBezTo>
                  <a:pt x="5020792" y="4658091"/>
                  <a:pt x="5008760" y="4666866"/>
                  <a:pt x="5004750" y="4661423"/>
                </a:cubicBezTo>
                <a:cubicBezTo>
                  <a:pt x="5002744" y="4657646"/>
                  <a:pt x="5010479" y="4655313"/>
                  <a:pt x="5015635" y="4654980"/>
                </a:cubicBezTo>
                <a:close/>
                <a:moveTo>
                  <a:pt x="2640846" y="4654979"/>
                </a:moveTo>
                <a:cubicBezTo>
                  <a:pt x="2642851" y="4654979"/>
                  <a:pt x="2644284" y="4655091"/>
                  <a:pt x="2645143" y="4655535"/>
                </a:cubicBezTo>
                <a:cubicBezTo>
                  <a:pt x="2646289" y="4658090"/>
                  <a:pt x="2634257" y="4666866"/>
                  <a:pt x="2630247" y="4661423"/>
                </a:cubicBezTo>
                <a:cubicBezTo>
                  <a:pt x="2628242" y="4657646"/>
                  <a:pt x="2635690" y="4655313"/>
                  <a:pt x="2640846" y="4654979"/>
                </a:cubicBezTo>
                <a:close/>
                <a:moveTo>
                  <a:pt x="6085007" y="4654425"/>
                </a:moveTo>
                <a:cubicBezTo>
                  <a:pt x="6086152" y="4657534"/>
                  <a:pt x="6088444" y="4659645"/>
                  <a:pt x="6089590" y="4662756"/>
                </a:cubicBezTo>
                <a:cubicBezTo>
                  <a:pt x="6085866" y="4669754"/>
                  <a:pt x="6078418" y="4670865"/>
                  <a:pt x="6072976" y="4668865"/>
                </a:cubicBezTo>
                <a:cubicBezTo>
                  <a:pt x="6067819" y="4666866"/>
                  <a:pt x="6064382" y="4661756"/>
                  <a:pt x="6068965" y="4655757"/>
                </a:cubicBezTo>
                <a:cubicBezTo>
                  <a:pt x="6075840" y="4654091"/>
                  <a:pt x="6081282" y="4654535"/>
                  <a:pt x="6085007" y="4654425"/>
                </a:cubicBezTo>
                <a:close/>
                <a:moveTo>
                  <a:pt x="3433779" y="4653536"/>
                </a:moveTo>
                <a:cubicBezTo>
                  <a:pt x="3440368" y="4655424"/>
                  <a:pt x="3449248" y="4655202"/>
                  <a:pt x="3454118" y="4658091"/>
                </a:cubicBezTo>
                <a:cubicBezTo>
                  <a:pt x="3454978" y="4658757"/>
                  <a:pt x="3455551" y="4659423"/>
                  <a:pt x="3455838" y="4660201"/>
                </a:cubicBezTo>
                <a:cubicBezTo>
                  <a:pt x="3455837" y="4660867"/>
                  <a:pt x="3455551" y="4661756"/>
                  <a:pt x="3453545" y="4662755"/>
                </a:cubicBezTo>
                <a:cubicBezTo>
                  <a:pt x="3451540" y="4664866"/>
                  <a:pt x="3450109" y="4664756"/>
                  <a:pt x="3445238" y="4661867"/>
                </a:cubicBezTo>
                <a:cubicBezTo>
                  <a:pt x="3442087" y="4659090"/>
                  <a:pt x="3438649" y="4657534"/>
                  <a:pt x="3438650" y="4656424"/>
                </a:cubicBezTo>
                <a:cubicBezTo>
                  <a:pt x="3436931" y="4656202"/>
                  <a:pt x="3435499" y="4654869"/>
                  <a:pt x="3433779" y="4654647"/>
                </a:cubicBezTo>
                <a:cubicBezTo>
                  <a:pt x="3433779" y="4654647"/>
                  <a:pt x="3433779" y="4654647"/>
                  <a:pt x="3433779" y="4653536"/>
                </a:cubicBezTo>
                <a:close/>
                <a:moveTo>
                  <a:pt x="5825184" y="4653425"/>
                </a:moveTo>
                <a:lnTo>
                  <a:pt x="5826616" y="4657534"/>
                </a:lnTo>
                <a:lnTo>
                  <a:pt x="5828621" y="4658090"/>
                </a:lnTo>
                <a:cubicBezTo>
                  <a:pt x="5829480" y="4658757"/>
                  <a:pt x="5830054" y="4659423"/>
                  <a:pt x="5830340" y="4660201"/>
                </a:cubicBezTo>
                <a:lnTo>
                  <a:pt x="5828621" y="4662311"/>
                </a:lnTo>
                <a:lnTo>
                  <a:pt x="5828621" y="4662978"/>
                </a:lnTo>
                <a:lnTo>
                  <a:pt x="5827189" y="4663200"/>
                </a:lnTo>
                <a:lnTo>
                  <a:pt x="5824897" y="4664200"/>
                </a:lnTo>
                <a:lnTo>
                  <a:pt x="5824324" y="4663867"/>
                </a:lnTo>
                <a:lnTo>
                  <a:pt x="5823465" y="4663866"/>
                </a:lnTo>
                <a:cubicBezTo>
                  <a:pt x="5822032" y="4664422"/>
                  <a:pt x="5820600" y="4664977"/>
                  <a:pt x="5819454" y="4665311"/>
                </a:cubicBezTo>
                <a:cubicBezTo>
                  <a:pt x="5815159" y="4663867"/>
                  <a:pt x="5813152" y="4661757"/>
                  <a:pt x="5812866" y="4657535"/>
                </a:cubicBezTo>
                <a:lnTo>
                  <a:pt x="5814012" y="4656979"/>
                </a:lnTo>
                <a:lnTo>
                  <a:pt x="5813152" y="4656424"/>
                </a:lnTo>
                <a:cubicBezTo>
                  <a:pt x="5811435" y="4656202"/>
                  <a:pt x="5810001" y="4654869"/>
                  <a:pt x="5808283" y="4654647"/>
                </a:cubicBezTo>
                <a:cubicBezTo>
                  <a:pt x="5808283" y="4654647"/>
                  <a:pt x="5808283" y="4654647"/>
                  <a:pt x="5808568" y="4653536"/>
                </a:cubicBezTo>
                <a:lnTo>
                  <a:pt x="5817449" y="4655090"/>
                </a:lnTo>
                <a:lnTo>
                  <a:pt x="5818308" y="4654759"/>
                </a:lnTo>
                <a:cubicBezTo>
                  <a:pt x="5819454" y="4654313"/>
                  <a:pt x="5821173" y="4654091"/>
                  <a:pt x="5825184" y="4653425"/>
                </a:cubicBezTo>
                <a:close/>
                <a:moveTo>
                  <a:pt x="2488734" y="4652758"/>
                </a:moveTo>
                <a:cubicBezTo>
                  <a:pt x="2488734" y="4652758"/>
                  <a:pt x="2488734" y="4652758"/>
                  <a:pt x="2490452" y="4655313"/>
                </a:cubicBezTo>
                <a:cubicBezTo>
                  <a:pt x="2490453" y="4656536"/>
                  <a:pt x="2490167" y="4657757"/>
                  <a:pt x="2488447" y="4658757"/>
                </a:cubicBezTo>
                <a:cubicBezTo>
                  <a:pt x="2486728" y="4659868"/>
                  <a:pt x="2483292" y="4659534"/>
                  <a:pt x="2481573" y="4659423"/>
                </a:cubicBezTo>
                <a:cubicBezTo>
                  <a:pt x="2481572" y="4658201"/>
                  <a:pt x="2479853" y="4658090"/>
                  <a:pt x="2479854" y="4656868"/>
                </a:cubicBezTo>
                <a:cubicBezTo>
                  <a:pt x="2478134" y="4654313"/>
                  <a:pt x="2478134" y="4654202"/>
                  <a:pt x="2480140" y="4653203"/>
                </a:cubicBezTo>
                <a:cubicBezTo>
                  <a:pt x="2481858" y="4652092"/>
                  <a:pt x="2487015" y="4653758"/>
                  <a:pt x="2488734" y="4652758"/>
                </a:cubicBezTo>
                <a:close/>
                <a:moveTo>
                  <a:pt x="6352278" y="4652647"/>
                </a:moveTo>
                <a:cubicBezTo>
                  <a:pt x="6357721" y="4653647"/>
                  <a:pt x="6361732" y="4652980"/>
                  <a:pt x="6365169" y="4652869"/>
                </a:cubicBezTo>
                <a:cubicBezTo>
                  <a:pt x="6368320" y="4652647"/>
                  <a:pt x="6370612" y="4652981"/>
                  <a:pt x="6372904" y="4655757"/>
                </a:cubicBezTo>
                <a:cubicBezTo>
                  <a:pt x="6368893" y="4659534"/>
                  <a:pt x="6355429" y="4657202"/>
                  <a:pt x="6352278" y="4652647"/>
                </a:cubicBezTo>
                <a:close/>
                <a:moveTo>
                  <a:pt x="2965983" y="4652203"/>
                </a:moveTo>
                <a:cubicBezTo>
                  <a:pt x="2967702" y="4653536"/>
                  <a:pt x="2967989" y="4653536"/>
                  <a:pt x="2966270" y="4653424"/>
                </a:cubicBezTo>
                <a:cubicBezTo>
                  <a:pt x="2967988" y="4655868"/>
                  <a:pt x="2968276" y="4657090"/>
                  <a:pt x="2968275" y="4658312"/>
                </a:cubicBezTo>
                <a:cubicBezTo>
                  <a:pt x="2966556" y="4659534"/>
                  <a:pt x="2963118" y="4659423"/>
                  <a:pt x="2959681" y="4658091"/>
                </a:cubicBezTo>
                <a:cubicBezTo>
                  <a:pt x="2961401" y="4656868"/>
                  <a:pt x="2959394" y="4654425"/>
                  <a:pt x="2960827" y="4653314"/>
                </a:cubicBezTo>
                <a:cubicBezTo>
                  <a:pt x="2960827" y="4653314"/>
                  <a:pt x="2965983" y="4652203"/>
                  <a:pt x="2965983" y="4652203"/>
                </a:cubicBezTo>
                <a:close/>
                <a:moveTo>
                  <a:pt x="5340772" y="4652203"/>
                </a:moveTo>
                <a:cubicBezTo>
                  <a:pt x="5342491" y="4653536"/>
                  <a:pt x="5342491" y="4653536"/>
                  <a:pt x="5340772" y="4653425"/>
                </a:cubicBezTo>
                <a:cubicBezTo>
                  <a:pt x="5342491" y="4655868"/>
                  <a:pt x="5342778" y="4657091"/>
                  <a:pt x="5342778" y="4658312"/>
                </a:cubicBezTo>
                <a:cubicBezTo>
                  <a:pt x="5341059" y="4659534"/>
                  <a:pt x="5337621" y="4659422"/>
                  <a:pt x="5334184" y="4658090"/>
                </a:cubicBezTo>
                <a:cubicBezTo>
                  <a:pt x="5335902" y="4656867"/>
                  <a:pt x="5333897" y="4654424"/>
                  <a:pt x="5335616" y="4653313"/>
                </a:cubicBezTo>
                <a:cubicBezTo>
                  <a:pt x="5335616" y="4653313"/>
                  <a:pt x="5340772" y="4652203"/>
                  <a:pt x="5340772" y="4652203"/>
                </a:cubicBezTo>
                <a:close/>
                <a:moveTo>
                  <a:pt x="4905346" y="4650648"/>
                </a:moveTo>
                <a:cubicBezTo>
                  <a:pt x="4907352" y="4651314"/>
                  <a:pt x="4907925" y="4652647"/>
                  <a:pt x="4907925" y="4653980"/>
                </a:cubicBezTo>
                <a:cubicBezTo>
                  <a:pt x="4907925" y="4655202"/>
                  <a:pt x="4907065" y="4656424"/>
                  <a:pt x="4906206" y="4656646"/>
                </a:cubicBezTo>
                <a:cubicBezTo>
                  <a:pt x="4904201" y="4655980"/>
                  <a:pt x="4903055" y="4653757"/>
                  <a:pt x="4901050" y="4653092"/>
                </a:cubicBezTo>
                <a:cubicBezTo>
                  <a:pt x="4902482" y="4652647"/>
                  <a:pt x="4903628" y="4651092"/>
                  <a:pt x="4905346" y="4650648"/>
                </a:cubicBezTo>
                <a:close/>
                <a:moveTo>
                  <a:pt x="2530557" y="4650648"/>
                </a:moveTo>
                <a:cubicBezTo>
                  <a:pt x="2532850" y="4651314"/>
                  <a:pt x="2533422" y="4652646"/>
                  <a:pt x="2533422" y="4653981"/>
                </a:cubicBezTo>
                <a:cubicBezTo>
                  <a:pt x="2533422" y="4655201"/>
                  <a:pt x="2532563" y="4656424"/>
                  <a:pt x="2531704" y="4656646"/>
                </a:cubicBezTo>
                <a:cubicBezTo>
                  <a:pt x="2529411" y="4655980"/>
                  <a:pt x="2528553" y="4653758"/>
                  <a:pt x="2526260" y="4653092"/>
                </a:cubicBezTo>
                <a:cubicBezTo>
                  <a:pt x="2527979" y="4652647"/>
                  <a:pt x="2529125" y="4651092"/>
                  <a:pt x="2530557" y="4650648"/>
                </a:cubicBezTo>
                <a:close/>
                <a:moveTo>
                  <a:pt x="2108310" y="4650315"/>
                </a:moveTo>
                <a:cubicBezTo>
                  <a:pt x="2130368" y="4655424"/>
                  <a:pt x="2128075" y="4667088"/>
                  <a:pt x="2115470" y="4668309"/>
                </a:cubicBezTo>
                <a:cubicBezTo>
                  <a:pt x="2111173" y="4668643"/>
                  <a:pt x="2106018" y="4667866"/>
                  <a:pt x="2100001" y="4665310"/>
                </a:cubicBezTo>
                <a:cubicBezTo>
                  <a:pt x="2095418" y="4659978"/>
                  <a:pt x="2101434" y="4650314"/>
                  <a:pt x="2108310" y="4650315"/>
                </a:cubicBezTo>
                <a:close/>
                <a:moveTo>
                  <a:pt x="3175103" y="4650314"/>
                </a:moveTo>
                <a:cubicBezTo>
                  <a:pt x="3191718" y="4654202"/>
                  <a:pt x="3194582" y="4661645"/>
                  <a:pt x="3189712" y="4665644"/>
                </a:cubicBezTo>
                <a:lnTo>
                  <a:pt x="3187993" y="4666310"/>
                </a:lnTo>
                <a:lnTo>
                  <a:pt x="3189712" y="4667532"/>
                </a:lnTo>
                <a:cubicBezTo>
                  <a:pt x="3187993" y="4669420"/>
                  <a:pt x="3185989" y="4669865"/>
                  <a:pt x="3184269" y="4669532"/>
                </a:cubicBezTo>
                <a:lnTo>
                  <a:pt x="3181405" y="4668199"/>
                </a:lnTo>
                <a:lnTo>
                  <a:pt x="3175102" y="4667865"/>
                </a:lnTo>
                <a:cubicBezTo>
                  <a:pt x="3172524" y="4667421"/>
                  <a:pt x="3169659" y="4666644"/>
                  <a:pt x="3166796" y="4665310"/>
                </a:cubicBezTo>
                <a:cubicBezTo>
                  <a:pt x="3162211" y="4659979"/>
                  <a:pt x="3168227" y="4650315"/>
                  <a:pt x="3175103" y="4650314"/>
                </a:cubicBezTo>
                <a:close/>
                <a:moveTo>
                  <a:pt x="5407805" y="4650203"/>
                </a:moveTo>
                <a:cubicBezTo>
                  <a:pt x="5409237" y="4653425"/>
                  <a:pt x="5410670" y="4656646"/>
                  <a:pt x="5406086" y="4657202"/>
                </a:cubicBezTo>
                <a:cubicBezTo>
                  <a:pt x="5403794" y="4654980"/>
                  <a:pt x="5401789" y="4655313"/>
                  <a:pt x="5401216" y="4651203"/>
                </a:cubicBezTo>
                <a:cubicBezTo>
                  <a:pt x="5403222" y="4650870"/>
                  <a:pt x="5405513" y="4650537"/>
                  <a:pt x="5407805" y="4650203"/>
                </a:cubicBezTo>
                <a:close/>
                <a:moveTo>
                  <a:pt x="3033302" y="4650203"/>
                </a:moveTo>
                <a:cubicBezTo>
                  <a:pt x="3034735" y="4653424"/>
                  <a:pt x="3036167" y="4656646"/>
                  <a:pt x="3031584" y="4657202"/>
                </a:cubicBezTo>
                <a:cubicBezTo>
                  <a:pt x="3029292" y="4654979"/>
                  <a:pt x="3027286" y="4655313"/>
                  <a:pt x="3026715" y="4651203"/>
                </a:cubicBezTo>
                <a:cubicBezTo>
                  <a:pt x="3028719" y="4650869"/>
                  <a:pt x="3031010" y="4650537"/>
                  <a:pt x="3033302" y="4650203"/>
                </a:cubicBezTo>
                <a:close/>
                <a:moveTo>
                  <a:pt x="6044902" y="4650092"/>
                </a:moveTo>
                <a:cubicBezTo>
                  <a:pt x="6046620" y="4650203"/>
                  <a:pt x="6051490" y="4651981"/>
                  <a:pt x="6051490" y="4650870"/>
                </a:cubicBezTo>
                <a:cubicBezTo>
                  <a:pt x="6055214" y="4653869"/>
                  <a:pt x="6058652" y="4657535"/>
                  <a:pt x="6058652" y="4660534"/>
                </a:cubicBezTo>
                <a:cubicBezTo>
                  <a:pt x="6058652" y="4661534"/>
                  <a:pt x="6058080" y="4662311"/>
                  <a:pt x="6057220" y="4663089"/>
                </a:cubicBezTo>
                <a:cubicBezTo>
                  <a:pt x="6055214" y="4665311"/>
                  <a:pt x="6052064" y="4663755"/>
                  <a:pt x="6048912" y="4661090"/>
                </a:cubicBezTo>
                <a:cubicBezTo>
                  <a:pt x="6040605" y="4656646"/>
                  <a:pt x="6039459" y="4652980"/>
                  <a:pt x="6044902" y="4650092"/>
                </a:cubicBezTo>
                <a:close/>
                <a:moveTo>
                  <a:pt x="4737192" y="4650092"/>
                </a:moveTo>
                <a:cubicBezTo>
                  <a:pt x="4738911" y="4650203"/>
                  <a:pt x="4743781" y="4651981"/>
                  <a:pt x="4743781" y="4650870"/>
                </a:cubicBezTo>
                <a:lnTo>
                  <a:pt x="4746932" y="4655202"/>
                </a:lnTo>
                <a:lnTo>
                  <a:pt x="4747218" y="4654979"/>
                </a:lnTo>
                <a:lnTo>
                  <a:pt x="4752088" y="4655201"/>
                </a:lnTo>
                <a:lnTo>
                  <a:pt x="4747505" y="4656091"/>
                </a:lnTo>
                <a:lnTo>
                  <a:pt x="4750656" y="4660534"/>
                </a:lnTo>
                <a:cubicBezTo>
                  <a:pt x="4750656" y="4661534"/>
                  <a:pt x="4750369" y="4662312"/>
                  <a:pt x="4749510" y="4663089"/>
                </a:cubicBezTo>
                <a:cubicBezTo>
                  <a:pt x="4747505" y="4665311"/>
                  <a:pt x="4744354" y="4663755"/>
                  <a:pt x="4741202" y="4661090"/>
                </a:cubicBezTo>
                <a:cubicBezTo>
                  <a:pt x="4732895" y="4656646"/>
                  <a:pt x="4731749" y="4652981"/>
                  <a:pt x="4737192" y="4650092"/>
                </a:cubicBezTo>
                <a:close/>
                <a:moveTo>
                  <a:pt x="3382217" y="4648871"/>
                </a:moveTo>
                <a:cubicBezTo>
                  <a:pt x="3390811" y="4648982"/>
                  <a:pt x="3397685" y="4653535"/>
                  <a:pt x="3398544" y="4658646"/>
                </a:cubicBezTo>
                <a:cubicBezTo>
                  <a:pt x="3398832" y="4660423"/>
                  <a:pt x="3398544" y="4662200"/>
                  <a:pt x="3397399" y="4663867"/>
                </a:cubicBezTo>
                <a:cubicBezTo>
                  <a:pt x="3395966" y="4666199"/>
                  <a:pt x="3393101" y="4668421"/>
                  <a:pt x="3388232" y="4669976"/>
                </a:cubicBezTo>
                <a:cubicBezTo>
                  <a:pt x="3383935" y="4670532"/>
                  <a:pt x="3379065" y="4667865"/>
                  <a:pt x="3375342" y="4664533"/>
                </a:cubicBezTo>
                <a:lnTo>
                  <a:pt x="3375055" y="4664422"/>
                </a:lnTo>
                <a:lnTo>
                  <a:pt x="3375054" y="4665866"/>
                </a:lnTo>
                <a:cubicBezTo>
                  <a:pt x="3374195" y="4665199"/>
                  <a:pt x="3374196" y="4664977"/>
                  <a:pt x="3374482" y="4664755"/>
                </a:cubicBezTo>
                <a:lnTo>
                  <a:pt x="3375054" y="4664089"/>
                </a:lnTo>
                <a:lnTo>
                  <a:pt x="3371044" y="4659089"/>
                </a:lnTo>
                <a:cubicBezTo>
                  <a:pt x="3370471" y="4657313"/>
                  <a:pt x="3370184" y="4655646"/>
                  <a:pt x="3370757" y="4654202"/>
                </a:cubicBezTo>
                <a:cubicBezTo>
                  <a:pt x="3374768" y="4652424"/>
                  <a:pt x="3378493" y="4650648"/>
                  <a:pt x="3382217" y="4648871"/>
                </a:cubicBezTo>
                <a:close/>
                <a:moveTo>
                  <a:pt x="5109023" y="4648870"/>
                </a:moveTo>
                <a:cubicBezTo>
                  <a:pt x="5122773" y="4654868"/>
                  <a:pt x="5138241" y="4658646"/>
                  <a:pt x="5144258" y="4674197"/>
                </a:cubicBezTo>
                <a:cubicBezTo>
                  <a:pt x="5140247" y="4676862"/>
                  <a:pt x="5139102" y="4683195"/>
                  <a:pt x="5130794" y="4681750"/>
                </a:cubicBezTo>
                <a:lnTo>
                  <a:pt x="5129648" y="4678418"/>
                </a:lnTo>
                <a:lnTo>
                  <a:pt x="5121914" y="4684417"/>
                </a:lnTo>
                <a:cubicBezTo>
                  <a:pt x="5117330" y="4681307"/>
                  <a:pt x="5117330" y="4678973"/>
                  <a:pt x="5119049" y="4676752"/>
                </a:cubicBezTo>
                <a:lnTo>
                  <a:pt x="5125351" y="4670643"/>
                </a:lnTo>
                <a:lnTo>
                  <a:pt x="5117617" y="4664533"/>
                </a:lnTo>
                <a:cubicBezTo>
                  <a:pt x="5111314" y="4659979"/>
                  <a:pt x="5105299" y="4655646"/>
                  <a:pt x="5109023" y="4648870"/>
                </a:cubicBezTo>
                <a:close/>
                <a:moveTo>
                  <a:pt x="2734233" y="4648870"/>
                </a:moveTo>
                <a:cubicBezTo>
                  <a:pt x="2747984" y="4654869"/>
                  <a:pt x="2763453" y="4658645"/>
                  <a:pt x="2769755" y="4674197"/>
                </a:cubicBezTo>
                <a:cubicBezTo>
                  <a:pt x="2765745" y="4676863"/>
                  <a:pt x="2764599" y="4683195"/>
                  <a:pt x="2756292" y="4681751"/>
                </a:cubicBezTo>
                <a:lnTo>
                  <a:pt x="2755145" y="4678418"/>
                </a:lnTo>
                <a:lnTo>
                  <a:pt x="2747411" y="4684417"/>
                </a:lnTo>
                <a:cubicBezTo>
                  <a:pt x="2742827" y="4681307"/>
                  <a:pt x="2742828" y="4678974"/>
                  <a:pt x="2744546" y="4676752"/>
                </a:cubicBezTo>
                <a:lnTo>
                  <a:pt x="2750848" y="4670643"/>
                </a:lnTo>
                <a:lnTo>
                  <a:pt x="2743114" y="4664533"/>
                </a:lnTo>
                <a:cubicBezTo>
                  <a:pt x="2736525" y="4659978"/>
                  <a:pt x="2730796" y="4655647"/>
                  <a:pt x="2734233" y="4648870"/>
                </a:cubicBezTo>
                <a:close/>
                <a:moveTo>
                  <a:pt x="5701144" y="4648315"/>
                </a:moveTo>
                <a:cubicBezTo>
                  <a:pt x="5707447" y="4651647"/>
                  <a:pt x="5713462" y="4650870"/>
                  <a:pt x="5716327" y="4652870"/>
                </a:cubicBezTo>
                <a:cubicBezTo>
                  <a:pt x="5717186" y="4653536"/>
                  <a:pt x="5717473" y="4654424"/>
                  <a:pt x="5717474" y="4655979"/>
                </a:cubicBezTo>
                <a:cubicBezTo>
                  <a:pt x="5711171" y="4658423"/>
                  <a:pt x="5700858" y="4653203"/>
                  <a:pt x="5701144" y="4648315"/>
                </a:cubicBezTo>
                <a:close/>
                <a:moveTo>
                  <a:pt x="3326642" y="4648314"/>
                </a:moveTo>
                <a:cubicBezTo>
                  <a:pt x="3332944" y="4651647"/>
                  <a:pt x="3338960" y="4650869"/>
                  <a:pt x="3341538" y="4652870"/>
                </a:cubicBezTo>
                <a:cubicBezTo>
                  <a:pt x="3342397" y="4653536"/>
                  <a:pt x="3342970" y="4654424"/>
                  <a:pt x="3342970" y="4655979"/>
                </a:cubicBezTo>
                <a:cubicBezTo>
                  <a:pt x="3336668" y="4658423"/>
                  <a:pt x="3326355" y="4653202"/>
                  <a:pt x="3326642" y="4648314"/>
                </a:cubicBezTo>
                <a:close/>
                <a:moveTo>
                  <a:pt x="4766698" y="4647647"/>
                </a:moveTo>
                <a:cubicBezTo>
                  <a:pt x="4768130" y="4649981"/>
                  <a:pt x="4768130" y="4651869"/>
                  <a:pt x="4767271" y="4653314"/>
                </a:cubicBezTo>
                <a:lnTo>
                  <a:pt x="4764120" y="4655424"/>
                </a:lnTo>
                <a:lnTo>
                  <a:pt x="4770422" y="4654535"/>
                </a:lnTo>
                <a:cubicBezTo>
                  <a:pt x="4773000" y="4654424"/>
                  <a:pt x="4775292" y="4654425"/>
                  <a:pt x="4777297" y="4654425"/>
                </a:cubicBezTo>
                <a:cubicBezTo>
                  <a:pt x="4778443" y="4657534"/>
                  <a:pt x="4780448" y="4659645"/>
                  <a:pt x="4781880" y="4662756"/>
                </a:cubicBezTo>
                <a:cubicBezTo>
                  <a:pt x="4778156" y="4669754"/>
                  <a:pt x="4770708" y="4670864"/>
                  <a:pt x="4765266" y="4668866"/>
                </a:cubicBezTo>
                <a:cubicBezTo>
                  <a:pt x="4762688" y="4667865"/>
                  <a:pt x="4760397" y="4666088"/>
                  <a:pt x="4759536" y="4663866"/>
                </a:cubicBezTo>
                <a:lnTo>
                  <a:pt x="4760968" y="4656868"/>
                </a:lnTo>
                <a:lnTo>
                  <a:pt x="4750083" y="4658646"/>
                </a:lnTo>
                <a:cubicBezTo>
                  <a:pt x="4752661" y="4658645"/>
                  <a:pt x="4752661" y="4656868"/>
                  <a:pt x="4752661" y="4654979"/>
                </a:cubicBezTo>
                <a:lnTo>
                  <a:pt x="4752374" y="4655091"/>
                </a:lnTo>
                <a:lnTo>
                  <a:pt x="4755812" y="4653425"/>
                </a:lnTo>
                <a:cubicBezTo>
                  <a:pt x="4758390" y="4651869"/>
                  <a:pt x="4760968" y="4649537"/>
                  <a:pt x="4766698" y="4647647"/>
                </a:cubicBezTo>
                <a:close/>
                <a:moveTo>
                  <a:pt x="3060230" y="4644649"/>
                </a:moveTo>
                <a:cubicBezTo>
                  <a:pt x="3061376" y="4653091"/>
                  <a:pt x="3061089" y="4660977"/>
                  <a:pt x="3068252" y="4672087"/>
                </a:cubicBezTo>
                <a:cubicBezTo>
                  <a:pt x="3063667" y="4672753"/>
                  <a:pt x="3066532" y="4676641"/>
                  <a:pt x="3060516" y="4676641"/>
                </a:cubicBezTo>
                <a:cubicBezTo>
                  <a:pt x="3048486" y="4671420"/>
                  <a:pt x="3043328" y="4647870"/>
                  <a:pt x="3060230" y="4644649"/>
                </a:cubicBezTo>
                <a:close/>
                <a:moveTo>
                  <a:pt x="5434733" y="4644648"/>
                </a:moveTo>
                <a:cubicBezTo>
                  <a:pt x="5435878" y="4653091"/>
                  <a:pt x="5435592" y="4660978"/>
                  <a:pt x="5442754" y="4672087"/>
                </a:cubicBezTo>
                <a:cubicBezTo>
                  <a:pt x="5438170" y="4672753"/>
                  <a:pt x="5441035" y="4676641"/>
                  <a:pt x="5435020" y="4676641"/>
                </a:cubicBezTo>
                <a:cubicBezTo>
                  <a:pt x="5422988" y="4671421"/>
                  <a:pt x="5417831" y="4647871"/>
                  <a:pt x="5434733" y="4644648"/>
                </a:cubicBezTo>
                <a:close/>
                <a:moveTo>
                  <a:pt x="5289209" y="4641539"/>
                </a:moveTo>
                <a:cubicBezTo>
                  <a:pt x="5303818" y="4655868"/>
                  <a:pt x="5330460" y="4652981"/>
                  <a:pt x="5342491" y="4670310"/>
                </a:cubicBezTo>
                <a:cubicBezTo>
                  <a:pt x="5338481" y="4671530"/>
                  <a:pt x="5332753" y="4671198"/>
                  <a:pt x="5326449" y="4669975"/>
                </a:cubicBezTo>
                <a:lnTo>
                  <a:pt x="5319574" y="4667643"/>
                </a:lnTo>
                <a:lnTo>
                  <a:pt x="5319574" y="4668198"/>
                </a:lnTo>
                <a:cubicBezTo>
                  <a:pt x="5317855" y="4669865"/>
                  <a:pt x="5315850" y="4670198"/>
                  <a:pt x="5313844" y="4669976"/>
                </a:cubicBezTo>
                <a:cubicBezTo>
                  <a:pt x="5312126" y="4669643"/>
                  <a:pt x="5309834" y="4668532"/>
                  <a:pt x="5307256" y="4667199"/>
                </a:cubicBezTo>
                <a:cubicBezTo>
                  <a:pt x="5304678" y="4665755"/>
                  <a:pt x="5304105" y="4664200"/>
                  <a:pt x="5303532" y="4662644"/>
                </a:cubicBezTo>
                <a:lnTo>
                  <a:pt x="5301527" y="4659645"/>
                </a:lnTo>
                <a:lnTo>
                  <a:pt x="5291787" y="4652980"/>
                </a:lnTo>
                <a:cubicBezTo>
                  <a:pt x="5288350" y="4649203"/>
                  <a:pt x="5287204" y="4645204"/>
                  <a:pt x="5289209" y="4641539"/>
                </a:cubicBezTo>
                <a:close/>
                <a:moveTo>
                  <a:pt x="2914706" y="4641538"/>
                </a:moveTo>
                <a:cubicBezTo>
                  <a:pt x="2929316" y="4655868"/>
                  <a:pt x="2955957" y="4652981"/>
                  <a:pt x="2967988" y="4670309"/>
                </a:cubicBezTo>
                <a:cubicBezTo>
                  <a:pt x="2963979" y="4671531"/>
                  <a:pt x="2958250" y="4671198"/>
                  <a:pt x="2951946" y="4669976"/>
                </a:cubicBezTo>
                <a:lnTo>
                  <a:pt x="2945072" y="4667643"/>
                </a:lnTo>
                <a:lnTo>
                  <a:pt x="2945071" y="4668198"/>
                </a:lnTo>
                <a:cubicBezTo>
                  <a:pt x="2943066" y="4669865"/>
                  <a:pt x="2941347" y="4670198"/>
                  <a:pt x="2939343" y="4669976"/>
                </a:cubicBezTo>
                <a:cubicBezTo>
                  <a:pt x="2937623" y="4669642"/>
                  <a:pt x="2935332" y="4668532"/>
                  <a:pt x="2932753" y="4667199"/>
                </a:cubicBezTo>
                <a:cubicBezTo>
                  <a:pt x="2930175" y="4665754"/>
                  <a:pt x="2929316" y="4664199"/>
                  <a:pt x="2928743" y="4662645"/>
                </a:cubicBezTo>
                <a:lnTo>
                  <a:pt x="2927025" y="4659646"/>
                </a:lnTo>
                <a:lnTo>
                  <a:pt x="2917285" y="4652981"/>
                </a:lnTo>
                <a:cubicBezTo>
                  <a:pt x="2913847" y="4649203"/>
                  <a:pt x="2912701" y="4645204"/>
                  <a:pt x="2914706" y="4641538"/>
                </a:cubicBezTo>
                <a:close/>
                <a:moveTo>
                  <a:pt x="5898232" y="4639984"/>
                </a:moveTo>
                <a:cubicBezTo>
                  <a:pt x="5899951" y="4641317"/>
                  <a:pt x="5901383" y="4642649"/>
                  <a:pt x="5901670" y="4641539"/>
                </a:cubicBezTo>
                <a:cubicBezTo>
                  <a:pt x="5903102" y="4642872"/>
                  <a:pt x="5903675" y="4644094"/>
                  <a:pt x="5903962" y="4645205"/>
                </a:cubicBezTo>
                <a:cubicBezTo>
                  <a:pt x="5903962" y="4646427"/>
                  <a:pt x="5903388" y="4647537"/>
                  <a:pt x="5902529" y="4648648"/>
                </a:cubicBezTo>
                <a:cubicBezTo>
                  <a:pt x="5900810" y="4649648"/>
                  <a:pt x="5897372" y="4649203"/>
                  <a:pt x="5892502" y="4647537"/>
                </a:cubicBezTo>
                <a:cubicBezTo>
                  <a:pt x="5891070" y="4644981"/>
                  <a:pt x="5896513" y="4642094"/>
                  <a:pt x="5898232" y="4639984"/>
                </a:cubicBezTo>
                <a:close/>
                <a:moveTo>
                  <a:pt x="6025708" y="4639428"/>
                </a:moveTo>
                <a:cubicBezTo>
                  <a:pt x="6025708" y="4639428"/>
                  <a:pt x="6028860" y="4640983"/>
                  <a:pt x="6028860" y="4640983"/>
                </a:cubicBezTo>
                <a:cubicBezTo>
                  <a:pt x="6032012" y="4643760"/>
                  <a:pt x="6033730" y="4645204"/>
                  <a:pt x="6036881" y="4646760"/>
                </a:cubicBezTo>
                <a:cubicBezTo>
                  <a:pt x="6034876" y="4648981"/>
                  <a:pt x="6033156" y="4648871"/>
                  <a:pt x="6031724" y="4647427"/>
                </a:cubicBezTo>
                <a:cubicBezTo>
                  <a:pt x="6031724" y="4647427"/>
                  <a:pt x="6030006" y="4645982"/>
                  <a:pt x="6028574" y="4644649"/>
                </a:cubicBezTo>
                <a:cubicBezTo>
                  <a:pt x="6026854" y="4643206"/>
                  <a:pt x="6025136" y="4643094"/>
                  <a:pt x="6025136" y="4643094"/>
                </a:cubicBezTo>
                <a:cubicBezTo>
                  <a:pt x="6023704" y="4641649"/>
                  <a:pt x="6023990" y="4640427"/>
                  <a:pt x="6025708" y="4639428"/>
                </a:cubicBezTo>
                <a:close/>
                <a:moveTo>
                  <a:pt x="5489448" y="4638762"/>
                </a:moveTo>
                <a:lnTo>
                  <a:pt x="5488874" y="4639872"/>
                </a:lnTo>
                <a:lnTo>
                  <a:pt x="5491739" y="4639094"/>
                </a:lnTo>
                <a:close/>
                <a:moveTo>
                  <a:pt x="2415113" y="4637873"/>
                </a:moveTo>
                <a:cubicBezTo>
                  <a:pt x="2424852" y="4640872"/>
                  <a:pt x="2425998" y="4651870"/>
                  <a:pt x="2424852" y="4658090"/>
                </a:cubicBezTo>
                <a:cubicBezTo>
                  <a:pt x="2420269" y="4658756"/>
                  <a:pt x="2420269" y="4661311"/>
                  <a:pt x="2415685" y="4661978"/>
                </a:cubicBezTo>
                <a:cubicBezTo>
                  <a:pt x="2411388" y="4652203"/>
                  <a:pt x="2405945" y="4641761"/>
                  <a:pt x="2415113" y="4637873"/>
                </a:cubicBezTo>
                <a:close/>
                <a:moveTo>
                  <a:pt x="2550611" y="4637873"/>
                </a:moveTo>
                <a:cubicBezTo>
                  <a:pt x="2560923" y="4640205"/>
                  <a:pt x="2564933" y="4644316"/>
                  <a:pt x="2564933" y="4647982"/>
                </a:cubicBezTo>
                <a:lnTo>
                  <a:pt x="2564075" y="4649425"/>
                </a:lnTo>
                <a:lnTo>
                  <a:pt x="2565792" y="4650092"/>
                </a:lnTo>
                <a:cubicBezTo>
                  <a:pt x="2568372" y="4651980"/>
                  <a:pt x="2570089" y="4654979"/>
                  <a:pt x="2572955" y="4657313"/>
                </a:cubicBezTo>
                <a:cubicBezTo>
                  <a:pt x="2568084" y="4658979"/>
                  <a:pt x="2564074" y="4659089"/>
                  <a:pt x="2561209" y="4657757"/>
                </a:cubicBezTo>
                <a:lnTo>
                  <a:pt x="2558344" y="4654202"/>
                </a:lnTo>
                <a:lnTo>
                  <a:pt x="2554048" y="4655647"/>
                </a:lnTo>
                <a:cubicBezTo>
                  <a:pt x="2549750" y="4656091"/>
                  <a:pt x="2544594" y="4655424"/>
                  <a:pt x="2539151" y="4652981"/>
                </a:cubicBezTo>
                <a:cubicBezTo>
                  <a:pt x="2535714" y="4647759"/>
                  <a:pt x="2543448" y="4637984"/>
                  <a:pt x="2550611" y="4637873"/>
                </a:cubicBezTo>
                <a:close/>
                <a:moveTo>
                  <a:pt x="3426046" y="4637095"/>
                </a:moveTo>
                <a:cubicBezTo>
                  <a:pt x="3429482" y="4646092"/>
                  <a:pt x="3425472" y="4647759"/>
                  <a:pt x="3421175" y="4646538"/>
                </a:cubicBezTo>
                <a:cubicBezTo>
                  <a:pt x="3419171" y="4646093"/>
                  <a:pt x="3417452" y="4644982"/>
                  <a:pt x="3415732" y="4643872"/>
                </a:cubicBezTo>
                <a:lnTo>
                  <a:pt x="3415732" y="4643649"/>
                </a:lnTo>
                <a:lnTo>
                  <a:pt x="3410576" y="4643649"/>
                </a:lnTo>
                <a:cubicBezTo>
                  <a:pt x="3408571" y="4644204"/>
                  <a:pt x="3406565" y="4644649"/>
                  <a:pt x="3403701" y="4643650"/>
                </a:cubicBezTo>
                <a:cubicBezTo>
                  <a:pt x="3402269" y="4639873"/>
                  <a:pt x="3406565" y="4638984"/>
                  <a:pt x="3410576" y="4639428"/>
                </a:cubicBezTo>
                <a:lnTo>
                  <a:pt x="3412867" y="4640095"/>
                </a:lnTo>
                <a:lnTo>
                  <a:pt x="3415446" y="4637318"/>
                </a:lnTo>
                <a:cubicBezTo>
                  <a:pt x="3417451" y="4636762"/>
                  <a:pt x="3420889" y="4636541"/>
                  <a:pt x="3426046" y="4637095"/>
                </a:cubicBezTo>
                <a:close/>
                <a:moveTo>
                  <a:pt x="2359253" y="4637095"/>
                </a:moveTo>
                <a:cubicBezTo>
                  <a:pt x="2362403" y="4646093"/>
                  <a:pt x="2358679" y="4647759"/>
                  <a:pt x="2354095" y="4646538"/>
                </a:cubicBezTo>
                <a:cubicBezTo>
                  <a:pt x="2346935" y="4644538"/>
                  <a:pt x="2338340" y="4634541"/>
                  <a:pt x="2359253" y="4637095"/>
                </a:cubicBezTo>
                <a:close/>
                <a:moveTo>
                  <a:pt x="5980449" y="4636652"/>
                </a:moveTo>
                <a:cubicBezTo>
                  <a:pt x="5982739" y="4637095"/>
                  <a:pt x="5983312" y="4638096"/>
                  <a:pt x="5984172" y="4639094"/>
                </a:cubicBezTo>
                <a:lnTo>
                  <a:pt x="5984172" y="4646204"/>
                </a:lnTo>
                <a:lnTo>
                  <a:pt x="5988754" y="4646204"/>
                </a:lnTo>
                <a:cubicBezTo>
                  <a:pt x="5991906" y="4646759"/>
                  <a:pt x="5994198" y="4647648"/>
                  <a:pt x="5995344" y="4648870"/>
                </a:cubicBezTo>
                <a:lnTo>
                  <a:pt x="5996490" y="4650203"/>
                </a:lnTo>
                <a:lnTo>
                  <a:pt x="5997922" y="4649425"/>
                </a:lnTo>
                <a:cubicBezTo>
                  <a:pt x="5999641" y="4649537"/>
                  <a:pt x="6001932" y="4650425"/>
                  <a:pt x="6004224" y="4652758"/>
                </a:cubicBezTo>
                <a:lnTo>
                  <a:pt x="5999927" y="4655757"/>
                </a:lnTo>
                <a:lnTo>
                  <a:pt x="6001072" y="4656868"/>
                </a:lnTo>
                <a:lnTo>
                  <a:pt x="6002505" y="4656868"/>
                </a:lnTo>
                <a:cubicBezTo>
                  <a:pt x="6003364" y="4657868"/>
                  <a:pt x="6005942" y="4659534"/>
                  <a:pt x="6008234" y="4660090"/>
                </a:cubicBezTo>
                <a:cubicBezTo>
                  <a:pt x="6006516" y="4660646"/>
                  <a:pt x="6005083" y="4661201"/>
                  <a:pt x="6005656" y="4662311"/>
                </a:cubicBezTo>
                <a:cubicBezTo>
                  <a:pt x="6003364" y="4661756"/>
                  <a:pt x="6002218" y="4661200"/>
                  <a:pt x="6001072" y="4660646"/>
                </a:cubicBezTo>
                <a:lnTo>
                  <a:pt x="6000500" y="4660311"/>
                </a:lnTo>
                <a:lnTo>
                  <a:pt x="5998781" y="4660534"/>
                </a:lnTo>
                <a:lnTo>
                  <a:pt x="5997348" y="4660089"/>
                </a:lnTo>
                <a:lnTo>
                  <a:pt x="5996776" y="4660089"/>
                </a:lnTo>
                <a:cubicBezTo>
                  <a:pt x="5996776" y="4660089"/>
                  <a:pt x="5997063" y="4660089"/>
                  <a:pt x="5995057" y="4663199"/>
                </a:cubicBezTo>
                <a:cubicBezTo>
                  <a:pt x="5995057" y="4663199"/>
                  <a:pt x="5989614" y="4670087"/>
                  <a:pt x="5979302" y="4668421"/>
                </a:cubicBezTo>
                <a:cubicBezTo>
                  <a:pt x="5980448" y="4666866"/>
                  <a:pt x="5967270" y="4663533"/>
                  <a:pt x="5967843" y="4658201"/>
                </a:cubicBezTo>
                <a:cubicBezTo>
                  <a:pt x="5968130" y="4655647"/>
                  <a:pt x="5968988" y="4653981"/>
                  <a:pt x="5969275" y="4651314"/>
                </a:cubicBezTo>
                <a:lnTo>
                  <a:pt x="5973286" y="4649314"/>
                </a:lnTo>
                <a:lnTo>
                  <a:pt x="5972999" y="4642428"/>
                </a:lnTo>
                <a:cubicBezTo>
                  <a:pt x="5973572" y="4640872"/>
                  <a:pt x="5978156" y="4636318"/>
                  <a:pt x="5980449" y="4636652"/>
                </a:cubicBezTo>
                <a:close/>
                <a:moveTo>
                  <a:pt x="6042325" y="4636429"/>
                </a:moveTo>
                <a:cubicBezTo>
                  <a:pt x="6043470" y="4636429"/>
                  <a:pt x="6044329" y="4636540"/>
                  <a:pt x="6044329" y="4637095"/>
                </a:cubicBezTo>
                <a:cubicBezTo>
                  <a:pt x="6046048" y="4637207"/>
                  <a:pt x="6045761" y="4639539"/>
                  <a:pt x="6045761" y="4639539"/>
                </a:cubicBezTo>
                <a:cubicBezTo>
                  <a:pt x="6047480" y="4639651"/>
                  <a:pt x="6049485" y="4639873"/>
                  <a:pt x="6050918" y="4641206"/>
                </a:cubicBezTo>
                <a:cubicBezTo>
                  <a:pt x="6049198" y="4642205"/>
                  <a:pt x="6050918" y="4642428"/>
                  <a:pt x="6050918" y="4643538"/>
                </a:cubicBezTo>
                <a:cubicBezTo>
                  <a:pt x="6049198" y="4642205"/>
                  <a:pt x="6043756" y="4641649"/>
                  <a:pt x="6040605" y="4640095"/>
                </a:cubicBezTo>
                <a:cubicBezTo>
                  <a:pt x="6040605" y="4638984"/>
                  <a:pt x="6038886" y="4637651"/>
                  <a:pt x="6039172" y="4636541"/>
                </a:cubicBezTo>
                <a:cubicBezTo>
                  <a:pt x="6040032" y="4636652"/>
                  <a:pt x="6041464" y="4636429"/>
                  <a:pt x="6042325" y="4636429"/>
                </a:cubicBezTo>
                <a:close/>
                <a:moveTo>
                  <a:pt x="3082575" y="4635873"/>
                </a:moveTo>
                <a:cubicBezTo>
                  <a:pt x="3085152" y="4635541"/>
                  <a:pt x="3088876" y="4636429"/>
                  <a:pt x="3092315" y="4638206"/>
                </a:cubicBezTo>
                <a:cubicBezTo>
                  <a:pt x="3091742" y="4640761"/>
                  <a:pt x="3091168" y="4643316"/>
                  <a:pt x="3088590" y="4644982"/>
                </a:cubicBezTo>
                <a:cubicBezTo>
                  <a:pt x="3084294" y="4643317"/>
                  <a:pt x="3080570" y="4642761"/>
                  <a:pt x="3077991" y="4640761"/>
                </a:cubicBezTo>
                <a:cubicBezTo>
                  <a:pt x="3077991" y="4637762"/>
                  <a:pt x="3079996" y="4636207"/>
                  <a:pt x="3082575" y="4635873"/>
                </a:cubicBezTo>
                <a:close/>
                <a:moveTo>
                  <a:pt x="2015782" y="4635873"/>
                </a:moveTo>
                <a:cubicBezTo>
                  <a:pt x="2018359" y="4635540"/>
                  <a:pt x="2022083" y="4636429"/>
                  <a:pt x="2025522" y="4638206"/>
                </a:cubicBezTo>
                <a:cubicBezTo>
                  <a:pt x="2024949" y="4640762"/>
                  <a:pt x="2024376" y="4643316"/>
                  <a:pt x="2021797" y="4644982"/>
                </a:cubicBezTo>
                <a:cubicBezTo>
                  <a:pt x="2017501" y="4643316"/>
                  <a:pt x="2013777" y="4642760"/>
                  <a:pt x="2011197" y="4640762"/>
                </a:cubicBezTo>
                <a:cubicBezTo>
                  <a:pt x="2011198" y="4637762"/>
                  <a:pt x="2013203" y="4636207"/>
                  <a:pt x="2015782" y="4635873"/>
                </a:cubicBezTo>
                <a:close/>
                <a:moveTo>
                  <a:pt x="4993577" y="4635207"/>
                </a:moveTo>
                <a:cubicBezTo>
                  <a:pt x="4997874" y="4635207"/>
                  <a:pt x="5001885" y="4636096"/>
                  <a:pt x="5004750" y="4638317"/>
                </a:cubicBezTo>
                <a:cubicBezTo>
                  <a:pt x="4993578" y="4642538"/>
                  <a:pt x="4982692" y="4645538"/>
                  <a:pt x="4970374" y="4654425"/>
                </a:cubicBezTo>
                <a:cubicBezTo>
                  <a:pt x="4967797" y="4651869"/>
                  <a:pt x="4963499" y="4655202"/>
                  <a:pt x="4961207" y="4651426"/>
                </a:cubicBezTo>
                <a:cubicBezTo>
                  <a:pt x="4962926" y="4644315"/>
                  <a:pt x="4980114" y="4635429"/>
                  <a:pt x="4993577" y="4635207"/>
                </a:cubicBezTo>
                <a:close/>
                <a:moveTo>
                  <a:pt x="2619076" y="4635207"/>
                </a:moveTo>
                <a:cubicBezTo>
                  <a:pt x="2623372" y="4635207"/>
                  <a:pt x="2627383" y="4636095"/>
                  <a:pt x="2630247" y="4638317"/>
                </a:cubicBezTo>
                <a:cubicBezTo>
                  <a:pt x="2619075" y="4642538"/>
                  <a:pt x="2608189" y="4645538"/>
                  <a:pt x="2595871" y="4654424"/>
                </a:cubicBezTo>
                <a:cubicBezTo>
                  <a:pt x="2593293" y="4651870"/>
                  <a:pt x="2588997" y="4655202"/>
                  <a:pt x="2586418" y="4651425"/>
                </a:cubicBezTo>
                <a:cubicBezTo>
                  <a:pt x="2588424" y="4644316"/>
                  <a:pt x="2605611" y="4635429"/>
                  <a:pt x="2619076" y="4635207"/>
                </a:cubicBezTo>
                <a:close/>
                <a:moveTo>
                  <a:pt x="2759156" y="4631763"/>
                </a:moveTo>
                <a:cubicBezTo>
                  <a:pt x="2764312" y="4632541"/>
                  <a:pt x="2771760" y="4638317"/>
                  <a:pt x="2771187" y="4641650"/>
                </a:cubicBezTo>
                <a:cubicBezTo>
                  <a:pt x="2769182" y="4642538"/>
                  <a:pt x="2767178" y="4643427"/>
                  <a:pt x="2765458" y="4644316"/>
                </a:cubicBezTo>
                <a:cubicBezTo>
                  <a:pt x="2757152" y="4641872"/>
                  <a:pt x="2751422" y="4636318"/>
                  <a:pt x="2759156" y="4631763"/>
                </a:cubicBezTo>
                <a:close/>
                <a:moveTo>
                  <a:pt x="5133659" y="4631763"/>
                </a:moveTo>
                <a:cubicBezTo>
                  <a:pt x="5138816" y="4632541"/>
                  <a:pt x="5146263" y="4638317"/>
                  <a:pt x="5145690" y="4641649"/>
                </a:cubicBezTo>
                <a:cubicBezTo>
                  <a:pt x="5143685" y="4642538"/>
                  <a:pt x="5141680" y="4643427"/>
                  <a:pt x="5139961" y="4644315"/>
                </a:cubicBezTo>
                <a:cubicBezTo>
                  <a:pt x="5131654" y="4641872"/>
                  <a:pt x="5125924" y="4636318"/>
                  <a:pt x="5133659" y="4631763"/>
                </a:cubicBezTo>
                <a:close/>
                <a:moveTo>
                  <a:pt x="2434879" y="4630875"/>
                </a:moveTo>
                <a:cubicBezTo>
                  <a:pt x="2434879" y="4630875"/>
                  <a:pt x="2434879" y="4630875"/>
                  <a:pt x="2436597" y="4630986"/>
                </a:cubicBezTo>
                <a:cubicBezTo>
                  <a:pt x="2434878" y="4635651"/>
                  <a:pt x="2436024" y="4641649"/>
                  <a:pt x="2432586" y="4644871"/>
                </a:cubicBezTo>
                <a:cubicBezTo>
                  <a:pt x="2431728" y="4645427"/>
                  <a:pt x="2430868" y="4645982"/>
                  <a:pt x="2430008" y="4646092"/>
                </a:cubicBezTo>
                <a:cubicBezTo>
                  <a:pt x="2428863" y="4646093"/>
                  <a:pt x="2427718" y="4645649"/>
                  <a:pt x="2425998" y="4644427"/>
                </a:cubicBezTo>
                <a:cubicBezTo>
                  <a:pt x="2422561" y="4642872"/>
                  <a:pt x="2422560" y="4641761"/>
                  <a:pt x="2425998" y="4638428"/>
                </a:cubicBezTo>
                <a:cubicBezTo>
                  <a:pt x="2429722" y="4636317"/>
                  <a:pt x="2431441" y="4634097"/>
                  <a:pt x="2433160" y="4634318"/>
                </a:cubicBezTo>
                <a:cubicBezTo>
                  <a:pt x="2433159" y="4633096"/>
                  <a:pt x="2434878" y="4632097"/>
                  <a:pt x="2434879" y="4630875"/>
                </a:cubicBezTo>
                <a:close/>
                <a:moveTo>
                  <a:pt x="3358726" y="4630208"/>
                </a:moveTo>
                <a:lnTo>
                  <a:pt x="3357866" y="4635984"/>
                </a:lnTo>
                <a:lnTo>
                  <a:pt x="3354715" y="4638873"/>
                </a:lnTo>
                <a:lnTo>
                  <a:pt x="3359013" y="4637984"/>
                </a:lnTo>
                <a:cubicBezTo>
                  <a:pt x="3361590" y="4636095"/>
                  <a:pt x="3361590" y="4636095"/>
                  <a:pt x="3364455" y="4634318"/>
                </a:cubicBezTo>
                <a:cubicBezTo>
                  <a:pt x="3364455" y="4634318"/>
                  <a:pt x="3364456" y="4634207"/>
                  <a:pt x="3367320" y="4632318"/>
                </a:cubicBezTo>
                <a:cubicBezTo>
                  <a:pt x="3364455" y="4632319"/>
                  <a:pt x="3361591" y="4630542"/>
                  <a:pt x="3359012" y="4630542"/>
                </a:cubicBezTo>
                <a:close/>
                <a:moveTo>
                  <a:pt x="5625232" y="4627321"/>
                </a:moveTo>
                <a:cubicBezTo>
                  <a:pt x="5628669" y="4630874"/>
                  <a:pt x="5632393" y="4638428"/>
                  <a:pt x="5630961" y="4639983"/>
                </a:cubicBezTo>
                <a:cubicBezTo>
                  <a:pt x="5628669" y="4637318"/>
                  <a:pt x="5623513" y="4629542"/>
                  <a:pt x="5625232" y="4627321"/>
                </a:cubicBezTo>
                <a:close/>
                <a:moveTo>
                  <a:pt x="5043710" y="4627098"/>
                </a:moveTo>
                <a:cubicBezTo>
                  <a:pt x="5045141" y="4626987"/>
                  <a:pt x="5046574" y="4627098"/>
                  <a:pt x="5048579" y="4627653"/>
                </a:cubicBezTo>
                <a:cubicBezTo>
                  <a:pt x="5048292" y="4631319"/>
                  <a:pt x="5049152" y="4634984"/>
                  <a:pt x="5050011" y="4637984"/>
                </a:cubicBezTo>
                <a:lnTo>
                  <a:pt x="5049152" y="4643538"/>
                </a:lnTo>
                <a:lnTo>
                  <a:pt x="5058032" y="4640428"/>
                </a:lnTo>
                <a:cubicBezTo>
                  <a:pt x="5066912" y="4638207"/>
                  <a:pt x="5071782" y="4639539"/>
                  <a:pt x="5073502" y="4642538"/>
                </a:cubicBezTo>
                <a:cubicBezTo>
                  <a:pt x="5077225" y="4649203"/>
                  <a:pt x="5066912" y="4663645"/>
                  <a:pt x="5058032" y="4662533"/>
                </a:cubicBezTo>
                <a:cubicBezTo>
                  <a:pt x="5056313" y="4662311"/>
                  <a:pt x="5054308" y="4661534"/>
                  <a:pt x="5052876" y="4659868"/>
                </a:cubicBezTo>
                <a:lnTo>
                  <a:pt x="5050584" y="4655535"/>
                </a:lnTo>
                <a:lnTo>
                  <a:pt x="5044568" y="4652647"/>
                </a:lnTo>
                <a:lnTo>
                  <a:pt x="5049438" y="4652981"/>
                </a:lnTo>
                <a:lnTo>
                  <a:pt x="5048865" y="4652314"/>
                </a:lnTo>
                <a:lnTo>
                  <a:pt x="5047719" y="4645427"/>
                </a:lnTo>
                <a:lnTo>
                  <a:pt x="5041704" y="4646871"/>
                </a:lnTo>
                <a:cubicBezTo>
                  <a:pt x="5039126" y="4642983"/>
                  <a:pt x="5034542" y="4628098"/>
                  <a:pt x="5043710" y="4627098"/>
                </a:cubicBezTo>
                <a:close/>
                <a:moveTo>
                  <a:pt x="2669206" y="4627098"/>
                </a:moveTo>
                <a:cubicBezTo>
                  <a:pt x="2670638" y="4626987"/>
                  <a:pt x="2672071" y="4627098"/>
                  <a:pt x="2674076" y="4627653"/>
                </a:cubicBezTo>
                <a:cubicBezTo>
                  <a:pt x="2673789" y="4631319"/>
                  <a:pt x="2674650" y="4634985"/>
                  <a:pt x="2675222" y="4637984"/>
                </a:cubicBezTo>
                <a:lnTo>
                  <a:pt x="2674362" y="4643538"/>
                </a:lnTo>
                <a:lnTo>
                  <a:pt x="2683530" y="4640428"/>
                </a:lnTo>
                <a:cubicBezTo>
                  <a:pt x="2692410" y="4638206"/>
                  <a:pt x="2697280" y="4639539"/>
                  <a:pt x="2698998" y="4642538"/>
                </a:cubicBezTo>
                <a:cubicBezTo>
                  <a:pt x="2702722" y="4649203"/>
                  <a:pt x="2692124" y="4663644"/>
                  <a:pt x="2683243" y="4662534"/>
                </a:cubicBezTo>
                <a:cubicBezTo>
                  <a:pt x="2679805" y="4662089"/>
                  <a:pt x="2676369" y="4659201"/>
                  <a:pt x="2674362" y="4652314"/>
                </a:cubicBezTo>
                <a:lnTo>
                  <a:pt x="2673217" y="4645427"/>
                </a:lnTo>
                <a:lnTo>
                  <a:pt x="2667202" y="4646870"/>
                </a:lnTo>
                <a:cubicBezTo>
                  <a:pt x="2664336" y="4642983"/>
                  <a:pt x="2660039" y="4628098"/>
                  <a:pt x="2669206" y="4627098"/>
                </a:cubicBezTo>
                <a:close/>
                <a:moveTo>
                  <a:pt x="5965551" y="4626321"/>
                </a:moveTo>
                <a:cubicBezTo>
                  <a:pt x="5960968" y="4646204"/>
                  <a:pt x="5930030" y="4659756"/>
                  <a:pt x="5907112" y="4674864"/>
                </a:cubicBezTo>
                <a:cubicBezTo>
                  <a:pt x="5904248" y="4671197"/>
                  <a:pt x="5899092" y="4670865"/>
                  <a:pt x="5896513" y="4664644"/>
                </a:cubicBezTo>
                <a:cubicBezTo>
                  <a:pt x="5923154" y="4652092"/>
                  <a:pt x="5942920" y="4636095"/>
                  <a:pt x="5965551" y="4626321"/>
                </a:cubicBezTo>
                <a:close/>
                <a:moveTo>
                  <a:pt x="5728358" y="4626098"/>
                </a:moveTo>
                <a:cubicBezTo>
                  <a:pt x="5730650" y="4626764"/>
                  <a:pt x="5732369" y="4628098"/>
                  <a:pt x="5733228" y="4629764"/>
                </a:cubicBezTo>
                <a:cubicBezTo>
                  <a:pt x="5734088" y="4631541"/>
                  <a:pt x="5734088" y="4633763"/>
                  <a:pt x="5732369" y="4635984"/>
                </a:cubicBezTo>
                <a:cubicBezTo>
                  <a:pt x="5730364" y="4640094"/>
                  <a:pt x="5723775" y="4641650"/>
                  <a:pt x="5720051" y="4646204"/>
                </a:cubicBezTo>
                <a:cubicBezTo>
                  <a:pt x="5712317" y="4644538"/>
                  <a:pt x="5710312" y="4643872"/>
                  <a:pt x="5711457" y="4637540"/>
                </a:cubicBezTo>
                <a:cubicBezTo>
                  <a:pt x="5711457" y="4637540"/>
                  <a:pt x="5712603" y="4635984"/>
                  <a:pt x="5712603" y="4635984"/>
                </a:cubicBezTo>
                <a:cubicBezTo>
                  <a:pt x="5715754" y="4630431"/>
                  <a:pt x="5724921" y="4625765"/>
                  <a:pt x="5728358" y="4626098"/>
                </a:cubicBezTo>
                <a:close/>
                <a:moveTo>
                  <a:pt x="6135138" y="4626097"/>
                </a:moveTo>
                <a:cubicBezTo>
                  <a:pt x="6136570" y="4626209"/>
                  <a:pt x="6137716" y="4626543"/>
                  <a:pt x="6138862" y="4627320"/>
                </a:cubicBezTo>
                <a:cubicBezTo>
                  <a:pt x="6138862" y="4628431"/>
                  <a:pt x="6140581" y="4628653"/>
                  <a:pt x="6140294" y="4629764"/>
                </a:cubicBezTo>
                <a:cubicBezTo>
                  <a:pt x="6140294" y="4629764"/>
                  <a:pt x="6141154" y="4630986"/>
                  <a:pt x="6141154" y="4632763"/>
                </a:cubicBezTo>
                <a:lnTo>
                  <a:pt x="6138576" y="4637095"/>
                </a:lnTo>
                <a:lnTo>
                  <a:pt x="6149461" y="4641205"/>
                </a:lnTo>
                <a:cubicBezTo>
                  <a:pt x="6152899" y="4642872"/>
                  <a:pt x="6156623" y="4644982"/>
                  <a:pt x="6160060" y="4647871"/>
                </a:cubicBezTo>
                <a:cubicBezTo>
                  <a:pt x="6145164" y="4654091"/>
                  <a:pt x="6109642" y="4641428"/>
                  <a:pt x="6115945" y="4628653"/>
                </a:cubicBezTo>
                <a:lnTo>
                  <a:pt x="6123966" y="4631986"/>
                </a:lnTo>
                <a:lnTo>
                  <a:pt x="6125112" y="4629319"/>
                </a:lnTo>
                <a:cubicBezTo>
                  <a:pt x="6127690" y="4627875"/>
                  <a:pt x="6131414" y="4625876"/>
                  <a:pt x="6135138" y="4626097"/>
                </a:cubicBezTo>
                <a:close/>
                <a:moveTo>
                  <a:pt x="2460946" y="4625432"/>
                </a:moveTo>
                <a:cubicBezTo>
                  <a:pt x="2463811" y="4625098"/>
                  <a:pt x="2466962" y="4625876"/>
                  <a:pt x="2470114" y="4627543"/>
                </a:cubicBezTo>
                <a:cubicBezTo>
                  <a:pt x="2468967" y="4630097"/>
                  <a:pt x="2468108" y="4632652"/>
                  <a:pt x="2464957" y="4634430"/>
                </a:cubicBezTo>
                <a:cubicBezTo>
                  <a:pt x="2460946" y="4632874"/>
                  <a:pt x="2457509" y="4632430"/>
                  <a:pt x="2455217" y="4630541"/>
                </a:cubicBezTo>
                <a:cubicBezTo>
                  <a:pt x="2456077" y="4627432"/>
                  <a:pt x="2458368" y="4625877"/>
                  <a:pt x="2460946" y="4625432"/>
                </a:cubicBezTo>
                <a:close/>
                <a:moveTo>
                  <a:pt x="2071069" y="4624876"/>
                </a:moveTo>
                <a:cubicBezTo>
                  <a:pt x="2075652" y="4624766"/>
                  <a:pt x="2080235" y="4625542"/>
                  <a:pt x="2084532" y="4627209"/>
                </a:cubicBezTo>
                <a:cubicBezTo>
                  <a:pt x="2104872" y="4637429"/>
                  <a:pt x="2092841" y="4653647"/>
                  <a:pt x="2073647" y="4656868"/>
                </a:cubicBezTo>
                <a:cubicBezTo>
                  <a:pt x="2062188" y="4658757"/>
                  <a:pt x="2048438" y="4655980"/>
                  <a:pt x="2037267" y="4644427"/>
                </a:cubicBezTo>
                <a:cubicBezTo>
                  <a:pt x="2043568" y="4633097"/>
                  <a:pt x="2057318" y="4625320"/>
                  <a:pt x="2071069" y="4624876"/>
                </a:cubicBezTo>
                <a:close/>
                <a:moveTo>
                  <a:pt x="5029672" y="4624432"/>
                </a:moveTo>
                <a:cubicBezTo>
                  <a:pt x="5036834" y="4632874"/>
                  <a:pt x="5024229" y="4639983"/>
                  <a:pt x="5016782" y="4637095"/>
                </a:cubicBezTo>
                <a:cubicBezTo>
                  <a:pt x="5014203" y="4636096"/>
                  <a:pt x="5012198" y="4633985"/>
                  <a:pt x="5011625" y="4630541"/>
                </a:cubicBezTo>
                <a:cubicBezTo>
                  <a:pt x="5015922" y="4625210"/>
                  <a:pt x="5024229" y="4626654"/>
                  <a:pt x="5029672" y="4624432"/>
                </a:cubicBezTo>
                <a:close/>
                <a:moveTo>
                  <a:pt x="2654884" y="4624432"/>
                </a:moveTo>
                <a:cubicBezTo>
                  <a:pt x="2662045" y="4632874"/>
                  <a:pt x="2649440" y="4639984"/>
                  <a:pt x="2641993" y="4637096"/>
                </a:cubicBezTo>
                <a:cubicBezTo>
                  <a:pt x="2639415" y="4636095"/>
                  <a:pt x="2637695" y="4633985"/>
                  <a:pt x="2637122" y="4630542"/>
                </a:cubicBezTo>
                <a:cubicBezTo>
                  <a:pt x="2641134" y="4625209"/>
                  <a:pt x="2649440" y="4626654"/>
                  <a:pt x="2654884" y="4624432"/>
                </a:cubicBezTo>
                <a:close/>
                <a:moveTo>
                  <a:pt x="5716041" y="4624321"/>
                </a:moveTo>
                <a:cubicBezTo>
                  <a:pt x="5718332" y="4624876"/>
                  <a:pt x="5719765" y="4627098"/>
                  <a:pt x="5720337" y="4628209"/>
                </a:cubicBezTo>
                <a:cubicBezTo>
                  <a:pt x="5718619" y="4628653"/>
                  <a:pt x="5719192" y="4629764"/>
                  <a:pt x="5717761" y="4630319"/>
                </a:cubicBezTo>
                <a:cubicBezTo>
                  <a:pt x="5715181" y="4632541"/>
                  <a:pt x="5715181" y="4632541"/>
                  <a:pt x="5712890" y="4631985"/>
                </a:cubicBezTo>
                <a:cubicBezTo>
                  <a:pt x="5710598" y="4631430"/>
                  <a:pt x="5710312" y="4627542"/>
                  <a:pt x="5708020" y="4626987"/>
                </a:cubicBezTo>
                <a:cubicBezTo>
                  <a:pt x="5708020" y="4626987"/>
                  <a:pt x="5708020" y="4626987"/>
                  <a:pt x="5710598" y="4624877"/>
                </a:cubicBezTo>
                <a:cubicBezTo>
                  <a:pt x="5712317" y="4624321"/>
                  <a:pt x="5713749" y="4623766"/>
                  <a:pt x="5716041" y="4624321"/>
                </a:cubicBezTo>
                <a:close/>
                <a:moveTo>
                  <a:pt x="3341539" y="4624320"/>
                </a:moveTo>
                <a:cubicBezTo>
                  <a:pt x="3343831" y="4624876"/>
                  <a:pt x="3345263" y="4627098"/>
                  <a:pt x="3345836" y="4628209"/>
                </a:cubicBezTo>
                <a:cubicBezTo>
                  <a:pt x="3344116" y="4628653"/>
                  <a:pt x="3344689" y="4629764"/>
                  <a:pt x="3343258" y="4630319"/>
                </a:cubicBezTo>
                <a:cubicBezTo>
                  <a:pt x="3340679" y="4632541"/>
                  <a:pt x="3340679" y="4632541"/>
                  <a:pt x="3338387" y="4631986"/>
                </a:cubicBezTo>
                <a:cubicBezTo>
                  <a:pt x="3336095" y="4631430"/>
                  <a:pt x="3335810" y="4627542"/>
                  <a:pt x="3333517" y="4626987"/>
                </a:cubicBezTo>
                <a:cubicBezTo>
                  <a:pt x="3333517" y="4626987"/>
                  <a:pt x="3333517" y="4626987"/>
                  <a:pt x="3336095" y="4624876"/>
                </a:cubicBezTo>
                <a:cubicBezTo>
                  <a:pt x="3337815" y="4624320"/>
                  <a:pt x="3339246" y="4623766"/>
                  <a:pt x="3341539" y="4624320"/>
                </a:cubicBezTo>
                <a:close/>
                <a:moveTo>
                  <a:pt x="5349653" y="4623988"/>
                </a:moveTo>
                <a:cubicBezTo>
                  <a:pt x="5355096" y="4623432"/>
                  <a:pt x="5363116" y="4626543"/>
                  <a:pt x="5363690" y="4628542"/>
                </a:cubicBezTo>
                <a:cubicBezTo>
                  <a:pt x="5362257" y="4630874"/>
                  <a:pt x="5344210" y="4631542"/>
                  <a:pt x="5345929" y="4625877"/>
                </a:cubicBezTo>
                <a:cubicBezTo>
                  <a:pt x="5346788" y="4624765"/>
                  <a:pt x="5347934" y="4624099"/>
                  <a:pt x="5349653" y="4623988"/>
                </a:cubicBezTo>
                <a:close/>
                <a:moveTo>
                  <a:pt x="2975150" y="4623988"/>
                </a:moveTo>
                <a:cubicBezTo>
                  <a:pt x="2980306" y="4623432"/>
                  <a:pt x="2988615" y="4626543"/>
                  <a:pt x="2989187" y="4628542"/>
                </a:cubicBezTo>
                <a:cubicBezTo>
                  <a:pt x="2987754" y="4630874"/>
                  <a:pt x="2969707" y="4631541"/>
                  <a:pt x="2971427" y="4625876"/>
                </a:cubicBezTo>
                <a:cubicBezTo>
                  <a:pt x="2972000" y="4624766"/>
                  <a:pt x="2973431" y="4624099"/>
                  <a:pt x="2975150" y="4623988"/>
                </a:cubicBezTo>
                <a:close/>
                <a:moveTo>
                  <a:pt x="3051063" y="4623766"/>
                </a:moveTo>
                <a:cubicBezTo>
                  <a:pt x="3065673" y="4622765"/>
                  <a:pt x="3070256" y="4633429"/>
                  <a:pt x="3063381" y="4636872"/>
                </a:cubicBezTo>
                <a:cubicBezTo>
                  <a:pt x="3061089" y="4637984"/>
                  <a:pt x="3057365" y="4638317"/>
                  <a:pt x="3052209" y="4637206"/>
                </a:cubicBezTo>
                <a:cubicBezTo>
                  <a:pt x="3046766" y="4632540"/>
                  <a:pt x="3051922" y="4627987"/>
                  <a:pt x="3051063" y="4623766"/>
                </a:cubicBezTo>
                <a:close/>
                <a:moveTo>
                  <a:pt x="5904820" y="4623765"/>
                </a:moveTo>
                <a:cubicBezTo>
                  <a:pt x="5905394" y="4627432"/>
                  <a:pt x="5911696" y="4629875"/>
                  <a:pt x="5914847" y="4633541"/>
                </a:cubicBezTo>
                <a:lnTo>
                  <a:pt x="5915420" y="4635207"/>
                </a:lnTo>
                <a:lnTo>
                  <a:pt x="5920290" y="4639651"/>
                </a:lnTo>
                <a:cubicBezTo>
                  <a:pt x="5919430" y="4643094"/>
                  <a:pt x="5917425" y="4645093"/>
                  <a:pt x="5911982" y="4646538"/>
                </a:cubicBezTo>
                <a:cubicBezTo>
                  <a:pt x="5905394" y="4643205"/>
                  <a:pt x="5906826" y="4644649"/>
                  <a:pt x="5902816" y="4639317"/>
                </a:cubicBezTo>
                <a:lnTo>
                  <a:pt x="5911696" y="4635207"/>
                </a:lnTo>
                <a:lnTo>
                  <a:pt x="5906540" y="4630208"/>
                </a:lnTo>
                <a:cubicBezTo>
                  <a:pt x="5904534" y="4627431"/>
                  <a:pt x="5903675" y="4624877"/>
                  <a:pt x="5903388" y="4624321"/>
                </a:cubicBezTo>
                <a:cubicBezTo>
                  <a:pt x="5904820" y="4623765"/>
                  <a:pt x="5904820" y="4623765"/>
                  <a:pt x="5904820" y="4623765"/>
                </a:cubicBezTo>
                <a:close/>
                <a:moveTo>
                  <a:pt x="5425852" y="4623765"/>
                </a:moveTo>
                <a:cubicBezTo>
                  <a:pt x="5440176" y="4622766"/>
                  <a:pt x="5444759" y="4633429"/>
                  <a:pt x="5437884" y="4636873"/>
                </a:cubicBezTo>
                <a:cubicBezTo>
                  <a:pt x="5435592" y="4637984"/>
                  <a:pt x="5431868" y="4638317"/>
                  <a:pt x="5426712" y="4637207"/>
                </a:cubicBezTo>
                <a:cubicBezTo>
                  <a:pt x="5421269" y="4632541"/>
                  <a:pt x="5426425" y="4627986"/>
                  <a:pt x="5425852" y="4623765"/>
                </a:cubicBezTo>
                <a:close/>
                <a:moveTo>
                  <a:pt x="6122534" y="4622766"/>
                </a:moveTo>
                <a:cubicBezTo>
                  <a:pt x="6123680" y="4622544"/>
                  <a:pt x="6124826" y="4622765"/>
                  <a:pt x="6125684" y="4623432"/>
                </a:cubicBezTo>
                <a:cubicBezTo>
                  <a:pt x="6127117" y="4624210"/>
                  <a:pt x="6127118" y="4624765"/>
                  <a:pt x="6126545" y="4625432"/>
                </a:cubicBezTo>
                <a:cubicBezTo>
                  <a:pt x="6125684" y="4626098"/>
                  <a:pt x="6124539" y="4626876"/>
                  <a:pt x="6123679" y="4627987"/>
                </a:cubicBezTo>
                <a:lnTo>
                  <a:pt x="6119096" y="4623877"/>
                </a:lnTo>
                <a:cubicBezTo>
                  <a:pt x="6119956" y="4623432"/>
                  <a:pt x="6121102" y="4622877"/>
                  <a:pt x="6122534" y="4622766"/>
                </a:cubicBezTo>
                <a:close/>
                <a:moveTo>
                  <a:pt x="5404368" y="4622099"/>
                </a:moveTo>
                <a:cubicBezTo>
                  <a:pt x="5406086" y="4622211"/>
                  <a:pt x="5407805" y="4623655"/>
                  <a:pt x="5409524" y="4623765"/>
                </a:cubicBezTo>
                <a:cubicBezTo>
                  <a:pt x="5409524" y="4624988"/>
                  <a:pt x="5409237" y="4627320"/>
                  <a:pt x="5407232" y="4628320"/>
                </a:cubicBezTo>
                <a:cubicBezTo>
                  <a:pt x="5407232" y="4629542"/>
                  <a:pt x="5402362" y="4627765"/>
                  <a:pt x="5402362" y="4627765"/>
                </a:cubicBezTo>
                <a:cubicBezTo>
                  <a:pt x="5400644" y="4626432"/>
                  <a:pt x="5404368" y="4623210"/>
                  <a:pt x="5404368" y="4622099"/>
                </a:cubicBezTo>
                <a:close/>
                <a:moveTo>
                  <a:pt x="3029866" y="4622099"/>
                </a:moveTo>
                <a:cubicBezTo>
                  <a:pt x="3031583" y="4622211"/>
                  <a:pt x="3033302" y="4623654"/>
                  <a:pt x="3035021" y="4623766"/>
                </a:cubicBezTo>
                <a:cubicBezTo>
                  <a:pt x="3035021" y="4624988"/>
                  <a:pt x="3034735" y="4627321"/>
                  <a:pt x="3032729" y="4628320"/>
                </a:cubicBezTo>
                <a:cubicBezTo>
                  <a:pt x="3032730" y="4629542"/>
                  <a:pt x="3027573" y="4627764"/>
                  <a:pt x="3027573" y="4627764"/>
                </a:cubicBezTo>
                <a:cubicBezTo>
                  <a:pt x="3026141" y="4626431"/>
                  <a:pt x="3029865" y="4623210"/>
                  <a:pt x="3029866" y="4622099"/>
                </a:cubicBezTo>
                <a:close/>
                <a:moveTo>
                  <a:pt x="2607616" y="4620433"/>
                </a:moveTo>
                <a:cubicBezTo>
                  <a:pt x="2609049" y="4621655"/>
                  <a:pt x="2610481" y="4622877"/>
                  <a:pt x="2611627" y="4624099"/>
                </a:cubicBezTo>
                <a:cubicBezTo>
                  <a:pt x="2607903" y="4626320"/>
                  <a:pt x="2604179" y="4628430"/>
                  <a:pt x="2601314" y="4625876"/>
                </a:cubicBezTo>
                <a:cubicBezTo>
                  <a:pt x="2603607" y="4623655"/>
                  <a:pt x="2602173" y="4622433"/>
                  <a:pt x="2607616" y="4620433"/>
                </a:cubicBezTo>
                <a:close/>
                <a:moveTo>
                  <a:pt x="5581402" y="4619989"/>
                </a:moveTo>
                <a:cubicBezTo>
                  <a:pt x="5597731" y="4628209"/>
                  <a:pt x="5615205" y="4633874"/>
                  <a:pt x="5630961" y="4639983"/>
                </a:cubicBezTo>
                <a:cubicBezTo>
                  <a:pt x="5638409" y="4642760"/>
                  <a:pt x="5644998" y="4645649"/>
                  <a:pt x="5651013" y="4648981"/>
                </a:cubicBezTo>
                <a:cubicBezTo>
                  <a:pt x="5622940" y="4654424"/>
                  <a:pt x="5596585" y="4639761"/>
                  <a:pt x="5570517" y="4631097"/>
                </a:cubicBezTo>
                <a:cubicBezTo>
                  <a:pt x="5574527" y="4627765"/>
                  <a:pt x="5573668" y="4624210"/>
                  <a:pt x="5581402" y="4619989"/>
                </a:cubicBezTo>
                <a:close/>
                <a:moveTo>
                  <a:pt x="3206900" y="4619989"/>
                </a:moveTo>
                <a:cubicBezTo>
                  <a:pt x="3223228" y="4628209"/>
                  <a:pt x="3240702" y="4633874"/>
                  <a:pt x="3256171" y="4639983"/>
                </a:cubicBezTo>
                <a:cubicBezTo>
                  <a:pt x="3254166" y="4637318"/>
                  <a:pt x="3249010" y="4629542"/>
                  <a:pt x="3250442" y="4627321"/>
                </a:cubicBezTo>
                <a:cubicBezTo>
                  <a:pt x="3254166" y="4630875"/>
                  <a:pt x="3257890" y="4638428"/>
                  <a:pt x="3256459" y="4639984"/>
                </a:cubicBezTo>
                <a:cubicBezTo>
                  <a:pt x="3263620" y="4642761"/>
                  <a:pt x="3270496" y="4645649"/>
                  <a:pt x="3276510" y="4648982"/>
                </a:cubicBezTo>
                <a:cubicBezTo>
                  <a:pt x="3248438" y="4654425"/>
                  <a:pt x="3222082" y="4639762"/>
                  <a:pt x="3196014" y="4631097"/>
                </a:cubicBezTo>
                <a:cubicBezTo>
                  <a:pt x="3200024" y="4627765"/>
                  <a:pt x="3199165" y="4624209"/>
                  <a:pt x="3206900" y="4619989"/>
                </a:cubicBezTo>
                <a:close/>
                <a:moveTo>
                  <a:pt x="5909404" y="4619544"/>
                </a:moveTo>
                <a:cubicBezTo>
                  <a:pt x="5928311" y="4622210"/>
                  <a:pt x="5924015" y="4631208"/>
                  <a:pt x="5934326" y="4632763"/>
                </a:cubicBezTo>
                <a:cubicBezTo>
                  <a:pt x="5931748" y="4634874"/>
                  <a:pt x="5931748" y="4634985"/>
                  <a:pt x="5928024" y="4634985"/>
                </a:cubicBezTo>
                <a:cubicBezTo>
                  <a:pt x="5927451" y="4633874"/>
                  <a:pt x="5925732" y="4634429"/>
                  <a:pt x="5926592" y="4632763"/>
                </a:cubicBezTo>
                <a:cubicBezTo>
                  <a:pt x="5920576" y="4632208"/>
                  <a:pt x="5910264" y="4624320"/>
                  <a:pt x="5909404" y="4619544"/>
                </a:cubicBezTo>
                <a:close/>
                <a:moveTo>
                  <a:pt x="5773334" y="4619544"/>
                </a:moveTo>
                <a:cubicBezTo>
                  <a:pt x="5775339" y="4620099"/>
                  <a:pt x="5777630" y="4620655"/>
                  <a:pt x="5777058" y="4619655"/>
                </a:cubicBezTo>
                <a:cubicBezTo>
                  <a:pt x="5779350" y="4620099"/>
                  <a:pt x="5780495" y="4620877"/>
                  <a:pt x="5781355" y="4621877"/>
                </a:cubicBezTo>
                <a:cubicBezTo>
                  <a:pt x="5782214" y="4622877"/>
                  <a:pt x="5782500" y="4624099"/>
                  <a:pt x="5782214" y="4625321"/>
                </a:cubicBezTo>
                <a:cubicBezTo>
                  <a:pt x="5781354" y="4626987"/>
                  <a:pt x="5778204" y="4627986"/>
                  <a:pt x="5772760" y="4628541"/>
                </a:cubicBezTo>
                <a:cubicBezTo>
                  <a:pt x="5770182" y="4626875"/>
                  <a:pt x="5773047" y="4622099"/>
                  <a:pt x="5773334" y="4619544"/>
                </a:cubicBezTo>
                <a:close/>
                <a:moveTo>
                  <a:pt x="5840652" y="4619099"/>
                </a:moveTo>
                <a:cubicBezTo>
                  <a:pt x="5842372" y="4619322"/>
                  <a:pt x="5844090" y="4619544"/>
                  <a:pt x="5845809" y="4620878"/>
                </a:cubicBezTo>
                <a:cubicBezTo>
                  <a:pt x="5847528" y="4622322"/>
                  <a:pt x="5847242" y="4624654"/>
                  <a:pt x="5846955" y="4625877"/>
                </a:cubicBezTo>
                <a:cubicBezTo>
                  <a:pt x="5845236" y="4625654"/>
                  <a:pt x="5845236" y="4626987"/>
                  <a:pt x="5843518" y="4626764"/>
                </a:cubicBezTo>
                <a:cubicBezTo>
                  <a:pt x="5839794" y="4627542"/>
                  <a:pt x="5839794" y="4627542"/>
                  <a:pt x="5838361" y="4626098"/>
                </a:cubicBezTo>
                <a:cubicBezTo>
                  <a:pt x="5836642" y="4624766"/>
                  <a:pt x="5838648" y="4621322"/>
                  <a:pt x="5837214" y="4619989"/>
                </a:cubicBezTo>
                <a:cubicBezTo>
                  <a:pt x="5837214" y="4619989"/>
                  <a:pt x="5837215" y="4619878"/>
                  <a:pt x="5840652" y="4619099"/>
                </a:cubicBezTo>
                <a:close/>
                <a:moveTo>
                  <a:pt x="5604033" y="4618323"/>
                </a:moveTo>
                <a:cubicBezTo>
                  <a:pt x="5605753" y="4618544"/>
                  <a:pt x="5607757" y="4619100"/>
                  <a:pt x="5609476" y="4619656"/>
                </a:cubicBezTo>
                <a:cubicBezTo>
                  <a:pt x="5609476" y="4620767"/>
                  <a:pt x="5609476" y="4620877"/>
                  <a:pt x="5607757" y="4621877"/>
                </a:cubicBezTo>
                <a:cubicBezTo>
                  <a:pt x="5608045" y="4622988"/>
                  <a:pt x="5600882" y="4620544"/>
                  <a:pt x="5599163" y="4620433"/>
                </a:cubicBezTo>
                <a:cubicBezTo>
                  <a:pt x="5598877" y="4619322"/>
                  <a:pt x="5598877" y="4619433"/>
                  <a:pt x="5600596" y="4619433"/>
                </a:cubicBezTo>
                <a:cubicBezTo>
                  <a:pt x="5600309" y="4619212"/>
                  <a:pt x="5600309" y="4619212"/>
                  <a:pt x="5600309" y="4619100"/>
                </a:cubicBezTo>
                <a:cubicBezTo>
                  <a:pt x="5601455" y="4618545"/>
                  <a:pt x="5602887" y="4618211"/>
                  <a:pt x="5604033" y="4618323"/>
                </a:cubicBezTo>
                <a:close/>
                <a:moveTo>
                  <a:pt x="3229530" y="4618323"/>
                </a:moveTo>
                <a:cubicBezTo>
                  <a:pt x="3231250" y="4618544"/>
                  <a:pt x="3233254" y="4619100"/>
                  <a:pt x="3234973" y="4619655"/>
                </a:cubicBezTo>
                <a:cubicBezTo>
                  <a:pt x="3234973" y="4620767"/>
                  <a:pt x="3234974" y="4620878"/>
                  <a:pt x="3233254" y="4621877"/>
                </a:cubicBezTo>
                <a:cubicBezTo>
                  <a:pt x="3233255" y="4622988"/>
                  <a:pt x="3226379" y="4620544"/>
                  <a:pt x="3224660" y="4620433"/>
                </a:cubicBezTo>
                <a:cubicBezTo>
                  <a:pt x="3224374" y="4619321"/>
                  <a:pt x="3224374" y="4619433"/>
                  <a:pt x="3226093" y="4619433"/>
                </a:cubicBezTo>
                <a:cubicBezTo>
                  <a:pt x="3225806" y="4619211"/>
                  <a:pt x="3225806" y="4619211"/>
                  <a:pt x="3225806" y="4619100"/>
                </a:cubicBezTo>
                <a:cubicBezTo>
                  <a:pt x="3226952" y="4618544"/>
                  <a:pt x="3228384" y="4618211"/>
                  <a:pt x="3229530" y="4618323"/>
                </a:cubicBezTo>
                <a:close/>
                <a:moveTo>
                  <a:pt x="5078658" y="4617878"/>
                </a:moveTo>
                <a:cubicBezTo>
                  <a:pt x="5078658" y="4617878"/>
                  <a:pt x="5080663" y="4618545"/>
                  <a:pt x="5080663" y="4618545"/>
                </a:cubicBezTo>
                <a:cubicBezTo>
                  <a:pt x="5088684" y="4620100"/>
                  <a:pt x="5094700" y="4625654"/>
                  <a:pt x="5094126" y="4628320"/>
                </a:cubicBezTo>
                <a:cubicBezTo>
                  <a:pt x="5091835" y="4631431"/>
                  <a:pt x="5086106" y="4634318"/>
                  <a:pt x="5079803" y="4632319"/>
                </a:cubicBezTo>
                <a:lnTo>
                  <a:pt x="5076939" y="4631097"/>
                </a:lnTo>
                <a:lnTo>
                  <a:pt x="5076939" y="4631319"/>
                </a:lnTo>
                <a:cubicBezTo>
                  <a:pt x="5075793" y="4632208"/>
                  <a:pt x="5073788" y="4632985"/>
                  <a:pt x="5071496" y="4633652"/>
                </a:cubicBezTo>
                <a:cubicBezTo>
                  <a:pt x="5063188" y="4632319"/>
                  <a:pt x="5062902" y="4626320"/>
                  <a:pt x="5058318" y="4623321"/>
                </a:cubicBezTo>
                <a:cubicBezTo>
                  <a:pt x="5060610" y="4621433"/>
                  <a:pt x="5063188" y="4620433"/>
                  <a:pt x="5065766" y="4620099"/>
                </a:cubicBezTo>
                <a:lnTo>
                  <a:pt x="5068631" y="4620767"/>
                </a:lnTo>
                <a:lnTo>
                  <a:pt x="5069777" y="4619433"/>
                </a:lnTo>
                <a:cubicBezTo>
                  <a:pt x="5071497" y="4618323"/>
                  <a:pt x="5074075" y="4617878"/>
                  <a:pt x="5078658" y="4617878"/>
                </a:cubicBezTo>
                <a:close/>
                <a:moveTo>
                  <a:pt x="2704156" y="4617878"/>
                </a:moveTo>
                <a:cubicBezTo>
                  <a:pt x="2704156" y="4617878"/>
                  <a:pt x="2706161" y="4618544"/>
                  <a:pt x="2706161" y="4618544"/>
                </a:cubicBezTo>
                <a:cubicBezTo>
                  <a:pt x="2714181" y="4620099"/>
                  <a:pt x="2720198" y="4625654"/>
                  <a:pt x="2719624" y="4628320"/>
                </a:cubicBezTo>
                <a:cubicBezTo>
                  <a:pt x="2717332" y="4631431"/>
                  <a:pt x="2711604" y="4634318"/>
                  <a:pt x="2705301" y="4632319"/>
                </a:cubicBezTo>
                <a:lnTo>
                  <a:pt x="2702436" y="4631097"/>
                </a:lnTo>
                <a:lnTo>
                  <a:pt x="2702436" y="4631319"/>
                </a:lnTo>
                <a:cubicBezTo>
                  <a:pt x="2701004" y="4632208"/>
                  <a:pt x="2699286" y="4632985"/>
                  <a:pt x="2696993" y="4633651"/>
                </a:cubicBezTo>
                <a:cubicBezTo>
                  <a:pt x="2688686" y="4632319"/>
                  <a:pt x="2688113" y="4626320"/>
                  <a:pt x="2683816" y="4623321"/>
                </a:cubicBezTo>
                <a:cubicBezTo>
                  <a:pt x="2686108" y="4621433"/>
                  <a:pt x="2688686" y="4620433"/>
                  <a:pt x="2691264" y="4620100"/>
                </a:cubicBezTo>
                <a:lnTo>
                  <a:pt x="2694128" y="4620767"/>
                </a:lnTo>
                <a:lnTo>
                  <a:pt x="2695275" y="4619433"/>
                </a:lnTo>
                <a:cubicBezTo>
                  <a:pt x="2696993" y="4618323"/>
                  <a:pt x="2699571" y="4617878"/>
                  <a:pt x="2704156" y="4617878"/>
                </a:cubicBezTo>
                <a:close/>
                <a:moveTo>
                  <a:pt x="2419409" y="4614879"/>
                </a:moveTo>
                <a:cubicBezTo>
                  <a:pt x="2420841" y="4614434"/>
                  <a:pt x="2421988" y="4614212"/>
                  <a:pt x="2423706" y="4614879"/>
                </a:cubicBezTo>
                <a:cubicBezTo>
                  <a:pt x="2418551" y="4616767"/>
                  <a:pt x="2416831" y="4617767"/>
                  <a:pt x="2413107" y="4618655"/>
                </a:cubicBezTo>
                <a:cubicBezTo>
                  <a:pt x="2413108" y="4619766"/>
                  <a:pt x="2413108" y="4620988"/>
                  <a:pt x="2411388" y="4621988"/>
                </a:cubicBezTo>
                <a:cubicBezTo>
                  <a:pt x="2407952" y="4623988"/>
                  <a:pt x="2404513" y="4622544"/>
                  <a:pt x="2401075" y="4623432"/>
                </a:cubicBezTo>
                <a:cubicBezTo>
                  <a:pt x="2399358" y="4622211"/>
                  <a:pt x="2397638" y="4619656"/>
                  <a:pt x="2401362" y="4617655"/>
                </a:cubicBezTo>
                <a:cubicBezTo>
                  <a:pt x="2404799" y="4614545"/>
                  <a:pt x="2409957" y="4614990"/>
                  <a:pt x="2415112" y="4616545"/>
                </a:cubicBezTo>
                <a:cubicBezTo>
                  <a:pt x="2416832" y="4616100"/>
                  <a:pt x="2418263" y="4615323"/>
                  <a:pt x="2419409" y="4614879"/>
                </a:cubicBezTo>
                <a:close/>
                <a:moveTo>
                  <a:pt x="5762734" y="4614768"/>
                </a:moveTo>
                <a:cubicBezTo>
                  <a:pt x="5765886" y="4632986"/>
                  <a:pt x="5777917" y="4643315"/>
                  <a:pt x="5773047" y="4652758"/>
                </a:cubicBezTo>
                <a:lnTo>
                  <a:pt x="5770182" y="4654979"/>
                </a:lnTo>
                <a:lnTo>
                  <a:pt x="5773047" y="4658645"/>
                </a:lnTo>
                <a:cubicBezTo>
                  <a:pt x="5773334" y="4660423"/>
                  <a:pt x="5773047" y="4662201"/>
                  <a:pt x="5771901" y="4663867"/>
                </a:cubicBezTo>
                <a:cubicBezTo>
                  <a:pt x="5770469" y="4666200"/>
                  <a:pt x="5767605" y="4668421"/>
                  <a:pt x="5762734" y="4669976"/>
                </a:cubicBezTo>
                <a:cubicBezTo>
                  <a:pt x="5758438" y="4670532"/>
                  <a:pt x="5753568" y="4667865"/>
                  <a:pt x="5749844" y="4664533"/>
                </a:cubicBezTo>
                <a:lnTo>
                  <a:pt x="5749844" y="4664422"/>
                </a:lnTo>
                <a:lnTo>
                  <a:pt x="5749557" y="4665866"/>
                </a:lnTo>
                <a:cubicBezTo>
                  <a:pt x="5748698" y="4665200"/>
                  <a:pt x="5748698" y="4664977"/>
                  <a:pt x="5748984" y="4664756"/>
                </a:cubicBezTo>
                <a:lnTo>
                  <a:pt x="5749557" y="4664088"/>
                </a:lnTo>
                <a:lnTo>
                  <a:pt x="5745546" y="4659090"/>
                </a:lnTo>
                <a:cubicBezTo>
                  <a:pt x="5744974" y="4657313"/>
                  <a:pt x="5744687" y="4655646"/>
                  <a:pt x="5745546" y="4654202"/>
                </a:cubicBezTo>
                <a:lnTo>
                  <a:pt x="5748698" y="4652536"/>
                </a:lnTo>
                <a:lnTo>
                  <a:pt x="5744400" y="4645871"/>
                </a:lnTo>
                <a:cubicBezTo>
                  <a:pt x="5740676" y="4637984"/>
                  <a:pt x="5738385" y="4628431"/>
                  <a:pt x="5735235" y="4619433"/>
                </a:cubicBezTo>
                <a:cubicBezTo>
                  <a:pt x="5747552" y="4618211"/>
                  <a:pt x="5753568" y="4617655"/>
                  <a:pt x="5762734" y="4614768"/>
                </a:cubicBezTo>
                <a:close/>
                <a:moveTo>
                  <a:pt x="5897086" y="4613545"/>
                </a:moveTo>
                <a:cubicBezTo>
                  <a:pt x="5899092" y="4614101"/>
                  <a:pt x="5901956" y="4615768"/>
                  <a:pt x="5904249" y="4616323"/>
                </a:cubicBezTo>
                <a:cubicBezTo>
                  <a:pt x="5904249" y="4616323"/>
                  <a:pt x="5904248" y="4616212"/>
                  <a:pt x="5903388" y="4617878"/>
                </a:cubicBezTo>
                <a:cubicBezTo>
                  <a:pt x="5902242" y="4615768"/>
                  <a:pt x="5895081" y="4616767"/>
                  <a:pt x="5897086" y="4613545"/>
                </a:cubicBezTo>
                <a:close/>
                <a:moveTo>
                  <a:pt x="2518813" y="4613214"/>
                </a:moveTo>
                <a:cubicBezTo>
                  <a:pt x="2523397" y="4612990"/>
                  <a:pt x="2527693" y="4613545"/>
                  <a:pt x="2531704" y="4615212"/>
                </a:cubicBezTo>
                <a:cubicBezTo>
                  <a:pt x="2533995" y="4616434"/>
                  <a:pt x="2535714" y="4617767"/>
                  <a:pt x="2536860" y="4619211"/>
                </a:cubicBezTo>
                <a:cubicBezTo>
                  <a:pt x="2545741" y="4628986"/>
                  <a:pt x="2531704" y="4641983"/>
                  <a:pt x="2514515" y="4645204"/>
                </a:cubicBezTo>
                <a:cubicBezTo>
                  <a:pt x="2502771" y="4647316"/>
                  <a:pt x="2489306" y="4644871"/>
                  <a:pt x="2480713" y="4633540"/>
                </a:cubicBezTo>
                <a:cubicBezTo>
                  <a:pt x="2489306" y="4621988"/>
                  <a:pt x="2504776" y="4613879"/>
                  <a:pt x="2518813" y="4613214"/>
                </a:cubicBezTo>
                <a:close/>
                <a:moveTo>
                  <a:pt x="2301386" y="4611991"/>
                </a:moveTo>
                <a:cubicBezTo>
                  <a:pt x="2309693" y="4611991"/>
                  <a:pt x="2317429" y="4614434"/>
                  <a:pt x="2318001" y="4618878"/>
                </a:cubicBezTo>
                <a:cubicBezTo>
                  <a:pt x="2318001" y="4620099"/>
                  <a:pt x="2317714" y="4621544"/>
                  <a:pt x="2316569" y="4623099"/>
                </a:cubicBezTo>
                <a:cubicBezTo>
                  <a:pt x="2305110" y="4628431"/>
                  <a:pt x="2294797" y="4630431"/>
                  <a:pt x="2284198" y="4622877"/>
                </a:cubicBezTo>
                <a:cubicBezTo>
                  <a:pt x="2286204" y="4621988"/>
                  <a:pt x="2284772" y="4620544"/>
                  <a:pt x="2283340" y="4619212"/>
                </a:cubicBezTo>
                <a:cubicBezTo>
                  <a:pt x="2285057" y="4614212"/>
                  <a:pt x="2293365" y="4611879"/>
                  <a:pt x="2301386" y="4611991"/>
                </a:cubicBezTo>
                <a:close/>
                <a:moveTo>
                  <a:pt x="5916567" y="4611546"/>
                </a:moveTo>
                <a:cubicBezTo>
                  <a:pt x="5920862" y="4610990"/>
                  <a:pt x="5923441" y="4613213"/>
                  <a:pt x="5926306" y="4615433"/>
                </a:cubicBezTo>
                <a:cubicBezTo>
                  <a:pt x="5920862" y="4617100"/>
                  <a:pt x="5925160" y="4621655"/>
                  <a:pt x="5917712" y="4620988"/>
                </a:cubicBezTo>
                <a:cubicBezTo>
                  <a:pt x="5914560" y="4619655"/>
                  <a:pt x="5912269" y="4617323"/>
                  <a:pt x="5911696" y="4613102"/>
                </a:cubicBezTo>
                <a:cubicBezTo>
                  <a:pt x="5913415" y="4612213"/>
                  <a:pt x="5915134" y="4611658"/>
                  <a:pt x="5916567" y="4611546"/>
                </a:cubicBezTo>
                <a:close/>
                <a:moveTo>
                  <a:pt x="2644285" y="4610769"/>
                </a:moveTo>
                <a:cubicBezTo>
                  <a:pt x="2646002" y="4610769"/>
                  <a:pt x="2648009" y="4610880"/>
                  <a:pt x="2648868" y="4610769"/>
                </a:cubicBezTo>
                <a:cubicBezTo>
                  <a:pt x="2649154" y="4611879"/>
                  <a:pt x="2648008" y="4613324"/>
                  <a:pt x="2648581" y="4614435"/>
                </a:cubicBezTo>
                <a:cubicBezTo>
                  <a:pt x="2646863" y="4614879"/>
                  <a:pt x="2643424" y="4615657"/>
                  <a:pt x="2641420" y="4614990"/>
                </a:cubicBezTo>
                <a:cubicBezTo>
                  <a:pt x="2639700" y="4615434"/>
                  <a:pt x="2639987" y="4611546"/>
                  <a:pt x="2639987" y="4611546"/>
                </a:cubicBezTo>
                <a:cubicBezTo>
                  <a:pt x="2640561" y="4610769"/>
                  <a:pt x="2642278" y="4610658"/>
                  <a:pt x="2644285" y="4610769"/>
                </a:cubicBezTo>
                <a:close/>
                <a:moveTo>
                  <a:pt x="5023370" y="4610768"/>
                </a:moveTo>
                <a:cubicBezTo>
                  <a:pt x="5023943" y="4611880"/>
                  <a:pt x="5022510" y="4613324"/>
                  <a:pt x="5023084" y="4614434"/>
                </a:cubicBezTo>
                <a:cubicBezTo>
                  <a:pt x="5021365" y="4614878"/>
                  <a:pt x="5017927" y="4615656"/>
                  <a:pt x="5015923" y="4614990"/>
                </a:cubicBezTo>
                <a:cubicBezTo>
                  <a:pt x="5014203" y="4615434"/>
                  <a:pt x="5014490" y="4611547"/>
                  <a:pt x="5014490" y="4611547"/>
                </a:cubicBezTo>
                <a:cubicBezTo>
                  <a:pt x="5015350" y="4610769"/>
                  <a:pt x="5016781" y="4610658"/>
                  <a:pt x="5018786" y="4610769"/>
                </a:cubicBezTo>
                <a:cubicBezTo>
                  <a:pt x="5020505" y="4610769"/>
                  <a:pt x="5022510" y="4610880"/>
                  <a:pt x="5023370" y="4610768"/>
                </a:cubicBezTo>
                <a:close/>
                <a:moveTo>
                  <a:pt x="6122534" y="4608103"/>
                </a:moveTo>
                <a:cubicBezTo>
                  <a:pt x="6124539" y="4608325"/>
                  <a:pt x="6125971" y="4608768"/>
                  <a:pt x="6126830" y="4609547"/>
                </a:cubicBezTo>
                <a:cubicBezTo>
                  <a:pt x="6128263" y="4610880"/>
                  <a:pt x="6128263" y="4611990"/>
                  <a:pt x="6128263" y="4611990"/>
                </a:cubicBezTo>
                <a:cubicBezTo>
                  <a:pt x="6124539" y="4615101"/>
                  <a:pt x="6119382" y="4616878"/>
                  <a:pt x="6114799" y="4612768"/>
                </a:cubicBezTo>
                <a:cubicBezTo>
                  <a:pt x="6113080" y="4611436"/>
                  <a:pt x="6111648" y="4610213"/>
                  <a:pt x="6113366" y="4610324"/>
                </a:cubicBezTo>
                <a:cubicBezTo>
                  <a:pt x="6113366" y="4609214"/>
                  <a:pt x="6115086" y="4609324"/>
                  <a:pt x="6116804" y="4608325"/>
                </a:cubicBezTo>
                <a:cubicBezTo>
                  <a:pt x="6118523" y="4607991"/>
                  <a:pt x="6120815" y="4607881"/>
                  <a:pt x="6122534" y="4608103"/>
                </a:cubicBezTo>
                <a:close/>
                <a:moveTo>
                  <a:pt x="5622367" y="4607881"/>
                </a:moveTo>
                <a:cubicBezTo>
                  <a:pt x="5629242" y="4607769"/>
                  <a:pt x="5633826" y="4609769"/>
                  <a:pt x="5639555" y="4615323"/>
                </a:cubicBezTo>
                <a:cubicBezTo>
                  <a:pt x="5638695" y="4621099"/>
                  <a:pt x="5625804" y="4626209"/>
                  <a:pt x="5618643" y="4619211"/>
                </a:cubicBezTo>
                <a:cubicBezTo>
                  <a:pt x="5617497" y="4615434"/>
                  <a:pt x="5616638" y="4611769"/>
                  <a:pt x="5622367" y="4607881"/>
                </a:cubicBezTo>
                <a:close/>
                <a:moveTo>
                  <a:pt x="3247865" y="4607880"/>
                </a:moveTo>
                <a:cubicBezTo>
                  <a:pt x="3254740" y="4607770"/>
                  <a:pt x="3259323" y="4609769"/>
                  <a:pt x="3265052" y="4615322"/>
                </a:cubicBezTo>
                <a:cubicBezTo>
                  <a:pt x="3263906" y="4621100"/>
                  <a:pt x="3251015" y="4626209"/>
                  <a:pt x="3243854" y="4619212"/>
                </a:cubicBezTo>
                <a:cubicBezTo>
                  <a:pt x="3242995" y="4615434"/>
                  <a:pt x="3241848" y="4611769"/>
                  <a:pt x="3247865" y="4607880"/>
                </a:cubicBezTo>
                <a:close/>
                <a:moveTo>
                  <a:pt x="3291407" y="4607437"/>
                </a:moveTo>
                <a:cubicBezTo>
                  <a:pt x="3301434" y="4606437"/>
                  <a:pt x="3314325" y="4609880"/>
                  <a:pt x="3316330" y="4615434"/>
                </a:cubicBezTo>
                <a:cubicBezTo>
                  <a:pt x="3299714" y="4613545"/>
                  <a:pt x="3302579" y="4615434"/>
                  <a:pt x="3282813" y="4609880"/>
                </a:cubicBezTo>
                <a:cubicBezTo>
                  <a:pt x="3285104" y="4608547"/>
                  <a:pt x="3287969" y="4607769"/>
                  <a:pt x="3291407" y="4607437"/>
                </a:cubicBezTo>
                <a:close/>
                <a:moveTo>
                  <a:pt x="2662617" y="4607436"/>
                </a:moveTo>
                <a:cubicBezTo>
                  <a:pt x="2663764" y="4607325"/>
                  <a:pt x="2665482" y="4607881"/>
                  <a:pt x="2667487" y="4608547"/>
                </a:cubicBezTo>
                <a:cubicBezTo>
                  <a:pt x="2666915" y="4609769"/>
                  <a:pt x="2666628" y="4610769"/>
                  <a:pt x="2665482" y="4611324"/>
                </a:cubicBezTo>
                <a:cubicBezTo>
                  <a:pt x="2664336" y="4611879"/>
                  <a:pt x="2662617" y="4612102"/>
                  <a:pt x="2659753" y="4611547"/>
                </a:cubicBezTo>
                <a:cubicBezTo>
                  <a:pt x="2659753" y="4611547"/>
                  <a:pt x="2659181" y="4610547"/>
                  <a:pt x="2659181" y="4610547"/>
                </a:cubicBezTo>
                <a:cubicBezTo>
                  <a:pt x="2660326" y="4608547"/>
                  <a:pt x="2661186" y="4607658"/>
                  <a:pt x="2662617" y="4607436"/>
                </a:cubicBezTo>
                <a:close/>
                <a:moveTo>
                  <a:pt x="5407232" y="4605882"/>
                </a:moveTo>
                <a:cubicBezTo>
                  <a:pt x="5409524" y="4605659"/>
                  <a:pt x="5412102" y="4606436"/>
                  <a:pt x="5413821" y="4608103"/>
                </a:cubicBezTo>
                <a:cubicBezTo>
                  <a:pt x="5414967" y="4609214"/>
                  <a:pt x="5415826" y="4610769"/>
                  <a:pt x="5416112" y="4612546"/>
                </a:cubicBezTo>
                <a:lnTo>
                  <a:pt x="5411529" y="4612990"/>
                </a:lnTo>
                <a:lnTo>
                  <a:pt x="5410097" y="4615768"/>
                </a:lnTo>
                <a:cubicBezTo>
                  <a:pt x="5410097" y="4615768"/>
                  <a:pt x="5408664" y="4615546"/>
                  <a:pt x="5408664" y="4615546"/>
                </a:cubicBezTo>
                <a:lnTo>
                  <a:pt x="5406659" y="4613546"/>
                </a:lnTo>
                <a:lnTo>
                  <a:pt x="5406086" y="4613545"/>
                </a:lnTo>
                <a:cubicBezTo>
                  <a:pt x="5403508" y="4612990"/>
                  <a:pt x="5401503" y="4611658"/>
                  <a:pt x="5400070" y="4609880"/>
                </a:cubicBezTo>
                <a:cubicBezTo>
                  <a:pt x="5402076" y="4607436"/>
                  <a:pt x="5404654" y="4606103"/>
                  <a:pt x="5407232" y="4605882"/>
                </a:cubicBezTo>
                <a:close/>
                <a:moveTo>
                  <a:pt x="3032443" y="4605881"/>
                </a:moveTo>
                <a:cubicBezTo>
                  <a:pt x="3035021" y="4605659"/>
                  <a:pt x="3037313" y="4606436"/>
                  <a:pt x="3039318" y="4608103"/>
                </a:cubicBezTo>
                <a:cubicBezTo>
                  <a:pt x="3040465" y="4609214"/>
                  <a:pt x="3041323" y="4610769"/>
                  <a:pt x="3041610" y="4612547"/>
                </a:cubicBezTo>
                <a:lnTo>
                  <a:pt x="3037026" y="4612990"/>
                </a:lnTo>
                <a:lnTo>
                  <a:pt x="3035594" y="4615768"/>
                </a:lnTo>
                <a:cubicBezTo>
                  <a:pt x="3035594" y="4615768"/>
                  <a:pt x="3033875" y="4615545"/>
                  <a:pt x="3033875" y="4615545"/>
                </a:cubicBezTo>
                <a:lnTo>
                  <a:pt x="3032157" y="4613545"/>
                </a:lnTo>
                <a:lnTo>
                  <a:pt x="3031583" y="4613546"/>
                </a:lnTo>
                <a:cubicBezTo>
                  <a:pt x="3029006" y="4612991"/>
                  <a:pt x="3026714" y="4611658"/>
                  <a:pt x="3025569" y="4609880"/>
                </a:cubicBezTo>
                <a:cubicBezTo>
                  <a:pt x="3027573" y="4607437"/>
                  <a:pt x="3029865" y="4606103"/>
                  <a:pt x="3032443" y="4605881"/>
                </a:cubicBezTo>
                <a:close/>
                <a:moveTo>
                  <a:pt x="2501051" y="4605437"/>
                </a:moveTo>
                <a:cubicBezTo>
                  <a:pt x="2504776" y="4605437"/>
                  <a:pt x="2508213" y="4606214"/>
                  <a:pt x="2512225" y="4607547"/>
                </a:cubicBezTo>
                <a:cubicBezTo>
                  <a:pt x="2511651" y="4609879"/>
                  <a:pt x="2505921" y="4612879"/>
                  <a:pt x="2501911" y="4614990"/>
                </a:cubicBezTo>
                <a:cubicBezTo>
                  <a:pt x="2496755" y="4614657"/>
                  <a:pt x="2492458" y="4612102"/>
                  <a:pt x="2489879" y="4608547"/>
                </a:cubicBezTo>
                <a:cubicBezTo>
                  <a:pt x="2493890" y="4606436"/>
                  <a:pt x="2497614" y="4605548"/>
                  <a:pt x="2501051" y="4605437"/>
                </a:cubicBezTo>
                <a:close/>
                <a:moveTo>
                  <a:pt x="5920004" y="4599772"/>
                </a:moveTo>
                <a:cubicBezTo>
                  <a:pt x="5921149" y="4599883"/>
                  <a:pt x="5921722" y="4599883"/>
                  <a:pt x="5922008" y="4600215"/>
                </a:cubicBezTo>
                <a:cubicBezTo>
                  <a:pt x="5922295" y="4600438"/>
                  <a:pt x="5922008" y="4600771"/>
                  <a:pt x="5921436" y="4601549"/>
                </a:cubicBezTo>
                <a:cubicBezTo>
                  <a:pt x="5919145" y="4601326"/>
                  <a:pt x="5920862" y="4600660"/>
                  <a:pt x="5920004" y="4599772"/>
                </a:cubicBezTo>
                <a:close/>
                <a:moveTo>
                  <a:pt x="5062042" y="4599328"/>
                </a:moveTo>
                <a:cubicBezTo>
                  <a:pt x="5064334" y="4598883"/>
                  <a:pt x="5066912" y="4599327"/>
                  <a:pt x="5070064" y="4600105"/>
                </a:cubicBezTo>
                <a:lnTo>
                  <a:pt x="5064335" y="4603104"/>
                </a:lnTo>
                <a:lnTo>
                  <a:pt x="5070064" y="4606325"/>
                </a:lnTo>
                <a:cubicBezTo>
                  <a:pt x="5061756" y="4609103"/>
                  <a:pt x="5055454" y="4610103"/>
                  <a:pt x="5050298" y="4610102"/>
                </a:cubicBezTo>
                <a:lnTo>
                  <a:pt x="5041705" y="4608991"/>
                </a:lnTo>
                <a:lnTo>
                  <a:pt x="5039985" y="4611324"/>
                </a:lnTo>
                <a:cubicBezTo>
                  <a:pt x="5038840" y="4611879"/>
                  <a:pt x="5037120" y="4612102"/>
                  <a:pt x="5034256" y="4611547"/>
                </a:cubicBezTo>
                <a:cubicBezTo>
                  <a:pt x="5034256" y="4611547"/>
                  <a:pt x="5033682" y="4610547"/>
                  <a:pt x="5033682" y="4610547"/>
                </a:cubicBezTo>
                <a:cubicBezTo>
                  <a:pt x="5034828" y="4608547"/>
                  <a:pt x="5035688" y="4607657"/>
                  <a:pt x="5037120" y="4607437"/>
                </a:cubicBezTo>
                <a:lnTo>
                  <a:pt x="5037693" y="4607548"/>
                </a:lnTo>
                <a:lnTo>
                  <a:pt x="5043422" y="4603771"/>
                </a:lnTo>
                <a:cubicBezTo>
                  <a:pt x="5046574" y="4602660"/>
                  <a:pt x="5050011" y="4601993"/>
                  <a:pt x="5053449" y="4601772"/>
                </a:cubicBezTo>
                <a:lnTo>
                  <a:pt x="5058032" y="4602104"/>
                </a:lnTo>
                <a:close/>
                <a:moveTo>
                  <a:pt x="2687540" y="4599327"/>
                </a:moveTo>
                <a:cubicBezTo>
                  <a:pt x="2689831" y="4598883"/>
                  <a:pt x="2692123" y="4599327"/>
                  <a:pt x="2695561" y="4600105"/>
                </a:cubicBezTo>
                <a:cubicBezTo>
                  <a:pt x="2692123" y="4603659"/>
                  <a:pt x="2688399" y="4603659"/>
                  <a:pt x="2681238" y="4603659"/>
                </a:cubicBezTo>
                <a:cubicBezTo>
                  <a:pt x="2683243" y="4601105"/>
                  <a:pt x="2685248" y="4599771"/>
                  <a:pt x="2687540" y="4599327"/>
                </a:cubicBezTo>
                <a:close/>
                <a:moveTo>
                  <a:pt x="2529411" y="4598217"/>
                </a:moveTo>
                <a:cubicBezTo>
                  <a:pt x="2532849" y="4597661"/>
                  <a:pt x="2537146" y="4598771"/>
                  <a:pt x="2536287" y="4601993"/>
                </a:cubicBezTo>
                <a:cubicBezTo>
                  <a:pt x="2533995" y="4602549"/>
                  <a:pt x="2531130" y="4604215"/>
                  <a:pt x="2527406" y="4604326"/>
                </a:cubicBezTo>
                <a:cubicBezTo>
                  <a:pt x="2523397" y="4600994"/>
                  <a:pt x="2525974" y="4598772"/>
                  <a:pt x="2529411" y="4598217"/>
                </a:cubicBezTo>
                <a:close/>
                <a:moveTo>
                  <a:pt x="2255839" y="4597328"/>
                </a:moveTo>
                <a:cubicBezTo>
                  <a:pt x="2261854" y="4598549"/>
                  <a:pt x="2270161" y="4603215"/>
                  <a:pt x="2273885" y="4606103"/>
                </a:cubicBezTo>
                <a:cubicBezTo>
                  <a:pt x="2272739" y="4606548"/>
                  <a:pt x="2270735" y="4606436"/>
                  <a:pt x="2268729" y="4605992"/>
                </a:cubicBezTo>
                <a:cubicBezTo>
                  <a:pt x="2262713" y="4604659"/>
                  <a:pt x="2254406" y="4600215"/>
                  <a:pt x="2250968" y="4597328"/>
                </a:cubicBezTo>
                <a:cubicBezTo>
                  <a:pt x="2252114" y="4596773"/>
                  <a:pt x="2253833" y="4596883"/>
                  <a:pt x="2255839" y="4597328"/>
                </a:cubicBezTo>
                <a:close/>
                <a:moveTo>
                  <a:pt x="6276365" y="4595328"/>
                </a:moveTo>
                <a:cubicBezTo>
                  <a:pt x="6278370" y="4594995"/>
                  <a:pt x="6280662" y="4595217"/>
                  <a:pt x="6283240" y="4596105"/>
                </a:cubicBezTo>
                <a:cubicBezTo>
                  <a:pt x="6290115" y="4605437"/>
                  <a:pt x="6276938" y="4611769"/>
                  <a:pt x="6267771" y="4610213"/>
                </a:cubicBezTo>
                <a:cubicBezTo>
                  <a:pt x="6264620" y="4609658"/>
                  <a:pt x="6262042" y="4608325"/>
                  <a:pt x="6260610" y="4605881"/>
                </a:cubicBezTo>
                <a:cubicBezTo>
                  <a:pt x="6265480" y="4601438"/>
                  <a:pt x="6270062" y="4596217"/>
                  <a:pt x="6276365" y="4595328"/>
                </a:cubicBezTo>
                <a:close/>
                <a:moveTo>
                  <a:pt x="5692264" y="4592995"/>
                </a:moveTo>
                <a:cubicBezTo>
                  <a:pt x="5695988" y="4592329"/>
                  <a:pt x="5701144" y="4594773"/>
                  <a:pt x="5706301" y="4603771"/>
                </a:cubicBezTo>
                <a:cubicBezTo>
                  <a:pt x="5697420" y="4608436"/>
                  <a:pt x="5691691" y="4608658"/>
                  <a:pt x="5688540" y="4607103"/>
                </a:cubicBezTo>
                <a:cubicBezTo>
                  <a:pt x="5682812" y="4603993"/>
                  <a:pt x="5685676" y="4594218"/>
                  <a:pt x="5692264" y="4592995"/>
                </a:cubicBezTo>
                <a:close/>
                <a:moveTo>
                  <a:pt x="5502911" y="4590329"/>
                </a:moveTo>
                <a:cubicBezTo>
                  <a:pt x="5517234" y="4589440"/>
                  <a:pt x="5530985" y="4594329"/>
                  <a:pt x="5534996" y="4608325"/>
                </a:cubicBezTo>
                <a:lnTo>
                  <a:pt x="5534709" y="4613879"/>
                </a:lnTo>
                <a:lnTo>
                  <a:pt x="5534995" y="4613991"/>
                </a:lnTo>
                <a:lnTo>
                  <a:pt x="5534422" y="4616212"/>
                </a:lnTo>
                <a:lnTo>
                  <a:pt x="5534422" y="4617988"/>
                </a:lnTo>
                <a:cubicBezTo>
                  <a:pt x="5532704" y="4622655"/>
                  <a:pt x="5529552" y="4627320"/>
                  <a:pt x="5526401" y="4632541"/>
                </a:cubicBezTo>
                <a:lnTo>
                  <a:pt x="5520099" y="4644427"/>
                </a:lnTo>
                <a:lnTo>
                  <a:pt x="5520958" y="4644761"/>
                </a:lnTo>
                <a:cubicBezTo>
                  <a:pt x="5522391" y="4650869"/>
                  <a:pt x="5521818" y="4655980"/>
                  <a:pt x="5520672" y="4660534"/>
                </a:cubicBezTo>
                <a:lnTo>
                  <a:pt x="5518953" y="4666199"/>
                </a:lnTo>
                <a:lnTo>
                  <a:pt x="5520672" y="4666200"/>
                </a:lnTo>
                <a:cubicBezTo>
                  <a:pt x="5521532" y="4666199"/>
                  <a:pt x="5522104" y="4666199"/>
                  <a:pt x="5521818" y="4666754"/>
                </a:cubicBezTo>
                <a:cubicBezTo>
                  <a:pt x="5523537" y="4666977"/>
                  <a:pt x="5523537" y="4668088"/>
                  <a:pt x="5521819" y="4667977"/>
                </a:cubicBezTo>
                <a:cubicBezTo>
                  <a:pt x="5520959" y="4668976"/>
                  <a:pt x="5519812" y="4668866"/>
                  <a:pt x="5518667" y="4668309"/>
                </a:cubicBezTo>
                <a:lnTo>
                  <a:pt x="5518380" y="4668087"/>
                </a:lnTo>
                <a:lnTo>
                  <a:pt x="5516948" y="4671975"/>
                </a:lnTo>
                <a:cubicBezTo>
                  <a:pt x="5504630" y="4672975"/>
                  <a:pt x="5495463" y="4675863"/>
                  <a:pt x="5483145" y="4676863"/>
                </a:cubicBezTo>
                <a:lnTo>
                  <a:pt x="5479994" y="4675308"/>
                </a:lnTo>
                <a:lnTo>
                  <a:pt x="5479421" y="4676641"/>
                </a:lnTo>
                <a:cubicBezTo>
                  <a:pt x="5477130" y="4676419"/>
                  <a:pt x="5474838" y="4676086"/>
                  <a:pt x="5472260" y="4675864"/>
                </a:cubicBezTo>
                <a:lnTo>
                  <a:pt x="5471974" y="4674308"/>
                </a:lnTo>
                <a:lnTo>
                  <a:pt x="5464525" y="4674086"/>
                </a:lnTo>
                <a:cubicBezTo>
                  <a:pt x="5467103" y="4671087"/>
                  <a:pt x="5458223" y="4667088"/>
                  <a:pt x="5461947" y="4662644"/>
                </a:cubicBezTo>
                <a:lnTo>
                  <a:pt x="5463666" y="4660534"/>
                </a:lnTo>
                <a:lnTo>
                  <a:pt x="5463952" y="4654202"/>
                </a:lnTo>
                <a:cubicBezTo>
                  <a:pt x="5465098" y="4651758"/>
                  <a:pt x="5467103" y="4649314"/>
                  <a:pt x="5469681" y="4647204"/>
                </a:cubicBezTo>
                <a:lnTo>
                  <a:pt x="5476843" y="4643427"/>
                </a:lnTo>
                <a:lnTo>
                  <a:pt x="5475697" y="4642538"/>
                </a:lnTo>
                <a:cubicBezTo>
                  <a:pt x="5474838" y="4640650"/>
                  <a:pt x="5474838" y="4638317"/>
                  <a:pt x="5475124" y="4635984"/>
                </a:cubicBezTo>
                <a:lnTo>
                  <a:pt x="5475124" y="4635429"/>
                </a:lnTo>
                <a:lnTo>
                  <a:pt x="5469968" y="4632652"/>
                </a:lnTo>
                <a:cubicBezTo>
                  <a:pt x="5468249" y="4631319"/>
                  <a:pt x="5466530" y="4629875"/>
                  <a:pt x="5465671" y="4627987"/>
                </a:cubicBezTo>
                <a:lnTo>
                  <a:pt x="5463952" y="4621655"/>
                </a:lnTo>
                <a:lnTo>
                  <a:pt x="5459942" y="4620877"/>
                </a:lnTo>
                <a:cubicBezTo>
                  <a:pt x="5457363" y="4608214"/>
                  <a:pt x="5461947" y="4604104"/>
                  <a:pt x="5468536" y="4604214"/>
                </a:cubicBezTo>
                <a:lnTo>
                  <a:pt x="5469681" y="4604659"/>
                </a:lnTo>
                <a:lnTo>
                  <a:pt x="5475984" y="4598994"/>
                </a:lnTo>
                <a:cubicBezTo>
                  <a:pt x="5483432" y="4594106"/>
                  <a:pt x="5493458" y="4590885"/>
                  <a:pt x="5502911" y="4590329"/>
                </a:cubicBezTo>
                <a:close/>
                <a:moveTo>
                  <a:pt x="5858700" y="4589774"/>
                </a:moveTo>
                <a:cubicBezTo>
                  <a:pt x="5862997" y="4590219"/>
                  <a:pt x="5870732" y="4590885"/>
                  <a:pt x="5873597" y="4592884"/>
                </a:cubicBezTo>
                <a:cubicBezTo>
                  <a:pt x="5874742" y="4593662"/>
                  <a:pt x="5875315" y="4594438"/>
                  <a:pt x="5874742" y="4595439"/>
                </a:cubicBezTo>
                <a:cubicBezTo>
                  <a:pt x="5873883" y="4596994"/>
                  <a:pt x="5871878" y="4596550"/>
                  <a:pt x="5870445" y="4596994"/>
                </a:cubicBezTo>
                <a:cubicBezTo>
                  <a:pt x="5866721" y="4596994"/>
                  <a:pt x="5857840" y="4591329"/>
                  <a:pt x="5858700" y="4589774"/>
                </a:cubicBezTo>
                <a:close/>
                <a:moveTo>
                  <a:pt x="6060944" y="4589774"/>
                </a:moveTo>
                <a:cubicBezTo>
                  <a:pt x="6062949" y="4589885"/>
                  <a:pt x="6064954" y="4590551"/>
                  <a:pt x="6066960" y="4591996"/>
                </a:cubicBezTo>
                <a:cubicBezTo>
                  <a:pt x="6065240" y="4596661"/>
                  <a:pt x="6053782" y="4599438"/>
                  <a:pt x="6043756" y="4602660"/>
                </a:cubicBezTo>
                <a:cubicBezTo>
                  <a:pt x="6042324" y="4599549"/>
                  <a:pt x="6041750" y="4597883"/>
                  <a:pt x="6039459" y="4595883"/>
                </a:cubicBezTo>
                <a:cubicBezTo>
                  <a:pt x="6050058" y="4593440"/>
                  <a:pt x="6055501" y="4589330"/>
                  <a:pt x="6060944" y="4589774"/>
                </a:cubicBezTo>
                <a:close/>
                <a:moveTo>
                  <a:pt x="3034449" y="4589219"/>
                </a:moveTo>
                <a:cubicBezTo>
                  <a:pt x="3036167" y="4590885"/>
                  <a:pt x="3036740" y="4592328"/>
                  <a:pt x="3036454" y="4593884"/>
                </a:cubicBezTo>
                <a:lnTo>
                  <a:pt x="3034448" y="4597327"/>
                </a:lnTo>
                <a:lnTo>
                  <a:pt x="3046480" y="4598772"/>
                </a:lnTo>
                <a:cubicBezTo>
                  <a:pt x="3050777" y="4599105"/>
                  <a:pt x="3054215" y="4599661"/>
                  <a:pt x="3055646" y="4601438"/>
                </a:cubicBezTo>
                <a:cubicBezTo>
                  <a:pt x="3056792" y="4602548"/>
                  <a:pt x="3057080" y="4604215"/>
                  <a:pt x="3056220" y="4606659"/>
                </a:cubicBezTo>
                <a:cubicBezTo>
                  <a:pt x="3049344" y="4607770"/>
                  <a:pt x="3022418" y="4606436"/>
                  <a:pt x="3031870" y="4596883"/>
                </a:cubicBezTo>
                <a:lnTo>
                  <a:pt x="3032156" y="4596883"/>
                </a:lnTo>
                <a:lnTo>
                  <a:pt x="3030151" y="4593662"/>
                </a:lnTo>
                <a:cubicBezTo>
                  <a:pt x="3030439" y="4592107"/>
                  <a:pt x="3032156" y="4590774"/>
                  <a:pt x="3034449" y="4589219"/>
                </a:cubicBezTo>
                <a:close/>
                <a:moveTo>
                  <a:pt x="5408951" y="4589219"/>
                </a:moveTo>
                <a:cubicBezTo>
                  <a:pt x="5410670" y="4590885"/>
                  <a:pt x="5411242" y="4592329"/>
                  <a:pt x="5410956" y="4593884"/>
                </a:cubicBezTo>
                <a:lnTo>
                  <a:pt x="5409237" y="4597328"/>
                </a:lnTo>
                <a:lnTo>
                  <a:pt x="5420982" y="4598772"/>
                </a:lnTo>
                <a:cubicBezTo>
                  <a:pt x="5425279" y="4599105"/>
                  <a:pt x="5428717" y="4599660"/>
                  <a:pt x="5430436" y="4601438"/>
                </a:cubicBezTo>
                <a:cubicBezTo>
                  <a:pt x="5431582" y="4602549"/>
                  <a:pt x="5431582" y="4604215"/>
                  <a:pt x="5430722" y="4606659"/>
                </a:cubicBezTo>
                <a:cubicBezTo>
                  <a:pt x="5423847" y="4607769"/>
                  <a:pt x="5396920" y="4606437"/>
                  <a:pt x="5406373" y="4596883"/>
                </a:cubicBezTo>
                <a:lnTo>
                  <a:pt x="5406659" y="4596883"/>
                </a:lnTo>
                <a:lnTo>
                  <a:pt x="5404654" y="4593662"/>
                </a:lnTo>
                <a:cubicBezTo>
                  <a:pt x="5404940" y="4592107"/>
                  <a:pt x="5406659" y="4590774"/>
                  <a:pt x="5408951" y="4589219"/>
                </a:cubicBezTo>
                <a:close/>
                <a:moveTo>
                  <a:pt x="2412820" y="4588996"/>
                </a:moveTo>
                <a:cubicBezTo>
                  <a:pt x="2413107" y="4589219"/>
                  <a:pt x="2413394" y="4589552"/>
                  <a:pt x="2414253" y="4589663"/>
                </a:cubicBezTo>
                <a:cubicBezTo>
                  <a:pt x="2412821" y="4590774"/>
                  <a:pt x="2412534" y="4590774"/>
                  <a:pt x="2411102" y="4589330"/>
                </a:cubicBezTo>
                <a:cubicBezTo>
                  <a:pt x="2411961" y="4588774"/>
                  <a:pt x="2412248" y="4588774"/>
                  <a:pt x="2412820" y="4588996"/>
                </a:cubicBezTo>
                <a:close/>
                <a:moveTo>
                  <a:pt x="5296084" y="4587996"/>
                </a:moveTo>
                <a:cubicBezTo>
                  <a:pt x="5297230" y="4587886"/>
                  <a:pt x="5298662" y="4587885"/>
                  <a:pt x="5300381" y="4588330"/>
                </a:cubicBezTo>
                <a:cubicBezTo>
                  <a:pt x="5297803" y="4589885"/>
                  <a:pt x="5293219" y="4593218"/>
                  <a:pt x="5289782" y="4593662"/>
                </a:cubicBezTo>
                <a:cubicBezTo>
                  <a:pt x="5288636" y="4593884"/>
                  <a:pt x="5287490" y="4593662"/>
                  <a:pt x="5286630" y="4592996"/>
                </a:cubicBezTo>
                <a:cubicBezTo>
                  <a:pt x="5289495" y="4591440"/>
                  <a:pt x="5292074" y="4588663"/>
                  <a:pt x="5296084" y="4587996"/>
                </a:cubicBezTo>
                <a:close/>
                <a:moveTo>
                  <a:pt x="2921295" y="4587996"/>
                </a:moveTo>
                <a:cubicBezTo>
                  <a:pt x="2922727" y="4587885"/>
                  <a:pt x="2924159" y="4587886"/>
                  <a:pt x="2925878" y="4588330"/>
                </a:cubicBezTo>
                <a:cubicBezTo>
                  <a:pt x="2923300" y="4589885"/>
                  <a:pt x="2918716" y="4593218"/>
                  <a:pt x="2915279" y="4593661"/>
                </a:cubicBezTo>
                <a:cubicBezTo>
                  <a:pt x="2914134" y="4593884"/>
                  <a:pt x="2912987" y="4593662"/>
                  <a:pt x="2912128" y="4592995"/>
                </a:cubicBezTo>
                <a:cubicBezTo>
                  <a:pt x="2914707" y="4591441"/>
                  <a:pt x="2917284" y="4588663"/>
                  <a:pt x="2921295" y="4587996"/>
                </a:cubicBezTo>
                <a:close/>
                <a:moveTo>
                  <a:pt x="2477275" y="4587442"/>
                </a:moveTo>
                <a:cubicBezTo>
                  <a:pt x="2485009" y="4597661"/>
                  <a:pt x="2475557" y="4602770"/>
                  <a:pt x="2467249" y="4602104"/>
                </a:cubicBezTo>
                <a:cubicBezTo>
                  <a:pt x="2464384" y="4601882"/>
                  <a:pt x="2461807" y="4600882"/>
                  <a:pt x="2460088" y="4599327"/>
                </a:cubicBezTo>
                <a:cubicBezTo>
                  <a:pt x="2457795" y="4597216"/>
                  <a:pt x="2456650" y="4593884"/>
                  <a:pt x="2458942" y="4589219"/>
                </a:cubicBezTo>
                <a:cubicBezTo>
                  <a:pt x="2466676" y="4586553"/>
                  <a:pt x="2471259" y="4587996"/>
                  <a:pt x="2477275" y="4587442"/>
                </a:cubicBezTo>
                <a:close/>
                <a:moveTo>
                  <a:pt x="2058751" y="4587219"/>
                </a:moveTo>
                <a:cubicBezTo>
                  <a:pt x="2059897" y="4587441"/>
                  <a:pt x="2060184" y="4587664"/>
                  <a:pt x="2060470" y="4588108"/>
                </a:cubicBezTo>
                <a:cubicBezTo>
                  <a:pt x="2061042" y="4588552"/>
                  <a:pt x="2061330" y="4589330"/>
                  <a:pt x="2062189" y="4590885"/>
                </a:cubicBezTo>
                <a:cubicBezTo>
                  <a:pt x="2060183" y="4590329"/>
                  <a:pt x="2060183" y="4590329"/>
                  <a:pt x="2059037" y="4591774"/>
                </a:cubicBezTo>
                <a:cubicBezTo>
                  <a:pt x="2059037" y="4591774"/>
                  <a:pt x="2059037" y="4591774"/>
                  <a:pt x="2059610" y="4592884"/>
                </a:cubicBezTo>
                <a:cubicBezTo>
                  <a:pt x="2057891" y="4593218"/>
                  <a:pt x="2057605" y="4592218"/>
                  <a:pt x="2055887" y="4592662"/>
                </a:cubicBezTo>
                <a:cubicBezTo>
                  <a:pt x="2055887" y="4592662"/>
                  <a:pt x="2055600" y="4591663"/>
                  <a:pt x="2055600" y="4591663"/>
                </a:cubicBezTo>
                <a:cubicBezTo>
                  <a:pt x="2054741" y="4591774"/>
                  <a:pt x="2054741" y="4591774"/>
                  <a:pt x="2055027" y="4591441"/>
                </a:cubicBezTo>
                <a:cubicBezTo>
                  <a:pt x="2055314" y="4591107"/>
                  <a:pt x="2055887" y="4590329"/>
                  <a:pt x="2056172" y="4589108"/>
                </a:cubicBezTo>
                <a:cubicBezTo>
                  <a:pt x="2057318" y="4587663"/>
                  <a:pt x="2056745" y="4586553"/>
                  <a:pt x="2058751" y="4587219"/>
                </a:cubicBezTo>
                <a:close/>
                <a:moveTo>
                  <a:pt x="5457363" y="4585774"/>
                </a:moveTo>
                <a:cubicBezTo>
                  <a:pt x="5460801" y="4588330"/>
                  <a:pt x="5462233" y="4593218"/>
                  <a:pt x="5457077" y="4596328"/>
                </a:cubicBezTo>
                <a:cubicBezTo>
                  <a:pt x="5453353" y="4599549"/>
                  <a:pt x="5446478" y="4598994"/>
                  <a:pt x="5441321" y="4602104"/>
                </a:cubicBezTo>
                <a:cubicBezTo>
                  <a:pt x="5434733" y="4597994"/>
                  <a:pt x="5433014" y="4596772"/>
                  <a:pt x="5436738" y="4591218"/>
                </a:cubicBezTo>
                <a:cubicBezTo>
                  <a:pt x="5436738" y="4591218"/>
                  <a:pt x="5438457" y="4590108"/>
                  <a:pt x="5438457" y="4590108"/>
                </a:cubicBezTo>
                <a:cubicBezTo>
                  <a:pt x="5443613" y="4585887"/>
                  <a:pt x="5453926" y="4584331"/>
                  <a:pt x="5457363" y="4585774"/>
                </a:cubicBezTo>
                <a:close/>
                <a:moveTo>
                  <a:pt x="5083528" y="4585664"/>
                </a:moveTo>
                <a:cubicBezTo>
                  <a:pt x="5091835" y="4586108"/>
                  <a:pt x="5099856" y="4588663"/>
                  <a:pt x="5100715" y="4592551"/>
                </a:cubicBezTo>
                <a:cubicBezTo>
                  <a:pt x="5101288" y="4595995"/>
                  <a:pt x="5096132" y="4600438"/>
                  <a:pt x="5079230" y="4605215"/>
                </a:cubicBezTo>
                <a:cubicBezTo>
                  <a:pt x="5060897" y="4593106"/>
                  <a:pt x="5065766" y="4587330"/>
                  <a:pt x="5075506" y="4585997"/>
                </a:cubicBezTo>
                <a:cubicBezTo>
                  <a:pt x="5078084" y="4585553"/>
                  <a:pt x="5080663" y="4585553"/>
                  <a:pt x="5083528" y="4585664"/>
                </a:cubicBezTo>
                <a:close/>
                <a:moveTo>
                  <a:pt x="2708738" y="4585664"/>
                </a:moveTo>
                <a:cubicBezTo>
                  <a:pt x="2717047" y="4586108"/>
                  <a:pt x="2725354" y="4588663"/>
                  <a:pt x="2726212" y="4592551"/>
                </a:cubicBezTo>
                <a:cubicBezTo>
                  <a:pt x="2726786" y="4595995"/>
                  <a:pt x="2721343" y="4600438"/>
                  <a:pt x="2704441" y="4605214"/>
                </a:cubicBezTo>
                <a:cubicBezTo>
                  <a:pt x="2686394" y="4593107"/>
                  <a:pt x="2691264" y="4587330"/>
                  <a:pt x="2701005" y="4585998"/>
                </a:cubicBezTo>
                <a:cubicBezTo>
                  <a:pt x="2703583" y="4585553"/>
                  <a:pt x="2706160" y="4585553"/>
                  <a:pt x="2708738" y="4585664"/>
                </a:cubicBezTo>
                <a:close/>
                <a:moveTo>
                  <a:pt x="3275079" y="4585109"/>
                </a:moveTo>
                <a:cubicBezTo>
                  <a:pt x="3275938" y="4584887"/>
                  <a:pt x="3277084" y="4584886"/>
                  <a:pt x="3277657" y="4585109"/>
                </a:cubicBezTo>
                <a:cubicBezTo>
                  <a:pt x="3278516" y="4585219"/>
                  <a:pt x="3279375" y="4585553"/>
                  <a:pt x="3280234" y="4586219"/>
                </a:cubicBezTo>
                <a:cubicBezTo>
                  <a:pt x="3281954" y="4587553"/>
                  <a:pt x="3283386" y="4588774"/>
                  <a:pt x="3283387" y="4591107"/>
                </a:cubicBezTo>
                <a:lnTo>
                  <a:pt x="3278517" y="4592107"/>
                </a:lnTo>
                <a:lnTo>
                  <a:pt x="3282813" y="4592884"/>
                </a:lnTo>
                <a:cubicBezTo>
                  <a:pt x="3277371" y="4602438"/>
                  <a:pt x="3265911" y="4604437"/>
                  <a:pt x="3249296" y="4598661"/>
                </a:cubicBezTo>
                <a:cubicBezTo>
                  <a:pt x="3253593" y="4597217"/>
                  <a:pt x="3257031" y="4595328"/>
                  <a:pt x="3260468" y="4593662"/>
                </a:cubicBezTo>
                <a:lnTo>
                  <a:pt x="3271927" y="4590885"/>
                </a:lnTo>
                <a:lnTo>
                  <a:pt x="3269923" y="4587665"/>
                </a:lnTo>
                <a:cubicBezTo>
                  <a:pt x="3271641" y="4586664"/>
                  <a:pt x="3273359" y="4585553"/>
                  <a:pt x="3275079" y="4585109"/>
                </a:cubicBezTo>
                <a:close/>
                <a:moveTo>
                  <a:pt x="2208286" y="4585109"/>
                </a:moveTo>
                <a:cubicBezTo>
                  <a:pt x="2209145" y="4584886"/>
                  <a:pt x="2210005" y="4584887"/>
                  <a:pt x="2210864" y="4585109"/>
                </a:cubicBezTo>
                <a:cubicBezTo>
                  <a:pt x="2211722" y="4585220"/>
                  <a:pt x="2212582" y="4585553"/>
                  <a:pt x="2213441" y="4586219"/>
                </a:cubicBezTo>
                <a:cubicBezTo>
                  <a:pt x="2215161" y="4587552"/>
                  <a:pt x="2216592" y="4588774"/>
                  <a:pt x="2216592" y="4591107"/>
                </a:cubicBezTo>
                <a:cubicBezTo>
                  <a:pt x="2213156" y="4593107"/>
                  <a:pt x="2208285" y="4591663"/>
                  <a:pt x="2206566" y="4592662"/>
                </a:cubicBezTo>
                <a:cubicBezTo>
                  <a:pt x="2206567" y="4591551"/>
                  <a:pt x="2206566" y="4589108"/>
                  <a:pt x="2203130" y="4587664"/>
                </a:cubicBezTo>
                <a:cubicBezTo>
                  <a:pt x="2204847" y="4586664"/>
                  <a:pt x="2206566" y="4585553"/>
                  <a:pt x="2208286" y="4585109"/>
                </a:cubicBezTo>
                <a:close/>
                <a:moveTo>
                  <a:pt x="2161591" y="4583109"/>
                </a:moveTo>
                <a:cubicBezTo>
                  <a:pt x="2164170" y="4583443"/>
                  <a:pt x="2166748" y="4583998"/>
                  <a:pt x="2168180" y="4585109"/>
                </a:cubicBezTo>
                <a:cubicBezTo>
                  <a:pt x="2169612" y="4588330"/>
                  <a:pt x="2171045" y="4591552"/>
                  <a:pt x="2172478" y="4594884"/>
                </a:cubicBezTo>
                <a:cubicBezTo>
                  <a:pt x="2170185" y="4600549"/>
                  <a:pt x="2161878" y="4602882"/>
                  <a:pt x="2154717" y="4601216"/>
                </a:cubicBezTo>
                <a:cubicBezTo>
                  <a:pt x="2152424" y="4600659"/>
                  <a:pt x="2149846" y="4599660"/>
                  <a:pt x="2147841" y="4598105"/>
                </a:cubicBezTo>
                <a:cubicBezTo>
                  <a:pt x="2145263" y="4596217"/>
                  <a:pt x="2143258" y="4593329"/>
                  <a:pt x="2142112" y="4589663"/>
                </a:cubicBezTo>
                <a:cubicBezTo>
                  <a:pt x="2142971" y="4584997"/>
                  <a:pt x="2153570" y="4582332"/>
                  <a:pt x="2161591" y="4583109"/>
                </a:cubicBezTo>
                <a:close/>
                <a:moveTo>
                  <a:pt x="3059370" y="4580777"/>
                </a:moveTo>
                <a:cubicBezTo>
                  <a:pt x="3064527" y="4579999"/>
                  <a:pt x="3070256" y="4580776"/>
                  <a:pt x="3075127" y="4585553"/>
                </a:cubicBezTo>
                <a:lnTo>
                  <a:pt x="3074840" y="4585887"/>
                </a:lnTo>
                <a:lnTo>
                  <a:pt x="3082862" y="4585775"/>
                </a:lnTo>
                <a:cubicBezTo>
                  <a:pt x="3086013" y="4588330"/>
                  <a:pt x="3087444" y="4593218"/>
                  <a:pt x="3082288" y="4596328"/>
                </a:cubicBezTo>
                <a:cubicBezTo>
                  <a:pt x="3078850" y="4599549"/>
                  <a:pt x="3071975" y="4598994"/>
                  <a:pt x="3066819" y="4602103"/>
                </a:cubicBezTo>
                <a:cubicBezTo>
                  <a:pt x="3060230" y="4597994"/>
                  <a:pt x="3058512" y="4596773"/>
                  <a:pt x="3062235" y="4591218"/>
                </a:cubicBezTo>
                <a:cubicBezTo>
                  <a:pt x="3062235" y="4591218"/>
                  <a:pt x="3063954" y="4590107"/>
                  <a:pt x="3063954" y="4590107"/>
                </a:cubicBezTo>
                <a:lnTo>
                  <a:pt x="3066819" y="4588885"/>
                </a:lnTo>
                <a:lnTo>
                  <a:pt x="3058225" y="4587552"/>
                </a:lnTo>
                <a:cubicBezTo>
                  <a:pt x="3053928" y="4587219"/>
                  <a:pt x="3049631" y="4586997"/>
                  <a:pt x="3045620" y="4585886"/>
                </a:cubicBezTo>
                <a:cubicBezTo>
                  <a:pt x="3049058" y="4583998"/>
                  <a:pt x="3053928" y="4581554"/>
                  <a:pt x="3059370" y="4580777"/>
                </a:cubicBezTo>
                <a:close/>
                <a:moveTo>
                  <a:pt x="1992577" y="4580776"/>
                </a:moveTo>
                <a:cubicBezTo>
                  <a:pt x="1997734" y="4579999"/>
                  <a:pt x="2003464" y="4580776"/>
                  <a:pt x="2008333" y="4585553"/>
                </a:cubicBezTo>
                <a:cubicBezTo>
                  <a:pt x="2007187" y="4586886"/>
                  <a:pt x="2006328" y="4588330"/>
                  <a:pt x="2005183" y="4589774"/>
                </a:cubicBezTo>
                <a:cubicBezTo>
                  <a:pt x="1994869" y="4586664"/>
                  <a:pt x="1987134" y="4588107"/>
                  <a:pt x="1978828" y="4585886"/>
                </a:cubicBezTo>
                <a:cubicBezTo>
                  <a:pt x="1982266" y="4583998"/>
                  <a:pt x="1987134" y="4581554"/>
                  <a:pt x="1992577" y="4580776"/>
                </a:cubicBezTo>
                <a:close/>
                <a:moveTo>
                  <a:pt x="5946931" y="4580443"/>
                </a:moveTo>
                <a:cubicBezTo>
                  <a:pt x="5952088" y="4582221"/>
                  <a:pt x="5954379" y="4582665"/>
                  <a:pt x="5957529" y="4584109"/>
                </a:cubicBezTo>
                <a:cubicBezTo>
                  <a:pt x="5958962" y="4583554"/>
                  <a:pt x="5960395" y="4582887"/>
                  <a:pt x="5962686" y="4583220"/>
                </a:cubicBezTo>
                <a:cubicBezTo>
                  <a:pt x="5967270" y="4583998"/>
                  <a:pt x="5967270" y="4586664"/>
                  <a:pt x="5970134" y="4588108"/>
                </a:cubicBezTo>
                <a:cubicBezTo>
                  <a:pt x="5969562" y="4589774"/>
                  <a:pt x="5967270" y="4591995"/>
                  <a:pt x="5962973" y="4591218"/>
                </a:cubicBezTo>
                <a:cubicBezTo>
                  <a:pt x="5956957" y="4590996"/>
                  <a:pt x="5954379" y="4587996"/>
                  <a:pt x="5953520" y="4584331"/>
                </a:cubicBezTo>
                <a:cubicBezTo>
                  <a:pt x="5950655" y="4582887"/>
                  <a:pt x="5946931" y="4583109"/>
                  <a:pt x="5946931" y="4580443"/>
                </a:cubicBezTo>
                <a:close/>
                <a:moveTo>
                  <a:pt x="5325590" y="4579222"/>
                </a:moveTo>
                <a:cubicBezTo>
                  <a:pt x="5326450" y="4579888"/>
                  <a:pt x="5326449" y="4580554"/>
                  <a:pt x="5325876" y="4581109"/>
                </a:cubicBezTo>
                <a:cubicBezTo>
                  <a:pt x="5325303" y="4581665"/>
                  <a:pt x="5324444" y="4582109"/>
                  <a:pt x="5323584" y="4582665"/>
                </a:cubicBezTo>
                <a:cubicBezTo>
                  <a:pt x="5321579" y="4583664"/>
                  <a:pt x="5319860" y="4584664"/>
                  <a:pt x="5318143" y="4585664"/>
                </a:cubicBezTo>
                <a:cubicBezTo>
                  <a:pt x="5318143" y="4585664"/>
                  <a:pt x="5318143" y="4585664"/>
                  <a:pt x="5325590" y="4579222"/>
                </a:cubicBezTo>
                <a:close/>
                <a:moveTo>
                  <a:pt x="2951088" y="4579221"/>
                </a:moveTo>
                <a:cubicBezTo>
                  <a:pt x="2951946" y="4579888"/>
                  <a:pt x="2951660" y="4580554"/>
                  <a:pt x="2951373" y="4581108"/>
                </a:cubicBezTo>
                <a:cubicBezTo>
                  <a:pt x="2950801" y="4581665"/>
                  <a:pt x="2949941" y="4582109"/>
                  <a:pt x="2949082" y="4582665"/>
                </a:cubicBezTo>
                <a:cubicBezTo>
                  <a:pt x="2947076" y="4583663"/>
                  <a:pt x="2945358" y="4584664"/>
                  <a:pt x="2943640" y="4585664"/>
                </a:cubicBezTo>
                <a:cubicBezTo>
                  <a:pt x="2943640" y="4585664"/>
                  <a:pt x="2943353" y="4585664"/>
                  <a:pt x="2951088" y="4579221"/>
                </a:cubicBezTo>
                <a:close/>
                <a:moveTo>
                  <a:pt x="2309407" y="4577444"/>
                </a:moveTo>
                <a:cubicBezTo>
                  <a:pt x="2313990" y="4578332"/>
                  <a:pt x="2317142" y="4579665"/>
                  <a:pt x="2319433" y="4581220"/>
                </a:cubicBezTo>
                <a:lnTo>
                  <a:pt x="2320865" y="4582554"/>
                </a:lnTo>
                <a:lnTo>
                  <a:pt x="2323157" y="4582109"/>
                </a:lnTo>
                <a:cubicBezTo>
                  <a:pt x="2341491" y="4581776"/>
                  <a:pt x="2361257" y="4589996"/>
                  <a:pt x="2370710" y="4603438"/>
                </a:cubicBezTo>
                <a:cubicBezTo>
                  <a:pt x="2369278" y="4604548"/>
                  <a:pt x="2367560" y="4605548"/>
                  <a:pt x="2369278" y="4606770"/>
                </a:cubicBezTo>
                <a:cubicBezTo>
                  <a:pt x="2349798" y="4622433"/>
                  <a:pt x="2301673" y="4613990"/>
                  <a:pt x="2293651" y="4592884"/>
                </a:cubicBezTo>
                <a:lnTo>
                  <a:pt x="2304537" y="4586330"/>
                </a:lnTo>
                <a:lnTo>
                  <a:pt x="2301960" y="4580665"/>
                </a:lnTo>
                <a:cubicBezTo>
                  <a:pt x="2304251" y="4577555"/>
                  <a:pt x="2307402" y="4576777"/>
                  <a:pt x="2309407" y="4577444"/>
                </a:cubicBezTo>
                <a:close/>
                <a:moveTo>
                  <a:pt x="2619934" y="4576444"/>
                </a:moveTo>
                <a:cubicBezTo>
                  <a:pt x="2621653" y="4576444"/>
                  <a:pt x="2623086" y="4576999"/>
                  <a:pt x="2623945" y="4577999"/>
                </a:cubicBezTo>
                <a:cubicBezTo>
                  <a:pt x="2626809" y="4580999"/>
                  <a:pt x="2625663" y="4587108"/>
                  <a:pt x="2623373" y="4588330"/>
                </a:cubicBezTo>
                <a:cubicBezTo>
                  <a:pt x="2619648" y="4588330"/>
                  <a:pt x="2611628" y="4577666"/>
                  <a:pt x="2619934" y="4576444"/>
                </a:cubicBezTo>
                <a:close/>
                <a:moveTo>
                  <a:pt x="6650201" y="4574555"/>
                </a:moveTo>
                <a:cubicBezTo>
                  <a:pt x="6651634" y="4575111"/>
                  <a:pt x="6652779" y="4576555"/>
                  <a:pt x="6653638" y="4578222"/>
                </a:cubicBezTo>
                <a:cubicBezTo>
                  <a:pt x="6654784" y="4579888"/>
                  <a:pt x="6655358" y="4581776"/>
                  <a:pt x="6655930" y="4583331"/>
                </a:cubicBezTo>
                <a:cubicBezTo>
                  <a:pt x="6653352" y="4586553"/>
                  <a:pt x="6648196" y="4588774"/>
                  <a:pt x="6642180" y="4589552"/>
                </a:cubicBezTo>
                <a:cubicBezTo>
                  <a:pt x="6639888" y="4583331"/>
                  <a:pt x="6643040" y="4578999"/>
                  <a:pt x="6650201" y="4574555"/>
                </a:cubicBezTo>
                <a:close/>
                <a:moveTo>
                  <a:pt x="2512225" y="4574555"/>
                </a:moveTo>
                <a:cubicBezTo>
                  <a:pt x="2515661" y="4574889"/>
                  <a:pt x="2518526" y="4576333"/>
                  <a:pt x="2520245" y="4579110"/>
                </a:cubicBezTo>
                <a:cubicBezTo>
                  <a:pt x="2521105" y="4580554"/>
                  <a:pt x="2521391" y="4582554"/>
                  <a:pt x="2521105" y="4584997"/>
                </a:cubicBezTo>
                <a:cubicBezTo>
                  <a:pt x="2510792" y="4589663"/>
                  <a:pt x="2494464" y="4600105"/>
                  <a:pt x="2481572" y="4590552"/>
                </a:cubicBezTo>
                <a:cubicBezTo>
                  <a:pt x="2484723" y="4581220"/>
                  <a:pt x="2501624" y="4573334"/>
                  <a:pt x="2512225" y="4574555"/>
                </a:cubicBezTo>
                <a:close/>
                <a:moveTo>
                  <a:pt x="5682524" y="4573556"/>
                </a:moveTo>
                <a:cubicBezTo>
                  <a:pt x="5684816" y="4574222"/>
                  <a:pt x="5685676" y="4574556"/>
                  <a:pt x="5685962" y="4575223"/>
                </a:cubicBezTo>
                <a:cubicBezTo>
                  <a:pt x="5686248" y="4575889"/>
                  <a:pt x="5685676" y="4576889"/>
                  <a:pt x="5684816" y="4578888"/>
                </a:cubicBezTo>
                <a:cubicBezTo>
                  <a:pt x="5683384" y="4580331"/>
                  <a:pt x="5680233" y="4582331"/>
                  <a:pt x="5676508" y="4583886"/>
                </a:cubicBezTo>
                <a:cubicBezTo>
                  <a:pt x="5672784" y="4585330"/>
                  <a:pt x="5668488" y="4586330"/>
                  <a:pt x="5665623" y="4585887"/>
                </a:cubicBezTo>
                <a:cubicBezTo>
                  <a:pt x="5666482" y="4583331"/>
                  <a:pt x="5667342" y="4580777"/>
                  <a:pt x="5668201" y="4578221"/>
                </a:cubicBezTo>
                <a:cubicBezTo>
                  <a:pt x="5668488" y="4579332"/>
                  <a:pt x="5682524" y="4573556"/>
                  <a:pt x="5682524" y="4573556"/>
                </a:cubicBezTo>
                <a:close/>
                <a:moveTo>
                  <a:pt x="5524396" y="4573556"/>
                </a:moveTo>
                <a:cubicBezTo>
                  <a:pt x="5528980" y="4573112"/>
                  <a:pt x="5534136" y="4573111"/>
                  <a:pt x="5540152" y="4573778"/>
                </a:cubicBezTo>
                <a:cubicBezTo>
                  <a:pt x="5542157" y="4577221"/>
                  <a:pt x="5550464" y="4580554"/>
                  <a:pt x="5545022" y="4584998"/>
                </a:cubicBezTo>
                <a:cubicBezTo>
                  <a:pt x="5526974" y="4578777"/>
                  <a:pt x="5511505" y="4591107"/>
                  <a:pt x="5497182" y="4587553"/>
                </a:cubicBezTo>
                <a:lnTo>
                  <a:pt x="5491453" y="4585109"/>
                </a:lnTo>
                <a:lnTo>
                  <a:pt x="5488588" y="4587219"/>
                </a:lnTo>
                <a:cubicBezTo>
                  <a:pt x="5487442" y="4588774"/>
                  <a:pt x="5486296" y="4590219"/>
                  <a:pt x="5484864" y="4591218"/>
                </a:cubicBezTo>
                <a:cubicBezTo>
                  <a:pt x="5483432" y="4592107"/>
                  <a:pt x="5481713" y="4592440"/>
                  <a:pt x="5479708" y="4591774"/>
                </a:cubicBezTo>
                <a:cubicBezTo>
                  <a:pt x="5479994" y="4588108"/>
                  <a:pt x="5480855" y="4585553"/>
                  <a:pt x="5482859" y="4581553"/>
                </a:cubicBezTo>
                <a:cubicBezTo>
                  <a:pt x="5482859" y="4581553"/>
                  <a:pt x="5487728" y="4575555"/>
                  <a:pt x="5493458" y="4576555"/>
                </a:cubicBezTo>
                <a:cubicBezTo>
                  <a:pt x="5494317" y="4576333"/>
                  <a:pt x="5495177" y="4577333"/>
                  <a:pt x="5495464" y="4578555"/>
                </a:cubicBezTo>
                <a:cubicBezTo>
                  <a:pt x="5496036" y="4579776"/>
                  <a:pt x="5496036" y="4581221"/>
                  <a:pt x="5495463" y="4581887"/>
                </a:cubicBezTo>
                <a:lnTo>
                  <a:pt x="5491739" y="4584886"/>
                </a:lnTo>
                <a:lnTo>
                  <a:pt x="5511792" y="4576222"/>
                </a:lnTo>
                <a:cubicBezTo>
                  <a:pt x="5515802" y="4575000"/>
                  <a:pt x="5519812" y="4574000"/>
                  <a:pt x="5524396" y="4573556"/>
                </a:cubicBezTo>
                <a:close/>
                <a:moveTo>
                  <a:pt x="6040892" y="4573001"/>
                </a:moveTo>
                <a:cubicBezTo>
                  <a:pt x="6044042" y="4581665"/>
                  <a:pt x="6040032" y="4583664"/>
                  <a:pt x="6035735" y="4582997"/>
                </a:cubicBezTo>
                <a:cubicBezTo>
                  <a:pt x="6028574" y="4581776"/>
                  <a:pt x="6019980" y="4572668"/>
                  <a:pt x="6040892" y="4573001"/>
                </a:cubicBezTo>
                <a:close/>
                <a:moveTo>
                  <a:pt x="6222223" y="4571334"/>
                </a:moveTo>
                <a:cubicBezTo>
                  <a:pt x="6225661" y="4570556"/>
                  <a:pt x="6229098" y="4572112"/>
                  <a:pt x="6232250" y="4573667"/>
                </a:cubicBezTo>
                <a:cubicBezTo>
                  <a:pt x="6234541" y="4575112"/>
                  <a:pt x="6235400" y="4576333"/>
                  <a:pt x="6234828" y="4577444"/>
                </a:cubicBezTo>
                <a:cubicBezTo>
                  <a:pt x="6234541" y="4578666"/>
                  <a:pt x="6233396" y="4579665"/>
                  <a:pt x="6231676" y="4580665"/>
                </a:cubicBezTo>
                <a:cubicBezTo>
                  <a:pt x="6227952" y="4582665"/>
                  <a:pt x="6224515" y="4581109"/>
                  <a:pt x="6224515" y="4581109"/>
                </a:cubicBezTo>
                <a:cubicBezTo>
                  <a:pt x="6219933" y="4578222"/>
                  <a:pt x="6218499" y="4574556"/>
                  <a:pt x="6222223" y="4571334"/>
                </a:cubicBezTo>
                <a:close/>
                <a:moveTo>
                  <a:pt x="2449201" y="4570668"/>
                </a:moveTo>
                <a:cubicBezTo>
                  <a:pt x="2454645" y="4569779"/>
                  <a:pt x="2460088" y="4570445"/>
                  <a:pt x="2464099" y="4575000"/>
                </a:cubicBezTo>
                <a:cubicBezTo>
                  <a:pt x="2462665" y="4576555"/>
                  <a:pt x="2461520" y="4577999"/>
                  <a:pt x="2460088" y="4579444"/>
                </a:cubicBezTo>
                <a:cubicBezTo>
                  <a:pt x="2450634" y="4576555"/>
                  <a:pt x="2442040" y="4578221"/>
                  <a:pt x="2434593" y="4576111"/>
                </a:cubicBezTo>
                <a:cubicBezTo>
                  <a:pt x="2438316" y="4574111"/>
                  <a:pt x="2443759" y="4571557"/>
                  <a:pt x="2449201" y="4570668"/>
                </a:cubicBezTo>
                <a:close/>
                <a:moveTo>
                  <a:pt x="5017068" y="4569446"/>
                </a:moveTo>
                <a:lnTo>
                  <a:pt x="5005609" y="4575889"/>
                </a:lnTo>
                <a:cubicBezTo>
                  <a:pt x="5011338" y="4581554"/>
                  <a:pt x="5000166" y="4587219"/>
                  <a:pt x="5014203" y="4585330"/>
                </a:cubicBezTo>
                <a:lnTo>
                  <a:pt x="5025089" y="4579888"/>
                </a:lnTo>
                <a:lnTo>
                  <a:pt x="5021652" y="4576999"/>
                </a:lnTo>
                <a:close/>
                <a:moveTo>
                  <a:pt x="2796684" y="4568113"/>
                </a:moveTo>
                <a:cubicBezTo>
                  <a:pt x="2804705" y="4574222"/>
                  <a:pt x="2801266" y="4579999"/>
                  <a:pt x="2793818" y="4583887"/>
                </a:cubicBezTo>
                <a:lnTo>
                  <a:pt x="2793245" y="4583887"/>
                </a:lnTo>
                <a:lnTo>
                  <a:pt x="2793819" y="4584886"/>
                </a:lnTo>
                <a:cubicBezTo>
                  <a:pt x="2795538" y="4587219"/>
                  <a:pt x="2797256" y="4589440"/>
                  <a:pt x="2797256" y="4589440"/>
                </a:cubicBezTo>
                <a:lnTo>
                  <a:pt x="2795250" y="4591552"/>
                </a:lnTo>
                <a:lnTo>
                  <a:pt x="2813298" y="4576999"/>
                </a:lnTo>
                <a:lnTo>
                  <a:pt x="2827621" y="4576999"/>
                </a:lnTo>
                <a:lnTo>
                  <a:pt x="2827621" y="4576778"/>
                </a:lnTo>
                <a:cubicBezTo>
                  <a:pt x="2827622" y="4576444"/>
                  <a:pt x="2827048" y="4576111"/>
                  <a:pt x="2827334" y="4575556"/>
                </a:cubicBezTo>
                <a:cubicBezTo>
                  <a:pt x="2827334" y="4575556"/>
                  <a:pt x="2827049" y="4576667"/>
                  <a:pt x="2825329" y="4575444"/>
                </a:cubicBezTo>
                <a:cubicBezTo>
                  <a:pt x="2827048" y="4575556"/>
                  <a:pt x="2827049" y="4574445"/>
                  <a:pt x="2827334" y="4573223"/>
                </a:cubicBezTo>
                <a:cubicBezTo>
                  <a:pt x="2830772" y="4571112"/>
                  <a:pt x="2835928" y="4569112"/>
                  <a:pt x="2839367" y="4570556"/>
                </a:cubicBezTo>
                <a:cubicBezTo>
                  <a:pt x="2841085" y="4571890"/>
                  <a:pt x="2841658" y="4573112"/>
                  <a:pt x="2841371" y="4574222"/>
                </a:cubicBezTo>
                <a:lnTo>
                  <a:pt x="2839939" y="4575777"/>
                </a:lnTo>
                <a:lnTo>
                  <a:pt x="2850251" y="4574445"/>
                </a:lnTo>
                <a:cubicBezTo>
                  <a:pt x="2862856" y="4572889"/>
                  <a:pt x="2875461" y="4572445"/>
                  <a:pt x="2884914" y="4578221"/>
                </a:cubicBezTo>
                <a:cubicBezTo>
                  <a:pt x="2888351" y="4592883"/>
                  <a:pt x="2900096" y="4594218"/>
                  <a:pt x="2906971" y="4601993"/>
                </a:cubicBezTo>
                <a:cubicBezTo>
                  <a:pt x="2907258" y="4607102"/>
                  <a:pt x="2906971" y="4612657"/>
                  <a:pt x="2905539" y="4618433"/>
                </a:cubicBezTo>
                <a:lnTo>
                  <a:pt x="2902389" y="4626987"/>
                </a:lnTo>
                <a:lnTo>
                  <a:pt x="2907259" y="4631875"/>
                </a:lnTo>
                <a:lnTo>
                  <a:pt x="2900383" y="4632763"/>
                </a:lnTo>
                <a:lnTo>
                  <a:pt x="2899238" y="4635429"/>
                </a:lnTo>
                <a:lnTo>
                  <a:pt x="2893794" y="4642650"/>
                </a:lnTo>
                <a:lnTo>
                  <a:pt x="2894654" y="4643205"/>
                </a:lnTo>
                <a:cubicBezTo>
                  <a:pt x="2895799" y="4644205"/>
                  <a:pt x="2895513" y="4645426"/>
                  <a:pt x="2894653" y="4646649"/>
                </a:cubicBezTo>
                <a:lnTo>
                  <a:pt x="2888066" y="4650092"/>
                </a:lnTo>
                <a:lnTo>
                  <a:pt x="2887205" y="4650980"/>
                </a:lnTo>
                <a:cubicBezTo>
                  <a:pt x="2882050" y="4655757"/>
                  <a:pt x="2875748" y="4659868"/>
                  <a:pt x="2868299" y="4663089"/>
                </a:cubicBezTo>
                <a:cubicBezTo>
                  <a:pt x="2861997" y="4665644"/>
                  <a:pt x="2856267" y="4667088"/>
                  <a:pt x="2850539" y="4667755"/>
                </a:cubicBezTo>
                <a:lnTo>
                  <a:pt x="2844522" y="4667865"/>
                </a:lnTo>
                <a:lnTo>
                  <a:pt x="2840226" y="4669310"/>
                </a:lnTo>
                <a:cubicBezTo>
                  <a:pt x="2833923" y="4671531"/>
                  <a:pt x="2823037" y="4674753"/>
                  <a:pt x="2818741" y="4674754"/>
                </a:cubicBezTo>
                <a:cubicBezTo>
                  <a:pt x="2822751" y="4673642"/>
                  <a:pt x="2827334" y="4671752"/>
                  <a:pt x="2831631" y="4670198"/>
                </a:cubicBezTo>
                <a:lnTo>
                  <a:pt x="2843949" y="4667865"/>
                </a:lnTo>
                <a:lnTo>
                  <a:pt x="2834497" y="4667977"/>
                </a:lnTo>
                <a:cubicBezTo>
                  <a:pt x="2823610" y="4667198"/>
                  <a:pt x="2812726" y="4665199"/>
                  <a:pt x="2799547" y="4665422"/>
                </a:cubicBezTo>
                <a:cubicBezTo>
                  <a:pt x="2796110" y="4650759"/>
                  <a:pt x="2783219" y="4650537"/>
                  <a:pt x="2773766" y="4645982"/>
                </a:cubicBezTo>
                <a:cubicBezTo>
                  <a:pt x="2774911" y="4643315"/>
                  <a:pt x="2775484" y="4640428"/>
                  <a:pt x="2775484" y="4637540"/>
                </a:cubicBezTo>
                <a:lnTo>
                  <a:pt x="2774626" y="4628764"/>
                </a:lnTo>
                <a:lnTo>
                  <a:pt x="2766604" y="4624988"/>
                </a:lnTo>
                <a:cubicBezTo>
                  <a:pt x="2762593" y="4621543"/>
                  <a:pt x="2761735" y="4616989"/>
                  <a:pt x="2765172" y="4613990"/>
                </a:cubicBezTo>
                <a:lnTo>
                  <a:pt x="2772334" y="4611658"/>
                </a:lnTo>
                <a:lnTo>
                  <a:pt x="2772047" y="4610324"/>
                </a:lnTo>
                <a:cubicBezTo>
                  <a:pt x="2780068" y="4604882"/>
                  <a:pt x="2786370" y="4599217"/>
                  <a:pt x="2792672" y="4593662"/>
                </a:cubicBezTo>
                <a:lnTo>
                  <a:pt x="2794677" y="4592107"/>
                </a:lnTo>
                <a:lnTo>
                  <a:pt x="2789521" y="4591663"/>
                </a:lnTo>
                <a:lnTo>
                  <a:pt x="2782933" y="4586664"/>
                </a:lnTo>
                <a:lnTo>
                  <a:pt x="2775771" y="4588552"/>
                </a:lnTo>
                <a:cubicBezTo>
                  <a:pt x="2769469" y="4589108"/>
                  <a:pt x="2762880" y="4588663"/>
                  <a:pt x="2758010" y="4586774"/>
                </a:cubicBezTo>
                <a:lnTo>
                  <a:pt x="2751994" y="4581443"/>
                </a:lnTo>
                <a:lnTo>
                  <a:pt x="2750848" y="4581443"/>
                </a:lnTo>
                <a:cubicBezTo>
                  <a:pt x="2747411" y="4578999"/>
                  <a:pt x="2745406" y="4575444"/>
                  <a:pt x="2747124" y="4574334"/>
                </a:cubicBezTo>
                <a:cubicBezTo>
                  <a:pt x="2749416" y="4572668"/>
                  <a:pt x="2751994" y="4571001"/>
                  <a:pt x="2755145" y="4571779"/>
                </a:cubicBezTo>
                <a:cubicBezTo>
                  <a:pt x="2756292" y="4572111"/>
                  <a:pt x="2757438" y="4572668"/>
                  <a:pt x="2758870" y="4573556"/>
                </a:cubicBezTo>
                <a:cubicBezTo>
                  <a:pt x="2758870" y="4573556"/>
                  <a:pt x="2758870" y="4573556"/>
                  <a:pt x="2758869" y="4574666"/>
                </a:cubicBezTo>
                <a:lnTo>
                  <a:pt x="2758870" y="4576777"/>
                </a:lnTo>
                <a:lnTo>
                  <a:pt x="2769756" y="4571445"/>
                </a:lnTo>
                <a:cubicBezTo>
                  <a:pt x="2777203" y="4569112"/>
                  <a:pt x="2786083" y="4567891"/>
                  <a:pt x="2796684" y="4568113"/>
                </a:cubicBezTo>
                <a:close/>
                <a:moveTo>
                  <a:pt x="5171186" y="4568112"/>
                </a:moveTo>
                <a:cubicBezTo>
                  <a:pt x="5179206" y="4574222"/>
                  <a:pt x="5176056" y="4579999"/>
                  <a:pt x="5168321" y="4583886"/>
                </a:cubicBezTo>
                <a:lnTo>
                  <a:pt x="5167748" y="4583886"/>
                </a:lnTo>
                <a:lnTo>
                  <a:pt x="5168321" y="4584887"/>
                </a:lnTo>
                <a:cubicBezTo>
                  <a:pt x="5170040" y="4587219"/>
                  <a:pt x="5172045" y="4589441"/>
                  <a:pt x="5172045" y="4589441"/>
                </a:cubicBezTo>
                <a:lnTo>
                  <a:pt x="5170040" y="4591552"/>
                </a:lnTo>
                <a:lnTo>
                  <a:pt x="5187800" y="4576999"/>
                </a:lnTo>
                <a:lnTo>
                  <a:pt x="5202124" y="4576999"/>
                </a:lnTo>
                <a:lnTo>
                  <a:pt x="5202410" y="4576777"/>
                </a:lnTo>
                <a:cubicBezTo>
                  <a:pt x="5202124" y="4576444"/>
                  <a:pt x="5201837" y="4576111"/>
                  <a:pt x="5201837" y="4575555"/>
                </a:cubicBezTo>
                <a:cubicBezTo>
                  <a:pt x="5201837" y="4575555"/>
                  <a:pt x="5201837" y="4576666"/>
                  <a:pt x="5200118" y="4575444"/>
                </a:cubicBezTo>
                <a:cubicBezTo>
                  <a:pt x="5201837" y="4575555"/>
                  <a:pt x="5201837" y="4574445"/>
                  <a:pt x="5201838" y="4573223"/>
                </a:cubicBezTo>
                <a:cubicBezTo>
                  <a:pt x="5205275" y="4571113"/>
                  <a:pt x="5210718" y="4569112"/>
                  <a:pt x="5213869" y="4570556"/>
                </a:cubicBezTo>
                <a:cubicBezTo>
                  <a:pt x="5215588" y="4571890"/>
                  <a:pt x="5216160" y="4573111"/>
                  <a:pt x="5215874" y="4574223"/>
                </a:cubicBezTo>
                <a:lnTo>
                  <a:pt x="5214442" y="4575777"/>
                </a:lnTo>
                <a:lnTo>
                  <a:pt x="5224754" y="4574445"/>
                </a:lnTo>
                <a:cubicBezTo>
                  <a:pt x="5237645" y="4572889"/>
                  <a:pt x="5249963" y="4572445"/>
                  <a:pt x="5259416" y="4578222"/>
                </a:cubicBezTo>
                <a:cubicBezTo>
                  <a:pt x="5262854" y="4592884"/>
                  <a:pt x="5274886" y="4594218"/>
                  <a:pt x="5281761" y="4601993"/>
                </a:cubicBezTo>
                <a:cubicBezTo>
                  <a:pt x="5281761" y="4607103"/>
                  <a:pt x="5281474" y="4612657"/>
                  <a:pt x="5280042" y="4618433"/>
                </a:cubicBezTo>
                <a:lnTo>
                  <a:pt x="5276891" y="4626987"/>
                </a:lnTo>
                <a:lnTo>
                  <a:pt x="5281761" y="4631874"/>
                </a:lnTo>
                <a:lnTo>
                  <a:pt x="5274886" y="4632763"/>
                </a:lnTo>
                <a:lnTo>
                  <a:pt x="5273740" y="4635429"/>
                </a:lnTo>
                <a:lnTo>
                  <a:pt x="5268297" y="4642650"/>
                </a:lnTo>
                <a:lnTo>
                  <a:pt x="5269156" y="4643206"/>
                </a:lnTo>
                <a:cubicBezTo>
                  <a:pt x="5270302" y="4644204"/>
                  <a:pt x="5270302" y="4645427"/>
                  <a:pt x="5269443" y="4646648"/>
                </a:cubicBezTo>
                <a:lnTo>
                  <a:pt x="5262568" y="4650092"/>
                </a:lnTo>
                <a:lnTo>
                  <a:pt x="5261708" y="4650981"/>
                </a:lnTo>
                <a:cubicBezTo>
                  <a:pt x="5256552" y="4655757"/>
                  <a:pt x="5250536" y="4659868"/>
                  <a:pt x="5242802" y="4663089"/>
                </a:cubicBezTo>
                <a:cubicBezTo>
                  <a:pt x="5236499" y="4665644"/>
                  <a:pt x="5230770" y="4667088"/>
                  <a:pt x="5225327" y="4667755"/>
                </a:cubicBezTo>
                <a:lnTo>
                  <a:pt x="5219025" y="4667865"/>
                </a:lnTo>
                <a:lnTo>
                  <a:pt x="5215015" y="4669309"/>
                </a:lnTo>
                <a:cubicBezTo>
                  <a:pt x="5208712" y="4671531"/>
                  <a:pt x="5197827" y="4674752"/>
                  <a:pt x="5193243" y="4674753"/>
                </a:cubicBezTo>
                <a:cubicBezTo>
                  <a:pt x="5197254" y="4673642"/>
                  <a:pt x="5201837" y="4671753"/>
                  <a:pt x="5206420" y="4670198"/>
                </a:cubicBezTo>
                <a:lnTo>
                  <a:pt x="5218452" y="4667866"/>
                </a:lnTo>
                <a:lnTo>
                  <a:pt x="5208999" y="4667977"/>
                </a:lnTo>
                <a:cubicBezTo>
                  <a:pt x="5198113" y="4667199"/>
                  <a:pt x="5187228" y="4665200"/>
                  <a:pt x="5174050" y="4665422"/>
                </a:cubicBezTo>
                <a:cubicBezTo>
                  <a:pt x="5170612" y="4650758"/>
                  <a:pt x="5157722" y="4650537"/>
                  <a:pt x="5148268" y="4645982"/>
                </a:cubicBezTo>
                <a:cubicBezTo>
                  <a:pt x="5149414" y="4643316"/>
                  <a:pt x="5149987" y="4640428"/>
                  <a:pt x="5149987" y="4637540"/>
                </a:cubicBezTo>
                <a:lnTo>
                  <a:pt x="5149128" y="4628764"/>
                </a:lnTo>
                <a:lnTo>
                  <a:pt x="5141393" y="4624988"/>
                </a:lnTo>
                <a:cubicBezTo>
                  <a:pt x="5137096" y="4621544"/>
                  <a:pt x="5136524" y="4616989"/>
                  <a:pt x="5139961" y="4613990"/>
                </a:cubicBezTo>
                <a:lnTo>
                  <a:pt x="5146836" y="4611658"/>
                </a:lnTo>
                <a:lnTo>
                  <a:pt x="5146836" y="4610324"/>
                </a:lnTo>
                <a:cubicBezTo>
                  <a:pt x="5154857" y="4604881"/>
                  <a:pt x="5161159" y="4599216"/>
                  <a:pt x="5167462" y="4593662"/>
                </a:cubicBezTo>
                <a:lnTo>
                  <a:pt x="5169180" y="4592107"/>
                </a:lnTo>
                <a:lnTo>
                  <a:pt x="5164310" y="4591662"/>
                </a:lnTo>
                <a:lnTo>
                  <a:pt x="5157723" y="4586664"/>
                </a:lnTo>
                <a:lnTo>
                  <a:pt x="5150560" y="4588553"/>
                </a:lnTo>
                <a:cubicBezTo>
                  <a:pt x="5143971" y="4589108"/>
                  <a:pt x="5137383" y="4588663"/>
                  <a:pt x="5132513" y="4586775"/>
                </a:cubicBezTo>
                <a:lnTo>
                  <a:pt x="5126497" y="4581443"/>
                </a:lnTo>
                <a:lnTo>
                  <a:pt x="5125351" y="4581443"/>
                </a:lnTo>
                <a:cubicBezTo>
                  <a:pt x="5121914" y="4578999"/>
                  <a:pt x="5119908" y="4575444"/>
                  <a:pt x="5121627" y="4574334"/>
                </a:cubicBezTo>
                <a:cubicBezTo>
                  <a:pt x="5123919" y="4572667"/>
                  <a:pt x="5126498" y="4571001"/>
                  <a:pt x="5129649" y="4571779"/>
                </a:cubicBezTo>
                <a:cubicBezTo>
                  <a:pt x="5130794" y="4572112"/>
                  <a:pt x="5131940" y="4572667"/>
                  <a:pt x="5133372" y="4573556"/>
                </a:cubicBezTo>
                <a:cubicBezTo>
                  <a:pt x="5133372" y="4573556"/>
                  <a:pt x="5133372" y="4573556"/>
                  <a:pt x="5133372" y="4574667"/>
                </a:cubicBezTo>
                <a:lnTo>
                  <a:pt x="5133659" y="4576777"/>
                </a:lnTo>
                <a:lnTo>
                  <a:pt x="5144258" y="4571445"/>
                </a:lnTo>
                <a:cubicBezTo>
                  <a:pt x="5151706" y="4569113"/>
                  <a:pt x="5160586" y="4567891"/>
                  <a:pt x="5171186" y="4568112"/>
                </a:cubicBezTo>
                <a:close/>
                <a:moveTo>
                  <a:pt x="6097038" y="4567780"/>
                </a:moveTo>
                <a:cubicBezTo>
                  <a:pt x="6101908" y="4568779"/>
                  <a:pt x="6104486" y="4572001"/>
                  <a:pt x="6105632" y="4575777"/>
                </a:cubicBezTo>
                <a:cubicBezTo>
                  <a:pt x="6106778" y="4579553"/>
                  <a:pt x="6106778" y="4583886"/>
                  <a:pt x="6105918" y="4586997"/>
                </a:cubicBezTo>
                <a:cubicBezTo>
                  <a:pt x="6101335" y="4588108"/>
                  <a:pt x="6101049" y="4590774"/>
                  <a:pt x="6096466" y="4591885"/>
                </a:cubicBezTo>
                <a:cubicBezTo>
                  <a:pt x="6092742" y="4582554"/>
                  <a:pt x="6087585" y="4572667"/>
                  <a:pt x="6097038" y="4567780"/>
                </a:cubicBezTo>
                <a:close/>
                <a:moveTo>
                  <a:pt x="5883336" y="4567447"/>
                </a:moveTo>
                <a:cubicBezTo>
                  <a:pt x="5883336" y="4567447"/>
                  <a:pt x="5887060" y="4567447"/>
                  <a:pt x="5887060" y="4567447"/>
                </a:cubicBezTo>
                <a:cubicBezTo>
                  <a:pt x="5891357" y="4568558"/>
                  <a:pt x="5893648" y="4569113"/>
                  <a:pt x="5897372" y="4569224"/>
                </a:cubicBezTo>
                <a:cubicBezTo>
                  <a:pt x="5897087" y="4571890"/>
                  <a:pt x="5895654" y="4572445"/>
                  <a:pt x="5893362" y="4571890"/>
                </a:cubicBezTo>
                <a:cubicBezTo>
                  <a:pt x="5893362" y="4571890"/>
                  <a:pt x="5891070" y="4571334"/>
                  <a:pt x="5889065" y="4570779"/>
                </a:cubicBezTo>
                <a:cubicBezTo>
                  <a:pt x="5886774" y="4570224"/>
                  <a:pt x="5885054" y="4570668"/>
                  <a:pt x="5885054" y="4570668"/>
                </a:cubicBezTo>
                <a:cubicBezTo>
                  <a:pt x="5883050" y="4570113"/>
                  <a:pt x="5882190" y="4569112"/>
                  <a:pt x="5883336" y="4567447"/>
                </a:cubicBezTo>
                <a:close/>
                <a:moveTo>
                  <a:pt x="3001218" y="4567003"/>
                </a:moveTo>
                <a:cubicBezTo>
                  <a:pt x="3005803" y="4568668"/>
                  <a:pt x="3008381" y="4567002"/>
                  <a:pt x="3012677" y="4568668"/>
                </a:cubicBezTo>
                <a:cubicBezTo>
                  <a:pt x="3010672" y="4571557"/>
                  <a:pt x="3010099" y="4574111"/>
                  <a:pt x="3008953" y="4575555"/>
                </a:cubicBezTo>
                <a:cubicBezTo>
                  <a:pt x="3001505" y="4574444"/>
                  <a:pt x="2998067" y="4571334"/>
                  <a:pt x="3001218" y="4567003"/>
                </a:cubicBezTo>
                <a:close/>
                <a:moveTo>
                  <a:pt x="1934425" y="4567002"/>
                </a:moveTo>
                <a:cubicBezTo>
                  <a:pt x="1938723" y="4568668"/>
                  <a:pt x="1941588" y="4567002"/>
                  <a:pt x="1945885" y="4568668"/>
                </a:cubicBezTo>
                <a:cubicBezTo>
                  <a:pt x="1943878" y="4571556"/>
                  <a:pt x="1943305" y="4574112"/>
                  <a:pt x="1942160" y="4575556"/>
                </a:cubicBezTo>
                <a:cubicBezTo>
                  <a:pt x="1934712" y="4574445"/>
                  <a:pt x="1931275" y="4571334"/>
                  <a:pt x="1934425" y="4567002"/>
                </a:cubicBezTo>
                <a:close/>
                <a:moveTo>
                  <a:pt x="5912555" y="4566780"/>
                </a:moveTo>
                <a:cubicBezTo>
                  <a:pt x="5917425" y="4567891"/>
                  <a:pt x="5922868" y="4569779"/>
                  <a:pt x="5924586" y="4572334"/>
                </a:cubicBezTo>
                <a:cubicBezTo>
                  <a:pt x="5925160" y="4573223"/>
                  <a:pt x="5925446" y="4574112"/>
                  <a:pt x="5925160" y="4575223"/>
                </a:cubicBezTo>
                <a:cubicBezTo>
                  <a:pt x="5924873" y="4577888"/>
                  <a:pt x="5920862" y="4577888"/>
                  <a:pt x="5916566" y="4576777"/>
                </a:cubicBezTo>
                <a:cubicBezTo>
                  <a:pt x="5906826" y="4576222"/>
                  <a:pt x="5903388" y="4573667"/>
                  <a:pt x="5906253" y="4568890"/>
                </a:cubicBezTo>
                <a:cubicBezTo>
                  <a:pt x="5907686" y="4568446"/>
                  <a:pt x="5913128" y="4567780"/>
                  <a:pt x="5912555" y="4566780"/>
                </a:cubicBezTo>
                <a:close/>
                <a:moveTo>
                  <a:pt x="2009765" y="4565892"/>
                </a:moveTo>
                <a:cubicBezTo>
                  <a:pt x="2011485" y="4568558"/>
                  <a:pt x="2011484" y="4570668"/>
                  <a:pt x="2010625" y="4572334"/>
                </a:cubicBezTo>
                <a:lnTo>
                  <a:pt x="2005756" y="4575778"/>
                </a:lnTo>
                <a:lnTo>
                  <a:pt x="2007187" y="4576111"/>
                </a:lnTo>
                <a:cubicBezTo>
                  <a:pt x="2012057" y="4577333"/>
                  <a:pt x="2016067" y="4578554"/>
                  <a:pt x="2021224" y="4580777"/>
                </a:cubicBezTo>
                <a:cubicBezTo>
                  <a:pt x="2021224" y="4581997"/>
                  <a:pt x="2019506" y="4581888"/>
                  <a:pt x="2019506" y="4583109"/>
                </a:cubicBezTo>
                <a:cubicBezTo>
                  <a:pt x="2018646" y="4583554"/>
                  <a:pt x="2016927" y="4583664"/>
                  <a:pt x="2014636" y="4583554"/>
                </a:cubicBezTo>
                <a:cubicBezTo>
                  <a:pt x="2008619" y="4582886"/>
                  <a:pt x="1998879" y="4579999"/>
                  <a:pt x="1998879" y="4579110"/>
                </a:cubicBezTo>
                <a:cubicBezTo>
                  <a:pt x="1997162" y="4578888"/>
                  <a:pt x="1997448" y="4577666"/>
                  <a:pt x="1995728" y="4577555"/>
                </a:cubicBezTo>
                <a:cubicBezTo>
                  <a:pt x="1995728" y="4577555"/>
                  <a:pt x="1994010" y="4577444"/>
                  <a:pt x="1992292" y="4576111"/>
                </a:cubicBezTo>
                <a:cubicBezTo>
                  <a:pt x="1990572" y="4574778"/>
                  <a:pt x="1988854" y="4573445"/>
                  <a:pt x="1990858" y="4571223"/>
                </a:cubicBezTo>
                <a:lnTo>
                  <a:pt x="2002318" y="4574556"/>
                </a:lnTo>
                <a:lnTo>
                  <a:pt x="1999453" y="4572000"/>
                </a:lnTo>
                <a:cubicBezTo>
                  <a:pt x="1998307" y="4570001"/>
                  <a:pt x="1998021" y="4567890"/>
                  <a:pt x="1999166" y="4566447"/>
                </a:cubicBezTo>
                <a:cubicBezTo>
                  <a:pt x="2004609" y="4564891"/>
                  <a:pt x="2006615" y="4567224"/>
                  <a:pt x="2009765" y="4565892"/>
                </a:cubicBezTo>
                <a:close/>
                <a:moveTo>
                  <a:pt x="3076558" y="4565891"/>
                </a:moveTo>
                <a:cubicBezTo>
                  <a:pt x="3078278" y="4568557"/>
                  <a:pt x="3078277" y="4570668"/>
                  <a:pt x="3077418" y="4572334"/>
                </a:cubicBezTo>
                <a:lnTo>
                  <a:pt x="3072548" y="4575777"/>
                </a:lnTo>
                <a:lnTo>
                  <a:pt x="3073980" y="4576111"/>
                </a:lnTo>
                <a:cubicBezTo>
                  <a:pt x="3078850" y="4577333"/>
                  <a:pt x="3082861" y="4578555"/>
                  <a:pt x="3088017" y="4580776"/>
                </a:cubicBezTo>
                <a:cubicBezTo>
                  <a:pt x="3088017" y="4581998"/>
                  <a:pt x="3086298" y="4581887"/>
                  <a:pt x="3086298" y="4583109"/>
                </a:cubicBezTo>
                <a:cubicBezTo>
                  <a:pt x="3085439" y="4583554"/>
                  <a:pt x="3083720" y="4583664"/>
                  <a:pt x="3081429" y="4583554"/>
                </a:cubicBezTo>
                <a:cubicBezTo>
                  <a:pt x="3075412" y="4582887"/>
                  <a:pt x="3065673" y="4579999"/>
                  <a:pt x="3065673" y="4579110"/>
                </a:cubicBezTo>
                <a:cubicBezTo>
                  <a:pt x="3063954" y="4578888"/>
                  <a:pt x="3064240" y="4577666"/>
                  <a:pt x="3062522" y="4577555"/>
                </a:cubicBezTo>
                <a:cubicBezTo>
                  <a:pt x="3062522" y="4577555"/>
                  <a:pt x="3060803" y="4577444"/>
                  <a:pt x="3059085" y="4576111"/>
                </a:cubicBezTo>
                <a:cubicBezTo>
                  <a:pt x="3057365" y="4574778"/>
                  <a:pt x="3055647" y="4573445"/>
                  <a:pt x="3057652" y="4571223"/>
                </a:cubicBezTo>
                <a:lnTo>
                  <a:pt x="3069110" y="4574556"/>
                </a:lnTo>
                <a:lnTo>
                  <a:pt x="3066247" y="4572001"/>
                </a:lnTo>
                <a:cubicBezTo>
                  <a:pt x="3065100" y="4570002"/>
                  <a:pt x="3064814" y="4567891"/>
                  <a:pt x="3065959" y="4566446"/>
                </a:cubicBezTo>
                <a:cubicBezTo>
                  <a:pt x="3071402" y="4564892"/>
                  <a:pt x="3073407" y="4567224"/>
                  <a:pt x="3076558" y="4565891"/>
                </a:cubicBezTo>
                <a:close/>
                <a:moveTo>
                  <a:pt x="5752422" y="4565225"/>
                </a:moveTo>
                <a:cubicBezTo>
                  <a:pt x="5753281" y="4565558"/>
                  <a:pt x="5754140" y="4566224"/>
                  <a:pt x="5755000" y="4566891"/>
                </a:cubicBezTo>
                <a:cubicBezTo>
                  <a:pt x="5756718" y="4568113"/>
                  <a:pt x="5758438" y="4569335"/>
                  <a:pt x="5760442" y="4570556"/>
                </a:cubicBezTo>
                <a:cubicBezTo>
                  <a:pt x="5760442" y="4570556"/>
                  <a:pt x="5760442" y="4570556"/>
                  <a:pt x="5749844" y="4565446"/>
                </a:cubicBezTo>
                <a:cubicBezTo>
                  <a:pt x="5750416" y="4564892"/>
                  <a:pt x="5751562" y="4565002"/>
                  <a:pt x="5752422" y="4565225"/>
                </a:cubicBezTo>
                <a:close/>
                <a:moveTo>
                  <a:pt x="3226952" y="4564668"/>
                </a:moveTo>
                <a:cubicBezTo>
                  <a:pt x="3224661" y="4568890"/>
                  <a:pt x="3230676" y="4574111"/>
                  <a:pt x="3238411" y="4575778"/>
                </a:cubicBezTo>
                <a:lnTo>
                  <a:pt x="3243281" y="4575777"/>
                </a:lnTo>
                <a:lnTo>
                  <a:pt x="3240990" y="4574555"/>
                </a:lnTo>
                <a:cubicBezTo>
                  <a:pt x="3238124" y="4573001"/>
                  <a:pt x="3234687" y="4570890"/>
                  <a:pt x="3233254" y="4567669"/>
                </a:cubicBezTo>
                <a:lnTo>
                  <a:pt x="3233542" y="4565225"/>
                </a:lnTo>
                <a:close/>
                <a:moveTo>
                  <a:pt x="2746838" y="4564558"/>
                </a:moveTo>
                <a:cubicBezTo>
                  <a:pt x="2750563" y="4564225"/>
                  <a:pt x="2754286" y="4567113"/>
                  <a:pt x="2753999" y="4569446"/>
                </a:cubicBezTo>
                <a:cubicBezTo>
                  <a:pt x="2753713" y="4570557"/>
                  <a:pt x="2752854" y="4571445"/>
                  <a:pt x="2750562" y="4572000"/>
                </a:cubicBezTo>
                <a:cubicBezTo>
                  <a:pt x="2747411" y="4570334"/>
                  <a:pt x="2745979" y="4568890"/>
                  <a:pt x="2743114" y="4566113"/>
                </a:cubicBezTo>
                <a:cubicBezTo>
                  <a:pt x="2744261" y="4565114"/>
                  <a:pt x="2745693" y="4564669"/>
                  <a:pt x="2746838" y="4564558"/>
                </a:cubicBezTo>
                <a:close/>
                <a:moveTo>
                  <a:pt x="6080710" y="4564448"/>
                </a:moveTo>
                <a:cubicBezTo>
                  <a:pt x="6081569" y="4564336"/>
                  <a:pt x="6082715" y="4565003"/>
                  <a:pt x="6083574" y="4566114"/>
                </a:cubicBezTo>
                <a:cubicBezTo>
                  <a:pt x="6086439" y="4569113"/>
                  <a:pt x="6089304" y="4575556"/>
                  <a:pt x="6089876" y="4576333"/>
                </a:cubicBezTo>
                <a:cubicBezTo>
                  <a:pt x="6089876" y="4576333"/>
                  <a:pt x="6090736" y="4577333"/>
                  <a:pt x="6091309" y="4578332"/>
                </a:cubicBezTo>
                <a:cubicBezTo>
                  <a:pt x="6090736" y="4579999"/>
                  <a:pt x="6089304" y="4580554"/>
                  <a:pt x="6089876" y="4581554"/>
                </a:cubicBezTo>
                <a:cubicBezTo>
                  <a:pt x="6083288" y="4580443"/>
                  <a:pt x="6082428" y="4576778"/>
                  <a:pt x="6081569" y="4573223"/>
                </a:cubicBezTo>
                <a:cubicBezTo>
                  <a:pt x="6081569" y="4570556"/>
                  <a:pt x="6080996" y="4569668"/>
                  <a:pt x="6077845" y="4568224"/>
                </a:cubicBezTo>
                <a:cubicBezTo>
                  <a:pt x="6077845" y="4568224"/>
                  <a:pt x="6077845" y="4568224"/>
                  <a:pt x="6079278" y="4565002"/>
                </a:cubicBezTo>
                <a:close/>
                <a:moveTo>
                  <a:pt x="2641705" y="4561559"/>
                </a:moveTo>
                <a:cubicBezTo>
                  <a:pt x="2658893" y="4565669"/>
                  <a:pt x="2666629" y="4581109"/>
                  <a:pt x="2667201" y="4589219"/>
                </a:cubicBezTo>
                <a:cubicBezTo>
                  <a:pt x="2650013" y="4585220"/>
                  <a:pt x="2638841" y="4569667"/>
                  <a:pt x="2641705" y="4561559"/>
                </a:cubicBezTo>
                <a:close/>
                <a:moveTo>
                  <a:pt x="2330320" y="4560004"/>
                </a:moveTo>
                <a:cubicBezTo>
                  <a:pt x="2331465" y="4560338"/>
                  <a:pt x="2332324" y="4560892"/>
                  <a:pt x="2332610" y="4561559"/>
                </a:cubicBezTo>
                <a:cubicBezTo>
                  <a:pt x="2333756" y="4562892"/>
                  <a:pt x="2334043" y="4564891"/>
                  <a:pt x="2334330" y="4567002"/>
                </a:cubicBezTo>
                <a:cubicBezTo>
                  <a:pt x="2330606" y="4567780"/>
                  <a:pt x="2329173" y="4570224"/>
                  <a:pt x="2323444" y="4569223"/>
                </a:cubicBezTo>
                <a:cubicBezTo>
                  <a:pt x="2324017" y="4565891"/>
                  <a:pt x="2325450" y="4563559"/>
                  <a:pt x="2326023" y="4560226"/>
                </a:cubicBezTo>
                <a:cubicBezTo>
                  <a:pt x="2327741" y="4559893"/>
                  <a:pt x="2329173" y="4559782"/>
                  <a:pt x="2330320" y="4560004"/>
                </a:cubicBezTo>
                <a:close/>
                <a:moveTo>
                  <a:pt x="5979874" y="4558893"/>
                </a:moveTo>
                <a:cubicBezTo>
                  <a:pt x="5981020" y="4559114"/>
                  <a:pt x="5981880" y="4559227"/>
                  <a:pt x="5982739" y="4559781"/>
                </a:cubicBezTo>
                <a:cubicBezTo>
                  <a:pt x="5983312" y="4560337"/>
                  <a:pt x="5983598" y="4561226"/>
                  <a:pt x="5982739" y="4562781"/>
                </a:cubicBezTo>
                <a:cubicBezTo>
                  <a:pt x="5982739" y="4565446"/>
                  <a:pt x="5981306" y="4566114"/>
                  <a:pt x="5975291" y="4566113"/>
                </a:cubicBezTo>
                <a:cubicBezTo>
                  <a:pt x="5970709" y="4565336"/>
                  <a:pt x="5966697" y="4565558"/>
                  <a:pt x="5966124" y="4564557"/>
                </a:cubicBezTo>
                <a:cubicBezTo>
                  <a:pt x="5964407" y="4565225"/>
                  <a:pt x="5962400" y="4564780"/>
                  <a:pt x="5960681" y="4565446"/>
                </a:cubicBezTo>
                <a:cubicBezTo>
                  <a:pt x="5960681" y="4565446"/>
                  <a:pt x="5960681" y="4565446"/>
                  <a:pt x="5960108" y="4564448"/>
                </a:cubicBezTo>
                <a:cubicBezTo>
                  <a:pt x="5966984" y="4563003"/>
                  <a:pt x="5973858" y="4558781"/>
                  <a:pt x="5979874" y="4558893"/>
                </a:cubicBezTo>
                <a:close/>
                <a:moveTo>
                  <a:pt x="2393914" y="4558227"/>
                </a:moveTo>
                <a:cubicBezTo>
                  <a:pt x="2397925" y="4559782"/>
                  <a:pt x="2401075" y="4558004"/>
                  <a:pt x="2405086" y="4559559"/>
                </a:cubicBezTo>
                <a:cubicBezTo>
                  <a:pt x="2402221" y="4562558"/>
                  <a:pt x="2401363" y="4565114"/>
                  <a:pt x="2399930" y="4566558"/>
                </a:cubicBezTo>
                <a:cubicBezTo>
                  <a:pt x="2392481" y="4565669"/>
                  <a:pt x="2389903" y="4562559"/>
                  <a:pt x="2393914" y="4558227"/>
                </a:cubicBezTo>
                <a:close/>
                <a:moveTo>
                  <a:pt x="5897946" y="4557783"/>
                </a:moveTo>
                <a:cubicBezTo>
                  <a:pt x="5899664" y="4557226"/>
                  <a:pt x="5900810" y="4559337"/>
                  <a:pt x="5900810" y="4559337"/>
                </a:cubicBezTo>
                <a:cubicBezTo>
                  <a:pt x="5902529" y="4558781"/>
                  <a:pt x="5903962" y="4558226"/>
                  <a:pt x="5906253" y="4558781"/>
                </a:cubicBezTo>
                <a:cubicBezTo>
                  <a:pt x="5905107" y="4560337"/>
                  <a:pt x="5906826" y="4559671"/>
                  <a:pt x="5907399" y="4560782"/>
                </a:cubicBezTo>
                <a:cubicBezTo>
                  <a:pt x="5905107" y="4560225"/>
                  <a:pt x="5900239" y="4561892"/>
                  <a:pt x="5896513" y="4562004"/>
                </a:cubicBezTo>
                <a:cubicBezTo>
                  <a:pt x="5895940" y="4560893"/>
                  <a:pt x="5893648" y="4560448"/>
                  <a:pt x="5893076" y="4559448"/>
                </a:cubicBezTo>
                <a:cubicBezTo>
                  <a:pt x="5894794" y="4558893"/>
                  <a:pt x="5897372" y="4556782"/>
                  <a:pt x="5897946" y="4557783"/>
                </a:cubicBezTo>
                <a:close/>
                <a:moveTo>
                  <a:pt x="2369852" y="4554783"/>
                </a:moveTo>
                <a:cubicBezTo>
                  <a:pt x="2372430" y="4554671"/>
                  <a:pt x="2375007" y="4554783"/>
                  <a:pt x="2377013" y="4555227"/>
                </a:cubicBezTo>
                <a:cubicBezTo>
                  <a:pt x="2381596" y="4556228"/>
                  <a:pt x="2384747" y="4558671"/>
                  <a:pt x="2386753" y="4563225"/>
                </a:cubicBezTo>
                <a:cubicBezTo>
                  <a:pt x="2382742" y="4567224"/>
                  <a:pt x="2375867" y="4567446"/>
                  <a:pt x="2370425" y="4565558"/>
                </a:cubicBezTo>
                <a:cubicBezTo>
                  <a:pt x="2364982" y="4563670"/>
                  <a:pt x="2360397" y="4559893"/>
                  <a:pt x="2360684" y="4555894"/>
                </a:cubicBezTo>
                <a:cubicBezTo>
                  <a:pt x="2364122" y="4555339"/>
                  <a:pt x="2366987" y="4555005"/>
                  <a:pt x="2369852" y="4554783"/>
                </a:cubicBezTo>
                <a:close/>
                <a:moveTo>
                  <a:pt x="5562209" y="4553450"/>
                </a:moveTo>
                <a:cubicBezTo>
                  <a:pt x="5562496" y="4554561"/>
                  <a:pt x="5564788" y="4556894"/>
                  <a:pt x="5563355" y="4558115"/>
                </a:cubicBezTo>
                <a:cubicBezTo>
                  <a:pt x="5561923" y="4559338"/>
                  <a:pt x="5561923" y="4559338"/>
                  <a:pt x="5558486" y="4559559"/>
                </a:cubicBezTo>
                <a:cubicBezTo>
                  <a:pt x="5559345" y="4555894"/>
                  <a:pt x="5559345" y="4555894"/>
                  <a:pt x="5562209" y="4553450"/>
                </a:cubicBezTo>
                <a:close/>
                <a:moveTo>
                  <a:pt x="5561636" y="4549895"/>
                </a:moveTo>
                <a:cubicBezTo>
                  <a:pt x="5563069" y="4549895"/>
                  <a:pt x="5563356" y="4551228"/>
                  <a:pt x="5562209" y="4552562"/>
                </a:cubicBezTo>
                <a:cubicBezTo>
                  <a:pt x="5562209" y="4552562"/>
                  <a:pt x="5560777" y="4552561"/>
                  <a:pt x="5560777" y="4552561"/>
                </a:cubicBezTo>
                <a:cubicBezTo>
                  <a:pt x="5560490" y="4551228"/>
                  <a:pt x="5560204" y="4550007"/>
                  <a:pt x="5561636" y="4549895"/>
                </a:cubicBezTo>
                <a:close/>
                <a:moveTo>
                  <a:pt x="2039272" y="4549562"/>
                </a:moveTo>
                <a:cubicBezTo>
                  <a:pt x="2040991" y="4549673"/>
                  <a:pt x="2042709" y="4551006"/>
                  <a:pt x="2042709" y="4551006"/>
                </a:cubicBezTo>
                <a:cubicBezTo>
                  <a:pt x="2044141" y="4552339"/>
                  <a:pt x="2044141" y="4552339"/>
                  <a:pt x="2045860" y="4551339"/>
                </a:cubicBezTo>
                <a:cubicBezTo>
                  <a:pt x="2045860" y="4551339"/>
                  <a:pt x="2045861" y="4552562"/>
                  <a:pt x="2045861" y="4552562"/>
                </a:cubicBezTo>
                <a:cubicBezTo>
                  <a:pt x="2044427" y="4552450"/>
                  <a:pt x="2045861" y="4552562"/>
                  <a:pt x="2047579" y="4553894"/>
                </a:cubicBezTo>
                <a:cubicBezTo>
                  <a:pt x="2045860" y="4556116"/>
                  <a:pt x="2045861" y="4557227"/>
                  <a:pt x="2044141" y="4558338"/>
                </a:cubicBezTo>
                <a:cubicBezTo>
                  <a:pt x="2043281" y="4558781"/>
                  <a:pt x="2041849" y="4559227"/>
                  <a:pt x="2040417" y="4559449"/>
                </a:cubicBezTo>
                <a:cubicBezTo>
                  <a:pt x="2039272" y="4559671"/>
                  <a:pt x="2038125" y="4559559"/>
                  <a:pt x="2037266" y="4558893"/>
                </a:cubicBezTo>
                <a:cubicBezTo>
                  <a:pt x="2037266" y="4557782"/>
                  <a:pt x="2035547" y="4557560"/>
                  <a:pt x="2035547" y="4556338"/>
                </a:cubicBezTo>
                <a:cubicBezTo>
                  <a:pt x="2034115" y="4553894"/>
                  <a:pt x="2034115" y="4552673"/>
                  <a:pt x="2035833" y="4551672"/>
                </a:cubicBezTo>
                <a:cubicBezTo>
                  <a:pt x="2035834" y="4550451"/>
                  <a:pt x="2037553" y="4550673"/>
                  <a:pt x="2039272" y="4549562"/>
                </a:cubicBezTo>
                <a:close/>
                <a:moveTo>
                  <a:pt x="2575532" y="4548007"/>
                </a:moveTo>
                <a:cubicBezTo>
                  <a:pt x="2568657" y="4555338"/>
                  <a:pt x="2568944" y="4562892"/>
                  <a:pt x="2568657" y="4570334"/>
                </a:cubicBezTo>
                <a:lnTo>
                  <a:pt x="2568371" y="4570779"/>
                </a:lnTo>
                <a:lnTo>
                  <a:pt x="2573241" y="4576001"/>
                </a:lnTo>
                <a:cubicBezTo>
                  <a:pt x="2574101" y="4577999"/>
                  <a:pt x="2574101" y="4579777"/>
                  <a:pt x="2573528" y="4581443"/>
                </a:cubicBezTo>
                <a:lnTo>
                  <a:pt x="2573240" y="4581887"/>
                </a:lnTo>
                <a:lnTo>
                  <a:pt x="2574673" y="4581665"/>
                </a:lnTo>
                <a:cubicBezTo>
                  <a:pt x="2575819" y="4581221"/>
                  <a:pt x="2576966" y="4580887"/>
                  <a:pt x="2578110" y="4581109"/>
                </a:cubicBezTo>
                <a:cubicBezTo>
                  <a:pt x="2578110" y="4581109"/>
                  <a:pt x="2581834" y="4583776"/>
                  <a:pt x="2581834" y="4583776"/>
                </a:cubicBezTo>
                <a:cubicBezTo>
                  <a:pt x="2580690" y="4585330"/>
                  <a:pt x="2580689" y="4585441"/>
                  <a:pt x="2580116" y="4584331"/>
                </a:cubicBezTo>
                <a:cubicBezTo>
                  <a:pt x="2577537" y="4586553"/>
                  <a:pt x="2575820" y="4587108"/>
                  <a:pt x="2574100" y="4587553"/>
                </a:cubicBezTo>
                <a:lnTo>
                  <a:pt x="2571808" y="4583332"/>
                </a:lnTo>
                <a:lnTo>
                  <a:pt x="2567799" y="4587219"/>
                </a:lnTo>
                <a:lnTo>
                  <a:pt x="2560636" y="4588885"/>
                </a:lnTo>
                <a:lnTo>
                  <a:pt x="2557772" y="4592440"/>
                </a:lnTo>
                <a:lnTo>
                  <a:pt x="2555194" y="4589663"/>
                </a:lnTo>
                <a:lnTo>
                  <a:pt x="2544595" y="4588441"/>
                </a:lnTo>
                <a:cubicBezTo>
                  <a:pt x="2540585" y="4587330"/>
                  <a:pt x="2536860" y="4585330"/>
                  <a:pt x="2534282" y="4582443"/>
                </a:cubicBezTo>
                <a:cubicBezTo>
                  <a:pt x="2534281" y="4577111"/>
                  <a:pt x="2540011" y="4573556"/>
                  <a:pt x="2546599" y="4571445"/>
                </a:cubicBezTo>
                <a:lnTo>
                  <a:pt x="2547459" y="4571334"/>
                </a:lnTo>
                <a:lnTo>
                  <a:pt x="2547745" y="4569446"/>
                </a:lnTo>
                <a:cubicBezTo>
                  <a:pt x="2548605" y="4567335"/>
                  <a:pt x="2550610" y="4566224"/>
                  <a:pt x="2552329" y="4565225"/>
                </a:cubicBezTo>
                <a:lnTo>
                  <a:pt x="2555767" y="4562781"/>
                </a:lnTo>
                <a:lnTo>
                  <a:pt x="2560923" y="4554338"/>
                </a:lnTo>
                <a:cubicBezTo>
                  <a:pt x="2564647" y="4550673"/>
                  <a:pt x="2569516" y="4548229"/>
                  <a:pt x="2575532" y="4548007"/>
                </a:cubicBezTo>
                <a:close/>
                <a:moveTo>
                  <a:pt x="2514802" y="4547452"/>
                </a:moveTo>
                <a:cubicBezTo>
                  <a:pt x="2512225" y="4555005"/>
                  <a:pt x="2518812" y="4558560"/>
                  <a:pt x="2511079" y="4561781"/>
                </a:cubicBezTo>
                <a:cubicBezTo>
                  <a:pt x="2505348" y="4559115"/>
                  <a:pt x="2508213" y="4549784"/>
                  <a:pt x="2514802" y="4547452"/>
                </a:cubicBezTo>
                <a:close/>
                <a:moveTo>
                  <a:pt x="6490641" y="4547007"/>
                </a:moveTo>
                <a:cubicBezTo>
                  <a:pt x="6493218" y="4548784"/>
                  <a:pt x="6492359" y="4551450"/>
                  <a:pt x="6491500" y="4554005"/>
                </a:cubicBezTo>
                <a:cubicBezTo>
                  <a:pt x="6490354" y="4556116"/>
                  <a:pt x="6488922" y="4557115"/>
                  <a:pt x="6487201" y="4557338"/>
                </a:cubicBezTo>
                <a:cubicBezTo>
                  <a:pt x="6485484" y="4557560"/>
                  <a:pt x="6483478" y="4557115"/>
                  <a:pt x="6481475" y="4556449"/>
                </a:cubicBezTo>
                <a:cubicBezTo>
                  <a:pt x="6477176" y="4555116"/>
                  <a:pt x="6478037" y="4552561"/>
                  <a:pt x="6478037" y="4552561"/>
                </a:cubicBezTo>
                <a:cubicBezTo>
                  <a:pt x="6480041" y="4548451"/>
                  <a:pt x="6484623" y="4546119"/>
                  <a:pt x="6490641" y="4547007"/>
                </a:cubicBezTo>
                <a:close/>
                <a:moveTo>
                  <a:pt x="3049345" y="4546674"/>
                </a:moveTo>
                <a:cubicBezTo>
                  <a:pt x="3053641" y="4546118"/>
                  <a:pt x="3058799" y="4546230"/>
                  <a:pt x="3063095" y="4547007"/>
                </a:cubicBezTo>
                <a:cubicBezTo>
                  <a:pt x="3071975" y="4548451"/>
                  <a:pt x="3079137" y="4552450"/>
                  <a:pt x="3077704" y="4558227"/>
                </a:cubicBezTo>
                <a:cubicBezTo>
                  <a:pt x="3077418" y="4559892"/>
                  <a:pt x="3076272" y="4561670"/>
                  <a:pt x="3074267" y="4563670"/>
                </a:cubicBezTo>
                <a:cubicBezTo>
                  <a:pt x="3062522" y="4563003"/>
                  <a:pt x="3041610" y="4564448"/>
                  <a:pt x="3037599" y="4550673"/>
                </a:cubicBezTo>
                <a:cubicBezTo>
                  <a:pt x="3040464" y="4548562"/>
                  <a:pt x="3044761" y="4547339"/>
                  <a:pt x="3049345" y="4546674"/>
                </a:cubicBezTo>
                <a:close/>
                <a:moveTo>
                  <a:pt x="1982552" y="4546674"/>
                </a:moveTo>
                <a:cubicBezTo>
                  <a:pt x="1986848" y="4546119"/>
                  <a:pt x="1992005" y="4546230"/>
                  <a:pt x="1996302" y="4547008"/>
                </a:cubicBezTo>
                <a:cubicBezTo>
                  <a:pt x="2005183" y="4548451"/>
                  <a:pt x="2012343" y="4552450"/>
                  <a:pt x="2010911" y="4558226"/>
                </a:cubicBezTo>
                <a:cubicBezTo>
                  <a:pt x="2010625" y="4559893"/>
                  <a:pt x="2009479" y="4561670"/>
                  <a:pt x="2007473" y="4563670"/>
                </a:cubicBezTo>
                <a:cubicBezTo>
                  <a:pt x="1995728" y="4563002"/>
                  <a:pt x="1974816" y="4564447"/>
                  <a:pt x="1970806" y="4550673"/>
                </a:cubicBezTo>
                <a:cubicBezTo>
                  <a:pt x="1973671" y="4548563"/>
                  <a:pt x="1977968" y="4547340"/>
                  <a:pt x="1982552" y="4546674"/>
                </a:cubicBezTo>
                <a:close/>
                <a:moveTo>
                  <a:pt x="5574527" y="4546118"/>
                </a:moveTo>
                <a:cubicBezTo>
                  <a:pt x="5580256" y="4546118"/>
                  <a:pt x="5583694" y="4547451"/>
                  <a:pt x="5585413" y="4549562"/>
                </a:cubicBezTo>
                <a:cubicBezTo>
                  <a:pt x="5590569" y="4555783"/>
                  <a:pt x="5579970" y="4567558"/>
                  <a:pt x="5567079" y="4562447"/>
                </a:cubicBezTo>
                <a:cubicBezTo>
                  <a:pt x="5564788" y="4558115"/>
                  <a:pt x="5570517" y="4548674"/>
                  <a:pt x="5574527" y="4546118"/>
                </a:cubicBezTo>
                <a:close/>
                <a:moveTo>
                  <a:pt x="6656216" y="4544119"/>
                </a:moveTo>
                <a:cubicBezTo>
                  <a:pt x="6655071" y="4545563"/>
                  <a:pt x="6655071" y="4545563"/>
                  <a:pt x="6657076" y="4546230"/>
                </a:cubicBezTo>
                <a:cubicBezTo>
                  <a:pt x="6657076" y="4546230"/>
                  <a:pt x="6657076" y="4546230"/>
                  <a:pt x="6658795" y="4545785"/>
                </a:cubicBezTo>
                <a:cubicBezTo>
                  <a:pt x="6659082" y="4546895"/>
                  <a:pt x="6657649" y="4547229"/>
                  <a:pt x="6657936" y="4548229"/>
                </a:cubicBezTo>
                <a:cubicBezTo>
                  <a:pt x="6657936" y="4548229"/>
                  <a:pt x="6656216" y="4548673"/>
                  <a:pt x="6656216" y="4548673"/>
                </a:cubicBezTo>
                <a:cubicBezTo>
                  <a:pt x="6656503" y="4549228"/>
                  <a:pt x="6656503" y="4549228"/>
                  <a:pt x="6656216" y="4549007"/>
                </a:cubicBezTo>
                <a:cubicBezTo>
                  <a:pt x="6655644" y="4548895"/>
                  <a:pt x="6654498" y="4548451"/>
                  <a:pt x="6652779" y="4548340"/>
                </a:cubicBezTo>
                <a:cubicBezTo>
                  <a:pt x="6650774" y="4547674"/>
                  <a:pt x="6649342" y="4548118"/>
                  <a:pt x="6650489" y="4546674"/>
                </a:cubicBezTo>
                <a:cubicBezTo>
                  <a:pt x="6651634" y="4545230"/>
                  <a:pt x="6651634" y="4545230"/>
                  <a:pt x="6656216" y="4544119"/>
                </a:cubicBezTo>
                <a:close/>
                <a:moveTo>
                  <a:pt x="5560490" y="4544007"/>
                </a:moveTo>
                <a:cubicBezTo>
                  <a:pt x="5560490" y="4544007"/>
                  <a:pt x="5562209" y="4545230"/>
                  <a:pt x="5562209" y="4545230"/>
                </a:cubicBezTo>
                <a:cubicBezTo>
                  <a:pt x="5561064" y="4546562"/>
                  <a:pt x="5562496" y="4546451"/>
                  <a:pt x="5559346" y="4546562"/>
                </a:cubicBezTo>
                <a:cubicBezTo>
                  <a:pt x="5560777" y="4545230"/>
                  <a:pt x="5560777" y="4545230"/>
                  <a:pt x="5560490" y="4544007"/>
                </a:cubicBezTo>
                <a:close/>
                <a:moveTo>
                  <a:pt x="2120054" y="4543230"/>
                </a:moveTo>
                <a:cubicBezTo>
                  <a:pt x="2130368" y="4546341"/>
                  <a:pt x="2127789" y="4548006"/>
                  <a:pt x="2122920" y="4552672"/>
                </a:cubicBezTo>
                <a:cubicBezTo>
                  <a:pt x="2116331" y="4550118"/>
                  <a:pt x="2116903" y="4547451"/>
                  <a:pt x="2120054" y="4543230"/>
                </a:cubicBezTo>
                <a:close/>
                <a:moveTo>
                  <a:pt x="2663477" y="4542897"/>
                </a:moveTo>
                <a:cubicBezTo>
                  <a:pt x="2663477" y="4542897"/>
                  <a:pt x="2663477" y="4543008"/>
                  <a:pt x="2675222" y="4545007"/>
                </a:cubicBezTo>
                <a:cubicBezTo>
                  <a:pt x="2674650" y="4545784"/>
                  <a:pt x="2673789" y="4546007"/>
                  <a:pt x="2672930" y="4545896"/>
                </a:cubicBezTo>
                <a:cubicBezTo>
                  <a:pt x="2672071" y="4545785"/>
                  <a:pt x="2670925" y="4545451"/>
                  <a:pt x="2669779" y="4545119"/>
                </a:cubicBezTo>
                <a:cubicBezTo>
                  <a:pt x="2667774" y="4544453"/>
                  <a:pt x="2665482" y="4543675"/>
                  <a:pt x="2663477" y="4542897"/>
                </a:cubicBezTo>
                <a:close/>
                <a:moveTo>
                  <a:pt x="2931321" y="4541898"/>
                </a:moveTo>
                <a:cubicBezTo>
                  <a:pt x="2933613" y="4541342"/>
                  <a:pt x="2936192" y="4541564"/>
                  <a:pt x="2939342" y="4542120"/>
                </a:cubicBezTo>
                <a:cubicBezTo>
                  <a:pt x="2936477" y="4545784"/>
                  <a:pt x="2932754" y="4546007"/>
                  <a:pt x="2925592" y="4546563"/>
                </a:cubicBezTo>
                <a:cubicBezTo>
                  <a:pt x="2927310" y="4543897"/>
                  <a:pt x="2929316" y="4542453"/>
                  <a:pt x="2931321" y="4541898"/>
                </a:cubicBezTo>
                <a:close/>
                <a:moveTo>
                  <a:pt x="2155575" y="4541786"/>
                </a:moveTo>
                <a:cubicBezTo>
                  <a:pt x="2158440" y="4541120"/>
                  <a:pt x="2161591" y="4542230"/>
                  <a:pt x="2165602" y="4542897"/>
                </a:cubicBezTo>
                <a:cubicBezTo>
                  <a:pt x="2165316" y="4544230"/>
                  <a:pt x="2165889" y="4545674"/>
                  <a:pt x="2166461" y="4547007"/>
                </a:cubicBezTo>
                <a:lnTo>
                  <a:pt x="2166175" y="4548340"/>
                </a:lnTo>
                <a:lnTo>
                  <a:pt x="2176774" y="4547785"/>
                </a:lnTo>
                <a:lnTo>
                  <a:pt x="2176487" y="4550451"/>
                </a:lnTo>
                <a:lnTo>
                  <a:pt x="2176774" y="4550229"/>
                </a:lnTo>
                <a:cubicBezTo>
                  <a:pt x="2181071" y="4548007"/>
                  <a:pt x="2187088" y="4547340"/>
                  <a:pt x="2195394" y="4549451"/>
                </a:cubicBezTo>
                <a:cubicBezTo>
                  <a:pt x="2199118" y="4549563"/>
                  <a:pt x="2197399" y="4550007"/>
                  <a:pt x="2199406" y="4550673"/>
                </a:cubicBezTo>
                <a:cubicBezTo>
                  <a:pt x="2201697" y="4551338"/>
                  <a:pt x="2205421" y="4551562"/>
                  <a:pt x="2206853" y="4551118"/>
                </a:cubicBezTo>
                <a:cubicBezTo>
                  <a:pt x="2203989" y="4556894"/>
                  <a:pt x="2210004" y="4557782"/>
                  <a:pt x="2204847" y="4566557"/>
                </a:cubicBezTo>
                <a:cubicBezTo>
                  <a:pt x="2199119" y="4577999"/>
                  <a:pt x="2187087" y="4578888"/>
                  <a:pt x="2179066" y="4577444"/>
                </a:cubicBezTo>
                <a:cubicBezTo>
                  <a:pt x="2179925" y="4576222"/>
                  <a:pt x="2169040" y="4574111"/>
                  <a:pt x="2166461" y="4567669"/>
                </a:cubicBezTo>
                <a:cubicBezTo>
                  <a:pt x="2165602" y="4565446"/>
                  <a:pt x="2165603" y="4562891"/>
                  <a:pt x="2167322" y="4559559"/>
                </a:cubicBezTo>
                <a:lnTo>
                  <a:pt x="2170758" y="4556228"/>
                </a:lnTo>
                <a:lnTo>
                  <a:pt x="2158154" y="4559893"/>
                </a:lnTo>
                <a:cubicBezTo>
                  <a:pt x="2147269" y="4561559"/>
                  <a:pt x="2134091" y="4561226"/>
                  <a:pt x="2128075" y="4559893"/>
                </a:cubicBezTo>
                <a:lnTo>
                  <a:pt x="2148700" y="4552339"/>
                </a:lnTo>
                <a:lnTo>
                  <a:pt x="2147269" y="4550450"/>
                </a:lnTo>
                <a:cubicBezTo>
                  <a:pt x="2150134" y="4544785"/>
                  <a:pt x="2152711" y="4542452"/>
                  <a:pt x="2155575" y="4541786"/>
                </a:cubicBezTo>
                <a:close/>
                <a:moveTo>
                  <a:pt x="5845237" y="4540120"/>
                </a:moveTo>
                <a:cubicBezTo>
                  <a:pt x="5847814" y="4540120"/>
                  <a:pt x="5850106" y="4540454"/>
                  <a:pt x="5851825" y="4541342"/>
                </a:cubicBezTo>
                <a:cubicBezTo>
                  <a:pt x="5852970" y="4544452"/>
                  <a:pt x="5854403" y="4547674"/>
                  <a:pt x="5855549" y="4550784"/>
                </a:cubicBezTo>
                <a:cubicBezTo>
                  <a:pt x="5852970" y="4556782"/>
                  <a:pt x="5844950" y="4559892"/>
                  <a:pt x="5837788" y="4559004"/>
                </a:cubicBezTo>
                <a:cubicBezTo>
                  <a:pt x="5835210" y="4558671"/>
                  <a:pt x="5832918" y="4557893"/>
                  <a:pt x="5831200" y="4556672"/>
                </a:cubicBezTo>
                <a:cubicBezTo>
                  <a:pt x="5828622" y="4554894"/>
                  <a:pt x="5826617" y="4552339"/>
                  <a:pt x="5825756" y="4548673"/>
                </a:cubicBezTo>
                <a:cubicBezTo>
                  <a:pt x="5826616" y="4544008"/>
                  <a:pt x="5837216" y="4540231"/>
                  <a:pt x="5845237" y="4540120"/>
                </a:cubicBezTo>
                <a:close/>
                <a:moveTo>
                  <a:pt x="2090262" y="4539676"/>
                </a:moveTo>
                <a:cubicBezTo>
                  <a:pt x="2097138" y="4539786"/>
                  <a:pt x="2106878" y="4543453"/>
                  <a:pt x="2101721" y="4549006"/>
                </a:cubicBezTo>
                <a:cubicBezTo>
                  <a:pt x="2100862" y="4550118"/>
                  <a:pt x="2099429" y="4550561"/>
                  <a:pt x="2097423" y="4550450"/>
                </a:cubicBezTo>
                <a:cubicBezTo>
                  <a:pt x="2091407" y="4550118"/>
                  <a:pt x="2082242" y="4545119"/>
                  <a:pt x="2085393" y="4540786"/>
                </a:cubicBezTo>
                <a:cubicBezTo>
                  <a:pt x="2086251" y="4540009"/>
                  <a:pt x="2088256" y="4539565"/>
                  <a:pt x="2090262" y="4539676"/>
                </a:cubicBezTo>
                <a:close/>
                <a:moveTo>
                  <a:pt x="5693696" y="4539231"/>
                </a:moveTo>
                <a:cubicBezTo>
                  <a:pt x="5696848" y="4544230"/>
                  <a:pt x="5694270" y="4547340"/>
                  <a:pt x="5688254" y="4550673"/>
                </a:cubicBezTo>
                <a:cubicBezTo>
                  <a:pt x="5683957" y="4549229"/>
                  <a:pt x="5680806" y="4544119"/>
                  <a:pt x="5683384" y="4540898"/>
                </a:cubicBezTo>
                <a:cubicBezTo>
                  <a:pt x="5688540" y="4538787"/>
                  <a:pt x="5690545" y="4540786"/>
                  <a:pt x="5693696" y="4539231"/>
                </a:cubicBezTo>
                <a:close/>
                <a:moveTo>
                  <a:pt x="2810146" y="4538565"/>
                </a:moveTo>
                <a:cubicBezTo>
                  <a:pt x="2804991" y="4542230"/>
                  <a:pt x="2800120" y="4546118"/>
                  <a:pt x="2794104" y="4549229"/>
                </a:cubicBezTo>
                <a:cubicBezTo>
                  <a:pt x="2787803" y="4552339"/>
                  <a:pt x="2780927" y="4554783"/>
                  <a:pt x="2771187" y="4555560"/>
                </a:cubicBezTo>
                <a:cubicBezTo>
                  <a:pt x="2771474" y="4541453"/>
                  <a:pt x="2796969" y="4538120"/>
                  <a:pt x="2810146" y="4538565"/>
                </a:cubicBezTo>
                <a:close/>
                <a:moveTo>
                  <a:pt x="5160300" y="4536454"/>
                </a:moveTo>
                <a:cubicBezTo>
                  <a:pt x="5157435" y="4538342"/>
                  <a:pt x="5154570" y="4538343"/>
                  <a:pt x="5154570" y="4540231"/>
                </a:cubicBezTo>
                <a:cubicBezTo>
                  <a:pt x="5148841" y="4542120"/>
                  <a:pt x="5145976" y="4543897"/>
                  <a:pt x="5143398" y="4545785"/>
                </a:cubicBezTo>
                <a:cubicBezTo>
                  <a:pt x="5143398" y="4545785"/>
                  <a:pt x="5142539" y="4546340"/>
                  <a:pt x="5141680" y="4546563"/>
                </a:cubicBezTo>
                <a:lnTo>
                  <a:pt x="5138242" y="4545896"/>
                </a:lnTo>
                <a:lnTo>
                  <a:pt x="5139388" y="4550117"/>
                </a:lnTo>
                <a:lnTo>
                  <a:pt x="5138243" y="4553116"/>
                </a:lnTo>
                <a:lnTo>
                  <a:pt x="5139674" y="4552006"/>
                </a:lnTo>
                <a:lnTo>
                  <a:pt x="5149128" y="4548340"/>
                </a:lnTo>
                <a:lnTo>
                  <a:pt x="5149987" y="4546896"/>
                </a:lnTo>
                <a:cubicBezTo>
                  <a:pt x="5152565" y="4544564"/>
                  <a:pt x="5156289" y="4542786"/>
                  <a:pt x="5160300" y="4541563"/>
                </a:cubicBezTo>
                <a:lnTo>
                  <a:pt x="5164310" y="4540898"/>
                </a:lnTo>
                <a:lnTo>
                  <a:pt x="5168607" y="4536454"/>
                </a:lnTo>
                <a:cubicBezTo>
                  <a:pt x="5168607" y="4536454"/>
                  <a:pt x="5168607" y="4536454"/>
                  <a:pt x="5160300" y="4538343"/>
                </a:cubicBezTo>
                <a:cubicBezTo>
                  <a:pt x="5160300" y="4538343"/>
                  <a:pt x="5160300" y="4538343"/>
                  <a:pt x="5160300" y="4536454"/>
                </a:cubicBezTo>
                <a:close/>
                <a:moveTo>
                  <a:pt x="2753714" y="4534344"/>
                </a:moveTo>
                <a:cubicBezTo>
                  <a:pt x="2757152" y="4535121"/>
                  <a:pt x="2759729" y="4536787"/>
                  <a:pt x="2761448" y="4538898"/>
                </a:cubicBezTo>
                <a:cubicBezTo>
                  <a:pt x="2766891" y="4545008"/>
                  <a:pt x="2765172" y="4555227"/>
                  <a:pt x="2760588" y="4560781"/>
                </a:cubicBezTo>
                <a:cubicBezTo>
                  <a:pt x="2753140" y="4563336"/>
                  <a:pt x="2747411" y="4563225"/>
                  <a:pt x="2743400" y="4561559"/>
                </a:cubicBezTo>
                <a:cubicBezTo>
                  <a:pt x="2731370" y="4556782"/>
                  <a:pt x="2735093" y="4538120"/>
                  <a:pt x="2753714" y="4534344"/>
                </a:cubicBezTo>
                <a:close/>
                <a:moveTo>
                  <a:pt x="5630389" y="4532011"/>
                </a:moveTo>
                <a:cubicBezTo>
                  <a:pt x="5630961" y="4533011"/>
                  <a:pt x="5628382" y="4536010"/>
                  <a:pt x="5627237" y="4537565"/>
                </a:cubicBezTo>
                <a:cubicBezTo>
                  <a:pt x="5627810" y="4538675"/>
                  <a:pt x="5626664" y="4540120"/>
                  <a:pt x="5624945" y="4540454"/>
                </a:cubicBezTo>
                <a:cubicBezTo>
                  <a:pt x="5624945" y="4540454"/>
                  <a:pt x="5623800" y="4542008"/>
                  <a:pt x="5624372" y="4543119"/>
                </a:cubicBezTo>
                <a:cubicBezTo>
                  <a:pt x="5622080" y="4546118"/>
                  <a:pt x="5620362" y="4546452"/>
                  <a:pt x="5618643" y="4546896"/>
                </a:cubicBezTo>
                <a:cubicBezTo>
                  <a:pt x="5618643" y="4546896"/>
                  <a:pt x="5619789" y="4545451"/>
                  <a:pt x="5619502" y="4544341"/>
                </a:cubicBezTo>
                <a:cubicBezTo>
                  <a:pt x="5619502" y="4544341"/>
                  <a:pt x="5620648" y="4542786"/>
                  <a:pt x="5621794" y="4541341"/>
                </a:cubicBezTo>
                <a:cubicBezTo>
                  <a:pt x="5621794" y="4541341"/>
                  <a:pt x="5621221" y="4540231"/>
                  <a:pt x="5620934" y="4539120"/>
                </a:cubicBezTo>
                <a:cubicBezTo>
                  <a:pt x="5622940" y="4535010"/>
                  <a:pt x="5623513" y="4532455"/>
                  <a:pt x="5630389" y="4532011"/>
                </a:cubicBezTo>
                <a:close/>
                <a:moveTo>
                  <a:pt x="2715900" y="4530012"/>
                </a:moveTo>
                <a:cubicBezTo>
                  <a:pt x="2720770" y="4532011"/>
                  <a:pt x="2729650" y="4531011"/>
                  <a:pt x="2729936" y="4536898"/>
                </a:cubicBezTo>
                <a:cubicBezTo>
                  <a:pt x="2708738" y="4540675"/>
                  <a:pt x="2713035" y="4562559"/>
                  <a:pt x="2692696" y="4561670"/>
                </a:cubicBezTo>
                <a:cubicBezTo>
                  <a:pt x="2696708" y="4550561"/>
                  <a:pt x="2696993" y="4538898"/>
                  <a:pt x="2715900" y="4530012"/>
                </a:cubicBezTo>
                <a:close/>
                <a:moveTo>
                  <a:pt x="5561923" y="4528900"/>
                </a:moveTo>
                <a:lnTo>
                  <a:pt x="5562209" y="4530011"/>
                </a:lnTo>
                <a:lnTo>
                  <a:pt x="5562496" y="4529456"/>
                </a:lnTo>
                <a:close/>
                <a:moveTo>
                  <a:pt x="2554334" y="4527233"/>
                </a:moveTo>
                <a:cubicBezTo>
                  <a:pt x="2555767" y="4527123"/>
                  <a:pt x="2557485" y="4527123"/>
                  <a:pt x="2559204" y="4527457"/>
                </a:cubicBezTo>
                <a:cubicBezTo>
                  <a:pt x="2562928" y="4528012"/>
                  <a:pt x="2566079" y="4529345"/>
                  <a:pt x="2566938" y="4531454"/>
                </a:cubicBezTo>
                <a:cubicBezTo>
                  <a:pt x="2567798" y="4532789"/>
                  <a:pt x="2567225" y="4534455"/>
                  <a:pt x="2565220" y="4536454"/>
                </a:cubicBezTo>
                <a:cubicBezTo>
                  <a:pt x="2564074" y="4537564"/>
                  <a:pt x="2562355" y="4537899"/>
                  <a:pt x="2560636" y="4537787"/>
                </a:cubicBezTo>
                <a:cubicBezTo>
                  <a:pt x="2554620" y="4537564"/>
                  <a:pt x="2546599" y="4532789"/>
                  <a:pt x="2550611" y="4528345"/>
                </a:cubicBezTo>
                <a:cubicBezTo>
                  <a:pt x="2551470" y="4527790"/>
                  <a:pt x="2552615" y="4527345"/>
                  <a:pt x="2554334" y="4527233"/>
                </a:cubicBezTo>
                <a:close/>
                <a:moveTo>
                  <a:pt x="5727786" y="4525013"/>
                </a:moveTo>
                <a:cubicBezTo>
                  <a:pt x="5732082" y="4525124"/>
                  <a:pt x="5733228" y="4527679"/>
                  <a:pt x="5734661" y="4530234"/>
                </a:cubicBezTo>
                <a:cubicBezTo>
                  <a:pt x="5728645" y="4530900"/>
                  <a:pt x="5730078" y="4536010"/>
                  <a:pt x="5723202" y="4534122"/>
                </a:cubicBezTo>
                <a:cubicBezTo>
                  <a:pt x="5721197" y="4532344"/>
                  <a:pt x="5720338" y="4529899"/>
                  <a:pt x="5722343" y="4525678"/>
                </a:cubicBezTo>
                <a:cubicBezTo>
                  <a:pt x="5724348" y="4525124"/>
                  <a:pt x="5726355" y="4524901"/>
                  <a:pt x="5727786" y="4525013"/>
                </a:cubicBezTo>
                <a:close/>
                <a:moveTo>
                  <a:pt x="2324017" y="4525012"/>
                </a:moveTo>
                <a:cubicBezTo>
                  <a:pt x="2324017" y="4525012"/>
                  <a:pt x="2324017" y="4524902"/>
                  <a:pt x="2325449" y="4525457"/>
                </a:cubicBezTo>
                <a:cubicBezTo>
                  <a:pt x="2328600" y="4526679"/>
                  <a:pt x="2330032" y="4527234"/>
                  <a:pt x="2331465" y="4527901"/>
                </a:cubicBezTo>
                <a:cubicBezTo>
                  <a:pt x="2332324" y="4529456"/>
                  <a:pt x="2333183" y="4533677"/>
                  <a:pt x="2331179" y="4534121"/>
                </a:cubicBezTo>
                <a:cubicBezTo>
                  <a:pt x="2326595" y="4535010"/>
                  <a:pt x="2321438" y="4534232"/>
                  <a:pt x="2320579" y="4532678"/>
                </a:cubicBezTo>
                <a:cubicBezTo>
                  <a:pt x="2319147" y="4530234"/>
                  <a:pt x="2318002" y="4527901"/>
                  <a:pt x="2320292" y="4526346"/>
                </a:cubicBezTo>
                <a:cubicBezTo>
                  <a:pt x="2321152" y="4525790"/>
                  <a:pt x="2322298" y="4525346"/>
                  <a:pt x="2324017" y="4525012"/>
                </a:cubicBezTo>
                <a:close/>
                <a:moveTo>
                  <a:pt x="6243135" y="4523235"/>
                </a:moveTo>
                <a:cubicBezTo>
                  <a:pt x="6255740" y="4524568"/>
                  <a:pt x="6253162" y="4533677"/>
                  <a:pt x="6254594" y="4533122"/>
                </a:cubicBezTo>
                <a:cubicBezTo>
                  <a:pt x="6256886" y="4533455"/>
                  <a:pt x="6256886" y="4533455"/>
                  <a:pt x="6258318" y="4532788"/>
                </a:cubicBezTo>
                <a:cubicBezTo>
                  <a:pt x="6259177" y="4533789"/>
                  <a:pt x="6262042" y="4535232"/>
                  <a:pt x="6264334" y="4535677"/>
                </a:cubicBezTo>
                <a:cubicBezTo>
                  <a:pt x="6262901" y="4536232"/>
                  <a:pt x="6261469" y="4536898"/>
                  <a:pt x="6262042" y="4537898"/>
                </a:cubicBezTo>
                <a:cubicBezTo>
                  <a:pt x="6257745" y="4537121"/>
                  <a:pt x="6256886" y="4536121"/>
                  <a:pt x="6254594" y="4535676"/>
                </a:cubicBezTo>
                <a:cubicBezTo>
                  <a:pt x="6255454" y="4536676"/>
                  <a:pt x="6253162" y="4536343"/>
                  <a:pt x="6253162" y="4536343"/>
                </a:cubicBezTo>
                <a:cubicBezTo>
                  <a:pt x="6253162" y="4536343"/>
                  <a:pt x="6253162" y="4536232"/>
                  <a:pt x="6251729" y="4539565"/>
                </a:cubicBezTo>
                <a:cubicBezTo>
                  <a:pt x="6251729" y="4539565"/>
                  <a:pt x="6247432" y="4546785"/>
                  <a:pt x="6236833" y="4545784"/>
                </a:cubicBezTo>
                <a:cubicBezTo>
                  <a:pt x="6237406" y="4544230"/>
                  <a:pt x="6223942" y="4541898"/>
                  <a:pt x="6223656" y="4536565"/>
                </a:cubicBezTo>
                <a:cubicBezTo>
                  <a:pt x="6223656" y="4533899"/>
                  <a:pt x="6224228" y="4532344"/>
                  <a:pt x="6224228" y="4529678"/>
                </a:cubicBezTo>
                <a:cubicBezTo>
                  <a:pt x="6228812" y="4527790"/>
                  <a:pt x="6230817" y="4522902"/>
                  <a:pt x="6243135" y="4523235"/>
                </a:cubicBezTo>
                <a:close/>
                <a:moveTo>
                  <a:pt x="2755433" y="4522902"/>
                </a:moveTo>
                <a:cubicBezTo>
                  <a:pt x="2757437" y="4524569"/>
                  <a:pt x="2756579" y="4529567"/>
                  <a:pt x="2755718" y="4532789"/>
                </a:cubicBezTo>
                <a:cubicBezTo>
                  <a:pt x="2751708" y="4535232"/>
                  <a:pt x="2745692" y="4536010"/>
                  <a:pt x="2739963" y="4535121"/>
                </a:cubicBezTo>
                <a:cubicBezTo>
                  <a:pt x="2741395" y="4528568"/>
                  <a:pt x="2746838" y="4525235"/>
                  <a:pt x="2755433" y="4522902"/>
                </a:cubicBezTo>
                <a:close/>
                <a:moveTo>
                  <a:pt x="2874602" y="4522680"/>
                </a:moveTo>
                <a:cubicBezTo>
                  <a:pt x="2877466" y="4526346"/>
                  <a:pt x="2884054" y="4532233"/>
                  <a:pt x="2887493" y="4538120"/>
                </a:cubicBezTo>
                <a:cubicBezTo>
                  <a:pt x="2891216" y="4544119"/>
                  <a:pt x="2892075" y="4550006"/>
                  <a:pt x="2883481" y="4553783"/>
                </a:cubicBezTo>
                <a:cubicBezTo>
                  <a:pt x="2879472" y="4547118"/>
                  <a:pt x="2861710" y="4527568"/>
                  <a:pt x="2874602" y="4522680"/>
                </a:cubicBezTo>
                <a:close/>
                <a:moveTo>
                  <a:pt x="2250109" y="4517793"/>
                </a:moveTo>
                <a:cubicBezTo>
                  <a:pt x="2255552" y="4518792"/>
                  <a:pt x="2260708" y="4519792"/>
                  <a:pt x="2264145" y="4525346"/>
                </a:cubicBezTo>
                <a:cubicBezTo>
                  <a:pt x="2262427" y="4529789"/>
                  <a:pt x="2258703" y="4532011"/>
                  <a:pt x="2249536" y="4533232"/>
                </a:cubicBezTo>
                <a:cubicBezTo>
                  <a:pt x="2242089" y="4530011"/>
                  <a:pt x="2238651" y="4519348"/>
                  <a:pt x="2250109" y="4517793"/>
                </a:cubicBezTo>
                <a:close/>
                <a:moveTo>
                  <a:pt x="6596918" y="4517459"/>
                </a:moveTo>
                <a:cubicBezTo>
                  <a:pt x="6610956" y="4530344"/>
                  <a:pt x="6637596" y="4524569"/>
                  <a:pt x="6649055" y="4540564"/>
                </a:cubicBezTo>
                <a:cubicBezTo>
                  <a:pt x="6641034" y="4543896"/>
                  <a:pt x="6625852" y="4542120"/>
                  <a:pt x="6613534" y="4537454"/>
                </a:cubicBezTo>
                <a:cubicBezTo>
                  <a:pt x="6601502" y="4532788"/>
                  <a:pt x="6592335" y="4525457"/>
                  <a:pt x="6596918" y="4517459"/>
                </a:cubicBezTo>
                <a:close/>
                <a:moveTo>
                  <a:pt x="6715228" y="4513460"/>
                </a:moveTo>
                <a:cubicBezTo>
                  <a:pt x="6716374" y="4516570"/>
                  <a:pt x="6717520" y="4519570"/>
                  <a:pt x="6713224" y="4520569"/>
                </a:cubicBezTo>
                <a:cubicBezTo>
                  <a:pt x="6710932" y="4518570"/>
                  <a:pt x="6708926" y="4519236"/>
                  <a:pt x="6708353" y="4515126"/>
                </a:cubicBezTo>
                <a:cubicBezTo>
                  <a:pt x="6710645" y="4514571"/>
                  <a:pt x="6712936" y="4514015"/>
                  <a:pt x="6715228" y="4513460"/>
                </a:cubicBezTo>
                <a:close/>
                <a:moveTo>
                  <a:pt x="5959822" y="4513016"/>
                </a:moveTo>
                <a:cubicBezTo>
                  <a:pt x="5961827" y="4513016"/>
                  <a:pt x="5962114" y="4513571"/>
                  <a:pt x="5961827" y="4514460"/>
                </a:cubicBezTo>
                <a:cubicBezTo>
                  <a:pt x="5961540" y="4515238"/>
                  <a:pt x="5960968" y="4516459"/>
                  <a:pt x="5960968" y="4517792"/>
                </a:cubicBezTo>
                <a:lnTo>
                  <a:pt x="5954379" y="4516127"/>
                </a:lnTo>
                <a:cubicBezTo>
                  <a:pt x="5955238" y="4514460"/>
                  <a:pt x="5957816" y="4512460"/>
                  <a:pt x="5959822" y="4513016"/>
                </a:cubicBezTo>
                <a:close/>
                <a:moveTo>
                  <a:pt x="2189378" y="4512905"/>
                </a:moveTo>
                <a:cubicBezTo>
                  <a:pt x="2190524" y="4513238"/>
                  <a:pt x="2190811" y="4513460"/>
                  <a:pt x="2190524" y="4513794"/>
                </a:cubicBezTo>
                <a:cubicBezTo>
                  <a:pt x="2189952" y="4514238"/>
                  <a:pt x="2189378" y="4514682"/>
                  <a:pt x="2188805" y="4515349"/>
                </a:cubicBezTo>
                <a:cubicBezTo>
                  <a:pt x="2188233" y="4514348"/>
                  <a:pt x="2188520" y="4515460"/>
                  <a:pt x="2189378" y="4512905"/>
                </a:cubicBezTo>
                <a:close/>
                <a:moveTo>
                  <a:pt x="5742682" y="4512904"/>
                </a:moveTo>
                <a:cubicBezTo>
                  <a:pt x="5744974" y="4513237"/>
                  <a:pt x="5745833" y="4514460"/>
                  <a:pt x="5746120" y="4516126"/>
                </a:cubicBezTo>
                <a:cubicBezTo>
                  <a:pt x="5746692" y="4521347"/>
                  <a:pt x="5737239" y="4529789"/>
                  <a:pt x="5731224" y="4515460"/>
                </a:cubicBezTo>
                <a:cubicBezTo>
                  <a:pt x="5736667" y="4513126"/>
                  <a:pt x="5740104" y="4512571"/>
                  <a:pt x="5742682" y="4512904"/>
                </a:cubicBezTo>
                <a:close/>
                <a:moveTo>
                  <a:pt x="6955572" y="4512239"/>
                </a:moveTo>
                <a:cubicBezTo>
                  <a:pt x="6963880" y="4512349"/>
                  <a:pt x="6967030" y="4515126"/>
                  <a:pt x="6969036" y="4520236"/>
                </a:cubicBezTo>
                <a:cubicBezTo>
                  <a:pt x="6965312" y="4522235"/>
                  <a:pt x="6957290" y="4522125"/>
                  <a:pt x="6953853" y="4519347"/>
                </a:cubicBezTo>
                <a:cubicBezTo>
                  <a:pt x="6952994" y="4515126"/>
                  <a:pt x="6956432" y="4514793"/>
                  <a:pt x="6955572" y="4512239"/>
                </a:cubicBezTo>
                <a:close/>
                <a:moveTo>
                  <a:pt x="6026569" y="4511794"/>
                </a:moveTo>
                <a:cubicBezTo>
                  <a:pt x="6028860" y="4512238"/>
                  <a:pt x="6030292" y="4512794"/>
                  <a:pt x="6031152" y="4513681"/>
                </a:cubicBezTo>
                <a:cubicBezTo>
                  <a:pt x="6032298" y="4514682"/>
                  <a:pt x="6032584" y="4515792"/>
                  <a:pt x="6032585" y="4517126"/>
                </a:cubicBezTo>
                <a:cubicBezTo>
                  <a:pt x="6032011" y="4518792"/>
                  <a:pt x="6028860" y="4520014"/>
                  <a:pt x="6023704" y="4520903"/>
                </a:cubicBezTo>
                <a:cubicBezTo>
                  <a:pt x="6020552" y="4519570"/>
                  <a:pt x="6022844" y="4514682"/>
                  <a:pt x="6022844" y="4512127"/>
                </a:cubicBezTo>
                <a:cubicBezTo>
                  <a:pt x="6025136" y="4512460"/>
                  <a:pt x="6027428" y="4512793"/>
                  <a:pt x="6026569" y="4511794"/>
                </a:cubicBezTo>
                <a:close/>
                <a:moveTo>
                  <a:pt x="5973858" y="4511016"/>
                </a:moveTo>
                <a:cubicBezTo>
                  <a:pt x="5974432" y="4512127"/>
                  <a:pt x="5975865" y="4511571"/>
                  <a:pt x="5976437" y="4512571"/>
                </a:cubicBezTo>
                <a:cubicBezTo>
                  <a:pt x="5976437" y="4512571"/>
                  <a:pt x="5977869" y="4513348"/>
                  <a:pt x="5979015" y="4514904"/>
                </a:cubicBezTo>
                <a:cubicBezTo>
                  <a:pt x="5980161" y="4516349"/>
                  <a:pt x="5981020" y="4518570"/>
                  <a:pt x="5979874" y="4521458"/>
                </a:cubicBezTo>
                <a:cubicBezTo>
                  <a:pt x="5978728" y="4523013"/>
                  <a:pt x="5975291" y="4526679"/>
                  <a:pt x="5974718" y="4525679"/>
                </a:cubicBezTo>
                <a:cubicBezTo>
                  <a:pt x="5972426" y="4525124"/>
                  <a:pt x="5973286" y="4526235"/>
                  <a:pt x="5971567" y="4526679"/>
                </a:cubicBezTo>
                <a:lnTo>
                  <a:pt x="5969275" y="4525790"/>
                </a:lnTo>
                <a:lnTo>
                  <a:pt x="5968416" y="4526567"/>
                </a:lnTo>
                <a:cubicBezTo>
                  <a:pt x="5966124" y="4528899"/>
                  <a:pt x="5966410" y="4528900"/>
                  <a:pt x="5963832" y="4528456"/>
                </a:cubicBezTo>
                <a:cubicBezTo>
                  <a:pt x="5962686" y="4528234"/>
                  <a:pt x="5962114" y="4527234"/>
                  <a:pt x="5961254" y="4526235"/>
                </a:cubicBezTo>
                <a:lnTo>
                  <a:pt x="5959536" y="4525012"/>
                </a:lnTo>
                <a:lnTo>
                  <a:pt x="5956670" y="4526900"/>
                </a:lnTo>
                <a:cubicBezTo>
                  <a:pt x="5955238" y="4527790"/>
                  <a:pt x="5953806" y="4528900"/>
                  <a:pt x="5952088" y="4530011"/>
                </a:cubicBezTo>
                <a:cubicBezTo>
                  <a:pt x="5947504" y="4528123"/>
                  <a:pt x="5940915" y="4521236"/>
                  <a:pt x="5943494" y="4515681"/>
                </a:cubicBezTo>
                <a:cubicBezTo>
                  <a:pt x="5946072" y="4515126"/>
                  <a:pt x="5948364" y="4514793"/>
                  <a:pt x="5950368" y="4514904"/>
                </a:cubicBezTo>
                <a:cubicBezTo>
                  <a:pt x="5953233" y="4515126"/>
                  <a:pt x="5955238" y="4516126"/>
                  <a:pt x="5956957" y="4517792"/>
                </a:cubicBezTo>
                <a:lnTo>
                  <a:pt x="5959536" y="4522679"/>
                </a:lnTo>
                <a:lnTo>
                  <a:pt x="5960681" y="4521680"/>
                </a:lnTo>
                <a:lnTo>
                  <a:pt x="5963546" y="4521125"/>
                </a:lnTo>
                <a:lnTo>
                  <a:pt x="5962973" y="4518347"/>
                </a:lnTo>
                <a:cubicBezTo>
                  <a:pt x="5964978" y="4515237"/>
                  <a:pt x="5967843" y="4510461"/>
                  <a:pt x="5973858" y="4511016"/>
                </a:cubicBezTo>
                <a:close/>
                <a:moveTo>
                  <a:pt x="6372044" y="4510905"/>
                </a:moveTo>
                <a:cubicBezTo>
                  <a:pt x="6375195" y="4512016"/>
                  <a:pt x="6379492" y="4513460"/>
                  <a:pt x="6380638" y="4515904"/>
                </a:cubicBezTo>
                <a:cubicBezTo>
                  <a:pt x="6380924" y="4516681"/>
                  <a:pt x="6380924" y="4517570"/>
                  <a:pt x="6380352" y="4518570"/>
                </a:cubicBezTo>
                <a:cubicBezTo>
                  <a:pt x="6378632" y="4519014"/>
                  <a:pt x="6379206" y="4520125"/>
                  <a:pt x="6377488" y="4520569"/>
                </a:cubicBezTo>
                <a:cubicBezTo>
                  <a:pt x="6377488" y="4520569"/>
                  <a:pt x="6376054" y="4521569"/>
                  <a:pt x="6373763" y="4522235"/>
                </a:cubicBezTo>
                <a:cubicBezTo>
                  <a:pt x="6371471" y="4523013"/>
                  <a:pt x="6368034" y="4523457"/>
                  <a:pt x="6364023" y="4522681"/>
                </a:cubicBezTo>
                <a:cubicBezTo>
                  <a:pt x="6362019" y="4521902"/>
                  <a:pt x="6357434" y="4519348"/>
                  <a:pt x="6359153" y="4519014"/>
                </a:cubicBezTo>
                <a:cubicBezTo>
                  <a:pt x="6360299" y="4517459"/>
                  <a:pt x="6358866" y="4517792"/>
                  <a:pt x="6358294" y="4516681"/>
                </a:cubicBezTo>
                <a:cubicBezTo>
                  <a:pt x="6362019" y="4512127"/>
                  <a:pt x="6366315" y="4509905"/>
                  <a:pt x="6372044" y="4510905"/>
                </a:cubicBezTo>
                <a:close/>
                <a:moveTo>
                  <a:pt x="5284052" y="4510572"/>
                </a:moveTo>
                <a:cubicBezTo>
                  <a:pt x="5304105" y="4515015"/>
                  <a:pt x="5301813" y="4525013"/>
                  <a:pt x="5302100" y="4537454"/>
                </a:cubicBezTo>
                <a:lnTo>
                  <a:pt x="5303246" y="4544008"/>
                </a:lnTo>
                <a:lnTo>
                  <a:pt x="5305824" y="4541897"/>
                </a:lnTo>
                <a:cubicBezTo>
                  <a:pt x="5308116" y="4541342"/>
                  <a:pt x="5310694" y="4541564"/>
                  <a:pt x="5313845" y="4542120"/>
                </a:cubicBezTo>
                <a:cubicBezTo>
                  <a:pt x="5312412" y="4544008"/>
                  <a:pt x="5310980" y="4545008"/>
                  <a:pt x="5308688" y="4545563"/>
                </a:cubicBezTo>
                <a:lnTo>
                  <a:pt x="5303818" y="4546230"/>
                </a:lnTo>
                <a:lnTo>
                  <a:pt x="5304392" y="4550562"/>
                </a:lnTo>
                <a:cubicBezTo>
                  <a:pt x="5280901" y="4552673"/>
                  <a:pt x="5261995" y="4532010"/>
                  <a:pt x="5268297" y="4519347"/>
                </a:cubicBezTo>
                <a:cubicBezTo>
                  <a:pt x="5270588" y="4515237"/>
                  <a:pt x="5275458" y="4511905"/>
                  <a:pt x="5284052" y="4510572"/>
                </a:cubicBezTo>
                <a:close/>
                <a:moveTo>
                  <a:pt x="3026715" y="4508350"/>
                </a:moveTo>
                <a:cubicBezTo>
                  <a:pt x="3030438" y="4510682"/>
                  <a:pt x="3032156" y="4511905"/>
                  <a:pt x="3035594" y="4513126"/>
                </a:cubicBezTo>
                <a:cubicBezTo>
                  <a:pt x="3025855" y="4519681"/>
                  <a:pt x="3026428" y="4526568"/>
                  <a:pt x="3014109" y="4523901"/>
                </a:cubicBezTo>
                <a:cubicBezTo>
                  <a:pt x="3012104" y="4519347"/>
                  <a:pt x="3020411" y="4513905"/>
                  <a:pt x="3026715" y="4508350"/>
                </a:cubicBezTo>
                <a:close/>
                <a:moveTo>
                  <a:pt x="1959921" y="4508349"/>
                </a:moveTo>
                <a:cubicBezTo>
                  <a:pt x="1963645" y="4510683"/>
                  <a:pt x="1965363" y="4511905"/>
                  <a:pt x="1968801" y="4513127"/>
                </a:cubicBezTo>
                <a:cubicBezTo>
                  <a:pt x="1959061" y="4519681"/>
                  <a:pt x="1959635" y="4526567"/>
                  <a:pt x="1947317" y="4523901"/>
                </a:cubicBezTo>
                <a:cubicBezTo>
                  <a:pt x="1945311" y="4519347"/>
                  <a:pt x="1953618" y="4513905"/>
                  <a:pt x="1959921" y="4508349"/>
                </a:cubicBezTo>
                <a:close/>
                <a:moveTo>
                  <a:pt x="2530844" y="4507129"/>
                </a:moveTo>
                <a:cubicBezTo>
                  <a:pt x="2536000" y="4507239"/>
                  <a:pt x="2540584" y="4511904"/>
                  <a:pt x="2540011" y="4514571"/>
                </a:cubicBezTo>
                <a:cubicBezTo>
                  <a:pt x="2533709" y="4520680"/>
                  <a:pt x="2525687" y="4512238"/>
                  <a:pt x="2526260" y="4508795"/>
                </a:cubicBezTo>
                <a:cubicBezTo>
                  <a:pt x="2527693" y="4507461"/>
                  <a:pt x="2529411" y="4507017"/>
                  <a:pt x="2530844" y="4507129"/>
                </a:cubicBezTo>
                <a:close/>
                <a:moveTo>
                  <a:pt x="5196681" y="4506351"/>
                </a:moveTo>
                <a:cubicBezTo>
                  <a:pt x="5188087" y="4510127"/>
                  <a:pt x="5176915" y="4513904"/>
                  <a:pt x="5168608" y="4517681"/>
                </a:cubicBezTo>
                <a:cubicBezTo>
                  <a:pt x="5168608" y="4517681"/>
                  <a:pt x="5168608" y="4517681"/>
                  <a:pt x="5171472" y="4517681"/>
                </a:cubicBezTo>
                <a:cubicBezTo>
                  <a:pt x="5171472" y="4517681"/>
                  <a:pt x="5171472" y="4517681"/>
                  <a:pt x="5160300" y="4523346"/>
                </a:cubicBezTo>
                <a:cubicBezTo>
                  <a:pt x="5160300" y="4523346"/>
                  <a:pt x="5160013" y="4523346"/>
                  <a:pt x="5157435" y="4523346"/>
                </a:cubicBezTo>
                <a:lnTo>
                  <a:pt x="5131654" y="4536232"/>
                </a:lnTo>
                <a:lnTo>
                  <a:pt x="5136237" y="4538898"/>
                </a:lnTo>
                <a:lnTo>
                  <a:pt x="5137669" y="4544341"/>
                </a:lnTo>
                <a:lnTo>
                  <a:pt x="5137669" y="4542120"/>
                </a:lnTo>
                <a:cubicBezTo>
                  <a:pt x="5140534" y="4540231"/>
                  <a:pt x="5145976" y="4538342"/>
                  <a:pt x="5148841" y="4536454"/>
                </a:cubicBezTo>
                <a:cubicBezTo>
                  <a:pt x="5151706" y="4536454"/>
                  <a:pt x="5151707" y="4534566"/>
                  <a:pt x="5154570" y="4534566"/>
                </a:cubicBezTo>
                <a:cubicBezTo>
                  <a:pt x="5160300" y="4527013"/>
                  <a:pt x="5171472" y="4525235"/>
                  <a:pt x="5179780" y="4523345"/>
                </a:cubicBezTo>
                <a:cubicBezTo>
                  <a:pt x="5190952" y="4519570"/>
                  <a:pt x="5199546" y="4515681"/>
                  <a:pt x="5196681" y="4506351"/>
                </a:cubicBezTo>
                <a:close/>
                <a:moveTo>
                  <a:pt x="5796537" y="4506128"/>
                </a:moveTo>
                <a:cubicBezTo>
                  <a:pt x="5798256" y="4506240"/>
                  <a:pt x="5801694" y="4506240"/>
                  <a:pt x="5803412" y="4507573"/>
                </a:cubicBezTo>
                <a:cubicBezTo>
                  <a:pt x="5805131" y="4507573"/>
                  <a:pt x="5803699" y="4511127"/>
                  <a:pt x="5803699" y="4511127"/>
                </a:cubicBezTo>
                <a:cubicBezTo>
                  <a:pt x="5801980" y="4512238"/>
                  <a:pt x="5796537" y="4509683"/>
                  <a:pt x="5794818" y="4509683"/>
                </a:cubicBezTo>
                <a:cubicBezTo>
                  <a:pt x="5794818" y="4508461"/>
                  <a:pt x="5796537" y="4507350"/>
                  <a:pt x="5796537" y="4506128"/>
                </a:cubicBezTo>
                <a:close/>
                <a:moveTo>
                  <a:pt x="6376914" y="4505129"/>
                </a:moveTo>
                <a:cubicBezTo>
                  <a:pt x="6378060" y="4505462"/>
                  <a:pt x="6379206" y="4506017"/>
                  <a:pt x="6379778" y="4506795"/>
                </a:cubicBezTo>
                <a:cubicBezTo>
                  <a:pt x="6380639" y="4507461"/>
                  <a:pt x="6380924" y="4508239"/>
                  <a:pt x="6380352" y="4508906"/>
                </a:cubicBezTo>
                <a:cubicBezTo>
                  <a:pt x="6379779" y="4510238"/>
                  <a:pt x="6378918" y="4510461"/>
                  <a:pt x="6377774" y="4510350"/>
                </a:cubicBezTo>
                <a:cubicBezTo>
                  <a:pt x="6376628" y="4510127"/>
                  <a:pt x="6375195" y="4509683"/>
                  <a:pt x="6373190" y="4509572"/>
                </a:cubicBezTo>
                <a:close/>
                <a:moveTo>
                  <a:pt x="6742156" y="4504907"/>
                </a:moveTo>
                <a:cubicBezTo>
                  <a:pt x="6743016" y="4513349"/>
                  <a:pt x="6742442" y="4521236"/>
                  <a:pt x="6749318" y="4531567"/>
                </a:cubicBezTo>
                <a:cubicBezTo>
                  <a:pt x="6744734" y="4532788"/>
                  <a:pt x="6747599" y="4536343"/>
                  <a:pt x="6741296" y="4537010"/>
                </a:cubicBezTo>
                <a:cubicBezTo>
                  <a:pt x="6729552" y="4533011"/>
                  <a:pt x="6725254" y="4510016"/>
                  <a:pt x="6742156" y="4504907"/>
                </a:cubicBezTo>
                <a:close/>
                <a:moveTo>
                  <a:pt x="5779350" y="4504573"/>
                </a:moveTo>
                <a:cubicBezTo>
                  <a:pt x="5780495" y="4504351"/>
                  <a:pt x="5782215" y="4504684"/>
                  <a:pt x="5784792" y="4505906"/>
                </a:cubicBezTo>
                <a:cubicBezTo>
                  <a:pt x="5784792" y="4505906"/>
                  <a:pt x="5785078" y="4507017"/>
                  <a:pt x="5785078" y="4507017"/>
                </a:cubicBezTo>
                <a:cubicBezTo>
                  <a:pt x="5781928" y="4510350"/>
                  <a:pt x="5779922" y="4509127"/>
                  <a:pt x="5776484" y="4506795"/>
                </a:cubicBezTo>
                <a:cubicBezTo>
                  <a:pt x="5777058" y="4505684"/>
                  <a:pt x="5777917" y="4504796"/>
                  <a:pt x="5779350" y="4504573"/>
                </a:cubicBezTo>
                <a:close/>
                <a:moveTo>
                  <a:pt x="5642706" y="4504351"/>
                </a:moveTo>
                <a:cubicBezTo>
                  <a:pt x="5647003" y="4504685"/>
                  <a:pt x="5650154" y="4507017"/>
                  <a:pt x="5651873" y="4510016"/>
                </a:cubicBezTo>
                <a:cubicBezTo>
                  <a:pt x="5654164" y="4513904"/>
                  <a:pt x="5653878" y="4519125"/>
                  <a:pt x="5650154" y="4522235"/>
                </a:cubicBezTo>
                <a:cubicBezTo>
                  <a:pt x="5638695" y="4518459"/>
                  <a:pt x="5632393" y="4514237"/>
                  <a:pt x="5638122" y="4504796"/>
                </a:cubicBezTo>
                <a:cubicBezTo>
                  <a:pt x="5639842" y="4504351"/>
                  <a:pt x="5641274" y="4504240"/>
                  <a:pt x="5642706" y="4504351"/>
                </a:cubicBezTo>
                <a:close/>
                <a:moveTo>
                  <a:pt x="5861564" y="4503129"/>
                </a:moveTo>
                <a:cubicBezTo>
                  <a:pt x="5864143" y="4516237"/>
                  <a:pt x="5824610" y="4521680"/>
                  <a:pt x="5812579" y="4520348"/>
                </a:cubicBezTo>
                <a:cubicBezTo>
                  <a:pt x="5825184" y="4513794"/>
                  <a:pt x="5846382" y="4503350"/>
                  <a:pt x="5861564" y="4503129"/>
                </a:cubicBezTo>
                <a:close/>
                <a:moveTo>
                  <a:pt x="6159488" y="4502462"/>
                </a:moveTo>
                <a:cubicBezTo>
                  <a:pt x="6178680" y="4503796"/>
                  <a:pt x="6175530" y="4513016"/>
                  <a:pt x="6186415" y="4513793"/>
                </a:cubicBezTo>
                <a:cubicBezTo>
                  <a:pt x="6185270" y="4514904"/>
                  <a:pt x="6184696" y="4515571"/>
                  <a:pt x="6183837" y="4515904"/>
                </a:cubicBezTo>
                <a:lnTo>
                  <a:pt x="6183264" y="4515904"/>
                </a:lnTo>
                <a:lnTo>
                  <a:pt x="6184410" y="4517126"/>
                </a:lnTo>
                <a:cubicBezTo>
                  <a:pt x="6185557" y="4519125"/>
                  <a:pt x="6186128" y="4521680"/>
                  <a:pt x="6184124" y="4525790"/>
                </a:cubicBezTo>
                <a:cubicBezTo>
                  <a:pt x="6178394" y="4534455"/>
                  <a:pt x="6166362" y="4531345"/>
                  <a:pt x="6166649" y="4532344"/>
                </a:cubicBezTo>
                <a:cubicBezTo>
                  <a:pt x="6165503" y="4533899"/>
                  <a:pt x="6165503" y="4533899"/>
                  <a:pt x="6165790" y="4535010"/>
                </a:cubicBezTo>
                <a:cubicBezTo>
                  <a:pt x="6164358" y="4535455"/>
                  <a:pt x="6161492" y="4537343"/>
                  <a:pt x="6160060" y="4538898"/>
                </a:cubicBezTo>
                <a:cubicBezTo>
                  <a:pt x="6159774" y="4537788"/>
                  <a:pt x="6159488" y="4536565"/>
                  <a:pt x="6157768" y="4537010"/>
                </a:cubicBezTo>
                <a:cubicBezTo>
                  <a:pt x="6160060" y="4534010"/>
                  <a:pt x="6161779" y="4533677"/>
                  <a:pt x="6162925" y="4532122"/>
                </a:cubicBezTo>
                <a:cubicBezTo>
                  <a:pt x="6161492" y="4532566"/>
                  <a:pt x="6162638" y="4531011"/>
                  <a:pt x="6162638" y="4531011"/>
                </a:cubicBezTo>
                <a:cubicBezTo>
                  <a:pt x="6162638" y="4531011"/>
                  <a:pt x="6162638" y="4531011"/>
                  <a:pt x="6158342" y="4529567"/>
                </a:cubicBezTo>
                <a:cubicBezTo>
                  <a:pt x="6158342" y="4529567"/>
                  <a:pt x="6149461" y="4525790"/>
                  <a:pt x="6154044" y="4518570"/>
                </a:cubicBezTo>
                <a:cubicBezTo>
                  <a:pt x="6154618" y="4518792"/>
                  <a:pt x="6155477" y="4518347"/>
                  <a:pt x="6156623" y="4517570"/>
                </a:cubicBezTo>
                <a:lnTo>
                  <a:pt x="6160347" y="4514904"/>
                </a:lnTo>
                <a:lnTo>
                  <a:pt x="6158055" y="4513349"/>
                </a:lnTo>
                <a:cubicBezTo>
                  <a:pt x="6155764" y="4510571"/>
                  <a:pt x="6154331" y="4508128"/>
                  <a:pt x="6154044" y="4507572"/>
                </a:cubicBezTo>
                <a:cubicBezTo>
                  <a:pt x="6155477" y="4507017"/>
                  <a:pt x="6155477" y="4507017"/>
                  <a:pt x="6155477" y="4507017"/>
                </a:cubicBezTo>
                <a:cubicBezTo>
                  <a:pt x="6156050" y="4508795"/>
                  <a:pt x="6158055" y="4510127"/>
                  <a:pt x="6160347" y="4511460"/>
                </a:cubicBezTo>
                <a:lnTo>
                  <a:pt x="6162925" y="4513349"/>
                </a:lnTo>
                <a:lnTo>
                  <a:pt x="6165503" y="4511904"/>
                </a:lnTo>
                <a:lnTo>
                  <a:pt x="6169514" y="4511127"/>
                </a:lnTo>
                <a:lnTo>
                  <a:pt x="6167222" y="4510128"/>
                </a:lnTo>
                <a:cubicBezTo>
                  <a:pt x="6163498" y="4507795"/>
                  <a:pt x="6160347" y="4504796"/>
                  <a:pt x="6159488" y="4502462"/>
                </a:cubicBezTo>
                <a:close/>
                <a:moveTo>
                  <a:pt x="2868299" y="4501018"/>
                </a:moveTo>
                <a:lnTo>
                  <a:pt x="2867726" y="4503129"/>
                </a:lnTo>
                <a:lnTo>
                  <a:pt x="2870591" y="4502463"/>
                </a:lnTo>
                <a:lnTo>
                  <a:pt x="2870877" y="4501574"/>
                </a:lnTo>
                <a:lnTo>
                  <a:pt x="2869158" y="4501241"/>
                </a:lnTo>
                <a:close/>
                <a:moveTo>
                  <a:pt x="5952374" y="4500352"/>
                </a:moveTo>
                <a:cubicBezTo>
                  <a:pt x="5954379" y="4500908"/>
                  <a:pt x="5955238" y="4502018"/>
                  <a:pt x="5955238" y="4502018"/>
                </a:cubicBezTo>
                <a:cubicBezTo>
                  <a:pt x="5954092" y="4506240"/>
                  <a:pt x="5950368" y="4509905"/>
                  <a:pt x="5944067" y="4508239"/>
                </a:cubicBezTo>
                <a:cubicBezTo>
                  <a:pt x="5941774" y="4507683"/>
                  <a:pt x="5939770" y="4507129"/>
                  <a:pt x="5941202" y="4506684"/>
                </a:cubicBezTo>
                <a:cubicBezTo>
                  <a:pt x="5940628" y="4505574"/>
                  <a:pt x="5942061" y="4505129"/>
                  <a:pt x="5943207" y="4503573"/>
                </a:cubicBezTo>
                <a:cubicBezTo>
                  <a:pt x="5945498" y="4501463"/>
                  <a:pt x="5950082" y="4499797"/>
                  <a:pt x="5952374" y="4500352"/>
                </a:cubicBezTo>
                <a:close/>
                <a:moveTo>
                  <a:pt x="2335190" y="4500352"/>
                </a:moveTo>
                <a:cubicBezTo>
                  <a:pt x="2337194" y="4499907"/>
                  <a:pt x="2339199" y="4499907"/>
                  <a:pt x="2340919" y="4500352"/>
                </a:cubicBezTo>
                <a:cubicBezTo>
                  <a:pt x="2331178" y="4504573"/>
                  <a:pt x="2331465" y="4510683"/>
                  <a:pt x="2323158" y="4508906"/>
                </a:cubicBezTo>
                <a:cubicBezTo>
                  <a:pt x="2322872" y="4505240"/>
                  <a:pt x="2329174" y="4501352"/>
                  <a:pt x="2335190" y="4500352"/>
                </a:cubicBezTo>
                <a:close/>
                <a:moveTo>
                  <a:pt x="6146024" y="4497464"/>
                </a:moveTo>
                <a:cubicBezTo>
                  <a:pt x="6148316" y="4497908"/>
                  <a:pt x="6151466" y="4499353"/>
                  <a:pt x="6153758" y="4499686"/>
                </a:cubicBezTo>
                <a:cubicBezTo>
                  <a:pt x="6153758" y="4499686"/>
                  <a:pt x="6153758" y="4499575"/>
                  <a:pt x="6153186" y="4501241"/>
                </a:cubicBezTo>
                <a:cubicBezTo>
                  <a:pt x="6151466" y="4499241"/>
                  <a:pt x="6144592" y="4500797"/>
                  <a:pt x="6146024" y="4497464"/>
                </a:cubicBezTo>
                <a:close/>
                <a:moveTo>
                  <a:pt x="3026714" y="4497131"/>
                </a:moveTo>
                <a:cubicBezTo>
                  <a:pt x="3038173" y="4504685"/>
                  <a:pt x="3055075" y="4501018"/>
                  <a:pt x="3049344" y="4510461"/>
                </a:cubicBezTo>
                <a:cubicBezTo>
                  <a:pt x="3041038" y="4512349"/>
                  <a:pt x="3018406" y="4504685"/>
                  <a:pt x="3026714" y="4497131"/>
                </a:cubicBezTo>
                <a:close/>
                <a:moveTo>
                  <a:pt x="6392097" y="4496131"/>
                </a:moveTo>
                <a:cubicBezTo>
                  <a:pt x="6392670" y="4495687"/>
                  <a:pt x="6392956" y="4495576"/>
                  <a:pt x="6393242" y="4496131"/>
                </a:cubicBezTo>
                <a:cubicBezTo>
                  <a:pt x="6394674" y="4495687"/>
                  <a:pt x="6395248" y="4496797"/>
                  <a:pt x="6397253" y="4497464"/>
                </a:cubicBezTo>
                <a:cubicBezTo>
                  <a:pt x="6398685" y="4498353"/>
                  <a:pt x="6399544" y="4499686"/>
                  <a:pt x="6399831" y="4500907"/>
                </a:cubicBezTo>
                <a:cubicBezTo>
                  <a:pt x="6400404" y="4502130"/>
                  <a:pt x="6400404" y="4503351"/>
                  <a:pt x="6399831" y="4504017"/>
                </a:cubicBezTo>
                <a:cubicBezTo>
                  <a:pt x="6398685" y="4505574"/>
                  <a:pt x="6396966" y="4505906"/>
                  <a:pt x="6396966" y="4505906"/>
                </a:cubicBezTo>
                <a:cubicBezTo>
                  <a:pt x="6391237" y="4504906"/>
                  <a:pt x="6386654" y="4502463"/>
                  <a:pt x="6390378" y="4498019"/>
                </a:cubicBezTo>
                <a:cubicBezTo>
                  <a:pt x="6390950" y="4497242"/>
                  <a:pt x="6391524" y="4496575"/>
                  <a:pt x="6392097" y="4496131"/>
                </a:cubicBezTo>
                <a:close/>
                <a:moveTo>
                  <a:pt x="2172477" y="4495465"/>
                </a:moveTo>
                <a:cubicBezTo>
                  <a:pt x="2177634" y="4499352"/>
                  <a:pt x="2175628" y="4503796"/>
                  <a:pt x="2180784" y="4508795"/>
                </a:cubicBezTo>
                <a:cubicBezTo>
                  <a:pt x="2177060" y="4512016"/>
                  <a:pt x="2181931" y="4518348"/>
                  <a:pt x="2176488" y="4522569"/>
                </a:cubicBezTo>
                <a:cubicBezTo>
                  <a:pt x="2166461" y="4517015"/>
                  <a:pt x="2167321" y="4498464"/>
                  <a:pt x="2172477" y="4495465"/>
                </a:cubicBezTo>
                <a:close/>
                <a:moveTo>
                  <a:pt x="5364836" y="4495354"/>
                </a:moveTo>
                <a:cubicBezTo>
                  <a:pt x="5371424" y="4495020"/>
                  <a:pt x="5376008" y="4498352"/>
                  <a:pt x="5378299" y="4503129"/>
                </a:cubicBezTo>
                <a:cubicBezTo>
                  <a:pt x="5382310" y="4510905"/>
                  <a:pt x="5380591" y="4522679"/>
                  <a:pt x="5372856" y="4528345"/>
                </a:cubicBezTo>
                <a:lnTo>
                  <a:pt x="5372570" y="4528456"/>
                </a:lnTo>
                <a:lnTo>
                  <a:pt x="5381737" y="4533343"/>
                </a:lnTo>
                <a:cubicBezTo>
                  <a:pt x="5382310" y="4539009"/>
                  <a:pt x="5379732" y="4542453"/>
                  <a:pt x="5375721" y="4544230"/>
                </a:cubicBezTo>
                <a:lnTo>
                  <a:pt x="5365695" y="4545563"/>
                </a:lnTo>
                <a:lnTo>
                  <a:pt x="5365695" y="4546563"/>
                </a:lnTo>
                <a:cubicBezTo>
                  <a:pt x="5363690" y="4548784"/>
                  <a:pt x="5359679" y="4551117"/>
                  <a:pt x="5353377" y="4553449"/>
                </a:cubicBezTo>
                <a:cubicBezTo>
                  <a:pt x="5353090" y="4546785"/>
                  <a:pt x="5347934" y="4540897"/>
                  <a:pt x="5343637" y="4535455"/>
                </a:cubicBezTo>
                <a:lnTo>
                  <a:pt x="5341059" y="4531345"/>
                </a:lnTo>
                <a:lnTo>
                  <a:pt x="5338194" y="4535565"/>
                </a:lnTo>
                <a:cubicBezTo>
                  <a:pt x="5329887" y="4532122"/>
                  <a:pt x="5327595" y="4527457"/>
                  <a:pt x="5327882" y="4521125"/>
                </a:cubicBezTo>
                <a:cubicBezTo>
                  <a:pt x="5329600" y="4520903"/>
                  <a:pt x="5331893" y="4521347"/>
                  <a:pt x="5334184" y="4522235"/>
                </a:cubicBezTo>
                <a:lnTo>
                  <a:pt x="5339054" y="4524012"/>
                </a:lnTo>
                <a:lnTo>
                  <a:pt x="5339626" y="4519347"/>
                </a:lnTo>
                <a:cubicBezTo>
                  <a:pt x="5341345" y="4521014"/>
                  <a:pt x="5343924" y="4522680"/>
                  <a:pt x="5346502" y="4524346"/>
                </a:cubicBezTo>
                <a:lnTo>
                  <a:pt x="5347934" y="4525235"/>
                </a:lnTo>
                <a:lnTo>
                  <a:pt x="5351944" y="4523902"/>
                </a:lnTo>
                <a:lnTo>
                  <a:pt x="5359679" y="4525124"/>
                </a:lnTo>
                <a:lnTo>
                  <a:pt x="5355382" y="4516459"/>
                </a:lnTo>
                <a:cubicBezTo>
                  <a:pt x="5353950" y="4510683"/>
                  <a:pt x="5354523" y="4504240"/>
                  <a:pt x="5357674" y="4496908"/>
                </a:cubicBezTo>
                <a:cubicBezTo>
                  <a:pt x="5360252" y="4495909"/>
                  <a:pt x="5362830" y="4495465"/>
                  <a:pt x="5364836" y="4495354"/>
                </a:cubicBezTo>
                <a:close/>
                <a:moveTo>
                  <a:pt x="2990334" y="4495353"/>
                </a:moveTo>
                <a:cubicBezTo>
                  <a:pt x="2996922" y="4495020"/>
                  <a:pt x="3001218" y="4498353"/>
                  <a:pt x="3003796" y="4503129"/>
                </a:cubicBezTo>
                <a:cubicBezTo>
                  <a:pt x="3007807" y="4510905"/>
                  <a:pt x="3006088" y="4522680"/>
                  <a:pt x="2998354" y="4528345"/>
                </a:cubicBezTo>
                <a:lnTo>
                  <a:pt x="2998068" y="4528456"/>
                </a:lnTo>
                <a:lnTo>
                  <a:pt x="3007234" y="4533344"/>
                </a:lnTo>
                <a:cubicBezTo>
                  <a:pt x="3007520" y="4539009"/>
                  <a:pt x="3005229" y="4542452"/>
                  <a:pt x="3001218" y="4544230"/>
                </a:cubicBezTo>
                <a:lnTo>
                  <a:pt x="2991193" y="4545563"/>
                </a:lnTo>
                <a:lnTo>
                  <a:pt x="2990905" y="4546562"/>
                </a:lnTo>
                <a:cubicBezTo>
                  <a:pt x="2988900" y="4548784"/>
                  <a:pt x="2984890" y="4551117"/>
                  <a:pt x="2978588" y="4553450"/>
                </a:cubicBezTo>
                <a:cubicBezTo>
                  <a:pt x="2978588" y="4546785"/>
                  <a:pt x="2973431" y="4540897"/>
                  <a:pt x="2969134" y="4535455"/>
                </a:cubicBezTo>
                <a:lnTo>
                  <a:pt x="2966556" y="4531344"/>
                </a:lnTo>
                <a:lnTo>
                  <a:pt x="2963691" y="4535565"/>
                </a:lnTo>
                <a:cubicBezTo>
                  <a:pt x="2955385" y="4532122"/>
                  <a:pt x="2953092" y="4527456"/>
                  <a:pt x="2953379" y="4521125"/>
                </a:cubicBezTo>
                <a:cubicBezTo>
                  <a:pt x="2954812" y="4520903"/>
                  <a:pt x="2957389" y="4521347"/>
                  <a:pt x="2959681" y="4522235"/>
                </a:cubicBezTo>
                <a:lnTo>
                  <a:pt x="2964552" y="4524013"/>
                </a:lnTo>
                <a:lnTo>
                  <a:pt x="2965125" y="4519347"/>
                </a:lnTo>
                <a:cubicBezTo>
                  <a:pt x="2966842" y="4521013"/>
                  <a:pt x="2969135" y="4522680"/>
                  <a:pt x="2971999" y="4524346"/>
                </a:cubicBezTo>
                <a:lnTo>
                  <a:pt x="2973431" y="4525235"/>
                </a:lnTo>
                <a:lnTo>
                  <a:pt x="2977443" y="4523901"/>
                </a:lnTo>
                <a:lnTo>
                  <a:pt x="2985177" y="4525124"/>
                </a:lnTo>
                <a:lnTo>
                  <a:pt x="2980879" y="4516459"/>
                </a:lnTo>
                <a:cubicBezTo>
                  <a:pt x="2979447" y="4510683"/>
                  <a:pt x="2980020" y="4504240"/>
                  <a:pt x="2983171" y="4496908"/>
                </a:cubicBezTo>
                <a:cubicBezTo>
                  <a:pt x="2985750" y="4495909"/>
                  <a:pt x="2988328" y="4495465"/>
                  <a:pt x="2990334" y="4495353"/>
                </a:cubicBezTo>
                <a:close/>
                <a:moveTo>
                  <a:pt x="5798257" y="4488911"/>
                </a:moveTo>
                <a:cubicBezTo>
                  <a:pt x="5801407" y="4488355"/>
                  <a:pt x="5807423" y="4490688"/>
                  <a:pt x="5811148" y="4492354"/>
                </a:cubicBezTo>
                <a:cubicBezTo>
                  <a:pt x="5812292" y="4495798"/>
                  <a:pt x="5810001" y="4499907"/>
                  <a:pt x="5805704" y="4503130"/>
                </a:cubicBezTo>
                <a:cubicBezTo>
                  <a:pt x="5798256" y="4499797"/>
                  <a:pt x="5796824" y="4495243"/>
                  <a:pt x="5798257" y="4488911"/>
                </a:cubicBezTo>
                <a:close/>
                <a:moveTo>
                  <a:pt x="2261855" y="4486134"/>
                </a:moveTo>
                <a:cubicBezTo>
                  <a:pt x="2267010" y="4486466"/>
                  <a:pt x="2270161" y="4486800"/>
                  <a:pt x="2273599" y="4489355"/>
                </a:cubicBezTo>
                <a:cubicBezTo>
                  <a:pt x="2278469" y="4493354"/>
                  <a:pt x="2281620" y="4501685"/>
                  <a:pt x="2276463" y="4504796"/>
                </a:cubicBezTo>
                <a:cubicBezTo>
                  <a:pt x="2271307" y="4509016"/>
                  <a:pt x="2265864" y="4509683"/>
                  <a:pt x="2260994" y="4509239"/>
                </a:cubicBezTo>
                <a:cubicBezTo>
                  <a:pt x="2260994" y="4509239"/>
                  <a:pt x="2260709" y="4509350"/>
                  <a:pt x="2262428" y="4509461"/>
                </a:cubicBezTo>
                <a:cubicBezTo>
                  <a:pt x="2269303" y="4514682"/>
                  <a:pt x="2280760" y="4523680"/>
                  <a:pt x="2279042" y="4527123"/>
                </a:cubicBezTo>
                <a:cubicBezTo>
                  <a:pt x="2277323" y="4526900"/>
                  <a:pt x="2275605" y="4526790"/>
                  <a:pt x="2273885" y="4525457"/>
                </a:cubicBezTo>
                <a:cubicBezTo>
                  <a:pt x="2272167" y="4524235"/>
                  <a:pt x="2274172" y="4524346"/>
                  <a:pt x="2272453" y="4524235"/>
                </a:cubicBezTo>
                <a:cubicBezTo>
                  <a:pt x="2270734" y="4522902"/>
                  <a:pt x="2270734" y="4524013"/>
                  <a:pt x="2270734" y="4524013"/>
                </a:cubicBezTo>
                <a:cubicBezTo>
                  <a:pt x="2270734" y="4524013"/>
                  <a:pt x="2270734" y="4522902"/>
                  <a:pt x="2270734" y="4522902"/>
                </a:cubicBezTo>
                <a:cubicBezTo>
                  <a:pt x="2270734" y="4522902"/>
                  <a:pt x="2270448" y="4522902"/>
                  <a:pt x="2267298" y="4520237"/>
                </a:cubicBezTo>
                <a:cubicBezTo>
                  <a:pt x="2262140" y="4517570"/>
                  <a:pt x="2260708" y="4517458"/>
                  <a:pt x="2257270" y="4516015"/>
                </a:cubicBezTo>
                <a:cubicBezTo>
                  <a:pt x="2253833" y="4513349"/>
                  <a:pt x="2253834" y="4512127"/>
                  <a:pt x="2250682" y="4508461"/>
                </a:cubicBezTo>
                <a:cubicBezTo>
                  <a:pt x="2252401" y="4506240"/>
                  <a:pt x="2252401" y="4506240"/>
                  <a:pt x="2254120" y="4506351"/>
                </a:cubicBezTo>
                <a:cubicBezTo>
                  <a:pt x="2252401" y="4506240"/>
                  <a:pt x="2252400" y="4505129"/>
                  <a:pt x="2250968" y="4503796"/>
                </a:cubicBezTo>
                <a:cubicBezTo>
                  <a:pt x="2242374" y="4499575"/>
                  <a:pt x="2246098" y="4494131"/>
                  <a:pt x="2253260" y="4488911"/>
                </a:cubicBezTo>
                <a:cubicBezTo>
                  <a:pt x="2254979" y="4490133"/>
                  <a:pt x="2258416" y="4486911"/>
                  <a:pt x="2261855" y="4486134"/>
                </a:cubicBezTo>
                <a:close/>
                <a:moveTo>
                  <a:pt x="2510791" y="4485245"/>
                </a:moveTo>
                <a:cubicBezTo>
                  <a:pt x="2512510" y="4485022"/>
                  <a:pt x="2514229" y="4485133"/>
                  <a:pt x="2515948" y="4485467"/>
                </a:cubicBezTo>
                <a:cubicBezTo>
                  <a:pt x="2517666" y="4485800"/>
                  <a:pt x="2519673" y="4486578"/>
                  <a:pt x="2521677" y="4487689"/>
                </a:cubicBezTo>
                <a:cubicBezTo>
                  <a:pt x="2513943" y="4492465"/>
                  <a:pt x="2493317" y="4510572"/>
                  <a:pt x="2482718" y="4503019"/>
                </a:cubicBezTo>
                <a:cubicBezTo>
                  <a:pt x="2488734" y="4498464"/>
                  <a:pt x="2499333" y="4486356"/>
                  <a:pt x="2510791" y="4485245"/>
                </a:cubicBezTo>
                <a:close/>
                <a:moveTo>
                  <a:pt x="3009526" y="4484467"/>
                </a:moveTo>
                <a:lnTo>
                  <a:pt x="3009526" y="4484912"/>
                </a:lnTo>
                <a:lnTo>
                  <a:pt x="3010959" y="4485245"/>
                </a:lnTo>
                <a:close/>
                <a:moveTo>
                  <a:pt x="6330793" y="4484023"/>
                </a:moveTo>
                <a:cubicBezTo>
                  <a:pt x="6333372" y="4484134"/>
                  <a:pt x="6336236" y="4484467"/>
                  <a:pt x="6338814" y="4484801"/>
                </a:cubicBezTo>
                <a:cubicBezTo>
                  <a:pt x="6341966" y="4487688"/>
                  <a:pt x="6343111" y="4491799"/>
                  <a:pt x="6341679" y="4495797"/>
                </a:cubicBezTo>
                <a:cubicBezTo>
                  <a:pt x="6332226" y="4494687"/>
                  <a:pt x="6327642" y="4490799"/>
                  <a:pt x="6324491" y="4484689"/>
                </a:cubicBezTo>
                <a:cubicBezTo>
                  <a:pt x="6325637" y="4484023"/>
                  <a:pt x="6328215" y="4483912"/>
                  <a:pt x="6330793" y="4484023"/>
                </a:cubicBezTo>
                <a:close/>
                <a:moveTo>
                  <a:pt x="2812439" y="4482690"/>
                </a:moveTo>
                <a:cubicBezTo>
                  <a:pt x="2815016" y="4482912"/>
                  <a:pt x="2817881" y="4483578"/>
                  <a:pt x="2821319" y="4484912"/>
                </a:cubicBezTo>
                <a:cubicBezTo>
                  <a:pt x="2821893" y="4487133"/>
                  <a:pt x="2821033" y="4489022"/>
                  <a:pt x="2819314" y="4490577"/>
                </a:cubicBezTo>
                <a:lnTo>
                  <a:pt x="2813298" y="4493021"/>
                </a:lnTo>
                <a:lnTo>
                  <a:pt x="2817309" y="4493910"/>
                </a:lnTo>
                <a:cubicBezTo>
                  <a:pt x="2818454" y="4494909"/>
                  <a:pt x="2819028" y="4496242"/>
                  <a:pt x="2819314" y="4498131"/>
                </a:cubicBezTo>
                <a:cubicBezTo>
                  <a:pt x="2813585" y="4507572"/>
                  <a:pt x="2806136" y="4513904"/>
                  <a:pt x="2792386" y="4512127"/>
                </a:cubicBezTo>
                <a:cubicBezTo>
                  <a:pt x="2793245" y="4510571"/>
                  <a:pt x="2790953" y="4510016"/>
                  <a:pt x="2788948" y="4509461"/>
                </a:cubicBezTo>
                <a:cubicBezTo>
                  <a:pt x="2786656" y="4504018"/>
                  <a:pt x="2793819" y="4497575"/>
                  <a:pt x="2801554" y="4494242"/>
                </a:cubicBezTo>
                <a:lnTo>
                  <a:pt x="2803558" y="4493798"/>
                </a:lnTo>
                <a:lnTo>
                  <a:pt x="2802412" y="4493798"/>
                </a:lnTo>
                <a:cubicBezTo>
                  <a:pt x="2799262" y="4493354"/>
                  <a:pt x="2796683" y="4492465"/>
                  <a:pt x="2794391" y="4491021"/>
                </a:cubicBezTo>
                <a:cubicBezTo>
                  <a:pt x="2799548" y="4485467"/>
                  <a:pt x="2804704" y="4481913"/>
                  <a:pt x="2812439" y="4482690"/>
                </a:cubicBezTo>
                <a:close/>
                <a:moveTo>
                  <a:pt x="1745646" y="4482690"/>
                </a:moveTo>
                <a:cubicBezTo>
                  <a:pt x="1748224" y="4482912"/>
                  <a:pt x="1751089" y="4483579"/>
                  <a:pt x="1754526" y="4484912"/>
                </a:cubicBezTo>
                <a:cubicBezTo>
                  <a:pt x="1755958" y="4489466"/>
                  <a:pt x="1751088" y="4492464"/>
                  <a:pt x="1745072" y="4493576"/>
                </a:cubicBezTo>
                <a:cubicBezTo>
                  <a:pt x="1739057" y="4494687"/>
                  <a:pt x="1731895" y="4493909"/>
                  <a:pt x="1727598" y="4491021"/>
                </a:cubicBezTo>
                <a:cubicBezTo>
                  <a:pt x="1732755" y="4485467"/>
                  <a:pt x="1737910" y="4481912"/>
                  <a:pt x="1745646" y="4482690"/>
                </a:cubicBezTo>
                <a:close/>
                <a:moveTo>
                  <a:pt x="2457795" y="4482467"/>
                </a:moveTo>
                <a:cubicBezTo>
                  <a:pt x="2457222" y="4490354"/>
                  <a:pt x="2459514" y="4499240"/>
                  <a:pt x="2454931" y="4507240"/>
                </a:cubicBezTo>
                <a:cubicBezTo>
                  <a:pt x="2446338" y="4501574"/>
                  <a:pt x="2441753" y="4486467"/>
                  <a:pt x="2457795" y="4482467"/>
                </a:cubicBezTo>
                <a:close/>
                <a:moveTo>
                  <a:pt x="2839366" y="4481024"/>
                </a:moveTo>
                <a:cubicBezTo>
                  <a:pt x="2841659" y="4481135"/>
                  <a:pt x="2844237" y="4481135"/>
                  <a:pt x="2846527" y="4481246"/>
                </a:cubicBezTo>
                <a:cubicBezTo>
                  <a:pt x="2845956" y="4484467"/>
                  <a:pt x="2845382" y="4487689"/>
                  <a:pt x="2840798" y="4487578"/>
                </a:cubicBezTo>
                <a:cubicBezTo>
                  <a:pt x="2839939" y="4485133"/>
                  <a:pt x="2837647" y="4485022"/>
                  <a:pt x="2839366" y="4481024"/>
                </a:cubicBezTo>
                <a:close/>
                <a:moveTo>
                  <a:pt x="7164978" y="4478024"/>
                </a:moveTo>
                <a:cubicBezTo>
                  <a:pt x="7169561" y="4478580"/>
                  <a:pt x="7174430" y="4479025"/>
                  <a:pt x="7179300" y="4479580"/>
                </a:cubicBezTo>
                <a:cubicBezTo>
                  <a:pt x="7177868" y="4482024"/>
                  <a:pt x="7179014" y="4484578"/>
                  <a:pt x="7178728" y="4486245"/>
                </a:cubicBezTo>
                <a:cubicBezTo>
                  <a:pt x="7175004" y="4488355"/>
                  <a:pt x="7171280" y="4488689"/>
                  <a:pt x="7165265" y="4487245"/>
                </a:cubicBezTo>
                <a:cubicBezTo>
                  <a:pt x="7163258" y="4482023"/>
                  <a:pt x="7163258" y="4483578"/>
                  <a:pt x="7164978" y="4478024"/>
                </a:cubicBezTo>
                <a:close/>
                <a:moveTo>
                  <a:pt x="2222608" y="4477913"/>
                </a:moveTo>
                <a:cubicBezTo>
                  <a:pt x="2225186" y="4478024"/>
                  <a:pt x="2228051" y="4478691"/>
                  <a:pt x="2230916" y="4479913"/>
                </a:cubicBezTo>
                <a:cubicBezTo>
                  <a:pt x="2231489" y="4484467"/>
                  <a:pt x="2226046" y="4487577"/>
                  <a:pt x="2219744" y="4488800"/>
                </a:cubicBezTo>
                <a:cubicBezTo>
                  <a:pt x="2213729" y="4490021"/>
                  <a:pt x="2206280" y="4489355"/>
                  <a:pt x="2202843" y="4486467"/>
                </a:cubicBezTo>
                <a:cubicBezTo>
                  <a:pt x="2209144" y="4480912"/>
                  <a:pt x="2215160" y="4477358"/>
                  <a:pt x="2222608" y="4477913"/>
                </a:cubicBezTo>
                <a:close/>
                <a:moveTo>
                  <a:pt x="6104200" y="4476691"/>
                </a:moveTo>
                <a:cubicBezTo>
                  <a:pt x="6108497" y="4476802"/>
                  <a:pt x="6116518" y="4476913"/>
                  <a:pt x="6119956" y="4478802"/>
                </a:cubicBezTo>
                <a:cubicBezTo>
                  <a:pt x="6120815" y="4479357"/>
                  <a:pt x="6121674" y="4480135"/>
                  <a:pt x="6121388" y="4481246"/>
                </a:cubicBezTo>
                <a:cubicBezTo>
                  <a:pt x="6120528" y="4482801"/>
                  <a:pt x="6118523" y="4482467"/>
                  <a:pt x="6117091" y="4483024"/>
                </a:cubicBezTo>
                <a:cubicBezTo>
                  <a:pt x="6113366" y="4483246"/>
                  <a:pt x="6103340" y="4478247"/>
                  <a:pt x="6104200" y="4476691"/>
                </a:cubicBezTo>
                <a:close/>
                <a:moveTo>
                  <a:pt x="5361398" y="4474137"/>
                </a:moveTo>
                <a:cubicBezTo>
                  <a:pt x="5365122" y="4474137"/>
                  <a:pt x="5365981" y="4475136"/>
                  <a:pt x="5365408" y="4474137"/>
                </a:cubicBezTo>
                <a:cubicBezTo>
                  <a:pt x="5369705" y="4475248"/>
                  <a:pt x="5375434" y="4475802"/>
                  <a:pt x="5375148" y="4478357"/>
                </a:cubicBezTo>
                <a:cubicBezTo>
                  <a:pt x="5371138" y="4487356"/>
                  <a:pt x="5349080" y="4484578"/>
                  <a:pt x="5343924" y="4485022"/>
                </a:cubicBezTo>
                <a:cubicBezTo>
                  <a:pt x="5343924" y="4485022"/>
                  <a:pt x="5342206" y="4485578"/>
                  <a:pt x="5339913" y="4485022"/>
                </a:cubicBezTo>
                <a:cubicBezTo>
                  <a:pt x="5336189" y="4485022"/>
                  <a:pt x="5340486" y="4482467"/>
                  <a:pt x="5338194" y="4481912"/>
                </a:cubicBezTo>
                <a:cubicBezTo>
                  <a:pt x="5351944" y="4479913"/>
                  <a:pt x="5361398" y="4474137"/>
                  <a:pt x="5361398" y="4474137"/>
                </a:cubicBezTo>
                <a:close/>
                <a:moveTo>
                  <a:pt x="5337048" y="4473470"/>
                </a:moveTo>
                <a:cubicBezTo>
                  <a:pt x="5339340" y="4474026"/>
                  <a:pt x="5339054" y="4474026"/>
                  <a:pt x="5339626" y="4475136"/>
                </a:cubicBezTo>
                <a:cubicBezTo>
                  <a:pt x="5338767" y="4476690"/>
                  <a:pt x="5337335" y="4477136"/>
                  <a:pt x="5336476" y="4478802"/>
                </a:cubicBezTo>
                <a:cubicBezTo>
                  <a:pt x="5340772" y="4479801"/>
                  <a:pt x="5340200" y="4478802"/>
                  <a:pt x="5339055" y="4480357"/>
                </a:cubicBezTo>
                <a:cubicBezTo>
                  <a:pt x="5339055" y="4480357"/>
                  <a:pt x="5339055" y="4480357"/>
                  <a:pt x="5338194" y="4481912"/>
                </a:cubicBezTo>
                <a:cubicBezTo>
                  <a:pt x="5338194" y="4481912"/>
                  <a:pt x="5338767" y="4483023"/>
                  <a:pt x="5333038" y="4482468"/>
                </a:cubicBezTo>
                <a:cubicBezTo>
                  <a:pt x="5333897" y="4480801"/>
                  <a:pt x="5336762" y="4476136"/>
                  <a:pt x="5336762" y="4476136"/>
                </a:cubicBezTo>
                <a:cubicBezTo>
                  <a:pt x="5335902" y="4475136"/>
                  <a:pt x="5336189" y="4475025"/>
                  <a:pt x="5337048" y="4473470"/>
                </a:cubicBezTo>
                <a:close/>
                <a:moveTo>
                  <a:pt x="2962547" y="4473470"/>
                </a:moveTo>
                <a:cubicBezTo>
                  <a:pt x="2964551" y="4474025"/>
                  <a:pt x="2964551" y="4474025"/>
                  <a:pt x="2965124" y="4475136"/>
                </a:cubicBezTo>
                <a:cubicBezTo>
                  <a:pt x="2964265" y="4476691"/>
                  <a:pt x="2962833" y="4477136"/>
                  <a:pt x="2961973" y="4478802"/>
                </a:cubicBezTo>
                <a:cubicBezTo>
                  <a:pt x="2966271" y="4479802"/>
                  <a:pt x="2965410" y="4478802"/>
                  <a:pt x="2964551" y="4480357"/>
                </a:cubicBezTo>
                <a:cubicBezTo>
                  <a:pt x="2964551" y="4480357"/>
                  <a:pt x="2964551" y="4480357"/>
                  <a:pt x="2963692" y="4481913"/>
                </a:cubicBezTo>
                <a:cubicBezTo>
                  <a:pt x="2963692" y="4481913"/>
                  <a:pt x="2964265" y="4483024"/>
                  <a:pt x="2958250" y="4482467"/>
                </a:cubicBezTo>
                <a:cubicBezTo>
                  <a:pt x="2959394" y="4480801"/>
                  <a:pt x="2962259" y="4476136"/>
                  <a:pt x="2962259" y="4476136"/>
                </a:cubicBezTo>
                <a:cubicBezTo>
                  <a:pt x="2961401" y="4475136"/>
                  <a:pt x="2961686" y="4475025"/>
                  <a:pt x="2962547" y="4473470"/>
                </a:cubicBezTo>
                <a:close/>
                <a:moveTo>
                  <a:pt x="6606658" y="4473359"/>
                </a:moveTo>
                <a:cubicBezTo>
                  <a:pt x="6608664" y="4473026"/>
                  <a:pt x="6610956" y="4472692"/>
                  <a:pt x="6612960" y="4473470"/>
                </a:cubicBezTo>
                <a:cubicBezTo>
                  <a:pt x="6612960" y="4473470"/>
                  <a:pt x="6614966" y="4474137"/>
                  <a:pt x="6615825" y="4476358"/>
                </a:cubicBezTo>
                <a:cubicBezTo>
                  <a:pt x="6616971" y="4477024"/>
                  <a:pt x="6617544" y="4477691"/>
                  <a:pt x="6617830" y="4478468"/>
                </a:cubicBezTo>
                <a:cubicBezTo>
                  <a:pt x="6618690" y="4480801"/>
                  <a:pt x="6616685" y="4483356"/>
                  <a:pt x="6616685" y="4483356"/>
                </a:cubicBezTo>
                <a:cubicBezTo>
                  <a:pt x="6616685" y="4483356"/>
                  <a:pt x="6616684" y="4483468"/>
                  <a:pt x="6618404" y="4483024"/>
                </a:cubicBezTo>
                <a:cubicBezTo>
                  <a:pt x="6615252" y="4483800"/>
                  <a:pt x="6612388" y="4485690"/>
                  <a:pt x="6608950" y="4486467"/>
                </a:cubicBezTo>
                <a:cubicBezTo>
                  <a:pt x="6593481" y="4483134"/>
                  <a:pt x="6597492" y="4479691"/>
                  <a:pt x="6600642" y="4474026"/>
                </a:cubicBezTo>
                <a:cubicBezTo>
                  <a:pt x="6602362" y="4474248"/>
                  <a:pt x="6604366" y="4473692"/>
                  <a:pt x="6606658" y="4473359"/>
                </a:cubicBezTo>
                <a:close/>
                <a:moveTo>
                  <a:pt x="5963546" y="4472360"/>
                </a:moveTo>
                <a:cubicBezTo>
                  <a:pt x="5966697" y="4471693"/>
                  <a:pt x="5970134" y="4472471"/>
                  <a:pt x="5972712" y="4475581"/>
                </a:cubicBezTo>
                <a:cubicBezTo>
                  <a:pt x="5966984" y="4478802"/>
                  <a:pt x="5960968" y="4481912"/>
                  <a:pt x="5956957" y="4478136"/>
                </a:cubicBezTo>
                <a:cubicBezTo>
                  <a:pt x="5957530" y="4475247"/>
                  <a:pt x="5960395" y="4473137"/>
                  <a:pt x="5963546" y="4472360"/>
                </a:cubicBezTo>
                <a:close/>
                <a:moveTo>
                  <a:pt x="6277798" y="4471582"/>
                </a:moveTo>
                <a:cubicBezTo>
                  <a:pt x="6278943" y="4477914"/>
                  <a:pt x="6270350" y="4486578"/>
                  <a:pt x="6258890" y="4492132"/>
                </a:cubicBezTo>
                <a:cubicBezTo>
                  <a:pt x="6247718" y="4497686"/>
                  <a:pt x="6233968" y="4500241"/>
                  <a:pt x="6225088" y="4494353"/>
                </a:cubicBezTo>
                <a:cubicBezTo>
                  <a:pt x="6248292" y="4490909"/>
                  <a:pt x="6251156" y="4472249"/>
                  <a:pt x="6277798" y="4471582"/>
                </a:cubicBezTo>
                <a:close/>
                <a:moveTo>
                  <a:pt x="6238265" y="4471136"/>
                </a:moveTo>
                <a:cubicBezTo>
                  <a:pt x="6230530" y="4484134"/>
                  <a:pt x="6218499" y="4480913"/>
                  <a:pt x="6214202" y="4488134"/>
                </a:cubicBezTo>
                <a:cubicBezTo>
                  <a:pt x="6211624" y="4486356"/>
                  <a:pt x="6211624" y="4486245"/>
                  <a:pt x="6212484" y="4483690"/>
                </a:cubicBezTo>
                <a:cubicBezTo>
                  <a:pt x="6213916" y="4483246"/>
                  <a:pt x="6213630" y="4482134"/>
                  <a:pt x="6215634" y="4482911"/>
                </a:cubicBezTo>
                <a:cubicBezTo>
                  <a:pt x="6217640" y="4478691"/>
                  <a:pt x="6231104" y="4471692"/>
                  <a:pt x="6238265" y="4471136"/>
                </a:cubicBezTo>
                <a:close/>
                <a:moveTo>
                  <a:pt x="6731270" y="4470360"/>
                </a:moveTo>
                <a:cubicBezTo>
                  <a:pt x="6732416" y="4470471"/>
                  <a:pt x="6734135" y="4470693"/>
                  <a:pt x="6735854" y="4471360"/>
                </a:cubicBezTo>
                <a:cubicBezTo>
                  <a:pt x="6735281" y="4476359"/>
                  <a:pt x="6734994" y="4479580"/>
                  <a:pt x="6733562" y="4482024"/>
                </a:cubicBezTo>
                <a:cubicBezTo>
                  <a:pt x="6724682" y="4482246"/>
                  <a:pt x="6722390" y="4473359"/>
                  <a:pt x="6727833" y="4471026"/>
                </a:cubicBezTo>
                <a:cubicBezTo>
                  <a:pt x="6728692" y="4470582"/>
                  <a:pt x="6729838" y="4470359"/>
                  <a:pt x="6731270" y="4470360"/>
                </a:cubicBezTo>
                <a:close/>
                <a:moveTo>
                  <a:pt x="6307016" y="4469471"/>
                </a:moveTo>
                <a:cubicBezTo>
                  <a:pt x="6308162" y="4469360"/>
                  <a:pt x="6309595" y="4469693"/>
                  <a:pt x="6311314" y="4470249"/>
                </a:cubicBezTo>
                <a:cubicBezTo>
                  <a:pt x="6311600" y="4471360"/>
                  <a:pt x="6311315" y="4475025"/>
                  <a:pt x="6313032" y="4474692"/>
                </a:cubicBezTo>
                <a:cubicBezTo>
                  <a:pt x="6310168" y="4478024"/>
                  <a:pt x="6306444" y="4481690"/>
                  <a:pt x="6302433" y="4482912"/>
                </a:cubicBezTo>
                <a:cubicBezTo>
                  <a:pt x="6301288" y="4483246"/>
                  <a:pt x="6299855" y="4483356"/>
                  <a:pt x="6298422" y="4483134"/>
                </a:cubicBezTo>
                <a:cubicBezTo>
                  <a:pt x="6294698" y="4482801"/>
                  <a:pt x="6295558" y="4480246"/>
                  <a:pt x="6297850" y="4477136"/>
                </a:cubicBezTo>
                <a:cubicBezTo>
                  <a:pt x="6299855" y="4472137"/>
                  <a:pt x="6303006" y="4469471"/>
                  <a:pt x="6307016" y="4469471"/>
                </a:cubicBezTo>
                <a:close/>
                <a:moveTo>
                  <a:pt x="1978254" y="4468249"/>
                </a:moveTo>
                <a:cubicBezTo>
                  <a:pt x="1981979" y="4468471"/>
                  <a:pt x="1986848" y="4469804"/>
                  <a:pt x="1991431" y="4470249"/>
                </a:cubicBezTo>
                <a:cubicBezTo>
                  <a:pt x="1989427" y="4473692"/>
                  <a:pt x="1986848" y="4475359"/>
                  <a:pt x="1983125" y="4475692"/>
                </a:cubicBezTo>
                <a:cubicBezTo>
                  <a:pt x="1979686" y="4476025"/>
                  <a:pt x="1975103" y="4474915"/>
                  <a:pt x="1969947" y="4472803"/>
                </a:cubicBezTo>
                <a:cubicBezTo>
                  <a:pt x="1971379" y="4468805"/>
                  <a:pt x="1974530" y="4467916"/>
                  <a:pt x="1978254" y="4468249"/>
                </a:cubicBezTo>
                <a:close/>
                <a:moveTo>
                  <a:pt x="6288683" y="4467805"/>
                </a:moveTo>
                <a:cubicBezTo>
                  <a:pt x="6290402" y="4468027"/>
                  <a:pt x="6290115" y="4469138"/>
                  <a:pt x="6291834" y="4469360"/>
                </a:cubicBezTo>
                <a:cubicBezTo>
                  <a:pt x="6291834" y="4469360"/>
                  <a:pt x="6291835" y="4470471"/>
                  <a:pt x="6291835" y="4470471"/>
                </a:cubicBezTo>
                <a:cubicBezTo>
                  <a:pt x="6292407" y="4470582"/>
                  <a:pt x="6292407" y="4470471"/>
                  <a:pt x="6291834" y="4470693"/>
                </a:cubicBezTo>
                <a:cubicBezTo>
                  <a:pt x="6291548" y="4471025"/>
                  <a:pt x="6290688" y="4471582"/>
                  <a:pt x="6289829" y="4472581"/>
                </a:cubicBezTo>
                <a:cubicBezTo>
                  <a:pt x="6288110" y="4473470"/>
                  <a:pt x="6288110" y="4474581"/>
                  <a:pt x="6286391" y="4473248"/>
                </a:cubicBezTo>
                <a:cubicBezTo>
                  <a:pt x="6284959" y="4471915"/>
                  <a:pt x="6284959" y="4472026"/>
                  <a:pt x="6285246" y="4468694"/>
                </a:cubicBezTo>
                <a:cubicBezTo>
                  <a:pt x="6286678" y="4469916"/>
                  <a:pt x="6286964" y="4469916"/>
                  <a:pt x="6288683" y="4469027"/>
                </a:cubicBezTo>
                <a:cubicBezTo>
                  <a:pt x="6288683" y="4469027"/>
                  <a:pt x="6288683" y="4469027"/>
                  <a:pt x="6288683" y="4467805"/>
                </a:cubicBezTo>
                <a:close/>
                <a:moveTo>
                  <a:pt x="6232536" y="4466694"/>
                </a:moveTo>
                <a:cubicBezTo>
                  <a:pt x="6233110" y="4467805"/>
                  <a:pt x="6233110" y="4467805"/>
                  <a:pt x="6233110" y="4467805"/>
                </a:cubicBezTo>
                <a:cubicBezTo>
                  <a:pt x="6227666" y="4468249"/>
                  <a:pt x="6223082" y="4472471"/>
                  <a:pt x="6217067" y="4474580"/>
                </a:cubicBezTo>
                <a:cubicBezTo>
                  <a:pt x="6215062" y="4475247"/>
                  <a:pt x="6213056" y="4475692"/>
                  <a:pt x="6210764" y="4475581"/>
                </a:cubicBezTo>
                <a:cubicBezTo>
                  <a:pt x="6210764" y="4475581"/>
                  <a:pt x="6210764" y="4475692"/>
                  <a:pt x="6212484" y="4475247"/>
                </a:cubicBezTo>
                <a:cubicBezTo>
                  <a:pt x="6212484" y="4475247"/>
                  <a:pt x="6210764" y="4475692"/>
                  <a:pt x="6210192" y="4474581"/>
                </a:cubicBezTo>
                <a:cubicBezTo>
                  <a:pt x="6217354" y="4469360"/>
                  <a:pt x="6230817" y="4467139"/>
                  <a:pt x="6232536" y="4466694"/>
                </a:cubicBezTo>
                <a:close/>
                <a:moveTo>
                  <a:pt x="6180400" y="4465584"/>
                </a:moveTo>
                <a:cubicBezTo>
                  <a:pt x="6183837" y="4466027"/>
                  <a:pt x="6186415" y="4468249"/>
                  <a:pt x="6186415" y="4468249"/>
                </a:cubicBezTo>
                <a:cubicBezTo>
                  <a:pt x="6186415" y="4468249"/>
                  <a:pt x="6186415" y="4468249"/>
                  <a:pt x="6186702" y="4467027"/>
                </a:cubicBezTo>
                <a:cubicBezTo>
                  <a:pt x="6186415" y="4469360"/>
                  <a:pt x="6187848" y="4471915"/>
                  <a:pt x="6187561" y="4474247"/>
                </a:cubicBezTo>
                <a:cubicBezTo>
                  <a:pt x="6176676" y="4482357"/>
                  <a:pt x="6173524" y="4478580"/>
                  <a:pt x="6167222" y="4474358"/>
                </a:cubicBezTo>
                <a:cubicBezTo>
                  <a:pt x="6169229" y="4472137"/>
                  <a:pt x="6167795" y="4468582"/>
                  <a:pt x="6171519" y="4466583"/>
                </a:cubicBezTo>
                <a:cubicBezTo>
                  <a:pt x="6171519" y="4466583"/>
                  <a:pt x="6173238" y="4465695"/>
                  <a:pt x="6176676" y="4466027"/>
                </a:cubicBezTo>
                <a:cubicBezTo>
                  <a:pt x="6177822" y="4465583"/>
                  <a:pt x="6179254" y="4465472"/>
                  <a:pt x="6180400" y="4465584"/>
                </a:cubicBezTo>
                <a:close/>
                <a:moveTo>
                  <a:pt x="5936046" y="4465027"/>
                </a:moveTo>
                <a:cubicBezTo>
                  <a:pt x="5941202" y="4465472"/>
                  <a:pt x="5946644" y="4465916"/>
                  <a:pt x="5949796" y="4471137"/>
                </a:cubicBezTo>
                <a:cubicBezTo>
                  <a:pt x="5948077" y="4475802"/>
                  <a:pt x="5944066" y="4478468"/>
                  <a:pt x="5934900" y="4480690"/>
                </a:cubicBezTo>
                <a:cubicBezTo>
                  <a:pt x="5927452" y="4478246"/>
                  <a:pt x="5924586" y="4467916"/>
                  <a:pt x="5936046" y="4465027"/>
                </a:cubicBezTo>
                <a:close/>
                <a:moveTo>
                  <a:pt x="5756718" y="4464584"/>
                </a:moveTo>
                <a:cubicBezTo>
                  <a:pt x="5759585" y="4464694"/>
                  <a:pt x="5762448" y="4465028"/>
                  <a:pt x="5765599" y="4465805"/>
                </a:cubicBezTo>
                <a:cubicBezTo>
                  <a:pt x="5761875" y="4471803"/>
                  <a:pt x="5747552" y="4477469"/>
                  <a:pt x="5733515" y="4479913"/>
                </a:cubicBezTo>
                <a:cubicBezTo>
                  <a:pt x="5719192" y="4482246"/>
                  <a:pt x="5704868" y="4481246"/>
                  <a:pt x="5701145" y="4473692"/>
                </a:cubicBezTo>
                <a:lnTo>
                  <a:pt x="5711171" y="4473137"/>
                </a:lnTo>
                <a:lnTo>
                  <a:pt x="5715754" y="4470471"/>
                </a:lnTo>
                <a:cubicBezTo>
                  <a:pt x="5720338" y="4468582"/>
                  <a:pt x="5726067" y="4467361"/>
                  <a:pt x="5730650" y="4466916"/>
                </a:cubicBezTo>
                <a:lnTo>
                  <a:pt x="5733228" y="4468360"/>
                </a:lnTo>
                <a:lnTo>
                  <a:pt x="5748411" y="4464917"/>
                </a:lnTo>
                <a:cubicBezTo>
                  <a:pt x="5750990" y="4464583"/>
                  <a:pt x="5753854" y="4464472"/>
                  <a:pt x="5756718" y="4464584"/>
                </a:cubicBezTo>
                <a:close/>
                <a:moveTo>
                  <a:pt x="6246859" y="4462583"/>
                </a:moveTo>
                <a:cubicBezTo>
                  <a:pt x="6247432" y="4462362"/>
                  <a:pt x="6248006" y="4462251"/>
                  <a:pt x="6249151" y="4462584"/>
                </a:cubicBezTo>
                <a:cubicBezTo>
                  <a:pt x="6248005" y="4464139"/>
                  <a:pt x="6245140" y="4466139"/>
                  <a:pt x="6243994" y="4467693"/>
                </a:cubicBezTo>
                <a:cubicBezTo>
                  <a:pt x="6243994" y="4467693"/>
                  <a:pt x="6243709" y="4467693"/>
                  <a:pt x="6241703" y="4467027"/>
                </a:cubicBezTo>
                <a:cubicBezTo>
                  <a:pt x="6244281" y="4466361"/>
                  <a:pt x="6244854" y="4463473"/>
                  <a:pt x="6246859" y="4462583"/>
                </a:cubicBezTo>
                <a:close/>
                <a:moveTo>
                  <a:pt x="2912988" y="4462140"/>
                </a:moveTo>
                <a:cubicBezTo>
                  <a:pt x="2929602" y="4466027"/>
                  <a:pt x="2928456" y="4473915"/>
                  <a:pt x="2921581" y="4477136"/>
                </a:cubicBezTo>
                <a:cubicBezTo>
                  <a:pt x="2919289" y="4478136"/>
                  <a:pt x="2916425" y="4478690"/>
                  <a:pt x="2913561" y="4478358"/>
                </a:cubicBezTo>
                <a:lnTo>
                  <a:pt x="2912702" y="4478136"/>
                </a:lnTo>
                <a:lnTo>
                  <a:pt x="2912414" y="4478247"/>
                </a:lnTo>
                <a:lnTo>
                  <a:pt x="2912701" y="4478357"/>
                </a:lnTo>
                <a:cubicBezTo>
                  <a:pt x="2914420" y="4480246"/>
                  <a:pt x="2916139" y="4482912"/>
                  <a:pt x="2917285" y="4485133"/>
                </a:cubicBezTo>
                <a:lnTo>
                  <a:pt x="2917572" y="4486134"/>
                </a:lnTo>
                <a:lnTo>
                  <a:pt x="2920723" y="4487244"/>
                </a:lnTo>
                <a:cubicBezTo>
                  <a:pt x="2922154" y="4488022"/>
                  <a:pt x="2923014" y="4489022"/>
                  <a:pt x="2922155" y="4490577"/>
                </a:cubicBezTo>
                <a:lnTo>
                  <a:pt x="2918430" y="4490576"/>
                </a:lnTo>
                <a:lnTo>
                  <a:pt x="2918716" y="4490799"/>
                </a:lnTo>
                <a:cubicBezTo>
                  <a:pt x="2918430" y="4491243"/>
                  <a:pt x="2918430" y="4491576"/>
                  <a:pt x="2919003" y="4492132"/>
                </a:cubicBezTo>
                <a:cubicBezTo>
                  <a:pt x="2919003" y="4492132"/>
                  <a:pt x="2919862" y="4493132"/>
                  <a:pt x="2919576" y="4494799"/>
                </a:cubicBezTo>
                <a:cubicBezTo>
                  <a:pt x="2919289" y="4496464"/>
                  <a:pt x="2918717" y="4498131"/>
                  <a:pt x="2914992" y="4498242"/>
                </a:cubicBezTo>
                <a:lnTo>
                  <a:pt x="2914992" y="4497908"/>
                </a:lnTo>
                <a:lnTo>
                  <a:pt x="2911841" y="4501574"/>
                </a:lnTo>
                <a:cubicBezTo>
                  <a:pt x="2906686" y="4505684"/>
                  <a:pt x="2896659" y="4509128"/>
                  <a:pt x="2886346" y="4510682"/>
                </a:cubicBezTo>
                <a:lnTo>
                  <a:pt x="2872597" y="4510794"/>
                </a:lnTo>
                <a:lnTo>
                  <a:pt x="2878898" y="4513682"/>
                </a:lnTo>
                <a:cubicBezTo>
                  <a:pt x="2884341" y="4516570"/>
                  <a:pt x="2890357" y="4519903"/>
                  <a:pt x="2892935" y="4521347"/>
                </a:cubicBezTo>
                <a:cubicBezTo>
                  <a:pt x="2892935" y="4522457"/>
                  <a:pt x="2892935" y="4522457"/>
                  <a:pt x="2892935" y="4522457"/>
                </a:cubicBezTo>
                <a:cubicBezTo>
                  <a:pt x="2892075" y="4523568"/>
                  <a:pt x="2890644" y="4523791"/>
                  <a:pt x="2888924" y="4523346"/>
                </a:cubicBezTo>
                <a:cubicBezTo>
                  <a:pt x="2887206" y="4522902"/>
                  <a:pt x="2885200" y="4521790"/>
                  <a:pt x="2882622" y="4520459"/>
                </a:cubicBezTo>
                <a:cubicBezTo>
                  <a:pt x="2877466" y="4517681"/>
                  <a:pt x="2872597" y="4512571"/>
                  <a:pt x="2870877" y="4511239"/>
                </a:cubicBezTo>
                <a:lnTo>
                  <a:pt x="2869731" y="4510905"/>
                </a:lnTo>
                <a:lnTo>
                  <a:pt x="2866293" y="4510905"/>
                </a:lnTo>
                <a:lnTo>
                  <a:pt x="2862284" y="4509572"/>
                </a:lnTo>
                <a:lnTo>
                  <a:pt x="2857127" y="4510682"/>
                </a:lnTo>
                <a:lnTo>
                  <a:pt x="2855408" y="4506795"/>
                </a:lnTo>
                <a:lnTo>
                  <a:pt x="2853976" y="4516459"/>
                </a:lnTo>
                <a:cubicBezTo>
                  <a:pt x="2854262" y="4518014"/>
                  <a:pt x="2854548" y="4519348"/>
                  <a:pt x="2854548" y="4520236"/>
                </a:cubicBezTo>
                <a:lnTo>
                  <a:pt x="2854835" y="4521347"/>
                </a:lnTo>
                <a:lnTo>
                  <a:pt x="2855694" y="4521458"/>
                </a:lnTo>
                <a:cubicBezTo>
                  <a:pt x="2858272" y="4523902"/>
                  <a:pt x="2858272" y="4526235"/>
                  <a:pt x="2857700" y="4528679"/>
                </a:cubicBezTo>
                <a:lnTo>
                  <a:pt x="2856268" y="4532344"/>
                </a:lnTo>
                <a:lnTo>
                  <a:pt x="2856554" y="4532233"/>
                </a:lnTo>
                <a:cubicBezTo>
                  <a:pt x="2857701" y="4532011"/>
                  <a:pt x="2858559" y="4532122"/>
                  <a:pt x="2859991" y="4532789"/>
                </a:cubicBezTo>
                <a:cubicBezTo>
                  <a:pt x="2867439" y="4537788"/>
                  <a:pt x="2864288" y="4545896"/>
                  <a:pt x="2861998" y="4550117"/>
                </a:cubicBezTo>
                <a:lnTo>
                  <a:pt x="2861138" y="4552450"/>
                </a:lnTo>
                <a:lnTo>
                  <a:pt x="2862569" y="4552672"/>
                </a:lnTo>
                <a:lnTo>
                  <a:pt x="2860852" y="4553673"/>
                </a:lnTo>
                <a:lnTo>
                  <a:pt x="2860851" y="4553894"/>
                </a:lnTo>
                <a:cubicBezTo>
                  <a:pt x="2859133" y="4553783"/>
                  <a:pt x="2859132" y="4554893"/>
                  <a:pt x="2860851" y="4555116"/>
                </a:cubicBezTo>
                <a:cubicBezTo>
                  <a:pt x="2859132" y="4556671"/>
                  <a:pt x="2857701" y="4558115"/>
                  <a:pt x="2856267" y="4558781"/>
                </a:cubicBezTo>
                <a:cubicBezTo>
                  <a:pt x="2855121" y="4559338"/>
                  <a:pt x="2853689" y="4559226"/>
                  <a:pt x="2851970" y="4558004"/>
                </a:cubicBezTo>
                <a:lnTo>
                  <a:pt x="2851685" y="4557338"/>
                </a:lnTo>
                <a:lnTo>
                  <a:pt x="2842518" y="4558449"/>
                </a:lnTo>
                <a:cubicBezTo>
                  <a:pt x="2839367" y="4555449"/>
                  <a:pt x="2841085" y="4553116"/>
                  <a:pt x="2844236" y="4551784"/>
                </a:cubicBezTo>
                <a:lnTo>
                  <a:pt x="2845669" y="4551450"/>
                </a:lnTo>
                <a:lnTo>
                  <a:pt x="2841371" y="4550561"/>
                </a:lnTo>
                <a:cubicBezTo>
                  <a:pt x="2835070" y="4550784"/>
                  <a:pt x="2826475" y="4554117"/>
                  <a:pt x="2816449" y="4548007"/>
                </a:cubicBezTo>
                <a:cubicBezTo>
                  <a:pt x="2819027" y="4546452"/>
                  <a:pt x="2815876" y="4542452"/>
                  <a:pt x="2816449" y="4539231"/>
                </a:cubicBezTo>
                <a:lnTo>
                  <a:pt x="2818167" y="4537121"/>
                </a:lnTo>
                <a:lnTo>
                  <a:pt x="2815877" y="4538120"/>
                </a:lnTo>
                <a:cubicBezTo>
                  <a:pt x="2813585" y="4537787"/>
                  <a:pt x="2811865" y="4535788"/>
                  <a:pt x="2811866" y="4533121"/>
                </a:cubicBezTo>
                <a:cubicBezTo>
                  <a:pt x="2814443" y="4533455"/>
                  <a:pt x="2816736" y="4531123"/>
                  <a:pt x="2819027" y="4531567"/>
                </a:cubicBezTo>
                <a:cubicBezTo>
                  <a:pt x="2819027" y="4531567"/>
                  <a:pt x="2819886" y="4532122"/>
                  <a:pt x="2821032" y="4532788"/>
                </a:cubicBezTo>
                <a:lnTo>
                  <a:pt x="2822752" y="4533788"/>
                </a:lnTo>
                <a:lnTo>
                  <a:pt x="2825902" y="4531899"/>
                </a:lnTo>
                <a:cubicBezTo>
                  <a:pt x="2832204" y="4528567"/>
                  <a:pt x="2836501" y="4528679"/>
                  <a:pt x="2841658" y="4530344"/>
                </a:cubicBezTo>
                <a:lnTo>
                  <a:pt x="2844236" y="4531122"/>
                </a:lnTo>
                <a:lnTo>
                  <a:pt x="2844236" y="4530789"/>
                </a:lnTo>
                <a:lnTo>
                  <a:pt x="2845955" y="4527345"/>
                </a:lnTo>
                <a:lnTo>
                  <a:pt x="2843090" y="4527679"/>
                </a:lnTo>
                <a:cubicBezTo>
                  <a:pt x="2833065" y="4521125"/>
                  <a:pt x="2847100" y="4509572"/>
                  <a:pt x="2848819" y="4506239"/>
                </a:cubicBezTo>
                <a:cubicBezTo>
                  <a:pt x="2848819" y="4506239"/>
                  <a:pt x="2849106" y="4505017"/>
                  <a:pt x="2850825" y="4504018"/>
                </a:cubicBezTo>
                <a:cubicBezTo>
                  <a:pt x="2851111" y="4503462"/>
                  <a:pt x="2851685" y="4503351"/>
                  <a:pt x="2851970" y="4503351"/>
                </a:cubicBezTo>
                <a:lnTo>
                  <a:pt x="2853117" y="4503685"/>
                </a:lnTo>
                <a:lnTo>
                  <a:pt x="2854262" y="4503685"/>
                </a:lnTo>
                <a:lnTo>
                  <a:pt x="2853976" y="4503129"/>
                </a:lnTo>
                <a:lnTo>
                  <a:pt x="2854835" y="4498797"/>
                </a:lnTo>
                <a:lnTo>
                  <a:pt x="2851397" y="4498686"/>
                </a:lnTo>
                <a:cubicBezTo>
                  <a:pt x="2848534" y="4498797"/>
                  <a:pt x="2846241" y="4499130"/>
                  <a:pt x="2845669" y="4499907"/>
                </a:cubicBezTo>
                <a:cubicBezTo>
                  <a:pt x="2845096" y="4498797"/>
                  <a:pt x="2843090" y="4498241"/>
                  <a:pt x="2843090" y="4498241"/>
                </a:cubicBezTo>
                <a:cubicBezTo>
                  <a:pt x="2843949" y="4496685"/>
                  <a:pt x="2845668" y="4496242"/>
                  <a:pt x="2847387" y="4495797"/>
                </a:cubicBezTo>
                <a:cubicBezTo>
                  <a:pt x="2849393" y="4496465"/>
                  <a:pt x="2849965" y="4497464"/>
                  <a:pt x="2851970" y="4498131"/>
                </a:cubicBezTo>
                <a:lnTo>
                  <a:pt x="2855121" y="4497909"/>
                </a:lnTo>
                <a:lnTo>
                  <a:pt x="2856267" y="4493021"/>
                </a:lnTo>
                <a:cubicBezTo>
                  <a:pt x="2857987" y="4489355"/>
                  <a:pt x="2860852" y="4485911"/>
                  <a:pt x="2864575" y="4483578"/>
                </a:cubicBezTo>
                <a:cubicBezTo>
                  <a:pt x="2863715" y="4483801"/>
                  <a:pt x="2863142" y="4484023"/>
                  <a:pt x="2861998" y="4483801"/>
                </a:cubicBezTo>
                <a:cubicBezTo>
                  <a:pt x="2860564" y="4484467"/>
                  <a:pt x="2859418" y="4483468"/>
                  <a:pt x="2857127" y="4483024"/>
                </a:cubicBezTo>
                <a:lnTo>
                  <a:pt x="2856555" y="4481690"/>
                </a:lnTo>
                <a:lnTo>
                  <a:pt x="2854548" y="4482135"/>
                </a:lnTo>
                <a:cubicBezTo>
                  <a:pt x="2850824" y="4482467"/>
                  <a:pt x="2847388" y="4482357"/>
                  <a:pt x="2846527" y="4481690"/>
                </a:cubicBezTo>
                <a:cubicBezTo>
                  <a:pt x="2848247" y="4481357"/>
                  <a:pt x="2852258" y="4480579"/>
                  <a:pt x="2855981" y="4480024"/>
                </a:cubicBezTo>
                <a:lnTo>
                  <a:pt x="2856554" y="4480024"/>
                </a:lnTo>
                <a:lnTo>
                  <a:pt x="2856554" y="4478913"/>
                </a:lnTo>
                <a:cubicBezTo>
                  <a:pt x="2856267" y="4478690"/>
                  <a:pt x="2855694" y="4478580"/>
                  <a:pt x="2854548" y="4478357"/>
                </a:cubicBezTo>
                <a:cubicBezTo>
                  <a:pt x="2854548" y="4478357"/>
                  <a:pt x="2855981" y="4477802"/>
                  <a:pt x="2855981" y="4477802"/>
                </a:cubicBezTo>
                <a:cubicBezTo>
                  <a:pt x="2857128" y="4478802"/>
                  <a:pt x="2855981" y="4477802"/>
                  <a:pt x="2856267" y="4476136"/>
                </a:cubicBezTo>
                <a:cubicBezTo>
                  <a:pt x="2859992" y="4475914"/>
                  <a:pt x="2861424" y="4475359"/>
                  <a:pt x="2864002" y="4475692"/>
                </a:cubicBezTo>
                <a:lnTo>
                  <a:pt x="2864002" y="4475802"/>
                </a:lnTo>
                <a:lnTo>
                  <a:pt x="2870877" y="4467249"/>
                </a:lnTo>
                <a:lnTo>
                  <a:pt x="2874601" y="4465805"/>
                </a:lnTo>
                <a:lnTo>
                  <a:pt x="2875748" y="4463473"/>
                </a:lnTo>
                <a:cubicBezTo>
                  <a:pt x="2877467" y="4463695"/>
                  <a:pt x="2877467" y="4463695"/>
                  <a:pt x="2877180" y="4464917"/>
                </a:cubicBezTo>
                <a:cubicBezTo>
                  <a:pt x="2877466" y="4464694"/>
                  <a:pt x="2877466" y="4464694"/>
                  <a:pt x="2877467" y="4464584"/>
                </a:cubicBezTo>
                <a:lnTo>
                  <a:pt x="2877752" y="4465138"/>
                </a:lnTo>
                <a:lnTo>
                  <a:pt x="2878899" y="4465027"/>
                </a:lnTo>
                <a:cubicBezTo>
                  <a:pt x="2880330" y="4465028"/>
                  <a:pt x="2881764" y="4465250"/>
                  <a:pt x="2882908" y="4465916"/>
                </a:cubicBezTo>
                <a:cubicBezTo>
                  <a:pt x="2884627" y="4466027"/>
                  <a:pt x="2884342" y="4470693"/>
                  <a:pt x="2882623" y="4471692"/>
                </a:cubicBezTo>
                <a:cubicBezTo>
                  <a:pt x="2879185" y="4473692"/>
                  <a:pt x="2877466" y="4474692"/>
                  <a:pt x="2874029" y="4474359"/>
                </a:cubicBezTo>
                <a:cubicBezTo>
                  <a:pt x="2872309" y="4475359"/>
                  <a:pt x="2870590" y="4476470"/>
                  <a:pt x="2868873" y="4476913"/>
                </a:cubicBezTo>
                <a:lnTo>
                  <a:pt x="2865148" y="4476136"/>
                </a:lnTo>
                <a:lnTo>
                  <a:pt x="2867439" y="4477025"/>
                </a:lnTo>
                <a:cubicBezTo>
                  <a:pt x="2868585" y="4477580"/>
                  <a:pt x="2869445" y="4478358"/>
                  <a:pt x="2869159" y="4479246"/>
                </a:cubicBezTo>
                <a:cubicBezTo>
                  <a:pt x="2868013" y="4479802"/>
                  <a:pt x="2868873" y="4480801"/>
                  <a:pt x="2867440" y="4481357"/>
                </a:cubicBezTo>
                <a:cubicBezTo>
                  <a:pt x="2866581" y="4482357"/>
                  <a:pt x="2866007" y="4482801"/>
                  <a:pt x="2865434" y="4483246"/>
                </a:cubicBezTo>
                <a:cubicBezTo>
                  <a:pt x="2868299" y="4481468"/>
                  <a:pt x="2871450" y="4480246"/>
                  <a:pt x="2875175" y="4480135"/>
                </a:cubicBezTo>
                <a:cubicBezTo>
                  <a:pt x="2873455" y="4484356"/>
                  <a:pt x="2871164" y="4488134"/>
                  <a:pt x="2869731" y="4492576"/>
                </a:cubicBezTo>
                <a:lnTo>
                  <a:pt x="2868300" y="4500352"/>
                </a:lnTo>
                <a:lnTo>
                  <a:pt x="2869446" y="4500685"/>
                </a:lnTo>
                <a:lnTo>
                  <a:pt x="2871163" y="4500130"/>
                </a:lnTo>
                <a:lnTo>
                  <a:pt x="2871451" y="4499797"/>
                </a:lnTo>
                <a:cubicBezTo>
                  <a:pt x="2874887" y="4496686"/>
                  <a:pt x="2873455" y="4493021"/>
                  <a:pt x="2876893" y="4489910"/>
                </a:cubicBezTo>
                <a:cubicBezTo>
                  <a:pt x="2876893" y="4489910"/>
                  <a:pt x="2876893" y="4489910"/>
                  <a:pt x="2878612" y="4491243"/>
                </a:cubicBezTo>
                <a:cubicBezTo>
                  <a:pt x="2876893" y="4493909"/>
                  <a:pt x="2876893" y="4496798"/>
                  <a:pt x="2876320" y="4499575"/>
                </a:cubicBezTo>
                <a:lnTo>
                  <a:pt x="2875748" y="4501241"/>
                </a:lnTo>
                <a:lnTo>
                  <a:pt x="2879757" y="4500352"/>
                </a:lnTo>
                <a:cubicBezTo>
                  <a:pt x="2888065" y="4497797"/>
                  <a:pt x="2896086" y="4495130"/>
                  <a:pt x="2906400" y="4495798"/>
                </a:cubicBezTo>
                <a:lnTo>
                  <a:pt x="2914421" y="4497020"/>
                </a:lnTo>
                <a:lnTo>
                  <a:pt x="2912129" y="4491687"/>
                </a:lnTo>
                <a:lnTo>
                  <a:pt x="2911556" y="4490577"/>
                </a:lnTo>
                <a:lnTo>
                  <a:pt x="2907258" y="4490577"/>
                </a:lnTo>
                <a:cubicBezTo>
                  <a:pt x="2907258" y="4490577"/>
                  <a:pt x="2898379" y="4488355"/>
                  <a:pt x="2899810" y="4484134"/>
                </a:cubicBezTo>
                <a:cubicBezTo>
                  <a:pt x="2899523" y="4483690"/>
                  <a:pt x="2900956" y="4482912"/>
                  <a:pt x="2902674" y="4482357"/>
                </a:cubicBezTo>
                <a:lnTo>
                  <a:pt x="2907258" y="4481690"/>
                </a:lnTo>
                <a:lnTo>
                  <a:pt x="2905253" y="4476691"/>
                </a:lnTo>
                <a:lnTo>
                  <a:pt x="2901816" y="4474137"/>
                </a:lnTo>
                <a:lnTo>
                  <a:pt x="2901529" y="4473358"/>
                </a:lnTo>
                <a:lnTo>
                  <a:pt x="2899811" y="4472804"/>
                </a:lnTo>
                <a:cubicBezTo>
                  <a:pt x="2899811" y="4472804"/>
                  <a:pt x="2899811" y="4472804"/>
                  <a:pt x="2899810" y="4471804"/>
                </a:cubicBezTo>
                <a:lnTo>
                  <a:pt x="2901242" y="4472359"/>
                </a:lnTo>
                <a:lnTo>
                  <a:pt x="2900956" y="4471136"/>
                </a:lnTo>
                <a:lnTo>
                  <a:pt x="2899524" y="4471471"/>
                </a:lnTo>
                <a:cubicBezTo>
                  <a:pt x="2899524" y="4471471"/>
                  <a:pt x="2898950" y="4470582"/>
                  <a:pt x="2899810" y="4469138"/>
                </a:cubicBezTo>
                <a:cubicBezTo>
                  <a:pt x="2899810" y="4469138"/>
                  <a:pt x="2900383" y="4469249"/>
                  <a:pt x="2900670" y="4469582"/>
                </a:cubicBezTo>
                <a:lnTo>
                  <a:pt x="2900957" y="4470582"/>
                </a:lnTo>
                <a:lnTo>
                  <a:pt x="2904394" y="4467027"/>
                </a:lnTo>
                <a:lnTo>
                  <a:pt x="2906399" y="4466583"/>
                </a:lnTo>
                <a:lnTo>
                  <a:pt x="2906971" y="4466027"/>
                </a:lnTo>
                <a:cubicBezTo>
                  <a:pt x="2908978" y="4464695"/>
                  <a:pt x="2910982" y="4463805"/>
                  <a:pt x="2912988" y="4462140"/>
                </a:cubicBezTo>
                <a:close/>
                <a:moveTo>
                  <a:pt x="1846195" y="4462139"/>
                </a:moveTo>
                <a:cubicBezTo>
                  <a:pt x="1862809" y="4466027"/>
                  <a:pt x="1861663" y="4473914"/>
                  <a:pt x="1854789" y="4477136"/>
                </a:cubicBezTo>
                <a:cubicBezTo>
                  <a:pt x="1852496" y="4478135"/>
                  <a:pt x="1849633" y="4478691"/>
                  <a:pt x="1846481" y="4478357"/>
                </a:cubicBezTo>
                <a:cubicBezTo>
                  <a:pt x="1842471" y="4477913"/>
                  <a:pt x="1838459" y="4475914"/>
                  <a:pt x="1835022" y="4471581"/>
                </a:cubicBezTo>
                <a:cubicBezTo>
                  <a:pt x="1837601" y="4466250"/>
                  <a:pt x="1842471" y="4465361"/>
                  <a:pt x="1846195" y="4462139"/>
                </a:cubicBezTo>
                <a:close/>
                <a:moveTo>
                  <a:pt x="6327356" y="4461362"/>
                </a:moveTo>
                <a:cubicBezTo>
                  <a:pt x="6327642" y="4461917"/>
                  <a:pt x="6328215" y="4462695"/>
                  <a:pt x="6328789" y="4463362"/>
                </a:cubicBezTo>
                <a:cubicBezTo>
                  <a:pt x="6329361" y="4464028"/>
                  <a:pt x="6329648" y="4464472"/>
                  <a:pt x="6328788" y="4464694"/>
                </a:cubicBezTo>
                <a:cubicBezTo>
                  <a:pt x="6329361" y="4465916"/>
                  <a:pt x="6326210" y="4466583"/>
                  <a:pt x="6326210" y="4466583"/>
                </a:cubicBezTo>
                <a:cubicBezTo>
                  <a:pt x="6326497" y="4467805"/>
                  <a:pt x="6327069" y="4468916"/>
                  <a:pt x="6325924" y="4470471"/>
                </a:cubicBezTo>
                <a:cubicBezTo>
                  <a:pt x="6323918" y="4469693"/>
                  <a:pt x="6324205" y="4470915"/>
                  <a:pt x="6322772" y="4471248"/>
                </a:cubicBezTo>
                <a:cubicBezTo>
                  <a:pt x="6323918" y="4469693"/>
                  <a:pt x="6322486" y="4466250"/>
                  <a:pt x="6323058" y="4463583"/>
                </a:cubicBezTo>
                <a:cubicBezTo>
                  <a:pt x="6324778" y="4463251"/>
                  <a:pt x="6325924" y="4461696"/>
                  <a:pt x="6327356" y="4461362"/>
                </a:cubicBezTo>
                <a:close/>
                <a:moveTo>
                  <a:pt x="6799162" y="4461140"/>
                </a:moveTo>
                <a:cubicBezTo>
                  <a:pt x="6801168" y="4460917"/>
                  <a:pt x="6803746" y="4461028"/>
                  <a:pt x="6807470" y="4461362"/>
                </a:cubicBezTo>
                <a:cubicBezTo>
                  <a:pt x="6804032" y="4472581"/>
                  <a:pt x="6822366" y="4468805"/>
                  <a:pt x="6820361" y="4477580"/>
                </a:cubicBezTo>
                <a:cubicBezTo>
                  <a:pt x="6817211" y="4480357"/>
                  <a:pt x="6815778" y="4484245"/>
                  <a:pt x="6810908" y="4486245"/>
                </a:cubicBezTo>
                <a:cubicBezTo>
                  <a:pt x="6809475" y="4486911"/>
                  <a:pt x="6807470" y="4487356"/>
                  <a:pt x="6805178" y="4487578"/>
                </a:cubicBezTo>
                <a:cubicBezTo>
                  <a:pt x="6803461" y="4477469"/>
                  <a:pt x="6798016" y="4471137"/>
                  <a:pt x="6794006" y="4462473"/>
                </a:cubicBezTo>
                <a:cubicBezTo>
                  <a:pt x="6795438" y="4461806"/>
                  <a:pt x="6796870" y="4461362"/>
                  <a:pt x="6799162" y="4461140"/>
                </a:cubicBezTo>
                <a:close/>
                <a:moveTo>
                  <a:pt x="2037552" y="4459696"/>
                </a:moveTo>
                <a:cubicBezTo>
                  <a:pt x="2039271" y="4459474"/>
                  <a:pt x="2041276" y="4459696"/>
                  <a:pt x="2043854" y="4460584"/>
                </a:cubicBezTo>
                <a:cubicBezTo>
                  <a:pt x="2045573" y="4463917"/>
                  <a:pt x="2042136" y="4470804"/>
                  <a:pt x="2037266" y="4471582"/>
                </a:cubicBezTo>
                <a:cubicBezTo>
                  <a:pt x="2035260" y="4470804"/>
                  <a:pt x="2033256" y="4469916"/>
                  <a:pt x="2030964" y="4469027"/>
                </a:cubicBezTo>
                <a:cubicBezTo>
                  <a:pt x="2030105" y="4464583"/>
                  <a:pt x="2032109" y="4460251"/>
                  <a:pt x="2037552" y="4459696"/>
                </a:cubicBezTo>
                <a:close/>
                <a:moveTo>
                  <a:pt x="6561970" y="4458141"/>
                </a:moveTo>
                <a:cubicBezTo>
                  <a:pt x="6562543" y="4458252"/>
                  <a:pt x="6563116" y="4458807"/>
                  <a:pt x="6563975" y="4459251"/>
                </a:cubicBezTo>
                <a:cubicBezTo>
                  <a:pt x="6562543" y="4459585"/>
                  <a:pt x="6563975" y="4459251"/>
                  <a:pt x="6560538" y="4458807"/>
                </a:cubicBezTo>
                <a:cubicBezTo>
                  <a:pt x="6561110" y="4458029"/>
                  <a:pt x="6561684" y="4457918"/>
                  <a:pt x="6561970" y="4458141"/>
                </a:cubicBezTo>
                <a:close/>
                <a:moveTo>
                  <a:pt x="2458655" y="4458030"/>
                </a:moveTo>
                <a:cubicBezTo>
                  <a:pt x="2462379" y="4458141"/>
                  <a:pt x="2466676" y="4459473"/>
                  <a:pt x="2471260" y="4459696"/>
                </a:cubicBezTo>
                <a:cubicBezTo>
                  <a:pt x="2468682" y="4463251"/>
                  <a:pt x="2465816" y="4465028"/>
                  <a:pt x="2462092" y="4465361"/>
                </a:cubicBezTo>
                <a:cubicBezTo>
                  <a:pt x="2458368" y="4465805"/>
                  <a:pt x="2454071" y="4464917"/>
                  <a:pt x="2449201" y="4462917"/>
                </a:cubicBezTo>
                <a:cubicBezTo>
                  <a:pt x="2451493" y="4458807"/>
                  <a:pt x="2454644" y="4457807"/>
                  <a:pt x="2458655" y="4458030"/>
                </a:cubicBezTo>
                <a:close/>
                <a:moveTo>
                  <a:pt x="2357533" y="4457696"/>
                </a:moveTo>
                <a:cubicBezTo>
                  <a:pt x="2363549" y="4463917"/>
                  <a:pt x="2367559" y="4469915"/>
                  <a:pt x="2370138" y="4475581"/>
                </a:cubicBezTo>
                <a:lnTo>
                  <a:pt x="2373288" y="4490688"/>
                </a:lnTo>
                <a:lnTo>
                  <a:pt x="2373002" y="4485245"/>
                </a:lnTo>
                <a:cubicBezTo>
                  <a:pt x="2373575" y="4484134"/>
                  <a:pt x="2374722" y="4483135"/>
                  <a:pt x="2376439" y="4482467"/>
                </a:cubicBezTo>
                <a:cubicBezTo>
                  <a:pt x="2386753" y="4478691"/>
                  <a:pt x="2401935" y="4484466"/>
                  <a:pt x="2408524" y="4494687"/>
                </a:cubicBezTo>
                <a:cubicBezTo>
                  <a:pt x="2418836" y="4510350"/>
                  <a:pt x="2413966" y="4520125"/>
                  <a:pt x="2413966" y="4520125"/>
                </a:cubicBezTo>
                <a:cubicBezTo>
                  <a:pt x="2394774" y="4525679"/>
                  <a:pt x="2384174" y="4510016"/>
                  <a:pt x="2377872" y="4499908"/>
                </a:cubicBezTo>
                <a:lnTo>
                  <a:pt x="2373575" y="4492243"/>
                </a:lnTo>
                <a:lnTo>
                  <a:pt x="2370997" y="4502352"/>
                </a:lnTo>
                <a:cubicBezTo>
                  <a:pt x="2357819" y="4500241"/>
                  <a:pt x="2356673" y="4489466"/>
                  <a:pt x="2352949" y="4481801"/>
                </a:cubicBezTo>
                <a:cubicBezTo>
                  <a:pt x="2343497" y="4486245"/>
                  <a:pt x="2331466" y="4495020"/>
                  <a:pt x="2322584" y="4487689"/>
                </a:cubicBezTo>
                <a:cubicBezTo>
                  <a:pt x="2322584" y="4478358"/>
                  <a:pt x="2340059" y="4477469"/>
                  <a:pt x="2349799" y="4470693"/>
                </a:cubicBezTo>
                <a:cubicBezTo>
                  <a:pt x="2352377" y="4466361"/>
                  <a:pt x="2346648" y="4461917"/>
                  <a:pt x="2357533" y="4457696"/>
                </a:cubicBezTo>
                <a:close/>
                <a:moveTo>
                  <a:pt x="2065339" y="4457474"/>
                </a:moveTo>
                <a:cubicBezTo>
                  <a:pt x="2066773" y="4457252"/>
                  <a:pt x="2068490" y="4457363"/>
                  <a:pt x="2069923" y="4457696"/>
                </a:cubicBezTo>
                <a:cubicBezTo>
                  <a:pt x="2072787" y="4458141"/>
                  <a:pt x="2075652" y="4459584"/>
                  <a:pt x="2077945" y="4461917"/>
                </a:cubicBezTo>
                <a:cubicBezTo>
                  <a:pt x="2079376" y="4466693"/>
                  <a:pt x="2077084" y="4470804"/>
                  <a:pt x="2073074" y="4472693"/>
                </a:cubicBezTo>
                <a:lnTo>
                  <a:pt x="2065626" y="4473470"/>
                </a:lnTo>
                <a:lnTo>
                  <a:pt x="2065913" y="4475247"/>
                </a:lnTo>
                <a:cubicBezTo>
                  <a:pt x="2063334" y="4477247"/>
                  <a:pt x="2059610" y="4477025"/>
                  <a:pt x="2055887" y="4476802"/>
                </a:cubicBezTo>
                <a:cubicBezTo>
                  <a:pt x="2053021" y="4476358"/>
                  <a:pt x="2051589" y="4475470"/>
                  <a:pt x="2051303" y="4474359"/>
                </a:cubicBezTo>
                <a:cubicBezTo>
                  <a:pt x="2051016" y="4473137"/>
                  <a:pt x="2051876" y="4471804"/>
                  <a:pt x="2053021" y="4470248"/>
                </a:cubicBezTo>
                <a:lnTo>
                  <a:pt x="2055886" y="4468027"/>
                </a:lnTo>
                <a:lnTo>
                  <a:pt x="2055886" y="4464140"/>
                </a:lnTo>
                <a:cubicBezTo>
                  <a:pt x="2057032" y="4460584"/>
                  <a:pt x="2060756" y="4458029"/>
                  <a:pt x="2065339" y="4457474"/>
                </a:cubicBezTo>
                <a:close/>
                <a:moveTo>
                  <a:pt x="1882288" y="4457030"/>
                </a:moveTo>
                <a:cubicBezTo>
                  <a:pt x="1888591" y="4457363"/>
                  <a:pt x="1895753" y="4461140"/>
                  <a:pt x="1896039" y="4467693"/>
                </a:cubicBezTo>
                <a:cubicBezTo>
                  <a:pt x="1891169" y="4471025"/>
                  <a:pt x="1886300" y="4472137"/>
                  <a:pt x="1882861" y="4473137"/>
                </a:cubicBezTo>
                <a:cubicBezTo>
                  <a:pt x="1879424" y="4470693"/>
                  <a:pt x="1875986" y="4469360"/>
                  <a:pt x="1872549" y="4466916"/>
                </a:cubicBezTo>
                <a:cubicBezTo>
                  <a:pt x="1870257" y="4459807"/>
                  <a:pt x="1875986" y="4456697"/>
                  <a:pt x="1882288" y="4457030"/>
                </a:cubicBezTo>
                <a:close/>
                <a:moveTo>
                  <a:pt x="5489734" y="4455475"/>
                </a:moveTo>
                <a:cubicBezTo>
                  <a:pt x="5492026" y="4455141"/>
                  <a:pt x="5494317" y="4455252"/>
                  <a:pt x="5496322" y="4455696"/>
                </a:cubicBezTo>
                <a:cubicBezTo>
                  <a:pt x="5498328" y="4455697"/>
                  <a:pt x="5499760" y="4456586"/>
                  <a:pt x="5500620" y="4457696"/>
                </a:cubicBezTo>
                <a:cubicBezTo>
                  <a:pt x="5501479" y="4458807"/>
                  <a:pt x="5501764" y="4460251"/>
                  <a:pt x="5501765" y="4461585"/>
                </a:cubicBezTo>
                <a:lnTo>
                  <a:pt x="5501479" y="4461806"/>
                </a:lnTo>
                <a:lnTo>
                  <a:pt x="5518953" y="4467916"/>
                </a:lnTo>
                <a:cubicBezTo>
                  <a:pt x="5540724" y="4477136"/>
                  <a:pt x="5561064" y="4491021"/>
                  <a:pt x="5564788" y="4508795"/>
                </a:cubicBezTo>
                <a:lnTo>
                  <a:pt x="5564214" y="4518681"/>
                </a:lnTo>
                <a:lnTo>
                  <a:pt x="5569084" y="4517347"/>
                </a:lnTo>
                <a:cubicBezTo>
                  <a:pt x="5582262" y="4517792"/>
                  <a:pt x="5600023" y="4527012"/>
                  <a:pt x="5569944" y="4536565"/>
                </a:cubicBezTo>
                <a:lnTo>
                  <a:pt x="5563355" y="4529900"/>
                </a:lnTo>
                <a:lnTo>
                  <a:pt x="5562210" y="4530345"/>
                </a:lnTo>
                <a:lnTo>
                  <a:pt x="5562209" y="4531567"/>
                </a:lnTo>
                <a:cubicBezTo>
                  <a:pt x="5564501" y="4532344"/>
                  <a:pt x="5564214" y="4532344"/>
                  <a:pt x="5562782" y="4532788"/>
                </a:cubicBezTo>
                <a:lnTo>
                  <a:pt x="5562209" y="4533677"/>
                </a:lnTo>
                <a:lnTo>
                  <a:pt x="5562209" y="4537010"/>
                </a:lnTo>
                <a:cubicBezTo>
                  <a:pt x="5562209" y="4540009"/>
                  <a:pt x="5561636" y="4542675"/>
                  <a:pt x="5560778" y="4544008"/>
                </a:cubicBezTo>
                <a:lnTo>
                  <a:pt x="5560204" y="4536454"/>
                </a:lnTo>
                <a:lnTo>
                  <a:pt x="5559058" y="4540231"/>
                </a:lnTo>
                <a:cubicBezTo>
                  <a:pt x="5558772" y="4542119"/>
                  <a:pt x="5559058" y="4543786"/>
                  <a:pt x="5560204" y="4544119"/>
                </a:cubicBezTo>
                <a:cubicBezTo>
                  <a:pt x="5558485" y="4544563"/>
                  <a:pt x="5557340" y="4546118"/>
                  <a:pt x="5557340" y="4546118"/>
                </a:cubicBezTo>
                <a:cubicBezTo>
                  <a:pt x="5555048" y="4545341"/>
                  <a:pt x="5554761" y="4544341"/>
                  <a:pt x="5554188" y="4543230"/>
                </a:cubicBezTo>
                <a:cubicBezTo>
                  <a:pt x="5555334" y="4541674"/>
                  <a:pt x="5557053" y="4541341"/>
                  <a:pt x="5558199" y="4539787"/>
                </a:cubicBezTo>
                <a:cubicBezTo>
                  <a:pt x="5557912" y="4538676"/>
                  <a:pt x="5557053" y="4536453"/>
                  <a:pt x="5558199" y="4535010"/>
                </a:cubicBezTo>
                <a:lnTo>
                  <a:pt x="5560204" y="4533455"/>
                </a:lnTo>
                <a:lnTo>
                  <a:pt x="5561064" y="4527901"/>
                </a:lnTo>
                <a:lnTo>
                  <a:pt x="5560490" y="4527345"/>
                </a:lnTo>
                <a:lnTo>
                  <a:pt x="5557912" y="4531566"/>
                </a:lnTo>
                <a:cubicBezTo>
                  <a:pt x="5552470" y="4537898"/>
                  <a:pt x="5545308" y="4543786"/>
                  <a:pt x="5540152" y="4551895"/>
                </a:cubicBezTo>
                <a:cubicBezTo>
                  <a:pt x="5518953" y="4548118"/>
                  <a:pt x="5513224" y="4555894"/>
                  <a:pt x="5503198" y="4559782"/>
                </a:cubicBezTo>
                <a:cubicBezTo>
                  <a:pt x="5490880" y="4552672"/>
                  <a:pt x="5470254" y="4551338"/>
                  <a:pt x="5453926" y="4546340"/>
                </a:cubicBezTo>
                <a:cubicBezTo>
                  <a:pt x="5449915" y="4539231"/>
                  <a:pt x="5444759" y="4533121"/>
                  <a:pt x="5439602" y="4527012"/>
                </a:cubicBezTo>
                <a:lnTo>
                  <a:pt x="5438170" y="4525124"/>
                </a:lnTo>
                <a:lnTo>
                  <a:pt x="5435592" y="4528123"/>
                </a:lnTo>
                <a:cubicBezTo>
                  <a:pt x="5433587" y="4529122"/>
                  <a:pt x="5429863" y="4529900"/>
                  <a:pt x="5425852" y="4530122"/>
                </a:cubicBezTo>
                <a:cubicBezTo>
                  <a:pt x="5421555" y="4530345"/>
                  <a:pt x="5417545" y="4530012"/>
                  <a:pt x="5414967" y="4528678"/>
                </a:cubicBezTo>
                <a:cubicBezTo>
                  <a:pt x="5416686" y="4526567"/>
                  <a:pt x="5418404" y="4524458"/>
                  <a:pt x="5420123" y="4522235"/>
                </a:cubicBezTo>
                <a:cubicBezTo>
                  <a:pt x="5420123" y="4523458"/>
                  <a:pt x="5435878" y="4522457"/>
                  <a:pt x="5435878" y="4522457"/>
                </a:cubicBezTo>
                <a:lnTo>
                  <a:pt x="5437598" y="4524568"/>
                </a:lnTo>
                <a:lnTo>
                  <a:pt x="5424993" y="4507573"/>
                </a:lnTo>
                <a:cubicBezTo>
                  <a:pt x="5438170" y="4495687"/>
                  <a:pt x="5432154" y="4471026"/>
                  <a:pt x="5455931" y="4464361"/>
                </a:cubicBezTo>
                <a:lnTo>
                  <a:pt x="5461661" y="4464917"/>
                </a:lnTo>
                <a:lnTo>
                  <a:pt x="5461947" y="4464361"/>
                </a:lnTo>
                <a:cubicBezTo>
                  <a:pt x="5463666" y="4463583"/>
                  <a:pt x="5465671" y="4463139"/>
                  <a:pt x="5467676" y="4463361"/>
                </a:cubicBezTo>
                <a:lnTo>
                  <a:pt x="5470827" y="4464695"/>
                </a:lnTo>
                <a:lnTo>
                  <a:pt x="5480567" y="4463362"/>
                </a:lnTo>
                <a:lnTo>
                  <a:pt x="5482572" y="4463583"/>
                </a:lnTo>
                <a:lnTo>
                  <a:pt x="5485723" y="4462917"/>
                </a:lnTo>
                <a:lnTo>
                  <a:pt x="5484864" y="4458363"/>
                </a:lnTo>
                <a:cubicBezTo>
                  <a:pt x="5486010" y="4456807"/>
                  <a:pt x="5487728" y="4455808"/>
                  <a:pt x="5489734" y="4455475"/>
                </a:cubicBezTo>
                <a:close/>
                <a:moveTo>
                  <a:pt x="5402935" y="4455252"/>
                </a:moveTo>
                <a:lnTo>
                  <a:pt x="5399498" y="4455252"/>
                </a:lnTo>
                <a:lnTo>
                  <a:pt x="5401216" y="4455697"/>
                </a:lnTo>
                <a:lnTo>
                  <a:pt x="5401503" y="4455696"/>
                </a:lnTo>
                <a:cubicBezTo>
                  <a:pt x="5402077" y="4456141"/>
                  <a:pt x="5402362" y="4456252"/>
                  <a:pt x="5402935" y="4456141"/>
                </a:cubicBezTo>
                <a:close/>
                <a:moveTo>
                  <a:pt x="2327454" y="4455030"/>
                </a:moveTo>
                <a:cubicBezTo>
                  <a:pt x="2335475" y="4456808"/>
                  <a:pt x="2338914" y="4459585"/>
                  <a:pt x="2339199" y="4462473"/>
                </a:cubicBezTo>
                <a:cubicBezTo>
                  <a:pt x="2339486" y="4465250"/>
                  <a:pt x="2336908" y="4468138"/>
                  <a:pt x="2333183" y="4469805"/>
                </a:cubicBezTo>
                <a:cubicBezTo>
                  <a:pt x="2330605" y="4470915"/>
                  <a:pt x="2327741" y="4471582"/>
                  <a:pt x="2324589" y="4471248"/>
                </a:cubicBezTo>
                <a:cubicBezTo>
                  <a:pt x="2320865" y="4470915"/>
                  <a:pt x="2316855" y="4468916"/>
                  <a:pt x="2314278" y="4464694"/>
                </a:cubicBezTo>
                <a:cubicBezTo>
                  <a:pt x="2318002" y="4459251"/>
                  <a:pt x="2323158" y="4458252"/>
                  <a:pt x="2327454" y="4455030"/>
                </a:cubicBezTo>
                <a:close/>
                <a:moveTo>
                  <a:pt x="5389186" y="4454475"/>
                </a:moveTo>
                <a:lnTo>
                  <a:pt x="5392336" y="4457363"/>
                </a:lnTo>
                <a:lnTo>
                  <a:pt x="5395774" y="4456697"/>
                </a:lnTo>
                <a:lnTo>
                  <a:pt x="5399498" y="4456141"/>
                </a:lnTo>
                <a:lnTo>
                  <a:pt x="5398925" y="4455252"/>
                </a:lnTo>
                <a:lnTo>
                  <a:pt x="5395487" y="4455252"/>
                </a:lnTo>
                <a:close/>
                <a:moveTo>
                  <a:pt x="2203701" y="4454141"/>
                </a:moveTo>
                <a:cubicBezTo>
                  <a:pt x="2207999" y="4453586"/>
                  <a:pt x="2212868" y="4454808"/>
                  <a:pt x="2212009" y="4458473"/>
                </a:cubicBezTo>
                <a:cubicBezTo>
                  <a:pt x="2208859" y="4459695"/>
                  <a:pt x="2204274" y="4460362"/>
                  <a:pt x="2199691" y="4460917"/>
                </a:cubicBezTo>
                <a:cubicBezTo>
                  <a:pt x="2195680" y="4457251"/>
                  <a:pt x="2199405" y="4454808"/>
                  <a:pt x="2203701" y="4454141"/>
                </a:cubicBezTo>
                <a:close/>
                <a:moveTo>
                  <a:pt x="6315038" y="4454031"/>
                </a:moveTo>
                <a:cubicBezTo>
                  <a:pt x="6315897" y="4453809"/>
                  <a:pt x="6317043" y="4453919"/>
                  <a:pt x="6317902" y="4454253"/>
                </a:cubicBezTo>
                <a:cubicBezTo>
                  <a:pt x="6317902" y="4454253"/>
                  <a:pt x="6317043" y="4456918"/>
                  <a:pt x="6317043" y="4456918"/>
                </a:cubicBezTo>
                <a:cubicBezTo>
                  <a:pt x="6314464" y="4459918"/>
                  <a:pt x="6313319" y="4461362"/>
                  <a:pt x="6312460" y="4464028"/>
                </a:cubicBezTo>
                <a:cubicBezTo>
                  <a:pt x="6308736" y="4463695"/>
                  <a:pt x="6308162" y="4462695"/>
                  <a:pt x="6309595" y="4461139"/>
                </a:cubicBezTo>
                <a:cubicBezTo>
                  <a:pt x="6309595" y="4461139"/>
                  <a:pt x="6310740" y="4459585"/>
                  <a:pt x="6311886" y="4458141"/>
                </a:cubicBezTo>
                <a:cubicBezTo>
                  <a:pt x="6313319" y="4456586"/>
                  <a:pt x="6313032" y="4455474"/>
                  <a:pt x="6313032" y="4455474"/>
                </a:cubicBezTo>
                <a:cubicBezTo>
                  <a:pt x="6313606" y="4454697"/>
                  <a:pt x="6314178" y="4454142"/>
                  <a:pt x="6315038" y="4454031"/>
                </a:cubicBezTo>
                <a:close/>
                <a:moveTo>
                  <a:pt x="2492458" y="4453586"/>
                </a:moveTo>
                <a:cubicBezTo>
                  <a:pt x="2502770" y="4453920"/>
                  <a:pt x="2510218" y="4463251"/>
                  <a:pt x="2501911" y="4468694"/>
                </a:cubicBezTo>
                <a:cubicBezTo>
                  <a:pt x="2498473" y="4467472"/>
                  <a:pt x="2495036" y="4467361"/>
                  <a:pt x="2491598" y="4466138"/>
                </a:cubicBezTo>
                <a:cubicBezTo>
                  <a:pt x="2491312" y="4461472"/>
                  <a:pt x="2484150" y="4457919"/>
                  <a:pt x="2492458" y="4453586"/>
                </a:cubicBezTo>
                <a:close/>
                <a:moveTo>
                  <a:pt x="5991620" y="4451809"/>
                </a:moveTo>
                <a:cubicBezTo>
                  <a:pt x="5994198" y="4451587"/>
                  <a:pt x="5997062" y="4451586"/>
                  <a:pt x="6000500" y="4452365"/>
                </a:cubicBezTo>
                <a:cubicBezTo>
                  <a:pt x="5996776" y="4454141"/>
                  <a:pt x="5993052" y="4455363"/>
                  <a:pt x="5989614" y="4456363"/>
                </a:cubicBezTo>
                <a:cubicBezTo>
                  <a:pt x="5979302" y="4459140"/>
                  <a:pt x="5970134" y="4459140"/>
                  <a:pt x="5963546" y="4462584"/>
                </a:cubicBezTo>
                <a:cubicBezTo>
                  <a:pt x="5963546" y="4462584"/>
                  <a:pt x="5963546" y="4462584"/>
                  <a:pt x="5959249" y="4461140"/>
                </a:cubicBezTo>
                <a:cubicBezTo>
                  <a:pt x="5957816" y="4461585"/>
                  <a:pt x="5957816" y="4461585"/>
                  <a:pt x="5957816" y="4461585"/>
                </a:cubicBezTo>
                <a:cubicBezTo>
                  <a:pt x="5956098" y="4462028"/>
                  <a:pt x="5955238" y="4459696"/>
                  <a:pt x="5955238" y="4459696"/>
                </a:cubicBezTo>
                <a:cubicBezTo>
                  <a:pt x="5956098" y="4457140"/>
                  <a:pt x="5961254" y="4456918"/>
                  <a:pt x="5964407" y="4456141"/>
                </a:cubicBezTo>
                <a:cubicBezTo>
                  <a:pt x="5965264" y="4453586"/>
                  <a:pt x="5971854" y="4456919"/>
                  <a:pt x="5972712" y="4454252"/>
                </a:cubicBezTo>
                <a:cubicBezTo>
                  <a:pt x="5978728" y="4456363"/>
                  <a:pt x="5983885" y="4452587"/>
                  <a:pt x="5991620" y="4451809"/>
                </a:cubicBezTo>
                <a:close/>
                <a:moveTo>
                  <a:pt x="6700618" y="4450476"/>
                </a:moveTo>
                <a:cubicBezTo>
                  <a:pt x="6710358" y="4453365"/>
                  <a:pt x="6710932" y="4462695"/>
                  <a:pt x="6705775" y="4467361"/>
                </a:cubicBezTo>
                <a:cubicBezTo>
                  <a:pt x="6704056" y="4468915"/>
                  <a:pt x="6701764" y="4469916"/>
                  <a:pt x="6698614" y="4470026"/>
                </a:cubicBezTo>
                <a:cubicBezTo>
                  <a:pt x="6685722" y="4466250"/>
                  <a:pt x="6690879" y="4452808"/>
                  <a:pt x="6700618" y="4450476"/>
                </a:cubicBezTo>
                <a:close/>
                <a:moveTo>
                  <a:pt x="2519672" y="4448143"/>
                </a:moveTo>
                <a:cubicBezTo>
                  <a:pt x="2521390" y="4447920"/>
                  <a:pt x="2523396" y="4448143"/>
                  <a:pt x="2525975" y="4448809"/>
                </a:cubicBezTo>
                <a:cubicBezTo>
                  <a:pt x="2526834" y="4452253"/>
                  <a:pt x="2521963" y="4459140"/>
                  <a:pt x="2517093" y="4460140"/>
                </a:cubicBezTo>
                <a:cubicBezTo>
                  <a:pt x="2515088" y="4459250"/>
                  <a:pt x="2513370" y="4458473"/>
                  <a:pt x="2511365" y="4457696"/>
                </a:cubicBezTo>
                <a:cubicBezTo>
                  <a:pt x="2511364" y="4453141"/>
                  <a:pt x="2514229" y="4448809"/>
                  <a:pt x="2519672" y="4448143"/>
                </a:cubicBezTo>
                <a:close/>
                <a:moveTo>
                  <a:pt x="1961067" y="4446921"/>
                </a:moveTo>
                <a:cubicBezTo>
                  <a:pt x="1966224" y="4446254"/>
                  <a:pt x="1971665" y="4458807"/>
                  <a:pt x="1956196" y="4453142"/>
                </a:cubicBezTo>
                <a:cubicBezTo>
                  <a:pt x="1957342" y="4448809"/>
                  <a:pt x="1959062" y="4447144"/>
                  <a:pt x="1961067" y="4446921"/>
                </a:cubicBezTo>
                <a:close/>
                <a:moveTo>
                  <a:pt x="2552615" y="4445366"/>
                </a:moveTo>
                <a:cubicBezTo>
                  <a:pt x="2555193" y="4445810"/>
                  <a:pt x="2557771" y="4447143"/>
                  <a:pt x="2559777" y="4449476"/>
                </a:cubicBezTo>
                <a:cubicBezTo>
                  <a:pt x="2560063" y="4454142"/>
                  <a:pt x="2557198" y="4458363"/>
                  <a:pt x="2552330" y="4460362"/>
                </a:cubicBezTo>
                <a:cubicBezTo>
                  <a:pt x="2547746" y="4462362"/>
                  <a:pt x="2541729" y="4462028"/>
                  <a:pt x="2536000" y="4457696"/>
                </a:cubicBezTo>
                <a:cubicBezTo>
                  <a:pt x="2535141" y="4449810"/>
                  <a:pt x="2544594" y="4443922"/>
                  <a:pt x="2552615" y="4445366"/>
                </a:cubicBezTo>
                <a:close/>
                <a:moveTo>
                  <a:pt x="1899764" y="4445144"/>
                </a:moveTo>
                <a:cubicBezTo>
                  <a:pt x="1901195" y="4444922"/>
                  <a:pt x="1903200" y="4445255"/>
                  <a:pt x="1904634" y="4446588"/>
                </a:cubicBezTo>
                <a:cubicBezTo>
                  <a:pt x="1903488" y="4448032"/>
                  <a:pt x="1903200" y="4450587"/>
                  <a:pt x="1900622" y="4452364"/>
                </a:cubicBezTo>
                <a:cubicBezTo>
                  <a:pt x="1890883" y="4451254"/>
                  <a:pt x="1894606" y="4445699"/>
                  <a:pt x="1899764" y="4445144"/>
                </a:cubicBezTo>
                <a:close/>
                <a:moveTo>
                  <a:pt x="2410243" y="4444700"/>
                </a:moveTo>
                <a:cubicBezTo>
                  <a:pt x="2412248" y="4445033"/>
                  <a:pt x="2414253" y="4445810"/>
                  <a:pt x="2415972" y="4447366"/>
                </a:cubicBezTo>
                <a:cubicBezTo>
                  <a:pt x="2416831" y="4458029"/>
                  <a:pt x="2401648" y="4460807"/>
                  <a:pt x="2394488" y="4456918"/>
                </a:cubicBezTo>
                <a:cubicBezTo>
                  <a:pt x="2391910" y="4455586"/>
                  <a:pt x="2390190" y="4453586"/>
                  <a:pt x="2390476" y="4450810"/>
                </a:cubicBezTo>
                <a:cubicBezTo>
                  <a:pt x="2397065" y="4447921"/>
                  <a:pt x="2403940" y="4443922"/>
                  <a:pt x="2410243" y="4444700"/>
                </a:cubicBezTo>
                <a:close/>
                <a:moveTo>
                  <a:pt x="6632440" y="4444256"/>
                </a:moveTo>
                <a:cubicBezTo>
                  <a:pt x="6634446" y="4444256"/>
                  <a:pt x="6636737" y="4444588"/>
                  <a:pt x="6639602" y="4445366"/>
                </a:cubicBezTo>
                <a:cubicBezTo>
                  <a:pt x="6647623" y="4447032"/>
                  <a:pt x="6651348" y="4450032"/>
                  <a:pt x="6653067" y="4453253"/>
                </a:cubicBezTo>
                <a:cubicBezTo>
                  <a:pt x="6654498" y="4456586"/>
                  <a:pt x="6653638" y="4460140"/>
                  <a:pt x="6651920" y="4462917"/>
                </a:cubicBezTo>
                <a:cubicBezTo>
                  <a:pt x="6650488" y="4462473"/>
                  <a:pt x="6645904" y="4470026"/>
                  <a:pt x="6636164" y="4472248"/>
                </a:cubicBezTo>
                <a:cubicBezTo>
                  <a:pt x="6633013" y="4472915"/>
                  <a:pt x="6629289" y="4473026"/>
                  <a:pt x="6624706" y="4471915"/>
                </a:cubicBezTo>
                <a:cubicBezTo>
                  <a:pt x="6614966" y="4469582"/>
                  <a:pt x="6605799" y="4464583"/>
                  <a:pt x="6613820" y="4452920"/>
                </a:cubicBezTo>
                <a:cubicBezTo>
                  <a:pt x="6614680" y="4450365"/>
                  <a:pt x="6614966" y="4451476"/>
                  <a:pt x="6616112" y="4450032"/>
                </a:cubicBezTo>
                <a:cubicBezTo>
                  <a:pt x="6617544" y="4448476"/>
                  <a:pt x="6618117" y="4445810"/>
                  <a:pt x="6617830" y="4444699"/>
                </a:cubicBezTo>
                <a:cubicBezTo>
                  <a:pt x="6623560" y="4446033"/>
                  <a:pt x="6626424" y="4444033"/>
                  <a:pt x="6632440" y="4444256"/>
                </a:cubicBezTo>
                <a:close/>
                <a:moveTo>
                  <a:pt x="5617211" y="4443033"/>
                </a:moveTo>
                <a:lnTo>
                  <a:pt x="5616638" y="4444145"/>
                </a:lnTo>
                <a:lnTo>
                  <a:pt x="5618356" y="4444033"/>
                </a:lnTo>
                <a:close/>
                <a:moveTo>
                  <a:pt x="5932894" y="4441478"/>
                </a:moveTo>
                <a:cubicBezTo>
                  <a:pt x="5937478" y="4441589"/>
                  <a:pt x="5942061" y="4442256"/>
                  <a:pt x="5946644" y="4442922"/>
                </a:cubicBezTo>
                <a:cubicBezTo>
                  <a:pt x="5960108" y="4456697"/>
                  <a:pt x="5935472" y="4453809"/>
                  <a:pt x="5924014" y="4455252"/>
                </a:cubicBezTo>
                <a:cubicBezTo>
                  <a:pt x="5919717" y="4450698"/>
                  <a:pt x="5918858" y="4449032"/>
                  <a:pt x="5919144" y="4443922"/>
                </a:cubicBezTo>
                <a:cubicBezTo>
                  <a:pt x="5923728" y="4442034"/>
                  <a:pt x="5928311" y="4441478"/>
                  <a:pt x="5932894" y="4441478"/>
                </a:cubicBezTo>
                <a:close/>
                <a:moveTo>
                  <a:pt x="2505348" y="4438479"/>
                </a:moveTo>
                <a:cubicBezTo>
                  <a:pt x="2505636" y="4438590"/>
                  <a:pt x="2505348" y="4438701"/>
                  <a:pt x="2504776" y="4439257"/>
                </a:cubicBezTo>
                <a:cubicBezTo>
                  <a:pt x="2508787" y="4439367"/>
                  <a:pt x="2510219" y="4440034"/>
                  <a:pt x="2511937" y="4440701"/>
                </a:cubicBezTo>
                <a:cubicBezTo>
                  <a:pt x="2512798" y="4442256"/>
                  <a:pt x="2511365" y="4444367"/>
                  <a:pt x="2508214" y="4445922"/>
                </a:cubicBezTo>
                <a:cubicBezTo>
                  <a:pt x="2507355" y="4444256"/>
                  <a:pt x="2503630" y="4444033"/>
                  <a:pt x="2502770" y="4442367"/>
                </a:cubicBezTo>
                <a:cubicBezTo>
                  <a:pt x="2502770" y="4442367"/>
                  <a:pt x="2503343" y="4438590"/>
                  <a:pt x="2503343" y="4438590"/>
                </a:cubicBezTo>
                <a:cubicBezTo>
                  <a:pt x="2504489" y="4438368"/>
                  <a:pt x="2505062" y="4438368"/>
                  <a:pt x="2505348" y="4438479"/>
                </a:cubicBezTo>
                <a:close/>
                <a:moveTo>
                  <a:pt x="5314990" y="4437701"/>
                </a:moveTo>
                <a:lnTo>
                  <a:pt x="5306397" y="4440256"/>
                </a:lnTo>
                <a:lnTo>
                  <a:pt x="5316136" y="4440145"/>
                </a:lnTo>
                <a:close/>
                <a:moveTo>
                  <a:pt x="2121773" y="4437035"/>
                </a:moveTo>
                <a:cubicBezTo>
                  <a:pt x="2125783" y="4436813"/>
                  <a:pt x="2129794" y="4438257"/>
                  <a:pt x="2131226" y="4440367"/>
                </a:cubicBezTo>
                <a:cubicBezTo>
                  <a:pt x="2128934" y="4446254"/>
                  <a:pt x="2118049" y="4447254"/>
                  <a:pt x="2114038" y="4443478"/>
                </a:cubicBezTo>
                <a:cubicBezTo>
                  <a:pt x="2114325" y="4439034"/>
                  <a:pt x="2117763" y="4437146"/>
                  <a:pt x="2121773" y="4437035"/>
                </a:cubicBezTo>
                <a:close/>
                <a:moveTo>
                  <a:pt x="2293651" y="4436813"/>
                </a:moveTo>
                <a:cubicBezTo>
                  <a:pt x="2301960" y="4436035"/>
                  <a:pt x="2305970" y="4441590"/>
                  <a:pt x="2313132" y="4445477"/>
                </a:cubicBezTo>
                <a:cubicBezTo>
                  <a:pt x="2312272" y="4446588"/>
                  <a:pt x="2313132" y="4448143"/>
                  <a:pt x="2314851" y="4448809"/>
                </a:cubicBezTo>
                <a:cubicBezTo>
                  <a:pt x="2315709" y="4450365"/>
                  <a:pt x="2316568" y="4451920"/>
                  <a:pt x="2317141" y="4450920"/>
                </a:cubicBezTo>
                <a:cubicBezTo>
                  <a:pt x="2319720" y="4455808"/>
                  <a:pt x="2321438" y="4456364"/>
                  <a:pt x="2317714" y="4458918"/>
                </a:cubicBezTo>
                <a:cubicBezTo>
                  <a:pt x="2305970" y="4453142"/>
                  <a:pt x="2294798" y="4443700"/>
                  <a:pt x="2292506" y="4441478"/>
                </a:cubicBezTo>
                <a:cubicBezTo>
                  <a:pt x="2291360" y="4440367"/>
                  <a:pt x="2290787" y="4439589"/>
                  <a:pt x="2291073" y="4438922"/>
                </a:cubicBezTo>
                <a:cubicBezTo>
                  <a:pt x="2291360" y="4438146"/>
                  <a:pt x="2292219" y="4437591"/>
                  <a:pt x="2293651" y="4436813"/>
                </a:cubicBezTo>
                <a:close/>
                <a:moveTo>
                  <a:pt x="6290974" y="4436591"/>
                </a:moveTo>
                <a:cubicBezTo>
                  <a:pt x="6289542" y="4439701"/>
                  <a:pt x="6286964" y="4444922"/>
                  <a:pt x="6283526" y="4447032"/>
                </a:cubicBezTo>
                <a:cubicBezTo>
                  <a:pt x="6282380" y="4447699"/>
                  <a:pt x="6280948" y="4447921"/>
                  <a:pt x="6279516" y="4447698"/>
                </a:cubicBezTo>
                <a:cubicBezTo>
                  <a:pt x="6277511" y="4447032"/>
                  <a:pt x="6278656" y="4445588"/>
                  <a:pt x="6278370" y="4444477"/>
                </a:cubicBezTo>
                <a:cubicBezTo>
                  <a:pt x="6278943" y="4441922"/>
                  <a:pt x="6288970" y="4435924"/>
                  <a:pt x="6290974" y="4436591"/>
                </a:cubicBezTo>
                <a:close/>
                <a:moveTo>
                  <a:pt x="2384747" y="4436590"/>
                </a:moveTo>
                <a:cubicBezTo>
                  <a:pt x="2386466" y="4436369"/>
                  <a:pt x="2387898" y="4436702"/>
                  <a:pt x="2389330" y="4437923"/>
                </a:cubicBezTo>
                <a:cubicBezTo>
                  <a:pt x="2387899" y="4439367"/>
                  <a:pt x="2387039" y="4442033"/>
                  <a:pt x="2384175" y="4443922"/>
                </a:cubicBezTo>
                <a:cubicBezTo>
                  <a:pt x="2374722" y="4443033"/>
                  <a:pt x="2379592" y="4437257"/>
                  <a:pt x="2384747" y="4436590"/>
                </a:cubicBezTo>
                <a:close/>
                <a:moveTo>
                  <a:pt x="6331366" y="4436368"/>
                </a:moveTo>
                <a:cubicBezTo>
                  <a:pt x="6340246" y="4446366"/>
                  <a:pt x="6323345" y="4455918"/>
                  <a:pt x="6313319" y="4452364"/>
                </a:cubicBezTo>
                <a:cubicBezTo>
                  <a:pt x="6309882" y="4451254"/>
                  <a:pt x="6307304" y="4448587"/>
                  <a:pt x="6306730" y="4444033"/>
                </a:cubicBezTo>
                <a:cubicBezTo>
                  <a:pt x="6318188" y="4441256"/>
                  <a:pt x="6321055" y="4435479"/>
                  <a:pt x="6331366" y="4436368"/>
                </a:cubicBezTo>
                <a:close/>
                <a:moveTo>
                  <a:pt x="6160060" y="4433925"/>
                </a:moveTo>
                <a:cubicBezTo>
                  <a:pt x="6165217" y="4434368"/>
                  <a:pt x="6169514" y="4436369"/>
                  <a:pt x="6172952" y="4438478"/>
                </a:cubicBezTo>
                <a:cubicBezTo>
                  <a:pt x="6171519" y="4439257"/>
                  <a:pt x="6180113" y="4445033"/>
                  <a:pt x="6179253" y="4451809"/>
                </a:cubicBezTo>
                <a:cubicBezTo>
                  <a:pt x="6178966" y="4454031"/>
                  <a:pt x="6177535" y="4456363"/>
                  <a:pt x="6174384" y="4458696"/>
                </a:cubicBezTo>
                <a:cubicBezTo>
                  <a:pt x="6166936" y="4463805"/>
                  <a:pt x="6156336" y="4467361"/>
                  <a:pt x="6143732" y="4457696"/>
                </a:cubicBezTo>
                <a:cubicBezTo>
                  <a:pt x="6140581" y="4456252"/>
                  <a:pt x="6142300" y="4456364"/>
                  <a:pt x="6140581" y="4455030"/>
                </a:cubicBezTo>
                <a:lnTo>
                  <a:pt x="6140008" y="4454697"/>
                </a:lnTo>
                <a:lnTo>
                  <a:pt x="6139148" y="4456364"/>
                </a:lnTo>
                <a:cubicBezTo>
                  <a:pt x="6138576" y="4456808"/>
                  <a:pt x="6137716" y="4456918"/>
                  <a:pt x="6136570" y="4456697"/>
                </a:cubicBezTo>
                <a:cubicBezTo>
                  <a:pt x="6136570" y="4456697"/>
                  <a:pt x="6133992" y="4456252"/>
                  <a:pt x="6131700" y="4455808"/>
                </a:cubicBezTo>
                <a:cubicBezTo>
                  <a:pt x="6129408" y="4455364"/>
                  <a:pt x="6127976" y="4456030"/>
                  <a:pt x="6127976" y="4456030"/>
                </a:cubicBezTo>
                <a:cubicBezTo>
                  <a:pt x="6125684" y="4455697"/>
                  <a:pt x="6124826" y="4454586"/>
                  <a:pt x="6125684" y="4452920"/>
                </a:cubicBezTo>
                <a:cubicBezTo>
                  <a:pt x="6125684" y="4452920"/>
                  <a:pt x="6129408" y="4452809"/>
                  <a:pt x="6129408" y="4452809"/>
                </a:cubicBezTo>
                <a:cubicBezTo>
                  <a:pt x="6131700" y="4453142"/>
                  <a:pt x="6133420" y="4453475"/>
                  <a:pt x="6135138" y="4453586"/>
                </a:cubicBezTo>
                <a:lnTo>
                  <a:pt x="6137716" y="4453697"/>
                </a:lnTo>
                <a:lnTo>
                  <a:pt x="6134278" y="4452031"/>
                </a:lnTo>
                <a:cubicBezTo>
                  <a:pt x="6135424" y="4450920"/>
                  <a:pt x="6136284" y="4449921"/>
                  <a:pt x="6136857" y="4449032"/>
                </a:cubicBezTo>
                <a:lnTo>
                  <a:pt x="6137716" y="4446365"/>
                </a:lnTo>
                <a:lnTo>
                  <a:pt x="6134278" y="4444366"/>
                </a:lnTo>
                <a:cubicBezTo>
                  <a:pt x="6135998" y="4443700"/>
                  <a:pt x="6138289" y="4441478"/>
                  <a:pt x="6139148" y="4442367"/>
                </a:cubicBezTo>
                <a:lnTo>
                  <a:pt x="6139722" y="4442589"/>
                </a:lnTo>
                <a:lnTo>
                  <a:pt x="6144018" y="4438812"/>
                </a:lnTo>
                <a:cubicBezTo>
                  <a:pt x="6149461" y="4434702"/>
                  <a:pt x="6154905" y="4433480"/>
                  <a:pt x="6160060" y="4433925"/>
                </a:cubicBezTo>
                <a:close/>
                <a:moveTo>
                  <a:pt x="2858560" y="4429925"/>
                </a:moveTo>
                <a:cubicBezTo>
                  <a:pt x="2860279" y="4429703"/>
                  <a:pt x="2861998" y="4429926"/>
                  <a:pt x="2864002" y="4430703"/>
                </a:cubicBezTo>
                <a:cubicBezTo>
                  <a:pt x="2869445" y="4432813"/>
                  <a:pt x="2872882" y="4436813"/>
                  <a:pt x="2873743" y="4441367"/>
                </a:cubicBezTo>
                <a:lnTo>
                  <a:pt x="2873456" y="4446588"/>
                </a:lnTo>
                <a:lnTo>
                  <a:pt x="2875174" y="4444922"/>
                </a:lnTo>
                <a:cubicBezTo>
                  <a:pt x="2876893" y="4443477"/>
                  <a:pt x="2878326" y="4442256"/>
                  <a:pt x="2879185" y="4442922"/>
                </a:cubicBezTo>
                <a:cubicBezTo>
                  <a:pt x="2879185" y="4442922"/>
                  <a:pt x="2877753" y="4444144"/>
                  <a:pt x="2876033" y="4445255"/>
                </a:cubicBezTo>
                <a:cubicBezTo>
                  <a:pt x="2874315" y="4446477"/>
                  <a:pt x="2874314" y="4446366"/>
                  <a:pt x="2876034" y="4447588"/>
                </a:cubicBezTo>
                <a:cubicBezTo>
                  <a:pt x="2875460" y="4448255"/>
                  <a:pt x="2874887" y="4448587"/>
                  <a:pt x="2874315" y="4448698"/>
                </a:cubicBezTo>
                <a:lnTo>
                  <a:pt x="2873170" y="4448698"/>
                </a:lnTo>
                <a:lnTo>
                  <a:pt x="2868873" y="4455141"/>
                </a:lnTo>
                <a:lnTo>
                  <a:pt x="2862284" y="4460807"/>
                </a:lnTo>
                <a:lnTo>
                  <a:pt x="2862283" y="4460918"/>
                </a:lnTo>
                <a:lnTo>
                  <a:pt x="2859418" y="4463028"/>
                </a:lnTo>
                <a:cubicBezTo>
                  <a:pt x="2849965" y="4469138"/>
                  <a:pt x="2841658" y="4470249"/>
                  <a:pt x="2841658" y="4470249"/>
                </a:cubicBezTo>
                <a:cubicBezTo>
                  <a:pt x="2827621" y="4463695"/>
                  <a:pt x="2831346" y="4454586"/>
                  <a:pt x="2837361" y="4446810"/>
                </a:cubicBezTo>
                <a:lnTo>
                  <a:pt x="2835642" y="4446143"/>
                </a:lnTo>
                <a:cubicBezTo>
                  <a:pt x="2834496" y="4445699"/>
                  <a:pt x="2833924" y="4445255"/>
                  <a:pt x="2833924" y="4445255"/>
                </a:cubicBezTo>
                <a:cubicBezTo>
                  <a:pt x="2834782" y="4443699"/>
                  <a:pt x="2834782" y="4443699"/>
                  <a:pt x="2835355" y="4444700"/>
                </a:cubicBezTo>
                <a:cubicBezTo>
                  <a:pt x="2837362" y="4444699"/>
                  <a:pt x="2837934" y="4444922"/>
                  <a:pt x="2838220" y="4445143"/>
                </a:cubicBezTo>
                <a:lnTo>
                  <a:pt x="2838793" y="4445366"/>
                </a:lnTo>
                <a:lnTo>
                  <a:pt x="2843663" y="4439701"/>
                </a:lnTo>
                <a:cubicBezTo>
                  <a:pt x="2847960" y="4435147"/>
                  <a:pt x="2853117" y="4430592"/>
                  <a:pt x="2858560" y="4429925"/>
                </a:cubicBezTo>
                <a:close/>
                <a:moveTo>
                  <a:pt x="2746838" y="4429259"/>
                </a:moveTo>
                <a:cubicBezTo>
                  <a:pt x="2748557" y="4428926"/>
                  <a:pt x="2750563" y="4429037"/>
                  <a:pt x="2752568" y="4429370"/>
                </a:cubicBezTo>
                <a:cubicBezTo>
                  <a:pt x="2759157" y="4430481"/>
                  <a:pt x="2767177" y="4433925"/>
                  <a:pt x="2769469" y="4436257"/>
                </a:cubicBezTo>
                <a:cubicBezTo>
                  <a:pt x="2768896" y="4440146"/>
                  <a:pt x="2766317" y="4442367"/>
                  <a:pt x="2762880" y="4443256"/>
                </a:cubicBezTo>
                <a:cubicBezTo>
                  <a:pt x="2760589" y="4443922"/>
                  <a:pt x="2758010" y="4443922"/>
                  <a:pt x="2755145" y="4443366"/>
                </a:cubicBezTo>
                <a:lnTo>
                  <a:pt x="2752282" y="4442145"/>
                </a:lnTo>
                <a:lnTo>
                  <a:pt x="2755719" y="4445143"/>
                </a:lnTo>
                <a:lnTo>
                  <a:pt x="2759442" y="4445366"/>
                </a:lnTo>
                <a:lnTo>
                  <a:pt x="2757724" y="4449365"/>
                </a:lnTo>
                <a:lnTo>
                  <a:pt x="2757437" y="4453142"/>
                </a:lnTo>
                <a:cubicBezTo>
                  <a:pt x="2756579" y="4454031"/>
                  <a:pt x="2754859" y="4454919"/>
                  <a:pt x="2752282" y="4455475"/>
                </a:cubicBezTo>
                <a:lnTo>
                  <a:pt x="2750275" y="4455030"/>
                </a:lnTo>
                <a:lnTo>
                  <a:pt x="2743401" y="4457141"/>
                </a:lnTo>
                <a:lnTo>
                  <a:pt x="2741968" y="4459141"/>
                </a:lnTo>
                <a:lnTo>
                  <a:pt x="2744833" y="4462806"/>
                </a:lnTo>
                <a:lnTo>
                  <a:pt x="2747411" y="4464695"/>
                </a:lnTo>
                <a:lnTo>
                  <a:pt x="2751422" y="4464028"/>
                </a:lnTo>
                <a:cubicBezTo>
                  <a:pt x="2757437" y="4464917"/>
                  <a:pt x="2761448" y="4462584"/>
                  <a:pt x="2767177" y="4463473"/>
                </a:cubicBezTo>
                <a:cubicBezTo>
                  <a:pt x="2767177" y="4463473"/>
                  <a:pt x="2767177" y="4463473"/>
                  <a:pt x="2766032" y="4465027"/>
                </a:cubicBezTo>
                <a:cubicBezTo>
                  <a:pt x="2761734" y="4465027"/>
                  <a:pt x="2757724" y="4466138"/>
                  <a:pt x="2753713" y="4467027"/>
                </a:cubicBezTo>
                <a:lnTo>
                  <a:pt x="2751135" y="4467361"/>
                </a:lnTo>
                <a:lnTo>
                  <a:pt x="2754287" y="4469471"/>
                </a:lnTo>
                <a:cubicBezTo>
                  <a:pt x="2761162" y="4473470"/>
                  <a:pt x="2767750" y="4477358"/>
                  <a:pt x="2771187" y="4483801"/>
                </a:cubicBezTo>
                <a:lnTo>
                  <a:pt x="2772620" y="4489355"/>
                </a:lnTo>
                <a:lnTo>
                  <a:pt x="2778922" y="4485690"/>
                </a:lnTo>
                <a:cubicBezTo>
                  <a:pt x="2781214" y="4484356"/>
                  <a:pt x="2783219" y="4483135"/>
                  <a:pt x="2784938" y="4481912"/>
                </a:cubicBezTo>
                <a:lnTo>
                  <a:pt x="2796684" y="4475581"/>
                </a:lnTo>
                <a:lnTo>
                  <a:pt x="2798688" y="4472359"/>
                </a:lnTo>
                <a:lnTo>
                  <a:pt x="2799835" y="4471804"/>
                </a:lnTo>
                <a:lnTo>
                  <a:pt x="2799834" y="4470582"/>
                </a:lnTo>
                <a:cubicBezTo>
                  <a:pt x="2799834" y="4470582"/>
                  <a:pt x="2799834" y="4470582"/>
                  <a:pt x="2801267" y="4470138"/>
                </a:cubicBezTo>
                <a:lnTo>
                  <a:pt x="2800980" y="4471249"/>
                </a:lnTo>
                <a:lnTo>
                  <a:pt x="2802986" y="4470248"/>
                </a:lnTo>
                <a:cubicBezTo>
                  <a:pt x="2807569" y="4469360"/>
                  <a:pt x="2812438" y="4471471"/>
                  <a:pt x="2814444" y="4475025"/>
                </a:cubicBezTo>
                <a:cubicBezTo>
                  <a:pt x="2815589" y="4477136"/>
                  <a:pt x="2815589" y="4479691"/>
                  <a:pt x="2813871" y="4482467"/>
                </a:cubicBezTo>
                <a:cubicBezTo>
                  <a:pt x="2810433" y="4483690"/>
                  <a:pt x="2802699" y="4482690"/>
                  <a:pt x="2798116" y="4480801"/>
                </a:cubicBezTo>
                <a:lnTo>
                  <a:pt x="2797542" y="4480469"/>
                </a:lnTo>
                <a:lnTo>
                  <a:pt x="2797543" y="4480691"/>
                </a:lnTo>
                <a:cubicBezTo>
                  <a:pt x="2793818" y="4484467"/>
                  <a:pt x="2785797" y="4489021"/>
                  <a:pt x="2784651" y="4488578"/>
                </a:cubicBezTo>
                <a:cubicBezTo>
                  <a:pt x="2783506" y="4489688"/>
                  <a:pt x="2782359" y="4489022"/>
                  <a:pt x="2781214" y="4490132"/>
                </a:cubicBezTo>
                <a:cubicBezTo>
                  <a:pt x="2781214" y="4490132"/>
                  <a:pt x="2780354" y="4491021"/>
                  <a:pt x="2777776" y="4491466"/>
                </a:cubicBezTo>
                <a:cubicBezTo>
                  <a:pt x="2775484" y="4491910"/>
                  <a:pt x="2772907" y="4492465"/>
                  <a:pt x="2771188" y="4490132"/>
                </a:cubicBezTo>
                <a:lnTo>
                  <a:pt x="2771474" y="4489910"/>
                </a:lnTo>
                <a:lnTo>
                  <a:pt x="2765458" y="4489577"/>
                </a:lnTo>
                <a:cubicBezTo>
                  <a:pt x="2761449" y="4488800"/>
                  <a:pt x="2757438" y="4487245"/>
                  <a:pt x="2753428" y="4485245"/>
                </a:cubicBezTo>
                <a:lnTo>
                  <a:pt x="2744261" y="4478691"/>
                </a:lnTo>
                <a:lnTo>
                  <a:pt x="2742827" y="4478358"/>
                </a:lnTo>
                <a:lnTo>
                  <a:pt x="2735666" y="4474136"/>
                </a:lnTo>
                <a:lnTo>
                  <a:pt x="2735666" y="4474358"/>
                </a:lnTo>
                <a:cubicBezTo>
                  <a:pt x="2733947" y="4478802"/>
                  <a:pt x="2731656" y="4483801"/>
                  <a:pt x="2730796" y="4485911"/>
                </a:cubicBezTo>
                <a:cubicBezTo>
                  <a:pt x="2729364" y="4486356"/>
                  <a:pt x="2729078" y="4486467"/>
                  <a:pt x="2729078" y="4486467"/>
                </a:cubicBezTo>
                <a:cubicBezTo>
                  <a:pt x="2727359" y="4486356"/>
                  <a:pt x="2726500" y="4485579"/>
                  <a:pt x="2726499" y="4484356"/>
                </a:cubicBezTo>
                <a:cubicBezTo>
                  <a:pt x="2726213" y="4483134"/>
                  <a:pt x="2726785" y="4481357"/>
                  <a:pt x="2727646" y="4479246"/>
                </a:cubicBezTo>
                <a:cubicBezTo>
                  <a:pt x="2728504" y="4477136"/>
                  <a:pt x="2730223" y="4474803"/>
                  <a:pt x="2731943" y="4472803"/>
                </a:cubicBezTo>
                <a:lnTo>
                  <a:pt x="2732801" y="4471915"/>
                </a:lnTo>
                <a:lnTo>
                  <a:pt x="2719910" y="4462695"/>
                </a:lnTo>
                <a:lnTo>
                  <a:pt x="2715614" y="4462806"/>
                </a:lnTo>
                <a:lnTo>
                  <a:pt x="2715613" y="4463140"/>
                </a:lnTo>
                <a:cubicBezTo>
                  <a:pt x="2713322" y="4465806"/>
                  <a:pt x="2710170" y="4466805"/>
                  <a:pt x="2706447" y="4467472"/>
                </a:cubicBezTo>
                <a:lnTo>
                  <a:pt x="2701004" y="4468138"/>
                </a:lnTo>
                <a:lnTo>
                  <a:pt x="2701290" y="4468250"/>
                </a:lnTo>
                <a:cubicBezTo>
                  <a:pt x="2701864" y="4468693"/>
                  <a:pt x="2702149" y="4469471"/>
                  <a:pt x="2701863" y="4470471"/>
                </a:cubicBezTo>
                <a:cubicBezTo>
                  <a:pt x="2699859" y="4473803"/>
                  <a:pt x="2695847" y="4475691"/>
                  <a:pt x="2691551" y="4476913"/>
                </a:cubicBezTo>
                <a:lnTo>
                  <a:pt x="2684102" y="4478024"/>
                </a:lnTo>
                <a:lnTo>
                  <a:pt x="2688399" y="4487689"/>
                </a:lnTo>
                <a:cubicBezTo>
                  <a:pt x="2690691" y="4495242"/>
                  <a:pt x="2691264" y="4503351"/>
                  <a:pt x="2695561" y="4512348"/>
                </a:cubicBezTo>
                <a:cubicBezTo>
                  <a:pt x="2676941" y="4518904"/>
                  <a:pt x="2680378" y="4527790"/>
                  <a:pt x="2676942" y="4535676"/>
                </a:cubicBezTo>
                <a:cubicBezTo>
                  <a:pt x="2661472" y="4535565"/>
                  <a:pt x="2646289" y="4543896"/>
                  <a:pt x="2629960" y="4547340"/>
                </a:cubicBezTo>
                <a:cubicBezTo>
                  <a:pt x="2620507" y="4543452"/>
                  <a:pt x="2611054" y="4540786"/>
                  <a:pt x="2601887" y="4538120"/>
                </a:cubicBezTo>
                <a:lnTo>
                  <a:pt x="2590715" y="4534455"/>
                </a:lnTo>
                <a:lnTo>
                  <a:pt x="2585845" y="4539453"/>
                </a:lnTo>
                <a:cubicBezTo>
                  <a:pt x="2582694" y="4538231"/>
                  <a:pt x="2581548" y="4536898"/>
                  <a:pt x="2581549" y="4535455"/>
                </a:cubicBezTo>
                <a:lnTo>
                  <a:pt x="2583553" y="4532233"/>
                </a:lnTo>
                <a:lnTo>
                  <a:pt x="2573527" y="4529012"/>
                </a:lnTo>
                <a:lnTo>
                  <a:pt x="2568084" y="4517347"/>
                </a:lnTo>
                <a:lnTo>
                  <a:pt x="2559204" y="4519347"/>
                </a:lnTo>
                <a:cubicBezTo>
                  <a:pt x="2558058" y="4516237"/>
                  <a:pt x="2558058" y="4513904"/>
                  <a:pt x="2558917" y="4512127"/>
                </a:cubicBezTo>
                <a:lnTo>
                  <a:pt x="2562641" y="4509350"/>
                </a:lnTo>
                <a:lnTo>
                  <a:pt x="2559205" y="4504462"/>
                </a:lnTo>
                <a:cubicBezTo>
                  <a:pt x="2553188" y="4496131"/>
                  <a:pt x="2548891" y="4487800"/>
                  <a:pt x="2553761" y="4479579"/>
                </a:cubicBezTo>
                <a:lnTo>
                  <a:pt x="2554907" y="4479246"/>
                </a:lnTo>
                <a:lnTo>
                  <a:pt x="2560923" y="4472581"/>
                </a:lnTo>
                <a:lnTo>
                  <a:pt x="2567798" y="4470804"/>
                </a:lnTo>
                <a:lnTo>
                  <a:pt x="2570089" y="4468693"/>
                </a:lnTo>
                <a:cubicBezTo>
                  <a:pt x="2572954" y="4464917"/>
                  <a:pt x="2574673" y="4461029"/>
                  <a:pt x="2578971" y="4457475"/>
                </a:cubicBezTo>
                <a:cubicBezTo>
                  <a:pt x="2592434" y="4454253"/>
                  <a:pt x="2609049" y="4452031"/>
                  <a:pt x="2625663" y="4452809"/>
                </a:cubicBezTo>
                <a:cubicBezTo>
                  <a:pt x="2633971" y="4453253"/>
                  <a:pt x="2642278" y="4454363"/>
                  <a:pt x="2650013" y="4456474"/>
                </a:cubicBezTo>
                <a:lnTo>
                  <a:pt x="2668348" y="4464361"/>
                </a:lnTo>
                <a:lnTo>
                  <a:pt x="2666056" y="4462251"/>
                </a:lnTo>
                <a:cubicBezTo>
                  <a:pt x="2663191" y="4459363"/>
                  <a:pt x="2660613" y="4455697"/>
                  <a:pt x="2663477" y="4450032"/>
                </a:cubicBezTo>
                <a:cubicBezTo>
                  <a:pt x="2667487" y="4451254"/>
                  <a:pt x="2673790" y="4444589"/>
                  <a:pt x="2680092" y="4446588"/>
                </a:cubicBezTo>
                <a:cubicBezTo>
                  <a:pt x="2695275" y="4449921"/>
                  <a:pt x="2697852" y="4453031"/>
                  <a:pt x="2697852" y="4458252"/>
                </a:cubicBezTo>
                <a:lnTo>
                  <a:pt x="2697566" y="4460139"/>
                </a:lnTo>
                <a:lnTo>
                  <a:pt x="2698139" y="4460140"/>
                </a:lnTo>
                <a:lnTo>
                  <a:pt x="2701577" y="4459807"/>
                </a:lnTo>
                <a:lnTo>
                  <a:pt x="2699572" y="4458585"/>
                </a:lnTo>
                <a:lnTo>
                  <a:pt x="2704155" y="4456474"/>
                </a:lnTo>
                <a:lnTo>
                  <a:pt x="2708165" y="4453586"/>
                </a:lnTo>
                <a:lnTo>
                  <a:pt x="2711030" y="4453253"/>
                </a:lnTo>
                <a:lnTo>
                  <a:pt x="2721629" y="4448254"/>
                </a:lnTo>
                <a:lnTo>
                  <a:pt x="2729077" y="4447031"/>
                </a:lnTo>
                <a:lnTo>
                  <a:pt x="2729078" y="4446810"/>
                </a:lnTo>
                <a:cubicBezTo>
                  <a:pt x="2727646" y="4445033"/>
                  <a:pt x="2726785" y="4443033"/>
                  <a:pt x="2726500" y="4440590"/>
                </a:cubicBezTo>
                <a:cubicBezTo>
                  <a:pt x="2728791" y="4440812"/>
                  <a:pt x="2729077" y="4439146"/>
                  <a:pt x="2729078" y="4437479"/>
                </a:cubicBezTo>
                <a:cubicBezTo>
                  <a:pt x="2732228" y="4436146"/>
                  <a:pt x="2735953" y="4436035"/>
                  <a:pt x="2739676" y="4436702"/>
                </a:cubicBezTo>
                <a:lnTo>
                  <a:pt x="2747411" y="4439589"/>
                </a:lnTo>
                <a:lnTo>
                  <a:pt x="2744260" y="4435257"/>
                </a:lnTo>
                <a:cubicBezTo>
                  <a:pt x="2743973" y="4433369"/>
                  <a:pt x="2744547" y="4431259"/>
                  <a:pt x="2746838" y="4429259"/>
                </a:cubicBezTo>
                <a:close/>
                <a:moveTo>
                  <a:pt x="6202170" y="4429258"/>
                </a:moveTo>
                <a:cubicBezTo>
                  <a:pt x="6203030" y="4429148"/>
                  <a:pt x="6204462" y="4429148"/>
                  <a:pt x="6206754" y="4429371"/>
                </a:cubicBezTo>
                <a:cubicBezTo>
                  <a:pt x="6205036" y="4430369"/>
                  <a:pt x="6205036" y="4430369"/>
                  <a:pt x="6206754" y="4431591"/>
                </a:cubicBezTo>
                <a:cubicBezTo>
                  <a:pt x="6206754" y="4431591"/>
                  <a:pt x="6206754" y="4431591"/>
                  <a:pt x="6208473" y="4431703"/>
                </a:cubicBezTo>
                <a:cubicBezTo>
                  <a:pt x="6208186" y="4432814"/>
                  <a:pt x="6206754" y="4432702"/>
                  <a:pt x="6206754" y="4433813"/>
                </a:cubicBezTo>
                <a:cubicBezTo>
                  <a:pt x="6206754" y="4433813"/>
                  <a:pt x="6205036" y="4433702"/>
                  <a:pt x="6205036" y="4433702"/>
                </a:cubicBezTo>
                <a:cubicBezTo>
                  <a:pt x="6205037" y="4434258"/>
                  <a:pt x="6205037" y="4434258"/>
                  <a:pt x="6204462" y="4433925"/>
                </a:cubicBezTo>
                <a:cubicBezTo>
                  <a:pt x="6204176" y="4433591"/>
                  <a:pt x="6203316" y="4433036"/>
                  <a:pt x="6201598" y="4432369"/>
                </a:cubicBezTo>
                <a:cubicBezTo>
                  <a:pt x="6200166" y="4431147"/>
                  <a:pt x="6198446" y="4430926"/>
                  <a:pt x="6200166" y="4430037"/>
                </a:cubicBezTo>
                <a:cubicBezTo>
                  <a:pt x="6201025" y="4429481"/>
                  <a:pt x="6201313" y="4429259"/>
                  <a:pt x="6202170" y="4429258"/>
                </a:cubicBezTo>
                <a:close/>
                <a:moveTo>
                  <a:pt x="1680045" y="4429258"/>
                </a:moveTo>
                <a:cubicBezTo>
                  <a:pt x="1681763" y="4428926"/>
                  <a:pt x="1683483" y="4429037"/>
                  <a:pt x="1685775" y="4429370"/>
                </a:cubicBezTo>
                <a:cubicBezTo>
                  <a:pt x="1692364" y="4430481"/>
                  <a:pt x="1700385" y="4433925"/>
                  <a:pt x="1702675" y="4436257"/>
                </a:cubicBezTo>
                <a:cubicBezTo>
                  <a:pt x="1702102" y="4440145"/>
                  <a:pt x="1699524" y="4442367"/>
                  <a:pt x="1696087" y="4443255"/>
                </a:cubicBezTo>
                <a:cubicBezTo>
                  <a:pt x="1686633" y="4446032"/>
                  <a:pt x="1671165" y="4437368"/>
                  <a:pt x="1680045" y="4429258"/>
                </a:cubicBezTo>
                <a:close/>
                <a:moveTo>
                  <a:pt x="5428717" y="4428926"/>
                </a:moveTo>
                <a:cubicBezTo>
                  <a:pt x="5439030" y="4427815"/>
                  <a:pt x="5447051" y="4433702"/>
                  <a:pt x="5454785" y="4441256"/>
                </a:cubicBezTo>
                <a:lnTo>
                  <a:pt x="5459655" y="4446477"/>
                </a:lnTo>
                <a:lnTo>
                  <a:pt x="5465957" y="4445811"/>
                </a:lnTo>
                <a:cubicBezTo>
                  <a:pt x="5465384" y="4449699"/>
                  <a:pt x="5458223" y="4456474"/>
                  <a:pt x="5449342" y="4458252"/>
                </a:cubicBezTo>
                <a:lnTo>
                  <a:pt x="5443326" y="4458252"/>
                </a:lnTo>
                <a:lnTo>
                  <a:pt x="5447624" y="4459806"/>
                </a:lnTo>
                <a:cubicBezTo>
                  <a:pt x="5449056" y="4461362"/>
                  <a:pt x="5449915" y="4463251"/>
                  <a:pt x="5449915" y="4465138"/>
                </a:cubicBezTo>
                <a:cubicBezTo>
                  <a:pt x="5449342" y="4464028"/>
                  <a:pt x="5449342" y="4464140"/>
                  <a:pt x="5449342" y="4464140"/>
                </a:cubicBezTo>
                <a:cubicBezTo>
                  <a:pt x="5447051" y="4463584"/>
                  <a:pt x="5447624" y="4464583"/>
                  <a:pt x="5446191" y="4465138"/>
                </a:cubicBezTo>
                <a:cubicBezTo>
                  <a:pt x="5446191" y="4465138"/>
                  <a:pt x="5447624" y="4464583"/>
                  <a:pt x="5446764" y="4466249"/>
                </a:cubicBezTo>
                <a:cubicBezTo>
                  <a:pt x="5446191" y="4465138"/>
                  <a:pt x="5444473" y="4465694"/>
                  <a:pt x="5443040" y="4466250"/>
                </a:cubicBezTo>
                <a:cubicBezTo>
                  <a:pt x="5438457" y="4465139"/>
                  <a:pt x="5433588" y="4462917"/>
                  <a:pt x="5433873" y="4460251"/>
                </a:cubicBezTo>
                <a:cubicBezTo>
                  <a:pt x="5434733" y="4458696"/>
                  <a:pt x="5436165" y="4457918"/>
                  <a:pt x="5437597" y="4457585"/>
                </a:cubicBezTo>
                <a:lnTo>
                  <a:pt x="5440176" y="4457696"/>
                </a:lnTo>
                <a:lnTo>
                  <a:pt x="5441321" y="4456141"/>
                </a:lnTo>
                <a:lnTo>
                  <a:pt x="5440462" y="4456364"/>
                </a:lnTo>
                <a:cubicBezTo>
                  <a:pt x="5422989" y="4458141"/>
                  <a:pt x="5417258" y="4445588"/>
                  <a:pt x="5413820" y="4434702"/>
                </a:cubicBezTo>
                <a:cubicBezTo>
                  <a:pt x="5419264" y="4431147"/>
                  <a:pt x="5424420" y="4429371"/>
                  <a:pt x="5428717" y="4428926"/>
                </a:cubicBezTo>
                <a:close/>
                <a:moveTo>
                  <a:pt x="6021698" y="4426593"/>
                </a:moveTo>
                <a:cubicBezTo>
                  <a:pt x="6024563" y="4426926"/>
                  <a:pt x="6025995" y="4427593"/>
                  <a:pt x="6026568" y="4428814"/>
                </a:cubicBezTo>
                <a:cubicBezTo>
                  <a:pt x="6026854" y="4429925"/>
                  <a:pt x="6026282" y="4431369"/>
                  <a:pt x="6025422" y="4432925"/>
                </a:cubicBezTo>
                <a:cubicBezTo>
                  <a:pt x="6023417" y="4436146"/>
                  <a:pt x="6019693" y="4436146"/>
                  <a:pt x="6019693" y="4436146"/>
                </a:cubicBezTo>
                <a:cubicBezTo>
                  <a:pt x="6013964" y="4435479"/>
                  <a:pt x="6010240" y="4432813"/>
                  <a:pt x="6011672" y="4428592"/>
                </a:cubicBezTo>
                <a:cubicBezTo>
                  <a:pt x="6013964" y="4426482"/>
                  <a:pt x="6017974" y="4426593"/>
                  <a:pt x="6021698" y="4426593"/>
                </a:cubicBezTo>
                <a:close/>
                <a:moveTo>
                  <a:pt x="5836069" y="4426259"/>
                </a:moveTo>
                <a:cubicBezTo>
                  <a:pt x="5836356" y="4426260"/>
                  <a:pt x="5836928" y="4426593"/>
                  <a:pt x="5836928" y="4427148"/>
                </a:cubicBezTo>
                <a:cubicBezTo>
                  <a:pt x="5840366" y="4428371"/>
                  <a:pt x="5837215" y="4430481"/>
                  <a:pt x="5835496" y="4431481"/>
                </a:cubicBezTo>
                <a:cubicBezTo>
                  <a:pt x="5835210" y="4428148"/>
                  <a:pt x="5833491" y="4427037"/>
                  <a:pt x="5835210" y="4427037"/>
                </a:cubicBezTo>
                <a:cubicBezTo>
                  <a:pt x="5835211" y="4426482"/>
                  <a:pt x="5835496" y="4426259"/>
                  <a:pt x="5836069" y="4426259"/>
                </a:cubicBezTo>
                <a:close/>
                <a:moveTo>
                  <a:pt x="2119767" y="4426038"/>
                </a:moveTo>
                <a:cubicBezTo>
                  <a:pt x="2126929" y="4427371"/>
                  <a:pt x="2125497" y="4433147"/>
                  <a:pt x="2121201" y="4433925"/>
                </a:cubicBezTo>
                <a:cubicBezTo>
                  <a:pt x="2119767" y="4434146"/>
                  <a:pt x="2117762" y="4433925"/>
                  <a:pt x="2116043" y="4432702"/>
                </a:cubicBezTo>
                <a:cubicBezTo>
                  <a:pt x="2116330" y="4430148"/>
                  <a:pt x="2117476" y="4428815"/>
                  <a:pt x="2119767" y="4426038"/>
                </a:cubicBezTo>
                <a:close/>
                <a:moveTo>
                  <a:pt x="2380165" y="4425927"/>
                </a:moveTo>
                <a:cubicBezTo>
                  <a:pt x="2380164" y="4429259"/>
                  <a:pt x="2381882" y="4430481"/>
                  <a:pt x="2380165" y="4430370"/>
                </a:cubicBezTo>
                <a:cubicBezTo>
                  <a:pt x="2380164" y="4431481"/>
                  <a:pt x="2378445" y="4431259"/>
                  <a:pt x="2378446" y="4430148"/>
                </a:cubicBezTo>
                <a:cubicBezTo>
                  <a:pt x="2375007" y="4428815"/>
                  <a:pt x="2378445" y="4426926"/>
                  <a:pt x="2380165" y="4425927"/>
                </a:cubicBezTo>
                <a:close/>
                <a:moveTo>
                  <a:pt x="2168180" y="4425704"/>
                </a:moveTo>
                <a:cubicBezTo>
                  <a:pt x="2174769" y="4424372"/>
                  <a:pt x="2186800" y="4429259"/>
                  <a:pt x="2189378" y="4432370"/>
                </a:cubicBezTo>
                <a:cubicBezTo>
                  <a:pt x="2187946" y="4436257"/>
                  <a:pt x="2184795" y="4438478"/>
                  <a:pt x="2181357" y="4439479"/>
                </a:cubicBezTo>
                <a:cubicBezTo>
                  <a:pt x="2171332" y="4442367"/>
                  <a:pt x="2157294" y="4434147"/>
                  <a:pt x="2168180" y="4425704"/>
                </a:cubicBezTo>
                <a:close/>
                <a:moveTo>
                  <a:pt x="2691264" y="4425593"/>
                </a:moveTo>
                <a:cubicBezTo>
                  <a:pt x="2698425" y="4430481"/>
                  <a:pt x="2693842" y="4438479"/>
                  <a:pt x="2685248" y="4438257"/>
                </a:cubicBezTo>
                <a:cubicBezTo>
                  <a:pt x="2683244" y="4437035"/>
                  <a:pt x="2679806" y="4435702"/>
                  <a:pt x="2678087" y="4433370"/>
                </a:cubicBezTo>
                <a:cubicBezTo>
                  <a:pt x="2679232" y="4427593"/>
                  <a:pt x="2684390" y="4425371"/>
                  <a:pt x="2691264" y="4425593"/>
                </a:cubicBezTo>
                <a:close/>
                <a:moveTo>
                  <a:pt x="1624471" y="4425593"/>
                </a:moveTo>
                <a:cubicBezTo>
                  <a:pt x="1631632" y="4430481"/>
                  <a:pt x="1627049" y="4438479"/>
                  <a:pt x="1618456" y="4438257"/>
                </a:cubicBezTo>
                <a:cubicBezTo>
                  <a:pt x="1616451" y="4437035"/>
                  <a:pt x="1613013" y="4435702"/>
                  <a:pt x="1611294" y="4433369"/>
                </a:cubicBezTo>
                <a:cubicBezTo>
                  <a:pt x="1612439" y="4427593"/>
                  <a:pt x="1617596" y="4425371"/>
                  <a:pt x="1624471" y="4425593"/>
                </a:cubicBezTo>
                <a:close/>
                <a:moveTo>
                  <a:pt x="7004558" y="4425260"/>
                </a:moveTo>
                <a:cubicBezTo>
                  <a:pt x="7007995" y="4425704"/>
                  <a:pt x="7011719" y="4428259"/>
                  <a:pt x="7015443" y="4434591"/>
                </a:cubicBezTo>
                <a:cubicBezTo>
                  <a:pt x="7006276" y="4440256"/>
                  <a:pt x="7000834" y="4441256"/>
                  <a:pt x="6997682" y="4439923"/>
                </a:cubicBezTo>
                <a:cubicBezTo>
                  <a:pt x="6991953" y="4437480"/>
                  <a:pt x="6995104" y="4427260"/>
                  <a:pt x="7001692" y="4425371"/>
                </a:cubicBezTo>
                <a:cubicBezTo>
                  <a:pt x="7002552" y="4425149"/>
                  <a:pt x="7003698" y="4425039"/>
                  <a:pt x="7004558" y="4425260"/>
                </a:cubicBezTo>
                <a:close/>
                <a:moveTo>
                  <a:pt x="2641705" y="4424037"/>
                </a:moveTo>
                <a:cubicBezTo>
                  <a:pt x="2643997" y="4423816"/>
                  <a:pt x="2646289" y="4424038"/>
                  <a:pt x="2648294" y="4424372"/>
                </a:cubicBezTo>
                <a:cubicBezTo>
                  <a:pt x="2660900" y="4426482"/>
                  <a:pt x="2670065" y="4436146"/>
                  <a:pt x="2673790" y="4442367"/>
                </a:cubicBezTo>
                <a:cubicBezTo>
                  <a:pt x="2666628" y="4440701"/>
                  <a:pt x="2659181" y="4439145"/>
                  <a:pt x="2652592" y="4436702"/>
                </a:cubicBezTo>
                <a:cubicBezTo>
                  <a:pt x="2645716" y="4434258"/>
                  <a:pt x="2639700" y="4430925"/>
                  <a:pt x="2634831" y="4425260"/>
                </a:cubicBezTo>
                <a:cubicBezTo>
                  <a:pt x="2637122" y="4424481"/>
                  <a:pt x="2639414" y="4424149"/>
                  <a:pt x="2641705" y="4424037"/>
                </a:cubicBezTo>
                <a:close/>
                <a:moveTo>
                  <a:pt x="5568512" y="4422483"/>
                </a:moveTo>
                <a:cubicBezTo>
                  <a:pt x="5570231" y="4431814"/>
                  <a:pt x="5567652" y="4443478"/>
                  <a:pt x="5566793" y="4446143"/>
                </a:cubicBezTo>
                <a:cubicBezTo>
                  <a:pt x="5566506" y="4447477"/>
                  <a:pt x="5565933" y="4448143"/>
                  <a:pt x="5564788" y="4448586"/>
                </a:cubicBezTo>
                <a:cubicBezTo>
                  <a:pt x="5563928" y="4448921"/>
                  <a:pt x="5562496" y="4449031"/>
                  <a:pt x="5560777" y="4448809"/>
                </a:cubicBezTo>
                <a:cubicBezTo>
                  <a:pt x="5554188" y="4445588"/>
                  <a:pt x="5557340" y="4440034"/>
                  <a:pt x="5556766" y="4434035"/>
                </a:cubicBezTo>
                <a:cubicBezTo>
                  <a:pt x="5558485" y="4433591"/>
                  <a:pt x="5559631" y="4432036"/>
                  <a:pt x="5559058" y="4430926"/>
                </a:cubicBezTo>
                <a:cubicBezTo>
                  <a:pt x="5560490" y="4429481"/>
                  <a:pt x="5561350" y="4427926"/>
                  <a:pt x="5559918" y="4428370"/>
                </a:cubicBezTo>
                <a:cubicBezTo>
                  <a:pt x="5563355" y="4423816"/>
                  <a:pt x="5563069" y="4422594"/>
                  <a:pt x="5568512" y="4422483"/>
                </a:cubicBezTo>
                <a:close/>
                <a:moveTo>
                  <a:pt x="2732515" y="4421594"/>
                </a:moveTo>
                <a:cubicBezTo>
                  <a:pt x="2733089" y="4430148"/>
                  <a:pt x="2711316" y="4439701"/>
                  <a:pt x="2704156" y="4438479"/>
                </a:cubicBezTo>
                <a:cubicBezTo>
                  <a:pt x="2705302" y="4433591"/>
                  <a:pt x="2711889" y="4432258"/>
                  <a:pt x="2714181" y="4426815"/>
                </a:cubicBezTo>
                <a:cubicBezTo>
                  <a:pt x="2720198" y="4427037"/>
                  <a:pt x="2724207" y="4420928"/>
                  <a:pt x="2732515" y="4421594"/>
                </a:cubicBezTo>
                <a:close/>
                <a:moveTo>
                  <a:pt x="6267484" y="4420260"/>
                </a:moveTo>
                <a:cubicBezTo>
                  <a:pt x="6272068" y="4420705"/>
                  <a:pt x="6276652" y="4421150"/>
                  <a:pt x="6276365" y="4424372"/>
                </a:cubicBezTo>
                <a:cubicBezTo>
                  <a:pt x="6272641" y="4424816"/>
                  <a:pt x="6272641" y="4426371"/>
                  <a:pt x="6266912" y="4425038"/>
                </a:cubicBezTo>
                <a:cubicBezTo>
                  <a:pt x="6266912" y="4423483"/>
                  <a:pt x="6267198" y="4421816"/>
                  <a:pt x="6267484" y="4420260"/>
                </a:cubicBezTo>
                <a:close/>
                <a:moveTo>
                  <a:pt x="5696275" y="4420039"/>
                </a:moveTo>
                <a:cubicBezTo>
                  <a:pt x="5697707" y="4420595"/>
                  <a:pt x="5698853" y="4421372"/>
                  <a:pt x="5699999" y="4422594"/>
                </a:cubicBezTo>
                <a:cubicBezTo>
                  <a:pt x="5701144" y="4423816"/>
                  <a:pt x="5702290" y="4425482"/>
                  <a:pt x="5703150" y="4427814"/>
                </a:cubicBezTo>
                <a:cubicBezTo>
                  <a:pt x="5698853" y="4428482"/>
                  <a:pt x="5696561" y="4429481"/>
                  <a:pt x="5695129" y="4430815"/>
                </a:cubicBezTo>
                <a:lnTo>
                  <a:pt x="5693410" y="4434369"/>
                </a:lnTo>
                <a:lnTo>
                  <a:pt x="5697134" y="4433370"/>
                </a:lnTo>
                <a:cubicBezTo>
                  <a:pt x="5698853" y="4433147"/>
                  <a:pt x="5700572" y="4433370"/>
                  <a:pt x="5703150" y="4434147"/>
                </a:cubicBezTo>
                <a:cubicBezTo>
                  <a:pt x="5701431" y="4435147"/>
                  <a:pt x="5699426" y="4435813"/>
                  <a:pt x="5697420" y="4436034"/>
                </a:cubicBezTo>
                <a:lnTo>
                  <a:pt x="5693124" y="4435480"/>
                </a:lnTo>
                <a:lnTo>
                  <a:pt x="5691978" y="4439367"/>
                </a:lnTo>
                <a:cubicBezTo>
                  <a:pt x="5691118" y="4440590"/>
                  <a:pt x="5689400" y="4441701"/>
                  <a:pt x="5686248" y="4442256"/>
                </a:cubicBezTo>
                <a:cubicBezTo>
                  <a:pt x="5681092" y="4441590"/>
                  <a:pt x="5675076" y="4442145"/>
                  <a:pt x="5670493" y="4440035"/>
                </a:cubicBezTo>
                <a:cubicBezTo>
                  <a:pt x="5669060" y="4439367"/>
                  <a:pt x="5667628" y="4438368"/>
                  <a:pt x="5666482" y="4437035"/>
                </a:cubicBezTo>
                <a:cubicBezTo>
                  <a:pt x="5679373" y="4432036"/>
                  <a:pt x="5685962" y="4426038"/>
                  <a:pt x="5696275" y="4420039"/>
                </a:cubicBezTo>
                <a:close/>
                <a:moveTo>
                  <a:pt x="7229146" y="4419594"/>
                </a:moveTo>
                <a:cubicBezTo>
                  <a:pt x="7231437" y="4420039"/>
                  <a:pt x="7233156" y="4421261"/>
                  <a:pt x="7235161" y="4422594"/>
                </a:cubicBezTo>
                <a:cubicBezTo>
                  <a:pt x="7229432" y="4424816"/>
                  <a:pt x="7233729" y="4429037"/>
                  <a:pt x="7226280" y="4429148"/>
                </a:cubicBezTo>
                <a:cubicBezTo>
                  <a:pt x="7223130" y="4428147"/>
                  <a:pt x="7221124" y="4426038"/>
                  <a:pt x="7220552" y="4421817"/>
                </a:cubicBezTo>
                <a:cubicBezTo>
                  <a:pt x="7224276" y="4419595"/>
                  <a:pt x="7226854" y="4419151"/>
                  <a:pt x="7229146" y="4419594"/>
                </a:cubicBezTo>
                <a:close/>
                <a:moveTo>
                  <a:pt x="2776057" y="4418373"/>
                </a:moveTo>
                <a:cubicBezTo>
                  <a:pt x="2777204" y="4418484"/>
                  <a:pt x="2778636" y="4418928"/>
                  <a:pt x="2780068" y="4419817"/>
                </a:cubicBezTo>
                <a:cubicBezTo>
                  <a:pt x="2780068" y="4419817"/>
                  <a:pt x="2780068" y="4419817"/>
                  <a:pt x="2780068" y="4421039"/>
                </a:cubicBezTo>
                <a:cubicBezTo>
                  <a:pt x="2780642" y="4423372"/>
                  <a:pt x="2780927" y="4424482"/>
                  <a:pt x="2781214" y="4425593"/>
                </a:cubicBezTo>
                <a:cubicBezTo>
                  <a:pt x="2779782" y="4426926"/>
                  <a:pt x="2775198" y="4429371"/>
                  <a:pt x="2773193" y="4428260"/>
                </a:cubicBezTo>
                <a:cubicBezTo>
                  <a:pt x="2769469" y="4426038"/>
                  <a:pt x="2767177" y="4422706"/>
                  <a:pt x="2768610" y="4421483"/>
                </a:cubicBezTo>
                <a:cubicBezTo>
                  <a:pt x="2770614" y="4419594"/>
                  <a:pt x="2772906" y="4417707"/>
                  <a:pt x="2776057" y="4418373"/>
                </a:cubicBezTo>
                <a:close/>
                <a:moveTo>
                  <a:pt x="2954238" y="4417929"/>
                </a:moveTo>
                <a:lnTo>
                  <a:pt x="2945072" y="4419817"/>
                </a:lnTo>
                <a:lnTo>
                  <a:pt x="2951087" y="4424149"/>
                </a:lnTo>
                <a:cubicBezTo>
                  <a:pt x="2952519" y="4427148"/>
                  <a:pt x="2953093" y="4430814"/>
                  <a:pt x="2953952" y="4434480"/>
                </a:cubicBezTo>
                <a:lnTo>
                  <a:pt x="2955385" y="4437368"/>
                </a:lnTo>
                <a:lnTo>
                  <a:pt x="2957962" y="4439035"/>
                </a:lnTo>
                <a:lnTo>
                  <a:pt x="2966556" y="4442256"/>
                </a:lnTo>
                <a:lnTo>
                  <a:pt x="2967989" y="4440812"/>
                </a:lnTo>
                <a:lnTo>
                  <a:pt x="2969134" y="4441478"/>
                </a:lnTo>
                <a:lnTo>
                  <a:pt x="2969134" y="4441033"/>
                </a:lnTo>
                <a:lnTo>
                  <a:pt x="2969134" y="4439922"/>
                </a:lnTo>
                <a:lnTo>
                  <a:pt x="2969421" y="4439812"/>
                </a:lnTo>
                <a:lnTo>
                  <a:pt x="2969707" y="4438479"/>
                </a:lnTo>
                <a:cubicBezTo>
                  <a:pt x="2970854" y="4437368"/>
                  <a:pt x="2972285" y="4436257"/>
                  <a:pt x="2973431" y="4435257"/>
                </a:cubicBezTo>
                <a:lnTo>
                  <a:pt x="2974578" y="4433813"/>
                </a:lnTo>
                <a:lnTo>
                  <a:pt x="2968275" y="4427371"/>
                </a:lnTo>
                <a:cubicBezTo>
                  <a:pt x="2968275" y="4431147"/>
                  <a:pt x="2968275" y="4438701"/>
                  <a:pt x="2957103" y="4431147"/>
                </a:cubicBezTo>
                <a:cubicBezTo>
                  <a:pt x="2948795" y="4425482"/>
                  <a:pt x="2965411" y="4427371"/>
                  <a:pt x="2954238" y="4417929"/>
                </a:cubicBezTo>
                <a:close/>
                <a:moveTo>
                  <a:pt x="6038600" y="4417039"/>
                </a:moveTo>
                <a:cubicBezTo>
                  <a:pt x="6040605" y="4416929"/>
                  <a:pt x="6042610" y="4417262"/>
                  <a:pt x="6044329" y="4418151"/>
                </a:cubicBezTo>
                <a:cubicBezTo>
                  <a:pt x="6045188" y="4419817"/>
                  <a:pt x="6047480" y="4422039"/>
                  <a:pt x="6047480" y="4424705"/>
                </a:cubicBezTo>
                <a:cubicBezTo>
                  <a:pt x="6041750" y="4428815"/>
                  <a:pt x="6035734" y="4428815"/>
                  <a:pt x="6029432" y="4426038"/>
                </a:cubicBezTo>
                <a:cubicBezTo>
                  <a:pt x="6027428" y="4421150"/>
                  <a:pt x="6032584" y="4417262"/>
                  <a:pt x="6038600" y="4417039"/>
                </a:cubicBezTo>
                <a:close/>
                <a:moveTo>
                  <a:pt x="7022604" y="4416262"/>
                </a:moveTo>
                <a:cubicBezTo>
                  <a:pt x="7027474" y="4416818"/>
                  <a:pt x="7032344" y="4417262"/>
                  <a:pt x="7036928" y="4417817"/>
                </a:cubicBezTo>
                <a:cubicBezTo>
                  <a:pt x="7044091" y="4421817"/>
                  <a:pt x="7045236" y="4428037"/>
                  <a:pt x="7040938" y="4432147"/>
                </a:cubicBezTo>
                <a:cubicBezTo>
                  <a:pt x="7039505" y="4433481"/>
                  <a:pt x="7037787" y="4434591"/>
                  <a:pt x="7035209" y="4435257"/>
                </a:cubicBezTo>
                <a:cubicBezTo>
                  <a:pt x="7031772" y="4436146"/>
                  <a:pt x="7027474" y="4436257"/>
                  <a:pt x="7022032" y="4435369"/>
                </a:cubicBezTo>
                <a:cubicBezTo>
                  <a:pt x="7014010" y="4432036"/>
                  <a:pt x="7015156" y="4418817"/>
                  <a:pt x="7022604" y="4416262"/>
                </a:cubicBezTo>
                <a:close/>
                <a:moveTo>
                  <a:pt x="2476416" y="4416040"/>
                </a:moveTo>
                <a:cubicBezTo>
                  <a:pt x="2480714" y="4416040"/>
                  <a:pt x="2486155" y="4417928"/>
                  <a:pt x="2493031" y="4422816"/>
                </a:cubicBezTo>
                <a:cubicBezTo>
                  <a:pt x="2474983" y="4427037"/>
                  <a:pt x="2468108" y="4443700"/>
                  <a:pt x="2451493" y="4442256"/>
                </a:cubicBezTo>
                <a:cubicBezTo>
                  <a:pt x="2459514" y="4433813"/>
                  <a:pt x="2463525" y="4416151"/>
                  <a:pt x="2476416" y="4416040"/>
                </a:cubicBezTo>
                <a:close/>
                <a:moveTo>
                  <a:pt x="5889924" y="4415484"/>
                </a:moveTo>
                <a:cubicBezTo>
                  <a:pt x="5891357" y="4416818"/>
                  <a:pt x="5892789" y="4418151"/>
                  <a:pt x="5894794" y="4417039"/>
                </a:cubicBezTo>
                <a:cubicBezTo>
                  <a:pt x="5897086" y="4418928"/>
                  <a:pt x="5898806" y="4421150"/>
                  <a:pt x="5900238" y="4423594"/>
                </a:cubicBezTo>
                <a:cubicBezTo>
                  <a:pt x="5909404" y="4440256"/>
                  <a:pt x="5892216" y="4465471"/>
                  <a:pt x="5865288" y="4468138"/>
                </a:cubicBezTo>
                <a:cubicBezTo>
                  <a:pt x="5856122" y="4461695"/>
                  <a:pt x="5852970" y="4453808"/>
                  <a:pt x="5854116" y="4445922"/>
                </a:cubicBezTo>
                <a:cubicBezTo>
                  <a:pt x="5855836" y="4432925"/>
                  <a:pt x="5869872" y="4420372"/>
                  <a:pt x="5889924" y="4415484"/>
                </a:cubicBezTo>
                <a:close/>
                <a:moveTo>
                  <a:pt x="2829626" y="4412152"/>
                </a:moveTo>
                <a:cubicBezTo>
                  <a:pt x="2829626" y="4412152"/>
                  <a:pt x="2827908" y="4413263"/>
                  <a:pt x="2827907" y="4414374"/>
                </a:cubicBezTo>
                <a:cubicBezTo>
                  <a:pt x="2827907" y="4414374"/>
                  <a:pt x="2826475" y="4415484"/>
                  <a:pt x="2824756" y="4416595"/>
                </a:cubicBezTo>
                <a:cubicBezTo>
                  <a:pt x="2824756" y="4416595"/>
                  <a:pt x="2825043" y="4417817"/>
                  <a:pt x="2825043" y="4418928"/>
                </a:cubicBezTo>
                <a:lnTo>
                  <a:pt x="2821032" y="4422816"/>
                </a:lnTo>
                <a:lnTo>
                  <a:pt x="2822465" y="4422816"/>
                </a:lnTo>
                <a:cubicBezTo>
                  <a:pt x="2830200" y="4423483"/>
                  <a:pt x="2838507" y="4424816"/>
                  <a:pt x="2841658" y="4427815"/>
                </a:cubicBezTo>
                <a:cubicBezTo>
                  <a:pt x="2842803" y="4428814"/>
                  <a:pt x="2843090" y="4430148"/>
                  <a:pt x="2842803" y="4431592"/>
                </a:cubicBezTo>
                <a:cubicBezTo>
                  <a:pt x="2842230" y="4435813"/>
                  <a:pt x="2837934" y="4439478"/>
                  <a:pt x="2832204" y="4441811"/>
                </a:cubicBezTo>
                <a:lnTo>
                  <a:pt x="2825044" y="4443811"/>
                </a:lnTo>
                <a:lnTo>
                  <a:pt x="2827907" y="4444255"/>
                </a:lnTo>
                <a:cubicBezTo>
                  <a:pt x="2830773" y="4444589"/>
                  <a:pt x="2832777" y="4445033"/>
                  <a:pt x="2832204" y="4445922"/>
                </a:cubicBezTo>
                <a:cubicBezTo>
                  <a:pt x="2832204" y="4445922"/>
                  <a:pt x="2830199" y="4445366"/>
                  <a:pt x="2827908" y="4444811"/>
                </a:cubicBezTo>
                <a:cubicBezTo>
                  <a:pt x="2825616" y="4444255"/>
                  <a:pt x="2825617" y="4444366"/>
                  <a:pt x="2824470" y="4445922"/>
                </a:cubicBezTo>
                <a:cubicBezTo>
                  <a:pt x="2823610" y="4445699"/>
                  <a:pt x="2823037" y="4445477"/>
                  <a:pt x="2822464" y="4445143"/>
                </a:cubicBezTo>
                <a:lnTo>
                  <a:pt x="2821893" y="4444366"/>
                </a:lnTo>
                <a:lnTo>
                  <a:pt x="2811580" y="4444588"/>
                </a:lnTo>
                <a:lnTo>
                  <a:pt x="2800980" y="4442700"/>
                </a:lnTo>
                <a:lnTo>
                  <a:pt x="2796683" y="4441922"/>
                </a:lnTo>
                <a:lnTo>
                  <a:pt x="2785797" y="4437479"/>
                </a:lnTo>
                <a:lnTo>
                  <a:pt x="2786370" y="4438034"/>
                </a:lnTo>
                <a:cubicBezTo>
                  <a:pt x="2787802" y="4440812"/>
                  <a:pt x="2786084" y="4444033"/>
                  <a:pt x="2782359" y="4446033"/>
                </a:cubicBezTo>
                <a:lnTo>
                  <a:pt x="2778635" y="4446700"/>
                </a:lnTo>
                <a:lnTo>
                  <a:pt x="2781215" y="4449698"/>
                </a:lnTo>
                <a:lnTo>
                  <a:pt x="2781215" y="4449809"/>
                </a:lnTo>
                <a:lnTo>
                  <a:pt x="2795824" y="4450698"/>
                </a:lnTo>
                <a:lnTo>
                  <a:pt x="2799261" y="4452253"/>
                </a:lnTo>
                <a:lnTo>
                  <a:pt x="2802986" y="4452031"/>
                </a:lnTo>
                <a:cubicBezTo>
                  <a:pt x="2803271" y="4453141"/>
                  <a:pt x="2803271" y="4453141"/>
                  <a:pt x="2801553" y="4453586"/>
                </a:cubicBezTo>
                <a:cubicBezTo>
                  <a:pt x="2801839" y="4453697"/>
                  <a:pt x="2801839" y="4453697"/>
                  <a:pt x="2802125" y="4453697"/>
                </a:cubicBezTo>
                <a:lnTo>
                  <a:pt x="2801553" y="4454031"/>
                </a:lnTo>
                <a:lnTo>
                  <a:pt x="2802125" y="4454586"/>
                </a:lnTo>
                <a:cubicBezTo>
                  <a:pt x="2802699" y="4455475"/>
                  <a:pt x="2802985" y="4456363"/>
                  <a:pt x="2802412" y="4457363"/>
                </a:cubicBezTo>
                <a:cubicBezTo>
                  <a:pt x="2802985" y="4458473"/>
                  <a:pt x="2796684" y="4460362"/>
                  <a:pt x="2794391" y="4459695"/>
                </a:cubicBezTo>
                <a:cubicBezTo>
                  <a:pt x="2790380" y="4458363"/>
                  <a:pt x="2788089" y="4457696"/>
                  <a:pt x="2787230" y="4455474"/>
                </a:cubicBezTo>
                <a:cubicBezTo>
                  <a:pt x="2785225" y="4454808"/>
                  <a:pt x="2782932" y="4454141"/>
                  <a:pt x="2781787" y="4453253"/>
                </a:cubicBezTo>
                <a:lnTo>
                  <a:pt x="2781214" y="4450697"/>
                </a:lnTo>
                <a:lnTo>
                  <a:pt x="2781215" y="4452475"/>
                </a:lnTo>
                <a:cubicBezTo>
                  <a:pt x="2780641" y="4453364"/>
                  <a:pt x="2780068" y="4454252"/>
                  <a:pt x="2778635" y="4454475"/>
                </a:cubicBezTo>
                <a:cubicBezTo>
                  <a:pt x="2777490" y="4453809"/>
                  <a:pt x="2776344" y="4454808"/>
                  <a:pt x="2774911" y="4454252"/>
                </a:cubicBezTo>
                <a:cubicBezTo>
                  <a:pt x="2771188" y="4454031"/>
                  <a:pt x="2770041" y="4453475"/>
                  <a:pt x="2769469" y="4451808"/>
                </a:cubicBezTo>
                <a:cubicBezTo>
                  <a:pt x="2768036" y="4451254"/>
                  <a:pt x="2768896" y="4450142"/>
                  <a:pt x="2768610" y="4448587"/>
                </a:cubicBezTo>
                <a:lnTo>
                  <a:pt x="2770041" y="4447810"/>
                </a:lnTo>
                <a:lnTo>
                  <a:pt x="2768609" y="4446700"/>
                </a:lnTo>
                <a:cubicBezTo>
                  <a:pt x="2766604" y="4444477"/>
                  <a:pt x="2765458" y="4442367"/>
                  <a:pt x="2766031" y="4441589"/>
                </a:cubicBezTo>
                <a:lnTo>
                  <a:pt x="2771474" y="4446254"/>
                </a:lnTo>
                <a:lnTo>
                  <a:pt x="2769755" y="4440367"/>
                </a:lnTo>
                <a:cubicBezTo>
                  <a:pt x="2769756" y="4437479"/>
                  <a:pt x="2770329" y="4434591"/>
                  <a:pt x="2772333" y="4433591"/>
                </a:cubicBezTo>
                <a:lnTo>
                  <a:pt x="2780641" y="4434479"/>
                </a:lnTo>
                <a:lnTo>
                  <a:pt x="2779781" y="4433924"/>
                </a:lnTo>
                <a:cubicBezTo>
                  <a:pt x="2782932" y="4422705"/>
                  <a:pt x="2796969" y="4421150"/>
                  <a:pt x="2810147" y="4421817"/>
                </a:cubicBezTo>
                <a:lnTo>
                  <a:pt x="2814443" y="4422149"/>
                </a:lnTo>
                <a:lnTo>
                  <a:pt x="2815589" y="4420928"/>
                </a:lnTo>
                <a:cubicBezTo>
                  <a:pt x="2816449" y="4420039"/>
                  <a:pt x="2817596" y="4419263"/>
                  <a:pt x="2818454" y="4418706"/>
                </a:cubicBezTo>
                <a:cubicBezTo>
                  <a:pt x="2818454" y="4417595"/>
                  <a:pt x="2819887" y="4416485"/>
                  <a:pt x="2821605" y="4416485"/>
                </a:cubicBezTo>
                <a:cubicBezTo>
                  <a:pt x="2821605" y="4416485"/>
                  <a:pt x="2823038" y="4415373"/>
                  <a:pt x="2823037" y="4414263"/>
                </a:cubicBezTo>
                <a:cubicBezTo>
                  <a:pt x="2826188" y="4412041"/>
                  <a:pt x="2827907" y="4412041"/>
                  <a:pt x="2829626" y="4412152"/>
                </a:cubicBezTo>
                <a:close/>
                <a:moveTo>
                  <a:pt x="2213442" y="4411597"/>
                </a:moveTo>
                <a:cubicBezTo>
                  <a:pt x="2214874" y="4412263"/>
                  <a:pt x="2215734" y="4412929"/>
                  <a:pt x="2216019" y="4413707"/>
                </a:cubicBezTo>
                <a:cubicBezTo>
                  <a:pt x="2217165" y="4415929"/>
                  <a:pt x="2214015" y="4418484"/>
                  <a:pt x="2210863" y="4420928"/>
                </a:cubicBezTo>
                <a:cubicBezTo>
                  <a:pt x="2207998" y="4419594"/>
                  <a:pt x="2204274" y="4420595"/>
                  <a:pt x="2201983" y="4416818"/>
                </a:cubicBezTo>
                <a:cubicBezTo>
                  <a:pt x="2205707" y="4414707"/>
                  <a:pt x="2209432" y="4413707"/>
                  <a:pt x="2213442" y="4411597"/>
                </a:cubicBezTo>
                <a:close/>
                <a:moveTo>
                  <a:pt x="5509786" y="4410375"/>
                </a:moveTo>
                <a:cubicBezTo>
                  <a:pt x="5514370" y="4411152"/>
                  <a:pt x="5516375" y="4411486"/>
                  <a:pt x="5518094" y="4413485"/>
                </a:cubicBezTo>
                <a:cubicBezTo>
                  <a:pt x="5520386" y="4413929"/>
                  <a:pt x="5522391" y="4414263"/>
                  <a:pt x="5524110" y="4414929"/>
                </a:cubicBezTo>
                <a:cubicBezTo>
                  <a:pt x="5525542" y="4415596"/>
                  <a:pt x="5526401" y="4416595"/>
                  <a:pt x="5525542" y="4418262"/>
                </a:cubicBezTo>
                <a:cubicBezTo>
                  <a:pt x="5520386" y="4419040"/>
                  <a:pt x="5516662" y="4419373"/>
                  <a:pt x="5510646" y="4419150"/>
                </a:cubicBezTo>
                <a:cubicBezTo>
                  <a:pt x="5510646" y="4419150"/>
                  <a:pt x="5501765" y="4417707"/>
                  <a:pt x="5502338" y="4413485"/>
                </a:cubicBezTo>
                <a:cubicBezTo>
                  <a:pt x="5501765" y="4412486"/>
                  <a:pt x="5507495" y="4410042"/>
                  <a:pt x="5509786" y="4410375"/>
                </a:cubicBezTo>
                <a:close/>
                <a:moveTo>
                  <a:pt x="2025807" y="4407709"/>
                </a:moveTo>
                <a:cubicBezTo>
                  <a:pt x="2031250" y="4410153"/>
                  <a:pt x="2036120" y="4409153"/>
                  <a:pt x="2042995" y="4414040"/>
                </a:cubicBezTo>
                <a:cubicBezTo>
                  <a:pt x="2029246" y="4432147"/>
                  <a:pt x="2023803" y="4451698"/>
                  <a:pt x="2011484" y="4466472"/>
                </a:cubicBezTo>
                <a:lnTo>
                  <a:pt x="2008906" y="4457141"/>
                </a:lnTo>
                <a:lnTo>
                  <a:pt x="2007188" y="4457475"/>
                </a:lnTo>
                <a:cubicBezTo>
                  <a:pt x="2003464" y="4460917"/>
                  <a:pt x="2008334" y="4467249"/>
                  <a:pt x="1998594" y="4468027"/>
                </a:cubicBezTo>
                <a:cubicBezTo>
                  <a:pt x="1993723" y="4466805"/>
                  <a:pt x="1987708" y="4466694"/>
                  <a:pt x="1982837" y="4464139"/>
                </a:cubicBezTo>
                <a:cubicBezTo>
                  <a:pt x="1981405" y="4463251"/>
                  <a:pt x="1979974" y="4462139"/>
                  <a:pt x="1978542" y="4460584"/>
                </a:cubicBezTo>
                <a:cubicBezTo>
                  <a:pt x="1991719" y="4457030"/>
                  <a:pt x="1998021" y="4451809"/>
                  <a:pt x="2008046" y="4446921"/>
                </a:cubicBezTo>
                <a:lnTo>
                  <a:pt x="2008620" y="4447477"/>
                </a:lnTo>
                <a:lnTo>
                  <a:pt x="2011197" y="4437257"/>
                </a:lnTo>
                <a:lnTo>
                  <a:pt x="2017213" y="4425038"/>
                </a:lnTo>
                <a:lnTo>
                  <a:pt x="2014063" y="4424927"/>
                </a:lnTo>
                <a:cubicBezTo>
                  <a:pt x="2012343" y="4424594"/>
                  <a:pt x="2010338" y="4423704"/>
                  <a:pt x="2008333" y="4422594"/>
                </a:cubicBezTo>
                <a:cubicBezTo>
                  <a:pt x="2005469" y="4416929"/>
                  <a:pt x="2012916" y="4414374"/>
                  <a:pt x="2014350" y="4410374"/>
                </a:cubicBezTo>
                <a:cubicBezTo>
                  <a:pt x="2018074" y="4411152"/>
                  <a:pt x="2020651" y="4412374"/>
                  <a:pt x="2022371" y="4413819"/>
                </a:cubicBezTo>
                <a:lnTo>
                  <a:pt x="2022656" y="4414040"/>
                </a:lnTo>
                <a:close/>
                <a:moveTo>
                  <a:pt x="6170086" y="4407041"/>
                </a:moveTo>
                <a:cubicBezTo>
                  <a:pt x="6170086" y="4407041"/>
                  <a:pt x="6170086" y="4407041"/>
                  <a:pt x="6174384" y="4408487"/>
                </a:cubicBezTo>
                <a:lnTo>
                  <a:pt x="6174670" y="4409486"/>
                </a:lnTo>
                <a:cubicBezTo>
                  <a:pt x="6174384" y="4410153"/>
                  <a:pt x="6173238" y="4410819"/>
                  <a:pt x="6171519" y="4411374"/>
                </a:cubicBezTo>
                <a:cubicBezTo>
                  <a:pt x="6166362" y="4412929"/>
                  <a:pt x="6156336" y="4414040"/>
                  <a:pt x="6155190" y="4414263"/>
                </a:cubicBezTo>
                <a:cubicBezTo>
                  <a:pt x="6155190" y="4414263"/>
                  <a:pt x="6153472" y="4414817"/>
                  <a:pt x="6151753" y="4415152"/>
                </a:cubicBezTo>
                <a:cubicBezTo>
                  <a:pt x="6149748" y="4414485"/>
                  <a:pt x="6149175" y="4413374"/>
                  <a:pt x="6147742" y="4413818"/>
                </a:cubicBezTo>
                <a:cubicBezTo>
                  <a:pt x="6151180" y="4409264"/>
                  <a:pt x="6156623" y="4409153"/>
                  <a:pt x="6162066" y="4409042"/>
                </a:cubicBezTo>
                <a:cubicBezTo>
                  <a:pt x="6165790" y="4409375"/>
                  <a:pt x="6167222" y="4408931"/>
                  <a:pt x="6170086" y="4407041"/>
                </a:cubicBezTo>
                <a:close/>
                <a:moveTo>
                  <a:pt x="1961354" y="4404821"/>
                </a:moveTo>
                <a:cubicBezTo>
                  <a:pt x="1966224" y="4404155"/>
                  <a:pt x="1971379" y="4405710"/>
                  <a:pt x="1971092" y="4411041"/>
                </a:cubicBezTo>
                <a:cubicBezTo>
                  <a:pt x="1964217" y="4412041"/>
                  <a:pt x="1959635" y="4412708"/>
                  <a:pt x="1955623" y="4412374"/>
                </a:cubicBezTo>
                <a:cubicBezTo>
                  <a:pt x="1953046" y="4408487"/>
                  <a:pt x="1956770" y="4405487"/>
                  <a:pt x="1961354" y="4404821"/>
                </a:cubicBezTo>
                <a:close/>
                <a:moveTo>
                  <a:pt x="5772760" y="4403932"/>
                </a:moveTo>
                <a:cubicBezTo>
                  <a:pt x="5781068" y="4404266"/>
                  <a:pt x="5789376" y="4406487"/>
                  <a:pt x="5796250" y="4409930"/>
                </a:cubicBezTo>
                <a:lnTo>
                  <a:pt x="5796537" y="4410042"/>
                </a:lnTo>
                <a:lnTo>
                  <a:pt x="5802841" y="4410042"/>
                </a:lnTo>
                <a:cubicBezTo>
                  <a:pt x="5803412" y="4411152"/>
                  <a:pt x="5801694" y="4411597"/>
                  <a:pt x="5801980" y="4412708"/>
                </a:cubicBezTo>
                <a:lnTo>
                  <a:pt x="5800261" y="4413485"/>
                </a:lnTo>
                <a:lnTo>
                  <a:pt x="5811434" y="4423372"/>
                </a:lnTo>
                <a:cubicBezTo>
                  <a:pt x="5812866" y="4425704"/>
                  <a:pt x="5813725" y="4428260"/>
                  <a:pt x="5813725" y="4430815"/>
                </a:cubicBezTo>
                <a:lnTo>
                  <a:pt x="5812579" y="4438034"/>
                </a:lnTo>
                <a:lnTo>
                  <a:pt x="5814871" y="4438257"/>
                </a:lnTo>
                <a:cubicBezTo>
                  <a:pt x="5820314" y="4439478"/>
                  <a:pt x="5821173" y="4443367"/>
                  <a:pt x="5819454" y="4448921"/>
                </a:cubicBezTo>
                <a:cubicBezTo>
                  <a:pt x="5815730" y="4449698"/>
                  <a:pt x="5813152" y="4451254"/>
                  <a:pt x="5807996" y="4452808"/>
                </a:cubicBezTo>
                <a:cubicBezTo>
                  <a:pt x="5806564" y="4451587"/>
                  <a:pt x="5805131" y="4449032"/>
                  <a:pt x="5804844" y="4446254"/>
                </a:cubicBezTo>
                <a:lnTo>
                  <a:pt x="5807423" y="4439479"/>
                </a:lnTo>
                <a:lnTo>
                  <a:pt x="5794246" y="4442144"/>
                </a:lnTo>
                <a:cubicBezTo>
                  <a:pt x="5788230" y="4442367"/>
                  <a:pt x="5782787" y="4441700"/>
                  <a:pt x="5777630" y="4440256"/>
                </a:cubicBezTo>
                <a:cubicBezTo>
                  <a:pt x="5761016" y="4435702"/>
                  <a:pt x="5749844" y="4423150"/>
                  <a:pt x="5751848" y="4408708"/>
                </a:cubicBezTo>
                <a:cubicBezTo>
                  <a:pt x="5754140" y="4408153"/>
                  <a:pt x="5756432" y="4407598"/>
                  <a:pt x="5755573" y="4406043"/>
                </a:cubicBezTo>
                <a:cubicBezTo>
                  <a:pt x="5761302" y="4404377"/>
                  <a:pt x="5767032" y="4403709"/>
                  <a:pt x="5772760" y="4403932"/>
                </a:cubicBezTo>
                <a:close/>
                <a:moveTo>
                  <a:pt x="6266626" y="4400155"/>
                </a:moveTo>
                <a:cubicBezTo>
                  <a:pt x="6278656" y="4403043"/>
                  <a:pt x="6288970" y="4406598"/>
                  <a:pt x="6306157" y="4406598"/>
                </a:cubicBezTo>
                <a:cubicBezTo>
                  <a:pt x="6305584" y="4409930"/>
                  <a:pt x="6311886" y="4409708"/>
                  <a:pt x="6310168" y="4413706"/>
                </a:cubicBezTo>
                <a:cubicBezTo>
                  <a:pt x="6299855" y="4419373"/>
                  <a:pt x="6266625" y="4412708"/>
                  <a:pt x="6266626" y="4400155"/>
                </a:cubicBezTo>
                <a:close/>
                <a:moveTo>
                  <a:pt x="2766890" y="4398711"/>
                </a:moveTo>
                <a:cubicBezTo>
                  <a:pt x="2771760" y="4399267"/>
                  <a:pt x="2778349" y="4399933"/>
                  <a:pt x="2781501" y="4401377"/>
                </a:cubicBezTo>
                <a:cubicBezTo>
                  <a:pt x="2778062" y="4402155"/>
                  <a:pt x="2771474" y="4402599"/>
                  <a:pt x="2768609" y="4400044"/>
                </a:cubicBezTo>
                <a:cubicBezTo>
                  <a:pt x="2768609" y="4400044"/>
                  <a:pt x="2768324" y="4400044"/>
                  <a:pt x="2766890" y="4398711"/>
                </a:cubicBezTo>
                <a:close/>
                <a:moveTo>
                  <a:pt x="5500333" y="4398600"/>
                </a:moveTo>
                <a:cubicBezTo>
                  <a:pt x="5500333" y="4398600"/>
                  <a:pt x="5500906" y="4398711"/>
                  <a:pt x="5501479" y="4398933"/>
                </a:cubicBezTo>
                <a:cubicBezTo>
                  <a:pt x="5501765" y="4399268"/>
                  <a:pt x="5502052" y="4399711"/>
                  <a:pt x="5501765" y="4400488"/>
                </a:cubicBezTo>
                <a:cubicBezTo>
                  <a:pt x="5501765" y="4400488"/>
                  <a:pt x="5501765" y="4400377"/>
                  <a:pt x="5500334" y="4400933"/>
                </a:cubicBezTo>
                <a:cubicBezTo>
                  <a:pt x="5500334" y="4400933"/>
                  <a:pt x="5499760" y="4400044"/>
                  <a:pt x="5500333" y="4398600"/>
                </a:cubicBezTo>
                <a:close/>
                <a:moveTo>
                  <a:pt x="5807423" y="4398156"/>
                </a:moveTo>
                <a:cubicBezTo>
                  <a:pt x="5816016" y="4403599"/>
                  <a:pt x="5823178" y="4409376"/>
                  <a:pt x="5838361" y="4413485"/>
                </a:cubicBezTo>
                <a:cubicBezTo>
                  <a:pt x="5835783" y="4416484"/>
                  <a:pt x="5841226" y="4417707"/>
                  <a:pt x="5836928" y="4420928"/>
                </a:cubicBezTo>
                <a:cubicBezTo>
                  <a:pt x="5823465" y="4423593"/>
                  <a:pt x="5798256" y="4409486"/>
                  <a:pt x="5807423" y="4398156"/>
                </a:cubicBezTo>
                <a:close/>
                <a:moveTo>
                  <a:pt x="5887060" y="4398045"/>
                </a:moveTo>
                <a:cubicBezTo>
                  <a:pt x="5891357" y="4399822"/>
                  <a:pt x="5895654" y="4401600"/>
                  <a:pt x="5899951" y="4403266"/>
                </a:cubicBezTo>
                <a:lnTo>
                  <a:pt x="5897659" y="4406154"/>
                </a:lnTo>
                <a:lnTo>
                  <a:pt x="5899951" y="4409596"/>
                </a:lnTo>
                <a:cubicBezTo>
                  <a:pt x="5896800" y="4411264"/>
                  <a:pt x="5892216" y="4412374"/>
                  <a:pt x="5887633" y="4413486"/>
                </a:cubicBezTo>
                <a:cubicBezTo>
                  <a:pt x="5885628" y="4411819"/>
                  <a:pt x="5885629" y="4410374"/>
                  <a:pt x="5886487" y="4409042"/>
                </a:cubicBezTo>
                <a:lnTo>
                  <a:pt x="5887633" y="4408487"/>
                </a:lnTo>
                <a:lnTo>
                  <a:pt x="5882476" y="4406487"/>
                </a:lnTo>
                <a:cubicBezTo>
                  <a:pt x="5883336" y="4401266"/>
                  <a:pt x="5882476" y="4402710"/>
                  <a:pt x="5887060" y="4398045"/>
                </a:cubicBezTo>
                <a:close/>
                <a:moveTo>
                  <a:pt x="5561064" y="4395601"/>
                </a:moveTo>
                <a:cubicBezTo>
                  <a:pt x="5560490" y="4397156"/>
                  <a:pt x="5557626" y="4401044"/>
                  <a:pt x="5551610" y="4400822"/>
                </a:cubicBezTo>
                <a:cubicBezTo>
                  <a:pt x="5545594" y="4400710"/>
                  <a:pt x="5541870" y="4403488"/>
                  <a:pt x="5536141" y="4403266"/>
                </a:cubicBezTo>
                <a:cubicBezTo>
                  <a:pt x="5536141" y="4403266"/>
                  <a:pt x="5536141" y="4403266"/>
                  <a:pt x="5536714" y="4401710"/>
                </a:cubicBezTo>
                <a:cubicBezTo>
                  <a:pt x="5545594" y="4400710"/>
                  <a:pt x="5551324" y="4395489"/>
                  <a:pt x="5561064" y="4395601"/>
                </a:cubicBezTo>
                <a:close/>
                <a:moveTo>
                  <a:pt x="2784078" y="4395379"/>
                </a:moveTo>
                <a:cubicBezTo>
                  <a:pt x="2792100" y="4401266"/>
                  <a:pt x="2803558" y="4406709"/>
                  <a:pt x="2809002" y="4414263"/>
                </a:cubicBezTo>
                <a:cubicBezTo>
                  <a:pt x="2796969" y="4414040"/>
                  <a:pt x="2776918" y="4405376"/>
                  <a:pt x="2784078" y="4395379"/>
                </a:cubicBezTo>
                <a:close/>
                <a:moveTo>
                  <a:pt x="1717285" y="4395378"/>
                </a:moveTo>
                <a:cubicBezTo>
                  <a:pt x="1725307" y="4401266"/>
                  <a:pt x="1736765" y="4406709"/>
                  <a:pt x="1742208" y="4414263"/>
                </a:cubicBezTo>
                <a:cubicBezTo>
                  <a:pt x="1730176" y="4414041"/>
                  <a:pt x="1710123" y="4405376"/>
                  <a:pt x="1717285" y="4395378"/>
                </a:cubicBezTo>
                <a:close/>
                <a:moveTo>
                  <a:pt x="6974478" y="4394823"/>
                </a:moveTo>
                <a:cubicBezTo>
                  <a:pt x="6993385" y="4398378"/>
                  <a:pt x="6984792" y="4425038"/>
                  <a:pt x="6978202" y="4431813"/>
                </a:cubicBezTo>
                <a:cubicBezTo>
                  <a:pt x="6974192" y="4421483"/>
                  <a:pt x="6968750" y="4404155"/>
                  <a:pt x="6974478" y="4394823"/>
                </a:cubicBezTo>
                <a:close/>
                <a:moveTo>
                  <a:pt x="6194723" y="4393934"/>
                </a:moveTo>
                <a:cubicBezTo>
                  <a:pt x="6196728" y="4393823"/>
                  <a:pt x="6197014" y="4394378"/>
                  <a:pt x="6197014" y="4395157"/>
                </a:cubicBezTo>
                <a:cubicBezTo>
                  <a:pt x="6197014" y="4396045"/>
                  <a:pt x="6196442" y="4397267"/>
                  <a:pt x="6196442" y="4398600"/>
                </a:cubicBezTo>
                <a:lnTo>
                  <a:pt x="6189852" y="4397378"/>
                </a:lnTo>
                <a:cubicBezTo>
                  <a:pt x="6190426" y="4395712"/>
                  <a:pt x="6192718" y="4393490"/>
                  <a:pt x="6194723" y="4393934"/>
                </a:cubicBezTo>
                <a:close/>
                <a:moveTo>
                  <a:pt x="6823512" y="4393157"/>
                </a:moveTo>
                <a:cubicBezTo>
                  <a:pt x="6825230" y="4393268"/>
                  <a:pt x="6825230" y="4394491"/>
                  <a:pt x="6826663" y="4394712"/>
                </a:cubicBezTo>
                <a:cubicBezTo>
                  <a:pt x="6827522" y="4395378"/>
                  <a:pt x="6827810" y="4396600"/>
                  <a:pt x="6827809" y="4398044"/>
                </a:cubicBezTo>
                <a:cubicBezTo>
                  <a:pt x="6827236" y="4402266"/>
                  <a:pt x="6823226" y="4408598"/>
                  <a:pt x="6822080" y="4408487"/>
                </a:cubicBezTo>
                <a:cubicBezTo>
                  <a:pt x="6821793" y="4409597"/>
                  <a:pt x="6820074" y="4409486"/>
                  <a:pt x="6820074" y="4410597"/>
                </a:cubicBezTo>
                <a:cubicBezTo>
                  <a:pt x="6820074" y="4410597"/>
                  <a:pt x="6819788" y="4411708"/>
                  <a:pt x="6818069" y="4412708"/>
                </a:cubicBezTo>
                <a:cubicBezTo>
                  <a:pt x="6816350" y="4413707"/>
                  <a:pt x="6814632" y="4414707"/>
                  <a:pt x="6811194" y="4413152"/>
                </a:cubicBezTo>
                <a:cubicBezTo>
                  <a:pt x="6817210" y="4404377"/>
                  <a:pt x="6817782" y="4399599"/>
                  <a:pt x="6823512" y="4393157"/>
                </a:cubicBezTo>
                <a:close/>
                <a:moveTo>
                  <a:pt x="2553761" y="4391491"/>
                </a:moveTo>
                <a:cubicBezTo>
                  <a:pt x="2555766" y="4390936"/>
                  <a:pt x="2558058" y="4391047"/>
                  <a:pt x="2559778" y="4391602"/>
                </a:cubicBezTo>
                <a:lnTo>
                  <a:pt x="2561783" y="4392824"/>
                </a:lnTo>
                <a:lnTo>
                  <a:pt x="2579256" y="4393268"/>
                </a:lnTo>
                <a:cubicBezTo>
                  <a:pt x="2613345" y="4397045"/>
                  <a:pt x="2646575" y="4408598"/>
                  <a:pt x="2648867" y="4420705"/>
                </a:cubicBezTo>
                <a:cubicBezTo>
                  <a:pt x="2641993" y="4422483"/>
                  <a:pt x="2635976" y="4423260"/>
                  <a:pt x="2629961" y="4423483"/>
                </a:cubicBezTo>
                <a:cubicBezTo>
                  <a:pt x="2624805" y="4423593"/>
                  <a:pt x="2619648" y="4423260"/>
                  <a:pt x="2614778" y="4422594"/>
                </a:cubicBezTo>
                <a:lnTo>
                  <a:pt x="2604752" y="4420483"/>
                </a:lnTo>
                <a:lnTo>
                  <a:pt x="2606184" y="4422039"/>
                </a:lnTo>
                <a:cubicBezTo>
                  <a:pt x="2606184" y="4422816"/>
                  <a:pt x="2605898" y="4423816"/>
                  <a:pt x="2605038" y="4425037"/>
                </a:cubicBezTo>
                <a:cubicBezTo>
                  <a:pt x="2605038" y="4425037"/>
                  <a:pt x="2605038" y="4425037"/>
                  <a:pt x="2603607" y="4425593"/>
                </a:cubicBezTo>
                <a:lnTo>
                  <a:pt x="2600741" y="4426481"/>
                </a:lnTo>
                <a:lnTo>
                  <a:pt x="2612487" y="4430814"/>
                </a:lnTo>
                <a:cubicBezTo>
                  <a:pt x="2618789" y="4434368"/>
                  <a:pt x="2623946" y="4439367"/>
                  <a:pt x="2627955" y="4446032"/>
                </a:cubicBezTo>
                <a:cubicBezTo>
                  <a:pt x="2622799" y="4453364"/>
                  <a:pt x="2613632" y="4453697"/>
                  <a:pt x="2605324" y="4450587"/>
                </a:cubicBezTo>
                <a:cubicBezTo>
                  <a:pt x="2594725" y="4446699"/>
                  <a:pt x="2585558" y="4437368"/>
                  <a:pt x="2586991" y="4429814"/>
                </a:cubicBezTo>
                <a:lnTo>
                  <a:pt x="2591574" y="4424038"/>
                </a:lnTo>
                <a:lnTo>
                  <a:pt x="2591289" y="4423372"/>
                </a:lnTo>
                <a:cubicBezTo>
                  <a:pt x="2592147" y="4421817"/>
                  <a:pt x="2593579" y="4420372"/>
                  <a:pt x="2595013" y="4419373"/>
                </a:cubicBezTo>
                <a:lnTo>
                  <a:pt x="2597303" y="4418706"/>
                </a:lnTo>
                <a:lnTo>
                  <a:pt x="2572954" y="4412152"/>
                </a:lnTo>
                <a:lnTo>
                  <a:pt x="2567511" y="4411263"/>
                </a:lnTo>
                <a:lnTo>
                  <a:pt x="2566079" y="4412708"/>
                </a:lnTo>
                <a:cubicBezTo>
                  <a:pt x="2562642" y="4414041"/>
                  <a:pt x="2557198" y="4413597"/>
                  <a:pt x="2549177" y="4409708"/>
                </a:cubicBezTo>
                <a:lnTo>
                  <a:pt x="2542875" y="4409597"/>
                </a:lnTo>
                <a:cubicBezTo>
                  <a:pt x="2531990" y="4410486"/>
                  <a:pt x="2519958" y="4413819"/>
                  <a:pt x="2506208" y="4420706"/>
                </a:cubicBezTo>
                <a:lnTo>
                  <a:pt x="2507068" y="4413818"/>
                </a:lnTo>
                <a:lnTo>
                  <a:pt x="2503344" y="4413819"/>
                </a:lnTo>
                <a:cubicBezTo>
                  <a:pt x="2501624" y="4413373"/>
                  <a:pt x="2499906" y="4412708"/>
                  <a:pt x="2498187" y="4411597"/>
                </a:cubicBezTo>
                <a:cubicBezTo>
                  <a:pt x="2496468" y="4405932"/>
                  <a:pt x="2504489" y="4403265"/>
                  <a:pt x="2506781" y="4399266"/>
                </a:cubicBezTo>
                <a:lnTo>
                  <a:pt x="2513942" y="4402266"/>
                </a:lnTo>
                <a:lnTo>
                  <a:pt x="2515949" y="4400266"/>
                </a:lnTo>
                <a:cubicBezTo>
                  <a:pt x="2523109" y="4395712"/>
                  <a:pt x="2533995" y="4393268"/>
                  <a:pt x="2546314" y="4392380"/>
                </a:cubicBezTo>
                <a:lnTo>
                  <a:pt x="2552042" y="4392490"/>
                </a:lnTo>
                <a:close/>
                <a:moveTo>
                  <a:pt x="6899712" y="4390936"/>
                </a:moveTo>
                <a:cubicBezTo>
                  <a:pt x="6901430" y="4390380"/>
                  <a:pt x="6902003" y="4391491"/>
                  <a:pt x="6903436" y="4390936"/>
                </a:cubicBezTo>
                <a:cubicBezTo>
                  <a:pt x="6904582" y="4391158"/>
                  <a:pt x="6905440" y="4392268"/>
                  <a:pt x="6906300" y="4393602"/>
                </a:cubicBezTo>
                <a:cubicBezTo>
                  <a:pt x="6908306" y="4397489"/>
                  <a:pt x="6908878" y="4404488"/>
                  <a:pt x="6907732" y="4404932"/>
                </a:cubicBezTo>
                <a:cubicBezTo>
                  <a:pt x="6908306" y="4405932"/>
                  <a:pt x="6906873" y="4406487"/>
                  <a:pt x="6907446" y="4407487"/>
                </a:cubicBezTo>
                <a:cubicBezTo>
                  <a:pt x="6907446" y="4407487"/>
                  <a:pt x="6908019" y="4408598"/>
                  <a:pt x="6907160" y="4410153"/>
                </a:cubicBezTo>
                <a:cubicBezTo>
                  <a:pt x="6906014" y="4411819"/>
                  <a:pt x="6905154" y="4413374"/>
                  <a:pt x="6901430" y="4413374"/>
                </a:cubicBezTo>
                <a:cubicBezTo>
                  <a:pt x="6901144" y="4403155"/>
                  <a:pt x="6898566" y="4398933"/>
                  <a:pt x="6899712" y="4390936"/>
                </a:cubicBezTo>
                <a:close/>
                <a:moveTo>
                  <a:pt x="6208473" y="4390935"/>
                </a:moveTo>
                <a:cubicBezTo>
                  <a:pt x="6209332" y="4391935"/>
                  <a:pt x="6210764" y="4391379"/>
                  <a:pt x="6211624" y="4392380"/>
                </a:cubicBezTo>
                <a:cubicBezTo>
                  <a:pt x="6211624" y="4392380"/>
                  <a:pt x="6213056" y="4393046"/>
                  <a:pt x="6214488" y="4394379"/>
                </a:cubicBezTo>
                <a:cubicBezTo>
                  <a:pt x="6215062" y="4395157"/>
                  <a:pt x="6215634" y="4395934"/>
                  <a:pt x="6215921" y="4397045"/>
                </a:cubicBezTo>
                <a:cubicBezTo>
                  <a:pt x="6216494" y="4398156"/>
                  <a:pt x="6216495" y="4399378"/>
                  <a:pt x="6215921" y="4400822"/>
                </a:cubicBezTo>
                <a:cubicBezTo>
                  <a:pt x="6215348" y="4402488"/>
                  <a:pt x="6212484" y="4406265"/>
                  <a:pt x="6211624" y="4405376"/>
                </a:cubicBezTo>
                <a:cubicBezTo>
                  <a:pt x="6209332" y="4404932"/>
                  <a:pt x="6209905" y="4406043"/>
                  <a:pt x="6208474" y="4406598"/>
                </a:cubicBezTo>
                <a:cubicBezTo>
                  <a:pt x="6201598" y="4405598"/>
                  <a:pt x="6197874" y="4403154"/>
                  <a:pt x="6198734" y="4398933"/>
                </a:cubicBezTo>
                <a:cubicBezTo>
                  <a:pt x="6200166" y="4395712"/>
                  <a:pt x="6202457" y="4390824"/>
                  <a:pt x="6208473" y="4390935"/>
                </a:cubicBezTo>
                <a:close/>
                <a:moveTo>
                  <a:pt x="1941301" y="4390713"/>
                </a:moveTo>
                <a:cubicBezTo>
                  <a:pt x="1946457" y="4391602"/>
                  <a:pt x="1952472" y="4396489"/>
                  <a:pt x="1952187" y="4398378"/>
                </a:cubicBezTo>
                <a:cubicBezTo>
                  <a:pt x="1949609" y="4400044"/>
                  <a:pt x="1931847" y="4395934"/>
                  <a:pt x="1936717" y="4391379"/>
                </a:cubicBezTo>
                <a:cubicBezTo>
                  <a:pt x="1937863" y="4390491"/>
                  <a:pt x="1939581" y="4390380"/>
                  <a:pt x="1941301" y="4390713"/>
                </a:cubicBezTo>
                <a:close/>
                <a:moveTo>
                  <a:pt x="2489879" y="4390269"/>
                </a:moveTo>
                <a:cubicBezTo>
                  <a:pt x="2492458" y="4390047"/>
                  <a:pt x="2494464" y="4390491"/>
                  <a:pt x="2495895" y="4391824"/>
                </a:cubicBezTo>
                <a:cubicBezTo>
                  <a:pt x="2496469" y="4392602"/>
                  <a:pt x="2497041" y="4393602"/>
                  <a:pt x="2497042" y="4395046"/>
                </a:cubicBezTo>
                <a:cubicBezTo>
                  <a:pt x="2486728" y="4397601"/>
                  <a:pt x="2478994" y="4403265"/>
                  <a:pt x="2473264" y="4402266"/>
                </a:cubicBezTo>
                <a:cubicBezTo>
                  <a:pt x="2471260" y="4401933"/>
                  <a:pt x="2469541" y="4400822"/>
                  <a:pt x="2467822" y="4398600"/>
                </a:cubicBezTo>
                <a:cubicBezTo>
                  <a:pt x="2470973" y="4396157"/>
                  <a:pt x="2482431" y="4390602"/>
                  <a:pt x="2489879" y="4390269"/>
                </a:cubicBezTo>
                <a:close/>
                <a:moveTo>
                  <a:pt x="2728792" y="4389824"/>
                </a:moveTo>
                <a:cubicBezTo>
                  <a:pt x="2737098" y="4391824"/>
                  <a:pt x="2749131" y="4392046"/>
                  <a:pt x="2755433" y="4396156"/>
                </a:cubicBezTo>
                <a:cubicBezTo>
                  <a:pt x="2751994" y="4395823"/>
                  <a:pt x="2733661" y="4392602"/>
                  <a:pt x="2728792" y="4389824"/>
                </a:cubicBezTo>
                <a:close/>
                <a:moveTo>
                  <a:pt x="2206280" y="4388824"/>
                </a:moveTo>
                <a:cubicBezTo>
                  <a:pt x="2210004" y="4388936"/>
                  <a:pt x="2213729" y="4389492"/>
                  <a:pt x="2216592" y="4390491"/>
                </a:cubicBezTo>
                <a:lnTo>
                  <a:pt x="2214301" y="4392157"/>
                </a:lnTo>
                <a:lnTo>
                  <a:pt x="2224327" y="4399489"/>
                </a:lnTo>
                <a:cubicBezTo>
                  <a:pt x="2228052" y="4402377"/>
                  <a:pt x="2231775" y="4405597"/>
                  <a:pt x="2233781" y="4409375"/>
                </a:cubicBezTo>
                <a:cubicBezTo>
                  <a:pt x="2224613" y="4409375"/>
                  <a:pt x="2212009" y="4404709"/>
                  <a:pt x="2210291" y="4398044"/>
                </a:cubicBezTo>
                <a:lnTo>
                  <a:pt x="2211436" y="4394601"/>
                </a:lnTo>
                <a:lnTo>
                  <a:pt x="2208571" y="4396823"/>
                </a:lnTo>
                <a:cubicBezTo>
                  <a:pt x="2198545" y="4401600"/>
                  <a:pt x="2183935" y="4401933"/>
                  <a:pt x="2175055" y="4400600"/>
                </a:cubicBezTo>
                <a:cubicBezTo>
                  <a:pt x="2180498" y="4392602"/>
                  <a:pt x="2194821" y="4388603"/>
                  <a:pt x="2206280" y="4388824"/>
                </a:cubicBezTo>
                <a:close/>
                <a:moveTo>
                  <a:pt x="2725353" y="4388158"/>
                </a:moveTo>
                <a:cubicBezTo>
                  <a:pt x="2727072" y="4389380"/>
                  <a:pt x="2726785" y="4389381"/>
                  <a:pt x="2728791" y="4389602"/>
                </a:cubicBezTo>
                <a:cubicBezTo>
                  <a:pt x="2728791" y="4389602"/>
                  <a:pt x="2727072" y="4390380"/>
                  <a:pt x="2727072" y="4390380"/>
                </a:cubicBezTo>
                <a:cubicBezTo>
                  <a:pt x="2725067" y="4389158"/>
                  <a:pt x="2725067" y="4390268"/>
                  <a:pt x="2725353" y="4388158"/>
                </a:cubicBezTo>
                <a:close/>
                <a:moveTo>
                  <a:pt x="6855882" y="4388047"/>
                </a:moveTo>
                <a:cubicBezTo>
                  <a:pt x="6857028" y="4387936"/>
                  <a:pt x="6857888" y="4387936"/>
                  <a:pt x="6859034" y="4388270"/>
                </a:cubicBezTo>
                <a:cubicBezTo>
                  <a:pt x="6860180" y="4388492"/>
                  <a:pt x="6861325" y="4389047"/>
                  <a:pt x="6862184" y="4389713"/>
                </a:cubicBezTo>
                <a:cubicBezTo>
                  <a:pt x="6863044" y="4390380"/>
                  <a:pt x="6863617" y="4391158"/>
                  <a:pt x="6863044" y="4391936"/>
                </a:cubicBezTo>
                <a:cubicBezTo>
                  <a:pt x="6861612" y="4392491"/>
                  <a:pt x="6862184" y="4393490"/>
                  <a:pt x="6860467" y="4394045"/>
                </a:cubicBezTo>
                <a:cubicBezTo>
                  <a:pt x="6857888" y="4396157"/>
                  <a:pt x="6856456" y="4396712"/>
                  <a:pt x="6854164" y="4396156"/>
                </a:cubicBezTo>
                <a:cubicBezTo>
                  <a:pt x="6852445" y="4396712"/>
                  <a:pt x="6851872" y="4395601"/>
                  <a:pt x="6849866" y="4395156"/>
                </a:cubicBezTo>
                <a:cubicBezTo>
                  <a:pt x="6849007" y="4394045"/>
                  <a:pt x="6850154" y="4392490"/>
                  <a:pt x="6850154" y="4392490"/>
                </a:cubicBezTo>
                <a:cubicBezTo>
                  <a:pt x="6851012" y="4390935"/>
                  <a:pt x="6851012" y="4390935"/>
                  <a:pt x="6849007" y="4390379"/>
                </a:cubicBezTo>
                <a:cubicBezTo>
                  <a:pt x="6849007" y="4390379"/>
                  <a:pt x="6850440" y="4389825"/>
                  <a:pt x="6850440" y="4389825"/>
                </a:cubicBezTo>
                <a:cubicBezTo>
                  <a:pt x="6851012" y="4390824"/>
                  <a:pt x="6850440" y="4389825"/>
                  <a:pt x="6851299" y="4388270"/>
                </a:cubicBezTo>
                <a:cubicBezTo>
                  <a:pt x="6853304" y="4388270"/>
                  <a:pt x="6854736" y="4388158"/>
                  <a:pt x="6855882" y="4388047"/>
                </a:cubicBezTo>
                <a:close/>
                <a:moveTo>
                  <a:pt x="2067344" y="4387825"/>
                </a:moveTo>
                <a:cubicBezTo>
                  <a:pt x="2069350" y="4389935"/>
                  <a:pt x="2071641" y="4392157"/>
                  <a:pt x="2073933" y="4394379"/>
                </a:cubicBezTo>
                <a:cubicBezTo>
                  <a:pt x="2072502" y="4393713"/>
                  <a:pt x="2069063" y="4404154"/>
                  <a:pt x="2069063" y="4404154"/>
                </a:cubicBezTo>
                <a:lnTo>
                  <a:pt x="2065912" y="4404488"/>
                </a:lnTo>
                <a:lnTo>
                  <a:pt x="2071928" y="4407376"/>
                </a:lnTo>
                <a:cubicBezTo>
                  <a:pt x="2078804" y="4412929"/>
                  <a:pt x="2082527" y="4422816"/>
                  <a:pt x="2076511" y="4425260"/>
                </a:cubicBezTo>
                <a:cubicBezTo>
                  <a:pt x="2072502" y="4426926"/>
                  <a:pt x="2063907" y="4425260"/>
                  <a:pt x="2048724" y="4416595"/>
                </a:cubicBezTo>
                <a:cubicBezTo>
                  <a:pt x="2051590" y="4408598"/>
                  <a:pt x="2055599" y="4404932"/>
                  <a:pt x="2059896" y="4403821"/>
                </a:cubicBezTo>
                <a:lnTo>
                  <a:pt x="2063908" y="4403710"/>
                </a:lnTo>
                <a:lnTo>
                  <a:pt x="2061616" y="4401266"/>
                </a:lnTo>
                <a:cubicBezTo>
                  <a:pt x="2060756" y="4399711"/>
                  <a:pt x="2061043" y="4396934"/>
                  <a:pt x="2061903" y="4394157"/>
                </a:cubicBezTo>
                <a:cubicBezTo>
                  <a:pt x="2063048" y="4391379"/>
                  <a:pt x="2064766" y="4388825"/>
                  <a:pt x="2067344" y="4387825"/>
                </a:cubicBezTo>
                <a:close/>
                <a:moveTo>
                  <a:pt x="2716759" y="4387158"/>
                </a:moveTo>
                <a:cubicBezTo>
                  <a:pt x="2718478" y="4387381"/>
                  <a:pt x="2720484" y="4387603"/>
                  <a:pt x="2720197" y="4388714"/>
                </a:cubicBezTo>
                <a:cubicBezTo>
                  <a:pt x="2720197" y="4389713"/>
                  <a:pt x="2718192" y="4389491"/>
                  <a:pt x="2716474" y="4388269"/>
                </a:cubicBezTo>
                <a:cubicBezTo>
                  <a:pt x="2716474" y="4388269"/>
                  <a:pt x="2716759" y="4387158"/>
                  <a:pt x="2716759" y="4387158"/>
                </a:cubicBezTo>
                <a:close/>
                <a:moveTo>
                  <a:pt x="2707019" y="4383604"/>
                </a:moveTo>
                <a:cubicBezTo>
                  <a:pt x="2712177" y="4385382"/>
                  <a:pt x="2712176" y="4385271"/>
                  <a:pt x="2715328" y="4387936"/>
                </a:cubicBezTo>
                <a:cubicBezTo>
                  <a:pt x="2713608" y="4387825"/>
                  <a:pt x="2710170" y="4388603"/>
                  <a:pt x="2708452" y="4387269"/>
                </a:cubicBezTo>
                <a:cubicBezTo>
                  <a:pt x="2706733" y="4385937"/>
                  <a:pt x="2707019" y="4385937"/>
                  <a:pt x="2707019" y="4383604"/>
                </a:cubicBezTo>
                <a:close/>
                <a:moveTo>
                  <a:pt x="1893748" y="4383382"/>
                </a:moveTo>
                <a:cubicBezTo>
                  <a:pt x="1894893" y="4383604"/>
                  <a:pt x="1896325" y="4384159"/>
                  <a:pt x="1897758" y="4384936"/>
                </a:cubicBezTo>
                <a:cubicBezTo>
                  <a:pt x="1901483" y="4392047"/>
                  <a:pt x="1891170" y="4393046"/>
                  <a:pt x="1884868" y="4398711"/>
                </a:cubicBezTo>
                <a:cubicBezTo>
                  <a:pt x="1877993" y="4394045"/>
                  <a:pt x="1882575" y="4385159"/>
                  <a:pt x="1889738" y="4383604"/>
                </a:cubicBezTo>
                <a:cubicBezTo>
                  <a:pt x="1891169" y="4383382"/>
                  <a:pt x="1892316" y="4383270"/>
                  <a:pt x="1893748" y="4383382"/>
                </a:cubicBezTo>
                <a:close/>
                <a:moveTo>
                  <a:pt x="5752708" y="4382938"/>
                </a:moveTo>
                <a:cubicBezTo>
                  <a:pt x="5755000" y="4383382"/>
                  <a:pt x="5757005" y="4384493"/>
                  <a:pt x="5758438" y="4385825"/>
                </a:cubicBezTo>
                <a:cubicBezTo>
                  <a:pt x="5760155" y="4386603"/>
                  <a:pt x="5760729" y="4387825"/>
                  <a:pt x="5760729" y="4389158"/>
                </a:cubicBezTo>
                <a:cubicBezTo>
                  <a:pt x="5760729" y="4390491"/>
                  <a:pt x="5760442" y="4391935"/>
                  <a:pt x="5759297" y="4393046"/>
                </a:cubicBezTo>
                <a:cubicBezTo>
                  <a:pt x="5757578" y="4394046"/>
                  <a:pt x="5757578" y="4393934"/>
                  <a:pt x="5755859" y="4394934"/>
                </a:cubicBezTo>
                <a:cubicBezTo>
                  <a:pt x="5752422" y="4394601"/>
                  <a:pt x="5748984" y="4395379"/>
                  <a:pt x="5745833" y="4393934"/>
                </a:cubicBezTo>
                <a:cubicBezTo>
                  <a:pt x="5742682" y="4391158"/>
                  <a:pt x="5744974" y="4385603"/>
                  <a:pt x="5746979" y="4383382"/>
                </a:cubicBezTo>
                <a:cubicBezTo>
                  <a:pt x="5748698" y="4382493"/>
                  <a:pt x="5750703" y="4382382"/>
                  <a:pt x="5752708" y="4382938"/>
                </a:cubicBezTo>
                <a:close/>
                <a:moveTo>
                  <a:pt x="5653018" y="4382493"/>
                </a:moveTo>
                <a:cubicBezTo>
                  <a:pt x="5654737" y="4382271"/>
                  <a:pt x="5656456" y="4382382"/>
                  <a:pt x="5657888" y="4383048"/>
                </a:cubicBezTo>
                <a:cubicBezTo>
                  <a:pt x="5659607" y="4383826"/>
                  <a:pt x="5660753" y="4385381"/>
                  <a:pt x="5660466" y="4388047"/>
                </a:cubicBezTo>
                <a:cubicBezTo>
                  <a:pt x="5653592" y="4389824"/>
                  <a:pt x="5649008" y="4390936"/>
                  <a:pt x="5645284" y="4391047"/>
                </a:cubicBezTo>
                <a:cubicBezTo>
                  <a:pt x="5642133" y="4386936"/>
                  <a:pt x="5647576" y="4383159"/>
                  <a:pt x="5653018" y="4382493"/>
                </a:cubicBezTo>
                <a:close/>
                <a:moveTo>
                  <a:pt x="6185556" y="4382049"/>
                </a:moveTo>
                <a:cubicBezTo>
                  <a:pt x="6187561" y="4382382"/>
                  <a:pt x="6188420" y="4383382"/>
                  <a:pt x="6188420" y="4383382"/>
                </a:cubicBezTo>
                <a:cubicBezTo>
                  <a:pt x="6187848" y="4387603"/>
                  <a:pt x="6184983" y="4391490"/>
                  <a:pt x="6178108" y="4390269"/>
                </a:cubicBezTo>
                <a:cubicBezTo>
                  <a:pt x="6175816" y="4389936"/>
                  <a:pt x="6173810" y="4389491"/>
                  <a:pt x="6175243" y="4388936"/>
                </a:cubicBezTo>
                <a:cubicBezTo>
                  <a:pt x="6174384" y="4387936"/>
                  <a:pt x="6175816" y="4387270"/>
                  <a:pt x="6176676" y="4385714"/>
                </a:cubicBezTo>
                <a:cubicBezTo>
                  <a:pt x="6178680" y="4383493"/>
                  <a:pt x="6183264" y="4381605"/>
                  <a:pt x="6185556" y="4382049"/>
                </a:cubicBezTo>
                <a:close/>
                <a:moveTo>
                  <a:pt x="2436597" y="4380938"/>
                </a:moveTo>
                <a:cubicBezTo>
                  <a:pt x="2438029" y="4380938"/>
                  <a:pt x="2439176" y="4381161"/>
                  <a:pt x="2440321" y="4381715"/>
                </a:cubicBezTo>
                <a:cubicBezTo>
                  <a:pt x="2442899" y="4382604"/>
                  <a:pt x="2445191" y="4384382"/>
                  <a:pt x="2446337" y="4385825"/>
                </a:cubicBezTo>
                <a:cubicBezTo>
                  <a:pt x="2447196" y="4386937"/>
                  <a:pt x="2447483" y="4387825"/>
                  <a:pt x="2447197" y="4388492"/>
                </a:cubicBezTo>
                <a:cubicBezTo>
                  <a:pt x="2444332" y="4390269"/>
                  <a:pt x="2427431" y="4386492"/>
                  <a:pt x="2433159" y="4381826"/>
                </a:cubicBezTo>
                <a:cubicBezTo>
                  <a:pt x="2434019" y="4381160"/>
                  <a:pt x="2435451" y="4380938"/>
                  <a:pt x="2436597" y="4380938"/>
                </a:cubicBezTo>
                <a:close/>
                <a:moveTo>
                  <a:pt x="2845095" y="4380383"/>
                </a:moveTo>
                <a:cubicBezTo>
                  <a:pt x="2859132" y="4386048"/>
                  <a:pt x="2850538" y="4389825"/>
                  <a:pt x="2856267" y="4393601"/>
                </a:cubicBezTo>
                <a:cubicBezTo>
                  <a:pt x="2856267" y="4393601"/>
                  <a:pt x="2856268" y="4393490"/>
                  <a:pt x="2867439" y="4385936"/>
                </a:cubicBezTo>
                <a:cubicBezTo>
                  <a:pt x="2881476" y="4395378"/>
                  <a:pt x="2887205" y="4404821"/>
                  <a:pt x="2887205" y="4412263"/>
                </a:cubicBezTo>
                <a:cubicBezTo>
                  <a:pt x="2868873" y="4414152"/>
                  <a:pt x="2859705" y="4412819"/>
                  <a:pt x="2852257" y="4408376"/>
                </a:cubicBezTo>
                <a:lnTo>
                  <a:pt x="2845096" y="4402266"/>
                </a:lnTo>
                <a:lnTo>
                  <a:pt x="2843090" y="4402932"/>
                </a:lnTo>
                <a:cubicBezTo>
                  <a:pt x="2837362" y="4402488"/>
                  <a:pt x="2833638" y="4402488"/>
                  <a:pt x="2832777" y="4397823"/>
                </a:cubicBezTo>
                <a:cubicBezTo>
                  <a:pt x="2834210" y="4397267"/>
                  <a:pt x="2838506" y="4398267"/>
                  <a:pt x="2840798" y="4398822"/>
                </a:cubicBezTo>
                <a:lnTo>
                  <a:pt x="2841371" y="4398933"/>
                </a:lnTo>
                <a:lnTo>
                  <a:pt x="2828194" y="4385937"/>
                </a:lnTo>
                <a:cubicBezTo>
                  <a:pt x="2833637" y="4380272"/>
                  <a:pt x="2839366" y="4384159"/>
                  <a:pt x="2845095" y="4380383"/>
                </a:cubicBezTo>
                <a:close/>
                <a:moveTo>
                  <a:pt x="5489161" y="4380048"/>
                </a:moveTo>
                <a:cubicBezTo>
                  <a:pt x="5492026" y="4381604"/>
                  <a:pt x="5488302" y="4394157"/>
                  <a:pt x="5481140" y="4391490"/>
                </a:cubicBezTo>
                <a:cubicBezTo>
                  <a:pt x="5475697" y="4388381"/>
                  <a:pt x="5485437" y="4380049"/>
                  <a:pt x="5489161" y="4380048"/>
                </a:cubicBezTo>
                <a:close/>
                <a:moveTo>
                  <a:pt x="2202269" y="4379716"/>
                </a:moveTo>
                <a:cubicBezTo>
                  <a:pt x="2202269" y="4379716"/>
                  <a:pt x="2202843" y="4381382"/>
                  <a:pt x="2203702" y="4383048"/>
                </a:cubicBezTo>
                <a:cubicBezTo>
                  <a:pt x="2204561" y="4384604"/>
                  <a:pt x="2204847" y="4384604"/>
                  <a:pt x="2207139" y="4384270"/>
                </a:cubicBezTo>
                <a:cubicBezTo>
                  <a:pt x="2207998" y="4385826"/>
                  <a:pt x="2207998" y="4385937"/>
                  <a:pt x="2206566" y="4387936"/>
                </a:cubicBezTo>
                <a:cubicBezTo>
                  <a:pt x="2205707" y="4386381"/>
                  <a:pt x="2199691" y="4380161"/>
                  <a:pt x="2202269" y="4379716"/>
                </a:cubicBezTo>
                <a:close/>
                <a:moveTo>
                  <a:pt x="6268344" y="4378938"/>
                </a:moveTo>
                <a:cubicBezTo>
                  <a:pt x="6272354" y="4380493"/>
                  <a:pt x="6276365" y="4382271"/>
                  <a:pt x="6280376" y="4383826"/>
                </a:cubicBezTo>
                <a:cubicBezTo>
                  <a:pt x="6277224" y="4385714"/>
                  <a:pt x="6276365" y="4388270"/>
                  <a:pt x="6274932" y="4389713"/>
                </a:cubicBezTo>
                <a:cubicBezTo>
                  <a:pt x="6270062" y="4390713"/>
                  <a:pt x="6266338" y="4390158"/>
                  <a:pt x="6262042" y="4387380"/>
                </a:cubicBezTo>
                <a:cubicBezTo>
                  <a:pt x="6264047" y="4382160"/>
                  <a:pt x="6262901" y="4383604"/>
                  <a:pt x="6268344" y="4378938"/>
                </a:cubicBezTo>
                <a:close/>
                <a:moveTo>
                  <a:pt x="2116043" y="4378938"/>
                </a:moveTo>
                <a:cubicBezTo>
                  <a:pt x="2119194" y="4379827"/>
                  <a:pt x="2121487" y="4381049"/>
                  <a:pt x="2122920" y="4382493"/>
                </a:cubicBezTo>
                <a:cubicBezTo>
                  <a:pt x="2124352" y="4383937"/>
                  <a:pt x="2124637" y="4385603"/>
                  <a:pt x="2123779" y="4387714"/>
                </a:cubicBezTo>
                <a:lnTo>
                  <a:pt x="2121200" y="4390602"/>
                </a:lnTo>
                <a:lnTo>
                  <a:pt x="2122919" y="4390380"/>
                </a:lnTo>
                <a:lnTo>
                  <a:pt x="2124637" y="4390491"/>
                </a:lnTo>
                <a:lnTo>
                  <a:pt x="2125784" y="4388380"/>
                </a:lnTo>
                <a:lnTo>
                  <a:pt x="2131799" y="4390380"/>
                </a:lnTo>
                <a:lnTo>
                  <a:pt x="2131227" y="4390936"/>
                </a:lnTo>
                <a:lnTo>
                  <a:pt x="2136382" y="4391269"/>
                </a:lnTo>
                <a:cubicBezTo>
                  <a:pt x="2140966" y="4392047"/>
                  <a:pt x="2146122" y="4393490"/>
                  <a:pt x="2151565" y="4395601"/>
                </a:cubicBezTo>
                <a:cubicBezTo>
                  <a:pt x="2151565" y="4397378"/>
                  <a:pt x="2152997" y="4399600"/>
                  <a:pt x="2153570" y="4401710"/>
                </a:cubicBezTo>
                <a:lnTo>
                  <a:pt x="2153571" y="4404154"/>
                </a:lnTo>
                <a:lnTo>
                  <a:pt x="2154143" y="4405376"/>
                </a:lnTo>
                <a:cubicBezTo>
                  <a:pt x="2154717" y="4406709"/>
                  <a:pt x="2154143" y="4408153"/>
                  <a:pt x="2152139" y="4409820"/>
                </a:cubicBezTo>
                <a:cubicBezTo>
                  <a:pt x="2151279" y="4409597"/>
                  <a:pt x="2150419" y="4408598"/>
                  <a:pt x="2149847" y="4407598"/>
                </a:cubicBezTo>
                <a:lnTo>
                  <a:pt x="2149273" y="4406376"/>
                </a:lnTo>
                <a:lnTo>
                  <a:pt x="2143544" y="4403377"/>
                </a:lnTo>
                <a:lnTo>
                  <a:pt x="2142112" y="4403155"/>
                </a:lnTo>
                <a:lnTo>
                  <a:pt x="2141826" y="4403709"/>
                </a:lnTo>
                <a:cubicBezTo>
                  <a:pt x="2139247" y="4405597"/>
                  <a:pt x="2134377" y="4406931"/>
                  <a:pt x="2132372" y="4406265"/>
                </a:cubicBezTo>
                <a:cubicBezTo>
                  <a:pt x="2130367" y="4405598"/>
                  <a:pt x="2129794" y="4404488"/>
                  <a:pt x="2129794" y="4404488"/>
                </a:cubicBezTo>
                <a:lnTo>
                  <a:pt x="2132373" y="4401156"/>
                </a:lnTo>
                <a:lnTo>
                  <a:pt x="2130940" y="4400822"/>
                </a:lnTo>
                <a:cubicBezTo>
                  <a:pt x="2118049" y="4399600"/>
                  <a:pt x="2104586" y="4401376"/>
                  <a:pt x="2098283" y="4392824"/>
                </a:cubicBezTo>
                <a:lnTo>
                  <a:pt x="2108596" y="4391824"/>
                </a:lnTo>
                <a:lnTo>
                  <a:pt x="2107449" y="4390380"/>
                </a:lnTo>
                <a:cubicBezTo>
                  <a:pt x="2106304" y="4388825"/>
                  <a:pt x="2106018" y="4386492"/>
                  <a:pt x="2107449" y="4383715"/>
                </a:cubicBezTo>
                <a:cubicBezTo>
                  <a:pt x="2108595" y="4382159"/>
                  <a:pt x="2112320" y="4378716"/>
                  <a:pt x="2112892" y="4379716"/>
                </a:cubicBezTo>
                <a:cubicBezTo>
                  <a:pt x="2114898" y="4380383"/>
                  <a:pt x="2114325" y="4379383"/>
                  <a:pt x="2116043" y="4378938"/>
                </a:cubicBezTo>
                <a:close/>
                <a:moveTo>
                  <a:pt x="2180785" y="4378494"/>
                </a:moveTo>
                <a:cubicBezTo>
                  <a:pt x="2186227" y="4391490"/>
                  <a:pt x="2174482" y="4398267"/>
                  <a:pt x="2162737" y="4405043"/>
                </a:cubicBezTo>
                <a:cubicBezTo>
                  <a:pt x="2152424" y="4395157"/>
                  <a:pt x="2168181" y="4383603"/>
                  <a:pt x="2180785" y="4378494"/>
                </a:cubicBezTo>
                <a:close/>
                <a:moveTo>
                  <a:pt x="2797257" y="4376494"/>
                </a:moveTo>
                <a:cubicBezTo>
                  <a:pt x="2798975" y="4376273"/>
                  <a:pt x="2800693" y="4376273"/>
                  <a:pt x="2801839" y="4376605"/>
                </a:cubicBezTo>
                <a:cubicBezTo>
                  <a:pt x="2809575" y="4386381"/>
                  <a:pt x="2797256" y="4390935"/>
                  <a:pt x="2788662" y="4387826"/>
                </a:cubicBezTo>
                <a:cubicBezTo>
                  <a:pt x="2786083" y="4386825"/>
                  <a:pt x="2783505" y="4384937"/>
                  <a:pt x="2782359" y="4382159"/>
                </a:cubicBezTo>
                <a:cubicBezTo>
                  <a:pt x="2784365" y="4379827"/>
                  <a:pt x="2791813" y="4377050"/>
                  <a:pt x="2797257" y="4376494"/>
                </a:cubicBezTo>
                <a:close/>
                <a:moveTo>
                  <a:pt x="2593866" y="4375939"/>
                </a:moveTo>
                <a:cubicBezTo>
                  <a:pt x="2594725" y="4375939"/>
                  <a:pt x="2595585" y="4376273"/>
                  <a:pt x="2595871" y="4377050"/>
                </a:cubicBezTo>
                <a:cubicBezTo>
                  <a:pt x="2595871" y="4377050"/>
                  <a:pt x="2595299" y="4378050"/>
                  <a:pt x="2590716" y="4378938"/>
                </a:cubicBezTo>
                <a:cubicBezTo>
                  <a:pt x="2591574" y="4377828"/>
                  <a:pt x="2589855" y="4377272"/>
                  <a:pt x="2589855" y="4377272"/>
                </a:cubicBezTo>
                <a:cubicBezTo>
                  <a:pt x="2589855" y="4377272"/>
                  <a:pt x="2589856" y="4377383"/>
                  <a:pt x="2589282" y="4378383"/>
                </a:cubicBezTo>
                <a:cubicBezTo>
                  <a:pt x="2588996" y="4377605"/>
                  <a:pt x="2589282" y="4377050"/>
                  <a:pt x="2589569" y="4376717"/>
                </a:cubicBezTo>
                <a:cubicBezTo>
                  <a:pt x="2590142" y="4376383"/>
                  <a:pt x="2590715" y="4376273"/>
                  <a:pt x="2590715" y="4376273"/>
                </a:cubicBezTo>
                <a:cubicBezTo>
                  <a:pt x="2591861" y="4376051"/>
                  <a:pt x="2593007" y="4375938"/>
                  <a:pt x="2593866" y="4375939"/>
                </a:cubicBezTo>
                <a:close/>
                <a:moveTo>
                  <a:pt x="6258890" y="4375273"/>
                </a:moveTo>
                <a:cubicBezTo>
                  <a:pt x="6261469" y="4375606"/>
                  <a:pt x="6263760" y="4376273"/>
                  <a:pt x="6265766" y="4376494"/>
                </a:cubicBezTo>
                <a:cubicBezTo>
                  <a:pt x="6264334" y="4377939"/>
                  <a:pt x="6263188" y="4379383"/>
                  <a:pt x="6264906" y="4378938"/>
                </a:cubicBezTo>
                <a:cubicBezTo>
                  <a:pt x="6263760" y="4380492"/>
                  <a:pt x="6262328" y="4381493"/>
                  <a:pt x="6260610" y="4382049"/>
                </a:cubicBezTo>
                <a:cubicBezTo>
                  <a:pt x="6259177" y="4382604"/>
                  <a:pt x="6257458" y="4382715"/>
                  <a:pt x="6255454" y="4382604"/>
                </a:cubicBezTo>
                <a:cubicBezTo>
                  <a:pt x="6253448" y="4381826"/>
                  <a:pt x="6252588" y="4379605"/>
                  <a:pt x="6253162" y="4375939"/>
                </a:cubicBezTo>
                <a:cubicBezTo>
                  <a:pt x="6254307" y="4374940"/>
                  <a:pt x="6256599" y="4374940"/>
                  <a:pt x="6258890" y="4375273"/>
                </a:cubicBezTo>
                <a:close/>
                <a:moveTo>
                  <a:pt x="5814012" y="4374717"/>
                </a:moveTo>
                <a:cubicBezTo>
                  <a:pt x="5814012" y="4374717"/>
                  <a:pt x="5814298" y="4375828"/>
                  <a:pt x="5814298" y="4375828"/>
                </a:cubicBezTo>
                <a:cubicBezTo>
                  <a:pt x="5812580" y="4376273"/>
                  <a:pt x="5814298" y="4375828"/>
                  <a:pt x="5816303" y="4376495"/>
                </a:cubicBezTo>
                <a:cubicBezTo>
                  <a:pt x="5815730" y="4379161"/>
                  <a:pt x="5816016" y="4380383"/>
                  <a:pt x="5814871" y="4381826"/>
                </a:cubicBezTo>
                <a:cubicBezTo>
                  <a:pt x="5814298" y="4382604"/>
                  <a:pt x="5813438" y="4383493"/>
                  <a:pt x="5812292" y="4384048"/>
                </a:cubicBezTo>
                <a:cubicBezTo>
                  <a:pt x="5811146" y="4384604"/>
                  <a:pt x="5810001" y="4384937"/>
                  <a:pt x="5808855" y="4384604"/>
                </a:cubicBezTo>
                <a:cubicBezTo>
                  <a:pt x="5808282" y="4383493"/>
                  <a:pt x="5806564" y="4383826"/>
                  <a:pt x="5806277" y="4382715"/>
                </a:cubicBezTo>
                <a:cubicBezTo>
                  <a:pt x="5803699" y="4380938"/>
                  <a:pt x="5803412" y="4379716"/>
                  <a:pt x="5804558" y="4378161"/>
                </a:cubicBezTo>
                <a:cubicBezTo>
                  <a:pt x="5803986" y="4377050"/>
                  <a:pt x="5805704" y="4376717"/>
                  <a:pt x="5807136" y="4375273"/>
                </a:cubicBezTo>
                <a:cubicBezTo>
                  <a:pt x="5808568" y="4374828"/>
                  <a:pt x="5810574" y="4375494"/>
                  <a:pt x="5810574" y="4375494"/>
                </a:cubicBezTo>
                <a:cubicBezTo>
                  <a:pt x="5812866" y="4376161"/>
                  <a:pt x="5812580" y="4376273"/>
                  <a:pt x="5814012" y="4374717"/>
                </a:cubicBezTo>
                <a:close/>
                <a:moveTo>
                  <a:pt x="6307876" y="4373718"/>
                </a:moveTo>
                <a:cubicBezTo>
                  <a:pt x="6309882" y="4374495"/>
                  <a:pt x="6311027" y="4375273"/>
                  <a:pt x="6311887" y="4376050"/>
                </a:cubicBezTo>
                <a:cubicBezTo>
                  <a:pt x="6314464" y="4378383"/>
                  <a:pt x="6312460" y="4381049"/>
                  <a:pt x="6310454" y="4383604"/>
                </a:cubicBezTo>
                <a:cubicBezTo>
                  <a:pt x="6306157" y="4380938"/>
                  <a:pt x="6301574" y="4385492"/>
                  <a:pt x="6299282" y="4380604"/>
                </a:cubicBezTo>
                <a:cubicBezTo>
                  <a:pt x="6299856" y="4378160"/>
                  <a:pt x="6302146" y="4375828"/>
                  <a:pt x="6307876" y="4373718"/>
                </a:cubicBezTo>
                <a:close/>
                <a:moveTo>
                  <a:pt x="6555095" y="4373495"/>
                </a:moveTo>
                <a:cubicBezTo>
                  <a:pt x="6561970" y="4374273"/>
                  <a:pt x="6569418" y="4374939"/>
                  <a:pt x="6572569" y="4377717"/>
                </a:cubicBezTo>
                <a:cubicBezTo>
                  <a:pt x="6572282" y="4381049"/>
                  <a:pt x="6570850" y="4383715"/>
                  <a:pt x="6567986" y="4385603"/>
                </a:cubicBezTo>
                <a:cubicBezTo>
                  <a:pt x="6565408" y="4387492"/>
                  <a:pt x="6561397" y="4388603"/>
                  <a:pt x="6555954" y="4388381"/>
                </a:cubicBezTo>
                <a:cubicBezTo>
                  <a:pt x="6549366" y="4384381"/>
                  <a:pt x="6553376" y="4377383"/>
                  <a:pt x="6555095" y="4373495"/>
                </a:cubicBezTo>
                <a:close/>
                <a:moveTo>
                  <a:pt x="2264719" y="4371384"/>
                </a:moveTo>
                <a:cubicBezTo>
                  <a:pt x="2266437" y="4372496"/>
                  <a:pt x="2267583" y="4373939"/>
                  <a:pt x="2268156" y="4375717"/>
                </a:cubicBezTo>
                <a:lnTo>
                  <a:pt x="2267584" y="4379605"/>
                </a:lnTo>
                <a:lnTo>
                  <a:pt x="2268443" y="4379605"/>
                </a:lnTo>
                <a:lnTo>
                  <a:pt x="2268157" y="4374495"/>
                </a:lnTo>
                <a:cubicBezTo>
                  <a:pt x="2269302" y="4374717"/>
                  <a:pt x="2269875" y="4375273"/>
                  <a:pt x="2270161" y="4375939"/>
                </a:cubicBezTo>
                <a:cubicBezTo>
                  <a:pt x="2270162" y="4376606"/>
                  <a:pt x="2270162" y="4377494"/>
                  <a:pt x="2269875" y="4378272"/>
                </a:cubicBezTo>
                <a:lnTo>
                  <a:pt x="2269589" y="4379494"/>
                </a:lnTo>
                <a:lnTo>
                  <a:pt x="2273312" y="4379383"/>
                </a:lnTo>
                <a:cubicBezTo>
                  <a:pt x="2279043" y="4383493"/>
                  <a:pt x="2280761" y="4387269"/>
                  <a:pt x="2280474" y="4390380"/>
                </a:cubicBezTo>
                <a:cubicBezTo>
                  <a:pt x="2279042" y="4399822"/>
                  <a:pt x="2255839" y="4403377"/>
                  <a:pt x="2245239" y="4392824"/>
                </a:cubicBezTo>
                <a:cubicBezTo>
                  <a:pt x="2245239" y="4389713"/>
                  <a:pt x="2247817" y="4386826"/>
                  <a:pt x="2251541" y="4384604"/>
                </a:cubicBezTo>
                <a:lnTo>
                  <a:pt x="2253547" y="4383826"/>
                </a:lnTo>
                <a:lnTo>
                  <a:pt x="2254406" y="4379937"/>
                </a:lnTo>
                <a:cubicBezTo>
                  <a:pt x="2256124" y="4375717"/>
                  <a:pt x="2258990" y="4372495"/>
                  <a:pt x="2264719" y="4371384"/>
                </a:cubicBezTo>
                <a:close/>
                <a:moveTo>
                  <a:pt x="6783407" y="4371274"/>
                </a:moveTo>
                <a:cubicBezTo>
                  <a:pt x="6786558" y="4372718"/>
                  <a:pt x="6788277" y="4372940"/>
                  <a:pt x="6789709" y="4374273"/>
                </a:cubicBezTo>
                <a:cubicBezTo>
                  <a:pt x="6790568" y="4374939"/>
                  <a:pt x="6791428" y="4375939"/>
                  <a:pt x="6791714" y="4376939"/>
                </a:cubicBezTo>
                <a:cubicBezTo>
                  <a:pt x="6792001" y="4377828"/>
                  <a:pt x="6792001" y="4378717"/>
                  <a:pt x="6791142" y="4379161"/>
                </a:cubicBezTo>
                <a:cubicBezTo>
                  <a:pt x="6789422" y="4378938"/>
                  <a:pt x="6789422" y="4380161"/>
                  <a:pt x="6787704" y="4379938"/>
                </a:cubicBezTo>
                <a:cubicBezTo>
                  <a:pt x="6783980" y="4380715"/>
                  <a:pt x="6782548" y="4380493"/>
                  <a:pt x="6780828" y="4379160"/>
                </a:cubicBezTo>
                <a:cubicBezTo>
                  <a:pt x="6779110" y="4378938"/>
                  <a:pt x="6779110" y="4377828"/>
                  <a:pt x="6777678" y="4376494"/>
                </a:cubicBezTo>
                <a:cubicBezTo>
                  <a:pt x="6777678" y="4375272"/>
                  <a:pt x="6779396" y="4374384"/>
                  <a:pt x="6779396" y="4374384"/>
                </a:cubicBezTo>
                <a:cubicBezTo>
                  <a:pt x="6781402" y="4373384"/>
                  <a:pt x="6781402" y="4373384"/>
                  <a:pt x="6779683" y="4372052"/>
                </a:cubicBezTo>
                <a:cubicBezTo>
                  <a:pt x="6779683" y="4372052"/>
                  <a:pt x="6781402" y="4372162"/>
                  <a:pt x="6781402" y="4372162"/>
                </a:cubicBezTo>
                <a:cubicBezTo>
                  <a:pt x="6781402" y="4373384"/>
                  <a:pt x="6781402" y="4372162"/>
                  <a:pt x="6783407" y="4371274"/>
                </a:cubicBezTo>
                <a:close/>
                <a:moveTo>
                  <a:pt x="5510360" y="4370385"/>
                </a:moveTo>
                <a:cubicBezTo>
                  <a:pt x="5512651" y="4371052"/>
                  <a:pt x="5513510" y="4373273"/>
                  <a:pt x="5512938" y="4375939"/>
                </a:cubicBezTo>
                <a:cubicBezTo>
                  <a:pt x="5510932" y="4375272"/>
                  <a:pt x="5508068" y="4377272"/>
                  <a:pt x="5505776" y="4376605"/>
                </a:cubicBezTo>
                <a:cubicBezTo>
                  <a:pt x="5505776" y="4376605"/>
                  <a:pt x="5502625" y="4373718"/>
                  <a:pt x="5502625" y="4373718"/>
                </a:cubicBezTo>
                <a:cubicBezTo>
                  <a:pt x="5503770" y="4372162"/>
                  <a:pt x="5503770" y="4372162"/>
                  <a:pt x="5504344" y="4373273"/>
                </a:cubicBezTo>
                <a:cubicBezTo>
                  <a:pt x="5506922" y="4371274"/>
                  <a:pt x="5508640" y="4370829"/>
                  <a:pt x="5510360" y="4370385"/>
                </a:cubicBezTo>
                <a:close/>
                <a:moveTo>
                  <a:pt x="5868439" y="4369830"/>
                </a:moveTo>
                <a:cubicBezTo>
                  <a:pt x="5870158" y="4374494"/>
                  <a:pt x="5871878" y="4379272"/>
                  <a:pt x="5865002" y="4380938"/>
                </a:cubicBezTo>
                <a:cubicBezTo>
                  <a:pt x="5857840" y="4378494"/>
                  <a:pt x="5857840" y="4371718"/>
                  <a:pt x="5868439" y="4369830"/>
                </a:cubicBezTo>
                <a:close/>
                <a:moveTo>
                  <a:pt x="2676941" y="4369052"/>
                </a:moveTo>
                <a:cubicBezTo>
                  <a:pt x="2678373" y="4369608"/>
                  <a:pt x="2682383" y="4369830"/>
                  <a:pt x="2683243" y="4371384"/>
                </a:cubicBezTo>
                <a:cubicBezTo>
                  <a:pt x="2684102" y="4373051"/>
                  <a:pt x="2684102" y="4373051"/>
                  <a:pt x="2682670" y="4375051"/>
                </a:cubicBezTo>
                <a:cubicBezTo>
                  <a:pt x="2678659" y="4372273"/>
                  <a:pt x="2678659" y="4372273"/>
                  <a:pt x="2676941" y="4369052"/>
                </a:cubicBezTo>
                <a:close/>
                <a:moveTo>
                  <a:pt x="6620123" y="4368496"/>
                </a:moveTo>
                <a:cubicBezTo>
                  <a:pt x="6622987" y="4368941"/>
                  <a:pt x="6625278" y="4370274"/>
                  <a:pt x="6626711" y="4372051"/>
                </a:cubicBezTo>
                <a:cubicBezTo>
                  <a:pt x="6627570" y="4373162"/>
                  <a:pt x="6628143" y="4374606"/>
                  <a:pt x="6627570" y="4376162"/>
                </a:cubicBezTo>
                <a:cubicBezTo>
                  <a:pt x="6625852" y="4377161"/>
                  <a:pt x="6623560" y="4379494"/>
                  <a:pt x="6619836" y="4380605"/>
                </a:cubicBezTo>
                <a:cubicBezTo>
                  <a:pt x="6611814" y="4378827"/>
                  <a:pt x="6609523" y="4375050"/>
                  <a:pt x="6610669" y="4370163"/>
                </a:cubicBezTo>
                <a:cubicBezTo>
                  <a:pt x="6613820" y="4368496"/>
                  <a:pt x="6616971" y="4368052"/>
                  <a:pt x="6620123" y="4368496"/>
                </a:cubicBezTo>
                <a:close/>
                <a:moveTo>
                  <a:pt x="5763594" y="4368385"/>
                </a:moveTo>
                <a:cubicBezTo>
                  <a:pt x="5764453" y="4368608"/>
                  <a:pt x="5765599" y="4369163"/>
                  <a:pt x="5766458" y="4369718"/>
                </a:cubicBezTo>
                <a:cubicBezTo>
                  <a:pt x="5768464" y="4370829"/>
                  <a:pt x="5770469" y="4371940"/>
                  <a:pt x="5772474" y="4373051"/>
                </a:cubicBezTo>
                <a:cubicBezTo>
                  <a:pt x="5772474" y="4373051"/>
                  <a:pt x="5772474" y="4373051"/>
                  <a:pt x="5761016" y="4368719"/>
                </a:cubicBezTo>
                <a:cubicBezTo>
                  <a:pt x="5761875" y="4368052"/>
                  <a:pt x="5762734" y="4368051"/>
                  <a:pt x="5763594" y="4368385"/>
                </a:cubicBezTo>
                <a:close/>
                <a:moveTo>
                  <a:pt x="1969948" y="4368385"/>
                </a:moveTo>
                <a:cubicBezTo>
                  <a:pt x="1972238" y="4368608"/>
                  <a:pt x="1974530" y="4369718"/>
                  <a:pt x="1977682" y="4372162"/>
                </a:cubicBezTo>
                <a:cubicBezTo>
                  <a:pt x="1977682" y="4372162"/>
                  <a:pt x="1978541" y="4373717"/>
                  <a:pt x="1978541" y="4373717"/>
                </a:cubicBezTo>
                <a:lnTo>
                  <a:pt x="1980546" y="4380938"/>
                </a:lnTo>
                <a:lnTo>
                  <a:pt x="1984270" y="4382493"/>
                </a:lnTo>
                <a:cubicBezTo>
                  <a:pt x="1984557" y="4385937"/>
                  <a:pt x="1981405" y="4388492"/>
                  <a:pt x="1977395" y="4389935"/>
                </a:cubicBezTo>
                <a:lnTo>
                  <a:pt x="1973958" y="4389936"/>
                </a:lnTo>
                <a:lnTo>
                  <a:pt x="1973671" y="4392380"/>
                </a:lnTo>
                <a:cubicBezTo>
                  <a:pt x="1970233" y="4391491"/>
                  <a:pt x="1966224" y="4392379"/>
                  <a:pt x="1963931" y="4392380"/>
                </a:cubicBezTo>
                <a:lnTo>
                  <a:pt x="1961926" y="4389158"/>
                </a:lnTo>
                <a:lnTo>
                  <a:pt x="1957057" y="4386269"/>
                </a:lnTo>
                <a:cubicBezTo>
                  <a:pt x="1956770" y="4383937"/>
                  <a:pt x="1958203" y="4382159"/>
                  <a:pt x="1959920" y="4380938"/>
                </a:cubicBezTo>
                <a:lnTo>
                  <a:pt x="1963645" y="4379827"/>
                </a:lnTo>
                <a:lnTo>
                  <a:pt x="1962785" y="4376717"/>
                </a:lnTo>
                <a:cubicBezTo>
                  <a:pt x="1962785" y="4374607"/>
                  <a:pt x="1962786" y="4372384"/>
                  <a:pt x="1961639" y="4370052"/>
                </a:cubicBezTo>
                <a:cubicBezTo>
                  <a:pt x="1965363" y="4368830"/>
                  <a:pt x="1967942" y="4368163"/>
                  <a:pt x="1969948" y="4368385"/>
                </a:cubicBezTo>
                <a:close/>
                <a:moveTo>
                  <a:pt x="2674076" y="4366941"/>
                </a:moveTo>
                <a:cubicBezTo>
                  <a:pt x="2674649" y="4367164"/>
                  <a:pt x="2675508" y="4367719"/>
                  <a:pt x="2675795" y="4368496"/>
                </a:cubicBezTo>
                <a:cubicBezTo>
                  <a:pt x="2675795" y="4368496"/>
                  <a:pt x="2675223" y="4369385"/>
                  <a:pt x="2675223" y="4369385"/>
                </a:cubicBezTo>
                <a:cubicBezTo>
                  <a:pt x="2673504" y="4368718"/>
                  <a:pt x="2671785" y="4368163"/>
                  <a:pt x="2672645" y="4367164"/>
                </a:cubicBezTo>
                <a:cubicBezTo>
                  <a:pt x="2672930" y="4366719"/>
                  <a:pt x="2673503" y="4366719"/>
                  <a:pt x="2674076" y="4366941"/>
                </a:cubicBezTo>
                <a:close/>
                <a:moveTo>
                  <a:pt x="1821846" y="4366386"/>
                </a:moveTo>
                <a:cubicBezTo>
                  <a:pt x="1824709" y="4365942"/>
                  <a:pt x="1827001" y="4366163"/>
                  <a:pt x="1829293" y="4366719"/>
                </a:cubicBezTo>
                <a:cubicBezTo>
                  <a:pt x="1835596" y="4368386"/>
                  <a:pt x="1837887" y="4373828"/>
                  <a:pt x="1830438" y="4377050"/>
                </a:cubicBezTo>
                <a:cubicBezTo>
                  <a:pt x="1821846" y="4373718"/>
                  <a:pt x="1820413" y="4370385"/>
                  <a:pt x="1821846" y="4366386"/>
                </a:cubicBezTo>
                <a:close/>
                <a:moveTo>
                  <a:pt x="5833491" y="4364719"/>
                </a:moveTo>
                <a:cubicBezTo>
                  <a:pt x="5836069" y="4364720"/>
                  <a:pt x="5838361" y="4364942"/>
                  <a:pt x="5840366" y="4365275"/>
                </a:cubicBezTo>
                <a:cubicBezTo>
                  <a:pt x="5844950" y="4366052"/>
                  <a:pt x="5848674" y="4367496"/>
                  <a:pt x="5852684" y="4368830"/>
                </a:cubicBezTo>
                <a:cubicBezTo>
                  <a:pt x="5857554" y="4384048"/>
                  <a:pt x="5836069" y="4377494"/>
                  <a:pt x="5824325" y="4377050"/>
                </a:cubicBezTo>
                <a:cubicBezTo>
                  <a:pt x="5822607" y="4371940"/>
                  <a:pt x="5822892" y="4370274"/>
                  <a:pt x="5825756" y="4365386"/>
                </a:cubicBezTo>
                <a:cubicBezTo>
                  <a:pt x="5828621" y="4364830"/>
                  <a:pt x="5831200" y="4364719"/>
                  <a:pt x="5833491" y="4364719"/>
                </a:cubicBezTo>
                <a:close/>
                <a:moveTo>
                  <a:pt x="2368991" y="4364609"/>
                </a:moveTo>
                <a:cubicBezTo>
                  <a:pt x="2376439" y="4365942"/>
                  <a:pt x="2384460" y="4366718"/>
                  <a:pt x="2387325" y="4370385"/>
                </a:cubicBezTo>
                <a:cubicBezTo>
                  <a:pt x="2388471" y="4371718"/>
                  <a:pt x="2388757" y="4373273"/>
                  <a:pt x="2388185" y="4375273"/>
                </a:cubicBezTo>
                <a:cubicBezTo>
                  <a:pt x="2382742" y="4379494"/>
                  <a:pt x="2377012" y="4380161"/>
                  <a:pt x="2372715" y="4378938"/>
                </a:cubicBezTo>
                <a:lnTo>
                  <a:pt x="2371570" y="4378383"/>
                </a:lnTo>
                <a:cubicBezTo>
                  <a:pt x="2372715" y="4379383"/>
                  <a:pt x="2367559" y="4380160"/>
                  <a:pt x="2367559" y="4380160"/>
                </a:cubicBezTo>
                <a:cubicBezTo>
                  <a:pt x="2364982" y="4379827"/>
                  <a:pt x="2364694" y="4375495"/>
                  <a:pt x="2363836" y="4374495"/>
                </a:cubicBezTo>
                <a:lnTo>
                  <a:pt x="2366414" y="4374050"/>
                </a:lnTo>
                <a:lnTo>
                  <a:pt x="2364981" y="4371051"/>
                </a:lnTo>
                <a:cubicBezTo>
                  <a:pt x="2364694" y="4368830"/>
                  <a:pt x="2366127" y="4366497"/>
                  <a:pt x="2368991" y="4364609"/>
                </a:cubicBezTo>
                <a:close/>
                <a:moveTo>
                  <a:pt x="5706301" y="4363609"/>
                </a:moveTo>
                <a:cubicBezTo>
                  <a:pt x="5707733" y="4363942"/>
                  <a:pt x="5708879" y="4364719"/>
                  <a:pt x="5709738" y="4365386"/>
                </a:cubicBezTo>
                <a:cubicBezTo>
                  <a:pt x="5712317" y="4366275"/>
                  <a:pt x="5713462" y="4367830"/>
                  <a:pt x="5713749" y="4369608"/>
                </a:cubicBezTo>
                <a:lnTo>
                  <a:pt x="5713177" y="4370941"/>
                </a:lnTo>
                <a:lnTo>
                  <a:pt x="5714608" y="4370052"/>
                </a:lnTo>
                <a:cubicBezTo>
                  <a:pt x="5716615" y="4369608"/>
                  <a:pt x="5719192" y="4369496"/>
                  <a:pt x="5721197" y="4369940"/>
                </a:cubicBezTo>
                <a:cubicBezTo>
                  <a:pt x="5723202" y="4369829"/>
                  <a:pt x="5724634" y="4370497"/>
                  <a:pt x="5725780" y="4371496"/>
                </a:cubicBezTo>
                <a:cubicBezTo>
                  <a:pt x="5726926" y="4372495"/>
                  <a:pt x="5727500" y="4373940"/>
                  <a:pt x="5727500" y="4375273"/>
                </a:cubicBezTo>
                <a:cubicBezTo>
                  <a:pt x="5726641" y="4376828"/>
                  <a:pt x="5726641" y="4376828"/>
                  <a:pt x="5726067" y="4378494"/>
                </a:cubicBezTo>
                <a:cubicBezTo>
                  <a:pt x="5722916" y="4379716"/>
                  <a:pt x="5720910" y="4381938"/>
                  <a:pt x="5716900" y="4382159"/>
                </a:cubicBezTo>
                <a:cubicBezTo>
                  <a:pt x="5714895" y="4381826"/>
                  <a:pt x="5713176" y="4380161"/>
                  <a:pt x="5712030" y="4378383"/>
                </a:cubicBezTo>
                <a:lnTo>
                  <a:pt x="5710025" y="4373384"/>
                </a:lnTo>
                <a:lnTo>
                  <a:pt x="5708879" y="4373606"/>
                </a:lnTo>
                <a:cubicBezTo>
                  <a:pt x="5708879" y="4373606"/>
                  <a:pt x="5710598" y="4373828"/>
                  <a:pt x="5708879" y="4374828"/>
                </a:cubicBezTo>
                <a:cubicBezTo>
                  <a:pt x="5708879" y="4373606"/>
                  <a:pt x="5707160" y="4373384"/>
                  <a:pt x="5705442" y="4373273"/>
                </a:cubicBezTo>
                <a:cubicBezTo>
                  <a:pt x="5702290" y="4370497"/>
                  <a:pt x="5699426" y="4366608"/>
                  <a:pt x="5701144" y="4364386"/>
                </a:cubicBezTo>
                <a:cubicBezTo>
                  <a:pt x="5703150" y="4363387"/>
                  <a:pt x="5704868" y="4363275"/>
                  <a:pt x="5706301" y="4363609"/>
                </a:cubicBezTo>
                <a:close/>
                <a:moveTo>
                  <a:pt x="5735520" y="4363609"/>
                </a:moveTo>
                <a:cubicBezTo>
                  <a:pt x="5739817" y="4364720"/>
                  <a:pt x="5743542" y="4364720"/>
                  <a:pt x="5745546" y="4365275"/>
                </a:cubicBezTo>
                <a:cubicBezTo>
                  <a:pt x="5744974" y="4370607"/>
                  <a:pt x="5740963" y="4373162"/>
                  <a:pt x="5734374" y="4371607"/>
                </a:cubicBezTo>
                <a:cubicBezTo>
                  <a:pt x="5736381" y="4368385"/>
                  <a:pt x="5733515" y="4366831"/>
                  <a:pt x="5735520" y="4363609"/>
                </a:cubicBezTo>
                <a:close/>
                <a:moveTo>
                  <a:pt x="2668060" y="4362498"/>
                </a:moveTo>
                <a:cubicBezTo>
                  <a:pt x="2668920" y="4363498"/>
                  <a:pt x="2670066" y="4364498"/>
                  <a:pt x="2669780" y="4366164"/>
                </a:cubicBezTo>
                <a:cubicBezTo>
                  <a:pt x="2669206" y="4367830"/>
                  <a:pt x="2668347" y="4366831"/>
                  <a:pt x="2669206" y="4367830"/>
                </a:cubicBezTo>
                <a:cubicBezTo>
                  <a:pt x="2668920" y="4369497"/>
                  <a:pt x="2670352" y="4368830"/>
                  <a:pt x="2670352" y="4368830"/>
                </a:cubicBezTo>
                <a:cubicBezTo>
                  <a:pt x="2670352" y="4368830"/>
                  <a:pt x="2668921" y="4369385"/>
                  <a:pt x="2668921" y="4369385"/>
                </a:cubicBezTo>
                <a:cubicBezTo>
                  <a:pt x="2668921" y="4369385"/>
                  <a:pt x="2668921" y="4369385"/>
                  <a:pt x="2668348" y="4372607"/>
                </a:cubicBezTo>
                <a:cubicBezTo>
                  <a:pt x="2668634" y="4376828"/>
                  <a:pt x="2669493" y="4377939"/>
                  <a:pt x="2670065" y="4380605"/>
                </a:cubicBezTo>
                <a:cubicBezTo>
                  <a:pt x="2669493" y="4383826"/>
                  <a:pt x="2668060" y="4384381"/>
                  <a:pt x="2666056" y="4388269"/>
                </a:cubicBezTo>
                <a:cubicBezTo>
                  <a:pt x="2662331" y="4388381"/>
                  <a:pt x="2662331" y="4388492"/>
                  <a:pt x="2661185" y="4387492"/>
                </a:cubicBezTo>
                <a:cubicBezTo>
                  <a:pt x="2662331" y="4388492"/>
                  <a:pt x="2660900" y="4389047"/>
                  <a:pt x="2660613" y="4390713"/>
                </a:cubicBezTo>
                <a:cubicBezTo>
                  <a:pt x="2661471" y="4397600"/>
                  <a:pt x="2652592" y="4398490"/>
                  <a:pt x="2641992" y="4397378"/>
                </a:cubicBezTo>
                <a:cubicBezTo>
                  <a:pt x="2642278" y="4395712"/>
                  <a:pt x="2636263" y="4395601"/>
                  <a:pt x="2632825" y="4394157"/>
                </a:cubicBezTo>
                <a:cubicBezTo>
                  <a:pt x="2631393" y="4392602"/>
                  <a:pt x="2629961" y="4391380"/>
                  <a:pt x="2629387" y="4390047"/>
                </a:cubicBezTo>
                <a:lnTo>
                  <a:pt x="2629387" y="4389935"/>
                </a:lnTo>
                <a:lnTo>
                  <a:pt x="2618502" y="4387269"/>
                </a:lnTo>
                <a:lnTo>
                  <a:pt x="2617357" y="4386714"/>
                </a:lnTo>
                <a:lnTo>
                  <a:pt x="2616497" y="4386714"/>
                </a:lnTo>
                <a:cubicBezTo>
                  <a:pt x="2606757" y="4386492"/>
                  <a:pt x="2598163" y="4386047"/>
                  <a:pt x="2594439" y="4379716"/>
                </a:cubicBezTo>
                <a:lnTo>
                  <a:pt x="2608763" y="4378049"/>
                </a:lnTo>
                <a:lnTo>
                  <a:pt x="2608763" y="4377272"/>
                </a:lnTo>
                <a:lnTo>
                  <a:pt x="2602746" y="4378382"/>
                </a:lnTo>
                <a:cubicBezTo>
                  <a:pt x="2600168" y="4378383"/>
                  <a:pt x="2597303" y="4378049"/>
                  <a:pt x="2596158" y="4376939"/>
                </a:cubicBezTo>
                <a:cubicBezTo>
                  <a:pt x="2599022" y="4375494"/>
                  <a:pt x="2601314" y="4375050"/>
                  <a:pt x="2603606" y="4374606"/>
                </a:cubicBezTo>
                <a:cubicBezTo>
                  <a:pt x="2605038" y="4373939"/>
                  <a:pt x="2606185" y="4373718"/>
                  <a:pt x="2607331" y="4374050"/>
                </a:cubicBezTo>
                <a:lnTo>
                  <a:pt x="2608763" y="4375828"/>
                </a:lnTo>
                <a:lnTo>
                  <a:pt x="2609049" y="4375384"/>
                </a:lnTo>
                <a:cubicBezTo>
                  <a:pt x="2609908" y="4373496"/>
                  <a:pt x="2611340" y="4371273"/>
                  <a:pt x="2613918" y="4368719"/>
                </a:cubicBezTo>
                <a:cubicBezTo>
                  <a:pt x="2616498" y="4371719"/>
                  <a:pt x="2620221" y="4374161"/>
                  <a:pt x="2624231" y="4376273"/>
                </a:cubicBezTo>
                <a:lnTo>
                  <a:pt x="2625664" y="4376939"/>
                </a:lnTo>
                <a:lnTo>
                  <a:pt x="2633112" y="4377272"/>
                </a:lnTo>
                <a:lnTo>
                  <a:pt x="2635403" y="4377939"/>
                </a:lnTo>
                <a:lnTo>
                  <a:pt x="2638841" y="4376273"/>
                </a:lnTo>
                <a:cubicBezTo>
                  <a:pt x="2640560" y="4375828"/>
                  <a:pt x="2642278" y="4375605"/>
                  <a:pt x="2643997" y="4375939"/>
                </a:cubicBezTo>
                <a:cubicBezTo>
                  <a:pt x="2652592" y="4376606"/>
                  <a:pt x="2656889" y="4379049"/>
                  <a:pt x="2660039" y="4382160"/>
                </a:cubicBezTo>
                <a:cubicBezTo>
                  <a:pt x="2660039" y="4382160"/>
                  <a:pt x="2660040" y="4382049"/>
                  <a:pt x="2658893" y="4381049"/>
                </a:cubicBezTo>
                <a:cubicBezTo>
                  <a:pt x="2660039" y="4376273"/>
                  <a:pt x="2661758" y="4368719"/>
                  <a:pt x="2664623" y="4364831"/>
                </a:cubicBezTo>
                <a:lnTo>
                  <a:pt x="2665197" y="4364387"/>
                </a:lnTo>
                <a:lnTo>
                  <a:pt x="2664623" y="4364276"/>
                </a:lnTo>
                <a:lnTo>
                  <a:pt x="2665482" y="4364164"/>
                </a:lnTo>
                <a:close/>
                <a:moveTo>
                  <a:pt x="5698567" y="4361943"/>
                </a:moveTo>
                <a:cubicBezTo>
                  <a:pt x="5699140" y="4361720"/>
                  <a:pt x="5699999" y="4361721"/>
                  <a:pt x="5700858" y="4362053"/>
                </a:cubicBezTo>
                <a:cubicBezTo>
                  <a:pt x="5699140" y="4364386"/>
                  <a:pt x="5697707" y="4365497"/>
                  <a:pt x="5694270" y="4365386"/>
                </a:cubicBezTo>
                <a:cubicBezTo>
                  <a:pt x="5695415" y="4364498"/>
                  <a:pt x="5696561" y="4362387"/>
                  <a:pt x="5698567" y="4361943"/>
                </a:cubicBezTo>
                <a:close/>
                <a:moveTo>
                  <a:pt x="1688066" y="4361054"/>
                </a:moveTo>
                <a:cubicBezTo>
                  <a:pt x="1694941" y="4363609"/>
                  <a:pt x="1696661" y="4364830"/>
                  <a:pt x="1700384" y="4369608"/>
                </a:cubicBezTo>
                <a:cubicBezTo>
                  <a:pt x="1695800" y="4376382"/>
                  <a:pt x="1687494" y="4378383"/>
                  <a:pt x="1678899" y="4380382"/>
                </a:cubicBezTo>
                <a:cubicBezTo>
                  <a:pt x="1657988" y="4372829"/>
                  <a:pt x="1679759" y="4366608"/>
                  <a:pt x="1688066" y="4361054"/>
                </a:cubicBezTo>
                <a:close/>
                <a:moveTo>
                  <a:pt x="2202842" y="4360165"/>
                </a:moveTo>
                <a:lnTo>
                  <a:pt x="2203702" y="4360388"/>
                </a:lnTo>
                <a:lnTo>
                  <a:pt x="2204274" y="4360276"/>
                </a:lnTo>
                <a:lnTo>
                  <a:pt x="2211722" y="4361720"/>
                </a:lnTo>
                <a:cubicBezTo>
                  <a:pt x="2210577" y="4366275"/>
                  <a:pt x="2209145" y="4368719"/>
                  <a:pt x="2207139" y="4369940"/>
                </a:cubicBezTo>
                <a:lnTo>
                  <a:pt x="2202556" y="4369940"/>
                </a:lnTo>
                <a:lnTo>
                  <a:pt x="2201410" y="4375717"/>
                </a:lnTo>
                <a:lnTo>
                  <a:pt x="2200264" y="4377050"/>
                </a:lnTo>
                <a:lnTo>
                  <a:pt x="2200264" y="4377717"/>
                </a:lnTo>
                <a:cubicBezTo>
                  <a:pt x="2200550" y="4378605"/>
                  <a:pt x="2200551" y="4379272"/>
                  <a:pt x="2200551" y="4379272"/>
                </a:cubicBezTo>
                <a:cubicBezTo>
                  <a:pt x="2198260" y="4379716"/>
                  <a:pt x="2198259" y="4379605"/>
                  <a:pt x="2199118" y="4378605"/>
                </a:cubicBezTo>
                <a:lnTo>
                  <a:pt x="2198832" y="4378494"/>
                </a:lnTo>
                <a:lnTo>
                  <a:pt x="2196253" y="4381493"/>
                </a:lnTo>
                <a:cubicBezTo>
                  <a:pt x="2192529" y="4379937"/>
                  <a:pt x="2189378" y="4377605"/>
                  <a:pt x="2186801" y="4375050"/>
                </a:cubicBezTo>
                <a:lnTo>
                  <a:pt x="2179638" y="4367608"/>
                </a:lnTo>
                <a:lnTo>
                  <a:pt x="2188519" y="4369608"/>
                </a:lnTo>
                <a:lnTo>
                  <a:pt x="2187946" y="4369386"/>
                </a:lnTo>
                <a:cubicBezTo>
                  <a:pt x="2188805" y="4368385"/>
                  <a:pt x="2187946" y="4366719"/>
                  <a:pt x="2187946" y="4366719"/>
                </a:cubicBezTo>
                <a:cubicBezTo>
                  <a:pt x="2190238" y="4366386"/>
                  <a:pt x="2191670" y="4366941"/>
                  <a:pt x="2193389" y="4367497"/>
                </a:cubicBezTo>
                <a:lnTo>
                  <a:pt x="2193676" y="4370052"/>
                </a:lnTo>
                <a:lnTo>
                  <a:pt x="2195395" y="4370274"/>
                </a:lnTo>
                <a:lnTo>
                  <a:pt x="2200838" y="4369052"/>
                </a:lnTo>
                <a:lnTo>
                  <a:pt x="2198259" y="4366496"/>
                </a:lnTo>
                <a:cubicBezTo>
                  <a:pt x="2197113" y="4364498"/>
                  <a:pt x="2196826" y="4362165"/>
                  <a:pt x="2198832" y="4360943"/>
                </a:cubicBezTo>
                <a:close/>
                <a:moveTo>
                  <a:pt x="6053496" y="4359722"/>
                </a:moveTo>
                <a:cubicBezTo>
                  <a:pt x="6057220" y="4360720"/>
                  <a:pt x="6059225" y="4362054"/>
                  <a:pt x="6060084" y="4363832"/>
                </a:cubicBezTo>
                <a:cubicBezTo>
                  <a:pt x="6061230" y="4365497"/>
                  <a:pt x="6060944" y="4367608"/>
                  <a:pt x="6059798" y="4370052"/>
                </a:cubicBezTo>
                <a:lnTo>
                  <a:pt x="6057220" y="4369941"/>
                </a:lnTo>
                <a:lnTo>
                  <a:pt x="6061803" y="4373273"/>
                </a:lnTo>
                <a:cubicBezTo>
                  <a:pt x="6063522" y="4374607"/>
                  <a:pt x="6064668" y="4376161"/>
                  <a:pt x="6065240" y="4377828"/>
                </a:cubicBezTo>
                <a:cubicBezTo>
                  <a:pt x="6065527" y="4379494"/>
                  <a:pt x="6065240" y="4381271"/>
                  <a:pt x="6064382" y="4382938"/>
                </a:cubicBezTo>
                <a:cubicBezTo>
                  <a:pt x="6065814" y="4385382"/>
                  <a:pt x="6065527" y="4388824"/>
                  <a:pt x="6063522" y="4390935"/>
                </a:cubicBezTo>
                <a:cubicBezTo>
                  <a:pt x="6060084" y="4392824"/>
                  <a:pt x="6056647" y="4392491"/>
                  <a:pt x="6055214" y="4391158"/>
                </a:cubicBezTo>
                <a:lnTo>
                  <a:pt x="6049198" y="4385048"/>
                </a:lnTo>
                <a:lnTo>
                  <a:pt x="6048340" y="4387048"/>
                </a:lnTo>
                <a:cubicBezTo>
                  <a:pt x="6046620" y="4388603"/>
                  <a:pt x="6044902" y="4389047"/>
                  <a:pt x="6043183" y="4388714"/>
                </a:cubicBezTo>
                <a:cubicBezTo>
                  <a:pt x="6041464" y="4388492"/>
                  <a:pt x="6039746" y="4387492"/>
                  <a:pt x="6038026" y="4386269"/>
                </a:cubicBezTo>
                <a:cubicBezTo>
                  <a:pt x="6034876" y="4383604"/>
                  <a:pt x="6036594" y="4381382"/>
                  <a:pt x="6036594" y="4381382"/>
                </a:cubicBezTo>
                <a:cubicBezTo>
                  <a:pt x="6038313" y="4379827"/>
                  <a:pt x="6040605" y="4378827"/>
                  <a:pt x="6042896" y="4378605"/>
                </a:cubicBezTo>
                <a:lnTo>
                  <a:pt x="6046620" y="4379383"/>
                </a:lnTo>
                <a:lnTo>
                  <a:pt x="6046334" y="4377494"/>
                </a:lnTo>
                <a:cubicBezTo>
                  <a:pt x="6046333" y="4373607"/>
                  <a:pt x="6047766" y="4370497"/>
                  <a:pt x="6047194" y="4369274"/>
                </a:cubicBezTo>
                <a:lnTo>
                  <a:pt x="6050344" y="4368386"/>
                </a:lnTo>
                <a:lnTo>
                  <a:pt x="6046620" y="4365719"/>
                </a:lnTo>
                <a:cubicBezTo>
                  <a:pt x="6048912" y="4361720"/>
                  <a:pt x="6052636" y="4362276"/>
                  <a:pt x="6053496" y="4359722"/>
                </a:cubicBezTo>
                <a:close/>
                <a:moveTo>
                  <a:pt x="2323445" y="4359499"/>
                </a:moveTo>
                <a:cubicBezTo>
                  <a:pt x="2329173" y="4358276"/>
                  <a:pt x="2333470" y="4359832"/>
                  <a:pt x="2334902" y="4362165"/>
                </a:cubicBezTo>
                <a:cubicBezTo>
                  <a:pt x="2336621" y="4364498"/>
                  <a:pt x="2335189" y="4367719"/>
                  <a:pt x="2329746" y="4369940"/>
                </a:cubicBezTo>
                <a:cubicBezTo>
                  <a:pt x="2322011" y="4366718"/>
                  <a:pt x="2321152" y="4363387"/>
                  <a:pt x="2323445" y="4359499"/>
                </a:cubicBezTo>
                <a:close/>
                <a:moveTo>
                  <a:pt x="2488447" y="4358610"/>
                </a:moveTo>
                <a:cubicBezTo>
                  <a:pt x="2489880" y="4358055"/>
                  <a:pt x="2490740" y="4359165"/>
                  <a:pt x="2489307" y="4359721"/>
                </a:cubicBezTo>
                <a:cubicBezTo>
                  <a:pt x="2490166" y="4362276"/>
                  <a:pt x="2485582" y="4361387"/>
                  <a:pt x="2483292" y="4360943"/>
                </a:cubicBezTo>
                <a:cubicBezTo>
                  <a:pt x="2487301" y="4359165"/>
                  <a:pt x="2487589" y="4357611"/>
                  <a:pt x="2488447" y="4358610"/>
                </a:cubicBezTo>
                <a:close/>
                <a:moveTo>
                  <a:pt x="6695462" y="4357944"/>
                </a:moveTo>
                <a:cubicBezTo>
                  <a:pt x="6698614" y="4359054"/>
                  <a:pt x="6700045" y="4359499"/>
                  <a:pt x="6700046" y="4360832"/>
                </a:cubicBezTo>
                <a:cubicBezTo>
                  <a:pt x="6700046" y="4362165"/>
                  <a:pt x="6698615" y="4364276"/>
                  <a:pt x="6696035" y="4368608"/>
                </a:cubicBezTo>
                <a:cubicBezTo>
                  <a:pt x="6694603" y="4370052"/>
                  <a:pt x="6693170" y="4371496"/>
                  <a:pt x="6690879" y="4372496"/>
                </a:cubicBezTo>
                <a:cubicBezTo>
                  <a:pt x="6688874" y="4373384"/>
                  <a:pt x="6686582" y="4373940"/>
                  <a:pt x="6684004" y="4374050"/>
                </a:cubicBezTo>
                <a:cubicBezTo>
                  <a:pt x="6681139" y="4375939"/>
                  <a:pt x="6676269" y="4377161"/>
                  <a:pt x="6672545" y="4376828"/>
                </a:cubicBezTo>
                <a:cubicBezTo>
                  <a:pt x="6668535" y="4375384"/>
                  <a:pt x="6667676" y="4373162"/>
                  <a:pt x="6668821" y="4371607"/>
                </a:cubicBezTo>
                <a:cubicBezTo>
                  <a:pt x="6676269" y="4358943"/>
                  <a:pt x="6692598" y="4359832"/>
                  <a:pt x="6695462" y="4357944"/>
                </a:cubicBezTo>
                <a:close/>
                <a:moveTo>
                  <a:pt x="2782360" y="4355833"/>
                </a:moveTo>
                <a:lnTo>
                  <a:pt x="2784365" y="4357833"/>
                </a:lnTo>
                <a:lnTo>
                  <a:pt x="2783793" y="4360388"/>
                </a:lnTo>
                <a:lnTo>
                  <a:pt x="2784365" y="4360388"/>
                </a:lnTo>
                <a:lnTo>
                  <a:pt x="2783792" y="4360721"/>
                </a:lnTo>
                <a:lnTo>
                  <a:pt x="2783792" y="4361832"/>
                </a:lnTo>
                <a:lnTo>
                  <a:pt x="2785511" y="4361277"/>
                </a:lnTo>
                <a:lnTo>
                  <a:pt x="2793818" y="4362054"/>
                </a:lnTo>
                <a:lnTo>
                  <a:pt x="2789235" y="4359610"/>
                </a:lnTo>
                <a:lnTo>
                  <a:pt x="2786943" y="4360720"/>
                </a:lnTo>
                <a:cubicBezTo>
                  <a:pt x="2786083" y="4360943"/>
                  <a:pt x="2785224" y="4360832"/>
                  <a:pt x="2784366" y="4360165"/>
                </a:cubicBezTo>
                <a:lnTo>
                  <a:pt x="2786657" y="4358277"/>
                </a:lnTo>
                <a:lnTo>
                  <a:pt x="2785797" y="4357833"/>
                </a:lnTo>
                <a:close/>
                <a:moveTo>
                  <a:pt x="1845621" y="4354943"/>
                </a:moveTo>
                <a:cubicBezTo>
                  <a:pt x="1861664" y="4359388"/>
                  <a:pt x="1860231" y="4367053"/>
                  <a:pt x="1860517" y="4374384"/>
                </a:cubicBezTo>
                <a:cubicBezTo>
                  <a:pt x="1853069" y="4373273"/>
                  <a:pt x="1839605" y="4363387"/>
                  <a:pt x="1845621" y="4354943"/>
                </a:cubicBezTo>
                <a:close/>
                <a:moveTo>
                  <a:pt x="5981593" y="4354611"/>
                </a:moveTo>
                <a:cubicBezTo>
                  <a:pt x="5982452" y="4354389"/>
                  <a:pt x="5983312" y="4354500"/>
                  <a:pt x="5984173" y="4354833"/>
                </a:cubicBezTo>
                <a:cubicBezTo>
                  <a:pt x="5986176" y="4355500"/>
                  <a:pt x="5988468" y="4356278"/>
                  <a:pt x="5989328" y="4358499"/>
                </a:cubicBezTo>
                <a:cubicBezTo>
                  <a:pt x="5986750" y="4361498"/>
                  <a:pt x="5981593" y="4361609"/>
                  <a:pt x="5980448" y="4363165"/>
                </a:cubicBezTo>
                <a:cubicBezTo>
                  <a:pt x="5979874" y="4362054"/>
                  <a:pt x="5979015" y="4359721"/>
                  <a:pt x="5975291" y="4359499"/>
                </a:cubicBezTo>
                <a:cubicBezTo>
                  <a:pt x="5977296" y="4357166"/>
                  <a:pt x="5979015" y="4354944"/>
                  <a:pt x="5981593" y="4354611"/>
                </a:cubicBezTo>
                <a:close/>
                <a:moveTo>
                  <a:pt x="6453686" y="4353834"/>
                </a:moveTo>
                <a:cubicBezTo>
                  <a:pt x="6455405" y="4355167"/>
                  <a:pt x="6456838" y="4356389"/>
                  <a:pt x="6457410" y="4357610"/>
                </a:cubicBezTo>
                <a:cubicBezTo>
                  <a:pt x="6459130" y="4361276"/>
                  <a:pt x="6455692" y="4364720"/>
                  <a:pt x="6448530" y="4367830"/>
                </a:cubicBezTo>
                <a:cubicBezTo>
                  <a:pt x="6445665" y="4366497"/>
                  <a:pt x="6442228" y="4366275"/>
                  <a:pt x="6437358" y="4364720"/>
                </a:cubicBezTo>
                <a:cubicBezTo>
                  <a:pt x="6438218" y="4361277"/>
                  <a:pt x="6445092" y="4354500"/>
                  <a:pt x="6453686" y="4353834"/>
                </a:cubicBezTo>
                <a:close/>
                <a:moveTo>
                  <a:pt x="5774480" y="4353723"/>
                </a:moveTo>
                <a:cubicBezTo>
                  <a:pt x="5777344" y="4359832"/>
                  <a:pt x="5766458" y="4365387"/>
                  <a:pt x="5758724" y="4364053"/>
                </a:cubicBezTo>
                <a:cubicBezTo>
                  <a:pt x="5756146" y="4363609"/>
                  <a:pt x="5753854" y="4362387"/>
                  <a:pt x="5752708" y="4360166"/>
                </a:cubicBezTo>
                <a:cubicBezTo>
                  <a:pt x="5754427" y="4352945"/>
                  <a:pt x="5764453" y="4355944"/>
                  <a:pt x="5774480" y="4353723"/>
                </a:cubicBezTo>
                <a:close/>
                <a:moveTo>
                  <a:pt x="5916853" y="4352611"/>
                </a:moveTo>
                <a:cubicBezTo>
                  <a:pt x="5918284" y="4354612"/>
                  <a:pt x="5920862" y="4356166"/>
                  <a:pt x="5922008" y="4358277"/>
                </a:cubicBezTo>
                <a:lnTo>
                  <a:pt x="5921722" y="4359277"/>
                </a:lnTo>
                <a:lnTo>
                  <a:pt x="5922868" y="4358388"/>
                </a:lnTo>
                <a:cubicBezTo>
                  <a:pt x="5927165" y="4359499"/>
                  <a:pt x="5930316" y="4361165"/>
                  <a:pt x="5932035" y="4363498"/>
                </a:cubicBezTo>
                <a:cubicBezTo>
                  <a:pt x="5934040" y="4365942"/>
                  <a:pt x="5934326" y="4368940"/>
                  <a:pt x="5932894" y="4372607"/>
                </a:cubicBezTo>
                <a:cubicBezTo>
                  <a:pt x="5925732" y="4376273"/>
                  <a:pt x="5917425" y="4371496"/>
                  <a:pt x="5912269" y="4369385"/>
                </a:cubicBezTo>
                <a:lnTo>
                  <a:pt x="5913701" y="4367274"/>
                </a:lnTo>
                <a:lnTo>
                  <a:pt x="5909977" y="4367497"/>
                </a:lnTo>
                <a:cubicBezTo>
                  <a:pt x="5908258" y="4367274"/>
                  <a:pt x="5906540" y="4367053"/>
                  <a:pt x="5904535" y="4366719"/>
                </a:cubicBezTo>
                <a:cubicBezTo>
                  <a:pt x="5904821" y="4364164"/>
                  <a:pt x="5901383" y="4361498"/>
                  <a:pt x="5903388" y="4358277"/>
                </a:cubicBezTo>
                <a:cubicBezTo>
                  <a:pt x="5903388" y="4358277"/>
                  <a:pt x="5904248" y="4356722"/>
                  <a:pt x="5907399" y="4355722"/>
                </a:cubicBezTo>
                <a:cubicBezTo>
                  <a:pt x="5910836" y="4352056"/>
                  <a:pt x="5917425" y="4353612"/>
                  <a:pt x="5917425" y="4353612"/>
                </a:cubicBezTo>
                <a:cubicBezTo>
                  <a:pt x="5917425" y="4353612"/>
                  <a:pt x="5917425" y="4353612"/>
                  <a:pt x="5916853" y="4352611"/>
                </a:cubicBezTo>
                <a:close/>
                <a:moveTo>
                  <a:pt x="6028287" y="4351945"/>
                </a:moveTo>
                <a:cubicBezTo>
                  <a:pt x="6034589" y="4351279"/>
                  <a:pt x="6044042" y="4353056"/>
                  <a:pt x="6048626" y="4354612"/>
                </a:cubicBezTo>
                <a:cubicBezTo>
                  <a:pt x="6047766" y="4355389"/>
                  <a:pt x="6046048" y="4355833"/>
                  <a:pt x="6044042" y="4356056"/>
                </a:cubicBezTo>
                <a:cubicBezTo>
                  <a:pt x="6037740" y="4356722"/>
                  <a:pt x="6028287" y="4355056"/>
                  <a:pt x="6023704" y="4353501"/>
                </a:cubicBezTo>
                <a:cubicBezTo>
                  <a:pt x="6024563" y="4352723"/>
                  <a:pt x="6026282" y="4352168"/>
                  <a:pt x="6028287" y="4351945"/>
                </a:cubicBezTo>
                <a:close/>
                <a:moveTo>
                  <a:pt x="6914034" y="4351390"/>
                </a:moveTo>
                <a:cubicBezTo>
                  <a:pt x="6915180" y="4351723"/>
                  <a:pt x="6916040" y="4351723"/>
                  <a:pt x="6916613" y="4352056"/>
                </a:cubicBezTo>
                <a:cubicBezTo>
                  <a:pt x="6917187" y="4352389"/>
                  <a:pt x="6917186" y="4352945"/>
                  <a:pt x="6916899" y="4354167"/>
                </a:cubicBezTo>
                <a:cubicBezTo>
                  <a:pt x="6917472" y="4355277"/>
                  <a:pt x="6916040" y="4356833"/>
                  <a:pt x="6916613" y="4357944"/>
                </a:cubicBezTo>
                <a:cubicBezTo>
                  <a:pt x="6916613" y="4357944"/>
                  <a:pt x="6915467" y="4358499"/>
                  <a:pt x="6914034" y="4359054"/>
                </a:cubicBezTo>
                <a:cubicBezTo>
                  <a:pt x="6912602" y="4359499"/>
                  <a:pt x="6911170" y="4359943"/>
                  <a:pt x="6910024" y="4359499"/>
                </a:cubicBezTo>
                <a:cubicBezTo>
                  <a:pt x="6906300" y="4359276"/>
                  <a:pt x="6910024" y="4354723"/>
                  <a:pt x="6909451" y="4353612"/>
                </a:cubicBezTo>
                <a:cubicBezTo>
                  <a:pt x="6910597" y="4352056"/>
                  <a:pt x="6912030" y="4350612"/>
                  <a:pt x="6914034" y="4351390"/>
                </a:cubicBezTo>
                <a:close/>
                <a:moveTo>
                  <a:pt x="5579970" y="4349612"/>
                </a:moveTo>
                <a:lnTo>
                  <a:pt x="5578538" y="4353500"/>
                </a:lnTo>
                <a:lnTo>
                  <a:pt x="5585126" y="4352389"/>
                </a:lnTo>
                <a:close/>
                <a:moveTo>
                  <a:pt x="2574100" y="4348501"/>
                </a:moveTo>
                <a:cubicBezTo>
                  <a:pt x="2575247" y="4357610"/>
                  <a:pt x="2565507" y="4366164"/>
                  <a:pt x="2555766" y="4371274"/>
                </a:cubicBezTo>
                <a:lnTo>
                  <a:pt x="2554047" y="4374051"/>
                </a:lnTo>
                <a:lnTo>
                  <a:pt x="2551469" y="4373162"/>
                </a:lnTo>
                <a:lnTo>
                  <a:pt x="2546599" y="4375273"/>
                </a:lnTo>
                <a:lnTo>
                  <a:pt x="2547745" y="4370941"/>
                </a:lnTo>
                <a:lnTo>
                  <a:pt x="2546314" y="4368830"/>
                </a:lnTo>
                <a:cubicBezTo>
                  <a:pt x="2546026" y="4367608"/>
                  <a:pt x="2546599" y="4366386"/>
                  <a:pt x="2547745" y="4365276"/>
                </a:cubicBezTo>
                <a:lnTo>
                  <a:pt x="2550896" y="4363497"/>
                </a:lnTo>
                <a:lnTo>
                  <a:pt x="2555193" y="4357944"/>
                </a:lnTo>
                <a:cubicBezTo>
                  <a:pt x="2560923" y="4352945"/>
                  <a:pt x="2568085" y="4349279"/>
                  <a:pt x="2574100" y="4348501"/>
                </a:cubicBezTo>
                <a:close/>
                <a:moveTo>
                  <a:pt x="2349798" y="4347280"/>
                </a:moveTo>
                <a:cubicBezTo>
                  <a:pt x="2357247" y="4349391"/>
                  <a:pt x="2360111" y="4352389"/>
                  <a:pt x="2361258" y="4355722"/>
                </a:cubicBezTo>
                <a:lnTo>
                  <a:pt x="2360397" y="4363720"/>
                </a:lnTo>
                <a:lnTo>
                  <a:pt x="2362117" y="4366720"/>
                </a:lnTo>
                <a:cubicBezTo>
                  <a:pt x="2362117" y="4366720"/>
                  <a:pt x="2360684" y="4367386"/>
                  <a:pt x="2360684" y="4367386"/>
                </a:cubicBezTo>
                <a:cubicBezTo>
                  <a:pt x="2357820" y="4367274"/>
                  <a:pt x="2356388" y="4366719"/>
                  <a:pt x="2355528" y="4365942"/>
                </a:cubicBezTo>
                <a:lnTo>
                  <a:pt x="2355528" y="4364719"/>
                </a:lnTo>
                <a:lnTo>
                  <a:pt x="2354382" y="4364386"/>
                </a:lnTo>
                <a:cubicBezTo>
                  <a:pt x="2348653" y="4360832"/>
                  <a:pt x="2343783" y="4353833"/>
                  <a:pt x="2349798" y="4347280"/>
                </a:cubicBezTo>
                <a:close/>
                <a:moveTo>
                  <a:pt x="6182978" y="4346613"/>
                </a:moveTo>
                <a:cubicBezTo>
                  <a:pt x="6186415" y="4348057"/>
                  <a:pt x="6191572" y="4347280"/>
                  <a:pt x="6194722" y="4349945"/>
                </a:cubicBezTo>
                <a:cubicBezTo>
                  <a:pt x="6194722" y="4349945"/>
                  <a:pt x="6196442" y="4351168"/>
                  <a:pt x="6196442" y="4353501"/>
                </a:cubicBezTo>
                <a:cubicBezTo>
                  <a:pt x="6199592" y="4357277"/>
                  <a:pt x="6194436" y="4360388"/>
                  <a:pt x="6194436" y="4360388"/>
                </a:cubicBezTo>
                <a:cubicBezTo>
                  <a:pt x="6194436" y="4360388"/>
                  <a:pt x="6194437" y="4360499"/>
                  <a:pt x="6196155" y="4360610"/>
                </a:cubicBezTo>
                <a:cubicBezTo>
                  <a:pt x="6192718" y="4360277"/>
                  <a:pt x="6189280" y="4361165"/>
                  <a:pt x="6185842" y="4360832"/>
                </a:cubicBezTo>
                <a:cubicBezTo>
                  <a:pt x="6172665" y="4352723"/>
                  <a:pt x="6177821" y="4350834"/>
                  <a:pt x="6182978" y="4346613"/>
                </a:cubicBezTo>
                <a:close/>
                <a:moveTo>
                  <a:pt x="6827522" y="4346280"/>
                </a:moveTo>
                <a:cubicBezTo>
                  <a:pt x="6826376" y="4347834"/>
                  <a:pt x="6828382" y="4348501"/>
                  <a:pt x="6830387" y="4349279"/>
                </a:cubicBezTo>
                <a:cubicBezTo>
                  <a:pt x="6828668" y="4351501"/>
                  <a:pt x="6826377" y="4355166"/>
                  <a:pt x="6822080" y="4355722"/>
                </a:cubicBezTo>
                <a:cubicBezTo>
                  <a:pt x="6820361" y="4355833"/>
                  <a:pt x="6818928" y="4355722"/>
                  <a:pt x="6816636" y="4354944"/>
                </a:cubicBezTo>
                <a:cubicBezTo>
                  <a:pt x="6815204" y="4355389"/>
                  <a:pt x="6811767" y="4351390"/>
                  <a:pt x="6812912" y="4349835"/>
                </a:cubicBezTo>
                <a:cubicBezTo>
                  <a:pt x="6814918" y="4345724"/>
                  <a:pt x="6820647" y="4346724"/>
                  <a:pt x="6827522" y="4346280"/>
                </a:cubicBezTo>
                <a:close/>
                <a:moveTo>
                  <a:pt x="5651586" y="4343059"/>
                </a:moveTo>
                <a:cubicBezTo>
                  <a:pt x="5653878" y="4342725"/>
                  <a:pt x="5656170" y="4342837"/>
                  <a:pt x="5658461" y="4343059"/>
                </a:cubicBezTo>
                <a:cubicBezTo>
                  <a:pt x="5663045" y="4343503"/>
                  <a:pt x="5667342" y="4344835"/>
                  <a:pt x="5670493" y="4345836"/>
                </a:cubicBezTo>
                <a:lnTo>
                  <a:pt x="5673930" y="4346946"/>
                </a:lnTo>
                <a:lnTo>
                  <a:pt x="5674217" y="4345836"/>
                </a:lnTo>
                <a:lnTo>
                  <a:pt x="5675936" y="4347280"/>
                </a:lnTo>
                <a:lnTo>
                  <a:pt x="5676222" y="4347280"/>
                </a:lnTo>
                <a:cubicBezTo>
                  <a:pt x="5675936" y="4348501"/>
                  <a:pt x="5677654" y="4348724"/>
                  <a:pt x="5677941" y="4347502"/>
                </a:cubicBezTo>
                <a:cubicBezTo>
                  <a:pt x="5680233" y="4348946"/>
                  <a:pt x="5682238" y="4350057"/>
                  <a:pt x="5683384" y="4351056"/>
                </a:cubicBezTo>
                <a:cubicBezTo>
                  <a:pt x="5684243" y="4352057"/>
                  <a:pt x="5683958" y="4352945"/>
                  <a:pt x="5682238" y="4353944"/>
                </a:cubicBezTo>
                <a:cubicBezTo>
                  <a:pt x="5680233" y="4356167"/>
                  <a:pt x="5677082" y="4354500"/>
                  <a:pt x="5673644" y="4356500"/>
                </a:cubicBezTo>
                <a:lnTo>
                  <a:pt x="5673358" y="4357499"/>
                </a:lnTo>
                <a:lnTo>
                  <a:pt x="5674789" y="4358055"/>
                </a:lnTo>
                <a:lnTo>
                  <a:pt x="5673071" y="4359832"/>
                </a:lnTo>
                <a:lnTo>
                  <a:pt x="5672784" y="4362720"/>
                </a:lnTo>
                <a:cubicBezTo>
                  <a:pt x="5673644" y="4365276"/>
                  <a:pt x="5674790" y="4368274"/>
                  <a:pt x="5674217" y="4371273"/>
                </a:cubicBezTo>
                <a:lnTo>
                  <a:pt x="5671066" y="4375939"/>
                </a:lnTo>
                <a:lnTo>
                  <a:pt x="5675076" y="4378160"/>
                </a:lnTo>
                <a:lnTo>
                  <a:pt x="5675363" y="4381604"/>
                </a:lnTo>
                <a:lnTo>
                  <a:pt x="5675936" y="4382493"/>
                </a:lnTo>
                <a:lnTo>
                  <a:pt x="5675363" y="4381826"/>
                </a:lnTo>
                <a:lnTo>
                  <a:pt x="5675936" y="4384604"/>
                </a:lnTo>
                <a:lnTo>
                  <a:pt x="5669347" y="4383826"/>
                </a:lnTo>
                <a:lnTo>
                  <a:pt x="5669060" y="4383937"/>
                </a:lnTo>
                <a:lnTo>
                  <a:pt x="5668488" y="4383826"/>
                </a:lnTo>
                <a:lnTo>
                  <a:pt x="5667915" y="4383715"/>
                </a:lnTo>
                <a:lnTo>
                  <a:pt x="5667342" y="4383382"/>
                </a:lnTo>
                <a:lnTo>
                  <a:pt x="5662472" y="4382049"/>
                </a:lnTo>
                <a:cubicBezTo>
                  <a:pt x="5660466" y="4381160"/>
                  <a:pt x="5659034" y="4380049"/>
                  <a:pt x="5659034" y="4378716"/>
                </a:cubicBezTo>
                <a:lnTo>
                  <a:pt x="5661612" y="4376495"/>
                </a:lnTo>
                <a:lnTo>
                  <a:pt x="5657316" y="4376272"/>
                </a:lnTo>
                <a:cubicBezTo>
                  <a:pt x="5655597" y="4376050"/>
                  <a:pt x="5654164" y="4375494"/>
                  <a:pt x="5653018" y="4374494"/>
                </a:cubicBezTo>
                <a:lnTo>
                  <a:pt x="5647862" y="4370052"/>
                </a:lnTo>
                <a:lnTo>
                  <a:pt x="5645570" y="4372273"/>
                </a:lnTo>
                <a:cubicBezTo>
                  <a:pt x="5644424" y="4373162"/>
                  <a:pt x="5643279" y="4373718"/>
                  <a:pt x="5641560" y="4373718"/>
                </a:cubicBezTo>
                <a:cubicBezTo>
                  <a:pt x="5640414" y="4373828"/>
                  <a:pt x="5639268" y="4373606"/>
                  <a:pt x="5637550" y="4373051"/>
                </a:cubicBezTo>
                <a:cubicBezTo>
                  <a:pt x="5637550" y="4373051"/>
                  <a:pt x="5637550" y="4373051"/>
                  <a:pt x="5636976" y="4371941"/>
                </a:cubicBezTo>
                <a:cubicBezTo>
                  <a:pt x="5636117" y="4369718"/>
                  <a:pt x="5635831" y="4368608"/>
                  <a:pt x="5635258" y="4367608"/>
                </a:cubicBezTo>
                <a:cubicBezTo>
                  <a:pt x="5636118" y="4366830"/>
                  <a:pt x="5637263" y="4365497"/>
                  <a:pt x="5638695" y="4364609"/>
                </a:cubicBezTo>
                <a:lnTo>
                  <a:pt x="5642419" y="4363498"/>
                </a:lnTo>
                <a:lnTo>
                  <a:pt x="5641846" y="4362054"/>
                </a:lnTo>
                <a:cubicBezTo>
                  <a:pt x="5641560" y="4358943"/>
                  <a:pt x="5643852" y="4356278"/>
                  <a:pt x="5646716" y="4352389"/>
                </a:cubicBezTo>
                <a:cubicBezTo>
                  <a:pt x="5646716" y="4353612"/>
                  <a:pt x="5648435" y="4352612"/>
                  <a:pt x="5648435" y="4352612"/>
                </a:cubicBezTo>
                <a:cubicBezTo>
                  <a:pt x="5651873" y="4350612"/>
                  <a:pt x="5641846" y="4348279"/>
                  <a:pt x="5645570" y="4345169"/>
                </a:cubicBezTo>
                <a:cubicBezTo>
                  <a:pt x="5647289" y="4343948"/>
                  <a:pt x="5649581" y="4343392"/>
                  <a:pt x="5651586" y="4343059"/>
                </a:cubicBezTo>
                <a:close/>
                <a:moveTo>
                  <a:pt x="5476843" y="4342614"/>
                </a:moveTo>
                <a:cubicBezTo>
                  <a:pt x="5479994" y="4344614"/>
                  <a:pt x="5481999" y="4347169"/>
                  <a:pt x="5483432" y="4350057"/>
                </a:cubicBezTo>
                <a:cubicBezTo>
                  <a:pt x="5487442" y="4358499"/>
                  <a:pt x="5484578" y="4369052"/>
                  <a:pt x="5477989" y="4373940"/>
                </a:cubicBezTo>
                <a:cubicBezTo>
                  <a:pt x="5465957" y="4365830"/>
                  <a:pt x="5471115" y="4350057"/>
                  <a:pt x="5476843" y="4342614"/>
                </a:cubicBezTo>
                <a:close/>
                <a:moveTo>
                  <a:pt x="5697994" y="4339837"/>
                </a:moveTo>
                <a:cubicBezTo>
                  <a:pt x="5705728" y="4339059"/>
                  <a:pt x="5712890" y="4344280"/>
                  <a:pt x="5713462" y="4349279"/>
                </a:cubicBezTo>
                <a:cubicBezTo>
                  <a:pt x="5713749" y="4351612"/>
                  <a:pt x="5712603" y="4353834"/>
                  <a:pt x="5709738" y="4355389"/>
                </a:cubicBezTo>
                <a:cubicBezTo>
                  <a:pt x="5699999" y="4352723"/>
                  <a:pt x="5688254" y="4350946"/>
                  <a:pt x="5689686" y="4342836"/>
                </a:cubicBezTo>
                <a:cubicBezTo>
                  <a:pt x="5692550" y="4340948"/>
                  <a:pt x="5695129" y="4340059"/>
                  <a:pt x="5697994" y="4339837"/>
                </a:cubicBezTo>
                <a:close/>
                <a:moveTo>
                  <a:pt x="6859034" y="4332728"/>
                </a:moveTo>
                <a:cubicBezTo>
                  <a:pt x="6859893" y="4332728"/>
                  <a:pt x="6861038" y="4332949"/>
                  <a:pt x="6862184" y="4333505"/>
                </a:cubicBezTo>
                <a:cubicBezTo>
                  <a:pt x="6863330" y="4336061"/>
                  <a:pt x="6863044" y="4339281"/>
                  <a:pt x="6862758" y="4342614"/>
                </a:cubicBezTo>
                <a:cubicBezTo>
                  <a:pt x="6853590" y="4344169"/>
                  <a:pt x="6852445" y="4335838"/>
                  <a:pt x="6856742" y="4333394"/>
                </a:cubicBezTo>
                <a:cubicBezTo>
                  <a:pt x="6857314" y="4332950"/>
                  <a:pt x="6858175" y="4332728"/>
                  <a:pt x="6859034" y="4332728"/>
                </a:cubicBezTo>
                <a:close/>
                <a:moveTo>
                  <a:pt x="2292220" y="4331728"/>
                </a:moveTo>
                <a:cubicBezTo>
                  <a:pt x="2296230" y="4331506"/>
                  <a:pt x="2300526" y="4332062"/>
                  <a:pt x="2302533" y="4333839"/>
                </a:cubicBezTo>
                <a:cubicBezTo>
                  <a:pt x="2303964" y="4334949"/>
                  <a:pt x="2304250" y="4336505"/>
                  <a:pt x="2303392" y="4338727"/>
                </a:cubicBezTo>
                <a:cubicBezTo>
                  <a:pt x="2299381" y="4345058"/>
                  <a:pt x="2291360" y="4344058"/>
                  <a:pt x="2282479" y="4341948"/>
                </a:cubicBezTo>
                <a:cubicBezTo>
                  <a:pt x="2283052" y="4339281"/>
                  <a:pt x="2281620" y="4337172"/>
                  <a:pt x="2282193" y="4334616"/>
                </a:cubicBezTo>
                <a:cubicBezTo>
                  <a:pt x="2283912" y="4333062"/>
                  <a:pt x="2287923" y="4331950"/>
                  <a:pt x="2292220" y="4331728"/>
                </a:cubicBezTo>
                <a:close/>
                <a:moveTo>
                  <a:pt x="6268058" y="4330839"/>
                </a:moveTo>
                <a:cubicBezTo>
                  <a:pt x="6268058" y="4330839"/>
                  <a:pt x="6268058" y="4330951"/>
                  <a:pt x="6270636" y="4332728"/>
                </a:cubicBezTo>
                <a:cubicBezTo>
                  <a:pt x="6271208" y="4333950"/>
                  <a:pt x="6271495" y="4335060"/>
                  <a:pt x="6270349" y="4336616"/>
                </a:cubicBezTo>
                <a:cubicBezTo>
                  <a:pt x="6269204" y="4338170"/>
                  <a:pt x="6265766" y="4338949"/>
                  <a:pt x="6264047" y="4339393"/>
                </a:cubicBezTo>
                <a:cubicBezTo>
                  <a:pt x="6263760" y="4338282"/>
                  <a:pt x="6262042" y="4338615"/>
                  <a:pt x="6261469" y="4337504"/>
                </a:cubicBezTo>
                <a:cubicBezTo>
                  <a:pt x="6258890" y="4335616"/>
                  <a:pt x="6258890" y="4335616"/>
                  <a:pt x="6260323" y="4334061"/>
                </a:cubicBezTo>
                <a:cubicBezTo>
                  <a:pt x="6261469" y="4332505"/>
                  <a:pt x="6266912" y="4332394"/>
                  <a:pt x="6268058" y="4330839"/>
                </a:cubicBezTo>
                <a:close/>
                <a:moveTo>
                  <a:pt x="6523584" y="4329729"/>
                </a:moveTo>
                <a:cubicBezTo>
                  <a:pt x="6524443" y="4329506"/>
                  <a:pt x="6525302" y="4329617"/>
                  <a:pt x="6525876" y="4330284"/>
                </a:cubicBezTo>
                <a:cubicBezTo>
                  <a:pt x="6527595" y="4331506"/>
                  <a:pt x="6529313" y="4331728"/>
                  <a:pt x="6527594" y="4333839"/>
                </a:cubicBezTo>
                <a:cubicBezTo>
                  <a:pt x="6527594" y="4335061"/>
                  <a:pt x="6525876" y="4336060"/>
                  <a:pt x="6525589" y="4337172"/>
                </a:cubicBezTo>
                <a:cubicBezTo>
                  <a:pt x="6525589" y="4337172"/>
                  <a:pt x="6524444" y="4337393"/>
                  <a:pt x="6523011" y="4337504"/>
                </a:cubicBezTo>
                <a:cubicBezTo>
                  <a:pt x="6521578" y="4337504"/>
                  <a:pt x="6519860" y="4337283"/>
                  <a:pt x="6519001" y="4336726"/>
                </a:cubicBezTo>
                <a:cubicBezTo>
                  <a:pt x="6515562" y="4335283"/>
                  <a:pt x="6520719" y="4332172"/>
                  <a:pt x="6521006" y="4331061"/>
                </a:cubicBezTo>
                <a:cubicBezTo>
                  <a:pt x="6521865" y="4330507"/>
                  <a:pt x="6522724" y="4329950"/>
                  <a:pt x="6523584" y="4329729"/>
                </a:cubicBezTo>
                <a:close/>
                <a:moveTo>
                  <a:pt x="2519959" y="4329173"/>
                </a:moveTo>
                <a:cubicBezTo>
                  <a:pt x="2522823" y="4328950"/>
                  <a:pt x="2525687" y="4329617"/>
                  <a:pt x="2528267" y="4330951"/>
                </a:cubicBezTo>
                <a:cubicBezTo>
                  <a:pt x="2528839" y="4338060"/>
                  <a:pt x="2519099" y="4338838"/>
                  <a:pt x="2511937" y="4332728"/>
                </a:cubicBezTo>
                <a:cubicBezTo>
                  <a:pt x="2514515" y="4330506"/>
                  <a:pt x="2517094" y="4329395"/>
                  <a:pt x="2519959" y="4329173"/>
                </a:cubicBezTo>
                <a:close/>
                <a:moveTo>
                  <a:pt x="6966458" y="4327840"/>
                </a:moveTo>
                <a:cubicBezTo>
                  <a:pt x="6972187" y="4330839"/>
                  <a:pt x="6974192" y="4334394"/>
                  <a:pt x="6973332" y="4340837"/>
                </a:cubicBezTo>
                <a:cubicBezTo>
                  <a:pt x="6967030" y="4344391"/>
                  <a:pt x="6951848" y="4341948"/>
                  <a:pt x="6952708" y="4333839"/>
                </a:cubicBezTo>
                <a:cubicBezTo>
                  <a:pt x="6955286" y="4330839"/>
                  <a:pt x="6958150" y="4327729"/>
                  <a:pt x="6966458" y="4327840"/>
                </a:cubicBezTo>
                <a:close/>
                <a:moveTo>
                  <a:pt x="6749031" y="4327396"/>
                </a:moveTo>
                <a:cubicBezTo>
                  <a:pt x="6746453" y="4335838"/>
                  <a:pt x="6721530" y="4344169"/>
                  <a:pt x="6714942" y="4342503"/>
                </a:cubicBezTo>
                <a:cubicBezTo>
                  <a:pt x="6717806" y="4337726"/>
                  <a:pt x="6724682" y="4336838"/>
                  <a:pt x="6728979" y="4331506"/>
                </a:cubicBezTo>
                <a:cubicBezTo>
                  <a:pt x="6734994" y="4332062"/>
                  <a:pt x="6741010" y="4326285"/>
                  <a:pt x="6749031" y="4327396"/>
                </a:cubicBezTo>
                <a:close/>
                <a:moveTo>
                  <a:pt x="2392768" y="4326729"/>
                </a:moveTo>
                <a:cubicBezTo>
                  <a:pt x="2409956" y="4334283"/>
                  <a:pt x="2425999" y="4327285"/>
                  <a:pt x="2441180" y="4328062"/>
                </a:cubicBezTo>
                <a:cubicBezTo>
                  <a:pt x="2446051" y="4328284"/>
                  <a:pt x="2451208" y="4329395"/>
                  <a:pt x="2456078" y="4332172"/>
                </a:cubicBezTo>
                <a:cubicBezTo>
                  <a:pt x="2496183" y="4353278"/>
                  <a:pt x="2448342" y="4398489"/>
                  <a:pt x="2409097" y="4368052"/>
                </a:cubicBezTo>
                <a:cubicBezTo>
                  <a:pt x="2396493" y="4357166"/>
                  <a:pt x="2400789" y="4343392"/>
                  <a:pt x="2392768" y="4326729"/>
                </a:cubicBezTo>
                <a:close/>
                <a:moveTo>
                  <a:pt x="5925160" y="4324841"/>
                </a:moveTo>
                <a:cubicBezTo>
                  <a:pt x="5926878" y="4324841"/>
                  <a:pt x="5928598" y="4324952"/>
                  <a:pt x="5930602" y="4326174"/>
                </a:cubicBezTo>
                <a:cubicBezTo>
                  <a:pt x="5932322" y="4327396"/>
                  <a:pt x="5930316" y="4327285"/>
                  <a:pt x="5932035" y="4327396"/>
                </a:cubicBezTo>
                <a:cubicBezTo>
                  <a:pt x="5934040" y="4328618"/>
                  <a:pt x="5933754" y="4327395"/>
                  <a:pt x="5933754" y="4327395"/>
                </a:cubicBezTo>
                <a:cubicBezTo>
                  <a:pt x="5933754" y="4327395"/>
                  <a:pt x="5934040" y="4328618"/>
                  <a:pt x="5934040" y="4328618"/>
                </a:cubicBezTo>
                <a:cubicBezTo>
                  <a:pt x="5934040" y="4328618"/>
                  <a:pt x="5934040" y="4328618"/>
                  <a:pt x="5937478" y="4331061"/>
                </a:cubicBezTo>
                <a:cubicBezTo>
                  <a:pt x="5942634" y="4333505"/>
                  <a:pt x="5944639" y="4333506"/>
                  <a:pt x="5948077" y="4334727"/>
                </a:cubicBezTo>
                <a:cubicBezTo>
                  <a:pt x="5951514" y="4337171"/>
                  <a:pt x="5951801" y="4338393"/>
                  <a:pt x="5955238" y="4342058"/>
                </a:cubicBezTo>
                <a:cubicBezTo>
                  <a:pt x="5953806" y="4344281"/>
                  <a:pt x="5953806" y="4344281"/>
                  <a:pt x="5952088" y="4344280"/>
                </a:cubicBezTo>
                <a:cubicBezTo>
                  <a:pt x="5953806" y="4344281"/>
                  <a:pt x="5953806" y="4345502"/>
                  <a:pt x="5955525" y="4346724"/>
                </a:cubicBezTo>
                <a:cubicBezTo>
                  <a:pt x="5960108" y="4348613"/>
                  <a:pt x="5961540" y="4350946"/>
                  <a:pt x="5960968" y="4353500"/>
                </a:cubicBezTo>
                <a:lnTo>
                  <a:pt x="5956670" y="4359388"/>
                </a:lnTo>
                <a:lnTo>
                  <a:pt x="5960108" y="4360721"/>
                </a:lnTo>
                <a:cubicBezTo>
                  <a:pt x="5959822" y="4362387"/>
                  <a:pt x="5960681" y="4364942"/>
                  <a:pt x="5959250" y="4367497"/>
                </a:cubicBezTo>
                <a:cubicBezTo>
                  <a:pt x="5951514" y="4370606"/>
                  <a:pt x="5945498" y="4369497"/>
                  <a:pt x="5941202" y="4365942"/>
                </a:cubicBezTo>
                <a:lnTo>
                  <a:pt x="5942061" y="4364719"/>
                </a:lnTo>
                <a:lnTo>
                  <a:pt x="5940056" y="4364609"/>
                </a:lnTo>
                <a:cubicBezTo>
                  <a:pt x="5938050" y="4364275"/>
                  <a:pt x="5936332" y="4363498"/>
                  <a:pt x="5934613" y="4362275"/>
                </a:cubicBezTo>
                <a:cubicBezTo>
                  <a:pt x="5929170" y="4358721"/>
                  <a:pt x="5925160" y="4350390"/>
                  <a:pt x="5930030" y="4347058"/>
                </a:cubicBezTo>
                <a:cubicBezTo>
                  <a:pt x="5934900" y="4342503"/>
                  <a:pt x="5940056" y="4341614"/>
                  <a:pt x="5944926" y="4341725"/>
                </a:cubicBezTo>
                <a:cubicBezTo>
                  <a:pt x="5944926" y="4341725"/>
                  <a:pt x="5944926" y="4341725"/>
                  <a:pt x="5943494" y="4341614"/>
                </a:cubicBezTo>
                <a:cubicBezTo>
                  <a:pt x="5936332" y="4336727"/>
                  <a:pt x="5923728" y="4328284"/>
                  <a:pt x="5925160" y="4324841"/>
                </a:cubicBezTo>
                <a:close/>
                <a:moveTo>
                  <a:pt x="6076987" y="4324841"/>
                </a:moveTo>
                <a:cubicBezTo>
                  <a:pt x="6084435" y="4325396"/>
                  <a:pt x="6089876" y="4325397"/>
                  <a:pt x="6097324" y="4325951"/>
                </a:cubicBezTo>
                <a:cubicBezTo>
                  <a:pt x="6098184" y="4326285"/>
                  <a:pt x="6099903" y="4327395"/>
                  <a:pt x="6101335" y="4328618"/>
                </a:cubicBezTo>
                <a:cubicBezTo>
                  <a:pt x="6102768" y="4329729"/>
                  <a:pt x="6103627" y="4331062"/>
                  <a:pt x="6103054" y="4331839"/>
                </a:cubicBezTo>
                <a:cubicBezTo>
                  <a:pt x="6101908" y="4333282"/>
                  <a:pt x="6100190" y="4333616"/>
                  <a:pt x="6098470" y="4334060"/>
                </a:cubicBezTo>
                <a:lnTo>
                  <a:pt x="6095892" y="4333839"/>
                </a:lnTo>
                <a:lnTo>
                  <a:pt x="6092168" y="4339059"/>
                </a:lnTo>
                <a:cubicBezTo>
                  <a:pt x="6086726" y="4340504"/>
                  <a:pt x="6075840" y="4337060"/>
                  <a:pt x="6074980" y="4332394"/>
                </a:cubicBezTo>
                <a:cubicBezTo>
                  <a:pt x="6074694" y="4330839"/>
                  <a:pt x="6075267" y="4329284"/>
                  <a:pt x="6077845" y="4327618"/>
                </a:cubicBezTo>
                <a:lnTo>
                  <a:pt x="6078132" y="4327395"/>
                </a:lnTo>
                <a:close/>
                <a:moveTo>
                  <a:pt x="6211051" y="4324619"/>
                </a:moveTo>
                <a:cubicBezTo>
                  <a:pt x="6217640" y="4328729"/>
                  <a:pt x="6221365" y="4325507"/>
                  <a:pt x="6231390" y="4332172"/>
                </a:cubicBezTo>
                <a:cubicBezTo>
                  <a:pt x="6244568" y="4340281"/>
                  <a:pt x="6240844" y="4348057"/>
                  <a:pt x="6235687" y="4352278"/>
                </a:cubicBezTo>
                <a:cubicBezTo>
                  <a:pt x="6234253" y="4351279"/>
                  <a:pt x="6227093" y="4357055"/>
                  <a:pt x="6217355" y="4356055"/>
                </a:cubicBezTo>
                <a:cubicBezTo>
                  <a:pt x="6213916" y="4355722"/>
                  <a:pt x="6210192" y="4354611"/>
                  <a:pt x="6206468" y="4352278"/>
                </a:cubicBezTo>
                <a:cubicBezTo>
                  <a:pt x="6198160" y="4346946"/>
                  <a:pt x="6191572" y="4339392"/>
                  <a:pt x="6203890" y="4331062"/>
                </a:cubicBezTo>
                <a:cubicBezTo>
                  <a:pt x="6205608" y="4328840"/>
                  <a:pt x="6205608" y="4330061"/>
                  <a:pt x="6207327" y="4329062"/>
                </a:cubicBezTo>
                <a:cubicBezTo>
                  <a:pt x="6209332" y="4327951"/>
                  <a:pt x="6211051" y="4325840"/>
                  <a:pt x="6211051" y="4324619"/>
                </a:cubicBezTo>
                <a:close/>
                <a:moveTo>
                  <a:pt x="6027141" y="4324064"/>
                </a:moveTo>
                <a:cubicBezTo>
                  <a:pt x="6037740" y="4329062"/>
                  <a:pt x="6038886" y="4347835"/>
                  <a:pt x="6034016" y="4351168"/>
                </a:cubicBezTo>
                <a:cubicBezTo>
                  <a:pt x="6028574" y="4347502"/>
                  <a:pt x="6030006" y="4342836"/>
                  <a:pt x="6024563" y="4337949"/>
                </a:cubicBezTo>
                <a:lnTo>
                  <a:pt x="6024850" y="4336838"/>
                </a:lnTo>
                <a:lnTo>
                  <a:pt x="6020839" y="4334505"/>
                </a:lnTo>
                <a:cubicBezTo>
                  <a:pt x="6019120" y="4331839"/>
                  <a:pt x="6021125" y="4328951"/>
                  <a:pt x="6023991" y="4327395"/>
                </a:cubicBezTo>
                <a:lnTo>
                  <a:pt x="6026568" y="4326841"/>
                </a:lnTo>
                <a:close/>
                <a:moveTo>
                  <a:pt x="1919243" y="4322064"/>
                </a:moveTo>
                <a:cubicBezTo>
                  <a:pt x="1920388" y="4322064"/>
                  <a:pt x="1921821" y="4322286"/>
                  <a:pt x="1924112" y="4322619"/>
                </a:cubicBezTo>
                <a:cubicBezTo>
                  <a:pt x="1922681" y="4323285"/>
                  <a:pt x="1920961" y="4325508"/>
                  <a:pt x="1918383" y="4325062"/>
                </a:cubicBezTo>
                <a:cubicBezTo>
                  <a:pt x="1916091" y="4324730"/>
                  <a:pt x="1916091" y="4324619"/>
                  <a:pt x="1914086" y="4322619"/>
                </a:cubicBezTo>
                <a:cubicBezTo>
                  <a:pt x="1916664" y="4322175"/>
                  <a:pt x="1918098" y="4322064"/>
                  <a:pt x="1919243" y="4322064"/>
                </a:cubicBezTo>
                <a:close/>
                <a:moveTo>
                  <a:pt x="1926404" y="4320509"/>
                </a:moveTo>
                <a:cubicBezTo>
                  <a:pt x="1926978" y="4320398"/>
                  <a:pt x="1927550" y="4320509"/>
                  <a:pt x="1928124" y="4320953"/>
                </a:cubicBezTo>
                <a:cubicBezTo>
                  <a:pt x="1928982" y="4321953"/>
                  <a:pt x="1927550" y="4322508"/>
                  <a:pt x="1925258" y="4322286"/>
                </a:cubicBezTo>
                <a:cubicBezTo>
                  <a:pt x="1925258" y="4322286"/>
                  <a:pt x="1924113" y="4321287"/>
                  <a:pt x="1924113" y="4321287"/>
                </a:cubicBezTo>
                <a:cubicBezTo>
                  <a:pt x="1924973" y="4320953"/>
                  <a:pt x="1925831" y="4320731"/>
                  <a:pt x="1926404" y="4320509"/>
                </a:cubicBezTo>
                <a:close/>
                <a:moveTo>
                  <a:pt x="5894222" y="4320397"/>
                </a:moveTo>
                <a:lnTo>
                  <a:pt x="5887346" y="4333283"/>
                </a:lnTo>
                <a:cubicBezTo>
                  <a:pt x="5886774" y="4334505"/>
                  <a:pt x="5897659" y="4336061"/>
                  <a:pt x="5901096" y="4342392"/>
                </a:cubicBezTo>
                <a:cubicBezTo>
                  <a:pt x="5902242" y="4344392"/>
                  <a:pt x="5902529" y="4346946"/>
                  <a:pt x="5901096" y="4350279"/>
                </a:cubicBezTo>
                <a:cubicBezTo>
                  <a:pt x="5897946" y="4357721"/>
                  <a:pt x="5890784" y="4365053"/>
                  <a:pt x="5873882" y="4361832"/>
                </a:cubicBezTo>
                <a:cubicBezTo>
                  <a:pt x="5870158" y="4361831"/>
                  <a:pt x="5871878" y="4361276"/>
                  <a:pt x="5869586" y="4360720"/>
                </a:cubicBezTo>
                <a:cubicBezTo>
                  <a:pt x="5867581" y="4360165"/>
                  <a:pt x="5863570" y="4360165"/>
                  <a:pt x="5862138" y="4360720"/>
                </a:cubicBezTo>
                <a:cubicBezTo>
                  <a:pt x="5863284" y="4357722"/>
                  <a:pt x="5862138" y="4356166"/>
                  <a:pt x="5861564" y="4354167"/>
                </a:cubicBezTo>
                <a:lnTo>
                  <a:pt x="5852684" y="4361387"/>
                </a:lnTo>
                <a:cubicBezTo>
                  <a:pt x="5842658" y="4352611"/>
                  <a:pt x="5858700" y="4339281"/>
                  <a:pt x="5871304" y="4332839"/>
                </a:cubicBezTo>
                <a:lnTo>
                  <a:pt x="5871591" y="4335727"/>
                </a:lnTo>
                <a:lnTo>
                  <a:pt x="5873596" y="4334616"/>
                </a:lnTo>
                <a:cubicBezTo>
                  <a:pt x="5875888" y="4333728"/>
                  <a:pt x="5878466" y="4333282"/>
                  <a:pt x="5880759" y="4333061"/>
                </a:cubicBezTo>
                <a:lnTo>
                  <a:pt x="5885341" y="4333172"/>
                </a:lnTo>
                <a:lnTo>
                  <a:pt x="5877606" y="4328618"/>
                </a:lnTo>
                <a:cubicBezTo>
                  <a:pt x="5875028" y="4326396"/>
                  <a:pt x="5873022" y="4323953"/>
                  <a:pt x="5870732" y="4321953"/>
                </a:cubicBezTo>
                <a:cubicBezTo>
                  <a:pt x="5878180" y="4321731"/>
                  <a:pt x="5882476" y="4325841"/>
                  <a:pt x="5894222" y="4320397"/>
                </a:cubicBezTo>
                <a:close/>
                <a:moveTo>
                  <a:pt x="6745880" y="4319843"/>
                </a:moveTo>
                <a:cubicBezTo>
                  <a:pt x="6765073" y="4321731"/>
                  <a:pt x="6771089" y="4332394"/>
                  <a:pt x="6777391" y="4342948"/>
                </a:cubicBezTo>
                <a:cubicBezTo>
                  <a:pt x="6761349" y="4345614"/>
                  <a:pt x="6749604" y="4330173"/>
                  <a:pt x="6745880" y="4319843"/>
                </a:cubicBezTo>
                <a:close/>
                <a:moveTo>
                  <a:pt x="6153472" y="4319620"/>
                </a:moveTo>
                <a:cubicBezTo>
                  <a:pt x="6153758" y="4319953"/>
                  <a:pt x="6154044" y="4320620"/>
                  <a:pt x="6154905" y="4321286"/>
                </a:cubicBezTo>
                <a:cubicBezTo>
                  <a:pt x="6153186" y="4321175"/>
                  <a:pt x="6154905" y="4321286"/>
                  <a:pt x="6151753" y="4319730"/>
                </a:cubicBezTo>
                <a:cubicBezTo>
                  <a:pt x="6152612" y="4319175"/>
                  <a:pt x="6152899" y="4319286"/>
                  <a:pt x="6153472" y="4319620"/>
                </a:cubicBezTo>
                <a:close/>
                <a:moveTo>
                  <a:pt x="7262662" y="4319287"/>
                </a:moveTo>
                <a:cubicBezTo>
                  <a:pt x="7264667" y="4319287"/>
                  <a:pt x="7266100" y="4319620"/>
                  <a:pt x="7267532" y="4320176"/>
                </a:cubicBezTo>
                <a:cubicBezTo>
                  <a:pt x="7270110" y="4321509"/>
                  <a:pt x="7271828" y="4324064"/>
                  <a:pt x="7272687" y="4327729"/>
                </a:cubicBezTo>
                <a:cubicBezTo>
                  <a:pt x="7269537" y="4329395"/>
                  <a:pt x="7267818" y="4331506"/>
                  <a:pt x="7263808" y="4334282"/>
                </a:cubicBezTo>
                <a:cubicBezTo>
                  <a:pt x="7259510" y="4332728"/>
                  <a:pt x="7253208" y="4326618"/>
                  <a:pt x="7256073" y="4320731"/>
                </a:cubicBezTo>
                <a:cubicBezTo>
                  <a:pt x="7258651" y="4319843"/>
                  <a:pt x="7260656" y="4319397"/>
                  <a:pt x="7262662" y="4319287"/>
                </a:cubicBezTo>
                <a:close/>
                <a:moveTo>
                  <a:pt x="5751848" y="4318842"/>
                </a:moveTo>
                <a:cubicBezTo>
                  <a:pt x="5754140" y="4319287"/>
                  <a:pt x="5756431" y="4319843"/>
                  <a:pt x="5758438" y="4320398"/>
                </a:cubicBezTo>
                <a:lnTo>
                  <a:pt x="5757578" y="4325729"/>
                </a:lnTo>
                <a:lnTo>
                  <a:pt x="5759297" y="4329061"/>
                </a:lnTo>
                <a:cubicBezTo>
                  <a:pt x="5762162" y="4330617"/>
                  <a:pt x="5763881" y="4333728"/>
                  <a:pt x="5763594" y="4336282"/>
                </a:cubicBezTo>
                <a:cubicBezTo>
                  <a:pt x="5761875" y="4339504"/>
                  <a:pt x="5758724" y="4340504"/>
                  <a:pt x="5756432" y="4339948"/>
                </a:cubicBezTo>
                <a:cubicBezTo>
                  <a:pt x="5738099" y="4337393"/>
                  <a:pt x="5738958" y="4325840"/>
                  <a:pt x="5736093" y="4324285"/>
                </a:cubicBezTo>
                <a:cubicBezTo>
                  <a:pt x="5738385" y="4320731"/>
                  <a:pt x="5738958" y="4319842"/>
                  <a:pt x="5744114" y="4320509"/>
                </a:cubicBezTo>
                <a:lnTo>
                  <a:pt x="5749557" y="4321397"/>
                </a:lnTo>
                <a:close/>
                <a:moveTo>
                  <a:pt x="1934998" y="4317843"/>
                </a:moveTo>
                <a:cubicBezTo>
                  <a:pt x="1934998" y="4317843"/>
                  <a:pt x="1934425" y="4319398"/>
                  <a:pt x="1934425" y="4319398"/>
                </a:cubicBezTo>
                <a:cubicBezTo>
                  <a:pt x="1932134" y="4319176"/>
                  <a:pt x="1932994" y="4320064"/>
                  <a:pt x="1931274" y="4318287"/>
                </a:cubicBezTo>
                <a:cubicBezTo>
                  <a:pt x="1933566" y="4318509"/>
                  <a:pt x="1933566" y="4318509"/>
                  <a:pt x="1934998" y="4317843"/>
                </a:cubicBezTo>
                <a:close/>
                <a:moveTo>
                  <a:pt x="6192145" y="4315954"/>
                </a:moveTo>
                <a:cubicBezTo>
                  <a:pt x="6188134" y="4319287"/>
                  <a:pt x="6186702" y="4320731"/>
                  <a:pt x="6183837" y="4322619"/>
                </a:cubicBezTo>
                <a:cubicBezTo>
                  <a:pt x="6184410" y="4323730"/>
                  <a:pt x="6184696" y="4324841"/>
                  <a:pt x="6183550" y="4326285"/>
                </a:cubicBezTo>
                <a:cubicBezTo>
                  <a:pt x="6180972" y="4329283"/>
                  <a:pt x="6177248" y="4329062"/>
                  <a:pt x="6174384" y="4330950"/>
                </a:cubicBezTo>
                <a:cubicBezTo>
                  <a:pt x="6172378" y="4330284"/>
                  <a:pt x="6169800" y="4328507"/>
                  <a:pt x="6172378" y="4325508"/>
                </a:cubicBezTo>
                <a:cubicBezTo>
                  <a:pt x="6174384" y="4321398"/>
                  <a:pt x="6179254" y="4320286"/>
                  <a:pt x="6184696" y="4320064"/>
                </a:cubicBezTo>
                <a:cubicBezTo>
                  <a:pt x="6187561" y="4318176"/>
                  <a:pt x="6188420" y="4315621"/>
                  <a:pt x="6192145" y="4315954"/>
                </a:cubicBezTo>
                <a:close/>
                <a:moveTo>
                  <a:pt x="1823564" y="4315399"/>
                </a:moveTo>
                <a:cubicBezTo>
                  <a:pt x="1827287" y="4315954"/>
                  <a:pt x="1829007" y="4318620"/>
                  <a:pt x="1832731" y="4321953"/>
                </a:cubicBezTo>
                <a:cubicBezTo>
                  <a:pt x="1830438" y="4322398"/>
                  <a:pt x="1833017" y="4327174"/>
                  <a:pt x="1833876" y="4328840"/>
                </a:cubicBezTo>
                <a:cubicBezTo>
                  <a:pt x="1829294" y="4329729"/>
                  <a:pt x="1831011" y="4335615"/>
                  <a:pt x="1824137" y="4336949"/>
                </a:cubicBezTo>
                <a:cubicBezTo>
                  <a:pt x="1820985" y="4335727"/>
                  <a:pt x="1819553" y="4335172"/>
                  <a:pt x="1817261" y="4332950"/>
                </a:cubicBezTo>
                <a:cubicBezTo>
                  <a:pt x="1811818" y="4320509"/>
                  <a:pt x="1820127" y="4317176"/>
                  <a:pt x="1819267" y="4315621"/>
                </a:cubicBezTo>
                <a:cubicBezTo>
                  <a:pt x="1820985" y="4315288"/>
                  <a:pt x="1822417" y="4315177"/>
                  <a:pt x="1823564" y="4315399"/>
                </a:cubicBezTo>
                <a:close/>
                <a:moveTo>
                  <a:pt x="5865288" y="4314399"/>
                </a:moveTo>
                <a:cubicBezTo>
                  <a:pt x="5868154" y="4316065"/>
                  <a:pt x="5871591" y="4315399"/>
                  <a:pt x="5874456" y="4319287"/>
                </a:cubicBezTo>
                <a:cubicBezTo>
                  <a:pt x="5870732" y="4321064"/>
                  <a:pt x="5867008" y="4321730"/>
                  <a:pt x="5863284" y="4323508"/>
                </a:cubicBezTo>
                <a:cubicBezTo>
                  <a:pt x="5857268" y="4320175"/>
                  <a:pt x="5861278" y="4317288"/>
                  <a:pt x="5865288" y="4314399"/>
                </a:cubicBezTo>
                <a:close/>
                <a:moveTo>
                  <a:pt x="2223755" y="4313511"/>
                </a:moveTo>
                <a:cubicBezTo>
                  <a:pt x="2226620" y="4313621"/>
                  <a:pt x="2231775" y="4317176"/>
                  <a:pt x="2233780" y="4319620"/>
                </a:cubicBezTo>
                <a:cubicBezTo>
                  <a:pt x="2234640" y="4320398"/>
                  <a:pt x="2234926" y="4321064"/>
                  <a:pt x="2234640" y="4321398"/>
                </a:cubicBezTo>
                <a:cubicBezTo>
                  <a:pt x="2230344" y="4320842"/>
                  <a:pt x="2222608" y="4319620"/>
                  <a:pt x="2220030" y="4317399"/>
                </a:cubicBezTo>
                <a:cubicBezTo>
                  <a:pt x="2219171" y="4316621"/>
                  <a:pt x="2218598" y="4315843"/>
                  <a:pt x="2219171" y="4314844"/>
                </a:cubicBezTo>
                <a:cubicBezTo>
                  <a:pt x="2220030" y="4313288"/>
                  <a:pt x="2222323" y="4313955"/>
                  <a:pt x="2223755" y="4313511"/>
                </a:cubicBezTo>
                <a:close/>
                <a:moveTo>
                  <a:pt x="1645670" y="4313399"/>
                </a:moveTo>
                <a:cubicBezTo>
                  <a:pt x="1646815" y="4313622"/>
                  <a:pt x="1648247" y="4314177"/>
                  <a:pt x="1649966" y="4315176"/>
                </a:cubicBezTo>
                <a:cubicBezTo>
                  <a:pt x="1645097" y="4321619"/>
                  <a:pt x="1645955" y="4329062"/>
                  <a:pt x="1640513" y="4330839"/>
                </a:cubicBezTo>
                <a:cubicBezTo>
                  <a:pt x="1638794" y="4331506"/>
                  <a:pt x="1636502" y="4331506"/>
                  <a:pt x="1632778" y="4330618"/>
                </a:cubicBezTo>
                <a:cubicBezTo>
                  <a:pt x="1632493" y="4326397"/>
                  <a:pt x="1636216" y="4311844"/>
                  <a:pt x="1645670" y="4313399"/>
                </a:cubicBezTo>
                <a:close/>
                <a:moveTo>
                  <a:pt x="7142346" y="4313288"/>
                </a:moveTo>
                <a:cubicBezTo>
                  <a:pt x="7155524" y="4314954"/>
                  <a:pt x="7156670" y="4318176"/>
                  <a:pt x="7153807" y="4320509"/>
                </a:cubicBezTo>
                <a:cubicBezTo>
                  <a:pt x="7149222" y="4324508"/>
                  <a:pt x="7133753" y="4325952"/>
                  <a:pt x="7142346" y="4313288"/>
                </a:cubicBezTo>
                <a:close/>
                <a:moveTo>
                  <a:pt x="2374721" y="4312400"/>
                </a:moveTo>
                <a:cubicBezTo>
                  <a:pt x="2377873" y="4312400"/>
                  <a:pt x="2380450" y="4313177"/>
                  <a:pt x="2383316" y="4316620"/>
                </a:cubicBezTo>
                <a:cubicBezTo>
                  <a:pt x="2381882" y="4323619"/>
                  <a:pt x="2367846" y="4326285"/>
                  <a:pt x="2360684" y="4319176"/>
                </a:cubicBezTo>
                <a:cubicBezTo>
                  <a:pt x="2362976" y="4317065"/>
                  <a:pt x="2363262" y="4314733"/>
                  <a:pt x="2365555" y="4312733"/>
                </a:cubicBezTo>
                <a:cubicBezTo>
                  <a:pt x="2368705" y="4313177"/>
                  <a:pt x="2371857" y="4312399"/>
                  <a:pt x="2374721" y="4312400"/>
                </a:cubicBezTo>
                <a:close/>
                <a:moveTo>
                  <a:pt x="6009380" y="4311844"/>
                </a:moveTo>
                <a:cubicBezTo>
                  <a:pt x="6009380" y="4311844"/>
                  <a:pt x="6009666" y="4312844"/>
                  <a:pt x="6009666" y="4312844"/>
                </a:cubicBezTo>
                <a:cubicBezTo>
                  <a:pt x="6010527" y="4312621"/>
                  <a:pt x="6010527" y="4312621"/>
                  <a:pt x="6010240" y="4313066"/>
                </a:cubicBezTo>
                <a:cubicBezTo>
                  <a:pt x="6009953" y="4313399"/>
                  <a:pt x="6009666" y="4314176"/>
                  <a:pt x="6009380" y="4315399"/>
                </a:cubicBezTo>
                <a:cubicBezTo>
                  <a:pt x="6008521" y="4316954"/>
                  <a:pt x="6009380" y="4317954"/>
                  <a:pt x="6007088" y="4317399"/>
                </a:cubicBezTo>
                <a:cubicBezTo>
                  <a:pt x="6005083" y="4316843"/>
                  <a:pt x="6005083" y="4316954"/>
                  <a:pt x="6003364" y="4313844"/>
                </a:cubicBezTo>
                <a:cubicBezTo>
                  <a:pt x="6005370" y="4314399"/>
                  <a:pt x="6005370" y="4314399"/>
                  <a:pt x="6006230" y="4312844"/>
                </a:cubicBezTo>
                <a:cubicBezTo>
                  <a:pt x="6006230" y="4312844"/>
                  <a:pt x="6006230" y="4312844"/>
                  <a:pt x="6005656" y="4311844"/>
                </a:cubicBezTo>
                <a:cubicBezTo>
                  <a:pt x="6007088" y="4311289"/>
                  <a:pt x="6007662" y="4312289"/>
                  <a:pt x="6009380" y="4311844"/>
                </a:cubicBezTo>
                <a:close/>
                <a:moveTo>
                  <a:pt x="1959921" y="4311289"/>
                </a:moveTo>
                <a:cubicBezTo>
                  <a:pt x="1957056" y="4312510"/>
                  <a:pt x="1941301" y="4318176"/>
                  <a:pt x="1935284" y="4318065"/>
                </a:cubicBezTo>
                <a:cubicBezTo>
                  <a:pt x="1943019" y="4315954"/>
                  <a:pt x="1951613" y="4310734"/>
                  <a:pt x="1959921" y="4311289"/>
                </a:cubicBezTo>
                <a:close/>
                <a:moveTo>
                  <a:pt x="6541631" y="4309734"/>
                </a:moveTo>
                <a:cubicBezTo>
                  <a:pt x="6546214" y="4311844"/>
                  <a:pt x="6548792" y="4314399"/>
                  <a:pt x="6550512" y="4317288"/>
                </a:cubicBezTo>
                <a:cubicBezTo>
                  <a:pt x="6552516" y="4320064"/>
                  <a:pt x="6553376" y="4323175"/>
                  <a:pt x="6554236" y="4326174"/>
                </a:cubicBezTo>
                <a:cubicBezTo>
                  <a:pt x="6540772" y="4339948"/>
                  <a:pt x="6534756" y="4323841"/>
                  <a:pt x="6528167" y="4317399"/>
                </a:cubicBezTo>
                <a:cubicBezTo>
                  <a:pt x="6532750" y="4312844"/>
                  <a:pt x="6534756" y="4311733"/>
                  <a:pt x="6541631" y="4309734"/>
                </a:cubicBezTo>
                <a:close/>
                <a:moveTo>
                  <a:pt x="5946644" y="4307734"/>
                </a:moveTo>
                <a:cubicBezTo>
                  <a:pt x="5949222" y="4307511"/>
                  <a:pt x="5951801" y="4307956"/>
                  <a:pt x="5954379" y="4309400"/>
                </a:cubicBezTo>
                <a:cubicBezTo>
                  <a:pt x="5957530" y="4311955"/>
                  <a:pt x="5962400" y="4315954"/>
                  <a:pt x="5958962" y="4319287"/>
                </a:cubicBezTo>
                <a:cubicBezTo>
                  <a:pt x="5957244" y="4319065"/>
                  <a:pt x="5957244" y="4320287"/>
                  <a:pt x="5955525" y="4320064"/>
                </a:cubicBezTo>
                <a:cubicBezTo>
                  <a:pt x="5955525" y="4320064"/>
                  <a:pt x="5953806" y="4320620"/>
                  <a:pt x="5951227" y="4320509"/>
                </a:cubicBezTo>
                <a:cubicBezTo>
                  <a:pt x="5948650" y="4320509"/>
                  <a:pt x="5945498" y="4319843"/>
                  <a:pt x="5942061" y="4317843"/>
                </a:cubicBezTo>
                <a:cubicBezTo>
                  <a:pt x="5940628" y="4316510"/>
                  <a:pt x="5937191" y="4312733"/>
                  <a:pt x="5938910" y="4312844"/>
                </a:cubicBezTo>
                <a:cubicBezTo>
                  <a:pt x="5940628" y="4311844"/>
                  <a:pt x="5938910" y="4311733"/>
                  <a:pt x="5939196" y="4310512"/>
                </a:cubicBezTo>
                <a:cubicBezTo>
                  <a:pt x="5941774" y="4308956"/>
                  <a:pt x="5944353" y="4307956"/>
                  <a:pt x="5946644" y="4307734"/>
                </a:cubicBezTo>
                <a:close/>
                <a:moveTo>
                  <a:pt x="5722630" y="4306290"/>
                </a:moveTo>
                <a:cubicBezTo>
                  <a:pt x="5724921" y="4308400"/>
                  <a:pt x="5729791" y="4312067"/>
                  <a:pt x="5730650" y="4314510"/>
                </a:cubicBezTo>
                <a:cubicBezTo>
                  <a:pt x="5730937" y="4315399"/>
                  <a:pt x="5730938" y="4316065"/>
                  <a:pt x="5729791" y="4316510"/>
                </a:cubicBezTo>
                <a:cubicBezTo>
                  <a:pt x="5726640" y="4313844"/>
                  <a:pt x="5720338" y="4310844"/>
                  <a:pt x="5722630" y="4306290"/>
                </a:cubicBezTo>
                <a:close/>
                <a:moveTo>
                  <a:pt x="5798542" y="4305846"/>
                </a:moveTo>
                <a:cubicBezTo>
                  <a:pt x="5800261" y="4305735"/>
                  <a:pt x="5803699" y="4305624"/>
                  <a:pt x="5805704" y="4306734"/>
                </a:cubicBezTo>
                <a:cubicBezTo>
                  <a:pt x="5807423" y="4306733"/>
                  <a:pt x="5806564" y="4310400"/>
                  <a:pt x="5806564" y="4310400"/>
                </a:cubicBezTo>
                <a:cubicBezTo>
                  <a:pt x="5805131" y="4311623"/>
                  <a:pt x="5799402" y="4309400"/>
                  <a:pt x="5797683" y="4309511"/>
                </a:cubicBezTo>
                <a:cubicBezTo>
                  <a:pt x="5797396" y="4308290"/>
                  <a:pt x="5798829" y="4306957"/>
                  <a:pt x="5798542" y="4305846"/>
                </a:cubicBezTo>
                <a:close/>
                <a:moveTo>
                  <a:pt x="5781354" y="4305513"/>
                </a:moveTo>
                <a:lnTo>
                  <a:pt x="5783360" y="4305845"/>
                </a:lnTo>
                <a:lnTo>
                  <a:pt x="5783646" y="4305735"/>
                </a:lnTo>
                <a:lnTo>
                  <a:pt x="5784219" y="4305846"/>
                </a:lnTo>
                <a:lnTo>
                  <a:pt x="5787084" y="4306401"/>
                </a:lnTo>
                <a:lnTo>
                  <a:pt x="5787370" y="4307179"/>
                </a:lnTo>
                <a:lnTo>
                  <a:pt x="5796537" y="4310733"/>
                </a:lnTo>
                <a:cubicBezTo>
                  <a:pt x="5801120" y="4316176"/>
                  <a:pt x="5798829" y="4322176"/>
                  <a:pt x="5792813" y="4324619"/>
                </a:cubicBezTo>
                <a:cubicBezTo>
                  <a:pt x="5790522" y="4325507"/>
                  <a:pt x="5788230" y="4325952"/>
                  <a:pt x="5785365" y="4325841"/>
                </a:cubicBezTo>
                <a:cubicBezTo>
                  <a:pt x="5781641" y="4325841"/>
                  <a:pt x="5777345" y="4324841"/>
                  <a:pt x="5772760" y="4322508"/>
                </a:cubicBezTo>
                <a:cubicBezTo>
                  <a:pt x="5768177" y="4318732"/>
                  <a:pt x="5771901" y="4311400"/>
                  <a:pt x="5777344" y="4307845"/>
                </a:cubicBezTo>
                <a:lnTo>
                  <a:pt x="5779922" y="4306956"/>
                </a:lnTo>
                <a:close/>
                <a:moveTo>
                  <a:pt x="5961254" y="4305512"/>
                </a:moveTo>
                <a:cubicBezTo>
                  <a:pt x="5962973" y="4306734"/>
                  <a:pt x="5964406" y="4309178"/>
                  <a:pt x="5962686" y="4310178"/>
                </a:cubicBezTo>
                <a:cubicBezTo>
                  <a:pt x="5961827" y="4311178"/>
                  <a:pt x="5960968" y="4311067"/>
                  <a:pt x="5959822" y="4310623"/>
                </a:cubicBezTo>
                <a:cubicBezTo>
                  <a:pt x="5958962" y="4310066"/>
                  <a:pt x="5957816" y="4309178"/>
                  <a:pt x="5956098" y="4308400"/>
                </a:cubicBezTo>
                <a:close/>
                <a:moveTo>
                  <a:pt x="6244281" y="4304290"/>
                </a:moveTo>
                <a:cubicBezTo>
                  <a:pt x="6247432" y="4304402"/>
                  <a:pt x="6248864" y="4305179"/>
                  <a:pt x="6249438" y="4306290"/>
                </a:cubicBezTo>
                <a:cubicBezTo>
                  <a:pt x="6250010" y="4307289"/>
                  <a:pt x="6249724" y="4308845"/>
                  <a:pt x="6248864" y="4310400"/>
                </a:cubicBezTo>
                <a:cubicBezTo>
                  <a:pt x="6247718" y="4313733"/>
                  <a:pt x="6243708" y="4313954"/>
                  <a:pt x="6243708" y="4313954"/>
                </a:cubicBezTo>
                <a:cubicBezTo>
                  <a:pt x="6237692" y="4313733"/>
                  <a:pt x="6233968" y="4311289"/>
                  <a:pt x="6234541" y="4307067"/>
                </a:cubicBezTo>
                <a:cubicBezTo>
                  <a:pt x="6236833" y="4304735"/>
                  <a:pt x="6240557" y="4304513"/>
                  <a:pt x="6244281" y="4304290"/>
                </a:cubicBezTo>
                <a:close/>
                <a:moveTo>
                  <a:pt x="1983411" y="4303958"/>
                </a:moveTo>
                <a:cubicBezTo>
                  <a:pt x="1981692" y="4306179"/>
                  <a:pt x="1977395" y="4309511"/>
                  <a:pt x="1972811" y="4308734"/>
                </a:cubicBezTo>
                <a:cubicBezTo>
                  <a:pt x="1972811" y="4308734"/>
                  <a:pt x="1972812" y="4308623"/>
                  <a:pt x="1970521" y="4308290"/>
                </a:cubicBezTo>
                <a:cubicBezTo>
                  <a:pt x="1974531" y="4306512"/>
                  <a:pt x="1979686" y="4304179"/>
                  <a:pt x="1983411" y="4303958"/>
                </a:cubicBezTo>
                <a:close/>
                <a:moveTo>
                  <a:pt x="1609574" y="4303735"/>
                </a:moveTo>
                <a:cubicBezTo>
                  <a:pt x="1614732" y="4303847"/>
                  <a:pt x="1625044" y="4307734"/>
                  <a:pt x="1627050" y="4313733"/>
                </a:cubicBezTo>
                <a:cubicBezTo>
                  <a:pt x="1620748" y="4319398"/>
                  <a:pt x="1613872" y="4318065"/>
                  <a:pt x="1606711" y="4311955"/>
                </a:cubicBezTo>
                <a:cubicBezTo>
                  <a:pt x="1608142" y="4309622"/>
                  <a:pt x="1608142" y="4307179"/>
                  <a:pt x="1609574" y="4303735"/>
                </a:cubicBezTo>
                <a:close/>
                <a:moveTo>
                  <a:pt x="5706014" y="4303180"/>
                </a:moveTo>
                <a:cubicBezTo>
                  <a:pt x="5707733" y="4302957"/>
                  <a:pt x="5709452" y="4302957"/>
                  <a:pt x="5711171" y="4303291"/>
                </a:cubicBezTo>
                <a:cubicBezTo>
                  <a:pt x="5713462" y="4303735"/>
                  <a:pt x="5715754" y="4304624"/>
                  <a:pt x="5717473" y="4306290"/>
                </a:cubicBezTo>
                <a:cubicBezTo>
                  <a:pt x="5715181" y="4308511"/>
                  <a:pt x="5714608" y="4310955"/>
                  <a:pt x="5712317" y="4313178"/>
                </a:cubicBezTo>
                <a:cubicBezTo>
                  <a:pt x="5705728" y="4312844"/>
                  <a:pt x="5699712" y="4317399"/>
                  <a:pt x="5694842" y="4311066"/>
                </a:cubicBezTo>
                <a:cubicBezTo>
                  <a:pt x="5695702" y="4307067"/>
                  <a:pt x="5700858" y="4303958"/>
                  <a:pt x="5706014" y="4303180"/>
                </a:cubicBezTo>
                <a:close/>
                <a:moveTo>
                  <a:pt x="1997447" y="4301847"/>
                </a:moveTo>
                <a:cubicBezTo>
                  <a:pt x="2008046" y="4303958"/>
                  <a:pt x="2018073" y="4312066"/>
                  <a:pt x="2020938" y="4318065"/>
                </a:cubicBezTo>
                <a:cubicBezTo>
                  <a:pt x="2018360" y="4323175"/>
                  <a:pt x="2014063" y="4325619"/>
                  <a:pt x="2009480" y="4326174"/>
                </a:cubicBezTo>
                <a:cubicBezTo>
                  <a:pt x="1995442" y="4327951"/>
                  <a:pt x="1977968" y="4312955"/>
                  <a:pt x="1986848" y="4302069"/>
                </a:cubicBezTo>
                <a:cubicBezTo>
                  <a:pt x="1990286" y="4301069"/>
                  <a:pt x="1994010" y="4301069"/>
                  <a:pt x="1997447" y="4301847"/>
                </a:cubicBezTo>
                <a:close/>
                <a:moveTo>
                  <a:pt x="5979015" y="4301846"/>
                </a:moveTo>
                <a:cubicBezTo>
                  <a:pt x="5979588" y="4301625"/>
                  <a:pt x="5980161" y="4301625"/>
                  <a:pt x="5980161" y="4302180"/>
                </a:cubicBezTo>
                <a:cubicBezTo>
                  <a:pt x="5981880" y="4302403"/>
                  <a:pt x="5981593" y="4303513"/>
                  <a:pt x="5983312" y="4304735"/>
                </a:cubicBezTo>
                <a:cubicBezTo>
                  <a:pt x="5985030" y="4307179"/>
                  <a:pt x="5984744" y="4310622"/>
                  <a:pt x="5983026" y="4311623"/>
                </a:cubicBezTo>
                <a:cubicBezTo>
                  <a:pt x="5981306" y="4312621"/>
                  <a:pt x="5979588" y="4312510"/>
                  <a:pt x="5979588" y="4312510"/>
                </a:cubicBezTo>
                <a:cubicBezTo>
                  <a:pt x="5974718" y="4309845"/>
                  <a:pt x="5971280" y="4306179"/>
                  <a:pt x="5976437" y="4303069"/>
                </a:cubicBezTo>
                <a:cubicBezTo>
                  <a:pt x="5977296" y="4302624"/>
                  <a:pt x="5978443" y="4302069"/>
                  <a:pt x="5979015" y="4301846"/>
                </a:cubicBezTo>
                <a:close/>
                <a:moveTo>
                  <a:pt x="6738146" y="4300958"/>
                </a:moveTo>
                <a:cubicBezTo>
                  <a:pt x="6745020" y="4303291"/>
                  <a:pt x="6750750" y="4306401"/>
                  <a:pt x="6753901" y="4310844"/>
                </a:cubicBezTo>
                <a:cubicBezTo>
                  <a:pt x="6747599" y="4314288"/>
                  <a:pt x="6738146" y="4314953"/>
                  <a:pt x="6730698" y="4315843"/>
                </a:cubicBezTo>
                <a:cubicBezTo>
                  <a:pt x="6733562" y="4311178"/>
                  <a:pt x="6741010" y="4310289"/>
                  <a:pt x="6738146" y="4300958"/>
                </a:cubicBezTo>
                <a:close/>
                <a:moveTo>
                  <a:pt x="1821558" y="4298403"/>
                </a:moveTo>
                <a:cubicBezTo>
                  <a:pt x="1823278" y="4298959"/>
                  <a:pt x="1825282" y="4298514"/>
                  <a:pt x="1827001" y="4299070"/>
                </a:cubicBezTo>
                <a:cubicBezTo>
                  <a:pt x="1828720" y="4302403"/>
                  <a:pt x="1823564" y="4304291"/>
                  <a:pt x="1821846" y="4303735"/>
                </a:cubicBezTo>
                <a:cubicBezTo>
                  <a:pt x="1820985" y="4302068"/>
                  <a:pt x="1822417" y="4300069"/>
                  <a:pt x="1821558" y="4298403"/>
                </a:cubicBezTo>
                <a:close/>
                <a:moveTo>
                  <a:pt x="6298136" y="4296403"/>
                </a:moveTo>
                <a:cubicBezTo>
                  <a:pt x="6303579" y="4295626"/>
                  <a:pt x="6309022" y="4298180"/>
                  <a:pt x="6309308" y="4301846"/>
                </a:cubicBezTo>
                <a:cubicBezTo>
                  <a:pt x="6302146" y="4309733"/>
                  <a:pt x="6291834" y="4303069"/>
                  <a:pt x="6292980" y="4298403"/>
                </a:cubicBezTo>
                <a:cubicBezTo>
                  <a:pt x="6294698" y="4297293"/>
                  <a:pt x="6296418" y="4296626"/>
                  <a:pt x="6298136" y="4296403"/>
                </a:cubicBezTo>
                <a:close/>
                <a:moveTo>
                  <a:pt x="6435066" y="4295848"/>
                </a:moveTo>
                <a:cubicBezTo>
                  <a:pt x="6438218" y="4295404"/>
                  <a:pt x="6442228" y="4297182"/>
                  <a:pt x="6447098" y="4298513"/>
                </a:cubicBezTo>
                <a:cubicBezTo>
                  <a:pt x="6445379" y="4299514"/>
                  <a:pt x="6447098" y="4300847"/>
                  <a:pt x="6448530" y="4302180"/>
                </a:cubicBezTo>
                <a:cubicBezTo>
                  <a:pt x="6445952" y="4303735"/>
                  <a:pt x="6442514" y="4306401"/>
                  <a:pt x="6438218" y="4305513"/>
                </a:cubicBezTo>
                <a:cubicBezTo>
                  <a:pt x="6436785" y="4305290"/>
                  <a:pt x="6435066" y="4304513"/>
                  <a:pt x="6433634" y="4303180"/>
                </a:cubicBezTo>
                <a:cubicBezTo>
                  <a:pt x="6431915" y="4303069"/>
                  <a:pt x="6430483" y="4298293"/>
                  <a:pt x="6432202" y="4297293"/>
                </a:cubicBezTo>
                <a:cubicBezTo>
                  <a:pt x="6433062" y="4296404"/>
                  <a:pt x="6433920" y="4296070"/>
                  <a:pt x="6435066" y="4295848"/>
                </a:cubicBezTo>
                <a:close/>
                <a:moveTo>
                  <a:pt x="5896227" y="4293738"/>
                </a:moveTo>
                <a:cubicBezTo>
                  <a:pt x="5898233" y="4293626"/>
                  <a:pt x="5900238" y="4293849"/>
                  <a:pt x="5901383" y="4294627"/>
                </a:cubicBezTo>
                <a:cubicBezTo>
                  <a:pt x="5911696" y="4308068"/>
                  <a:pt x="5897372" y="4315510"/>
                  <a:pt x="5887060" y="4310733"/>
                </a:cubicBezTo>
                <a:cubicBezTo>
                  <a:pt x="5883622" y="4309177"/>
                  <a:pt x="5880759" y="4306290"/>
                  <a:pt x="5879039" y="4301847"/>
                </a:cubicBezTo>
                <a:cubicBezTo>
                  <a:pt x="5881044" y="4297515"/>
                  <a:pt x="5889924" y="4293960"/>
                  <a:pt x="5896227" y="4293738"/>
                </a:cubicBezTo>
                <a:close/>
                <a:moveTo>
                  <a:pt x="5824898" y="4293515"/>
                </a:moveTo>
                <a:cubicBezTo>
                  <a:pt x="5827762" y="4293626"/>
                  <a:pt x="5829767" y="4293960"/>
                  <a:pt x="5831772" y="4294071"/>
                </a:cubicBezTo>
                <a:cubicBezTo>
                  <a:pt x="5833204" y="4297403"/>
                  <a:pt x="5835496" y="4299625"/>
                  <a:pt x="5836642" y="4302957"/>
                </a:cubicBezTo>
                <a:lnTo>
                  <a:pt x="5836356" y="4303401"/>
                </a:lnTo>
                <a:lnTo>
                  <a:pt x="5836642" y="4303401"/>
                </a:lnTo>
                <a:cubicBezTo>
                  <a:pt x="5838934" y="4304958"/>
                  <a:pt x="5839794" y="4306179"/>
                  <a:pt x="5839507" y="4307511"/>
                </a:cubicBezTo>
                <a:cubicBezTo>
                  <a:pt x="5839220" y="4308845"/>
                  <a:pt x="5837788" y="4310178"/>
                  <a:pt x="5835783" y="4311844"/>
                </a:cubicBezTo>
                <a:cubicBezTo>
                  <a:pt x="5832058" y="4315065"/>
                  <a:pt x="5827189" y="4313289"/>
                  <a:pt x="5823465" y="4315288"/>
                </a:cubicBezTo>
                <a:cubicBezTo>
                  <a:pt x="5822606" y="4314066"/>
                  <a:pt x="5821460" y="4312400"/>
                  <a:pt x="5821460" y="4310511"/>
                </a:cubicBezTo>
                <a:lnTo>
                  <a:pt x="5822892" y="4307622"/>
                </a:lnTo>
                <a:lnTo>
                  <a:pt x="5820314" y="4307401"/>
                </a:lnTo>
                <a:cubicBezTo>
                  <a:pt x="5814871" y="4304846"/>
                  <a:pt x="5811434" y="4299181"/>
                  <a:pt x="5815730" y="4293738"/>
                </a:cubicBezTo>
                <a:cubicBezTo>
                  <a:pt x="5819168" y="4293293"/>
                  <a:pt x="5822319" y="4293404"/>
                  <a:pt x="5824898" y="4293515"/>
                </a:cubicBezTo>
                <a:close/>
                <a:moveTo>
                  <a:pt x="2470401" y="4292072"/>
                </a:moveTo>
                <a:cubicBezTo>
                  <a:pt x="2470401" y="4292072"/>
                  <a:pt x="2470400" y="4291960"/>
                  <a:pt x="2480714" y="4297625"/>
                </a:cubicBezTo>
                <a:cubicBezTo>
                  <a:pt x="2479854" y="4298181"/>
                  <a:pt x="2478994" y="4298069"/>
                  <a:pt x="2478134" y="4297736"/>
                </a:cubicBezTo>
                <a:cubicBezTo>
                  <a:pt x="2477276" y="4297292"/>
                  <a:pt x="2476416" y="4296626"/>
                  <a:pt x="2475556" y="4295959"/>
                </a:cubicBezTo>
                <a:cubicBezTo>
                  <a:pt x="2473837" y="4294626"/>
                  <a:pt x="2472119" y="4293404"/>
                  <a:pt x="2470401" y="4292072"/>
                </a:cubicBezTo>
                <a:close/>
                <a:moveTo>
                  <a:pt x="2193389" y="4290849"/>
                </a:moveTo>
                <a:cubicBezTo>
                  <a:pt x="2193962" y="4292516"/>
                  <a:pt x="2198260" y="4292516"/>
                  <a:pt x="2199406" y="4293737"/>
                </a:cubicBezTo>
                <a:cubicBezTo>
                  <a:pt x="2199691" y="4294182"/>
                  <a:pt x="2199692" y="4294737"/>
                  <a:pt x="2199119" y="4295515"/>
                </a:cubicBezTo>
                <a:cubicBezTo>
                  <a:pt x="2197114" y="4294849"/>
                  <a:pt x="2194248" y="4293071"/>
                  <a:pt x="2192243" y="4292405"/>
                </a:cubicBezTo>
                <a:cubicBezTo>
                  <a:pt x="2192243" y="4292405"/>
                  <a:pt x="2192243" y="4292405"/>
                  <a:pt x="2193389" y="4290849"/>
                </a:cubicBezTo>
                <a:close/>
                <a:moveTo>
                  <a:pt x="1772001" y="4289961"/>
                </a:moveTo>
                <a:cubicBezTo>
                  <a:pt x="1780594" y="4289850"/>
                  <a:pt x="1789761" y="4290961"/>
                  <a:pt x="1799788" y="4294071"/>
                </a:cubicBezTo>
                <a:cubicBezTo>
                  <a:pt x="1804371" y="4301625"/>
                  <a:pt x="1798068" y="4305846"/>
                  <a:pt x="1788616" y="4307290"/>
                </a:cubicBezTo>
                <a:cubicBezTo>
                  <a:pt x="1772859" y="4309734"/>
                  <a:pt x="1748224" y="4304402"/>
                  <a:pt x="1749083" y="4293294"/>
                </a:cubicBezTo>
                <a:cubicBezTo>
                  <a:pt x="1755958" y="4291516"/>
                  <a:pt x="1763693" y="4290072"/>
                  <a:pt x="1772001" y="4289961"/>
                </a:cubicBezTo>
                <a:close/>
                <a:moveTo>
                  <a:pt x="6961301" y="4289295"/>
                </a:moveTo>
                <a:cubicBezTo>
                  <a:pt x="6962160" y="4292293"/>
                  <a:pt x="6962447" y="4295070"/>
                  <a:pt x="6962447" y="4297515"/>
                </a:cubicBezTo>
                <a:cubicBezTo>
                  <a:pt x="6962160" y="4305068"/>
                  <a:pt x="6958150" y="4310511"/>
                  <a:pt x="6960156" y="4316065"/>
                </a:cubicBezTo>
                <a:cubicBezTo>
                  <a:pt x="6960156" y="4316065"/>
                  <a:pt x="6960156" y="4316065"/>
                  <a:pt x="6956718" y="4318065"/>
                </a:cubicBezTo>
                <a:cubicBezTo>
                  <a:pt x="6956432" y="4319176"/>
                  <a:pt x="6956432" y="4319176"/>
                  <a:pt x="6956432" y="4319176"/>
                </a:cubicBezTo>
                <a:cubicBezTo>
                  <a:pt x="6956432" y="4320287"/>
                  <a:pt x="6952994" y="4319953"/>
                  <a:pt x="6952994" y="4319953"/>
                </a:cubicBezTo>
                <a:cubicBezTo>
                  <a:pt x="6949842" y="4318398"/>
                  <a:pt x="6951848" y="4315065"/>
                  <a:pt x="6952134" y="4312733"/>
                </a:cubicBezTo>
                <a:cubicBezTo>
                  <a:pt x="6948697" y="4311289"/>
                  <a:pt x="6955858" y="4308511"/>
                  <a:pt x="6952708" y="4307067"/>
                </a:cubicBezTo>
                <a:cubicBezTo>
                  <a:pt x="6959869" y="4303180"/>
                  <a:pt x="6951848" y="4296403"/>
                  <a:pt x="6961301" y="4289295"/>
                </a:cubicBezTo>
                <a:close/>
                <a:moveTo>
                  <a:pt x="6184410" y="4288628"/>
                </a:moveTo>
                <a:cubicBezTo>
                  <a:pt x="6188134" y="4290183"/>
                  <a:pt x="6192144" y="4291849"/>
                  <a:pt x="6196155" y="4293403"/>
                </a:cubicBezTo>
                <a:cubicBezTo>
                  <a:pt x="6199592" y="4298737"/>
                  <a:pt x="6196155" y="4304735"/>
                  <a:pt x="6189280" y="4307401"/>
                </a:cubicBezTo>
                <a:cubicBezTo>
                  <a:pt x="6186988" y="4308290"/>
                  <a:pt x="6184696" y="4308734"/>
                  <a:pt x="6181832" y="4308734"/>
                </a:cubicBezTo>
                <a:lnTo>
                  <a:pt x="6170660" y="4305846"/>
                </a:lnTo>
                <a:lnTo>
                  <a:pt x="6164930" y="4310400"/>
                </a:lnTo>
                <a:cubicBezTo>
                  <a:pt x="6155477" y="4315843"/>
                  <a:pt x="6143732" y="4318954"/>
                  <a:pt x="6136570" y="4315177"/>
                </a:cubicBezTo>
                <a:cubicBezTo>
                  <a:pt x="6149461" y="4309400"/>
                  <a:pt x="6156050" y="4302290"/>
                  <a:pt x="6167508" y="4296515"/>
                </a:cubicBezTo>
                <a:lnTo>
                  <a:pt x="6173524" y="4294183"/>
                </a:lnTo>
                <a:lnTo>
                  <a:pt x="6177535" y="4290850"/>
                </a:lnTo>
                <a:cubicBezTo>
                  <a:pt x="6179826" y="4289517"/>
                  <a:pt x="6182118" y="4288738"/>
                  <a:pt x="6184410" y="4288628"/>
                </a:cubicBezTo>
                <a:close/>
                <a:moveTo>
                  <a:pt x="6041750" y="4287184"/>
                </a:moveTo>
                <a:cubicBezTo>
                  <a:pt x="6046334" y="4289739"/>
                  <a:pt x="6048340" y="4292516"/>
                  <a:pt x="6048340" y="4294960"/>
                </a:cubicBezTo>
                <a:cubicBezTo>
                  <a:pt x="6048340" y="4302403"/>
                  <a:pt x="6031152" y="4307623"/>
                  <a:pt x="6023989" y="4297626"/>
                </a:cubicBezTo>
                <a:cubicBezTo>
                  <a:pt x="6025136" y="4292960"/>
                  <a:pt x="6036308" y="4287628"/>
                  <a:pt x="6041750" y="4287184"/>
                </a:cubicBezTo>
                <a:close/>
                <a:moveTo>
                  <a:pt x="2381310" y="4286184"/>
                </a:moveTo>
                <a:cubicBezTo>
                  <a:pt x="2381883" y="4285962"/>
                  <a:pt x="2382455" y="4286184"/>
                  <a:pt x="2383602" y="4286517"/>
                </a:cubicBezTo>
                <a:cubicBezTo>
                  <a:pt x="2385606" y="4287184"/>
                  <a:pt x="2385606" y="4291071"/>
                  <a:pt x="2387612" y="4291738"/>
                </a:cubicBezTo>
                <a:cubicBezTo>
                  <a:pt x="2387612" y="4291738"/>
                  <a:pt x="2387899" y="4291738"/>
                  <a:pt x="2385034" y="4293737"/>
                </a:cubicBezTo>
                <a:cubicBezTo>
                  <a:pt x="2383315" y="4294182"/>
                  <a:pt x="2381597" y="4294738"/>
                  <a:pt x="2379591" y="4294071"/>
                </a:cubicBezTo>
                <a:cubicBezTo>
                  <a:pt x="2377299" y="4293404"/>
                  <a:pt x="2376153" y="4291072"/>
                  <a:pt x="2375580" y="4289961"/>
                </a:cubicBezTo>
                <a:cubicBezTo>
                  <a:pt x="2377300" y="4289517"/>
                  <a:pt x="2377012" y="4288406"/>
                  <a:pt x="2378445" y="4287961"/>
                </a:cubicBezTo>
                <a:cubicBezTo>
                  <a:pt x="2379878" y="4286962"/>
                  <a:pt x="2380450" y="4286406"/>
                  <a:pt x="2381310" y="4286184"/>
                </a:cubicBezTo>
                <a:close/>
                <a:moveTo>
                  <a:pt x="6706062" y="4285962"/>
                </a:moveTo>
                <a:cubicBezTo>
                  <a:pt x="6728406" y="4285184"/>
                  <a:pt x="6732989" y="4296848"/>
                  <a:pt x="6722105" y="4301291"/>
                </a:cubicBezTo>
                <a:cubicBezTo>
                  <a:pt x="6718666" y="4302735"/>
                  <a:pt x="6713509" y="4303513"/>
                  <a:pt x="6706635" y="4302624"/>
                </a:cubicBezTo>
                <a:cubicBezTo>
                  <a:pt x="6699760" y="4298625"/>
                  <a:pt x="6699760" y="4287850"/>
                  <a:pt x="6706062" y="4285962"/>
                </a:cubicBezTo>
                <a:close/>
                <a:moveTo>
                  <a:pt x="6066673" y="4285517"/>
                </a:moveTo>
                <a:cubicBezTo>
                  <a:pt x="6071543" y="4285851"/>
                  <a:pt x="6075840" y="4287406"/>
                  <a:pt x="6078418" y="4289850"/>
                </a:cubicBezTo>
                <a:cubicBezTo>
                  <a:pt x="6080137" y="4291405"/>
                  <a:pt x="6080996" y="4293404"/>
                  <a:pt x="6080137" y="4295515"/>
                </a:cubicBezTo>
                <a:cubicBezTo>
                  <a:pt x="6071830" y="4303401"/>
                  <a:pt x="6054642" y="4296404"/>
                  <a:pt x="6054068" y="4289072"/>
                </a:cubicBezTo>
                <a:cubicBezTo>
                  <a:pt x="6057220" y="4286073"/>
                  <a:pt x="6062090" y="4285184"/>
                  <a:pt x="6066673" y="4285517"/>
                </a:cubicBezTo>
                <a:close/>
                <a:moveTo>
                  <a:pt x="6462567" y="4285184"/>
                </a:moveTo>
                <a:cubicBezTo>
                  <a:pt x="6465432" y="4288072"/>
                  <a:pt x="6466864" y="4290960"/>
                  <a:pt x="6466864" y="4293738"/>
                </a:cubicBezTo>
                <a:cubicBezTo>
                  <a:pt x="6466864" y="4296404"/>
                  <a:pt x="6464858" y="4299070"/>
                  <a:pt x="6461134" y="4301403"/>
                </a:cubicBezTo>
                <a:cubicBezTo>
                  <a:pt x="6452540" y="4301292"/>
                  <a:pt x="6448816" y="4293738"/>
                  <a:pt x="6446238" y="4289739"/>
                </a:cubicBezTo>
                <a:cubicBezTo>
                  <a:pt x="6451968" y="4287072"/>
                  <a:pt x="6457697" y="4284406"/>
                  <a:pt x="6462567" y="4285184"/>
                </a:cubicBezTo>
                <a:close/>
                <a:moveTo>
                  <a:pt x="2332897" y="4285184"/>
                </a:moveTo>
                <a:cubicBezTo>
                  <a:pt x="2337194" y="4292294"/>
                  <a:pt x="2333471" y="4291960"/>
                  <a:pt x="2325162" y="4292294"/>
                </a:cubicBezTo>
                <a:cubicBezTo>
                  <a:pt x="2322871" y="4287406"/>
                  <a:pt x="2326023" y="4286073"/>
                  <a:pt x="2332897" y="4285184"/>
                </a:cubicBezTo>
                <a:close/>
                <a:moveTo>
                  <a:pt x="2289641" y="4283963"/>
                </a:moveTo>
                <a:cubicBezTo>
                  <a:pt x="2297948" y="4283629"/>
                  <a:pt x="2307116" y="4284406"/>
                  <a:pt x="2316568" y="4287295"/>
                </a:cubicBezTo>
                <a:lnTo>
                  <a:pt x="2315996" y="4288961"/>
                </a:lnTo>
                <a:lnTo>
                  <a:pt x="2323730" y="4286850"/>
                </a:lnTo>
                <a:cubicBezTo>
                  <a:pt x="2326308" y="4288628"/>
                  <a:pt x="2322872" y="4293293"/>
                  <a:pt x="2322299" y="4295849"/>
                </a:cubicBezTo>
                <a:cubicBezTo>
                  <a:pt x="2320292" y="4295181"/>
                  <a:pt x="2318287" y="4294626"/>
                  <a:pt x="2318575" y="4295737"/>
                </a:cubicBezTo>
                <a:lnTo>
                  <a:pt x="2314851" y="4293404"/>
                </a:lnTo>
                <a:lnTo>
                  <a:pt x="2314278" y="4296292"/>
                </a:lnTo>
                <a:cubicBezTo>
                  <a:pt x="2311700" y="4298514"/>
                  <a:pt x="2307403" y="4300069"/>
                  <a:pt x="2302533" y="4300958"/>
                </a:cubicBezTo>
                <a:cubicBezTo>
                  <a:pt x="2286204" y="4303735"/>
                  <a:pt x="2262427" y="4298959"/>
                  <a:pt x="2265864" y="4287850"/>
                </a:cubicBezTo>
                <a:cubicBezTo>
                  <a:pt x="2273312" y="4285851"/>
                  <a:pt x="2281047" y="4284296"/>
                  <a:pt x="2289641" y="4283963"/>
                </a:cubicBezTo>
                <a:close/>
                <a:moveTo>
                  <a:pt x="6089876" y="4283185"/>
                </a:moveTo>
                <a:cubicBezTo>
                  <a:pt x="6092168" y="4285184"/>
                  <a:pt x="6096466" y="4287962"/>
                  <a:pt x="6095320" y="4290849"/>
                </a:cubicBezTo>
                <a:cubicBezTo>
                  <a:pt x="6095033" y="4291849"/>
                  <a:pt x="6093888" y="4292849"/>
                  <a:pt x="6092168" y="4293849"/>
                </a:cubicBezTo>
                <a:cubicBezTo>
                  <a:pt x="6092168" y="4294960"/>
                  <a:pt x="6085293" y="4295404"/>
                  <a:pt x="6083574" y="4294071"/>
                </a:cubicBezTo>
                <a:cubicBezTo>
                  <a:pt x="6078704" y="4291182"/>
                  <a:pt x="6082428" y="4288183"/>
                  <a:pt x="6084720" y="4283740"/>
                </a:cubicBezTo>
                <a:cubicBezTo>
                  <a:pt x="6086152" y="4285074"/>
                  <a:pt x="6088158" y="4284073"/>
                  <a:pt x="6089876" y="4283185"/>
                </a:cubicBezTo>
                <a:close/>
                <a:moveTo>
                  <a:pt x="5909404" y="4282740"/>
                </a:moveTo>
                <a:cubicBezTo>
                  <a:pt x="5915706" y="4284740"/>
                  <a:pt x="5915706" y="4289627"/>
                  <a:pt x="5922295" y="4292848"/>
                </a:cubicBezTo>
                <a:cubicBezTo>
                  <a:pt x="5920290" y="4296958"/>
                  <a:pt x="5927452" y="4301292"/>
                  <a:pt x="5924300" y="4306845"/>
                </a:cubicBezTo>
                <a:cubicBezTo>
                  <a:pt x="5912555" y="4304846"/>
                  <a:pt x="5905680" y="4287184"/>
                  <a:pt x="5909404" y="4282740"/>
                </a:cubicBezTo>
                <a:close/>
                <a:moveTo>
                  <a:pt x="6123393" y="4281074"/>
                </a:moveTo>
                <a:cubicBezTo>
                  <a:pt x="6129982" y="4282630"/>
                  <a:pt x="6131987" y="4287184"/>
                  <a:pt x="6131414" y="4291516"/>
                </a:cubicBezTo>
                <a:cubicBezTo>
                  <a:pt x="6130554" y="4295848"/>
                  <a:pt x="6126544" y="4299958"/>
                  <a:pt x="6121388" y="4300958"/>
                </a:cubicBezTo>
                <a:cubicBezTo>
                  <a:pt x="6114226" y="4292738"/>
                  <a:pt x="6112221" y="4286406"/>
                  <a:pt x="6123393" y="4281074"/>
                </a:cubicBezTo>
                <a:close/>
                <a:moveTo>
                  <a:pt x="6158055" y="4279964"/>
                </a:moveTo>
                <a:cubicBezTo>
                  <a:pt x="6159201" y="4279741"/>
                  <a:pt x="6160347" y="4279852"/>
                  <a:pt x="6161492" y="4280407"/>
                </a:cubicBezTo>
                <a:cubicBezTo>
                  <a:pt x="6161492" y="4281630"/>
                  <a:pt x="6163212" y="4281741"/>
                  <a:pt x="6163212" y="4282852"/>
                </a:cubicBezTo>
                <a:cubicBezTo>
                  <a:pt x="6164930" y="4285295"/>
                  <a:pt x="6165217" y="4286406"/>
                  <a:pt x="6163498" y="4287628"/>
                </a:cubicBezTo>
                <a:cubicBezTo>
                  <a:pt x="6163784" y="4288739"/>
                  <a:pt x="6161779" y="4288738"/>
                  <a:pt x="6160347" y="4289850"/>
                </a:cubicBezTo>
                <a:cubicBezTo>
                  <a:pt x="6158628" y="4289850"/>
                  <a:pt x="6156910" y="4288517"/>
                  <a:pt x="6156910" y="4288517"/>
                </a:cubicBezTo>
                <a:cubicBezTo>
                  <a:pt x="6155190" y="4287295"/>
                  <a:pt x="6155190" y="4287295"/>
                  <a:pt x="6153472" y="4288406"/>
                </a:cubicBezTo>
                <a:cubicBezTo>
                  <a:pt x="6153472" y="4288406"/>
                  <a:pt x="6153472" y="4287183"/>
                  <a:pt x="6153472" y="4287183"/>
                </a:cubicBezTo>
                <a:cubicBezTo>
                  <a:pt x="6155190" y="4287295"/>
                  <a:pt x="6153472" y="4287295"/>
                  <a:pt x="6151753" y="4285962"/>
                </a:cubicBezTo>
                <a:cubicBezTo>
                  <a:pt x="6153186" y="4283740"/>
                  <a:pt x="6153186" y="4282518"/>
                  <a:pt x="6154618" y="4281407"/>
                </a:cubicBezTo>
                <a:cubicBezTo>
                  <a:pt x="6155477" y="4280852"/>
                  <a:pt x="6156623" y="4280296"/>
                  <a:pt x="6158055" y="4279964"/>
                </a:cubicBezTo>
                <a:close/>
                <a:moveTo>
                  <a:pt x="2046146" y="4277742"/>
                </a:moveTo>
                <a:cubicBezTo>
                  <a:pt x="2051876" y="4277741"/>
                  <a:pt x="2057605" y="4279185"/>
                  <a:pt x="2059610" y="4281741"/>
                </a:cubicBezTo>
                <a:cubicBezTo>
                  <a:pt x="2059037" y="4285074"/>
                  <a:pt x="2058465" y="4288406"/>
                  <a:pt x="2057892" y="4291628"/>
                </a:cubicBezTo>
                <a:cubicBezTo>
                  <a:pt x="2052449" y="4296737"/>
                  <a:pt x="2043568" y="4297626"/>
                  <a:pt x="2037552" y="4294960"/>
                </a:cubicBezTo>
                <a:cubicBezTo>
                  <a:pt x="2035548" y="4293960"/>
                  <a:pt x="2033828" y="4292737"/>
                  <a:pt x="2032969" y="4290960"/>
                </a:cubicBezTo>
                <a:cubicBezTo>
                  <a:pt x="2031536" y="4288628"/>
                  <a:pt x="2030964" y="4285629"/>
                  <a:pt x="2032109" y="4281963"/>
                </a:cubicBezTo>
                <a:cubicBezTo>
                  <a:pt x="2034401" y="4279075"/>
                  <a:pt x="2040417" y="4277631"/>
                  <a:pt x="2046146" y="4277742"/>
                </a:cubicBezTo>
                <a:close/>
                <a:moveTo>
                  <a:pt x="2129507" y="4275854"/>
                </a:moveTo>
                <a:cubicBezTo>
                  <a:pt x="2138675" y="4280297"/>
                  <a:pt x="2145837" y="4281407"/>
                  <a:pt x="2152138" y="4281851"/>
                </a:cubicBezTo>
                <a:lnTo>
                  <a:pt x="2152997" y="4281852"/>
                </a:lnTo>
                <a:lnTo>
                  <a:pt x="2152712" y="4281518"/>
                </a:lnTo>
                <a:cubicBezTo>
                  <a:pt x="2152711" y="4281297"/>
                  <a:pt x="2152997" y="4281408"/>
                  <a:pt x="2154143" y="4281185"/>
                </a:cubicBezTo>
                <a:cubicBezTo>
                  <a:pt x="2154143" y="4281185"/>
                  <a:pt x="2154143" y="4281185"/>
                  <a:pt x="2156435" y="4280741"/>
                </a:cubicBezTo>
                <a:cubicBezTo>
                  <a:pt x="2156435" y="4280741"/>
                  <a:pt x="2156721" y="4280519"/>
                  <a:pt x="2157294" y="4280741"/>
                </a:cubicBezTo>
                <a:lnTo>
                  <a:pt x="2158727" y="4281962"/>
                </a:lnTo>
                <a:lnTo>
                  <a:pt x="2161879" y="4282074"/>
                </a:lnTo>
                <a:cubicBezTo>
                  <a:pt x="2164742" y="4282185"/>
                  <a:pt x="2168180" y="4282295"/>
                  <a:pt x="2171332" y="4282963"/>
                </a:cubicBezTo>
                <a:cubicBezTo>
                  <a:pt x="2177060" y="4286517"/>
                  <a:pt x="2182791" y="4290739"/>
                  <a:pt x="2188232" y="4295404"/>
                </a:cubicBezTo>
                <a:lnTo>
                  <a:pt x="2192529" y="4300069"/>
                </a:lnTo>
                <a:lnTo>
                  <a:pt x="2196826" y="4303402"/>
                </a:lnTo>
                <a:lnTo>
                  <a:pt x="2197113" y="4303846"/>
                </a:lnTo>
                <a:lnTo>
                  <a:pt x="2209432" y="4309067"/>
                </a:lnTo>
                <a:cubicBezTo>
                  <a:pt x="2212868" y="4311400"/>
                  <a:pt x="2215447" y="4314177"/>
                  <a:pt x="2216879" y="4317399"/>
                </a:cubicBezTo>
                <a:cubicBezTo>
                  <a:pt x="2217738" y="4321619"/>
                  <a:pt x="2216879" y="4324952"/>
                  <a:pt x="2214874" y="4327507"/>
                </a:cubicBezTo>
                <a:lnTo>
                  <a:pt x="2210577" y="4329840"/>
                </a:lnTo>
                <a:lnTo>
                  <a:pt x="2210291" y="4344058"/>
                </a:lnTo>
                <a:lnTo>
                  <a:pt x="2209717" y="4344503"/>
                </a:lnTo>
                <a:lnTo>
                  <a:pt x="2213441" y="4352834"/>
                </a:lnTo>
                <a:cubicBezTo>
                  <a:pt x="2213441" y="4355278"/>
                  <a:pt x="2212295" y="4357277"/>
                  <a:pt x="2210577" y="4358610"/>
                </a:cubicBezTo>
                <a:lnTo>
                  <a:pt x="2204274" y="4360276"/>
                </a:lnTo>
                <a:lnTo>
                  <a:pt x="2203415" y="4360053"/>
                </a:lnTo>
                <a:lnTo>
                  <a:pt x="2202842" y="4360165"/>
                </a:lnTo>
                <a:lnTo>
                  <a:pt x="2197399" y="4358610"/>
                </a:lnTo>
                <a:lnTo>
                  <a:pt x="2191097" y="4362498"/>
                </a:lnTo>
                <a:lnTo>
                  <a:pt x="2179638" y="4367608"/>
                </a:lnTo>
                <a:lnTo>
                  <a:pt x="2177347" y="4368608"/>
                </a:lnTo>
                <a:cubicBezTo>
                  <a:pt x="2172764" y="4370718"/>
                  <a:pt x="2167893" y="4373050"/>
                  <a:pt x="2163311" y="4376161"/>
                </a:cubicBezTo>
                <a:cubicBezTo>
                  <a:pt x="2144691" y="4367053"/>
                  <a:pt x="2135238" y="4372496"/>
                  <a:pt x="2123492" y="4373384"/>
                </a:cubicBezTo>
                <a:cubicBezTo>
                  <a:pt x="2115185" y="4363720"/>
                  <a:pt x="2096277" y="4357277"/>
                  <a:pt x="2083386" y="4348501"/>
                </a:cubicBezTo>
                <a:cubicBezTo>
                  <a:pt x="2083100" y="4333728"/>
                  <a:pt x="2076798" y="4321175"/>
                  <a:pt x="2076511" y="4306401"/>
                </a:cubicBezTo>
                <a:cubicBezTo>
                  <a:pt x="2095704" y="4299181"/>
                  <a:pt x="2103152" y="4275631"/>
                  <a:pt x="2129507" y="4275854"/>
                </a:cubicBezTo>
                <a:close/>
                <a:moveTo>
                  <a:pt x="5943207" y="4275520"/>
                </a:moveTo>
                <a:cubicBezTo>
                  <a:pt x="5944926" y="4275187"/>
                  <a:pt x="5946644" y="4275187"/>
                  <a:pt x="5948650" y="4275520"/>
                </a:cubicBezTo>
                <a:cubicBezTo>
                  <a:pt x="5950655" y="4275853"/>
                  <a:pt x="5952946" y="4276631"/>
                  <a:pt x="5956098" y="4277852"/>
                </a:cubicBezTo>
                <a:cubicBezTo>
                  <a:pt x="5944639" y="4287184"/>
                  <a:pt x="5964406" y="4288073"/>
                  <a:pt x="5956098" y="4295626"/>
                </a:cubicBezTo>
                <a:cubicBezTo>
                  <a:pt x="5951228" y="4297403"/>
                  <a:pt x="5946932" y="4300625"/>
                  <a:pt x="5941202" y="4301292"/>
                </a:cubicBezTo>
                <a:cubicBezTo>
                  <a:pt x="5939196" y="4301514"/>
                  <a:pt x="5937191" y="4301402"/>
                  <a:pt x="5934900" y="4300958"/>
                </a:cubicBezTo>
                <a:cubicBezTo>
                  <a:pt x="5940915" y="4291516"/>
                  <a:pt x="5940628" y="4284407"/>
                  <a:pt x="5943207" y="4275520"/>
                </a:cubicBezTo>
                <a:close/>
                <a:moveTo>
                  <a:pt x="7153519" y="4275076"/>
                </a:moveTo>
                <a:cubicBezTo>
                  <a:pt x="7154664" y="4275187"/>
                  <a:pt x="7156097" y="4275631"/>
                  <a:pt x="7156957" y="4276297"/>
                </a:cubicBezTo>
                <a:cubicBezTo>
                  <a:pt x="7158102" y="4276854"/>
                  <a:pt x="7158388" y="4277631"/>
                  <a:pt x="7158102" y="4278409"/>
                </a:cubicBezTo>
                <a:cubicBezTo>
                  <a:pt x="7156670" y="4279075"/>
                  <a:pt x="7157530" y="4280075"/>
                  <a:pt x="7155810" y="4280741"/>
                </a:cubicBezTo>
                <a:cubicBezTo>
                  <a:pt x="7153519" y="4282963"/>
                  <a:pt x="7152086" y="4283629"/>
                  <a:pt x="7149795" y="4283185"/>
                </a:cubicBezTo>
                <a:cubicBezTo>
                  <a:pt x="7148362" y="4283851"/>
                  <a:pt x="7147503" y="4282851"/>
                  <a:pt x="7145212" y="4282408"/>
                </a:cubicBezTo>
                <a:cubicBezTo>
                  <a:pt x="7144353" y="4281407"/>
                  <a:pt x="7145212" y="4279853"/>
                  <a:pt x="7145212" y="4279853"/>
                </a:cubicBezTo>
                <a:cubicBezTo>
                  <a:pt x="7146070" y="4278186"/>
                  <a:pt x="7145784" y="4278186"/>
                  <a:pt x="7143779" y="4277853"/>
                </a:cubicBezTo>
                <a:cubicBezTo>
                  <a:pt x="7143779" y="4277853"/>
                  <a:pt x="7145212" y="4277186"/>
                  <a:pt x="7145212" y="4277186"/>
                </a:cubicBezTo>
                <a:cubicBezTo>
                  <a:pt x="7146070" y="4278186"/>
                  <a:pt x="7145211" y="4277298"/>
                  <a:pt x="7146070" y="4275631"/>
                </a:cubicBezTo>
                <a:cubicBezTo>
                  <a:pt x="7149796" y="4275409"/>
                  <a:pt x="7151227" y="4274632"/>
                  <a:pt x="7153519" y="4275076"/>
                </a:cubicBezTo>
                <a:close/>
                <a:moveTo>
                  <a:pt x="5637263" y="4274965"/>
                </a:moveTo>
                <a:cubicBezTo>
                  <a:pt x="5637263" y="4274965"/>
                  <a:pt x="5638982" y="4277075"/>
                  <a:pt x="5638982" y="4277075"/>
                </a:cubicBezTo>
                <a:cubicBezTo>
                  <a:pt x="5639841" y="4280407"/>
                  <a:pt x="5640128" y="4282074"/>
                  <a:pt x="5641846" y="4284406"/>
                </a:cubicBezTo>
                <a:cubicBezTo>
                  <a:pt x="5638409" y="4285851"/>
                  <a:pt x="5636976" y="4285184"/>
                  <a:pt x="5636690" y="4283518"/>
                </a:cubicBezTo>
                <a:cubicBezTo>
                  <a:pt x="5636690" y="4283518"/>
                  <a:pt x="5636404" y="4281962"/>
                  <a:pt x="5636117" y="4280296"/>
                </a:cubicBezTo>
                <a:cubicBezTo>
                  <a:pt x="5635544" y="4278741"/>
                  <a:pt x="5634112" y="4278075"/>
                  <a:pt x="5634112" y="4278075"/>
                </a:cubicBezTo>
                <a:cubicBezTo>
                  <a:pt x="5633826" y="4276409"/>
                  <a:pt x="5634971" y="4275409"/>
                  <a:pt x="5637263" y="4274965"/>
                </a:cubicBezTo>
                <a:close/>
                <a:moveTo>
                  <a:pt x="7198494" y="4274631"/>
                </a:moveTo>
                <a:cubicBezTo>
                  <a:pt x="7199640" y="4274743"/>
                  <a:pt x="7200786" y="4275742"/>
                  <a:pt x="7201645" y="4276964"/>
                </a:cubicBezTo>
                <a:cubicBezTo>
                  <a:pt x="7204510" y="4280630"/>
                  <a:pt x="7205942" y="4287517"/>
                  <a:pt x="7204796" y="4288072"/>
                </a:cubicBezTo>
                <a:cubicBezTo>
                  <a:pt x="7205657" y="4289072"/>
                  <a:pt x="7203936" y="4289628"/>
                  <a:pt x="7204796" y="4290627"/>
                </a:cubicBezTo>
                <a:cubicBezTo>
                  <a:pt x="7204796" y="4290627"/>
                  <a:pt x="7205656" y="4291738"/>
                  <a:pt x="7205083" y="4293293"/>
                </a:cubicBezTo>
                <a:cubicBezTo>
                  <a:pt x="7204223" y="4294960"/>
                  <a:pt x="7203364" y="4296626"/>
                  <a:pt x="7199640" y="4296959"/>
                </a:cubicBezTo>
                <a:cubicBezTo>
                  <a:pt x="7197921" y="4286961"/>
                  <a:pt x="7194770" y="4282852"/>
                  <a:pt x="7194770" y="4274853"/>
                </a:cubicBezTo>
                <a:cubicBezTo>
                  <a:pt x="7196488" y="4274187"/>
                  <a:pt x="7197063" y="4275187"/>
                  <a:pt x="7198494" y="4274631"/>
                </a:cubicBezTo>
                <a:close/>
                <a:moveTo>
                  <a:pt x="7164405" y="4274631"/>
                </a:moveTo>
                <a:cubicBezTo>
                  <a:pt x="7166696" y="4274298"/>
                  <a:pt x="7169561" y="4274409"/>
                  <a:pt x="7172426" y="4274853"/>
                </a:cubicBezTo>
                <a:cubicBezTo>
                  <a:pt x="7177868" y="4275631"/>
                  <a:pt x="7183884" y="4277409"/>
                  <a:pt x="7187894" y="4279075"/>
                </a:cubicBezTo>
                <a:cubicBezTo>
                  <a:pt x="7187608" y="4282408"/>
                  <a:pt x="7191046" y="4283629"/>
                  <a:pt x="7190759" y="4286850"/>
                </a:cubicBezTo>
                <a:cubicBezTo>
                  <a:pt x="7176436" y="4285406"/>
                  <a:pt x="7160967" y="4284629"/>
                  <a:pt x="7158102" y="4276854"/>
                </a:cubicBezTo>
                <a:cubicBezTo>
                  <a:pt x="7159821" y="4275631"/>
                  <a:pt x="7161826" y="4274854"/>
                  <a:pt x="7164405" y="4274631"/>
                </a:cubicBezTo>
                <a:close/>
                <a:moveTo>
                  <a:pt x="5598877" y="4274520"/>
                </a:moveTo>
                <a:cubicBezTo>
                  <a:pt x="5600309" y="4277298"/>
                  <a:pt x="5603174" y="4282296"/>
                  <a:pt x="5602028" y="4285295"/>
                </a:cubicBezTo>
                <a:cubicBezTo>
                  <a:pt x="5601742" y="4286295"/>
                  <a:pt x="5600882" y="4287073"/>
                  <a:pt x="5599450" y="4287628"/>
                </a:cubicBezTo>
                <a:cubicBezTo>
                  <a:pt x="5597158" y="4287961"/>
                  <a:pt x="5596872" y="4286406"/>
                  <a:pt x="5595440" y="4285851"/>
                </a:cubicBezTo>
                <a:cubicBezTo>
                  <a:pt x="5593720" y="4283629"/>
                  <a:pt x="5596585" y="4274965"/>
                  <a:pt x="5598877" y="4274520"/>
                </a:cubicBezTo>
                <a:close/>
                <a:moveTo>
                  <a:pt x="2170759" y="4272521"/>
                </a:moveTo>
                <a:cubicBezTo>
                  <a:pt x="2171332" y="4273632"/>
                  <a:pt x="2172763" y="4273075"/>
                  <a:pt x="2171618" y="4274632"/>
                </a:cubicBezTo>
                <a:cubicBezTo>
                  <a:pt x="2177634" y="4275520"/>
                  <a:pt x="2187087" y="4284073"/>
                  <a:pt x="2187373" y="4288850"/>
                </a:cubicBezTo>
                <a:cubicBezTo>
                  <a:pt x="2169039" y="4285295"/>
                  <a:pt x="2174196" y="4276409"/>
                  <a:pt x="2164169" y="4274187"/>
                </a:cubicBezTo>
                <a:cubicBezTo>
                  <a:pt x="2166748" y="4272187"/>
                  <a:pt x="2167034" y="4272299"/>
                  <a:pt x="2170759" y="4272521"/>
                </a:cubicBezTo>
                <a:close/>
                <a:moveTo>
                  <a:pt x="5623799" y="4271744"/>
                </a:moveTo>
                <a:cubicBezTo>
                  <a:pt x="5618070" y="4275186"/>
                  <a:pt x="5614919" y="4278630"/>
                  <a:pt x="5609190" y="4275187"/>
                </a:cubicBezTo>
                <a:cubicBezTo>
                  <a:pt x="5614919" y="4271743"/>
                  <a:pt x="5618070" y="4271743"/>
                  <a:pt x="5623799" y="4271744"/>
                </a:cubicBezTo>
                <a:close/>
                <a:moveTo>
                  <a:pt x="6821220" y="4271632"/>
                </a:moveTo>
                <a:cubicBezTo>
                  <a:pt x="6825804" y="4272632"/>
                  <a:pt x="6825804" y="4276409"/>
                  <a:pt x="6828096" y="4276964"/>
                </a:cubicBezTo>
                <a:cubicBezTo>
                  <a:pt x="6826663" y="4277520"/>
                  <a:pt x="6823512" y="4278519"/>
                  <a:pt x="6822939" y="4281074"/>
                </a:cubicBezTo>
                <a:cubicBezTo>
                  <a:pt x="6818642" y="4280075"/>
                  <a:pt x="6814345" y="4278964"/>
                  <a:pt x="6816349" y="4275854"/>
                </a:cubicBezTo>
                <a:cubicBezTo>
                  <a:pt x="6817210" y="4274187"/>
                  <a:pt x="6818069" y="4272632"/>
                  <a:pt x="6821220" y="4271632"/>
                </a:cubicBezTo>
                <a:close/>
                <a:moveTo>
                  <a:pt x="6091596" y="4270189"/>
                </a:moveTo>
                <a:cubicBezTo>
                  <a:pt x="6098184" y="4271854"/>
                  <a:pt x="6102768" y="4272854"/>
                  <a:pt x="6105632" y="4274520"/>
                </a:cubicBezTo>
                <a:cubicBezTo>
                  <a:pt x="6102768" y="4282962"/>
                  <a:pt x="6081282" y="4278742"/>
                  <a:pt x="6091596" y="4270189"/>
                </a:cubicBezTo>
                <a:close/>
                <a:moveTo>
                  <a:pt x="5742682" y="4269966"/>
                </a:moveTo>
                <a:cubicBezTo>
                  <a:pt x="5746406" y="4270077"/>
                  <a:pt x="5750416" y="4271854"/>
                  <a:pt x="5750703" y="4273410"/>
                </a:cubicBezTo>
                <a:lnTo>
                  <a:pt x="5750130" y="4275854"/>
                </a:lnTo>
                <a:lnTo>
                  <a:pt x="5754427" y="4281963"/>
                </a:lnTo>
                <a:cubicBezTo>
                  <a:pt x="5754427" y="4285295"/>
                  <a:pt x="5752994" y="4288850"/>
                  <a:pt x="5750416" y="4292405"/>
                </a:cubicBezTo>
                <a:lnTo>
                  <a:pt x="5747552" y="4295626"/>
                </a:lnTo>
                <a:lnTo>
                  <a:pt x="5746120" y="4298070"/>
                </a:lnTo>
                <a:lnTo>
                  <a:pt x="5743828" y="4299403"/>
                </a:lnTo>
                <a:lnTo>
                  <a:pt x="5741536" y="4301958"/>
                </a:lnTo>
                <a:cubicBezTo>
                  <a:pt x="5738098" y="4304735"/>
                  <a:pt x="5734948" y="4306956"/>
                  <a:pt x="5732369" y="4307957"/>
                </a:cubicBezTo>
                <a:lnTo>
                  <a:pt x="5733515" y="4303069"/>
                </a:lnTo>
                <a:lnTo>
                  <a:pt x="5731224" y="4302291"/>
                </a:lnTo>
                <a:cubicBezTo>
                  <a:pt x="5730650" y="4300736"/>
                  <a:pt x="5729791" y="4301736"/>
                  <a:pt x="5728358" y="4301069"/>
                </a:cubicBezTo>
                <a:cubicBezTo>
                  <a:pt x="5727213" y="4296293"/>
                  <a:pt x="5728645" y="4292627"/>
                  <a:pt x="5734088" y="4290850"/>
                </a:cubicBezTo>
                <a:lnTo>
                  <a:pt x="5736952" y="4290516"/>
                </a:lnTo>
                <a:lnTo>
                  <a:pt x="5737239" y="4289628"/>
                </a:lnTo>
                <a:lnTo>
                  <a:pt x="5738385" y="4287850"/>
                </a:lnTo>
                <a:lnTo>
                  <a:pt x="5734088" y="4289295"/>
                </a:lnTo>
                <a:lnTo>
                  <a:pt x="5732942" y="4284407"/>
                </a:lnTo>
                <a:cubicBezTo>
                  <a:pt x="5734088" y="4284185"/>
                  <a:pt x="5735520" y="4284185"/>
                  <a:pt x="5736952" y="4284407"/>
                </a:cubicBezTo>
                <a:cubicBezTo>
                  <a:pt x="5738098" y="4284518"/>
                  <a:pt x="5738958" y="4284963"/>
                  <a:pt x="5739244" y="4285740"/>
                </a:cubicBezTo>
                <a:lnTo>
                  <a:pt x="5738672" y="4286850"/>
                </a:lnTo>
                <a:lnTo>
                  <a:pt x="5739817" y="4284740"/>
                </a:lnTo>
                <a:lnTo>
                  <a:pt x="5739817" y="4282740"/>
                </a:lnTo>
                <a:cubicBezTo>
                  <a:pt x="5740104" y="4281851"/>
                  <a:pt x="5740676" y="4280963"/>
                  <a:pt x="5741250" y="4280408"/>
                </a:cubicBezTo>
                <a:lnTo>
                  <a:pt x="5742396" y="4280296"/>
                </a:lnTo>
                <a:lnTo>
                  <a:pt x="5745833" y="4276631"/>
                </a:lnTo>
                <a:lnTo>
                  <a:pt x="5742109" y="4277186"/>
                </a:lnTo>
                <a:cubicBezTo>
                  <a:pt x="5739817" y="4276963"/>
                  <a:pt x="5737812" y="4275854"/>
                  <a:pt x="5737239" y="4273410"/>
                </a:cubicBezTo>
                <a:cubicBezTo>
                  <a:pt x="5736952" y="4271855"/>
                  <a:pt x="5736666" y="4270299"/>
                  <a:pt x="5738098" y="4270855"/>
                </a:cubicBezTo>
                <a:cubicBezTo>
                  <a:pt x="5738958" y="4269855"/>
                  <a:pt x="5740390" y="4270410"/>
                  <a:pt x="5742682" y="4269966"/>
                </a:cubicBezTo>
                <a:close/>
                <a:moveTo>
                  <a:pt x="2183936" y="4269855"/>
                </a:moveTo>
                <a:cubicBezTo>
                  <a:pt x="2187374" y="4271965"/>
                  <a:pt x="2189951" y="4275409"/>
                  <a:pt x="2191384" y="4278298"/>
                </a:cubicBezTo>
                <a:cubicBezTo>
                  <a:pt x="2193103" y="4281297"/>
                  <a:pt x="2193675" y="4283851"/>
                  <a:pt x="2193962" y="4284406"/>
                </a:cubicBezTo>
                <a:cubicBezTo>
                  <a:pt x="2192529" y="4284850"/>
                  <a:pt x="2192529" y="4284850"/>
                  <a:pt x="2192529" y="4284850"/>
                </a:cubicBezTo>
                <a:cubicBezTo>
                  <a:pt x="2192243" y="4281296"/>
                  <a:pt x="2186227" y="4278409"/>
                  <a:pt x="2183650" y="4274631"/>
                </a:cubicBezTo>
                <a:cubicBezTo>
                  <a:pt x="2182790" y="4273298"/>
                  <a:pt x="2182218" y="4271855"/>
                  <a:pt x="2182218" y="4270188"/>
                </a:cubicBezTo>
                <a:cubicBezTo>
                  <a:pt x="2182218" y="4270188"/>
                  <a:pt x="2182217" y="4270299"/>
                  <a:pt x="2182790" y="4271410"/>
                </a:cubicBezTo>
                <a:cubicBezTo>
                  <a:pt x="2182790" y="4271410"/>
                  <a:pt x="2182217" y="4270299"/>
                  <a:pt x="2183936" y="4269855"/>
                </a:cubicBezTo>
                <a:close/>
                <a:moveTo>
                  <a:pt x="2077372" y="4269410"/>
                </a:moveTo>
                <a:cubicBezTo>
                  <a:pt x="2086825" y="4271299"/>
                  <a:pt x="2081954" y="4279408"/>
                  <a:pt x="2077371" y="4280296"/>
                </a:cubicBezTo>
                <a:cubicBezTo>
                  <a:pt x="2065912" y="4278741"/>
                  <a:pt x="2072502" y="4270299"/>
                  <a:pt x="2077372" y="4269410"/>
                </a:cubicBezTo>
                <a:close/>
                <a:moveTo>
                  <a:pt x="1947316" y="4268965"/>
                </a:moveTo>
                <a:cubicBezTo>
                  <a:pt x="1947889" y="4271521"/>
                  <a:pt x="1947317" y="4273187"/>
                  <a:pt x="1947029" y="4274742"/>
                </a:cubicBezTo>
                <a:cubicBezTo>
                  <a:pt x="1947603" y="4277408"/>
                  <a:pt x="1946170" y="4278075"/>
                  <a:pt x="1941301" y="4277297"/>
                </a:cubicBezTo>
                <a:cubicBezTo>
                  <a:pt x="1940727" y="4274631"/>
                  <a:pt x="1943593" y="4269188"/>
                  <a:pt x="1947316" y="4268965"/>
                </a:cubicBezTo>
                <a:close/>
                <a:moveTo>
                  <a:pt x="5785938" y="4268078"/>
                </a:moveTo>
                <a:cubicBezTo>
                  <a:pt x="5786511" y="4268077"/>
                  <a:pt x="5786798" y="4268300"/>
                  <a:pt x="5787657" y="4268966"/>
                </a:cubicBezTo>
                <a:cubicBezTo>
                  <a:pt x="5786224" y="4270189"/>
                  <a:pt x="5786224" y="4268966"/>
                  <a:pt x="5784506" y="4268966"/>
                </a:cubicBezTo>
                <a:cubicBezTo>
                  <a:pt x="5785365" y="4268300"/>
                  <a:pt x="5785652" y="4268078"/>
                  <a:pt x="5785938" y="4268078"/>
                </a:cubicBezTo>
                <a:close/>
                <a:moveTo>
                  <a:pt x="1803798" y="4267522"/>
                </a:moveTo>
                <a:cubicBezTo>
                  <a:pt x="1812965" y="4267411"/>
                  <a:pt x="1822705" y="4269300"/>
                  <a:pt x="1829006" y="4271299"/>
                </a:cubicBezTo>
                <a:cubicBezTo>
                  <a:pt x="1821845" y="4273187"/>
                  <a:pt x="1814969" y="4275297"/>
                  <a:pt x="1807522" y="4276520"/>
                </a:cubicBezTo>
                <a:cubicBezTo>
                  <a:pt x="1800074" y="4277741"/>
                  <a:pt x="1791766" y="4277964"/>
                  <a:pt x="1782026" y="4276074"/>
                </a:cubicBezTo>
                <a:cubicBezTo>
                  <a:pt x="1786037" y="4269854"/>
                  <a:pt x="1794630" y="4267633"/>
                  <a:pt x="1803798" y="4267522"/>
                </a:cubicBezTo>
                <a:close/>
                <a:moveTo>
                  <a:pt x="2026380" y="4267077"/>
                </a:moveTo>
                <a:cubicBezTo>
                  <a:pt x="2028385" y="4271965"/>
                  <a:pt x="2030391" y="4276742"/>
                  <a:pt x="2028100" y="4279630"/>
                </a:cubicBezTo>
                <a:lnTo>
                  <a:pt x="2024088" y="4279408"/>
                </a:lnTo>
                <a:lnTo>
                  <a:pt x="2024661" y="4280297"/>
                </a:lnTo>
                <a:cubicBezTo>
                  <a:pt x="2025522" y="4282185"/>
                  <a:pt x="2025522" y="4284185"/>
                  <a:pt x="2023516" y="4285962"/>
                </a:cubicBezTo>
                <a:cubicBezTo>
                  <a:pt x="2022942" y="4284740"/>
                  <a:pt x="2021797" y="4282962"/>
                  <a:pt x="2020937" y="4281185"/>
                </a:cubicBezTo>
                <a:lnTo>
                  <a:pt x="2020365" y="4279075"/>
                </a:lnTo>
                <a:lnTo>
                  <a:pt x="2015494" y="4278741"/>
                </a:lnTo>
                <a:cubicBezTo>
                  <a:pt x="2011770" y="4277520"/>
                  <a:pt x="2008620" y="4275076"/>
                  <a:pt x="2006614" y="4271521"/>
                </a:cubicBezTo>
                <a:cubicBezTo>
                  <a:pt x="2009192" y="4266079"/>
                  <a:pt x="2020364" y="4267077"/>
                  <a:pt x="2026380" y="4267077"/>
                </a:cubicBezTo>
                <a:close/>
                <a:moveTo>
                  <a:pt x="6307016" y="4266967"/>
                </a:moveTo>
                <a:cubicBezTo>
                  <a:pt x="6312746" y="4267189"/>
                  <a:pt x="6317043" y="4268411"/>
                  <a:pt x="6318762" y="4267966"/>
                </a:cubicBezTo>
                <a:cubicBezTo>
                  <a:pt x="6323632" y="4271855"/>
                  <a:pt x="6323632" y="4271855"/>
                  <a:pt x="6315038" y="4278186"/>
                </a:cubicBezTo>
                <a:cubicBezTo>
                  <a:pt x="6313319" y="4279186"/>
                  <a:pt x="6311314" y="4279852"/>
                  <a:pt x="6309022" y="4280075"/>
                </a:cubicBezTo>
                <a:cubicBezTo>
                  <a:pt x="6306444" y="4280297"/>
                  <a:pt x="6304152" y="4280185"/>
                  <a:pt x="6301574" y="4279408"/>
                </a:cubicBezTo>
                <a:cubicBezTo>
                  <a:pt x="6298136" y="4280297"/>
                  <a:pt x="6293266" y="4279852"/>
                  <a:pt x="6289830" y="4278408"/>
                </a:cubicBezTo>
                <a:cubicBezTo>
                  <a:pt x="6286678" y="4275854"/>
                  <a:pt x="6286678" y="4273521"/>
                  <a:pt x="6288397" y="4272521"/>
                </a:cubicBezTo>
                <a:cubicBezTo>
                  <a:pt x="6294412" y="4267744"/>
                  <a:pt x="6301288" y="4266856"/>
                  <a:pt x="6307016" y="4266967"/>
                </a:cubicBezTo>
                <a:close/>
                <a:moveTo>
                  <a:pt x="5723775" y="4266856"/>
                </a:moveTo>
                <a:cubicBezTo>
                  <a:pt x="5726640" y="4266856"/>
                  <a:pt x="5728358" y="4267634"/>
                  <a:pt x="5728932" y="4268966"/>
                </a:cubicBezTo>
                <a:cubicBezTo>
                  <a:pt x="5729791" y="4270189"/>
                  <a:pt x="5729504" y="4271854"/>
                  <a:pt x="5729219" y="4274076"/>
                </a:cubicBezTo>
                <a:cubicBezTo>
                  <a:pt x="5728358" y="4278409"/>
                  <a:pt x="5723202" y="4279186"/>
                  <a:pt x="5721770" y="4282519"/>
                </a:cubicBezTo>
                <a:cubicBezTo>
                  <a:pt x="5718619" y="4281074"/>
                  <a:pt x="5713176" y="4279297"/>
                  <a:pt x="5714608" y="4273298"/>
                </a:cubicBezTo>
                <a:cubicBezTo>
                  <a:pt x="5715468" y="4271633"/>
                  <a:pt x="5715468" y="4271633"/>
                  <a:pt x="5716900" y="4270966"/>
                </a:cubicBezTo>
                <a:cubicBezTo>
                  <a:pt x="5719192" y="4268744"/>
                  <a:pt x="5719765" y="4267078"/>
                  <a:pt x="5723775" y="4266856"/>
                </a:cubicBezTo>
                <a:close/>
                <a:moveTo>
                  <a:pt x="6706921" y="4265300"/>
                </a:moveTo>
                <a:cubicBezTo>
                  <a:pt x="6707494" y="4266300"/>
                  <a:pt x="6708066" y="4267411"/>
                  <a:pt x="6707208" y="4268966"/>
                </a:cubicBezTo>
                <a:cubicBezTo>
                  <a:pt x="6706062" y="4270632"/>
                  <a:pt x="6705488" y="4269522"/>
                  <a:pt x="6706349" y="4270521"/>
                </a:cubicBezTo>
                <a:cubicBezTo>
                  <a:pt x="6705202" y="4272188"/>
                  <a:pt x="6706921" y="4271633"/>
                  <a:pt x="6706921" y="4271633"/>
                </a:cubicBezTo>
                <a:cubicBezTo>
                  <a:pt x="6706921" y="4271633"/>
                  <a:pt x="6705202" y="4272188"/>
                  <a:pt x="6705202" y="4272188"/>
                </a:cubicBezTo>
                <a:cubicBezTo>
                  <a:pt x="6705202" y="4272188"/>
                  <a:pt x="6705202" y="4272188"/>
                  <a:pt x="6704916" y="4272632"/>
                </a:cubicBezTo>
                <a:lnTo>
                  <a:pt x="6704343" y="4273854"/>
                </a:lnTo>
                <a:lnTo>
                  <a:pt x="6711791" y="4272521"/>
                </a:lnTo>
                <a:cubicBezTo>
                  <a:pt x="6716660" y="4275409"/>
                  <a:pt x="6725254" y="4272742"/>
                  <a:pt x="6731844" y="4277075"/>
                </a:cubicBezTo>
                <a:cubicBezTo>
                  <a:pt x="6728119" y="4280185"/>
                  <a:pt x="6719526" y="4280963"/>
                  <a:pt x="6711218" y="4280519"/>
                </a:cubicBezTo>
                <a:lnTo>
                  <a:pt x="6702625" y="4279408"/>
                </a:lnTo>
                <a:lnTo>
                  <a:pt x="6702624" y="4279853"/>
                </a:lnTo>
                <a:cubicBezTo>
                  <a:pt x="6702624" y="4281074"/>
                  <a:pt x="6702624" y="4281963"/>
                  <a:pt x="6702338" y="4283296"/>
                </a:cubicBezTo>
                <a:cubicBezTo>
                  <a:pt x="6700618" y="4286518"/>
                  <a:pt x="6698900" y="4287073"/>
                  <a:pt x="6695462" y="4290739"/>
                </a:cubicBezTo>
                <a:cubicBezTo>
                  <a:pt x="6691738" y="4290738"/>
                  <a:pt x="6691738" y="4290627"/>
                  <a:pt x="6691166" y="4289627"/>
                </a:cubicBezTo>
                <a:cubicBezTo>
                  <a:pt x="6691738" y="4290627"/>
                  <a:pt x="6690306" y="4291183"/>
                  <a:pt x="6689160" y="4292738"/>
                </a:cubicBezTo>
                <a:cubicBezTo>
                  <a:pt x="6688587" y="4296181"/>
                  <a:pt x="6685722" y="4298070"/>
                  <a:pt x="6681998" y="4298848"/>
                </a:cubicBezTo>
                <a:lnTo>
                  <a:pt x="6681712" y="4298847"/>
                </a:lnTo>
                <a:lnTo>
                  <a:pt x="6678561" y="4301291"/>
                </a:lnTo>
                <a:cubicBezTo>
                  <a:pt x="6669394" y="4306068"/>
                  <a:pt x="6655358" y="4307179"/>
                  <a:pt x="6639602" y="4298959"/>
                </a:cubicBezTo>
                <a:lnTo>
                  <a:pt x="6639888" y="4297403"/>
                </a:lnTo>
                <a:lnTo>
                  <a:pt x="6637596" y="4302624"/>
                </a:lnTo>
                <a:cubicBezTo>
                  <a:pt x="6634446" y="4303291"/>
                  <a:pt x="6631581" y="4302958"/>
                  <a:pt x="6629002" y="4301958"/>
                </a:cubicBezTo>
                <a:lnTo>
                  <a:pt x="6626424" y="4300291"/>
                </a:lnTo>
                <a:lnTo>
                  <a:pt x="6625852" y="4303401"/>
                </a:lnTo>
                <a:cubicBezTo>
                  <a:pt x="6620982" y="4302957"/>
                  <a:pt x="6617544" y="4303512"/>
                  <a:pt x="6614106" y="4302291"/>
                </a:cubicBezTo>
                <a:cubicBezTo>
                  <a:pt x="6612674" y="4299291"/>
                  <a:pt x="6613247" y="4297292"/>
                  <a:pt x="6615538" y="4296292"/>
                </a:cubicBezTo>
                <a:lnTo>
                  <a:pt x="6621840" y="4296182"/>
                </a:lnTo>
                <a:lnTo>
                  <a:pt x="6619263" y="4291405"/>
                </a:lnTo>
                <a:cubicBezTo>
                  <a:pt x="6618976" y="4289295"/>
                  <a:pt x="6619263" y="4287295"/>
                  <a:pt x="6620408" y="4285740"/>
                </a:cubicBezTo>
                <a:cubicBezTo>
                  <a:pt x="6624992" y="4284740"/>
                  <a:pt x="6629862" y="4285962"/>
                  <a:pt x="6633300" y="4288295"/>
                </a:cubicBezTo>
                <a:lnTo>
                  <a:pt x="6639888" y="4296959"/>
                </a:lnTo>
                <a:lnTo>
                  <a:pt x="6641607" y="4287072"/>
                </a:lnTo>
                <a:cubicBezTo>
                  <a:pt x="6646190" y="4276075"/>
                  <a:pt x="6658222" y="4268411"/>
                  <a:pt x="6672545" y="4269966"/>
                </a:cubicBezTo>
                <a:cubicBezTo>
                  <a:pt x="6678274" y="4271076"/>
                  <a:pt x="6682572" y="4273076"/>
                  <a:pt x="6685436" y="4275631"/>
                </a:cubicBezTo>
                <a:lnTo>
                  <a:pt x="6688300" y="4280963"/>
                </a:lnTo>
                <a:lnTo>
                  <a:pt x="6691739" y="4284296"/>
                </a:lnTo>
                <a:cubicBezTo>
                  <a:pt x="6691739" y="4284296"/>
                  <a:pt x="6691739" y="4284296"/>
                  <a:pt x="6691167" y="4283185"/>
                </a:cubicBezTo>
                <a:lnTo>
                  <a:pt x="6695176" y="4277186"/>
                </a:lnTo>
                <a:lnTo>
                  <a:pt x="6692884" y="4276298"/>
                </a:lnTo>
                <a:lnTo>
                  <a:pt x="6696322" y="4275520"/>
                </a:lnTo>
                <a:lnTo>
                  <a:pt x="6698327" y="4272076"/>
                </a:lnTo>
                <a:cubicBezTo>
                  <a:pt x="6701192" y="4268411"/>
                  <a:pt x="6704342" y="4265522"/>
                  <a:pt x="6706921" y="4265300"/>
                </a:cubicBezTo>
                <a:close/>
                <a:moveTo>
                  <a:pt x="1948463" y="4263856"/>
                </a:moveTo>
                <a:cubicBezTo>
                  <a:pt x="1949608" y="4264078"/>
                  <a:pt x="1949894" y="4264634"/>
                  <a:pt x="1950182" y="4265079"/>
                </a:cubicBezTo>
                <a:cubicBezTo>
                  <a:pt x="1950468" y="4265523"/>
                  <a:pt x="1950182" y="4265856"/>
                  <a:pt x="1950182" y="4265856"/>
                </a:cubicBezTo>
                <a:cubicBezTo>
                  <a:pt x="1949895" y="4267522"/>
                  <a:pt x="1949609" y="4269188"/>
                  <a:pt x="1947029" y="4268743"/>
                </a:cubicBezTo>
                <a:cubicBezTo>
                  <a:pt x="1947029" y="4268743"/>
                  <a:pt x="1946170" y="4267744"/>
                  <a:pt x="1947029" y="4264523"/>
                </a:cubicBezTo>
                <a:cubicBezTo>
                  <a:pt x="1947889" y="4265522"/>
                  <a:pt x="1949321" y="4264856"/>
                  <a:pt x="1949321" y="4264856"/>
                </a:cubicBezTo>
                <a:cubicBezTo>
                  <a:pt x="1949321" y="4264856"/>
                  <a:pt x="1949321" y="4264856"/>
                  <a:pt x="1948463" y="4263856"/>
                </a:cubicBezTo>
                <a:close/>
                <a:moveTo>
                  <a:pt x="6027141" y="4263412"/>
                </a:moveTo>
                <a:cubicBezTo>
                  <a:pt x="6030578" y="4263634"/>
                  <a:pt x="6032870" y="4266522"/>
                  <a:pt x="6035162" y="4269410"/>
                </a:cubicBezTo>
                <a:cubicBezTo>
                  <a:pt x="6032011" y="4270744"/>
                  <a:pt x="6031724" y="4273299"/>
                  <a:pt x="6025708" y="4273299"/>
                </a:cubicBezTo>
                <a:cubicBezTo>
                  <a:pt x="6024276" y="4270077"/>
                  <a:pt x="6024563" y="4267411"/>
                  <a:pt x="6023130" y="4264190"/>
                </a:cubicBezTo>
                <a:cubicBezTo>
                  <a:pt x="6024563" y="4263523"/>
                  <a:pt x="6025995" y="4263301"/>
                  <a:pt x="6027141" y="4263412"/>
                </a:cubicBezTo>
                <a:close/>
                <a:moveTo>
                  <a:pt x="1772286" y="4263189"/>
                </a:moveTo>
                <a:cubicBezTo>
                  <a:pt x="1778302" y="4262412"/>
                  <a:pt x="1784031" y="4267634"/>
                  <a:pt x="1783458" y="4271077"/>
                </a:cubicBezTo>
                <a:cubicBezTo>
                  <a:pt x="1777443" y="4274964"/>
                  <a:pt x="1767703" y="4270966"/>
                  <a:pt x="1766844" y="4266078"/>
                </a:cubicBezTo>
                <a:cubicBezTo>
                  <a:pt x="1768563" y="4264301"/>
                  <a:pt x="1770567" y="4263412"/>
                  <a:pt x="1772286" y="4263189"/>
                </a:cubicBezTo>
                <a:close/>
                <a:moveTo>
                  <a:pt x="2133805" y="4261079"/>
                </a:moveTo>
                <a:cubicBezTo>
                  <a:pt x="2144118" y="4261746"/>
                  <a:pt x="2152711" y="4273187"/>
                  <a:pt x="2156149" y="4275520"/>
                </a:cubicBezTo>
                <a:cubicBezTo>
                  <a:pt x="2156149" y="4275520"/>
                  <a:pt x="2157581" y="4276075"/>
                  <a:pt x="2158441" y="4277741"/>
                </a:cubicBezTo>
                <a:cubicBezTo>
                  <a:pt x="2160732" y="4279853"/>
                  <a:pt x="2155575" y="4279186"/>
                  <a:pt x="2156435" y="4280741"/>
                </a:cubicBezTo>
                <a:cubicBezTo>
                  <a:pt x="2145836" y="4274076"/>
                  <a:pt x="2133519" y="4272076"/>
                  <a:pt x="2133519" y="4272076"/>
                </a:cubicBezTo>
                <a:cubicBezTo>
                  <a:pt x="2131227" y="4269855"/>
                  <a:pt x="2132086" y="4268855"/>
                  <a:pt x="2131512" y="4269855"/>
                </a:cubicBezTo>
                <a:cubicBezTo>
                  <a:pt x="2129795" y="4266634"/>
                  <a:pt x="2126643" y="4262967"/>
                  <a:pt x="2129507" y="4261523"/>
                </a:cubicBezTo>
                <a:cubicBezTo>
                  <a:pt x="2130940" y="4261079"/>
                  <a:pt x="2132373" y="4260968"/>
                  <a:pt x="2133805" y="4261079"/>
                </a:cubicBezTo>
                <a:close/>
                <a:moveTo>
                  <a:pt x="2326022" y="4260635"/>
                </a:moveTo>
                <a:cubicBezTo>
                  <a:pt x="2335189" y="4260301"/>
                  <a:pt x="2344355" y="4261967"/>
                  <a:pt x="2350371" y="4263745"/>
                </a:cubicBezTo>
                <a:cubicBezTo>
                  <a:pt x="2342923" y="4265856"/>
                  <a:pt x="2335762" y="4268188"/>
                  <a:pt x="2328028" y="4269522"/>
                </a:cubicBezTo>
                <a:lnTo>
                  <a:pt x="2317428" y="4270520"/>
                </a:lnTo>
                <a:lnTo>
                  <a:pt x="2318860" y="4272076"/>
                </a:lnTo>
                <a:cubicBezTo>
                  <a:pt x="2320579" y="4275298"/>
                  <a:pt x="2319720" y="4278742"/>
                  <a:pt x="2313131" y="4279185"/>
                </a:cubicBezTo>
                <a:cubicBezTo>
                  <a:pt x="2311412" y="4279408"/>
                  <a:pt x="2309980" y="4278853"/>
                  <a:pt x="2308547" y="4277742"/>
                </a:cubicBezTo>
                <a:cubicBezTo>
                  <a:pt x="2306542" y="4276075"/>
                  <a:pt x="2305110" y="4273298"/>
                  <a:pt x="2305111" y="4270855"/>
                </a:cubicBezTo>
                <a:lnTo>
                  <a:pt x="2305396" y="4269966"/>
                </a:lnTo>
                <a:lnTo>
                  <a:pt x="2302533" y="4269744"/>
                </a:lnTo>
                <a:cubicBezTo>
                  <a:pt x="2307689" y="4263301"/>
                  <a:pt x="2316856" y="4260969"/>
                  <a:pt x="2326022" y="4260635"/>
                </a:cubicBezTo>
                <a:close/>
                <a:moveTo>
                  <a:pt x="6407279" y="4259857"/>
                </a:moveTo>
                <a:cubicBezTo>
                  <a:pt x="6407852" y="4260969"/>
                  <a:pt x="6408998" y="4263079"/>
                  <a:pt x="6408138" y="4264745"/>
                </a:cubicBezTo>
                <a:cubicBezTo>
                  <a:pt x="6408712" y="4265856"/>
                  <a:pt x="6403268" y="4266300"/>
                  <a:pt x="6403268" y="4266300"/>
                </a:cubicBezTo>
                <a:cubicBezTo>
                  <a:pt x="6400977" y="4265745"/>
                  <a:pt x="6402411" y="4261412"/>
                  <a:pt x="6401836" y="4260413"/>
                </a:cubicBezTo>
                <a:cubicBezTo>
                  <a:pt x="6403268" y="4259857"/>
                  <a:pt x="6405560" y="4260412"/>
                  <a:pt x="6407279" y="4259857"/>
                </a:cubicBezTo>
                <a:close/>
                <a:moveTo>
                  <a:pt x="6828668" y="4258080"/>
                </a:moveTo>
                <a:cubicBezTo>
                  <a:pt x="6831820" y="4260746"/>
                  <a:pt x="6829814" y="4264078"/>
                  <a:pt x="6831246" y="4265411"/>
                </a:cubicBezTo>
                <a:cubicBezTo>
                  <a:pt x="6829814" y="4265300"/>
                  <a:pt x="6826376" y="4264856"/>
                  <a:pt x="6824372" y="4266966"/>
                </a:cubicBezTo>
                <a:cubicBezTo>
                  <a:pt x="6821221" y="4264301"/>
                  <a:pt x="6818069" y="4261635"/>
                  <a:pt x="6821793" y="4259635"/>
                </a:cubicBezTo>
                <a:cubicBezTo>
                  <a:pt x="6823512" y="4258747"/>
                  <a:pt x="6825230" y="4257747"/>
                  <a:pt x="6828668" y="4258080"/>
                </a:cubicBezTo>
                <a:close/>
                <a:moveTo>
                  <a:pt x="6156050" y="4257413"/>
                </a:moveTo>
                <a:cubicBezTo>
                  <a:pt x="6158056" y="4258413"/>
                  <a:pt x="6158914" y="4259635"/>
                  <a:pt x="6159774" y="4260968"/>
                </a:cubicBezTo>
                <a:cubicBezTo>
                  <a:pt x="6164071" y="4270521"/>
                  <a:pt x="6142300" y="4288072"/>
                  <a:pt x="6132560" y="4292072"/>
                </a:cubicBezTo>
                <a:cubicBezTo>
                  <a:pt x="6136570" y="4281630"/>
                  <a:pt x="6144018" y="4264522"/>
                  <a:pt x="6156050" y="4257413"/>
                </a:cubicBezTo>
                <a:close/>
                <a:moveTo>
                  <a:pt x="5863570" y="4255636"/>
                </a:moveTo>
                <a:lnTo>
                  <a:pt x="5859846" y="4258747"/>
                </a:lnTo>
                <a:lnTo>
                  <a:pt x="5861851" y="4258191"/>
                </a:lnTo>
                <a:lnTo>
                  <a:pt x="5862424" y="4257080"/>
                </a:lnTo>
                <a:lnTo>
                  <a:pt x="5863856" y="4256414"/>
                </a:lnTo>
                <a:lnTo>
                  <a:pt x="5863570" y="4255970"/>
                </a:lnTo>
                <a:close/>
                <a:moveTo>
                  <a:pt x="6307303" y="4255303"/>
                </a:moveTo>
                <a:cubicBezTo>
                  <a:pt x="6308449" y="4255635"/>
                  <a:pt x="6308736" y="4256081"/>
                  <a:pt x="6308449" y="4256747"/>
                </a:cubicBezTo>
                <a:cubicBezTo>
                  <a:pt x="6308449" y="4257525"/>
                  <a:pt x="6307876" y="4258302"/>
                  <a:pt x="6307590" y="4259080"/>
                </a:cubicBezTo>
                <a:cubicBezTo>
                  <a:pt x="6306444" y="4260635"/>
                  <a:pt x="6305584" y="4262301"/>
                  <a:pt x="6304725" y="4263967"/>
                </a:cubicBezTo>
                <a:cubicBezTo>
                  <a:pt x="6304725" y="4263967"/>
                  <a:pt x="6304725" y="4263967"/>
                  <a:pt x="6307303" y="4255303"/>
                </a:cubicBezTo>
                <a:close/>
                <a:moveTo>
                  <a:pt x="6180972" y="4254636"/>
                </a:moveTo>
                <a:cubicBezTo>
                  <a:pt x="6187274" y="4254859"/>
                  <a:pt x="6197014" y="4257414"/>
                  <a:pt x="6197301" y="4258302"/>
                </a:cubicBezTo>
                <a:cubicBezTo>
                  <a:pt x="6199020" y="4258302"/>
                  <a:pt x="6198733" y="4259524"/>
                  <a:pt x="6200452" y="4259635"/>
                </a:cubicBezTo>
                <a:cubicBezTo>
                  <a:pt x="6200452" y="4259635"/>
                  <a:pt x="6202170" y="4259635"/>
                  <a:pt x="6204176" y="4260856"/>
                </a:cubicBezTo>
                <a:cubicBezTo>
                  <a:pt x="6205894" y="4262190"/>
                  <a:pt x="6207614" y="4263301"/>
                  <a:pt x="6206181" y="4265745"/>
                </a:cubicBezTo>
                <a:cubicBezTo>
                  <a:pt x="6192144" y="4261635"/>
                  <a:pt x="6185270" y="4261523"/>
                  <a:pt x="6174956" y="4257525"/>
                </a:cubicBezTo>
                <a:cubicBezTo>
                  <a:pt x="6174956" y="4256413"/>
                  <a:pt x="6176677" y="4256414"/>
                  <a:pt x="6176389" y="4255192"/>
                </a:cubicBezTo>
                <a:cubicBezTo>
                  <a:pt x="6177248" y="4254636"/>
                  <a:pt x="6178967" y="4254525"/>
                  <a:pt x="6180972" y="4254636"/>
                </a:cubicBezTo>
                <a:close/>
                <a:moveTo>
                  <a:pt x="5711172" y="4253081"/>
                </a:moveTo>
                <a:cubicBezTo>
                  <a:pt x="5707160" y="4272521"/>
                  <a:pt x="5676508" y="4282740"/>
                  <a:pt x="5653878" y="4295293"/>
                </a:cubicBezTo>
                <a:lnTo>
                  <a:pt x="5652446" y="4293960"/>
                </a:lnTo>
                <a:lnTo>
                  <a:pt x="5652732" y="4297293"/>
                </a:lnTo>
                <a:cubicBezTo>
                  <a:pt x="5652732" y="4299070"/>
                  <a:pt x="5652159" y="4300848"/>
                  <a:pt x="5651013" y="4302179"/>
                </a:cubicBezTo>
                <a:cubicBezTo>
                  <a:pt x="5650440" y="4303069"/>
                  <a:pt x="5649294" y="4303735"/>
                  <a:pt x="5647862" y="4304291"/>
                </a:cubicBezTo>
                <a:cubicBezTo>
                  <a:pt x="5644424" y="4305623"/>
                  <a:pt x="5642706" y="4303401"/>
                  <a:pt x="5641846" y="4300180"/>
                </a:cubicBezTo>
                <a:cubicBezTo>
                  <a:pt x="5637836" y="4294182"/>
                  <a:pt x="5639268" y="4290627"/>
                  <a:pt x="5646430" y="4289295"/>
                </a:cubicBezTo>
                <a:lnTo>
                  <a:pt x="5648435" y="4290405"/>
                </a:lnTo>
                <a:lnTo>
                  <a:pt x="5643279" y="4283962"/>
                </a:lnTo>
                <a:lnTo>
                  <a:pt x="5651301" y="4280296"/>
                </a:lnTo>
                <a:lnTo>
                  <a:pt x="5650154" y="4279186"/>
                </a:lnTo>
                <a:cubicBezTo>
                  <a:pt x="5651300" y="4278186"/>
                  <a:pt x="5650727" y="4276631"/>
                  <a:pt x="5651586" y="4275631"/>
                </a:cubicBezTo>
                <a:cubicBezTo>
                  <a:pt x="5653018" y="4276298"/>
                  <a:pt x="5656742" y="4276520"/>
                  <a:pt x="5655883" y="4277520"/>
                </a:cubicBezTo>
                <a:lnTo>
                  <a:pt x="5655883" y="4278074"/>
                </a:lnTo>
                <a:lnTo>
                  <a:pt x="5676222" y="4268855"/>
                </a:lnTo>
                <a:lnTo>
                  <a:pt x="5675936" y="4268189"/>
                </a:lnTo>
                <a:cubicBezTo>
                  <a:pt x="5675363" y="4263634"/>
                  <a:pt x="5679373" y="4256636"/>
                  <a:pt x="5688254" y="4259413"/>
                </a:cubicBezTo>
                <a:cubicBezTo>
                  <a:pt x="5689686" y="4259858"/>
                  <a:pt x="5690545" y="4260857"/>
                  <a:pt x="5690545" y="4262301"/>
                </a:cubicBezTo>
                <a:close/>
                <a:moveTo>
                  <a:pt x="5820027" y="4252748"/>
                </a:moveTo>
                <a:cubicBezTo>
                  <a:pt x="5822319" y="4252637"/>
                  <a:pt x="5824610" y="4252748"/>
                  <a:pt x="5826616" y="4253081"/>
                </a:cubicBezTo>
                <a:cubicBezTo>
                  <a:pt x="5835210" y="4254304"/>
                  <a:pt x="5843231" y="4258969"/>
                  <a:pt x="5846668" y="4265300"/>
                </a:cubicBezTo>
                <a:cubicBezTo>
                  <a:pt x="5850967" y="4272965"/>
                  <a:pt x="5848674" y="4282851"/>
                  <a:pt x="5833204" y="4291627"/>
                </a:cubicBezTo>
                <a:cubicBezTo>
                  <a:pt x="5810574" y="4287961"/>
                  <a:pt x="5795105" y="4274187"/>
                  <a:pt x="5802840" y="4261524"/>
                </a:cubicBezTo>
                <a:cubicBezTo>
                  <a:pt x="5807423" y="4255858"/>
                  <a:pt x="5813725" y="4253192"/>
                  <a:pt x="5820027" y="4252748"/>
                </a:cubicBezTo>
                <a:close/>
                <a:moveTo>
                  <a:pt x="1923826" y="4252415"/>
                </a:moveTo>
                <a:cubicBezTo>
                  <a:pt x="1926118" y="4252748"/>
                  <a:pt x="1928124" y="4253193"/>
                  <a:pt x="1930416" y="4252749"/>
                </a:cubicBezTo>
                <a:cubicBezTo>
                  <a:pt x="1930415" y="4255525"/>
                  <a:pt x="1931275" y="4259857"/>
                  <a:pt x="1923827" y="4262301"/>
                </a:cubicBezTo>
                <a:cubicBezTo>
                  <a:pt x="1921535" y="4262746"/>
                  <a:pt x="1921535" y="4262746"/>
                  <a:pt x="1920102" y="4262079"/>
                </a:cubicBezTo>
                <a:cubicBezTo>
                  <a:pt x="1916378" y="4261968"/>
                  <a:pt x="1914086" y="4262523"/>
                  <a:pt x="1911509" y="4260301"/>
                </a:cubicBezTo>
                <a:cubicBezTo>
                  <a:pt x="1910076" y="4258302"/>
                  <a:pt x="1910076" y="4256969"/>
                  <a:pt x="1910936" y="4255859"/>
                </a:cubicBezTo>
                <a:cubicBezTo>
                  <a:pt x="1912082" y="4254748"/>
                  <a:pt x="1914087" y="4253859"/>
                  <a:pt x="1916664" y="4252859"/>
                </a:cubicBezTo>
                <a:cubicBezTo>
                  <a:pt x="1919243" y="4251860"/>
                  <a:pt x="1921535" y="4252081"/>
                  <a:pt x="1923826" y="4252415"/>
                </a:cubicBezTo>
                <a:close/>
                <a:moveTo>
                  <a:pt x="6276078" y="4251860"/>
                </a:moveTo>
                <a:cubicBezTo>
                  <a:pt x="6278656" y="4251748"/>
                  <a:pt x="6281522" y="4252415"/>
                  <a:pt x="6284386" y="4253081"/>
                </a:cubicBezTo>
                <a:cubicBezTo>
                  <a:pt x="6283813" y="4255525"/>
                  <a:pt x="6286678" y="4257525"/>
                  <a:pt x="6282954" y="4260635"/>
                </a:cubicBezTo>
                <a:cubicBezTo>
                  <a:pt x="6278656" y="4258968"/>
                  <a:pt x="6276078" y="4257080"/>
                  <a:pt x="6271782" y="4255414"/>
                </a:cubicBezTo>
                <a:cubicBezTo>
                  <a:pt x="6272068" y="4252859"/>
                  <a:pt x="6273788" y="4251971"/>
                  <a:pt x="6276078" y="4251860"/>
                </a:cubicBezTo>
                <a:close/>
                <a:moveTo>
                  <a:pt x="7052684" y="4251748"/>
                </a:moveTo>
                <a:cubicBezTo>
                  <a:pt x="7057840" y="4256524"/>
                  <a:pt x="7063856" y="4257414"/>
                  <a:pt x="7067293" y="4260524"/>
                </a:cubicBezTo>
                <a:cubicBezTo>
                  <a:pt x="7068439" y="4261635"/>
                  <a:pt x="7069298" y="4262857"/>
                  <a:pt x="7069584" y="4264745"/>
                </a:cubicBezTo>
                <a:cubicBezTo>
                  <a:pt x="7058413" y="4274853"/>
                  <a:pt x="7040938" y="4267855"/>
                  <a:pt x="7043230" y="4259635"/>
                </a:cubicBezTo>
                <a:cubicBezTo>
                  <a:pt x="7043804" y="4256969"/>
                  <a:pt x="7046668" y="4254081"/>
                  <a:pt x="7052684" y="4251748"/>
                </a:cubicBezTo>
                <a:close/>
                <a:moveTo>
                  <a:pt x="6529313" y="4251637"/>
                </a:moveTo>
                <a:cubicBezTo>
                  <a:pt x="6530172" y="4251192"/>
                  <a:pt x="6530459" y="4251082"/>
                  <a:pt x="6530746" y="4251637"/>
                </a:cubicBezTo>
                <a:cubicBezTo>
                  <a:pt x="6532178" y="4251193"/>
                  <a:pt x="6533037" y="4252193"/>
                  <a:pt x="6531318" y="4252749"/>
                </a:cubicBezTo>
                <a:cubicBezTo>
                  <a:pt x="6531318" y="4255303"/>
                  <a:pt x="6527022" y="4254081"/>
                  <a:pt x="6524730" y="4253526"/>
                </a:cubicBezTo>
                <a:cubicBezTo>
                  <a:pt x="6527022" y="4252859"/>
                  <a:pt x="6528454" y="4252082"/>
                  <a:pt x="6529313" y="4251637"/>
                </a:cubicBezTo>
                <a:close/>
                <a:moveTo>
                  <a:pt x="5727500" y="4250860"/>
                </a:moveTo>
                <a:cubicBezTo>
                  <a:pt x="5729504" y="4252970"/>
                  <a:pt x="5732657" y="4253970"/>
                  <a:pt x="5734661" y="4255970"/>
                </a:cubicBezTo>
                <a:lnTo>
                  <a:pt x="5739817" y="4256414"/>
                </a:lnTo>
                <a:cubicBezTo>
                  <a:pt x="5738958" y="4261080"/>
                  <a:pt x="5731224" y="4264301"/>
                  <a:pt x="5724634" y="4264523"/>
                </a:cubicBezTo>
                <a:lnTo>
                  <a:pt x="5722630" y="4264301"/>
                </a:lnTo>
                <a:lnTo>
                  <a:pt x="5718333" y="4265634"/>
                </a:lnTo>
                <a:cubicBezTo>
                  <a:pt x="5716041" y="4265411"/>
                  <a:pt x="5714322" y="4264412"/>
                  <a:pt x="5713177" y="4262301"/>
                </a:cubicBezTo>
                <a:cubicBezTo>
                  <a:pt x="5710599" y="4256081"/>
                  <a:pt x="5718332" y="4253193"/>
                  <a:pt x="5727500" y="4250860"/>
                </a:cubicBezTo>
                <a:close/>
                <a:moveTo>
                  <a:pt x="6516708" y="4249971"/>
                </a:moveTo>
                <a:cubicBezTo>
                  <a:pt x="6516422" y="4253303"/>
                  <a:pt x="6517282" y="4255970"/>
                  <a:pt x="6517282" y="4257525"/>
                </a:cubicBezTo>
                <a:cubicBezTo>
                  <a:pt x="6509834" y="4258524"/>
                  <a:pt x="6505250" y="4256302"/>
                  <a:pt x="6505823" y="4251415"/>
                </a:cubicBezTo>
                <a:cubicBezTo>
                  <a:pt x="6510693" y="4251859"/>
                  <a:pt x="6511839" y="4249526"/>
                  <a:pt x="6516708" y="4249971"/>
                </a:cubicBezTo>
                <a:close/>
                <a:moveTo>
                  <a:pt x="1982837" y="4249860"/>
                </a:moveTo>
                <a:cubicBezTo>
                  <a:pt x="1988280" y="4248970"/>
                  <a:pt x="1999452" y="4253637"/>
                  <a:pt x="2000599" y="4258302"/>
                </a:cubicBezTo>
                <a:cubicBezTo>
                  <a:pt x="2000885" y="4259858"/>
                  <a:pt x="2000025" y="4261412"/>
                  <a:pt x="1997734" y="4262856"/>
                </a:cubicBezTo>
                <a:cubicBezTo>
                  <a:pt x="1990000" y="4266300"/>
                  <a:pt x="1983983" y="4261857"/>
                  <a:pt x="1978254" y="4256302"/>
                </a:cubicBezTo>
                <a:cubicBezTo>
                  <a:pt x="1980260" y="4254303"/>
                  <a:pt x="1980832" y="4251971"/>
                  <a:pt x="1982837" y="4249860"/>
                </a:cubicBezTo>
                <a:close/>
                <a:moveTo>
                  <a:pt x="6398112" y="4247860"/>
                </a:moveTo>
                <a:cubicBezTo>
                  <a:pt x="6399831" y="4247971"/>
                  <a:pt x="6401550" y="4247971"/>
                  <a:pt x="6402410" y="4248638"/>
                </a:cubicBezTo>
                <a:cubicBezTo>
                  <a:pt x="6402982" y="4249415"/>
                  <a:pt x="6403268" y="4250526"/>
                  <a:pt x="6402696" y="4252748"/>
                </a:cubicBezTo>
                <a:cubicBezTo>
                  <a:pt x="6402696" y="4252748"/>
                  <a:pt x="6401264" y="4253193"/>
                  <a:pt x="6401264" y="4253193"/>
                </a:cubicBezTo>
                <a:cubicBezTo>
                  <a:pt x="6395535" y="4252637"/>
                  <a:pt x="6396394" y="4251082"/>
                  <a:pt x="6398112" y="4247860"/>
                </a:cubicBezTo>
                <a:close/>
                <a:moveTo>
                  <a:pt x="6572282" y="4247638"/>
                </a:moveTo>
                <a:cubicBezTo>
                  <a:pt x="6575148" y="4247639"/>
                  <a:pt x="6578298" y="4248193"/>
                  <a:pt x="6581736" y="4249860"/>
                </a:cubicBezTo>
                <a:cubicBezTo>
                  <a:pt x="6581450" y="4251414"/>
                  <a:pt x="6581450" y="4253192"/>
                  <a:pt x="6581450" y="4254747"/>
                </a:cubicBezTo>
                <a:cubicBezTo>
                  <a:pt x="6570564" y="4254525"/>
                  <a:pt x="6563975" y="4257969"/>
                  <a:pt x="6555668" y="4257969"/>
                </a:cubicBezTo>
                <a:cubicBezTo>
                  <a:pt x="6558819" y="4253858"/>
                  <a:pt x="6563975" y="4247750"/>
                  <a:pt x="6572282" y="4247638"/>
                </a:cubicBezTo>
                <a:close/>
                <a:moveTo>
                  <a:pt x="7247766" y="4247416"/>
                </a:moveTo>
                <a:cubicBezTo>
                  <a:pt x="7252349" y="4246972"/>
                  <a:pt x="7256932" y="4247305"/>
                  <a:pt x="7261516" y="4247416"/>
                </a:cubicBezTo>
                <a:cubicBezTo>
                  <a:pt x="7274407" y="4259746"/>
                  <a:pt x="7250058" y="4259524"/>
                  <a:pt x="7238598" y="4262301"/>
                </a:cubicBezTo>
                <a:cubicBezTo>
                  <a:pt x="7234302" y="4258191"/>
                  <a:pt x="7233442" y="4256636"/>
                  <a:pt x="7234016" y="4251415"/>
                </a:cubicBezTo>
                <a:cubicBezTo>
                  <a:pt x="7238598" y="4248971"/>
                  <a:pt x="7243182" y="4247860"/>
                  <a:pt x="7247766" y="4247416"/>
                </a:cubicBezTo>
                <a:close/>
                <a:moveTo>
                  <a:pt x="5854403" y="4246750"/>
                </a:moveTo>
                <a:lnTo>
                  <a:pt x="5853257" y="4246972"/>
                </a:lnTo>
                <a:lnTo>
                  <a:pt x="5853544" y="4247194"/>
                </a:lnTo>
                <a:close/>
                <a:moveTo>
                  <a:pt x="6704916" y="4245750"/>
                </a:moveTo>
                <a:cubicBezTo>
                  <a:pt x="6713223" y="4256414"/>
                  <a:pt x="6722390" y="4244861"/>
                  <a:pt x="6729265" y="4253081"/>
                </a:cubicBezTo>
                <a:cubicBezTo>
                  <a:pt x="6729838" y="4256636"/>
                  <a:pt x="6732416" y="4260524"/>
                  <a:pt x="6730984" y="4264412"/>
                </a:cubicBezTo>
                <a:cubicBezTo>
                  <a:pt x="6730411" y="4265634"/>
                  <a:pt x="6729552" y="4266856"/>
                  <a:pt x="6728119" y="4268189"/>
                </a:cubicBezTo>
                <a:cubicBezTo>
                  <a:pt x="6717520" y="4260635"/>
                  <a:pt x="6707780" y="4257968"/>
                  <a:pt x="6696894" y="4252748"/>
                </a:cubicBezTo>
                <a:cubicBezTo>
                  <a:pt x="6697181" y="4250415"/>
                  <a:pt x="6699473" y="4248416"/>
                  <a:pt x="6704916" y="4245750"/>
                </a:cubicBezTo>
                <a:close/>
                <a:moveTo>
                  <a:pt x="5760729" y="4245639"/>
                </a:moveTo>
                <a:cubicBezTo>
                  <a:pt x="5762734" y="4245528"/>
                  <a:pt x="5764453" y="4245638"/>
                  <a:pt x="5766172" y="4246305"/>
                </a:cubicBezTo>
                <a:cubicBezTo>
                  <a:pt x="5769610" y="4247749"/>
                  <a:pt x="5771328" y="4249082"/>
                  <a:pt x="5774480" y="4250526"/>
                </a:cubicBezTo>
                <a:cubicBezTo>
                  <a:pt x="5774479" y="4253970"/>
                  <a:pt x="5779350" y="4257857"/>
                  <a:pt x="5772474" y="4264301"/>
                </a:cubicBezTo>
                <a:cubicBezTo>
                  <a:pt x="5763594" y="4270521"/>
                  <a:pt x="5753568" y="4263968"/>
                  <a:pt x="5753568" y="4265189"/>
                </a:cubicBezTo>
                <a:cubicBezTo>
                  <a:pt x="5751848" y="4266189"/>
                  <a:pt x="5751848" y="4266189"/>
                  <a:pt x="5751562" y="4267300"/>
                </a:cubicBezTo>
                <a:cubicBezTo>
                  <a:pt x="5749844" y="4267188"/>
                  <a:pt x="5746406" y="4268077"/>
                  <a:pt x="5744687" y="4269077"/>
                </a:cubicBezTo>
                <a:cubicBezTo>
                  <a:pt x="5744687" y="4267966"/>
                  <a:pt x="5744687" y="4266745"/>
                  <a:pt x="5742968" y="4266633"/>
                </a:cubicBezTo>
                <a:cubicBezTo>
                  <a:pt x="5746692" y="4264634"/>
                  <a:pt x="5748411" y="4264745"/>
                  <a:pt x="5750130" y="4263633"/>
                </a:cubicBezTo>
                <a:cubicBezTo>
                  <a:pt x="5748411" y="4263524"/>
                  <a:pt x="5750130" y="4262524"/>
                  <a:pt x="5750130" y="4262524"/>
                </a:cubicBezTo>
                <a:cubicBezTo>
                  <a:pt x="5750130" y="4262524"/>
                  <a:pt x="5750130" y="4262524"/>
                  <a:pt x="5746979" y="4259968"/>
                </a:cubicBezTo>
                <a:cubicBezTo>
                  <a:pt x="5746979" y="4259968"/>
                  <a:pt x="5740104" y="4253637"/>
                  <a:pt x="5747267" y="4248305"/>
                </a:cubicBezTo>
                <a:cubicBezTo>
                  <a:pt x="5748411" y="4249304"/>
                  <a:pt x="5754714" y="4246084"/>
                  <a:pt x="5760729" y="4245639"/>
                </a:cubicBezTo>
                <a:close/>
                <a:moveTo>
                  <a:pt x="5954379" y="4244972"/>
                </a:moveTo>
                <a:cubicBezTo>
                  <a:pt x="5966125" y="4249860"/>
                  <a:pt x="5965265" y="4253081"/>
                  <a:pt x="5961541" y="4254414"/>
                </a:cubicBezTo>
                <a:cubicBezTo>
                  <a:pt x="5954952" y="4256747"/>
                  <a:pt x="5939196" y="4253970"/>
                  <a:pt x="5954379" y="4244972"/>
                </a:cubicBezTo>
                <a:close/>
                <a:moveTo>
                  <a:pt x="5926878" y="4244972"/>
                </a:moveTo>
                <a:cubicBezTo>
                  <a:pt x="5933180" y="4245971"/>
                  <a:pt x="5941774" y="4250194"/>
                  <a:pt x="5945785" y="4252859"/>
                </a:cubicBezTo>
                <a:cubicBezTo>
                  <a:pt x="5943207" y="4253970"/>
                  <a:pt x="5938624" y="4252970"/>
                  <a:pt x="5934040" y="4251193"/>
                </a:cubicBezTo>
                <a:lnTo>
                  <a:pt x="5933180" y="4250637"/>
                </a:lnTo>
                <a:lnTo>
                  <a:pt x="5933180" y="4251415"/>
                </a:lnTo>
                <a:cubicBezTo>
                  <a:pt x="5933467" y="4252193"/>
                  <a:pt x="5933467" y="4252749"/>
                  <a:pt x="5932608" y="4252748"/>
                </a:cubicBezTo>
                <a:cubicBezTo>
                  <a:pt x="5932608" y="4253859"/>
                  <a:pt x="5929170" y="4253637"/>
                  <a:pt x="5929170" y="4253637"/>
                </a:cubicBezTo>
                <a:cubicBezTo>
                  <a:pt x="5929170" y="4254858"/>
                  <a:pt x="5929170" y="4256081"/>
                  <a:pt x="5927452" y="4257191"/>
                </a:cubicBezTo>
                <a:cubicBezTo>
                  <a:pt x="5926019" y="4255747"/>
                  <a:pt x="5925732" y="4256969"/>
                  <a:pt x="5924014" y="4256858"/>
                </a:cubicBezTo>
                <a:cubicBezTo>
                  <a:pt x="5925732" y="4255859"/>
                  <a:pt x="5926019" y="4252192"/>
                  <a:pt x="5927738" y="4249861"/>
                </a:cubicBezTo>
                <a:lnTo>
                  <a:pt x="5930602" y="4249416"/>
                </a:lnTo>
                <a:lnTo>
                  <a:pt x="5922008" y="4245194"/>
                </a:lnTo>
                <a:cubicBezTo>
                  <a:pt x="5923154" y="4244639"/>
                  <a:pt x="5924873" y="4244639"/>
                  <a:pt x="5926878" y="4244972"/>
                </a:cubicBezTo>
                <a:close/>
                <a:moveTo>
                  <a:pt x="6955286" y="4244972"/>
                </a:moveTo>
                <a:cubicBezTo>
                  <a:pt x="6957864" y="4247194"/>
                  <a:pt x="6959870" y="4249416"/>
                  <a:pt x="6961301" y="4251637"/>
                </a:cubicBezTo>
                <a:cubicBezTo>
                  <a:pt x="6965598" y="4258302"/>
                  <a:pt x="6965598" y="4264634"/>
                  <a:pt x="6970754" y="4268522"/>
                </a:cubicBezTo>
                <a:cubicBezTo>
                  <a:pt x="6970754" y="4268522"/>
                  <a:pt x="6970754" y="4268522"/>
                  <a:pt x="6968750" y="4271744"/>
                </a:cubicBezTo>
                <a:cubicBezTo>
                  <a:pt x="6969608" y="4272743"/>
                  <a:pt x="6969608" y="4272743"/>
                  <a:pt x="6969608" y="4272743"/>
                </a:cubicBezTo>
                <a:cubicBezTo>
                  <a:pt x="6970182" y="4273854"/>
                  <a:pt x="6967030" y="4274854"/>
                  <a:pt x="6967030" y="4274854"/>
                </a:cubicBezTo>
                <a:cubicBezTo>
                  <a:pt x="6963020" y="4274854"/>
                  <a:pt x="6963020" y="4271188"/>
                  <a:pt x="6961588" y="4269077"/>
                </a:cubicBezTo>
                <a:cubicBezTo>
                  <a:pt x="6957864" y="4269078"/>
                  <a:pt x="6962447" y="4263856"/>
                  <a:pt x="6958723" y="4263856"/>
                </a:cubicBezTo>
                <a:cubicBezTo>
                  <a:pt x="6962447" y="4257525"/>
                  <a:pt x="6951562" y="4254970"/>
                  <a:pt x="6955286" y="4244972"/>
                </a:cubicBezTo>
                <a:close/>
                <a:moveTo>
                  <a:pt x="5995344" y="4244750"/>
                </a:moveTo>
                <a:cubicBezTo>
                  <a:pt x="5997349" y="4244527"/>
                  <a:pt x="5999068" y="4244639"/>
                  <a:pt x="6001072" y="4245416"/>
                </a:cubicBezTo>
                <a:cubicBezTo>
                  <a:pt x="6004224" y="4246416"/>
                  <a:pt x="6007375" y="4248638"/>
                  <a:pt x="6009380" y="4251192"/>
                </a:cubicBezTo>
                <a:lnTo>
                  <a:pt x="6009953" y="4252749"/>
                </a:lnTo>
                <a:lnTo>
                  <a:pt x="6010812" y="4252637"/>
                </a:lnTo>
                <a:cubicBezTo>
                  <a:pt x="6016542" y="4251415"/>
                  <a:pt x="6022271" y="4250526"/>
                  <a:pt x="6028287" y="4250859"/>
                </a:cubicBezTo>
                <a:cubicBezTo>
                  <a:pt x="6025708" y="4254636"/>
                  <a:pt x="6019980" y="4258414"/>
                  <a:pt x="6013390" y="4259968"/>
                </a:cubicBezTo>
                <a:lnTo>
                  <a:pt x="6008807" y="4260301"/>
                </a:lnTo>
                <a:lnTo>
                  <a:pt x="6004224" y="4265078"/>
                </a:lnTo>
                <a:cubicBezTo>
                  <a:pt x="6002218" y="4266522"/>
                  <a:pt x="5999927" y="4267411"/>
                  <a:pt x="5997348" y="4268078"/>
                </a:cubicBezTo>
                <a:cubicBezTo>
                  <a:pt x="5997348" y="4268078"/>
                  <a:pt x="5997348" y="4267966"/>
                  <a:pt x="5999068" y="4267634"/>
                </a:cubicBezTo>
                <a:cubicBezTo>
                  <a:pt x="6007375" y="4270410"/>
                  <a:pt x="6021984" y="4275298"/>
                  <a:pt x="6021412" y="4279075"/>
                </a:cubicBezTo>
                <a:cubicBezTo>
                  <a:pt x="6019980" y="4279408"/>
                  <a:pt x="6018260" y="4279852"/>
                  <a:pt x="6016256" y="4279075"/>
                </a:cubicBezTo>
                <a:cubicBezTo>
                  <a:pt x="6013964" y="4278408"/>
                  <a:pt x="6015682" y="4278076"/>
                  <a:pt x="6013964" y="4278408"/>
                </a:cubicBezTo>
                <a:cubicBezTo>
                  <a:pt x="6011958" y="4277741"/>
                  <a:pt x="6012245" y="4278852"/>
                  <a:pt x="6012245" y="4278852"/>
                </a:cubicBezTo>
                <a:cubicBezTo>
                  <a:pt x="6012245" y="4278852"/>
                  <a:pt x="6011958" y="4277741"/>
                  <a:pt x="6011958" y="4277741"/>
                </a:cubicBezTo>
                <a:cubicBezTo>
                  <a:pt x="6011958" y="4277741"/>
                  <a:pt x="6011958" y="4277741"/>
                  <a:pt x="6007948" y="4276297"/>
                </a:cubicBezTo>
                <a:cubicBezTo>
                  <a:pt x="6001932" y="4275297"/>
                  <a:pt x="6000214" y="4275743"/>
                  <a:pt x="5996489" y="4275409"/>
                </a:cubicBezTo>
                <a:cubicBezTo>
                  <a:pt x="5992479" y="4274076"/>
                  <a:pt x="5992192" y="4272965"/>
                  <a:pt x="5987609" y="4270521"/>
                </a:cubicBezTo>
                <a:cubicBezTo>
                  <a:pt x="5988182" y="4267855"/>
                  <a:pt x="5988182" y="4267855"/>
                  <a:pt x="5989900" y="4267411"/>
                </a:cubicBezTo>
                <a:cubicBezTo>
                  <a:pt x="5988182" y="4267855"/>
                  <a:pt x="5987896" y="4266745"/>
                  <a:pt x="5985890" y="4266079"/>
                </a:cubicBezTo>
                <a:cubicBezTo>
                  <a:pt x="5976150" y="4264744"/>
                  <a:pt x="5977582" y="4258524"/>
                  <a:pt x="5981880" y="4251415"/>
                </a:cubicBezTo>
                <a:cubicBezTo>
                  <a:pt x="5983885" y="4252081"/>
                  <a:pt x="5985890" y="4247971"/>
                  <a:pt x="5988754" y="4246084"/>
                </a:cubicBezTo>
                <a:cubicBezTo>
                  <a:pt x="5991333" y="4245415"/>
                  <a:pt x="5993338" y="4244972"/>
                  <a:pt x="5995344" y="4244750"/>
                </a:cubicBezTo>
                <a:close/>
                <a:moveTo>
                  <a:pt x="1590955" y="4244527"/>
                </a:moveTo>
                <a:cubicBezTo>
                  <a:pt x="1592960" y="4245306"/>
                  <a:pt x="1594393" y="4248082"/>
                  <a:pt x="1595539" y="4248527"/>
                </a:cubicBezTo>
                <a:cubicBezTo>
                  <a:pt x="1596398" y="4250081"/>
                  <a:pt x="1597256" y="4251749"/>
                  <a:pt x="1594965" y="4252193"/>
                </a:cubicBezTo>
                <a:cubicBezTo>
                  <a:pt x="1592673" y="4252637"/>
                  <a:pt x="1592100" y="4253636"/>
                  <a:pt x="1589808" y="4251526"/>
                </a:cubicBezTo>
                <a:cubicBezTo>
                  <a:pt x="1588377" y="4250860"/>
                  <a:pt x="1587517" y="4249305"/>
                  <a:pt x="1585798" y="4248638"/>
                </a:cubicBezTo>
                <a:cubicBezTo>
                  <a:pt x="1585798" y="4248638"/>
                  <a:pt x="1586084" y="4247859"/>
                  <a:pt x="1586371" y="4246861"/>
                </a:cubicBezTo>
                <a:cubicBezTo>
                  <a:pt x="1586945" y="4245861"/>
                  <a:pt x="1587517" y="4244749"/>
                  <a:pt x="1588664" y="4244639"/>
                </a:cubicBezTo>
                <a:cubicBezTo>
                  <a:pt x="1589523" y="4244195"/>
                  <a:pt x="1590095" y="4244195"/>
                  <a:pt x="1590955" y="4244527"/>
                </a:cubicBezTo>
                <a:close/>
                <a:moveTo>
                  <a:pt x="5682524" y="4242195"/>
                </a:moveTo>
                <a:cubicBezTo>
                  <a:pt x="5684530" y="4242084"/>
                  <a:pt x="5687108" y="4243084"/>
                  <a:pt x="5690545" y="4244417"/>
                </a:cubicBezTo>
                <a:cubicBezTo>
                  <a:pt x="5687681" y="4249193"/>
                  <a:pt x="5683957" y="4249194"/>
                  <a:pt x="5677368" y="4247527"/>
                </a:cubicBezTo>
                <a:cubicBezTo>
                  <a:pt x="5678800" y="4243861"/>
                  <a:pt x="5680519" y="4242418"/>
                  <a:pt x="5682524" y="4242195"/>
                </a:cubicBezTo>
                <a:close/>
                <a:moveTo>
                  <a:pt x="5895368" y="4239196"/>
                </a:moveTo>
                <a:cubicBezTo>
                  <a:pt x="5897086" y="4240529"/>
                  <a:pt x="5896800" y="4242972"/>
                  <a:pt x="5898518" y="4244306"/>
                </a:cubicBezTo>
                <a:cubicBezTo>
                  <a:pt x="5896800" y="4244083"/>
                  <a:pt x="5894794" y="4245083"/>
                  <a:pt x="5893077" y="4244972"/>
                </a:cubicBezTo>
                <a:cubicBezTo>
                  <a:pt x="5889924" y="4242195"/>
                  <a:pt x="5893649" y="4238973"/>
                  <a:pt x="5895368" y="4239196"/>
                </a:cubicBezTo>
                <a:close/>
                <a:moveTo>
                  <a:pt x="6128550" y="4238751"/>
                </a:moveTo>
                <a:cubicBezTo>
                  <a:pt x="6129982" y="4240751"/>
                  <a:pt x="6133133" y="4242084"/>
                  <a:pt x="6134565" y="4244083"/>
                </a:cubicBezTo>
                <a:cubicBezTo>
                  <a:pt x="6131701" y="4255747"/>
                  <a:pt x="6126544" y="4254081"/>
                  <a:pt x="6118236" y="4253526"/>
                </a:cubicBezTo>
                <a:cubicBezTo>
                  <a:pt x="6117950" y="4250971"/>
                  <a:pt x="6114226" y="4248638"/>
                  <a:pt x="6115658" y="4245416"/>
                </a:cubicBezTo>
                <a:cubicBezTo>
                  <a:pt x="6115658" y="4245416"/>
                  <a:pt x="6116518" y="4243750"/>
                  <a:pt x="6119669" y="4242528"/>
                </a:cubicBezTo>
                <a:cubicBezTo>
                  <a:pt x="6122534" y="4238641"/>
                  <a:pt x="6129408" y="4239751"/>
                  <a:pt x="6129408" y="4239751"/>
                </a:cubicBezTo>
                <a:cubicBezTo>
                  <a:pt x="6129408" y="4239751"/>
                  <a:pt x="6129408" y="4239751"/>
                  <a:pt x="6128550" y="4238751"/>
                </a:cubicBezTo>
                <a:close/>
                <a:moveTo>
                  <a:pt x="5924014" y="4238530"/>
                </a:moveTo>
                <a:cubicBezTo>
                  <a:pt x="5924873" y="4238530"/>
                  <a:pt x="5925732" y="4238863"/>
                  <a:pt x="5926592" y="4239530"/>
                </a:cubicBezTo>
                <a:cubicBezTo>
                  <a:pt x="5926592" y="4239530"/>
                  <a:pt x="5924873" y="4241751"/>
                  <a:pt x="5924873" y="4241751"/>
                </a:cubicBezTo>
                <a:cubicBezTo>
                  <a:pt x="5921149" y="4243861"/>
                  <a:pt x="5919430" y="4244861"/>
                  <a:pt x="5917712" y="4246972"/>
                </a:cubicBezTo>
                <a:cubicBezTo>
                  <a:pt x="5913988" y="4245527"/>
                  <a:pt x="5914274" y="4244417"/>
                  <a:pt x="5915993" y="4243417"/>
                </a:cubicBezTo>
                <a:cubicBezTo>
                  <a:pt x="5915993" y="4243417"/>
                  <a:pt x="5917712" y="4242418"/>
                  <a:pt x="5919430" y="4241306"/>
                </a:cubicBezTo>
                <a:cubicBezTo>
                  <a:pt x="5921436" y="4240307"/>
                  <a:pt x="5921436" y="4239196"/>
                  <a:pt x="5921436" y="4239196"/>
                </a:cubicBezTo>
                <a:cubicBezTo>
                  <a:pt x="5922295" y="4238641"/>
                  <a:pt x="5923154" y="4238418"/>
                  <a:pt x="5924014" y="4238530"/>
                </a:cubicBezTo>
                <a:close/>
                <a:moveTo>
                  <a:pt x="1909217" y="4237196"/>
                </a:moveTo>
                <a:cubicBezTo>
                  <a:pt x="1915232" y="4236418"/>
                  <a:pt x="1915806" y="4238862"/>
                  <a:pt x="1919529" y="4238085"/>
                </a:cubicBezTo>
                <a:cubicBezTo>
                  <a:pt x="1919529" y="4243861"/>
                  <a:pt x="1915805" y="4246194"/>
                  <a:pt x="1908357" y="4247749"/>
                </a:cubicBezTo>
                <a:cubicBezTo>
                  <a:pt x="1905492" y="4245195"/>
                  <a:pt x="1905206" y="4239529"/>
                  <a:pt x="1909217" y="4237196"/>
                </a:cubicBezTo>
                <a:close/>
                <a:moveTo>
                  <a:pt x="7441702" y="4234752"/>
                </a:moveTo>
                <a:cubicBezTo>
                  <a:pt x="7442562" y="4237307"/>
                  <a:pt x="7445999" y="4238418"/>
                  <a:pt x="7444566" y="4242418"/>
                </a:cubicBezTo>
                <a:cubicBezTo>
                  <a:pt x="7439696" y="4241973"/>
                  <a:pt x="7436259" y="4240640"/>
                  <a:pt x="7431676" y="4240196"/>
                </a:cubicBezTo>
                <a:cubicBezTo>
                  <a:pt x="7429670" y="4235086"/>
                  <a:pt x="7435686" y="4234975"/>
                  <a:pt x="7441702" y="4234752"/>
                </a:cubicBezTo>
                <a:close/>
                <a:moveTo>
                  <a:pt x="5720338" y="4232086"/>
                </a:moveTo>
                <a:cubicBezTo>
                  <a:pt x="5723489" y="4232865"/>
                  <a:pt x="5728932" y="4233642"/>
                  <a:pt x="5729791" y="4236641"/>
                </a:cubicBezTo>
                <a:cubicBezTo>
                  <a:pt x="5730078" y="4237641"/>
                  <a:pt x="5729791" y="4238862"/>
                  <a:pt x="5728932" y="4240529"/>
                </a:cubicBezTo>
                <a:cubicBezTo>
                  <a:pt x="5729218" y="4240974"/>
                  <a:pt x="5727786" y="4242084"/>
                  <a:pt x="5726354" y="4242973"/>
                </a:cubicBezTo>
                <a:lnTo>
                  <a:pt x="5722916" y="4243750"/>
                </a:lnTo>
                <a:lnTo>
                  <a:pt x="5723202" y="4244528"/>
                </a:lnTo>
                <a:cubicBezTo>
                  <a:pt x="5723489" y="4246638"/>
                  <a:pt x="5723489" y="4248638"/>
                  <a:pt x="5722056" y="4250193"/>
                </a:cubicBezTo>
                <a:cubicBezTo>
                  <a:pt x="5717473" y="4251304"/>
                  <a:pt x="5713176" y="4251526"/>
                  <a:pt x="5709738" y="4250637"/>
                </a:cubicBezTo>
                <a:cubicBezTo>
                  <a:pt x="5706014" y="4249749"/>
                  <a:pt x="5702863" y="4247639"/>
                  <a:pt x="5701144" y="4244306"/>
                </a:cubicBezTo>
                <a:cubicBezTo>
                  <a:pt x="5702290" y="4241417"/>
                  <a:pt x="5705729" y="4239973"/>
                  <a:pt x="5709738" y="4239085"/>
                </a:cubicBezTo>
                <a:lnTo>
                  <a:pt x="5716614" y="4238196"/>
                </a:lnTo>
                <a:lnTo>
                  <a:pt x="5716041" y="4234752"/>
                </a:lnTo>
                <a:cubicBezTo>
                  <a:pt x="5718332" y="4235197"/>
                  <a:pt x="5719192" y="4233642"/>
                  <a:pt x="5720338" y="4232086"/>
                </a:cubicBezTo>
                <a:close/>
                <a:moveTo>
                  <a:pt x="6128550" y="4231531"/>
                </a:moveTo>
                <a:cubicBezTo>
                  <a:pt x="6129122" y="4231309"/>
                  <a:pt x="6129982" y="4231420"/>
                  <a:pt x="6131700" y="4232198"/>
                </a:cubicBezTo>
                <a:cubicBezTo>
                  <a:pt x="6133419" y="4232420"/>
                  <a:pt x="6134852" y="4233642"/>
                  <a:pt x="6136570" y="4233864"/>
                </a:cubicBezTo>
                <a:cubicBezTo>
                  <a:pt x="6136570" y="4233864"/>
                  <a:pt x="6137144" y="4234864"/>
                  <a:pt x="6137144" y="4235864"/>
                </a:cubicBezTo>
                <a:cubicBezTo>
                  <a:pt x="6137143" y="4236864"/>
                  <a:pt x="6137144" y="4237974"/>
                  <a:pt x="6136284" y="4238529"/>
                </a:cubicBezTo>
                <a:cubicBezTo>
                  <a:pt x="6134279" y="4240640"/>
                  <a:pt x="6129695" y="4236641"/>
                  <a:pt x="6127976" y="4236419"/>
                </a:cubicBezTo>
                <a:cubicBezTo>
                  <a:pt x="6126258" y="4235086"/>
                  <a:pt x="6124826" y="4233753"/>
                  <a:pt x="6126544" y="4232864"/>
                </a:cubicBezTo>
                <a:cubicBezTo>
                  <a:pt x="6127404" y="4232309"/>
                  <a:pt x="6127976" y="4231754"/>
                  <a:pt x="6128550" y="4231531"/>
                </a:cubicBezTo>
                <a:close/>
                <a:moveTo>
                  <a:pt x="6814058" y="4231087"/>
                </a:moveTo>
                <a:cubicBezTo>
                  <a:pt x="6815491" y="4231642"/>
                  <a:pt x="6816064" y="4232642"/>
                  <a:pt x="6816636" y="4234086"/>
                </a:cubicBezTo>
                <a:cubicBezTo>
                  <a:pt x="6817782" y="4238196"/>
                  <a:pt x="6815491" y="4245195"/>
                  <a:pt x="6813486" y="4248638"/>
                </a:cubicBezTo>
                <a:cubicBezTo>
                  <a:pt x="6808616" y="4246639"/>
                  <a:pt x="6811480" y="4235752"/>
                  <a:pt x="6814058" y="4231087"/>
                </a:cubicBezTo>
                <a:close/>
                <a:moveTo>
                  <a:pt x="6241703" y="4229532"/>
                </a:moveTo>
                <a:cubicBezTo>
                  <a:pt x="6243708" y="4229753"/>
                  <a:pt x="6245140" y="4230309"/>
                  <a:pt x="6246286" y="4231198"/>
                </a:cubicBezTo>
                <a:cubicBezTo>
                  <a:pt x="6248864" y="4233197"/>
                  <a:pt x="6247432" y="4237418"/>
                  <a:pt x="6237406" y="4244195"/>
                </a:cubicBezTo>
                <a:cubicBezTo>
                  <a:pt x="6227380" y="4240640"/>
                  <a:pt x="6224802" y="4237308"/>
                  <a:pt x="6225661" y="4234753"/>
                </a:cubicBezTo>
                <a:cubicBezTo>
                  <a:pt x="6227093" y="4231086"/>
                  <a:pt x="6235687" y="4228976"/>
                  <a:pt x="6241703" y="4229532"/>
                </a:cubicBezTo>
                <a:close/>
                <a:moveTo>
                  <a:pt x="2068777" y="4226310"/>
                </a:moveTo>
                <a:cubicBezTo>
                  <a:pt x="2067917" y="4227421"/>
                  <a:pt x="2067917" y="4227421"/>
                  <a:pt x="2067917" y="4227421"/>
                </a:cubicBezTo>
                <a:cubicBezTo>
                  <a:pt x="2068777" y="4228976"/>
                  <a:pt x="2069350" y="4227975"/>
                  <a:pt x="2071068" y="4228532"/>
                </a:cubicBezTo>
                <a:cubicBezTo>
                  <a:pt x="2071068" y="4228532"/>
                  <a:pt x="2069350" y="4227975"/>
                  <a:pt x="2071641" y="4227532"/>
                </a:cubicBezTo>
                <a:cubicBezTo>
                  <a:pt x="2071068" y="4228532"/>
                  <a:pt x="2072501" y="4229199"/>
                  <a:pt x="2074220" y="4229753"/>
                </a:cubicBezTo>
                <a:cubicBezTo>
                  <a:pt x="2075652" y="4232975"/>
                  <a:pt x="2076798" y="4237307"/>
                  <a:pt x="2073647" y="4238751"/>
                </a:cubicBezTo>
                <a:cubicBezTo>
                  <a:pt x="2069064" y="4239640"/>
                  <a:pt x="2066773" y="4237418"/>
                  <a:pt x="2065912" y="4235753"/>
                </a:cubicBezTo>
                <a:cubicBezTo>
                  <a:pt x="2063907" y="4234419"/>
                  <a:pt x="2063621" y="4232641"/>
                  <a:pt x="2064480" y="4230976"/>
                </a:cubicBezTo>
                <a:cubicBezTo>
                  <a:pt x="2065054" y="4229310"/>
                  <a:pt x="2066772" y="4227644"/>
                  <a:pt x="2068777" y="4226310"/>
                </a:cubicBezTo>
                <a:close/>
                <a:moveTo>
                  <a:pt x="5856694" y="4225089"/>
                </a:moveTo>
                <a:cubicBezTo>
                  <a:pt x="5857269" y="4224977"/>
                  <a:pt x="5858127" y="4225311"/>
                  <a:pt x="5858986" y="4225866"/>
                </a:cubicBezTo>
                <a:cubicBezTo>
                  <a:pt x="5856981" y="4226976"/>
                  <a:pt x="5853830" y="4227866"/>
                  <a:pt x="5851825" y="4228865"/>
                </a:cubicBezTo>
                <a:cubicBezTo>
                  <a:pt x="5851825" y="4228865"/>
                  <a:pt x="5851825" y="4228865"/>
                  <a:pt x="5850106" y="4227532"/>
                </a:cubicBezTo>
                <a:cubicBezTo>
                  <a:pt x="5852684" y="4227755"/>
                  <a:pt x="5854403" y="4225200"/>
                  <a:pt x="5856694" y="4225089"/>
                </a:cubicBezTo>
                <a:close/>
                <a:moveTo>
                  <a:pt x="6368034" y="4223756"/>
                </a:moveTo>
                <a:cubicBezTo>
                  <a:pt x="6373190" y="4225977"/>
                  <a:pt x="6375482" y="4227976"/>
                  <a:pt x="6376054" y="4229531"/>
                </a:cubicBezTo>
                <a:cubicBezTo>
                  <a:pt x="6376628" y="4231198"/>
                  <a:pt x="6375195" y="4232309"/>
                  <a:pt x="6373190" y="4233086"/>
                </a:cubicBezTo>
                <a:cubicBezTo>
                  <a:pt x="6366028" y="4235530"/>
                  <a:pt x="6350846" y="4233086"/>
                  <a:pt x="6368034" y="4223756"/>
                </a:cubicBezTo>
                <a:close/>
                <a:moveTo>
                  <a:pt x="6027141" y="4222756"/>
                </a:moveTo>
                <a:cubicBezTo>
                  <a:pt x="6031152" y="4229532"/>
                  <a:pt x="6027428" y="4229642"/>
                  <a:pt x="6018834" y="4230754"/>
                </a:cubicBezTo>
                <a:cubicBezTo>
                  <a:pt x="6017114" y="4226089"/>
                  <a:pt x="6020267" y="4224533"/>
                  <a:pt x="6027141" y="4222756"/>
                </a:cubicBezTo>
                <a:close/>
                <a:moveTo>
                  <a:pt x="7034350" y="4222644"/>
                </a:moveTo>
                <a:cubicBezTo>
                  <a:pt x="7032918" y="4231198"/>
                  <a:pt x="7009141" y="4241196"/>
                  <a:pt x="7002266" y="4240085"/>
                </a:cubicBezTo>
                <a:cubicBezTo>
                  <a:pt x="7004558" y="4235197"/>
                  <a:pt x="7011146" y="4233752"/>
                  <a:pt x="7014870" y="4228199"/>
                </a:cubicBezTo>
                <a:cubicBezTo>
                  <a:pt x="7020886" y="4228310"/>
                  <a:pt x="7026042" y="4222200"/>
                  <a:pt x="7034350" y="4222644"/>
                </a:cubicBezTo>
                <a:close/>
                <a:moveTo>
                  <a:pt x="6847288" y="4220089"/>
                </a:moveTo>
                <a:cubicBezTo>
                  <a:pt x="6848148" y="4220978"/>
                  <a:pt x="6848148" y="4222199"/>
                  <a:pt x="6847575" y="4223534"/>
                </a:cubicBezTo>
                <a:cubicBezTo>
                  <a:pt x="6845856" y="4227644"/>
                  <a:pt x="6839840" y="4232865"/>
                  <a:pt x="6835831" y="4234975"/>
                </a:cubicBezTo>
                <a:cubicBezTo>
                  <a:pt x="6832678" y="4231198"/>
                  <a:pt x="6842132" y="4222977"/>
                  <a:pt x="6847288" y="4220089"/>
                </a:cubicBezTo>
                <a:close/>
                <a:moveTo>
                  <a:pt x="6300428" y="4219534"/>
                </a:moveTo>
                <a:cubicBezTo>
                  <a:pt x="6304152" y="4223644"/>
                  <a:pt x="6301574" y="4227643"/>
                  <a:pt x="6296990" y="4230310"/>
                </a:cubicBezTo>
                <a:cubicBezTo>
                  <a:pt x="6292120" y="4232864"/>
                  <a:pt x="6284959" y="4234086"/>
                  <a:pt x="6279802" y="4232420"/>
                </a:cubicBezTo>
                <a:cubicBezTo>
                  <a:pt x="6282094" y="4223533"/>
                  <a:pt x="6286104" y="4218090"/>
                  <a:pt x="6300428" y="4219534"/>
                </a:cubicBezTo>
                <a:close/>
                <a:moveTo>
                  <a:pt x="5950655" y="4219312"/>
                </a:moveTo>
                <a:cubicBezTo>
                  <a:pt x="5952374" y="4219422"/>
                  <a:pt x="5954666" y="4219645"/>
                  <a:pt x="5957816" y="4219867"/>
                </a:cubicBezTo>
                <a:cubicBezTo>
                  <a:pt x="5960108" y="4220312"/>
                  <a:pt x="5962400" y="4221089"/>
                  <a:pt x="5963832" y="4222200"/>
                </a:cubicBezTo>
                <a:cubicBezTo>
                  <a:pt x="5965551" y="4223311"/>
                  <a:pt x="5966697" y="4224755"/>
                  <a:pt x="5966984" y="4226532"/>
                </a:cubicBezTo>
                <a:cubicBezTo>
                  <a:pt x="5970134" y="4227866"/>
                  <a:pt x="5972426" y="4230865"/>
                  <a:pt x="5972426" y="4233420"/>
                </a:cubicBezTo>
                <a:cubicBezTo>
                  <a:pt x="5970994" y="4236640"/>
                  <a:pt x="5967843" y="4237863"/>
                  <a:pt x="5965551" y="4237530"/>
                </a:cubicBezTo>
                <a:lnTo>
                  <a:pt x="5954952" y="4234975"/>
                </a:lnTo>
                <a:lnTo>
                  <a:pt x="5953806" y="4235641"/>
                </a:lnTo>
                <a:cubicBezTo>
                  <a:pt x="5948077" y="4236419"/>
                  <a:pt x="5942633" y="4230976"/>
                  <a:pt x="5942348" y="4226644"/>
                </a:cubicBezTo>
                <a:lnTo>
                  <a:pt x="5943494" y="4223866"/>
                </a:lnTo>
                <a:lnTo>
                  <a:pt x="5943207" y="4223533"/>
                </a:lnTo>
                <a:cubicBezTo>
                  <a:pt x="5944639" y="4219868"/>
                  <a:pt x="5945212" y="4218979"/>
                  <a:pt x="5950655" y="4219312"/>
                </a:cubicBezTo>
                <a:close/>
                <a:moveTo>
                  <a:pt x="6864476" y="4216757"/>
                </a:moveTo>
                <a:cubicBezTo>
                  <a:pt x="6867341" y="4216869"/>
                  <a:pt x="6870205" y="4217980"/>
                  <a:pt x="6873070" y="4219534"/>
                </a:cubicBezTo>
                <a:cubicBezTo>
                  <a:pt x="6872498" y="4222866"/>
                  <a:pt x="6866768" y="4226532"/>
                  <a:pt x="6861898" y="4225754"/>
                </a:cubicBezTo>
                <a:cubicBezTo>
                  <a:pt x="6857314" y="4222756"/>
                  <a:pt x="6859320" y="4220867"/>
                  <a:pt x="6856169" y="4219201"/>
                </a:cubicBezTo>
                <a:cubicBezTo>
                  <a:pt x="6859034" y="4217313"/>
                  <a:pt x="6861898" y="4216646"/>
                  <a:pt x="6864476" y="4216757"/>
                </a:cubicBezTo>
                <a:close/>
                <a:moveTo>
                  <a:pt x="5996203" y="4216202"/>
                </a:moveTo>
                <a:cubicBezTo>
                  <a:pt x="6003938" y="4217312"/>
                  <a:pt x="6011958" y="4222533"/>
                  <a:pt x="6016542" y="4226310"/>
                </a:cubicBezTo>
                <a:cubicBezTo>
                  <a:pt x="6014250" y="4229198"/>
                  <a:pt x="6017114" y="4231198"/>
                  <a:pt x="6015110" y="4234086"/>
                </a:cubicBezTo>
                <a:cubicBezTo>
                  <a:pt x="6002219" y="4228976"/>
                  <a:pt x="5987609" y="4224200"/>
                  <a:pt x="5989041" y="4216535"/>
                </a:cubicBezTo>
                <a:cubicBezTo>
                  <a:pt x="5991046" y="4215757"/>
                  <a:pt x="5993624" y="4215757"/>
                  <a:pt x="5996203" y="4216202"/>
                </a:cubicBezTo>
                <a:close/>
                <a:moveTo>
                  <a:pt x="5742682" y="4214868"/>
                </a:moveTo>
                <a:cubicBezTo>
                  <a:pt x="5743828" y="4214536"/>
                  <a:pt x="5745546" y="4214647"/>
                  <a:pt x="5747552" y="4215313"/>
                </a:cubicBezTo>
                <a:cubicBezTo>
                  <a:pt x="5748411" y="4220201"/>
                  <a:pt x="5736952" y="4224533"/>
                  <a:pt x="5730364" y="4222311"/>
                </a:cubicBezTo>
                <a:cubicBezTo>
                  <a:pt x="5737526" y="4219756"/>
                  <a:pt x="5738958" y="4215646"/>
                  <a:pt x="5742682" y="4214868"/>
                </a:cubicBezTo>
                <a:close/>
                <a:moveTo>
                  <a:pt x="7354330" y="4211536"/>
                </a:moveTo>
                <a:cubicBezTo>
                  <a:pt x="7356336" y="4211203"/>
                  <a:pt x="7358341" y="4211314"/>
                  <a:pt x="7360346" y="4211981"/>
                </a:cubicBezTo>
                <a:cubicBezTo>
                  <a:pt x="7360632" y="4212757"/>
                  <a:pt x="7361206" y="4213758"/>
                  <a:pt x="7361778" y="4214757"/>
                </a:cubicBezTo>
                <a:cubicBezTo>
                  <a:pt x="7362638" y="4215757"/>
                  <a:pt x="7362924" y="4216980"/>
                  <a:pt x="7362924" y="4218201"/>
                </a:cubicBezTo>
                <a:cubicBezTo>
                  <a:pt x="7357195" y="4222977"/>
                  <a:pt x="7351179" y="4223645"/>
                  <a:pt x="7345164" y="4221645"/>
                </a:cubicBezTo>
                <a:cubicBezTo>
                  <a:pt x="7343158" y="4216980"/>
                  <a:pt x="7348314" y="4212425"/>
                  <a:pt x="7354330" y="4211536"/>
                </a:cubicBezTo>
                <a:close/>
                <a:moveTo>
                  <a:pt x="6808043" y="4211315"/>
                </a:moveTo>
                <a:cubicBezTo>
                  <a:pt x="6809762" y="4211315"/>
                  <a:pt x="6811480" y="4211869"/>
                  <a:pt x="6811767" y="4212425"/>
                </a:cubicBezTo>
                <a:cubicBezTo>
                  <a:pt x="6810334" y="4213979"/>
                  <a:pt x="6807184" y="4214758"/>
                  <a:pt x="6805751" y="4216202"/>
                </a:cubicBezTo>
                <a:cubicBezTo>
                  <a:pt x="6805464" y="4215091"/>
                  <a:pt x="6803460" y="4214425"/>
                  <a:pt x="6802886" y="4213313"/>
                </a:cubicBezTo>
                <a:cubicBezTo>
                  <a:pt x="6804319" y="4211758"/>
                  <a:pt x="6806324" y="4211203"/>
                  <a:pt x="6808043" y="4211315"/>
                </a:cubicBezTo>
                <a:close/>
                <a:moveTo>
                  <a:pt x="5767604" y="4211203"/>
                </a:moveTo>
                <a:cubicBezTo>
                  <a:pt x="5770182" y="4210759"/>
                  <a:pt x="5773335" y="4210758"/>
                  <a:pt x="5777344" y="4211869"/>
                </a:cubicBezTo>
                <a:cubicBezTo>
                  <a:pt x="5781068" y="4216091"/>
                  <a:pt x="5781354" y="4219756"/>
                  <a:pt x="5777058" y="4225422"/>
                </a:cubicBezTo>
                <a:cubicBezTo>
                  <a:pt x="5775052" y="4225755"/>
                  <a:pt x="5772761" y="4225643"/>
                  <a:pt x="5770469" y="4225088"/>
                </a:cubicBezTo>
                <a:lnTo>
                  <a:pt x="5764740" y="4222977"/>
                </a:lnTo>
                <a:lnTo>
                  <a:pt x="5763880" y="4223645"/>
                </a:lnTo>
                <a:cubicBezTo>
                  <a:pt x="5762734" y="4224533"/>
                  <a:pt x="5762162" y="4225088"/>
                  <a:pt x="5761302" y="4225088"/>
                </a:cubicBezTo>
                <a:cubicBezTo>
                  <a:pt x="5761302" y="4226199"/>
                  <a:pt x="5759584" y="4227310"/>
                  <a:pt x="5759870" y="4228532"/>
                </a:cubicBezTo>
                <a:cubicBezTo>
                  <a:pt x="5759870" y="4228532"/>
                  <a:pt x="5759870" y="4228643"/>
                  <a:pt x="5758151" y="4228532"/>
                </a:cubicBezTo>
                <a:cubicBezTo>
                  <a:pt x="5759297" y="4223866"/>
                  <a:pt x="5757293" y="4217757"/>
                  <a:pt x="5760442" y="4214314"/>
                </a:cubicBezTo>
                <a:lnTo>
                  <a:pt x="5760729" y="4214202"/>
                </a:lnTo>
                <a:lnTo>
                  <a:pt x="5760729" y="4213647"/>
                </a:lnTo>
                <a:cubicBezTo>
                  <a:pt x="5763021" y="4212647"/>
                  <a:pt x="5765026" y="4211647"/>
                  <a:pt x="5767604" y="4211203"/>
                </a:cubicBezTo>
                <a:close/>
                <a:moveTo>
                  <a:pt x="6302720" y="4206759"/>
                </a:moveTo>
                <a:cubicBezTo>
                  <a:pt x="6305584" y="4209537"/>
                  <a:pt x="6309022" y="4211203"/>
                  <a:pt x="6310454" y="4212647"/>
                </a:cubicBezTo>
                <a:cubicBezTo>
                  <a:pt x="6306158" y="4216757"/>
                  <a:pt x="6300714" y="4217201"/>
                  <a:pt x="6296418" y="4212980"/>
                </a:cubicBezTo>
                <a:cubicBezTo>
                  <a:pt x="6300142" y="4211092"/>
                  <a:pt x="6298996" y="4208537"/>
                  <a:pt x="6302720" y="4206759"/>
                </a:cubicBezTo>
                <a:close/>
                <a:moveTo>
                  <a:pt x="5908258" y="4206426"/>
                </a:moveTo>
                <a:cubicBezTo>
                  <a:pt x="5906253" y="4209314"/>
                  <a:pt x="5903388" y="4211759"/>
                  <a:pt x="5899951" y="4213868"/>
                </a:cubicBezTo>
                <a:lnTo>
                  <a:pt x="5890498" y="4217868"/>
                </a:lnTo>
                <a:lnTo>
                  <a:pt x="5891644" y="4221423"/>
                </a:lnTo>
                <a:lnTo>
                  <a:pt x="5893362" y="4219423"/>
                </a:lnTo>
                <a:lnTo>
                  <a:pt x="5893363" y="4217979"/>
                </a:lnTo>
                <a:lnTo>
                  <a:pt x="5895654" y="4216979"/>
                </a:lnTo>
                <a:lnTo>
                  <a:pt x="5896227" y="4216313"/>
                </a:lnTo>
                <a:cubicBezTo>
                  <a:pt x="5904820" y="4210425"/>
                  <a:pt x="5916566" y="4209426"/>
                  <a:pt x="5928597" y="4208315"/>
                </a:cubicBezTo>
                <a:cubicBezTo>
                  <a:pt x="5928311" y="4214202"/>
                  <a:pt x="5922295" y="4218090"/>
                  <a:pt x="5914274" y="4220534"/>
                </a:cubicBezTo>
                <a:lnTo>
                  <a:pt x="5891644" y="4223534"/>
                </a:lnTo>
                <a:lnTo>
                  <a:pt x="5891644" y="4227088"/>
                </a:lnTo>
                <a:cubicBezTo>
                  <a:pt x="5888778" y="4228643"/>
                  <a:pt x="5886774" y="4228643"/>
                  <a:pt x="5884481" y="4227976"/>
                </a:cubicBezTo>
                <a:lnTo>
                  <a:pt x="5880758" y="4226310"/>
                </a:lnTo>
                <a:lnTo>
                  <a:pt x="5879898" y="4233198"/>
                </a:lnTo>
                <a:cubicBezTo>
                  <a:pt x="5874169" y="4230087"/>
                  <a:pt x="5875028" y="4224866"/>
                  <a:pt x="5861564" y="4224311"/>
                </a:cubicBezTo>
                <a:lnTo>
                  <a:pt x="5867294" y="4220645"/>
                </a:lnTo>
                <a:lnTo>
                  <a:pt x="5866148" y="4220645"/>
                </a:lnTo>
                <a:lnTo>
                  <a:pt x="5872736" y="4214868"/>
                </a:lnTo>
                <a:lnTo>
                  <a:pt x="5873310" y="4213091"/>
                </a:lnTo>
                <a:cubicBezTo>
                  <a:pt x="5873310" y="4211203"/>
                  <a:pt x="5873596" y="4209203"/>
                  <a:pt x="5876174" y="4207648"/>
                </a:cubicBezTo>
                <a:lnTo>
                  <a:pt x="5884196" y="4209648"/>
                </a:lnTo>
                <a:lnTo>
                  <a:pt x="5885628" y="4208981"/>
                </a:lnTo>
                <a:cubicBezTo>
                  <a:pt x="5893648" y="4206760"/>
                  <a:pt x="5902529" y="4206093"/>
                  <a:pt x="5908258" y="4206426"/>
                </a:cubicBezTo>
                <a:close/>
                <a:moveTo>
                  <a:pt x="5813438" y="4205760"/>
                </a:moveTo>
                <a:cubicBezTo>
                  <a:pt x="5820600" y="4205871"/>
                  <a:pt x="5824897" y="4207649"/>
                  <a:pt x="5828334" y="4208537"/>
                </a:cubicBezTo>
                <a:lnTo>
                  <a:pt x="5828048" y="4216646"/>
                </a:lnTo>
                <a:lnTo>
                  <a:pt x="5837215" y="4221089"/>
                </a:lnTo>
                <a:lnTo>
                  <a:pt x="5835783" y="4223866"/>
                </a:lnTo>
                <a:lnTo>
                  <a:pt x="5841513" y="4224533"/>
                </a:lnTo>
                <a:cubicBezTo>
                  <a:pt x="5841512" y="4225643"/>
                  <a:pt x="5841512" y="4225643"/>
                  <a:pt x="5841512" y="4225643"/>
                </a:cubicBezTo>
                <a:lnTo>
                  <a:pt x="5834637" y="4225755"/>
                </a:lnTo>
                <a:lnTo>
                  <a:pt x="5834064" y="4227199"/>
                </a:lnTo>
                <a:lnTo>
                  <a:pt x="5828048" y="4231420"/>
                </a:lnTo>
                <a:lnTo>
                  <a:pt x="5831200" y="4230421"/>
                </a:lnTo>
                <a:lnTo>
                  <a:pt x="5845236" y="4230421"/>
                </a:lnTo>
                <a:lnTo>
                  <a:pt x="5846096" y="4229976"/>
                </a:lnTo>
                <a:cubicBezTo>
                  <a:pt x="5851252" y="4229087"/>
                  <a:pt x="5856408" y="4231087"/>
                  <a:pt x="5857840" y="4235308"/>
                </a:cubicBezTo>
                <a:lnTo>
                  <a:pt x="5855837" y="4245861"/>
                </a:lnTo>
                <a:lnTo>
                  <a:pt x="5858986" y="4243750"/>
                </a:lnTo>
                <a:cubicBezTo>
                  <a:pt x="5861564" y="4242751"/>
                  <a:pt x="5864429" y="4242084"/>
                  <a:pt x="5867294" y="4242195"/>
                </a:cubicBezTo>
                <a:cubicBezTo>
                  <a:pt x="5870445" y="4244639"/>
                  <a:pt x="5870732" y="4248083"/>
                  <a:pt x="5869012" y="4251192"/>
                </a:cubicBezTo>
                <a:lnTo>
                  <a:pt x="5868440" y="4251637"/>
                </a:lnTo>
                <a:lnTo>
                  <a:pt x="5878180" y="4255302"/>
                </a:lnTo>
                <a:lnTo>
                  <a:pt x="5879326" y="4256191"/>
                </a:lnTo>
                <a:lnTo>
                  <a:pt x="5895368" y="4257525"/>
                </a:lnTo>
                <a:lnTo>
                  <a:pt x="5898518" y="4254747"/>
                </a:lnTo>
                <a:cubicBezTo>
                  <a:pt x="5901096" y="4251971"/>
                  <a:pt x="5903962" y="4250415"/>
                  <a:pt x="5906253" y="4249970"/>
                </a:cubicBezTo>
                <a:cubicBezTo>
                  <a:pt x="5908831" y="4249637"/>
                  <a:pt x="5911410" y="4250415"/>
                  <a:pt x="5913701" y="4252304"/>
                </a:cubicBezTo>
                <a:cubicBezTo>
                  <a:pt x="5913701" y="4253526"/>
                  <a:pt x="5911982" y="4256969"/>
                  <a:pt x="5913701" y="4257081"/>
                </a:cubicBezTo>
                <a:cubicBezTo>
                  <a:pt x="5911696" y="4258191"/>
                  <a:pt x="5909404" y="4259414"/>
                  <a:pt x="5907398" y="4260191"/>
                </a:cubicBezTo>
                <a:lnTo>
                  <a:pt x="5903389" y="4260857"/>
                </a:lnTo>
                <a:lnTo>
                  <a:pt x="5904820" y="4261635"/>
                </a:lnTo>
                <a:cubicBezTo>
                  <a:pt x="5907112" y="4263301"/>
                  <a:pt x="5908831" y="4265300"/>
                  <a:pt x="5909690" y="4267744"/>
                </a:cubicBezTo>
                <a:cubicBezTo>
                  <a:pt x="5913127" y="4284074"/>
                  <a:pt x="5886774" y="4290294"/>
                  <a:pt x="5869586" y="4284185"/>
                </a:cubicBezTo>
                <a:cubicBezTo>
                  <a:pt x="5859273" y="4280519"/>
                  <a:pt x="5852111" y="4272299"/>
                  <a:pt x="5856981" y="4259191"/>
                </a:cubicBezTo>
                <a:lnTo>
                  <a:pt x="5858986" y="4258747"/>
                </a:lnTo>
                <a:lnTo>
                  <a:pt x="5851252" y="4259524"/>
                </a:lnTo>
                <a:cubicBezTo>
                  <a:pt x="5848960" y="4257858"/>
                  <a:pt x="5848101" y="4255970"/>
                  <a:pt x="5848387" y="4253970"/>
                </a:cubicBezTo>
                <a:lnTo>
                  <a:pt x="5849820" y="4251860"/>
                </a:lnTo>
                <a:lnTo>
                  <a:pt x="5845236" y="4252749"/>
                </a:lnTo>
                <a:lnTo>
                  <a:pt x="5842944" y="4247749"/>
                </a:lnTo>
                <a:lnTo>
                  <a:pt x="5842085" y="4247638"/>
                </a:lnTo>
                <a:cubicBezTo>
                  <a:pt x="5837502" y="4246860"/>
                  <a:pt x="5833491" y="4244972"/>
                  <a:pt x="5832918" y="4242528"/>
                </a:cubicBezTo>
                <a:lnTo>
                  <a:pt x="5838361" y="4234085"/>
                </a:lnTo>
                <a:lnTo>
                  <a:pt x="5836356" y="4234975"/>
                </a:lnTo>
                <a:cubicBezTo>
                  <a:pt x="5828048" y="4237419"/>
                  <a:pt x="5821173" y="4234753"/>
                  <a:pt x="5815730" y="4238751"/>
                </a:cubicBezTo>
                <a:lnTo>
                  <a:pt x="5814584" y="4236418"/>
                </a:lnTo>
                <a:lnTo>
                  <a:pt x="5808568" y="4237307"/>
                </a:lnTo>
                <a:lnTo>
                  <a:pt x="5805131" y="4233975"/>
                </a:lnTo>
                <a:lnTo>
                  <a:pt x="5803126" y="4234641"/>
                </a:lnTo>
                <a:lnTo>
                  <a:pt x="5795678" y="4236197"/>
                </a:lnTo>
                <a:lnTo>
                  <a:pt x="5796250" y="4236863"/>
                </a:lnTo>
                <a:cubicBezTo>
                  <a:pt x="5796537" y="4237863"/>
                  <a:pt x="5796250" y="4238974"/>
                  <a:pt x="5794532" y="4240085"/>
                </a:cubicBezTo>
                <a:cubicBezTo>
                  <a:pt x="5791381" y="4243417"/>
                  <a:pt x="5786224" y="4243306"/>
                  <a:pt x="5781068" y="4241973"/>
                </a:cubicBezTo>
                <a:cubicBezTo>
                  <a:pt x="5777630" y="4242972"/>
                  <a:pt x="5775912" y="4245194"/>
                  <a:pt x="5772474" y="4243972"/>
                </a:cubicBezTo>
                <a:cubicBezTo>
                  <a:pt x="5777630" y="4241862"/>
                  <a:pt x="5779063" y="4240751"/>
                  <a:pt x="5782500" y="4239751"/>
                </a:cubicBezTo>
                <a:cubicBezTo>
                  <a:pt x="5782500" y="4238529"/>
                  <a:pt x="5782500" y="4237418"/>
                  <a:pt x="5784219" y="4236307"/>
                </a:cubicBezTo>
                <a:lnTo>
                  <a:pt x="5787370" y="4235308"/>
                </a:lnTo>
                <a:lnTo>
                  <a:pt x="5786798" y="4233864"/>
                </a:lnTo>
                <a:cubicBezTo>
                  <a:pt x="5785938" y="4232753"/>
                  <a:pt x="5785365" y="4231864"/>
                  <a:pt x="5784219" y="4230753"/>
                </a:cubicBezTo>
                <a:cubicBezTo>
                  <a:pt x="5789377" y="4230087"/>
                  <a:pt x="5793386" y="4228754"/>
                  <a:pt x="5796537" y="4227866"/>
                </a:cubicBezTo>
                <a:lnTo>
                  <a:pt x="5801981" y="4227199"/>
                </a:lnTo>
                <a:lnTo>
                  <a:pt x="5801980" y="4226866"/>
                </a:lnTo>
                <a:cubicBezTo>
                  <a:pt x="5802553" y="4224533"/>
                  <a:pt x="5804272" y="4222311"/>
                  <a:pt x="5807136" y="4220645"/>
                </a:cubicBezTo>
                <a:lnTo>
                  <a:pt x="5810001" y="4219423"/>
                </a:lnTo>
                <a:cubicBezTo>
                  <a:pt x="5806277" y="4216091"/>
                  <a:pt x="5805990" y="4210203"/>
                  <a:pt x="5813438" y="4205760"/>
                </a:cubicBezTo>
                <a:close/>
                <a:moveTo>
                  <a:pt x="6004796" y="4205648"/>
                </a:moveTo>
                <a:cubicBezTo>
                  <a:pt x="6007949" y="4205316"/>
                  <a:pt x="6011672" y="4208092"/>
                  <a:pt x="6013390" y="4211203"/>
                </a:cubicBezTo>
                <a:cubicBezTo>
                  <a:pt x="6014823" y="4214313"/>
                  <a:pt x="6013965" y="4217757"/>
                  <a:pt x="6007375" y="4218979"/>
                </a:cubicBezTo>
                <a:cubicBezTo>
                  <a:pt x="6005656" y="4219423"/>
                  <a:pt x="6003938" y="4218867"/>
                  <a:pt x="6002792" y="4217868"/>
                </a:cubicBezTo>
                <a:cubicBezTo>
                  <a:pt x="5998781" y="4214980"/>
                  <a:pt x="5997922" y="4207425"/>
                  <a:pt x="6004796" y="4205648"/>
                </a:cubicBezTo>
                <a:close/>
                <a:moveTo>
                  <a:pt x="6281235" y="4204427"/>
                </a:moveTo>
                <a:cubicBezTo>
                  <a:pt x="6285246" y="4212202"/>
                  <a:pt x="6284386" y="4216091"/>
                  <a:pt x="6281522" y="4217423"/>
                </a:cubicBezTo>
                <a:cubicBezTo>
                  <a:pt x="6272354" y="4221534"/>
                  <a:pt x="6245140" y="4203205"/>
                  <a:pt x="6281235" y="4204427"/>
                </a:cubicBezTo>
                <a:close/>
                <a:moveTo>
                  <a:pt x="7124013" y="4202872"/>
                </a:moveTo>
                <a:cubicBezTo>
                  <a:pt x="7127163" y="4202983"/>
                  <a:pt x="7130888" y="4203649"/>
                  <a:pt x="7135758" y="4206537"/>
                </a:cubicBezTo>
                <a:cubicBezTo>
                  <a:pt x="7145212" y="4213536"/>
                  <a:pt x="7136331" y="4219646"/>
                  <a:pt x="7138051" y="4219867"/>
                </a:cubicBezTo>
                <a:cubicBezTo>
                  <a:pt x="7139482" y="4221201"/>
                  <a:pt x="7139482" y="4221201"/>
                  <a:pt x="7141201" y="4221423"/>
                </a:cubicBezTo>
                <a:cubicBezTo>
                  <a:pt x="7140914" y="4222533"/>
                  <a:pt x="7142346" y="4225088"/>
                  <a:pt x="7144066" y="4226421"/>
                </a:cubicBezTo>
                <a:cubicBezTo>
                  <a:pt x="7142346" y="4226310"/>
                  <a:pt x="7140628" y="4226089"/>
                  <a:pt x="7140628" y="4227199"/>
                </a:cubicBezTo>
                <a:cubicBezTo>
                  <a:pt x="7137477" y="4224533"/>
                  <a:pt x="7137765" y="4223311"/>
                  <a:pt x="7136044" y="4221978"/>
                </a:cubicBezTo>
                <a:cubicBezTo>
                  <a:pt x="7136044" y="4223200"/>
                  <a:pt x="7134326" y="4221867"/>
                  <a:pt x="7134326" y="4221867"/>
                </a:cubicBezTo>
                <a:cubicBezTo>
                  <a:pt x="7134326" y="4221867"/>
                  <a:pt x="7134326" y="4221867"/>
                  <a:pt x="7130888" y="4223866"/>
                </a:cubicBezTo>
                <a:cubicBezTo>
                  <a:pt x="7130888" y="4223866"/>
                  <a:pt x="7122008" y="4227643"/>
                  <a:pt x="7113986" y="4221978"/>
                </a:cubicBezTo>
                <a:cubicBezTo>
                  <a:pt x="7115706" y="4220978"/>
                  <a:pt x="7106538" y="4212758"/>
                  <a:pt x="7110262" y="4208426"/>
                </a:cubicBezTo>
                <a:cubicBezTo>
                  <a:pt x="7112268" y="4206316"/>
                  <a:pt x="7113986" y="4205316"/>
                  <a:pt x="7115993" y="4203205"/>
                </a:cubicBezTo>
                <a:cubicBezTo>
                  <a:pt x="7118284" y="4203427"/>
                  <a:pt x="7120862" y="4202871"/>
                  <a:pt x="7124013" y="4202872"/>
                </a:cubicBezTo>
                <a:close/>
                <a:moveTo>
                  <a:pt x="5710598" y="4202427"/>
                </a:moveTo>
                <a:cubicBezTo>
                  <a:pt x="5710599" y="4203538"/>
                  <a:pt x="5712317" y="4203650"/>
                  <a:pt x="5712603" y="4204760"/>
                </a:cubicBezTo>
                <a:cubicBezTo>
                  <a:pt x="5714322" y="4207315"/>
                  <a:pt x="5714322" y="4207315"/>
                  <a:pt x="5712603" y="4208426"/>
                </a:cubicBezTo>
                <a:cubicBezTo>
                  <a:pt x="5711171" y="4209648"/>
                  <a:pt x="5705728" y="4208204"/>
                  <a:pt x="5704009" y="4209315"/>
                </a:cubicBezTo>
                <a:cubicBezTo>
                  <a:pt x="5704009" y="4209315"/>
                  <a:pt x="5704009" y="4209426"/>
                  <a:pt x="5702290" y="4206871"/>
                </a:cubicBezTo>
                <a:cubicBezTo>
                  <a:pt x="5702004" y="4205649"/>
                  <a:pt x="5702004" y="4204538"/>
                  <a:pt x="5703723" y="4203316"/>
                </a:cubicBezTo>
                <a:cubicBezTo>
                  <a:pt x="5705442" y="4202205"/>
                  <a:pt x="5708879" y="4202316"/>
                  <a:pt x="5710598" y="4202427"/>
                </a:cubicBezTo>
                <a:close/>
                <a:moveTo>
                  <a:pt x="6138289" y="4200761"/>
                </a:moveTo>
                <a:cubicBezTo>
                  <a:pt x="6145164" y="4200761"/>
                  <a:pt x="6152612" y="4202316"/>
                  <a:pt x="6160060" y="4204871"/>
                </a:cubicBezTo>
                <a:lnTo>
                  <a:pt x="6164930" y="4207205"/>
                </a:lnTo>
                <a:lnTo>
                  <a:pt x="6168654" y="4205205"/>
                </a:lnTo>
                <a:cubicBezTo>
                  <a:pt x="6170086" y="4204538"/>
                  <a:pt x="6171232" y="4203982"/>
                  <a:pt x="6172378" y="4203983"/>
                </a:cubicBezTo>
                <a:lnTo>
                  <a:pt x="6166936" y="4208092"/>
                </a:lnTo>
                <a:lnTo>
                  <a:pt x="6181546" y="4214758"/>
                </a:lnTo>
                <a:lnTo>
                  <a:pt x="6194722" y="4223977"/>
                </a:lnTo>
                <a:lnTo>
                  <a:pt x="6195868" y="4222089"/>
                </a:lnTo>
                <a:lnTo>
                  <a:pt x="6198733" y="4226977"/>
                </a:lnTo>
                <a:lnTo>
                  <a:pt x="6199020" y="4227087"/>
                </a:lnTo>
                <a:cubicBezTo>
                  <a:pt x="6203890" y="4231198"/>
                  <a:pt x="6207327" y="4235086"/>
                  <a:pt x="6209046" y="4238307"/>
                </a:cubicBezTo>
                <a:cubicBezTo>
                  <a:pt x="6185556" y="4253415"/>
                  <a:pt x="6152326" y="4239418"/>
                  <a:pt x="6131414" y="4224200"/>
                </a:cubicBezTo>
                <a:lnTo>
                  <a:pt x="6131414" y="4226754"/>
                </a:lnTo>
                <a:cubicBezTo>
                  <a:pt x="6124539" y="4225976"/>
                  <a:pt x="6118523" y="4226199"/>
                  <a:pt x="6112794" y="4226532"/>
                </a:cubicBezTo>
                <a:lnTo>
                  <a:pt x="6107925" y="4226866"/>
                </a:lnTo>
                <a:lnTo>
                  <a:pt x="6111075" y="4229754"/>
                </a:lnTo>
                <a:cubicBezTo>
                  <a:pt x="6112508" y="4231753"/>
                  <a:pt x="6113080" y="4234309"/>
                  <a:pt x="6112221" y="4237641"/>
                </a:cubicBezTo>
                <a:cubicBezTo>
                  <a:pt x="6110216" y="4245084"/>
                  <a:pt x="6104200" y="4252859"/>
                  <a:pt x="6086726" y="4250860"/>
                </a:cubicBezTo>
                <a:cubicBezTo>
                  <a:pt x="6083002" y="4251082"/>
                  <a:pt x="6084720" y="4250415"/>
                  <a:pt x="6082428" y="4250082"/>
                </a:cubicBezTo>
                <a:cubicBezTo>
                  <a:pt x="6080137" y="4249749"/>
                  <a:pt x="6076126" y="4249971"/>
                  <a:pt x="6074694" y="4250637"/>
                </a:cubicBezTo>
                <a:cubicBezTo>
                  <a:pt x="6076126" y="4244750"/>
                  <a:pt x="6070110" y="4244527"/>
                  <a:pt x="6072976" y="4235419"/>
                </a:cubicBezTo>
                <a:cubicBezTo>
                  <a:pt x="6074980" y="4226643"/>
                  <a:pt x="6082428" y="4222977"/>
                  <a:pt x="6089304" y="4221978"/>
                </a:cubicBezTo>
                <a:lnTo>
                  <a:pt x="6095033" y="4221867"/>
                </a:lnTo>
                <a:lnTo>
                  <a:pt x="6096752" y="4218311"/>
                </a:lnTo>
                <a:cubicBezTo>
                  <a:pt x="6107351" y="4222311"/>
                  <a:pt x="6109642" y="4215646"/>
                  <a:pt x="6115086" y="4213647"/>
                </a:cubicBezTo>
                <a:lnTo>
                  <a:pt x="6119956" y="4213758"/>
                </a:lnTo>
                <a:lnTo>
                  <a:pt x="6115658" y="4209537"/>
                </a:lnTo>
                <a:cubicBezTo>
                  <a:pt x="6121102" y="4203093"/>
                  <a:pt x="6129121" y="4200540"/>
                  <a:pt x="6138289" y="4200761"/>
                </a:cubicBezTo>
                <a:close/>
                <a:moveTo>
                  <a:pt x="5760443" y="4199317"/>
                </a:moveTo>
                <a:cubicBezTo>
                  <a:pt x="5762162" y="4199428"/>
                  <a:pt x="5764166" y="4199761"/>
                  <a:pt x="5765026" y="4199540"/>
                </a:cubicBezTo>
                <a:cubicBezTo>
                  <a:pt x="5766172" y="4199872"/>
                  <a:pt x="5767032" y="4200206"/>
                  <a:pt x="5767890" y="4200650"/>
                </a:cubicBezTo>
                <a:cubicBezTo>
                  <a:pt x="5768464" y="4201095"/>
                  <a:pt x="5768750" y="4201650"/>
                  <a:pt x="5768177" y="4202427"/>
                </a:cubicBezTo>
                <a:cubicBezTo>
                  <a:pt x="5767032" y="4203872"/>
                  <a:pt x="5767604" y="4204982"/>
                  <a:pt x="5763880" y="4204760"/>
                </a:cubicBezTo>
                <a:cubicBezTo>
                  <a:pt x="5762162" y="4205205"/>
                  <a:pt x="5760156" y="4204649"/>
                  <a:pt x="5758438" y="4205093"/>
                </a:cubicBezTo>
                <a:cubicBezTo>
                  <a:pt x="5758438" y="4205093"/>
                  <a:pt x="5757864" y="4204427"/>
                  <a:pt x="5757005" y="4203538"/>
                </a:cubicBezTo>
                <a:cubicBezTo>
                  <a:pt x="5756432" y="4202650"/>
                  <a:pt x="5755859" y="4201428"/>
                  <a:pt x="5756432" y="4200761"/>
                </a:cubicBezTo>
                <a:cubicBezTo>
                  <a:pt x="5756718" y="4199428"/>
                  <a:pt x="5758438" y="4199206"/>
                  <a:pt x="5760443" y="4199317"/>
                </a:cubicBezTo>
                <a:close/>
                <a:moveTo>
                  <a:pt x="6780256" y="4197873"/>
                </a:moveTo>
                <a:cubicBezTo>
                  <a:pt x="6782548" y="4198317"/>
                  <a:pt x="6783120" y="4199428"/>
                  <a:pt x="6783694" y="4200428"/>
                </a:cubicBezTo>
                <a:cubicBezTo>
                  <a:pt x="6783407" y="4203093"/>
                  <a:pt x="6783120" y="4205760"/>
                  <a:pt x="6782548" y="4208426"/>
                </a:cubicBezTo>
                <a:cubicBezTo>
                  <a:pt x="6779683" y="4213091"/>
                  <a:pt x="6777104" y="4217868"/>
                  <a:pt x="6771089" y="4217313"/>
                </a:cubicBezTo>
                <a:cubicBezTo>
                  <a:pt x="6771662" y="4211981"/>
                  <a:pt x="6771376" y="4208315"/>
                  <a:pt x="6772234" y="4203094"/>
                </a:cubicBezTo>
                <a:cubicBezTo>
                  <a:pt x="6773094" y="4201538"/>
                  <a:pt x="6778250" y="4197318"/>
                  <a:pt x="6780256" y="4197873"/>
                </a:cubicBezTo>
                <a:close/>
                <a:moveTo>
                  <a:pt x="2036693" y="4197651"/>
                </a:moveTo>
                <a:cubicBezTo>
                  <a:pt x="2038126" y="4198205"/>
                  <a:pt x="2039845" y="4198540"/>
                  <a:pt x="2041563" y="4198984"/>
                </a:cubicBezTo>
                <a:lnTo>
                  <a:pt x="2044428" y="4200317"/>
                </a:lnTo>
                <a:lnTo>
                  <a:pt x="2045574" y="4201539"/>
                </a:lnTo>
                <a:lnTo>
                  <a:pt x="2044428" y="4206426"/>
                </a:lnTo>
                <a:cubicBezTo>
                  <a:pt x="2042995" y="4208093"/>
                  <a:pt x="2040704" y="4209537"/>
                  <a:pt x="2039271" y="4210315"/>
                </a:cubicBezTo>
                <a:cubicBezTo>
                  <a:pt x="2034974" y="4211203"/>
                  <a:pt x="2030964" y="4208315"/>
                  <a:pt x="2029531" y="4205205"/>
                </a:cubicBezTo>
                <a:cubicBezTo>
                  <a:pt x="2028386" y="4204093"/>
                  <a:pt x="2028099" y="4202761"/>
                  <a:pt x="2028673" y="4201539"/>
                </a:cubicBezTo>
                <a:cubicBezTo>
                  <a:pt x="2029531" y="4200317"/>
                  <a:pt x="2030677" y="4199317"/>
                  <a:pt x="2032109" y="4198540"/>
                </a:cubicBezTo>
                <a:cubicBezTo>
                  <a:pt x="2034401" y="4198095"/>
                  <a:pt x="2034401" y="4198095"/>
                  <a:pt x="2036693" y="4197651"/>
                </a:cubicBezTo>
                <a:close/>
                <a:moveTo>
                  <a:pt x="5718332" y="4195096"/>
                </a:moveTo>
                <a:cubicBezTo>
                  <a:pt x="5720910" y="4195207"/>
                  <a:pt x="5723775" y="4196096"/>
                  <a:pt x="5726067" y="4198095"/>
                </a:cubicBezTo>
                <a:cubicBezTo>
                  <a:pt x="5730937" y="4200983"/>
                  <a:pt x="5730650" y="4205649"/>
                  <a:pt x="5735234" y="4209647"/>
                </a:cubicBezTo>
                <a:cubicBezTo>
                  <a:pt x="5729791" y="4213758"/>
                  <a:pt x="5728072" y="4214869"/>
                  <a:pt x="5719765" y="4211647"/>
                </a:cubicBezTo>
                <a:cubicBezTo>
                  <a:pt x="5719765" y="4211647"/>
                  <a:pt x="5718332" y="4210204"/>
                  <a:pt x="5718332" y="4210204"/>
                </a:cubicBezTo>
                <a:cubicBezTo>
                  <a:pt x="5711744" y="4205982"/>
                  <a:pt x="5709167" y="4198539"/>
                  <a:pt x="5711171" y="4196429"/>
                </a:cubicBezTo>
                <a:cubicBezTo>
                  <a:pt x="5712890" y="4195429"/>
                  <a:pt x="5715468" y="4194873"/>
                  <a:pt x="5718332" y="4195096"/>
                </a:cubicBezTo>
                <a:close/>
                <a:moveTo>
                  <a:pt x="6188134" y="4194096"/>
                </a:moveTo>
                <a:cubicBezTo>
                  <a:pt x="6190998" y="4193541"/>
                  <a:pt x="6193863" y="4193541"/>
                  <a:pt x="6197588" y="4194541"/>
                </a:cubicBezTo>
                <a:cubicBezTo>
                  <a:pt x="6200738" y="4198651"/>
                  <a:pt x="6199879" y="4202316"/>
                  <a:pt x="6194436" y="4208093"/>
                </a:cubicBezTo>
                <a:cubicBezTo>
                  <a:pt x="6186415" y="4209758"/>
                  <a:pt x="6174098" y="4203872"/>
                  <a:pt x="6180686" y="4196651"/>
                </a:cubicBezTo>
                <a:cubicBezTo>
                  <a:pt x="6182978" y="4195651"/>
                  <a:pt x="6185556" y="4194652"/>
                  <a:pt x="6188134" y="4194096"/>
                </a:cubicBezTo>
                <a:close/>
                <a:moveTo>
                  <a:pt x="6415873" y="4193874"/>
                </a:moveTo>
                <a:lnTo>
                  <a:pt x="6420743" y="4195207"/>
                </a:lnTo>
                <a:lnTo>
                  <a:pt x="6422176" y="4194319"/>
                </a:lnTo>
                <a:cubicBezTo>
                  <a:pt x="6425040" y="4195985"/>
                  <a:pt x="6428191" y="4197762"/>
                  <a:pt x="6429337" y="4200317"/>
                </a:cubicBezTo>
                <a:lnTo>
                  <a:pt x="6433920" y="4203539"/>
                </a:lnTo>
                <a:cubicBezTo>
                  <a:pt x="6431342" y="4206537"/>
                  <a:pt x="6433634" y="4208426"/>
                  <a:pt x="6431056" y="4211314"/>
                </a:cubicBezTo>
                <a:cubicBezTo>
                  <a:pt x="6419310" y="4206537"/>
                  <a:pt x="6405561" y="4202094"/>
                  <a:pt x="6408713" y="4194318"/>
                </a:cubicBezTo>
                <a:cubicBezTo>
                  <a:pt x="6411003" y="4193541"/>
                  <a:pt x="6413582" y="4193541"/>
                  <a:pt x="6415873" y="4193874"/>
                </a:cubicBezTo>
                <a:close/>
                <a:moveTo>
                  <a:pt x="5879039" y="4191208"/>
                </a:moveTo>
                <a:cubicBezTo>
                  <a:pt x="5885628" y="4191431"/>
                  <a:pt x="5896227" y="4192208"/>
                  <a:pt x="5899664" y="4197317"/>
                </a:cubicBezTo>
                <a:cubicBezTo>
                  <a:pt x="5900810" y="4198983"/>
                  <a:pt x="5901383" y="4201206"/>
                  <a:pt x="5900524" y="4203983"/>
                </a:cubicBezTo>
                <a:cubicBezTo>
                  <a:pt x="5898232" y="4204538"/>
                  <a:pt x="5895940" y="4205093"/>
                  <a:pt x="5893648" y="4205649"/>
                </a:cubicBezTo>
                <a:cubicBezTo>
                  <a:pt x="5889638" y="4198984"/>
                  <a:pt x="5882190" y="4196429"/>
                  <a:pt x="5879039" y="4191208"/>
                </a:cubicBezTo>
                <a:close/>
                <a:moveTo>
                  <a:pt x="6590330" y="4189764"/>
                </a:moveTo>
                <a:cubicBezTo>
                  <a:pt x="6590330" y="4190986"/>
                  <a:pt x="6592048" y="4193430"/>
                  <a:pt x="6590616" y="4194652"/>
                </a:cubicBezTo>
                <a:cubicBezTo>
                  <a:pt x="6588898" y="4195762"/>
                  <a:pt x="6588898" y="4195762"/>
                  <a:pt x="6585746" y="4195651"/>
                </a:cubicBezTo>
                <a:cubicBezTo>
                  <a:pt x="6587179" y="4192097"/>
                  <a:pt x="6587179" y="4192097"/>
                  <a:pt x="6590330" y="4189764"/>
                </a:cubicBezTo>
                <a:close/>
                <a:moveTo>
                  <a:pt x="5723775" y="4187541"/>
                </a:moveTo>
                <a:cubicBezTo>
                  <a:pt x="5726068" y="4187875"/>
                  <a:pt x="5727500" y="4189986"/>
                  <a:pt x="5729791" y="4190319"/>
                </a:cubicBezTo>
                <a:cubicBezTo>
                  <a:pt x="5728358" y="4190986"/>
                  <a:pt x="5727787" y="4192541"/>
                  <a:pt x="5726067" y="4193207"/>
                </a:cubicBezTo>
                <a:cubicBezTo>
                  <a:pt x="5721484" y="4192430"/>
                  <a:pt x="5722056" y="4188208"/>
                  <a:pt x="5723775" y="4187541"/>
                </a:cubicBezTo>
                <a:close/>
                <a:moveTo>
                  <a:pt x="6842418" y="4187320"/>
                </a:moveTo>
                <a:cubicBezTo>
                  <a:pt x="6843851" y="4187209"/>
                  <a:pt x="6845283" y="4187319"/>
                  <a:pt x="6847002" y="4187875"/>
                </a:cubicBezTo>
                <a:cubicBezTo>
                  <a:pt x="6847862" y="4190097"/>
                  <a:pt x="6848148" y="4191208"/>
                  <a:pt x="6847575" y="4193874"/>
                </a:cubicBezTo>
                <a:cubicBezTo>
                  <a:pt x="6837262" y="4204982"/>
                  <a:pt x="6827809" y="4203649"/>
                  <a:pt x="6826663" y="4205205"/>
                </a:cubicBezTo>
                <a:cubicBezTo>
                  <a:pt x="6820362" y="4202983"/>
                  <a:pt x="6822652" y="4199872"/>
                  <a:pt x="6824372" y="4194652"/>
                </a:cubicBezTo>
                <a:cubicBezTo>
                  <a:pt x="6826376" y="4195318"/>
                  <a:pt x="6830100" y="4190763"/>
                  <a:pt x="6831246" y="4189209"/>
                </a:cubicBezTo>
                <a:cubicBezTo>
                  <a:pt x="6834398" y="4190320"/>
                  <a:pt x="6838122" y="4187764"/>
                  <a:pt x="6842418" y="4187320"/>
                </a:cubicBezTo>
                <a:close/>
                <a:moveTo>
                  <a:pt x="2018359" y="4186876"/>
                </a:moveTo>
                <a:cubicBezTo>
                  <a:pt x="2020364" y="4186321"/>
                  <a:pt x="2022943" y="4186542"/>
                  <a:pt x="2026380" y="4187098"/>
                </a:cubicBezTo>
                <a:cubicBezTo>
                  <a:pt x="2024375" y="4190875"/>
                  <a:pt x="2020652" y="4190986"/>
                  <a:pt x="2013490" y="4191430"/>
                </a:cubicBezTo>
                <a:cubicBezTo>
                  <a:pt x="2014636" y="4188764"/>
                  <a:pt x="2016067" y="4187431"/>
                  <a:pt x="2018359" y="4186876"/>
                </a:cubicBezTo>
                <a:close/>
                <a:moveTo>
                  <a:pt x="5999068" y="4186541"/>
                </a:moveTo>
                <a:cubicBezTo>
                  <a:pt x="5999354" y="4188098"/>
                  <a:pt x="5999354" y="4188098"/>
                  <a:pt x="6001646" y="4187654"/>
                </a:cubicBezTo>
                <a:cubicBezTo>
                  <a:pt x="6001646" y="4187654"/>
                  <a:pt x="6001932" y="4187654"/>
                  <a:pt x="6002792" y="4186653"/>
                </a:cubicBezTo>
                <a:cubicBezTo>
                  <a:pt x="6003938" y="4187210"/>
                  <a:pt x="6003078" y="4188208"/>
                  <a:pt x="6004224" y="4188765"/>
                </a:cubicBezTo>
                <a:cubicBezTo>
                  <a:pt x="6004224" y="4188765"/>
                  <a:pt x="6003364" y="4189764"/>
                  <a:pt x="6003364" y="4189764"/>
                </a:cubicBezTo>
                <a:cubicBezTo>
                  <a:pt x="6003938" y="4189986"/>
                  <a:pt x="6004224" y="4190097"/>
                  <a:pt x="6003651" y="4190208"/>
                </a:cubicBezTo>
                <a:cubicBezTo>
                  <a:pt x="6003078" y="4190319"/>
                  <a:pt x="6001932" y="4190430"/>
                  <a:pt x="6000214" y="4191097"/>
                </a:cubicBezTo>
                <a:cubicBezTo>
                  <a:pt x="5997922" y="4191541"/>
                  <a:pt x="5997062" y="4192541"/>
                  <a:pt x="5996490" y="4190986"/>
                </a:cubicBezTo>
                <a:cubicBezTo>
                  <a:pt x="5996203" y="4189542"/>
                  <a:pt x="5996203" y="4189432"/>
                  <a:pt x="5999068" y="4186541"/>
                </a:cubicBezTo>
                <a:close/>
                <a:moveTo>
                  <a:pt x="6590044" y="4186432"/>
                </a:moveTo>
                <a:cubicBezTo>
                  <a:pt x="6591762" y="4186432"/>
                  <a:pt x="6591762" y="4187654"/>
                  <a:pt x="6590330" y="4188986"/>
                </a:cubicBezTo>
                <a:cubicBezTo>
                  <a:pt x="6590330" y="4188986"/>
                  <a:pt x="6588898" y="4188986"/>
                  <a:pt x="6588898" y="4188986"/>
                </a:cubicBezTo>
                <a:cubicBezTo>
                  <a:pt x="6588898" y="4187654"/>
                  <a:pt x="6588611" y="4186321"/>
                  <a:pt x="6590044" y="4186432"/>
                </a:cubicBezTo>
                <a:close/>
                <a:moveTo>
                  <a:pt x="6704916" y="4185765"/>
                </a:moveTo>
                <a:cubicBezTo>
                  <a:pt x="6706921" y="4187653"/>
                  <a:pt x="6708353" y="4189542"/>
                  <a:pt x="6709212" y="4191208"/>
                </a:cubicBezTo>
                <a:cubicBezTo>
                  <a:pt x="6710072" y="4192875"/>
                  <a:pt x="6710358" y="4194430"/>
                  <a:pt x="6710933" y="4195651"/>
                </a:cubicBezTo>
                <a:cubicBezTo>
                  <a:pt x="6706922" y="4197762"/>
                  <a:pt x="6704629" y="4200095"/>
                  <a:pt x="6700618" y="4202206"/>
                </a:cubicBezTo>
                <a:lnTo>
                  <a:pt x="6700046" y="4202206"/>
                </a:lnTo>
                <a:lnTo>
                  <a:pt x="6700046" y="4202427"/>
                </a:lnTo>
                <a:lnTo>
                  <a:pt x="6697755" y="4204205"/>
                </a:lnTo>
                <a:lnTo>
                  <a:pt x="6701192" y="4204982"/>
                </a:lnTo>
                <a:cubicBezTo>
                  <a:pt x="6707494" y="4209204"/>
                  <a:pt x="6708640" y="4212980"/>
                  <a:pt x="6708353" y="4216535"/>
                </a:cubicBezTo>
                <a:cubicBezTo>
                  <a:pt x="6708353" y="4216535"/>
                  <a:pt x="6708353" y="4216423"/>
                  <a:pt x="6708641" y="4215313"/>
                </a:cubicBezTo>
                <a:cubicBezTo>
                  <a:pt x="6715803" y="4211314"/>
                  <a:pt x="6728407" y="4204427"/>
                  <a:pt x="6733276" y="4206093"/>
                </a:cubicBezTo>
                <a:cubicBezTo>
                  <a:pt x="6732989" y="4207315"/>
                  <a:pt x="6732989" y="4208537"/>
                  <a:pt x="6731271" y="4209537"/>
                </a:cubicBezTo>
                <a:cubicBezTo>
                  <a:pt x="6729552" y="4210536"/>
                  <a:pt x="6729552" y="4209314"/>
                  <a:pt x="6729265" y="4210536"/>
                </a:cubicBezTo>
                <a:cubicBezTo>
                  <a:pt x="6727546" y="4211425"/>
                  <a:pt x="6729265" y="4211647"/>
                  <a:pt x="6729265" y="4211647"/>
                </a:cubicBezTo>
                <a:cubicBezTo>
                  <a:pt x="6729265" y="4211647"/>
                  <a:pt x="6727546" y="4211425"/>
                  <a:pt x="6727546" y="4211425"/>
                </a:cubicBezTo>
                <a:cubicBezTo>
                  <a:pt x="6727546" y="4211425"/>
                  <a:pt x="6727546" y="4211425"/>
                  <a:pt x="6724108" y="4213425"/>
                </a:cubicBezTo>
                <a:cubicBezTo>
                  <a:pt x="6720384" y="4216645"/>
                  <a:pt x="6720098" y="4217757"/>
                  <a:pt x="6718380" y="4219868"/>
                </a:cubicBezTo>
                <a:cubicBezTo>
                  <a:pt x="6714656" y="4221867"/>
                  <a:pt x="6712936" y="4221756"/>
                  <a:pt x="6707780" y="4223533"/>
                </a:cubicBezTo>
                <a:cubicBezTo>
                  <a:pt x="6704629" y="4221978"/>
                  <a:pt x="6704629" y="4221978"/>
                  <a:pt x="6704629" y="4220756"/>
                </a:cubicBezTo>
                <a:cubicBezTo>
                  <a:pt x="6704629" y="4221978"/>
                  <a:pt x="6702910" y="4221756"/>
                  <a:pt x="6700905" y="4222756"/>
                </a:cubicBezTo>
                <a:lnTo>
                  <a:pt x="6696608" y="4225089"/>
                </a:lnTo>
                <a:lnTo>
                  <a:pt x="6696322" y="4227866"/>
                </a:lnTo>
                <a:cubicBezTo>
                  <a:pt x="6696322" y="4228976"/>
                  <a:pt x="6695749" y="4230309"/>
                  <a:pt x="6693744" y="4231976"/>
                </a:cubicBezTo>
                <a:cubicBezTo>
                  <a:pt x="6689733" y="4230421"/>
                  <a:pt x="6687442" y="4228421"/>
                  <a:pt x="6683431" y="4226866"/>
                </a:cubicBezTo>
                <a:lnTo>
                  <a:pt x="6688300" y="4223644"/>
                </a:lnTo>
                <a:lnTo>
                  <a:pt x="6679419" y="4219201"/>
                </a:lnTo>
                <a:cubicBezTo>
                  <a:pt x="6681139" y="4218201"/>
                  <a:pt x="6676269" y="4215424"/>
                  <a:pt x="6674837" y="4212869"/>
                </a:cubicBezTo>
                <a:cubicBezTo>
                  <a:pt x="6675410" y="4209315"/>
                  <a:pt x="6675410" y="4206982"/>
                  <a:pt x="6679134" y="4204982"/>
                </a:cubicBezTo>
                <a:lnTo>
                  <a:pt x="6685149" y="4203539"/>
                </a:lnTo>
                <a:lnTo>
                  <a:pt x="6682858" y="4202427"/>
                </a:lnTo>
                <a:cubicBezTo>
                  <a:pt x="6681712" y="4201095"/>
                  <a:pt x="6680852" y="4199872"/>
                  <a:pt x="6678561" y="4199095"/>
                </a:cubicBezTo>
                <a:cubicBezTo>
                  <a:pt x="6679993" y="4198206"/>
                  <a:pt x="6681712" y="4196762"/>
                  <a:pt x="6684290" y="4195873"/>
                </a:cubicBezTo>
                <a:lnTo>
                  <a:pt x="6688874" y="4195651"/>
                </a:lnTo>
                <a:lnTo>
                  <a:pt x="6688301" y="4193985"/>
                </a:lnTo>
                <a:cubicBezTo>
                  <a:pt x="6689446" y="4189652"/>
                  <a:pt x="6695749" y="4185209"/>
                  <a:pt x="6704916" y="4185765"/>
                </a:cubicBezTo>
                <a:close/>
                <a:moveTo>
                  <a:pt x="6171232" y="4185321"/>
                </a:moveTo>
                <a:cubicBezTo>
                  <a:pt x="6172665" y="4184876"/>
                  <a:pt x="6172665" y="4184876"/>
                  <a:pt x="6173238" y="4185987"/>
                </a:cubicBezTo>
                <a:lnTo>
                  <a:pt x="6173238" y="4185432"/>
                </a:lnTo>
                <a:lnTo>
                  <a:pt x="6176102" y="4187542"/>
                </a:lnTo>
                <a:cubicBezTo>
                  <a:pt x="6176389" y="4188652"/>
                  <a:pt x="6176389" y="4190097"/>
                  <a:pt x="6176389" y="4191430"/>
                </a:cubicBezTo>
                <a:cubicBezTo>
                  <a:pt x="6174956" y="4191874"/>
                  <a:pt x="6174670" y="4191874"/>
                  <a:pt x="6172665" y="4191319"/>
                </a:cubicBezTo>
                <a:cubicBezTo>
                  <a:pt x="6171232" y="4191764"/>
                  <a:pt x="6171806" y="4186432"/>
                  <a:pt x="6171232" y="4185321"/>
                </a:cubicBezTo>
                <a:close/>
                <a:moveTo>
                  <a:pt x="6155764" y="4185321"/>
                </a:moveTo>
                <a:cubicBezTo>
                  <a:pt x="6156623" y="4186432"/>
                  <a:pt x="6157196" y="4187431"/>
                  <a:pt x="6157768" y="4188542"/>
                </a:cubicBezTo>
                <a:cubicBezTo>
                  <a:pt x="6156910" y="4189986"/>
                  <a:pt x="6156910" y="4190097"/>
                  <a:pt x="6154904" y="4189431"/>
                </a:cubicBezTo>
                <a:cubicBezTo>
                  <a:pt x="6154331" y="4188431"/>
                  <a:pt x="6153759" y="4187320"/>
                  <a:pt x="6155190" y="4186876"/>
                </a:cubicBezTo>
                <a:cubicBezTo>
                  <a:pt x="6154618" y="4185765"/>
                  <a:pt x="6154331" y="4185876"/>
                  <a:pt x="6155764" y="4185321"/>
                </a:cubicBezTo>
                <a:close/>
                <a:moveTo>
                  <a:pt x="6173810" y="4184543"/>
                </a:moveTo>
                <a:lnTo>
                  <a:pt x="6173238" y="4185432"/>
                </a:lnTo>
                <a:lnTo>
                  <a:pt x="6172665" y="4184876"/>
                </a:lnTo>
                <a:cubicBezTo>
                  <a:pt x="6173238" y="4184543"/>
                  <a:pt x="6173524" y="4184432"/>
                  <a:pt x="6173810" y="4184543"/>
                </a:cubicBezTo>
                <a:close/>
                <a:moveTo>
                  <a:pt x="6216208" y="4184098"/>
                </a:moveTo>
                <a:cubicBezTo>
                  <a:pt x="6221078" y="4184321"/>
                  <a:pt x="6225661" y="4185320"/>
                  <a:pt x="6227952" y="4186432"/>
                </a:cubicBezTo>
                <a:cubicBezTo>
                  <a:pt x="6229385" y="4190320"/>
                  <a:pt x="6228526" y="4193097"/>
                  <a:pt x="6225947" y="4194763"/>
                </a:cubicBezTo>
                <a:cubicBezTo>
                  <a:pt x="6224228" y="4196096"/>
                  <a:pt x="6221650" y="4196651"/>
                  <a:pt x="6219073" y="4196873"/>
                </a:cubicBezTo>
                <a:lnTo>
                  <a:pt x="6215349" y="4196429"/>
                </a:lnTo>
                <a:lnTo>
                  <a:pt x="6214203" y="4197762"/>
                </a:lnTo>
                <a:cubicBezTo>
                  <a:pt x="6213056" y="4197539"/>
                  <a:pt x="6212484" y="4197429"/>
                  <a:pt x="6211910" y="4197096"/>
                </a:cubicBezTo>
                <a:lnTo>
                  <a:pt x="6211051" y="4195874"/>
                </a:lnTo>
                <a:lnTo>
                  <a:pt x="6204749" y="4191986"/>
                </a:lnTo>
                <a:cubicBezTo>
                  <a:pt x="6203603" y="4190208"/>
                  <a:pt x="6203030" y="4188098"/>
                  <a:pt x="6203890" y="4185543"/>
                </a:cubicBezTo>
                <a:cubicBezTo>
                  <a:pt x="6206468" y="4184098"/>
                  <a:pt x="6211338" y="4183765"/>
                  <a:pt x="6216208" y="4184098"/>
                </a:cubicBezTo>
                <a:close/>
                <a:moveTo>
                  <a:pt x="5981306" y="4184098"/>
                </a:moveTo>
                <a:cubicBezTo>
                  <a:pt x="5982739" y="4184098"/>
                  <a:pt x="5983598" y="4184321"/>
                  <a:pt x="5985890" y="4184876"/>
                </a:cubicBezTo>
                <a:cubicBezTo>
                  <a:pt x="5984458" y="4185321"/>
                  <a:pt x="5981880" y="4187542"/>
                  <a:pt x="5979588" y="4186987"/>
                </a:cubicBezTo>
                <a:cubicBezTo>
                  <a:pt x="5977296" y="4186541"/>
                  <a:pt x="5977296" y="4186541"/>
                  <a:pt x="5976150" y="4184432"/>
                </a:cubicBezTo>
                <a:cubicBezTo>
                  <a:pt x="5978728" y="4184099"/>
                  <a:pt x="5980161" y="4183988"/>
                  <a:pt x="5981306" y="4184098"/>
                </a:cubicBezTo>
                <a:close/>
                <a:moveTo>
                  <a:pt x="6637310" y="4183654"/>
                </a:moveTo>
                <a:cubicBezTo>
                  <a:pt x="6641894" y="4183988"/>
                  <a:pt x="6646477" y="4185876"/>
                  <a:pt x="6645331" y="4190430"/>
                </a:cubicBezTo>
                <a:cubicBezTo>
                  <a:pt x="6645331" y="4191652"/>
                  <a:pt x="6644185" y="4192430"/>
                  <a:pt x="6642180" y="4192875"/>
                </a:cubicBezTo>
                <a:cubicBezTo>
                  <a:pt x="6636737" y="4194096"/>
                  <a:pt x="6625852" y="4191652"/>
                  <a:pt x="6626424" y="4186653"/>
                </a:cubicBezTo>
                <a:cubicBezTo>
                  <a:pt x="6627284" y="4184655"/>
                  <a:pt x="6632440" y="4183321"/>
                  <a:pt x="6637310" y="4183654"/>
                </a:cubicBezTo>
                <a:close/>
                <a:moveTo>
                  <a:pt x="5989041" y="4182988"/>
                </a:moveTo>
                <a:cubicBezTo>
                  <a:pt x="5989614" y="4182877"/>
                  <a:pt x="5990187" y="4182988"/>
                  <a:pt x="5990474" y="4183432"/>
                </a:cubicBezTo>
                <a:cubicBezTo>
                  <a:pt x="5991046" y="4184432"/>
                  <a:pt x="5989329" y="4184987"/>
                  <a:pt x="5987036" y="4184543"/>
                </a:cubicBezTo>
                <a:cubicBezTo>
                  <a:pt x="5987036" y="4184543"/>
                  <a:pt x="5986463" y="4183655"/>
                  <a:pt x="5986463" y="4183655"/>
                </a:cubicBezTo>
                <a:cubicBezTo>
                  <a:pt x="5987322" y="4183321"/>
                  <a:pt x="5988182" y="4183099"/>
                  <a:pt x="5989041" y="4182988"/>
                </a:cubicBezTo>
                <a:close/>
                <a:moveTo>
                  <a:pt x="6580304" y="4182543"/>
                </a:moveTo>
                <a:cubicBezTo>
                  <a:pt x="6581450" y="4182766"/>
                  <a:pt x="6582022" y="4183321"/>
                  <a:pt x="6582022" y="4183988"/>
                </a:cubicBezTo>
                <a:cubicBezTo>
                  <a:pt x="6582022" y="4184655"/>
                  <a:pt x="6581450" y="4185432"/>
                  <a:pt x="6581163" y="4186210"/>
                </a:cubicBezTo>
                <a:cubicBezTo>
                  <a:pt x="6580590" y="4187876"/>
                  <a:pt x="6579730" y="4189542"/>
                  <a:pt x="6578872" y="4191208"/>
                </a:cubicBezTo>
                <a:cubicBezTo>
                  <a:pt x="6578872" y="4191208"/>
                  <a:pt x="6579158" y="4191320"/>
                  <a:pt x="6580304" y="4182543"/>
                </a:cubicBezTo>
                <a:close/>
                <a:moveTo>
                  <a:pt x="6970468" y="4182211"/>
                </a:moveTo>
                <a:lnTo>
                  <a:pt x="6969036" y="4182987"/>
                </a:lnTo>
                <a:lnTo>
                  <a:pt x="6970754" y="4184210"/>
                </a:lnTo>
                <a:cubicBezTo>
                  <a:pt x="6970754" y="4184210"/>
                  <a:pt x="6970754" y="4184321"/>
                  <a:pt x="6969895" y="4183321"/>
                </a:cubicBezTo>
                <a:close/>
                <a:moveTo>
                  <a:pt x="5753281" y="4181100"/>
                </a:moveTo>
                <a:cubicBezTo>
                  <a:pt x="5754714" y="4181654"/>
                  <a:pt x="5756146" y="4182988"/>
                  <a:pt x="5757005" y="4185764"/>
                </a:cubicBezTo>
                <a:cubicBezTo>
                  <a:pt x="5751276" y="4188098"/>
                  <a:pt x="5748124" y="4188320"/>
                  <a:pt x="5746692" y="4187654"/>
                </a:cubicBezTo>
                <a:cubicBezTo>
                  <a:pt x="5743542" y="4185986"/>
                  <a:pt x="5748984" y="4179544"/>
                  <a:pt x="5753281" y="4181100"/>
                </a:cubicBezTo>
                <a:close/>
                <a:moveTo>
                  <a:pt x="5998494" y="4180877"/>
                </a:moveTo>
                <a:cubicBezTo>
                  <a:pt x="5998494" y="4180877"/>
                  <a:pt x="5997349" y="4182322"/>
                  <a:pt x="5997349" y="4182322"/>
                </a:cubicBezTo>
                <a:cubicBezTo>
                  <a:pt x="5995057" y="4181877"/>
                  <a:pt x="5995630" y="4182877"/>
                  <a:pt x="5994484" y="4180989"/>
                </a:cubicBezTo>
                <a:cubicBezTo>
                  <a:pt x="5996776" y="4181433"/>
                  <a:pt x="5996776" y="4181433"/>
                  <a:pt x="5998494" y="4180877"/>
                </a:cubicBezTo>
                <a:close/>
                <a:moveTo>
                  <a:pt x="6681426" y="4180099"/>
                </a:moveTo>
                <a:cubicBezTo>
                  <a:pt x="6682285" y="4181099"/>
                  <a:pt x="6683718" y="4183210"/>
                  <a:pt x="6683144" y="4184876"/>
                </a:cubicBezTo>
                <a:cubicBezTo>
                  <a:pt x="6683718" y="4185876"/>
                  <a:pt x="6678561" y="4186765"/>
                  <a:pt x="6678561" y="4186765"/>
                </a:cubicBezTo>
                <a:cubicBezTo>
                  <a:pt x="6676269" y="4186321"/>
                  <a:pt x="6676842" y="4181988"/>
                  <a:pt x="6676269" y="4180989"/>
                </a:cubicBezTo>
                <a:cubicBezTo>
                  <a:pt x="6677702" y="4180322"/>
                  <a:pt x="6679993" y="4180655"/>
                  <a:pt x="6681426" y="4180099"/>
                </a:cubicBezTo>
                <a:close/>
                <a:moveTo>
                  <a:pt x="6658795" y="4179988"/>
                </a:moveTo>
                <a:cubicBezTo>
                  <a:pt x="6669680" y="4180211"/>
                  <a:pt x="6668248" y="4182544"/>
                  <a:pt x="6666243" y="4188209"/>
                </a:cubicBezTo>
                <a:cubicBezTo>
                  <a:pt x="6659083" y="4187542"/>
                  <a:pt x="6658222" y="4184876"/>
                  <a:pt x="6658795" y="4179988"/>
                </a:cubicBezTo>
                <a:close/>
                <a:moveTo>
                  <a:pt x="6554522" y="4179767"/>
                </a:moveTo>
                <a:cubicBezTo>
                  <a:pt x="6556527" y="4180433"/>
                  <a:pt x="6557386" y="4181766"/>
                  <a:pt x="6557672" y="4183321"/>
                </a:cubicBezTo>
                <a:cubicBezTo>
                  <a:pt x="6557673" y="4184765"/>
                  <a:pt x="6557100" y="4186432"/>
                  <a:pt x="6555954" y="4187876"/>
                </a:cubicBezTo>
                <a:cubicBezTo>
                  <a:pt x="6555669" y="4189208"/>
                  <a:pt x="6553949" y="4190097"/>
                  <a:pt x="6552230" y="4190652"/>
                </a:cubicBezTo>
                <a:cubicBezTo>
                  <a:pt x="6550512" y="4191320"/>
                  <a:pt x="6548506" y="4191541"/>
                  <a:pt x="6546501" y="4191430"/>
                </a:cubicBezTo>
                <a:cubicBezTo>
                  <a:pt x="6544496" y="4190653"/>
                  <a:pt x="6544496" y="4190653"/>
                  <a:pt x="6542490" y="4189986"/>
                </a:cubicBezTo>
                <a:cubicBezTo>
                  <a:pt x="6541631" y="4187765"/>
                  <a:pt x="6539053" y="4185987"/>
                  <a:pt x="6539912" y="4183432"/>
                </a:cubicBezTo>
                <a:cubicBezTo>
                  <a:pt x="6542204" y="4180433"/>
                  <a:pt x="6550798" y="4179432"/>
                  <a:pt x="6554522" y="4179767"/>
                </a:cubicBezTo>
                <a:close/>
                <a:moveTo>
                  <a:pt x="5952946" y="4177990"/>
                </a:moveTo>
                <a:cubicBezTo>
                  <a:pt x="5955238" y="4177656"/>
                  <a:pt x="5957530" y="4178100"/>
                  <a:pt x="5960108" y="4179655"/>
                </a:cubicBezTo>
                <a:cubicBezTo>
                  <a:pt x="5967270" y="4184542"/>
                  <a:pt x="5962400" y="4189097"/>
                  <a:pt x="5956098" y="4193541"/>
                </a:cubicBezTo>
                <a:cubicBezTo>
                  <a:pt x="5952661" y="4192318"/>
                  <a:pt x="5949222" y="4192207"/>
                  <a:pt x="5945785" y="4190986"/>
                </a:cubicBezTo>
                <a:cubicBezTo>
                  <a:pt x="5943207" y="4187320"/>
                  <a:pt x="5946644" y="4179211"/>
                  <a:pt x="5952946" y="4177990"/>
                </a:cubicBezTo>
                <a:close/>
                <a:moveTo>
                  <a:pt x="6833252" y="4177323"/>
                </a:moveTo>
                <a:cubicBezTo>
                  <a:pt x="6835257" y="4176990"/>
                  <a:pt x="6837548" y="4176878"/>
                  <a:pt x="6838122" y="4177656"/>
                </a:cubicBezTo>
                <a:cubicBezTo>
                  <a:pt x="6839840" y="4178989"/>
                  <a:pt x="6839840" y="4180100"/>
                  <a:pt x="6839554" y="4181322"/>
                </a:cubicBezTo>
                <a:cubicBezTo>
                  <a:pt x="6837835" y="4183432"/>
                  <a:pt x="6835830" y="4185543"/>
                  <a:pt x="6833824" y="4187653"/>
                </a:cubicBezTo>
                <a:cubicBezTo>
                  <a:pt x="6828668" y="4190542"/>
                  <a:pt x="6823226" y="4193429"/>
                  <a:pt x="6818355" y="4190653"/>
                </a:cubicBezTo>
                <a:cubicBezTo>
                  <a:pt x="6822080" y="4186320"/>
                  <a:pt x="6824085" y="4183099"/>
                  <a:pt x="6828096" y="4178878"/>
                </a:cubicBezTo>
                <a:cubicBezTo>
                  <a:pt x="6828954" y="4178322"/>
                  <a:pt x="6830960" y="4177656"/>
                  <a:pt x="6833252" y="4177323"/>
                </a:cubicBezTo>
                <a:close/>
                <a:moveTo>
                  <a:pt x="6347694" y="4176766"/>
                </a:moveTo>
                <a:cubicBezTo>
                  <a:pt x="6349414" y="4178211"/>
                  <a:pt x="6350846" y="4179656"/>
                  <a:pt x="6352278" y="4181099"/>
                </a:cubicBezTo>
                <a:cubicBezTo>
                  <a:pt x="6344544" y="4185765"/>
                  <a:pt x="6343111" y="4191541"/>
                  <a:pt x="6337382" y="4195430"/>
                </a:cubicBezTo>
                <a:cubicBezTo>
                  <a:pt x="6335090" y="4189097"/>
                  <a:pt x="6332226" y="4177990"/>
                  <a:pt x="6347694" y="4176766"/>
                </a:cubicBezTo>
                <a:close/>
                <a:moveTo>
                  <a:pt x="7092502" y="4176434"/>
                </a:moveTo>
                <a:cubicBezTo>
                  <a:pt x="7094794" y="4182432"/>
                  <a:pt x="7083908" y="4189097"/>
                  <a:pt x="7076174" y="4188542"/>
                </a:cubicBezTo>
                <a:cubicBezTo>
                  <a:pt x="7073595" y="4188431"/>
                  <a:pt x="7071590" y="4187431"/>
                  <a:pt x="7070444" y="4185321"/>
                </a:cubicBezTo>
                <a:cubicBezTo>
                  <a:pt x="7072450" y="4177878"/>
                  <a:pt x="7082189" y="4179877"/>
                  <a:pt x="7092502" y="4176434"/>
                </a:cubicBezTo>
                <a:close/>
                <a:moveTo>
                  <a:pt x="6025422" y="4175657"/>
                </a:moveTo>
                <a:cubicBezTo>
                  <a:pt x="6022271" y="4176767"/>
                  <a:pt x="6004510" y="4181433"/>
                  <a:pt x="5998782" y="4180988"/>
                </a:cubicBezTo>
                <a:cubicBezTo>
                  <a:pt x="6007088" y="4179433"/>
                  <a:pt x="6017401" y="4174656"/>
                  <a:pt x="6025422" y="4175657"/>
                </a:cubicBezTo>
                <a:close/>
                <a:moveTo>
                  <a:pt x="7272115" y="4174212"/>
                </a:moveTo>
                <a:cubicBezTo>
                  <a:pt x="7287585" y="4173879"/>
                  <a:pt x="7291023" y="4184543"/>
                  <a:pt x="7285006" y="4189542"/>
                </a:cubicBezTo>
                <a:cubicBezTo>
                  <a:pt x="7283000" y="4191208"/>
                  <a:pt x="7280136" y="4192318"/>
                  <a:pt x="7276126" y="4192097"/>
                </a:cubicBezTo>
                <a:cubicBezTo>
                  <a:pt x="7270682" y="4185765"/>
                  <a:pt x="7262948" y="4179100"/>
                  <a:pt x="7272115" y="4174212"/>
                </a:cubicBezTo>
                <a:close/>
                <a:moveTo>
                  <a:pt x="6370039" y="4173767"/>
                </a:moveTo>
                <a:cubicBezTo>
                  <a:pt x="6387226" y="4173102"/>
                  <a:pt x="6390378" y="4180989"/>
                  <a:pt x="6386081" y="4185765"/>
                </a:cubicBezTo>
                <a:cubicBezTo>
                  <a:pt x="6384648" y="4187431"/>
                  <a:pt x="6382357" y="4188653"/>
                  <a:pt x="6379492" y="4189097"/>
                </a:cubicBezTo>
                <a:cubicBezTo>
                  <a:pt x="6375482" y="4189764"/>
                  <a:pt x="6370612" y="4188986"/>
                  <a:pt x="6365169" y="4185765"/>
                </a:cubicBezTo>
                <a:cubicBezTo>
                  <a:pt x="6364596" y="4179877"/>
                  <a:pt x="6368606" y="4177767"/>
                  <a:pt x="6370039" y="4173767"/>
                </a:cubicBezTo>
                <a:close/>
                <a:moveTo>
                  <a:pt x="6093887" y="4173213"/>
                </a:moveTo>
                <a:cubicBezTo>
                  <a:pt x="6095892" y="4172880"/>
                  <a:pt x="6097611" y="4173213"/>
                  <a:pt x="6099044" y="4174768"/>
                </a:cubicBezTo>
                <a:cubicBezTo>
                  <a:pt x="6097899" y="4177323"/>
                  <a:pt x="6095320" y="4180211"/>
                  <a:pt x="6092742" y="4183099"/>
                </a:cubicBezTo>
                <a:cubicBezTo>
                  <a:pt x="6083288" y="4182322"/>
                  <a:pt x="6088444" y="4174434"/>
                  <a:pt x="6093887" y="4173213"/>
                </a:cubicBezTo>
                <a:close/>
                <a:moveTo>
                  <a:pt x="5730650" y="4170324"/>
                </a:moveTo>
                <a:cubicBezTo>
                  <a:pt x="5730650" y="4170324"/>
                  <a:pt x="5731510" y="4171102"/>
                  <a:pt x="5732082" y="4171880"/>
                </a:cubicBezTo>
                <a:cubicBezTo>
                  <a:pt x="5732942" y="4172768"/>
                  <a:pt x="5733515" y="4173879"/>
                  <a:pt x="5732942" y="4174657"/>
                </a:cubicBezTo>
                <a:cubicBezTo>
                  <a:pt x="5732656" y="4177323"/>
                  <a:pt x="5726067" y="4175657"/>
                  <a:pt x="5724634" y="4176212"/>
                </a:cubicBezTo>
                <a:cubicBezTo>
                  <a:pt x="5722343" y="4175657"/>
                  <a:pt x="5720338" y="4175101"/>
                  <a:pt x="5721197" y="4173546"/>
                </a:cubicBezTo>
                <a:cubicBezTo>
                  <a:pt x="5722056" y="4171880"/>
                  <a:pt x="5721484" y="4170880"/>
                  <a:pt x="5725208" y="4170880"/>
                </a:cubicBezTo>
                <a:cubicBezTo>
                  <a:pt x="5726926" y="4170324"/>
                  <a:pt x="5728932" y="4170879"/>
                  <a:pt x="5730650" y="4170324"/>
                </a:cubicBezTo>
                <a:close/>
                <a:moveTo>
                  <a:pt x="6005083" y="4169769"/>
                </a:moveTo>
                <a:cubicBezTo>
                  <a:pt x="6008807" y="4169769"/>
                  <a:pt x="6012532" y="4171769"/>
                  <a:pt x="6013390" y="4175990"/>
                </a:cubicBezTo>
                <a:cubicBezTo>
                  <a:pt x="6005942" y="4179544"/>
                  <a:pt x="6001072" y="4178767"/>
                  <a:pt x="5996490" y="4175767"/>
                </a:cubicBezTo>
                <a:cubicBezTo>
                  <a:pt x="5997348" y="4171769"/>
                  <a:pt x="6001072" y="4169769"/>
                  <a:pt x="6005083" y="4169769"/>
                </a:cubicBezTo>
                <a:close/>
                <a:moveTo>
                  <a:pt x="6051490" y="4169658"/>
                </a:moveTo>
                <a:cubicBezTo>
                  <a:pt x="6048912" y="4171657"/>
                  <a:pt x="6043470" y="4174768"/>
                  <a:pt x="6039172" y="4173768"/>
                </a:cubicBezTo>
                <a:cubicBezTo>
                  <a:pt x="6039172" y="4173768"/>
                  <a:pt x="6039172" y="4173768"/>
                  <a:pt x="6037167" y="4173213"/>
                </a:cubicBezTo>
                <a:cubicBezTo>
                  <a:pt x="6041750" y="4171768"/>
                  <a:pt x="6047766" y="4169658"/>
                  <a:pt x="6051490" y="4169658"/>
                </a:cubicBezTo>
                <a:close/>
                <a:moveTo>
                  <a:pt x="6670540" y="4168880"/>
                </a:moveTo>
                <a:cubicBezTo>
                  <a:pt x="6672545" y="4168770"/>
                  <a:pt x="6673978" y="4168769"/>
                  <a:pt x="6674838" y="4169436"/>
                </a:cubicBezTo>
                <a:cubicBezTo>
                  <a:pt x="6675982" y="4169991"/>
                  <a:pt x="6676269" y="4171213"/>
                  <a:pt x="6675982" y="4173323"/>
                </a:cubicBezTo>
                <a:cubicBezTo>
                  <a:pt x="6675982" y="4173323"/>
                  <a:pt x="6674550" y="4173990"/>
                  <a:pt x="6674550" y="4173990"/>
                </a:cubicBezTo>
                <a:cubicBezTo>
                  <a:pt x="6668534" y="4173768"/>
                  <a:pt x="6669394" y="4172102"/>
                  <a:pt x="6670540" y="4168880"/>
                </a:cubicBezTo>
                <a:close/>
                <a:moveTo>
                  <a:pt x="6130554" y="4167103"/>
                </a:moveTo>
                <a:cubicBezTo>
                  <a:pt x="6131987" y="4168547"/>
                  <a:pt x="6135138" y="4170212"/>
                  <a:pt x="6136284" y="4172768"/>
                </a:cubicBezTo>
                <a:cubicBezTo>
                  <a:pt x="6129695" y="4179877"/>
                  <a:pt x="6121674" y="4168103"/>
                  <a:pt x="6130554" y="4167103"/>
                </a:cubicBezTo>
                <a:close/>
                <a:moveTo>
                  <a:pt x="6480900" y="4165881"/>
                </a:moveTo>
                <a:cubicBezTo>
                  <a:pt x="6481760" y="4165881"/>
                  <a:pt x="6482906" y="4166103"/>
                  <a:pt x="6483765" y="4166325"/>
                </a:cubicBezTo>
                <a:cubicBezTo>
                  <a:pt x="6485484" y="4166992"/>
                  <a:pt x="6486630" y="4167992"/>
                  <a:pt x="6486630" y="4168547"/>
                </a:cubicBezTo>
                <a:cubicBezTo>
                  <a:pt x="6484911" y="4169547"/>
                  <a:pt x="6481474" y="4169325"/>
                  <a:pt x="6479754" y="4170325"/>
                </a:cubicBezTo>
                <a:cubicBezTo>
                  <a:pt x="6479754" y="4169214"/>
                  <a:pt x="6478036" y="4167770"/>
                  <a:pt x="6478036" y="4166658"/>
                </a:cubicBezTo>
                <a:cubicBezTo>
                  <a:pt x="6478896" y="4166103"/>
                  <a:pt x="6480041" y="4165880"/>
                  <a:pt x="6480900" y="4165881"/>
                </a:cubicBezTo>
                <a:close/>
                <a:moveTo>
                  <a:pt x="6983072" y="4164437"/>
                </a:moveTo>
                <a:cubicBezTo>
                  <a:pt x="6983932" y="4165437"/>
                  <a:pt x="6984792" y="4166437"/>
                  <a:pt x="6983932" y="4168103"/>
                </a:cubicBezTo>
                <a:cubicBezTo>
                  <a:pt x="6983359" y="4169769"/>
                  <a:pt x="6982500" y="4168770"/>
                  <a:pt x="6983072" y="4169769"/>
                </a:cubicBezTo>
                <a:cubicBezTo>
                  <a:pt x="6982500" y="4171436"/>
                  <a:pt x="6983932" y="4170769"/>
                  <a:pt x="6983932" y="4170769"/>
                </a:cubicBezTo>
                <a:cubicBezTo>
                  <a:pt x="6983932" y="4170769"/>
                  <a:pt x="6982500" y="4171325"/>
                  <a:pt x="6982500" y="4171325"/>
                </a:cubicBezTo>
                <a:cubicBezTo>
                  <a:pt x="6982500" y="4171325"/>
                  <a:pt x="6982500" y="4171325"/>
                  <a:pt x="6981068" y="4174657"/>
                </a:cubicBezTo>
                <a:cubicBezTo>
                  <a:pt x="6980494" y="4178878"/>
                  <a:pt x="6981068" y="4179988"/>
                  <a:pt x="6981354" y="4182544"/>
                </a:cubicBezTo>
                <a:cubicBezTo>
                  <a:pt x="6979922" y="4185876"/>
                  <a:pt x="6978201" y="4186432"/>
                  <a:pt x="6975338" y="4190319"/>
                </a:cubicBezTo>
                <a:cubicBezTo>
                  <a:pt x="6971614" y="4190542"/>
                  <a:pt x="6971614" y="4190542"/>
                  <a:pt x="6970754" y="4189542"/>
                </a:cubicBezTo>
                <a:cubicBezTo>
                  <a:pt x="6971614" y="4190542"/>
                  <a:pt x="6970182" y="4191096"/>
                  <a:pt x="6969322" y="4192763"/>
                </a:cubicBezTo>
                <a:cubicBezTo>
                  <a:pt x="6968750" y="4199650"/>
                  <a:pt x="6959869" y="4200761"/>
                  <a:pt x="6949270" y="4199872"/>
                </a:cubicBezTo>
                <a:cubicBezTo>
                  <a:pt x="6949842" y="4198206"/>
                  <a:pt x="6943827" y="4198095"/>
                  <a:pt x="6940962" y="4196651"/>
                </a:cubicBezTo>
                <a:cubicBezTo>
                  <a:pt x="6938670" y="4193652"/>
                  <a:pt x="6936952" y="4191652"/>
                  <a:pt x="6938384" y="4188431"/>
                </a:cubicBezTo>
                <a:cubicBezTo>
                  <a:pt x="6940676" y="4183543"/>
                  <a:pt x="6949556" y="4177100"/>
                  <a:pt x="6956145" y="4178322"/>
                </a:cubicBezTo>
                <a:cubicBezTo>
                  <a:pt x="6960442" y="4178545"/>
                  <a:pt x="6963593" y="4179211"/>
                  <a:pt x="6965884" y="4180322"/>
                </a:cubicBezTo>
                <a:lnTo>
                  <a:pt x="6967317" y="4181655"/>
                </a:lnTo>
                <a:lnTo>
                  <a:pt x="6965598" y="4177878"/>
                </a:lnTo>
                <a:cubicBezTo>
                  <a:pt x="6965598" y="4176101"/>
                  <a:pt x="6966744" y="4174435"/>
                  <a:pt x="6967604" y="4172768"/>
                </a:cubicBezTo>
                <a:cubicBezTo>
                  <a:pt x="6969608" y="4170658"/>
                  <a:pt x="6969608" y="4169436"/>
                  <a:pt x="6968176" y="4166992"/>
                </a:cubicBezTo>
                <a:cubicBezTo>
                  <a:pt x="6968176" y="4166992"/>
                  <a:pt x="6968176" y="4166992"/>
                  <a:pt x="6971614" y="4164992"/>
                </a:cubicBezTo>
                <a:lnTo>
                  <a:pt x="6973332" y="4165215"/>
                </a:lnTo>
                <a:cubicBezTo>
                  <a:pt x="6974192" y="4165548"/>
                  <a:pt x="6974478" y="4166548"/>
                  <a:pt x="6974478" y="4167880"/>
                </a:cubicBezTo>
                <a:cubicBezTo>
                  <a:pt x="6974765" y="4169769"/>
                  <a:pt x="6974192" y="4172434"/>
                  <a:pt x="6973332" y="4174657"/>
                </a:cubicBezTo>
                <a:lnTo>
                  <a:pt x="6972187" y="4178656"/>
                </a:lnTo>
                <a:lnTo>
                  <a:pt x="6975624" y="4171768"/>
                </a:lnTo>
                <a:cubicBezTo>
                  <a:pt x="6977916" y="4167992"/>
                  <a:pt x="6980494" y="4164881"/>
                  <a:pt x="6983072" y="4164437"/>
                </a:cubicBezTo>
                <a:close/>
                <a:moveTo>
                  <a:pt x="6009666" y="4163437"/>
                </a:moveTo>
                <a:cubicBezTo>
                  <a:pt x="6020552" y="4163548"/>
                  <a:pt x="6029146" y="4165992"/>
                  <a:pt x="6036594" y="4164437"/>
                </a:cubicBezTo>
                <a:cubicBezTo>
                  <a:pt x="6036594" y="4164437"/>
                  <a:pt x="6036594" y="4164437"/>
                  <a:pt x="6040032" y="4166991"/>
                </a:cubicBezTo>
                <a:cubicBezTo>
                  <a:pt x="6041750" y="4166992"/>
                  <a:pt x="6041750" y="4166992"/>
                  <a:pt x="6041750" y="4166992"/>
                </a:cubicBezTo>
                <a:cubicBezTo>
                  <a:pt x="6043470" y="4166992"/>
                  <a:pt x="6043756" y="4169436"/>
                  <a:pt x="6043756" y="4169436"/>
                </a:cubicBezTo>
                <a:cubicBezTo>
                  <a:pt x="6042037" y="4171768"/>
                  <a:pt x="6036881" y="4170435"/>
                  <a:pt x="6033730" y="4170324"/>
                </a:cubicBezTo>
                <a:cubicBezTo>
                  <a:pt x="6032011" y="4172546"/>
                  <a:pt x="6026854" y="4167658"/>
                  <a:pt x="6025136" y="4169991"/>
                </a:cubicBezTo>
                <a:cubicBezTo>
                  <a:pt x="6018261" y="4165103"/>
                  <a:pt x="6010240" y="4170769"/>
                  <a:pt x="5997922" y="4164437"/>
                </a:cubicBezTo>
                <a:cubicBezTo>
                  <a:pt x="6002218" y="4163659"/>
                  <a:pt x="6005942" y="4163437"/>
                  <a:pt x="6009666" y="4163437"/>
                </a:cubicBezTo>
                <a:close/>
                <a:moveTo>
                  <a:pt x="6804319" y="4163326"/>
                </a:moveTo>
                <a:cubicBezTo>
                  <a:pt x="6805751" y="4162660"/>
                  <a:pt x="6806610" y="4163659"/>
                  <a:pt x="6805178" y="4164214"/>
                </a:cubicBezTo>
                <a:cubicBezTo>
                  <a:pt x="6805178" y="4166881"/>
                  <a:pt x="6800881" y="4166103"/>
                  <a:pt x="6798590" y="4165658"/>
                </a:cubicBezTo>
                <a:cubicBezTo>
                  <a:pt x="6802886" y="4163882"/>
                  <a:pt x="6803746" y="4162327"/>
                  <a:pt x="6804319" y="4163326"/>
                </a:cubicBezTo>
                <a:close/>
                <a:moveTo>
                  <a:pt x="7099090" y="4162659"/>
                </a:moveTo>
                <a:cubicBezTo>
                  <a:pt x="7103388" y="4163437"/>
                  <a:pt x="7104247" y="4166992"/>
                  <a:pt x="7106538" y="4167436"/>
                </a:cubicBezTo>
                <a:cubicBezTo>
                  <a:pt x="7105106" y="4167992"/>
                  <a:pt x="7101955" y="4169324"/>
                  <a:pt x="7102242" y="4171879"/>
                </a:cubicBezTo>
                <a:cubicBezTo>
                  <a:pt x="7097658" y="4171213"/>
                  <a:pt x="7093075" y="4170435"/>
                  <a:pt x="7094507" y="4167214"/>
                </a:cubicBezTo>
                <a:cubicBezTo>
                  <a:pt x="7095081" y="4165659"/>
                  <a:pt x="7095940" y="4163993"/>
                  <a:pt x="7099090" y="4162659"/>
                </a:cubicBezTo>
                <a:close/>
                <a:moveTo>
                  <a:pt x="6593768" y="4161771"/>
                </a:moveTo>
                <a:cubicBezTo>
                  <a:pt x="6593768" y="4162993"/>
                  <a:pt x="6593768" y="4166770"/>
                  <a:pt x="6593194" y="4170768"/>
                </a:cubicBezTo>
                <a:lnTo>
                  <a:pt x="6592622" y="4174101"/>
                </a:lnTo>
                <a:lnTo>
                  <a:pt x="6594914" y="4174212"/>
                </a:lnTo>
                <a:cubicBezTo>
                  <a:pt x="6599784" y="4175767"/>
                  <a:pt x="6600929" y="4180766"/>
                  <a:pt x="6606372" y="4184766"/>
                </a:cubicBezTo>
                <a:cubicBezTo>
                  <a:pt x="6602648" y="4186764"/>
                  <a:pt x="6597777" y="4186654"/>
                  <a:pt x="6593768" y="4185432"/>
                </a:cubicBezTo>
                <a:lnTo>
                  <a:pt x="6588611" y="4182876"/>
                </a:lnTo>
                <a:lnTo>
                  <a:pt x="6585746" y="4179211"/>
                </a:lnTo>
                <a:cubicBezTo>
                  <a:pt x="6585460" y="4177544"/>
                  <a:pt x="6586033" y="4175657"/>
                  <a:pt x="6588611" y="4173991"/>
                </a:cubicBezTo>
                <a:lnTo>
                  <a:pt x="6590330" y="4173991"/>
                </a:lnTo>
                <a:lnTo>
                  <a:pt x="6590616" y="4170658"/>
                </a:lnTo>
                <a:cubicBezTo>
                  <a:pt x="6590903" y="4167214"/>
                  <a:pt x="6591476" y="4164103"/>
                  <a:pt x="6593768" y="4161771"/>
                </a:cubicBezTo>
                <a:close/>
                <a:moveTo>
                  <a:pt x="6411862" y="4160549"/>
                </a:moveTo>
                <a:cubicBezTo>
                  <a:pt x="6414727" y="4161771"/>
                  <a:pt x="6416446" y="4166658"/>
                  <a:pt x="6417878" y="4169881"/>
                </a:cubicBezTo>
                <a:cubicBezTo>
                  <a:pt x="6415300" y="4172768"/>
                  <a:pt x="6410144" y="4174545"/>
                  <a:pt x="6404128" y="4174657"/>
                </a:cubicBezTo>
                <a:cubicBezTo>
                  <a:pt x="6401550" y="4168214"/>
                  <a:pt x="6404701" y="4164214"/>
                  <a:pt x="6411862" y="4160549"/>
                </a:cubicBezTo>
                <a:close/>
                <a:moveTo>
                  <a:pt x="5867581" y="4158105"/>
                </a:moveTo>
                <a:cubicBezTo>
                  <a:pt x="5868726" y="4161215"/>
                  <a:pt x="5872736" y="4161105"/>
                  <a:pt x="5873882" y="4164214"/>
                </a:cubicBezTo>
                <a:cubicBezTo>
                  <a:pt x="5869300" y="4165437"/>
                  <a:pt x="5866148" y="4166992"/>
                  <a:pt x="5863856" y="4167547"/>
                </a:cubicBezTo>
                <a:cubicBezTo>
                  <a:pt x="5859560" y="4163437"/>
                  <a:pt x="5860705" y="4159772"/>
                  <a:pt x="5867581" y="4158105"/>
                </a:cubicBezTo>
                <a:close/>
                <a:moveTo>
                  <a:pt x="5821460" y="4158105"/>
                </a:moveTo>
                <a:cubicBezTo>
                  <a:pt x="5826902" y="4157883"/>
                  <a:pt x="5836642" y="4159550"/>
                  <a:pt x="5838074" y="4159549"/>
                </a:cubicBezTo>
                <a:cubicBezTo>
                  <a:pt x="5838074" y="4159549"/>
                  <a:pt x="5839794" y="4159660"/>
                  <a:pt x="5841512" y="4159772"/>
                </a:cubicBezTo>
                <a:cubicBezTo>
                  <a:pt x="5843231" y="4160882"/>
                  <a:pt x="5843231" y="4161993"/>
                  <a:pt x="5844950" y="4162104"/>
                </a:cubicBezTo>
                <a:cubicBezTo>
                  <a:pt x="5840080" y="4165437"/>
                  <a:pt x="5834924" y="4164103"/>
                  <a:pt x="5829767" y="4162771"/>
                </a:cubicBezTo>
                <a:cubicBezTo>
                  <a:pt x="5826330" y="4161549"/>
                  <a:pt x="5824610" y="4161438"/>
                  <a:pt x="5821460" y="4162549"/>
                </a:cubicBezTo>
                <a:cubicBezTo>
                  <a:pt x="5821460" y="4162549"/>
                  <a:pt x="5821460" y="4162549"/>
                  <a:pt x="5817736" y="4160104"/>
                </a:cubicBezTo>
                <a:lnTo>
                  <a:pt x="5817736" y="4158994"/>
                </a:lnTo>
                <a:cubicBezTo>
                  <a:pt x="5818022" y="4158327"/>
                  <a:pt x="5819454" y="4158105"/>
                  <a:pt x="5821460" y="4158105"/>
                </a:cubicBezTo>
                <a:close/>
                <a:moveTo>
                  <a:pt x="6154044" y="4154550"/>
                </a:moveTo>
                <a:cubicBezTo>
                  <a:pt x="6168941" y="4158326"/>
                  <a:pt x="6166649" y="4168769"/>
                  <a:pt x="6158342" y="4171656"/>
                </a:cubicBezTo>
                <a:cubicBezTo>
                  <a:pt x="6155477" y="4172657"/>
                  <a:pt x="6152041" y="4172879"/>
                  <a:pt x="6148602" y="4171656"/>
                </a:cubicBezTo>
                <a:cubicBezTo>
                  <a:pt x="6146596" y="4164548"/>
                  <a:pt x="6142872" y="4156660"/>
                  <a:pt x="6154044" y="4154550"/>
                </a:cubicBezTo>
                <a:close/>
                <a:moveTo>
                  <a:pt x="7075028" y="4152885"/>
                </a:moveTo>
                <a:cubicBezTo>
                  <a:pt x="7076747" y="4153107"/>
                  <a:pt x="7076460" y="4153107"/>
                  <a:pt x="7076460" y="4153107"/>
                </a:cubicBezTo>
                <a:cubicBezTo>
                  <a:pt x="7075028" y="4156439"/>
                  <a:pt x="7079038" y="4161104"/>
                  <a:pt x="7079324" y="4165548"/>
                </a:cubicBezTo>
                <a:cubicBezTo>
                  <a:pt x="7079324" y="4167103"/>
                  <a:pt x="7079324" y="4168547"/>
                  <a:pt x="7078178" y="4169880"/>
                </a:cubicBezTo>
                <a:cubicBezTo>
                  <a:pt x="7078178" y="4169880"/>
                  <a:pt x="7078178" y="4169880"/>
                  <a:pt x="7078465" y="4168658"/>
                </a:cubicBezTo>
                <a:cubicBezTo>
                  <a:pt x="7078465" y="4168658"/>
                  <a:pt x="7078465" y="4169880"/>
                  <a:pt x="7076746" y="4169769"/>
                </a:cubicBezTo>
                <a:cubicBezTo>
                  <a:pt x="7072450" y="4163326"/>
                  <a:pt x="7075028" y="4154106"/>
                  <a:pt x="7075028" y="4152885"/>
                </a:cubicBezTo>
                <a:close/>
                <a:moveTo>
                  <a:pt x="6074980" y="4152662"/>
                </a:moveTo>
                <a:cubicBezTo>
                  <a:pt x="6075554" y="4154217"/>
                  <a:pt x="6076413" y="4155216"/>
                  <a:pt x="6076700" y="4155773"/>
                </a:cubicBezTo>
                <a:cubicBezTo>
                  <a:pt x="6077272" y="4156438"/>
                  <a:pt x="6077558" y="4156661"/>
                  <a:pt x="6076701" y="4156883"/>
                </a:cubicBezTo>
                <a:cubicBezTo>
                  <a:pt x="6076986" y="4157883"/>
                  <a:pt x="6075554" y="4158327"/>
                  <a:pt x="6074980" y="4157327"/>
                </a:cubicBezTo>
                <a:cubicBezTo>
                  <a:pt x="6071256" y="4156994"/>
                  <a:pt x="6073834" y="4154106"/>
                  <a:pt x="6074980" y="4152662"/>
                </a:cubicBezTo>
                <a:close/>
                <a:moveTo>
                  <a:pt x="7083335" y="4151218"/>
                </a:moveTo>
                <a:cubicBezTo>
                  <a:pt x="7097944" y="4161216"/>
                  <a:pt x="7088778" y="4167214"/>
                  <a:pt x="7096799" y="4172880"/>
                </a:cubicBezTo>
                <a:cubicBezTo>
                  <a:pt x="7093075" y="4173657"/>
                  <a:pt x="7093075" y="4173657"/>
                  <a:pt x="7089924" y="4172102"/>
                </a:cubicBezTo>
                <a:cubicBezTo>
                  <a:pt x="7089924" y="4170991"/>
                  <a:pt x="7088205" y="4170768"/>
                  <a:pt x="7090210" y="4169769"/>
                </a:cubicBezTo>
                <a:cubicBezTo>
                  <a:pt x="7085340" y="4166881"/>
                  <a:pt x="7081044" y="4155773"/>
                  <a:pt x="7083335" y="4151218"/>
                </a:cubicBezTo>
                <a:close/>
                <a:moveTo>
                  <a:pt x="5895940" y="4150884"/>
                </a:moveTo>
                <a:lnTo>
                  <a:pt x="5897372" y="4151662"/>
                </a:lnTo>
                <a:lnTo>
                  <a:pt x="5897372" y="4150996"/>
                </a:lnTo>
                <a:close/>
                <a:moveTo>
                  <a:pt x="6437644" y="4149996"/>
                </a:moveTo>
                <a:cubicBezTo>
                  <a:pt x="6450249" y="4148886"/>
                  <a:pt x="6460275" y="4156439"/>
                  <a:pt x="6463426" y="4165325"/>
                </a:cubicBezTo>
                <a:lnTo>
                  <a:pt x="6463712" y="4167880"/>
                </a:lnTo>
                <a:lnTo>
                  <a:pt x="6466291" y="4169547"/>
                </a:lnTo>
                <a:cubicBezTo>
                  <a:pt x="6467150" y="4170547"/>
                  <a:pt x="6467723" y="4171657"/>
                  <a:pt x="6467436" y="4173546"/>
                </a:cubicBezTo>
                <a:lnTo>
                  <a:pt x="6463999" y="4171547"/>
                </a:lnTo>
                <a:lnTo>
                  <a:pt x="6463999" y="4174323"/>
                </a:lnTo>
                <a:cubicBezTo>
                  <a:pt x="6462280" y="4182543"/>
                  <a:pt x="6453400" y="4189764"/>
                  <a:pt x="6434494" y="4190320"/>
                </a:cubicBezTo>
                <a:cubicBezTo>
                  <a:pt x="6418165" y="4177100"/>
                  <a:pt x="6414728" y="4158772"/>
                  <a:pt x="6429910" y="4151662"/>
                </a:cubicBezTo>
                <a:cubicBezTo>
                  <a:pt x="6432488" y="4150774"/>
                  <a:pt x="6435066" y="4150218"/>
                  <a:pt x="6437644" y="4149996"/>
                </a:cubicBezTo>
                <a:close/>
                <a:moveTo>
                  <a:pt x="5937764" y="4147219"/>
                </a:moveTo>
                <a:cubicBezTo>
                  <a:pt x="5941488" y="4147219"/>
                  <a:pt x="5945785" y="4148330"/>
                  <a:pt x="5950368" y="4149329"/>
                </a:cubicBezTo>
                <a:cubicBezTo>
                  <a:pt x="5949796" y="4158326"/>
                  <a:pt x="5929456" y="4152551"/>
                  <a:pt x="5937764" y="4147219"/>
                </a:cubicBezTo>
                <a:close/>
                <a:moveTo>
                  <a:pt x="6515562" y="4145997"/>
                </a:moveTo>
                <a:cubicBezTo>
                  <a:pt x="6519000" y="4145997"/>
                  <a:pt x="6522152" y="4146553"/>
                  <a:pt x="6525589" y="4147663"/>
                </a:cubicBezTo>
                <a:lnTo>
                  <a:pt x="6521578" y="4154439"/>
                </a:lnTo>
                <a:lnTo>
                  <a:pt x="6525589" y="4154884"/>
                </a:lnTo>
                <a:cubicBezTo>
                  <a:pt x="6527022" y="4155106"/>
                  <a:pt x="6528454" y="4155773"/>
                  <a:pt x="6529600" y="4156772"/>
                </a:cubicBezTo>
                <a:lnTo>
                  <a:pt x="6529026" y="4158550"/>
                </a:lnTo>
                <a:lnTo>
                  <a:pt x="6539626" y="4155439"/>
                </a:lnTo>
                <a:cubicBezTo>
                  <a:pt x="6542204" y="4155217"/>
                  <a:pt x="6545068" y="4155217"/>
                  <a:pt x="6547646" y="4155551"/>
                </a:cubicBezTo>
                <a:cubicBezTo>
                  <a:pt x="6555954" y="4156438"/>
                  <a:pt x="6563975" y="4159772"/>
                  <a:pt x="6571996" y="4162993"/>
                </a:cubicBezTo>
                <a:cubicBezTo>
                  <a:pt x="6565408" y="4170102"/>
                  <a:pt x="6551085" y="4167992"/>
                  <a:pt x="6539053" y="4163548"/>
                </a:cubicBezTo>
                <a:lnTo>
                  <a:pt x="6528740" y="4158994"/>
                </a:lnTo>
                <a:lnTo>
                  <a:pt x="6527594" y="4162548"/>
                </a:lnTo>
                <a:cubicBezTo>
                  <a:pt x="6513844" y="4169769"/>
                  <a:pt x="6505250" y="4165437"/>
                  <a:pt x="6503531" y="4166548"/>
                </a:cubicBezTo>
                <a:cubicBezTo>
                  <a:pt x="6498662" y="4162548"/>
                  <a:pt x="6502099" y="4160438"/>
                  <a:pt x="6505536" y="4155994"/>
                </a:cubicBezTo>
                <a:cubicBezTo>
                  <a:pt x="6506397" y="4156661"/>
                  <a:pt x="6508114" y="4156217"/>
                  <a:pt x="6509834" y="4155440"/>
                </a:cubicBezTo>
                <a:lnTo>
                  <a:pt x="6512125" y="4154217"/>
                </a:lnTo>
                <a:lnTo>
                  <a:pt x="6510693" y="4151218"/>
                </a:lnTo>
                <a:cubicBezTo>
                  <a:pt x="6509547" y="4149774"/>
                  <a:pt x="6507828" y="4148441"/>
                  <a:pt x="6504965" y="4146774"/>
                </a:cubicBezTo>
                <a:cubicBezTo>
                  <a:pt x="6508688" y="4146220"/>
                  <a:pt x="6512125" y="4145886"/>
                  <a:pt x="6515562" y="4145997"/>
                </a:cubicBezTo>
                <a:close/>
                <a:moveTo>
                  <a:pt x="6561970" y="4144219"/>
                </a:moveTo>
                <a:cubicBezTo>
                  <a:pt x="6564262" y="4144886"/>
                  <a:pt x="6565121" y="4145997"/>
                  <a:pt x="6565121" y="4146997"/>
                </a:cubicBezTo>
                <a:cubicBezTo>
                  <a:pt x="6565408" y="4147997"/>
                  <a:pt x="6564834" y="4148996"/>
                  <a:pt x="6564262" y="4149774"/>
                </a:cubicBezTo>
                <a:cubicBezTo>
                  <a:pt x="6563975" y="4151662"/>
                  <a:pt x="6562257" y="4152995"/>
                  <a:pt x="6559964" y="4153884"/>
                </a:cubicBezTo>
                <a:cubicBezTo>
                  <a:pt x="6557673" y="4154773"/>
                  <a:pt x="6554522" y="4155217"/>
                  <a:pt x="6551657" y="4155327"/>
                </a:cubicBezTo>
                <a:cubicBezTo>
                  <a:pt x="6553376" y="4154884"/>
                  <a:pt x="6553376" y="4154884"/>
                  <a:pt x="6553376" y="4154884"/>
                </a:cubicBezTo>
                <a:cubicBezTo>
                  <a:pt x="6554807" y="4153329"/>
                  <a:pt x="6553090" y="4153773"/>
                  <a:pt x="6552516" y="4152662"/>
                </a:cubicBezTo>
                <a:cubicBezTo>
                  <a:pt x="6552516" y="4152662"/>
                  <a:pt x="6553090" y="4153773"/>
                  <a:pt x="6551084" y="4152996"/>
                </a:cubicBezTo>
                <a:cubicBezTo>
                  <a:pt x="6552516" y="4152551"/>
                  <a:pt x="6552230" y="4151551"/>
                  <a:pt x="6551657" y="4150441"/>
                </a:cubicBezTo>
                <a:cubicBezTo>
                  <a:pt x="6554236" y="4147331"/>
                  <a:pt x="6558246" y="4143887"/>
                  <a:pt x="6561970" y="4144219"/>
                </a:cubicBezTo>
                <a:close/>
                <a:moveTo>
                  <a:pt x="6376054" y="4144109"/>
                </a:moveTo>
                <a:cubicBezTo>
                  <a:pt x="6378632" y="4144220"/>
                  <a:pt x="6381211" y="4144775"/>
                  <a:pt x="6384648" y="4145997"/>
                </a:cubicBezTo>
                <a:cubicBezTo>
                  <a:pt x="6386654" y="4154217"/>
                  <a:pt x="6394674" y="4168324"/>
                  <a:pt x="6376341" y="4172435"/>
                </a:cubicBezTo>
                <a:cubicBezTo>
                  <a:pt x="6360872" y="4164881"/>
                  <a:pt x="6358866" y="4143332"/>
                  <a:pt x="6376054" y="4144109"/>
                </a:cubicBezTo>
                <a:close/>
                <a:moveTo>
                  <a:pt x="6596059" y="4143553"/>
                </a:moveTo>
                <a:cubicBezTo>
                  <a:pt x="6597778" y="4145886"/>
                  <a:pt x="6599783" y="4150441"/>
                  <a:pt x="6596632" y="4152662"/>
                </a:cubicBezTo>
                <a:cubicBezTo>
                  <a:pt x="6596632" y="4152662"/>
                  <a:pt x="6596632" y="4152662"/>
                  <a:pt x="6595200" y="4153661"/>
                </a:cubicBezTo>
                <a:cubicBezTo>
                  <a:pt x="6594914" y="4150330"/>
                  <a:pt x="6594627" y="4145775"/>
                  <a:pt x="6596059" y="4143553"/>
                </a:cubicBezTo>
                <a:close/>
                <a:moveTo>
                  <a:pt x="6504104" y="4143553"/>
                </a:moveTo>
                <a:cubicBezTo>
                  <a:pt x="6504390" y="4147219"/>
                  <a:pt x="6502958" y="4149552"/>
                  <a:pt x="6499807" y="4150773"/>
                </a:cubicBezTo>
                <a:lnTo>
                  <a:pt x="6494078" y="4151218"/>
                </a:lnTo>
                <a:lnTo>
                  <a:pt x="6494364" y="4154440"/>
                </a:lnTo>
                <a:cubicBezTo>
                  <a:pt x="6493219" y="4157217"/>
                  <a:pt x="6490354" y="4160216"/>
                  <a:pt x="6484624" y="4162548"/>
                </a:cubicBezTo>
                <a:cubicBezTo>
                  <a:pt x="6476317" y="4162437"/>
                  <a:pt x="6466004" y="4153773"/>
                  <a:pt x="6468582" y="4149440"/>
                </a:cubicBezTo>
                <a:cubicBezTo>
                  <a:pt x="6476030" y="4143887"/>
                  <a:pt x="6483192" y="4142998"/>
                  <a:pt x="6488348" y="4144553"/>
                </a:cubicBezTo>
                <a:lnTo>
                  <a:pt x="6489781" y="4145775"/>
                </a:lnTo>
                <a:lnTo>
                  <a:pt x="6491501" y="4144998"/>
                </a:lnTo>
                <a:cubicBezTo>
                  <a:pt x="6494938" y="4144219"/>
                  <a:pt x="6499807" y="4144331"/>
                  <a:pt x="6504104" y="4143553"/>
                </a:cubicBezTo>
                <a:close/>
                <a:moveTo>
                  <a:pt x="6408712" y="4143332"/>
                </a:moveTo>
                <a:cubicBezTo>
                  <a:pt x="6410144" y="4142665"/>
                  <a:pt x="6411862" y="4142553"/>
                  <a:pt x="6413868" y="4143442"/>
                </a:cubicBezTo>
                <a:cubicBezTo>
                  <a:pt x="6413868" y="4145108"/>
                  <a:pt x="6414727" y="4147663"/>
                  <a:pt x="6413582" y="4149996"/>
                </a:cubicBezTo>
                <a:cubicBezTo>
                  <a:pt x="6404414" y="4151551"/>
                  <a:pt x="6404414" y="4145108"/>
                  <a:pt x="6408712" y="4143332"/>
                </a:cubicBezTo>
                <a:close/>
                <a:moveTo>
                  <a:pt x="6219072" y="4143220"/>
                </a:moveTo>
                <a:cubicBezTo>
                  <a:pt x="6229385" y="4146775"/>
                  <a:pt x="6242562" y="4148885"/>
                  <a:pt x="6251729" y="4154884"/>
                </a:cubicBezTo>
                <a:cubicBezTo>
                  <a:pt x="6240557" y="4157772"/>
                  <a:pt x="6217926" y="4154662"/>
                  <a:pt x="6219072" y="4143220"/>
                </a:cubicBezTo>
                <a:close/>
                <a:moveTo>
                  <a:pt x="6536761" y="4142554"/>
                </a:moveTo>
                <a:cubicBezTo>
                  <a:pt x="6540198" y="4143887"/>
                  <a:pt x="6541918" y="4145219"/>
                  <a:pt x="6543636" y="4146442"/>
                </a:cubicBezTo>
                <a:cubicBezTo>
                  <a:pt x="6547074" y="4147775"/>
                  <a:pt x="6547074" y="4148997"/>
                  <a:pt x="6543922" y="4151329"/>
                </a:cubicBezTo>
                <a:cubicBezTo>
                  <a:pt x="6540485" y="4149996"/>
                  <a:pt x="6535042" y="4144886"/>
                  <a:pt x="6536761" y="4142554"/>
                </a:cubicBezTo>
                <a:close/>
                <a:moveTo>
                  <a:pt x="6437645" y="4141443"/>
                </a:moveTo>
                <a:cubicBezTo>
                  <a:pt x="6434780" y="4145331"/>
                  <a:pt x="6425900" y="4151773"/>
                  <a:pt x="6423609" y="4151329"/>
                </a:cubicBezTo>
                <a:cubicBezTo>
                  <a:pt x="6425900" y="4149108"/>
                  <a:pt x="6433920" y="4141776"/>
                  <a:pt x="6437645" y="4141443"/>
                </a:cubicBezTo>
                <a:close/>
                <a:moveTo>
                  <a:pt x="7076174" y="4141109"/>
                </a:moveTo>
                <a:cubicBezTo>
                  <a:pt x="7077892" y="4142443"/>
                  <a:pt x="7079324" y="4144998"/>
                  <a:pt x="7080757" y="4146330"/>
                </a:cubicBezTo>
                <a:cubicBezTo>
                  <a:pt x="7080757" y="4146330"/>
                  <a:pt x="7080757" y="4146330"/>
                  <a:pt x="7079038" y="4147330"/>
                </a:cubicBezTo>
                <a:cubicBezTo>
                  <a:pt x="7079038" y="4144998"/>
                  <a:pt x="7072451" y="4142998"/>
                  <a:pt x="7076174" y="4141109"/>
                </a:cubicBezTo>
                <a:close/>
                <a:moveTo>
                  <a:pt x="6037454" y="4140887"/>
                </a:moveTo>
                <a:cubicBezTo>
                  <a:pt x="6039459" y="4140776"/>
                  <a:pt x="6041750" y="4141332"/>
                  <a:pt x="6044329" y="4142443"/>
                </a:cubicBezTo>
                <a:cubicBezTo>
                  <a:pt x="6051490" y="4152551"/>
                  <a:pt x="6038600" y="4157439"/>
                  <a:pt x="6029147" y="4154884"/>
                </a:cubicBezTo>
                <a:cubicBezTo>
                  <a:pt x="6025995" y="4154107"/>
                  <a:pt x="6023417" y="4152440"/>
                  <a:pt x="6021984" y="4149774"/>
                </a:cubicBezTo>
                <a:cubicBezTo>
                  <a:pt x="6026854" y="4145886"/>
                  <a:pt x="6031152" y="4141109"/>
                  <a:pt x="6037454" y="4140887"/>
                </a:cubicBezTo>
                <a:close/>
                <a:moveTo>
                  <a:pt x="5836069" y="4139443"/>
                </a:moveTo>
                <a:cubicBezTo>
                  <a:pt x="5840366" y="4139332"/>
                  <a:pt x="5843518" y="4140109"/>
                  <a:pt x="5845809" y="4143887"/>
                </a:cubicBezTo>
                <a:cubicBezTo>
                  <a:pt x="5841798" y="4147997"/>
                  <a:pt x="5830054" y="4147441"/>
                  <a:pt x="5819454" y="4147997"/>
                </a:cubicBezTo>
                <a:cubicBezTo>
                  <a:pt x="5819741" y="4144664"/>
                  <a:pt x="5820027" y="4142998"/>
                  <a:pt x="5819168" y="4140443"/>
                </a:cubicBezTo>
                <a:cubicBezTo>
                  <a:pt x="5826330" y="4140665"/>
                  <a:pt x="5831772" y="4139666"/>
                  <a:pt x="5836069" y="4139443"/>
                </a:cubicBezTo>
                <a:close/>
                <a:moveTo>
                  <a:pt x="6755334" y="4138999"/>
                </a:moveTo>
                <a:cubicBezTo>
                  <a:pt x="6760203" y="4141220"/>
                  <a:pt x="6762495" y="4141887"/>
                  <a:pt x="6765073" y="4143553"/>
                </a:cubicBezTo>
                <a:cubicBezTo>
                  <a:pt x="6766792" y="4142998"/>
                  <a:pt x="6768510" y="4142443"/>
                  <a:pt x="6770516" y="4142998"/>
                </a:cubicBezTo>
                <a:lnTo>
                  <a:pt x="6773094" y="4144664"/>
                </a:lnTo>
                <a:lnTo>
                  <a:pt x="6774813" y="4143664"/>
                </a:lnTo>
                <a:cubicBezTo>
                  <a:pt x="6775959" y="4142887"/>
                  <a:pt x="6777105" y="4141887"/>
                  <a:pt x="6778250" y="4140776"/>
                </a:cubicBezTo>
                <a:cubicBezTo>
                  <a:pt x="6784266" y="4146553"/>
                  <a:pt x="6791142" y="4148330"/>
                  <a:pt x="6792001" y="4152329"/>
                </a:cubicBezTo>
                <a:cubicBezTo>
                  <a:pt x="6792288" y="4153662"/>
                  <a:pt x="6792001" y="4155217"/>
                  <a:pt x="6790569" y="4157217"/>
                </a:cubicBezTo>
                <a:cubicBezTo>
                  <a:pt x="6787131" y="4157549"/>
                  <a:pt x="6783694" y="4156217"/>
                  <a:pt x="6780542" y="4154107"/>
                </a:cubicBezTo>
                <a:lnTo>
                  <a:pt x="6775386" y="4150218"/>
                </a:lnTo>
                <a:lnTo>
                  <a:pt x="6774813" y="4150774"/>
                </a:lnTo>
                <a:cubicBezTo>
                  <a:pt x="6773380" y="4151329"/>
                  <a:pt x="6771662" y="4151551"/>
                  <a:pt x="6769656" y="4150996"/>
                </a:cubicBezTo>
                <a:cubicBezTo>
                  <a:pt x="6763641" y="4150440"/>
                  <a:pt x="6761922" y="4147108"/>
                  <a:pt x="6761636" y="4143442"/>
                </a:cubicBezTo>
                <a:cubicBezTo>
                  <a:pt x="6758771" y="4141776"/>
                  <a:pt x="6755047" y="4141665"/>
                  <a:pt x="6755334" y="4138999"/>
                </a:cubicBezTo>
                <a:close/>
                <a:moveTo>
                  <a:pt x="6533324" y="4138554"/>
                </a:moveTo>
                <a:cubicBezTo>
                  <a:pt x="6534183" y="4138665"/>
                  <a:pt x="6534470" y="4138999"/>
                  <a:pt x="6534470" y="4138999"/>
                </a:cubicBezTo>
                <a:cubicBezTo>
                  <a:pt x="6536188" y="4140221"/>
                  <a:pt x="6537907" y="4141443"/>
                  <a:pt x="6536474" y="4142553"/>
                </a:cubicBezTo>
                <a:cubicBezTo>
                  <a:pt x="6536474" y="4142553"/>
                  <a:pt x="6534756" y="4142554"/>
                  <a:pt x="6531318" y="4140110"/>
                </a:cubicBezTo>
                <a:cubicBezTo>
                  <a:pt x="6532750" y="4140109"/>
                  <a:pt x="6532750" y="4138998"/>
                  <a:pt x="6532750" y="4138998"/>
                </a:cubicBezTo>
                <a:cubicBezTo>
                  <a:pt x="6532750" y="4138998"/>
                  <a:pt x="6532750" y="4138888"/>
                  <a:pt x="6531032" y="4138888"/>
                </a:cubicBezTo>
                <a:cubicBezTo>
                  <a:pt x="6531891" y="4138332"/>
                  <a:pt x="6532750" y="4138333"/>
                  <a:pt x="6533324" y="4138554"/>
                </a:cubicBezTo>
                <a:close/>
                <a:moveTo>
                  <a:pt x="6154904" y="4138221"/>
                </a:moveTo>
                <a:cubicBezTo>
                  <a:pt x="6158628" y="4142443"/>
                  <a:pt x="6151181" y="4145886"/>
                  <a:pt x="6147170" y="4144553"/>
                </a:cubicBezTo>
                <a:cubicBezTo>
                  <a:pt x="6146024" y="4144109"/>
                  <a:pt x="6145164" y="4143221"/>
                  <a:pt x="6144878" y="4141443"/>
                </a:cubicBezTo>
                <a:cubicBezTo>
                  <a:pt x="6148029" y="4139888"/>
                  <a:pt x="6150321" y="4139332"/>
                  <a:pt x="6154904" y="4138221"/>
                </a:cubicBezTo>
                <a:close/>
                <a:moveTo>
                  <a:pt x="5791094" y="4137222"/>
                </a:moveTo>
                <a:cubicBezTo>
                  <a:pt x="5797110" y="4139555"/>
                  <a:pt x="5802840" y="4141887"/>
                  <a:pt x="5803985" y="4145219"/>
                </a:cubicBezTo>
                <a:lnTo>
                  <a:pt x="5798542" y="4148441"/>
                </a:lnTo>
                <a:lnTo>
                  <a:pt x="5799116" y="4148552"/>
                </a:lnTo>
                <a:cubicBezTo>
                  <a:pt x="5802266" y="4149996"/>
                  <a:pt x="5803985" y="4150107"/>
                  <a:pt x="5807423" y="4149218"/>
                </a:cubicBezTo>
                <a:cubicBezTo>
                  <a:pt x="5807423" y="4149218"/>
                  <a:pt x="5807423" y="4149218"/>
                  <a:pt x="5810860" y="4151773"/>
                </a:cubicBezTo>
                <a:lnTo>
                  <a:pt x="5810574" y="4152995"/>
                </a:lnTo>
                <a:cubicBezTo>
                  <a:pt x="5810288" y="4153551"/>
                  <a:pt x="5808855" y="4153662"/>
                  <a:pt x="5807136" y="4153661"/>
                </a:cubicBezTo>
                <a:cubicBezTo>
                  <a:pt x="5801407" y="4153439"/>
                  <a:pt x="5791668" y="4151440"/>
                  <a:pt x="5790522" y="4151329"/>
                </a:cubicBezTo>
                <a:lnTo>
                  <a:pt x="5788516" y="4151218"/>
                </a:lnTo>
                <a:lnTo>
                  <a:pt x="5781354" y="4150884"/>
                </a:lnTo>
                <a:cubicBezTo>
                  <a:pt x="5777917" y="4145664"/>
                  <a:pt x="5786798" y="4140443"/>
                  <a:pt x="5791094" y="4137222"/>
                </a:cubicBezTo>
                <a:close/>
                <a:moveTo>
                  <a:pt x="6073834" y="4135889"/>
                </a:moveTo>
                <a:cubicBezTo>
                  <a:pt x="6078418" y="4135555"/>
                  <a:pt x="6082428" y="4136666"/>
                  <a:pt x="6084434" y="4138999"/>
                </a:cubicBezTo>
                <a:cubicBezTo>
                  <a:pt x="6085866" y="4140665"/>
                  <a:pt x="6086439" y="4142887"/>
                  <a:pt x="6085580" y="4145663"/>
                </a:cubicBezTo>
                <a:cubicBezTo>
                  <a:pt x="6081569" y="4149774"/>
                  <a:pt x="6075554" y="4151662"/>
                  <a:pt x="6070397" y="4151218"/>
                </a:cubicBezTo>
                <a:cubicBezTo>
                  <a:pt x="6065240" y="4150662"/>
                  <a:pt x="6061230" y="4147663"/>
                  <a:pt x="6061516" y="4141554"/>
                </a:cubicBezTo>
                <a:cubicBezTo>
                  <a:pt x="6064954" y="4138111"/>
                  <a:pt x="6069538" y="4136333"/>
                  <a:pt x="6073834" y="4135889"/>
                </a:cubicBezTo>
                <a:close/>
                <a:moveTo>
                  <a:pt x="6243135" y="4135111"/>
                </a:moveTo>
                <a:cubicBezTo>
                  <a:pt x="6244281" y="4135111"/>
                  <a:pt x="6245427" y="4135222"/>
                  <a:pt x="6247718" y="4135555"/>
                </a:cubicBezTo>
                <a:cubicBezTo>
                  <a:pt x="6246286" y="4136222"/>
                  <a:pt x="6243994" y="4138555"/>
                  <a:pt x="6241703" y="4138221"/>
                </a:cubicBezTo>
                <a:cubicBezTo>
                  <a:pt x="6239411" y="4137777"/>
                  <a:pt x="6239411" y="4137777"/>
                  <a:pt x="6237692" y="4135778"/>
                </a:cubicBezTo>
                <a:cubicBezTo>
                  <a:pt x="6240557" y="4135333"/>
                  <a:pt x="6241989" y="4135110"/>
                  <a:pt x="6243135" y="4135111"/>
                </a:cubicBezTo>
                <a:close/>
                <a:moveTo>
                  <a:pt x="6330506" y="4134667"/>
                </a:moveTo>
                <a:cubicBezTo>
                  <a:pt x="6339960" y="4139332"/>
                  <a:pt x="6347408" y="4136666"/>
                  <a:pt x="6348841" y="4142664"/>
                </a:cubicBezTo>
                <a:cubicBezTo>
                  <a:pt x="6342824" y="4145108"/>
                  <a:pt x="6331366" y="4139665"/>
                  <a:pt x="6330506" y="4134667"/>
                </a:cubicBezTo>
                <a:close/>
                <a:moveTo>
                  <a:pt x="6689160" y="4134667"/>
                </a:moveTo>
                <a:cubicBezTo>
                  <a:pt x="6691738" y="4134223"/>
                  <a:pt x="6694603" y="4134667"/>
                  <a:pt x="6694891" y="4136333"/>
                </a:cubicBezTo>
                <a:cubicBezTo>
                  <a:pt x="6695462" y="4137555"/>
                  <a:pt x="6694604" y="4139332"/>
                  <a:pt x="6692024" y="4141887"/>
                </a:cubicBezTo>
                <a:cubicBezTo>
                  <a:pt x="6686296" y="4140554"/>
                  <a:pt x="6684290" y="4139111"/>
                  <a:pt x="6684004" y="4137888"/>
                </a:cubicBezTo>
                <a:cubicBezTo>
                  <a:pt x="6684004" y="4136333"/>
                  <a:pt x="6686582" y="4135111"/>
                  <a:pt x="6689160" y="4134667"/>
                </a:cubicBezTo>
                <a:close/>
                <a:moveTo>
                  <a:pt x="6649914" y="4133667"/>
                </a:moveTo>
                <a:cubicBezTo>
                  <a:pt x="6648196" y="4135889"/>
                  <a:pt x="6645331" y="4140443"/>
                  <a:pt x="6642180" y="4141998"/>
                </a:cubicBezTo>
                <a:cubicBezTo>
                  <a:pt x="6641034" y="4142554"/>
                  <a:pt x="6640174" y="4142776"/>
                  <a:pt x="6639029" y="4142331"/>
                </a:cubicBezTo>
                <a:cubicBezTo>
                  <a:pt x="6641320" y="4139332"/>
                  <a:pt x="6643040" y="4134111"/>
                  <a:pt x="6649914" y="4133667"/>
                </a:cubicBezTo>
                <a:close/>
                <a:moveTo>
                  <a:pt x="6250583" y="4133444"/>
                </a:moveTo>
                <a:cubicBezTo>
                  <a:pt x="6251156" y="4133334"/>
                  <a:pt x="6252017" y="4133444"/>
                  <a:pt x="6252302" y="4133889"/>
                </a:cubicBezTo>
                <a:cubicBezTo>
                  <a:pt x="6252875" y="4134778"/>
                  <a:pt x="6251443" y="4135444"/>
                  <a:pt x="6248864" y="4135222"/>
                </a:cubicBezTo>
                <a:cubicBezTo>
                  <a:pt x="6248864" y="4135222"/>
                  <a:pt x="6248292" y="4134333"/>
                  <a:pt x="6248292" y="4134333"/>
                </a:cubicBezTo>
                <a:cubicBezTo>
                  <a:pt x="6249151" y="4134000"/>
                  <a:pt x="6249724" y="4133667"/>
                  <a:pt x="6250583" y="4133444"/>
                </a:cubicBezTo>
                <a:close/>
                <a:moveTo>
                  <a:pt x="6028574" y="4133001"/>
                </a:moveTo>
                <a:cubicBezTo>
                  <a:pt x="6028287" y="4135556"/>
                  <a:pt x="6027141" y="4137110"/>
                  <a:pt x="6026282" y="4138666"/>
                </a:cubicBezTo>
                <a:cubicBezTo>
                  <a:pt x="6025708" y="4141332"/>
                  <a:pt x="6024276" y="4141887"/>
                  <a:pt x="6019693" y="4140887"/>
                </a:cubicBezTo>
                <a:cubicBezTo>
                  <a:pt x="6019980" y="4138221"/>
                  <a:pt x="6024850" y="4133000"/>
                  <a:pt x="6028574" y="4133001"/>
                </a:cubicBezTo>
                <a:close/>
                <a:moveTo>
                  <a:pt x="6889685" y="4132334"/>
                </a:moveTo>
                <a:cubicBezTo>
                  <a:pt x="6890544" y="4132334"/>
                  <a:pt x="6891404" y="4133112"/>
                  <a:pt x="6892264" y="4134223"/>
                </a:cubicBezTo>
                <a:cubicBezTo>
                  <a:pt x="6894842" y="4137444"/>
                  <a:pt x="6896560" y="4144219"/>
                  <a:pt x="6897133" y="4144998"/>
                </a:cubicBezTo>
                <a:cubicBezTo>
                  <a:pt x="6897133" y="4144998"/>
                  <a:pt x="6897706" y="4145997"/>
                  <a:pt x="6898279" y="4147108"/>
                </a:cubicBezTo>
                <a:cubicBezTo>
                  <a:pt x="6897420" y="4148663"/>
                  <a:pt x="6895988" y="4149219"/>
                  <a:pt x="6896561" y="4150218"/>
                </a:cubicBezTo>
                <a:cubicBezTo>
                  <a:pt x="6889972" y="4148552"/>
                  <a:pt x="6889685" y="4144887"/>
                  <a:pt x="6889398" y="4141221"/>
                </a:cubicBezTo>
                <a:cubicBezTo>
                  <a:pt x="6889685" y="4138666"/>
                  <a:pt x="6889112" y="4137555"/>
                  <a:pt x="6886248" y="4135999"/>
                </a:cubicBezTo>
                <a:cubicBezTo>
                  <a:pt x="6886248" y="4135999"/>
                  <a:pt x="6886248" y="4135999"/>
                  <a:pt x="6888253" y="4132889"/>
                </a:cubicBezTo>
                <a:close/>
                <a:moveTo>
                  <a:pt x="5775339" y="4131557"/>
                </a:moveTo>
                <a:cubicBezTo>
                  <a:pt x="5776771" y="4131778"/>
                  <a:pt x="5777630" y="4132111"/>
                  <a:pt x="5778204" y="4132667"/>
                </a:cubicBezTo>
                <a:cubicBezTo>
                  <a:pt x="5780208" y="4134444"/>
                  <a:pt x="5779350" y="4137666"/>
                  <a:pt x="5779636" y="4141220"/>
                </a:cubicBezTo>
                <a:cubicBezTo>
                  <a:pt x="5777630" y="4140554"/>
                  <a:pt x="5776484" y="4142110"/>
                  <a:pt x="5775339" y="4143664"/>
                </a:cubicBezTo>
                <a:cubicBezTo>
                  <a:pt x="5772188" y="4142775"/>
                  <a:pt x="5767032" y="4141665"/>
                  <a:pt x="5766458" y="4138665"/>
                </a:cubicBezTo>
                <a:cubicBezTo>
                  <a:pt x="5766172" y="4137555"/>
                  <a:pt x="5766458" y="4136333"/>
                  <a:pt x="5767604" y="4134778"/>
                </a:cubicBezTo>
                <a:cubicBezTo>
                  <a:pt x="5767033" y="4133667"/>
                  <a:pt x="5773047" y="4130890"/>
                  <a:pt x="5775339" y="4131557"/>
                </a:cubicBezTo>
                <a:close/>
                <a:moveTo>
                  <a:pt x="6260036" y="4130668"/>
                </a:moveTo>
                <a:cubicBezTo>
                  <a:pt x="6260036" y="4130668"/>
                  <a:pt x="6258890" y="4132222"/>
                  <a:pt x="6258890" y="4132222"/>
                </a:cubicBezTo>
                <a:cubicBezTo>
                  <a:pt x="6256600" y="4132000"/>
                  <a:pt x="6257172" y="4132889"/>
                  <a:pt x="6256026" y="4131112"/>
                </a:cubicBezTo>
                <a:cubicBezTo>
                  <a:pt x="6258318" y="4131334"/>
                  <a:pt x="6258318" y="4131334"/>
                  <a:pt x="6260036" y="4130668"/>
                </a:cubicBezTo>
                <a:close/>
                <a:moveTo>
                  <a:pt x="5920004" y="4130446"/>
                </a:moveTo>
                <a:lnTo>
                  <a:pt x="5920290" y="4130556"/>
                </a:lnTo>
                <a:lnTo>
                  <a:pt x="5921436" y="4130446"/>
                </a:lnTo>
                <a:close/>
                <a:moveTo>
                  <a:pt x="6586892" y="4128446"/>
                </a:moveTo>
                <a:cubicBezTo>
                  <a:pt x="6590616" y="4129334"/>
                  <a:pt x="6592908" y="4130668"/>
                  <a:pt x="6594340" y="4132112"/>
                </a:cubicBezTo>
                <a:cubicBezTo>
                  <a:pt x="6598639" y="4136666"/>
                  <a:pt x="6594340" y="4143109"/>
                  <a:pt x="6587465" y="4145553"/>
                </a:cubicBezTo>
                <a:cubicBezTo>
                  <a:pt x="6584600" y="4146553"/>
                  <a:pt x="6581163" y="4146886"/>
                  <a:pt x="6577726" y="4145775"/>
                </a:cubicBezTo>
                <a:cubicBezTo>
                  <a:pt x="6577439" y="4138665"/>
                  <a:pt x="6575148" y="4130779"/>
                  <a:pt x="6586892" y="4128446"/>
                </a:cubicBezTo>
                <a:close/>
                <a:moveTo>
                  <a:pt x="6031438" y="4128002"/>
                </a:moveTo>
                <a:cubicBezTo>
                  <a:pt x="6032584" y="4128224"/>
                  <a:pt x="6032870" y="4128779"/>
                  <a:pt x="6032870" y="4129335"/>
                </a:cubicBezTo>
                <a:cubicBezTo>
                  <a:pt x="6032870" y="4129779"/>
                  <a:pt x="6032584" y="4130112"/>
                  <a:pt x="6032584" y="4130112"/>
                </a:cubicBezTo>
                <a:cubicBezTo>
                  <a:pt x="6031724" y="4131777"/>
                  <a:pt x="6030578" y="4133334"/>
                  <a:pt x="6028574" y="4132778"/>
                </a:cubicBezTo>
                <a:cubicBezTo>
                  <a:pt x="6028574" y="4132778"/>
                  <a:pt x="6028000" y="4131668"/>
                  <a:pt x="6029719" y="4128446"/>
                </a:cubicBezTo>
                <a:cubicBezTo>
                  <a:pt x="6030578" y="4129557"/>
                  <a:pt x="6032011" y="4129113"/>
                  <a:pt x="6032011" y="4129113"/>
                </a:cubicBezTo>
                <a:cubicBezTo>
                  <a:pt x="6032011" y="4129113"/>
                  <a:pt x="6032011" y="4129001"/>
                  <a:pt x="6031438" y="4128002"/>
                </a:cubicBezTo>
                <a:close/>
                <a:moveTo>
                  <a:pt x="7229432" y="4127002"/>
                </a:moveTo>
                <a:cubicBezTo>
                  <a:pt x="7232584" y="4129001"/>
                  <a:pt x="7234588" y="4131112"/>
                  <a:pt x="7236595" y="4133223"/>
                </a:cubicBezTo>
                <a:cubicBezTo>
                  <a:pt x="7241750" y="4139443"/>
                  <a:pt x="7242896" y="4145664"/>
                  <a:pt x="7248624" y="4149219"/>
                </a:cubicBezTo>
                <a:cubicBezTo>
                  <a:pt x="7248624" y="4149219"/>
                  <a:pt x="7248624" y="4149219"/>
                  <a:pt x="7246906" y="4152441"/>
                </a:cubicBezTo>
                <a:cubicBezTo>
                  <a:pt x="7247766" y="4153439"/>
                  <a:pt x="7247766" y="4153439"/>
                  <a:pt x="7247766" y="4153439"/>
                </a:cubicBezTo>
                <a:cubicBezTo>
                  <a:pt x="7248625" y="4154440"/>
                  <a:pt x="7245474" y="4155662"/>
                  <a:pt x="7245474" y="4155662"/>
                </a:cubicBezTo>
                <a:cubicBezTo>
                  <a:pt x="7241751" y="4155994"/>
                  <a:pt x="7240890" y="4152329"/>
                  <a:pt x="7239458" y="4150441"/>
                </a:cubicBezTo>
                <a:cubicBezTo>
                  <a:pt x="7235734" y="4150663"/>
                  <a:pt x="7239458" y="4145108"/>
                  <a:pt x="7235734" y="4145442"/>
                </a:cubicBezTo>
                <a:cubicBezTo>
                  <a:pt x="7238598" y="4138888"/>
                  <a:pt x="7227140" y="4137111"/>
                  <a:pt x="7229432" y="4127002"/>
                </a:cubicBezTo>
                <a:close/>
                <a:moveTo>
                  <a:pt x="6054068" y="4125557"/>
                </a:moveTo>
                <a:cubicBezTo>
                  <a:pt x="6057506" y="4125224"/>
                  <a:pt x="6060944" y="4126336"/>
                  <a:pt x="6062662" y="4129668"/>
                </a:cubicBezTo>
                <a:cubicBezTo>
                  <a:pt x="6060371" y="4132890"/>
                  <a:pt x="6050344" y="4136222"/>
                  <a:pt x="6046048" y="4134778"/>
                </a:cubicBezTo>
                <a:cubicBezTo>
                  <a:pt x="6045474" y="4133222"/>
                  <a:pt x="6044616" y="4131668"/>
                  <a:pt x="6044043" y="4130112"/>
                </a:cubicBezTo>
                <a:cubicBezTo>
                  <a:pt x="6046907" y="4127780"/>
                  <a:pt x="6050631" y="4125891"/>
                  <a:pt x="6054068" y="4125557"/>
                </a:cubicBezTo>
                <a:close/>
                <a:moveTo>
                  <a:pt x="6418452" y="4124114"/>
                </a:moveTo>
                <a:cubicBezTo>
                  <a:pt x="6419310" y="4125114"/>
                  <a:pt x="6420170" y="4126224"/>
                  <a:pt x="6421030" y="4127224"/>
                </a:cubicBezTo>
                <a:cubicBezTo>
                  <a:pt x="6420170" y="4128778"/>
                  <a:pt x="6420170" y="4128778"/>
                  <a:pt x="6418165" y="4128335"/>
                </a:cubicBezTo>
                <a:cubicBezTo>
                  <a:pt x="6417306" y="4127335"/>
                  <a:pt x="6416446" y="4126225"/>
                  <a:pt x="6417878" y="4125669"/>
                </a:cubicBezTo>
                <a:cubicBezTo>
                  <a:pt x="6417019" y="4124669"/>
                  <a:pt x="6417306" y="4124669"/>
                  <a:pt x="6418452" y="4124114"/>
                </a:cubicBezTo>
                <a:close/>
                <a:moveTo>
                  <a:pt x="7085913" y="4123225"/>
                </a:moveTo>
                <a:cubicBezTo>
                  <a:pt x="7087346" y="4123559"/>
                  <a:pt x="7088205" y="4124669"/>
                  <a:pt x="7088778" y="4126002"/>
                </a:cubicBezTo>
                <a:cubicBezTo>
                  <a:pt x="7090496" y="4130001"/>
                  <a:pt x="7089351" y="4136999"/>
                  <a:pt x="7087633" y="4140665"/>
                </a:cubicBezTo>
                <a:cubicBezTo>
                  <a:pt x="7082476" y="4138888"/>
                  <a:pt x="7083908" y="4128002"/>
                  <a:pt x="7085913" y="4123225"/>
                </a:cubicBezTo>
                <a:close/>
                <a:moveTo>
                  <a:pt x="6433920" y="4123114"/>
                </a:moveTo>
                <a:cubicBezTo>
                  <a:pt x="6435066" y="4122448"/>
                  <a:pt x="6435352" y="4122448"/>
                  <a:pt x="6435926" y="4123558"/>
                </a:cubicBezTo>
                <a:lnTo>
                  <a:pt x="6436211" y="4123114"/>
                </a:lnTo>
                <a:lnTo>
                  <a:pt x="6439076" y="4124891"/>
                </a:lnTo>
                <a:cubicBezTo>
                  <a:pt x="6439650" y="4126002"/>
                  <a:pt x="6439936" y="4127335"/>
                  <a:pt x="6439936" y="4128668"/>
                </a:cubicBezTo>
                <a:cubicBezTo>
                  <a:pt x="6438504" y="4129224"/>
                  <a:pt x="6438504" y="4129334"/>
                  <a:pt x="6436213" y="4128890"/>
                </a:cubicBezTo>
                <a:cubicBezTo>
                  <a:pt x="6434780" y="4129446"/>
                  <a:pt x="6434494" y="4124114"/>
                  <a:pt x="6433920" y="4123114"/>
                </a:cubicBezTo>
                <a:close/>
                <a:moveTo>
                  <a:pt x="6582309" y="4122226"/>
                </a:moveTo>
                <a:cubicBezTo>
                  <a:pt x="6584887" y="4122448"/>
                  <a:pt x="6586320" y="4122337"/>
                  <a:pt x="6587465" y="4122336"/>
                </a:cubicBezTo>
                <a:cubicBezTo>
                  <a:pt x="6588324" y="4122226"/>
                  <a:pt x="6588899" y="4122336"/>
                  <a:pt x="6588611" y="4122892"/>
                </a:cubicBezTo>
                <a:cubicBezTo>
                  <a:pt x="6590330" y="4123114"/>
                  <a:pt x="6590330" y="4124225"/>
                  <a:pt x="6588611" y="4124003"/>
                </a:cubicBezTo>
                <a:cubicBezTo>
                  <a:pt x="6586892" y="4126224"/>
                  <a:pt x="6583741" y="4123558"/>
                  <a:pt x="6582309" y="4122226"/>
                </a:cubicBezTo>
                <a:close/>
                <a:moveTo>
                  <a:pt x="6436212" y="4122225"/>
                </a:moveTo>
                <a:lnTo>
                  <a:pt x="6436211" y="4123114"/>
                </a:lnTo>
                <a:lnTo>
                  <a:pt x="6435066" y="4122448"/>
                </a:lnTo>
                <a:cubicBezTo>
                  <a:pt x="6435926" y="4122225"/>
                  <a:pt x="6436212" y="4122114"/>
                  <a:pt x="6436212" y="4122225"/>
                </a:cubicBezTo>
                <a:close/>
                <a:moveTo>
                  <a:pt x="6852731" y="4116560"/>
                </a:moveTo>
                <a:cubicBezTo>
                  <a:pt x="6855596" y="4120448"/>
                  <a:pt x="6857028" y="4121892"/>
                  <a:pt x="6858460" y="4124447"/>
                </a:cubicBezTo>
                <a:cubicBezTo>
                  <a:pt x="6860180" y="4124558"/>
                  <a:pt x="6861898" y="4124781"/>
                  <a:pt x="6863330" y="4126113"/>
                </a:cubicBezTo>
                <a:cubicBezTo>
                  <a:pt x="6866482" y="4128890"/>
                  <a:pt x="6864476" y="4131001"/>
                  <a:pt x="6865909" y="4133556"/>
                </a:cubicBezTo>
                <a:cubicBezTo>
                  <a:pt x="6864190" y="4134555"/>
                  <a:pt x="6860752" y="4135444"/>
                  <a:pt x="6857888" y="4132667"/>
                </a:cubicBezTo>
                <a:cubicBezTo>
                  <a:pt x="6853018" y="4129779"/>
                  <a:pt x="6853304" y="4126225"/>
                  <a:pt x="6855310" y="4122781"/>
                </a:cubicBezTo>
                <a:cubicBezTo>
                  <a:pt x="6853877" y="4120336"/>
                  <a:pt x="6850726" y="4118782"/>
                  <a:pt x="6852731" y="4116560"/>
                </a:cubicBezTo>
                <a:close/>
                <a:moveTo>
                  <a:pt x="6622128" y="4116449"/>
                </a:moveTo>
                <a:cubicBezTo>
                  <a:pt x="6625278" y="4118115"/>
                  <a:pt x="6628143" y="4120893"/>
                  <a:pt x="6631008" y="4123669"/>
                </a:cubicBezTo>
                <a:cubicBezTo>
                  <a:pt x="6624419" y="4130890"/>
                  <a:pt x="6611814" y="4117227"/>
                  <a:pt x="6622128" y="4116449"/>
                </a:cubicBezTo>
                <a:close/>
                <a:moveTo>
                  <a:pt x="5899378" y="4114783"/>
                </a:moveTo>
                <a:cubicBezTo>
                  <a:pt x="5901096" y="4114783"/>
                  <a:pt x="5902817" y="4114672"/>
                  <a:pt x="5904820" y="4115783"/>
                </a:cubicBezTo>
                <a:cubicBezTo>
                  <a:pt x="5906540" y="4116893"/>
                  <a:pt x="5904820" y="4116893"/>
                  <a:pt x="5906540" y="4116783"/>
                </a:cubicBezTo>
                <a:cubicBezTo>
                  <a:pt x="5908544" y="4117893"/>
                  <a:pt x="5908258" y="4116782"/>
                  <a:pt x="5908258" y="4116782"/>
                </a:cubicBezTo>
                <a:cubicBezTo>
                  <a:pt x="5908258" y="4116782"/>
                  <a:pt x="5908544" y="4117893"/>
                  <a:pt x="5908544" y="4117893"/>
                </a:cubicBezTo>
                <a:cubicBezTo>
                  <a:pt x="5908544" y="4117893"/>
                  <a:pt x="5908544" y="4117893"/>
                  <a:pt x="5912555" y="4120115"/>
                </a:cubicBezTo>
                <a:cubicBezTo>
                  <a:pt x="5917998" y="4122225"/>
                  <a:pt x="5919717" y="4122225"/>
                  <a:pt x="5923441" y="4123225"/>
                </a:cubicBezTo>
                <a:cubicBezTo>
                  <a:pt x="5927165" y="4125447"/>
                  <a:pt x="5927452" y="4126669"/>
                  <a:pt x="5931748" y="4130001"/>
                </a:cubicBezTo>
                <a:cubicBezTo>
                  <a:pt x="5930316" y="4132334"/>
                  <a:pt x="5930316" y="4132334"/>
                  <a:pt x="5928597" y="4132445"/>
                </a:cubicBezTo>
                <a:cubicBezTo>
                  <a:pt x="5930316" y="4132334"/>
                  <a:pt x="5930602" y="4133556"/>
                  <a:pt x="5932608" y="4134667"/>
                </a:cubicBezTo>
                <a:cubicBezTo>
                  <a:pt x="5941774" y="4137888"/>
                  <a:pt x="5939483" y="4143776"/>
                  <a:pt x="5934041" y="4149885"/>
                </a:cubicBezTo>
                <a:cubicBezTo>
                  <a:pt x="5932035" y="4148774"/>
                  <a:pt x="5929456" y="4152441"/>
                  <a:pt x="5926306" y="4153662"/>
                </a:cubicBezTo>
                <a:cubicBezTo>
                  <a:pt x="5921149" y="4153884"/>
                  <a:pt x="5917998" y="4154107"/>
                  <a:pt x="5913988" y="4151884"/>
                </a:cubicBezTo>
                <a:lnTo>
                  <a:pt x="5909977" y="4147663"/>
                </a:lnTo>
                <a:lnTo>
                  <a:pt x="5907112" y="4149329"/>
                </a:lnTo>
                <a:lnTo>
                  <a:pt x="5909403" y="4150552"/>
                </a:lnTo>
                <a:cubicBezTo>
                  <a:pt x="5907686" y="4151552"/>
                  <a:pt x="5905966" y="4152662"/>
                  <a:pt x="5907686" y="4152773"/>
                </a:cubicBezTo>
                <a:lnTo>
                  <a:pt x="5903102" y="4154106"/>
                </a:lnTo>
                <a:lnTo>
                  <a:pt x="5906541" y="4155661"/>
                </a:lnTo>
                <a:lnTo>
                  <a:pt x="5907112" y="4158106"/>
                </a:lnTo>
                <a:lnTo>
                  <a:pt x="5909118" y="4158883"/>
                </a:lnTo>
                <a:cubicBezTo>
                  <a:pt x="5910264" y="4159994"/>
                  <a:pt x="5910550" y="4161215"/>
                  <a:pt x="5910550" y="4161215"/>
                </a:cubicBezTo>
                <a:cubicBezTo>
                  <a:pt x="5910550" y="4161215"/>
                  <a:pt x="5910550" y="4161215"/>
                  <a:pt x="5911410" y="4160216"/>
                </a:cubicBezTo>
                <a:lnTo>
                  <a:pt x="5907112" y="4166658"/>
                </a:lnTo>
                <a:lnTo>
                  <a:pt x="5903675" y="4173102"/>
                </a:lnTo>
                <a:cubicBezTo>
                  <a:pt x="5897372" y="4180988"/>
                  <a:pt x="5885914" y="4186765"/>
                  <a:pt x="5875602" y="4181766"/>
                </a:cubicBezTo>
                <a:cubicBezTo>
                  <a:pt x="5875602" y="4176545"/>
                  <a:pt x="5876747" y="4171102"/>
                  <a:pt x="5879612" y="4165881"/>
                </a:cubicBezTo>
                <a:lnTo>
                  <a:pt x="5895081" y="4150885"/>
                </a:lnTo>
                <a:lnTo>
                  <a:pt x="5890784" y="4150774"/>
                </a:lnTo>
                <a:cubicBezTo>
                  <a:pt x="5885914" y="4149774"/>
                  <a:pt x="5881904" y="4146886"/>
                  <a:pt x="5879898" y="4140998"/>
                </a:cubicBezTo>
                <a:cubicBezTo>
                  <a:pt x="5878180" y="4138777"/>
                  <a:pt x="5879612" y="4139332"/>
                  <a:pt x="5879039" y="4137777"/>
                </a:cubicBezTo>
                <a:cubicBezTo>
                  <a:pt x="5879039" y="4136888"/>
                  <a:pt x="5878466" y="4135999"/>
                  <a:pt x="5877606" y="4135111"/>
                </a:cubicBezTo>
                <a:lnTo>
                  <a:pt x="5875888" y="4133556"/>
                </a:lnTo>
                <a:lnTo>
                  <a:pt x="5875602" y="4136556"/>
                </a:lnTo>
                <a:cubicBezTo>
                  <a:pt x="5874456" y="4141887"/>
                  <a:pt x="5871591" y="4147108"/>
                  <a:pt x="5865575" y="4152107"/>
                </a:cubicBezTo>
                <a:cubicBezTo>
                  <a:pt x="5852398" y="4140553"/>
                  <a:pt x="5867008" y="4126113"/>
                  <a:pt x="5876747" y="4120337"/>
                </a:cubicBezTo>
                <a:lnTo>
                  <a:pt x="5875888" y="4133112"/>
                </a:lnTo>
                <a:lnTo>
                  <a:pt x="5883336" y="4128890"/>
                </a:lnTo>
                <a:cubicBezTo>
                  <a:pt x="5885342" y="4127335"/>
                  <a:pt x="5887920" y="4125558"/>
                  <a:pt x="5894222" y="4124003"/>
                </a:cubicBezTo>
                <a:cubicBezTo>
                  <a:pt x="5898232" y="4122780"/>
                  <a:pt x="5901670" y="4122336"/>
                  <a:pt x="5904820" y="4122337"/>
                </a:cubicBezTo>
                <a:lnTo>
                  <a:pt x="5907112" y="4122781"/>
                </a:lnTo>
                <a:lnTo>
                  <a:pt x="5906253" y="4122336"/>
                </a:lnTo>
                <a:cubicBezTo>
                  <a:pt x="5902242" y="4119337"/>
                  <a:pt x="5899092" y="4116560"/>
                  <a:pt x="5899378" y="4114783"/>
                </a:cubicBezTo>
                <a:close/>
                <a:moveTo>
                  <a:pt x="5732656" y="4114339"/>
                </a:moveTo>
                <a:cubicBezTo>
                  <a:pt x="5740963" y="4114560"/>
                  <a:pt x="5746406" y="4120559"/>
                  <a:pt x="5738385" y="4125114"/>
                </a:cubicBezTo>
                <a:cubicBezTo>
                  <a:pt x="5732942" y="4121337"/>
                  <a:pt x="5727786" y="4117671"/>
                  <a:pt x="5732656" y="4114339"/>
                </a:cubicBezTo>
                <a:close/>
                <a:moveTo>
                  <a:pt x="6764500" y="4114228"/>
                </a:moveTo>
                <a:cubicBezTo>
                  <a:pt x="6768224" y="4114449"/>
                  <a:pt x="6771948" y="4116005"/>
                  <a:pt x="6775386" y="4118226"/>
                </a:cubicBezTo>
                <a:lnTo>
                  <a:pt x="6779396" y="4121559"/>
                </a:lnTo>
                <a:lnTo>
                  <a:pt x="6781115" y="4121225"/>
                </a:lnTo>
                <a:cubicBezTo>
                  <a:pt x="6784552" y="4120226"/>
                  <a:pt x="6787990" y="4119448"/>
                  <a:pt x="6790855" y="4119670"/>
                </a:cubicBezTo>
                <a:cubicBezTo>
                  <a:pt x="6792001" y="4120004"/>
                  <a:pt x="6793146" y="4120226"/>
                  <a:pt x="6793720" y="4120782"/>
                </a:cubicBezTo>
                <a:cubicBezTo>
                  <a:pt x="6794292" y="4121448"/>
                  <a:pt x="6794292" y="4122337"/>
                  <a:pt x="6793433" y="4123892"/>
                </a:cubicBezTo>
                <a:cubicBezTo>
                  <a:pt x="6792860" y="4126558"/>
                  <a:pt x="6791428" y="4127113"/>
                  <a:pt x="6785412" y="4126558"/>
                </a:cubicBezTo>
                <a:lnTo>
                  <a:pt x="6792288" y="4135778"/>
                </a:lnTo>
                <a:cubicBezTo>
                  <a:pt x="6794292" y="4138777"/>
                  <a:pt x="6795438" y="4141554"/>
                  <a:pt x="6796012" y="4143442"/>
                </a:cubicBezTo>
                <a:cubicBezTo>
                  <a:pt x="6783407" y="4136667"/>
                  <a:pt x="6763068" y="4125225"/>
                  <a:pt x="6758198" y="4115005"/>
                </a:cubicBezTo>
                <a:cubicBezTo>
                  <a:pt x="6760203" y="4114228"/>
                  <a:pt x="6762495" y="4114005"/>
                  <a:pt x="6764500" y="4114228"/>
                </a:cubicBezTo>
                <a:close/>
                <a:moveTo>
                  <a:pt x="6082428" y="4111117"/>
                </a:moveTo>
                <a:cubicBezTo>
                  <a:pt x="6084148" y="4111117"/>
                  <a:pt x="6085580" y="4111228"/>
                  <a:pt x="6086440" y="4111673"/>
                </a:cubicBezTo>
                <a:cubicBezTo>
                  <a:pt x="6087585" y="4114228"/>
                  <a:pt x="6075554" y="4123003"/>
                  <a:pt x="6071543" y="4117560"/>
                </a:cubicBezTo>
                <a:cubicBezTo>
                  <a:pt x="6069824" y="4113783"/>
                  <a:pt x="6077272" y="4111339"/>
                  <a:pt x="6082428" y="4111117"/>
                </a:cubicBezTo>
                <a:close/>
                <a:moveTo>
                  <a:pt x="7151800" y="4110562"/>
                </a:moveTo>
                <a:cubicBezTo>
                  <a:pt x="7152946" y="4113672"/>
                  <a:pt x="7155238" y="4115783"/>
                  <a:pt x="7156384" y="4118893"/>
                </a:cubicBezTo>
                <a:cubicBezTo>
                  <a:pt x="7152660" y="4125891"/>
                  <a:pt x="7145212" y="4127002"/>
                  <a:pt x="7139768" y="4125002"/>
                </a:cubicBezTo>
                <a:cubicBezTo>
                  <a:pt x="7134612" y="4123003"/>
                  <a:pt x="7131174" y="4117782"/>
                  <a:pt x="7135758" y="4111894"/>
                </a:cubicBezTo>
                <a:cubicBezTo>
                  <a:pt x="7142634" y="4110228"/>
                  <a:pt x="7148076" y="4110672"/>
                  <a:pt x="7151800" y="4110562"/>
                </a:cubicBezTo>
                <a:close/>
                <a:moveTo>
                  <a:pt x="6875362" y="4109673"/>
                </a:moveTo>
                <a:cubicBezTo>
                  <a:pt x="6881950" y="4111561"/>
                  <a:pt x="6890544" y="4111339"/>
                  <a:pt x="6895414" y="4114228"/>
                </a:cubicBezTo>
                <a:cubicBezTo>
                  <a:pt x="6896274" y="4114894"/>
                  <a:pt x="6896846" y="4115561"/>
                  <a:pt x="6897133" y="4116338"/>
                </a:cubicBezTo>
                <a:cubicBezTo>
                  <a:pt x="6897133" y="4117004"/>
                  <a:pt x="6896846" y="4117893"/>
                  <a:pt x="6895128" y="4118893"/>
                </a:cubicBezTo>
                <a:cubicBezTo>
                  <a:pt x="6893122" y="4121002"/>
                  <a:pt x="6891404" y="4120781"/>
                  <a:pt x="6886534" y="4117893"/>
                </a:cubicBezTo>
                <a:cubicBezTo>
                  <a:pt x="6883383" y="4115227"/>
                  <a:pt x="6879946" y="4113672"/>
                  <a:pt x="6879946" y="4112562"/>
                </a:cubicBezTo>
                <a:cubicBezTo>
                  <a:pt x="6878226" y="4112339"/>
                  <a:pt x="6876794" y="4111007"/>
                  <a:pt x="6875076" y="4110784"/>
                </a:cubicBezTo>
                <a:cubicBezTo>
                  <a:pt x="6875076" y="4110784"/>
                  <a:pt x="6875076" y="4110784"/>
                  <a:pt x="6875362" y="4109673"/>
                </a:cubicBezTo>
                <a:close/>
                <a:moveTo>
                  <a:pt x="5930316" y="4108895"/>
                </a:moveTo>
                <a:cubicBezTo>
                  <a:pt x="5930316" y="4108895"/>
                  <a:pt x="5930030" y="4108895"/>
                  <a:pt x="5931748" y="4111450"/>
                </a:cubicBezTo>
                <a:cubicBezTo>
                  <a:pt x="5931748" y="4112561"/>
                  <a:pt x="5931749" y="4113783"/>
                  <a:pt x="5930030" y="4114894"/>
                </a:cubicBezTo>
                <a:cubicBezTo>
                  <a:pt x="5928025" y="4116005"/>
                  <a:pt x="5924586" y="4115671"/>
                  <a:pt x="5922868" y="4115561"/>
                </a:cubicBezTo>
                <a:cubicBezTo>
                  <a:pt x="5922868" y="4114339"/>
                  <a:pt x="5921149" y="4114228"/>
                  <a:pt x="5921149" y="4113006"/>
                </a:cubicBezTo>
                <a:cubicBezTo>
                  <a:pt x="5919430" y="4110451"/>
                  <a:pt x="5919430" y="4110339"/>
                  <a:pt x="5921436" y="4109340"/>
                </a:cubicBezTo>
                <a:cubicBezTo>
                  <a:pt x="5923154" y="4108229"/>
                  <a:pt x="5928311" y="4109896"/>
                  <a:pt x="5930316" y="4108895"/>
                </a:cubicBezTo>
                <a:close/>
                <a:moveTo>
                  <a:pt x="7419072" y="4108784"/>
                </a:moveTo>
                <a:cubicBezTo>
                  <a:pt x="7424514" y="4109784"/>
                  <a:pt x="7428524" y="4109118"/>
                  <a:pt x="7431962" y="4109007"/>
                </a:cubicBezTo>
                <a:cubicBezTo>
                  <a:pt x="7435114" y="4108784"/>
                  <a:pt x="7437405" y="4109118"/>
                  <a:pt x="7439696" y="4111895"/>
                </a:cubicBezTo>
                <a:cubicBezTo>
                  <a:pt x="7435686" y="4115672"/>
                  <a:pt x="7422222" y="4113339"/>
                  <a:pt x="7419072" y="4108784"/>
                </a:cubicBezTo>
                <a:close/>
                <a:moveTo>
                  <a:pt x="6407566" y="4108340"/>
                </a:moveTo>
                <a:cubicBezTo>
                  <a:pt x="6409284" y="4109562"/>
                  <a:pt x="6409284" y="4109673"/>
                  <a:pt x="6407566" y="4109562"/>
                </a:cubicBezTo>
                <a:cubicBezTo>
                  <a:pt x="6409284" y="4112005"/>
                  <a:pt x="6409571" y="4113228"/>
                  <a:pt x="6409571" y="4114449"/>
                </a:cubicBezTo>
                <a:cubicBezTo>
                  <a:pt x="6407852" y="4115560"/>
                  <a:pt x="6404414" y="4115560"/>
                  <a:pt x="6400977" y="4114228"/>
                </a:cubicBezTo>
                <a:cubicBezTo>
                  <a:pt x="6402696" y="4113005"/>
                  <a:pt x="6400690" y="4110562"/>
                  <a:pt x="6402410" y="4109450"/>
                </a:cubicBezTo>
                <a:cubicBezTo>
                  <a:pt x="6402410" y="4109450"/>
                  <a:pt x="6407566" y="4108340"/>
                  <a:pt x="6407566" y="4108340"/>
                </a:cubicBezTo>
                <a:close/>
                <a:moveTo>
                  <a:pt x="5972140" y="4106785"/>
                </a:moveTo>
                <a:cubicBezTo>
                  <a:pt x="5974145" y="4107451"/>
                  <a:pt x="5974718" y="4108784"/>
                  <a:pt x="5974718" y="4110117"/>
                </a:cubicBezTo>
                <a:cubicBezTo>
                  <a:pt x="5974718" y="4111339"/>
                  <a:pt x="5973858" y="4112562"/>
                  <a:pt x="5972999" y="4112783"/>
                </a:cubicBezTo>
                <a:cubicBezTo>
                  <a:pt x="5970994" y="4112117"/>
                  <a:pt x="5969848" y="4109895"/>
                  <a:pt x="5967843" y="4109228"/>
                </a:cubicBezTo>
                <a:cubicBezTo>
                  <a:pt x="5969275" y="4108784"/>
                  <a:pt x="5970422" y="4107229"/>
                  <a:pt x="5972140" y="4106785"/>
                </a:cubicBezTo>
                <a:close/>
                <a:moveTo>
                  <a:pt x="6474598" y="4106341"/>
                </a:moveTo>
                <a:cubicBezTo>
                  <a:pt x="6476030" y="4109562"/>
                  <a:pt x="6477463" y="4112672"/>
                  <a:pt x="6472880" y="4113339"/>
                </a:cubicBezTo>
                <a:cubicBezTo>
                  <a:pt x="6470588" y="4111117"/>
                  <a:pt x="6468582" y="4111450"/>
                  <a:pt x="6468009" y="4107341"/>
                </a:cubicBezTo>
                <a:cubicBezTo>
                  <a:pt x="6470015" y="4107006"/>
                  <a:pt x="6472306" y="4106674"/>
                  <a:pt x="6474598" y="4106341"/>
                </a:cubicBezTo>
                <a:close/>
                <a:moveTo>
                  <a:pt x="7111695" y="4106118"/>
                </a:moveTo>
                <a:cubicBezTo>
                  <a:pt x="7113414" y="4106341"/>
                  <a:pt x="7118284" y="4108118"/>
                  <a:pt x="7118284" y="4107007"/>
                </a:cubicBezTo>
                <a:cubicBezTo>
                  <a:pt x="7122008" y="4110007"/>
                  <a:pt x="7125446" y="4113561"/>
                  <a:pt x="7125446" y="4116560"/>
                </a:cubicBezTo>
                <a:cubicBezTo>
                  <a:pt x="7125446" y="4117560"/>
                  <a:pt x="7124873" y="4118449"/>
                  <a:pt x="7124013" y="4119226"/>
                </a:cubicBezTo>
                <a:cubicBezTo>
                  <a:pt x="7122008" y="4121337"/>
                  <a:pt x="7118856" y="4119893"/>
                  <a:pt x="7115706" y="4117115"/>
                </a:cubicBezTo>
                <a:cubicBezTo>
                  <a:pt x="7107398" y="4112783"/>
                  <a:pt x="7106252" y="4109118"/>
                  <a:pt x="7111695" y="4106118"/>
                </a:cubicBezTo>
                <a:close/>
                <a:moveTo>
                  <a:pt x="6175816" y="4105008"/>
                </a:moveTo>
                <a:cubicBezTo>
                  <a:pt x="6186128" y="4109450"/>
                  <a:pt x="6197301" y="4112673"/>
                  <a:pt x="6204749" y="4120670"/>
                </a:cubicBezTo>
                <a:lnTo>
                  <a:pt x="6207614" y="4125225"/>
                </a:lnTo>
                <a:lnTo>
                  <a:pt x="6209046" y="4123670"/>
                </a:lnTo>
                <a:cubicBezTo>
                  <a:pt x="6211338" y="4122670"/>
                  <a:pt x="6214488" y="4122226"/>
                  <a:pt x="6218212" y="4122226"/>
                </a:cubicBezTo>
                <a:cubicBezTo>
                  <a:pt x="6219932" y="4125336"/>
                  <a:pt x="6217640" y="4131000"/>
                  <a:pt x="6213056" y="4132556"/>
                </a:cubicBezTo>
                <a:lnTo>
                  <a:pt x="6209905" y="4131557"/>
                </a:lnTo>
                <a:lnTo>
                  <a:pt x="6205894" y="4135666"/>
                </a:lnTo>
                <a:cubicBezTo>
                  <a:pt x="6204176" y="4137444"/>
                  <a:pt x="6201884" y="4138666"/>
                  <a:pt x="6197588" y="4137888"/>
                </a:cubicBezTo>
                <a:lnTo>
                  <a:pt x="6196442" y="4134555"/>
                </a:lnTo>
                <a:lnTo>
                  <a:pt x="6188707" y="4140554"/>
                </a:lnTo>
                <a:cubicBezTo>
                  <a:pt x="6184124" y="4137444"/>
                  <a:pt x="6184124" y="4135000"/>
                  <a:pt x="6185842" y="4132778"/>
                </a:cubicBezTo>
                <a:lnTo>
                  <a:pt x="6192144" y="4126780"/>
                </a:lnTo>
                <a:lnTo>
                  <a:pt x="6184410" y="4120670"/>
                </a:lnTo>
                <a:cubicBezTo>
                  <a:pt x="6178108" y="4116116"/>
                  <a:pt x="6172378" y="4111784"/>
                  <a:pt x="6175816" y="4105008"/>
                </a:cubicBezTo>
                <a:close/>
                <a:moveTo>
                  <a:pt x="6823512" y="4105008"/>
                </a:moveTo>
                <a:cubicBezTo>
                  <a:pt x="6832106" y="4105008"/>
                  <a:pt x="6838981" y="4109673"/>
                  <a:pt x="6839840" y="4114783"/>
                </a:cubicBezTo>
                <a:cubicBezTo>
                  <a:pt x="6840127" y="4116560"/>
                  <a:pt x="6839840" y="4118338"/>
                  <a:pt x="6838694" y="4120003"/>
                </a:cubicBezTo>
                <a:cubicBezTo>
                  <a:pt x="6837262" y="4122336"/>
                  <a:pt x="6834398" y="4124447"/>
                  <a:pt x="6829528" y="4126113"/>
                </a:cubicBezTo>
                <a:cubicBezTo>
                  <a:pt x="6825230" y="4126669"/>
                  <a:pt x="6820361" y="4124003"/>
                  <a:pt x="6816636" y="4120670"/>
                </a:cubicBezTo>
                <a:lnTo>
                  <a:pt x="6816636" y="4120559"/>
                </a:lnTo>
                <a:lnTo>
                  <a:pt x="6816350" y="4122003"/>
                </a:lnTo>
                <a:cubicBezTo>
                  <a:pt x="6815491" y="4121337"/>
                  <a:pt x="6815491" y="4121115"/>
                  <a:pt x="6815778" y="4120782"/>
                </a:cubicBezTo>
                <a:lnTo>
                  <a:pt x="6816350" y="4120226"/>
                </a:lnTo>
                <a:lnTo>
                  <a:pt x="6812340" y="4115227"/>
                </a:lnTo>
                <a:cubicBezTo>
                  <a:pt x="6811768" y="4113450"/>
                  <a:pt x="6811480" y="4111784"/>
                  <a:pt x="6812340" y="4110339"/>
                </a:cubicBezTo>
                <a:cubicBezTo>
                  <a:pt x="6816064" y="4108562"/>
                  <a:pt x="6819788" y="4106785"/>
                  <a:pt x="6823512" y="4105008"/>
                </a:cubicBezTo>
                <a:close/>
                <a:moveTo>
                  <a:pt x="6767938" y="4104452"/>
                </a:moveTo>
                <a:cubicBezTo>
                  <a:pt x="6774240" y="4107784"/>
                  <a:pt x="6780256" y="4107007"/>
                  <a:pt x="6783121" y="4109006"/>
                </a:cubicBezTo>
                <a:cubicBezTo>
                  <a:pt x="6783980" y="4109673"/>
                  <a:pt x="6784266" y="4110562"/>
                  <a:pt x="6784267" y="4112117"/>
                </a:cubicBezTo>
                <a:cubicBezTo>
                  <a:pt x="6777964" y="4114561"/>
                  <a:pt x="6767652" y="4109340"/>
                  <a:pt x="6767938" y="4104452"/>
                </a:cubicBezTo>
                <a:close/>
                <a:moveTo>
                  <a:pt x="5777058" y="4103341"/>
                </a:moveTo>
                <a:cubicBezTo>
                  <a:pt x="5784792" y="4110118"/>
                  <a:pt x="5771328" y="4115227"/>
                  <a:pt x="5765312" y="4113228"/>
                </a:cubicBezTo>
                <a:cubicBezTo>
                  <a:pt x="5762162" y="4108007"/>
                  <a:pt x="5770182" y="4102453"/>
                  <a:pt x="5777058" y="4103341"/>
                </a:cubicBezTo>
                <a:close/>
                <a:moveTo>
                  <a:pt x="6565694" y="4102453"/>
                </a:moveTo>
                <a:cubicBezTo>
                  <a:pt x="6570278" y="4103564"/>
                  <a:pt x="6572856" y="4106340"/>
                  <a:pt x="6574002" y="4109340"/>
                </a:cubicBezTo>
                <a:lnTo>
                  <a:pt x="6574288" y="4112228"/>
                </a:lnTo>
                <a:lnTo>
                  <a:pt x="6577152" y="4112783"/>
                </a:lnTo>
                <a:cubicBezTo>
                  <a:pt x="6581163" y="4117004"/>
                  <a:pt x="6581163" y="4121559"/>
                  <a:pt x="6578585" y="4124447"/>
                </a:cubicBezTo>
                <a:lnTo>
                  <a:pt x="6573715" y="4126558"/>
                </a:lnTo>
                <a:lnTo>
                  <a:pt x="6572856" y="4127668"/>
                </a:lnTo>
                <a:cubicBezTo>
                  <a:pt x="6571996" y="4128668"/>
                  <a:pt x="6570850" y="4129002"/>
                  <a:pt x="6568558" y="4128335"/>
                </a:cubicBezTo>
                <a:cubicBezTo>
                  <a:pt x="6566840" y="4128224"/>
                  <a:pt x="6565980" y="4127446"/>
                  <a:pt x="6565408" y="4126558"/>
                </a:cubicBezTo>
                <a:lnTo>
                  <a:pt x="6565122" y="4126446"/>
                </a:lnTo>
                <a:lnTo>
                  <a:pt x="6561684" y="4126113"/>
                </a:lnTo>
                <a:lnTo>
                  <a:pt x="6560538" y="4124114"/>
                </a:lnTo>
                <a:lnTo>
                  <a:pt x="6555668" y="4124781"/>
                </a:lnTo>
                <a:cubicBezTo>
                  <a:pt x="6553949" y="4125558"/>
                  <a:pt x="6551657" y="4126669"/>
                  <a:pt x="6549366" y="4127668"/>
                </a:cubicBezTo>
                <a:lnTo>
                  <a:pt x="6548220" y="4128224"/>
                </a:lnTo>
                <a:lnTo>
                  <a:pt x="6546214" y="4132778"/>
                </a:lnTo>
                <a:cubicBezTo>
                  <a:pt x="6543922" y="4132556"/>
                  <a:pt x="6541631" y="4132223"/>
                  <a:pt x="6539053" y="4132000"/>
                </a:cubicBezTo>
                <a:lnTo>
                  <a:pt x="6538767" y="4130445"/>
                </a:lnTo>
                <a:lnTo>
                  <a:pt x="6531318" y="4130223"/>
                </a:lnTo>
                <a:cubicBezTo>
                  <a:pt x="6533896" y="4127224"/>
                  <a:pt x="6525016" y="4123225"/>
                  <a:pt x="6528740" y="4118782"/>
                </a:cubicBezTo>
                <a:cubicBezTo>
                  <a:pt x="6537620" y="4104452"/>
                  <a:pt x="6543350" y="4105452"/>
                  <a:pt x="6556240" y="4105896"/>
                </a:cubicBezTo>
                <a:cubicBezTo>
                  <a:pt x="6554808" y="4106341"/>
                  <a:pt x="6556814" y="4107007"/>
                  <a:pt x="6556814" y="4107007"/>
                </a:cubicBezTo>
                <a:cubicBezTo>
                  <a:pt x="6561110" y="4108452"/>
                  <a:pt x="6559964" y="4101453"/>
                  <a:pt x="6565694" y="4102453"/>
                </a:cubicBezTo>
                <a:close/>
                <a:moveTo>
                  <a:pt x="6064668" y="4102230"/>
                </a:moveTo>
                <a:cubicBezTo>
                  <a:pt x="6066674" y="4102008"/>
                  <a:pt x="6068678" y="4102007"/>
                  <a:pt x="6071256" y="4102564"/>
                </a:cubicBezTo>
                <a:cubicBezTo>
                  <a:pt x="6080710" y="4113450"/>
                  <a:pt x="6063808" y="4121226"/>
                  <a:pt x="6053782" y="4116672"/>
                </a:cubicBezTo>
                <a:cubicBezTo>
                  <a:pt x="6050344" y="4115117"/>
                  <a:pt x="6047480" y="4112228"/>
                  <a:pt x="6046621" y="4107563"/>
                </a:cubicBezTo>
                <a:cubicBezTo>
                  <a:pt x="6055214" y="4106451"/>
                  <a:pt x="6058938" y="4103008"/>
                  <a:pt x="6064668" y="4102230"/>
                </a:cubicBezTo>
                <a:close/>
                <a:moveTo>
                  <a:pt x="6501526" y="4100786"/>
                </a:moveTo>
                <a:cubicBezTo>
                  <a:pt x="6502672" y="4109229"/>
                  <a:pt x="6502386" y="4117115"/>
                  <a:pt x="6509547" y="4128224"/>
                </a:cubicBezTo>
                <a:cubicBezTo>
                  <a:pt x="6504964" y="4128891"/>
                  <a:pt x="6507828" y="4132778"/>
                  <a:pt x="6501812" y="4132778"/>
                </a:cubicBezTo>
                <a:cubicBezTo>
                  <a:pt x="6489781" y="4127447"/>
                  <a:pt x="6484624" y="4104008"/>
                  <a:pt x="6501526" y="4100786"/>
                </a:cubicBezTo>
                <a:close/>
                <a:moveTo>
                  <a:pt x="6356002" y="4097677"/>
                </a:moveTo>
                <a:cubicBezTo>
                  <a:pt x="6370612" y="4112005"/>
                  <a:pt x="6397253" y="4109118"/>
                  <a:pt x="6409571" y="4126447"/>
                </a:cubicBezTo>
                <a:cubicBezTo>
                  <a:pt x="6405274" y="4127668"/>
                  <a:pt x="6399543" y="4127336"/>
                  <a:pt x="6393242" y="4126113"/>
                </a:cubicBezTo>
                <a:lnTo>
                  <a:pt x="6386368" y="4123780"/>
                </a:lnTo>
                <a:lnTo>
                  <a:pt x="6386368" y="4124335"/>
                </a:lnTo>
                <a:cubicBezTo>
                  <a:pt x="6384648" y="4125891"/>
                  <a:pt x="6382643" y="4126336"/>
                  <a:pt x="6380924" y="4126113"/>
                </a:cubicBezTo>
                <a:cubicBezTo>
                  <a:pt x="6378919" y="4125780"/>
                  <a:pt x="6376628" y="4124669"/>
                  <a:pt x="6374050" y="4123225"/>
                </a:cubicBezTo>
                <a:cubicBezTo>
                  <a:pt x="6371471" y="4121892"/>
                  <a:pt x="6370898" y="4120337"/>
                  <a:pt x="6370326" y="4118782"/>
                </a:cubicBezTo>
                <a:lnTo>
                  <a:pt x="6368320" y="4115783"/>
                </a:lnTo>
                <a:lnTo>
                  <a:pt x="6358580" y="4109118"/>
                </a:lnTo>
                <a:cubicBezTo>
                  <a:pt x="6355429" y="4105341"/>
                  <a:pt x="6353997" y="4101342"/>
                  <a:pt x="6356002" y="4097677"/>
                </a:cubicBezTo>
                <a:close/>
                <a:moveTo>
                  <a:pt x="6965026" y="4096010"/>
                </a:moveTo>
                <a:cubicBezTo>
                  <a:pt x="6966744" y="4097454"/>
                  <a:pt x="6968176" y="4098787"/>
                  <a:pt x="6968463" y="4097676"/>
                </a:cubicBezTo>
                <a:cubicBezTo>
                  <a:pt x="6969895" y="4099009"/>
                  <a:pt x="6970468" y="4100231"/>
                  <a:pt x="6970754" y="4101342"/>
                </a:cubicBezTo>
                <a:cubicBezTo>
                  <a:pt x="6970754" y="4102564"/>
                  <a:pt x="6970182" y="4103675"/>
                  <a:pt x="6969322" y="4104786"/>
                </a:cubicBezTo>
                <a:cubicBezTo>
                  <a:pt x="6967604" y="4105785"/>
                  <a:pt x="6964166" y="4105340"/>
                  <a:pt x="6959296" y="4103674"/>
                </a:cubicBezTo>
                <a:cubicBezTo>
                  <a:pt x="6957864" y="4101119"/>
                  <a:pt x="6963306" y="4098232"/>
                  <a:pt x="6965026" y="4096010"/>
                </a:cubicBezTo>
                <a:close/>
                <a:moveTo>
                  <a:pt x="7092502" y="4095565"/>
                </a:moveTo>
                <a:cubicBezTo>
                  <a:pt x="7092502" y="4095565"/>
                  <a:pt x="7095653" y="4097121"/>
                  <a:pt x="7095653" y="4097121"/>
                </a:cubicBezTo>
                <a:cubicBezTo>
                  <a:pt x="7098804" y="4099898"/>
                  <a:pt x="7100523" y="4101230"/>
                  <a:pt x="7103674" y="4102897"/>
                </a:cubicBezTo>
                <a:cubicBezTo>
                  <a:pt x="7101669" y="4105119"/>
                  <a:pt x="7099950" y="4104897"/>
                  <a:pt x="7098518" y="4103564"/>
                </a:cubicBezTo>
                <a:cubicBezTo>
                  <a:pt x="7098518" y="4103564"/>
                  <a:pt x="7096800" y="4102119"/>
                  <a:pt x="7095367" y="4100786"/>
                </a:cubicBezTo>
                <a:cubicBezTo>
                  <a:pt x="7093648" y="4099342"/>
                  <a:pt x="7091929" y="4099232"/>
                  <a:pt x="7091929" y="4099232"/>
                </a:cubicBezTo>
                <a:cubicBezTo>
                  <a:pt x="7090496" y="4097787"/>
                  <a:pt x="7090783" y="4096565"/>
                  <a:pt x="7092502" y="4095565"/>
                </a:cubicBezTo>
                <a:close/>
                <a:moveTo>
                  <a:pt x="5991906" y="4094011"/>
                </a:moveTo>
                <a:cubicBezTo>
                  <a:pt x="6002218" y="4096343"/>
                  <a:pt x="6006516" y="4100342"/>
                  <a:pt x="6006516" y="4104119"/>
                </a:cubicBezTo>
                <a:lnTo>
                  <a:pt x="6005370" y="4105563"/>
                </a:lnTo>
                <a:lnTo>
                  <a:pt x="6007088" y="4106229"/>
                </a:lnTo>
                <a:cubicBezTo>
                  <a:pt x="6009666" y="4108118"/>
                  <a:pt x="6011386" y="4111117"/>
                  <a:pt x="6014250" y="4113450"/>
                </a:cubicBezTo>
                <a:lnTo>
                  <a:pt x="6007948" y="4114672"/>
                </a:lnTo>
                <a:lnTo>
                  <a:pt x="6009094" y="4116782"/>
                </a:lnTo>
                <a:lnTo>
                  <a:pt x="6009954" y="4115227"/>
                </a:lnTo>
                <a:cubicBezTo>
                  <a:pt x="6012245" y="4117227"/>
                  <a:pt x="6014250" y="4119226"/>
                  <a:pt x="6015396" y="4121337"/>
                </a:cubicBezTo>
                <a:cubicBezTo>
                  <a:pt x="6016828" y="4123448"/>
                  <a:pt x="6017401" y="4125780"/>
                  <a:pt x="6017114" y="4128113"/>
                </a:cubicBezTo>
                <a:lnTo>
                  <a:pt x="6012245" y="4128335"/>
                </a:lnTo>
                <a:lnTo>
                  <a:pt x="6012245" y="4128446"/>
                </a:lnTo>
                <a:cubicBezTo>
                  <a:pt x="6011958" y="4130890"/>
                  <a:pt x="6011386" y="4132667"/>
                  <a:pt x="6010526" y="4133667"/>
                </a:cubicBezTo>
                <a:lnTo>
                  <a:pt x="6007088" y="4130002"/>
                </a:lnTo>
                <a:lnTo>
                  <a:pt x="6007375" y="4131112"/>
                </a:lnTo>
                <a:cubicBezTo>
                  <a:pt x="6007662" y="4132112"/>
                  <a:pt x="6007375" y="4133223"/>
                  <a:pt x="6006516" y="4134333"/>
                </a:cubicBezTo>
                <a:lnTo>
                  <a:pt x="6003651" y="4134667"/>
                </a:lnTo>
                <a:lnTo>
                  <a:pt x="6012245" y="4139888"/>
                </a:lnTo>
                <a:cubicBezTo>
                  <a:pt x="6013677" y="4141554"/>
                  <a:pt x="6014823" y="4143220"/>
                  <a:pt x="6015396" y="4144998"/>
                </a:cubicBezTo>
                <a:cubicBezTo>
                  <a:pt x="6016542" y="4147663"/>
                  <a:pt x="6016542" y="4150552"/>
                  <a:pt x="6016542" y="4153662"/>
                </a:cubicBezTo>
                <a:lnTo>
                  <a:pt x="6016256" y="4154328"/>
                </a:lnTo>
                <a:lnTo>
                  <a:pt x="6021125" y="4155994"/>
                </a:lnTo>
                <a:cubicBezTo>
                  <a:pt x="6019980" y="4156994"/>
                  <a:pt x="6018260" y="4157883"/>
                  <a:pt x="6015682" y="4158550"/>
                </a:cubicBezTo>
                <a:lnTo>
                  <a:pt x="6015682" y="4158661"/>
                </a:lnTo>
                <a:lnTo>
                  <a:pt x="6015110" y="4162882"/>
                </a:lnTo>
                <a:cubicBezTo>
                  <a:pt x="6011958" y="4162548"/>
                  <a:pt x="6009380" y="4161771"/>
                  <a:pt x="6007375" y="4160549"/>
                </a:cubicBezTo>
                <a:lnTo>
                  <a:pt x="6006802" y="4159883"/>
                </a:lnTo>
                <a:lnTo>
                  <a:pt x="5998494" y="4158994"/>
                </a:lnTo>
                <a:cubicBezTo>
                  <a:pt x="5995630" y="4158216"/>
                  <a:pt x="5992766" y="4156883"/>
                  <a:pt x="5990760" y="4154773"/>
                </a:cubicBezTo>
                <a:cubicBezTo>
                  <a:pt x="5993624" y="4152884"/>
                  <a:pt x="5996203" y="4151661"/>
                  <a:pt x="5999068" y="4151218"/>
                </a:cubicBezTo>
                <a:lnTo>
                  <a:pt x="6002218" y="4151218"/>
                </a:lnTo>
                <a:lnTo>
                  <a:pt x="6001072" y="4142998"/>
                </a:lnTo>
                <a:lnTo>
                  <a:pt x="6003364" y="4134777"/>
                </a:lnTo>
                <a:lnTo>
                  <a:pt x="5997922" y="4135444"/>
                </a:lnTo>
                <a:cubicBezTo>
                  <a:pt x="5982166" y="4129891"/>
                  <a:pt x="5984744" y="4123003"/>
                  <a:pt x="5982452" y="4122336"/>
                </a:cubicBezTo>
                <a:cubicBezTo>
                  <a:pt x="5985890" y="4117671"/>
                  <a:pt x="5990474" y="4119004"/>
                  <a:pt x="5997922" y="4119337"/>
                </a:cubicBezTo>
                <a:lnTo>
                  <a:pt x="5999354" y="4120782"/>
                </a:lnTo>
                <a:lnTo>
                  <a:pt x="5999068" y="4114561"/>
                </a:lnTo>
                <a:lnTo>
                  <a:pt x="5999354" y="4110339"/>
                </a:lnTo>
                <a:lnTo>
                  <a:pt x="5995344" y="4111784"/>
                </a:lnTo>
                <a:cubicBezTo>
                  <a:pt x="5991046" y="4112228"/>
                  <a:pt x="5985890" y="4111562"/>
                  <a:pt x="5980448" y="4109118"/>
                </a:cubicBezTo>
                <a:cubicBezTo>
                  <a:pt x="5977011" y="4103896"/>
                  <a:pt x="5984744" y="4094121"/>
                  <a:pt x="5991906" y="4094011"/>
                </a:cubicBezTo>
                <a:close/>
                <a:moveTo>
                  <a:pt x="5856408" y="4094010"/>
                </a:moveTo>
                <a:cubicBezTo>
                  <a:pt x="5866148" y="4097010"/>
                  <a:pt x="5867294" y="4108007"/>
                  <a:pt x="5866148" y="4114228"/>
                </a:cubicBezTo>
                <a:cubicBezTo>
                  <a:pt x="5861565" y="4114894"/>
                  <a:pt x="5861564" y="4117449"/>
                  <a:pt x="5856982" y="4118115"/>
                </a:cubicBezTo>
                <a:cubicBezTo>
                  <a:pt x="5852684" y="4108340"/>
                  <a:pt x="5847242" y="4097898"/>
                  <a:pt x="5856408" y="4094010"/>
                </a:cubicBezTo>
                <a:close/>
                <a:moveTo>
                  <a:pt x="5800548" y="4093233"/>
                </a:moveTo>
                <a:cubicBezTo>
                  <a:pt x="5803985" y="4102230"/>
                  <a:pt x="5799974" y="4103896"/>
                  <a:pt x="5795678" y="4102675"/>
                </a:cubicBezTo>
                <a:cubicBezTo>
                  <a:pt x="5788516" y="4100676"/>
                  <a:pt x="5779636" y="4090678"/>
                  <a:pt x="5800548" y="4093233"/>
                </a:cubicBezTo>
                <a:close/>
                <a:moveTo>
                  <a:pt x="7047240" y="4092789"/>
                </a:moveTo>
                <a:cubicBezTo>
                  <a:pt x="7049532" y="4093233"/>
                  <a:pt x="7050105" y="4094232"/>
                  <a:pt x="7050964" y="4095233"/>
                </a:cubicBezTo>
                <a:lnTo>
                  <a:pt x="7050964" y="4102341"/>
                </a:lnTo>
                <a:lnTo>
                  <a:pt x="7055548" y="4102342"/>
                </a:lnTo>
                <a:cubicBezTo>
                  <a:pt x="7058699" y="4102897"/>
                  <a:pt x="7060991" y="4103786"/>
                  <a:pt x="7062136" y="4105007"/>
                </a:cubicBezTo>
                <a:lnTo>
                  <a:pt x="7063282" y="4106340"/>
                </a:lnTo>
                <a:lnTo>
                  <a:pt x="7064715" y="4105563"/>
                </a:lnTo>
                <a:cubicBezTo>
                  <a:pt x="7066434" y="4105674"/>
                  <a:pt x="7068726" y="4106563"/>
                  <a:pt x="7071017" y="4108896"/>
                </a:cubicBezTo>
                <a:lnTo>
                  <a:pt x="7066720" y="4111895"/>
                </a:lnTo>
                <a:lnTo>
                  <a:pt x="7067866" y="4113005"/>
                </a:lnTo>
                <a:lnTo>
                  <a:pt x="7069298" y="4113006"/>
                </a:lnTo>
                <a:cubicBezTo>
                  <a:pt x="7070158" y="4114005"/>
                  <a:pt x="7072736" y="4115671"/>
                  <a:pt x="7075028" y="4116227"/>
                </a:cubicBezTo>
                <a:cubicBezTo>
                  <a:pt x="7073309" y="4116672"/>
                  <a:pt x="7071876" y="4117338"/>
                  <a:pt x="7072450" y="4118338"/>
                </a:cubicBezTo>
                <a:cubicBezTo>
                  <a:pt x="7070158" y="4117893"/>
                  <a:pt x="7069012" y="4117338"/>
                  <a:pt x="7067866" y="4116783"/>
                </a:cubicBezTo>
                <a:lnTo>
                  <a:pt x="7067293" y="4116449"/>
                </a:lnTo>
                <a:lnTo>
                  <a:pt x="7065574" y="4116672"/>
                </a:lnTo>
                <a:lnTo>
                  <a:pt x="7064142" y="4116227"/>
                </a:lnTo>
                <a:lnTo>
                  <a:pt x="7063569" y="4116227"/>
                </a:lnTo>
                <a:cubicBezTo>
                  <a:pt x="7063569" y="4116227"/>
                  <a:pt x="7063856" y="4116115"/>
                  <a:pt x="7061850" y="4119337"/>
                </a:cubicBezTo>
                <a:cubicBezTo>
                  <a:pt x="7061850" y="4119337"/>
                  <a:pt x="7056408" y="4126224"/>
                  <a:pt x="7046094" y="4124558"/>
                </a:cubicBezTo>
                <a:cubicBezTo>
                  <a:pt x="7047240" y="4123003"/>
                  <a:pt x="7034063" y="4119670"/>
                  <a:pt x="7034637" y="4114339"/>
                </a:cubicBezTo>
                <a:cubicBezTo>
                  <a:pt x="7034922" y="4111673"/>
                  <a:pt x="7035782" y="4110118"/>
                  <a:pt x="7036068" y="4107452"/>
                </a:cubicBezTo>
                <a:lnTo>
                  <a:pt x="7040079" y="4105452"/>
                </a:lnTo>
                <a:lnTo>
                  <a:pt x="7039792" y="4098565"/>
                </a:lnTo>
                <a:cubicBezTo>
                  <a:pt x="7040366" y="4097009"/>
                  <a:pt x="7044949" y="4092454"/>
                  <a:pt x="7047240" y="4092789"/>
                </a:cubicBezTo>
                <a:close/>
                <a:moveTo>
                  <a:pt x="7109404" y="4092567"/>
                </a:moveTo>
                <a:cubicBezTo>
                  <a:pt x="7110262" y="4092566"/>
                  <a:pt x="7111408" y="4092566"/>
                  <a:pt x="7111122" y="4093233"/>
                </a:cubicBezTo>
                <a:cubicBezTo>
                  <a:pt x="7112841" y="4093344"/>
                  <a:pt x="7112554" y="4095566"/>
                  <a:pt x="7112554" y="4095566"/>
                </a:cubicBezTo>
                <a:cubicBezTo>
                  <a:pt x="7114273" y="4095788"/>
                  <a:pt x="7116278" y="4096010"/>
                  <a:pt x="7117997" y="4097343"/>
                </a:cubicBezTo>
                <a:cubicBezTo>
                  <a:pt x="7115992" y="4098343"/>
                  <a:pt x="7117711" y="4098454"/>
                  <a:pt x="7117711" y="4099564"/>
                </a:cubicBezTo>
                <a:cubicBezTo>
                  <a:pt x="7115992" y="4098231"/>
                  <a:pt x="7110836" y="4097676"/>
                  <a:pt x="7107398" y="4096120"/>
                </a:cubicBezTo>
                <a:cubicBezTo>
                  <a:pt x="7107398" y="4095009"/>
                  <a:pt x="7105680" y="4093788"/>
                  <a:pt x="7105966" y="4092678"/>
                </a:cubicBezTo>
                <a:cubicBezTo>
                  <a:pt x="7106825" y="4092788"/>
                  <a:pt x="7108258" y="4092567"/>
                  <a:pt x="7109404" y="4092567"/>
                </a:cubicBezTo>
                <a:close/>
                <a:moveTo>
                  <a:pt x="6060371" y="4091344"/>
                </a:moveTo>
                <a:cubicBezTo>
                  <a:pt x="6064668" y="4091344"/>
                  <a:pt x="6068678" y="4092233"/>
                  <a:pt x="6071543" y="4094455"/>
                </a:cubicBezTo>
                <a:cubicBezTo>
                  <a:pt x="6060371" y="4098676"/>
                  <a:pt x="6049485" y="4101675"/>
                  <a:pt x="6037167" y="4110562"/>
                </a:cubicBezTo>
                <a:cubicBezTo>
                  <a:pt x="6034589" y="4108007"/>
                  <a:pt x="6030292" y="4111339"/>
                  <a:pt x="6028000" y="4107562"/>
                </a:cubicBezTo>
                <a:cubicBezTo>
                  <a:pt x="6029719" y="4100453"/>
                  <a:pt x="6046907" y="4091567"/>
                  <a:pt x="6060371" y="4091344"/>
                </a:cubicBezTo>
                <a:close/>
                <a:moveTo>
                  <a:pt x="6200452" y="4087900"/>
                </a:moveTo>
                <a:cubicBezTo>
                  <a:pt x="6205608" y="4088678"/>
                  <a:pt x="6213056" y="4094455"/>
                  <a:pt x="6212484" y="4097787"/>
                </a:cubicBezTo>
                <a:cubicBezTo>
                  <a:pt x="6210478" y="4098675"/>
                  <a:pt x="6208473" y="4099564"/>
                  <a:pt x="6206754" y="4100453"/>
                </a:cubicBezTo>
                <a:cubicBezTo>
                  <a:pt x="6198446" y="4098009"/>
                  <a:pt x="6192718" y="4092455"/>
                  <a:pt x="6200452" y="4087900"/>
                </a:cubicBezTo>
                <a:close/>
                <a:moveTo>
                  <a:pt x="5876174" y="4087012"/>
                </a:moveTo>
                <a:cubicBezTo>
                  <a:pt x="5876174" y="4087012"/>
                  <a:pt x="5876174" y="4087012"/>
                  <a:pt x="5877894" y="4087123"/>
                </a:cubicBezTo>
                <a:cubicBezTo>
                  <a:pt x="5876174" y="4091789"/>
                  <a:pt x="5877606" y="4097786"/>
                  <a:pt x="5874169" y="4101009"/>
                </a:cubicBezTo>
                <a:cubicBezTo>
                  <a:pt x="5873310" y="4101564"/>
                  <a:pt x="5872164" y="4102119"/>
                  <a:pt x="5871304" y="4102119"/>
                </a:cubicBezTo>
                <a:cubicBezTo>
                  <a:pt x="5870158" y="4102230"/>
                  <a:pt x="5869012" y="4101786"/>
                  <a:pt x="5867294" y="4100453"/>
                </a:cubicBezTo>
                <a:cubicBezTo>
                  <a:pt x="5863856" y="4099009"/>
                  <a:pt x="5864143" y="4097898"/>
                  <a:pt x="5867580" y="4094566"/>
                </a:cubicBezTo>
                <a:cubicBezTo>
                  <a:pt x="5871018" y="4092455"/>
                  <a:pt x="5872736" y="4090234"/>
                  <a:pt x="5874456" y="4090345"/>
                </a:cubicBezTo>
                <a:cubicBezTo>
                  <a:pt x="5874456" y="4089234"/>
                  <a:pt x="5876174" y="4088123"/>
                  <a:pt x="5876174" y="4087012"/>
                </a:cubicBezTo>
                <a:close/>
                <a:moveTo>
                  <a:pt x="5796824" y="4085457"/>
                </a:moveTo>
                <a:cubicBezTo>
                  <a:pt x="5798829" y="4085235"/>
                  <a:pt x="5800834" y="4085345"/>
                  <a:pt x="5803126" y="4086013"/>
                </a:cubicBezTo>
                <a:cubicBezTo>
                  <a:pt x="5803126" y="4086013"/>
                  <a:pt x="5803126" y="4086124"/>
                  <a:pt x="5801407" y="4086012"/>
                </a:cubicBezTo>
                <a:cubicBezTo>
                  <a:pt x="5801407" y="4086012"/>
                  <a:pt x="5803126" y="4086013"/>
                  <a:pt x="5803126" y="4087123"/>
                </a:cubicBezTo>
                <a:cubicBezTo>
                  <a:pt x="5794818" y="4090345"/>
                  <a:pt x="5781068" y="4088789"/>
                  <a:pt x="5779350" y="4088678"/>
                </a:cubicBezTo>
                <a:cubicBezTo>
                  <a:pt x="5779350" y="4087568"/>
                  <a:pt x="5779350" y="4087568"/>
                  <a:pt x="5779350" y="4087568"/>
                </a:cubicBezTo>
                <a:cubicBezTo>
                  <a:pt x="5784507" y="4088567"/>
                  <a:pt x="5790522" y="4085790"/>
                  <a:pt x="5796824" y="4085457"/>
                </a:cubicBezTo>
                <a:close/>
                <a:moveTo>
                  <a:pt x="6692024" y="4083457"/>
                </a:moveTo>
                <a:cubicBezTo>
                  <a:pt x="6695462" y="4087012"/>
                  <a:pt x="6699186" y="4094565"/>
                  <a:pt x="6697754" y="4096010"/>
                </a:cubicBezTo>
                <a:cubicBezTo>
                  <a:pt x="6695749" y="4093455"/>
                  <a:pt x="6690306" y="4085679"/>
                  <a:pt x="6692024" y="4083457"/>
                </a:cubicBezTo>
                <a:close/>
                <a:moveTo>
                  <a:pt x="6110502" y="4083235"/>
                </a:moveTo>
                <a:cubicBezTo>
                  <a:pt x="6111934" y="4083124"/>
                  <a:pt x="6113366" y="4083235"/>
                  <a:pt x="6115372" y="4083790"/>
                </a:cubicBezTo>
                <a:cubicBezTo>
                  <a:pt x="6115086" y="4087457"/>
                  <a:pt x="6115945" y="4091011"/>
                  <a:pt x="6116804" y="4094122"/>
                </a:cubicBezTo>
                <a:lnTo>
                  <a:pt x="6115945" y="4099676"/>
                </a:lnTo>
                <a:lnTo>
                  <a:pt x="6124826" y="4096565"/>
                </a:lnTo>
                <a:cubicBezTo>
                  <a:pt x="6133706" y="4094344"/>
                  <a:pt x="6138576" y="4095677"/>
                  <a:pt x="6140294" y="4098675"/>
                </a:cubicBezTo>
                <a:cubicBezTo>
                  <a:pt x="6143159" y="4103674"/>
                  <a:pt x="6138002" y="4113116"/>
                  <a:pt x="6131414" y="4117005"/>
                </a:cubicBezTo>
                <a:lnTo>
                  <a:pt x="6131128" y="4117115"/>
                </a:lnTo>
                <a:lnTo>
                  <a:pt x="6131414" y="4119004"/>
                </a:lnTo>
                <a:cubicBezTo>
                  <a:pt x="6132274" y="4120226"/>
                  <a:pt x="6132560" y="4121337"/>
                  <a:pt x="6129695" y="4123226"/>
                </a:cubicBezTo>
                <a:cubicBezTo>
                  <a:pt x="6126258" y="4123892"/>
                  <a:pt x="6122534" y="4123336"/>
                  <a:pt x="6118236" y="4120559"/>
                </a:cubicBezTo>
                <a:cubicBezTo>
                  <a:pt x="6118810" y="4119004"/>
                  <a:pt x="6119382" y="4117782"/>
                  <a:pt x="6119956" y="4116893"/>
                </a:cubicBezTo>
                <a:lnTo>
                  <a:pt x="6120815" y="4116560"/>
                </a:lnTo>
                <a:lnTo>
                  <a:pt x="6119669" y="4116005"/>
                </a:lnTo>
                <a:cubicBezTo>
                  <a:pt x="6118236" y="4114339"/>
                  <a:pt x="6116804" y="4111894"/>
                  <a:pt x="6115658" y="4108451"/>
                </a:cubicBezTo>
                <a:lnTo>
                  <a:pt x="6114512" y="4101564"/>
                </a:lnTo>
                <a:lnTo>
                  <a:pt x="6108497" y="4103007"/>
                </a:lnTo>
                <a:cubicBezTo>
                  <a:pt x="6105918" y="4099120"/>
                  <a:pt x="6101335" y="4084235"/>
                  <a:pt x="6110502" y="4083235"/>
                </a:cubicBezTo>
                <a:close/>
                <a:moveTo>
                  <a:pt x="7032344" y="4082458"/>
                </a:moveTo>
                <a:cubicBezTo>
                  <a:pt x="7027761" y="4102342"/>
                  <a:pt x="6996823" y="4115894"/>
                  <a:pt x="6973907" y="4130890"/>
                </a:cubicBezTo>
                <a:cubicBezTo>
                  <a:pt x="6971041" y="4127335"/>
                  <a:pt x="6965884" y="4126891"/>
                  <a:pt x="6963305" y="4120782"/>
                </a:cubicBezTo>
                <a:cubicBezTo>
                  <a:pt x="6989948" y="4108229"/>
                  <a:pt x="7009714" y="4092233"/>
                  <a:pt x="7032344" y="4082458"/>
                </a:cubicBezTo>
                <a:close/>
                <a:moveTo>
                  <a:pt x="7201932" y="4082235"/>
                </a:moveTo>
                <a:cubicBezTo>
                  <a:pt x="7203364" y="4082347"/>
                  <a:pt x="7204510" y="4082680"/>
                  <a:pt x="7205656" y="4083458"/>
                </a:cubicBezTo>
                <a:cubicBezTo>
                  <a:pt x="7205656" y="4084568"/>
                  <a:pt x="7207374" y="4084790"/>
                  <a:pt x="7207088" y="4085902"/>
                </a:cubicBezTo>
                <a:cubicBezTo>
                  <a:pt x="7207088" y="4085902"/>
                  <a:pt x="7207947" y="4087123"/>
                  <a:pt x="7207947" y="4088900"/>
                </a:cubicBezTo>
                <a:lnTo>
                  <a:pt x="7205369" y="4093233"/>
                </a:lnTo>
                <a:lnTo>
                  <a:pt x="7216254" y="4097231"/>
                </a:lnTo>
                <a:cubicBezTo>
                  <a:pt x="7219692" y="4099009"/>
                  <a:pt x="7223417" y="4101119"/>
                  <a:pt x="7226854" y="4104008"/>
                </a:cubicBezTo>
                <a:cubicBezTo>
                  <a:pt x="7211958" y="4110228"/>
                  <a:pt x="7176436" y="4097454"/>
                  <a:pt x="7182738" y="4084791"/>
                </a:cubicBezTo>
                <a:lnTo>
                  <a:pt x="7190759" y="4088123"/>
                </a:lnTo>
                <a:lnTo>
                  <a:pt x="7191905" y="4085457"/>
                </a:lnTo>
                <a:cubicBezTo>
                  <a:pt x="7194483" y="4084013"/>
                  <a:pt x="7198207" y="4082013"/>
                  <a:pt x="7201932" y="4082235"/>
                </a:cubicBezTo>
                <a:close/>
                <a:moveTo>
                  <a:pt x="6795152" y="4082235"/>
                </a:moveTo>
                <a:cubicBezTo>
                  <a:pt x="6797444" y="4082902"/>
                  <a:pt x="6799162" y="4084235"/>
                  <a:pt x="6800022" y="4085901"/>
                </a:cubicBezTo>
                <a:cubicBezTo>
                  <a:pt x="6800881" y="4087679"/>
                  <a:pt x="6800881" y="4089900"/>
                  <a:pt x="6799162" y="4092122"/>
                </a:cubicBezTo>
                <a:cubicBezTo>
                  <a:pt x="6797157" y="4096232"/>
                  <a:pt x="6790568" y="4097787"/>
                  <a:pt x="6786844" y="4102342"/>
                </a:cubicBezTo>
                <a:cubicBezTo>
                  <a:pt x="6779110" y="4100675"/>
                  <a:pt x="6777104" y="4099898"/>
                  <a:pt x="6778250" y="4093566"/>
                </a:cubicBezTo>
                <a:cubicBezTo>
                  <a:pt x="6778250" y="4093566"/>
                  <a:pt x="6779396" y="4092122"/>
                  <a:pt x="6779396" y="4092122"/>
                </a:cubicBezTo>
                <a:cubicBezTo>
                  <a:pt x="6782548" y="4086457"/>
                  <a:pt x="6791714" y="4081903"/>
                  <a:pt x="6795152" y="4082235"/>
                </a:cubicBezTo>
                <a:close/>
                <a:moveTo>
                  <a:pt x="5902242" y="4081569"/>
                </a:moveTo>
                <a:cubicBezTo>
                  <a:pt x="5905107" y="4081235"/>
                  <a:pt x="5908544" y="4081903"/>
                  <a:pt x="5911696" y="4083679"/>
                </a:cubicBezTo>
                <a:cubicBezTo>
                  <a:pt x="5910550" y="4086234"/>
                  <a:pt x="5909404" y="4088789"/>
                  <a:pt x="5906540" y="4090566"/>
                </a:cubicBezTo>
                <a:cubicBezTo>
                  <a:pt x="5902529" y="4089011"/>
                  <a:pt x="5898805" y="4088567"/>
                  <a:pt x="5896513" y="4086679"/>
                </a:cubicBezTo>
                <a:cubicBezTo>
                  <a:pt x="5897372" y="4083569"/>
                  <a:pt x="5899664" y="4082013"/>
                  <a:pt x="5902242" y="4081569"/>
                </a:cubicBezTo>
                <a:close/>
                <a:moveTo>
                  <a:pt x="6096466" y="4080569"/>
                </a:moveTo>
                <a:cubicBezTo>
                  <a:pt x="6098184" y="4082679"/>
                  <a:pt x="6098757" y="4084679"/>
                  <a:pt x="6098470" y="4086568"/>
                </a:cubicBezTo>
                <a:lnTo>
                  <a:pt x="6095892" y="4090566"/>
                </a:lnTo>
                <a:lnTo>
                  <a:pt x="6100762" y="4093011"/>
                </a:lnTo>
                <a:lnTo>
                  <a:pt x="6092168" y="4092566"/>
                </a:lnTo>
                <a:lnTo>
                  <a:pt x="6089590" y="4093566"/>
                </a:lnTo>
                <a:cubicBezTo>
                  <a:pt x="6087585" y="4094010"/>
                  <a:pt x="6085293" y="4093899"/>
                  <a:pt x="6083575" y="4093233"/>
                </a:cubicBezTo>
                <a:lnTo>
                  <a:pt x="6082715" y="4092233"/>
                </a:lnTo>
                <a:lnTo>
                  <a:pt x="6073834" y="4091899"/>
                </a:lnTo>
                <a:cubicBezTo>
                  <a:pt x="6064382" y="4090900"/>
                  <a:pt x="6055501" y="4089123"/>
                  <a:pt x="6049772" y="4085901"/>
                </a:cubicBezTo>
                <a:cubicBezTo>
                  <a:pt x="6052351" y="4082902"/>
                  <a:pt x="6056074" y="4081458"/>
                  <a:pt x="6060944" y="4081014"/>
                </a:cubicBezTo>
                <a:cubicBezTo>
                  <a:pt x="6064382" y="4080792"/>
                  <a:pt x="6068392" y="4081014"/>
                  <a:pt x="6072402" y="4081680"/>
                </a:cubicBezTo>
                <a:lnTo>
                  <a:pt x="6081569" y="4084235"/>
                </a:lnTo>
                <a:lnTo>
                  <a:pt x="6082428" y="4083791"/>
                </a:lnTo>
                <a:cubicBezTo>
                  <a:pt x="6086726" y="4081792"/>
                  <a:pt x="6092168" y="4082123"/>
                  <a:pt x="6096466" y="4080569"/>
                </a:cubicBezTo>
                <a:close/>
                <a:moveTo>
                  <a:pt x="6782834" y="4080458"/>
                </a:moveTo>
                <a:cubicBezTo>
                  <a:pt x="6785126" y="4081013"/>
                  <a:pt x="6786558" y="4083235"/>
                  <a:pt x="6787131" y="4084235"/>
                </a:cubicBezTo>
                <a:cubicBezTo>
                  <a:pt x="6785412" y="4084790"/>
                  <a:pt x="6785985" y="4085901"/>
                  <a:pt x="6784552" y="4086456"/>
                </a:cubicBezTo>
                <a:cubicBezTo>
                  <a:pt x="6781974" y="4088678"/>
                  <a:pt x="6781975" y="4088567"/>
                  <a:pt x="6779683" y="4088012"/>
                </a:cubicBezTo>
                <a:cubicBezTo>
                  <a:pt x="6777391" y="4087456"/>
                  <a:pt x="6777104" y="4083679"/>
                  <a:pt x="6774813" y="4083124"/>
                </a:cubicBezTo>
                <a:cubicBezTo>
                  <a:pt x="6774813" y="4083124"/>
                  <a:pt x="6774813" y="4083124"/>
                  <a:pt x="6777391" y="4081014"/>
                </a:cubicBezTo>
                <a:cubicBezTo>
                  <a:pt x="6779110" y="4080457"/>
                  <a:pt x="6780542" y="4079903"/>
                  <a:pt x="6782834" y="4080458"/>
                </a:cubicBezTo>
                <a:close/>
                <a:moveTo>
                  <a:pt x="6416732" y="4080125"/>
                </a:moveTo>
                <a:cubicBezTo>
                  <a:pt x="6421889" y="4079569"/>
                  <a:pt x="6429910" y="4082680"/>
                  <a:pt x="6430483" y="4084679"/>
                </a:cubicBezTo>
                <a:cubicBezTo>
                  <a:pt x="6429051" y="4087012"/>
                  <a:pt x="6411003" y="4087568"/>
                  <a:pt x="6412722" y="4082013"/>
                </a:cubicBezTo>
                <a:cubicBezTo>
                  <a:pt x="6413582" y="4080902"/>
                  <a:pt x="6415014" y="4080236"/>
                  <a:pt x="6416732" y="4080125"/>
                </a:cubicBezTo>
                <a:close/>
                <a:moveTo>
                  <a:pt x="6971614" y="4079903"/>
                </a:moveTo>
                <a:cubicBezTo>
                  <a:pt x="6972474" y="4083457"/>
                  <a:pt x="6978489" y="4086013"/>
                  <a:pt x="6981640" y="4089678"/>
                </a:cubicBezTo>
                <a:lnTo>
                  <a:pt x="6982213" y="4091344"/>
                </a:lnTo>
                <a:lnTo>
                  <a:pt x="6987082" y="4095788"/>
                </a:lnTo>
                <a:cubicBezTo>
                  <a:pt x="6986224" y="4099231"/>
                  <a:pt x="6984218" y="4101230"/>
                  <a:pt x="6978776" y="4102675"/>
                </a:cubicBezTo>
                <a:cubicBezTo>
                  <a:pt x="6972187" y="4099342"/>
                  <a:pt x="6973619" y="4100787"/>
                  <a:pt x="6969608" y="4095454"/>
                </a:cubicBezTo>
                <a:lnTo>
                  <a:pt x="6978489" y="4091343"/>
                </a:lnTo>
                <a:lnTo>
                  <a:pt x="6973332" y="4086345"/>
                </a:lnTo>
                <a:cubicBezTo>
                  <a:pt x="6971328" y="4083457"/>
                  <a:pt x="6970468" y="4081014"/>
                  <a:pt x="6970182" y="4080458"/>
                </a:cubicBezTo>
                <a:cubicBezTo>
                  <a:pt x="6971614" y="4079903"/>
                  <a:pt x="6971614" y="4079903"/>
                  <a:pt x="6971614" y="4079903"/>
                </a:cubicBezTo>
                <a:close/>
                <a:moveTo>
                  <a:pt x="6492646" y="4079903"/>
                </a:moveTo>
                <a:cubicBezTo>
                  <a:pt x="6506969" y="4078903"/>
                  <a:pt x="6511552" y="4089567"/>
                  <a:pt x="6504677" y="4093011"/>
                </a:cubicBezTo>
                <a:cubicBezTo>
                  <a:pt x="6502386" y="4094122"/>
                  <a:pt x="6498662" y="4094454"/>
                  <a:pt x="6493505" y="4093344"/>
                </a:cubicBezTo>
                <a:cubicBezTo>
                  <a:pt x="6488062" y="4088678"/>
                  <a:pt x="6493218" y="4084124"/>
                  <a:pt x="6492646" y="4079903"/>
                </a:cubicBezTo>
                <a:close/>
                <a:moveTo>
                  <a:pt x="7189327" y="4078902"/>
                </a:moveTo>
                <a:cubicBezTo>
                  <a:pt x="7190472" y="4078681"/>
                  <a:pt x="7191618" y="4078903"/>
                  <a:pt x="7192478" y="4079569"/>
                </a:cubicBezTo>
                <a:cubicBezTo>
                  <a:pt x="7193910" y="4080348"/>
                  <a:pt x="7193910" y="4080903"/>
                  <a:pt x="7193338" y="4081568"/>
                </a:cubicBezTo>
                <a:cubicBezTo>
                  <a:pt x="7192478" y="4082236"/>
                  <a:pt x="7191332" y="4083012"/>
                  <a:pt x="7190472" y="4084124"/>
                </a:cubicBezTo>
                <a:lnTo>
                  <a:pt x="7185890" y="4080014"/>
                </a:lnTo>
                <a:cubicBezTo>
                  <a:pt x="7186748" y="4079459"/>
                  <a:pt x="7187894" y="4079014"/>
                  <a:pt x="7189327" y="4078902"/>
                </a:cubicBezTo>
                <a:close/>
                <a:moveTo>
                  <a:pt x="6471160" y="4078126"/>
                </a:moveTo>
                <a:cubicBezTo>
                  <a:pt x="6472880" y="4078348"/>
                  <a:pt x="6474598" y="4079680"/>
                  <a:pt x="6476317" y="4079903"/>
                </a:cubicBezTo>
                <a:cubicBezTo>
                  <a:pt x="6476317" y="4081125"/>
                  <a:pt x="6476030" y="4083458"/>
                  <a:pt x="6474026" y="4084457"/>
                </a:cubicBezTo>
                <a:cubicBezTo>
                  <a:pt x="6474026" y="4085679"/>
                  <a:pt x="6469156" y="4083902"/>
                  <a:pt x="6469156" y="4083902"/>
                </a:cubicBezTo>
                <a:cubicBezTo>
                  <a:pt x="6467436" y="4082569"/>
                  <a:pt x="6471160" y="4079347"/>
                  <a:pt x="6471160" y="4078126"/>
                </a:cubicBezTo>
                <a:close/>
                <a:moveTo>
                  <a:pt x="6049198" y="4076570"/>
                </a:moveTo>
                <a:cubicBezTo>
                  <a:pt x="6050345" y="4077792"/>
                  <a:pt x="6051777" y="4079014"/>
                  <a:pt x="6052923" y="4080236"/>
                </a:cubicBezTo>
                <a:cubicBezTo>
                  <a:pt x="6049198" y="4082347"/>
                  <a:pt x="6045474" y="4084568"/>
                  <a:pt x="6042896" y="4082013"/>
                </a:cubicBezTo>
                <a:cubicBezTo>
                  <a:pt x="6044902" y="4079792"/>
                  <a:pt x="6043756" y="4078569"/>
                  <a:pt x="6049198" y="4076570"/>
                </a:cubicBezTo>
                <a:close/>
                <a:moveTo>
                  <a:pt x="6648196" y="4076126"/>
                </a:moveTo>
                <a:cubicBezTo>
                  <a:pt x="6664524" y="4084346"/>
                  <a:pt x="6681998" y="4090012"/>
                  <a:pt x="6697754" y="4096010"/>
                </a:cubicBezTo>
                <a:cubicBezTo>
                  <a:pt x="6705202" y="4098898"/>
                  <a:pt x="6712077" y="4101787"/>
                  <a:pt x="6717806" y="4105119"/>
                </a:cubicBezTo>
                <a:cubicBezTo>
                  <a:pt x="6689733" y="4110562"/>
                  <a:pt x="6663378" y="4095899"/>
                  <a:pt x="6637310" y="4087234"/>
                </a:cubicBezTo>
                <a:cubicBezTo>
                  <a:pt x="6641320" y="4083901"/>
                  <a:pt x="6640461" y="4080348"/>
                  <a:pt x="6648196" y="4076126"/>
                </a:cubicBezTo>
                <a:close/>
                <a:moveTo>
                  <a:pt x="6976198" y="4075682"/>
                </a:moveTo>
                <a:cubicBezTo>
                  <a:pt x="6995104" y="4078348"/>
                  <a:pt x="6990808" y="4087346"/>
                  <a:pt x="7001120" y="4088901"/>
                </a:cubicBezTo>
                <a:cubicBezTo>
                  <a:pt x="6998542" y="4091011"/>
                  <a:pt x="6998543" y="4091122"/>
                  <a:pt x="6994818" y="4091122"/>
                </a:cubicBezTo>
                <a:cubicBezTo>
                  <a:pt x="6994244" y="4090012"/>
                  <a:pt x="6992526" y="4090455"/>
                  <a:pt x="6993385" y="4088901"/>
                </a:cubicBezTo>
                <a:cubicBezTo>
                  <a:pt x="6987370" y="4088345"/>
                  <a:pt x="6977057" y="4080458"/>
                  <a:pt x="6976198" y="4075682"/>
                </a:cubicBezTo>
                <a:close/>
                <a:moveTo>
                  <a:pt x="6843851" y="4075681"/>
                </a:moveTo>
                <a:cubicBezTo>
                  <a:pt x="6846142" y="4076237"/>
                  <a:pt x="6847288" y="4077015"/>
                  <a:pt x="6848148" y="4078013"/>
                </a:cubicBezTo>
                <a:cubicBezTo>
                  <a:pt x="6849007" y="4079014"/>
                  <a:pt x="6849294" y="4080125"/>
                  <a:pt x="6849007" y="4081458"/>
                </a:cubicBezTo>
                <a:cubicBezTo>
                  <a:pt x="6848148" y="4083013"/>
                  <a:pt x="6844996" y="4084124"/>
                  <a:pt x="6839554" y="4084679"/>
                </a:cubicBezTo>
                <a:cubicBezTo>
                  <a:pt x="6836976" y="4083013"/>
                  <a:pt x="6839840" y="4078237"/>
                  <a:pt x="6840127" y="4075681"/>
                </a:cubicBezTo>
                <a:cubicBezTo>
                  <a:pt x="6842132" y="4076126"/>
                  <a:pt x="6844424" y="4076792"/>
                  <a:pt x="6843851" y="4075681"/>
                </a:cubicBezTo>
                <a:close/>
                <a:moveTo>
                  <a:pt x="6907446" y="4075237"/>
                </a:moveTo>
                <a:cubicBezTo>
                  <a:pt x="6909165" y="4075349"/>
                  <a:pt x="6910884" y="4075681"/>
                  <a:pt x="6912603" y="4077015"/>
                </a:cubicBezTo>
                <a:cubicBezTo>
                  <a:pt x="6914321" y="4078459"/>
                  <a:pt x="6914034" y="4080792"/>
                  <a:pt x="6913748" y="4082013"/>
                </a:cubicBezTo>
                <a:cubicBezTo>
                  <a:pt x="6912030" y="4081791"/>
                  <a:pt x="6912030" y="4083124"/>
                  <a:pt x="6910310" y="4082902"/>
                </a:cubicBezTo>
                <a:cubicBezTo>
                  <a:pt x="6906586" y="4083678"/>
                  <a:pt x="6906586" y="4083678"/>
                  <a:pt x="6905154" y="4082236"/>
                </a:cubicBezTo>
                <a:cubicBezTo>
                  <a:pt x="6903436" y="4080903"/>
                  <a:pt x="6905441" y="4077459"/>
                  <a:pt x="6904008" y="4076126"/>
                </a:cubicBezTo>
                <a:cubicBezTo>
                  <a:pt x="6904008" y="4076126"/>
                  <a:pt x="6904008" y="4076015"/>
                  <a:pt x="6907446" y="4075237"/>
                </a:cubicBezTo>
                <a:close/>
                <a:moveTo>
                  <a:pt x="6670826" y="4074460"/>
                </a:moveTo>
                <a:cubicBezTo>
                  <a:pt x="6672545" y="4074571"/>
                  <a:pt x="6674550" y="4075237"/>
                  <a:pt x="6676269" y="4075793"/>
                </a:cubicBezTo>
                <a:cubicBezTo>
                  <a:pt x="6676269" y="4076904"/>
                  <a:pt x="6676269" y="4076904"/>
                  <a:pt x="6674837" y="4078014"/>
                </a:cubicBezTo>
                <a:cubicBezTo>
                  <a:pt x="6674837" y="4079125"/>
                  <a:pt x="6667676" y="4076682"/>
                  <a:pt x="6665956" y="4076570"/>
                </a:cubicBezTo>
                <a:cubicBezTo>
                  <a:pt x="6665670" y="4075459"/>
                  <a:pt x="6665670" y="4075459"/>
                  <a:pt x="6667676" y="4075571"/>
                </a:cubicBezTo>
                <a:cubicBezTo>
                  <a:pt x="6667103" y="4075349"/>
                  <a:pt x="6667103" y="4075349"/>
                  <a:pt x="6667102" y="4075238"/>
                </a:cubicBezTo>
                <a:cubicBezTo>
                  <a:pt x="6668248" y="4074682"/>
                  <a:pt x="6669680" y="4074237"/>
                  <a:pt x="6670826" y="4074460"/>
                </a:cubicBezTo>
                <a:close/>
                <a:moveTo>
                  <a:pt x="5915420" y="4072127"/>
                </a:moveTo>
                <a:cubicBezTo>
                  <a:pt x="5915420" y="4072127"/>
                  <a:pt x="5916280" y="4072683"/>
                  <a:pt x="5917138" y="4073460"/>
                </a:cubicBezTo>
                <a:cubicBezTo>
                  <a:pt x="5917998" y="4074237"/>
                  <a:pt x="5918859" y="4075237"/>
                  <a:pt x="5918571" y="4076126"/>
                </a:cubicBezTo>
                <a:cubicBezTo>
                  <a:pt x="5918571" y="4078681"/>
                  <a:pt x="5911696" y="4077682"/>
                  <a:pt x="5910264" y="4078237"/>
                </a:cubicBezTo>
                <a:cubicBezTo>
                  <a:pt x="5907972" y="4077903"/>
                  <a:pt x="5905680" y="4077570"/>
                  <a:pt x="5906253" y="4075904"/>
                </a:cubicBezTo>
                <a:cubicBezTo>
                  <a:pt x="5907112" y="4074238"/>
                  <a:pt x="5906254" y="4073238"/>
                  <a:pt x="5910264" y="4073015"/>
                </a:cubicBezTo>
                <a:cubicBezTo>
                  <a:pt x="5911696" y="4072460"/>
                  <a:pt x="5913988" y="4072794"/>
                  <a:pt x="5915420" y="4072127"/>
                </a:cubicBezTo>
                <a:close/>
                <a:moveTo>
                  <a:pt x="5860706" y="4071016"/>
                </a:moveTo>
                <a:cubicBezTo>
                  <a:pt x="5862138" y="4070572"/>
                  <a:pt x="5863284" y="4070350"/>
                  <a:pt x="5865002" y="4071016"/>
                </a:cubicBezTo>
                <a:cubicBezTo>
                  <a:pt x="5859846" y="4072904"/>
                  <a:pt x="5858127" y="4073904"/>
                  <a:pt x="5854403" y="4074793"/>
                </a:cubicBezTo>
                <a:cubicBezTo>
                  <a:pt x="5854403" y="4075903"/>
                  <a:pt x="5854403" y="4077125"/>
                  <a:pt x="5852684" y="4078125"/>
                </a:cubicBezTo>
                <a:cubicBezTo>
                  <a:pt x="5849246" y="4080125"/>
                  <a:pt x="5845809" y="4078681"/>
                  <a:pt x="5842372" y="4079569"/>
                </a:cubicBezTo>
                <a:cubicBezTo>
                  <a:pt x="5840653" y="4078236"/>
                  <a:pt x="5838934" y="4075793"/>
                  <a:pt x="5842658" y="4073793"/>
                </a:cubicBezTo>
                <a:cubicBezTo>
                  <a:pt x="5846096" y="4070683"/>
                  <a:pt x="5851252" y="4071127"/>
                  <a:pt x="5856408" y="4072683"/>
                </a:cubicBezTo>
                <a:cubicBezTo>
                  <a:pt x="5858128" y="4072238"/>
                  <a:pt x="5859559" y="4071461"/>
                  <a:pt x="5860706" y="4071016"/>
                </a:cubicBezTo>
                <a:close/>
                <a:moveTo>
                  <a:pt x="6963880" y="4069683"/>
                </a:moveTo>
                <a:cubicBezTo>
                  <a:pt x="6965884" y="4070239"/>
                  <a:pt x="6968750" y="4071905"/>
                  <a:pt x="6971041" y="4072460"/>
                </a:cubicBezTo>
                <a:cubicBezTo>
                  <a:pt x="6971041" y="4072460"/>
                  <a:pt x="6971041" y="4072349"/>
                  <a:pt x="6970182" y="4074015"/>
                </a:cubicBezTo>
                <a:cubicBezTo>
                  <a:pt x="6969036" y="4071794"/>
                  <a:pt x="6961874" y="4072904"/>
                  <a:pt x="6963880" y="4069683"/>
                </a:cubicBezTo>
                <a:close/>
                <a:moveTo>
                  <a:pt x="5754140" y="4067573"/>
                </a:moveTo>
                <a:cubicBezTo>
                  <a:pt x="5754428" y="4067572"/>
                  <a:pt x="5754714" y="4067795"/>
                  <a:pt x="5755573" y="4068462"/>
                </a:cubicBezTo>
                <a:cubicBezTo>
                  <a:pt x="5754427" y="4069794"/>
                  <a:pt x="5754140" y="4068461"/>
                  <a:pt x="5752708" y="4068461"/>
                </a:cubicBezTo>
                <a:cubicBezTo>
                  <a:pt x="5753281" y="4067795"/>
                  <a:pt x="5753568" y="4067573"/>
                  <a:pt x="5754140" y="4067573"/>
                </a:cubicBezTo>
                <a:close/>
                <a:moveTo>
                  <a:pt x="6983359" y="4067572"/>
                </a:moveTo>
                <a:cubicBezTo>
                  <a:pt x="6987656" y="4067128"/>
                  <a:pt x="6990234" y="4069350"/>
                  <a:pt x="6993099" y="4071571"/>
                </a:cubicBezTo>
                <a:cubicBezTo>
                  <a:pt x="6987656" y="4073238"/>
                  <a:pt x="6991953" y="4077792"/>
                  <a:pt x="6984505" y="4077125"/>
                </a:cubicBezTo>
                <a:cubicBezTo>
                  <a:pt x="6981354" y="4075793"/>
                  <a:pt x="6979062" y="4073460"/>
                  <a:pt x="6978489" y="4069239"/>
                </a:cubicBezTo>
                <a:cubicBezTo>
                  <a:pt x="6980208" y="4068239"/>
                  <a:pt x="6981926" y="4067795"/>
                  <a:pt x="6983359" y="4067572"/>
                </a:cubicBezTo>
                <a:close/>
                <a:moveTo>
                  <a:pt x="6085580" y="4066795"/>
                </a:moveTo>
                <a:cubicBezTo>
                  <a:pt x="6087298" y="4066795"/>
                  <a:pt x="6089304" y="4067018"/>
                  <a:pt x="6090163" y="4066795"/>
                </a:cubicBezTo>
                <a:cubicBezTo>
                  <a:pt x="6090736" y="4068016"/>
                  <a:pt x="6089304" y="4069461"/>
                  <a:pt x="6089876" y="4070572"/>
                </a:cubicBezTo>
                <a:cubicBezTo>
                  <a:pt x="6088158" y="4071016"/>
                  <a:pt x="6084720" y="4071794"/>
                  <a:pt x="6082715" y="4071127"/>
                </a:cubicBezTo>
                <a:cubicBezTo>
                  <a:pt x="6080996" y="4071571"/>
                  <a:pt x="6081282" y="4067684"/>
                  <a:pt x="6081282" y="4067684"/>
                </a:cubicBezTo>
                <a:cubicBezTo>
                  <a:pt x="6082142" y="4066906"/>
                  <a:pt x="6083861" y="4066795"/>
                  <a:pt x="6085580" y="4066795"/>
                </a:cubicBezTo>
                <a:close/>
                <a:moveTo>
                  <a:pt x="7189327" y="4064240"/>
                </a:moveTo>
                <a:cubicBezTo>
                  <a:pt x="7191332" y="4064462"/>
                  <a:pt x="7192764" y="4064906"/>
                  <a:pt x="7193624" y="4065574"/>
                </a:cubicBezTo>
                <a:cubicBezTo>
                  <a:pt x="7195056" y="4066906"/>
                  <a:pt x="7195056" y="4068016"/>
                  <a:pt x="7195056" y="4068016"/>
                </a:cubicBezTo>
                <a:cubicBezTo>
                  <a:pt x="7191332" y="4071127"/>
                  <a:pt x="7186176" y="4072904"/>
                  <a:pt x="7181592" y="4068906"/>
                </a:cubicBezTo>
                <a:cubicBezTo>
                  <a:pt x="7179874" y="4067573"/>
                  <a:pt x="7178441" y="4066350"/>
                  <a:pt x="7180160" y="4066461"/>
                </a:cubicBezTo>
                <a:cubicBezTo>
                  <a:pt x="7180160" y="4065351"/>
                  <a:pt x="7181879" y="4065462"/>
                  <a:pt x="7183598" y="4064463"/>
                </a:cubicBezTo>
                <a:cubicBezTo>
                  <a:pt x="7185316" y="4064129"/>
                  <a:pt x="7187608" y="4064018"/>
                  <a:pt x="7189327" y="4064240"/>
                </a:cubicBezTo>
                <a:close/>
                <a:moveTo>
                  <a:pt x="6689160" y="4064017"/>
                </a:moveTo>
                <a:cubicBezTo>
                  <a:pt x="6696035" y="4063906"/>
                  <a:pt x="6700905" y="4065907"/>
                  <a:pt x="6706348" y="4071461"/>
                </a:cubicBezTo>
                <a:cubicBezTo>
                  <a:pt x="6705488" y="4077236"/>
                  <a:pt x="6692598" y="4082347"/>
                  <a:pt x="6685436" y="4075349"/>
                </a:cubicBezTo>
                <a:cubicBezTo>
                  <a:pt x="6684290" y="4071571"/>
                  <a:pt x="6683431" y="4067906"/>
                  <a:pt x="6689160" y="4064017"/>
                </a:cubicBezTo>
                <a:close/>
                <a:moveTo>
                  <a:pt x="6160060" y="4062352"/>
                </a:moveTo>
                <a:cubicBezTo>
                  <a:pt x="6161779" y="4062463"/>
                  <a:pt x="6163784" y="4062796"/>
                  <a:pt x="6166076" y="4063685"/>
                </a:cubicBezTo>
                <a:cubicBezTo>
                  <a:pt x="6167222" y="4069683"/>
                  <a:pt x="6162925" y="4073904"/>
                  <a:pt x="6157196" y="4075793"/>
                </a:cubicBezTo>
                <a:lnTo>
                  <a:pt x="6151466" y="4076570"/>
                </a:lnTo>
                <a:lnTo>
                  <a:pt x="6157482" y="4079125"/>
                </a:lnTo>
                <a:cubicBezTo>
                  <a:pt x="6159774" y="4081125"/>
                  <a:pt x="6161206" y="4083124"/>
                  <a:pt x="6160920" y="4084457"/>
                </a:cubicBezTo>
                <a:cubicBezTo>
                  <a:pt x="6158628" y="4087567"/>
                  <a:pt x="6152898" y="4090456"/>
                  <a:pt x="6146596" y="4088456"/>
                </a:cubicBezTo>
                <a:lnTo>
                  <a:pt x="6143732" y="4087233"/>
                </a:lnTo>
                <a:lnTo>
                  <a:pt x="6143733" y="4087456"/>
                </a:lnTo>
                <a:cubicBezTo>
                  <a:pt x="6142586" y="4088345"/>
                  <a:pt x="6140581" y="4089123"/>
                  <a:pt x="6138576" y="4089789"/>
                </a:cubicBezTo>
                <a:cubicBezTo>
                  <a:pt x="6129982" y="4088456"/>
                  <a:pt x="6129695" y="4082458"/>
                  <a:pt x="6125112" y="4079347"/>
                </a:cubicBezTo>
                <a:cubicBezTo>
                  <a:pt x="6127404" y="4077570"/>
                  <a:pt x="6129982" y="4076570"/>
                  <a:pt x="6132560" y="4076126"/>
                </a:cubicBezTo>
                <a:lnTo>
                  <a:pt x="6135711" y="4076904"/>
                </a:lnTo>
                <a:lnTo>
                  <a:pt x="6136570" y="4075570"/>
                </a:lnTo>
                <a:lnTo>
                  <a:pt x="6141726" y="4074571"/>
                </a:lnTo>
                <a:lnTo>
                  <a:pt x="6141154" y="4074349"/>
                </a:lnTo>
                <a:cubicBezTo>
                  <a:pt x="6138862" y="4072349"/>
                  <a:pt x="6138002" y="4069239"/>
                  <a:pt x="6140008" y="4064684"/>
                </a:cubicBezTo>
                <a:cubicBezTo>
                  <a:pt x="6148602" y="4064906"/>
                  <a:pt x="6154044" y="4062241"/>
                  <a:pt x="6160060" y="4062352"/>
                </a:cubicBezTo>
                <a:close/>
                <a:moveTo>
                  <a:pt x="6474026" y="4062019"/>
                </a:moveTo>
                <a:cubicBezTo>
                  <a:pt x="6476317" y="4061796"/>
                  <a:pt x="6478896" y="4062574"/>
                  <a:pt x="6480614" y="4064240"/>
                </a:cubicBezTo>
                <a:cubicBezTo>
                  <a:pt x="6481760" y="4065351"/>
                  <a:pt x="6482620" y="4066795"/>
                  <a:pt x="6482906" y="4068684"/>
                </a:cubicBezTo>
                <a:lnTo>
                  <a:pt x="6478322" y="4069128"/>
                </a:lnTo>
                <a:lnTo>
                  <a:pt x="6476891" y="4071905"/>
                </a:lnTo>
                <a:cubicBezTo>
                  <a:pt x="6476891" y="4071905"/>
                  <a:pt x="6475458" y="4071683"/>
                  <a:pt x="6475458" y="4071683"/>
                </a:cubicBezTo>
                <a:lnTo>
                  <a:pt x="6473452" y="4069683"/>
                </a:lnTo>
                <a:lnTo>
                  <a:pt x="6472880" y="4069683"/>
                </a:lnTo>
                <a:cubicBezTo>
                  <a:pt x="6470302" y="4069128"/>
                  <a:pt x="6468296" y="4067796"/>
                  <a:pt x="6466864" y="4066017"/>
                </a:cubicBezTo>
                <a:cubicBezTo>
                  <a:pt x="6468869" y="4063574"/>
                  <a:pt x="6471447" y="4062241"/>
                  <a:pt x="6474026" y="4062019"/>
                </a:cubicBezTo>
                <a:close/>
                <a:moveTo>
                  <a:pt x="5942348" y="4061574"/>
                </a:moveTo>
                <a:cubicBezTo>
                  <a:pt x="5946072" y="4061574"/>
                  <a:pt x="5949509" y="4062351"/>
                  <a:pt x="5953520" y="4063684"/>
                </a:cubicBezTo>
                <a:cubicBezTo>
                  <a:pt x="5952946" y="4066018"/>
                  <a:pt x="5947218" y="4069016"/>
                  <a:pt x="5943207" y="4071127"/>
                </a:cubicBezTo>
                <a:cubicBezTo>
                  <a:pt x="5938337" y="4070794"/>
                  <a:pt x="5933754" y="4068239"/>
                  <a:pt x="5931176" y="4064683"/>
                </a:cubicBezTo>
                <a:cubicBezTo>
                  <a:pt x="5935187" y="4062574"/>
                  <a:pt x="5938910" y="4061685"/>
                  <a:pt x="5942348" y="4061574"/>
                </a:cubicBezTo>
                <a:close/>
                <a:moveTo>
                  <a:pt x="6986796" y="4055798"/>
                </a:moveTo>
                <a:cubicBezTo>
                  <a:pt x="6987942" y="4055909"/>
                  <a:pt x="6988516" y="4056020"/>
                  <a:pt x="6988802" y="4056243"/>
                </a:cubicBezTo>
                <a:cubicBezTo>
                  <a:pt x="6989088" y="4056464"/>
                  <a:pt x="6988802" y="4056909"/>
                  <a:pt x="6988229" y="4057686"/>
                </a:cubicBezTo>
                <a:cubicBezTo>
                  <a:pt x="6985938" y="4057464"/>
                  <a:pt x="6987656" y="4056797"/>
                  <a:pt x="6986796" y="4055798"/>
                </a:cubicBezTo>
                <a:close/>
                <a:moveTo>
                  <a:pt x="5960108" y="4052688"/>
                </a:moveTo>
                <a:cubicBezTo>
                  <a:pt x="5962400" y="4052910"/>
                  <a:pt x="5964406" y="4053687"/>
                  <a:pt x="5966124" y="4054798"/>
                </a:cubicBezTo>
                <a:lnTo>
                  <a:pt x="5967556" y="4056243"/>
                </a:lnTo>
                <a:lnTo>
                  <a:pt x="5970708" y="4054354"/>
                </a:lnTo>
                <a:cubicBezTo>
                  <a:pt x="5974145" y="4053799"/>
                  <a:pt x="5978442" y="4054909"/>
                  <a:pt x="5977869" y="4058130"/>
                </a:cubicBezTo>
                <a:cubicBezTo>
                  <a:pt x="5976723" y="4058464"/>
                  <a:pt x="5975291" y="4058907"/>
                  <a:pt x="5973572" y="4059464"/>
                </a:cubicBezTo>
                <a:lnTo>
                  <a:pt x="5969848" y="4060241"/>
                </a:lnTo>
                <a:lnTo>
                  <a:pt x="5970134" y="4067572"/>
                </a:lnTo>
                <a:cubicBezTo>
                  <a:pt x="5968988" y="4068684"/>
                  <a:pt x="5967270" y="4069238"/>
                  <a:pt x="5965264" y="4069573"/>
                </a:cubicBezTo>
                <a:cubicBezTo>
                  <a:pt x="5967844" y="4069794"/>
                  <a:pt x="5970708" y="4070350"/>
                  <a:pt x="5973000" y="4071238"/>
                </a:cubicBezTo>
                <a:lnTo>
                  <a:pt x="5974432" y="4072239"/>
                </a:lnTo>
                <a:lnTo>
                  <a:pt x="5976437" y="4072460"/>
                </a:lnTo>
                <a:lnTo>
                  <a:pt x="5976150" y="4073682"/>
                </a:lnTo>
                <a:lnTo>
                  <a:pt x="5978442" y="4075349"/>
                </a:lnTo>
                <a:cubicBezTo>
                  <a:pt x="5987322" y="4085124"/>
                  <a:pt x="5973286" y="4098121"/>
                  <a:pt x="5955812" y="4101342"/>
                </a:cubicBezTo>
                <a:cubicBezTo>
                  <a:pt x="5944066" y="4103453"/>
                  <a:pt x="5930603" y="4101009"/>
                  <a:pt x="5922008" y="4089678"/>
                </a:cubicBezTo>
                <a:cubicBezTo>
                  <a:pt x="5930602" y="4078125"/>
                  <a:pt x="5946072" y="4070017"/>
                  <a:pt x="5960108" y="4069350"/>
                </a:cubicBezTo>
                <a:cubicBezTo>
                  <a:pt x="5960968" y="4069350"/>
                  <a:pt x="5961827" y="4069461"/>
                  <a:pt x="5962973" y="4069461"/>
                </a:cubicBezTo>
                <a:cubicBezTo>
                  <a:pt x="5954666" y="4065240"/>
                  <a:pt x="5960681" y="4060130"/>
                  <a:pt x="5960108" y="4052688"/>
                </a:cubicBezTo>
                <a:close/>
                <a:moveTo>
                  <a:pt x="6759058" y="4049133"/>
                </a:moveTo>
                <a:cubicBezTo>
                  <a:pt x="6762782" y="4048466"/>
                  <a:pt x="6767938" y="4050910"/>
                  <a:pt x="6773094" y="4059908"/>
                </a:cubicBezTo>
                <a:cubicBezTo>
                  <a:pt x="6764214" y="4064574"/>
                  <a:pt x="6758484" y="4064795"/>
                  <a:pt x="6755334" y="4063129"/>
                </a:cubicBezTo>
                <a:cubicBezTo>
                  <a:pt x="6749604" y="4060130"/>
                  <a:pt x="6752468" y="4050243"/>
                  <a:pt x="6759058" y="4049133"/>
                </a:cubicBezTo>
                <a:close/>
                <a:moveTo>
                  <a:pt x="6569704" y="4046466"/>
                </a:moveTo>
                <a:cubicBezTo>
                  <a:pt x="6584028" y="4045467"/>
                  <a:pt x="6597778" y="4050355"/>
                  <a:pt x="6601788" y="4064462"/>
                </a:cubicBezTo>
                <a:lnTo>
                  <a:pt x="6601502" y="4070016"/>
                </a:lnTo>
                <a:lnTo>
                  <a:pt x="6601788" y="4070016"/>
                </a:lnTo>
                <a:lnTo>
                  <a:pt x="6601216" y="4072349"/>
                </a:lnTo>
                <a:lnTo>
                  <a:pt x="6601216" y="4074126"/>
                </a:lnTo>
                <a:cubicBezTo>
                  <a:pt x="6598063" y="4083569"/>
                  <a:pt x="6588611" y="4093121"/>
                  <a:pt x="6584314" y="4105785"/>
                </a:cubicBezTo>
                <a:cubicBezTo>
                  <a:pt x="6579730" y="4100120"/>
                  <a:pt x="6572282" y="4097787"/>
                  <a:pt x="6564548" y="4096232"/>
                </a:cubicBezTo>
                <a:lnTo>
                  <a:pt x="6556240" y="4094788"/>
                </a:lnTo>
                <a:lnTo>
                  <a:pt x="6555668" y="4096010"/>
                </a:lnTo>
                <a:cubicBezTo>
                  <a:pt x="6555381" y="4096343"/>
                  <a:pt x="6555381" y="4096343"/>
                  <a:pt x="6555954" y="4096120"/>
                </a:cubicBezTo>
                <a:cubicBezTo>
                  <a:pt x="6553662" y="4099120"/>
                  <a:pt x="6551658" y="4103230"/>
                  <a:pt x="6547933" y="4102897"/>
                </a:cubicBezTo>
                <a:cubicBezTo>
                  <a:pt x="6541918" y="4101453"/>
                  <a:pt x="6541344" y="4096787"/>
                  <a:pt x="6541918" y="4092122"/>
                </a:cubicBezTo>
                <a:lnTo>
                  <a:pt x="6541919" y="4091566"/>
                </a:lnTo>
                <a:lnTo>
                  <a:pt x="6536761" y="4088678"/>
                </a:lnTo>
                <a:cubicBezTo>
                  <a:pt x="6535042" y="4087456"/>
                  <a:pt x="6533324" y="4086013"/>
                  <a:pt x="6532464" y="4084124"/>
                </a:cubicBezTo>
                <a:lnTo>
                  <a:pt x="6530746" y="4077792"/>
                </a:lnTo>
                <a:lnTo>
                  <a:pt x="6526735" y="4076904"/>
                </a:lnTo>
                <a:cubicBezTo>
                  <a:pt x="6524156" y="4064351"/>
                  <a:pt x="6528740" y="4060241"/>
                  <a:pt x="6535328" y="4060352"/>
                </a:cubicBezTo>
                <a:lnTo>
                  <a:pt x="6536474" y="4060685"/>
                </a:lnTo>
                <a:lnTo>
                  <a:pt x="6542777" y="4055020"/>
                </a:lnTo>
                <a:cubicBezTo>
                  <a:pt x="6550513" y="4050244"/>
                  <a:pt x="6560251" y="4047022"/>
                  <a:pt x="6569704" y="4046466"/>
                </a:cubicBezTo>
                <a:close/>
                <a:moveTo>
                  <a:pt x="6108497" y="4046356"/>
                </a:moveTo>
                <a:cubicBezTo>
                  <a:pt x="6111934" y="4046578"/>
                  <a:pt x="6115372" y="4047689"/>
                  <a:pt x="6117377" y="4049688"/>
                </a:cubicBezTo>
                <a:cubicBezTo>
                  <a:pt x="6118810" y="4050909"/>
                  <a:pt x="6119956" y="4052577"/>
                  <a:pt x="6120242" y="4054576"/>
                </a:cubicBezTo>
                <a:lnTo>
                  <a:pt x="6119956" y="4054909"/>
                </a:lnTo>
                <a:lnTo>
                  <a:pt x="6122534" y="4053576"/>
                </a:lnTo>
                <a:cubicBezTo>
                  <a:pt x="6123680" y="4053243"/>
                  <a:pt x="6125112" y="4053243"/>
                  <a:pt x="6125971" y="4053798"/>
                </a:cubicBezTo>
                <a:cubicBezTo>
                  <a:pt x="6126258" y="4054909"/>
                  <a:pt x="6127690" y="4054798"/>
                  <a:pt x="6127976" y="4056020"/>
                </a:cubicBezTo>
                <a:lnTo>
                  <a:pt x="6128836" y="4055465"/>
                </a:lnTo>
                <a:cubicBezTo>
                  <a:pt x="6131128" y="4055020"/>
                  <a:pt x="6133706" y="4055465"/>
                  <a:pt x="6136857" y="4056242"/>
                </a:cubicBezTo>
                <a:cubicBezTo>
                  <a:pt x="6135138" y="4058019"/>
                  <a:pt x="6133419" y="4058908"/>
                  <a:pt x="6131128" y="4059352"/>
                </a:cubicBezTo>
                <a:lnTo>
                  <a:pt x="6128836" y="4059464"/>
                </a:lnTo>
                <a:lnTo>
                  <a:pt x="6129122" y="4060796"/>
                </a:lnTo>
                <a:cubicBezTo>
                  <a:pt x="6129408" y="4062019"/>
                  <a:pt x="6127690" y="4062019"/>
                  <a:pt x="6126258" y="4063240"/>
                </a:cubicBezTo>
                <a:cubicBezTo>
                  <a:pt x="6124539" y="4063351"/>
                  <a:pt x="6122820" y="4062240"/>
                  <a:pt x="6122820" y="4062240"/>
                </a:cubicBezTo>
                <a:cubicBezTo>
                  <a:pt x="6120815" y="4061130"/>
                  <a:pt x="6120815" y="4061130"/>
                  <a:pt x="6119382" y="4062351"/>
                </a:cubicBezTo>
                <a:cubicBezTo>
                  <a:pt x="6119382" y="4062351"/>
                  <a:pt x="6119096" y="4061130"/>
                  <a:pt x="6119096" y="4061130"/>
                </a:cubicBezTo>
                <a:cubicBezTo>
                  <a:pt x="6119956" y="4061130"/>
                  <a:pt x="6119956" y="4061130"/>
                  <a:pt x="6119382" y="4061019"/>
                </a:cubicBezTo>
                <a:lnTo>
                  <a:pt x="6118236" y="4060463"/>
                </a:lnTo>
                <a:lnTo>
                  <a:pt x="6117091" y="4063574"/>
                </a:lnTo>
                <a:cubicBezTo>
                  <a:pt x="6115372" y="4064796"/>
                  <a:pt x="6113080" y="4065462"/>
                  <a:pt x="6110502" y="4065573"/>
                </a:cubicBezTo>
                <a:lnTo>
                  <a:pt x="6108210" y="4065462"/>
                </a:lnTo>
                <a:lnTo>
                  <a:pt x="6106778" y="4067461"/>
                </a:lnTo>
                <a:cubicBezTo>
                  <a:pt x="6105632" y="4068017"/>
                  <a:pt x="6103914" y="4068128"/>
                  <a:pt x="6101049" y="4067684"/>
                </a:cubicBezTo>
                <a:cubicBezTo>
                  <a:pt x="6101049" y="4067684"/>
                  <a:pt x="6100476" y="4066684"/>
                  <a:pt x="6100476" y="4066684"/>
                </a:cubicBezTo>
                <a:lnTo>
                  <a:pt x="6102481" y="4064906"/>
                </a:lnTo>
                <a:lnTo>
                  <a:pt x="6102194" y="4064795"/>
                </a:lnTo>
                <a:cubicBezTo>
                  <a:pt x="6096752" y="4063574"/>
                  <a:pt x="6092168" y="4061130"/>
                  <a:pt x="6091310" y="4058242"/>
                </a:cubicBezTo>
                <a:cubicBezTo>
                  <a:pt x="6093314" y="4055020"/>
                  <a:pt x="6095320" y="4051910"/>
                  <a:pt x="6097038" y="4048800"/>
                </a:cubicBezTo>
                <a:cubicBezTo>
                  <a:pt x="6100762" y="4046911"/>
                  <a:pt x="6104773" y="4046134"/>
                  <a:pt x="6108497" y="4046356"/>
                </a:cubicBezTo>
                <a:close/>
                <a:moveTo>
                  <a:pt x="7128024" y="4045912"/>
                </a:moveTo>
                <a:cubicBezTo>
                  <a:pt x="7129742" y="4046022"/>
                  <a:pt x="7131748" y="4046689"/>
                  <a:pt x="7133753" y="4048133"/>
                </a:cubicBezTo>
                <a:cubicBezTo>
                  <a:pt x="7132034" y="4052798"/>
                  <a:pt x="7120576" y="4055465"/>
                  <a:pt x="7110549" y="4058686"/>
                </a:cubicBezTo>
                <a:cubicBezTo>
                  <a:pt x="7109117" y="4055686"/>
                  <a:pt x="7108543" y="4054020"/>
                  <a:pt x="7106538" y="4052021"/>
                </a:cubicBezTo>
                <a:cubicBezTo>
                  <a:pt x="7116852" y="4049577"/>
                  <a:pt x="7122294" y="4045468"/>
                  <a:pt x="7128024" y="4045912"/>
                </a:cubicBezTo>
                <a:close/>
                <a:moveTo>
                  <a:pt x="6925493" y="4045911"/>
                </a:moveTo>
                <a:cubicBezTo>
                  <a:pt x="6929790" y="4046356"/>
                  <a:pt x="6937524" y="4047023"/>
                  <a:pt x="6940390" y="4049022"/>
                </a:cubicBezTo>
                <a:cubicBezTo>
                  <a:pt x="6941535" y="4049688"/>
                  <a:pt x="6942108" y="4050576"/>
                  <a:pt x="6941535" y="4051576"/>
                </a:cubicBezTo>
                <a:cubicBezTo>
                  <a:pt x="6940676" y="4053132"/>
                  <a:pt x="6938670" y="4052687"/>
                  <a:pt x="6937238" y="4053132"/>
                </a:cubicBezTo>
                <a:cubicBezTo>
                  <a:pt x="6933514" y="4053131"/>
                  <a:pt x="6924634" y="4047467"/>
                  <a:pt x="6925493" y="4045911"/>
                </a:cubicBezTo>
                <a:close/>
                <a:moveTo>
                  <a:pt x="6475744" y="4045245"/>
                </a:moveTo>
                <a:cubicBezTo>
                  <a:pt x="6477463" y="4047022"/>
                  <a:pt x="6478036" y="4048467"/>
                  <a:pt x="6477750" y="4050022"/>
                </a:cubicBezTo>
                <a:lnTo>
                  <a:pt x="6476030" y="4053354"/>
                </a:lnTo>
                <a:lnTo>
                  <a:pt x="6487776" y="4054909"/>
                </a:lnTo>
                <a:cubicBezTo>
                  <a:pt x="6492072" y="4055242"/>
                  <a:pt x="6495510" y="4055798"/>
                  <a:pt x="6497229" y="4057464"/>
                </a:cubicBezTo>
                <a:cubicBezTo>
                  <a:pt x="6498375" y="4058686"/>
                  <a:pt x="6498375" y="4060353"/>
                  <a:pt x="6497516" y="4062796"/>
                </a:cubicBezTo>
                <a:cubicBezTo>
                  <a:pt x="6490640" y="4063795"/>
                  <a:pt x="6463712" y="4062574"/>
                  <a:pt x="6473166" y="4053021"/>
                </a:cubicBezTo>
                <a:lnTo>
                  <a:pt x="6473452" y="4053020"/>
                </a:lnTo>
                <a:lnTo>
                  <a:pt x="6471448" y="4049799"/>
                </a:lnTo>
                <a:cubicBezTo>
                  <a:pt x="6471734" y="4048244"/>
                  <a:pt x="6473452" y="4046911"/>
                  <a:pt x="6475744" y="4045245"/>
                </a:cubicBezTo>
                <a:close/>
                <a:moveTo>
                  <a:pt x="6362877" y="4044134"/>
                </a:moveTo>
                <a:cubicBezTo>
                  <a:pt x="6364023" y="4043912"/>
                  <a:pt x="6365456" y="4044022"/>
                  <a:pt x="6367174" y="4044467"/>
                </a:cubicBezTo>
                <a:cubicBezTo>
                  <a:pt x="6364596" y="4046022"/>
                  <a:pt x="6360012" y="4049355"/>
                  <a:pt x="6356575" y="4049799"/>
                </a:cubicBezTo>
                <a:cubicBezTo>
                  <a:pt x="6355429" y="4050022"/>
                  <a:pt x="6354284" y="4049799"/>
                  <a:pt x="6353710" y="4049133"/>
                </a:cubicBezTo>
                <a:cubicBezTo>
                  <a:pt x="6356288" y="4047578"/>
                  <a:pt x="6358866" y="4044800"/>
                  <a:pt x="6362877" y="4044134"/>
                </a:cubicBezTo>
                <a:close/>
                <a:moveTo>
                  <a:pt x="5918858" y="4043579"/>
                </a:moveTo>
                <a:cubicBezTo>
                  <a:pt x="5926592" y="4053687"/>
                  <a:pt x="5916851" y="4058908"/>
                  <a:pt x="5908544" y="4058241"/>
                </a:cubicBezTo>
                <a:cubicBezTo>
                  <a:pt x="5905679" y="4057909"/>
                  <a:pt x="5903102" y="4057020"/>
                  <a:pt x="5901382" y="4055465"/>
                </a:cubicBezTo>
                <a:cubicBezTo>
                  <a:pt x="5899092" y="4053353"/>
                  <a:pt x="5898232" y="4050021"/>
                  <a:pt x="5900524" y="4045356"/>
                </a:cubicBezTo>
                <a:cubicBezTo>
                  <a:pt x="5908258" y="4042690"/>
                  <a:pt x="5912555" y="4044134"/>
                  <a:pt x="5918858" y="4043579"/>
                </a:cubicBezTo>
                <a:close/>
                <a:moveTo>
                  <a:pt x="6524156" y="4041912"/>
                </a:moveTo>
                <a:cubicBezTo>
                  <a:pt x="6527594" y="4044467"/>
                  <a:pt x="6529026" y="4049355"/>
                  <a:pt x="6523870" y="4052465"/>
                </a:cubicBezTo>
                <a:cubicBezTo>
                  <a:pt x="6520146" y="4055687"/>
                  <a:pt x="6513271" y="4055131"/>
                  <a:pt x="6508114" y="4058241"/>
                </a:cubicBezTo>
                <a:cubicBezTo>
                  <a:pt x="6501526" y="4054131"/>
                  <a:pt x="6499807" y="4052910"/>
                  <a:pt x="6503531" y="4047355"/>
                </a:cubicBezTo>
                <a:cubicBezTo>
                  <a:pt x="6503531" y="4047355"/>
                  <a:pt x="6505250" y="4046245"/>
                  <a:pt x="6505250" y="4046245"/>
                </a:cubicBezTo>
                <a:cubicBezTo>
                  <a:pt x="6510693" y="4042023"/>
                  <a:pt x="6520719" y="4040468"/>
                  <a:pt x="6524156" y="4041912"/>
                </a:cubicBezTo>
                <a:close/>
                <a:moveTo>
                  <a:pt x="6150320" y="4041802"/>
                </a:moveTo>
                <a:cubicBezTo>
                  <a:pt x="6158628" y="4042246"/>
                  <a:pt x="6166649" y="4044800"/>
                  <a:pt x="6167508" y="4048689"/>
                </a:cubicBezTo>
                <a:cubicBezTo>
                  <a:pt x="6168082" y="4052133"/>
                  <a:pt x="6162925" y="4056575"/>
                  <a:pt x="6146024" y="4061352"/>
                </a:cubicBezTo>
                <a:cubicBezTo>
                  <a:pt x="6127690" y="4049133"/>
                  <a:pt x="6132560" y="4043468"/>
                  <a:pt x="6142300" y="4042023"/>
                </a:cubicBezTo>
                <a:cubicBezTo>
                  <a:pt x="6144878" y="4041690"/>
                  <a:pt x="6147455" y="4041690"/>
                  <a:pt x="6150320" y="4041802"/>
                </a:cubicBezTo>
                <a:close/>
                <a:moveTo>
                  <a:pt x="7013724" y="4036580"/>
                </a:moveTo>
                <a:cubicBezTo>
                  <a:pt x="7018880" y="4038357"/>
                  <a:pt x="7021172" y="4038802"/>
                  <a:pt x="7024324" y="4040246"/>
                </a:cubicBezTo>
                <a:cubicBezTo>
                  <a:pt x="7025756" y="4039580"/>
                  <a:pt x="7027188" y="4038913"/>
                  <a:pt x="7029480" y="4039358"/>
                </a:cubicBezTo>
                <a:cubicBezTo>
                  <a:pt x="7034063" y="4040135"/>
                  <a:pt x="7034063" y="4042801"/>
                  <a:pt x="7036928" y="4044245"/>
                </a:cubicBezTo>
                <a:cubicBezTo>
                  <a:pt x="7036355" y="4045911"/>
                  <a:pt x="7034063" y="4048133"/>
                  <a:pt x="7029766" y="4047355"/>
                </a:cubicBezTo>
                <a:cubicBezTo>
                  <a:pt x="7023750" y="4047133"/>
                  <a:pt x="7021172" y="4044023"/>
                  <a:pt x="7020312" y="4040469"/>
                </a:cubicBezTo>
                <a:cubicBezTo>
                  <a:pt x="7017448" y="4039024"/>
                  <a:pt x="7013724" y="4039247"/>
                  <a:pt x="7013724" y="4036580"/>
                </a:cubicBezTo>
                <a:close/>
                <a:moveTo>
                  <a:pt x="5864716" y="4036358"/>
                </a:moveTo>
                <a:cubicBezTo>
                  <a:pt x="5866148" y="4036691"/>
                  <a:pt x="5866721" y="4037469"/>
                  <a:pt x="5867580" y="4039247"/>
                </a:cubicBezTo>
                <a:lnTo>
                  <a:pt x="5867867" y="4040024"/>
                </a:lnTo>
                <a:lnTo>
                  <a:pt x="5870732" y="4039024"/>
                </a:lnTo>
                <a:cubicBezTo>
                  <a:pt x="5871018" y="4040135"/>
                  <a:pt x="5871018" y="4041357"/>
                  <a:pt x="5872736" y="4041357"/>
                </a:cubicBezTo>
                <a:lnTo>
                  <a:pt x="5869299" y="4043245"/>
                </a:lnTo>
                <a:lnTo>
                  <a:pt x="5869586" y="4044245"/>
                </a:lnTo>
                <a:lnTo>
                  <a:pt x="5869299" y="4048022"/>
                </a:lnTo>
                <a:lnTo>
                  <a:pt x="5869872" y="4048355"/>
                </a:lnTo>
                <a:cubicBezTo>
                  <a:pt x="5869872" y="4048355"/>
                  <a:pt x="5876747" y="4054354"/>
                  <a:pt x="5870445" y="4060019"/>
                </a:cubicBezTo>
                <a:cubicBezTo>
                  <a:pt x="5868726" y="4058797"/>
                  <a:pt x="5858987" y="4065462"/>
                  <a:pt x="5851825" y="4062907"/>
                </a:cubicBezTo>
                <a:cubicBezTo>
                  <a:pt x="5848387" y="4061685"/>
                  <a:pt x="5846668" y="4060463"/>
                  <a:pt x="5843232" y="4059130"/>
                </a:cubicBezTo>
                <a:lnTo>
                  <a:pt x="5842085" y="4056020"/>
                </a:lnTo>
                <a:lnTo>
                  <a:pt x="5832345" y="4053465"/>
                </a:lnTo>
                <a:cubicBezTo>
                  <a:pt x="5830626" y="4052354"/>
                  <a:pt x="5826043" y="4047800"/>
                  <a:pt x="5827476" y="4046466"/>
                </a:cubicBezTo>
                <a:cubicBezTo>
                  <a:pt x="5828908" y="4045245"/>
                  <a:pt x="5830626" y="4045245"/>
                  <a:pt x="5832345" y="4045245"/>
                </a:cubicBezTo>
                <a:lnTo>
                  <a:pt x="5842085" y="4048021"/>
                </a:lnTo>
                <a:lnTo>
                  <a:pt x="5844091" y="4045245"/>
                </a:lnTo>
                <a:cubicBezTo>
                  <a:pt x="5846096" y="4043467"/>
                  <a:pt x="5848101" y="4042690"/>
                  <a:pt x="5850106" y="4042245"/>
                </a:cubicBezTo>
                <a:lnTo>
                  <a:pt x="5852684" y="4042246"/>
                </a:lnTo>
                <a:lnTo>
                  <a:pt x="5852111" y="4040801"/>
                </a:lnTo>
                <a:lnTo>
                  <a:pt x="5857268" y="4039135"/>
                </a:lnTo>
                <a:lnTo>
                  <a:pt x="5859273" y="4036914"/>
                </a:lnTo>
                <a:cubicBezTo>
                  <a:pt x="5861851" y="4036469"/>
                  <a:pt x="5863570" y="4036136"/>
                  <a:pt x="5864716" y="4036358"/>
                </a:cubicBezTo>
                <a:close/>
                <a:moveTo>
                  <a:pt x="6392383" y="4035358"/>
                </a:moveTo>
                <a:cubicBezTo>
                  <a:pt x="6393242" y="4036024"/>
                  <a:pt x="6393242" y="4036580"/>
                  <a:pt x="6392670" y="4037136"/>
                </a:cubicBezTo>
                <a:cubicBezTo>
                  <a:pt x="6392097" y="4037691"/>
                  <a:pt x="6391237" y="4038246"/>
                  <a:pt x="6390378" y="4038803"/>
                </a:cubicBezTo>
                <a:cubicBezTo>
                  <a:pt x="6388372" y="4039802"/>
                  <a:pt x="6386654" y="4040801"/>
                  <a:pt x="6384935" y="4041801"/>
                </a:cubicBezTo>
                <a:cubicBezTo>
                  <a:pt x="6384935" y="4041801"/>
                  <a:pt x="6384935" y="4041801"/>
                  <a:pt x="6392383" y="4035358"/>
                </a:cubicBezTo>
                <a:close/>
                <a:moveTo>
                  <a:pt x="5889638" y="4034581"/>
                </a:moveTo>
                <a:cubicBezTo>
                  <a:pt x="5895940" y="4035136"/>
                  <a:pt x="5905107" y="4038691"/>
                  <a:pt x="5909118" y="4041135"/>
                </a:cubicBezTo>
                <a:cubicBezTo>
                  <a:pt x="5904820" y="4043579"/>
                  <a:pt x="5890498" y="4038357"/>
                  <a:pt x="5884768" y="4035135"/>
                </a:cubicBezTo>
                <a:cubicBezTo>
                  <a:pt x="5885914" y="4034470"/>
                  <a:pt x="5887633" y="4034358"/>
                  <a:pt x="5889638" y="4034581"/>
                </a:cubicBezTo>
                <a:close/>
                <a:moveTo>
                  <a:pt x="5953519" y="4030693"/>
                </a:moveTo>
                <a:cubicBezTo>
                  <a:pt x="5957244" y="4031026"/>
                  <a:pt x="5960108" y="4032470"/>
                  <a:pt x="5961540" y="4035135"/>
                </a:cubicBezTo>
                <a:cubicBezTo>
                  <a:pt x="5962400" y="4036691"/>
                  <a:pt x="5962686" y="4038691"/>
                  <a:pt x="5962400" y="4041134"/>
                </a:cubicBezTo>
                <a:lnTo>
                  <a:pt x="5956670" y="4043911"/>
                </a:lnTo>
                <a:lnTo>
                  <a:pt x="5957816" y="4044912"/>
                </a:lnTo>
                <a:cubicBezTo>
                  <a:pt x="5954952" y="4047467"/>
                  <a:pt x="5952088" y="4049910"/>
                  <a:pt x="5948364" y="4047689"/>
                </a:cubicBezTo>
                <a:lnTo>
                  <a:pt x="5948077" y="4047577"/>
                </a:lnTo>
                <a:lnTo>
                  <a:pt x="5943780" y="4049355"/>
                </a:lnTo>
                <a:cubicBezTo>
                  <a:pt x="5936904" y="4051354"/>
                  <a:pt x="5929456" y="4051465"/>
                  <a:pt x="5922868" y="4046689"/>
                </a:cubicBezTo>
                <a:cubicBezTo>
                  <a:pt x="5926020" y="4037358"/>
                  <a:pt x="5942920" y="4029471"/>
                  <a:pt x="5953519" y="4030693"/>
                </a:cubicBezTo>
                <a:close/>
                <a:moveTo>
                  <a:pt x="6591190" y="4029694"/>
                </a:moveTo>
                <a:cubicBezTo>
                  <a:pt x="6595772" y="4029249"/>
                  <a:pt x="6600929" y="4029249"/>
                  <a:pt x="6606945" y="4029915"/>
                </a:cubicBezTo>
                <a:cubicBezTo>
                  <a:pt x="6608950" y="4033359"/>
                  <a:pt x="6617258" y="4036692"/>
                  <a:pt x="6611814" y="4041135"/>
                </a:cubicBezTo>
                <a:cubicBezTo>
                  <a:pt x="6593768" y="4034803"/>
                  <a:pt x="6578298" y="4047244"/>
                  <a:pt x="6563976" y="4043690"/>
                </a:cubicBezTo>
                <a:lnTo>
                  <a:pt x="6558246" y="4041246"/>
                </a:lnTo>
                <a:lnTo>
                  <a:pt x="6555381" y="4043356"/>
                </a:lnTo>
                <a:cubicBezTo>
                  <a:pt x="6554236" y="4044912"/>
                  <a:pt x="6553090" y="4046356"/>
                  <a:pt x="6551657" y="4047355"/>
                </a:cubicBezTo>
                <a:cubicBezTo>
                  <a:pt x="6550225" y="4048244"/>
                  <a:pt x="6548506" y="4048578"/>
                  <a:pt x="6546501" y="4047911"/>
                </a:cubicBezTo>
                <a:cubicBezTo>
                  <a:pt x="6546788" y="4044245"/>
                  <a:pt x="6547646" y="4041690"/>
                  <a:pt x="6549652" y="4037580"/>
                </a:cubicBezTo>
                <a:cubicBezTo>
                  <a:pt x="6549652" y="4037580"/>
                  <a:pt x="6554523" y="4031692"/>
                  <a:pt x="6560251" y="4032692"/>
                </a:cubicBezTo>
                <a:cubicBezTo>
                  <a:pt x="6561110" y="4032470"/>
                  <a:pt x="6561970" y="4033470"/>
                  <a:pt x="6562256" y="4034692"/>
                </a:cubicBezTo>
                <a:cubicBezTo>
                  <a:pt x="6562830" y="4035914"/>
                  <a:pt x="6562830" y="4037358"/>
                  <a:pt x="6562256" y="4038025"/>
                </a:cubicBezTo>
                <a:lnTo>
                  <a:pt x="6558532" y="4041024"/>
                </a:lnTo>
                <a:lnTo>
                  <a:pt x="6578585" y="4032248"/>
                </a:lnTo>
                <a:cubicBezTo>
                  <a:pt x="6582596" y="4031137"/>
                  <a:pt x="6586606" y="4030137"/>
                  <a:pt x="6591190" y="4029694"/>
                </a:cubicBezTo>
                <a:close/>
                <a:moveTo>
                  <a:pt x="6749319" y="4029693"/>
                </a:moveTo>
                <a:cubicBezTo>
                  <a:pt x="6751610" y="4030360"/>
                  <a:pt x="6752468" y="4030693"/>
                  <a:pt x="6752755" y="4031360"/>
                </a:cubicBezTo>
                <a:cubicBezTo>
                  <a:pt x="6753042" y="4032026"/>
                  <a:pt x="6752468" y="4033026"/>
                  <a:pt x="6751610" y="4035025"/>
                </a:cubicBezTo>
                <a:cubicBezTo>
                  <a:pt x="6750177" y="4036469"/>
                  <a:pt x="6747026" y="4038469"/>
                  <a:pt x="6743302" y="4040024"/>
                </a:cubicBezTo>
                <a:cubicBezTo>
                  <a:pt x="6739578" y="4041468"/>
                  <a:pt x="6735281" y="4042467"/>
                  <a:pt x="6732416" y="4042024"/>
                </a:cubicBezTo>
                <a:cubicBezTo>
                  <a:pt x="6733276" y="4039469"/>
                  <a:pt x="6734135" y="4036914"/>
                  <a:pt x="6734994" y="4034359"/>
                </a:cubicBezTo>
                <a:cubicBezTo>
                  <a:pt x="6735281" y="4035470"/>
                  <a:pt x="6749319" y="4029693"/>
                  <a:pt x="6749319" y="4029693"/>
                </a:cubicBezTo>
                <a:close/>
                <a:moveTo>
                  <a:pt x="6060371" y="4028249"/>
                </a:moveTo>
                <a:cubicBezTo>
                  <a:pt x="6063808" y="4027916"/>
                  <a:pt x="6067532" y="4029026"/>
                  <a:pt x="6071543" y="4031137"/>
                </a:cubicBezTo>
                <a:cubicBezTo>
                  <a:pt x="6070684" y="4033804"/>
                  <a:pt x="6071256" y="4036025"/>
                  <a:pt x="6070684" y="4039801"/>
                </a:cubicBezTo>
                <a:lnTo>
                  <a:pt x="6066960" y="4039580"/>
                </a:lnTo>
                <a:lnTo>
                  <a:pt x="6066960" y="4039913"/>
                </a:lnTo>
                <a:cubicBezTo>
                  <a:pt x="6066960" y="4041912"/>
                  <a:pt x="6066100" y="4043801"/>
                  <a:pt x="6064955" y="4044467"/>
                </a:cubicBezTo>
                <a:cubicBezTo>
                  <a:pt x="6062949" y="4044467"/>
                  <a:pt x="6059798" y="4041802"/>
                  <a:pt x="6058366" y="4038912"/>
                </a:cubicBezTo>
                <a:lnTo>
                  <a:pt x="6058366" y="4038025"/>
                </a:lnTo>
                <a:lnTo>
                  <a:pt x="6051490" y="4033915"/>
                </a:lnTo>
                <a:cubicBezTo>
                  <a:pt x="6054068" y="4030471"/>
                  <a:pt x="6056934" y="4028694"/>
                  <a:pt x="6060371" y="4028249"/>
                </a:cubicBezTo>
                <a:close/>
                <a:moveTo>
                  <a:pt x="7289016" y="4027471"/>
                </a:moveTo>
                <a:cubicBezTo>
                  <a:pt x="7292454" y="4026694"/>
                  <a:pt x="7295892" y="4028249"/>
                  <a:pt x="7299042" y="4029804"/>
                </a:cubicBezTo>
                <a:cubicBezTo>
                  <a:pt x="7301334" y="4031248"/>
                  <a:pt x="7302194" y="4032469"/>
                  <a:pt x="7301622" y="4033581"/>
                </a:cubicBezTo>
                <a:cubicBezTo>
                  <a:pt x="7301334" y="4034803"/>
                  <a:pt x="7300188" y="4035803"/>
                  <a:pt x="7298470" y="4036802"/>
                </a:cubicBezTo>
                <a:cubicBezTo>
                  <a:pt x="7294746" y="4038802"/>
                  <a:pt x="7291308" y="4037247"/>
                  <a:pt x="7291308" y="4037247"/>
                </a:cubicBezTo>
                <a:cubicBezTo>
                  <a:pt x="7286724" y="4034359"/>
                  <a:pt x="7285292" y="4030693"/>
                  <a:pt x="7289016" y="4027471"/>
                </a:cubicBezTo>
                <a:close/>
                <a:moveTo>
                  <a:pt x="5890499" y="4026805"/>
                </a:moveTo>
                <a:cubicBezTo>
                  <a:pt x="5895940" y="4025917"/>
                  <a:pt x="5901383" y="4026583"/>
                  <a:pt x="5905394" y="4031137"/>
                </a:cubicBezTo>
                <a:cubicBezTo>
                  <a:pt x="5904248" y="4032581"/>
                  <a:pt x="5902817" y="4034025"/>
                  <a:pt x="5901383" y="4035581"/>
                </a:cubicBezTo>
                <a:cubicBezTo>
                  <a:pt x="5891930" y="4032693"/>
                  <a:pt x="5883622" y="4034248"/>
                  <a:pt x="5875888" y="4032249"/>
                </a:cubicBezTo>
                <a:cubicBezTo>
                  <a:pt x="5879612" y="4030248"/>
                  <a:pt x="5885054" y="4027694"/>
                  <a:pt x="5890499" y="4026805"/>
                </a:cubicBezTo>
                <a:close/>
                <a:moveTo>
                  <a:pt x="6141440" y="4026472"/>
                </a:moveTo>
                <a:cubicBezTo>
                  <a:pt x="6147742" y="4026250"/>
                  <a:pt x="6157769" y="4028138"/>
                  <a:pt x="6158055" y="4029026"/>
                </a:cubicBezTo>
                <a:cubicBezTo>
                  <a:pt x="6159774" y="4028916"/>
                  <a:pt x="6160060" y="4030138"/>
                  <a:pt x="6161492" y="4030137"/>
                </a:cubicBezTo>
                <a:cubicBezTo>
                  <a:pt x="6161492" y="4030137"/>
                  <a:pt x="6163212" y="4030026"/>
                  <a:pt x="6165217" y="4031138"/>
                </a:cubicBezTo>
                <a:cubicBezTo>
                  <a:pt x="6167222" y="4032248"/>
                  <a:pt x="6168941" y="4033470"/>
                  <a:pt x="6167796" y="4035914"/>
                </a:cubicBezTo>
                <a:cubicBezTo>
                  <a:pt x="6153472" y="4032804"/>
                  <a:pt x="6146883" y="4033026"/>
                  <a:pt x="6135998" y="4029915"/>
                </a:cubicBezTo>
                <a:cubicBezTo>
                  <a:pt x="6135711" y="4028694"/>
                  <a:pt x="6137430" y="4028583"/>
                  <a:pt x="6137144" y="4027471"/>
                </a:cubicBezTo>
                <a:cubicBezTo>
                  <a:pt x="6137716" y="4026805"/>
                  <a:pt x="6139435" y="4026472"/>
                  <a:pt x="6141440" y="4026472"/>
                </a:cubicBezTo>
                <a:close/>
                <a:moveTo>
                  <a:pt x="6237978" y="4024250"/>
                </a:moveTo>
                <a:cubicBezTo>
                  <a:pt x="6246000" y="4030360"/>
                  <a:pt x="6242848" y="4036137"/>
                  <a:pt x="6235114" y="4040024"/>
                </a:cubicBezTo>
                <a:lnTo>
                  <a:pt x="6234541" y="4040024"/>
                </a:lnTo>
                <a:lnTo>
                  <a:pt x="6235114" y="4041024"/>
                </a:lnTo>
                <a:cubicBezTo>
                  <a:pt x="6236833" y="4043357"/>
                  <a:pt x="6238838" y="4045578"/>
                  <a:pt x="6238838" y="4045578"/>
                </a:cubicBezTo>
                <a:lnTo>
                  <a:pt x="6236833" y="4047689"/>
                </a:lnTo>
                <a:lnTo>
                  <a:pt x="6254594" y="4033136"/>
                </a:lnTo>
                <a:lnTo>
                  <a:pt x="6268917" y="4033136"/>
                </a:lnTo>
                <a:lnTo>
                  <a:pt x="6269204" y="4032915"/>
                </a:lnTo>
                <a:cubicBezTo>
                  <a:pt x="6268917" y="4032581"/>
                  <a:pt x="6268630" y="4032249"/>
                  <a:pt x="6268630" y="4031693"/>
                </a:cubicBezTo>
                <a:cubicBezTo>
                  <a:pt x="6268630" y="4031693"/>
                  <a:pt x="6268630" y="4032804"/>
                  <a:pt x="6266912" y="4031470"/>
                </a:cubicBezTo>
                <a:cubicBezTo>
                  <a:pt x="6268630" y="4031693"/>
                  <a:pt x="6268630" y="4030471"/>
                  <a:pt x="6268630" y="4029360"/>
                </a:cubicBezTo>
                <a:cubicBezTo>
                  <a:pt x="6272068" y="4027250"/>
                  <a:pt x="6277511" y="4025250"/>
                  <a:pt x="6280662" y="4026694"/>
                </a:cubicBezTo>
                <a:cubicBezTo>
                  <a:pt x="6282380" y="4028027"/>
                  <a:pt x="6282954" y="4029249"/>
                  <a:pt x="6282667" y="4030249"/>
                </a:cubicBezTo>
                <a:lnTo>
                  <a:pt x="6281235" y="4031915"/>
                </a:lnTo>
                <a:lnTo>
                  <a:pt x="6291548" y="4030582"/>
                </a:lnTo>
                <a:cubicBezTo>
                  <a:pt x="6304438" y="4029027"/>
                  <a:pt x="6316756" y="4028583"/>
                  <a:pt x="6326210" y="4034359"/>
                </a:cubicBezTo>
                <a:cubicBezTo>
                  <a:pt x="6329648" y="4049021"/>
                  <a:pt x="6341679" y="4050355"/>
                  <a:pt x="6348554" y="4058130"/>
                </a:cubicBezTo>
                <a:lnTo>
                  <a:pt x="6347694" y="4067350"/>
                </a:lnTo>
                <a:lnTo>
                  <a:pt x="6353997" y="4065017"/>
                </a:lnTo>
                <a:cubicBezTo>
                  <a:pt x="6354856" y="4069239"/>
                  <a:pt x="6362304" y="4068350"/>
                  <a:pt x="6359440" y="4073126"/>
                </a:cubicBezTo>
                <a:cubicBezTo>
                  <a:pt x="6358008" y="4073793"/>
                  <a:pt x="6356288" y="4074349"/>
                  <a:pt x="6354284" y="4074460"/>
                </a:cubicBezTo>
                <a:lnTo>
                  <a:pt x="6347122" y="4073571"/>
                </a:lnTo>
                <a:lnTo>
                  <a:pt x="6346835" y="4074460"/>
                </a:lnTo>
                <a:lnTo>
                  <a:pt x="6343684" y="4083013"/>
                </a:lnTo>
                <a:lnTo>
                  <a:pt x="6348554" y="4087900"/>
                </a:lnTo>
                <a:lnTo>
                  <a:pt x="6341679" y="4088901"/>
                </a:lnTo>
                <a:lnTo>
                  <a:pt x="6340533" y="4091567"/>
                </a:lnTo>
                <a:lnTo>
                  <a:pt x="6335090" y="4098787"/>
                </a:lnTo>
                <a:lnTo>
                  <a:pt x="6335950" y="4099232"/>
                </a:lnTo>
                <a:cubicBezTo>
                  <a:pt x="6337096" y="4100342"/>
                  <a:pt x="6337096" y="4101564"/>
                  <a:pt x="6336236" y="4102785"/>
                </a:cubicBezTo>
                <a:lnTo>
                  <a:pt x="6329361" y="4106118"/>
                </a:lnTo>
                <a:lnTo>
                  <a:pt x="6328503" y="4107118"/>
                </a:lnTo>
                <a:cubicBezTo>
                  <a:pt x="6323345" y="4111894"/>
                  <a:pt x="6317330" y="4116005"/>
                  <a:pt x="6309595" y="4119115"/>
                </a:cubicBezTo>
                <a:cubicBezTo>
                  <a:pt x="6303579" y="4121781"/>
                  <a:pt x="6297564" y="4123226"/>
                  <a:pt x="6292120" y="4123892"/>
                </a:cubicBezTo>
                <a:lnTo>
                  <a:pt x="6285818" y="4124003"/>
                </a:lnTo>
                <a:lnTo>
                  <a:pt x="6281808" y="4125447"/>
                </a:lnTo>
                <a:cubicBezTo>
                  <a:pt x="6275506" y="4127668"/>
                  <a:pt x="6264620" y="4130890"/>
                  <a:pt x="6260036" y="4130890"/>
                </a:cubicBezTo>
                <a:cubicBezTo>
                  <a:pt x="6264334" y="4129779"/>
                  <a:pt x="6268630" y="4127891"/>
                  <a:pt x="6273214" y="4126335"/>
                </a:cubicBezTo>
                <a:lnTo>
                  <a:pt x="6285246" y="4124003"/>
                </a:lnTo>
                <a:lnTo>
                  <a:pt x="6275792" y="4124003"/>
                </a:lnTo>
                <a:cubicBezTo>
                  <a:pt x="6264906" y="4123225"/>
                  <a:pt x="6254020" y="4121225"/>
                  <a:pt x="6240844" y="4121558"/>
                </a:cubicBezTo>
                <a:cubicBezTo>
                  <a:pt x="6237406" y="4106895"/>
                  <a:pt x="6224515" y="4106563"/>
                  <a:pt x="6215062" y="4102119"/>
                </a:cubicBezTo>
                <a:cubicBezTo>
                  <a:pt x="6216208" y="4099453"/>
                  <a:pt x="6216780" y="4096565"/>
                  <a:pt x="6216780" y="4093677"/>
                </a:cubicBezTo>
                <a:lnTo>
                  <a:pt x="6215921" y="4084902"/>
                </a:lnTo>
                <a:lnTo>
                  <a:pt x="6208186" y="4081125"/>
                </a:lnTo>
                <a:cubicBezTo>
                  <a:pt x="6203890" y="4077681"/>
                  <a:pt x="6203316" y="4073015"/>
                  <a:pt x="6206754" y="4070128"/>
                </a:cubicBezTo>
                <a:lnTo>
                  <a:pt x="6213630" y="4067795"/>
                </a:lnTo>
                <a:lnTo>
                  <a:pt x="6213630" y="4066351"/>
                </a:lnTo>
                <a:cubicBezTo>
                  <a:pt x="6221650" y="4061019"/>
                  <a:pt x="6227952" y="4055354"/>
                  <a:pt x="6234254" y="4049799"/>
                </a:cubicBezTo>
                <a:lnTo>
                  <a:pt x="6235974" y="4048133"/>
                </a:lnTo>
                <a:lnTo>
                  <a:pt x="6231104" y="4047689"/>
                </a:lnTo>
                <a:lnTo>
                  <a:pt x="6224515" y="4042801"/>
                </a:lnTo>
                <a:lnTo>
                  <a:pt x="6217354" y="4044690"/>
                </a:lnTo>
                <a:cubicBezTo>
                  <a:pt x="6210764" y="4045245"/>
                  <a:pt x="6204176" y="4044800"/>
                  <a:pt x="6199306" y="4042801"/>
                </a:cubicBezTo>
                <a:lnTo>
                  <a:pt x="6193290" y="4037580"/>
                </a:lnTo>
                <a:lnTo>
                  <a:pt x="6192144" y="4037579"/>
                </a:lnTo>
                <a:cubicBezTo>
                  <a:pt x="6188708" y="4035136"/>
                  <a:pt x="6186702" y="4031582"/>
                  <a:pt x="6188420" y="4030471"/>
                </a:cubicBezTo>
                <a:cubicBezTo>
                  <a:pt x="6190998" y="4028805"/>
                  <a:pt x="6193291" y="4027138"/>
                  <a:pt x="6196442" y="4027915"/>
                </a:cubicBezTo>
                <a:cubicBezTo>
                  <a:pt x="6197589" y="4028249"/>
                  <a:pt x="6198733" y="4028805"/>
                  <a:pt x="6200167" y="4029693"/>
                </a:cubicBezTo>
                <a:cubicBezTo>
                  <a:pt x="6200167" y="4029693"/>
                  <a:pt x="6200167" y="4029693"/>
                  <a:pt x="6200166" y="4030804"/>
                </a:cubicBezTo>
                <a:lnTo>
                  <a:pt x="6200453" y="4032915"/>
                </a:lnTo>
                <a:lnTo>
                  <a:pt x="6211051" y="4027582"/>
                </a:lnTo>
                <a:cubicBezTo>
                  <a:pt x="6218499" y="4025250"/>
                  <a:pt x="6227380" y="4024027"/>
                  <a:pt x="6237978" y="4024250"/>
                </a:cubicBezTo>
                <a:close/>
                <a:moveTo>
                  <a:pt x="6950129" y="4023584"/>
                </a:moveTo>
                <a:cubicBezTo>
                  <a:pt x="6950129" y="4023584"/>
                  <a:pt x="6953853" y="4023584"/>
                  <a:pt x="6953853" y="4023584"/>
                </a:cubicBezTo>
                <a:cubicBezTo>
                  <a:pt x="6958150" y="4024695"/>
                  <a:pt x="6960442" y="4025250"/>
                  <a:pt x="6964166" y="4025361"/>
                </a:cubicBezTo>
                <a:cubicBezTo>
                  <a:pt x="6963880" y="4028027"/>
                  <a:pt x="6962447" y="4028582"/>
                  <a:pt x="6960156" y="4028027"/>
                </a:cubicBezTo>
                <a:cubicBezTo>
                  <a:pt x="6960156" y="4028027"/>
                  <a:pt x="6957864" y="4027471"/>
                  <a:pt x="6955858" y="4026916"/>
                </a:cubicBezTo>
                <a:cubicBezTo>
                  <a:pt x="6953567" y="4026361"/>
                  <a:pt x="6951848" y="4026805"/>
                  <a:pt x="6951848" y="4026805"/>
                </a:cubicBezTo>
                <a:cubicBezTo>
                  <a:pt x="6949842" y="4026250"/>
                  <a:pt x="6948984" y="4025250"/>
                  <a:pt x="6950129" y="4023584"/>
                </a:cubicBezTo>
                <a:close/>
                <a:moveTo>
                  <a:pt x="6979348" y="4022917"/>
                </a:moveTo>
                <a:cubicBezTo>
                  <a:pt x="6984505" y="4024028"/>
                  <a:pt x="6989661" y="4025917"/>
                  <a:pt x="6991380" y="4028471"/>
                </a:cubicBezTo>
                <a:cubicBezTo>
                  <a:pt x="6991953" y="4029360"/>
                  <a:pt x="6992240" y="4030249"/>
                  <a:pt x="6991953" y="4031360"/>
                </a:cubicBezTo>
                <a:cubicBezTo>
                  <a:pt x="6991666" y="4034025"/>
                  <a:pt x="6987656" y="4033915"/>
                  <a:pt x="6983359" y="4032915"/>
                </a:cubicBezTo>
                <a:cubicBezTo>
                  <a:pt x="6973619" y="4032359"/>
                  <a:pt x="6970182" y="4029803"/>
                  <a:pt x="6973047" y="4025027"/>
                </a:cubicBezTo>
                <a:cubicBezTo>
                  <a:pt x="6974765" y="4024584"/>
                  <a:pt x="6979922" y="4023917"/>
                  <a:pt x="6979348" y="4022917"/>
                </a:cubicBezTo>
                <a:close/>
                <a:moveTo>
                  <a:pt x="6819215" y="4021362"/>
                </a:moveTo>
                <a:cubicBezTo>
                  <a:pt x="6820075" y="4021695"/>
                  <a:pt x="6820934" y="4022362"/>
                  <a:pt x="6821793" y="4022917"/>
                </a:cubicBezTo>
                <a:cubicBezTo>
                  <a:pt x="6823512" y="4024250"/>
                  <a:pt x="6825517" y="4025472"/>
                  <a:pt x="6827236" y="4026693"/>
                </a:cubicBezTo>
                <a:cubicBezTo>
                  <a:pt x="6827236" y="4026693"/>
                  <a:pt x="6827236" y="4026693"/>
                  <a:pt x="6816636" y="4021584"/>
                </a:cubicBezTo>
                <a:cubicBezTo>
                  <a:pt x="6817210" y="4021029"/>
                  <a:pt x="6818356" y="4021029"/>
                  <a:pt x="6819215" y="4021362"/>
                </a:cubicBezTo>
                <a:close/>
                <a:moveTo>
                  <a:pt x="6188134" y="4020695"/>
                </a:moveTo>
                <a:cubicBezTo>
                  <a:pt x="6191858" y="4020363"/>
                  <a:pt x="6195868" y="4023250"/>
                  <a:pt x="6195296" y="4025584"/>
                </a:cubicBezTo>
                <a:cubicBezTo>
                  <a:pt x="6195009" y="4026583"/>
                  <a:pt x="6194150" y="4027582"/>
                  <a:pt x="6191858" y="4028138"/>
                </a:cubicBezTo>
                <a:cubicBezTo>
                  <a:pt x="6188707" y="4026471"/>
                  <a:pt x="6187274" y="4025027"/>
                  <a:pt x="6184410" y="4022140"/>
                </a:cubicBezTo>
                <a:cubicBezTo>
                  <a:pt x="6185556" y="4021251"/>
                  <a:pt x="6186988" y="4020806"/>
                  <a:pt x="6188134" y="4020695"/>
                </a:cubicBezTo>
                <a:close/>
                <a:moveTo>
                  <a:pt x="7147503" y="4020474"/>
                </a:moveTo>
                <a:cubicBezTo>
                  <a:pt x="7148362" y="4020473"/>
                  <a:pt x="7149508" y="4021140"/>
                  <a:pt x="7150368" y="4022140"/>
                </a:cubicBezTo>
                <a:cubicBezTo>
                  <a:pt x="7153232" y="4025250"/>
                  <a:pt x="7156097" y="4031692"/>
                  <a:pt x="7156670" y="4032470"/>
                </a:cubicBezTo>
                <a:cubicBezTo>
                  <a:pt x="7156670" y="4032470"/>
                  <a:pt x="7157531" y="4033470"/>
                  <a:pt x="7158102" y="4034470"/>
                </a:cubicBezTo>
                <a:cubicBezTo>
                  <a:pt x="7157531" y="4036136"/>
                  <a:pt x="7156097" y="4036692"/>
                  <a:pt x="7156670" y="4037691"/>
                </a:cubicBezTo>
                <a:cubicBezTo>
                  <a:pt x="7150081" y="4036580"/>
                  <a:pt x="7149222" y="4032915"/>
                  <a:pt x="7148362" y="4029360"/>
                </a:cubicBezTo>
                <a:cubicBezTo>
                  <a:pt x="7148362" y="4026694"/>
                  <a:pt x="7147790" y="4025694"/>
                  <a:pt x="7144638" y="4024361"/>
                </a:cubicBezTo>
                <a:cubicBezTo>
                  <a:pt x="7144638" y="4024361"/>
                  <a:pt x="7144638" y="4024361"/>
                  <a:pt x="7146070" y="4021140"/>
                </a:cubicBezTo>
                <a:close/>
                <a:moveTo>
                  <a:pt x="6083288" y="4017696"/>
                </a:moveTo>
                <a:cubicBezTo>
                  <a:pt x="6087585" y="4018696"/>
                  <a:pt x="6091022" y="4020473"/>
                  <a:pt x="6094174" y="4022584"/>
                </a:cubicBezTo>
                <a:lnTo>
                  <a:pt x="6097898" y="4026138"/>
                </a:lnTo>
                <a:lnTo>
                  <a:pt x="6111362" y="4026916"/>
                </a:lnTo>
                <a:cubicBezTo>
                  <a:pt x="6116232" y="4028249"/>
                  <a:pt x="6119956" y="4030915"/>
                  <a:pt x="6121388" y="4035914"/>
                </a:cubicBezTo>
                <a:cubicBezTo>
                  <a:pt x="6117950" y="4038357"/>
                  <a:pt x="6113940" y="4040024"/>
                  <a:pt x="6109356" y="4041024"/>
                </a:cubicBezTo>
                <a:lnTo>
                  <a:pt x="6107638" y="4041246"/>
                </a:lnTo>
                <a:lnTo>
                  <a:pt x="6108497" y="4045356"/>
                </a:lnTo>
                <a:lnTo>
                  <a:pt x="6099903" y="4041802"/>
                </a:lnTo>
                <a:lnTo>
                  <a:pt x="6095320" y="4042135"/>
                </a:lnTo>
                <a:cubicBezTo>
                  <a:pt x="6086726" y="4041579"/>
                  <a:pt x="6079850" y="4038246"/>
                  <a:pt x="6081282" y="4032249"/>
                </a:cubicBezTo>
                <a:lnTo>
                  <a:pt x="6084720" y="4027027"/>
                </a:lnTo>
                <a:lnTo>
                  <a:pt x="6083574" y="4024916"/>
                </a:lnTo>
                <a:cubicBezTo>
                  <a:pt x="6082715" y="4022251"/>
                  <a:pt x="6082428" y="4019807"/>
                  <a:pt x="6083288" y="4017696"/>
                </a:cubicBezTo>
                <a:close/>
                <a:moveTo>
                  <a:pt x="7046668" y="4015030"/>
                </a:moveTo>
                <a:cubicBezTo>
                  <a:pt x="7047814" y="4015252"/>
                  <a:pt x="7048960" y="4015364"/>
                  <a:pt x="7049532" y="4015919"/>
                </a:cubicBezTo>
                <a:cubicBezTo>
                  <a:pt x="7050105" y="4016474"/>
                  <a:pt x="7050392" y="4017362"/>
                  <a:pt x="7049532" y="4018918"/>
                </a:cubicBezTo>
                <a:cubicBezTo>
                  <a:pt x="7049532" y="4021584"/>
                  <a:pt x="7048100" y="4022251"/>
                  <a:pt x="7042084" y="4022140"/>
                </a:cubicBezTo>
                <a:cubicBezTo>
                  <a:pt x="7037500" y="4021474"/>
                  <a:pt x="7033491" y="4021695"/>
                  <a:pt x="7032918" y="4020694"/>
                </a:cubicBezTo>
                <a:cubicBezTo>
                  <a:pt x="7031198" y="4021362"/>
                  <a:pt x="7029194" y="4020917"/>
                  <a:pt x="7027474" y="4021584"/>
                </a:cubicBezTo>
                <a:cubicBezTo>
                  <a:pt x="7027474" y="4021584"/>
                  <a:pt x="7027474" y="4021584"/>
                  <a:pt x="7026902" y="4020585"/>
                </a:cubicBezTo>
                <a:cubicBezTo>
                  <a:pt x="7033776" y="4019029"/>
                  <a:pt x="7040652" y="4014919"/>
                  <a:pt x="7046668" y="4015030"/>
                </a:cubicBezTo>
                <a:close/>
                <a:moveTo>
                  <a:pt x="5835496" y="4014364"/>
                </a:moveTo>
                <a:cubicBezTo>
                  <a:pt x="5839507" y="4015919"/>
                  <a:pt x="5842372" y="4014141"/>
                  <a:pt x="5846382" y="4015696"/>
                </a:cubicBezTo>
                <a:cubicBezTo>
                  <a:pt x="5843518" y="4018696"/>
                  <a:pt x="5842658" y="4021250"/>
                  <a:pt x="5841226" y="4022695"/>
                </a:cubicBezTo>
                <a:cubicBezTo>
                  <a:pt x="5834064" y="4021806"/>
                  <a:pt x="5831486" y="4018696"/>
                  <a:pt x="5835496" y="4014364"/>
                </a:cubicBezTo>
                <a:close/>
                <a:moveTo>
                  <a:pt x="6964739" y="4013920"/>
                </a:moveTo>
                <a:cubicBezTo>
                  <a:pt x="6966458" y="4013363"/>
                  <a:pt x="6967604" y="4015363"/>
                  <a:pt x="6967604" y="4015363"/>
                </a:cubicBezTo>
                <a:cubicBezTo>
                  <a:pt x="6969322" y="4014808"/>
                  <a:pt x="6970754" y="4014364"/>
                  <a:pt x="6973046" y="4014809"/>
                </a:cubicBezTo>
                <a:cubicBezTo>
                  <a:pt x="6971900" y="4016474"/>
                  <a:pt x="6973619" y="4015807"/>
                  <a:pt x="6974192" y="4016919"/>
                </a:cubicBezTo>
                <a:cubicBezTo>
                  <a:pt x="6971900" y="4016363"/>
                  <a:pt x="6967031" y="4018030"/>
                  <a:pt x="6963306" y="4018140"/>
                </a:cubicBezTo>
                <a:cubicBezTo>
                  <a:pt x="6962734" y="4017030"/>
                  <a:pt x="6960442" y="4016585"/>
                  <a:pt x="6959869" y="4015586"/>
                </a:cubicBezTo>
                <a:cubicBezTo>
                  <a:pt x="6961589" y="4015030"/>
                  <a:pt x="6964166" y="4012920"/>
                  <a:pt x="6964739" y="4013920"/>
                </a:cubicBezTo>
                <a:close/>
                <a:moveTo>
                  <a:pt x="6629002" y="4009476"/>
                </a:moveTo>
                <a:cubicBezTo>
                  <a:pt x="6629289" y="4010698"/>
                  <a:pt x="6631581" y="4013031"/>
                  <a:pt x="6630148" y="4014252"/>
                </a:cubicBezTo>
                <a:cubicBezTo>
                  <a:pt x="6628716" y="4015475"/>
                  <a:pt x="6628716" y="4015475"/>
                  <a:pt x="6625278" y="4015696"/>
                </a:cubicBezTo>
                <a:cubicBezTo>
                  <a:pt x="6626138" y="4012031"/>
                  <a:pt x="6626424" y="4011920"/>
                  <a:pt x="6629002" y="4009476"/>
                </a:cubicBezTo>
                <a:close/>
                <a:moveTo>
                  <a:pt x="6628430" y="4006033"/>
                </a:moveTo>
                <a:cubicBezTo>
                  <a:pt x="6629862" y="4006032"/>
                  <a:pt x="6630148" y="4007366"/>
                  <a:pt x="6629002" y="4008698"/>
                </a:cubicBezTo>
                <a:cubicBezTo>
                  <a:pt x="6629002" y="4008698"/>
                  <a:pt x="6627570" y="4008699"/>
                  <a:pt x="6627570" y="4008699"/>
                </a:cubicBezTo>
                <a:cubicBezTo>
                  <a:pt x="6627284" y="4007365"/>
                  <a:pt x="6626998" y="4006144"/>
                  <a:pt x="6628430" y="4006033"/>
                </a:cubicBezTo>
                <a:close/>
                <a:moveTo>
                  <a:pt x="6016828" y="4004144"/>
                </a:moveTo>
                <a:cubicBezTo>
                  <a:pt x="6009953" y="4011476"/>
                  <a:pt x="6010240" y="4019029"/>
                  <a:pt x="6009953" y="4026471"/>
                </a:cubicBezTo>
                <a:lnTo>
                  <a:pt x="6009666" y="4026916"/>
                </a:lnTo>
                <a:lnTo>
                  <a:pt x="6014536" y="4032138"/>
                </a:lnTo>
                <a:cubicBezTo>
                  <a:pt x="6015396" y="4034024"/>
                  <a:pt x="6015682" y="4035914"/>
                  <a:pt x="6015110" y="4037580"/>
                </a:cubicBezTo>
                <a:lnTo>
                  <a:pt x="6014536" y="4038025"/>
                </a:lnTo>
                <a:lnTo>
                  <a:pt x="6015969" y="4037803"/>
                </a:lnTo>
                <a:cubicBezTo>
                  <a:pt x="6017114" y="4037358"/>
                  <a:pt x="6018547" y="4037025"/>
                  <a:pt x="6019406" y="4037246"/>
                </a:cubicBezTo>
                <a:cubicBezTo>
                  <a:pt x="6019406" y="4037246"/>
                  <a:pt x="6023130" y="4039913"/>
                  <a:pt x="6023130" y="4039913"/>
                </a:cubicBezTo>
                <a:cubicBezTo>
                  <a:pt x="6021984" y="4041468"/>
                  <a:pt x="6021984" y="4041579"/>
                  <a:pt x="6021412" y="4040468"/>
                </a:cubicBezTo>
                <a:cubicBezTo>
                  <a:pt x="6018834" y="4042690"/>
                  <a:pt x="6017115" y="4043134"/>
                  <a:pt x="6015682" y="4043690"/>
                </a:cubicBezTo>
                <a:lnTo>
                  <a:pt x="6013104" y="4039469"/>
                </a:lnTo>
                <a:lnTo>
                  <a:pt x="6009094" y="4043356"/>
                </a:lnTo>
                <a:lnTo>
                  <a:pt x="6001932" y="4045023"/>
                </a:lnTo>
                <a:lnTo>
                  <a:pt x="5999354" y="4048578"/>
                </a:lnTo>
                <a:lnTo>
                  <a:pt x="5996491" y="4045689"/>
                </a:lnTo>
                <a:lnTo>
                  <a:pt x="5985890" y="4044578"/>
                </a:lnTo>
                <a:cubicBezTo>
                  <a:pt x="5981880" y="4043356"/>
                  <a:pt x="5978156" y="4041468"/>
                  <a:pt x="5975578" y="4038580"/>
                </a:cubicBezTo>
                <a:cubicBezTo>
                  <a:pt x="5975578" y="4033247"/>
                  <a:pt x="5981306" y="4029694"/>
                  <a:pt x="5987896" y="4027583"/>
                </a:cubicBezTo>
                <a:lnTo>
                  <a:pt x="5988754" y="4027472"/>
                </a:lnTo>
                <a:lnTo>
                  <a:pt x="5989328" y="4025583"/>
                </a:lnTo>
                <a:cubicBezTo>
                  <a:pt x="5990187" y="4023472"/>
                  <a:pt x="5991906" y="4022361"/>
                  <a:pt x="5993624" y="4021362"/>
                </a:cubicBezTo>
                <a:lnTo>
                  <a:pt x="5997062" y="4018919"/>
                </a:lnTo>
                <a:lnTo>
                  <a:pt x="6002218" y="4010365"/>
                </a:lnTo>
                <a:cubicBezTo>
                  <a:pt x="6005942" y="4006810"/>
                  <a:pt x="6011099" y="4004366"/>
                  <a:pt x="6016828" y="4004144"/>
                </a:cubicBezTo>
                <a:close/>
                <a:moveTo>
                  <a:pt x="5956098" y="4003477"/>
                </a:moveTo>
                <a:cubicBezTo>
                  <a:pt x="5953520" y="4011142"/>
                  <a:pt x="5960108" y="4014697"/>
                  <a:pt x="5952374" y="4017918"/>
                </a:cubicBezTo>
                <a:cubicBezTo>
                  <a:pt x="5946644" y="4015252"/>
                  <a:pt x="5949796" y="4005920"/>
                  <a:pt x="5956098" y="4003477"/>
                </a:cubicBezTo>
                <a:close/>
                <a:moveTo>
                  <a:pt x="6641320" y="4002256"/>
                </a:moveTo>
                <a:cubicBezTo>
                  <a:pt x="6647050" y="4002256"/>
                  <a:pt x="6650488" y="4003588"/>
                  <a:pt x="6652207" y="4005699"/>
                </a:cubicBezTo>
                <a:cubicBezTo>
                  <a:pt x="6657362" y="4011920"/>
                  <a:pt x="6646765" y="4023695"/>
                  <a:pt x="6633872" y="4018474"/>
                </a:cubicBezTo>
                <a:cubicBezTo>
                  <a:pt x="6631581" y="4014252"/>
                  <a:pt x="6637310" y="4004811"/>
                  <a:pt x="6641320" y="4002256"/>
                </a:cubicBezTo>
                <a:close/>
                <a:moveTo>
                  <a:pt x="6627284" y="4000145"/>
                </a:moveTo>
                <a:cubicBezTo>
                  <a:pt x="6627284" y="4000145"/>
                  <a:pt x="6629002" y="4001367"/>
                  <a:pt x="6629002" y="4001367"/>
                </a:cubicBezTo>
                <a:cubicBezTo>
                  <a:pt x="6627856" y="4002700"/>
                  <a:pt x="6629289" y="4002589"/>
                  <a:pt x="6626138" y="4002700"/>
                </a:cubicBezTo>
                <a:cubicBezTo>
                  <a:pt x="6627570" y="4001367"/>
                  <a:pt x="6627570" y="4001367"/>
                  <a:pt x="6627284" y="4000145"/>
                </a:cubicBezTo>
                <a:close/>
                <a:moveTo>
                  <a:pt x="6104773" y="3999035"/>
                </a:moveTo>
                <a:cubicBezTo>
                  <a:pt x="6104773" y="3999035"/>
                  <a:pt x="6104773" y="3999144"/>
                  <a:pt x="6116804" y="4001145"/>
                </a:cubicBezTo>
                <a:cubicBezTo>
                  <a:pt x="6115945" y="4001923"/>
                  <a:pt x="6115086" y="4002145"/>
                  <a:pt x="6114226" y="4002034"/>
                </a:cubicBezTo>
                <a:cubicBezTo>
                  <a:pt x="6113366" y="4001922"/>
                  <a:pt x="6112221" y="4001588"/>
                  <a:pt x="6111362" y="4001256"/>
                </a:cubicBezTo>
                <a:cubicBezTo>
                  <a:pt x="6109070" y="4000590"/>
                  <a:pt x="6107064" y="3999812"/>
                  <a:pt x="6104773" y="3999035"/>
                </a:cubicBezTo>
                <a:close/>
                <a:moveTo>
                  <a:pt x="6372617" y="3998035"/>
                </a:moveTo>
                <a:cubicBezTo>
                  <a:pt x="6374908" y="3997479"/>
                  <a:pt x="6377487" y="3997701"/>
                  <a:pt x="6380924" y="3998146"/>
                </a:cubicBezTo>
                <a:cubicBezTo>
                  <a:pt x="6377774" y="4001922"/>
                  <a:pt x="6374336" y="4002145"/>
                  <a:pt x="6366888" y="4002700"/>
                </a:cubicBezTo>
                <a:cubicBezTo>
                  <a:pt x="6368893" y="4000034"/>
                  <a:pt x="6370613" y="3998590"/>
                  <a:pt x="6372617" y="3998035"/>
                </a:cubicBezTo>
                <a:close/>
                <a:moveTo>
                  <a:pt x="6251729" y="3994702"/>
                </a:moveTo>
                <a:lnTo>
                  <a:pt x="6238265" y="4003588"/>
                </a:lnTo>
                <a:lnTo>
                  <a:pt x="6239411" y="4003589"/>
                </a:lnTo>
                <a:cubicBezTo>
                  <a:pt x="6240557" y="4006255"/>
                  <a:pt x="6242848" y="4008032"/>
                  <a:pt x="6244854" y="4011586"/>
                </a:cubicBezTo>
                <a:cubicBezTo>
                  <a:pt x="6241130" y="4013697"/>
                  <a:pt x="6229958" y="4015030"/>
                  <a:pt x="6223082" y="4010920"/>
                </a:cubicBezTo>
                <a:lnTo>
                  <a:pt x="6223942" y="4009588"/>
                </a:lnTo>
                <a:lnTo>
                  <a:pt x="6212484" y="4011586"/>
                </a:lnTo>
                <a:cubicBezTo>
                  <a:pt x="6212770" y="3997478"/>
                  <a:pt x="6238265" y="3994257"/>
                  <a:pt x="6251729" y="3994702"/>
                </a:cubicBezTo>
                <a:close/>
                <a:moveTo>
                  <a:pt x="6262614" y="3990703"/>
                </a:moveTo>
                <a:lnTo>
                  <a:pt x="6262042" y="3991258"/>
                </a:lnTo>
                <a:lnTo>
                  <a:pt x="6262901" y="3990814"/>
                </a:lnTo>
                <a:close/>
                <a:moveTo>
                  <a:pt x="6195009" y="3990481"/>
                </a:moveTo>
                <a:cubicBezTo>
                  <a:pt x="6198733" y="3991259"/>
                  <a:pt x="6201025" y="3992925"/>
                  <a:pt x="6203030" y="3994925"/>
                </a:cubicBezTo>
                <a:cubicBezTo>
                  <a:pt x="6208186" y="4001145"/>
                  <a:pt x="6206468" y="4011365"/>
                  <a:pt x="6201884" y="4016919"/>
                </a:cubicBezTo>
                <a:cubicBezTo>
                  <a:pt x="6194436" y="4019474"/>
                  <a:pt x="6188707" y="4019362"/>
                  <a:pt x="6184696" y="4017696"/>
                </a:cubicBezTo>
                <a:cubicBezTo>
                  <a:pt x="6172953" y="4012920"/>
                  <a:pt x="6176676" y="3994258"/>
                  <a:pt x="6195009" y="3990481"/>
                </a:cubicBezTo>
                <a:close/>
                <a:moveTo>
                  <a:pt x="5894222" y="3989703"/>
                </a:moveTo>
                <a:cubicBezTo>
                  <a:pt x="5898805" y="3990148"/>
                  <a:pt x="5902529" y="3989703"/>
                  <a:pt x="5907399" y="3990259"/>
                </a:cubicBezTo>
                <a:cubicBezTo>
                  <a:pt x="5915420" y="3995258"/>
                  <a:pt x="5913988" y="4000367"/>
                  <a:pt x="5909118" y="4002811"/>
                </a:cubicBezTo>
                <a:cubicBezTo>
                  <a:pt x="5904248" y="4005255"/>
                  <a:pt x="5895654" y="4005144"/>
                  <a:pt x="5889638" y="3999923"/>
                </a:cubicBezTo>
                <a:cubicBezTo>
                  <a:pt x="5889924" y="3995034"/>
                  <a:pt x="5892789" y="3992036"/>
                  <a:pt x="5894222" y="3989703"/>
                </a:cubicBezTo>
                <a:close/>
                <a:moveTo>
                  <a:pt x="6697181" y="3988037"/>
                </a:moveTo>
                <a:cubicBezTo>
                  <a:pt x="6697754" y="3989148"/>
                  <a:pt x="6695176" y="3992147"/>
                  <a:pt x="6694030" y="3993702"/>
                </a:cubicBezTo>
                <a:cubicBezTo>
                  <a:pt x="6694603" y="3994813"/>
                  <a:pt x="6693457" y="3996257"/>
                  <a:pt x="6691738" y="3996591"/>
                </a:cubicBezTo>
                <a:cubicBezTo>
                  <a:pt x="6691738" y="3996591"/>
                  <a:pt x="6690593" y="3998146"/>
                  <a:pt x="6691166" y="3999256"/>
                </a:cubicBezTo>
                <a:cubicBezTo>
                  <a:pt x="6688874" y="4002256"/>
                  <a:pt x="6687156" y="4002589"/>
                  <a:pt x="6685436" y="4003034"/>
                </a:cubicBezTo>
                <a:cubicBezTo>
                  <a:pt x="6685436" y="4003034"/>
                  <a:pt x="6686582" y="4001589"/>
                  <a:pt x="6686296" y="4000478"/>
                </a:cubicBezTo>
                <a:cubicBezTo>
                  <a:pt x="6686296" y="4000478"/>
                  <a:pt x="6687442" y="3998924"/>
                  <a:pt x="6688587" y="3997368"/>
                </a:cubicBezTo>
                <a:cubicBezTo>
                  <a:pt x="6688587" y="3997368"/>
                  <a:pt x="6688014" y="3996369"/>
                  <a:pt x="6687729" y="3995257"/>
                </a:cubicBezTo>
                <a:cubicBezTo>
                  <a:pt x="6689732" y="3991148"/>
                  <a:pt x="6690306" y="3988592"/>
                  <a:pt x="6697181" y="3988037"/>
                </a:cubicBezTo>
                <a:close/>
                <a:moveTo>
                  <a:pt x="6157196" y="3986149"/>
                </a:moveTo>
                <a:cubicBezTo>
                  <a:pt x="6162066" y="3988037"/>
                  <a:pt x="6170946" y="3987038"/>
                  <a:pt x="6171519" y="3993036"/>
                </a:cubicBezTo>
                <a:cubicBezTo>
                  <a:pt x="6150035" y="3996813"/>
                  <a:pt x="6154331" y="4018696"/>
                  <a:pt x="6133992" y="4017808"/>
                </a:cubicBezTo>
                <a:cubicBezTo>
                  <a:pt x="6138002" y="4006699"/>
                  <a:pt x="6138576" y="3995035"/>
                  <a:pt x="6157196" y="3986149"/>
                </a:cubicBezTo>
                <a:close/>
                <a:moveTo>
                  <a:pt x="6794579" y="3981150"/>
                </a:moveTo>
                <a:cubicBezTo>
                  <a:pt x="6798876" y="3981261"/>
                  <a:pt x="6800022" y="3983816"/>
                  <a:pt x="6801454" y="3986370"/>
                </a:cubicBezTo>
                <a:cubicBezTo>
                  <a:pt x="6795438" y="3987037"/>
                  <a:pt x="6796870" y="3992147"/>
                  <a:pt x="6789996" y="3990259"/>
                </a:cubicBezTo>
                <a:cubicBezTo>
                  <a:pt x="6787990" y="3988481"/>
                  <a:pt x="6787131" y="3986037"/>
                  <a:pt x="6789136" y="3981816"/>
                </a:cubicBezTo>
                <a:cubicBezTo>
                  <a:pt x="6791142" y="3981260"/>
                  <a:pt x="6793146" y="3981039"/>
                  <a:pt x="6794579" y="3981150"/>
                </a:cubicBezTo>
                <a:close/>
                <a:moveTo>
                  <a:pt x="5986750" y="3980372"/>
                </a:moveTo>
                <a:cubicBezTo>
                  <a:pt x="5992479" y="3981039"/>
                  <a:pt x="5995344" y="3982150"/>
                  <a:pt x="5996490" y="3983705"/>
                </a:cubicBezTo>
                <a:lnTo>
                  <a:pt x="5996490" y="3984038"/>
                </a:lnTo>
                <a:lnTo>
                  <a:pt x="6000786" y="3983594"/>
                </a:lnTo>
                <a:cubicBezTo>
                  <a:pt x="6004224" y="3984149"/>
                  <a:pt x="6007375" y="3985482"/>
                  <a:pt x="6008234" y="3987593"/>
                </a:cubicBezTo>
                <a:cubicBezTo>
                  <a:pt x="6009094" y="3988926"/>
                  <a:pt x="6008521" y="3990592"/>
                  <a:pt x="6006516" y="3992480"/>
                </a:cubicBezTo>
                <a:cubicBezTo>
                  <a:pt x="6005656" y="3993591"/>
                  <a:pt x="6003938" y="3994035"/>
                  <a:pt x="6001932" y="3993924"/>
                </a:cubicBezTo>
                <a:lnTo>
                  <a:pt x="5993624" y="3990925"/>
                </a:lnTo>
                <a:lnTo>
                  <a:pt x="5992479" y="3992147"/>
                </a:lnTo>
                <a:cubicBezTo>
                  <a:pt x="5989041" y="3995368"/>
                  <a:pt x="5984744" y="3998590"/>
                  <a:pt x="5982167" y="4001256"/>
                </a:cubicBezTo>
                <a:cubicBezTo>
                  <a:pt x="5974718" y="4000367"/>
                  <a:pt x="5972712" y="3999590"/>
                  <a:pt x="5968130" y="3995812"/>
                </a:cubicBezTo>
                <a:cubicBezTo>
                  <a:pt x="5971280" y="3988037"/>
                  <a:pt x="5979015" y="3984260"/>
                  <a:pt x="5986750" y="3980372"/>
                </a:cubicBezTo>
                <a:close/>
                <a:moveTo>
                  <a:pt x="7309928" y="3979373"/>
                </a:moveTo>
                <a:cubicBezTo>
                  <a:pt x="7322533" y="3980706"/>
                  <a:pt x="7319954" y="3989815"/>
                  <a:pt x="7321388" y="3989259"/>
                </a:cubicBezTo>
                <a:cubicBezTo>
                  <a:pt x="7323678" y="3989592"/>
                  <a:pt x="7323678" y="3989592"/>
                  <a:pt x="7325111" y="3988926"/>
                </a:cubicBezTo>
                <a:cubicBezTo>
                  <a:pt x="7325970" y="3989925"/>
                  <a:pt x="7328835" y="3991370"/>
                  <a:pt x="7331126" y="3991702"/>
                </a:cubicBezTo>
                <a:cubicBezTo>
                  <a:pt x="7329694" y="3992370"/>
                  <a:pt x="7328262" y="3993036"/>
                  <a:pt x="7328835" y="3994036"/>
                </a:cubicBezTo>
                <a:cubicBezTo>
                  <a:pt x="7324538" y="3993258"/>
                  <a:pt x="7323678" y="3992259"/>
                  <a:pt x="7321387" y="3991814"/>
                </a:cubicBezTo>
                <a:cubicBezTo>
                  <a:pt x="7322246" y="3992813"/>
                  <a:pt x="7319954" y="3992479"/>
                  <a:pt x="7319954" y="3992479"/>
                </a:cubicBezTo>
                <a:cubicBezTo>
                  <a:pt x="7319954" y="3992479"/>
                  <a:pt x="7319954" y="3992370"/>
                  <a:pt x="7318522" y="3995702"/>
                </a:cubicBezTo>
                <a:cubicBezTo>
                  <a:pt x="7318522" y="3995702"/>
                  <a:pt x="7314226" y="4002922"/>
                  <a:pt x="7303626" y="4001922"/>
                </a:cubicBezTo>
                <a:cubicBezTo>
                  <a:pt x="7304199" y="4000367"/>
                  <a:pt x="7290735" y="3998035"/>
                  <a:pt x="7290449" y="3992703"/>
                </a:cubicBezTo>
                <a:cubicBezTo>
                  <a:pt x="7290449" y="3990036"/>
                  <a:pt x="7291022" y="3988481"/>
                  <a:pt x="7291022" y="3985816"/>
                </a:cubicBezTo>
                <a:cubicBezTo>
                  <a:pt x="7295605" y="3983927"/>
                  <a:pt x="7297610" y="3979039"/>
                  <a:pt x="7309928" y="3979373"/>
                </a:cubicBezTo>
                <a:close/>
                <a:moveTo>
                  <a:pt x="6197014" y="3979039"/>
                </a:moveTo>
                <a:cubicBezTo>
                  <a:pt x="6199020" y="3980706"/>
                  <a:pt x="6197874" y="3985705"/>
                  <a:pt x="6197301" y="3988926"/>
                </a:cubicBezTo>
                <a:cubicBezTo>
                  <a:pt x="6193290" y="3991370"/>
                  <a:pt x="6187274" y="3992147"/>
                  <a:pt x="6181546" y="3991258"/>
                </a:cubicBezTo>
                <a:cubicBezTo>
                  <a:pt x="6182978" y="3984704"/>
                  <a:pt x="6188134" y="3981372"/>
                  <a:pt x="6197014" y="3979039"/>
                </a:cubicBezTo>
                <a:close/>
                <a:moveTo>
                  <a:pt x="6316184" y="3978817"/>
                </a:moveTo>
                <a:cubicBezTo>
                  <a:pt x="6318761" y="3982483"/>
                  <a:pt x="6325350" y="3988370"/>
                  <a:pt x="6329074" y="3994257"/>
                </a:cubicBezTo>
                <a:cubicBezTo>
                  <a:pt x="6332512" y="4000145"/>
                  <a:pt x="6333658" y="4006144"/>
                  <a:pt x="6325064" y="4009920"/>
                </a:cubicBezTo>
                <a:cubicBezTo>
                  <a:pt x="6321054" y="4003144"/>
                  <a:pt x="6303006" y="3983705"/>
                  <a:pt x="6316184" y="3978817"/>
                </a:cubicBezTo>
                <a:close/>
                <a:moveTo>
                  <a:pt x="5826616" y="3977928"/>
                </a:moveTo>
                <a:cubicBezTo>
                  <a:pt x="5828335" y="3977928"/>
                  <a:pt x="5830626" y="3978372"/>
                  <a:pt x="5834350" y="3979817"/>
                </a:cubicBezTo>
                <a:cubicBezTo>
                  <a:pt x="5834350" y="3979817"/>
                  <a:pt x="5834064" y="3979817"/>
                  <a:pt x="5828334" y="3985371"/>
                </a:cubicBezTo>
                <a:cubicBezTo>
                  <a:pt x="5822606" y="3983483"/>
                  <a:pt x="5816876" y="3987148"/>
                  <a:pt x="5819741" y="3983482"/>
                </a:cubicBezTo>
                <a:cubicBezTo>
                  <a:pt x="5824038" y="3983482"/>
                  <a:pt x="5822032" y="3978262"/>
                  <a:pt x="5826616" y="3977928"/>
                </a:cubicBezTo>
                <a:close/>
                <a:moveTo>
                  <a:pt x="5957530" y="3969264"/>
                </a:moveTo>
                <a:cubicBezTo>
                  <a:pt x="5957816" y="3970819"/>
                  <a:pt x="5960108" y="3970486"/>
                  <a:pt x="5962400" y="3970042"/>
                </a:cubicBezTo>
                <a:cubicBezTo>
                  <a:pt x="5963260" y="3972374"/>
                  <a:pt x="5964693" y="3976040"/>
                  <a:pt x="5961540" y="3978372"/>
                </a:cubicBezTo>
                <a:cubicBezTo>
                  <a:pt x="5960395" y="3979150"/>
                  <a:pt x="5958962" y="3979817"/>
                  <a:pt x="5956384" y="3980261"/>
                </a:cubicBezTo>
                <a:cubicBezTo>
                  <a:pt x="5955525" y="3981261"/>
                  <a:pt x="5949222" y="3979928"/>
                  <a:pt x="5948650" y="3978262"/>
                </a:cubicBezTo>
                <a:cubicBezTo>
                  <a:pt x="5946644" y="3974484"/>
                  <a:pt x="5952088" y="3972708"/>
                  <a:pt x="5957530" y="3969264"/>
                </a:cubicBezTo>
                <a:close/>
                <a:moveTo>
                  <a:pt x="7026615" y="3969153"/>
                </a:moveTo>
                <a:cubicBezTo>
                  <a:pt x="7028620" y="3969153"/>
                  <a:pt x="7028908" y="3969708"/>
                  <a:pt x="7028620" y="3970597"/>
                </a:cubicBezTo>
                <a:cubicBezTo>
                  <a:pt x="7028334" y="3971374"/>
                  <a:pt x="7027761" y="3972596"/>
                  <a:pt x="7027761" y="3973929"/>
                </a:cubicBezTo>
                <a:lnTo>
                  <a:pt x="7021172" y="3972263"/>
                </a:lnTo>
                <a:cubicBezTo>
                  <a:pt x="7022032" y="3970597"/>
                  <a:pt x="7024610" y="3968597"/>
                  <a:pt x="7026615" y="3969153"/>
                </a:cubicBezTo>
                <a:close/>
                <a:moveTo>
                  <a:pt x="6809475" y="3968931"/>
                </a:moveTo>
                <a:cubicBezTo>
                  <a:pt x="6811767" y="3969264"/>
                  <a:pt x="6812626" y="3970597"/>
                  <a:pt x="6812912" y="3972264"/>
                </a:cubicBezTo>
                <a:cubicBezTo>
                  <a:pt x="6813485" y="3977485"/>
                  <a:pt x="6804032" y="3985926"/>
                  <a:pt x="6798016" y="3971597"/>
                </a:cubicBezTo>
                <a:cubicBezTo>
                  <a:pt x="6803460" y="3969264"/>
                  <a:pt x="6806897" y="3968598"/>
                  <a:pt x="6809475" y="3968931"/>
                </a:cubicBezTo>
                <a:close/>
                <a:moveTo>
                  <a:pt x="7093362" y="3967931"/>
                </a:moveTo>
                <a:cubicBezTo>
                  <a:pt x="7095654" y="3968264"/>
                  <a:pt x="7097086" y="3968930"/>
                  <a:pt x="7097944" y="3969820"/>
                </a:cubicBezTo>
                <a:cubicBezTo>
                  <a:pt x="7099090" y="3970820"/>
                  <a:pt x="7099377" y="3971930"/>
                  <a:pt x="7099377" y="3973263"/>
                </a:cubicBezTo>
                <a:cubicBezTo>
                  <a:pt x="7098804" y="3974930"/>
                  <a:pt x="7095653" y="3976151"/>
                  <a:pt x="7090496" y="3977040"/>
                </a:cubicBezTo>
                <a:cubicBezTo>
                  <a:pt x="7087346" y="3975596"/>
                  <a:pt x="7089637" y="3970819"/>
                  <a:pt x="7089637" y="3968153"/>
                </a:cubicBezTo>
                <a:cubicBezTo>
                  <a:pt x="7091929" y="3968598"/>
                  <a:pt x="7094220" y="3968931"/>
                  <a:pt x="7093362" y="3967931"/>
                </a:cubicBezTo>
                <a:close/>
                <a:moveTo>
                  <a:pt x="7040652" y="3967154"/>
                </a:moveTo>
                <a:cubicBezTo>
                  <a:pt x="7041225" y="3968153"/>
                  <a:pt x="7042657" y="3967708"/>
                  <a:pt x="7043230" y="3968708"/>
                </a:cubicBezTo>
                <a:cubicBezTo>
                  <a:pt x="7043230" y="3968708"/>
                  <a:pt x="7044662" y="3969486"/>
                  <a:pt x="7045809" y="3971041"/>
                </a:cubicBezTo>
                <a:cubicBezTo>
                  <a:pt x="7046955" y="3972486"/>
                  <a:pt x="7047814" y="3974707"/>
                  <a:pt x="7046669" y="3977595"/>
                </a:cubicBezTo>
                <a:cubicBezTo>
                  <a:pt x="7045522" y="3979151"/>
                  <a:pt x="7042084" y="3982816"/>
                  <a:pt x="7041511" y="3981816"/>
                </a:cubicBezTo>
                <a:cubicBezTo>
                  <a:pt x="7039220" y="3981261"/>
                  <a:pt x="7040079" y="3982372"/>
                  <a:pt x="7038360" y="3982816"/>
                </a:cubicBezTo>
                <a:lnTo>
                  <a:pt x="7036068" y="3981928"/>
                </a:lnTo>
                <a:lnTo>
                  <a:pt x="7035209" y="3982705"/>
                </a:lnTo>
                <a:cubicBezTo>
                  <a:pt x="7032918" y="3985037"/>
                  <a:pt x="7033204" y="3985038"/>
                  <a:pt x="7030627" y="3984593"/>
                </a:cubicBezTo>
                <a:cubicBezTo>
                  <a:pt x="7029480" y="3984371"/>
                  <a:pt x="7028907" y="3983371"/>
                  <a:pt x="7028048" y="3982372"/>
                </a:cubicBezTo>
                <a:lnTo>
                  <a:pt x="7026328" y="3981150"/>
                </a:lnTo>
                <a:lnTo>
                  <a:pt x="7023464" y="3983038"/>
                </a:lnTo>
                <a:cubicBezTo>
                  <a:pt x="7022032" y="3983927"/>
                  <a:pt x="7020600" y="3985037"/>
                  <a:pt x="7018880" y="3986148"/>
                </a:cubicBezTo>
                <a:cubicBezTo>
                  <a:pt x="7014298" y="3984260"/>
                  <a:pt x="7007708" y="3977374"/>
                  <a:pt x="7010286" y="3971818"/>
                </a:cubicBezTo>
                <a:cubicBezTo>
                  <a:pt x="7012865" y="3971152"/>
                  <a:pt x="7015156" y="3970930"/>
                  <a:pt x="7017162" y="3971041"/>
                </a:cubicBezTo>
                <a:cubicBezTo>
                  <a:pt x="7020026" y="3971264"/>
                  <a:pt x="7022032" y="3972264"/>
                  <a:pt x="7023750" y="3973818"/>
                </a:cubicBezTo>
                <a:lnTo>
                  <a:pt x="7026328" y="3978706"/>
                </a:lnTo>
                <a:lnTo>
                  <a:pt x="7027474" y="3977817"/>
                </a:lnTo>
                <a:lnTo>
                  <a:pt x="7030339" y="3977262"/>
                </a:lnTo>
                <a:lnTo>
                  <a:pt x="7029766" y="3974485"/>
                </a:lnTo>
                <a:cubicBezTo>
                  <a:pt x="7031772" y="3971374"/>
                  <a:pt x="7034636" y="3966598"/>
                  <a:pt x="7040652" y="3967154"/>
                </a:cubicBezTo>
                <a:close/>
                <a:moveTo>
                  <a:pt x="6217640" y="3966820"/>
                </a:moveTo>
                <a:cubicBezTo>
                  <a:pt x="6220504" y="3968375"/>
                  <a:pt x="6224227" y="3968376"/>
                  <a:pt x="6226520" y="3968930"/>
                </a:cubicBezTo>
                <a:cubicBezTo>
                  <a:pt x="6228239" y="3972041"/>
                  <a:pt x="6227952" y="3974596"/>
                  <a:pt x="6224228" y="3978262"/>
                </a:cubicBezTo>
                <a:cubicBezTo>
                  <a:pt x="6216781" y="3978372"/>
                  <a:pt x="6218786" y="3978928"/>
                  <a:pt x="6211624" y="3976262"/>
                </a:cubicBezTo>
                <a:cubicBezTo>
                  <a:pt x="6213630" y="3973152"/>
                  <a:pt x="6215634" y="3969931"/>
                  <a:pt x="6217640" y="3966820"/>
                </a:cubicBezTo>
                <a:close/>
                <a:moveTo>
                  <a:pt x="5972426" y="3963266"/>
                </a:moveTo>
                <a:cubicBezTo>
                  <a:pt x="5977296" y="3963266"/>
                  <a:pt x="5982166" y="3968042"/>
                  <a:pt x="5981593" y="3970597"/>
                </a:cubicBezTo>
                <a:cubicBezTo>
                  <a:pt x="5975291" y="3976817"/>
                  <a:pt x="5966984" y="3968376"/>
                  <a:pt x="5967556" y="3964932"/>
                </a:cubicBezTo>
                <a:cubicBezTo>
                  <a:pt x="5968988" y="3963599"/>
                  <a:pt x="5970708" y="3963155"/>
                  <a:pt x="5972426" y="3963266"/>
                </a:cubicBezTo>
                <a:close/>
                <a:moveTo>
                  <a:pt x="7222270" y="3963155"/>
                </a:moveTo>
                <a:cubicBezTo>
                  <a:pt x="7223416" y="3966598"/>
                  <a:pt x="7230005" y="3968597"/>
                  <a:pt x="7233729" y="3972041"/>
                </a:cubicBezTo>
                <a:cubicBezTo>
                  <a:pt x="7234874" y="3973152"/>
                  <a:pt x="7235734" y="3974484"/>
                  <a:pt x="7236020" y="3976040"/>
                </a:cubicBezTo>
                <a:cubicBezTo>
                  <a:pt x="7236020" y="3976040"/>
                  <a:pt x="7236020" y="3976151"/>
                  <a:pt x="7235161" y="3975041"/>
                </a:cubicBezTo>
                <a:cubicBezTo>
                  <a:pt x="7235161" y="3975041"/>
                  <a:pt x="7236020" y="3976040"/>
                  <a:pt x="7234589" y="3976707"/>
                </a:cubicBezTo>
                <a:cubicBezTo>
                  <a:pt x="7226280" y="3973485"/>
                  <a:pt x="7221411" y="3964709"/>
                  <a:pt x="7220838" y="3963710"/>
                </a:cubicBezTo>
                <a:cubicBezTo>
                  <a:pt x="7222270" y="3963155"/>
                  <a:pt x="7222270" y="3963155"/>
                  <a:pt x="7222270" y="3963155"/>
                </a:cubicBezTo>
                <a:close/>
                <a:moveTo>
                  <a:pt x="6863330" y="3962266"/>
                </a:moveTo>
                <a:cubicBezTo>
                  <a:pt x="6865049" y="3962377"/>
                  <a:pt x="6868487" y="3962376"/>
                  <a:pt x="6870206" y="3963710"/>
                </a:cubicBezTo>
                <a:cubicBezTo>
                  <a:pt x="6871924" y="3963710"/>
                  <a:pt x="6870492" y="3967265"/>
                  <a:pt x="6870492" y="3967265"/>
                </a:cubicBezTo>
                <a:cubicBezTo>
                  <a:pt x="6868773" y="3968376"/>
                  <a:pt x="6863330" y="3965821"/>
                  <a:pt x="6861612" y="3965710"/>
                </a:cubicBezTo>
                <a:cubicBezTo>
                  <a:pt x="6861612" y="3964599"/>
                  <a:pt x="6863330" y="3963487"/>
                  <a:pt x="6863330" y="3962266"/>
                </a:cubicBezTo>
                <a:close/>
                <a:moveTo>
                  <a:pt x="6846142" y="3960711"/>
                </a:moveTo>
                <a:cubicBezTo>
                  <a:pt x="6847288" y="3960488"/>
                  <a:pt x="6849008" y="3960822"/>
                  <a:pt x="6851586" y="3962044"/>
                </a:cubicBezTo>
                <a:cubicBezTo>
                  <a:pt x="6851586" y="3962044"/>
                  <a:pt x="6851872" y="3963155"/>
                  <a:pt x="6851872" y="3963155"/>
                </a:cubicBezTo>
                <a:cubicBezTo>
                  <a:pt x="6848720" y="3966488"/>
                  <a:pt x="6846716" y="3965265"/>
                  <a:pt x="6843278" y="3962932"/>
                </a:cubicBezTo>
                <a:cubicBezTo>
                  <a:pt x="6844138" y="3961821"/>
                  <a:pt x="6844710" y="3960933"/>
                  <a:pt x="6846142" y="3960711"/>
                </a:cubicBezTo>
                <a:close/>
                <a:moveTo>
                  <a:pt x="6709499" y="3960488"/>
                </a:moveTo>
                <a:cubicBezTo>
                  <a:pt x="6713796" y="3960822"/>
                  <a:pt x="6716947" y="3963154"/>
                  <a:pt x="6718666" y="3966154"/>
                </a:cubicBezTo>
                <a:cubicBezTo>
                  <a:pt x="6720958" y="3970042"/>
                  <a:pt x="6720671" y="3975263"/>
                  <a:pt x="6716947" y="3978372"/>
                </a:cubicBezTo>
                <a:cubicBezTo>
                  <a:pt x="6705488" y="3974596"/>
                  <a:pt x="6699186" y="3970375"/>
                  <a:pt x="6704916" y="3960822"/>
                </a:cubicBezTo>
                <a:cubicBezTo>
                  <a:pt x="6706634" y="3960488"/>
                  <a:pt x="6708066" y="3960377"/>
                  <a:pt x="6709499" y="3960488"/>
                </a:cubicBezTo>
                <a:close/>
                <a:moveTo>
                  <a:pt x="7226280" y="3958600"/>
                </a:moveTo>
                <a:cubicBezTo>
                  <a:pt x="7245474" y="3959933"/>
                  <a:pt x="7242322" y="3969153"/>
                  <a:pt x="7253208" y="3969931"/>
                </a:cubicBezTo>
                <a:cubicBezTo>
                  <a:pt x="7250916" y="3972263"/>
                  <a:pt x="7250916" y="3972152"/>
                  <a:pt x="7246906" y="3972486"/>
                </a:cubicBezTo>
                <a:cubicBezTo>
                  <a:pt x="7246333" y="3971486"/>
                  <a:pt x="7244614" y="3972152"/>
                  <a:pt x="7245474" y="3970486"/>
                </a:cubicBezTo>
                <a:cubicBezTo>
                  <a:pt x="7239458" y="3970375"/>
                  <a:pt x="7228000" y="3963265"/>
                  <a:pt x="7226280" y="3958600"/>
                </a:cubicBezTo>
                <a:close/>
                <a:moveTo>
                  <a:pt x="1957629" y="3958600"/>
                </a:moveTo>
                <a:cubicBezTo>
                  <a:pt x="1964504" y="3960377"/>
                  <a:pt x="1969660" y="3962487"/>
                  <a:pt x="1973384" y="3964932"/>
                </a:cubicBezTo>
                <a:lnTo>
                  <a:pt x="1977968" y="3970042"/>
                </a:lnTo>
                <a:lnTo>
                  <a:pt x="1977396" y="3970153"/>
                </a:lnTo>
                <a:lnTo>
                  <a:pt x="1941301" y="3964932"/>
                </a:lnTo>
                <a:lnTo>
                  <a:pt x="1941873" y="3964488"/>
                </a:lnTo>
                <a:cubicBezTo>
                  <a:pt x="1947029" y="3961711"/>
                  <a:pt x="1952760" y="3959711"/>
                  <a:pt x="1957629" y="3958600"/>
                </a:cubicBezTo>
                <a:close/>
                <a:moveTo>
                  <a:pt x="6309595" y="3957156"/>
                </a:moveTo>
                <a:lnTo>
                  <a:pt x="6309308" y="3959267"/>
                </a:lnTo>
                <a:lnTo>
                  <a:pt x="6311886" y="3958600"/>
                </a:lnTo>
                <a:lnTo>
                  <a:pt x="6312174" y="3957711"/>
                </a:lnTo>
                <a:lnTo>
                  <a:pt x="6310740" y="3957378"/>
                </a:lnTo>
                <a:close/>
                <a:moveTo>
                  <a:pt x="7019167" y="3956490"/>
                </a:moveTo>
                <a:cubicBezTo>
                  <a:pt x="7021173" y="3957045"/>
                  <a:pt x="7022032" y="3958156"/>
                  <a:pt x="7022032" y="3958156"/>
                </a:cubicBezTo>
                <a:cubicBezTo>
                  <a:pt x="7020886" y="3962377"/>
                  <a:pt x="7017162" y="3965930"/>
                  <a:pt x="7010860" y="3964376"/>
                </a:cubicBezTo>
                <a:cubicBezTo>
                  <a:pt x="7008568" y="3963821"/>
                  <a:pt x="7006562" y="3963266"/>
                  <a:pt x="7007995" y="3962821"/>
                </a:cubicBezTo>
                <a:cubicBezTo>
                  <a:pt x="7007422" y="3961711"/>
                  <a:pt x="7008854" y="3961266"/>
                  <a:pt x="7010000" y="3959600"/>
                </a:cubicBezTo>
                <a:cubicBezTo>
                  <a:pt x="7012292" y="3957600"/>
                  <a:pt x="7016876" y="3955935"/>
                  <a:pt x="7019167" y="3956490"/>
                </a:cubicBezTo>
                <a:close/>
                <a:moveTo>
                  <a:pt x="7212817" y="3953601"/>
                </a:moveTo>
                <a:cubicBezTo>
                  <a:pt x="7215108" y="3954046"/>
                  <a:pt x="7218261" y="3955490"/>
                  <a:pt x="7220552" y="3955823"/>
                </a:cubicBezTo>
                <a:cubicBezTo>
                  <a:pt x="7220552" y="3955823"/>
                  <a:pt x="7220838" y="3955711"/>
                  <a:pt x="7219978" y="3957378"/>
                </a:cubicBezTo>
                <a:cubicBezTo>
                  <a:pt x="7218260" y="3955379"/>
                  <a:pt x="7211384" y="3956933"/>
                  <a:pt x="7212817" y="3953601"/>
                </a:cubicBezTo>
                <a:close/>
                <a:moveTo>
                  <a:pt x="6431628" y="3951491"/>
                </a:moveTo>
                <a:cubicBezTo>
                  <a:pt x="6438218" y="3951157"/>
                  <a:pt x="6442800" y="3954490"/>
                  <a:pt x="6445092" y="3959267"/>
                </a:cubicBezTo>
                <a:cubicBezTo>
                  <a:pt x="6449103" y="3967042"/>
                  <a:pt x="6447384" y="3978817"/>
                  <a:pt x="6439650" y="3984483"/>
                </a:cubicBezTo>
                <a:lnTo>
                  <a:pt x="6439363" y="3984593"/>
                </a:lnTo>
                <a:lnTo>
                  <a:pt x="6448530" y="3989481"/>
                </a:lnTo>
                <a:cubicBezTo>
                  <a:pt x="6449104" y="3995146"/>
                  <a:pt x="6446525" y="3998590"/>
                  <a:pt x="6442515" y="4000367"/>
                </a:cubicBezTo>
                <a:lnTo>
                  <a:pt x="6432488" y="4001699"/>
                </a:lnTo>
                <a:lnTo>
                  <a:pt x="6432488" y="4002700"/>
                </a:lnTo>
                <a:cubicBezTo>
                  <a:pt x="6430483" y="4004921"/>
                  <a:pt x="6426472" y="4007255"/>
                  <a:pt x="6420170" y="4009587"/>
                </a:cubicBezTo>
                <a:cubicBezTo>
                  <a:pt x="6419884" y="4002811"/>
                  <a:pt x="6414727" y="3997035"/>
                  <a:pt x="6410430" y="3991592"/>
                </a:cubicBezTo>
                <a:lnTo>
                  <a:pt x="6408138" y="3987482"/>
                </a:lnTo>
                <a:lnTo>
                  <a:pt x="6405274" y="3991702"/>
                </a:lnTo>
                <a:cubicBezTo>
                  <a:pt x="6396680" y="3988148"/>
                  <a:pt x="6394388" y="3983594"/>
                  <a:pt x="6394675" y="3977262"/>
                </a:cubicBezTo>
                <a:cubicBezTo>
                  <a:pt x="6396393" y="3977040"/>
                  <a:pt x="6398685" y="3977484"/>
                  <a:pt x="6400977" y="3978262"/>
                </a:cubicBezTo>
                <a:lnTo>
                  <a:pt x="6405847" y="3980150"/>
                </a:lnTo>
                <a:lnTo>
                  <a:pt x="6406420" y="3975485"/>
                </a:lnTo>
                <a:cubicBezTo>
                  <a:pt x="6408138" y="3977151"/>
                  <a:pt x="6410716" y="3978817"/>
                  <a:pt x="6413295" y="3980483"/>
                </a:cubicBezTo>
                <a:lnTo>
                  <a:pt x="6414727" y="3981372"/>
                </a:lnTo>
                <a:lnTo>
                  <a:pt x="6418738" y="3980039"/>
                </a:lnTo>
                <a:lnTo>
                  <a:pt x="6426472" y="3981150"/>
                </a:lnTo>
                <a:lnTo>
                  <a:pt x="6422176" y="3972596"/>
                </a:lnTo>
                <a:cubicBezTo>
                  <a:pt x="6420743" y="3966820"/>
                  <a:pt x="6421316" y="3960377"/>
                  <a:pt x="6424467" y="3953046"/>
                </a:cubicBezTo>
                <a:cubicBezTo>
                  <a:pt x="6427045" y="3952046"/>
                  <a:pt x="6429624" y="3951602"/>
                  <a:pt x="6431628" y="3951491"/>
                </a:cubicBezTo>
                <a:close/>
                <a:moveTo>
                  <a:pt x="6865049" y="3945048"/>
                </a:moveTo>
                <a:cubicBezTo>
                  <a:pt x="6868200" y="3944492"/>
                  <a:pt x="6874216" y="3946825"/>
                  <a:pt x="6877940" y="3948492"/>
                </a:cubicBezTo>
                <a:cubicBezTo>
                  <a:pt x="6879087" y="3951935"/>
                  <a:pt x="6876794" y="3955935"/>
                  <a:pt x="6872784" y="3959267"/>
                </a:cubicBezTo>
                <a:cubicBezTo>
                  <a:pt x="6865049" y="3955934"/>
                  <a:pt x="6863617" y="3951379"/>
                  <a:pt x="6865049" y="3945048"/>
                </a:cubicBezTo>
                <a:close/>
                <a:moveTo>
                  <a:pt x="7397586" y="3940160"/>
                </a:moveTo>
                <a:cubicBezTo>
                  <a:pt x="7400164" y="3940271"/>
                  <a:pt x="7403029" y="3940604"/>
                  <a:pt x="7405608" y="3940938"/>
                </a:cubicBezTo>
                <a:cubicBezTo>
                  <a:pt x="7408758" y="3943715"/>
                  <a:pt x="7409904" y="3947936"/>
                  <a:pt x="7408472" y="3951935"/>
                </a:cubicBezTo>
                <a:cubicBezTo>
                  <a:pt x="7399018" y="3950713"/>
                  <a:pt x="7394436" y="3946936"/>
                  <a:pt x="7391284" y="3940827"/>
                </a:cubicBezTo>
                <a:cubicBezTo>
                  <a:pt x="7392430" y="3940161"/>
                  <a:pt x="7395008" y="3940049"/>
                  <a:pt x="7397586" y="3940160"/>
                </a:cubicBezTo>
                <a:close/>
                <a:moveTo>
                  <a:pt x="6280948" y="3937161"/>
                </a:moveTo>
                <a:cubicBezTo>
                  <a:pt x="6283240" y="3937161"/>
                  <a:pt x="6285532" y="3937272"/>
                  <a:pt x="6287824" y="3937272"/>
                </a:cubicBezTo>
                <a:cubicBezTo>
                  <a:pt x="6287250" y="3940604"/>
                  <a:pt x="6286678" y="3943826"/>
                  <a:pt x="6282094" y="3943715"/>
                </a:cubicBezTo>
                <a:cubicBezTo>
                  <a:pt x="6281235" y="3941271"/>
                  <a:pt x="6279230" y="3941159"/>
                  <a:pt x="6280948" y="3937161"/>
                </a:cubicBezTo>
                <a:close/>
                <a:moveTo>
                  <a:pt x="7170993" y="3932829"/>
                </a:moveTo>
                <a:cubicBezTo>
                  <a:pt x="7175576" y="3932828"/>
                  <a:pt x="7183311" y="3933051"/>
                  <a:pt x="7186749" y="3934828"/>
                </a:cubicBezTo>
                <a:cubicBezTo>
                  <a:pt x="7187608" y="3935494"/>
                  <a:pt x="7188468" y="3936272"/>
                  <a:pt x="7188181" y="3937272"/>
                </a:cubicBezTo>
                <a:cubicBezTo>
                  <a:pt x="7187322" y="3938938"/>
                  <a:pt x="7185316" y="3938494"/>
                  <a:pt x="7183884" y="3939161"/>
                </a:cubicBezTo>
                <a:cubicBezTo>
                  <a:pt x="7180160" y="3939383"/>
                  <a:pt x="7170134" y="3934384"/>
                  <a:pt x="7170993" y="3932829"/>
                </a:cubicBezTo>
                <a:close/>
                <a:moveTo>
                  <a:pt x="2024375" y="3932273"/>
                </a:moveTo>
                <a:cubicBezTo>
                  <a:pt x="2026667" y="3931829"/>
                  <a:pt x="2029818" y="3932940"/>
                  <a:pt x="2033828" y="3935717"/>
                </a:cubicBezTo>
                <a:cubicBezTo>
                  <a:pt x="2033828" y="3938383"/>
                  <a:pt x="2027240" y="3939716"/>
                  <a:pt x="2024375" y="3941160"/>
                </a:cubicBezTo>
                <a:cubicBezTo>
                  <a:pt x="2023516" y="3939605"/>
                  <a:pt x="2022657" y="3937938"/>
                  <a:pt x="2021797" y="3938938"/>
                </a:cubicBezTo>
                <a:cubicBezTo>
                  <a:pt x="2020938" y="3937383"/>
                  <a:pt x="2020938" y="3936050"/>
                  <a:pt x="2021511" y="3934940"/>
                </a:cubicBezTo>
                <a:cubicBezTo>
                  <a:pt x="2022084" y="3933828"/>
                  <a:pt x="2022942" y="3932939"/>
                  <a:pt x="2024375" y="3932273"/>
                </a:cubicBezTo>
                <a:close/>
                <a:moveTo>
                  <a:pt x="6428191" y="3930274"/>
                </a:moveTo>
                <a:cubicBezTo>
                  <a:pt x="6431915" y="3930274"/>
                  <a:pt x="6432774" y="3931274"/>
                  <a:pt x="6432202" y="3930274"/>
                </a:cubicBezTo>
                <a:cubicBezTo>
                  <a:pt x="6436498" y="3931384"/>
                  <a:pt x="6442228" y="3931940"/>
                  <a:pt x="6441942" y="3934495"/>
                </a:cubicBezTo>
                <a:cubicBezTo>
                  <a:pt x="6437931" y="3943493"/>
                  <a:pt x="6415873" y="3940716"/>
                  <a:pt x="6410716" y="3941160"/>
                </a:cubicBezTo>
                <a:cubicBezTo>
                  <a:pt x="6410716" y="3941160"/>
                  <a:pt x="6408998" y="3941716"/>
                  <a:pt x="6406706" y="3941160"/>
                </a:cubicBezTo>
                <a:cubicBezTo>
                  <a:pt x="6402982" y="3941160"/>
                  <a:pt x="6407279" y="3938605"/>
                  <a:pt x="6404988" y="3938049"/>
                </a:cubicBezTo>
                <a:cubicBezTo>
                  <a:pt x="6418739" y="3935939"/>
                  <a:pt x="6428191" y="3930274"/>
                  <a:pt x="6428191" y="3930274"/>
                </a:cubicBezTo>
                <a:close/>
                <a:moveTo>
                  <a:pt x="6403842" y="3929607"/>
                </a:moveTo>
                <a:cubicBezTo>
                  <a:pt x="6406134" y="3930052"/>
                  <a:pt x="6405847" y="3930163"/>
                  <a:pt x="6406706" y="3931274"/>
                </a:cubicBezTo>
                <a:cubicBezTo>
                  <a:pt x="6405560" y="3932828"/>
                  <a:pt x="6404128" y="3933273"/>
                  <a:pt x="6403268" y="3934828"/>
                </a:cubicBezTo>
                <a:cubicBezTo>
                  <a:pt x="6407566" y="3935939"/>
                  <a:pt x="6406992" y="3934828"/>
                  <a:pt x="6405847" y="3936494"/>
                </a:cubicBezTo>
                <a:cubicBezTo>
                  <a:pt x="6405847" y="3936494"/>
                  <a:pt x="6405847" y="3936494"/>
                  <a:pt x="6404988" y="3938049"/>
                </a:cubicBezTo>
                <a:cubicBezTo>
                  <a:pt x="6404988" y="3938049"/>
                  <a:pt x="6405560" y="3939049"/>
                  <a:pt x="6399831" y="3938495"/>
                </a:cubicBezTo>
                <a:cubicBezTo>
                  <a:pt x="6400690" y="3936939"/>
                  <a:pt x="6403555" y="3932273"/>
                  <a:pt x="6403555" y="3932273"/>
                </a:cubicBezTo>
                <a:cubicBezTo>
                  <a:pt x="6402696" y="3931162"/>
                  <a:pt x="6402982" y="3931162"/>
                  <a:pt x="6403842" y="3929607"/>
                </a:cubicBezTo>
                <a:close/>
                <a:moveTo>
                  <a:pt x="7030338" y="3928497"/>
                </a:moveTo>
                <a:cubicBezTo>
                  <a:pt x="7033490" y="3927830"/>
                  <a:pt x="7036928" y="3928608"/>
                  <a:pt x="7039506" y="3931718"/>
                </a:cubicBezTo>
                <a:cubicBezTo>
                  <a:pt x="7033776" y="3934940"/>
                  <a:pt x="7027761" y="3938050"/>
                  <a:pt x="7023750" y="3934273"/>
                </a:cubicBezTo>
                <a:cubicBezTo>
                  <a:pt x="7024324" y="3931384"/>
                  <a:pt x="7027188" y="3929162"/>
                  <a:pt x="7030338" y="3928497"/>
                </a:cubicBezTo>
                <a:close/>
                <a:moveTo>
                  <a:pt x="7344590" y="3927719"/>
                </a:moveTo>
                <a:cubicBezTo>
                  <a:pt x="7345736" y="3934051"/>
                  <a:pt x="7337142" y="3942605"/>
                  <a:pt x="7325684" y="3948269"/>
                </a:cubicBezTo>
                <a:cubicBezTo>
                  <a:pt x="7314512" y="3953824"/>
                  <a:pt x="7300762" y="3956378"/>
                  <a:pt x="7291881" y="3950491"/>
                </a:cubicBezTo>
                <a:cubicBezTo>
                  <a:pt x="7315084" y="3947047"/>
                  <a:pt x="7317950" y="3928274"/>
                  <a:pt x="7344590" y="3927719"/>
                </a:cubicBezTo>
                <a:close/>
                <a:moveTo>
                  <a:pt x="6401550" y="3926386"/>
                </a:moveTo>
                <a:cubicBezTo>
                  <a:pt x="6400690" y="3928052"/>
                  <a:pt x="6397253" y="3931718"/>
                  <a:pt x="6391524" y="3931162"/>
                </a:cubicBezTo>
                <a:lnTo>
                  <a:pt x="6390663" y="3931274"/>
                </a:lnTo>
                <a:lnTo>
                  <a:pt x="6393529" y="3933606"/>
                </a:lnTo>
                <a:cubicBezTo>
                  <a:pt x="6397253" y="3937161"/>
                  <a:pt x="6399258" y="3940938"/>
                  <a:pt x="6398399" y="3944603"/>
                </a:cubicBezTo>
                <a:lnTo>
                  <a:pt x="6396680" y="3947603"/>
                </a:lnTo>
                <a:lnTo>
                  <a:pt x="6398399" y="3949936"/>
                </a:lnTo>
                <a:cubicBezTo>
                  <a:pt x="6400977" y="3954934"/>
                  <a:pt x="6402410" y="3960489"/>
                  <a:pt x="6400977" y="3967376"/>
                </a:cubicBezTo>
                <a:cubicBezTo>
                  <a:pt x="6391237" y="3965487"/>
                  <a:pt x="6387226" y="3959933"/>
                  <a:pt x="6385794" y="3953601"/>
                </a:cubicBezTo>
                <a:lnTo>
                  <a:pt x="6385794" y="3949602"/>
                </a:lnTo>
                <a:lnTo>
                  <a:pt x="6380352" y="3947269"/>
                </a:lnTo>
                <a:cubicBezTo>
                  <a:pt x="6372617" y="3940716"/>
                  <a:pt x="6371184" y="3928830"/>
                  <a:pt x="6380352" y="3927608"/>
                </a:cubicBezTo>
                <a:cubicBezTo>
                  <a:pt x="6382070" y="3927386"/>
                  <a:pt x="6384076" y="3927497"/>
                  <a:pt x="6386654" y="3928163"/>
                </a:cubicBezTo>
                <a:lnTo>
                  <a:pt x="6387226" y="3928608"/>
                </a:lnTo>
                <a:lnTo>
                  <a:pt x="6388946" y="3928274"/>
                </a:lnTo>
                <a:cubicBezTo>
                  <a:pt x="6392670" y="3927163"/>
                  <a:pt x="6396966" y="3926053"/>
                  <a:pt x="6401550" y="3926386"/>
                </a:cubicBezTo>
                <a:close/>
                <a:moveTo>
                  <a:pt x="2401923" y="3925520"/>
                </a:moveTo>
                <a:lnTo>
                  <a:pt x="2392691" y="3927649"/>
                </a:lnTo>
                <a:lnTo>
                  <a:pt x="2390705" y="3928099"/>
                </a:lnTo>
                <a:lnTo>
                  <a:pt x="2391049" y="3928497"/>
                </a:lnTo>
                <a:lnTo>
                  <a:pt x="2406518" y="3934828"/>
                </a:lnTo>
                <a:lnTo>
                  <a:pt x="2406232" y="3934606"/>
                </a:lnTo>
                <a:close/>
                <a:moveTo>
                  <a:pt x="7355476" y="3923942"/>
                </a:moveTo>
                <a:cubicBezTo>
                  <a:pt x="7357195" y="3924164"/>
                  <a:pt x="7356908" y="3925276"/>
                  <a:pt x="7358628" y="3925497"/>
                </a:cubicBezTo>
                <a:cubicBezTo>
                  <a:pt x="7358628" y="3925497"/>
                  <a:pt x="7358628" y="3926607"/>
                  <a:pt x="7358628" y="3926607"/>
                </a:cubicBezTo>
                <a:cubicBezTo>
                  <a:pt x="7359200" y="3926719"/>
                  <a:pt x="7359200" y="3926608"/>
                  <a:pt x="7358914" y="3926830"/>
                </a:cubicBezTo>
                <a:cubicBezTo>
                  <a:pt x="7358341" y="3927052"/>
                  <a:pt x="7357482" y="3927608"/>
                  <a:pt x="7356622" y="3928718"/>
                </a:cubicBezTo>
                <a:cubicBezTo>
                  <a:pt x="7354904" y="3929607"/>
                  <a:pt x="7354903" y="3930718"/>
                  <a:pt x="7353184" y="3929385"/>
                </a:cubicBezTo>
                <a:cubicBezTo>
                  <a:pt x="7351752" y="3928052"/>
                  <a:pt x="7351752" y="3928164"/>
                  <a:pt x="7352038" y="3924719"/>
                </a:cubicBezTo>
                <a:cubicBezTo>
                  <a:pt x="7353471" y="3926053"/>
                  <a:pt x="7353758" y="3926053"/>
                  <a:pt x="7355476" y="3925164"/>
                </a:cubicBezTo>
                <a:cubicBezTo>
                  <a:pt x="7355476" y="3925164"/>
                  <a:pt x="7355476" y="3925053"/>
                  <a:pt x="7355476" y="3923942"/>
                </a:cubicBezTo>
                <a:close/>
                <a:moveTo>
                  <a:pt x="7247193" y="3921720"/>
                </a:moveTo>
                <a:cubicBezTo>
                  <a:pt x="7250631" y="3922053"/>
                  <a:pt x="7253208" y="3924387"/>
                  <a:pt x="7253208" y="3924387"/>
                </a:cubicBezTo>
                <a:cubicBezTo>
                  <a:pt x="7253208" y="3924387"/>
                  <a:pt x="7253208" y="3924387"/>
                  <a:pt x="7253495" y="3923165"/>
                </a:cubicBezTo>
                <a:cubicBezTo>
                  <a:pt x="7253208" y="3925497"/>
                  <a:pt x="7254640" y="3928051"/>
                  <a:pt x="7254354" y="3930385"/>
                </a:cubicBezTo>
                <a:cubicBezTo>
                  <a:pt x="7243468" y="3938495"/>
                  <a:pt x="7240318" y="3934606"/>
                  <a:pt x="7234016" y="3930385"/>
                </a:cubicBezTo>
                <a:cubicBezTo>
                  <a:pt x="7236020" y="3928274"/>
                  <a:pt x="7234588" y="3924719"/>
                  <a:pt x="7238312" y="3922720"/>
                </a:cubicBezTo>
                <a:cubicBezTo>
                  <a:pt x="7238312" y="3922720"/>
                  <a:pt x="7240031" y="3921831"/>
                  <a:pt x="7243468" y="3922164"/>
                </a:cubicBezTo>
                <a:cubicBezTo>
                  <a:pt x="7244614" y="3921720"/>
                  <a:pt x="7246047" y="3921609"/>
                  <a:pt x="7247193" y="3921720"/>
                </a:cubicBezTo>
                <a:close/>
                <a:moveTo>
                  <a:pt x="6823512" y="3920721"/>
                </a:moveTo>
                <a:cubicBezTo>
                  <a:pt x="6826377" y="3920832"/>
                  <a:pt x="6829241" y="3921165"/>
                  <a:pt x="6832392" y="3921943"/>
                </a:cubicBezTo>
                <a:cubicBezTo>
                  <a:pt x="6828668" y="3927941"/>
                  <a:pt x="6814632" y="3933606"/>
                  <a:pt x="6800308" y="3936050"/>
                </a:cubicBezTo>
                <a:cubicBezTo>
                  <a:pt x="6785985" y="3938383"/>
                  <a:pt x="6771663" y="3937383"/>
                  <a:pt x="6767938" y="3929829"/>
                </a:cubicBezTo>
                <a:lnTo>
                  <a:pt x="6777964" y="3929163"/>
                </a:lnTo>
                <a:lnTo>
                  <a:pt x="6782548" y="3926608"/>
                </a:lnTo>
                <a:cubicBezTo>
                  <a:pt x="6787131" y="3924720"/>
                  <a:pt x="6792860" y="3923498"/>
                  <a:pt x="6797444" y="3923053"/>
                </a:cubicBezTo>
                <a:lnTo>
                  <a:pt x="6800022" y="3924497"/>
                </a:lnTo>
                <a:lnTo>
                  <a:pt x="6815204" y="3921054"/>
                </a:lnTo>
                <a:cubicBezTo>
                  <a:pt x="6817782" y="3920721"/>
                  <a:pt x="6820647" y="3920498"/>
                  <a:pt x="6823512" y="3920721"/>
                </a:cubicBezTo>
                <a:close/>
                <a:moveTo>
                  <a:pt x="6317043" y="3919609"/>
                </a:moveTo>
                <a:cubicBezTo>
                  <a:pt x="6318762" y="3919831"/>
                  <a:pt x="6318762" y="3919831"/>
                  <a:pt x="6318762" y="3921054"/>
                </a:cubicBezTo>
                <a:cubicBezTo>
                  <a:pt x="6319048" y="3920831"/>
                  <a:pt x="6318762" y="3920832"/>
                  <a:pt x="6319049" y="3920721"/>
                </a:cubicBezTo>
                <a:lnTo>
                  <a:pt x="6319334" y="3921276"/>
                </a:lnTo>
                <a:lnTo>
                  <a:pt x="6320480" y="3921054"/>
                </a:lnTo>
                <a:cubicBezTo>
                  <a:pt x="6321626" y="3921054"/>
                  <a:pt x="6323058" y="3921387"/>
                  <a:pt x="6324204" y="3922054"/>
                </a:cubicBezTo>
                <a:cubicBezTo>
                  <a:pt x="6325924" y="3922165"/>
                  <a:pt x="6325637" y="3926830"/>
                  <a:pt x="6323919" y="3927830"/>
                </a:cubicBezTo>
                <a:cubicBezTo>
                  <a:pt x="6320480" y="3929830"/>
                  <a:pt x="6318763" y="3930829"/>
                  <a:pt x="6315324" y="3930496"/>
                </a:cubicBezTo>
                <a:cubicBezTo>
                  <a:pt x="6313606" y="3931496"/>
                  <a:pt x="6312173" y="3932607"/>
                  <a:pt x="6310454" y="3933051"/>
                </a:cubicBezTo>
                <a:lnTo>
                  <a:pt x="6306444" y="3932273"/>
                </a:lnTo>
                <a:lnTo>
                  <a:pt x="6309022" y="3933162"/>
                </a:lnTo>
                <a:cubicBezTo>
                  <a:pt x="6309881" y="3933717"/>
                  <a:pt x="6310740" y="3934495"/>
                  <a:pt x="6310454" y="3935272"/>
                </a:cubicBezTo>
                <a:cubicBezTo>
                  <a:pt x="6309308" y="3935939"/>
                  <a:pt x="6310169" y="3936938"/>
                  <a:pt x="6308736" y="3937494"/>
                </a:cubicBezTo>
                <a:cubicBezTo>
                  <a:pt x="6308162" y="3938383"/>
                  <a:pt x="6307303" y="3938939"/>
                  <a:pt x="6306730" y="3939382"/>
                </a:cubicBezTo>
                <a:cubicBezTo>
                  <a:pt x="6309595" y="3937606"/>
                  <a:pt x="6312746" y="3936383"/>
                  <a:pt x="6316470" y="3936272"/>
                </a:cubicBezTo>
                <a:cubicBezTo>
                  <a:pt x="6314752" y="3940382"/>
                  <a:pt x="6312460" y="3944270"/>
                  <a:pt x="6311027" y="3948714"/>
                </a:cubicBezTo>
                <a:lnTo>
                  <a:pt x="6309596" y="3956378"/>
                </a:lnTo>
                <a:lnTo>
                  <a:pt x="6310740" y="3956712"/>
                </a:lnTo>
                <a:lnTo>
                  <a:pt x="6312746" y="3956267"/>
                </a:lnTo>
                <a:lnTo>
                  <a:pt x="6312746" y="3955934"/>
                </a:lnTo>
                <a:cubicBezTo>
                  <a:pt x="6316184" y="3952713"/>
                  <a:pt x="6314751" y="3949158"/>
                  <a:pt x="6318475" y="3946047"/>
                </a:cubicBezTo>
                <a:cubicBezTo>
                  <a:pt x="6318475" y="3946047"/>
                  <a:pt x="6318475" y="3946047"/>
                  <a:pt x="6320194" y="3947381"/>
                </a:cubicBezTo>
                <a:cubicBezTo>
                  <a:pt x="6318188" y="3950046"/>
                  <a:pt x="6318188" y="3952935"/>
                  <a:pt x="6317616" y="3955712"/>
                </a:cubicBezTo>
                <a:lnTo>
                  <a:pt x="6317043" y="3957378"/>
                </a:lnTo>
                <a:lnTo>
                  <a:pt x="6321054" y="3956378"/>
                </a:lnTo>
                <a:cubicBezTo>
                  <a:pt x="6329361" y="3953935"/>
                  <a:pt x="6337668" y="3951269"/>
                  <a:pt x="6347694" y="3951934"/>
                </a:cubicBezTo>
                <a:lnTo>
                  <a:pt x="6355716" y="3953157"/>
                </a:lnTo>
                <a:lnTo>
                  <a:pt x="6353424" y="3947824"/>
                </a:lnTo>
                <a:lnTo>
                  <a:pt x="6352852" y="3946603"/>
                </a:lnTo>
                <a:lnTo>
                  <a:pt x="6348554" y="3946603"/>
                </a:lnTo>
                <a:cubicBezTo>
                  <a:pt x="6348554" y="3946603"/>
                  <a:pt x="6339674" y="3944492"/>
                  <a:pt x="6341106" y="3940271"/>
                </a:cubicBezTo>
                <a:cubicBezTo>
                  <a:pt x="6340820" y="3939716"/>
                  <a:pt x="6342252" y="3939049"/>
                  <a:pt x="6343970" y="3938495"/>
                </a:cubicBezTo>
                <a:lnTo>
                  <a:pt x="6348840" y="3937717"/>
                </a:lnTo>
                <a:lnTo>
                  <a:pt x="6346835" y="3932828"/>
                </a:lnTo>
                <a:lnTo>
                  <a:pt x="6343111" y="3930274"/>
                </a:lnTo>
                <a:lnTo>
                  <a:pt x="6342825" y="3929496"/>
                </a:lnTo>
                <a:lnTo>
                  <a:pt x="6341106" y="3928941"/>
                </a:lnTo>
                <a:cubicBezTo>
                  <a:pt x="6341106" y="3928941"/>
                  <a:pt x="6341106" y="3928941"/>
                  <a:pt x="6341106" y="3927941"/>
                </a:cubicBezTo>
                <a:lnTo>
                  <a:pt x="6342538" y="3928497"/>
                </a:lnTo>
                <a:lnTo>
                  <a:pt x="6342252" y="3927164"/>
                </a:lnTo>
                <a:lnTo>
                  <a:pt x="6340820" y="3927607"/>
                </a:lnTo>
                <a:cubicBezTo>
                  <a:pt x="6340820" y="3927607"/>
                  <a:pt x="6340533" y="3926720"/>
                  <a:pt x="6341392" y="3925275"/>
                </a:cubicBezTo>
                <a:cubicBezTo>
                  <a:pt x="6341392" y="3925275"/>
                  <a:pt x="6341679" y="3925386"/>
                  <a:pt x="6341966" y="3925720"/>
                </a:cubicBezTo>
                <a:lnTo>
                  <a:pt x="6342252" y="3926720"/>
                </a:lnTo>
                <a:lnTo>
                  <a:pt x="6345690" y="3923054"/>
                </a:lnTo>
                <a:cubicBezTo>
                  <a:pt x="6347694" y="3922164"/>
                  <a:pt x="6350273" y="3921720"/>
                  <a:pt x="6353139" y="3921832"/>
                </a:cubicBezTo>
                <a:cubicBezTo>
                  <a:pt x="6356575" y="3921943"/>
                  <a:pt x="6360013" y="3922942"/>
                  <a:pt x="6363164" y="3925164"/>
                </a:cubicBezTo>
                <a:cubicBezTo>
                  <a:pt x="6363450" y="3927719"/>
                  <a:pt x="6358866" y="3932162"/>
                  <a:pt x="6354284" y="3934162"/>
                </a:cubicBezTo>
                <a:lnTo>
                  <a:pt x="6353710" y="3934384"/>
                </a:lnTo>
                <a:lnTo>
                  <a:pt x="6353997" y="3934495"/>
                </a:lnTo>
                <a:cubicBezTo>
                  <a:pt x="6355716" y="3936384"/>
                  <a:pt x="6357434" y="3939049"/>
                  <a:pt x="6358580" y="3941271"/>
                </a:cubicBezTo>
                <a:lnTo>
                  <a:pt x="6358865" y="3942160"/>
                </a:lnTo>
                <a:lnTo>
                  <a:pt x="6362304" y="3943382"/>
                </a:lnTo>
                <a:cubicBezTo>
                  <a:pt x="6363736" y="3944159"/>
                  <a:pt x="6364310" y="3945159"/>
                  <a:pt x="6363450" y="3946714"/>
                </a:cubicBezTo>
                <a:lnTo>
                  <a:pt x="6360012" y="3946715"/>
                </a:lnTo>
                <a:lnTo>
                  <a:pt x="6360012" y="3946936"/>
                </a:lnTo>
                <a:cubicBezTo>
                  <a:pt x="6359726" y="3947382"/>
                  <a:pt x="6359726" y="3947714"/>
                  <a:pt x="6360299" y="3948269"/>
                </a:cubicBezTo>
                <a:cubicBezTo>
                  <a:pt x="6360299" y="3948269"/>
                  <a:pt x="6361158" y="3949270"/>
                  <a:pt x="6360873" y="3950935"/>
                </a:cubicBezTo>
                <a:cubicBezTo>
                  <a:pt x="6360586" y="3952602"/>
                  <a:pt x="6360012" y="3954268"/>
                  <a:pt x="6356288" y="3954378"/>
                </a:cubicBezTo>
                <a:lnTo>
                  <a:pt x="6356288" y="3954046"/>
                </a:lnTo>
                <a:lnTo>
                  <a:pt x="6353424" y="3957600"/>
                </a:lnTo>
                <a:cubicBezTo>
                  <a:pt x="6347981" y="3961821"/>
                  <a:pt x="6338242" y="3965265"/>
                  <a:pt x="6327642" y="3966820"/>
                </a:cubicBezTo>
                <a:lnTo>
                  <a:pt x="6313892" y="3966931"/>
                </a:lnTo>
                <a:lnTo>
                  <a:pt x="6320480" y="3969819"/>
                </a:lnTo>
                <a:cubicBezTo>
                  <a:pt x="6325924" y="3972708"/>
                  <a:pt x="6331652" y="3976040"/>
                  <a:pt x="6334231" y="3977485"/>
                </a:cubicBezTo>
                <a:cubicBezTo>
                  <a:pt x="6334231" y="3978595"/>
                  <a:pt x="6334231" y="3978595"/>
                  <a:pt x="6334231" y="3978595"/>
                </a:cubicBezTo>
                <a:cubicBezTo>
                  <a:pt x="6333372" y="3979706"/>
                  <a:pt x="6331939" y="3979928"/>
                  <a:pt x="6330220" y="3979484"/>
                </a:cubicBezTo>
                <a:cubicBezTo>
                  <a:pt x="6328502" y="3979040"/>
                  <a:pt x="6326496" y="3977929"/>
                  <a:pt x="6323918" y="3976596"/>
                </a:cubicBezTo>
                <a:cubicBezTo>
                  <a:pt x="6318762" y="3973818"/>
                  <a:pt x="6313892" y="3968708"/>
                  <a:pt x="6312173" y="3967376"/>
                </a:cubicBezTo>
                <a:lnTo>
                  <a:pt x="6311027" y="3966931"/>
                </a:lnTo>
                <a:lnTo>
                  <a:pt x="6307590" y="3966931"/>
                </a:lnTo>
                <a:lnTo>
                  <a:pt x="6303580" y="3965709"/>
                </a:lnTo>
                <a:lnTo>
                  <a:pt x="6298422" y="3966820"/>
                </a:lnTo>
                <a:lnTo>
                  <a:pt x="6296704" y="3962932"/>
                </a:lnTo>
                <a:lnTo>
                  <a:pt x="6295558" y="3972596"/>
                </a:lnTo>
                <a:cubicBezTo>
                  <a:pt x="6295558" y="3974152"/>
                  <a:pt x="6295844" y="3975485"/>
                  <a:pt x="6296131" y="3976374"/>
                </a:cubicBezTo>
                <a:lnTo>
                  <a:pt x="6296418" y="3977485"/>
                </a:lnTo>
                <a:lnTo>
                  <a:pt x="6296990" y="3977485"/>
                </a:lnTo>
                <a:cubicBezTo>
                  <a:pt x="6299568" y="3979928"/>
                  <a:pt x="6299855" y="3982372"/>
                  <a:pt x="6298996" y="3984816"/>
                </a:cubicBezTo>
                <a:lnTo>
                  <a:pt x="6297850" y="3988481"/>
                </a:lnTo>
                <a:lnTo>
                  <a:pt x="6298136" y="3988370"/>
                </a:lnTo>
                <a:cubicBezTo>
                  <a:pt x="6298996" y="3988148"/>
                  <a:pt x="6300142" y="3988260"/>
                  <a:pt x="6301288" y="3988926"/>
                </a:cubicBezTo>
                <a:cubicBezTo>
                  <a:pt x="6308736" y="3993924"/>
                  <a:pt x="6305584" y="4002034"/>
                  <a:pt x="6303579" y="4006254"/>
                </a:cubicBezTo>
                <a:lnTo>
                  <a:pt x="6302433" y="4008587"/>
                </a:lnTo>
                <a:lnTo>
                  <a:pt x="6304152" y="4008810"/>
                </a:lnTo>
                <a:lnTo>
                  <a:pt x="6302146" y="4009810"/>
                </a:lnTo>
                <a:lnTo>
                  <a:pt x="6302146" y="4010031"/>
                </a:lnTo>
                <a:cubicBezTo>
                  <a:pt x="6300428" y="4009920"/>
                  <a:pt x="6300428" y="4011031"/>
                  <a:pt x="6302146" y="4011142"/>
                </a:cubicBezTo>
                <a:cubicBezTo>
                  <a:pt x="6300428" y="4012808"/>
                  <a:pt x="6298997" y="4014252"/>
                  <a:pt x="6297564" y="4014808"/>
                </a:cubicBezTo>
                <a:cubicBezTo>
                  <a:pt x="6296418" y="4015475"/>
                  <a:pt x="6294985" y="4015364"/>
                  <a:pt x="6293266" y="4014030"/>
                </a:cubicBezTo>
                <a:lnTo>
                  <a:pt x="6292980" y="4013475"/>
                </a:lnTo>
                <a:lnTo>
                  <a:pt x="6283813" y="4014586"/>
                </a:lnTo>
                <a:cubicBezTo>
                  <a:pt x="6280662" y="4011587"/>
                  <a:pt x="6282380" y="4009254"/>
                  <a:pt x="6285533" y="4007921"/>
                </a:cubicBezTo>
                <a:lnTo>
                  <a:pt x="6287250" y="4007588"/>
                </a:lnTo>
                <a:lnTo>
                  <a:pt x="6282954" y="4006699"/>
                </a:lnTo>
                <a:cubicBezTo>
                  <a:pt x="6276365" y="4006921"/>
                  <a:pt x="6267771" y="4010254"/>
                  <a:pt x="6257745" y="4004144"/>
                </a:cubicBezTo>
                <a:cubicBezTo>
                  <a:pt x="6260610" y="4002589"/>
                  <a:pt x="6257458" y="3998590"/>
                  <a:pt x="6257746" y="3995368"/>
                </a:cubicBezTo>
                <a:lnTo>
                  <a:pt x="6259464" y="3993258"/>
                </a:lnTo>
                <a:lnTo>
                  <a:pt x="6257172" y="3994258"/>
                </a:lnTo>
                <a:cubicBezTo>
                  <a:pt x="6254880" y="3993924"/>
                  <a:pt x="6253448" y="3991925"/>
                  <a:pt x="6253448" y="3989259"/>
                </a:cubicBezTo>
                <a:cubicBezTo>
                  <a:pt x="6255740" y="3989592"/>
                  <a:pt x="6258031" y="3987260"/>
                  <a:pt x="6260323" y="3987592"/>
                </a:cubicBezTo>
                <a:cubicBezTo>
                  <a:pt x="6260323" y="3987592"/>
                  <a:pt x="6261183" y="3988259"/>
                  <a:pt x="6262328" y="3988815"/>
                </a:cubicBezTo>
                <a:lnTo>
                  <a:pt x="6264047" y="3989926"/>
                </a:lnTo>
                <a:lnTo>
                  <a:pt x="6267198" y="3988037"/>
                </a:lnTo>
                <a:cubicBezTo>
                  <a:pt x="6273500" y="3984593"/>
                  <a:pt x="6277798" y="3984815"/>
                  <a:pt x="6283240" y="3986482"/>
                </a:cubicBezTo>
                <a:lnTo>
                  <a:pt x="6285532" y="3987259"/>
                </a:lnTo>
                <a:lnTo>
                  <a:pt x="6285818" y="3986926"/>
                </a:lnTo>
                <a:lnTo>
                  <a:pt x="6287537" y="3983483"/>
                </a:lnTo>
                <a:lnTo>
                  <a:pt x="6284386" y="3983816"/>
                </a:lnTo>
                <a:cubicBezTo>
                  <a:pt x="6274646" y="3977262"/>
                  <a:pt x="6288683" y="3965710"/>
                  <a:pt x="6290402" y="3962377"/>
                </a:cubicBezTo>
                <a:cubicBezTo>
                  <a:pt x="6290402" y="3962377"/>
                  <a:pt x="6290402" y="3961155"/>
                  <a:pt x="6292120" y="3960155"/>
                </a:cubicBezTo>
                <a:cubicBezTo>
                  <a:pt x="6292407" y="3959600"/>
                  <a:pt x="6292980" y="3959489"/>
                  <a:pt x="6293266" y="3959489"/>
                </a:cubicBezTo>
                <a:lnTo>
                  <a:pt x="6294412" y="3959822"/>
                </a:lnTo>
                <a:lnTo>
                  <a:pt x="6295558" y="3959821"/>
                </a:lnTo>
                <a:lnTo>
                  <a:pt x="6295272" y="3959266"/>
                </a:lnTo>
                <a:lnTo>
                  <a:pt x="6296132" y="3954934"/>
                </a:lnTo>
                <a:lnTo>
                  <a:pt x="6292694" y="3954824"/>
                </a:lnTo>
                <a:cubicBezTo>
                  <a:pt x="6290116" y="3954934"/>
                  <a:pt x="6287538" y="3955267"/>
                  <a:pt x="6286964" y="3955935"/>
                </a:cubicBezTo>
                <a:cubicBezTo>
                  <a:pt x="6286391" y="3954934"/>
                  <a:pt x="6284386" y="3954378"/>
                  <a:pt x="6284386" y="3954378"/>
                </a:cubicBezTo>
                <a:cubicBezTo>
                  <a:pt x="6285532" y="3952823"/>
                  <a:pt x="6286964" y="3952380"/>
                  <a:pt x="6288683" y="3951935"/>
                </a:cubicBezTo>
                <a:cubicBezTo>
                  <a:pt x="6290688" y="3952491"/>
                  <a:pt x="6291261" y="3953601"/>
                  <a:pt x="6293266" y="3954268"/>
                </a:cubicBezTo>
                <a:lnTo>
                  <a:pt x="6296418" y="3953934"/>
                </a:lnTo>
                <a:lnTo>
                  <a:pt x="6297564" y="3949047"/>
                </a:lnTo>
                <a:cubicBezTo>
                  <a:pt x="6299568" y="3945381"/>
                  <a:pt x="6302145" y="3942049"/>
                  <a:pt x="6305871" y="3939716"/>
                </a:cubicBezTo>
                <a:cubicBezTo>
                  <a:pt x="6305013" y="3939938"/>
                  <a:pt x="6304438" y="3940161"/>
                  <a:pt x="6303292" y="3939938"/>
                </a:cubicBezTo>
                <a:cubicBezTo>
                  <a:pt x="6301860" y="3940605"/>
                  <a:pt x="6301001" y="3939605"/>
                  <a:pt x="6298709" y="3939161"/>
                </a:cubicBezTo>
                <a:lnTo>
                  <a:pt x="6298136" y="3937827"/>
                </a:lnTo>
                <a:lnTo>
                  <a:pt x="6296131" y="3938271"/>
                </a:lnTo>
                <a:cubicBezTo>
                  <a:pt x="6292120" y="3938605"/>
                  <a:pt x="6288683" y="3938494"/>
                  <a:pt x="6287824" y="3937827"/>
                </a:cubicBezTo>
                <a:cubicBezTo>
                  <a:pt x="6289542" y="3937495"/>
                  <a:pt x="6293553" y="3936717"/>
                  <a:pt x="6297564" y="3936161"/>
                </a:cubicBezTo>
                <a:lnTo>
                  <a:pt x="6297850" y="3936161"/>
                </a:lnTo>
                <a:lnTo>
                  <a:pt x="6297850" y="3935051"/>
                </a:lnTo>
                <a:cubicBezTo>
                  <a:pt x="6297850" y="3934828"/>
                  <a:pt x="6297277" y="3934717"/>
                  <a:pt x="6296131" y="3934495"/>
                </a:cubicBezTo>
                <a:cubicBezTo>
                  <a:pt x="6296131" y="3934495"/>
                  <a:pt x="6297277" y="3933940"/>
                  <a:pt x="6297277" y="3933940"/>
                </a:cubicBezTo>
                <a:cubicBezTo>
                  <a:pt x="6298422" y="3934940"/>
                  <a:pt x="6297277" y="3933829"/>
                  <a:pt x="6297565" y="3932273"/>
                </a:cubicBezTo>
                <a:cubicBezTo>
                  <a:pt x="6301574" y="3932051"/>
                  <a:pt x="6303006" y="3931384"/>
                  <a:pt x="6305298" y="3931829"/>
                </a:cubicBezTo>
                <a:lnTo>
                  <a:pt x="6305298" y="3931940"/>
                </a:lnTo>
                <a:lnTo>
                  <a:pt x="6312460" y="3923387"/>
                </a:lnTo>
                <a:lnTo>
                  <a:pt x="6315897" y="3921943"/>
                </a:lnTo>
                <a:close/>
                <a:moveTo>
                  <a:pt x="1671737" y="3912056"/>
                </a:moveTo>
                <a:cubicBezTo>
                  <a:pt x="1676321" y="3911168"/>
                  <a:pt x="1678612" y="3913278"/>
                  <a:pt x="1678612" y="3913278"/>
                </a:cubicBezTo>
                <a:cubicBezTo>
                  <a:pt x="1681763" y="3917054"/>
                  <a:pt x="1680904" y="3920832"/>
                  <a:pt x="1675749" y="3922721"/>
                </a:cubicBezTo>
                <a:cubicBezTo>
                  <a:pt x="1672024" y="3922610"/>
                  <a:pt x="1669733" y="3920387"/>
                  <a:pt x="1667441" y="3918277"/>
                </a:cubicBezTo>
                <a:cubicBezTo>
                  <a:pt x="1665722" y="3916277"/>
                  <a:pt x="1665721" y="3915055"/>
                  <a:pt x="1666582" y="3914056"/>
                </a:cubicBezTo>
                <a:cubicBezTo>
                  <a:pt x="1667440" y="3913056"/>
                  <a:pt x="1669445" y="3912501"/>
                  <a:pt x="1671737" y="3912056"/>
                </a:cubicBezTo>
                <a:close/>
                <a:moveTo>
                  <a:pt x="6556527" y="3911611"/>
                </a:moveTo>
                <a:cubicBezTo>
                  <a:pt x="6558819" y="3911168"/>
                  <a:pt x="6561110" y="3911278"/>
                  <a:pt x="6563116" y="3911834"/>
                </a:cubicBezTo>
                <a:cubicBezTo>
                  <a:pt x="6565121" y="3911834"/>
                  <a:pt x="6566554" y="3912612"/>
                  <a:pt x="6567412" y="3913722"/>
                </a:cubicBezTo>
                <a:cubicBezTo>
                  <a:pt x="6568272" y="3914945"/>
                  <a:pt x="6568558" y="3916388"/>
                  <a:pt x="6568559" y="3917722"/>
                </a:cubicBezTo>
                <a:lnTo>
                  <a:pt x="6568273" y="3917943"/>
                </a:lnTo>
                <a:lnTo>
                  <a:pt x="6585746" y="3924053"/>
                </a:lnTo>
                <a:cubicBezTo>
                  <a:pt x="6607518" y="3933273"/>
                  <a:pt x="6627856" y="3947158"/>
                  <a:pt x="6631581" y="3964932"/>
                </a:cubicBezTo>
                <a:cubicBezTo>
                  <a:pt x="6632726" y="3969820"/>
                  <a:pt x="6632154" y="3973930"/>
                  <a:pt x="6631008" y="3977595"/>
                </a:cubicBezTo>
                <a:lnTo>
                  <a:pt x="6628430" y="3981594"/>
                </a:lnTo>
                <a:lnTo>
                  <a:pt x="6629003" y="3984593"/>
                </a:lnTo>
                <a:lnTo>
                  <a:pt x="6629002" y="3986148"/>
                </a:lnTo>
                <a:lnTo>
                  <a:pt x="6631008" y="3983593"/>
                </a:lnTo>
                <a:cubicBezTo>
                  <a:pt x="6632154" y="3982039"/>
                  <a:pt x="6632154" y="3982039"/>
                  <a:pt x="6630148" y="3981261"/>
                </a:cubicBezTo>
                <a:cubicBezTo>
                  <a:pt x="6631294" y="3979706"/>
                  <a:pt x="6631294" y="3979706"/>
                  <a:pt x="6634732" y="3978928"/>
                </a:cubicBezTo>
                <a:cubicBezTo>
                  <a:pt x="6633586" y="3980040"/>
                  <a:pt x="6631867" y="3984260"/>
                  <a:pt x="6630148" y="3986037"/>
                </a:cubicBezTo>
                <a:lnTo>
                  <a:pt x="6629002" y="3986481"/>
                </a:lnTo>
                <a:lnTo>
                  <a:pt x="6629002" y="3987704"/>
                </a:lnTo>
                <a:cubicBezTo>
                  <a:pt x="6631294" y="3988481"/>
                  <a:pt x="6631008" y="3988481"/>
                  <a:pt x="6629577" y="3988815"/>
                </a:cubicBezTo>
                <a:lnTo>
                  <a:pt x="6629002" y="3989814"/>
                </a:lnTo>
                <a:lnTo>
                  <a:pt x="6629002" y="3993147"/>
                </a:lnTo>
                <a:cubicBezTo>
                  <a:pt x="6629002" y="3996035"/>
                  <a:pt x="6628430" y="3998701"/>
                  <a:pt x="6627570" y="4000144"/>
                </a:cubicBezTo>
                <a:lnTo>
                  <a:pt x="6626998" y="3992591"/>
                </a:lnTo>
                <a:lnTo>
                  <a:pt x="6625852" y="3996368"/>
                </a:lnTo>
                <a:cubicBezTo>
                  <a:pt x="6625565" y="3998257"/>
                  <a:pt x="6625852" y="3999923"/>
                  <a:pt x="6626998" y="4000256"/>
                </a:cubicBezTo>
                <a:cubicBezTo>
                  <a:pt x="6625278" y="4000701"/>
                  <a:pt x="6624132" y="4002256"/>
                  <a:pt x="6624132" y="4002256"/>
                </a:cubicBezTo>
                <a:cubicBezTo>
                  <a:pt x="6622128" y="4001478"/>
                  <a:pt x="6621554" y="4000479"/>
                  <a:pt x="6620982" y="3999368"/>
                </a:cubicBezTo>
                <a:cubicBezTo>
                  <a:pt x="6622128" y="3997812"/>
                  <a:pt x="6623846" y="3997479"/>
                  <a:pt x="6624992" y="3995924"/>
                </a:cubicBezTo>
                <a:cubicBezTo>
                  <a:pt x="6624706" y="3994813"/>
                  <a:pt x="6623846" y="3992591"/>
                  <a:pt x="6624992" y="3991147"/>
                </a:cubicBezTo>
                <a:lnTo>
                  <a:pt x="6626999" y="3989592"/>
                </a:lnTo>
                <a:lnTo>
                  <a:pt x="6628430" y="3981815"/>
                </a:lnTo>
                <a:lnTo>
                  <a:pt x="6624706" y="3987704"/>
                </a:lnTo>
                <a:cubicBezTo>
                  <a:pt x="6619263" y="3994036"/>
                  <a:pt x="6612101" y="3999812"/>
                  <a:pt x="6606945" y="4008032"/>
                </a:cubicBezTo>
                <a:cubicBezTo>
                  <a:pt x="6585747" y="4004144"/>
                  <a:pt x="6580017" y="4011920"/>
                  <a:pt x="6569991" y="4015919"/>
                </a:cubicBezTo>
                <a:cubicBezTo>
                  <a:pt x="6557673" y="4008810"/>
                  <a:pt x="6537048" y="4007476"/>
                  <a:pt x="6520719" y="4002478"/>
                </a:cubicBezTo>
                <a:cubicBezTo>
                  <a:pt x="6516708" y="3995369"/>
                  <a:pt x="6511552" y="3989259"/>
                  <a:pt x="6506397" y="3983149"/>
                </a:cubicBezTo>
                <a:lnTo>
                  <a:pt x="6504964" y="3981150"/>
                </a:lnTo>
                <a:lnTo>
                  <a:pt x="6502386" y="3984260"/>
                </a:lnTo>
                <a:cubicBezTo>
                  <a:pt x="6500666" y="3985260"/>
                  <a:pt x="6496656" y="3986038"/>
                  <a:pt x="6492646" y="3986260"/>
                </a:cubicBezTo>
                <a:cubicBezTo>
                  <a:pt x="6488348" y="3986482"/>
                  <a:pt x="6484338" y="3986148"/>
                  <a:pt x="6481760" y="3984816"/>
                </a:cubicBezTo>
                <a:cubicBezTo>
                  <a:pt x="6483478" y="3982594"/>
                  <a:pt x="6485198" y="3980484"/>
                  <a:pt x="6486916" y="3978373"/>
                </a:cubicBezTo>
                <a:cubicBezTo>
                  <a:pt x="6486916" y="3979483"/>
                  <a:pt x="6502672" y="3978595"/>
                  <a:pt x="6502672" y="3978595"/>
                </a:cubicBezTo>
                <a:lnTo>
                  <a:pt x="6504390" y="3980706"/>
                </a:lnTo>
                <a:lnTo>
                  <a:pt x="6491786" y="3963709"/>
                </a:lnTo>
                <a:cubicBezTo>
                  <a:pt x="6504964" y="3951824"/>
                  <a:pt x="6498948" y="3927164"/>
                  <a:pt x="6522724" y="3920498"/>
                </a:cubicBezTo>
                <a:lnTo>
                  <a:pt x="6528454" y="3921054"/>
                </a:lnTo>
                <a:lnTo>
                  <a:pt x="6529026" y="3920498"/>
                </a:lnTo>
                <a:cubicBezTo>
                  <a:pt x="6530459" y="3919609"/>
                  <a:pt x="6532464" y="3919277"/>
                  <a:pt x="6534470" y="3919498"/>
                </a:cubicBezTo>
                <a:lnTo>
                  <a:pt x="6537620" y="3920832"/>
                </a:lnTo>
                <a:lnTo>
                  <a:pt x="6547360" y="3919499"/>
                </a:lnTo>
                <a:lnTo>
                  <a:pt x="6549366" y="3919721"/>
                </a:lnTo>
                <a:lnTo>
                  <a:pt x="6552516" y="3918943"/>
                </a:lnTo>
                <a:lnTo>
                  <a:pt x="6551657" y="3914501"/>
                </a:lnTo>
                <a:cubicBezTo>
                  <a:pt x="6552803" y="3912944"/>
                  <a:pt x="6554522" y="3911946"/>
                  <a:pt x="6556527" y="3911611"/>
                </a:cubicBezTo>
                <a:close/>
                <a:moveTo>
                  <a:pt x="1966224" y="3911390"/>
                </a:moveTo>
                <a:cubicBezTo>
                  <a:pt x="1973098" y="3916277"/>
                  <a:pt x="1973099" y="3920943"/>
                  <a:pt x="1970233" y="3926719"/>
                </a:cubicBezTo>
                <a:cubicBezTo>
                  <a:pt x="1967083" y="3926720"/>
                  <a:pt x="1961927" y="3923053"/>
                  <a:pt x="1958488" y="3920609"/>
                </a:cubicBezTo>
                <a:cubicBezTo>
                  <a:pt x="1958488" y="3917055"/>
                  <a:pt x="1961354" y="3913500"/>
                  <a:pt x="1966224" y="3911390"/>
                </a:cubicBezTo>
                <a:close/>
                <a:moveTo>
                  <a:pt x="6466291" y="3911389"/>
                </a:moveTo>
                <a:lnTo>
                  <a:pt x="6468010" y="3911834"/>
                </a:lnTo>
                <a:lnTo>
                  <a:pt x="6468296" y="3911723"/>
                </a:lnTo>
                <a:cubicBezTo>
                  <a:pt x="6468869" y="3912279"/>
                  <a:pt x="6469156" y="3912390"/>
                  <a:pt x="6469728" y="3912278"/>
                </a:cubicBezTo>
                <a:lnTo>
                  <a:pt x="6469728" y="3911390"/>
                </a:lnTo>
                <a:close/>
                <a:moveTo>
                  <a:pt x="5855549" y="3909168"/>
                </a:moveTo>
                <a:lnTo>
                  <a:pt x="5855262" y="3910057"/>
                </a:lnTo>
                <a:cubicBezTo>
                  <a:pt x="5853830" y="3911723"/>
                  <a:pt x="5851825" y="3912945"/>
                  <a:pt x="5849533" y="3913722"/>
                </a:cubicBezTo>
                <a:lnTo>
                  <a:pt x="5848960" y="3913722"/>
                </a:lnTo>
                <a:lnTo>
                  <a:pt x="5836642" y="3926719"/>
                </a:lnTo>
                <a:lnTo>
                  <a:pt x="5829480" y="3938161"/>
                </a:lnTo>
                <a:lnTo>
                  <a:pt x="5835496" y="3939493"/>
                </a:lnTo>
                <a:cubicBezTo>
                  <a:pt x="5838361" y="3940604"/>
                  <a:pt x="5841226" y="3942160"/>
                  <a:pt x="5843518" y="3944048"/>
                </a:cubicBezTo>
                <a:lnTo>
                  <a:pt x="5848100" y="3948936"/>
                </a:lnTo>
                <a:lnTo>
                  <a:pt x="5852970" y="3939605"/>
                </a:lnTo>
                <a:cubicBezTo>
                  <a:pt x="5855550" y="3935162"/>
                  <a:pt x="5858414" y="3930829"/>
                  <a:pt x="5859846" y="3927163"/>
                </a:cubicBezTo>
                <a:cubicBezTo>
                  <a:pt x="5864143" y="3921498"/>
                  <a:pt x="5866721" y="3916832"/>
                  <a:pt x="5861851" y="3912500"/>
                </a:cubicBezTo>
                <a:close/>
                <a:moveTo>
                  <a:pt x="5960968" y="3904281"/>
                </a:moveTo>
                <a:cubicBezTo>
                  <a:pt x="5962973" y="3904058"/>
                  <a:pt x="5964978" y="3904280"/>
                  <a:pt x="5967270" y="3904946"/>
                </a:cubicBezTo>
                <a:cubicBezTo>
                  <a:pt x="5968416" y="3908390"/>
                  <a:pt x="5963260" y="3915278"/>
                  <a:pt x="5958390" y="3916166"/>
                </a:cubicBezTo>
                <a:lnTo>
                  <a:pt x="5955525" y="3914944"/>
                </a:lnTo>
                <a:lnTo>
                  <a:pt x="5950655" y="3922276"/>
                </a:lnTo>
                <a:cubicBezTo>
                  <a:pt x="5947504" y="3926053"/>
                  <a:pt x="5943494" y="3928608"/>
                  <a:pt x="5937764" y="3928608"/>
                </a:cubicBezTo>
                <a:lnTo>
                  <a:pt x="5938050" y="3923498"/>
                </a:lnTo>
                <a:lnTo>
                  <a:pt x="5932894" y="3922276"/>
                </a:lnTo>
                <a:cubicBezTo>
                  <a:pt x="5932608" y="3917611"/>
                  <a:pt x="5925446" y="3914056"/>
                  <a:pt x="5933754" y="3909724"/>
                </a:cubicBezTo>
                <a:cubicBezTo>
                  <a:pt x="5936332" y="3909724"/>
                  <a:pt x="5938624" y="3910390"/>
                  <a:pt x="5940628" y="3911390"/>
                </a:cubicBezTo>
                <a:lnTo>
                  <a:pt x="5943494" y="3913611"/>
                </a:lnTo>
                <a:lnTo>
                  <a:pt x="5948650" y="3908724"/>
                </a:lnTo>
                <a:cubicBezTo>
                  <a:pt x="5950655" y="3909280"/>
                  <a:pt x="5952374" y="3908946"/>
                  <a:pt x="5954092" y="3908723"/>
                </a:cubicBezTo>
                <a:lnTo>
                  <a:pt x="5954379" y="3908724"/>
                </a:lnTo>
                <a:lnTo>
                  <a:pt x="5954952" y="3907613"/>
                </a:lnTo>
                <a:cubicBezTo>
                  <a:pt x="5956098" y="3905835"/>
                  <a:pt x="5958390" y="3904614"/>
                  <a:pt x="5960968" y="3904281"/>
                </a:cubicBezTo>
                <a:close/>
                <a:moveTo>
                  <a:pt x="6468869" y="3902502"/>
                </a:moveTo>
                <a:cubicBezTo>
                  <a:pt x="6478609" y="3902614"/>
                  <a:pt x="6486916" y="3904613"/>
                  <a:pt x="6488635" y="3911389"/>
                </a:cubicBezTo>
                <a:cubicBezTo>
                  <a:pt x="6486057" y="3911278"/>
                  <a:pt x="6481760" y="3911390"/>
                  <a:pt x="6477176" y="3911501"/>
                </a:cubicBezTo>
                <a:lnTo>
                  <a:pt x="6471735" y="3911501"/>
                </a:lnTo>
                <a:lnTo>
                  <a:pt x="6476890" y="3912167"/>
                </a:lnTo>
                <a:cubicBezTo>
                  <a:pt x="6478322" y="3912612"/>
                  <a:pt x="6478609" y="3913389"/>
                  <a:pt x="6477750" y="3914944"/>
                </a:cubicBezTo>
                <a:cubicBezTo>
                  <a:pt x="6477463" y="3917611"/>
                  <a:pt x="6473739" y="3917611"/>
                  <a:pt x="6471734" y="3920832"/>
                </a:cubicBezTo>
                <a:cubicBezTo>
                  <a:pt x="6470588" y="3923720"/>
                  <a:pt x="6474312" y="3925719"/>
                  <a:pt x="6477463" y="3928496"/>
                </a:cubicBezTo>
                <a:lnTo>
                  <a:pt x="6478036" y="3929052"/>
                </a:lnTo>
                <a:lnTo>
                  <a:pt x="6478036" y="3929163"/>
                </a:lnTo>
                <a:cubicBezTo>
                  <a:pt x="6479468" y="3929941"/>
                  <a:pt x="6480041" y="3930940"/>
                  <a:pt x="6480614" y="3932162"/>
                </a:cubicBezTo>
                <a:lnTo>
                  <a:pt x="6480614" y="3932385"/>
                </a:lnTo>
                <a:lnTo>
                  <a:pt x="6481475" y="3933384"/>
                </a:lnTo>
                <a:cubicBezTo>
                  <a:pt x="6482333" y="3935384"/>
                  <a:pt x="6482333" y="3937605"/>
                  <a:pt x="6481187" y="3940604"/>
                </a:cubicBezTo>
                <a:cubicBezTo>
                  <a:pt x="6476890" y="3939493"/>
                  <a:pt x="6471734" y="3946381"/>
                  <a:pt x="6465145" y="3944714"/>
                </a:cubicBezTo>
                <a:lnTo>
                  <a:pt x="6460275" y="3943604"/>
                </a:lnTo>
                <a:lnTo>
                  <a:pt x="6461421" y="3946158"/>
                </a:lnTo>
                <a:cubicBezTo>
                  <a:pt x="6447957" y="3948603"/>
                  <a:pt x="6431342" y="3948269"/>
                  <a:pt x="6427618" y="3948047"/>
                </a:cubicBezTo>
                <a:cubicBezTo>
                  <a:pt x="6425900" y="3947935"/>
                  <a:pt x="6424754" y="3947602"/>
                  <a:pt x="6424180" y="3947047"/>
                </a:cubicBezTo>
                <a:cubicBezTo>
                  <a:pt x="6423608" y="3946381"/>
                  <a:pt x="6423608" y="3945492"/>
                  <a:pt x="6423894" y="3944159"/>
                </a:cubicBezTo>
                <a:cubicBezTo>
                  <a:pt x="6429050" y="3939050"/>
                  <a:pt x="6437072" y="3940604"/>
                  <a:pt x="6445666" y="3939383"/>
                </a:cubicBezTo>
                <a:cubicBezTo>
                  <a:pt x="6446238" y="3940494"/>
                  <a:pt x="6448244" y="3941160"/>
                  <a:pt x="6449962" y="3940716"/>
                </a:cubicBezTo>
                <a:lnTo>
                  <a:pt x="6452254" y="3941382"/>
                </a:lnTo>
                <a:lnTo>
                  <a:pt x="6447670" y="3938494"/>
                </a:lnTo>
                <a:cubicBezTo>
                  <a:pt x="6445379" y="3935939"/>
                  <a:pt x="6445952" y="3932607"/>
                  <a:pt x="6445952" y="3928052"/>
                </a:cubicBezTo>
                <a:cubicBezTo>
                  <a:pt x="6446525" y="3929163"/>
                  <a:pt x="6447670" y="3927608"/>
                  <a:pt x="6447670" y="3927608"/>
                </a:cubicBezTo>
                <a:cubicBezTo>
                  <a:pt x="6449390" y="3924387"/>
                  <a:pt x="6439363" y="3926497"/>
                  <a:pt x="6440797" y="3922276"/>
                </a:cubicBezTo>
                <a:cubicBezTo>
                  <a:pt x="6443660" y="3915500"/>
                  <a:pt x="6455978" y="3913612"/>
                  <a:pt x="6462567" y="3912834"/>
                </a:cubicBezTo>
                <a:lnTo>
                  <a:pt x="6466291" y="3912278"/>
                </a:lnTo>
                <a:lnTo>
                  <a:pt x="6465718" y="3911390"/>
                </a:lnTo>
                <a:lnTo>
                  <a:pt x="6462280" y="3911389"/>
                </a:lnTo>
                <a:cubicBezTo>
                  <a:pt x="6452254" y="3910946"/>
                  <a:pt x="6443374" y="3909168"/>
                  <a:pt x="6442800" y="3904169"/>
                </a:cubicBezTo>
                <a:cubicBezTo>
                  <a:pt x="6448816" y="3903947"/>
                  <a:pt x="6459416" y="3902392"/>
                  <a:pt x="6468869" y="3902502"/>
                </a:cubicBezTo>
                <a:close/>
                <a:moveTo>
                  <a:pt x="6532750" y="3901948"/>
                </a:moveTo>
                <a:cubicBezTo>
                  <a:pt x="6532178" y="3905836"/>
                  <a:pt x="6525016" y="3912500"/>
                  <a:pt x="6516136" y="3914389"/>
                </a:cubicBezTo>
                <a:lnTo>
                  <a:pt x="6510120" y="3914389"/>
                </a:lnTo>
                <a:lnTo>
                  <a:pt x="6514417" y="3915944"/>
                </a:lnTo>
                <a:cubicBezTo>
                  <a:pt x="6515849" y="3917388"/>
                  <a:pt x="6516708" y="3919387"/>
                  <a:pt x="6516708" y="3921276"/>
                </a:cubicBezTo>
                <a:cubicBezTo>
                  <a:pt x="6516136" y="3920165"/>
                  <a:pt x="6516136" y="3920277"/>
                  <a:pt x="6516136" y="3920277"/>
                </a:cubicBezTo>
                <a:cubicBezTo>
                  <a:pt x="6513844" y="3919721"/>
                  <a:pt x="6514417" y="3920721"/>
                  <a:pt x="6512984" y="3921276"/>
                </a:cubicBezTo>
                <a:cubicBezTo>
                  <a:pt x="6512984" y="3921276"/>
                  <a:pt x="6514417" y="3920721"/>
                  <a:pt x="6513558" y="3922276"/>
                </a:cubicBezTo>
                <a:cubicBezTo>
                  <a:pt x="6512984" y="3921276"/>
                  <a:pt x="6511266" y="3921832"/>
                  <a:pt x="6509834" y="3922276"/>
                </a:cubicBezTo>
                <a:cubicBezTo>
                  <a:pt x="6505250" y="3921276"/>
                  <a:pt x="6500380" y="3919054"/>
                  <a:pt x="6500666" y="3916388"/>
                </a:cubicBezTo>
                <a:cubicBezTo>
                  <a:pt x="6501526" y="3914833"/>
                  <a:pt x="6502958" y="3914056"/>
                  <a:pt x="6504390" y="3913722"/>
                </a:cubicBezTo>
                <a:lnTo>
                  <a:pt x="6506969" y="3913722"/>
                </a:lnTo>
                <a:lnTo>
                  <a:pt x="6511266" y="3907724"/>
                </a:lnTo>
                <a:cubicBezTo>
                  <a:pt x="6516708" y="3902837"/>
                  <a:pt x="6524731" y="3902725"/>
                  <a:pt x="6532750" y="3901948"/>
                </a:cubicBezTo>
                <a:close/>
                <a:moveTo>
                  <a:pt x="5993911" y="3901503"/>
                </a:moveTo>
                <a:cubicBezTo>
                  <a:pt x="5996776" y="3901948"/>
                  <a:pt x="5999354" y="3903281"/>
                  <a:pt x="6001072" y="3905614"/>
                </a:cubicBezTo>
                <a:cubicBezTo>
                  <a:pt x="6001646" y="3910279"/>
                  <a:pt x="5998494" y="3914500"/>
                  <a:pt x="5993911" y="3916499"/>
                </a:cubicBezTo>
                <a:cubicBezTo>
                  <a:pt x="5989329" y="3918499"/>
                  <a:pt x="5983026" y="3918166"/>
                  <a:pt x="5977582" y="3913833"/>
                </a:cubicBezTo>
                <a:cubicBezTo>
                  <a:pt x="5976437" y="3905947"/>
                  <a:pt x="5985890" y="3900059"/>
                  <a:pt x="5993911" y="3901503"/>
                </a:cubicBezTo>
                <a:close/>
                <a:moveTo>
                  <a:pt x="1878565" y="3900171"/>
                </a:moveTo>
                <a:cubicBezTo>
                  <a:pt x="1879425" y="3901725"/>
                  <a:pt x="1884294" y="3903503"/>
                  <a:pt x="1886586" y="3905724"/>
                </a:cubicBezTo>
                <a:cubicBezTo>
                  <a:pt x="1886013" y="3906724"/>
                  <a:pt x="1886872" y="3908390"/>
                  <a:pt x="1886300" y="3909279"/>
                </a:cubicBezTo>
                <a:cubicBezTo>
                  <a:pt x="1884580" y="3908723"/>
                  <a:pt x="1880857" y="3908502"/>
                  <a:pt x="1881430" y="3907502"/>
                </a:cubicBezTo>
                <a:cubicBezTo>
                  <a:pt x="1879997" y="3906836"/>
                  <a:pt x="1881143" y="3904836"/>
                  <a:pt x="1881143" y="3904836"/>
                </a:cubicBezTo>
                <a:cubicBezTo>
                  <a:pt x="1879710" y="3904280"/>
                  <a:pt x="1877992" y="3903726"/>
                  <a:pt x="1877132" y="3902059"/>
                </a:cubicBezTo>
                <a:cubicBezTo>
                  <a:pt x="1879425" y="3901725"/>
                  <a:pt x="1877706" y="3901171"/>
                  <a:pt x="1878565" y="3900171"/>
                </a:cubicBezTo>
                <a:close/>
                <a:moveTo>
                  <a:pt x="1897185" y="3899726"/>
                </a:moveTo>
                <a:cubicBezTo>
                  <a:pt x="1898044" y="3899948"/>
                  <a:pt x="1898618" y="3900503"/>
                  <a:pt x="1898903" y="3901281"/>
                </a:cubicBezTo>
                <a:cubicBezTo>
                  <a:pt x="1898903" y="3901281"/>
                  <a:pt x="1899763" y="3902947"/>
                  <a:pt x="1900623" y="3904613"/>
                </a:cubicBezTo>
                <a:cubicBezTo>
                  <a:pt x="1901483" y="3906280"/>
                  <a:pt x="1902915" y="3906835"/>
                  <a:pt x="1902915" y="3906835"/>
                </a:cubicBezTo>
                <a:cubicBezTo>
                  <a:pt x="1903773" y="3908390"/>
                  <a:pt x="1903200" y="3909502"/>
                  <a:pt x="1900909" y="3910057"/>
                </a:cubicBezTo>
                <a:cubicBezTo>
                  <a:pt x="1900909" y="3910057"/>
                  <a:pt x="1898330" y="3907724"/>
                  <a:pt x="1898330" y="3907724"/>
                </a:cubicBezTo>
                <a:cubicBezTo>
                  <a:pt x="1896898" y="3904502"/>
                  <a:pt x="1896039" y="3902836"/>
                  <a:pt x="1893747" y="3900614"/>
                </a:cubicBezTo>
                <a:cubicBezTo>
                  <a:pt x="1895179" y="3899837"/>
                  <a:pt x="1896325" y="3899615"/>
                  <a:pt x="1897185" y="3899726"/>
                </a:cubicBezTo>
                <a:close/>
                <a:moveTo>
                  <a:pt x="6999688" y="3897615"/>
                </a:moveTo>
                <a:cubicBezTo>
                  <a:pt x="7004271" y="3897727"/>
                  <a:pt x="7008854" y="3898393"/>
                  <a:pt x="7013438" y="3899059"/>
                </a:cubicBezTo>
                <a:cubicBezTo>
                  <a:pt x="7026902" y="3912723"/>
                  <a:pt x="7002266" y="3909946"/>
                  <a:pt x="6990807" y="3911390"/>
                </a:cubicBezTo>
                <a:cubicBezTo>
                  <a:pt x="6986510" y="3906836"/>
                  <a:pt x="6985650" y="3905169"/>
                  <a:pt x="6985937" y="3899947"/>
                </a:cubicBezTo>
                <a:cubicBezTo>
                  <a:pt x="6990520" y="3898059"/>
                  <a:pt x="6995104" y="3897616"/>
                  <a:pt x="6999688" y="3897615"/>
                </a:cubicBezTo>
                <a:close/>
                <a:moveTo>
                  <a:pt x="2009766" y="3897171"/>
                </a:moveTo>
                <a:lnTo>
                  <a:pt x="2016927" y="3916055"/>
                </a:lnTo>
                <a:lnTo>
                  <a:pt x="2017500" y="3915055"/>
                </a:lnTo>
                <a:cubicBezTo>
                  <a:pt x="2020078" y="3913390"/>
                  <a:pt x="2022943" y="3912390"/>
                  <a:pt x="2025808" y="3912056"/>
                </a:cubicBezTo>
                <a:cubicBezTo>
                  <a:pt x="2032110" y="3911279"/>
                  <a:pt x="2038412" y="3912945"/>
                  <a:pt x="2040417" y="3916610"/>
                </a:cubicBezTo>
                <a:cubicBezTo>
                  <a:pt x="2041849" y="3919165"/>
                  <a:pt x="2041276" y="3922497"/>
                  <a:pt x="2037553" y="3926608"/>
                </a:cubicBezTo>
                <a:cubicBezTo>
                  <a:pt x="2026668" y="3923831"/>
                  <a:pt x="2019506" y="3927497"/>
                  <a:pt x="2012916" y="3922164"/>
                </a:cubicBezTo>
                <a:lnTo>
                  <a:pt x="2012916" y="3921832"/>
                </a:lnTo>
                <a:lnTo>
                  <a:pt x="2005469" y="3922720"/>
                </a:lnTo>
                <a:cubicBezTo>
                  <a:pt x="2001172" y="3923831"/>
                  <a:pt x="1997734" y="3924942"/>
                  <a:pt x="1994583" y="3925497"/>
                </a:cubicBezTo>
                <a:cubicBezTo>
                  <a:pt x="1983411" y="3921276"/>
                  <a:pt x="1977968" y="3915833"/>
                  <a:pt x="1977109" y="3905280"/>
                </a:cubicBezTo>
                <a:cubicBezTo>
                  <a:pt x="1993723" y="3897948"/>
                  <a:pt x="1987707" y="3899059"/>
                  <a:pt x="2009766" y="3897171"/>
                </a:cubicBezTo>
                <a:close/>
                <a:moveTo>
                  <a:pt x="1934998" y="3897171"/>
                </a:moveTo>
                <a:cubicBezTo>
                  <a:pt x="1937290" y="3896727"/>
                  <a:pt x="1938149" y="3898393"/>
                  <a:pt x="1939581" y="3898947"/>
                </a:cubicBezTo>
                <a:cubicBezTo>
                  <a:pt x="1941873" y="3901058"/>
                  <a:pt x="1941588" y="3909724"/>
                  <a:pt x="1939296" y="3910168"/>
                </a:cubicBezTo>
                <a:cubicBezTo>
                  <a:pt x="1937003" y="3907391"/>
                  <a:pt x="1932994" y="3902503"/>
                  <a:pt x="1933280" y="3899504"/>
                </a:cubicBezTo>
                <a:cubicBezTo>
                  <a:pt x="1933279" y="3898504"/>
                  <a:pt x="1933852" y="3897615"/>
                  <a:pt x="1934998" y="3897171"/>
                </a:cubicBezTo>
                <a:close/>
                <a:moveTo>
                  <a:pt x="1800361" y="3896060"/>
                </a:moveTo>
                <a:lnTo>
                  <a:pt x="1802652" y="3900837"/>
                </a:lnTo>
                <a:cubicBezTo>
                  <a:pt x="1800360" y="3901392"/>
                  <a:pt x="1796637" y="3901281"/>
                  <a:pt x="1796063" y="3899615"/>
                </a:cubicBezTo>
                <a:cubicBezTo>
                  <a:pt x="1794918" y="3898615"/>
                  <a:pt x="1795204" y="3898059"/>
                  <a:pt x="1796063" y="3897616"/>
                </a:cubicBezTo>
                <a:cubicBezTo>
                  <a:pt x="1797209" y="3897171"/>
                  <a:pt x="1798928" y="3896838"/>
                  <a:pt x="1800361" y="3896060"/>
                </a:cubicBezTo>
                <a:close/>
                <a:moveTo>
                  <a:pt x="6713796" y="3895616"/>
                </a:moveTo>
                <a:cubicBezTo>
                  <a:pt x="6718093" y="3898948"/>
                  <a:pt x="6723250" y="3906947"/>
                  <a:pt x="6721817" y="3908168"/>
                </a:cubicBezTo>
                <a:cubicBezTo>
                  <a:pt x="6719526" y="3905947"/>
                  <a:pt x="6712650" y="3898059"/>
                  <a:pt x="6713796" y="3895616"/>
                </a:cubicBezTo>
                <a:close/>
                <a:moveTo>
                  <a:pt x="5946645" y="3894616"/>
                </a:moveTo>
                <a:cubicBezTo>
                  <a:pt x="5946931" y="3894616"/>
                  <a:pt x="5946644" y="3894838"/>
                  <a:pt x="5946359" y="3895394"/>
                </a:cubicBezTo>
                <a:cubicBezTo>
                  <a:pt x="5950082" y="3895504"/>
                  <a:pt x="5951801" y="3896172"/>
                  <a:pt x="5953233" y="3896727"/>
                </a:cubicBezTo>
                <a:cubicBezTo>
                  <a:pt x="5954092" y="3898393"/>
                  <a:pt x="5952660" y="3900504"/>
                  <a:pt x="5949796" y="3901948"/>
                </a:cubicBezTo>
                <a:cubicBezTo>
                  <a:pt x="5948936" y="3900393"/>
                  <a:pt x="5944926" y="3900171"/>
                  <a:pt x="5944066" y="3898504"/>
                </a:cubicBezTo>
                <a:cubicBezTo>
                  <a:pt x="5944066" y="3898504"/>
                  <a:pt x="5944639" y="3894727"/>
                  <a:pt x="5944639" y="3894727"/>
                </a:cubicBezTo>
                <a:cubicBezTo>
                  <a:pt x="5945785" y="3894506"/>
                  <a:pt x="5946358" y="3894505"/>
                  <a:pt x="5946645" y="3894616"/>
                </a:cubicBezTo>
                <a:close/>
                <a:moveTo>
                  <a:pt x="7398160" y="3892505"/>
                </a:moveTo>
                <a:cubicBezTo>
                  <a:pt x="7407040" y="3902503"/>
                  <a:pt x="7390138" y="3912056"/>
                  <a:pt x="7380112" y="3908502"/>
                </a:cubicBezTo>
                <a:cubicBezTo>
                  <a:pt x="7376674" y="3907390"/>
                  <a:pt x="7374096" y="3904724"/>
                  <a:pt x="7373524" y="3900170"/>
                </a:cubicBezTo>
                <a:cubicBezTo>
                  <a:pt x="7384982" y="3897393"/>
                  <a:pt x="7387845" y="3891617"/>
                  <a:pt x="7398160" y="3892505"/>
                </a:cubicBezTo>
                <a:close/>
                <a:moveTo>
                  <a:pt x="6175530" y="3892505"/>
                </a:moveTo>
                <a:cubicBezTo>
                  <a:pt x="6177248" y="3892394"/>
                  <a:pt x="6179254" y="3892505"/>
                  <a:pt x="6180972" y="3892839"/>
                </a:cubicBezTo>
                <a:cubicBezTo>
                  <a:pt x="6184696" y="3893506"/>
                  <a:pt x="6188707" y="3895061"/>
                  <a:pt x="6191858" y="3896949"/>
                </a:cubicBezTo>
                <a:lnTo>
                  <a:pt x="6197014" y="3901171"/>
                </a:lnTo>
                <a:lnTo>
                  <a:pt x="6200738" y="3901503"/>
                </a:lnTo>
                <a:lnTo>
                  <a:pt x="6199020" y="3905502"/>
                </a:lnTo>
                <a:lnTo>
                  <a:pt x="6198733" y="3909279"/>
                </a:lnTo>
                <a:cubicBezTo>
                  <a:pt x="6197874" y="3910168"/>
                  <a:pt x="6196155" y="3911057"/>
                  <a:pt x="6193577" y="3911612"/>
                </a:cubicBezTo>
                <a:lnTo>
                  <a:pt x="6191858" y="3911168"/>
                </a:lnTo>
                <a:lnTo>
                  <a:pt x="6184696" y="3913278"/>
                </a:lnTo>
                <a:lnTo>
                  <a:pt x="6183265" y="3915278"/>
                </a:lnTo>
                <a:lnTo>
                  <a:pt x="6186129" y="3918943"/>
                </a:lnTo>
                <a:lnTo>
                  <a:pt x="6188708" y="3920832"/>
                </a:lnTo>
                <a:lnTo>
                  <a:pt x="6193004" y="3920165"/>
                </a:lnTo>
                <a:cubicBezTo>
                  <a:pt x="6198733" y="3921054"/>
                  <a:pt x="6202744" y="3918721"/>
                  <a:pt x="6208760" y="3919609"/>
                </a:cubicBezTo>
                <a:cubicBezTo>
                  <a:pt x="6208760" y="3919609"/>
                  <a:pt x="6208474" y="3919609"/>
                  <a:pt x="6207327" y="3921165"/>
                </a:cubicBezTo>
                <a:cubicBezTo>
                  <a:pt x="6203030" y="3921165"/>
                  <a:pt x="6199020" y="3922276"/>
                  <a:pt x="6195010" y="3923165"/>
                </a:cubicBezTo>
                <a:lnTo>
                  <a:pt x="6192718" y="3923498"/>
                </a:lnTo>
                <a:lnTo>
                  <a:pt x="6195582" y="3925497"/>
                </a:lnTo>
                <a:cubicBezTo>
                  <a:pt x="6202457" y="3929607"/>
                  <a:pt x="6209332" y="3933495"/>
                  <a:pt x="6212484" y="3939938"/>
                </a:cubicBezTo>
                <a:lnTo>
                  <a:pt x="6213916" y="3945381"/>
                </a:lnTo>
                <a:lnTo>
                  <a:pt x="6220218" y="3941827"/>
                </a:lnTo>
                <a:cubicBezTo>
                  <a:pt x="6222510" y="3940494"/>
                  <a:pt x="6224515" y="3939161"/>
                  <a:pt x="6226520" y="3938049"/>
                </a:cubicBezTo>
                <a:lnTo>
                  <a:pt x="6238265" y="3931607"/>
                </a:lnTo>
                <a:lnTo>
                  <a:pt x="6240270" y="3928386"/>
                </a:lnTo>
                <a:lnTo>
                  <a:pt x="6241130" y="3927941"/>
                </a:lnTo>
                <a:lnTo>
                  <a:pt x="6241130" y="3926719"/>
                </a:lnTo>
                <a:cubicBezTo>
                  <a:pt x="6241130" y="3926719"/>
                  <a:pt x="6241130" y="3926608"/>
                  <a:pt x="6242562" y="3926274"/>
                </a:cubicBezTo>
                <a:lnTo>
                  <a:pt x="6242277" y="3927386"/>
                </a:lnTo>
                <a:lnTo>
                  <a:pt x="6244281" y="3926386"/>
                </a:lnTo>
                <a:cubicBezTo>
                  <a:pt x="6248864" y="3925497"/>
                  <a:pt x="6253734" y="3927608"/>
                  <a:pt x="6255740" y="3931162"/>
                </a:cubicBezTo>
                <a:cubicBezTo>
                  <a:pt x="6256886" y="3933273"/>
                  <a:pt x="6257172" y="3935828"/>
                  <a:pt x="6255453" y="3938605"/>
                </a:cubicBezTo>
                <a:cubicBezTo>
                  <a:pt x="6251729" y="3939827"/>
                  <a:pt x="6243994" y="3938827"/>
                  <a:pt x="6239411" y="3936939"/>
                </a:cubicBezTo>
                <a:lnTo>
                  <a:pt x="6238838" y="3936606"/>
                </a:lnTo>
                <a:lnTo>
                  <a:pt x="6238838" y="3936828"/>
                </a:lnTo>
                <a:lnTo>
                  <a:pt x="6235400" y="3939383"/>
                </a:lnTo>
                <a:lnTo>
                  <a:pt x="6247718" y="3940938"/>
                </a:lnTo>
                <a:cubicBezTo>
                  <a:pt x="6255166" y="3942826"/>
                  <a:pt x="6262901" y="3945715"/>
                  <a:pt x="6271782" y="3950047"/>
                </a:cubicBezTo>
                <a:cubicBezTo>
                  <a:pt x="6262901" y="3964487"/>
                  <a:pt x="6254020" y="3970263"/>
                  <a:pt x="6240557" y="3973152"/>
                </a:cubicBezTo>
                <a:cubicBezTo>
                  <a:pt x="6227094" y="3966709"/>
                  <a:pt x="6218786" y="3958488"/>
                  <a:pt x="6221078" y="3948713"/>
                </a:cubicBezTo>
                <a:lnTo>
                  <a:pt x="6222511" y="3946270"/>
                </a:lnTo>
                <a:cubicBezTo>
                  <a:pt x="6222511" y="3946270"/>
                  <a:pt x="6221650" y="3947158"/>
                  <a:pt x="6219072" y="3947603"/>
                </a:cubicBezTo>
                <a:cubicBezTo>
                  <a:pt x="6216780" y="3948047"/>
                  <a:pt x="6214488" y="3948492"/>
                  <a:pt x="6212484" y="3946269"/>
                </a:cubicBezTo>
                <a:lnTo>
                  <a:pt x="6213056" y="3946047"/>
                </a:lnTo>
                <a:lnTo>
                  <a:pt x="6206754" y="3945715"/>
                </a:lnTo>
                <a:cubicBezTo>
                  <a:pt x="6203030" y="3944937"/>
                  <a:pt x="6198733" y="3943382"/>
                  <a:pt x="6194722" y="3941382"/>
                </a:cubicBezTo>
                <a:lnTo>
                  <a:pt x="6185556" y="3934828"/>
                </a:lnTo>
                <a:lnTo>
                  <a:pt x="6184124" y="3934495"/>
                </a:lnTo>
                <a:lnTo>
                  <a:pt x="6176963" y="3930274"/>
                </a:lnTo>
                <a:lnTo>
                  <a:pt x="6176962" y="3930384"/>
                </a:lnTo>
                <a:cubicBezTo>
                  <a:pt x="6175243" y="3934940"/>
                  <a:pt x="6172952" y="3939938"/>
                  <a:pt x="6172092" y="3942048"/>
                </a:cubicBezTo>
                <a:cubicBezTo>
                  <a:pt x="6170660" y="3942493"/>
                  <a:pt x="6170373" y="3942604"/>
                  <a:pt x="6170373" y="3942604"/>
                </a:cubicBezTo>
                <a:cubicBezTo>
                  <a:pt x="6168654" y="3942493"/>
                  <a:pt x="6167795" y="3941715"/>
                  <a:pt x="6167795" y="3940493"/>
                </a:cubicBezTo>
                <a:cubicBezTo>
                  <a:pt x="6167509" y="3939272"/>
                  <a:pt x="6168368" y="3937494"/>
                  <a:pt x="6169228" y="3935383"/>
                </a:cubicBezTo>
                <a:cubicBezTo>
                  <a:pt x="6170086" y="3933273"/>
                  <a:pt x="6171806" y="3930940"/>
                  <a:pt x="6173238" y="3928940"/>
                </a:cubicBezTo>
                <a:lnTo>
                  <a:pt x="6174097" y="3928051"/>
                </a:lnTo>
                <a:lnTo>
                  <a:pt x="6161492" y="3918832"/>
                </a:lnTo>
                <a:lnTo>
                  <a:pt x="6156910" y="3918944"/>
                </a:lnTo>
                <a:lnTo>
                  <a:pt x="6156910" y="3919277"/>
                </a:lnTo>
                <a:cubicBezTo>
                  <a:pt x="6154618" y="3921943"/>
                  <a:pt x="6151466" y="3922942"/>
                  <a:pt x="6147742" y="3923498"/>
                </a:cubicBezTo>
                <a:lnTo>
                  <a:pt x="6142300" y="3924275"/>
                </a:lnTo>
                <a:lnTo>
                  <a:pt x="6142586" y="3924275"/>
                </a:lnTo>
                <a:cubicBezTo>
                  <a:pt x="6143159" y="3924831"/>
                  <a:pt x="6143446" y="3925497"/>
                  <a:pt x="6143159" y="3926608"/>
                </a:cubicBezTo>
                <a:cubicBezTo>
                  <a:pt x="6141154" y="3929940"/>
                  <a:pt x="6137144" y="3931829"/>
                  <a:pt x="6132845" y="3933051"/>
                </a:cubicBezTo>
                <a:lnTo>
                  <a:pt x="6125398" y="3934162"/>
                </a:lnTo>
                <a:lnTo>
                  <a:pt x="6129695" y="3943826"/>
                </a:lnTo>
                <a:cubicBezTo>
                  <a:pt x="6131988" y="3951380"/>
                  <a:pt x="6132560" y="3959488"/>
                  <a:pt x="6136857" y="3968486"/>
                </a:cubicBezTo>
                <a:cubicBezTo>
                  <a:pt x="6127404" y="3971819"/>
                  <a:pt x="6123680" y="3975596"/>
                  <a:pt x="6121960" y="3979595"/>
                </a:cubicBezTo>
                <a:lnTo>
                  <a:pt x="6119956" y="3986148"/>
                </a:lnTo>
                <a:lnTo>
                  <a:pt x="6125398" y="3977929"/>
                </a:lnTo>
                <a:cubicBezTo>
                  <a:pt x="6147455" y="3975041"/>
                  <a:pt x="6137430" y="3989815"/>
                  <a:pt x="6136284" y="3998035"/>
                </a:cubicBezTo>
                <a:cubicBezTo>
                  <a:pt x="6129122" y="3999035"/>
                  <a:pt x="6126544" y="3998812"/>
                  <a:pt x="6119669" y="3996479"/>
                </a:cubicBezTo>
                <a:lnTo>
                  <a:pt x="6119956" y="3986482"/>
                </a:lnTo>
                <a:lnTo>
                  <a:pt x="6118523" y="3991703"/>
                </a:lnTo>
                <a:cubicBezTo>
                  <a:pt x="6102768" y="3991702"/>
                  <a:pt x="6087585" y="4000034"/>
                  <a:pt x="6071256" y="4003477"/>
                </a:cubicBezTo>
                <a:cubicBezTo>
                  <a:pt x="6061803" y="3999590"/>
                  <a:pt x="6052350" y="3996924"/>
                  <a:pt x="6043183" y="3994257"/>
                </a:cubicBezTo>
                <a:lnTo>
                  <a:pt x="6032011" y="3990592"/>
                </a:lnTo>
                <a:lnTo>
                  <a:pt x="6027141" y="3995591"/>
                </a:lnTo>
                <a:cubicBezTo>
                  <a:pt x="6023990" y="3994369"/>
                  <a:pt x="6022844" y="3993036"/>
                  <a:pt x="6022844" y="3991592"/>
                </a:cubicBezTo>
                <a:lnTo>
                  <a:pt x="6024850" y="3988370"/>
                </a:lnTo>
                <a:lnTo>
                  <a:pt x="6014823" y="3985149"/>
                </a:lnTo>
                <a:lnTo>
                  <a:pt x="6009666" y="3973374"/>
                </a:lnTo>
                <a:lnTo>
                  <a:pt x="6000500" y="3975485"/>
                </a:lnTo>
                <a:cubicBezTo>
                  <a:pt x="5999354" y="3972375"/>
                  <a:pt x="5999354" y="3970041"/>
                  <a:pt x="6000214" y="3968154"/>
                </a:cubicBezTo>
                <a:lnTo>
                  <a:pt x="6003938" y="3965376"/>
                </a:lnTo>
                <a:lnTo>
                  <a:pt x="6000500" y="3960599"/>
                </a:lnTo>
                <a:lnTo>
                  <a:pt x="5995630" y="3951602"/>
                </a:lnTo>
                <a:lnTo>
                  <a:pt x="5991905" y="3952380"/>
                </a:lnTo>
                <a:lnTo>
                  <a:pt x="5990474" y="3951935"/>
                </a:lnTo>
                <a:lnTo>
                  <a:pt x="5989614" y="3952157"/>
                </a:lnTo>
                <a:cubicBezTo>
                  <a:pt x="5987896" y="3952268"/>
                  <a:pt x="5985604" y="3952046"/>
                  <a:pt x="5983885" y="3952045"/>
                </a:cubicBezTo>
                <a:cubicBezTo>
                  <a:pt x="5982739" y="3954490"/>
                  <a:pt x="5976723" y="3949936"/>
                  <a:pt x="5975578" y="3952380"/>
                </a:cubicBezTo>
                <a:cubicBezTo>
                  <a:pt x="5969848" y="3949047"/>
                  <a:pt x="5964692" y="3951824"/>
                  <a:pt x="5956670" y="3951046"/>
                </a:cubicBezTo>
                <a:lnTo>
                  <a:pt x="5953520" y="3950268"/>
                </a:lnTo>
                <a:lnTo>
                  <a:pt x="5944639" y="3956045"/>
                </a:lnTo>
                <a:cubicBezTo>
                  <a:pt x="5937191" y="3960266"/>
                  <a:pt x="5929456" y="3962932"/>
                  <a:pt x="5924300" y="3959156"/>
                </a:cubicBezTo>
                <a:cubicBezTo>
                  <a:pt x="5931176" y="3954046"/>
                  <a:pt x="5943781" y="3938938"/>
                  <a:pt x="5957244" y="3941605"/>
                </a:cubicBezTo>
                <a:cubicBezTo>
                  <a:pt x="5958962" y="3941937"/>
                  <a:pt x="5960968" y="3942715"/>
                  <a:pt x="5962973" y="3943826"/>
                </a:cubicBezTo>
                <a:lnTo>
                  <a:pt x="5958103" y="3947047"/>
                </a:lnTo>
                <a:lnTo>
                  <a:pt x="5959249" y="3946936"/>
                </a:lnTo>
                <a:cubicBezTo>
                  <a:pt x="5964692" y="3946603"/>
                  <a:pt x="5969562" y="3946826"/>
                  <a:pt x="5974145" y="3947047"/>
                </a:cubicBezTo>
                <a:lnTo>
                  <a:pt x="5985317" y="3946159"/>
                </a:lnTo>
                <a:lnTo>
                  <a:pt x="5987036" y="3943937"/>
                </a:lnTo>
                <a:cubicBezTo>
                  <a:pt x="5988182" y="3942826"/>
                  <a:pt x="5989328" y="3942049"/>
                  <a:pt x="5990474" y="3941715"/>
                </a:cubicBezTo>
                <a:lnTo>
                  <a:pt x="5994484" y="3942604"/>
                </a:lnTo>
                <a:lnTo>
                  <a:pt x="5995058" y="3935717"/>
                </a:lnTo>
                <a:lnTo>
                  <a:pt x="5996203" y="3935272"/>
                </a:lnTo>
                <a:lnTo>
                  <a:pt x="6002505" y="3928719"/>
                </a:lnTo>
                <a:lnTo>
                  <a:pt x="6009380" y="3926942"/>
                </a:lnTo>
                <a:lnTo>
                  <a:pt x="6011386" y="3924831"/>
                </a:lnTo>
                <a:cubicBezTo>
                  <a:pt x="6014250" y="3921053"/>
                  <a:pt x="6015969" y="3917054"/>
                  <a:pt x="6020267" y="3913500"/>
                </a:cubicBezTo>
                <a:lnTo>
                  <a:pt x="6030578" y="3911723"/>
                </a:lnTo>
                <a:lnTo>
                  <a:pt x="6033730" y="3910279"/>
                </a:lnTo>
                <a:lnTo>
                  <a:pt x="6035448" y="3910946"/>
                </a:lnTo>
                <a:lnTo>
                  <a:pt x="6042324" y="3909724"/>
                </a:lnTo>
                <a:cubicBezTo>
                  <a:pt x="6050344" y="3908946"/>
                  <a:pt x="6058653" y="3908613"/>
                  <a:pt x="6066960" y="3908946"/>
                </a:cubicBezTo>
                <a:cubicBezTo>
                  <a:pt x="6075267" y="3909391"/>
                  <a:pt x="6083574" y="3910501"/>
                  <a:pt x="6091309" y="3912612"/>
                </a:cubicBezTo>
                <a:lnTo>
                  <a:pt x="6109642" y="3920499"/>
                </a:lnTo>
                <a:lnTo>
                  <a:pt x="6107351" y="3918388"/>
                </a:lnTo>
                <a:cubicBezTo>
                  <a:pt x="6104486" y="3915499"/>
                  <a:pt x="6101908" y="3911834"/>
                  <a:pt x="6104773" y="3906058"/>
                </a:cubicBezTo>
                <a:cubicBezTo>
                  <a:pt x="6109070" y="3907390"/>
                  <a:pt x="6115086" y="3900725"/>
                  <a:pt x="6121388" y="3902725"/>
                </a:cubicBezTo>
                <a:lnTo>
                  <a:pt x="6123680" y="3903503"/>
                </a:lnTo>
                <a:lnTo>
                  <a:pt x="6126830" y="3904058"/>
                </a:lnTo>
                <a:lnTo>
                  <a:pt x="6127117" y="3904724"/>
                </a:lnTo>
                <a:lnTo>
                  <a:pt x="6135998" y="3907836"/>
                </a:lnTo>
                <a:cubicBezTo>
                  <a:pt x="6138576" y="3909724"/>
                  <a:pt x="6139148" y="3911834"/>
                  <a:pt x="6139148" y="3914389"/>
                </a:cubicBezTo>
                <a:lnTo>
                  <a:pt x="6138862" y="3916166"/>
                </a:lnTo>
                <a:lnTo>
                  <a:pt x="6139722" y="3916167"/>
                </a:lnTo>
                <a:lnTo>
                  <a:pt x="6143159" y="3915945"/>
                </a:lnTo>
                <a:lnTo>
                  <a:pt x="6140868" y="3914722"/>
                </a:lnTo>
                <a:lnTo>
                  <a:pt x="6145737" y="3912500"/>
                </a:lnTo>
                <a:lnTo>
                  <a:pt x="6149748" y="3909723"/>
                </a:lnTo>
                <a:lnTo>
                  <a:pt x="6152326" y="3909279"/>
                </a:lnTo>
                <a:lnTo>
                  <a:pt x="6162925" y="3904392"/>
                </a:lnTo>
                <a:lnTo>
                  <a:pt x="6170373" y="3903170"/>
                </a:lnTo>
                <a:lnTo>
                  <a:pt x="6170373" y="3902947"/>
                </a:lnTo>
                <a:cubicBezTo>
                  <a:pt x="6168941" y="3901170"/>
                  <a:pt x="6168082" y="3899171"/>
                  <a:pt x="6167795" y="3896727"/>
                </a:cubicBezTo>
                <a:cubicBezTo>
                  <a:pt x="6170086" y="3896949"/>
                  <a:pt x="6170373" y="3895283"/>
                  <a:pt x="6170373" y="3893616"/>
                </a:cubicBezTo>
                <a:cubicBezTo>
                  <a:pt x="6172092" y="3892950"/>
                  <a:pt x="6173524" y="3892617"/>
                  <a:pt x="6175530" y="3892505"/>
                </a:cubicBezTo>
                <a:close/>
                <a:moveTo>
                  <a:pt x="6671972" y="3890616"/>
                </a:moveTo>
                <a:cubicBezTo>
                  <a:pt x="6673691" y="3890506"/>
                  <a:pt x="6675124" y="3890617"/>
                  <a:pt x="6676556" y="3890950"/>
                </a:cubicBezTo>
                <a:cubicBezTo>
                  <a:pt x="6678562" y="3891284"/>
                  <a:pt x="6679993" y="3892173"/>
                  <a:pt x="6681426" y="3893172"/>
                </a:cubicBezTo>
                <a:cubicBezTo>
                  <a:pt x="6683144" y="3894616"/>
                  <a:pt x="6684576" y="3896504"/>
                  <a:pt x="6684290" y="3898615"/>
                </a:cubicBezTo>
                <a:lnTo>
                  <a:pt x="6683431" y="3900281"/>
                </a:lnTo>
                <a:lnTo>
                  <a:pt x="6687729" y="3900059"/>
                </a:lnTo>
                <a:cubicBezTo>
                  <a:pt x="6689446" y="3901059"/>
                  <a:pt x="6689446" y="3901171"/>
                  <a:pt x="6688014" y="3902281"/>
                </a:cubicBezTo>
                <a:cubicBezTo>
                  <a:pt x="6686582" y="3902281"/>
                  <a:pt x="6684576" y="3902392"/>
                  <a:pt x="6684576" y="3901281"/>
                </a:cubicBezTo>
                <a:lnTo>
                  <a:pt x="6683431" y="3900726"/>
                </a:lnTo>
                <a:lnTo>
                  <a:pt x="6682285" y="3902947"/>
                </a:lnTo>
                <a:cubicBezTo>
                  <a:pt x="6680852" y="3904503"/>
                  <a:pt x="6678848" y="3905946"/>
                  <a:pt x="6675982" y="3907391"/>
                </a:cubicBezTo>
                <a:cubicBezTo>
                  <a:pt x="6667962" y="3906279"/>
                  <a:pt x="6665956" y="3903169"/>
                  <a:pt x="6661086" y="3900948"/>
                </a:cubicBezTo>
                <a:cubicBezTo>
                  <a:pt x="6663092" y="3894283"/>
                  <a:pt x="6667676" y="3891173"/>
                  <a:pt x="6671972" y="3890616"/>
                </a:cubicBezTo>
                <a:close/>
                <a:moveTo>
                  <a:pt x="7226854" y="3890062"/>
                </a:moveTo>
                <a:cubicBezTo>
                  <a:pt x="7232010" y="3890506"/>
                  <a:pt x="7236307" y="3892505"/>
                  <a:pt x="7239744" y="3894616"/>
                </a:cubicBezTo>
                <a:cubicBezTo>
                  <a:pt x="7238312" y="3895283"/>
                  <a:pt x="7246906" y="3901171"/>
                  <a:pt x="7246047" y="3907945"/>
                </a:cubicBezTo>
                <a:cubicBezTo>
                  <a:pt x="7245760" y="3910168"/>
                  <a:pt x="7244328" y="3912501"/>
                  <a:pt x="7241177" y="3914833"/>
                </a:cubicBezTo>
                <a:cubicBezTo>
                  <a:pt x="7233729" y="3919943"/>
                  <a:pt x="7223130" y="3923498"/>
                  <a:pt x="7210525" y="3913833"/>
                </a:cubicBezTo>
                <a:cubicBezTo>
                  <a:pt x="7207374" y="3912279"/>
                  <a:pt x="7209093" y="3912500"/>
                  <a:pt x="7207374" y="3911168"/>
                </a:cubicBezTo>
                <a:lnTo>
                  <a:pt x="7206801" y="3910834"/>
                </a:lnTo>
                <a:lnTo>
                  <a:pt x="7205942" y="3912501"/>
                </a:lnTo>
                <a:cubicBezTo>
                  <a:pt x="7205369" y="3912944"/>
                  <a:pt x="7204510" y="3913056"/>
                  <a:pt x="7203364" y="3912834"/>
                </a:cubicBezTo>
                <a:cubicBezTo>
                  <a:pt x="7203364" y="3912834"/>
                  <a:pt x="7200786" y="3912390"/>
                  <a:pt x="7198494" y="3911945"/>
                </a:cubicBezTo>
                <a:cubicBezTo>
                  <a:pt x="7196202" y="3911501"/>
                  <a:pt x="7194770" y="3912167"/>
                  <a:pt x="7194770" y="3912167"/>
                </a:cubicBezTo>
                <a:cubicBezTo>
                  <a:pt x="7192478" y="3911834"/>
                  <a:pt x="7191905" y="3910723"/>
                  <a:pt x="7192478" y="3909057"/>
                </a:cubicBezTo>
                <a:cubicBezTo>
                  <a:pt x="7192478" y="3909057"/>
                  <a:pt x="7196202" y="3908946"/>
                  <a:pt x="7196202" y="3908946"/>
                </a:cubicBezTo>
                <a:cubicBezTo>
                  <a:pt x="7198494" y="3909279"/>
                  <a:pt x="7200500" y="3909612"/>
                  <a:pt x="7201932" y="3909723"/>
                </a:cubicBezTo>
                <a:lnTo>
                  <a:pt x="7204511" y="3909834"/>
                </a:lnTo>
                <a:lnTo>
                  <a:pt x="7201072" y="3908057"/>
                </a:lnTo>
                <a:cubicBezTo>
                  <a:pt x="7202218" y="3907057"/>
                  <a:pt x="7203077" y="3906058"/>
                  <a:pt x="7203650" y="3905169"/>
                </a:cubicBezTo>
                <a:lnTo>
                  <a:pt x="7204510" y="3902392"/>
                </a:lnTo>
                <a:lnTo>
                  <a:pt x="7201072" y="3900504"/>
                </a:lnTo>
                <a:cubicBezTo>
                  <a:pt x="7202790" y="3899838"/>
                  <a:pt x="7205082" y="3897504"/>
                  <a:pt x="7205942" y="3898504"/>
                </a:cubicBezTo>
                <a:lnTo>
                  <a:pt x="7206514" y="3898726"/>
                </a:lnTo>
                <a:lnTo>
                  <a:pt x="7210812" y="3894949"/>
                </a:lnTo>
                <a:cubicBezTo>
                  <a:pt x="7216254" y="3890840"/>
                  <a:pt x="7221698" y="3889618"/>
                  <a:pt x="7226854" y="3890062"/>
                </a:cubicBezTo>
                <a:close/>
                <a:moveTo>
                  <a:pt x="6763928" y="3889507"/>
                </a:moveTo>
                <a:cubicBezTo>
                  <a:pt x="6765646" y="3889285"/>
                  <a:pt x="6767365" y="3889395"/>
                  <a:pt x="6769943" y="3890284"/>
                </a:cubicBezTo>
                <a:cubicBezTo>
                  <a:pt x="6766219" y="3892283"/>
                  <a:pt x="6762782" y="3893061"/>
                  <a:pt x="6757626" y="3891284"/>
                </a:cubicBezTo>
                <a:cubicBezTo>
                  <a:pt x="6760203" y="3890396"/>
                  <a:pt x="6762208" y="3889728"/>
                  <a:pt x="6763928" y="3889507"/>
                </a:cubicBezTo>
                <a:close/>
                <a:moveTo>
                  <a:pt x="6692024" y="3888062"/>
                </a:moveTo>
                <a:cubicBezTo>
                  <a:pt x="6693744" y="3888173"/>
                  <a:pt x="6695462" y="3888618"/>
                  <a:pt x="6697468" y="3889062"/>
                </a:cubicBezTo>
                <a:cubicBezTo>
                  <a:pt x="6697468" y="3890173"/>
                  <a:pt x="6697754" y="3890173"/>
                  <a:pt x="6696322" y="3891394"/>
                </a:cubicBezTo>
                <a:cubicBezTo>
                  <a:pt x="6696323" y="3892505"/>
                  <a:pt x="6689160" y="3890506"/>
                  <a:pt x="6687442" y="3890617"/>
                </a:cubicBezTo>
                <a:cubicBezTo>
                  <a:pt x="6687155" y="3889506"/>
                  <a:pt x="6687155" y="3889395"/>
                  <a:pt x="6688874" y="3889395"/>
                </a:cubicBezTo>
                <a:cubicBezTo>
                  <a:pt x="6688588" y="3889173"/>
                  <a:pt x="6688588" y="3889173"/>
                  <a:pt x="6688301" y="3889062"/>
                </a:cubicBezTo>
                <a:cubicBezTo>
                  <a:pt x="6689446" y="3888507"/>
                  <a:pt x="6690592" y="3887952"/>
                  <a:pt x="6692024" y="3888062"/>
                </a:cubicBezTo>
                <a:close/>
                <a:moveTo>
                  <a:pt x="6299855" y="3886063"/>
                </a:moveTo>
                <a:cubicBezTo>
                  <a:pt x="6301574" y="3885841"/>
                  <a:pt x="6303292" y="3886063"/>
                  <a:pt x="6305298" y="3886841"/>
                </a:cubicBezTo>
                <a:cubicBezTo>
                  <a:pt x="6310740" y="3888951"/>
                  <a:pt x="6314178" y="3892950"/>
                  <a:pt x="6315038" y="3897505"/>
                </a:cubicBezTo>
                <a:lnTo>
                  <a:pt x="6314751" y="3902725"/>
                </a:lnTo>
                <a:lnTo>
                  <a:pt x="6316471" y="3901059"/>
                </a:lnTo>
                <a:cubicBezTo>
                  <a:pt x="6318188" y="3899614"/>
                  <a:pt x="6319621" y="3898393"/>
                  <a:pt x="6320480" y="3899059"/>
                </a:cubicBezTo>
                <a:cubicBezTo>
                  <a:pt x="6320480" y="3899059"/>
                  <a:pt x="6319048" y="3900281"/>
                  <a:pt x="6317330" y="3901391"/>
                </a:cubicBezTo>
                <a:cubicBezTo>
                  <a:pt x="6315610" y="3902503"/>
                  <a:pt x="6315897" y="3902503"/>
                  <a:pt x="6317617" y="3903725"/>
                </a:cubicBezTo>
                <a:cubicBezTo>
                  <a:pt x="6316757" y="3904280"/>
                  <a:pt x="6316184" y="3904614"/>
                  <a:pt x="6315610" y="3904836"/>
                </a:cubicBezTo>
                <a:lnTo>
                  <a:pt x="6314464" y="3904836"/>
                </a:lnTo>
                <a:lnTo>
                  <a:pt x="6310453" y="3911279"/>
                </a:lnTo>
                <a:lnTo>
                  <a:pt x="6303579" y="3916944"/>
                </a:lnTo>
                <a:lnTo>
                  <a:pt x="6303579" y="3917054"/>
                </a:lnTo>
                <a:lnTo>
                  <a:pt x="6300714" y="3919166"/>
                </a:lnTo>
                <a:cubicBezTo>
                  <a:pt x="6291261" y="3925275"/>
                  <a:pt x="6283240" y="3926386"/>
                  <a:pt x="6283240" y="3926386"/>
                </a:cubicBezTo>
                <a:cubicBezTo>
                  <a:pt x="6269204" y="3919832"/>
                  <a:pt x="6272641" y="3910723"/>
                  <a:pt x="6278656" y="3902947"/>
                </a:cubicBezTo>
                <a:lnTo>
                  <a:pt x="6276938" y="3902281"/>
                </a:lnTo>
                <a:cubicBezTo>
                  <a:pt x="6275792" y="3901837"/>
                  <a:pt x="6275219" y="3901392"/>
                  <a:pt x="6275219" y="3901392"/>
                </a:cubicBezTo>
                <a:cubicBezTo>
                  <a:pt x="6276365" y="3899837"/>
                  <a:pt x="6276365" y="3899837"/>
                  <a:pt x="6276938" y="3900837"/>
                </a:cubicBezTo>
                <a:cubicBezTo>
                  <a:pt x="6278656" y="3900837"/>
                  <a:pt x="6279230" y="3901059"/>
                  <a:pt x="6279517" y="3901170"/>
                </a:cubicBezTo>
                <a:lnTo>
                  <a:pt x="6280089" y="3901503"/>
                </a:lnTo>
                <a:lnTo>
                  <a:pt x="6285246" y="3895838"/>
                </a:lnTo>
                <a:cubicBezTo>
                  <a:pt x="6289256" y="3891284"/>
                  <a:pt x="6294412" y="3886729"/>
                  <a:pt x="6299855" y="3886063"/>
                </a:cubicBezTo>
                <a:close/>
                <a:moveTo>
                  <a:pt x="6329648" y="3885397"/>
                </a:moveTo>
                <a:cubicBezTo>
                  <a:pt x="6331366" y="3886507"/>
                  <a:pt x="6331652" y="3887729"/>
                  <a:pt x="6331652" y="3888951"/>
                </a:cubicBezTo>
                <a:cubicBezTo>
                  <a:pt x="6330220" y="3890062"/>
                  <a:pt x="6328215" y="3889951"/>
                  <a:pt x="6326782" y="3891062"/>
                </a:cubicBezTo>
                <a:cubicBezTo>
                  <a:pt x="6326782" y="3892283"/>
                  <a:pt x="6326782" y="3894505"/>
                  <a:pt x="6325350" y="3895616"/>
                </a:cubicBezTo>
                <a:cubicBezTo>
                  <a:pt x="6323632" y="3896727"/>
                  <a:pt x="6320480" y="3897838"/>
                  <a:pt x="6320480" y="3897838"/>
                </a:cubicBezTo>
                <a:cubicBezTo>
                  <a:pt x="6318762" y="3896615"/>
                  <a:pt x="6318762" y="3896615"/>
                  <a:pt x="6320480" y="3896727"/>
                </a:cubicBezTo>
                <a:cubicBezTo>
                  <a:pt x="6321913" y="3894394"/>
                  <a:pt x="6321913" y="3895504"/>
                  <a:pt x="6323632" y="3894394"/>
                </a:cubicBezTo>
                <a:cubicBezTo>
                  <a:pt x="6325350" y="3893283"/>
                  <a:pt x="6328215" y="3887619"/>
                  <a:pt x="6326496" y="3886396"/>
                </a:cubicBezTo>
                <a:cubicBezTo>
                  <a:pt x="6328215" y="3886396"/>
                  <a:pt x="6329648" y="3885397"/>
                  <a:pt x="6329648" y="3885397"/>
                </a:cubicBezTo>
                <a:close/>
                <a:moveTo>
                  <a:pt x="7088492" y="3882730"/>
                </a:moveTo>
                <a:cubicBezTo>
                  <a:pt x="7091356" y="3883064"/>
                  <a:pt x="7092788" y="3883730"/>
                  <a:pt x="7093362" y="3884952"/>
                </a:cubicBezTo>
                <a:cubicBezTo>
                  <a:pt x="7093648" y="3886063"/>
                  <a:pt x="7093075" y="3887507"/>
                  <a:pt x="7092217" y="3889062"/>
                </a:cubicBezTo>
                <a:cubicBezTo>
                  <a:pt x="7090210" y="3892283"/>
                  <a:pt x="7086486" y="3892283"/>
                  <a:pt x="7086486" y="3892283"/>
                </a:cubicBezTo>
                <a:cubicBezTo>
                  <a:pt x="7080757" y="3891617"/>
                  <a:pt x="7077033" y="3888951"/>
                  <a:pt x="7078465" y="3884729"/>
                </a:cubicBezTo>
                <a:cubicBezTo>
                  <a:pt x="7080757" y="3882619"/>
                  <a:pt x="7084768" y="3882730"/>
                  <a:pt x="7088492" y="3882730"/>
                </a:cubicBezTo>
                <a:close/>
                <a:moveTo>
                  <a:pt x="1838746" y="3882508"/>
                </a:moveTo>
                <a:cubicBezTo>
                  <a:pt x="1845048" y="3883397"/>
                  <a:pt x="1851065" y="3886285"/>
                  <a:pt x="1852496" y="3889285"/>
                </a:cubicBezTo>
                <a:cubicBezTo>
                  <a:pt x="1851923" y="3892728"/>
                  <a:pt x="1849919" y="3894727"/>
                  <a:pt x="1847626" y="3895838"/>
                </a:cubicBezTo>
                <a:cubicBezTo>
                  <a:pt x="1843617" y="3897393"/>
                  <a:pt x="1838746" y="3896727"/>
                  <a:pt x="1834162" y="3895172"/>
                </a:cubicBezTo>
                <a:cubicBezTo>
                  <a:pt x="1829580" y="3893616"/>
                  <a:pt x="1825570" y="3891173"/>
                  <a:pt x="1824709" y="3889061"/>
                </a:cubicBezTo>
                <a:cubicBezTo>
                  <a:pt x="1826428" y="3883175"/>
                  <a:pt x="1832731" y="3881731"/>
                  <a:pt x="1838746" y="3882508"/>
                </a:cubicBezTo>
                <a:close/>
                <a:moveTo>
                  <a:pt x="6902862" y="3882397"/>
                </a:moveTo>
                <a:cubicBezTo>
                  <a:pt x="6903149" y="3882397"/>
                  <a:pt x="6903723" y="3882730"/>
                  <a:pt x="6903722" y="3883285"/>
                </a:cubicBezTo>
                <a:cubicBezTo>
                  <a:pt x="6907160" y="3884509"/>
                  <a:pt x="6904008" y="3886507"/>
                  <a:pt x="6902290" y="3887618"/>
                </a:cubicBezTo>
                <a:cubicBezTo>
                  <a:pt x="6902003" y="3884285"/>
                  <a:pt x="6900284" y="3883064"/>
                  <a:pt x="6902003" y="3883174"/>
                </a:cubicBezTo>
                <a:cubicBezTo>
                  <a:pt x="6902003" y="3882619"/>
                  <a:pt x="6902576" y="3882397"/>
                  <a:pt x="6902862" y="3882397"/>
                </a:cubicBezTo>
                <a:close/>
                <a:moveTo>
                  <a:pt x="1796923" y="3882397"/>
                </a:moveTo>
                <a:cubicBezTo>
                  <a:pt x="1798642" y="3882397"/>
                  <a:pt x="1800074" y="3882619"/>
                  <a:pt x="1799500" y="3883064"/>
                </a:cubicBezTo>
                <a:cubicBezTo>
                  <a:pt x="1800360" y="3884730"/>
                  <a:pt x="1801219" y="3883619"/>
                  <a:pt x="1802651" y="3884175"/>
                </a:cubicBezTo>
                <a:cubicBezTo>
                  <a:pt x="1805230" y="3889062"/>
                  <a:pt x="1804658" y="3892728"/>
                  <a:pt x="1799500" y="3894616"/>
                </a:cubicBezTo>
                <a:cubicBezTo>
                  <a:pt x="1794918" y="3895394"/>
                  <a:pt x="1788328" y="3896616"/>
                  <a:pt x="1784892" y="3892839"/>
                </a:cubicBezTo>
                <a:cubicBezTo>
                  <a:pt x="1785751" y="3891839"/>
                  <a:pt x="1784318" y="3891284"/>
                  <a:pt x="1784892" y="3890173"/>
                </a:cubicBezTo>
                <a:cubicBezTo>
                  <a:pt x="1784892" y="3890173"/>
                  <a:pt x="1784892" y="3888951"/>
                  <a:pt x="1785751" y="3887395"/>
                </a:cubicBezTo>
                <a:cubicBezTo>
                  <a:pt x="1786609" y="3885730"/>
                  <a:pt x="1788328" y="3883842"/>
                  <a:pt x="1792053" y="3882731"/>
                </a:cubicBezTo>
                <a:cubicBezTo>
                  <a:pt x="1793198" y="3882508"/>
                  <a:pt x="1795203" y="3882397"/>
                  <a:pt x="1796923" y="3882397"/>
                </a:cubicBezTo>
                <a:close/>
                <a:moveTo>
                  <a:pt x="1882288" y="3880842"/>
                </a:moveTo>
                <a:cubicBezTo>
                  <a:pt x="1885440" y="3879398"/>
                  <a:pt x="1887731" y="3881507"/>
                  <a:pt x="1889450" y="3884729"/>
                </a:cubicBezTo>
                <a:cubicBezTo>
                  <a:pt x="1895179" y="3890728"/>
                  <a:pt x="1894606" y="3894394"/>
                  <a:pt x="1887732" y="3895616"/>
                </a:cubicBezTo>
                <a:cubicBezTo>
                  <a:pt x="1886300" y="3895061"/>
                  <a:pt x="1882288" y="3892283"/>
                  <a:pt x="1881430" y="3893283"/>
                </a:cubicBezTo>
                <a:cubicBezTo>
                  <a:pt x="1879711" y="3889618"/>
                  <a:pt x="1877992" y="3885507"/>
                  <a:pt x="1879711" y="3882842"/>
                </a:cubicBezTo>
                <a:cubicBezTo>
                  <a:pt x="1880283" y="3881953"/>
                  <a:pt x="1881143" y="3881287"/>
                  <a:pt x="1882288" y="3880842"/>
                </a:cubicBezTo>
                <a:close/>
                <a:moveTo>
                  <a:pt x="6635305" y="3878621"/>
                </a:moveTo>
                <a:cubicBezTo>
                  <a:pt x="6637024" y="3887951"/>
                  <a:pt x="6634446" y="3899615"/>
                  <a:pt x="6633586" y="3902281"/>
                </a:cubicBezTo>
                <a:cubicBezTo>
                  <a:pt x="6633300" y="3903614"/>
                  <a:pt x="6632726" y="3904280"/>
                  <a:pt x="6631867" y="3904724"/>
                </a:cubicBezTo>
                <a:cubicBezTo>
                  <a:pt x="6630722" y="3905058"/>
                  <a:pt x="6629289" y="3905169"/>
                  <a:pt x="6627570" y="3904947"/>
                </a:cubicBezTo>
                <a:cubicBezTo>
                  <a:pt x="6620982" y="3901726"/>
                  <a:pt x="6624132" y="3896172"/>
                  <a:pt x="6623560" y="3890173"/>
                </a:cubicBezTo>
                <a:cubicBezTo>
                  <a:pt x="6625278" y="3889729"/>
                  <a:pt x="6626424" y="3888173"/>
                  <a:pt x="6626138" y="3887063"/>
                </a:cubicBezTo>
                <a:cubicBezTo>
                  <a:pt x="6627284" y="3885618"/>
                  <a:pt x="6628430" y="3884063"/>
                  <a:pt x="6626711" y="3884508"/>
                </a:cubicBezTo>
                <a:cubicBezTo>
                  <a:pt x="6630148" y="3879953"/>
                  <a:pt x="6629862" y="3878732"/>
                  <a:pt x="6635305" y="3878621"/>
                </a:cubicBezTo>
                <a:close/>
                <a:moveTo>
                  <a:pt x="6173810" y="3877732"/>
                </a:moveTo>
                <a:cubicBezTo>
                  <a:pt x="6174384" y="3886286"/>
                  <a:pt x="6152612" y="3895838"/>
                  <a:pt x="6145737" y="3894616"/>
                </a:cubicBezTo>
                <a:cubicBezTo>
                  <a:pt x="6146596" y="3889729"/>
                  <a:pt x="6153186" y="3888395"/>
                  <a:pt x="6155764" y="3882953"/>
                </a:cubicBezTo>
                <a:cubicBezTo>
                  <a:pt x="6161779" y="3883174"/>
                  <a:pt x="6165503" y="3877066"/>
                  <a:pt x="6173810" y="3877732"/>
                </a:cubicBezTo>
                <a:close/>
                <a:moveTo>
                  <a:pt x="7334278" y="3876398"/>
                </a:moveTo>
                <a:cubicBezTo>
                  <a:pt x="7338861" y="3876843"/>
                  <a:pt x="7343444" y="3877287"/>
                  <a:pt x="7343158" y="3880509"/>
                </a:cubicBezTo>
                <a:cubicBezTo>
                  <a:pt x="7339434" y="3880953"/>
                  <a:pt x="7339434" y="3882508"/>
                  <a:pt x="7333705" y="3881176"/>
                </a:cubicBezTo>
                <a:cubicBezTo>
                  <a:pt x="7333705" y="3879509"/>
                  <a:pt x="7333992" y="3877954"/>
                  <a:pt x="7334278" y="3876398"/>
                </a:cubicBezTo>
                <a:close/>
                <a:moveTo>
                  <a:pt x="6217354" y="3874399"/>
                </a:moveTo>
                <a:cubicBezTo>
                  <a:pt x="6218499" y="3874621"/>
                  <a:pt x="6219932" y="3875065"/>
                  <a:pt x="6221365" y="3875954"/>
                </a:cubicBezTo>
                <a:cubicBezTo>
                  <a:pt x="6221365" y="3875954"/>
                  <a:pt x="6221365" y="3875954"/>
                  <a:pt x="6221650" y="3877177"/>
                </a:cubicBezTo>
                <a:cubicBezTo>
                  <a:pt x="6221936" y="3879509"/>
                  <a:pt x="6222223" y="3880619"/>
                  <a:pt x="6222511" y="3881730"/>
                </a:cubicBezTo>
                <a:cubicBezTo>
                  <a:pt x="6221078" y="3882953"/>
                  <a:pt x="6216780" y="3885507"/>
                  <a:pt x="6214775" y="3884396"/>
                </a:cubicBezTo>
                <a:cubicBezTo>
                  <a:pt x="6211051" y="3882175"/>
                  <a:pt x="6208473" y="3878843"/>
                  <a:pt x="6209905" y="3877621"/>
                </a:cubicBezTo>
                <a:cubicBezTo>
                  <a:pt x="6212197" y="3875732"/>
                  <a:pt x="6214202" y="3873844"/>
                  <a:pt x="6217354" y="3874399"/>
                </a:cubicBezTo>
                <a:close/>
                <a:moveTo>
                  <a:pt x="6040892" y="3874288"/>
                </a:moveTo>
                <a:cubicBezTo>
                  <a:pt x="6044042" y="3875065"/>
                  <a:pt x="6047194" y="3875842"/>
                  <a:pt x="6047480" y="3878175"/>
                </a:cubicBezTo>
                <a:cubicBezTo>
                  <a:pt x="6047480" y="3878953"/>
                  <a:pt x="6047480" y="3879953"/>
                  <a:pt x="6046620" y="3881176"/>
                </a:cubicBezTo>
                <a:cubicBezTo>
                  <a:pt x="6046620" y="3881176"/>
                  <a:pt x="6046620" y="3881176"/>
                  <a:pt x="6045189" y="3881730"/>
                </a:cubicBezTo>
                <a:lnTo>
                  <a:pt x="6042324" y="3882508"/>
                </a:lnTo>
                <a:lnTo>
                  <a:pt x="6053782" y="3886951"/>
                </a:lnTo>
                <a:cubicBezTo>
                  <a:pt x="6056934" y="3888729"/>
                  <a:pt x="6059798" y="3890840"/>
                  <a:pt x="6062376" y="3893394"/>
                </a:cubicBezTo>
                <a:lnTo>
                  <a:pt x="6063236" y="3894616"/>
                </a:lnTo>
                <a:lnTo>
                  <a:pt x="6082428" y="3889506"/>
                </a:lnTo>
                <a:lnTo>
                  <a:pt x="6085293" y="3888839"/>
                </a:lnTo>
                <a:lnTo>
                  <a:pt x="6084435" y="3888284"/>
                </a:lnTo>
                <a:cubicBezTo>
                  <a:pt x="6081282" y="3886396"/>
                  <a:pt x="6078704" y="3884175"/>
                  <a:pt x="6076127" y="3881286"/>
                </a:cubicBezTo>
                <a:cubicBezTo>
                  <a:pt x="6080996" y="3879953"/>
                  <a:pt x="6085580" y="3879731"/>
                  <a:pt x="6089591" y="3880509"/>
                </a:cubicBezTo>
                <a:cubicBezTo>
                  <a:pt x="6092742" y="3880953"/>
                  <a:pt x="6095892" y="3882063"/>
                  <a:pt x="6098470" y="3883286"/>
                </a:cubicBezTo>
                <a:lnTo>
                  <a:pt x="6102194" y="3885729"/>
                </a:lnTo>
                <a:lnTo>
                  <a:pt x="6109929" y="3884952"/>
                </a:lnTo>
                <a:lnTo>
                  <a:pt x="6106205" y="3888396"/>
                </a:lnTo>
                <a:lnTo>
                  <a:pt x="6115086" y="3898503"/>
                </a:lnTo>
                <a:lnTo>
                  <a:pt x="6098470" y="3894060"/>
                </a:lnTo>
                <a:lnTo>
                  <a:pt x="6085293" y="3899059"/>
                </a:lnTo>
                <a:cubicBezTo>
                  <a:pt x="6079564" y="3900393"/>
                  <a:pt x="6073548" y="3901059"/>
                  <a:pt x="6068392" y="3900726"/>
                </a:cubicBezTo>
                <a:lnTo>
                  <a:pt x="6068107" y="3900503"/>
                </a:lnTo>
                <a:lnTo>
                  <a:pt x="6069251" y="3902169"/>
                </a:lnTo>
                <a:cubicBezTo>
                  <a:pt x="6064095" y="3909502"/>
                  <a:pt x="6054928" y="3909835"/>
                  <a:pt x="6046620" y="3906724"/>
                </a:cubicBezTo>
                <a:cubicBezTo>
                  <a:pt x="6036022" y="3902837"/>
                  <a:pt x="6026854" y="3893505"/>
                  <a:pt x="6028287" y="3885952"/>
                </a:cubicBezTo>
                <a:lnTo>
                  <a:pt x="6033156" y="3880064"/>
                </a:lnTo>
                <a:lnTo>
                  <a:pt x="6032584" y="3879509"/>
                </a:lnTo>
                <a:cubicBezTo>
                  <a:pt x="6034589" y="3876398"/>
                  <a:pt x="6038600" y="3873733"/>
                  <a:pt x="6040892" y="3874288"/>
                </a:cubicBezTo>
                <a:close/>
                <a:moveTo>
                  <a:pt x="7105393" y="3873177"/>
                </a:moveTo>
                <a:cubicBezTo>
                  <a:pt x="7107398" y="3873066"/>
                  <a:pt x="7109404" y="3873399"/>
                  <a:pt x="7111123" y="3874288"/>
                </a:cubicBezTo>
                <a:cubicBezTo>
                  <a:pt x="7111982" y="3875954"/>
                  <a:pt x="7114273" y="3878175"/>
                  <a:pt x="7114272" y="3880842"/>
                </a:cubicBezTo>
                <a:cubicBezTo>
                  <a:pt x="7108544" y="3884951"/>
                  <a:pt x="7102528" y="3884841"/>
                  <a:pt x="7096512" y="3882175"/>
                </a:cubicBezTo>
                <a:cubicBezTo>
                  <a:pt x="7094220" y="3877287"/>
                  <a:pt x="7099377" y="3873399"/>
                  <a:pt x="7105393" y="3873177"/>
                </a:cubicBezTo>
                <a:close/>
                <a:moveTo>
                  <a:pt x="6440797" y="3872399"/>
                </a:moveTo>
                <a:lnTo>
                  <a:pt x="6435639" y="3879620"/>
                </a:lnTo>
                <a:lnTo>
                  <a:pt x="6438218" y="3882064"/>
                </a:lnTo>
                <a:cubicBezTo>
                  <a:pt x="6438504" y="3883731"/>
                  <a:pt x="6437359" y="3885396"/>
                  <a:pt x="6435639" y="3887618"/>
                </a:cubicBezTo>
                <a:cubicBezTo>
                  <a:pt x="6433634" y="3886396"/>
                  <a:pt x="6432488" y="3885174"/>
                  <a:pt x="6432488" y="3883619"/>
                </a:cubicBezTo>
                <a:lnTo>
                  <a:pt x="6432488" y="3882953"/>
                </a:lnTo>
                <a:lnTo>
                  <a:pt x="6426186" y="3888729"/>
                </a:lnTo>
                <a:cubicBezTo>
                  <a:pt x="6423321" y="3891284"/>
                  <a:pt x="6420743" y="3893617"/>
                  <a:pt x="6419597" y="3896282"/>
                </a:cubicBezTo>
                <a:cubicBezTo>
                  <a:pt x="6419597" y="3896282"/>
                  <a:pt x="6419597" y="3896394"/>
                  <a:pt x="6415014" y="3897171"/>
                </a:cubicBezTo>
                <a:cubicBezTo>
                  <a:pt x="6413868" y="3898171"/>
                  <a:pt x="6413868" y="3898282"/>
                  <a:pt x="6413868" y="3898282"/>
                </a:cubicBezTo>
                <a:cubicBezTo>
                  <a:pt x="6413582" y="3898727"/>
                  <a:pt x="6412722" y="3898726"/>
                  <a:pt x="6411862" y="3898504"/>
                </a:cubicBezTo>
                <a:lnTo>
                  <a:pt x="6411577" y="3898504"/>
                </a:lnTo>
                <a:lnTo>
                  <a:pt x="6411290" y="3898837"/>
                </a:lnTo>
                <a:lnTo>
                  <a:pt x="6410430" y="3899393"/>
                </a:lnTo>
                <a:lnTo>
                  <a:pt x="6419024" y="3902725"/>
                </a:lnTo>
                <a:cubicBezTo>
                  <a:pt x="6417019" y="3905614"/>
                  <a:pt x="6423034" y="3906946"/>
                  <a:pt x="6419310" y="3910168"/>
                </a:cubicBezTo>
                <a:lnTo>
                  <a:pt x="6414441" y="3909724"/>
                </a:lnTo>
                <a:cubicBezTo>
                  <a:pt x="6414727" y="3910835"/>
                  <a:pt x="6414441" y="3912723"/>
                  <a:pt x="6413868" y="3914833"/>
                </a:cubicBezTo>
                <a:cubicBezTo>
                  <a:pt x="6412436" y="3919055"/>
                  <a:pt x="6407852" y="3924387"/>
                  <a:pt x="6406992" y="3925942"/>
                </a:cubicBezTo>
                <a:cubicBezTo>
                  <a:pt x="6406134" y="3927608"/>
                  <a:pt x="6406706" y="3928719"/>
                  <a:pt x="6406706" y="3928719"/>
                </a:cubicBezTo>
                <a:cubicBezTo>
                  <a:pt x="6403842" y="3928719"/>
                  <a:pt x="6406420" y="3919609"/>
                  <a:pt x="6408425" y="3913390"/>
                </a:cubicBezTo>
                <a:lnTo>
                  <a:pt x="6409571" y="3909279"/>
                </a:lnTo>
                <a:lnTo>
                  <a:pt x="6407566" y="3908946"/>
                </a:lnTo>
                <a:lnTo>
                  <a:pt x="6404414" y="3907724"/>
                </a:lnTo>
                <a:lnTo>
                  <a:pt x="6400977" y="3908168"/>
                </a:lnTo>
                <a:lnTo>
                  <a:pt x="6400404" y="3908834"/>
                </a:lnTo>
                <a:cubicBezTo>
                  <a:pt x="6399544" y="3910502"/>
                  <a:pt x="6398972" y="3912167"/>
                  <a:pt x="6399831" y="3912834"/>
                </a:cubicBezTo>
                <a:cubicBezTo>
                  <a:pt x="6398112" y="3912722"/>
                  <a:pt x="6396394" y="3913722"/>
                  <a:pt x="6396394" y="3913722"/>
                </a:cubicBezTo>
                <a:cubicBezTo>
                  <a:pt x="6394674" y="3912389"/>
                  <a:pt x="6394674" y="3911279"/>
                  <a:pt x="6394674" y="3910168"/>
                </a:cubicBezTo>
                <a:lnTo>
                  <a:pt x="6399544" y="3908390"/>
                </a:lnTo>
                <a:lnTo>
                  <a:pt x="6385794" y="3910056"/>
                </a:lnTo>
                <a:lnTo>
                  <a:pt x="6380638" y="3909390"/>
                </a:lnTo>
                <a:lnTo>
                  <a:pt x="6380925" y="3910723"/>
                </a:lnTo>
                <a:cubicBezTo>
                  <a:pt x="6377200" y="3910168"/>
                  <a:pt x="6376341" y="3911612"/>
                  <a:pt x="6371471" y="3908946"/>
                </a:cubicBezTo>
                <a:lnTo>
                  <a:pt x="6371758" y="3908502"/>
                </a:lnTo>
                <a:lnTo>
                  <a:pt x="6362877" y="3907390"/>
                </a:lnTo>
                <a:cubicBezTo>
                  <a:pt x="6358294" y="3906169"/>
                  <a:pt x="6353997" y="3904613"/>
                  <a:pt x="6349986" y="3902614"/>
                </a:cubicBezTo>
                <a:cubicBezTo>
                  <a:pt x="6356862" y="3894172"/>
                  <a:pt x="6371471" y="3896505"/>
                  <a:pt x="6382930" y="3896282"/>
                </a:cubicBezTo>
                <a:cubicBezTo>
                  <a:pt x="6379778" y="3888507"/>
                  <a:pt x="6371471" y="3877731"/>
                  <a:pt x="6383789" y="3873844"/>
                </a:cubicBezTo>
                <a:cubicBezTo>
                  <a:pt x="6393242" y="3875954"/>
                  <a:pt x="6393242" y="3883397"/>
                  <a:pt x="6395248" y="3890617"/>
                </a:cubicBezTo>
                <a:lnTo>
                  <a:pt x="6396680" y="3893505"/>
                </a:lnTo>
                <a:lnTo>
                  <a:pt x="6399544" y="3895060"/>
                </a:lnTo>
                <a:lnTo>
                  <a:pt x="6409571" y="3898948"/>
                </a:lnTo>
                <a:lnTo>
                  <a:pt x="6410430" y="3898393"/>
                </a:lnTo>
                <a:lnTo>
                  <a:pt x="6410431" y="3898059"/>
                </a:lnTo>
                <a:lnTo>
                  <a:pt x="6410145" y="3897948"/>
                </a:lnTo>
                <a:lnTo>
                  <a:pt x="6410430" y="3897171"/>
                </a:lnTo>
                <a:lnTo>
                  <a:pt x="6410430" y="3896061"/>
                </a:lnTo>
                <a:lnTo>
                  <a:pt x="6410716" y="3895949"/>
                </a:lnTo>
                <a:lnTo>
                  <a:pt x="6411003" y="3894616"/>
                </a:lnTo>
                <a:cubicBezTo>
                  <a:pt x="6412150" y="3893394"/>
                  <a:pt x="6413582" y="3892395"/>
                  <a:pt x="6414727" y="3891394"/>
                </a:cubicBezTo>
                <a:cubicBezTo>
                  <a:pt x="6412721" y="3889173"/>
                  <a:pt x="6421316" y="3888507"/>
                  <a:pt x="6419597" y="3886285"/>
                </a:cubicBezTo>
                <a:cubicBezTo>
                  <a:pt x="6429050" y="3884619"/>
                  <a:pt x="6427045" y="3876509"/>
                  <a:pt x="6440797" y="3872399"/>
                </a:cubicBezTo>
                <a:close/>
                <a:moveTo>
                  <a:pt x="6956718" y="3871622"/>
                </a:moveTo>
                <a:cubicBezTo>
                  <a:pt x="6958150" y="3872955"/>
                  <a:pt x="6959582" y="3874177"/>
                  <a:pt x="6961588" y="3873177"/>
                </a:cubicBezTo>
                <a:cubicBezTo>
                  <a:pt x="6963880" y="3875066"/>
                  <a:pt x="6965598" y="3877287"/>
                  <a:pt x="6967031" y="3879621"/>
                </a:cubicBezTo>
                <a:cubicBezTo>
                  <a:pt x="6976198" y="3896394"/>
                  <a:pt x="6959010" y="3921609"/>
                  <a:pt x="6932082" y="3924276"/>
                </a:cubicBezTo>
                <a:cubicBezTo>
                  <a:pt x="6922915" y="3917833"/>
                  <a:pt x="6919764" y="3909835"/>
                  <a:pt x="6920910" y="3902059"/>
                </a:cubicBezTo>
                <a:cubicBezTo>
                  <a:pt x="6922628" y="3889062"/>
                  <a:pt x="6936666" y="3876510"/>
                  <a:pt x="6956718" y="3871622"/>
                </a:cubicBezTo>
                <a:close/>
                <a:moveTo>
                  <a:pt x="6050345" y="3868511"/>
                </a:moveTo>
                <a:cubicBezTo>
                  <a:pt x="6052064" y="3868845"/>
                  <a:pt x="6053209" y="3869401"/>
                  <a:pt x="6053782" y="3870178"/>
                </a:cubicBezTo>
                <a:cubicBezTo>
                  <a:pt x="6055788" y="3872399"/>
                  <a:pt x="6053496" y="3875843"/>
                  <a:pt x="6050058" y="3876509"/>
                </a:cubicBezTo>
                <a:cubicBezTo>
                  <a:pt x="6048626" y="3876843"/>
                  <a:pt x="6046907" y="3876509"/>
                  <a:pt x="6045188" y="3875399"/>
                </a:cubicBezTo>
                <a:cubicBezTo>
                  <a:pt x="6046334" y="3872844"/>
                  <a:pt x="6047766" y="3871400"/>
                  <a:pt x="6050345" y="3868511"/>
                </a:cubicBezTo>
                <a:close/>
                <a:moveTo>
                  <a:pt x="6270922" y="3868289"/>
                </a:moveTo>
                <a:cubicBezTo>
                  <a:pt x="6270922" y="3868289"/>
                  <a:pt x="6269490" y="3869400"/>
                  <a:pt x="6269490" y="3870511"/>
                </a:cubicBezTo>
                <a:cubicBezTo>
                  <a:pt x="6269490" y="3870511"/>
                  <a:pt x="6267771" y="3871622"/>
                  <a:pt x="6266338" y="3872733"/>
                </a:cubicBezTo>
                <a:cubicBezTo>
                  <a:pt x="6266338" y="3872733"/>
                  <a:pt x="6266338" y="3873844"/>
                  <a:pt x="6266338" y="3875066"/>
                </a:cubicBezTo>
                <a:lnTo>
                  <a:pt x="6262328" y="3878842"/>
                </a:lnTo>
                <a:lnTo>
                  <a:pt x="6263760" y="3878953"/>
                </a:lnTo>
                <a:cubicBezTo>
                  <a:pt x="6271495" y="3879621"/>
                  <a:pt x="6279802" y="3880842"/>
                  <a:pt x="6282954" y="3883952"/>
                </a:cubicBezTo>
                <a:cubicBezTo>
                  <a:pt x="6284100" y="3884952"/>
                  <a:pt x="6284386" y="3886285"/>
                  <a:pt x="6284100" y="3887729"/>
                </a:cubicBezTo>
                <a:cubicBezTo>
                  <a:pt x="6283526" y="3891951"/>
                  <a:pt x="6279230" y="3895616"/>
                  <a:pt x="6273500" y="3897948"/>
                </a:cubicBezTo>
                <a:lnTo>
                  <a:pt x="6266338" y="3899948"/>
                </a:lnTo>
                <a:lnTo>
                  <a:pt x="6269204" y="3900393"/>
                </a:lnTo>
                <a:cubicBezTo>
                  <a:pt x="6272068" y="3900725"/>
                  <a:pt x="6274360" y="3901170"/>
                  <a:pt x="6273787" y="3901948"/>
                </a:cubicBezTo>
                <a:cubicBezTo>
                  <a:pt x="6273787" y="3901948"/>
                  <a:pt x="6271495" y="3901503"/>
                  <a:pt x="6269204" y="3900947"/>
                </a:cubicBezTo>
                <a:cubicBezTo>
                  <a:pt x="6266912" y="3900393"/>
                  <a:pt x="6266912" y="3900503"/>
                  <a:pt x="6266052" y="3902058"/>
                </a:cubicBezTo>
                <a:cubicBezTo>
                  <a:pt x="6264906" y="3901837"/>
                  <a:pt x="6264334" y="3901615"/>
                  <a:pt x="6263760" y="3901281"/>
                </a:cubicBezTo>
                <a:lnTo>
                  <a:pt x="6263188" y="3900503"/>
                </a:lnTo>
                <a:lnTo>
                  <a:pt x="6252875" y="3900726"/>
                </a:lnTo>
                <a:lnTo>
                  <a:pt x="6242562" y="3898837"/>
                </a:lnTo>
                <a:lnTo>
                  <a:pt x="6242276" y="3898837"/>
                </a:lnTo>
                <a:lnTo>
                  <a:pt x="6242276" y="3898726"/>
                </a:lnTo>
                <a:lnTo>
                  <a:pt x="6238265" y="3898059"/>
                </a:lnTo>
                <a:lnTo>
                  <a:pt x="6227093" y="3893617"/>
                </a:lnTo>
                <a:lnTo>
                  <a:pt x="6227666" y="3894172"/>
                </a:lnTo>
                <a:cubicBezTo>
                  <a:pt x="6229098" y="3896838"/>
                  <a:pt x="6227380" y="3900170"/>
                  <a:pt x="6223656" y="3902169"/>
                </a:cubicBezTo>
                <a:lnTo>
                  <a:pt x="6220218" y="3902836"/>
                </a:lnTo>
                <a:lnTo>
                  <a:pt x="6222796" y="3905836"/>
                </a:lnTo>
                <a:lnTo>
                  <a:pt x="6222796" y="3905946"/>
                </a:lnTo>
                <a:lnTo>
                  <a:pt x="6237120" y="3906835"/>
                </a:lnTo>
                <a:lnTo>
                  <a:pt x="6240557" y="3908391"/>
                </a:lnTo>
                <a:lnTo>
                  <a:pt x="6244281" y="3908168"/>
                </a:lnTo>
                <a:cubicBezTo>
                  <a:pt x="6244568" y="3909279"/>
                  <a:pt x="6244568" y="3909279"/>
                  <a:pt x="6242848" y="3909723"/>
                </a:cubicBezTo>
                <a:cubicBezTo>
                  <a:pt x="6243136" y="3909834"/>
                  <a:pt x="6243136" y="3909834"/>
                  <a:pt x="6243422" y="3909834"/>
                </a:cubicBezTo>
                <a:lnTo>
                  <a:pt x="6242848" y="3910168"/>
                </a:lnTo>
                <a:lnTo>
                  <a:pt x="6243422" y="3910723"/>
                </a:lnTo>
                <a:cubicBezTo>
                  <a:pt x="6243994" y="3911501"/>
                  <a:pt x="6244281" y="3912501"/>
                  <a:pt x="6243708" y="3913500"/>
                </a:cubicBezTo>
                <a:cubicBezTo>
                  <a:pt x="6244281" y="3914611"/>
                  <a:pt x="6237978" y="3916389"/>
                  <a:pt x="6235974" y="3915722"/>
                </a:cubicBezTo>
                <a:cubicBezTo>
                  <a:pt x="6231676" y="3914389"/>
                  <a:pt x="6229672" y="3913722"/>
                  <a:pt x="6228526" y="3911611"/>
                </a:cubicBezTo>
                <a:cubicBezTo>
                  <a:pt x="6226520" y="3910946"/>
                  <a:pt x="6224515" y="3910279"/>
                  <a:pt x="6223082" y="3909391"/>
                </a:cubicBezTo>
                <a:lnTo>
                  <a:pt x="6222510" y="3906836"/>
                </a:lnTo>
                <a:lnTo>
                  <a:pt x="6222510" y="3908613"/>
                </a:lnTo>
                <a:cubicBezTo>
                  <a:pt x="6221936" y="3909501"/>
                  <a:pt x="6221364" y="3910389"/>
                  <a:pt x="6220218" y="3910500"/>
                </a:cubicBezTo>
                <a:cubicBezTo>
                  <a:pt x="6218786" y="3909946"/>
                  <a:pt x="6217926" y="3910945"/>
                  <a:pt x="6216494" y="3910390"/>
                </a:cubicBezTo>
                <a:cubicBezTo>
                  <a:pt x="6212770" y="3910169"/>
                  <a:pt x="6211338" y="3909501"/>
                  <a:pt x="6210764" y="3907946"/>
                </a:cubicBezTo>
                <a:cubicBezTo>
                  <a:pt x="6209332" y="3907390"/>
                  <a:pt x="6210478" y="3906280"/>
                  <a:pt x="6209905" y="3904724"/>
                </a:cubicBezTo>
                <a:lnTo>
                  <a:pt x="6211625" y="3903947"/>
                </a:lnTo>
                <a:lnTo>
                  <a:pt x="6210192" y="3902836"/>
                </a:lnTo>
                <a:cubicBezTo>
                  <a:pt x="6208186" y="3900614"/>
                  <a:pt x="6206754" y="3898504"/>
                  <a:pt x="6207327" y="3897727"/>
                </a:cubicBezTo>
                <a:lnTo>
                  <a:pt x="6213056" y="3902391"/>
                </a:lnTo>
                <a:lnTo>
                  <a:pt x="6211051" y="3896504"/>
                </a:lnTo>
                <a:cubicBezTo>
                  <a:pt x="6211051" y="3893616"/>
                  <a:pt x="6211909" y="3890728"/>
                  <a:pt x="6213630" y="3889728"/>
                </a:cubicBezTo>
                <a:lnTo>
                  <a:pt x="6221936" y="3890617"/>
                </a:lnTo>
                <a:lnTo>
                  <a:pt x="6221364" y="3890062"/>
                </a:lnTo>
                <a:cubicBezTo>
                  <a:pt x="6224515" y="3878843"/>
                  <a:pt x="6238265" y="3877287"/>
                  <a:pt x="6251442" y="3877954"/>
                </a:cubicBezTo>
                <a:lnTo>
                  <a:pt x="6256026" y="3878287"/>
                </a:lnTo>
                <a:lnTo>
                  <a:pt x="6256886" y="3877066"/>
                </a:lnTo>
                <a:cubicBezTo>
                  <a:pt x="6257745" y="3876176"/>
                  <a:pt x="6258890" y="3875399"/>
                  <a:pt x="6259750" y="3874843"/>
                </a:cubicBezTo>
                <a:cubicBezTo>
                  <a:pt x="6259750" y="3873733"/>
                  <a:pt x="6261182" y="3872510"/>
                  <a:pt x="6262901" y="3872622"/>
                </a:cubicBezTo>
                <a:cubicBezTo>
                  <a:pt x="6262901" y="3872622"/>
                  <a:pt x="6264621" y="3871510"/>
                  <a:pt x="6264620" y="3870289"/>
                </a:cubicBezTo>
                <a:cubicBezTo>
                  <a:pt x="6267771" y="3868067"/>
                  <a:pt x="6269204" y="3868178"/>
                  <a:pt x="6270922" y="3868289"/>
                </a:cubicBezTo>
                <a:close/>
                <a:moveTo>
                  <a:pt x="6380638" y="3866735"/>
                </a:moveTo>
                <a:cubicBezTo>
                  <a:pt x="6381211" y="3866512"/>
                  <a:pt x="6382071" y="3866623"/>
                  <a:pt x="6382930" y="3867179"/>
                </a:cubicBezTo>
                <a:cubicBezTo>
                  <a:pt x="6382930" y="3867179"/>
                  <a:pt x="6382930" y="3867179"/>
                  <a:pt x="6382931" y="3868289"/>
                </a:cubicBezTo>
                <a:cubicBezTo>
                  <a:pt x="6382931" y="3868289"/>
                  <a:pt x="6381211" y="3868178"/>
                  <a:pt x="6379778" y="3867068"/>
                </a:cubicBezTo>
                <a:cubicBezTo>
                  <a:pt x="6379778" y="3867068"/>
                  <a:pt x="6380065" y="3866845"/>
                  <a:pt x="6380638" y="3866735"/>
                </a:cubicBezTo>
                <a:close/>
                <a:moveTo>
                  <a:pt x="6576580" y="3866512"/>
                </a:moveTo>
                <a:cubicBezTo>
                  <a:pt x="6581163" y="3867289"/>
                  <a:pt x="6583454" y="3867623"/>
                  <a:pt x="6584887" y="3869623"/>
                </a:cubicBezTo>
                <a:cubicBezTo>
                  <a:pt x="6587179" y="3870067"/>
                  <a:pt x="6589470" y="3870400"/>
                  <a:pt x="6590903" y="3871066"/>
                </a:cubicBezTo>
                <a:cubicBezTo>
                  <a:pt x="6592335" y="3871734"/>
                  <a:pt x="6593194" y="3872733"/>
                  <a:pt x="6592335" y="3874399"/>
                </a:cubicBezTo>
                <a:cubicBezTo>
                  <a:pt x="6587179" y="3875177"/>
                  <a:pt x="6583454" y="3875510"/>
                  <a:pt x="6577439" y="3875288"/>
                </a:cubicBezTo>
                <a:cubicBezTo>
                  <a:pt x="6577439" y="3875288"/>
                  <a:pt x="6568558" y="3873733"/>
                  <a:pt x="6569132" y="3869511"/>
                </a:cubicBezTo>
                <a:cubicBezTo>
                  <a:pt x="6568558" y="3868512"/>
                  <a:pt x="6574288" y="3866179"/>
                  <a:pt x="6576580" y="3866512"/>
                </a:cubicBezTo>
                <a:close/>
                <a:moveTo>
                  <a:pt x="1625617" y="3864957"/>
                </a:moveTo>
                <a:cubicBezTo>
                  <a:pt x="1633638" y="3864290"/>
                  <a:pt x="1642518" y="3865957"/>
                  <a:pt x="1650539" y="3871400"/>
                </a:cubicBezTo>
                <a:cubicBezTo>
                  <a:pt x="1649966" y="3887396"/>
                  <a:pt x="1642804" y="3899282"/>
                  <a:pt x="1628196" y="3904170"/>
                </a:cubicBezTo>
                <a:cubicBezTo>
                  <a:pt x="1619602" y="3903614"/>
                  <a:pt x="1613013" y="3902169"/>
                  <a:pt x="1608143" y="3900393"/>
                </a:cubicBezTo>
                <a:cubicBezTo>
                  <a:pt x="1582074" y="3890506"/>
                  <a:pt x="1600982" y="3866956"/>
                  <a:pt x="1625617" y="3864957"/>
                </a:cubicBezTo>
                <a:close/>
                <a:moveTo>
                  <a:pt x="6415300" y="3861292"/>
                </a:moveTo>
                <a:cubicBezTo>
                  <a:pt x="6416160" y="3861402"/>
                  <a:pt x="6417019" y="3861625"/>
                  <a:pt x="6418165" y="3862180"/>
                </a:cubicBezTo>
                <a:cubicBezTo>
                  <a:pt x="6416446" y="3865623"/>
                  <a:pt x="6415014" y="3867957"/>
                  <a:pt x="6411862" y="3871288"/>
                </a:cubicBezTo>
                <a:cubicBezTo>
                  <a:pt x="6411862" y="3871288"/>
                  <a:pt x="6405274" y="3875732"/>
                  <a:pt x="6400118" y="3873288"/>
                </a:cubicBezTo>
                <a:cubicBezTo>
                  <a:pt x="6398399" y="3873288"/>
                  <a:pt x="6398112" y="3868623"/>
                  <a:pt x="6399831" y="3867512"/>
                </a:cubicBezTo>
                <a:cubicBezTo>
                  <a:pt x="6402982" y="3865291"/>
                  <a:pt x="6404701" y="3864180"/>
                  <a:pt x="6408139" y="3864290"/>
                </a:cubicBezTo>
                <a:cubicBezTo>
                  <a:pt x="6409571" y="3863179"/>
                  <a:pt x="6411290" y="3862069"/>
                  <a:pt x="6413008" y="3861513"/>
                </a:cubicBezTo>
                <a:cubicBezTo>
                  <a:pt x="6413868" y="3861291"/>
                  <a:pt x="6414441" y="3861181"/>
                  <a:pt x="6415300" y="3861292"/>
                </a:cubicBezTo>
                <a:close/>
                <a:moveTo>
                  <a:pt x="6839554" y="3860069"/>
                </a:moveTo>
                <a:cubicBezTo>
                  <a:pt x="6856456" y="3860625"/>
                  <a:pt x="6872498" y="3868845"/>
                  <a:pt x="6878226" y="3879510"/>
                </a:cubicBezTo>
                <a:cubicBezTo>
                  <a:pt x="6879659" y="3881842"/>
                  <a:pt x="6880518" y="3884396"/>
                  <a:pt x="6880518" y="3886951"/>
                </a:cubicBezTo>
                <a:lnTo>
                  <a:pt x="6879373" y="3894172"/>
                </a:lnTo>
                <a:lnTo>
                  <a:pt x="6881664" y="3894283"/>
                </a:lnTo>
                <a:cubicBezTo>
                  <a:pt x="6887107" y="3895616"/>
                  <a:pt x="6887966" y="3899393"/>
                  <a:pt x="6886248" y="3904946"/>
                </a:cubicBezTo>
                <a:cubicBezTo>
                  <a:pt x="6882524" y="3905724"/>
                  <a:pt x="6879946" y="3907391"/>
                  <a:pt x="6874789" y="3908946"/>
                </a:cubicBezTo>
                <a:cubicBezTo>
                  <a:pt x="6873356" y="3907724"/>
                  <a:pt x="6871924" y="3905169"/>
                  <a:pt x="6871638" y="3902392"/>
                </a:cubicBezTo>
                <a:lnTo>
                  <a:pt x="6874216" y="3895616"/>
                </a:lnTo>
                <a:lnTo>
                  <a:pt x="6861038" y="3898282"/>
                </a:lnTo>
                <a:cubicBezTo>
                  <a:pt x="6855022" y="3898504"/>
                  <a:pt x="6849580" y="3897838"/>
                  <a:pt x="6844424" y="3896393"/>
                </a:cubicBezTo>
                <a:cubicBezTo>
                  <a:pt x="6827809" y="3891839"/>
                  <a:pt x="6816636" y="3879287"/>
                  <a:pt x="6818642" y="3864845"/>
                </a:cubicBezTo>
                <a:cubicBezTo>
                  <a:pt x="6820934" y="3864291"/>
                  <a:pt x="6823226" y="3863736"/>
                  <a:pt x="6822366" y="3862180"/>
                </a:cubicBezTo>
                <a:cubicBezTo>
                  <a:pt x="6828096" y="3860513"/>
                  <a:pt x="6833824" y="3859847"/>
                  <a:pt x="6839554" y="3860069"/>
                </a:cubicBezTo>
                <a:close/>
                <a:moveTo>
                  <a:pt x="1782026" y="3858848"/>
                </a:moveTo>
                <a:cubicBezTo>
                  <a:pt x="1785464" y="3858180"/>
                  <a:pt x="1789188" y="3858292"/>
                  <a:pt x="1793485" y="3858958"/>
                </a:cubicBezTo>
                <a:cubicBezTo>
                  <a:pt x="1788616" y="3868067"/>
                  <a:pt x="1781167" y="3893616"/>
                  <a:pt x="1767131" y="3903614"/>
                </a:cubicBezTo>
                <a:cubicBezTo>
                  <a:pt x="1762547" y="3906946"/>
                  <a:pt x="1757105" y="3908502"/>
                  <a:pt x="1751089" y="3907168"/>
                </a:cubicBezTo>
                <a:cubicBezTo>
                  <a:pt x="1755959" y="3894727"/>
                  <a:pt x="1758536" y="3863069"/>
                  <a:pt x="1782026" y="3858848"/>
                </a:cubicBezTo>
                <a:close/>
                <a:moveTo>
                  <a:pt x="6376628" y="3858292"/>
                </a:moveTo>
                <a:cubicBezTo>
                  <a:pt x="6378632" y="3858180"/>
                  <a:pt x="6379778" y="3858403"/>
                  <a:pt x="6380352" y="3858959"/>
                </a:cubicBezTo>
                <a:cubicBezTo>
                  <a:pt x="6380924" y="3859514"/>
                  <a:pt x="6381211" y="3860402"/>
                  <a:pt x="6381211" y="3861736"/>
                </a:cubicBezTo>
                <a:cubicBezTo>
                  <a:pt x="6377487" y="3867289"/>
                  <a:pt x="6369180" y="3866845"/>
                  <a:pt x="6360872" y="3868956"/>
                </a:cubicBezTo>
                <a:cubicBezTo>
                  <a:pt x="6360012" y="3867956"/>
                  <a:pt x="6357721" y="3867512"/>
                  <a:pt x="6356289" y="3868178"/>
                </a:cubicBezTo>
                <a:cubicBezTo>
                  <a:pt x="6353997" y="3867846"/>
                  <a:pt x="6351705" y="3867400"/>
                  <a:pt x="6352278" y="3868401"/>
                </a:cubicBezTo>
                <a:cubicBezTo>
                  <a:pt x="6345403" y="3867289"/>
                  <a:pt x="6343970" y="3867956"/>
                  <a:pt x="6343399" y="3864290"/>
                </a:cubicBezTo>
                <a:cubicBezTo>
                  <a:pt x="6356288" y="3860291"/>
                  <a:pt x="6372904" y="3858514"/>
                  <a:pt x="6376628" y="3858292"/>
                </a:cubicBezTo>
                <a:close/>
                <a:moveTo>
                  <a:pt x="6483478" y="3857403"/>
                </a:moveTo>
                <a:cubicBezTo>
                  <a:pt x="6486630" y="3858180"/>
                  <a:pt x="6493218" y="3859403"/>
                  <a:pt x="6495510" y="3861181"/>
                </a:cubicBezTo>
                <a:cubicBezTo>
                  <a:pt x="6496371" y="3861846"/>
                  <a:pt x="6496656" y="3862513"/>
                  <a:pt x="6496083" y="3863291"/>
                </a:cubicBezTo>
                <a:cubicBezTo>
                  <a:pt x="6491786" y="3862180"/>
                  <a:pt x="6484338" y="3862180"/>
                  <a:pt x="6483478" y="3857403"/>
                </a:cubicBezTo>
                <a:close/>
                <a:moveTo>
                  <a:pt x="7333419" y="3856293"/>
                </a:moveTo>
                <a:cubicBezTo>
                  <a:pt x="7345450" y="3859180"/>
                  <a:pt x="7355762" y="3862735"/>
                  <a:pt x="7372950" y="3862736"/>
                </a:cubicBezTo>
                <a:cubicBezTo>
                  <a:pt x="7372378" y="3866068"/>
                  <a:pt x="7378680" y="3865846"/>
                  <a:pt x="7376961" y="3869844"/>
                </a:cubicBezTo>
                <a:cubicBezTo>
                  <a:pt x="7366648" y="3875399"/>
                  <a:pt x="7333418" y="3868845"/>
                  <a:pt x="7333419" y="3856293"/>
                </a:cubicBezTo>
                <a:close/>
                <a:moveTo>
                  <a:pt x="6208186" y="3854848"/>
                </a:moveTo>
                <a:cubicBezTo>
                  <a:pt x="6213056" y="3855404"/>
                  <a:pt x="6219645" y="3856071"/>
                  <a:pt x="6222796" y="3857514"/>
                </a:cubicBezTo>
                <a:cubicBezTo>
                  <a:pt x="6219358" y="3858292"/>
                  <a:pt x="6212770" y="3858737"/>
                  <a:pt x="6209905" y="3856181"/>
                </a:cubicBezTo>
                <a:cubicBezTo>
                  <a:pt x="6209905" y="3856181"/>
                  <a:pt x="6209619" y="3856070"/>
                  <a:pt x="6208186" y="3854848"/>
                </a:cubicBezTo>
                <a:close/>
                <a:moveTo>
                  <a:pt x="6567126" y="3854738"/>
                </a:moveTo>
                <a:cubicBezTo>
                  <a:pt x="6567126" y="3854738"/>
                  <a:pt x="6567699" y="3854848"/>
                  <a:pt x="6568272" y="3855071"/>
                </a:cubicBezTo>
                <a:cubicBezTo>
                  <a:pt x="6568558" y="3855404"/>
                  <a:pt x="6568846" y="3855848"/>
                  <a:pt x="6568558" y="3856515"/>
                </a:cubicBezTo>
                <a:cubicBezTo>
                  <a:pt x="6568558" y="3856515"/>
                  <a:pt x="6568558" y="3856515"/>
                  <a:pt x="6567127" y="3857070"/>
                </a:cubicBezTo>
                <a:cubicBezTo>
                  <a:pt x="6567127" y="3857070"/>
                  <a:pt x="6566554" y="3856182"/>
                  <a:pt x="6567126" y="3854738"/>
                </a:cubicBezTo>
                <a:close/>
                <a:moveTo>
                  <a:pt x="6874216" y="3854293"/>
                </a:moveTo>
                <a:cubicBezTo>
                  <a:pt x="6882810" y="3859736"/>
                  <a:pt x="6889972" y="3865513"/>
                  <a:pt x="6905154" y="3869623"/>
                </a:cubicBezTo>
                <a:cubicBezTo>
                  <a:pt x="6902576" y="3872622"/>
                  <a:pt x="6908019" y="3873844"/>
                  <a:pt x="6903722" y="3877065"/>
                </a:cubicBezTo>
                <a:cubicBezTo>
                  <a:pt x="6890258" y="3879731"/>
                  <a:pt x="6865049" y="3865623"/>
                  <a:pt x="6874216" y="3854293"/>
                </a:cubicBezTo>
                <a:close/>
                <a:moveTo>
                  <a:pt x="6274073" y="3853960"/>
                </a:moveTo>
                <a:cubicBezTo>
                  <a:pt x="6275506" y="3853403"/>
                  <a:pt x="6279802" y="3854404"/>
                  <a:pt x="6282094" y="3854959"/>
                </a:cubicBezTo>
                <a:cubicBezTo>
                  <a:pt x="6283526" y="3854404"/>
                  <a:pt x="6285819" y="3854960"/>
                  <a:pt x="6286391" y="3855959"/>
                </a:cubicBezTo>
                <a:cubicBezTo>
                  <a:pt x="6286391" y="3855959"/>
                  <a:pt x="6288683" y="3856514"/>
                  <a:pt x="6290115" y="3855959"/>
                </a:cubicBezTo>
                <a:cubicBezTo>
                  <a:pt x="6294412" y="3856959"/>
                  <a:pt x="6294985" y="3858070"/>
                  <a:pt x="6295558" y="3859069"/>
                </a:cubicBezTo>
                <a:cubicBezTo>
                  <a:pt x="6295558" y="3859069"/>
                  <a:pt x="6293553" y="3858625"/>
                  <a:pt x="6291834" y="3859069"/>
                </a:cubicBezTo>
                <a:cubicBezTo>
                  <a:pt x="6291834" y="3859069"/>
                  <a:pt x="6289829" y="3858514"/>
                  <a:pt x="6287537" y="3858070"/>
                </a:cubicBezTo>
                <a:cubicBezTo>
                  <a:pt x="6287537" y="3858070"/>
                  <a:pt x="6286104" y="3858625"/>
                  <a:pt x="6284672" y="3859070"/>
                </a:cubicBezTo>
                <a:cubicBezTo>
                  <a:pt x="6278656" y="3858626"/>
                  <a:pt x="6274932" y="3858626"/>
                  <a:pt x="6274073" y="3853960"/>
                </a:cubicBezTo>
                <a:close/>
                <a:moveTo>
                  <a:pt x="6627856" y="3851627"/>
                </a:moveTo>
                <a:cubicBezTo>
                  <a:pt x="6627284" y="3853293"/>
                  <a:pt x="6624419" y="3857182"/>
                  <a:pt x="6618404" y="3856959"/>
                </a:cubicBezTo>
                <a:cubicBezTo>
                  <a:pt x="6612388" y="3856737"/>
                  <a:pt x="6608664" y="3859625"/>
                  <a:pt x="6602934" y="3859402"/>
                </a:cubicBezTo>
                <a:cubicBezTo>
                  <a:pt x="6602934" y="3859402"/>
                  <a:pt x="6602934" y="3859402"/>
                  <a:pt x="6603507" y="3857736"/>
                </a:cubicBezTo>
                <a:cubicBezTo>
                  <a:pt x="6612388" y="3856737"/>
                  <a:pt x="6618117" y="3851627"/>
                  <a:pt x="6627856" y="3851627"/>
                </a:cubicBezTo>
                <a:close/>
                <a:moveTo>
                  <a:pt x="7261516" y="3850072"/>
                </a:moveTo>
                <a:cubicBezTo>
                  <a:pt x="7263521" y="3849960"/>
                  <a:pt x="7263808" y="3850516"/>
                  <a:pt x="7263808" y="3851294"/>
                </a:cubicBezTo>
                <a:cubicBezTo>
                  <a:pt x="7263809" y="3852182"/>
                  <a:pt x="7263234" y="3853404"/>
                  <a:pt x="7263234" y="3854738"/>
                </a:cubicBezTo>
                <a:lnTo>
                  <a:pt x="7256647" y="3853515"/>
                </a:lnTo>
                <a:cubicBezTo>
                  <a:pt x="7257219" y="3851849"/>
                  <a:pt x="7259510" y="3849628"/>
                  <a:pt x="7261516" y="3850072"/>
                </a:cubicBezTo>
                <a:close/>
                <a:moveTo>
                  <a:pt x="5995057" y="3847628"/>
                </a:moveTo>
                <a:cubicBezTo>
                  <a:pt x="5999354" y="3846518"/>
                  <a:pt x="6003364" y="3848072"/>
                  <a:pt x="6006229" y="3850738"/>
                </a:cubicBezTo>
                <a:cubicBezTo>
                  <a:pt x="6012245" y="3856070"/>
                  <a:pt x="6013965" y="3866179"/>
                  <a:pt x="6007375" y="3868845"/>
                </a:cubicBezTo>
                <a:cubicBezTo>
                  <a:pt x="6002792" y="3870622"/>
                  <a:pt x="5994770" y="3869067"/>
                  <a:pt x="5981306" y="3860736"/>
                </a:cubicBezTo>
                <a:cubicBezTo>
                  <a:pt x="5985890" y="3852738"/>
                  <a:pt x="5990760" y="3848850"/>
                  <a:pt x="5995057" y="3847628"/>
                </a:cubicBezTo>
                <a:close/>
                <a:moveTo>
                  <a:pt x="7275266" y="3847073"/>
                </a:moveTo>
                <a:cubicBezTo>
                  <a:pt x="7276126" y="3848072"/>
                  <a:pt x="7277558" y="3847517"/>
                  <a:pt x="7278418" y="3848406"/>
                </a:cubicBezTo>
                <a:cubicBezTo>
                  <a:pt x="7278418" y="3848406"/>
                  <a:pt x="7279850" y="3849183"/>
                  <a:pt x="7281282" y="3850516"/>
                </a:cubicBezTo>
                <a:cubicBezTo>
                  <a:pt x="7281855" y="3851294"/>
                  <a:pt x="7282428" y="3852072"/>
                  <a:pt x="7282714" y="3853182"/>
                </a:cubicBezTo>
                <a:cubicBezTo>
                  <a:pt x="7283287" y="3854293"/>
                  <a:pt x="7283287" y="3855515"/>
                  <a:pt x="7282714" y="3856959"/>
                </a:cubicBezTo>
                <a:cubicBezTo>
                  <a:pt x="7282142" y="3858625"/>
                  <a:pt x="7279277" y="3862402"/>
                  <a:pt x="7278418" y="3861403"/>
                </a:cubicBezTo>
                <a:cubicBezTo>
                  <a:pt x="7276126" y="3861069"/>
                  <a:pt x="7276698" y="3862180"/>
                  <a:pt x="7275266" y="3862735"/>
                </a:cubicBezTo>
                <a:cubicBezTo>
                  <a:pt x="7268391" y="3861624"/>
                  <a:pt x="7264667" y="3859292"/>
                  <a:pt x="7265527" y="3855070"/>
                </a:cubicBezTo>
                <a:cubicBezTo>
                  <a:pt x="7266958" y="3851849"/>
                  <a:pt x="7269250" y="3846962"/>
                  <a:pt x="7275266" y="3847073"/>
                </a:cubicBezTo>
                <a:close/>
                <a:moveTo>
                  <a:pt x="6170086" y="3845961"/>
                </a:moveTo>
                <a:cubicBezTo>
                  <a:pt x="6178394" y="3847962"/>
                  <a:pt x="6190426" y="3848184"/>
                  <a:pt x="6196728" y="3852293"/>
                </a:cubicBezTo>
                <a:cubicBezTo>
                  <a:pt x="6193290" y="3851960"/>
                  <a:pt x="6174956" y="3848739"/>
                  <a:pt x="6170086" y="3845961"/>
                </a:cubicBezTo>
                <a:close/>
                <a:moveTo>
                  <a:pt x="6166649" y="3844296"/>
                </a:moveTo>
                <a:cubicBezTo>
                  <a:pt x="6168368" y="3845517"/>
                  <a:pt x="6168368" y="3845517"/>
                  <a:pt x="6170086" y="3845740"/>
                </a:cubicBezTo>
                <a:cubicBezTo>
                  <a:pt x="6170086" y="3845740"/>
                  <a:pt x="6168368" y="3846518"/>
                  <a:pt x="6168368" y="3846518"/>
                </a:cubicBezTo>
                <a:cubicBezTo>
                  <a:pt x="6166649" y="3845295"/>
                  <a:pt x="6166362" y="3846406"/>
                  <a:pt x="6166649" y="3844296"/>
                </a:cubicBezTo>
                <a:close/>
                <a:moveTo>
                  <a:pt x="6158055" y="3843295"/>
                </a:moveTo>
                <a:cubicBezTo>
                  <a:pt x="6159774" y="3843518"/>
                  <a:pt x="6161779" y="3843739"/>
                  <a:pt x="6161492" y="3844740"/>
                </a:cubicBezTo>
                <a:cubicBezTo>
                  <a:pt x="6161492" y="3845850"/>
                  <a:pt x="6159774" y="3845629"/>
                  <a:pt x="6158055" y="3844406"/>
                </a:cubicBezTo>
                <a:cubicBezTo>
                  <a:pt x="6158055" y="3844406"/>
                  <a:pt x="6158055" y="3843295"/>
                  <a:pt x="6158055" y="3843295"/>
                </a:cubicBezTo>
                <a:close/>
                <a:moveTo>
                  <a:pt x="6436785" y="3842073"/>
                </a:moveTo>
                <a:cubicBezTo>
                  <a:pt x="6444520" y="3842518"/>
                  <a:pt x="6452827" y="3843851"/>
                  <a:pt x="6461421" y="3847628"/>
                </a:cubicBezTo>
                <a:cubicBezTo>
                  <a:pt x="6448530" y="3857736"/>
                  <a:pt x="6424180" y="3848850"/>
                  <a:pt x="6413582" y="3842741"/>
                </a:cubicBezTo>
                <a:cubicBezTo>
                  <a:pt x="6421030" y="3842296"/>
                  <a:pt x="6428764" y="3841740"/>
                  <a:pt x="6436785" y="3842073"/>
                </a:cubicBezTo>
                <a:close/>
                <a:moveTo>
                  <a:pt x="6148602" y="3839742"/>
                </a:moveTo>
                <a:cubicBezTo>
                  <a:pt x="6153473" y="3841407"/>
                  <a:pt x="6153473" y="3841407"/>
                  <a:pt x="6156623" y="3844073"/>
                </a:cubicBezTo>
                <a:cubicBezTo>
                  <a:pt x="6154904" y="3843852"/>
                  <a:pt x="6151465" y="3844740"/>
                  <a:pt x="6150034" y="3843407"/>
                </a:cubicBezTo>
                <a:cubicBezTo>
                  <a:pt x="6148316" y="3842074"/>
                  <a:pt x="6148316" y="3842074"/>
                  <a:pt x="6148602" y="3839742"/>
                </a:cubicBezTo>
                <a:close/>
                <a:moveTo>
                  <a:pt x="6819502" y="3839075"/>
                </a:moveTo>
                <a:cubicBezTo>
                  <a:pt x="6821793" y="3839519"/>
                  <a:pt x="6823799" y="3840630"/>
                  <a:pt x="6825230" y="3841963"/>
                </a:cubicBezTo>
                <a:cubicBezTo>
                  <a:pt x="6826950" y="3842740"/>
                  <a:pt x="6827522" y="3843962"/>
                  <a:pt x="6827522" y="3845295"/>
                </a:cubicBezTo>
                <a:cubicBezTo>
                  <a:pt x="6827522" y="3846628"/>
                  <a:pt x="6827236" y="3848072"/>
                  <a:pt x="6826090" y="3849183"/>
                </a:cubicBezTo>
                <a:cubicBezTo>
                  <a:pt x="6824372" y="3850072"/>
                  <a:pt x="6824372" y="3850072"/>
                  <a:pt x="6822652" y="3851072"/>
                </a:cubicBezTo>
                <a:cubicBezTo>
                  <a:pt x="6819215" y="3850738"/>
                  <a:pt x="6815778" y="3851516"/>
                  <a:pt x="6812626" y="3850072"/>
                </a:cubicBezTo>
                <a:cubicBezTo>
                  <a:pt x="6809475" y="3847295"/>
                  <a:pt x="6811767" y="3841741"/>
                  <a:pt x="6813772" y="3839519"/>
                </a:cubicBezTo>
                <a:cubicBezTo>
                  <a:pt x="6815491" y="3838630"/>
                  <a:pt x="6817496" y="3838519"/>
                  <a:pt x="6819502" y="3839075"/>
                </a:cubicBezTo>
                <a:close/>
                <a:moveTo>
                  <a:pt x="6513844" y="3839075"/>
                </a:moveTo>
                <a:cubicBezTo>
                  <a:pt x="6517283" y="3839408"/>
                  <a:pt x="6520146" y="3840408"/>
                  <a:pt x="6522438" y="3842629"/>
                </a:cubicBezTo>
                <a:lnTo>
                  <a:pt x="6526735" y="3852515"/>
                </a:lnTo>
                <a:lnTo>
                  <a:pt x="6533324" y="3849183"/>
                </a:lnTo>
                <a:cubicBezTo>
                  <a:pt x="6538766" y="3850405"/>
                  <a:pt x="6542490" y="3854516"/>
                  <a:pt x="6544209" y="3859291"/>
                </a:cubicBezTo>
                <a:cubicBezTo>
                  <a:pt x="6545642" y="3863957"/>
                  <a:pt x="6545355" y="3869178"/>
                  <a:pt x="6542777" y="3872400"/>
                </a:cubicBezTo>
                <a:cubicBezTo>
                  <a:pt x="6535615" y="3874954"/>
                  <a:pt x="6530172" y="3875065"/>
                  <a:pt x="6526162" y="3873844"/>
                </a:cubicBezTo>
                <a:cubicBezTo>
                  <a:pt x="6516995" y="3870955"/>
                  <a:pt x="6515849" y="3860846"/>
                  <a:pt x="6523011" y="3854182"/>
                </a:cubicBezTo>
                <a:lnTo>
                  <a:pt x="6525876" y="3852849"/>
                </a:lnTo>
                <a:lnTo>
                  <a:pt x="6512698" y="3851183"/>
                </a:lnTo>
                <a:cubicBezTo>
                  <a:pt x="6498088" y="3850961"/>
                  <a:pt x="6484052" y="3854071"/>
                  <a:pt x="6474598" y="3847627"/>
                </a:cubicBezTo>
                <a:cubicBezTo>
                  <a:pt x="6486916" y="3845739"/>
                  <a:pt x="6502672" y="3838187"/>
                  <a:pt x="6513844" y="3839075"/>
                </a:cubicBezTo>
                <a:close/>
                <a:moveTo>
                  <a:pt x="6632726" y="3838631"/>
                </a:moveTo>
                <a:lnTo>
                  <a:pt x="6632154" y="3840074"/>
                </a:lnTo>
                <a:lnTo>
                  <a:pt x="6632726" y="3839741"/>
                </a:lnTo>
                <a:close/>
                <a:moveTo>
                  <a:pt x="7252349" y="3838187"/>
                </a:moveTo>
                <a:cubicBezTo>
                  <a:pt x="7254354" y="3838519"/>
                  <a:pt x="7255214" y="3839519"/>
                  <a:pt x="7255214" y="3839519"/>
                </a:cubicBezTo>
                <a:cubicBezTo>
                  <a:pt x="7254640" y="3843740"/>
                  <a:pt x="7251776" y="3847628"/>
                  <a:pt x="7244901" y="3846406"/>
                </a:cubicBezTo>
                <a:cubicBezTo>
                  <a:pt x="7242609" y="3846073"/>
                  <a:pt x="7240604" y="3845629"/>
                  <a:pt x="7242036" y="3845073"/>
                </a:cubicBezTo>
                <a:cubicBezTo>
                  <a:pt x="7241177" y="3844073"/>
                  <a:pt x="7242609" y="3843407"/>
                  <a:pt x="7243468" y="3841852"/>
                </a:cubicBezTo>
                <a:cubicBezTo>
                  <a:pt x="7245473" y="3839630"/>
                  <a:pt x="7250058" y="3837741"/>
                  <a:pt x="7252349" y="3838187"/>
                </a:cubicBezTo>
                <a:close/>
                <a:moveTo>
                  <a:pt x="6555954" y="3836186"/>
                </a:moveTo>
                <a:cubicBezTo>
                  <a:pt x="6558819" y="3837742"/>
                  <a:pt x="6555096" y="3850294"/>
                  <a:pt x="6547933" y="3847628"/>
                </a:cubicBezTo>
                <a:cubicBezTo>
                  <a:pt x="6542490" y="3844518"/>
                  <a:pt x="6552230" y="3836186"/>
                  <a:pt x="6555954" y="3836186"/>
                </a:cubicBezTo>
                <a:close/>
                <a:moveTo>
                  <a:pt x="6635305" y="3832631"/>
                </a:moveTo>
                <a:cubicBezTo>
                  <a:pt x="6637024" y="3832521"/>
                  <a:pt x="6638170" y="3833187"/>
                  <a:pt x="6638456" y="3834298"/>
                </a:cubicBezTo>
                <a:lnTo>
                  <a:pt x="6638456" y="3836075"/>
                </a:lnTo>
                <a:lnTo>
                  <a:pt x="6644472" y="3833854"/>
                </a:lnTo>
                <a:cubicBezTo>
                  <a:pt x="6648483" y="3835631"/>
                  <a:pt x="6655644" y="3834297"/>
                  <a:pt x="6659940" y="3841963"/>
                </a:cubicBezTo>
                <a:cubicBezTo>
                  <a:pt x="6663092" y="3850628"/>
                  <a:pt x="6650201" y="3853849"/>
                  <a:pt x="6651634" y="3854516"/>
                </a:cubicBezTo>
                <a:lnTo>
                  <a:pt x="6651920" y="3855515"/>
                </a:lnTo>
                <a:lnTo>
                  <a:pt x="6653638" y="3854627"/>
                </a:lnTo>
                <a:cubicBezTo>
                  <a:pt x="6654784" y="3853960"/>
                  <a:pt x="6655358" y="3853626"/>
                  <a:pt x="6655358" y="3853626"/>
                </a:cubicBezTo>
                <a:cubicBezTo>
                  <a:pt x="6659082" y="3853404"/>
                  <a:pt x="6659940" y="3854293"/>
                  <a:pt x="6659083" y="3853293"/>
                </a:cubicBezTo>
                <a:cubicBezTo>
                  <a:pt x="6663666" y="3854070"/>
                  <a:pt x="6669681" y="3854182"/>
                  <a:pt x="6669681" y="3856848"/>
                </a:cubicBezTo>
                <a:cubicBezTo>
                  <a:pt x="6667389" y="3863623"/>
                  <a:pt x="6654212" y="3864624"/>
                  <a:pt x="6645618" y="3865068"/>
                </a:cubicBezTo>
                <a:lnTo>
                  <a:pt x="6639888" y="3865513"/>
                </a:lnTo>
                <a:lnTo>
                  <a:pt x="6637596" y="3869067"/>
                </a:lnTo>
                <a:cubicBezTo>
                  <a:pt x="6634732" y="3870177"/>
                  <a:pt x="6630723" y="3868623"/>
                  <a:pt x="6629862" y="3866401"/>
                </a:cubicBezTo>
                <a:lnTo>
                  <a:pt x="6631009" y="3863402"/>
                </a:lnTo>
                <a:lnTo>
                  <a:pt x="6627856" y="3863735"/>
                </a:lnTo>
                <a:cubicBezTo>
                  <a:pt x="6628430" y="3862069"/>
                  <a:pt x="6630722" y="3857293"/>
                  <a:pt x="6630722" y="3857293"/>
                </a:cubicBezTo>
                <a:cubicBezTo>
                  <a:pt x="6629862" y="3856293"/>
                  <a:pt x="6629862" y="3856293"/>
                  <a:pt x="6630722" y="3854627"/>
                </a:cubicBezTo>
                <a:cubicBezTo>
                  <a:pt x="6633013" y="3855071"/>
                  <a:pt x="6633013" y="3855071"/>
                  <a:pt x="6633586" y="3856070"/>
                </a:cubicBezTo>
                <a:cubicBezTo>
                  <a:pt x="6633013" y="3857625"/>
                  <a:pt x="6631294" y="3858292"/>
                  <a:pt x="6630722" y="3859847"/>
                </a:cubicBezTo>
                <a:cubicBezTo>
                  <a:pt x="6635305" y="3860625"/>
                  <a:pt x="6634446" y="3859625"/>
                  <a:pt x="6633586" y="3861291"/>
                </a:cubicBezTo>
                <a:cubicBezTo>
                  <a:pt x="6633586" y="3861291"/>
                  <a:pt x="6633872" y="3861180"/>
                  <a:pt x="6633013" y="3862847"/>
                </a:cubicBezTo>
                <a:lnTo>
                  <a:pt x="6632726" y="3863179"/>
                </a:lnTo>
                <a:lnTo>
                  <a:pt x="6633300" y="3863290"/>
                </a:lnTo>
                <a:lnTo>
                  <a:pt x="6633013" y="3862847"/>
                </a:lnTo>
                <a:lnTo>
                  <a:pt x="6648196" y="3857403"/>
                </a:lnTo>
                <a:lnTo>
                  <a:pt x="6648482" y="3855959"/>
                </a:lnTo>
                <a:cubicBezTo>
                  <a:pt x="6647336" y="3856959"/>
                  <a:pt x="6647050" y="3855293"/>
                  <a:pt x="6647050" y="3855293"/>
                </a:cubicBezTo>
                <a:cubicBezTo>
                  <a:pt x="6647050" y="3855293"/>
                  <a:pt x="6647050" y="3855404"/>
                  <a:pt x="6642180" y="3856293"/>
                </a:cubicBezTo>
                <a:cubicBezTo>
                  <a:pt x="6642180" y="3856293"/>
                  <a:pt x="6631581" y="3857403"/>
                  <a:pt x="6628716" y="3850405"/>
                </a:cubicBezTo>
                <a:cubicBezTo>
                  <a:pt x="6629576" y="3850183"/>
                  <a:pt x="6629863" y="3848739"/>
                  <a:pt x="6630148" y="3846738"/>
                </a:cubicBezTo>
                <a:lnTo>
                  <a:pt x="6631008" y="3843406"/>
                </a:lnTo>
                <a:lnTo>
                  <a:pt x="6630435" y="3844852"/>
                </a:lnTo>
                <a:cubicBezTo>
                  <a:pt x="6628430" y="3846295"/>
                  <a:pt x="6625852" y="3847073"/>
                  <a:pt x="6622700" y="3847184"/>
                </a:cubicBezTo>
                <a:cubicBezTo>
                  <a:pt x="6617543" y="3842852"/>
                  <a:pt x="6619836" y="3838853"/>
                  <a:pt x="6625852" y="3838075"/>
                </a:cubicBezTo>
                <a:lnTo>
                  <a:pt x="6632726" y="3838408"/>
                </a:lnTo>
                <a:lnTo>
                  <a:pt x="6633013" y="3838297"/>
                </a:lnTo>
                <a:cubicBezTo>
                  <a:pt x="6633300" y="3836075"/>
                  <a:pt x="6633586" y="3834298"/>
                  <a:pt x="6633586" y="3833298"/>
                </a:cubicBezTo>
                <a:cubicBezTo>
                  <a:pt x="6635305" y="3832631"/>
                  <a:pt x="6635305" y="3832631"/>
                  <a:pt x="6635305" y="3832631"/>
                </a:cubicBezTo>
                <a:close/>
                <a:moveTo>
                  <a:pt x="6238552" y="3832631"/>
                </a:moveTo>
                <a:cubicBezTo>
                  <a:pt x="6240270" y="3832410"/>
                  <a:pt x="6241989" y="3832410"/>
                  <a:pt x="6243135" y="3832743"/>
                </a:cubicBezTo>
                <a:cubicBezTo>
                  <a:pt x="6250870" y="3842518"/>
                  <a:pt x="6238552" y="3846962"/>
                  <a:pt x="6230244" y="3843962"/>
                </a:cubicBezTo>
                <a:cubicBezTo>
                  <a:pt x="6227380" y="3842963"/>
                  <a:pt x="6224802" y="3841074"/>
                  <a:pt x="6223656" y="3838297"/>
                </a:cubicBezTo>
                <a:cubicBezTo>
                  <a:pt x="6225661" y="3835964"/>
                  <a:pt x="6233109" y="3833188"/>
                  <a:pt x="6238552" y="3832631"/>
                </a:cubicBezTo>
                <a:close/>
                <a:moveTo>
                  <a:pt x="6035162" y="3832076"/>
                </a:moveTo>
                <a:cubicBezTo>
                  <a:pt x="6036022" y="3832077"/>
                  <a:pt x="6036882" y="3832410"/>
                  <a:pt x="6037454" y="3833187"/>
                </a:cubicBezTo>
                <a:cubicBezTo>
                  <a:pt x="6037454" y="3833187"/>
                  <a:pt x="6036594" y="3834187"/>
                  <a:pt x="6032298" y="3835075"/>
                </a:cubicBezTo>
                <a:cubicBezTo>
                  <a:pt x="6032870" y="3833965"/>
                  <a:pt x="6031152" y="3833409"/>
                  <a:pt x="6031152" y="3833409"/>
                </a:cubicBezTo>
                <a:cubicBezTo>
                  <a:pt x="6031152" y="3833409"/>
                  <a:pt x="6031438" y="3833520"/>
                  <a:pt x="6030579" y="3834520"/>
                </a:cubicBezTo>
                <a:cubicBezTo>
                  <a:pt x="6030292" y="3833742"/>
                  <a:pt x="6030578" y="3833188"/>
                  <a:pt x="6030866" y="3832854"/>
                </a:cubicBezTo>
                <a:cubicBezTo>
                  <a:pt x="6031438" y="3832521"/>
                  <a:pt x="6032011" y="3832410"/>
                  <a:pt x="6032011" y="3832410"/>
                </a:cubicBezTo>
                <a:cubicBezTo>
                  <a:pt x="6033156" y="3832188"/>
                  <a:pt x="6034302" y="3831966"/>
                  <a:pt x="6035162" y="3832076"/>
                </a:cubicBezTo>
                <a:close/>
                <a:moveTo>
                  <a:pt x="6694316" y="3831854"/>
                </a:moveTo>
                <a:cubicBezTo>
                  <a:pt x="6697468" y="3831966"/>
                  <a:pt x="6699760" y="3831965"/>
                  <a:pt x="6701478" y="3832299"/>
                </a:cubicBezTo>
                <a:cubicBezTo>
                  <a:pt x="6702911" y="3832631"/>
                  <a:pt x="6703484" y="3833521"/>
                  <a:pt x="6702624" y="3835075"/>
                </a:cubicBezTo>
                <a:cubicBezTo>
                  <a:pt x="6702624" y="3837741"/>
                  <a:pt x="6699186" y="3837964"/>
                  <a:pt x="6697754" y="3841185"/>
                </a:cubicBezTo>
                <a:cubicBezTo>
                  <a:pt x="6696322" y="3847184"/>
                  <a:pt x="6712650" y="3848184"/>
                  <a:pt x="6710072" y="3860069"/>
                </a:cubicBezTo>
                <a:cubicBezTo>
                  <a:pt x="6705488" y="3859292"/>
                  <a:pt x="6701192" y="3866401"/>
                  <a:pt x="6694316" y="3865290"/>
                </a:cubicBezTo>
                <a:cubicBezTo>
                  <a:pt x="6673118" y="3863512"/>
                  <a:pt x="6673692" y="3859180"/>
                  <a:pt x="6672832" y="3850183"/>
                </a:cubicBezTo>
                <a:cubicBezTo>
                  <a:pt x="6673404" y="3851183"/>
                  <a:pt x="6674264" y="3849628"/>
                  <a:pt x="6674264" y="3849628"/>
                </a:cubicBezTo>
                <a:cubicBezTo>
                  <a:pt x="6675696" y="3846295"/>
                  <a:pt x="6665956" y="3849072"/>
                  <a:pt x="6666530" y="3844740"/>
                </a:cubicBezTo>
                <a:cubicBezTo>
                  <a:pt x="6668821" y="3837853"/>
                  <a:pt x="6680566" y="3835186"/>
                  <a:pt x="6687156" y="3833965"/>
                </a:cubicBezTo>
                <a:lnTo>
                  <a:pt x="6690879" y="3833298"/>
                </a:lnTo>
                <a:lnTo>
                  <a:pt x="6690020" y="3832188"/>
                </a:lnTo>
                <a:lnTo>
                  <a:pt x="6692598" y="3832631"/>
                </a:lnTo>
                <a:lnTo>
                  <a:pt x="6692884" y="3832520"/>
                </a:lnTo>
                <a:cubicBezTo>
                  <a:pt x="6693457" y="3833521"/>
                  <a:pt x="6695176" y="3832854"/>
                  <a:pt x="6694316" y="3831854"/>
                </a:cubicBezTo>
                <a:close/>
                <a:moveTo>
                  <a:pt x="6405847" y="3830522"/>
                </a:moveTo>
                <a:cubicBezTo>
                  <a:pt x="6407566" y="3831743"/>
                  <a:pt x="6411290" y="3835298"/>
                  <a:pt x="6408138" y="3838631"/>
                </a:cubicBezTo>
                <a:cubicBezTo>
                  <a:pt x="6404988" y="3841963"/>
                  <a:pt x="6406706" y="3845518"/>
                  <a:pt x="6403555" y="3848850"/>
                </a:cubicBezTo>
                <a:cubicBezTo>
                  <a:pt x="6403555" y="3848850"/>
                  <a:pt x="6403555" y="3848850"/>
                  <a:pt x="6401836" y="3847628"/>
                </a:cubicBezTo>
                <a:cubicBezTo>
                  <a:pt x="6404988" y="3842074"/>
                  <a:pt x="6400977" y="3836186"/>
                  <a:pt x="6405847" y="3830522"/>
                </a:cubicBezTo>
                <a:close/>
                <a:moveTo>
                  <a:pt x="6414154" y="3829411"/>
                </a:moveTo>
                <a:cubicBezTo>
                  <a:pt x="6415873" y="3830632"/>
                  <a:pt x="6416160" y="3831854"/>
                  <a:pt x="6417878" y="3832965"/>
                </a:cubicBezTo>
                <a:cubicBezTo>
                  <a:pt x="6421030" y="3830744"/>
                  <a:pt x="6419310" y="3830743"/>
                  <a:pt x="6421030" y="3831965"/>
                </a:cubicBezTo>
                <a:cubicBezTo>
                  <a:pt x="6421030" y="3831965"/>
                  <a:pt x="6421316" y="3831965"/>
                  <a:pt x="6423034" y="3833188"/>
                </a:cubicBezTo>
                <a:cubicBezTo>
                  <a:pt x="6423034" y="3833188"/>
                  <a:pt x="6424754" y="3833188"/>
                  <a:pt x="6421602" y="3836630"/>
                </a:cubicBezTo>
                <a:cubicBezTo>
                  <a:pt x="6419884" y="3835409"/>
                  <a:pt x="6414441" y="3831742"/>
                  <a:pt x="6414441" y="3831742"/>
                </a:cubicBezTo>
                <a:cubicBezTo>
                  <a:pt x="6412722" y="3831742"/>
                  <a:pt x="6412722" y="3831742"/>
                  <a:pt x="6411003" y="3830521"/>
                </a:cubicBezTo>
                <a:cubicBezTo>
                  <a:pt x="6412722" y="3829410"/>
                  <a:pt x="6412437" y="3829410"/>
                  <a:pt x="6414154" y="3829411"/>
                </a:cubicBezTo>
                <a:close/>
                <a:moveTo>
                  <a:pt x="6577153" y="3826522"/>
                </a:moveTo>
                <a:cubicBezTo>
                  <a:pt x="6579444" y="3827078"/>
                  <a:pt x="6580304" y="3829411"/>
                  <a:pt x="6579730" y="3832077"/>
                </a:cubicBezTo>
                <a:cubicBezTo>
                  <a:pt x="6577726" y="3831410"/>
                  <a:pt x="6574861" y="3833409"/>
                  <a:pt x="6572569" y="3832743"/>
                </a:cubicBezTo>
                <a:cubicBezTo>
                  <a:pt x="6572569" y="3832743"/>
                  <a:pt x="6569418" y="3829855"/>
                  <a:pt x="6569418" y="3829855"/>
                </a:cubicBezTo>
                <a:cubicBezTo>
                  <a:pt x="6570564" y="3828300"/>
                  <a:pt x="6570564" y="3828300"/>
                  <a:pt x="6571137" y="3829411"/>
                </a:cubicBezTo>
                <a:cubicBezTo>
                  <a:pt x="6574002" y="3827411"/>
                  <a:pt x="6575434" y="3826967"/>
                  <a:pt x="6577153" y="3826522"/>
                </a:cubicBezTo>
                <a:close/>
                <a:moveTo>
                  <a:pt x="6935233" y="3825966"/>
                </a:moveTo>
                <a:cubicBezTo>
                  <a:pt x="6936952" y="3830632"/>
                  <a:pt x="6938670" y="3835298"/>
                  <a:pt x="6931796" y="3837074"/>
                </a:cubicBezTo>
                <a:cubicBezTo>
                  <a:pt x="6924634" y="3834631"/>
                  <a:pt x="6924634" y="3827856"/>
                  <a:pt x="6935233" y="3825966"/>
                </a:cubicBezTo>
                <a:close/>
                <a:moveTo>
                  <a:pt x="5955780" y="3825756"/>
                </a:moveTo>
                <a:lnTo>
                  <a:pt x="5943579" y="3829134"/>
                </a:lnTo>
                <a:lnTo>
                  <a:pt x="5948650" y="3828966"/>
                </a:lnTo>
                <a:lnTo>
                  <a:pt x="5952374" y="3829633"/>
                </a:lnTo>
                <a:lnTo>
                  <a:pt x="5955525" y="3825856"/>
                </a:lnTo>
                <a:close/>
                <a:moveTo>
                  <a:pt x="6258031" y="3825522"/>
                </a:moveTo>
                <a:cubicBezTo>
                  <a:pt x="6261469" y="3826078"/>
                  <a:pt x="6264906" y="3826633"/>
                  <a:pt x="6265480" y="3828967"/>
                </a:cubicBezTo>
                <a:cubicBezTo>
                  <a:pt x="6265480" y="3829632"/>
                  <a:pt x="6265480" y="3830633"/>
                  <a:pt x="6264906" y="3831854"/>
                </a:cubicBezTo>
                <a:cubicBezTo>
                  <a:pt x="6264906" y="3831854"/>
                  <a:pt x="6264906" y="3831854"/>
                  <a:pt x="6263474" y="3832521"/>
                </a:cubicBezTo>
                <a:cubicBezTo>
                  <a:pt x="6260610" y="3833743"/>
                  <a:pt x="6259177" y="3834298"/>
                  <a:pt x="6257458" y="3834964"/>
                </a:cubicBezTo>
                <a:cubicBezTo>
                  <a:pt x="6255453" y="3834520"/>
                  <a:pt x="6250010" y="3832854"/>
                  <a:pt x="6250583" y="3831188"/>
                </a:cubicBezTo>
                <a:cubicBezTo>
                  <a:pt x="6252016" y="3827966"/>
                  <a:pt x="6255740" y="3825189"/>
                  <a:pt x="6258031" y="3825522"/>
                </a:cubicBezTo>
                <a:close/>
                <a:moveTo>
                  <a:pt x="6118237" y="3825189"/>
                </a:moveTo>
                <a:cubicBezTo>
                  <a:pt x="6119956" y="3825745"/>
                  <a:pt x="6123680" y="3825855"/>
                  <a:pt x="6124540" y="3827522"/>
                </a:cubicBezTo>
                <a:cubicBezTo>
                  <a:pt x="6125399" y="3829188"/>
                  <a:pt x="6125399" y="3829188"/>
                  <a:pt x="6123966" y="3831188"/>
                </a:cubicBezTo>
                <a:cubicBezTo>
                  <a:pt x="6119956" y="3828411"/>
                  <a:pt x="6119956" y="3828411"/>
                  <a:pt x="6118237" y="3825189"/>
                </a:cubicBezTo>
                <a:close/>
                <a:moveTo>
                  <a:pt x="6830387" y="3824523"/>
                </a:moveTo>
                <a:cubicBezTo>
                  <a:pt x="6831246" y="3824745"/>
                  <a:pt x="6832392" y="3825301"/>
                  <a:pt x="6833252" y="3825855"/>
                </a:cubicBezTo>
                <a:cubicBezTo>
                  <a:pt x="6835257" y="3826967"/>
                  <a:pt x="6837262" y="3828078"/>
                  <a:pt x="6839268" y="3829188"/>
                </a:cubicBezTo>
                <a:cubicBezTo>
                  <a:pt x="6839268" y="3829188"/>
                  <a:pt x="6839268" y="3829188"/>
                  <a:pt x="6827809" y="3824856"/>
                </a:cubicBezTo>
                <a:cubicBezTo>
                  <a:pt x="6828668" y="3824189"/>
                  <a:pt x="6829528" y="3824188"/>
                  <a:pt x="6830387" y="3824523"/>
                </a:cubicBezTo>
                <a:close/>
                <a:moveTo>
                  <a:pt x="7119716" y="3823744"/>
                </a:moveTo>
                <a:cubicBezTo>
                  <a:pt x="7121722" y="3824301"/>
                  <a:pt x="7124013" y="3825966"/>
                  <a:pt x="7128596" y="3829411"/>
                </a:cubicBezTo>
                <a:cubicBezTo>
                  <a:pt x="7130315" y="3830744"/>
                  <a:pt x="7131461" y="3832299"/>
                  <a:pt x="7132034" y="3833965"/>
                </a:cubicBezTo>
                <a:cubicBezTo>
                  <a:pt x="7132320" y="3835632"/>
                  <a:pt x="7132034" y="3837409"/>
                  <a:pt x="7131174" y="3839074"/>
                </a:cubicBezTo>
                <a:cubicBezTo>
                  <a:pt x="7132607" y="3841519"/>
                  <a:pt x="7132320" y="3844962"/>
                  <a:pt x="7130315" y="3847073"/>
                </a:cubicBezTo>
                <a:cubicBezTo>
                  <a:pt x="7126878" y="3848961"/>
                  <a:pt x="7123440" y="3848628"/>
                  <a:pt x="7122008" y="3847295"/>
                </a:cubicBezTo>
                <a:cubicBezTo>
                  <a:pt x="7107684" y="3837631"/>
                  <a:pt x="7115419" y="3827966"/>
                  <a:pt x="7113986" y="3825411"/>
                </a:cubicBezTo>
                <a:cubicBezTo>
                  <a:pt x="7116565" y="3823968"/>
                  <a:pt x="7117997" y="3823301"/>
                  <a:pt x="7119716" y="3823744"/>
                </a:cubicBezTo>
                <a:close/>
                <a:moveTo>
                  <a:pt x="6115372" y="3823078"/>
                </a:moveTo>
                <a:cubicBezTo>
                  <a:pt x="6115945" y="3823301"/>
                  <a:pt x="6116804" y="3823856"/>
                  <a:pt x="6117091" y="3824634"/>
                </a:cubicBezTo>
                <a:cubicBezTo>
                  <a:pt x="6117091" y="3824634"/>
                  <a:pt x="6116518" y="3825522"/>
                  <a:pt x="6116518" y="3825522"/>
                </a:cubicBezTo>
                <a:cubicBezTo>
                  <a:pt x="6114799" y="3824857"/>
                  <a:pt x="6113080" y="3824301"/>
                  <a:pt x="6113940" y="3823301"/>
                </a:cubicBezTo>
                <a:cubicBezTo>
                  <a:pt x="6114227" y="3822856"/>
                  <a:pt x="6114799" y="3822857"/>
                  <a:pt x="6115372" y="3823078"/>
                </a:cubicBezTo>
                <a:close/>
                <a:moveTo>
                  <a:pt x="6900284" y="3820857"/>
                </a:moveTo>
                <a:cubicBezTo>
                  <a:pt x="6902862" y="3820857"/>
                  <a:pt x="6905154" y="3821079"/>
                  <a:pt x="6907160" y="3821412"/>
                </a:cubicBezTo>
                <a:cubicBezTo>
                  <a:pt x="6911743" y="3822190"/>
                  <a:pt x="6915467" y="3823634"/>
                  <a:pt x="6919478" y="3824968"/>
                </a:cubicBezTo>
                <a:cubicBezTo>
                  <a:pt x="6924348" y="3840186"/>
                  <a:pt x="6902862" y="3833631"/>
                  <a:pt x="6891118" y="3833188"/>
                </a:cubicBezTo>
                <a:cubicBezTo>
                  <a:pt x="6889398" y="3828077"/>
                  <a:pt x="6889685" y="3826411"/>
                  <a:pt x="6892836" y="3821524"/>
                </a:cubicBezTo>
                <a:cubicBezTo>
                  <a:pt x="6895414" y="3820968"/>
                  <a:pt x="6897992" y="3820746"/>
                  <a:pt x="6900284" y="3820857"/>
                </a:cubicBezTo>
                <a:close/>
                <a:moveTo>
                  <a:pt x="6802314" y="3819747"/>
                </a:moveTo>
                <a:cubicBezTo>
                  <a:pt x="6806610" y="3820857"/>
                  <a:pt x="6810334" y="3820857"/>
                  <a:pt x="6812340" y="3821412"/>
                </a:cubicBezTo>
                <a:cubicBezTo>
                  <a:pt x="6811768" y="3826744"/>
                  <a:pt x="6807756" y="3829298"/>
                  <a:pt x="6801169" y="3827744"/>
                </a:cubicBezTo>
                <a:cubicBezTo>
                  <a:pt x="6803174" y="3824523"/>
                  <a:pt x="6800309" y="3822967"/>
                  <a:pt x="6802314" y="3819747"/>
                </a:cubicBezTo>
                <a:close/>
                <a:moveTo>
                  <a:pt x="6773094" y="3819747"/>
                </a:moveTo>
                <a:cubicBezTo>
                  <a:pt x="6774526" y="3820079"/>
                  <a:pt x="6775672" y="3820857"/>
                  <a:pt x="6776532" y="3821524"/>
                </a:cubicBezTo>
                <a:cubicBezTo>
                  <a:pt x="6779110" y="3822413"/>
                  <a:pt x="6780256" y="3823967"/>
                  <a:pt x="6780542" y="3825745"/>
                </a:cubicBezTo>
                <a:lnTo>
                  <a:pt x="6779970" y="3827078"/>
                </a:lnTo>
                <a:lnTo>
                  <a:pt x="6781403" y="3826189"/>
                </a:lnTo>
                <a:cubicBezTo>
                  <a:pt x="6783408" y="3825634"/>
                  <a:pt x="6785985" y="3825634"/>
                  <a:pt x="6787990" y="3826078"/>
                </a:cubicBezTo>
                <a:cubicBezTo>
                  <a:pt x="6789996" y="3825966"/>
                  <a:pt x="6791428" y="3826522"/>
                  <a:pt x="6792574" y="3827634"/>
                </a:cubicBezTo>
                <a:cubicBezTo>
                  <a:pt x="6793720" y="3828633"/>
                  <a:pt x="6794292" y="3830077"/>
                  <a:pt x="6794292" y="3831410"/>
                </a:cubicBezTo>
                <a:cubicBezTo>
                  <a:pt x="6793433" y="3832965"/>
                  <a:pt x="6793433" y="3832965"/>
                  <a:pt x="6792860" y="3834632"/>
                </a:cubicBezTo>
                <a:cubicBezTo>
                  <a:pt x="6789709" y="3835853"/>
                  <a:pt x="6787704" y="3838075"/>
                  <a:pt x="6783694" y="3838296"/>
                </a:cubicBezTo>
                <a:cubicBezTo>
                  <a:pt x="6781688" y="3837964"/>
                  <a:pt x="6779970" y="3836298"/>
                  <a:pt x="6778824" y="3834520"/>
                </a:cubicBezTo>
                <a:lnTo>
                  <a:pt x="6776818" y="3829522"/>
                </a:lnTo>
                <a:lnTo>
                  <a:pt x="6775672" y="3829744"/>
                </a:lnTo>
                <a:cubicBezTo>
                  <a:pt x="6775672" y="3829744"/>
                  <a:pt x="6777391" y="3829965"/>
                  <a:pt x="6775672" y="3830965"/>
                </a:cubicBezTo>
                <a:cubicBezTo>
                  <a:pt x="6775672" y="3829744"/>
                  <a:pt x="6773954" y="3829522"/>
                  <a:pt x="6772234" y="3829299"/>
                </a:cubicBezTo>
                <a:cubicBezTo>
                  <a:pt x="6769084" y="3826633"/>
                  <a:pt x="6766219" y="3822746"/>
                  <a:pt x="6767938" y="3820524"/>
                </a:cubicBezTo>
                <a:cubicBezTo>
                  <a:pt x="6769943" y="3819524"/>
                  <a:pt x="6771662" y="3819413"/>
                  <a:pt x="6773094" y="3819747"/>
                </a:cubicBezTo>
                <a:close/>
                <a:moveTo>
                  <a:pt x="6109356" y="3818635"/>
                </a:moveTo>
                <a:cubicBezTo>
                  <a:pt x="6110216" y="3819635"/>
                  <a:pt x="6111362" y="3820635"/>
                  <a:pt x="6111075" y="3822302"/>
                </a:cubicBezTo>
                <a:cubicBezTo>
                  <a:pt x="6110502" y="3823856"/>
                  <a:pt x="6109642" y="3822968"/>
                  <a:pt x="6110502" y="3823967"/>
                </a:cubicBezTo>
                <a:cubicBezTo>
                  <a:pt x="6110216" y="3825522"/>
                  <a:pt x="6111648" y="3824856"/>
                  <a:pt x="6111648" y="3824856"/>
                </a:cubicBezTo>
                <a:cubicBezTo>
                  <a:pt x="6111648" y="3824856"/>
                  <a:pt x="6110216" y="3825522"/>
                  <a:pt x="6110216" y="3825522"/>
                </a:cubicBezTo>
                <a:cubicBezTo>
                  <a:pt x="6110216" y="3825522"/>
                  <a:pt x="6110216" y="3825522"/>
                  <a:pt x="6109642" y="3828743"/>
                </a:cubicBezTo>
                <a:cubicBezTo>
                  <a:pt x="6109929" y="3832965"/>
                  <a:pt x="6110788" y="3834076"/>
                  <a:pt x="6111362" y="3836630"/>
                </a:cubicBezTo>
                <a:cubicBezTo>
                  <a:pt x="6110788" y="3839963"/>
                  <a:pt x="6109356" y="3840519"/>
                  <a:pt x="6107351" y="3844406"/>
                </a:cubicBezTo>
                <a:cubicBezTo>
                  <a:pt x="6103627" y="3844518"/>
                  <a:pt x="6103627" y="3844629"/>
                  <a:pt x="6102481" y="3843517"/>
                </a:cubicBezTo>
                <a:cubicBezTo>
                  <a:pt x="6103627" y="3844629"/>
                  <a:pt x="6102194" y="3845184"/>
                  <a:pt x="6101908" y="3846739"/>
                </a:cubicBezTo>
                <a:cubicBezTo>
                  <a:pt x="6103054" y="3853738"/>
                  <a:pt x="6094174" y="3854626"/>
                  <a:pt x="6083288" y="3853516"/>
                </a:cubicBezTo>
                <a:cubicBezTo>
                  <a:pt x="6083574" y="3851849"/>
                  <a:pt x="6077558" y="3851738"/>
                  <a:pt x="6074121" y="3850294"/>
                </a:cubicBezTo>
                <a:cubicBezTo>
                  <a:pt x="6072689" y="3848739"/>
                  <a:pt x="6071256" y="3847517"/>
                  <a:pt x="6070684" y="3846184"/>
                </a:cubicBezTo>
                <a:lnTo>
                  <a:pt x="6070684" y="3845961"/>
                </a:lnTo>
                <a:lnTo>
                  <a:pt x="6059798" y="3843407"/>
                </a:lnTo>
                <a:lnTo>
                  <a:pt x="6058652" y="3842740"/>
                </a:lnTo>
                <a:lnTo>
                  <a:pt x="6058079" y="3842741"/>
                </a:lnTo>
                <a:cubicBezTo>
                  <a:pt x="6048340" y="3842628"/>
                  <a:pt x="6039459" y="3842185"/>
                  <a:pt x="6036022" y="3835852"/>
                </a:cubicBezTo>
                <a:lnTo>
                  <a:pt x="6050058" y="3834076"/>
                </a:lnTo>
                <a:lnTo>
                  <a:pt x="6050058" y="3833409"/>
                </a:lnTo>
                <a:lnTo>
                  <a:pt x="6044329" y="3834520"/>
                </a:lnTo>
                <a:cubicBezTo>
                  <a:pt x="6041464" y="3834521"/>
                  <a:pt x="6038886" y="3834076"/>
                  <a:pt x="6037454" y="3832965"/>
                </a:cubicBezTo>
                <a:cubicBezTo>
                  <a:pt x="6040605" y="3831632"/>
                  <a:pt x="6042896" y="3831188"/>
                  <a:pt x="6045188" y="3830744"/>
                </a:cubicBezTo>
                <a:cubicBezTo>
                  <a:pt x="6046620" y="3830077"/>
                  <a:pt x="6047766" y="3829855"/>
                  <a:pt x="6048626" y="3830188"/>
                </a:cubicBezTo>
                <a:lnTo>
                  <a:pt x="6050344" y="3831966"/>
                </a:lnTo>
                <a:lnTo>
                  <a:pt x="6050344" y="3831522"/>
                </a:lnTo>
                <a:cubicBezTo>
                  <a:pt x="6051204" y="3829521"/>
                  <a:pt x="6052636" y="3827300"/>
                  <a:pt x="6055214" y="3824856"/>
                </a:cubicBezTo>
                <a:cubicBezTo>
                  <a:pt x="6058079" y="3827856"/>
                  <a:pt x="6061516" y="3830299"/>
                  <a:pt x="6065528" y="3832410"/>
                </a:cubicBezTo>
                <a:lnTo>
                  <a:pt x="6066960" y="3832965"/>
                </a:lnTo>
                <a:lnTo>
                  <a:pt x="6074408" y="3833409"/>
                </a:lnTo>
                <a:lnTo>
                  <a:pt x="6076700" y="3834076"/>
                </a:lnTo>
                <a:lnTo>
                  <a:pt x="6080137" y="3832410"/>
                </a:lnTo>
                <a:cubicBezTo>
                  <a:pt x="6081856" y="3831966"/>
                  <a:pt x="6083861" y="3831743"/>
                  <a:pt x="6085580" y="3832076"/>
                </a:cubicBezTo>
                <a:cubicBezTo>
                  <a:pt x="6093887" y="3832743"/>
                  <a:pt x="6098184" y="3835186"/>
                  <a:pt x="6101335" y="3838297"/>
                </a:cubicBezTo>
                <a:cubicBezTo>
                  <a:pt x="6101335" y="3838297"/>
                  <a:pt x="6101335" y="3838186"/>
                  <a:pt x="6100190" y="3837187"/>
                </a:cubicBezTo>
                <a:cubicBezTo>
                  <a:pt x="6101335" y="3832299"/>
                  <a:pt x="6103054" y="3824857"/>
                  <a:pt x="6105918" y="3820968"/>
                </a:cubicBezTo>
                <a:lnTo>
                  <a:pt x="6106492" y="3820524"/>
                </a:lnTo>
                <a:lnTo>
                  <a:pt x="6106205" y="3820413"/>
                </a:lnTo>
                <a:lnTo>
                  <a:pt x="6107064" y="3820301"/>
                </a:lnTo>
                <a:close/>
                <a:moveTo>
                  <a:pt x="6765360" y="3817969"/>
                </a:moveTo>
                <a:cubicBezTo>
                  <a:pt x="6765932" y="3817858"/>
                  <a:pt x="6766792" y="3817857"/>
                  <a:pt x="6767652" y="3818191"/>
                </a:cubicBezTo>
                <a:cubicBezTo>
                  <a:pt x="6765932" y="3820524"/>
                  <a:pt x="6764500" y="3821635"/>
                  <a:pt x="6761062" y="3821524"/>
                </a:cubicBezTo>
                <a:cubicBezTo>
                  <a:pt x="6762208" y="3820635"/>
                  <a:pt x="6763354" y="3818524"/>
                  <a:pt x="6765360" y="3817969"/>
                </a:cubicBezTo>
                <a:close/>
                <a:moveTo>
                  <a:pt x="6338814" y="3817192"/>
                </a:moveTo>
                <a:lnTo>
                  <a:pt x="6335950" y="3817636"/>
                </a:lnTo>
                <a:lnTo>
                  <a:pt x="6339100" y="3817858"/>
                </a:lnTo>
                <a:lnTo>
                  <a:pt x="6339100" y="3817303"/>
                </a:lnTo>
                <a:close/>
                <a:moveTo>
                  <a:pt x="6468296" y="3817191"/>
                </a:moveTo>
                <a:cubicBezTo>
                  <a:pt x="6480614" y="3817969"/>
                  <a:pt x="6495796" y="3823745"/>
                  <a:pt x="6500381" y="3830854"/>
                </a:cubicBezTo>
                <a:lnTo>
                  <a:pt x="6500666" y="3835298"/>
                </a:lnTo>
                <a:lnTo>
                  <a:pt x="6501812" y="3835409"/>
                </a:lnTo>
                <a:cubicBezTo>
                  <a:pt x="6502099" y="3835520"/>
                  <a:pt x="6502386" y="3835742"/>
                  <a:pt x="6503531" y="3835964"/>
                </a:cubicBezTo>
                <a:cubicBezTo>
                  <a:pt x="6505823" y="3836409"/>
                  <a:pt x="6514704" y="3835187"/>
                  <a:pt x="6515562" y="3833632"/>
                </a:cubicBezTo>
                <a:cubicBezTo>
                  <a:pt x="6516136" y="3834631"/>
                  <a:pt x="6518428" y="3835076"/>
                  <a:pt x="6518428" y="3835076"/>
                </a:cubicBezTo>
                <a:cubicBezTo>
                  <a:pt x="6517568" y="3836630"/>
                  <a:pt x="6516136" y="3837187"/>
                  <a:pt x="6514704" y="3837853"/>
                </a:cubicBezTo>
                <a:cubicBezTo>
                  <a:pt x="6512412" y="3837409"/>
                  <a:pt x="6511838" y="3836409"/>
                  <a:pt x="6509547" y="3836075"/>
                </a:cubicBezTo>
                <a:cubicBezTo>
                  <a:pt x="6507828" y="3836742"/>
                  <a:pt x="6504965" y="3837964"/>
                  <a:pt x="6502672" y="3837519"/>
                </a:cubicBezTo>
                <a:lnTo>
                  <a:pt x="6500953" y="3837075"/>
                </a:lnTo>
                <a:lnTo>
                  <a:pt x="6500953" y="3838186"/>
                </a:lnTo>
                <a:cubicBezTo>
                  <a:pt x="6485771" y="3838852"/>
                  <a:pt x="6468869" y="3837187"/>
                  <a:pt x="6451394" y="3827300"/>
                </a:cubicBezTo>
                <a:cubicBezTo>
                  <a:pt x="6450249" y="3819413"/>
                  <a:pt x="6458271" y="3816636"/>
                  <a:pt x="6468296" y="3817191"/>
                </a:cubicBezTo>
                <a:close/>
                <a:moveTo>
                  <a:pt x="6305012" y="3816302"/>
                </a:moveTo>
                <a:cubicBezTo>
                  <a:pt x="6306157" y="3816081"/>
                  <a:pt x="6307303" y="3816302"/>
                  <a:pt x="6309022" y="3816858"/>
                </a:cubicBezTo>
                <a:cubicBezTo>
                  <a:pt x="6315325" y="3821412"/>
                  <a:pt x="6311027" y="3826300"/>
                  <a:pt x="6310740" y="3832299"/>
                </a:cubicBezTo>
                <a:cubicBezTo>
                  <a:pt x="6309022" y="3832410"/>
                  <a:pt x="6307590" y="3833520"/>
                  <a:pt x="6307876" y="3834742"/>
                </a:cubicBezTo>
                <a:cubicBezTo>
                  <a:pt x="6306444" y="3835964"/>
                  <a:pt x="6305012" y="3837297"/>
                  <a:pt x="6306730" y="3837186"/>
                </a:cubicBezTo>
                <a:cubicBezTo>
                  <a:pt x="6302433" y="3840963"/>
                  <a:pt x="6302720" y="3842074"/>
                  <a:pt x="6297277" y="3841074"/>
                </a:cubicBezTo>
                <a:cubicBezTo>
                  <a:pt x="6296990" y="3831632"/>
                  <a:pt x="6301575" y="3820746"/>
                  <a:pt x="6302720" y="3818302"/>
                </a:cubicBezTo>
                <a:cubicBezTo>
                  <a:pt x="6303292" y="3817080"/>
                  <a:pt x="6303866" y="3816414"/>
                  <a:pt x="6305012" y="3816302"/>
                </a:cubicBezTo>
                <a:close/>
                <a:moveTo>
                  <a:pt x="6388086" y="3815969"/>
                </a:moveTo>
                <a:cubicBezTo>
                  <a:pt x="6389805" y="3816302"/>
                  <a:pt x="6392096" y="3817191"/>
                  <a:pt x="6394962" y="3818413"/>
                </a:cubicBezTo>
                <a:cubicBezTo>
                  <a:pt x="6400118" y="3820968"/>
                  <a:pt x="6405560" y="3825855"/>
                  <a:pt x="6407279" y="3827078"/>
                </a:cubicBezTo>
                <a:cubicBezTo>
                  <a:pt x="6409284" y="3828299"/>
                  <a:pt x="6411004" y="3828410"/>
                  <a:pt x="6411004" y="3828410"/>
                </a:cubicBezTo>
                <a:cubicBezTo>
                  <a:pt x="6409284" y="3830744"/>
                  <a:pt x="6389805" y="3820745"/>
                  <a:pt x="6384648" y="3818192"/>
                </a:cubicBezTo>
                <a:cubicBezTo>
                  <a:pt x="6384362" y="3816969"/>
                  <a:pt x="6384362" y="3816969"/>
                  <a:pt x="6384362" y="3816969"/>
                </a:cubicBezTo>
                <a:cubicBezTo>
                  <a:pt x="6385222" y="3815858"/>
                  <a:pt x="6386368" y="3815525"/>
                  <a:pt x="6388086" y="3815969"/>
                </a:cubicBezTo>
                <a:close/>
                <a:moveTo>
                  <a:pt x="6288683" y="3815303"/>
                </a:moveTo>
                <a:cubicBezTo>
                  <a:pt x="6289829" y="3818524"/>
                  <a:pt x="6291548" y="3822856"/>
                  <a:pt x="6290688" y="3825300"/>
                </a:cubicBezTo>
                <a:cubicBezTo>
                  <a:pt x="6288396" y="3823634"/>
                  <a:pt x="6284959" y="3819634"/>
                  <a:pt x="6287537" y="3816746"/>
                </a:cubicBezTo>
                <a:cubicBezTo>
                  <a:pt x="6287537" y="3816746"/>
                  <a:pt x="6287537" y="3816746"/>
                  <a:pt x="6288683" y="3815303"/>
                </a:cubicBezTo>
                <a:close/>
                <a:moveTo>
                  <a:pt x="6229385" y="3813192"/>
                </a:moveTo>
                <a:cubicBezTo>
                  <a:pt x="6229385" y="3814414"/>
                  <a:pt x="6231104" y="3814525"/>
                  <a:pt x="6231104" y="3814525"/>
                </a:cubicBezTo>
                <a:cubicBezTo>
                  <a:pt x="6231104" y="3814525"/>
                  <a:pt x="6231104" y="3814525"/>
                  <a:pt x="6231104" y="3813414"/>
                </a:cubicBezTo>
                <a:cubicBezTo>
                  <a:pt x="6231963" y="3814081"/>
                  <a:pt x="6231676" y="3814636"/>
                  <a:pt x="6231676" y="3815081"/>
                </a:cubicBezTo>
                <a:cubicBezTo>
                  <a:pt x="6231390" y="3815414"/>
                  <a:pt x="6230817" y="3815636"/>
                  <a:pt x="6230817" y="3815636"/>
                </a:cubicBezTo>
                <a:cubicBezTo>
                  <a:pt x="6229098" y="3816636"/>
                  <a:pt x="6227380" y="3817636"/>
                  <a:pt x="6225661" y="3816302"/>
                </a:cubicBezTo>
                <a:cubicBezTo>
                  <a:pt x="6225661" y="3816302"/>
                  <a:pt x="6225947" y="3815192"/>
                  <a:pt x="6229385" y="3813192"/>
                </a:cubicBezTo>
                <a:close/>
                <a:moveTo>
                  <a:pt x="6349414" y="3810304"/>
                </a:moveTo>
                <a:cubicBezTo>
                  <a:pt x="6350560" y="3810415"/>
                  <a:pt x="6351992" y="3810637"/>
                  <a:pt x="6353997" y="3811415"/>
                </a:cubicBezTo>
                <a:cubicBezTo>
                  <a:pt x="6352278" y="3811748"/>
                  <a:pt x="6352851" y="3812859"/>
                  <a:pt x="6352851" y="3812859"/>
                </a:cubicBezTo>
                <a:cubicBezTo>
                  <a:pt x="6352851" y="3812859"/>
                  <a:pt x="6352851" y="3812970"/>
                  <a:pt x="6354284" y="3812526"/>
                </a:cubicBezTo>
                <a:cubicBezTo>
                  <a:pt x="6353710" y="3813304"/>
                  <a:pt x="6352851" y="3813414"/>
                  <a:pt x="6352278" y="3813526"/>
                </a:cubicBezTo>
                <a:cubicBezTo>
                  <a:pt x="6351705" y="3813526"/>
                  <a:pt x="6351132" y="3813304"/>
                  <a:pt x="6351132" y="3813304"/>
                </a:cubicBezTo>
                <a:cubicBezTo>
                  <a:pt x="6349127" y="3812637"/>
                  <a:pt x="6347122" y="3811858"/>
                  <a:pt x="6348268" y="3810304"/>
                </a:cubicBezTo>
                <a:cubicBezTo>
                  <a:pt x="6348268" y="3810304"/>
                  <a:pt x="6348554" y="3810304"/>
                  <a:pt x="6349414" y="3810304"/>
                </a:cubicBezTo>
                <a:close/>
                <a:moveTo>
                  <a:pt x="6841272" y="3809860"/>
                </a:moveTo>
                <a:cubicBezTo>
                  <a:pt x="6844138" y="3815969"/>
                  <a:pt x="6833252" y="3821523"/>
                  <a:pt x="6825517" y="3820190"/>
                </a:cubicBezTo>
                <a:cubicBezTo>
                  <a:pt x="6822939" y="3819747"/>
                  <a:pt x="6820647" y="3818524"/>
                  <a:pt x="6819502" y="3816303"/>
                </a:cubicBezTo>
                <a:cubicBezTo>
                  <a:pt x="6821220" y="3809082"/>
                  <a:pt x="6831246" y="3812082"/>
                  <a:pt x="6841272" y="3809860"/>
                </a:cubicBezTo>
                <a:close/>
                <a:moveTo>
                  <a:pt x="6983646" y="3808638"/>
                </a:moveTo>
                <a:cubicBezTo>
                  <a:pt x="6985078" y="3810749"/>
                  <a:pt x="6987656" y="3812304"/>
                  <a:pt x="6988802" y="3814414"/>
                </a:cubicBezTo>
                <a:lnTo>
                  <a:pt x="6988517" y="3815414"/>
                </a:lnTo>
                <a:lnTo>
                  <a:pt x="6989661" y="3814525"/>
                </a:lnTo>
                <a:cubicBezTo>
                  <a:pt x="6993958" y="3815637"/>
                  <a:pt x="6997110" y="3817302"/>
                  <a:pt x="6998828" y="3819635"/>
                </a:cubicBezTo>
                <a:cubicBezTo>
                  <a:pt x="7000834" y="3822079"/>
                  <a:pt x="7001120" y="3825078"/>
                  <a:pt x="6999688" y="3828744"/>
                </a:cubicBezTo>
                <a:cubicBezTo>
                  <a:pt x="6992526" y="3832410"/>
                  <a:pt x="6984218" y="3827632"/>
                  <a:pt x="6979062" y="3825522"/>
                </a:cubicBezTo>
                <a:lnTo>
                  <a:pt x="6980494" y="3823412"/>
                </a:lnTo>
                <a:lnTo>
                  <a:pt x="6976770" y="3823634"/>
                </a:lnTo>
                <a:cubicBezTo>
                  <a:pt x="6975052" y="3823412"/>
                  <a:pt x="6973332" y="3823190"/>
                  <a:pt x="6971328" y="3822856"/>
                </a:cubicBezTo>
                <a:cubicBezTo>
                  <a:pt x="6971614" y="3820301"/>
                  <a:pt x="6968176" y="3817636"/>
                  <a:pt x="6970182" y="3814414"/>
                </a:cubicBezTo>
                <a:cubicBezTo>
                  <a:pt x="6970182" y="3814414"/>
                  <a:pt x="6971041" y="3812859"/>
                  <a:pt x="6974192" y="3811859"/>
                </a:cubicBezTo>
                <a:cubicBezTo>
                  <a:pt x="6977630" y="3808194"/>
                  <a:pt x="6984218" y="3809749"/>
                  <a:pt x="6984218" y="3809749"/>
                </a:cubicBezTo>
                <a:cubicBezTo>
                  <a:pt x="6984218" y="3809749"/>
                  <a:pt x="6984218" y="3809749"/>
                  <a:pt x="6983646" y="3808638"/>
                </a:cubicBezTo>
                <a:close/>
                <a:moveTo>
                  <a:pt x="6446811" y="3805639"/>
                </a:moveTo>
                <a:lnTo>
                  <a:pt x="6445379" y="3806082"/>
                </a:lnTo>
                <a:lnTo>
                  <a:pt x="6445092" y="3806638"/>
                </a:lnTo>
                <a:close/>
                <a:moveTo>
                  <a:pt x="1611007" y="3804972"/>
                </a:moveTo>
                <a:cubicBezTo>
                  <a:pt x="1614159" y="3804639"/>
                  <a:pt x="1617024" y="3804750"/>
                  <a:pt x="1619888" y="3804972"/>
                </a:cubicBezTo>
                <a:cubicBezTo>
                  <a:pt x="1635643" y="3806971"/>
                  <a:pt x="1641373" y="3820191"/>
                  <a:pt x="1630774" y="3828189"/>
                </a:cubicBezTo>
                <a:cubicBezTo>
                  <a:pt x="1616164" y="3836075"/>
                  <a:pt x="1615018" y="3821524"/>
                  <a:pt x="1602126" y="3824856"/>
                </a:cubicBezTo>
                <a:cubicBezTo>
                  <a:pt x="1599263" y="3817747"/>
                  <a:pt x="1605850" y="3815969"/>
                  <a:pt x="1600694" y="3807416"/>
                </a:cubicBezTo>
                <a:cubicBezTo>
                  <a:pt x="1604418" y="3806194"/>
                  <a:pt x="1607857" y="3805417"/>
                  <a:pt x="1611007" y="3804972"/>
                </a:cubicBezTo>
                <a:close/>
                <a:moveTo>
                  <a:pt x="6472880" y="3804861"/>
                </a:moveTo>
                <a:cubicBezTo>
                  <a:pt x="6468296" y="3809749"/>
                  <a:pt x="6464572" y="3809526"/>
                  <a:pt x="6458270" y="3807638"/>
                </a:cubicBezTo>
                <a:cubicBezTo>
                  <a:pt x="6460275" y="3805971"/>
                  <a:pt x="6461994" y="3805194"/>
                  <a:pt x="6464286" y="3804861"/>
                </a:cubicBezTo>
                <a:cubicBezTo>
                  <a:pt x="6466578" y="3804528"/>
                  <a:pt x="6469442" y="3804639"/>
                  <a:pt x="6472880" y="3804861"/>
                </a:cubicBezTo>
                <a:close/>
                <a:moveTo>
                  <a:pt x="6338242" y="3803972"/>
                </a:moveTo>
                <a:cubicBezTo>
                  <a:pt x="6341966" y="3804306"/>
                  <a:pt x="6348554" y="3807749"/>
                  <a:pt x="6347981" y="3810415"/>
                </a:cubicBezTo>
                <a:lnTo>
                  <a:pt x="6343970" y="3809415"/>
                </a:lnTo>
                <a:lnTo>
                  <a:pt x="6347122" y="3811526"/>
                </a:lnTo>
                <a:cubicBezTo>
                  <a:pt x="6349414" y="3813748"/>
                  <a:pt x="6350846" y="3816413"/>
                  <a:pt x="6350273" y="3818524"/>
                </a:cubicBezTo>
                <a:lnTo>
                  <a:pt x="6345976" y="3818413"/>
                </a:lnTo>
                <a:lnTo>
                  <a:pt x="6354284" y="3819858"/>
                </a:lnTo>
                <a:cubicBezTo>
                  <a:pt x="6358008" y="3820412"/>
                  <a:pt x="6361445" y="3820857"/>
                  <a:pt x="6365169" y="3820857"/>
                </a:cubicBezTo>
                <a:cubicBezTo>
                  <a:pt x="6369752" y="3819413"/>
                  <a:pt x="6370612" y="3815748"/>
                  <a:pt x="6376054" y="3814970"/>
                </a:cubicBezTo>
                <a:cubicBezTo>
                  <a:pt x="6378060" y="3814636"/>
                  <a:pt x="6380352" y="3814748"/>
                  <a:pt x="6383789" y="3815303"/>
                </a:cubicBezTo>
                <a:cubicBezTo>
                  <a:pt x="6381498" y="3829299"/>
                  <a:pt x="6374622" y="3839630"/>
                  <a:pt x="6364310" y="3846628"/>
                </a:cubicBezTo>
                <a:cubicBezTo>
                  <a:pt x="6360872" y="3848962"/>
                  <a:pt x="6356862" y="3850961"/>
                  <a:pt x="6352278" y="3852515"/>
                </a:cubicBezTo>
                <a:cubicBezTo>
                  <a:pt x="6343398" y="3845073"/>
                  <a:pt x="6352564" y="3836853"/>
                  <a:pt x="6356862" y="3829855"/>
                </a:cubicBezTo>
                <a:cubicBezTo>
                  <a:pt x="6345116" y="3828633"/>
                  <a:pt x="6327069" y="3829299"/>
                  <a:pt x="6326782" y="3820190"/>
                </a:cubicBezTo>
                <a:lnTo>
                  <a:pt x="6334231" y="3817636"/>
                </a:lnTo>
                <a:lnTo>
                  <a:pt x="6333658" y="3813303"/>
                </a:lnTo>
                <a:lnTo>
                  <a:pt x="6335091" y="3812304"/>
                </a:lnTo>
                <a:lnTo>
                  <a:pt x="6333372" y="3810637"/>
                </a:lnTo>
                <a:cubicBezTo>
                  <a:pt x="6332798" y="3809749"/>
                  <a:pt x="6331939" y="3809193"/>
                  <a:pt x="6331939" y="3809193"/>
                </a:cubicBezTo>
                <a:cubicBezTo>
                  <a:pt x="6333085" y="3807638"/>
                  <a:pt x="6333372" y="3806860"/>
                  <a:pt x="6334517" y="3806638"/>
                </a:cubicBezTo>
                <a:lnTo>
                  <a:pt x="6337382" y="3806639"/>
                </a:lnTo>
                <a:close/>
                <a:moveTo>
                  <a:pt x="6486630" y="3801529"/>
                </a:moveTo>
                <a:cubicBezTo>
                  <a:pt x="6485198" y="3803084"/>
                  <a:pt x="6487776" y="3804973"/>
                  <a:pt x="6486630" y="3806527"/>
                </a:cubicBezTo>
                <a:cubicBezTo>
                  <a:pt x="6486630" y="3806527"/>
                  <a:pt x="6482046" y="3808860"/>
                  <a:pt x="6482046" y="3808860"/>
                </a:cubicBezTo>
                <a:cubicBezTo>
                  <a:pt x="6480041" y="3808083"/>
                  <a:pt x="6480041" y="3808083"/>
                  <a:pt x="6481474" y="3807749"/>
                </a:cubicBezTo>
                <a:cubicBezTo>
                  <a:pt x="6478896" y="3805861"/>
                  <a:pt x="6478609" y="3804639"/>
                  <a:pt x="6478322" y="3803528"/>
                </a:cubicBezTo>
                <a:cubicBezTo>
                  <a:pt x="6479468" y="3801973"/>
                  <a:pt x="6482906" y="3801195"/>
                  <a:pt x="6486630" y="3801529"/>
                </a:cubicBezTo>
                <a:close/>
                <a:moveTo>
                  <a:pt x="6718380" y="3799196"/>
                </a:moveTo>
                <a:cubicBezTo>
                  <a:pt x="6720671" y="3798862"/>
                  <a:pt x="6722963" y="3798974"/>
                  <a:pt x="6725254" y="3799196"/>
                </a:cubicBezTo>
                <a:cubicBezTo>
                  <a:pt x="6729838" y="3799640"/>
                  <a:pt x="6734135" y="3800973"/>
                  <a:pt x="6737286" y="3801972"/>
                </a:cubicBezTo>
                <a:lnTo>
                  <a:pt x="6740724" y="3803084"/>
                </a:lnTo>
                <a:lnTo>
                  <a:pt x="6741010" y="3801973"/>
                </a:lnTo>
                <a:lnTo>
                  <a:pt x="6742729" y="3803418"/>
                </a:lnTo>
                <a:lnTo>
                  <a:pt x="6743016" y="3803418"/>
                </a:lnTo>
                <a:cubicBezTo>
                  <a:pt x="6742729" y="3804639"/>
                  <a:pt x="6744448" y="3804750"/>
                  <a:pt x="6744734" y="3803639"/>
                </a:cubicBezTo>
                <a:cubicBezTo>
                  <a:pt x="6747026" y="3805083"/>
                  <a:pt x="6749031" y="3806194"/>
                  <a:pt x="6750177" y="3807194"/>
                </a:cubicBezTo>
                <a:cubicBezTo>
                  <a:pt x="6751036" y="3808194"/>
                  <a:pt x="6750751" y="3809083"/>
                  <a:pt x="6749031" y="3810082"/>
                </a:cubicBezTo>
                <a:cubicBezTo>
                  <a:pt x="6747026" y="3812193"/>
                  <a:pt x="6743875" y="3810637"/>
                  <a:pt x="6740437" y="3812636"/>
                </a:cubicBezTo>
                <a:cubicBezTo>
                  <a:pt x="6736140" y="3815747"/>
                  <a:pt x="6742442" y="3821302"/>
                  <a:pt x="6741010" y="3827411"/>
                </a:cubicBezTo>
                <a:lnTo>
                  <a:pt x="6737286" y="3832743"/>
                </a:lnTo>
                <a:lnTo>
                  <a:pt x="6739864" y="3833409"/>
                </a:lnTo>
                <a:cubicBezTo>
                  <a:pt x="6741296" y="3834854"/>
                  <a:pt x="6742156" y="3836742"/>
                  <a:pt x="6742729" y="3838630"/>
                </a:cubicBezTo>
                <a:cubicBezTo>
                  <a:pt x="6741870" y="3837631"/>
                  <a:pt x="6741870" y="3837519"/>
                  <a:pt x="6741870" y="3837519"/>
                </a:cubicBezTo>
                <a:cubicBezTo>
                  <a:pt x="6739578" y="3837187"/>
                  <a:pt x="6740438" y="3838186"/>
                  <a:pt x="6739005" y="3838741"/>
                </a:cubicBezTo>
                <a:cubicBezTo>
                  <a:pt x="6739005" y="3838741"/>
                  <a:pt x="6740438" y="3838186"/>
                  <a:pt x="6739578" y="3839852"/>
                </a:cubicBezTo>
                <a:cubicBezTo>
                  <a:pt x="6739005" y="3838852"/>
                  <a:pt x="6737286" y="3839408"/>
                  <a:pt x="6735854" y="3840074"/>
                </a:cubicBezTo>
                <a:cubicBezTo>
                  <a:pt x="6731270" y="3839296"/>
                  <a:pt x="6725828" y="3837519"/>
                  <a:pt x="6725828" y="3834854"/>
                </a:cubicBezTo>
                <a:lnTo>
                  <a:pt x="6728406" y="3832632"/>
                </a:lnTo>
                <a:lnTo>
                  <a:pt x="6724108" y="3832410"/>
                </a:lnTo>
                <a:cubicBezTo>
                  <a:pt x="6722390" y="3832188"/>
                  <a:pt x="6720958" y="3831632"/>
                  <a:pt x="6719812" y="3830522"/>
                </a:cubicBezTo>
                <a:lnTo>
                  <a:pt x="6714656" y="3826078"/>
                </a:lnTo>
                <a:lnTo>
                  <a:pt x="6712364" y="3828410"/>
                </a:lnTo>
                <a:cubicBezTo>
                  <a:pt x="6711504" y="3829299"/>
                  <a:pt x="6710072" y="3829855"/>
                  <a:pt x="6708353" y="3829855"/>
                </a:cubicBezTo>
                <a:cubicBezTo>
                  <a:pt x="6707208" y="3829855"/>
                  <a:pt x="6706062" y="3829744"/>
                  <a:pt x="6704342" y="3829188"/>
                </a:cubicBezTo>
                <a:cubicBezTo>
                  <a:pt x="6704342" y="3829188"/>
                  <a:pt x="6704342" y="3829188"/>
                  <a:pt x="6703770" y="3828078"/>
                </a:cubicBezTo>
                <a:cubicBezTo>
                  <a:pt x="6702910" y="3825855"/>
                  <a:pt x="6702624" y="3824745"/>
                  <a:pt x="6702051" y="3823634"/>
                </a:cubicBezTo>
                <a:cubicBezTo>
                  <a:pt x="6702910" y="3822968"/>
                  <a:pt x="6704056" y="3821635"/>
                  <a:pt x="6705488" y="3820746"/>
                </a:cubicBezTo>
                <a:lnTo>
                  <a:pt x="6709212" y="3819635"/>
                </a:lnTo>
                <a:lnTo>
                  <a:pt x="6708640" y="3818191"/>
                </a:lnTo>
                <a:cubicBezTo>
                  <a:pt x="6708353" y="3815081"/>
                  <a:pt x="6710645" y="3812304"/>
                  <a:pt x="6713511" y="3808526"/>
                </a:cubicBezTo>
                <a:cubicBezTo>
                  <a:pt x="6713510" y="3809637"/>
                  <a:pt x="6715228" y="3808638"/>
                  <a:pt x="6715228" y="3808638"/>
                </a:cubicBezTo>
                <a:cubicBezTo>
                  <a:pt x="6718666" y="3806749"/>
                  <a:pt x="6708640" y="3804417"/>
                  <a:pt x="6712364" y="3801307"/>
                </a:cubicBezTo>
                <a:cubicBezTo>
                  <a:pt x="6714082" y="3800084"/>
                  <a:pt x="6716374" y="3799529"/>
                  <a:pt x="6718380" y="3799196"/>
                </a:cubicBezTo>
                <a:close/>
                <a:moveTo>
                  <a:pt x="6543636" y="3798751"/>
                </a:moveTo>
                <a:cubicBezTo>
                  <a:pt x="6546788" y="3800751"/>
                  <a:pt x="6548792" y="3803306"/>
                  <a:pt x="6550225" y="3806194"/>
                </a:cubicBezTo>
                <a:cubicBezTo>
                  <a:pt x="6554236" y="3814636"/>
                  <a:pt x="6551370" y="3825189"/>
                  <a:pt x="6544781" y="3830077"/>
                </a:cubicBezTo>
                <a:cubicBezTo>
                  <a:pt x="6532750" y="3821968"/>
                  <a:pt x="6537907" y="3806194"/>
                  <a:pt x="6543636" y="3798751"/>
                </a:cubicBezTo>
                <a:close/>
                <a:moveTo>
                  <a:pt x="6179540" y="3798307"/>
                </a:moveTo>
                <a:cubicBezTo>
                  <a:pt x="6188707" y="3800862"/>
                  <a:pt x="6196442" y="3804084"/>
                  <a:pt x="6202457" y="3807638"/>
                </a:cubicBezTo>
                <a:lnTo>
                  <a:pt x="6207327" y="3811748"/>
                </a:lnTo>
                <a:lnTo>
                  <a:pt x="6207328" y="3811526"/>
                </a:lnTo>
                <a:cubicBezTo>
                  <a:pt x="6209332" y="3809971"/>
                  <a:pt x="6211624" y="3808638"/>
                  <a:pt x="6215062" y="3807415"/>
                </a:cubicBezTo>
                <a:cubicBezTo>
                  <a:pt x="6215634" y="3808971"/>
                  <a:pt x="6217926" y="3808416"/>
                  <a:pt x="6220218" y="3807860"/>
                </a:cubicBezTo>
                <a:cubicBezTo>
                  <a:pt x="6223370" y="3809082"/>
                  <a:pt x="6225088" y="3811415"/>
                  <a:pt x="6225661" y="3813970"/>
                </a:cubicBezTo>
                <a:lnTo>
                  <a:pt x="6225375" y="3816525"/>
                </a:lnTo>
                <a:lnTo>
                  <a:pt x="6225661" y="3816525"/>
                </a:lnTo>
                <a:lnTo>
                  <a:pt x="6225088" y="3816858"/>
                </a:lnTo>
                <a:lnTo>
                  <a:pt x="6225088" y="3817969"/>
                </a:lnTo>
                <a:lnTo>
                  <a:pt x="6226806" y="3817414"/>
                </a:lnTo>
                <a:cubicBezTo>
                  <a:pt x="6230817" y="3816969"/>
                  <a:pt x="6235114" y="3817191"/>
                  <a:pt x="6237692" y="3818413"/>
                </a:cubicBezTo>
                <a:cubicBezTo>
                  <a:pt x="6235974" y="3820635"/>
                  <a:pt x="6234541" y="3822745"/>
                  <a:pt x="6233109" y="3824967"/>
                </a:cubicBezTo>
                <a:lnTo>
                  <a:pt x="6231676" y="3824857"/>
                </a:lnTo>
                <a:lnTo>
                  <a:pt x="6231390" y="3824857"/>
                </a:lnTo>
                <a:cubicBezTo>
                  <a:pt x="6230530" y="3825634"/>
                  <a:pt x="6229958" y="3826523"/>
                  <a:pt x="6230244" y="3827855"/>
                </a:cubicBezTo>
                <a:cubicBezTo>
                  <a:pt x="6227952" y="3827411"/>
                  <a:pt x="6225661" y="3827078"/>
                  <a:pt x="6223942" y="3826411"/>
                </a:cubicBezTo>
                <a:lnTo>
                  <a:pt x="6223082" y="3825189"/>
                </a:lnTo>
                <a:lnTo>
                  <a:pt x="6222223" y="3825300"/>
                </a:lnTo>
                <a:lnTo>
                  <a:pt x="6220505" y="3827189"/>
                </a:lnTo>
                <a:lnTo>
                  <a:pt x="6221650" y="3829522"/>
                </a:lnTo>
                <a:lnTo>
                  <a:pt x="6215634" y="3830188"/>
                </a:lnTo>
                <a:lnTo>
                  <a:pt x="6210478" y="3831632"/>
                </a:lnTo>
                <a:cubicBezTo>
                  <a:pt x="6208760" y="3831410"/>
                  <a:pt x="6207041" y="3830632"/>
                  <a:pt x="6205036" y="3829299"/>
                </a:cubicBezTo>
                <a:lnTo>
                  <a:pt x="6205036" y="3827967"/>
                </a:lnTo>
                <a:lnTo>
                  <a:pt x="6192431" y="3820413"/>
                </a:lnTo>
                <a:cubicBezTo>
                  <a:pt x="6187561" y="3828299"/>
                  <a:pt x="6183837" y="3840963"/>
                  <a:pt x="6171519" y="3838741"/>
                </a:cubicBezTo>
                <a:cubicBezTo>
                  <a:pt x="6164930" y="3830854"/>
                  <a:pt x="6178680" y="3822523"/>
                  <a:pt x="6182118" y="3812526"/>
                </a:cubicBezTo>
                <a:cubicBezTo>
                  <a:pt x="6181259" y="3807749"/>
                  <a:pt x="6173238" y="3806638"/>
                  <a:pt x="6179540" y="3798307"/>
                </a:cubicBezTo>
                <a:close/>
                <a:moveTo>
                  <a:pt x="6764787" y="3795974"/>
                </a:moveTo>
                <a:cubicBezTo>
                  <a:pt x="6772521" y="3795196"/>
                  <a:pt x="6779683" y="3800418"/>
                  <a:pt x="6780256" y="3805416"/>
                </a:cubicBezTo>
                <a:cubicBezTo>
                  <a:pt x="6780542" y="3807749"/>
                  <a:pt x="6779396" y="3809971"/>
                  <a:pt x="6776532" y="3811526"/>
                </a:cubicBezTo>
                <a:cubicBezTo>
                  <a:pt x="6766792" y="3808860"/>
                  <a:pt x="6755047" y="3806972"/>
                  <a:pt x="6756479" y="3798862"/>
                </a:cubicBezTo>
                <a:cubicBezTo>
                  <a:pt x="6759344" y="3797085"/>
                  <a:pt x="6761922" y="3796197"/>
                  <a:pt x="6764787" y="3795974"/>
                </a:cubicBezTo>
                <a:close/>
                <a:moveTo>
                  <a:pt x="6208826" y="3793089"/>
                </a:moveTo>
                <a:lnTo>
                  <a:pt x="6218356" y="3793503"/>
                </a:lnTo>
                <a:cubicBezTo>
                  <a:pt x="6221435" y="3794086"/>
                  <a:pt x="6224658" y="3794753"/>
                  <a:pt x="6228812" y="3794419"/>
                </a:cubicBezTo>
                <a:cubicBezTo>
                  <a:pt x="6231104" y="3798196"/>
                  <a:pt x="6240844" y="3798085"/>
                  <a:pt x="6243422" y="3803528"/>
                </a:cubicBezTo>
                <a:cubicBezTo>
                  <a:pt x="6237693" y="3805417"/>
                  <a:pt x="6229314" y="3804000"/>
                  <a:pt x="6222223" y="3801515"/>
                </a:cubicBezTo>
                <a:lnTo>
                  <a:pt x="6208827" y="3793127"/>
                </a:lnTo>
                <a:close/>
                <a:moveTo>
                  <a:pt x="6947551" y="3789199"/>
                </a:moveTo>
                <a:cubicBezTo>
                  <a:pt x="6949843" y="3789087"/>
                  <a:pt x="6952134" y="3789087"/>
                  <a:pt x="6954140" y="3789421"/>
                </a:cubicBezTo>
                <a:cubicBezTo>
                  <a:pt x="6953566" y="3790643"/>
                  <a:pt x="6964452" y="3792197"/>
                  <a:pt x="6967890" y="3798529"/>
                </a:cubicBezTo>
                <a:cubicBezTo>
                  <a:pt x="6969036" y="3800529"/>
                  <a:pt x="6969036" y="3803084"/>
                  <a:pt x="6967604" y="3806416"/>
                </a:cubicBezTo>
                <a:cubicBezTo>
                  <a:pt x="6964452" y="3813859"/>
                  <a:pt x="6957577" y="3821190"/>
                  <a:pt x="6940676" y="3817969"/>
                </a:cubicBezTo>
                <a:cubicBezTo>
                  <a:pt x="6936952" y="3817858"/>
                  <a:pt x="6938670" y="3817414"/>
                  <a:pt x="6936379" y="3816858"/>
                </a:cubicBezTo>
                <a:cubicBezTo>
                  <a:pt x="6934374" y="3816303"/>
                  <a:pt x="6930363" y="3816303"/>
                  <a:pt x="6928930" y="3816746"/>
                </a:cubicBezTo>
                <a:cubicBezTo>
                  <a:pt x="6931222" y="3810970"/>
                  <a:pt x="6925206" y="3810415"/>
                  <a:pt x="6929504" y="3801417"/>
                </a:cubicBezTo>
                <a:cubicBezTo>
                  <a:pt x="6932655" y="3792753"/>
                  <a:pt x="6940390" y="3789754"/>
                  <a:pt x="6947551" y="3789199"/>
                </a:cubicBezTo>
                <a:close/>
                <a:moveTo>
                  <a:pt x="6493218" y="3788976"/>
                </a:moveTo>
                <a:cubicBezTo>
                  <a:pt x="6494938" y="3789087"/>
                  <a:pt x="6496656" y="3789310"/>
                  <a:pt x="6497802" y="3789531"/>
                </a:cubicBezTo>
                <a:cubicBezTo>
                  <a:pt x="6499234" y="3788864"/>
                  <a:pt x="6501526" y="3789310"/>
                  <a:pt x="6502099" y="3790309"/>
                </a:cubicBezTo>
                <a:cubicBezTo>
                  <a:pt x="6502099" y="3790309"/>
                  <a:pt x="6504390" y="3790642"/>
                  <a:pt x="6505823" y="3789976"/>
                </a:cubicBezTo>
                <a:cubicBezTo>
                  <a:pt x="6510406" y="3790753"/>
                  <a:pt x="6511266" y="3791642"/>
                  <a:pt x="6511838" y="3792641"/>
                </a:cubicBezTo>
                <a:cubicBezTo>
                  <a:pt x="6511838" y="3792641"/>
                  <a:pt x="6509547" y="3792309"/>
                  <a:pt x="6508114" y="3792864"/>
                </a:cubicBezTo>
                <a:cubicBezTo>
                  <a:pt x="6508114" y="3792864"/>
                  <a:pt x="6505823" y="3792531"/>
                  <a:pt x="6503818" y="3792197"/>
                </a:cubicBezTo>
                <a:cubicBezTo>
                  <a:pt x="6503818" y="3792197"/>
                  <a:pt x="6502099" y="3792753"/>
                  <a:pt x="6500666" y="3793420"/>
                </a:cubicBezTo>
                <a:cubicBezTo>
                  <a:pt x="6494651" y="3793309"/>
                  <a:pt x="6490927" y="3793641"/>
                  <a:pt x="6489494" y="3789087"/>
                </a:cubicBezTo>
                <a:cubicBezTo>
                  <a:pt x="6490068" y="3788754"/>
                  <a:pt x="6491786" y="3788865"/>
                  <a:pt x="6493218" y="3788976"/>
                </a:cubicBezTo>
                <a:close/>
                <a:moveTo>
                  <a:pt x="1759968" y="3788754"/>
                </a:moveTo>
                <a:cubicBezTo>
                  <a:pt x="1763980" y="3789531"/>
                  <a:pt x="1766843" y="3791198"/>
                  <a:pt x="1765984" y="3793975"/>
                </a:cubicBezTo>
                <a:cubicBezTo>
                  <a:pt x="1763120" y="3793197"/>
                  <a:pt x="1761687" y="3792309"/>
                  <a:pt x="1760829" y="3791420"/>
                </a:cubicBezTo>
                <a:cubicBezTo>
                  <a:pt x="1759968" y="3790531"/>
                  <a:pt x="1759968" y="3789643"/>
                  <a:pt x="1759968" y="3788754"/>
                </a:cubicBezTo>
                <a:close/>
                <a:moveTo>
                  <a:pt x="6285246" y="3788310"/>
                </a:moveTo>
                <a:cubicBezTo>
                  <a:pt x="6285818" y="3794308"/>
                  <a:pt x="6290402" y="3801640"/>
                  <a:pt x="6287537" y="3807194"/>
                </a:cubicBezTo>
                <a:cubicBezTo>
                  <a:pt x="6286678" y="3804973"/>
                  <a:pt x="6283240" y="3792420"/>
                  <a:pt x="6285246" y="3788310"/>
                </a:cubicBezTo>
                <a:close/>
                <a:moveTo>
                  <a:pt x="6286104" y="3785533"/>
                </a:moveTo>
                <a:cubicBezTo>
                  <a:pt x="6284959" y="3787087"/>
                  <a:pt x="6285246" y="3787088"/>
                  <a:pt x="6285532" y="3788310"/>
                </a:cubicBezTo>
                <a:cubicBezTo>
                  <a:pt x="6285532" y="3788310"/>
                  <a:pt x="6283526" y="3787421"/>
                  <a:pt x="6283526" y="3787421"/>
                </a:cubicBezTo>
                <a:cubicBezTo>
                  <a:pt x="6284672" y="3785866"/>
                  <a:pt x="6283240" y="3786199"/>
                  <a:pt x="6286104" y="3785533"/>
                </a:cubicBezTo>
                <a:close/>
                <a:moveTo>
                  <a:pt x="6347981" y="3784866"/>
                </a:moveTo>
                <a:lnTo>
                  <a:pt x="6355716" y="3790754"/>
                </a:lnTo>
                <a:lnTo>
                  <a:pt x="6360299" y="3790198"/>
                </a:lnTo>
                <a:cubicBezTo>
                  <a:pt x="6362304" y="3790754"/>
                  <a:pt x="6364310" y="3792086"/>
                  <a:pt x="6366601" y="3793975"/>
                </a:cubicBezTo>
                <a:cubicBezTo>
                  <a:pt x="6364023" y="3794864"/>
                  <a:pt x="6362018" y="3794864"/>
                  <a:pt x="6359726" y="3794419"/>
                </a:cubicBezTo>
                <a:lnTo>
                  <a:pt x="6358867" y="3793975"/>
                </a:lnTo>
                <a:lnTo>
                  <a:pt x="6364310" y="3800306"/>
                </a:lnTo>
                <a:cubicBezTo>
                  <a:pt x="6366601" y="3803084"/>
                  <a:pt x="6368893" y="3805528"/>
                  <a:pt x="6372044" y="3807416"/>
                </a:cubicBezTo>
                <a:cubicBezTo>
                  <a:pt x="6372044" y="3807416"/>
                  <a:pt x="6372044" y="3807416"/>
                  <a:pt x="6371184" y="3810637"/>
                </a:cubicBezTo>
                <a:cubicBezTo>
                  <a:pt x="6372330" y="3811637"/>
                  <a:pt x="6372330" y="3811525"/>
                  <a:pt x="6372330" y="3811525"/>
                </a:cubicBezTo>
                <a:cubicBezTo>
                  <a:pt x="6373190" y="3812526"/>
                  <a:pt x="6370612" y="3813859"/>
                  <a:pt x="6370612" y="3813859"/>
                </a:cubicBezTo>
                <a:cubicBezTo>
                  <a:pt x="6366888" y="3814081"/>
                  <a:pt x="6365169" y="3810415"/>
                  <a:pt x="6363165" y="3808415"/>
                </a:cubicBezTo>
                <a:cubicBezTo>
                  <a:pt x="6359440" y="3808638"/>
                  <a:pt x="6362018" y="3803195"/>
                  <a:pt x="6358294" y="3803417"/>
                </a:cubicBezTo>
                <a:cubicBezTo>
                  <a:pt x="6359726" y="3796863"/>
                  <a:pt x="6347981" y="3794974"/>
                  <a:pt x="6347981" y="3784866"/>
                </a:cubicBezTo>
                <a:close/>
                <a:moveTo>
                  <a:pt x="6172952" y="3784089"/>
                </a:moveTo>
                <a:cubicBezTo>
                  <a:pt x="6183550" y="3787865"/>
                  <a:pt x="6173524" y="3794308"/>
                  <a:pt x="6168654" y="3794198"/>
                </a:cubicBezTo>
                <a:cubicBezTo>
                  <a:pt x="6159774" y="3790531"/>
                  <a:pt x="6167796" y="3783977"/>
                  <a:pt x="6172952" y="3784089"/>
                </a:cubicBezTo>
                <a:close/>
                <a:moveTo>
                  <a:pt x="7150368" y="3781867"/>
                </a:moveTo>
                <a:cubicBezTo>
                  <a:pt x="7155524" y="3781422"/>
                  <a:pt x="7159821" y="3784532"/>
                  <a:pt x="7163832" y="3788310"/>
                </a:cubicBezTo>
                <a:cubicBezTo>
                  <a:pt x="7161826" y="3790642"/>
                  <a:pt x="7161254" y="3792975"/>
                  <a:pt x="7158962" y="3795196"/>
                </a:cubicBezTo>
                <a:cubicBezTo>
                  <a:pt x="7153519" y="3796641"/>
                  <a:pt x="7142633" y="3793086"/>
                  <a:pt x="7141774" y="3788532"/>
                </a:cubicBezTo>
                <a:cubicBezTo>
                  <a:pt x="7141488" y="3786977"/>
                  <a:pt x="7142060" y="3785310"/>
                  <a:pt x="7144638" y="3783644"/>
                </a:cubicBezTo>
                <a:cubicBezTo>
                  <a:pt x="7146644" y="3782534"/>
                  <a:pt x="7148649" y="3782089"/>
                  <a:pt x="7150368" y="3781867"/>
                </a:cubicBezTo>
                <a:close/>
                <a:moveTo>
                  <a:pt x="6390092" y="3781423"/>
                </a:moveTo>
                <a:cubicBezTo>
                  <a:pt x="6390092" y="3782423"/>
                  <a:pt x="6389232" y="3783533"/>
                  <a:pt x="6387800" y="3784644"/>
                </a:cubicBezTo>
                <a:cubicBezTo>
                  <a:pt x="6383216" y="3787865"/>
                  <a:pt x="6373763" y="3790976"/>
                  <a:pt x="6368606" y="3791975"/>
                </a:cubicBezTo>
                <a:cubicBezTo>
                  <a:pt x="6368607" y="3787754"/>
                  <a:pt x="6383216" y="3782645"/>
                  <a:pt x="6390092" y="3781423"/>
                </a:cubicBezTo>
                <a:close/>
                <a:moveTo>
                  <a:pt x="6991953" y="3780979"/>
                </a:moveTo>
                <a:cubicBezTo>
                  <a:pt x="6993672" y="3780979"/>
                  <a:pt x="6995390" y="3781089"/>
                  <a:pt x="6997396" y="3782200"/>
                </a:cubicBezTo>
                <a:cubicBezTo>
                  <a:pt x="6999114" y="3783422"/>
                  <a:pt x="6997396" y="3783423"/>
                  <a:pt x="6998828" y="3783422"/>
                </a:cubicBezTo>
                <a:cubicBezTo>
                  <a:pt x="7000834" y="3784644"/>
                  <a:pt x="7000547" y="3783422"/>
                  <a:pt x="7000547" y="3783422"/>
                </a:cubicBezTo>
                <a:cubicBezTo>
                  <a:pt x="7000547" y="3783422"/>
                  <a:pt x="7000834" y="3784644"/>
                  <a:pt x="7000834" y="3784644"/>
                </a:cubicBezTo>
                <a:cubicBezTo>
                  <a:pt x="7000834" y="3784644"/>
                  <a:pt x="7000834" y="3784755"/>
                  <a:pt x="7004271" y="3787087"/>
                </a:cubicBezTo>
                <a:cubicBezTo>
                  <a:pt x="7009714" y="3789643"/>
                  <a:pt x="7011432" y="3789643"/>
                  <a:pt x="7014870" y="3790865"/>
                </a:cubicBezTo>
                <a:cubicBezTo>
                  <a:pt x="7018308" y="3793308"/>
                  <a:pt x="7018594" y="3794530"/>
                  <a:pt x="7022032" y="3798085"/>
                </a:cubicBezTo>
                <a:cubicBezTo>
                  <a:pt x="7020600" y="3800418"/>
                  <a:pt x="7020600" y="3800418"/>
                  <a:pt x="7018881" y="3800417"/>
                </a:cubicBezTo>
                <a:cubicBezTo>
                  <a:pt x="7020600" y="3800418"/>
                  <a:pt x="7020600" y="3801640"/>
                  <a:pt x="7022318" y="3802861"/>
                </a:cubicBezTo>
                <a:cubicBezTo>
                  <a:pt x="7026902" y="3804750"/>
                  <a:pt x="7028334" y="3807082"/>
                  <a:pt x="7027761" y="3809637"/>
                </a:cubicBezTo>
                <a:lnTo>
                  <a:pt x="7023464" y="3815524"/>
                </a:lnTo>
                <a:lnTo>
                  <a:pt x="7026902" y="3816746"/>
                </a:lnTo>
                <a:cubicBezTo>
                  <a:pt x="7026615" y="3818524"/>
                  <a:pt x="7027474" y="3821079"/>
                  <a:pt x="7026042" y="3823634"/>
                </a:cubicBezTo>
                <a:cubicBezTo>
                  <a:pt x="7018308" y="3826744"/>
                  <a:pt x="7012293" y="3825634"/>
                  <a:pt x="7007995" y="3822079"/>
                </a:cubicBezTo>
                <a:lnTo>
                  <a:pt x="7008854" y="3820857"/>
                </a:lnTo>
                <a:lnTo>
                  <a:pt x="7006849" y="3820746"/>
                </a:lnTo>
                <a:cubicBezTo>
                  <a:pt x="7004844" y="3820413"/>
                  <a:pt x="7003125" y="3819634"/>
                  <a:pt x="7001407" y="3818413"/>
                </a:cubicBezTo>
                <a:cubicBezTo>
                  <a:pt x="6995964" y="3814747"/>
                  <a:pt x="6991953" y="3806527"/>
                  <a:pt x="6996823" y="3803195"/>
                </a:cubicBezTo>
                <a:cubicBezTo>
                  <a:pt x="7001692" y="3798640"/>
                  <a:pt x="7006849" y="3797752"/>
                  <a:pt x="7011719" y="3797863"/>
                </a:cubicBezTo>
                <a:cubicBezTo>
                  <a:pt x="7011719" y="3797863"/>
                  <a:pt x="7012006" y="3797863"/>
                  <a:pt x="7010286" y="3797751"/>
                </a:cubicBezTo>
                <a:cubicBezTo>
                  <a:pt x="7003125" y="3792864"/>
                  <a:pt x="6990520" y="3784421"/>
                  <a:pt x="6991953" y="3780979"/>
                </a:cubicBezTo>
                <a:close/>
                <a:moveTo>
                  <a:pt x="7093934" y="3780201"/>
                </a:moveTo>
                <a:cubicBezTo>
                  <a:pt x="7104534" y="3785199"/>
                  <a:pt x="7105680" y="3803972"/>
                  <a:pt x="7100810" y="3807305"/>
                </a:cubicBezTo>
                <a:cubicBezTo>
                  <a:pt x="7095366" y="3803639"/>
                  <a:pt x="7096799" y="3798974"/>
                  <a:pt x="7091356" y="3794086"/>
                </a:cubicBezTo>
                <a:cubicBezTo>
                  <a:pt x="7094507" y="3790754"/>
                  <a:pt x="7089064" y="3784644"/>
                  <a:pt x="7093934" y="3780201"/>
                </a:cubicBezTo>
                <a:close/>
                <a:moveTo>
                  <a:pt x="6283813" y="3779868"/>
                </a:moveTo>
                <a:cubicBezTo>
                  <a:pt x="6284386" y="3781089"/>
                  <a:pt x="6284959" y="3782200"/>
                  <a:pt x="6283240" y="3782645"/>
                </a:cubicBezTo>
                <a:cubicBezTo>
                  <a:pt x="6281808" y="3782978"/>
                  <a:pt x="6281522" y="3781866"/>
                  <a:pt x="6282380" y="3780201"/>
                </a:cubicBezTo>
                <a:cubicBezTo>
                  <a:pt x="6282380" y="3780201"/>
                  <a:pt x="6283813" y="3779868"/>
                  <a:pt x="6283813" y="3779868"/>
                </a:cubicBezTo>
                <a:close/>
                <a:moveTo>
                  <a:pt x="6203030" y="3778867"/>
                </a:moveTo>
                <a:cubicBezTo>
                  <a:pt x="6204462" y="3779312"/>
                  <a:pt x="6205608" y="3780423"/>
                  <a:pt x="6206468" y="3781756"/>
                </a:cubicBezTo>
                <a:cubicBezTo>
                  <a:pt x="6207757" y="3783754"/>
                  <a:pt x="6208545" y="3786532"/>
                  <a:pt x="6208903" y="3789253"/>
                </a:cubicBezTo>
                <a:lnTo>
                  <a:pt x="6208826" y="3793089"/>
                </a:lnTo>
                <a:lnTo>
                  <a:pt x="6208760" y="3793086"/>
                </a:lnTo>
                <a:lnTo>
                  <a:pt x="6208827" y="3793127"/>
                </a:lnTo>
                <a:lnTo>
                  <a:pt x="6208760" y="3796419"/>
                </a:lnTo>
                <a:cubicBezTo>
                  <a:pt x="6203030" y="3794530"/>
                  <a:pt x="6201884" y="3783644"/>
                  <a:pt x="6203030" y="3778867"/>
                </a:cubicBezTo>
                <a:close/>
                <a:moveTo>
                  <a:pt x="6418738" y="3778312"/>
                </a:moveTo>
                <a:cubicBezTo>
                  <a:pt x="6419310" y="3778424"/>
                  <a:pt x="6420170" y="3778645"/>
                  <a:pt x="6421030" y="3779312"/>
                </a:cubicBezTo>
                <a:cubicBezTo>
                  <a:pt x="6424467" y="3780533"/>
                  <a:pt x="6423034" y="3782978"/>
                  <a:pt x="6426472" y="3785422"/>
                </a:cubicBezTo>
                <a:cubicBezTo>
                  <a:pt x="6433634" y="3789088"/>
                  <a:pt x="6443087" y="3779979"/>
                  <a:pt x="6457410" y="3787532"/>
                </a:cubicBezTo>
                <a:cubicBezTo>
                  <a:pt x="6453973" y="3789754"/>
                  <a:pt x="6461421" y="3795863"/>
                  <a:pt x="6456551" y="3799196"/>
                </a:cubicBezTo>
                <a:lnTo>
                  <a:pt x="6453114" y="3801640"/>
                </a:lnTo>
                <a:lnTo>
                  <a:pt x="6456838" y="3801861"/>
                </a:lnTo>
                <a:cubicBezTo>
                  <a:pt x="6454832" y="3811193"/>
                  <a:pt x="6447670" y="3821190"/>
                  <a:pt x="6445952" y="3823412"/>
                </a:cubicBezTo>
                <a:cubicBezTo>
                  <a:pt x="6445092" y="3824523"/>
                  <a:pt x="6444233" y="3825078"/>
                  <a:pt x="6443087" y="3825189"/>
                </a:cubicBezTo>
                <a:cubicBezTo>
                  <a:pt x="6441942" y="3825189"/>
                  <a:pt x="6440796" y="3824745"/>
                  <a:pt x="6439076" y="3824079"/>
                </a:cubicBezTo>
                <a:cubicBezTo>
                  <a:pt x="6437645" y="3822745"/>
                  <a:pt x="6437072" y="3821635"/>
                  <a:pt x="6437072" y="3820413"/>
                </a:cubicBezTo>
                <a:lnTo>
                  <a:pt x="6435927" y="3820746"/>
                </a:lnTo>
                <a:lnTo>
                  <a:pt x="6435927" y="3821190"/>
                </a:lnTo>
                <a:cubicBezTo>
                  <a:pt x="6433920" y="3825411"/>
                  <a:pt x="6430484" y="3829410"/>
                  <a:pt x="6429624" y="3831076"/>
                </a:cubicBezTo>
                <a:cubicBezTo>
                  <a:pt x="6429624" y="3831076"/>
                  <a:pt x="6429624" y="3832299"/>
                  <a:pt x="6428191" y="3833409"/>
                </a:cubicBezTo>
                <a:cubicBezTo>
                  <a:pt x="6426472" y="3835632"/>
                  <a:pt x="6424467" y="3832077"/>
                  <a:pt x="6423034" y="3833188"/>
                </a:cubicBezTo>
                <a:lnTo>
                  <a:pt x="6423321" y="3824523"/>
                </a:lnTo>
                <a:lnTo>
                  <a:pt x="6413008" y="3824189"/>
                </a:lnTo>
                <a:cubicBezTo>
                  <a:pt x="6407852" y="3817414"/>
                  <a:pt x="6415014" y="3808637"/>
                  <a:pt x="6423608" y="3803084"/>
                </a:cubicBezTo>
                <a:lnTo>
                  <a:pt x="6424467" y="3802639"/>
                </a:lnTo>
                <a:lnTo>
                  <a:pt x="6423608" y="3802528"/>
                </a:lnTo>
                <a:cubicBezTo>
                  <a:pt x="6421602" y="3803418"/>
                  <a:pt x="6419884" y="3806860"/>
                  <a:pt x="6415873" y="3804973"/>
                </a:cubicBezTo>
                <a:cubicBezTo>
                  <a:pt x="6407852" y="3800307"/>
                  <a:pt x="6410144" y="3791975"/>
                  <a:pt x="6411862" y="3787643"/>
                </a:cubicBezTo>
                <a:lnTo>
                  <a:pt x="6412722" y="3785199"/>
                </a:lnTo>
                <a:lnTo>
                  <a:pt x="6411004" y="3785199"/>
                </a:lnTo>
                <a:lnTo>
                  <a:pt x="6412722" y="3783977"/>
                </a:lnTo>
                <a:lnTo>
                  <a:pt x="6412722" y="3783755"/>
                </a:lnTo>
                <a:cubicBezTo>
                  <a:pt x="6414441" y="3783755"/>
                  <a:pt x="6414441" y="3782644"/>
                  <a:pt x="6412722" y="3782645"/>
                </a:cubicBezTo>
                <a:cubicBezTo>
                  <a:pt x="6414154" y="3780868"/>
                  <a:pt x="6415586" y="3779423"/>
                  <a:pt x="6416732" y="3778757"/>
                </a:cubicBezTo>
                <a:cubicBezTo>
                  <a:pt x="6417306" y="3778423"/>
                  <a:pt x="6417878" y="3778202"/>
                  <a:pt x="6418738" y="3778312"/>
                </a:cubicBezTo>
                <a:close/>
                <a:moveTo>
                  <a:pt x="6818642" y="3774980"/>
                </a:moveTo>
                <a:cubicBezTo>
                  <a:pt x="6820935" y="3775424"/>
                  <a:pt x="6823226" y="3775980"/>
                  <a:pt x="6825230" y="3776535"/>
                </a:cubicBezTo>
                <a:lnTo>
                  <a:pt x="6824372" y="3781867"/>
                </a:lnTo>
                <a:lnTo>
                  <a:pt x="6826090" y="3785088"/>
                </a:lnTo>
                <a:cubicBezTo>
                  <a:pt x="6828954" y="3786755"/>
                  <a:pt x="6830674" y="3789864"/>
                  <a:pt x="6830387" y="3792420"/>
                </a:cubicBezTo>
                <a:cubicBezTo>
                  <a:pt x="6828668" y="3795641"/>
                  <a:pt x="6825517" y="3796641"/>
                  <a:pt x="6823226" y="3796086"/>
                </a:cubicBezTo>
                <a:cubicBezTo>
                  <a:pt x="6804892" y="3793531"/>
                  <a:pt x="6805751" y="3781978"/>
                  <a:pt x="6802886" y="3780423"/>
                </a:cubicBezTo>
                <a:cubicBezTo>
                  <a:pt x="6805178" y="3776869"/>
                  <a:pt x="6805751" y="3775980"/>
                  <a:pt x="6810907" y="3776646"/>
                </a:cubicBezTo>
                <a:lnTo>
                  <a:pt x="6816350" y="3777535"/>
                </a:lnTo>
                <a:close/>
                <a:moveTo>
                  <a:pt x="6284959" y="3772536"/>
                </a:moveTo>
                <a:cubicBezTo>
                  <a:pt x="6284672" y="3776312"/>
                  <a:pt x="6284672" y="3776312"/>
                  <a:pt x="6282094" y="3779423"/>
                </a:cubicBezTo>
                <a:cubicBezTo>
                  <a:pt x="6281808" y="3778201"/>
                  <a:pt x="6279230" y="3776313"/>
                  <a:pt x="6280376" y="3774869"/>
                </a:cubicBezTo>
                <a:cubicBezTo>
                  <a:pt x="6281808" y="3773314"/>
                  <a:pt x="6281808" y="3773424"/>
                  <a:pt x="6284959" y="3772536"/>
                </a:cubicBezTo>
                <a:close/>
                <a:moveTo>
                  <a:pt x="6932082" y="3770536"/>
                </a:moveTo>
                <a:cubicBezTo>
                  <a:pt x="6934946" y="3772091"/>
                  <a:pt x="6938670" y="3771536"/>
                  <a:pt x="6941248" y="3775424"/>
                </a:cubicBezTo>
                <a:cubicBezTo>
                  <a:pt x="6937524" y="3777201"/>
                  <a:pt x="6933800" y="3777868"/>
                  <a:pt x="6930076" y="3779645"/>
                </a:cubicBezTo>
                <a:cubicBezTo>
                  <a:pt x="6924062" y="3776312"/>
                  <a:pt x="6928072" y="3773425"/>
                  <a:pt x="6932082" y="3770536"/>
                </a:cubicBezTo>
                <a:close/>
                <a:moveTo>
                  <a:pt x="6546214" y="3769870"/>
                </a:moveTo>
                <a:cubicBezTo>
                  <a:pt x="6547933" y="3769425"/>
                  <a:pt x="6549652" y="3769314"/>
                  <a:pt x="6550512" y="3769981"/>
                </a:cubicBezTo>
                <a:cubicBezTo>
                  <a:pt x="6553662" y="3772536"/>
                  <a:pt x="6555381" y="3776202"/>
                  <a:pt x="6553662" y="3777201"/>
                </a:cubicBezTo>
                <a:cubicBezTo>
                  <a:pt x="6551084" y="3778757"/>
                  <a:pt x="6548220" y="3780311"/>
                  <a:pt x="6545068" y="3779313"/>
                </a:cubicBezTo>
                <a:cubicBezTo>
                  <a:pt x="6543922" y="3778979"/>
                  <a:pt x="6542777" y="3778313"/>
                  <a:pt x="6541631" y="3777424"/>
                </a:cubicBezTo>
                <a:cubicBezTo>
                  <a:pt x="6541631" y="3777424"/>
                  <a:pt x="6541631" y="3777424"/>
                  <a:pt x="6541631" y="3776201"/>
                </a:cubicBezTo>
                <a:cubicBezTo>
                  <a:pt x="6541918" y="3773869"/>
                  <a:pt x="6541918" y="3772758"/>
                  <a:pt x="6541918" y="3771647"/>
                </a:cubicBezTo>
                <a:cubicBezTo>
                  <a:pt x="6542777" y="3771092"/>
                  <a:pt x="6544496" y="3770314"/>
                  <a:pt x="6546214" y="3769870"/>
                </a:cubicBezTo>
                <a:close/>
                <a:moveTo>
                  <a:pt x="7072450" y="3767981"/>
                </a:moveTo>
                <a:cubicBezTo>
                  <a:pt x="7073883" y="3767426"/>
                  <a:pt x="7074454" y="3768426"/>
                  <a:pt x="7076174" y="3767982"/>
                </a:cubicBezTo>
                <a:cubicBezTo>
                  <a:pt x="7076174" y="3767982"/>
                  <a:pt x="7076460" y="3768981"/>
                  <a:pt x="7076460" y="3768981"/>
                </a:cubicBezTo>
                <a:cubicBezTo>
                  <a:pt x="7077320" y="3768759"/>
                  <a:pt x="7077320" y="3768759"/>
                  <a:pt x="7077033" y="3769204"/>
                </a:cubicBezTo>
                <a:cubicBezTo>
                  <a:pt x="7076746" y="3769536"/>
                  <a:pt x="7076460" y="3770314"/>
                  <a:pt x="7076174" y="3771536"/>
                </a:cubicBezTo>
                <a:cubicBezTo>
                  <a:pt x="7075314" y="3773091"/>
                  <a:pt x="7076175" y="3774091"/>
                  <a:pt x="7073882" y="3773536"/>
                </a:cubicBezTo>
                <a:cubicBezTo>
                  <a:pt x="7071876" y="3772980"/>
                  <a:pt x="7071876" y="3772980"/>
                  <a:pt x="7070158" y="3769981"/>
                </a:cubicBezTo>
                <a:cubicBezTo>
                  <a:pt x="7072163" y="3770536"/>
                  <a:pt x="7072163" y="3770536"/>
                  <a:pt x="7073022" y="3768981"/>
                </a:cubicBezTo>
                <a:cubicBezTo>
                  <a:pt x="7073022" y="3768981"/>
                  <a:pt x="7073022" y="3768981"/>
                  <a:pt x="7072450" y="3767981"/>
                </a:cubicBezTo>
                <a:close/>
                <a:moveTo>
                  <a:pt x="1703249" y="3763760"/>
                </a:moveTo>
                <a:cubicBezTo>
                  <a:pt x="1707546" y="3766315"/>
                  <a:pt x="1714707" y="3766871"/>
                  <a:pt x="1711842" y="3768870"/>
                </a:cubicBezTo>
                <a:cubicBezTo>
                  <a:pt x="1714707" y="3768648"/>
                  <a:pt x="1716139" y="3769537"/>
                  <a:pt x="1717573" y="3770425"/>
                </a:cubicBezTo>
                <a:cubicBezTo>
                  <a:pt x="1717573" y="3770425"/>
                  <a:pt x="1717573" y="3770425"/>
                  <a:pt x="1720436" y="3770314"/>
                </a:cubicBezTo>
                <a:cubicBezTo>
                  <a:pt x="1720436" y="3770314"/>
                  <a:pt x="1720436" y="3770314"/>
                  <a:pt x="1721869" y="3771202"/>
                </a:cubicBezTo>
                <a:cubicBezTo>
                  <a:pt x="1727311" y="3770870"/>
                  <a:pt x="1737910" y="3770314"/>
                  <a:pt x="1744787" y="3770870"/>
                </a:cubicBezTo>
                <a:cubicBezTo>
                  <a:pt x="1754526" y="3771314"/>
                  <a:pt x="1761687" y="3773757"/>
                  <a:pt x="1761973" y="3779313"/>
                </a:cubicBezTo>
                <a:cubicBezTo>
                  <a:pt x="1752235" y="3778868"/>
                  <a:pt x="1748797" y="3785532"/>
                  <a:pt x="1743641" y="3793198"/>
                </a:cubicBezTo>
                <a:cubicBezTo>
                  <a:pt x="1736765" y="3790753"/>
                  <a:pt x="1729604" y="3788310"/>
                  <a:pt x="1724448" y="3790420"/>
                </a:cubicBezTo>
                <a:cubicBezTo>
                  <a:pt x="1725307" y="3783978"/>
                  <a:pt x="1722155" y="3778534"/>
                  <a:pt x="1716426" y="3773314"/>
                </a:cubicBezTo>
                <a:cubicBezTo>
                  <a:pt x="1714994" y="3774313"/>
                  <a:pt x="1713561" y="3773313"/>
                  <a:pt x="1713561" y="3773313"/>
                </a:cubicBezTo>
                <a:cubicBezTo>
                  <a:pt x="1708406" y="3777312"/>
                  <a:pt x="1698379" y="3769536"/>
                  <a:pt x="1703249" y="3763760"/>
                </a:cubicBezTo>
                <a:close/>
                <a:moveTo>
                  <a:pt x="6624419" y="3763539"/>
                </a:moveTo>
                <a:cubicBezTo>
                  <a:pt x="6624419" y="3763539"/>
                  <a:pt x="6624706" y="3763871"/>
                  <a:pt x="6624706" y="3764316"/>
                </a:cubicBezTo>
                <a:cubicBezTo>
                  <a:pt x="6624992" y="3764760"/>
                  <a:pt x="6624992" y="3765205"/>
                  <a:pt x="6624132" y="3765648"/>
                </a:cubicBezTo>
                <a:cubicBezTo>
                  <a:pt x="6624132" y="3765648"/>
                  <a:pt x="6624132" y="3765648"/>
                  <a:pt x="6622700" y="3765537"/>
                </a:cubicBezTo>
                <a:cubicBezTo>
                  <a:pt x="6622700" y="3765537"/>
                  <a:pt x="6622700" y="3764427"/>
                  <a:pt x="6624419" y="3763539"/>
                </a:cubicBezTo>
                <a:close/>
                <a:moveTo>
                  <a:pt x="6665670" y="3763094"/>
                </a:moveTo>
                <a:cubicBezTo>
                  <a:pt x="6668534" y="3763093"/>
                  <a:pt x="6671973" y="3763316"/>
                  <a:pt x="6675410" y="3763871"/>
                </a:cubicBezTo>
                <a:cubicBezTo>
                  <a:pt x="6684863" y="3765649"/>
                  <a:pt x="6692024" y="3769870"/>
                  <a:pt x="6699186" y="3774980"/>
                </a:cubicBezTo>
                <a:lnTo>
                  <a:pt x="6704342" y="3778534"/>
                </a:lnTo>
                <a:lnTo>
                  <a:pt x="6706634" y="3778979"/>
                </a:lnTo>
                <a:cubicBezTo>
                  <a:pt x="6709212" y="3779423"/>
                  <a:pt x="6711504" y="3779867"/>
                  <a:pt x="6712936" y="3780645"/>
                </a:cubicBezTo>
                <a:cubicBezTo>
                  <a:pt x="6713796" y="3781200"/>
                  <a:pt x="6714082" y="3781978"/>
                  <a:pt x="6713796" y="3782755"/>
                </a:cubicBezTo>
                <a:lnTo>
                  <a:pt x="6709499" y="3782200"/>
                </a:lnTo>
                <a:lnTo>
                  <a:pt x="6710645" y="3783089"/>
                </a:lnTo>
                <a:cubicBezTo>
                  <a:pt x="6714942" y="3785866"/>
                  <a:pt x="6719526" y="3788753"/>
                  <a:pt x="6724682" y="3791309"/>
                </a:cubicBezTo>
                <a:cubicBezTo>
                  <a:pt x="6714942" y="3791864"/>
                  <a:pt x="6708926" y="3795419"/>
                  <a:pt x="6703770" y="3799529"/>
                </a:cubicBezTo>
                <a:lnTo>
                  <a:pt x="6698327" y="3804195"/>
                </a:lnTo>
                <a:lnTo>
                  <a:pt x="6699473" y="3804972"/>
                </a:lnTo>
                <a:cubicBezTo>
                  <a:pt x="6700046" y="3805306"/>
                  <a:pt x="6700046" y="3805306"/>
                  <a:pt x="6700046" y="3804639"/>
                </a:cubicBezTo>
                <a:cubicBezTo>
                  <a:pt x="6703197" y="3807305"/>
                  <a:pt x="6708066" y="3810304"/>
                  <a:pt x="6706062" y="3812415"/>
                </a:cubicBezTo>
                <a:cubicBezTo>
                  <a:pt x="6701478" y="3815414"/>
                  <a:pt x="6694890" y="3814081"/>
                  <a:pt x="6688873" y="3811859"/>
                </a:cubicBezTo>
                <a:lnTo>
                  <a:pt x="6688015" y="3811526"/>
                </a:lnTo>
                <a:lnTo>
                  <a:pt x="6681998" y="3813636"/>
                </a:lnTo>
                <a:cubicBezTo>
                  <a:pt x="6679707" y="3814192"/>
                  <a:pt x="6677128" y="3814414"/>
                  <a:pt x="6673978" y="3814303"/>
                </a:cubicBezTo>
                <a:lnTo>
                  <a:pt x="6661946" y="3812415"/>
                </a:lnTo>
                <a:lnTo>
                  <a:pt x="6661373" y="3814970"/>
                </a:lnTo>
                <a:cubicBezTo>
                  <a:pt x="6655358" y="3814414"/>
                  <a:pt x="6653638" y="3812415"/>
                  <a:pt x="6653352" y="3809859"/>
                </a:cubicBezTo>
                <a:lnTo>
                  <a:pt x="6653638" y="3809415"/>
                </a:lnTo>
                <a:lnTo>
                  <a:pt x="6646764" y="3805750"/>
                </a:lnTo>
                <a:lnTo>
                  <a:pt x="6643612" y="3813970"/>
                </a:lnTo>
                <a:cubicBezTo>
                  <a:pt x="6642180" y="3816969"/>
                  <a:pt x="6640174" y="3819857"/>
                  <a:pt x="6638456" y="3822413"/>
                </a:cubicBezTo>
                <a:cubicBezTo>
                  <a:pt x="6635018" y="3827633"/>
                  <a:pt x="6630722" y="3833187"/>
                  <a:pt x="6625565" y="3834964"/>
                </a:cubicBezTo>
                <a:lnTo>
                  <a:pt x="6624992" y="3835076"/>
                </a:lnTo>
                <a:lnTo>
                  <a:pt x="6622128" y="3837853"/>
                </a:lnTo>
                <a:cubicBezTo>
                  <a:pt x="6617831" y="3841185"/>
                  <a:pt x="6612388" y="3842741"/>
                  <a:pt x="6607804" y="3837963"/>
                </a:cubicBezTo>
                <a:lnTo>
                  <a:pt x="6614106" y="3831854"/>
                </a:lnTo>
                <a:lnTo>
                  <a:pt x="6610382" y="3829744"/>
                </a:lnTo>
                <a:cubicBezTo>
                  <a:pt x="6608377" y="3827078"/>
                  <a:pt x="6607517" y="3823523"/>
                  <a:pt x="6608090" y="3819857"/>
                </a:cubicBezTo>
                <a:lnTo>
                  <a:pt x="6608665" y="3818524"/>
                </a:lnTo>
                <a:lnTo>
                  <a:pt x="6587752" y="3818969"/>
                </a:lnTo>
                <a:lnTo>
                  <a:pt x="6581736" y="3819412"/>
                </a:lnTo>
                <a:lnTo>
                  <a:pt x="6580876" y="3820635"/>
                </a:lnTo>
                <a:cubicBezTo>
                  <a:pt x="6579158" y="3821746"/>
                  <a:pt x="6577152" y="3822634"/>
                  <a:pt x="6576293" y="3824189"/>
                </a:cubicBezTo>
                <a:cubicBezTo>
                  <a:pt x="6574861" y="3823412"/>
                  <a:pt x="6572856" y="3822523"/>
                  <a:pt x="6571423" y="3820968"/>
                </a:cubicBezTo>
                <a:lnTo>
                  <a:pt x="6571137" y="3820191"/>
                </a:lnTo>
                <a:lnTo>
                  <a:pt x="6570278" y="3820301"/>
                </a:lnTo>
                <a:lnTo>
                  <a:pt x="6570850" y="3819746"/>
                </a:lnTo>
                <a:lnTo>
                  <a:pt x="6569991" y="3818303"/>
                </a:lnTo>
                <a:cubicBezTo>
                  <a:pt x="6569990" y="3817192"/>
                  <a:pt x="6569991" y="3815969"/>
                  <a:pt x="6570564" y="3814414"/>
                </a:cubicBezTo>
                <a:cubicBezTo>
                  <a:pt x="6571423" y="3812859"/>
                  <a:pt x="6571423" y="3812859"/>
                  <a:pt x="6573142" y="3812304"/>
                </a:cubicBezTo>
                <a:cubicBezTo>
                  <a:pt x="6574288" y="3811303"/>
                  <a:pt x="6575148" y="3810304"/>
                  <a:pt x="6576293" y="3809638"/>
                </a:cubicBezTo>
                <a:lnTo>
                  <a:pt x="6577152" y="3809415"/>
                </a:lnTo>
                <a:lnTo>
                  <a:pt x="6577726" y="3807638"/>
                </a:lnTo>
                <a:cubicBezTo>
                  <a:pt x="6578585" y="3803306"/>
                  <a:pt x="6578012" y="3799085"/>
                  <a:pt x="6577726" y="3794864"/>
                </a:cubicBezTo>
                <a:lnTo>
                  <a:pt x="6574288" y="3794752"/>
                </a:lnTo>
                <a:cubicBezTo>
                  <a:pt x="6571423" y="3793753"/>
                  <a:pt x="6568845" y="3792531"/>
                  <a:pt x="6565694" y="3792197"/>
                </a:cubicBezTo>
                <a:cubicBezTo>
                  <a:pt x="6567126" y="3787088"/>
                  <a:pt x="6571423" y="3784311"/>
                  <a:pt x="6576006" y="3783644"/>
                </a:cubicBezTo>
                <a:lnTo>
                  <a:pt x="6580017" y="3783866"/>
                </a:lnTo>
                <a:lnTo>
                  <a:pt x="6581163" y="3781645"/>
                </a:lnTo>
                <a:cubicBezTo>
                  <a:pt x="6582309" y="3779978"/>
                  <a:pt x="6583741" y="3778424"/>
                  <a:pt x="6586033" y="3776979"/>
                </a:cubicBezTo>
                <a:cubicBezTo>
                  <a:pt x="6602362" y="3764982"/>
                  <a:pt x="6623846" y="3767315"/>
                  <a:pt x="6637024" y="3775535"/>
                </a:cubicBezTo>
                <a:lnTo>
                  <a:pt x="6637596" y="3776202"/>
                </a:lnTo>
                <a:lnTo>
                  <a:pt x="6640461" y="3773202"/>
                </a:lnTo>
                <a:lnTo>
                  <a:pt x="6637024" y="3772980"/>
                </a:lnTo>
                <a:cubicBezTo>
                  <a:pt x="6634159" y="3771759"/>
                  <a:pt x="6632726" y="3769536"/>
                  <a:pt x="6634446" y="3765872"/>
                </a:cubicBezTo>
                <a:cubicBezTo>
                  <a:pt x="6636737" y="3765094"/>
                  <a:pt x="6640461" y="3764983"/>
                  <a:pt x="6643898" y="3765649"/>
                </a:cubicBezTo>
                <a:lnTo>
                  <a:pt x="6647623" y="3767203"/>
                </a:lnTo>
                <a:lnTo>
                  <a:pt x="6657363" y="3763649"/>
                </a:lnTo>
                <a:cubicBezTo>
                  <a:pt x="6659654" y="3763316"/>
                  <a:pt x="6662519" y="3763094"/>
                  <a:pt x="6665670" y="3763094"/>
                </a:cubicBezTo>
                <a:close/>
                <a:moveTo>
                  <a:pt x="6531891" y="3762871"/>
                </a:moveTo>
                <a:cubicBezTo>
                  <a:pt x="6533610" y="3764204"/>
                  <a:pt x="6535042" y="3765427"/>
                  <a:pt x="6535615" y="3766871"/>
                </a:cubicBezTo>
                <a:lnTo>
                  <a:pt x="6535615" y="3767981"/>
                </a:lnTo>
                <a:lnTo>
                  <a:pt x="6537334" y="3766982"/>
                </a:lnTo>
                <a:cubicBezTo>
                  <a:pt x="6537907" y="3766204"/>
                  <a:pt x="6538480" y="3765316"/>
                  <a:pt x="6538766" y="3763982"/>
                </a:cubicBezTo>
                <a:cubicBezTo>
                  <a:pt x="6538766" y="3763982"/>
                  <a:pt x="6538766" y="3763982"/>
                  <a:pt x="6543350" y="3763205"/>
                </a:cubicBezTo>
                <a:lnTo>
                  <a:pt x="6544782" y="3763760"/>
                </a:lnTo>
                <a:cubicBezTo>
                  <a:pt x="6545069" y="3764316"/>
                  <a:pt x="6544782" y="3765315"/>
                  <a:pt x="6543922" y="3766426"/>
                </a:cubicBezTo>
                <a:cubicBezTo>
                  <a:pt x="6541058" y="3769981"/>
                  <a:pt x="6533611" y="3775202"/>
                  <a:pt x="6533037" y="3775979"/>
                </a:cubicBezTo>
                <a:cubicBezTo>
                  <a:pt x="6533037" y="3775979"/>
                  <a:pt x="6532178" y="3776979"/>
                  <a:pt x="6531032" y="3777978"/>
                </a:cubicBezTo>
                <a:cubicBezTo>
                  <a:pt x="6528740" y="3778423"/>
                  <a:pt x="6527308" y="3777868"/>
                  <a:pt x="6526448" y="3778867"/>
                </a:cubicBezTo>
                <a:cubicBezTo>
                  <a:pt x="6525876" y="3776424"/>
                  <a:pt x="6526735" y="3774647"/>
                  <a:pt x="6528167" y="3773091"/>
                </a:cubicBezTo>
                <a:lnTo>
                  <a:pt x="6533610" y="3769204"/>
                </a:lnTo>
                <a:lnTo>
                  <a:pt x="6531891" y="3767204"/>
                </a:lnTo>
                <a:cubicBezTo>
                  <a:pt x="6531318" y="3765982"/>
                  <a:pt x="6531032" y="3764649"/>
                  <a:pt x="6531891" y="3762871"/>
                </a:cubicBezTo>
                <a:close/>
                <a:moveTo>
                  <a:pt x="6789422" y="3762428"/>
                </a:moveTo>
                <a:cubicBezTo>
                  <a:pt x="6791714" y="3764427"/>
                  <a:pt x="6796584" y="3768093"/>
                  <a:pt x="6797444" y="3770647"/>
                </a:cubicBezTo>
                <a:cubicBezTo>
                  <a:pt x="6797730" y="3771536"/>
                  <a:pt x="6797730" y="3772202"/>
                  <a:pt x="6796585" y="3772647"/>
                </a:cubicBezTo>
                <a:cubicBezTo>
                  <a:pt x="6793720" y="3769981"/>
                  <a:pt x="6787131" y="3766871"/>
                  <a:pt x="6789422" y="3762428"/>
                </a:cubicBezTo>
                <a:close/>
                <a:moveTo>
                  <a:pt x="6865336" y="3761983"/>
                </a:moveTo>
                <a:cubicBezTo>
                  <a:pt x="6867054" y="3761873"/>
                  <a:pt x="6870492" y="3761761"/>
                  <a:pt x="6872498" y="3762872"/>
                </a:cubicBezTo>
                <a:cubicBezTo>
                  <a:pt x="6874216" y="3762871"/>
                  <a:pt x="6873357" y="3766426"/>
                  <a:pt x="6873357" y="3766426"/>
                </a:cubicBezTo>
                <a:cubicBezTo>
                  <a:pt x="6871924" y="3767759"/>
                  <a:pt x="6866196" y="3765537"/>
                  <a:pt x="6864476" y="3765649"/>
                </a:cubicBezTo>
                <a:cubicBezTo>
                  <a:pt x="6864190" y="3764427"/>
                  <a:pt x="6865623" y="3763094"/>
                  <a:pt x="6865336" y="3761983"/>
                </a:cubicBezTo>
                <a:close/>
                <a:moveTo>
                  <a:pt x="6362877" y="3761983"/>
                </a:moveTo>
                <a:cubicBezTo>
                  <a:pt x="6366315" y="3762094"/>
                  <a:pt x="6369752" y="3763427"/>
                  <a:pt x="6370898" y="3764983"/>
                </a:cubicBezTo>
                <a:cubicBezTo>
                  <a:pt x="6370039" y="3772869"/>
                  <a:pt x="6356862" y="3769536"/>
                  <a:pt x="6355142" y="3766426"/>
                </a:cubicBezTo>
                <a:cubicBezTo>
                  <a:pt x="6356002" y="3762982"/>
                  <a:pt x="6359440" y="3761872"/>
                  <a:pt x="6362877" y="3761983"/>
                </a:cubicBezTo>
                <a:close/>
                <a:moveTo>
                  <a:pt x="6848434" y="3761539"/>
                </a:moveTo>
                <a:cubicBezTo>
                  <a:pt x="6849580" y="3761205"/>
                  <a:pt x="6851299" y="3761538"/>
                  <a:pt x="6854164" y="3762538"/>
                </a:cubicBezTo>
                <a:cubicBezTo>
                  <a:pt x="6854164" y="3762538"/>
                  <a:pt x="6854164" y="3763649"/>
                  <a:pt x="6854164" y="3763649"/>
                </a:cubicBezTo>
                <a:cubicBezTo>
                  <a:pt x="6851586" y="3767204"/>
                  <a:pt x="6849580" y="3766203"/>
                  <a:pt x="6845570" y="3763982"/>
                </a:cubicBezTo>
                <a:cubicBezTo>
                  <a:pt x="6846429" y="3762871"/>
                  <a:pt x="6847002" y="3761873"/>
                  <a:pt x="6848434" y="3761539"/>
                </a:cubicBezTo>
                <a:close/>
                <a:moveTo>
                  <a:pt x="6415586" y="3761539"/>
                </a:moveTo>
                <a:cubicBezTo>
                  <a:pt x="6417019" y="3761428"/>
                  <a:pt x="6418738" y="3761650"/>
                  <a:pt x="6420170" y="3761982"/>
                </a:cubicBezTo>
                <a:cubicBezTo>
                  <a:pt x="6426186" y="3762538"/>
                  <a:pt x="6428764" y="3766759"/>
                  <a:pt x="6435352" y="3768426"/>
                </a:cubicBezTo>
                <a:cubicBezTo>
                  <a:pt x="6433061" y="3774202"/>
                  <a:pt x="6431915" y="3775757"/>
                  <a:pt x="6422748" y="3776202"/>
                </a:cubicBezTo>
                <a:cubicBezTo>
                  <a:pt x="6422748" y="3776202"/>
                  <a:pt x="6420743" y="3775758"/>
                  <a:pt x="6420743" y="3775758"/>
                </a:cubicBezTo>
                <a:cubicBezTo>
                  <a:pt x="6412722" y="3774646"/>
                  <a:pt x="6405847" y="3769315"/>
                  <a:pt x="6406134" y="3766648"/>
                </a:cubicBezTo>
                <a:cubicBezTo>
                  <a:pt x="6407566" y="3764316"/>
                  <a:pt x="6411003" y="3761983"/>
                  <a:pt x="6415586" y="3761539"/>
                </a:cubicBezTo>
                <a:close/>
                <a:moveTo>
                  <a:pt x="7311074" y="3760427"/>
                </a:moveTo>
                <a:cubicBezTo>
                  <a:pt x="7314226" y="3760539"/>
                  <a:pt x="7315658" y="3761317"/>
                  <a:pt x="7316230" y="3762316"/>
                </a:cubicBezTo>
                <a:cubicBezTo>
                  <a:pt x="7316804" y="3763427"/>
                  <a:pt x="7316517" y="3764871"/>
                  <a:pt x="7315658" y="3766538"/>
                </a:cubicBezTo>
                <a:cubicBezTo>
                  <a:pt x="7314512" y="3769870"/>
                  <a:pt x="7310502" y="3770092"/>
                  <a:pt x="7310502" y="3770092"/>
                </a:cubicBezTo>
                <a:cubicBezTo>
                  <a:pt x="7304486" y="3769870"/>
                  <a:pt x="7300762" y="3767427"/>
                  <a:pt x="7301334" y="3763205"/>
                </a:cubicBezTo>
                <a:cubicBezTo>
                  <a:pt x="7303626" y="3760873"/>
                  <a:pt x="7307350" y="3760650"/>
                  <a:pt x="7311074" y="3760427"/>
                </a:cubicBezTo>
                <a:close/>
                <a:moveTo>
                  <a:pt x="6772808" y="3759317"/>
                </a:moveTo>
                <a:cubicBezTo>
                  <a:pt x="6774526" y="3759095"/>
                  <a:pt x="6776245" y="3759095"/>
                  <a:pt x="6777964" y="3759428"/>
                </a:cubicBezTo>
                <a:cubicBezTo>
                  <a:pt x="6780256" y="3759873"/>
                  <a:pt x="6782549" y="3760761"/>
                  <a:pt x="6784265" y="3762316"/>
                </a:cubicBezTo>
                <a:cubicBezTo>
                  <a:pt x="6781974" y="3764649"/>
                  <a:pt x="6781402" y="3767092"/>
                  <a:pt x="6779396" y="3769315"/>
                </a:cubicBezTo>
                <a:cubicBezTo>
                  <a:pt x="6772808" y="3768981"/>
                  <a:pt x="6766506" y="3773425"/>
                  <a:pt x="6761636" y="3767092"/>
                </a:cubicBezTo>
                <a:cubicBezTo>
                  <a:pt x="6762496" y="3763093"/>
                  <a:pt x="6767652" y="3760095"/>
                  <a:pt x="6772808" y="3759317"/>
                </a:cubicBezTo>
                <a:close/>
                <a:moveTo>
                  <a:pt x="6435926" y="3757873"/>
                </a:moveTo>
                <a:lnTo>
                  <a:pt x="6433920" y="3758206"/>
                </a:lnTo>
                <a:lnTo>
                  <a:pt x="6433348" y="3759206"/>
                </a:lnTo>
                <a:close/>
                <a:moveTo>
                  <a:pt x="6258890" y="3755096"/>
                </a:moveTo>
                <a:cubicBezTo>
                  <a:pt x="6273214" y="3756206"/>
                  <a:pt x="6284386" y="3773869"/>
                  <a:pt x="6270923" y="3782200"/>
                </a:cubicBezTo>
                <a:cubicBezTo>
                  <a:pt x="6255740" y="3782866"/>
                  <a:pt x="6244568" y="3768537"/>
                  <a:pt x="6243994" y="3760317"/>
                </a:cubicBezTo>
                <a:cubicBezTo>
                  <a:pt x="6248864" y="3756096"/>
                  <a:pt x="6254020" y="3754651"/>
                  <a:pt x="6258890" y="3755096"/>
                </a:cubicBezTo>
                <a:close/>
                <a:moveTo>
                  <a:pt x="7364930" y="3752541"/>
                </a:moveTo>
                <a:cubicBezTo>
                  <a:pt x="7370372" y="3751763"/>
                  <a:pt x="7375815" y="3754318"/>
                  <a:pt x="7376102" y="3757873"/>
                </a:cubicBezTo>
                <a:cubicBezTo>
                  <a:pt x="7368940" y="3765871"/>
                  <a:pt x="7358628" y="3759206"/>
                  <a:pt x="7359773" y="3754540"/>
                </a:cubicBezTo>
                <a:cubicBezTo>
                  <a:pt x="7361492" y="3753430"/>
                  <a:pt x="7363210" y="3752764"/>
                  <a:pt x="7364930" y="3752541"/>
                </a:cubicBezTo>
                <a:close/>
                <a:moveTo>
                  <a:pt x="6336522" y="3750875"/>
                </a:moveTo>
                <a:cubicBezTo>
                  <a:pt x="6333372" y="3758207"/>
                  <a:pt x="6329074" y="3782422"/>
                  <a:pt x="6315038" y="3780756"/>
                </a:cubicBezTo>
                <a:cubicBezTo>
                  <a:pt x="6317616" y="3772313"/>
                  <a:pt x="6317330" y="3749652"/>
                  <a:pt x="6336522" y="3750875"/>
                </a:cubicBezTo>
                <a:close/>
                <a:moveTo>
                  <a:pt x="6891690" y="3749652"/>
                </a:moveTo>
                <a:cubicBezTo>
                  <a:pt x="6894555" y="3749764"/>
                  <a:pt x="6896560" y="3750097"/>
                  <a:pt x="6898566" y="3750208"/>
                </a:cubicBezTo>
                <a:cubicBezTo>
                  <a:pt x="6899998" y="3753541"/>
                  <a:pt x="6902290" y="3755762"/>
                  <a:pt x="6903436" y="3759095"/>
                </a:cubicBezTo>
                <a:lnTo>
                  <a:pt x="6903149" y="3759539"/>
                </a:lnTo>
                <a:lnTo>
                  <a:pt x="6903436" y="3759539"/>
                </a:lnTo>
                <a:cubicBezTo>
                  <a:pt x="6905727" y="3761094"/>
                  <a:pt x="6906586" y="3762316"/>
                  <a:pt x="6906300" y="3763649"/>
                </a:cubicBezTo>
                <a:cubicBezTo>
                  <a:pt x="6906014" y="3764982"/>
                  <a:pt x="6904582" y="3766315"/>
                  <a:pt x="6902576" y="3767981"/>
                </a:cubicBezTo>
                <a:cubicBezTo>
                  <a:pt x="6898852" y="3771202"/>
                  <a:pt x="6893982" y="3769425"/>
                  <a:pt x="6890258" y="3771425"/>
                </a:cubicBezTo>
                <a:cubicBezTo>
                  <a:pt x="6889398" y="3770204"/>
                  <a:pt x="6888253" y="3768537"/>
                  <a:pt x="6888253" y="3766648"/>
                </a:cubicBezTo>
                <a:lnTo>
                  <a:pt x="6889685" y="3763760"/>
                </a:lnTo>
                <a:lnTo>
                  <a:pt x="6887107" y="3763538"/>
                </a:lnTo>
                <a:cubicBezTo>
                  <a:pt x="6881664" y="3760984"/>
                  <a:pt x="6878226" y="3755319"/>
                  <a:pt x="6882810" y="3749875"/>
                </a:cubicBezTo>
                <a:cubicBezTo>
                  <a:pt x="6886248" y="3749431"/>
                  <a:pt x="6889112" y="3749431"/>
                  <a:pt x="6891690" y="3749652"/>
                </a:cubicBezTo>
                <a:close/>
                <a:moveTo>
                  <a:pt x="6292694" y="3748209"/>
                </a:moveTo>
                <a:cubicBezTo>
                  <a:pt x="6292407" y="3749319"/>
                  <a:pt x="6293840" y="3751763"/>
                  <a:pt x="6291834" y="3752985"/>
                </a:cubicBezTo>
                <a:cubicBezTo>
                  <a:pt x="6290115" y="3754096"/>
                  <a:pt x="6290115" y="3754096"/>
                  <a:pt x="6286678" y="3754096"/>
                </a:cubicBezTo>
                <a:cubicBezTo>
                  <a:pt x="6288970" y="3750541"/>
                  <a:pt x="6288970" y="3750541"/>
                  <a:pt x="6292694" y="3748209"/>
                </a:cubicBezTo>
                <a:close/>
                <a:moveTo>
                  <a:pt x="7248052" y="3747320"/>
                </a:moveTo>
                <a:cubicBezTo>
                  <a:pt x="7250058" y="3758872"/>
                  <a:pt x="7217687" y="3778867"/>
                  <a:pt x="7203364" y="3771314"/>
                </a:cubicBezTo>
                <a:cubicBezTo>
                  <a:pt x="7220552" y="3763538"/>
                  <a:pt x="7226567" y="3753540"/>
                  <a:pt x="7248052" y="3747320"/>
                </a:cubicBezTo>
                <a:close/>
                <a:moveTo>
                  <a:pt x="6354856" y="3746653"/>
                </a:moveTo>
                <a:cubicBezTo>
                  <a:pt x="6356002" y="3746431"/>
                  <a:pt x="6356862" y="3746543"/>
                  <a:pt x="6357721" y="3747097"/>
                </a:cubicBezTo>
                <a:cubicBezTo>
                  <a:pt x="6354570" y="3749319"/>
                  <a:pt x="6351418" y="3753985"/>
                  <a:pt x="6344830" y="3752652"/>
                </a:cubicBezTo>
                <a:cubicBezTo>
                  <a:pt x="6347123" y="3750875"/>
                  <a:pt x="6351418" y="3747320"/>
                  <a:pt x="6354856" y="3746653"/>
                </a:cubicBezTo>
                <a:close/>
                <a:moveTo>
                  <a:pt x="6808903" y="3746098"/>
                </a:moveTo>
                <a:cubicBezTo>
                  <a:pt x="6811480" y="3746099"/>
                  <a:pt x="6814058" y="3746764"/>
                  <a:pt x="6815204" y="3748653"/>
                </a:cubicBezTo>
                <a:cubicBezTo>
                  <a:pt x="6814058" y="3749653"/>
                  <a:pt x="6815492" y="3750320"/>
                  <a:pt x="6814345" y="3751319"/>
                </a:cubicBezTo>
                <a:cubicBezTo>
                  <a:pt x="6814345" y="3751319"/>
                  <a:pt x="6814058" y="3752541"/>
                  <a:pt x="6812912" y="3754207"/>
                </a:cubicBezTo>
                <a:cubicBezTo>
                  <a:pt x="6811480" y="3755763"/>
                  <a:pt x="6809188" y="3757651"/>
                  <a:pt x="6805178" y="3758762"/>
                </a:cubicBezTo>
                <a:cubicBezTo>
                  <a:pt x="6802886" y="3759206"/>
                  <a:pt x="6796870" y="3759428"/>
                  <a:pt x="6798016" y="3758429"/>
                </a:cubicBezTo>
                <a:cubicBezTo>
                  <a:pt x="6797444" y="3756874"/>
                  <a:pt x="6796584" y="3757872"/>
                  <a:pt x="6795152" y="3757206"/>
                </a:cubicBezTo>
                <a:cubicBezTo>
                  <a:pt x="6794006" y="3752430"/>
                  <a:pt x="6795438" y="3748764"/>
                  <a:pt x="6800881" y="3746987"/>
                </a:cubicBezTo>
                <a:cubicBezTo>
                  <a:pt x="6803460" y="3746543"/>
                  <a:pt x="6806324" y="3745987"/>
                  <a:pt x="6808903" y="3746098"/>
                </a:cubicBezTo>
                <a:close/>
                <a:moveTo>
                  <a:pt x="6293266" y="3744765"/>
                </a:moveTo>
                <a:cubicBezTo>
                  <a:pt x="6294126" y="3744765"/>
                  <a:pt x="6294412" y="3745098"/>
                  <a:pt x="6294412" y="3745542"/>
                </a:cubicBezTo>
                <a:cubicBezTo>
                  <a:pt x="6294126" y="3745987"/>
                  <a:pt x="6293841" y="3746653"/>
                  <a:pt x="6292980" y="3747320"/>
                </a:cubicBezTo>
                <a:cubicBezTo>
                  <a:pt x="6292980" y="3747320"/>
                  <a:pt x="6291548" y="3747320"/>
                  <a:pt x="6291548" y="3747320"/>
                </a:cubicBezTo>
                <a:cubicBezTo>
                  <a:pt x="6291548" y="3745987"/>
                  <a:pt x="6291834" y="3744765"/>
                  <a:pt x="6293266" y="3744765"/>
                </a:cubicBezTo>
                <a:close/>
                <a:moveTo>
                  <a:pt x="6641607" y="3741766"/>
                </a:moveTo>
                <a:cubicBezTo>
                  <a:pt x="6644185" y="3742210"/>
                  <a:pt x="6646764" y="3743099"/>
                  <a:pt x="6648196" y="3744543"/>
                </a:cubicBezTo>
                <a:cubicBezTo>
                  <a:pt x="6651347" y="3747209"/>
                  <a:pt x="6651634" y="3751430"/>
                  <a:pt x="6646191" y="3756428"/>
                </a:cubicBezTo>
                <a:cubicBezTo>
                  <a:pt x="6631294" y="3760095"/>
                  <a:pt x="6619836" y="3750208"/>
                  <a:pt x="6632154" y="3742321"/>
                </a:cubicBezTo>
                <a:cubicBezTo>
                  <a:pt x="6635592" y="3741544"/>
                  <a:pt x="6638742" y="3741433"/>
                  <a:pt x="6641607" y="3741766"/>
                </a:cubicBezTo>
                <a:close/>
                <a:moveTo>
                  <a:pt x="7133753" y="3741654"/>
                </a:moveTo>
                <a:cubicBezTo>
                  <a:pt x="7138337" y="3741988"/>
                  <a:pt x="7142633" y="3743543"/>
                  <a:pt x="7145212" y="3745987"/>
                </a:cubicBezTo>
                <a:cubicBezTo>
                  <a:pt x="7146930" y="3747542"/>
                  <a:pt x="7147790" y="3749541"/>
                  <a:pt x="7146930" y="3751653"/>
                </a:cubicBezTo>
                <a:cubicBezTo>
                  <a:pt x="7138622" y="3759428"/>
                  <a:pt x="7121435" y="3752541"/>
                  <a:pt x="7120862" y="3745210"/>
                </a:cubicBezTo>
                <a:cubicBezTo>
                  <a:pt x="7124013" y="3742210"/>
                  <a:pt x="7128883" y="3741322"/>
                  <a:pt x="7133753" y="3741654"/>
                </a:cubicBezTo>
                <a:close/>
                <a:moveTo>
                  <a:pt x="6803746" y="3740433"/>
                </a:moveTo>
                <a:cubicBezTo>
                  <a:pt x="6804892" y="3740655"/>
                  <a:pt x="6805751" y="3741099"/>
                  <a:pt x="6806038" y="3741877"/>
                </a:cubicBezTo>
                <a:cubicBezTo>
                  <a:pt x="6806897" y="3742987"/>
                  <a:pt x="6806324" y="3743432"/>
                  <a:pt x="6805178" y="3743877"/>
                </a:cubicBezTo>
                <a:cubicBezTo>
                  <a:pt x="6804032" y="3744321"/>
                  <a:pt x="6802314" y="3744654"/>
                  <a:pt x="6800881" y="3745431"/>
                </a:cubicBezTo>
                <a:lnTo>
                  <a:pt x="6799736" y="3740544"/>
                </a:lnTo>
                <a:cubicBezTo>
                  <a:pt x="6800881" y="3740322"/>
                  <a:pt x="6802314" y="3740322"/>
                  <a:pt x="6803746" y="3740433"/>
                </a:cubicBezTo>
                <a:close/>
                <a:moveTo>
                  <a:pt x="7156670" y="3739210"/>
                </a:moveTo>
                <a:cubicBezTo>
                  <a:pt x="7158962" y="3741211"/>
                  <a:pt x="7163259" y="3744098"/>
                  <a:pt x="7162112" y="3746987"/>
                </a:cubicBezTo>
                <a:cubicBezTo>
                  <a:pt x="7161827" y="3747986"/>
                  <a:pt x="7160680" y="3748986"/>
                  <a:pt x="7158962" y="3749986"/>
                </a:cubicBezTo>
                <a:cubicBezTo>
                  <a:pt x="7158962" y="3751097"/>
                  <a:pt x="7152086" y="3751541"/>
                  <a:pt x="7150368" y="3750208"/>
                </a:cubicBezTo>
                <a:cubicBezTo>
                  <a:pt x="7145497" y="3747320"/>
                  <a:pt x="7149222" y="3744321"/>
                  <a:pt x="7151514" y="3739878"/>
                </a:cubicBezTo>
                <a:cubicBezTo>
                  <a:pt x="7152946" y="3741211"/>
                  <a:pt x="7154951" y="3740211"/>
                  <a:pt x="7156670" y="3739210"/>
                </a:cubicBezTo>
                <a:close/>
                <a:moveTo>
                  <a:pt x="6548506" y="3737988"/>
                </a:moveTo>
                <a:cubicBezTo>
                  <a:pt x="6550798" y="3738322"/>
                  <a:pt x="6553949" y="3739988"/>
                  <a:pt x="6556527" y="3742099"/>
                </a:cubicBezTo>
                <a:cubicBezTo>
                  <a:pt x="6559106" y="3744210"/>
                  <a:pt x="6561110" y="3746765"/>
                  <a:pt x="6560824" y="3748874"/>
                </a:cubicBezTo>
                <a:cubicBezTo>
                  <a:pt x="6557100" y="3749097"/>
                  <a:pt x="6553376" y="3749208"/>
                  <a:pt x="6549938" y="3749431"/>
                </a:cubicBezTo>
                <a:cubicBezTo>
                  <a:pt x="6551370" y="3748875"/>
                  <a:pt x="6541344" y="3740988"/>
                  <a:pt x="6541344" y="3740988"/>
                </a:cubicBezTo>
                <a:cubicBezTo>
                  <a:pt x="6542777" y="3737767"/>
                  <a:pt x="6542777" y="3737767"/>
                  <a:pt x="6548506" y="3737988"/>
                </a:cubicBezTo>
                <a:close/>
                <a:moveTo>
                  <a:pt x="6321340" y="3736433"/>
                </a:moveTo>
                <a:cubicBezTo>
                  <a:pt x="6321340" y="3736433"/>
                  <a:pt x="6319908" y="3737767"/>
                  <a:pt x="6318475" y="3738989"/>
                </a:cubicBezTo>
                <a:cubicBezTo>
                  <a:pt x="6317043" y="3740322"/>
                  <a:pt x="6317043" y="3740211"/>
                  <a:pt x="6319048" y="3741321"/>
                </a:cubicBezTo>
                <a:cubicBezTo>
                  <a:pt x="6317616" y="3742655"/>
                  <a:pt x="6317616" y="3742655"/>
                  <a:pt x="6314178" y="3742766"/>
                </a:cubicBezTo>
                <a:cubicBezTo>
                  <a:pt x="6315610" y="3741433"/>
                  <a:pt x="6319335" y="3735212"/>
                  <a:pt x="6321340" y="3736433"/>
                </a:cubicBezTo>
                <a:close/>
                <a:moveTo>
                  <a:pt x="7224848" y="3736101"/>
                </a:moveTo>
                <a:cubicBezTo>
                  <a:pt x="7225994" y="3735878"/>
                  <a:pt x="7227140" y="3735990"/>
                  <a:pt x="7228286" y="3736545"/>
                </a:cubicBezTo>
                <a:cubicBezTo>
                  <a:pt x="7228286" y="3737767"/>
                  <a:pt x="7230005" y="3737767"/>
                  <a:pt x="7230005" y="3738989"/>
                </a:cubicBezTo>
                <a:cubicBezTo>
                  <a:pt x="7231724" y="3741433"/>
                  <a:pt x="7232010" y="3742543"/>
                  <a:pt x="7230292" y="3743655"/>
                </a:cubicBezTo>
                <a:cubicBezTo>
                  <a:pt x="7230578" y="3744876"/>
                  <a:pt x="7228859" y="3744877"/>
                  <a:pt x="7227140" y="3745987"/>
                </a:cubicBezTo>
                <a:cubicBezTo>
                  <a:pt x="7225422" y="3745876"/>
                  <a:pt x="7223702" y="3744654"/>
                  <a:pt x="7223702" y="3744654"/>
                </a:cubicBezTo>
                <a:cubicBezTo>
                  <a:pt x="7221984" y="3743432"/>
                  <a:pt x="7221984" y="3743432"/>
                  <a:pt x="7220265" y="3744543"/>
                </a:cubicBezTo>
                <a:cubicBezTo>
                  <a:pt x="7220265" y="3744543"/>
                  <a:pt x="7220265" y="3743321"/>
                  <a:pt x="7220265" y="3743321"/>
                </a:cubicBezTo>
                <a:cubicBezTo>
                  <a:pt x="7221984" y="3743432"/>
                  <a:pt x="7220265" y="3743321"/>
                  <a:pt x="7218546" y="3742099"/>
                </a:cubicBezTo>
                <a:cubicBezTo>
                  <a:pt x="7219979" y="3739766"/>
                  <a:pt x="7219978" y="3738656"/>
                  <a:pt x="7221411" y="3737545"/>
                </a:cubicBezTo>
                <a:cubicBezTo>
                  <a:pt x="7222270" y="3736989"/>
                  <a:pt x="7223416" y="3736322"/>
                  <a:pt x="7224848" y="3736101"/>
                </a:cubicBezTo>
                <a:close/>
                <a:moveTo>
                  <a:pt x="6811194" y="3735990"/>
                </a:moveTo>
                <a:cubicBezTo>
                  <a:pt x="6812912" y="3736212"/>
                  <a:pt x="6814918" y="3737322"/>
                  <a:pt x="6817496" y="3739878"/>
                </a:cubicBezTo>
                <a:cubicBezTo>
                  <a:pt x="6813199" y="3742987"/>
                  <a:pt x="6810621" y="3743765"/>
                  <a:pt x="6808616" y="3743320"/>
                </a:cubicBezTo>
                <a:cubicBezTo>
                  <a:pt x="6804606" y="3742210"/>
                  <a:pt x="6806324" y="3735101"/>
                  <a:pt x="6811194" y="3735990"/>
                </a:cubicBezTo>
                <a:close/>
                <a:moveTo>
                  <a:pt x="6704056" y="3731102"/>
                </a:moveTo>
                <a:cubicBezTo>
                  <a:pt x="6704056" y="3731102"/>
                  <a:pt x="6705775" y="3733213"/>
                  <a:pt x="6705775" y="3733213"/>
                </a:cubicBezTo>
                <a:cubicBezTo>
                  <a:pt x="6706634" y="3736545"/>
                  <a:pt x="6706921" y="3738211"/>
                  <a:pt x="6708640" y="3740432"/>
                </a:cubicBezTo>
                <a:cubicBezTo>
                  <a:pt x="6705202" y="3741989"/>
                  <a:pt x="6703770" y="3741321"/>
                  <a:pt x="6703484" y="3739654"/>
                </a:cubicBezTo>
                <a:cubicBezTo>
                  <a:pt x="6703484" y="3739654"/>
                  <a:pt x="6703197" y="3738100"/>
                  <a:pt x="6702910" y="3736434"/>
                </a:cubicBezTo>
                <a:cubicBezTo>
                  <a:pt x="6702338" y="3734767"/>
                  <a:pt x="6700905" y="3734212"/>
                  <a:pt x="6700905" y="3734212"/>
                </a:cubicBezTo>
                <a:cubicBezTo>
                  <a:pt x="6700619" y="3732546"/>
                  <a:pt x="6701764" y="3731546"/>
                  <a:pt x="6704056" y="3731102"/>
                </a:cubicBezTo>
                <a:close/>
                <a:moveTo>
                  <a:pt x="6665670" y="3730658"/>
                </a:moveTo>
                <a:cubicBezTo>
                  <a:pt x="6667102" y="3733435"/>
                  <a:pt x="6669967" y="3738433"/>
                  <a:pt x="6669108" y="3741433"/>
                </a:cubicBezTo>
                <a:cubicBezTo>
                  <a:pt x="6668534" y="3742432"/>
                  <a:pt x="6667676" y="3743210"/>
                  <a:pt x="6666243" y="3743654"/>
                </a:cubicBezTo>
                <a:cubicBezTo>
                  <a:pt x="6663951" y="3744098"/>
                  <a:pt x="6663665" y="3742543"/>
                  <a:pt x="6662232" y="3741988"/>
                </a:cubicBezTo>
                <a:cubicBezTo>
                  <a:pt x="6660514" y="3739766"/>
                  <a:pt x="6663378" y="3730991"/>
                  <a:pt x="6665670" y="3730658"/>
                </a:cubicBezTo>
                <a:close/>
                <a:moveTo>
                  <a:pt x="6558246" y="3726992"/>
                </a:moveTo>
                <a:cubicBezTo>
                  <a:pt x="6561110" y="3727659"/>
                  <a:pt x="6564262" y="3728880"/>
                  <a:pt x="6567412" y="3730546"/>
                </a:cubicBezTo>
                <a:lnTo>
                  <a:pt x="6574002" y="3735545"/>
                </a:lnTo>
                <a:lnTo>
                  <a:pt x="6576581" y="3730546"/>
                </a:lnTo>
                <a:cubicBezTo>
                  <a:pt x="6577439" y="3727880"/>
                  <a:pt x="6579158" y="3727436"/>
                  <a:pt x="6583455" y="3728658"/>
                </a:cubicBezTo>
                <a:cubicBezTo>
                  <a:pt x="6583168" y="3729991"/>
                  <a:pt x="6581450" y="3731880"/>
                  <a:pt x="6579730" y="3733546"/>
                </a:cubicBezTo>
                <a:lnTo>
                  <a:pt x="6574574" y="3735878"/>
                </a:lnTo>
                <a:lnTo>
                  <a:pt x="6575148" y="3736434"/>
                </a:lnTo>
                <a:cubicBezTo>
                  <a:pt x="6577152" y="3738544"/>
                  <a:pt x="6578585" y="3740877"/>
                  <a:pt x="6578585" y="3743210"/>
                </a:cubicBezTo>
                <a:lnTo>
                  <a:pt x="6576580" y="3746876"/>
                </a:lnTo>
                <a:lnTo>
                  <a:pt x="6579730" y="3747765"/>
                </a:lnTo>
                <a:cubicBezTo>
                  <a:pt x="6582596" y="3750430"/>
                  <a:pt x="6581163" y="3756429"/>
                  <a:pt x="6570564" y="3767871"/>
                </a:cubicBezTo>
                <a:cubicBezTo>
                  <a:pt x="6535042" y="3764760"/>
                  <a:pt x="6553090" y="3750652"/>
                  <a:pt x="6567986" y="3747098"/>
                </a:cubicBezTo>
                <a:lnTo>
                  <a:pt x="6572282" y="3746543"/>
                </a:lnTo>
                <a:lnTo>
                  <a:pt x="6565121" y="3738655"/>
                </a:lnTo>
                <a:cubicBezTo>
                  <a:pt x="6561970" y="3734878"/>
                  <a:pt x="6559392" y="3731102"/>
                  <a:pt x="6558246" y="3726992"/>
                </a:cubicBezTo>
                <a:close/>
                <a:moveTo>
                  <a:pt x="7158388" y="3726325"/>
                </a:moveTo>
                <a:cubicBezTo>
                  <a:pt x="7164978" y="3727991"/>
                  <a:pt x="7169561" y="3728991"/>
                  <a:pt x="7172426" y="3730657"/>
                </a:cubicBezTo>
                <a:cubicBezTo>
                  <a:pt x="7169561" y="3739100"/>
                  <a:pt x="7148076" y="3734879"/>
                  <a:pt x="7158388" y="3726325"/>
                </a:cubicBezTo>
                <a:close/>
                <a:moveTo>
                  <a:pt x="6809475" y="3726103"/>
                </a:moveTo>
                <a:cubicBezTo>
                  <a:pt x="6813199" y="3726215"/>
                  <a:pt x="6817210" y="3727991"/>
                  <a:pt x="6817496" y="3729547"/>
                </a:cubicBezTo>
                <a:cubicBezTo>
                  <a:pt x="6818069" y="3731214"/>
                  <a:pt x="6816923" y="3732212"/>
                  <a:pt x="6816923" y="3732212"/>
                </a:cubicBezTo>
                <a:cubicBezTo>
                  <a:pt x="6811194" y="3734101"/>
                  <a:pt x="6805178" y="3734323"/>
                  <a:pt x="6804032" y="3729547"/>
                </a:cubicBezTo>
                <a:cubicBezTo>
                  <a:pt x="6803746" y="3727991"/>
                  <a:pt x="6803460" y="3726325"/>
                  <a:pt x="6804892" y="3726992"/>
                </a:cubicBezTo>
                <a:cubicBezTo>
                  <a:pt x="6805751" y="3725993"/>
                  <a:pt x="6807184" y="3726547"/>
                  <a:pt x="6809475" y="3726103"/>
                </a:cubicBezTo>
                <a:close/>
                <a:moveTo>
                  <a:pt x="6593768" y="3726103"/>
                </a:moveTo>
                <a:cubicBezTo>
                  <a:pt x="6598638" y="3726436"/>
                  <a:pt x="6601216" y="3728324"/>
                  <a:pt x="6601502" y="3730657"/>
                </a:cubicBezTo>
                <a:cubicBezTo>
                  <a:pt x="6601502" y="3732990"/>
                  <a:pt x="6598924" y="3735768"/>
                  <a:pt x="6594340" y="3737767"/>
                </a:cubicBezTo>
                <a:cubicBezTo>
                  <a:pt x="6591190" y="3735878"/>
                  <a:pt x="6590044" y="3733657"/>
                  <a:pt x="6590044" y="3731657"/>
                </a:cubicBezTo>
                <a:lnTo>
                  <a:pt x="6591190" y="3730214"/>
                </a:lnTo>
                <a:lnTo>
                  <a:pt x="6591763" y="3729102"/>
                </a:lnTo>
                <a:lnTo>
                  <a:pt x="6591762" y="3728991"/>
                </a:lnTo>
                <a:close/>
                <a:moveTo>
                  <a:pt x="6852731" y="3724214"/>
                </a:moveTo>
                <a:cubicBezTo>
                  <a:pt x="6853304" y="3724215"/>
                  <a:pt x="6853590" y="3724437"/>
                  <a:pt x="6854450" y="3725104"/>
                </a:cubicBezTo>
                <a:cubicBezTo>
                  <a:pt x="6853019" y="3726325"/>
                  <a:pt x="6853018" y="3725104"/>
                  <a:pt x="6851299" y="3724992"/>
                </a:cubicBezTo>
                <a:cubicBezTo>
                  <a:pt x="6852158" y="3724437"/>
                  <a:pt x="6852445" y="3724103"/>
                  <a:pt x="6852731" y="3724214"/>
                </a:cubicBezTo>
                <a:close/>
                <a:moveTo>
                  <a:pt x="6790568" y="3722993"/>
                </a:moveTo>
                <a:cubicBezTo>
                  <a:pt x="6793433" y="3722992"/>
                  <a:pt x="6795152" y="3723771"/>
                  <a:pt x="6795725" y="3724993"/>
                </a:cubicBezTo>
                <a:cubicBezTo>
                  <a:pt x="6796584" y="3726325"/>
                  <a:pt x="6796299" y="3727991"/>
                  <a:pt x="6796012" y="3730214"/>
                </a:cubicBezTo>
                <a:cubicBezTo>
                  <a:pt x="6795152" y="3734546"/>
                  <a:pt x="6789996" y="3735324"/>
                  <a:pt x="6788563" y="3738655"/>
                </a:cubicBezTo>
                <a:cubicBezTo>
                  <a:pt x="6785412" y="3737211"/>
                  <a:pt x="6779970" y="3735434"/>
                  <a:pt x="6781402" y="3729436"/>
                </a:cubicBezTo>
                <a:cubicBezTo>
                  <a:pt x="6782261" y="3727769"/>
                  <a:pt x="6782261" y="3727769"/>
                  <a:pt x="6783694" y="3727104"/>
                </a:cubicBezTo>
                <a:cubicBezTo>
                  <a:pt x="6785985" y="3724881"/>
                  <a:pt x="6786558" y="3723215"/>
                  <a:pt x="6790568" y="3722993"/>
                </a:cubicBezTo>
                <a:close/>
                <a:moveTo>
                  <a:pt x="6328215" y="3721993"/>
                </a:moveTo>
                <a:cubicBezTo>
                  <a:pt x="6330220" y="3723104"/>
                  <a:pt x="6330506" y="3724215"/>
                  <a:pt x="6330506" y="3725437"/>
                </a:cubicBezTo>
                <a:cubicBezTo>
                  <a:pt x="6329361" y="3726658"/>
                  <a:pt x="6327642" y="3726659"/>
                  <a:pt x="6326210" y="3727881"/>
                </a:cubicBezTo>
                <a:cubicBezTo>
                  <a:pt x="6326210" y="3729102"/>
                  <a:pt x="6326782" y="3731435"/>
                  <a:pt x="6325350" y="3732768"/>
                </a:cubicBezTo>
                <a:cubicBezTo>
                  <a:pt x="6323918" y="3733990"/>
                  <a:pt x="6320767" y="3735213"/>
                  <a:pt x="6320767" y="3735213"/>
                </a:cubicBezTo>
                <a:cubicBezTo>
                  <a:pt x="6319048" y="3734101"/>
                  <a:pt x="6319048" y="3734101"/>
                  <a:pt x="6320480" y="3733990"/>
                </a:cubicBezTo>
                <a:cubicBezTo>
                  <a:pt x="6321913" y="3731657"/>
                  <a:pt x="6322200" y="3732768"/>
                  <a:pt x="6323345" y="3731546"/>
                </a:cubicBezTo>
                <a:cubicBezTo>
                  <a:pt x="6324778" y="3730324"/>
                  <a:pt x="6327069" y="3724436"/>
                  <a:pt x="6325064" y="3723326"/>
                </a:cubicBezTo>
                <a:cubicBezTo>
                  <a:pt x="6326782" y="3723215"/>
                  <a:pt x="6328215" y="3721993"/>
                  <a:pt x="6328215" y="3721993"/>
                </a:cubicBezTo>
                <a:close/>
                <a:moveTo>
                  <a:pt x="6932082" y="3719327"/>
                </a:moveTo>
                <a:cubicBezTo>
                  <a:pt x="6935806" y="3719438"/>
                  <a:pt x="6937524" y="3721659"/>
                  <a:pt x="6939244" y="3723770"/>
                </a:cubicBezTo>
                <a:cubicBezTo>
                  <a:pt x="6940103" y="3725770"/>
                  <a:pt x="6940103" y="3727103"/>
                  <a:pt x="6938670" y="3728102"/>
                </a:cubicBezTo>
                <a:cubicBezTo>
                  <a:pt x="6937524" y="3729103"/>
                  <a:pt x="6935806" y="3729657"/>
                  <a:pt x="6933228" y="3730102"/>
                </a:cubicBezTo>
                <a:cubicBezTo>
                  <a:pt x="6928644" y="3730991"/>
                  <a:pt x="6926926" y="3728770"/>
                  <a:pt x="6926926" y="3728770"/>
                </a:cubicBezTo>
                <a:cubicBezTo>
                  <a:pt x="6924634" y="3724993"/>
                  <a:pt x="6926352" y="3721216"/>
                  <a:pt x="6932082" y="3719327"/>
                </a:cubicBezTo>
                <a:close/>
                <a:moveTo>
                  <a:pt x="6575434" y="3713218"/>
                </a:moveTo>
                <a:lnTo>
                  <a:pt x="6577726" y="3715217"/>
                </a:lnTo>
                <a:lnTo>
                  <a:pt x="6578585" y="3714883"/>
                </a:lnTo>
                <a:lnTo>
                  <a:pt x="6576581" y="3713218"/>
                </a:lnTo>
                <a:close/>
                <a:moveTo>
                  <a:pt x="7056980" y="3711330"/>
                </a:moveTo>
                <a:cubicBezTo>
                  <a:pt x="7056980" y="3712551"/>
                  <a:pt x="7057267" y="3714883"/>
                  <a:pt x="7060704" y="3716106"/>
                </a:cubicBezTo>
                <a:cubicBezTo>
                  <a:pt x="7057553" y="3718438"/>
                  <a:pt x="7054402" y="3720549"/>
                  <a:pt x="7050678" y="3718105"/>
                </a:cubicBezTo>
                <a:cubicBezTo>
                  <a:pt x="7048960" y="3716883"/>
                  <a:pt x="7047240" y="3715662"/>
                  <a:pt x="7046955" y="3713328"/>
                </a:cubicBezTo>
                <a:cubicBezTo>
                  <a:pt x="7050105" y="3711107"/>
                  <a:pt x="7055548" y="3712440"/>
                  <a:pt x="7056980" y="3711330"/>
                </a:cubicBezTo>
                <a:close/>
                <a:moveTo>
                  <a:pt x="7247766" y="3710774"/>
                </a:moveTo>
                <a:cubicBezTo>
                  <a:pt x="7254068" y="3710996"/>
                  <a:pt x="7263808" y="3713550"/>
                  <a:pt x="7264094" y="3714440"/>
                </a:cubicBezTo>
                <a:cubicBezTo>
                  <a:pt x="7265813" y="3714440"/>
                  <a:pt x="7265526" y="3715661"/>
                  <a:pt x="7267245" y="3715661"/>
                </a:cubicBezTo>
                <a:cubicBezTo>
                  <a:pt x="7267245" y="3715661"/>
                  <a:pt x="7268964" y="3715773"/>
                  <a:pt x="7270969" y="3716994"/>
                </a:cubicBezTo>
                <a:cubicBezTo>
                  <a:pt x="7272688" y="3718216"/>
                  <a:pt x="7274407" y="3719438"/>
                  <a:pt x="7272974" y="3721771"/>
                </a:cubicBezTo>
                <a:cubicBezTo>
                  <a:pt x="7258939" y="3717772"/>
                  <a:pt x="7252062" y="3717550"/>
                  <a:pt x="7241750" y="3713662"/>
                </a:cubicBezTo>
                <a:cubicBezTo>
                  <a:pt x="7241750" y="3712551"/>
                  <a:pt x="7243468" y="3712551"/>
                  <a:pt x="7243182" y="3711329"/>
                </a:cubicBezTo>
                <a:cubicBezTo>
                  <a:pt x="7244042" y="3710773"/>
                  <a:pt x="7245759" y="3710663"/>
                  <a:pt x="7247766" y="3710774"/>
                </a:cubicBezTo>
                <a:close/>
                <a:moveTo>
                  <a:pt x="6777965" y="3709218"/>
                </a:moveTo>
                <a:cubicBezTo>
                  <a:pt x="6773955" y="3728658"/>
                  <a:pt x="6743302" y="3738878"/>
                  <a:pt x="6720671" y="3751430"/>
                </a:cubicBezTo>
                <a:lnTo>
                  <a:pt x="6719239" y="3750097"/>
                </a:lnTo>
                <a:lnTo>
                  <a:pt x="6719526" y="3753430"/>
                </a:lnTo>
                <a:cubicBezTo>
                  <a:pt x="6719526" y="3755207"/>
                  <a:pt x="6718952" y="3756984"/>
                  <a:pt x="6717806" y="3758317"/>
                </a:cubicBezTo>
                <a:cubicBezTo>
                  <a:pt x="6717234" y="3759206"/>
                  <a:pt x="6716088" y="3759872"/>
                  <a:pt x="6714656" y="3760316"/>
                </a:cubicBezTo>
                <a:cubicBezTo>
                  <a:pt x="6711218" y="3761761"/>
                  <a:pt x="6709499" y="3759539"/>
                  <a:pt x="6708640" y="3756318"/>
                </a:cubicBezTo>
                <a:cubicBezTo>
                  <a:pt x="6704629" y="3750319"/>
                  <a:pt x="6706062" y="3746765"/>
                  <a:pt x="6713223" y="3745432"/>
                </a:cubicBezTo>
                <a:lnTo>
                  <a:pt x="6715228" y="3746543"/>
                </a:lnTo>
                <a:lnTo>
                  <a:pt x="6710073" y="3740100"/>
                </a:lnTo>
                <a:lnTo>
                  <a:pt x="6718093" y="3736434"/>
                </a:lnTo>
                <a:lnTo>
                  <a:pt x="6716947" y="3735323"/>
                </a:lnTo>
                <a:cubicBezTo>
                  <a:pt x="6718093" y="3734324"/>
                  <a:pt x="6717520" y="3732769"/>
                  <a:pt x="6718380" y="3731768"/>
                </a:cubicBezTo>
                <a:cubicBezTo>
                  <a:pt x="6719812" y="3732324"/>
                  <a:pt x="6723536" y="3732657"/>
                  <a:pt x="6722676" y="3733546"/>
                </a:cubicBezTo>
                <a:lnTo>
                  <a:pt x="6722676" y="3734212"/>
                </a:lnTo>
                <a:lnTo>
                  <a:pt x="6743016" y="3724992"/>
                </a:lnTo>
                <a:lnTo>
                  <a:pt x="6742729" y="3724325"/>
                </a:lnTo>
                <a:cubicBezTo>
                  <a:pt x="6742156" y="3719771"/>
                  <a:pt x="6746166" y="3712773"/>
                  <a:pt x="6755047" y="3715550"/>
                </a:cubicBezTo>
                <a:cubicBezTo>
                  <a:pt x="6756479" y="3715884"/>
                  <a:pt x="6757338" y="3716995"/>
                  <a:pt x="6757339" y="3718438"/>
                </a:cubicBezTo>
                <a:close/>
                <a:moveTo>
                  <a:pt x="6615538" y="3709218"/>
                </a:moveTo>
                <a:cubicBezTo>
                  <a:pt x="6626138" y="3708663"/>
                  <a:pt x="6637883" y="3719882"/>
                  <a:pt x="6625565" y="3725659"/>
                </a:cubicBezTo>
                <a:cubicBezTo>
                  <a:pt x="6618690" y="3725437"/>
                  <a:pt x="6608377" y="3717995"/>
                  <a:pt x="6606372" y="3714440"/>
                </a:cubicBezTo>
                <a:cubicBezTo>
                  <a:pt x="6608664" y="3710996"/>
                  <a:pt x="6611814" y="3709441"/>
                  <a:pt x="6615538" y="3709218"/>
                </a:cubicBezTo>
                <a:close/>
                <a:moveTo>
                  <a:pt x="6887107" y="3708885"/>
                </a:moveTo>
                <a:cubicBezTo>
                  <a:pt x="6889112" y="3708774"/>
                  <a:pt x="6891404" y="3708885"/>
                  <a:pt x="6893409" y="3709219"/>
                </a:cubicBezTo>
                <a:cubicBezTo>
                  <a:pt x="6902003" y="3710440"/>
                  <a:pt x="6910024" y="3715105"/>
                  <a:pt x="6913462" y="3721437"/>
                </a:cubicBezTo>
                <a:cubicBezTo>
                  <a:pt x="6917758" y="3729102"/>
                  <a:pt x="6915467" y="3738989"/>
                  <a:pt x="6899998" y="3747764"/>
                </a:cubicBezTo>
                <a:cubicBezTo>
                  <a:pt x="6877367" y="3743987"/>
                  <a:pt x="6861898" y="3730324"/>
                  <a:pt x="6869632" y="3717661"/>
                </a:cubicBezTo>
                <a:cubicBezTo>
                  <a:pt x="6874216" y="3711996"/>
                  <a:pt x="6880518" y="3709330"/>
                  <a:pt x="6887107" y="3708885"/>
                </a:cubicBezTo>
                <a:close/>
                <a:moveTo>
                  <a:pt x="6564548" y="3707775"/>
                </a:moveTo>
                <a:lnTo>
                  <a:pt x="6571710" y="3710774"/>
                </a:lnTo>
                <a:lnTo>
                  <a:pt x="6571710" y="3709219"/>
                </a:lnTo>
                <a:cubicBezTo>
                  <a:pt x="6572569" y="3709885"/>
                  <a:pt x="6575148" y="3711330"/>
                  <a:pt x="6577152" y="3712773"/>
                </a:cubicBezTo>
                <a:lnTo>
                  <a:pt x="6579444" y="3714662"/>
                </a:lnTo>
                <a:lnTo>
                  <a:pt x="6580876" y="3714217"/>
                </a:lnTo>
                <a:cubicBezTo>
                  <a:pt x="6583168" y="3713995"/>
                  <a:pt x="6585746" y="3714773"/>
                  <a:pt x="6586606" y="3716217"/>
                </a:cubicBezTo>
                <a:lnTo>
                  <a:pt x="6586033" y="3718438"/>
                </a:lnTo>
                <a:lnTo>
                  <a:pt x="6586320" y="3718994"/>
                </a:lnTo>
                <a:cubicBezTo>
                  <a:pt x="6588038" y="3720327"/>
                  <a:pt x="6596060" y="3723548"/>
                  <a:pt x="6597778" y="3722549"/>
                </a:cubicBezTo>
                <a:cubicBezTo>
                  <a:pt x="6597778" y="3723771"/>
                  <a:pt x="6599210" y="3725104"/>
                  <a:pt x="6599210" y="3725104"/>
                </a:cubicBezTo>
                <a:cubicBezTo>
                  <a:pt x="6597492" y="3726103"/>
                  <a:pt x="6595772" y="3725881"/>
                  <a:pt x="6594340" y="3725770"/>
                </a:cubicBezTo>
                <a:cubicBezTo>
                  <a:pt x="6592622" y="3724437"/>
                  <a:pt x="6592908" y="3723215"/>
                  <a:pt x="6591190" y="3721882"/>
                </a:cubicBezTo>
                <a:cubicBezTo>
                  <a:pt x="6589470" y="3721771"/>
                  <a:pt x="6586321" y="3721327"/>
                  <a:pt x="6584600" y="3719993"/>
                </a:cubicBezTo>
                <a:lnTo>
                  <a:pt x="6584314" y="3719771"/>
                </a:lnTo>
                <a:lnTo>
                  <a:pt x="6580590" y="3719105"/>
                </a:lnTo>
                <a:lnTo>
                  <a:pt x="6581163" y="3719993"/>
                </a:lnTo>
                <a:cubicBezTo>
                  <a:pt x="6578298" y="3724770"/>
                  <a:pt x="6574002" y="3723771"/>
                  <a:pt x="6566267" y="3723771"/>
                </a:cubicBezTo>
                <a:cubicBezTo>
                  <a:pt x="6567126" y="3722104"/>
                  <a:pt x="6560539" y="3720548"/>
                  <a:pt x="6558246" y="3719993"/>
                </a:cubicBezTo>
                <a:cubicBezTo>
                  <a:pt x="6560251" y="3716772"/>
                  <a:pt x="6553090" y="3714106"/>
                  <a:pt x="6555954" y="3709330"/>
                </a:cubicBezTo>
                <a:cubicBezTo>
                  <a:pt x="6559106" y="3708329"/>
                  <a:pt x="6560825" y="3707774"/>
                  <a:pt x="6564548" y="3707775"/>
                </a:cubicBezTo>
                <a:close/>
                <a:moveTo>
                  <a:pt x="6934660" y="3707552"/>
                </a:moveTo>
                <a:cubicBezTo>
                  <a:pt x="6938098" y="3708886"/>
                  <a:pt x="6941535" y="3710107"/>
                  <a:pt x="6944973" y="3711440"/>
                </a:cubicBezTo>
                <a:cubicBezTo>
                  <a:pt x="6950416" y="3715106"/>
                  <a:pt x="6955572" y="3718772"/>
                  <a:pt x="6952421" y="3722215"/>
                </a:cubicBezTo>
                <a:cubicBezTo>
                  <a:pt x="6945546" y="3719660"/>
                  <a:pt x="6940390" y="3718216"/>
                  <a:pt x="6933514" y="3715661"/>
                </a:cubicBezTo>
                <a:cubicBezTo>
                  <a:pt x="6931796" y="3714440"/>
                  <a:pt x="6928072" y="3709774"/>
                  <a:pt x="6929790" y="3708663"/>
                </a:cubicBezTo>
                <a:cubicBezTo>
                  <a:pt x="6931222" y="3707552"/>
                  <a:pt x="6932941" y="3707553"/>
                  <a:pt x="6934660" y="3707552"/>
                </a:cubicBezTo>
                <a:close/>
                <a:moveTo>
                  <a:pt x="6794292" y="3706996"/>
                </a:moveTo>
                <a:cubicBezTo>
                  <a:pt x="6796298" y="3708996"/>
                  <a:pt x="6799449" y="3710107"/>
                  <a:pt x="6801454" y="3712107"/>
                </a:cubicBezTo>
                <a:lnTo>
                  <a:pt x="6806610" y="3712440"/>
                </a:lnTo>
                <a:cubicBezTo>
                  <a:pt x="6805751" y="3717217"/>
                  <a:pt x="6798016" y="3720438"/>
                  <a:pt x="6791428" y="3720660"/>
                </a:cubicBezTo>
                <a:lnTo>
                  <a:pt x="6789422" y="3720438"/>
                </a:lnTo>
                <a:lnTo>
                  <a:pt x="6785126" y="3721771"/>
                </a:lnTo>
                <a:cubicBezTo>
                  <a:pt x="6782834" y="3721549"/>
                  <a:pt x="6781115" y="3720438"/>
                  <a:pt x="6779970" y="3718438"/>
                </a:cubicBezTo>
                <a:cubicBezTo>
                  <a:pt x="6777391" y="3712107"/>
                  <a:pt x="6785126" y="3709330"/>
                  <a:pt x="6794292" y="3706996"/>
                </a:cubicBezTo>
                <a:close/>
                <a:moveTo>
                  <a:pt x="6993672" y="3701109"/>
                </a:moveTo>
                <a:cubicBezTo>
                  <a:pt x="6999974" y="3702109"/>
                  <a:pt x="7008568" y="3706330"/>
                  <a:pt x="7012578" y="3708996"/>
                </a:cubicBezTo>
                <a:cubicBezTo>
                  <a:pt x="7007708" y="3711107"/>
                  <a:pt x="6993958" y="3704886"/>
                  <a:pt x="6988802" y="3701332"/>
                </a:cubicBezTo>
                <a:cubicBezTo>
                  <a:pt x="6989948" y="3700776"/>
                  <a:pt x="6991666" y="3700776"/>
                  <a:pt x="6993672" y="3701109"/>
                </a:cubicBezTo>
                <a:close/>
                <a:moveTo>
                  <a:pt x="6589184" y="3699331"/>
                </a:moveTo>
                <a:cubicBezTo>
                  <a:pt x="6589470" y="3700887"/>
                  <a:pt x="6589757" y="3702553"/>
                  <a:pt x="6590904" y="3701553"/>
                </a:cubicBezTo>
                <a:cubicBezTo>
                  <a:pt x="6591190" y="3703220"/>
                  <a:pt x="6590903" y="3704553"/>
                  <a:pt x="6590044" y="3705553"/>
                </a:cubicBezTo>
                <a:cubicBezTo>
                  <a:pt x="6589470" y="3706663"/>
                  <a:pt x="6588038" y="3707441"/>
                  <a:pt x="6586320" y="3708218"/>
                </a:cubicBezTo>
                <a:cubicBezTo>
                  <a:pt x="6584028" y="3708663"/>
                  <a:pt x="6581450" y="3707552"/>
                  <a:pt x="6578298" y="3704775"/>
                </a:cubicBezTo>
                <a:cubicBezTo>
                  <a:pt x="6578872" y="3702109"/>
                  <a:pt x="6585746" y="3700776"/>
                  <a:pt x="6589184" y="3699331"/>
                </a:cubicBezTo>
                <a:close/>
                <a:moveTo>
                  <a:pt x="6749318" y="3698332"/>
                </a:moveTo>
                <a:cubicBezTo>
                  <a:pt x="6751323" y="3698110"/>
                  <a:pt x="6753901" y="3699221"/>
                  <a:pt x="6757338" y="3700555"/>
                </a:cubicBezTo>
                <a:cubicBezTo>
                  <a:pt x="6754474" y="3705331"/>
                  <a:pt x="6750751" y="3705330"/>
                  <a:pt x="6744161" y="3703664"/>
                </a:cubicBezTo>
                <a:cubicBezTo>
                  <a:pt x="6745594" y="3699998"/>
                  <a:pt x="6747312" y="3698555"/>
                  <a:pt x="6749318" y="3698332"/>
                </a:cubicBezTo>
                <a:close/>
                <a:moveTo>
                  <a:pt x="6540485" y="3697777"/>
                </a:moveTo>
                <a:cubicBezTo>
                  <a:pt x="6541918" y="3698000"/>
                  <a:pt x="6543064" y="3698554"/>
                  <a:pt x="6544209" y="3699776"/>
                </a:cubicBezTo>
                <a:cubicBezTo>
                  <a:pt x="6536761" y="3705998"/>
                  <a:pt x="6537334" y="3713218"/>
                  <a:pt x="6538194" y="3719883"/>
                </a:cubicBezTo>
                <a:lnTo>
                  <a:pt x="6537907" y="3726658"/>
                </a:lnTo>
                <a:lnTo>
                  <a:pt x="6537907" y="3728880"/>
                </a:lnTo>
                <a:lnTo>
                  <a:pt x="6537620" y="3729325"/>
                </a:lnTo>
                <a:cubicBezTo>
                  <a:pt x="6536761" y="3732213"/>
                  <a:pt x="6534756" y="3734768"/>
                  <a:pt x="6530172" y="3736878"/>
                </a:cubicBezTo>
                <a:lnTo>
                  <a:pt x="6527594" y="3729880"/>
                </a:lnTo>
                <a:lnTo>
                  <a:pt x="6524443" y="3729213"/>
                </a:lnTo>
                <a:cubicBezTo>
                  <a:pt x="6520146" y="3727547"/>
                  <a:pt x="6516708" y="3724437"/>
                  <a:pt x="6517282" y="3720327"/>
                </a:cubicBezTo>
                <a:lnTo>
                  <a:pt x="6523585" y="3718882"/>
                </a:lnTo>
                <a:lnTo>
                  <a:pt x="6523297" y="3710996"/>
                </a:lnTo>
                <a:cubicBezTo>
                  <a:pt x="6523870" y="3707664"/>
                  <a:pt x="6525302" y="3704108"/>
                  <a:pt x="6527594" y="3700221"/>
                </a:cubicBezTo>
                <a:cubicBezTo>
                  <a:pt x="6531604" y="3699776"/>
                  <a:pt x="6536474" y="3697110"/>
                  <a:pt x="6540485" y="3697777"/>
                </a:cubicBezTo>
                <a:close/>
                <a:moveTo>
                  <a:pt x="6962160" y="3695333"/>
                </a:moveTo>
                <a:cubicBezTo>
                  <a:pt x="6963880" y="3696666"/>
                  <a:pt x="6963593" y="3698998"/>
                  <a:pt x="6965312" y="3700332"/>
                </a:cubicBezTo>
                <a:cubicBezTo>
                  <a:pt x="6963593" y="3700221"/>
                  <a:pt x="6961588" y="3701221"/>
                  <a:pt x="6959869" y="3701109"/>
                </a:cubicBezTo>
                <a:cubicBezTo>
                  <a:pt x="6956718" y="3698332"/>
                  <a:pt x="6960442" y="3695111"/>
                  <a:pt x="6962160" y="3695333"/>
                </a:cubicBezTo>
                <a:close/>
                <a:moveTo>
                  <a:pt x="7195342" y="3694888"/>
                </a:moveTo>
                <a:cubicBezTo>
                  <a:pt x="7196775" y="3696888"/>
                  <a:pt x="7199926" y="3698221"/>
                  <a:pt x="7201358" y="3700221"/>
                </a:cubicBezTo>
                <a:cubicBezTo>
                  <a:pt x="7198494" y="3711884"/>
                  <a:pt x="7193338" y="3710218"/>
                  <a:pt x="7185030" y="3709663"/>
                </a:cubicBezTo>
                <a:cubicBezTo>
                  <a:pt x="7185030" y="3707108"/>
                  <a:pt x="7181020" y="3704775"/>
                  <a:pt x="7182452" y="3701442"/>
                </a:cubicBezTo>
                <a:cubicBezTo>
                  <a:pt x="7182452" y="3701442"/>
                  <a:pt x="7183311" y="3699888"/>
                  <a:pt x="7186462" y="3698666"/>
                </a:cubicBezTo>
                <a:cubicBezTo>
                  <a:pt x="7189327" y="3694778"/>
                  <a:pt x="7196202" y="3695777"/>
                  <a:pt x="7196202" y="3695777"/>
                </a:cubicBezTo>
                <a:cubicBezTo>
                  <a:pt x="7196202" y="3695777"/>
                  <a:pt x="7196202" y="3695888"/>
                  <a:pt x="7195342" y="3694888"/>
                </a:cubicBezTo>
                <a:close/>
                <a:moveTo>
                  <a:pt x="6567412" y="3694667"/>
                </a:moveTo>
                <a:cubicBezTo>
                  <a:pt x="6567412" y="3694667"/>
                  <a:pt x="6567699" y="3694778"/>
                  <a:pt x="6569704" y="3695444"/>
                </a:cubicBezTo>
                <a:cubicBezTo>
                  <a:pt x="6564834" y="3696666"/>
                  <a:pt x="6558532" y="3698332"/>
                  <a:pt x="6555095" y="3698221"/>
                </a:cubicBezTo>
                <a:cubicBezTo>
                  <a:pt x="6557673" y="3696222"/>
                  <a:pt x="6563402" y="3693445"/>
                  <a:pt x="6567412" y="3694667"/>
                </a:cubicBezTo>
                <a:close/>
                <a:moveTo>
                  <a:pt x="6608377" y="3689557"/>
                </a:moveTo>
                <a:cubicBezTo>
                  <a:pt x="6599784" y="3690668"/>
                  <a:pt x="6589184" y="3694888"/>
                  <a:pt x="6581163" y="3693445"/>
                </a:cubicBezTo>
                <a:cubicBezTo>
                  <a:pt x="6584314" y="3692556"/>
                  <a:pt x="6602648" y="3688780"/>
                  <a:pt x="6608377" y="3689557"/>
                </a:cubicBezTo>
                <a:close/>
                <a:moveTo>
                  <a:pt x="6498088" y="3688890"/>
                </a:moveTo>
                <a:cubicBezTo>
                  <a:pt x="6502672" y="3692333"/>
                  <a:pt x="6510693" y="3694333"/>
                  <a:pt x="6512698" y="3698221"/>
                </a:cubicBezTo>
                <a:cubicBezTo>
                  <a:pt x="6512984" y="3698998"/>
                  <a:pt x="6513271" y="3699776"/>
                  <a:pt x="6512698" y="3700443"/>
                </a:cubicBezTo>
                <a:cubicBezTo>
                  <a:pt x="6512412" y="3701109"/>
                  <a:pt x="6511266" y="3701776"/>
                  <a:pt x="6508974" y="3702220"/>
                </a:cubicBezTo>
                <a:cubicBezTo>
                  <a:pt x="6505536" y="3703664"/>
                  <a:pt x="6504390" y="3703109"/>
                  <a:pt x="6502099" y="3699221"/>
                </a:cubicBezTo>
                <a:cubicBezTo>
                  <a:pt x="6501240" y="3695999"/>
                  <a:pt x="6499234" y="3693779"/>
                  <a:pt x="6500380" y="3692778"/>
                </a:cubicBezTo>
                <a:cubicBezTo>
                  <a:pt x="6498948" y="3692222"/>
                  <a:pt x="6498376" y="3690446"/>
                  <a:pt x="6496942" y="3689890"/>
                </a:cubicBezTo>
                <a:cubicBezTo>
                  <a:pt x="6496942" y="3689890"/>
                  <a:pt x="6496942" y="3690000"/>
                  <a:pt x="6498088" y="3688890"/>
                </a:cubicBezTo>
                <a:close/>
                <a:moveTo>
                  <a:pt x="6787131" y="3688223"/>
                </a:moveTo>
                <a:cubicBezTo>
                  <a:pt x="6790282" y="3689000"/>
                  <a:pt x="6795725" y="3689779"/>
                  <a:pt x="6796584" y="3692778"/>
                </a:cubicBezTo>
                <a:cubicBezTo>
                  <a:pt x="6796870" y="3693778"/>
                  <a:pt x="6796584" y="3695000"/>
                  <a:pt x="6795725" y="3696555"/>
                </a:cubicBezTo>
                <a:cubicBezTo>
                  <a:pt x="6796298" y="3697666"/>
                  <a:pt x="6790568" y="3700776"/>
                  <a:pt x="6788277" y="3700221"/>
                </a:cubicBezTo>
                <a:cubicBezTo>
                  <a:pt x="6782548" y="3699776"/>
                  <a:pt x="6783694" y="3695556"/>
                  <a:pt x="6782834" y="3690890"/>
                </a:cubicBezTo>
                <a:cubicBezTo>
                  <a:pt x="6785126" y="3691335"/>
                  <a:pt x="6785985" y="3689779"/>
                  <a:pt x="6787131" y="3688223"/>
                </a:cubicBezTo>
                <a:close/>
                <a:moveTo>
                  <a:pt x="6609810" y="3688223"/>
                </a:moveTo>
                <a:cubicBezTo>
                  <a:pt x="6612101" y="3688779"/>
                  <a:pt x="6611528" y="3687780"/>
                  <a:pt x="6612388" y="3689780"/>
                </a:cubicBezTo>
                <a:cubicBezTo>
                  <a:pt x="6610382" y="3689334"/>
                  <a:pt x="6610382" y="3689224"/>
                  <a:pt x="6608664" y="3689668"/>
                </a:cubicBezTo>
                <a:cubicBezTo>
                  <a:pt x="6608664" y="3689668"/>
                  <a:pt x="6609810" y="3688223"/>
                  <a:pt x="6609810" y="3688223"/>
                </a:cubicBezTo>
                <a:close/>
                <a:moveTo>
                  <a:pt x="6618117" y="3688113"/>
                </a:moveTo>
                <a:cubicBezTo>
                  <a:pt x="6619549" y="3687891"/>
                  <a:pt x="6621268" y="3688002"/>
                  <a:pt x="6622987" y="3688224"/>
                </a:cubicBezTo>
                <a:cubicBezTo>
                  <a:pt x="6629002" y="3688334"/>
                  <a:pt x="6632154" y="3692334"/>
                  <a:pt x="6639029" y="3693445"/>
                </a:cubicBezTo>
                <a:cubicBezTo>
                  <a:pt x="6637596" y="3699332"/>
                  <a:pt x="6636737" y="3700999"/>
                  <a:pt x="6627570" y="3702109"/>
                </a:cubicBezTo>
                <a:cubicBezTo>
                  <a:pt x="6627570" y="3702109"/>
                  <a:pt x="6625565" y="3701776"/>
                  <a:pt x="6625565" y="3701776"/>
                </a:cubicBezTo>
                <a:cubicBezTo>
                  <a:pt x="6617258" y="3701221"/>
                  <a:pt x="6609523" y="3696444"/>
                  <a:pt x="6609523" y="3693778"/>
                </a:cubicBezTo>
                <a:cubicBezTo>
                  <a:pt x="6610669" y="3691335"/>
                  <a:pt x="6613821" y="3688779"/>
                  <a:pt x="6618117" y="3688113"/>
                </a:cubicBezTo>
                <a:close/>
                <a:moveTo>
                  <a:pt x="7195342" y="3687668"/>
                </a:moveTo>
                <a:cubicBezTo>
                  <a:pt x="7195916" y="3687446"/>
                  <a:pt x="7196775" y="3687557"/>
                  <a:pt x="7198494" y="3688335"/>
                </a:cubicBezTo>
                <a:cubicBezTo>
                  <a:pt x="7200212" y="3688557"/>
                  <a:pt x="7201645" y="3689780"/>
                  <a:pt x="7203364" y="3690001"/>
                </a:cubicBezTo>
                <a:cubicBezTo>
                  <a:pt x="7203364" y="3690001"/>
                  <a:pt x="7203936" y="3691001"/>
                  <a:pt x="7203937" y="3692000"/>
                </a:cubicBezTo>
                <a:cubicBezTo>
                  <a:pt x="7203936" y="3693000"/>
                  <a:pt x="7203936" y="3694111"/>
                  <a:pt x="7203077" y="3694556"/>
                </a:cubicBezTo>
                <a:cubicBezTo>
                  <a:pt x="7201072" y="3696777"/>
                  <a:pt x="7196488" y="3692778"/>
                  <a:pt x="7194770" y="3692556"/>
                </a:cubicBezTo>
                <a:cubicBezTo>
                  <a:pt x="7193051" y="3691223"/>
                  <a:pt x="7191618" y="3689890"/>
                  <a:pt x="7193338" y="3688890"/>
                </a:cubicBezTo>
                <a:cubicBezTo>
                  <a:pt x="7194196" y="3688446"/>
                  <a:pt x="7194770" y="3687891"/>
                  <a:pt x="7195342" y="3687668"/>
                </a:cubicBezTo>
                <a:close/>
                <a:moveTo>
                  <a:pt x="6617544" y="3686447"/>
                </a:moveTo>
                <a:cubicBezTo>
                  <a:pt x="6618117" y="3686224"/>
                  <a:pt x="6619263" y="3686225"/>
                  <a:pt x="6620408" y="3686447"/>
                </a:cubicBezTo>
                <a:cubicBezTo>
                  <a:pt x="6620408" y="3686447"/>
                  <a:pt x="6620695" y="3687557"/>
                  <a:pt x="6620695" y="3687557"/>
                </a:cubicBezTo>
                <a:cubicBezTo>
                  <a:pt x="6618976" y="3688002"/>
                  <a:pt x="6617258" y="3688446"/>
                  <a:pt x="6616684" y="3687446"/>
                </a:cubicBezTo>
                <a:cubicBezTo>
                  <a:pt x="6616398" y="3687002"/>
                  <a:pt x="6616971" y="3686557"/>
                  <a:pt x="6617544" y="3686447"/>
                </a:cubicBezTo>
                <a:close/>
                <a:moveTo>
                  <a:pt x="6912888" y="3686002"/>
                </a:moveTo>
                <a:cubicBezTo>
                  <a:pt x="6918045" y="3685114"/>
                  <a:pt x="6923202" y="3687224"/>
                  <a:pt x="6924634" y="3691446"/>
                </a:cubicBezTo>
                <a:cubicBezTo>
                  <a:pt x="6925780" y="3694334"/>
                  <a:pt x="6925494" y="3698110"/>
                  <a:pt x="6922628" y="3702554"/>
                </a:cubicBezTo>
                <a:cubicBezTo>
                  <a:pt x="6915467" y="3706219"/>
                  <a:pt x="6900857" y="3703442"/>
                  <a:pt x="6899998" y="3698665"/>
                </a:cubicBezTo>
                <a:cubicBezTo>
                  <a:pt x="6902290" y="3690779"/>
                  <a:pt x="6907732" y="3686891"/>
                  <a:pt x="6912888" y="3686002"/>
                </a:cubicBezTo>
                <a:close/>
                <a:moveTo>
                  <a:pt x="7017448" y="3675450"/>
                </a:moveTo>
                <a:cubicBezTo>
                  <a:pt x="7019167" y="3675560"/>
                  <a:pt x="7021458" y="3675672"/>
                  <a:pt x="7024610" y="3676004"/>
                </a:cubicBezTo>
                <a:cubicBezTo>
                  <a:pt x="7026902" y="3676338"/>
                  <a:pt x="7029194" y="3677115"/>
                  <a:pt x="7030627" y="3678337"/>
                </a:cubicBezTo>
                <a:cubicBezTo>
                  <a:pt x="7032344" y="3679448"/>
                  <a:pt x="7033490" y="3680892"/>
                  <a:pt x="7033776" y="3682670"/>
                </a:cubicBezTo>
                <a:cubicBezTo>
                  <a:pt x="7036928" y="3684003"/>
                  <a:pt x="7039220" y="3687002"/>
                  <a:pt x="7039220" y="3689557"/>
                </a:cubicBezTo>
                <a:cubicBezTo>
                  <a:pt x="7037787" y="3692778"/>
                  <a:pt x="7034636" y="3694000"/>
                  <a:pt x="7032344" y="3693667"/>
                </a:cubicBezTo>
                <a:lnTo>
                  <a:pt x="7021745" y="3691112"/>
                </a:lnTo>
                <a:lnTo>
                  <a:pt x="7020600" y="3691779"/>
                </a:lnTo>
                <a:cubicBezTo>
                  <a:pt x="7014870" y="3692444"/>
                  <a:pt x="7009427" y="3687113"/>
                  <a:pt x="7009141" y="3682780"/>
                </a:cubicBezTo>
                <a:lnTo>
                  <a:pt x="7010286" y="3680003"/>
                </a:lnTo>
                <a:lnTo>
                  <a:pt x="7010000" y="3679560"/>
                </a:lnTo>
                <a:cubicBezTo>
                  <a:pt x="7011432" y="3676004"/>
                  <a:pt x="7012006" y="3675116"/>
                  <a:pt x="7017448" y="3675450"/>
                </a:cubicBezTo>
                <a:close/>
                <a:moveTo>
                  <a:pt x="6609810" y="3674561"/>
                </a:moveTo>
                <a:cubicBezTo>
                  <a:pt x="6611528" y="3674783"/>
                  <a:pt x="6614680" y="3677338"/>
                  <a:pt x="6616112" y="3678671"/>
                </a:cubicBezTo>
                <a:cubicBezTo>
                  <a:pt x="6617830" y="3678782"/>
                  <a:pt x="6619263" y="3680225"/>
                  <a:pt x="6619263" y="3681337"/>
                </a:cubicBezTo>
                <a:cubicBezTo>
                  <a:pt x="6619263" y="3681337"/>
                  <a:pt x="6620695" y="3682669"/>
                  <a:pt x="6622414" y="3682781"/>
                </a:cubicBezTo>
                <a:lnTo>
                  <a:pt x="6624419" y="3685114"/>
                </a:lnTo>
                <a:lnTo>
                  <a:pt x="6624706" y="3685002"/>
                </a:lnTo>
                <a:cubicBezTo>
                  <a:pt x="6625852" y="3684558"/>
                  <a:pt x="6626998" y="3684114"/>
                  <a:pt x="6628143" y="3684447"/>
                </a:cubicBezTo>
                <a:cubicBezTo>
                  <a:pt x="6629289" y="3684780"/>
                  <a:pt x="6629576" y="3684891"/>
                  <a:pt x="6630148" y="3685224"/>
                </a:cubicBezTo>
                <a:cubicBezTo>
                  <a:pt x="6630435" y="3685669"/>
                  <a:pt x="6630722" y="3686225"/>
                  <a:pt x="6631294" y="3687225"/>
                </a:cubicBezTo>
                <a:cubicBezTo>
                  <a:pt x="6628430" y="3687446"/>
                  <a:pt x="6626998" y="3687445"/>
                  <a:pt x="6625852" y="3687335"/>
                </a:cubicBezTo>
                <a:lnTo>
                  <a:pt x="6625278" y="3687225"/>
                </a:lnTo>
                <a:lnTo>
                  <a:pt x="6625278" y="3687780"/>
                </a:lnTo>
                <a:lnTo>
                  <a:pt x="6622987" y="3686669"/>
                </a:lnTo>
                <a:lnTo>
                  <a:pt x="6621554" y="3686335"/>
                </a:lnTo>
                <a:lnTo>
                  <a:pt x="6621841" y="3686113"/>
                </a:lnTo>
                <a:lnTo>
                  <a:pt x="6618976" y="3683669"/>
                </a:lnTo>
                <a:cubicBezTo>
                  <a:pt x="6618976" y="3683669"/>
                  <a:pt x="6617258" y="3683447"/>
                  <a:pt x="6615538" y="3683224"/>
                </a:cubicBezTo>
                <a:cubicBezTo>
                  <a:pt x="6610669" y="3680448"/>
                  <a:pt x="6607517" y="3678893"/>
                  <a:pt x="6609810" y="3674561"/>
                </a:cubicBezTo>
                <a:close/>
                <a:moveTo>
                  <a:pt x="6809475" y="3671006"/>
                </a:moveTo>
                <a:cubicBezTo>
                  <a:pt x="6810621" y="3670673"/>
                  <a:pt x="6812340" y="3670784"/>
                  <a:pt x="6814345" y="3671450"/>
                </a:cubicBezTo>
                <a:cubicBezTo>
                  <a:pt x="6815204" y="3676338"/>
                  <a:pt x="6803746" y="3680560"/>
                  <a:pt x="6797157" y="3678337"/>
                </a:cubicBezTo>
                <a:cubicBezTo>
                  <a:pt x="6804319" y="3675894"/>
                  <a:pt x="6805751" y="3671783"/>
                  <a:pt x="6809475" y="3671006"/>
                </a:cubicBezTo>
                <a:close/>
                <a:moveTo>
                  <a:pt x="7188754" y="3669784"/>
                </a:moveTo>
                <a:cubicBezTo>
                  <a:pt x="7191618" y="3672561"/>
                  <a:pt x="7196488" y="3674783"/>
                  <a:pt x="7198207" y="3678559"/>
                </a:cubicBezTo>
                <a:cubicBezTo>
                  <a:pt x="7198494" y="3679781"/>
                  <a:pt x="7198494" y="3681225"/>
                  <a:pt x="7198207" y="3682892"/>
                </a:cubicBezTo>
                <a:cubicBezTo>
                  <a:pt x="7191332" y="3682114"/>
                  <a:pt x="7185316" y="3682226"/>
                  <a:pt x="7179587" y="3682669"/>
                </a:cubicBezTo>
                <a:lnTo>
                  <a:pt x="7174717" y="3683003"/>
                </a:lnTo>
                <a:lnTo>
                  <a:pt x="7177868" y="3685891"/>
                </a:lnTo>
                <a:cubicBezTo>
                  <a:pt x="7179300" y="3687891"/>
                  <a:pt x="7179874" y="3690335"/>
                  <a:pt x="7179014" y="3693778"/>
                </a:cubicBezTo>
                <a:cubicBezTo>
                  <a:pt x="7177009" y="3701221"/>
                  <a:pt x="7170993" y="3708996"/>
                  <a:pt x="7153806" y="3706997"/>
                </a:cubicBezTo>
                <a:cubicBezTo>
                  <a:pt x="7149795" y="3707219"/>
                  <a:pt x="7151514" y="3706552"/>
                  <a:pt x="7149222" y="3706220"/>
                </a:cubicBezTo>
                <a:cubicBezTo>
                  <a:pt x="7146930" y="3705774"/>
                  <a:pt x="7142920" y="3706108"/>
                  <a:pt x="7141488" y="3706775"/>
                </a:cubicBezTo>
                <a:cubicBezTo>
                  <a:pt x="7142920" y="3700887"/>
                  <a:pt x="7136904" y="3700665"/>
                  <a:pt x="7139768" y="3691556"/>
                </a:cubicBezTo>
                <a:cubicBezTo>
                  <a:pt x="7141774" y="3682670"/>
                  <a:pt x="7149222" y="3679115"/>
                  <a:pt x="7156097" y="3678115"/>
                </a:cubicBezTo>
                <a:lnTo>
                  <a:pt x="7161826" y="3677894"/>
                </a:lnTo>
                <a:lnTo>
                  <a:pt x="7163545" y="3674449"/>
                </a:lnTo>
                <a:cubicBezTo>
                  <a:pt x="7174144" y="3678449"/>
                  <a:pt x="7176436" y="3671784"/>
                  <a:pt x="7181879" y="3669784"/>
                </a:cubicBezTo>
                <a:cubicBezTo>
                  <a:pt x="7183598" y="3669118"/>
                  <a:pt x="7185890" y="3668895"/>
                  <a:pt x="7188754" y="3669784"/>
                </a:cubicBezTo>
                <a:close/>
                <a:moveTo>
                  <a:pt x="6549079" y="3665896"/>
                </a:moveTo>
                <a:cubicBezTo>
                  <a:pt x="6549079" y="3665896"/>
                  <a:pt x="6549079" y="3665896"/>
                  <a:pt x="6552803" y="3666119"/>
                </a:cubicBezTo>
                <a:cubicBezTo>
                  <a:pt x="6554236" y="3666673"/>
                  <a:pt x="6555668" y="3667341"/>
                  <a:pt x="6556240" y="3669007"/>
                </a:cubicBezTo>
                <a:cubicBezTo>
                  <a:pt x="6556527" y="3670673"/>
                  <a:pt x="6554522" y="3672672"/>
                  <a:pt x="6553662" y="3673783"/>
                </a:cubicBezTo>
                <a:cubicBezTo>
                  <a:pt x="6552230" y="3673117"/>
                  <a:pt x="6551084" y="3674227"/>
                  <a:pt x="6549652" y="3673561"/>
                </a:cubicBezTo>
                <a:cubicBezTo>
                  <a:pt x="6545928" y="3673449"/>
                  <a:pt x="6545928" y="3673449"/>
                  <a:pt x="6545356" y="3671783"/>
                </a:cubicBezTo>
                <a:cubicBezTo>
                  <a:pt x="6545068" y="3670117"/>
                  <a:pt x="6549366" y="3667562"/>
                  <a:pt x="6549079" y="3665896"/>
                </a:cubicBezTo>
                <a:close/>
                <a:moveTo>
                  <a:pt x="6975052" y="3662564"/>
                </a:moveTo>
                <a:cubicBezTo>
                  <a:pt x="6973046" y="3665452"/>
                  <a:pt x="6970182" y="3667896"/>
                  <a:pt x="6966744" y="3670006"/>
                </a:cubicBezTo>
                <a:lnTo>
                  <a:pt x="6957290" y="3674005"/>
                </a:lnTo>
                <a:lnTo>
                  <a:pt x="6958436" y="3677560"/>
                </a:lnTo>
                <a:lnTo>
                  <a:pt x="6963020" y="3672449"/>
                </a:lnTo>
                <a:cubicBezTo>
                  <a:pt x="6971614" y="3666563"/>
                  <a:pt x="6983359" y="3665563"/>
                  <a:pt x="6995390" y="3664452"/>
                </a:cubicBezTo>
                <a:cubicBezTo>
                  <a:pt x="6995104" y="3670339"/>
                  <a:pt x="6989088" y="3674227"/>
                  <a:pt x="6981068" y="3676671"/>
                </a:cubicBezTo>
                <a:lnTo>
                  <a:pt x="6958436" y="3679670"/>
                </a:lnTo>
                <a:lnTo>
                  <a:pt x="6958436" y="3683225"/>
                </a:lnTo>
                <a:cubicBezTo>
                  <a:pt x="6955858" y="3684781"/>
                  <a:pt x="6953566" y="3684781"/>
                  <a:pt x="6951275" y="3684003"/>
                </a:cubicBezTo>
                <a:lnTo>
                  <a:pt x="6947551" y="3682447"/>
                </a:lnTo>
                <a:lnTo>
                  <a:pt x="6946692" y="3689335"/>
                </a:lnTo>
                <a:cubicBezTo>
                  <a:pt x="6940962" y="3686225"/>
                  <a:pt x="6941822" y="3681003"/>
                  <a:pt x="6928358" y="3680448"/>
                </a:cubicBezTo>
                <a:lnTo>
                  <a:pt x="6934087" y="3676783"/>
                </a:lnTo>
                <a:lnTo>
                  <a:pt x="6932941" y="3676671"/>
                </a:lnTo>
                <a:lnTo>
                  <a:pt x="6939530" y="3671005"/>
                </a:lnTo>
                <a:lnTo>
                  <a:pt x="6940104" y="3669228"/>
                </a:lnTo>
                <a:cubicBezTo>
                  <a:pt x="6940103" y="3667341"/>
                  <a:pt x="6940390" y="3665229"/>
                  <a:pt x="6942968" y="3663674"/>
                </a:cubicBezTo>
                <a:lnTo>
                  <a:pt x="6950988" y="3665785"/>
                </a:lnTo>
                <a:lnTo>
                  <a:pt x="6952421" y="3665118"/>
                </a:lnTo>
                <a:cubicBezTo>
                  <a:pt x="6960442" y="3662897"/>
                  <a:pt x="6969322" y="3662230"/>
                  <a:pt x="6975052" y="3662564"/>
                </a:cubicBezTo>
                <a:close/>
                <a:moveTo>
                  <a:pt x="6880232" y="3661897"/>
                </a:moveTo>
                <a:cubicBezTo>
                  <a:pt x="6887394" y="3662008"/>
                  <a:pt x="6891691" y="3663786"/>
                  <a:pt x="6895128" y="3664675"/>
                </a:cubicBezTo>
                <a:lnTo>
                  <a:pt x="6894842" y="3672783"/>
                </a:lnTo>
                <a:lnTo>
                  <a:pt x="6904295" y="3677227"/>
                </a:lnTo>
                <a:cubicBezTo>
                  <a:pt x="6903723" y="3685558"/>
                  <a:pt x="6885102" y="3694000"/>
                  <a:pt x="6875362" y="3693333"/>
                </a:cubicBezTo>
                <a:lnTo>
                  <a:pt x="6871924" y="3690112"/>
                </a:lnTo>
                <a:lnTo>
                  <a:pt x="6869919" y="3690779"/>
                </a:lnTo>
                <a:lnTo>
                  <a:pt x="6862758" y="3692333"/>
                </a:lnTo>
                <a:lnTo>
                  <a:pt x="6863044" y="3693001"/>
                </a:lnTo>
                <a:cubicBezTo>
                  <a:pt x="6863330" y="3694000"/>
                  <a:pt x="6863044" y="3695111"/>
                  <a:pt x="6861325" y="3696222"/>
                </a:cubicBezTo>
                <a:cubicBezTo>
                  <a:pt x="6858174" y="3699555"/>
                  <a:pt x="6853018" y="3699443"/>
                  <a:pt x="6847862" y="3698111"/>
                </a:cubicBezTo>
                <a:cubicBezTo>
                  <a:pt x="6844424" y="3699110"/>
                  <a:pt x="6842705" y="3701332"/>
                  <a:pt x="6839268" y="3700109"/>
                </a:cubicBezTo>
                <a:cubicBezTo>
                  <a:pt x="6844424" y="3697999"/>
                  <a:pt x="6845856" y="3696889"/>
                  <a:pt x="6849294" y="3695777"/>
                </a:cubicBezTo>
                <a:cubicBezTo>
                  <a:pt x="6849294" y="3694667"/>
                  <a:pt x="6849294" y="3693556"/>
                  <a:pt x="6851012" y="3692445"/>
                </a:cubicBezTo>
                <a:lnTo>
                  <a:pt x="6854164" y="3691446"/>
                </a:lnTo>
                <a:lnTo>
                  <a:pt x="6853590" y="3690001"/>
                </a:lnTo>
                <a:cubicBezTo>
                  <a:pt x="6852731" y="3688891"/>
                  <a:pt x="6852158" y="3688002"/>
                  <a:pt x="6851012" y="3686891"/>
                </a:cubicBezTo>
                <a:cubicBezTo>
                  <a:pt x="6856169" y="3686225"/>
                  <a:pt x="6860180" y="3684891"/>
                  <a:pt x="6863329" y="3684003"/>
                </a:cubicBezTo>
                <a:lnTo>
                  <a:pt x="6868773" y="3683336"/>
                </a:lnTo>
                <a:lnTo>
                  <a:pt x="6868773" y="3683003"/>
                </a:lnTo>
                <a:cubicBezTo>
                  <a:pt x="6869346" y="3680559"/>
                  <a:pt x="6871065" y="3678448"/>
                  <a:pt x="6873930" y="3676671"/>
                </a:cubicBezTo>
                <a:lnTo>
                  <a:pt x="6876794" y="3675450"/>
                </a:lnTo>
                <a:cubicBezTo>
                  <a:pt x="6873070" y="3672228"/>
                  <a:pt x="6872784" y="3666340"/>
                  <a:pt x="6880232" y="3661897"/>
                </a:cubicBezTo>
                <a:close/>
                <a:moveTo>
                  <a:pt x="7348028" y="3660453"/>
                </a:moveTo>
                <a:cubicBezTo>
                  <a:pt x="7352038" y="3668340"/>
                  <a:pt x="7351179" y="3672228"/>
                  <a:pt x="7348314" y="3673561"/>
                </a:cubicBezTo>
                <a:cubicBezTo>
                  <a:pt x="7339148" y="3677671"/>
                  <a:pt x="7312220" y="3659342"/>
                  <a:pt x="7348028" y="3660453"/>
                </a:cubicBezTo>
                <a:close/>
                <a:moveTo>
                  <a:pt x="6777391" y="3658453"/>
                </a:moveTo>
                <a:cubicBezTo>
                  <a:pt x="6777391" y="3659676"/>
                  <a:pt x="6779110" y="3659676"/>
                  <a:pt x="6779396" y="3660897"/>
                </a:cubicBezTo>
                <a:cubicBezTo>
                  <a:pt x="6781115" y="3663452"/>
                  <a:pt x="6781115" y="3663452"/>
                  <a:pt x="6779396" y="3664563"/>
                </a:cubicBezTo>
                <a:cubicBezTo>
                  <a:pt x="6777964" y="3665784"/>
                  <a:pt x="6772521" y="3664341"/>
                  <a:pt x="6770802" y="3665452"/>
                </a:cubicBezTo>
                <a:cubicBezTo>
                  <a:pt x="6770802" y="3665452"/>
                  <a:pt x="6770802" y="3665452"/>
                  <a:pt x="6769084" y="3663008"/>
                </a:cubicBezTo>
                <a:cubicBezTo>
                  <a:pt x="6768797" y="3661786"/>
                  <a:pt x="6768797" y="3660564"/>
                  <a:pt x="6770516" y="3659453"/>
                </a:cubicBezTo>
                <a:cubicBezTo>
                  <a:pt x="6772234" y="3658343"/>
                  <a:pt x="6775672" y="3658453"/>
                  <a:pt x="6777391" y="3658453"/>
                </a:cubicBezTo>
                <a:close/>
                <a:moveTo>
                  <a:pt x="6588324" y="3652566"/>
                </a:moveTo>
                <a:cubicBezTo>
                  <a:pt x="6594627" y="3652788"/>
                  <a:pt x="6601502" y="3654899"/>
                  <a:pt x="6604366" y="3658453"/>
                </a:cubicBezTo>
                <a:cubicBezTo>
                  <a:pt x="6594627" y="3664008"/>
                  <a:pt x="6586320" y="3666007"/>
                  <a:pt x="6575720" y="3658787"/>
                </a:cubicBezTo>
                <a:cubicBezTo>
                  <a:pt x="6576293" y="3654121"/>
                  <a:pt x="6582022" y="3652344"/>
                  <a:pt x="6588324" y="3652566"/>
                </a:cubicBezTo>
                <a:close/>
                <a:moveTo>
                  <a:pt x="6785126" y="3651122"/>
                </a:moveTo>
                <a:cubicBezTo>
                  <a:pt x="6787704" y="3651344"/>
                  <a:pt x="6790568" y="3652233"/>
                  <a:pt x="6792860" y="3654232"/>
                </a:cubicBezTo>
                <a:cubicBezTo>
                  <a:pt x="6797730" y="3657121"/>
                  <a:pt x="6797444" y="3661786"/>
                  <a:pt x="6802027" y="3665784"/>
                </a:cubicBezTo>
                <a:cubicBezTo>
                  <a:pt x="6796584" y="3669895"/>
                  <a:pt x="6794866" y="3671006"/>
                  <a:pt x="6786558" y="3667785"/>
                </a:cubicBezTo>
                <a:cubicBezTo>
                  <a:pt x="6786558" y="3667785"/>
                  <a:pt x="6785126" y="3666341"/>
                  <a:pt x="6785126" y="3666341"/>
                </a:cubicBezTo>
                <a:cubicBezTo>
                  <a:pt x="6778537" y="3662120"/>
                  <a:pt x="6775959" y="3654677"/>
                  <a:pt x="6777964" y="3652566"/>
                </a:cubicBezTo>
                <a:cubicBezTo>
                  <a:pt x="6779683" y="3651567"/>
                  <a:pt x="6782261" y="3651011"/>
                  <a:pt x="6785126" y="3651122"/>
                </a:cubicBezTo>
                <a:close/>
                <a:moveTo>
                  <a:pt x="7282142" y="3648234"/>
                </a:moveTo>
                <a:cubicBezTo>
                  <a:pt x="7282142" y="3648234"/>
                  <a:pt x="7283000" y="3649123"/>
                  <a:pt x="7283000" y="3649123"/>
                </a:cubicBezTo>
                <a:cubicBezTo>
                  <a:pt x="7283574" y="3648900"/>
                  <a:pt x="7283574" y="3648900"/>
                  <a:pt x="7283574" y="3649234"/>
                </a:cubicBezTo>
                <a:cubicBezTo>
                  <a:pt x="7283287" y="3649678"/>
                  <a:pt x="7283000" y="3650456"/>
                  <a:pt x="7283000" y="3651677"/>
                </a:cubicBezTo>
                <a:cubicBezTo>
                  <a:pt x="7282428" y="3653233"/>
                  <a:pt x="7283000" y="3654232"/>
                  <a:pt x="7280996" y="3653899"/>
                </a:cubicBezTo>
                <a:cubicBezTo>
                  <a:pt x="7278704" y="3653454"/>
                  <a:pt x="7278704" y="3653454"/>
                  <a:pt x="7276412" y="3650566"/>
                </a:cubicBezTo>
                <a:cubicBezTo>
                  <a:pt x="7278704" y="3650900"/>
                  <a:pt x="7278704" y="3651011"/>
                  <a:pt x="7279276" y="3649456"/>
                </a:cubicBezTo>
                <a:cubicBezTo>
                  <a:pt x="7279276" y="3649456"/>
                  <a:pt x="7279563" y="3649455"/>
                  <a:pt x="7278704" y="3648456"/>
                </a:cubicBezTo>
                <a:cubicBezTo>
                  <a:pt x="7280136" y="3647900"/>
                  <a:pt x="7280709" y="3648789"/>
                  <a:pt x="7282142" y="3648234"/>
                </a:cubicBezTo>
                <a:close/>
                <a:moveTo>
                  <a:pt x="6700618" y="3647567"/>
                </a:moveTo>
                <a:lnTo>
                  <a:pt x="6692598" y="3658898"/>
                </a:lnTo>
                <a:lnTo>
                  <a:pt x="6695749" y="3660342"/>
                </a:lnTo>
                <a:cubicBezTo>
                  <a:pt x="6697181" y="3661675"/>
                  <a:pt x="6698614" y="3664563"/>
                  <a:pt x="6699186" y="3667340"/>
                </a:cubicBezTo>
                <a:cubicBezTo>
                  <a:pt x="6699760" y="3670228"/>
                  <a:pt x="6699473" y="3673228"/>
                  <a:pt x="6697754" y="3674783"/>
                </a:cubicBezTo>
                <a:cubicBezTo>
                  <a:pt x="6694603" y="3673227"/>
                  <a:pt x="6691166" y="3671672"/>
                  <a:pt x="6688014" y="3670228"/>
                </a:cubicBezTo>
                <a:cubicBezTo>
                  <a:pt x="6688874" y="3670229"/>
                  <a:pt x="6688874" y="3667563"/>
                  <a:pt x="6688587" y="3664897"/>
                </a:cubicBezTo>
                <a:lnTo>
                  <a:pt x="6684576" y="3670451"/>
                </a:lnTo>
                <a:cubicBezTo>
                  <a:pt x="6678561" y="3676893"/>
                  <a:pt x="6670827" y="3679670"/>
                  <a:pt x="6657936" y="3671228"/>
                </a:cubicBezTo>
                <a:cubicBezTo>
                  <a:pt x="6675982" y="3665229"/>
                  <a:pt x="6683718" y="3647789"/>
                  <a:pt x="6700618" y="3647567"/>
                </a:cubicBezTo>
                <a:close/>
                <a:moveTo>
                  <a:pt x="6790568" y="3643679"/>
                </a:moveTo>
                <a:cubicBezTo>
                  <a:pt x="6792861" y="3644013"/>
                  <a:pt x="6794292" y="3646123"/>
                  <a:pt x="6796584" y="3646457"/>
                </a:cubicBezTo>
                <a:cubicBezTo>
                  <a:pt x="6795152" y="3647123"/>
                  <a:pt x="6794579" y="3648678"/>
                  <a:pt x="6792860" y="3649344"/>
                </a:cubicBezTo>
                <a:cubicBezTo>
                  <a:pt x="6788277" y="3648567"/>
                  <a:pt x="6788850" y="3644345"/>
                  <a:pt x="6790568" y="3643679"/>
                </a:cubicBezTo>
                <a:close/>
                <a:moveTo>
                  <a:pt x="6838694" y="3643347"/>
                </a:moveTo>
                <a:cubicBezTo>
                  <a:pt x="6851872" y="3644791"/>
                  <a:pt x="6857314" y="3656454"/>
                  <a:pt x="6861612" y="3667340"/>
                </a:cubicBezTo>
                <a:cubicBezTo>
                  <a:pt x="6853304" y="3669117"/>
                  <a:pt x="6847862" y="3672784"/>
                  <a:pt x="6839554" y="3674561"/>
                </a:cubicBezTo>
                <a:lnTo>
                  <a:pt x="6836689" y="3673116"/>
                </a:lnTo>
                <a:lnTo>
                  <a:pt x="6834398" y="3676671"/>
                </a:lnTo>
                <a:cubicBezTo>
                  <a:pt x="6831246" y="3678893"/>
                  <a:pt x="6829528" y="3681226"/>
                  <a:pt x="6828096" y="3681225"/>
                </a:cubicBezTo>
                <a:cubicBezTo>
                  <a:pt x="6828096" y="3682336"/>
                  <a:pt x="6826376" y="3683447"/>
                  <a:pt x="6826663" y="3684669"/>
                </a:cubicBezTo>
                <a:cubicBezTo>
                  <a:pt x="6826663" y="3684669"/>
                  <a:pt x="6826663" y="3684669"/>
                  <a:pt x="6824944" y="3684669"/>
                </a:cubicBezTo>
                <a:cubicBezTo>
                  <a:pt x="6826090" y="3680004"/>
                  <a:pt x="6824085" y="3673894"/>
                  <a:pt x="6827236" y="3670451"/>
                </a:cubicBezTo>
                <a:lnTo>
                  <a:pt x="6829814" y="3669339"/>
                </a:lnTo>
                <a:lnTo>
                  <a:pt x="6825230" y="3662120"/>
                </a:lnTo>
                <a:cubicBezTo>
                  <a:pt x="6823226" y="3656566"/>
                  <a:pt x="6823226" y="3650233"/>
                  <a:pt x="6823226" y="3645791"/>
                </a:cubicBezTo>
                <a:cubicBezTo>
                  <a:pt x="6829241" y="3643568"/>
                  <a:pt x="6834398" y="3642791"/>
                  <a:pt x="6838694" y="3643347"/>
                </a:cubicBezTo>
                <a:close/>
                <a:moveTo>
                  <a:pt x="7065860" y="3642568"/>
                </a:moveTo>
                <a:cubicBezTo>
                  <a:pt x="7066147" y="3644124"/>
                  <a:pt x="7066147" y="3644234"/>
                  <a:pt x="7068439" y="3643790"/>
                </a:cubicBezTo>
                <a:cubicBezTo>
                  <a:pt x="7068439" y="3643790"/>
                  <a:pt x="7068726" y="3643791"/>
                  <a:pt x="7069584" y="3642791"/>
                </a:cubicBezTo>
                <a:cubicBezTo>
                  <a:pt x="7070730" y="3643346"/>
                  <a:pt x="7069871" y="3644346"/>
                  <a:pt x="7071018" y="3644901"/>
                </a:cubicBezTo>
                <a:cubicBezTo>
                  <a:pt x="7071018" y="3644901"/>
                  <a:pt x="7070158" y="3645901"/>
                  <a:pt x="7070158" y="3645901"/>
                </a:cubicBezTo>
                <a:cubicBezTo>
                  <a:pt x="7070730" y="3646123"/>
                  <a:pt x="7071017" y="3646235"/>
                  <a:pt x="7070444" y="3646234"/>
                </a:cubicBezTo>
                <a:cubicBezTo>
                  <a:pt x="7069871" y="3646345"/>
                  <a:pt x="7068726" y="3646568"/>
                  <a:pt x="7067006" y="3647234"/>
                </a:cubicBezTo>
                <a:cubicBezTo>
                  <a:pt x="7064715" y="3647678"/>
                  <a:pt x="7063856" y="3648679"/>
                  <a:pt x="7063282" y="3647123"/>
                </a:cubicBezTo>
                <a:cubicBezTo>
                  <a:pt x="7062996" y="3645568"/>
                  <a:pt x="7062996" y="3645568"/>
                  <a:pt x="7065860" y="3642568"/>
                </a:cubicBezTo>
                <a:close/>
                <a:moveTo>
                  <a:pt x="6820074" y="3637126"/>
                </a:moveTo>
                <a:cubicBezTo>
                  <a:pt x="6821506" y="3637681"/>
                  <a:pt x="6822939" y="3639125"/>
                  <a:pt x="6823798" y="3641902"/>
                </a:cubicBezTo>
                <a:cubicBezTo>
                  <a:pt x="6818069" y="3644235"/>
                  <a:pt x="6814918" y="3644457"/>
                  <a:pt x="6813486" y="3643791"/>
                </a:cubicBezTo>
                <a:cubicBezTo>
                  <a:pt x="6810334" y="3642124"/>
                  <a:pt x="6815778" y="3635571"/>
                  <a:pt x="6820074" y="3637126"/>
                </a:cubicBezTo>
                <a:close/>
                <a:moveTo>
                  <a:pt x="6797444" y="3626462"/>
                </a:moveTo>
                <a:cubicBezTo>
                  <a:pt x="6797444" y="3626462"/>
                  <a:pt x="6798303" y="3627239"/>
                  <a:pt x="6798876" y="3628017"/>
                </a:cubicBezTo>
                <a:cubicBezTo>
                  <a:pt x="6799736" y="3628906"/>
                  <a:pt x="6800308" y="3630016"/>
                  <a:pt x="6799736" y="3630794"/>
                </a:cubicBezTo>
                <a:cubicBezTo>
                  <a:pt x="6799449" y="3633349"/>
                  <a:pt x="6792860" y="3631793"/>
                  <a:pt x="6791429" y="3632349"/>
                </a:cubicBezTo>
                <a:cubicBezTo>
                  <a:pt x="6789136" y="3631794"/>
                  <a:pt x="6787131" y="3631238"/>
                  <a:pt x="6787990" y="3629683"/>
                </a:cubicBezTo>
                <a:cubicBezTo>
                  <a:pt x="6788850" y="3628017"/>
                  <a:pt x="6788277" y="3627017"/>
                  <a:pt x="6792001" y="3627017"/>
                </a:cubicBezTo>
                <a:cubicBezTo>
                  <a:pt x="6793721" y="3626461"/>
                  <a:pt x="6795725" y="3627017"/>
                  <a:pt x="6797444" y="3626462"/>
                </a:cubicBezTo>
                <a:close/>
                <a:moveTo>
                  <a:pt x="7076460" y="3619574"/>
                </a:moveTo>
                <a:cubicBezTo>
                  <a:pt x="7087346" y="3619685"/>
                  <a:pt x="7095940" y="3622129"/>
                  <a:pt x="7103388" y="3620575"/>
                </a:cubicBezTo>
                <a:cubicBezTo>
                  <a:pt x="7103388" y="3620575"/>
                  <a:pt x="7103388" y="3620575"/>
                  <a:pt x="7106825" y="3623129"/>
                </a:cubicBezTo>
                <a:cubicBezTo>
                  <a:pt x="7108544" y="3623129"/>
                  <a:pt x="7108544" y="3623129"/>
                  <a:pt x="7108544" y="3623129"/>
                </a:cubicBezTo>
                <a:cubicBezTo>
                  <a:pt x="7110262" y="3623129"/>
                  <a:pt x="7110549" y="3625573"/>
                  <a:pt x="7110549" y="3625573"/>
                </a:cubicBezTo>
                <a:cubicBezTo>
                  <a:pt x="7108830" y="3627794"/>
                  <a:pt x="7103674" y="3626461"/>
                  <a:pt x="7100523" y="3626350"/>
                </a:cubicBezTo>
                <a:cubicBezTo>
                  <a:pt x="7098804" y="3628683"/>
                  <a:pt x="7093648" y="3623796"/>
                  <a:pt x="7091929" y="3626128"/>
                </a:cubicBezTo>
                <a:cubicBezTo>
                  <a:pt x="7085054" y="3621240"/>
                  <a:pt x="7077033" y="3626795"/>
                  <a:pt x="7064715" y="3620574"/>
                </a:cubicBezTo>
                <a:cubicBezTo>
                  <a:pt x="7069012" y="3619797"/>
                  <a:pt x="7072736" y="3619574"/>
                  <a:pt x="7076460" y="3619574"/>
                </a:cubicBezTo>
                <a:close/>
                <a:moveTo>
                  <a:pt x="6888253" y="3614243"/>
                </a:moveTo>
                <a:cubicBezTo>
                  <a:pt x="6893696" y="3614020"/>
                  <a:pt x="6903436" y="3615687"/>
                  <a:pt x="6904869" y="3615686"/>
                </a:cubicBezTo>
                <a:cubicBezTo>
                  <a:pt x="6904869" y="3615686"/>
                  <a:pt x="6906586" y="3615798"/>
                  <a:pt x="6908306" y="3615798"/>
                </a:cubicBezTo>
                <a:cubicBezTo>
                  <a:pt x="6910024" y="3617019"/>
                  <a:pt x="6910024" y="3618130"/>
                  <a:pt x="6911743" y="3618242"/>
                </a:cubicBezTo>
                <a:cubicBezTo>
                  <a:pt x="6906873" y="3621574"/>
                  <a:pt x="6901716" y="3620241"/>
                  <a:pt x="6896560" y="3618908"/>
                </a:cubicBezTo>
                <a:cubicBezTo>
                  <a:pt x="6893122" y="3617686"/>
                  <a:pt x="6891404" y="3617575"/>
                  <a:pt x="6888253" y="3618685"/>
                </a:cubicBezTo>
                <a:cubicBezTo>
                  <a:pt x="6888253" y="3618685"/>
                  <a:pt x="6888253" y="3618574"/>
                  <a:pt x="6884529" y="3616242"/>
                </a:cubicBezTo>
                <a:lnTo>
                  <a:pt x="6884529" y="3615020"/>
                </a:lnTo>
                <a:cubicBezTo>
                  <a:pt x="6884815" y="3614465"/>
                  <a:pt x="6886248" y="3614243"/>
                  <a:pt x="6888253" y="3614243"/>
                </a:cubicBezTo>
                <a:close/>
                <a:moveTo>
                  <a:pt x="6964739" y="3612020"/>
                </a:moveTo>
                <a:cubicBezTo>
                  <a:pt x="6964739" y="3612020"/>
                  <a:pt x="6965598" y="3612020"/>
                  <a:pt x="6966458" y="3612020"/>
                </a:cubicBezTo>
                <a:cubicBezTo>
                  <a:pt x="6967317" y="3612020"/>
                  <a:pt x="6968751" y="3612243"/>
                  <a:pt x="6970182" y="3612798"/>
                </a:cubicBezTo>
                <a:cubicBezTo>
                  <a:pt x="6976198" y="3612576"/>
                  <a:pt x="6977343" y="3617353"/>
                  <a:pt x="6977343" y="3617353"/>
                </a:cubicBezTo>
                <a:cubicBezTo>
                  <a:pt x="6977343" y="3617353"/>
                  <a:pt x="6977343" y="3617353"/>
                  <a:pt x="6978202" y="3616353"/>
                </a:cubicBezTo>
                <a:cubicBezTo>
                  <a:pt x="6976198" y="3618353"/>
                  <a:pt x="6975911" y="3621018"/>
                  <a:pt x="6973906" y="3623129"/>
                </a:cubicBezTo>
                <a:cubicBezTo>
                  <a:pt x="6957864" y="3627684"/>
                  <a:pt x="6957864" y="3623352"/>
                  <a:pt x="6955286" y="3617908"/>
                </a:cubicBezTo>
                <a:cubicBezTo>
                  <a:pt x="6958723" y="3616465"/>
                  <a:pt x="6960156" y="3612909"/>
                  <a:pt x="6964739" y="3612020"/>
                </a:cubicBezTo>
                <a:close/>
                <a:moveTo>
                  <a:pt x="6649628" y="3610021"/>
                </a:moveTo>
                <a:cubicBezTo>
                  <a:pt x="6647909" y="3614021"/>
                  <a:pt x="6655644" y="3615132"/>
                  <a:pt x="6650488" y="3618686"/>
                </a:cubicBezTo>
                <a:cubicBezTo>
                  <a:pt x="6647051" y="3619241"/>
                  <a:pt x="6643040" y="3618575"/>
                  <a:pt x="6638170" y="3615798"/>
                </a:cubicBezTo>
                <a:cubicBezTo>
                  <a:pt x="6638742" y="3609466"/>
                  <a:pt x="6644185" y="3609688"/>
                  <a:pt x="6649628" y="3610021"/>
                </a:cubicBezTo>
                <a:close/>
                <a:moveTo>
                  <a:pt x="6783066" y="3602294"/>
                </a:moveTo>
                <a:lnTo>
                  <a:pt x="6781578" y="3602496"/>
                </a:lnTo>
                <a:lnTo>
                  <a:pt x="6763913" y="3605699"/>
                </a:lnTo>
                <a:lnTo>
                  <a:pt x="6744284" y="3608903"/>
                </a:lnTo>
                <a:lnTo>
                  <a:pt x="6735938" y="3610795"/>
                </a:lnTo>
                <a:lnTo>
                  <a:pt x="6745880" y="3616242"/>
                </a:lnTo>
                <a:lnTo>
                  <a:pt x="6747312" y="3619130"/>
                </a:lnTo>
                <a:lnTo>
                  <a:pt x="6764214" y="3615132"/>
                </a:lnTo>
                <a:lnTo>
                  <a:pt x="6786558" y="3610243"/>
                </a:lnTo>
                <a:lnTo>
                  <a:pt x="6783694" y="3606245"/>
                </a:lnTo>
                <a:close/>
                <a:moveTo>
                  <a:pt x="6902862" y="3595580"/>
                </a:moveTo>
                <a:cubicBezTo>
                  <a:pt x="6907160" y="3595470"/>
                  <a:pt x="6910310" y="3596247"/>
                  <a:pt x="6912887" y="3600024"/>
                </a:cubicBezTo>
                <a:cubicBezTo>
                  <a:pt x="6908592" y="3604023"/>
                  <a:pt x="6896846" y="3603579"/>
                  <a:pt x="6886248" y="3604023"/>
                </a:cubicBezTo>
                <a:cubicBezTo>
                  <a:pt x="6886534" y="3600801"/>
                  <a:pt x="6886820" y="3599135"/>
                  <a:pt x="6885961" y="3596581"/>
                </a:cubicBezTo>
                <a:cubicBezTo>
                  <a:pt x="6893122" y="3596803"/>
                  <a:pt x="6898566" y="3595803"/>
                  <a:pt x="6902862" y="3595580"/>
                </a:cubicBezTo>
                <a:close/>
                <a:moveTo>
                  <a:pt x="7285007" y="3578363"/>
                </a:moveTo>
                <a:cubicBezTo>
                  <a:pt x="7286724" y="3581361"/>
                  <a:pt x="7284433" y="3587138"/>
                  <a:pt x="7279850" y="3588582"/>
                </a:cubicBezTo>
                <a:cubicBezTo>
                  <a:pt x="7273834" y="3588138"/>
                  <a:pt x="7274407" y="3585583"/>
                  <a:pt x="7270682" y="3585583"/>
                </a:cubicBezTo>
                <a:cubicBezTo>
                  <a:pt x="7272974" y="3579917"/>
                  <a:pt x="7277558" y="3578363"/>
                  <a:pt x="7285007" y="3578363"/>
                </a:cubicBezTo>
                <a:close/>
                <a:moveTo>
                  <a:pt x="7197634" y="3570698"/>
                </a:moveTo>
                <a:cubicBezTo>
                  <a:pt x="7195056" y="3574808"/>
                  <a:pt x="7202504" y="3575697"/>
                  <a:pt x="7196488" y="3579252"/>
                </a:cubicBezTo>
                <a:cubicBezTo>
                  <a:pt x="7193051" y="3579918"/>
                  <a:pt x="7189327" y="3579474"/>
                  <a:pt x="7185030" y="3576696"/>
                </a:cubicBezTo>
                <a:cubicBezTo>
                  <a:pt x="7186748" y="3570365"/>
                  <a:pt x="7192192" y="3570476"/>
                  <a:pt x="7197634" y="3570698"/>
                </a:cubicBezTo>
                <a:close/>
                <a:moveTo>
                  <a:pt x="7420790" y="3521154"/>
                </a:moveTo>
                <a:cubicBezTo>
                  <a:pt x="7421650" y="3525376"/>
                  <a:pt x="7429098" y="3524487"/>
                  <a:pt x="7426233" y="3529264"/>
                </a:cubicBezTo>
                <a:cubicBezTo>
                  <a:pt x="7423654" y="3530707"/>
                  <a:pt x="7419930" y="3531153"/>
                  <a:pt x="7413915" y="3529709"/>
                </a:cubicBezTo>
                <a:cubicBezTo>
                  <a:pt x="7410764" y="3523487"/>
                  <a:pt x="7415634" y="3522266"/>
                  <a:pt x="7420790" y="3521154"/>
                </a:cubicBezTo>
                <a:close/>
                <a:moveTo>
                  <a:pt x="7670014" y="3013838"/>
                </a:moveTo>
                <a:cubicBezTo>
                  <a:pt x="7687202" y="3014060"/>
                  <a:pt x="7710119" y="3029279"/>
                  <a:pt x="7714416" y="3037388"/>
                </a:cubicBezTo>
                <a:cubicBezTo>
                  <a:pt x="7694936" y="3050162"/>
                  <a:pt x="7664284" y="3030278"/>
                  <a:pt x="7655691" y="3019392"/>
                </a:cubicBezTo>
                <a:cubicBezTo>
                  <a:pt x="7659415" y="3015282"/>
                  <a:pt x="7664284" y="3013727"/>
                  <a:pt x="7670014" y="3013838"/>
                </a:cubicBezTo>
                <a:close/>
                <a:moveTo>
                  <a:pt x="7481520" y="2884982"/>
                </a:moveTo>
                <a:lnTo>
                  <a:pt x="7491546" y="2884982"/>
                </a:lnTo>
                <a:lnTo>
                  <a:pt x="7489255" y="2888203"/>
                </a:lnTo>
                <a:cubicBezTo>
                  <a:pt x="7485818" y="2890536"/>
                  <a:pt x="7481807" y="2891758"/>
                  <a:pt x="7477510" y="2891203"/>
                </a:cubicBezTo>
                <a:close/>
                <a:moveTo>
                  <a:pt x="6521986" y="1920994"/>
                </a:moveTo>
                <a:cubicBezTo>
                  <a:pt x="6524315" y="1921158"/>
                  <a:pt x="6525127" y="1920340"/>
                  <a:pt x="6526795" y="1922973"/>
                </a:cubicBezTo>
                <a:cubicBezTo>
                  <a:pt x="6528005" y="1923987"/>
                  <a:pt x="6528433" y="1925711"/>
                  <a:pt x="6529920" y="1926800"/>
                </a:cubicBezTo>
                <a:cubicBezTo>
                  <a:pt x="6529920" y="1926800"/>
                  <a:pt x="6529443" y="1927478"/>
                  <a:pt x="6528907" y="1928368"/>
                </a:cubicBezTo>
                <a:cubicBezTo>
                  <a:pt x="6528095" y="1929186"/>
                  <a:pt x="6527254" y="1930111"/>
                  <a:pt x="6526118" y="1929922"/>
                </a:cubicBezTo>
                <a:cubicBezTo>
                  <a:pt x="6525173" y="1930128"/>
                  <a:pt x="6524620" y="1929980"/>
                  <a:pt x="6523876" y="1929436"/>
                </a:cubicBezTo>
                <a:cubicBezTo>
                  <a:pt x="6522140" y="1928165"/>
                  <a:pt x="6521475" y="1925113"/>
                  <a:pt x="6520484" y="1924387"/>
                </a:cubicBezTo>
                <a:cubicBezTo>
                  <a:pt x="6520056" y="1922662"/>
                  <a:pt x="6519658" y="1920830"/>
                  <a:pt x="6521986" y="1920994"/>
                </a:cubicBezTo>
                <a:close/>
                <a:moveTo>
                  <a:pt x="6344803" y="1853968"/>
                </a:moveTo>
                <a:cubicBezTo>
                  <a:pt x="6351619" y="1851769"/>
                  <a:pt x="6359993" y="1858153"/>
                  <a:pt x="6359558" y="1863097"/>
                </a:cubicBezTo>
                <a:cubicBezTo>
                  <a:pt x="6357438" y="1864368"/>
                  <a:pt x="6355271" y="1864708"/>
                  <a:pt x="6353553" y="1864477"/>
                </a:cubicBezTo>
                <a:cubicBezTo>
                  <a:pt x="6347541" y="1863672"/>
                  <a:pt x="6343358" y="1857146"/>
                  <a:pt x="6344803" y="1853968"/>
                </a:cubicBezTo>
                <a:close/>
                <a:moveTo>
                  <a:pt x="6517347" y="1852389"/>
                </a:moveTo>
                <a:cubicBezTo>
                  <a:pt x="6520534" y="1853645"/>
                  <a:pt x="6523441" y="1856351"/>
                  <a:pt x="6526109" y="1860228"/>
                </a:cubicBezTo>
                <a:cubicBezTo>
                  <a:pt x="6524122" y="1862110"/>
                  <a:pt x="6523489" y="1864471"/>
                  <a:pt x="6521215" y="1867427"/>
                </a:cubicBezTo>
                <a:cubicBezTo>
                  <a:pt x="6516262" y="1865985"/>
                  <a:pt x="6507307" y="1859560"/>
                  <a:pt x="6506923" y="1853247"/>
                </a:cubicBezTo>
                <a:cubicBezTo>
                  <a:pt x="6510700" y="1851327"/>
                  <a:pt x="6514161" y="1851133"/>
                  <a:pt x="6517347" y="1852389"/>
                </a:cubicBezTo>
                <a:close/>
                <a:moveTo>
                  <a:pt x="6300865" y="1841965"/>
                </a:moveTo>
                <a:cubicBezTo>
                  <a:pt x="6308271" y="1841993"/>
                  <a:pt x="6315458" y="1841736"/>
                  <a:pt x="6322969" y="1842482"/>
                </a:cubicBezTo>
                <a:cubicBezTo>
                  <a:pt x="6330479" y="1843230"/>
                  <a:pt x="6338561" y="1845165"/>
                  <a:pt x="6347480" y="1849511"/>
                </a:cubicBezTo>
                <a:cubicBezTo>
                  <a:pt x="6341997" y="1854481"/>
                  <a:pt x="6333120" y="1854403"/>
                  <a:pt x="6324237" y="1852137"/>
                </a:cubicBezTo>
                <a:cubicBezTo>
                  <a:pt x="6315354" y="1849872"/>
                  <a:pt x="6306435" y="1845526"/>
                  <a:pt x="6300865" y="1841965"/>
                </a:cubicBezTo>
                <a:close/>
                <a:moveTo>
                  <a:pt x="6498345" y="1833239"/>
                </a:moveTo>
                <a:cubicBezTo>
                  <a:pt x="6500178" y="1833040"/>
                  <a:pt x="6502392" y="1833633"/>
                  <a:pt x="6505759" y="1835455"/>
                </a:cubicBezTo>
                <a:cubicBezTo>
                  <a:pt x="6504943" y="1839606"/>
                  <a:pt x="6497579" y="1852699"/>
                  <a:pt x="6488851" y="1848750"/>
                </a:cubicBezTo>
                <a:cubicBezTo>
                  <a:pt x="6487801" y="1848239"/>
                  <a:pt x="6486562" y="1847331"/>
                  <a:pt x="6485160" y="1845922"/>
                </a:cubicBezTo>
                <a:cubicBezTo>
                  <a:pt x="6491532" y="1840959"/>
                  <a:pt x="6492628" y="1833547"/>
                  <a:pt x="6498345" y="1833239"/>
                </a:cubicBezTo>
                <a:close/>
                <a:moveTo>
                  <a:pt x="6349194" y="1817654"/>
                </a:moveTo>
                <a:cubicBezTo>
                  <a:pt x="6365046" y="1819371"/>
                  <a:pt x="6387463" y="1830898"/>
                  <a:pt x="6383757" y="1841405"/>
                </a:cubicBezTo>
                <a:cubicBezTo>
                  <a:pt x="6376656" y="1841343"/>
                  <a:pt x="6368812" y="1840736"/>
                  <a:pt x="6360758" y="1838693"/>
                </a:cubicBezTo>
                <a:cubicBezTo>
                  <a:pt x="6352428" y="1836576"/>
                  <a:pt x="6343861" y="1833131"/>
                  <a:pt x="6334982" y="1827531"/>
                </a:cubicBezTo>
                <a:cubicBezTo>
                  <a:pt x="6332510" y="1819048"/>
                  <a:pt x="6339690" y="1816603"/>
                  <a:pt x="6349194" y="1817654"/>
                </a:cubicBezTo>
                <a:close/>
                <a:moveTo>
                  <a:pt x="6186202" y="1813886"/>
                </a:moveTo>
                <a:cubicBezTo>
                  <a:pt x="6186202" y="1813886"/>
                  <a:pt x="6186773" y="1815074"/>
                  <a:pt x="6185109" y="1817963"/>
                </a:cubicBezTo>
                <a:cubicBezTo>
                  <a:pt x="6184537" y="1816776"/>
                  <a:pt x="6182982" y="1817048"/>
                  <a:pt x="6182982" y="1817048"/>
                </a:cubicBezTo>
                <a:cubicBezTo>
                  <a:pt x="6182982" y="1817048"/>
                  <a:pt x="6182982" y="1817048"/>
                  <a:pt x="6183553" y="1818236"/>
                </a:cubicBezTo>
                <a:cubicBezTo>
                  <a:pt x="6182503" y="1817724"/>
                  <a:pt x="6182371" y="1817115"/>
                  <a:pt x="6182209" y="1816610"/>
                </a:cubicBezTo>
                <a:cubicBezTo>
                  <a:pt x="6182047" y="1816108"/>
                  <a:pt x="6182410" y="1815860"/>
                  <a:pt x="6182410" y="1815860"/>
                </a:cubicBezTo>
                <a:cubicBezTo>
                  <a:pt x="6183118" y="1814325"/>
                  <a:pt x="6183826" y="1812789"/>
                  <a:pt x="6186202" y="1813886"/>
                </a:cubicBezTo>
                <a:close/>
                <a:moveTo>
                  <a:pt x="6316177" y="1812487"/>
                </a:moveTo>
                <a:cubicBezTo>
                  <a:pt x="6316576" y="1814319"/>
                  <a:pt x="6314675" y="1815880"/>
                  <a:pt x="6315074" y="1817712"/>
                </a:cubicBezTo>
                <a:cubicBezTo>
                  <a:pt x="6313557" y="1816730"/>
                  <a:pt x="6311505" y="1816641"/>
                  <a:pt x="6309989" y="1815659"/>
                </a:cubicBezTo>
                <a:cubicBezTo>
                  <a:pt x="6309191" y="1811996"/>
                  <a:pt x="6314661" y="1811506"/>
                  <a:pt x="6316177" y="1812487"/>
                </a:cubicBezTo>
                <a:close/>
                <a:moveTo>
                  <a:pt x="6193950" y="1807106"/>
                </a:moveTo>
                <a:cubicBezTo>
                  <a:pt x="6193813" y="1809830"/>
                  <a:pt x="6189637" y="1814346"/>
                  <a:pt x="6185982" y="1813597"/>
                </a:cubicBezTo>
                <a:cubicBezTo>
                  <a:pt x="6186090" y="1810981"/>
                  <a:pt x="6187075" y="1809520"/>
                  <a:pt x="6187754" y="1808092"/>
                </a:cubicBezTo>
                <a:cubicBezTo>
                  <a:pt x="6187891" y="1805368"/>
                  <a:pt x="6189447" y="1805095"/>
                  <a:pt x="6193950" y="1807106"/>
                </a:cubicBezTo>
                <a:close/>
                <a:moveTo>
                  <a:pt x="6322560" y="1779812"/>
                </a:moveTo>
                <a:cubicBezTo>
                  <a:pt x="6325288" y="1781808"/>
                  <a:pt x="6326527" y="1782715"/>
                  <a:pt x="6328166" y="1785454"/>
                </a:cubicBezTo>
                <a:cubicBezTo>
                  <a:pt x="6330203" y="1798880"/>
                  <a:pt x="6321316" y="1799949"/>
                  <a:pt x="6321744" y="1801674"/>
                </a:cubicBezTo>
                <a:cubicBezTo>
                  <a:pt x="6319997" y="1801550"/>
                  <a:pt x="6318586" y="1801287"/>
                  <a:pt x="6317536" y="1800776"/>
                </a:cubicBezTo>
                <a:cubicBezTo>
                  <a:pt x="6314083" y="1799276"/>
                  <a:pt x="6313112" y="1796256"/>
                  <a:pt x="6310378" y="1792073"/>
                </a:cubicBezTo>
                <a:cubicBezTo>
                  <a:pt x="6312707" y="1792237"/>
                  <a:pt x="6311452" y="1786955"/>
                  <a:pt x="6311053" y="1785124"/>
                </a:cubicBezTo>
                <a:cubicBezTo>
                  <a:pt x="6315710" y="1785451"/>
                  <a:pt x="6315574" y="1779320"/>
                  <a:pt x="6322560" y="1779812"/>
                </a:cubicBezTo>
                <a:close/>
                <a:moveTo>
                  <a:pt x="6474090" y="1775448"/>
                </a:moveTo>
                <a:cubicBezTo>
                  <a:pt x="6492334" y="1788157"/>
                  <a:pt x="6469695" y="1788531"/>
                  <a:pt x="6460233" y="1791746"/>
                </a:cubicBezTo>
                <a:cubicBezTo>
                  <a:pt x="6454253" y="1787498"/>
                  <a:pt x="6452909" y="1785873"/>
                  <a:pt x="6450548" y="1780295"/>
                </a:cubicBezTo>
                <a:cubicBezTo>
                  <a:pt x="6456729" y="1774937"/>
                  <a:pt x="6465271" y="1775156"/>
                  <a:pt x="6474090" y="1775448"/>
                </a:cubicBezTo>
                <a:close/>
                <a:moveTo>
                  <a:pt x="6171649" y="1768586"/>
                </a:moveTo>
                <a:cubicBezTo>
                  <a:pt x="6171649" y="1768586"/>
                  <a:pt x="6171620" y="1768693"/>
                  <a:pt x="6173747" y="1769607"/>
                </a:cubicBezTo>
                <a:cubicBezTo>
                  <a:pt x="6169413" y="1770287"/>
                  <a:pt x="6163829" y="1771206"/>
                  <a:pt x="6160175" y="1770456"/>
                </a:cubicBezTo>
                <a:cubicBezTo>
                  <a:pt x="6162409" y="1768755"/>
                  <a:pt x="6167422" y="1766649"/>
                  <a:pt x="6171649" y="1768586"/>
                </a:cubicBezTo>
                <a:close/>
                <a:moveTo>
                  <a:pt x="6196524" y="1768581"/>
                </a:moveTo>
                <a:cubicBezTo>
                  <a:pt x="6201804" y="1768386"/>
                  <a:pt x="6207421" y="1768453"/>
                  <a:pt x="6210312" y="1769285"/>
                </a:cubicBezTo>
                <a:cubicBezTo>
                  <a:pt x="6202294" y="1769322"/>
                  <a:pt x="6192642" y="1772140"/>
                  <a:pt x="6184762" y="1769454"/>
                </a:cubicBezTo>
                <a:cubicBezTo>
                  <a:pt x="6186303" y="1769236"/>
                  <a:pt x="6191245" y="1768776"/>
                  <a:pt x="6196524" y="1768581"/>
                </a:cubicBezTo>
                <a:close/>
                <a:moveTo>
                  <a:pt x="6211487" y="1768220"/>
                </a:moveTo>
                <a:cubicBezTo>
                  <a:pt x="6213643" y="1769028"/>
                  <a:pt x="6213042" y="1767947"/>
                  <a:pt x="6214243" y="1770109"/>
                </a:cubicBezTo>
                <a:cubicBezTo>
                  <a:pt x="6212086" y="1769301"/>
                  <a:pt x="6212086" y="1769301"/>
                  <a:pt x="6210531" y="1769574"/>
                </a:cubicBezTo>
                <a:cubicBezTo>
                  <a:pt x="6210531" y="1769574"/>
                  <a:pt x="6211487" y="1768220"/>
                  <a:pt x="6211487" y="1768220"/>
                </a:cubicBezTo>
                <a:close/>
                <a:moveTo>
                  <a:pt x="6221089" y="1767803"/>
                </a:moveTo>
                <a:cubicBezTo>
                  <a:pt x="6221089" y="1767803"/>
                  <a:pt x="6221937" y="1769066"/>
                  <a:pt x="6221937" y="1769066"/>
                </a:cubicBezTo>
                <a:cubicBezTo>
                  <a:pt x="6221020" y="1769165"/>
                  <a:pt x="6220133" y="1769157"/>
                  <a:pt x="6219522" y="1769223"/>
                </a:cubicBezTo>
                <a:cubicBezTo>
                  <a:pt x="6218940" y="1769182"/>
                  <a:pt x="6218415" y="1768926"/>
                  <a:pt x="6217976" y="1768349"/>
                </a:cubicBezTo>
                <a:cubicBezTo>
                  <a:pt x="6217405" y="1767161"/>
                  <a:pt x="6218932" y="1766995"/>
                  <a:pt x="6221089" y="1767803"/>
                </a:cubicBezTo>
                <a:close/>
                <a:moveTo>
                  <a:pt x="6228448" y="1766900"/>
                </a:moveTo>
                <a:cubicBezTo>
                  <a:pt x="6230576" y="1767815"/>
                  <a:pt x="6230547" y="1767922"/>
                  <a:pt x="6231966" y="1770373"/>
                </a:cubicBezTo>
                <a:cubicBezTo>
                  <a:pt x="6229361" y="1770135"/>
                  <a:pt x="6227948" y="1769871"/>
                  <a:pt x="6226842" y="1769575"/>
                </a:cubicBezTo>
                <a:cubicBezTo>
                  <a:pt x="6225735" y="1769278"/>
                  <a:pt x="6224409" y="1768693"/>
                  <a:pt x="6222282" y="1767778"/>
                </a:cubicBezTo>
                <a:cubicBezTo>
                  <a:pt x="6223837" y="1767505"/>
                  <a:pt x="6226073" y="1765803"/>
                  <a:pt x="6228448" y="1766900"/>
                </a:cubicBezTo>
                <a:close/>
                <a:moveTo>
                  <a:pt x="6140744" y="1742249"/>
                </a:moveTo>
                <a:cubicBezTo>
                  <a:pt x="6154762" y="1744166"/>
                  <a:pt x="6167760" y="1763174"/>
                  <a:pt x="6156365" y="1771390"/>
                </a:cubicBezTo>
                <a:cubicBezTo>
                  <a:pt x="6152785" y="1771467"/>
                  <a:pt x="6149188" y="1770503"/>
                  <a:pt x="6146070" y="1768862"/>
                </a:cubicBezTo>
                <a:cubicBezTo>
                  <a:pt x="6136378" y="1764080"/>
                  <a:pt x="6128791" y="1753652"/>
                  <a:pt x="6127577" y="1747117"/>
                </a:cubicBezTo>
                <a:cubicBezTo>
                  <a:pt x="6131390" y="1742848"/>
                  <a:pt x="6136173" y="1741599"/>
                  <a:pt x="6140744" y="1742249"/>
                </a:cubicBezTo>
                <a:close/>
                <a:moveTo>
                  <a:pt x="6326852" y="1739446"/>
                </a:moveTo>
                <a:cubicBezTo>
                  <a:pt x="6334290" y="1744889"/>
                  <a:pt x="6334811" y="1748479"/>
                  <a:pt x="6332392" y="1751971"/>
                </a:cubicBezTo>
                <a:cubicBezTo>
                  <a:pt x="6329511" y="1751659"/>
                  <a:pt x="6327354" y="1750851"/>
                  <a:pt x="6325284" y="1749722"/>
                </a:cubicBezTo>
                <a:cubicBezTo>
                  <a:pt x="6319628" y="1746480"/>
                  <a:pt x="6318823" y="1740631"/>
                  <a:pt x="6326852" y="1739446"/>
                </a:cubicBezTo>
                <a:close/>
                <a:moveTo>
                  <a:pt x="6547453" y="1735190"/>
                </a:moveTo>
                <a:cubicBezTo>
                  <a:pt x="6549074" y="1736890"/>
                  <a:pt x="6552049" y="1739067"/>
                  <a:pt x="6553106" y="1741765"/>
                </a:cubicBezTo>
                <a:cubicBezTo>
                  <a:pt x="6550504" y="1747048"/>
                  <a:pt x="6544949" y="1747860"/>
                  <a:pt x="6538364" y="1745866"/>
                </a:cubicBezTo>
                <a:cubicBezTo>
                  <a:pt x="6532713" y="1739291"/>
                  <a:pt x="6539209" y="1732751"/>
                  <a:pt x="6547453" y="1735190"/>
                </a:cubicBezTo>
                <a:close/>
                <a:moveTo>
                  <a:pt x="6297108" y="1734236"/>
                </a:moveTo>
                <a:cubicBezTo>
                  <a:pt x="6304014" y="1737237"/>
                  <a:pt x="6314461" y="1750271"/>
                  <a:pt x="6306465" y="1756870"/>
                </a:cubicBezTo>
                <a:cubicBezTo>
                  <a:pt x="6292119" y="1748425"/>
                  <a:pt x="6295487" y="1741392"/>
                  <a:pt x="6297108" y="1734236"/>
                </a:cubicBezTo>
                <a:close/>
                <a:moveTo>
                  <a:pt x="6421708" y="1726337"/>
                </a:moveTo>
                <a:cubicBezTo>
                  <a:pt x="6433271" y="1729666"/>
                  <a:pt x="6450398" y="1743225"/>
                  <a:pt x="6440893" y="1751029"/>
                </a:cubicBezTo>
                <a:cubicBezTo>
                  <a:pt x="6434669" y="1743266"/>
                  <a:pt x="6425009" y="1735042"/>
                  <a:pt x="6421708" y="1726337"/>
                </a:cubicBezTo>
                <a:close/>
                <a:moveTo>
                  <a:pt x="475513" y="1712952"/>
                </a:moveTo>
                <a:cubicBezTo>
                  <a:pt x="479436" y="1711588"/>
                  <a:pt x="483628" y="1711447"/>
                  <a:pt x="487634" y="1713094"/>
                </a:cubicBezTo>
                <a:lnTo>
                  <a:pt x="482150" y="1718066"/>
                </a:lnTo>
                <a:lnTo>
                  <a:pt x="472466" y="1715471"/>
                </a:lnTo>
                <a:close/>
                <a:moveTo>
                  <a:pt x="6473760" y="1710269"/>
                </a:moveTo>
                <a:cubicBezTo>
                  <a:pt x="6483611" y="1710033"/>
                  <a:pt x="6496310" y="1722407"/>
                  <a:pt x="6485633" y="1727941"/>
                </a:cubicBezTo>
                <a:cubicBezTo>
                  <a:pt x="6483887" y="1727818"/>
                  <a:pt x="6482256" y="1727266"/>
                  <a:pt x="6480128" y="1726350"/>
                </a:cubicBezTo>
                <a:cubicBezTo>
                  <a:pt x="6474051" y="1723573"/>
                  <a:pt x="6467194" y="1718171"/>
                  <a:pt x="6465585" y="1715324"/>
                </a:cubicBezTo>
                <a:cubicBezTo>
                  <a:pt x="6467145" y="1711717"/>
                  <a:pt x="6470210" y="1710238"/>
                  <a:pt x="6473760" y="1710269"/>
                </a:cubicBezTo>
                <a:close/>
                <a:moveTo>
                  <a:pt x="6279884" y="1704436"/>
                </a:moveTo>
                <a:cubicBezTo>
                  <a:pt x="6285317" y="1710722"/>
                  <a:pt x="6278590" y="1718120"/>
                  <a:pt x="6271270" y="1717768"/>
                </a:cubicBezTo>
                <a:cubicBezTo>
                  <a:pt x="6269829" y="1717612"/>
                  <a:pt x="6268693" y="1717422"/>
                  <a:pt x="6267339" y="1716944"/>
                </a:cubicBezTo>
                <a:cubicBezTo>
                  <a:pt x="6266289" y="1716433"/>
                  <a:pt x="6265050" y="1715527"/>
                  <a:pt x="6263867" y="1714404"/>
                </a:cubicBezTo>
                <a:cubicBezTo>
                  <a:pt x="6262110" y="1706574"/>
                  <a:pt x="6272330" y="1708277"/>
                  <a:pt x="6279884" y="1704436"/>
                </a:cubicBezTo>
                <a:close/>
                <a:moveTo>
                  <a:pt x="6192467" y="1687568"/>
                </a:moveTo>
                <a:cubicBezTo>
                  <a:pt x="6195558" y="1689316"/>
                  <a:pt x="6199661" y="1689496"/>
                  <a:pt x="6201875" y="1690089"/>
                </a:cubicBezTo>
                <a:lnTo>
                  <a:pt x="6202978" y="1693719"/>
                </a:lnTo>
                <a:lnTo>
                  <a:pt x="6206934" y="1697769"/>
                </a:lnTo>
                <a:cubicBezTo>
                  <a:pt x="6206608" y="1700097"/>
                  <a:pt x="6204764" y="1701443"/>
                  <a:pt x="6202788" y="1702178"/>
                </a:cubicBezTo>
                <a:lnTo>
                  <a:pt x="6198903" y="1702288"/>
                </a:lnTo>
                <a:lnTo>
                  <a:pt x="6198928" y="1705514"/>
                </a:lnTo>
                <a:cubicBezTo>
                  <a:pt x="6198382" y="1707552"/>
                  <a:pt x="6197807" y="1709699"/>
                  <a:pt x="6198310" y="1712249"/>
                </a:cubicBezTo>
                <a:cubicBezTo>
                  <a:pt x="6194397" y="1712465"/>
                  <a:pt x="6191734" y="1712442"/>
                  <a:pt x="6189854" y="1711708"/>
                </a:cubicBezTo>
                <a:cubicBezTo>
                  <a:pt x="6187699" y="1710900"/>
                  <a:pt x="6185772" y="1709235"/>
                  <a:pt x="6183361" y="1706058"/>
                </a:cubicBezTo>
                <a:cubicBezTo>
                  <a:pt x="6183361" y="1706058"/>
                  <a:pt x="6182933" y="1704333"/>
                  <a:pt x="6182933" y="1704333"/>
                </a:cubicBezTo>
                <a:lnTo>
                  <a:pt x="6182865" y="1696840"/>
                </a:lnTo>
                <a:lnTo>
                  <a:pt x="6179670" y="1694374"/>
                </a:lnTo>
                <a:cubicBezTo>
                  <a:pt x="6180285" y="1690973"/>
                  <a:pt x="6183990" y="1689321"/>
                  <a:pt x="6188237" y="1688965"/>
                </a:cubicBezTo>
                <a:lnTo>
                  <a:pt x="6191558" y="1689854"/>
                </a:lnTo>
                <a:close/>
                <a:moveTo>
                  <a:pt x="6214772" y="1687334"/>
                </a:moveTo>
                <a:cubicBezTo>
                  <a:pt x="6217694" y="1686393"/>
                  <a:pt x="6233786" y="1694959"/>
                  <a:pt x="6227903" y="1698098"/>
                </a:cubicBezTo>
                <a:cubicBezTo>
                  <a:pt x="6226566" y="1698660"/>
                  <a:pt x="6224878" y="1698322"/>
                  <a:pt x="6223304" y="1697556"/>
                </a:cubicBezTo>
                <a:cubicBezTo>
                  <a:pt x="6218552" y="1695362"/>
                  <a:pt x="6214007" y="1689085"/>
                  <a:pt x="6214772" y="1687334"/>
                </a:cubicBezTo>
                <a:close/>
                <a:moveTo>
                  <a:pt x="6199788" y="1670210"/>
                </a:moveTo>
                <a:cubicBezTo>
                  <a:pt x="6206688" y="1671023"/>
                  <a:pt x="6211287" y="1671565"/>
                  <a:pt x="6215075" y="1672926"/>
                </a:cubicBezTo>
                <a:cubicBezTo>
                  <a:pt x="6216559" y="1677347"/>
                  <a:pt x="6212185" y="1679281"/>
                  <a:pt x="6207585" y="1678738"/>
                </a:cubicBezTo>
                <a:cubicBezTo>
                  <a:pt x="6202709" y="1678122"/>
                  <a:pt x="6198131" y="1675286"/>
                  <a:pt x="6199788" y="1670210"/>
                </a:cubicBezTo>
                <a:close/>
                <a:moveTo>
                  <a:pt x="560218" y="1661358"/>
                </a:moveTo>
                <a:cubicBezTo>
                  <a:pt x="567452" y="1662031"/>
                  <a:pt x="562754" y="1671812"/>
                  <a:pt x="558198" y="1675536"/>
                </a:cubicBezTo>
                <a:cubicBezTo>
                  <a:pt x="549016" y="1675491"/>
                  <a:pt x="544460" y="1679216"/>
                  <a:pt x="539902" y="1682940"/>
                </a:cubicBezTo>
                <a:cubicBezTo>
                  <a:pt x="535098" y="1686482"/>
                  <a:pt x="528594" y="1690834"/>
                  <a:pt x="518779" y="1693150"/>
                </a:cubicBezTo>
                <a:cubicBezTo>
                  <a:pt x="514252" y="1696766"/>
                  <a:pt x="516939" y="1700017"/>
                  <a:pt x="514360" y="1703005"/>
                </a:cubicBezTo>
                <a:cubicBezTo>
                  <a:pt x="508901" y="1702349"/>
                  <a:pt x="504765" y="1705609"/>
                  <a:pt x="499756" y="1704382"/>
                </a:cubicBezTo>
                <a:cubicBezTo>
                  <a:pt x="498094" y="1703937"/>
                  <a:pt x="496551" y="1703064"/>
                  <a:pt x="494624" y="1701397"/>
                </a:cubicBezTo>
                <a:cubicBezTo>
                  <a:pt x="501942" y="1687373"/>
                  <a:pt x="508298" y="1678036"/>
                  <a:pt x="529981" y="1679017"/>
                </a:cubicBezTo>
                <a:cubicBezTo>
                  <a:pt x="531217" y="1674402"/>
                  <a:pt x="536062" y="1669605"/>
                  <a:pt x="540618" y="1665881"/>
                </a:cubicBezTo>
                <a:cubicBezTo>
                  <a:pt x="545739" y="1661158"/>
                  <a:pt x="553300" y="1659504"/>
                  <a:pt x="560218" y="1661358"/>
                </a:cubicBezTo>
                <a:close/>
                <a:moveTo>
                  <a:pt x="6439468" y="1648985"/>
                </a:moveTo>
                <a:cubicBezTo>
                  <a:pt x="6445567" y="1649469"/>
                  <a:pt x="6452283" y="1652073"/>
                  <a:pt x="6455685" y="1655976"/>
                </a:cubicBezTo>
                <a:cubicBezTo>
                  <a:pt x="6449268" y="1660006"/>
                  <a:pt x="6443367" y="1662106"/>
                  <a:pt x="6436097" y="1659352"/>
                </a:cubicBezTo>
                <a:cubicBezTo>
                  <a:pt x="6433664" y="1658470"/>
                  <a:pt x="6431070" y="1657084"/>
                  <a:pt x="6428095" y="1654907"/>
                </a:cubicBezTo>
                <a:cubicBezTo>
                  <a:pt x="6427889" y="1650138"/>
                  <a:pt x="6433370" y="1648501"/>
                  <a:pt x="6439468" y="1648985"/>
                </a:cubicBezTo>
                <a:close/>
                <a:moveTo>
                  <a:pt x="6278552" y="1648534"/>
                </a:moveTo>
                <a:cubicBezTo>
                  <a:pt x="6287673" y="1652128"/>
                  <a:pt x="6282638" y="1656529"/>
                  <a:pt x="6277513" y="1655731"/>
                </a:cubicBezTo>
                <a:cubicBezTo>
                  <a:pt x="6276072" y="1655574"/>
                  <a:pt x="6274222" y="1654733"/>
                  <a:pt x="6273183" y="1653075"/>
                </a:cubicBezTo>
                <a:cubicBezTo>
                  <a:pt x="6274663" y="1651976"/>
                  <a:pt x="6275602" y="1649583"/>
                  <a:pt x="6278552" y="1648534"/>
                </a:cubicBezTo>
                <a:close/>
                <a:moveTo>
                  <a:pt x="575839" y="1637367"/>
                </a:moveTo>
                <a:cubicBezTo>
                  <a:pt x="577815" y="1636633"/>
                  <a:pt x="577499" y="1637812"/>
                  <a:pt x="577499" y="1637812"/>
                </a:cubicBezTo>
                <a:cubicBezTo>
                  <a:pt x="579148" y="1639405"/>
                  <a:pt x="578873" y="1639331"/>
                  <a:pt x="578873" y="1639331"/>
                </a:cubicBezTo>
                <a:cubicBezTo>
                  <a:pt x="584733" y="1638487"/>
                  <a:pt x="599298" y="1647219"/>
                  <a:pt x="594465" y="1650869"/>
                </a:cubicBezTo>
                <a:cubicBezTo>
                  <a:pt x="592804" y="1650424"/>
                  <a:pt x="591461" y="1648799"/>
                  <a:pt x="589207" y="1649460"/>
                </a:cubicBezTo>
                <a:cubicBezTo>
                  <a:pt x="589207" y="1649460"/>
                  <a:pt x="588948" y="1650426"/>
                  <a:pt x="588632" y="1651606"/>
                </a:cubicBezTo>
                <a:cubicBezTo>
                  <a:pt x="588172" y="1653323"/>
                  <a:pt x="588301" y="1657268"/>
                  <a:pt x="585610" y="1657351"/>
                </a:cubicBezTo>
                <a:cubicBezTo>
                  <a:pt x="584722" y="1657343"/>
                  <a:pt x="583617" y="1657047"/>
                  <a:pt x="581851" y="1655884"/>
                </a:cubicBezTo>
                <a:cubicBezTo>
                  <a:pt x="584392" y="1654150"/>
                  <a:pt x="586369" y="1653415"/>
                  <a:pt x="586972" y="1651162"/>
                </a:cubicBezTo>
                <a:cubicBezTo>
                  <a:pt x="587290" y="1649981"/>
                  <a:pt x="587261" y="1650088"/>
                  <a:pt x="587261" y="1650088"/>
                </a:cubicBezTo>
                <a:cubicBezTo>
                  <a:pt x="582319" y="1647499"/>
                  <a:pt x="575825" y="1650704"/>
                  <a:pt x="571161" y="1648189"/>
                </a:cubicBezTo>
                <a:cubicBezTo>
                  <a:pt x="575401" y="1645645"/>
                  <a:pt x="574344" y="1642947"/>
                  <a:pt x="576609" y="1641139"/>
                </a:cubicBezTo>
                <a:cubicBezTo>
                  <a:pt x="576609" y="1641139"/>
                  <a:pt x="576609" y="1641139"/>
                  <a:pt x="578268" y="1641584"/>
                </a:cubicBezTo>
                <a:cubicBezTo>
                  <a:pt x="576896" y="1640066"/>
                  <a:pt x="576896" y="1640066"/>
                  <a:pt x="575839" y="1637367"/>
                </a:cubicBezTo>
                <a:close/>
                <a:moveTo>
                  <a:pt x="6329236" y="1636468"/>
                </a:moveTo>
                <a:cubicBezTo>
                  <a:pt x="6331708" y="1636096"/>
                  <a:pt x="6334618" y="1636301"/>
                  <a:pt x="6337577" y="1637439"/>
                </a:cubicBezTo>
                <a:cubicBezTo>
                  <a:pt x="6341335" y="1638906"/>
                  <a:pt x="6344692" y="1641875"/>
                  <a:pt x="6346891" y="1646949"/>
                </a:cubicBezTo>
                <a:cubicBezTo>
                  <a:pt x="6343020" y="1651432"/>
                  <a:pt x="6338086" y="1651030"/>
                  <a:pt x="6333655" y="1653179"/>
                </a:cubicBezTo>
                <a:cubicBezTo>
                  <a:pt x="6318613" y="1645123"/>
                  <a:pt x="6321761" y="1637800"/>
                  <a:pt x="6329236" y="1636468"/>
                </a:cubicBezTo>
                <a:close/>
                <a:moveTo>
                  <a:pt x="6301084" y="1633066"/>
                </a:moveTo>
                <a:cubicBezTo>
                  <a:pt x="6303772" y="1636316"/>
                  <a:pt x="6306747" y="1638493"/>
                  <a:pt x="6309435" y="1641743"/>
                </a:cubicBezTo>
                <a:cubicBezTo>
                  <a:pt x="6309809" y="1649203"/>
                  <a:pt x="6303470" y="1650724"/>
                  <a:pt x="6297469" y="1648772"/>
                </a:cubicBezTo>
                <a:cubicBezTo>
                  <a:pt x="6291467" y="1646819"/>
                  <a:pt x="6285527" y="1641317"/>
                  <a:pt x="6286946" y="1634912"/>
                </a:cubicBezTo>
                <a:cubicBezTo>
                  <a:pt x="6292513" y="1632954"/>
                  <a:pt x="6297505" y="1633141"/>
                  <a:pt x="6301084" y="1633066"/>
                </a:cubicBezTo>
                <a:close/>
                <a:moveTo>
                  <a:pt x="6217677" y="1630046"/>
                </a:moveTo>
                <a:cubicBezTo>
                  <a:pt x="6219302" y="1630099"/>
                  <a:pt x="6221704" y="1631030"/>
                  <a:pt x="6225073" y="1633398"/>
                </a:cubicBezTo>
                <a:cubicBezTo>
                  <a:pt x="6222845" y="1637287"/>
                  <a:pt x="6220753" y="1638452"/>
                  <a:pt x="6218759" y="1638147"/>
                </a:cubicBezTo>
                <a:cubicBezTo>
                  <a:pt x="6214893" y="1637629"/>
                  <a:pt x="6212798" y="1629887"/>
                  <a:pt x="6217677" y="1630046"/>
                </a:cubicBezTo>
                <a:close/>
                <a:moveTo>
                  <a:pt x="1815322" y="1608151"/>
                </a:moveTo>
                <a:lnTo>
                  <a:pt x="1811157" y="1611520"/>
                </a:lnTo>
                <a:cubicBezTo>
                  <a:pt x="1812501" y="1613144"/>
                  <a:pt x="1812529" y="1613037"/>
                  <a:pt x="1814467" y="1613556"/>
                </a:cubicBezTo>
                <a:cubicBezTo>
                  <a:pt x="1813863" y="1615811"/>
                  <a:pt x="1811580" y="1616578"/>
                  <a:pt x="1809633" y="1617207"/>
                </a:cubicBezTo>
                <a:lnTo>
                  <a:pt x="1814261" y="1617643"/>
                </a:lnTo>
                <a:lnTo>
                  <a:pt x="1814348" y="1617320"/>
                </a:lnTo>
                <a:lnTo>
                  <a:pt x="1813881" y="1616850"/>
                </a:lnTo>
                <a:lnTo>
                  <a:pt x="1814301" y="1616388"/>
                </a:lnTo>
                <a:close/>
                <a:moveTo>
                  <a:pt x="1800628" y="1595473"/>
                </a:moveTo>
                <a:lnTo>
                  <a:pt x="1802335" y="1596851"/>
                </a:lnTo>
                <a:cubicBezTo>
                  <a:pt x="1802335" y="1596851"/>
                  <a:pt x="1802306" y="1596959"/>
                  <a:pt x="1802019" y="1598032"/>
                </a:cubicBezTo>
                <a:lnTo>
                  <a:pt x="1815466" y="1607615"/>
                </a:lnTo>
                <a:lnTo>
                  <a:pt x="1815610" y="1607077"/>
                </a:lnTo>
                <a:lnTo>
                  <a:pt x="1819818" y="1599120"/>
                </a:lnTo>
                <a:lnTo>
                  <a:pt x="1818216" y="1598461"/>
                </a:lnTo>
                <a:cubicBezTo>
                  <a:pt x="1815085" y="1597967"/>
                  <a:pt x="1810924" y="1598002"/>
                  <a:pt x="1806936" y="1597393"/>
                </a:cubicBezTo>
                <a:close/>
                <a:moveTo>
                  <a:pt x="697946" y="1579004"/>
                </a:moveTo>
                <a:cubicBezTo>
                  <a:pt x="704903" y="1579605"/>
                  <a:pt x="709499" y="1583481"/>
                  <a:pt x="708579" y="1586914"/>
                </a:cubicBezTo>
                <a:cubicBezTo>
                  <a:pt x="703796" y="1588162"/>
                  <a:pt x="699520" y="1588628"/>
                  <a:pt x="695779" y="1588200"/>
                </a:cubicBezTo>
                <a:cubicBezTo>
                  <a:pt x="691733" y="1587805"/>
                  <a:pt x="688499" y="1586594"/>
                  <a:pt x="685494" y="1584524"/>
                </a:cubicBezTo>
                <a:cubicBezTo>
                  <a:pt x="686730" y="1579910"/>
                  <a:pt x="692372" y="1578777"/>
                  <a:pt x="697946" y="1579004"/>
                </a:cubicBezTo>
                <a:close/>
                <a:moveTo>
                  <a:pt x="1726885" y="1572954"/>
                </a:moveTo>
                <a:lnTo>
                  <a:pt x="1725024" y="1573261"/>
                </a:lnTo>
                <a:lnTo>
                  <a:pt x="1726015" y="1573986"/>
                </a:lnTo>
                <a:cubicBezTo>
                  <a:pt x="1726015" y="1573986"/>
                  <a:pt x="1728268" y="1573325"/>
                  <a:pt x="1728268" y="1573325"/>
                </a:cubicBezTo>
                <a:close/>
                <a:moveTo>
                  <a:pt x="1707322" y="1570702"/>
                </a:moveTo>
                <a:lnTo>
                  <a:pt x="1695714" y="1571963"/>
                </a:lnTo>
                <a:lnTo>
                  <a:pt x="1703185" y="1573965"/>
                </a:lnTo>
                <a:lnTo>
                  <a:pt x="1705449" y="1572156"/>
                </a:lnTo>
                <a:lnTo>
                  <a:pt x="1710030" y="1571659"/>
                </a:lnTo>
                <a:lnTo>
                  <a:pt x="1710117" y="1571336"/>
                </a:lnTo>
                <a:close/>
                <a:moveTo>
                  <a:pt x="6240155" y="1566182"/>
                </a:moveTo>
                <a:cubicBezTo>
                  <a:pt x="6243250" y="1564726"/>
                  <a:pt x="6246360" y="1564467"/>
                  <a:pt x="6251964" y="1567349"/>
                </a:cubicBezTo>
                <a:cubicBezTo>
                  <a:pt x="6252722" y="1572267"/>
                  <a:pt x="6243290" y="1575373"/>
                  <a:pt x="6235765" y="1579108"/>
                </a:cubicBezTo>
                <a:cubicBezTo>
                  <a:pt x="6232771" y="1575890"/>
                  <a:pt x="6231427" y="1574265"/>
                  <a:pt x="6228422" y="1572196"/>
                </a:cubicBezTo>
                <a:cubicBezTo>
                  <a:pt x="6233975" y="1570290"/>
                  <a:pt x="6237058" y="1567638"/>
                  <a:pt x="6240155" y="1566182"/>
                </a:cubicBezTo>
                <a:close/>
                <a:moveTo>
                  <a:pt x="1674844" y="1552454"/>
                </a:moveTo>
                <a:lnTo>
                  <a:pt x="1687179" y="1556221"/>
                </a:lnTo>
                <a:lnTo>
                  <a:pt x="1689731" y="1553340"/>
                </a:lnTo>
                <a:close/>
                <a:moveTo>
                  <a:pt x="1653703" y="1543915"/>
                </a:moveTo>
                <a:lnTo>
                  <a:pt x="1650950" y="1547547"/>
                </a:lnTo>
                <a:cubicBezTo>
                  <a:pt x="1648944" y="1548391"/>
                  <a:pt x="1646139" y="1548903"/>
                  <a:pt x="1643054" y="1549342"/>
                </a:cubicBezTo>
                <a:cubicBezTo>
                  <a:pt x="1644992" y="1549862"/>
                  <a:pt x="1646652" y="1550306"/>
                  <a:pt x="1648312" y="1550750"/>
                </a:cubicBezTo>
                <a:cubicBezTo>
                  <a:pt x="1655176" y="1549485"/>
                  <a:pt x="1662000" y="1549474"/>
                  <a:pt x="1668565" y="1550427"/>
                </a:cubicBezTo>
                <a:lnTo>
                  <a:pt x="1673489" y="1551976"/>
                </a:lnTo>
                <a:lnTo>
                  <a:pt x="1653922" y="1544203"/>
                </a:lnTo>
                <a:close/>
                <a:moveTo>
                  <a:pt x="1798214" y="1524791"/>
                </a:moveTo>
                <a:cubicBezTo>
                  <a:pt x="1798976" y="1526375"/>
                  <a:pt x="1800044" y="1527927"/>
                  <a:pt x="1801082" y="1529585"/>
                </a:cubicBezTo>
                <a:cubicBezTo>
                  <a:pt x="1791649" y="1532693"/>
                  <a:pt x="1789018" y="1538082"/>
                  <a:pt x="1781781" y="1540743"/>
                </a:cubicBezTo>
                <a:cubicBezTo>
                  <a:pt x="1781701" y="1534397"/>
                  <a:pt x="1782029" y="1523215"/>
                  <a:pt x="1798214" y="1524791"/>
                </a:cubicBezTo>
                <a:close/>
                <a:moveTo>
                  <a:pt x="1775072" y="1522615"/>
                </a:moveTo>
                <a:lnTo>
                  <a:pt x="1776573" y="1528077"/>
                </a:lnTo>
                <a:lnTo>
                  <a:pt x="1777023" y="1527508"/>
                </a:lnTo>
                <a:cubicBezTo>
                  <a:pt x="1786755" y="1539891"/>
                  <a:pt x="1778359" y="1553511"/>
                  <a:pt x="1771071" y="1558574"/>
                </a:cubicBezTo>
                <a:cubicBezTo>
                  <a:pt x="1766191" y="1552436"/>
                  <a:pt x="1765397" y="1545438"/>
                  <a:pt x="1766950" y="1539645"/>
                </a:cubicBezTo>
                <a:lnTo>
                  <a:pt x="1769523" y="1534468"/>
                </a:lnTo>
                <a:lnTo>
                  <a:pt x="1764000" y="1531838"/>
                </a:lnTo>
                <a:cubicBezTo>
                  <a:pt x="1760472" y="1529514"/>
                  <a:pt x="1757029" y="1526866"/>
                  <a:pt x="1754025" y="1524796"/>
                </a:cubicBezTo>
                <a:cubicBezTo>
                  <a:pt x="1760934" y="1524462"/>
                  <a:pt x="1766915" y="1528709"/>
                  <a:pt x="1775072" y="1522615"/>
                </a:cubicBezTo>
                <a:close/>
                <a:moveTo>
                  <a:pt x="5446898" y="1519526"/>
                </a:moveTo>
                <a:lnTo>
                  <a:pt x="5442141" y="1523779"/>
                </a:lnTo>
                <a:lnTo>
                  <a:pt x="5442790" y="1525588"/>
                </a:lnTo>
                <a:lnTo>
                  <a:pt x="5452912" y="1527138"/>
                </a:lnTo>
                <a:close/>
                <a:moveTo>
                  <a:pt x="6270313" y="1518789"/>
                </a:moveTo>
                <a:cubicBezTo>
                  <a:pt x="6277221" y="1521790"/>
                  <a:pt x="6279736" y="1525684"/>
                  <a:pt x="6275571" y="1529053"/>
                </a:cubicBezTo>
                <a:cubicBezTo>
                  <a:pt x="6271852" y="1526332"/>
                  <a:pt x="6268653" y="1527199"/>
                  <a:pt x="6264934" y="1524478"/>
                </a:cubicBezTo>
                <a:cubicBezTo>
                  <a:pt x="6267619" y="1522207"/>
                  <a:pt x="6268834" y="1519888"/>
                  <a:pt x="6270313" y="1518789"/>
                </a:cubicBezTo>
                <a:close/>
                <a:moveTo>
                  <a:pt x="5417590" y="1518005"/>
                </a:moveTo>
                <a:lnTo>
                  <a:pt x="5417532" y="1518220"/>
                </a:lnTo>
                <a:cubicBezTo>
                  <a:pt x="5415469" y="1519277"/>
                  <a:pt x="5412634" y="1519898"/>
                  <a:pt x="5408997" y="1520188"/>
                </a:cubicBezTo>
                <a:cubicBezTo>
                  <a:pt x="5408922" y="1519363"/>
                  <a:pt x="5408426" y="1519001"/>
                  <a:pt x="5407319" y="1518704"/>
                </a:cubicBezTo>
                <a:lnTo>
                  <a:pt x="5406737" y="1518663"/>
                </a:lnTo>
                <a:lnTo>
                  <a:pt x="5408384" y="1520320"/>
                </a:lnTo>
                <a:lnTo>
                  <a:pt x="5420490" y="1522173"/>
                </a:lnTo>
                <a:close/>
                <a:moveTo>
                  <a:pt x="6204150" y="1513365"/>
                </a:moveTo>
                <a:cubicBezTo>
                  <a:pt x="6215322" y="1517050"/>
                  <a:pt x="6235895" y="1521067"/>
                  <a:pt x="6236204" y="1535409"/>
                </a:cubicBezTo>
                <a:cubicBezTo>
                  <a:pt x="6232890" y="1536707"/>
                  <a:pt x="6228423" y="1536775"/>
                  <a:pt x="6223824" y="1536232"/>
                </a:cubicBezTo>
                <a:cubicBezTo>
                  <a:pt x="6219529" y="1535657"/>
                  <a:pt x="6214578" y="1534215"/>
                  <a:pt x="6210629" y="1532352"/>
                </a:cubicBezTo>
                <a:cubicBezTo>
                  <a:pt x="6202424" y="1528659"/>
                  <a:pt x="6196542" y="1522942"/>
                  <a:pt x="6199420" y="1517734"/>
                </a:cubicBezTo>
                <a:cubicBezTo>
                  <a:pt x="6200128" y="1516198"/>
                  <a:pt x="6201695" y="1514778"/>
                  <a:pt x="6204150" y="1513365"/>
                </a:cubicBezTo>
                <a:close/>
                <a:moveTo>
                  <a:pt x="6016490" y="1513109"/>
                </a:moveTo>
                <a:cubicBezTo>
                  <a:pt x="6016785" y="1514223"/>
                  <a:pt x="6016795" y="1513074"/>
                  <a:pt x="6015304" y="1515321"/>
                </a:cubicBezTo>
                <a:cubicBezTo>
                  <a:pt x="6014283" y="1514702"/>
                  <a:pt x="6014064" y="1514413"/>
                  <a:pt x="6014427" y="1514166"/>
                </a:cubicBezTo>
                <a:cubicBezTo>
                  <a:pt x="6015095" y="1513885"/>
                  <a:pt x="6015764" y="1513603"/>
                  <a:pt x="6016490" y="1513109"/>
                </a:cubicBezTo>
                <a:close/>
                <a:moveTo>
                  <a:pt x="296636" y="1510575"/>
                </a:moveTo>
                <a:cubicBezTo>
                  <a:pt x="318758" y="1503277"/>
                  <a:pt x="343220" y="1530417"/>
                  <a:pt x="348702" y="1543156"/>
                </a:cubicBezTo>
                <a:cubicBezTo>
                  <a:pt x="344041" y="1546162"/>
                  <a:pt x="338936" y="1546405"/>
                  <a:pt x="333430" y="1544813"/>
                </a:cubicBezTo>
                <a:cubicBezTo>
                  <a:pt x="316885" y="1540152"/>
                  <a:pt x="298688" y="1519520"/>
                  <a:pt x="296636" y="1510575"/>
                </a:cubicBezTo>
                <a:close/>
                <a:moveTo>
                  <a:pt x="6030257" y="1509322"/>
                </a:moveTo>
                <a:cubicBezTo>
                  <a:pt x="6038504" y="1517281"/>
                  <a:pt x="6032872" y="1534978"/>
                  <a:pt x="6027116" y="1536540"/>
                </a:cubicBezTo>
                <a:cubicBezTo>
                  <a:pt x="6023141" y="1531451"/>
                  <a:pt x="6026228" y="1527678"/>
                  <a:pt x="6022542" y="1521514"/>
                </a:cubicBezTo>
                <a:cubicBezTo>
                  <a:pt x="6026972" y="1519367"/>
                  <a:pt x="6023907" y="1511991"/>
                  <a:pt x="6030257" y="1509322"/>
                </a:cubicBezTo>
                <a:close/>
                <a:moveTo>
                  <a:pt x="6171236" y="1508917"/>
                </a:moveTo>
                <a:cubicBezTo>
                  <a:pt x="6172400" y="1508999"/>
                  <a:pt x="6173478" y="1509403"/>
                  <a:pt x="6174135" y="1510269"/>
                </a:cubicBezTo>
                <a:cubicBezTo>
                  <a:pt x="6173848" y="1511342"/>
                  <a:pt x="6175451" y="1512001"/>
                  <a:pt x="6175135" y="1513181"/>
                </a:cubicBezTo>
                <a:cubicBezTo>
                  <a:pt x="6175886" y="1515913"/>
                  <a:pt x="6175569" y="1517093"/>
                  <a:pt x="6173651" y="1517614"/>
                </a:cubicBezTo>
                <a:cubicBezTo>
                  <a:pt x="6173335" y="1518795"/>
                  <a:pt x="6171732" y="1518134"/>
                  <a:pt x="6169784" y="1518763"/>
                </a:cubicBezTo>
                <a:cubicBezTo>
                  <a:pt x="6168152" y="1518210"/>
                  <a:pt x="6166837" y="1516478"/>
                  <a:pt x="6166837" y="1516478"/>
                </a:cubicBezTo>
                <a:cubicBezTo>
                  <a:pt x="6165799" y="1514820"/>
                  <a:pt x="6165799" y="1514820"/>
                  <a:pt x="6163879" y="1515341"/>
                </a:cubicBezTo>
                <a:cubicBezTo>
                  <a:pt x="6163879" y="1515341"/>
                  <a:pt x="6164196" y="1514160"/>
                  <a:pt x="6164196" y="1514160"/>
                </a:cubicBezTo>
                <a:cubicBezTo>
                  <a:pt x="6165551" y="1514638"/>
                  <a:pt x="6164196" y="1514160"/>
                  <a:pt x="6162881" y="1512428"/>
                </a:cubicBezTo>
                <a:cubicBezTo>
                  <a:pt x="6165116" y="1510726"/>
                  <a:pt x="6165403" y="1509655"/>
                  <a:pt x="6167351" y="1509026"/>
                </a:cubicBezTo>
                <a:cubicBezTo>
                  <a:pt x="6168297" y="1508819"/>
                  <a:pt x="6169795" y="1508761"/>
                  <a:pt x="6171236" y="1508917"/>
                </a:cubicBezTo>
                <a:close/>
                <a:moveTo>
                  <a:pt x="842032" y="1505026"/>
                </a:moveTo>
                <a:cubicBezTo>
                  <a:pt x="848068" y="1509060"/>
                  <a:pt x="854698" y="1511985"/>
                  <a:pt x="861627" y="1512693"/>
                </a:cubicBezTo>
                <a:cubicBezTo>
                  <a:pt x="861627" y="1512693"/>
                  <a:pt x="863316" y="1513029"/>
                  <a:pt x="863603" y="1511956"/>
                </a:cubicBezTo>
                <a:cubicBezTo>
                  <a:pt x="863180" y="1506898"/>
                  <a:pt x="875078" y="1510086"/>
                  <a:pt x="877162" y="1515589"/>
                </a:cubicBezTo>
                <a:cubicBezTo>
                  <a:pt x="873554" y="1515773"/>
                  <a:pt x="869601" y="1517243"/>
                  <a:pt x="868228" y="1515725"/>
                </a:cubicBezTo>
                <a:cubicBezTo>
                  <a:pt x="866291" y="1515207"/>
                  <a:pt x="864344" y="1515835"/>
                  <a:pt x="864344" y="1515835"/>
                </a:cubicBezTo>
                <a:cubicBezTo>
                  <a:pt x="864344" y="1515835"/>
                  <a:pt x="864621" y="1515909"/>
                  <a:pt x="862367" y="1516570"/>
                </a:cubicBezTo>
                <a:cubicBezTo>
                  <a:pt x="862367" y="1516570"/>
                  <a:pt x="860707" y="1516125"/>
                  <a:pt x="860707" y="1516125"/>
                </a:cubicBezTo>
                <a:cubicBezTo>
                  <a:pt x="856466" y="1518669"/>
                  <a:pt x="851634" y="1522319"/>
                  <a:pt x="847392" y="1524863"/>
                </a:cubicBezTo>
                <a:cubicBezTo>
                  <a:pt x="844298" y="1526449"/>
                  <a:pt x="841348" y="1527498"/>
                  <a:pt x="838628" y="1527690"/>
                </a:cubicBezTo>
                <a:cubicBezTo>
                  <a:pt x="837130" y="1527748"/>
                  <a:pt x="835660" y="1527699"/>
                  <a:pt x="834553" y="1527403"/>
                </a:cubicBezTo>
                <a:cubicBezTo>
                  <a:pt x="833198" y="1526924"/>
                  <a:pt x="832177" y="1526306"/>
                  <a:pt x="830938" y="1525399"/>
                </a:cubicBezTo>
                <a:cubicBezTo>
                  <a:pt x="835494" y="1521675"/>
                  <a:pt x="833410" y="1516171"/>
                  <a:pt x="828007" y="1509778"/>
                </a:cubicBezTo>
                <a:cubicBezTo>
                  <a:pt x="833906" y="1507679"/>
                  <a:pt x="841428" y="1507280"/>
                  <a:pt x="842032" y="1505026"/>
                </a:cubicBezTo>
                <a:close/>
                <a:moveTo>
                  <a:pt x="5392417" y="1504590"/>
                </a:moveTo>
                <a:lnTo>
                  <a:pt x="5396211" y="1508137"/>
                </a:lnTo>
                <a:lnTo>
                  <a:pt x="5398712" y="1507658"/>
                </a:lnTo>
                <a:cubicBezTo>
                  <a:pt x="5399601" y="1507665"/>
                  <a:pt x="5400402" y="1507995"/>
                  <a:pt x="5401059" y="1508861"/>
                </a:cubicBezTo>
                <a:lnTo>
                  <a:pt x="5398357" y="1510092"/>
                </a:lnTo>
                <a:lnTo>
                  <a:pt x="5399072" y="1510743"/>
                </a:lnTo>
                <a:lnTo>
                  <a:pt x="5401875" y="1513565"/>
                </a:lnTo>
                <a:lnTo>
                  <a:pt x="5400455" y="1511114"/>
                </a:lnTo>
                <a:lnTo>
                  <a:pt x="5401670" y="1508794"/>
                </a:lnTo>
                <a:lnTo>
                  <a:pt x="5401117" y="1508646"/>
                </a:lnTo>
                <a:lnTo>
                  <a:pt x="5401756" y="1508474"/>
                </a:lnTo>
                <a:lnTo>
                  <a:pt x="5402044" y="1507401"/>
                </a:lnTo>
                <a:lnTo>
                  <a:pt x="5400239" y="1507492"/>
                </a:lnTo>
                <a:close/>
                <a:moveTo>
                  <a:pt x="6113843" y="1502854"/>
                </a:moveTo>
                <a:cubicBezTo>
                  <a:pt x="6119568" y="1504733"/>
                  <a:pt x="6127128" y="1511934"/>
                  <a:pt x="6122963" y="1515302"/>
                </a:cubicBezTo>
                <a:cubicBezTo>
                  <a:pt x="6121932" y="1515831"/>
                  <a:pt x="6119881" y="1515741"/>
                  <a:pt x="6117972" y="1515115"/>
                </a:cubicBezTo>
                <a:cubicBezTo>
                  <a:pt x="6111360" y="1513229"/>
                  <a:pt x="6102900" y="1507167"/>
                  <a:pt x="6109319" y="1503136"/>
                </a:cubicBezTo>
                <a:cubicBezTo>
                  <a:pt x="6110436" y="1502286"/>
                  <a:pt x="6111935" y="1502228"/>
                  <a:pt x="6113843" y="1502854"/>
                </a:cubicBezTo>
                <a:close/>
                <a:moveTo>
                  <a:pt x="798723" y="1502851"/>
                </a:moveTo>
                <a:cubicBezTo>
                  <a:pt x="809523" y="1504596"/>
                  <a:pt x="811079" y="1513177"/>
                  <a:pt x="811263" y="1520242"/>
                </a:cubicBezTo>
                <a:cubicBezTo>
                  <a:pt x="807339" y="1521605"/>
                  <a:pt x="804007" y="1521863"/>
                  <a:pt x="801460" y="1521410"/>
                </a:cubicBezTo>
                <a:cubicBezTo>
                  <a:pt x="792929" y="1520045"/>
                  <a:pt x="788595" y="1511868"/>
                  <a:pt x="784289" y="1503585"/>
                </a:cubicBezTo>
                <a:cubicBezTo>
                  <a:pt x="790543" y="1502384"/>
                  <a:pt x="795038" y="1502210"/>
                  <a:pt x="798723" y="1502851"/>
                </a:cubicBezTo>
                <a:close/>
                <a:moveTo>
                  <a:pt x="1504830" y="1501840"/>
                </a:moveTo>
                <a:cubicBezTo>
                  <a:pt x="1504830" y="1501840"/>
                  <a:pt x="1504830" y="1501840"/>
                  <a:pt x="1507434" y="1502078"/>
                </a:cubicBezTo>
                <a:cubicBezTo>
                  <a:pt x="1507434" y="1502078"/>
                  <a:pt x="1508523" y="1501335"/>
                  <a:pt x="1509483" y="1505501"/>
                </a:cubicBezTo>
                <a:cubicBezTo>
                  <a:pt x="1507154" y="1505338"/>
                  <a:pt x="1500168" y="1504846"/>
                  <a:pt x="1500168" y="1504846"/>
                </a:cubicBezTo>
                <a:cubicBezTo>
                  <a:pt x="1498802" y="1505515"/>
                  <a:pt x="1498802" y="1505515"/>
                  <a:pt x="1496473" y="1505351"/>
                </a:cubicBezTo>
                <a:cubicBezTo>
                  <a:pt x="1496599" y="1503775"/>
                  <a:pt x="1496599" y="1503775"/>
                  <a:pt x="1497718" y="1502924"/>
                </a:cubicBezTo>
                <a:cubicBezTo>
                  <a:pt x="1500017" y="1503195"/>
                  <a:pt x="1501287" y="1503995"/>
                  <a:pt x="1503614" y="1504159"/>
                </a:cubicBezTo>
                <a:cubicBezTo>
                  <a:pt x="1503618" y="1500825"/>
                  <a:pt x="1502500" y="1501675"/>
                  <a:pt x="1504830" y="1501840"/>
                </a:cubicBezTo>
                <a:close/>
                <a:moveTo>
                  <a:pt x="1573194" y="1500435"/>
                </a:moveTo>
                <a:cubicBezTo>
                  <a:pt x="1575438" y="1499253"/>
                  <a:pt x="1578161" y="1498776"/>
                  <a:pt x="1583122" y="1500738"/>
                </a:cubicBezTo>
                <a:cubicBezTo>
                  <a:pt x="1587858" y="1507412"/>
                  <a:pt x="1579212" y="1515330"/>
                  <a:pt x="1567982" y="1511861"/>
                </a:cubicBezTo>
                <a:cubicBezTo>
                  <a:pt x="1567813" y="1509171"/>
                  <a:pt x="1566307" y="1507043"/>
                  <a:pt x="1566138" y="1504352"/>
                </a:cubicBezTo>
                <a:cubicBezTo>
                  <a:pt x="1569185" y="1503501"/>
                  <a:pt x="1570950" y="1501616"/>
                  <a:pt x="1573194" y="1500435"/>
                </a:cubicBezTo>
                <a:close/>
                <a:moveTo>
                  <a:pt x="1768478" y="1495203"/>
                </a:moveTo>
                <a:cubicBezTo>
                  <a:pt x="1785184" y="1509225"/>
                  <a:pt x="1775593" y="1517349"/>
                  <a:pt x="1763516" y="1512618"/>
                </a:cubicBezTo>
                <a:cubicBezTo>
                  <a:pt x="1759508" y="1510969"/>
                  <a:pt x="1755265" y="1507993"/>
                  <a:pt x="1751481" y="1503298"/>
                </a:cubicBezTo>
                <a:cubicBezTo>
                  <a:pt x="1750791" y="1497018"/>
                  <a:pt x="1762211" y="1492029"/>
                  <a:pt x="1768478" y="1495203"/>
                </a:cubicBezTo>
                <a:close/>
                <a:moveTo>
                  <a:pt x="6089791" y="1494109"/>
                </a:moveTo>
                <a:cubicBezTo>
                  <a:pt x="6095494" y="1498282"/>
                  <a:pt x="6094251" y="1500709"/>
                  <a:pt x="6090115" y="1503971"/>
                </a:cubicBezTo>
                <a:cubicBezTo>
                  <a:pt x="6080958" y="1498297"/>
                  <a:pt x="6083880" y="1497356"/>
                  <a:pt x="6089791" y="1494109"/>
                </a:cubicBezTo>
                <a:close/>
                <a:moveTo>
                  <a:pt x="6197559" y="1491474"/>
                </a:moveTo>
                <a:cubicBezTo>
                  <a:pt x="6198504" y="1491267"/>
                  <a:pt x="6200193" y="1491606"/>
                  <a:pt x="6202378" y="1492305"/>
                </a:cubicBezTo>
                <a:cubicBezTo>
                  <a:pt x="6208017" y="1494506"/>
                  <a:pt x="6216677" y="1499817"/>
                  <a:pt x="6216447" y="1500676"/>
                </a:cubicBezTo>
                <a:cubicBezTo>
                  <a:pt x="6218049" y="1501335"/>
                  <a:pt x="6217457" y="1502441"/>
                  <a:pt x="6219088" y="1502993"/>
                </a:cubicBezTo>
                <a:cubicBezTo>
                  <a:pt x="6219088" y="1502993"/>
                  <a:pt x="6220719" y="1503545"/>
                  <a:pt x="6222035" y="1505277"/>
                </a:cubicBezTo>
                <a:cubicBezTo>
                  <a:pt x="6223350" y="1507010"/>
                  <a:pt x="6224665" y="1508742"/>
                  <a:pt x="6222154" y="1510370"/>
                </a:cubicBezTo>
                <a:lnTo>
                  <a:pt x="6211947" y="1504186"/>
                </a:lnTo>
                <a:lnTo>
                  <a:pt x="6214054" y="1507395"/>
                </a:lnTo>
                <a:cubicBezTo>
                  <a:pt x="6214642" y="1509622"/>
                  <a:pt x="6214373" y="1511735"/>
                  <a:pt x="6212892" y="1512834"/>
                </a:cubicBezTo>
                <a:cubicBezTo>
                  <a:pt x="6207233" y="1512926"/>
                  <a:pt x="6205899" y="1510155"/>
                  <a:pt x="6202511" y="1510627"/>
                </a:cubicBezTo>
                <a:cubicBezTo>
                  <a:pt x="6201541" y="1507606"/>
                  <a:pt x="6202087" y="1505567"/>
                  <a:pt x="6203348" y="1504181"/>
                </a:cubicBezTo>
                <a:lnTo>
                  <a:pt x="6208943" y="1502115"/>
                </a:lnTo>
                <a:lnTo>
                  <a:pt x="6207646" y="1501422"/>
                </a:lnTo>
                <a:cubicBezTo>
                  <a:pt x="6203258" y="1498982"/>
                  <a:pt x="6199701" y="1496763"/>
                  <a:pt x="6195295" y="1493283"/>
                </a:cubicBezTo>
                <a:cubicBezTo>
                  <a:pt x="6195611" y="1492103"/>
                  <a:pt x="6197243" y="1492655"/>
                  <a:pt x="6197559" y="1491474"/>
                </a:cubicBezTo>
                <a:close/>
                <a:moveTo>
                  <a:pt x="1289387" y="1491263"/>
                </a:moveTo>
                <a:cubicBezTo>
                  <a:pt x="1291364" y="1490527"/>
                  <a:pt x="1302206" y="1491017"/>
                  <a:pt x="1302946" y="1494896"/>
                </a:cubicBezTo>
                <a:cubicBezTo>
                  <a:pt x="1301113" y="1495094"/>
                  <a:pt x="1298451" y="1495070"/>
                  <a:pt x="1295931" y="1494511"/>
                </a:cubicBezTo>
                <a:cubicBezTo>
                  <a:pt x="1293413" y="1493951"/>
                  <a:pt x="1290731" y="1492888"/>
                  <a:pt x="1289387" y="1491263"/>
                </a:cubicBezTo>
                <a:close/>
                <a:moveTo>
                  <a:pt x="1242979" y="1491248"/>
                </a:moveTo>
                <a:cubicBezTo>
                  <a:pt x="1245804" y="1490941"/>
                  <a:pt x="1249273" y="1491555"/>
                  <a:pt x="1250932" y="1491999"/>
                </a:cubicBezTo>
                <a:cubicBezTo>
                  <a:pt x="1249274" y="1491555"/>
                  <a:pt x="1248679" y="1492660"/>
                  <a:pt x="1248393" y="1493733"/>
                </a:cubicBezTo>
                <a:cubicBezTo>
                  <a:pt x="1248669" y="1493808"/>
                  <a:pt x="1248669" y="1493808"/>
                  <a:pt x="1248947" y="1493881"/>
                </a:cubicBezTo>
                <a:cubicBezTo>
                  <a:pt x="1246311" y="1493751"/>
                  <a:pt x="1244324" y="1495634"/>
                  <a:pt x="1238883" y="1496016"/>
                </a:cubicBezTo>
                <a:cubicBezTo>
                  <a:pt x="1237971" y="1492781"/>
                  <a:pt x="1240153" y="1491554"/>
                  <a:pt x="1242979" y="1491248"/>
                </a:cubicBezTo>
                <a:close/>
                <a:moveTo>
                  <a:pt x="6213119" y="1488744"/>
                </a:moveTo>
                <a:cubicBezTo>
                  <a:pt x="6222276" y="1494417"/>
                  <a:pt x="6230121" y="1495024"/>
                  <a:pt x="6237570" y="1499320"/>
                </a:cubicBezTo>
                <a:cubicBezTo>
                  <a:pt x="6233760" y="1500255"/>
                  <a:pt x="6228425" y="1501355"/>
                  <a:pt x="6222966" y="1500697"/>
                </a:cubicBezTo>
                <a:cubicBezTo>
                  <a:pt x="6217783" y="1500113"/>
                  <a:pt x="6212451" y="1497880"/>
                  <a:pt x="6208983" y="1492005"/>
                </a:cubicBezTo>
                <a:cubicBezTo>
                  <a:pt x="6210435" y="1491014"/>
                  <a:pt x="6211638" y="1489842"/>
                  <a:pt x="6213119" y="1488744"/>
                </a:cubicBezTo>
                <a:close/>
                <a:moveTo>
                  <a:pt x="1319828" y="1487229"/>
                </a:moveTo>
                <a:cubicBezTo>
                  <a:pt x="1330671" y="1487719"/>
                  <a:pt x="1327350" y="1486829"/>
                  <a:pt x="1338181" y="1488467"/>
                </a:cubicBezTo>
                <a:cubicBezTo>
                  <a:pt x="1338181" y="1488467"/>
                  <a:pt x="1337876" y="1488500"/>
                  <a:pt x="1339237" y="1491165"/>
                </a:cubicBezTo>
                <a:lnTo>
                  <a:pt x="1338483" y="1491768"/>
                </a:lnTo>
                <a:lnTo>
                  <a:pt x="1339780" y="1492461"/>
                </a:lnTo>
                <a:cubicBezTo>
                  <a:pt x="1339769" y="1493607"/>
                  <a:pt x="1337713" y="1496852"/>
                  <a:pt x="1339402" y="1497190"/>
                </a:cubicBezTo>
                <a:cubicBezTo>
                  <a:pt x="1335640" y="1499056"/>
                  <a:pt x="1331019" y="1500808"/>
                  <a:pt x="1326781" y="1500017"/>
                </a:cubicBezTo>
                <a:cubicBezTo>
                  <a:pt x="1325370" y="1499754"/>
                  <a:pt x="1324015" y="1499276"/>
                  <a:pt x="1322776" y="1498369"/>
                </a:cubicBezTo>
                <a:cubicBezTo>
                  <a:pt x="1319742" y="1496407"/>
                  <a:pt x="1321482" y="1494342"/>
                  <a:pt x="1324881" y="1492723"/>
                </a:cubicBezTo>
                <a:lnTo>
                  <a:pt x="1327307" y="1491418"/>
                </a:lnTo>
                <a:lnTo>
                  <a:pt x="1323260" y="1491024"/>
                </a:lnTo>
                <a:cubicBezTo>
                  <a:pt x="1321963" y="1490331"/>
                  <a:pt x="1320504" y="1489135"/>
                  <a:pt x="1319828" y="1487229"/>
                </a:cubicBezTo>
                <a:close/>
                <a:moveTo>
                  <a:pt x="1788444" y="1487098"/>
                </a:moveTo>
                <a:cubicBezTo>
                  <a:pt x="1795851" y="1487127"/>
                  <a:pt x="1801270" y="1489039"/>
                  <a:pt x="1804713" y="1491686"/>
                </a:cubicBezTo>
                <a:cubicBezTo>
                  <a:pt x="1807163" y="1493608"/>
                  <a:pt x="1808831" y="1496240"/>
                  <a:pt x="1809639" y="1498757"/>
                </a:cubicBezTo>
                <a:lnTo>
                  <a:pt x="1809311" y="1501084"/>
                </a:lnTo>
                <a:cubicBezTo>
                  <a:pt x="1815352" y="1501783"/>
                  <a:pt x="1822803" y="1506079"/>
                  <a:pt x="1823930" y="1512936"/>
                </a:cubicBezTo>
                <a:cubicBezTo>
                  <a:pt x="1820071" y="1516273"/>
                  <a:pt x="1815402" y="1517090"/>
                  <a:pt x="1812452" y="1518141"/>
                </a:cubicBezTo>
                <a:lnTo>
                  <a:pt x="1802829" y="1511997"/>
                </a:lnTo>
                <a:lnTo>
                  <a:pt x="1792415" y="1513231"/>
                </a:lnTo>
                <a:cubicBezTo>
                  <a:pt x="1782295" y="1506725"/>
                  <a:pt x="1782521" y="1491491"/>
                  <a:pt x="1788444" y="1487098"/>
                </a:cubicBezTo>
                <a:close/>
                <a:moveTo>
                  <a:pt x="1717302" y="1485860"/>
                </a:moveTo>
                <a:cubicBezTo>
                  <a:pt x="1723056" y="1487633"/>
                  <a:pt x="1726544" y="1491213"/>
                  <a:pt x="1725977" y="1495545"/>
                </a:cubicBezTo>
                <a:cubicBezTo>
                  <a:pt x="1723742" y="1497246"/>
                  <a:pt x="1720117" y="1496390"/>
                  <a:pt x="1716491" y="1495533"/>
                </a:cubicBezTo>
                <a:cubicBezTo>
                  <a:pt x="1713475" y="1494610"/>
                  <a:pt x="1711989" y="1493521"/>
                  <a:pt x="1711445" y="1492226"/>
                </a:cubicBezTo>
                <a:cubicBezTo>
                  <a:pt x="1710902" y="1490931"/>
                  <a:pt x="1711276" y="1489536"/>
                  <a:pt x="1711954" y="1488108"/>
                </a:cubicBezTo>
                <a:cubicBezTo>
                  <a:pt x="1713647" y="1485112"/>
                  <a:pt x="1717302" y="1485860"/>
                  <a:pt x="1717302" y="1485860"/>
                </a:cubicBezTo>
                <a:close/>
                <a:moveTo>
                  <a:pt x="5876464" y="1484357"/>
                </a:moveTo>
                <a:cubicBezTo>
                  <a:pt x="5879049" y="1483152"/>
                  <a:pt x="5881266" y="1482625"/>
                  <a:pt x="5885049" y="1484558"/>
                </a:cubicBezTo>
                <a:cubicBezTo>
                  <a:pt x="5884376" y="1488173"/>
                  <a:pt x="5877282" y="1490298"/>
                  <a:pt x="5871213" y="1489707"/>
                </a:cubicBezTo>
                <a:cubicBezTo>
                  <a:pt x="5869161" y="1489616"/>
                  <a:pt x="5867224" y="1489098"/>
                  <a:pt x="5865679" y="1488224"/>
                </a:cubicBezTo>
                <a:cubicBezTo>
                  <a:pt x="5870929" y="1487445"/>
                  <a:pt x="5873880" y="1485563"/>
                  <a:pt x="5876464" y="1484357"/>
                </a:cubicBezTo>
                <a:close/>
                <a:moveTo>
                  <a:pt x="1288155" y="1483687"/>
                </a:moveTo>
                <a:cubicBezTo>
                  <a:pt x="1290873" y="1486831"/>
                  <a:pt x="1296170" y="1486984"/>
                  <a:pt x="1299449" y="1489129"/>
                </a:cubicBezTo>
                <a:cubicBezTo>
                  <a:pt x="1290556" y="1488010"/>
                  <a:pt x="1288320" y="1489712"/>
                  <a:pt x="1282431" y="1490664"/>
                </a:cubicBezTo>
                <a:cubicBezTo>
                  <a:pt x="1282431" y="1490664"/>
                  <a:pt x="1282431" y="1490664"/>
                  <a:pt x="1282883" y="1495615"/>
                </a:cubicBezTo>
                <a:cubicBezTo>
                  <a:pt x="1279562" y="1494725"/>
                  <a:pt x="1277615" y="1495354"/>
                  <a:pt x="1274018" y="1494390"/>
                </a:cubicBezTo>
                <a:cubicBezTo>
                  <a:pt x="1272042" y="1495125"/>
                  <a:pt x="1268404" y="1495416"/>
                  <a:pt x="1267060" y="1493790"/>
                </a:cubicBezTo>
                <a:cubicBezTo>
                  <a:pt x="1264150" y="1493585"/>
                  <a:pt x="1261296" y="1493166"/>
                  <a:pt x="1258644" y="1491996"/>
                </a:cubicBezTo>
                <a:cubicBezTo>
                  <a:pt x="1255994" y="1490825"/>
                  <a:pt x="1253513" y="1489010"/>
                  <a:pt x="1252456" y="1486312"/>
                </a:cubicBezTo>
                <a:cubicBezTo>
                  <a:pt x="1253060" y="1484059"/>
                  <a:pt x="1260610" y="1483552"/>
                  <a:pt x="1267567" y="1484151"/>
                </a:cubicBezTo>
                <a:cubicBezTo>
                  <a:pt x="1271452" y="1484042"/>
                  <a:pt x="1276433" y="1485376"/>
                  <a:pt x="1279743" y="1487413"/>
                </a:cubicBezTo>
                <a:cubicBezTo>
                  <a:pt x="1280347" y="1485160"/>
                  <a:pt x="1282610" y="1483352"/>
                  <a:pt x="1288155" y="1483687"/>
                </a:cubicBezTo>
                <a:close/>
                <a:moveTo>
                  <a:pt x="5962457" y="1480115"/>
                </a:moveTo>
                <a:cubicBezTo>
                  <a:pt x="5968818" y="1485154"/>
                  <a:pt x="5969378" y="1496345"/>
                  <a:pt x="5957907" y="1494881"/>
                </a:cubicBezTo>
                <a:cubicBezTo>
                  <a:pt x="5952909" y="1492506"/>
                  <a:pt x="5948187" y="1490207"/>
                  <a:pt x="5946305" y="1483952"/>
                </a:cubicBezTo>
                <a:cubicBezTo>
                  <a:pt x="5949114" y="1480105"/>
                  <a:pt x="5953286" y="1478923"/>
                  <a:pt x="5962457" y="1480115"/>
                </a:cubicBezTo>
                <a:close/>
                <a:moveTo>
                  <a:pt x="1347334" y="1479764"/>
                </a:moveTo>
                <a:cubicBezTo>
                  <a:pt x="1349033" y="1478954"/>
                  <a:pt x="1350723" y="1479292"/>
                  <a:pt x="1352372" y="1480884"/>
                </a:cubicBezTo>
                <a:cubicBezTo>
                  <a:pt x="1352372" y="1480884"/>
                  <a:pt x="1350632" y="1482948"/>
                  <a:pt x="1350632" y="1482948"/>
                </a:cubicBezTo>
                <a:cubicBezTo>
                  <a:pt x="1346928" y="1484600"/>
                  <a:pt x="1345257" y="1485303"/>
                  <a:pt x="1343518" y="1487366"/>
                </a:cubicBezTo>
                <a:cubicBezTo>
                  <a:pt x="1340180" y="1485437"/>
                  <a:pt x="1340190" y="1484290"/>
                  <a:pt x="1341889" y="1483480"/>
                </a:cubicBezTo>
                <a:cubicBezTo>
                  <a:pt x="1341889" y="1483480"/>
                  <a:pt x="1343619" y="1482563"/>
                  <a:pt x="1345319" y="1481755"/>
                </a:cubicBezTo>
                <a:cubicBezTo>
                  <a:pt x="1347294" y="1481018"/>
                  <a:pt x="1347334" y="1479764"/>
                  <a:pt x="1347334" y="1479764"/>
                </a:cubicBezTo>
                <a:close/>
                <a:moveTo>
                  <a:pt x="1585263" y="1479461"/>
                </a:moveTo>
                <a:cubicBezTo>
                  <a:pt x="1586331" y="1481012"/>
                  <a:pt x="1589002" y="1483223"/>
                  <a:pt x="1589199" y="1485806"/>
                </a:cubicBezTo>
                <a:cubicBezTo>
                  <a:pt x="1587049" y="1487185"/>
                  <a:pt x="1585189" y="1487491"/>
                  <a:pt x="1583777" y="1487228"/>
                </a:cubicBezTo>
                <a:cubicBezTo>
                  <a:pt x="1582115" y="1486783"/>
                  <a:pt x="1581183" y="1485842"/>
                  <a:pt x="1580612" y="1484655"/>
                </a:cubicBezTo>
                <a:cubicBezTo>
                  <a:pt x="1579467" y="1482278"/>
                  <a:pt x="1580884" y="1479208"/>
                  <a:pt x="1585263" y="1479461"/>
                </a:cubicBezTo>
                <a:close/>
                <a:moveTo>
                  <a:pt x="5391587" y="1478493"/>
                </a:moveTo>
                <a:cubicBezTo>
                  <a:pt x="5395176" y="1477413"/>
                  <a:pt x="5400319" y="1478418"/>
                  <a:pt x="5404067" y="1481032"/>
                </a:cubicBezTo>
                <a:cubicBezTo>
                  <a:pt x="5406300" y="1482665"/>
                  <a:pt x="5408301" y="1485156"/>
                  <a:pt x="5408689" y="1488135"/>
                </a:cubicBezTo>
                <a:cubicBezTo>
                  <a:pt x="5406148" y="1489869"/>
                  <a:pt x="5398235" y="1490624"/>
                  <a:pt x="5392833" y="1489752"/>
                </a:cubicBezTo>
                <a:cubicBezTo>
                  <a:pt x="5391117" y="1489521"/>
                  <a:pt x="5389456" y="1489076"/>
                  <a:pt x="5388435" y="1488459"/>
                </a:cubicBezTo>
                <a:cubicBezTo>
                  <a:pt x="5385965" y="1482737"/>
                  <a:pt x="5387999" y="1479572"/>
                  <a:pt x="5391587" y="1478493"/>
                </a:cubicBezTo>
                <a:close/>
                <a:moveTo>
                  <a:pt x="5932375" y="1478380"/>
                </a:moveTo>
                <a:cubicBezTo>
                  <a:pt x="5933978" y="1479039"/>
                  <a:pt x="5935610" y="1479591"/>
                  <a:pt x="5936925" y="1481324"/>
                </a:cubicBezTo>
                <a:cubicBezTo>
                  <a:pt x="5938270" y="1482949"/>
                  <a:pt x="5936361" y="1482322"/>
                  <a:pt x="5937992" y="1482875"/>
                </a:cubicBezTo>
                <a:cubicBezTo>
                  <a:pt x="5939308" y="1484607"/>
                  <a:pt x="5939595" y="1483535"/>
                  <a:pt x="5939595" y="1483535"/>
                </a:cubicBezTo>
                <a:cubicBezTo>
                  <a:pt x="5939595" y="1483535"/>
                  <a:pt x="5939308" y="1484607"/>
                  <a:pt x="5939308" y="1484607"/>
                </a:cubicBezTo>
                <a:cubicBezTo>
                  <a:pt x="5939308" y="1484607"/>
                  <a:pt x="5939584" y="1484681"/>
                  <a:pt x="5941938" y="1488072"/>
                </a:cubicBezTo>
                <a:cubicBezTo>
                  <a:pt x="5946229" y="1491982"/>
                  <a:pt x="5947583" y="1492460"/>
                  <a:pt x="5950531" y="1494744"/>
                </a:cubicBezTo>
                <a:cubicBezTo>
                  <a:pt x="5953160" y="1498209"/>
                  <a:pt x="5952844" y="1499389"/>
                  <a:pt x="5954939" y="1503746"/>
                </a:cubicBezTo>
                <a:cubicBezTo>
                  <a:pt x="5952705" y="1505447"/>
                  <a:pt x="5952705" y="1505447"/>
                  <a:pt x="5951073" y="1504895"/>
                </a:cubicBezTo>
                <a:cubicBezTo>
                  <a:pt x="5952705" y="1505447"/>
                  <a:pt x="5952417" y="1506521"/>
                  <a:pt x="5953455" y="1508178"/>
                </a:cubicBezTo>
                <a:cubicBezTo>
                  <a:pt x="5960664" y="1514479"/>
                  <a:pt x="5955658" y="1518774"/>
                  <a:pt x="5947389" y="1521962"/>
                </a:cubicBezTo>
                <a:cubicBezTo>
                  <a:pt x="5946044" y="1520338"/>
                  <a:pt x="5941891" y="1522560"/>
                  <a:pt x="5938369" y="1522422"/>
                </a:cubicBezTo>
                <a:cubicBezTo>
                  <a:pt x="5933475" y="1520764"/>
                  <a:pt x="5930517" y="1519627"/>
                  <a:pt x="5927858" y="1516269"/>
                </a:cubicBezTo>
                <a:cubicBezTo>
                  <a:pt x="5924189" y="1511146"/>
                  <a:pt x="5923301" y="1502284"/>
                  <a:pt x="5929088" y="1500613"/>
                </a:cubicBezTo>
                <a:cubicBezTo>
                  <a:pt x="5935160" y="1497872"/>
                  <a:pt x="5940591" y="1498636"/>
                  <a:pt x="5945180" y="1500326"/>
                </a:cubicBezTo>
                <a:cubicBezTo>
                  <a:pt x="5945180" y="1500326"/>
                  <a:pt x="5945485" y="1500292"/>
                  <a:pt x="5943853" y="1499740"/>
                </a:cubicBezTo>
                <a:cubicBezTo>
                  <a:pt x="5938563" y="1492918"/>
                  <a:pt x="5929825" y="1481261"/>
                  <a:pt x="5932375" y="1478380"/>
                </a:cubicBezTo>
                <a:close/>
                <a:moveTo>
                  <a:pt x="1491159" y="1477591"/>
                </a:moveTo>
                <a:cubicBezTo>
                  <a:pt x="1504139" y="1477850"/>
                  <a:pt x="1507567" y="1493833"/>
                  <a:pt x="1509892" y="1497332"/>
                </a:cubicBezTo>
                <a:cubicBezTo>
                  <a:pt x="1509892" y="1497332"/>
                  <a:pt x="1510855" y="1498164"/>
                  <a:pt x="1511006" y="1499814"/>
                </a:cubicBezTo>
                <a:cubicBezTo>
                  <a:pt x="1512092" y="1502406"/>
                  <a:pt x="1507312" y="1500321"/>
                  <a:pt x="1507434" y="1502078"/>
                </a:cubicBezTo>
                <a:cubicBezTo>
                  <a:pt x="1500334" y="1493160"/>
                  <a:pt x="1489783" y="1488263"/>
                  <a:pt x="1489783" y="1488263"/>
                </a:cubicBezTo>
                <a:cubicBezTo>
                  <a:pt x="1488669" y="1485779"/>
                  <a:pt x="1489787" y="1484929"/>
                  <a:pt x="1488669" y="1485779"/>
                </a:cubicBezTo>
                <a:cubicBezTo>
                  <a:pt x="1488672" y="1482445"/>
                  <a:pt x="1487714" y="1478278"/>
                  <a:pt x="1491159" y="1477591"/>
                </a:cubicBezTo>
                <a:close/>
                <a:moveTo>
                  <a:pt x="1047872" y="1471744"/>
                </a:moveTo>
                <a:cubicBezTo>
                  <a:pt x="1059029" y="1471054"/>
                  <a:pt x="1063695" y="1473569"/>
                  <a:pt x="1068635" y="1476158"/>
                </a:cubicBezTo>
                <a:cubicBezTo>
                  <a:pt x="1066094" y="1477893"/>
                  <a:pt x="1061570" y="1478174"/>
                  <a:pt x="1057333" y="1477385"/>
                </a:cubicBezTo>
                <a:cubicBezTo>
                  <a:pt x="1052849" y="1476413"/>
                  <a:pt x="1048927" y="1474442"/>
                  <a:pt x="1047872" y="1471744"/>
                </a:cubicBezTo>
                <a:close/>
                <a:moveTo>
                  <a:pt x="6161351" y="1471653"/>
                </a:moveTo>
                <a:cubicBezTo>
                  <a:pt x="6163097" y="1471775"/>
                  <a:pt x="6163115" y="1472815"/>
                  <a:pt x="6164890" y="1472831"/>
                </a:cubicBezTo>
                <a:cubicBezTo>
                  <a:pt x="6164890" y="1472831"/>
                  <a:pt x="6164909" y="1473871"/>
                  <a:pt x="6164909" y="1473871"/>
                </a:cubicBezTo>
                <a:cubicBezTo>
                  <a:pt x="6165767" y="1473985"/>
                  <a:pt x="6165767" y="1473985"/>
                  <a:pt x="6165405" y="1474234"/>
                </a:cubicBezTo>
                <a:cubicBezTo>
                  <a:pt x="6165041" y="1474482"/>
                  <a:pt x="6164286" y="1475084"/>
                  <a:pt x="6163694" y="1476190"/>
                </a:cubicBezTo>
                <a:cubicBezTo>
                  <a:pt x="6162213" y="1477288"/>
                  <a:pt x="6162479" y="1478510"/>
                  <a:pt x="6160714" y="1477347"/>
                </a:cubicBezTo>
                <a:cubicBezTo>
                  <a:pt x="6159666" y="1476836"/>
                  <a:pt x="6159446" y="1476547"/>
                  <a:pt x="6159285" y="1476043"/>
                </a:cubicBezTo>
                <a:cubicBezTo>
                  <a:pt x="6158846" y="1475466"/>
                  <a:pt x="6158770" y="1474641"/>
                  <a:pt x="6158343" y="1472916"/>
                </a:cubicBezTo>
                <a:cubicBezTo>
                  <a:pt x="6160136" y="1473972"/>
                  <a:pt x="6160136" y="1473972"/>
                  <a:pt x="6161617" y="1472873"/>
                </a:cubicBezTo>
                <a:cubicBezTo>
                  <a:pt x="6161617" y="1472873"/>
                  <a:pt x="6161617" y="1472873"/>
                  <a:pt x="6161351" y="1471653"/>
                </a:cubicBezTo>
                <a:close/>
                <a:moveTo>
                  <a:pt x="896561" y="1467542"/>
                </a:moveTo>
                <a:cubicBezTo>
                  <a:pt x="911295" y="1470110"/>
                  <a:pt x="919275" y="1485703"/>
                  <a:pt x="913332" y="1492390"/>
                </a:cubicBezTo>
                <a:cubicBezTo>
                  <a:pt x="911535" y="1494668"/>
                  <a:pt x="907945" y="1495892"/>
                  <a:pt x="902486" y="1495235"/>
                </a:cubicBezTo>
                <a:cubicBezTo>
                  <a:pt x="887415" y="1487286"/>
                  <a:pt x="897721" y="1479812"/>
                  <a:pt x="896561" y="1467542"/>
                </a:cubicBezTo>
                <a:close/>
                <a:moveTo>
                  <a:pt x="1380158" y="1461304"/>
                </a:moveTo>
                <a:cubicBezTo>
                  <a:pt x="1380154" y="1464638"/>
                  <a:pt x="1382631" y="1469786"/>
                  <a:pt x="1376481" y="1471704"/>
                </a:cubicBezTo>
                <a:cubicBezTo>
                  <a:pt x="1376532" y="1469302"/>
                  <a:pt x="1376050" y="1464458"/>
                  <a:pt x="1377789" y="1462394"/>
                </a:cubicBezTo>
                <a:cubicBezTo>
                  <a:pt x="1378296" y="1461610"/>
                  <a:pt x="1378994" y="1461222"/>
                  <a:pt x="1380158" y="1461304"/>
                </a:cubicBezTo>
                <a:close/>
                <a:moveTo>
                  <a:pt x="5883827" y="1458127"/>
                </a:moveTo>
                <a:cubicBezTo>
                  <a:pt x="5888484" y="1458454"/>
                  <a:pt x="5893264" y="1460539"/>
                  <a:pt x="5893691" y="1462264"/>
                </a:cubicBezTo>
                <a:cubicBezTo>
                  <a:pt x="5894442" y="1464995"/>
                  <a:pt x="5894945" y="1467545"/>
                  <a:pt x="5892330" y="1468454"/>
                </a:cubicBezTo>
                <a:cubicBezTo>
                  <a:pt x="5891355" y="1468768"/>
                  <a:pt x="5890133" y="1468901"/>
                  <a:pt x="5888386" y="1468778"/>
                </a:cubicBezTo>
                <a:cubicBezTo>
                  <a:pt x="5888386" y="1468778"/>
                  <a:pt x="5888358" y="1468886"/>
                  <a:pt x="5887118" y="1467978"/>
                </a:cubicBezTo>
                <a:cubicBezTo>
                  <a:pt x="5884391" y="1465982"/>
                  <a:pt x="5883152" y="1465075"/>
                  <a:pt x="5881940" y="1464060"/>
                </a:cubicBezTo>
                <a:cubicBezTo>
                  <a:pt x="5881513" y="1462336"/>
                  <a:pt x="5881775" y="1458036"/>
                  <a:pt x="5883827" y="1458127"/>
                </a:cubicBezTo>
                <a:close/>
                <a:moveTo>
                  <a:pt x="1282802" y="1457039"/>
                </a:moveTo>
                <a:cubicBezTo>
                  <a:pt x="1284119" y="1456414"/>
                  <a:pt x="1285460" y="1456112"/>
                  <a:pt x="1287095" y="1457758"/>
                </a:cubicBezTo>
                <a:cubicBezTo>
                  <a:pt x="1285395" y="1458568"/>
                  <a:pt x="1281730" y="1458966"/>
                  <a:pt x="1280030" y="1459775"/>
                </a:cubicBezTo>
                <a:cubicBezTo>
                  <a:pt x="1280030" y="1459775"/>
                  <a:pt x="1280030" y="1459775"/>
                  <a:pt x="1278658" y="1458257"/>
                </a:cubicBezTo>
                <a:cubicBezTo>
                  <a:pt x="1280195" y="1458611"/>
                  <a:pt x="1281486" y="1457664"/>
                  <a:pt x="1282802" y="1457039"/>
                </a:cubicBezTo>
                <a:close/>
                <a:moveTo>
                  <a:pt x="1559243" y="1455929"/>
                </a:moveTo>
                <a:cubicBezTo>
                  <a:pt x="1566958" y="1461446"/>
                  <a:pt x="1563551" y="1469733"/>
                  <a:pt x="1555153" y="1468979"/>
                </a:cubicBezTo>
                <a:cubicBezTo>
                  <a:pt x="1553447" y="1467601"/>
                  <a:pt x="1549965" y="1466208"/>
                  <a:pt x="1547715" y="1463535"/>
                </a:cubicBezTo>
                <a:cubicBezTo>
                  <a:pt x="1548134" y="1457552"/>
                  <a:pt x="1552564" y="1455404"/>
                  <a:pt x="1559243" y="1455929"/>
                </a:cubicBezTo>
                <a:close/>
                <a:moveTo>
                  <a:pt x="970990" y="1455399"/>
                </a:moveTo>
                <a:cubicBezTo>
                  <a:pt x="982466" y="1462384"/>
                  <a:pt x="989077" y="1464271"/>
                  <a:pt x="997536" y="1470332"/>
                </a:cubicBezTo>
                <a:cubicBezTo>
                  <a:pt x="996943" y="1471438"/>
                  <a:pt x="995284" y="1470994"/>
                  <a:pt x="994996" y="1472067"/>
                </a:cubicBezTo>
                <a:cubicBezTo>
                  <a:pt x="993993" y="1472488"/>
                  <a:pt x="992305" y="1472151"/>
                  <a:pt x="990091" y="1471558"/>
                </a:cubicBezTo>
                <a:cubicBezTo>
                  <a:pt x="984338" y="1469785"/>
                  <a:pt x="975781" y="1465193"/>
                  <a:pt x="976288" y="1464409"/>
                </a:cubicBezTo>
                <a:cubicBezTo>
                  <a:pt x="974628" y="1463964"/>
                  <a:pt x="975220" y="1462857"/>
                  <a:pt x="973561" y="1462413"/>
                </a:cubicBezTo>
                <a:cubicBezTo>
                  <a:pt x="973561" y="1462413"/>
                  <a:pt x="971929" y="1461861"/>
                  <a:pt x="970861" y="1460309"/>
                </a:cubicBezTo>
                <a:cubicBezTo>
                  <a:pt x="970175" y="1459550"/>
                  <a:pt x="969519" y="1458685"/>
                  <a:pt x="969414" y="1457967"/>
                </a:cubicBezTo>
                <a:cubicBezTo>
                  <a:pt x="969338" y="1457141"/>
                  <a:pt x="969597" y="1456175"/>
                  <a:pt x="970990" y="1455399"/>
                </a:cubicBezTo>
                <a:close/>
                <a:moveTo>
                  <a:pt x="1737734" y="1454435"/>
                </a:moveTo>
                <a:cubicBezTo>
                  <a:pt x="1747553" y="1455699"/>
                  <a:pt x="1756649" y="1459660"/>
                  <a:pt x="1762286" y="1466289"/>
                </a:cubicBezTo>
                <a:cubicBezTo>
                  <a:pt x="1765298" y="1470546"/>
                  <a:pt x="1766096" y="1474209"/>
                  <a:pt x="1765291" y="1477214"/>
                </a:cubicBezTo>
                <a:lnTo>
                  <a:pt x="1760551" y="1482728"/>
                </a:lnTo>
                <a:lnTo>
                  <a:pt x="1760904" y="1483628"/>
                </a:lnTo>
                <a:lnTo>
                  <a:pt x="1759987" y="1483728"/>
                </a:lnTo>
                <a:lnTo>
                  <a:pt x="1759261" y="1484223"/>
                </a:lnTo>
                <a:cubicBezTo>
                  <a:pt x="1753043" y="1487502"/>
                  <a:pt x="1742888" y="1487772"/>
                  <a:pt x="1733318" y="1484747"/>
                </a:cubicBezTo>
                <a:cubicBezTo>
                  <a:pt x="1721842" y="1481097"/>
                  <a:pt x="1711045" y="1472684"/>
                  <a:pt x="1708848" y="1458755"/>
                </a:cubicBezTo>
                <a:cubicBezTo>
                  <a:pt x="1717375" y="1454600"/>
                  <a:pt x="1727916" y="1453169"/>
                  <a:pt x="1737734" y="1454435"/>
                </a:cubicBezTo>
                <a:close/>
                <a:moveTo>
                  <a:pt x="6028529" y="1452680"/>
                </a:moveTo>
                <a:cubicBezTo>
                  <a:pt x="6033475" y="1452482"/>
                  <a:pt x="6038281" y="1453913"/>
                  <a:pt x="6041969" y="1455649"/>
                </a:cubicBezTo>
                <a:cubicBezTo>
                  <a:pt x="6040823" y="1456607"/>
                  <a:pt x="6050791" y="1461464"/>
                  <a:pt x="6051614" y="1468353"/>
                </a:cubicBezTo>
                <a:cubicBezTo>
                  <a:pt x="6051869" y="1470722"/>
                  <a:pt x="6051208" y="1473190"/>
                  <a:pt x="6048685" y="1475964"/>
                </a:cubicBezTo>
                <a:lnTo>
                  <a:pt x="6044502" y="1478293"/>
                </a:lnTo>
                <a:lnTo>
                  <a:pt x="6057626" y="1478014"/>
                </a:lnTo>
                <a:cubicBezTo>
                  <a:pt x="6068572" y="1479223"/>
                  <a:pt x="6081214" y="1482956"/>
                  <a:pt x="6086680" y="1485799"/>
                </a:cubicBezTo>
                <a:lnTo>
                  <a:pt x="6064802" y="1487758"/>
                </a:lnTo>
                <a:lnTo>
                  <a:pt x="6065697" y="1489953"/>
                </a:lnTo>
                <a:cubicBezTo>
                  <a:pt x="6061463" y="1494684"/>
                  <a:pt x="6058369" y="1496269"/>
                  <a:pt x="6055430" y="1496172"/>
                </a:cubicBezTo>
                <a:cubicBezTo>
                  <a:pt x="6052491" y="1496074"/>
                  <a:pt x="6049734" y="1494186"/>
                  <a:pt x="6046033" y="1492504"/>
                </a:cubicBezTo>
                <a:cubicBezTo>
                  <a:pt x="6046655" y="1491290"/>
                  <a:pt x="6046475" y="1489747"/>
                  <a:pt x="6046267" y="1488312"/>
                </a:cubicBezTo>
                <a:lnTo>
                  <a:pt x="6046888" y="1487098"/>
                </a:lnTo>
                <a:lnTo>
                  <a:pt x="6036506" y="1484891"/>
                </a:lnTo>
                <a:lnTo>
                  <a:pt x="6037473" y="1482391"/>
                </a:lnTo>
                <a:lnTo>
                  <a:pt x="6037139" y="1482530"/>
                </a:lnTo>
                <a:cubicBezTo>
                  <a:pt x="6032413" y="1483564"/>
                  <a:pt x="6026430" y="1482651"/>
                  <a:pt x="6018952" y="1478462"/>
                </a:cubicBezTo>
                <a:cubicBezTo>
                  <a:pt x="6015384" y="1477391"/>
                  <a:pt x="6017159" y="1477407"/>
                  <a:pt x="6015394" y="1476244"/>
                </a:cubicBezTo>
                <a:cubicBezTo>
                  <a:pt x="6013353" y="1475007"/>
                  <a:pt x="6009814" y="1473829"/>
                  <a:pt x="6008315" y="1473887"/>
                </a:cubicBezTo>
                <a:cubicBezTo>
                  <a:pt x="6012577" y="1469049"/>
                  <a:pt x="6006996" y="1466634"/>
                  <a:pt x="6014249" y="1459491"/>
                </a:cubicBezTo>
                <a:cubicBezTo>
                  <a:pt x="6018496" y="1454708"/>
                  <a:pt x="6023582" y="1452879"/>
                  <a:pt x="6028529" y="1452680"/>
                </a:cubicBezTo>
                <a:close/>
                <a:moveTo>
                  <a:pt x="5757334" y="1452062"/>
                </a:moveTo>
                <a:cubicBezTo>
                  <a:pt x="5764168" y="1459759"/>
                  <a:pt x="5764686" y="1475538"/>
                  <a:pt x="5748155" y="1475249"/>
                </a:cubicBezTo>
                <a:cubicBezTo>
                  <a:pt x="5750750" y="1467778"/>
                  <a:pt x="5750836" y="1458602"/>
                  <a:pt x="5757334" y="1452062"/>
                </a:cubicBezTo>
                <a:close/>
                <a:moveTo>
                  <a:pt x="1660686" y="1450336"/>
                </a:moveTo>
                <a:cubicBezTo>
                  <a:pt x="1663317" y="1453799"/>
                  <a:pt x="1663791" y="1456457"/>
                  <a:pt x="1662299" y="1458702"/>
                </a:cubicBezTo>
                <a:cubicBezTo>
                  <a:pt x="1660560" y="1460766"/>
                  <a:pt x="1656884" y="1462312"/>
                  <a:pt x="1651462" y="1463734"/>
                </a:cubicBezTo>
                <a:cubicBezTo>
                  <a:pt x="1649593" y="1461853"/>
                  <a:pt x="1649108" y="1460342"/>
                  <a:pt x="1649147" y="1459088"/>
                </a:cubicBezTo>
                <a:cubicBezTo>
                  <a:pt x="1649265" y="1455325"/>
                  <a:pt x="1656245" y="1453629"/>
                  <a:pt x="1660686" y="1450336"/>
                </a:cubicBezTo>
                <a:close/>
                <a:moveTo>
                  <a:pt x="650168" y="1447406"/>
                </a:moveTo>
                <a:cubicBezTo>
                  <a:pt x="691282" y="1467738"/>
                  <a:pt x="702253" y="1507593"/>
                  <a:pt x="721190" y="1540958"/>
                </a:cubicBezTo>
                <a:cubicBezTo>
                  <a:pt x="711512" y="1540549"/>
                  <a:pt x="707337" y="1545066"/>
                  <a:pt x="692049" y="1542349"/>
                </a:cubicBezTo>
                <a:cubicBezTo>
                  <a:pt x="680863" y="1507727"/>
                  <a:pt x="657858" y="1476262"/>
                  <a:pt x="650168" y="1447406"/>
                </a:cubicBezTo>
                <a:close/>
                <a:moveTo>
                  <a:pt x="5720631" y="1445084"/>
                </a:moveTo>
                <a:cubicBezTo>
                  <a:pt x="5724239" y="1445315"/>
                  <a:pt x="5727330" y="1446438"/>
                  <a:pt x="5729401" y="1448948"/>
                </a:cubicBezTo>
                <a:cubicBezTo>
                  <a:pt x="5722411" y="1451790"/>
                  <a:pt x="5709039" y="1460742"/>
                  <a:pt x="5697684" y="1458850"/>
                </a:cubicBezTo>
                <a:cubicBezTo>
                  <a:pt x="5695966" y="1458620"/>
                  <a:pt x="5694334" y="1458068"/>
                  <a:pt x="5692760" y="1457300"/>
                </a:cubicBezTo>
                <a:cubicBezTo>
                  <a:pt x="5691187" y="1456534"/>
                  <a:pt x="5689451" y="1455264"/>
                  <a:pt x="5687802" y="1453671"/>
                </a:cubicBezTo>
                <a:cubicBezTo>
                  <a:pt x="5694332" y="1451713"/>
                  <a:pt x="5709807" y="1444388"/>
                  <a:pt x="5720631" y="1445084"/>
                </a:cubicBezTo>
                <a:close/>
                <a:moveTo>
                  <a:pt x="1799139" y="1444969"/>
                </a:moveTo>
                <a:cubicBezTo>
                  <a:pt x="1803403" y="1443725"/>
                  <a:pt x="1808405" y="1444145"/>
                  <a:pt x="1810609" y="1448646"/>
                </a:cubicBezTo>
                <a:cubicBezTo>
                  <a:pt x="1811458" y="1449908"/>
                  <a:pt x="1810865" y="1451015"/>
                  <a:pt x="1809689" y="1452080"/>
                </a:cubicBezTo>
                <a:cubicBezTo>
                  <a:pt x="1806758" y="1454169"/>
                  <a:pt x="1800199" y="1455402"/>
                  <a:pt x="1795581" y="1453820"/>
                </a:cubicBezTo>
                <a:cubicBezTo>
                  <a:pt x="1794227" y="1453342"/>
                  <a:pt x="1792958" y="1452541"/>
                  <a:pt x="1792109" y="1451279"/>
                </a:cubicBezTo>
                <a:cubicBezTo>
                  <a:pt x="1791353" y="1449121"/>
                  <a:pt x="1794876" y="1446213"/>
                  <a:pt x="1799139" y="1444969"/>
                </a:cubicBezTo>
                <a:close/>
                <a:moveTo>
                  <a:pt x="1164552" y="1444703"/>
                </a:moveTo>
                <a:cubicBezTo>
                  <a:pt x="1171814" y="1445269"/>
                  <a:pt x="1171781" y="1448710"/>
                  <a:pt x="1174228" y="1453966"/>
                </a:cubicBezTo>
                <a:cubicBezTo>
                  <a:pt x="1171899" y="1453802"/>
                  <a:pt x="1171741" y="1458819"/>
                  <a:pt x="1171588" y="1460503"/>
                </a:cubicBezTo>
                <a:cubicBezTo>
                  <a:pt x="1166959" y="1460068"/>
                  <a:pt x="1165712" y="1465829"/>
                  <a:pt x="1158449" y="1465263"/>
                </a:cubicBezTo>
                <a:cubicBezTo>
                  <a:pt x="1155999" y="1463342"/>
                  <a:pt x="1154759" y="1462434"/>
                  <a:pt x="1153397" y="1459769"/>
                </a:cubicBezTo>
                <a:cubicBezTo>
                  <a:pt x="1154957" y="1447307"/>
                  <a:pt x="1164702" y="1446353"/>
                  <a:pt x="1164552" y="1444703"/>
                </a:cubicBezTo>
                <a:close/>
                <a:moveTo>
                  <a:pt x="1027019" y="1444422"/>
                </a:moveTo>
                <a:cubicBezTo>
                  <a:pt x="1028402" y="1444792"/>
                  <a:pt x="1029469" y="1446343"/>
                  <a:pt x="1029469" y="1446343"/>
                </a:cubicBezTo>
                <a:cubicBezTo>
                  <a:pt x="1030814" y="1447969"/>
                  <a:pt x="1030814" y="1447969"/>
                  <a:pt x="1032790" y="1447233"/>
                </a:cubicBezTo>
                <a:cubicBezTo>
                  <a:pt x="1032790" y="1447233"/>
                  <a:pt x="1032197" y="1448339"/>
                  <a:pt x="1032197" y="1448339"/>
                </a:cubicBezTo>
                <a:cubicBezTo>
                  <a:pt x="1030565" y="1447788"/>
                  <a:pt x="1032473" y="1448414"/>
                  <a:pt x="1033540" y="1449964"/>
                </a:cubicBezTo>
                <a:cubicBezTo>
                  <a:pt x="1031000" y="1451698"/>
                  <a:pt x="1030406" y="1452804"/>
                  <a:pt x="1028459" y="1453433"/>
                </a:cubicBezTo>
                <a:cubicBezTo>
                  <a:pt x="1027209" y="1453673"/>
                  <a:pt x="1025930" y="1454020"/>
                  <a:pt x="1024489" y="1453864"/>
                </a:cubicBezTo>
                <a:cubicBezTo>
                  <a:pt x="1023019" y="1453816"/>
                  <a:pt x="1021912" y="1453519"/>
                  <a:pt x="1021530" y="1452726"/>
                </a:cubicBezTo>
                <a:cubicBezTo>
                  <a:pt x="1021818" y="1451653"/>
                  <a:pt x="1020187" y="1451101"/>
                  <a:pt x="1020780" y="1449995"/>
                </a:cubicBezTo>
                <a:cubicBezTo>
                  <a:pt x="1020000" y="1447371"/>
                  <a:pt x="1020592" y="1446265"/>
                  <a:pt x="1022541" y="1445637"/>
                </a:cubicBezTo>
                <a:cubicBezTo>
                  <a:pt x="1023134" y="1444530"/>
                  <a:pt x="1024794" y="1444975"/>
                  <a:pt x="1027019" y="1444422"/>
                </a:cubicBezTo>
                <a:close/>
                <a:moveTo>
                  <a:pt x="1467594" y="1443792"/>
                </a:moveTo>
                <a:lnTo>
                  <a:pt x="1479765" y="1450387"/>
                </a:lnTo>
                <a:lnTo>
                  <a:pt x="1487021" y="1448767"/>
                </a:lnTo>
                <a:cubicBezTo>
                  <a:pt x="1487017" y="1452101"/>
                  <a:pt x="1497819" y="1453846"/>
                  <a:pt x="1497689" y="1458756"/>
                </a:cubicBezTo>
                <a:cubicBezTo>
                  <a:pt x="1499543" y="1473973"/>
                  <a:pt x="1493521" y="1474314"/>
                  <a:pt x="1481597" y="1476754"/>
                </a:cubicBezTo>
                <a:cubicBezTo>
                  <a:pt x="1482686" y="1476011"/>
                  <a:pt x="1480357" y="1475847"/>
                  <a:pt x="1480357" y="1475847"/>
                </a:cubicBezTo>
                <a:cubicBezTo>
                  <a:pt x="1475423" y="1475445"/>
                  <a:pt x="1481439" y="1481772"/>
                  <a:pt x="1475416" y="1482113"/>
                </a:cubicBezTo>
                <a:cubicBezTo>
                  <a:pt x="1472782" y="1481983"/>
                  <a:pt x="1470539" y="1481497"/>
                  <a:pt x="1468660" y="1480762"/>
                </a:cubicBezTo>
                <a:cubicBezTo>
                  <a:pt x="1462527" y="1478199"/>
                  <a:pt x="1458275" y="1473035"/>
                  <a:pt x="1456169" y="1469826"/>
                </a:cubicBezTo>
                <a:lnTo>
                  <a:pt x="1455511" y="1468960"/>
                </a:lnTo>
                <a:lnTo>
                  <a:pt x="1453718" y="1467905"/>
                </a:lnTo>
                <a:lnTo>
                  <a:pt x="1453079" y="1468077"/>
                </a:lnTo>
                <a:lnTo>
                  <a:pt x="1453222" y="1467541"/>
                </a:lnTo>
                <a:lnTo>
                  <a:pt x="1449578" y="1465644"/>
                </a:lnTo>
                <a:lnTo>
                  <a:pt x="1451507" y="1463977"/>
                </a:lnTo>
                <a:lnTo>
                  <a:pt x="1450739" y="1460207"/>
                </a:lnTo>
                <a:cubicBezTo>
                  <a:pt x="1451027" y="1459132"/>
                  <a:pt x="1452059" y="1458604"/>
                  <a:pt x="1454387" y="1458768"/>
                </a:cubicBezTo>
                <a:cubicBezTo>
                  <a:pt x="1457804" y="1458188"/>
                  <a:pt x="1459195" y="1460747"/>
                  <a:pt x="1463852" y="1461075"/>
                </a:cubicBezTo>
                <a:cubicBezTo>
                  <a:pt x="1468014" y="1461040"/>
                  <a:pt x="1469705" y="1458043"/>
                  <a:pt x="1472316" y="1454947"/>
                </a:cubicBezTo>
                <a:lnTo>
                  <a:pt x="1476393" y="1451899"/>
                </a:lnTo>
                <a:lnTo>
                  <a:pt x="1474170" y="1452454"/>
                </a:lnTo>
                <a:cubicBezTo>
                  <a:pt x="1466505" y="1453390"/>
                  <a:pt x="1454843" y="1451530"/>
                  <a:pt x="1450500" y="1444502"/>
                </a:cubicBezTo>
                <a:cubicBezTo>
                  <a:pt x="1457430" y="1441873"/>
                  <a:pt x="1462699" y="1442135"/>
                  <a:pt x="1467594" y="1443792"/>
                </a:cubicBezTo>
                <a:close/>
                <a:moveTo>
                  <a:pt x="5700321" y="1443198"/>
                </a:moveTo>
                <a:cubicBezTo>
                  <a:pt x="5701560" y="1442724"/>
                  <a:pt x="5702927" y="1442602"/>
                  <a:pt x="5704401" y="1443744"/>
                </a:cubicBezTo>
                <a:cubicBezTo>
                  <a:pt x="5702194" y="1445338"/>
                  <a:pt x="5699970" y="1445893"/>
                  <a:pt x="5697012" y="1444754"/>
                </a:cubicBezTo>
                <a:cubicBezTo>
                  <a:pt x="5697972" y="1444494"/>
                  <a:pt x="5699083" y="1443670"/>
                  <a:pt x="5700321" y="1443198"/>
                </a:cubicBezTo>
                <a:close/>
                <a:moveTo>
                  <a:pt x="1431052" y="1441821"/>
                </a:moveTo>
                <a:cubicBezTo>
                  <a:pt x="1434956" y="1439416"/>
                  <a:pt x="1439920" y="1439711"/>
                  <a:pt x="1444515" y="1443587"/>
                </a:cubicBezTo>
                <a:cubicBezTo>
                  <a:pt x="1445572" y="1446286"/>
                  <a:pt x="1443614" y="1448061"/>
                  <a:pt x="1441627" y="1449944"/>
                </a:cubicBezTo>
                <a:cubicBezTo>
                  <a:pt x="1439534" y="1451108"/>
                  <a:pt x="1437731" y="1451200"/>
                  <a:pt x="1436128" y="1450541"/>
                </a:cubicBezTo>
                <a:cubicBezTo>
                  <a:pt x="1434526" y="1449881"/>
                  <a:pt x="1433095" y="1448579"/>
                  <a:pt x="1431751" y="1446953"/>
                </a:cubicBezTo>
                <a:cubicBezTo>
                  <a:pt x="1428786" y="1443628"/>
                  <a:pt x="1431052" y="1441821"/>
                  <a:pt x="1431052" y="1441821"/>
                </a:cubicBezTo>
                <a:close/>
                <a:moveTo>
                  <a:pt x="5457310" y="1441707"/>
                </a:moveTo>
                <a:lnTo>
                  <a:pt x="5457450" y="1442069"/>
                </a:lnTo>
                <a:lnTo>
                  <a:pt x="5457932" y="1442150"/>
                </a:lnTo>
                <a:close/>
                <a:moveTo>
                  <a:pt x="1827838" y="1439692"/>
                </a:moveTo>
                <a:cubicBezTo>
                  <a:pt x="1831744" y="1437289"/>
                  <a:pt x="1836092" y="1440984"/>
                  <a:pt x="1842388" y="1444051"/>
                </a:cubicBezTo>
                <a:cubicBezTo>
                  <a:pt x="1840441" y="1444679"/>
                  <a:pt x="1841785" y="1446305"/>
                  <a:pt x="1843128" y="1447929"/>
                </a:cubicBezTo>
                <a:cubicBezTo>
                  <a:pt x="1840455" y="1449053"/>
                  <a:pt x="1836634" y="1451135"/>
                  <a:pt x="1832380" y="1449304"/>
                </a:cubicBezTo>
                <a:cubicBezTo>
                  <a:pt x="1831053" y="1448720"/>
                  <a:pt x="1829843" y="1447704"/>
                  <a:pt x="1828222" y="1446005"/>
                </a:cubicBezTo>
                <a:cubicBezTo>
                  <a:pt x="1826868" y="1445528"/>
                  <a:pt x="1826167" y="1440394"/>
                  <a:pt x="1827838" y="1439692"/>
                </a:cubicBezTo>
                <a:close/>
                <a:moveTo>
                  <a:pt x="6071642" y="1438989"/>
                </a:moveTo>
                <a:cubicBezTo>
                  <a:pt x="6073712" y="1440119"/>
                  <a:pt x="6075943" y="1441753"/>
                  <a:pt x="6077477" y="1443774"/>
                </a:cubicBezTo>
                <a:cubicBezTo>
                  <a:pt x="6079479" y="1446264"/>
                  <a:pt x="6080668" y="1449573"/>
                  <a:pt x="6080826" y="1453411"/>
                </a:cubicBezTo>
                <a:cubicBezTo>
                  <a:pt x="6078789" y="1457694"/>
                  <a:pt x="6067861" y="1457527"/>
                  <a:pt x="6060315" y="1454700"/>
                </a:cubicBezTo>
                <a:cubicBezTo>
                  <a:pt x="6057911" y="1453711"/>
                  <a:pt x="6055563" y="1452506"/>
                  <a:pt x="6054468" y="1451063"/>
                </a:cubicBezTo>
                <a:cubicBezTo>
                  <a:pt x="6053918" y="1447581"/>
                  <a:pt x="6053368" y="1444099"/>
                  <a:pt x="6052847" y="1440509"/>
                </a:cubicBezTo>
                <a:cubicBezTo>
                  <a:pt x="6056527" y="1435630"/>
                  <a:pt x="6065155" y="1435526"/>
                  <a:pt x="6071642" y="1438989"/>
                </a:cubicBezTo>
                <a:close/>
                <a:moveTo>
                  <a:pt x="5423890" y="1438044"/>
                </a:moveTo>
                <a:lnTo>
                  <a:pt x="5424093" y="1438267"/>
                </a:lnTo>
                <a:lnTo>
                  <a:pt x="5424372" y="1438229"/>
                </a:lnTo>
                <a:close/>
                <a:moveTo>
                  <a:pt x="1578419" y="1437492"/>
                </a:moveTo>
                <a:cubicBezTo>
                  <a:pt x="1581423" y="1439562"/>
                  <a:pt x="1586662" y="1439931"/>
                  <a:pt x="1589351" y="1443181"/>
                </a:cubicBezTo>
                <a:cubicBezTo>
                  <a:pt x="1589351" y="1443181"/>
                  <a:pt x="1590694" y="1444806"/>
                  <a:pt x="1590367" y="1447134"/>
                </a:cubicBezTo>
                <a:cubicBezTo>
                  <a:pt x="1593016" y="1451638"/>
                  <a:pt x="1587173" y="1453522"/>
                  <a:pt x="1587173" y="1453522"/>
                </a:cubicBezTo>
                <a:cubicBezTo>
                  <a:pt x="1587173" y="1453522"/>
                  <a:pt x="1587173" y="1453522"/>
                  <a:pt x="1588833" y="1453968"/>
                </a:cubicBezTo>
                <a:cubicBezTo>
                  <a:pt x="1585818" y="1453045"/>
                  <a:pt x="1582210" y="1453228"/>
                  <a:pt x="1578918" y="1452231"/>
                </a:cubicBezTo>
                <a:lnTo>
                  <a:pt x="1578261" y="1451364"/>
                </a:lnTo>
                <a:lnTo>
                  <a:pt x="1578555" y="1452479"/>
                </a:lnTo>
                <a:cubicBezTo>
                  <a:pt x="1574937" y="1453809"/>
                  <a:pt x="1570995" y="1454132"/>
                  <a:pt x="1567063" y="1453310"/>
                </a:cubicBezTo>
                <a:cubicBezTo>
                  <a:pt x="1563160" y="1452378"/>
                  <a:pt x="1559545" y="1450375"/>
                  <a:pt x="1556027" y="1446902"/>
                </a:cubicBezTo>
                <a:cubicBezTo>
                  <a:pt x="1555338" y="1440622"/>
                  <a:pt x="1565827" y="1440213"/>
                  <a:pt x="1571107" y="1439326"/>
                </a:cubicBezTo>
                <a:lnTo>
                  <a:pt x="1572612" y="1441456"/>
                </a:lnTo>
                <a:lnTo>
                  <a:pt x="1574599" y="1439573"/>
                </a:lnTo>
                <a:cubicBezTo>
                  <a:pt x="1575658" y="1438937"/>
                  <a:pt x="1577024" y="1438268"/>
                  <a:pt x="1578419" y="1437492"/>
                </a:cubicBezTo>
                <a:close/>
                <a:moveTo>
                  <a:pt x="1331595" y="1436676"/>
                </a:moveTo>
                <a:lnTo>
                  <a:pt x="1333967" y="1441107"/>
                </a:lnTo>
                <a:lnTo>
                  <a:pt x="1336501" y="1437186"/>
                </a:lnTo>
                <a:close/>
                <a:moveTo>
                  <a:pt x="733220" y="1432974"/>
                </a:moveTo>
                <a:cubicBezTo>
                  <a:pt x="738539" y="1439689"/>
                  <a:pt x="739058" y="1443279"/>
                  <a:pt x="737215" y="1444625"/>
                </a:cubicBezTo>
                <a:cubicBezTo>
                  <a:pt x="736012" y="1445797"/>
                  <a:pt x="733405" y="1445560"/>
                  <a:pt x="730639" y="1444819"/>
                </a:cubicBezTo>
                <a:cubicBezTo>
                  <a:pt x="722672" y="1442453"/>
                  <a:pt x="713404" y="1433875"/>
                  <a:pt x="733220" y="1432974"/>
                </a:cubicBezTo>
                <a:close/>
                <a:moveTo>
                  <a:pt x="6009258" y="1432739"/>
                </a:moveTo>
                <a:cubicBezTo>
                  <a:pt x="6013095" y="1431698"/>
                  <a:pt x="6017426" y="1434352"/>
                  <a:pt x="6019345" y="1433832"/>
                </a:cubicBezTo>
                <a:cubicBezTo>
                  <a:pt x="6019057" y="1434905"/>
                  <a:pt x="6018425" y="1437265"/>
                  <a:pt x="6021371" y="1439549"/>
                </a:cubicBezTo>
                <a:cubicBezTo>
                  <a:pt x="6019453" y="1440071"/>
                  <a:pt x="6017505" y="1440699"/>
                  <a:pt x="6015729" y="1440683"/>
                </a:cubicBezTo>
                <a:cubicBezTo>
                  <a:pt x="6014842" y="1440676"/>
                  <a:pt x="6014011" y="1440453"/>
                  <a:pt x="6013239" y="1440015"/>
                </a:cubicBezTo>
                <a:cubicBezTo>
                  <a:pt x="6012438" y="1439686"/>
                  <a:pt x="6011694" y="1439142"/>
                  <a:pt x="6011036" y="1438276"/>
                </a:cubicBezTo>
                <a:cubicBezTo>
                  <a:pt x="6009721" y="1436543"/>
                  <a:pt x="6008654" y="1434993"/>
                  <a:pt x="6009258" y="1432739"/>
                </a:cubicBezTo>
                <a:close/>
                <a:moveTo>
                  <a:pt x="5315207" y="1431922"/>
                </a:moveTo>
                <a:cubicBezTo>
                  <a:pt x="5333404" y="1434842"/>
                  <a:pt x="5341914" y="1438503"/>
                  <a:pt x="5347958" y="1444722"/>
                </a:cubicBezTo>
                <a:lnTo>
                  <a:pt x="5353295" y="1452477"/>
                </a:lnTo>
                <a:lnTo>
                  <a:pt x="5355404" y="1452353"/>
                </a:lnTo>
                <a:cubicBezTo>
                  <a:pt x="5360823" y="1454264"/>
                  <a:pt x="5364420" y="1455228"/>
                  <a:pt x="5364043" y="1459957"/>
                </a:cubicBezTo>
                <a:cubicBezTo>
                  <a:pt x="5362516" y="1460123"/>
                  <a:pt x="5358624" y="1458045"/>
                  <a:pt x="5356554" y="1456916"/>
                </a:cubicBezTo>
                <a:lnTo>
                  <a:pt x="5356029" y="1456660"/>
                </a:lnTo>
                <a:lnTo>
                  <a:pt x="5365394" y="1472624"/>
                </a:lnTo>
                <a:cubicBezTo>
                  <a:pt x="5358670" y="1476688"/>
                  <a:pt x="5354142" y="1471450"/>
                  <a:pt x="5347631" y="1473614"/>
                </a:cubicBezTo>
                <a:cubicBezTo>
                  <a:pt x="5335539" y="1464509"/>
                  <a:pt x="5344817" y="1463086"/>
                  <a:pt x="5340261" y="1457954"/>
                </a:cubicBezTo>
                <a:cubicBezTo>
                  <a:pt x="5340261" y="1457954"/>
                  <a:pt x="5340232" y="1458062"/>
                  <a:pt x="5327486" y="1462466"/>
                </a:cubicBezTo>
                <a:cubicBezTo>
                  <a:pt x="5316371" y="1449714"/>
                  <a:pt x="5313281" y="1439110"/>
                  <a:pt x="5315207" y="1431922"/>
                </a:cubicBezTo>
                <a:close/>
                <a:moveTo>
                  <a:pt x="6211359" y="1431117"/>
                </a:moveTo>
                <a:cubicBezTo>
                  <a:pt x="6215078" y="1433838"/>
                  <a:pt x="6218532" y="1435338"/>
                  <a:pt x="6220505" y="1437937"/>
                </a:cubicBezTo>
                <a:cubicBezTo>
                  <a:pt x="6219729" y="1440834"/>
                  <a:pt x="6217389" y="1441818"/>
                  <a:pt x="6214813" y="1441472"/>
                </a:cubicBezTo>
                <a:cubicBezTo>
                  <a:pt x="6212236" y="1441127"/>
                  <a:pt x="6208869" y="1439304"/>
                  <a:pt x="6206008" y="1436698"/>
                </a:cubicBezTo>
                <a:cubicBezTo>
                  <a:pt x="6207223" y="1434378"/>
                  <a:pt x="6208438" y="1432059"/>
                  <a:pt x="6211359" y="1431117"/>
                </a:cubicBezTo>
                <a:close/>
                <a:moveTo>
                  <a:pt x="1450773" y="1430200"/>
                </a:moveTo>
                <a:cubicBezTo>
                  <a:pt x="1449407" y="1430868"/>
                  <a:pt x="1449407" y="1430868"/>
                  <a:pt x="1449407" y="1430868"/>
                </a:cubicBezTo>
                <a:cubicBezTo>
                  <a:pt x="1449252" y="1432551"/>
                  <a:pt x="1450646" y="1431776"/>
                  <a:pt x="1451886" y="1432683"/>
                </a:cubicBezTo>
                <a:cubicBezTo>
                  <a:pt x="1451886" y="1432683"/>
                  <a:pt x="1450646" y="1431776"/>
                  <a:pt x="1452975" y="1431939"/>
                </a:cubicBezTo>
                <a:cubicBezTo>
                  <a:pt x="1451886" y="1432683"/>
                  <a:pt x="1453097" y="1433696"/>
                  <a:pt x="1454060" y="1434530"/>
                </a:cubicBezTo>
                <a:cubicBezTo>
                  <a:pt x="1454028" y="1437972"/>
                  <a:pt x="1452907" y="1442156"/>
                  <a:pt x="1449212" y="1442661"/>
                </a:cubicBezTo>
                <a:cubicBezTo>
                  <a:pt x="1444278" y="1442259"/>
                  <a:pt x="1443222" y="1439562"/>
                  <a:pt x="1443071" y="1437910"/>
                </a:cubicBezTo>
                <a:cubicBezTo>
                  <a:pt x="1442061" y="1436146"/>
                  <a:pt x="1442769" y="1434609"/>
                  <a:pt x="1444336" y="1433190"/>
                </a:cubicBezTo>
                <a:cubicBezTo>
                  <a:pt x="1445874" y="1431877"/>
                  <a:pt x="1448243" y="1430786"/>
                  <a:pt x="1450773" y="1430200"/>
                </a:cubicBezTo>
                <a:close/>
                <a:moveTo>
                  <a:pt x="5889294" y="1425550"/>
                </a:moveTo>
                <a:cubicBezTo>
                  <a:pt x="5893092" y="1425763"/>
                  <a:pt x="5895108" y="1423772"/>
                  <a:pt x="5900383" y="1426221"/>
                </a:cubicBezTo>
                <a:cubicBezTo>
                  <a:pt x="5898967" y="1429292"/>
                  <a:pt x="5896980" y="1431174"/>
                  <a:pt x="5895564" y="1434245"/>
                </a:cubicBezTo>
                <a:cubicBezTo>
                  <a:pt x="5893817" y="1434122"/>
                  <a:pt x="5892405" y="1433860"/>
                  <a:pt x="5891356" y="1433348"/>
                </a:cubicBezTo>
                <a:cubicBezTo>
                  <a:pt x="5890335" y="1432729"/>
                  <a:pt x="5889649" y="1431971"/>
                  <a:pt x="5889545" y="1431253"/>
                </a:cubicBezTo>
                <a:cubicBezTo>
                  <a:pt x="5888783" y="1429669"/>
                  <a:pt x="5889024" y="1427663"/>
                  <a:pt x="5889294" y="1425550"/>
                </a:cubicBezTo>
                <a:close/>
                <a:moveTo>
                  <a:pt x="1776493" y="1425029"/>
                </a:moveTo>
                <a:cubicBezTo>
                  <a:pt x="1778116" y="1424098"/>
                  <a:pt x="1780424" y="1424056"/>
                  <a:pt x="1783586" y="1425535"/>
                </a:cubicBezTo>
                <a:cubicBezTo>
                  <a:pt x="1785685" y="1426557"/>
                  <a:pt x="1788060" y="1427654"/>
                  <a:pt x="1786533" y="1427820"/>
                </a:cubicBezTo>
                <a:cubicBezTo>
                  <a:pt x="1787381" y="1429082"/>
                  <a:pt x="1785855" y="1429248"/>
                  <a:pt x="1784869" y="1430709"/>
                </a:cubicBezTo>
                <a:cubicBezTo>
                  <a:pt x="1782939" y="1432377"/>
                  <a:pt x="1778606" y="1433056"/>
                  <a:pt x="1776478" y="1432141"/>
                </a:cubicBezTo>
                <a:cubicBezTo>
                  <a:pt x="1774380" y="1431118"/>
                  <a:pt x="1773531" y="1429856"/>
                  <a:pt x="1773531" y="1429856"/>
                </a:cubicBezTo>
                <a:cubicBezTo>
                  <a:pt x="1773939" y="1427780"/>
                  <a:pt x="1774872" y="1425960"/>
                  <a:pt x="1776493" y="1425029"/>
                </a:cubicBezTo>
                <a:close/>
                <a:moveTo>
                  <a:pt x="5677050" y="1422960"/>
                </a:moveTo>
                <a:cubicBezTo>
                  <a:pt x="5684719" y="1418691"/>
                  <a:pt x="5690282" y="1428921"/>
                  <a:pt x="5688837" y="1432098"/>
                </a:cubicBezTo>
                <a:cubicBezTo>
                  <a:pt x="5687108" y="1433016"/>
                  <a:pt x="5685334" y="1433000"/>
                  <a:pt x="5683978" y="1432522"/>
                </a:cubicBezTo>
                <a:cubicBezTo>
                  <a:pt x="5679027" y="1431081"/>
                  <a:pt x="5675806" y="1425387"/>
                  <a:pt x="5677050" y="1422960"/>
                </a:cubicBezTo>
                <a:close/>
                <a:moveTo>
                  <a:pt x="1810611" y="1422081"/>
                </a:moveTo>
                <a:cubicBezTo>
                  <a:pt x="1814923" y="1423696"/>
                  <a:pt x="1816953" y="1426081"/>
                  <a:pt x="1817705" y="1428812"/>
                </a:cubicBezTo>
                <a:lnTo>
                  <a:pt x="1816877" y="1434110"/>
                </a:lnTo>
                <a:lnTo>
                  <a:pt x="1820047" y="1433349"/>
                </a:lnTo>
                <a:cubicBezTo>
                  <a:pt x="1824295" y="1432993"/>
                  <a:pt x="1824797" y="1435543"/>
                  <a:pt x="1826587" y="1439933"/>
                </a:cubicBezTo>
                <a:cubicBezTo>
                  <a:pt x="1823390" y="1440800"/>
                  <a:pt x="1821061" y="1440636"/>
                  <a:pt x="1819238" y="1439689"/>
                </a:cubicBezTo>
                <a:lnTo>
                  <a:pt x="1816492" y="1436652"/>
                </a:lnTo>
                <a:lnTo>
                  <a:pt x="1816539" y="1437585"/>
                </a:lnTo>
                <a:cubicBezTo>
                  <a:pt x="1812827" y="1437051"/>
                  <a:pt x="1809963" y="1437778"/>
                  <a:pt x="1806251" y="1437243"/>
                </a:cubicBezTo>
                <a:lnTo>
                  <a:pt x="1803013" y="1439366"/>
                </a:lnTo>
                <a:cubicBezTo>
                  <a:pt x="1797806" y="1435555"/>
                  <a:pt x="1798281" y="1429358"/>
                  <a:pt x="1801558" y="1425981"/>
                </a:cubicBezTo>
                <a:lnTo>
                  <a:pt x="1802952" y="1425204"/>
                </a:lnTo>
                <a:lnTo>
                  <a:pt x="1803757" y="1422199"/>
                </a:lnTo>
                <a:cubicBezTo>
                  <a:pt x="1805209" y="1421209"/>
                  <a:pt x="1807349" y="1420977"/>
                  <a:pt x="1810611" y="1422081"/>
                </a:cubicBezTo>
                <a:close/>
                <a:moveTo>
                  <a:pt x="1609141" y="1421343"/>
                </a:moveTo>
                <a:cubicBezTo>
                  <a:pt x="1615109" y="1426737"/>
                  <a:pt x="1619044" y="1424227"/>
                  <a:pt x="1627673" y="1432979"/>
                </a:cubicBezTo>
                <a:cubicBezTo>
                  <a:pt x="1639304" y="1443801"/>
                  <a:pt x="1634440" y="1450893"/>
                  <a:pt x="1628585" y="1453923"/>
                </a:cubicBezTo>
                <a:cubicBezTo>
                  <a:pt x="1627432" y="1452694"/>
                  <a:pt x="1619457" y="1456997"/>
                  <a:pt x="1610193" y="1453941"/>
                </a:cubicBezTo>
                <a:cubicBezTo>
                  <a:pt x="1606931" y="1452837"/>
                  <a:pt x="1603564" y="1451014"/>
                  <a:pt x="1600513" y="1448012"/>
                </a:cubicBezTo>
                <a:cubicBezTo>
                  <a:pt x="1593228" y="1440885"/>
                  <a:pt x="1587903" y="1431982"/>
                  <a:pt x="1601300" y="1426258"/>
                </a:cubicBezTo>
                <a:cubicBezTo>
                  <a:pt x="1603287" y="1424375"/>
                  <a:pt x="1602971" y="1425554"/>
                  <a:pt x="1604919" y="1424927"/>
                </a:cubicBezTo>
                <a:cubicBezTo>
                  <a:pt x="1606867" y="1424299"/>
                  <a:pt x="1608854" y="1422416"/>
                  <a:pt x="1609141" y="1421343"/>
                </a:cubicBezTo>
                <a:close/>
                <a:moveTo>
                  <a:pt x="1549444" y="1418070"/>
                </a:moveTo>
                <a:cubicBezTo>
                  <a:pt x="1553404" y="1417679"/>
                  <a:pt x="1557782" y="1418220"/>
                  <a:pt x="1558978" y="1419286"/>
                </a:cubicBezTo>
                <a:cubicBezTo>
                  <a:pt x="1559349" y="1421226"/>
                  <a:pt x="1551126" y="1425349"/>
                  <a:pt x="1545944" y="1424766"/>
                </a:cubicBezTo>
                <a:cubicBezTo>
                  <a:pt x="1544475" y="1424716"/>
                  <a:pt x="1542900" y="1423950"/>
                  <a:pt x="1542416" y="1422439"/>
                </a:cubicBezTo>
                <a:cubicBezTo>
                  <a:pt x="1541942" y="1419782"/>
                  <a:pt x="1545484" y="1418461"/>
                  <a:pt x="1549444" y="1418070"/>
                </a:cubicBezTo>
                <a:close/>
                <a:moveTo>
                  <a:pt x="1848203" y="1415709"/>
                </a:moveTo>
                <a:cubicBezTo>
                  <a:pt x="1855239" y="1422654"/>
                  <a:pt x="1851907" y="1422912"/>
                  <a:pt x="1844682" y="1424425"/>
                </a:cubicBezTo>
                <a:cubicBezTo>
                  <a:pt x="1840372" y="1419476"/>
                  <a:pt x="1842637" y="1417667"/>
                  <a:pt x="1848203" y="1415709"/>
                </a:cubicBezTo>
                <a:close/>
                <a:moveTo>
                  <a:pt x="5837679" y="1415630"/>
                </a:moveTo>
                <a:cubicBezTo>
                  <a:pt x="5842588" y="1412806"/>
                  <a:pt x="5849286" y="1414371"/>
                  <a:pt x="5854055" y="1417603"/>
                </a:cubicBezTo>
                <a:cubicBezTo>
                  <a:pt x="5858824" y="1420835"/>
                  <a:pt x="5862274" y="1425670"/>
                  <a:pt x="5860962" y="1429459"/>
                </a:cubicBezTo>
                <a:cubicBezTo>
                  <a:pt x="5857497" y="1429105"/>
                  <a:pt x="5854644" y="1428686"/>
                  <a:pt x="5851820" y="1428159"/>
                </a:cubicBezTo>
                <a:cubicBezTo>
                  <a:pt x="5849300" y="1427600"/>
                  <a:pt x="5846839" y="1426826"/>
                  <a:pt x="5845017" y="1425877"/>
                </a:cubicBezTo>
                <a:cubicBezTo>
                  <a:pt x="5840848" y="1423724"/>
                  <a:pt x="5838437" y="1420548"/>
                  <a:pt x="5837679" y="1415630"/>
                </a:cubicBezTo>
                <a:close/>
                <a:moveTo>
                  <a:pt x="1290503" y="1414050"/>
                </a:moveTo>
                <a:cubicBezTo>
                  <a:pt x="1296832" y="1413677"/>
                  <a:pt x="1299156" y="1417174"/>
                  <a:pt x="1304091" y="1417577"/>
                </a:cubicBezTo>
                <a:lnTo>
                  <a:pt x="1302685" y="1419500"/>
                </a:lnTo>
                <a:lnTo>
                  <a:pt x="1318665" y="1425162"/>
                </a:lnTo>
                <a:lnTo>
                  <a:pt x="1320124" y="1426358"/>
                </a:lnTo>
                <a:lnTo>
                  <a:pt x="1320469" y="1425070"/>
                </a:lnTo>
                <a:cubicBezTo>
                  <a:pt x="1321569" y="1423179"/>
                  <a:pt x="1323079" y="1421974"/>
                  <a:pt x="1325360" y="1421205"/>
                </a:cubicBezTo>
                <a:lnTo>
                  <a:pt x="1327107" y="1421328"/>
                </a:lnTo>
                <a:lnTo>
                  <a:pt x="1345461" y="1422567"/>
                </a:lnTo>
                <a:cubicBezTo>
                  <a:pt x="1346383" y="1424654"/>
                  <a:pt x="1347669" y="1426493"/>
                  <a:pt x="1349175" y="1428622"/>
                </a:cubicBezTo>
                <a:lnTo>
                  <a:pt x="1349613" y="1429199"/>
                </a:lnTo>
                <a:lnTo>
                  <a:pt x="1357005" y="1424855"/>
                </a:lnTo>
                <a:lnTo>
                  <a:pt x="1363729" y="1429646"/>
                </a:lnTo>
                <a:lnTo>
                  <a:pt x="1364789" y="1429010"/>
                </a:lnTo>
                <a:cubicBezTo>
                  <a:pt x="1386894" y="1420673"/>
                  <a:pt x="1410679" y="1419342"/>
                  <a:pt x="1436276" y="1428959"/>
                </a:cubicBezTo>
                <a:cubicBezTo>
                  <a:pt x="1435327" y="1432501"/>
                  <a:pt x="1434683" y="1436008"/>
                  <a:pt x="1427741" y="1439783"/>
                </a:cubicBezTo>
                <a:cubicBezTo>
                  <a:pt x="1405674" y="1432490"/>
                  <a:pt x="1385753" y="1441527"/>
                  <a:pt x="1364746" y="1442454"/>
                </a:cubicBezTo>
                <a:lnTo>
                  <a:pt x="1363276" y="1442405"/>
                </a:lnTo>
                <a:lnTo>
                  <a:pt x="1353657" y="1450638"/>
                </a:lnTo>
                <a:cubicBezTo>
                  <a:pt x="1348776" y="1453355"/>
                  <a:pt x="1342713" y="1454950"/>
                  <a:pt x="1337445" y="1454689"/>
                </a:cubicBezTo>
                <a:lnTo>
                  <a:pt x="1336644" y="1454359"/>
                </a:lnTo>
                <a:lnTo>
                  <a:pt x="1333675" y="1463224"/>
                </a:lnTo>
                <a:cubicBezTo>
                  <a:pt x="1331953" y="1466327"/>
                  <a:pt x="1329679" y="1469283"/>
                  <a:pt x="1326602" y="1471909"/>
                </a:cubicBezTo>
                <a:cubicBezTo>
                  <a:pt x="1324112" y="1471242"/>
                  <a:pt x="1321927" y="1470541"/>
                  <a:pt x="1321220" y="1472077"/>
                </a:cubicBezTo>
                <a:cubicBezTo>
                  <a:pt x="1306191" y="1468395"/>
                  <a:pt x="1295275" y="1458225"/>
                  <a:pt x="1291078" y="1447325"/>
                </a:cubicBezTo>
                <a:cubicBezTo>
                  <a:pt x="1287908" y="1439230"/>
                  <a:pt x="1288710" y="1430705"/>
                  <a:pt x="1294233" y="1424480"/>
                </a:cubicBezTo>
                <a:lnTo>
                  <a:pt x="1295351" y="1423630"/>
                </a:lnTo>
                <a:lnTo>
                  <a:pt x="1292763" y="1424431"/>
                </a:lnTo>
                <a:cubicBezTo>
                  <a:pt x="1290158" y="1424193"/>
                  <a:pt x="1290187" y="1424086"/>
                  <a:pt x="1289224" y="1423252"/>
                </a:cubicBezTo>
                <a:cubicBezTo>
                  <a:pt x="1285378" y="1422107"/>
                  <a:pt x="1283050" y="1421944"/>
                  <a:pt x="1281964" y="1419352"/>
                </a:cubicBezTo>
                <a:cubicBezTo>
                  <a:pt x="1281375" y="1417125"/>
                  <a:pt x="1282274" y="1415986"/>
                  <a:pt x="1283668" y="1415209"/>
                </a:cubicBezTo>
                <a:cubicBezTo>
                  <a:pt x="1285339" y="1414507"/>
                  <a:pt x="1287477" y="1414275"/>
                  <a:pt x="1290503" y="1414050"/>
                </a:cubicBezTo>
                <a:close/>
                <a:moveTo>
                  <a:pt x="1766431" y="1412083"/>
                </a:moveTo>
                <a:lnTo>
                  <a:pt x="1772698" y="1415257"/>
                </a:lnTo>
                <a:cubicBezTo>
                  <a:pt x="1772018" y="1416686"/>
                  <a:pt x="1769813" y="1418279"/>
                  <a:pt x="1767714" y="1417257"/>
                </a:cubicBezTo>
                <a:cubicBezTo>
                  <a:pt x="1766026" y="1416920"/>
                  <a:pt x="1765615" y="1416234"/>
                  <a:pt x="1765540" y="1415409"/>
                </a:cubicBezTo>
                <a:cubicBezTo>
                  <a:pt x="1765770" y="1414551"/>
                  <a:pt x="1766362" y="1413445"/>
                  <a:pt x="1766431" y="1412083"/>
                </a:cubicBezTo>
                <a:close/>
                <a:moveTo>
                  <a:pt x="1787537" y="1410796"/>
                </a:moveTo>
                <a:cubicBezTo>
                  <a:pt x="1790063" y="1411055"/>
                  <a:pt x="1792993" y="1412013"/>
                  <a:pt x="1796312" y="1414570"/>
                </a:cubicBezTo>
                <a:cubicBezTo>
                  <a:pt x="1797961" y="1416161"/>
                  <a:pt x="1797932" y="1416269"/>
                  <a:pt x="1797923" y="1417416"/>
                </a:cubicBezTo>
                <a:cubicBezTo>
                  <a:pt x="1799533" y="1420263"/>
                  <a:pt x="1801180" y="1421854"/>
                  <a:pt x="1799165" y="1423845"/>
                </a:cubicBezTo>
                <a:cubicBezTo>
                  <a:pt x="1797598" y="1425265"/>
                  <a:pt x="1795766" y="1425464"/>
                  <a:pt x="1793857" y="1424837"/>
                </a:cubicBezTo>
                <a:cubicBezTo>
                  <a:pt x="1791950" y="1424211"/>
                  <a:pt x="1789908" y="1422974"/>
                  <a:pt x="1787428" y="1421159"/>
                </a:cubicBezTo>
                <a:cubicBezTo>
                  <a:pt x="1782470" y="1417531"/>
                  <a:pt x="1784497" y="1414393"/>
                  <a:pt x="1781197" y="1411210"/>
                </a:cubicBezTo>
                <a:cubicBezTo>
                  <a:pt x="1782892" y="1410974"/>
                  <a:pt x="1785012" y="1410535"/>
                  <a:pt x="1787537" y="1410796"/>
                </a:cubicBezTo>
                <a:close/>
                <a:moveTo>
                  <a:pt x="5825813" y="1409000"/>
                </a:moveTo>
                <a:cubicBezTo>
                  <a:pt x="5832778" y="1411787"/>
                  <a:pt x="5834463" y="1415458"/>
                  <a:pt x="5829468" y="1418605"/>
                </a:cubicBezTo>
                <a:cubicBezTo>
                  <a:pt x="5825997" y="1416066"/>
                  <a:pt x="5822493" y="1416966"/>
                  <a:pt x="5819021" y="1414426"/>
                </a:cubicBezTo>
                <a:cubicBezTo>
                  <a:pt x="5822565" y="1412270"/>
                  <a:pt x="5824056" y="1410024"/>
                  <a:pt x="5825813" y="1409000"/>
                </a:cubicBezTo>
                <a:close/>
                <a:moveTo>
                  <a:pt x="1583138" y="1407706"/>
                </a:moveTo>
                <a:cubicBezTo>
                  <a:pt x="1589840" y="1405936"/>
                  <a:pt x="1598252" y="1411065"/>
                  <a:pt x="1594725" y="1417595"/>
                </a:cubicBezTo>
                <a:cubicBezTo>
                  <a:pt x="1588007" y="1414990"/>
                  <a:pt x="1581291" y="1412385"/>
                  <a:pt x="1583138" y="1407706"/>
                </a:cubicBezTo>
                <a:close/>
                <a:moveTo>
                  <a:pt x="6164352" y="1406216"/>
                </a:moveTo>
                <a:cubicBezTo>
                  <a:pt x="6175910" y="1407357"/>
                  <a:pt x="6188472" y="1413599"/>
                  <a:pt x="6196274" y="1427649"/>
                </a:cubicBezTo>
                <a:cubicBezTo>
                  <a:pt x="6187254" y="1436963"/>
                  <a:pt x="6171960" y="1440915"/>
                  <a:pt x="6158563" y="1437785"/>
                </a:cubicBezTo>
                <a:cubicBezTo>
                  <a:pt x="6154107" y="1436706"/>
                  <a:pt x="6149881" y="1434768"/>
                  <a:pt x="6146162" y="1432047"/>
                </a:cubicBezTo>
                <a:cubicBezTo>
                  <a:pt x="6129161" y="1416911"/>
                  <a:pt x="6144979" y="1404360"/>
                  <a:pt x="6164352" y="1406216"/>
                </a:cubicBezTo>
                <a:close/>
                <a:moveTo>
                  <a:pt x="5957798" y="1403425"/>
                </a:moveTo>
                <a:cubicBezTo>
                  <a:pt x="5959020" y="1403293"/>
                  <a:pt x="5960928" y="1403919"/>
                  <a:pt x="5962750" y="1404867"/>
                </a:cubicBezTo>
                <a:cubicBezTo>
                  <a:pt x="5968216" y="1407712"/>
                  <a:pt x="5975089" y="1414155"/>
                  <a:pt x="5977663" y="1417833"/>
                </a:cubicBezTo>
                <a:cubicBezTo>
                  <a:pt x="5976413" y="1418072"/>
                  <a:pt x="5974781" y="1417521"/>
                  <a:pt x="5972959" y="1416573"/>
                </a:cubicBezTo>
                <a:cubicBezTo>
                  <a:pt x="5967464" y="1413836"/>
                  <a:pt x="5960648" y="1407179"/>
                  <a:pt x="5957798" y="1403425"/>
                </a:cubicBezTo>
                <a:close/>
                <a:moveTo>
                  <a:pt x="6323023" y="1400660"/>
                </a:moveTo>
                <a:cubicBezTo>
                  <a:pt x="6326573" y="1400692"/>
                  <a:pt x="6330971" y="1401986"/>
                  <a:pt x="6335273" y="1404748"/>
                </a:cubicBezTo>
                <a:cubicBezTo>
                  <a:pt x="6338044" y="1411011"/>
                  <a:pt x="6329279" y="1413837"/>
                  <a:pt x="6325153" y="1415952"/>
                </a:cubicBezTo>
                <a:cubicBezTo>
                  <a:pt x="6319421" y="1411886"/>
                  <a:pt x="6313996" y="1407787"/>
                  <a:pt x="6313197" y="1404123"/>
                </a:cubicBezTo>
                <a:cubicBezTo>
                  <a:pt x="6315854" y="1401959"/>
                  <a:pt x="6319167" y="1400662"/>
                  <a:pt x="6323023" y="1400660"/>
                </a:cubicBezTo>
                <a:close/>
                <a:moveTo>
                  <a:pt x="1755000" y="1400510"/>
                </a:moveTo>
                <a:cubicBezTo>
                  <a:pt x="1761602" y="1403544"/>
                  <a:pt x="1765120" y="1407017"/>
                  <a:pt x="1764304" y="1411168"/>
                </a:cubicBezTo>
                <a:cubicBezTo>
                  <a:pt x="1762640" y="1414058"/>
                  <a:pt x="1760297" y="1418375"/>
                  <a:pt x="1754516" y="1416711"/>
                </a:cubicBezTo>
                <a:cubicBezTo>
                  <a:pt x="1753944" y="1415522"/>
                  <a:pt x="1752417" y="1415689"/>
                  <a:pt x="1751568" y="1414426"/>
                </a:cubicBezTo>
                <a:cubicBezTo>
                  <a:pt x="1751568" y="1414426"/>
                  <a:pt x="1750386" y="1413305"/>
                  <a:pt x="1749099" y="1411464"/>
                </a:cubicBezTo>
                <a:cubicBezTo>
                  <a:pt x="1747813" y="1409624"/>
                  <a:pt x="1746699" y="1407141"/>
                  <a:pt x="1747447" y="1404351"/>
                </a:cubicBezTo>
                <a:cubicBezTo>
                  <a:pt x="1748403" y="1402997"/>
                  <a:pt x="1751345" y="1399762"/>
                  <a:pt x="1752194" y="1401023"/>
                </a:cubicBezTo>
                <a:cubicBezTo>
                  <a:pt x="1754292" y="1402046"/>
                  <a:pt x="1753444" y="1400784"/>
                  <a:pt x="1755000" y="1400510"/>
                </a:cubicBezTo>
                <a:close/>
                <a:moveTo>
                  <a:pt x="1847783" y="1398460"/>
                </a:moveTo>
                <a:cubicBezTo>
                  <a:pt x="1857985" y="1399124"/>
                  <a:pt x="1864885" y="1408794"/>
                  <a:pt x="1856375" y="1413988"/>
                </a:cubicBezTo>
                <a:cubicBezTo>
                  <a:pt x="1852894" y="1412596"/>
                  <a:pt x="1849676" y="1412424"/>
                  <a:pt x="1846194" y="1411030"/>
                </a:cubicBezTo>
                <a:cubicBezTo>
                  <a:pt x="1846216" y="1408736"/>
                  <a:pt x="1844405" y="1406641"/>
                  <a:pt x="1843787" y="1404520"/>
                </a:cubicBezTo>
                <a:cubicBezTo>
                  <a:pt x="1843140" y="1402506"/>
                  <a:pt x="1843381" y="1400501"/>
                  <a:pt x="1847783" y="1398460"/>
                </a:cubicBezTo>
                <a:close/>
                <a:moveTo>
                  <a:pt x="1818521" y="1398095"/>
                </a:moveTo>
                <a:cubicBezTo>
                  <a:pt x="1823800" y="1397209"/>
                  <a:pt x="1838694" y="1409135"/>
                  <a:pt x="1827849" y="1411979"/>
                </a:cubicBezTo>
                <a:cubicBezTo>
                  <a:pt x="1826512" y="1412542"/>
                  <a:pt x="1824852" y="1412097"/>
                  <a:pt x="1823058" y="1411042"/>
                </a:cubicBezTo>
                <a:cubicBezTo>
                  <a:pt x="1817927" y="1408057"/>
                  <a:pt x="1812925" y="1400161"/>
                  <a:pt x="1818521" y="1398095"/>
                </a:cubicBezTo>
                <a:close/>
                <a:moveTo>
                  <a:pt x="1429794" y="1395597"/>
                </a:moveTo>
                <a:cubicBezTo>
                  <a:pt x="1432122" y="1395761"/>
                  <a:pt x="1432122" y="1395761"/>
                  <a:pt x="1434727" y="1396000"/>
                </a:cubicBezTo>
                <a:cubicBezTo>
                  <a:pt x="1436930" y="1397740"/>
                  <a:pt x="1440470" y="1398918"/>
                  <a:pt x="1441584" y="1401401"/>
                </a:cubicBezTo>
                <a:cubicBezTo>
                  <a:pt x="1441580" y="1404736"/>
                  <a:pt x="1434314" y="1407504"/>
                  <a:pt x="1430897" y="1408083"/>
                </a:cubicBezTo>
                <a:cubicBezTo>
                  <a:pt x="1425991" y="1407574"/>
                  <a:pt x="1423667" y="1404076"/>
                  <a:pt x="1423947" y="1400815"/>
                </a:cubicBezTo>
                <a:cubicBezTo>
                  <a:pt x="1423404" y="1399521"/>
                  <a:pt x="1423721" y="1398341"/>
                  <a:pt x="1425145" y="1397457"/>
                </a:cubicBezTo>
                <a:cubicBezTo>
                  <a:pt x="1426290" y="1396499"/>
                  <a:pt x="1427961" y="1395796"/>
                  <a:pt x="1429794" y="1395597"/>
                </a:cubicBezTo>
                <a:close/>
                <a:moveTo>
                  <a:pt x="6417221" y="1395540"/>
                </a:moveTo>
                <a:cubicBezTo>
                  <a:pt x="6430467" y="1405875"/>
                  <a:pt x="6419632" y="1416427"/>
                  <a:pt x="6408402" y="1412957"/>
                </a:cubicBezTo>
                <a:cubicBezTo>
                  <a:pt x="6404862" y="1411779"/>
                  <a:pt x="6400867" y="1408984"/>
                  <a:pt x="6397999" y="1404190"/>
                </a:cubicBezTo>
                <a:cubicBezTo>
                  <a:pt x="6407184" y="1400901"/>
                  <a:pt x="6406742" y="1394803"/>
                  <a:pt x="6417221" y="1395540"/>
                </a:cubicBezTo>
                <a:close/>
                <a:moveTo>
                  <a:pt x="1698207" y="1395528"/>
                </a:moveTo>
                <a:lnTo>
                  <a:pt x="1698901" y="1398474"/>
                </a:lnTo>
                <a:lnTo>
                  <a:pt x="1700763" y="1398168"/>
                </a:lnTo>
                <a:cubicBezTo>
                  <a:pt x="1706868" y="1400839"/>
                  <a:pt x="1710185" y="1405062"/>
                  <a:pt x="1709818" y="1408644"/>
                </a:cubicBezTo>
                <a:lnTo>
                  <a:pt x="1706673" y="1412631"/>
                </a:lnTo>
                <a:lnTo>
                  <a:pt x="1714292" y="1419618"/>
                </a:lnTo>
                <a:cubicBezTo>
                  <a:pt x="1716656" y="1421861"/>
                  <a:pt x="1718993" y="1424212"/>
                  <a:pt x="1720689" y="1426737"/>
                </a:cubicBezTo>
                <a:cubicBezTo>
                  <a:pt x="1722765" y="1430054"/>
                  <a:pt x="1723897" y="1433577"/>
                  <a:pt x="1722833" y="1437547"/>
                </a:cubicBezTo>
                <a:cubicBezTo>
                  <a:pt x="1718920" y="1455474"/>
                  <a:pt x="1692202" y="1458894"/>
                  <a:pt x="1672233" y="1452624"/>
                </a:cubicBezTo>
                <a:cubicBezTo>
                  <a:pt x="1660201" y="1448824"/>
                  <a:pt x="1650311" y="1441460"/>
                  <a:pt x="1649378" y="1431664"/>
                </a:cubicBezTo>
                <a:cubicBezTo>
                  <a:pt x="1648914" y="1427860"/>
                  <a:pt x="1649977" y="1423890"/>
                  <a:pt x="1652349" y="1419466"/>
                </a:cubicBezTo>
                <a:cubicBezTo>
                  <a:pt x="1660227" y="1407777"/>
                  <a:pt x="1680578" y="1405984"/>
                  <a:pt x="1698207" y="1395528"/>
                </a:cubicBezTo>
                <a:close/>
                <a:moveTo>
                  <a:pt x="5663136" y="1395197"/>
                </a:moveTo>
                <a:cubicBezTo>
                  <a:pt x="5668890" y="1396969"/>
                  <a:pt x="5675402" y="1403658"/>
                  <a:pt x="5670377" y="1406912"/>
                </a:cubicBezTo>
                <a:cubicBezTo>
                  <a:pt x="5669404" y="1407226"/>
                  <a:pt x="5668182" y="1407359"/>
                  <a:pt x="5666492" y="1407022"/>
                </a:cubicBezTo>
                <a:cubicBezTo>
                  <a:pt x="5665080" y="1406758"/>
                  <a:pt x="5663420" y="1406313"/>
                  <a:pt x="5661846" y="1405547"/>
                </a:cubicBezTo>
                <a:cubicBezTo>
                  <a:pt x="5658393" y="1404046"/>
                  <a:pt x="5655694" y="1401943"/>
                  <a:pt x="5655410" y="1399682"/>
                </a:cubicBezTo>
                <a:cubicBezTo>
                  <a:pt x="5654925" y="1398172"/>
                  <a:pt x="5655910" y="1396710"/>
                  <a:pt x="5658365" y="1395298"/>
                </a:cubicBezTo>
                <a:cubicBezTo>
                  <a:pt x="5659758" y="1394522"/>
                  <a:pt x="5661505" y="1394645"/>
                  <a:pt x="5663136" y="1395197"/>
                </a:cubicBezTo>
                <a:close/>
                <a:moveTo>
                  <a:pt x="1030473" y="1394853"/>
                </a:moveTo>
                <a:cubicBezTo>
                  <a:pt x="1045913" y="1398187"/>
                  <a:pt x="1066741" y="1417373"/>
                  <a:pt x="1050122" y="1421287"/>
                </a:cubicBezTo>
                <a:cubicBezTo>
                  <a:pt x="1031489" y="1414454"/>
                  <a:pt x="1035176" y="1411762"/>
                  <a:pt x="1018413" y="1397955"/>
                </a:cubicBezTo>
                <a:cubicBezTo>
                  <a:pt x="1020777" y="1394391"/>
                  <a:pt x="1025325" y="1393741"/>
                  <a:pt x="1030473" y="1394853"/>
                </a:cubicBezTo>
                <a:close/>
                <a:moveTo>
                  <a:pt x="1514605" y="1394517"/>
                </a:moveTo>
                <a:cubicBezTo>
                  <a:pt x="1519510" y="1395027"/>
                  <a:pt x="1523050" y="1396205"/>
                  <a:pt x="1525623" y="1399885"/>
                </a:cubicBezTo>
                <a:cubicBezTo>
                  <a:pt x="1522579" y="1399069"/>
                  <a:pt x="1520308" y="1398690"/>
                  <a:pt x="1518705" y="1398031"/>
                </a:cubicBezTo>
                <a:cubicBezTo>
                  <a:pt x="1516826" y="1397298"/>
                  <a:pt x="1515892" y="1396357"/>
                  <a:pt x="1514605" y="1394517"/>
                </a:cubicBezTo>
                <a:close/>
                <a:moveTo>
                  <a:pt x="1348346" y="1392979"/>
                </a:moveTo>
                <a:cubicBezTo>
                  <a:pt x="1346411" y="1397981"/>
                  <a:pt x="1345003" y="1403239"/>
                  <a:pt x="1341906" y="1408158"/>
                </a:cubicBezTo>
                <a:lnTo>
                  <a:pt x="1327107" y="1421328"/>
                </a:lnTo>
                <a:lnTo>
                  <a:pt x="1324864" y="1411987"/>
                </a:lnTo>
                <a:cubicBezTo>
                  <a:pt x="1326698" y="1402934"/>
                  <a:pt x="1339858" y="1395880"/>
                  <a:pt x="1348346" y="1392979"/>
                </a:cubicBezTo>
                <a:close/>
                <a:moveTo>
                  <a:pt x="1408846" y="1392975"/>
                </a:moveTo>
                <a:cubicBezTo>
                  <a:pt x="1407708" y="1396120"/>
                  <a:pt x="1408803" y="1397563"/>
                  <a:pt x="1407143" y="1397118"/>
                </a:cubicBezTo>
                <a:cubicBezTo>
                  <a:pt x="1406999" y="1397655"/>
                  <a:pt x="1406360" y="1397828"/>
                  <a:pt x="1406113" y="1397648"/>
                </a:cubicBezTo>
                <a:cubicBezTo>
                  <a:pt x="1405558" y="1397499"/>
                  <a:pt x="1405339" y="1397211"/>
                  <a:pt x="1405483" y="1396673"/>
                </a:cubicBezTo>
                <a:cubicBezTo>
                  <a:pt x="1402756" y="1394678"/>
                  <a:pt x="1406928" y="1393496"/>
                  <a:pt x="1408846" y="1392975"/>
                </a:cubicBezTo>
                <a:close/>
                <a:moveTo>
                  <a:pt x="1610262" y="1390593"/>
                </a:moveTo>
                <a:lnTo>
                  <a:pt x="1615205" y="1393183"/>
                </a:lnTo>
                <a:lnTo>
                  <a:pt x="1615843" y="1393008"/>
                </a:lnTo>
                <a:cubicBezTo>
                  <a:pt x="1623774" y="1393294"/>
                  <a:pt x="1629351" y="1399044"/>
                  <a:pt x="1626483" y="1403105"/>
                </a:cubicBezTo>
                <a:cubicBezTo>
                  <a:pt x="1625384" y="1404995"/>
                  <a:pt x="1622625" y="1406441"/>
                  <a:pt x="1617459" y="1406897"/>
                </a:cubicBezTo>
                <a:lnTo>
                  <a:pt x="1616745" y="1406245"/>
                </a:lnTo>
                <a:lnTo>
                  <a:pt x="1615541" y="1407419"/>
                </a:lnTo>
                <a:cubicBezTo>
                  <a:pt x="1612170" y="1408930"/>
                  <a:pt x="1608391" y="1409757"/>
                  <a:pt x="1604581" y="1410691"/>
                </a:cubicBezTo>
                <a:cubicBezTo>
                  <a:pt x="1583278" y="1401648"/>
                  <a:pt x="1603165" y="1396052"/>
                  <a:pt x="1610262" y="1390593"/>
                </a:cubicBezTo>
                <a:close/>
                <a:moveTo>
                  <a:pt x="5368715" y="1387593"/>
                </a:moveTo>
                <a:cubicBezTo>
                  <a:pt x="5372132" y="1387431"/>
                  <a:pt x="5374210" y="1387700"/>
                  <a:pt x="5374210" y="1387700"/>
                </a:cubicBezTo>
                <a:cubicBezTo>
                  <a:pt x="5386072" y="1397664"/>
                  <a:pt x="5380118" y="1405499"/>
                  <a:pt x="5372294" y="1411452"/>
                </a:cubicBezTo>
                <a:lnTo>
                  <a:pt x="5373782" y="1412542"/>
                </a:lnTo>
                <a:cubicBezTo>
                  <a:pt x="5374774" y="1413267"/>
                  <a:pt x="5375212" y="1413844"/>
                  <a:pt x="5375212" y="1413844"/>
                </a:cubicBezTo>
                <a:cubicBezTo>
                  <a:pt x="5373980" y="1415124"/>
                  <a:pt x="5373980" y="1415124"/>
                  <a:pt x="5373686" y="1414010"/>
                </a:cubicBezTo>
                <a:cubicBezTo>
                  <a:pt x="5371748" y="1413491"/>
                  <a:pt x="5371252" y="1413128"/>
                  <a:pt x="5371033" y="1412839"/>
                </a:cubicBezTo>
                <a:lnTo>
                  <a:pt x="5370537" y="1412477"/>
                </a:lnTo>
                <a:lnTo>
                  <a:pt x="5364367" y="1416688"/>
                </a:lnTo>
                <a:cubicBezTo>
                  <a:pt x="5359038" y="1419975"/>
                  <a:pt x="5352878" y="1423040"/>
                  <a:pt x="5347448" y="1422275"/>
                </a:cubicBezTo>
                <a:cubicBezTo>
                  <a:pt x="5345730" y="1422045"/>
                  <a:pt x="5344128" y="1421385"/>
                  <a:pt x="5342392" y="1420115"/>
                </a:cubicBezTo>
                <a:cubicBezTo>
                  <a:pt x="5337681" y="1416669"/>
                  <a:pt x="5335396" y="1411915"/>
                  <a:pt x="5335744" y="1407294"/>
                </a:cubicBezTo>
                <a:lnTo>
                  <a:pt x="5337372" y="1402325"/>
                </a:lnTo>
                <a:lnTo>
                  <a:pt x="5335281" y="1403489"/>
                </a:lnTo>
                <a:cubicBezTo>
                  <a:pt x="5333246" y="1404440"/>
                  <a:pt x="5331547" y="1405249"/>
                  <a:pt x="5330890" y="1404383"/>
                </a:cubicBezTo>
                <a:cubicBezTo>
                  <a:pt x="5330890" y="1404383"/>
                  <a:pt x="5332589" y="1403574"/>
                  <a:pt x="5334537" y="1402946"/>
                </a:cubicBezTo>
                <a:cubicBezTo>
                  <a:pt x="5336514" y="1402210"/>
                  <a:pt x="5336485" y="1402317"/>
                  <a:pt x="5335141" y="1400692"/>
                </a:cubicBezTo>
                <a:cubicBezTo>
                  <a:pt x="5335867" y="1400197"/>
                  <a:pt x="5336507" y="1400024"/>
                  <a:pt x="5337089" y="1400065"/>
                </a:cubicBezTo>
                <a:lnTo>
                  <a:pt x="5338195" y="1400361"/>
                </a:lnTo>
                <a:lnTo>
                  <a:pt x="5344013" y="1395250"/>
                </a:lnTo>
                <a:lnTo>
                  <a:pt x="5351844" y="1391482"/>
                </a:lnTo>
                <a:lnTo>
                  <a:pt x="5351872" y="1391376"/>
                </a:lnTo>
                <a:lnTo>
                  <a:pt x="5355186" y="1390078"/>
                </a:lnTo>
                <a:cubicBezTo>
                  <a:pt x="5360542" y="1388351"/>
                  <a:pt x="5365298" y="1387756"/>
                  <a:pt x="5368715" y="1387593"/>
                </a:cubicBezTo>
                <a:close/>
                <a:moveTo>
                  <a:pt x="5717216" y="1384847"/>
                </a:moveTo>
                <a:cubicBezTo>
                  <a:pt x="5722061" y="1388905"/>
                  <a:pt x="5716878" y="1397177"/>
                  <a:pt x="5709910" y="1397725"/>
                </a:cubicBezTo>
                <a:cubicBezTo>
                  <a:pt x="5714355" y="1391096"/>
                  <a:pt x="5708912" y="1385957"/>
                  <a:pt x="5717216" y="1384847"/>
                </a:cubicBezTo>
                <a:close/>
                <a:moveTo>
                  <a:pt x="6126915" y="1384340"/>
                </a:moveTo>
                <a:cubicBezTo>
                  <a:pt x="6131152" y="1385130"/>
                  <a:pt x="6135931" y="1387216"/>
                  <a:pt x="6141081" y="1391241"/>
                </a:cubicBezTo>
                <a:cubicBezTo>
                  <a:pt x="6144128" y="1397577"/>
                  <a:pt x="6135816" y="1405355"/>
                  <a:pt x="6129175" y="1403575"/>
                </a:cubicBezTo>
                <a:cubicBezTo>
                  <a:pt x="6109191" y="1392930"/>
                  <a:pt x="6114424" y="1382257"/>
                  <a:pt x="6126915" y="1384340"/>
                </a:cubicBezTo>
                <a:close/>
                <a:moveTo>
                  <a:pt x="1711170" y="1383677"/>
                </a:moveTo>
                <a:cubicBezTo>
                  <a:pt x="1716595" y="1385016"/>
                  <a:pt x="1720756" y="1387194"/>
                  <a:pt x="1722421" y="1387066"/>
                </a:cubicBezTo>
                <a:cubicBezTo>
                  <a:pt x="1725576" y="1390786"/>
                  <a:pt x="1726511" y="1391726"/>
                  <a:pt x="1722691" y="1393808"/>
                </a:cubicBezTo>
                <a:lnTo>
                  <a:pt x="1718623" y="1395707"/>
                </a:lnTo>
                <a:lnTo>
                  <a:pt x="1720451" y="1398843"/>
                </a:lnTo>
                <a:cubicBezTo>
                  <a:pt x="1718781" y="1399545"/>
                  <a:pt x="1716805" y="1400281"/>
                  <a:pt x="1715133" y="1400983"/>
                </a:cubicBezTo>
                <a:lnTo>
                  <a:pt x="1708935" y="1396447"/>
                </a:lnTo>
                <a:lnTo>
                  <a:pt x="1704011" y="1394898"/>
                </a:lnTo>
                <a:cubicBezTo>
                  <a:pt x="1700680" y="1395155"/>
                  <a:pt x="1695757" y="1393606"/>
                  <a:pt x="1692753" y="1391536"/>
                </a:cubicBezTo>
                <a:cubicBezTo>
                  <a:pt x="1690064" y="1388286"/>
                  <a:pt x="1690668" y="1386032"/>
                  <a:pt x="1692340" y="1385330"/>
                </a:cubicBezTo>
                <a:cubicBezTo>
                  <a:pt x="1699058" y="1381841"/>
                  <a:pt x="1705746" y="1382339"/>
                  <a:pt x="1711170" y="1383677"/>
                </a:cubicBezTo>
                <a:close/>
                <a:moveTo>
                  <a:pt x="5817958" y="1382975"/>
                </a:moveTo>
                <a:cubicBezTo>
                  <a:pt x="5819630" y="1382273"/>
                  <a:pt x="5819906" y="1382347"/>
                  <a:pt x="5820916" y="1384113"/>
                </a:cubicBezTo>
                <a:cubicBezTo>
                  <a:pt x="5819942" y="1384427"/>
                  <a:pt x="5819665" y="1384353"/>
                  <a:pt x="5819170" y="1383991"/>
                </a:cubicBezTo>
                <a:cubicBezTo>
                  <a:pt x="5818950" y="1383701"/>
                  <a:pt x="5818760" y="1383305"/>
                  <a:pt x="5817958" y="1382975"/>
                </a:cubicBezTo>
                <a:close/>
                <a:moveTo>
                  <a:pt x="5246322" y="1382414"/>
                </a:moveTo>
                <a:lnTo>
                  <a:pt x="5244566" y="1383437"/>
                </a:lnTo>
                <a:lnTo>
                  <a:pt x="5243631" y="1382497"/>
                </a:lnTo>
                <a:lnTo>
                  <a:pt x="5243516" y="1382927"/>
                </a:lnTo>
                <a:lnTo>
                  <a:pt x="5243229" y="1383999"/>
                </a:lnTo>
                <a:lnTo>
                  <a:pt x="5242923" y="1384032"/>
                </a:lnTo>
                <a:lnTo>
                  <a:pt x="5242301" y="1385246"/>
                </a:lnTo>
                <a:cubicBezTo>
                  <a:pt x="5240907" y="1386022"/>
                  <a:pt x="5239236" y="1386725"/>
                  <a:pt x="5237870" y="1387394"/>
                </a:cubicBezTo>
                <a:lnTo>
                  <a:pt x="5236390" y="1388493"/>
                </a:lnTo>
                <a:lnTo>
                  <a:pt x="5240810" y="1396346"/>
                </a:lnTo>
                <a:cubicBezTo>
                  <a:pt x="5241787" y="1392699"/>
                  <a:pt x="5243742" y="1385402"/>
                  <a:pt x="5252578" y="1395590"/>
                </a:cubicBezTo>
                <a:cubicBezTo>
                  <a:pt x="5259137" y="1403213"/>
                  <a:pt x="5243577" y="1397087"/>
                  <a:pt x="5251924" y="1409100"/>
                </a:cubicBezTo>
                <a:lnTo>
                  <a:pt x="5261268" y="1409648"/>
                </a:lnTo>
                <a:lnTo>
                  <a:pt x="5256578" y="1403907"/>
                </a:lnTo>
                <a:cubicBezTo>
                  <a:pt x="5255971" y="1400639"/>
                  <a:pt x="5256366" y="1396950"/>
                  <a:pt x="5256485" y="1393186"/>
                </a:cubicBezTo>
                <a:lnTo>
                  <a:pt x="5255849" y="1390026"/>
                </a:lnTo>
                <a:lnTo>
                  <a:pt x="5253790" y="1387750"/>
                </a:lnTo>
                <a:close/>
                <a:moveTo>
                  <a:pt x="5771041" y="1380984"/>
                </a:moveTo>
                <a:cubicBezTo>
                  <a:pt x="5779424" y="1386221"/>
                  <a:pt x="5788157" y="1386836"/>
                  <a:pt x="5794805" y="1390802"/>
                </a:cubicBezTo>
                <a:cubicBezTo>
                  <a:pt x="5790690" y="1391770"/>
                  <a:pt x="5784771" y="1392829"/>
                  <a:pt x="5779285" y="1392278"/>
                </a:cubicBezTo>
                <a:cubicBezTo>
                  <a:pt x="5773797" y="1391728"/>
                  <a:pt x="5768712" y="1389676"/>
                  <a:pt x="5766016" y="1384238"/>
                </a:cubicBezTo>
                <a:cubicBezTo>
                  <a:pt x="5767803" y="1383107"/>
                  <a:pt x="5769284" y="1382009"/>
                  <a:pt x="5771041" y="1380984"/>
                </a:cubicBezTo>
                <a:close/>
                <a:moveTo>
                  <a:pt x="1326131" y="1380701"/>
                </a:moveTo>
                <a:cubicBezTo>
                  <a:pt x="1329242" y="1380155"/>
                  <a:pt x="1333914" y="1384857"/>
                  <a:pt x="1337253" y="1386786"/>
                </a:cubicBezTo>
                <a:cubicBezTo>
                  <a:pt x="1335523" y="1387703"/>
                  <a:pt x="1333824" y="1388513"/>
                  <a:pt x="1335513" y="1388851"/>
                </a:cubicBezTo>
                <a:cubicBezTo>
                  <a:pt x="1333784" y="1389767"/>
                  <a:pt x="1331980" y="1389858"/>
                  <a:pt x="1330539" y="1389702"/>
                </a:cubicBezTo>
                <a:cubicBezTo>
                  <a:pt x="1328822" y="1389473"/>
                  <a:pt x="1327218" y="1388812"/>
                  <a:pt x="1325674" y="1387939"/>
                </a:cubicBezTo>
                <a:cubicBezTo>
                  <a:pt x="1324024" y="1386347"/>
                  <a:pt x="1324104" y="1383838"/>
                  <a:pt x="1326131" y="1380701"/>
                </a:cubicBezTo>
                <a:close/>
                <a:moveTo>
                  <a:pt x="1237646" y="1379993"/>
                </a:moveTo>
                <a:cubicBezTo>
                  <a:pt x="1244022" y="1380551"/>
                  <a:pt x="1250946" y="1384591"/>
                  <a:pt x="1250995" y="1391044"/>
                </a:cubicBezTo>
                <a:cubicBezTo>
                  <a:pt x="1245972" y="1394298"/>
                  <a:pt x="1240722" y="1395077"/>
                  <a:pt x="1237494" y="1396052"/>
                </a:cubicBezTo>
                <a:cubicBezTo>
                  <a:pt x="1234051" y="1393404"/>
                  <a:pt x="1230818" y="1392192"/>
                  <a:pt x="1227375" y="1389545"/>
                </a:cubicBezTo>
                <a:cubicBezTo>
                  <a:pt x="1225445" y="1382357"/>
                  <a:pt x="1231548" y="1379508"/>
                  <a:pt x="1237646" y="1379993"/>
                </a:cubicBezTo>
                <a:close/>
                <a:moveTo>
                  <a:pt x="1414407" y="1379974"/>
                </a:moveTo>
                <a:cubicBezTo>
                  <a:pt x="1420767" y="1385014"/>
                  <a:pt x="1419261" y="1391740"/>
                  <a:pt x="1408849" y="1389641"/>
                </a:cubicBezTo>
                <a:cubicBezTo>
                  <a:pt x="1408179" y="1384401"/>
                  <a:pt x="1407506" y="1379161"/>
                  <a:pt x="1414407" y="1379974"/>
                </a:cubicBezTo>
                <a:close/>
                <a:moveTo>
                  <a:pt x="1813856" y="1377871"/>
                </a:moveTo>
                <a:cubicBezTo>
                  <a:pt x="1816260" y="1378859"/>
                  <a:pt x="1820899" y="1378148"/>
                  <a:pt x="1824583" y="1378789"/>
                </a:cubicBezTo>
                <a:cubicBezTo>
                  <a:pt x="1825155" y="1379978"/>
                  <a:pt x="1827253" y="1381000"/>
                  <a:pt x="1828131" y="1382154"/>
                </a:cubicBezTo>
                <a:cubicBezTo>
                  <a:pt x="1826574" y="1382428"/>
                  <a:pt x="1824339" y="1384129"/>
                  <a:pt x="1823490" y="1382866"/>
                </a:cubicBezTo>
                <a:cubicBezTo>
                  <a:pt x="1821935" y="1383140"/>
                  <a:pt x="1820515" y="1380690"/>
                  <a:pt x="1820515" y="1380690"/>
                </a:cubicBezTo>
                <a:cubicBezTo>
                  <a:pt x="1818960" y="1380963"/>
                  <a:pt x="1817709" y="1381202"/>
                  <a:pt x="1815304" y="1380213"/>
                </a:cubicBezTo>
                <a:cubicBezTo>
                  <a:pt x="1816260" y="1378859"/>
                  <a:pt x="1814704" y="1379132"/>
                  <a:pt x="1813856" y="1377871"/>
                </a:cubicBezTo>
                <a:close/>
                <a:moveTo>
                  <a:pt x="1761602" y="1376979"/>
                </a:moveTo>
                <a:cubicBezTo>
                  <a:pt x="1769174" y="1383033"/>
                  <a:pt x="1766195" y="1393044"/>
                  <a:pt x="1754752" y="1391474"/>
                </a:cubicBezTo>
                <a:cubicBezTo>
                  <a:pt x="1753143" y="1388628"/>
                  <a:pt x="1750720" y="1386598"/>
                  <a:pt x="1749111" y="1383752"/>
                </a:cubicBezTo>
                <a:cubicBezTo>
                  <a:pt x="1753132" y="1380919"/>
                  <a:pt x="1750972" y="1374590"/>
                  <a:pt x="1761602" y="1376979"/>
                </a:cubicBezTo>
                <a:close/>
                <a:moveTo>
                  <a:pt x="5886008" y="1375832"/>
                </a:moveTo>
                <a:cubicBezTo>
                  <a:pt x="5908222" y="1378426"/>
                  <a:pt x="5933570" y="1394231"/>
                  <a:pt x="5935284" y="1411078"/>
                </a:cubicBezTo>
                <a:lnTo>
                  <a:pt x="5923073" y="1414592"/>
                </a:lnTo>
                <a:lnTo>
                  <a:pt x="5924097" y="1420731"/>
                </a:lnTo>
                <a:cubicBezTo>
                  <a:pt x="5921079" y="1423142"/>
                  <a:pt x="5917833" y="1423077"/>
                  <a:pt x="5916069" y="1421914"/>
                </a:cubicBezTo>
                <a:cubicBezTo>
                  <a:pt x="5911872" y="1419869"/>
                  <a:pt x="5909173" y="1417767"/>
                  <a:pt x="5907362" y="1415672"/>
                </a:cubicBezTo>
                <a:lnTo>
                  <a:pt x="5906324" y="1414013"/>
                </a:lnTo>
                <a:lnTo>
                  <a:pt x="5903995" y="1413849"/>
                </a:lnTo>
                <a:cubicBezTo>
                  <a:pt x="5886199" y="1409426"/>
                  <a:pt x="5869234" y="1396370"/>
                  <a:pt x="5863582" y="1380941"/>
                </a:cubicBezTo>
                <a:cubicBezTo>
                  <a:pt x="5865253" y="1380238"/>
                  <a:pt x="5867172" y="1379717"/>
                  <a:pt x="5865828" y="1378092"/>
                </a:cubicBezTo>
                <a:cubicBezTo>
                  <a:pt x="5871546" y="1375570"/>
                  <a:pt x="5878602" y="1374967"/>
                  <a:pt x="5886008" y="1375832"/>
                </a:cubicBezTo>
                <a:close/>
                <a:moveTo>
                  <a:pt x="5938135" y="1375674"/>
                </a:moveTo>
                <a:cubicBezTo>
                  <a:pt x="5943346" y="1376840"/>
                  <a:pt x="5948037" y="1379534"/>
                  <a:pt x="5952178" y="1384555"/>
                </a:cubicBezTo>
                <a:cubicBezTo>
                  <a:pt x="5950011" y="1384894"/>
                  <a:pt x="5951021" y="1386659"/>
                  <a:pt x="5952059" y="1388317"/>
                </a:cubicBezTo>
                <a:cubicBezTo>
                  <a:pt x="5949106" y="1392701"/>
                  <a:pt x="5940477" y="1392804"/>
                  <a:pt x="5932758" y="1390620"/>
                </a:cubicBezTo>
                <a:cubicBezTo>
                  <a:pt x="5924734" y="1388471"/>
                  <a:pt x="5917895" y="1384109"/>
                  <a:pt x="5918492" y="1379668"/>
                </a:cubicBezTo>
                <a:cubicBezTo>
                  <a:pt x="5918808" y="1378488"/>
                  <a:pt x="5919459" y="1377167"/>
                  <a:pt x="5920968" y="1375962"/>
                </a:cubicBezTo>
                <a:cubicBezTo>
                  <a:pt x="5927192" y="1374869"/>
                  <a:pt x="5932924" y="1374507"/>
                  <a:pt x="5938135" y="1375674"/>
                </a:cubicBezTo>
                <a:close/>
                <a:moveTo>
                  <a:pt x="1316719" y="1372660"/>
                </a:moveTo>
                <a:cubicBezTo>
                  <a:pt x="1322188" y="1372170"/>
                  <a:pt x="1327060" y="1384976"/>
                  <a:pt x="1311835" y="1378711"/>
                </a:cubicBezTo>
                <a:cubicBezTo>
                  <a:pt x="1312956" y="1374526"/>
                  <a:pt x="1314886" y="1372858"/>
                  <a:pt x="1316719" y="1372660"/>
                </a:cubicBezTo>
                <a:close/>
                <a:moveTo>
                  <a:pt x="5379525" y="1371185"/>
                </a:moveTo>
                <a:cubicBezTo>
                  <a:pt x="5379723" y="1373767"/>
                  <a:pt x="5381908" y="1374469"/>
                  <a:pt x="5379213" y="1377885"/>
                </a:cubicBezTo>
                <a:cubicBezTo>
                  <a:pt x="5377027" y="1377185"/>
                  <a:pt x="5374537" y="1376518"/>
                  <a:pt x="5372353" y="1375818"/>
                </a:cubicBezTo>
                <a:cubicBezTo>
                  <a:pt x="5373739" y="1372854"/>
                  <a:pt x="5375127" y="1369890"/>
                  <a:pt x="5379525" y="1371185"/>
                </a:cubicBezTo>
                <a:close/>
                <a:moveTo>
                  <a:pt x="1826617" y="1368984"/>
                </a:moveTo>
                <a:cubicBezTo>
                  <a:pt x="1826617" y="1368984"/>
                  <a:pt x="1828687" y="1370114"/>
                  <a:pt x="1831063" y="1371210"/>
                </a:cubicBezTo>
                <a:cubicBezTo>
                  <a:pt x="1833161" y="1372232"/>
                  <a:pt x="1834717" y="1371959"/>
                  <a:pt x="1834717" y="1371959"/>
                </a:cubicBezTo>
                <a:cubicBezTo>
                  <a:pt x="1836816" y="1372982"/>
                  <a:pt x="1837664" y="1374244"/>
                  <a:pt x="1836956" y="1375779"/>
                </a:cubicBezTo>
                <a:cubicBezTo>
                  <a:pt x="1836956" y="1375779"/>
                  <a:pt x="1833301" y="1375031"/>
                  <a:pt x="1833301" y="1375031"/>
                </a:cubicBezTo>
                <a:cubicBezTo>
                  <a:pt x="1828828" y="1372911"/>
                  <a:pt x="1826757" y="1371782"/>
                  <a:pt x="1823103" y="1371033"/>
                </a:cubicBezTo>
                <a:cubicBezTo>
                  <a:pt x="1822962" y="1368235"/>
                  <a:pt x="1824518" y="1367962"/>
                  <a:pt x="1826617" y="1368984"/>
                </a:cubicBezTo>
                <a:close/>
                <a:moveTo>
                  <a:pt x="1160197" y="1367980"/>
                </a:moveTo>
                <a:cubicBezTo>
                  <a:pt x="1186704" y="1366457"/>
                  <a:pt x="1184342" y="1378590"/>
                  <a:pt x="1181180" y="1390393"/>
                </a:cubicBezTo>
                <a:lnTo>
                  <a:pt x="1180191" y="1395188"/>
                </a:lnTo>
                <a:lnTo>
                  <a:pt x="1185423" y="1393369"/>
                </a:lnTo>
                <a:cubicBezTo>
                  <a:pt x="1208190" y="1391419"/>
                  <a:pt x="1242845" y="1408181"/>
                  <a:pt x="1251376" y="1427257"/>
                </a:cubicBezTo>
                <a:lnTo>
                  <a:pt x="1252210" y="1433000"/>
                </a:lnTo>
                <a:lnTo>
                  <a:pt x="1260108" y="1427872"/>
                </a:lnTo>
                <a:cubicBezTo>
                  <a:pt x="1261452" y="1429497"/>
                  <a:pt x="1266217" y="1427208"/>
                  <a:pt x="1269825" y="1427025"/>
                </a:cubicBezTo>
                <a:cubicBezTo>
                  <a:pt x="1274806" y="1428360"/>
                  <a:pt x="1278126" y="1429249"/>
                  <a:pt x="1280262" y="1432351"/>
                </a:cubicBezTo>
                <a:cubicBezTo>
                  <a:pt x="1283767" y="1436971"/>
                  <a:pt x="1283854" y="1445504"/>
                  <a:pt x="1277429" y="1447347"/>
                </a:cubicBezTo>
                <a:cubicBezTo>
                  <a:pt x="1270687" y="1450372"/>
                  <a:pt x="1265420" y="1450111"/>
                  <a:pt x="1260468" y="1448669"/>
                </a:cubicBezTo>
                <a:cubicBezTo>
                  <a:pt x="1260468" y="1448669"/>
                  <a:pt x="1260468" y="1448669"/>
                  <a:pt x="1262127" y="1449113"/>
                </a:cubicBezTo>
                <a:lnTo>
                  <a:pt x="1264204" y="1452429"/>
                </a:lnTo>
                <a:lnTo>
                  <a:pt x="1267277" y="1453138"/>
                </a:lnTo>
                <a:cubicBezTo>
                  <a:pt x="1268937" y="1453583"/>
                  <a:pt x="1270044" y="1453879"/>
                  <a:pt x="1270321" y="1453954"/>
                </a:cubicBezTo>
                <a:cubicBezTo>
                  <a:pt x="1270310" y="1455100"/>
                  <a:pt x="1270310" y="1455100"/>
                  <a:pt x="1270310" y="1455100"/>
                </a:cubicBezTo>
                <a:lnTo>
                  <a:pt x="1265987" y="1454632"/>
                </a:lnTo>
                <a:lnTo>
                  <a:pt x="1269627" y="1459863"/>
                </a:lnTo>
                <a:lnTo>
                  <a:pt x="1273616" y="1460472"/>
                </a:lnTo>
                <a:lnTo>
                  <a:pt x="1270579" y="1461842"/>
                </a:lnTo>
                <a:lnTo>
                  <a:pt x="1272265" y="1465515"/>
                </a:lnTo>
                <a:cubicBezTo>
                  <a:pt x="1272474" y="1466950"/>
                  <a:pt x="1272433" y="1468205"/>
                  <a:pt x="1271679" y="1468807"/>
                </a:cubicBezTo>
                <a:cubicBezTo>
                  <a:pt x="1270018" y="1468362"/>
                  <a:pt x="1268359" y="1467918"/>
                  <a:pt x="1267291" y="1466367"/>
                </a:cubicBezTo>
                <a:cubicBezTo>
                  <a:pt x="1266196" y="1464923"/>
                  <a:pt x="1267856" y="1465368"/>
                  <a:pt x="1266224" y="1464817"/>
                </a:cubicBezTo>
                <a:cubicBezTo>
                  <a:pt x="1265127" y="1463372"/>
                  <a:pt x="1264563" y="1464372"/>
                  <a:pt x="1264563" y="1464372"/>
                </a:cubicBezTo>
                <a:lnTo>
                  <a:pt x="1264650" y="1464049"/>
                </a:lnTo>
                <a:lnTo>
                  <a:pt x="1257491" y="1464201"/>
                </a:lnTo>
                <a:cubicBezTo>
                  <a:pt x="1252586" y="1463692"/>
                  <a:pt x="1248378" y="1462794"/>
                  <a:pt x="1245083" y="1465132"/>
                </a:cubicBezTo>
                <a:cubicBezTo>
                  <a:pt x="1243473" y="1462285"/>
                  <a:pt x="1243473" y="1462285"/>
                  <a:pt x="1245488" y="1460295"/>
                </a:cubicBezTo>
                <a:cubicBezTo>
                  <a:pt x="1246901" y="1460558"/>
                  <a:pt x="1247219" y="1459378"/>
                  <a:pt x="1248562" y="1461004"/>
                </a:cubicBezTo>
                <a:cubicBezTo>
                  <a:pt x="1250434" y="1459550"/>
                  <a:pt x="1254825" y="1458656"/>
                  <a:pt x="1259902" y="1458522"/>
                </a:cubicBezTo>
                <a:lnTo>
                  <a:pt x="1260733" y="1458745"/>
                </a:lnTo>
                <a:lnTo>
                  <a:pt x="1258005" y="1456748"/>
                </a:lnTo>
                <a:cubicBezTo>
                  <a:pt x="1256737" y="1455949"/>
                  <a:pt x="1255716" y="1455330"/>
                  <a:pt x="1254506" y="1454316"/>
                </a:cubicBezTo>
                <a:lnTo>
                  <a:pt x="1254258" y="1454134"/>
                </a:lnTo>
                <a:lnTo>
                  <a:pt x="1253094" y="1454053"/>
                </a:lnTo>
                <a:cubicBezTo>
                  <a:pt x="1251098" y="1453748"/>
                  <a:pt x="1249133" y="1453337"/>
                  <a:pt x="1247063" y="1452207"/>
                </a:cubicBezTo>
                <a:cubicBezTo>
                  <a:pt x="1247063" y="1452207"/>
                  <a:pt x="1247063" y="1452207"/>
                  <a:pt x="1248723" y="1452652"/>
                </a:cubicBezTo>
                <a:cubicBezTo>
                  <a:pt x="1248723" y="1452652"/>
                  <a:pt x="1247063" y="1452207"/>
                  <a:pt x="1247074" y="1451059"/>
                </a:cubicBezTo>
                <a:lnTo>
                  <a:pt x="1252648" y="1451288"/>
                </a:lnTo>
                <a:lnTo>
                  <a:pt x="1252267" y="1450496"/>
                </a:lnTo>
                <a:cubicBezTo>
                  <a:pt x="1251973" y="1449382"/>
                  <a:pt x="1251457" y="1447979"/>
                  <a:pt x="1250534" y="1445892"/>
                </a:cubicBezTo>
                <a:cubicBezTo>
                  <a:pt x="1253047" y="1444265"/>
                  <a:pt x="1253076" y="1444158"/>
                  <a:pt x="1254735" y="1444602"/>
                </a:cubicBezTo>
                <a:cubicBezTo>
                  <a:pt x="1253076" y="1444158"/>
                  <a:pt x="1253639" y="1443159"/>
                  <a:pt x="1252573" y="1441608"/>
                </a:cubicBezTo>
                <a:lnTo>
                  <a:pt x="1252336" y="1440279"/>
                </a:lnTo>
                <a:lnTo>
                  <a:pt x="1246721" y="1450161"/>
                </a:lnTo>
                <a:cubicBezTo>
                  <a:pt x="1243081" y="1453785"/>
                  <a:pt x="1237695" y="1457286"/>
                  <a:pt x="1230591" y="1460558"/>
                </a:cubicBezTo>
                <a:cubicBezTo>
                  <a:pt x="1226037" y="1460948"/>
                  <a:pt x="1221409" y="1460513"/>
                  <a:pt x="1216953" y="1459434"/>
                </a:cubicBezTo>
                <a:cubicBezTo>
                  <a:pt x="1209730" y="1457613"/>
                  <a:pt x="1202910" y="1454291"/>
                  <a:pt x="1196377" y="1449895"/>
                </a:cubicBezTo>
                <a:lnTo>
                  <a:pt x="1179843" y="1435229"/>
                </a:lnTo>
                <a:lnTo>
                  <a:pt x="1177701" y="1438796"/>
                </a:lnTo>
                <a:cubicBezTo>
                  <a:pt x="1176791" y="1441082"/>
                  <a:pt x="1175825" y="1443583"/>
                  <a:pt x="1172454" y="1445095"/>
                </a:cubicBezTo>
                <a:cubicBezTo>
                  <a:pt x="1170556" y="1443322"/>
                  <a:pt x="1169443" y="1440838"/>
                  <a:pt x="1169245" y="1438256"/>
                </a:cubicBezTo>
                <a:cubicBezTo>
                  <a:pt x="1168839" y="1434237"/>
                  <a:pt x="1169742" y="1429763"/>
                  <a:pt x="1171634" y="1426015"/>
                </a:cubicBezTo>
                <a:lnTo>
                  <a:pt x="1172677" y="1424340"/>
                </a:lnTo>
                <a:lnTo>
                  <a:pt x="1168742" y="1417995"/>
                </a:lnTo>
                <a:cubicBezTo>
                  <a:pt x="1166352" y="1412525"/>
                  <a:pt x="1165929" y="1407466"/>
                  <a:pt x="1167297" y="1403463"/>
                </a:cubicBezTo>
                <a:lnTo>
                  <a:pt x="1169124" y="1401077"/>
                </a:lnTo>
                <a:lnTo>
                  <a:pt x="1164991" y="1401004"/>
                </a:lnTo>
                <a:cubicBezTo>
                  <a:pt x="1161030" y="1400289"/>
                  <a:pt x="1157213" y="1399036"/>
                  <a:pt x="1151605" y="1396728"/>
                </a:cubicBezTo>
                <a:lnTo>
                  <a:pt x="1151638" y="1384432"/>
                </a:lnTo>
                <a:lnTo>
                  <a:pt x="1149650" y="1386314"/>
                </a:lnTo>
                <a:cubicBezTo>
                  <a:pt x="1146215" y="1385853"/>
                  <a:pt x="1143943" y="1385476"/>
                  <a:pt x="1142618" y="1384889"/>
                </a:cubicBezTo>
                <a:cubicBezTo>
                  <a:pt x="1138888" y="1383316"/>
                  <a:pt x="1141629" y="1380830"/>
                  <a:pt x="1132456" y="1374118"/>
                </a:cubicBezTo>
                <a:cubicBezTo>
                  <a:pt x="1137119" y="1367776"/>
                  <a:pt x="1146204" y="1369290"/>
                  <a:pt x="1151689" y="1373175"/>
                </a:cubicBezTo>
                <a:lnTo>
                  <a:pt x="1154260" y="1376854"/>
                </a:lnTo>
                <a:close/>
                <a:moveTo>
                  <a:pt x="1215707" y="1367789"/>
                </a:moveTo>
                <a:cubicBezTo>
                  <a:pt x="1220806" y="1365360"/>
                  <a:pt x="1225528" y="1367660"/>
                  <a:pt x="1230528" y="1370035"/>
                </a:cubicBezTo>
                <a:cubicBezTo>
                  <a:pt x="1233589" y="1371891"/>
                  <a:pt x="1235278" y="1372227"/>
                  <a:pt x="1238666" y="1371755"/>
                </a:cubicBezTo>
                <a:cubicBezTo>
                  <a:pt x="1238666" y="1371755"/>
                  <a:pt x="1238666" y="1371755"/>
                  <a:pt x="1241689" y="1374865"/>
                </a:cubicBezTo>
                <a:lnTo>
                  <a:pt x="1241677" y="1376013"/>
                </a:lnTo>
                <a:cubicBezTo>
                  <a:pt x="1241229" y="1376583"/>
                  <a:pt x="1240036" y="1376607"/>
                  <a:pt x="1238346" y="1376270"/>
                </a:cubicBezTo>
                <a:cubicBezTo>
                  <a:pt x="1235495" y="1375851"/>
                  <a:pt x="1231925" y="1374780"/>
                  <a:pt x="1228662" y="1373675"/>
                </a:cubicBezTo>
                <a:cubicBezTo>
                  <a:pt x="1225371" y="1372678"/>
                  <a:pt x="1222937" y="1371796"/>
                  <a:pt x="1222107" y="1371573"/>
                </a:cubicBezTo>
                <a:cubicBezTo>
                  <a:pt x="1222107" y="1371573"/>
                  <a:pt x="1220418" y="1371236"/>
                  <a:pt x="1218729" y="1370898"/>
                </a:cubicBezTo>
                <a:cubicBezTo>
                  <a:pt x="1217356" y="1369381"/>
                  <a:pt x="1217368" y="1368234"/>
                  <a:pt x="1215707" y="1367789"/>
                </a:cubicBezTo>
                <a:close/>
                <a:moveTo>
                  <a:pt x="1640377" y="1362322"/>
                </a:moveTo>
                <a:cubicBezTo>
                  <a:pt x="1649680" y="1363579"/>
                  <a:pt x="1659879" y="1368123"/>
                  <a:pt x="1659283" y="1372563"/>
                </a:cubicBezTo>
                <a:cubicBezTo>
                  <a:pt x="1658973" y="1375930"/>
                  <a:pt x="1652175" y="1379169"/>
                  <a:pt x="1633905" y="1380944"/>
                </a:cubicBezTo>
                <a:cubicBezTo>
                  <a:pt x="1630415" y="1377362"/>
                  <a:pt x="1628252" y="1374368"/>
                  <a:pt x="1626861" y="1371811"/>
                </a:cubicBezTo>
                <a:cubicBezTo>
                  <a:pt x="1622671" y="1363098"/>
                  <a:pt x="1631075" y="1361066"/>
                  <a:pt x="1640377" y="1362322"/>
                </a:cubicBezTo>
                <a:close/>
                <a:moveTo>
                  <a:pt x="6106630" y="1361539"/>
                </a:moveTo>
                <a:cubicBezTo>
                  <a:pt x="6114751" y="1362220"/>
                  <a:pt x="6123365" y="1366598"/>
                  <a:pt x="6130272" y="1369598"/>
                </a:cubicBezTo>
                <a:cubicBezTo>
                  <a:pt x="6124399" y="1371590"/>
                  <a:pt x="6117522" y="1368482"/>
                  <a:pt x="6112921" y="1376795"/>
                </a:cubicBezTo>
                <a:cubicBezTo>
                  <a:pt x="6108700" y="1371524"/>
                  <a:pt x="6105947" y="1366300"/>
                  <a:pt x="6106630" y="1361539"/>
                </a:cubicBezTo>
                <a:close/>
                <a:moveTo>
                  <a:pt x="787369" y="1359278"/>
                </a:moveTo>
                <a:cubicBezTo>
                  <a:pt x="795013" y="1360635"/>
                  <a:pt x="801034" y="1360294"/>
                  <a:pt x="808678" y="1361652"/>
                </a:cubicBezTo>
                <a:cubicBezTo>
                  <a:pt x="821687" y="1370659"/>
                  <a:pt x="819866" y="1378565"/>
                  <a:pt x="812149" y="1381902"/>
                </a:cubicBezTo>
                <a:cubicBezTo>
                  <a:pt x="808139" y="1383588"/>
                  <a:pt x="802946" y="1384152"/>
                  <a:pt x="797268" y="1383205"/>
                </a:cubicBezTo>
                <a:cubicBezTo>
                  <a:pt x="791620" y="1382151"/>
                  <a:pt x="785763" y="1379663"/>
                  <a:pt x="780479" y="1375027"/>
                </a:cubicBezTo>
                <a:cubicBezTo>
                  <a:pt x="781079" y="1367253"/>
                  <a:pt x="785227" y="1362844"/>
                  <a:pt x="787369" y="1359278"/>
                </a:cubicBezTo>
                <a:close/>
                <a:moveTo>
                  <a:pt x="1795447" y="1359137"/>
                </a:moveTo>
                <a:cubicBezTo>
                  <a:pt x="1795583" y="1356413"/>
                  <a:pt x="1799238" y="1357162"/>
                  <a:pt x="1803713" y="1359282"/>
                </a:cubicBezTo>
                <a:cubicBezTo>
                  <a:pt x="1813148" y="1361695"/>
                  <a:pt x="1816666" y="1365168"/>
                  <a:pt x="1814294" y="1369593"/>
                </a:cubicBezTo>
                <a:cubicBezTo>
                  <a:pt x="1812768" y="1369759"/>
                  <a:pt x="1807833" y="1369357"/>
                  <a:pt x="1808405" y="1370544"/>
                </a:cubicBezTo>
                <a:cubicBezTo>
                  <a:pt x="1803378" y="1368278"/>
                  <a:pt x="1798246" y="1365293"/>
                  <a:pt x="1796112" y="1362191"/>
                </a:cubicBezTo>
                <a:cubicBezTo>
                  <a:pt x="1795511" y="1361109"/>
                  <a:pt x="1795465" y="1360177"/>
                  <a:pt x="1795447" y="1359137"/>
                </a:cubicBezTo>
                <a:close/>
                <a:moveTo>
                  <a:pt x="1072208" y="1358779"/>
                </a:moveTo>
                <a:cubicBezTo>
                  <a:pt x="1075695" y="1365693"/>
                  <a:pt x="1064120" y="1372367"/>
                  <a:pt x="1056548" y="1375168"/>
                </a:cubicBezTo>
                <a:cubicBezTo>
                  <a:pt x="1052656" y="1373090"/>
                  <a:pt x="1049620" y="1374462"/>
                  <a:pt x="1045757" y="1372276"/>
                </a:cubicBezTo>
                <a:cubicBezTo>
                  <a:pt x="1053735" y="1364639"/>
                  <a:pt x="1061417" y="1355888"/>
                  <a:pt x="1072208" y="1358779"/>
                </a:cubicBezTo>
                <a:close/>
                <a:moveTo>
                  <a:pt x="5416010" y="1358434"/>
                </a:moveTo>
                <a:cubicBezTo>
                  <a:pt x="5420818" y="1357092"/>
                  <a:pt x="5426231" y="1357363"/>
                  <a:pt x="5432642" y="1360002"/>
                </a:cubicBezTo>
                <a:cubicBezTo>
                  <a:pt x="5431410" y="1361281"/>
                  <a:pt x="5433480" y="1362411"/>
                  <a:pt x="5435273" y="1363466"/>
                </a:cubicBezTo>
                <a:cubicBezTo>
                  <a:pt x="5436078" y="1369317"/>
                  <a:pt x="5427492" y="1373687"/>
                  <a:pt x="5419158" y="1374904"/>
                </a:cubicBezTo>
                <a:lnTo>
                  <a:pt x="5417107" y="1374814"/>
                </a:lnTo>
                <a:lnTo>
                  <a:pt x="5418214" y="1375111"/>
                </a:lnTo>
                <a:cubicBezTo>
                  <a:pt x="5421142" y="1376356"/>
                  <a:pt x="5423402" y="1377881"/>
                  <a:pt x="5425243" y="1379869"/>
                </a:cubicBezTo>
                <a:cubicBezTo>
                  <a:pt x="5418825" y="1383900"/>
                  <a:pt x="5412923" y="1385999"/>
                  <a:pt x="5405654" y="1383246"/>
                </a:cubicBezTo>
                <a:cubicBezTo>
                  <a:pt x="5403222" y="1382364"/>
                  <a:pt x="5400627" y="1380978"/>
                  <a:pt x="5397651" y="1378801"/>
                </a:cubicBezTo>
                <a:cubicBezTo>
                  <a:pt x="5397673" y="1376506"/>
                  <a:pt x="5398992" y="1374905"/>
                  <a:pt x="5401055" y="1373848"/>
                </a:cubicBezTo>
                <a:lnTo>
                  <a:pt x="5407497" y="1373044"/>
                </a:lnTo>
                <a:lnTo>
                  <a:pt x="5403854" y="1371148"/>
                </a:lnTo>
                <a:cubicBezTo>
                  <a:pt x="5403006" y="1369886"/>
                  <a:pt x="5402797" y="1368450"/>
                  <a:pt x="5403010" y="1366551"/>
                </a:cubicBezTo>
                <a:cubicBezTo>
                  <a:pt x="5406999" y="1362733"/>
                  <a:pt x="5411201" y="1359777"/>
                  <a:pt x="5416010" y="1358434"/>
                </a:cubicBezTo>
                <a:close/>
                <a:moveTo>
                  <a:pt x="5556768" y="1358301"/>
                </a:moveTo>
                <a:cubicBezTo>
                  <a:pt x="5557569" y="1358630"/>
                  <a:pt x="5558589" y="1359249"/>
                  <a:pt x="5559610" y="1359868"/>
                </a:cubicBezTo>
                <a:cubicBezTo>
                  <a:pt x="5561374" y="1361030"/>
                  <a:pt x="5563387" y="1362374"/>
                  <a:pt x="5565122" y="1363644"/>
                </a:cubicBezTo>
                <a:cubicBezTo>
                  <a:pt x="5565122" y="1363644"/>
                  <a:pt x="5565151" y="1363537"/>
                  <a:pt x="5554324" y="1358565"/>
                </a:cubicBezTo>
                <a:cubicBezTo>
                  <a:pt x="5555078" y="1357963"/>
                  <a:pt x="5555967" y="1357971"/>
                  <a:pt x="5556768" y="1358301"/>
                </a:cubicBezTo>
                <a:close/>
                <a:moveTo>
                  <a:pt x="1570149" y="1357535"/>
                </a:moveTo>
                <a:cubicBezTo>
                  <a:pt x="1579504" y="1357626"/>
                  <a:pt x="1589436" y="1360402"/>
                  <a:pt x="1593787" y="1366858"/>
                </a:cubicBezTo>
                <a:cubicBezTo>
                  <a:pt x="1582495" y="1366938"/>
                  <a:pt x="1571464" y="1366052"/>
                  <a:pt x="1558134" y="1370416"/>
                </a:cubicBezTo>
                <a:cubicBezTo>
                  <a:pt x="1556086" y="1366992"/>
                  <a:pt x="1551436" y="1368850"/>
                  <a:pt x="1549981" y="1364321"/>
                </a:cubicBezTo>
                <a:cubicBezTo>
                  <a:pt x="1552019" y="1360037"/>
                  <a:pt x="1560795" y="1357443"/>
                  <a:pt x="1570149" y="1357535"/>
                </a:cubicBezTo>
                <a:close/>
                <a:moveTo>
                  <a:pt x="5769988" y="1357242"/>
                </a:moveTo>
                <a:cubicBezTo>
                  <a:pt x="5772698" y="1358198"/>
                  <a:pt x="5774929" y="1359831"/>
                  <a:pt x="5776187" y="1361778"/>
                </a:cubicBezTo>
                <a:cubicBezTo>
                  <a:pt x="5777855" y="1364410"/>
                  <a:pt x="5778098" y="1367925"/>
                  <a:pt x="5774678" y="1371838"/>
                </a:cubicBezTo>
                <a:cubicBezTo>
                  <a:pt x="5766516" y="1372411"/>
                  <a:pt x="5762463" y="1369831"/>
                  <a:pt x="5756508" y="1368810"/>
                </a:cubicBezTo>
                <a:cubicBezTo>
                  <a:pt x="5751683" y="1356937"/>
                  <a:pt x="5762137" y="1354448"/>
                  <a:pt x="5769988" y="1357242"/>
                </a:cubicBezTo>
                <a:close/>
                <a:moveTo>
                  <a:pt x="5733798" y="1356859"/>
                </a:moveTo>
                <a:cubicBezTo>
                  <a:pt x="5741060" y="1356736"/>
                  <a:pt x="5748174" y="1358412"/>
                  <a:pt x="5753163" y="1364693"/>
                </a:cubicBezTo>
                <a:cubicBezTo>
                  <a:pt x="5747704" y="1372892"/>
                  <a:pt x="5729338" y="1376135"/>
                  <a:pt x="5719415" y="1372212"/>
                </a:cubicBezTo>
                <a:cubicBezTo>
                  <a:pt x="5716182" y="1371000"/>
                  <a:pt x="5713788" y="1368863"/>
                  <a:pt x="5712846" y="1365736"/>
                </a:cubicBezTo>
                <a:cubicBezTo>
                  <a:pt x="5712390" y="1364119"/>
                  <a:pt x="5712632" y="1362113"/>
                  <a:pt x="5713540" y="1359827"/>
                </a:cubicBezTo>
                <a:cubicBezTo>
                  <a:pt x="5719125" y="1358909"/>
                  <a:pt x="5726536" y="1356984"/>
                  <a:pt x="5733798" y="1356859"/>
                </a:cubicBezTo>
                <a:close/>
                <a:moveTo>
                  <a:pt x="5829092" y="1352493"/>
                </a:moveTo>
                <a:cubicBezTo>
                  <a:pt x="5832929" y="1351451"/>
                  <a:pt x="5835876" y="1353736"/>
                  <a:pt x="5839427" y="1353768"/>
                </a:cubicBezTo>
                <a:cubicBezTo>
                  <a:pt x="5840770" y="1355393"/>
                  <a:pt x="5841770" y="1358305"/>
                  <a:pt x="5837655" y="1359274"/>
                </a:cubicBezTo>
                <a:cubicBezTo>
                  <a:pt x="5833530" y="1361388"/>
                  <a:pt x="5828664" y="1359624"/>
                  <a:pt x="5824086" y="1356787"/>
                </a:cubicBezTo>
                <a:cubicBezTo>
                  <a:pt x="5822311" y="1356771"/>
                  <a:pt x="5820726" y="1357152"/>
                  <a:pt x="5819504" y="1357284"/>
                </a:cubicBezTo>
                <a:cubicBezTo>
                  <a:pt x="5818006" y="1357343"/>
                  <a:pt x="5816841" y="1357261"/>
                  <a:pt x="5815354" y="1356172"/>
                </a:cubicBezTo>
                <a:cubicBezTo>
                  <a:pt x="5820823" y="1355683"/>
                  <a:pt x="5822742" y="1355162"/>
                  <a:pt x="5826569" y="1355268"/>
                </a:cubicBezTo>
                <a:cubicBezTo>
                  <a:pt x="5826857" y="1354194"/>
                  <a:pt x="5827173" y="1353014"/>
                  <a:pt x="5829092" y="1352493"/>
                </a:cubicBezTo>
                <a:close/>
                <a:moveTo>
                  <a:pt x="6059396" y="1351872"/>
                </a:moveTo>
                <a:cubicBezTo>
                  <a:pt x="6063661" y="1352556"/>
                  <a:pt x="6067565" y="1353486"/>
                  <a:pt x="6071104" y="1354665"/>
                </a:cubicBezTo>
                <a:cubicBezTo>
                  <a:pt x="6081475" y="1358018"/>
                  <a:pt x="6088723" y="1363066"/>
                  <a:pt x="6096481" y="1363995"/>
                </a:cubicBezTo>
                <a:cubicBezTo>
                  <a:pt x="6096481" y="1363995"/>
                  <a:pt x="6096510" y="1363887"/>
                  <a:pt x="6098863" y="1367278"/>
                </a:cubicBezTo>
                <a:cubicBezTo>
                  <a:pt x="6100495" y="1367830"/>
                  <a:pt x="6100495" y="1367830"/>
                  <a:pt x="6100495" y="1367830"/>
                </a:cubicBezTo>
                <a:cubicBezTo>
                  <a:pt x="6102127" y="1368383"/>
                  <a:pt x="6101495" y="1370742"/>
                  <a:pt x="6101495" y="1370742"/>
                </a:cubicBezTo>
                <a:cubicBezTo>
                  <a:pt x="6100100" y="1371519"/>
                  <a:pt x="6098411" y="1371181"/>
                  <a:pt x="6096780" y="1370629"/>
                </a:cubicBezTo>
                <a:cubicBezTo>
                  <a:pt x="6094900" y="1369896"/>
                  <a:pt x="6093078" y="1368948"/>
                  <a:pt x="6091447" y="1368396"/>
                </a:cubicBezTo>
                <a:cubicBezTo>
                  <a:pt x="6089212" y="1370096"/>
                  <a:pt x="6085859" y="1363793"/>
                  <a:pt x="6083624" y="1365494"/>
                </a:cubicBezTo>
                <a:cubicBezTo>
                  <a:pt x="6078611" y="1358746"/>
                  <a:pt x="6068958" y="1361565"/>
                  <a:pt x="6059396" y="1351872"/>
                </a:cubicBezTo>
                <a:close/>
                <a:moveTo>
                  <a:pt x="1666227" y="1351078"/>
                </a:moveTo>
                <a:cubicBezTo>
                  <a:pt x="1668914" y="1354328"/>
                  <a:pt x="1672493" y="1354252"/>
                  <a:pt x="1675181" y="1357502"/>
                </a:cubicBezTo>
                <a:cubicBezTo>
                  <a:pt x="1671562" y="1358833"/>
                  <a:pt x="1669298" y="1360641"/>
                  <a:pt x="1667627" y="1361343"/>
                </a:cubicBezTo>
                <a:cubicBezTo>
                  <a:pt x="1661371" y="1357022"/>
                  <a:pt x="1660631" y="1353143"/>
                  <a:pt x="1666227" y="1351078"/>
                </a:cubicBezTo>
                <a:close/>
                <a:moveTo>
                  <a:pt x="1369799" y="1350542"/>
                </a:moveTo>
                <a:cubicBezTo>
                  <a:pt x="1371144" y="1352167"/>
                  <a:pt x="1372477" y="1354939"/>
                  <a:pt x="1370529" y="1355567"/>
                </a:cubicBezTo>
                <a:cubicBezTo>
                  <a:pt x="1369412" y="1356418"/>
                  <a:pt x="1368582" y="1356196"/>
                  <a:pt x="1367591" y="1355470"/>
                </a:cubicBezTo>
                <a:cubicBezTo>
                  <a:pt x="1366627" y="1354636"/>
                  <a:pt x="1365750" y="1353481"/>
                  <a:pt x="1364263" y="1352393"/>
                </a:cubicBezTo>
                <a:close/>
                <a:moveTo>
                  <a:pt x="1684600" y="1350021"/>
                </a:moveTo>
                <a:cubicBezTo>
                  <a:pt x="1690396" y="1347204"/>
                  <a:pt x="1695897" y="1352129"/>
                  <a:pt x="1694234" y="1355017"/>
                </a:cubicBezTo>
                <a:cubicBezTo>
                  <a:pt x="1693698" y="1355909"/>
                  <a:pt x="1692275" y="1356793"/>
                  <a:pt x="1690138" y="1357026"/>
                </a:cubicBezTo>
                <a:cubicBezTo>
                  <a:pt x="1687467" y="1354814"/>
                  <a:pt x="1686429" y="1353156"/>
                  <a:pt x="1684600" y="1350021"/>
                </a:cubicBezTo>
                <a:close/>
                <a:moveTo>
                  <a:pt x="5473408" y="1349534"/>
                </a:moveTo>
                <a:cubicBezTo>
                  <a:pt x="5477914" y="1348212"/>
                  <a:pt x="5483926" y="1349017"/>
                  <a:pt x="5489230" y="1351359"/>
                </a:cubicBezTo>
                <a:cubicBezTo>
                  <a:pt x="5486150" y="1357319"/>
                  <a:pt x="5480030" y="1359129"/>
                  <a:pt x="5471125" y="1359158"/>
                </a:cubicBezTo>
                <a:cubicBezTo>
                  <a:pt x="5469620" y="1357030"/>
                  <a:pt x="5471744" y="1352424"/>
                  <a:pt x="5473408" y="1349534"/>
                </a:cubicBezTo>
                <a:close/>
                <a:moveTo>
                  <a:pt x="922045" y="1349191"/>
                </a:moveTo>
                <a:cubicBezTo>
                  <a:pt x="933894" y="1349519"/>
                  <a:pt x="945563" y="1352732"/>
                  <a:pt x="948429" y="1359192"/>
                </a:cubicBezTo>
                <a:cubicBezTo>
                  <a:pt x="928866" y="1356941"/>
                  <a:pt x="916252" y="1361955"/>
                  <a:pt x="894583" y="1356495"/>
                </a:cubicBezTo>
                <a:cubicBezTo>
                  <a:pt x="898167" y="1351417"/>
                  <a:pt x="910196" y="1348862"/>
                  <a:pt x="922045" y="1349191"/>
                </a:cubicBezTo>
                <a:close/>
                <a:moveTo>
                  <a:pt x="5354601" y="1349096"/>
                </a:moveTo>
                <a:lnTo>
                  <a:pt x="5354094" y="1349880"/>
                </a:lnTo>
                <a:lnTo>
                  <a:pt x="5355668" y="1350647"/>
                </a:lnTo>
                <a:lnTo>
                  <a:pt x="5356441" y="1351083"/>
                </a:lnTo>
                <a:lnTo>
                  <a:pt x="5357540" y="1349193"/>
                </a:lnTo>
                <a:close/>
                <a:moveTo>
                  <a:pt x="1349647" y="1346062"/>
                </a:moveTo>
                <a:cubicBezTo>
                  <a:pt x="1351375" y="1345146"/>
                  <a:pt x="1356374" y="1347519"/>
                  <a:pt x="1358103" y="1346603"/>
                </a:cubicBezTo>
                <a:cubicBezTo>
                  <a:pt x="1358103" y="1346603"/>
                  <a:pt x="1358103" y="1346603"/>
                  <a:pt x="1359684" y="1349556"/>
                </a:cubicBezTo>
                <a:lnTo>
                  <a:pt x="1358613" y="1351340"/>
                </a:lnTo>
                <a:lnTo>
                  <a:pt x="1362314" y="1353021"/>
                </a:lnTo>
                <a:cubicBezTo>
                  <a:pt x="1365279" y="1356346"/>
                  <a:pt x="1369311" y="1361221"/>
                  <a:pt x="1365376" y="1363732"/>
                </a:cubicBezTo>
                <a:cubicBezTo>
                  <a:pt x="1363716" y="1363287"/>
                  <a:pt x="1363399" y="1364467"/>
                  <a:pt x="1361768" y="1363915"/>
                </a:cubicBezTo>
                <a:cubicBezTo>
                  <a:pt x="1361768" y="1363915"/>
                  <a:pt x="1360241" y="1364080"/>
                  <a:pt x="1357723" y="1363521"/>
                </a:cubicBezTo>
                <a:cubicBezTo>
                  <a:pt x="1355203" y="1362961"/>
                  <a:pt x="1352302" y="1361609"/>
                  <a:pt x="1349442" y="1359003"/>
                </a:cubicBezTo>
                <a:cubicBezTo>
                  <a:pt x="1348127" y="1357269"/>
                  <a:pt x="1345450" y="1352872"/>
                  <a:pt x="1346833" y="1353243"/>
                </a:cubicBezTo>
                <a:cubicBezTo>
                  <a:pt x="1348782" y="1352615"/>
                  <a:pt x="1347120" y="1352170"/>
                  <a:pt x="1347436" y="1350990"/>
                </a:cubicBezTo>
                <a:lnTo>
                  <a:pt x="1349880" y="1350725"/>
                </a:lnTo>
                <a:lnTo>
                  <a:pt x="1349280" y="1349644"/>
                </a:lnTo>
                <a:cubicBezTo>
                  <a:pt x="1347670" y="1346798"/>
                  <a:pt x="1347948" y="1346872"/>
                  <a:pt x="1349647" y="1346062"/>
                </a:cubicBezTo>
                <a:close/>
                <a:moveTo>
                  <a:pt x="5259354" y="1344850"/>
                </a:moveTo>
                <a:cubicBezTo>
                  <a:pt x="5259354" y="1344850"/>
                  <a:pt x="5259088" y="1343629"/>
                  <a:pt x="5264754" y="1345722"/>
                </a:cubicBezTo>
                <a:cubicBezTo>
                  <a:pt x="5263217" y="1347035"/>
                  <a:pt x="5259242" y="1350800"/>
                  <a:pt x="5259242" y="1350800"/>
                </a:cubicBezTo>
                <a:cubicBezTo>
                  <a:pt x="5259813" y="1351988"/>
                  <a:pt x="5259508" y="1352021"/>
                  <a:pt x="5258275" y="1353301"/>
                </a:cubicBezTo>
                <a:cubicBezTo>
                  <a:pt x="5256482" y="1352245"/>
                  <a:pt x="5256482" y="1352245"/>
                  <a:pt x="5256216" y="1351024"/>
                </a:cubicBezTo>
                <a:cubicBezTo>
                  <a:pt x="5257449" y="1349745"/>
                  <a:pt x="5258947" y="1349685"/>
                  <a:pt x="5260208" y="1348299"/>
                </a:cubicBezTo>
                <a:cubicBezTo>
                  <a:pt x="5256316" y="1346221"/>
                  <a:pt x="5256888" y="1347409"/>
                  <a:pt x="5258121" y="1346129"/>
                </a:cubicBezTo>
                <a:cubicBezTo>
                  <a:pt x="5258121" y="1346129"/>
                  <a:pt x="5258121" y="1346129"/>
                  <a:pt x="5259354" y="1344850"/>
                </a:cubicBezTo>
                <a:close/>
                <a:moveTo>
                  <a:pt x="1950157" y="1344011"/>
                </a:moveTo>
                <a:cubicBezTo>
                  <a:pt x="1949276" y="1346189"/>
                  <a:pt x="1944063" y="1357903"/>
                  <a:pt x="1939908" y="1360125"/>
                </a:cubicBezTo>
                <a:cubicBezTo>
                  <a:pt x="1943034" y="1355097"/>
                  <a:pt x="1944055" y="1346861"/>
                  <a:pt x="1950157" y="1344011"/>
                </a:cubicBezTo>
                <a:close/>
                <a:moveTo>
                  <a:pt x="5680049" y="1343148"/>
                </a:moveTo>
                <a:lnTo>
                  <a:pt x="5681821" y="1346498"/>
                </a:lnTo>
                <a:lnTo>
                  <a:pt x="5691742" y="1350421"/>
                </a:lnTo>
                <a:cubicBezTo>
                  <a:pt x="5695328" y="1352532"/>
                  <a:pt x="5698407" y="1355428"/>
                  <a:pt x="5700151" y="1358885"/>
                </a:cubicBezTo>
                <a:cubicBezTo>
                  <a:pt x="5698771" y="1364035"/>
                  <a:pt x="5692316" y="1365985"/>
                  <a:pt x="5685407" y="1366319"/>
                </a:cubicBezTo>
                <a:lnTo>
                  <a:pt x="5684547" y="1366204"/>
                </a:lnTo>
                <a:lnTo>
                  <a:pt x="5683782" y="1367953"/>
                </a:lnTo>
                <a:cubicBezTo>
                  <a:pt x="5682405" y="1369770"/>
                  <a:pt x="5680181" y="1370324"/>
                  <a:pt x="5678262" y="1370844"/>
                </a:cubicBezTo>
                <a:lnTo>
                  <a:pt x="5674309" y="1372315"/>
                </a:lnTo>
                <a:lnTo>
                  <a:pt x="5667143" y="1379136"/>
                </a:lnTo>
                <a:cubicBezTo>
                  <a:pt x="5662597" y="1381712"/>
                  <a:pt x="5657262" y="1382813"/>
                  <a:pt x="5651393" y="1381470"/>
                </a:cubicBezTo>
                <a:cubicBezTo>
                  <a:pt x="5659931" y="1376168"/>
                  <a:pt x="5661609" y="1368798"/>
                  <a:pt x="5663813" y="1361683"/>
                </a:cubicBezTo>
                <a:lnTo>
                  <a:pt x="5664204" y="1361327"/>
                </a:lnTo>
                <a:lnTo>
                  <a:pt x="5660852" y="1355024"/>
                </a:lnTo>
                <a:cubicBezTo>
                  <a:pt x="5660539" y="1352871"/>
                  <a:pt x="5660999" y="1351154"/>
                  <a:pt x="5661984" y="1349692"/>
                </a:cubicBezTo>
                <a:lnTo>
                  <a:pt x="5662376" y="1349338"/>
                </a:lnTo>
                <a:lnTo>
                  <a:pt x="5660934" y="1349181"/>
                </a:lnTo>
                <a:cubicBezTo>
                  <a:pt x="5659712" y="1349314"/>
                  <a:pt x="5658519" y="1349339"/>
                  <a:pt x="5657470" y="1348829"/>
                </a:cubicBezTo>
                <a:cubicBezTo>
                  <a:pt x="5657470" y="1348829"/>
                  <a:pt x="5654563" y="1345290"/>
                  <a:pt x="5654563" y="1345290"/>
                </a:cubicBezTo>
                <a:cubicBezTo>
                  <a:pt x="5656072" y="1344084"/>
                  <a:pt x="5656101" y="1343977"/>
                  <a:pt x="5656367" y="1345197"/>
                </a:cubicBezTo>
                <a:cubicBezTo>
                  <a:pt x="5659433" y="1343719"/>
                  <a:pt x="5661236" y="1343627"/>
                  <a:pt x="5663012" y="1343642"/>
                </a:cubicBezTo>
                <a:lnTo>
                  <a:pt x="5664133" y="1348314"/>
                </a:lnTo>
                <a:lnTo>
                  <a:pt x="5669012" y="1345596"/>
                </a:lnTo>
                <a:lnTo>
                  <a:pt x="5676362" y="1345840"/>
                </a:lnTo>
                <a:close/>
                <a:moveTo>
                  <a:pt x="5885264" y="1343049"/>
                </a:moveTo>
                <a:cubicBezTo>
                  <a:pt x="5886696" y="1341996"/>
                  <a:pt x="5888731" y="1342425"/>
                  <a:pt x="5890787" y="1343609"/>
                </a:cubicBezTo>
                <a:cubicBezTo>
                  <a:pt x="5897186" y="1347394"/>
                  <a:pt x="5902899" y="1359275"/>
                  <a:pt x="5883361" y="1351395"/>
                </a:cubicBezTo>
                <a:cubicBezTo>
                  <a:pt x="5883004" y="1346642"/>
                  <a:pt x="5883833" y="1344104"/>
                  <a:pt x="5885264" y="1343049"/>
                </a:cubicBezTo>
                <a:close/>
                <a:moveTo>
                  <a:pt x="1477143" y="1342850"/>
                </a:moveTo>
                <a:cubicBezTo>
                  <a:pt x="1489819" y="1343140"/>
                  <a:pt x="1501095" y="1347542"/>
                  <a:pt x="1510078" y="1353859"/>
                </a:cubicBezTo>
                <a:cubicBezTo>
                  <a:pt x="1524736" y="1364457"/>
                  <a:pt x="1532544" y="1380694"/>
                  <a:pt x="1527481" y="1394058"/>
                </a:cubicBezTo>
                <a:cubicBezTo>
                  <a:pt x="1524904" y="1393712"/>
                  <a:pt x="1522604" y="1393441"/>
                  <a:pt x="1523004" y="1395272"/>
                </a:cubicBezTo>
                <a:cubicBezTo>
                  <a:pt x="1519234" y="1394953"/>
                  <a:pt x="1515579" y="1394203"/>
                  <a:pt x="1512011" y="1393132"/>
                </a:cubicBezTo>
                <a:cubicBezTo>
                  <a:pt x="1486565" y="1385164"/>
                  <a:pt x="1465378" y="1357981"/>
                  <a:pt x="1477143" y="1342850"/>
                </a:cubicBezTo>
                <a:close/>
                <a:moveTo>
                  <a:pt x="1132020" y="1339543"/>
                </a:moveTo>
                <a:cubicBezTo>
                  <a:pt x="1136965" y="1340408"/>
                  <a:pt x="1141354" y="1342289"/>
                  <a:pt x="1144293" y="1345434"/>
                </a:cubicBezTo>
                <a:cubicBezTo>
                  <a:pt x="1126472" y="1346638"/>
                  <a:pt x="1118494" y="1354276"/>
                  <a:pt x="1096735" y="1352471"/>
                </a:cubicBezTo>
                <a:cubicBezTo>
                  <a:pt x="1097360" y="1343495"/>
                  <a:pt x="1117187" y="1336949"/>
                  <a:pt x="1132020" y="1339543"/>
                </a:cubicBezTo>
                <a:close/>
                <a:moveTo>
                  <a:pt x="5703274" y="1339481"/>
                </a:moveTo>
                <a:cubicBezTo>
                  <a:pt x="5705631" y="1339537"/>
                  <a:pt x="5708830" y="1338669"/>
                  <a:pt x="5712455" y="1339527"/>
                </a:cubicBezTo>
                <a:cubicBezTo>
                  <a:pt x="5715467" y="1343782"/>
                  <a:pt x="5712401" y="1345261"/>
                  <a:pt x="5708938" y="1344908"/>
                </a:cubicBezTo>
                <a:cubicBezTo>
                  <a:pt x="5705473" y="1344555"/>
                  <a:pt x="5701610" y="1342370"/>
                  <a:pt x="5703274" y="1339481"/>
                </a:cubicBezTo>
                <a:close/>
                <a:moveTo>
                  <a:pt x="981349" y="1339264"/>
                </a:moveTo>
                <a:cubicBezTo>
                  <a:pt x="988569" y="1344418"/>
                  <a:pt x="983502" y="1352260"/>
                  <a:pt x="974769" y="1351645"/>
                </a:cubicBezTo>
                <a:cubicBezTo>
                  <a:pt x="973034" y="1350375"/>
                  <a:pt x="969553" y="1348983"/>
                  <a:pt x="967827" y="1346564"/>
                </a:cubicBezTo>
                <a:cubicBezTo>
                  <a:pt x="969379" y="1340771"/>
                  <a:pt x="974641" y="1338845"/>
                  <a:pt x="981349" y="1339264"/>
                </a:cubicBezTo>
                <a:close/>
                <a:moveTo>
                  <a:pt x="1774424" y="1338813"/>
                </a:moveTo>
                <a:cubicBezTo>
                  <a:pt x="1776513" y="1337935"/>
                  <a:pt x="1778978" y="1337589"/>
                  <a:pt x="1782183" y="1338907"/>
                </a:cubicBezTo>
                <a:cubicBezTo>
                  <a:pt x="1779758" y="1340213"/>
                  <a:pt x="1775154" y="1343004"/>
                  <a:pt x="1771881" y="1343047"/>
                </a:cubicBezTo>
                <a:cubicBezTo>
                  <a:pt x="1770688" y="1343073"/>
                  <a:pt x="1769609" y="1342669"/>
                  <a:pt x="1768922" y="1341910"/>
                </a:cubicBezTo>
                <a:cubicBezTo>
                  <a:pt x="1770623" y="1341101"/>
                  <a:pt x="1772335" y="1339690"/>
                  <a:pt x="1774424" y="1338813"/>
                </a:cubicBezTo>
                <a:close/>
                <a:moveTo>
                  <a:pt x="5529961" y="1337857"/>
                </a:moveTo>
                <a:cubicBezTo>
                  <a:pt x="5533168" y="1336660"/>
                  <a:pt x="5536903" y="1336418"/>
                  <a:pt x="5541758" y="1337948"/>
                </a:cubicBezTo>
                <a:cubicBezTo>
                  <a:pt x="5535008" y="1347641"/>
                  <a:pt x="5531713" y="1358833"/>
                  <a:pt x="5511150" y="1362523"/>
                </a:cubicBezTo>
                <a:cubicBezTo>
                  <a:pt x="5506964" y="1359331"/>
                  <a:pt x="5498128" y="1357998"/>
                  <a:pt x="5499375" y="1352238"/>
                </a:cubicBezTo>
                <a:cubicBezTo>
                  <a:pt x="5515466" y="1353616"/>
                  <a:pt x="5520339" y="1341445"/>
                  <a:pt x="5529961" y="1337857"/>
                </a:cubicBezTo>
                <a:close/>
                <a:moveTo>
                  <a:pt x="5951935" y="1336763"/>
                </a:moveTo>
                <a:cubicBezTo>
                  <a:pt x="5955967" y="1341638"/>
                  <a:pt x="5959969" y="1346622"/>
                  <a:pt x="5954680" y="1348653"/>
                </a:cubicBezTo>
                <a:cubicBezTo>
                  <a:pt x="5946436" y="1346215"/>
                  <a:pt x="5942760" y="1338905"/>
                  <a:pt x="5951935" y="1336763"/>
                </a:cubicBezTo>
                <a:close/>
                <a:moveTo>
                  <a:pt x="5739842" y="1335824"/>
                </a:moveTo>
                <a:cubicBezTo>
                  <a:pt x="5744736" y="1337481"/>
                  <a:pt x="5748226" y="1341060"/>
                  <a:pt x="5749797" y="1345162"/>
                </a:cubicBezTo>
                <a:cubicBezTo>
                  <a:pt x="5745376" y="1346161"/>
                  <a:pt x="5741549" y="1346056"/>
                  <a:pt x="5738200" y="1345274"/>
                </a:cubicBezTo>
                <a:cubicBezTo>
                  <a:pt x="5734602" y="1344310"/>
                  <a:pt x="5731483" y="1342670"/>
                  <a:pt x="5727954" y="1340344"/>
                </a:cubicBezTo>
                <a:cubicBezTo>
                  <a:pt x="5729111" y="1338239"/>
                  <a:pt x="5735422" y="1336825"/>
                  <a:pt x="5739842" y="1335824"/>
                </a:cubicBezTo>
                <a:close/>
                <a:moveTo>
                  <a:pt x="1383530" y="1335821"/>
                </a:moveTo>
                <a:cubicBezTo>
                  <a:pt x="1388720" y="1338591"/>
                  <a:pt x="1393693" y="1337738"/>
                  <a:pt x="1400360" y="1342745"/>
                </a:cubicBezTo>
                <a:lnTo>
                  <a:pt x="1391659" y="1356399"/>
                </a:lnTo>
                <a:lnTo>
                  <a:pt x="1391666" y="1358587"/>
                </a:lnTo>
                <a:cubicBezTo>
                  <a:pt x="1391598" y="1359947"/>
                  <a:pt x="1391034" y="1360947"/>
                  <a:pt x="1390060" y="1361261"/>
                </a:cubicBezTo>
                <a:lnTo>
                  <a:pt x="1388255" y="1361352"/>
                </a:lnTo>
                <a:lnTo>
                  <a:pt x="1382769" y="1369657"/>
                </a:lnTo>
                <a:cubicBezTo>
                  <a:pt x="1377720" y="1378539"/>
                  <a:pt x="1372814" y="1386886"/>
                  <a:pt x="1366144" y="1394068"/>
                </a:cubicBezTo>
                <a:cubicBezTo>
                  <a:pt x="1355619" y="1374688"/>
                  <a:pt x="1373947" y="1354988"/>
                  <a:pt x="1383530" y="1335821"/>
                </a:cubicBezTo>
                <a:close/>
                <a:moveTo>
                  <a:pt x="1662913" y="1334666"/>
                </a:moveTo>
                <a:cubicBezTo>
                  <a:pt x="1666312" y="1333046"/>
                  <a:pt x="1674383" y="1336128"/>
                  <a:pt x="1677445" y="1337984"/>
                </a:cubicBezTo>
                <a:cubicBezTo>
                  <a:pt x="1680744" y="1341168"/>
                  <a:pt x="1678717" y="1344304"/>
                  <a:pt x="1675318" y="1345924"/>
                </a:cubicBezTo>
                <a:cubicBezTo>
                  <a:pt x="1674447" y="1346956"/>
                  <a:pt x="1672920" y="1347122"/>
                  <a:pt x="1670927" y="1346817"/>
                </a:cubicBezTo>
                <a:cubicBezTo>
                  <a:pt x="1669208" y="1346587"/>
                  <a:pt x="1667300" y="1345961"/>
                  <a:pt x="1665507" y="1344905"/>
                </a:cubicBezTo>
                <a:cubicBezTo>
                  <a:pt x="1664106" y="1343494"/>
                  <a:pt x="1663857" y="1343313"/>
                  <a:pt x="1662485" y="1341796"/>
                </a:cubicBezTo>
                <a:cubicBezTo>
                  <a:pt x="1662535" y="1339394"/>
                  <a:pt x="1661174" y="1336729"/>
                  <a:pt x="1662913" y="1334666"/>
                </a:cubicBezTo>
                <a:close/>
                <a:moveTo>
                  <a:pt x="1938266" y="1334155"/>
                </a:moveTo>
                <a:cubicBezTo>
                  <a:pt x="1940937" y="1336365"/>
                  <a:pt x="1938565" y="1340789"/>
                  <a:pt x="1938733" y="1343479"/>
                </a:cubicBezTo>
                <a:cubicBezTo>
                  <a:pt x="1936358" y="1342383"/>
                  <a:pt x="1934230" y="1341468"/>
                  <a:pt x="1934801" y="1342657"/>
                </a:cubicBezTo>
                <a:cubicBezTo>
                  <a:pt x="1932703" y="1341634"/>
                  <a:pt x="1931244" y="1340438"/>
                  <a:pt x="1930367" y="1339283"/>
                </a:cubicBezTo>
                <a:cubicBezTo>
                  <a:pt x="1929519" y="1338020"/>
                  <a:pt x="1929254" y="1336800"/>
                  <a:pt x="1929322" y="1335438"/>
                </a:cubicBezTo>
                <a:cubicBezTo>
                  <a:pt x="1930002" y="1334010"/>
                  <a:pt x="1933084" y="1333572"/>
                  <a:pt x="1938266" y="1334155"/>
                </a:cubicBezTo>
                <a:close/>
                <a:moveTo>
                  <a:pt x="1797873" y="1331267"/>
                </a:moveTo>
                <a:cubicBezTo>
                  <a:pt x="1798893" y="1331885"/>
                  <a:pt x="1799027" y="1332495"/>
                  <a:pt x="1798578" y="1333066"/>
                </a:cubicBezTo>
                <a:cubicBezTo>
                  <a:pt x="1798405" y="1333709"/>
                  <a:pt x="1797621" y="1334419"/>
                  <a:pt x="1796867" y="1335022"/>
                </a:cubicBezTo>
                <a:cubicBezTo>
                  <a:pt x="1795358" y="1336228"/>
                  <a:pt x="1793849" y="1337434"/>
                  <a:pt x="1792339" y="1338639"/>
                </a:cubicBezTo>
                <a:cubicBezTo>
                  <a:pt x="1792339" y="1338639"/>
                  <a:pt x="1792339" y="1338639"/>
                  <a:pt x="1797873" y="1331267"/>
                </a:cubicBezTo>
                <a:close/>
                <a:moveTo>
                  <a:pt x="5615620" y="1330139"/>
                </a:moveTo>
                <a:cubicBezTo>
                  <a:pt x="5619217" y="1331103"/>
                  <a:pt x="5624204" y="1343480"/>
                  <a:pt x="5615864" y="1342510"/>
                </a:cubicBezTo>
                <a:cubicBezTo>
                  <a:pt x="5614204" y="1342065"/>
                  <a:pt x="5612964" y="1341158"/>
                  <a:pt x="5612392" y="1339970"/>
                </a:cubicBezTo>
                <a:cubicBezTo>
                  <a:pt x="5610402" y="1336332"/>
                  <a:pt x="5613090" y="1330727"/>
                  <a:pt x="5615620" y="1330139"/>
                </a:cubicBezTo>
                <a:close/>
                <a:moveTo>
                  <a:pt x="5214560" y="1329397"/>
                </a:moveTo>
                <a:lnTo>
                  <a:pt x="5215742" y="1330519"/>
                </a:lnTo>
                <a:lnTo>
                  <a:pt x="5215857" y="1330089"/>
                </a:lnTo>
                <a:close/>
                <a:moveTo>
                  <a:pt x="1958689" y="1327666"/>
                </a:moveTo>
                <a:cubicBezTo>
                  <a:pt x="1959716" y="1330472"/>
                  <a:pt x="1959920" y="1335241"/>
                  <a:pt x="1956083" y="1336284"/>
                </a:cubicBezTo>
                <a:cubicBezTo>
                  <a:pt x="1956083" y="1336284"/>
                  <a:pt x="1956054" y="1336391"/>
                  <a:pt x="1954135" y="1336912"/>
                </a:cubicBezTo>
                <a:cubicBezTo>
                  <a:pt x="1955026" y="1333585"/>
                  <a:pt x="1956453" y="1329368"/>
                  <a:pt x="1958689" y="1327666"/>
                </a:cubicBezTo>
                <a:close/>
                <a:moveTo>
                  <a:pt x="6110648" y="1326620"/>
                </a:moveTo>
                <a:cubicBezTo>
                  <a:pt x="6126484" y="1332819"/>
                  <a:pt x="6124940" y="1349654"/>
                  <a:pt x="6120358" y="1359007"/>
                </a:cubicBezTo>
                <a:lnTo>
                  <a:pt x="6113817" y="1352424"/>
                </a:lnTo>
                <a:lnTo>
                  <a:pt x="6111373" y="1352690"/>
                </a:lnTo>
                <a:cubicBezTo>
                  <a:pt x="6110180" y="1352715"/>
                  <a:pt x="6108797" y="1352344"/>
                  <a:pt x="6104589" y="1351447"/>
                </a:cubicBezTo>
                <a:cubicBezTo>
                  <a:pt x="6104345" y="1347931"/>
                  <a:pt x="6103824" y="1344341"/>
                  <a:pt x="6103551" y="1340934"/>
                </a:cubicBezTo>
                <a:cubicBezTo>
                  <a:pt x="6105183" y="1341485"/>
                  <a:pt x="6106900" y="1341715"/>
                  <a:pt x="6108370" y="1341764"/>
                </a:cubicBezTo>
                <a:lnTo>
                  <a:pt x="6108981" y="1341698"/>
                </a:lnTo>
                <a:close/>
                <a:moveTo>
                  <a:pt x="5780568" y="1326612"/>
                </a:moveTo>
                <a:cubicBezTo>
                  <a:pt x="5784040" y="1329152"/>
                  <a:pt x="5787245" y="1330470"/>
                  <a:pt x="5788970" y="1332887"/>
                </a:cubicBezTo>
                <a:cubicBezTo>
                  <a:pt x="5787334" y="1335670"/>
                  <a:pt x="5784719" y="1336579"/>
                  <a:pt x="5782114" y="1336340"/>
                </a:cubicBezTo>
                <a:cubicBezTo>
                  <a:pt x="5779260" y="1335921"/>
                  <a:pt x="5776418" y="1334354"/>
                  <a:pt x="5773805" y="1331930"/>
                </a:cubicBezTo>
                <a:cubicBezTo>
                  <a:pt x="5775574" y="1329758"/>
                  <a:pt x="5777065" y="1327513"/>
                  <a:pt x="5780568" y="1326612"/>
                </a:cubicBezTo>
                <a:close/>
                <a:moveTo>
                  <a:pt x="637503" y="1325331"/>
                </a:moveTo>
                <a:cubicBezTo>
                  <a:pt x="646716" y="1330789"/>
                  <a:pt x="645624" y="1343722"/>
                  <a:pt x="646289" y="1355630"/>
                </a:cubicBezTo>
                <a:cubicBezTo>
                  <a:pt x="638617" y="1354380"/>
                  <a:pt x="634933" y="1353738"/>
                  <a:pt x="628910" y="1354079"/>
                </a:cubicBezTo>
                <a:cubicBezTo>
                  <a:pt x="630387" y="1338604"/>
                  <a:pt x="619633" y="1328938"/>
                  <a:pt x="637503" y="1325331"/>
                </a:cubicBezTo>
                <a:close/>
                <a:moveTo>
                  <a:pt x="5817345" y="1324391"/>
                </a:moveTo>
                <a:cubicBezTo>
                  <a:pt x="5818452" y="1324687"/>
                  <a:pt x="5819443" y="1325412"/>
                  <a:pt x="5820787" y="1327038"/>
                </a:cubicBezTo>
                <a:cubicBezTo>
                  <a:pt x="5823706" y="1329430"/>
                  <a:pt x="5823418" y="1330503"/>
                  <a:pt x="5819235" y="1332832"/>
                </a:cubicBezTo>
                <a:cubicBezTo>
                  <a:pt x="5815091" y="1333907"/>
                  <a:pt x="5812856" y="1335608"/>
                  <a:pt x="5811254" y="1334949"/>
                </a:cubicBezTo>
                <a:cubicBezTo>
                  <a:pt x="5810938" y="1336129"/>
                  <a:pt x="5809019" y="1336649"/>
                  <a:pt x="5808702" y="1337831"/>
                </a:cubicBezTo>
                <a:cubicBezTo>
                  <a:pt x="5808702" y="1337831"/>
                  <a:pt x="5808702" y="1337831"/>
                  <a:pt x="5807071" y="1337277"/>
                </a:cubicBezTo>
                <a:cubicBezTo>
                  <a:pt x="5809939" y="1333215"/>
                  <a:pt x="5810384" y="1327125"/>
                  <a:pt x="5814539" y="1324904"/>
                </a:cubicBezTo>
                <a:cubicBezTo>
                  <a:pt x="5815512" y="1324589"/>
                  <a:pt x="5816486" y="1324275"/>
                  <a:pt x="5817345" y="1324391"/>
                </a:cubicBezTo>
                <a:close/>
                <a:moveTo>
                  <a:pt x="5464360" y="1323535"/>
                </a:moveTo>
                <a:cubicBezTo>
                  <a:pt x="5460431" y="1337087"/>
                  <a:pt x="5434943" y="1333708"/>
                  <a:pt x="5422330" y="1329868"/>
                </a:cubicBezTo>
                <a:cubicBezTo>
                  <a:pt x="5428259" y="1327662"/>
                  <a:pt x="5433969" y="1325166"/>
                  <a:pt x="5440585" y="1323719"/>
                </a:cubicBezTo>
                <a:cubicBezTo>
                  <a:pt x="5447477" y="1322346"/>
                  <a:pt x="5454751" y="1321765"/>
                  <a:pt x="5464360" y="1323535"/>
                </a:cubicBezTo>
                <a:close/>
                <a:moveTo>
                  <a:pt x="1884334" y="1322923"/>
                </a:moveTo>
                <a:cubicBezTo>
                  <a:pt x="1887751" y="1322344"/>
                  <a:pt x="1887500" y="1325497"/>
                  <a:pt x="1887376" y="1327073"/>
                </a:cubicBezTo>
                <a:cubicBezTo>
                  <a:pt x="1884209" y="1324500"/>
                  <a:pt x="1881880" y="1324335"/>
                  <a:pt x="1882969" y="1323593"/>
                </a:cubicBezTo>
                <a:cubicBezTo>
                  <a:pt x="1882006" y="1322759"/>
                  <a:pt x="1883094" y="1322017"/>
                  <a:pt x="1884334" y="1322923"/>
                </a:cubicBezTo>
                <a:close/>
                <a:moveTo>
                  <a:pt x="1487893" y="1322657"/>
                </a:moveTo>
                <a:cubicBezTo>
                  <a:pt x="1495311" y="1321813"/>
                  <a:pt x="1503604" y="1322684"/>
                  <a:pt x="1509050" y="1324488"/>
                </a:cubicBezTo>
                <a:cubicBezTo>
                  <a:pt x="1513302" y="1329652"/>
                  <a:pt x="1513680" y="1333779"/>
                  <a:pt x="1511710" y="1336701"/>
                </a:cubicBezTo>
                <a:cubicBezTo>
                  <a:pt x="1508479" y="1341010"/>
                  <a:pt x="1500583" y="1342805"/>
                  <a:pt x="1492243" y="1341834"/>
                </a:cubicBezTo>
                <a:cubicBezTo>
                  <a:pt x="1483874" y="1340973"/>
                  <a:pt x="1475613" y="1337494"/>
                  <a:pt x="1471983" y="1331116"/>
                </a:cubicBezTo>
                <a:cubicBezTo>
                  <a:pt x="1473931" y="1326060"/>
                  <a:pt x="1480474" y="1323501"/>
                  <a:pt x="1487893" y="1322657"/>
                </a:cubicBezTo>
                <a:close/>
                <a:moveTo>
                  <a:pt x="888883" y="1322423"/>
                </a:moveTo>
                <a:cubicBezTo>
                  <a:pt x="898062" y="1325801"/>
                  <a:pt x="899664" y="1335316"/>
                  <a:pt x="892381" y="1337044"/>
                </a:cubicBezTo>
                <a:cubicBezTo>
                  <a:pt x="891302" y="1336640"/>
                  <a:pt x="889614" y="1336304"/>
                  <a:pt x="888258" y="1335825"/>
                </a:cubicBezTo>
                <a:cubicBezTo>
                  <a:pt x="886598" y="1335380"/>
                  <a:pt x="884996" y="1334721"/>
                  <a:pt x="883202" y="1333665"/>
                </a:cubicBezTo>
                <a:cubicBezTo>
                  <a:pt x="880738" y="1327369"/>
                  <a:pt x="883157" y="1323877"/>
                  <a:pt x="888883" y="1322423"/>
                </a:cubicBezTo>
                <a:close/>
                <a:moveTo>
                  <a:pt x="1850691" y="1322304"/>
                </a:moveTo>
                <a:cubicBezTo>
                  <a:pt x="1856128" y="1323042"/>
                  <a:pt x="1861429" y="1326504"/>
                  <a:pt x="1862802" y="1332449"/>
                </a:cubicBezTo>
                <a:cubicBezTo>
                  <a:pt x="1861041" y="1336807"/>
                  <a:pt x="1856275" y="1339095"/>
                  <a:pt x="1851065" y="1338620"/>
                </a:cubicBezTo>
                <a:cubicBezTo>
                  <a:pt x="1846131" y="1338218"/>
                  <a:pt x="1840780" y="1334943"/>
                  <a:pt x="1837761" y="1328499"/>
                </a:cubicBezTo>
                <a:cubicBezTo>
                  <a:pt x="1839680" y="1323551"/>
                  <a:pt x="1845254" y="1321565"/>
                  <a:pt x="1850691" y="1322304"/>
                </a:cubicBezTo>
                <a:close/>
                <a:moveTo>
                  <a:pt x="1026065" y="1321804"/>
                </a:moveTo>
                <a:lnTo>
                  <a:pt x="1027304" y="1322712"/>
                </a:lnTo>
                <a:lnTo>
                  <a:pt x="1028221" y="1322612"/>
                </a:lnTo>
                <a:cubicBezTo>
                  <a:pt x="1029882" y="1323057"/>
                  <a:pt x="1032037" y="1323865"/>
                  <a:pt x="1033726" y="1324202"/>
                </a:cubicBezTo>
                <a:cubicBezTo>
                  <a:pt x="1035466" y="1322138"/>
                  <a:pt x="1040099" y="1328094"/>
                  <a:pt x="1041838" y="1326030"/>
                </a:cubicBezTo>
                <a:cubicBezTo>
                  <a:pt x="1047882" y="1332250"/>
                  <a:pt x="1056409" y="1328095"/>
                  <a:pt x="1067452" y="1336689"/>
                </a:cubicBezTo>
                <a:cubicBezTo>
                  <a:pt x="1063319" y="1336617"/>
                  <a:pt x="1059579" y="1336189"/>
                  <a:pt x="1056201" y="1335514"/>
                </a:cubicBezTo>
                <a:cubicBezTo>
                  <a:pt x="1050856" y="1334428"/>
                  <a:pt x="1046210" y="1332953"/>
                  <a:pt x="1041840" y="1331552"/>
                </a:cubicBezTo>
                <a:lnTo>
                  <a:pt x="1030819" y="1329518"/>
                </a:lnTo>
                <a:lnTo>
                  <a:pt x="1028584" y="1331219"/>
                </a:lnTo>
                <a:cubicBezTo>
                  <a:pt x="1027189" y="1331996"/>
                  <a:pt x="1025881" y="1332450"/>
                  <a:pt x="1024688" y="1332475"/>
                </a:cubicBezTo>
                <a:cubicBezTo>
                  <a:pt x="1023467" y="1332609"/>
                  <a:pt x="1022360" y="1332312"/>
                  <a:pt x="1021587" y="1331874"/>
                </a:cubicBezTo>
                <a:cubicBezTo>
                  <a:pt x="1020814" y="1331437"/>
                  <a:pt x="1020376" y="1330860"/>
                  <a:pt x="1019995" y="1330068"/>
                </a:cubicBezTo>
                <a:cubicBezTo>
                  <a:pt x="1017757" y="1326248"/>
                  <a:pt x="1019873" y="1319455"/>
                  <a:pt x="1026065" y="1321804"/>
                </a:cubicBezTo>
                <a:close/>
                <a:moveTo>
                  <a:pt x="5475949" y="1321235"/>
                </a:moveTo>
                <a:cubicBezTo>
                  <a:pt x="5483804" y="1320695"/>
                  <a:pt x="5489310" y="1322285"/>
                  <a:pt x="5492753" y="1324932"/>
                </a:cubicBezTo>
                <a:cubicBezTo>
                  <a:pt x="5503137" y="1332660"/>
                  <a:pt x="5494710" y="1349723"/>
                  <a:pt x="5475747" y="1348551"/>
                </a:cubicBezTo>
                <a:cubicBezTo>
                  <a:pt x="5472628" y="1346910"/>
                  <a:pt x="5470569" y="1344634"/>
                  <a:pt x="5469455" y="1342150"/>
                </a:cubicBezTo>
                <a:cubicBezTo>
                  <a:pt x="5465779" y="1334841"/>
                  <a:pt x="5470084" y="1325414"/>
                  <a:pt x="5475949" y="1321235"/>
                </a:cubicBezTo>
                <a:close/>
                <a:moveTo>
                  <a:pt x="1231736" y="1320837"/>
                </a:moveTo>
                <a:cubicBezTo>
                  <a:pt x="1239709" y="1322211"/>
                  <a:pt x="1246686" y="1325776"/>
                  <a:pt x="1245965" y="1330126"/>
                </a:cubicBezTo>
                <a:cubicBezTo>
                  <a:pt x="1245650" y="1331306"/>
                  <a:pt x="1244970" y="1332734"/>
                  <a:pt x="1243156" y="1333973"/>
                </a:cubicBezTo>
                <a:cubicBezTo>
                  <a:pt x="1239958" y="1334841"/>
                  <a:pt x="1236845" y="1335386"/>
                  <a:pt x="1233791" y="1335718"/>
                </a:cubicBezTo>
                <a:lnTo>
                  <a:pt x="1225468" y="1335789"/>
                </a:lnTo>
                <a:lnTo>
                  <a:pt x="1223836" y="1344091"/>
                </a:lnTo>
                <a:cubicBezTo>
                  <a:pt x="1223336" y="1347062"/>
                  <a:pt x="1221683" y="1348805"/>
                  <a:pt x="1215747" y="1348824"/>
                </a:cubicBezTo>
                <a:cubicBezTo>
                  <a:pt x="1213353" y="1346688"/>
                  <a:pt x="1212994" y="1343601"/>
                  <a:pt x="1213304" y="1340234"/>
                </a:cubicBezTo>
                <a:lnTo>
                  <a:pt x="1215328" y="1331577"/>
                </a:lnTo>
                <a:lnTo>
                  <a:pt x="1211141" y="1328384"/>
                </a:lnTo>
                <a:cubicBezTo>
                  <a:pt x="1213364" y="1327831"/>
                  <a:pt x="1212297" y="1326280"/>
                  <a:pt x="1211535" y="1324696"/>
                </a:cubicBezTo>
                <a:cubicBezTo>
                  <a:pt x="1214795" y="1320279"/>
                  <a:pt x="1223764" y="1319461"/>
                  <a:pt x="1231736" y="1320837"/>
                </a:cubicBezTo>
                <a:close/>
                <a:moveTo>
                  <a:pt x="978974" y="1320457"/>
                </a:moveTo>
                <a:cubicBezTo>
                  <a:pt x="982669" y="1319952"/>
                  <a:pt x="982539" y="1324862"/>
                  <a:pt x="983779" y="1325769"/>
                </a:cubicBezTo>
                <a:cubicBezTo>
                  <a:pt x="983625" y="1327452"/>
                  <a:pt x="983776" y="1329103"/>
                  <a:pt x="981171" y="1328865"/>
                </a:cubicBezTo>
                <a:cubicBezTo>
                  <a:pt x="980006" y="1328783"/>
                  <a:pt x="979090" y="1328882"/>
                  <a:pt x="978508" y="1328841"/>
                </a:cubicBezTo>
                <a:cubicBezTo>
                  <a:pt x="977677" y="1328618"/>
                  <a:pt x="977211" y="1328150"/>
                  <a:pt x="976668" y="1326853"/>
                </a:cubicBezTo>
                <a:cubicBezTo>
                  <a:pt x="975428" y="1325947"/>
                  <a:pt x="975305" y="1324189"/>
                  <a:pt x="974342" y="1323356"/>
                </a:cubicBezTo>
                <a:cubicBezTo>
                  <a:pt x="974342" y="1323356"/>
                  <a:pt x="974849" y="1322571"/>
                  <a:pt x="975633" y="1321861"/>
                </a:cubicBezTo>
                <a:cubicBezTo>
                  <a:pt x="976722" y="1321119"/>
                  <a:pt x="977810" y="1320375"/>
                  <a:pt x="978974" y="1320457"/>
                </a:cubicBezTo>
                <a:close/>
                <a:moveTo>
                  <a:pt x="1584642" y="1320190"/>
                </a:moveTo>
                <a:cubicBezTo>
                  <a:pt x="1593862" y="1322028"/>
                  <a:pt x="1603271" y="1325929"/>
                  <a:pt x="1611482" y="1331809"/>
                </a:cubicBezTo>
                <a:cubicBezTo>
                  <a:pt x="1611052" y="1333418"/>
                  <a:pt x="1610342" y="1334954"/>
                  <a:pt x="1612776" y="1335836"/>
                </a:cubicBezTo>
                <a:cubicBezTo>
                  <a:pt x="1608578" y="1351501"/>
                  <a:pt x="1582258" y="1356754"/>
                  <a:pt x="1560934" y="1350005"/>
                </a:cubicBezTo>
                <a:cubicBezTo>
                  <a:pt x="1557394" y="1348827"/>
                  <a:pt x="1553912" y="1347434"/>
                  <a:pt x="1550822" y="1345686"/>
                </a:cubicBezTo>
                <a:lnTo>
                  <a:pt x="1542668" y="1339591"/>
                </a:lnTo>
                <a:lnTo>
                  <a:pt x="1540911" y="1340615"/>
                </a:lnTo>
                <a:cubicBezTo>
                  <a:pt x="1536624" y="1342226"/>
                  <a:pt x="1531291" y="1339993"/>
                  <a:pt x="1525541" y="1334887"/>
                </a:cubicBezTo>
                <a:cubicBezTo>
                  <a:pt x="1526757" y="1332567"/>
                  <a:pt x="1526253" y="1330018"/>
                  <a:pt x="1527231" y="1326369"/>
                </a:cubicBezTo>
                <a:cubicBezTo>
                  <a:pt x="1529559" y="1326533"/>
                  <a:pt x="1533376" y="1327786"/>
                  <a:pt x="1536991" y="1329789"/>
                </a:cubicBezTo>
                <a:lnTo>
                  <a:pt x="1543312" y="1336084"/>
                </a:lnTo>
                <a:lnTo>
                  <a:pt x="1547663" y="1327590"/>
                </a:lnTo>
                <a:cubicBezTo>
                  <a:pt x="1550551" y="1324568"/>
                  <a:pt x="1554426" y="1322272"/>
                  <a:pt x="1558933" y="1320949"/>
                </a:cubicBezTo>
                <a:cubicBezTo>
                  <a:pt x="1566390" y="1318577"/>
                  <a:pt x="1575421" y="1318352"/>
                  <a:pt x="1584642" y="1320190"/>
                </a:cubicBezTo>
                <a:close/>
                <a:moveTo>
                  <a:pt x="1812499" y="1318741"/>
                </a:moveTo>
                <a:cubicBezTo>
                  <a:pt x="1813918" y="1321191"/>
                  <a:pt x="1820656" y="1321502"/>
                  <a:pt x="1818964" y="1324498"/>
                </a:cubicBezTo>
                <a:cubicBezTo>
                  <a:pt x="1816865" y="1323475"/>
                  <a:pt x="1813918" y="1321191"/>
                  <a:pt x="1811514" y="1320201"/>
                </a:cubicBezTo>
                <a:cubicBezTo>
                  <a:pt x="1811514" y="1320201"/>
                  <a:pt x="1811543" y="1320094"/>
                  <a:pt x="1812499" y="1318741"/>
                </a:cubicBezTo>
                <a:close/>
                <a:moveTo>
                  <a:pt x="5573514" y="1317936"/>
                </a:moveTo>
                <a:cubicBezTo>
                  <a:pt x="5589081" y="1326248"/>
                  <a:pt x="5595848" y="1344162"/>
                  <a:pt x="5590982" y="1351253"/>
                </a:cubicBezTo>
                <a:cubicBezTo>
                  <a:pt x="5575444" y="1342834"/>
                  <a:pt x="5571969" y="1325919"/>
                  <a:pt x="5573514" y="1317936"/>
                </a:cubicBezTo>
                <a:close/>
                <a:moveTo>
                  <a:pt x="1889074" y="1317408"/>
                </a:moveTo>
                <a:cubicBezTo>
                  <a:pt x="1892959" y="1317299"/>
                  <a:pt x="1896250" y="1318297"/>
                  <a:pt x="1898787" y="1319896"/>
                </a:cubicBezTo>
                <a:lnTo>
                  <a:pt x="1900132" y="1321521"/>
                </a:lnTo>
                <a:lnTo>
                  <a:pt x="1901008" y="1322676"/>
                </a:lnTo>
                <a:lnTo>
                  <a:pt x="1903448" y="1325746"/>
                </a:lnTo>
                <a:cubicBezTo>
                  <a:pt x="1901967" y="1326844"/>
                  <a:pt x="1900325" y="1327439"/>
                  <a:pt x="1898551" y="1327423"/>
                </a:cubicBezTo>
                <a:cubicBezTo>
                  <a:pt x="1897052" y="1327481"/>
                  <a:pt x="1895391" y="1327036"/>
                  <a:pt x="1893847" y="1326163"/>
                </a:cubicBezTo>
                <a:cubicBezTo>
                  <a:pt x="1891032" y="1324488"/>
                  <a:pt x="1888956" y="1321172"/>
                  <a:pt x="1889074" y="1317408"/>
                </a:cubicBezTo>
                <a:close/>
                <a:moveTo>
                  <a:pt x="1306453" y="1316893"/>
                </a:moveTo>
                <a:cubicBezTo>
                  <a:pt x="1306453" y="1316893"/>
                  <a:pt x="1306453" y="1316893"/>
                  <a:pt x="1308141" y="1317231"/>
                </a:cubicBezTo>
                <a:cubicBezTo>
                  <a:pt x="1306046" y="1321729"/>
                  <a:pt x="1307290" y="1328158"/>
                  <a:pt x="1303851" y="1331031"/>
                </a:cubicBezTo>
                <a:cubicBezTo>
                  <a:pt x="1303125" y="1331526"/>
                  <a:pt x="1302151" y="1331841"/>
                  <a:pt x="1301265" y="1331832"/>
                </a:cubicBezTo>
                <a:cubicBezTo>
                  <a:pt x="1300128" y="1331643"/>
                  <a:pt x="1298802" y="1331059"/>
                  <a:pt x="1297429" y="1329541"/>
                </a:cubicBezTo>
                <a:cubicBezTo>
                  <a:pt x="1294091" y="1327611"/>
                  <a:pt x="1294407" y="1326431"/>
                  <a:pt x="1297846" y="1323557"/>
                </a:cubicBezTo>
                <a:cubicBezTo>
                  <a:pt x="1301275" y="1321830"/>
                  <a:pt x="1303014" y="1319766"/>
                  <a:pt x="1304702" y="1320104"/>
                </a:cubicBezTo>
                <a:cubicBezTo>
                  <a:pt x="1304713" y="1318957"/>
                  <a:pt x="1306413" y="1318148"/>
                  <a:pt x="1306453" y="1316893"/>
                </a:cubicBezTo>
                <a:close/>
                <a:moveTo>
                  <a:pt x="1930588" y="1313007"/>
                </a:moveTo>
                <a:cubicBezTo>
                  <a:pt x="1933247" y="1316365"/>
                  <a:pt x="1940473" y="1314851"/>
                  <a:pt x="1944781" y="1319800"/>
                </a:cubicBezTo>
                <a:cubicBezTo>
                  <a:pt x="1944149" y="1322161"/>
                  <a:pt x="1943832" y="1323341"/>
                  <a:pt x="1941845" y="1325224"/>
                </a:cubicBezTo>
                <a:cubicBezTo>
                  <a:pt x="1938007" y="1326265"/>
                  <a:pt x="1934924" y="1326704"/>
                  <a:pt x="1932233" y="1326787"/>
                </a:cubicBezTo>
                <a:lnTo>
                  <a:pt x="1925610" y="1326048"/>
                </a:lnTo>
                <a:lnTo>
                  <a:pt x="1925007" y="1328302"/>
                </a:lnTo>
                <a:cubicBezTo>
                  <a:pt x="1924050" y="1329655"/>
                  <a:pt x="1921520" y="1330242"/>
                  <a:pt x="1919307" y="1329649"/>
                </a:cubicBezTo>
                <a:cubicBezTo>
                  <a:pt x="1917951" y="1329171"/>
                  <a:pt x="1916465" y="1328083"/>
                  <a:pt x="1915455" y="1326318"/>
                </a:cubicBezTo>
                <a:lnTo>
                  <a:pt x="1919188" y="1324558"/>
                </a:lnTo>
                <a:lnTo>
                  <a:pt x="1917806" y="1324187"/>
                </a:lnTo>
                <a:cubicBezTo>
                  <a:pt x="1913526" y="1319129"/>
                  <a:pt x="1917449" y="1317766"/>
                  <a:pt x="1921424" y="1314002"/>
                </a:cubicBezTo>
                <a:cubicBezTo>
                  <a:pt x="1923044" y="1315700"/>
                  <a:pt x="1928610" y="1313742"/>
                  <a:pt x="1930588" y="1313007"/>
                </a:cubicBezTo>
                <a:close/>
                <a:moveTo>
                  <a:pt x="5488537" y="1312993"/>
                </a:moveTo>
                <a:cubicBezTo>
                  <a:pt x="5491149" y="1315418"/>
                  <a:pt x="5492160" y="1317184"/>
                  <a:pt x="5494208" y="1320608"/>
                </a:cubicBezTo>
                <a:cubicBezTo>
                  <a:pt x="5492842" y="1321276"/>
                  <a:pt x="5491344" y="1321335"/>
                  <a:pt x="5490208" y="1321146"/>
                </a:cubicBezTo>
                <a:cubicBezTo>
                  <a:pt x="5486525" y="1320504"/>
                  <a:pt x="5483675" y="1316750"/>
                  <a:pt x="5484556" y="1314571"/>
                </a:cubicBezTo>
                <a:cubicBezTo>
                  <a:pt x="5485120" y="1313573"/>
                  <a:pt x="5486179" y="1312936"/>
                  <a:pt x="5488537" y="1312993"/>
                </a:cubicBezTo>
                <a:close/>
                <a:moveTo>
                  <a:pt x="5835291" y="1312754"/>
                </a:moveTo>
                <a:cubicBezTo>
                  <a:pt x="5836912" y="1323308"/>
                  <a:pt x="5839467" y="1334803"/>
                  <a:pt x="5829606" y="1336186"/>
                </a:cubicBezTo>
                <a:cubicBezTo>
                  <a:pt x="5820974" y="1330768"/>
                  <a:pt x="5822713" y="1319849"/>
                  <a:pt x="5825430" y="1314137"/>
                </a:cubicBezTo>
                <a:cubicBezTo>
                  <a:pt x="5830030" y="1314679"/>
                  <a:pt x="5830691" y="1312211"/>
                  <a:pt x="5835291" y="1312754"/>
                </a:cubicBezTo>
                <a:close/>
                <a:moveTo>
                  <a:pt x="1668932" y="1311092"/>
                </a:moveTo>
                <a:cubicBezTo>
                  <a:pt x="1673263" y="1313748"/>
                  <a:pt x="1682024" y="1314255"/>
                  <a:pt x="1680777" y="1320017"/>
                </a:cubicBezTo>
                <a:cubicBezTo>
                  <a:pt x="1658500" y="1320142"/>
                  <a:pt x="1655690" y="1341700"/>
                  <a:pt x="1635756" y="1337509"/>
                </a:cubicBezTo>
                <a:cubicBezTo>
                  <a:pt x="1643174" y="1327536"/>
                  <a:pt x="1647605" y="1316533"/>
                  <a:pt x="1668932" y="1311092"/>
                </a:cubicBezTo>
                <a:close/>
                <a:moveTo>
                  <a:pt x="5920764" y="1309206"/>
                </a:moveTo>
                <a:cubicBezTo>
                  <a:pt x="5923578" y="1310880"/>
                  <a:pt x="5928548" y="1313361"/>
                  <a:pt x="5928325" y="1316407"/>
                </a:cubicBezTo>
                <a:cubicBezTo>
                  <a:pt x="5928066" y="1317373"/>
                  <a:pt x="5927445" y="1318586"/>
                  <a:pt x="5925935" y="1319792"/>
                </a:cubicBezTo>
                <a:cubicBezTo>
                  <a:pt x="5926202" y="1321013"/>
                  <a:pt x="5919672" y="1322138"/>
                  <a:pt x="5917908" y="1320976"/>
                </a:cubicBezTo>
                <a:cubicBezTo>
                  <a:pt x="5916581" y="1320390"/>
                  <a:pt x="5915561" y="1319772"/>
                  <a:pt x="5915151" y="1319087"/>
                </a:cubicBezTo>
                <a:cubicBezTo>
                  <a:pt x="5913674" y="1316851"/>
                  <a:pt x="5915338" y="1313963"/>
                  <a:pt x="5915981" y="1310455"/>
                </a:cubicBezTo>
                <a:cubicBezTo>
                  <a:pt x="5918051" y="1311584"/>
                  <a:pt x="5919561" y="1310378"/>
                  <a:pt x="5920764" y="1309206"/>
                </a:cubicBezTo>
                <a:close/>
                <a:moveTo>
                  <a:pt x="1698827" y="1309098"/>
                </a:moveTo>
                <a:cubicBezTo>
                  <a:pt x="1702128" y="1312281"/>
                  <a:pt x="1700387" y="1314345"/>
                  <a:pt x="1698411" y="1315081"/>
                </a:cubicBezTo>
                <a:cubicBezTo>
                  <a:pt x="1697645" y="1316831"/>
                  <a:pt x="1695478" y="1317171"/>
                  <a:pt x="1692874" y="1316933"/>
                </a:cubicBezTo>
                <a:cubicBezTo>
                  <a:pt x="1690573" y="1316661"/>
                  <a:pt x="1687558" y="1315738"/>
                  <a:pt x="1685211" y="1314534"/>
                </a:cubicBezTo>
                <a:cubicBezTo>
                  <a:pt x="1686871" y="1314978"/>
                  <a:pt x="1686623" y="1314798"/>
                  <a:pt x="1686623" y="1314798"/>
                </a:cubicBezTo>
                <a:cubicBezTo>
                  <a:pt x="1688600" y="1314063"/>
                  <a:pt x="1686911" y="1313725"/>
                  <a:pt x="1686951" y="1312470"/>
                </a:cubicBezTo>
                <a:cubicBezTo>
                  <a:pt x="1686951" y="1312470"/>
                  <a:pt x="1686911" y="1313725"/>
                  <a:pt x="1685262" y="1312133"/>
                </a:cubicBezTo>
                <a:cubicBezTo>
                  <a:pt x="1686951" y="1312470"/>
                  <a:pt x="1686962" y="1311323"/>
                  <a:pt x="1687001" y="1310069"/>
                </a:cubicBezTo>
                <a:cubicBezTo>
                  <a:pt x="1690401" y="1308450"/>
                  <a:pt x="1695489" y="1307168"/>
                  <a:pt x="1698827" y="1309098"/>
                </a:cubicBezTo>
                <a:close/>
                <a:moveTo>
                  <a:pt x="1902169" y="1308382"/>
                </a:moveTo>
                <a:cubicBezTo>
                  <a:pt x="1905087" y="1310774"/>
                  <a:pt x="1906403" y="1312506"/>
                  <a:pt x="1907441" y="1314165"/>
                </a:cubicBezTo>
                <a:cubicBezTo>
                  <a:pt x="1910388" y="1316450"/>
                  <a:pt x="1909795" y="1317555"/>
                  <a:pt x="1905928" y="1318704"/>
                </a:cubicBezTo>
                <a:cubicBezTo>
                  <a:pt x="1903258" y="1316494"/>
                  <a:pt x="1899905" y="1310191"/>
                  <a:pt x="1902169" y="1308382"/>
                </a:cubicBezTo>
                <a:close/>
                <a:moveTo>
                  <a:pt x="1259754" y="1306752"/>
                </a:moveTo>
                <a:cubicBezTo>
                  <a:pt x="1262790" y="1308844"/>
                  <a:pt x="1263747" y="1312464"/>
                  <a:pt x="1262026" y="1315569"/>
                </a:cubicBezTo>
                <a:cubicBezTo>
                  <a:pt x="1260591" y="1317600"/>
                  <a:pt x="1258300" y="1319514"/>
                  <a:pt x="1254490" y="1320449"/>
                </a:cubicBezTo>
                <a:cubicBezTo>
                  <a:pt x="1253135" y="1319972"/>
                  <a:pt x="1251867" y="1319172"/>
                  <a:pt x="1250655" y="1318158"/>
                </a:cubicBezTo>
                <a:lnTo>
                  <a:pt x="1250189" y="1317687"/>
                </a:lnTo>
                <a:lnTo>
                  <a:pt x="1243160" y="1321783"/>
                </a:lnTo>
                <a:cubicBezTo>
                  <a:pt x="1241424" y="1320514"/>
                  <a:pt x="1240605" y="1319144"/>
                  <a:pt x="1240148" y="1317527"/>
                </a:cubicBezTo>
                <a:cubicBezTo>
                  <a:pt x="1239558" y="1315298"/>
                  <a:pt x="1240525" y="1312798"/>
                  <a:pt x="1242207" y="1310949"/>
                </a:cubicBezTo>
                <a:lnTo>
                  <a:pt x="1245445" y="1308826"/>
                </a:lnTo>
                <a:lnTo>
                  <a:pt x="1245019" y="1307102"/>
                </a:lnTo>
                <a:cubicBezTo>
                  <a:pt x="1251606" y="1304095"/>
                  <a:pt x="1256720" y="1304659"/>
                  <a:pt x="1259754" y="1306752"/>
                </a:cubicBezTo>
                <a:close/>
                <a:moveTo>
                  <a:pt x="1067592" y="1304066"/>
                </a:moveTo>
                <a:cubicBezTo>
                  <a:pt x="1068682" y="1303323"/>
                  <a:pt x="1074423" y="1306242"/>
                  <a:pt x="1074546" y="1307999"/>
                </a:cubicBezTo>
                <a:cubicBezTo>
                  <a:pt x="1075505" y="1312166"/>
                  <a:pt x="1069788" y="1312475"/>
                  <a:pt x="1063639" y="1314392"/>
                </a:cubicBezTo>
                <a:cubicBezTo>
                  <a:pt x="1063765" y="1312815"/>
                  <a:pt x="1061465" y="1312544"/>
                  <a:pt x="1059136" y="1312380"/>
                </a:cubicBezTo>
                <a:cubicBezTo>
                  <a:pt x="1058911" y="1309905"/>
                  <a:pt x="1058475" y="1305994"/>
                  <a:pt x="1062123" y="1304556"/>
                </a:cubicBezTo>
                <a:cubicBezTo>
                  <a:pt x="1063155" y="1304028"/>
                  <a:pt x="1064987" y="1303828"/>
                  <a:pt x="1067592" y="1304066"/>
                </a:cubicBezTo>
                <a:close/>
                <a:moveTo>
                  <a:pt x="5735488" y="1303377"/>
                </a:moveTo>
                <a:cubicBezTo>
                  <a:pt x="5747379" y="1304378"/>
                  <a:pt x="5759751" y="1310224"/>
                  <a:pt x="5765119" y="1323392"/>
                </a:cubicBezTo>
                <a:cubicBezTo>
                  <a:pt x="5753829" y="1332327"/>
                  <a:pt x="5736787" y="1336156"/>
                  <a:pt x="5723057" y="1333166"/>
                </a:cubicBezTo>
                <a:cubicBezTo>
                  <a:pt x="5718572" y="1332195"/>
                  <a:pt x="5714565" y="1330547"/>
                  <a:pt x="5711123" y="1327899"/>
                </a:cubicBezTo>
                <a:cubicBezTo>
                  <a:pt x="5709225" y="1326125"/>
                  <a:pt x="5707910" y="1324393"/>
                  <a:pt x="5707176" y="1322701"/>
                </a:cubicBezTo>
                <a:cubicBezTo>
                  <a:pt x="5701129" y="1310961"/>
                  <a:pt x="5718052" y="1302040"/>
                  <a:pt x="5735488" y="1303377"/>
                </a:cubicBezTo>
                <a:close/>
                <a:moveTo>
                  <a:pt x="1898223" y="1303185"/>
                </a:moveTo>
                <a:cubicBezTo>
                  <a:pt x="1899169" y="1302978"/>
                  <a:pt x="1899971" y="1303308"/>
                  <a:pt x="1900466" y="1303671"/>
                </a:cubicBezTo>
                <a:cubicBezTo>
                  <a:pt x="1901268" y="1304000"/>
                  <a:pt x="1901457" y="1304397"/>
                  <a:pt x="1901457" y="1304397"/>
                </a:cubicBezTo>
                <a:cubicBezTo>
                  <a:pt x="1902773" y="1306129"/>
                  <a:pt x="1904117" y="1307755"/>
                  <a:pt x="1902198" y="1308275"/>
                </a:cubicBezTo>
                <a:cubicBezTo>
                  <a:pt x="1902198" y="1308275"/>
                  <a:pt x="1900261" y="1307756"/>
                  <a:pt x="1897907" y="1304365"/>
                </a:cubicBezTo>
                <a:cubicBezTo>
                  <a:pt x="1899539" y="1304918"/>
                  <a:pt x="1899827" y="1303844"/>
                  <a:pt x="1899827" y="1303844"/>
                </a:cubicBezTo>
                <a:cubicBezTo>
                  <a:pt x="1899827" y="1303844"/>
                  <a:pt x="1899856" y="1303737"/>
                  <a:pt x="1898223" y="1303185"/>
                </a:cubicBezTo>
                <a:close/>
                <a:moveTo>
                  <a:pt x="1717694" y="1302883"/>
                </a:moveTo>
                <a:cubicBezTo>
                  <a:pt x="1717694" y="1302883"/>
                  <a:pt x="1717694" y="1302883"/>
                  <a:pt x="1719324" y="1303435"/>
                </a:cubicBezTo>
                <a:cubicBezTo>
                  <a:pt x="1722254" y="1304679"/>
                  <a:pt x="1723885" y="1305231"/>
                  <a:pt x="1725489" y="1305891"/>
                </a:cubicBezTo>
                <a:cubicBezTo>
                  <a:pt x="1726527" y="1307549"/>
                  <a:pt x="1728564" y="1312121"/>
                  <a:pt x="1726674" y="1312534"/>
                </a:cubicBezTo>
                <a:cubicBezTo>
                  <a:pt x="1724755" y="1313055"/>
                  <a:pt x="1722369" y="1313106"/>
                  <a:pt x="1720374" y="1312800"/>
                </a:cubicBezTo>
                <a:cubicBezTo>
                  <a:pt x="1718657" y="1312571"/>
                  <a:pt x="1717053" y="1311911"/>
                  <a:pt x="1716397" y="1311045"/>
                </a:cubicBezTo>
                <a:cubicBezTo>
                  <a:pt x="1714700" y="1308521"/>
                  <a:pt x="1712975" y="1306103"/>
                  <a:pt x="1714657" y="1304255"/>
                </a:cubicBezTo>
                <a:cubicBezTo>
                  <a:pt x="1715106" y="1303684"/>
                  <a:pt x="1716138" y="1303156"/>
                  <a:pt x="1717694" y="1302883"/>
                </a:cubicBezTo>
                <a:close/>
                <a:moveTo>
                  <a:pt x="1986568" y="1301097"/>
                </a:moveTo>
                <a:cubicBezTo>
                  <a:pt x="1988972" y="1302085"/>
                  <a:pt x="1990853" y="1302819"/>
                  <a:pt x="1992454" y="1303478"/>
                </a:cubicBezTo>
                <a:lnTo>
                  <a:pt x="1994276" y="1304427"/>
                </a:lnTo>
                <a:lnTo>
                  <a:pt x="1994334" y="1304212"/>
                </a:lnTo>
                <a:lnTo>
                  <a:pt x="1999038" y="1305472"/>
                </a:lnTo>
                <a:lnTo>
                  <a:pt x="2000479" y="1305629"/>
                </a:lnTo>
                <a:lnTo>
                  <a:pt x="2000669" y="1306025"/>
                </a:lnTo>
                <a:lnTo>
                  <a:pt x="2002606" y="1306543"/>
                </a:lnTo>
                <a:cubicBezTo>
                  <a:pt x="2000353" y="1307204"/>
                  <a:pt x="2001132" y="1309829"/>
                  <a:pt x="1998880" y="1310490"/>
                </a:cubicBezTo>
                <a:cubicBezTo>
                  <a:pt x="1998880" y="1310490"/>
                  <a:pt x="1993611" y="1310229"/>
                  <a:pt x="1993611" y="1310229"/>
                </a:cubicBezTo>
                <a:cubicBezTo>
                  <a:pt x="1992925" y="1309469"/>
                  <a:pt x="1992735" y="1309074"/>
                  <a:pt x="1992763" y="1308966"/>
                </a:cubicBezTo>
                <a:cubicBezTo>
                  <a:pt x="1992820" y="1308752"/>
                  <a:pt x="1993374" y="1308900"/>
                  <a:pt x="1993927" y="1309048"/>
                </a:cubicBezTo>
                <a:lnTo>
                  <a:pt x="1994081" y="1307365"/>
                </a:lnTo>
                <a:lnTo>
                  <a:pt x="1991361" y="1307555"/>
                </a:lnTo>
                <a:cubicBezTo>
                  <a:pt x="1988001" y="1307920"/>
                  <a:pt x="1984699" y="1308071"/>
                  <a:pt x="1981961" y="1307222"/>
                </a:cubicBezTo>
                <a:cubicBezTo>
                  <a:pt x="1980912" y="1306711"/>
                  <a:pt x="1979864" y="1306199"/>
                  <a:pt x="1979176" y="1305440"/>
                </a:cubicBezTo>
                <a:cubicBezTo>
                  <a:pt x="1978490" y="1304681"/>
                  <a:pt x="1978442" y="1303749"/>
                  <a:pt x="1979151" y="1302214"/>
                </a:cubicBezTo>
                <a:cubicBezTo>
                  <a:pt x="1979287" y="1299491"/>
                  <a:pt x="1980814" y="1299324"/>
                  <a:pt x="1986568" y="1301097"/>
                </a:cubicBezTo>
                <a:close/>
                <a:moveTo>
                  <a:pt x="5548938" y="1300081"/>
                </a:moveTo>
                <a:cubicBezTo>
                  <a:pt x="5553179" y="1297538"/>
                  <a:pt x="5556776" y="1298502"/>
                  <a:pt x="5563693" y="1300356"/>
                </a:cubicBezTo>
                <a:cubicBezTo>
                  <a:pt x="5561095" y="1302305"/>
                  <a:pt x="5558813" y="1303073"/>
                  <a:pt x="5556484" y="1302909"/>
                </a:cubicBezTo>
                <a:cubicBezTo>
                  <a:pt x="5554156" y="1302745"/>
                  <a:pt x="5552058" y="1301723"/>
                  <a:pt x="5548938" y="1300081"/>
                </a:cubicBezTo>
                <a:close/>
                <a:moveTo>
                  <a:pt x="1273946" y="1298753"/>
                </a:moveTo>
                <a:cubicBezTo>
                  <a:pt x="1277385" y="1295879"/>
                  <a:pt x="1282423" y="1296999"/>
                  <a:pt x="1287422" y="1299374"/>
                </a:cubicBezTo>
                <a:cubicBezTo>
                  <a:pt x="1290810" y="1298902"/>
                  <a:pt x="1292521" y="1296945"/>
                  <a:pt x="1295859" y="1298875"/>
                </a:cubicBezTo>
                <a:cubicBezTo>
                  <a:pt x="1290770" y="1300156"/>
                  <a:pt x="1289071" y="1300966"/>
                  <a:pt x="1285683" y="1301437"/>
                </a:cubicBezTo>
                <a:cubicBezTo>
                  <a:pt x="1285672" y="1302585"/>
                  <a:pt x="1285385" y="1303657"/>
                  <a:pt x="1283684" y="1304467"/>
                </a:cubicBezTo>
                <a:cubicBezTo>
                  <a:pt x="1280284" y="1306086"/>
                  <a:pt x="1277223" y="1304230"/>
                  <a:pt x="1273836" y="1304703"/>
                </a:cubicBezTo>
                <a:cubicBezTo>
                  <a:pt x="1272184" y="1303111"/>
                  <a:pt x="1270545" y="1300372"/>
                  <a:pt x="1273946" y="1298753"/>
                </a:cubicBezTo>
                <a:close/>
                <a:moveTo>
                  <a:pt x="5636222" y="1298629"/>
                </a:moveTo>
                <a:cubicBezTo>
                  <a:pt x="5640394" y="1297447"/>
                  <a:pt x="5644538" y="1296372"/>
                  <a:pt x="5646644" y="1299581"/>
                </a:cubicBezTo>
                <a:cubicBezTo>
                  <a:pt x="5643855" y="1301135"/>
                  <a:pt x="5644923" y="1302685"/>
                  <a:pt x="5639148" y="1303208"/>
                </a:cubicBezTo>
                <a:cubicBezTo>
                  <a:pt x="5638080" y="1301657"/>
                  <a:pt x="5637013" y="1300106"/>
                  <a:pt x="5636222" y="1298629"/>
                </a:cubicBezTo>
                <a:close/>
                <a:moveTo>
                  <a:pt x="5383013" y="1298404"/>
                </a:moveTo>
                <a:cubicBezTo>
                  <a:pt x="5384263" y="1298163"/>
                  <a:pt x="5385618" y="1298641"/>
                  <a:pt x="5386962" y="1300266"/>
                </a:cubicBezTo>
                <a:lnTo>
                  <a:pt x="5387066" y="1300984"/>
                </a:lnTo>
                <a:lnTo>
                  <a:pt x="5396208" y="1302283"/>
                </a:lnTo>
                <a:cubicBezTo>
                  <a:pt x="5398475" y="1305996"/>
                  <a:pt x="5396211" y="1307805"/>
                  <a:pt x="5392823" y="1308276"/>
                </a:cubicBezTo>
                <a:lnTo>
                  <a:pt x="5391353" y="1308228"/>
                </a:lnTo>
                <a:lnTo>
                  <a:pt x="5395273" y="1310199"/>
                </a:lnTo>
                <a:cubicBezTo>
                  <a:pt x="5401418" y="1311615"/>
                  <a:pt x="5410582" y="1310620"/>
                  <a:pt x="5418685" y="1319117"/>
                </a:cubicBezTo>
                <a:cubicBezTo>
                  <a:pt x="5415792" y="1319952"/>
                  <a:pt x="5417801" y="1324629"/>
                  <a:pt x="5416414" y="1327593"/>
                </a:cubicBezTo>
                <a:lnTo>
                  <a:pt x="5414208" y="1329187"/>
                </a:lnTo>
                <a:lnTo>
                  <a:pt x="5416680" y="1328815"/>
                </a:lnTo>
                <a:cubicBezTo>
                  <a:pt x="5418807" y="1329729"/>
                  <a:pt x="5419950" y="1332106"/>
                  <a:pt x="5419261" y="1334680"/>
                </a:cubicBezTo>
                <a:cubicBezTo>
                  <a:pt x="5416857" y="1333691"/>
                  <a:pt x="5414039" y="1335352"/>
                  <a:pt x="5411940" y="1334330"/>
                </a:cubicBezTo>
                <a:cubicBezTo>
                  <a:pt x="5411940" y="1334330"/>
                  <a:pt x="5411254" y="1333570"/>
                  <a:pt x="5410320" y="1332629"/>
                </a:cubicBezTo>
                <a:lnTo>
                  <a:pt x="5408918" y="1331219"/>
                </a:lnTo>
                <a:lnTo>
                  <a:pt x="5405386" y="1332228"/>
                </a:lnTo>
                <a:cubicBezTo>
                  <a:pt x="5398436" y="1333816"/>
                  <a:pt x="5394314" y="1332597"/>
                  <a:pt x="5389764" y="1329652"/>
                </a:cubicBezTo>
                <a:lnTo>
                  <a:pt x="5387475" y="1328234"/>
                </a:lnTo>
                <a:lnTo>
                  <a:pt x="5387389" y="1328556"/>
                </a:lnTo>
                <a:lnTo>
                  <a:pt x="5384837" y="1331437"/>
                </a:lnTo>
                <a:lnTo>
                  <a:pt x="5387691" y="1331856"/>
                </a:lnTo>
                <a:cubicBezTo>
                  <a:pt x="5395679" y="1340782"/>
                  <a:pt x="5379131" y="1348308"/>
                  <a:pt x="5376608" y="1351082"/>
                </a:cubicBezTo>
                <a:cubicBezTo>
                  <a:pt x="5376608" y="1351082"/>
                  <a:pt x="5376014" y="1352189"/>
                  <a:pt x="5374096" y="1352710"/>
                </a:cubicBezTo>
                <a:cubicBezTo>
                  <a:pt x="5373675" y="1353172"/>
                  <a:pt x="5373093" y="1353131"/>
                  <a:pt x="5372817" y="1353057"/>
                </a:cubicBezTo>
                <a:lnTo>
                  <a:pt x="5371796" y="1352439"/>
                </a:lnTo>
                <a:lnTo>
                  <a:pt x="5370689" y="1352141"/>
                </a:lnTo>
                <a:lnTo>
                  <a:pt x="5370822" y="1352751"/>
                </a:lnTo>
                <a:lnTo>
                  <a:pt x="5368871" y="1356714"/>
                </a:lnTo>
                <a:lnTo>
                  <a:pt x="5372163" y="1357711"/>
                </a:lnTo>
                <a:cubicBezTo>
                  <a:pt x="5374958" y="1358345"/>
                  <a:pt x="5377258" y="1358617"/>
                  <a:pt x="5378013" y="1358014"/>
                </a:cubicBezTo>
                <a:cubicBezTo>
                  <a:pt x="5378279" y="1359235"/>
                  <a:pt x="5380072" y="1360291"/>
                  <a:pt x="5380072" y="1360291"/>
                </a:cubicBezTo>
                <a:cubicBezTo>
                  <a:pt x="5378839" y="1361571"/>
                  <a:pt x="5377064" y="1361555"/>
                  <a:pt x="5375288" y="1361540"/>
                </a:cubicBezTo>
                <a:cubicBezTo>
                  <a:pt x="5373524" y="1360377"/>
                  <a:pt x="5373230" y="1359262"/>
                  <a:pt x="5371466" y="1358099"/>
                </a:cubicBezTo>
                <a:lnTo>
                  <a:pt x="5368364" y="1357499"/>
                </a:lnTo>
                <a:lnTo>
                  <a:pt x="5365993" y="1361923"/>
                </a:lnTo>
                <a:cubicBezTo>
                  <a:pt x="5363383" y="1365019"/>
                  <a:pt x="5359725" y="1367604"/>
                  <a:pt x="5355524" y="1368894"/>
                </a:cubicBezTo>
                <a:cubicBezTo>
                  <a:pt x="5356412" y="1368901"/>
                  <a:pt x="5357023" y="1368835"/>
                  <a:pt x="5358071" y="1369346"/>
                </a:cubicBezTo>
                <a:cubicBezTo>
                  <a:pt x="5359628" y="1369073"/>
                  <a:pt x="5360476" y="1370336"/>
                  <a:pt x="5362574" y="1371357"/>
                </a:cubicBezTo>
                <a:lnTo>
                  <a:pt x="5362783" y="1372793"/>
                </a:lnTo>
                <a:lnTo>
                  <a:pt x="5364835" y="1372884"/>
                </a:lnTo>
                <a:cubicBezTo>
                  <a:pt x="5368519" y="1373526"/>
                  <a:pt x="5371810" y="1374522"/>
                  <a:pt x="5372468" y="1375389"/>
                </a:cubicBezTo>
                <a:cubicBezTo>
                  <a:pt x="5370721" y="1375265"/>
                  <a:pt x="5366646" y="1374978"/>
                  <a:pt x="5362905" y="1374551"/>
                </a:cubicBezTo>
                <a:lnTo>
                  <a:pt x="5362351" y="1374403"/>
                </a:lnTo>
                <a:lnTo>
                  <a:pt x="5362064" y="1375476"/>
                </a:lnTo>
                <a:cubicBezTo>
                  <a:pt x="5362284" y="1375765"/>
                  <a:pt x="5362808" y="1376020"/>
                  <a:pt x="5363858" y="1376532"/>
                </a:cubicBezTo>
                <a:cubicBezTo>
                  <a:pt x="5363858" y="1376532"/>
                  <a:pt x="5362330" y="1376697"/>
                  <a:pt x="5362330" y="1376697"/>
                </a:cubicBezTo>
                <a:cubicBezTo>
                  <a:pt x="5361482" y="1375435"/>
                  <a:pt x="5362330" y="1376697"/>
                  <a:pt x="5361622" y="1378233"/>
                </a:cubicBezTo>
                <a:cubicBezTo>
                  <a:pt x="5357968" y="1377483"/>
                  <a:pt x="5356440" y="1377649"/>
                  <a:pt x="5354036" y="1376659"/>
                </a:cubicBezTo>
                <a:lnTo>
                  <a:pt x="5354065" y="1376553"/>
                </a:lnTo>
                <a:lnTo>
                  <a:pt x="5345210" y="1383035"/>
                </a:lnTo>
                <a:lnTo>
                  <a:pt x="5341240" y="1383465"/>
                </a:lnTo>
                <a:lnTo>
                  <a:pt x="5339528" y="1385423"/>
                </a:lnTo>
                <a:cubicBezTo>
                  <a:pt x="5337926" y="1384763"/>
                  <a:pt x="5337926" y="1384763"/>
                  <a:pt x="5338519" y="1383657"/>
                </a:cubicBezTo>
                <a:cubicBezTo>
                  <a:pt x="5338184" y="1383798"/>
                  <a:pt x="5338184" y="1383798"/>
                  <a:pt x="5338156" y="1383905"/>
                </a:cubicBezTo>
                <a:lnTo>
                  <a:pt x="5338023" y="1383295"/>
                </a:lnTo>
                <a:lnTo>
                  <a:pt x="5336887" y="1383106"/>
                </a:lnTo>
                <a:cubicBezTo>
                  <a:pt x="5335504" y="1382734"/>
                  <a:pt x="5334178" y="1382149"/>
                  <a:pt x="5333244" y="1381209"/>
                </a:cubicBezTo>
                <a:cubicBezTo>
                  <a:pt x="5331612" y="1380657"/>
                  <a:pt x="5333096" y="1376224"/>
                  <a:pt x="5335015" y="1375704"/>
                </a:cubicBezTo>
                <a:cubicBezTo>
                  <a:pt x="5338854" y="1374662"/>
                  <a:pt x="5340772" y="1374141"/>
                  <a:pt x="5344006" y="1375353"/>
                </a:cubicBezTo>
                <a:cubicBezTo>
                  <a:pt x="5345926" y="1374832"/>
                  <a:pt x="5347874" y="1374204"/>
                  <a:pt x="5349648" y="1374220"/>
                </a:cubicBezTo>
                <a:lnTo>
                  <a:pt x="5353044" y="1375934"/>
                </a:lnTo>
                <a:lnTo>
                  <a:pt x="5351061" y="1374482"/>
                </a:lnTo>
                <a:cubicBezTo>
                  <a:pt x="5350098" y="1373650"/>
                  <a:pt x="5349469" y="1372676"/>
                  <a:pt x="5349976" y="1371892"/>
                </a:cubicBezTo>
                <a:cubicBezTo>
                  <a:pt x="5351226" y="1371652"/>
                  <a:pt x="5350654" y="1370464"/>
                  <a:pt x="5352182" y="1370298"/>
                </a:cubicBezTo>
                <a:cubicBezTo>
                  <a:pt x="5353271" y="1369554"/>
                  <a:pt x="5353939" y="1369274"/>
                  <a:pt x="5354608" y="1368992"/>
                </a:cubicBezTo>
                <a:cubicBezTo>
                  <a:pt x="5351380" y="1369968"/>
                  <a:pt x="5348020" y="1370333"/>
                  <a:pt x="5344395" y="1369476"/>
                </a:cubicBezTo>
                <a:cubicBezTo>
                  <a:pt x="5347148" y="1365844"/>
                  <a:pt x="5350339" y="1362789"/>
                  <a:pt x="5352872" y="1358868"/>
                </a:cubicBezTo>
                <a:lnTo>
                  <a:pt x="5356268" y="1351728"/>
                </a:lnTo>
                <a:lnTo>
                  <a:pt x="5355247" y="1351109"/>
                </a:lnTo>
                <a:lnTo>
                  <a:pt x="5353444" y="1351201"/>
                </a:lnTo>
                <a:lnTo>
                  <a:pt x="5353081" y="1351448"/>
                </a:lnTo>
                <a:cubicBezTo>
                  <a:pt x="5348956" y="1353564"/>
                  <a:pt x="5349390" y="1357474"/>
                  <a:pt x="5345264" y="1359589"/>
                </a:cubicBezTo>
                <a:cubicBezTo>
                  <a:pt x="5345264" y="1359589"/>
                  <a:pt x="5345264" y="1359589"/>
                  <a:pt x="5343950" y="1357857"/>
                </a:cubicBezTo>
                <a:cubicBezTo>
                  <a:pt x="5346299" y="1355726"/>
                  <a:pt x="5347047" y="1352937"/>
                  <a:pt x="5348319" y="1350402"/>
                </a:cubicBezTo>
                <a:lnTo>
                  <a:pt x="5349304" y="1348941"/>
                </a:lnTo>
                <a:lnTo>
                  <a:pt x="5345200" y="1348762"/>
                </a:lnTo>
                <a:cubicBezTo>
                  <a:pt x="5336514" y="1349080"/>
                  <a:pt x="5328076" y="1349579"/>
                  <a:pt x="5318287" y="1346266"/>
                </a:cubicBezTo>
                <a:lnTo>
                  <a:pt x="5310856" y="1343009"/>
                </a:lnTo>
                <a:lnTo>
                  <a:pt x="5311690" y="1348752"/>
                </a:lnTo>
                <a:lnTo>
                  <a:pt x="5311956" y="1349974"/>
                </a:lnTo>
                <a:lnTo>
                  <a:pt x="5316106" y="1351086"/>
                </a:lnTo>
                <a:cubicBezTo>
                  <a:pt x="5316106" y="1351086"/>
                  <a:pt x="5324109" y="1355531"/>
                  <a:pt x="5321633" y="1359237"/>
                </a:cubicBezTo>
                <a:cubicBezTo>
                  <a:pt x="5321795" y="1359740"/>
                  <a:pt x="5320210" y="1360121"/>
                  <a:pt x="5318407" y="1360212"/>
                </a:cubicBezTo>
                <a:lnTo>
                  <a:pt x="5313806" y="1359670"/>
                </a:lnTo>
                <a:lnTo>
                  <a:pt x="5314449" y="1365018"/>
                </a:lnTo>
                <a:lnTo>
                  <a:pt x="5317109" y="1368375"/>
                </a:lnTo>
                <a:lnTo>
                  <a:pt x="5317184" y="1369200"/>
                </a:lnTo>
                <a:lnTo>
                  <a:pt x="5318700" y="1370182"/>
                </a:lnTo>
                <a:cubicBezTo>
                  <a:pt x="5318700" y="1370182"/>
                  <a:pt x="5318700" y="1370182"/>
                  <a:pt x="5318442" y="1371148"/>
                </a:cubicBezTo>
                <a:lnTo>
                  <a:pt x="5317202" y="1370240"/>
                </a:lnTo>
                <a:lnTo>
                  <a:pt x="5317162" y="1371495"/>
                </a:lnTo>
                <a:lnTo>
                  <a:pt x="5318633" y="1371543"/>
                </a:lnTo>
                <a:cubicBezTo>
                  <a:pt x="5318633" y="1371543"/>
                  <a:pt x="5318956" y="1372550"/>
                  <a:pt x="5317752" y="1373722"/>
                </a:cubicBezTo>
                <a:cubicBezTo>
                  <a:pt x="5317752" y="1373722"/>
                  <a:pt x="5317227" y="1373468"/>
                  <a:pt x="5317037" y="1373071"/>
                </a:cubicBezTo>
                <a:lnTo>
                  <a:pt x="5317019" y="1372031"/>
                </a:lnTo>
                <a:lnTo>
                  <a:pt x="5312779" y="1374575"/>
                </a:lnTo>
                <a:lnTo>
                  <a:pt x="5310726" y="1374485"/>
                </a:lnTo>
                <a:lnTo>
                  <a:pt x="5310030" y="1374874"/>
                </a:lnTo>
                <a:cubicBezTo>
                  <a:pt x="5307747" y="1375642"/>
                  <a:pt x="5305581" y="1375981"/>
                  <a:pt x="5303212" y="1377072"/>
                </a:cubicBezTo>
                <a:cubicBezTo>
                  <a:pt x="5288170" y="1369017"/>
                  <a:pt x="5291318" y="1361695"/>
                  <a:pt x="5298793" y="1360362"/>
                </a:cubicBezTo>
                <a:cubicBezTo>
                  <a:pt x="5301265" y="1359989"/>
                  <a:pt x="5304176" y="1360195"/>
                  <a:pt x="5306856" y="1361259"/>
                </a:cubicBezTo>
                <a:lnTo>
                  <a:pt x="5307629" y="1361694"/>
                </a:lnTo>
                <a:lnTo>
                  <a:pt x="5307935" y="1361662"/>
                </a:lnTo>
                <a:lnTo>
                  <a:pt x="5307686" y="1361481"/>
                </a:lnTo>
                <a:cubicBezTo>
                  <a:pt x="5306515" y="1359211"/>
                  <a:pt x="5305545" y="1356192"/>
                  <a:pt x="5305013" y="1353750"/>
                </a:cubicBezTo>
                <a:lnTo>
                  <a:pt x="5304995" y="1352710"/>
                </a:lnTo>
                <a:lnTo>
                  <a:pt x="5302239" y="1350821"/>
                </a:lnTo>
                <a:cubicBezTo>
                  <a:pt x="5301057" y="1349699"/>
                  <a:pt x="5300486" y="1348510"/>
                  <a:pt x="5301718" y="1347231"/>
                </a:cubicBezTo>
                <a:lnTo>
                  <a:pt x="5305315" y="1348195"/>
                </a:lnTo>
                <a:lnTo>
                  <a:pt x="5305096" y="1347906"/>
                </a:lnTo>
                <a:cubicBezTo>
                  <a:pt x="5305488" y="1347551"/>
                  <a:pt x="5305574" y="1347230"/>
                  <a:pt x="5305164" y="1346544"/>
                </a:cubicBezTo>
                <a:cubicBezTo>
                  <a:pt x="5305164" y="1346544"/>
                  <a:pt x="5304593" y="1345356"/>
                  <a:pt x="5305301" y="1343821"/>
                </a:cubicBezTo>
                <a:cubicBezTo>
                  <a:pt x="5306009" y="1342286"/>
                  <a:pt x="5306994" y="1340824"/>
                  <a:pt x="5310620" y="1341682"/>
                </a:cubicBezTo>
                <a:lnTo>
                  <a:pt x="5310533" y="1342003"/>
                </a:lnTo>
                <a:lnTo>
                  <a:pt x="5314526" y="1339278"/>
                </a:lnTo>
                <a:cubicBezTo>
                  <a:pt x="5320570" y="1336642"/>
                  <a:pt x="5331145" y="1335911"/>
                  <a:pt x="5341510" y="1337078"/>
                </a:cubicBezTo>
                <a:lnTo>
                  <a:pt x="5354820" y="1340529"/>
                </a:lnTo>
                <a:lnTo>
                  <a:pt x="5349480" y="1336109"/>
                </a:lnTo>
                <a:cubicBezTo>
                  <a:pt x="5344970" y="1331910"/>
                  <a:pt x="5340021" y="1327135"/>
                  <a:pt x="5337905" y="1325072"/>
                </a:cubicBezTo>
                <a:cubicBezTo>
                  <a:pt x="5338193" y="1323999"/>
                  <a:pt x="5338193" y="1323999"/>
                  <a:pt x="5338193" y="1323999"/>
                </a:cubicBezTo>
                <a:cubicBezTo>
                  <a:pt x="5339311" y="1323148"/>
                  <a:pt x="5340752" y="1323304"/>
                  <a:pt x="5342297" y="1324179"/>
                </a:cubicBezTo>
                <a:cubicBezTo>
                  <a:pt x="5343843" y="1325053"/>
                  <a:pt x="5345492" y="1326645"/>
                  <a:pt x="5347637" y="1328600"/>
                </a:cubicBezTo>
                <a:cubicBezTo>
                  <a:pt x="5351898" y="1332616"/>
                  <a:pt x="5355280" y="1338813"/>
                  <a:pt x="5356595" y="1340545"/>
                </a:cubicBezTo>
                <a:lnTo>
                  <a:pt x="5357616" y="1341164"/>
                </a:lnTo>
                <a:lnTo>
                  <a:pt x="5360937" y="1342053"/>
                </a:lnTo>
                <a:lnTo>
                  <a:pt x="5364465" y="1344379"/>
                </a:lnTo>
                <a:lnTo>
                  <a:pt x="5369733" y="1344641"/>
                </a:lnTo>
                <a:lnTo>
                  <a:pt x="5370387" y="1348841"/>
                </a:lnTo>
                <a:lnTo>
                  <a:pt x="5374272" y="1339876"/>
                </a:lnTo>
                <a:cubicBezTo>
                  <a:pt x="5374398" y="1338300"/>
                  <a:pt x="5374467" y="1336939"/>
                  <a:pt x="5374697" y="1336080"/>
                </a:cubicBezTo>
                <a:lnTo>
                  <a:pt x="5374707" y="1334933"/>
                </a:lnTo>
                <a:lnTo>
                  <a:pt x="5373906" y="1334603"/>
                </a:lnTo>
                <a:cubicBezTo>
                  <a:pt x="5372048" y="1331575"/>
                  <a:pt x="5372652" y="1329322"/>
                  <a:pt x="5373837" y="1327110"/>
                </a:cubicBezTo>
                <a:lnTo>
                  <a:pt x="5376170" y="1323940"/>
                </a:lnTo>
                <a:lnTo>
                  <a:pt x="5375864" y="1323973"/>
                </a:lnTo>
                <a:cubicBezTo>
                  <a:pt x="5374700" y="1323891"/>
                  <a:pt x="5373899" y="1323561"/>
                  <a:pt x="5372688" y="1322547"/>
                </a:cubicBezTo>
                <a:cubicBezTo>
                  <a:pt x="5366788" y="1315791"/>
                  <a:pt x="5371930" y="1308774"/>
                  <a:pt x="5375235" y="1305289"/>
                </a:cubicBezTo>
                <a:lnTo>
                  <a:pt x="5376670" y="1303258"/>
                </a:lnTo>
                <a:lnTo>
                  <a:pt x="5375344" y="1302673"/>
                </a:lnTo>
                <a:lnTo>
                  <a:pt x="5377262" y="1302152"/>
                </a:lnTo>
                <a:lnTo>
                  <a:pt x="5377320" y="1301938"/>
                </a:lnTo>
                <a:cubicBezTo>
                  <a:pt x="5378952" y="1302490"/>
                  <a:pt x="5379239" y="1301417"/>
                  <a:pt x="5377636" y="1300757"/>
                </a:cubicBezTo>
                <a:cubicBezTo>
                  <a:pt x="5379699" y="1299700"/>
                  <a:pt x="5381456" y="1298676"/>
                  <a:pt x="5383013" y="1298404"/>
                </a:cubicBezTo>
                <a:close/>
                <a:moveTo>
                  <a:pt x="5598026" y="1298400"/>
                </a:moveTo>
                <a:cubicBezTo>
                  <a:pt x="5599801" y="1298415"/>
                  <a:pt x="5603323" y="1298554"/>
                  <a:pt x="5605088" y="1299717"/>
                </a:cubicBezTo>
                <a:cubicBezTo>
                  <a:pt x="5606863" y="1299733"/>
                  <a:pt x="5605580" y="1303414"/>
                  <a:pt x="5605580" y="1303414"/>
                </a:cubicBezTo>
                <a:cubicBezTo>
                  <a:pt x="5604825" y="1304016"/>
                  <a:pt x="5603137" y="1303679"/>
                  <a:pt x="5601228" y="1303052"/>
                </a:cubicBezTo>
                <a:cubicBezTo>
                  <a:pt x="5599568" y="1302608"/>
                  <a:pt x="5597659" y="1301981"/>
                  <a:pt x="5596801" y="1301866"/>
                </a:cubicBezTo>
                <a:cubicBezTo>
                  <a:pt x="5596811" y="1300720"/>
                  <a:pt x="5598292" y="1299620"/>
                  <a:pt x="5598026" y="1298400"/>
                </a:cubicBezTo>
                <a:close/>
                <a:moveTo>
                  <a:pt x="5764175" y="1297033"/>
                </a:moveTo>
                <a:cubicBezTo>
                  <a:pt x="5766123" y="1296405"/>
                  <a:pt x="5769356" y="1297617"/>
                  <a:pt x="5770988" y="1298169"/>
                </a:cubicBezTo>
                <a:cubicBezTo>
                  <a:pt x="5770672" y="1299348"/>
                  <a:pt x="5772304" y="1299902"/>
                  <a:pt x="5771987" y="1301082"/>
                </a:cubicBezTo>
                <a:cubicBezTo>
                  <a:pt x="5772986" y="1303995"/>
                  <a:pt x="5772958" y="1304102"/>
                  <a:pt x="5770761" y="1304548"/>
                </a:cubicBezTo>
                <a:cubicBezTo>
                  <a:pt x="5768814" y="1305176"/>
                  <a:pt x="5764264" y="1302232"/>
                  <a:pt x="5762345" y="1302753"/>
                </a:cubicBezTo>
                <a:cubicBezTo>
                  <a:pt x="5762345" y="1302753"/>
                  <a:pt x="5762345" y="1302753"/>
                  <a:pt x="5761347" y="1299841"/>
                </a:cubicBezTo>
                <a:cubicBezTo>
                  <a:pt x="5761663" y="1298660"/>
                  <a:pt x="5762256" y="1297554"/>
                  <a:pt x="5764175" y="1297033"/>
                </a:cubicBezTo>
                <a:close/>
                <a:moveTo>
                  <a:pt x="5580896" y="1297030"/>
                </a:moveTo>
                <a:cubicBezTo>
                  <a:pt x="5582146" y="1296790"/>
                  <a:pt x="5583865" y="1297020"/>
                  <a:pt x="5586487" y="1298298"/>
                </a:cubicBezTo>
                <a:cubicBezTo>
                  <a:pt x="5586487" y="1298298"/>
                  <a:pt x="5586782" y="1299411"/>
                  <a:pt x="5586782" y="1299411"/>
                </a:cubicBezTo>
                <a:cubicBezTo>
                  <a:pt x="5585157" y="1301047"/>
                  <a:pt x="5584098" y="1301683"/>
                  <a:pt x="5582657" y="1301527"/>
                </a:cubicBezTo>
                <a:cubicBezTo>
                  <a:pt x="5581521" y="1301337"/>
                  <a:pt x="5580005" y="1300355"/>
                  <a:pt x="5578240" y="1299193"/>
                </a:cubicBezTo>
                <a:cubicBezTo>
                  <a:pt x="5579110" y="1298161"/>
                  <a:pt x="5579645" y="1297269"/>
                  <a:pt x="5580896" y="1297030"/>
                </a:cubicBezTo>
                <a:close/>
                <a:moveTo>
                  <a:pt x="5355432" y="1296188"/>
                </a:moveTo>
                <a:cubicBezTo>
                  <a:pt x="5357581" y="1303664"/>
                  <a:pt x="5369676" y="1327145"/>
                  <a:pt x="5355960" y="1328529"/>
                </a:cubicBezTo>
                <a:cubicBezTo>
                  <a:pt x="5354141" y="1324247"/>
                  <a:pt x="5349301" y="1316855"/>
                  <a:pt x="5347504" y="1310279"/>
                </a:cubicBezTo>
                <a:cubicBezTo>
                  <a:pt x="5345460" y="1303521"/>
                  <a:pt x="5346153" y="1297612"/>
                  <a:pt x="5355432" y="1296188"/>
                </a:cubicBezTo>
                <a:close/>
                <a:moveTo>
                  <a:pt x="5184008" y="1295105"/>
                </a:moveTo>
                <a:cubicBezTo>
                  <a:pt x="5192521" y="1295431"/>
                  <a:pt x="5212397" y="1308692"/>
                  <a:pt x="5202417" y="1313838"/>
                </a:cubicBezTo>
                <a:cubicBezTo>
                  <a:pt x="5193304" y="1303577"/>
                  <a:pt x="5176030" y="1302742"/>
                  <a:pt x="5184008" y="1295105"/>
                </a:cubicBezTo>
                <a:close/>
                <a:moveTo>
                  <a:pt x="1119084" y="1294518"/>
                </a:moveTo>
                <a:cubicBezTo>
                  <a:pt x="1124421" y="1293418"/>
                  <a:pt x="1132694" y="1295750"/>
                  <a:pt x="1137152" y="1302349"/>
                </a:cubicBezTo>
                <a:cubicBezTo>
                  <a:pt x="1135611" y="1306996"/>
                  <a:pt x="1132068" y="1309152"/>
                  <a:pt x="1130052" y="1311142"/>
                </a:cubicBezTo>
                <a:cubicBezTo>
                  <a:pt x="1125769" y="1309419"/>
                  <a:pt x="1122057" y="1308884"/>
                  <a:pt x="1117496" y="1307088"/>
                </a:cubicBezTo>
                <a:cubicBezTo>
                  <a:pt x="1111042" y="1300184"/>
                  <a:pt x="1113748" y="1295618"/>
                  <a:pt x="1119084" y="1294518"/>
                </a:cubicBezTo>
                <a:close/>
                <a:moveTo>
                  <a:pt x="5541683" y="1292848"/>
                </a:moveTo>
                <a:cubicBezTo>
                  <a:pt x="5555981" y="1309215"/>
                  <a:pt x="5549782" y="1313533"/>
                  <a:pt x="5540029" y="1312300"/>
                </a:cubicBezTo>
                <a:cubicBezTo>
                  <a:pt x="5537424" y="1312062"/>
                  <a:pt x="5534934" y="1311394"/>
                  <a:pt x="5532472" y="1310620"/>
                </a:cubicBezTo>
                <a:cubicBezTo>
                  <a:pt x="5524562" y="1308041"/>
                  <a:pt x="5517200" y="1303423"/>
                  <a:pt x="5517376" y="1299445"/>
                </a:cubicBezTo>
                <a:cubicBezTo>
                  <a:pt x="5517714" y="1295970"/>
                  <a:pt x="5524121" y="1293087"/>
                  <a:pt x="5541683" y="1292848"/>
                </a:cubicBezTo>
                <a:close/>
                <a:moveTo>
                  <a:pt x="5312887" y="1292263"/>
                </a:moveTo>
                <a:cubicBezTo>
                  <a:pt x="5310538" y="1294394"/>
                  <a:pt x="5308227" y="1295269"/>
                  <a:pt x="5306146" y="1295287"/>
                </a:cubicBezTo>
                <a:cubicBezTo>
                  <a:pt x="5303788" y="1295230"/>
                  <a:pt x="5301356" y="1294348"/>
                  <a:pt x="5298456" y="1292995"/>
                </a:cubicBezTo>
                <a:cubicBezTo>
                  <a:pt x="5302172" y="1290197"/>
                  <a:pt x="5305827" y="1290946"/>
                  <a:pt x="5312887" y="1292263"/>
                </a:cubicBezTo>
                <a:close/>
                <a:moveTo>
                  <a:pt x="5889145" y="1291073"/>
                </a:moveTo>
                <a:cubicBezTo>
                  <a:pt x="5889566" y="1290612"/>
                  <a:pt x="5890978" y="1290875"/>
                  <a:pt x="5892914" y="1291393"/>
                </a:cubicBezTo>
                <a:cubicBezTo>
                  <a:pt x="5898143" y="1292910"/>
                  <a:pt x="5907005" y="1297469"/>
                  <a:pt x="5908083" y="1297873"/>
                </a:cubicBezTo>
                <a:lnTo>
                  <a:pt x="5909991" y="1298499"/>
                </a:lnTo>
                <a:lnTo>
                  <a:pt x="5917099" y="1300749"/>
                </a:lnTo>
                <a:cubicBezTo>
                  <a:pt x="5918792" y="1306607"/>
                  <a:pt x="5908863" y="1309352"/>
                  <a:pt x="5903878" y="1311352"/>
                </a:cubicBezTo>
                <a:cubicBezTo>
                  <a:pt x="5898671" y="1307541"/>
                  <a:pt x="5893741" y="1303806"/>
                  <a:pt x="5893497" y="1300290"/>
                </a:cubicBezTo>
                <a:lnTo>
                  <a:pt x="5899588" y="1298586"/>
                </a:lnTo>
                <a:lnTo>
                  <a:pt x="5899340" y="1298405"/>
                </a:lnTo>
                <a:cubicBezTo>
                  <a:pt x="5896393" y="1296120"/>
                  <a:pt x="5894762" y="1295568"/>
                  <a:pt x="5891211" y="1295537"/>
                </a:cubicBezTo>
                <a:cubicBezTo>
                  <a:pt x="5891211" y="1295537"/>
                  <a:pt x="5891211" y="1295537"/>
                  <a:pt x="5888828" y="1292254"/>
                </a:cubicBezTo>
                <a:close/>
                <a:moveTo>
                  <a:pt x="5209712" y="1290076"/>
                </a:moveTo>
                <a:cubicBezTo>
                  <a:pt x="5212808" y="1288620"/>
                  <a:pt x="5215917" y="1288360"/>
                  <a:pt x="5221521" y="1291243"/>
                </a:cubicBezTo>
                <a:cubicBezTo>
                  <a:pt x="5222279" y="1296160"/>
                  <a:pt x="5212847" y="1299267"/>
                  <a:pt x="5205321" y="1303001"/>
                </a:cubicBezTo>
                <a:cubicBezTo>
                  <a:pt x="5202328" y="1299784"/>
                  <a:pt x="5200984" y="1298159"/>
                  <a:pt x="5197980" y="1296090"/>
                </a:cubicBezTo>
                <a:cubicBezTo>
                  <a:pt x="5203532" y="1294185"/>
                  <a:pt x="5206616" y="1291531"/>
                  <a:pt x="5209712" y="1290076"/>
                </a:cubicBezTo>
                <a:close/>
                <a:moveTo>
                  <a:pt x="1346141" y="1288311"/>
                </a:moveTo>
                <a:cubicBezTo>
                  <a:pt x="1347524" y="1288682"/>
                  <a:pt x="1349472" y="1288055"/>
                  <a:pt x="1350856" y="1288426"/>
                </a:cubicBezTo>
                <a:cubicBezTo>
                  <a:pt x="1350816" y="1289679"/>
                  <a:pt x="1351843" y="1292484"/>
                  <a:pt x="1350212" y="1291933"/>
                </a:cubicBezTo>
                <a:cubicBezTo>
                  <a:pt x="1349896" y="1293113"/>
                  <a:pt x="1346852" y="1292297"/>
                  <a:pt x="1346852" y="1292297"/>
                </a:cubicBezTo>
                <a:cubicBezTo>
                  <a:pt x="1346536" y="1293478"/>
                  <a:pt x="1346220" y="1294658"/>
                  <a:pt x="1344519" y="1295468"/>
                </a:cubicBezTo>
                <a:cubicBezTo>
                  <a:pt x="1343205" y="1293735"/>
                  <a:pt x="1342889" y="1294915"/>
                  <a:pt x="1341506" y="1294544"/>
                </a:cubicBezTo>
                <a:cubicBezTo>
                  <a:pt x="1343205" y="1293735"/>
                  <a:pt x="1343876" y="1290120"/>
                  <a:pt x="1346141" y="1288311"/>
                </a:cubicBezTo>
                <a:close/>
                <a:moveTo>
                  <a:pt x="5721847" y="1287877"/>
                </a:moveTo>
                <a:cubicBezTo>
                  <a:pt x="5723888" y="1289114"/>
                  <a:pt x="5724143" y="1291482"/>
                  <a:pt x="5726184" y="1292718"/>
                </a:cubicBezTo>
                <a:cubicBezTo>
                  <a:pt x="5724409" y="1292703"/>
                  <a:pt x="5722899" y="1293909"/>
                  <a:pt x="5721401" y="1293967"/>
                </a:cubicBezTo>
                <a:cubicBezTo>
                  <a:pt x="5719360" y="1292730"/>
                  <a:pt x="5719151" y="1291294"/>
                  <a:pt x="5719496" y="1290007"/>
                </a:cubicBezTo>
                <a:cubicBezTo>
                  <a:pt x="5719812" y="1288826"/>
                  <a:pt x="5720958" y="1287868"/>
                  <a:pt x="5721847" y="1287877"/>
                </a:cubicBezTo>
                <a:close/>
                <a:moveTo>
                  <a:pt x="1467259" y="1287875"/>
                </a:moveTo>
                <a:cubicBezTo>
                  <a:pt x="1475620" y="1286550"/>
                  <a:pt x="1481696" y="1289328"/>
                  <a:pt x="1488525" y="1294838"/>
                </a:cubicBezTo>
                <a:cubicBezTo>
                  <a:pt x="1487673" y="1296909"/>
                  <a:pt x="1481479" y="1297895"/>
                  <a:pt x="1477173" y="1298466"/>
                </a:cubicBezTo>
                <a:cubicBezTo>
                  <a:pt x="1472670" y="1296455"/>
                  <a:pt x="1469019" y="1292371"/>
                  <a:pt x="1467259" y="1287875"/>
                </a:cubicBezTo>
                <a:close/>
                <a:moveTo>
                  <a:pt x="1899320" y="1286918"/>
                </a:moveTo>
                <a:cubicBezTo>
                  <a:pt x="1899280" y="1288173"/>
                  <a:pt x="1914416" y="1289238"/>
                  <a:pt x="1914416" y="1289238"/>
                </a:cubicBezTo>
                <a:cubicBezTo>
                  <a:pt x="1917468" y="1292242"/>
                  <a:pt x="1917468" y="1292242"/>
                  <a:pt x="1914057" y="1295007"/>
                </a:cubicBezTo>
                <a:cubicBezTo>
                  <a:pt x="1912358" y="1295817"/>
                  <a:pt x="1908444" y="1296033"/>
                  <a:pt x="1904368" y="1295747"/>
                </a:cubicBezTo>
                <a:cubicBezTo>
                  <a:pt x="1902623" y="1295623"/>
                  <a:pt x="1900628" y="1295319"/>
                  <a:pt x="1898691" y="1294800"/>
                </a:cubicBezTo>
                <a:cubicBezTo>
                  <a:pt x="1896754" y="1294281"/>
                  <a:pt x="1895151" y="1293622"/>
                  <a:pt x="1894188" y="1292789"/>
                </a:cubicBezTo>
                <a:cubicBezTo>
                  <a:pt x="1895899" y="1290832"/>
                  <a:pt x="1897581" y="1288982"/>
                  <a:pt x="1899320" y="1286918"/>
                </a:cubicBezTo>
                <a:close/>
                <a:moveTo>
                  <a:pt x="1316861" y="1286906"/>
                </a:moveTo>
                <a:cubicBezTo>
                  <a:pt x="1322782" y="1282513"/>
                  <a:pt x="1328023" y="1282882"/>
                  <a:pt x="1332054" y="1287757"/>
                </a:cubicBezTo>
                <a:cubicBezTo>
                  <a:pt x="1332014" y="1289011"/>
                  <a:pt x="1329711" y="1292074"/>
                  <a:pt x="1331370" y="1292520"/>
                </a:cubicBezTo>
                <a:cubicBezTo>
                  <a:pt x="1327113" y="1294023"/>
                  <a:pt x="1322053" y="1295197"/>
                  <a:pt x="1317873" y="1294193"/>
                </a:cubicBezTo>
                <a:cubicBezTo>
                  <a:pt x="1316490" y="1293822"/>
                  <a:pt x="1315194" y="1293130"/>
                  <a:pt x="1314230" y="1292297"/>
                </a:cubicBezTo>
                <a:cubicBezTo>
                  <a:pt x="1310979" y="1290045"/>
                  <a:pt x="1313212" y="1288344"/>
                  <a:pt x="1316861" y="1286906"/>
                </a:cubicBezTo>
                <a:close/>
                <a:moveTo>
                  <a:pt x="1925176" y="1286716"/>
                </a:moveTo>
                <a:cubicBezTo>
                  <a:pt x="1941042" y="1292808"/>
                  <a:pt x="1957539" y="1296538"/>
                  <a:pt x="1971255" y="1312864"/>
                </a:cubicBezTo>
                <a:cubicBezTo>
                  <a:pt x="1968981" y="1315820"/>
                  <a:pt x="1971054" y="1322470"/>
                  <a:pt x="1962800" y="1321178"/>
                </a:cubicBezTo>
                <a:cubicBezTo>
                  <a:pt x="1955717" y="1304445"/>
                  <a:pt x="1925646" y="1301563"/>
                  <a:pt x="1925176" y="1286716"/>
                </a:cubicBezTo>
                <a:close/>
                <a:moveTo>
                  <a:pt x="6037204" y="1284170"/>
                </a:moveTo>
                <a:cubicBezTo>
                  <a:pt x="6046076" y="1287582"/>
                  <a:pt x="6040523" y="1293915"/>
                  <a:pt x="6035227" y="1293761"/>
                </a:cubicBezTo>
                <a:cubicBezTo>
                  <a:pt x="6033480" y="1293638"/>
                  <a:pt x="6031630" y="1292797"/>
                  <a:pt x="6030649" y="1290923"/>
                </a:cubicBezTo>
                <a:cubicBezTo>
                  <a:pt x="6031586" y="1288530"/>
                  <a:pt x="6034271" y="1286259"/>
                  <a:pt x="6037204" y="1284170"/>
                </a:cubicBezTo>
                <a:close/>
                <a:moveTo>
                  <a:pt x="5835788" y="1277697"/>
                </a:moveTo>
                <a:cubicBezTo>
                  <a:pt x="5845526" y="1292266"/>
                  <a:pt x="5827677" y="1302434"/>
                  <a:pt x="5816803" y="1305385"/>
                </a:cubicBezTo>
                <a:cubicBezTo>
                  <a:pt x="5818459" y="1300308"/>
                  <a:pt x="5819591" y="1294977"/>
                  <a:pt x="5822078" y="1290123"/>
                </a:cubicBezTo>
                <a:cubicBezTo>
                  <a:pt x="5824565" y="1285270"/>
                  <a:pt x="5828683" y="1280967"/>
                  <a:pt x="5835788" y="1277697"/>
                </a:cubicBezTo>
                <a:close/>
                <a:moveTo>
                  <a:pt x="5598199" y="1277142"/>
                </a:moveTo>
                <a:cubicBezTo>
                  <a:pt x="5601917" y="1275579"/>
                  <a:pt x="5607032" y="1275858"/>
                  <a:pt x="5610255" y="1278217"/>
                </a:cubicBezTo>
                <a:cubicBezTo>
                  <a:pt x="5612487" y="1279849"/>
                  <a:pt x="5613601" y="1282333"/>
                  <a:pt x="5613263" y="1285807"/>
                </a:cubicBezTo>
                <a:cubicBezTo>
                  <a:pt x="5608009" y="1289920"/>
                  <a:pt x="5600359" y="1286374"/>
                  <a:pt x="5594526" y="1287112"/>
                </a:cubicBezTo>
                <a:cubicBezTo>
                  <a:pt x="5592160" y="1282108"/>
                  <a:pt x="5594481" y="1278704"/>
                  <a:pt x="5598199" y="1277142"/>
                </a:cubicBezTo>
                <a:close/>
                <a:moveTo>
                  <a:pt x="1048122" y="1277114"/>
                </a:moveTo>
                <a:cubicBezTo>
                  <a:pt x="1055087" y="1279901"/>
                  <a:pt x="1056794" y="1281277"/>
                  <a:pt x="1060244" y="1286113"/>
                </a:cubicBezTo>
                <a:cubicBezTo>
                  <a:pt x="1055216" y="1292699"/>
                  <a:pt x="1046739" y="1294454"/>
                  <a:pt x="1038262" y="1296207"/>
                </a:cubicBezTo>
                <a:cubicBezTo>
                  <a:pt x="1032900" y="1294080"/>
                  <a:pt x="1030450" y="1292159"/>
                  <a:pt x="1029746" y="1290360"/>
                </a:cubicBezTo>
                <a:cubicBezTo>
                  <a:pt x="1027880" y="1285145"/>
                  <a:pt x="1041733" y="1281037"/>
                  <a:pt x="1048122" y="1277114"/>
                </a:cubicBezTo>
                <a:close/>
                <a:moveTo>
                  <a:pt x="5682174" y="1276556"/>
                </a:moveTo>
                <a:cubicBezTo>
                  <a:pt x="5687309" y="1276207"/>
                  <a:pt x="5691211" y="1277138"/>
                  <a:pt x="5693634" y="1279167"/>
                </a:cubicBezTo>
                <a:lnTo>
                  <a:pt x="5695481" y="1283342"/>
                </a:lnTo>
                <a:lnTo>
                  <a:pt x="5700005" y="1283059"/>
                </a:lnTo>
                <a:cubicBezTo>
                  <a:pt x="5704271" y="1283743"/>
                  <a:pt x="5709079" y="1285721"/>
                  <a:pt x="5713704" y="1289490"/>
                </a:cubicBezTo>
                <a:cubicBezTo>
                  <a:pt x="5715672" y="1295423"/>
                  <a:pt x="5705672" y="1302863"/>
                  <a:pt x="5698725" y="1301116"/>
                </a:cubicBezTo>
                <a:cubicBezTo>
                  <a:pt x="5689367" y="1296195"/>
                  <a:pt x="5686558" y="1291186"/>
                  <a:pt x="5687506" y="1287645"/>
                </a:cubicBezTo>
                <a:lnTo>
                  <a:pt x="5688710" y="1286472"/>
                </a:lnTo>
                <a:lnTo>
                  <a:pt x="5687223" y="1285384"/>
                </a:lnTo>
                <a:cubicBezTo>
                  <a:pt x="5685221" y="1282892"/>
                  <a:pt x="5684337" y="1279552"/>
                  <a:pt x="5682174" y="1276556"/>
                </a:cubicBezTo>
                <a:close/>
                <a:moveTo>
                  <a:pt x="1341678" y="1276190"/>
                </a:moveTo>
                <a:cubicBezTo>
                  <a:pt x="1343626" y="1275562"/>
                  <a:pt x="1345286" y="1276007"/>
                  <a:pt x="1346629" y="1277633"/>
                </a:cubicBezTo>
                <a:cubicBezTo>
                  <a:pt x="1346629" y="1277633"/>
                  <a:pt x="1344366" y="1279441"/>
                  <a:pt x="1344366" y="1279441"/>
                </a:cubicBezTo>
                <a:cubicBezTo>
                  <a:pt x="1340718" y="1280878"/>
                  <a:pt x="1338799" y="1281400"/>
                  <a:pt x="1336535" y="1283207"/>
                </a:cubicBezTo>
                <a:cubicBezTo>
                  <a:pt x="1333560" y="1281031"/>
                  <a:pt x="1333848" y="1279958"/>
                  <a:pt x="1335547" y="1279148"/>
                </a:cubicBezTo>
                <a:cubicBezTo>
                  <a:pt x="1335547" y="1279148"/>
                  <a:pt x="1337466" y="1278627"/>
                  <a:pt x="1339414" y="1277999"/>
                </a:cubicBezTo>
                <a:cubicBezTo>
                  <a:pt x="1341362" y="1277371"/>
                  <a:pt x="1341678" y="1276190"/>
                  <a:pt x="1341678" y="1276190"/>
                </a:cubicBezTo>
                <a:close/>
                <a:moveTo>
                  <a:pt x="1881370" y="1275323"/>
                </a:moveTo>
                <a:cubicBezTo>
                  <a:pt x="1884367" y="1275206"/>
                  <a:pt x="1887135" y="1275948"/>
                  <a:pt x="1889728" y="1277333"/>
                </a:cubicBezTo>
                <a:lnTo>
                  <a:pt x="1888503" y="1280800"/>
                </a:lnTo>
                <a:lnTo>
                  <a:pt x="1888999" y="1281163"/>
                </a:lnTo>
                <a:cubicBezTo>
                  <a:pt x="1896035" y="1288109"/>
                  <a:pt x="1893947" y="1303649"/>
                  <a:pt x="1884996" y="1302746"/>
                </a:cubicBezTo>
                <a:cubicBezTo>
                  <a:pt x="1880091" y="1302236"/>
                  <a:pt x="1873483" y="1297016"/>
                  <a:pt x="1865565" y="1283394"/>
                </a:cubicBezTo>
                <a:lnTo>
                  <a:pt x="1874370" y="1279314"/>
                </a:lnTo>
                <a:lnTo>
                  <a:pt x="1873073" y="1278620"/>
                </a:lnTo>
                <a:cubicBezTo>
                  <a:pt x="1875728" y="1276457"/>
                  <a:pt x="1878679" y="1275407"/>
                  <a:pt x="1881370" y="1275323"/>
                </a:cubicBezTo>
                <a:close/>
                <a:moveTo>
                  <a:pt x="5659290" y="1273415"/>
                </a:moveTo>
                <a:cubicBezTo>
                  <a:pt x="5661119" y="1276550"/>
                  <a:pt x="5666132" y="1274443"/>
                  <a:pt x="5667645" y="1278758"/>
                </a:cubicBezTo>
                <a:cubicBezTo>
                  <a:pt x="5663868" y="1285106"/>
                  <a:pt x="5644966" y="1289242"/>
                  <a:pt x="5631903" y="1285972"/>
                </a:cubicBezTo>
                <a:cubicBezTo>
                  <a:pt x="5627752" y="1284859"/>
                  <a:pt x="5624109" y="1282964"/>
                  <a:pt x="5621916" y="1280076"/>
                </a:cubicBezTo>
                <a:cubicBezTo>
                  <a:pt x="5633800" y="1278890"/>
                  <a:pt x="5645092" y="1278810"/>
                  <a:pt x="5659290" y="1273415"/>
                </a:cubicBezTo>
                <a:close/>
                <a:moveTo>
                  <a:pt x="6266031" y="1272457"/>
                </a:moveTo>
                <a:cubicBezTo>
                  <a:pt x="6268475" y="1272193"/>
                  <a:pt x="6271328" y="1272613"/>
                  <a:pt x="6274171" y="1274179"/>
                </a:cubicBezTo>
                <a:cubicBezTo>
                  <a:pt x="6282130" y="1283212"/>
                  <a:pt x="6267720" y="1290506"/>
                  <a:pt x="6257596" y="1287333"/>
                </a:cubicBezTo>
                <a:cubicBezTo>
                  <a:pt x="6251449" y="1280396"/>
                  <a:pt x="6257813" y="1273246"/>
                  <a:pt x="6266031" y="1272457"/>
                </a:cubicBezTo>
                <a:close/>
                <a:moveTo>
                  <a:pt x="5263480" y="1271894"/>
                </a:moveTo>
                <a:cubicBezTo>
                  <a:pt x="5261755" y="1278332"/>
                  <a:pt x="5265212" y="1285354"/>
                  <a:pt x="5267954" y="1291723"/>
                </a:cubicBezTo>
                <a:lnTo>
                  <a:pt x="5269380" y="1296361"/>
                </a:lnTo>
                <a:lnTo>
                  <a:pt x="5273240" y="1293025"/>
                </a:lnTo>
                <a:cubicBezTo>
                  <a:pt x="5280373" y="1298501"/>
                  <a:pt x="5281379" y="1303601"/>
                  <a:pt x="5279463" y="1309642"/>
                </a:cubicBezTo>
                <a:cubicBezTo>
                  <a:pt x="5278023" y="1309487"/>
                  <a:pt x="5275648" y="1308390"/>
                  <a:pt x="5273663" y="1306939"/>
                </a:cubicBezTo>
                <a:lnTo>
                  <a:pt x="5269420" y="1303961"/>
                </a:lnTo>
                <a:lnTo>
                  <a:pt x="5267658" y="1308320"/>
                </a:lnTo>
                <a:cubicBezTo>
                  <a:pt x="5266430" y="1306265"/>
                  <a:pt x="5264648" y="1304062"/>
                  <a:pt x="5262312" y="1301712"/>
                </a:cubicBezTo>
                <a:lnTo>
                  <a:pt x="5261158" y="1300482"/>
                </a:lnTo>
                <a:lnTo>
                  <a:pt x="5256939" y="1300733"/>
                </a:lnTo>
                <a:lnTo>
                  <a:pt x="5249785" y="1297550"/>
                </a:lnTo>
                <a:lnTo>
                  <a:pt x="5251693" y="1307032"/>
                </a:lnTo>
                <a:cubicBezTo>
                  <a:pt x="5251581" y="1312982"/>
                  <a:pt x="5249360" y="1319057"/>
                  <a:pt x="5244419" y="1325322"/>
                </a:cubicBezTo>
                <a:cubicBezTo>
                  <a:pt x="5241670" y="1325621"/>
                  <a:pt x="5239065" y="1325383"/>
                  <a:pt x="5237098" y="1324971"/>
                </a:cubicBezTo>
                <a:cubicBezTo>
                  <a:pt x="5230649" y="1323588"/>
                  <a:pt x="5227360" y="1319257"/>
                  <a:pt x="5226107" y="1313975"/>
                </a:cubicBezTo>
                <a:cubicBezTo>
                  <a:pt x="5224245" y="1305427"/>
                  <a:pt x="5228953" y="1294498"/>
                  <a:pt x="5237890" y="1291028"/>
                </a:cubicBezTo>
                <a:lnTo>
                  <a:pt x="5238196" y="1290995"/>
                </a:lnTo>
                <a:lnTo>
                  <a:pt x="5230606" y="1283901"/>
                </a:lnTo>
                <a:cubicBezTo>
                  <a:pt x="5231796" y="1278355"/>
                  <a:pt x="5234900" y="1275622"/>
                  <a:pt x="5239235" y="1274943"/>
                </a:cubicBezTo>
                <a:lnTo>
                  <a:pt x="5249264" y="1276250"/>
                </a:lnTo>
                <a:lnTo>
                  <a:pt x="5249800" y="1275358"/>
                </a:lnTo>
                <a:cubicBezTo>
                  <a:pt x="5252311" y="1273732"/>
                  <a:pt x="5256789" y="1272516"/>
                  <a:pt x="5263480" y="1271894"/>
                </a:cubicBezTo>
                <a:close/>
                <a:moveTo>
                  <a:pt x="1284360" y="1270953"/>
                </a:moveTo>
                <a:cubicBezTo>
                  <a:pt x="1285812" y="1269962"/>
                  <a:pt x="1285773" y="1271215"/>
                  <a:pt x="1287156" y="1271586"/>
                </a:cubicBezTo>
                <a:cubicBezTo>
                  <a:pt x="1286431" y="1272082"/>
                  <a:pt x="1286096" y="1272222"/>
                  <a:pt x="1285542" y="1272074"/>
                </a:cubicBezTo>
                <a:cubicBezTo>
                  <a:pt x="1285237" y="1272107"/>
                  <a:pt x="1285047" y="1271712"/>
                  <a:pt x="1284360" y="1270953"/>
                </a:cubicBezTo>
                <a:close/>
                <a:moveTo>
                  <a:pt x="5547867" y="1266444"/>
                </a:moveTo>
                <a:lnTo>
                  <a:pt x="5550319" y="1268366"/>
                </a:lnTo>
                <a:lnTo>
                  <a:pt x="5550376" y="1268152"/>
                </a:lnTo>
                <a:cubicBezTo>
                  <a:pt x="5551989" y="1267664"/>
                  <a:pt x="5553851" y="1267358"/>
                  <a:pt x="5556237" y="1267307"/>
                </a:cubicBezTo>
                <a:cubicBezTo>
                  <a:pt x="5563916" y="1270744"/>
                  <a:pt x="5562917" y="1276687"/>
                  <a:pt x="5566292" y="1280696"/>
                </a:cubicBezTo>
                <a:cubicBezTo>
                  <a:pt x="5563590" y="1281927"/>
                  <a:pt x="5560840" y="1282225"/>
                  <a:pt x="5558263" y="1281881"/>
                </a:cubicBezTo>
                <a:lnTo>
                  <a:pt x="5555670" y="1280495"/>
                </a:lnTo>
                <a:lnTo>
                  <a:pt x="5554218" y="1281486"/>
                </a:lnTo>
                <a:cubicBezTo>
                  <a:pt x="5552270" y="1282115"/>
                  <a:pt x="5549665" y="1281876"/>
                  <a:pt x="5545237" y="1280690"/>
                </a:cubicBezTo>
                <a:cubicBezTo>
                  <a:pt x="5545237" y="1280690"/>
                  <a:pt x="5543473" y="1279527"/>
                  <a:pt x="5543473" y="1279527"/>
                </a:cubicBezTo>
                <a:cubicBezTo>
                  <a:pt x="5536127" y="1275950"/>
                  <a:pt x="5531754" y="1269027"/>
                  <a:pt x="5532998" y="1266600"/>
                </a:cubicBezTo>
                <a:cubicBezTo>
                  <a:pt x="5536016" y="1264189"/>
                  <a:pt x="5542298" y="1262882"/>
                  <a:pt x="5547867" y="1266444"/>
                </a:cubicBezTo>
                <a:close/>
                <a:moveTo>
                  <a:pt x="5841445" y="1263227"/>
                </a:moveTo>
                <a:cubicBezTo>
                  <a:pt x="5844531" y="1268309"/>
                  <a:pt x="5842476" y="1271554"/>
                  <a:pt x="5835404" y="1271383"/>
                </a:cubicBezTo>
                <a:cubicBezTo>
                  <a:pt x="5835102" y="1268083"/>
                  <a:pt x="5831199" y="1267152"/>
                  <a:pt x="5830927" y="1263743"/>
                </a:cubicBezTo>
                <a:cubicBezTo>
                  <a:pt x="5835641" y="1263857"/>
                  <a:pt x="5839087" y="1263170"/>
                  <a:pt x="5841445" y="1263227"/>
                </a:cubicBezTo>
                <a:close/>
                <a:moveTo>
                  <a:pt x="1487332" y="1259443"/>
                </a:moveTo>
                <a:cubicBezTo>
                  <a:pt x="1494886" y="1255602"/>
                  <a:pt x="1500937" y="1264008"/>
                  <a:pt x="1499187" y="1267220"/>
                </a:cubicBezTo>
                <a:cubicBezTo>
                  <a:pt x="1496313" y="1269094"/>
                  <a:pt x="1493679" y="1268964"/>
                  <a:pt x="1491331" y="1267759"/>
                </a:cubicBezTo>
                <a:cubicBezTo>
                  <a:pt x="1489262" y="1266630"/>
                  <a:pt x="1488004" y="1264683"/>
                  <a:pt x="1487357" y="1262669"/>
                </a:cubicBezTo>
                <a:cubicBezTo>
                  <a:pt x="1486815" y="1261374"/>
                  <a:pt x="1486825" y="1260227"/>
                  <a:pt x="1487332" y="1259443"/>
                </a:cubicBezTo>
                <a:close/>
                <a:moveTo>
                  <a:pt x="5618849" y="1255276"/>
                </a:moveTo>
                <a:cubicBezTo>
                  <a:pt x="5622575" y="1254377"/>
                  <a:pt x="5626664" y="1254610"/>
                  <a:pt x="5627897" y="1257757"/>
                </a:cubicBezTo>
                <a:cubicBezTo>
                  <a:pt x="5628856" y="1261925"/>
                  <a:pt x="5621058" y="1262250"/>
                  <a:pt x="5615991" y="1261239"/>
                </a:cubicBezTo>
                <a:cubicBezTo>
                  <a:pt x="5614054" y="1260720"/>
                  <a:pt x="5612699" y="1260241"/>
                  <a:pt x="5611984" y="1259589"/>
                </a:cubicBezTo>
                <a:cubicBezTo>
                  <a:pt x="5611762" y="1258207"/>
                  <a:pt x="5615124" y="1256176"/>
                  <a:pt x="5618849" y="1255276"/>
                </a:cubicBezTo>
                <a:close/>
                <a:moveTo>
                  <a:pt x="5673341" y="1254179"/>
                </a:moveTo>
                <a:cubicBezTo>
                  <a:pt x="5673341" y="1254179"/>
                  <a:pt x="5673607" y="1255401"/>
                  <a:pt x="5671142" y="1257961"/>
                </a:cubicBezTo>
                <a:cubicBezTo>
                  <a:pt x="5670847" y="1256847"/>
                  <a:pt x="5669072" y="1256831"/>
                  <a:pt x="5669072" y="1256831"/>
                </a:cubicBezTo>
                <a:cubicBezTo>
                  <a:pt x="5669072" y="1256831"/>
                  <a:pt x="5669043" y="1256938"/>
                  <a:pt x="5669338" y="1258052"/>
                </a:cubicBezTo>
                <a:cubicBezTo>
                  <a:pt x="5668288" y="1257540"/>
                  <a:pt x="5668184" y="1256823"/>
                  <a:pt x="5668299" y="1256394"/>
                </a:cubicBezTo>
                <a:cubicBezTo>
                  <a:pt x="5668415" y="1255964"/>
                  <a:pt x="5668806" y="1255609"/>
                  <a:pt x="5668806" y="1255609"/>
                </a:cubicBezTo>
                <a:cubicBezTo>
                  <a:pt x="5670039" y="1254330"/>
                  <a:pt x="5671548" y="1253124"/>
                  <a:pt x="5673341" y="1254179"/>
                </a:cubicBezTo>
                <a:close/>
                <a:moveTo>
                  <a:pt x="1876498" y="1253663"/>
                </a:moveTo>
                <a:cubicBezTo>
                  <a:pt x="1883099" y="1256697"/>
                  <a:pt x="1883534" y="1260608"/>
                  <a:pt x="1884273" y="1264487"/>
                </a:cubicBezTo>
                <a:cubicBezTo>
                  <a:pt x="1884138" y="1267210"/>
                  <a:pt x="1884987" y="1268472"/>
                  <a:pt x="1887655" y="1270683"/>
                </a:cubicBezTo>
                <a:cubicBezTo>
                  <a:pt x="1887655" y="1270683"/>
                  <a:pt x="1887655" y="1270683"/>
                  <a:pt x="1886269" y="1273646"/>
                </a:cubicBezTo>
                <a:lnTo>
                  <a:pt x="1884741" y="1273812"/>
                </a:lnTo>
                <a:cubicBezTo>
                  <a:pt x="1883883" y="1273696"/>
                  <a:pt x="1882948" y="1272756"/>
                  <a:pt x="1882129" y="1271386"/>
                </a:cubicBezTo>
                <a:cubicBezTo>
                  <a:pt x="1879336" y="1267419"/>
                  <a:pt x="1876882" y="1259976"/>
                  <a:pt x="1876530" y="1259077"/>
                </a:cubicBezTo>
                <a:cubicBezTo>
                  <a:pt x="1876530" y="1259077"/>
                  <a:pt x="1875682" y="1257814"/>
                  <a:pt x="1874833" y="1256552"/>
                </a:cubicBezTo>
                <a:cubicBezTo>
                  <a:pt x="1875790" y="1255198"/>
                  <a:pt x="1877346" y="1254926"/>
                  <a:pt x="1876498" y="1253663"/>
                </a:cubicBezTo>
                <a:close/>
                <a:moveTo>
                  <a:pt x="5947674" y="1253050"/>
                </a:moveTo>
                <a:cubicBezTo>
                  <a:pt x="5949449" y="1253066"/>
                  <a:pt x="5951214" y="1254229"/>
                  <a:pt x="5952989" y="1254245"/>
                </a:cubicBezTo>
                <a:cubicBezTo>
                  <a:pt x="5952989" y="1254245"/>
                  <a:pt x="5953646" y="1255110"/>
                  <a:pt x="5953970" y="1256117"/>
                </a:cubicBezTo>
                <a:cubicBezTo>
                  <a:pt x="5954293" y="1257124"/>
                  <a:pt x="5954559" y="1258346"/>
                  <a:pt x="5953805" y="1258948"/>
                </a:cubicBezTo>
                <a:cubicBezTo>
                  <a:pt x="5953182" y="1260161"/>
                  <a:pt x="5951465" y="1259931"/>
                  <a:pt x="5949556" y="1259306"/>
                </a:cubicBezTo>
                <a:cubicBezTo>
                  <a:pt x="5947926" y="1258753"/>
                  <a:pt x="5946103" y="1257805"/>
                  <a:pt x="5945216" y="1257797"/>
                </a:cubicBezTo>
                <a:cubicBezTo>
                  <a:pt x="5944166" y="1257286"/>
                  <a:pt x="5943423" y="1256741"/>
                  <a:pt x="5942707" y="1256090"/>
                </a:cubicBezTo>
                <a:cubicBezTo>
                  <a:pt x="5942269" y="1255512"/>
                  <a:pt x="5942136" y="1254902"/>
                  <a:pt x="5942891" y="1254299"/>
                </a:cubicBezTo>
                <a:cubicBezTo>
                  <a:pt x="5944372" y="1253201"/>
                  <a:pt x="5944106" y="1251979"/>
                  <a:pt x="5947674" y="1253050"/>
                </a:cubicBezTo>
                <a:close/>
                <a:moveTo>
                  <a:pt x="5305575" y="1249823"/>
                </a:moveTo>
                <a:cubicBezTo>
                  <a:pt x="5305575" y="1249823"/>
                  <a:pt x="5305853" y="1249897"/>
                  <a:pt x="5296714" y="1254119"/>
                </a:cubicBezTo>
                <a:cubicBezTo>
                  <a:pt x="5296057" y="1253252"/>
                  <a:pt x="5296505" y="1252683"/>
                  <a:pt x="5296926" y="1252221"/>
                </a:cubicBezTo>
                <a:cubicBezTo>
                  <a:pt x="5297623" y="1251832"/>
                  <a:pt x="5298568" y="1251626"/>
                  <a:pt x="5299542" y="1251311"/>
                </a:cubicBezTo>
                <a:cubicBezTo>
                  <a:pt x="5301738" y="1250865"/>
                  <a:pt x="5303656" y="1250344"/>
                  <a:pt x="5305575" y="1249823"/>
                </a:cubicBezTo>
                <a:close/>
                <a:moveTo>
                  <a:pt x="5335039" y="1249439"/>
                </a:moveTo>
                <a:cubicBezTo>
                  <a:pt x="5336204" y="1249520"/>
                  <a:pt x="5337253" y="1250031"/>
                  <a:pt x="5337910" y="1250898"/>
                </a:cubicBezTo>
                <a:cubicBezTo>
                  <a:pt x="5335018" y="1251732"/>
                  <a:pt x="5331809" y="1253747"/>
                  <a:pt x="5327762" y="1253354"/>
                </a:cubicBezTo>
                <a:cubicBezTo>
                  <a:pt x="5326350" y="1253090"/>
                  <a:pt x="5324967" y="1252719"/>
                  <a:pt x="5323421" y="1251845"/>
                </a:cubicBezTo>
                <a:cubicBezTo>
                  <a:pt x="5326314" y="1251010"/>
                  <a:pt x="5331604" y="1248978"/>
                  <a:pt x="5335039" y="1249439"/>
                </a:cubicBezTo>
                <a:close/>
                <a:moveTo>
                  <a:pt x="1171246" y="1249269"/>
                </a:moveTo>
                <a:cubicBezTo>
                  <a:pt x="1172589" y="1250894"/>
                  <a:pt x="1183723" y="1246977"/>
                  <a:pt x="1189979" y="1251299"/>
                </a:cubicBezTo>
                <a:cubicBezTo>
                  <a:pt x="1192955" y="1253476"/>
                  <a:pt x="1194327" y="1254994"/>
                  <a:pt x="1197303" y="1257171"/>
                </a:cubicBezTo>
                <a:lnTo>
                  <a:pt x="1197605" y="1260472"/>
                </a:lnTo>
                <a:lnTo>
                  <a:pt x="1206352" y="1265461"/>
                </a:lnTo>
                <a:cubicBezTo>
                  <a:pt x="1207724" y="1266978"/>
                  <a:pt x="1210973" y="1272564"/>
                  <a:pt x="1209246" y="1273481"/>
                </a:cubicBezTo>
                <a:cubicBezTo>
                  <a:pt x="1207544" y="1274290"/>
                  <a:pt x="1205884" y="1273845"/>
                  <a:pt x="1204224" y="1273401"/>
                </a:cubicBezTo>
                <a:lnTo>
                  <a:pt x="1195535" y="1268197"/>
                </a:lnTo>
                <a:lnTo>
                  <a:pt x="1192878" y="1270360"/>
                </a:lnTo>
                <a:cubicBezTo>
                  <a:pt x="1190483" y="1271558"/>
                  <a:pt x="1188315" y="1271898"/>
                  <a:pt x="1186015" y="1271627"/>
                </a:cubicBezTo>
                <a:lnTo>
                  <a:pt x="1183802" y="1271033"/>
                </a:lnTo>
                <a:lnTo>
                  <a:pt x="1183982" y="1272576"/>
                </a:lnTo>
                <a:lnTo>
                  <a:pt x="1178292" y="1272778"/>
                </a:lnTo>
                <a:lnTo>
                  <a:pt x="1176058" y="1274478"/>
                </a:lnTo>
                <a:cubicBezTo>
                  <a:pt x="1173176" y="1274167"/>
                  <a:pt x="1171706" y="1274118"/>
                  <a:pt x="1170656" y="1273607"/>
                </a:cubicBezTo>
                <a:cubicBezTo>
                  <a:pt x="1169359" y="1272913"/>
                  <a:pt x="1169008" y="1272015"/>
                  <a:pt x="1168636" y="1270075"/>
                </a:cubicBezTo>
                <a:lnTo>
                  <a:pt x="1168533" y="1269357"/>
                </a:lnTo>
                <a:lnTo>
                  <a:pt x="1165536" y="1269475"/>
                </a:lnTo>
                <a:cubicBezTo>
                  <a:pt x="1165546" y="1268327"/>
                  <a:pt x="1165863" y="1267147"/>
                  <a:pt x="1164202" y="1266702"/>
                </a:cubicBezTo>
                <a:lnTo>
                  <a:pt x="1168012" y="1265768"/>
                </a:lnTo>
                <a:lnTo>
                  <a:pt x="1167993" y="1264728"/>
                </a:lnTo>
                <a:lnTo>
                  <a:pt x="1169248" y="1261154"/>
                </a:lnTo>
                <a:lnTo>
                  <a:pt x="1168780" y="1260683"/>
                </a:lnTo>
                <a:cubicBezTo>
                  <a:pt x="1168780" y="1260683"/>
                  <a:pt x="1163693" y="1253110"/>
                  <a:pt x="1171246" y="1249269"/>
                </a:cubicBezTo>
                <a:close/>
                <a:moveTo>
                  <a:pt x="1278843" y="1249075"/>
                </a:moveTo>
                <a:cubicBezTo>
                  <a:pt x="1280272" y="1248582"/>
                  <a:pt x="1281661" y="1248379"/>
                  <a:pt x="1283143" y="1250041"/>
                </a:cubicBezTo>
                <a:cubicBezTo>
                  <a:pt x="1281165" y="1250777"/>
                  <a:pt x="1277587" y="1250852"/>
                  <a:pt x="1275916" y="1251554"/>
                </a:cubicBezTo>
                <a:cubicBezTo>
                  <a:pt x="1275916" y="1251554"/>
                  <a:pt x="1275639" y="1251480"/>
                  <a:pt x="1274296" y="1249856"/>
                </a:cubicBezTo>
                <a:cubicBezTo>
                  <a:pt x="1275942" y="1250354"/>
                  <a:pt x="1277412" y="1249569"/>
                  <a:pt x="1278843" y="1249075"/>
                </a:cubicBezTo>
                <a:close/>
                <a:moveTo>
                  <a:pt x="1255348" y="1248761"/>
                </a:moveTo>
                <a:cubicBezTo>
                  <a:pt x="1260495" y="1249062"/>
                  <a:pt x="1265930" y="1250087"/>
                  <a:pt x="1269063" y="1251674"/>
                </a:cubicBezTo>
                <a:cubicBezTo>
                  <a:pt x="1255598" y="1258760"/>
                  <a:pt x="1246969" y="1250009"/>
                  <a:pt x="1239112" y="1253883"/>
                </a:cubicBezTo>
                <a:cubicBezTo>
                  <a:pt x="1238083" y="1251077"/>
                  <a:pt x="1237805" y="1251003"/>
                  <a:pt x="1240070" y="1249195"/>
                </a:cubicBezTo>
                <a:cubicBezTo>
                  <a:pt x="1241730" y="1249640"/>
                  <a:pt x="1242017" y="1248567"/>
                  <a:pt x="1243362" y="1250192"/>
                </a:cubicBezTo>
                <a:cubicBezTo>
                  <a:pt x="1245344" y="1248884"/>
                  <a:pt x="1250202" y="1248460"/>
                  <a:pt x="1255348" y="1248761"/>
                </a:cubicBezTo>
                <a:close/>
                <a:moveTo>
                  <a:pt x="5684017" y="1248645"/>
                </a:moveTo>
                <a:cubicBezTo>
                  <a:pt x="5683051" y="1251146"/>
                  <a:pt x="5676996" y="1254929"/>
                  <a:pt x="5673399" y="1253965"/>
                </a:cubicBezTo>
                <a:cubicBezTo>
                  <a:pt x="5674336" y="1251571"/>
                  <a:pt x="5675846" y="1250366"/>
                  <a:pt x="5677078" y="1249086"/>
                </a:cubicBezTo>
                <a:cubicBezTo>
                  <a:pt x="5678321" y="1246659"/>
                  <a:pt x="5680126" y="1246567"/>
                  <a:pt x="5684017" y="1248645"/>
                </a:cubicBezTo>
                <a:close/>
                <a:moveTo>
                  <a:pt x="1884235" y="1248031"/>
                </a:moveTo>
                <a:cubicBezTo>
                  <a:pt x="1884235" y="1248031"/>
                  <a:pt x="1885867" y="1248583"/>
                  <a:pt x="1888029" y="1251578"/>
                </a:cubicBezTo>
                <a:cubicBezTo>
                  <a:pt x="1886645" y="1251207"/>
                  <a:pt x="1886053" y="1252313"/>
                  <a:pt x="1886053" y="1252313"/>
                </a:cubicBezTo>
                <a:cubicBezTo>
                  <a:pt x="1886053" y="1252313"/>
                  <a:pt x="1886082" y="1252206"/>
                  <a:pt x="1887436" y="1252684"/>
                </a:cubicBezTo>
                <a:cubicBezTo>
                  <a:pt x="1886463" y="1252998"/>
                  <a:pt x="1885633" y="1252775"/>
                  <a:pt x="1885108" y="1252520"/>
                </a:cubicBezTo>
                <a:cubicBezTo>
                  <a:pt x="1884612" y="1252156"/>
                  <a:pt x="1884393" y="1251869"/>
                  <a:pt x="1884393" y="1251869"/>
                </a:cubicBezTo>
                <a:cubicBezTo>
                  <a:pt x="1883735" y="1251002"/>
                  <a:pt x="1883077" y="1250135"/>
                  <a:pt x="1882944" y="1249526"/>
                </a:cubicBezTo>
                <a:cubicBezTo>
                  <a:pt x="1882812" y="1248915"/>
                  <a:pt x="1883232" y="1248452"/>
                  <a:pt x="1884235" y="1248031"/>
                </a:cubicBezTo>
                <a:close/>
                <a:moveTo>
                  <a:pt x="1325560" y="1247937"/>
                </a:moveTo>
                <a:cubicBezTo>
                  <a:pt x="1328941" y="1247909"/>
                  <a:pt x="1332245" y="1248306"/>
                  <a:pt x="1332917" y="1249118"/>
                </a:cubicBezTo>
                <a:cubicBezTo>
                  <a:pt x="1330071" y="1250886"/>
                  <a:pt x="1325047" y="1254138"/>
                  <a:pt x="1320914" y="1254066"/>
                </a:cubicBezTo>
                <a:cubicBezTo>
                  <a:pt x="1319445" y="1254018"/>
                  <a:pt x="1318367" y="1253615"/>
                  <a:pt x="1317127" y="1252707"/>
                </a:cubicBezTo>
                <a:cubicBezTo>
                  <a:pt x="1315783" y="1251082"/>
                  <a:pt x="1317425" y="1250486"/>
                  <a:pt x="1317741" y="1249307"/>
                </a:cubicBezTo>
                <a:cubicBezTo>
                  <a:pt x="1318721" y="1248419"/>
                  <a:pt x="1322179" y="1247966"/>
                  <a:pt x="1325560" y="1247937"/>
                </a:cubicBezTo>
                <a:close/>
                <a:moveTo>
                  <a:pt x="6253030" y="1247929"/>
                </a:moveTo>
                <a:cubicBezTo>
                  <a:pt x="6261033" y="1252374"/>
                  <a:pt x="6256358" y="1259861"/>
                  <a:pt x="6249821" y="1258800"/>
                </a:cubicBezTo>
                <a:cubicBezTo>
                  <a:pt x="6247521" y="1258528"/>
                  <a:pt x="6245203" y="1257217"/>
                  <a:pt x="6242954" y="1254544"/>
                </a:cubicBezTo>
                <a:cubicBezTo>
                  <a:pt x="6247119" y="1251175"/>
                  <a:pt x="6249803" y="1248905"/>
                  <a:pt x="6253030" y="1247929"/>
                </a:cubicBezTo>
                <a:close/>
                <a:moveTo>
                  <a:pt x="5656979" y="1247726"/>
                </a:moveTo>
                <a:cubicBezTo>
                  <a:pt x="5657130" y="1249376"/>
                  <a:pt x="5657587" y="1250993"/>
                  <a:pt x="5657738" y="1252644"/>
                </a:cubicBezTo>
                <a:cubicBezTo>
                  <a:pt x="5654338" y="1254263"/>
                  <a:pt x="5650252" y="1255123"/>
                  <a:pt x="5646845" y="1254554"/>
                </a:cubicBezTo>
                <a:cubicBezTo>
                  <a:pt x="5643439" y="1253987"/>
                  <a:pt x="5640683" y="1252099"/>
                  <a:pt x="5639609" y="1248360"/>
                </a:cubicBezTo>
                <a:cubicBezTo>
                  <a:pt x="5642933" y="1245916"/>
                  <a:pt x="5653202" y="1245219"/>
                  <a:pt x="5656979" y="1247726"/>
                </a:cubicBezTo>
                <a:close/>
                <a:moveTo>
                  <a:pt x="1143216" y="1247623"/>
                </a:moveTo>
                <a:cubicBezTo>
                  <a:pt x="1147177" y="1248340"/>
                  <a:pt x="1153229" y="1247891"/>
                  <a:pt x="1158837" y="1250199"/>
                </a:cubicBezTo>
                <a:cubicBezTo>
                  <a:pt x="1165881" y="1259332"/>
                  <a:pt x="1163325" y="1265548"/>
                  <a:pt x="1155132" y="1269561"/>
                </a:cubicBezTo>
                <a:lnTo>
                  <a:pt x="1146289" y="1266042"/>
                </a:lnTo>
                <a:lnTo>
                  <a:pt x="1150941" y="1269704"/>
                </a:lnTo>
                <a:cubicBezTo>
                  <a:pt x="1149691" y="1269943"/>
                  <a:pt x="1148003" y="1269606"/>
                  <a:pt x="1146122" y="1268872"/>
                </a:cubicBezTo>
                <a:cubicBezTo>
                  <a:pt x="1140180" y="1266704"/>
                  <a:pt x="1132245" y="1260899"/>
                  <a:pt x="1129003" y="1257500"/>
                </a:cubicBezTo>
                <a:cubicBezTo>
                  <a:pt x="1131256" y="1256839"/>
                  <a:pt x="1135759" y="1258851"/>
                  <a:pt x="1140118" y="1261399"/>
                </a:cubicBezTo>
                <a:lnTo>
                  <a:pt x="1143809" y="1264227"/>
                </a:lnTo>
                <a:lnTo>
                  <a:pt x="1139471" y="1259385"/>
                </a:lnTo>
                <a:cubicBezTo>
                  <a:pt x="1137128" y="1254848"/>
                  <a:pt x="1138088" y="1250159"/>
                  <a:pt x="1143216" y="1247623"/>
                </a:cubicBezTo>
                <a:close/>
                <a:moveTo>
                  <a:pt x="6202124" y="1245329"/>
                </a:moveTo>
                <a:cubicBezTo>
                  <a:pt x="6209860" y="1257407"/>
                  <a:pt x="6190012" y="1279460"/>
                  <a:pt x="6172774" y="1271850"/>
                </a:cubicBezTo>
                <a:cubicBezTo>
                  <a:pt x="6184838" y="1263353"/>
                  <a:pt x="6185385" y="1252459"/>
                  <a:pt x="6202124" y="1245329"/>
                </a:cubicBezTo>
                <a:close/>
                <a:moveTo>
                  <a:pt x="1793950" y="1244079"/>
                </a:moveTo>
                <a:cubicBezTo>
                  <a:pt x="1795755" y="1243988"/>
                  <a:pt x="1797893" y="1243755"/>
                  <a:pt x="1800718" y="1244282"/>
                </a:cubicBezTo>
                <a:lnTo>
                  <a:pt x="1801795" y="1244686"/>
                </a:lnTo>
                <a:lnTo>
                  <a:pt x="1802188" y="1244331"/>
                </a:lnTo>
                <a:lnTo>
                  <a:pt x="1802319" y="1244942"/>
                </a:lnTo>
                <a:lnTo>
                  <a:pt x="1804810" y="1245609"/>
                </a:lnTo>
                <a:cubicBezTo>
                  <a:pt x="1806107" y="1246302"/>
                  <a:pt x="1807596" y="1247390"/>
                  <a:pt x="1809025" y="1248694"/>
                </a:cubicBezTo>
                <a:cubicBezTo>
                  <a:pt x="1810369" y="1250319"/>
                  <a:pt x="1810369" y="1250319"/>
                  <a:pt x="1810330" y="1251574"/>
                </a:cubicBezTo>
                <a:cubicBezTo>
                  <a:pt x="1810843" y="1252976"/>
                  <a:pt x="1811443" y="1254056"/>
                  <a:pt x="1811767" y="1255063"/>
                </a:cubicBezTo>
                <a:lnTo>
                  <a:pt x="1811594" y="1255707"/>
                </a:lnTo>
                <a:lnTo>
                  <a:pt x="1813521" y="1257373"/>
                </a:lnTo>
                <a:cubicBezTo>
                  <a:pt x="1818232" y="1260821"/>
                  <a:pt x="1823698" y="1263665"/>
                  <a:pt x="1828800" y="1266757"/>
                </a:cubicBezTo>
                <a:lnTo>
                  <a:pt x="1830978" y="1265271"/>
                </a:lnTo>
                <a:cubicBezTo>
                  <a:pt x="1833565" y="1264470"/>
                  <a:pt x="1836620" y="1264137"/>
                  <a:pt x="1838711" y="1262972"/>
                </a:cubicBezTo>
                <a:cubicBezTo>
                  <a:pt x="1844357" y="1267361"/>
                  <a:pt x="1845011" y="1271561"/>
                  <a:pt x="1843404" y="1274236"/>
                </a:cubicBezTo>
                <a:lnTo>
                  <a:pt x="1841140" y="1276045"/>
                </a:lnTo>
                <a:lnTo>
                  <a:pt x="1843228" y="1278214"/>
                </a:lnTo>
                <a:cubicBezTo>
                  <a:pt x="1844515" y="1280053"/>
                  <a:pt x="1845468" y="1282034"/>
                  <a:pt x="1846056" y="1284262"/>
                </a:cubicBezTo>
                <a:cubicBezTo>
                  <a:pt x="1847321" y="1288396"/>
                  <a:pt x="1847507" y="1292125"/>
                  <a:pt x="1846645" y="1295344"/>
                </a:cubicBezTo>
                <a:lnTo>
                  <a:pt x="1843576" y="1300158"/>
                </a:lnTo>
                <a:lnTo>
                  <a:pt x="1843824" y="1300338"/>
                </a:lnTo>
                <a:cubicBezTo>
                  <a:pt x="1845273" y="1302682"/>
                  <a:pt x="1844192" y="1305612"/>
                  <a:pt x="1840809" y="1308271"/>
                </a:cubicBezTo>
                <a:lnTo>
                  <a:pt x="1837395" y="1305516"/>
                </a:lnTo>
                <a:lnTo>
                  <a:pt x="1831933" y="1308193"/>
                </a:lnTo>
                <a:lnTo>
                  <a:pt x="1825432" y="1309210"/>
                </a:lnTo>
                <a:lnTo>
                  <a:pt x="1823215" y="1311952"/>
                </a:lnTo>
                <a:lnTo>
                  <a:pt x="1827843" y="1312386"/>
                </a:lnTo>
                <a:cubicBezTo>
                  <a:pt x="1829446" y="1313047"/>
                  <a:pt x="1831210" y="1314209"/>
                  <a:pt x="1833108" y="1315983"/>
                </a:cubicBezTo>
                <a:cubicBezTo>
                  <a:pt x="1832188" y="1319416"/>
                  <a:pt x="1824663" y="1323150"/>
                  <a:pt x="1819988" y="1321782"/>
                </a:cubicBezTo>
                <a:cubicBezTo>
                  <a:pt x="1818644" y="1320157"/>
                  <a:pt x="1817299" y="1318532"/>
                  <a:pt x="1815956" y="1316907"/>
                </a:cubicBezTo>
                <a:lnTo>
                  <a:pt x="1817467" y="1315701"/>
                </a:lnTo>
                <a:lnTo>
                  <a:pt x="1810885" y="1319227"/>
                </a:lnTo>
                <a:cubicBezTo>
                  <a:pt x="1802731" y="1321988"/>
                  <a:pt x="1792853" y="1322331"/>
                  <a:pt x="1783121" y="1318804"/>
                </a:cubicBezTo>
                <a:cubicBezTo>
                  <a:pt x="1778284" y="1316932"/>
                  <a:pt x="1773401" y="1314129"/>
                  <a:pt x="1768528" y="1310179"/>
                </a:cubicBezTo>
                <a:cubicBezTo>
                  <a:pt x="1765725" y="1307358"/>
                  <a:pt x="1763868" y="1304330"/>
                  <a:pt x="1762344" y="1301161"/>
                </a:cubicBezTo>
                <a:lnTo>
                  <a:pt x="1760662" y="1294156"/>
                </a:lnTo>
                <a:lnTo>
                  <a:pt x="1758460" y="1292415"/>
                </a:lnTo>
                <a:lnTo>
                  <a:pt x="1760349" y="1292002"/>
                </a:lnTo>
                <a:lnTo>
                  <a:pt x="1759020" y="1285896"/>
                </a:lnTo>
                <a:cubicBezTo>
                  <a:pt x="1758100" y="1280474"/>
                  <a:pt x="1757019" y="1274549"/>
                  <a:pt x="1754525" y="1268361"/>
                </a:cubicBezTo>
                <a:lnTo>
                  <a:pt x="1757292" y="1269103"/>
                </a:lnTo>
                <a:lnTo>
                  <a:pt x="1755978" y="1267369"/>
                </a:lnTo>
                <a:cubicBezTo>
                  <a:pt x="1754339" y="1264631"/>
                  <a:pt x="1753530" y="1262114"/>
                  <a:pt x="1753770" y="1260109"/>
                </a:cubicBezTo>
                <a:cubicBezTo>
                  <a:pt x="1754086" y="1258928"/>
                  <a:pt x="1754957" y="1257896"/>
                  <a:pt x="1756600" y="1257301"/>
                </a:cubicBezTo>
                <a:cubicBezTo>
                  <a:pt x="1763063" y="1254203"/>
                  <a:pt x="1773360" y="1256732"/>
                  <a:pt x="1781790" y="1262902"/>
                </a:cubicBezTo>
                <a:lnTo>
                  <a:pt x="1783219" y="1264205"/>
                </a:lnTo>
                <a:lnTo>
                  <a:pt x="1794055" y="1253652"/>
                </a:lnTo>
                <a:lnTo>
                  <a:pt x="1796940" y="1250631"/>
                </a:lnTo>
                <a:lnTo>
                  <a:pt x="1795873" y="1249080"/>
                </a:lnTo>
                <a:cubicBezTo>
                  <a:pt x="1795722" y="1247429"/>
                  <a:pt x="1795571" y="1245779"/>
                  <a:pt x="1793950" y="1244079"/>
                </a:cubicBezTo>
                <a:close/>
                <a:moveTo>
                  <a:pt x="5813766" y="1242974"/>
                </a:moveTo>
                <a:cubicBezTo>
                  <a:pt x="5820626" y="1241031"/>
                  <a:pt x="5828263" y="1241583"/>
                  <a:pt x="5834056" y="1246528"/>
                </a:cubicBezTo>
                <a:cubicBezTo>
                  <a:pt x="5831049" y="1256646"/>
                  <a:pt x="5824299" y="1266338"/>
                  <a:pt x="5806637" y="1271380"/>
                </a:cubicBezTo>
                <a:lnTo>
                  <a:pt x="5804958" y="1269896"/>
                </a:lnTo>
                <a:lnTo>
                  <a:pt x="5803245" y="1275187"/>
                </a:lnTo>
                <a:cubicBezTo>
                  <a:pt x="5799694" y="1275155"/>
                  <a:pt x="5795996" y="1270139"/>
                  <a:pt x="5793326" y="1267929"/>
                </a:cubicBezTo>
                <a:cubicBezTo>
                  <a:pt x="5795274" y="1267301"/>
                  <a:pt x="5796916" y="1266706"/>
                  <a:pt x="5795561" y="1266228"/>
                </a:cubicBezTo>
                <a:lnTo>
                  <a:pt x="5800334" y="1266127"/>
                </a:lnTo>
                <a:lnTo>
                  <a:pt x="5797168" y="1263554"/>
                </a:lnTo>
                <a:cubicBezTo>
                  <a:pt x="5795863" y="1260674"/>
                  <a:pt x="5796450" y="1257380"/>
                  <a:pt x="5798142" y="1254384"/>
                </a:cubicBezTo>
                <a:cubicBezTo>
                  <a:pt x="5800824" y="1249353"/>
                  <a:pt x="5806907" y="1244916"/>
                  <a:pt x="5813766" y="1242974"/>
                </a:cubicBezTo>
                <a:close/>
                <a:moveTo>
                  <a:pt x="5576994" y="1242969"/>
                </a:moveTo>
                <a:cubicBezTo>
                  <a:pt x="5580200" y="1244287"/>
                  <a:pt x="5582772" y="1247966"/>
                  <a:pt x="5582927" y="1255138"/>
                </a:cubicBezTo>
                <a:lnTo>
                  <a:pt x="5582251" y="1262087"/>
                </a:lnTo>
                <a:lnTo>
                  <a:pt x="5588436" y="1262249"/>
                </a:lnTo>
                <a:cubicBezTo>
                  <a:pt x="5590197" y="1266746"/>
                  <a:pt x="5590495" y="1282236"/>
                  <a:pt x="5581381" y="1280829"/>
                </a:cubicBezTo>
                <a:cubicBezTo>
                  <a:pt x="5579969" y="1280566"/>
                  <a:pt x="5578614" y="1280088"/>
                  <a:pt x="5576821" y="1279033"/>
                </a:cubicBezTo>
                <a:cubicBezTo>
                  <a:pt x="5578047" y="1275566"/>
                  <a:pt x="5578165" y="1271802"/>
                  <a:pt x="5578388" y="1268757"/>
                </a:cubicBezTo>
                <a:lnTo>
                  <a:pt x="5580656" y="1263615"/>
                </a:lnTo>
                <a:lnTo>
                  <a:pt x="5570996" y="1264247"/>
                </a:lnTo>
                <a:cubicBezTo>
                  <a:pt x="5561843" y="1264094"/>
                  <a:pt x="5557484" y="1261546"/>
                  <a:pt x="5556601" y="1258205"/>
                </a:cubicBezTo>
                <a:cubicBezTo>
                  <a:pt x="5554729" y="1250803"/>
                  <a:pt x="5568704" y="1239597"/>
                  <a:pt x="5576994" y="1242969"/>
                </a:cubicBezTo>
                <a:close/>
                <a:moveTo>
                  <a:pt x="5239871" y="1242683"/>
                </a:moveTo>
                <a:cubicBezTo>
                  <a:pt x="5246778" y="1245683"/>
                  <a:pt x="5249293" y="1249578"/>
                  <a:pt x="5245128" y="1252947"/>
                </a:cubicBezTo>
                <a:cubicBezTo>
                  <a:pt x="5241132" y="1250151"/>
                  <a:pt x="5238210" y="1251093"/>
                  <a:pt x="5234491" y="1248372"/>
                </a:cubicBezTo>
                <a:cubicBezTo>
                  <a:pt x="5237175" y="1246101"/>
                  <a:pt x="5238390" y="1243781"/>
                  <a:pt x="5239871" y="1242683"/>
                </a:cubicBezTo>
                <a:close/>
                <a:moveTo>
                  <a:pt x="1689281" y="1241793"/>
                </a:moveTo>
                <a:cubicBezTo>
                  <a:pt x="1684763" y="1244263"/>
                  <a:pt x="1673422" y="1246744"/>
                  <a:pt x="1671381" y="1245508"/>
                </a:cubicBezTo>
                <a:cubicBezTo>
                  <a:pt x="1674665" y="1244318"/>
                  <a:pt x="1685741" y="1240615"/>
                  <a:pt x="1689281" y="1241793"/>
                </a:cubicBezTo>
                <a:close/>
                <a:moveTo>
                  <a:pt x="1092792" y="1241012"/>
                </a:moveTo>
                <a:cubicBezTo>
                  <a:pt x="1094440" y="1242604"/>
                  <a:pt x="1095814" y="1244122"/>
                  <a:pt x="1095764" y="1246524"/>
                </a:cubicBezTo>
                <a:cubicBezTo>
                  <a:pt x="1092335" y="1248251"/>
                  <a:pt x="1087642" y="1245843"/>
                  <a:pt x="1085914" y="1246759"/>
                </a:cubicBezTo>
                <a:cubicBezTo>
                  <a:pt x="1085952" y="1245505"/>
                  <a:pt x="1086003" y="1243103"/>
                  <a:pt x="1082941" y="1241248"/>
                </a:cubicBezTo>
                <a:cubicBezTo>
                  <a:pt x="1086370" y="1239521"/>
                  <a:pt x="1089770" y="1237903"/>
                  <a:pt x="1092792" y="1241012"/>
                </a:cubicBezTo>
                <a:close/>
                <a:moveTo>
                  <a:pt x="1243286" y="1240512"/>
                </a:moveTo>
                <a:cubicBezTo>
                  <a:pt x="1252144" y="1239551"/>
                  <a:pt x="1265023" y="1244611"/>
                  <a:pt x="1266656" y="1245164"/>
                </a:cubicBezTo>
                <a:cubicBezTo>
                  <a:pt x="1266368" y="1246236"/>
                  <a:pt x="1266368" y="1246236"/>
                  <a:pt x="1266368" y="1246236"/>
                </a:cubicBezTo>
                <a:cubicBezTo>
                  <a:pt x="1261646" y="1243936"/>
                  <a:pt x="1255117" y="1245061"/>
                  <a:pt x="1248943" y="1243752"/>
                </a:cubicBezTo>
                <a:cubicBezTo>
                  <a:pt x="1246948" y="1243448"/>
                  <a:pt x="1245039" y="1242821"/>
                  <a:pt x="1242999" y="1241584"/>
                </a:cubicBezTo>
                <a:cubicBezTo>
                  <a:pt x="1242999" y="1241584"/>
                  <a:pt x="1242999" y="1241584"/>
                  <a:pt x="1244660" y="1242029"/>
                </a:cubicBezTo>
                <a:cubicBezTo>
                  <a:pt x="1244660" y="1242029"/>
                  <a:pt x="1242999" y="1241584"/>
                  <a:pt x="1243286" y="1240512"/>
                </a:cubicBezTo>
                <a:close/>
                <a:moveTo>
                  <a:pt x="898423" y="1240337"/>
                </a:moveTo>
                <a:cubicBezTo>
                  <a:pt x="905570" y="1241331"/>
                  <a:pt x="908031" y="1242107"/>
                  <a:pt x="914069" y="1246139"/>
                </a:cubicBezTo>
                <a:cubicBezTo>
                  <a:pt x="914548" y="1254317"/>
                  <a:pt x="909264" y="1258538"/>
                  <a:pt x="903704" y="1262683"/>
                </a:cubicBezTo>
                <a:cubicBezTo>
                  <a:pt x="900853" y="1262264"/>
                  <a:pt x="898638" y="1261670"/>
                  <a:pt x="897008" y="1261119"/>
                </a:cubicBezTo>
                <a:cubicBezTo>
                  <a:pt x="884813" y="1256816"/>
                  <a:pt x="895725" y="1247090"/>
                  <a:pt x="898423" y="1240337"/>
                </a:cubicBezTo>
                <a:close/>
                <a:moveTo>
                  <a:pt x="5492865" y="1239286"/>
                </a:moveTo>
                <a:cubicBezTo>
                  <a:pt x="5500257" y="1243797"/>
                  <a:pt x="5504354" y="1250645"/>
                  <a:pt x="5495704" y="1253043"/>
                </a:cubicBezTo>
                <a:cubicBezTo>
                  <a:pt x="5490924" y="1250957"/>
                  <a:pt x="5485225" y="1243450"/>
                  <a:pt x="5486642" y="1240379"/>
                </a:cubicBezTo>
                <a:cubicBezTo>
                  <a:pt x="5488808" y="1240040"/>
                  <a:pt x="5490975" y="1239700"/>
                  <a:pt x="5492865" y="1239286"/>
                </a:cubicBezTo>
                <a:close/>
                <a:moveTo>
                  <a:pt x="1713221" y="1238778"/>
                </a:moveTo>
                <a:lnTo>
                  <a:pt x="1716300" y="1241674"/>
                </a:lnTo>
                <a:lnTo>
                  <a:pt x="1717677" y="1239858"/>
                </a:lnTo>
                <a:cubicBezTo>
                  <a:pt x="1719326" y="1241449"/>
                  <a:pt x="1724027" y="1246043"/>
                  <a:pt x="1724027" y="1246043"/>
                </a:cubicBezTo>
                <a:cubicBezTo>
                  <a:pt x="1725715" y="1246381"/>
                  <a:pt x="1725686" y="1246488"/>
                  <a:pt x="1727089" y="1247899"/>
                </a:cubicBezTo>
                <a:cubicBezTo>
                  <a:pt x="1725359" y="1248817"/>
                  <a:pt x="1725637" y="1248891"/>
                  <a:pt x="1723976" y="1248446"/>
                </a:cubicBezTo>
                <a:cubicBezTo>
                  <a:pt x="1722327" y="1246853"/>
                  <a:pt x="1722366" y="1245598"/>
                  <a:pt x="1720688" y="1244114"/>
                </a:cubicBezTo>
                <a:cubicBezTo>
                  <a:pt x="1717289" y="1245734"/>
                  <a:pt x="1719255" y="1246146"/>
                  <a:pt x="1717605" y="1244553"/>
                </a:cubicBezTo>
                <a:cubicBezTo>
                  <a:pt x="1717605" y="1244553"/>
                  <a:pt x="1717577" y="1244661"/>
                  <a:pt x="1715927" y="1243068"/>
                </a:cubicBezTo>
                <a:lnTo>
                  <a:pt x="1715737" y="1242673"/>
                </a:lnTo>
                <a:lnTo>
                  <a:pt x="1715402" y="1242813"/>
                </a:lnTo>
                <a:lnTo>
                  <a:pt x="1715927" y="1243068"/>
                </a:lnTo>
                <a:lnTo>
                  <a:pt x="1714044" y="1254523"/>
                </a:lnTo>
                <a:lnTo>
                  <a:pt x="1715837" y="1255579"/>
                </a:lnTo>
                <a:cubicBezTo>
                  <a:pt x="1715266" y="1254391"/>
                  <a:pt x="1717365" y="1255413"/>
                  <a:pt x="1717365" y="1255413"/>
                </a:cubicBezTo>
                <a:cubicBezTo>
                  <a:pt x="1717365" y="1255413"/>
                  <a:pt x="1717365" y="1255413"/>
                  <a:pt x="1718751" y="1252450"/>
                </a:cubicBezTo>
                <a:cubicBezTo>
                  <a:pt x="1718751" y="1252450"/>
                  <a:pt x="1723358" y="1246325"/>
                  <a:pt x="1733613" y="1250108"/>
                </a:cubicBezTo>
                <a:cubicBezTo>
                  <a:pt x="1733021" y="1251214"/>
                  <a:pt x="1740309" y="1255007"/>
                  <a:pt x="1743654" y="1259123"/>
                </a:cubicBezTo>
                <a:lnTo>
                  <a:pt x="1744284" y="1260097"/>
                </a:lnTo>
                <a:lnTo>
                  <a:pt x="1745742" y="1261292"/>
                </a:lnTo>
                <a:cubicBezTo>
                  <a:pt x="1748250" y="1263000"/>
                  <a:pt x="1750205" y="1264558"/>
                  <a:pt x="1751474" y="1265358"/>
                </a:cubicBezTo>
                <a:cubicBezTo>
                  <a:pt x="1751435" y="1266613"/>
                  <a:pt x="1751435" y="1266613"/>
                  <a:pt x="1751435" y="1266613"/>
                </a:cubicBezTo>
                <a:cubicBezTo>
                  <a:pt x="1750564" y="1267644"/>
                  <a:pt x="1749095" y="1267596"/>
                  <a:pt x="1747493" y="1266937"/>
                </a:cubicBezTo>
                <a:lnTo>
                  <a:pt x="1745480" y="1265592"/>
                </a:lnTo>
                <a:lnTo>
                  <a:pt x="1744854" y="1270140"/>
                </a:lnTo>
                <a:cubicBezTo>
                  <a:pt x="1742688" y="1270480"/>
                  <a:pt x="1740873" y="1271718"/>
                  <a:pt x="1738315" y="1272413"/>
                </a:cubicBezTo>
                <a:lnTo>
                  <a:pt x="1735565" y="1272711"/>
                </a:lnTo>
                <a:lnTo>
                  <a:pt x="1739439" y="1273749"/>
                </a:lnTo>
                <a:cubicBezTo>
                  <a:pt x="1741175" y="1275019"/>
                  <a:pt x="1742796" y="1276718"/>
                  <a:pt x="1744244" y="1279061"/>
                </a:cubicBezTo>
                <a:cubicBezTo>
                  <a:pt x="1739675" y="1283932"/>
                  <a:pt x="1734102" y="1292559"/>
                  <a:pt x="1723660" y="1293901"/>
                </a:cubicBezTo>
                <a:lnTo>
                  <a:pt x="1721665" y="1293596"/>
                </a:lnTo>
                <a:lnTo>
                  <a:pt x="1719936" y="1294514"/>
                </a:lnTo>
                <a:lnTo>
                  <a:pt x="1719879" y="1294727"/>
                </a:lnTo>
                <a:cubicBezTo>
                  <a:pt x="1718190" y="1294390"/>
                  <a:pt x="1718179" y="1295537"/>
                  <a:pt x="1719839" y="1295983"/>
                </a:cubicBezTo>
                <a:cubicBezTo>
                  <a:pt x="1717996" y="1297329"/>
                  <a:pt x="1716762" y="1298608"/>
                  <a:pt x="1715455" y="1299063"/>
                </a:cubicBezTo>
                <a:cubicBezTo>
                  <a:pt x="1714815" y="1299237"/>
                  <a:pt x="1714204" y="1299303"/>
                  <a:pt x="1713375" y="1299080"/>
                </a:cubicBezTo>
                <a:cubicBezTo>
                  <a:pt x="1712820" y="1298932"/>
                  <a:pt x="1712077" y="1298388"/>
                  <a:pt x="1711391" y="1297629"/>
                </a:cubicBezTo>
                <a:cubicBezTo>
                  <a:pt x="1708052" y="1295700"/>
                  <a:pt x="1709792" y="1293635"/>
                  <a:pt x="1706770" y="1290525"/>
                </a:cubicBezTo>
                <a:cubicBezTo>
                  <a:pt x="1700409" y="1285487"/>
                  <a:pt x="1689826" y="1292885"/>
                  <a:pt x="1677134" y="1282699"/>
                </a:cubicBezTo>
                <a:cubicBezTo>
                  <a:pt x="1680533" y="1281080"/>
                  <a:pt x="1674253" y="1273532"/>
                  <a:pt x="1679380" y="1270996"/>
                </a:cubicBezTo>
                <a:cubicBezTo>
                  <a:pt x="1693333" y="1262085"/>
                  <a:pt x="1698045" y="1265533"/>
                  <a:pt x="1709415" y="1271799"/>
                </a:cubicBezTo>
                <a:cubicBezTo>
                  <a:pt x="1707754" y="1271354"/>
                  <a:pt x="1709375" y="1273053"/>
                  <a:pt x="1709375" y="1273053"/>
                </a:cubicBezTo>
                <a:cubicBezTo>
                  <a:pt x="1712674" y="1276238"/>
                  <a:pt x="1714543" y="1269263"/>
                  <a:pt x="1719530" y="1272785"/>
                </a:cubicBezTo>
                <a:lnTo>
                  <a:pt x="1720350" y="1274153"/>
                </a:lnTo>
                <a:lnTo>
                  <a:pt x="1720903" y="1274302"/>
                </a:lnTo>
                <a:lnTo>
                  <a:pt x="1727501" y="1271815"/>
                </a:lnTo>
                <a:lnTo>
                  <a:pt x="1726366" y="1271625"/>
                </a:lnTo>
                <a:cubicBezTo>
                  <a:pt x="1714040" y="1266713"/>
                  <a:pt x="1717227" y="1258137"/>
                  <a:pt x="1715700" y="1258303"/>
                </a:cubicBezTo>
                <a:lnTo>
                  <a:pt x="1714374" y="1257718"/>
                </a:lnTo>
                <a:lnTo>
                  <a:pt x="1714553" y="1259261"/>
                </a:lnTo>
                <a:cubicBezTo>
                  <a:pt x="1714877" y="1260268"/>
                  <a:pt x="1715039" y="1260771"/>
                  <a:pt x="1715039" y="1260771"/>
                </a:cubicBezTo>
                <a:cubicBezTo>
                  <a:pt x="1713299" y="1262835"/>
                  <a:pt x="1711611" y="1262497"/>
                  <a:pt x="1713299" y="1262835"/>
                </a:cubicBezTo>
                <a:cubicBezTo>
                  <a:pt x="1709900" y="1264453"/>
                  <a:pt x="1706213" y="1267146"/>
                  <a:pt x="1703152" y="1265290"/>
                </a:cubicBezTo>
                <a:cubicBezTo>
                  <a:pt x="1696191" y="1259170"/>
                  <a:pt x="1701944" y="1252087"/>
                  <a:pt x="1706148" y="1247463"/>
                </a:cubicBezTo>
                <a:lnTo>
                  <a:pt x="1709063" y="1244334"/>
                </a:lnTo>
                <a:lnTo>
                  <a:pt x="1705910" y="1240614"/>
                </a:lnTo>
                <a:cubicBezTo>
                  <a:pt x="1705900" y="1238427"/>
                  <a:pt x="1709986" y="1237566"/>
                  <a:pt x="1713221" y="1238778"/>
                </a:cubicBezTo>
                <a:close/>
                <a:moveTo>
                  <a:pt x="5173706" y="1237259"/>
                </a:moveTo>
                <a:cubicBezTo>
                  <a:pt x="5184878" y="1240943"/>
                  <a:pt x="5205451" y="1244960"/>
                  <a:pt x="5205761" y="1259303"/>
                </a:cubicBezTo>
                <a:cubicBezTo>
                  <a:pt x="5202447" y="1260601"/>
                  <a:pt x="5197980" y="1260669"/>
                  <a:pt x="5193381" y="1260126"/>
                </a:cubicBezTo>
                <a:cubicBezTo>
                  <a:pt x="5189086" y="1259551"/>
                  <a:pt x="5184134" y="1258108"/>
                  <a:pt x="5180185" y="1256245"/>
                </a:cubicBezTo>
                <a:cubicBezTo>
                  <a:pt x="5171981" y="1252552"/>
                  <a:pt x="5166098" y="1246836"/>
                  <a:pt x="5168977" y="1241628"/>
                </a:cubicBezTo>
                <a:cubicBezTo>
                  <a:pt x="5169685" y="1240091"/>
                  <a:pt x="5171252" y="1238671"/>
                  <a:pt x="5173706" y="1237259"/>
                </a:cubicBezTo>
                <a:close/>
                <a:moveTo>
                  <a:pt x="808357" y="1236674"/>
                </a:moveTo>
                <a:cubicBezTo>
                  <a:pt x="815580" y="1238495"/>
                  <a:pt x="813787" y="1237439"/>
                  <a:pt x="820014" y="1241867"/>
                </a:cubicBezTo>
                <a:cubicBezTo>
                  <a:pt x="817274" y="1244354"/>
                  <a:pt x="814502" y="1246946"/>
                  <a:pt x="811760" y="1249432"/>
                </a:cubicBezTo>
                <a:cubicBezTo>
                  <a:pt x="809395" y="1247188"/>
                  <a:pt x="805799" y="1246225"/>
                  <a:pt x="803728" y="1245094"/>
                </a:cubicBezTo>
                <a:cubicBezTo>
                  <a:pt x="802873" y="1241645"/>
                  <a:pt x="803811" y="1239251"/>
                  <a:pt x="808357" y="1236674"/>
                </a:cubicBezTo>
                <a:close/>
                <a:moveTo>
                  <a:pt x="1785732" y="1236012"/>
                </a:moveTo>
                <a:cubicBezTo>
                  <a:pt x="1785732" y="1236012"/>
                  <a:pt x="1790913" y="1236596"/>
                  <a:pt x="1790913" y="1236596"/>
                </a:cubicBezTo>
                <a:cubicBezTo>
                  <a:pt x="1792229" y="1238328"/>
                  <a:pt x="1792229" y="1238328"/>
                  <a:pt x="1790597" y="1237776"/>
                </a:cubicBezTo>
                <a:cubicBezTo>
                  <a:pt x="1791597" y="1240689"/>
                  <a:pt x="1791310" y="1241762"/>
                  <a:pt x="1790716" y="1242867"/>
                </a:cubicBezTo>
                <a:cubicBezTo>
                  <a:pt x="1789742" y="1243182"/>
                  <a:pt x="1788302" y="1243026"/>
                  <a:pt x="1786946" y="1242548"/>
                </a:cubicBezTo>
                <a:cubicBezTo>
                  <a:pt x="1785591" y="1242070"/>
                  <a:pt x="1784046" y="1241196"/>
                  <a:pt x="1782587" y="1240000"/>
                </a:cubicBezTo>
                <a:cubicBezTo>
                  <a:pt x="1784811" y="1239446"/>
                  <a:pt x="1783785" y="1236640"/>
                  <a:pt x="1785732" y="1236012"/>
                </a:cubicBezTo>
                <a:close/>
                <a:moveTo>
                  <a:pt x="1478868" y="1234412"/>
                </a:moveTo>
                <a:cubicBezTo>
                  <a:pt x="1482741" y="1234522"/>
                  <a:pt x="1486350" y="1235719"/>
                  <a:pt x="1489360" y="1238596"/>
                </a:cubicBezTo>
                <a:cubicBezTo>
                  <a:pt x="1481206" y="1241356"/>
                  <a:pt x="1460158" y="1252392"/>
                  <a:pt x="1449758" y="1249145"/>
                </a:cubicBezTo>
                <a:cubicBezTo>
                  <a:pt x="1448404" y="1248667"/>
                  <a:pt x="1447135" y="1247867"/>
                  <a:pt x="1445953" y="1246745"/>
                </a:cubicBezTo>
                <a:cubicBezTo>
                  <a:pt x="1453264" y="1243529"/>
                  <a:pt x="1467252" y="1234080"/>
                  <a:pt x="1478868" y="1234412"/>
                </a:cubicBezTo>
                <a:close/>
                <a:moveTo>
                  <a:pt x="5664884" y="1230537"/>
                </a:moveTo>
                <a:cubicBezTo>
                  <a:pt x="5668874" y="1229349"/>
                  <a:pt x="5674427" y="1230204"/>
                  <a:pt x="5678538" y="1232572"/>
                </a:cubicBezTo>
                <a:cubicBezTo>
                  <a:pt x="5681352" y="1234245"/>
                  <a:pt x="5683411" y="1236522"/>
                  <a:pt x="5684104" y="1239468"/>
                </a:cubicBezTo>
                <a:cubicBezTo>
                  <a:pt x="5678394" y="1241964"/>
                  <a:pt x="5673007" y="1245465"/>
                  <a:pt x="5666862" y="1244048"/>
                </a:cubicBezTo>
                <a:cubicBezTo>
                  <a:pt x="5664896" y="1243636"/>
                  <a:pt x="5662826" y="1242507"/>
                  <a:pt x="5660624" y="1240766"/>
                </a:cubicBezTo>
                <a:cubicBezTo>
                  <a:pt x="5658472" y="1234958"/>
                  <a:pt x="5660896" y="1231726"/>
                  <a:pt x="5664884" y="1230537"/>
                </a:cubicBezTo>
                <a:close/>
                <a:moveTo>
                  <a:pt x="5940541" y="1229863"/>
                </a:moveTo>
                <a:cubicBezTo>
                  <a:pt x="5948386" y="1230470"/>
                  <a:pt x="5959809" y="1239857"/>
                  <a:pt x="5952989" y="1245390"/>
                </a:cubicBezTo>
                <a:cubicBezTo>
                  <a:pt x="5950794" y="1245836"/>
                  <a:pt x="5948321" y="1246209"/>
                  <a:pt x="5945716" y="1245970"/>
                </a:cubicBezTo>
                <a:cubicBezTo>
                  <a:pt x="5943111" y="1245733"/>
                  <a:pt x="5940343" y="1244991"/>
                  <a:pt x="5936756" y="1242880"/>
                </a:cubicBezTo>
                <a:cubicBezTo>
                  <a:pt x="5933976" y="1237765"/>
                  <a:pt x="5934924" y="1234224"/>
                  <a:pt x="5940541" y="1229863"/>
                </a:cubicBezTo>
                <a:close/>
                <a:moveTo>
                  <a:pt x="5694414" y="1228661"/>
                </a:moveTo>
                <a:cubicBezTo>
                  <a:pt x="5697095" y="1229724"/>
                  <a:pt x="5699384" y="1231143"/>
                  <a:pt x="5701033" y="1232734"/>
                </a:cubicBezTo>
                <a:lnTo>
                  <a:pt x="5701386" y="1233634"/>
                </a:lnTo>
                <a:lnTo>
                  <a:pt x="5709181" y="1236642"/>
                </a:lnTo>
                <a:cubicBezTo>
                  <a:pt x="5711746" y="1238134"/>
                  <a:pt x="5714168" y="1240163"/>
                  <a:pt x="5715836" y="1242796"/>
                </a:cubicBezTo>
                <a:cubicBezTo>
                  <a:pt x="5712302" y="1243804"/>
                  <a:pt x="5709525" y="1244210"/>
                  <a:pt x="5706615" y="1244004"/>
                </a:cubicBezTo>
                <a:lnTo>
                  <a:pt x="5703570" y="1243189"/>
                </a:lnTo>
                <a:lnTo>
                  <a:pt x="5702549" y="1251425"/>
                </a:lnTo>
                <a:lnTo>
                  <a:pt x="5698485" y="1258846"/>
                </a:lnTo>
                <a:lnTo>
                  <a:pt x="5703915" y="1259611"/>
                </a:lnTo>
                <a:cubicBezTo>
                  <a:pt x="5717420" y="1268980"/>
                  <a:pt x="5713147" y="1274965"/>
                  <a:pt x="5715188" y="1276202"/>
                </a:cubicBezTo>
                <a:cubicBezTo>
                  <a:pt x="5710660" y="1279820"/>
                  <a:pt x="5706854" y="1277419"/>
                  <a:pt x="5699746" y="1275170"/>
                </a:cubicBezTo>
                <a:cubicBezTo>
                  <a:pt x="5700501" y="1274566"/>
                  <a:pt x="5699348" y="1273338"/>
                  <a:pt x="5697889" y="1272142"/>
                </a:cubicBezTo>
                <a:lnTo>
                  <a:pt x="5695628" y="1270617"/>
                </a:lnTo>
                <a:lnTo>
                  <a:pt x="5691733" y="1271872"/>
                </a:lnTo>
                <a:cubicBezTo>
                  <a:pt x="5690033" y="1272682"/>
                  <a:pt x="5688495" y="1273995"/>
                  <a:pt x="5686784" y="1275951"/>
                </a:cubicBezTo>
                <a:cubicBezTo>
                  <a:pt x="5685088" y="1273427"/>
                  <a:pt x="5683669" y="1270977"/>
                  <a:pt x="5683108" y="1268642"/>
                </a:cubicBezTo>
                <a:cubicBezTo>
                  <a:pt x="5682271" y="1266232"/>
                  <a:pt x="5682321" y="1263830"/>
                  <a:pt x="5683201" y="1261651"/>
                </a:cubicBezTo>
                <a:lnTo>
                  <a:pt x="5693831" y="1264040"/>
                </a:lnTo>
                <a:lnTo>
                  <a:pt x="5693386" y="1261276"/>
                </a:lnTo>
                <a:cubicBezTo>
                  <a:pt x="5693368" y="1260236"/>
                  <a:pt x="5693932" y="1259236"/>
                  <a:pt x="5695050" y="1258386"/>
                </a:cubicBezTo>
                <a:lnTo>
                  <a:pt x="5697903" y="1258806"/>
                </a:lnTo>
                <a:lnTo>
                  <a:pt x="5690953" y="1251539"/>
                </a:lnTo>
                <a:cubicBezTo>
                  <a:pt x="5690001" y="1249558"/>
                  <a:pt x="5689603" y="1247726"/>
                  <a:pt x="5689232" y="1245787"/>
                </a:cubicBezTo>
                <a:cubicBezTo>
                  <a:pt x="5689092" y="1242990"/>
                  <a:pt x="5689591" y="1240019"/>
                  <a:pt x="5690644" y="1237196"/>
                </a:cubicBezTo>
                <a:lnTo>
                  <a:pt x="5690817" y="1236552"/>
                </a:lnTo>
                <a:lnTo>
                  <a:pt x="5686544" y="1233682"/>
                </a:lnTo>
                <a:cubicBezTo>
                  <a:pt x="5687910" y="1233013"/>
                  <a:pt x="5689800" y="1232599"/>
                  <a:pt x="5692463" y="1232623"/>
                </a:cubicBezTo>
                <a:lnTo>
                  <a:pt x="5692492" y="1232516"/>
                </a:lnTo>
                <a:close/>
                <a:moveTo>
                  <a:pt x="1654316" y="1228399"/>
                </a:moveTo>
                <a:cubicBezTo>
                  <a:pt x="1666893" y="1239015"/>
                  <a:pt x="1660625" y="1244696"/>
                  <a:pt x="1652475" y="1244122"/>
                </a:cubicBezTo>
                <a:cubicBezTo>
                  <a:pt x="1649842" y="1243992"/>
                  <a:pt x="1646826" y="1243068"/>
                  <a:pt x="1644317" y="1241361"/>
                </a:cubicBezTo>
                <a:cubicBezTo>
                  <a:pt x="1641037" y="1239217"/>
                  <a:pt x="1638436" y="1235645"/>
                  <a:pt x="1638259" y="1230767"/>
                </a:cubicBezTo>
                <a:cubicBezTo>
                  <a:pt x="1644142" y="1227629"/>
                  <a:pt x="1648789" y="1229104"/>
                  <a:pt x="1654316" y="1228399"/>
                </a:cubicBezTo>
                <a:close/>
                <a:moveTo>
                  <a:pt x="5637715" y="1225543"/>
                </a:moveTo>
                <a:cubicBezTo>
                  <a:pt x="5642551" y="1227414"/>
                  <a:pt x="5645650" y="1231349"/>
                  <a:pt x="5644068" y="1237250"/>
                </a:cubicBezTo>
                <a:cubicBezTo>
                  <a:pt x="5639856" y="1239687"/>
                  <a:pt x="5634692" y="1240143"/>
                  <a:pt x="5630426" y="1239461"/>
                </a:cubicBezTo>
                <a:cubicBezTo>
                  <a:pt x="5625913" y="1238596"/>
                  <a:pt x="5622327" y="1236485"/>
                  <a:pt x="5621023" y="1233605"/>
                </a:cubicBezTo>
                <a:cubicBezTo>
                  <a:pt x="5620042" y="1231732"/>
                  <a:pt x="5620063" y="1229438"/>
                  <a:pt x="5621612" y="1226978"/>
                </a:cubicBezTo>
                <a:cubicBezTo>
                  <a:pt x="5626550" y="1224046"/>
                  <a:pt x="5633155" y="1223746"/>
                  <a:pt x="5637715" y="1225543"/>
                </a:cubicBezTo>
                <a:close/>
                <a:moveTo>
                  <a:pt x="1474762" y="1224449"/>
                </a:moveTo>
                <a:cubicBezTo>
                  <a:pt x="1478227" y="1224803"/>
                  <a:pt x="1481927" y="1226485"/>
                  <a:pt x="1485913" y="1230427"/>
                </a:cubicBezTo>
                <a:cubicBezTo>
                  <a:pt x="1483722" y="1236395"/>
                  <a:pt x="1478522" y="1234772"/>
                  <a:pt x="1473350" y="1233041"/>
                </a:cubicBezTo>
                <a:cubicBezTo>
                  <a:pt x="1476046" y="1229623"/>
                  <a:pt x="1468862" y="1226548"/>
                  <a:pt x="1474762" y="1224449"/>
                </a:cubicBezTo>
                <a:close/>
                <a:moveTo>
                  <a:pt x="1275487" y="1223824"/>
                </a:moveTo>
                <a:cubicBezTo>
                  <a:pt x="1279015" y="1222830"/>
                  <a:pt x="1283921" y="1223339"/>
                  <a:pt x="1286567" y="1225083"/>
                </a:cubicBezTo>
                <a:cubicBezTo>
                  <a:pt x="1288261" y="1230942"/>
                  <a:pt x="1279075" y="1234231"/>
                  <a:pt x="1272664" y="1231593"/>
                </a:cubicBezTo>
                <a:cubicBezTo>
                  <a:pt x="1269806" y="1227319"/>
                  <a:pt x="1271958" y="1224820"/>
                  <a:pt x="1275487" y="1223824"/>
                </a:cubicBezTo>
                <a:close/>
                <a:moveTo>
                  <a:pt x="1832312" y="1223767"/>
                </a:moveTo>
                <a:cubicBezTo>
                  <a:pt x="1831575" y="1225411"/>
                  <a:pt x="1830809" y="1227161"/>
                  <a:pt x="1830045" y="1228910"/>
                </a:cubicBezTo>
                <a:lnTo>
                  <a:pt x="1826986" y="1232576"/>
                </a:lnTo>
                <a:lnTo>
                  <a:pt x="1827510" y="1232832"/>
                </a:lnTo>
                <a:cubicBezTo>
                  <a:pt x="1834292" y="1237409"/>
                  <a:pt x="1839897" y="1243051"/>
                  <a:pt x="1842908" y="1247307"/>
                </a:cubicBezTo>
                <a:cubicBezTo>
                  <a:pt x="1838776" y="1247235"/>
                  <a:pt x="1834568" y="1246338"/>
                  <a:pt x="1830199" y="1244937"/>
                </a:cubicBezTo>
                <a:cubicBezTo>
                  <a:pt x="1817729" y="1240560"/>
                  <a:pt x="1806553" y="1231356"/>
                  <a:pt x="1804231" y="1224523"/>
                </a:cubicBezTo>
                <a:cubicBezTo>
                  <a:pt x="1808364" y="1224597"/>
                  <a:pt x="1812544" y="1225601"/>
                  <a:pt x="1816331" y="1226961"/>
                </a:cubicBezTo>
                <a:lnTo>
                  <a:pt x="1826738" y="1232395"/>
                </a:lnTo>
                <a:lnTo>
                  <a:pt x="1826695" y="1228128"/>
                </a:lnTo>
                <a:cubicBezTo>
                  <a:pt x="1827126" y="1226518"/>
                  <a:pt x="1828416" y="1225024"/>
                  <a:pt x="1830365" y="1224397"/>
                </a:cubicBezTo>
                <a:cubicBezTo>
                  <a:pt x="1830365" y="1224397"/>
                  <a:pt x="1830365" y="1224397"/>
                  <a:pt x="1832312" y="1223767"/>
                </a:cubicBezTo>
                <a:close/>
                <a:moveTo>
                  <a:pt x="1132890" y="1220448"/>
                </a:moveTo>
                <a:cubicBezTo>
                  <a:pt x="1134759" y="1220805"/>
                  <a:pt x="1136736" y="1221449"/>
                  <a:pt x="1137499" y="1221366"/>
                </a:cubicBezTo>
                <a:cubicBezTo>
                  <a:pt x="1139627" y="1222282"/>
                  <a:pt x="1141753" y="1223196"/>
                  <a:pt x="1140770" y="1224657"/>
                </a:cubicBezTo>
                <a:cubicBezTo>
                  <a:pt x="1139508" y="1226044"/>
                  <a:pt x="1140080" y="1227233"/>
                  <a:pt x="1136148" y="1226409"/>
                </a:cubicBezTo>
                <a:cubicBezTo>
                  <a:pt x="1134592" y="1226683"/>
                  <a:pt x="1132493" y="1225660"/>
                  <a:pt x="1130938" y="1225933"/>
                </a:cubicBezTo>
                <a:cubicBezTo>
                  <a:pt x="1130938" y="1225933"/>
                  <a:pt x="1130252" y="1225174"/>
                  <a:pt x="1129622" y="1224201"/>
                </a:cubicBezTo>
                <a:cubicBezTo>
                  <a:pt x="1128994" y="1223227"/>
                  <a:pt x="1128423" y="1222039"/>
                  <a:pt x="1128929" y="1221255"/>
                </a:cubicBezTo>
                <a:cubicBezTo>
                  <a:pt x="1129259" y="1220021"/>
                  <a:pt x="1131021" y="1220091"/>
                  <a:pt x="1132890" y="1220448"/>
                </a:cubicBezTo>
                <a:close/>
                <a:moveTo>
                  <a:pt x="5999803" y="1220098"/>
                </a:moveTo>
                <a:cubicBezTo>
                  <a:pt x="6004517" y="1220212"/>
                  <a:pt x="6008726" y="1221108"/>
                  <a:pt x="6012093" y="1222931"/>
                </a:cubicBezTo>
                <a:cubicBezTo>
                  <a:pt x="6015183" y="1224679"/>
                  <a:pt x="6017681" y="1227533"/>
                  <a:pt x="6018755" y="1231270"/>
                </a:cubicBezTo>
                <a:cubicBezTo>
                  <a:pt x="6014770" y="1236183"/>
                  <a:pt x="6003644" y="1233432"/>
                  <a:pt x="5997689" y="1232411"/>
                </a:cubicBezTo>
                <a:cubicBezTo>
                  <a:pt x="5997208" y="1227568"/>
                  <a:pt x="5996478" y="1222541"/>
                  <a:pt x="5999803" y="1220098"/>
                </a:cubicBezTo>
                <a:close/>
                <a:moveTo>
                  <a:pt x="1555675" y="1219105"/>
                </a:moveTo>
                <a:cubicBezTo>
                  <a:pt x="1584598" y="1217424"/>
                  <a:pt x="1624887" y="1222009"/>
                  <a:pt x="1645166" y="1242624"/>
                </a:cubicBezTo>
                <a:cubicBezTo>
                  <a:pt x="1661983" y="1259549"/>
                  <a:pt x="1651185" y="1272181"/>
                  <a:pt x="1654200" y="1290814"/>
                </a:cubicBezTo>
                <a:cubicBezTo>
                  <a:pt x="1633752" y="1294075"/>
                  <a:pt x="1634306" y="1303079"/>
                  <a:pt x="1628610" y="1309948"/>
                </a:cubicBezTo>
                <a:cubicBezTo>
                  <a:pt x="1613293" y="1307339"/>
                  <a:pt x="1595239" y="1312736"/>
                  <a:pt x="1578174" y="1313339"/>
                </a:cubicBezTo>
                <a:cubicBezTo>
                  <a:pt x="1569818" y="1307995"/>
                  <a:pt x="1561395" y="1304013"/>
                  <a:pt x="1552972" y="1300032"/>
                </a:cubicBezTo>
                <a:lnTo>
                  <a:pt x="1539503" y="1292742"/>
                </a:lnTo>
                <a:lnTo>
                  <a:pt x="1534784" y="1295962"/>
                </a:lnTo>
                <a:lnTo>
                  <a:pt x="1532740" y="1289205"/>
                </a:lnTo>
                <a:lnTo>
                  <a:pt x="1527799" y="1286616"/>
                </a:lnTo>
                <a:cubicBezTo>
                  <a:pt x="1530746" y="1271190"/>
                  <a:pt x="1508836" y="1250024"/>
                  <a:pt x="1523807" y="1236210"/>
                </a:cubicBezTo>
                <a:cubicBezTo>
                  <a:pt x="1544255" y="1232950"/>
                  <a:pt x="1545333" y="1224499"/>
                  <a:pt x="1555675" y="1219105"/>
                </a:cubicBezTo>
                <a:close/>
                <a:moveTo>
                  <a:pt x="5815456" y="1218543"/>
                </a:moveTo>
                <a:cubicBezTo>
                  <a:pt x="5817814" y="1218599"/>
                  <a:pt x="5820171" y="1218656"/>
                  <a:pt x="5822528" y="1218713"/>
                </a:cubicBezTo>
                <a:cubicBezTo>
                  <a:pt x="5824677" y="1226189"/>
                  <a:pt x="5831211" y="1230584"/>
                  <a:pt x="5833180" y="1236517"/>
                </a:cubicBezTo>
                <a:cubicBezTo>
                  <a:pt x="5826596" y="1234523"/>
                  <a:pt x="5816588" y="1230922"/>
                  <a:pt x="5814562" y="1225203"/>
                </a:cubicBezTo>
                <a:cubicBezTo>
                  <a:pt x="5813886" y="1223298"/>
                  <a:pt x="5813908" y="1221003"/>
                  <a:pt x="5815456" y="1218543"/>
                </a:cubicBezTo>
                <a:close/>
                <a:moveTo>
                  <a:pt x="5634870" y="1218455"/>
                </a:moveTo>
                <a:cubicBezTo>
                  <a:pt x="5638380" y="1219741"/>
                  <a:pt x="5635142" y="1221863"/>
                  <a:pt x="5633662" y="1222963"/>
                </a:cubicBezTo>
                <a:cubicBezTo>
                  <a:pt x="5633511" y="1221311"/>
                  <a:pt x="5632939" y="1220123"/>
                  <a:pt x="5632807" y="1219512"/>
                </a:cubicBezTo>
                <a:cubicBezTo>
                  <a:pt x="5632426" y="1218720"/>
                  <a:pt x="5632483" y="1218507"/>
                  <a:pt x="5633370" y="1218514"/>
                </a:cubicBezTo>
                <a:cubicBezTo>
                  <a:pt x="5633076" y="1217400"/>
                  <a:pt x="5634851" y="1217415"/>
                  <a:pt x="5634870" y="1218455"/>
                </a:cubicBezTo>
                <a:close/>
                <a:moveTo>
                  <a:pt x="972598" y="1216971"/>
                </a:moveTo>
                <a:cubicBezTo>
                  <a:pt x="977838" y="1217340"/>
                  <a:pt x="987978" y="1221552"/>
                  <a:pt x="989613" y="1227626"/>
                </a:cubicBezTo>
                <a:cubicBezTo>
                  <a:pt x="986232" y="1230285"/>
                  <a:pt x="983005" y="1231260"/>
                  <a:pt x="979569" y="1230800"/>
                </a:cubicBezTo>
                <a:cubicBezTo>
                  <a:pt x="976162" y="1230232"/>
                  <a:pt x="972824" y="1228302"/>
                  <a:pt x="969526" y="1225118"/>
                </a:cubicBezTo>
                <a:cubicBezTo>
                  <a:pt x="971045" y="1222765"/>
                  <a:pt x="971068" y="1220472"/>
                  <a:pt x="972598" y="1216971"/>
                </a:cubicBezTo>
                <a:close/>
                <a:moveTo>
                  <a:pt x="5699219" y="1216263"/>
                </a:moveTo>
                <a:cubicBezTo>
                  <a:pt x="5707304" y="1214864"/>
                  <a:pt x="5711836" y="1216769"/>
                  <a:pt x="5715458" y="1220959"/>
                </a:cubicBezTo>
                <a:cubicBezTo>
                  <a:pt x="5713593" y="1224599"/>
                  <a:pt x="5709478" y="1225566"/>
                  <a:pt x="5705881" y="1224602"/>
                </a:cubicBezTo>
                <a:cubicBezTo>
                  <a:pt x="5702284" y="1223639"/>
                  <a:pt x="5698928" y="1220670"/>
                  <a:pt x="5699219" y="1216263"/>
                </a:cubicBezTo>
                <a:close/>
                <a:moveTo>
                  <a:pt x="1084125" y="1215805"/>
                </a:moveTo>
                <a:cubicBezTo>
                  <a:pt x="1091857" y="1222362"/>
                  <a:pt x="1084143" y="1225700"/>
                  <a:pt x="1082740" y="1233143"/>
                </a:cubicBezTo>
                <a:cubicBezTo>
                  <a:pt x="1074116" y="1229913"/>
                  <a:pt x="1072161" y="1219499"/>
                  <a:pt x="1076909" y="1216171"/>
                </a:cubicBezTo>
                <a:cubicBezTo>
                  <a:pt x="1078665" y="1215146"/>
                  <a:pt x="1080833" y="1214808"/>
                  <a:pt x="1084125" y="1215805"/>
                </a:cubicBezTo>
                <a:close/>
                <a:moveTo>
                  <a:pt x="5167116" y="1215368"/>
                </a:moveTo>
                <a:cubicBezTo>
                  <a:pt x="5168061" y="1215161"/>
                  <a:pt x="5169750" y="1215499"/>
                  <a:pt x="5171935" y="1216199"/>
                </a:cubicBezTo>
                <a:cubicBezTo>
                  <a:pt x="5177574" y="1218400"/>
                  <a:pt x="5186233" y="1223710"/>
                  <a:pt x="5186003" y="1224569"/>
                </a:cubicBezTo>
                <a:cubicBezTo>
                  <a:pt x="5187606" y="1225228"/>
                  <a:pt x="5187014" y="1226335"/>
                  <a:pt x="5188645" y="1226887"/>
                </a:cubicBezTo>
                <a:cubicBezTo>
                  <a:pt x="5188645" y="1226887"/>
                  <a:pt x="5190276" y="1227439"/>
                  <a:pt x="5191592" y="1229171"/>
                </a:cubicBezTo>
                <a:cubicBezTo>
                  <a:pt x="5192907" y="1230904"/>
                  <a:pt x="5194222" y="1232636"/>
                  <a:pt x="5191710" y="1234263"/>
                </a:cubicBezTo>
                <a:lnTo>
                  <a:pt x="5181505" y="1228079"/>
                </a:lnTo>
                <a:lnTo>
                  <a:pt x="5183610" y="1231288"/>
                </a:lnTo>
                <a:cubicBezTo>
                  <a:pt x="5184199" y="1233516"/>
                  <a:pt x="5183930" y="1235629"/>
                  <a:pt x="5182449" y="1236727"/>
                </a:cubicBezTo>
                <a:cubicBezTo>
                  <a:pt x="5176789" y="1236821"/>
                  <a:pt x="5175457" y="1234048"/>
                  <a:pt x="5172068" y="1234520"/>
                </a:cubicBezTo>
                <a:cubicBezTo>
                  <a:pt x="5171098" y="1231499"/>
                  <a:pt x="5171644" y="1229461"/>
                  <a:pt x="5172905" y="1228074"/>
                </a:cubicBezTo>
                <a:lnTo>
                  <a:pt x="5178500" y="1226009"/>
                </a:lnTo>
                <a:lnTo>
                  <a:pt x="5177203" y="1225316"/>
                </a:lnTo>
                <a:cubicBezTo>
                  <a:pt x="5172815" y="1222875"/>
                  <a:pt x="5169257" y="1220657"/>
                  <a:pt x="5164852" y="1217177"/>
                </a:cubicBezTo>
                <a:cubicBezTo>
                  <a:pt x="5165168" y="1215996"/>
                  <a:pt x="5166800" y="1216548"/>
                  <a:pt x="5167116" y="1215368"/>
                </a:cubicBezTo>
                <a:close/>
                <a:moveTo>
                  <a:pt x="5726861" y="1214929"/>
                </a:moveTo>
                <a:cubicBezTo>
                  <a:pt x="5726861" y="1214929"/>
                  <a:pt x="5727184" y="1215936"/>
                  <a:pt x="5727184" y="1215936"/>
                </a:cubicBezTo>
                <a:cubicBezTo>
                  <a:pt x="5726268" y="1216036"/>
                  <a:pt x="5725380" y="1216027"/>
                  <a:pt x="5724522" y="1215912"/>
                </a:cubicBezTo>
                <a:cubicBezTo>
                  <a:pt x="5723939" y="1215872"/>
                  <a:pt x="5723415" y="1215615"/>
                  <a:pt x="5723253" y="1215112"/>
                </a:cubicBezTo>
                <a:cubicBezTo>
                  <a:pt x="5722959" y="1213998"/>
                  <a:pt x="5724762" y="1213907"/>
                  <a:pt x="5726861" y="1214929"/>
                </a:cubicBezTo>
                <a:close/>
                <a:moveTo>
                  <a:pt x="5734964" y="1214571"/>
                </a:moveTo>
                <a:cubicBezTo>
                  <a:pt x="5736786" y="1215519"/>
                  <a:pt x="5736786" y="1215519"/>
                  <a:pt x="5737347" y="1217853"/>
                </a:cubicBezTo>
                <a:cubicBezTo>
                  <a:pt x="5734770" y="1217509"/>
                  <a:pt x="5733358" y="1217244"/>
                  <a:pt x="5732279" y="1216841"/>
                </a:cubicBezTo>
                <a:cubicBezTo>
                  <a:pt x="5731173" y="1216545"/>
                  <a:pt x="5730124" y="1216034"/>
                  <a:pt x="5728054" y="1214904"/>
                </a:cubicBezTo>
                <a:cubicBezTo>
                  <a:pt x="5729581" y="1214738"/>
                  <a:pt x="5732894" y="1213441"/>
                  <a:pt x="5734964" y="1214571"/>
                </a:cubicBezTo>
                <a:close/>
                <a:moveTo>
                  <a:pt x="5716324" y="1214406"/>
                </a:moveTo>
                <a:cubicBezTo>
                  <a:pt x="5718452" y="1215321"/>
                  <a:pt x="5718157" y="1214206"/>
                  <a:pt x="5718746" y="1216435"/>
                </a:cubicBezTo>
                <a:cubicBezTo>
                  <a:pt x="5716647" y="1215413"/>
                  <a:pt x="5716647" y="1215413"/>
                  <a:pt x="5714844" y="1215504"/>
                </a:cubicBezTo>
                <a:cubicBezTo>
                  <a:pt x="5714844" y="1215504"/>
                  <a:pt x="5716324" y="1214406"/>
                  <a:pt x="5716324" y="1214406"/>
                </a:cubicBezTo>
                <a:close/>
                <a:moveTo>
                  <a:pt x="5759073" y="1214246"/>
                </a:moveTo>
                <a:cubicBezTo>
                  <a:pt x="5762078" y="1216316"/>
                  <a:pt x="5765369" y="1217311"/>
                  <a:pt x="5768373" y="1219383"/>
                </a:cubicBezTo>
                <a:cubicBezTo>
                  <a:pt x="5770192" y="1223665"/>
                  <a:pt x="5764496" y="1230534"/>
                  <a:pt x="5758121" y="1229975"/>
                </a:cubicBezTo>
                <a:cubicBezTo>
                  <a:pt x="5756069" y="1229885"/>
                  <a:pt x="5753694" y="1228789"/>
                  <a:pt x="5751606" y="1226620"/>
                </a:cubicBezTo>
                <a:cubicBezTo>
                  <a:pt x="5745953" y="1220045"/>
                  <a:pt x="5751836" y="1216906"/>
                  <a:pt x="5759073" y="1214246"/>
                </a:cubicBezTo>
                <a:close/>
                <a:moveTo>
                  <a:pt x="5687483" y="1213578"/>
                </a:moveTo>
                <a:cubicBezTo>
                  <a:pt x="5690814" y="1213320"/>
                  <a:pt x="5709206" y="1213304"/>
                  <a:pt x="5714873" y="1215397"/>
                </a:cubicBezTo>
                <a:cubicBezTo>
                  <a:pt x="5706169" y="1214675"/>
                  <a:pt x="5695000" y="1216512"/>
                  <a:pt x="5687483" y="1213578"/>
                </a:cubicBezTo>
                <a:close/>
                <a:moveTo>
                  <a:pt x="1781233" y="1212957"/>
                </a:moveTo>
                <a:cubicBezTo>
                  <a:pt x="1788143" y="1212623"/>
                  <a:pt x="1792589" y="1223704"/>
                  <a:pt x="1790630" y="1225480"/>
                </a:cubicBezTo>
                <a:cubicBezTo>
                  <a:pt x="1787298" y="1225737"/>
                  <a:pt x="1774006" y="1214470"/>
                  <a:pt x="1781233" y="1212957"/>
                </a:cubicBezTo>
                <a:close/>
                <a:moveTo>
                  <a:pt x="5878064" y="1212894"/>
                </a:moveTo>
                <a:cubicBezTo>
                  <a:pt x="5882452" y="1215333"/>
                  <a:pt x="5889171" y="1214604"/>
                  <a:pt x="5895259" y="1216235"/>
                </a:cubicBezTo>
                <a:cubicBezTo>
                  <a:pt x="5897473" y="1216828"/>
                  <a:pt x="5899352" y="1217562"/>
                  <a:pt x="5901393" y="1218799"/>
                </a:cubicBezTo>
                <a:cubicBezTo>
                  <a:pt x="5901393" y="1218799"/>
                  <a:pt x="5901393" y="1218799"/>
                  <a:pt x="5899761" y="1218247"/>
                </a:cubicBezTo>
                <a:cubicBezTo>
                  <a:pt x="5899761" y="1218247"/>
                  <a:pt x="5901117" y="1218725"/>
                  <a:pt x="5900800" y="1219906"/>
                </a:cubicBezTo>
                <a:cubicBezTo>
                  <a:pt x="5898690" y="1220030"/>
                  <a:pt x="5896114" y="1219685"/>
                  <a:pt x="5893566" y="1219232"/>
                </a:cubicBezTo>
                <a:cubicBezTo>
                  <a:pt x="5891047" y="1218672"/>
                  <a:pt x="5888834" y="1218079"/>
                  <a:pt x="5886372" y="1217304"/>
                </a:cubicBezTo>
                <a:cubicBezTo>
                  <a:pt x="5882031" y="1215796"/>
                  <a:pt x="5878577" y="1214295"/>
                  <a:pt x="5877776" y="1213966"/>
                </a:cubicBezTo>
                <a:cubicBezTo>
                  <a:pt x="5878064" y="1212894"/>
                  <a:pt x="5878064" y="1212894"/>
                  <a:pt x="5878064" y="1212894"/>
                </a:cubicBezTo>
                <a:close/>
                <a:moveTo>
                  <a:pt x="5673712" y="1211843"/>
                </a:moveTo>
                <a:cubicBezTo>
                  <a:pt x="5673712" y="1211843"/>
                  <a:pt x="5673712" y="1211843"/>
                  <a:pt x="5675505" y="1212899"/>
                </a:cubicBezTo>
                <a:cubicBezTo>
                  <a:pt x="5670704" y="1213107"/>
                  <a:pt x="5664348" y="1213588"/>
                  <a:pt x="5661027" y="1212699"/>
                </a:cubicBezTo>
                <a:cubicBezTo>
                  <a:pt x="5663787" y="1211254"/>
                  <a:pt x="5669821" y="1209765"/>
                  <a:pt x="5673712" y="1211843"/>
                </a:cubicBezTo>
                <a:close/>
                <a:moveTo>
                  <a:pt x="5555016" y="1211405"/>
                </a:moveTo>
                <a:cubicBezTo>
                  <a:pt x="5557166" y="1210717"/>
                  <a:pt x="5560069" y="1210948"/>
                  <a:pt x="5561834" y="1212111"/>
                </a:cubicBezTo>
                <a:cubicBezTo>
                  <a:pt x="5562825" y="1212836"/>
                  <a:pt x="5563702" y="1213991"/>
                  <a:pt x="5563271" y="1215600"/>
                </a:cubicBezTo>
                <a:cubicBezTo>
                  <a:pt x="5559796" y="1216395"/>
                  <a:pt x="5557438" y="1216338"/>
                  <a:pt x="5552724" y="1216225"/>
                </a:cubicBezTo>
                <a:cubicBezTo>
                  <a:pt x="5551471" y="1213704"/>
                  <a:pt x="5552867" y="1212094"/>
                  <a:pt x="5555016" y="1211405"/>
                </a:cubicBezTo>
                <a:close/>
                <a:moveTo>
                  <a:pt x="1203025" y="1209253"/>
                </a:moveTo>
                <a:cubicBezTo>
                  <a:pt x="1208893" y="1210596"/>
                  <a:pt x="1212436" y="1208439"/>
                  <a:pt x="1221308" y="1211852"/>
                </a:cubicBezTo>
                <a:cubicBezTo>
                  <a:pt x="1221904" y="1233977"/>
                  <a:pt x="1230328" y="1255670"/>
                  <a:pt x="1229878" y="1273950"/>
                </a:cubicBezTo>
                <a:cubicBezTo>
                  <a:pt x="1208346" y="1256909"/>
                  <a:pt x="1208890" y="1231640"/>
                  <a:pt x="1203025" y="1209253"/>
                </a:cubicBezTo>
                <a:close/>
                <a:moveTo>
                  <a:pt x="922615" y="1207604"/>
                </a:moveTo>
                <a:cubicBezTo>
                  <a:pt x="937568" y="1201606"/>
                  <a:pt x="966525" y="1210859"/>
                  <a:pt x="960405" y="1221525"/>
                </a:cubicBezTo>
                <a:cubicBezTo>
                  <a:pt x="959420" y="1222986"/>
                  <a:pt x="957824" y="1224513"/>
                  <a:pt x="955341" y="1226033"/>
                </a:cubicBezTo>
                <a:cubicBezTo>
                  <a:pt x="952518" y="1225506"/>
                  <a:pt x="948863" y="1224757"/>
                  <a:pt x="945208" y="1224007"/>
                </a:cubicBezTo>
                <a:cubicBezTo>
                  <a:pt x="942689" y="1223447"/>
                  <a:pt x="939616" y="1222740"/>
                  <a:pt x="937155" y="1221965"/>
                </a:cubicBezTo>
                <a:cubicBezTo>
                  <a:pt x="929245" y="1219385"/>
                  <a:pt x="922598" y="1215420"/>
                  <a:pt x="922615" y="1207604"/>
                </a:cubicBezTo>
                <a:close/>
                <a:moveTo>
                  <a:pt x="5868936" y="1207112"/>
                </a:moveTo>
                <a:cubicBezTo>
                  <a:pt x="5868936" y="1207112"/>
                  <a:pt x="5868936" y="1207112"/>
                  <a:pt x="5870280" y="1208737"/>
                </a:cubicBezTo>
                <a:cubicBezTo>
                  <a:pt x="5867819" y="1207963"/>
                  <a:pt x="5865497" y="1209986"/>
                  <a:pt x="5863254" y="1209500"/>
                </a:cubicBezTo>
                <a:cubicBezTo>
                  <a:pt x="5862672" y="1209459"/>
                  <a:pt x="5861929" y="1208915"/>
                  <a:pt x="5861548" y="1208122"/>
                </a:cubicBezTo>
                <a:cubicBezTo>
                  <a:pt x="5863467" y="1207601"/>
                  <a:pt x="5867017" y="1207633"/>
                  <a:pt x="5868936" y="1207112"/>
                </a:cubicBezTo>
                <a:close/>
                <a:moveTo>
                  <a:pt x="6189788" y="1206143"/>
                </a:moveTo>
                <a:cubicBezTo>
                  <a:pt x="6191505" y="1206373"/>
                  <a:pt x="6193691" y="1207073"/>
                  <a:pt x="6195760" y="1208203"/>
                </a:cubicBezTo>
                <a:cubicBezTo>
                  <a:pt x="6189471" y="1216179"/>
                  <a:pt x="6189292" y="1223490"/>
                  <a:pt x="6186467" y="1231819"/>
                </a:cubicBezTo>
                <a:cubicBezTo>
                  <a:pt x="6184720" y="1231696"/>
                  <a:pt x="6183060" y="1231251"/>
                  <a:pt x="6180962" y="1230228"/>
                </a:cubicBezTo>
                <a:cubicBezTo>
                  <a:pt x="6179111" y="1229387"/>
                  <a:pt x="6176822" y="1227969"/>
                  <a:pt x="6174123" y="1225866"/>
                </a:cubicBezTo>
                <a:cubicBezTo>
                  <a:pt x="6185335" y="1219440"/>
                  <a:pt x="6166864" y="1213111"/>
                  <a:pt x="6175155" y="1207628"/>
                </a:cubicBezTo>
                <a:cubicBezTo>
                  <a:pt x="6179737" y="1207130"/>
                  <a:pt x="6184110" y="1205197"/>
                  <a:pt x="6189788" y="1206143"/>
                </a:cubicBezTo>
                <a:close/>
                <a:moveTo>
                  <a:pt x="5893320" y="1206042"/>
                </a:moveTo>
                <a:cubicBezTo>
                  <a:pt x="5898147" y="1207119"/>
                  <a:pt x="5902211" y="1208553"/>
                  <a:pt x="5906360" y="1206905"/>
                </a:cubicBezTo>
                <a:cubicBezTo>
                  <a:pt x="5907359" y="1209817"/>
                  <a:pt x="5907359" y="1209817"/>
                  <a:pt x="5905123" y="1211519"/>
                </a:cubicBezTo>
                <a:cubicBezTo>
                  <a:pt x="5903492" y="1210966"/>
                  <a:pt x="5902899" y="1212073"/>
                  <a:pt x="5901584" y="1210340"/>
                </a:cubicBezTo>
                <a:cubicBezTo>
                  <a:pt x="5897429" y="1212562"/>
                  <a:pt x="5881884" y="1210811"/>
                  <a:pt x="5875703" y="1207315"/>
                </a:cubicBezTo>
                <a:cubicBezTo>
                  <a:pt x="5882903" y="1204242"/>
                  <a:pt x="5888492" y="1204964"/>
                  <a:pt x="5893320" y="1206042"/>
                </a:cubicBezTo>
                <a:close/>
                <a:moveTo>
                  <a:pt x="5520676" y="1205223"/>
                </a:moveTo>
                <a:cubicBezTo>
                  <a:pt x="5524299" y="1209414"/>
                  <a:pt x="5523695" y="1211667"/>
                  <a:pt x="5521460" y="1213368"/>
                </a:cubicBezTo>
                <a:lnTo>
                  <a:pt x="5513791" y="1217638"/>
                </a:lnTo>
                <a:lnTo>
                  <a:pt x="5519681" y="1225541"/>
                </a:lnTo>
                <a:cubicBezTo>
                  <a:pt x="5524866" y="1231646"/>
                  <a:pt x="5529279" y="1237312"/>
                  <a:pt x="5524205" y="1242968"/>
                </a:cubicBezTo>
                <a:cubicBezTo>
                  <a:pt x="5512475" y="1233615"/>
                  <a:pt x="5498511" y="1225963"/>
                  <a:pt x="5496449" y="1209311"/>
                </a:cubicBezTo>
                <a:cubicBezTo>
                  <a:pt x="5501012" y="1207774"/>
                  <a:pt x="5503758" y="1201954"/>
                  <a:pt x="5511409" y="1205499"/>
                </a:cubicBezTo>
                <a:lnTo>
                  <a:pt x="5511653" y="1209015"/>
                </a:lnTo>
                <a:close/>
                <a:moveTo>
                  <a:pt x="1957383" y="1204150"/>
                </a:moveTo>
                <a:cubicBezTo>
                  <a:pt x="1960320" y="1207582"/>
                  <a:pt x="1961048" y="1212606"/>
                  <a:pt x="1955481" y="1214565"/>
                </a:cubicBezTo>
                <a:cubicBezTo>
                  <a:pt x="1951546" y="1217076"/>
                  <a:pt x="1944963" y="1215082"/>
                  <a:pt x="1939397" y="1217040"/>
                </a:cubicBezTo>
                <a:cubicBezTo>
                  <a:pt x="1933705" y="1211720"/>
                  <a:pt x="1932083" y="1210021"/>
                  <a:pt x="1936623" y="1205257"/>
                </a:cubicBezTo>
                <a:cubicBezTo>
                  <a:pt x="1936623" y="1205257"/>
                  <a:pt x="1938570" y="1204629"/>
                  <a:pt x="1938570" y="1204629"/>
                </a:cubicBezTo>
                <a:cubicBezTo>
                  <a:pt x="1944176" y="1201416"/>
                  <a:pt x="1954378" y="1202080"/>
                  <a:pt x="1957383" y="1204150"/>
                </a:cubicBezTo>
                <a:close/>
                <a:moveTo>
                  <a:pt x="5190848" y="1202062"/>
                </a:moveTo>
                <a:cubicBezTo>
                  <a:pt x="5196148" y="1207737"/>
                  <a:pt x="5197493" y="1209362"/>
                  <a:pt x="5192458" y="1213763"/>
                </a:cubicBezTo>
                <a:cubicBezTo>
                  <a:pt x="5192458" y="1213763"/>
                  <a:pt x="5190510" y="1214391"/>
                  <a:pt x="5190510" y="1214391"/>
                </a:cubicBezTo>
                <a:lnTo>
                  <a:pt x="5187426" y="1214830"/>
                </a:lnTo>
                <a:lnTo>
                  <a:pt x="5195383" y="1218342"/>
                </a:lnTo>
                <a:cubicBezTo>
                  <a:pt x="5199447" y="1219776"/>
                  <a:pt x="5203540" y="1221103"/>
                  <a:pt x="5207127" y="1223214"/>
                </a:cubicBezTo>
                <a:cubicBezTo>
                  <a:pt x="5203317" y="1224149"/>
                  <a:pt x="5197981" y="1225248"/>
                  <a:pt x="5192523" y="1224591"/>
                </a:cubicBezTo>
                <a:cubicBezTo>
                  <a:pt x="5187340" y="1224007"/>
                  <a:pt x="5182008" y="1221774"/>
                  <a:pt x="5178540" y="1215899"/>
                </a:cubicBezTo>
                <a:lnTo>
                  <a:pt x="5178902" y="1215651"/>
                </a:lnTo>
                <a:lnTo>
                  <a:pt x="5171126" y="1213683"/>
                </a:lnTo>
                <a:cubicBezTo>
                  <a:pt x="5168744" y="1210399"/>
                  <a:pt x="5168626" y="1205307"/>
                  <a:pt x="5174411" y="1203637"/>
                </a:cubicBezTo>
                <a:cubicBezTo>
                  <a:pt x="5178565" y="1201416"/>
                  <a:pt x="5185062" y="1203731"/>
                  <a:pt x="5190848" y="1202062"/>
                </a:cubicBezTo>
                <a:close/>
                <a:moveTo>
                  <a:pt x="5823157" y="1201976"/>
                </a:moveTo>
                <a:cubicBezTo>
                  <a:pt x="5824628" y="1202025"/>
                  <a:pt x="5825982" y="1202504"/>
                  <a:pt x="5826917" y="1203444"/>
                </a:cubicBezTo>
                <a:cubicBezTo>
                  <a:pt x="5828232" y="1205176"/>
                  <a:pt x="5826284" y="1205804"/>
                  <a:pt x="5825997" y="1206877"/>
                </a:cubicBezTo>
                <a:cubicBezTo>
                  <a:pt x="5824211" y="1208009"/>
                  <a:pt x="5817109" y="1207946"/>
                  <a:pt x="5813150" y="1207230"/>
                </a:cubicBezTo>
                <a:cubicBezTo>
                  <a:pt x="5811738" y="1206966"/>
                  <a:pt x="5810659" y="1206562"/>
                  <a:pt x="5810468" y="1206166"/>
                </a:cubicBezTo>
                <a:cubicBezTo>
                  <a:pt x="5813591" y="1204473"/>
                  <a:pt x="5819083" y="1201689"/>
                  <a:pt x="5823157" y="1201976"/>
                </a:cubicBezTo>
                <a:close/>
                <a:moveTo>
                  <a:pt x="1076607" y="1201385"/>
                </a:moveTo>
                <a:cubicBezTo>
                  <a:pt x="1079999" y="1199376"/>
                  <a:pt x="1084825" y="1198800"/>
                  <a:pt x="1089723" y="1201549"/>
                </a:cubicBezTo>
                <a:cubicBezTo>
                  <a:pt x="1092384" y="1204907"/>
                  <a:pt x="1094736" y="1208298"/>
                  <a:pt x="1091305" y="1213358"/>
                </a:cubicBezTo>
                <a:cubicBezTo>
                  <a:pt x="1088135" y="1214119"/>
                  <a:pt x="1085414" y="1214310"/>
                  <a:pt x="1082285" y="1213817"/>
                </a:cubicBezTo>
                <a:cubicBezTo>
                  <a:pt x="1079183" y="1213215"/>
                  <a:pt x="1075978" y="1211897"/>
                  <a:pt x="1072086" y="1209819"/>
                </a:cubicBezTo>
                <a:cubicBezTo>
                  <a:pt x="1071254" y="1206836"/>
                  <a:pt x="1073214" y="1203393"/>
                  <a:pt x="1076607" y="1201385"/>
                </a:cubicBezTo>
                <a:close/>
                <a:moveTo>
                  <a:pt x="1849784" y="1200620"/>
                </a:moveTo>
                <a:cubicBezTo>
                  <a:pt x="1845770" y="1205639"/>
                  <a:pt x="1843919" y="1213653"/>
                  <a:pt x="1837455" y="1216750"/>
                </a:cubicBezTo>
                <a:cubicBezTo>
                  <a:pt x="1838335" y="1214572"/>
                  <a:pt x="1845267" y="1203089"/>
                  <a:pt x="1849784" y="1200620"/>
                </a:cubicBezTo>
                <a:close/>
                <a:moveTo>
                  <a:pt x="5202265" y="1200406"/>
                </a:moveTo>
                <a:cubicBezTo>
                  <a:pt x="5209193" y="1201113"/>
                  <a:pt x="5234858" y="1209369"/>
                  <a:pt x="5223255" y="1216150"/>
                </a:cubicBezTo>
                <a:lnTo>
                  <a:pt x="5222978" y="1216076"/>
                </a:lnTo>
                <a:lnTo>
                  <a:pt x="5224081" y="1219708"/>
                </a:lnTo>
                <a:cubicBezTo>
                  <a:pt x="5223402" y="1221134"/>
                  <a:pt x="5221397" y="1221977"/>
                  <a:pt x="5218781" y="1222886"/>
                </a:cubicBezTo>
                <a:cubicBezTo>
                  <a:pt x="5217552" y="1220832"/>
                  <a:pt x="5217372" y="1219289"/>
                  <a:pt x="5218052" y="1217861"/>
                </a:cubicBezTo>
                <a:lnTo>
                  <a:pt x="5220880" y="1215053"/>
                </a:lnTo>
                <a:lnTo>
                  <a:pt x="5209631" y="1210544"/>
                </a:lnTo>
                <a:cubicBezTo>
                  <a:pt x="5205567" y="1209111"/>
                  <a:pt x="5202391" y="1207685"/>
                  <a:pt x="5201468" y="1205597"/>
                </a:cubicBezTo>
                <a:cubicBezTo>
                  <a:pt x="5200648" y="1204227"/>
                  <a:pt x="5200802" y="1202544"/>
                  <a:pt x="5202265" y="1200406"/>
                </a:cubicBezTo>
                <a:close/>
                <a:moveTo>
                  <a:pt x="797061" y="1199147"/>
                </a:moveTo>
                <a:cubicBezTo>
                  <a:pt x="801203" y="1198071"/>
                  <a:pt x="812062" y="1199602"/>
                  <a:pt x="817916" y="1205426"/>
                </a:cubicBezTo>
                <a:cubicBezTo>
                  <a:pt x="816727" y="1210972"/>
                  <a:pt x="812774" y="1212443"/>
                  <a:pt x="806687" y="1210812"/>
                </a:cubicBezTo>
                <a:cubicBezTo>
                  <a:pt x="804750" y="1210293"/>
                  <a:pt x="802623" y="1209377"/>
                  <a:pt x="800247" y="1208281"/>
                </a:cubicBezTo>
                <a:cubicBezTo>
                  <a:pt x="799802" y="1205516"/>
                  <a:pt x="798076" y="1203099"/>
                  <a:pt x="797061" y="1199147"/>
                </a:cubicBezTo>
                <a:close/>
                <a:moveTo>
                  <a:pt x="1823407" y="1197232"/>
                </a:moveTo>
                <a:cubicBezTo>
                  <a:pt x="1824780" y="1198750"/>
                  <a:pt x="1824780" y="1198750"/>
                  <a:pt x="1823368" y="1198486"/>
                </a:cubicBezTo>
                <a:cubicBezTo>
                  <a:pt x="1821380" y="1200369"/>
                  <a:pt x="1821392" y="1199222"/>
                  <a:pt x="1819968" y="1200105"/>
                </a:cubicBezTo>
                <a:cubicBezTo>
                  <a:pt x="1818269" y="1200915"/>
                  <a:pt x="1814531" y="1206008"/>
                  <a:pt x="1816180" y="1207600"/>
                </a:cubicBezTo>
                <a:cubicBezTo>
                  <a:pt x="1814493" y="1207263"/>
                  <a:pt x="1812792" y="1208072"/>
                  <a:pt x="1812792" y="1208072"/>
                </a:cubicBezTo>
                <a:cubicBezTo>
                  <a:pt x="1811143" y="1206480"/>
                  <a:pt x="1811154" y="1205333"/>
                  <a:pt x="1811470" y="1204153"/>
                </a:cubicBezTo>
                <a:cubicBezTo>
                  <a:pt x="1812892" y="1203270"/>
                  <a:pt x="1814553" y="1203714"/>
                  <a:pt x="1816252" y="1202904"/>
                </a:cubicBezTo>
                <a:cubicBezTo>
                  <a:pt x="1816568" y="1201725"/>
                  <a:pt x="1816620" y="1199323"/>
                  <a:pt x="1818348" y="1198406"/>
                </a:cubicBezTo>
                <a:cubicBezTo>
                  <a:pt x="1820048" y="1197597"/>
                  <a:pt x="1823407" y="1197232"/>
                  <a:pt x="1823407" y="1197232"/>
                </a:cubicBezTo>
                <a:close/>
                <a:moveTo>
                  <a:pt x="5224545" y="1196945"/>
                </a:moveTo>
                <a:cubicBezTo>
                  <a:pt x="5224545" y="1196945"/>
                  <a:pt x="5226148" y="1197605"/>
                  <a:pt x="5226148" y="1197605"/>
                </a:cubicBezTo>
                <a:lnTo>
                  <a:pt x="5227291" y="1199981"/>
                </a:lnTo>
                <a:lnTo>
                  <a:pt x="5227844" y="1200130"/>
                </a:lnTo>
                <a:cubicBezTo>
                  <a:pt x="5230191" y="1201334"/>
                  <a:pt x="5232059" y="1203213"/>
                  <a:pt x="5232706" y="1205227"/>
                </a:cubicBezTo>
                <a:cubicBezTo>
                  <a:pt x="5230136" y="1207069"/>
                  <a:pt x="5227578" y="1207764"/>
                  <a:pt x="5225030" y="1207311"/>
                </a:cubicBezTo>
                <a:cubicBezTo>
                  <a:pt x="5222482" y="1206858"/>
                  <a:pt x="5220470" y="1205513"/>
                  <a:pt x="5218964" y="1203385"/>
                </a:cubicBezTo>
                <a:cubicBezTo>
                  <a:pt x="5218145" y="1202015"/>
                  <a:pt x="5217718" y="1200291"/>
                  <a:pt x="5217900" y="1198500"/>
                </a:cubicBezTo>
                <a:lnTo>
                  <a:pt x="5222443" y="1199258"/>
                </a:lnTo>
                <a:close/>
                <a:moveTo>
                  <a:pt x="1544412" y="1196809"/>
                </a:moveTo>
                <a:cubicBezTo>
                  <a:pt x="1548949" y="1197723"/>
                  <a:pt x="1553176" y="1200207"/>
                  <a:pt x="1557362" y="1205066"/>
                </a:cubicBezTo>
                <a:cubicBezTo>
                  <a:pt x="1555601" y="1209424"/>
                  <a:pt x="1549607" y="1209658"/>
                  <a:pt x="1543577" y="1207813"/>
                </a:cubicBezTo>
                <a:cubicBezTo>
                  <a:pt x="1537546" y="1205967"/>
                  <a:pt x="1531452" y="1202148"/>
                  <a:pt x="1529605" y="1197974"/>
                </a:cubicBezTo>
                <a:cubicBezTo>
                  <a:pt x="1535028" y="1196551"/>
                  <a:pt x="1539874" y="1195895"/>
                  <a:pt x="1544412" y="1196809"/>
                </a:cubicBezTo>
                <a:close/>
                <a:moveTo>
                  <a:pt x="5272677" y="1196617"/>
                </a:moveTo>
                <a:cubicBezTo>
                  <a:pt x="5274665" y="1194736"/>
                  <a:pt x="5292270" y="1198762"/>
                  <a:pt x="5289143" y="1203789"/>
                </a:cubicBezTo>
                <a:cubicBezTo>
                  <a:pt x="5288302" y="1204714"/>
                  <a:pt x="5286746" y="1204987"/>
                  <a:pt x="5285057" y="1204649"/>
                </a:cubicBezTo>
                <a:cubicBezTo>
                  <a:pt x="5279933" y="1203852"/>
                  <a:pt x="5272713" y="1198697"/>
                  <a:pt x="5272677" y="1196617"/>
                </a:cubicBezTo>
                <a:close/>
                <a:moveTo>
                  <a:pt x="1871989" y="1196334"/>
                </a:moveTo>
                <a:cubicBezTo>
                  <a:pt x="1876646" y="1196662"/>
                  <a:pt x="1877885" y="1197569"/>
                  <a:pt x="1883783" y="1198803"/>
                </a:cubicBezTo>
                <a:cubicBezTo>
                  <a:pt x="1884868" y="1201396"/>
                  <a:pt x="1884868" y="1201396"/>
                  <a:pt x="1883780" y="1202138"/>
                </a:cubicBezTo>
                <a:cubicBezTo>
                  <a:pt x="1884868" y="1201396"/>
                  <a:pt x="1886109" y="1202302"/>
                  <a:pt x="1888714" y="1202540"/>
                </a:cubicBezTo>
                <a:cubicBezTo>
                  <a:pt x="1898154" y="1201620"/>
                  <a:pt x="1901564" y="1207708"/>
                  <a:pt x="1902490" y="1215317"/>
                </a:cubicBezTo>
                <a:cubicBezTo>
                  <a:pt x="1900162" y="1215153"/>
                  <a:pt x="1901122" y="1219320"/>
                  <a:pt x="1899878" y="1221747"/>
                </a:cubicBezTo>
                <a:cubicBezTo>
                  <a:pt x="1898092" y="1222878"/>
                  <a:pt x="1896669" y="1223762"/>
                  <a:pt x="1894997" y="1224464"/>
                </a:cubicBezTo>
                <a:lnTo>
                  <a:pt x="1894721" y="1224390"/>
                </a:lnTo>
                <a:lnTo>
                  <a:pt x="1893568" y="1232017"/>
                </a:lnTo>
                <a:cubicBezTo>
                  <a:pt x="1892342" y="1235482"/>
                  <a:pt x="1890124" y="1238223"/>
                  <a:pt x="1886316" y="1239158"/>
                </a:cubicBezTo>
                <a:lnTo>
                  <a:pt x="1881572" y="1239152"/>
                </a:lnTo>
                <a:lnTo>
                  <a:pt x="1884364" y="1243121"/>
                </a:lnTo>
                <a:cubicBezTo>
                  <a:pt x="1885316" y="1245101"/>
                  <a:pt x="1885381" y="1247074"/>
                  <a:pt x="1883959" y="1247957"/>
                </a:cubicBezTo>
                <a:cubicBezTo>
                  <a:pt x="1881231" y="1245961"/>
                  <a:pt x="1880164" y="1244410"/>
                  <a:pt x="1879097" y="1242859"/>
                </a:cubicBezTo>
                <a:cubicBezTo>
                  <a:pt x="1877608" y="1241769"/>
                  <a:pt x="1877228" y="1240978"/>
                  <a:pt x="1877400" y="1240335"/>
                </a:cubicBezTo>
                <a:lnTo>
                  <a:pt x="1879491" y="1239170"/>
                </a:lnTo>
                <a:lnTo>
                  <a:pt x="1878910" y="1239129"/>
                </a:lnTo>
                <a:lnTo>
                  <a:pt x="1870389" y="1236615"/>
                </a:lnTo>
                <a:cubicBezTo>
                  <a:pt x="1869197" y="1236642"/>
                  <a:pt x="1868338" y="1236525"/>
                  <a:pt x="1867784" y="1236377"/>
                </a:cubicBezTo>
                <a:lnTo>
                  <a:pt x="1868205" y="1235915"/>
                </a:lnTo>
                <a:lnTo>
                  <a:pt x="1868234" y="1235808"/>
                </a:lnTo>
                <a:lnTo>
                  <a:pt x="1869494" y="1234421"/>
                </a:lnTo>
                <a:lnTo>
                  <a:pt x="1870249" y="1233818"/>
                </a:lnTo>
                <a:lnTo>
                  <a:pt x="1872905" y="1231655"/>
                </a:lnTo>
                <a:lnTo>
                  <a:pt x="1872972" y="1230292"/>
                </a:lnTo>
                <a:lnTo>
                  <a:pt x="1877271" y="1227535"/>
                </a:lnTo>
                <a:lnTo>
                  <a:pt x="1880426" y="1222400"/>
                </a:lnTo>
                <a:lnTo>
                  <a:pt x="1877440" y="1221370"/>
                </a:lnTo>
                <a:cubicBezTo>
                  <a:pt x="1875617" y="1220422"/>
                  <a:pt x="1874131" y="1219333"/>
                  <a:pt x="1872977" y="1218103"/>
                </a:cubicBezTo>
                <a:lnTo>
                  <a:pt x="1871672" y="1215224"/>
                </a:lnTo>
                <a:lnTo>
                  <a:pt x="1871068" y="1217478"/>
                </a:lnTo>
                <a:cubicBezTo>
                  <a:pt x="1869754" y="1215745"/>
                  <a:pt x="1865984" y="1215425"/>
                  <a:pt x="1864945" y="1213767"/>
                </a:cubicBezTo>
                <a:cubicBezTo>
                  <a:pt x="1864945" y="1213767"/>
                  <a:pt x="1864539" y="1209748"/>
                  <a:pt x="1864539" y="1209748"/>
                </a:cubicBezTo>
                <a:cubicBezTo>
                  <a:pt x="1866735" y="1209302"/>
                  <a:pt x="1866430" y="1209335"/>
                  <a:pt x="1866142" y="1210407"/>
                </a:cubicBezTo>
                <a:lnTo>
                  <a:pt x="1871762" y="1211568"/>
                </a:lnTo>
                <a:lnTo>
                  <a:pt x="1872244" y="1207557"/>
                </a:lnTo>
                <a:lnTo>
                  <a:pt x="1873897" y="1205815"/>
                </a:lnTo>
                <a:lnTo>
                  <a:pt x="1873527" y="1203876"/>
                </a:lnTo>
                <a:lnTo>
                  <a:pt x="1862828" y="1202850"/>
                </a:lnTo>
                <a:cubicBezTo>
                  <a:pt x="1858229" y="1202307"/>
                  <a:pt x="1853935" y="1201732"/>
                  <a:pt x="1850920" y="1200809"/>
                </a:cubicBezTo>
                <a:lnTo>
                  <a:pt x="1850147" y="1200371"/>
                </a:lnTo>
                <a:lnTo>
                  <a:pt x="1850060" y="1200694"/>
                </a:lnTo>
                <a:lnTo>
                  <a:pt x="1849623" y="1200116"/>
                </a:lnTo>
                <a:lnTo>
                  <a:pt x="1846780" y="1198549"/>
                </a:lnTo>
                <a:cubicBezTo>
                  <a:pt x="1848174" y="1197772"/>
                  <a:pt x="1849264" y="1197030"/>
                  <a:pt x="1851563" y="1197301"/>
                </a:cubicBezTo>
                <a:cubicBezTo>
                  <a:pt x="1853892" y="1197464"/>
                  <a:pt x="1852803" y="1198208"/>
                  <a:pt x="1853892" y="1197464"/>
                </a:cubicBezTo>
                <a:cubicBezTo>
                  <a:pt x="1856220" y="1197629"/>
                  <a:pt x="1855286" y="1196688"/>
                  <a:pt x="1855286" y="1196688"/>
                </a:cubicBezTo>
                <a:cubicBezTo>
                  <a:pt x="1855286" y="1196688"/>
                  <a:pt x="1856248" y="1197521"/>
                  <a:pt x="1856248" y="1197521"/>
                </a:cubicBezTo>
                <a:cubicBezTo>
                  <a:pt x="1856248" y="1197521"/>
                  <a:pt x="1856248" y="1197521"/>
                  <a:pt x="1861183" y="1197923"/>
                </a:cubicBezTo>
                <a:cubicBezTo>
                  <a:pt x="1867206" y="1197582"/>
                  <a:pt x="1868295" y="1196839"/>
                  <a:pt x="1871989" y="1196334"/>
                </a:cubicBezTo>
                <a:close/>
                <a:moveTo>
                  <a:pt x="1582549" y="1196290"/>
                </a:moveTo>
                <a:cubicBezTo>
                  <a:pt x="1583760" y="1197304"/>
                  <a:pt x="1585154" y="1196528"/>
                  <a:pt x="1586365" y="1197542"/>
                </a:cubicBezTo>
                <a:cubicBezTo>
                  <a:pt x="1589933" y="1198614"/>
                  <a:pt x="1589933" y="1198614"/>
                  <a:pt x="1590055" y="1200372"/>
                </a:cubicBezTo>
                <a:cubicBezTo>
                  <a:pt x="1589901" y="1202055"/>
                  <a:pt x="1585089" y="1203411"/>
                  <a:pt x="1584935" y="1205094"/>
                </a:cubicBezTo>
                <a:cubicBezTo>
                  <a:pt x="1584935" y="1205094"/>
                  <a:pt x="1584935" y="1205094"/>
                  <a:pt x="1581396" y="1203916"/>
                </a:cubicBezTo>
                <a:cubicBezTo>
                  <a:pt x="1580154" y="1203009"/>
                  <a:pt x="1578944" y="1201994"/>
                  <a:pt x="1578823" y="1200236"/>
                </a:cubicBezTo>
                <a:cubicBezTo>
                  <a:pt x="1578977" y="1198552"/>
                  <a:pt x="1581431" y="1197140"/>
                  <a:pt x="1582549" y="1196290"/>
                </a:cubicBezTo>
                <a:close/>
                <a:moveTo>
                  <a:pt x="877789" y="1195593"/>
                </a:moveTo>
                <a:cubicBezTo>
                  <a:pt x="890819" y="1202304"/>
                  <a:pt x="897241" y="1203796"/>
                  <a:pt x="906923" y="1209725"/>
                </a:cubicBezTo>
                <a:cubicBezTo>
                  <a:pt x="906911" y="1210871"/>
                  <a:pt x="905222" y="1210533"/>
                  <a:pt x="905183" y="1211789"/>
                </a:cubicBezTo>
                <a:cubicBezTo>
                  <a:pt x="904209" y="1212102"/>
                  <a:pt x="902739" y="1212053"/>
                  <a:pt x="900802" y="1211534"/>
                </a:cubicBezTo>
                <a:cubicBezTo>
                  <a:pt x="894657" y="1210117"/>
                  <a:pt x="885432" y="1205806"/>
                  <a:pt x="885415" y="1204766"/>
                </a:cubicBezTo>
                <a:cubicBezTo>
                  <a:pt x="883726" y="1204428"/>
                  <a:pt x="883765" y="1203174"/>
                  <a:pt x="882353" y="1202911"/>
                </a:cubicBezTo>
                <a:cubicBezTo>
                  <a:pt x="882353" y="1202911"/>
                  <a:pt x="880693" y="1202465"/>
                  <a:pt x="879043" y="1200873"/>
                </a:cubicBezTo>
                <a:cubicBezTo>
                  <a:pt x="877393" y="1199282"/>
                  <a:pt x="876022" y="1197764"/>
                  <a:pt x="877789" y="1195593"/>
                </a:cubicBezTo>
                <a:close/>
                <a:moveTo>
                  <a:pt x="5450727" y="1195106"/>
                </a:moveTo>
                <a:cubicBezTo>
                  <a:pt x="5452884" y="1195913"/>
                  <a:pt x="5452560" y="1194906"/>
                  <a:pt x="5453485" y="1196994"/>
                </a:cubicBezTo>
                <a:cubicBezTo>
                  <a:pt x="5451051" y="1196112"/>
                  <a:pt x="5451328" y="1196186"/>
                  <a:pt x="5449495" y="1196384"/>
                </a:cubicBezTo>
                <a:cubicBezTo>
                  <a:pt x="5449495" y="1196384"/>
                  <a:pt x="5450727" y="1195106"/>
                  <a:pt x="5450727" y="1195106"/>
                </a:cubicBezTo>
                <a:close/>
                <a:moveTo>
                  <a:pt x="5461189" y="1194804"/>
                </a:moveTo>
                <a:cubicBezTo>
                  <a:pt x="5461189" y="1194804"/>
                  <a:pt x="5461512" y="1195810"/>
                  <a:pt x="5461512" y="1195810"/>
                </a:cubicBezTo>
                <a:cubicBezTo>
                  <a:pt x="5460596" y="1195909"/>
                  <a:pt x="5459956" y="1196083"/>
                  <a:pt x="5459068" y="1196076"/>
                </a:cubicBezTo>
                <a:cubicBezTo>
                  <a:pt x="5458487" y="1196034"/>
                  <a:pt x="5457685" y="1195705"/>
                  <a:pt x="5457523" y="1195201"/>
                </a:cubicBezTo>
                <a:cubicBezTo>
                  <a:pt x="5457200" y="1194195"/>
                  <a:pt x="5459033" y="1193995"/>
                  <a:pt x="5461189" y="1194804"/>
                </a:cubicBezTo>
                <a:close/>
                <a:moveTo>
                  <a:pt x="5398387" y="1194536"/>
                </a:moveTo>
                <a:cubicBezTo>
                  <a:pt x="5405136" y="1193699"/>
                  <a:pt x="5411044" y="1193787"/>
                  <a:pt x="5416751" y="1194627"/>
                </a:cubicBezTo>
                <a:lnTo>
                  <a:pt x="5422591" y="1196075"/>
                </a:lnTo>
                <a:lnTo>
                  <a:pt x="5427115" y="1195794"/>
                </a:lnTo>
                <a:cubicBezTo>
                  <a:pt x="5433777" y="1195279"/>
                  <a:pt x="5445126" y="1194984"/>
                  <a:pt x="5449277" y="1196096"/>
                </a:cubicBezTo>
                <a:cubicBezTo>
                  <a:pt x="5445115" y="1196131"/>
                  <a:pt x="5440199" y="1196769"/>
                  <a:pt x="5435646" y="1197159"/>
                </a:cubicBezTo>
                <a:lnTo>
                  <a:pt x="5423144" y="1196225"/>
                </a:lnTo>
                <a:lnTo>
                  <a:pt x="5432304" y="1198563"/>
                </a:lnTo>
                <a:cubicBezTo>
                  <a:pt x="5442617" y="1202132"/>
                  <a:pt x="5452614" y="1206881"/>
                  <a:pt x="5465401" y="1210077"/>
                </a:cubicBezTo>
                <a:cubicBezTo>
                  <a:pt x="5464925" y="1225130"/>
                  <a:pt x="5477320" y="1228680"/>
                  <a:pt x="5485272" y="1235527"/>
                </a:cubicBezTo>
                <a:cubicBezTo>
                  <a:pt x="5483476" y="1237805"/>
                  <a:pt x="5482175" y="1240447"/>
                  <a:pt x="5481427" y="1243237"/>
                </a:cubicBezTo>
                <a:lnTo>
                  <a:pt x="5479986" y="1251936"/>
                </a:lnTo>
                <a:lnTo>
                  <a:pt x="5486756" y="1257659"/>
                </a:lnTo>
                <a:cubicBezTo>
                  <a:pt x="5489739" y="1262024"/>
                  <a:pt x="5489390" y="1266646"/>
                  <a:pt x="5485293" y="1268653"/>
                </a:cubicBezTo>
                <a:lnTo>
                  <a:pt x="5477772" y="1269052"/>
                </a:lnTo>
                <a:lnTo>
                  <a:pt x="5477703" y="1270415"/>
                </a:lnTo>
                <a:cubicBezTo>
                  <a:pt x="5468547" y="1273596"/>
                  <a:pt x="5460993" y="1277437"/>
                  <a:pt x="5453468" y="1281171"/>
                </a:cubicBezTo>
                <a:lnTo>
                  <a:pt x="5451129" y="1282154"/>
                </a:lnTo>
                <a:lnTo>
                  <a:pt x="5455995" y="1283917"/>
                </a:lnTo>
                <a:lnTo>
                  <a:pt x="5461065" y="1290451"/>
                </a:lnTo>
                <a:lnTo>
                  <a:pt x="5468471" y="1290480"/>
                </a:lnTo>
                <a:cubicBezTo>
                  <a:pt x="5474702" y="1291575"/>
                  <a:pt x="5480951" y="1293710"/>
                  <a:pt x="5485167" y="1296794"/>
                </a:cubicBezTo>
                <a:lnTo>
                  <a:pt x="5489598" y="1303502"/>
                </a:lnTo>
                <a:lnTo>
                  <a:pt x="5490705" y="1303798"/>
                </a:lnTo>
                <a:cubicBezTo>
                  <a:pt x="5493392" y="1307049"/>
                  <a:pt x="5494409" y="1311001"/>
                  <a:pt x="5492462" y="1311629"/>
                </a:cubicBezTo>
                <a:cubicBezTo>
                  <a:pt x="5489817" y="1312646"/>
                  <a:pt x="5486895" y="1313588"/>
                  <a:pt x="5484053" y="1312021"/>
                </a:cubicBezTo>
                <a:cubicBezTo>
                  <a:pt x="5483032" y="1311403"/>
                  <a:pt x="5482069" y="1310570"/>
                  <a:pt x="5480916" y="1309340"/>
                </a:cubicBezTo>
                <a:cubicBezTo>
                  <a:pt x="5480916" y="1309340"/>
                  <a:pt x="5480916" y="1309340"/>
                  <a:pt x="5481203" y="1308267"/>
                </a:cubicBezTo>
                <a:lnTo>
                  <a:pt x="5481749" y="1306229"/>
                </a:lnTo>
                <a:lnTo>
                  <a:pt x="5469854" y="1308562"/>
                </a:lnTo>
                <a:cubicBezTo>
                  <a:pt x="5462057" y="1308887"/>
                  <a:pt x="5453163" y="1307770"/>
                  <a:pt x="5442982" y="1304811"/>
                </a:cubicBezTo>
                <a:cubicBezTo>
                  <a:pt x="5436815" y="1296834"/>
                  <a:pt x="5441631" y="1292144"/>
                  <a:pt x="5449832" y="1290316"/>
                </a:cubicBezTo>
                <a:lnTo>
                  <a:pt x="5450385" y="1290464"/>
                </a:lnTo>
                <a:lnTo>
                  <a:pt x="5450090" y="1289351"/>
                </a:lnTo>
                <a:cubicBezTo>
                  <a:pt x="5449033" y="1286653"/>
                  <a:pt x="5447948" y="1284062"/>
                  <a:pt x="5447948" y="1284062"/>
                </a:cubicBezTo>
                <a:lnTo>
                  <a:pt x="5450432" y="1282543"/>
                </a:lnTo>
                <a:lnTo>
                  <a:pt x="5429233" y="1291927"/>
                </a:lnTo>
                <a:lnTo>
                  <a:pt x="5415398" y="1288220"/>
                </a:lnTo>
                <a:lnTo>
                  <a:pt x="5415340" y="1288435"/>
                </a:lnTo>
                <a:cubicBezTo>
                  <a:pt x="5415254" y="1288757"/>
                  <a:pt x="5415721" y="1289227"/>
                  <a:pt x="5415301" y="1289690"/>
                </a:cubicBezTo>
                <a:cubicBezTo>
                  <a:pt x="5415301" y="1289690"/>
                  <a:pt x="5415865" y="1288690"/>
                  <a:pt x="5417209" y="1290316"/>
                </a:cubicBezTo>
                <a:cubicBezTo>
                  <a:pt x="5415577" y="1289764"/>
                  <a:pt x="5415290" y="1290836"/>
                  <a:pt x="5414697" y="1291942"/>
                </a:cubicBezTo>
                <a:cubicBezTo>
                  <a:pt x="5410830" y="1293091"/>
                  <a:pt x="5405333" y="1293688"/>
                  <a:pt x="5402385" y="1291403"/>
                </a:cubicBezTo>
                <a:cubicBezTo>
                  <a:pt x="5401070" y="1289671"/>
                  <a:pt x="5400833" y="1288343"/>
                  <a:pt x="5401397" y="1287344"/>
                </a:cubicBezTo>
                <a:lnTo>
                  <a:pt x="5403183" y="1286212"/>
                </a:lnTo>
                <a:lnTo>
                  <a:pt x="5392878" y="1284830"/>
                </a:lnTo>
                <a:cubicBezTo>
                  <a:pt x="5380299" y="1283071"/>
                  <a:pt x="5368010" y="1280238"/>
                  <a:pt x="5360373" y="1272212"/>
                </a:cubicBezTo>
                <a:cubicBezTo>
                  <a:pt x="5360848" y="1257159"/>
                  <a:pt x="5349848" y="1252831"/>
                  <a:pt x="5345220" y="1243541"/>
                </a:cubicBezTo>
                <a:cubicBezTo>
                  <a:pt x="5346266" y="1238531"/>
                  <a:pt x="5347980" y="1233240"/>
                  <a:pt x="5350858" y="1228032"/>
                </a:cubicBezTo>
                <a:lnTo>
                  <a:pt x="5356116" y="1220585"/>
                </a:lnTo>
                <a:lnTo>
                  <a:pt x="5352677" y="1214604"/>
                </a:lnTo>
                <a:lnTo>
                  <a:pt x="5359548" y="1215524"/>
                </a:lnTo>
                <a:lnTo>
                  <a:pt x="5361345" y="1213246"/>
                </a:lnTo>
                <a:lnTo>
                  <a:pt x="5368471" y="1207681"/>
                </a:lnTo>
                <a:lnTo>
                  <a:pt x="5367785" y="1206921"/>
                </a:lnTo>
                <a:cubicBezTo>
                  <a:pt x="5366937" y="1205660"/>
                  <a:pt x="5367529" y="1204552"/>
                  <a:pt x="5368676" y="1203595"/>
                </a:cubicBezTo>
                <a:lnTo>
                  <a:pt x="5375931" y="1201974"/>
                </a:lnTo>
                <a:lnTo>
                  <a:pt x="5376992" y="1201338"/>
                </a:lnTo>
                <a:cubicBezTo>
                  <a:pt x="5383208" y="1198059"/>
                  <a:pt x="5390360" y="1195719"/>
                  <a:pt x="5398387" y="1194536"/>
                </a:cubicBezTo>
                <a:close/>
                <a:moveTo>
                  <a:pt x="5469160" y="1193834"/>
                </a:moveTo>
                <a:cubicBezTo>
                  <a:pt x="5471286" y="1194749"/>
                  <a:pt x="5470981" y="1194783"/>
                  <a:pt x="5472153" y="1197050"/>
                </a:cubicBezTo>
                <a:cubicBezTo>
                  <a:pt x="5469242" y="1196846"/>
                  <a:pt x="5468106" y="1196657"/>
                  <a:pt x="5466970" y="1196468"/>
                </a:cubicBezTo>
                <a:cubicBezTo>
                  <a:pt x="5465587" y="1196097"/>
                  <a:pt x="5464509" y="1195693"/>
                  <a:pt x="5462382" y="1194778"/>
                </a:cubicBezTo>
                <a:cubicBezTo>
                  <a:pt x="5464214" y="1194579"/>
                  <a:pt x="5467032" y="1192919"/>
                  <a:pt x="5469160" y="1193834"/>
                </a:cubicBezTo>
                <a:close/>
                <a:moveTo>
                  <a:pt x="5955031" y="1193495"/>
                </a:moveTo>
                <a:cubicBezTo>
                  <a:pt x="5965248" y="1189678"/>
                  <a:pt x="5973207" y="1198711"/>
                  <a:pt x="5973523" y="1197531"/>
                </a:cubicBezTo>
                <a:cubicBezTo>
                  <a:pt x="5975443" y="1197010"/>
                  <a:pt x="5975443" y="1197010"/>
                  <a:pt x="5975759" y="1195830"/>
                </a:cubicBezTo>
                <a:cubicBezTo>
                  <a:pt x="5977362" y="1196490"/>
                  <a:pt x="5980912" y="1196521"/>
                  <a:pt x="5982831" y="1196000"/>
                </a:cubicBezTo>
                <a:cubicBezTo>
                  <a:pt x="5982543" y="1197073"/>
                  <a:pt x="5982256" y="1198146"/>
                  <a:pt x="5983859" y="1198805"/>
                </a:cubicBezTo>
                <a:cubicBezTo>
                  <a:pt x="5979744" y="1199773"/>
                  <a:pt x="5978112" y="1199221"/>
                  <a:pt x="5976193" y="1199741"/>
                </a:cubicBezTo>
                <a:cubicBezTo>
                  <a:pt x="5977796" y="1200401"/>
                  <a:pt x="5975877" y="1200922"/>
                  <a:pt x="5975877" y="1200922"/>
                </a:cubicBezTo>
                <a:cubicBezTo>
                  <a:pt x="5975877" y="1200922"/>
                  <a:pt x="5975877" y="1200922"/>
                  <a:pt x="5978537" y="1204279"/>
                </a:cubicBezTo>
                <a:cubicBezTo>
                  <a:pt x="5978537" y="1204279"/>
                  <a:pt x="5983262" y="1212100"/>
                  <a:pt x="5974964" y="1215398"/>
                </a:cubicBezTo>
                <a:cubicBezTo>
                  <a:pt x="5974116" y="1214135"/>
                  <a:pt x="5967195" y="1215615"/>
                  <a:pt x="5961269" y="1214488"/>
                </a:cubicBezTo>
                <a:cubicBezTo>
                  <a:pt x="5959580" y="1214150"/>
                  <a:pt x="5957672" y="1213524"/>
                  <a:pt x="5956184" y="1212435"/>
                </a:cubicBezTo>
                <a:cubicBezTo>
                  <a:pt x="5953238" y="1210151"/>
                  <a:pt x="5951923" y="1208418"/>
                  <a:pt x="5949253" y="1206208"/>
                </a:cubicBezTo>
                <a:cubicBezTo>
                  <a:pt x="5950144" y="1202882"/>
                  <a:pt x="5946446" y="1197866"/>
                  <a:pt x="5955031" y="1193495"/>
                </a:cubicBezTo>
                <a:close/>
                <a:moveTo>
                  <a:pt x="1853381" y="1192728"/>
                </a:moveTo>
                <a:cubicBezTo>
                  <a:pt x="1853381" y="1192728"/>
                  <a:pt x="1854765" y="1193098"/>
                  <a:pt x="1854765" y="1193098"/>
                </a:cubicBezTo>
                <a:cubicBezTo>
                  <a:pt x="1854420" y="1194386"/>
                  <a:pt x="1853827" y="1195492"/>
                  <a:pt x="1852444" y="1195122"/>
                </a:cubicBezTo>
                <a:cubicBezTo>
                  <a:pt x="1851613" y="1194899"/>
                  <a:pt x="1851423" y="1194504"/>
                  <a:pt x="1851538" y="1194074"/>
                </a:cubicBezTo>
                <a:cubicBezTo>
                  <a:pt x="1851929" y="1193719"/>
                  <a:pt x="1852378" y="1193149"/>
                  <a:pt x="1853381" y="1192728"/>
                </a:cubicBezTo>
                <a:close/>
                <a:moveTo>
                  <a:pt x="1831727" y="1191640"/>
                </a:moveTo>
                <a:cubicBezTo>
                  <a:pt x="1829999" y="1192558"/>
                  <a:pt x="1824792" y="1197602"/>
                  <a:pt x="1823170" y="1195903"/>
                </a:cubicBezTo>
                <a:cubicBezTo>
                  <a:pt x="1823170" y="1195903"/>
                  <a:pt x="1824898" y="1194986"/>
                  <a:pt x="1826599" y="1194176"/>
                </a:cubicBezTo>
                <a:cubicBezTo>
                  <a:pt x="1828327" y="1193260"/>
                  <a:pt x="1828298" y="1193367"/>
                  <a:pt x="1826649" y="1191776"/>
                </a:cubicBezTo>
                <a:cubicBezTo>
                  <a:pt x="1828377" y="1190859"/>
                  <a:pt x="1828377" y="1190859"/>
                  <a:pt x="1831727" y="1191640"/>
                </a:cubicBezTo>
                <a:close/>
                <a:moveTo>
                  <a:pt x="2162323" y="1189717"/>
                </a:moveTo>
                <a:lnTo>
                  <a:pt x="2164584" y="1191244"/>
                </a:lnTo>
                <a:lnTo>
                  <a:pt x="2169834" y="1190465"/>
                </a:lnTo>
                <a:lnTo>
                  <a:pt x="2167607" y="1194354"/>
                </a:lnTo>
                <a:lnTo>
                  <a:pt x="2168415" y="1196870"/>
                </a:lnTo>
                <a:cubicBezTo>
                  <a:pt x="2168405" y="1198017"/>
                  <a:pt x="2167534" y="1199049"/>
                  <a:pt x="2166140" y="1199826"/>
                </a:cubicBezTo>
                <a:lnTo>
                  <a:pt x="2162637" y="1200727"/>
                </a:lnTo>
                <a:lnTo>
                  <a:pt x="2157048" y="1204979"/>
                </a:lnTo>
                <a:lnTo>
                  <a:pt x="2146613" y="1208509"/>
                </a:lnTo>
                <a:lnTo>
                  <a:pt x="2156714" y="1213975"/>
                </a:lnTo>
                <a:cubicBezTo>
                  <a:pt x="2160883" y="1216128"/>
                  <a:pt x="2164526" y="1218023"/>
                  <a:pt x="2168742" y="1221107"/>
                </a:cubicBezTo>
                <a:cubicBezTo>
                  <a:pt x="2168149" y="1222215"/>
                  <a:pt x="2166517" y="1221661"/>
                  <a:pt x="2166200" y="1222842"/>
                </a:cubicBezTo>
                <a:cubicBezTo>
                  <a:pt x="2165227" y="1223156"/>
                  <a:pt x="2163509" y="1222926"/>
                  <a:pt x="2161324" y="1222225"/>
                </a:cubicBezTo>
                <a:cubicBezTo>
                  <a:pt x="2155542" y="1220561"/>
                  <a:pt x="2146987" y="1215968"/>
                  <a:pt x="2147493" y="1215184"/>
                </a:cubicBezTo>
                <a:cubicBezTo>
                  <a:pt x="2145862" y="1214633"/>
                  <a:pt x="2146427" y="1213633"/>
                  <a:pt x="2144766" y="1213188"/>
                </a:cubicBezTo>
                <a:cubicBezTo>
                  <a:pt x="2144766" y="1213188"/>
                  <a:pt x="2143135" y="1212636"/>
                  <a:pt x="2142067" y="1211086"/>
                </a:cubicBezTo>
                <a:lnTo>
                  <a:pt x="2140866" y="1208923"/>
                </a:lnTo>
                <a:lnTo>
                  <a:pt x="2136342" y="1209206"/>
                </a:lnTo>
                <a:cubicBezTo>
                  <a:pt x="2137594" y="1200111"/>
                  <a:pt x="2149186" y="1194477"/>
                  <a:pt x="2159917" y="1192062"/>
                </a:cubicBezTo>
                <a:close/>
                <a:moveTo>
                  <a:pt x="5624660" y="1189039"/>
                </a:moveTo>
                <a:cubicBezTo>
                  <a:pt x="5633313" y="1192163"/>
                  <a:pt x="5626320" y="1198340"/>
                  <a:pt x="5620718" y="1198219"/>
                </a:cubicBezTo>
                <a:cubicBezTo>
                  <a:pt x="5618695" y="1198021"/>
                  <a:pt x="5617121" y="1197254"/>
                  <a:pt x="5616140" y="1195381"/>
                </a:cubicBezTo>
                <a:cubicBezTo>
                  <a:pt x="5617908" y="1193209"/>
                  <a:pt x="5621146" y="1191088"/>
                  <a:pt x="5624660" y="1189039"/>
                </a:cubicBezTo>
                <a:close/>
                <a:moveTo>
                  <a:pt x="5579651" y="1187674"/>
                </a:moveTo>
                <a:cubicBezTo>
                  <a:pt x="5587855" y="1182513"/>
                  <a:pt x="5592832" y="1196036"/>
                  <a:pt x="5583995" y="1194703"/>
                </a:cubicBezTo>
                <a:cubicBezTo>
                  <a:pt x="5582986" y="1192938"/>
                  <a:pt x="5580374" y="1190513"/>
                  <a:pt x="5579651" y="1187674"/>
                </a:cubicBezTo>
                <a:close/>
                <a:moveTo>
                  <a:pt x="1855955" y="1187553"/>
                </a:moveTo>
                <a:cubicBezTo>
                  <a:pt x="1857902" y="1186924"/>
                  <a:pt x="1857902" y="1186924"/>
                  <a:pt x="1861222" y="1187814"/>
                </a:cubicBezTo>
                <a:cubicBezTo>
                  <a:pt x="1858088" y="1190655"/>
                  <a:pt x="1858088" y="1190655"/>
                  <a:pt x="1853888" y="1191943"/>
                </a:cubicBezTo>
                <a:cubicBezTo>
                  <a:pt x="1854452" y="1190944"/>
                  <a:pt x="1853701" y="1188214"/>
                  <a:pt x="1855955" y="1187553"/>
                </a:cubicBezTo>
                <a:close/>
                <a:moveTo>
                  <a:pt x="5230561" y="1185562"/>
                </a:moveTo>
                <a:cubicBezTo>
                  <a:pt x="5230877" y="1184383"/>
                  <a:pt x="5235398" y="1187434"/>
                  <a:pt x="5235398" y="1187434"/>
                </a:cubicBezTo>
                <a:cubicBezTo>
                  <a:pt x="5236436" y="1189092"/>
                  <a:pt x="5232005" y="1191239"/>
                  <a:pt x="5231718" y="1192313"/>
                </a:cubicBezTo>
                <a:cubicBezTo>
                  <a:pt x="5230087" y="1191761"/>
                  <a:pt x="5228800" y="1189921"/>
                  <a:pt x="5227168" y="1189369"/>
                </a:cubicBezTo>
                <a:cubicBezTo>
                  <a:pt x="5227485" y="1188187"/>
                  <a:pt x="5228365" y="1186009"/>
                  <a:pt x="5230561" y="1185562"/>
                </a:cubicBezTo>
                <a:close/>
                <a:moveTo>
                  <a:pt x="5558057" y="1183038"/>
                </a:moveTo>
                <a:cubicBezTo>
                  <a:pt x="5561083" y="1182814"/>
                  <a:pt x="5564461" y="1183489"/>
                  <a:pt x="5567742" y="1185634"/>
                </a:cubicBezTo>
                <a:cubicBezTo>
                  <a:pt x="5567562" y="1192945"/>
                  <a:pt x="5569395" y="1201601"/>
                  <a:pt x="5557780" y="1200675"/>
                </a:cubicBezTo>
                <a:cubicBezTo>
                  <a:pt x="5544369" y="1193171"/>
                  <a:pt x="5549285" y="1183678"/>
                  <a:pt x="5558057" y="1183038"/>
                </a:cubicBezTo>
                <a:close/>
                <a:moveTo>
                  <a:pt x="5013585" y="1181820"/>
                </a:moveTo>
                <a:lnTo>
                  <a:pt x="5015482" y="1183594"/>
                </a:lnTo>
                <a:cubicBezTo>
                  <a:pt x="5017847" y="1185837"/>
                  <a:pt x="5020621" y="1188765"/>
                  <a:pt x="5021171" y="1192247"/>
                </a:cubicBezTo>
                <a:lnTo>
                  <a:pt x="5020262" y="1194533"/>
                </a:lnTo>
                <a:lnTo>
                  <a:pt x="5026482" y="1196776"/>
                </a:lnTo>
                <a:cubicBezTo>
                  <a:pt x="5029789" y="1193292"/>
                  <a:pt x="5025329" y="1186692"/>
                  <a:pt x="5018289" y="1183081"/>
                </a:cubicBezTo>
                <a:close/>
                <a:moveTo>
                  <a:pt x="1633074" y="1180388"/>
                </a:moveTo>
                <a:cubicBezTo>
                  <a:pt x="1636769" y="1179883"/>
                  <a:pt x="1637732" y="1180715"/>
                  <a:pt x="1638940" y="1185064"/>
                </a:cubicBezTo>
                <a:cubicBezTo>
                  <a:pt x="1638935" y="1188398"/>
                  <a:pt x="1640298" y="1191063"/>
                  <a:pt x="1638932" y="1191732"/>
                </a:cubicBezTo>
                <a:cubicBezTo>
                  <a:pt x="1640171" y="1192639"/>
                  <a:pt x="1640265" y="1194504"/>
                  <a:pt x="1641505" y="1195412"/>
                </a:cubicBezTo>
                <a:cubicBezTo>
                  <a:pt x="1641505" y="1195412"/>
                  <a:pt x="1641534" y="1195305"/>
                  <a:pt x="1640140" y="1196080"/>
                </a:cubicBezTo>
                <a:cubicBezTo>
                  <a:pt x="1636603" y="1191569"/>
                  <a:pt x="1629374" y="1187561"/>
                  <a:pt x="1628442" y="1183287"/>
                </a:cubicBezTo>
                <a:cubicBezTo>
                  <a:pt x="1628367" y="1182462"/>
                  <a:pt x="1628291" y="1181636"/>
                  <a:pt x="1629017" y="1181140"/>
                </a:cubicBezTo>
                <a:cubicBezTo>
                  <a:pt x="1629466" y="1180570"/>
                  <a:pt x="1630746" y="1180223"/>
                  <a:pt x="1633074" y="1180388"/>
                </a:cubicBezTo>
                <a:close/>
                <a:moveTo>
                  <a:pt x="924985" y="1179948"/>
                </a:moveTo>
                <a:cubicBezTo>
                  <a:pt x="926673" y="1180285"/>
                  <a:pt x="928046" y="1181803"/>
                  <a:pt x="928046" y="1181803"/>
                </a:cubicBezTo>
                <a:cubicBezTo>
                  <a:pt x="929696" y="1183396"/>
                  <a:pt x="929696" y="1183396"/>
                  <a:pt x="931394" y="1182586"/>
                </a:cubicBezTo>
                <a:cubicBezTo>
                  <a:pt x="931394" y="1182586"/>
                  <a:pt x="931354" y="1183840"/>
                  <a:pt x="931354" y="1183840"/>
                </a:cubicBezTo>
                <a:cubicBezTo>
                  <a:pt x="930526" y="1183618"/>
                  <a:pt x="930526" y="1183618"/>
                  <a:pt x="931050" y="1183873"/>
                </a:cubicBezTo>
                <a:lnTo>
                  <a:pt x="932013" y="1184707"/>
                </a:lnTo>
                <a:lnTo>
                  <a:pt x="933925" y="1181998"/>
                </a:lnTo>
                <a:cubicBezTo>
                  <a:pt x="941524" y="1179090"/>
                  <a:pt x="957283" y="1187798"/>
                  <a:pt x="957448" y="1193822"/>
                </a:cubicBezTo>
                <a:cubicBezTo>
                  <a:pt x="954677" y="1196415"/>
                  <a:pt x="951936" y="1198900"/>
                  <a:pt x="949470" y="1201459"/>
                </a:cubicBezTo>
                <a:cubicBezTo>
                  <a:pt x="945384" y="1202320"/>
                  <a:pt x="941309" y="1202032"/>
                  <a:pt x="937769" y="1200854"/>
                </a:cubicBezTo>
                <a:cubicBezTo>
                  <a:pt x="934506" y="1199750"/>
                  <a:pt x="931474" y="1197787"/>
                  <a:pt x="930055" y="1195337"/>
                </a:cubicBezTo>
                <a:cubicBezTo>
                  <a:pt x="928987" y="1193786"/>
                  <a:pt x="928312" y="1191879"/>
                  <a:pt x="928552" y="1189874"/>
                </a:cubicBezTo>
                <a:lnTo>
                  <a:pt x="928916" y="1189627"/>
                </a:lnTo>
                <a:lnTo>
                  <a:pt x="926080" y="1190247"/>
                </a:lnTo>
                <a:cubicBezTo>
                  <a:pt x="924887" y="1190272"/>
                  <a:pt x="923474" y="1190009"/>
                  <a:pt x="922818" y="1189143"/>
                </a:cubicBezTo>
                <a:cubicBezTo>
                  <a:pt x="922827" y="1187996"/>
                  <a:pt x="921415" y="1187732"/>
                  <a:pt x="921454" y="1186478"/>
                </a:cubicBezTo>
                <a:cubicBezTo>
                  <a:pt x="919844" y="1183631"/>
                  <a:pt x="919884" y="1182376"/>
                  <a:pt x="921584" y="1181567"/>
                </a:cubicBezTo>
                <a:cubicBezTo>
                  <a:pt x="921624" y="1180312"/>
                  <a:pt x="923284" y="1180757"/>
                  <a:pt x="924985" y="1179948"/>
                </a:cubicBezTo>
                <a:close/>
                <a:moveTo>
                  <a:pt x="1985604" y="1179626"/>
                </a:moveTo>
                <a:cubicBezTo>
                  <a:pt x="1993232" y="1185465"/>
                  <a:pt x="1983788" y="1189720"/>
                  <a:pt x="1978836" y="1188277"/>
                </a:cubicBezTo>
                <a:cubicBezTo>
                  <a:pt x="1969576" y="1181887"/>
                  <a:pt x="1980929" y="1178259"/>
                  <a:pt x="1985604" y="1179626"/>
                </a:cubicBezTo>
                <a:close/>
                <a:moveTo>
                  <a:pt x="5716127" y="1176403"/>
                </a:moveTo>
                <a:cubicBezTo>
                  <a:pt x="5717903" y="1176418"/>
                  <a:pt x="5719419" y="1177400"/>
                  <a:pt x="5720268" y="1178662"/>
                </a:cubicBezTo>
                <a:cubicBezTo>
                  <a:pt x="5723393" y="1182490"/>
                  <a:pt x="5722268" y="1190008"/>
                  <a:pt x="5715167" y="1189946"/>
                </a:cubicBezTo>
                <a:cubicBezTo>
                  <a:pt x="5712037" y="1189452"/>
                  <a:pt x="5709159" y="1185806"/>
                  <a:pt x="5708304" y="1182356"/>
                </a:cubicBezTo>
                <a:cubicBezTo>
                  <a:pt x="5707726" y="1178981"/>
                  <a:pt x="5709446" y="1175878"/>
                  <a:pt x="5716127" y="1176403"/>
                </a:cubicBezTo>
                <a:close/>
                <a:moveTo>
                  <a:pt x="2127893" y="1175433"/>
                </a:moveTo>
                <a:cubicBezTo>
                  <a:pt x="2127054" y="1176357"/>
                  <a:pt x="2128569" y="1177338"/>
                  <a:pt x="2128569" y="1177338"/>
                </a:cubicBezTo>
                <a:cubicBezTo>
                  <a:pt x="2128569" y="1177338"/>
                  <a:pt x="2128322" y="1177157"/>
                  <a:pt x="2129411" y="1176414"/>
                </a:cubicBezTo>
                <a:cubicBezTo>
                  <a:pt x="2129486" y="1177238"/>
                  <a:pt x="2129066" y="1177700"/>
                  <a:pt x="2128703" y="1177949"/>
                </a:cubicBezTo>
                <a:cubicBezTo>
                  <a:pt x="2128063" y="1178123"/>
                  <a:pt x="2127481" y="1178081"/>
                  <a:pt x="2127481" y="1178081"/>
                </a:cubicBezTo>
                <a:cubicBezTo>
                  <a:pt x="2126318" y="1177999"/>
                  <a:pt x="2125153" y="1177918"/>
                  <a:pt x="2124351" y="1177588"/>
                </a:cubicBezTo>
                <a:cubicBezTo>
                  <a:pt x="2123520" y="1177365"/>
                  <a:pt x="2122777" y="1176821"/>
                  <a:pt x="2122425" y="1175921"/>
                </a:cubicBezTo>
                <a:cubicBezTo>
                  <a:pt x="2122425" y="1175921"/>
                  <a:pt x="2123514" y="1175178"/>
                  <a:pt x="2127893" y="1175433"/>
                </a:cubicBezTo>
                <a:close/>
                <a:moveTo>
                  <a:pt x="5463788" y="1175144"/>
                </a:moveTo>
                <a:cubicBezTo>
                  <a:pt x="5475355" y="1175139"/>
                  <a:pt x="5496104" y="1184034"/>
                  <a:pt x="5492036" y="1194788"/>
                </a:cubicBezTo>
                <a:cubicBezTo>
                  <a:pt x="5482994" y="1188686"/>
                  <a:pt x="5471118" y="1183204"/>
                  <a:pt x="5463788" y="1175144"/>
                </a:cubicBezTo>
                <a:close/>
                <a:moveTo>
                  <a:pt x="1227919" y="1174178"/>
                </a:moveTo>
                <a:cubicBezTo>
                  <a:pt x="1232669" y="1174990"/>
                  <a:pt x="1238065" y="1176436"/>
                  <a:pt x="1243240" y="1177593"/>
                </a:cubicBezTo>
                <a:cubicBezTo>
                  <a:pt x="1242130" y="1180631"/>
                  <a:pt x="1241423" y="1182167"/>
                  <a:pt x="1241591" y="1184857"/>
                </a:cubicBezTo>
                <a:cubicBezTo>
                  <a:pt x="1234732" y="1182788"/>
                  <a:pt x="1229215" y="1182345"/>
                  <a:pt x="1225007" y="1181448"/>
                </a:cubicBezTo>
                <a:cubicBezTo>
                  <a:pt x="1220827" y="1180443"/>
                  <a:pt x="1217986" y="1178876"/>
                  <a:pt x="1216474" y="1174561"/>
                </a:cubicBezTo>
                <a:cubicBezTo>
                  <a:pt x="1219065" y="1173186"/>
                  <a:pt x="1223170" y="1173365"/>
                  <a:pt x="1227919" y="1174178"/>
                </a:cubicBezTo>
                <a:close/>
                <a:moveTo>
                  <a:pt x="1337727" y="1173614"/>
                </a:moveTo>
                <a:cubicBezTo>
                  <a:pt x="1339525" y="1174096"/>
                  <a:pt x="1341397" y="1174857"/>
                  <a:pt x="1342161" y="1174773"/>
                </a:cubicBezTo>
                <a:cubicBezTo>
                  <a:pt x="1344231" y="1175904"/>
                  <a:pt x="1346024" y="1176959"/>
                  <a:pt x="1344792" y="1178239"/>
                </a:cubicBezTo>
                <a:cubicBezTo>
                  <a:pt x="1343530" y="1179625"/>
                  <a:pt x="1343824" y="1180739"/>
                  <a:pt x="1340227" y="1179775"/>
                </a:cubicBezTo>
                <a:cubicBezTo>
                  <a:pt x="1338423" y="1179867"/>
                  <a:pt x="1336630" y="1178812"/>
                  <a:pt x="1334826" y="1178903"/>
                </a:cubicBezTo>
                <a:cubicBezTo>
                  <a:pt x="1334826" y="1178903"/>
                  <a:pt x="1334198" y="1177930"/>
                  <a:pt x="1333845" y="1177030"/>
                </a:cubicBezTo>
                <a:cubicBezTo>
                  <a:pt x="1333245" y="1175950"/>
                  <a:pt x="1332980" y="1174729"/>
                  <a:pt x="1333733" y="1174125"/>
                </a:cubicBezTo>
                <a:cubicBezTo>
                  <a:pt x="1334203" y="1172928"/>
                  <a:pt x="1335928" y="1173132"/>
                  <a:pt x="1337727" y="1173614"/>
                </a:cubicBezTo>
                <a:close/>
                <a:moveTo>
                  <a:pt x="1796834" y="1173551"/>
                </a:moveTo>
                <a:cubicBezTo>
                  <a:pt x="1799101" y="1172836"/>
                  <a:pt x="1801669" y="1172662"/>
                  <a:pt x="1804678" y="1174158"/>
                </a:cubicBezTo>
                <a:cubicBezTo>
                  <a:pt x="1802005" y="1175281"/>
                  <a:pt x="1796935" y="1177603"/>
                  <a:pt x="1793441" y="1177357"/>
                </a:cubicBezTo>
                <a:cubicBezTo>
                  <a:pt x="1792277" y="1177275"/>
                  <a:pt x="1791475" y="1176945"/>
                  <a:pt x="1790789" y="1176187"/>
                </a:cubicBezTo>
                <a:cubicBezTo>
                  <a:pt x="1792599" y="1175521"/>
                  <a:pt x="1794565" y="1174266"/>
                  <a:pt x="1796834" y="1173551"/>
                </a:cubicBezTo>
                <a:close/>
                <a:moveTo>
                  <a:pt x="5300582" y="1173274"/>
                </a:moveTo>
                <a:cubicBezTo>
                  <a:pt x="5302558" y="1172539"/>
                  <a:pt x="5305850" y="1173536"/>
                  <a:pt x="5308825" y="1175713"/>
                </a:cubicBezTo>
                <a:cubicBezTo>
                  <a:pt x="5306849" y="1176448"/>
                  <a:pt x="5308154" y="1179328"/>
                  <a:pt x="5306482" y="1180030"/>
                </a:cubicBezTo>
                <a:cubicBezTo>
                  <a:pt x="5306482" y="1180030"/>
                  <a:pt x="5301214" y="1179768"/>
                  <a:pt x="5301214" y="1179768"/>
                </a:cubicBezTo>
                <a:cubicBezTo>
                  <a:pt x="5299899" y="1178036"/>
                  <a:pt x="5299623" y="1177962"/>
                  <a:pt x="5301253" y="1178515"/>
                </a:cubicBezTo>
                <a:cubicBezTo>
                  <a:pt x="5300226" y="1175709"/>
                  <a:pt x="5300265" y="1174455"/>
                  <a:pt x="5300582" y="1173274"/>
                </a:cubicBezTo>
                <a:close/>
                <a:moveTo>
                  <a:pt x="1361555" y="1172538"/>
                </a:moveTo>
                <a:cubicBezTo>
                  <a:pt x="1363998" y="1172690"/>
                  <a:pt x="1366958" y="1173541"/>
                  <a:pt x="1370766" y="1174273"/>
                </a:cubicBezTo>
                <a:cubicBezTo>
                  <a:pt x="1369534" y="1175554"/>
                  <a:pt x="1375857" y="1178512"/>
                  <a:pt x="1377986" y="1179427"/>
                </a:cubicBezTo>
                <a:cubicBezTo>
                  <a:pt x="1377002" y="1180890"/>
                  <a:pt x="1378040" y="1182547"/>
                  <a:pt x="1379020" y="1184420"/>
                </a:cubicBezTo>
                <a:lnTo>
                  <a:pt x="1379886" y="1186722"/>
                </a:lnTo>
                <a:lnTo>
                  <a:pt x="1382854" y="1186713"/>
                </a:lnTo>
                <a:lnTo>
                  <a:pt x="1384708" y="1184218"/>
                </a:lnTo>
                <a:cubicBezTo>
                  <a:pt x="1387832" y="1182525"/>
                  <a:pt x="1392224" y="1181633"/>
                  <a:pt x="1397986" y="1182257"/>
                </a:cubicBezTo>
                <a:lnTo>
                  <a:pt x="1400330" y="1186794"/>
                </a:lnTo>
                <a:lnTo>
                  <a:pt x="1407736" y="1186824"/>
                </a:lnTo>
                <a:cubicBezTo>
                  <a:pt x="1406921" y="1190976"/>
                  <a:pt x="1410888" y="1193878"/>
                  <a:pt x="1408085" y="1199913"/>
                </a:cubicBezTo>
                <a:lnTo>
                  <a:pt x="1405422" y="1199889"/>
                </a:lnTo>
                <a:lnTo>
                  <a:pt x="1402400" y="1205635"/>
                </a:lnTo>
                <a:cubicBezTo>
                  <a:pt x="1400268" y="1208054"/>
                  <a:pt x="1396973" y="1210391"/>
                  <a:pt x="1392848" y="1212506"/>
                </a:cubicBezTo>
                <a:cubicBezTo>
                  <a:pt x="1387774" y="1209306"/>
                  <a:pt x="1384285" y="1205726"/>
                  <a:pt x="1381988" y="1202120"/>
                </a:cubicBezTo>
                <a:lnTo>
                  <a:pt x="1381352" y="1198960"/>
                </a:lnTo>
                <a:lnTo>
                  <a:pt x="1363991" y="1198448"/>
                </a:lnTo>
                <a:lnTo>
                  <a:pt x="1341143" y="1197387"/>
                </a:lnTo>
                <a:lnTo>
                  <a:pt x="1342875" y="1201991"/>
                </a:lnTo>
                <a:cubicBezTo>
                  <a:pt x="1343680" y="1207842"/>
                  <a:pt x="1343102" y="1213322"/>
                  <a:pt x="1341168" y="1218324"/>
                </a:cubicBezTo>
                <a:cubicBezTo>
                  <a:pt x="1339971" y="1221682"/>
                  <a:pt x="1337944" y="1224820"/>
                  <a:pt x="1335394" y="1227701"/>
                </a:cubicBezTo>
                <a:cubicBezTo>
                  <a:pt x="1322866" y="1223539"/>
                  <a:pt x="1324825" y="1212909"/>
                  <a:pt x="1323679" y="1205011"/>
                </a:cubicBezTo>
                <a:cubicBezTo>
                  <a:pt x="1312862" y="1207749"/>
                  <a:pt x="1298405" y="1214110"/>
                  <a:pt x="1291771" y="1205662"/>
                </a:cubicBezTo>
                <a:cubicBezTo>
                  <a:pt x="1295046" y="1196764"/>
                  <a:pt x="1312309" y="1198745"/>
                  <a:pt x="1324284" y="1193903"/>
                </a:cubicBezTo>
                <a:cubicBezTo>
                  <a:pt x="1327111" y="1191097"/>
                  <a:pt x="1325396" y="1187532"/>
                  <a:pt x="1329637" y="1184988"/>
                </a:cubicBezTo>
                <a:lnTo>
                  <a:pt x="1331948" y="1184111"/>
                </a:lnTo>
                <a:lnTo>
                  <a:pt x="1333138" y="1178566"/>
                </a:lnTo>
                <a:cubicBezTo>
                  <a:pt x="1336468" y="1178308"/>
                  <a:pt x="1340778" y="1183259"/>
                  <a:pt x="1343781" y="1185328"/>
                </a:cubicBezTo>
                <a:cubicBezTo>
                  <a:pt x="1342111" y="1186030"/>
                  <a:pt x="1340163" y="1186658"/>
                  <a:pt x="1341794" y="1187211"/>
                </a:cubicBezTo>
                <a:lnTo>
                  <a:pt x="1337575" y="1187460"/>
                </a:lnTo>
                <a:lnTo>
                  <a:pt x="1338574" y="1190373"/>
                </a:lnTo>
                <a:lnTo>
                  <a:pt x="1340580" y="1189530"/>
                </a:lnTo>
                <a:cubicBezTo>
                  <a:pt x="1345611" y="1188463"/>
                  <a:pt x="1350555" y="1187718"/>
                  <a:pt x="1355996" y="1187335"/>
                </a:cubicBezTo>
                <a:lnTo>
                  <a:pt x="1365293" y="1186952"/>
                </a:lnTo>
                <a:lnTo>
                  <a:pt x="1362012" y="1184808"/>
                </a:lnTo>
                <a:cubicBezTo>
                  <a:pt x="1355986" y="1179628"/>
                  <a:pt x="1357021" y="1175765"/>
                  <a:pt x="1355446" y="1174999"/>
                </a:cubicBezTo>
                <a:cubicBezTo>
                  <a:pt x="1357186" y="1172935"/>
                  <a:pt x="1359112" y="1172387"/>
                  <a:pt x="1361555" y="1172538"/>
                </a:cubicBezTo>
                <a:close/>
                <a:moveTo>
                  <a:pt x="5810286" y="1172537"/>
                </a:moveTo>
                <a:cubicBezTo>
                  <a:pt x="5813232" y="1174822"/>
                  <a:pt x="5812916" y="1176001"/>
                  <a:pt x="5810721" y="1176448"/>
                </a:cubicBezTo>
                <a:cubicBezTo>
                  <a:pt x="5810721" y="1176448"/>
                  <a:pt x="5808801" y="1176969"/>
                  <a:pt x="5806883" y="1177490"/>
                </a:cubicBezTo>
                <a:cubicBezTo>
                  <a:pt x="5804658" y="1178043"/>
                  <a:pt x="5804371" y="1179117"/>
                  <a:pt x="5804371" y="1179117"/>
                </a:cubicBezTo>
                <a:cubicBezTo>
                  <a:pt x="5803397" y="1179431"/>
                  <a:pt x="5802510" y="1179423"/>
                  <a:pt x="5801708" y="1179094"/>
                </a:cubicBezTo>
                <a:cubicBezTo>
                  <a:pt x="5800878" y="1178871"/>
                  <a:pt x="5800134" y="1178327"/>
                  <a:pt x="5799477" y="1177460"/>
                </a:cubicBezTo>
                <a:cubicBezTo>
                  <a:pt x="5799477" y="1177460"/>
                  <a:pt x="5802017" y="1175726"/>
                  <a:pt x="5802017" y="1175726"/>
                </a:cubicBezTo>
                <a:cubicBezTo>
                  <a:pt x="5805855" y="1174685"/>
                  <a:pt x="5807775" y="1174164"/>
                  <a:pt x="5810286" y="1172537"/>
                </a:cubicBezTo>
                <a:close/>
                <a:moveTo>
                  <a:pt x="1572660" y="1171215"/>
                </a:moveTo>
                <a:cubicBezTo>
                  <a:pt x="1577680" y="1171295"/>
                  <a:pt x="1584199" y="1171317"/>
                  <a:pt x="1587490" y="1172314"/>
                </a:cubicBezTo>
                <a:cubicBezTo>
                  <a:pt x="1584482" y="1173577"/>
                  <a:pt x="1578230" y="1174777"/>
                  <a:pt x="1574673" y="1172558"/>
                </a:cubicBezTo>
                <a:cubicBezTo>
                  <a:pt x="1574673" y="1172558"/>
                  <a:pt x="1574424" y="1172377"/>
                  <a:pt x="1572660" y="1171215"/>
                </a:cubicBezTo>
                <a:close/>
                <a:moveTo>
                  <a:pt x="5203167" y="1169367"/>
                </a:moveTo>
                <a:cubicBezTo>
                  <a:pt x="5205669" y="1168888"/>
                  <a:pt x="5209352" y="1169530"/>
                  <a:pt x="5214045" y="1171937"/>
                </a:cubicBezTo>
                <a:cubicBezTo>
                  <a:pt x="5218095" y="1177852"/>
                  <a:pt x="5211936" y="1180916"/>
                  <a:pt x="5211673" y="1185217"/>
                </a:cubicBezTo>
                <a:cubicBezTo>
                  <a:pt x="5197302" y="1182402"/>
                  <a:pt x="5195636" y="1170914"/>
                  <a:pt x="5203167" y="1169367"/>
                </a:cubicBezTo>
                <a:close/>
                <a:moveTo>
                  <a:pt x="1140221" y="1168044"/>
                </a:moveTo>
                <a:lnTo>
                  <a:pt x="1141605" y="1168415"/>
                </a:lnTo>
                <a:lnTo>
                  <a:pt x="1141356" y="1168234"/>
                </a:lnTo>
                <a:close/>
                <a:moveTo>
                  <a:pt x="1947439" y="1167100"/>
                </a:moveTo>
                <a:cubicBezTo>
                  <a:pt x="1952485" y="1170407"/>
                  <a:pt x="1950775" y="1181219"/>
                  <a:pt x="1948431" y="1185537"/>
                </a:cubicBezTo>
                <a:cubicBezTo>
                  <a:pt x="1947163" y="1184736"/>
                  <a:pt x="1946344" y="1183366"/>
                  <a:pt x="1945858" y="1181856"/>
                </a:cubicBezTo>
                <a:cubicBezTo>
                  <a:pt x="1945131" y="1179592"/>
                  <a:pt x="1945088" y="1176705"/>
                  <a:pt x="1945447" y="1173984"/>
                </a:cubicBezTo>
                <a:lnTo>
                  <a:pt x="1946514" y="1170299"/>
                </a:lnTo>
                <a:lnTo>
                  <a:pt x="1946577" y="1170319"/>
                </a:lnTo>
                <a:lnTo>
                  <a:pt x="1946524" y="1170262"/>
                </a:lnTo>
                <a:close/>
                <a:moveTo>
                  <a:pt x="1533781" y="1166892"/>
                </a:moveTo>
                <a:cubicBezTo>
                  <a:pt x="1542370" y="1168044"/>
                  <a:pt x="1553700" y="1166710"/>
                  <a:pt x="1561074" y="1170180"/>
                </a:cubicBezTo>
                <a:cubicBezTo>
                  <a:pt x="1557800" y="1170223"/>
                  <a:pt x="1539114" y="1169126"/>
                  <a:pt x="1533781" y="1166892"/>
                </a:cubicBezTo>
                <a:close/>
                <a:moveTo>
                  <a:pt x="5565978" y="1166761"/>
                </a:moveTo>
                <a:cubicBezTo>
                  <a:pt x="5566272" y="1167874"/>
                  <a:pt x="5566538" y="1169096"/>
                  <a:pt x="5565040" y="1169155"/>
                </a:cubicBezTo>
                <a:cubicBezTo>
                  <a:pt x="5565582" y="1170450"/>
                  <a:pt x="5565611" y="1170343"/>
                  <a:pt x="5564113" y="1170400"/>
                </a:cubicBezTo>
                <a:cubicBezTo>
                  <a:pt x="5563818" y="1169287"/>
                  <a:pt x="5563246" y="1168098"/>
                  <a:pt x="5562980" y="1166878"/>
                </a:cubicBezTo>
                <a:cubicBezTo>
                  <a:pt x="5564213" y="1165598"/>
                  <a:pt x="5564213" y="1165598"/>
                  <a:pt x="5565978" y="1166761"/>
                </a:cubicBezTo>
                <a:close/>
                <a:moveTo>
                  <a:pt x="5547234" y="1165877"/>
                </a:moveTo>
                <a:lnTo>
                  <a:pt x="5547643" y="1166563"/>
                </a:lnTo>
                <a:cubicBezTo>
                  <a:pt x="5547032" y="1166629"/>
                  <a:pt x="5546698" y="1166769"/>
                  <a:pt x="5546450" y="1166588"/>
                </a:cubicBezTo>
                <a:close/>
                <a:moveTo>
                  <a:pt x="1529964" y="1165639"/>
                </a:moveTo>
                <a:cubicBezTo>
                  <a:pt x="1531787" y="1166588"/>
                  <a:pt x="1531758" y="1166696"/>
                  <a:pt x="1533533" y="1166710"/>
                </a:cubicBezTo>
                <a:cubicBezTo>
                  <a:pt x="1533533" y="1166710"/>
                  <a:pt x="1532052" y="1167810"/>
                  <a:pt x="1532052" y="1167810"/>
                </a:cubicBezTo>
                <a:cubicBezTo>
                  <a:pt x="1529983" y="1166680"/>
                  <a:pt x="1530278" y="1167793"/>
                  <a:pt x="1529964" y="1165639"/>
                </a:cubicBezTo>
                <a:close/>
                <a:moveTo>
                  <a:pt x="1521365" y="1165636"/>
                </a:moveTo>
                <a:cubicBezTo>
                  <a:pt x="1523141" y="1165651"/>
                  <a:pt x="1524915" y="1165666"/>
                  <a:pt x="1525211" y="1166781"/>
                </a:cubicBezTo>
                <a:cubicBezTo>
                  <a:pt x="1525372" y="1167284"/>
                  <a:pt x="1524703" y="1167565"/>
                  <a:pt x="1524122" y="1167523"/>
                </a:cubicBezTo>
                <a:cubicBezTo>
                  <a:pt x="1523512" y="1167590"/>
                  <a:pt x="1522404" y="1167293"/>
                  <a:pt x="1521355" y="1166782"/>
                </a:cubicBezTo>
                <a:cubicBezTo>
                  <a:pt x="1521355" y="1166782"/>
                  <a:pt x="1521365" y="1165636"/>
                  <a:pt x="1521365" y="1165636"/>
                </a:cubicBezTo>
                <a:close/>
                <a:moveTo>
                  <a:pt x="1883715" y="1164745"/>
                </a:moveTo>
                <a:cubicBezTo>
                  <a:pt x="1898552" y="1168032"/>
                  <a:pt x="1905635" y="1184764"/>
                  <a:pt x="1904062" y="1192853"/>
                </a:cubicBezTo>
                <a:cubicBezTo>
                  <a:pt x="1898266" y="1195669"/>
                  <a:pt x="1892911" y="1195730"/>
                  <a:pt x="1888322" y="1194040"/>
                </a:cubicBezTo>
                <a:cubicBezTo>
                  <a:pt x="1874774" y="1189261"/>
                  <a:pt x="1868554" y="1169308"/>
                  <a:pt x="1883715" y="1164745"/>
                </a:cubicBezTo>
                <a:close/>
                <a:moveTo>
                  <a:pt x="1872205" y="1164536"/>
                </a:moveTo>
                <a:cubicBezTo>
                  <a:pt x="1872165" y="1165791"/>
                  <a:pt x="1874167" y="1168281"/>
                  <a:pt x="1872686" y="1169380"/>
                </a:cubicBezTo>
                <a:cubicBezTo>
                  <a:pt x="1870901" y="1170512"/>
                  <a:pt x="1870929" y="1170404"/>
                  <a:pt x="1867655" y="1170447"/>
                </a:cubicBezTo>
                <a:cubicBezTo>
                  <a:pt x="1868910" y="1166873"/>
                  <a:pt x="1868910" y="1166873"/>
                  <a:pt x="1872205" y="1164536"/>
                </a:cubicBezTo>
                <a:close/>
                <a:moveTo>
                  <a:pt x="1511041" y="1163214"/>
                </a:moveTo>
                <a:cubicBezTo>
                  <a:pt x="1513865" y="1163741"/>
                  <a:pt x="1515248" y="1164112"/>
                  <a:pt x="1516326" y="1164515"/>
                </a:cubicBezTo>
                <a:lnTo>
                  <a:pt x="1516852" y="1164771"/>
                </a:lnTo>
                <a:lnTo>
                  <a:pt x="1516996" y="1164235"/>
                </a:lnTo>
                <a:lnTo>
                  <a:pt x="1518921" y="1165901"/>
                </a:lnTo>
                <a:lnTo>
                  <a:pt x="1520219" y="1166593"/>
                </a:lnTo>
                <a:lnTo>
                  <a:pt x="1519884" y="1166734"/>
                </a:lnTo>
                <a:lnTo>
                  <a:pt x="1522019" y="1169836"/>
                </a:lnTo>
                <a:cubicBezTo>
                  <a:pt x="1522019" y="1169836"/>
                  <a:pt x="1523621" y="1170495"/>
                  <a:pt x="1525225" y="1171155"/>
                </a:cubicBezTo>
                <a:cubicBezTo>
                  <a:pt x="1529210" y="1175097"/>
                  <a:pt x="1531851" y="1177415"/>
                  <a:pt x="1528516" y="1181006"/>
                </a:cubicBezTo>
                <a:cubicBezTo>
                  <a:pt x="1526914" y="1180347"/>
                  <a:pt x="1524530" y="1177063"/>
                  <a:pt x="1523492" y="1175405"/>
                </a:cubicBezTo>
                <a:cubicBezTo>
                  <a:pt x="1521861" y="1174853"/>
                  <a:pt x="1520851" y="1173088"/>
                  <a:pt x="1521139" y="1172014"/>
                </a:cubicBezTo>
                <a:cubicBezTo>
                  <a:pt x="1521139" y="1172014"/>
                  <a:pt x="1520100" y="1170357"/>
                  <a:pt x="1518469" y="1169804"/>
                </a:cubicBezTo>
                <a:lnTo>
                  <a:pt x="1517136" y="1167033"/>
                </a:lnTo>
                <a:lnTo>
                  <a:pt x="1516830" y="1167066"/>
                </a:lnTo>
                <a:cubicBezTo>
                  <a:pt x="1515609" y="1167198"/>
                  <a:pt x="1514386" y="1167331"/>
                  <a:pt x="1513366" y="1166712"/>
                </a:cubicBezTo>
                <a:cubicBezTo>
                  <a:pt x="1512346" y="1166093"/>
                  <a:pt x="1512097" y="1165912"/>
                  <a:pt x="1511631" y="1165441"/>
                </a:cubicBezTo>
                <a:cubicBezTo>
                  <a:pt x="1511468" y="1164938"/>
                  <a:pt x="1511335" y="1164328"/>
                  <a:pt x="1511041" y="1163214"/>
                </a:cubicBezTo>
                <a:close/>
                <a:moveTo>
                  <a:pt x="2044071" y="1162861"/>
                </a:moveTo>
                <a:cubicBezTo>
                  <a:pt x="2045559" y="1163951"/>
                  <a:pt x="2047075" y="1164933"/>
                  <a:pt x="2045986" y="1165675"/>
                </a:cubicBezTo>
                <a:cubicBezTo>
                  <a:pt x="2045595" y="1166031"/>
                  <a:pt x="2045041" y="1165882"/>
                  <a:pt x="2044545" y="1165519"/>
                </a:cubicBezTo>
                <a:cubicBezTo>
                  <a:pt x="2044049" y="1165156"/>
                  <a:pt x="2043363" y="1164397"/>
                  <a:pt x="2043287" y="1163572"/>
                </a:cubicBezTo>
                <a:cubicBezTo>
                  <a:pt x="2043287" y="1163572"/>
                  <a:pt x="2044071" y="1162861"/>
                  <a:pt x="2044071" y="1162861"/>
                </a:cubicBezTo>
                <a:close/>
                <a:moveTo>
                  <a:pt x="5303964" y="1161760"/>
                </a:moveTo>
                <a:cubicBezTo>
                  <a:pt x="5308154" y="1161618"/>
                  <a:pt x="5313601" y="1163422"/>
                  <a:pt x="5319373" y="1166234"/>
                </a:cubicBezTo>
                <a:lnTo>
                  <a:pt x="5325410" y="1170267"/>
                </a:lnTo>
                <a:lnTo>
                  <a:pt x="5325554" y="1169731"/>
                </a:lnTo>
                <a:cubicBezTo>
                  <a:pt x="5327922" y="1168640"/>
                  <a:pt x="5329668" y="1168763"/>
                  <a:pt x="5331548" y="1169496"/>
                </a:cubicBezTo>
                <a:cubicBezTo>
                  <a:pt x="5333122" y="1170263"/>
                  <a:pt x="5335048" y="1171929"/>
                  <a:pt x="5337193" y="1173884"/>
                </a:cubicBezTo>
                <a:cubicBezTo>
                  <a:pt x="5339310" y="1175947"/>
                  <a:pt x="5339737" y="1177670"/>
                  <a:pt x="5339888" y="1179321"/>
                </a:cubicBezTo>
                <a:lnTo>
                  <a:pt x="5340772" y="1182663"/>
                </a:lnTo>
                <a:lnTo>
                  <a:pt x="5348455" y="1191622"/>
                </a:lnTo>
                <a:cubicBezTo>
                  <a:pt x="5350797" y="1196160"/>
                  <a:pt x="5350869" y="1200319"/>
                  <a:pt x="5347984" y="1203340"/>
                </a:cubicBezTo>
                <a:cubicBezTo>
                  <a:pt x="5337581" y="1185718"/>
                  <a:pt x="5311100" y="1181613"/>
                  <a:pt x="5303964" y="1161760"/>
                </a:cubicBezTo>
                <a:close/>
                <a:moveTo>
                  <a:pt x="6004792" y="1161634"/>
                </a:moveTo>
                <a:cubicBezTo>
                  <a:pt x="6000210" y="1170986"/>
                  <a:pt x="5992243" y="1186331"/>
                  <a:pt x="5980193" y="1190348"/>
                </a:cubicBezTo>
                <a:cubicBezTo>
                  <a:pt x="5966577" y="1178075"/>
                  <a:pt x="5993986" y="1163223"/>
                  <a:pt x="6004792" y="1161634"/>
                </a:cubicBezTo>
                <a:close/>
                <a:moveTo>
                  <a:pt x="5366575" y="1161632"/>
                </a:moveTo>
                <a:cubicBezTo>
                  <a:pt x="5372988" y="1160935"/>
                  <a:pt x="5382648" y="1169158"/>
                  <a:pt x="5382184" y="1174209"/>
                </a:cubicBezTo>
                <a:cubicBezTo>
                  <a:pt x="5374261" y="1167256"/>
                  <a:pt x="5366377" y="1167903"/>
                  <a:pt x="5366575" y="1161632"/>
                </a:cubicBezTo>
                <a:close/>
                <a:moveTo>
                  <a:pt x="5699048" y="1161562"/>
                </a:moveTo>
                <a:cubicBezTo>
                  <a:pt x="5700767" y="1160959"/>
                  <a:pt x="5703827" y="1161434"/>
                  <a:pt x="5708136" y="1161956"/>
                </a:cubicBezTo>
                <a:cubicBezTo>
                  <a:pt x="5708837" y="1167089"/>
                  <a:pt x="5705390" y="1167775"/>
                  <a:pt x="5698012" y="1167639"/>
                </a:cubicBezTo>
                <a:cubicBezTo>
                  <a:pt x="5696953" y="1163846"/>
                  <a:pt x="5697329" y="1162165"/>
                  <a:pt x="5699048" y="1161562"/>
                </a:cubicBezTo>
                <a:close/>
                <a:moveTo>
                  <a:pt x="1871932" y="1161128"/>
                </a:moveTo>
                <a:cubicBezTo>
                  <a:pt x="1873401" y="1161177"/>
                  <a:pt x="1873390" y="1162325"/>
                  <a:pt x="1872130" y="1163711"/>
                </a:cubicBezTo>
                <a:cubicBezTo>
                  <a:pt x="1872130" y="1163711"/>
                  <a:pt x="1870660" y="1163662"/>
                  <a:pt x="1870660" y="1163662"/>
                </a:cubicBezTo>
                <a:cubicBezTo>
                  <a:pt x="1870424" y="1162334"/>
                  <a:pt x="1870158" y="1161113"/>
                  <a:pt x="1871932" y="1161128"/>
                </a:cubicBezTo>
                <a:close/>
                <a:moveTo>
                  <a:pt x="5803218" y="1160178"/>
                </a:moveTo>
                <a:cubicBezTo>
                  <a:pt x="5804533" y="1161910"/>
                  <a:pt x="5804849" y="1160730"/>
                  <a:pt x="5806452" y="1161389"/>
                </a:cubicBezTo>
                <a:cubicBezTo>
                  <a:pt x="5804533" y="1161910"/>
                  <a:pt x="5803584" y="1165451"/>
                  <a:pt x="5801349" y="1167152"/>
                </a:cubicBezTo>
                <a:cubicBezTo>
                  <a:pt x="5799718" y="1166600"/>
                  <a:pt x="5797770" y="1167228"/>
                  <a:pt x="5796138" y="1166676"/>
                </a:cubicBezTo>
                <a:cubicBezTo>
                  <a:pt x="5796454" y="1165495"/>
                  <a:pt x="5795761" y="1162550"/>
                  <a:pt x="5797364" y="1163209"/>
                </a:cubicBezTo>
                <a:cubicBezTo>
                  <a:pt x="5797680" y="1162030"/>
                  <a:pt x="5800638" y="1163166"/>
                  <a:pt x="5800638" y="1163166"/>
                </a:cubicBezTo>
                <a:cubicBezTo>
                  <a:pt x="5800954" y="1161986"/>
                  <a:pt x="5801575" y="1160773"/>
                  <a:pt x="5803218" y="1160178"/>
                </a:cubicBezTo>
                <a:close/>
                <a:moveTo>
                  <a:pt x="5712843" y="1159882"/>
                </a:moveTo>
                <a:cubicBezTo>
                  <a:pt x="5723972" y="1168154"/>
                  <a:pt x="5736571" y="1176476"/>
                  <a:pt x="5733204" y="1183509"/>
                </a:cubicBezTo>
                <a:cubicBezTo>
                  <a:pt x="5731066" y="1183740"/>
                  <a:pt x="5728575" y="1183073"/>
                  <a:pt x="5726200" y="1181976"/>
                </a:cubicBezTo>
                <a:cubicBezTo>
                  <a:pt x="5719293" y="1178976"/>
                  <a:pt x="5712620" y="1171783"/>
                  <a:pt x="5709476" y="1166915"/>
                </a:cubicBezTo>
                <a:cubicBezTo>
                  <a:pt x="5712132" y="1164752"/>
                  <a:pt x="5709882" y="1162078"/>
                  <a:pt x="5712843" y="1159882"/>
                </a:cubicBezTo>
                <a:close/>
                <a:moveTo>
                  <a:pt x="898272" y="1159824"/>
                </a:moveTo>
                <a:cubicBezTo>
                  <a:pt x="904234" y="1159438"/>
                  <a:pt x="910789" y="1161539"/>
                  <a:pt x="913470" y="1165363"/>
                </a:cubicBezTo>
                <a:cubicBezTo>
                  <a:pt x="915166" y="1167887"/>
                  <a:pt x="915163" y="1171221"/>
                  <a:pt x="912076" y="1174995"/>
                </a:cubicBezTo>
                <a:cubicBezTo>
                  <a:pt x="903832" y="1172555"/>
                  <a:pt x="897885" y="1173722"/>
                  <a:pt x="892103" y="1172057"/>
                </a:cubicBezTo>
                <a:cubicBezTo>
                  <a:pt x="890472" y="1171505"/>
                  <a:pt x="888620" y="1170665"/>
                  <a:pt x="886637" y="1169213"/>
                </a:cubicBezTo>
                <a:cubicBezTo>
                  <a:pt x="886944" y="1163085"/>
                  <a:pt x="892312" y="1160211"/>
                  <a:pt x="898272" y="1159824"/>
                </a:cubicBezTo>
                <a:close/>
                <a:moveTo>
                  <a:pt x="5545742" y="1159268"/>
                </a:moveTo>
                <a:cubicBezTo>
                  <a:pt x="5547240" y="1159210"/>
                  <a:pt x="5547518" y="1159284"/>
                  <a:pt x="5549311" y="1160339"/>
                </a:cubicBezTo>
                <a:cubicBezTo>
                  <a:pt x="5550810" y="1160281"/>
                  <a:pt x="5549152" y="1165357"/>
                  <a:pt x="5549447" y="1166471"/>
                </a:cubicBezTo>
                <a:cubicBezTo>
                  <a:pt x="5547920" y="1166637"/>
                  <a:pt x="5547643" y="1166563"/>
                  <a:pt x="5547377" y="1165341"/>
                </a:cubicBezTo>
                <a:lnTo>
                  <a:pt x="5547234" y="1165877"/>
                </a:lnTo>
                <a:lnTo>
                  <a:pt x="5545013" y="1163098"/>
                </a:lnTo>
                <a:cubicBezTo>
                  <a:pt x="5545024" y="1161950"/>
                  <a:pt x="5545397" y="1160556"/>
                  <a:pt x="5545742" y="1159268"/>
                </a:cubicBezTo>
                <a:close/>
                <a:moveTo>
                  <a:pt x="5277367" y="1158083"/>
                </a:moveTo>
                <a:lnTo>
                  <a:pt x="5278025" y="1158950"/>
                </a:lnTo>
                <a:cubicBezTo>
                  <a:pt x="5277414" y="1159016"/>
                  <a:pt x="5276832" y="1158975"/>
                  <a:pt x="5276861" y="1158868"/>
                </a:cubicBezTo>
                <a:close/>
                <a:moveTo>
                  <a:pt x="1443626" y="1158030"/>
                </a:moveTo>
                <a:cubicBezTo>
                  <a:pt x="1446267" y="1160348"/>
                  <a:pt x="1449184" y="1162740"/>
                  <a:pt x="1451855" y="1164951"/>
                </a:cubicBezTo>
                <a:cubicBezTo>
                  <a:pt x="1451024" y="1164728"/>
                  <a:pt x="1450334" y="1167303"/>
                  <a:pt x="1449922" y="1169952"/>
                </a:cubicBezTo>
                <a:lnTo>
                  <a:pt x="1455233" y="1165625"/>
                </a:lnTo>
                <a:cubicBezTo>
                  <a:pt x="1462712" y="1160960"/>
                  <a:pt x="1470901" y="1160279"/>
                  <a:pt x="1481167" y="1171769"/>
                </a:cubicBezTo>
                <a:cubicBezTo>
                  <a:pt x="1462183" y="1172894"/>
                  <a:pt x="1450197" y="1187737"/>
                  <a:pt x="1433815" y="1183577"/>
                </a:cubicBezTo>
                <a:lnTo>
                  <a:pt x="1444495" y="1174708"/>
                </a:lnTo>
                <a:lnTo>
                  <a:pt x="1441825" y="1172498"/>
                </a:lnTo>
                <a:cubicBezTo>
                  <a:pt x="1440787" y="1170840"/>
                  <a:pt x="1440150" y="1167679"/>
                  <a:pt x="1440317" y="1164848"/>
                </a:cubicBezTo>
                <a:cubicBezTo>
                  <a:pt x="1440509" y="1161911"/>
                  <a:pt x="1441563" y="1159087"/>
                  <a:pt x="1443626" y="1158030"/>
                </a:cubicBezTo>
                <a:close/>
                <a:moveTo>
                  <a:pt x="1345178" y="1157986"/>
                </a:moveTo>
                <a:cubicBezTo>
                  <a:pt x="1349402" y="1159924"/>
                  <a:pt x="1347756" y="1163853"/>
                  <a:pt x="1345924" y="1164052"/>
                </a:cubicBezTo>
                <a:cubicBezTo>
                  <a:pt x="1343797" y="1163137"/>
                  <a:pt x="1342959" y="1160728"/>
                  <a:pt x="1340832" y="1159812"/>
                </a:cubicBezTo>
                <a:cubicBezTo>
                  <a:pt x="1342388" y="1159539"/>
                  <a:pt x="1343343" y="1158185"/>
                  <a:pt x="1345178" y="1157986"/>
                </a:cubicBezTo>
                <a:close/>
                <a:moveTo>
                  <a:pt x="5239143" y="1157962"/>
                </a:moveTo>
                <a:cubicBezTo>
                  <a:pt x="5240781" y="1160701"/>
                  <a:pt x="5242805" y="1160898"/>
                  <a:pt x="5242294" y="1165016"/>
                </a:cubicBezTo>
                <a:cubicBezTo>
                  <a:pt x="5240271" y="1164820"/>
                  <a:pt x="5237972" y="1164547"/>
                  <a:pt x="5235672" y="1164277"/>
                </a:cubicBezTo>
                <a:cubicBezTo>
                  <a:pt x="5235121" y="1160795"/>
                  <a:pt x="5234572" y="1157312"/>
                  <a:pt x="5239143" y="1157962"/>
                </a:cubicBezTo>
                <a:close/>
                <a:moveTo>
                  <a:pt x="957315" y="1157790"/>
                </a:moveTo>
                <a:cubicBezTo>
                  <a:pt x="971675" y="1161754"/>
                  <a:pt x="995605" y="1168741"/>
                  <a:pt x="1004729" y="1177855"/>
                </a:cubicBezTo>
                <a:cubicBezTo>
                  <a:pt x="1001462" y="1180085"/>
                  <a:pt x="997491" y="1180516"/>
                  <a:pt x="992672" y="1179685"/>
                </a:cubicBezTo>
                <a:cubicBezTo>
                  <a:pt x="978797" y="1177232"/>
                  <a:pt x="961337" y="1163814"/>
                  <a:pt x="957315" y="1157790"/>
                </a:cubicBezTo>
                <a:close/>
                <a:moveTo>
                  <a:pt x="5296152" y="1157711"/>
                </a:moveTo>
                <a:cubicBezTo>
                  <a:pt x="5296446" y="1158825"/>
                  <a:pt x="5297017" y="1160014"/>
                  <a:pt x="5295462" y="1160287"/>
                </a:cubicBezTo>
                <a:cubicBezTo>
                  <a:pt x="5296061" y="1161368"/>
                  <a:pt x="5296033" y="1161475"/>
                  <a:pt x="5294506" y="1161640"/>
                </a:cubicBezTo>
                <a:cubicBezTo>
                  <a:pt x="5293934" y="1160452"/>
                  <a:pt x="5293668" y="1159231"/>
                  <a:pt x="5293097" y="1158043"/>
                </a:cubicBezTo>
                <a:cubicBezTo>
                  <a:pt x="5294053" y="1156689"/>
                  <a:pt x="5294053" y="1156689"/>
                  <a:pt x="5296152" y="1157711"/>
                </a:cubicBezTo>
                <a:close/>
                <a:moveTo>
                  <a:pt x="1222294" y="1157260"/>
                </a:moveTo>
                <a:cubicBezTo>
                  <a:pt x="1227861" y="1155302"/>
                  <a:pt x="1232498" y="1157925"/>
                  <a:pt x="1237132" y="1160546"/>
                </a:cubicBezTo>
                <a:cubicBezTo>
                  <a:pt x="1240137" y="1162617"/>
                  <a:pt x="1241768" y="1163168"/>
                  <a:pt x="1245099" y="1162911"/>
                </a:cubicBezTo>
                <a:cubicBezTo>
                  <a:pt x="1245099" y="1162911"/>
                  <a:pt x="1245070" y="1163019"/>
                  <a:pt x="1248063" y="1166235"/>
                </a:cubicBezTo>
                <a:lnTo>
                  <a:pt x="1247747" y="1167416"/>
                </a:lnTo>
                <a:cubicBezTo>
                  <a:pt x="1247327" y="1167879"/>
                  <a:pt x="1245886" y="1167721"/>
                  <a:pt x="1243949" y="1167202"/>
                </a:cubicBezTo>
                <a:cubicBezTo>
                  <a:pt x="1238634" y="1166009"/>
                  <a:pt x="1229657" y="1161878"/>
                  <a:pt x="1228274" y="1161508"/>
                </a:cubicBezTo>
                <a:cubicBezTo>
                  <a:pt x="1228274" y="1161508"/>
                  <a:pt x="1226643" y="1160956"/>
                  <a:pt x="1224982" y="1160510"/>
                </a:cubicBezTo>
                <a:cubicBezTo>
                  <a:pt x="1223638" y="1158886"/>
                  <a:pt x="1223926" y="1157813"/>
                  <a:pt x="1222294" y="1157260"/>
                </a:cubicBezTo>
                <a:close/>
                <a:moveTo>
                  <a:pt x="1313366" y="1157168"/>
                </a:moveTo>
                <a:cubicBezTo>
                  <a:pt x="1319504" y="1156397"/>
                  <a:pt x="1322605" y="1156998"/>
                  <a:pt x="1323816" y="1158012"/>
                </a:cubicBezTo>
                <a:cubicBezTo>
                  <a:pt x="1326429" y="1160438"/>
                  <a:pt x="1319474" y="1165360"/>
                  <a:pt x="1315727" y="1162745"/>
                </a:cubicBezTo>
                <a:cubicBezTo>
                  <a:pt x="1314488" y="1161838"/>
                  <a:pt x="1313477" y="1160073"/>
                  <a:pt x="1313366" y="1157168"/>
                </a:cubicBezTo>
                <a:close/>
                <a:moveTo>
                  <a:pt x="2038343" y="1155462"/>
                </a:moveTo>
                <a:cubicBezTo>
                  <a:pt x="2041497" y="1159183"/>
                  <a:pt x="2041497" y="1159183"/>
                  <a:pt x="2042325" y="1162739"/>
                </a:cubicBezTo>
                <a:cubicBezTo>
                  <a:pt x="2040808" y="1161757"/>
                  <a:pt x="2037239" y="1160687"/>
                  <a:pt x="2036841" y="1158855"/>
                </a:cubicBezTo>
                <a:cubicBezTo>
                  <a:pt x="2036442" y="1157023"/>
                  <a:pt x="2036442" y="1157023"/>
                  <a:pt x="2038343" y="1155462"/>
                </a:cubicBezTo>
                <a:close/>
                <a:moveTo>
                  <a:pt x="1871185" y="1155062"/>
                </a:moveTo>
                <a:cubicBezTo>
                  <a:pt x="1871185" y="1155062"/>
                  <a:pt x="1872892" y="1156440"/>
                  <a:pt x="1872892" y="1156440"/>
                </a:cubicBezTo>
                <a:cubicBezTo>
                  <a:pt x="1871383" y="1157646"/>
                  <a:pt x="1872852" y="1157695"/>
                  <a:pt x="1869914" y="1157597"/>
                </a:cubicBezTo>
                <a:cubicBezTo>
                  <a:pt x="1871422" y="1156391"/>
                  <a:pt x="1871145" y="1156317"/>
                  <a:pt x="1871185" y="1155062"/>
                </a:cubicBezTo>
                <a:close/>
                <a:moveTo>
                  <a:pt x="5180916" y="1155010"/>
                </a:moveTo>
                <a:cubicBezTo>
                  <a:pt x="5184636" y="1157732"/>
                  <a:pt x="5188089" y="1159231"/>
                  <a:pt x="5190062" y="1161831"/>
                </a:cubicBezTo>
                <a:cubicBezTo>
                  <a:pt x="5189285" y="1164727"/>
                  <a:pt x="5186946" y="1165711"/>
                  <a:pt x="5184370" y="1165366"/>
                </a:cubicBezTo>
                <a:cubicBezTo>
                  <a:pt x="5181793" y="1165020"/>
                  <a:pt x="5178426" y="1163198"/>
                  <a:pt x="5175565" y="1160591"/>
                </a:cubicBezTo>
                <a:cubicBezTo>
                  <a:pt x="5176780" y="1158272"/>
                  <a:pt x="5177995" y="1155952"/>
                  <a:pt x="5180916" y="1155010"/>
                </a:cubicBezTo>
                <a:close/>
                <a:moveTo>
                  <a:pt x="1840729" y="1154722"/>
                </a:moveTo>
                <a:cubicBezTo>
                  <a:pt x="1836054" y="1162209"/>
                  <a:pt x="1830465" y="1184172"/>
                  <a:pt x="1812243" y="1178025"/>
                </a:cubicBezTo>
                <a:cubicBezTo>
                  <a:pt x="1817183" y="1171759"/>
                  <a:pt x="1827602" y="1149480"/>
                  <a:pt x="1840729" y="1154722"/>
                </a:cubicBezTo>
                <a:close/>
                <a:moveTo>
                  <a:pt x="1559917" y="1154575"/>
                </a:moveTo>
                <a:cubicBezTo>
                  <a:pt x="1562245" y="1154739"/>
                  <a:pt x="1564448" y="1156479"/>
                  <a:pt x="1566774" y="1159978"/>
                </a:cubicBezTo>
                <a:cubicBezTo>
                  <a:pt x="1565529" y="1162404"/>
                  <a:pt x="1558545" y="1161913"/>
                  <a:pt x="1554850" y="1162418"/>
                </a:cubicBezTo>
                <a:cubicBezTo>
                  <a:pt x="1554976" y="1160842"/>
                  <a:pt x="1555130" y="1159157"/>
                  <a:pt x="1553765" y="1159826"/>
                </a:cubicBezTo>
                <a:cubicBezTo>
                  <a:pt x="1553919" y="1158143"/>
                  <a:pt x="1554541" y="1156930"/>
                  <a:pt x="1555630" y="1156186"/>
                </a:cubicBezTo>
                <a:cubicBezTo>
                  <a:pt x="1556471" y="1155262"/>
                  <a:pt x="1558056" y="1154881"/>
                  <a:pt x="1559917" y="1154575"/>
                </a:cubicBezTo>
                <a:close/>
                <a:moveTo>
                  <a:pt x="5769571" y="1154037"/>
                </a:moveTo>
                <a:cubicBezTo>
                  <a:pt x="5776539" y="1153489"/>
                  <a:pt x="5791316" y="1160323"/>
                  <a:pt x="5774074" y="1164904"/>
                </a:cubicBezTo>
                <a:cubicBezTo>
                  <a:pt x="5764242" y="1157324"/>
                  <a:pt x="5765629" y="1154361"/>
                  <a:pt x="5769571" y="1154037"/>
                </a:cubicBezTo>
                <a:close/>
                <a:moveTo>
                  <a:pt x="1791241" y="1152776"/>
                </a:moveTo>
                <a:cubicBezTo>
                  <a:pt x="1794674" y="1153940"/>
                  <a:pt x="1797854" y="1156460"/>
                  <a:pt x="1798283" y="1158185"/>
                </a:cubicBezTo>
                <a:cubicBezTo>
                  <a:pt x="1796562" y="1161288"/>
                  <a:pt x="1792952" y="1161471"/>
                  <a:pt x="1789661" y="1160474"/>
                </a:cubicBezTo>
                <a:cubicBezTo>
                  <a:pt x="1786369" y="1159477"/>
                  <a:pt x="1783394" y="1157300"/>
                  <a:pt x="1782690" y="1155501"/>
                </a:cubicBezTo>
                <a:cubicBezTo>
                  <a:pt x="1784126" y="1151803"/>
                  <a:pt x="1787810" y="1151612"/>
                  <a:pt x="1791241" y="1152776"/>
                </a:cubicBezTo>
                <a:close/>
                <a:moveTo>
                  <a:pt x="5274931" y="1151681"/>
                </a:moveTo>
                <a:cubicBezTo>
                  <a:pt x="5276487" y="1151408"/>
                  <a:pt x="5276487" y="1151408"/>
                  <a:pt x="5278586" y="1152430"/>
                </a:cubicBezTo>
                <a:cubicBezTo>
                  <a:pt x="5280113" y="1152265"/>
                  <a:pt x="5279010" y="1157488"/>
                  <a:pt x="5279581" y="1158677"/>
                </a:cubicBezTo>
                <a:cubicBezTo>
                  <a:pt x="5278054" y="1158843"/>
                  <a:pt x="5278054" y="1158843"/>
                  <a:pt x="5277482" y="1157654"/>
                </a:cubicBezTo>
                <a:lnTo>
                  <a:pt x="5277367" y="1158083"/>
                </a:lnTo>
                <a:lnTo>
                  <a:pt x="5274784" y="1155551"/>
                </a:lnTo>
                <a:cubicBezTo>
                  <a:pt x="5274517" y="1154331"/>
                  <a:pt x="5274586" y="1152968"/>
                  <a:pt x="5274931" y="1151681"/>
                </a:cubicBezTo>
                <a:close/>
                <a:moveTo>
                  <a:pt x="1915798" y="1151262"/>
                </a:moveTo>
                <a:cubicBezTo>
                  <a:pt x="1921822" y="1150920"/>
                  <a:pt x="1929549" y="1154458"/>
                  <a:pt x="1935754" y="1158693"/>
                </a:cubicBezTo>
                <a:lnTo>
                  <a:pt x="1946524" y="1170262"/>
                </a:lnTo>
                <a:lnTo>
                  <a:pt x="1946514" y="1170299"/>
                </a:lnTo>
                <a:lnTo>
                  <a:pt x="1937416" y="1167433"/>
                </a:lnTo>
                <a:cubicBezTo>
                  <a:pt x="1934592" y="1166073"/>
                  <a:pt x="1931652" y="1164594"/>
                  <a:pt x="1927553" y="1163842"/>
                </a:cubicBezTo>
                <a:cubicBezTo>
                  <a:pt x="1926317" y="1159600"/>
                  <a:pt x="1916880" y="1157187"/>
                  <a:pt x="1915798" y="1151262"/>
                </a:cubicBezTo>
                <a:close/>
                <a:moveTo>
                  <a:pt x="1570029" y="1150039"/>
                </a:moveTo>
                <a:lnTo>
                  <a:pt x="1569113" y="1150139"/>
                </a:lnTo>
                <a:lnTo>
                  <a:pt x="1570618" y="1152268"/>
                </a:lnTo>
                <a:lnTo>
                  <a:pt x="1571725" y="1152564"/>
                </a:lnTo>
                <a:close/>
                <a:moveTo>
                  <a:pt x="4994203" y="1149975"/>
                </a:moveTo>
                <a:cubicBezTo>
                  <a:pt x="4999885" y="1150491"/>
                  <a:pt x="5006421" y="1153219"/>
                  <a:pt x="5013697" y="1158160"/>
                </a:cubicBezTo>
                <a:cubicBezTo>
                  <a:pt x="5009173" y="1158442"/>
                  <a:pt x="5005363" y="1159377"/>
                  <a:pt x="5001612" y="1160096"/>
                </a:cubicBezTo>
                <a:lnTo>
                  <a:pt x="4989825" y="1159813"/>
                </a:lnTo>
                <a:lnTo>
                  <a:pt x="4990928" y="1163443"/>
                </a:lnTo>
                <a:cubicBezTo>
                  <a:pt x="4989009" y="1163964"/>
                  <a:pt x="4987062" y="1164592"/>
                  <a:pt x="4985286" y="1164576"/>
                </a:cubicBezTo>
                <a:cubicBezTo>
                  <a:pt x="4984398" y="1164569"/>
                  <a:pt x="4983292" y="1164273"/>
                  <a:pt x="4982796" y="1163909"/>
                </a:cubicBezTo>
                <a:cubicBezTo>
                  <a:pt x="4981994" y="1163579"/>
                  <a:pt x="4981251" y="1163035"/>
                  <a:pt x="4980593" y="1162170"/>
                </a:cubicBezTo>
                <a:cubicBezTo>
                  <a:pt x="4979278" y="1160437"/>
                  <a:pt x="4978210" y="1158886"/>
                  <a:pt x="4978814" y="1156633"/>
                </a:cubicBezTo>
                <a:lnTo>
                  <a:pt x="4983777" y="1156927"/>
                </a:lnTo>
                <a:lnTo>
                  <a:pt x="4979827" y="1155064"/>
                </a:lnTo>
                <a:cubicBezTo>
                  <a:pt x="4983692" y="1151154"/>
                  <a:pt x="4988521" y="1149459"/>
                  <a:pt x="4994203" y="1149975"/>
                </a:cubicBezTo>
                <a:close/>
                <a:moveTo>
                  <a:pt x="1518491" y="1149800"/>
                </a:moveTo>
                <a:cubicBezTo>
                  <a:pt x="1518491" y="1149800"/>
                  <a:pt x="1520341" y="1150641"/>
                  <a:pt x="1520341" y="1150641"/>
                </a:cubicBezTo>
                <a:cubicBezTo>
                  <a:pt x="1528223" y="1153327"/>
                  <a:pt x="1534457" y="1159943"/>
                  <a:pt x="1533767" y="1162518"/>
                </a:cubicBezTo>
                <a:cubicBezTo>
                  <a:pt x="1532027" y="1164582"/>
                  <a:pt x="1528322" y="1166235"/>
                  <a:pt x="1523999" y="1165766"/>
                </a:cubicBezTo>
                <a:cubicBezTo>
                  <a:pt x="1522559" y="1165610"/>
                  <a:pt x="1520927" y="1165058"/>
                  <a:pt x="1519324" y="1164398"/>
                </a:cubicBezTo>
                <a:cubicBezTo>
                  <a:pt x="1513544" y="1162734"/>
                  <a:pt x="1511533" y="1158056"/>
                  <a:pt x="1505180" y="1155203"/>
                </a:cubicBezTo>
                <a:cubicBezTo>
                  <a:pt x="1508088" y="1149888"/>
                  <a:pt x="1509349" y="1148501"/>
                  <a:pt x="1518491" y="1149800"/>
                </a:cubicBezTo>
                <a:close/>
                <a:moveTo>
                  <a:pt x="2160708" y="1149264"/>
                </a:moveTo>
                <a:cubicBezTo>
                  <a:pt x="2165594" y="1148734"/>
                  <a:pt x="2172941" y="1152312"/>
                  <a:pt x="2183789" y="1163845"/>
                </a:cubicBezTo>
                <a:cubicBezTo>
                  <a:pt x="2177292" y="1170383"/>
                  <a:pt x="2171581" y="1172878"/>
                  <a:pt x="2167114" y="1172946"/>
                </a:cubicBezTo>
                <a:cubicBezTo>
                  <a:pt x="2162676" y="1172907"/>
                  <a:pt x="2159206" y="1170366"/>
                  <a:pt x="2157128" y="1167050"/>
                </a:cubicBezTo>
                <a:cubicBezTo>
                  <a:pt x="2152697" y="1160343"/>
                  <a:pt x="2153653" y="1150134"/>
                  <a:pt x="2160708" y="1149264"/>
                </a:cubicBezTo>
                <a:close/>
                <a:moveTo>
                  <a:pt x="1362120" y="1146771"/>
                </a:moveTo>
                <a:cubicBezTo>
                  <a:pt x="1363820" y="1145962"/>
                  <a:pt x="1368704" y="1148765"/>
                  <a:pt x="1370652" y="1148137"/>
                </a:cubicBezTo>
                <a:cubicBezTo>
                  <a:pt x="1370652" y="1148137"/>
                  <a:pt x="1370652" y="1148137"/>
                  <a:pt x="1371679" y="1150942"/>
                </a:cubicBezTo>
                <a:cubicBezTo>
                  <a:pt x="1371640" y="1152197"/>
                  <a:pt x="1371323" y="1153377"/>
                  <a:pt x="1369375" y="1154006"/>
                </a:cubicBezTo>
                <a:cubicBezTo>
                  <a:pt x="1367428" y="1154634"/>
                  <a:pt x="1364136" y="1153637"/>
                  <a:pt x="1362476" y="1153192"/>
                </a:cubicBezTo>
                <a:cubicBezTo>
                  <a:pt x="1362793" y="1152011"/>
                  <a:pt x="1361132" y="1151566"/>
                  <a:pt x="1361172" y="1150312"/>
                </a:cubicBezTo>
                <a:cubicBezTo>
                  <a:pt x="1360173" y="1147400"/>
                  <a:pt x="1360173" y="1147400"/>
                  <a:pt x="1362120" y="1146771"/>
                </a:cubicBezTo>
                <a:close/>
                <a:moveTo>
                  <a:pt x="1720873" y="1144917"/>
                </a:moveTo>
                <a:lnTo>
                  <a:pt x="1718037" y="1145538"/>
                </a:lnTo>
                <a:lnTo>
                  <a:pt x="1720061" y="1145735"/>
                </a:lnTo>
                <a:close/>
                <a:moveTo>
                  <a:pt x="1141525" y="1144359"/>
                </a:moveTo>
                <a:cubicBezTo>
                  <a:pt x="1146564" y="1145479"/>
                  <a:pt x="1149664" y="1146080"/>
                  <a:pt x="1152964" y="1149263"/>
                </a:cubicBezTo>
                <a:lnTo>
                  <a:pt x="1155745" y="1154380"/>
                </a:lnTo>
                <a:lnTo>
                  <a:pt x="1159555" y="1153445"/>
                </a:lnTo>
                <a:cubicBezTo>
                  <a:pt x="1170235" y="1153431"/>
                  <a:pt x="1182277" y="1156083"/>
                  <a:pt x="1183073" y="1168602"/>
                </a:cubicBezTo>
                <a:cubicBezTo>
                  <a:pt x="1184159" y="1171193"/>
                  <a:pt x="1182919" y="1170286"/>
                  <a:pt x="1183070" y="1171936"/>
                </a:cubicBezTo>
                <a:cubicBezTo>
                  <a:pt x="1182915" y="1173619"/>
                  <a:pt x="1184001" y="1176211"/>
                  <a:pt x="1185241" y="1177118"/>
                </a:cubicBezTo>
                <a:cubicBezTo>
                  <a:pt x="1176889" y="1177295"/>
                  <a:pt x="1177820" y="1181570"/>
                  <a:pt x="1164840" y="1181311"/>
                </a:cubicBezTo>
                <a:cubicBezTo>
                  <a:pt x="1160649" y="1181453"/>
                  <a:pt x="1157215" y="1180993"/>
                  <a:pt x="1154171" y="1180177"/>
                </a:cubicBezTo>
                <a:lnTo>
                  <a:pt x="1152072" y="1179155"/>
                </a:lnTo>
                <a:lnTo>
                  <a:pt x="1152788" y="1179807"/>
                </a:lnTo>
                <a:cubicBezTo>
                  <a:pt x="1155884" y="1183742"/>
                  <a:pt x="1158210" y="1187239"/>
                  <a:pt x="1157473" y="1188882"/>
                </a:cubicBezTo>
                <a:cubicBezTo>
                  <a:pt x="1155813" y="1188438"/>
                  <a:pt x="1154125" y="1188100"/>
                  <a:pt x="1152474" y="1186508"/>
                </a:cubicBezTo>
                <a:cubicBezTo>
                  <a:pt x="1151102" y="1184991"/>
                  <a:pt x="1152762" y="1185435"/>
                  <a:pt x="1151073" y="1185098"/>
                </a:cubicBezTo>
                <a:cubicBezTo>
                  <a:pt x="1149423" y="1183506"/>
                  <a:pt x="1149412" y="1184653"/>
                  <a:pt x="1149412" y="1184653"/>
                </a:cubicBezTo>
                <a:cubicBezTo>
                  <a:pt x="1149412" y="1184653"/>
                  <a:pt x="1149423" y="1183506"/>
                  <a:pt x="1149423" y="1183506"/>
                </a:cubicBezTo>
                <a:cubicBezTo>
                  <a:pt x="1149423" y="1183506"/>
                  <a:pt x="1149423" y="1183506"/>
                  <a:pt x="1146125" y="1180322"/>
                </a:cubicBezTo>
                <a:cubicBezTo>
                  <a:pt x="1141413" y="1176874"/>
                  <a:pt x="1139754" y="1176429"/>
                  <a:pt x="1136415" y="1174499"/>
                </a:cubicBezTo>
                <a:cubicBezTo>
                  <a:pt x="1133393" y="1171390"/>
                  <a:pt x="1133404" y="1170243"/>
                  <a:pt x="1130144" y="1165804"/>
                </a:cubicBezTo>
                <a:cubicBezTo>
                  <a:pt x="1132131" y="1163922"/>
                  <a:pt x="1132131" y="1163922"/>
                  <a:pt x="1133821" y="1164259"/>
                </a:cubicBezTo>
                <a:cubicBezTo>
                  <a:pt x="1132131" y="1163922"/>
                  <a:pt x="1132171" y="1162668"/>
                  <a:pt x="1130522" y="1161076"/>
                </a:cubicBezTo>
                <a:cubicBezTo>
                  <a:pt x="1122501" y="1155592"/>
                  <a:pt x="1126239" y="1150498"/>
                  <a:pt x="1133077" y="1146005"/>
                </a:cubicBezTo>
                <a:cubicBezTo>
                  <a:pt x="1134727" y="1147596"/>
                  <a:pt x="1138165" y="1144724"/>
                  <a:pt x="1141525" y="1144359"/>
                </a:cubicBezTo>
                <a:close/>
                <a:moveTo>
                  <a:pt x="992993" y="1144178"/>
                </a:moveTo>
                <a:cubicBezTo>
                  <a:pt x="997854" y="1142634"/>
                  <a:pt x="1004565" y="1143598"/>
                  <a:pt x="1008818" y="1147095"/>
                </a:cubicBezTo>
                <a:cubicBezTo>
                  <a:pt x="1011736" y="1149488"/>
                  <a:pt x="1013756" y="1153019"/>
                  <a:pt x="1013102" y="1157673"/>
                </a:cubicBezTo>
                <a:cubicBezTo>
                  <a:pt x="1004485" y="1156629"/>
                  <a:pt x="1000301" y="1158959"/>
                  <a:pt x="994566" y="1158228"/>
                </a:cubicBezTo>
                <a:cubicBezTo>
                  <a:pt x="992572" y="1157923"/>
                  <a:pt x="990634" y="1157404"/>
                  <a:pt x="988259" y="1156307"/>
                </a:cubicBezTo>
                <a:cubicBezTo>
                  <a:pt x="985118" y="1149773"/>
                  <a:pt x="988131" y="1145721"/>
                  <a:pt x="992993" y="1144178"/>
                </a:cubicBezTo>
                <a:close/>
                <a:moveTo>
                  <a:pt x="5570136" y="1143494"/>
                </a:moveTo>
                <a:cubicBezTo>
                  <a:pt x="5567100" y="1144866"/>
                  <a:pt x="5556462" y="1149146"/>
                  <a:pt x="5552894" y="1148075"/>
                </a:cubicBezTo>
                <a:cubicBezTo>
                  <a:pt x="5557163" y="1145423"/>
                  <a:pt x="5568066" y="1142365"/>
                  <a:pt x="5570136" y="1143494"/>
                </a:cubicBezTo>
                <a:close/>
                <a:moveTo>
                  <a:pt x="5498736" y="1143222"/>
                </a:moveTo>
                <a:cubicBezTo>
                  <a:pt x="5506727" y="1139959"/>
                  <a:pt x="5523898" y="1148930"/>
                  <a:pt x="5517656" y="1157837"/>
                </a:cubicBezTo>
                <a:cubicBezTo>
                  <a:pt x="5514819" y="1158458"/>
                  <a:pt x="5510001" y="1157627"/>
                  <a:pt x="5505383" y="1156045"/>
                </a:cubicBezTo>
                <a:cubicBezTo>
                  <a:pt x="5500737" y="1154570"/>
                  <a:pt x="5496568" y="1152417"/>
                  <a:pt x="5494643" y="1150750"/>
                </a:cubicBezTo>
                <a:cubicBezTo>
                  <a:pt x="5494265" y="1146625"/>
                  <a:pt x="5495814" y="1144165"/>
                  <a:pt x="5498736" y="1143222"/>
                </a:cubicBezTo>
                <a:close/>
                <a:moveTo>
                  <a:pt x="1931108" y="1142829"/>
                </a:moveTo>
                <a:cubicBezTo>
                  <a:pt x="1933028" y="1142308"/>
                  <a:pt x="1934945" y="1141787"/>
                  <a:pt x="1936261" y="1143519"/>
                </a:cubicBezTo>
                <a:cubicBezTo>
                  <a:pt x="1936261" y="1143519"/>
                  <a:pt x="1935697" y="1144518"/>
                  <a:pt x="1931860" y="1145559"/>
                </a:cubicBezTo>
                <a:cubicBezTo>
                  <a:pt x="1932175" y="1144380"/>
                  <a:pt x="1930543" y="1143828"/>
                  <a:pt x="1930543" y="1143828"/>
                </a:cubicBezTo>
                <a:cubicBezTo>
                  <a:pt x="1930543" y="1143828"/>
                  <a:pt x="1930543" y="1143828"/>
                  <a:pt x="1930255" y="1144901"/>
                </a:cubicBezTo>
                <a:cubicBezTo>
                  <a:pt x="1929598" y="1144034"/>
                  <a:pt x="1930020" y="1143572"/>
                  <a:pt x="1930134" y="1143143"/>
                </a:cubicBezTo>
                <a:cubicBezTo>
                  <a:pt x="1930497" y="1142895"/>
                  <a:pt x="1931108" y="1142829"/>
                  <a:pt x="1931108" y="1142829"/>
                </a:cubicBezTo>
                <a:close/>
                <a:moveTo>
                  <a:pt x="1054999" y="1141875"/>
                </a:moveTo>
                <a:cubicBezTo>
                  <a:pt x="1059949" y="1146650"/>
                  <a:pt x="1057881" y="1151042"/>
                  <a:pt x="1062543" y="1156891"/>
                </a:cubicBezTo>
                <a:cubicBezTo>
                  <a:pt x="1059103" y="1159764"/>
                  <a:pt x="1063725" y="1166868"/>
                  <a:pt x="1058585" y="1170551"/>
                </a:cubicBezTo>
                <a:cubicBezTo>
                  <a:pt x="1048915" y="1163475"/>
                  <a:pt x="1049872" y="1144410"/>
                  <a:pt x="1054999" y="1141875"/>
                </a:cubicBezTo>
                <a:close/>
                <a:moveTo>
                  <a:pt x="5839308" y="1141702"/>
                </a:moveTo>
                <a:cubicBezTo>
                  <a:pt x="5848066" y="1141116"/>
                  <a:pt x="5858588" y="1143906"/>
                  <a:pt x="5866098" y="1149081"/>
                </a:cubicBezTo>
                <a:cubicBezTo>
                  <a:pt x="5875110" y="1155291"/>
                  <a:pt x="5879901" y="1165085"/>
                  <a:pt x="5871833" y="1176378"/>
                </a:cubicBezTo>
                <a:lnTo>
                  <a:pt x="5869781" y="1176289"/>
                </a:lnTo>
                <a:lnTo>
                  <a:pt x="5877425" y="1177646"/>
                </a:lnTo>
                <a:cubicBezTo>
                  <a:pt x="5879207" y="1179849"/>
                  <a:pt x="5879548" y="1181896"/>
                  <a:pt x="5878754" y="1183753"/>
                </a:cubicBezTo>
                <a:lnTo>
                  <a:pt x="5876825" y="1185421"/>
                </a:lnTo>
                <a:lnTo>
                  <a:pt x="5881482" y="1185748"/>
                </a:lnTo>
                <a:cubicBezTo>
                  <a:pt x="5882060" y="1189124"/>
                  <a:pt x="5883451" y="1191681"/>
                  <a:pt x="5882790" y="1194149"/>
                </a:cubicBezTo>
                <a:cubicBezTo>
                  <a:pt x="5878646" y="1195223"/>
                  <a:pt x="5875822" y="1194697"/>
                  <a:pt x="5873838" y="1193245"/>
                </a:cubicBezTo>
                <a:lnTo>
                  <a:pt x="5872019" y="1188964"/>
                </a:lnTo>
                <a:lnTo>
                  <a:pt x="5865900" y="1190774"/>
                </a:lnTo>
                <a:cubicBezTo>
                  <a:pt x="5863121" y="1191179"/>
                  <a:pt x="5860182" y="1191082"/>
                  <a:pt x="5857444" y="1190233"/>
                </a:cubicBezTo>
                <a:cubicBezTo>
                  <a:pt x="5855033" y="1187057"/>
                  <a:pt x="5855924" y="1183731"/>
                  <a:pt x="5858389" y="1181172"/>
                </a:cubicBezTo>
                <a:lnTo>
                  <a:pt x="5868922" y="1176173"/>
                </a:lnTo>
                <a:lnTo>
                  <a:pt x="5866870" y="1176083"/>
                </a:lnTo>
                <a:lnTo>
                  <a:pt x="5866001" y="1177115"/>
                </a:lnTo>
                <a:cubicBezTo>
                  <a:pt x="5865246" y="1177719"/>
                  <a:pt x="5863719" y="1177884"/>
                  <a:pt x="5861944" y="1177868"/>
                </a:cubicBezTo>
                <a:lnTo>
                  <a:pt x="5860132" y="1175773"/>
                </a:lnTo>
                <a:lnTo>
                  <a:pt x="5854588" y="1175437"/>
                </a:lnTo>
                <a:lnTo>
                  <a:pt x="5834295" y="1168160"/>
                </a:lnTo>
                <a:lnTo>
                  <a:pt x="5830533" y="1170027"/>
                </a:lnTo>
                <a:cubicBezTo>
                  <a:pt x="5827323" y="1172042"/>
                  <a:pt x="5824430" y="1172877"/>
                  <a:pt x="5821825" y="1172638"/>
                </a:cubicBezTo>
                <a:cubicBezTo>
                  <a:pt x="5819249" y="1172294"/>
                  <a:pt x="5816960" y="1170875"/>
                  <a:pt x="5815263" y="1168351"/>
                </a:cubicBezTo>
                <a:cubicBezTo>
                  <a:pt x="5815551" y="1167277"/>
                  <a:pt x="5818103" y="1164396"/>
                  <a:pt x="5816471" y="1163844"/>
                </a:cubicBezTo>
                <a:cubicBezTo>
                  <a:pt x="5818695" y="1163290"/>
                  <a:pt x="5821225" y="1162702"/>
                  <a:pt x="5823363" y="1162470"/>
                </a:cubicBezTo>
                <a:lnTo>
                  <a:pt x="5827410" y="1162865"/>
                </a:lnTo>
                <a:lnTo>
                  <a:pt x="5826227" y="1161743"/>
                </a:lnTo>
                <a:cubicBezTo>
                  <a:pt x="5824445" y="1159540"/>
                  <a:pt x="5823331" y="1157057"/>
                  <a:pt x="5823104" y="1154582"/>
                </a:cubicBezTo>
                <a:cubicBezTo>
                  <a:pt x="5823557" y="1146250"/>
                  <a:pt x="5830551" y="1142287"/>
                  <a:pt x="5839308" y="1141702"/>
                </a:cubicBezTo>
                <a:close/>
                <a:moveTo>
                  <a:pt x="1621569" y="1141424"/>
                </a:moveTo>
                <a:lnTo>
                  <a:pt x="1622248" y="1148851"/>
                </a:lnTo>
                <a:lnTo>
                  <a:pt x="1625120" y="1150311"/>
                </a:lnTo>
                <a:cubicBezTo>
                  <a:pt x="1628839" y="1153033"/>
                  <a:pt x="1631354" y="1156926"/>
                  <a:pt x="1629736" y="1160748"/>
                </a:cubicBezTo>
                <a:lnTo>
                  <a:pt x="1623275" y="1160512"/>
                </a:lnTo>
                <a:lnTo>
                  <a:pt x="1621511" y="1168204"/>
                </a:lnTo>
                <a:cubicBezTo>
                  <a:pt x="1620095" y="1171275"/>
                  <a:pt x="1617792" y="1174337"/>
                  <a:pt x="1614572" y="1177499"/>
                </a:cubicBezTo>
                <a:cubicBezTo>
                  <a:pt x="1610583" y="1176891"/>
                  <a:pt x="1605189" y="1178205"/>
                  <a:pt x="1601487" y="1176524"/>
                </a:cubicBezTo>
                <a:cubicBezTo>
                  <a:pt x="1600160" y="1175938"/>
                  <a:pt x="1599197" y="1175106"/>
                  <a:pt x="1598407" y="1173629"/>
                </a:cubicBezTo>
                <a:cubicBezTo>
                  <a:pt x="1607212" y="1169548"/>
                  <a:pt x="1608527" y="1162425"/>
                  <a:pt x="1609421" y="1155765"/>
                </a:cubicBezTo>
                <a:lnTo>
                  <a:pt x="1611453" y="1149294"/>
                </a:lnTo>
                <a:lnTo>
                  <a:pt x="1612027" y="1147148"/>
                </a:lnTo>
                <a:lnTo>
                  <a:pt x="1612421" y="1146793"/>
                </a:lnTo>
                <a:cubicBezTo>
                  <a:pt x="1613997" y="1144226"/>
                  <a:pt x="1616595" y="1142277"/>
                  <a:pt x="1621569" y="1141424"/>
                </a:cubicBezTo>
                <a:close/>
                <a:moveTo>
                  <a:pt x="2069973" y="1141182"/>
                </a:moveTo>
                <a:cubicBezTo>
                  <a:pt x="2073542" y="1141146"/>
                  <a:pt x="2078300" y="1142478"/>
                  <a:pt x="2083414" y="1144424"/>
                </a:cubicBezTo>
                <a:cubicBezTo>
                  <a:pt x="2082706" y="1145959"/>
                  <a:pt x="2088488" y="1147623"/>
                  <a:pt x="2091435" y="1149908"/>
                </a:cubicBezTo>
                <a:cubicBezTo>
                  <a:pt x="2092415" y="1151780"/>
                  <a:pt x="2093483" y="1153331"/>
                  <a:pt x="2093692" y="1154767"/>
                </a:cubicBezTo>
                <a:lnTo>
                  <a:pt x="2093633" y="1154981"/>
                </a:lnTo>
                <a:lnTo>
                  <a:pt x="2103488" y="1160267"/>
                </a:lnTo>
                <a:lnTo>
                  <a:pt x="2104421" y="1161208"/>
                </a:lnTo>
                <a:lnTo>
                  <a:pt x="2104975" y="1161356"/>
                </a:lnTo>
                <a:cubicBezTo>
                  <a:pt x="2114353" y="1163984"/>
                  <a:pt x="2122817" y="1166711"/>
                  <a:pt x="2124498" y="1173717"/>
                </a:cubicBezTo>
                <a:lnTo>
                  <a:pt x="2110480" y="1171801"/>
                </a:lnTo>
                <a:lnTo>
                  <a:pt x="2110307" y="1172445"/>
                </a:lnTo>
                <a:lnTo>
                  <a:pt x="2116129" y="1172855"/>
                </a:lnTo>
                <a:cubicBezTo>
                  <a:pt x="2118896" y="1173596"/>
                  <a:pt x="2121272" y="1174693"/>
                  <a:pt x="2122367" y="1176136"/>
                </a:cubicBezTo>
                <a:cubicBezTo>
                  <a:pt x="2118978" y="1176608"/>
                  <a:pt x="2116651" y="1176444"/>
                  <a:pt x="2114322" y="1176280"/>
                </a:cubicBezTo>
                <a:cubicBezTo>
                  <a:pt x="2112766" y="1176553"/>
                  <a:pt x="2111602" y="1176471"/>
                  <a:pt x="2110857" y="1175927"/>
                </a:cubicBezTo>
                <a:lnTo>
                  <a:pt x="2109657" y="1173766"/>
                </a:lnTo>
                <a:lnTo>
                  <a:pt x="2109543" y="1174195"/>
                </a:lnTo>
                <a:cubicBezTo>
                  <a:pt x="2108194" y="1175903"/>
                  <a:pt x="2106237" y="1177679"/>
                  <a:pt x="2103113" y="1179372"/>
                </a:cubicBezTo>
                <a:cubicBezTo>
                  <a:pt x="2101122" y="1175734"/>
                  <a:pt x="2098436" y="1172484"/>
                  <a:pt x="2095107" y="1169406"/>
                </a:cubicBezTo>
                <a:lnTo>
                  <a:pt x="2093866" y="1168500"/>
                </a:lnTo>
                <a:lnTo>
                  <a:pt x="2086787" y="1166143"/>
                </a:lnTo>
                <a:lnTo>
                  <a:pt x="2084746" y="1164905"/>
                </a:lnTo>
                <a:lnTo>
                  <a:pt x="2080995" y="1165625"/>
                </a:lnTo>
                <a:cubicBezTo>
                  <a:pt x="2079219" y="1165610"/>
                  <a:pt x="2077225" y="1165306"/>
                  <a:pt x="2075651" y="1164539"/>
                </a:cubicBezTo>
                <a:cubicBezTo>
                  <a:pt x="2067800" y="1161745"/>
                  <a:pt x="2064281" y="1158272"/>
                  <a:pt x="2062043" y="1154452"/>
                </a:cubicBezTo>
                <a:cubicBezTo>
                  <a:pt x="2062043" y="1154452"/>
                  <a:pt x="2062014" y="1154560"/>
                  <a:pt x="2062861" y="1155822"/>
                </a:cubicBezTo>
                <a:cubicBezTo>
                  <a:pt x="2060490" y="1160246"/>
                  <a:pt x="2056904" y="1166990"/>
                  <a:pt x="2053131" y="1170005"/>
                </a:cubicBezTo>
                <a:lnTo>
                  <a:pt x="2052462" y="1170285"/>
                </a:lnTo>
                <a:lnTo>
                  <a:pt x="2052710" y="1170466"/>
                </a:lnTo>
                <a:lnTo>
                  <a:pt x="2051852" y="1170351"/>
                </a:lnTo>
                <a:lnTo>
                  <a:pt x="2049206" y="1171368"/>
                </a:lnTo>
                <a:cubicBezTo>
                  <a:pt x="2048634" y="1170180"/>
                  <a:pt x="2047786" y="1168917"/>
                  <a:pt x="2048495" y="1167382"/>
                </a:cubicBezTo>
                <a:cubicBezTo>
                  <a:pt x="2049451" y="1166029"/>
                  <a:pt x="2050051" y="1167109"/>
                  <a:pt x="2049479" y="1165921"/>
                </a:cubicBezTo>
                <a:cubicBezTo>
                  <a:pt x="2050158" y="1164492"/>
                  <a:pt x="2048602" y="1164766"/>
                  <a:pt x="2048602" y="1164766"/>
                </a:cubicBezTo>
                <a:cubicBezTo>
                  <a:pt x="2048602" y="1164766"/>
                  <a:pt x="2050158" y="1164492"/>
                  <a:pt x="2050158" y="1164492"/>
                </a:cubicBezTo>
                <a:cubicBezTo>
                  <a:pt x="2050158" y="1164492"/>
                  <a:pt x="2050158" y="1164492"/>
                  <a:pt x="2051546" y="1161530"/>
                </a:cubicBezTo>
                <a:cubicBezTo>
                  <a:pt x="2052362" y="1157378"/>
                  <a:pt x="2051819" y="1156083"/>
                  <a:pt x="2051926" y="1153466"/>
                </a:cubicBezTo>
                <a:cubicBezTo>
                  <a:pt x="2053343" y="1150396"/>
                  <a:pt x="2054870" y="1150230"/>
                  <a:pt x="2057813" y="1146994"/>
                </a:cubicBezTo>
                <a:cubicBezTo>
                  <a:pt x="2061440" y="1147850"/>
                  <a:pt x="2061469" y="1147743"/>
                  <a:pt x="2062287" y="1149113"/>
                </a:cubicBezTo>
                <a:cubicBezTo>
                  <a:pt x="2061469" y="1147743"/>
                  <a:pt x="2062996" y="1147578"/>
                  <a:pt x="2063674" y="1146150"/>
                </a:cubicBezTo>
                <a:cubicBezTo>
                  <a:pt x="2064026" y="1142622"/>
                  <a:pt x="2066405" y="1141217"/>
                  <a:pt x="2069973" y="1141182"/>
                </a:cubicBezTo>
                <a:close/>
                <a:moveTo>
                  <a:pt x="1127572" y="1140678"/>
                </a:moveTo>
                <a:cubicBezTo>
                  <a:pt x="1131292" y="1142709"/>
                  <a:pt x="1133477" y="1146170"/>
                  <a:pt x="1128789" y="1147616"/>
                </a:cubicBezTo>
                <a:cubicBezTo>
                  <a:pt x="1125192" y="1146652"/>
                  <a:pt x="1121301" y="1144575"/>
                  <a:pt x="1117161" y="1142315"/>
                </a:cubicBezTo>
                <a:cubicBezTo>
                  <a:pt x="1118602" y="1138045"/>
                  <a:pt x="1123854" y="1138646"/>
                  <a:pt x="1127572" y="1140678"/>
                </a:cubicBezTo>
                <a:close/>
                <a:moveTo>
                  <a:pt x="5035201" y="1139886"/>
                </a:moveTo>
                <a:cubicBezTo>
                  <a:pt x="5035489" y="1138813"/>
                  <a:pt x="5041497" y="1142953"/>
                  <a:pt x="5043129" y="1143505"/>
                </a:cubicBezTo>
                <a:cubicBezTo>
                  <a:pt x="5043118" y="1144652"/>
                  <a:pt x="5043146" y="1144545"/>
                  <a:pt x="5041486" y="1144100"/>
                </a:cubicBezTo>
                <a:cubicBezTo>
                  <a:pt x="5041706" y="1144389"/>
                  <a:pt x="5041706" y="1144389"/>
                  <a:pt x="5041677" y="1144496"/>
                </a:cubicBezTo>
                <a:cubicBezTo>
                  <a:pt x="5040426" y="1144736"/>
                  <a:pt x="5038957" y="1144688"/>
                  <a:pt x="5037879" y="1144283"/>
                </a:cubicBezTo>
                <a:cubicBezTo>
                  <a:pt x="5036276" y="1143624"/>
                  <a:pt x="5034483" y="1142568"/>
                  <a:pt x="5032966" y="1141587"/>
                </a:cubicBezTo>
                <a:cubicBezTo>
                  <a:pt x="5033253" y="1140514"/>
                  <a:pt x="5033282" y="1140406"/>
                  <a:pt x="5035201" y="1139886"/>
                </a:cubicBezTo>
                <a:close/>
                <a:moveTo>
                  <a:pt x="5532623" y="1138503"/>
                </a:moveTo>
                <a:cubicBezTo>
                  <a:pt x="5541078" y="1139044"/>
                  <a:pt x="5551176" y="1147844"/>
                  <a:pt x="5542972" y="1153006"/>
                </a:cubicBezTo>
                <a:cubicBezTo>
                  <a:pt x="5540470" y="1153487"/>
                  <a:pt x="5537999" y="1153859"/>
                  <a:pt x="5535087" y="1153653"/>
                </a:cubicBezTo>
                <a:cubicBezTo>
                  <a:pt x="5532453" y="1153523"/>
                  <a:pt x="5529410" y="1152708"/>
                  <a:pt x="5526071" y="1150778"/>
                </a:cubicBezTo>
                <a:cubicBezTo>
                  <a:pt x="5524368" y="1146066"/>
                  <a:pt x="5525899" y="1142566"/>
                  <a:pt x="5532623" y="1138503"/>
                </a:cubicBezTo>
                <a:close/>
                <a:moveTo>
                  <a:pt x="5592628" y="1138136"/>
                </a:moveTo>
                <a:cubicBezTo>
                  <a:pt x="5597260" y="1144092"/>
                  <a:pt x="5595510" y="1147303"/>
                  <a:pt x="5597242" y="1151908"/>
                </a:cubicBezTo>
                <a:cubicBezTo>
                  <a:pt x="5590644" y="1154394"/>
                  <a:pt x="5585433" y="1153919"/>
                  <a:pt x="5581790" y="1152022"/>
                </a:cubicBezTo>
                <a:cubicBezTo>
                  <a:pt x="5578174" y="1150018"/>
                  <a:pt x="5576097" y="1146701"/>
                  <a:pt x="5576044" y="1143582"/>
                </a:cubicBezTo>
                <a:cubicBezTo>
                  <a:pt x="5576285" y="1141577"/>
                  <a:pt x="5577107" y="1139612"/>
                  <a:pt x="5578922" y="1138374"/>
                </a:cubicBezTo>
                <a:cubicBezTo>
                  <a:pt x="5581711" y="1136821"/>
                  <a:pt x="5586292" y="1136324"/>
                  <a:pt x="5592628" y="1138136"/>
                </a:cubicBezTo>
                <a:close/>
                <a:moveTo>
                  <a:pt x="5306213" y="1137867"/>
                </a:moveTo>
                <a:cubicBezTo>
                  <a:pt x="5315442" y="1138845"/>
                  <a:pt x="5313527" y="1144887"/>
                  <a:pt x="5308888" y="1145599"/>
                </a:cubicBezTo>
                <a:cubicBezTo>
                  <a:pt x="5307359" y="1145765"/>
                  <a:pt x="5305642" y="1145535"/>
                  <a:pt x="5303935" y="1144157"/>
                </a:cubicBezTo>
                <a:cubicBezTo>
                  <a:pt x="5304643" y="1142622"/>
                  <a:pt x="5304226" y="1139750"/>
                  <a:pt x="5306213" y="1137867"/>
                </a:cubicBezTo>
                <a:close/>
                <a:moveTo>
                  <a:pt x="1347981" y="1137836"/>
                </a:moveTo>
                <a:cubicBezTo>
                  <a:pt x="1350157" y="1138016"/>
                  <a:pt x="1352441" y="1139175"/>
                  <a:pt x="1356036" y="1141806"/>
                </a:cubicBezTo>
                <a:cubicBezTo>
                  <a:pt x="1356036" y="1141806"/>
                  <a:pt x="1357046" y="1143571"/>
                  <a:pt x="1357046" y="1143571"/>
                </a:cubicBezTo>
                <a:cubicBezTo>
                  <a:pt x="1362319" y="1149355"/>
                  <a:pt x="1362882" y="1157210"/>
                  <a:pt x="1360399" y="1158730"/>
                </a:cubicBezTo>
                <a:cubicBezTo>
                  <a:pt x="1358480" y="1159250"/>
                  <a:pt x="1355846" y="1159120"/>
                  <a:pt x="1353107" y="1158271"/>
                </a:cubicBezTo>
                <a:cubicBezTo>
                  <a:pt x="1350674" y="1157390"/>
                  <a:pt x="1348138" y="1155790"/>
                  <a:pt x="1346441" y="1153266"/>
                </a:cubicBezTo>
                <a:cubicBezTo>
                  <a:pt x="1342486" y="1149215"/>
                  <a:pt x="1343969" y="1144783"/>
                  <a:pt x="1340577" y="1139734"/>
                </a:cubicBezTo>
                <a:cubicBezTo>
                  <a:pt x="1343738" y="1138453"/>
                  <a:pt x="1345805" y="1137656"/>
                  <a:pt x="1347981" y="1137836"/>
                </a:cubicBezTo>
                <a:close/>
                <a:moveTo>
                  <a:pt x="1689318" y="1137612"/>
                </a:moveTo>
                <a:cubicBezTo>
                  <a:pt x="1691256" y="1138131"/>
                  <a:pt x="1692800" y="1139005"/>
                  <a:pt x="1694202" y="1140416"/>
                </a:cubicBezTo>
                <a:lnTo>
                  <a:pt x="1695460" y="1142363"/>
                </a:lnTo>
                <a:lnTo>
                  <a:pt x="1697806" y="1143567"/>
                </a:lnTo>
                <a:lnTo>
                  <a:pt x="1715156" y="1145226"/>
                </a:lnTo>
                <a:lnTo>
                  <a:pt x="1708936" y="1142984"/>
                </a:lnTo>
                <a:cubicBezTo>
                  <a:pt x="1710596" y="1143428"/>
                  <a:pt x="1710596" y="1143428"/>
                  <a:pt x="1710596" y="1143428"/>
                </a:cubicBezTo>
                <a:cubicBezTo>
                  <a:pt x="1712543" y="1142800"/>
                  <a:pt x="1710912" y="1142248"/>
                  <a:pt x="1710923" y="1141102"/>
                </a:cubicBezTo>
                <a:cubicBezTo>
                  <a:pt x="1710923" y="1141102"/>
                  <a:pt x="1710912" y="1142248"/>
                  <a:pt x="1709568" y="1140624"/>
                </a:cubicBezTo>
                <a:cubicBezTo>
                  <a:pt x="1711228" y="1141069"/>
                  <a:pt x="1711240" y="1139921"/>
                  <a:pt x="1711557" y="1138740"/>
                </a:cubicBezTo>
                <a:cubicBezTo>
                  <a:pt x="1715173" y="1137410"/>
                  <a:pt x="1720730" y="1136599"/>
                  <a:pt x="1723733" y="1138669"/>
                </a:cubicBezTo>
                <a:cubicBezTo>
                  <a:pt x="1725077" y="1140294"/>
                  <a:pt x="1725315" y="1141622"/>
                  <a:pt x="1725027" y="1142695"/>
                </a:cubicBezTo>
                <a:lnTo>
                  <a:pt x="1723546" y="1143794"/>
                </a:lnTo>
                <a:lnTo>
                  <a:pt x="1725548" y="1146285"/>
                </a:lnTo>
                <a:lnTo>
                  <a:pt x="1745751" y="1148364"/>
                </a:lnTo>
                <a:cubicBezTo>
                  <a:pt x="1754764" y="1163429"/>
                  <a:pt x="1787918" y="1174727"/>
                  <a:pt x="1786055" y="1192743"/>
                </a:cubicBezTo>
                <a:lnTo>
                  <a:pt x="1785129" y="1193990"/>
                </a:lnTo>
                <a:lnTo>
                  <a:pt x="1786663" y="1196011"/>
                </a:lnTo>
                <a:cubicBezTo>
                  <a:pt x="1788244" y="1198965"/>
                  <a:pt x="1788661" y="1201836"/>
                  <a:pt x="1787303" y="1204692"/>
                </a:cubicBezTo>
                <a:cubicBezTo>
                  <a:pt x="1785269" y="1205643"/>
                  <a:pt x="1782272" y="1205759"/>
                  <a:pt x="1779142" y="1205266"/>
                </a:cubicBezTo>
                <a:lnTo>
                  <a:pt x="1777235" y="1204640"/>
                </a:lnTo>
                <a:lnTo>
                  <a:pt x="1776296" y="1207033"/>
                </a:lnTo>
                <a:cubicBezTo>
                  <a:pt x="1775394" y="1211507"/>
                  <a:pt x="1775770" y="1215633"/>
                  <a:pt x="1773427" y="1219950"/>
                </a:cubicBezTo>
                <a:cubicBezTo>
                  <a:pt x="1768157" y="1223022"/>
                  <a:pt x="1761720" y="1226013"/>
                  <a:pt x="1754818" y="1228534"/>
                </a:cubicBezTo>
                <a:lnTo>
                  <a:pt x="1738242" y="1232832"/>
                </a:lnTo>
                <a:lnTo>
                  <a:pt x="1736086" y="1240879"/>
                </a:lnTo>
                <a:cubicBezTo>
                  <a:pt x="1735616" y="1243744"/>
                  <a:pt x="1734868" y="1246534"/>
                  <a:pt x="1732431" y="1248987"/>
                </a:cubicBezTo>
                <a:cubicBezTo>
                  <a:pt x="1730782" y="1247394"/>
                  <a:pt x="1727494" y="1243063"/>
                  <a:pt x="1731182" y="1240371"/>
                </a:cubicBezTo>
                <a:cubicBezTo>
                  <a:pt x="1733025" y="1239024"/>
                  <a:pt x="1733485" y="1237307"/>
                  <a:pt x="1733945" y="1235591"/>
                </a:cubicBezTo>
                <a:lnTo>
                  <a:pt x="1735045" y="1233700"/>
                </a:lnTo>
                <a:lnTo>
                  <a:pt x="1732486" y="1234396"/>
                </a:lnTo>
                <a:cubicBezTo>
                  <a:pt x="1716926" y="1237126"/>
                  <a:pt x="1700089" y="1236870"/>
                  <a:pt x="1684386" y="1231283"/>
                </a:cubicBezTo>
                <a:cubicBezTo>
                  <a:pt x="1658397" y="1222018"/>
                  <a:pt x="1657517" y="1206487"/>
                  <a:pt x="1641329" y="1190534"/>
                </a:cubicBezTo>
                <a:cubicBezTo>
                  <a:pt x="1648340" y="1185398"/>
                  <a:pt x="1650187" y="1180717"/>
                  <a:pt x="1649867" y="1176376"/>
                </a:cubicBezTo>
                <a:lnTo>
                  <a:pt x="1649507" y="1173291"/>
                </a:lnTo>
                <a:lnTo>
                  <a:pt x="1640952" y="1168698"/>
                </a:lnTo>
                <a:cubicBezTo>
                  <a:pt x="1641987" y="1164836"/>
                  <a:pt x="1643565" y="1162268"/>
                  <a:pt x="1645131" y="1160847"/>
                </a:cubicBezTo>
                <a:lnTo>
                  <a:pt x="1650582" y="1159318"/>
                </a:lnTo>
                <a:lnTo>
                  <a:pt x="1649164" y="1156869"/>
                </a:lnTo>
                <a:cubicBezTo>
                  <a:pt x="1649325" y="1148517"/>
                  <a:pt x="1661853" y="1143823"/>
                  <a:pt x="1671008" y="1140641"/>
                </a:cubicBezTo>
                <a:cubicBezTo>
                  <a:pt x="1676996" y="1138221"/>
                  <a:pt x="1684061" y="1136204"/>
                  <a:pt x="1689318" y="1137612"/>
                </a:cubicBezTo>
                <a:close/>
                <a:moveTo>
                  <a:pt x="1163514" y="1136451"/>
                </a:moveTo>
                <a:cubicBezTo>
                  <a:pt x="1180188" y="1136204"/>
                  <a:pt x="1179067" y="1140388"/>
                  <a:pt x="1180149" y="1146313"/>
                </a:cubicBezTo>
                <a:cubicBezTo>
                  <a:pt x="1176456" y="1146818"/>
                  <a:pt x="1174151" y="1149880"/>
                  <a:pt x="1169494" y="1149553"/>
                </a:cubicBezTo>
                <a:cubicBezTo>
                  <a:pt x="1169494" y="1149553"/>
                  <a:pt x="1168664" y="1149330"/>
                  <a:pt x="1167833" y="1149109"/>
                </a:cubicBezTo>
                <a:cubicBezTo>
                  <a:pt x="1167004" y="1148885"/>
                  <a:pt x="1165677" y="1148300"/>
                  <a:pt x="1164438" y="1147393"/>
                </a:cubicBezTo>
                <a:cubicBezTo>
                  <a:pt x="1158569" y="1146051"/>
                  <a:pt x="1158700" y="1141140"/>
                  <a:pt x="1158700" y="1141140"/>
                </a:cubicBezTo>
                <a:cubicBezTo>
                  <a:pt x="1158700" y="1141140"/>
                  <a:pt x="1158700" y="1141140"/>
                  <a:pt x="1157611" y="1141884"/>
                </a:cubicBezTo>
                <a:cubicBezTo>
                  <a:pt x="1160064" y="1140471"/>
                  <a:pt x="1161031" y="1137971"/>
                  <a:pt x="1163514" y="1136451"/>
                </a:cubicBezTo>
                <a:close/>
                <a:moveTo>
                  <a:pt x="1874135" y="1136303"/>
                </a:moveTo>
                <a:cubicBezTo>
                  <a:pt x="1874390" y="1138671"/>
                  <a:pt x="1874462" y="1151685"/>
                  <a:pt x="1871461" y="1155136"/>
                </a:cubicBezTo>
                <a:cubicBezTo>
                  <a:pt x="1872461" y="1149195"/>
                  <a:pt x="1869931" y="1140926"/>
                  <a:pt x="1874135" y="1136303"/>
                </a:cubicBezTo>
                <a:close/>
                <a:moveTo>
                  <a:pt x="1551836" y="1134930"/>
                </a:moveTo>
                <a:cubicBezTo>
                  <a:pt x="1553754" y="1134408"/>
                  <a:pt x="1555358" y="1135068"/>
                  <a:pt x="1556712" y="1135546"/>
                </a:cubicBezTo>
                <a:cubicBezTo>
                  <a:pt x="1558027" y="1137278"/>
                  <a:pt x="1557434" y="1138385"/>
                  <a:pt x="1558749" y="1140117"/>
                </a:cubicBezTo>
                <a:cubicBezTo>
                  <a:pt x="1560381" y="1140669"/>
                  <a:pt x="1563309" y="1141913"/>
                  <a:pt x="1564625" y="1143647"/>
                </a:cubicBezTo>
                <a:lnTo>
                  <a:pt x="1564844" y="1143935"/>
                </a:lnTo>
                <a:lnTo>
                  <a:pt x="1568269" y="1145542"/>
                </a:lnTo>
                <a:lnTo>
                  <a:pt x="1567945" y="1144537"/>
                </a:lnTo>
                <a:cubicBezTo>
                  <a:pt x="1571949" y="1140664"/>
                  <a:pt x="1575840" y="1142741"/>
                  <a:pt x="1583311" y="1144743"/>
                </a:cubicBezTo>
                <a:cubicBezTo>
                  <a:pt x="1582051" y="1146129"/>
                  <a:pt x="1588011" y="1149338"/>
                  <a:pt x="1590081" y="1150468"/>
                </a:cubicBezTo>
                <a:cubicBezTo>
                  <a:pt x="1587311" y="1153060"/>
                  <a:pt x="1593538" y="1157489"/>
                  <a:pt x="1589535" y="1161362"/>
                </a:cubicBezTo>
                <a:cubicBezTo>
                  <a:pt x="1586232" y="1161511"/>
                  <a:pt x="1584430" y="1161603"/>
                  <a:pt x="1580832" y="1160639"/>
                </a:cubicBezTo>
                <a:lnTo>
                  <a:pt x="1574690" y="1155888"/>
                </a:lnTo>
                <a:lnTo>
                  <a:pt x="1574287" y="1157391"/>
                </a:lnTo>
                <a:cubicBezTo>
                  <a:pt x="1573630" y="1156524"/>
                  <a:pt x="1571513" y="1154462"/>
                  <a:pt x="1569952" y="1152549"/>
                </a:cubicBezTo>
                <a:lnTo>
                  <a:pt x="1568226" y="1150131"/>
                </a:lnTo>
                <a:lnTo>
                  <a:pt x="1566727" y="1150190"/>
                </a:lnTo>
                <a:cubicBezTo>
                  <a:pt x="1564456" y="1149811"/>
                  <a:pt x="1562167" y="1148393"/>
                  <a:pt x="1561710" y="1146775"/>
                </a:cubicBezTo>
                <a:lnTo>
                  <a:pt x="1562839" y="1144777"/>
                </a:lnTo>
                <a:lnTo>
                  <a:pt x="1562705" y="1144168"/>
                </a:lnTo>
                <a:cubicBezTo>
                  <a:pt x="1561391" y="1142435"/>
                  <a:pt x="1554477" y="1137247"/>
                  <a:pt x="1552558" y="1137768"/>
                </a:cubicBezTo>
                <a:cubicBezTo>
                  <a:pt x="1552874" y="1136587"/>
                  <a:pt x="1551836" y="1134930"/>
                  <a:pt x="1551836" y="1134930"/>
                </a:cubicBezTo>
                <a:close/>
                <a:moveTo>
                  <a:pt x="2010134" y="1134564"/>
                </a:moveTo>
                <a:cubicBezTo>
                  <a:pt x="2011737" y="1135223"/>
                  <a:pt x="2015288" y="1135254"/>
                  <a:pt x="2016326" y="1136912"/>
                </a:cubicBezTo>
                <a:cubicBezTo>
                  <a:pt x="2017641" y="1138645"/>
                  <a:pt x="2017641" y="1138645"/>
                  <a:pt x="2016761" y="1140824"/>
                </a:cubicBezTo>
                <a:cubicBezTo>
                  <a:pt x="2012487" y="1137953"/>
                  <a:pt x="2012487" y="1137953"/>
                  <a:pt x="2010134" y="1134564"/>
                </a:cubicBezTo>
                <a:close/>
                <a:moveTo>
                  <a:pt x="5012592" y="1133642"/>
                </a:moveTo>
                <a:cubicBezTo>
                  <a:pt x="5016999" y="1133658"/>
                  <a:pt x="5021719" y="1135411"/>
                  <a:pt x="5024273" y="1139718"/>
                </a:cubicBezTo>
                <a:cubicBezTo>
                  <a:pt x="5024126" y="1143589"/>
                  <a:pt x="5024284" y="1147425"/>
                  <a:pt x="5017467" y="1149625"/>
                </a:cubicBezTo>
                <a:cubicBezTo>
                  <a:pt x="5010797" y="1147953"/>
                  <a:pt x="5006887" y="1144834"/>
                  <a:pt x="5002791" y="1137987"/>
                </a:cubicBezTo>
                <a:cubicBezTo>
                  <a:pt x="5004092" y="1135346"/>
                  <a:pt x="5008186" y="1133625"/>
                  <a:pt x="5012592" y="1133642"/>
                </a:cubicBezTo>
                <a:close/>
                <a:moveTo>
                  <a:pt x="2005603" y="1132659"/>
                </a:moveTo>
                <a:cubicBezTo>
                  <a:pt x="2005890" y="1131587"/>
                  <a:pt x="2007493" y="1132245"/>
                  <a:pt x="2008837" y="1133871"/>
                </a:cubicBezTo>
                <a:cubicBezTo>
                  <a:pt x="2008837" y="1133871"/>
                  <a:pt x="2008549" y="1134944"/>
                  <a:pt x="2008549" y="1134944"/>
                </a:cubicBezTo>
                <a:cubicBezTo>
                  <a:pt x="2006946" y="1134284"/>
                  <a:pt x="2005067" y="1133551"/>
                  <a:pt x="2005603" y="1132659"/>
                </a:cubicBezTo>
                <a:close/>
                <a:moveTo>
                  <a:pt x="2224892" y="1132191"/>
                </a:moveTo>
                <a:cubicBezTo>
                  <a:pt x="2225321" y="1133916"/>
                  <a:pt x="2229136" y="1135169"/>
                  <a:pt x="2229536" y="1137001"/>
                </a:cubicBezTo>
                <a:cubicBezTo>
                  <a:pt x="2229536" y="1137001"/>
                  <a:pt x="2228005" y="1140501"/>
                  <a:pt x="2228005" y="1140501"/>
                </a:cubicBezTo>
                <a:cubicBezTo>
                  <a:pt x="2226840" y="1140419"/>
                  <a:pt x="2226287" y="1140271"/>
                  <a:pt x="2226040" y="1140088"/>
                </a:cubicBezTo>
                <a:cubicBezTo>
                  <a:pt x="2225762" y="1140015"/>
                  <a:pt x="2226097" y="1139875"/>
                  <a:pt x="2226517" y="1139412"/>
                </a:cubicBezTo>
                <a:cubicBezTo>
                  <a:pt x="2222948" y="1138342"/>
                  <a:pt x="2221460" y="1137253"/>
                  <a:pt x="2220221" y="1136345"/>
                </a:cubicBezTo>
                <a:cubicBezTo>
                  <a:pt x="2219823" y="1134513"/>
                  <a:pt x="2221752" y="1132846"/>
                  <a:pt x="2224892" y="1132191"/>
                </a:cubicBezTo>
                <a:close/>
                <a:moveTo>
                  <a:pt x="5216228" y="1131696"/>
                </a:moveTo>
                <a:cubicBezTo>
                  <a:pt x="5226497" y="1139853"/>
                  <a:pt x="5225383" y="1163935"/>
                  <a:pt x="5208224" y="1162672"/>
                </a:cubicBezTo>
                <a:cubicBezTo>
                  <a:pt x="5209302" y="1154221"/>
                  <a:pt x="5211620" y="1146677"/>
                  <a:pt x="5207577" y="1134093"/>
                </a:cubicBezTo>
                <a:cubicBezTo>
                  <a:pt x="5212178" y="1134636"/>
                  <a:pt x="5210417" y="1130139"/>
                  <a:pt x="5216228" y="1131696"/>
                </a:cubicBezTo>
                <a:close/>
                <a:moveTo>
                  <a:pt x="1934824" y="1131174"/>
                </a:moveTo>
                <a:cubicBezTo>
                  <a:pt x="1936923" y="1132196"/>
                  <a:pt x="1939049" y="1133111"/>
                  <a:pt x="1940537" y="1134200"/>
                </a:cubicBezTo>
                <a:lnTo>
                  <a:pt x="1941052" y="1135603"/>
                </a:lnTo>
                <a:lnTo>
                  <a:pt x="1941910" y="1135718"/>
                </a:lnTo>
                <a:lnTo>
                  <a:pt x="1944059" y="1134339"/>
                </a:lnTo>
                <a:lnTo>
                  <a:pt x="1943556" y="1131788"/>
                </a:lnTo>
                <a:lnTo>
                  <a:pt x="1949540" y="1132702"/>
                </a:lnTo>
                <a:lnTo>
                  <a:pt x="1954894" y="1132642"/>
                </a:lnTo>
                <a:cubicBezTo>
                  <a:pt x="1956496" y="1133301"/>
                  <a:pt x="1957956" y="1134497"/>
                  <a:pt x="1959546" y="1136304"/>
                </a:cubicBezTo>
                <a:lnTo>
                  <a:pt x="1959201" y="1137591"/>
                </a:lnTo>
                <a:lnTo>
                  <a:pt x="1969422" y="1148150"/>
                </a:lnTo>
                <a:cubicBezTo>
                  <a:pt x="1976167" y="1141793"/>
                  <a:pt x="1983043" y="1130524"/>
                  <a:pt x="1994365" y="1135858"/>
                </a:cubicBezTo>
                <a:cubicBezTo>
                  <a:pt x="1998688" y="1145182"/>
                  <a:pt x="1983251" y="1149670"/>
                  <a:pt x="1977342" y="1158437"/>
                </a:cubicBezTo>
                <a:cubicBezTo>
                  <a:pt x="1976936" y="1163274"/>
                  <a:pt x="1984396" y="1166422"/>
                  <a:pt x="1976152" y="1172839"/>
                </a:cubicBezTo>
                <a:cubicBezTo>
                  <a:pt x="1967959" y="1167998"/>
                  <a:pt x="1961322" y="1162884"/>
                  <a:pt x="1956431" y="1157894"/>
                </a:cubicBezTo>
                <a:lnTo>
                  <a:pt x="1952792" y="1152664"/>
                </a:lnTo>
                <a:lnTo>
                  <a:pt x="1952734" y="1152878"/>
                </a:lnTo>
                <a:cubicBezTo>
                  <a:pt x="1950394" y="1153861"/>
                  <a:pt x="1947836" y="1154556"/>
                  <a:pt x="1944198" y="1154846"/>
                </a:cubicBezTo>
                <a:cubicBezTo>
                  <a:pt x="1944048" y="1153196"/>
                  <a:pt x="1941690" y="1153140"/>
                  <a:pt x="1939333" y="1153083"/>
                </a:cubicBezTo>
                <a:cubicBezTo>
                  <a:pt x="1936606" y="1151087"/>
                  <a:pt x="1935549" y="1148389"/>
                  <a:pt x="1935657" y="1145772"/>
                </a:cubicBezTo>
                <a:lnTo>
                  <a:pt x="1936595" y="1143379"/>
                </a:lnTo>
                <a:lnTo>
                  <a:pt x="1936318" y="1143304"/>
                </a:lnTo>
                <a:lnTo>
                  <a:pt x="1936959" y="1143131"/>
                </a:lnTo>
                <a:lnTo>
                  <a:pt x="1937245" y="1142058"/>
                </a:lnTo>
                <a:lnTo>
                  <a:pt x="1935442" y="1142149"/>
                </a:lnTo>
                <a:cubicBezTo>
                  <a:pt x="1931453" y="1141541"/>
                  <a:pt x="1927360" y="1140215"/>
                  <a:pt x="1925186" y="1138367"/>
                </a:cubicBezTo>
                <a:cubicBezTo>
                  <a:pt x="1927420" y="1136665"/>
                  <a:pt x="1929351" y="1134998"/>
                  <a:pt x="1931309" y="1133221"/>
                </a:cubicBezTo>
                <a:lnTo>
                  <a:pt x="1932664" y="1133701"/>
                </a:lnTo>
                <a:lnTo>
                  <a:pt x="1932941" y="1133775"/>
                </a:lnTo>
                <a:cubicBezTo>
                  <a:pt x="1933973" y="1133246"/>
                  <a:pt x="1934755" y="1132536"/>
                  <a:pt x="1934824" y="1131174"/>
                </a:cubicBezTo>
                <a:close/>
                <a:moveTo>
                  <a:pt x="2121463" y="1130814"/>
                </a:moveTo>
                <a:cubicBezTo>
                  <a:pt x="2122932" y="1130862"/>
                  <a:pt x="2124506" y="1131629"/>
                  <a:pt x="2125879" y="1133146"/>
                </a:cubicBezTo>
                <a:cubicBezTo>
                  <a:pt x="2124111" y="1135318"/>
                  <a:pt x="2122354" y="1136342"/>
                  <a:pt x="2119117" y="1138464"/>
                </a:cubicBezTo>
                <a:cubicBezTo>
                  <a:pt x="2117541" y="1137697"/>
                  <a:pt x="2116579" y="1136865"/>
                  <a:pt x="2116227" y="1135965"/>
                </a:cubicBezTo>
                <a:cubicBezTo>
                  <a:pt x="2114864" y="1133301"/>
                  <a:pt x="2117969" y="1130567"/>
                  <a:pt x="2121463" y="1130814"/>
                </a:cubicBezTo>
                <a:close/>
                <a:moveTo>
                  <a:pt x="1726444" y="1130770"/>
                </a:moveTo>
                <a:cubicBezTo>
                  <a:pt x="1728405" y="1130088"/>
                  <a:pt x="1731026" y="1130273"/>
                  <a:pt x="1735510" y="1131245"/>
                </a:cubicBezTo>
                <a:cubicBezTo>
                  <a:pt x="1735510" y="1131245"/>
                  <a:pt x="1737332" y="1132192"/>
                  <a:pt x="1737332" y="1132192"/>
                </a:cubicBezTo>
                <a:cubicBezTo>
                  <a:pt x="1744792" y="1135342"/>
                  <a:pt x="1750053" y="1142270"/>
                  <a:pt x="1749086" y="1144771"/>
                </a:cubicBezTo>
                <a:cubicBezTo>
                  <a:pt x="1747099" y="1146654"/>
                  <a:pt x="1743175" y="1148018"/>
                  <a:pt x="1738633" y="1147261"/>
                </a:cubicBezTo>
                <a:cubicBezTo>
                  <a:pt x="1737220" y="1146998"/>
                  <a:pt x="1735617" y="1146338"/>
                  <a:pt x="1734321" y="1145646"/>
                </a:cubicBezTo>
                <a:cubicBezTo>
                  <a:pt x="1728653" y="1143552"/>
                  <a:pt x="1727256" y="1138807"/>
                  <a:pt x="1721324" y="1135493"/>
                </a:cubicBezTo>
                <a:cubicBezTo>
                  <a:pt x="1723178" y="1133000"/>
                  <a:pt x="1724482" y="1131451"/>
                  <a:pt x="1726444" y="1130770"/>
                </a:cubicBezTo>
                <a:close/>
                <a:moveTo>
                  <a:pt x="1791890" y="1130021"/>
                </a:moveTo>
                <a:cubicBezTo>
                  <a:pt x="1790798" y="1134099"/>
                  <a:pt x="1775363" y="1135252"/>
                  <a:pt x="1768406" y="1134653"/>
                </a:cubicBezTo>
                <a:cubicBezTo>
                  <a:pt x="1768664" y="1133688"/>
                  <a:pt x="1769782" y="1132837"/>
                  <a:pt x="1771452" y="1132135"/>
                </a:cubicBezTo>
                <a:cubicBezTo>
                  <a:pt x="1776714" y="1130210"/>
                  <a:pt x="1786650" y="1129651"/>
                  <a:pt x="1791890" y="1130021"/>
                </a:cubicBezTo>
                <a:close/>
                <a:moveTo>
                  <a:pt x="5950996" y="1129969"/>
                </a:moveTo>
                <a:cubicBezTo>
                  <a:pt x="5953164" y="1129630"/>
                  <a:pt x="5955769" y="1129868"/>
                  <a:pt x="5958230" y="1130643"/>
                </a:cubicBezTo>
                <a:cubicBezTo>
                  <a:pt x="5961827" y="1131606"/>
                  <a:pt x="5965719" y="1133684"/>
                  <a:pt x="5969848" y="1137090"/>
                </a:cubicBezTo>
                <a:cubicBezTo>
                  <a:pt x="5974060" y="1143509"/>
                  <a:pt x="5963074" y="1152411"/>
                  <a:pt x="5954687" y="1150508"/>
                </a:cubicBezTo>
                <a:cubicBezTo>
                  <a:pt x="5950968" y="1147786"/>
                  <a:pt x="5947248" y="1145065"/>
                  <a:pt x="5943558" y="1142235"/>
                </a:cubicBezTo>
                <a:cubicBezTo>
                  <a:pt x="5940510" y="1135899"/>
                  <a:pt x="5944277" y="1130698"/>
                  <a:pt x="5950996" y="1129969"/>
                </a:cubicBezTo>
                <a:close/>
                <a:moveTo>
                  <a:pt x="1999421" y="1129163"/>
                </a:moveTo>
                <a:cubicBezTo>
                  <a:pt x="2000766" y="1130788"/>
                  <a:pt x="2001330" y="1129789"/>
                  <a:pt x="2000507" y="1131754"/>
                </a:cubicBezTo>
                <a:cubicBezTo>
                  <a:pt x="1999163" y="1130128"/>
                  <a:pt x="1999163" y="1130128"/>
                  <a:pt x="1997561" y="1129470"/>
                </a:cubicBezTo>
                <a:cubicBezTo>
                  <a:pt x="1997561" y="1129470"/>
                  <a:pt x="1999421" y="1129163"/>
                  <a:pt x="1999421" y="1129163"/>
                </a:cubicBezTo>
                <a:close/>
                <a:moveTo>
                  <a:pt x="1526523" y="1127572"/>
                </a:moveTo>
                <a:cubicBezTo>
                  <a:pt x="1533106" y="1129565"/>
                  <a:pt x="1541141" y="1139424"/>
                  <a:pt x="1542158" y="1143376"/>
                </a:cubicBezTo>
                <a:cubicBezTo>
                  <a:pt x="1539053" y="1146109"/>
                  <a:pt x="1535609" y="1146796"/>
                  <a:pt x="1531953" y="1146047"/>
                </a:cubicBezTo>
                <a:cubicBezTo>
                  <a:pt x="1521570" y="1143840"/>
                  <a:pt x="1513129" y="1129964"/>
                  <a:pt x="1526523" y="1127572"/>
                </a:cubicBezTo>
                <a:close/>
                <a:moveTo>
                  <a:pt x="1337330" y="1126673"/>
                </a:moveTo>
                <a:cubicBezTo>
                  <a:pt x="1341148" y="1126259"/>
                  <a:pt x="1345635" y="1126944"/>
                  <a:pt x="1348530" y="1128870"/>
                </a:cubicBezTo>
                <a:cubicBezTo>
                  <a:pt x="1340979" y="1129377"/>
                  <a:pt x="1338532" y="1132976"/>
                  <a:pt x="1334735" y="1132763"/>
                </a:cubicBezTo>
                <a:cubicBezTo>
                  <a:pt x="1333541" y="1132788"/>
                  <a:pt x="1331909" y="1132237"/>
                  <a:pt x="1330145" y="1131074"/>
                </a:cubicBezTo>
                <a:cubicBezTo>
                  <a:pt x="1330363" y="1128602"/>
                  <a:pt x="1333512" y="1127087"/>
                  <a:pt x="1337330" y="1126673"/>
                </a:cubicBezTo>
                <a:close/>
                <a:moveTo>
                  <a:pt x="5347964" y="1125940"/>
                </a:moveTo>
                <a:cubicBezTo>
                  <a:pt x="5360674" y="1137165"/>
                  <a:pt x="5357033" y="1158499"/>
                  <a:pt x="5340633" y="1153300"/>
                </a:cubicBezTo>
                <a:cubicBezTo>
                  <a:pt x="5338448" y="1152600"/>
                  <a:pt x="5335853" y="1151214"/>
                  <a:pt x="5332821" y="1149252"/>
                </a:cubicBezTo>
                <a:cubicBezTo>
                  <a:pt x="5333010" y="1140793"/>
                  <a:pt x="5329191" y="1125165"/>
                  <a:pt x="5347964" y="1125940"/>
                </a:cubicBezTo>
                <a:close/>
                <a:moveTo>
                  <a:pt x="4953290" y="1124608"/>
                </a:moveTo>
                <a:cubicBezTo>
                  <a:pt x="4968850" y="1130733"/>
                  <a:pt x="4966571" y="1128167"/>
                  <a:pt x="4984226" y="1138647"/>
                </a:cubicBezTo>
                <a:cubicBezTo>
                  <a:pt x="4981668" y="1139342"/>
                  <a:pt x="4978699" y="1139352"/>
                  <a:pt x="4975292" y="1138784"/>
                </a:cubicBezTo>
                <a:cubicBezTo>
                  <a:pt x="4965349" y="1137155"/>
                  <a:pt x="4953789" y="1130492"/>
                  <a:pt x="4953290" y="1124608"/>
                </a:cubicBezTo>
                <a:close/>
                <a:moveTo>
                  <a:pt x="1559817" y="1123958"/>
                </a:moveTo>
                <a:cubicBezTo>
                  <a:pt x="1562371" y="1126598"/>
                  <a:pt x="1562903" y="1129040"/>
                  <a:pt x="1562387" y="1130972"/>
                </a:cubicBezTo>
                <a:lnTo>
                  <a:pt x="1560905" y="1132070"/>
                </a:lnTo>
                <a:lnTo>
                  <a:pt x="1560065" y="1132995"/>
                </a:lnTo>
                <a:lnTo>
                  <a:pt x="1560037" y="1133102"/>
                </a:lnTo>
                <a:lnTo>
                  <a:pt x="1557351" y="1135372"/>
                </a:lnTo>
                <a:cubicBezTo>
                  <a:pt x="1552733" y="1133790"/>
                  <a:pt x="1550732" y="1131298"/>
                  <a:pt x="1551059" y="1128972"/>
                </a:cubicBezTo>
                <a:cubicBezTo>
                  <a:pt x="1551663" y="1126718"/>
                  <a:pt x="1554872" y="1124703"/>
                  <a:pt x="1559817" y="1123958"/>
                </a:cubicBezTo>
                <a:close/>
                <a:moveTo>
                  <a:pt x="6082603" y="1122208"/>
                </a:moveTo>
                <a:cubicBezTo>
                  <a:pt x="6087149" y="1121571"/>
                  <a:pt x="6092462" y="1122218"/>
                  <a:pt x="6096439" y="1123974"/>
                </a:cubicBezTo>
                <a:cubicBezTo>
                  <a:pt x="6098814" y="1125072"/>
                  <a:pt x="6101046" y="1126705"/>
                  <a:pt x="6101693" y="1128718"/>
                </a:cubicBezTo>
                <a:cubicBezTo>
                  <a:pt x="6100313" y="1133867"/>
                  <a:pt x="6093421" y="1135240"/>
                  <a:pt x="6086302" y="1134138"/>
                </a:cubicBezTo>
                <a:cubicBezTo>
                  <a:pt x="6084030" y="1133759"/>
                  <a:pt x="6081817" y="1133166"/>
                  <a:pt x="6079937" y="1132433"/>
                </a:cubicBezTo>
                <a:cubicBezTo>
                  <a:pt x="6077257" y="1131370"/>
                  <a:pt x="6074996" y="1129844"/>
                  <a:pt x="6073375" y="1128144"/>
                </a:cubicBezTo>
                <a:cubicBezTo>
                  <a:pt x="6074281" y="1124764"/>
                  <a:pt x="6078058" y="1122844"/>
                  <a:pt x="6082603" y="1122208"/>
                </a:cubicBezTo>
                <a:close/>
                <a:moveTo>
                  <a:pt x="1595066" y="1121903"/>
                </a:moveTo>
                <a:cubicBezTo>
                  <a:pt x="1598721" y="1122652"/>
                  <a:pt x="1602347" y="1123509"/>
                  <a:pt x="1605725" y="1124183"/>
                </a:cubicBezTo>
                <a:cubicBezTo>
                  <a:pt x="1604199" y="1124350"/>
                  <a:pt x="1611841" y="1134563"/>
                  <a:pt x="1611841" y="1134563"/>
                </a:cubicBezTo>
                <a:cubicBezTo>
                  <a:pt x="1609623" y="1137303"/>
                  <a:pt x="1609623" y="1137303"/>
                  <a:pt x="1604147" y="1135606"/>
                </a:cubicBezTo>
                <a:cubicBezTo>
                  <a:pt x="1602019" y="1134691"/>
                  <a:pt x="1599407" y="1132266"/>
                  <a:pt x="1597463" y="1129560"/>
                </a:cubicBezTo>
                <a:cubicBezTo>
                  <a:pt x="1595518" y="1126854"/>
                  <a:pt x="1594244" y="1123867"/>
                  <a:pt x="1595066" y="1121903"/>
                </a:cubicBezTo>
                <a:close/>
                <a:moveTo>
                  <a:pt x="937160" y="1121225"/>
                </a:moveTo>
                <a:cubicBezTo>
                  <a:pt x="940653" y="1121470"/>
                  <a:pt x="944135" y="1122863"/>
                  <a:pt x="947566" y="1126659"/>
                </a:cubicBezTo>
                <a:cubicBezTo>
                  <a:pt x="944268" y="1132329"/>
                  <a:pt x="939039" y="1130813"/>
                  <a:pt x="933840" y="1129190"/>
                </a:cubicBezTo>
                <a:cubicBezTo>
                  <a:pt x="937393" y="1125887"/>
                  <a:pt x="930429" y="1123101"/>
                  <a:pt x="937160" y="1121225"/>
                </a:cubicBezTo>
                <a:close/>
                <a:moveTo>
                  <a:pt x="5712477" y="1119189"/>
                </a:moveTo>
                <a:cubicBezTo>
                  <a:pt x="5713027" y="1122671"/>
                  <a:pt x="5712337" y="1125246"/>
                  <a:pt x="5712611" y="1128654"/>
                </a:cubicBezTo>
                <a:cubicBezTo>
                  <a:pt x="5711082" y="1128821"/>
                  <a:pt x="5709642" y="1128664"/>
                  <a:pt x="5708535" y="1128367"/>
                </a:cubicBezTo>
                <a:cubicBezTo>
                  <a:pt x="5705273" y="1127263"/>
                  <a:pt x="5703806" y="1123880"/>
                  <a:pt x="5702617" y="1120572"/>
                </a:cubicBezTo>
                <a:cubicBezTo>
                  <a:pt x="5706006" y="1120100"/>
                  <a:pt x="5706667" y="1117632"/>
                  <a:pt x="5712477" y="1119189"/>
                </a:cubicBezTo>
                <a:close/>
                <a:moveTo>
                  <a:pt x="1875778" y="1117998"/>
                </a:moveTo>
                <a:cubicBezTo>
                  <a:pt x="1877561" y="1120201"/>
                  <a:pt x="1879846" y="1124953"/>
                  <a:pt x="1876608" y="1127075"/>
                </a:cubicBezTo>
                <a:cubicBezTo>
                  <a:pt x="1876608" y="1127075"/>
                  <a:pt x="1876608" y="1127075"/>
                  <a:pt x="1875127" y="1128174"/>
                </a:cubicBezTo>
                <a:cubicBezTo>
                  <a:pt x="1874854" y="1124766"/>
                  <a:pt x="1874315" y="1120135"/>
                  <a:pt x="1875778" y="1117998"/>
                </a:cubicBezTo>
                <a:close/>
                <a:moveTo>
                  <a:pt x="1392742" y="1117716"/>
                </a:moveTo>
                <a:cubicBezTo>
                  <a:pt x="1396745" y="1113843"/>
                  <a:pt x="1400342" y="1114807"/>
                  <a:pt x="1406275" y="1118121"/>
                </a:cubicBezTo>
                <a:cubicBezTo>
                  <a:pt x="1403942" y="1121291"/>
                  <a:pt x="1401909" y="1122242"/>
                  <a:pt x="1399914" y="1121938"/>
                </a:cubicBezTo>
                <a:cubicBezTo>
                  <a:pt x="1397920" y="1121632"/>
                  <a:pt x="1395717" y="1119893"/>
                  <a:pt x="1392742" y="1117716"/>
                </a:cubicBezTo>
                <a:close/>
                <a:moveTo>
                  <a:pt x="5130144" y="1117600"/>
                </a:moveTo>
                <a:cubicBezTo>
                  <a:pt x="5132350" y="1116006"/>
                  <a:pt x="5134704" y="1119397"/>
                  <a:pt x="5135742" y="1121055"/>
                </a:cubicBezTo>
                <a:cubicBezTo>
                  <a:pt x="5133586" y="1120248"/>
                  <a:pt x="5131897" y="1119910"/>
                  <a:pt x="5131067" y="1119688"/>
                </a:cubicBezTo>
                <a:cubicBezTo>
                  <a:pt x="5129960" y="1119391"/>
                  <a:pt x="5129407" y="1119243"/>
                  <a:pt x="5129827" y="1118781"/>
                </a:cubicBezTo>
                <a:cubicBezTo>
                  <a:pt x="5128224" y="1118120"/>
                  <a:pt x="5128512" y="1117047"/>
                  <a:pt x="5130144" y="1117600"/>
                </a:cubicBezTo>
                <a:close/>
                <a:moveTo>
                  <a:pt x="1910377" y="1117264"/>
                </a:moveTo>
                <a:cubicBezTo>
                  <a:pt x="1912199" y="1118212"/>
                  <a:pt x="1917025" y="1121230"/>
                  <a:pt x="1916040" y="1122691"/>
                </a:cubicBezTo>
                <a:cubicBezTo>
                  <a:pt x="1913822" y="1125432"/>
                  <a:pt x="1909506" y="1127151"/>
                  <a:pt x="1907380" y="1126235"/>
                </a:cubicBezTo>
                <a:cubicBezTo>
                  <a:pt x="1904203" y="1124809"/>
                  <a:pt x="1901026" y="1123384"/>
                  <a:pt x="1901076" y="1120981"/>
                </a:cubicBezTo>
                <a:cubicBezTo>
                  <a:pt x="1901248" y="1120337"/>
                  <a:pt x="1901507" y="1119371"/>
                  <a:pt x="1902378" y="1118340"/>
                </a:cubicBezTo>
                <a:cubicBezTo>
                  <a:pt x="1902378" y="1118340"/>
                  <a:pt x="1902378" y="1118340"/>
                  <a:pt x="1903935" y="1118067"/>
                </a:cubicBezTo>
                <a:cubicBezTo>
                  <a:pt x="1907016" y="1117628"/>
                  <a:pt x="1908544" y="1117462"/>
                  <a:pt x="1910377" y="1117264"/>
                </a:cubicBezTo>
                <a:close/>
                <a:moveTo>
                  <a:pt x="5321698" y="1116601"/>
                </a:moveTo>
                <a:cubicBezTo>
                  <a:pt x="5322245" y="1123417"/>
                  <a:pt x="5318166" y="1126465"/>
                  <a:pt x="5310576" y="1128226"/>
                </a:cubicBezTo>
                <a:cubicBezTo>
                  <a:pt x="5308125" y="1126305"/>
                  <a:pt x="5307454" y="1121065"/>
                  <a:pt x="5307209" y="1117549"/>
                </a:cubicBezTo>
                <a:cubicBezTo>
                  <a:pt x="5310171" y="1115352"/>
                  <a:pt x="5315859" y="1115152"/>
                  <a:pt x="5321698" y="1116601"/>
                </a:cubicBezTo>
                <a:close/>
                <a:moveTo>
                  <a:pt x="1973523" y="1116243"/>
                </a:moveTo>
                <a:cubicBezTo>
                  <a:pt x="1976757" y="1117455"/>
                  <a:pt x="1993633" y="1125312"/>
                  <a:pt x="1997619" y="1129255"/>
                </a:cubicBezTo>
                <a:cubicBezTo>
                  <a:pt x="1990111" y="1125173"/>
                  <a:pt x="1978546" y="1121844"/>
                  <a:pt x="1973523" y="1116243"/>
                </a:cubicBezTo>
                <a:close/>
                <a:moveTo>
                  <a:pt x="5841389" y="1116226"/>
                </a:moveTo>
                <a:cubicBezTo>
                  <a:pt x="5845614" y="1114295"/>
                  <a:pt x="5851743" y="1115219"/>
                  <a:pt x="5856119" y="1118807"/>
                </a:cubicBezTo>
                <a:cubicBezTo>
                  <a:pt x="5859009" y="1121306"/>
                  <a:pt x="5861305" y="1124911"/>
                  <a:pt x="5861538" y="1129574"/>
                </a:cubicBezTo>
                <a:cubicBezTo>
                  <a:pt x="5858480" y="1133240"/>
                  <a:pt x="5849259" y="1134449"/>
                  <a:pt x="5843114" y="1133033"/>
                </a:cubicBezTo>
                <a:cubicBezTo>
                  <a:pt x="5840872" y="1132547"/>
                  <a:pt x="5838992" y="1131813"/>
                  <a:pt x="5838087" y="1130765"/>
                </a:cubicBezTo>
                <a:cubicBezTo>
                  <a:pt x="5834845" y="1122940"/>
                  <a:pt x="5837165" y="1118156"/>
                  <a:pt x="5841389" y="1116226"/>
                </a:cubicBezTo>
                <a:close/>
                <a:moveTo>
                  <a:pt x="1321668" y="1115117"/>
                </a:moveTo>
                <a:cubicBezTo>
                  <a:pt x="1321668" y="1115117"/>
                  <a:pt x="1321668" y="1115117"/>
                  <a:pt x="1323328" y="1115562"/>
                </a:cubicBezTo>
                <a:cubicBezTo>
                  <a:pt x="1321014" y="1119772"/>
                  <a:pt x="1321369" y="1126192"/>
                  <a:pt x="1317435" y="1128702"/>
                </a:cubicBezTo>
                <a:lnTo>
                  <a:pt x="1314657" y="1129108"/>
                </a:lnTo>
                <a:lnTo>
                  <a:pt x="1317216" y="1137269"/>
                </a:lnTo>
                <a:cubicBezTo>
                  <a:pt x="1317714" y="1143153"/>
                  <a:pt x="1316075" y="1149269"/>
                  <a:pt x="1314925" y="1153561"/>
                </a:cubicBezTo>
                <a:cubicBezTo>
                  <a:pt x="1308540" y="1154150"/>
                  <a:pt x="1303358" y="1153566"/>
                  <a:pt x="1299352" y="1151918"/>
                </a:cubicBezTo>
                <a:cubicBezTo>
                  <a:pt x="1286996" y="1147112"/>
                  <a:pt x="1284759" y="1134437"/>
                  <a:pt x="1283425" y="1122809"/>
                </a:cubicBezTo>
                <a:cubicBezTo>
                  <a:pt x="1291909" y="1123244"/>
                  <a:pt x="1298116" y="1121111"/>
                  <a:pt x="1306600" y="1121544"/>
                </a:cubicBezTo>
                <a:lnTo>
                  <a:pt x="1308994" y="1123680"/>
                </a:lnTo>
                <a:lnTo>
                  <a:pt x="1312126" y="1120840"/>
                </a:lnTo>
                <a:cubicBezTo>
                  <a:pt x="1315746" y="1119510"/>
                  <a:pt x="1318009" y="1117701"/>
                  <a:pt x="1319393" y="1118072"/>
                </a:cubicBezTo>
                <a:cubicBezTo>
                  <a:pt x="1319680" y="1116998"/>
                  <a:pt x="1321629" y="1116371"/>
                  <a:pt x="1321668" y="1115117"/>
                </a:cubicBezTo>
                <a:close/>
                <a:moveTo>
                  <a:pt x="5718123" y="1114721"/>
                </a:moveTo>
                <a:cubicBezTo>
                  <a:pt x="5719869" y="1114845"/>
                  <a:pt x="5721645" y="1114860"/>
                  <a:pt x="5723409" y="1116022"/>
                </a:cubicBezTo>
                <a:cubicBezTo>
                  <a:pt x="5725144" y="1117293"/>
                  <a:pt x="5723399" y="1117170"/>
                  <a:pt x="5725144" y="1117293"/>
                </a:cubicBezTo>
                <a:cubicBezTo>
                  <a:pt x="5726909" y="1118456"/>
                  <a:pt x="5726920" y="1117309"/>
                  <a:pt x="5726920" y="1117309"/>
                </a:cubicBezTo>
                <a:cubicBezTo>
                  <a:pt x="5726920" y="1117309"/>
                  <a:pt x="5726909" y="1118456"/>
                  <a:pt x="5726909" y="1118456"/>
                </a:cubicBezTo>
                <a:cubicBezTo>
                  <a:pt x="5726909" y="1118456"/>
                  <a:pt x="5726909" y="1118456"/>
                  <a:pt x="5730686" y="1120963"/>
                </a:cubicBezTo>
                <a:cubicBezTo>
                  <a:pt x="5735990" y="1123304"/>
                  <a:pt x="5737737" y="1123427"/>
                  <a:pt x="5741276" y="1124605"/>
                </a:cubicBezTo>
                <a:cubicBezTo>
                  <a:pt x="5744776" y="1127038"/>
                  <a:pt x="5745042" y="1128259"/>
                  <a:pt x="5748837" y="1131806"/>
                </a:cubicBezTo>
                <a:cubicBezTo>
                  <a:pt x="5747317" y="1134159"/>
                  <a:pt x="5747317" y="1134159"/>
                  <a:pt x="5745541" y="1134143"/>
                </a:cubicBezTo>
                <a:cubicBezTo>
                  <a:pt x="5747317" y="1134159"/>
                  <a:pt x="5747582" y="1135380"/>
                  <a:pt x="5749347" y="1136542"/>
                </a:cubicBezTo>
                <a:cubicBezTo>
                  <a:pt x="5758134" y="1140277"/>
                  <a:pt x="5755417" y="1145989"/>
                  <a:pt x="5749149" y="1151671"/>
                </a:cubicBezTo>
                <a:cubicBezTo>
                  <a:pt x="5747384" y="1150508"/>
                  <a:pt x="5744384" y="1153959"/>
                  <a:pt x="5741128" y="1155041"/>
                </a:cubicBezTo>
                <a:cubicBezTo>
                  <a:pt x="5738494" y="1154911"/>
                  <a:pt x="5736414" y="1154928"/>
                  <a:pt x="5734419" y="1154624"/>
                </a:cubicBezTo>
                <a:cubicBezTo>
                  <a:pt x="5732453" y="1154212"/>
                  <a:pt x="5730793" y="1153768"/>
                  <a:pt x="5729057" y="1152497"/>
                </a:cubicBezTo>
                <a:cubicBezTo>
                  <a:pt x="5726272" y="1150715"/>
                  <a:pt x="5723804" y="1147754"/>
                  <a:pt x="5722804" y="1144842"/>
                </a:cubicBezTo>
                <a:lnTo>
                  <a:pt x="5722377" y="1143116"/>
                </a:lnTo>
                <a:lnTo>
                  <a:pt x="5721519" y="1143001"/>
                </a:lnTo>
                <a:cubicBezTo>
                  <a:pt x="5715668" y="1142700"/>
                  <a:pt x="5709904" y="1142074"/>
                  <a:pt x="5704179" y="1140196"/>
                </a:cubicBezTo>
                <a:cubicBezTo>
                  <a:pt x="5707647" y="1137215"/>
                  <a:pt x="5714435" y="1135124"/>
                  <a:pt x="5720954" y="1135145"/>
                </a:cubicBezTo>
                <a:lnTo>
                  <a:pt x="5725439" y="1136117"/>
                </a:lnTo>
                <a:lnTo>
                  <a:pt x="5731131" y="1132582"/>
                </a:lnTo>
                <a:cubicBezTo>
                  <a:pt x="5733442" y="1131706"/>
                  <a:pt x="5736134" y="1131622"/>
                  <a:pt x="5738519" y="1131572"/>
                </a:cubicBezTo>
                <a:cubicBezTo>
                  <a:pt x="5738519" y="1131572"/>
                  <a:pt x="5738519" y="1131572"/>
                  <a:pt x="5736745" y="1131556"/>
                </a:cubicBezTo>
                <a:cubicBezTo>
                  <a:pt x="5729439" y="1126724"/>
                  <a:pt x="5716869" y="1118296"/>
                  <a:pt x="5718123" y="1114721"/>
                </a:cubicBezTo>
                <a:close/>
                <a:moveTo>
                  <a:pt x="5801350" y="1114021"/>
                </a:moveTo>
                <a:cubicBezTo>
                  <a:pt x="5803345" y="1114326"/>
                  <a:pt x="5805558" y="1114919"/>
                  <a:pt x="5807657" y="1115941"/>
                </a:cubicBezTo>
                <a:cubicBezTo>
                  <a:pt x="5799373" y="1123612"/>
                  <a:pt x="5797533" y="1130479"/>
                  <a:pt x="5792743" y="1138395"/>
                </a:cubicBezTo>
                <a:cubicBezTo>
                  <a:pt x="5790996" y="1138272"/>
                  <a:pt x="5789613" y="1137902"/>
                  <a:pt x="5787485" y="1136987"/>
                </a:cubicBezTo>
                <a:cubicBezTo>
                  <a:pt x="5785635" y="1136146"/>
                  <a:pt x="5783622" y="1134801"/>
                  <a:pt x="5780895" y="1132806"/>
                </a:cubicBezTo>
                <a:cubicBezTo>
                  <a:pt x="5794378" y="1126759"/>
                  <a:pt x="5775792" y="1120859"/>
                  <a:pt x="5785772" y="1115712"/>
                </a:cubicBezTo>
                <a:cubicBezTo>
                  <a:pt x="5790659" y="1115182"/>
                  <a:pt x="5795643" y="1113182"/>
                  <a:pt x="5801350" y="1114021"/>
                </a:cubicBezTo>
                <a:close/>
                <a:moveTo>
                  <a:pt x="5391270" y="1113737"/>
                </a:moveTo>
                <a:lnTo>
                  <a:pt x="5390066" y="1123766"/>
                </a:lnTo>
                <a:lnTo>
                  <a:pt x="5392478" y="1126941"/>
                </a:lnTo>
                <a:cubicBezTo>
                  <a:pt x="5394712" y="1134096"/>
                  <a:pt x="5386450" y="1139472"/>
                  <a:pt x="5377959" y="1136851"/>
                </a:cubicBezTo>
                <a:cubicBezTo>
                  <a:pt x="5374420" y="1135673"/>
                  <a:pt x="5370424" y="1132877"/>
                  <a:pt x="5367556" y="1128083"/>
                </a:cubicBezTo>
                <a:lnTo>
                  <a:pt x="5373611" y="1124301"/>
                </a:lnTo>
                <a:lnTo>
                  <a:pt x="5373450" y="1123798"/>
                </a:lnTo>
                <a:cubicBezTo>
                  <a:pt x="5382157" y="1121186"/>
                  <a:pt x="5384730" y="1116010"/>
                  <a:pt x="5391270" y="1113737"/>
                </a:cubicBezTo>
                <a:close/>
                <a:moveTo>
                  <a:pt x="1813239" y="1113431"/>
                </a:moveTo>
                <a:cubicBezTo>
                  <a:pt x="1813793" y="1113580"/>
                  <a:pt x="1814288" y="1113942"/>
                  <a:pt x="1814288" y="1113942"/>
                </a:cubicBezTo>
                <a:cubicBezTo>
                  <a:pt x="1816053" y="1115106"/>
                  <a:pt x="1817788" y="1116375"/>
                  <a:pt x="1816279" y="1117580"/>
                </a:cubicBezTo>
                <a:cubicBezTo>
                  <a:pt x="1816279" y="1117580"/>
                  <a:pt x="1816003" y="1117507"/>
                  <a:pt x="1815172" y="1117284"/>
                </a:cubicBezTo>
                <a:cubicBezTo>
                  <a:pt x="1814094" y="1116880"/>
                  <a:pt x="1812768" y="1116295"/>
                  <a:pt x="1811032" y="1115025"/>
                </a:cubicBezTo>
                <a:cubicBezTo>
                  <a:pt x="1812779" y="1115148"/>
                  <a:pt x="1812513" y="1113926"/>
                  <a:pt x="1812513" y="1113926"/>
                </a:cubicBezTo>
                <a:cubicBezTo>
                  <a:pt x="1812513" y="1113926"/>
                  <a:pt x="1812542" y="1113819"/>
                  <a:pt x="1811043" y="1113877"/>
                </a:cubicBezTo>
                <a:cubicBezTo>
                  <a:pt x="1811800" y="1113274"/>
                  <a:pt x="1812657" y="1113390"/>
                  <a:pt x="1813239" y="1113431"/>
                </a:cubicBezTo>
                <a:close/>
                <a:moveTo>
                  <a:pt x="5185276" y="1113283"/>
                </a:moveTo>
                <a:cubicBezTo>
                  <a:pt x="5185276" y="1113283"/>
                  <a:pt x="5186936" y="1113728"/>
                  <a:pt x="5189901" y="1117052"/>
                </a:cubicBezTo>
                <a:cubicBezTo>
                  <a:pt x="5188270" y="1116500"/>
                  <a:pt x="5187954" y="1117680"/>
                  <a:pt x="5187954" y="1117680"/>
                </a:cubicBezTo>
                <a:cubicBezTo>
                  <a:pt x="5187954" y="1117680"/>
                  <a:pt x="5187954" y="1117680"/>
                  <a:pt x="5189585" y="1118232"/>
                </a:cubicBezTo>
                <a:cubicBezTo>
                  <a:pt x="5188611" y="1118546"/>
                  <a:pt x="5187781" y="1118324"/>
                  <a:pt x="5187285" y="1117961"/>
                </a:cubicBezTo>
                <a:cubicBezTo>
                  <a:pt x="5186760" y="1117706"/>
                  <a:pt x="5186293" y="1117235"/>
                  <a:pt x="5186293" y="1117235"/>
                </a:cubicBezTo>
                <a:cubicBezTo>
                  <a:pt x="5184949" y="1115610"/>
                  <a:pt x="5183605" y="1113984"/>
                  <a:pt x="5185276" y="1113283"/>
                </a:cubicBezTo>
                <a:close/>
                <a:moveTo>
                  <a:pt x="1926743" y="1113182"/>
                </a:moveTo>
                <a:cubicBezTo>
                  <a:pt x="1930294" y="1112106"/>
                  <a:pt x="1935368" y="1113092"/>
                  <a:pt x="1938992" y="1115616"/>
                </a:cubicBezTo>
                <a:cubicBezTo>
                  <a:pt x="1941500" y="1117322"/>
                  <a:pt x="1943503" y="1119815"/>
                  <a:pt x="1943890" y="1122793"/>
                </a:cubicBezTo>
                <a:cubicBezTo>
                  <a:pt x="1941349" y="1124528"/>
                  <a:pt x="1933438" y="1125282"/>
                  <a:pt x="1928035" y="1124410"/>
                </a:cubicBezTo>
                <a:cubicBezTo>
                  <a:pt x="1926318" y="1124180"/>
                  <a:pt x="1924658" y="1123735"/>
                  <a:pt x="1923637" y="1123116"/>
                </a:cubicBezTo>
                <a:cubicBezTo>
                  <a:pt x="1921167" y="1117395"/>
                  <a:pt x="1923194" y="1114258"/>
                  <a:pt x="1926743" y="1113182"/>
                </a:cubicBezTo>
                <a:close/>
                <a:moveTo>
                  <a:pt x="2335284" y="1113125"/>
                </a:moveTo>
                <a:lnTo>
                  <a:pt x="2328165" y="1120878"/>
                </a:lnTo>
                <a:cubicBezTo>
                  <a:pt x="2324524" y="1124502"/>
                  <a:pt x="2320635" y="1127946"/>
                  <a:pt x="2318303" y="1131116"/>
                </a:cubicBezTo>
                <a:cubicBezTo>
                  <a:pt x="2312687" y="1135476"/>
                  <a:pt x="2308989" y="1139315"/>
                  <a:pt x="2312572" y="1144761"/>
                </a:cubicBezTo>
                <a:lnTo>
                  <a:pt x="2317797" y="1149610"/>
                </a:lnTo>
                <a:lnTo>
                  <a:pt x="2318304" y="1148826"/>
                </a:lnTo>
                <a:cubicBezTo>
                  <a:pt x="2320118" y="1147587"/>
                  <a:pt x="2322371" y="1146926"/>
                  <a:pt x="2324786" y="1146768"/>
                </a:cubicBezTo>
                <a:lnTo>
                  <a:pt x="2325340" y="1146917"/>
                </a:lnTo>
                <a:lnTo>
                  <a:pt x="2340602" y="1137551"/>
                </a:lnTo>
                <a:lnTo>
                  <a:pt x="2350481" y="1128352"/>
                </a:lnTo>
                <a:lnTo>
                  <a:pt x="2345015" y="1125509"/>
                </a:lnTo>
                <a:cubicBezTo>
                  <a:pt x="2342535" y="1123693"/>
                  <a:pt x="2340170" y="1121450"/>
                  <a:pt x="2338445" y="1119033"/>
                </a:cubicBezTo>
                <a:close/>
                <a:moveTo>
                  <a:pt x="5819389" y="1113105"/>
                </a:moveTo>
                <a:cubicBezTo>
                  <a:pt x="5829941" y="1118002"/>
                  <a:pt x="5832010" y="1136843"/>
                  <a:pt x="5827263" y="1140170"/>
                </a:cubicBezTo>
                <a:cubicBezTo>
                  <a:pt x="5821722" y="1136500"/>
                  <a:pt x="5822958" y="1131887"/>
                  <a:pt x="5817427" y="1127069"/>
                </a:cubicBezTo>
                <a:cubicBezTo>
                  <a:pt x="5820428" y="1123619"/>
                  <a:pt x="5814908" y="1117655"/>
                  <a:pt x="5819389" y="1113105"/>
                </a:cubicBezTo>
                <a:close/>
                <a:moveTo>
                  <a:pt x="1827089" y="1112657"/>
                </a:moveTo>
                <a:lnTo>
                  <a:pt x="1826946" y="1113193"/>
                </a:lnTo>
                <a:lnTo>
                  <a:pt x="1827193" y="1113375"/>
                </a:lnTo>
                <a:lnTo>
                  <a:pt x="1830074" y="1113687"/>
                </a:lnTo>
                <a:close/>
                <a:moveTo>
                  <a:pt x="702306" y="1110046"/>
                </a:moveTo>
                <a:cubicBezTo>
                  <a:pt x="705171" y="1109319"/>
                  <a:pt x="708883" y="1109854"/>
                  <a:pt x="714319" y="1112805"/>
                </a:cubicBezTo>
                <a:cubicBezTo>
                  <a:pt x="715753" y="1119630"/>
                  <a:pt x="710733" y="1119549"/>
                  <a:pt x="705466" y="1119288"/>
                </a:cubicBezTo>
                <a:cubicBezTo>
                  <a:pt x="705727" y="1114988"/>
                  <a:pt x="698302" y="1113919"/>
                  <a:pt x="702306" y="1110046"/>
                </a:cubicBezTo>
                <a:close/>
                <a:moveTo>
                  <a:pt x="1362771" y="1110030"/>
                </a:moveTo>
                <a:cubicBezTo>
                  <a:pt x="1368190" y="1111942"/>
                  <a:pt x="1365991" y="1115722"/>
                  <a:pt x="1365614" y="1120452"/>
                </a:cubicBezTo>
                <a:cubicBezTo>
                  <a:pt x="1363515" y="1119429"/>
                  <a:pt x="1362282" y="1120709"/>
                  <a:pt x="1360773" y="1121916"/>
                </a:cubicBezTo>
                <a:cubicBezTo>
                  <a:pt x="1357930" y="1120349"/>
                  <a:pt x="1352874" y="1118188"/>
                  <a:pt x="1352821" y="1115069"/>
                </a:cubicBezTo>
                <a:cubicBezTo>
                  <a:pt x="1352803" y="1114029"/>
                  <a:pt x="1353396" y="1112923"/>
                  <a:pt x="1354628" y="1111643"/>
                </a:cubicBezTo>
                <a:cubicBezTo>
                  <a:pt x="1354363" y="1110422"/>
                  <a:pt x="1360702" y="1108901"/>
                  <a:pt x="1362771" y="1110030"/>
                </a:cubicBezTo>
                <a:close/>
                <a:moveTo>
                  <a:pt x="5534143" y="1109585"/>
                </a:moveTo>
                <a:cubicBezTo>
                  <a:pt x="5540352" y="1112974"/>
                  <a:pt x="5540428" y="1122654"/>
                  <a:pt x="5534862" y="1124612"/>
                </a:cubicBezTo>
                <a:cubicBezTo>
                  <a:pt x="5534908" y="1116690"/>
                  <a:pt x="5527488" y="1112286"/>
                  <a:pt x="5534143" y="1109585"/>
                </a:cubicBezTo>
                <a:close/>
                <a:moveTo>
                  <a:pt x="2243414" y="1109554"/>
                </a:moveTo>
                <a:lnTo>
                  <a:pt x="2241816" y="1114416"/>
                </a:lnTo>
                <a:lnTo>
                  <a:pt x="2246480" y="1116931"/>
                </a:lnTo>
                <a:cubicBezTo>
                  <a:pt x="2245548" y="1121512"/>
                  <a:pt x="2251546" y="1126798"/>
                  <a:pt x="2242400" y="1128833"/>
                </a:cubicBezTo>
                <a:cubicBezTo>
                  <a:pt x="2239910" y="1128166"/>
                  <a:pt x="2237868" y="1126929"/>
                  <a:pt x="2236191" y="1125445"/>
                </a:cubicBezTo>
                <a:lnTo>
                  <a:pt x="2233998" y="1122556"/>
                </a:lnTo>
                <a:lnTo>
                  <a:pt x="2227753" y="1125944"/>
                </a:lnTo>
                <a:cubicBezTo>
                  <a:pt x="2225960" y="1124888"/>
                  <a:pt x="2224213" y="1124765"/>
                  <a:pt x="2222496" y="1124535"/>
                </a:cubicBezTo>
                <a:lnTo>
                  <a:pt x="2222219" y="1124461"/>
                </a:lnTo>
                <a:lnTo>
                  <a:pt x="2221378" y="1125385"/>
                </a:lnTo>
                <a:cubicBezTo>
                  <a:pt x="2219811" y="1126806"/>
                  <a:pt x="2217281" y="1127393"/>
                  <a:pt x="2214705" y="1127047"/>
                </a:cubicBezTo>
                <a:cubicBezTo>
                  <a:pt x="2212710" y="1126743"/>
                  <a:pt x="2210831" y="1126009"/>
                  <a:pt x="2208790" y="1124772"/>
                </a:cubicBezTo>
                <a:cubicBezTo>
                  <a:pt x="2208574" y="1121149"/>
                  <a:pt x="2215337" y="1115831"/>
                  <a:pt x="2220271" y="1116233"/>
                </a:cubicBezTo>
                <a:lnTo>
                  <a:pt x="2222722" y="1118155"/>
                </a:lnTo>
                <a:lnTo>
                  <a:pt x="2229324" y="1112334"/>
                </a:lnTo>
                <a:cubicBezTo>
                  <a:pt x="2233345" y="1109501"/>
                  <a:pt x="2237880" y="1108071"/>
                  <a:pt x="2243414" y="1109554"/>
                </a:cubicBezTo>
                <a:close/>
                <a:moveTo>
                  <a:pt x="5349232" y="1109029"/>
                </a:moveTo>
                <a:cubicBezTo>
                  <a:pt x="5353002" y="1109348"/>
                  <a:pt x="5357505" y="1111360"/>
                  <a:pt x="5361928" y="1115881"/>
                </a:cubicBezTo>
                <a:cubicBezTo>
                  <a:pt x="5360958" y="1121716"/>
                  <a:pt x="5356815" y="1122790"/>
                  <a:pt x="5354119" y="1126208"/>
                </a:cubicBezTo>
                <a:cubicBezTo>
                  <a:pt x="5337345" y="1122404"/>
                  <a:pt x="5336342" y="1113970"/>
                  <a:pt x="5341729" y="1110469"/>
                </a:cubicBezTo>
                <a:cubicBezTo>
                  <a:pt x="5343544" y="1109231"/>
                  <a:pt x="5346351" y="1108716"/>
                  <a:pt x="5349232" y="1109029"/>
                </a:cubicBezTo>
                <a:close/>
                <a:moveTo>
                  <a:pt x="1795616" y="1108364"/>
                </a:moveTo>
                <a:cubicBezTo>
                  <a:pt x="1799271" y="1109113"/>
                  <a:pt x="1799982" y="1113099"/>
                  <a:pt x="1801401" y="1115550"/>
                </a:cubicBezTo>
                <a:cubicBezTo>
                  <a:pt x="1805056" y="1116298"/>
                  <a:pt x="1801157" y="1120888"/>
                  <a:pt x="1804812" y="1121638"/>
                </a:cubicBezTo>
                <a:cubicBezTo>
                  <a:pt x="1801732" y="1127598"/>
                  <a:pt x="1812589" y="1132462"/>
                  <a:pt x="1809972" y="1142226"/>
                </a:cubicBezTo>
                <a:lnTo>
                  <a:pt x="1804025" y="1134537"/>
                </a:lnTo>
                <a:lnTo>
                  <a:pt x="1799454" y="1133887"/>
                </a:lnTo>
                <a:cubicBezTo>
                  <a:pt x="1797661" y="1132832"/>
                  <a:pt x="1796069" y="1131025"/>
                  <a:pt x="1794344" y="1128608"/>
                </a:cubicBezTo>
                <a:cubicBezTo>
                  <a:pt x="1797064" y="1128417"/>
                  <a:pt x="1799001" y="1128936"/>
                  <a:pt x="1801100" y="1129959"/>
                </a:cubicBezTo>
                <a:lnTo>
                  <a:pt x="1801816" y="1130610"/>
                </a:lnTo>
                <a:lnTo>
                  <a:pt x="1798196" y="1123086"/>
                </a:lnTo>
                <a:cubicBezTo>
                  <a:pt x="1796702" y="1119810"/>
                  <a:pt x="1795120" y="1116856"/>
                  <a:pt x="1792566" y="1114217"/>
                </a:cubicBezTo>
                <a:cubicBezTo>
                  <a:pt x="1792566" y="1114217"/>
                  <a:pt x="1792566" y="1114217"/>
                  <a:pt x="1794230" y="1111328"/>
                </a:cubicBezTo>
                <a:cubicBezTo>
                  <a:pt x="1793382" y="1110065"/>
                  <a:pt x="1793353" y="1110172"/>
                  <a:pt x="1793353" y="1110172"/>
                </a:cubicBezTo>
                <a:cubicBezTo>
                  <a:pt x="1792781" y="1108984"/>
                  <a:pt x="1795616" y="1108364"/>
                  <a:pt x="1795616" y="1108364"/>
                </a:cubicBezTo>
                <a:close/>
                <a:moveTo>
                  <a:pt x="5240564" y="1107282"/>
                </a:moveTo>
                <a:cubicBezTo>
                  <a:pt x="5248806" y="1109720"/>
                  <a:pt x="5256249" y="1120684"/>
                  <a:pt x="5252638" y="1124202"/>
                </a:cubicBezTo>
                <a:cubicBezTo>
                  <a:pt x="5244005" y="1127639"/>
                  <a:pt x="5236858" y="1126644"/>
                  <a:pt x="5232557" y="1123881"/>
                </a:cubicBezTo>
                <a:lnTo>
                  <a:pt x="5231212" y="1122256"/>
                </a:lnTo>
                <a:lnTo>
                  <a:pt x="5229351" y="1122562"/>
                </a:lnTo>
                <a:cubicBezTo>
                  <a:pt x="5225829" y="1122424"/>
                  <a:pt x="5221154" y="1121057"/>
                  <a:pt x="5216802" y="1120695"/>
                </a:cubicBezTo>
                <a:cubicBezTo>
                  <a:pt x="5217503" y="1116972"/>
                  <a:pt x="5219462" y="1115198"/>
                  <a:pt x="5222850" y="1114726"/>
                </a:cubicBezTo>
                <a:lnTo>
                  <a:pt x="5228748" y="1115960"/>
                </a:lnTo>
                <a:lnTo>
                  <a:pt x="5229304" y="1112775"/>
                </a:lnTo>
                <a:cubicBezTo>
                  <a:pt x="5230854" y="1110315"/>
                  <a:pt x="5234674" y="1108234"/>
                  <a:pt x="5240564" y="1107282"/>
                </a:cubicBezTo>
                <a:close/>
                <a:moveTo>
                  <a:pt x="2186047" y="1106718"/>
                </a:moveTo>
                <a:cubicBezTo>
                  <a:pt x="2190991" y="1105973"/>
                  <a:pt x="2196992" y="1107925"/>
                  <a:pt x="2201129" y="1113520"/>
                </a:cubicBezTo>
                <a:cubicBezTo>
                  <a:pt x="2200194" y="1121433"/>
                  <a:pt x="2189539" y="1124674"/>
                  <a:pt x="2182165" y="1121203"/>
                </a:cubicBezTo>
                <a:cubicBezTo>
                  <a:pt x="2179513" y="1120032"/>
                  <a:pt x="2177368" y="1118078"/>
                  <a:pt x="2176312" y="1115380"/>
                </a:cubicBezTo>
                <a:cubicBezTo>
                  <a:pt x="2176965" y="1110724"/>
                  <a:pt x="2181102" y="1107463"/>
                  <a:pt x="2186047" y="1106718"/>
                </a:cubicBezTo>
                <a:close/>
                <a:moveTo>
                  <a:pt x="5094851" y="1106533"/>
                </a:moveTo>
                <a:lnTo>
                  <a:pt x="5097273" y="1108563"/>
                </a:lnTo>
                <a:lnTo>
                  <a:pt x="5103275" y="1110516"/>
                </a:lnTo>
                <a:cubicBezTo>
                  <a:pt x="5105650" y="1111612"/>
                  <a:pt x="5108216" y="1113105"/>
                  <a:pt x="5110637" y="1115134"/>
                </a:cubicBezTo>
                <a:cubicBezTo>
                  <a:pt x="5113685" y="1121471"/>
                  <a:pt x="5105373" y="1129248"/>
                  <a:pt x="5098732" y="1127469"/>
                </a:cubicBezTo>
                <a:cubicBezTo>
                  <a:pt x="5083689" y="1119413"/>
                  <a:pt x="5082848" y="1111483"/>
                  <a:pt x="5088588" y="1108880"/>
                </a:cubicBezTo>
                <a:lnTo>
                  <a:pt x="5090420" y="1108682"/>
                </a:lnTo>
                <a:lnTo>
                  <a:pt x="5089076" y="1107056"/>
                </a:lnTo>
                <a:cubicBezTo>
                  <a:pt x="5091226" y="1105676"/>
                  <a:pt x="5093277" y="1105768"/>
                  <a:pt x="5094851" y="1106533"/>
                </a:cubicBezTo>
                <a:close/>
                <a:moveTo>
                  <a:pt x="1949694" y="1104454"/>
                </a:moveTo>
                <a:cubicBezTo>
                  <a:pt x="1953216" y="1104592"/>
                  <a:pt x="1959695" y="1105868"/>
                  <a:pt x="1961801" y="1109077"/>
                </a:cubicBezTo>
                <a:cubicBezTo>
                  <a:pt x="1961801" y="1109077"/>
                  <a:pt x="1962049" y="1109259"/>
                  <a:pt x="1963116" y="1110810"/>
                </a:cubicBezTo>
                <a:cubicBezTo>
                  <a:pt x="1958556" y="1109013"/>
                  <a:pt x="1952364" y="1106664"/>
                  <a:pt x="1949694" y="1104454"/>
                </a:cubicBezTo>
                <a:close/>
                <a:moveTo>
                  <a:pt x="5422013" y="1104150"/>
                </a:moveTo>
                <a:cubicBezTo>
                  <a:pt x="5427227" y="1101292"/>
                  <a:pt x="5432324" y="1102198"/>
                  <a:pt x="5435382" y="1107387"/>
                </a:cubicBezTo>
                <a:cubicBezTo>
                  <a:pt x="5431296" y="1108247"/>
                  <a:pt x="5431741" y="1111011"/>
                  <a:pt x="5427683" y="1111765"/>
                </a:cubicBezTo>
                <a:cubicBezTo>
                  <a:pt x="5425636" y="1108340"/>
                  <a:pt x="5423052" y="1105808"/>
                  <a:pt x="5422013" y="1104150"/>
                </a:cubicBezTo>
                <a:close/>
                <a:moveTo>
                  <a:pt x="4936267" y="1102911"/>
                </a:moveTo>
                <a:cubicBezTo>
                  <a:pt x="4938337" y="1104041"/>
                  <a:pt x="4937607" y="1107871"/>
                  <a:pt x="4939677" y="1109000"/>
                </a:cubicBezTo>
                <a:cubicBezTo>
                  <a:pt x="4939677" y="1109000"/>
                  <a:pt x="4939677" y="1109000"/>
                  <a:pt x="4936641" y="1110372"/>
                </a:cubicBezTo>
                <a:cubicBezTo>
                  <a:pt x="4934837" y="1110464"/>
                  <a:pt x="4933310" y="1110630"/>
                  <a:pt x="4931240" y="1109499"/>
                </a:cubicBezTo>
                <a:cubicBezTo>
                  <a:pt x="4929169" y="1108370"/>
                  <a:pt x="4928361" y="1105853"/>
                  <a:pt x="4928095" y="1104632"/>
                </a:cubicBezTo>
                <a:cubicBezTo>
                  <a:pt x="4929871" y="1104648"/>
                  <a:pt x="4929605" y="1103426"/>
                  <a:pt x="4931132" y="1103261"/>
                </a:cubicBezTo>
                <a:cubicBezTo>
                  <a:pt x="4934198" y="1101782"/>
                  <a:pt x="4934198" y="1101782"/>
                  <a:pt x="4936267" y="1102911"/>
                </a:cubicBezTo>
                <a:close/>
                <a:moveTo>
                  <a:pt x="6094973" y="1102881"/>
                </a:moveTo>
                <a:cubicBezTo>
                  <a:pt x="6102075" y="1102944"/>
                  <a:pt x="6107065" y="1103131"/>
                  <a:pt x="6110692" y="1103988"/>
                </a:cubicBezTo>
                <a:cubicBezTo>
                  <a:pt x="6112672" y="1108774"/>
                  <a:pt x="6106160" y="1110939"/>
                  <a:pt x="6101007" y="1110248"/>
                </a:cubicBezTo>
                <a:cubicBezTo>
                  <a:pt x="6099289" y="1110018"/>
                  <a:pt x="6097381" y="1109392"/>
                  <a:pt x="6096170" y="1108377"/>
                </a:cubicBezTo>
                <a:cubicBezTo>
                  <a:pt x="6094711" y="1107182"/>
                  <a:pt x="6094007" y="1105382"/>
                  <a:pt x="6094973" y="1102881"/>
                </a:cubicBezTo>
                <a:close/>
                <a:moveTo>
                  <a:pt x="5180353" y="1102878"/>
                </a:moveTo>
                <a:cubicBezTo>
                  <a:pt x="5183329" y="1105055"/>
                  <a:pt x="5187293" y="1111292"/>
                  <a:pt x="5184999" y="1113209"/>
                </a:cubicBezTo>
                <a:cubicBezTo>
                  <a:pt x="5182301" y="1111106"/>
                  <a:pt x="5180709" y="1109299"/>
                  <a:pt x="5179365" y="1107674"/>
                </a:cubicBezTo>
                <a:cubicBezTo>
                  <a:pt x="5176389" y="1105496"/>
                  <a:pt x="5176705" y="1104316"/>
                  <a:pt x="5180353" y="1102878"/>
                </a:cubicBezTo>
                <a:close/>
                <a:moveTo>
                  <a:pt x="5000434" y="1102510"/>
                </a:moveTo>
                <a:cubicBezTo>
                  <a:pt x="5028960" y="1104518"/>
                  <a:pt x="5050622" y="1125502"/>
                  <a:pt x="5073559" y="1140619"/>
                </a:cubicBezTo>
                <a:cubicBezTo>
                  <a:pt x="5068823" y="1142800"/>
                  <a:pt x="5068733" y="1146455"/>
                  <a:pt x="5060169" y="1148531"/>
                </a:cubicBezTo>
                <a:cubicBezTo>
                  <a:pt x="5046525" y="1136365"/>
                  <a:pt x="5031112" y="1126370"/>
                  <a:pt x="5017752" y="1116466"/>
                </a:cubicBezTo>
                <a:cubicBezTo>
                  <a:pt x="5018998" y="1119559"/>
                  <a:pt x="5021966" y="1128404"/>
                  <a:pt x="5020008" y="1130180"/>
                </a:cubicBezTo>
                <a:cubicBezTo>
                  <a:pt x="5017331" y="1125783"/>
                  <a:pt x="5015689" y="1117523"/>
                  <a:pt x="5017474" y="1116391"/>
                </a:cubicBezTo>
                <a:cubicBezTo>
                  <a:pt x="5011275" y="1111854"/>
                  <a:pt x="5005382" y="1107285"/>
                  <a:pt x="5000434" y="1102510"/>
                </a:cubicBezTo>
                <a:close/>
                <a:moveTo>
                  <a:pt x="6079140" y="1102203"/>
                </a:moveTo>
                <a:cubicBezTo>
                  <a:pt x="6083769" y="1102639"/>
                  <a:pt x="6090941" y="1106861"/>
                  <a:pt x="6091462" y="1110451"/>
                </a:cubicBezTo>
                <a:cubicBezTo>
                  <a:pt x="6089044" y="1113943"/>
                  <a:pt x="6085895" y="1112409"/>
                  <a:pt x="6084681" y="1114729"/>
                </a:cubicBezTo>
                <a:cubicBezTo>
                  <a:pt x="6077785" y="1110581"/>
                  <a:pt x="6076988" y="1106917"/>
                  <a:pt x="6079140" y="1102203"/>
                </a:cubicBezTo>
                <a:close/>
                <a:moveTo>
                  <a:pt x="1631376" y="1101501"/>
                </a:moveTo>
                <a:cubicBezTo>
                  <a:pt x="1633705" y="1101666"/>
                  <a:pt x="1634944" y="1102572"/>
                  <a:pt x="1636034" y="1101830"/>
                </a:cubicBezTo>
                <a:cubicBezTo>
                  <a:pt x="1635954" y="1104338"/>
                  <a:pt x="1634665" y="1105833"/>
                  <a:pt x="1632878" y="1106964"/>
                </a:cubicBezTo>
                <a:lnTo>
                  <a:pt x="1626615" y="1109310"/>
                </a:lnTo>
                <a:lnTo>
                  <a:pt x="1627757" y="1111687"/>
                </a:lnTo>
                <a:cubicBezTo>
                  <a:pt x="1627995" y="1113015"/>
                  <a:pt x="1627926" y="1114377"/>
                  <a:pt x="1626636" y="1115872"/>
                </a:cubicBezTo>
                <a:cubicBezTo>
                  <a:pt x="1625321" y="1114139"/>
                  <a:pt x="1624254" y="1112589"/>
                  <a:pt x="1624074" y="1111045"/>
                </a:cubicBezTo>
                <a:lnTo>
                  <a:pt x="1624361" y="1109972"/>
                </a:lnTo>
                <a:lnTo>
                  <a:pt x="1622442" y="1110492"/>
                </a:lnTo>
                <a:cubicBezTo>
                  <a:pt x="1621688" y="1111096"/>
                  <a:pt x="1620904" y="1111806"/>
                  <a:pt x="1620283" y="1113020"/>
                </a:cubicBezTo>
                <a:cubicBezTo>
                  <a:pt x="1620283" y="1113020"/>
                  <a:pt x="1620283" y="1113020"/>
                  <a:pt x="1615654" y="1112584"/>
                </a:cubicBezTo>
                <a:lnTo>
                  <a:pt x="1614414" y="1111677"/>
                </a:lnTo>
                <a:cubicBezTo>
                  <a:pt x="1614282" y="1111066"/>
                  <a:pt x="1614818" y="1110175"/>
                  <a:pt x="1615935" y="1109324"/>
                </a:cubicBezTo>
                <a:cubicBezTo>
                  <a:pt x="1619621" y="1106632"/>
                  <a:pt x="1628167" y="1103516"/>
                  <a:pt x="1628922" y="1102913"/>
                </a:cubicBezTo>
                <a:cubicBezTo>
                  <a:pt x="1628922" y="1102913"/>
                  <a:pt x="1630010" y="1102171"/>
                  <a:pt x="1631376" y="1101501"/>
                </a:cubicBezTo>
                <a:close/>
                <a:moveTo>
                  <a:pt x="5240150" y="1101075"/>
                </a:moveTo>
                <a:cubicBezTo>
                  <a:pt x="5242069" y="1100555"/>
                  <a:pt x="5245332" y="1101659"/>
                  <a:pt x="5247528" y="1101212"/>
                </a:cubicBezTo>
                <a:cubicBezTo>
                  <a:pt x="5246963" y="1102211"/>
                  <a:pt x="5248250" y="1104051"/>
                  <a:pt x="5247962" y="1105124"/>
                </a:cubicBezTo>
                <a:cubicBezTo>
                  <a:pt x="5246989" y="1105438"/>
                  <a:pt x="5245853" y="1105249"/>
                  <a:pt x="5244994" y="1105134"/>
                </a:cubicBezTo>
                <a:cubicBezTo>
                  <a:pt x="5244164" y="1104912"/>
                  <a:pt x="5243114" y="1104400"/>
                  <a:pt x="5242342" y="1103963"/>
                </a:cubicBezTo>
                <a:cubicBezTo>
                  <a:pt x="5241132" y="1102948"/>
                  <a:pt x="5240006" y="1101611"/>
                  <a:pt x="5240150" y="1101075"/>
                </a:cubicBezTo>
                <a:close/>
                <a:moveTo>
                  <a:pt x="1873496" y="1101056"/>
                </a:moveTo>
                <a:cubicBezTo>
                  <a:pt x="1871330" y="1110251"/>
                  <a:pt x="1864084" y="1119580"/>
                  <a:pt x="1862345" y="1121644"/>
                </a:cubicBezTo>
                <a:cubicBezTo>
                  <a:pt x="1861477" y="1122676"/>
                  <a:pt x="1860749" y="1123171"/>
                  <a:pt x="1859613" y="1122981"/>
                </a:cubicBezTo>
                <a:cubicBezTo>
                  <a:pt x="1858450" y="1122900"/>
                  <a:pt x="1857400" y="1122389"/>
                  <a:pt x="1855884" y="1121407"/>
                </a:cubicBezTo>
                <a:cubicBezTo>
                  <a:pt x="1850975" y="1115377"/>
                  <a:pt x="1856391" y="1111768"/>
                  <a:pt x="1858221" y="1106048"/>
                </a:cubicBezTo>
                <a:cubicBezTo>
                  <a:pt x="1859909" y="1106385"/>
                  <a:pt x="1861579" y="1105684"/>
                  <a:pt x="1861620" y="1104428"/>
                </a:cubicBezTo>
                <a:cubicBezTo>
                  <a:pt x="1863319" y="1103620"/>
                  <a:pt x="1865047" y="1102702"/>
                  <a:pt x="1863359" y="1102365"/>
                </a:cubicBezTo>
                <a:cubicBezTo>
                  <a:pt x="1868487" y="1099829"/>
                  <a:pt x="1868497" y="1098682"/>
                  <a:pt x="1873496" y="1101056"/>
                </a:cubicBezTo>
                <a:close/>
                <a:moveTo>
                  <a:pt x="1590575" y="1101034"/>
                </a:moveTo>
                <a:cubicBezTo>
                  <a:pt x="1624081" y="1113232"/>
                  <a:pt x="1602997" y="1122188"/>
                  <a:pt x="1587688" y="1121766"/>
                </a:cubicBezTo>
                <a:lnTo>
                  <a:pt x="1583395" y="1121191"/>
                </a:lnTo>
                <a:lnTo>
                  <a:pt x="1588271" y="1130661"/>
                </a:lnTo>
                <a:cubicBezTo>
                  <a:pt x="1590337" y="1135126"/>
                  <a:pt x="1591850" y="1139441"/>
                  <a:pt x="1591893" y="1143707"/>
                </a:cubicBezTo>
                <a:cubicBezTo>
                  <a:pt x="1589299" y="1142323"/>
                  <a:pt x="1586570" y="1140327"/>
                  <a:pt x="1583959" y="1137902"/>
                </a:cubicBezTo>
                <a:lnTo>
                  <a:pt x="1578887" y="1131368"/>
                </a:lnTo>
                <a:lnTo>
                  <a:pt x="1575103" y="1135529"/>
                </a:lnTo>
                <a:cubicBezTo>
                  <a:pt x="1573584" y="1137881"/>
                  <a:pt x="1571808" y="1137866"/>
                  <a:pt x="1567975" y="1135574"/>
                </a:cubicBezTo>
                <a:cubicBezTo>
                  <a:pt x="1568596" y="1134360"/>
                  <a:pt x="1570746" y="1132981"/>
                  <a:pt x="1572837" y="1131816"/>
                </a:cubicBezTo>
                <a:lnTo>
                  <a:pt x="1578421" y="1130898"/>
                </a:lnTo>
                <a:lnTo>
                  <a:pt x="1578010" y="1130213"/>
                </a:lnTo>
                <a:cubicBezTo>
                  <a:pt x="1576621" y="1127655"/>
                  <a:pt x="1575841" y="1125031"/>
                  <a:pt x="1576444" y="1122778"/>
                </a:cubicBezTo>
                <a:lnTo>
                  <a:pt x="1579330" y="1119756"/>
                </a:lnTo>
                <a:lnTo>
                  <a:pt x="1576517" y="1118082"/>
                </a:lnTo>
                <a:cubicBezTo>
                  <a:pt x="1574439" y="1114766"/>
                  <a:pt x="1577376" y="1109342"/>
                  <a:pt x="1590575" y="1101034"/>
                </a:cubicBezTo>
                <a:close/>
                <a:moveTo>
                  <a:pt x="5782897" y="1099878"/>
                </a:moveTo>
                <a:cubicBezTo>
                  <a:pt x="5784015" y="1099027"/>
                  <a:pt x="5784816" y="1099357"/>
                  <a:pt x="5785779" y="1100189"/>
                </a:cubicBezTo>
                <a:cubicBezTo>
                  <a:pt x="5786742" y="1101023"/>
                  <a:pt x="5787619" y="1102177"/>
                  <a:pt x="5789078" y="1103374"/>
                </a:cubicBezTo>
                <a:lnTo>
                  <a:pt x="5783073" y="1104755"/>
                </a:lnTo>
                <a:cubicBezTo>
                  <a:pt x="5781729" y="1103129"/>
                  <a:pt x="5780979" y="1100398"/>
                  <a:pt x="5782897" y="1099878"/>
                </a:cubicBezTo>
                <a:close/>
                <a:moveTo>
                  <a:pt x="1491888" y="1099660"/>
                </a:moveTo>
                <a:cubicBezTo>
                  <a:pt x="1494217" y="1099825"/>
                  <a:pt x="1494091" y="1101401"/>
                  <a:pt x="1495331" y="1102309"/>
                </a:cubicBezTo>
                <a:cubicBezTo>
                  <a:pt x="1496417" y="1104900"/>
                  <a:pt x="1491378" y="1112634"/>
                  <a:pt x="1489078" y="1112364"/>
                </a:cubicBezTo>
                <a:cubicBezTo>
                  <a:pt x="1488415" y="1109310"/>
                  <a:pt x="1486940" y="1103741"/>
                  <a:pt x="1488546" y="1101065"/>
                </a:cubicBezTo>
                <a:cubicBezTo>
                  <a:pt x="1489359" y="1100249"/>
                  <a:pt x="1490389" y="1099719"/>
                  <a:pt x="1491888" y="1099660"/>
                </a:cubicBezTo>
                <a:close/>
                <a:moveTo>
                  <a:pt x="1032160" y="1098724"/>
                </a:moveTo>
                <a:cubicBezTo>
                  <a:pt x="1034396" y="1097024"/>
                  <a:pt x="1039031" y="1099645"/>
                  <a:pt x="1042046" y="1100567"/>
                </a:cubicBezTo>
                <a:cubicBezTo>
                  <a:pt x="1044310" y="1098760"/>
                  <a:pt x="1048025" y="1104816"/>
                  <a:pt x="1050289" y="1103007"/>
                </a:cubicBezTo>
                <a:cubicBezTo>
                  <a:pt x="1055665" y="1109507"/>
                  <a:pt x="1064850" y="1106218"/>
                  <a:pt x="1075138" y="1115415"/>
                </a:cubicBezTo>
                <a:cubicBezTo>
                  <a:pt x="1070787" y="1115054"/>
                  <a:pt x="1067132" y="1114305"/>
                  <a:pt x="1063535" y="1113342"/>
                </a:cubicBezTo>
                <a:cubicBezTo>
                  <a:pt x="1053049" y="1110416"/>
                  <a:pt x="1045380" y="1105832"/>
                  <a:pt x="1037783" y="1105406"/>
                </a:cubicBezTo>
                <a:cubicBezTo>
                  <a:pt x="1037783" y="1105406"/>
                  <a:pt x="1037783" y="1105406"/>
                  <a:pt x="1035125" y="1102049"/>
                </a:cubicBezTo>
                <a:cubicBezTo>
                  <a:pt x="1033464" y="1101604"/>
                  <a:pt x="1033464" y="1101604"/>
                  <a:pt x="1033464" y="1101604"/>
                </a:cubicBezTo>
                <a:cubicBezTo>
                  <a:pt x="1031805" y="1101159"/>
                  <a:pt x="1032160" y="1098724"/>
                  <a:pt x="1032160" y="1098724"/>
                </a:cubicBezTo>
                <a:close/>
                <a:moveTo>
                  <a:pt x="5136799" y="1097188"/>
                </a:moveTo>
                <a:cubicBezTo>
                  <a:pt x="5139825" y="1096963"/>
                  <a:pt x="5143232" y="1097532"/>
                  <a:pt x="5146265" y="1099494"/>
                </a:cubicBezTo>
                <a:cubicBezTo>
                  <a:pt x="5144701" y="1106436"/>
                  <a:pt x="5144874" y="1114646"/>
                  <a:pt x="5132954" y="1113753"/>
                </a:cubicBezTo>
                <a:cubicBezTo>
                  <a:pt x="5129834" y="1112113"/>
                  <a:pt x="5127689" y="1110158"/>
                  <a:pt x="5126709" y="1108284"/>
                </a:cubicBezTo>
                <a:cubicBezTo>
                  <a:pt x="5123984" y="1102954"/>
                  <a:pt x="5129526" y="1097769"/>
                  <a:pt x="5136799" y="1097188"/>
                </a:cubicBezTo>
                <a:close/>
                <a:moveTo>
                  <a:pt x="1609316" y="1096396"/>
                </a:moveTo>
                <a:cubicBezTo>
                  <a:pt x="1612208" y="1095561"/>
                  <a:pt x="1615377" y="1094799"/>
                  <a:pt x="1618163" y="1096581"/>
                </a:cubicBezTo>
                <a:cubicBezTo>
                  <a:pt x="1619184" y="1097199"/>
                  <a:pt x="1620117" y="1098140"/>
                  <a:pt x="1620995" y="1099294"/>
                </a:cubicBezTo>
                <a:cubicBezTo>
                  <a:pt x="1620995" y="1099294"/>
                  <a:pt x="1620995" y="1099294"/>
                  <a:pt x="1620678" y="1100475"/>
                </a:cubicBezTo>
                <a:cubicBezTo>
                  <a:pt x="1619798" y="1102654"/>
                  <a:pt x="1619510" y="1103727"/>
                  <a:pt x="1619222" y="1104800"/>
                </a:cubicBezTo>
                <a:cubicBezTo>
                  <a:pt x="1618249" y="1105114"/>
                  <a:pt x="1616387" y="1105420"/>
                  <a:pt x="1614612" y="1105404"/>
                </a:cubicBezTo>
                <a:cubicBezTo>
                  <a:pt x="1612837" y="1105389"/>
                  <a:pt x="1611148" y="1105051"/>
                  <a:pt x="1610490" y="1104185"/>
                </a:cubicBezTo>
                <a:cubicBezTo>
                  <a:pt x="1608108" y="1100902"/>
                  <a:pt x="1607397" y="1096917"/>
                  <a:pt x="1609316" y="1096396"/>
                </a:cubicBezTo>
                <a:close/>
                <a:moveTo>
                  <a:pt x="5862434" y="1096349"/>
                </a:moveTo>
                <a:cubicBezTo>
                  <a:pt x="5868719" y="1100562"/>
                  <a:pt x="5871956" y="1107296"/>
                  <a:pt x="5874767" y="1112303"/>
                </a:cubicBezTo>
                <a:cubicBezTo>
                  <a:pt x="5867544" y="1110483"/>
                  <a:pt x="5864705" y="1105582"/>
                  <a:pt x="5851951" y="1107800"/>
                </a:cubicBezTo>
                <a:cubicBezTo>
                  <a:pt x="5853579" y="1102831"/>
                  <a:pt x="5856753" y="1098736"/>
                  <a:pt x="5862434" y="1096349"/>
                </a:cubicBezTo>
                <a:close/>
                <a:moveTo>
                  <a:pt x="5165796" y="1096332"/>
                </a:moveTo>
                <a:cubicBezTo>
                  <a:pt x="5168240" y="1096067"/>
                  <a:pt x="5171121" y="1096379"/>
                  <a:pt x="5173917" y="1097014"/>
                </a:cubicBezTo>
                <a:cubicBezTo>
                  <a:pt x="5172142" y="1096998"/>
                  <a:pt x="5172142" y="1096998"/>
                  <a:pt x="5172142" y="1096998"/>
                </a:cubicBezTo>
                <a:cubicBezTo>
                  <a:pt x="5170632" y="1098204"/>
                  <a:pt x="5172132" y="1098145"/>
                  <a:pt x="5172397" y="1099366"/>
                </a:cubicBezTo>
                <a:cubicBezTo>
                  <a:pt x="5172397" y="1099366"/>
                  <a:pt x="5172408" y="1098219"/>
                  <a:pt x="5174143" y="1099489"/>
                </a:cubicBezTo>
                <a:cubicBezTo>
                  <a:pt x="5172397" y="1099366"/>
                  <a:pt x="5172386" y="1100513"/>
                  <a:pt x="5172652" y="1101735"/>
                </a:cubicBezTo>
                <a:cubicBezTo>
                  <a:pt x="5169357" y="1104072"/>
                  <a:pt x="5164591" y="1106360"/>
                  <a:pt x="5161081" y="1105075"/>
                </a:cubicBezTo>
                <a:cubicBezTo>
                  <a:pt x="5159039" y="1103837"/>
                  <a:pt x="5158497" y="1102542"/>
                  <a:pt x="5158756" y="1101577"/>
                </a:cubicBezTo>
                <a:cubicBezTo>
                  <a:pt x="5158738" y="1100537"/>
                  <a:pt x="5159550" y="1099719"/>
                  <a:pt x="5160582" y="1099190"/>
                </a:cubicBezTo>
                <a:cubicBezTo>
                  <a:pt x="5161070" y="1097367"/>
                  <a:pt x="5163076" y="1096524"/>
                  <a:pt x="5165796" y="1096332"/>
                </a:cubicBezTo>
                <a:close/>
                <a:moveTo>
                  <a:pt x="1721805" y="1096061"/>
                </a:moveTo>
                <a:lnTo>
                  <a:pt x="1719886" y="1096582"/>
                </a:lnTo>
                <a:lnTo>
                  <a:pt x="1721384" y="1096523"/>
                </a:lnTo>
                <a:close/>
                <a:moveTo>
                  <a:pt x="1258366" y="1094030"/>
                </a:moveTo>
                <a:cubicBezTo>
                  <a:pt x="1264901" y="1092603"/>
                  <a:pt x="1272253" y="1092561"/>
                  <a:pt x="1276871" y="1094144"/>
                </a:cubicBezTo>
                <a:lnTo>
                  <a:pt x="1279358" y="1098145"/>
                </a:lnTo>
                <a:lnTo>
                  <a:pt x="1281467" y="1098021"/>
                </a:lnTo>
                <a:lnTo>
                  <a:pt x="1288787" y="1098371"/>
                </a:lnTo>
                <a:lnTo>
                  <a:pt x="1288683" y="1097653"/>
                </a:lnTo>
                <a:cubicBezTo>
                  <a:pt x="1288666" y="1096614"/>
                  <a:pt x="1289229" y="1095615"/>
                  <a:pt x="1291177" y="1094986"/>
                </a:cubicBezTo>
                <a:cubicBezTo>
                  <a:pt x="1295083" y="1092583"/>
                  <a:pt x="1300035" y="1094025"/>
                  <a:pt x="1304670" y="1096646"/>
                </a:cubicBezTo>
                <a:cubicBezTo>
                  <a:pt x="1308250" y="1096571"/>
                  <a:pt x="1310485" y="1094870"/>
                  <a:pt x="1313489" y="1096940"/>
                </a:cubicBezTo>
                <a:cubicBezTo>
                  <a:pt x="1307962" y="1097644"/>
                  <a:pt x="1306291" y="1098347"/>
                  <a:pt x="1302683" y="1098530"/>
                </a:cubicBezTo>
                <a:cubicBezTo>
                  <a:pt x="1302396" y="1099602"/>
                  <a:pt x="1302108" y="1100675"/>
                  <a:pt x="1300161" y="1101304"/>
                </a:cubicBezTo>
                <a:lnTo>
                  <a:pt x="1296858" y="1101454"/>
                </a:lnTo>
                <a:lnTo>
                  <a:pt x="1297038" y="1102997"/>
                </a:lnTo>
                <a:cubicBezTo>
                  <a:pt x="1297581" y="1104292"/>
                  <a:pt x="1297904" y="1105299"/>
                  <a:pt x="1298724" y="1106669"/>
                </a:cubicBezTo>
                <a:cubicBezTo>
                  <a:pt x="1293570" y="1105978"/>
                  <a:pt x="1289350" y="1106228"/>
                  <a:pt x="1286078" y="1106270"/>
                </a:cubicBezTo>
                <a:lnTo>
                  <a:pt x="1280648" y="1105505"/>
                </a:lnTo>
                <a:lnTo>
                  <a:pt x="1280562" y="1105827"/>
                </a:lnTo>
                <a:cubicBezTo>
                  <a:pt x="1279376" y="1108039"/>
                  <a:pt x="1277169" y="1109634"/>
                  <a:pt x="1273941" y="1110609"/>
                </a:cubicBezTo>
                <a:lnTo>
                  <a:pt x="1270859" y="1111048"/>
                </a:lnTo>
                <a:cubicBezTo>
                  <a:pt x="1273622" y="1115123"/>
                  <a:pt x="1272375" y="1120883"/>
                  <a:pt x="1264030" y="1123248"/>
                </a:cubicBezTo>
                <a:cubicBezTo>
                  <a:pt x="1257142" y="1121288"/>
                  <a:pt x="1253452" y="1118458"/>
                  <a:pt x="1250361" y="1116710"/>
                </a:cubicBezTo>
                <a:lnTo>
                  <a:pt x="1252737" y="1108952"/>
                </a:lnTo>
                <a:lnTo>
                  <a:pt x="1244755" y="1102213"/>
                </a:lnTo>
                <a:cubicBezTo>
                  <a:pt x="1246110" y="1098264"/>
                  <a:pt x="1251830" y="1095455"/>
                  <a:pt x="1258366" y="1094030"/>
                </a:cubicBezTo>
                <a:close/>
                <a:moveTo>
                  <a:pt x="5763626" y="1093218"/>
                </a:moveTo>
                <a:cubicBezTo>
                  <a:pt x="5765544" y="1092698"/>
                  <a:pt x="5767176" y="1093249"/>
                  <a:pt x="5767176" y="1093249"/>
                </a:cubicBezTo>
                <a:cubicBezTo>
                  <a:pt x="5771467" y="1097160"/>
                  <a:pt x="5773561" y="1101516"/>
                  <a:pt x="5767775" y="1103185"/>
                </a:cubicBezTo>
                <a:cubicBezTo>
                  <a:pt x="5766830" y="1103392"/>
                  <a:pt x="5765885" y="1103599"/>
                  <a:pt x="5764969" y="1103699"/>
                </a:cubicBezTo>
                <a:cubicBezTo>
                  <a:pt x="5764358" y="1103764"/>
                  <a:pt x="5764081" y="1103691"/>
                  <a:pt x="5764254" y="1103047"/>
                </a:cubicBezTo>
                <a:cubicBezTo>
                  <a:pt x="5762622" y="1102494"/>
                  <a:pt x="5762910" y="1101421"/>
                  <a:pt x="5761566" y="1099796"/>
                </a:cubicBezTo>
                <a:cubicBezTo>
                  <a:pt x="5760538" y="1096991"/>
                  <a:pt x="5761706" y="1093739"/>
                  <a:pt x="5763626" y="1093218"/>
                </a:cubicBezTo>
                <a:close/>
                <a:moveTo>
                  <a:pt x="5274346" y="1092988"/>
                </a:moveTo>
                <a:cubicBezTo>
                  <a:pt x="5279729" y="1091441"/>
                  <a:pt x="5286942" y="1091361"/>
                  <a:pt x="5296145" y="1093539"/>
                </a:cubicBezTo>
                <a:cubicBezTo>
                  <a:pt x="5302197" y="1101946"/>
                  <a:pt x="5305136" y="1110899"/>
                  <a:pt x="5304127" y="1117988"/>
                </a:cubicBezTo>
                <a:lnTo>
                  <a:pt x="5300212" y="1127059"/>
                </a:lnTo>
                <a:lnTo>
                  <a:pt x="5304830" y="1128642"/>
                </a:lnTo>
                <a:cubicBezTo>
                  <a:pt x="5307601" y="1134904"/>
                  <a:pt x="5298837" y="1137730"/>
                  <a:pt x="5294711" y="1139845"/>
                </a:cubicBezTo>
                <a:lnTo>
                  <a:pt x="5290744" y="1136943"/>
                </a:lnTo>
                <a:lnTo>
                  <a:pt x="5289015" y="1137859"/>
                </a:lnTo>
                <a:cubicBezTo>
                  <a:pt x="5285702" y="1139157"/>
                  <a:pt x="5282446" y="1140239"/>
                  <a:pt x="5280480" y="1139827"/>
                </a:cubicBezTo>
                <a:lnTo>
                  <a:pt x="5289036" y="1135565"/>
                </a:lnTo>
                <a:lnTo>
                  <a:pt x="5286833" y="1133825"/>
                </a:lnTo>
                <a:lnTo>
                  <a:pt x="5285328" y="1131697"/>
                </a:lnTo>
                <a:lnTo>
                  <a:pt x="5282694" y="1131565"/>
                </a:lnTo>
                <a:cubicBezTo>
                  <a:pt x="5270202" y="1129483"/>
                  <a:pt x="5262473" y="1119592"/>
                  <a:pt x="5261729" y="1110193"/>
                </a:cubicBezTo>
                <a:lnTo>
                  <a:pt x="5262391" y="1107725"/>
                </a:lnTo>
                <a:lnTo>
                  <a:pt x="5260054" y="1105374"/>
                </a:lnTo>
                <a:cubicBezTo>
                  <a:pt x="5259484" y="1104186"/>
                  <a:pt x="5259218" y="1102965"/>
                  <a:pt x="5260011" y="1101107"/>
                </a:cubicBezTo>
                <a:lnTo>
                  <a:pt x="5263062" y="1104110"/>
                </a:lnTo>
                <a:lnTo>
                  <a:pt x="5263533" y="1101246"/>
                </a:lnTo>
                <a:cubicBezTo>
                  <a:pt x="5265413" y="1097552"/>
                  <a:pt x="5268964" y="1094536"/>
                  <a:pt x="5274346" y="1092988"/>
                </a:cubicBezTo>
                <a:close/>
                <a:moveTo>
                  <a:pt x="2064343" y="1092738"/>
                </a:moveTo>
                <a:lnTo>
                  <a:pt x="2079243" y="1101330"/>
                </a:lnTo>
                <a:lnTo>
                  <a:pt x="2093265" y="1099913"/>
                </a:lnTo>
                <a:cubicBezTo>
                  <a:pt x="2099144" y="1100107"/>
                  <a:pt x="2105127" y="1101021"/>
                  <a:pt x="2110021" y="1102677"/>
                </a:cubicBezTo>
                <a:lnTo>
                  <a:pt x="2110240" y="1102966"/>
                </a:lnTo>
                <a:lnTo>
                  <a:pt x="2109565" y="1101060"/>
                </a:lnTo>
                <a:cubicBezTo>
                  <a:pt x="2116444" y="1095312"/>
                  <a:pt x="2125385" y="1097363"/>
                  <a:pt x="2132605" y="1102518"/>
                </a:cubicBezTo>
                <a:cubicBezTo>
                  <a:pt x="2141834" y="1109017"/>
                  <a:pt x="2148275" y="1120403"/>
                  <a:pt x="2144936" y="1127327"/>
                </a:cubicBezTo>
                <a:lnTo>
                  <a:pt x="2138709" y="1131754"/>
                </a:lnTo>
                <a:lnTo>
                  <a:pt x="2139118" y="1132439"/>
                </a:lnTo>
                <a:cubicBezTo>
                  <a:pt x="2136376" y="1134925"/>
                  <a:pt x="2131812" y="1136461"/>
                  <a:pt x="2129741" y="1135331"/>
                </a:cubicBezTo>
                <a:cubicBezTo>
                  <a:pt x="2126901" y="1133765"/>
                  <a:pt x="2124057" y="1132198"/>
                  <a:pt x="2124384" y="1129871"/>
                </a:cubicBezTo>
                <a:cubicBezTo>
                  <a:pt x="2124585" y="1129120"/>
                  <a:pt x="2124844" y="1128154"/>
                  <a:pt x="2125991" y="1127197"/>
                </a:cubicBezTo>
                <a:cubicBezTo>
                  <a:pt x="2125991" y="1127197"/>
                  <a:pt x="2125991" y="1127197"/>
                  <a:pt x="2127518" y="1127030"/>
                </a:cubicBezTo>
                <a:lnTo>
                  <a:pt x="2130487" y="1127021"/>
                </a:lnTo>
                <a:lnTo>
                  <a:pt x="2120568" y="1119763"/>
                </a:lnTo>
                <a:cubicBezTo>
                  <a:pt x="2117984" y="1117230"/>
                  <a:pt x="2115763" y="1114451"/>
                  <a:pt x="2113934" y="1111316"/>
                </a:cubicBezTo>
                <a:lnTo>
                  <a:pt x="2113420" y="1109913"/>
                </a:lnTo>
                <a:lnTo>
                  <a:pt x="2093560" y="1109881"/>
                </a:lnTo>
                <a:lnTo>
                  <a:pt x="2090619" y="1109784"/>
                </a:lnTo>
                <a:lnTo>
                  <a:pt x="2091305" y="1110543"/>
                </a:lnTo>
                <a:cubicBezTo>
                  <a:pt x="2093861" y="1113182"/>
                  <a:pt x="2095776" y="1115996"/>
                  <a:pt x="2097519" y="1119453"/>
                </a:cubicBezTo>
                <a:cubicBezTo>
                  <a:pt x="2092470" y="1119480"/>
                  <a:pt x="2087985" y="1118508"/>
                  <a:pt x="2084313" y="1116718"/>
                </a:cubicBezTo>
                <a:cubicBezTo>
                  <a:pt x="2081383" y="1115474"/>
                  <a:pt x="2078629" y="1113586"/>
                  <a:pt x="2076454" y="1111739"/>
                </a:cubicBezTo>
                <a:lnTo>
                  <a:pt x="2073489" y="1108414"/>
                </a:lnTo>
                <a:lnTo>
                  <a:pt x="2065817" y="1107163"/>
                </a:lnTo>
                <a:lnTo>
                  <a:pt x="2070305" y="1104801"/>
                </a:lnTo>
                <a:close/>
                <a:moveTo>
                  <a:pt x="1514564" y="1092512"/>
                </a:moveTo>
                <a:cubicBezTo>
                  <a:pt x="1529902" y="1092826"/>
                  <a:pt x="1538410" y="1105342"/>
                  <a:pt x="1524471" y="1109772"/>
                </a:cubicBezTo>
                <a:cubicBezTo>
                  <a:pt x="1520950" y="1109633"/>
                  <a:pt x="1517877" y="1108926"/>
                  <a:pt x="1515197" y="1107862"/>
                </a:cubicBezTo>
                <a:cubicBezTo>
                  <a:pt x="1512821" y="1106765"/>
                  <a:pt x="1510560" y="1105239"/>
                  <a:pt x="1509550" y="1103474"/>
                </a:cubicBezTo>
                <a:cubicBezTo>
                  <a:pt x="1507197" y="1100083"/>
                  <a:pt x="1508012" y="1095931"/>
                  <a:pt x="1514564" y="1092512"/>
                </a:cubicBezTo>
                <a:close/>
                <a:moveTo>
                  <a:pt x="5500461" y="1092510"/>
                </a:moveTo>
                <a:cubicBezTo>
                  <a:pt x="5509226" y="1098539"/>
                  <a:pt x="5511130" y="1102499"/>
                  <a:pt x="5509362" y="1104670"/>
                </a:cubicBezTo>
                <a:cubicBezTo>
                  <a:pt x="5507306" y="1107913"/>
                  <a:pt x="5498182" y="1107654"/>
                  <a:pt x="5492821" y="1105528"/>
                </a:cubicBezTo>
                <a:cubicBezTo>
                  <a:pt x="5490913" y="1104902"/>
                  <a:pt x="5489397" y="1103920"/>
                  <a:pt x="5488520" y="1102765"/>
                </a:cubicBezTo>
                <a:cubicBezTo>
                  <a:pt x="5486547" y="1100166"/>
                  <a:pt x="5489023" y="1096460"/>
                  <a:pt x="5500461" y="1092510"/>
                </a:cubicBezTo>
                <a:close/>
                <a:moveTo>
                  <a:pt x="1653711" y="1092306"/>
                </a:moveTo>
                <a:cubicBezTo>
                  <a:pt x="1653711" y="1092306"/>
                  <a:pt x="1655838" y="1093220"/>
                  <a:pt x="1657366" y="1093055"/>
                </a:cubicBezTo>
                <a:cubicBezTo>
                  <a:pt x="1657366" y="1093055"/>
                  <a:pt x="1659493" y="1093970"/>
                  <a:pt x="1661343" y="1094810"/>
                </a:cubicBezTo>
                <a:cubicBezTo>
                  <a:pt x="1661343" y="1094810"/>
                  <a:pt x="1663147" y="1094719"/>
                  <a:pt x="1664704" y="1094446"/>
                </a:cubicBezTo>
                <a:cubicBezTo>
                  <a:pt x="1670485" y="1096110"/>
                  <a:pt x="1674168" y="1096753"/>
                  <a:pt x="1674373" y="1101523"/>
                </a:cubicBezTo>
                <a:cubicBezTo>
                  <a:pt x="1673734" y="1101696"/>
                  <a:pt x="1672102" y="1101144"/>
                  <a:pt x="1670748" y="1100666"/>
                </a:cubicBezTo>
                <a:cubicBezTo>
                  <a:pt x="1669115" y="1100114"/>
                  <a:pt x="1667513" y="1099453"/>
                  <a:pt x="1666463" y="1098943"/>
                </a:cubicBezTo>
                <a:cubicBezTo>
                  <a:pt x="1664908" y="1099216"/>
                  <a:pt x="1662809" y="1098193"/>
                  <a:pt x="1662514" y="1097080"/>
                </a:cubicBezTo>
                <a:cubicBezTo>
                  <a:pt x="1662514" y="1097080"/>
                  <a:pt x="1660388" y="1096165"/>
                  <a:pt x="1658831" y="1096438"/>
                </a:cubicBezTo>
                <a:cubicBezTo>
                  <a:pt x="1654606" y="1094500"/>
                  <a:pt x="1654005" y="1093420"/>
                  <a:pt x="1653711" y="1092306"/>
                </a:cubicBezTo>
                <a:close/>
                <a:moveTo>
                  <a:pt x="5788852" y="1092043"/>
                </a:moveTo>
                <a:cubicBezTo>
                  <a:pt x="5790454" y="1092701"/>
                  <a:pt x="5790770" y="1091522"/>
                  <a:pt x="5792402" y="1092074"/>
                </a:cubicBezTo>
                <a:cubicBezTo>
                  <a:pt x="5792402" y="1092074"/>
                  <a:pt x="5794178" y="1092089"/>
                  <a:pt x="5796639" y="1092864"/>
                </a:cubicBezTo>
                <a:cubicBezTo>
                  <a:pt x="5799129" y="1093532"/>
                  <a:pt x="5802278" y="1095065"/>
                  <a:pt x="5804804" y="1097812"/>
                </a:cubicBezTo>
                <a:cubicBezTo>
                  <a:pt x="5806119" y="1099544"/>
                  <a:pt x="5808185" y="1104008"/>
                  <a:pt x="5806553" y="1103456"/>
                </a:cubicBezTo>
                <a:cubicBezTo>
                  <a:pt x="5804634" y="1103976"/>
                  <a:pt x="5806266" y="1104528"/>
                  <a:pt x="5805950" y="1105709"/>
                </a:cubicBezTo>
                <a:cubicBezTo>
                  <a:pt x="5803057" y="1106544"/>
                  <a:pt x="5800308" y="1106842"/>
                  <a:pt x="5797761" y="1106390"/>
                </a:cubicBezTo>
                <a:cubicBezTo>
                  <a:pt x="5795212" y="1105937"/>
                  <a:pt x="5792865" y="1104733"/>
                  <a:pt x="5790997" y="1102852"/>
                </a:cubicBezTo>
                <a:cubicBezTo>
                  <a:pt x="5788367" y="1099388"/>
                  <a:pt x="5784669" y="1094372"/>
                  <a:pt x="5788852" y="1092043"/>
                </a:cubicBezTo>
                <a:close/>
                <a:moveTo>
                  <a:pt x="1450102" y="1091799"/>
                </a:moveTo>
                <a:cubicBezTo>
                  <a:pt x="1453826" y="1091188"/>
                  <a:pt x="1455036" y="1092202"/>
                  <a:pt x="1454882" y="1093886"/>
                </a:cubicBezTo>
                <a:cubicBezTo>
                  <a:pt x="1454882" y="1093886"/>
                  <a:pt x="1454756" y="1095462"/>
                  <a:pt x="1454602" y="1097146"/>
                </a:cubicBezTo>
                <a:cubicBezTo>
                  <a:pt x="1454723" y="1098902"/>
                  <a:pt x="1455963" y="1099811"/>
                  <a:pt x="1455963" y="1099811"/>
                </a:cubicBezTo>
                <a:cubicBezTo>
                  <a:pt x="1455810" y="1101494"/>
                  <a:pt x="1454444" y="1102163"/>
                  <a:pt x="1452115" y="1101999"/>
                </a:cubicBezTo>
                <a:cubicBezTo>
                  <a:pt x="1452115" y="1101999"/>
                  <a:pt x="1451001" y="1099516"/>
                  <a:pt x="1451001" y="1099516"/>
                </a:cubicBezTo>
                <a:cubicBezTo>
                  <a:pt x="1451033" y="1096074"/>
                  <a:pt x="1451187" y="1094391"/>
                  <a:pt x="1450102" y="1091799"/>
                </a:cubicBezTo>
                <a:close/>
                <a:moveTo>
                  <a:pt x="4917897" y="1091779"/>
                </a:moveTo>
                <a:cubicBezTo>
                  <a:pt x="4914919" y="1092936"/>
                  <a:pt x="4914919" y="1092936"/>
                  <a:pt x="4911691" y="1093912"/>
                </a:cubicBezTo>
                <a:cubicBezTo>
                  <a:pt x="4911691" y="1093912"/>
                  <a:pt x="4911662" y="1094019"/>
                  <a:pt x="4908406" y="1095101"/>
                </a:cubicBezTo>
                <a:cubicBezTo>
                  <a:pt x="4911174" y="1095843"/>
                  <a:pt x="4913481" y="1098301"/>
                  <a:pt x="4915971" y="1098968"/>
                </a:cubicBezTo>
                <a:lnTo>
                  <a:pt x="4916161" y="1099364"/>
                </a:lnTo>
                <a:lnTo>
                  <a:pt x="4918487" y="1094008"/>
                </a:lnTo>
                <a:lnTo>
                  <a:pt x="4922278" y="1092033"/>
                </a:lnTo>
                <a:close/>
                <a:moveTo>
                  <a:pt x="859054" y="1090636"/>
                </a:moveTo>
                <a:cubicBezTo>
                  <a:pt x="864750" y="1092622"/>
                  <a:pt x="863535" y="1094942"/>
                  <a:pt x="867133" y="1095906"/>
                </a:cubicBezTo>
                <a:cubicBezTo>
                  <a:pt x="863453" y="1100785"/>
                  <a:pt x="858623" y="1101100"/>
                  <a:pt x="851429" y="1099173"/>
                </a:cubicBezTo>
                <a:cubicBezTo>
                  <a:pt x="850545" y="1095831"/>
                  <a:pt x="854253" y="1090845"/>
                  <a:pt x="859054" y="1090636"/>
                </a:cubicBezTo>
                <a:close/>
                <a:moveTo>
                  <a:pt x="1694504" y="1090586"/>
                </a:moveTo>
                <a:cubicBezTo>
                  <a:pt x="1700197" y="1087051"/>
                  <a:pt x="1703737" y="1088229"/>
                  <a:pt x="1709335" y="1091685"/>
                </a:cubicBezTo>
                <a:cubicBezTo>
                  <a:pt x="1706967" y="1092776"/>
                  <a:pt x="1705105" y="1093082"/>
                  <a:pt x="1702806" y="1092811"/>
                </a:cubicBezTo>
                <a:cubicBezTo>
                  <a:pt x="1700505" y="1092539"/>
                  <a:pt x="1697767" y="1091690"/>
                  <a:pt x="1694504" y="1090586"/>
                </a:cubicBezTo>
                <a:close/>
                <a:moveTo>
                  <a:pt x="5439313" y="1090500"/>
                </a:moveTo>
                <a:cubicBezTo>
                  <a:pt x="5444679" y="1089293"/>
                  <a:pt x="5451941" y="1089858"/>
                  <a:pt x="5456462" y="1092910"/>
                </a:cubicBezTo>
                <a:cubicBezTo>
                  <a:pt x="5451948" y="1100901"/>
                  <a:pt x="5446694" y="1105013"/>
                  <a:pt x="5433204" y="1100018"/>
                </a:cubicBezTo>
                <a:cubicBezTo>
                  <a:pt x="5430670" y="1095084"/>
                  <a:pt x="5434195" y="1091889"/>
                  <a:pt x="5439313" y="1090500"/>
                </a:cubicBezTo>
                <a:close/>
                <a:moveTo>
                  <a:pt x="1365017" y="1089472"/>
                </a:moveTo>
                <a:lnTo>
                  <a:pt x="1366898" y="1090205"/>
                </a:lnTo>
                <a:lnTo>
                  <a:pt x="1371392" y="1090030"/>
                </a:lnTo>
                <a:cubicBezTo>
                  <a:pt x="1373549" y="1090837"/>
                  <a:pt x="1374922" y="1092355"/>
                  <a:pt x="1375510" y="1094584"/>
                </a:cubicBezTo>
                <a:cubicBezTo>
                  <a:pt x="1376362" y="1101366"/>
                  <a:pt x="1368172" y="1102047"/>
                  <a:pt x="1358715" y="1101928"/>
                </a:cubicBezTo>
                <a:cubicBezTo>
                  <a:pt x="1357295" y="1099478"/>
                  <a:pt x="1354538" y="1097589"/>
                  <a:pt x="1353119" y="1095138"/>
                </a:cubicBezTo>
                <a:lnTo>
                  <a:pt x="1348225" y="1093482"/>
                </a:lnTo>
                <a:cubicBezTo>
                  <a:pt x="1350292" y="1089092"/>
                  <a:pt x="1358596" y="1087981"/>
                  <a:pt x="1365017" y="1089472"/>
                </a:cubicBezTo>
                <a:close/>
                <a:moveTo>
                  <a:pt x="1538257" y="1089315"/>
                </a:moveTo>
                <a:cubicBezTo>
                  <a:pt x="1538257" y="1089315"/>
                  <a:pt x="1538257" y="1089315"/>
                  <a:pt x="1539611" y="1089794"/>
                </a:cubicBezTo>
                <a:cubicBezTo>
                  <a:pt x="1539611" y="1089794"/>
                  <a:pt x="1539325" y="1090866"/>
                  <a:pt x="1537433" y="1091280"/>
                </a:cubicBezTo>
                <a:cubicBezTo>
                  <a:pt x="1537433" y="1091280"/>
                  <a:pt x="1537242" y="1090884"/>
                  <a:pt x="1537358" y="1090454"/>
                </a:cubicBezTo>
                <a:cubicBezTo>
                  <a:pt x="1537196" y="1089951"/>
                  <a:pt x="1537311" y="1089521"/>
                  <a:pt x="1538257" y="1089315"/>
                </a:cubicBezTo>
                <a:close/>
                <a:moveTo>
                  <a:pt x="1079825" y="1089071"/>
                </a:moveTo>
                <a:cubicBezTo>
                  <a:pt x="1082153" y="1089235"/>
                  <a:pt x="1083242" y="1088491"/>
                  <a:pt x="1083394" y="1090142"/>
                </a:cubicBezTo>
                <a:cubicBezTo>
                  <a:pt x="1083268" y="1091718"/>
                  <a:pt x="1083268" y="1091718"/>
                  <a:pt x="1079725" y="1093875"/>
                </a:cubicBezTo>
                <a:cubicBezTo>
                  <a:pt x="1079850" y="1092297"/>
                  <a:pt x="1079879" y="1092190"/>
                  <a:pt x="1077550" y="1092027"/>
                </a:cubicBezTo>
                <a:cubicBezTo>
                  <a:pt x="1077550" y="1092027"/>
                  <a:pt x="1077273" y="1091952"/>
                  <a:pt x="1076185" y="1092695"/>
                </a:cubicBezTo>
                <a:cubicBezTo>
                  <a:pt x="1075222" y="1091863"/>
                  <a:pt x="1076311" y="1091119"/>
                  <a:pt x="1075348" y="1090285"/>
                </a:cubicBezTo>
                <a:cubicBezTo>
                  <a:pt x="1075348" y="1090285"/>
                  <a:pt x="1076436" y="1089543"/>
                  <a:pt x="1076436" y="1089543"/>
                </a:cubicBezTo>
                <a:cubicBezTo>
                  <a:pt x="1075941" y="1089180"/>
                  <a:pt x="1075692" y="1088999"/>
                  <a:pt x="1076246" y="1089147"/>
                </a:cubicBezTo>
                <a:cubicBezTo>
                  <a:pt x="1076828" y="1089188"/>
                  <a:pt x="1077992" y="1089269"/>
                  <a:pt x="1079825" y="1089071"/>
                </a:cubicBezTo>
                <a:close/>
                <a:moveTo>
                  <a:pt x="2033730" y="1088560"/>
                </a:moveTo>
                <a:cubicBezTo>
                  <a:pt x="2031635" y="1093059"/>
                  <a:pt x="2024925" y="1092640"/>
                  <a:pt x="2021026" y="1097231"/>
                </a:cubicBezTo>
                <a:cubicBezTo>
                  <a:pt x="2015273" y="1095460"/>
                  <a:pt x="2010095" y="1100397"/>
                  <a:pt x="2002244" y="1097604"/>
                </a:cubicBezTo>
                <a:cubicBezTo>
                  <a:pt x="2003903" y="1089193"/>
                  <a:pt x="2027406" y="1085600"/>
                  <a:pt x="2033730" y="1088560"/>
                </a:cubicBezTo>
                <a:close/>
                <a:moveTo>
                  <a:pt x="5131733" y="1087320"/>
                </a:moveTo>
                <a:cubicBezTo>
                  <a:pt x="5131146" y="1090614"/>
                  <a:pt x="5129939" y="1095120"/>
                  <a:pt x="5127981" y="1096895"/>
                </a:cubicBezTo>
                <a:cubicBezTo>
                  <a:pt x="5126924" y="1094198"/>
                  <a:pt x="5126195" y="1089172"/>
                  <a:pt x="5129785" y="1087948"/>
                </a:cubicBezTo>
                <a:cubicBezTo>
                  <a:pt x="5129785" y="1087948"/>
                  <a:pt x="5129814" y="1087841"/>
                  <a:pt x="5131733" y="1087320"/>
                </a:cubicBezTo>
                <a:close/>
                <a:moveTo>
                  <a:pt x="5707566" y="1087297"/>
                </a:moveTo>
                <a:cubicBezTo>
                  <a:pt x="5712768" y="1087670"/>
                  <a:pt x="5718269" y="1090380"/>
                  <a:pt x="5720434" y="1096135"/>
                </a:cubicBezTo>
                <a:cubicBezTo>
                  <a:pt x="5718425" y="1100312"/>
                  <a:pt x="5705948" y="1102604"/>
                  <a:pt x="5700604" y="1101517"/>
                </a:cubicBezTo>
                <a:cubicBezTo>
                  <a:pt x="5696810" y="1097971"/>
                  <a:pt x="5695868" y="1094842"/>
                  <a:pt x="5696501" y="1092483"/>
                </a:cubicBezTo>
                <a:cubicBezTo>
                  <a:pt x="5697464" y="1088888"/>
                  <a:pt x="5702364" y="1086924"/>
                  <a:pt x="5707566" y="1087297"/>
                </a:cubicBezTo>
                <a:close/>
                <a:moveTo>
                  <a:pt x="5076187" y="1085432"/>
                </a:moveTo>
                <a:lnTo>
                  <a:pt x="5082026" y="1086882"/>
                </a:lnTo>
                <a:lnTo>
                  <a:pt x="5083029" y="1086460"/>
                </a:lnTo>
                <a:cubicBezTo>
                  <a:pt x="5084279" y="1086221"/>
                  <a:pt x="5085444" y="1086303"/>
                  <a:pt x="5086159" y="1086954"/>
                </a:cubicBezTo>
                <a:lnTo>
                  <a:pt x="5085346" y="1087772"/>
                </a:lnTo>
                <a:lnTo>
                  <a:pt x="5088419" y="1088479"/>
                </a:lnTo>
                <a:cubicBezTo>
                  <a:pt x="5092454" y="1090021"/>
                  <a:pt x="5096375" y="1091992"/>
                  <a:pt x="5099828" y="1093492"/>
                </a:cubicBezTo>
                <a:cubicBezTo>
                  <a:pt x="5093957" y="1095484"/>
                  <a:pt x="5087079" y="1092376"/>
                  <a:pt x="5082478" y="1100689"/>
                </a:cubicBezTo>
                <a:lnTo>
                  <a:pt x="5078709" y="1091513"/>
                </a:lnTo>
                <a:lnTo>
                  <a:pt x="5073402" y="1092507"/>
                </a:lnTo>
                <a:lnTo>
                  <a:pt x="5077843" y="1089211"/>
                </a:lnTo>
                <a:close/>
                <a:moveTo>
                  <a:pt x="1686685" y="1084351"/>
                </a:moveTo>
                <a:cubicBezTo>
                  <a:pt x="1688421" y="1085620"/>
                  <a:pt x="1688421" y="1085620"/>
                  <a:pt x="1686950" y="1085572"/>
                </a:cubicBezTo>
                <a:cubicBezTo>
                  <a:pt x="1688952" y="1088063"/>
                  <a:pt x="1688913" y="1089318"/>
                  <a:pt x="1688902" y="1090465"/>
                </a:cubicBezTo>
                <a:cubicBezTo>
                  <a:pt x="1687393" y="1091671"/>
                  <a:pt x="1683871" y="1091532"/>
                  <a:pt x="1680360" y="1090246"/>
                </a:cubicBezTo>
                <a:cubicBezTo>
                  <a:pt x="1682147" y="1089115"/>
                  <a:pt x="1680144" y="1086623"/>
                  <a:pt x="1681654" y="1085417"/>
                </a:cubicBezTo>
                <a:cubicBezTo>
                  <a:pt x="1681654" y="1085417"/>
                  <a:pt x="1686685" y="1084351"/>
                  <a:pt x="1686685" y="1084351"/>
                </a:cubicBezTo>
                <a:close/>
                <a:moveTo>
                  <a:pt x="1879814" y="1084119"/>
                </a:moveTo>
                <a:cubicBezTo>
                  <a:pt x="1879814" y="1084119"/>
                  <a:pt x="1881636" y="1085067"/>
                  <a:pt x="1883411" y="1085083"/>
                </a:cubicBezTo>
                <a:cubicBezTo>
                  <a:pt x="1883411" y="1085083"/>
                  <a:pt x="1885204" y="1086138"/>
                  <a:pt x="1887303" y="1087160"/>
                </a:cubicBezTo>
                <a:cubicBezTo>
                  <a:pt x="1887303" y="1087160"/>
                  <a:pt x="1888832" y="1086995"/>
                  <a:pt x="1890329" y="1086937"/>
                </a:cubicBezTo>
                <a:cubicBezTo>
                  <a:pt x="1896026" y="1088923"/>
                  <a:pt x="1899622" y="1089887"/>
                  <a:pt x="1899245" y="1094615"/>
                </a:cubicBezTo>
                <a:cubicBezTo>
                  <a:pt x="1897716" y="1094781"/>
                  <a:pt x="1893826" y="1092703"/>
                  <a:pt x="1891755" y="1091574"/>
                </a:cubicBezTo>
                <a:cubicBezTo>
                  <a:pt x="1890229" y="1091740"/>
                  <a:pt x="1888158" y="1090610"/>
                  <a:pt x="1887865" y="1089496"/>
                </a:cubicBezTo>
                <a:cubicBezTo>
                  <a:pt x="1887865" y="1089496"/>
                  <a:pt x="1885793" y="1088367"/>
                  <a:pt x="1884267" y="1088532"/>
                </a:cubicBezTo>
                <a:cubicBezTo>
                  <a:pt x="1880375" y="1086454"/>
                  <a:pt x="1880110" y="1085233"/>
                  <a:pt x="1879814" y="1084119"/>
                </a:cubicBezTo>
                <a:close/>
                <a:moveTo>
                  <a:pt x="1760368" y="1083854"/>
                </a:moveTo>
                <a:cubicBezTo>
                  <a:pt x="1762633" y="1082045"/>
                  <a:pt x="1778860" y="1096744"/>
                  <a:pt x="1783181" y="1100547"/>
                </a:cubicBezTo>
                <a:cubicBezTo>
                  <a:pt x="1783140" y="1101801"/>
                  <a:pt x="1783140" y="1101801"/>
                  <a:pt x="1783140" y="1101801"/>
                </a:cubicBezTo>
                <a:cubicBezTo>
                  <a:pt x="1782021" y="1102651"/>
                  <a:pt x="1780829" y="1102677"/>
                  <a:pt x="1779284" y="1101803"/>
                </a:cubicBezTo>
                <a:cubicBezTo>
                  <a:pt x="1777710" y="1101035"/>
                  <a:pt x="1775727" y="1099585"/>
                  <a:pt x="1773275" y="1097663"/>
                </a:cubicBezTo>
                <a:cubicBezTo>
                  <a:pt x="1768956" y="1093860"/>
                  <a:pt x="1764964" y="1087731"/>
                  <a:pt x="1763620" y="1086105"/>
                </a:cubicBezTo>
                <a:cubicBezTo>
                  <a:pt x="1761999" y="1084407"/>
                  <a:pt x="1760368" y="1083854"/>
                  <a:pt x="1760368" y="1083854"/>
                </a:cubicBezTo>
                <a:close/>
                <a:moveTo>
                  <a:pt x="5171391" y="1083615"/>
                </a:moveTo>
                <a:cubicBezTo>
                  <a:pt x="5177044" y="1085345"/>
                  <a:pt x="5182984" y="1088633"/>
                  <a:pt x="5188219" y="1092336"/>
                </a:cubicBezTo>
                <a:lnTo>
                  <a:pt x="5197002" y="1099404"/>
                </a:lnTo>
                <a:lnTo>
                  <a:pt x="5199029" y="1096268"/>
                </a:lnTo>
                <a:cubicBezTo>
                  <a:pt x="5214457" y="1092926"/>
                  <a:pt x="5221359" y="1099260"/>
                  <a:pt x="5223307" y="1098633"/>
                </a:cubicBezTo>
                <a:cubicBezTo>
                  <a:pt x="5227252" y="1103830"/>
                  <a:pt x="5223109" y="1104904"/>
                  <a:pt x="5218639" y="1108307"/>
                </a:cubicBezTo>
                <a:cubicBezTo>
                  <a:pt x="5217981" y="1107441"/>
                  <a:pt x="5216206" y="1107425"/>
                  <a:pt x="5214345" y="1107731"/>
                </a:cubicBezTo>
                <a:lnTo>
                  <a:pt x="5211815" y="1108318"/>
                </a:lnTo>
                <a:lnTo>
                  <a:pt x="5212422" y="1111586"/>
                </a:lnTo>
                <a:cubicBezTo>
                  <a:pt x="5213184" y="1113170"/>
                  <a:pt x="5214746" y="1115085"/>
                  <a:pt x="5216806" y="1117361"/>
                </a:cubicBezTo>
                <a:cubicBezTo>
                  <a:pt x="5213342" y="1117008"/>
                  <a:pt x="5209658" y="1116366"/>
                  <a:pt x="5206644" y="1115443"/>
                </a:cubicBezTo>
                <a:cubicBezTo>
                  <a:pt x="5203323" y="1114554"/>
                  <a:pt x="5200176" y="1113019"/>
                  <a:pt x="5197390" y="1111238"/>
                </a:cubicBezTo>
                <a:lnTo>
                  <a:pt x="5202741" y="1105657"/>
                </a:lnTo>
                <a:lnTo>
                  <a:pt x="5198982" y="1104189"/>
                </a:lnTo>
                <a:cubicBezTo>
                  <a:pt x="5197685" y="1103497"/>
                  <a:pt x="5196722" y="1102663"/>
                  <a:pt x="5195597" y="1101328"/>
                </a:cubicBezTo>
                <a:lnTo>
                  <a:pt x="5196611" y="1099760"/>
                </a:lnTo>
                <a:lnTo>
                  <a:pt x="5185596" y="1099913"/>
                </a:lnTo>
                <a:cubicBezTo>
                  <a:pt x="5183019" y="1099567"/>
                  <a:pt x="5180253" y="1098826"/>
                  <a:pt x="5177848" y="1097837"/>
                </a:cubicBezTo>
                <a:cubicBezTo>
                  <a:pt x="5170083" y="1094721"/>
                  <a:pt x="5163169" y="1089534"/>
                  <a:pt x="5156284" y="1084238"/>
                </a:cubicBezTo>
                <a:cubicBezTo>
                  <a:pt x="5160371" y="1081711"/>
                  <a:pt x="5165738" y="1081884"/>
                  <a:pt x="5171391" y="1083615"/>
                </a:cubicBezTo>
                <a:close/>
                <a:moveTo>
                  <a:pt x="2363807" y="1083048"/>
                </a:moveTo>
                <a:cubicBezTo>
                  <a:pt x="2368851" y="1086355"/>
                  <a:pt x="2375335" y="1084297"/>
                  <a:pt x="2371618" y="1087096"/>
                </a:cubicBezTo>
                <a:cubicBezTo>
                  <a:pt x="2367468" y="1085984"/>
                  <a:pt x="2368054" y="1091545"/>
                  <a:pt x="2363540" y="1090681"/>
                </a:cubicBezTo>
                <a:cubicBezTo>
                  <a:pt x="2361881" y="1090237"/>
                  <a:pt x="2359782" y="1089215"/>
                  <a:pt x="2356559" y="1086855"/>
                </a:cubicBezTo>
                <a:cubicBezTo>
                  <a:pt x="2356559" y="1086855"/>
                  <a:pt x="2356835" y="1086929"/>
                  <a:pt x="2363807" y="1083048"/>
                </a:cubicBezTo>
                <a:close/>
                <a:moveTo>
                  <a:pt x="1964399" y="1080564"/>
                </a:moveTo>
                <a:cubicBezTo>
                  <a:pt x="1967422" y="1083673"/>
                  <a:pt x="1969050" y="1087559"/>
                  <a:pt x="1967350" y="1088369"/>
                </a:cubicBezTo>
                <a:cubicBezTo>
                  <a:pt x="1964647" y="1089600"/>
                  <a:pt x="1962222" y="1090904"/>
                  <a:pt x="1959321" y="1089553"/>
                </a:cubicBezTo>
                <a:cubicBezTo>
                  <a:pt x="1958274" y="1089041"/>
                  <a:pt x="1957004" y="1088241"/>
                  <a:pt x="1955850" y="1087013"/>
                </a:cubicBezTo>
                <a:cubicBezTo>
                  <a:pt x="1955850" y="1087013"/>
                  <a:pt x="1955850" y="1087013"/>
                  <a:pt x="1955890" y="1085758"/>
                </a:cubicBezTo>
                <a:cubicBezTo>
                  <a:pt x="1956218" y="1083431"/>
                  <a:pt x="1956228" y="1082284"/>
                  <a:pt x="1956238" y="1081137"/>
                </a:cubicBezTo>
                <a:cubicBezTo>
                  <a:pt x="1957938" y="1080326"/>
                  <a:pt x="1962751" y="1078972"/>
                  <a:pt x="1964399" y="1080564"/>
                </a:cubicBezTo>
                <a:close/>
                <a:moveTo>
                  <a:pt x="1206936" y="1079544"/>
                </a:moveTo>
                <a:cubicBezTo>
                  <a:pt x="1211666" y="1084032"/>
                  <a:pt x="1209484" y="1088853"/>
                  <a:pt x="1222346" y="1092873"/>
                </a:cubicBezTo>
                <a:lnTo>
                  <a:pt x="1215863" y="1094932"/>
                </a:lnTo>
                <a:lnTo>
                  <a:pt x="1216942" y="1095336"/>
                </a:lnTo>
                <a:lnTo>
                  <a:pt x="1209110" y="1099102"/>
                </a:lnTo>
                <a:lnTo>
                  <a:pt x="1208097" y="1100671"/>
                </a:lnTo>
                <a:cubicBezTo>
                  <a:pt x="1207608" y="1102495"/>
                  <a:pt x="1206785" y="1104460"/>
                  <a:pt x="1203892" y="1105295"/>
                </a:cubicBezTo>
                <a:lnTo>
                  <a:pt x="1196692" y="1101180"/>
                </a:lnTo>
                <a:lnTo>
                  <a:pt x="1195135" y="1101453"/>
                </a:lnTo>
                <a:cubicBezTo>
                  <a:pt x="1186812" y="1101522"/>
                  <a:pt x="1178062" y="1099868"/>
                  <a:pt x="1172614" y="1098064"/>
                </a:cubicBezTo>
                <a:cubicBezTo>
                  <a:pt x="1175299" y="1095792"/>
                  <a:pt x="1178698" y="1094173"/>
                  <a:pt x="1182566" y="1093025"/>
                </a:cubicBezTo>
                <a:lnTo>
                  <a:pt x="1192732" y="1091609"/>
                </a:lnTo>
                <a:lnTo>
                  <a:pt x="1192545" y="1087878"/>
                </a:lnTo>
                <a:lnTo>
                  <a:pt x="1186796" y="1091628"/>
                </a:lnTo>
                <a:cubicBezTo>
                  <a:pt x="1176970" y="1095090"/>
                  <a:pt x="1165366" y="1093016"/>
                  <a:pt x="1153458" y="1090975"/>
                </a:cubicBezTo>
                <a:cubicBezTo>
                  <a:pt x="1155257" y="1085363"/>
                  <a:pt x="1162075" y="1083164"/>
                  <a:pt x="1170454" y="1082879"/>
                </a:cubicBezTo>
                <a:lnTo>
                  <a:pt x="1193091" y="1085839"/>
                </a:lnTo>
                <a:lnTo>
                  <a:pt x="1194011" y="1082406"/>
                </a:lnTo>
                <a:cubicBezTo>
                  <a:pt x="1196905" y="1081571"/>
                  <a:pt x="1199118" y="1082165"/>
                  <a:pt x="1201130" y="1083508"/>
                </a:cubicBezTo>
                <a:lnTo>
                  <a:pt x="1204324" y="1085975"/>
                </a:lnTo>
                <a:close/>
                <a:moveTo>
                  <a:pt x="5902405" y="1078883"/>
                </a:moveTo>
                <a:cubicBezTo>
                  <a:pt x="5909818" y="1089955"/>
                  <a:pt x="5890873" y="1098679"/>
                  <a:pt x="5877031" y="1101639"/>
                </a:cubicBezTo>
                <a:cubicBezTo>
                  <a:pt x="5875299" y="1088180"/>
                  <a:pt x="5888991" y="1083569"/>
                  <a:pt x="5902405" y="1078883"/>
                </a:cubicBezTo>
                <a:close/>
                <a:moveTo>
                  <a:pt x="4938050" y="1078549"/>
                </a:moveTo>
                <a:cubicBezTo>
                  <a:pt x="4944770" y="1077820"/>
                  <a:pt x="4953381" y="1085531"/>
                  <a:pt x="4951838" y="1090178"/>
                </a:cubicBezTo>
                <a:cubicBezTo>
                  <a:pt x="4946613" y="1085329"/>
                  <a:pt x="4940601" y="1084523"/>
                  <a:pt x="4938628" y="1081924"/>
                </a:cubicBezTo>
                <a:cubicBezTo>
                  <a:pt x="4937971" y="1081057"/>
                  <a:pt x="4937648" y="1080052"/>
                  <a:pt x="4938050" y="1078549"/>
                </a:cubicBezTo>
                <a:close/>
                <a:moveTo>
                  <a:pt x="2235523" y="1077855"/>
                </a:moveTo>
                <a:cubicBezTo>
                  <a:pt x="2236761" y="1077383"/>
                  <a:pt x="2238129" y="1077261"/>
                  <a:pt x="2239602" y="1078403"/>
                </a:cubicBezTo>
                <a:cubicBezTo>
                  <a:pt x="2237091" y="1080029"/>
                  <a:pt x="2235171" y="1080551"/>
                  <a:pt x="2232214" y="1079413"/>
                </a:cubicBezTo>
                <a:cubicBezTo>
                  <a:pt x="2233173" y="1079152"/>
                  <a:pt x="2234284" y="1078329"/>
                  <a:pt x="2235523" y="1077855"/>
                </a:cubicBezTo>
                <a:close/>
                <a:moveTo>
                  <a:pt x="1823330" y="1075770"/>
                </a:moveTo>
                <a:cubicBezTo>
                  <a:pt x="1829982" y="1085257"/>
                  <a:pt x="1819001" y="1090824"/>
                  <a:pt x="1813038" y="1096471"/>
                </a:cubicBezTo>
                <a:cubicBezTo>
                  <a:pt x="1824067" y="1100692"/>
                  <a:pt x="1841672" y="1104719"/>
                  <a:pt x="1839591" y="1113592"/>
                </a:cubicBezTo>
                <a:lnTo>
                  <a:pt x="1831735" y="1114132"/>
                </a:lnTo>
                <a:lnTo>
                  <a:pt x="1831167" y="1118464"/>
                </a:lnTo>
                <a:lnTo>
                  <a:pt x="1829525" y="1119059"/>
                </a:lnTo>
                <a:lnTo>
                  <a:pt x="1830754" y="1121113"/>
                </a:lnTo>
                <a:cubicBezTo>
                  <a:pt x="1831078" y="1122121"/>
                  <a:pt x="1831764" y="1122880"/>
                  <a:pt x="1831764" y="1122880"/>
                </a:cubicBezTo>
                <a:cubicBezTo>
                  <a:pt x="1830254" y="1124085"/>
                  <a:pt x="1829776" y="1124763"/>
                  <a:pt x="1828613" y="1124679"/>
                </a:cubicBezTo>
                <a:lnTo>
                  <a:pt x="1825845" y="1123938"/>
                </a:lnTo>
                <a:lnTo>
                  <a:pt x="1824324" y="1126292"/>
                </a:lnTo>
                <a:cubicBezTo>
                  <a:pt x="1820813" y="1125006"/>
                  <a:pt x="1815341" y="1119974"/>
                  <a:pt x="1816586" y="1117548"/>
                </a:cubicBezTo>
                <a:lnTo>
                  <a:pt x="1820201" y="1119552"/>
                </a:lnTo>
                <a:lnTo>
                  <a:pt x="1817702" y="1116697"/>
                </a:lnTo>
                <a:cubicBezTo>
                  <a:pt x="1816063" y="1113957"/>
                  <a:pt x="1815370" y="1111011"/>
                  <a:pt x="1816470" y="1109122"/>
                </a:cubicBezTo>
                <a:lnTo>
                  <a:pt x="1820591" y="1110341"/>
                </a:lnTo>
                <a:lnTo>
                  <a:pt x="1812940" y="1106796"/>
                </a:lnTo>
                <a:cubicBezTo>
                  <a:pt x="1809487" y="1105295"/>
                  <a:pt x="1806282" y="1103977"/>
                  <a:pt x="1802685" y="1103013"/>
                </a:cubicBezTo>
                <a:cubicBezTo>
                  <a:pt x="1797884" y="1103221"/>
                  <a:pt x="1796105" y="1106540"/>
                  <a:pt x="1790647" y="1105882"/>
                </a:cubicBezTo>
                <a:cubicBezTo>
                  <a:pt x="1788623" y="1105685"/>
                  <a:pt x="1786439" y="1104984"/>
                  <a:pt x="1783262" y="1103558"/>
                </a:cubicBezTo>
                <a:cubicBezTo>
                  <a:pt x="1789097" y="1090632"/>
                  <a:pt x="1798413" y="1082433"/>
                  <a:pt x="1810185" y="1078342"/>
                </a:cubicBezTo>
                <a:cubicBezTo>
                  <a:pt x="1814109" y="1076978"/>
                  <a:pt x="1818500" y="1076085"/>
                  <a:pt x="1823330" y="1075770"/>
                </a:cubicBezTo>
                <a:close/>
                <a:moveTo>
                  <a:pt x="1745059" y="1074577"/>
                </a:moveTo>
                <a:cubicBezTo>
                  <a:pt x="1747295" y="1072876"/>
                  <a:pt x="1748311" y="1076829"/>
                  <a:pt x="1749983" y="1076126"/>
                </a:cubicBezTo>
                <a:lnTo>
                  <a:pt x="1747463" y="1084421"/>
                </a:lnTo>
                <a:lnTo>
                  <a:pt x="1757338" y="1087413"/>
                </a:lnTo>
                <a:cubicBezTo>
                  <a:pt x="1760565" y="1095291"/>
                  <a:pt x="1751376" y="1101915"/>
                  <a:pt x="1741637" y="1105055"/>
                </a:cubicBezTo>
                <a:lnTo>
                  <a:pt x="1740693" y="1105263"/>
                </a:lnTo>
                <a:lnTo>
                  <a:pt x="1741494" y="1105591"/>
                </a:lnTo>
                <a:cubicBezTo>
                  <a:pt x="1743661" y="1105253"/>
                  <a:pt x="1746212" y="1102372"/>
                  <a:pt x="1749597" y="1105233"/>
                </a:cubicBezTo>
                <a:cubicBezTo>
                  <a:pt x="1756137" y="1111816"/>
                  <a:pt x="1751767" y="1119270"/>
                  <a:pt x="1748987" y="1123010"/>
                </a:cubicBezTo>
                <a:lnTo>
                  <a:pt x="1747523" y="1125148"/>
                </a:lnTo>
                <a:lnTo>
                  <a:pt x="1749184" y="1125593"/>
                </a:lnTo>
                <a:lnTo>
                  <a:pt x="1747207" y="1126328"/>
                </a:lnTo>
                <a:lnTo>
                  <a:pt x="1747150" y="1126543"/>
                </a:lnTo>
                <a:cubicBezTo>
                  <a:pt x="1745489" y="1126098"/>
                  <a:pt x="1745202" y="1127170"/>
                  <a:pt x="1746862" y="1127615"/>
                </a:cubicBezTo>
                <a:cubicBezTo>
                  <a:pt x="1745019" y="1128962"/>
                  <a:pt x="1743262" y="1129986"/>
                  <a:pt x="1741983" y="1130334"/>
                </a:cubicBezTo>
                <a:cubicBezTo>
                  <a:pt x="1741342" y="1130506"/>
                  <a:pt x="1740732" y="1130573"/>
                  <a:pt x="1739930" y="1130243"/>
                </a:cubicBezTo>
                <a:cubicBezTo>
                  <a:pt x="1739406" y="1129988"/>
                  <a:pt x="1738633" y="1129551"/>
                  <a:pt x="1737975" y="1128684"/>
                </a:cubicBezTo>
                <a:cubicBezTo>
                  <a:pt x="1734971" y="1126614"/>
                  <a:pt x="1736988" y="1124625"/>
                  <a:pt x="1734299" y="1121375"/>
                </a:cubicBezTo>
                <a:cubicBezTo>
                  <a:pt x="1728330" y="1115980"/>
                  <a:pt x="1716842" y="1122332"/>
                  <a:pt x="1704962" y="1111329"/>
                </a:cubicBezTo>
                <a:cubicBezTo>
                  <a:pt x="1708858" y="1110072"/>
                  <a:pt x="1703244" y="1102242"/>
                  <a:pt x="1708810" y="1100284"/>
                </a:cubicBezTo>
                <a:lnTo>
                  <a:pt x="1712763" y="1098813"/>
                </a:lnTo>
                <a:lnTo>
                  <a:pt x="1709223" y="1097635"/>
                </a:lnTo>
                <a:cubicBezTo>
                  <a:pt x="1713576" y="1089141"/>
                  <a:pt x="1723081" y="1081338"/>
                  <a:pt x="1725316" y="1079637"/>
                </a:cubicBezTo>
                <a:cubicBezTo>
                  <a:pt x="1726434" y="1078786"/>
                  <a:pt x="1727407" y="1078472"/>
                  <a:pt x="1728543" y="1078662"/>
                </a:cubicBezTo>
                <a:cubicBezTo>
                  <a:pt x="1729649" y="1078958"/>
                  <a:pt x="1730641" y="1079684"/>
                  <a:pt x="1732130" y="1080772"/>
                </a:cubicBezTo>
                <a:cubicBezTo>
                  <a:pt x="1733168" y="1082431"/>
                  <a:pt x="1733433" y="1083651"/>
                  <a:pt x="1733117" y="1084832"/>
                </a:cubicBezTo>
                <a:lnTo>
                  <a:pt x="1734311" y="1084807"/>
                </a:lnTo>
                <a:lnTo>
                  <a:pt x="1734425" y="1084378"/>
                </a:lnTo>
                <a:cubicBezTo>
                  <a:pt x="1737455" y="1080820"/>
                  <a:pt x="1741810" y="1077847"/>
                  <a:pt x="1743071" y="1076459"/>
                </a:cubicBezTo>
                <a:cubicBezTo>
                  <a:pt x="1743071" y="1076459"/>
                  <a:pt x="1743388" y="1075278"/>
                  <a:pt x="1745059" y="1074577"/>
                </a:cubicBezTo>
                <a:close/>
                <a:moveTo>
                  <a:pt x="5305176" y="1074223"/>
                </a:moveTo>
                <a:cubicBezTo>
                  <a:pt x="5315285" y="1081877"/>
                  <a:pt x="5327140" y="1089654"/>
                  <a:pt x="5322084" y="1096349"/>
                </a:cubicBezTo>
                <a:cubicBezTo>
                  <a:pt x="5319669" y="1096508"/>
                  <a:pt x="5317178" y="1095840"/>
                  <a:pt x="5315051" y="1094924"/>
                </a:cubicBezTo>
                <a:lnTo>
                  <a:pt x="5310721" y="1092269"/>
                </a:lnTo>
                <a:lnTo>
                  <a:pt x="5309355" y="1092939"/>
                </a:lnTo>
                <a:cubicBezTo>
                  <a:pt x="5306743" y="1090514"/>
                  <a:pt x="5304435" y="1088055"/>
                  <a:pt x="5303713" y="1085216"/>
                </a:cubicBezTo>
                <a:lnTo>
                  <a:pt x="5300149" y="1080812"/>
                </a:lnTo>
                <a:cubicBezTo>
                  <a:pt x="5303387" y="1078689"/>
                  <a:pt x="5301661" y="1076272"/>
                  <a:pt x="5305176" y="1074223"/>
                </a:cubicBezTo>
                <a:close/>
                <a:moveTo>
                  <a:pt x="5034853" y="1073667"/>
                </a:moveTo>
                <a:cubicBezTo>
                  <a:pt x="5037448" y="1075052"/>
                  <a:pt x="5039213" y="1076215"/>
                  <a:pt x="5040147" y="1077155"/>
                </a:cubicBezTo>
                <a:lnTo>
                  <a:pt x="5041214" y="1078707"/>
                </a:lnTo>
                <a:lnTo>
                  <a:pt x="5054284" y="1084163"/>
                </a:lnTo>
                <a:cubicBezTo>
                  <a:pt x="5058262" y="1085920"/>
                  <a:pt x="5062297" y="1087461"/>
                  <a:pt x="5066038" y="1087888"/>
                </a:cubicBezTo>
                <a:cubicBezTo>
                  <a:pt x="5066038" y="1087888"/>
                  <a:pt x="5066067" y="1087780"/>
                  <a:pt x="5068421" y="1091172"/>
                </a:cubicBezTo>
                <a:cubicBezTo>
                  <a:pt x="5070052" y="1091724"/>
                  <a:pt x="5070052" y="1091724"/>
                  <a:pt x="5070052" y="1091724"/>
                </a:cubicBezTo>
                <a:cubicBezTo>
                  <a:pt x="5071684" y="1092276"/>
                  <a:pt x="5071051" y="1094637"/>
                  <a:pt x="5071051" y="1094637"/>
                </a:cubicBezTo>
                <a:cubicBezTo>
                  <a:pt x="5069657" y="1095412"/>
                  <a:pt x="5067968" y="1095075"/>
                  <a:pt x="5066336" y="1094523"/>
                </a:cubicBezTo>
                <a:cubicBezTo>
                  <a:pt x="5064457" y="1093789"/>
                  <a:pt x="5062635" y="1092842"/>
                  <a:pt x="5061004" y="1092289"/>
                </a:cubicBezTo>
                <a:cubicBezTo>
                  <a:pt x="5058768" y="1093990"/>
                  <a:pt x="5055415" y="1087687"/>
                  <a:pt x="5053181" y="1089388"/>
                </a:cubicBezTo>
                <a:cubicBezTo>
                  <a:pt x="5050521" y="1086030"/>
                  <a:pt x="5046953" y="1084959"/>
                  <a:pt x="5042831" y="1083740"/>
                </a:cubicBezTo>
                <a:lnTo>
                  <a:pt x="5036392" y="1081209"/>
                </a:lnTo>
                <a:lnTo>
                  <a:pt x="5035752" y="1081383"/>
                </a:lnTo>
                <a:cubicBezTo>
                  <a:pt x="5033147" y="1081144"/>
                  <a:pt x="5030494" y="1079974"/>
                  <a:pt x="5030650" y="1078290"/>
                </a:cubicBezTo>
                <a:lnTo>
                  <a:pt x="5031184" y="1077399"/>
                </a:lnTo>
                <a:lnTo>
                  <a:pt x="5028953" y="1075766"/>
                </a:lnTo>
                <a:lnTo>
                  <a:pt x="5031997" y="1076582"/>
                </a:lnTo>
                <a:close/>
                <a:moveTo>
                  <a:pt x="5614126" y="1073400"/>
                </a:moveTo>
                <a:cubicBezTo>
                  <a:pt x="5607550" y="1082449"/>
                  <a:pt x="5595957" y="1096938"/>
                  <a:pt x="5582466" y="1100798"/>
                </a:cubicBezTo>
                <a:cubicBezTo>
                  <a:pt x="5581064" y="1099387"/>
                  <a:pt x="5580275" y="1097910"/>
                  <a:pt x="5579789" y="1096400"/>
                </a:cubicBezTo>
                <a:cubicBezTo>
                  <a:pt x="5578140" y="1085953"/>
                  <a:pt x="5603960" y="1074816"/>
                  <a:pt x="5614126" y="1073400"/>
                </a:cubicBezTo>
                <a:close/>
                <a:moveTo>
                  <a:pt x="1752257" y="1073171"/>
                </a:moveTo>
                <a:cubicBezTo>
                  <a:pt x="1753601" y="1074795"/>
                  <a:pt x="1757909" y="1079745"/>
                  <a:pt x="1757909" y="1079745"/>
                </a:cubicBezTo>
                <a:cubicBezTo>
                  <a:pt x="1759570" y="1080190"/>
                  <a:pt x="1759570" y="1080190"/>
                  <a:pt x="1760914" y="1081815"/>
                </a:cubicBezTo>
                <a:cubicBezTo>
                  <a:pt x="1758966" y="1082443"/>
                  <a:pt x="1759243" y="1082518"/>
                  <a:pt x="1757583" y="1082073"/>
                </a:cubicBezTo>
                <a:cubicBezTo>
                  <a:pt x="1756239" y="1080448"/>
                  <a:pt x="1756278" y="1079193"/>
                  <a:pt x="1754906" y="1077675"/>
                </a:cubicBezTo>
                <a:cubicBezTo>
                  <a:pt x="1751286" y="1079005"/>
                  <a:pt x="1752948" y="1079450"/>
                  <a:pt x="1751602" y="1077825"/>
                </a:cubicBezTo>
                <a:cubicBezTo>
                  <a:pt x="1751602" y="1077825"/>
                  <a:pt x="1751326" y="1077751"/>
                  <a:pt x="1749983" y="1076126"/>
                </a:cubicBezTo>
                <a:cubicBezTo>
                  <a:pt x="1749983" y="1076126"/>
                  <a:pt x="1748321" y="1075681"/>
                  <a:pt x="1752257" y="1073171"/>
                </a:cubicBezTo>
                <a:close/>
                <a:moveTo>
                  <a:pt x="1233602" y="1073005"/>
                </a:moveTo>
                <a:cubicBezTo>
                  <a:pt x="1241467" y="1071317"/>
                  <a:pt x="1254861" y="1077781"/>
                  <a:pt x="1254454" y="1082616"/>
                </a:cubicBezTo>
                <a:cubicBezTo>
                  <a:pt x="1250199" y="1089641"/>
                  <a:pt x="1243936" y="1091988"/>
                  <a:pt x="1238726" y="1091513"/>
                </a:cubicBezTo>
                <a:cubicBezTo>
                  <a:pt x="1233515" y="1091037"/>
                  <a:pt x="1229080" y="1087663"/>
                  <a:pt x="1228789" y="1083215"/>
                </a:cubicBezTo>
                <a:cubicBezTo>
                  <a:pt x="1228429" y="1080129"/>
                  <a:pt x="1229684" y="1076554"/>
                  <a:pt x="1233602" y="1073005"/>
                </a:cubicBezTo>
                <a:close/>
                <a:moveTo>
                  <a:pt x="1372443" y="1072831"/>
                </a:moveTo>
                <a:cubicBezTo>
                  <a:pt x="1375112" y="1075042"/>
                  <a:pt x="1379909" y="1078167"/>
                  <a:pt x="1376973" y="1083590"/>
                </a:cubicBezTo>
                <a:cubicBezTo>
                  <a:pt x="1375712" y="1084977"/>
                  <a:pt x="1375712" y="1084977"/>
                  <a:pt x="1374155" y="1085250"/>
                </a:cubicBezTo>
                <a:cubicBezTo>
                  <a:pt x="1371367" y="1086803"/>
                  <a:pt x="1370383" y="1088264"/>
                  <a:pt x="1366452" y="1087441"/>
                </a:cubicBezTo>
                <a:cubicBezTo>
                  <a:pt x="1363685" y="1086699"/>
                  <a:pt x="1362226" y="1085503"/>
                  <a:pt x="1361988" y="1084175"/>
                </a:cubicBezTo>
                <a:cubicBezTo>
                  <a:pt x="1361503" y="1082665"/>
                  <a:pt x="1362211" y="1081130"/>
                  <a:pt x="1363062" y="1079058"/>
                </a:cubicBezTo>
                <a:cubicBezTo>
                  <a:pt x="1365014" y="1075095"/>
                  <a:pt x="1370196" y="1075679"/>
                  <a:pt x="1372443" y="1072831"/>
                </a:cubicBezTo>
                <a:close/>
                <a:moveTo>
                  <a:pt x="1343381" y="1071715"/>
                </a:moveTo>
                <a:cubicBezTo>
                  <a:pt x="1349404" y="1071373"/>
                  <a:pt x="1355272" y="1072715"/>
                  <a:pt x="1355143" y="1077625"/>
                </a:cubicBezTo>
                <a:cubicBezTo>
                  <a:pt x="1355017" y="1079202"/>
                  <a:pt x="1354862" y="1080886"/>
                  <a:pt x="1353651" y="1079871"/>
                </a:cubicBezTo>
                <a:cubicBezTo>
                  <a:pt x="1352563" y="1080615"/>
                  <a:pt x="1351322" y="1079707"/>
                  <a:pt x="1348995" y="1079543"/>
                </a:cubicBezTo>
                <a:cubicBezTo>
                  <a:pt x="1345426" y="1078471"/>
                  <a:pt x="1342011" y="1075718"/>
                  <a:pt x="1342138" y="1074141"/>
                </a:cubicBezTo>
                <a:cubicBezTo>
                  <a:pt x="1342016" y="1072383"/>
                  <a:pt x="1343381" y="1071715"/>
                  <a:pt x="1343381" y="1071715"/>
                </a:cubicBezTo>
                <a:close/>
                <a:moveTo>
                  <a:pt x="1449438" y="1071037"/>
                </a:moveTo>
                <a:cubicBezTo>
                  <a:pt x="1453132" y="1070531"/>
                  <a:pt x="1454217" y="1073122"/>
                  <a:pt x="1454213" y="1076457"/>
                </a:cubicBezTo>
                <a:cubicBezTo>
                  <a:pt x="1456535" y="1083289"/>
                  <a:pt x="1454231" y="1086351"/>
                  <a:pt x="1446969" y="1085786"/>
                </a:cubicBezTo>
                <a:lnTo>
                  <a:pt x="1445320" y="1084194"/>
                </a:lnTo>
                <a:lnTo>
                  <a:pt x="1448633" y="1091751"/>
                </a:lnTo>
                <a:lnTo>
                  <a:pt x="1439936" y="1093216"/>
                </a:lnTo>
                <a:lnTo>
                  <a:pt x="1440757" y="1094586"/>
                </a:lnTo>
                <a:cubicBezTo>
                  <a:pt x="1439390" y="1095255"/>
                  <a:pt x="1439541" y="1096905"/>
                  <a:pt x="1438453" y="1097648"/>
                </a:cubicBezTo>
                <a:cubicBezTo>
                  <a:pt x="1437212" y="1096741"/>
                  <a:pt x="1433701" y="1095455"/>
                  <a:pt x="1434762" y="1094819"/>
                </a:cubicBezTo>
                <a:lnTo>
                  <a:pt x="1434934" y="1094176"/>
                </a:lnTo>
                <a:lnTo>
                  <a:pt x="1412901" y="1097817"/>
                </a:lnTo>
                <a:lnTo>
                  <a:pt x="1413006" y="1098535"/>
                </a:lnTo>
                <a:cubicBezTo>
                  <a:pt x="1412380" y="1103083"/>
                  <a:pt x="1406696" y="1108805"/>
                  <a:pt x="1398836" y="1103824"/>
                </a:cubicBezTo>
                <a:cubicBezTo>
                  <a:pt x="1397539" y="1103131"/>
                  <a:pt x="1396997" y="1101836"/>
                  <a:pt x="1397371" y="1100441"/>
                </a:cubicBezTo>
                <a:lnTo>
                  <a:pt x="1375061" y="1104009"/>
                </a:lnTo>
                <a:cubicBezTo>
                  <a:pt x="1383966" y="1086269"/>
                  <a:pt x="1416219" y="1084330"/>
                  <a:pt x="1441327" y="1078063"/>
                </a:cubicBezTo>
                <a:lnTo>
                  <a:pt x="1442366" y="1079721"/>
                </a:lnTo>
                <a:lnTo>
                  <a:pt x="1442951" y="1076428"/>
                </a:lnTo>
                <a:cubicBezTo>
                  <a:pt x="1443411" y="1074711"/>
                  <a:pt x="1444425" y="1073143"/>
                  <a:pt x="1445878" y="1072153"/>
                </a:cubicBezTo>
                <a:cubicBezTo>
                  <a:pt x="1446661" y="1071442"/>
                  <a:pt x="1447939" y="1071095"/>
                  <a:pt x="1449438" y="1071037"/>
                </a:cubicBezTo>
                <a:close/>
                <a:moveTo>
                  <a:pt x="1305293" y="1068869"/>
                </a:moveTo>
                <a:cubicBezTo>
                  <a:pt x="1306992" y="1068059"/>
                  <a:pt x="1306676" y="1069239"/>
                  <a:pt x="1308308" y="1069791"/>
                </a:cubicBezTo>
                <a:cubicBezTo>
                  <a:pt x="1307334" y="1070105"/>
                  <a:pt x="1306971" y="1070353"/>
                  <a:pt x="1306723" y="1070171"/>
                </a:cubicBezTo>
                <a:cubicBezTo>
                  <a:pt x="1306170" y="1070023"/>
                  <a:pt x="1305951" y="1069735"/>
                  <a:pt x="1305293" y="1068869"/>
                </a:cubicBezTo>
                <a:close/>
                <a:moveTo>
                  <a:pt x="5366428" y="1068096"/>
                </a:moveTo>
                <a:cubicBezTo>
                  <a:pt x="5373979" y="1067589"/>
                  <a:pt x="5388011" y="1073879"/>
                  <a:pt x="5368995" y="1078444"/>
                </a:cubicBezTo>
                <a:cubicBezTo>
                  <a:pt x="5364617" y="1074855"/>
                  <a:pt x="5362892" y="1072438"/>
                  <a:pt x="5362771" y="1070681"/>
                </a:cubicBezTo>
                <a:cubicBezTo>
                  <a:pt x="5362620" y="1069030"/>
                  <a:pt x="5364290" y="1068328"/>
                  <a:pt x="5366428" y="1068096"/>
                </a:cubicBezTo>
                <a:close/>
                <a:moveTo>
                  <a:pt x="5627494" y="1067783"/>
                </a:moveTo>
                <a:cubicBezTo>
                  <a:pt x="5632007" y="1077502"/>
                  <a:pt x="5632305" y="1084136"/>
                  <a:pt x="5620134" y="1086395"/>
                </a:cubicBezTo>
                <a:cubicBezTo>
                  <a:pt x="5614172" y="1083188"/>
                  <a:pt x="5613414" y="1078270"/>
                  <a:pt x="5615366" y="1074307"/>
                </a:cubicBezTo>
                <a:cubicBezTo>
                  <a:pt x="5617317" y="1070345"/>
                  <a:pt x="5621978" y="1067339"/>
                  <a:pt x="5627494" y="1067783"/>
                </a:cubicBezTo>
                <a:close/>
                <a:moveTo>
                  <a:pt x="5947562" y="1067523"/>
                </a:moveTo>
                <a:cubicBezTo>
                  <a:pt x="5948813" y="1067282"/>
                  <a:pt x="5950006" y="1067258"/>
                  <a:pt x="5951026" y="1067875"/>
                </a:cubicBezTo>
                <a:cubicBezTo>
                  <a:pt x="5951016" y="1069024"/>
                  <a:pt x="5952762" y="1069147"/>
                  <a:pt x="5952751" y="1070293"/>
                </a:cubicBezTo>
                <a:cubicBezTo>
                  <a:pt x="5954781" y="1072677"/>
                  <a:pt x="5954742" y="1073932"/>
                  <a:pt x="5953233" y="1075138"/>
                </a:cubicBezTo>
                <a:cubicBezTo>
                  <a:pt x="5953499" y="1076358"/>
                  <a:pt x="5951752" y="1076236"/>
                  <a:pt x="5950271" y="1077334"/>
                </a:cubicBezTo>
                <a:cubicBezTo>
                  <a:pt x="5948496" y="1077318"/>
                  <a:pt x="5946732" y="1076155"/>
                  <a:pt x="5946732" y="1076155"/>
                </a:cubicBezTo>
                <a:cubicBezTo>
                  <a:pt x="5944996" y="1074886"/>
                  <a:pt x="5944996" y="1074886"/>
                  <a:pt x="5943211" y="1076017"/>
                </a:cubicBezTo>
                <a:cubicBezTo>
                  <a:pt x="5943211" y="1076017"/>
                  <a:pt x="5943221" y="1074869"/>
                  <a:pt x="5943221" y="1074869"/>
                </a:cubicBezTo>
                <a:cubicBezTo>
                  <a:pt x="5944996" y="1074886"/>
                  <a:pt x="5943221" y="1074869"/>
                  <a:pt x="5941485" y="1073600"/>
                </a:cubicBezTo>
                <a:cubicBezTo>
                  <a:pt x="5942700" y="1071280"/>
                  <a:pt x="5942739" y="1070026"/>
                  <a:pt x="5944220" y="1068928"/>
                </a:cubicBezTo>
                <a:cubicBezTo>
                  <a:pt x="5944975" y="1068324"/>
                  <a:pt x="5946312" y="1067763"/>
                  <a:pt x="5947562" y="1067523"/>
                </a:cubicBezTo>
                <a:close/>
                <a:moveTo>
                  <a:pt x="4854683" y="1066906"/>
                </a:moveTo>
                <a:cubicBezTo>
                  <a:pt x="4856115" y="1065852"/>
                  <a:pt x="4858150" y="1066282"/>
                  <a:pt x="4860066" y="1067428"/>
                </a:cubicBezTo>
                <a:cubicBezTo>
                  <a:pt x="4861888" y="1068377"/>
                  <a:pt x="4863261" y="1069895"/>
                  <a:pt x="4864634" y="1071412"/>
                </a:cubicBezTo>
                <a:lnTo>
                  <a:pt x="4864576" y="1071627"/>
                </a:lnTo>
                <a:lnTo>
                  <a:pt x="4869557" y="1072962"/>
                </a:lnTo>
                <a:cubicBezTo>
                  <a:pt x="4871637" y="1072944"/>
                  <a:pt x="4873690" y="1073034"/>
                  <a:pt x="4876197" y="1074741"/>
                </a:cubicBezTo>
                <a:cubicBezTo>
                  <a:pt x="4876604" y="1078759"/>
                  <a:pt x="4872224" y="1078506"/>
                  <a:pt x="4868464" y="1077039"/>
                </a:cubicBezTo>
                <a:lnTo>
                  <a:pt x="4866424" y="1075803"/>
                </a:lnTo>
                <a:lnTo>
                  <a:pt x="4863214" y="1077816"/>
                </a:lnTo>
                <a:cubicBezTo>
                  <a:pt x="4861133" y="1077834"/>
                  <a:pt x="4857756" y="1077159"/>
                  <a:pt x="4852918" y="1075289"/>
                </a:cubicBezTo>
                <a:cubicBezTo>
                  <a:pt x="4852423" y="1070498"/>
                  <a:pt x="4853251" y="1067960"/>
                  <a:pt x="4854683" y="1066906"/>
                </a:cubicBezTo>
                <a:close/>
                <a:moveTo>
                  <a:pt x="1772852" y="1066039"/>
                </a:moveTo>
                <a:cubicBezTo>
                  <a:pt x="1772852" y="1066039"/>
                  <a:pt x="1772852" y="1066039"/>
                  <a:pt x="1774196" y="1067664"/>
                </a:cubicBezTo>
                <a:cubicBezTo>
                  <a:pt x="1769714" y="1072213"/>
                  <a:pt x="1772065" y="1078937"/>
                  <a:pt x="1765894" y="1083150"/>
                </a:cubicBezTo>
                <a:cubicBezTo>
                  <a:pt x="1764550" y="1081525"/>
                  <a:pt x="1761873" y="1077127"/>
                  <a:pt x="1765780" y="1074724"/>
                </a:cubicBezTo>
                <a:cubicBezTo>
                  <a:pt x="1769685" y="1072320"/>
                  <a:pt x="1768946" y="1068442"/>
                  <a:pt x="1772852" y="1066039"/>
                </a:cubicBezTo>
                <a:close/>
                <a:moveTo>
                  <a:pt x="5460720" y="1064840"/>
                </a:moveTo>
                <a:cubicBezTo>
                  <a:pt x="5464439" y="1067563"/>
                  <a:pt x="5466718" y="1070128"/>
                  <a:pt x="5470437" y="1072849"/>
                </a:cubicBezTo>
                <a:cubicBezTo>
                  <a:pt x="5469222" y="1075170"/>
                  <a:pt x="5467332" y="1075582"/>
                  <a:pt x="5465090" y="1075097"/>
                </a:cubicBezTo>
                <a:cubicBezTo>
                  <a:pt x="5462570" y="1074537"/>
                  <a:pt x="5459976" y="1073152"/>
                  <a:pt x="5457382" y="1071766"/>
                </a:cubicBezTo>
                <a:cubicBezTo>
                  <a:pt x="5458596" y="1069447"/>
                  <a:pt x="5456595" y="1066956"/>
                  <a:pt x="5460720" y="1064840"/>
                </a:cubicBezTo>
                <a:close/>
                <a:moveTo>
                  <a:pt x="1191797" y="1064103"/>
                </a:moveTo>
                <a:cubicBezTo>
                  <a:pt x="1193429" y="1064655"/>
                  <a:pt x="1195624" y="1064208"/>
                  <a:pt x="1197256" y="1064760"/>
                </a:cubicBezTo>
                <a:cubicBezTo>
                  <a:pt x="1199581" y="1068259"/>
                  <a:pt x="1195150" y="1070406"/>
                  <a:pt x="1193548" y="1069747"/>
                </a:cubicBezTo>
                <a:cubicBezTo>
                  <a:pt x="1192231" y="1068014"/>
                  <a:pt x="1193113" y="1065835"/>
                  <a:pt x="1191797" y="1064103"/>
                </a:cubicBezTo>
                <a:close/>
                <a:moveTo>
                  <a:pt x="1354280" y="1063134"/>
                </a:moveTo>
                <a:cubicBezTo>
                  <a:pt x="1357867" y="1065246"/>
                  <a:pt x="1354367" y="1071667"/>
                  <a:pt x="1349893" y="1069548"/>
                </a:cubicBezTo>
                <a:cubicBezTo>
                  <a:pt x="1348291" y="1068889"/>
                  <a:pt x="1346640" y="1067298"/>
                  <a:pt x="1344811" y="1064162"/>
                </a:cubicBezTo>
                <a:cubicBezTo>
                  <a:pt x="1349767" y="1062270"/>
                  <a:pt x="1352459" y="1062187"/>
                  <a:pt x="1354280" y="1063134"/>
                </a:cubicBezTo>
                <a:close/>
                <a:moveTo>
                  <a:pt x="1362298" y="1063098"/>
                </a:moveTo>
                <a:lnTo>
                  <a:pt x="1362139" y="1068115"/>
                </a:lnTo>
                <a:cubicBezTo>
                  <a:pt x="1360975" y="1068033"/>
                  <a:pt x="1359591" y="1067662"/>
                  <a:pt x="1358237" y="1067184"/>
                </a:cubicBezTo>
                <a:cubicBezTo>
                  <a:pt x="1357187" y="1066673"/>
                  <a:pt x="1356472" y="1066022"/>
                  <a:pt x="1356397" y="1065196"/>
                </a:cubicBezTo>
                <a:cubicBezTo>
                  <a:pt x="1355854" y="1063901"/>
                  <a:pt x="1356523" y="1063620"/>
                  <a:pt x="1357746" y="1063488"/>
                </a:cubicBezTo>
                <a:cubicBezTo>
                  <a:pt x="1358967" y="1063355"/>
                  <a:pt x="1360712" y="1063478"/>
                  <a:pt x="1362298" y="1063098"/>
                </a:cubicBezTo>
                <a:close/>
                <a:moveTo>
                  <a:pt x="5182506" y="1062745"/>
                </a:moveTo>
                <a:cubicBezTo>
                  <a:pt x="5184339" y="1062546"/>
                  <a:pt x="5186334" y="1062850"/>
                  <a:pt x="5188242" y="1063476"/>
                </a:cubicBezTo>
                <a:cubicBezTo>
                  <a:pt x="5189977" y="1064746"/>
                  <a:pt x="5189977" y="1064746"/>
                  <a:pt x="5191742" y="1065910"/>
                </a:cubicBezTo>
                <a:cubicBezTo>
                  <a:pt x="5191997" y="1068278"/>
                  <a:pt x="5194056" y="1070554"/>
                  <a:pt x="5192812" y="1072981"/>
                </a:cubicBezTo>
                <a:cubicBezTo>
                  <a:pt x="5189546" y="1075211"/>
                  <a:pt x="5181015" y="1073845"/>
                  <a:pt x="5177475" y="1072667"/>
                </a:cubicBezTo>
                <a:cubicBezTo>
                  <a:pt x="5175740" y="1071396"/>
                  <a:pt x="5175226" y="1069994"/>
                  <a:pt x="5175351" y="1068418"/>
                </a:cubicBezTo>
                <a:cubicBezTo>
                  <a:pt x="5175725" y="1067022"/>
                  <a:pt x="5176710" y="1065562"/>
                  <a:pt x="5178467" y="1064537"/>
                </a:cubicBezTo>
                <a:cubicBezTo>
                  <a:pt x="5179089" y="1063324"/>
                  <a:pt x="5180702" y="1062836"/>
                  <a:pt x="5182506" y="1062745"/>
                </a:cubicBezTo>
                <a:close/>
                <a:moveTo>
                  <a:pt x="4921491" y="1060657"/>
                </a:moveTo>
                <a:cubicBezTo>
                  <a:pt x="4925523" y="1065533"/>
                  <a:pt x="4929526" y="1070516"/>
                  <a:pt x="4924237" y="1072547"/>
                </a:cubicBezTo>
                <a:cubicBezTo>
                  <a:pt x="4915993" y="1070109"/>
                  <a:pt x="4912317" y="1062799"/>
                  <a:pt x="4921491" y="1060657"/>
                </a:cubicBezTo>
                <a:close/>
                <a:moveTo>
                  <a:pt x="2211946" y="1057652"/>
                </a:moveTo>
                <a:cubicBezTo>
                  <a:pt x="2219644" y="1053275"/>
                  <a:pt x="2225483" y="1063579"/>
                  <a:pt x="2224039" y="1066757"/>
                </a:cubicBezTo>
                <a:cubicBezTo>
                  <a:pt x="2222311" y="1067674"/>
                  <a:pt x="2220534" y="1067657"/>
                  <a:pt x="2218904" y="1067106"/>
                </a:cubicBezTo>
                <a:cubicBezTo>
                  <a:pt x="2214200" y="1065845"/>
                  <a:pt x="2210732" y="1059971"/>
                  <a:pt x="2211946" y="1057652"/>
                </a:cubicBezTo>
                <a:close/>
                <a:moveTo>
                  <a:pt x="1807201" y="1056828"/>
                </a:moveTo>
                <a:cubicBezTo>
                  <a:pt x="1810879" y="1056936"/>
                  <a:pt x="1814999" y="1057610"/>
                  <a:pt x="1819284" y="1057665"/>
                </a:cubicBezTo>
                <a:cubicBezTo>
                  <a:pt x="1819856" y="1058853"/>
                  <a:pt x="1821954" y="1059875"/>
                  <a:pt x="1823511" y="1059603"/>
                </a:cubicBezTo>
                <a:cubicBezTo>
                  <a:pt x="1825638" y="1060517"/>
                  <a:pt x="1827737" y="1061539"/>
                  <a:pt x="1827442" y="1060426"/>
                </a:cubicBezTo>
                <a:cubicBezTo>
                  <a:pt x="1833795" y="1063278"/>
                  <a:pt x="1835353" y="1063006"/>
                  <a:pt x="1834957" y="1066694"/>
                </a:cubicBezTo>
                <a:cubicBezTo>
                  <a:pt x="1821470" y="1067220"/>
                  <a:pt x="1804960" y="1064637"/>
                  <a:pt x="1801305" y="1063888"/>
                </a:cubicBezTo>
                <a:cubicBezTo>
                  <a:pt x="1799342" y="1063476"/>
                  <a:pt x="1798291" y="1062965"/>
                  <a:pt x="1797881" y="1062279"/>
                </a:cubicBezTo>
                <a:cubicBezTo>
                  <a:pt x="1797472" y="1061595"/>
                  <a:pt x="1797425" y="1060662"/>
                  <a:pt x="1797770" y="1059376"/>
                </a:cubicBezTo>
                <a:cubicBezTo>
                  <a:pt x="1800287" y="1057175"/>
                  <a:pt x="1803523" y="1056719"/>
                  <a:pt x="1807201" y="1056828"/>
                </a:cubicBezTo>
                <a:close/>
                <a:moveTo>
                  <a:pt x="5728685" y="1056485"/>
                </a:moveTo>
                <a:cubicBezTo>
                  <a:pt x="5739272" y="1063462"/>
                  <a:pt x="5729425" y="1069220"/>
                  <a:pt x="5722842" y="1067225"/>
                </a:cubicBezTo>
                <a:cubicBezTo>
                  <a:pt x="5717179" y="1061798"/>
                  <a:pt x="5721786" y="1055672"/>
                  <a:pt x="5728685" y="1056485"/>
                </a:cubicBezTo>
                <a:close/>
                <a:moveTo>
                  <a:pt x="5440830" y="1056061"/>
                </a:moveTo>
                <a:cubicBezTo>
                  <a:pt x="5440830" y="1056061"/>
                  <a:pt x="5440830" y="1056061"/>
                  <a:pt x="5436097" y="1063763"/>
                </a:cubicBezTo>
                <a:cubicBezTo>
                  <a:pt x="5435077" y="1063145"/>
                  <a:pt x="5434915" y="1062641"/>
                  <a:pt x="5435116" y="1061890"/>
                </a:cubicBezTo>
                <a:cubicBezTo>
                  <a:pt x="5435288" y="1061247"/>
                  <a:pt x="5436043" y="1060643"/>
                  <a:pt x="5436798" y="1060041"/>
                </a:cubicBezTo>
                <a:cubicBezTo>
                  <a:pt x="5438059" y="1058653"/>
                  <a:pt x="5439568" y="1057448"/>
                  <a:pt x="5440830" y="1056061"/>
                </a:cubicBezTo>
                <a:close/>
                <a:moveTo>
                  <a:pt x="5156946" y="1055205"/>
                </a:moveTo>
                <a:cubicBezTo>
                  <a:pt x="5156946" y="1055205"/>
                  <a:pt x="5156946" y="1055205"/>
                  <a:pt x="5153290" y="1063312"/>
                </a:cubicBezTo>
                <a:cubicBezTo>
                  <a:pt x="5152242" y="1062800"/>
                  <a:pt x="5151832" y="1062115"/>
                  <a:pt x="5152005" y="1061471"/>
                </a:cubicBezTo>
                <a:cubicBezTo>
                  <a:pt x="5152177" y="1060828"/>
                  <a:pt x="5152932" y="1060224"/>
                  <a:pt x="5153409" y="1059548"/>
                </a:cubicBezTo>
                <a:cubicBezTo>
                  <a:pt x="5154670" y="1058161"/>
                  <a:pt x="5155684" y="1056592"/>
                  <a:pt x="5156946" y="1055205"/>
                </a:cubicBezTo>
                <a:close/>
                <a:moveTo>
                  <a:pt x="2238798" y="1054842"/>
                </a:moveTo>
                <a:cubicBezTo>
                  <a:pt x="2239886" y="1054098"/>
                  <a:pt x="2245629" y="1057017"/>
                  <a:pt x="2245751" y="1058774"/>
                </a:cubicBezTo>
                <a:cubicBezTo>
                  <a:pt x="2246711" y="1062942"/>
                  <a:pt x="2240992" y="1063250"/>
                  <a:pt x="2234844" y="1065167"/>
                </a:cubicBezTo>
                <a:cubicBezTo>
                  <a:pt x="2234971" y="1063591"/>
                  <a:pt x="2232671" y="1063320"/>
                  <a:pt x="2230342" y="1063155"/>
                </a:cubicBezTo>
                <a:cubicBezTo>
                  <a:pt x="2230115" y="1060680"/>
                  <a:pt x="2229680" y="1056769"/>
                  <a:pt x="2233329" y="1055331"/>
                </a:cubicBezTo>
                <a:cubicBezTo>
                  <a:pt x="2234636" y="1054876"/>
                  <a:pt x="2236193" y="1054603"/>
                  <a:pt x="2238798" y="1054842"/>
                </a:cubicBezTo>
                <a:close/>
                <a:moveTo>
                  <a:pt x="5145273" y="1054493"/>
                </a:moveTo>
                <a:cubicBezTo>
                  <a:pt x="5145273" y="1054493"/>
                  <a:pt x="5146934" y="1054938"/>
                  <a:pt x="5146934" y="1054938"/>
                </a:cubicBezTo>
                <a:cubicBezTo>
                  <a:pt x="5146589" y="1056226"/>
                  <a:pt x="5146273" y="1057406"/>
                  <a:pt x="5144890" y="1057034"/>
                </a:cubicBezTo>
                <a:cubicBezTo>
                  <a:pt x="5143229" y="1056590"/>
                  <a:pt x="5143574" y="1055303"/>
                  <a:pt x="5145273" y="1054493"/>
                </a:cubicBezTo>
                <a:close/>
                <a:moveTo>
                  <a:pt x="5128686" y="1054418"/>
                </a:moveTo>
                <a:cubicBezTo>
                  <a:pt x="5132829" y="1053344"/>
                  <a:pt x="5137504" y="1054712"/>
                  <a:pt x="5141062" y="1056929"/>
                </a:cubicBezTo>
                <a:lnTo>
                  <a:pt x="5145381" y="1060732"/>
                </a:lnTo>
                <a:lnTo>
                  <a:pt x="5147200" y="1065014"/>
                </a:lnTo>
                <a:cubicBezTo>
                  <a:pt x="5147016" y="1066806"/>
                  <a:pt x="5145974" y="1068481"/>
                  <a:pt x="5143053" y="1069423"/>
                </a:cubicBezTo>
                <a:lnTo>
                  <a:pt x="5141392" y="1068978"/>
                </a:lnTo>
                <a:lnTo>
                  <a:pt x="5140254" y="1072123"/>
                </a:lnTo>
                <a:cubicBezTo>
                  <a:pt x="5139114" y="1075268"/>
                  <a:pt x="5137726" y="1078232"/>
                  <a:pt x="5134938" y="1079784"/>
                </a:cubicBezTo>
                <a:cubicBezTo>
                  <a:pt x="5135226" y="1078711"/>
                  <a:pt x="5136203" y="1075064"/>
                  <a:pt x="5137792" y="1071349"/>
                </a:cubicBezTo>
                <a:lnTo>
                  <a:pt x="5139484" y="1068353"/>
                </a:lnTo>
                <a:lnTo>
                  <a:pt x="5137023" y="1067578"/>
                </a:lnTo>
                <a:cubicBezTo>
                  <a:pt x="5132997" y="1064889"/>
                  <a:pt x="5132908" y="1059691"/>
                  <a:pt x="5128686" y="1054418"/>
                </a:cubicBezTo>
                <a:close/>
                <a:moveTo>
                  <a:pt x="4897953" y="1053315"/>
                </a:moveTo>
                <a:cubicBezTo>
                  <a:pt x="4902248" y="1053890"/>
                  <a:pt x="4906261" y="1057726"/>
                  <a:pt x="4908996" y="1061909"/>
                </a:cubicBezTo>
                <a:lnTo>
                  <a:pt x="4909245" y="1062090"/>
                </a:lnTo>
                <a:lnTo>
                  <a:pt x="4909618" y="1060695"/>
                </a:lnTo>
                <a:cubicBezTo>
                  <a:pt x="4910275" y="1061562"/>
                  <a:pt x="4910218" y="1061776"/>
                  <a:pt x="4909884" y="1061917"/>
                </a:cubicBezTo>
                <a:lnTo>
                  <a:pt x="4909158" y="1062413"/>
                </a:lnTo>
                <a:lnTo>
                  <a:pt x="4911738" y="1068279"/>
                </a:lnTo>
                <a:cubicBezTo>
                  <a:pt x="4911832" y="1070143"/>
                  <a:pt x="4911677" y="1071828"/>
                  <a:pt x="4910750" y="1073074"/>
                </a:cubicBezTo>
                <a:cubicBezTo>
                  <a:pt x="4906416" y="1073753"/>
                  <a:pt x="4902359" y="1074505"/>
                  <a:pt x="4898302" y="1075259"/>
                </a:cubicBezTo>
                <a:cubicBezTo>
                  <a:pt x="4890029" y="1072927"/>
                  <a:pt x="4884567" y="1066748"/>
                  <a:pt x="4885060" y="1061590"/>
                </a:cubicBezTo>
                <a:cubicBezTo>
                  <a:pt x="4885243" y="1059799"/>
                  <a:pt x="4885980" y="1058157"/>
                  <a:pt x="4887518" y="1056843"/>
                </a:cubicBezTo>
                <a:cubicBezTo>
                  <a:pt x="4889505" y="1054961"/>
                  <a:pt x="4892848" y="1053557"/>
                  <a:pt x="4897953" y="1053315"/>
                </a:cubicBezTo>
                <a:close/>
                <a:moveTo>
                  <a:pt x="1125324" y="1053191"/>
                </a:moveTo>
                <a:lnTo>
                  <a:pt x="1134901" y="1058402"/>
                </a:lnTo>
                <a:lnTo>
                  <a:pt x="1136179" y="1058055"/>
                </a:lnTo>
                <a:cubicBezTo>
                  <a:pt x="1141886" y="1058894"/>
                  <a:pt x="1145764" y="1065453"/>
                  <a:pt x="1144919" y="1069712"/>
                </a:cubicBezTo>
                <a:lnTo>
                  <a:pt x="1143094" y="1072099"/>
                </a:lnTo>
                <a:lnTo>
                  <a:pt x="1143255" y="1072601"/>
                </a:lnTo>
                <a:cubicBezTo>
                  <a:pt x="1140952" y="1075665"/>
                  <a:pt x="1140168" y="1076374"/>
                  <a:pt x="1134999" y="1074643"/>
                </a:cubicBezTo>
                <a:cubicBezTo>
                  <a:pt x="1133366" y="1074092"/>
                  <a:pt x="1131182" y="1073390"/>
                  <a:pt x="1128223" y="1072254"/>
                </a:cubicBezTo>
                <a:cubicBezTo>
                  <a:pt x="1126096" y="1071338"/>
                  <a:pt x="1124083" y="1069994"/>
                  <a:pt x="1123016" y="1068444"/>
                </a:cubicBezTo>
                <a:cubicBezTo>
                  <a:pt x="1121644" y="1066926"/>
                  <a:pt x="1120911" y="1065234"/>
                  <a:pt x="1121095" y="1063443"/>
                </a:cubicBezTo>
                <a:cubicBezTo>
                  <a:pt x="1118395" y="1061340"/>
                  <a:pt x="1116957" y="1057850"/>
                  <a:pt x="1117619" y="1055382"/>
                </a:cubicBezTo>
                <a:cubicBezTo>
                  <a:pt x="1119837" y="1052641"/>
                  <a:pt x="1123196" y="1052276"/>
                  <a:pt x="1125324" y="1053191"/>
                </a:cubicBezTo>
                <a:close/>
                <a:moveTo>
                  <a:pt x="1797805" y="1052600"/>
                </a:moveTo>
                <a:cubicBezTo>
                  <a:pt x="1797805" y="1052600"/>
                  <a:pt x="1799437" y="1053152"/>
                  <a:pt x="1800534" y="1054595"/>
                </a:cubicBezTo>
                <a:cubicBezTo>
                  <a:pt x="1800534" y="1054595"/>
                  <a:pt x="1800199" y="1054736"/>
                  <a:pt x="1799617" y="1054695"/>
                </a:cubicBezTo>
                <a:cubicBezTo>
                  <a:pt x="1799006" y="1054761"/>
                  <a:pt x="1798206" y="1054432"/>
                  <a:pt x="1797518" y="1053672"/>
                </a:cubicBezTo>
                <a:cubicBezTo>
                  <a:pt x="1797518" y="1053672"/>
                  <a:pt x="1797518" y="1053672"/>
                  <a:pt x="1797805" y="1052600"/>
                </a:cubicBezTo>
                <a:close/>
                <a:moveTo>
                  <a:pt x="1728804" y="1050987"/>
                </a:moveTo>
                <a:cubicBezTo>
                  <a:pt x="1741535" y="1052867"/>
                  <a:pt x="1755094" y="1062861"/>
                  <a:pt x="1761585" y="1069345"/>
                </a:cubicBezTo>
                <a:cubicBezTo>
                  <a:pt x="1754276" y="1067846"/>
                  <a:pt x="1746662" y="1066382"/>
                  <a:pt x="1739001" y="1063983"/>
                </a:cubicBezTo>
                <a:cubicBezTo>
                  <a:pt x="1731645" y="1061553"/>
                  <a:pt x="1723965" y="1058115"/>
                  <a:pt x="1716641" y="1052242"/>
                </a:cubicBezTo>
                <a:cubicBezTo>
                  <a:pt x="1720409" y="1050635"/>
                  <a:pt x="1724560" y="1050361"/>
                  <a:pt x="1728804" y="1050987"/>
                </a:cubicBezTo>
                <a:close/>
                <a:moveTo>
                  <a:pt x="5080205" y="1050514"/>
                </a:moveTo>
                <a:cubicBezTo>
                  <a:pt x="5096042" y="1056712"/>
                  <a:pt x="5094497" y="1073547"/>
                  <a:pt x="5089914" y="1082900"/>
                </a:cubicBezTo>
                <a:lnTo>
                  <a:pt x="5083374" y="1076318"/>
                </a:lnTo>
                <a:lnTo>
                  <a:pt x="5080931" y="1076584"/>
                </a:lnTo>
                <a:cubicBezTo>
                  <a:pt x="5079737" y="1076609"/>
                  <a:pt x="5078354" y="1076238"/>
                  <a:pt x="5074146" y="1075340"/>
                </a:cubicBezTo>
                <a:cubicBezTo>
                  <a:pt x="5073902" y="1071824"/>
                  <a:pt x="5073380" y="1068235"/>
                  <a:pt x="5073108" y="1064827"/>
                </a:cubicBezTo>
                <a:cubicBezTo>
                  <a:pt x="5074738" y="1065379"/>
                  <a:pt x="5076457" y="1065609"/>
                  <a:pt x="5077926" y="1065658"/>
                </a:cubicBezTo>
                <a:lnTo>
                  <a:pt x="5078537" y="1065592"/>
                </a:lnTo>
                <a:close/>
                <a:moveTo>
                  <a:pt x="1361597" y="1049110"/>
                </a:moveTo>
                <a:cubicBezTo>
                  <a:pt x="1363926" y="1049274"/>
                  <a:pt x="1369795" y="1050616"/>
                  <a:pt x="1368429" y="1051285"/>
                </a:cubicBezTo>
                <a:cubicBezTo>
                  <a:pt x="1368579" y="1052936"/>
                  <a:pt x="1369669" y="1052192"/>
                  <a:pt x="1370879" y="1053207"/>
                </a:cubicBezTo>
                <a:cubicBezTo>
                  <a:pt x="1370750" y="1058117"/>
                  <a:pt x="1368418" y="1061287"/>
                  <a:pt x="1362701" y="1061595"/>
                </a:cubicBezTo>
                <a:cubicBezTo>
                  <a:pt x="1360094" y="1061357"/>
                  <a:pt x="1357184" y="1061152"/>
                  <a:pt x="1354723" y="1060377"/>
                </a:cubicBezTo>
                <a:cubicBezTo>
                  <a:pt x="1352233" y="1059711"/>
                  <a:pt x="1349916" y="1058399"/>
                  <a:pt x="1349297" y="1056279"/>
                </a:cubicBezTo>
                <a:cubicBezTo>
                  <a:pt x="1350662" y="1055610"/>
                  <a:pt x="1349451" y="1054594"/>
                  <a:pt x="1350816" y="1053926"/>
                </a:cubicBezTo>
                <a:cubicBezTo>
                  <a:pt x="1350816" y="1053926"/>
                  <a:pt x="1351410" y="1052820"/>
                  <a:pt x="1352948" y="1051507"/>
                </a:cubicBezTo>
                <a:cubicBezTo>
                  <a:pt x="1354734" y="1050376"/>
                  <a:pt x="1357437" y="1049145"/>
                  <a:pt x="1361597" y="1049110"/>
                </a:cubicBezTo>
                <a:close/>
                <a:moveTo>
                  <a:pt x="5146464" y="1048946"/>
                </a:moveTo>
                <a:cubicBezTo>
                  <a:pt x="5148411" y="1048319"/>
                  <a:pt x="5148411" y="1048319"/>
                  <a:pt x="5151426" y="1049242"/>
                </a:cubicBezTo>
                <a:cubicBezTo>
                  <a:pt x="5149122" y="1052304"/>
                  <a:pt x="5149122" y="1052304"/>
                  <a:pt x="5145503" y="1053635"/>
                </a:cubicBezTo>
                <a:cubicBezTo>
                  <a:pt x="5145791" y="1052561"/>
                  <a:pt x="5144763" y="1049757"/>
                  <a:pt x="5146464" y="1048946"/>
                </a:cubicBezTo>
                <a:close/>
                <a:moveTo>
                  <a:pt x="1662644" y="1047893"/>
                </a:moveTo>
                <a:cubicBezTo>
                  <a:pt x="1664743" y="1048915"/>
                  <a:pt x="1665039" y="1050030"/>
                  <a:pt x="1667165" y="1050946"/>
                </a:cubicBezTo>
                <a:cubicBezTo>
                  <a:pt x="1668998" y="1050746"/>
                  <a:pt x="1672081" y="1050307"/>
                  <a:pt x="1674180" y="1051330"/>
                </a:cubicBezTo>
                <a:lnTo>
                  <a:pt x="1675725" y="1052204"/>
                </a:lnTo>
                <a:lnTo>
                  <a:pt x="1676013" y="1051131"/>
                </a:lnTo>
                <a:cubicBezTo>
                  <a:pt x="1690851" y="1054416"/>
                  <a:pt x="1706745" y="1060401"/>
                  <a:pt x="1721066" y="1074473"/>
                </a:cubicBezTo>
                <a:cubicBezTo>
                  <a:pt x="1720130" y="1082387"/>
                  <a:pt x="1711664" y="1082994"/>
                  <a:pt x="1702123" y="1079862"/>
                </a:cubicBezTo>
                <a:cubicBezTo>
                  <a:pt x="1690426" y="1075923"/>
                  <a:pt x="1677256" y="1066414"/>
                  <a:pt x="1674669" y="1058361"/>
                </a:cubicBezTo>
                <a:lnTo>
                  <a:pt x="1675542" y="1053995"/>
                </a:lnTo>
                <a:lnTo>
                  <a:pt x="1674464" y="1053591"/>
                </a:lnTo>
                <a:cubicBezTo>
                  <a:pt x="1674216" y="1053409"/>
                  <a:pt x="1673996" y="1053121"/>
                  <a:pt x="1672947" y="1052610"/>
                </a:cubicBezTo>
                <a:cubicBezTo>
                  <a:pt x="1670849" y="1051587"/>
                  <a:pt x="1661954" y="1050469"/>
                  <a:pt x="1660724" y="1051749"/>
                </a:cubicBezTo>
                <a:cubicBezTo>
                  <a:pt x="1660427" y="1050635"/>
                  <a:pt x="1658328" y="1049612"/>
                  <a:pt x="1658328" y="1049612"/>
                </a:cubicBezTo>
                <a:cubicBezTo>
                  <a:pt x="1659561" y="1048332"/>
                  <a:pt x="1661088" y="1048167"/>
                  <a:pt x="1662644" y="1047893"/>
                </a:cubicBezTo>
                <a:close/>
                <a:moveTo>
                  <a:pt x="1631578" y="1047620"/>
                </a:moveTo>
                <a:cubicBezTo>
                  <a:pt x="1641102" y="1058566"/>
                  <a:pt x="1632039" y="1072469"/>
                  <a:pt x="1624578" y="1078175"/>
                </a:cubicBezTo>
                <a:cubicBezTo>
                  <a:pt x="1622051" y="1075427"/>
                  <a:pt x="1620776" y="1072440"/>
                  <a:pt x="1620139" y="1069280"/>
                </a:cubicBezTo>
                <a:cubicBezTo>
                  <a:pt x="1618450" y="1060088"/>
                  <a:pt x="1623950" y="1050636"/>
                  <a:pt x="1631578" y="1047620"/>
                </a:cubicBezTo>
                <a:close/>
                <a:moveTo>
                  <a:pt x="5060042" y="1047180"/>
                </a:moveTo>
                <a:cubicBezTo>
                  <a:pt x="5065794" y="1048952"/>
                  <a:pt x="5064534" y="1050339"/>
                  <a:pt x="5062593" y="1053154"/>
                </a:cubicBezTo>
                <a:cubicBezTo>
                  <a:pt x="5060627" y="1052742"/>
                  <a:pt x="5059244" y="1052372"/>
                  <a:pt x="5058586" y="1051506"/>
                </a:cubicBezTo>
                <a:cubicBezTo>
                  <a:pt x="5057622" y="1050673"/>
                  <a:pt x="5057663" y="1049418"/>
                  <a:pt x="5058485" y="1047454"/>
                </a:cubicBezTo>
                <a:cubicBezTo>
                  <a:pt x="5058485" y="1047454"/>
                  <a:pt x="5060042" y="1047180"/>
                  <a:pt x="5060042" y="1047180"/>
                </a:cubicBezTo>
                <a:close/>
                <a:moveTo>
                  <a:pt x="1209913" y="1046302"/>
                </a:moveTo>
                <a:cubicBezTo>
                  <a:pt x="1215892" y="1050548"/>
                  <a:pt x="1220499" y="1053278"/>
                  <a:pt x="1226479" y="1057526"/>
                </a:cubicBezTo>
                <a:cubicBezTo>
                  <a:pt x="1227822" y="1059151"/>
                  <a:pt x="1230212" y="1064621"/>
                  <a:pt x="1228266" y="1065249"/>
                </a:cubicBezTo>
                <a:cubicBezTo>
                  <a:pt x="1226594" y="1065952"/>
                  <a:pt x="1224934" y="1065507"/>
                  <a:pt x="1223273" y="1065062"/>
                </a:cubicBezTo>
                <a:cubicBezTo>
                  <a:pt x="1220297" y="1062884"/>
                  <a:pt x="1217294" y="1060815"/>
                  <a:pt x="1214318" y="1058637"/>
                </a:cubicBezTo>
                <a:cubicBezTo>
                  <a:pt x="1210009" y="1053687"/>
                  <a:pt x="1205978" y="1048812"/>
                  <a:pt x="1209913" y="1046302"/>
                </a:cubicBezTo>
                <a:close/>
                <a:moveTo>
                  <a:pt x="1389232" y="1045589"/>
                </a:moveTo>
                <a:cubicBezTo>
                  <a:pt x="1395509" y="1047616"/>
                  <a:pt x="1402748" y="1044955"/>
                  <a:pt x="1405812" y="1052332"/>
                </a:cubicBezTo>
                <a:cubicBezTo>
                  <a:pt x="1403947" y="1055972"/>
                  <a:pt x="1398190" y="1057534"/>
                  <a:pt x="1393008" y="1056951"/>
                </a:cubicBezTo>
                <a:cubicBezTo>
                  <a:pt x="1391291" y="1056721"/>
                  <a:pt x="1389631" y="1056276"/>
                  <a:pt x="1388057" y="1055509"/>
                </a:cubicBezTo>
                <a:cubicBezTo>
                  <a:pt x="1385958" y="1054487"/>
                  <a:pt x="1383974" y="1053035"/>
                  <a:pt x="1382717" y="1051089"/>
                </a:cubicBezTo>
                <a:cubicBezTo>
                  <a:pt x="1385535" y="1049429"/>
                  <a:pt x="1386720" y="1047216"/>
                  <a:pt x="1389232" y="1045589"/>
                </a:cubicBezTo>
                <a:close/>
                <a:moveTo>
                  <a:pt x="4935089" y="1045325"/>
                </a:moveTo>
                <a:cubicBezTo>
                  <a:pt x="4945540" y="1055025"/>
                  <a:pt x="4961918" y="1071375"/>
                  <a:pt x="4963978" y="1082506"/>
                </a:cubicBezTo>
                <a:cubicBezTo>
                  <a:pt x="4961840" y="1082738"/>
                  <a:pt x="4959845" y="1082434"/>
                  <a:pt x="4957689" y="1081626"/>
                </a:cubicBezTo>
                <a:cubicBezTo>
                  <a:pt x="4954149" y="1080448"/>
                  <a:pt x="4950955" y="1077981"/>
                  <a:pt x="4948209" y="1074946"/>
                </a:cubicBezTo>
                <a:lnTo>
                  <a:pt x="4945227" y="1070582"/>
                </a:lnTo>
                <a:lnTo>
                  <a:pt x="4943451" y="1070566"/>
                </a:lnTo>
                <a:cubicBezTo>
                  <a:pt x="4939900" y="1070535"/>
                  <a:pt x="4936627" y="1070577"/>
                  <a:pt x="4933641" y="1069548"/>
                </a:cubicBezTo>
                <a:cubicBezTo>
                  <a:pt x="4932620" y="1068928"/>
                  <a:pt x="4931571" y="1068418"/>
                  <a:pt x="4931190" y="1067626"/>
                </a:cubicBezTo>
                <a:cubicBezTo>
                  <a:pt x="4930781" y="1066941"/>
                  <a:pt x="4931011" y="1066083"/>
                  <a:pt x="4932243" y="1064803"/>
                </a:cubicBezTo>
                <a:cubicBezTo>
                  <a:pt x="4933487" y="1062376"/>
                  <a:pt x="4935014" y="1062210"/>
                  <a:pt x="4940681" y="1064304"/>
                </a:cubicBezTo>
                <a:lnTo>
                  <a:pt x="4936455" y="1053511"/>
                </a:lnTo>
                <a:cubicBezTo>
                  <a:pt x="4935295" y="1050095"/>
                  <a:pt x="4934878" y="1047223"/>
                  <a:pt x="4935089" y="1045325"/>
                </a:cubicBezTo>
                <a:close/>
                <a:moveTo>
                  <a:pt x="2290290" y="1045293"/>
                </a:moveTo>
                <a:cubicBezTo>
                  <a:pt x="2295626" y="1044193"/>
                  <a:pt x="2303899" y="1046525"/>
                  <a:pt x="2308358" y="1053125"/>
                </a:cubicBezTo>
                <a:cubicBezTo>
                  <a:pt x="2306817" y="1057772"/>
                  <a:pt x="2303273" y="1059927"/>
                  <a:pt x="2301285" y="1061810"/>
                </a:cubicBezTo>
                <a:cubicBezTo>
                  <a:pt x="2296973" y="1060195"/>
                  <a:pt x="2293261" y="1059660"/>
                  <a:pt x="2288701" y="1057863"/>
                </a:cubicBezTo>
                <a:cubicBezTo>
                  <a:pt x="2282247" y="1050959"/>
                  <a:pt x="2284953" y="1046394"/>
                  <a:pt x="2290290" y="1045293"/>
                </a:cubicBezTo>
                <a:close/>
                <a:moveTo>
                  <a:pt x="1952031" y="1044818"/>
                </a:moveTo>
                <a:cubicBezTo>
                  <a:pt x="1955837" y="1047218"/>
                  <a:pt x="1957600" y="1048381"/>
                  <a:pt x="1958161" y="1050716"/>
                </a:cubicBezTo>
                <a:cubicBezTo>
                  <a:pt x="1959926" y="1051879"/>
                  <a:pt x="1961690" y="1053042"/>
                  <a:pt x="1962845" y="1054270"/>
                </a:cubicBezTo>
                <a:lnTo>
                  <a:pt x="1962736" y="1056886"/>
                </a:lnTo>
                <a:lnTo>
                  <a:pt x="1963196" y="1055170"/>
                </a:lnTo>
                <a:cubicBezTo>
                  <a:pt x="1963980" y="1054460"/>
                  <a:pt x="1964762" y="1053751"/>
                  <a:pt x="1965898" y="1053939"/>
                </a:cubicBezTo>
                <a:cubicBezTo>
                  <a:pt x="1967138" y="1054846"/>
                  <a:pt x="1968228" y="1054104"/>
                  <a:pt x="1969467" y="1055011"/>
                </a:cubicBezTo>
                <a:cubicBezTo>
                  <a:pt x="1973006" y="1056189"/>
                  <a:pt x="1974217" y="1057203"/>
                  <a:pt x="1974370" y="1058854"/>
                </a:cubicBezTo>
                <a:cubicBezTo>
                  <a:pt x="1975609" y="1059761"/>
                  <a:pt x="1974214" y="1060537"/>
                  <a:pt x="1974365" y="1062188"/>
                </a:cubicBezTo>
                <a:lnTo>
                  <a:pt x="1972503" y="1062494"/>
                </a:lnTo>
                <a:lnTo>
                  <a:pt x="1973599" y="1063937"/>
                </a:lnTo>
                <a:cubicBezTo>
                  <a:pt x="1974961" y="1066604"/>
                  <a:pt x="1975799" y="1069012"/>
                  <a:pt x="1975045" y="1069615"/>
                </a:cubicBezTo>
                <a:lnTo>
                  <a:pt x="1970718" y="1063626"/>
                </a:lnTo>
                <a:lnTo>
                  <a:pt x="1971130" y="1069832"/>
                </a:lnTo>
                <a:cubicBezTo>
                  <a:pt x="1970383" y="1072621"/>
                  <a:pt x="1968806" y="1075189"/>
                  <a:pt x="1966885" y="1075710"/>
                </a:cubicBezTo>
                <a:lnTo>
                  <a:pt x="1959093" y="1072701"/>
                </a:lnTo>
                <a:lnTo>
                  <a:pt x="1959501" y="1073385"/>
                </a:lnTo>
                <a:cubicBezTo>
                  <a:pt x="1953554" y="1083407"/>
                  <a:pt x="1939870" y="1081351"/>
                  <a:pt x="1927315" y="1077296"/>
                </a:cubicBezTo>
                <a:lnTo>
                  <a:pt x="1922973" y="1075788"/>
                </a:lnTo>
                <a:lnTo>
                  <a:pt x="1921826" y="1076746"/>
                </a:lnTo>
                <a:cubicBezTo>
                  <a:pt x="1920766" y="1077381"/>
                  <a:pt x="1919459" y="1077836"/>
                  <a:pt x="1918484" y="1078151"/>
                </a:cubicBezTo>
                <a:cubicBezTo>
                  <a:pt x="1918197" y="1079223"/>
                  <a:pt x="1916498" y="1080034"/>
                  <a:pt x="1914866" y="1079481"/>
                </a:cubicBezTo>
                <a:cubicBezTo>
                  <a:pt x="1914866" y="1079481"/>
                  <a:pt x="1912918" y="1080110"/>
                  <a:pt x="1912602" y="1081289"/>
                </a:cubicBezTo>
                <a:cubicBezTo>
                  <a:pt x="1908983" y="1082619"/>
                  <a:pt x="1907628" y="1082142"/>
                  <a:pt x="1905997" y="1081590"/>
                </a:cubicBezTo>
                <a:cubicBezTo>
                  <a:pt x="1905997" y="1081590"/>
                  <a:pt x="1907669" y="1080888"/>
                  <a:pt x="1907956" y="1079814"/>
                </a:cubicBezTo>
                <a:cubicBezTo>
                  <a:pt x="1907956" y="1079814"/>
                  <a:pt x="1909903" y="1079186"/>
                  <a:pt x="1911575" y="1078484"/>
                </a:cubicBezTo>
                <a:cubicBezTo>
                  <a:pt x="1911575" y="1078484"/>
                  <a:pt x="1911862" y="1077411"/>
                  <a:pt x="1912179" y="1076230"/>
                </a:cubicBezTo>
                <a:lnTo>
                  <a:pt x="1917030" y="1073620"/>
                </a:lnTo>
                <a:lnTo>
                  <a:pt x="1915675" y="1073143"/>
                </a:lnTo>
                <a:cubicBezTo>
                  <a:pt x="1908376" y="1070497"/>
                  <a:pt x="1900668" y="1067166"/>
                  <a:pt x="1898429" y="1063346"/>
                </a:cubicBezTo>
                <a:cubicBezTo>
                  <a:pt x="1897581" y="1062084"/>
                  <a:pt x="1897649" y="1060722"/>
                  <a:pt x="1898299" y="1059402"/>
                </a:cubicBezTo>
                <a:cubicBezTo>
                  <a:pt x="1899946" y="1055472"/>
                  <a:pt x="1905045" y="1053044"/>
                  <a:pt x="1911183" y="1052274"/>
                </a:cubicBezTo>
                <a:lnTo>
                  <a:pt x="1918619" y="1052196"/>
                </a:lnTo>
                <a:lnTo>
                  <a:pt x="1915965" y="1051024"/>
                </a:lnTo>
                <a:cubicBezTo>
                  <a:pt x="1913285" y="1049962"/>
                  <a:pt x="1911186" y="1048939"/>
                  <a:pt x="1911941" y="1048336"/>
                </a:cubicBezTo>
                <a:cubicBezTo>
                  <a:pt x="1911941" y="1048336"/>
                  <a:pt x="1914040" y="1049359"/>
                  <a:pt x="1916109" y="1050488"/>
                </a:cubicBezTo>
                <a:cubicBezTo>
                  <a:pt x="1918179" y="1051618"/>
                  <a:pt x="1918208" y="1051511"/>
                  <a:pt x="1919441" y="1050231"/>
                </a:cubicBezTo>
                <a:cubicBezTo>
                  <a:pt x="1920491" y="1050742"/>
                  <a:pt x="1920985" y="1051106"/>
                  <a:pt x="1921454" y="1051576"/>
                </a:cubicBezTo>
                <a:lnTo>
                  <a:pt x="1921805" y="1052475"/>
                </a:lnTo>
                <a:lnTo>
                  <a:pt x="1931824" y="1054930"/>
                </a:lnTo>
                <a:lnTo>
                  <a:pt x="1941297" y="1059423"/>
                </a:lnTo>
                <a:lnTo>
                  <a:pt x="1941573" y="1059497"/>
                </a:lnTo>
                <a:lnTo>
                  <a:pt x="1941545" y="1059603"/>
                </a:lnTo>
                <a:lnTo>
                  <a:pt x="1945246" y="1061287"/>
                </a:lnTo>
                <a:lnTo>
                  <a:pt x="1954887" y="1068470"/>
                </a:lnTo>
                <a:lnTo>
                  <a:pt x="1954478" y="1067784"/>
                </a:lnTo>
                <a:cubicBezTo>
                  <a:pt x="1953785" y="1064839"/>
                  <a:pt x="1956307" y="1062064"/>
                  <a:pt x="1960421" y="1061098"/>
                </a:cubicBezTo>
                <a:lnTo>
                  <a:pt x="1963915" y="1061342"/>
                </a:lnTo>
                <a:lnTo>
                  <a:pt x="1962201" y="1057779"/>
                </a:lnTo>
                <a:lnTo>
                  <a:pt x="1962230" y="1057671"/>
                </a:lnTo>
                <a:lnTo>
                  <a:pt x="1948623" y="1053106"/>
                </a:lnTo>
                <a:lnTo>
                  <a:pt x="1945706" y="1050713"/>
                </a:lnTo>
                <a:lnTo>
                  <a:pt x="1942051" y="1049965"/>
                </a:lnTo>
                <a:cubicBezTo>
                  <a:pt x="1942062" y="1048818"/>
                  <a:pt x="1942062" y="1048818"/>
                  <a:pt x="1943838" y="1048834"/>
                </a:cubicBezTo>
                <a:cubicBezTo>
                  <a:pt x="1943590" y="1048652"/>
                  <a:pt x="1943590" y="1048652"/>
                  <a:pt x="1943313" y="1048577"/>
                </a:cubicBezTo>
                <a:lnTo>
                  <a:pt x="1943953" y="1048404"/>
                </a:lnTo>
                <a:lnTo>
                  <a:pt x="1943543" y="1047719"/>
                </a:lnTo>
                <a:cubicBezTo>
                  <a:pt x="1943191" y="1046820"/>
                  <a:pt x="1943173" y="1045780"/>
                  <a:pt x="1943985" y="1044963"/>
                </a:cubicBezTo>
                <a:cubicBezTo>
                  <a:pt x="1943719" y="1043741"/>
                  <a:pt x="1950267" y="1043656"/>
                  <a:pt x="1952031" y="1044818"/>
                </a:cubicBezTo>
                <a:close/>
                <a:moveTo>
                  <a:pt x="5779456" y="1044099"/>
                </a:moveTo>
                <a:cubicBezTo>
                  <a:pt x="5779722" y="1045320"/>
                  <a:pt x="5779948" y="1047796"/>
                  <a:pt x="5783487" y="1048974"/>
                </a:cubicBezTo>
                <a:cubicBezTo>
                  <a:pt x="5781223" y="1050783"/>
                  <a:pt x="5778989" y="1052484"/>
                  <a:pt x="5776411" y="1052138"/>
                </a:cubicBezTo>
                <a:cubicBezTo>
                  <a:pt x="5775553" y="1052023"/>
                  <a:pt x="5774446" y="1051727"/>
                  <a:pt x="5773702" y="1051183"/>
                </a:cubicBezTo>
                <a:cubicBezTo>
                  <a:pt x="5771937" y="1050019"/>
                  <a:pt x="5770202" y="1048750"/>
                  <a:pt x="5769947" y="1046381"/>
                </a:cubicBezTo>
                <a:cubicBezTo>
                  <a:pt x="5772937" y="1044078"/>
                  <a:pt x="5777946" y="1045305"/>
                  <a:pt x="5779456" y="1044099"/>
                </a:cubicBezTo>
                <a:close/>
                <a:moveTo>
                  <a:pt x="5563306" y="1043912"/>
                </a:moveTo>
                <a:cubicBezTo>
                  <a:pt x="5565750" y="1043648"/>
                  <a:pt x="5568079" y="1043812"/>
                  <a:pt x="5570845" y="1044553"/>
                </a:cubicBezTo>
                <a:cubicBezTo>
                  <a:pt x="5574471" y="1045409"/>
                  <a:pt x="5578363" y="1047487"/>
                  <a:pt x="5581691" y="1050564"/>
                </a:cubicBezTo>
                <a:cubicBezTo>
                  <a:pt x="5583549" y="1053591"/>
                  <a:pt x="5581102" y="1057191"/>
                  <a:pt x="5577109" y="1059916"/>
                </a:cubicBezTo>
                <a:lnTo>
                  <a:pt x="5578855" y="1060039"/>
                </a:lnTo>
                <a:cubicBezTo>
                  <a:pt x="5578100" y="1060641"/>
                  <a:pt x="5577824" y="1060568"/>
                  <a:pt x="5577548" y="1060493"/>
                </a:cubicBezTo>
                <a:lnTo>
                  <a:pt x="5576441" y="1060197"/>
                </a:lnTo>
                <a:lnTo>
                  <a:pt x="5570367" y="1062940"/>
                </a:lnTo>
                <a:cubicBezTo>
                  <a:pt x="5567838" y="1063528"/>
                  <a:pt x="5565394" y="1063792"/>
                  <a:pt x="5563428" y="1063381"/>
                </a:cubicBezTo>
                <a:cubicBezTo>
                  <a:pt x="5559956" y="1060841"/>
                  <a:pt x="5556514" y="1058193"/>
                  <a:pt x="5553043" y="1055653"/>
                </a:cubicBezTo>
                <a:cubicBezTo>
                  <a:pt x="5551103" y="1049613"/>
                  <a:pt x="5555975" y="1044708"/>
                  <a:pt x="5563306" y="1043912"/>
                </a:cubicBezTo>
                <a:close/>
                <a:moveTo>
                  <a:pt x="6084406" y="1043814"/>
                </a:moveTo>
                <a:cubicBezTo>
                  <a:pt x="6088908" y="1045825"/>
                  <a:pt x="6094863" y="1046846"/>
                  <a:pt x="6098744" y="1050071"/>
                </a:cubicBezTo>
                <a:cubicBezTo>
                  <a:pt x="6099956" y="1051085"/>
                  <a:pt x="6101080" y="1052421"/>
                  <a:pt x="6101842" y="1054007"/>
                </a:cubicBezTo>
                <a:cubicBezTo>
                  <a:pt x="6088096" y="1055499"/>
                  <a:pt x="6080208" y="1059480"/>
                  <a:pt x="6068694" y="1062604"/>
                </a:cubicBezTo>
                <a:cubicBezTo>
                  <a:pt x="6067454" y="1061698"/>
                  <a:pt x="6066520" y="1060757"/>
                  <a:pt x="6065729" y="1059280"/>
                </a:cubicBezTo>
                <a:cubicBezTo>
                  <a:pt x="6064939" y="1057804"/>
                  <a:pt x="6064540" y="1055971"/>
                  <a:pt x="6064314" y="1053496"/>
                </a:cubicBezTo>
                <a:cubicBezTo>
                  <a:pt x="6080995" y="1055436"/>
                  <a:pt x="6071321" y="1042838"/>
                  <a:pt x="6084406" y="1043814"/>
                </a:cubicBezTo>
                <a:close/>
                <a:moveTo>
                  <a:pt x="2361014" y="1043659"/>
                </a:moveTo>
                <a:cubicBezTo>
                  <a:pt x="2367702" y="1046371"/>
                  <a:pt x="2369388" y="1050042"/>
                  <a:pt x="2364393" y="1053189"/>
                </a:cubicBezTo>
                <a:cubicBezTo>
                  <a:pt x="2360921" y="1050649"/>
                  <a:pt x="2357694" y="1051624"/>
                  <a:pt x="2354223" y="1049085"/>
                </a:cubicBezTo>
                <a:cubicBezTo>
                  <a:pt x="2357766" y="1046928"/>
                  <a:pt x="2359258" y="1044683"/>
                  <a:pt x="2361014" y="1043659"/>
                </a:cubicBezTo>
                <a:close/>
                <a:moveTo>
                  <a:pt x="1230493" y="1043651"/>
                </a:moveTo>
                <a:cubicBezTo>
                  <a:pt x="1235151" y="1043979"/>
                  <a:pt x="1236235" y="1046570"/>
                  <a:pt x="1236235" y="1046570"/>
                </a:cubicBezTo>
                <a:cubicBezTo>
                  <a:pt x="1237472" y="1050811"/>
                  <a:pt x="1234835" y="1054014"/>
                  <a:pt x="1228811" y="1054355"/>
                </a:cubicBezTo>
                <a:cubicBezTo>
                  <a:pt x="1225244" y="1053285"/>
                  <a:pt x="1224158" y="1050693"/>
                  <a:pt x="1223043" y="1048209"/>
                </a:cubicBezTo>
                <a:cubicBezTo>
                  <a:pt x="1222731" y="1046056"/>
                  <a:pt x="1223076" y="1044768"/>
                  <a:pt x="1224719" y="1044174"/>
                </a:cubicBezTo>
                <a:cubicBezTo>
                  <a:pt x="1226084" y="1043505"/>
                  <a:pt x="1227888" y="1043413"/>
                  <a:pt x="1230493" y="1043651"/>
                </a:cubicBezTo>
                <a:close/>
                <a:moveTo>
                  <a:pt x="1148384" y="1043500"/>
                </a:moveTo>
                <a:cubicBezTo>
                  <a:pt x="1153634" y="1042722"/>
                  <a:pt x="1165306" y="1052290"/>
                  <a:pt x="1169366" y="1057057"/>
                </a:cubicBezTo>
                <a:cubicBezTo>
                  <a:pt x="1168115" y="1057297"/>
                  <a:pt x="1166456" y="1056853"/>
                  <a:pt x="1164606" y="1056011"/>
                </a:cubicBezTo>
                <a:cubicBezTo>
                  <a:pt x="1158776" y="1053415"/>
                  <a:pt x="1151568" y="1047112"/>
                  <a:pt x="1148384" y="1043500"/>
                </a:cubicBezTo>
                <a:close/>
                <a:moveTo>
                  <a:pt x="4832997" y="1043385"/>
                </a:moveTo>
                <a:cubicBezTo>
                  <a:pt x="4835480" y="1041865"/>
                  <a:pt x="4836834" y="1042343"/>
                  <a:pt x="4840791" y="1046393"/>
                </a:cubicBezTo>
                <a:cubicBezTo>
                  <a:pt x="4843115" y="1049892"/>
                  <a:pt x="4846034" y="1052284"/>
                  <a:pt x="4845747" y="1053356"/>
                </a:cubicBezTo>
                <a:cubicBezTo>
                  <a:pt x="4847350" y="1054015"/>
                  <a:pt x="4848388" y="1055674"/>
                  <a:pt x="4849991" y="1056333"/>
                </a:cubicBezTo>
                <a:cubicBezTo>
                  <a:pt x="4849991" y="1056333"/>
                  <a:pt x="4849991" y="1056333"/>
                  <a:pt x="4849703" y="1057406"/>
                </a:cubicBezTo>
                <a:cubicBezTo>
                  <a:pt x="4843827" y="1053877"/>
                  <a:pt x="4835192" y="1051793"/>
                  <a:pt x="4831236" y="1047743"/>
                </a:cubicBezTo>
                <a:cubicBezTo>
                  <a:pt x="4830578" y="1046877"/>
                  <a:pt x="4830197" y="1046085"/>
                  <a:pt x="4830122" y="1045259"/>
                </a:cubicBezTo>
                <a:cubicBezTo>
                  <a:pt x="4830294" y="1044616"/>
                  <a:pt x="4830801" y="1043831"/>
                  <a:pt x="4832997" y="1043385"/>
                </a:cubicBezTo>
                <a:close/>
                <a:moveTo>
                  <a:pt x="5969304" y="1041724"/>
                </a:moveTo>
                <a:cubicBezTo>
                  <a:pt x="5975489" y="1041885"/>
                  <a:pt x="5985230" y="1044265"/>
                  <a:pt x="5985554" y="1045273"/>
                </a:cubicBezTo>
                <a:cubicBezTo>
                  <a:pt x="5987052" y="1045213"/>
                  <a:pt x="5987289" y="1046543"/>
                  <a:pt x="5989065" y="1046558"/>
                </a:cubicBezTo>
                <a:cubicBezTo>
                  <a:pt x="5989065" y="1046558"/>
                  <a:pt x="5990534" y="1046607"/>
                  <a:pt x="5992299" y="1047770"/>
                </a:cubicBezTo>
                <a:cubicBezTo>
                  <a:pt x="5994311" y="1049114"/>
                  <a:pt x="5996076" y="1050276"/>
                  <a:pt x="5994555" y="1052629"/>
                </a:cubicBezTo>
                <a:cubicBezTo>
                  <a:pt x="5987638" y="1050776"/>
                  <a:pt x="5982571" y="1049763"/>
                  <a:pt x="5977809" y="1048717"/>
                </a:cubicBezTo>
                <a:cubicBezTo>
                  <a:pt x="5973048" y="1047671"/>
                  <a:pt x="5968563" y="1046700"/>
                  <a:pt x="5963421" y="1044862"/>
                </a:cubicBezTo>
                <a:cubicBezTo>
                  <a:pt x="5963155" y="1043640"/>
                  <a:pt x="5964930" y="1043656"/>
                  <a:pt x="5964665" y="1042434"/>
                </a:cubicBezTo>
                <a:cubicBezTo>
                  <a:pt x="5965419" y="1041832"/>
                  <a:pt x="5967252" y="1041634"/>
                  <a:pt x="5969304" y="1041724"/>
                </a:cubicBezTo>
                <a:close/>
                <a:moveTo>
                  <a:pt x="5657921" y="1041664"/>
                </a:moveTo>
                <a:cubicBezTo>
                  <a:pt x="5661433" y="1042951"/>
                  <a:pt x="5664695" y="1044055"/>
                  <a:pt x="5668206" y="1045340"/>
                </a:cubicBezTo>
                <a:cubicBezTo>
                  <a:pt x="5673747" y="1049010"/>
                  <a:pt x="5679289" y="1052680"/>
                  <a:pt x="5676287" y="1056130"/>
                </a:cubicBezTo>
                <a:cubicBezTo>
                  <a:pt x="5669237" y="1053667"/>
                  <a:pt x="5663979" y="1052258"/>
                  <a:pt x="5657206" y="1049868"/>
                </a:cubicBezTo>
                <a:cubicBezTo>
                  <a:pt x="5656186" y="1049249"/>
                  <a:pt x="5654813" y="1047731"/>
                  <a:pt x="5653745" y="1046181"/>
                </a:cubicBezTo>
                <a:cubicBezTo>
                  <a:pt x="5652650" y="1044737"/>
                  <a:pt x="5652164" y="1043227"/>
                  <a:pt x="5652919" y="1042624"/>
                </a:cubicBezTo>
                <a:cubicBezTo>
                  <a:pt x="5654399" y="1041527"/>
                  <a:pt x="5656175" y="1041542"/>
                  <a:pt x="5657921" y="1041664"/>
                </a:cubicBezTo>
                <a:close/>
                <a:moveTo>
                  <a:pt x="5344516" y="1041409"/>
                </a:moveTo>
                <a:cubicBezTo>
                  <a:pt x="5350182" y="1043502"/>
                  <a:pt x="5348674" y="1044708"/>
                  <a:pt x="5346179" y="1047375"/>
                </a:cubicBezTo>
                <a:cubicBezTo>
                  <a:pt x="5344548" y="1046823"/>
                  <a:pt x="5343193" y="1046345"/>
                  <a:pt x="5342535" y="1045479"/>
                </a:cubicBezTo>
                <a:cubicBezTo>
                  <a:pt x="5341878" y="1044612"/>
                  <a:pt x="5341917" y="1043358"/>
                  <a:pt x="5343017" y="1041467"/>
                </a:cubicBezTo>
                <a:cubicBezTo>
                  <a:pt x="5343017" y="1041467"/>
                  <a:pt x="5344516" y="1041409"/>
                  <a:pt x="5344516" y="1041409"/>
                </a:cubicBezTo>
                <a:close/>
                <a:moveTo>
                  <a:pt x="1774936" y="1041383"/>
                </a:moveTo>
                <a:cubicBezTo>
                  <a:pt x="1777358" y="1041198"/>
                  <a:pt x="1780323" y="1041475"/>
                  <a:pt x="1782497" y="1043323"/>
                </a:cubicBezTo>
                <a:cubicBezTo>
                  <a:pt x="1784157" y="1043768"/>
                  <a:pt x="1783227" y="1048348"/>
                  <a:pt x="1781279" y="1048976"/>
                </a:cubicBezTo>
                <a:cubicBezTo>
                  <a:pt x="1777660" y="1050307"/>
                  <a:pt x="1775712" y="1050935"/>
                  <a:pt x="1772421" y="1049939"/>
                </a:cubicBezTo>
                <a:cubicBezTo>
                  <a:pt x="1770750" y="1050641"/>
                  <a:pt x="1768802" y="1051268"/>
                  <a:pt x="1766999" y="1051360"/>
                </a:cubicBezTo>
                <a:cubicBezTo>
                  <a:pt x="1766111" y="1051352"/>
                  <a:pt x="1765529" y="1051311"/>
                  <a:pt x="1764727" y="1050981"/>
                </a:cubicBezTo>
                <a:cubicBezTo>
                  <a:pt x="1763925" y="1050651"/>
                  <a:pt x="1763153" y="1050215"/>
                  <a:pt x="1762190" y="1049381"/>
                </a:cubicBezTo>
                <a:cubicBezTo>
                  <a:pt x="1764742" y="1046501"/>
                  <a:pt x="1766729" y="1044617"/>
                  <a:pt x="1770637" y="1042214"/>
                </a:cubicBezTo>
                <a:cubicBezTo>
                  <a:pt x="1770637" y="1042214"/>
                  <a:pt x="1772514" y="1041567"/>
                  <a:pt x="1774936" y="1041383"/>
                </a:cubicBezTo>
                <a:close/>
                <a:moveTo>
                  <a:pt x="1865775" y="1040221"/>
                </a:moveTo>
                <a:cubicBezTo>
                  <a:pt x="1867118" y="1041846"/>
                  <a:pt x="1867118" y="1041846"/>
                  <a:pt x="1865488" y="1041294"/>
                </a:cubicBezTo>
                <a:cubicBezTo>
                  <a:pt x="1863500" y="1043177"/>
                  <a:pt x="1863787" y="1042104"/>
                  <a:pt x="1861839" y="1042732"/>
                </a:cubicBezTo>
                <a:cubicBezTo>
                  <a:pt x="1859892" y="1043361"/>
                  <a:pt x="1855659" y="1048091"/>
                  <a:pt x="1857003" y="1049716"/>
                </a:cubicBezTo>
                <a:cubicBezTo>
                  <a:pt x="1855342" y="1049271"/>
                  <a:pt x="1853699" y="1049866"/>
                  <a:pt x="1853699" y="1049866"/>
                </a:cubicBezTo>
                <a:cubicBezTo>
                  <a:pt x="1852328" y="1048349"/>
                  <a:pt x="1852368" y="1047094"/>
                  <a:pt x="1852684" y="1045914"/>
                </a:cubicBezTo>
                <a:cubicBezTo>
                  <a:pt x="1854355" y="1045211"/>
                  <a:pt x="1856264" y="1045838"/>
                  <a:pt x="1857934" y="1045135"/>
                </a:cubicBezTo>
                <a:cubicBezTo>
                  <a:pt x="1858250" y="1043956"/>
                  <a:pt x="1858825" y="1041810"/>
                  <a:pt x="1860496" y="1041107"/>
                </a:cubicBezTo>
                <a:cubicBezTo>
                  <a:pt x="1862443" y="1040479"/>
                  <a:pt x="1865775" y="1040221"/>
                  <a:pt x="1865775" y="1040221"/>
                </a:cubicBezTo>
                <a:close/>
                <a:moveTo>
                  <a:pt x="5440849" y="1039391"/>
                </a:moveTo>
                <a:cubicBezTo>
                  <a:pt x="5443119" y="1039770"/>
                  <a:pt x="5445581" y="1040544"/>
                  <a:pt x="5447593" y="1041889"/>
                </a:cubicBezTo>
                <a:cubicBezTo>
                  <a:pt x="5451144" y="1041920"/>
                  <a:pt x="5456009" y="1043683"/>
                  <a:pt x="5458679" y="1045893"/>
                </a:cubicBezTo>
                <a:cubicBezTo>
                  <a:pt x="5461339" y="1049251"/>
                  <a:pt x="5460458" y="1051430"/>
                  <a:pt x="5458540" y="1051951"/>
                </a:cubicBezTo>
                <a:cubicBezTo>
                  <a:pt x="5451492" y="1055009"/>
                  <a:pt x="5444898" y="1054160"/>
                  <a:pt x="5439393" y="1052571"/>
                </a:cubicBezTo>
                <a:cubicBezTo>
                  <a:pt x="5433916" y="1050874"/>
                  <a:pt x="5429805" y="1048506"/>
                  <a:pt x="5428029" y="1048491"/>
                </a:cubicBezTo>
                <a:cubicBezTo>
                  <a:pt x="5424332" y="1043475"/>
                  <a:pt x="5424332" y="1043475"/>
                  <a:pt x="5434272" y="1039583"/>
                </a:cubicBezTo>
                <a:cubicBezTo>
                  <a:pt x="5436191" y="1039062"/>
                  <a:pt x="5438300" y="1038938"/>
                  <a:pt x="5440849" y="1039391"/>
                </a:cubicBezTo>
                <a:close/>
                <a:moveTo>
                  <a:pt x="5600133" y="1039290"/>
                </a:moveTo>
                <a:cubicBezTo>
                  <a:pt x="5601736" y="1039950"/>
                  <a:pt x="5600104" y="1039398"/>
                  <a:pt x="5602746" y="1041715"/>
                </a:cubicBezTo>
                <a:cubicBezTo>
                  <a:pt x="5601772" y="1042030"/>
                  <a:pt x="5601523" y="1041848"/>
                  <a:pt x="5601056" y="1041378"/>
                </a:cubicBezTo>
                <a:cubicBezTo>
                  <a:pt x="5600866" y="1040982"/>
                  <a:pt x="5600761" y="1040264"/>
                  <a:pt x="5600133" y="1039290"/>
                </a:cubicBezTo>
                <a:close/>
                <a:moveTo>
                  <a:pt x="1373492" y="1037922"/>
                </a:moveTo>
                <a:cubicBezTo>
                  <a:pt x="1375569" y="1041238"/>
                  <a:pt x="1381128" y="1045947"/>
                  <a:pt x="1377765" y="1049647"/>
                </a:cubicBezTo>
                <a:cubicBezTo>
                  <a:pt x="1376069" y="1047122"/>
                  <a:pt x="1372314" y="1042320"/>
                  <a:pt x="1372144" y="1039631"/>
                </a:cubicBezTo>
                <a:cubicBezTo>
                  <a:pt x="1372098" y="1038698"/>
                  <a:pt x="1372270" y="1038055"/>
                  <a:pt x="1373492" y="1037922"/>
                </a:cubicBezTo>
                <a:close/>
                <a:moveTo>
                  <a:pt x="5096196" y="1037318"/>
                </a:moveTo>
                <a:cubicBezTo>
                  <a:pt x="5102047" y="1037620"/>
                  <a:pt x="5111653" y="1042724"/>
                  <a:pt x="5109805" y="1047405"/>
                </a:cubicBezTo>
                <a:cubicBezTo>
                  <a:pt x="5108457" y="1049113"/>
                  <a:pt x="5103132" y="1049067"/>
                  <a:pt x="5098514" y="1047484"/>
                </a:cubicBezTo>
                <a:cubicBezTo>
                  <a:pt x="5094174" y="1045975"/>
                  <a:pt x="5090263" y="1042858"/>
                  <a:pt x="5092520" y="1038863"/>
                </a:cubicBezTo>
                <a:cubicBezTo>
                  <a:pt x="5092837" y="1037683"/>
                  <a:pt x="5094421" y="1037303"/>
                  <a:pt x="5096196" y="1037318"/>
                </a:cubicBezTo>
                <a:close/>
                <a:moveTo>
                  <a:pt x="4864738" y="1036710"/>
                </a:moveTo>
                <a:cubicBezTo>
                  <a:pt x="4866657" y="1036189"/>
                  <a:pt x="4870208" y="1036220"/>
                  <a:pt x="4872533" y="1039718"/>
                </a:cubicBezTo>
                <a:cubicBezTo>
                  <a:pt x="4876212" y="1043694"/>
                  <a:pt x="4875016" y="1047054"/>
                  <a:pt x="4872217" y="1049754"/>
                </a:cubicBezTo>
                <a:cubicBezTo>
                  <a:pt x="4872939" y="1052593"/>
                  <a:pt x="4875580" y="1054911"/>
                  <a:pt x="4873345" y="1056611"/>
                </a:cubicBezTo>
                <a:cubicBezTo>
                  <a:pt x="4871307" y="1052040"/>
                  <a:pt x="4870297" y="1050275"/>
                  <a:pt x="4869576" y="1047437"/>
                </a:cubicBezTo>
                <a:cubicBezTo>
                  <a:pt x="4867944" y="1046884"/>
                  <a:pt x="4866341" y="1046224"/>
                  <a:pt x="4865303" y="1044566"/>
                </a:cubicBezTo>
                <a:cubicBezTo>
                  <a:pt x="4862978" y="1041068"/>
                  <a:pt x="4865461" y="1039549"/>
                  <a:pt x="4864738" y="1036710"/>
                </a:cubicBezTo>
                <a:close/>
                <a:moveTo>
                  <a:pt x="1598339" y="1036644"/>
                </a:moveTo>
                <a:cubicBezTo>
                  <a:pt x="1600102" y="1037806"/>
                  <a:pt x="1603387" y="1036616"/>
                  <a:pt x="1605428" y="1037853"/>
                </a:cubicBezTo>
                <a:cubicBezTo>
                  <a:pt x="1605428" y="1037853"/>
                  <a:pt x="1607724" y="1041458"/>
                  <a:pt x="1607724" y="1041458"/>
                </a:cubicBezTo>
                <a:cubicBezTo>
                  <a:pt x="1606215" y="1042664"/>
                  <a:pt x="1606215" y="1042664"/>
                  <a:pt x="1605949" y="1041443"/>
                </a:cubicBezTo>
                <a:cubicBezTo>
                  <a:pt x="1602664" y="1042632"/>
                  <a:pt x="1601166" y="1042690"/>
                  <a:pt x="1599392" y="1042675"/>
                </a:cubicBezTo>
                <a:cubicBezTo>
                  <a:pt x="1597322" y="1041546"/>
                  <a:pt x="1597094" y="1039070"/>
                  <a:pt x="1598339" y="1036644"/>
                </a:cubicBezTo>
                <a:close/>
                <a:moveTo>
                  <a:pt x="5071746" y="1035597"/>
                </a:moveTo>
                <a:cubicBezTo>
                  <a:pt x="5078491" y="1038094"/>
                  <a:pt x="5078631" y="1040891"/>
                  <a:pt x="5076812" y="1045464"/>
                </a:cubicBezTo>
                <a:cubicBezTo>
                  <a:pt x="5066632" y="1042507"/>
                  <a:pt x="5068372" y="1040443"/>
                  <a:pt x="5071746" y="1035597"/>
                </a:cubicBezTo>
                <a:close/>
                <a:moveTo>
                  <a:pt x="1267162" y="1035190"/>
                </a:moveTo>
                <a:cubicBezTo>
                  <a:pt x="1288044" y="1044697"/>
                  <a:pt x="1299450" y="1061898"/>
                  <a:pt x="1288702" y="1072128"/>
                </a:cubicBezTo>
                <a:cubicBezTo>
                  <a:pt x="1282808" y="1076413"/>
                  <a:pt x="1276031" y="1077357"/>
                  <a:pt x="1269551" y="1076082"/>
                </a:cubicBezTo>
                <a:cubicBezTo>
                  <a:pt x="1267586" y="1075670"/>
                  <a:pt x="1265401" y="1074969"/>
                  <a:pt x="1263550" y="1074129"/>
                </a:cubicBezTo>
                <a:cubicBezTo>
                  <a:pt x="1255565" y="1070724"/>
                  <a:pt x="1249025" y="1064142"/>
                  <a:pt x="1247343" y="1057136"/>
                </a:cubicBezTo>
                <a:cubicBezTo>
                  <a:pt x="1245178" y="1048621"/>
                  <a:pt x="1249949" y="1039664"/>
                  <a:pt x="1267162" y="1035190"/>
                </a:cubicBezTo>
                <a:close/>
                <a:moveTo>
                  <a:pt x="5716188" y="1034507"/>
                </a:moveTo>
                <a:cubicBezTo>
                  <a:pt x="5722447" y="1035494"/>
                  <a:pt x="5731424" y="1039625"/>
                  <a:pt x="5735449" y="1042313"/>
                </a:cubicBezTo>
                <a:cubicBezTo>
                  <a:pt x="5734140" y="1042768"/>
                  <a:pt x="5732336" y="1042859"/>
                  <a:pt x="5730342" y="1042554"/>
                </a:cubicBezTo>
                <a:cubicBezTo>
                  <a:pt x="5724083" y="1041566"/>
                  <a:pt x="5715412" y="1037403"/>
                  <a:pt x="5711386" y="1034715"/>
                </a:cubicBezTo>
                <a:cubicBezTo>
                  <a:pt x="5712418" y="1034186"/>
                  <a:pt x="5714192" y="1034203"/>
                  <a:pt x="5716188" y="1034507"/>
                </a:cubicBezTo>
                <a:close/>
                <a:moveTo>
                  <a:pt x="5059474" y="1033804"/>
                </a:moveTo>
                <a:cubicBezTo>
                  <a:pt x="5061601" y="1034718"/>
                  <a:pt x="5059927" y="1038754"/>
                  <a:pt x="5060469" y="1040050"/>
                </a:cubicBezTo>
                <a:cubicBezTo>
                  <a:pt x="5058942" y="1040215"/>
                  <a:pt x="5056509" y="1039334"/>
                  <a:pt x="5054982" y="1039500"/>
                </a:cubicBezTo>
                <a:cubicBezTo>
                  <a:pt x="5054410" y="1038312"/>
                  <a:pt x="5053573" y="1035903"/>
                  <a:pt x="5054558" y="1034441"/>
                </a:cubicBezTo>
                <a:cubicBezTo>
                  <a:pt x="5054263" y="1033328"/>
                  <a:pt x="5059474" y="1033804"/>
                  <a:pt x="5059474" y="1033804"/>
                </a:cubicBezTo>
                <a:close/>
                <a:moveTo>
                  <a:pt x="4943636" y="1033355"/>
                </a:moveTo>
                <a:cubicBezTo>
                  <a:pt x="4947071" y="1033815"/>
                  <a:pt x="4950018" y="1036100"/>
                  <a:pt x="4952515" y="1038954"/>
                </a:cubicBezTo>
                <a:lnTo>
                  <a:pt x="4956766" y="1044118"/>
                </a:lnTo>
                <a:lnTo>
                  <a:pt x="4957187" y="1043655"/>
                </a:lnTo>
                <a:cubicBezTo>
                  <a:pt x="4958713" y="1043490"/>
                  <a:pt x="4960431" y="1043720"/>
                  <a:pt x="4962225" y="1044776"/>
                </a:cubicBezTo>
                <a:cubicBezTo>
                  <a:pt x="4967891" y="1046870"/>
                  <a:pt x="4968689" y="1050533"/>
                  <a:pt x="4968018" y="1054149"/>
                </a:cubicBezTo>
                <a:cubicBezTo>
                  <a:pt x="4970353" y="1056500"/>
                  <a:pt x="4973950" y="1057464"/>
                  <a:pt x="4972984" y="1059964"/>
                </a:cubicBezTo>
                <a:cubicBezTo>
                  <a:pt x="4968826" y="1056665"/>
                  <a:pt x="4966784" y="1055429"/>
                  <a:pt x="4964726" y="1053151"/>
                </a:cubicBezTo>
                <a:cubicBezTo>
                  <a:pt x="4962922" y="1053242"/>
                  <a:pt x="4961395" y="1053409"/>
                  <a:pt x="4959325" y="1052279"/>
                </a:cubicBezTo>
                <a:lnTo>
                  <a:pt x="4957266" y="1050002"/>
                </a:lnTo>
                <a:lnTo>
                  <a:pt x="4955346" y="1050523"/>
                </a:lnTo>
                <a:cubicBezTo>
                  <a:pt x="4954038" y="1050978"/>
                  <a:pt x="4952701" y="1051539"/>
                  <a:pt x="4951279" y="1052423"/>
                </a:cubicBezTo>
                <a:cubicBezTo>
                  <a:pt x="4946963" y="1045286"/>
                  <a:pt x="4940782" y="1041790"/>
                  <a:pt x="4940987" y="1037705"/>
                </a:cubicBezTo>
                <a:cubicBezTo>
                  <a:pt x="4941055" y="1036343"/>
                  <a:pt x="4941734" y="1034915"/>
                  <a:pt x="4943636" y="1033355"/>
                </a:cubicBezTo>
                <a:close/>
                <a:moveTo>
                  <a:pt x="4890321" y="1033100"/>
                </a:moveTo>
                <a:cubicBezTo>
                  <a:pt x="4893135" y="1034774"/>
                  <a:pt x="4898105" y="1037255"/>
                  <a:pt x="4897882" y="1040301"/>
                </a:cubicBezTo>
                <a:cubicBezTo>
                  <a:pt x="4897623" y="1041267"/>
                  <a:pt x="4897001" y="1042479"/>
                  <a:pt x="4895492" y="1043686"/>
                </a:cubicBezTo>
                <a:cubicBezTo>
                  <a:pt x="4895758" y="1044906"/>
                  <a:pt x="4889229" y="1046032"/>
                  <a:pt x="4887464" y="1044869"/>
                </a:cubicBezTo>
                <a:cubicBezTo>
                  <a:pt x="4886138" y="1044284"/>
                  <a:pt x="4885117" y="1043666"/>
                  <a:pt x="4884708" y="1042980"/>
                </a:cubicBezTo>
                <a:cubicBezTo>
                  <a:pt x="4883231" y="1040745"/>
                  <a:pt x="4884895" y="1037856"/>
                  <a:pt x="4885538" y="1034348"/>
                </a:cubicBezTo>
                <a:cubicBezTo>
                  <a:pt x="4887608" y="1035478"/>
                  <a:pt x="4888840" y="1034198"/>
                  <a:pt x="4890321" y="1033100"/>
                </a:cubicBezTo>
                <a:close/>
                <a:moveTo>
                  <a:pt x="1315545" y="1031710"/>
                </a:moveTo>
                <a:cubicBezTo>
                  <a:pt x="1318956" y="1028944"/>
                  <a:pt x="1320635" y="1030429"/>
                  <a:pt x="1323933" y="1033613"/>
                </a:cubicBezTo>
                <a:cubicBezTo>
                  <a:pt x="1322816" y="1034464"/>
                  <a:pt x="1322004" y="1035280"/>
                  <a:pt x="1320534" y="1035231"/>
                </a:cubicBezTo>
                <a:cubicBezTo>
                  <a:pt x="1319341" y="1035257"/>
                  <a:pt x="1317767" y="1034490"/>
                  <a:pt x="1315258" y="1032782"/>
                </a:cubicBezTo>
                <a:cubicBezTo>
                  <a:pt x="1315258" y="1032782"/>
                  <a:pt x="1315545" y="1031710"/>
                  <a:pt x="1315545" y="1031710"/>
                </a:cubicBezTo>
                <a:close/>
                <a:moveTo>
                  <a:pt x="1633077" y="1029851"/>
                </a:moveTo>
                <a:cubicBezTo>
                  <a:pt x="1637530" y="1034264"/>
                  <a:pt x="1625966" y="1039790"/>
                  <a:pt x="1622368" y="1038827"/>
                </a:cubicBezTo>
                <a:cubicBezTo>
                  <a:pt x="1620004" y="1036583"/>
                  <a:pt x="1626849" y="1025422"/>
                  <a:pt x="1633077" y="1029851"/>
                </a:cubicBezTo>
                <a:close/>
                <a:moveTo>
                  <a:pt x="5345971" y="1028229"/>
                </a:moveTo>
                <a:cubicBezTo>
                  <a:pt x="5348041" y="1029358"/>
                  <a:pt x="5345565" y="1033065"/>
                  <a:pt x="5345831" y="1034287"/>
                </a:cubicBezTo>
                <a:cubicBezTo>
                  <a:pt x="5344303" y="1034452"/>
                  <a:pt x="5342234" y="1033323"/>
                  <a:pt x="5340706" y="1033488"/>
                </a:cubicBezTo>
                <a:cubicBezTo>
                  <a:pt x="5340440" y="1032267"/>
                  <a:pt x="5339603" y="1029858"/>
                  <a:pt x="5341141" y="1028544"/>
                </a:cubicBezTo>
                <a:cubicBezTo>
                  <a:pt x="5340599" y="1027249"/>
                  <a:pt x="5345971" y="1028229"/>
                  <a:pt x="5345971" y="1028229"/>
                </a:cubicBezTo>
                <a:close/>
                <a:moveTo>
                  <a:pt x="1687214" y="1028143"/>
                </a:moveTo>
                <a:cubicBezTo>
                  <a:pt x="1691077" y="1030327"/>
                  <a:pt x="1698272" y="1032255"/>
                  <a:pt x="1697867" y="1037092"/>
                </a:cubicBezTo>
                <a:cubicBezTo>
                  <a:pt x="1695022" y="1035525"/>
                  <a:pt x="1688976" y="1032639"/>
                  <a:pt x="1687222" y="1030329"/>
                </a:cubicBezTo>
                <a:cubicBezTo>
                  <a:pt x="1686563" y="1029463"/>
                  <a:pt x="1686460" y="1028745"/>
                  <a:pt x="1687214" y="1028143"/>
                </a:cubicBezTo>
                <a:close/>
                <a:moveTo>
                  <a:pt x="2219328" y="1027889"/>
                </a:moveTo>
                <a:cubicBezTo>
                  <a:pt x="2226292" y="1030676"/>
                  <a:pt x="2228029" y="1031945"/>
                  <a:pt x="2231477" y="1036780"/>
                </a:cubicBezTo>
                <a:cubicBezTo>
                  <a:pt x="2226422" y="1043475"/>
                  <a:pt x="2217973" y="1045122"/>
                  <a:pt x="2209495" y="1046875"/>
                </a:cubicBezTo>
                <a:cubicBezTo>
                  <a:pt x="2204134" y="1044749"/>
                  <a:pt x="2201654" y="1042933"/>
                  <a:pt x="2200950" y="1041135"/>
                </a:cubicBezTo>
                <a:lnTo>
                  <a:pt x="2201036" y="1040813"/>
                </a:lnTo>
                <a:lnTo>
                  <a:pt x="2196771" y="1040130"/>
                </a:lnTo>
                <a:cubicBezTo>
                  <a:pt x="2193594" y="1038704"/>
                  <a:pt x="2190895" y="1036601"/>
                  <a:pt x="2190612" y="1034341"/>
                </a:cubicBezTo>
                <a:cubicBezTo>
                  <a:pt x="2190126" y="1032829"/>
                  <a:pt x="2191111" y="1031369"/>
                  <a:pt x="2193536" y="1030064"/>
                </a:cubicBezTo>
                <a:cubicBezTo>
                  <a:pt x="2194655" y="1029213"/>
                  <a:pt x="2196429" y="1029228"/>
                  <a:pt x="2198338" y="1029855"/>
                </a:cubicBezTo>
                <a:lnTo>
                  <a:pt x="2205587" y="1034903"/>
                </a:lnTo>
                <a:lnTo>
                  <a:pt x="2207009" y="1034019"/>
                </a:lnTo>
                <a:cubicBezTo>
                  <a:pt x="2211163" y="1031797"/>
                  <a:pt x="2216148" y="1029797"/>
                  <a:pt x="2219328" y="1027889"/>
                </a:cubicBezTo>
                <a:close/>
                <a:moveTo>
                  <a:pt x="874852" y="1027248"/>
                </a:moveTo>
                <a:cubicBezTo>
                  <a:pt x="876951" y="1028271"/>
                  <a:pt x="876951" y="1028271"/>
                  <a:pt x="878417" y="1031653"/>
                </a:cubicBezTo>
                <a:cubicBezTo>
                  <a:pt x="876290" y="1030738"/>
                  <a:pt x="876318" y="1030631"/>
                  <a:pt x="875364" y="1031985"/>
                </a:cubicBezTo>
                <a:cubicBezTo>
                  <a:pt x="875364" y="1031985"/>
                  <a:pt x="875086" y="1031911"/>
                  <a:pt x="875657" y="1033099"/>
                </a:cubicBezTo>
                <a:cubicBezTo>
                  <a:pt x="874130" y="1033266"/>
                  <a:pt x="873807" y="1032259"/>
                  <a:pt x="872279" y="1032424"/>
                </a:cubicBezTo>
                <a:cubicBezTo>
                  <a:pt x="872279" y="1032424"/>
                  <a:pt x="871680" y="1031343"/>
                  <a:pt x="871680" y="1031343"/>
                </a:cubicBezTo>
                <a:cubicBezTo>
                  <a:pt x="871068" y="1031410"/>
                  <a:pt x="871068" y="1031410"/>
                  <a:pt x="871154" y="1031088"/>
                </a:cubicBezTo>
                <a:cubicBezTo>
                  <a:pt x="871547" y="1030733"/>
                  <a:pt x="872025" y="1030055"/>
                  <a:pt x="872342" y="1028875"/>
                </a:cubicBezTo>
                <a:cubicBezTo>
                  <a:pt x="873296" y="1027521"/>
                  <a:pt x="873003" y="1026408"/>
                  <a:pt x="874852" y="1027248"/>
                </a:cubicBezTo>
                <a:close/>
                <a:moveTo>
                  <a:pt x="5583789" y="1025021"/>
                </a:moveTo>
                <a:cubicBezTo>
                  <a:pt x="5585555" y="1026184"/>
                  <a:pt x="5587585" y="1028568"/>
                  <a:pt x="5584318" y="1030798"/>
                </a:cubicBezTo>
                <a:cubicBezTo>
                  <a:pt x="5581346" y="1034141"/>
                  <a:pt x="5576326" y="1034062"/>
                  <a:pt x="5571040" y="1032760"/>
                </a:cubicBezTo>
                <a:cubicBezTo>
                  <a:pt x="5567755" y="1033949"/>
                  <a:pt x="5566264" y="1036195"/>
                  <a:pt x="5562753" y="1034910"/>
                </a:cubicBezTo>
                <a:cubicBezTo>
                  <a:pt x="5567766" y="1032803"/>
                  <a:pt x="5569246" y="1031704"/>
                  <a:pt x="5572502" y="1030622"/>
                </a:cubicBezTo>
                <a:cubicBezTo>
                  <a:pt x="5572236" y="1029400"/>
                  <a:pt x="5572248" y="1028253"/>
                  <a:pt x="5573728" y="1027155"/>
                </a:cubicBezTo>
                <a:cubicBezTo>
                  <a:pt x="5576995" y="1024925"/>
                  <a:pt x="5580534" y="1026104"/>
                  <a:pt x="5583789" y="1025021"/>
                </a:cubicBezTo>
                <a:close/>
                <a:moveTo>
                  <a:pt x="1103738" y="1024177"/>
                </a:moveTo>
                <a:cubicBezTo>
                  <a:pt x="1107386" y="1022739"/>
                  <a:pt x="1110976" y="1021516"/>
                  <a:pt x="1113940" y="1024841"/>
                </a:cubicBezTo>
                <a:cubicBezTo>
                  <a:pt x="1115283" y="1026466"/>
                  <a:pt x="1116628" y="1028091"/>
                  <a:pt x="1116301" y="1030419"/>
                </a:cubicBezTo>
                <a:cubicBezTo>
                  <a:pt x="1112682" y="1031749"/>
                  <a:pt x="1107770" y="1029052"/>
                  <a:pt x="1106099" y="1029754"/>
                </a:cubicBezTo>
                <a:cubicBezTo>
                  <a:pt x="1106415" y="1028574"/>
                  <a:pt x="1106741" y="1026248"/>
                  <a:pt x="1103738" y="1024177"/>
                </a:cubicBezTo>
                <a:close/>
                <a:moveTo>
                  <a:pt x="1297726" y="1024061"/>
                </a:moveTo>
                <a:cubicBezTo>
                  <a:pt x="1299455" y="1023143"/>
                  <a:pt x="1304413" y="1026772"/>
                  <a:pt x="1306102" y="1027109"/>
                </a:cubicBezTo>
                <a:cubicBezTo>
                  <a:pt x="1306062" y="1028364"/>
                  <a:pt x="1304334" y="1029281"/>
                  <a:pt x="1304323" y="1030428"/>
                </a:cubicBezTo>
                <a:cubicBezTo>
                  <a:pt x="1302635" y="1030090"/>
                  <a:pt x="1299285" y="1029308"/>
                  <a:pt x="1297635" y="1027717"/>
                </a:cubicBezTo>
                <a:cubicBezTo>
                  <a:pt x="1295975" y="1027272"/>
                  <a:pt x="1297726" y="1024061"/>
                  <a:pt x="1297726" y="1024061"/>
                </a:cubicBezTo>
                <a:close/>
                <a:moveTo>
                  <a:pt x="4931640" y="1022781"/>
                </a:moveTo>
                <a:cubicBezTo>
                  <a:pt x="4932025" y="1020239"/>
                  <a:pt x="4935974" y="1022102"/>
                  <a:pt x="4938073" y="1023124"/>
                </a:cubicBezTo>
                <a:cubicBezTo>
                  <a:pt x="4933463" y="1023728"/>
                  <a:pt x="4932229" y="1025009"/>
                  <a:pt x="4931934" y="1023895"/>
                </a:cubicBezTo>
                <a:cubicBezTo>
                  <a:pt x="4930408" y="1024061"/>
                  <a:pt x="4930084" y="1023054"/>
                  <a:pt x="4931640" y="1022781"/>
                </a:cubicBezTo>
                <a:close/>
                <a:moveTo>
                  <a:pt x="1903779" y="1022215"/>
                </a:moveTo>
                <a:cubicBezTo>
                  <a:pt x="1907127" y="1022034"/>
                  <a:pt x="1909135" y="1022284"/>
                  <a:pt x="1909135" y="1022284"/>
                </a:cubicBezTo>
                <a:cubicBezTo>
                  <a:pt x="1920997" y="1032248"/>
                  <a:pt x="1915319" y="1040157"/>
                  <a:pt x="1907497" y="1046111"/>
                </a:cubicBezTo>
                <a:lnTo>
                  <a:pt x="1908984" y="1047199"/>
                </a:lnTo>
                <a:cubicBezTo>
                  <a:pt x="1909976" y="1047925"/>
                  <a:pt x="1910414" y="1048503"/>
                  <a:pt x="1910414" y="1048503"/>
                </a:cubicBezTo>
                <a:cubicBezTo>
                  <a:pt x="1908905" y="1049708"/>
                  <a:pt x="1908905" y="1049708"/>
                  <a:pt x="1908610" y="1048594"/>
                </a:cubicBezTo>
                <a:cubicBezTo>
                  <a:pt x="1906950" y="1048149"/>
                  <a:pt x="1906454" y="1047786"/>
                  <a:pt x="1906206" y="1047605"/>
                </a:cubicBezTo>
                <a:lnTo>
                  <a:pt x="1905739" y="1047135"/>
                </a:lnTo>
                <a:lnTo>
                  <a:pt x="1899291" y="1051272"/>
                </a:lnTo>
                <a:cubicBezTo>
                  <a:pt x="1894239" y="1054633"/>
                  <a:pt x="1888080" y="1057699"/>
                  <a:pt x="1882650" y="1056933"/>
                </a:cubicBezTo>
                <a:cubicBezTo>
                  <a:pt x="1880932" y="1056703"/>
                  <a:pt x="1879330" y="1056044"/>
                  <a:pt x="1877594" y="1054774"/>
                </a:cubicBezTo>
                <a:cubicBezTo>
                  <a:pt x="1872883" y="1051326"/>
                  <a:pt x="1870597" y="1046574"/>
                  <a:pt x="1870945" y="1041952"/>
                </a:cubicBezTo>
                <a:lnTo>
                  <a:pt x="1872574" y="1036983"/>
                </a:lnTo>
                <a:lnTo>
                  <a:pt x="1870482" y="1038148"/>
                </a:lnTo>
                <a:cubicBezTo>
                  <a:pt x="1868450" y="1039098"/>
                  <a:pt x="1866749" y="1039907"/>
                  <a:pt x="1866091" y="1039042"/>
                </a:cubicBezTo>
                <a:cubicBezTo>
                  <a:pt x="1866091" y="1039042"/>
                  <a:pt x="1867791" y="1038231"/>
                  <a:pt x="1869738" y="1037604"/>
                </a:cubicBezTo>
                <a:cubicBezTo>
                  <a:pt x="1871687" y="1036975"/>
                  <a:pt x="1871410" y="1036901"/>
                  <a:pt x="1870065" y="1035276"/>
                </a:cubicBezTo>
                <a:cubicBezTo>
                  <a:pt x="1871040" y="1034963"/>
                  <a:pt x="1871679" y="1034789"/>
                  <a:pt x="1872292" y="1034722"/>
                </a:cubicBezTo>
                <a:lnTo>
                  <a:pt x="1873397" y="1035020"/>
                </a:lnTo>
                <a:lnTo>
                  <a:pt x="1878938" y="1029833"/>
                </a:lnTo>
                <a:lnTo>
                  <a:pt x="1887045" y="1026141"/>
                </a:lnTo>
                <a:lnTo>
                  <a:pt x="1887074" y="1026034"/>
                </a:lnTo>
                <a:lnTo>
                  <a:pt x="1890388" y="1024736"/>
                </a:lnTo>
                <a:cubicBezTo>
                  <a:pt x="1895745" y="1023008"/>
                  <a:pt x="1900431" y="1022395"/>
                  <a:pt x="1903779" y="1022215"/>
                </a:cubicBezTo>
                <a:close/>
                <a:moveTo>
                  <a:pt x="2455594" y="1021621"/>
                </a:moveTo>
                <a:cubicBezTo>
                  <a:pt x="2457046" y="1020630"/>
                  <a:pt x="2456978" y="1021992"/>
                  <a:pt x="2458361" y="1022362"/>
                </a:cubicBezTo>
                <a:cubicBezTo>
                  <a:pt x="2457636" y="1022857"/>
                  <a:pt x="2457301" y="1022997"/>
                  <a:pt x="2456748" y="1022849"/>
                </a:cubicBezTo>
                <a:cubicBezTo>
                  <a:pt x="2456471" y="1022775"/>
                  <a:pt x="2456251" y="1022486"/>
                  <a:pt x="2455594" y="1021621"/>
                </a:cubicBezTo>
                <a:close/>
                <a:moveTo>
                  <a:pt x="5882408" y="1019589"/>
                </a:moveTo>
                <a:cubicBezTo>
                  <a:pt x="5883637" y="1021643"/>
                  <a:pt x="5883540" y="1023113"/>
                  <a:pt x="5882088" y="1024104"/>
                </a:cubicBezTo>
                <a:lnTo>
                  <a:pt x="5881115" y="1024418"/>
                </a:lnTo>
                <a:lnTo>
                  <a:pt x="5885301" y="1027610"/>
                </a:lnTo>
                <a:cubicBezTo>
                  <a:pt x="5883119" y="1032431"/>
                  <a:pt x="5884324" y="1031258"/>
                  <a:pt x="5878688" y="1034578"/>
                </a:cubicBezTo>
                <a:cubicBezTo>
                  <a:pt x="5874998" y="1031750"/>
                  <a:pt x="5871307" y="1028920"/>
                  <a:pt x="5867617" y="1026092"/>
                </a:cubicBezTo>
                <a:lnTo>
                  <a:pt x="5870549" y="1024001"/>
                </a:lnTo>
                <a:lnTo>
                  <a:pt x="5869227" y="1020083"/>
                </a:lnTo>
                <a:cubicBezTo>
                  <a:pt x="5872701" y="1019289"/>
                  <a:pt x="5877417" y="1019402"/>
                  <a:pt x="5882408" y="1019589"/>
                </a:cubicBezTo>
                <a:close/>
                <a:moveTo>
                  <a:pt x="2252417" y="1019506"/>
                </a:moveTo>
                <a:cubicBezTo>
                  <a:pt x="2257262" y="1023564"/>
                  <a:pt x="2251802" y="1031761"/>
                  <a:pt x="2245083" y="1032491"/>
                </a:cubicBezTo>
                <a:cubicBezTo>
                  <a:pt x="2249557" y="1025754"/>
                  <a:pt x="2244113" y="1020615"/>
                  <a:pt x="2252417" y="1019506"/>
                </a:cubicBezTo>
                <a:close/>
                <a:moveTo>
                  <a:pt x="1566496" y="1018925"/>
                </a:moveTo>
                <a:cubicBezTo>
                  <a:pt x="1568937" y="1019364"/>
                  <a:pt x="1571149" y="1020790"/>
                  <a:pt x="1572745" y="1023690"/>
                </a:cubicBezTo>
                <a:lnTo>
                  <a:pt x="1565076" y="1027961"/>
                </a:lnTo>
                <a:lnTo>
                  <a:pt x="1568127" y="1030963"/>
                </a:lnTo>
                <a:cubicBezTo>
                  <a:pt x="1569374" y="1034057"/>
                  <a:pt x="1569284" y="1037713"/>
                  <a:pt x="1567782" y="1041106"/>
                </a:cubicBezTo>
                <a:lnTo>
                  <a:pt x="1566883" y="1042245"/>
                </a:lnTo>
                <a:lnTo>
                  <a:pt x="1587199" y="1047228"/>
                </a:lnTo>
                <a:lnTo>
                  <a:pt x="1593124" y="1048356"/>
                </a:lnTo>
                <a:lnTo>
                  <a:pt x="1594270" y="1047398"/>
                </a:lnTo>
                <a:cubicBezTo>
                  <a:pt x="1596217" y="1046770"/>
                  <a:pt x="1598385" y="1046431"/>
                  <a:pt x="1599617" y="1045151"/>
                </a:cubicBezTo>
                <a:cubicBezTo>
                  <a:pt x="1600799" y="1046273"/>
                  <a:pt x="1602506" y="1047650"/>
                  <a:pt x="1603488" y="1049523"/>
                </a:cubicBezTo>
                <a:lnTo>
                  <a:pt x="1603562" y="1050349"/>
                </a:lnTo>
                <a:lnTo>
                  <a:pt x="1604421" y="1050464"/>
                </a:lnTo>
                <a:lnTo>
                  <a:pt x="1603725" y="1050852"/>
                </a:lnTo>
                <a:lnTo>
                  <a:pt x="1604181" y="1052469"/>
                </a:lnTo>
                <a:cubicBezTo>
                  <a:pt x="1603893" y="1053542"/>
                  <a:pt x="1603577" y="1054722"/>
                  <a:pt x="1602621" y="1056076"/>
                </a:cubicBezTo>
                <a:cubicBezTo>
                  <a:pt x="1601389" y="1057356"/>
                  <a:pt x="1601389" y="1057356"/>
                  <a:pt x="1599585" y="1057447"/>
                </a:cubicBezTo>
                <a:cubicBezTo>
                  <a:pt x="1598219" y="1058116"/>
                  <a:pt x="1597129" y="1058860"/>
                  <a:pt x="1595851" y="1059207"/>
                </a:cubicBezTo>
                <a:lnTo>
                  <a:pt x="1594964" y="1059200"/>
                </a:lnTo>
                <a:lnTo>
                  <a:pt x="1593949" y="1060768"/>
                </a:lnTo>
                <a:cubicBezTo>
                  <a:pt x="1591998" y="1064729"/>
                  <a:pt x="1591459" y="1068955"/>
                  <a:pt x="1590643" y="1073106"/>
                </a:cubicBezTo>
                <a:lnTo>
                  <a:pt x="1593935" y="1074104"/>
                </a:lnTo>
                <a:cubicBezTo>
                  <a:pt x="1596444" y="1075812"/>
                  <a:pt x="1598618" y="1077658"/>
                  <a:pt x="1601575" y="1078796"/>
                </a:cubicBezTo>
                <a:cubicBezTo>
                  <a:pt x="1598869" y="1083361"/>
                  <a:pt x="1594000" y="1084931"/>
                  <a:pt x="1589401" y="1084389"/>
                </a:cubicBezTo>
                <a:lnTo>
                  <a:pt x="1585584" y="1083137"/>
                </a:lnTo>
                <a:lnTo>
                  <a:pt x="1583902" y="1084985"/>
                </a:lnTo>
                <a:cubicBezTo>
                  <a:pt x="1582364" y="1086298"/>
                  <a:pt x="1580578" y="1087430"/>
                  <a:pt x="1577990" y="1088232"/>
                </a:cubicBezTo>
                <a:cubicBezTo>
                  <a:pt x="1559113" y="1095594"/>
                  <a:pt x="1538964" y="1087780"/>
                  <a:pt x="1528363" y="1076429"/>
                </a:cubicBezTo>
                <a:lnTo>
                  <a:pt x="1527983" y="1075638"/>
                </a:lnTo>
                <a:lnTo>
                  <a:pt x="1524439" y="1077793"/>
                </a:lnTo>
                <a:lnTo>
                  <a:pt x="1527702" y="1078897"/>
                </a:lnTo>
                <a:cubicBezTo>
                  <a:pt x="1530153" y="1080818"/>
                  <a:pt x="1530962" y="1083336"/>
                  <a:pt x="1528352" y="1086431"/>
                </a:cubicBezTo>
                <a:cubicBezTo>
                  <a:pt x="1525938" y="1086589"/>
                  <a:pt x="1522312" y="1085733"/>
                  <a:pt x="1519164" y="1084200"/>
                </a:cubicBezTo>
                <a:lnTo>
                  <a:pt x="1515969" y="1081733"/>
                </a:lnTo>
                <a:lnTo>
                  <a:pt x="1505642" y="1082646"/>
                </a:lnTo>
                <a:cubicBezTo>
                  <a:pt x="1503342" y="1082375"/>
                  <a:pt x="1500517" y="1081848"/>
                  <a:pt x="1497473" y="1081032"/>
                </a:cubicBezTo>
                <a:cubicBezTo>
                  <a:pt x="1494707" y="1080291"/>
                  <a:pt x="1491443" y="1079187"/>
                  <a:pt x="1488266" y="1077761"/>
                </a:cubicBezTo>
                <a:cubicBezTo>
                  <a:pt x="1479596" y="1073597"/>
                  <a:pt x="1473771" y="1067666"/>
                  <a:pt x="1468175" y="1060877"/>
                </a:cubicBezTo>
                <a:lnTo>
                  <a:pt x="1464115" y="1056108"/>
                </a:lnTo>
                <a:lnTo>
                  <a:pt x="1462016" y="1055086"/>
                </a:lnTo>
                <a:cubicBezTo>
                  <a:pt x="1459641" y="1053990"/>
                  <a:pt x="1457542" y="1052968"/>
                  <a:pt x="1456360" y="1051846"/>
                </a:cubicBezTo>
                <a:cubicBezTo>
                  <a:pt x="1455673" y="1051087"/>
                  <a:pt x="1455598" y="1050262"/>
                  <a:pt x="1456076" y="1049585"/>
                </a:cubicBezTo>
                <a:lnTo>
                  <a:pt x="1460082" y="1051233"/>
                </a:lnTo>
                <a:lnTo>
                  <a:pt x="1459206" y="1050078"/>
                </a:lnTo>
                <a:cubicBezTo>
                  <a:pt x="1455774" y="1046283"/>
                  <a:pt x="1452094" y="1042308"/>
                  <a:pt x="1447774" y="1038505"/>
                </a:cubicBezTo>
                <a:cubicBezTo>
                  <a:pt x="1457326" y="1040490"/>
                  <a:pt x="1464057" y="1038613"/>
                  <a:pt x="1470101" y="1035978"/>
                </a:cubicBezTo>
                <a:lnTo>
                  <a:pt x="1476567" y="1032879"/>
                </a:lnTo>
                <a:lnTo>
                  <a:pt x="1475661" y="1031832"/>
                </a:lnTo>
                <a:cubicBezTo>
                  <a:pt x="1475193" y="1031362"/>
                  <a:pt x="1475193" y="1031362"/>
                  <a:pt x="1475021" y="1032006"/>
                </a:cubicBezTo>
                <a:cubicBezTo>
                  <a:pt x="1472667" y="1028615"/>
                  <a:pt x="1468741" y="1024458"/>
                  <a:pt x="1471223" y="1022938"/>
                </a:cubicBezTo>
                <a:cubicBezTo>
                  <a:pt x="1476427" y="1021227"/>
                  <a:pt x="1482445" y="1024220"/>
                  <a:pt x="1487681" y="1027923"/>
                </a:cubicBezTo>
                <a:lnTo>
                  <a:pt x="1488426" y="1028467"/>
                </a:lnTo>
                <a:lnTo>
                  <a:pt x="1494783" y="1027985"/>
                </a:lnTo>
                <a:cubicBezTo>
                  <a:pt x="1497139" y="1028042"/>
                  <a:pt x="1499688" y="1028495"/>
                  <a:pt x="1502702" y="1029418"/>
                </a:cubicBezTo>
                <a:lnTo>
                  <a:pt x="1513835" y="1034356"/>
                </a:lnTo>
                <a:lnTo>
                  <a:pt x="1515050" y="1032036"/>
                </a:lnTo>
                <a:cubicBezTo>
                  <a:pt x="1520716" y="1034130"/>
                  <a:pt x="1521860" y="1036506"/>
                  <a:pt x="1521475" y="1039048"/>
                </a:cubicBezTo>
                <a:lnTo>
                  <a:pt x="1521084" y="1039404"/>
                </a:lnTo>
                <a:lnTo>
                  <a:pt x="1526775" y="1044723"/>
                </a:lnTo>
                <a:lnTo>
                  <a:pt x="1531947" y="1037599"/>
                </a:lnTo>
                <a:cubicBezTo>
                  <a:pt x="1534107" y="1035073"/>
                  <a:pt x="1536792" y="1032801"/>
                  <a:pt x="1539112" y="1030779"/>
                </a:cubicBezTo>
                <a:cubicBezTo>
                  <a:pt x="1543785" y="1026626"/>
                  <a:pt x="1549372" y="1022373"/>
                  <a:pt x="1554813" y="1021991"/>
                </a:cubicBezTo>
                <a:lnTo>
                  <a:pt x="1555395" y="1022032"/>
                </a:lnTo>
                <a:lnTo>
                  <a:pt x="1558880" y="1020090"/>
                </a:lnTo>
                <a:cubicBezTo>
                  <a:pt x="1561387" y="1019037"/>
                  <a:pt x="1564056" y="1018487"/>
                  <a:pt x="1566496" y="1018925"/>
                </a:cubicBezTo>
                <a:close/>
                <a:moveTo>
                  <a:pt x="5704591" y="1016910"/>
                </a:moveTo>
                <a:cubicBezTo>
                  <a:pt x="5709278" y="1017130"/>
                  <a:pt x="5715954" y="1020989"/>
                  <a:pt x="5716199" y="1024505"/>
                </a:cubicBezTo>
                <a:cubicBezTo>
                  <a:pt x="5712979" y="1027667"/>
                  <a:pt x="5709496" y="1026274"/>
                  <a:pt x="5708005" y="1028519"/>
                </a:cubicBezTo>
                <a:cubicBezTo>
                  <a:pt x="5704666" y="1026590"/>
                  <a:pt x="5703075" y="1024782"/>
                  <a:pt x="5702705" y="1022844"/>
                </a:cubicBezTo>
                <a:cubicBezTo>
                  <a:pt x="5702305" y="1021012"/>
                  <a:pt x="5702852" y="1018974"/>
                  <a:pt x="5704591" y="1016910"/>
                </a:cubicBezTo>
                <a:close/>
                <a:moveTo>
                  <a:pt x="1616982" y="1015763"/>
                </a:moveTo>
                <a:cubicBezTo>
                  <a:pt x="1616982" y="1015763"/>
                  <a:pt x="1617304" y="1016770"/>
                  <a:pt x="1616378" y="1018016"/>
                </a:cubicBezTo>
                <a:cubicBezTo>
                  <a:pt x="1616378" y="1018016"/>
                  <a:pt x="1615853" y="1017761"/>
                  <a:pt x="1615357" y="1017399"/>
                </a:cubicBezTo>
                <a:cubicBezTo>
                  <a:pt x="1615168" y="1017002"/>
                  <a:pt x="1615005" y="1016499"/>
                  <a:pt x="1615455" y="1015929"/>
                </a:cubicBezTo>
                <a:cubicBezTo>
                  <a:pt x="1615455" y="1015929"/>
                  <a:pt x="1615455" y="1015929"/>
                  <a:pt x="1616982" y="1015763"/>
                </a:cubicBezTo>
                <a:close/>
                <a:moveTo>
                  <a:pt x="2306242" y="1015643"/>
                </a:moveTo>
                <a:cubicBezTo>
                  <a:pt x="2314626" y="1020878"/>
                  <a:pt x="2323053" y="1021526"/>
                  <a:pt x="2330006" y="1025460"/>
                </a:cubicBezTo>
                <a:cubicBezTo>
                  <a:pt x="2325891" y="1026428"/>
                  <a:pt x="2319974" y="1027486"/>
                  <a:pt x="2314485" y="1026936"/>
                </a:cubicBezTo>
                <a:cubicBezTo>
                  <a:pt x="2308998" y="1026386"/>
                  <a:pt x="2303913" y="1024334"/>
                  <a:pt x="2301218" y="1018896"/>
                </a:cubicBezTo>
                <a:cubicBezTo>
                  <a:pt x="2302699" y="1017798"/>
                  <a:pt x="2304456" y="1016774"/>
                  <a:pt x="2306242" y="1015643"/>
                </a:cubicBezTo>
                <a:close/>
                <a:moveTo>
                  <a:pt x="1549771" y="1015350"/>
                </a:moveTo>
                <a:lnTo>
                  <a:pt x="1549132" y="1015523"/>
                </a:lnTo>
                <a:lnTo>
                  <a:pt x="1548845" y="1016597"/>
                </a:lnTo>
                <a:close/>
                <a:moveTo>
                  <a:pt x="4858702" y="1014967"/>
                </a:moveTo>
                <a:cubicBezTo>
                  <a:pt x="4859122" y="1014505"/>
                  <a:pt x="4860535" y="1014769"/>
                  <a:pt x="4862194" y="1015213"/>
                </a:cubicBezTo>
                <a:cubicBezTo>
                  <a:pt x="4867700" y="1016804"/>
                  <a:pt x="4876562" y="1021363"/>
                  <a:pt x="4877639" y="1021766"/>
                </a:cubicBezTo>
                <a:lnTo>
                  <a:pt x="4879548" y="1022393"/>
                </a:lnTo>
                <a:lnTo>
                  <a:pt x="4886656" y="1024643"/>
                </a:lnTo>
                <a:cubicBezTo>
                  <a:pt x="4888349" y="1030501"/>
                  <a:pt x="4878419" y="1033245"/>
                  <a:pt x="4873434" y="1035245"/>
                </a:cubicBezTo>
                <a:cubicBezTo>
                  <a:pt x="4868228" y="1031435"/>
                  <a:pt x="4863297" y="1027699"/>
                  <a:pt x="4863054" y="1024184"/>
                </a:cubicBezTo>
                <a:lnTo>
                  <a:pt x="4869144" y="1022481"/>
                </a:lnTo>
                <a:lnTo>
                  <a:pt x="4868896" y="1022300"/>
                </a:lnTo>
                <a:cubicBezTo>
                  <a:pt x="4865950" y="1020014"/>
                  <a:pt x="4864319" y="1019462"/>
                  <a:pt x="4860768" y="1019431"/>
                </a:cubicBezTo>
                <a:cubicBezTo>
                  <a:pt x="4860768" y="1019431"/>
                  <a:pt x="4860768" y="1019431"/>
                  <a:pt x="4858386" y="1016147"/>
                </a:cubicBezTo>
                <a:close/>
                <a:moveTo>
                  <a:pt x="1276418" y="1014484"/>
                </a:moveTo>
                <a:cubicBezTo>
                  <a:pt x="1278547" y="1014840"/>
                  <a:pt x="1280637" y="1015341"/>
                  <a:pt x="1282694" y="1014857"/>
                </a:cubicBezTo>
                <a:cubicBezTo>
                  <a:pt x="1283208" y="1016260"/>
                  <a:pt x="1283883" y="1018166"/>
                  <a:pt x="1283394" y="1019991"/>
                </a:cubicBezTo>
                <a:lnTo>
                  <a:pt x="1281264" y="1022410"/>
                </a:lnTo>
                <a:lnTo>
                  <a:pt x="1283697" y="1023290"/>
                </a:lnTo>
                <a:cubicBezTo>
                  <a:pt x="1288293" y="1027168"/>
                  <a:pt x="1290147" y="1033530"/>
                  <a:pt x="1284311" y="1037601"/>
                </a:cubicBezTo>
                <a:cubicBezTo>
                  <a:pt x="1280875" y="1037140"/>
                  <a:pt x="1278108" y="1036399"/>
                  <a:pt x="1275675" y="1035518"/>
                </a:cubicBezTo>
                <a:cubicBezTo>
                  <a:pt x="1272937" y="1034668"/>
                  <a:pt x="1271087" y="1033828"/>
                  <a:pt x="1269178" y="1033201"/>
                </a:cubicBezTo>
                <a:cubicBezTo>
                  <a:pt x="1268657" y="1029611"/>
                  <a:pt x="1267018" y="1026873"/>
                  <a:pt x="1266774" y="1023356"/>
                </a:cubicBezTo>
                <a:lnTo>
                  <a:pt x="1267166" y="1023002"/>
                </a:lnTo>
                <a:lnTo>
                  <a:pt x="1266889" y="1022928"/>
                </a:lnTo>
                <a:cubicBezTo>
                  <a:pt x="1265078" y="1020832"/>
                  <a:pt x="1264565" y="1019430"/>
                  <a:pt x="1265186" y="1018216"/>
                </a:cubicBezTo>
                <a:cubicBezTo>
                  <a:pt x="1265807" y="1017003"/>
                  <a:pt x="1267536" y="1016086"/>
                  <a:pt x="1269904" y="1014996"/>
                </a:cubicBezTo>
                <a:cubicBezTo>
                  <a:pt x="1272120" y="1013922"/>
                  <a:pt x="1274289" y="1014129"/>
                  <a:pt x="1276418" y="1014484"/>
                </a:cubicBezTo>
                <a:close/>
                <a:moveTo>
                  <a:pt x="4839720" y="1012756"/>
                </a:moveTo>
                <a:cubicBezTo>
                  <a:pt x="4845405" y="1015889"/>
                  <a:pt x="4844705" y="1019612"/>
                  <a:pt x="4844032" y="1023227"/>
                </a:cubicBezTo>
                <a:cubicBezTo>
                  <a:pt x="4843095" y="1025621"/>
                  <a:pt x="4843637" y="1026915"/>
                  <a:pt x="4845725" y="1029086"/>
                </a:cubicBezTo>
                <a:cubicBezTo>
                  <a:pt x="4845725" y="1029086"/>
                  <a:pt x="4845725" y="1029086"/>
                  <a:pt x="4842983" y="1031570"/>
                </a:cubicBezTo>
                <a:lnTo>
                  <a:pt x="4841456" y="1031736"/>
                </a:lnTo>
                <a:cubicBezTo>
                  <a:pt x="4840626" y="1031514"/>
                  <a:pt x="4839997" y="1030541"/>
                  <a:pt x="4839455" y="1029245"/>
                </a:cubicBezTo>
                <a:cubicBezTo>
                  <a:pt x="4837798" y="1025467"/>
                  <a:pt x="4837891" y="1018477"/>
                  <a:pt x="4837816" y="1017651"/>
                </a:cubicBezTo>
                <a:cubicBezTo>
                  <a:pt x="4837816" y="1017651"/>
                  <a:pt x="4837245" y="1016463"/>
                  <a:pt x="4836978" y="1015242"/>
                </a:cubicBezTo>
                <a:cubicBezTo>
                  <a:pt x="4838211" y="1013961"/>
                  <a:pt x="4840015" y="1013870"/>
                  <a:pt x="4839720" y="1012756"/>
                </a:cubicBezTo>
                <a:close/>
                <a:moveTo>
                  <a:pt x="1353824" y="1008387"/>
                </a:moveTo>
                <a:cubicBezTo>
                  <a:pt x="1370872" y="1015600"/>
                  <a:pt x="1367053" y="1026536"/>
                  <a:pt x="1369418" y="1028780"/>
                </a:cubicBezTo>
                <a:cubicBezTo>
                  <a:pt x="1366284" y="1031620"/>
                  <a:pt x="1365500" y="1032329"/>
                  <a:pt x="1360691" y="1030352"/>
                </a:cubicBezTo>
                <a:lnTo>
                  <a:pt x="1355665" y="1028084"/>
                </a:lnTo>
                <a:lnTo>
                  <a:pt x="1352790" y="1029959"/>
                </a:lnTo>
                <a:cubicBezTo>
                  <a:pt x="1350692" y="1028937"/>
                  <a:pt x="1348621" y="1027807"/>
                  <a:pt x="1346830" y="1026752"/>
                </a:cubicBezTo>
                <a:lnTo>
                  <a:pt x="1349038" y="1021824"/>
                </a:lnTo>
                <a:lnTo>
                  <a:pt x="1348212" y="1018267"/>
                </a:lnTo>
                <a:cubicBezTo>
                  <a:pt x="1345877" y="1015916"/>
                  <a:pt x="1345020" y="1012467"/>
                  <a:pt x="1345960" y="1010074"/>
                </a:cubicBezTo>
                <a:cubicBezTo>
                  <a:pt x="1348453" y="1007407"/>
                  <a:pt x="1351755" y="1007257"/>
                  <a:pt x="1353824" y="1008387"/>
                </a:cubicBezTo>
                <a:close/>
                <a:moveTo>
                  <a:pt x="2300208" y="1008275"/>
                </a:moveTo>
                <a:cubicBezTo>
                  <a:pt x="2304993" y="1007027"/>
                  <a:pt x="2317475" y="1015778"/>
                  <a:pt x="2322176" y="1020372"/>
                </a:cubicBezTo>
                <a:cubicBezTo>
                  <a:pt x="2320897" y="1020719"/>
                  <a:pt x="2319208" y="1020381"/>
                  <a:pt x="2317328" y="1019648"/>
                </a:cubicBezTo>
                <a:cubicBezTo>
                  <a:pt x="2311385" y="1017481"/>
                  <a:pt x="2303450" y="1011674"/>
                  <a:pt x="2300208" y="1008275"/>
                </a:cubicBezTo>
                <a:close/>
                <a:moveTo>
                  <a:pt x="5218777" y="1008177"/>
                </a:moveTo>
                <a:cubicBezTo>
                  <a:pt x="5219715" y="1005783"/>
                  <a:pt x="5223302" y="1007895"/>
                  <a:pt x="5225372" y="1009024"/>
                </a:cubicBezTo>
                <a:cubicBezTo>
                  <a:pt x="5222957" y="1009182"/>
                  <a:pt x="5221371" y="1009563"/>
                  <a:pt x="5220427" y="1009769"/>
                </a:cubicBezTo>
                <a:cubicBezTo>
                  <a:pt x="5219482" y="1009977"/>
                  <a:pt x="5219176" y="1010009"/>
                  <a:pt x="5219043" y="1009399"/>
                </a:cubicBezTo>
                <a:cubicBezTo>
                  <a:pt x="5217544" y="1009458"/>
                  <a:pt x="5217250" y="1008344"/>
                  <a:pt x="5218777" y="1008177"/>
                </a:cubicBezTo>
                <a:close/>
                <a:moveTo>
                  <a:pt x="960640" y="1008144"/>
                </a:moveTo>
                <a:cubicBezTo>
                  <a:pt x="963150" y="1006517"/>
                  <a:pt x="966543" y="1011566"/>
                  <a:pt x="968145" y="1012225"/>
                </a:cubicBezTo>
                <a:cubicBezTo>
                  <a:pt x="969461" y="1013958"/>
                  <a:pt x="970500" y="1015616"/>
                  <a:pt x="968580" y="1016136"/>
                </a:cubicBezTo>
                <a:cubicBezTo>
                  <a:pt x="967636" y="1016344"/>
                  <a:pt x="966939" y="1016732"/>
                  <a:pt x="966328" y="1016799"/>
                </a:cubicBezTo>
                <a:cubicBezTo>
                  <a:pt x="965716" y="1016865"/>
                  <a:pt x="964915" y="1016535"/>
                  <a:pt x="963456" y="1015339"/>
                </a:cubicBezTo>
                <a:cubicBezTo>
                  <a:pt x="961854" y="1014680"/>
                  <a:pt x="960787" y="1013128"/>
                  <a:pt x="959183" y="1012469"/>
                </a:cubicBezTo>
                <a:cubicBezTo>
                  <a:pt x="959183" y="1012469"/>
                  <a:pt x="958890" y="1011355"/>
                  <a:pt x="959148" y="1010389"/>
                </a:cubicBezTo>
                <a:cubicBezTo>
                  <a:pt x="959407" y="1009423"/>
                  <a:pt x="959694" y="1008351"/>
                  <a:pt x="960640" y="1008144"/>
                </a:cubicBezTo>
                <a:close/>
                <a:moveTo>
                  <a:pt x="5006761" y="1008063"/>
                </a:moveTo>
                <a:cubicBezTo>
                  <a:pt x="5015633" y="1011476"/>
                  <a:pt x="5010080" y="1017809"/>
                  <a:pt x="5004784" y="1017655"/>
                </a:cubicBezTo>
                <a:cubicBezTo>
                  <a:pt x="5003037" y="1017531"/>
                  <a:pt x="5001187" y="1016691"/>
                  <a:pt x="5000205" y="1014817"/>
                </a:cubicBezTo>
                <a:cubicBezTo>
                  <a:pt x="5001144" y="1012424"/>
                  <a:pt x="5003828" y="1010152"/>
                  <a:pt x="5006761" y="1008063"/>
                </a:cubicBezTo>
                <a:close/>
                <a:moveTo>
                  <a:pt x="1644469" y="1007259"/>
                </a:moveTo>
                <a:cubicBezTo>
                  <a:pt x="1652048" y="1006644"/>
                  <a:pt x="1657335" y="1007945"/>
                  <a:pt x="1660892" y="1010163"/>
                </a:cubicBezTo>
                <a:cubicBezTo>
                  <a:pt x="1668999" y="1015326"/>
                  <a:pt x="1667489" y="1025387"/>
                  <a:pt x="1658846" y="1029971"/>
                </a:cubicBezTo>
                <a:lnTo>
                  <a:pt x="1655734" y="1030517"/>
                </a:lnTo>
                <a:lnTo>
                  <a:pt x="1668032" y="1035537"/>
                </a:lnTo>
                <a:cubicBezTo>
                  <a:pt x="1682086" y="1039534"/>
                  <a:pt x="1696449" y="1040161"/>
                  <a:pt x="1703913" y="1048832"/>
                </a:cubicBezTo>
                <a:cubicBezTo>
                  <a:pt x="1691526" y="1047468"/>
                  <a:pt x="1674352" y="1050686"/>
                  <a:pt x="1663791" y="1046937"/>
                </a:cubicBezTo>
                <a:cubicBezTo>
                  <a:pt x="1660556" y="1045724"/>
                  <a:pt x="1658049" y="1044017"/>
                  <a:pt x="1656410" y="1041278"/>
                </a:cubicBezTo>
                <a:lnTo>
                  <a:pt x="1654818" y="1030616"/>
                </a:lnTo>
                <a:lnTo>
                  <a:pt x="1647592" y="1032130"/>
                </a:lnTo>
                <a:cubicBezTo>
                  <a:pt x="1642652" y="1029542"/>
                  <a:pt x="1640117" y="1024608"/>
                  <a:pt x="1639693" y="1019549"/>
                </a:cubicBezTo>
                <a:cubicBezTo>
                  <a:pt x="1639517" y="1014672"/>
                  <a:pt x="1641145" y="1009703"/>
                  <a:pt x="1644469" y="1007259"/>
                </a:cubicBezTo>
                <a:close/>
                <a:moveTo>
                  <a:pt x="992983" y="1007108"/>
                </a:moveTo>
                <a:cubicBezTo>
                  <a:pt x="997432" y="1005583"/>
                  <a:pt x="1003409" y="1005690"/>
                  <a:pt x="1011451" y="1008879"/>
                </a:cubicBezTo>
                <a:cubicBezTo>
                  <a:pt x="1015383" y="1009702"/>
                  <a:pt x="1013551" y="1009901"/>
                  <a:pt x="1015677" y="1010817"/>
                </a:cubicBezTo>
                <a:cubicBezTo>
                  <a:pt x="1017777" y="1011839"/>
                  <a:pt x="1021736" y="1012555"/>
                  <a:pt x="1023292" y="1012281"/>
                </a:cubicBezTo>
                <a:cubicBezTo>
                  <a:pt x="1020385" y="1017598"/>
                  <a:pt x="1026138" y="1019370"/>
                  <a:pt x="1021014" y="1027427"/>
                </a:cubicBezTo>
                <a:cubicBezTo>
                  <a:pt x="1016776" y="1035492"/>
                  <a:pt x="1008662" y="1036997"/>
                  <a:pt x="1001763" y="1036184"/>
                </a:cubicBezTo>
                <a:lnTo>
                  <a:pt x="996172" y="1034915"/>
                </a:lnTo>
                <a:lnTo>
                  <a:pt x="993620" y="1037797"/>
                </a:lnTo>
                <a:cubicBezTo>
                  <a:pt x="984417" y="1031191"/>
                  <a:pt x="980478" y="1037036"/>
                  <a:pt x="974703" y="1037558"/>
                </a:cubicBezTo>
                <a:cubicBezTo>
                  <a:pt x="972870" y="1037757"/>
                  <a:pt x="970599" y="1037378"/>
                  <a:pt x="968062" y="1035779"/>
                </a:cubicBezTo>
                <a:cubicBezTo>
                  <a:pt x="966015" y="1032355"/>
                  <a:pt x="961887" y="1028948"/>
                  <a:pt x="961203" y="1024855"/>
                </a:cubicBezTo>
                <a:cubicBezTo>
                  <a:pt x="961242" y="1023600"/>
                  <a:pt x="961616" y="1022206"/>
                  <a:pt x="962324" y="1020671"/>
                </a:cubicBezTo>
                <a:cubicBezTo>
                  <a:pt x="968763" y="1023201"/>
                  <a:pt x="974603" y="1024651"/>
                  <a:pt x="980252" y="1025705"/>
                </a:cubicBezTo>
                <a:lnTo>
                  <a:pt x="985042" y="1026643"/>
                </a:lnTo>
                <a:lnTo>
                  <a:pt x="982746" y="1023038"/>
                </a:lnTo>
                <a:cubicBezTo>
                  <a:pt x="981881" y="1020735"/>
                  <a:pt x="981958" y="1018227"/>
                  <a:pt x="983681" y="1015123"/>
                </a:cubicBezTo>
                <a:cubicBezTo>
                  <a:pt x="985612" y="1011788"/>
                  <a:pt x="988534" y="1008632"/>
                  <a:pt x="992983" y="1007108"/>
                </a:cubicBezTo>
                <a:close/>
                <a:moveTo>
                  <a:pt x="1914727" y="1005842"/>
                </a:moveTo>
                <a:cubicBezTo>
                  <a:pt x="1914924" y="1008425"/>
                  <a:pt x="1916832" y="1009052"/>
                  <a:pt x="1914138" y="1012470"/>
                </a:cubicBezTo>
                <a:cubicBezTo>
                  <a:pt x="1911924" y="1011877"/>
                  <a:pt x="1909739" y="1011176"/>
                  <a:pt x="1907525" y="1010583"/>
                </a:cubicBezTo>
                <a:cubicBezTo>
                  <a:pt x="1908942" y="1007513"/>
                  <a:pt x="1910328" y="1004549"/>
                  <a:pt x="1914727" y="1005842"/>
                </a:cubicBezTo>
                <a:close/>
                <a:moveTo>
                  <a:pt x="1402925" y="1005558"/>
                </a:moveTo>
                <a:cubicBezTo>
                  <a:pt x="1411642" y="1010653"/>
                  <a:pt x="1422498" y="1015517"/>
                  <a:pt x="1419016" y="1022980"/>
                </a:cubicBezTo>
                <a:cubicBezTo>
                  <a:pt x="1415788" y="1023955"/>
                  <a:pt x="1413068" y="1024146"/>
                  <a:pt x="1410244" y="1023619"/>
                </a:cubicBezTo>
                <a:cubicBezTo>
                  <a:pt x="1402573" y="1022368"/>
                  <a:pt x="1397005" y="1015471"/>
                  <a:pt x="1397745" y="1010495"/>
                </a:cubicBezTo>
                <a:cubicBezTo>
                  <a:pt x="1398073" y="1008168"/>
                  <a:pt x="1399755" y="1006318"/>
                  <a:pt x="1402925" y="1005558"/>
                </a:cubicBezTo>
                <a:close/>
                <a:moveTo>
                  <a:pt x="5725470" y="1003184"/>
                </a:moveTo>
                <a:cubicBezTo>
                  <a:pt x="5727073" y="1003843"/>
                  <a:pt x="5728475" y="1005254"/>
                  <a:pt x="5729818" y="1006878"/>
                </a:cubicBezTo>
                <a:cubicBezTo>
                  <a:pt x="5732173" y="1010269"/>
                  <a:pt x="5729966" y="1011863"/>
                  <a:pt x="5729966" y="1011863"/>
                </a:cubicBezTo>
                <a:cubicBezTo>
                  <a:pt x="5727874" y="1013028"/>
                  <a:pt x="5725430" y="1013293"/>
                  <a:pt x="5723131" y="1013022"/>
                </a:cubicBezTo>
                <a:cubicBezTo>
                  <a:pt x="5720582" y="1012569"/>
                  <a:pt x="5718484" y="1011547"/>
                  <a:pt x="5716367" y="1009484"/>
                </a:cubicBezTo>
                <a:cubicBezTo>
                  <a:pt x="5715340" y="1006679"/>
                  <a:pt x="5717546" y="1005086"/>
                  <a:pt x="5720058" y="1003458"/>
                </a:cubicBezTo>
                <a:cubicBezTo>
                  <a:pt x="5722122" y="1002400"/>
                  <a:pt x="5723896" y="1002417"/>
                  <a:pt x="5725470" y="1003184"/>
                </a:cubicBezTo>
                <a:close/>
                <a:moveTo>
                  <a:pt x="1567423" y="1002599"/>
                </a:moveTo>
                <a:cubicBezTo>
                  <a:pt x="1573177" y="1004371"/>
                  <a:pt x="1577521" y="1002545"/>
                  <a:pt x="1582998" y="1004242"/>
                </a:cubicBezTo>
                <a:cubicBezTo>
                  <a:pt x="1582998" y="1004242"/>
                  <a:pt x="1582998" y="1004242"/>
                  <a:pt x="1582013" y="1005704"/>
                </a:cubicBezTo>
                <a:cubicBezTo>
                  <a:pt x="1573177" y="1004371"/>
                  <a:pt x="1566320" y="1007823"/>
                  <a:pt x="1556913" y="1005303"/>
                </a:cubicBezTo>
                <a:cubicBezTo>
                  <a:pt x="1557896" y="1003842"/>
                  <a:pt x="1561670" y="1000828"/>
                  <a:pt x="1567423" y="1002599"/>
                </a:cubicBezTo>
                <a:close/>
                <a:moveTo>
                  <a:pt x="2342451" y="1000044"/>
                </a:moveTo>
                <a:cubicBezTo>
                  <a:pt x="2343795" y="1001669"/>
                  <a:pt x="2354928" y="997753"/>
                  <a:pt x="2361184" y="1002074"/>
                </a:cubicBezTo>
                <a:cubicBezTo>
                  <a:pt x="2364189" y="1004144"/>
                  <a:pt x="2365533" y="1005769"/>
                  <a:pt x="2368508" y="1007946"/>
                </a:cubicBezTo>
                <a:lnTo>
                  <a:pt x="2368810" y="1011247"/>
                </a:lnTo>
                <a:lnTo>
                  <a:pt x="2377557" y="1016236"/>
                </a:lnTo>
                <a:cubicBezTo>
                  <a:pt x="2378930" y="1017754"/>
                  <a:pt x="2382178" y="1023339"/>
                  <a:pt x="2380448" y="1024256"/>
                </a:cubicBezTo>
                <a:cubicBezTo>
                  <a:pt x="2378749" y="1025065"/>
                  <a:pt x="2377090" y="1024621"/>
                  <a:pt x="2375429" y="1024175"/>
                </a:cubicBezTo>
                <a:lnTo>
                  <a:pt x="2366740" y="1018972"/>
                </a:lnTo>
                <a:lnTo>
                  <a:pt x="2364084" y="1021136"/>
                </a:lnTo>
                <a:cubicBezTo>
                  <a:pt x="2361687" y="1022333"/>
                  <a:pt x="2359550" y="1022566"/>
                  <a:pt x="2357497" y="1022476"/>
                </a:cubicBezTo>
                <a:lnTo>
                  <a:pt x="2355007" y="1021809"/>
                </a:lnTo>
                <a:lnTo>
                  <a:pt x="2355187" y="1023352"/>
                </a:lnTo>
                <a:lnTo>
                  <a:pt x="2349774" y="1023627"/>
                </a:lnTo>
                <a:lnTo>
                  <a:pt x="2347263" y="1025253"/>
                </a:lnTo>
                <a:cubicBezTo>
                  <a:pt x="2344657" y="1025016"/>
                  <a:pt x="2342911" y="1024893"/>
                  <a:pt x="2341861" y="1024382"/>
                </a:cubicBezTo>
                <a:cubicBezTo>
                  <a:pt x="2340564" y="1023689"/>
                  <a:pt x="2340212" y="1022789"/>
                  <a:pt x="2339842" y="1020851"/>
                </a:cubicBezTo>
                <a:lnTo>
                  <a:pt x="2339766" y="1020025"/>
                </a:lnTo>
                <a:lnTo>
                  <a:pt x="2336740" y="1020249"/>
                </a:lnTo>
                <a:cubicBezTo>
                  <a:pt x="2336751" y="1019102"/>
                  <a:pt x="2337068" y="1017922"/>
                  <a:pt x="2335408" y="1017477"/>
                </a:cubicBezTo>
                <a:lnTo>
                  <a:pt x="2339217" y="1016543"/>
                </a:lnTo>
                <a:lnTo>
                  <a:pt x="2339198" y="1015503"/>
                </a:lnTo>
                <a:lnTo>
                  <a:pt x="2340453" y="1011929"/>
                </a:lnTo>
                <a:lnTo>
                  <a:pt x="2339986" y="1011459"/>
                </a:lnTo>
                <a:cubicBezTo>
                  <a:pt x="2339986" y="1011459"/>
                  <a:pt x="2334898" y="1003885"/>
                  <a:pt x="2342451" y="1000044"/>
                </a:cubicBezTo>
                <a:close/>
                <a:moveTo>
                  <a:pt x="1420454" y="999904"/>
                </a:moveTo>
                <a:cubicBezTo>
                  <a:pt x="1419117" y="1000466"/>
                  <a:pt x="1417464" y="1002208"/>
                  <a:pt x="1415383" y="1002225"/>
                </a:cubicBezTo>
                <a:cubicBezTo>
                  <a:pt x="1414801" y="1002184"/>
                  <a:pt x="1413971" y="1001962"/>
                  <a:pt x="1413226" y="1001418"/>
                </a:cubicBezTo>
                <a:cubicBezTo>
                  <a:pt x="1415491" y="999609"/>
                  <a:pt x="1417162" y="998907"/>
                  <a:pt x="1420454" y="999904"/>
                </a:cubicBezTo>
                <a:close/>
                <a:moveTo>
                  <a:pt x="1246360" y="996612"/>
                </a:moveTo>
                <a:cubicBezTo>
                  <a:pt x="1251308" y="1001388"/>
                  <a:pt x="1246686" y="1003139"/>
                  <a:pt x="1242065" y="1004891"/>
                </a:cubicBezTo>
                <a:cubicBezTo>
                  <a:pt x="1239701" y="1002648"/>
                  <a:pt x="1235960" y="1002220"/>
                  <a:pt x="1234476" y="997797"/>
                </a:cubicBezTo>
                <a:cubicBezTo>
                  <a:pt x="1238533" y="997045"/>
                  <a:pt x="1242303" y="997364"/>
                  <a:pt x="1246360" y="996612"/>
                </a:cubicBezTo>
                <a:close/>
                <a:moveTo>
                  <a:pt x="5235588" y="996351"/>
                </a:moveTo>
                <a:cubicBezTo>
                  <a:pt x="5238032" y="996087"/>
                  <a:pt x="5240885" y="996506"/>
                  <a:pt x="5243728" y="998072"/>
                </a:cubicBezTo>
                <a:cubicBezTo>
                  <a:pt x="5247846" y="1002626"/>
                  <a:pt x="5246142" y="1006770"/>
                  <a:pt x="5242207" y="1009280"/>
                </a:cubicBezTo>
                <a:lnTo>
                  <a:pt x="5240870" y="1009842"/>
                </a:lnTo>
                <a:lnTo>
                  <a:pt x="5241949" y="1010246"/>
                </a:lnTo>
                <a:cubicBezTo>
                  <a:pt x="5243598" y="1011838"/>
                  <a:pt x="5243968" y="1013778"/>
                  <a:pt x="5243336" y="1016138"/>
                </a:cubicBezTo>
                <a:cubicBezTo>
                  <a:pt x="5238747" y="1014448"/>
                  <a:pt x="5236759" y="1016331"/>
                  <a:pt x="5232171" y="1014641"/>
                </a:cubicBezTo>
                <a:lnTo>
                  <a:pt x="5232976" y="1011637"/>
                </a:lnTo>
                <a:lnTo>
                  <a:pt x="5227154" y="1011227"/>
                </a:lnTo>
                <a:cubicBezTo>
                  <a:pt x="5221006" y="1004289"/>
                  <a:pt x="5227370" y="997140"/>
                  <a:pt x="5235588" y="996351"/>
                </a:cubicBezTo>
                <a:close/>
                <a:moveTo>
                  <a:pt x="972088" y="995715"/>
                </a:moveTo>
                <a:cubicBezTo>
                  <a:pt x="974933" y="995471"/>
                  <a:pt x="978040" y="996879"/>
                  <a:pt x="981981" y="998222"/>
                </a:cubicBezTo>
                <a:cubicBezTo>
                  <a:pt x="981320" y="1000690"/>
                  <a:pt x="984589" y="1003982"/>
                  <a:pt x="982343" y="1006830"/>
                </a:cubicBezTo>
                <a:cubicBezTo>
                  <a:pt x="982343" y="1006830"/>
                  <a:pt x="981111" y="1008110"/>
                  <a:pt x="977751" y="1008474"/>
                </a:cubicBezTo>
                <a:cubicBezTo>
                  <a:pt x="973978" y="1011488"/>
                  <a:pt x="967596" y="1008744"/>
                  <a:pt x="967596" y="1008744"/>
                </a:cubicBezTo>
                <a:cubicBezTo>
                  <a:pt x="967596" y="1008744"/>
                  <a:pt x="967625" y="1008635"/>
                  <a:pt x="968196" y="1009824"/>
                </a:cubicBezTo>
                <a:cubicBezTo>
                  <a:pt x="967331" y="1007522"/>
                  <a:pt x="964631" y="1005419"/>
                  <a:pt x="963765" y="1003117"/>
                </a:cubicBezTo>
                <a:cubicBezTo>
                  <a:pt x="966658" y="997854"/>
                  <a:pt x="969242" y="995959"/>
                  <a:pt x="972088" y="995715"/>
                </a:cubicBezTo>
                <a:close/>
                <a:moveTo>
                  <a:pt x="5499367" y="993660"/>
                </a:moveTo>
                <a:cubicBezTo>
                  <a:pt x="5499356" y="994807"/>
                  <a:pt x="5501102" y="994930"/>
                  <a:pt x="5501368" y="996151"/>
                </a:cubicBezTo>
                <a:cubicBezTo>
                  <a:pt x="5503370" y="998642"/>
                  <a:pt x="5503370" y="998642"/>
                  <a:pt x="5501861" y="999848"/>
                </a:cubicBezTo>
                <a:cubicBezTo>
                  <a:pt x="5500074" y="1000980"/>
                  <a:pt x="5494788" y="999677"/>
                  <a:pt x="5493279" y="1000884"/>
                </a:cubicBezTo>
                <a:cubicBezTo>
                  <a:pt x="5493279" y="1000884"/>
                  <a:pt x="5493308" y="1000777"/>
                  <a:pt x="5491277" y="998393"/>
                </a:cubicBezTo>
                <a:cubicBezTo>
                  <a:pt x="5491040" y="997063"/>
                  <a:pt x="5491051" y="995917"/>
                  <a:pt x="5492561" y="994712"/>
                </a:cubicBezTo>
                <a:cubicBezTo>
                  <a:pt x="5494070" y="993505"/>
                  <a:pt x="5497591" y="993644"/>
                  <a:pt x="5499367" y="993660"/>
                </a:cubicBezTo>
                <a:close/>
                <a:moveTo>
                  <a:pt x="5171148" y="993345"/>
                </a:moveTo>
                <a:cubicBezTo>
                  <a:pt x="5181606" y="996377"/>
                  <a:pt x="5188584" y="994683"/>
                  <a:pt x="5196885" y="996907"/>
                </a:cubicBezTo>
                <a:cubicBezTo>
                  <a:pt x="5192778" y="1000062"/>
                  <a:pt x="5185939" y="1004554"/>
                  <a:pt x="5177886" y="1002510"/>
                </a:cubicBezTo>
                <a:cubicBezTo>
                  <a:pt x="5175119" y="1001769"/>
                  <a:pt x="5172219" y="1000418"/>
                  <a:pt x="5169330" y="997918"/>
                </a:cubicBezTo>
                <a:cubicBezTo>
                  <a:pt x="5170038" y="996383"/>
                  <a:pt x="5170470" y="994773"/>
                  <a:pt x="5171148" y="993345"/>
                </a:cubicBezTo>
                <a:close/>
                <a:moveTo>
                  <a:pt x="2091969" y="992958"/>
                </a:moveTo>
                <a:cubicBezTo>
                  <a:pt x="2092771" y="993289"/>
                  <a:pt x="2093791" y="993907"/>
                  <a:pt x="2094534" y="994451"/>
                </a:cubicBezTo>
                <a:cubicBezTo>
                  <a:pt x="2096576" y="995687"/>
                  <a:pt x="2098313" y="996958"/>
                  <a:pt x="2100324" y="998302"/>
                </a:cubicBezTo>
                <a:cubicBezTo>
                  <a:pt x="2100324" y="998302"/>
                  <a:pt x="2100352" y="998195"/>
                  <a:pt x="2089249" y="993150"/>
                </a:cubicBezTo>
                <a:cubicBezTo>
                  <a:pt x="2090280" y="992621"/>
                  <a:pt x="2091167" y="992628"/>
                  <a:pt x="2091969" y="992958"/>
                </a:cubicBezTo>
                <a:close/>
                <a:moveTo>
                  <a:pt x="1597117" y="992500"/>
                </a:moveTo>
                <a:cubicBezTo>
                  <a:pt x="1602299" y="993083"/>
                  <a:pt x="1605983" y="993726"/>
                  <a:pt x="1611736" y="995497"/>
                </a:cubicBezTo>
                <a:cubicBezTo>
                  <a:pt x="1611736" y="995497"/>
                  <a:pt x="1619912" y="999298"/>
                  <a:pt x="1618264" y="1003227"/>
                </a:cubicBezTo>
                <a:cubicBezTo>
                  <a:pt x="1618560" y="1004341"/>
                  <a:pt x="1612422" y="1005111"/>
                  <a:pt x="1610295" y="1004196"/>
                </a:cubicBezTo>
                <a:cubicBezTo>
                  <a:pt x="1606068" y="1002260"/>
                  <a:pt x="1603942" y="1001344"/>
                  <a:pt x="1603075" y="999041"/>
                </a:cubicBezTo>
                <a:cubicBezTo>
                  <a:pt x="1600976" y="998019"/>
                  <a:pt x="1598849" y="997105"/>
                  <a:pt x="1597638" y="996089"/>
                </a:cubicBezTo>
                <a:cubicBezTo>
                  <a:pt x="1596427" y="995075"/>
                  <a:pt x="1595856" y="993887"/>
                  <a:pt x="1597117" y="992500"/>
                </a:cubicBezTo>
                <a:close/>
                <a:moveTo>
                  <a:pt x="2305190" y="991901"/>
                </a:moveTo>
                <a:cubicBezTo>
                  <a:pt x="2307871" y="992963"/>
                  <a:pt x="2310131" y="994489"/>
                  <a:pt x="2311389" y="996435"/>
                </a:cubicBezTo>
                <a:cubicBezTo>
                  <a:pt x="2313055" y="999068"/>
                  <a:pt x="2313023" y="1002510"/>
                  <a:pt x="2309602" y="1006422"/>
                </a:cubicBezTo>
                <a:cubicBezTo>
                  <a:pt x="2301442" y="1006996"/>
                  <a:pt x="2297665" y="1004489"/>
                  <a:pt x="2291433" y="1003393"/>
                </a:cubicBezTo>
                <a:cubicBezTo>
                  <a:pt x="2286579" y="991628"/>
                  <a:pt x="2297338" y="989106"/>
                  <a:pt x="2305190" y="991901"/>
                </a:cubicBezTo>
                <a:close/>
                <a:moveTo>
                  <a:pt x="2268855" y="991364"/>
                </a:moveTo>
                <a:cubicBezTo>
                  <a:pt x="2276014" y="991213"/>
                  <a:pt x="2283237" y="993033"/>
                  <a:pt x="2288364" y="999352"/>
                </a:cubicBezTo>
                <a:cubicBezTo>
                  <a:pt x="2282906" y="1007549"/>
                  <a:pt x="2264539" y="1010793"/>
                  <a:pt x="2254617" y="1006869"/>
                </a:cubicBezTo>
                <a:cubicBezTo>
                  <a:pt x="2251106" y="1005584"/>
                  <a:pt x="2248713" y="1003448"/>
                  <a:pt x="2248020" y="1000502"/>
                </a:cubicBezTo>
                <a:cubicBezTo>
                  <a:pt x="2247592" y="998777"/>
                  <a:pt x="2247833" y="996772"/>
                  <a:pt x="2248742" y="994485"/>
                </a:cubicBezTo>
                <a:lnTo>
                  <a:pt x="2254995" y="993286"/>
                </a:lnTo>
                <a:lnTo>
                  <a:pt x="2254147" y="992024"/>
                </a:lnTo>
                <a:cubicBezTo>
                  <a:pt x="2257575" y="990297"/>
                  <a:pt x="2260974" y="988678"/>
                  <a:pt x="2263996" y="991787"/>
                </a:cubicBezTo>
                <a:lnTo>
                  <a:pt x="2264244" y="991969"/>
                </a:lnTo>
                <a:close/>
                <a:moveTo>
                  <a:pt x="4918496" y="991313"/>
                </a:moveTo>
                <a:cubicBezTo>
                  <a:pt x="4921250" y="991275"/>
                  <a:pt x="4923747" y="991916"/>
                  <a:pt x="4925726" y="993941"/>
                </a:cubicBezTo>
                <a:cubicBezTo>
                  <a:pt x="4920731" y="997087"/>
                  <a:pt x="4917960" y="999679"/>
                  <a:pt x="4912994" y="1002718"/>
                </a:cubicBezTo>
                <a:cubicBezTo>
                  <a:pt x="4912019" y="1003033"/>
                  <a:pt x="4909910" y="1003158"/>
                  <a:pt x="4907610" y="1002886"/>
                </a:cubicBezTo>
                <a:cubicBezTo>
                  <a:pt x="4905587" y="1002690"/>
                  <a:pt x="4903373" y="1002096"/>
                  <a:pt x="4902993" y="1001305"/>
                </a:cubicBezTo>
                <a:cubicBezTo>
                  <a:pt x="4901678" y="999572"/>
                  <a:pt x="4902241" y="998573"/>
                  <a:pt x="4902558" y="997393"/>
                </a:cubicBezTo>
                <a:cubicBezTo>
                  <a:pt x="4905041" y="995873"/>
                  <a:pt x="4907248" y="994279"/>
                  <a:pt x="4909730" y="992760"/>
                </a:cubicBezTo>
                <a:cubicBezTo>
                  <a:pt x="4912732" y="992069"/>
                  <a:pt x="4915743" y="991352"/>
                  <a:pt x="4918496" y="991313"/>
                </a:cubicBezTo>
                <a:close/>
                <a:moveTo>
                  <a:pt x="2414491" y="991287"/>
                </a:moveTo>
                <a:cubicBezTo>
                  <a:pt x="2423350" y="990326"/>
                  <a:pt x="2436229" y="995387"/>
                  <a:pt x="2437860" y="995939"/>
                </a:cubicBezTo>
                <a:cubicBezTo>
                  <a:pt x="2437572" y="997012"/>
                  <a:pt x="2437572" y="997012"/>
                  <a:pt x="2437572" y="997012"/>
                </a:cubicBezTo>
                <a:cubicBezTo>
                  <a:pt x="2432851" y="994711"/>
                  <a:pt x="2426321" y="995837"/>
                  <a:pt x="2420148" y="994527"/>
                </a:cubicBezTo>
                <a:cubicBezTo>
                  <a:pt x="2418153" y="994223"/>
                  <a:pt x="2416245" y="993598"/>
                  <a:pt x="2414204" y="992359"/>
                </a:cubicBezTo>
                <a:cubicBezTo>
                  <a:pt x="2414204" y="992359"/>
                  <a:pt x="2414233" y="992252"/>
                  <a:pt x="2415864" y="992805"/>
                </a:cubicBezTo>
                <a:cubicBezTo>
                  <a:pt x="2415864" y="992805"/>
                  <a:pt x="2414204" y="992359"/>
                  <a:pt x="2414491" y="991287"/>
                </a:cubicBezTo>
                <a:close/>
                <a:moveTo>
                  <a:pt x="814917" y="990833"/>
                </a:moveTo>
                <a:cubicBezTo>
                  <a:pt x="824834" y="989236"/>
                  <a:pt x="846101" y="1013909"/>
                  <a:pt x="811800" y="1003569"/>
                </a:cubicBezTo>
                <a:cubicBezTo>
                  <a:pt x="809969" y="994913"/>
                  <a:pt x="811804" y="991379"/>
                  <a:pt x="814917" y="990833"/>
                </a:cubicBezTo>
                <a:close/>
                <a:moveTo>
                  <a:pt x="5570714" y="990812"/>
                </a:moveTo>
                <a:cubicBezTo>
                  <a:pt x="5573671" y="991950"/>
                  <a:pt x="5577221" y="991980"/>
                  <a:pt x="5580456" y="993193"/>
                </a:cubicBezTo>
                <a:cubicBezTo>
                  <a:pt x="5591085" y="1004436"/>
                  <a:pt x="5585645" y="1004818"/>
                  <a:pt x="5579542" y="1007669"/>
                </a:cubicBezTo>
                <a:cubicBezTo>
                  <a:pt x="5576596" y="1005383"/>
                  <a:pt x="5571443" y="1004693"/>
                  <a:pt x="5569060" y="1001409"/>
                </a:cubicBezTo>
                <a:cubicBezTo>
                  <a:pt x="5569060" y="1001409"/>
                  <a:pt x="5567716" y="999784"/>
                  <a:pt x="5568320" y="997531"/>
                </a:cubicBezTo>
                <a:cubicBezTo>
                  <a:pt x="5566254" y="993067"/>
                  <a:pt x="5572039" y="991397"/>
                  <a:pt x="5572039" y="991397"/>
                </a:cubicBezTo>
                <a:cubicBezTo>
                  <a:pt x="5572039" y="991397"/>
                  <a:pt x="5572344" y="991364"/>
                  <a:pt x="5570714" y="990812"/>
                </a:cubicBezTo>
                <a:close/>
                <a:moveTo>
                  <a:pt x="5536464" y="988304"/>
                </a:moveTo>
                <a:cubicBezTo>
                  <a:pt x="5539886" y="987985"/>
                  <a:pt x="5544346" y="987944"/>
                  <a:pt x="5549058" y="989724"/>
                </a:cubicBezTo>
                <a:cubicBezTo>
                  <a:pt x="5552016" y="990862"/>
                  <a:pt x="5555325" y="992899"/>
                  <a:pt x="5558319" y="996116"/>
                </a:cubicBezTo>
                <a:cubicBezTo>
                  <a:pt x="5564964" y="1003417"/>
                  <a:pt x="5569373" y="1012419"/>
                  <a:pt x="5555318" y="1017277"/>
                </a:cubicBezTo>
                <a:cubicBezTo>
                  <a:pt x="5553083" y="1018978"/>
                  <a:pt x="5553399" y="1017799"/>
                  <a:pt x="5551480" y="1018319"/>
                </a:cubicBezTo>
                <a:cubicBezTo>
                  <a:pt x="5549532" y="1018947"/>
                  <a:pt x="5547049" y="1020467"/>
                  <a:pt x="5546733" y="1021646"/>
                </a:cubicBezTo>
                <a:cubicBezTo>
                  <a:pt x="5541432" y="1015971"/>
                  <a:pt x="5537001" y="1018119"/>
                  <a:pt x="5529042" y="1009086"/>
                </a:cubicBezTo>
                <a:cubicBezTo>
                  <a:pt x="5518413" y="997843"/>
                  <a:pt x="5524023" y="991296"/>
                  <a:pt x="5530095" y="988554"/>
                </a:cubicBezTo>
                <a:cubicBezTo>
                  <a:pt x="5530658" y="989222"/>
                  <a:pt x="5533043" y="988624"/>
                  <a:pt x="5536464" y="988304"/>
                </a:cubicBezTo>
                <a:close/>
                <a:moveTo>
                  <a:pt x="1962468" y="988159"/>
                </a:moveTo>
                <a:cubicBezTo>
                  <a:pt x="1973805" y="997867"/>
                  <a:pt x="1979702" y="1007957"/>
                  <a:pt x="1974958" y="1016807"/>
                </a:cubicBezTo>
                <a:lnTo>
                  <a:pt x="1972942" y="1018796"/>
                </a:lnTo>
                <a:cubicBezTo>
                  <a:pt x="1972942" y="1018796"/>
                  <a:pt x="1974004" y="1018161"/>
                  <a:pt x="1976608" y="1018398"/>
                </a:cubicBezTo>
                <a:cubicBezTo>
                  <a:pt x="1978937" y="1018563"/>
                  <a:pt x="1981266" y="1018726"/>
                  <a:pt x="1982627" y="1021391"/>
                </a:cubicBezTo>
                <a:lnTo>
                  <a:pt x="1982016" y="1021458"/>
                </a:lnTo>
                <a:lnTo>
                  <a:pt x="1988017" y="1023411"/>
                </a:lnTo>
                <a:cubicBezTo>
                  <a:pt x="1991413" y="1025125"/>
                  <a:pt x="1995163" y="1027740"/>
                  <a:pt x="1998518" y="1030709"/>
                </a:cubicBezTo>
                <a:lnTo>
                  <a:pt x="2005676" y="1039412"/>
                </a:lnTo>
                <a:lnTo>
                  <a:pt x="2006973" y="1040105"/>
                </a:lnTo>
                <a:lnTo>
                  <a:pt x="2012799" y="1046036"/>
                </a:lnTo>
                <a:lnTo>
                  <a:pt x="2012827" y="1045928"/>
                </a:lnTo>
                <a:cubicBezTo>
                  <a:pt x="2015667" y="1041975"/>
                  <a:pt x="2019173" y="1037739"/>
                  <a:pt x="2020550" y="1035922"/>
                </a:cubicBezTo>
                <a:cubicBezTo>
                  <a:pt x="2022049" y="1035864"/>
                  <a:pt x="2022354" y="1035831"/>
                  <a:pt x="2022354" y="1035831"/>
                </a:cubicBezTo>
                <a:cubicBezTo>
                  <a:pt x="2023986" y="1036383"/>
                  <a:pt x="2024614" y="1037356"/>
                  <a:pt x="2024298" y="1038537"/>
                </a:cubicBezTo>
                <a:cubicBezTo>
                  <a:pt x="2024259" y="1039791"/>
                  <a:pt x="2022968" y="1041286"/>
                  <a:pt x="2021591" y="1043101"/>
                </a:cubicBezTo>
                <a:cubicBezTo>
                  <a:pt x="2020216" y="1044918"/>
                  <a:pt x="2017951" y="1046727"/>
                  <a:pt x="2016050" y="1048287"/>
                </a:cubicBezTo>
                <a:lnTo>
                  <a:pt x="2014990" y="1048923"/>
                </a:lnTo>
                <a:lnTo>
                  <a:pt x="2024780" y="1061092"/>
                </a:lnTo>
                <a:lnTo>
                  <a:pt x="2029234" y="1062170"/>
                </a:lnTo>
                <a:lnTo>
                  <a:pt x="2029321" y="1061848"/>
                </a:lnTo>
                <a:cubicBezTo>
                  <a:pt x="2032225" y="1059866"/>
                  <a:pt x="2035528" y="1059717"/>
                  <a:pt x="2039269" y="1060143"/>
                </a:cubicBezTo>
                <a:lnTo>
                  <a:pt x="2044726" y="1060801"/>
                </a:lnTo>
                <a:lnTo>
                  <a:pt x="2044450" y="1060727"/>
                </a:lnTo>
                <a:cubicBezTo>
                  <a:pt x="2044041" y="1060042"/>
                  <a:pt x="2043936" y="1059324"/>
                  <a:pt x="2044500" y="1058326"/>
                </a:cubicBezTo>
                <a:cubicBezTo>
                  <a:pt x="2047300" y="1055625"/>
                  <a:pt x="2051662" y="1054839"/>
                  <a:pt x="2056130" y="1054771"/>
                </a:cubicBezTo>
                <a:lnTo>
                  <a:pt x="2063611" y="1055626"/>
                </a:lnTo>
                <a:lnTo>
                  <a:pt x="2061962" y="1045179"/>
                </a:lnTo>
                <a:cubicBezTo>
                  <a:pt x="2061703" y="1037289"/>
                  <a:pt x="2063249" y="1029308"/>
                  <a:pt x="2061427" y="1019506"/>
                </a:cubicBezTo>
                <a:cubicBezTo>
                  <a:pt x="2071420" y="1018733"/>
                  <a:pt x="2075995" y="1016048"/>
                  <a:pt x="2078691" y="1012631"/>
                </a:cubicBezTo>
                <a:lnTo>
                  <a:pt x="2082323" y="1006819"/>
                </a:lnTo>
                <a:lnTo>
                  <a:pt x="2074939" y="1013350"/>
                </a:lnTo>
                <a:cubicBezTo>
                  <a:pt x="2052885" y="1010431"/>
                  <a:pt x="2066393" y="998755"/>
                  <a:pt x="2069628" y="991112"/>
                </a:cubicBezTo>
                <a:cubicBezTo>
                  <a:pt x="2076804" y="992000"/>
                  <a:pt x="2079237" y="992882"/>
                  <a:pt x="2085274" y="996914"/>
                </a:cubicBezTo>
                <a:lnTo>
                  <a:pt x="2082409" y="1006497"/>
                </a:lnTo>
                <a:lnTo>
                  <a:pt x="2085145" y="1001825"/>
                </a:lnTo>
                <a:cubicBezTo>
                  <a:pt x="2100363" y="1005904"/>
                  <a:pt x="2117185" y="1001785"/>
                  <a:pt x="2133849" y="1002686"/>
                </a:cubicBezTo>
                <a:cubicBezTo>
                  <a:pt x="2141973" y="1008887"/>
                  <a:pt x="2150414" y="1013909"/>
                  <a:pt x="2158579" y="1018857"/>
                </a:cubicBezTo>
                <a:lnTo>
                  <a:pt x="2168421" y="1025289"/>
                </a:lnTo>
                <a:lnTo>
                  <a:pt x="2174419" y="1021721"/>
                </a:lnTo>
                <a:cubicBezTo>
                  <a:pt x="2177147" y="1023717"/>
                  <a:pt x="2177909" y="1025301"/>
                  <a:pt x="2177535" y="1026696"/>
                </a:cubicBezTo>
                <a:lnTo>
                  <a:pt x="2174763" y="1029289"/>
                </a:lnTo>
                <a:lnTo>
                  <a:pt x="2183615" y="1034996"/>
                </a:lnTo>
                <a:lnTo>
                  <a:pt x="2185549" y="1047703"/>
                </a:lnTo>
                <a:lnTo>
                  <a:pt x="2194949" y="1048037"/>
                </a:lnTo>
                <a:cubicBezTo>
                  <a:pt x="2195251" y="1051338"/>
                  <a:pt x="2194647" y="1053591"/>
                  <a:pt x="2193327" y="1055193"/>
                </a:cubicBezTo>
                <a:lnTo>
                  <a:pt x="2189012" y="1056911"/>
                </a:lnTo>
                <a:lnTo>
                  <a:pt x="2191096" y="1062415"/>
                </a:lnTo>
                <a:lnTo>
                  <a:pt x="2193471" y="1072366"/>
                </a:lnTo>
                <a:lnTo>
                  <a:pt x="2197270" y="1072580"/>
                </a:lnTo>
                <a:lnTo>
                  <a:pt x="2198538" y="1073379"/>
                </a:lnTo>
                <a:lnTo>
                  <a:pt x="2199426" y="1073387"/>
                </a:lnTo>
                <a:cubicBezTo>
                  <a:pt x="2201114" y="1073725"/>
                  <a:pt x="2203271" y="1074533"/>
                  <a:pt x="2204931" y="1074977"/>
                </a:cubicBezTo>
                <a:cubicBezTo>
                  <a:pt x="2206671" y="1072913"/>
                  <a:pt x="2211303" y="1078869"/>
                  <a:pt x="2213041" y="1076806"/>
                </a:cubicBezTo>
                <a:cubicBezTo>
                  <a:pt x="2217714" y="1081507"/>
                  <a:pt x="2223413" y="1080159"/>
                  <a:pt x="2230960" y="1082987"/>
                </a:cubicBezTo>
                <a:lnTo>
                  <a:pt x="2233801" y="1084554"/>
                </a:lnTo>
                <a:lnTo>
                  <a:pt x="2243875" y="1081272"/>
                </a:lnTo>
                <a:cubicBezTo>
                  <a:pt x="2252162" y="1079123"/>
                  <a:pt x="2260323" y="1078550"/>
                  <a:pt x="2264326" y="1083531"/>
                </a:cubicBezTo>
                <a:cubicBezTo>
                  <a:pt x="2256362" y="1086688"/>
                  <a:pt x="2240277" y="1098019"/>
                  <a:pt x="2227962" y="1091959"/>
                </a:cubicBezTo>
                <a:cubicBezTo>
                  <a:pt x="2226389" y="1091193"/>
                  <a:pt x="2224652" y="1089922"/>
                  <a:pt x="2223003" y="1088330"/>
                </a:cubicBezTo>
                <a:lnTo>
                  <a:pt x="2228541" y="1086479"/>
                </a:lnTo>
                <a:lnTo>
                  <a:pt x="2227405" y="1086290"/>
                </a:lnTo>
                <a:cubicBezTo>
                  <a:pt x="2222061" y="1085203"/>
                  <a:pt x="2217415" y="1083727"/>
                  <a:pt x="2213045" y="1082327"/>
                </a:cubicBezTo>
                <a:lnTo>
                  <a:pt x="2202024" y="1080294"/>
                </a:lnTo>
                <a:lnTo>
                  <a:pt x="2199789" y="1081995"/>
                </a:lnTo>
                <a:cubicBezTo>
                  <a:pt x="2198394" y="1082771"/>
                  <a:pt x="2197086" y="1083226"/>
                  <a:pt x="2195893" y="1083251"/>
                </a:cubicBezTo>
                <a:lnTo>
                  <a:pt x="2192250" y="1081355"/>
                </a:lnTo>
                <a:lnTo>
                  <a:pt x="2189914" y="1087858"/>
                </a:lnTo>
                <a:lnTo>
                  <a:pt x="2188691" y="1087992"/>
                </a:lnTo>
                <a:lnTo>
                  <a:pt x="2180908" y="1092691"/>
                </a:lnTo>
                <a:lnTo>
                  <a:pt x="2173808" y="1092627"/>
                </a:lnTo>
                <a:lnTo>
                  <a:pt x="2171323" y="1094147"/>
                </a:lnTo>
                <a:cubicBezTo>
                  <a:pt x="2167580" y="1097054"/>
                  <a:pt x="2164884" y="1100472"/>
                  <a:pt x="2159813" y="1102794"/>
                </a:cubicBezTo>
                <a:lnTo>
                  <a:pt x="2149393" y="1101841"/>
                </a:lnTo>
                <a:lnTo>
                  <a:pt x="2145975" y="1102420"/>
                </a:lnTo>
                <a:lnTo>
                  <a:pt x="2144487" y="1101332"/>
                </a:lnTo>
                <a:lnTo>
                  <a:pt x="2137530" y="1100733"/>
                </a:lnTo>
                <a:cubicBezTo>
                  <a:pt x="2129583" y="1099408"/>
                  <a:pt x="2121471" y="1097580"/>
                  <a:pt x="2113532" y="1095107"/>
                </a:cubicBezTo>
                <a:cubicBezTo>
                  <a:pt x="2105623" y="1092529"/>
                  <a:pt x="2097886" y="1089305"/>
                  <a:pt x="2090961" y="1085264"/>
                </a:cubicBezTo>
                <a:lnTo>
                  <a:pt x="2075294" y="1072902"/>
                </a:lnTo>
                <a:lnTo>
                  <a:pt x="2076961" y="1075533"/>
                </a:lnTo>
                <a:cubicBezTo>
                  <a:pt x="2078981" y="1079064"/>
                  <a:pt x="2080522" y="1083273"/>
                  <a:pt x="2076261" y="1088111"/>
                </a:cubicBezTo>
                <a:cubicBezTo>
                  <a:pt x="2072454" y="1085711"/>
                  <a:pt x="2064918" y="1090591"/>
                  <a:pt x="2059348" y="1087030"/>
                </a:cubicBezTo>
                <a:lnTo>
                  <a:pt x="2057336" y="1085685"/>
                </a:lnTo>
                <a:lnTo>
                  <a:pt x="2054437" y="1084333"/>
                </a:lnTo>
                <a:lnTo>
                  <a:pt x="2054332" y="1083616"/>
                </a:lnTo>
                <a:lnTo>
                  <a:pt x="2046559" y="1078312"/>
                </a:lnTo>
                <a:cubicBezTo>
                  <a:pt x="2044557" y="1075821"/>
                  <a:pt x="2044551" y="1073634"/>
                  <a:pt x="2045212" y="1071166"/>
                </a:cubicBezTo>
                <a:lnTo>
                  <a:pt x="2045949" y="1069523"/>
                </a:lnTo>
                <a:lnTo>
                  <a:pt x="2045118" y="1069300"/>
                </a:lnTo>
                <a:lnTo>
                  <a:pt x="2041740" y="1068626"/>
                </a:lnTo>
                <a:lnTo>
                  <a:pt x="2043637" y="1070399"/>
                </a:lnTo>
                <a:lnTo>
                  <a:pt x="2038359" y="1071285"/>
                </a:lnTo>
                <a:lnTo>
                  <a:pt x="2033766" y="1072930"/>
                </a:lnTo>
                <a:lnTo>
                  <a:pt x="2031161" y="1072691"/>
                </a:lnTo>
                <a:lnTo>
                  <a:pt x="2019658" y="1074669"/>
                </a:lnTo>
                <a:lnTo>
                  <a:pt x="2012149" y="1073922"/>
                </a:lnTo>
                <a:lnTo>
                  <a:pt x="2012090" y="1074137"/>
                </a:lnTo>
                <a:cubicBezTo>
                  <a:pt x="2013013" y="1076223"/>
                  <a:pt x="2013325" y="1078377"/>
                  <a:pt x="2012970" y="1080812"/>
                </a:cubicBezTo>
                <a:cubicBezTo>
                  <a:pt x="2010815" y="1080005"/>
                  <a:pt x="2010106" y="1081540"/>
                  <a:pt x="2009675" y="1083149"/>
                </a:cubicBezTo>
                <a:cubicBezTo>
                  <a:pt x="2007842" y="1083348"/>
                  <a:pt x="2006373" y="1083299"/>
                  <a:pt x="2004406" y="1082887"/>
                </a:cubicBezTo>
                <a:cubicBezTo>
                  <a:pt x="2002718" y="1082551"/>
                  <a:pt x="2000809" y="1081923"/>
                  <a:pt x="1999236" y="1081157"/>
                </a:cubicBezTo>
                <a:cubicBezTo>
                  <a:pt x="1995811" y="1079550"/>
                  <a:pt x="1992340" y="1077009"/>
                  <a:pt x="1989785" y="1074370"/>
                </a:cubicBezTo>
                <a:lnTo>
                  <a:pt x="1985897" y="1068958"/>
                </a:lnTo>
                <a:lnTo>
                  <a:pt x="1982386" y="1067673"/>
                </a:lnTo>
                <a:lnTo>
                  <a:pt x="1985080" y="1064255"/>
                </a:lnTo>
                <a:lnTo>
                  <a:pt x="1986335" y="1060680"/>
                </a:lnTo>
                <a:cubicBezTo>
                  <a:pt x="1987395" y="1060044"/>
                  <a:pt x="1989285" y="1059630"/>
                  <a:pt x="1991919" y="1059761"/>
                </a:cubicBezTo>
                <a:lnTo>
                  <a:pt x="1993465" y="1060635"/>
                </a:lnTo>
                <a:lnTo>
                  <a:pt x="2000929" y="1060451"/>
                </a:lnTo>
                <a:lnTo>
                  <a:pt x="2002830" y="1058890"/>
                </a:lnTo>
                <a:lnTo>
                  <a:pt x="2001012" y="1054608"/>
                </a:lnTo>
                <a:lnTo>
                  <a:pt x="1999010" y="1052116"/>
                </a:lnTo>
                <a:lnTo>
                  <a:pt x="1994687" y="1051648"/>
                </a:lnTo>
                <a:cubicBezTo>
                  <a:pt x="1989383" y="1049307"/>
                  <a:pt x="1984905" y="1050522"/>
                  <a:pt x="1979325" y="1048106"/>
                </a:cubicBezTo>
                <a:cubicBezTo>
                  <a:pt x="1979325" y="1048106"/>
                  <a:pt x="1979601" y="1048180"/>
                  <a:pt x="1981110" y="1046975"/>
                </a:cubicBezTo>
                <a:cubicBezTo>
                  <a:pt x="1985261" y="1048087"/>
                  <a:pt x="1989422" y="1048052"/>
                  <a:pt x="1993526" y="1048232"/>
                </a:cubicBezTo>
                <a:lnTo>
                  <a:pt x="1995825" y="1048503"/>
                </a:lnTo>
                <a:lnTo>
                  <a:pt x="1993576" y="1045831"/>
                </a:lnTo>
                <a:cubicBezTo>
                  <a:pt x="1987999" y="1040081"/>
                  <a:pt x="1982365" y="1034545"/>
                  <a:pt x="1980988" y="1027507"/>
                </a:cubicBezTo>
                <a:lnTo>
                  <a:pt x="1981013" y="1021879"/>
                </a:lnTo>
                <a:lnTo>
                  <a:pt x="1974006" y="1023681"/>
                </a:lnTo>
                <a:cubicBezTo>
                  <a:pt x="1971447" y="1024376"/>
                  <a:pt x="1969167" y="1025144"/>
                  <a:pt x="1966942" y="1025698"/>
                </a:cubicBezTo>
                <a:lnTo>
                  <a:pt x="1953929" y="1028882"/>
                </a:lnTo>
                <a:lnTo>
                  <a:pt x="1951158" y="1031475"/>
                </a:lnTo>
                <a:lnTo>
                  <a:pt x="1950213" y="1031681"/>
                </a:lnTo>
                <a:lnTo>
                  <a:pt x="1949896" y="1032862"/>
                </a:lnTo>
                <a:cubicBezTo>
                  <a:pt x="1949896" y="1032862"/>
                  <a:pt x="1949868" y="1032969"/>
                  <a:pt x="1948398" y="1032920"/>
                </a:cubicBezTo>
                <a:lnTo>
                  <a:pt x="1948962" y="1031921"/>
                </a:lnTo>
                <a:lnTo>
                  <a:pt x="1946767" y="1032368"/>
                </a:lnTo>
                <a:cubicBezTo>
                  <a:pt x="1942110" y="1032040"/>
                  <a:pt x="1937952" y="1028741"/>
                  <a:pt x="1936934" y="1024789"/>
                </a:cubicBezTo>
                <a:cubicBezTo>
                  <a:pt x="1936374" y="1022453"/>
                  <a:pt x="1936760" y="1019911"/>
                  <a:pt x="1939138" y="1017673"/>
                </a:cubicBezTo>
                <a:cubicBezTo>
                  <a:pt x="1943051" y="1017457"/>
                  <a:pt x="1950264" y="1020425"/>
                  <a:pt x="1954202" y="1023436"/>
                </a:cubicBezTo>
                <a:lnTo>
                  <a:pt x="1954670" y="1023905"/>
                </a:lnTo>
                <a:lnTo>
                  <a:pt x="1954728" y="1023691"/>
                </a:lnTo>
                <a:lnTo>
                  <a:pt x="1958709" y="1022112"/>
                </a:lnTo>
                <a:lnTo>
                  <a:pt x="1947213" y="1017422"/>
                </a:lnTo>
                <a:cubicBezTo>
                  <a:pt x="1940508" y="1013671"/>
                  <a:pt x="1933784" y="1008879"/>
                  <a:pt x="1926327" y="1002395"/>
                </a:cubicBezTo>
                <a:cubicBezTo>
                  <a:pt x="1938644" y="990745"/>
                  <a:pt x="1948716" y="987464"/>
                  <a:pt x="1962468" y="988159"/>
                </a:cubicBezTo>
                <a:close/>
                <a:moveTo>
                  <a:pt x="1790480" y="988076"/>
                </a:moveTo>
                <a:cubicBezTo>
                  <a:pt x="1793247" y="988818"/>
                  <a:pt x="1788399" y="996948"/>
                  <a:pt x="1784853" y="1002439"/>
                </a:cubicBezTo>
                <a:lnTo>
                  <a:pt x="1782681" y="1006112"/>
                </a:lnTo>
                <a:lnTo>
                  <a:pt x="1784532" y="1006952"/>
                </a:lnTo>
                <a:lnTo>
                  <a:pt x="1787260" y="1008948"/>
                </a:lnTo>
                <a:lnTo>
                  <a:pt x="1790695" y="1009409"/>
                </a:lnTo>
                <a:lnTo>
                  <a:pt x="1791421" y="1008914"/>
                </a:lnTo>
                <a:cubicBezTo>
                  <a:pt x="1792684" y="1007527"/>
                  <a:pt x="1793667" y="1006065"/>
                  <a:pt x="1793009" y="1005199"/>
                </a:cubicBezTo>
                <a:cubicBezTo>
                  <a:pt x="1794641" y="1005751"/>
                  <a:pt x="1796559" y="1005230"/>
                  <a:pt x="1796559" y="1005230"/>
                </a:cubicBezTo>
                <a:cubicBezTo>
                  <a:pt x="1797875" y="1006963"/>
                  <a:pt x="1797588" y="1008036"/>
                  <a:pt x="1797301" y="1009109"/>
                </a:cubicBezTo>
                <a:lnTo>
                  <a:pt x="1792136" y="1009565"/>
                </a:lnTo>
                <a:lnTo>
                  <a:pt x="1805849" y="1011514"/>
                </a:lnTo>
                <a:lnTo>
                  <a:pt x="1810657" y="1013493"/>
                </a:lnTo>
                <a:lnTo>
                  <a:pt x="1810726" y="1012131"/>
                </a:lnTo>
                <a:cubicBezTo>
                  <a:pt x="1814179" y="1013631"/>
                  <a:pt x="1815383" y="1012459"/>
                  <a:pt x="1819398" y="1016295"/>
                </a:cubicBezTo>
                <a:lnTo>
                  <a:pt x="1819005" y="1016649"/>
                </a:lnTo>
                <a:lnTo>
                  <a:pt x="1827295" y="1020021"/>
                </a:lnTo>
                <a:cubicBezTo>
                  <a:pt x="1831406" y="1022387"/>
                  <a:pt x="1835154" y="1025002"/>
                  <a:pt x="1838511" y="1027971"/>
                </a:cubicBezTo>
                <a:cubicBezTo>
                  <a:pt x="1829684" y="1034346"/>
                  <a:pt x="1816177" y="1028312"/>
                  <a:pt x="1805051" y="1025561"/>
                </a:cubicBezTo>
                <a:cubicBezTo>
                  <a:pt x="1806083" y="1033887"/>
                  <a:pt x="1811318" y="1046445"/>
                  <a:pt x="1798413" y="1047012"/>
                </a:cubicBezTo>
                <a:cubicBezTo>
                  <a:pt x="1789829" y="1042527"/>
                  <a:pt x="1791755" y="1035338"/>
                  <a:pt x="1791686" y="1027845"/>
                </a:cubicBezTo>
                <a:lnTo>
                  <a:pt x="1791051" y="1024685"/>
                </a:lnTo>
                <a:lnTo>
                  <a:pt x="1788688" y="1022441"/>
                </a:lnTo>
                <a:lnTo>
                  <a:pt x="1780007" y="1016091"/>
                </a:lnTo>
                <a:lnTo>
                  <a:pt x="1779034" y="1016404"/>
                </a:lnTo>
                <a:lnTo>
                  <a:pt x="1778948" y="1016726"/>
                </a:lnTo>
                <a:lnTo>
                  <a:pt x="1779195" y="1016908"/>
                </a:lnTo>
                <a:lnTo>
                  <a:pt x="1778718" y="1017585"/>
                </a:lnTo>
                <a:lnTo>
                  <a:pt x="1778430" y="1018658"/>
                </a:lnTo>
                <a:lnTo>
                  <a:pt x="1778125" y="1018691"/>
                </a:lnTo>
                <a:lnTo>
                  <a:pt x="1777503" y="1019903"/>
                </a:lnTo>
                <a:cubicBezTo>
                  <a:pt x="1776080" y="1020788"/>
                  <a:pt x="1774437" y="1021383"/>
                  <a:pt x="1773072" y="1022052"/>
                </a:cubicBezTo>
                <a:cubicBezTo>
                  <a:pt x="1774434" y="1024717"/>
                  <a:pt x="1765960" y="1023136"/>
                  <a:pt x="1767046" y="1025727"/>
                </a:cubicBezTo>
                <a:cubicBezTo>
                  <a:pt x="1757483" y="1024890"/>
                  <a:pt x="1757322" y="1033243"/>
                  <a:pt x="1742975" y="1033653"/>
                </a:cubicBezTo>
                <a:lnTo>
                  <a:pt x="1749825" y="1028013"/>
                </a:lnTo>
                <a:lnTo>
                  <a:pt x="1747967" y="1024985"/>
                </a:lnTo>
                <a:cubicBezTo>
                  <a:pt x="1748122" y="1023302"/>
                  <a:pt x="1749660" y="1021988"/>
                  <a:pt x="1751895" y="1020288"/>
                </a:cubicBezTo>
                <a:cubicBezTo>
                  <a:pt x="1753516" y="1021987"/>
                  <a:pt x="1754306" y="1023464"/>
                  <a:pt x="1753904" y="1024966"/>
                </a:cubicBezTo>
                <a:lnTo>
                  <a:pt x="1753731" y="1025609"/>
                </a:lnTo>
                <a:lnTo>
                  <a:pt x="1761314" y="1021661"/>
                </a:lnTo>
                <a:cubicBezTo>
                  <a:pt x="1764742" y="1019935"/>
                  <a:pt x="1767836" y="1018348"/>
                  <a:pt x="1769634" y="1016071"/>
                </a:cubicBezTo>
                <a:cubicBezTo>
                  <a:pt x="1769634" y="1016071"/>
                  <a:pt x="1769663" y="1015964"/>
                  <a:pt x="1774290" y="1016398"/>
                </a:cubicBezTo>
                <a:cubicBezTo>
                  <a:pt x="1775656" y="1015729"/>
                  <a:pt x="1775684" y="1015622"/>
                  <a:pt x="1775684" y="1015622"/>
                </a:cubicBezTo>
                <a:cubicBezTo>
                  <a:pt x="1776076" y="1015266"/>
                  <a:pt x="1776906" y="1015489"/>
                  <a:pt x="1777679" y="1015926"/>
                </a:cubicBezTo>
                <a:lnTo>
                  <a:pt x="1777956" y="1016001"/>
                </a:lnTo>
                <a:lnTo>
                  <a:pt x="1778319" y="1015753"/>
                </a:lnTo>
                <a:lnTo>
                  <a:pt x="1779293" y="1015438"/>
                </a:lnTo>
                <a:lnTo>
                  <a:pt x="1771854" y="1009996"/>
                </a:lnTo>
                <a:cubicBezTo>
                  <a:pt x="1774538" y="1007725"/>
                  <a:pt x="1769073" y="1004880"/>
                  <a:pt x="1773504" y="1002732"/>
                </a:cubicBezTo>
                <a:lnTo>
                  <a:pt x="1778092" y="1004422"/>
                </a:lnTo>
                <a:cubicBezTo>
                  <a:pt x="1778103" y="1003275"/>
                  <a:pt x="1778868" y="1001524"/>
                  <a:pt x="1779968" y="999635"/>
                </a:cubicBezTo>
                <a:cubicBezTo>
                  <a:pt x="1782444" y="995928"/>
                  <a:pt x="1788253" y="991963"/>
                  <a:pt x="1789485" y="990684"/>
                </a:cubicBezTo>
                <a:cubicBezTo>
                  <a:pt x="1790745" y="989297"/>
                  <a:pt x="1790480" y="988076"/>
                  <a:pt x="1790480" y="988076"/>
                </a:cubicBezTo>
                <a:close/>
                <a:moveTo>
                  <a:pt x="1445950" y="987760"/>
                </a:moveTo>
                <a:cubicBezTo>
                  <a:pt x="1446246" y="988874"/>
                  <a:pt x="1448050" y="988783"/>
                  <a:pt x="1449604" y="988510"/>
                </a:cubicBezTo>
                <a:cubicBezTo>
                  <a:pt x="1453831" y="990447"/>
                  <a:pt x="1458628" y="993573"/>
                  <a:pt x="1457939" y="996148"/>
                </a:cubicBezTo>
                <a:lnTo>
                  <a:pt x="1454872" y="997626"/>
                </a:lnTo>
                <a:lnTo>
                  <a:pt x="1458967" y="998953"/>
                </a:lnTo>
                <a:cubicBezTo>
                  <a:pt x="1460569" y="999612"/>
                  <a:pt x="1461808" y="1000520"/>
                  <a:pt x="1462627" y="1001890"/>
                </a:cubicBezTo>
                <a:lnTo>
                  <a:pt x="1466458" y="1007516"/>
                </a:lnTo>
                <a:lnTo>
                  <a:pt x="1469275" y="1005856"/>
                </a:lnTo>
                <a:cubicBezTo>
                  <a:pt x="1470337" y="1005221"/>
                  <a:pt x="1471863" y="1005054"/>
                  <a:pt x="1473523" y="1005499"/>
                </a:cubicBezTo>
                <a:cubicBezTo>
                  <a:pt x="1474629" y="1005795"/>
                  <a:pt x="1475708" y="1006199"/>
                  <a:pt x="1477225" y="1007181"/>
                </a:cubicBezTo>
                <a:cubicBezTo>
                  <a:pt x="1477225" y="1007181"/>
                  <a:pt x="1477225" y="1007181"/>
                  <a:pt x="1477490" y="1008401"/>
                </a:cubicBezTo>
                <a:cubicBezTo>
                  <a:pt x="1477746" y="1010771"/>
                  <a:pt x="1477735" y="1011917"/>
                  <a:pt x="1478001" y="1013139"/>
                </a:cubicBezTo>
                <a:cubicBezTo>
                  <a:pt x="1476999" y="1013560"/>
                  <a:pt x="1475547" y="1014551"/>
                  <a:pt x="1473933" y="1015039"/>
                </a:cubicBezTo>
                <a:lnTo>
                  <a:pt x="1470049" y="1015148"/>
                </a:lnTo>
                <a:lnTo>
                  <a:pt x="1470227" y="1016691"/>
                </a:lnTo>
                <a:cubicBezTo>
                  <a:pt x="1469701" y="1019770"/>
                  <a:pt x="1466768" y="1021859"/>
                  <a:pt x="1463022" y="1024766"/>
                </a:cubicBezTo>
                <a:cubicBezTo>
                  <a:pt x="1463310" y="1023692"/>
                  <a:pt x="1461391" y="1024213"/>
                  <a:pt x="1461391" y="1024213"/>
                </a:cubicBezTo>
                <a:cubicBezTo>
                  <a:pt x="1457582" y="1025148"/>
                  <a:pt x="1466662" y="1029996"/>
                  <a:pt x="1462260" y="1032037"/>
                </a:cubicBezTo>
                <a:cubicBezTo>
                  <a:pt x="1460285" y="1032772"/>
                  <a:pt x="1457927" y="1032715"/>
                  <a:pt x="1455903" y="1032518"/>
                </a:cubicBezTo>
                <a:cubicBezTo>
                  <a:pt x="1453604" y="1032248"/>
                  <a:pt x="1451419" y="1031546"/>
                  <a:pt x="1449263" y="1030739"/>
                </a:cubicBezTo>
                <a:cubicBezTo>
                  <a:pt x="1444950" y="1029123"/>
                  <a:pt x="1441145" y="1026724"/>
                  <a:pt x="1438360" y="1024942"/>
                </a:cubicBezTo>
                <a:lnTo>
                  <a:pt x="1435327" y="1022979"/>
                </a:lnTo>
                <a:lnTo>
                  <a:pt x="1434764" y="1023979"/>
                </a:lnTo>
                <a:lnTo>
                  <a:pt x="1433476" y="1022139"/>
                </a:lnTo>
                <a:lnTo>
                  <a:pt x="1433200" y="1022065"/>
                </a:lnTo>
                <a:cubicBezTo>
                  <a:pt x="1433792" y="1020958"/>
                  <a:pt x="1432161" y="1020406"/>
                  <a:pt x="1431597" y="1021405"/>
                </a:cubicBezTo>
                <a:cubicBezTo>
                  <a:pt x="1429757" y="1019417"/>
                  <a:pt x="1428108" y="1017825"/>
                  <a:pt x="1427259" y="1016563"/>
                </a:cubicBezTo>
                <a:cubicBezTo>
                  <a:pt x="1426690" y="1015375"/>
                  <a:pt x="1427195" y="1014591"/>
                  <a:pt x="1429114" y="1014070"/>
                </a:cubicBezTo>
                <a:cubicBezTo>
                  <a:pt x="1431597" y="1012551"/>
                  <a:pt x="1434238" y="1014867"/>
                  <a:pt x="1438076" y="1013826"/>
                </a:cubicBezTo>
                <a:cubicBezTo>
                  <a:pt x="1443032" y="1011934"/>
                  <a:pt x="1438382" y="1004938"/>
                  <a:pt x="1441347" y="999407"/>
                </a:cubicBezTo>
                <a:lnTo>
                  <a:pt x="1446324" y="995221"/>
                </a:lnTo>
                <a:lnTo>
                  <a:pt x="1444006" y="993910"/>
                </a:lnTo>
                <a:cubicBezTo>
                  <a:pt x="1442998" y="992144"/>
                  <a:pt x="1442656" y="990098"/>
                  <a:pt x="1442590" y="988126"/>
                </a:cubicBezTo>
                <a:cubicBezTo>
                  <a:pt x="1443161" y="989314"/>
                  <a:pt x="1443132" y="989421"/>
                  <a:pt x="1443132" y="989421"/>
                </a:cubicBezTo>
                <a:cubicBezTo>
                  <a:pt x="1445260" y="990336"/>
                  <a:pt x="1444689" y="989148"/>
                  <a:pt x="1446216" y="988982"/>
                </a:cubicBezTo>
                <a:cubicBezTo>
                  <a:pt x="1446216" y="988982"/>
                  <a:pt x="1444689" y="989148"/>
                  <a:pt x="1445950" y="987760"/>
                </a:cubicBezTo>
                <a:close/>
                <a:moveTo>
                  <a:pt x="1725350" y="987645"/>
                </a:moveTo>
                <a:lnTo>
                  <a:pt x="1725120" y="988503"/>
                </a:lnTo>
                <a:lnTo>
                  <a:pt x="1728440" y="989392"/>
                </a:lnTo>
                <a:lnTo>
                  <a:pt x="1726895" y="988519"/>
                </a:lnTo>
                <a:lnTo>
                  <a:pt x="1726591" y="988552"/>
                </a:lnTo>
                <a:cubicBezTo>
                  <a:pt x="1726180" y="987867"/>
                  <a:pt x="1725932" y="987686"/>
                  <a:pt x="1725350" y="987645"/>
                </a:cubicBezTo>
                <a:close/>
                <a:moveTo>
                  <a:pt x="1979563" y="987449"/>
                </a:moveTo>
                <a:cubicBezTo>
                  <a:pt x="1986786" y="989270"/>
                  <a:pt x="1984992" y="988215"/>
                  <a:pt x="1991220" y="992643"/>
                </a:cubicBezTo>
                <a:cubicBezTo>
                  <a:pt x="1988477" y="995128"/>
                  <a:pt x="1985708" y="997722"/>
                  <a:pt x="1982965" y="1000207"/>
                </a:cubicBezTo>
                <a:cubicBezTo>
                  <a:pt x="1980601" y="997962"/>
                  <a:pt x="1977004" y="996998"/>
                  <a:pt x="1974934" y="995869"/>
                </a:cubicBezTo>
                <a:cubicBezTo>
                  <a:pt x="1974078" y="992420"/>
                  <a:pt x="1975017" y="990027"/>
                  <a:pt x="1979563" y="987449"/>
                </a:cubicBezTo>
                <a:close/>
                <a:moveTo>
                  <a:pt x="2364293" y="987152"/>
                </a:moveTo>
                <a:cubicBezTo>
                  <a:pt x="2368132" y="986110"/>
                  <a:pt x="2371078" y="988394"/>
                  <a:pt x="2374628" y="988426"/>
                </a:cubicBezTo>
                <a:cubicBezTo>
                  <a:pt x="2375944" y="990159"/>
                  <a:pt x="2376971" y="992963"/>
                  <a:pt x="2372856" y="993931"/>
                </a:cubicBezTo>
                <a:cubicBezTo>
                  <a:pt x="2368731" y="996045"/>
                  <a:pt x="2363865" y="994282"/>
                  <a:pt x="2359287" y="991446"/>
                </a:cubicBezTo>
                <a:cubicBezTo>
                  <a:pt x="2357512" y="991429"/>
                  <a:pt x="2355927" y="991810"/>
                  <a:pt x="2354706" y="991943"/>
                </a:cubicBezTo>
                <a:cubicBezTo>
                  <a:pt x="2353206" y="992002"/>
                  <a:pt x="2352042" y="991918"/>
                  <a:pt x="2350555" y="990830"/>
                </a:cubicBezTo>
                <a:cubicBezTo>
                  <a:pt x="2356024" y="990341"/>
                  <a:pt x="2357943" y="989820"/>
                  <a:pt x="2361770" y="989925"/>
                </a:cubicBezTo>
                <a:cubicBezTo>
                  <a:pt x="2362058" y="988852"/>
                  <a:pt x="2362374" y="987673"/>
                  <a:pt x="2364293" y="987152"/>
                </a:cubicBezTo>
                <a:close/>
                <a:moveTo>
                  <a:pt x="4811002" y="987121"/>
                </a:moveTo>
                <a:cubicBezTo>
                  <a:pt x="4814089" y="992203"/>
                  <a:pt x="4812033" y="995447"/>
                  <a:pt x="4804961" y="995277"/>
                </a:cubicBezTo>
                <a:cubicBezTo>
                  <a:pt x="4804659" y="991976"/>
                  <a:pt x="4800756" y="991045"/>
                  <a:pt x="4800482" y="987638"/>
                </a:cubicBezTo>
                <a:cubicBezTo>
                  <a:pt x="4805198" y="987751"/>
                  <a:pt x="4808644" y="987064"/>
                  <a:pt x="4811002" y="987121"/>
                </a:cubicBezTo>
                <a:close/>
                <a:moveTo>
                  <a:pt x="5056510" y="986204"/>
                </a:moveTo>
                <a:cubicBezTo>
                  <a:pt x="5059981" y="988744"/>
                  <a:pt x="5061678" y="991268"/>
                  <a:pt x="5065149" y="993809"/>
                </a:cubicBezTo>
                <a:lnTo>
                  <a:pt x="5059888" y="995734"/>
                </a:lnTo>
                <a:lnTo>
                  <a:pt x="5067039" y="1002250"/>
                </a:lnTo>
                <a:cubicBezTo>
                  <a:pt x="5065120" y="1002771"/>
                  <a:pt x="5069105" y="1006713"/>
                  <a:pt x="5069827" y="1009552"/>
                </a:cubicBezTo>
                <a:cubicBezTo>
                  <a:pt x="5068354" y="1012837"/>
                  <a:pt x="5067750" y="1015090"/>
                  <a:pt x="5063635" y="1016058"/>
                </a:cubicBezTo>
                <a:lnTo>
                  <a:pt x="5057479" y="1015789"/>
                </a:lnTo>
                <a:lnTo>
                  <a:pt x="5059377" y="1017562"/>
                </a:lnTo>
                <a:cubicBezTo>
                  <a:pt x="5060139" y="1019146"/>
                  <a:pt x="5060930" y="1020623"/>
                  <a:pt x="5062694" y="1021785"/>
                </a:cubicBezTo>
                <a:cubicBezTo>
                  <a:pt x="5061052" y="1022381"/>
                  <a:pt x="5059046" y="1023223"/>
                  <a:pt x="5056326" y="1023415"/>
                </a:cubicBezTo>
                <a:lnTo>
                  <a:pt x="5051812" y="1022550"/>
                </a:lnTo>
                <a:lnTo>
                  <a:pt x="5052211" y="1024383"/>
                </a:lnTo>
                <a:cubicBezTo>
                  <a:pt x="5049707" y="1028196"/>
                  <a:pt x="5042775" y="1030824"/>
                  <a:pt x="5034035" y="1028022"/>
                </a:cubicBezTo>
                <a:cubicBezTo>
                  <a:pt x="5032339" y="1025498"/>
                  <a:pt x="5031692" y="1023484"/>
                  <a:pt x="5031294" y="1021652"/>
                </a:cubicBezTo>
                <a:cubicBezTo>
                  <a:pt x="5030895" y="1019820"/>
                  <a:pt x="5030744" y="1018170"/>
                  <a:pt x="5030507" y="1016842"/>
                </a:cubicBezTo>
                <a:cubicBezTo>
                  <a:pt x="5034927" y="1015840"/>
                  <a:pt x="5037744" y="1014181"/>
                  <a:pt x="5042164" y="1013180"/>
                </a:cubicBezTo>
                <a:lnTo>
                  <a:pt x="5042717" y="1013328"/>
                </a:lnTo>
                <a:lnTo>
                  <a:pt x="5042775" y="1013114"/>
                </a:lnTo>
                <a:lnTo>
                  <a:pt x="5045449" y="1011990"/>
                </a:lnTo>
                <a:lnTo>
                  <a:pt x="5042329" y="1010349"/>
                </a:lnTo>
                <a:cubicBezTo>
                  <a:pt x="5037363" y="1004534"/>
                  <a:pt x="5037205" y="1000696"/>
                  <a:pt x="5038402" y="997337"/>
                </a:cubicBezTo>
                <a:cubicBezTo>
                  <a:pt x="5038402" y="997337"/>
                  <a:pt x="5038373" y="997444"/>
                  <a:pt x="5037809" y="998442"/>
                </a:cubicBezTo>
                <a:cubicBezTo>
                  <a:pt x="5029857" y="1000452"/>
                  <a:pt x="5016176" y="1003916"/>
                  <a:pt x="5011626" y="1000972"/>
                </a:cubicBezTo>
                <a:cubicBezTo>
                  <a:pt x="5012219" y="999867"/>
                  <a:pt x="5012535" y="998686"/>
                  <a:pt x="5014731" y="998239"/>
                </a:cubicBezTo>
                <a:cubicBezTo>
                  <a:pt x="5016650" y="997718"/>
                  <a:pt x="5016334" y="998899"/>
                  <a:pt x="5016650" y="997718"/>
                </a:cubicBezTo>
                <a:cubicBezTo>
                  <a:pt x="5018569" y="997197"/>
                  <a:pt x="5016938" y="996645"/>
                  <a:pt x="5016938" y="996645"/>
                </a:cubicBezTo>
                <a:cubicBezTo>
                  <a:pt x="5016938" y="996645"/>
                  <a:pt x="5018541" y="997305"/>
                  <a:pt x="5018541" y="997305"/>
                </a:cubicBezTo>
                <a:cubicBezTo>
                  <a:pt x="5018541" y="997305"/>
                  <a:pt x="5018569" y="997197"/>
                  <a:pt x="5022655" y="996337"/>
                </a:cubicBezTo>
                <a:cubicBezTo>
                  <a:pt x="5027086" y="994189"/>
                  <a:pt x="5027374" y="993116"/>
                  <a:pt x="5029856" y="991597"/>
                </a:cubicBezTo>
                <a:cubicBezTo>
                  <a:pt x="5033695" y="990555"/>
                  <a:pt x="5035326" y="991107"/>
                  <a:pt x="5040767" y="990725"/>
                </a:cubicBezTo>
                <a:cubicBezTo>
                  <a:pt x="5043437" y="992935"/>
                  <a:pt x="5043408" y="993043"/>
                  <a:pt x="5043092" y="994223"/>
                </a:cubicBezTo>
                <a:cubicBezTo>
                  <a:pt x="5043408" y="993043"/>
                  <a:pt x="5045011" y="993702"/>
                  <a:pt x="5047206" y="993256"/>
                </a:cubicBezTo>
                <a:lnTo>
                  <a:pt x="5051989" y="992007"/>
                </a:lnTo>
                <a:lnTo>
                  <a:pt x="5052956" y="989506"/>
                </a:lnTo>
                <a:cubicBezTo>
                  <a:pt x="5053272" y="988326"/>
                  <a:pt x="5054142" y="987294"/>
                  <a:pt x="5056510" y="986204"/>
                </a:cubicBezTo>
                <a:close/>
                <a:moveTo>
                  <a:pt x="1528882" y="985673"/>
                </a:moveTo>
                <a:cubicBezTo>
                  <a:pt x="1533676" y="985765"/>
                  <a:pt x="1539027" y="986825"/>
                  <a:pt x="1543235" y="987723"/>
                </a:cubicBezTo>
                <a:lnTo>
                  <a:pt x="1548885" y="988776"/>
                </a:lnTo>
                <a:lnTo>
                  <a:pt x="1552018" y="985936"/>
                </a:lnTo>
                <a:cubicBezTo>
                  <a:pt x="1555072" y="985604"/>
                  <a:pt x="1558543" y="988144"/>
                  <a:pt x="1558799" y="990513"/>
                </a:cubicBezTo>
                <a:lnTo>
                  <a:pt x="1556916" y="993113"/>
                </a:lnTo>
                <a:lnTo>
                  <a:pt x="1560046" y="993607"/>
                </a:lnTo>
                <a:cubicBezTo>
                  <a:pt x="1559061" y="995068"/>
                  <a:pt x="1555610" y="999089"/>
                  <a:pt x="1555610" y="999089"/>
                </a:cubicBezTo>
                <a:cubicBezTo>
                  <a:pt x="1556183" y="1000277"/>
                  <a:pt x="1556183" y="1000277"/>
                  <a:pt x="1554920" y="1001664"/>
                </a:cubicBezTo>
                <a:cubicBezTo>
                  <a:pt x="1552822" y="1000642"/>
                  <a:pt x="1552822" y="1000642"/>
                  <a:pt x="1552528" y="999528"/>
                </a:cubicBezTo>
                <a:cubicBezTo>
                  <a:pt x="1553484" y="998174"/>
                  <a:pt x="1555317" y="997975"/>
                  <a:pt x="1556272" y="996621"/>
                </a:cubicBezTo>
                <a:cubicBezTo>
                  <a:pt x="1552047" y="994684"/>
                  <a:pt x="1552618" y="995872"/>
                  <a:pt x="1553879" y="994485"/>
                </a:cubicBezTo>
                <a:cubicBezTo>
                  <a:pt x="1553879" y="994485"/>
                  <a:pt x="1553574" y="994518"/>
                  <a:pt x="1554835" y="993131"/>
                </a:cubicBezTo>
                <a:lnTo>
                  <a:pt x="1555198" y="992884"/>
                </a:lnTo>
                <a:lnTo>
                  <a:pt x="1554673" y="992628"/>
                </a:lnTo>
                <a:lnTo>
                  <a:pt x="1554835" y="993131"/>
                </a:lnTo>
                <a:lnTo>
                  <a:pt x="1538761" y="994459"/>
                </a:lnTo>
                <a:lnTo>
                  <a:pt x="1538112" y="995780"/>
                </a:lnTo>
                <a:cubicBezTo>
                  <a:pt x="1539477" y="995111"/>
                  <a:pt x="1539321" y="996794"/>
                  <a:pt x="1539321" y="996794"/>
                </a:cubicBezTo>
                <a:cubicBezTo>
                  <a:pt x="1539321" y="996794"/>
                  <a:pt x="1539350" y="996687"/>
                  <a:pt x="1544284" y="997088"/>
                </a:cubicBezTo>
                <a:cubicBezTo>
                  <a:pt x="1544284" y="997088"/>
                  <a:pt x="1554810" y="998760"/>
                  <a:pt x="1555766" y="1006261"/>
                </a:cubicBezTo>
                <a:cubicBezTo>
                  <a:pt x="1554877" y="1006252"/>
                  <a:pt x="1554228" y="1007573"/>
                  <a:pt x="1553434" y="1009431"/>
                </a:cubicBezTo>
                <a:lnTo>
                  <a:pt x="1551741" y="1012427"/>
                </a:lnTo>
                <a:lnTo>
                  <a:pt x="1552668" y="1011180"/>
                </a:lnTo>
                <a:cubicBezTo>
                  <a:pt x="1554978" y="1010305"/>
                  <a:pt x="1557670" y="1010220"/>
                  <a:pt x="1560743" y="1010929"/>
                </a:cubicBezTo>
                <a:cubicBezTo>
                  <a:pt x="1564602" y="1016449"/>
                  <a:pt x="1561353" y="1019717"/>
                  <a:pt x="1555341" y="1018912"/>
                </a:cubicBezTo>
                <a:lnTo>
                  <a:pt x="1548787" y="1016811"/>
                </a:lnTo>
                <a:lnTo>
                  <a:pt x="1548481" y="1016844"/>
                </a:lnTo>
                <a:cubicBezTo>
                  <a:pt x="1547629" y="1018916"/>
                  <a:pt x="1546893" y="1020558"/>
                  <a:pt x="1546634" y="1021524"/>
                </a:cubicBezTo>
                <a:cubicBezTo>
                  <a:pt x="1544801" y="1021723"/>
                  <a:pt x="1544801" y="1021723"/>
                  <a:pt x="1544801" y="1021723"/>
                </a:cubicBezTo>
                <a:cubicBezTo>
                  <a:pt x="1543112" y="1021386"/>
                  <a:pt x="1542178" y="1020444"/>
                  <a:pt x="1542189" y="1019298"/>
                </a:cubicBezTo>
                <a:lnTo>
                  <a:pt x="1542649" y="1017581"/>
                </a:lnTo>
                <a:lnTo>
                  <a:pt x="1536264" y="1018170"/>
                </a:lnTo>
                <a:cubicBezTo>
                  <a:pt x="1532849" y="1015415"/>
                  <a:pt x="1525586" y="1014849"/>
                  <a:pt x="1523421" y="1006334"/>
                </a:cubicBezTo>
                <a:cubicBezTo>
                  <a:pt x="1522618" y="997149"/>
                  <a:pt x="1535904" y="997373"/>
                  <a:pt x="1534692" y="996359"/>
                </a:cubicBezTo>
                <a:lnTo>
                  <a:pt x="1534675" y="995319"/>
                </a:lnTo>
                <a:lnTo>
                  <a:pt x="1532786" y="995733"/>
                </a:lnTo>
                <a:cubicBezTo>
                  <a:pt x="1531506" y="996080"/>
                  <a:pt x="1530865" y="996253"/>
                  <a:pt x="1530865" y="996253"/>
                </a:cubicBezTo>
                <a:cubicBezTo>
                  <a:pt x="1527211" y="995504"/>
                  <a:pt x="1526612" y="994424"/>
                  <a:pt x="1527182" y="995612"/>
                </a:cubicBezTo>
                <a:cubicBezTo>
                  <a:pt x="1522956" y="993674"/>
                  <a:pt x="1517175" y="992010"/>
                  <a:pt x="1517865" y="989435"/>
                </a:cubicBezTo>
                <a:cubicBezTo>
                  <a:pt x="1519849" y="986459"/>
                  <a:pt x="1524087" y="985582"/>
                  <a:pt x="1528882" y="985673"/>
                </a:cubicBezTo>
                <a:close/>
                <a:moveTo>
                  <a:pt x="2008332" y="984118"/>
                </a:moveTo>
                <a:cubicBezTo>
                  <a:pt x="2012839" y="982795"/>
                  <a:pt x="2018851" y="983602"/>
                  <a:pt x="2024154" y="985943"/>
                </a:cubicBezTo>
                <a:cubicBezTo>
                  <a:pt x="2021075" y="991902"/>
                  <a:pt x="2015232" y="993787"/>
                  <a:pt x="2006051" y="993742"/>
                </a:cubicBezTo>
                <a:cubicBezTo>
                  <a:pt x="2004544" y="991613"/>
                  <a:pt x="2006945" y="987082"/>
                  <a:pt x="2008332" y="984118"/>
                </a:cubicBezTo>
                <a:close/>
                <a:moveTo>
                  <a:pt x="1889803" y="983754"/>
                </a:moveTo>
                <a:lnTo>
                  <a:pt x="1889296" y="984539"/>
                </a:lnTo>
                <a:lnTo>
                  <a:pt x="1890594" y="985231"/>
                </a:lnTo>
                <a:lnTo>
                  <a:pt x="1891642" y="985742"/>
                </a:lnTo>
                <a:lnTo>
                  <a:pt x="1892466" y="983777"/>
                </a:lnTo>
                <a:close/>
                <a:moveTo>
                  <a:pt x="1345787" y="983735"/>
                </a:moveTo>
                <a:cubicBezTo>
                  <a:pt x="1349517" y="982679"/>
                  <a:pt x="1354288" y="982865"/>
                  <a:pt x="1357850" y="984510"/>
                </a:cubicBezTo>
                <a:cubicBezTo>
                  <a:pt x="1360225" y="985606"/>
                  <a:pt x="1362123" y="987380"/>
                  <a:pt x="1362654" y="989821"/>
                </a:cubicBezTo>
                <a:cubicBezTo>
                  <a:pt x="1359126" y="996351"/>
                  <a:pt x="1350218" y="990860"/>
                  <a:pt x="1339958" y="990411"/>
                </a:cubicBezTo>
                <a:cubicBezTo>
                  <a:pt x="1339365" y="987089"/>
                  <a:pt x="1342056" y="984791"/>
                  <a:pt x="1345787" y="983735"/>
                </a:cubicBezTo>
                <a:close/>
                <a:moveTo>
                  <a:pt x="1383325" y="983516"/>
                </a:moveTo>
                <a:cubicBezTo>
                  <a:pt x="1380554" y="986108"/>
                  <a:pt x="1382919" y="988351"/>
                  <a:pt x="1380148" y="990944"/>
                </a:cubicBezTo>
                <a:cubicBezTo>
                  <a:pt x="1376286" y="988759"/>
                  <a:pt x="1372689" y="987796"/>
                  <a:pt x="1370895" y="986740"/>
                </a:cubicBezTo>
                <a:cubicBezTo>
                  <a:pt x="1372828" y="981738"/>
                  <a:pt x="1377364" y="980308"/>
                  <a:pt x="1383325" y="983516"/>
                </a:cubicBezTo>
                <a:close/>
                <a:moveTo>
                  <a:pt x="5322639" y="981381"/>
                </a:moveTo>
                <a:cubicBezTo>
                  <a:pt x="5323965" y="981967"/>
                  <a:pt x="5325147" y="983089"/>
                  <a:pt x="5326185" y="984747"/>
                </a:cubicBezTo>
                <a:cubicBezTo>
                  <a:pt x="5327817" y="985299"/>
                  <a:pt x="5327964" y="990283"/>
                  <a:pt x="5326046" y="990804"/>
                </a:cubicBezTo>
                <a:cubicBezTo>
                  <a:pt x="5325014" y="991333"/>
                  <a:pt x="5324069" y="991540"/>
                  <a:pt x="5322905" y="991458"/>
                </a:cubicBezTo>
                <a:cubicBezTo>
                  <a:pt x="5319746" y="991072"/>
                  <a:pt x="5316609" y="988391"/>
                  <a:pt x="5311973" y="985768"/>
                </a:cubicBezTo>
                <a:cubicBezTo>
                  <a:pt x="5313892" y="985248"/>
                  <a:pt x="5312577" y="983515"/>
                  <a:pt x="5311538" y="981857"/>
                </a:cubicBezTo>
                <a:cubicBezTo>
                  <a:pt x="5314431" y="981022"/>
                  <a:pt x="5318471" y="979229"/>
                  <a:pt x="5322639" y="981381"/>
                </a:cubicBezTo>
                <a:close/>
                <a:moveTo>
                  <a:pt x="4978282" y="980423"/>
                </a:moveTo>
                <a:cubicBezTo>
                  <a:pt x="4976100" y="985242"/>
                  <a:pt x="4975400" y="988966"/>
                  <a:pt x="4973495" y="993861"/>
                </a:cubicBezTo>
                <a:cubicBezTo>
                  <a:pt x="4971986" y="995066"/>
                  <a:pt x="4966189" y="997883"/>
                  <a:pt x="4964119" y="996752"/>
                </a:cubicBezTo>
                <a:cubicBezTo>
                  <a:pt x="4962050" y="995623"/>
                  <a:pt x="4961755" y="994509"/>
                  <a:pt x="4961461" y="993395"/>
                </a:cubicBezTo>
                <a:cubicBezTo>
                  <a:pt x="4962427" y="990895"/>
                  <a:pt x="4963394" y="988394"/>
                  <a:pt x="4964637" y="985966"/>
                </a:cubicBezTo>
                <a:cubicBezTo>
                  <a:pt x="4968611" y="982201"/>
                  <a:pt x="4972615" y="978329"/>
                  <a:pt x="4978282" y="980423"/>
                </a:cubicBezTo>
                <a:close/>
                <a:moveTo>
                  <a:pt x="1012232" y="980237"/>
                </a:moveTo>
                <a:cubicBezTo>
                  <a:pt x="1016243" y="982419"/>
                  <a:pt x="1018115" y="986227"/>
                  <a:pt x="1012028" y="989023"/>
                </a:cubicBezTo>
                <a:cubicBezTo>
                  <a:pt x="1006093" y="985709"/>
                  <a:pt x="1001925" y="983557"/>
                  <a:pt x="999589" y="981206"/>
                </a:cubicBezTo>
                <a:cubicBezTo>
                  <a:pt x="1002065" y="977499"/>
                  <a:pt x="1008219" y="978055"/>
                  <a:pt x="1012232" y="980237"/>
                </a:cubicBezTo>
                <a:close/>
                <a:moveTo>
                  <a:pt x="1794554" y="979508"/>
                </a:moveTo>
                <a:cubicBezTo>
                  <a:pt x="1794554" y="979508"/>
                  <a:pt x="1794261" y="978394"/>
                  <a:pt x="1799651" y="980413"/>
                </a:cubicBezTo>
                <a:cubicBezTo>
                  <a:pt x="1798418" y="981693"/>
                  <a:pt x="1794444" y="985458"/>
                  <a:pt x="1794444" y="985458"/>
                </a:cubicBezTo>
                <a:cubicBezTo>
                  <a:pt x="1794987" y="986754"/>
                  <a:pt x="1794709" y="986679"/>
                  <a:pt x="1793477" y="987959"/>
                </a:cubicBezTo>
                <a:cubicBezTo>
                  <a:pt x="1791377" y="986936"/>
                  <a:pt x="1791683" y="986903"/>
                  <a:pt x="1791141" y="985608"/>
                </a:cubicBezTo>
                <a:cubicBezTo>
                  <a:pt x="1792650" y="984403"/>
                  <a:pt x="1794149" y="984344"/>
                  <a:pt x="1795382" y="983064"/>
                </a:cubicBezTo>
                <a:cubicBezTo>
                  <a:pt x="1791518" y="980879"/>
                  <a:pt x="1791785" y="982101"/>
                  <a:pt x="1793322" y="980788"/>
                </a:cubicBezTo>
                <a:cubicBezTo>
                  <a:pt x="1793322" y="980788"/>
                  <a:pt x="1793322" y="980788"/>
                  <a:pt x="1794554" y="979508"/>
                </a:cubicBezTo>
                <a:close/>
                <a:moveTo>
                  <a:pt x="5299468" y="979313"/>
                </a:moveTo>
                <a:cubicBezTo>
                  <a:pt x="5307435" y="981678"/>
                  <a:pt x="5309077" y="989938"/>
                  <a:pt x="5310532" y="994468"/>
                </a:cubicBezTo>
                <a:cubicBezTo>
                  <a:pt x="5304336" y="995453"/>
                  <a:pt x="5298390" y="996619"/>
                  <a:pt x="5293887" y="994608"/>
                </a:cubicBezTo>
                <a:cubicBezTo>
                  <a:pt x="5291838" y="991184"/>
                  <a:pt x="5290925" y="987949"/>
                  <a:pt x="5291921" y="985341"/>
                </a:cubicBezTo>
                <a:cubicBezTo>
                  <a:pt x="5292640" y="982659"/>
                  <a:pt x="5294991" y="980527"/>
                  <a:pt x="5299468" y="979313"/>
                </a:cubicBezTo>
                <a:close/>
                <a:moveTo>
                  <a:pt x="1402935" y="977845"/>
                </a:moveTo>
                <a:cubicBezTo>
                  <a:pt x="1404786" y="978686"/>
                  <a:pt x="1406014" y="980740"/>
                  <a:pt x="1406662" y="982754"/>
                </a:cubicBezTo>
                <a:lnTo>
                  <a:pt x="1407306" y="988102"/>
                </a:lnTo>
                <a:lnTo>
                  <a:pt x="1408470" y="988183"/>
                </a:lnTo>
                <a:cubicBezTo>
                  <a:pt x="1408470" y="988183"/>
                  <a:pt x="1406867" y="987523"/>
                  <a:pt x="1408786" y="987002"/>
                </a:cubicBezTo>
                <a:cubicBezTo>
                  <a:pt x="1408470" y="988183"/>
                  <a:pt x="1410071" y="988843"/>
                  <a:pt x="1411675" y="989502"/>
                </a:cubicBezTo>
                <a:cubicBezTo>
                  <a:pt x="1414028" y="992893"/>
                  <a:pt x="1415789" y="997390"/>
                  <a:pt x="1413554" y="999090"/>
                </a:cubicBezTo>
                <a:cubicBezTo>
                  <a:pt x="1411358" y="999537"/>
                  <a:pt x="1409669" y="999199"/>
                  <a:pt x="1408372" y="998507"/>
                </a:cubicBezTo>
                <a:cubicBezTo>
                  <a:pt x="1407075" y="997815"/>
                  <a:pt x="1406169" y="996767"/>
                  <a:pt x="1405512" y="995900"/>
                </a:cubicBezTo>
                <a:cubicBezTo>
                  <a:pt x="1403252" y="994375"/>
                  <a:pt x="1402547" y="992575"/>
                  <a:pt x="1402731" y="990785"/>
                </a:cubicBezTo>
                <a:lnTo>
                  <a:pt x="1403628" y="989645"/>
                </a:lnTo>
                <a:lnTo>
                  <a:pt x="1402015" y="990133"/>
                </a:lnTo>
                <a:cubicBezTo>
                  <a:pt x="1399934" y="990150"/>
                  <a:pt x="1397444" y="989483"/>
                  <a:pt x="1395622" y="988536"/>
                </a:cubicBezTo>
                <a:cubicBezTo>
                  <a:pt x="1393656" y="988124"/>
                  <a:pt x="1392417" y="987217"/>
                  <a:pt x="1391597" y="985847"/>
                </a:cubicBezTo>
                <a:cubicBezTo>
                  <a:pt x="1390749" y="984585"/>
                  <a:pt x="1390570" y="983042"/>
                  <a:pt x="1390916" y="981754"/>
                </a:cubicBezTo>
                <a:cubicBezTo>
                  <a:pt x="1392147" y="980474"/>
                  <a:pt x="1392147" y="980474"/>
                  <a:pt x="1393132" y="979012"/>
                </a:cubicBezTo>
                <a:cubicBezTo>
                  <a:pt x="1396493" y="978649"/>
                  <a:pt x="1399004" y="977021"/>
                  <a:pt x="1402935" y="977845"/>
                </a:cubicBezTo>
                <a:close/>
                <a:moveTo>
                  <a:pt x="2214973" y="977732"/>
                </a:moveTo>
                <a:lnTo>
                  <a:pt x="2216992" y="981263"/>
                </a:lnTo>
                <a:lnTo>
                  <a:pt x="2226944" y="985080"/>
                </a:lnTo>
                <a:cubicBezTo>
                  <a:pt x="2230501" y="987298"/>
                  <a:pt x="2233609" y="990085"/>
                  <a:pt x="2235352" y="993542"/>
                </a:cubicBezTo>
                <a:cubicBezTo>
                  <a:pt x="2233972" y="998692"/>
                  <a:pt x="2227519" y="1000644"/>
                  <a:pt x="2220607" y="1000977"/>
                </a:cubicBezTo>
                <a:lnTo>
                  <a:pt x="2219750" y="1000862"/>
                </a:lnTo>
                <a:lnTo>
                  <a:pt x="2218706" y="1002537"/>
                </a:lnTo>
                <a:cubicBezTo>
                  <a:pt x="2217330" y="1004354"/>
                  <a:pt x="2215382" y="1004982"/>
                  <a:pt x="2213464" y="1005503"/>
                </a:cubicBezTo>
                <a:lnTo>
                  <a:pt x="2209511" y="1006974"/>
                </a:lnTo>
                <a:lnTo>
                  <a:pt x="2202317" y="1013901"/>
                </a:lnTo>
                <a:cubicBezTo>
                  <a:pt x="2197800" y="1016371"/>
                  <a:pt x="2192186" y="1017397"/>
                  <a:pt x="2186595" y="1016128"/>
                </a:cubicBezTo>
                <a:cubicBezTo>
                  <a:pt x="2195133" y="1010825"/>
                  <a:pt x="2196811" y="1003456"/>
                  <a:pt x="2199014" y="996342"/>
                </a:cubicBezTo>
                <a:lnTo>
                  <a:pt x="2199406" y="995986"/>
                </a:lnTo>
                <a:lnTo>
                  <a:pt x="2196054" y="989682"/>
                </a:lnTo>
                <a:cubicBezTo>
                  <a:pt x="2195712" y="987636"/>
                  <a:pt x="2195924" y="985738"/>
                  <a:pt x="2196908" y="984276"/>
                </a:cubicBezTo>
                <a:lnTo>
                  <a:pt x="2197578" y="983995"/>
                </a:lnTo>
                <a:lnTo>
                  <a:pt x="2196136" y="983839"/>
                </a:lnTo>
                <a:cubicBezTo>
                  <a:pt x="2194915" y="983972"/>
                  <a:pt x="2193444" y="983923"/>
                  <a:pt x="2192672" y="983486"/>
                </a:cubicBezTo>
                <a:cubicBezTo>
                  <a:pt x="2192672" y="983486"/>
                  <a:pt x="2189765" y="979948"/>
                  <a:pt x="2189765" y="979948"/>
                </a:cubicBezTo>
                <a:cubicBezTo>
                  <a:pt x="2191274" y="978742"/>
                  <a:pt x="2191303" y="978635"/>
                  <a:pt x="2191568" y="979856"/>
                </a:cubicBezTo>
                <a:cubicBezTo>
                  <a:pt x="2194633" y="978377"/>
                  <a:pt x="2196410" y="978393"/>
                  <a:pt x="2197937" y="978227"/>
                </a:cubicBezTo>
                <a:lnTo>
                  <a:pt x="2199335" y="982971"/>
                </a:lnTo>
                <a:lnTo>
                  <a:pt x="2204214" y="980254"/>
                </a:lnTo>
                <a:lnTo>
                  <a:pt x="2211563" y="980499"/>
                </a:lnTo>
                <a:close/>
                <a:moveTo>
                  <a:pt x="2420328" y="977671"/>
                </a:moveTo>
                <a:cubicBezTo>
                  <a:pt x="2421759" y="976617"/>
                  <a:pt x="2423794" y="977046"/>
                  <a:pt x="2425711" y="978193"/>
                </a:cubicBezTo>
                <a:cubicBezTo>
                  <a:pt x="2432111" y="981978"/>
                  <a:pt x="2438101" y="993933"/>
                  <a:pt x="2418563" y="986052"/>
                </a:cubicBezTo>
                <a:cubicBezTo>
                  <a:pt x="2418067" y="981263"/>
                  <a:pt x="2418896" y="978725"/>
                  <a:pt x="2420328" y="977671"/>
                </a:cubicBezTo>
                <a:close/>
                <a:moveTo>
                  <a:pt x="4914043" y="976665"/>
                </a:moveTo>
                <a:cubicBezTo>
                  <a:pt x="4914711" y="976385"/>
                  <a:pt x="4915600" y="976392"/>
                  <a:pt x="4917231" y="976944"/>
                </a:cubicBezTo>
                <a:lnTo>
                  <a:pt x="4920580" y="977726"/>
                </a:lnTo>
                <a:lnTo>
                  <a:pt x="4921191" y="977660"/>
                </a:lnTo>
                <a:lnTo>
                  <a:pt x="4921411" y="977949"/>
                </a:lnTo>
                <a:lnTo>
                  <a:pt x="4922545" y="978138"/>
                </a:lnTo>
                <a:cubicBezTo>
                  <a:pt x="4922545" y="978138"/>
                  <a:pt x="4923204" y="979004"/>
                  <a:pt x="4923527" y="980011"/>
                </a:cubicBezTo>
                <a:lnTo>
                  <a:pt x="4923458" y="981372"/>
                </a:lnTo>
                <a:lnTo>
                  <a:pt x="4924278" y="982742"/>
                </a:lnTo>
                <a:cubicBezTo>
                  <a:pt x="4923846" y="984352"/>
                  <a:pt x="4922193" y="986094"/>
                  <a:pt x="4920673" y="988447"/>
                </a:cubicBezTo>
                <a:cubicBezTo>
                  <a:pt x="4918909" y="987284"/>
                  <a:pt x="4914133" y="990720"/>
                  <a:pt x="4912624" y="991925"/>
                </a:cubicBezTo>
                <a:cubicBezTo>
                  <a:pt x="4909868" y="990036"/>
                  <a:pt x="4905609" y="991540"/>
                  <a:pt x="4901372" y="990751"/>
                </a:cubicBezTo>
                <a:cubicBezTo>
                  <a:pt x="4899931" y="990593"/>
                  <a:pt x="4898576" y="990117"/>
                  <a:pt x="4897337" y="989209"/>
                </a:cubicBezTo>
                <a:cubicBezTo>
                  <a:pt x="4897110" y="986733"/>
                  <a:pt x="4896844" y="985511"/>
                  <a:pt x="4898336" y="983266"/>
                </a:cubicBezTo>
                <a:cubicBezTo>
                  <a:pt x="4901545" y="981251"/>
                  <a:pt x="4904276" y="979913"/>
                  <a:pt x="4906863" y="979111"/>
                </a:cubicBezTo>
                <a:lnTo>
                  <a:pt x="4912477" y="978085"/>
                </a:lnTo>
                <a:close/>
                <a:moveTo>
                  <a:pt x="1496253" y="974904"/>
                </a:moveTo>
                <a:cubicBezTo>
                  <a:pt x="1516269" y="982107"/>
                  <a:pt x="1514594" y="986144"/>
                  <a:pt x="1513095" y="995057"/>
                </a:cubicBezTo>
                <a:cubicBezTo>
                  <a:pt x="1512802" y="993943"/>
                  <a:pt x="1511570" y="995223"/>
                  <a:pt x="1511570" y="995223"/>
                </a:cubicBezTo>
                <a:cubicBezTo>
                  <a:pt x="1509324" y="998072"/>
                  <a:pt x="1519450" y="997910"/>
                  <a:pt x="1517774" y="1001946"/>
                </a:cubicBezTo>
                <a:cubicBezTo>
                  <a:pt x="1513779" y="1008005"/>
                  <a:pt x="1501743" y="1007541"/>
                  <a:pt x="1495063" y="1007015"/>
                </a:cubicBezTo>
                <a:lnTo>
                  <a:pt x="1491293" y="1006696"/>
                </a:lnTo>
                <a:lnTo>
                  <a:pt x="1491836" y="1007990"/>
                </a:lnTo>
                <a:lnTo>
                  <a:pt x="1489461" y="1006894"/>
                </a:lnTo>
                <a:lnTo>
                  <a:pt x="1489155" y="1006928"/>
                </a:lnTo>
                <a:cubicBezTo>
                  <a:pt x="1488860" y="1005814"/>
                  <a:pt x="1487028" y="1006012"/>
                  <a:pt x="1487600" y="1007201"/>
                </a:cubicBezTo>
                <a:cubicBezTo>
                  <a:pt x="1484584" y="1006278"/>
                  <a:pt x="1482370" y="1005685"/>
                  <a:pt x="1480797" y="1004917"/>
                </a:cubicBezTo>
                <a:cubicBezTo>
                  <a:pt x="1479500" y="1004225"/>
                  <a:pt x="1479175" y="1003219"/>
                  <a:pt x="1480408" y="1001939"/>
                </a:cubicBezTo>
                <a:cubicBezTo>
                  <a:pt x="1481099" y="999365"/>
                  <a:pt x="1484477" y="1000039"/>
                  <a:pt x="1486694" y="997298"/>
                </a:cubicBezTo>
                <a:cubicBezTo>
                  <a:pt x="1489630" y="991874"/>
                  <a:pt x="1474117" y="986682"/>
                  <a:pt x="1479684" y="975870"/>
                </a:cubicBezTo>
                <a:cubicBezTo>
                  <a:pt x="1483910" y="977806"/>
                  <a:pt x="1489899" y="972051"/>
                  <a:pt x="1496253" y="974904"/>
                </a:cubicBezTo>
                <a:close/>
                <a:moveTo>
                  <a:pt x="2446692" y="974601"/>
                </a:moveTo>
                <a:cubicBezTo>
                  <a:pt x="2450221" y="973605"/>
                  <a:pt x="2455127" y="974115"/>
                  <a:pt x="2457773" y="975858"/>
                </a:cubicBezTo>
                <a:cubicBezTo>
                  <a:pt x="2459465" y="981717"/>
                  <a:pt x="2450281" y="985006"/>
                  <a:pt x="2443869" y="982369"/>
                </a:cubicBezTo>
                <a:cubicBezTo>
                  <a:pt x="2441010" y="978095"/>
                  <a:pt x="2443164" y="975595"/>
                  <a:pt x="2446692" y="974601"/>
                </a:cubicBezTo>
                <a:close/>
                <a:moveTo>
                  <a:pt x="2065158" y="972513"/>
                </a:moveTo>
                <a:cubicBezTo>
                  <a:pt x="2068371" y="971319"/>
                  <a:pt x="2072105" y="971075"/>
                  <a:pt x="2076960" y="972607"/>
                </a:cubicBezTo>
                <a:cubicBezTo>
                  <a:pt x="2070211" y="982298"/>
                  <a:pt x="2066638" y="993416"/>
                  <a:pt x="2046352" y="997181"/>
                </a:cubicBezTo>
                <a:cubicBezTo>
                  <a:pt x="2042137" y="994096"/>
                  <a:pt x="2033301" y="992764"/>
                  <a:pt x="2034300" y="986821"/>
                </a:cubicBezTo>
                <a:cubicBezTo>
                  <a:pt x="2050598" y="988256"/>
                  <a:pt x="2055524" y="976099"/>
                  <a:pt x="2065158" y="972513"/>
                </a:cubicBezTo>
                <a:close/>
                <a:moveTo>
                  <a:pt x="4944236" y="972450"/>
                </a:moveTo>
                <a:cubicBezTo>
                  <a:pt x="4944225" y="973597"/>
                  <a:pt x="4946267" y="974834"/>
                  <a:pt x="4946256" y="975981"/>
                </a:cubicBezTo>
                <a:cubicBezTo>
                  <a:pt x="4944747" y="977187"/>
                  <a:pt x="4942418" y="977023"/>
                  <a:pt x="4940758" y="976578"/>
                </a:cubicBezTo>
                <a:cubicBezTo>
                  <a:pt x="4939097" y="976133"/>
                  <a:pt x="4937858" y="975226"/>
                  <a:pt x="4937725" y="974616"/>
                </a:cubicBezTo>
                <a:cubicBezTo>
                  <a:pt x="4939235" y="973411"/>
                  <a:pt x="4942756" y="973549"/>
                  <a:pt x="4944236" y="972450"/>
                </a:cubicBezTo>
                <a:close/>
                <a:moveTo>
                  <a:pt x="1346897" y="972260"/>
                </a:moveTo>
                <a:cubicBezTo>
                  <a:pt x="1346897" y="972260"/>
                  <a:pt x="1346897" y="972260"/>
                  <a:pt x="1356844" y="979410"/>
                </a:cubicBezTo>
                <a:cubicBezTo>
                  <a:pt x="1355842" y="979832"/>
                  <a:pt x="1355011" y="979609"/>
                  <a:pt x="1354268" y="979064"/>
                </a:cubicBezTo>
                <a:cubicBezTo>
                  <a:pt x="1353495" y="978628"/>
                  <a:pt x="1352532" y="977795"/>
                  <a:pt x="1351845" y="977036"/>
                </a:cubicBezTo>
                <a:cubicBezTo>
                  <a:pt x="1350196" y="975443"/>
                  <a:pt x="1348547" y="973851"/>
                  <a:pt x="1346897" y="972260"/>
                </a:cubicBezTo>
                <a:close/>
                <a:moveTo>
                  <a:pt x="5222588" y="971823"/>
                </a:moveTo>
                <a:cubicBezTo>
                  <a:pt x="5230590" y="976267"/>
                  <a:pt x="5225638" y="983680"/>
                  <a:pt x="5219378" y="982693"/>
                </a:cubicBezTo>
                <a:cubicBezTo>
                  <a:pt x="5217078" y="982422"/>
                  <a:pt x="5214760" y="981111"/>
                  <a:pt x="5212511" y="978438"/>
                </a:cubicBezTo>
                <a:cubicBezTo>
                  <a:pt x="5216676" y="975069"/>
                  <a:pt x="5219360" y="972798"/>
                  <a:pt x="5222588" y="971823"/>
                </a:cubicBezTo>
                <a:close/>
                <a:moveTo>
                  <a:pt x="2486859" y="971347"/>
                </a:moveTo>
                <a:cubicBezTo>
                  <a:pt x="2491139" y="976404"/>
                  <a:pt x="2495170" y="981280"/>
                  <a:pt x="2489604" y="983237"/>
                </a:cubicBezTo>
                <a:cubicBezTo>
                  <a:pt x="2481638" y="980874"/>
                  <a:pt x="2477933" y="973671"/>
                  <a:pt x="2486859" y="971347"/>
                </a:cubicBezTo>
                <a:close/>
                <a:moveTo>
                  <a:pt x="2304095" y="971223"/>
                </a:moveTo>
                <a:cubicBezTo>
                  <a:pt x="2305964" y="971580"/>
                  <a:pt x="2307941" y="972224"/>
                  <a:pt x="2308704" y="972142"/>
                </a:cubicBezTo>
                <a:cubicBezTo>
                  <a:pt x="2310832" y="973057"/>
                  <a:pt x="2312959" y="973972"/>
                  <a:pt x="2311975" y="975432"/>
                </a:cubicBezTo>
                <a:cubicBezTo>
                  <a:pt x="2310714" y="976819"/>
                  <a:pt x="2311285" y="978008"/>
                  <a:pt x="2307353" y="977185"/>
                </a:cubicBezTo>
                <a:cubicBezTo>
                  <a:pt x="2305826" y="977350"/>
                  <a:pt x="2303698" y="976434"/>
                  <a:pt x="2302142" y="976709"/>
                </a:cubicBezTo>
                <a:cubicBezTo>
                  <a:pt x="2302142" y="976709"/>
                  <a:pt x="2301455" y="975950"/>
                  <a:pt x="2300828" y="974976"/>
                </a:cubicBezTo>
                <a:cubicBezTo>
                  <a:pt x="2300199" y="974002"/>
                  <a:pt x="2299627" y="972814"/>
                  <a:pt x="2300134" y="972030"/>
                </a:cubicBezTo>
                <a:cubicBezTo>
                  <a:pt x="2300465" y="970795"/>
                  <a:pt x="2302226" y="970865"/>
                  <a:pt x="2304095" y="971223"/>
                </a:cubicBezTo>
                <a:close/>
                <a:moveTo>
                  <a:pt x="1774298" y="970989"/>
                </a:moveTo>
                <a:cubicBezTo>
                  <a:pt x="1780858" y="972244"/>
                  <a:pt x="1787279" y="974568"/>
                  <a:pt x="1789828" y="975021"/>
                </a:cubicBezTo>
                <a:cubicBezTo>
                  <a:pt x="1789828" y="975021"/>
                  <a:pt x="1791630" y="974929"/>
                  <a:pt x="1793700" y="976058"/>
                </a:cubicBezTo>
                <a:cubicBezTo>
                  <a:pt x="1797297" y="977022"/>
                  <a:pt x="1792485" y="978378"/>
                  <a:pt x="1794554" y="979508"/>
                </a:cubicBezTo>
                <a:cubicBezTo>
                  <a:pt x="1780727" y="977987"/>
                  <a:pt x="1770130" y="981013"/>
                  <a:pt x="1770130" y="981013"/>
                </a:cubicBezTo>
                <a:cubicBezTo>
                  <a:pt x="1766532" y="980049"/>
                  <a:pt x="1765961" y="978862"/>
                  <a:pt x="1766255" y="979975"/>
                </a:cubicBezTo>
                <a:cubicBezTo>
                  <a:pt x="1762394" y="977790"/>
                  <a:pt x="1757002" y="975770"/>
                  <a:pt x="1757940" y="973376"/>
                </a:cubicBezTo>
                <a:cubicBezTo>
                  <a:pt x="1761042" y="969550"/>
                  <a:pt x="1767739" y="969735"/>
                  <a:pt x="1774298" y="970989"/>
                </a:cubicBezTo>
                <a:close/>
                <a:moveTo>
                  <a:pt x="2275044" y="970482"/>
                </a:moveTo>
                <a:cubicBezTo>
                  <a:pt x="2279661" y="972064"/>
                  <a:pt x="2283427" y="975719"/>
                  <a:pt x="2284997" y="979820"/>
                </a:cubicBezTo>
                <a:cubicBezTo>
                  <a:pt x="2280578" y="980820"/>
                  <a:pt x="2276750" y="980715"/>
                  <a:pt x="2273401" y="979932"/>
                </a:cubicBezTo>
                <a:cubicBezTo>
                  <a:pt x="2269804" y="978968"/>
                  <a:pt x="2266685" y="977328"/>
                  <a:pt x="2263156" y="975002"/>
                </a:cubicBezTo>
                <a:cubicBezTo>
                  <a:pt x="2264314" y="972896"/>
                  <a:pt x="2270623" y="971483"/>
                  <a:pt x="2275044" y="970482"/>
                </a:cubicBezTo>
                <a:close/>
                <a:moveTo>
                  <a:pt x="5171681" y="969222"/>
                </a:moveTo>
                <a:cubicBezTo>
                  <a:pt x="5179418" y="981300"/>
                  <a:pt x="5159569" y="1003354"/>
                  <a:pt x="5142332" y="995744"/>
                </a:cubicBezTo>
                <a:cubicBezTo>
                  <a:pt x="5154395" y="987247"/>
                  <a:pt x="5154942" y="976353"/>
                  <a:pt x="5171681" y="969222"/>
                </a:cubicBezTo>
                <a:close/>
                <a:moveTo>
                  <a:pt x="1029650" y="967525"/>
                </a:moveTo>
                <a:cubicBezTo>
                  <a:pt x="1039688" y="962164"/>
                  <a:pt x="1054507" y="973265"/>
                  <a:pt x="1053164" y="980495"/>
                </a:cubicBezTo>
                <a:cubicBezTo>
                  <a:pt x="1049343" y="982577"/>
                  <a:pt x="1044409" y="982175"/>
                  <a:pt x="1039791" y="980592"/>
                </a:cubicBezTo>
                <a:cubicBezTo>
                  <a:pt x="1035450" y="979084"/>
                  <a:pt x="1031702" y="976470"/>
                  <a:pt x="1029843" y="973442"/>
                </a:cubicBezTo>
                <a:cubicBezTo>
                  <a:pt x="1028587" y="971495"/>
                  <a:pt x="1028274" y="969342"/>
                  <a:pt x="1029650" y="967525"/>
                </a:cubicBezTo>
                <a:close/>
                <a:moveTo>
                  <a:pt x="1685601" y="966644"/>
                </a:moveTo>
                <a:cubicBezTo>
                  <a:pt x="1685897" y="967758"/>
                  <a:pt x="1687700" y="967666"/>
                  <a:pt x="1689198" y="967607"/>
                </a:cubicBezTo>
                <a:cubicBezTo>
                  <a:pt x="1693367" y="969760"/>
                  <a:pt x="1697497" y="973166"/>
                  <a:pt x="1696531" y="975668"/>
                </a:cubicBezTo>
                <a:cubicBezTo>
                  <a:pt x="1695297" y="976947"/>
                  <a:pt x="1693713" y="977327"/>
                  <a:pt x="1692243" y="977279"/>
                </a:cubicBezTo>
                <a:lnTo>
                  <a:pt x="1689752" y="976612"/>
                </a:lnTo>
                <a:lnTo>
                  <a:pt x="1684049" y="981293"/>
                </a:lnTo>
                <a:cubicBezTo>
                  <a:pt x="1677527" y="984605"/>
                  <a:pt x="1669750" y="982636"/>
                  <a:pt x="1661802" y="981312"/>
                </a:cubicBezTo>
                <a:cubicBezTo>
                  <a:pt x="1663361" y="977705"/>
                  <a:pt x="1672004" y="973121"/>
                  <a:pt x="1681070" y="973595"/>
                </a:cubicBezTo>
                <a:lnTo>
                  <a:pt x="1686881" y="975152"/>
                </a:lnTo>
                <a:lnTo>
                  <a:pt x="1683133" y="972538"/>
                </a:lnTo>
                <a:cubicBezTo>
                  <a:pt x="1682123" y="970772"/>
                  <a:pt x="1681811" y="968618"/>
                  <a:pt x="1682300" y="966794"/>
                </a:cubicBezTo>
                <a:cubicBezTo>
                  <a:pt x="1682565" y="968015"/>
                  <a:pt x="1682594" y="967907"/>
                  <a:pt x="1682594" y="967907"/>
                </a:cubicBezTo>
                <a:cubicBezTo>
                  <a:pt x="1684664" y="969038"/>
                  <a:pt x="1684369" y="967923"/>
                  <a:pt x="1685897" y="967758"/>
                </a:cubicBezTo>
                <a:cubicBezTo>
                  <a:pt x="1685897" y="967758"/>
                  <a:pt x="1684369" y="967923"/>
                  <a:pt x="1685601" y="966644"/>
                </a:cubicBezTo>
                <a:close/>
                <a:moveTo>
                  <a:pt x="1017597" y="966020"/>
                </a:moveTo>
                <a:cubicBezTo>
                  <a:pt x="1017885" y="964947"/>
                  <a:pt x="1024641" y="966298"/>
                  <a:pt x="1025956" y="968030"/>
                </a:cubicBezTo>
                <a:cubicBezTo>
                  <a:pt x="1029912" y="972080"/>
                  <a:pt x="1025539" y="974013"/>
                  <a:pt x="1022175" y="977712"/>
                </a:cubicBezTo>
                <a:cubicBezTo>
                  <a:pt x="1021137" y="976053"/>
                  <a:pt x="1018941" y="976500"/>
                  <a:pt x="1017022" y="977021"/>
                </a:cubicBezTo>
                <a:cubicBezTo>
                  <a:pt x="1015326" y="974496"/>
                  <a:pt x="1011924" y="970595"/>
                  <a:pt x="1013778" y="968102"/>
                </a:cubicBezTo>
                <a:cubicBezTo>
                  <a:pt x="1014313" y="967211"/>
                  <a:pt x="1015679" y="966541"/>
                  <a:pt x="1017597" y="966020"/>
                </a:cubicBezTo>
                <a:close/>
                <a:moveTo>
                  <a:pt x="1105873" y="965293"/>
                </a:moveTo>
                <a:cubicBezTo>
                  <a:pt x="1107667" y="966349"/>
                  <a:pt x="1107667" y="966349"/>
                  <a:pt x="1108550" y="969691"/>
                </a:cubicBezTo>
                <a:cubicBezTo>
                  <a:pt x="1106757" y="968636"/>
                  <a:pt x="1106757" y="968636"/>
                  <a:pt x="1105525" y="969915"/>
                </a:cubicBezTo>
                <a:cubicBezTo>
                  <a:pt x="1105525" y="969915"/>
                  <a:pt x="1105525" y="969915"/>
                  <a:pt x="1105819" y="971029"/>
                </a:cubicBezTo>
                <a:cubicBezTo>
                  <a:pt x="1104292" y="971195"/>
                  <a:pt x="1103998" y="970081"/>
                  <a:pt x="1102221" y="970065"/>
                </a:cubicBezTo>
                <a:cubicBezTo>
                  <a:pt x="1102221" y="970065"/>
                  <a:pt x="1102204" y="969025"/>
                  <a:pt x="1102204" y="969025"/>
                </a:cubicBezTo>
                <a:cubicBezTo>
                  <a:pt x="1101316" y="969017"/>
                  <a:pt x="1101316" y="969017"/>
                  <a:pt x="1101708" y="968663"/>
                </a:cubicBezTo>
                <a:cubicBezTo>
                  <a:pt x="1102071" y="968415"/>
                  <a:pt x="1102549" y="967738"/>
                  <a:pt x="1103142" y="966632"/>
                </a:cubicBezTo>
                <a:cubicBezTo>
                  <a:pt x="1104375" y="965352"/>
                  <a:pt x="1103803" y="964164"/>
                  <a:pt x="1105873" y="965293"/>
                </a:cubicBezTo>
                <a:close/>
                <a:moveTo>
                  <a:pt x="1946401" y="965109"/>
                </a:moveTo>
                <a:lnTo>
                  <a:pt x="1945456" y="965316"/>
                </a:lnTo>
                <a:lnTo>
                  <a:pt x="1945705" y="965497"/>
                </a:lnTo>
                <a:close/>
                <a:moveTo>
                  <a:pt x="2150545" y="964723"/>
                </a:moveTo>
                <a:cubicBezTo>
                  <a:pt x="2152482" y="965242"/>
                  <a:pt x="2154835" y="968633"/>
                  <a:pt x="2155471" y="971793"/>
                </a:cubicBezTo>
                <a:lnTo>
                  <a:pt x="2155242" y="972651"/>
                </a:lnTo>
                <a:lnTo>
                  <a:pt x="2160819" y="978401"/>
                </a:lnTo>
                <a:cubicBezTo>
                  <a:pt x="2157437" y="981060"/>
                  <a:pt x="2154209" y="982035"/>
                  <a:pt x="2150774" y="981575"/>
                </a:cubicBezTo>
                <a:cubicBezTo>
                  <a:pt x="2147368" y="981007"/>
                  <a:pt x="2144058" y="978971"/>
                  <a:pt x="2140730" y="975894"/>
                </a:cubicBezTo>
                <a:cubicBezTo>
                  <a:pt x="2142250" y="973540"/>
                  <a:pt x="2142273" y="971247"/>
                  <a:pt x="2143802" y="967747"/>
                </a:cubicBezTo>
                <a:lnTo>
                  <a:pt x="2147342" y="968925"/>
                </a:lnTo>
                <a:lnTo>
                  <a:pt x="2147429" y="968603"/>
                </a:lnTo>
                <a:cubicBezTo>
                  <a:pt x="2147946" y="966672"/>
                  <a:pt x="2149266" y="965070"/>
                  <a:pt x="2150545" y="964723"/>
                </a:cubicBezTo>
                <a:close/>
                <a:moveTo>
                  <a:pt x="4779234" y="964004"/>
                </a:moveTo>
                <a:lnTo>
                  <a:pt x="4779917" y="968096"/>
                </a:lnTo>
                <a:lnTo>
                  <a:pt x="4779774" y="968632"/>
                </a:lnTo>
                <a:lnTo>
                  <a:pt x="4783145" y="967121"/>
                </a:lnTo>
                <a:lnTo>
                  <a:pt x="4780550" y="965735"/>
                </a:lnTo>
                <a:close/>
                <a:moveTo>
                  <a:pt x="900167" y="963765"/>
                </a:moveTo>
                <a:cubicBezTo>
                  <a:pt x="912690" y="971261"/>
                  <a:pt x="919274" y="973255"/>
                  <a:pt x="928229" y="979679"/>
                </a:cubicBezTo>
                <a:cubicBezTo>
                  <a:pt x="927941" y="980752"/>
                  <a:pt x="926282" y="980308"/>
                  <a:pt x="926242" y="981562"/>
                </a:cubicBezTo>
                <a:cubicBezTo>
                  <a:pt x="925267" y="981876"/>
                  <a:pt x="923579" y="981539"/>
                  <a:pt x="921670" y="980912"/>
                </a:cubicBezTo>
                <a:cubicBezTo>
                  <a:pt x="915640" y="979066"/>
                  <a:pt x="906893" y="974078"/>
                  <a:pt x="906847" y="973145"/>
                </a:cubicBezTo>
                <a:cubicBezTo>
                  <a:pt x="905187" y="972700"/>
                  <a:pt x="905780" y="971595"/>
                  <a:pt x="904121" y="971150"/>
                </a:cubicBezTo>
                <a:cubicBezTo>
                  <a:pt x="904121" y="971150"/>
                  <a:pt x="902488" y="970598"/>
                  <a:pt x="900868" y="968898"/>
                </a:cubicBezTo>
                <a:cubicBezTo>
                  <a:pt x="899523" y="967273"/>
                  <a:pt x="898179" y="965648"/>
                  <a:pt x="900167" y="963765"/>
                </a:cubicBezTo>
                <a:close/>
                <a:moveTo>
                  <a:pt x="2315492" y="961196"/>
                </a:moveTo>
                <a:cubicBezTo>
                  <a:pt x="2318964" y="963736"/>
                  <a:pt x="2322446" y="965129"/>
                  <a:pt x="2324172" y="967545"/>
                </a:cubicBezTo>
                <a:cubicBezTo>
                  <a:pt x="2322537" y="970327"/>
                  <a:pt x="2319920" y="971237"/>
                  <a:pt x="2317315" y="970999"/>
                </a:cubicBezTo>
                <a:cubicBezTo>
                  <a:pt x="2314461" y="970580"/>
                  <a:pt x="2311314" y="969045"/>
                  <a:pt x="2308730" y="966514"/>
                </a:cubicBezTo>
                <a:cubicBezTo>
                  <a:pt x="2310498" y="964342"/>
                  <a:pt x="2312266" y="962171"/>
                  <a:pt x="2315492" y="961196"/>
                </a:cubicBezTo>
                <a:close/>
                <a:moveTo>
                  <a:pt x="4776576" y="960646"/>
                </a:moveTo>
                <a:cubicBezTo>
                  <a:pt x="4776576" y="960646"/>
                  <a:pt x="4776604" y="960539"/>
                  <a:pt x="4777175" y="961727"/>
                </a:cubicBezTo>
                <a:lnTo>
                  <a:pt x="4776335" y="962651"/>
                </a:lnTo>
                <a:lnTo>
                  <a:pt x="4777919" y="962270"/>
                </a:lnTo>
                <a:close/>
                <a:moveTo>
                  <a:pt x="2352518" y="959156"/>
                </a:moveTo>
                <a:cubicBezTo>
                  <a:pt x="2353654" y="959346"/>
                  <a:pt x="2354646" y="960071"/>
                  <a:pt x="2355960" y="961803"/>
                </a:cubicBezTo>
                <a:cubicBezTo>
                  <a:pt x="2358907" y="964088"/>
                  <a:pt x="2358342" y="965087"/>
                  <a:pt x="2354160" y="967417"/>
                </a:cubicBezTo>
                <a:cubicBezTo>
                  <a:pt x="2350293" y="968565"/>
                  <a:pt x="2348059" y="970266"/>
                  <a:pt x="2346426" y="969714"/>
                </a:cubicBezTo>
                <a:cubicBezTo>
                  <a:pt x="2346138" y="970786"/>
                  <a:pt x="2344191" y="971415"/>
                  <a:pt x="2343904" y="972488"/>
                </a:cubicBezTo>
                <a:cubicBezTo>
                  <a:pt x="2343904" y="972488"/>
                  <a:pt x="2343904" y="972488"/>
                  <a:pt x="2342272" y="971936"/>
                </a:cubicBezTo>
                <a:cubicBezTo>
                  <a:pt x="2345140" y="967874"/>
                  <a:pt x="2345309" y="961710"/>
                  <a:pt x="2349463" y="959487"/>
                </a:cubicBezTo>
                <a:cubicBezTo>
                  <a:pt x="2350437" y="959173"/>
                  <a:pt x="2351687" y="958934"/>
                  <a:pt x="2352518" y="959156"/>
                </a:cubicBezTo>
                <a:close/>
                <a:moveTo>
                  <a:pt x="1729117" y="956985"/>
                </a:moveTo>
                <a:cubicBezTo>
                  <a:pt x="1732032" y="956344"/>
                  <a:pt x="1735206" y="955842"/>
                  <a:pt x="1738173" y="957500"/>
                </a:cubicBezTo>
                <a:lnTo>
                  <a:pt x="1742589" y="959833"/>
                </a:lnTo>
                <a:lnTo>
                  <a:pt x="1742144" y="957070"/>
                </a:lnTo>
                <a:cubicBezTo>
                  <a:pt x="1755782" y="958194"/>
                  <a:pt x="1771744" y="962814"/>
                  <a:pt x="1775283" y="963994"/>
                </a:cubicBezTo>
                <a:cubicBezTo>
                  <a:pt x="1776915" y="964546"/>
                  <a:pt x="1777934" y="965164"/>
                  <a:pt x="1778345" y="965849"/>
                </a:cubicBezTo>
                <a:cubicBezTo>
                  <a:pt x="1778725" y="966641"/>
                  <a:pt x="1778495" y="967499"/>
                  <a:pt x="1777874" y="968712"/>
                </a:cubicBezTo>
                <a:cubicBezTo>
                  <a:pt x="1771571" y="972314"/>
                  <a:pt x="1764225" y="968735"/>
                  <a:pt x="1755608" y="967691"/>
                </a:cubicBezTo>
                <a:cubicBezTo>
                  <a:pt x="1755342" y="966471"/>
                  <a:pt x="1753577" y="965308"/>
                  <a:pt x="1751803" y="965293"/>
                </a:cubicBezTo>
                <a:lnTo>
                  <a:pt x="1749761" y="964055"/>
                </a:lnTo>
                <a:lnTo>
                  <a:pt x="1753442" y="968031"/>
                </a:lnTo>
                <a:cubicBezTo>
                  <a:pt x="1754993" y="971092"/>
                  <a:pt x="1753578" y="974162"/>
                  <a:pt x="1752399" y="978562"/>
                </a:cubicBezTo>
                <a:cubicBezTo>
                  <a:pt x="1752133" y="977341"/>
                  <a:pt x="1750624" y="978546"/>
                  <a:pt x="1750624" y="978546"/>
                </a:cubicBezTo>
                <a:cubicBezTo>
                  <a:pt x="1748129" y="981212"/>
                  <a:pt x="1758361" y="981770"/>
                  <a:pt x="1755884" y="985476"/>
                </a:cubicBezTo>
                <a:cubicBezTo>
                  <a:pt x="1751364" y="991280"/>
                  <a:pt x="1738977" y="989915"/>
                  <a:pt x="1732411" y="988961"/>
                </a:cubicBezTo>
                <a:lnTo>
                  <a:pt x="1728670" y="988535"/>
                </a:lnTo>
                <a:lnTo>
                  <a:pt x="1728994" y="989541"/>
                </a:lnTo>
                <a:lnTo>
                  <a:pt x="1732314" y="990431"/>
                </a:lnTo>
                <a:cubicBezTo>
                  <a:pt x="1741884" y="993454"/>
                  <a:pt x="1750001" y="997470"/>
                  <a:pt x="1749262" y="1002447"/>
                </a:cubicBezTo>
                <a:cubicBezTo>
                  <a:pt x="1743393" y="1001105"/>
                  <a:pt x="1732752" y="999863"/>
                  <a:pt x="1723650" y="997309"/>
                </a:cubicBezTo>
                <a:cubicBezTo>
                  <a:pt x="1714271" y="994681"/>
                  <a:pt x="1706764" y="990600"/>
                  <a:pt x="1706858" y="983609"/>
                </a:cubicBezTo>
                <a:cubicBezTo>
                  <a:pt x="1709319" y="984385"/>
                  <a:pt x="1713498" y="985389"/>
                  <a:pt x="1717956" y="986468"/>
                </a:cubicBezTo>
                <a:lnTo>
                  <a:pt x="1723212" y="987877"/>
                </a:lnTo>
                <a:lnTo>
                  <a:pt x="1718403" y="985899"/>
                </a:lnTo>
                <a:cubicBezTo>
                  <a:pt x="1717135" y="985098"/>
                  <a:pt x="1717059" y="984273"/>
                  <a:pt x="1718292" y="982993"/>
                </a:cubicBezTo>
                <a:cubicBezTo>
                  <a:pt x="1719259" y="980493"/>
                  <a:pt x="1722856" y="981456"/>
                  <a:pt x="1725626" y="978863"/>
                </a:cubicBezTo>
                <a:cubicBezTo>
                  <a:pt x="1727481" y="976370"/>
                  <a:pt x="1724401" y="973476"/>
                  <a:pt x="1722077" y="969977"/>
                </a:cubicBezTo>
                <a:lnTo>
                  <a:pt x="1721667" y="969292"/>
                </a:lnTo>
                <a:lnTo>
                  <a:pt x="1721695" y="969185"/>
                </a:lnTo>
                <a:cubicBezTo>
                  <a:pt x="1720514" y="968063"/>
                  <a:pt x="1720220" y="966949"/>
                  <a:pt x="1719981" y="965621"/>
                </a:cubicBezTo>
                <a:lnTo>
                  <a:pt x="1720039" y="965407"/>
                </a:lnTo>
                <a:lnTo>
                  <a:pt x="1719467" y="964218"/>
                </a:lnTo>
                <a:cubicBezTo>
                  <a:pt x="1719155" y="962065"/>
                  <a:pt x="1719730" y="959918"/>
                  <a:pt x="1721613" y="957317"/>
                </a:cubicBezTo>
                <a:cubicBezTo>
                  <a:pt x="1723545" y="958411"/>
                  <a:pt x="1726201" y="957627"/>
                  <a:pt x="1729117" y="956985"/>
                </a:cubicBezTo>
                <a:close/>
                <a:moveTo>
                  <a:pt x="2011151" y="955893"/>
                </a:moveTo>
                <a:cubicBezTo>
                  <a:pt x="2019006" y="955353"/>
                  <a:pt x="2024511" y="956943"/>
                  <a:pt x="2027954" y="959591"/>
                </a:cubicBezTo>
                <a:cubicBezTo>
                  <a:pt x="2038063" y="967244"/>
                  <a:pt x="2029634" y="984307"/>
                  <a:pt x="2010949" y="983209"/>
                </a:cubicBezTo>
                <a:cubicBezTo>
                  <a:pt x="2007553" y="981495"/>
                  <a:pt x="2005770" y="979291"/>
                  <a:pt x="2004351" y="976841"/>
                </a:cubicBezTo>
                <a:cubicBezTo>
                  <a:pt x="2000981" y="969498"/>
                  <a:pt x="2005286" y="960071"/>
                  <a:pt x="2011151" y="955893"/>
                </a:cubicBezTo>
                <a:close/>
                <a:moveTo>
                  <a:pt x="1368610" y="955422"/>
                </a:moveTo>
                <a:cubicBezTo>
                  <a:pt x="1371844" y="956634"/>
                  <a:pt x="1375365" y="956773"/>
                  <a:pt x="1378036" y="958983"/>
                </a:cubicBezTo>
                <a:cubicBezTo>
                  <a:pt x="1380362" y="962481"/>
                  <a:pt x="1376709" y="967253"/>
                  <a:pt x="1374199" y="968880"/>
                </a:cubicBezTo>
                <a:cubicBezTo>
                  <a:pt x="1372307" y="969293"/>
                  <a:pt x="1370342" y="968882"/>
                  <a:pt x="1368548" y="967826"/>
                </a:cubicBezTo>
                <a:cubicBezTo>
                  <a:pt x="1366450" y="966804"/>
                  <a:pt x="1364801" y="965212"/>
                  <a:pt x="1363763" y="963553"/>
                </a:cubicBezTo>
                <a:cubicBezTo>
                  <a:pt x="1362302" y="962358"/>
                  <a:pt x="1362066" y="961028"/>
                  <a:pt x="1362411" y="959742"/>
                </a:cubicBezTo>
                <a:cubicBezTo>
                  <a:pt x="1362756" y="958454"/>
                  <a:pt x="1363406" y="957132"/>
                  <a:pt x="1364801" y="956357"/>
                </a:cubicBezTo>
                <a:cubicBezTo>
                  <a:pt x="1366690" y="955943"/>
                  <a:pt x="1366690" y="955943"/>
                  <a:pt x="1368610" y="955422"/>
                </a:cubicBezTo>
                <a:close/>
                <a:moveTo>
                  <a:pt x="1227595" y="953748"/>
                </a:moveTo>
                <a:cubicBezTo>
                  <a:pt x="1232288" y="952562"/>
                  <a:pt x="1238295" y="953108"/>
                  <a:pt x="1246040" y="956850"/>
                </a:cubicBezTo>
                <a:cubicBezTo>
                  <a:pt x="1249609" y="957921"/>
                  <a:pt x="1247835" y="957906"/>
                  <a:pt x="1249903" y="959035"/>
                </a:cubicBezTo>
                <a:cubicBezTo>
                  <a:pt x="1251696" y="960091"/>
                  <a:pt x="1255571" y="961129"/>
                  <a:pt x="1257070" y="961072"/>
                </a:cubicBezTo>
                <a:cubicBezTo>
                  <a:pt x="1253361" y="966058"/>
                  <a:pt x="1259028" y="968151"/>
                  <a:pt x="1252548" y="975730"/>
                </a:cubicBezTo>
                <a:cubicBezTo>
                  <a:pt x="1247262" y="983283"/>
                  <a:pt x="1239014" y="984178"/>
                  <a:pt x="1231953" y="982861"/>
                </a:cubicBezTo>
                <a:cubicBezTo>
                  <a:pt x="1229711" y="982376"/>
                  <a:pt x="1227498" y="981783"/>
                  <a:pt x="1225646" y="980942"/>
                </a:cubicBezTo>
                <a:cubicBezTo>
                  <a:pt x="1226517" y="979910"/>
                  <a:pt x="1216404" y="975590"/>
                  <a:pt x="1214722" y="968584"/>
                </a:cubicBezTo>
                <a:cubicBezTo>
                  <a:pt x="1214133" y="966356"/>
                  <a:pt x="1214794" y="963888"/>
                  <a:pt x="1217040" y="961040"/>
                </a:cubicBezTo>
                <a:cubicBezTo>
                  <a:pt x="1219525" y="957854"/>
                  <a:pt x="1222903" y="954934"/>
                  <a:pt x="1227595" y="953748"/>
                </a:cubicBezTo>
                <a:close/>
                <a:moveTo>
                  <a:pt x="5513728" y="953347"/>
                </a:moveTo>
                <a:cubicBezTo>
                  <a:pt x="5515255" y="953181"/>
                  <a:pt x="5516944" y="953519"/>
                  <a:pt x="5518852" y="954145"/>
                </a:cubicBezTo>
                <a:cubicBezTo>
                  <a:pt x="5520587" y="955415"/>
                  <a:pt x="5520871" y="957677"/>
                  <a:pt x="5519617" y="961250"/>
                </a:cubicBezTo>
                <a:cubicBezTo>
                  <a:pt x="5517975" y="961845"/>
                  <a:pt x="5515790" y="961145"/>
                  <a:pt x="5513662" y="960229"/>
                </a:cubicBezTo>
                <a:cubicBezTo>
                  <a:pt x="5511258" y="959241"/>
                  <a:pt x="5509189" y="958111"/>
                  <a:pt x="5507309" y="957378"/>
                </a:cubicBezTo>
                <a:cubicBezTo>
                  <a:pt x="5509067" y="956353"/>
                  <a:pt x="5510575" y="955147"/>
                  <a:pt x="5508801" y="955132"/>
                </a:cubicBezTo>
                <a:cubicBezTo>
                  <a:pt x="5510310" y="953927"/>
                  <a:pt x="5511923" y="953439"/>
                  <a:pt x="5513728" y="953347"/>
                </a:cubicBezTo>
                <a:close/>
                <a:moveTo>
                  <a:pt x="1566781" y="952976"/>
                </a:moveTo>
                <a:cubicBezTo>
                  <a:pt x="1567973" y="952951"/>
                  <a:pt x="1569386" y="953214"/>
                  <a:pt x="1570989" y="953874"/>
                </a:cubicBezTo>
                <a:cubicBezTo>
                  <a:pt x="1576519" y="958691"/>
                  <a:pt x="1572039" y="963240"/>
                  <a:pt x="1571039" y="969182"/>
                </a:cubicBezTo>
                <a:cubicBezTo>
                  <a:pt x="1569264" y="969167"/>
                  <a:pt x="1567755" y="970373"/>
                  <a:pt x="1567744" y="971519"/>
                </a:cubicBezTo>
                <a:cubicBezTo>
                  <a:pt x="1566263" y="972618"/>
                  <a:pt x="1564753" y="973824"/>
                  <a:pt x="1566529" y="973839"/>
                </a:cubicBezTo>
                <a:cubicBezTo>
                  <a:pt x="1562030" y="977349"/>
                  <a:pt x="1561990" y="978602"/>
                  <a:pt x="1556704" y="977302"/>
                </a:cubicBezTo>
                <a:cubicBezTo>
                  <a:pt x="1557458" y="967844"/>
                  <a:pt x="1562967" y="957244"/>
                  <a:pt x="1564488" y="954892"/>
                </a:cubicBezTo>
                <a:cubicBezTo>
                  <a:pt x="1565109" y="953678"/>
                  <a:pt x="1565836" y="953183"/>
                  <a:pt x="1566781" y="952976"/>
                </a:cubicBezTo>
                <a:close/>
                <a:moveTo>
                  <a:pt x="2108716" y="952595"/>
                </a:moveTo>
                <a:lnTo>
                  <a:pt x="2116097" y="958252"/>
                </a:lnTo>
                <a:lnTo>
                  <a:pt x="2120610" y="959117"/>
                </a:lnTo>
                <a:cubicBezTo>
                  <a:pt x="2128767" y="961878"/>
                  <a:pt x="2134546" y="966877"/>
                  <a:pt x="2131611" y="972300"/>
                </a:cubicBezTo>
                <a:lnTo>
                  <a:pt x="2126939" y="976453"/>
                </a:lnTo>
                <a:lnTo>
                  <a:pt x="2127499" y="978789"/>
                </a:lnTo>
                <a:cubicBezTo>
                  <a:pt x="2127639" y="981586"/>
                  <a:pt x="2127284" y="984021"/>
                  <a:pt x="2125907" y="985837"/>
                </a:cubicBezTo>
                <a:cubicBezTo>
                  <a:pt x="2122016" y="983759"/>
                  <a:pt x="2119155" y="981153"/>
                  <a:pt x="2116657" y="978298"/>
                </a:cubicBezTo>
                <a:lnTo>
                  <a:pt x="2113980" y="973900"/>
                </a:lnTo>
                <a:lnTo>
                  <a:pt x="2101176" y="969665"/>
                </a:lnTo>
                <a:cubicBezTo>
                  <a:pt x="2096817" y="967117"/>
                  <a:pt x="2093909" y="963578"/>
                  <a:pt x="2093820" y="958379"/>
                </a:cubicBezTo>
                <a:cubicBezTo>
                  <a:pt x="2097774" y="956908"/>
                  <a:pt x="2102078" y="956337"/>
                  <a:pt x="2106765" y="956557"/>
                </a:cubicBezTo>
                <a:lnTo>
                  <a:pt x="2108482" y="956787"/>
                </a:lnTo>
                <a:close/>
                <a:moveTo>
                  <a:pt x="950707" y="952237"/>
                </a:moveTo>
                <a:cubicBezTo>
                  <a:pt x="952338" y="952789"/>
                  <a:pt x="953683" y="954415"/>
                  <a:pt x="953683" y="954415"/>
                </a:cubicBezTo>
                <a:cubicBezTo>
                  <a:pt x="955026" y="956040"/>
                  <a:pt x="955026" y="956040"/>
                  <a:pt x="956974" y="955411"/>
                </a:cubicBezTo>
                <a:cubicBezTo>
                  <a:pt x="956974" y="955411"/>
                  <a:pt x="956658" y="956592"/>
                  <a:pt x="956658" y="956592"/>
                </a:cubicBezTo>
                <a:cubicBezTo>
                  <a:pt x="955026" y="956040"/>
                  <a:pt x="956658" y="956592"/>
                  <a:pt x="958002" y="958217"/>
                </a:cubicBezTo>
                <a:cubicBezTo>
                  <a:pt x="956015" y="960100"/>
                  <a:pt x="955728" y="961172"/>
                  <a:pt x="954056" y="961874"/>
                </a:cubicBezTo>
                <a:cubicBezTo>
                  <a:pt x="953084" y="962188"/>
                  <a:pt x="951803" y="962537"/>
                  <a:pt x="950362" y="962379"/>
                </a:cubicBezTo>
                <a:cubicBezTo>
                  <a:pt x="949199" y="962298"/>
                  <a:pt x="948120" y="961893"/>
                  <a:pt x="947156" y="961061"/>
                </a:cubicBezTo>
                <a:cubicBezTo>
                  <a:pt x="947473" y="959880"/>
                  <a:pt x="945812" y="959435"/>
                  <a:pt x="946128" y="958256"/>
                </a:cubicBezTo>
                <a:cubicBezTo>
                  <a:pt x="945100" y="955450"/>
                  <a:pt x="945112" y="954303"/>
                  <a:pt x="947060" y="953675"/>
                </a:cubicBezTo>
                <a:cubicBezTo>
                  <a:pt x="947099" y="952420"/>
                  <a:pt x="948759" y="952865"/>
                  <a:pt x="950707" y="952237"/>
                </a:cubicBezTo>
                <a:close/>
                <a:moveTo>
                  <a:pt x="1806019" y="952218"/>
                </a:moveTo>
                <a:cubicBezTo>
                  <a:pt x="1814939" y="956564"/>
                  <a:pt x="1817375" y="962967"/>
                  <a:pt x="1817119" y="969454"/>
                </a:cubicBezTo>
                <a:lnTo>
                  <a:pt x="1816084" y="973317"/>
                </a:lnTo>
                <a:lnTo>
                  <a:pt x="1820737" y="976978"/>
                </a:lnTo>
                <a:cubicBezTo>
                  <a:pt x="1826512" y="985310"/>
                  <a:pt x="1824820" y="997162"/>
                  <a:pt x="1815648" y="995970"/>
                </a:cubicBezTo>
                <a:cubicBezTo>
                  <a:pt x="1813932" y="995739"/>
                  <a:pt x="1812023" y="995113"/>
                  <a:pt x="1809705" y="993802"/>
                </a:cubicBezTo>
                <a:lnTo>
                  <a:pt x="1809267" y="993225"/>
                </a:lnTo>
                <a:lnTo>
                  <a:pt x="1807520" y="993102"/>
                </a:lnTo>
                <a:cubicBezTo>
                  <a:pt x="1803635" y="993211"/>
                  <a:pt x="1799198" y="993171"/>
                  <a:pt x="1794857" y="991664"/>
                </a:cubicBezTo>
                <a:cubicBezTo>
                  <a:pt x="1796118" y="990277"/>
                  <a:pt x="1800387" y="987625"/>
                  <a:pt x="1805777" y="989645"/>
                </a:cubicBezTo>
                <a:lnTo>
                  <a:pt x="1806636" y="989761"/>
                </a:lnTo>
                <a:lnTo>
                  <a:pt x="1804473" y="986765"/>
                </a:lnTo>
                <a:cubicBezTo>
                  <a:pt x="1801796" y="982368"/>
                  <a:pt x="1800838" y="978201"/>
                  <a:pt x="1802615" y="974883"/>
                </a:cubicBezTo>
                <a:lnTo>
                  <a:pt x="1805053" y="972430"/>
                </a:lnTo>
                <a:lnTo>
                  <a:pt x="1803996" y="969732"/>
                </a:lnTo>
                <a:cubicBezTo>
                  <a:pt x="1802799" y="964237"/>
                  <a:pt x="1802852" y="958500"/>
                  <a:pt x="1806019" y="952218"/>
                </a:cubicBezTo>
                <a:close/>
                <a:moveTo>
                  <a:pt x="5794999" y="951778"/>
                </a:moveTo>
                <a:cubicBezTo>
                  <a:pt x="5805679" y="951764"/>
                  <a:pt x="5814257" y="954063"/>
                  <a:pt x="5821790" y="952516"/>
                </a:cubicBezTo>
                <a:cubicBezTo>
                  <a:pt x="5821790" y="952516"/>
                  <a:pt x="5821790" y="952516"/>
                  <a:pt x="5825289" y="954949"/>
                </a:cubicBezTo>
                <a:cubicBezTo>
                  <a:pt x="5827065" y="954964"/>
                  <a:pt x="5827065" y="954964"/>
                  <a:pt x="5827065" y="954964"/>
                </a:cubicBezTo>
                <a:cubicBezTo>
                  <a:pt x="5828563" y="954906"/>
                  <a:pt x="5828819" y="957274"/>
                  <a:pt x="5828819" y="957274"/>
                </a:cubicBezTo>
                <a:cubicBezTo>
                  <a:pt x="5827575" y="959702"/>
                  <a:pt x="5822289" y="958400"/>
                  <a:pt x="5819015" y="958443"/>
                </a:cubicBezTo>
                <a:cubicBezTo>
                  <a:pt x="5817523" y="960688"/>
                  <a:pt x="5812022" y="955764"/>
                  <a:pt x="5810502" y="958116"/>
                </a:cubicBezTo>
                <a:cubicBezTo>
                  <a:pt x="5805267" y="954414"/>
                  <a:pt x="5799556" y="956909"/>
                  <a:pt x="5791884" y="955657"/>
                </a:cubicBezTo>
                <a:cubicBezTo>
                  <a:pt x="5789336" y="955205"/>
                  <a:pt x="5786321" y="954282"/>
                  <a:pt x="5783173" y="952749"/>
                </a:cubicBezTo>
                <a:cubicBezTo>
                  <a:pt x="5787230" y="951996"/>
                  <a:pt x="5791420" y="951854"/>
                  <a:pt x="5794999" y="951778"/>
                </a:cubicBezTo>
                <a:close/>
                <a:moveTo>
                  <a:pt x="1968265" y="949923"/>
                </a:moveTo>
                <a:cubicBezTo>
                  <a:pt x="1972408" y="948847"/>
                  <a:pt x="1983544" y="950451"/>
                  <a:pt x="1989123" y="956201"/>
                </a:cubicBezTo>
                <a:lnTo>
                  <a:pt x="1987948" y="957266"/>
                </a:lnTo>
                <a:lnTo>
                  <a:pt x="1999532" y="958300"/>
                </a:lnTo>
                <a:cubicBezTo>
                  <a:pt x="1995604" y="971853"/>
                  <a:pt x="1970144" y="968366"/>
                  <a:pt x="1957254" y="964452"/>
                </a:cubicBezTo>
                <a:lnTo>
                  <a:pt x="1972559" y="959352"/>
                </a:lnTo>
                <a:lnTo>
                  <a:pt x="1971452" y="959056"/>
                </a:lnTo>
                <a:cubicBezTo>
                  <a:pt x="1971035" y="956184"/>
                  <a:pt x="1969282" y="953875"/>
                  <a:pt x="1968265" y="949923"/>
                </a:cubicBezTo>
                <a:close/>
                <a:moveTo>
                  <a:pt x="1501072" y="949171"/>
                </a:moveTo>
                <a:cubicBezTo>
                  <a:pt x="1501360" y="948096"/>
                  <a:pt x="1507760" y="951882"/>
                  <a:pt x="1509448" y="952219"/>
                </a:cubicBezTo>
                <a:cubicBezTo>
                  <a:pt x="1509438" y="953366"/>
                  <a:pt x="1509409" y="953474"/>
                  <a:pt x="1507749" y="953029"/>
                </a:cubicBezTo>
                <a:cubicBezTo>
                  <a:pt x="1507969" y="953318"/>
                  <a:pt x="1507969" y="953318"/>
                  <a:pt x="1508217" y="953499"/>
                </a:cubicBezTo>
                <a:cubicBezTo>
                  <a:pt x="1506966" y="953739"/>
                  <a:pt x="1505716" y="953979"/>
                  <a:pt x="1504361" y="953501"/>
                </a:cubicBezTo>
                <a:cubicBezTo>
                  <a:pt x="1502728" y="952949"/>
                  <a:pt x="1501184" y="952075"/>
                  <a:pt x="1499361" y="951126"/>
                </a:cubicBezTo>
                <a:cubicBezTo>
                  <a:pt x="1499649" y="950053"/>
                  <a:pt x="1499373" y="949979"/>
                  <a:pt x="1501072" y="949171"/>
                </a:cubicBezTo>
                <a:close/>
                <a:moveTo>
                  <a:pt x="4892751" y="948765"/>
                </a:moveTo>
                <a:cubicBezTo>
                  <a:pt x="4896126" y="952774"/>
                  <a:pt x="4893700" y="954079"/>
                  <a:pt x="4896313" y="956504"/>
                </a:cubicBezTo>
                <a:cubicBezTo>
                  <a:pt x="4893086" y="957480"/>
                  <a:pt x="4890118" y="957490"/>
                  <a:pt x="4887656" y="956714"/>
                </a:cubicBezTo>
                <a:cubicBezTo>
                  <a:pt x="4884918" y="955865"/>
                  <a:pt x="4882439" y="954051"/>
                  <a:pt x="4880074" y="951808"/>
                </a:cubicBezTo>
                <a:cubicBezTo>
                  <a:pt x="4881490" y="948736"/>
                  <a:pt x="4888250" y="946753"/>
                  <a:pt x="4892751" y="948765"/>
                </a:cubicBezTo>
                <a:close/>
                <a:moveTo>
                  <a:pt x="5607372" y="948079"/>
                </a:moveTo>
                <a:cubicBezTo>
                  <a:pt x="5612755" y="947911"/>
                  <a:pt x="5622728" y="949434"/>
                  <a:pt x="5623921" y="949408"/>
                </a:cubicBezTo>
                <a:cubicBezTo>
                  <a:pt x="5623921" y="949408"/>
                  <a:pt x="5625695" y="949423"/>
                  <a:pt x="5627442" y="949547"/>
                </a:cubicBezTo>
                <a:cubicBezTo>
                  <a:pt x="5629206" y="950709"/>
                  <a:pt x="5629472" y="951930"/>
                  <a:pt x="5630971" y="951872"/>
                </a:cubicBezTo>
                <a:cubicBezTo>
                  <a:pt x="5626501" y="955274"/>
                  <a:pt x="5621186" y="954080"/>
                  <a:pt x="5616177" y="952852"/>
                </a:cubicBezTo>
                <a:cubicBezTo>
                  <a:pt x="5612666" y="951567"/>
                  <a:pt x="5610890" y="951552"/>
                  <a:pt x="5607634" y="952634"/>
                </a:cubicBezTo>
                <a:cubicBezTo>
                  <a:pt x="5607634" y="952634"/>
                  <a:pt x="5607634" y="952634"/>
                  <a:pt x="5604134" y="950201"/>
                </a:cubicBezTo>
                <a:lnTo>
                  <a:pt x="5603840" y="949087"/>
                </a:lnTo>
                <a:cubicBezTo>
                  <a:pt x="5604288" y="948518"/>
                  <a:pt x="5605568" y="948170"/>
                  <a:pt x="5607372" y="948079"/>
                </a:cubicBezTo>
                <a:close/>
                <a:moveTo>
                  <a:pt x="1278590" y="947991"/>
                </a:moveTo>
                <a:cubicBezTo>
                  <a:pt x="1284663" y="949403"/>
                  <a:pt x="1292234" y="953243"/>
                  <a:pt x="1297848" y="954977"/>
                </a:cubicBezTo>
                <a:cubicBezTo>
                  <a:pt x="1298188" y="960357"/>
                  <a:pt x="1297479" y="961893"/>
                  <a:pt x="1293170" y="965798"/>
                </a:cubicBezTo>
                <a:cubicBezTo>
                  <a:pt x="1290536" y="965668"/>
                  <a:pt x="1287990" y="965216"/>
                  <a:pt x="1285804" y="964515"/>
                </a:cubicBezTo>
                <a:cubicBezTo>
                  <a:pt x="1283314" y="963848"/>
                  <a:pt x="1281157" y="963040"/>
                  <a:pt x="1279306" y="962198"/>
                </a:cubicBezTo>
                <a:cubicBezTo>
                  <a:pt x="1275080" y="960261"/>
                  <a:pt x="1271857" y="957903"/>
                  <a:pt x="1268327" y="955577"/>
                </a:cubicBezTo>
                <a:cubicBezTo>
                  <a:pt x="1267945" y="947597"/>
                  <a:pt x="1272518" y="946580"/>
                  <a:pt x="1278590" y="947991"/>
                </a:cubicBezTo>
                <a:close/>
                <a:moveTo>
                  <a:pt x="2023739" y="947651"/>
                </a:moveTo>
                <a:cubicBezTo>
                  <a:pt x="2026351" y="950076"/>
                  <a:pt x="2027361" y="951842"/>
                  <a:pt x="2029381" y="955372"/>
                </a:cubicBezTo>
                <a:cubicBezTo>
                  <a:pt x="2028044" y="955934"/>
                  <a:pt x="2026545" y="955994"/>
                  <a:pt x="2025409" y="955804"/>
                </a:cubicBezTo>
                <a:cubicBezTo>
                  <a:pt x="2021726" y="955162"/>
                  <a:pt x="2018600" y="951334"/>
                  <a:pt x="2019757" y="949229"/>
                </a:cubicBezTo>
                <a:cubicBezTo>
                  <a:pt x="2020293" y="948337"/>
                  <a:pt x="2021381" y="947595"/>
                  <a:pt x="2023739" y="947651"/>
                </a:cubicBezTo>
                <a:close/>
                <a:moveTo>
                  <a:pt x="2370493" y="947412"/>
                </a:moveTo>
                <a:cubicBezTo>
                  <a:pt x="2372113" y="957966"/>
                  <a:pt x="2374667" y="969461"/>
                  <a:pt x="2364807" y="970844"/>
                </a:cubicBezTo>
                <a:cubicBezTo>
                  <a:pt x="2356176" y="965427"/>
                  <a:pt x="2357915" y="954507"/>
                  <a:pt x="2360632" y="948794"/>
                </a:cubicBezTo>
                <a:cubicBezTo>
                  <a:pt x="2365232" y="949337"/>
                  <a:pt x="2365894" y="946869"/>
                  <a:pt x="2370493" y="947412"/>
                </a:cubicBezTo>
                <a:close/>
                <a:moveTo>
                  <a:pt x="4920041" y="946532"/>
                </a:moveTo>
                <a:cubicBezTo>
                  <a:pt x="4920937" y="948727"/>
                  <a:pt x="4918776" y="951253"/>
                  <a:pt x="4915538" y="953376"/>
                </a:cubicBezTo>
                <a:lnTo>
                  <a:pt x="4912836" y="954606"/>
                </a:lnTo>
                <a:lnTo>
                  <a:pt x="4916404" y="955677"/>
                </a:lnTo>
                <a:cubicBezTo>
                  <a:pt x="4922672" y="958852"/>
                  <a:pt x="4927523" y="965097"/>
                  <a:pt x="4922546" y="969283"/>
                </a:cubicBezTo>
                <a:cubicBezTo>
                  <a:pt x="4920074" y="969655"/>
                  <a:pt x="4917878" y="970102"/>
                  <a:pt x="4915273" y="969864"/>
                </a:cubicBezTo>
                <a:cubicBezTo>
                  <a:pt x="4912667" y="969626"/>
                  <a:pt x="4909900" y="968885"/>
                  <a:pt x="4906313" y="966774"/>
                </a:cubicBezTo>
                <a:cubicBezTo>
                  <a:pt x="4904923" y="964217"/>
                  <a:pt x="4904334" y="961988"/>
                  <a:pt x="4905157" y="960024"/>
                </a:cubicBezTo>
                <a:lnTo>
                  <a:pt x="4907432" y="957068"/>
                </a:lnTo>
                <a:lnTo>
                  <a:pt x="4905121" y="957944"/>
                </a:lnTo>
                <a:cubicBezTo>
                  <a:pt x="4904826" y="956830"/>
                  <a:pt x="4904837" y="955683"/>
                  <a:pt x="4905735" y="954543"/>
                </a:cubicBezTo>
                <a:cubicBezTo>
                  <a:pt x="4908459" y="951018"/>
                  <a:pt x="4915622" y="947532"/>
                  <a:pt x="4920041" y="946532"/>
                </a:cubicBezTo>
                <a:close/>
                <a:moveTo>
                  <a:pt x="2048994" y="946368"/>
                </a:moveTo>
                <a:cubicBezTo>
                  <a:pt x="2062024" y="953079"/>
                  <a:pt x="2068446" y="954570"/>
                  <a:pt x="2078155" y="960392"/>
                </a:cubicBezTo>
                <a:cubicBezTo>
                  <a:pt x="2078116" y="961647"/>
                  <a:pt x="2076427" y="961308"/>
                  <a:pt x="2076416" y="962456"/>
                </a:cubicBezTo>
                <a:cubicBezTo>
                  <a:pt x="2075691" y="962951"/>
                  <a:pt x="2073944" y="962829"/>
                  <a:pt x="2072007" y="962310"/>
                </a:cubicBezTo>
                <a:cubicBezTo>
                  <a:pt x="2065863" y="960892"/>
                  <a:pt x="2056667" y="956474"/>
                  <a:pt x="2056620" y="955542"/>
                </a:cubicBezTo>
                <a:cubicBezTo>
                  <a:pt x="2054931" y="955203"/>
                  <a:pt x="2054971" y="953950"/>
                  <a:pt x="2053587" y="953579"/>
                </a:cubicBezTo>
                <a:cubicBezTo>
                  <a:pt x="2053587" y="953579"/>
                  <a:pt x="2051897" y="953241"/>
                  <a:pt x="2050248" y="951648"/>
                </a:cubicBezTo>
                <a:cubicBezTo>
                  <a:pt x="2048599" y="950057"/>
                  <a:pt x="2047255" y="948432"/>
                  <a:pt x="2048994" y="946368"/>
                </a:cubicBezTo>
                <a:close/>
                <a:moveTo>
                  <a:pt x="4969359" y="943991"/>
                </a:moveTo>
                <a:cubicBezTo>
                  <a:pt x="4974074" y="944105"/>
                  <a:pt x="4978283" y="945002"/>
                  <a:pt x="4981650" y="946824"/>
                </a:cubicBezTo>
                <a:cubicBezTo>
                  <a:pt x="4984740" y="948573"/>
                  <a:pt x="4987238" y="951427"/>
                  <a:pt x="4988312" y="955164"/>
                </a:cubicBezTo>
                <a:cubicBezTo>
                  <a:pt x="4984327" y="960077"/>
                  <a:pt x="4973201" y="957326"/>
                  <a:pt x="4967246" y="956305"/>
                </a:cubicBezTo>
                <a:cubicBezTo>
                  <a:pt x="4966765" y="951461"/>
                  <a:pt x="4966036" y="946435"/>
                  <a:pt x="4969359" y="943991"/>
                </a:cubicBezTo>
                <a:close/>
                <a:moveTo>
                  <a:pt x="2455966" y="943864"/>
                </a:moveTo>
                <a:cubicBezTo>
                  <a:pt x="2458779" y="945538"/>
                  <a:pt x="2463472" y="947945"/>
                  <a:pt x="2463250" y="950992"/>
                </a:cubicBezTo>
                <a:cubicBezTo>
                  <a:pt x="2463239" y="952138"/>
                  <a:pt x="2462647" y="953244"/>
                  <a:pt x="2461137" y="954450"/>
                </a:cubicBezTo>
                <a:cubicBezTo>
                  <a:pt x="2461402" y="955671"/>
                  <a:pt x="2454873" y="956796"/>
                  <a:pt x="2452832" y="955560"/>
                </a:cubicBezTo>
                <a:cubicBezTo>
                  <a:pt x="2451506" y="954975"/>
                  <a:pt x="2450763" y="954430"/>
                  <a:pt x="2450352" y="953745"/>
                </a:cubicBezTo>
                <a:cubicBezTo>
                  <a:pt x="2448876" y="951510"/>
                  <a:pt x="2450539" y="948620"/>
                  <a:pt x="2451182" y="945113"/>
                </a:cubicBezTo>
                <a:cubicBezTo>
                  <a:pt x="2452948" y="946275"/>
                  <a:pt x="2454457" y="945070"/>
                  <a:pt x="2455966" y="943864"/>
                </a:cubicBezTo>
                <a:close/>
                <a:moveTo>
                  <a:pt x="5853870" y="942367"/>
                </a:moveTo>
                <a:cubicBezTo>
                  <a:pt x="5860432" y="946654"/>
                  <a:pt x="5860524" y="957374"/>
                  <a:pt x="5848709" y="957198"/>
                </a:cubicBezTo>
                <a:cubicBezTo>
                  <a:pt x="5843843" y="955435"/>
                  <a:pt x="5838977" y="953671"/>
                  <a:pt x="5837008" y="947739"/>
                </a:cubicBezTo>
                <a:cubicBezTo>
                  <a:pt x="5839876" y="943676"/>
                  <a:pt x="5844440" y="942140"/>
                  <a:pt x="5853870" y="942367"/>
                </a:cubicBezTo>
                <a:close/>
                <a:moveTo>
                  <a:pt x="5032678" y="942327"/>
                </a:moveTo>
                <a:cubicBezTo>
                  <a:pt x="5040961" y="952366"/>
                  <a:pt x="5049679" y="957463"/>
                  <a:pt x="5059120" y="965397"/>
                </a:cubicBezTo>
                <a:cubicBezTo>
                  <a:pt x="5057962" y="967502"/>
                  <a:pt x="5055508" y="968914"/>
                  <a:pt x="5049283" y="970007"/>
                </a:cubicBezTo>
                <a:cubicBezTo>
                  <a:pt x="5044019" y="957557"/>
                  <a:pt x="5032203" y="966235"/>
                  <a:pt x="5027662" y="956623"/>
                </a:cubicBezTo>
                <a:cubicBezTo>
                  <a:pt x="5028028" y="953041"/>
                  <a:pt x="5026573" y="948512"/>
                  <a:pt x="5028934" y="945233"/>
                </a:cubicBezTo>
                <a:cubicBezTo>
                  <a:pt x="5029803" y="944202"/>
                  <a:pt x="5030979" y="943137"/>
                  <a:pt x="5032678" y="942327"/>
                </a:cubicBezTo>
                <a:close/>
                <a:moveTo>
                  <a:pt x="5501875" y="942236"/>
                </a:moveTo>
                <a:cubicBezTo>
                  <a:pt x="5506838" y="942531"/>
                  <a:pt x="5510292" y="944031"/>
                  <a:pt x="5513723" y="947826"/>
                </a:cubicBezTo>
                <a:cubicBezTo>
                  <a:pt x="5510436" y="952350"/>
                  <a:pt x="5512193" y="951325"/>
                  <a:pt x="5505451" y="954350"/>
                </a:cubicBezTo>
                <a:cubicBezTo>
                  <a:pt x="5502285" y="951777"/>
                  <a:pt x="5498843" y="949130"/>
                  <a:pt x="5495372" y="946588"/>
                </a:cubicBezTo>
                <a:cubicBezTo>
                  <a:pt x="5498628" y="945506"/>
                  <a:pt x="5500396" y="943335"/>
                  <a:pt x="5501875" y="942236"/>
                </a:cubicBezTo>
                <a:close/>
                <a:moveTo>
                  <a:pt x="1259563" y="940694"/>
                </a:moveTo>
                <a:cubicBezTo>
                  <a:pt x="1265848" y="944908"/>
                  <a:pt x="1264094" y="951453"/>
                  <a:pt x="1253368" y="950533"/>
                </a:cubicBezTo>
                <a:cubicBezTo>
                  <a:pt x="1252915" y="945581"/>
                  <a:pt x="1252463" y="940631"/>
                  <a:pt x="1259563" y="940694"/>
                </a:cubicBezTo>
                <a:close/>
                <a:moveTo>
                  <a:pt x="4668776" y="940157"/>
                </a:moveTo>
                <a:cubicBezTo>
                  <a:pt x="4676861" y="938757"/>
                  <a:pt x="4681393" y="940661"/>
                  <a:pt x="4685016" y="944853"/>
                </a:cubicBezTo>
                <a:cubicBezTo>
                  <a:pt x="4683150" y="948493"/>
                  <a:pt x="4679035" y="949460"/>
                  <a:pt x="4675438" y="948496"/>
                </a:cubicBezTo>
                <a:cubicBezTo>
                  <a:pt x="4671841" y="947532"/>
                  <a:pt x="4668485" y="944563"/>
                  <a:pt x="4668776" y="940157"/>
                </a:cubicBezTo>
                <a:close/>
                <a:moveTo>
                  <a:pt x="4945189" y="939010"/>
                </a:moveTo>
                <a:cubicBezTo>
                  <a:pt x="4949624" y="942383"/>
                  <a:pt x="4944039" y="952157"/>
                  <a:pt x="4940065" y="955922"/>
                </a:cubicBezTo>
                <a:cubicBezTo>
                  <a:pt x="4938825" y="955015"/>
                  <a:pt x="4938530" y="953900"/>
                  <a:pt x="4938628" y="952432"/>
                </a:cubicBezTo>
                <a:cubicBezTo>
                  <a:pt x="4938584" y="948165"/>
                  <a:pt x="4942332" y="941924"/>
                  <a:pt x="4945189" y="939010"/>
                </a:cubicBezTo>
                <a:close/>
                <a:moveTo>
                  <a:pt x="1524859" y="938983"/>
                </a:moveTo>
                <a:cubicBezTo>
                  <a:pt x="1532318" y="942133"/>
                  <a:pt x="1533451" y="945655"/>
                  <a:pt x="1537580" y="949062"/>
                </a:cubicBezTo>
                <a:cubicBezTo>
                  <a:pt x="1533917" y="954981"/>
                  <a:pt x="1528685" y="956798"/>
                  <a:pt x="1524392" y="956224"/>
                </a:cubicBezTo>
                <a:cubicBezTo>
                  <a:pt x="1522702" y="955886"/>
                  <a:pt x="1521347" y="955407"/>
                  <a:pt x="1520050" y="954715"/>
                </a:cubicBezTo>
                <a:cubicBezTo>
                  <a:pt x="1518199" y="953874"/>
                  <a:pt x="1517046" y="952645"/>
                  <a:pt x="1515921" y="951308"/>
                </a:cubicBezTo>
                <a:cubicBezTo>
                  <a:pt x="1514636" y="949468"/>
                  <a:pt x="1513740" y="947275"/>
                  <a:pt x="1514563" y="945310"/>
                </a:cubicBezTo>
                <a:lnTo>
                  <a:pt x="1515824" y="943922"/>
                </a:lnTo>
                <a:lnTo>
                  <a:pt x="1511616" y="943025"/>
                </a:lnTo>
                <a:cubicBezTo>
                  <a:pt x="1510215" y="941615"/>
                  <a:pt x="1510244" y="941507"/>
                  <a:pt x="1511915" y="940805"/>
                </a:cubicBezTo>
                <a:cubicBezTo>
                  <a:pt x="1513298" y="941175"/>
                  <a:pt x="1515264" y="941587"/>
                  <a:pt x="1514977" y="942661"/>
                </a:cubicBezTo>
                <a:lnTo>
                  <a:pt x="1515939" y="943493"/>
                </a:lnTo>
                <a:lnTo>
                  <a:pt x="1517621" y="941644"/>
                </a:lnTo>
                <a:cubicBezTo>
                  <a:pt x="1519408" y="940512"/>
                  <a:pt x="1521717" y="939636"/>
                  <a:pt x="1524859" y="938983"/>
                </a:cubicBezTo>
                <a:close/>
                <a:moveTo>
                  <a:pt x="5465984" y="938944"/>
                </a:moveTo>
                <a:cubicBezTo>
                  <a:pt x="5469720" y="942706"/>
                  <a:pt x="5475050" y="939418"/>
                  <a:pt x="5475999" y="944733"/>
                </a:cubicBezTo>
                <a:cubicBezTo>
                  <a:pt x="5474813" y="946946"/>
                  <a:pt x="5471995" y="948605"/>
                  <a:pt x="5465915" y="949161"/>
                </a:cubicBezTo>
                <a:cubicBezTo>
                  <a:pt x="5464180" y="947891"/>
                  <a:pt x="5463274" y="946844"/>
                  <a:pt x="5462645" y="945870"/>
                </a:cubicBezTo>
                <a:cubicBezTo>
                  <a:pt x="5461035" y="943023"/>
                  <a:pt x="5463386" y="940893"/>
                  <a:pt x="5465984" y="938944"/>
                </a:cubicBezTo>
                <a:close/>
                <a:moveTo>
                  <a:pt x="4696418" y="938822"/>
                </a:moveTo>
                <a:cubicBezTo>
                  <a:pt x="4696418" y="938822"/>
                  <a:pt x="4696741" y="939829"/>
                  <a:pt x="4696741" y="939829"/>
                </a:cubicBezTo>
                <a:cubicBezTo>
                  <a:pt x="4695824" y="939929"/>
                  <a:pt x="4694937" y="939921"/>
                  <a:pt x="4694079" y="939805"/>
                </a:cubicBezTo>
                <a:cubicBezTo>
                  <a:pt x="4693496" y="939765"/>
                  <a:pt x="4692972" y="939509"/>
                  <a:pt x="4692809" y="939006"/>
                </a:cubicBezTo>
                <a:cubicBezTo>
                  <a:pt x="4692515" y="937892"/>
                  <a:pt x="4694319" y="937800"/>
                  <a:pt x="4696418" y="938822"/>
                </a:cubicBezTo>
                <a:close/>
                <a:moveTo>
                  <a:pt x="6110223" y="938606"/>
                </a:moveTo>
                <a:cubicBezTo>
                  <a:pt x="6114000" y="941113"/>
                  <a:pt x="6115721" y="946864"/>
                  <a:pt x="6112426" y="949200"/>
                </a:cubicBezTo>
                <a:cubicBezTo>
                  <a:pt x="6106871" y="950012"/>
                  <a:pt x="6105452" y="947562"/>
                  <a:pt x="6102005" y="948248"/>
                </a:cubicBezTo>
                <a:cubicBezTo>
                  <a:pt x="6100255" y="942604"/>
                  <a:pt x="6103579" y="940160"/>
                  <a:pt x="6110223" y="938606"/>
                </a:cubicBezTo>
                <a:close/>
                <a:moveTo>
                  <a:pt x="4704521" y="938464"/>
                </a:moveTo>
                <a:cubicBezTo>
                  <a:pt x="4706343" y="939412"/>
                  <a:pt x="4706343" y="939412"/>
                  <a:pt x="4706904" y="941747"/>
                </a:cubicBezTo>
                <a:cubicBezTo>
                  <a:pt x="4704327" y="941402"/>
                  <a:pt x="4702915" y="941138"/>
                  <a:pt x="4701836" y="940735"/>
                </a:cubicBezTo>
                <a:cubicBezTo>
                  <a:pt x="4700453" y="940364"/>
                  <a:pt x="4699680" y="939927"/>
                  <a:pt x="4697611" y="938797"/>
                </a:cubicBezTo>
                <a:cubicBezTo>
                  <a:pt x="4699138" y="938632"/>
                  <a:pt x="4702452" y="937334"/>
                  <a:pt x="4704521" y="938464"/>
                </a:cubicBezTo>
                <a:close/>
                <a:moveTo>
                  <a:pt x="4685881" y="938299"/>
                </a:moveTo>
                <a:cubicBezTo>
                  <a:pt x="4688009" y="939214"/>
                  <a:pt x="4687714" y="938100"/>
                  <a:pt x="4688304" y="940328"/>
                </a:cubicBezTo>
                <a:cubicBezTo>
                  <a:pt x="4686205" y="939306"/>
                  <a:pt x="4686205" y="939306"/>
                  <a:pt x="4684400" y="939398"/>
                </a:cubicBezTo>
                <a:cubicBezTo>
                  <a:pt x="4684400" y="939398"/>
                  <a:pt x="4685881" y="938299"/>
                  <a:pt x="4685881" y="938299"/>
                </a:cubicBezTo>
                <a:close/>
                <a:moveTo>
                  <a:pt x="4728630" y="938139"/>
                </a:moveTo>
                <a:cubicBezTo>
                  <a:pt x="4731635" y="940209"/>
                  <a:pt x="4734926" y="941205"/>
                  <a:pt x="4737931" y="943276"/>
                </a:cubicBezTo>
                <a:cubicBezTo>
                  <a:pt x="4739472" y="947485"/>
                  <a:pt x="4734052" y="954428"/>
                  <a:pt x="4727678" y="953869"/>
                </a:cubicBezTo>
                <a:cubicBezTo>
                  <a:pt x="4725349" y="953705"/>
                  <a:pt x="4723251" y="952683"/>
                  <a:pt x="4721163" y="950513"/>
                </a:cubicBezTo>
                <a:cubicBezTo>
                  <a:pt x="4715510" y="943938"/>
                  <a:pt x="4721393" y="940800"/>
                  <a:pt x="4728630" y="938139"/>
                </a:cubicBezTo>
                <a:close/>
                <a:moveTo>
                  <a:pt x="2270688" y="938034"/>
                </a:moveTo>
                <a:cubicBezTo>
                  <a:pt x="2282580" y="939036"/>
                  <a:pt x="2294953" y="944881"/>
                  <a:pt x="2300322" y="958050"/>
                </a:cubicBezTo>
                <a:cubicBezTo>
                  <a:pt x="2289030" y="966985"/>
                  <a:pt x="2271989" y="970814"/>
                  <a:pt x="2258259" y="967824"/>
                </a:cubicBezTo>
                <a:cubicBezTo>
                  <a:pt x="2257428" y="967602"/>
                  <a:pt x="2256627" y="967272"/>
                  <a:pt x="2255520" y="966976"/>
                </a:cubicBezTo>
                <a:cubicBezTo>
                  <a:pt x="2262451" y="973203"/>
                  <a:pt x="2255319" y="976582"/>
                  <a:pt x="2253946" y="983920"/>
                </a:cubicBezTo>
                <a:cubicBezTo>
                  <a:pt x="2251790" y="983111"/>
                  <a:pt x="2250053" y="981841"/>
                  <a:pt x="2248681" y="980324"/>
                </a:cubicBezTo>
                <a:lnTo>
                  <a:pt x="2247672" y="978558"/>
                </a:lnTo>
                <a:lnTo>
                  <a:pt x="2244138" y="979566"/>
                </a:lnTo>
                <a:cubicBezTo>
                  <a:pt x="2240675" y="979213"/>
                  <a:pt x="2236812" y="977028"/>
                  <a:pt x="2238199" y="974065"/>
                </a:cubicBezTo>
                <a:cubicBezTo>
                  <a:pt x="2239392" y="974039"/>
                  <a:pt x="2240890" y="973981"/>
                  <a:pt x="2242694" y="973890"/>
                </a:cubicBezTo>
                <a:lnTo>
                  <a:pt x="2246493" y="974102"/>
                </a:lnTo>
                <a:lnTo>
                  <a:pt x="2248114" y="966946"/>
                </a:lnTo>
                <a:cubicBezTo>
                  <a:pt x="2249509" y="966169"/>
                  <a:pt x="2251312" y="966078"/>
                  <a:pt x="2253336" y="966276"/>
                </a:cubicBezTo>
                <a:cubicBezTo>
                  <a:pt x="2250902" y="965394"/>
                  <a:pt x="2248279" y="964115"/>
                  <a:pt x="2246295" y="962664"/>
                </a:cubicBezTo>
                <a:lnTo>
                  <a:pt x="2245170" y="961328"/>
                </a:lnTo>
                <a:lnTo>
                  <a:pt x="2243291" y="960594"/>
                </a:lnTo>
                <a:lnTo>
                  <a:pt x="2243884" y="959488"/>
                </a:lnTo>
                <a:lnTo>
                  <a:pt x="2242102" y="957285"/>
                </a:lnTo>
                <a:cubicBezTo>
                  <a:pt x="2236054" y="945544"/>
                  <a:pt x="2252976" y="936624"/>
                  <a:pt x="2270688" y="938034"/>
                </a:cubicBezTo>
                <a:close/>
                <a:moveTo>
                  <a:pt x="4657040" y="937471"/>
                </a:moveTo>
                <a:cubicBezTo>
                  <a:pt x="4660371" y="937214"/>
                  <a:pt x="4678763" y="937198"/>
                  <a:pt x="4684429" y="939290"/>
                </a:cubicBezTo>
                <a:cubicBezTo>
                  <a:pt x="4675726" y="938568"/>
                  <a:pt x="4664558" y="940405"/>
                  <a:pt x="4657040" y="937471"/>
                </a:cubicBezTo>
                <a:close/>
                <a:moveTo>
                  <a:pt x="4847621" y="936787"/>
                </a:moveTo>
                <a:cubicBezTo>
                  <a:pt x="4852009" y="939227"/>
                  <a:pt x="4858729" y="938497"/>
                  <a:pt x="4864816" y="940129"/>
                </a:cubicBezTo>
                <a:cubicBezTo>
                  <a:pt x="4867030" y="940722"/>
                  <a:pt x="4868909" y="941456"/>
                  <a:pt x="4870950" y="942693"/>
                </a:cubicBezTo>
                <a:cubicBezTo>
                  <a:pt x="4870950" y="942693"/>
                  <a:pt x="4870950" y="942693"/>
                  <a:pt x="4869318" y="942140"/>
                </a:cubicBezTo>
                <a:cubicBezTo>
                  <a:pt x="4869318" y="942140"/>
                  <a:pt x="4870673" y="942618"/>
                  <a:pt x="4870356" y="943799"/>
                </a:cubicBezTo>
                <a:cubicBezTo>
                  <a:pt x="4868247" y="943924"/>
                  <a:pt x="4865671" y="943578"/>
                  <a:pt x="4863123" y="943126"/>
                </a:cubicBezTo>
                <a:cubicBezTo>
                  <a:pt x="4860605" y="942566"/>
                  <a:pt x="4858391" y="941972"/>
                  <a:pt x="4855929" y="941198"/>
                </a:cubicBezTo>
                <a:cubicBezTo>
                  <a:pt x="4851588" y="939690"/>
                  <a:pt x="4848134" y="938189"/>
                  <a:pt x="4847333" y="937859"/>
                </a:cubicBezTo>
                <a:cubicBezTo>
                  <a:pt x="4847621" y="936787"/>
                  <a:pt x="4847621" y="936787"/>
                  <a:pt x="4847621" y="936787"/>
                </a:cubicBezTo>
                <a:close/>
                <a:moveTo>
                  <a:pt x="2171424" y="933287"/>
                </a:moveTo>
                <a:cubicBezTo>
                  <a:pt x="2175568" y="932213"/>
                  <a:pt x="2179740" y="931031"/>
                  <a:pt x="2181569" y="934166"/>
                </a:cubicBezTo>
                <a:cubicBezTo>
                  <a:pt x="2179056" y="935793"/>
                  <a:pt x="2179847" y="937269"/>
                  <a:pt x="2174073" y="937792"/>
                </a:cubicBezTo>
                <a:cubicBezTo>
                  <a:pt x="2173282" y="936315"/>
                  <a:pt x="2172214" y="934764"/>
                  <a:pt x="2171424" y="933287"/>
                </a:cubicBezTo>
                <a:close/>
                <a:moveTo>
                  <a:pt x="1918185" y="933168"/>
                </a:moveTo>
                <a:cubicBezTo>
                  <a:pt x="1919464" y="932820"/>
                  <a:pt x="1920820" y="933298"/>
                  <a:pt x="1922135" y="935032"/>
                </a:cubicBezTo>
                <a:lnTo>
                  <a:pt x="1922267" y="935642"/>
                </a:lnTo>
                <a:lnTo>
                  <a:pt x="1931410" y="936941"/>
                </a:lnTo>
                <a:cubicBezTo>
                  <a:pt x="1933678" y="940655"/>
                  <a:pt x="1931414" y="942463"/>
                  <a:pt x="1928024" y="942934"/>
                </a:cubicBezTo>
                <a:lnTo>
                  <a:pt x="1926278" y="942812"/>
                </a:lnTo>
                <a:lnTo>
                  <a:pt x="1930198" y="944782"/>
                </a:lnTo>
                <a:cubicBezTo>
                  <a:pt x="1936620" y="946273"/>
                  <a:pt x="1945784" y="945278"/>
                  <a:pt x="1953887" y="953774"/>
                </a:cubicBezTo>
                <a:cubicBezTo>
                  <a:pt x="1950717" y="954535"/>
                  <a:pt x="1952726" y="959214"/>
                  <a:pt x="1951616" y="962250"/>
                </a:cubicBezTo>
                <a:lnTo>
                  <a:pt x="1949409" y="963845"/>
                </a:lnTo>
                <a:lnTo>
                  <a:pt x="1951881" y="963473"/>
                </a:lnTo>
                <a:cubicBezTo>
                  <a:pt x="1954009" y="964387"/>
                  <a:pt x="1954875" y="966689"/>
                  <a:pt x="1954185" y="969264"/>
                </a:cubicBezTo>
                <a:cubicBezTo>
                  <a:pt x="1952057" y="968350"/>
                  <a:pt x="1949241" y="970009"/>
                  <a:pt x="1947114" y="969095"/>
                </a:cubicBezTo>
                <a:cubicBezTo>
                  <a:pt x="1947114" y="969095"/>
                  <a:pt x="1946455" y="968229"/>
                  <a:pt x="1945492" y="967395"/>
                </a:cubicBezTo>
                <a:lnTo>
                  <a:pt x="1944120" y="965877"/>
                </a:lnTo>
                <a:lnTo>
                  <a:pt x="1940587" y="966886"/>
                </a:lnTo>
                <a:cubicBezTo>
                  <a:pt x="1933608" y="968582"/>
                  <a:pt x="1929515" y="967254"/>
                  <a:pt x="1924689" y="964236"/>
                </a:cubicBezTo>
                <a:lnTo>
                  <a:pt x="1922677" y="962891"/>
                </a:lnTo>
                <a:lnTo>
                  <a:pt x="1922314" y="963140"/>
                </a:lnTo>
                <a:lnTo>
                  <a:pt x="1919762" y="966022"/>
                </a:lnTo>
                <a:lnTo>
                  <a:pt x="1922893" y="966515"/>
                </a:lnTo>
                <a:cubicBezTo>
                  <a:pt x="1930604" y="975366"/>
                  <a:pt x="1914055" y="982892"/>
                  <a:pt x="1911532" y="985666"/>
                </a:cubicBezTo>
                <a:cubicBezTo>
                  <a:pt x="1911532" y="985666"/>
                  <a:pt x="1911216" y="986846"/>
                  <a:pt x="1909298" y="987368"/>
                </a:cubicBezTo>
                <a:cubicBezTo>
                  <a:pt x="1908877" y="987830"/>
                  <a:pt x="1908295" y="987788"/>
                  <a:pt x="1908018" y="987714"/>
                </a:cubicBezTo>
                <a:lnTo>
                  <a:pt x="1906998" y="987096"/>
                </a:lnTo>
                <a:lnTo>
                  <a:pt x="1905891" y="986800"/>
                </a:lnTo>
                <a:lnTo>
                  <a:pt x="1906023" y="987410"/>
                </a:lnTo>
                <a:lnTo>
                  <a:pt x="1904072" y="991373"/>
                </a:lnTo>
                <a:lnTo>
                  <a:pt x="1907363" y="992369"/>
                </a:lnTo>
                <a:cubicBezTo>
                  <a:pt x="1909884" y="992930"/>
                  <a:pt x="1912460" y="993275"/>
                  <a:pt x="1913186" y="992779"/>
                </a:cubicBezTo>
                <a:cubicBezTo>
                  <a:pt x="1913480" y="993893"/>
                  <a:pt x="1915273" y="994950"/>
                  <a:pt x="1915273" y="994950"/>
                </a:cubicBezTo>
                <a:cubicBezTo>
                  <a:pt x="1913764" y="996155"/>
                  <a:pt x="1912266" y="996213"/>
                  <a:pt x="1910490" y="996197"/>
                </a:cubicBezTo>
                <a:cubicBezTo>
                  <a:pt x="1908697" y="995141"/>
                  <a:pt x="1908431" y="993921"/>
                  <a:pt x="1906667" y="992758"/>
                </a:cubicBezTo>
                <a:lnTo>
                  <a:pt x="1903536" y="992264"/>
                </a:lnTo>
                <a:lnTo>
                  <a:pt x="1901164" y="996688"/>
                </a:lnTo>
                <a:cubicBezTo>
                  <a:pt x="1898280" y="999711"/>
                  <a:pt x="1894927" y="1002263"/>
                  <a:pt x="1890725" y="1003551"/>
                </a:cubicBezTo>
                <a:cubicBezTo>
                  <a:pt x="1891613" y="1003559"/>
                  <a:pt x="1892225" y="1003492"/>
                  <a:pt x="1893274" y="1004004"/>
                </a:cubicBezTo>
                <a:cubicBezTo>
                  <a:pt x="1894830" y="1003732"/>
                  <a:pt x="1895401" y="1004919"/>
                  <a:pt x="1897500" y="1005941"/>
                </a:cubicBezTo>
                <a:lnTo>
                  <a:pt x="1897708" y="1007378"/>
                </a:lnTo>
                <a:lnTo>
                  <a:pt x="1899760" y="1007467"/>
                </a:lnTo>
                <a:cubicBezTo>
                  <a:pt x="1903720" y="1008183"/>
                  <a:pt x="1907011" y="1009180"/>
                  <a:pt x="1907669" y="1010047"/>
                </a:cubicBezTo>
                <a:cubicBezTo>
                  <a:pt x="1905923" y="1009924"/>
                  <a:pt x="1901847" y="1009636"/>
                  <a:pt x="1897829" y="1009135"/>
                </a:cubicBezTo>
                <a:lnTo>
                  <a:pt x="1897553" y="1009061"/>
                </a:lnTo>
                <a:lnTo>
                  <a:pt x="1897266" y="1010133"/>
                </a:lnTo>
                <a:cubicBezTo>
                  <a:pt x="1897208" y="1010349"/>
                  <a:pt x="1897734" y="1010604"/>
                  <a:pt x="1898782" y="1011115"/>
                </a:cubicBezTo>
                <a:cubicBezTo>
                  <a:pt x="1898782" y="1011115"/>
                  <a:pt x="1897533" y="1011355"/>
                  <a:pt x="1897533" y="1011355"/>
                </a:cubicBezTo>
                <a:cubicBezTo>
                  <a:pt x="1896684" y="1010093"/>
                  <a:pt x="1897504" y="1011463"/>
                  <a:pt x="1896823" y="1012891"/>
                </a:cubicBezTo>
                <a:cubicBezTo>
                  <a:pt x="1892892" y="1012067"/>
                  <a:pt x="1891336" y="1012341"/>
                  <a:pt x="1889238" y="1011318"/>
                </a:cubicBezTo>
                <a:lnTo>
                  <a:pt x="1889266" y="1011211"/>
                </a:lnTo>
                <a:lnTo>
                  <a:pt x="1880136" y="1017619"/>
                </a:lnTo>
                <a:lnTo>
                  <a:pt x="1876441" y="1018124"/>
                </a:lnTo>
                <a:lnTo>
                  <a:pt x="1874730" y="1020081"/>
                </a:lnTo>
                <a:cubicBezTo>
                  <a:pt x="1873128" y="1019422"/>
                  <a:pt x="1873128" y="1019422"/>
                  <a:pt x="1873444" y="1018241"/>
                </a:cubicBezTo>
                <a:cubicBezTo>
                  <a:pt x="1873110" y="1018381"/>
                  <a:pt x="1873386" y="1018455"/>
                  <a:pt x="1873081" y="1018489"/>
                </a:cubicBezTo>
                <a:lnTo>
                  <a:pt x="1872948" y="1017878"/>
                </a:lnTo>
                <a:lnTo>
                  <a:pt x="1871784" y="1017796"/>
                </a:lnTo>
                <a:cubicBezTo>
                  <a:pt x="1870677" y="1017500"/>
                  <a:pt x="1869380" y="1016807"/>
                  <a:pt x="1868446" y="1015867"/>
                </a:cubicBezTo>
                <a:cubicBezTo>
                  <a:pt x="1866813" y="1015314"/>
                  <a:pt x="1868298" y="1010882"/>
                  <a:pt x="1870217" y="1010361"/>
                </a:cubicBezTo>
                <a:cubicBezTo>
                  <a:pt x="1874055" y="1009320"/>
                  <a:pt x="1875974" y="1008798"/>
                  <a:pt x="1879208" y="1010010"/>
                </a:cubicBezTo>
                <a:cubicBezTo>
                  <a:pt x="1881126" y="1009489"/>
                  <a:pt x="1882798" y="1008787"/>
                  <a:pt x="1884573" y="1008803"/>
                </a:cubicBezTo>
                <a:lnTo>
                  <a:pt x="1888246" y="1010593"/>
                </a:lnTo>
                <a:lnTo>
                  <a:pt x="1885985" y="1009066"/>
                </a:lnTo>
                <a:cubicBezTo>
                  <a:pt x="1885298" y="1008308"/>
                  <a:pt x="1884671" y="1007334"/>
                  <a:pt x="1885148" y="1006658"/>
                </a:cubicBezTo>
                <a:cubicBezTo>
                  <a:pt x="1886428" y="1006310"/>
                  <a:pt x="1885857" y="1005122"/>
                  <a:pt x="1887383" y="1004956"/>
                </a:cubicBezTo>
                <a:cubicBezTo>
                  <a:pt x="1888167" y="1004246"/>
                  <a:pt x="1889141" y="1003932"/>
                  <a:pt x="1889809" y="1003651"/>
                </a:cubicBezTo>
                <a:cubicBezTo>
                  <a:pt x="1886582" y="1004625"/>
                  <a:pt x="1883222" y="1004991"/>
                  <a:pt x="1879596" y="1004135"/>
                </a:cubicBezTo>
                <a:cubicBezTo>
                  <a:pt x="1882320" y="1000610"/>
                  <a:pt x="1885541" y="997446"/>
                  <a:pt x="1888074" y="993526"/>
                </a:cubicBezTo>
                <a:lnTo>
                  <a:pt x="1891441" y="986493"/>
                </a:lnTo>
                <a:lnTo>
                  <a:pt x="1890421" y="985874"/>
                </a:lnTo>
                <a:lnTo>
                  <a:pt x="1888368" y="985785"/>
                </a:lnTo>
                <a:lnTo>
                  <a:pt x="1888282" y="986106"/>
                </a:lnTo>
                <a:cubicBezTo>
                  <a:pt x="1884127" y="988329"/>
                  <a:pt x="1884592" y="992133"/>
                  <a:pt x="1880189" y="994174"/>
                </a:cubicBezTo>
                <a:cubicBezTo>
                  <a:pt x="1880189" y="994174"/>
                  <a:pt x="1880189" y="994174"/>
                  <a:pt x="1878875" y="992441"/>
                </a:cubicBezTo>
                <a:cubicBezTo>
                  <a:pt x="1881502" y="990384"/>
                  <a:pt x="1882249" y="987595"/>
                  <a:pt x="1883521" y="985060"/>
                </a:cubicBezTo>
                <a:lnTo>
                  <a:pt x="1884505" y="983600"/>
                </a:lnTo>
                <a:lnTo>
                  <a:pt x="1880372" y="983527"/>
                </a:lnTo>
                <a:cubicBezTo>
                  <a:pt x="1871716" y="983738"/>
                  <a:pt x="1863002" y="984163"/>
                  <a:pt x="1853490" y="980924"/>
                </a:cubicBezTo>
                <a:lnTo>
                  <a:pt x="1846058" y="977667"/>
                </a:lnTo>
                <a:lnTo>
                  <a:pt x="1846891" y="983411"/>
                </a:lnTo>
                <a:lnTo>
                  <a:pt x="1847129" y="984739"/>
                </a:lnTo>
                <a:lnTo>
                  <a:pt x="1851280" y="985852"/>
                </a:lnTo>
                <a:cubicBezTo>
                  <a:pt x="1851280" y="985852"/>
                  <a:pt x="1859310" y="990189"/>
                  <a:pt x="1856835" y="993896"/>
                </a:cubicBezTo>
                <a:cubicBezTo>
                  <a:pt x="1856967" y="994506"/>
                  <a:pt x="1855412" y="994780"/>
                  <a:pt x="1853608" y="994871"/>
                </a:cubicBezTo>
                <a:lnTo>
                  <a:pt x="1848703" y="994361"/>
                </a:lnTo>
                <a:lnTo>
                  <a:pt x="1849375" y="999601"/>
                </a:lnTo>
                <a:lnTo>
                  <a:pt x="1852311" y="1003033"/>
                </a:lnTo>
                <a:lnTo>
                  <a:pt x="1852386" y="1003859"/>
                </a:lnTo>
                <a:lnTo>
                  <a:pt x="1853902" y="1004840"/>
                </a:lnTo>
                <a:cubicBezTo>
                  <a:pt x="1853902" y="1004840"/>
                  <a:pt x="1853902" y="1004840"/>
                  <a:pt x="1853643" y="1005806"/>
                </a:cubicBezTo>
                <a:lnTo>
                  <a:pt x="1852404" y="1004898"/>
                </a:lnTo>
                <a:lnTo>
                  <a:pt x="1852335" y="1006260"/>
                </a:lnTo>
                <a:lnTo>
                  <a:pt x="1853833" y="1006201"/>
                </a:lnTo>
                <a:cubicBezTo>
                  <a:pt x="1853833" y="1006201"/>
                  <a:pt x="1853881" y="1007134"/>
                  <a:pt x="1852677" y="1008307"/>
                </a:cubicBezTo>
                <a:cubicBezTo>
                  <a:pt x="1852677" y="1008307"/>
                  <a:pt x="1852429" y="1008125"/>
                  <a:pt x="1852238" y="1007729"/>
                </a:cubicBezTo>
                <a:lnTo>
                  <a:pt x="1852220" y="1006689"/>
                </a:lnTo>
                <a:lnTo>
                  <a:pt x="1847950" y="1009341"/>
                </a:lnTo>
                <a:cubicBezTo>
                  <a:pt x="1845785" y="1009680"/>
                  <a:pt x="1843179" y="1009442"/>
                  <a:pt x="1840440" y="1008592"/>
                </a:cubicBezTo>
                <a:cubicBezTo>
                  <a:pt x="1837149" y="1007595"/>
                  <a:pt x="1834088" y="1005741"/>
                  <a:pt x="1831618" y="1002779"/>
                </a:cubicBezTo>
                <a:cubicBezTo>
                  <a:pt x="1832003" y="1000237"/>
                  <a:pt x="1837581" y="997132"/>
                  <a:pt x="1842524" y="996386"/>
                </a:cubicBezTo>
                <a:lnTo>
                  <a:pt x="1843136" y="996320"/>
                </a:lnTo>
                <a:lnTo>
                  <a:pt x="1842888" y="996138"/>
                </a:lnTo>
                <a:cubicBezTo>
                  <a:pt x="1841717" y="993870"/>
                  <a:pt x="1840748" y="990850"/>
                  <a:pt x="1840215" y="988407"/>
                </a:cubicBezTo>
                <a:lnTo>
                  <a:pt x="1840169" y="987474"/>
                </a:lnTo>
                <a:lnTo>
                  <a:pt x="1837164" y="985404"/>
                </a:lnTo>
                <a:cubicBezTo>
                  <a:pt x="1835982" y="984283"/>
                  <a:pt x="1835686" y="983168"/>
                  <a:pt x="1836920" y="981889"/>
                </a:cubicBezTo>
                <a:lnTo>
                  <a:pt x="1840240" y="982779"/>
                </a:lnTo>
                <a:lnTo>
                  <a:pt x="1840298" y="982565"/>
                </a:lnTo>
                <a:cubicBezTo>
                  <a:pt x="1840690" y="982209"/>
                  <a:pt x="1840775" y="981888"/>
                  <a:pt x="1840366" y="981203"/>
                </a:cubicBezTo>
                <a:cubicBezTo>
                  <a:pt x="1840366" y="981203"/>
                  <a:pt x="1839795" y="980014"/>
                  <a:pt x="1840503" y="978479"/>
                </a:cubicBezTo>
                <a:cubicBezTo>
                  <a:pt x="1841210" y="976943"/>
                  <a:pt x="1842196" y="975483"/>
                  <a:pt x="1845821" y="976340"/>
                </a:cubicBezTo>
                <a:lnTo>
                  <a:pt x="1845735" y="976661"/>
                </a:lnTo>
                <a:lnTo>
                  <a:pt x="1849421" y="973969"/>
                </a:lnTo>
                <a:cubicBezTo>
                  <a:pt x="1855771" y="971301"/>
                  <a:pt x="1866070" y="970495"/>
                  <a:pt x="1876711" y="971736"/>
                </a:cubicBezTo>
                <a:lnTo>
                  <a:pt x="1890021" y="975188"/>
                </a:lnTo>
                <a:lnTo>
                  <a:pt x="1884406" y="970692"/>
                </a:lnTo>
                <a:cubicBezTo>
                  <a:pt x="1879895" y="966495"/>
                  <a:pt x="1875224" y="961792"/>
                  <a:pt x="1873107" y="959730"/>
                </a:cubicBezTo>
                <a:cubicBezTo>
                  <a:pt x="1873394" y="958657"/>
                  <a:pt x="1873394" y="958657"/>
                  <a:pt x="1873394" y="958657"/>
                </a:cubicBezTo>
                <a:cubicBezTo>
                  <a:pt x="1874512" y="957806"/>
                  <a:pt x="1875953" y="957963"/>
                  <a:pt x="1877499" y="958836"/>
                </a:cubicBezTo>
                <a:cubicBezTo>
                  <a:pt x="1879044" y="959710"/>
                  <a:pt x="1880693" y="961303"/>
                  <a:pt x="1882839" y="963257"/>
                </a:cubicBezTo>
                <a:cubicBezTo>
                  <a:pt x="1887101" y="967275"/>
                  <a:pt x="1890481" y="973471"/>
                  <a:pt x="1891797" y="975203"/>
                </a:cubicBezTo>
                <a:lnTo>
                  <a:pt x="1892789" y="975929"/>
                </a:lnTo>
                <a:lnTo>
                  <a:pt x="1896109" y="976819"/>
                </a:lnTo>
                <a:lnTo>
                  <a:pt x="1899667" y="979037"/>
                </a:lnTo>
                <a:lnTo>
                  <a:pt x="1904936" y="979299"/>
                </a:lnTo>
                <a:lnTo>
                  <a:pt x="1905589" y="983499"/>
                </a:lnTo>
                <a:lnTo>
                  <a:pt x="1909198" y="974461"/>
                </a:lnTo>
                <a:cubicBezTo>
                  <a:pt x="1909600" y="972958"/>
                  <a:pt x="1909668" y="971596"/>
                  <a:pt x="1909621" y="970664"/>
                </a:cubicBezTo>
                <a:lnTo>
                  <a:pt x="1909631" y="969517"/>
                </a:lnTo>
                <a:lnTo>
                  <a:pt x="1909079" y="969369"/>
                </a:lnTo>
                <a:cubicBezTo>
                  <a:pt x="1907221" y="966341"/>
                  <a:pt x="1907577" y="963906"/>
                  <a:pt x="1909039" y="961767"/>
                </a:cubicBezTo>
                <a:lnTo>
                  <a:pt x="1911094" y="958524"/>
                </a:lnTo>
                <a:lnTo>
                  <a:pt x="1910789" y="958557"/>
                </a:lnTo>
                <a:cubicBezTo>
                  <a:pt x="1909901" y="958549"/>
                  <a:pt x="1908823" y="958145"/>
                  <a:pt x="1907889" y="957204"/>
                </a:cubicBezTo>
                <a:cubicBezTo>
                  <a:pt x="1901989" y="950448"/>
                  <a:pt x="1907132" y="943431"/>
                  <a:pt x="1910162" y="939873"/>
                </a:cubicBezTo>
                <a:lnTo>
                  <a:pt x="1911871" y="937917"/>
                </a:lnTo>
                <a:lnTo>
                  <a:pt x="1910269" y="937256"/>
                </a:lnTo>
                <a:lnTo>
                  <a:pt x="1912466" y="936810"/>
                </a:lnTo>
                <a:lnTo>
                  <a:pt x="1912522" y="936596"/>
                </a:lnTo>
                <a:cubicBezTo>
                  <a:pt x="1914153" y="937148"/>
                  <a:pt x="1914441" y="936075"/>
                  <a:pt x="1912810" y="935523"/>
                </a:cubicBezTo>
                <a:cubicBezTo>
                  <a:pt x="1914900" y="934359"/>
                  <a:pt x="1916657" y="933334"/>
                  <a:pt x="1918185" y="933168"/>
                </a:cubicBezTo>
                <a:close/>
                <a:moveTo>
                  <a:pt x="2133228" y="933059"/>
                </a:moveTo>
                <a:cubicBezTo>
                  <a:pt x="2135003" y="933073"/>
                  <a:pt x="2138525" y="933212"/>
                  <a:pt x="2140289" y="934375"/>
                </a:cubicBezTo>
                <a:cubicBezTo>
                  <a:pt x="2142065" y="934391"/>
                  <a:pt x="2140783" y="938072"/>
                  <a:pt x="2140783" y="938072"/>
                </a:cubicBezTo>
                <a:cubicBezTo>
                  <a:pt x="2139750" y="938600"/>
                  <a:pt x="2138061" y="938263"/>
                  <a:pt x="2136401" y="937818"/>
                </a:cubicBezTo>
                <a:cubicBezTo>
                  <a:pt x="2134741" y="937373"/>
                  <a:pt x="2132861" y="936640"/>
                  <a:pt x="2131974" y="936632"/>
                </a:cubicBezTo>
                <a:cubicBezTo>
                  <a:pt x="2131736" y="935304"/>
                  <a:pt x="2133494" y="934279"/>
                  <a:pt x="2133228" y="933059"/>
                </a:cubicBezTo>
                <a:close/>
                <a:moveTo>
                  <a:pt x="2299099" y="931617"/>
                </a:moveTo>
                <a:cubicBezTo>
                  <a:pt x="2301324" y="931063"/>
                  <a:pt x="2304559" y="932276"/>
                  <a:pt x="2306190" y="932827"/>
                </a:cubicBezTo>
                <a:cubicBezTo>
                  <a:pt x="2305874" y="934007"/>
                  <a:pt x="2307505" y="934559"/>
                  <a:pt x="2307189" y="935740"/>
                </a:cubicBezTo>
                <a:cubicBezTo>
                  <a:pt x="2308188" y="938653"/>
                  <a:pt x="2308159" y="938760"/>
                  <a:pt x="2305963" y="939206"/>
                </a:cubicBezTo>
                <a:cubicBezTo>
                  <a:pt x="2304016" y="939835"/>
                  <a:pt x="2299466" y="936891"/>
                  <a:pt x="2297270" y="937338"/>
                </a:cubicBezTo>
                <a:cubicBezTo>
                  <a:pt x="2297270" y="937338"/>
                  <a:pt x="2297547" y="937412"/>
                  <a:pt x="2296548" y="934499"/>
                </a:cubicBezTo>
                <a:cubicBezTo>
                  <a:pt x="2296836" y="933426"/>
                  <a:pt x="2297152" y="932246"/>
                  <a:pt x="2299099" y="931617"/>
                </a:cubicBezTo>
                <a:close/>
                <a:moveTo>
                  <a:pt x="1429672" y="931188"/>
                </a:moveTo>
                <a:cubicBezTo>
                  <a:pt x="1433787" y="930221"/>
                  <a:pt x="1437308" y="930359"/>
                  <a:pt x="1441829" y="933410"/>
                </a:cubicBezTo>
                <a:cubicBezTo>
                  <a:pt x="1439109" y="933602"/>
                  <a:pt x="1437000" y="933727"/>
                  <a:pt x="1435281" y="933496"/>
                </a:cubicBezTo>
                <a:cubicBezTo>
                  <a:pt x="1433564" y="933266"/>
                  <a:pt x="1431932" y="932714"/>
                  <a:pt x="1429672" y="931188"/>
                </a:cubicBezTo>
                <a:close/>
                <a:moveTo>
                  <a:pt x="1191828" y="931169"/>
                </a:moveTo>
                <a:cubicBezTo>
                  <a:pt x="1199695" y="929481"/>
                  <a:pt x="1206483" y="936246"/>
                  <a:pt x="1210917" y="939619"/>
                </a:cubicBezTo>
                <a:lnTo>
                  <a:pt x="1208988" y="941287"/>
                </a:lnTo>
                <a:lnTo>
                  <a:pt x="1212642" y="942036"/>
                </a:lnTo>
                <a:cubicBezTo>
                  <a:pt x="1214244" y="942695"/>
                  <a:pt x="1215848" y="943355"/>
                  <a:pt x="1217698" y="944195"/>
                </a:cubicBezTo>
                <a:cubicBezTo>
                  <a:pt x="1216760" y="946590"/>
                  <a:pt x="1219391" y="950055"/>
                  <a:pt x="1216620" y="952647"/>
                </a:cubicBezTo>
                <a:cubicBezTo>
                  <a:pt x="1216620" y="952647"/>
                  <a:pt x="1215388" y="953927"/>
                  <a:pt x="1212085" y="954077"/>
                </a:cubicBezTo>
                <a:cubicBezTo>
                  <a:pt x="1207816" y="956728"/>
                  <a:pt x="1201855" y="953520"/>
                  <a:pt x="1201855" y="953520"/>
                </a:cubicBezTo>
                <a:cubicBezTo>
                  <a:pt x="1201855" y="953520"/>
                  <a:pt x="1201855" y="953520"/>
                  <a:pt x="1202119" y="954742"/>
                </a:cubicBezTo>
                <a:cubicBezTo>
                  <a:pt x="1201283" y="952332"/>
                  <a:pt x="1199195" y="950163"/>
                  <a:pt x="1198634" y="947828"/>
                </a:cubicBezTo>
                <a:lnTo>
                  <a:pt x="1199170" y="946936"/>
                </a:lnTo>
                <a:lnTo>
                  <a:pt x="1197833" y="947498"/>
                </a:lnTo>
                <a:cubicBezTo>
                  <a:pt x="1193970" y="945313"/>
                  <a:pt x="1191357" y="942888"/>
                  <a:pt x="1190301" y="940190"/>
                </a:cubicBezTo>
                <a:cubicBezTo>
                  <a:pt x="1188996" y="937310"/>
                  <a:pt x="1189496" y="934339"/>
                  <a:pt x="1191828" y="931169"/>
                </a:cubicBezTo>
                <a:close/>
                <a:moveTo>
                  <a:pt x="5952613" y="931076"/>
                </a:moveTo>
                <a:cubicBezTo>
                  <a:pt x="5964068" y="931212"/>
                  <a:pt x="5976785" y="933556"/>
                  <a:pt x="5982286" y="935720"/>
                </a:cubicBezTo>
                <a:cubicBezTo>
                  <a:pt x="5968414" y="938788"/>
                  <a:pt x="5945264" y="943281"/>
                  <a:pt x="5930513" y="939673"/>
                </a:cubicBezTo>
                <a:cubicBezTo>
                  <a:pt x="5930964" y="933008"/>
                  <a:pt x="5941157" y="930938"/>
                  <a:pt x="5952613" y="931076"/>
                </a:cubicBezTo>
                <a:close/>
                <a:moveTo>
                  <a:pt x="4838493" y="931006"/>
                </a:moveTo>
                <a:cubicBezTo>
                  <a:pt x="4838493" y="931006"/>
                  <a:pt x="4838493" y="931006"/>
                  <a:pt x="4839837" y="932631"/>
                </a:cubicBezTo>
                <a:cubicBezTo>
                  <a:pt x="4837376" y="931857"/>
                  <a:pt x="4835054" y="933880"/>
                  <a:pt x="4832811" y="933394"/>
                </a:cubicBezTo>
                <a:cubicBezTo>
                  <a:pt x="4832229" y="933352"/>
                  <a:pt x="4831486" y="932809"/>
                  <a:pt x="4831105" y="932016"/>
                </a:cubicBezTo>
                <a:cubicBezTo>
                  <a:pt x="4833024" y="931495"/>
                  <a:pt x="4836574" y="931527"/>
                  <a:pt x="4838493" y="931006"/>
                </a:cubicBezTo>
                <a:close/>
                <a:moveTo>
                  <a:pt x="1890356" y="930772"/>
                </a:moveTo>
                <a:cubicBezTo>
                  <a:pt x="1892476" y="938354"/>
                  <a:pt x="1904878" y="961803"/>
                  <a:pt x="1890884" y="963113"/>
                </a:cubicBezTo>
                <a:cubicBezTo>
                  <a:pt x="1889343" y="958905"/>
                  <a:pt x="1884503" y="951513"/>
                  <a:pt x="1882429" y="944863"/>
                </a:cubicBezTo>
                <a:cubicBezTo>
                  <a:pt x="1880632" y="938286"/>
                  <a:pt x="1881078" y="932195"/>
                  <a:pt x="1890356" y="930772"/>
                </a:cubicBezTo>
                <a:close/>
                <a:moveTo>
                  <a:pt x="2096189" y="930723"/>
                </a:moveTo>
                <a:cubicBezTo>
                  <a:pt x="2097878" y="931061"/>
                  <a:pt x="2099252" y="932579"/>
                  <a:pt x="2099252" y="932579"/>
                </a:cubicBezTo>
                <a:cubicBezTo>
                  <a:pt x="2100900" y="934170"/>
                  <a:pt x="2100900" y="934170"/>
                  <a:pt x="2102600" y="933362"/>
                </a:cubicBezTo>
                <a:cubicBezTo>
                  <a:pt x="2102600" y="933362"/>
                  <a:pt x="2102560" y="934615"/>
                  <a:pt x="2102560" y="934615"/>
                </a:cubicBezTo>
                <a:cubicBezTo>
                  <a:pt x="2101730" y="934393"/>
                  <a:pt x="2101730" y="934393"/>
                  <a:pt x="2102256" y="934649"/>
                </a:cubicBezTo>
                <a:lnTo>
                  <a:pt x="2103218" y="935482"/>
                </a:lnTo>
                <a:lnTo>
                  <a:pt x="2105130" y="932773"/>
                </a:lnTo>
                <a:cubicBezTo>
                  <a:pt x="2107106" y="932039"/>
                  <a:pt x="2109493" y="931988"/>
                  <a:pt x="2112011" y="932548"/>
                </a:cubicBezTo>
                <a:lnTo>
                  <a:pt x="2114197" y="933248"/>
                </a:lnTo>
                <a:lnTo>
                  <a:pt x="2116097" y="931688"/>
                </a:lnTo>
                <a:cubicBezTo>
                  <a:pt x="2117348" y="931449"/>
                  <a:pt x="2119036" y="931785"/>
                  <a:pt x="2121689" y="932955"/>
                </a:cubicBezTo>
                <a:cubicBezTo>
                  <a:pt x="2121689" y="932955"/>
                  <a:pt x="2121983" y="934070"/>
                  <a:pt x="2121983" y="934070"/>
                </a:cubicBezTo>
                <a:lnTo>
                  <a:pt x="2119587" y="935268"/>
                </a:lnTo>
                <a:lnTo>
                  <a:pt x="2119835" y="935450"/>
                </a:lnTo>
                <a:cubicBezTo>
                  <a:pt x="2124775" y="938039"/>
                  <a:pt x="2128571" y="941585"/>
                  <a:pt x="2128654" y="944598"/>
                </a:cubicBezTo>
                <a:cubicBezTo>
                  <a:pt x="2125883" y="947190"/>
                  <a:pt x="2123140" y="949675"/>
                  <a:pt x="2120676" y="952234"/>
                </a:cubicBezTo>
                <a:cubicBezTo>
                  <a:pt x="2116590" y="953095"/>
                  <a:pt x="2112514" y="952807"/>
                  <a:pt x="2108974" y="951629"/>
                </a:cubicBezTo>
                <a:cubicBezTo>
                  <a:pt x="2105712" y="950525"/>
                  <a:pt x="2102678" y="948563"/>
                  <a:pt x="2101259" y="946112"/>
                </a:cubicBezTo>
                <a:cubicBezTo>
                  <a:pt x="2100192" y="944561"/>
                  <a:pt x="2099516" y="942655"/>
                  <a:pt x="2099757" y="940649"/>
                </a:cubicBezTo>
                <a:lnTo>
                  <a:pt x="2100120" y="940402"/>
                </a:lnTo>
                <a:lnTo>
                  <a:pt x="2097284" y="941022"/>
                </a:lnTo>
                <a:cubicBezTo>
                  <a:pt x="2096091" y="941047"/>
                  <a:pt x="2094709" y="940677"/>
                  <a:pt x="2094022" y="939918"/>
                </a:cubicBezTo>
                <a:cubicBezTo>
                  <a:pt x="2094032" y="938770"/>
                  <a:pt x="2092620" y="938507"/>
                  <a:pt x="2092660" y="937253"/>
                </a:cubicBezTo>
                <a:lnTo>
                  <a:pt x="2091686" y="937566"/>
                </a:lnTo>
                <a:cubicBezTo>
                  <a:pt x="2089358" y="937403"/>
                  <a:pt x="2086982" y="936306"/>
                  <a:pt x="2084139" y="934740"/>
                </a:cubicBezTo>
                <a:cubicBezTo>
                  <a:pt x="2086260" y="933468"/>
                  <a:pt x="2088150" y="933054"/>
                  <a:pt x="2090478" y="933218"/>
                </a:cubicBezTo>
                <a:lnTo>
                  <a:pt x="2092721" y="933704"/>
                </a:lnTo>
                <a:lnTo>
                  <a:pt x="2092790" y="932343"/>
                </a:lnTo>
                <a:cubicBezTo>
                  <a:pt x="2092831" y="931088"/>
                  <a:pt x="2094489" y="931532"/>
                  <a:pt x="2096189" y="930723"/>
                </a:cubicBezTo>
                <a:close/>
                <a:moveTo>
                  <a:pt x="4862877" y="929935"/>
                </a:moveTo>
                <a:cubicBezTo>
                  <a:pt x="4867703" y="931013"/>
                  <a:pt x="4871768" y="932447"/>
                  <a:pt x="4875917" y="930799"/>
                </a:cubicBezTo>
                <a:cubicBezTo>
                  <a:pt x="4876915" y="933711"/>
                  <a:pt x="4876915" y="933711"/>
                  <a:pt x="4874680" y="935413"/>
                </a:cubicBezTo>
                <a:cubicBezTo>
                  <a:pt x="4873049" y="934860"/>
                  <a:pt x="4872455" y="935966"/>
                  <a:pt x="4871141" y="934234"/>
                </a:cubicBezTo>
                <a:cubicBezTo>
                  <a:pt x="4866986" y="936456"/>
                  <a:pt x="4851441" y="934705"/>
                  <a:pt x="4845260" y="931209"/>
                </a:cubicBezTo>
                <a:cubicBezTo>
                  <a:pt x="4852460" y="928136"/>
                  <a:pt x="4858049" y="928857"/>
                  <a:pt x="4862877" y="929935"/>
                </a:cubicBezTo>
                <a:close/>
                <a:moveTo>
                  <a:pt x="967649" y="929457"/>
                </a:moveTo>
                <a:cubicBezTo>
                  <a:pt x="972753" y="929796"/>
                  <a:pt x="977259" y="931177"/>
                  <a:pt x="980229" y="933927"/>
                </a:cubicBezTo>
                <a:cubicBezTo>
                  <a:pt x="961613" y="936989"/>
                  <a:pt x="953216" y="945089"/>
                  <a:pt x="930853" y="945537"/>
                </a:cubicBezTo>
                <a:cubicBezTo>
                  <a:pt x="931642" y="936779"/>
                  <a:pt x="952338" y="928437"/>
                  <a:pt x="967649" y="929457"/>
                </a:cubicBezTo>
                <a:close/>
                <a:moveTo>
                  <a:pt x="1165049" y="929284"/>
                </a:moveTo>
                <a:cubicBezTo>
                  <a:pt x="1173325" y="928282"/>
                  <a:pt x="1178848" y="930911"/>
                  <a:pt x="1182080" y="935457"/>
                </a:cubicBezTo>
                <a:lnTo>
                  <a:pt x="1180933" y="936415"/>
                </a:lnTo>
                <a:lnTo>
                  <a:pt x="1182841" y="937041"/>
                </a:lnTo>
                <a:cubicBezTo>
                  <a:pt x="1184691" y="937882"/>
                  <a:pt x="1186150" y="939078"/>
                  <a:pt x="1187495" y="940703"/>
                </a:cubicBezTo>
                <a:cubicBezTo>
                  <a:pt x="1191802" y="945653"/>
                  <a:pt x="1193549" y="954631"/>
                  <a:pt x="1187983" y="956589"/>
                </a:cubicBezTo>
                <a:cubicBezTo>
                  <a:pt x="1182101" y="959728"/>
                  <a:pt x="1176889" y="959252"/>
                  <a:pt x="1172214" y="957884"/>
                </a:cubicBezTo>
                <a:cubicBezTo>
                  <a:pt x="1172214" y="957884"/>
                  <a:pt x="1171937" y="957810"/>
                  <a:pt x="1173569" y="958363"/>
                </a:cubicBezTo>
                <a:cubicBezTo>
                  <a:pt x="1179222" y="964937"/>
                  <a:pt x="1189212" y="976354"/>
                  <a:pt x="1186937" y="979309"/>
                </a:cubicBezTo>
                <a:cubicBezTo>
                  <a:pt x="1185276" y="978864"/>
                  <a:pt x="1183645" y="978313"/>
                  <a:pt x="1181995" y="976720"/>
                </a:cubicBezTo>
                <a:cubicBezTo>
                  <a:pt x="1180652" y="975095"/>
                  <a:pt x="1182312" y="975540"/>
                  <a:pt x="1180928" y="975169"/>
                </a:cubicBezTo>
                <a:cubicBezTo>
                  <a:pt x="1179307" y="973470"/>
                  <a:pt x="1179269" y="974725"/>
                  <a:pt x="1179269" y="974725"/>
                </a:cubicBezTo>
                <a:cubicBezTo>
                  <a:pt x="1179269" y="974725"/>
                  <a:pt x="1179307" y="973470"/>
                  <a:pt x="1179307" y="973470"/>
                </a:cubicBezTo>
                <a:cubicBezTo>
                  <a:pt x="1179307" y="973470"/>
                  <a:pt x="1179336" y="973362"/>
                  <a:pt x="1176620" y="970219"/>
                </a:cubicBezTo>
                <a:cubicBezTo>
                  <a:pt x="1172023" y="966343"/>
                  <a:pt x="1170364" y="965898"/>
                  <a:pt x="1167359" y="963828"/>
                </a:cubicBezTo>
                <a:cubicBezTo>
                  <a:pt x="1164671" y="960578"/>
                  <a:pt x="1164711" y="959324"/>
                  <a:pt x="1162310" y="955000"/>
                </a:cubicBezTo>
                <a:cubicBezTo>
                  <a:pt x="1164297" y="953117"/>
                  <a:pt x="1164297" y="953117"/>
                  <a:pt x="1165958" y="953563"/>
                </a:cubicBezTo>
                <a:cubicBezTo>
                  <a:pt x="1164297" y="953117"/>
                  <a:pt x="1164614" y="951937"/>
                  <a:pt x="1163270" y="950312"/>
                </a:cubicBezTo>
                <a:cubicBezTo>
                  <a:pt x="1159331" y="947302"/>
                  <a:pt x="1158552" y="944678"/>
                  <a:pt x="1159766" y="942359"/>
                </a:cubicBezTo>
                <a:lnTo>
                  <a:pt x="1165441" y="937784"/>
                </a:lnTo>
                <a:lnTo>
                  <a:pt x="1162436" y="935714"/>
                </a:lnTo>
                <a:cubicBezTo>
                  <a:pt x="1163173" y="934071"/>
                  <a:pt x="1163005" y="931381"/>
                  <a:pt x="1165049" y="929284"/>
                </a:cubicBezTo>
                <a:close/>
                <a:moveTo>
                  <a:pt x="4675899" y="929069"/>
                </a:moveTo>
                <a:cubicBezTo>
                  <a:pt x="4678332" y="929951"/>
                  <a:pt x="4680009" y="931436"/>
                  <a:pt x="4680875" y="933738"/>
                </a:cubicBezTo>
                <a:cubicBezTo>
                  <a:pt x="4676736" y="940334"/>
                  <a:pt x="4667817" y="935989"/>
                  <a:pt x="4657241" y="936720"/>
                </a:cubicBezTo>
                <a:cubicBezTo>
                  <a:pt x="4656303" y="930259"/>
                  <a:pt x="4668542" y="926639"/>
                  <a:pt x="4675899" y="929069"/>
                </a:cubicBezTo>
                <a:close/>
                <a:moveTo>
                  <a:pt x="5225567" y="928398"/>
                </a:moveTo>
                <a:cubicBezTo>
                  <a:pt x="5233227" y="929485"/>
                  <a:pt x="5235031" y="940599"/>
                  <a:pt x="5238554" y="946546"/>
                </a:cubicBezTo>
                <a:cubicBezTo>
                  <a:pt x="5232948" y="949758"/>
                  <a:pt x="5231000" y="950387"/>
                  <a:pt x="5223565" y="950465"/>
                </a:cubicBezTo>
                <a:cubicBezTo>
                  <a:pt x="5219684" y="947239"/>
                  <a:pt x="5217855" y="944104"/>
                  <a:pt x="5216942" y="940870"/>
                </a:cubicBezTo>
                <a:cubicBezTo>
                  <a:pt x="5216001" y="937743"/>
                  <a:pt x="5215699" y="934441"/>
                  <a:pt x="5215674" y="931214"/>
                </a:cubicBezTo>
                <a:cubicBezTo>
                  <a:pt x="5219810" y="928786"/>
                  <a:pt x="5223013" y="928035"/>
                  <a:pt x="5225567" y="928398"/>
                </a:cubicBezTo>
                <a:close/>
                <a:moveTo>
                  <a:pt x="5246162" y="928114"/>
                </a:moveTo>
                <a:cubicBezTo>
                  <a:pt x="5246162" y="928114"/>
                  <a:pt x="5247355" y="928089"/>
                  <a:pt x="5248738" y="928459"/>
                </a:cubicBezTo>
                <a:cubicBezTo>
                  <a:pt x="5250122" y="928830"/>
                  <a:pt x="5251753" y="929382"/>
                  <a:pt x="5252411" y="930249"/>
                </a:cubicBezTo>
                <a:cubicBezTo>
                  <a:pt x="5255357" y="932533"/>
                  <a:pt x="5249572" y="934203"/>
                  <a:pt x="5249008" y="935202"/>
                </a:cubicBezTo>
                <a:cubicBezTo>
                  <a:pt x="5248034" y="935515"/>
                  <a:pt x="5247060" y="935830"/>
                  <a:pt x="5246172" y="935822"/>
                </a:cubicBezTo>
                <a:cubicBezTo>
                  <a:pt x="5245285" y="935814"/>
                  <a:pt x="5244760" y="935559"/>
                  <a:pt x="5244103" y="934692"/>
                </a:cubicBezTo>
                <a:cubicBezTo>
                  <a:pt x="5242759" y="933067"/>
                  <a:pt x="5241156" y="932407"/>
                  <a:pt x="5243391" y="930706"/>
                </a:cubicBezTo>
                <a:cubicBezTo>
                  <a:pt x="5243678" y="929634"/>
                  <a:pt x="5245598" y="929113"/>
                  <a:pt x="5246162" y="928114"/>
                </a:cubicBezTo>
                <a:close/>
                <a:moveTo>
                  <a:pt x="2076608" y="927433"/>
                </a:moveTo>
                <a:cubicBezTo>
                  <a:pt x="2091154" y="943979"/>
                  <a:pt x="2084984" y="948191"/>
                  <a:pt x="2075202" y="947065"/>
                </a:cubicBezTo>
                <a:cubicBezTo>
                  <a:pt x="2072626" y="946720"/>
                  <a:pt x="2070136" y="946053"/>
                  <a:pt x="2067398" y="945204"/>
                </a:cubicBezTo>
                <a:cubicBezTo>
                  <a:pt x="2059489" y="942624"/>
                  <a:pt x="2052401" y="938081"/>
                  <a:pt x="2052579" y="934103"/>
                </a:cubicBezTo>
                <a:cubicBezTo>
                  <a:pt x="2052915" y="930628"/>
                  <a:pt x="2059046" y="927671"/>
                  <a:pt x="2076608" y="927433"/>
                </a:cubicBezTo>
                <a:close/>
                <a:moveTo>
                  <a:pt x="1848089" y="926921"/>
                </a:moveTo>
                <a:cubicBezTo>
                  <a:pt x="1845463" y="928977"/>
                  <a:pt x="1843428" y="929927"/>
                  <a:pt x="1841348" y="929944"/>
                </a:cubicBezTo>
                <a:cubicBezTo>
                  <a:pt x="1838991" y="929888"/>
                  <a:pt x="1836557" y="929006"/>
                  <a:pt x="1833353" y="927687"/>
                </a:cubicBezTo>
                <a:cubicBezTo>
                  <a:pt x="1837373" y="924855"/>
                  <a:pt x="1840751" y="925529"/>
                  <a:pt x="1848089" y="926921"/>
                </a:cubicBezTo>
                <a:close/>
                <a:moveTo>
                  <a:pt x="1480788" y="926370"/>
                </a:moveTo>
                <a:cubicBezTo>
                  <a:pt x="1482425" y="929108"/>
                  <a:pt x="1487025" y="938507"/>
                  <a:pt x="1485286" y="940570"/>
                </a:cubicBezTo>
                <a:cubicBezTo>
                  <a:pt x="1481998" y="936239"/>
                  <a:pt x="1479087" y="927179"/>
                  <a:pt x="1480788" y="926370"/>
                </a:cubicBezTo>
                <a:close/>
                <a:moveTo>
                  <a:pt x="4792715" y="925869"/>
                </a:moveTo>
                <a:cubicBezTo>
                  <a:pt x="4794185" y="925919"/>
                  <a:pt x="4795539" y="926397"/>
                  <a:pt x="4796474" y="927337"/>
                </a:cubicBezTo>
                <a:cubicBezTo>
                  <a:pt x="4797788" y="929069"/>
                  <a:pt x="4795841" y="929698"/>
                  <a:pt x="4795554" y="930770"/>
                </a:cubicBezTo>
                <a:cubicBezTo>
                  <a:pt x="4793767" y="931902"/>
                  <a:pt x="4786666" y="931839"/>
                  <a:pt x="4782707" y="931123"/>
                </a:cubicBezTo>
                <a:cubicBezTo>
                  <a:pt x="4781294" y="930860"/>
                  <a:pt x="4780217" y="930456"/>
                  <a:pt x="4780026" y="930060"/>
                </a:cubicBezTo>
                <a:cubicBezTo>
                  <a:pt x="4783148" y="928367"/>
                  <a:pt x="4788640" y="925583"/>
                  <a:pt x="4792715" y="925869"/>
                </a:cubicBezTo>
                <a:close/>
                <a:moveTo>
                  <a:pt x="2424346" y="925732"/>
                </a:moveTo>
                <a:cubicBezTo>
                  <a:pt x="2424766" y="925270"/>
                  <a:pt x="2426179" y="925532"/>
                  <a:pt x="2427840" y="925977"/>
                </a:cubicBezTo>
                <a:cubicBezTo>
                  <a:pt x="2433316" y="927676"/>
                  <a:pt x="2442206" y="932127"/>
                  <a:pt x="2443284" y="932531"/>
                </a:cubicBezTo>
                <a:lnTo>
                  <a:pt x="2445193" y="933157"/>
                </a:lnTo>
                <a:lnTo>
                  <a:pt x="2452024" y="935333"/>
                </a:lnTo>
                <a:cubicBezTo>
                  <a:pt x="2453993" y="941265"/>
                  <a:pt x="2444063" y="944010"/>
                  <a:pt x="2439080" y="946010"/>
                </a:cubicBezTo>
                <a:cubicBezTo>
                  <a:pt x="2433873" y="942200"/>
                  <a:pt x="2428942" y="938463"/>
                  <a:pt x="2428698" y="934948"/>
                </a:cubicBezTo>
                <a:lnTo>
                  <a:pt x="2434790" y="933245"/>
                </a:lnTo>
                <a:lnTo>
                  <a:pt x="2434264" y="932989"/>
                </a:lnTo>
                <a:cubicBezTo>
                  <a:pt x="2431595" y="930779"/>
                  <a:pt x="2429963" y="930227"/>
                  <a:pt x="2426412" y="930196"/>
                </a:cubicBezTo>
                <a:cubicBezTo>
                  <a:pt x="2426412" y="930196"/>
                  <a:pt x="2426412" y="930196"/>
                  <a:pt x="2423754" y="926838"/>
                </a:cubicBezTo>
                <a:close/>
                <a:moveTo>
                  <a:pt x="1088603" y="925705"/>
                </a:moveTo>
                <a:cubicBezTo>
                  <a:pt x="1092912" y="930655"/>
                  <a:pt x="1090321" y="934790"/>
                  <a:pt x="1094313" y="940921"/>
                </a:cubicBezTo>
                <a:cubicBezTo>
                  <a:pt x="1090407" y="943323"/>
                  <a:pt x="1094083" y="950634"/>
                  <a:pt x="1088229" y="953665"/>
                </a:cubicBezTo>
                <a:cubicBezTo>
                  <a:pt x="1079284" y="946094"/>
                  <a:pt x="1083036" y="927664"/>
                  <a:pt x="1088603" y="925705"/>
                </a:cubicBezTo>
                <a:close/>
                <a:moveTo>
                  <a:pt x="2399174" y="924909"/>
                </a:moveTo>
                <a:cubicBezTo>
                  <a:pt x="2403888" y="925712"/>
                  <a:pt x="2409284" y="927158"/>
                  <a:pt x="2414475" y="928261"/>
                </a:cubicBezTo>
                <a:cubicBezTo>
                  <a:pt x="2413335" y="931406"/>
                  <a:pt x="2412628" y="932942"/>
                  <a:pt x="2412796" y="935632"/>
                </a:cubicBezTo>
                <a:cubicBezTo>
                  <a:pt x="2405936" y="933564"/>
                  <a:pt x="2400420" y="933121"/>
                  <a:pt x="2396212" y="932223"/>
                </a:cubicBezTo>
                <a:cubicBezTo>
                  <a:pt x="2392033" y="931219"/>
                  <a:pt x="2389190" y="929652"/>
                  <a:pt x="2387954" y="925411"/>
                </a:cubicBezTo>
                <a:cubicBezTo>
                  <a:pt x="2390423" y="923944"/>
                  <a:pt x="2394458" y="924106"/>
                  <a:pt x="2399174" y="924909"/>
                </a:cubicBezTo>
                <a:close/>
                <a:moveTo>
                  <a:pt x="2508943" y="924349"/>
                </a:moveTo>
                <a:cubicBezTo>
                  <a:pt x="2510738" y="924844"/>
                  <a:pt x="2512602" y="925632"/>
                  <a:pt x="2513367" y="925549"/>
                </a:cubicBezTo>
                <a:cubicBezTo>
                  <a:pt x="2515436" y="926678"/>
                  <a:pt x="2517229" y="927734"/>
                  <a:pt x="2515996" y="929015"/>
                </a:cubicBezTo>
                <a:cubicBezTo>
                  <a:pt x="2514736" y="930401"/>
                  <a:pt x="2515029" y="931515"/>
                  <a:pt x="2511432" y="930552"/>
                </a:cubicBezTo>
                <a:cubicBezTo>
                  <a:pt x="2509629" y="930643"/>
                  <a:pt x="2507835" y="929588"/>
                  <a:pt x="2506032" y="929679"/>
                </a:cubicBezTo>
                <a:cubicBezTo>
                  <a:pt x="2506032" y="929679"/>
                  <a:pt x="2505403" y="928705"/>
                  <a:pt x="2505051" y="927807"/>
                </a:cubicBezTo>
                <a:cubicBezTo>
                  <a:pt x="2504451" y="926725"/>
                  <a:pt x="2504185" y="925504"/>
                  <a:pt x="2504939" y="924901"/>
                </a:cubicBezTo>
                <a:cubicBezTo>
                  <a:pt x="2505423" y="923650"/>
                  <a:pt x="2507148" y="923853"/>
                  <a:pt x="2508943" y="924349"/>
                </a:cubicBezTo>
                <a:close/>
                <a:moveTo>
                  <a:pt x="2257048" y="922535"/>
                </a:moveTo>
                <a:cubicBezTo>
                  <a:pt x="2258812" y="923698"/>
                  <a:pt x="2259344" y="926140"/>
                  <a:pt x="2261109" y="927302"/>
                </a:cubicBezTo>
                <a:cubicBezTo>
                  <a:pt x="2259610" y="927362"/>
                  <a:pt x="2258101" y="928567"/>
                  <a:pt x="2256325" y="928551"/>
                </a:cubicBezTo>
                <a:cubicBezTo>
                  <a:pt x="2254561" y="927389"/>
                  <a:pt x="2254353" y="925953"/>
                  <a:pt x="2254698" y="924665"/>
                </a:cubicBezTo>
                <a:cubicBezTo>
                  <a:pt x="2255014" y="923485"/>
                  <a:pt x="2256161" y="922527"/>
                  <a:pt x="2257048" y="922535"/>
                </a:cubicBezTo>
                <a:close/>
                <a:moveTo>
                  <a:pt x="1029298" y="922351"/>
                </a:moveTo>
                <a:cubicBezTo>
                  <a:pt x="1034930" y="922364"/>
                  <a:pt x="1044526" y="928615"/>
                  <a:pt x="1044175" y="933237"/>
                </a:cubicBezTo>
                <a:cubicBezTo>
                  <a:pt x="1044050" y="934812"/>
                  <a:pt x="1043066" y="936274"/>
                  <a:pt x="1040144" y="937216"/>
                </a:cubicBezTo>
                <a:cubicBezTo>
                  <a:pt x="1037919" y="937770"/>
                  <a:pt x="1035867" y="937680"/>
                  <a:pt x="1034149" y="937451"/>
                </a:cubicBezTo>
                <a:cubicBezTo>
                  <a:pt x="1029054" y="936544"/>
                  <a:pt x="1025708" y="932429"/>
                  <a:pt x="1022812" y="927742"/>
                </a:cubicBezTo>
                <a:cubicBezTo>
                  <a:pt x="1025353" y="926008"/>
                  <a:pt x="1026509" y="923903"/>
                  <a:pt x="1029298" y="922351"/>
                </a:cubicBezTo>
                <a:close/>
                <a:moveTo>
                  <a:pt x="2311426" y="918819"/>
                </a:moveTo>
                <a:lnTo>
                  <a:pt x="2312809" y="919191"/>
                </a:lnTo>
                <a:lnTo>
                  <a:pt x="2312561" y="919009"/>
                </a:lnTo>
                <a:close/>
                <a:moveTo>
                  <a:pt x="5328530" y="918444"/>
                </a:moveTo>
                <a:cubicBezTo>
                  <a:pt x="5331229" y="920547"/>
                  <a:pt x="5334215" y="921577"/>
                  <a:pt x="5338545" y="924233"/>
                </a:cubicBezTo>
                <a:cubicBezTo>
                  <a:pt x="5336795" y="927444"/>
                  <a:pt x="5328429" y="932102"/>
                  <a:pt x="5319927" y="930628"/>
                </a:cubicBezTo>
                <a:cubicBezTo>
                  <a:pt x="5318612" y="928897"/>
                  <a:pt x="5317821" y="927420"/>
                  <a:pt x="5317584" y="926091"/>
                </a:cubicBezTo>
                <a:cubicBezTo>
                  <a:pt x="5316596" y="922031"/>
                  <a:pt x="5320807" y="919594"/>
                  <a:pt x="5328530" y="918444"/>
                </a:cubicBezTo>
                <a:close/>
                <a:moveTo>
                  <a:pt x="4924588" y="917389"/>
                </a:moveTo>
                <a:cubicBezTo>
                  <a:pt x="4929543" y="915497"/>
                  <a:pt x="4933971" y="916683"/>
                  <a:pt x="4937367" y="918399"/>
                </a:cubicBezTo>
                <a:lnTo>
                  <a:pt x="4938139" y="918835"/>
                </a:lnTo>
                <a:lnTo>
                  <a:pt x="4939390" y="918596"/>
                </a:lnTo>
                <a:lnTo>
                  <a:pt x="4940457" y="920146"/>
                </a:lnTo>
                <a:lnTo>
                  <a:pt x="4941201" y="920691"/>
                </a:lnTo>
                <a:cubicBezTo>
                  <a:pt x="4942221" y="921309"/>
                  <a:pt x="4942994" y="921746"/>
                  <a:pt x="4943081" y="921425"/>
                </a:cubicBezTo>
                <a:cubicBezTo>
                  <a:pt x="4945000" y="920905"/>
                  <a:pt x="4945000" y="920905"/>
                  <a:pt x="4945316" y="919723"/>
                </a:cubicBezTo>
                <a:cubicBezTo>
                  <a:pt x="4946918" y="920383"/>
                  <a:pt x="4950469" y="920414"/>
                  <a:pt x="4952388" y="919893"/>
                </a:cubicBezTo>
                <a:cubicBezTo>
                  <a:pt x="4952100" y="920966"/>
                  <a:pt x="4951813" y="922039"/>
                  <a:pt x="4953415" y="922699"/>
                </a:cubicBezTo>
                <a:cubicBezTo>
                  <a:pt x="4949300" y="923667"/>
                  <a:pt x="4947670" y="923114"/>
                  <a:pt x="4945750" y="923635"/>
                </a:cubicBezTo>
                <a:cubicBezTo>
                  <a:pt x="4947353" y="924294"/>
                  <a:pt x="4945434" y="924815"/>
                  <a:pt x="4945434" y="924815"/>
                </a:cubicBezTo>
                <a:cubicBezTo>
                  <a:pt x="4945434" y="924815"/>
                  <a:pt x="4945434" y="924815"/>
                  <a:pt x="4948093" y="928173"/>
                </a:cubicBezTo>
                <a:cubicBezTo>
                  <a:pt x="4948093" y="928173"/>
                  <a:pt x="4952819" y="935993"/>
                  <a:pt x="4944521" y="939291"/>
                </a:cubicBezTo>
                <a:cubicBezTo>
                  <a:pt x="4943673" y="938029"/>
                  <a:pt x="4936751" y="939509"/>
                  <a:pt x="4930826" y="938382"/>
                </a:cubicBezTo>
                <a:cubicBezTo>
                  <a:pt x="4928860" y="937970"/>
                  <a:pt x="4927229" y="937418"/>
                  <a:pt x="4925741" y="936329"/>
                </a:cubicBezTo>
                <a:cubicBezTo>
                  <a:pt x="4922794" y="934044"/>
                  <a:pt x="4921480" y="932312"/>
                  <a:pt x="4918809" y="930101"/>
                </a:cubicBezTo>
                <a:cubicBezTo>
                  <a:pt x="4919700" y="926776"/>
                  <a:pt x="4916003" y="921760"/>
                  <a:pt x="4924588" y="917389"/>
                </a:cubicBezTo>
                <a:close/>
                <a:moveTo>
                  <a:pt x="5579422" y="917359"/>
                </a:moveTo>
                <a:cubicBezTo>
                  <a:pt x="5579422" y="917359"/>
                  <a:pt x="5580777" y="917837"/>
                  <a:pt x="5580777" y="917837"/>
                </a:cubicBezTo>
                <a:cubicBezTo>
                  <a:pt x="5580921" y="917300"/>
                  <a:pt x="5581197" y="917374"/>
                  <a:pt x="5581388" y="917771"/>
                </a:cubicBezTo>
                <a:cubicBezTo>
                  <a:pt x="5581578" y="918167"/>
                  <a:pt x="5582265" y="918926"/>
                  <a:pt x="5583752" y="920014"/>
                </a:cubicBezTo>
                <a:cubicBezTo>
                  <a:pt x="5584820" y="921566"/>
                  <a:pt x="5586450" y="922117"/>
                  <a:pt x="5584532" y="922639"/>
                </a:cubicBezTo>
                <a:cubicBezTo>
                  <a:pt x="5583558" y="922953"/>
                  <a:pt x="5583224" y="923093"/>
                  <a:pt x="5582393" y="922870"/>
                </a:cubicBezTo>
                <a:cubicBezTo>
                  <a:pt x="5581535" y="922755"/>
                  <a:pt x="5580181" y="922277"/>
                  <a:pt x="5577995" y="921577"/>
                </a:cubicBezTo>
                <a:cubicBezTo>
                  <a:pt x="5579914" y="921057"/>
                  <a:pt x="5579914" y="921057"/>
                  <a:pt x="5578570" y="919431"/>
                </a:cubicBezTo>
                <a:cubicBezTo>
                  <a:pt x="5578570" y="919431"/>
                  <a:pt x="5578847" y="919505"/>
                  <a:pt x="5577245" y="918845"/>
                </a:cubicBezTo>
                <a:cubicBezTo>
                  <a:pt x="5577503" y="917880"/>
                  <a:pt x="5579134" y="918432"/>
                  <a:pt x="5579422" y="917359"/>
                </a:cubicBezTo>
                <a:close/>
                <a:moveTo>
                  <a:pt x="4549208" y="911568"/>
                </a:moveTo>
                <a:cubicBezTo>
                  <a:pt x="4557412" y="906407"/>
                  <a:pt x="4562389" y="919929"/>
                  <a:pt x="4553553" y="918597"/>
                </a:cubicBezTo>
                <a:cubicBezTo>
                  <a:pt x="4552542" y="916831"/>
                  <a:pt x="4549930" y="914406"/>
                  <a:pt x="4549208" y="911568"/>
                </a:cubicBezTo>
                <a:close/>
                <a:moveTo>
                  <a:pt x="1297030" y="909332"/>
                </a:moveTo>
                <a:cubicBezTo>
                  <a:pt x="1310726" y="910242"/>
                  <a:pt x="1331424" y="930394"/>
                  <a:pt x="1319637" y="938965"/>
                </a:cubicBezTo>
                <a:cubicBezTo>
                  <a:pt x="1312745" y="931483"/>
                  <a:pt x="1307322" y="924049"/>
                  <a:pt x="1293721" y="916150"/>
                </a:cubicBezTo>
                <a:cubicBezTo>
                  <a:pt x="1296987" y="913920"/>
                  <a:pt x="1292046" y="911331"/>
                  <a:pt x="1297030" y="909332"/>
                </a:cubicBezTo>
                <a:close/>
                <a:moveTo>
                  <a:pt x="2516381" y="908762"/>
                </a:moveTo>
                <a:cubicBezTo>
                  <a:pt x="2520607" y="910700"/>
                  <a:pt x="2518962" y="914629"/>
                  <a:pt x="2517129" y="914827"/>
                </a:cubicBezTo>
                <a:cubicBezTo>
                  <a:pt x="2515002" y="913911"/>
                  <a:pt x="2514163" y="911502"/>
                  <a:pt x="2512037" y="910588"/>
                </a:cubicBezTo>
                <a:cubicBezTo>
                  <a:pt x="2513594" y="910314"/>
                  <a:pt x="2514549" y="908960"/>
                  <a:pt x="2516381" y="908762"/>
                </a:cubicBezTo>
                <a:close/>
                <a:moveTo>
                  <a:pt x="2128521" y="908567"/>
                </a:moveTo>
                <a:lnTo>
                  <a:pt x="2136708" y="911220"/>
                </a:lnTo>
                <a:lnTo>
                  <a:pt x="2139456" y="910921"/>
                </a:lnTo>
                <a:cubicBezTo>
                  <a:pt x="2141508" y="911011"/>
                  <a:pt x="2143693" y="911712"/>
                  <a:pt x="2145181" y="912800"/>
                </a:cubicBezTo>
                <a:lnTo>
                  <a:pt x="2145752" y="913988"/>
                </a:lnTo>
                <a:lnTo>
                  <a:pt x="2154244" y="916608"/>
                </a:lnTo>
                <a:cubicBezTo>
                  <a:pt x="2163115" y="920021"/>
                  <a:pt x="2171234" y="924036"/>
                  <a:pt x="2175933" y="928631"/>
                </a:cubicBezTo>
                <a:cubicBezTo>
                  <a:pt x="2172667" y="930860"/>
                  <a:pt x="2168696" y="931291"/>
                  <a:pt x="2163877" y="930460"/>
                </a:cubicBezTo>
                <a:cubicBezTo>
                  <a:pt x="2160499" y="929785"/>
                  <a:pt x="2156683" y="928532"/>
                  <a:pt x="2152982" y="926851"/>
                </a:cubicBezTo>
                <a:lnTo>
                  <a:pt x="2144789" y="922010"/>
                </a:lnTo>
                <a:lnTo>
                  <a:pt x="2143844" y="922218"/>
                </a:lnTo>
                <a:cubicBezTo>
                  <a:pt x="2139175" y="923036"/>
                  <a:pt x="2134004" y="921306"/>
                  <a:pt x="2129450" y="921696"/>
                </a:cubicBezTo>
                <a:cubicBezTo>
                  <a:pt x="2128337" y="919212"/>
                  <a:pt x="2128301" y="917133"/>
                  <a:pt x="2129067" y="915382"/>
                </a:cubicBezTo>
                <a:lnTo>
                  <a:pt x="2132593" y="912187"/>
                </a:lnTo>
                <a:close/>
                <a:moveTo>
                  <a:pt x="2194492" y="908072"/>
                </a:moveTo>
                <a:cubicBezTo>
                  <a:pt x="2196321" y="911207"/>
                  <a:pt x="2201334" y="909101"/>
                  <a:pt x="2202570" y="913342"/>
                </a:cubicBezTo>
                <a:cubicBezTo>
                  <a:pt x="2199069" y="919764"/>
                  <a:pt x="2180167" y="923900"/>
                  <a:pt x="2167104" y="920630"/>
                </a:cubicBezTo>
                <a:cubicBezTo>
                  <a:pt x="2162954" y="919518"/>
                  <a:pt x="2159310" y="917621"/>
                  <a:pt x="2157118" y="914734"/>
                </a:cubicBezTo>
                <a:cubicBezTo>
                  <a:pt x="2169002" y="913549"/>
                  <a:pt x="2180293" y="913468"/>
                  <a:pt x="2194492" y="908072"/>
                </a:cubicBezTo>
                <a:close/>
                <a:moveTo>
                  <a:pt x="2393499" y="908036"/>
                </a:moveTo>
                <a:cubicBezTo>
                  <a:pt x="2399066" y="906077"/>
                  <a:pt x="2403701" y="908700"/>
                  <a:pt x="2408337" y="911321"/>
                </a:cubicBezTo>
                <a:cubicBezTo>
                  <a:pt x="2411341" y="913391"/>
                  <a:pt x="2412974" y="913944"/>
                  <a:pt x="2416304" y="913687"/>
                </a:cubicBezTo>
                <a:cubicBezTo>
                  <a:pt x="2416304" y="913687"/>
                  <a:pt x="2416304" y="913687"/>
                  <a:pt x="2419268" y="917011"/>
                </a:cubicBezTo>
                <a:lnTo>
                  <a:pt x="2418981" y="918084"/>
                </a:lnTo>
                <a:cubicBezTo>
                  <a:pt x="2418532" y="918654"/>
                  <a:pt x="2417092" y="918497"/>
                  <a:pt x="2415154" y="917978"/>
                </a:cubicBezTo>
                <a:cubicBezTo>
                  <a:pt x="2409840" y="916784"/>
                  <a:pt x="2400863" y="912654"/>
                  <a:pt x="2399480" y="912284"/>
                </a:cubicBezTo>
                <a:cubicBezTo>
                  <a:pt x="2399480" y="912284"/>
                  <a:pt x="2397847" y="911731"/>
                  <a:pt x="2396216" y="911178"/>
                </a:cubicBezTo>
                <a:cubicBezTo>
                  <a:pt x="2394843" y="909661"/>
                  <a:pt x="2395131" y="908588"/>
                  <a:pt x="2393499" y="908036"/>
                </a:cubicBezTo>
                <a:close/>
                <a:moveTo>
                  <a:pt x="2484571" y="907943"/>
                </a:moveTo>
                <a:cubicBezTo>
                  <a:pt x="2490709" y="907172"/>
                  <a:pt x="2493811" y="907774"/>
                  <a:pt x="2495022" y="908789"/>
                </a:cubicBezTo>
                <a:cubicBezTo>
                  <a:pt x="2497633" y="911213"/>
                  <a:pt x="2490709" y="916028"/>
                  <a:pt x="2486961" y="913414"/>
                </a:cubicBezTo>
                <a:cubicBezTo>
                  <a:pt x="2485721" y="912506"/>
                  <a:pt x="2484682" y="910848"/>
                  <a:pt x="2484571" y="907943"/>
                </a:cubicBezTo>
                <a:close/>
                <a:moveTo>
                  <a:pt x="876424" y="907378"/>
                </a:moveTo>
                <a:cubicBezTo>
                  <a:pt x="882178" y="909149"/>
                  <a:pt x="885143" y="912474"/>
                  <a:pt x="883498" y="916403"/>
                </a:cubicBezTo>
                <a:cubicBezTo>
                  <a:pt x="880680" y="918063"/>
                  <a:pt x="877025" y="917314"/>
                  <a:pt x="873370" y="916565"/>
                </a:cubicBezTo>
                <a:cubicBezTo>
                  <a:pt x="870355" y="915641"/>
                  <a:pt x="869173" y="914520"/>
                  <a:pt x="868879" y="913406"/>
                </a:cubicBezTo>
                <a:cubicBezTo>
                  <a:pt x="868612" y="912185"/>
                  <a:pt x="869263" y="910864"/>
                  <a:pt x="870524" y="909477"/>
                </a:cubicBezTo>
                <a:cubicBezTo>
                  <a:pt x="872494" y="906554"/>
                  <a:pt x="876424" y="907378"/>
                  <a:pt x="876424" y="907378"/>
                </a:cubicBezTo>
                <a:close/>
                <a:moveTo>
                  <a:pt x="1798405" y="906478"/>
                </a:moveTo>
                <a:cubicBezTo>
                  <a:pt x="1796927" y="913097"/>
                  <a:pt x="1800414" y="920011"/>
                  <a:pt x="1803156" y="926381"/>
                </a:cubicBezTo>
                <a:lnTo>
                  <a:pt x="1804306" y="930944"/>
                </a:lnTo>
                <a:lnTo>
                  <a:pt x="1808165" y="927608"/>
                </a:lnTo>
                <a:cubicBezTo>
                  <a:pt x="1815546" y="933266"/>
                  <a:pt x="1816581" y="938258"/>
                  <a:pt x="1814666" y="944301"/>
                </a:cubicBezTo>
                <a:cubicBezTo>
                  <a:pt x="1812948" y="944070"/>
                  <a:pt x="1810849" y="943047"/>
                  <a:pt x="1808836" y="941703"/>
                </a:cubicBezTo>
                <a:lnTo>
                  <a:pt x="1804621" y="938619"/>
                </a:lnTo>
                <a:lnTo>
                  <a:pt x="1802860" y="942977"/>
                </a:lnTo>
                <a:cubicBezTo>
                  <a:pt x="1801632" y="940923"/>
                  <a:pt x="1799573" y="938647"/>
                  <a:pt x="1797513" y="936369"/>
                </a:cubicBezTo>
                <a:lnTo>
                  <a:pt x="1796360" y="935141"/>
                </a:lnTo>
                <a:lnTo>
                  <a:pt x="1792142" y="935390"/>
                </a:lnTo>
                <a:lnTo>
                  <a:pt x="1784958" y="932315"/>
                </a:lnTo>
                <a:lnTo>
                  <a:pt x="1786893" y="941690"/>
                </a:lnTo>
                <a:cubicBezTo>
                  <a:pt x="1786783" y="947640"/>
                  <a:pt x="1784561" y="953715"/>
                  <a:pt x="1779620" y="959981"/>
                </a:cubicBezTo>
                <a:cubicBezTo>
                  <a:pt x="1776871" y="960279"/>
                  <a:pt x="1774265" y="960041"/>
                  <a:pt x="1772302" y="959629"/>
                </a:cubicBezTo>
                <a:cubicBezTo>
                  <a:pt x="1765849" y="958246"/>
                  <a:pt x="1762287" y="953841"/>
                  <a:pt x="1761308" y="948633"/>
                </a:cubicBezTo>
                <a:cubicBezTo>
                  <a:pt x="1759446" y="940085"/>
                  <a:pt x="1764154" y="929156"/>
                  <a:pt x="1773091" y="925686"/>
                </a:cubicBezTo>
                <a:lnTo>
                  <a:pt x="1773397" y="925653"/>
                </a:lnTo>
                <a:lnTo>
                  <a:pt x="1765807" y="918559"/>
                </a:lnTo>
                <a:cubicBezTo>
                  <a:pt x="1766720" y="912939"/>
                  <a:pt x="1770102" y="910279"/>
                  <a:pt x="1774436" y="909601"/>
                </a:cubicBezTo>
                <a:lnTo>
                  <a:pt x="1784465" y="910908"/>
                </a:lnTo>
                <a:lnTo>
                  <a:pt x="1784724" y="909942"/>
                </a:lnTo>
                <a:cubicBezTo>
                  <a:pt x="1787236" y="908316"/>
                  <a:pt x="1791714" y="907100"/>
                  <a:pt x="1798405" y="906478"/>
                </a:cubicBezTo>
                <a:close/>
                <a:moveTo>
                  <a:pt x="2340161" y="904554"/>
                </a:moveTo>
                <a:lnTo>
                  <a:pt x="2339988" y="905198"/>
                </a:lnTo>
                <a:lnTo>
                  <a:pt x="2341343" y="905675"/>
                </a:lnTo>
                <a:close/>
                <a:moveTo>
                  <a:pt x="821590" y="902144"/>
                </a:moveTo>
                <a:cubicBezTo>
                  <a:pt x="824484" y="904213"/>
                  <a:pt x="825964" y="907542"/>
                  <a:pt x="824807" y="909648"/>
                </a:cubicBezTo>
                <a:cubicBezTo>
                  <a:pt x="822859" y="910275"/>
                  <a:pt x="821027" y="910475"/>
                  <a:pt x="819309" y="910244"/>
                </a:cubicBezTo>
                <a:cubicBezTo>
                  <a:pt x="813851" y="909586"/>
                  <a:pt x="809254" y="905710"/>
                  <a:pt x="809897" y="902202"/>
                </a:cubicBezTo>
                <a:cubicBezTo>
                  <a:pt x="814391" y="899266"/>
                  <a:pt x="818697" y="900075"/>
                  <a:pt x="821590" y="902144"/>
                </a:cubicBezTo>
                <a:close/>
                <a:moveTo>
                  <a:pt x="2083070" y="901103"/>
                </a:moveTo>
                <a:lnTo>
                  <a:pt x="2085520" y="903024"/>
                </a:lnTo>
                <a:lnTo>
                  <a:pt x="2085578" y="902810"/>
                </a:lnTo>
                <a:cubicBezTo>
                  <a:pt x="2086915" y="902248"/>
                  <a:pt x="2089053" y="902015"/>
                  <a:pt x="2091162" y="901891"/>
                </a:cubicBezTo>
                <a:cubicBezTo>
                  <a:pt x="2099118" y="905403"/>
                  <a:pt x="2097843" y="911271"/>
                  <a:pt x="2101465" y="915461"/>
                </a:cubicBezTo>
                <a:cubicBezTo>
                  <a:pt x="2098790" y="916585"/>
                  <a:pt x="2096041" y="916884"/>
                  <a:pt x="2093437" y="916646"/>
                </a:cubicBezTo>
                <a:lnTo>
                  <a:pt x="2090594" y="915079"/>
                </a:lnTo>
                <a:lnTo>
                  <a:pt x="2089419" y="916145"/>
                </a:lnTo>
                <a:lnTo>
                  <a:pt x="2084180" y="915776"/>
                </a:lnTo>
                <a:lnTo>
                  <a:pt x="2084675" y="916138"/>
                </a:lnTo>
                <a:cubicBezTo>
                  <a:pt x="2086372" y="918663"/>
                  <a:pt x="2086397" y="921889"/>
                  <a:pt x="2083281" y="925770"/>
                </a:cubicBezTo>
                <a:cubicBezTo>
                  <a:pt x="2075037" y="923331"/>
                  <a:pt x="2069091" y="924498"/>
                  <a:pt x="2063308" y="922834"/>
                </a:cubicBezTo>
                <a:cubicBezTo>
                  <a:pt x="2061677" y="922280"/>
                  <a:pt x="2059826" y="921440"/>
                  <a:pt x="2057842" y="919988"/>
                </a:cubicBezTo>
                <a:cubicBezTo>
                  <a:pt x="2058288" y="913898"/>
                  <a:pt x="2063531" y="910933"/>
                  <a:pt x="2069554" y="910591"/>
                </a:cubicBezTo>
                <a:lnTo>
                  <a:pt x="2075290" y="911323"/>
                </a:lnTo>
                <a:lnTo>
                  <a:pt x="2070140" y="907298"/>
                </a:lnTo>
                <a:cubicBezTo>
                  <a:pt x="2068444" y="904773"/>
                  <a:pt x="2067579" y="902472"/>
                  <a:pt x="2068199" y="901258"/>
                </a:cubicBezTo>
                <a:cubicBezTo>
                  <a:pt x="2071218" y="898846"/>
                  <a:pt x="2077499" y="897540"/>
                  <a:pt x="2083070" y="901103"/>
                </a:cubicBezTo>
                <a:close/>
                <a:moveTo>
                  <a:pt x="4685684" y="900297"/>
                </a:moveTo>
                <a:cubicBezTo>
                  <a:pt x="4687460" y="900312"/>
                  <a:pt x="4688976" y="901294"/>
                  <a:pt x="4689824" y="902555"/>
                </a:cubicBezTo>
                <a:cubicBezTo>
                  <a:pt x="4692951" y="906383"/>
                  <a:pt x="4691825" y="913903"/>
                  <a:pt x="4684724" y="913839"/>
                </a:cubicBezTo>
                <a:cubicBezTo>
                  <a:pt x="4681595" y="913346"/>
                  <a:pt x="4678716" y="909700"/>
                  <a:pt x="4677861" y="906249"/>
                </a:cubicBezTo>
                <a:cubicBezTo>
                  <a:pt x="4677283" y="902875"/>
                  <a:pt x="4679004" y="899772"/>
                  <a:pt x="4685684" y="900297"/>
                </a:cubicBezTo>
                <a:close/>
                <a:moveTo>
                  <a:pt x="1301145" y="899509"/>
                </a:moveTo>
                <a:cubicBezTo>
                  <a:pt x="1300559" y="902803"/>
                  <a:pt x="1301904" y="904428"/>
                  <a:pt x="1300273" y="903876"/>
                </a:cubicBezTo>
                <a:cubicBezTo>
                  <a:pt x="1300128" y="904412"/>
                  <a:pt x="1299518" y="904479"/>
                  <a:pt x="1299241" y="904405"/>
                </a:cubicBezTo>
                <a:cubicBezTo>
                  <a:pt x="1298964" y="904330"/>
                  <a:pt x="1298497" y="903860"/>
                  <a:pt x="1298640" y="903323"/>
                </a:cubicBezTo>
                <a:cubicBezTo>
                  <a:pt x="1295636" y="901253"/>
                  <a:pt x="1299198" y="900138"/>
                  <a:pt x="1301145" y="899509"/>
                </a:cubicBezTo>
                <a:close/>
                <a:moveTo>
                  <a:pt x="4760599" y="898519"/>
                </a:moveTo>
                <a:cubicBezTo>
                  <a:pt x="4757121" y="902647"/>
                  <a:pt x="4750383" y="902337"/>
                  <a:pt x="4745348" y="906738"/>
                </a:cubicBezTo>
                <a:cubicBezTo>
                  <a:pt x="4739566" y="905074"/>
                  <a:pt x="4733004" y="909640"/>
                  <a:pt x="4725123" y="906954"/>
                </a:cubicBezTo>
                <a:cubicBezTo>
                  <a:pt x="4728692" y="899170"/>
                  <a:pt x="4754246" y="895666"/>
                  <a:pt x="4760599" y="898519"/>
                </a:cubicBezTo>
                <a:close/>
                <a:moveTo>
                  <a:pt x="2376646" y="897885"/>
                </a:moveTo>
                <a:cubicBezTo>
                  <a:pt x="2379732" y="902967"/>
                  <a:pt x="2377677" y="906211"/>
                  <a:pt x="2370605" y="906042"/>
                </a:cubicBezTo>
                <a:cubicBezTo>
                  <a:pt x="2370303" y="902741"/>
                  <a:pt x="2366401" y="901810"/>
                  <a:pt x="2366099" y="898510"/>
                </a:cubicBezTo>
                <a:cubicBezTo>
                  <a:pt x="2370842" y="898515"/>
                  <a:pt x="2374289" y="897828"/>
                  <a:pt x="2376646" y="897885"/>
                </a:cubicBezTo>
                <a:close/>
                <a:moveTo>
                  <a:pt x="2533325" y="897546"/>
                </a:moveTo>
                <a:cubicBezTo>
                  <a:pt x="2535025" y="896737"/>
                  <a:pt x="2539909" y="899541"/>
                  <a:pt x="2541856" y="898913"/>
                </a:cubicBezTo>
                <a:cubicBezTo>
                  <a:pt x="2541856" y="898913"/>
                  <a:pt x="2541885" y="898806"/>
                  <a:pt x="2542885" y="901718"/>
                </a:cubicBezTo>
                <a:cubicBezTo>
                  <a:pt x="2542844" y="902973"/>
                  <a:pt x="2542557" y="904045"/>
                  <a:pt x="2540580" y="904781"/>
                </a:cubicBezTo>
                <a:cubicBezTo>
                  <a:pt x="2538632" y="905409"/>
                  <a:pt x="2535341" y="904412"/>
                  <a:pt x="2533710" y="903860"/>
                </a:cubicBezTo>
                <a:cubicBezTo>
                  <a:pt x="2533997" y="902787"/>
                  <a:pt x="2532365" y="902235"/>
                  <a:pt x="2532377" y="901087"/>
                </a:cubicBezTo>
                <a:cubicBezTo>
                  <a:pt x="2531378" y="898175"/>
                  <a:pt x="2531378" y="898175"/>
                  <a:pt x="2533325" y="897546"/>
                </a:cubicBezTo>
                <a:close/>
                <a:moveTo>
                  <a:pt x="4779843" y="896431"/>
                </a:moveTo>
                <a:cubicBezTo>
                  <a:pt x="4782789" y="898715"/>
                  <a:pt x="4782473" y="899895"/>
                  <a:pt x="4780278" y="900342"/>
                </a:cubicBezTo>
                <a:cubicBezTo>
                  <a:pt x="4780278" y="900342"/>
                  <a:pt x="4778359" y="900863"/>
                  <a:pt x="4776439" y="901384"/>
                </a:cubicBezTo>
                <a:cubicBezTo>
                  <a:pt x="4774215" y="901937"/>
                  <a:pt x="4773928" y="903010"/>
                  <a:pt x="4773928" y="903010"/>
                </a:cubicBezTo>
                <a:cubicBezTo>
                  <a:pt x="4772954" y="903325"/>
                  <a:pt x="4772066" y="903317"/>
                  <a:pt x="4771265" y="902987"/>
                </a:cubicBezTo>
                <a:cubicBezTo>
                  <a:pt x="4770435" y="902765"/>
                  <a:pt x="4769719" y="902113"/>
                  <a:pt x="4769062" y="901247"/>
                </a:cubicBezTo>
                <a:cubicBezTo>
                  <a:pt x="4769062" y="901247"/>
                  <a:pt x="4771574" y="899619"/>
                  <a:pt x="4771574" y="899619"/>
                </a:cubicBezTo>
                <a:cubicBezTo>
                  <a:pt x="4775412" y="898578"/>
                  <a:pt x="4777331" y="898057"/>
                  <a:pt x="4779843" y="896431"/>
                </a:cubicBezTo>
                <a:close/>
                <a:moveTo>
                  <a:pt x="2164202" y="894939"/>
                </a:moveTo>
                <a:cubicBezTo>
                  <a:pt x="2169060" y="893409"/>
                  <a:pt x="2175771" y="894373"/>
                  <a:pt x="2180024" y="897871"/>
                </a:cubicBezTo>
                <a:cubicBezTo>
                  <a:pt x="2182942" y="900263"/>
                  <a:pt x="2184961" y="903794"/>
                  <a:pt x="2184585" y="908523"/>
                </a:cubicBezTo>
                <a:cubicBezTo>
                  <a:pt x="2175996" y="907372"/>
                  <a:pt x="2171507" y="909734"/>
                  <a:pt x="2165771" y="909003"/>
                </a:cubicBezTo>
                <a:cubicBezTo>
                  <a:pt x="2163777" y="908698"/>
                  <a:pt x="2161840" y="908179"/>
                  <a:pt x="2159494" y="906975"/>
                </a:cubicBezTo>
                <a:cubicBezTo>
                  <a:pt x="2156337" y="900494"/>
                  <a:pt x="2159343" y="896470"/>
                  <a:pt x="2164202" y="894939"/>
                </a:cubicBezTo>
                <a:close/>
                <a:moveTo>
                  <a:pt x="5018815" y="894452"/>
                </a:moveTo>
                <a:cubicBezTo>
                  <a:pt x="5025794" y="892756"/>
                  <a:pt x="5035375" y="894633"/>
                  <a:pt x="5042522" y="895630"/>
                </a:cubicBezTo>
                <a:cubicBezTo>
                  <a:pt x="5038547" y="899395"/>
                  <a:pt x="5031399" y="898399"/>
                  <a:pt x="5031752" y="908154"/>
                </a:cubicBezTo>
                <a:cubicBezTo>
                  <a:pt x="5025466" y="903940"/>
                  <a:pt x="5020709" y="899559"/>
                  <a:pt x="5018815" y="894452"/>
                </a:cubicBezTo>
                <a:close/>
                <a:moveTo>
                  <a:pt x="4494975" y="893155"/>
                </a:moveTo>
                <a:cubicBezTo>
                  <a:pt x="4497418" y="892344"/>
                  <a:pt x="4500429" y="892173"/>
                  <a:pt x="4505474" y="895480"/>
                </a:cubicBezTo>
                <a:cubicBezTo>
                  <a:pt x="4507263" y="899869"/>
                  <a:pt x="4513121" y="911214"/>
                  <a:pt x="4498797" y="909330"/>
                </a:cubicBezTo>
                <a:cubicBezTo>
                  <a:pt x="4495541" y="910414"/>
                  <a:pt x="4492315" y="911389"/>
                  <a:pt x="4489547" y="910647"/>
                </a:cubicBezTo>
                <a:cubicBezTo>
                  <a:pt x="4486781" y="909906"/>
                  <a:pt x="4484473" y="907448"/>
                  <a:pt x="4484962" y="905623"/>
                </a:cubicBezTo>
                <a:cubicBezTo>
                  <a:pt x="4485451" y="903800"/>
                  <a:pt x="4488707" y="902717"/>
                  <a:pt x="4488707" y="902717"/>
                </a:cubicBezTo>
                <a:cubicBezTo>
                  <a:pt x="4489684" y="899069"/>
                  <a:pt x="4484151" y="897587"/>
                  <a:pt x="4487895" y="894679"/>
                </a:cubicBezTo>
                <a:cubicBezTo>
                  <a:pt x="4490661" y="895421"/>
                  <a:pt x="4492534" y="893967"/>
                  <a:pt x="4494975" y="893155"/>
                </a:cubicBezTo>
                <a:close/>
                <a:moveTo>
                  <a:pt x="5968217" y="891929"/>
                </a:moveTo>
                <a:cubicBezTo>
                  <a:pt x="5970345" y="892844"/>
                  <a:pt x="5972357" y="894189"/>
                  <a:pt x="5973978" y="895888"/>
                </a:cubicBezTo>
                <a:cubicBezTo>
                  <a:pt x="5976036" y="898166"/>
                  <a:pt x="5977284" y="901259"/>
                  <a:pt x="5977165" y="905023"/>
                </a:cubicBezTo>
                <a:cubicBezTo>
                  <a:pt x="5975128" y="909307"/>
                  <a:pt x="5963912" y="910211"/>
                  <a:pt x="5956135" y="908242"/>
                </a:cubicBezTo>
                <a:cubicBezTo>
                  <a:pt x="5953369" y="907501"/>
                  <a:pt x="5951241" y="906586"/>
                  <a:pt x="5949811" y="905283"/>
                </a:cubicBezTo>
                <a:cubicBezTo>
                  <a:pt x="5949538" y="901875"/>
                  <a:pt x="5948959" y="898500"/>
                  <a:pt x="5948657" y="895199"/>
                </a:cubicBezTo>
                <a:cubicBezTo>
                  <a:pt x="5952700" y="890072"/>
                  <a:pt x="5961530" y="889218"/>
                  <a:pt x="5968217" y="891929"/>
                </a:cubicBezTo>
                <a:close/>
                <a:moveTo>
                  <a:pt x="2298788" y="891413"/>
                </a:moveTo>
                <a:cubicBezTo>
                  <a:pt x="2302511" y="893431"/>
                  <a:pt x="2304698" y="896892"/>
                  <a:pt x="2299995" y="898392"/>
                </a:cubicBezTo>
                <a:cubicBezTo>
                  <a:pt x="2296398" y="897428"/>
                  <a:pt x="2292535" y="895243"/>
                  <a:pt x="2288367" y="893092"/>
                </a:cubicBezTo>
                <a:cubicBezTo>
                  <a:pt x="2289807" y="888820"/>
                  <a:pt x="2295066" y="889394"/>
                  <a:pt x="2298788" y="891413"/>
                </a:cubicBezTo>
                <a:close/>
                <a:moveTo>
                  <a:pt x="5066196" y="891393"/>
                </a:moveTo>
                <a:cubicBezTo>
                  <a:pt x="5071755" y="904957"/>
                  <a:pt x="5097105" y="896684"/>
                  <a:pt x="5097018" y="914716"/>
                </a:cubicBezTo>
                <a:lnTo>
                  <a:pt x="5088782" y="923320"/>
                </a:lnTo>
                <a:lnTo>
                  <a:pt x="5089115" y="923179"/>
                </a:lnTo>
                <a:cubicBezTo>
                  <a:pt x="5099206" y="920938"/>
                  <a:pt x="5113052" y="923498"/>
                  <a:pt x="5126143" y="935516"/>
                </a:cubicBezTo>
                <a:lnTo>
                  <a:pt x="5125464" y="936944"/>
                </a:lnTo>
                <a:lnTo>
                  <a:pt x="5129030" y="932494"/>
                </a:lnTo>
                <a:cubicBezTo>
                  <a:pt x="5132246" y="932665"/>
                  <a:pt x="5134926" y="933729"/>
                  <a:pt x="5137158" y="935362"/>
                </a:cubicBezTo>
                <a:lnTo>
                  <a:pt x="5139217" y="937639"/>
                </a:lnTo>
                <a:lnTo>
                  <a:pt x="5140605" y="934675"/>
                </a:lnTo>
                <a:lnTo>
                  <a:pt x="5142788" y="935376"/>
                </a:lnTo>
                <a:lnTo>
                  <a:pt x="5144712" y="931522"/>
                </a:lnTo>
                <a:cubicBezTo>
                  <a:pt x="5149294" y="931024"/>
                  <a:pt x="5153667" y="929091"/>
                  <a:pt x="5159345" y="930036"/>
                </a:cubicBezTo>
                <a:cubicBezTo>
                  <a:pt x="5161063" y="930267"/>
                  <a:pt x="5163248" y="930967"/>
                  <a:pt x="5165317" y="932096"/>
                </a:cubicBezTo>
                <a:cubicBezTo>
                  <a:pt x="5159028" y="940072"/>
                  <a:pt x="5158849" y="947384"/>
                  <a:pt x="5155747" y="955638"/>
                </a:cubicBezTo>
                <a:cubicBezTo>
                  <a:pt x="5154277" y="955589"/>
                  <a:pt x="5152617" y="955145"/>
                  <a:pt x="5150518" y="954122"/>
                </a:cubicBezTo>
                <a:cubicBezTo>
                  <a:pt x="5148668" y="953281"/>
                  <a:pt x="5146379" y="951862"/>
                  <a:pt x="5143680" y="949760"/>
                </a:cubicBezTo>
                <a:cubicBezTo>
                  <a:pt x="5146468" y="948207"/>
                  <a:pt x="5147481" y="946639"/>
                  <a:pt x="5147330" y="944988"/>
                </a:cubicBezTo>
                <a:lnTo>
                  <a:pt x="5147008" y="943981"/>
                </a:lnTo>
                <a:lnTo>
                  <a:pt x="5142857" y="942869"/>
                </a:lnTo>
                <a:lnTo>
                  <a:pt x="5143834" y="948077"/>
                </a:lnTo>
                <a:cubicBezTo>
                  <a:pt x="5143565" y="950189"/>
                  <a:pt x="5142799" y="951938"/>
                  <a:pt x="5141261" y="953251"/>
                </a:cubicBezTo>
                <a:cubicBezTo>
                  <a:pt x="5136575" y="953031"/>
                  <a:pt x="5132188" y="950590"/>
                  <a:pt x="5129471" y="947448"/>
                </a:cubicBezTo>
                <a:lnTo>
                  <a:pt x="5125378" y="937265"/>
                </a:lnTo>
                <a:lnTo>
                  <a:pt x="5121130" y="946478"/>
                </a:lnTo>
                <a:cubicBezTo>
                  <a:pt x="5113857" y="955914"/>
                  <a:pt x="5100557" y="960170"/>
                  <a:pt x="5087095" y="955068"/>
                </a:cubicBezTo>
                <a:cubicBezTo>
                  <a:pt x="5081572" y="952439"/>
                  <a:pt x="5077940" y="949395"/>
                  <a:pt x="5075833" y="946185"/>
                </a:cubicBezTo>
                <a:lnTo>
                  <a:pt x="5074446" y="940293"/>
                </a:lnTo>
                <a:lnTo>
                  <a:pt x="5071989" y="936184"/>
                </a:lnTo>
                <a:cubicBezTo>
                  <a:pt x="5071989" y="936184"/>
                  <a:pt x="5071989" y="936184"/>
                  <a:pt x="5072255" y="937406"/>
                </a:cubicBezTo>
                <a:lnTo>
                  <a:pt x="5067105" y="942237"/>
                </a:lnTo>
                <a:lnTo>
                  <a:pt x="5068812" y="943614"/>
                </a:lnTo>
                <a:lnTo>
                  <a:pt x="5065567" y="943549"/>
                </a:lnTo>
                <a:lnTo>
                  <a:pt x="5062462" y="946283"/>
                </a:lnTo>
                <a:cubicBezTo>
                  <a:pt x="5058746" y="949081"/>
                  <a:pt x="5055232" y="951130"/>
                  <a:pt x="5052407" y="950603"/>
                </a:cubicBezTo>
                <a:cubicBezTo>
                  <a:pt x="5052112" y="949489"/>
                  <a:pt x="5051846" y="948268"/>
                  <a:pt x="5053079" y="946988"/>
                </a:cubicBezTo>
                <a:cubicBezTo>
                  <a:pt x="5054617" y="945676"/>
                  <a:pt x="5054883" y="946897"/>
                  <a:pt x="5054617" y="945676"/>
                </a:cubicBezTo>
                <a:cubicBezTo>
                  <a:pt x="5055850" y="944396"/>
                  <a:pt x="5054323" y="944561"/>
                  <a:pt x="5054323" y="944561"/>
                </a:cubicBezTo>
                <a:cubicBezTo>
                  <a:pt x="5054323" y="944561"/>
                  <a:pt x="5055850" y="944396"/>
                  <a:pt x="5055850" y="944396"/>
                </a:cubicBezTo>
                <a:cubicBezTo>
                  <a:pt x="5055850" y="944396"/>
                  <a:pt x="5055850" y="944396"/>
                  <a:pt x="5056241" y="944040"/>
                </a:cubicBezTo>
                <a:lnTo>
                  <a:pt x="5057111" y="943009"/>
                </a:lnTo>
                <a:lnTo>
                  <a:pt x="5049572" y="942368"/>
                </a:lnTo>
                <a:cubicBezTo>
                  <a:pt x="5045615" y="938318"/>
                  <a:pt x="5036624" y="938670"/>
                  <a:pt x="5031381" y="932779"/>
                </a:cubicBezTo>
                <a:cubicBezTo>
                  <a:pt x="5035783" y="930739"/>
                  <a:pt x="5044562" y="932286"/>
                  <a:pt x="5052195" y="934791"/>
                </a:cubicBezTo>
                <a:lnTo>
                  <a:pt x="5060208" y="938089"/>
                </a:lnTo>
                <a:lnTo>
                  <a:pt x="5060630" y="937627"/>
                </a:lnTo>
                <a:cubicBezTo>
                  <a:pt x="5060917" y="936553"/>
                  <a:pt x="5061147" y="935696"/>
                  <a:pt x="5061492" y="934407"/>
                </a:cubicBezTo>
                <a:cubicBezTo>
                  <a:pt x="5064263" y="931815"/>
                  <a:pt x="5065789" y="931649"/>
                  <a:pt x="5070059" y="928998"/>
                </a:cubicBezTo>
                <a:cubicBezTo>
                  <a:pt x="5073656" y="929962"/>
                  <a:pt x="5073627" y="930069"/>
                  <a:pt x="5073922" y="931183"/>
                </a:cubicBezTo>
                <a:cubicBezTo>
                  <a:pt x="5073627" y="930069"/>
                  <a:pt x="5075183" y="929796"/>
                  <a:pt x="5076693" y="928590"/>
                </a:cubicBezTo>
                <a:lnTo>
                  <a:pt x="5077505" y="927773"/>
                </a:lnTo>
                <a:lnTo>
                  <a:pt x="5068047" y="927653"/>
                </a:lnTo>
                <a:lnTo>
                  <a:pt x="5064144" y="926723"/>
                </a:lnTo>
                <a:lnTo>
                  <a:pt x="5062930" y="929042"/>
                </a:lnTo>
                <a:cubicBezTo>
                  <a:pt x="5061754" y="930107"/>
                  <a:pt x="5060388" y="930777"/>
                  <a:pt x="5058614" y="930762"/>
                </a:cubicBezTo>
                <a:cubicBezTo>
                  <a:pt x="5042115" y="927031"/>
                  <a:pt x="5037419" y="919102"/>
                  <a:pt x="5040955" y="914759"/>
                </a:cubicBezTo>
                <a:lnTo>
                  <a:pt x="5042989" y="913809"/>
                </a:lnTo>
                <a:lnTo>
                  <a:pt x="5035672" y="901269"/>
                </a:lnTo>
                <a:cubicBezTo>
                  <a:pt x="5054600" y="900361"/>
                  <a:pt x="5051696" y="893487"/>
                  <a:pt x="5066196" y="891393"/>
                </a:cubicBezTo>
                <a:close/>
                <a:moveTo>
                  <a:pt x="4535535" y="890654"/>
                </a:moveTo>
                <a:cubicBezTo>
                  <a:pt x="4535830" y="891768"/>
                  <a:pt x="4536095" y="892990"/>
                  <a:pt x="4534596" y="893048"/>
                </a:cubicBezTo>
                <a:cubicBezTo>
                  <a:pt x="4534862" y="894270"/>
                  <a:pt x="4535168" y="894236"/>
                  <a:pt x="4533669" y="894294"/>
                </a:cubicBezTo>
                <a:cubicBezTo>
                  <a:pt x="4533098" y="893106"/>
                  <a:pt x="4532803" y="891992"/>
                  <a:pt x="4532537" y="890771"/>
                </a:cubicBezTo>
                <a:cubicBezTo>
                  <a:pt x="4533771" y="889491"/>
                  <a:pt x="4533771" y="889491"/>
                  <a:pt x="4535535" y="890654"/>
                </a:cubicBezTo>
                <a:close/>
                <a:moveTo>
                  <a:pt x="2154050" y="889933"/>
                </a:moveTo>
                <a:cubicBezTo>
                  <a:pt x="2157776" y="889035"/>
                  <a:pt x="2161866" y="889267"/>
                  <a:pt x="2163098" y="892416"/>
                </a:cubicBezTo>
                <a:cubicBezTo>
                  <a:pt x="2163781" y="896509"/>
                  <a:pt x="2155954" y="896942"/>
                  <a:pt x="2150917" y="895822"/>
                </a:cubicBezTo>
                <a:cubicBezTo>
                  <a:pt x="2149255" y="895377"/>
                  <a:pt x="2147901" y="894899"/>
                  <a:pt x="2147186" y="894247"/>
                </a:cubicBezTo>
                <a:cubicBezTo>
                  <a:pt x="2146963" y="892865"/>
                  <a:pt x="2150325" y="890833"/>
                  <a:pt x="2154050" y="889933"/>
                </a:cubicBezTo>
                <a:close/>
                <a:moveTo>
                  <a:pt x="4516791" y="889771"/>
                </a:moveTo>
                <a:lnTo>
                  <a:pt x="4517200" y="890456"/>
                </a:lnTo>
                <a:cubicBezTo>
                  <a:pt x="4516589" y="890522"/>
                  <a:pt x="4516256" y="890663"/>
                  <a:pt x="4516007" y="890481"/>
                </a:cubicBezTo>
                <a:close/>
                <a:moveTo>
                  <a:pt x="2208542" y="888837"/>
                </a:moveTo>
                <a:cubicBezTo>
                  <a:pt x="2208542" y="888837"/>
                  <a:pt x="2208809" y="890058"/>
                  <a:pt x="2206315" y="892725"/>
                </a:cubicBezTo>
                <a:cubicBezTo>
                  <a:pt x="2205772" y="891430"/>
                  <a:pt x="2204273" y="891488"/>
                  <a:pt x="2204273" y="891488"/>
                </a:cubicBezTo>
                <a:cubicBezTo>
                  <a:pt x="2204273" y="891488"/>
                  <a:pt x="2204244" y="891596"/>
                  <a:pt x="2204539" y="892709"/>
                </a:cubicBezTo>
                <a:cubicBezTo>
                  <a:pt x="2203490" y="892198"/>
                  <a:pt x="2203357" y="891588"/>
                  <a:pt x="2203501" y="891052"/>
                </a:cubicBezTo>
                <a:cubicBezTo>
                  <a:pt x="2203616" y="890622"/>
                  <a:pt x="2203978" y="890375"/>
                  <a:pt x="2203978" y="890375"/>
                </a:cubicBezTo>
                <a:cubicBezTo>
                  <a:pt x="2205240" y="888988"/>
                  <a:pt x="2206750" y="887782"/>
                  <a:pt x="2208542" y="888837"/>
                </a:cubicBezTo>
                <a:close/>
                <a:moveTo>
                  <a:pt x="2519186" y="888611"/>
                </a:moveTo>
                <a:cubicBezTo>
                  <a:pt x="2521362" y="888792"/>
                  <a:pt x="2523647" y="889950"/>
                  <a:pt x="2527241" y="892581"/>
                </a:cubicBezTo>
                <a:cubicBezTo>
                  <a:pt x="2527241" y="892581"/>
                  <a:pt x="2528252" y="894347"/>
                  <a:pt x="2528252" y="894347"/>
                </a:cubicBezTo>
                <a:cubicBezTo>
                  <a:pt x="2533523" y="900129"/>
                  <a:pt x="2534087" y="907985"/>
                  <a:pt x="2531604" y="909505"/>
                </a:cubicBezTo>
                <a:cubicBezTo>
                  <a:pt x="2529684" y="910026"/>
                  <a:pt x="2527050" y="909896"/>
                  <a:pt x="2524342" y="908939"/>
                </a:cubicBezTo>
                <a:cubicBezTo>
                  <a:pt x="2521880" y="908165"/>
                  <a:pt x="2519343" y="906566"/>
                  <a:pt x="2517646" y="904040"/>
                </a:cubicBezTo>
                <a:cubicBezTo>
                  <a:pt x="2513690" y="899991"/>
                  <a:pt x="2515175" y="895558"/>
                  <a:pt x="2511782" y="890509"/>
                </a:cubicBezTo>
                <a:cubicBezTo>
                  <a:pt x="2514943" y="889228"/>
                  <a:pt x="2517010" y="888431"/>
                  <a:pt x="2519186" y="888611"/>
                </a:cubicBezTo>
                <a:close/>
                <a:moveTo>
                  <a:pt x="2482847" y="887816"/>
                </a:moveTo>
                <a:cubicBezTo>
                  <a:pt x="2484622" y="887831"/>
                  <a:pt x="2486415" y="888887"/>
                  <a:pt x="2488190" y="888903"/>
                </a:cubicBezTo>
                <a:cubicBezTo>
                  <a:pt x="2488190" y="888903"/>
                  <a:pt x="2488572" y="889695"/>
                  <a:pt x="2489171" y="890776"/>
                </a:cubicBezTo>
                <a:cubicBezTo>
                  <a:pt x="2489495" y="891782"/>
                  <a:pt x="2489732" y="893111"/>
                  <a:pt x="2489006" y="893606"/>
                </a:cubicBezTo>
                <a:cubicBezTo>
                  <a:pt x="2488385" y="894820"/>
                  <a:pt x="2486666" y="894589"/>
                  <a:pt x="2484759" y="893963"/>
                </a:cubicBezTo>
                <a:cubicBezTo>
                  <a:pt x="2483126" y="893411"/>
                  <a:pt x="2481277" y="892571"/>
                  <a:pt x="2480389" y="892562"/>
                </a:cubicBezTo>
                <a:cubicBezTo>
                  <a:pt x="2479368" y="891944"/>
                  <a:pt x="2478624" y="891399"/>
                  <a:pt x="2477910" y="890748"/>
                </a:cubicBezTo>
                <a:cubicBezTo>
                  <a:pt x="2477470" y="890171"/>
                  <a:pt x="2477338" y="889559"/>
                  <a:pt x="2478092" y="888957"/>
                </a:cubicBezTo>
                <a:cubicBezTo>
                  <a:pt x="2479572" y="887858"/>
                  <a:pt x="2479307" y="886638"/>
                  <a:pt x="2482847" y="887816"/>
                </a:cubicBezTo>
                <a:close/>
                <a:moveTo>
                  <a:pt x="1333229" y="886026"/>
                </a:moveTo>
                <a:cubicBezTo>
                  <a:pt x="1334297" y="887577"/>
                  <a:pt x="1335019" y="890416"/>
                  <a:pt x="1334576" y="893172"/>
                </a:cubicBezTo>
                <a:lnTo>
                  <a:pt x="1330332" y="899050"/>
                </a:lnTo>
                <a:lnTo>
                  <a:pt x="1343751" y="899886"/>
                </a:lnTo>
                <a:cubicBezTo>
                  <a:pt x="1349619" y="901228"/>
                  <a:pt x="1354704" y="903280"/>
                  <a:pt x="1359310" y="906010"/>
                </a:cubicBezTo>
                <a:cubicBezTo>
                  <a:pt x="1374180" y="914709"/>
                  <a:pt x="1381724" y="929725"/>
                  <a:pt x="1376049" y="943155"/>
                </a:cubicBezTo>
                <a:cubicBezTo>
                  <a:pt x="1373691" y="943099"/>
                  <a:pt x="1371333" y="943042"/>
                  <a:pt x="1371762" y="944767"/>
                </a:cubicBezTo>
                <a:cubicBezTo>
                  <a:pt x="1365796" y="944893"/>
                  <a:pt x="1360090" y="944054"/>
                  <a:pt x="1354613" y="942357"/>
                </a:cubicBezTo>
                <a:cubicBezTo>
                  <a:pt x="1338431" y="937445"/>
                  <a:pt x="1325063" y="925353"/>
                  <a:pt x="1322291" y="913571"/>
                </a:cubicBezTo>
                <a:cubicBezTo>
                  <a:pt x="1321510" y="910946"/>
                  <a:pt x="1321341" y="908257"/>
                  <a:pt x="1322003" y="905788"/>
                </a:cubicBezTo>
                <a:lnTo>
                  <a:pt x="1324978" y="899110"/>
                </a:lnTo>
                <a:lnTo>
                  <a:pt x="1322793" y="898410"/>
                </a:lnTo>
                <a:cubicBezTo>
                  <a:pt x="1317881" y="895714"/>
                  <a:pt x="1318028" y="891843"/>
                  <a:pt x="1321125" y="886923"/>
                </a:cubicBezTo>
                <a:cubicBezTo>
                  <a:pt x="1324924" y="887136"/>
                  <a:pt x="1327845" y="886194"/>
                  <a:pt x="1333229" y="886026"/>
                </a:cubicBezTo>
                <a:close/>
                <a:moveTo>
                  <a:pt x="4974349" y="885527"/>
                </a:moveTo>
                <a:cubicBezTo>
                  <a:pt x="4969766" y="894880"/>
                  <a:pt x="4961799" y="910225"/>
                  <a:pt x="4949750" y="914242"/>
                </a:cubicBezTo>
                <a:lnTo>
                  <a:pt x="4949074" y="912335"/>
                </a:lnTo>
                <a:lnTo>
                  <a:pt x="4943641" y="914904"/>
                </a:lnTo>
                <a:cubicBezTo>
                  <a:pt x="4939501" y="912646"/>
                  <a:pt x="4940449" y="909105"/>
                  <a:pt x="4938380" y="907975"/>
                </a:cubicBezTo>
                <a:cubicBezTo>
                  <a:pt x="4940185" y="907884"/>
                  <a:pt x="4943487" y="907733"/>
                  <a:pt x="4944453" y="905232"/>
                </a:cubicBezTo>
                <a:lnTo>
                  <a:pt x="4947209" y="907121"/>
                </a:lnTo>
                <a:lnTo>
                  <a:pt x="4946344" y="904818"/>
                </a:lnTo>
                <a:cubicBezTo>
                  <a:pt x="4948873" y="895377"/>
                  <a:pt x="4966321" y="886711"/>
                  <a:pt x="4974349" y="885527"/>
                </a:cubicBezTo>
                <a:close/>
                <a:moveTo>
                  <a:pt x="4668605" y="885455"/>
                </a:moveTo>
                <a:cubicBezTo>
                  <a:pt x="4670322" y="884852"/>
                  <a:pt x="4673383" y="885328"/>
                  <a:pt x="4677692" y="885850"/>
                </a:cubicBezTo>
                <a:cubicBezTo>
                  <a:pt x="4678394" y="890982"/>
                  <a:pt x="4674670" y="891594"/>
                  <a:pt x="4667569" y="891532"/>
                </a:cubicBezTo>
                <a:cubicBezTo>
                  <a:pt x="4666510" y="887740"/>
                  <a:pt x="4666886" y="886059"/>
                  <a:pt x="4668605" y="885455"/>
                </a:cubicBezTo>
                <a:close/>
                <a:moveTo>
                  <a:pt x="5508687" y="884721"/>
                </a:moveTo>
                <a:cubicBezTo>
                  <a:pt x="5509966" y="884374"/>
                  <a:pt x="5511131" y="884456"/>
                  <a:pt x="5512456" y="885041"/>
                </a:cubicBezTo>
                <a:cubicBezTo>
                  <a:pt x="5514221" y="886203"/>
                  <a:pt x="5512740" y="887302"/>
                  <a:pt x="5512730" y="888449"/>
                </a:cubicBezTo>
                <a:cubicBezTo>
                  <a:pt x="5511515" y="890769"/>
                  <a:pt x="5500278" y="893967"/>
                  <a:pt x="5498541" y="892698"/>
                </a:cubicBezTo>
                <a:cubicBezTo>
                  <a:pt x="5500702" y="890172"/>
                  <a:pt x="5504572" y="885688"/>
                  <a:pt x="5508687" y="884721"/>
                </a:cubicBezTo>
                <a:close/>
                <a:moveTo>
                  <a:pt x="1840777" y="884481"/>
                </a:moveTo>
                <a:cubicBezTo>
                  <a:pt x="1840777" y="884481"/>
                  <a:pt x="1840777" y="884481"/>
                  <a:pt x="1831915" y="888776"/>
                </a:cubicBezTo>
                <a:cubicBezTo>
                  <a:pt x="1831258" y="887911"/>
                  <a:pt x="1831402" y="887375"/>
                  <a:pt x="1832098" y="886986"/>
                </a:cubicBezTo>
                <a:cubicBezTo>
                  <a:pt x="1832796" y="886598"/>
                  <a:pt x="1833770" y="886284"/>
                  <a:pt x="1834743" y="885969"/>
                </a:cubicBezTo>
                <a:cubicBezTo>
                  <a:pt x="1836940" y="885523"/>
                  <a:pt x="1838858" y="885002"/>
                  <a:pt x="1840777" y="884481"/>
                </a:cubicBezTo>
                <a:close/>
                <a:moveTo>
                  <a:pt x="1870241" y="884096"/>
                </a:moveTo>
                <a:cubicBezTo>
                  <a:pt x="1871405" y="884178"/>
                  <a:pt x="1872454" y="884689"/>
                  <a:pt x="1872836" y="885481"/>
                </a:cubicBezTo>
                <a:cubicBezTo>
                  <a:pt x="1869943" y="886316"/>
                  <a:pt x="1866734" y="888332"/>
                  <a:pt x="1862687" y="887937"/>
                </a:cubicBezTo>
                <a:cubicBezTo>
                  <a:pt x="1861523" y="887855"/>
                  <a:pt x="1860167" y="887377"/>
                  <a:pt x="1858623" y="886503"/>
                </a:cubicBezTo>
                <a:cubicBezTo>
                  <a:pt x="1861515" y="885668"/>
                  <a:pt x="1866806" y="883635"/>
                  <a:pt x="1870241" y="884096"/>
                </a:cubicBezTo>
                <a:close/>
                <a:moveTo>
                  <a:pt x="4772774" y="884071"/>
                </a:moveTo>
                <a:cubicBezTo>
                  <a:pt x="4774090" y="885804"/>
                  <a:pt x="4774406" y="884623"/>
                  <a:pt x="4776009" y="885283"/>
                </a:cubicBezTo>
                <a:cubicBezTo>
                  <a:pt x="4774090" y="885804"/>
                  <a:pt x="4773141" y="889345"/>
                  <a:pt x="4770906" y="891045"/>
                </a:cubicBezTo>
                <a:cubicBezTo>
                  <a:pt x="4769275" y="890493"/>
                  <a:pt x="4767327" y="891122"/>
                  <a:pt x="4765695" y="890569"/>
                </a:cubicBezTo>
                <a:cubicBezTo>
                  <a:pt x="4766011" y="889389"/>
                  <a:pt x="4765318" y="886443"/>
                  <a:pt x="4766921" y="887103"/>
                </a:cubicBezTo>
                <a:cubicBezTo>
                  <a:pt x="4767237" y="885923"/>
                  <a:pt x="4770195" y="887060"/>
                  <a:pt x="4770195" y="887060"/>
                </a:cubicBezTo>
                <a:cubicBezTo>
                  <a:pt x="4770511" y="885880"/>
                  <a:pt x="4771132" y="884667"/>
                  <a:pt x="4772774" y="884071"/>
                </a:cubicBezTo>
                <a:close/>
                <a:moveTo>
                  <a:pt x="4682123" y="883701"/>
                </a:moveTo>
                <a:cubicBezTo>
                  <a:pt x="4693529" y="892048"/>
                  <a:pt x="4706128" y="900369"/>
                  <a:pt x="4702761" y="907403"/>
                </a:cubicBezTo>
                <a:cubicBezTo>
                  <a:pt x="4700622" y="907634"/>
                  <a:pt x="4698132" y="906967"/>
                  <a:pt x="4695757" y="905870"/>
                </a:cubicBezTo>
                <a:cubicBezTo>
                  <a:pt x="4688850" y="902870"/>
                  <a:pt x="4682178" y="895677"/>
                  <a:pt x="4678756" y="890734"/>
                </a:cubicBezTo>
                <a:cubicBezTo>
                  <a:pt x="4681689" y="888645"/>
                  <a:pt x="4679439" y="885972"/>
                  <a:pt x="4682123" y="883701"/>
                </a:cubicBezTo>
                <a:close/>
                <a:moveTo>
                  <a:pt x="2219219" y="883303"/>
                </a:moveTo>
                <a:cubicBezTo>
                  <a:pt x="2218252" y="885804"/>
                  <a:pt x="2212196" y="889587"/>
                  <a:pt x="2208599" y="888623"/>
                </a:cubicBezTo>
                <a:cubicBezTo>
                  <a:pt x="2209538" y="886229"/>
                  <a:pt x="2211047" y="885024"/>
                  <a:pt x="2212279" y="883744"/>
                </a:cubicBezTo>
                <a:cubicBezTo>
                  <a:pt x="2213524" y="881317"/>
                  <a:pt x="2215051" y="881151"/>
                  <a:pt x="2219219" y="883303"/>
                </a:cubicBezTo>
                <a:close/>
                <a:moveTo>
                  <a:pt x="4515299" y="883162"/>
                </a:moveTo>
                <a:cubicBezTo>
                  <a:pt x="4516797" y="883104"/>
                  <a:pt x="4517075" y="883178"/>
                  <a:pt x="4518868" y="884233"/>
                </a:cubicBezTo>
                <a:cubicBezTo>
                  <a:pt x="4520366" y="884175"/>
                  <a:pt x="4518710" y="889251"/>
                  <a:pt x="4519004" y="890364"/>
                </a:cubicBezTo>
                <a:cubicBezTo>
                  <a:pt x="4517476" y="890530"/>
                  <a:pt x="4517200" y="890456"/>
                  <a:pt x="4516934" y="889236"/>
                </a:cubicBezTo>
                <a:lnTo>
                  <a:pt x="4516791" y="889771"/>
                </a:lnTo>
                <a:lnTo>
                  <a:pt x="4514569" y="886991"/>
                </a:lnTo>
                <a:cubicBezTo>
                  <a:pt x="4514581" y="885844"/>
                  <a:pt x="4514954" y="884449"/>
                  <a:pt x="4515299" y="883162"/>
                </a:cubicBezTo>
                <a:close/>
                <a:moveTo>
                  <a:pt x="2183222" y="880817"/>
                </a:moveTo>
                <a:cubicBezTo>
                  <a:pt x="2186713" y="880659"/>
                  <a:pt x="2190293" y="881130"/>
                  <a:pt x="2192181" y="882383"/>
                </a:cubicBezTo>
                <a:cubicBezTo>
                  <a:pt x="2192333" y="884034"/>
                  <a:pt x="2192759" y="885758"/>
                  <a:pt x="2192911" y="887409"/>
                </a:cubicBezTo>
                <a:cubicBezTo>
                  <a:pt x="2189540" y="888921"/>
                  <a:pt x="2185454" y="889781"/>
                  <a:pt x="2182048" y="889213"/>
                </a:cubicBezTo>
                <a:cubicBezTo>
                  <a:pt x="2178641" y="888646"/>
                  <a:pt x="2175607" y="886683"/>
                  <a:pt x="2174810" y="883019"/>
                </a:cubicBezTo>
                <a:cubicBezTo>
                  <a:pt x="2176334" y="881759"/>
                  <a:pt x="2179732" y="880974"/>
                  <a:pt x="2183222" y="880817"/>
                </a:cubicBezTo>
                <a:close/>
                <a:moveTo>
                  <a:pt x="1070396" y="879657"/>
                </a:moveTo>
                <a:cubicBezTo>
                  <a:pt x="1074204" y="878722"/>
                  <a:pt x="1077439" y="879933"/>
                  <a:pt x="1078477" y="881591"/>
                </a:cubicBezTo>
                <a:cubicBezTo>
                  <a:pt x="1089812" y="894634"/>
                  <a:pt x="1079839" y="901967"/>
                  <a:pt x="1080562" y="904806"/>
                </a:cubicBezTo>
                <a:cubicBezTo>
                  <a:pt x="1077697" y="905532"/>
                  <a:pt x="1076142" y="905806"/>
                  <a:pt x="1074596" y="904932"/>
                </a:cubicBezTo>
                <a:cubicBezTo>
                  <a:pt x="1072802" y="903877"/>
                  <a:pt x="1071020" y="901674"/>
                  <a:pt x="1067485" y="897162"/>
                </a:cubicBezTo>
                <a:cubicBezTo>
                  <a:pt x="1066170" y="895428"/>
                  <a:pt x="1065465" y="893630"/>
                  <a:pt x="1065343" y="891872"/>
                </a:cubicBezTo>
                <a:cubicBezTo>
                  <a:pt x="1065498" y="890189"/>
                  <a:pt x="1066234" y="888545"/>
                  <a:pt x="1067496" y="887160"/>
                </a:cubicBezTo>
                <a:cubicBezTo>
                  <a:pt x="1066744" y="884427"/>
                  <a:pt x="1067913" y="881176"/>
                  <a:pt x="1070396" y="879657"/>
                </a:cubicBezTo>
                <a:close/>
                <a:moveTo>
                  <a:pt x="1412187" y="879122"/>
                </a:moveTo>
                <a:cubicBezTo>
                  <a:pt x="1426626" y="880576"/>
                  <a:pt x="1440202" y="885249"/>
                  <a:pt x="1441844" y="893510"/>
                </a:cubicBezTo>
                <a:lnTo>
                  <a:pt x="1431987" y="891558"/>
                </a:lnTo>
                <a:lnTo>
                  <a:pt x="1426898" y="892840"/>
                </a:lnTo>
                <a:cubicBezTo>
                  <a:pt x="1421982" y="893478"/>
                  <a:pt x="1416133" y="893174"/>
                  <a:pt x="1411590" y="892418"/>
                </a:cubicBezTo>
                <a:lnTo>
                  <a:pt x="1409474" y="890356"/>
                </a:lnTo>
                <a:lnTo>
                  <a:pt x="1393918" y="889753"/>
                </a:lnTo>
                <a:cubicBezTo>
                  <a:pt x="1391341" y="889408"/>
                  <a:pt x="1388516" y="888881"/>
                  <a:pt x="1385806" y="887924"/>
                </a:cubicBezTo>
                <a:cubicBezTo>
                  <a:pt x="1383069" y="887075"/>
                  <a:pt x="1380387" y="886012"/>
                  <a:pt x="1377545" y="884445"/>
                </a:cubicBezTo>
                <a:cubicBezTo>
                  <a:pt x="1382695" y="879615"/>
                  <a:pt x="1397719" y="877776"/>
                  <a:pt x="1412187" y="879122"/>
                </a:cubicBezTo>
                <a:close/>
                <a:moveTo>
                  <a:pt x="4739128" y="877931"/>
                </a:moveTo>
                <a:cubicBezTo>
                  <a:pt x="4746096" y="877383"/>
                  <a:pt x="4760873" y="884218"/>
                  <a:pt x="4743631" y="888797"/>
                </a:cubicBezTo>
                <a:cubicBezTo>
                  <a:pt x="4733799" y="881218"/>
                  <a:pt x="4735186" y="878254"/>
                  <a:pt x="4739128" y="877931"/>
                </a:cubicBezTo>
                <a:close/>
                <a:moveTo>
                  <a:pt x="2508549" y="877395"/>
                </a:moveTo>
                <a:cubicBezTo>
                  <a:pt x="2512375" y="876953"/>
                  <a:pt x="2516869" y="877612"/>
                  <a:pt x="2519763" y="879538"/>
                </a:cubicBezTo>
                <a:cubicBezTo>
                  <a:pt x="2512184" y="880152"/>
                  <a:pt x="2509737" y="883751"/>
                  <a:pt x="2505939" y="883539"/>
                </a:cubicBezTo>
                <a:cubicBezTo>
                  <a:pt x="2504746" y="883563"/>
                  <a:pt x="2503115" y="883011"/>
                  <a:pt x="2501350" y="881848"/>
                </a:cubicBezTo>
                <a:cubicBezTo>
                  <a:pt x="2501568" y="879377"/>
                  <a:pt x="2504724" y="877836"/>
                  <a:pt x="2508549" y="877395"/>
                </a:cubicBezTo>
                <a:close/>
                <a:moveTo>
                  <a:pt x="2354100" y="876606"/>
                </a:moveTo>
                <a:cubicBezTo>
                  <a:pt x="2359340" y="876141"/>
                  <a:pt x="2364647" y="877362"/>
                  <a:pt x="2368980" y="881111"/>
                </a:cubicBezTo>
                <a:cubicBezTo>
                  <a:pt x="2367629" y="886154"/>
                  <a:pt x="2365114" y="891115"/>
                  <a:pt x="2360996" y="895417"/>
                </a:cubicBezTo>
                <a:lnTo>
                  <a:pt x="2342173" y="905898"/>
                </a:lnTo>
                <a:lnTo>
                  <a:pt x="2346294" y="907117"/>
                </a:lnTo>
                <a:cubicBezTo>
                  <a:pt x="2350740" y="909344"/>
                  <a:pt x="2353866" y="913171"/>
                  <a:pt x="2354279" y="919378"/>
                </a:cubicBezTo>
                <a:cubicBezTo>
                  <a:pt x="2355364" y="921968"/>
                  <a:pt x="2354124" y="921061"/>
                  <a:pt x="2354275" y="922711"/>
                </a:cubicBezTo>
                <a:cubicBezTo>
                  <a:pt x="2354045" y="923570"/>
                  <a:pt x="2354369" y="924577"/>
                  <a:pt x="2354970" y="925657"/>
                </a:cubicBezTo>
                <a:lnTo>
                  <a:pt x="2356227" y="927604"/>
                </a:lnTo>
                <a:lnTo>
                  <a:pt x="2357279" y="924781"/>
                </a:lnTo>
                <a:cubicBezTo>
                  <a:pt x="2359766" y="919927"/>
                  <a:pt x="2363885" y="915626"/>
                  <a:pt x="2370989" y="912354"/>
                </a:cubicBezTo>
                <a:cubicBezTo>
                  <a:pt x="2380727" y="926924"/>
                  <a:pt x="2362878" y="937092"/>
                  <a:pt x="2351975" y="940150"/>
                </a:cubicBezTo>
                <a:lnTo>
                  <a:pt x="2356112" y="928033"/>
                </a:lnTo>
                <a:lnTo>
                  <a:pt x="2347825" y="930183"/>
                </a:lnTo>
                <a:cubicBezTo>
                  <a:pt x="2345486" y="931166"/>
                  <a:pt x="2342534" y="932215"/>
                  <a:pt x="2336045" y="932086"/>
                </a:cubicBezTo>
                <a:cubicBezTo>
                  <a:pt x="2331855" y="932230"/>
                  <a:pt x="2328419" y="931769"/>
                  <a:pt x="2325376" y="930954"/>
                </a:cubicBezTo>
                <a:lnTo>
                  <a:pt x="2323277" y="929931"/>
                </a:lnTo>
                <a:lnTo>
                  <a:pt x="2323992" y="930583"/>
                </a:lnTo>
                <a:cubicBezTo>
                  <a:pt x="2327090" y="934517"/>
                  <a:pt x="2329414" y="938015"/>
                  <a:pt x="2328678" y="939658"/>
                </a:cubicBezTo>
                <a:cubicBezTo>
                  <a:pt x="2327019" y="939213"/>
                  <a:pt x="2325329" y="938875"/>
                  <a:pt x="2323680" y="937283"/>
                </a:cubicBezTo>
                <a:cubicBezTo>
                  <a:pt x="2322306" y="935766"/>
                  <a:pt x="2323968" y="936211"/>
                  <a:pt x="2322278" y="935872"/>
                </a:cubicBezTo>
                <a:cubicBezTo>
                  <a:pt x="2320629" y="934281"/>
                  <a:pt x="2320618" y="935428"/>
                  <a:pt x="2320618" y="935428"/>
                </a:cubicBezTo>
                <a:cubicBezTo>
                  <a:pt x="2320618" y="935428"/>
                  <a:pt x="2320629" y="934281"/>
                  <a:pt x="2320629" y="934281"/>
                </a:cubicBezTo>
                <a:cubicBezTo>
                  <a:pt x="2320629" y="934281"/>
                  <a:pt x="2320629" y="934281"/>
                  <a:pt x="2317330" y="931097"/>
                </a:cubicBezTo>
                <a:cubicBezTo>
                  <a:pt x="2312619" y="927650"/>
                  <a:pt x="2310958" y="927205"/>
                  <a:pt x="2307620" y="925275"/>
                </a:cubicBezTo>
                <a:cubicBezTo>
                  <a:pt x="2304598" y="922166"/>
                  <a:pt x="2304637" y="920911"/>
                  <a:pt x="2301350" y="916580"/>
                </a:cubicBezTo>
                <a:cubicBezTo>
                  <a:pt x="2303337" y="914697"/>
                  <a:pt x="2303337" y="914697"/>
                  <a:pt x="2305026" y="915035"/>
                </a:cubicBezTo>
                <a:cubicBezTo>
                  <a:pt x="2303337" y="914697"/>
                  <a:pt x="2303377" y="913443"/>
                  <a:pt x="2301727" y="911851"/>
                </a:cubicBezTo>
                <a:cubicBezTo>
                  <a:pt x="2293707" y="906367"/>
                  <a:pt x="2297444" y="901273"/>
                  <a:pt x="2304282" y="896781"/>
                </a:cubicBezTo>
                <a:cubicBezTo>
                  <a:pt x="2305931" y="898373"/>
                  <a:pt x="2309371" y="895499"/>
                  <a:pt x="2312730" y="895134"/>
                </a:cubicBezTo>
                <a:cubicBezTo>
                  <a:pt x="2317769" y="896254"/>
                  <a:pt x="2320870" y="896855"/>
                  <a:pt x="2324168" y="900039"/>
                </a:cubicBezTo>
                <a:lnTo>
                  <a:pt x="2326950" y="905155"/>
                </a:lnTo>
                <a:lnTo>
                  <a:pt x="2330149" y="904287"/>
                </a:lnTo>
                <a:lnTo>
                  <a:pt x="2328251" y="902513"/>
                </a:lnTo>
                <a:cubicBezTo>
                  <a:pt x="2330169" y="901992"/>
                  <a:pt x="2332118" y="901364"/>
                  <a:pt x="2330486" y="900812"/>
                </a:cubicBezTo>
                <a:lnTo>
                  <a:pt x="2335259" y="900710"/>
                </a:lnTo>
                <a:lnTo>
                  <a:pt x="2332340" y="898318"/>
                </a:lnTo>
                <a:lnTo>
                  <a:pt x="2332420" y="895810"/>
                </a:lnTo>
                <a:lnTo>
                  <a:pt x="2330684" y="894539"/>
                </a:lnTo>
                <a:cubicBezTo>
                  <a:pt x="2329864" y="893171"/>
                  <a:pt x="2329904" y="891916"/>
                  <a:pt x="2329904" y="891916"/>
                </a:cubicBezTo>
                <a:cubicBezTo>
                  <a:pt x="2329904" y="891916"/>
                  <a:pt x="2329904" y="891916"/>
                  <a:pt x="2328815" y="892660"/>
                </a:cubicBezTo>
                <a:lnTo>
                  <a:pt x="2334634" y="887548"/>
                </a:lnTo>
                <a:lnTo>
                  <a:pt x="2339622" y="882214"/>
                </a:lnTo>
                <a:cubicBezTo>
                  <a:pt x="2343687" y="879221"/>
                  <a:pt x="2348860" y="877070"/>
                  <a:pt x="2354100" y="876606"/>
                </a:cubicBezTo>
                <a:close/>
                <a:moveTo>
                  <a:pt x="5579735" y="875237"/>
                </a:moveTo>
                <a:cubicBezTo>
                  <a:pt x="5581844" y="875113"/>
                  <a:pt x="5583897" y="875203"/>
                  <a:pt x="5586081" y="875903"/>
                </a:cubicBezTo>
                <a:cubicBezTo>
                  <a:pt x="5586081" y="875903"/>
                  <a:pt x="5586387" y="875870"/>
                  <a:pt x="5584612" y="875854"/>
                </a:cubicBezTo>
                <a:cubicBezTo>
                  <a:pt x="5584612" y="875854"/>
                  <a:pt x="5586110" y="875795"/>
                  <a:pt x="5586376" y="877017"/>
                </a:cubicBezTo>
                <a:cubicBezTo>
                  <a:pt x="5578107" y="880207"/>
                  <a:pt x="5564527" y="878868"/>
                  <a:pt x="5562752" y="878852"/>
                </a:cubicBezTo>
                <a:cubicBezTo>
                  <a:pt x="5562486" y="877631"/>
                  <a:pt x="5562792" y="877597"/>
                  <a:pt x="5562792" y="877597"/>
                </a:cubicBezTo>
                <a:cubicBezTo>
                  <a:pt x="5567859" y="878610"/>
                  <a:pt x="5573684" y="875686"/>
                  <a:pt x="5579735" y="875237"/>
                </a:cubicBezTo>
                <a:close/>
                <a:moveTo>
                  <a:pt x="4620095" y="875017"/>
                </a:moveTo>
                <a:cubicBezTo>
                  <a:pt x="4621726" y="875568"/>
                  <a:pt x="4623329" y="876228"/>
                  <a:pt x="4623616" y="875156"/>
                </a:cubicBezTo>
                <a:cubicBezTo>
                  <a:pt x="4625970" y="878545"/>
                  <a:pt x="4625683" y="879618"/>
                  <a:pt x="4626693" y="881384"/>
                </a:cubicBezTo>
                <a:cubicBezTo>
                  <a:pt x="4627285" y="880279"/>
                  <a:pt x="4628324" y="881936"/>
                  <a:pt x="4628324" y="881936"/>
                </a:cubicBezTo>
                <a:cubicBezTo>
                  <a:pt x="4628324" y="881936"/>
                  <a:pt x="4628324" y="881936"/>
                  <a:pt x="4632438" y="880969"/>
                </a:cubicBezTo>
                <a:cubicBezTo>
                  <a:pt x="4632438" y="880969"/>
                  <a:pt x="4641994" y="879619"/>
                  <a:pt x="4647999" y="887093"/>
                </a:cubicBezTo>
                <a:cubicBezTo>
                  <a:pt x="4646080" y="887614"/>
                  <a:pt x="4653112" y="897893"/>
                  <a:pt x="4648117" y="901040"/>
                </a:cubicBezTo>
                <a:cubicBezTo>
                  <a:pt x="4645882" y="902741"/>
                  <a:pt x="4643963" y="903262"/>
                  <a:pt x="4641480" y="904782"/>
                </a:cubicBezTo>
                <a:cubicBezTo>
                  <a:pt x="4639047" y="903900"/>
                  <a:pt x="4636413" y="903769"/>
                  <a:pt x="4633369" y="902954"/>
                </a:cubicBezTo>
                <a:cubicBezTo>
                  <a:pt x="4630354" y="902030"/>
                  <a:pt x="4626930" y="900423"/>
                  <a:pt x="4622973" y="896373"/>
                </a:cubicBezTo>
                <a:cubicBezTo>
                  <a:pt x="4615653" y="887167"/>
                  <a:pt x="4625812" y="883563"/>
                  <a:pt x="4624486" y="882978"/>
                </a:cubicBezTo>
                <a:cubicBezTo>
                  <a:pt x="4623171" y="881246"/>
                  <a:pt x="4623171" y="881246"/>
                  <a:pt x="4621568" y="880586"/>
                </a:cubicBezTo>
                <a:cubicBezTo>
                  <a:pt x="4622133" y="879588"/>
                  <a:pt x="4621410" y="876749"/>
                  <a:pt x="4620095" y="875017"/>
                </a:cubicBezTo>
                <a:close/>
                <a:moveTo>
                  <a:pt x="5552219" y="874995"/>
                </a:moveTo>
                <a:cubicBezTo>
                  <a:pt x="5552219" y="874995"/>
                  <a:pt x="5552219" y="874995"/>
                  <a:pt x="5553984" y="876157"/>
                </a:cubicBezTo>
                <a:cubicBezTo>
                  <a:pt x="5551321" y="876134"/>
                  <a:pt x="5550020" y="878776"/>
                  <a:pt x="5548130" y="879189"/>
                </a:cubicBezTo>
                <a:cubicBezTo>
                  <a:pt x="5547519" y="879255"/>
                  <a:pt x="5546660" y="879141"/>
                  <a:pt x="5545639" y="878521"/>
                </a:cubicBezTo>
                <a:cubicBezTo>
                  <a:pt x="5547149" y="877316"/>
                  <a:pt x="5550710" y="876201"/>
                  <a:pt x="5552219" y="874995"/>
                </a:cubicBezTo>
                <a:close/>
                <a:moveTo>
                  <a:pt x="2028067" y="873945"/>
                </a:moveTo>
                <a:cubicBezTo>
                  <a:pt x="2035459" y="878456"/>
                  <a:pt x="2039555" y="885303"/>
                  <a:pt x="2030905" y="887701"/>
                </a:cubicBezTo>
                <a:cubicBezTo>
                  <a:pt x="2026127" y="885615"/>
                  <a:pt x="2020427" y="878108"/>
                  <a:pt x="2021843" y="875037"/>
                </a:cubicBezTo>
                <a:cubicBezTo>
                  <a:pt x="2024010" y="874698"/>
                  <a:pt x="2026176" y="874358"/>
                  <a:pt x="2028067" y="873945"/>
                </a:cubicBezTo>
                <a:close/>
                <a:moveTo>
                  <a:pt x="5045750" y="872789"/>
                </a:moveTo>
                <a:cubicBezTo>
                  <a:pt x="5053633" y="871869"/>
                  <a:pt x="5061674" y="872298"/>
                  <a:pt x="5064641" y="873955"/>
                </a:cubicBezTo>
                <a:cubicBezTo>
                  <a:pt x="5060667" y="877721"/>
                  <a:pt x="5053766" y="876906"/>
                  <a:pt x="5048236" y="880944"/>
                </a:cubicBezTo>
                <a:cubicBezTo>
                  <a:pt x="5042598" y="878744"/>
                  <a:pt x="5035263" y="882874"/>
                  <a:pt x="5027803" y="879724"/>
                </a:cubicBezTo>
                <a:cubicBezTo>
                  <a:pt x="5030141" y="875981"/>
                  <a:pt x="5037867" y="873710"/>
                  <a:pt x="5045750" y="872789"/>
                </a:cubicBezTo>
                <a:close/>
                <a:moveTo>
                  <a:pt x="2108394" y="871893"/>
                </a:moveTo>
                <a:cubicBezTo>
                  <a:pt x="2111886" y="872138"/>
                  <a:pt x="2115341" y="873639"/>
                  <a:pt x="2118773" y="877434"/>
                </a:cubicBezTo>
                <a:cubicBezTo>
                  <a:pt x="2117816" y="878787"/>
                  <a:pt x="2116947" y="879820"/>
                  <a:pt x="2116162" y="880530"/>
                </a:cubicBezTo>
                <a:lnTo>
                  <a:pt x="2115246" y="880629"/>
                </a:lnTo>
                <a:lnTo>
                  <a:pt x="2116210" y="881462"/>
                </a:lnTo>
                <a:cubicBezTo>
                  <a:pt x="2117163" y="883442"/>
                  <a:pt x="2117913" y="886174"/>
                  <a:pt x="2118129" y="889796"/>
                </a:cubicBezTo>
                <a:lnTo>
                  <a:pt x="2117453" y="896745"/>
                </a:lnTo>
                <a:lnTo>
                  <a:pt x="2123637" y="896907"/>
                </a:lnTo>
                <a:cubicBezTo>
                  <a:pt x="2125122" y="901330"/>
                  <a:pt x="2125696" y="916894"/>
                  <a:pt x="2116583" y="915488"/>
                </a:cubicBezTo>
                <a:cubicBezTo>
                  <a:pt x="2115171" y="915224"/>
                  <a:pt x="2113816" y="914746"/>
                  <a:pt x="2112022" y="913691"/>
                </a:cubicBezTo>
                <a:cubicBezTo>
                  <a:pt x="2113247" y="910224"/>
                  <a:pt x="2113338" y="906568"/>
                  <a:pt x="2113313" y="903342"/>
                </a:cubicBezTo>
                <a:lnTo>
                  <a:pt x="2115580" y="898198"/>
                </a:lnTo>
                <a:lnTo>
                  <a:pt x="2106197" y="898905"/>
                </a:lnTo>
                <a:cubicBezTo>
                  <a:pt x="2097045" y="898752"/>
                  <a:pt x="2092686" y="896204"/>
                  <a:pt x="2091802" y="892863"/>
                </a:cubicBezTo>
                <a:cubicBezTo>
                  <a:pt x="2090329" y="887293"/>
                  <a:pt x="2097754" y="879506"/>
                  <a:pt x="2105123" y="877457"/>
                </a:cubicBezTo>
                <a:lnTo>
                  <a:pt x="2105428" y="877424"/>
                </a:lnTo>
                <a:lnTo>
                  <a:pt x="2105641" y="875525"/>
                </a:lnTo>
                <a:cubicBezTo>
                  <a:pt x="2105127" y="874122"/>
                  <a:pt x="2105138" y="872975"/>
                  <a:pt x="2108394" y="871893"/>
                </a:cubicBezTo>
                <a:close/>
                <a:moveTo>
                  <a:pt x="5217744" y="870359"/>
                </a:moveTo>
                <a:cubicBezTo>
                  <a:pt x="5220724" y="869203"/>
                  <a:pt x="5224885" y="869167"/>
                  <a:pt x="5230085" y="870790"/>
                </a:cubicBezTo>
                <a:cubicBezTo>
                  <a:pt x="5235691" y="876433"/>
                  <a:pt x="5229758" y="881973"/>
                  <a:pt x="5227062" y="885391"/>
                </a:cubicBezTo>
                <a:cubicBezTo>
                  <a:pt x="5220623" y="882860"/>
                  <a:pt x="5213878" y="880363"/>
                  <a:pt x="5211305" y="876684"/>
                </a:cubicBezTo>
                <a:cubicBezTo>
                  <a:pt x="5212692" y="873720"/>
                  <a:pt x="5214489" y="871441"/>
                  <a:pt x="5217744" y="870359"/>
                </a:cubicBezTo>
                <a:close/>
                <a:moveTo>
                  <a:pt x="2563947" y="868491"/>
                </a:moveTo>
                <a:cubicBezTo>
                  <a:pt x="2567950" y="864619"/>
                  <a:pt x="2571547" y="865583"/>
                  <a:pt x="2577480" y="868897"/>
                </a:cubicBezTo>
                <a:cubicBezTo>
                  <a:pt x="2575148" y="872068"/>
                  <a:pt x="2573114" y="873018"/>
                  <a:pt x="2571120" y="872713"/>
                </a:cubicBezTo>
                <a:cubicBezTo>
                  <a:pt x="2569153" y="872301"/>
                  <a:pt x="2566922" y="870668"/>
                  <a:pt x="2563947" y="868491"/>
                </a:cubicBezTo>
                <a:close/>
                <a:moveTo>
                  <a:pt x="4539693" y="867388"/>
                </a:moveTo>
                <a:cubicBezTo>
                  <a:pt x="4536656" y="868760"/>
                  <a:pt x="4526019" y="873040"/>
                  <a:pt x="4522450" y="871968"/>
                </a:cubicBezTo>
                <a:cubicBezTo>
                  <a:pt x="4526720" y="869317"/>
                  <a:pt x="4537623" y="866259"/>
                  <a:pt x="4539693" y="867388"/>
                </a:cubicBezTo>
                <a:close/>
                <a:moveTo>
                  <a:pt x="4468293" y="867116"/>
                </a:moveTo>
                <a:cubicBezTo>
                  <a:pt x="4476284" y="863853"/>
                  <a:pt x="4493455" y="872824"/>
                  <a:pt x="4487213" y="881731"/>
                </a:cubicBezTo>
                <a:lnTo>
                  <a:pt x="4486907" y="881765"/>
                </a:lnTo>
                <a:lnTo>
                  <a:pt x="4488373" y="885147"/>
                </a:lnTo>
                <a:cubicBezTo>
                  <a:pt x="4488980" y="888415"/>
                  <a:pt x="4487956" y="891131"/>
                  <a:pt x="4482896" y="892305"/>
                </a:cubicBezTo>
                <a:cubicBezTo>
                  <a:pt x="4475396" y="890411"/>
                  <a:pt x="4471630" y="886757"/>
                  <a:pt x="4470527" y="883126"/>
                </a:cubicBezTo>
                <a:lnTo>
                  <a:pt x="4472594" y="878734"/>
                </a:lnTo>
                <a:lnTo>
                  <a:pt x="4464199" y="874645"/>
                </a:lnTo>
                <a:cubicBezTo>
                  <a:pt x="4463822" y="870519"/>
                  <a:pt x="4465371" y="868059"/>
                  <a:pt x="4468293" y="867116"/>
                </a:cubicBezTo>
                <a:close/>
                <a:moveTo>
                  <a:pt x="4808865" y="865596"/>
                </a:moveTo>
                <a:cubicBezTo>
                  <a:pt x="4817623" y="865009"/>
                  <a:pt x="4828144" y="867800"/>
                  <a:pt x="4835655" y="872975"/>
                </a:cubicBezTo>
                <a:cubicBezTo>
                  <a:pt x="4844668" y="879185"/>
                  <a:pt x="4849458" y="888979"/>
                  <a:pt x="4841390" y="900271"/>
                </a:cubicBezTo>
                <a:lnTo>
                  <a:pt x="4839338" y="900182"/>
                </a:lnTo>
                <a:lnTo>
                  <a:pt x="4846982" y="901540"/>
                </a:lnTo>
                <a:cubicBezTo>
                  <a:pt x="4848764" y="903743"/>
                  <a:pt x="4849105" y="905789"/>
                  <a:pt x="4848311" y="907647"/>
                </a:cubicBezTo>
                <a:lnTo>
                  <a:pt x="4846381" y="909314"/>
                </a:lnTo>
                <a:lnTo>
                  <a:pt x="4851039" y="909642"/>
                </a:lnTo>
                <a:cubicBezTo>
                  <a:pt x="4851617" y="913018"/>
                  <a:pt x="4853007" y="915575"/>
                  <a:pt x="4852346" y="918043"/>
                </a:cubicBezTo>
                <a:cubicBezTo>
                  <a:pt x="4848203" y="919117"/>
                  <a:pt x="4845379" y="918591"/>
                  <a:pt x="4843395" y="917139"/>
                </a:cubicBezTo>
                <a:lnTo>
                  <a:pt x="4841576" y="912856"/>
                </a:lnTo>
                <a:lnTo>
                  <a:pt x="4835456" y="914667"/>
                </a:lnTo>
                <a:cubicBezTo>
                  <a:pt x="4832679" y="915073"/>
                  <a:pt x="4829740" y="914976"/>
                  <a:pt x="4827001" y="914126"/>
                </a:cubicBezTo>
                <a:cubicBezTo>
                  <a:pt x="4824590" y="910951"/>
                  <a:pt x="4825481" y="907624"/>
                  <a:pt x="4827947" y="905065"/>
                </a:cubicBezTo>
                <a:lnTo>
                  <a:pt x="4838479" y="900067"/>
                </a:lnTo>
                <a:lnTo>
                  <a:pt x="4836427" y="899977"/>
                </a:lnTo>
                <a:lnTo>
                  <a:pt x="4835557" y="901010"/>
                </a:lnTo>
                <a:cubicBezTo>
                  <a:pt x="4834803" y="901612"/>
                  <a:pt x="4833276" y="901778"/>
                  <a:pt x="4831501" y="901761"/>
                </a:cubicBezTo>
                <a:lnTo>
                  <a:pt x="4829689" y="899666"/>
                </a:lnTo>
                <a:lnTo>
                  <a:pt x="4824144" y="899331"/>
                </a:lnTo>
                <a:lnTo>
                  <a:pt x="4808440" y="893743"/>
                </a:lnTo>
                <a:lnTo>
                  <a:pt x="4808373" y="895105"/>
                </a:lnTo>
                <a:cubicBezTo>
                  <a:pt x="4809343" y="898125"/>
                  <a:pt x="4810475" y="901648"/>
                  <a:pt x="4807244" y="905957"/>
                </a:cubicBezTo>
                <a:cubicBezTo>
                  <a:pt x="4805328" y="903145"/>
                  <a:pt x="4803966" y="900479"/>
                  <a:pt x="4803158" y="897963"/>
                </a:cubicBezTo>
                <a:lnTo>
                  <a:pt x="4802429" y="892938"/>
                </a:lnTo>
                <a:lnTo>
                  <a:pt x="4800089" y="893920"/>
                </a:lnTo>
                <a:cubicBezTo>
                  <a:pt x="4796880" y="895936"/>
                  <a:pt x="4793987" y="896771"/>
                  <a:pt x="4791382" y="896533"/>
                </a:cubicBezTo>
                <a:cubicBezTo>
                  <a:pt x="4788806" y="896187"/>
                  <a:pt x="4786516" y="894769"/>
                  <a:pt x="4784821" y="892244"/>
                </a:cubicBezTo>
                <a:cubicBezTo>
                  <a:pt x="4785108" y="891170"/>
                  <a:pt x="4787660" y="888290"/>
                  <a:pt x="4786028" y="887738"/>
                </a:cubicBezTo>
                <a:cubicBezTo>
                  <a:pt x="4788252" y="887183"/>
                  <a:pt x="4790782" y="886596"/>
                  <a:pt x="4792920" y="886365"/>
                </a:cubicBezTo>
                <a:lnTo>
                  <a:pt x="4796966" y="886758"/>
                </a:lnTo>
                <a:lnTo>
                  <a:pt x="4795784" y="885637"/>
                </a:lnTo>
                <a:cubicBezTo>
                  <a:pt x="4794001" y="883435"/>
                  <a:pt x="4792888" y="880951"/>
                  <a:pt x="4792661" y="878476"/>
                </a:cubicBezTo>
                <a:cubicBezTo>
                  <a:pt x="4793115" y="870144"/>
                  <a:pt x="4800108" y="866181"/>
                  <a:pt x="4808865" y="865596"/>
                </a:cubicBezTo>
                <a:close/>
                <a:moveTo>
                  <a:pt x="2199979" y="865181"/>
                </a:moveTo>
                <a:cubicBezTo>
                  <a:pt x="2203929" y="863997"/>
                  <a:pt x="2209476" y="864879"/>
                  <a:pt x="2213711" y="867337"/>
                </a:cubicBezTo>
                <a:cubicBezTo>
                  <a:pt x="2216553" y="868903"/>
                  <a:pt x="2218612" y="871180"/>
                  <a:pt x="2219306" y="874126"/>
                </a:cubicBezTo>
                <a:cubicBezTo>
                  <a:pt x="2213596" y="876621"/>
                  <a:pt x="2208208" y="880123"/>
                  <a:pt x="2202063" y="878706"/>
                </a:cubicBezTo>
                <a:cubicBezTo>
                  <a:pt x="2200098" y="878295"/>
                  <a:pt x="2198029" y="877165"/>
                  <a:pt x="2195825" y="875424"/>
                </a:cubicBezTo>
                <a:cubicBezTo>
                  <a:pt x="2193675" y="869616"/>
                  <a:pt x="2196029" y="866365"/>
                  <a:pt x="2199979" y="865181"/>
                </a:cubicBezTo>
                <a:close/>
                <a:moveTo>
                  <a:pt x="2475466" y="864447"/>
                </a:moveTo>
                <a:cubicBezTo>
                  <a:pt x="2477489" y="864646"/>
                  <a:pt x="2479675" y="865345"/>
                  <a:pt x="2481744" y="866475"/>
                </a:cubicBezTo>
                <a:lnTo>
                  <a:pt x="2486731" y="869997"/>
                </a:lnTo>
                <a:lnTo>
                  <a:pt x="2487734" y="869575"/>
                </a:lnTo>
                <a:cubicBezTo>
                  <a:pt x="2489071" y="869013"/>
                  <a:pt x="2489768" y="868625"/>
                  <a:pt x="2490598" y="868848"/>
                </a:cubicBezTo>
                <a:cubicBezTo>
                  <a:pt x="2490886" y="867775"/>
                  <a:pt x="2492833" y="867146"/>
                  <a:pt x="2492873" y="865892"/>
                </a:cubicBezTo>
                <a:cubicBezTo>
                  <a:pt x="2492873" y="865892"/>
                  <a:pt x="2492902" y="865785"/>
                  <a:pt x="2494533" y="866337"/>
                </a:cubicBezTo>
                <a:cubicBezTo>
                  <a:pt x="2492219" y="870547"/>
                  <a:pt x="2492574" y="876967"/>
                  <a:pt x="2488640" y="879478"/>
                </a:cubicBezTo>
                <a:lnTo>
                  <a:pt x="2488334" y="879511"/>
                </a:lnTo>
                <a:lnTo>
                  <a:pt x="2488191" y="880047"/>
                </a:lnTo>
                <a:cubicBezTo>
                  <a:pt x="2485718" y="880420"/>
                  <a:pt x="2483522" y="880867"/>
                  <a:pt x="2480917" y="880629"/>
                </a:cubicBezTo>
                <a:cubicBezTo>
                  <a:pt x="2478312" y="880391"/>
                  <a:pt x="2475267" y="879575"/>
                  <a:pt x="2471682" y="877464"/>
                </a:cubicBezTo>
                <a:cubicBezTo>
                  <a:pt x="2469177" y="872422"/>
                  <a:pt x="2469850" y="868808"/>
                  <a:pt x="2475466" y="864447"/>
                </a:cubicBezTo>
                <a:close/>
                <a:moveTo>
                  <a:pt x="2229339" y="863244"/>
                </a:moveTo>
                <a:cubicBezTo>
                  <a:pt x="2232297" y="864382"/>
                  <a:pt x="2234586" y="865800"/>
                  <a:pt x="2236206" y="867499"/>
                </a:cubicBezTo>
                <a:lnTo>
                  <a:pt x="2236587" y="868291"/>
                </a:lnTo>
                <a:lnTo>
                  <a:pt x="2244382" y="871300"/>
                </a:lnTo>
                <a:cubicBezTo>
                  <a:pt x="2246947" y="872792"/>
                  <a:pt x="2249369" y="874822"/>
                  <a:pt x="2250760" y="877379"/>
                </a:cubicBezTo>
                <a:cubicBezTo>
                  <a:pt x="2247505" y="878462"/>
                  <a:pt x="2244697" y="878975"/>
                  <a:pt x="2241815" y="878662"/>
                </a:cubicBezTo>
                <a:lnTo>
                  <a:pt x="2238772" y="877847"/>
                </a:lnTo>
                <a:lnTo>
                  <a:pt x="2237752" y="886084"/>
                </a:lnTo>
                <a:lnTo>
                  <a:pt x="2233410" y="893430"/>
                </a:lnTo>
                <a:lnTo>
                  <a:pt x="2238839" y="894196"/>
                </a:lnTo>
                <a:cubicBezTo>
                  <a:pt x="2252621" y="903638"/>
                  <a:pt x="2248348" y="909623"/>
                  <a:pt x="2250390" y="910861"/>
                </a:cubicBezTo>
                <a:cubicBezTo>
                  <a:pt x="2245861" y="914477"/>
                  <a:pt x="2241779" y="912003"/>
                  <a:pt x="2234671" y="909754"/>
                </a:cubicBezTo>
                <a:lnTo>
                  <a:pt x="2233661" y="907988"/>
                </a:lnTo>
                <a:lnTo>
                  <a:pt x="2232327" y="914071"/>
                </a:lnTo>
                <a:lnTo>
                  <a:pt x="2230959" y="918075"/>
                </a:lnTo>
                <a:lnTo>
                  <a:pt x="2235206" y="917716"/>
                </a:lnTo>
                <a:cubicBezTo>
                  <a:pt x="2239472" y="918400"/>
                  <a:pt x="2244280" y="920378"/>
                  <a:pt x="2248904" y="924147"/>
                </a:cubicBezTo>
                <a:cubicBezTo>
                  <a:pt x="2250874" y="930080"/>
                  <a:pt x="2240873" y="937521"/>
                  <a:pt x="2233926" y="935775"/>
                </a:cubicBezTo>
                <a:cubicBezTo>
                  <a:pt x="2224570" y="930852"/>
                  <a:pt x="2221453" y="925877"/>
                  <a:pt x="2222431" y="922229"/>
                </a:cubicBezTo>
                <a:lnTo>
                  <a:pt x="2223911" y="921131"/>
                </a:lnTo>
                <a:lnTo>
                  <a:pt x="2222424" y="920043"/>
                </a:lnTo>
                <a:cubicBezTo>
                  <a:pt x="2220423" y="917551"/>
                  <a:pt x="2219538" y="914209"/>
                  <a:pt x="2217375" y="911214"/>
                </a:cubicBezTo>
                <a:lnTo>
                  <a:pt x="2223779" y="911665"/>
                </a:lnTo>
                <a:lnTo>
                  <a:pt x="2223218" y="909330"/>
                </a:lnTo>
                <a:lnTo>
                  <a:pt x="2221986" y="910610"/>
                </a:lnTo>
                <a:cubicBezTo>
                  <a:pt x="2220290" y="908085"/>
                  <a:pt x="2218870" y="905635"/>
                  <a:pt x="2218310" y="903299"/>
                </a:cubicBezTo>
                <a:cubicBezTo>
                  <a:pt x="2217473" y="900890"/>
                  <a:pt x="2217523" y="898489"/>
                  <a:pt x="2218404" y="896310"/>
                </a:cubicBezTo>
                <a:lnTo>
                  <a:pt x="2223164" y="897355"/>
                </a:lnTo>
                <a:lnTo>
                  <a:pt x="2223193" y="897248"/>
                </a:lnTo>
                <a:cubicBezTo>
                  <a:pt x="2224103" y="894962"/>
                  <a:pt x="2225115" y="893393"/>
                  <a:pt x="2226205" y="892650"/>
                </a:cubicBezTo>
                <a:lnTo>
                  <a:pt x="2228577" y="897081"/>
                </a:lnTo>
                <a:lnTo>
                  <a:pt x="2228587" y="895933"/>
                </a:lnTo>
                <a:cubicBezTo>
                  <a:pt x="2228569" y="894893"/>
                  <a:pt x="2229134" y="893894"/>
                  <a:pt x="2230251" y="893044"/>
                </a:cubicBezTo>
                <a:lnTo>
                  <a:pt x="2233104" y="893464"/>
                </a:lnTo>
                <a:lnTo>
                  <a:pt x="2226155" y="886196"/>
                </a:lnTo>
                <a:cubicBezTo>
                  <a:pt x="2225203" y="884216"/>
                  <a:pt x="2224527" y="882310"/>
                  <a:pt x="2224433" y="880445"/>
                </a:cubicBezTo>
                <a:cubicBezTo>
                  <a:pt x="2224016" y="877574"/>
                  <a:pt x="2224764" y="874783"/>
                  <a:pt x="2225569" y="871779"/>
                </a:cubicBezTo>
                <a:lnTo>
                  <a:pt x="2226018" y="871210"/>
                </a:lnTo>
                <a:lnTo>
                  <a:pt x="2221746" y="868340"/>
                </a:lnTo>
                <a:cubicBezTo>
                  <a:pt x="2223111" y="867671"/>
                  <a:pt x="2225002" y="867257"/>
                  <a:pt x="2227665" y="867281"/>
                </a:cubicBezTo>
                <a:lnTo>
                  <a:pt x="2227694" y="867173"/>
                </a:lnTo>
                <a:close/>
                <a:moveTo>
                  <a:pt x="5586039" y="862781"/>
                </a:moveTo>
                <a:cubicBezTo>
                  <a:pt x="5588040" y="865273"/>
                  <a:pt x="5588040" y="865273"/>
                  <a:pt x="5586520" y="867626"/>
                </a:cubicBezTo>
                <a:cubicBezTo>
                  <a:pt x="5585021" y="867684"/>
                  <a:pt x="5585011" y="868831"/>
                  <a:pt x="5583276" y="867561"/>
                </a:cubicBezTo>
                <a:cubicBezTo>
                  <a:pt x="5580245" y="871119"/>
                  <a:pt x="5565429" y="874394"/>
                  <a:pt x="5558368" y="873077"/>
                </a:cubicBezTo>
                <a:cubicBezTo>
                  <a:pt x="5569202" y="862525"/>
                  <a:pt x="5579991" y="868751"/>
                  <a:pt x="5586039" y="862781"/>
                </a:cubicBezTo>
                <a:close/>
                <a:moveTo>
                  <a:pt x="4502180" y="862397"/>
                </a:moveTo>
                <a:cubicBezTo>
                  <a:pt x="4510359" y="862863"/>
                  <a:pt x="4520733" y="871738"/>
                  <a:pt x="4512529" y="876899"/>
                </a:cubicBezTo>
                <a:cubicBezTo>
                  <a:pt x="4510027" y="877379"/>
                  <a:pt x="4507556" y="877752"/>
                  <a:pt x="4504645" y="877547"/>
                </a:cubicBezTo>
                <a:cubicBezTo>
                  <a:pt x="4502011" y="877417"/>
                  <a:pt x="4498967" y="876601"/>
                  <a:pt x="4495629" y="874671"/>
                </a:cubicBezTo>
                <a:cubicBezTo>
                  <a:pt x="4493649" y="869886"/>
                  <a:pt x="4495456" y="866460"/>
                  <a:pt x="4502180" y="862397"/>
                </a:cubicBezTo>
                <a:close/>
                <a:moveTo>
                  <a:pt x="4562185" y="862030"/>
                </a:moveTo>
                <a:cubicBezTo>
                  <a:pt x="4566817" y="867985"/>
                  <a:pt x="4565067" y="871197"/>
                  <a:pt x="4566799" y="875801"/>
                </a:cubicBezTo>
                <a:cubicBezTo>
                  <a:pt x="4560201" y="878288"/>
                  <a:pt x="4554990" y="877812"/>
                  <a:pt x="4551346" y="875916"/>
                </a:cubicBezTo>
                <a:cubicBezTo>
                  <a:pt x="4547732" y="873912"/>
                  <a:pt x="4545654" y="870596"/>
                  <a:pt x="4545601" y="867476"/>
                </a:cubicBezTo>
                <a:cubicBezTo>
                  <a:pt x="4545841" y="865471"/>
                  <a:pt x="4546664" y="863506"/>
                  <a:pt x="4548479" y="862267"/>
                </a:cubicBezTo>
                <a:cubicBezTo>
                  <a:pt x="4551268" y="860714"/>
                  <a:pt x="4555850" y="860217"/>
                  <a:pt x="4562185" y="862030"/>
                </a:cubicBezTo>
                <a:close/>
                <a:moveTo>
                  <a:pt x="5166367" y="861768"/>
                </a:moveTo>
                <a:cubicBezTo>
                  <a:pt x="5173655" y="865560"/>
                  <a:pt x="5174891" y="869802"/>
                  <a:pt x="5172519" y="874226"/>
                </a:cubicBezTo>
                <a:cubicBezTo>
                  <a:pt x="5169322" y="875094"/>
                  <a:pt x="5165886" y="874633"/>
                  <a:pt x="5163233" y="873463"/>
                </a:cubicBezTo>
                <a:cubicBezTo>
                  <a:pt x="5160582" y="872293"/>
                  <a:pt x="5158437" y="870337"/>
                  <a:pt x="5157513" y="868250"/>
                </a:cubicBezTo>
                <a:cubicBezTo>
                  <a:pt x="5156970" y="866955"/>
                  <a:pt x="5156791" y="865411"/>
                  <a:pt x="5157747" y="864057"/>
                </a:cubicBezTo>
                <a:cubicBezTo>
                  <a:pt x="5159695" y="863430"/>
                  <a:pt x="5162512" y="861769"/>
                  <a:pt x="5166367" y="861768"/>
                </a:cubicBezTo>
                <a:close/>
                <a:moveTo>
                  <a:pt x="5484862" y="860741"/>
                </a:moveTo>
                <a:cubicBezTo>
                  <a:pt x="5488402" y="861921"/>
                  <a:pt x="5488668" y="863142"/>
                  <a:pt x="5486881" y="864273"/>
                </a:cubicBezTo>
                <a:cubicBezTo>
                  <a:pt x="5486881" y="864273"/>
                  <a:pt x="5485372" y="865478"/>
                  <a:pt x="5483892" y="866577"/>
                </a:cubicBezTo>
                <a:cubicBezTo>
                  <a:pt x="5482105" y="867707"/>
                  <a:pt x="5482371" y="868930"/>
                  <a:pt x="5482371" y="868930"/>
                </a:cubicBezTo>
                <a:cubicBezTo>
                  <a:pt x="5481617" y="869532"/>
                  <a:pt x="5480672" y="869738"/>
                  <a:pt x="5479783" y="869731"/>
                </a:cubicBezTo>
                <a:cubicBezTo>
                  <a:pt x="5478896" y="869723"/>
                  <a:pt x="5478095" y="869394"/>
                  <a:pt x="5477075" y="868774"/>
                </a:cubicBezTo>
                <a:cubicBezTo>
                  <a:pt x="5477075" y="868774"/>
                  <a:pt x="5478594" y="866423"/>
                  <a:pt x="5478594" y="866423"/>
                </a:cubicBezTo>
                <a:cubicBezTo>
                  <a:pt x="5481861" y="864192"/>
                  <a:pt x="5483342" y="863094"/>
                  <a:pt x="5484862" y="860741"/>
                </a:cubicBezTo>
                <a:close/>
                <a:moveTo>
                  <a:pt x="2172917" y="860201"/>
                </a:moveTo>
                <a:cubicBezTo>
                  <a:pt x="2177754" y="862072"/>
                  <a:pt x="2180851" y="866007"/>
                  <a:pt x="2178994" y="871834"/>
                </a:cubicBezTo>
                <a:cubicBezTo>
                  <a:pt x="2174781" y="874271"/>
                  <a:pt x="2169894" y="874801"/>
                  <a:pt x="2165629" y="874118"/>
                </a:cubicBezTo>
                <a:cubicBezTo>
                  <a:pt x="2161115" y="873254"/>
                  <a:pt x="2157529" y="871143"/>
                  <a:pt x="2156195" y="868371"/>
                </a:cubicBezTo>
                <a:cubicBezTo>
                  <a:pt x="2155243" y="866391"/>
                  <a:pt x="2155265" y="864096"/>
                  <a:pt x="2156813" y="861636"/>
                </a:cubicBezTo>
                <a:cubicBezTo>
                  <a:pt x="2161751" y="858704"/>
                  <a:pt x="2168050" y="858438"/>
                  <a:pt x="2172917" y="860201"/>
                </a:cubicBezTo>
                <a:close/>
                <a:moveTo>
                  <a:pt x="1597673" y="859822"/>
                </a:moveTo>
                <a:cubicBezTo>
                  <a:pt x="1595944" y="860739"/>
                  <a:pt x="1595944" y="860739"/>
                  <a:pt x="1595904" y="861994"/>
                </a:cubicBezTo>
                <a:cubicBezTo>
                  <a:pt x="1595904" y="861994"/>
                  <a:pt x="1594561" y="860368"/>
                  <a:pt x="1594561" y="860368"/>
                </a:cubicBezTo>
                <a:cubicBezTo>
                  <a:pt x="1596013" y="859378"/>
                  <a:pt x="1594600" y="859114"/>
                  <a:pt x="1597673" y="859822"/>
                </a:cubicBezTo>
                <a:close/>
                <a:moveTo>
                  <a:pt x="1503661" y="859818"/>
                </a:moveTo>
                <a:cubicBezTo>
                  <a:pt x="1513753" y="866431"/>
                  <a:pt x="1518747" y="872140"/>
                  <a:pt x="1510740" y="879884"/>
                </a:cubicBezTo>
                <a:cubicBezTo>
                  <a:pt x="1508995" y="879762"/>
                  <a:pt x="1507582" y="879499"/>
                  <a:pt x="1506227" y="879020"/>
                </a:cubicBezTo>
                <a:cubicBezTo>
                  <a:pt x="1502164" y="877586"/>
                  <a:pt x="1499724" y="874518"/>
                  <a:pt x="1498838" y="871176"/>
                </a:cubicBezTo>
                <a:cubicBezTo>
                  <a:pt x="1497631" y="866826"/>
                  <a:pt x="1499259" y="861858"/>
                  <a:pt x="1503661" y="859818"/>
                </a:cubicBezTo>
                <a:close/>
                <a:moveTo>
                  <a:pt x="1617592" y="859639"/>
                </a:moveTo>
                <a:cubicBezTo>
                  <a:pt x="1637062" y="868882"/>
                  <a:pt x="1644608" y="862853"/>
                  <a:pt x="1655328" y="861586"/>
                </a:cubicBezTo>
                <a:cubicBezTo>
                  <a:pt x="1665386" y="871640"/>
                  <a:pt x="1684964" y="878267"/>
                  <a:pt x="1699442" y="887321"/>
                </a:cubicBezTo>
                <a:cubicBezTo>
                  <a:pt x="1701476" y="895227"/>
                  <a:pt x="1704875" y="902462"/>
                  <a:pt x="1708276" y="909698"/>
                </a:cubicBezTo>
                <a:lnTo>
                  <a:pt x="1709140" y="912000"/>
                </a:lnTo>
                <a:lnTo>
                  <a:pt x="1712435" y="909663"/>
                </a:lnTo>
                <a:cubicBezTo>
                  <a:pt x="1714355" y="909142"/>
                  <a:pt x="1718430" y="909430"/>
                  <a:pt x="1722361" y="910252"/>
                </a:cubicBezTo>
                <a:cubicBezTo>
                  <a:pt x="1726570" y="911150"/>
                  <a:pt x="1730357" y="912510"/>
                  <a:pt x="1732502" y="914465"/>
                </a:cubicBezTo>
                <a:cubicBezTo>
                  <a:pt x="1730268" y="916166"/>
                  <a:pt x="1728060" y="917760"/>
                  <a:pt x="1725854" y="919354"/>
                </a:cubicBezTo>
                <a:cubicBezTo>
                  <a:pt x="1726142" y="918280"/>
                  <a:pt x="1710693" y="915061"/>
                  <a:pt x="1710693" y="915061"/>
                </a:cubicBezTo>
                <a:lnTo>
                  <a:pt x="1709580" y="912577"/>
                </a:lnTo>
                <a:lnTo>
                  <a:pt x="1717355" y="932257"/>
                </a:lnTo>
                <a:cubicBezTo>
                  <a:pt x="1701550" y="940327"/>
                  <a:pt x="1700978" y="965705"/>
                  <a:pt x="1676287" y="965989"/>
                </a:cubicBezTo>
                <a:lnTo>
                  <a:pt x="1670897" y="963969"/>
                </a:lnTo>
                <a:lnTo>
                  <a:pt x="1670200" y="964358"/>
                </a:lnTo>
                <a:cubicBezTo>
                  <a:pt x="1668586" y="964844"/>
                  <a:pt x="1666563" y="964647"/>
                  <a:pt x="1664683" y="963915"/>
                </a:cubicBezTo>
                <a:lnTo>
                  <a:pt x="1661986" y="961811"/>
                </a:lnTo>
                <a:lnTo>
                  <a:pt x="1652233" y="960579"/>
                </a:lnTo>
                <a:lnTo>
                  <a:pt x="1650352" y="959844"/>
                </a:lnTo>
                <a:lnTo>
                  <a:pt x="1647108" y="959780"/>
                </a:lnTo>
                <a:lnTo>
                  <a:pt x="1646788" y="964294"/>
                </a:lnTo>
                <a:cubicBezTo>
                  <a:pt x="1645279" y="965499"/>
                  <a:pt x="1643359" y="966020"/>
                  <a:pt x="1641336" y="965823"/>
                </a:cubicBezTo>
                <a:cubicBezTo>
                  <a:pt x="1639009" y="965659"/>
                  <a:pt x="1636824" y="964960"/>
                  <a:pt x="1635029" y="963903"/>
                </a:cubicBezTo>
                <a:cubicBezTo>
                  <a:pt x="1633093" y="963384"/>
                  <a:pt x="1631910" y="962262"/>
                  <a:pt x="1631368" y="960968"/>
                </a:cubicBezTo>
                <a:cubicBezTo>
                  <a:pt x="1630854" y="959565"/>
                  <a:pt x="1630951" y="958096"/>
                  <a:pt x="1631297" y="956807"/>
                </a:cubicBezTo>
                <a:lnTo>
                  <a:pt x="1631630" y="956668"/>
                </a:lnTo>
                <a:lnTo>
                  <a:pt x="1616334" y="946244"/>
                </a:lnTo>
                <a:cubicBezTo>
                  <a:pt x="1597689" y="931703"/>
                  <a:pt x="1581638" y="913027"/>
                  <a:pt x="1582640" y="894895"/>
                </a:cubicBezTo>
                <a:cubicBezTo>
                  <a:pt x="1582799" y="889878"/>
                  <a:pt x="1584415" y="886055"/>
                  <a:pt x="1586471" y="882811"/>
                </a:cubicBezTo>
                <a:lnTo>
                  <a:pt x="1589996" y="879616"/>
                </a:lnTo>
                <a:lnTo>
                  <a:pt x="1590220" y="876571"/>
                </a:lnTo>
                <a:lnTo>
                  <a:pt x="1590622" y="875069"/>
                </a:lnTo>
                <a:lnTo>
                  <a:pt x="1588024" y="877017"/>
                </a:lnTo>
                <a:cubicBezTo>
                  <a:pt x="1586514" y="878223"/>
                  <a:pt x="1586514" y="878223"/>
                  <a:pt x="1588250" y="879493"/>
                </a:cubicBezTo>
                <a:cubicBezTo>
                  <a:pt x="1586741" y="880698"/>
                  <a:pt x="1586741" y="880698"/>
                  <a:pt x="1583219" y="880560"/>
                </a:cubicBezTo>
                <a:cubicBezTo>
                  <a:pt x="1584614" y="879784"/>
                  <a:pt x="1587366" y="876151"/>
                  <a:pt x="1589487" y="874880"/>
                </a:cubicBezTo>
                <a:lnTo>
                  <a:pt x="1590709" y="874746"/>
                </a:lnTo>
                <a:lnTo>
                  <a:pt x="1591025" y="873566"/>
                </a:lnTo>
                <a:cubicBezTo>
                  <a:pt x="1589012" y="872222"/>
                  <a:pt x="1589288" y="872296"/>
                  <a:pt x="1590758" y="872344"/>
                </a:cubicBezTo>
                <a:lnTo>
                  <a:pt x="1591572" y="871527"/>
                </a:lnTo>
                <a:lnTo>
                  <a:pt x="1592434" y="868308"/>
                </a:lnTo>
                <a:cubicBezTo>
                  <a:pt x="1593181" y="865519"/>
                  <a:pt x="1594424" y="863092"/>
                  <a:pt x="1595628" y="861919"/>
                </a:cubicBezTo>
                <a:lnTo>
                  <a:pt x="1594226" y="869364"/>
                </a:lnTo>
                <a:lnTo>
                  <a:pt x="1596310" y="866012"/>
                </a:lnTo>
                <a:cubicBezTo>
                  <a:pt x="1597076" y="864262"/>
                  <a:pt x="1597230" y="862579"/>
                  <a:pt x="1596209" y="861960"/>
                </a:cubicBezTo>
                <a:cubicBezTo>
                  <a:pt x="1597986" y="861976"/>
                  <a:pt x="1599495" y="860770"/>
                  <a:pt x="1599495" y="860770"/>
                </a:cubicBezTo>
                <a:cubicBezTo>
                  <a:pt x="1601230" y="862040"/>
                  <a:pt x="1601525" y="863155"/>
                  <a:pt x="1601790" y="864376"/>
                </a:cubicBezTo>
                <a:cubicBezTo>
                  <a:pt x="1600281" y="865581"/>
                  <a:pt x="1598535" y="865458"/>
                  <a:pt x="1597026" y="866664"/>
                </a:cubicBezTo>
                <a:cubicBezTo>
                  <a:pt x="1597015" y="867811"/>
                  <a:pt x="1597270" y="870180"/>
                  <a:pt x="1595789" y="871278"/>
                </a:cubicBezTo>
                <a:lnTo>
                  <a:pt x="1593449" y="872261"/>
                </a:lnTo>
                <a:lnTo>
                  <a:pt x="1590054" y="879401"/>
                </a:lnTo>
                <a:lnTo>
                  <a:pt x="1595176" y="874678"/>
                </a:lnTo>
                <a:cubicBezTo>
                  <a:pt x="1602071" y="869970"/>
                  <a:pt x="1610484" y="866245"/>
                  <a:pt x="1617592" y="859639"/>
                </a:cubicBezTo>
                <a:close/>
                <a:moveTo>
                  <a:pt x="5004711" y="857437"/>
                </a:moveTo>
                <a:cubicBezTo>
                  <a:pt x="5020896" y="859014"/>
                  <a:pt x="5027968" y="876895"/>
                  <a:pt x="5028892" y="887837"/>
                </a:cubicBezTo>
                <a:cubicBezTo>
                  <a:pt x="5010841" y="881045"/>
                  <a:pt x="5007791" y="869187"/>
                  <a:pt x="5004711" y="857437"/>
                </a:cubicBezTo>
                <a:close/>
                <a:moveTo>
                  <a:pt x="2643662" y="857103"/>
                </a:moveTo>
                <a:cubicBezTo>
                  <a:pt x="2646029" y="856846"/>
                  <a:pt x="2648173" y="857421"/>
                  <a:pt x="2650494" y="859825"/>
                </a:cubicBezTo>
                <a:cubicBezTo>
                  <a:pt x="2644069" y="861669"/>
                  <a:pt x="2641025" y="860854"/>
                  <a:pt x="2635491" y="859370"/>
                </a:cubicBezTo>
                <a:cubicBezTo>
                  <a:pt x="2638703" y="858449"/>
                  <a:pt x="2641293" y="857360"/>
                  <a:pt x="2643662" y="857103"/>
                </a:cubicBezTo>
                <a:close/>
                <a:moveTo>
                  <a:pt x="1281857" y="856390"/>
                </a:moveTo>
                <a:cubicBezTo>
                  <a:pt x="1289043" y="864986"/>
                  <a:pt x="1290016" y="873528"/>
                  <a:pt x="1286897" y="880741"/>
                </a:cubicBezTo>
                <a:cubicBezTo>
                  <a:pt x="1281874" y="892851"/>
                  <a:pt x="1265065" y="901343"/>
                  <a:pt x="1244431" y="900873"/>
                </a:cubicBezTo>
                <a:cubicBezTo>
                  <a:pt x="1243394" y="899215"/>
                  <a:pt x="1242327" y="897664"/>
                  <a:pt x="1240130" y="898111"/>
                </a:cubicBezTo>
                <a:cubicBezTo>
                  <a:pt x="1238405" y="895693"/>
                  <a:pt x="1237320" y="893103"/>
                  <a:pt x="1236541" y="890479"/>
                </a:cubicBezTo>
                <a:cubicBezTo>
                  <a:pt x="1232027" y="871905"/>
                  <a:pt x="1255155" y="851996"/>
                  <a:pt x="1281857" y="856390"/>
                </a:cubicBezTo>
                <a:close/>
                <a:moveTo>
                  <a:pt x="2535005" y="854756"/>
                </a:moveTo>
                <a:cubicBezTo>
                  <a:pt x="2539719" y="854870"/>
                  <a:pt x="2543927" y="855767"/>
                  <a:pt x="2547018" y="857515"/>
                </a:cubicBezTo>
                <a:cubicBezTo>
                  <a:pt x="2550385" y="859337"/>
                  <a:pt x="2552882" y="862191"/>
                  <a:pt x="2553680" y="865855"/>
                </a:cubicBezTo>
                <a:cubicBezTo>
                  <a:pt x="2551826" y="868349"/>
                  <a:pt x="2548131" y="868854"/>
                  <a:pt x="2544028" y="868674"/>
                </a:cubicBezTo>
                <a:lnTo>
                  <a:pt x="2537156" y="867753"/>
                </a:lnTo>
                <a:lnTo>
                  <a:pt x="2536818" y="871227"/>
                </a:lnTo>
                <a:cubicBezTo>
                  <a:pt x="2534721" y="870205"/>
                  <a:pt x="2533487" y="871484"/>
                  <a:pt x="2531978" y="872691"/>
                </a:cubicBezTo>
                <a:cubicBezTo>
                  <a:pt x="2529136" y="871123"/>
                  <a:pt x="2524079" y="868963"/>
                  <a:pt x="2524026" y="865844"/>
                </a:cubicBezTo>
                <a:cubicBezTo>
                  <a:pt x="2524007" y="864804"/>
                  <a:pt x="2524601" y="863699"/>
                  <a:pt x="2525862" y="862311"/>
                </a:cubicBezTo>
                <a:cubicBezTo>
                  <a:pt x="2525700" y="861808"/>
                  <a:pt x="2527371" y="861106"/>
                  <a:pt x="2528984" y="860618"/>
                </a:cubicBezTo>
                <a:lnTo>
                  <a:pt x="2532506" y="860757"/>
                </a:lnTo>
                <a:lnTo>
                  <a:pt x="2532432" y="859931"/>
                </a:lnTo>
                <a:cubicBezTo>
                  <a:pt x="2532701" y="857818"/>
                  <a:pt x="2533218" y="855887"/>
                  <a:pt x="2535005" y="854756"/>
                </a:cubicBezTo>
                <a:close/>
                <a:moveTo>
                  <a:pt x="4920277" y="853789"/>
                </a:moveTo>
                <a:cubicBezTo>
                  <a:pt x="4922720" y="853523"/>
                  <a:pt x="4925326" y="853762"/>
                  <a:pt x="4927787" y="854536"/>
                </a:cubicBezTo>
                <a:cubicBezTo>
                  <a:pt x="4931385" y="855500"/>
                  <a:pt x="4935277" y="857577"/>
                  <a:pt x="4939128" y="860910"/>
                </a:cubicBezTo>
                <a:cubicBezTo>
                  <a:pt x="4943617" y="867403"/>
                  <a:pt x="4932630" y="876304"/>
                  <a:pt x="4924244" y="874402"/>
                </a:cubicBezTo>
                <a:cubicBezTo>
                  <a:pt x="4920525" y="871680"/>
                  <a:pt x="4916805" y="868958"/>
                  <a:pt x="4913115" y="866129"/>
                </a:cubicBezTo>
                <a:cubicBezTo>
                  <a:pt x="4910067" y="859793"/>
                  <a:pt x="4913834" y="854592"/>
                  <a:pt x="4920277" y="853789"/>
                </a:cubicBezTo>
                <a:close/>
                <a:moveTo>
                  <a:pt x="1596459" y="853286"/>
                </a:moveTo>
                <a:cubicBezTo>
                  <a:pt x="1596459" y="853286"/>
                  <a:pt x="1597842" y="853658"/>
                  <a:pt x="1597842" y="853658"/>
                </a:cubicBezTo>
                <a:cubicBezTo>
                  <a:pt x="1597773" y="855019"/>
                  <a:pt x="1597734" y="856273"/>
                  <a:pt x="1596321" y="856010"/>
                </a:cubicBezTo>
                <a:cubicBezTo>
                  <a:pt x="1594938" y="855640"/>
                  <a:pt x="1595007" y="854277"/>
                  <a:pt x="1596459" y="853286"/>
                </a:cubicBezTo>
                <a:close/>
                <a:moveTo>
                  <a:pt x="2350658" y="853201"/>
                </a:moveTo>
                <a:cubicBezTo>
                  <a:pt x="2353015" y="853258"/>
                  <a:pt x="2355373" y="853315"/>
                  <a:pt x="2357730" y="853372"/>
                </a:cubicBezTo>
                <a:cubicBezTo>
                  <a:pt x="2359879" y="860847"/>
                  <a:pt x="2366412" y="865242"/>
                  <a:pt x="2368104" y="871101"/>
                </a:cubicBezTo>
                <a:cubicBezTo>
                  <a:pt x="2361797" y="869181"/>
                  <a:pt x="2351761" y="865686"/>
                  <a:pt x="2349763" y="859862"/>
                </a:cubicBezTo>
                <a:cubicBezTo>
                  <a:pt x="2349087" y="857956"/>
                  <a:pt x="2349109" y="855660"/>
                  <a:pt x="2350658" y="853201"/>
                </a:cubicBezTo>
                <a:close/>
                <a:moveTo>
                  <a:pt x="2168294" y="853098"/>
                </a:moveTo>
                <a:cubicBezTo>
                  <a:pt x="2168277" y="852058"/>
                  <a:pt x="2169775" y="852000"/>
                  <a:pt x="2170071" y="853113"/>
                </a:cubicBezTo>
                <a:cubicBezTo>
                  <a:pt x="2173582" y="854400"/>
                  <a:pt x="2170344" y="856521"/>
                  <a:pt x="2168863" y="857620"/>
                </a:cubicBezTo>
                <a:cubicBezTo>
                  <a:pt x="2168711" y="855970"/>
                  <a:pt x="2168141" y="854781"/>
                  <a:pt x="2168007" y="854170"/>
                </a:cubicBezTo>
                <a:cubicBezTo>
                  <a:pt x="2167627" y="853379"/>
                  <a:pt x="2167408" y="853090"/>
                  <a:pt x="2168294" y="853098"/>
                </a:cubicBezTo>
                <a:close/>
                <a:moveTo>
                  <a:pt x="5095646" y="851213"/>
                </a:moveTo>
                <a:cubicBezTo>
                  <a:pt x="5097813" y="850873"/>
                  <a:pt x="5100448" y="851005"/>
                  <a:pt x="5102967" y="851565"/>
                </a:cubicBezTo>
                <a:cubicBezTo>
                  <a:pt x="5106222" y="850481"/>
                  <a:pt x="5110966" y="850487"/>
                  <a:pt x="5114477" y="851773"/>
                </a:cubicBezTo>
                <a:cubicBezTo>
                  <a:pt x="5117977" y="854206"/>
                  <a:pt x="5118232" y="856574"/>
                  <a:pt x="5116751" y="857672"/>
                </a:cubicBezTo>
                <a:cubicBezTo>
                  <a:pt x="5106280" y="867977"/>
                  <a:pt x="5090985" y="863075"/>
                  <a:pt x="5087729" y="864157"/>
                </a:cubicBezTo>
                <a:cubicBezTo>
                  <a:pt x="5084973" y="862268"/>
                  <a:pt x="5083705" y="861468"/>
                  <a:pt x="5083773" y="860107"/>
                </a:cubicBezTo>
                <a:cubicBezTo>
                  <a:pt x="5084118" y="858818"/>
                  <a:pt x="5086077" y="857044"/>
                  <a:pt x="5089689" y="853526"/>
                </a:cubicBezTo>
                <a:cubicBezTo>
                  <a:pt x="5091445" y="852503"/>
                  <a:pt x="5093451" y="851660"/>
                  <a:pt x="5095646" y="851213"/>
                </a:cubicBezTo>
                <a:close/>
                <a:moveTo>
                  <a:pt x="1094631" y="851189"/>
                </a:moveTo>
                <a:cubicBezTo>
                  <a:pt x="1101229" y="848702"/>
                  <a:pt x="1107011" y="850366"/>
                  <a:pt x="1112132" y="854499"/>
                </a:cubicBezTo>
                <a:cubicBezTo>
                  <a:pt x="1113081" y="859813"/>
                  <a:pt x="1107093" y="862234"/>
                  <a:pt x="1101225" y="860891"/>
                </a:cubicBezTo>
                <a:cubicBezTo>
                  <a:pt x="1099259" y="860480"/>
                  <a:pt x="1097408" y="859639"/>
                  <a:pt x="1095979" y="858336"/>
                </a:cubicBezTo>
                <a:cubicBezTo>
                  <a:pt x="1095579" y="856504"/>
                  <a:pt x="1093941" y="853764"/>
                  <a:pt x="1094631" y="851189"/>
                </a:cubicBezTo>
                <a:close/>
                <a:moveTo>
                  <a:pt x="5473524" y="851034"/>
                </a:moveTo>
                <a:cubicBezTo>
                  <a:pt x="5475260" y="852303"/>
                  <a:pt x="5475300" y="851049"/>
                  <a:pt x="5477046" y="851172"/>
                </a:cubicBezTo>
                <a:cubicBezTo>
                  <a:pt x="5475536" y="852378"/>
                  <a:pt x="5475752" y="856001"/>
                  <a:pt x="5474508" y="858428"/>
                </a:cubicBezTo>
                <a:cubicBezTo>
                  <a:pt x="5472763" y="858305"/>
                  <a:pt x="5471253" y="859510"/>
                  <a:pt x="5469783" y="859461"/>
                </a:cubicBezTo>
                <a:cubicBezTo>
                  <a:pt x="5469650" y="858851"/>
                  <a:pt x="5469298" y="857952"/>
                  <a:pt x="5468917" y="857159"/>
                </a:cubicBezTo>
                <a:cubicBezTo>
                  <a:pt x="5468536" y="856367"/>
                  <a:pt x="5468680" y="855831"/>
                  <a:pt x="5469262" y="855872"/>
                </a:cubicBezTo>
                <a:cubicBezTo>
                  <a:pt x="5469302" y="854617"/>
                  <a:pt x="5472547" y="854681"/>
                  <a:pt x="5472547" y="854681"/>
                </a:cubicBezTo>
                <a:cubicBezTo>
                  <a:pt x="5472281" y="853461"/>
                  <a:pt x="5472015" y="852239"/>
                  <a:pt x="5473524" y="851034"/>
                </a:cubicBezTo>
                <a:close/>
                <a:moveTo>
                  <a:pt x="2234392" y="851029"/>
                </a:moveTo>
                <a:cubicBezTo>
                  <a:pt x="2242507" y="849522"/>
                  <a:pt x="2247010" y="851533"/>
                  <a:pt x="2250659" y="855617"/>
                </a:cubicBezTo>
                <a:cubicBezTo>
                  <a:pt x="2248795" y="859258"/>
                  <a:pt x="2244681" y="860225"/>
                  <a:pt x="2240806" y="859187"/>
                </a:cubicBezTo>
                <a:cubicBezTo>
                  <a:pt x="2237209" y="858223"/>
                  <a:pt x="2234129" y="855328"/>
                  <a:pt x="2234392" y="851029"/>
                </a:cubicBezTo>
                <a:close/>
                <a:moveTo>
                  <a:pt x="2663122" y="850329"/>
                </a:moveTo>
                <a:cubicBezTo>
                  <a:pt x="2665422" y="850601"/>
                  <a:pt x="2665296" y="852177"/>
                  <a:pt x="2666536" y="853084"/>
                </a:cubicBezTo>
                <a:cubicBezTo>
                  <a:pt x="2667622" y="855675"/>
                  <a:pt x="2662612" y="863302"/>
                  <a:pt x="2660283" y="863139"/>
                </a:cubicBezTo>
                <a:cubicBezTo>
                  <a:pt x="2659618" y="860086"/>
                  <a:pt x="2658145" y="854516"/>
                  <a:pt x="2660028" y="851915"/>
                </a:cubicBezTo>
                <a:cubicBezTo>
                  <a:pt x="2660563" y="851024"/>
                  <a:pt x="2661595" y="850496"/>
                  <a:pt x="2663122" y="850329"/>
                </a:cubicBezTo>
                <a:close/>
                <a:moveTo>
                  <a:pt x="951916" y="850051"/>
                </a:moveTo>
                <a:cubicBezTo>
                  <a:pt x="953855" y="849176"/>
                  <a:pt x="956380" y="849163"/>
                  <a:pt x="959542" y="850643"/>
                </a:cubicBezTo>
                <a:cubicBezTo>
                  <a:pt x="961669" y="851558"/>
                  <a:pt x="963491" y="852506"/>
                  <a:pt x="961964" y="852672"/>
                </a:cubicBezTo>
                <a:cubicBezTo>
                  <a:pt x="962535" y="853860"/>
                  <a:pt x="960979" y="854133"/>
                  <a:pt x="959747" y="855413"/>
                </a:cubicBezTo>
                <a:cubicBezTo>
                  <a:pt x="957235" y="857040"/>
                  <a:pt x="952318" y="857678"/>
                  <a:pt x="950220" y="856655"/>
                </a:cubicBezTo>
                <a:cubicBezTo>
                  <a:pt x="948369" y="855815"/>
                  <a:pt x="947798" y="854626"/>
                  <a:pt x="947798" y="854626"/>
                </a:cubicBezTo>
                <a:cubicBezTo>
                  <a:pt x="948621" y="852661"/>
                  <a:pt x="949976" y="850926"/>
                  <a:pt x="951916" y="850051"/>
                </a:cubicBezTo>
                <a:close/>
                <a:moveTo>
                  <a:pt x="1201430" y="849819"/>
                </a:moveTo>
                <a:cubicBezTo>
                  <a:pt x="1207446" y="850195"/>
                  <a:pt x="1216076" y="852852"/>
                  <a:pt x="1221797" y="853637"/>
                </a:cubicBezTo>
                <a:cubicBezTo>
                  <a:pt x="1224768" y="859149"/>
                  <a:pt x="1225168" y="860981"/>
                  <a:pt x="1223539" y="865950"/>
                </a:cubicBezTo>
                <a:cubicBezTo>
                  <a:pt x="1218624" y="866588"/>
                  <a:pt x="1214081" y="865831"/>
                  <a:pt x="1209653" y="864645"/>
                </a:cubicBezTo>
                <a:cubicBezTo>
                  <a:pt x="1205255" y="863350"/>
                  <a:pt x="1201001" y="861521"/>
                  <a:pt x="1196745" y="859691"/>
                </a:cubicBezTo>
                <a:cubicBezTo>
                  <a:pt x="1192011" y="851349"/>
                  <a:pt x="1195413" y="849443"/>
                  <a:pt x="1201430" y="849819"/>
                </a:cubicBezTo>
                <a:close/>
                <a:moveTo>
                  <a:pt x="2262062" y="849587"/>
                </a:moveTo>
                <a:cubicBezTo>
                  <a:pt x="2262062" y="849587"/>
                  <a:pt x="2262386" y="850594"/>
                  <a:pt x="2262386" y="850594"/>
                </a:cubicBezTo>
                <a:cubicBezTo>
                  <a:pt x="2261470" y="850693"/>
                  <a:pt x="2260582" y="850685"/>
                  <a:pt x="2259723" y="850570"/>
                </a:cubicBezTo>
                <a:cubicBezTo>
                  <a:pt x="2259141" y="850529"/>
                  <a:pt x="2258616" y="850274"/>
                  <a:pt x="2258454" y="849770"/>
                </a:cubicBezTo>
                <a:cubicBezTo>
                  <a:pt x="2258160" y="848656"/>
                  <a:pt x="2259963" y="848565"/>
                  <a:pt x="2262062" y="849587"/>
                </a:cubicBezTo>
                <a:close/>
                <a:moveTo>
                  <a:pt x="2203365" y="849499"/>
                </a:moveTo>
                <a:cubicBezTo>
                  <a:pt x="2205629" y="847691"/>
                  <a:pt x="2210264" y="850313"/>
                  <a:pt x="2213279" y="851236"/>
                </a:cubicBezTo>
                <a:cubicBezTo>
                  <a:pt x="2215515" y="849535"/>
                  <a:pt x="2219231" y="855591"/>
                  <a:pt x="2221494" y="853782"/>
                </a:cubicBezTo>
                <a:cubicBezTo>
                  <a:pt x="2226871" y="860283"/>
                  <a:pt x="2236084" y="856887"/>
                  <a:pt x="2246343" y="866190"/>
                </a:cubicBezTo>
                <a:cubicBezTo>
                  <a:pt x="2241992" y="865830"/>
                  <a:pt x="2238338" y="865081"/>
                  <a:pt x="2234741" y="864117"/>
                </a:cubicBezTo>
                <a:cubicBezTo>
                  <a:pt x="2224254" y="861192"/>
                  <a:pt x="2216586" y="856607"/>
                  <a:pt x="2208989" y="856181"/>
                </a:cubicBezTo>
                <a:cubicBezTo>
                  <a:pt x="2208989" y="856181"/>
                  <a:pt x="2208989" y="856181"/>
                  <a:pt x="2206329" y="852824"/>
                </a:cubicBezTo>
                <a:cubicBezTo>
                  <a:pt x="2204670" y="852379"/>
                  <a:pt x="2204670" y="852379"/>
                  <a:pt x="2204670" y="852379"/>
                </a:cubicBezTo>
                <a:cubicBezTo>
                  <a:pt x="2203009" y="851934"/>
                  <a:pt x="2203365" y="849499"/>
                  <a:pt x="2203365" y="849499"/>
                </a:cubicBezTo>
                <a:close/>
                <a:moveTo>
                  <a:pt x="2269889" y="849154"/>
                </a:moveTo>
                <a:cubicBezTo>
                  <a:pt x="2271988" y="850177"/>
                  <a:pt x="2271988" y="850177"/>
                  <a:pt x="2272549" y="852512"/>
                </a:cubicBezTo>
                <a:cubicBezTo>
                  <a:pt x="2269972" y="852167"/>
                  <a:pt x="2268559" y="851902"/>
                  <a:pt x="2267482" y="851500"/>
                </a:cubicBezTo>
                <a:cubicBezTo>
                  <a:pt x="2266098" y="851129"/>
                  <a:pt x="2265326" y="850691"/>
                  <a:pt x="2263255" y="849562"/>
                </a:cubicBezTo>
                <a:cubicBezTo>
                  <a:pt x="2264754" y="849503"/>
                  <a:pt x="2267819" y="848025"/>
                  <a:pt x="2269889" y="849154"/>
                </a:cubicBezTo>
                <a:close/>
                <a:moveTo>
                  <a:pt x="2251527" y="849063"/>
                </a:moveTo>
                <a:cubicBezTo>
                  <a:pt x="2253624" y="850086"/>
                  <a:pt x="2253330" y="848972"/>
                  <a:pt x="2253948" y="851093"/>
                </a:cubicBezTo>
                <a:cubicBezTo>
                  <a:pt x="2251849" y="850070"/>
                  <a:pt x="2251849" y="850070"/>
                  <a:pt x="2250046" y="850163"/>
                </a:cubicBezTo>
                <a:cubicBezTo>
                  <a:pt x="2250046" y="850163"/>
                  <a:pt x="2251527" y="849063"/>
                  <a:pt x="2251527" y="849063"/>
                </a:cubicBezTo>
                <a:close/>
                <a:moveTo>
                  <a:pt x="2294275" y="848903"/>
                </a:moveTo>
                <a:cubicBezTo>
                  <a:pt x="2297279" y="850974"/>
                  <a:pt x="2300572" y="851970"/>
                  <a:pt x="2303575" y="854040"/>
                </a:cubicBezTo>
                <a:cubicBezTo>
                  <a:pt x="2305117" y="858248"/>
                  <a:pt x="2299698" y="865192"/>
                  <a:pt x="2293294" y="864741"/>
                </a:cubicBezTo>
                <a:cubicBezTo>
                  <a:pt x="2290994" y="864469"/>
                  <a:pt x="2288895" y="863447"/>
                  <a:pt x="2286808" y="861277"/>
                </a:cubicBezTo>
                <a:cubicBezTo>
                  <a:pt x="2281155" y="854703"/>
                  <a:pt x="2287037" y="851565"/>
                  <a:pt x="2294275" y="848903"/>
                </a:cubicBezTo>
                <a:close/>
                <a:moveTo>
                  <a:pt x="2222684" y="848235"/>
                </a:moveTo>
                <a:cubicBezTo>
                  <a:pt x="2226015" y="847979"/>
                  <a:pt x="2244379" y="848068"/>
                  <a:pt x="2249797" y="849981"/>
                </a:cubicBezTo>
                <a:cubicBezTo>
                  <a:pt x="2241371" y="849333"/>
                  <a:pt x="2230173" y="851277"/>
                  <a:pt x="2222684" y="848235"/>
                </a:cubicBezTo>
                <a:close/>
                <a:moveTo>
                  <a:pt x="1601867" y="847491"/>
                </a:moveTo>
                <a:cubicBezTo>
                  <a:pt x="1600088" y="850809"/>
                  <a:pt x="1599784" y="850843"/>
                  <a:pt x="1596660" y="852536"/>
                </a:cubicBezTo>
                <a:cubicBezTo>
                  <a:pt x="1596699" y="851281"/>
                  <a:pt x="1595089" y="848434"/>
                  <a:pt x="1596790" y="847626"/>
                </a:cubicBezTo>
                <a:cubicBezTo>
                  <a:pt x="1598489" y="846815"/>
                  <a:pt x="1598489" y="846815"/>
                  <a:pt x="1601867" y="847491"/>
                </a:cubicBezTo>
                <a:close/>
                <a:moveTo>
                  <a:pt x="1124433" y="847330"/>
                </a:moveTo>
                <a:cubicBezTo>
                  <a:pt x="1129795" y="849456"/>
                  <a:pt x="1132701" y="852995"/>
                  <a:pt x="1130225" y="856702"/>
                </a:cubicBezTo>
                <a:cubicBezTo>
                  <a:pt x="1127465" y="858147"/>
                  <a:pt x="1123620" y="857002"/>
                  <a:pt x="1120022" y="856038"/>
                </a:cubicBezTo>
                <a:cubicBezTo>
                  <a:pt x="1117342" y="854975"/>
                  <a:pt x="1116132" y="853960"/>
                  <a:pt x="1115893" y="852632"/>
                </a:cubicBezTo>
                <a:cubicBezTo>
                  <a:pt x="1115905" y="851484"/>
                  <a:pt x="1116832" y="850238"/>
                  <a:pt x="1118064" y="848958"/>
                </a:cubicBezTo>
                <a:cubicBezTo>
                  <a:pt x="1120835" y="846366"/>
                  <a:pt x="1124433" y="847330"/>
                  <a:pt x="1124433" y="847330"/>
                </a:cubicBezTo>
                <a:close/>
                <a:moveTo>
                  <a:pt x="2208914" y="846501"/>
                </a:moveTo>
                <a:cubicBezTo>
                  <a:pt x="2208914" y="846501"/>
                  <a:pt x="2208914" y="846501"/>
                  <a:pt x="2210707" y="847556"/>
                </a:cubicBezTo>
                <a:cubicBezTo>
                  <a:pt x="2205906" y="847766"/>
                  <a:pt x="2199549" y="848247"/>
                  <a:pt x="2195952" y="847283"/>
                </a:cubicBezTo>
                <a:cubicBezTo>
                  <a:pt x="2198959" y="846019"/>
                  <a:pt x="2205021" y="844423"/>
                  <a:pt x="2208914" y="846501"/>
                </a:cubicBezTo>
                <a:close/>
                <a:moveTo>
                  <a:pt x="5052159" y="846102"/>
                </a:moveTo>
                <a:cubicBezTo>
                  <a:pt x="5056705" y="845464"/>
                  <a:pt x="5062018" y="846111"/>
                  <a:pt x="5065996" y="847868"/>
                </a:cubicBezTo>
                <a:cubicBezTo>
                  <a:pt x="5068372" y="848965"/>
                  <a:pt x="5070603" y="850598"/>
                  <a:pt x="5071250" y="852611"/>
                </a:cubicBezTo>
                <a:cubicBezTo>
                  <a:pt x="5069870" y="857761"/>
                  <a:pt x="5062977" y="859134"/>
                  <a:pt x="5055859" y="858032"/>
                </a:cubicBezTo>
                <a:cubicBezTo>
                  <a:pt x="5053587" y="857653"/>
                  <a:pt x="5051373" y="857060"/>
                  <a:pt x="5049494" y="856326"/>
                </a:cubicBezTo>
                <a:cubicBezTo>
                  <a:pt x="5046813" y="855263"/>
                  <a:pt x="5044553" y="853737"/>
                  <a:pt x="5042933" y="852038"/>
                </a:cubicBezTo>
                <a:cubicBezTo>
                  <a:pt x="5043838" y="848658"/>
                  <a:pt x="5047615" y="846738"/>
                  <a:pt x="5052159" y="846102"/>
                </a:cubicBezTo>
                <a:close/>
                <a:moveTo>
                  <a:pt x="2090218" y="846063"/>
                </a:moveTo>
                <a:cubicBezTo>
                  <a:pt x="2092367" y="845374"/>
                  <a:pt x="2095270" y="845606"/>
                  <a:pt x="2097034" y="846769"/>
                </a:cubicBezTo>
                <a:cubicBezTo>
                  <a:pt x="2098026" y="847494"/>
                  <a:pt x="2098627" y="848575"/>
                  <a:pt x="2098443" y="850366"/>
                </a:cubicBezTo>
                <a:cubicBezTo>
                  <a:pt x="2094997" y="851052"/>
                  <a:pt x="2092640" y="850997"/>
                  <a:pt x="2087925" y="850882"/>
                </a:cubicBezTo>
                <a:cubicBezTo>
                  <a:pt x="2086673" y="848362"/>
                  <a:pt x="2088068" y="846753"/>
                  <a:pt x="2090218" y="846063"/>
                </a:cubicBezTo>
                <a:close/>
                <a:moveTo>
                  <a:pt x="5499434" y="845096"/>
                </a:moveTo>
                <a:cubicBezTo>
                  <a:pt x="5500904" y="845145"/>
                  <a:pt x="5502039" y="845334"/>
                  <a:pt x="5503365" y="845919"/>
                </a:cubicBezTo>
                <a:cubicBezTo>
                  <a:pt x="5506876" y="847206"/>
                  <a:pt x="5505661" y="849524"/>
                  <a:pt x="5502395" y="851754"/>
                </a:cubicBezTo>
                <a:cubicBezTo>
                  <a:pt x="5499136" y="856171"/>
                  <a:pt x="5495678" y="858005"/>
                  <a:pt x="5491805" y="856967"/>
                </a:cubicBezTo>
                <a:cubicBezTo>
                  <a:pt x="5490422" y="856596"/>
                  <a:pt x="5489095" y="856011"/>
                  <a:pt x="5487855" y="855104"/>
                </a:cubicBezTo>
                <a:cubicBezTo>
                  <a:pt x="5487589" y="853882"/>
                  <a:pt x="5488815" y="850415"/>
                  <a:pt x="5487069" y="850292"/>
                </a:cubicBezTo>
                <a:cubicBezTo>
                  <a:pt x="5490698" y="847815"/>
                  <a:pt x="5495244" y="845238"/>
                  <a:pt x="5499434" y="845096"/>
                </a:cubicBezTo>
                <a:close/>
                <a:moveTo>
                  <a:pt x="1540481" y="844153"/>
                </a:moveTo>
                <a:cubicBezTo>
                  <a:pt x="1540481" y="844153"/>
                  <a:pt x="1539001" y="845251"/>
                  <a:pt x="1538990" y="846397"/>
                </a:cubicBezTo>
                <a:cubicBezTo>
                  <a:pt x="1538990" y="846397"/>
                  <a:pt x="1537480" y="847604"/>
                  <a:pt x="1535972" y="848809"/>
                </a:cubicBezTo>
                <a:cubicBezTo>
                  <a:pt x="1535972" y="848809"/>
                  <a:pt x="1536266" y="849924"/>
                  <a:pt x="1536255" y="851071"/>
                </a:cubicBezTo>
                <a:cubicBezTo>
                  <a:pt x="1533254" y="854522"/>
                  <a:pt x="1532040" y="856842"/>
                  <a:pt x="1525255" y="855598"/>
                </a:cubicBezTo>
                <a:cubicBezTo>
                  <a:pt x="1524990" y="854377"/>
                  <a:pt x="1528257" y="852147"/>
                  <a:pt x="1529765" y="850942"/>
                </a:cubicBezTo>
                <a:cubicBezTo>
                  <a:pt x="1529499" y="849720"/>
                  <a:pt x="1530980" y="848622"/>
                  <a:pt x="1532727" y="848744"/>
                </a:cubicBezTo>
                <a:cubicBezTo>
                  <a:pt x="1532727" y="848744"/>
                  <a:pt x="1534236" y="847539"/>
                  <a:pt x="1533969" y="846318"/>
                </a:cubicBezTo>
                <a:cubicBezTo>
                  <a:pt x="1536959" y="844014"/>
                  <a:pt x="1538706" y="844137"/>
                  <a:pt x="1540481" y="844153"/>
                </a:cubicBezTo>
                <a:close/>
                <a:moveTo>
                  <a:pt x="4682034" y="843082"/>
                </a:moveTo>
                <a:cubicBezTo>
                  <a:pt x="4682585" y="846564"/>
                  <a:pt x="4681617" y="849065"/>
                  <a:pt x="4682167" y="852548"/>
                </a:cubicBezTo>
                <a:cubicBezTo>
                  <a:pt x="4680640" y="852714"/>
                  <a:pt x="4679199" y="852557"/>
                  <a:pt x="4678092" y="852261"/>
                </a:cubicBezTo>
                <a:cubicBezTo>
                  <a:pt x="4674829" y="851157"/>
                  <a:pt x="4673363" y="847774"/>
                  <a:pt x="4672173" y="844465"/>
                </a:cubicBezTo>
                <a:cubicBezTo>
                  <a:pt x="4675562" y="843993"/>
                  <a:pt x="4676223" y="841525"/>
                  <a:pt x="4682034" y="843082"/>
                </a:cubicBezTo>
                <a:close/>
                <a:moveTo>
                  <a:pt x="2621337" y="842468"/>
                </a:moveTo>
                <a:cubicBezTo>
                  <a:pt x="2625030" y="841962"/>
                  <a:pt x="2626242" y="842978"/>
                  <a:pt x="2626087" y="844661"/>
                </a:cubicBezTo>
                <a:cubicBezTo>
                  <a:pt x="2626087" y="844661"/>
                  <a:pt x="2625961" y="846237"/>
                  <a:pt x="2625807" y="847921"/>
                </a:cubicBezTo>
                <a:cubicBezTo>
                  <a:pt x="2625958" y="849572"/>
                  <a:pt x="2627168" y="850586"/>
                  <a:pt x="2627168" y="850586"/>
                </a:cubicBezTo>
                <a:cubicBezTo>
                  <a:pt x="2627014" y="852269"/>
                  <a:pt x="2625649" y="852938"/>
                  <a:pt x="2623320" y="852774"/>
                </a:cubicBezTo>
                <a:cubicBezTo>
                  <a:pt x="2623320" y="852774"/>
                  <a:pt x="2622206" y="850291"/>
                  <a:pt x="2622206" y="850291"/>
                </a:cubicBezTo>
                <a:cubicBezTo>
                  <a:pt x="2622239" y="846849"/>
                  <a:pt x="2622392" y="845166"/>
                  <a:pt x="2621337" y="842468"/>
                </a:cubicBezTo>
                <a:close/>
                <a:moveTo>
                  <a:pt x="2404137" y="841771"/>
                </a:moveTo>
                <a:cubicBezTo>
                  <a:pt x="2404137" y="841771"/>
                  <a:pt x="2404137" y="841771"/>
                  <a:pt x="2405453" y="843503"/>
                </a:cubicBezTo>
                <a:cubicBezTo>
                  <a:pt x="2403020" y="842621"/>
                  <a:pt x="2400699" y="844643"/>
                  <a:pt x="2398457" y="844159"/>
                </a:cubicBezTo>
                <a:cubicBezTo>
                  <a:pt x="2397874" y="844117"/>
                  <a:pt x="2397130" y="843572"/>
                  <a:pt x="2396444" y="842814"/>
                </a:cubicBezTo>
                <a:cubicBezTo>
                  <a:pt x="2398668" y="842260"/>
                  <a:pt x="2401942" y="842217"/>
                  <a:pt x="2404137" y="841771"/>
                </a:cubicBezTo>
                <a:close/>
                <a:moveTo>
                  <a:pt x="1578350" y="840485"/>
                </a:moveTo>
                <a:cubicBezTo>
                  <a:pt x="1582638" y="838457"/>
                  <a:pt x="1588734" y="838394"/>
                  <a:pt x="1594286" y="842584"/>
                </a:cubicBezTo>
                <a:cubicBezTo>
                  <a:pt x="1595405" y="847255"/>
                  <a:pt x="1587428" y="854892"/>
                  <a:pt x="1582893" y="856322"/>
                </a:cubicBezTo>
                <a:cubicBezTo>
                  <a:pt x="1577359" y="854839"/>
                  <a:pt x="1574382" y="852661"/>
                  <a:pt x="1573269" y="850178"/>
                </a:cubicBezTo>
                <a:cubicBezTo>
                  <a:pt x="1571584" y="846506"/>
                  <a:pt x="1574063" y="842514"/>
                  <a:pt x="1578350" y="840485"/>
                </a:cubicBezTo>
                <a:close/>
                <a:moveTo>
                  <a:pt x="2536223" y="840248"/>
                </a:moveTo>
                <a:lnTo>
                  <a:pt x="2538102" y="840980"/>
                </a:lnTo>
                <a:lnTo>
                  <a:pt x="2542598" y="840805"/>
                </a:lnTo>
                <a:cubicBezTo>
                  <a:pt x="2544753" y="841613"/>
                  <a:pt x="2546155" y="843023"/>
                  <a:pt x="2546716" y="845359"/>
                </a:cubicBezTo>
                <a:cubicBezTo>
                  <a:pt x="2547596" y="852034"/>
                  <a:pt x="2539378" y="852823"/>
                  <a:pt x="2529919" y="852703"/>
                </a:cubicBezTo>
                <a:cubicBezTo>
                  <a:pt x="2528529" y="850146"/>
                  <a:pt x="2525743" y="848364"/>
                  <a:pt x="2524324" y="845914"/>
                </a:cubicBezTo>
                <a:lnTo>
                  <a:pt x="2519459" y="844150"/>
                </a:lnTo>
                <a:cubicBezTo>
                  <a:pt x="2521496" y="839865"/>
                  <a:pt x="2529801" y="838756"/>
                  <a:pt x="2536223" y="840248"/>
                </a:cubicBezTo>
                <a:close/>
                <a:moveTo>
                  <a:pt x="2055878" y="839881"/>
                </a:moveTo>
                <a:cubicBezTo>
                  <a:pt x="2059500" y="844071"/>
                  <a:pt x="2058868" y="846432"/>
                  <a:pt x="2056633" y="848133"/>
                </a:cubicBezTo>
                <a:lnTo>
                  <a:pt x="2048993" y="852296"/>
                </a:lnTo>
                <a:lnTo>
                  <a:pt x="2054882" y="860200"/>
                </a:lnTo>
                <a:cubicBezTo>
                  <a:pt x="2059791" y="866229"/>
                  <a:pt x="2064204" y="871897"/>
                  <a:pt x="2059130" y="877552"/>
                </a:cubicBezTo>
                <a:cubicBezTo>
                  <a:pt x="2050319" y="870592"/>
                  <a:pt x="2040360" y="864587"/>
                  <a:pt x="2035236" y="854935"/>
                </a:cubicBezTo>
                <a:lnTo>
                  <a:pt x="2033647" y="849795"/>
                </a:lnTo>
                <a:lnTo>
                  <a:pt x="2031862" y="850926"/>
                </a:lnTo>
                <a:cubicBezTo>
                  <a:pt x="2029389" y="851299"/>
                  <a:pt x="2026231" y="850913"/>
                  <a:pt x="2022634" y="849949"/>
                </a:cubicBezTo>
                <a:cubicBezTo>
                  <a:pt x="2021779" y="846499"/>
                  <a:pt x="2025458" y="841620"/>
                  <a:pt x="2030288" y="841304"/>
                </a:cubicBezTo>
                <a:lnTo>
                  <a:pt x="2033073" y="843085"/>
                </a:lnTo>
                <a:lnTo>
                  <a:pt x="2038012" y="840153"/>
                </a:lnTo>
                <a:cubicBezTo>
                  <a:pt x="2040131" y="838881"/>
                  <a:pt x="2042661" y="838294"/>
                  <a:pt x="2046609" y="840157"/>
                </a:cubicBezTo>
                <a:lnTo>
                  <a:pt x="2046854" y="843673"/>
                </a:lnTo>
                <a:close/>
                <a:moveTo>
                  <a:pt x="2247480" y="839815"/>
                </a:moveTo>
                <a:cubicBezTo>
                  <a:pt x="2248062" y="839856"/>
                  <a:pt x="2249198" y="840044"/>
                  <a:pt x="2251030" y="839846"/>
                </a:cubicBezTo>
                <a:cubicBezTo>
                  <a:pt x="2253358" y="840010"/>
                  <a:pt x="2254448" y="839267"/>
                  <a:pt x="2254598" y="840917"/>
                </a:cubicBezTo>
                <a:cubicBezTo>
                  <a:pt x="2254501" y="842386"/>
                  <a:pt x="2254473" y="842493"/>
                  <a:pt x="2250958" y="844542"/>
                </a:cubicBezTo>
                <a:cubicBezTo>
                  <a:pt x="2251084" y="842965"/>
                  <a:pt x="2251084" y="842965"/>
                  <a:pt x="2248755" y="842802"/>
                </a:cubicBezTo>
                <a:cubicBezTo>
                  <a:pt x="2248755" y="842802"/>
                  <a:pt x="2248479" y="842728"/>
                  <a:pt x="2247389" y="843471"/>
                </a:cubicBezTo>
                <a:cubicBezTo>
                  <a:pt x="2246426" y="842637"/>
                  <a:pt x="2247515" y="841895"/>
                  <a:pt x="2246552" y="841061"/>
                </a:cubicBezTo>
                <a:cubicBezTo>
                  <a:pt x="2246552" y="841061"/>
                  <a:pt x="2247642" y="840318"/>
                  <a:pt x="2247642" y="840318"/>
                </a:cubicBezTo>
                <a:cubicBezTo>
                  <a:pt x="2247145" y="839955"/>
                  <a:pt x="2246897" y="839774"/>
                  <a:pt x="2247480" y="839815"/>
                </a:cubicBezTo>
                <a:close/>
                <a:moveTo>
                  <a:pt x="1369395" y="839595"/>
                </a:moveTo>
                <a:cubicBezTo>
                  <a:pt x="1373302" y="837193"/>
                  <a:pt x="1374922" y="838892"/>
                  <a:pt x="1377639" y="842035"/>
                </a:cubicBezTo>
                <a:cubicBezTo>
                  <a:pt x="1376521" y="842886"/>
                  <a:pt x="1375739" y="843596"/>
                  <a:pt x="1374299" y="843439"/>
                </a:cubicBezTo>
                <a:cubicBezTo>
                  <a:pt x="1373133" y="843358"/>
                  <a:pt x="1371559" y="842590"/>
                  <a:pt x="1369384" y="840743"/>
                </a:cubicBezTo>
                <a:cubicBezTo>
                  <a:pt x="1369384" y="840743"/>
                  <a:pt x="1369395" y="839595"/>
                  <a:pt x="1369395" y="839595"/>
                </a:cubicBezTo>
                <a:close/>
                <a:moveTo>
                  <a:pt x="4687680" y="838614"/>
                </a:moveTo>
                <a:cubicBezTo>
                  <a:pt x="4689426" y="838739"/>
                  <a:pt x="4691202" y="838753"/>
                  <a:pt x="4692966" y="839916"/>
                </a:cubicBezTo>
                <a:cubicBezTo>
                  <a:pt x="4694701" y="841186"/>
                  <a:pt x="4692955" y="841063"/>
                  <a:pt x="4694701" y="841186"/>
                </a:cubicBezTo>
                <a:cubicBezTo>
                  <a:pt x="4696466" y="842350"/>
                  <a:pt x="4696477" y="841202"/>
                  <a:pt x="4696477" y="841202"/>
                </a:cubicBezTo>
                <a:cubicBezTo>
                  <a:pt x="4696477" y="841202"/>
                  <a:pt x="4696466" y="842350"/>
                  <a:pt x="4696466" y="842350"/>
                </a:cubicBezTo>
                <a:cubicBezTo>
                  <a:pt x="4696466" y="842350"/>
                  <a:pt x="4696466" y="842350"/>
                  <a:pt x="4699966" y="844782"/>
                </a:cubicBezTo>
                <a:cubicBezTo>
                  <a:pt x="4705547" y="847197"/>
                  <a:pt x="4707294" y="847320"/>
                  <a:pt x="4710834" y="848499"/>
                </a:cubicBezTo>
                <a:cubicBezTo>
                  <a:pt x="4714333" y="850931"/>
                  <a:pt x="4714599" y="852154"/>
                  <a:pt x="4718393" y="855700"/>
                </a:cubicBezTo>
                <a:lnTo>
                  <a:pt x="4717495" y="856839"/>
                </a:lnTo>
                <a:lnTo>
                  <a:pt x="4720787" y="857836"/>
                </a:lnTo>
                <a:cubicBezTo>
                  <a:pt x="4725671" y="860640"/>
                  <a:pt x="4728261" y="865360"/>
                  <a:pt x="4726368" y="869107"/>
                </a:cubicBezTo>
                <a:lnTo>
                  <a:pt x="4721965" y="871147"/>
                </a:lnTo>
                <a:lnTo>
                  <a:pt x="4718706" y="875564"/>
                </a:lnTo>
                <a:cubicBezTo>
                  <a:pt x="4716942" y="874401"/>
                  <a:pt x="4713941" y="877852"/>
                  <a:pt x="4710685" y="878934"/>
                </a:cubicBezTo>
                <a:cubicBezTo>
                  <a:pt x="4708051" y="878804"/>
                  <a:pt x="4705971" y="878821"/>
                  <a:pt x="4703975" y="878518"/>
                </a:cubicBezTo>
                <a:cubicBezTo>
                  <a:pt x="4702010" y="878106"/>
                  <a:pt x="4700350" y="877661"/>
                  <a:pt x="4698614" y="876390"/>
                </a:cubicBezTo>
                <a:cubicBezTo>
                  <a:pt x="4695829" y="874609"/>
                  <a:pt x="4693361" y="871647"/>
                  <a:pt x="4692085" y="868661"/>
                </a:cubicBezTo>
                <a:lnTo>
                  <a:pt x="4691934" y="867010"/>
                </a:lnTo>
                <a:lnTo>
                  <a:pt x="4691075" y="866895"/>
                </a:lnTo>
                <a:cubicBezTo>
                  <a:pt x="4685225" y="866593"/>
                  <a:pt x="4679461" y="865968"/>
                  <a:pt x="4673736" y="864089"/>
                </a:cubicBezTo>
                <a:cubicBezTo>
                  <a:pt x="4677204" y="861108"/>
                  <a:pt x="4683993" y="859017"/>
                  <a:pt x="4690511" y="859038"/>
                </a:cubicBezTo>
                <a:lnTo>
                  <a:pt x="4694996" y="860011"/>
                </a:lnTo>
                <a:lnTo>
                  <a:pt x="4700688" y="856476"/>
                </a:lnTo>
                <a:cubicBezTo>
                  <a:pt x="4702999" y="855600"/>
                  <a:pt x="4705690" y="855516"/>
                  <a:pt x="4708076" y="855466"/>
                </a:cubicBezTo>
                <a:cubicBezTo>
                  <a:pt x="4708076" y="855466"/>
                  <a:pt x="4708076" y="855466"/>
                  <a:pt x="4706301" y="855449"/>
                </a:cubicBezTo>
                <a:cubicBezTo>
                  <a:pt x="4698996" y="850617"/>
                  <a:pt x="4686149" y="842115"/>
                  <a:pt x="4687680" y="838614"/>
                </a:cubicBezTo>
                <a:close/>
                <a:moveTo>
                  <a:pt x="1348190" y="837939"/>
                </a:moveTo>
                <a:cubicBezTo>
                  <a:pt x="1354798" y="843160"/>
                  <a:pt x="1355003" y="847929"/>
                  <a:pt x="1351981" y="853675"/>
                </a:cubicBezTo>
                <a:cubicBezTo>
                  <a:pt x="1348793" y="853397"/>
                  <a:pt x="1343586" y="849585"/>
                  <a:pt x="1340421" y="847012"/>
                </a:cubicBezTo>
                <a:cubicBezTo>
                  <a:pt x="1340205" y="843390"/>
                  <a:pt x="1343454" y="840120"/>
                  <a:pt x="1348190" y="837939"/>
                </a:cubicBezTo>
                <a:close/>
                <a:moveTo>
                  <a:pt x="4770907" y="837915"/>
                </a:moveTo>
                <a:cubicBezTo>
                  <a:pt x="4772901" y="838220"/>
                  <a:pt x="4774838" y="838739"/>
                  <a:pt x="4777214" y="839835"/>
                </a:cubicBezTo>
                <a:cubicBezTo>
                  <a:pt x="4768930" y="847505"/>
                  <a:pt x="4767090" y="854373"/>
                  <a:pt x="4762300" y="862289"/>
                </a:cubicBezTo>
                <a:cubicBezTo>
                  <a:pt x="4760553" y="862166"/>
                  <a:pt x="4759170" y="861795"/>
                  <a:pt x="4757042" y="860880"/>
                </a:cubicBezTo>
                <a:cubicBezTo>
                  <a:pt x="4755192" y="860040"/>
                  <a:pt x="4753179" y="858695"/>
                  <a:pt x="4750452" y="856700"/>
                </a:cubicBezTo>
                <a:cubicBezTo>
                  <a:pt x="4763935" y="850653"/>
                  <a:pt x="4745349" y="844752"/>
                  <a:pt x="4755328" y="839606"/>
                </a:cubicBezTo>
                <a:cubicBezTo>
                  <a:pt x="4760216" y="839076"/>
                  <a:pt x="4765200" y="837077"/>
                  <a:pt x="4770907" y="837915"/>
                </a:cubicBezTo>
                <a:close/>
                <a:moveTo>
                  <a:pt x="943991" y="837850"/>
                </a:moveTo>
                <a:lnTo>
                  <a:pt x="950037" y="840736"/>
                </a:lnTo>
                <a:cubicBezTo>
                  <a:pt x="949052" y="842197"/>
                  <a:pt x="946264" y="843750"/>
                  <a:pt x="944443" y="842802"/>
                </a:cubicBezTo>
                <a:cubicBezTo>
                  <a:pt x="942476" y="842390"/>
                  <a:pt x="942343" y="841779"/>
                  <a:pt x="942544" y="841028"/>
                </a:cubicBezTo>
                <a:cubicBezTo>
                  <a:pt x="942774" y="840169"/>
                  <a:pt x="943645" y="839138"/>
                  <a:pt x="943991" y="837850"/>
                </a:cubicBezTo>
                <a:close/>
                <a:moveTo>
                  <a:pt x="4788946" y="836999"/>
                </a:moveTo>
                <a:cubicBezTo>
                  <a:pt x="4799498" y="841896"/>
                  <a:pt x="4801567" y="860736"/>
                  <a:pt x="4796820" y="864064"/>
                </a:cubicBezTo>
                <a:cubicBezTo>
                  <a:pt x="4791278" y="860394"/>
                  <a:pt x="4792514" y="855780"/>
                  <a:pt x="4786984" y="850963"/>
                </a:cubicBezTo>
                <a:cubicBezTo>
                  <a:pt x="4789985" y="847513"/>
                  <a:pt x="4784465" y="841548"/>
                  <a:pt x="4788946" y="836999"/>
                </a:cubicBezTo>
                <a:close/>
                <a:moveTo>
                  <a:pt x="1726050" y="836721"/>
                </a:moveTo>
                <a:cubicBezTo>
                  <a:pt x="1731350" y="842395"/>
                  <a:pt x="1732695" y="844020"/>
                  <a:pt x="1727659" y="848422"/>
                </a:cubicBezTo>
                <a:cubicBezTo>
                  <a:pt x="1727659" y="848422"/>
                  <a:pt x="1725712" y="849049"/>
                  <a:pt x="1725712" y="849049"/>
                </a:cubicBezTo>
                <a:cubicBezTo>
                  <a:pt x="1719361" y="851718"/>
                  <a:pt x="1709275" y="850625"/>
                  <a:pt x="1706328" y="848341"/>
                </a:cubicBezTo>
                <a:cubicBezTo>
                  <a:pt x="1703669" y="844983"/>
                  <a:pt x="1703551" y="839891"/>
                  <a:pt x="1709336" y="838222"/>
                </a:cubicBezTo>
                <a:cubicBezTo>
                  <a:pt x="1713768" y="836074"/>
                  <a:pt x="1720264" y="838390"/>
                  <a:pt x="1726050" y="836721"/>
                </a:cubicBezTo>
                <a:close/>
                <a:moveTo>
                  <a:pt x="4922167" y="835665"/>
                </a:moveTo>
                <a:cubicBezTo>
                  <a:pt x="4931424" y="836535"/>
                  <a:pt x="4930098" y="844806"/>
                  <a:pt x="4925315" y="846053"/>
                </a:cubicBezTo>
                <a:cubicBezTo>
                  <a:pt x="4924646" y="846334"/>
                  <a:pt x="4923759" y="846327"/>
                  <a:pt x="4922929" y="846105"/>
                </a:cubicBezTo>
                <a:cubicBezTo>
                  <a:pt x="4922098" y="845882"/>
                  <a:pt x="4921049" y="845370"/>
                  <a:pt x="4920087" y="844537"/>
                </a:cubicBezTo>
                <a:cubicBezTo>
                  <a:pt x="4919917" y="841847"/>
                  <a:pt x="4921057" y="838703"/>
                  <a:pt x="4922167" y="835665"/>
                </a:cubicBezTo>
                <a:close/>
                <a:moveTo>
                  <a:pt x="1416004" y="835410"/>
                </a:moveTo>
                <a:cubicBezTo>
                  <a:pt x="1419196" y="835259"/>
                  <a:pt x="1422550" y="837682"/>
                  <a:pt x="1423601" y="845380"/>
                </a:cubicBezTo>
                <a:cubicBezTo>
                  <a:pt x="1417740" y="846225"/>
                  <a:pt x="1414246" y="845979"/>
                  <a:pt x="1411843" y="844989"/>
                </a:cubicBezTo>
                <a:cubicBezTo>
                  <a:pt x="1409715" y="844075"/>
                  <a:pt x="1409230" y="842565"/>
                  <a:pt x="1409385" y="840881"/>
                </a:cubicBezTo>
                <a:cubicBezTo>
                  <a:pt x="1409784" y="838285"/>
                  <a:pt x="1412812" y="835561"/>
                  <a:pt x="1416004" y="835410"/>
                </a:cubicBezTo>
                <a:close/>
                <a:moveTo>
                  <a:pt x="1737466" y="835064"/>
                </a:moveTo>
                <a:cubicBezTo>
                  <a:pt x="1744366" y="835877"/>
                  <a:pt x="1770061" y="844027"/>
                  <a:pt x="1758456" y="850809"/>
                </a:cubicBezTo>
                <a:lnTo>
                  <a:pt x="1758180" y="850735"/>
                </a:lnTo>
                <a:lnTo>
                  <a:pt x="1759283" y="854365"/>
                </a:lnTo>
                <a:cubicBezTo>
                  <a:pt x="1758603" y="855793"/>
                  <a:pt x="1756600" y="856636"/>
                  <a:pt x="1753954" y="857652"/>
                </a:cubicBezTo>
                <a:cubicBezTo>
                  <a:pt x="1752753" y="855490"/>
                  <a:pt x="1752573" y="853947"/>
                  <a:pt x="1753252" y="852519"/>
                </a:cubicBezTo>
                <a:lnTo>
                  <a:pt x="1755776" y="849745"/>
                </a:lnTo>
                <a:lnTo>
                  <a:pt x="1744833" y="845203"/>
                </a:lnTo>
                <a:cubicBezTo>
                  <a:pt x="1740769" y="843769"/>
                  <a:pt x="1737592" y="842343"/>
                  <a:pt x="1736363" y="840288"/>
                </a:cubicBezTo>
                <a:cubicBezTo>
                  <a:pt x="1735572" y="838811"/>
                  <a:pt x="1736004" y="837202"/>
                  <a:pt x="1737466" y="835064"/>
                </a:cubicBezTo>
                <a:close/>
                <a:moveTo>
                  <a:pt x="4825342" y="833986"/>
                </a:moveTo>
                <a:cubicBezTo>
                  <a:pt x="4825630" y="832913"/>
                  <a:pt x="4828864" y="834124"/>
                  <a:pt x="4828864" y="834124"/>
                </a:cubicBezTo>
                <a:cubicBezTo>
                  <a:pt x="4831782" y="836517"/>
                  <a:pt x="4828983" y="839217"/>
                  <a:pt x="4828130" y="841289"/>
                </a:cubicBezTo>
                <a:cubicBezTo>
                  <a:pt x="4829312" y="842410"/>
                  <a:pt x="4828195" y="843261"/>
                  <a:pt x="4826830" y="843929"/>
                </a:cubicBezTo>
                <a:lnTo>
                  <a:pt x="4826743" y="844252"/>
                </a:lnTo>
                <a:lnTo>
                  <a:pt x="4829212" y="847212"/>
                </a:lnTo>
                <a:cubicBezTo>
                  <a:pt x="4830194" y="849085"/>
                  <a:pt x="4830841" y="851099"/>
                  <a:pt x="4831095" y="853468"/>
                </a:cubicBezTo>
                <a:cubicBezTo>
                  <a:pt x="4829691" y="855391"/>
                  <a:pt x="4826434" y="856474"/>
                  <a:pt x="4822988" y="857161"/>
                </a:cubicBezTo>
                <a:lnTo>
                  <a:pt x="4818855" y="857088"/>
                </a:lnTo>
                <a:lnTo>
                  <a:pt x="4818406" y="857658"/>
                </a:lnTo>
                <a:cubicBezTo>
                  <a:pt x="4817393" y="859226"/>
                  <a:pt x="4815855" y="860539"/>
                  <a:pt x="4812905" y="861589"/>
                </a:cubicBezTo>
                <a:lnTo>
                  <a:pt x="4813559" y="856933"/>
                </a:lnTo>
                <a:lnTo>
                  <a:pt x="4812671" y="856926"/>
                </a:lnTo>
                <a:cubicBezTo>
                  <a:pt x="4810429" y="856440"/>
                  <a:pt x="4808549" y="855707"/>
                  <a:pt x="4807644" y="854659"/>
                </a:cubicBezTo>
                <a:cubicBezTo>
                  <a:pt x="4802789" y="842892"/>
                  <a:pt x="4810354" y="837904"/>
                  <a:pt x="4818274" y="839337"/>
                </a:cubicBezTo>
                <a:lnTo>
                  <a:pt x="4819877" y="839996"/>
                </a:lnTo>
                <a:lnTo>
                  <a:pt x="4820940" y="836026"/>
                </a:lnTo>
                <a:cubicBezTo>
                  <a:pt x="4820940" y="836026"/>
                  <a:pt x="4820940" y="836026"/>
                  <a:pt x="4824778" y="834984"/>
                </a:cubicBezTo>
                <a:cubicBezTo>
                  <a:pt x="4825342" y="833986"/>
                  <a:pt x="4825342" y="833986"/>
                  <a:pt x="4825342" y="833986"/>
                </a:cubicBezTo>
                <a:close/>
                <a:moveTo>
                  <a:pt x="4503700" y="833479"/>
                </a:moveTo>
                <a:cubicBezTo>
                  <a:pt x="4509910" y="836867"/>
                  <a:pt x="4509985" y="846547"/>
                  <a:pt x="4504418" y="848506"/>
                </a:cubicBezTo>
                <a:cubicBezTo>
                  <a:pt x="4504465" y="840584"/>
                  <a:pt x="4497045" y="836179"/>
                  <a:pt x="4503700" y="833479"/>
                </a:cubicBezTo>
                <a:close/>
                <a:moveTo>
                  <a:pt x="4964575" y="833458"/>
                </a:moveTo>
                <a:cubicBezTo>
                  <a:pt x="4966264" y="833795"/>
                  <a:pt x="4967895" y="834348"/>
                  <a:pt x="4969659" y="835510"/>
                </a:cubicBezTo>
                <a:cubicBezTo>
                  <a:pt x="4971406" y="835633"/>
                  <a:pt x="4973415" y="840311"/>
                  <a:pt x="4971905" y="841517"/>
                </a:cubicBezTo>
                <a:cubicBezTo>
                  <a:pt x="4968905" y="844968"/>
                  <a:pt x="4963630" y="842519"/>
                  <a:pt x="4956874" y="841169"/>
                </a:cubicBezTo>
                <a:cubicBezTo>
                  <a:pt x="4958384" y="839964"/>
                  <a:pt x="4956618" y="838801"/>
                  <a:pt x="4954883" y="837531"/>
                </a:cubicBezTo>
                <a:cubicBezTo>
                  <a:pt x="4957395" y="835904"/>
                  <a:pt x="4960281" y="832882"/>
                  <a:pt x="4964575" y="833458"/>
                </a:cubicBezTo>
                <a:close/>
                <a:moveTo>
                  <a:pt x="1759747" y="831603"/>
                </a:moveTo>
                <a:cubicBezTo>
                  <a:pt x="1759747" y="831603"/>
                  <a:pt x="1761072" y="832189"/>
                  <a:pt x="1761072" y="832189"/>
                </a:cubicBezTo>
                <a:lnTo>
                  <a:pt x="1762492" y="834640"/>
                </a:lnTo>
                <a:lnTo>
                  <a:pt x="1763046" y="834788"/>
                </a:lnTo>
                <a:cubicBezTo>
                  <a:pt x="1765391" y="835991"/>
                  <a:pt x="1766984" y="837798"/>
                  <a:pt x="1767907" y="839885"/>
                </a:cubicBezTo>
                <a:cubicBezTo>
                  <a:pt x="1765338" y="841727"/>
                  <a:pt x="1762503" y="842348"/>
                  <a:pt x="1759954" y="841894"/>
                </a:cubicBezTo>
                <a:cubicBezTo>
                  <a:pt x="1757684" y="841516"/>
                  <a:pt x="1755394" y="840097"/>
                  <a:pt x="1754166" y="838043"/>
                </a:cubicBezTo>
                <a:cubicBezTo>
                  <a:pt x="1753346" y="836674"/>
                  <a:pt x="1752889" y="835056"/>
                  <a:pt x="1753102" y="833158"/>
                </a:cubicBezTo>
                <a:lnTo>
                  <a:pt x="1757645" y="833915"/>
                </a:lnTo>
                <a:close/>
                <a:moveTo>
                  <a:pt x="1807879" y="831276"/>
                </a:moveTo>
                <a:cubicBezTo>
                  <a:pt x="1809867" y="829393"/>
                  <a:pt x="1827443" y="833527"/>
                  <a:pt x="1824344" y="838448"/>
                </a:cubicBezTo>
                <a:cubicBezTo>
                  <a:pt x="1823226" y="839297"/>
                  <a:pt x="1821671" y="839571"/>
                  <a:pt x="1819982" y="839234"/>
                </a:cubicBezTo>
                <a:cubicBezTo>
                  <a:pt x="1814857" y="838436"/>
                  <a:pt x="1807915" y="833355"/>
                  <a:pt x="1807879" y="831276"/>
                </a:cubicBezTo>
                <a:close/>
                <a:moveTo>
                  <a:pt x="1352473" y="830807"/>
                </a:moveTo>
                <a:cubicBezTo>
                  <a:pt x="1354422" y="830178"/>
                  <a:pt x="1359019" y="834055"/>
                  <a:pt x="1360648" y="834607"/>
                </a:cubicBezTo>
                <a:cubicBezTo>
                  <a:pt x="1360361" y="835681"/>
                  <a:pt x="1358414" y="836309"/>
                  <a:pt x="1358098" y="837489"/>
                </a:cubicBezTo>
                <a:cubicBezTo>
                  <a:pt x="1356466" y="836936"/>
                  <a:pt x="1353145" y="836047"/>
                  <a:pt x="1351830" y="834314"/>
                </a:cubicBezTo>
                <a:cubicBezTo>
                  <a:pt x="1350170" y="833869"/>
                  <a:pt x="1352473" y="830807"/>
                  <a:pt x="1352473" y="830807"/>
                </a:cubicBezTo>
                <a:close/>
                <a:moveTo>
                  <a:pt x="2378142" y="830320"/>
                </a:moveTo>
                <a:cubicBezTo>
                  <a:pt x="2382871" y="834807"/>
                  <a:pt x="2380690" y="839628"/>
                  <a:pt x="2393552" y="843649"/>
                </a:cubicBezTo>
                <a:lnTo>
                  <a:pt x="2387068" y="845707"/>
                </a:lnTo>
                <a:lnTo>
                  <a:pt x="2388175" y="846003"/>
                </a:lnTo>
                <a:lnTo>
                  <a:pt x="2380316" y="849878"/>
                </a:lnTo>
                <a:lnTo>
                  <a:pt x="2379302" y="851446"/>
                </a:lnTo>
                <a:cubicBezTo>
                  <a:pt x="2378813" y="853270"/>
                  <a:pt x="2378019" y="855128"/>
                  <a:pt x="2375127" y="855963"/>
                </a:cubicBezTo>
                <a:lnTo>
                  <a:pt x="2367896" y="851954"/>
                </a:lnTo>
                <a:lnTo>
                  <a:pt x="2366340" y="852228"/>
                </a:lnTo>
                <a:cubicBezTo>
                  <a:pt x="2358018" y="852299"/>
                  <a:pt x="2349267" y="850643"/>
                  <a:pt x="2343820" y="848839"/>
                </a:cubicBezTo>
                <a:cubicBezTo>
                  <a:pt x="2346504" y="846568"/>
                  <a:pt x="2349904" y="844949"/>
                  <a:pt x="2353770" y="843801"/>
                </a:cubicBezTo>
                <a:lnTo>
                  <a:pt x="2363936" y="842383"/>
                </a:lnTo>
                <a:lnTo>
                  <a:pt x="2363749" y="838654"/>
                </a:lnTo>
                <a:lnTo>
                  <a:pt x="2361572" y="840140"/>
                </a:lnTo>
                <a:lnTo>
                  <a:pt x="2361198" y="841535"/>
                </a:lnTo>
                <a:lnTo>
                  <a:pt x="2358726" y="841907"/>
                </a:lnTo>
                <a:lnTo>
                  <a:pt x="2358000" y="842403"/>
                </a:lnTo>
                <a:cubicBezTo>
                  <a:pt x="2348176" y="845865"/>
                  <a:pt x="2336571" y="843792"/>
                  <a:pt x="2324663" y="841750"/>
                </a:cubicBezTo>
                <a:cubicBezTo>
                  <a:pt x="2326463" y="836138"/>
                  <a:pt x="2333280" y="833939"/>
                  <a:pt x="2341660" y="833656"/>
                </a:cubicBezTo>
                <a:lnTo>
                  <a:pt x="2364295" y="836615"/>
                </a:lnTo>
                <a:lnTo>
                  <a:pt x="2365215" y="833181"/>
                </a:lnTo>
                <a:cubicBezTo>
                  <a:pt x="2368386" y="832421"/>
                  <a:pt x="2370322" y="832939"/>
                  <a:pt x="2372363" y="834177"/>
                </a:cubicBezTo>
                <a:lnTo>
                  <a:pt x="2375529" y="836750"/>
                </a:lnTo>
                <a:close/>
                <a:moveTo>
                  <a:pt x="1985930" y="829763"/>
                </a:moveTo>
                <a:cubicBezTo>
                  <a:pt x="1988085" y="830571"/>
                  <a:pt x="1987762" y="829565"/>
                  <a:pt x="1988409" y="831578"/>
                </a:cubicBezTo>
                <a:cubicBezTo>
                  <a:pt x="1986252" y="830770"/>
                  <a:pt x="1986252" y="830770"/>
                  <a:pt x="1984421" y="830969"/>
                </a:cubicBezTo>
                <a:cubicBezTo>
                  <a:pt x="1984421" y="830969"/>
                  <a:pt x="1985930" y="829763"/>
                  <a:pt x="1985930" y="829763"/>
                </a:cubicBezTo>
                <a:close/>
                <a:moveTo>
                  <a:pt x="1996391" y="829461"/>
                </a:moveTo>
                <a:cubicBezTo>
                  <a:pt x="1996391" y="829461"/>
                  <a:pt x="1996714" y="830468"/>
                  <a:pt x="1996714" y="830468"/>
                </a:cubicBezTo>
                <a:cubicBezTo>
                  <a:pt x="1995797" y="830568"/>
                  <a:pt x="1995157" y="830741"/>
                  <a:pt x="1994270" y="830734"/>
                </a:cubicBezTo>
                <a:cubicBezTo>
                  <a:pt x="1993688" y="830692"/>
                  <a:pt x="1992886" y="830362"/>
                  <a:pt x="1992725" y="829859"/>
                </a:cubicBezTo>
                <a:cubicBezTo>
                  <a:pt x="1992401" y="828852"/>
                  <a:pt x="1993958" y="828580"/>
                  <a:pt x="1996391" y="829461"/>
                </a:cubicBezTo>
                <a:close/>
                <a:moveTo>
                  <a:pt x="1951676" y="829210"/>
                </a:moveTo>
                <a:lnTo>
                  <a:pt x="1957792" y="830734"/>
                </a:lnTo>
                <a:lnTo>
                  <a:pt x="1962039" y="830377"/>
                </a:lnTo>
                <a:cubicBezTo>
                  <a:pt x="1968701" y="829863"/>
                  <a:pt x="1980050" y="829568"/>
                  <a:pt x="1984478" y="830754"/>
                </a:cubicBezTo>
                <a:cubicBezTo>
                  <a:pt x="1980039" y="830715"/>
                  <a:pt x="1975400" y="831428"/>
                  <a:pt x="1970570" y="831742"/>
                </a:cubicBezTo>
                <a:lnTo>
                  <a:pt x="1958345" y="830882"/>
                </a:lnTo>
                <a:lnTo>
                  <a:pt x="1967476" y="833329"/>
                </a:lnTo>
                <a:cubicBezTo>
                  <a:pt x="1977790" y="836898"/>
                  <a:pt x="1987789" y="841647"/>
                  <a:pt x="2000601" y="844735"/>
                </a:cubicBezTo>
                <a:cubicBezTo>
                  <a:pt x="2000127" y="859789"/>
                  <a:pt x="2012492" y="863446"/>
                  <a:pt x="2020473" y="870185"/>
                </a:cubicBezTo>
                <a:cubicBezTo>
                  <a:pt x="2018676" y="872464"/>
                  <a:pt x="2017376" y="875105"/>
                  <a:pt x="2016629" y="877895"/>
                </a:cubicBezTo>
                <a:lnTo>
                  <a:pt x="2015187" y="886594"/>
                </a:lnTo>
                <a:lnTo>
                  <a:pt x="2021681" y="892243"/>
                </a:lnTo>
                <a:cubicBezTo>
                  <a:pt x="2024939" y="896682"/>
                  <a:pt x="2024286" y="901337"/>
                  <a:pt x="2020218" y="903236"/>
                </a:cubicBezTo>
                <a:lnTo>
                  <a:pt x="2012973" y="903710"/>
                </a:lnTo>
                <a:lnTo>
                  <a:pt x="2012599" y="905106"/>
                </a:lnTo>
                <a:cubicBezTo>
                  <a:pt x="2003472" y="908179"/>
                  <a:pt x="1995919" y="912020"/>
                  <a:pt x="1988394" y="915755"/>
                </a:cubicBezTo>
                <a:lnTo>
                  <a:pt x="1986301" y="916919"/>
                </a:lnTo>
                <a:lnTo>
                  <a:pt x="1990890" y="918608"/>
                </a:lnTo>
                <a:lnTo>
                  <a:pt x="1995990" y="925035"/>
                </a:lnTo>
                <a:lnTo>
                  <a:pt x="2003395" y="925064"/>
                </a:lnTo>
                <a:cubicBezTo>
                  <a:pt x="2009905" y="926234"/>
                  <a:pt x="2016153" y="928368"/>
                  <a:pt x="2020340" y="931560"/>
                </a:cubicBezTo>
                <a:lnTo>
                  <a:pt x="2024799" y="938160"/>
                </a:lnTo>
                <a:lnTo>
                  <a:pt x="2025906" y="938457"/>
                </a:lnTo>
                <a:cubicBezTo>
                  <a:pt x="2028594" y="941707"/>
                  <a:pt x="2029610" y="945659"/>
                  <a:pt x="2027663" y="946287"/>
                </a:cubicBezTo>
                <a:cubicBezTo>
                  <a:pt x="2024742" y="947230"/>
                  <a:pt x="2022097" y="948246"/>
                  <a:pt x="2019254" y="946679"/>
                </a:cubicBezTo>
                <a:cubicBezTo>
                  <a:pt x="2018233" y="946061"/>
                  <a:pt x="2017271" y="945227"/>
                  <a:pt x="2016116" y="943999"/>
                </a:cubicBezTo>
                <a:cubicBezTo>
                  <a:pt x="2016116" y="943999"/>
                  <a:pt x="2016116" y="943999"/>
                  <a:pt x="2016404" y="942925"/>
                </a:cubicBezTo>
                <a:lnTo>
                  <a:pt x="2016674" y="940812"/>
                </a:lnTo>
                <a:lnTo>
                  <a:pt x="2005057" y="943220"/>
                </a:lnTo>
                <a:cubicBezTo>
                  <a:pt x="1997258" y="943545"/>
                  <a:pt x="1988363" y="942427"/>
                  <a:pt x="1978184" y="939470"/>
                </a:cubicBezTo>
                <a:cubicBezTo>
                  <a:pt x="1972017" y="931492"/>
                  <a:pt x="1976556" y="926728"/>
                  <a:pt x="1985034" y="924975"/>
                </a:cubicBezTo>
                <a:lnTo>
                  <a:pt x="1985587" y="925123"/>
                </a:lnTo>
                <a:lnTo>
                  <a:pt x="1985292" y="924008"/>
                </a:lnTo>
                <a:cubicBezTo>
                  <a:pt x="1984236" y="921311"/>
                  <a:pt x="1982873" y="918646"/>
                  <a:pt x="1982873" y="918646"/>
                </a:cubicBezTo>
                <a:lnTo>
                  <a:pt x="1985356" y="917126"/>
                </a:lnTo>
                <a:lnTo>
                  <a:pt x="1964434" y="926586"/>
                </a:lnTo>
                <a:lnTo>
                  <a:pt x="1950599" y="922879"/>
                </a:lnTo>
                <a:lnTo>
                  <a:pt x="1950265" y="923018"/>
                </a:lnTo>
                <a:cubicBezTo>
                  <a:pt x="1950455" y="923415"/>
                  <a:pt x="1950646" y="923811"/>
                  <a:pt x="1950503" y="924347"/>
                </a:cubicBezTo>
                <a:cubicBezTo>
                  <a:pt x="1950503" y="924347"/>
                  <a:pt x="1950791" y="923274"/>
                  <a:pt x="1952105" y="925007"/>
                </a:cubicBezTo>
                <a:cubicBezTo>
                  <a:pt x="1950503" y="924347"/>
                  <a:pt x="1950187" y="925527"/>
                  <a:pt x="1949899" y="926600"/>
                </a:cubicBezTo>
                <a:cubicBezTo>
                  <a:pt x="1946032" y="927749"/>
                  <a:pt x="1940257" y="928272"/>
                  <a:pt x="1937587" y="926061"/>
                </a:cubicBezTo>
                <a:cubicBezTo>
                  <a:pt x="1936272" y="924329"/>
                  <a:pt x="1936034" y="923000"/>
                  <a:pt x="1936570" y="922109"/>
                </a:cubicBezTo>
                <a:lnTo>
                  <a:pt x="1938385" y="920870"/>
                </a:lnTo>
                <a:lnTo>
                  <a:pt x="1928078" y="919488"/>
                </a:lnTo>
                <a:cubicBezTo>
                  <a:pt x="1915225" y="917655"/>
                  <a:pt x="1903211" y="914896"/>
                  <a:pt x="1895576" y="906869"/>
                </a:cubicBezTo>
                <a:cubicBezTo>
                  <a:pt x="1896049" y="891817"/>
                  <a:pt x="1884773" y="887414"/>
                  <a:pt x="1880145" y="878125"/>
                </a:cubicBezTo>
                <a:lnTo>
                  <a:pt x="1883362" y="869442"/>
                </a:lnTo>
                <a:lnTo>
                  <a:pt x="1876669" y="870064"/>
                </a:lnTo>
                <a:cubicBezTo>
                  <a:pt x="1876932" y="865763"/>
                  <a:pt x="1869508" y="864694"/>
                  <a:pt x="1873511" y="860822"/>
                </a:cubicBezTo>
                <a:cubicBezTo>
                  <a:pt x="1875067" y="860549"/>
                  <a:pt x="1876872" y="860457"/>
                  <a:pt x="1878836" y="860868"/>
                </a:cubicBezTo>
                <a:lnTo>
                  <a:pt x="1885524" y="863581"/>
                </a:lnTo>
                <a:lnTo>
                  <a:pt x="1886031" y="862796"/>
                </a:lnTo>
                <a:lnTo>
                  <a:pt x="1891289" y="855350"/>
                </a:lnTo>
                <a:lnTo>
                  <a:pt x="1887850" y="849369"/>
                </a:lnTo>
                <a:lnTo>
                  <a:pt x="1894750" y="850183"/>
                </a:lnTo>
                <a:lnTo>
                  <a:pt x="1896546" y="847904"/>
                </a:lnTo>
                <a:lnTo>
                  <a:pt x="1903673" y="842338"/>
                </a:lnTo>
                <a:lnTo>
                  <a:pt x="1902957" y="841687"/>
                </a:lnTo>
                <a:cubicBezTo>
                  <a:pt x="1902137" y="840317"/>
                  <a:pt x="1902454" y="839136"/>
                  <a:pt x="1903601" y="838179"/>
                </a:cubicBezTo>
                <a:lnTo>
                  <a:pt x="1911104" y="836739"/>
                </a:lnTo>
                <a:lnTo>
                  <a:pt x="1912192" y="835996"/>
                </a:lnTo>
                <a:cubicBezTo>
                  <a:pt x="1918410" y="832717"/>
                  <a:pt x="1925285" y="830304"/>
                  <a:pt x="1933560" y="829301"/>
                </a:cubicBezTo>
                <a:cubicBezTo>
                  <a:pt x="1940062" y="828283"/>
                  <a:pt x="1946246" y="828445"/>
                  <a:pt x="1951676" y="829210"/>
                </a:cubicBezTo>
                <a:close/>
                <a:moveTo>
                  <a:pt x="1430079" y="828816"/>
                </a:moveTo>
                <a:cubicBezTo>
                  <a:pt x="1431580" y="828054"/>
                  <a:pt x="1433102" y="827628"/>
                  <a:pt x="1436178" y="829430"/>
                </a:cubicBezTo>
                <a:cubicBezTo>
                  <a:pt x="1437655" y="831666"/>
                  <a:pt x="1437853" y="834249"/>
                  <a:pt x="1434823" y="837808"/>
                </a:cubicBezTo>
                <a:cubicBezTo>
                  <a:pt x="1432742" y="837824"/>
                  <a:pt x="1430750" y="837520"/>
                  <a:pt x="1429394" y="837042"/>
                </a:cubicBezTo>
                <a:cubicBezTo>
                  <a:pt x="1425272" y="835823"/>
                  <a:pt x="1424827" y="833058"/>
                  <a:pt x="1424104" y="830220"/>
                </a:cubicBezTo>
                <a:cubicBezTo>
                  <a:pt x="1427096" y="830677"/>
                  <a:pt x="1428577" y="829578"/>
                  <a:pt x="1430079" y="828816"/>
                </a:cubicBezTo>
                <a:close/>
                <a:moveTo>
                  <a:pt x="2004084" y="828418"/>
                </a:moveTo>
                <a:cubicBezTo>
                  <a:pt x="2006183" y="829440"/>
                  <a:pt x="2006183" y="829440"/>
                  <a:pt x="2007327" y="831816"/>
                </a:cubicBezTo>
                <a:cubicBezTo>
                  <a:pt x="2004443" y="831504"/>
                  <a:pt x="2003003" y="831348"/>
                  <a:pt x="2001896" y="831051"/>
                </a:cubicBezTo>
                <a:cubicBezTo>
                  <a:pt x="2000789" y="830755"/>
                  <a:pt x="1999710" y="830351"/>
                  <a:pt x="1997584" y="829436"/>
                </a:cubicBezTo>
                <a:cubicBezTo>
                  <a:pt x="1999140" y="829163"/>
                  <a:pt x="2001957" y="827503"/>
                  <a:pt x="2004084" y="828418"/>
                </a:cubicBezTo>
                <a:close/>
                <a:moveTo>
                  <a:pt x="2489956" y="828080"/>
                </a:moveTo>
                <a:cubicBezTo>
                  <a:pt x="2500143" y="824370"/>
                  <a:pt x="2508131" y="833295"/>
                  <a:pt x="2508448" y="832115"/>
                </a:cubicBezTo>
                <a:cubicBezTo>
                  <a:pt x="2510368" y="831594"/>
                  <a:pt x="2510368" y="831594"/>
                  <a:pt x="2510932" y="830595"/>
                </a:cubicBezTo>
                <a:cubicBezTo>
                  <a:pt x="2512562" y="831147"/>
                  <a:pt x="2516113" y="831179"/>
                  <a:pt x="2518032" y="830658"/>
                </a:cubicBezTo>
                <a:cubicBezTo>
                  <a:pt x="2517745" y="831731"/>
                  <a:pt x="2517429" y="832911"/>
                  <a:pt x="2519060" y="833464"/>
                </a:cubicBezTo>
                <a:cubicBezTo>
                  <a:pt x="2514946" y="834431"/>
                  <a:pt x="2513314" y="833879"/>
                  <a:pt x="2511366" y="834507"/>
                </a:cubicBezTo>
                <a:cubicBezTo>
                  <a:pt x="2512998" y="835059"/>
                  <a:pt x="2511079" y="835580"/>
                  <a:pt x="2511079" y="835580"/>
                </a:cubicBezTo>
                <a:cubicBezTo>
                  <a:pt x="2511079" y="835580"/>
                  <a:pt x="2511079" y="835580"/>
                  <a:pt x="2513461" y="838863"/>
                </a:cubicBezTo>
                <a:cubicBezTo>
                  <a:pt x="2513461" y="838863"/>
                  <a:pt x="2518463" y="846758"/>
                  <a:pt x="2510165" y="850056"/>
                </a:cubicBezTo>
                <a:cubicBezTo>
                  <a:pt x="2509318" y="848793"/>
                  <a:pt x="2502396" y="850273"/>
                  <a:pt x="2496471" y="849146"/>
                </a:cubicBezTo>
                <a:cubicBezTo>
                  <a:pt x="2494505" y="848735"/>
                  <a:pt x="2492874" y="848182"/>
                  <a:pt x="2491386" y="847093"/>
                </a:cubicBezTo>
                <a:cubicBezTo>
                  <a:pt x="2488439" y="844808"/>
                  <a:pt x="2487124" y="843077"/>
                  <a:pt x="2484453" y="840866"/>
                </a:cubicBezTo>
                <a:cubicBezTo>
                  <a:pt x="2485345" y="837539"/>
                  <a:pt x="2481647" y="832523"/>
                  <a:pt x="2489956" y="828080"/>
                </a:cubicBezTo>
                <a:close/>
                <a:moveTo>
                  <a:pt x="4391570" y="828043"/>
                </a:moveTo>
                <a:cubicBezTo>
                  <a:pt x="4396784" y="825185"/>
                  <a:pt x="4401880" y="826091"/>
                  <a:pt x="4404939" y="831281"/>
                </a:cubicBezTo>
                <a:cubicBezTo>
                  <a:pt x="4400853" y="832140"/>
                  <a:pt x="4401299" y="834905"/>
                  <a:pt x="4397240" y="835658"/>
                </a:cubicBezTo>
                <a:cubicBezTo>
                  <a:pt x="4395193" y="832234"/>
                  <a:pt x="4392609" y="829702"/>
                  <a:pt x="4391570" y="828043"/>
                </a:cubicBezTo>
                <a:close/>
                <a:moveTo>
                  <a:pt x="5651446" y="827867"/>
                </a:moveTo>
                <a:cubicBezTo>
                  <a:pt x="5651435" y="829013"/>
                  <a:pt x="5651701" y="830235"/>
                  <a:pt x="5653447" y="830358"/>
                </a:cubicBezTo>
                <a:cubicBezTo>
                  <a:pt x="5650181" y="832588"/>
                  <a:pt x="5648434" y="832464"/>
                  <a:pt x="5646925" y="833670"/>
                </a:cubicBezTo>
                <a:cubicBezTo>
                  <a:pt x="5648700" y="833686"/>
                  <a:pt x="5646914" y="834817"/>
                  <a:pt x="5646914" y="834817"/>
                </a:cubicBezTo>
                <a:cubicBezTo>
                  <a:pt x="5646914" y="834817"/>
                  <a:pt x="5647191" y="834891"/>
                  <a:pt x="5650691" y="837324"/>
                </a:cubicBezTo>
                <a:cubicBezTo>
                  <a:pt x="5650691" y="837324"/>
                  <a:pt x="5658291" y="843271"/>
                  <a:pt x="5652024" y="848951"/>
                </a:cubicBezTo>
                <a:cubicBezTo>
                  <a:pt x="5650259" y="847789"/>
                  <a:pt x="5640708" y="854660"/>
                  <a:pt x="5633686" y="852088"/>
                </a:cubicBezTo>
                <a:cubicBezTo>
                  <a:pt x="5630146" y="850910"/>
                  <a:pt x="5628411" y="849640"/>
                  <a:pt x="5624871" y="848461"/>
                </a:cubicBezTo>
                <a:cubicBezTo>
                  <a:pt x="5624472" y="846629"/>
                  <a:pt x="5623185" y="844789"/>
                  <a:pt x="5622568" y="842668"/>
                </a:cubicBezTo>
                <a:cubicBezTo>
                  <a:pt x="5621701" y="840367"/>
                  <a:pt x="5621809" y="837750"/>
                  <a:pt x="5624811" y="834300"/>
                </a:cubicBezTo>
                <a:cubicBezTo>
                  <a:pt x="5632587" y="827414"/>
                  <a:pt x="5643403" y="833531"/>
                  <a:pt x="5643414" y="832384"/>
                </a:cubicBezTo>
                <a:cubicBezTo>
                  <a:pt x="5644895" y="831286"/>
                  <a:pt x="5644895" y="831286"/>
                  <a:pt x="5644905" y="830139"/>
                </a:cubicBezTo>
                <a:cubicBezTo>
                  <a:pt x="5646404" y="830081"/>
                  <a:pt x="5649659" y="828998"/>
                  <a:pt x="5651446" y="827867"/>
                </a:cubicBezTo>
                <a:close/>
                <a:moveTo>
                  <a:pt x="934438" y="827011"/>
                </a:moveTo>
                <a:cubicBezTo>
                  <a:pt x="940791" y="829864"/>
                  <a:pt x="943784" y="833080"/>
                  <a:pt x="941862" y="836936"/>
                </a:cubicBezTo>
                <a:cubicBezTo>
                  <a:pt x="939645" y="839677"/>
                  <a:pt x="936166" y="843804"/>
                  <a:pt x="930384" y="842140"/>
                </a:cubicBezTo>
                <a:cubicBezTo>
                  <a:pt x="929812" y="840951"/>
                  <a:pt x="928285" y="841118"/>
                  <a:pt x="927685" y="840037"/>
                </a:cubicBezTo>
                <a:cubicBezTo>
                  <a:pt x="927685" y="840037"/>
                  <a:pt x="926502" y="838915"/>
                  <a:pt x="925464" y="837257"/>
                </a:cubicBezTo>
                <a:cubicBezTo>
                  <a:pt x="925112" y="836357"/>
                  <a:pt x="924760" y="835458"/>
                  <a:pt x="924771" y="834311"/>
                </a:cubicBezTo>
                <a:cubicBezTo>
                  <a:pt x="924505" y="833090"/>
                  <a:pt x="924821" y="831909"/>
                  <a:pt x="925748" y="830663"/>
                </a:cubicBezTo>
                <a:cubicBezTo>
                  <a:pt x="926732" y="829202"/>
                  <a:pt x="930478" y="826295"/>
                  <a:pt x="931048" y="827482"/>
                </a:cubicBezTo>
                <a:cubicBezTo>
                  <a:pt x="933176" y="828398"/>
                  <a:pt x="932912" y="827177"/>
                  <a:pt x="934438" y="827011"/>
                </a:cubicBezTo>
                <a:close/>
                <a:moveTo>
                  <a:pt x="5064530" y="826775"/>
                </a:moveTo>
                <a:cubicBezTo>
                  <a:pt x="5071631" y="826838"/>
                  <a:pt x="5076622" y="827025"/>
                  <a:pt x="5080248" y="827882"/>
                </a:cubicBezTo>
                <a:cubicBezTo>
                  <a:pt x="5082228" y="832667"/>
                  <a:pt x="5075717" y="834833"/>
                  <a:pt x="5070564" y="834142"/>
                </a:cubicBezTo>
                <a:cubicBezTo>
                  <a:pt x="5068846" y="833912"/>
                  <a:pt x="5066938" y="833286"/>
                  <a:pt x="5065726" y="832271"/>
                </a:cubicBezTo>
                <a:cubicBezTo>
                  <a:pt x="5064268" y="831076"/>
                  <a:pt x="5063564" y="829276"/>
                  <a:pt x="5064530" y="826775"/>
                </a:cubicBezTo>
                <a:close/>
                <a:moveTo>
                  <a:pt x="1621456" y="826404"/>
                </a:moveTo>
                <a:cubicBezTo>
                  <a:pt x="1637249" y="837191"/>
                  <a:pt x="1655411" y="829178"/>
                  <a:pt x="1668326" y="836318"/>
                </a:cubicBezTo>
                <a:lnTo>
                  <a:pt x="1673228" y="840161"/>
                </a:lnTo>
                <a:lnTo>
                  <a:pt x="1676541" y="838865"/>
                </a:lnTo>
                <a:cubicBezTo>
                  <a:pt x="1678050" y="837659"/>
                  <a:pt x="1679531" y="836560"/>
                  <a:pt x="1681173" y="835966"/>
                </a:cubicBezTo>
                <a:cubicBezTo>
                  <a:pt x="1682787" y="835478"/>
                  <a:pt x="1684533" y="835601"/>
                  <a:pt x="1686298" y="836763"/>
                </a:cubicBezTo>
                <a:cubicBezTo>
                  <a:pt x="1685071" y="840230"/>
                  <a:pt x="1683581" y="842476"/>
                  <a:pt x="1680580" y="845927"/>
                </a:cubicBezTo>
                <a:cubicBezTo>
                  <a:pt x="1680580" y="845927"/>
                  <a:pt x="1674352" y="850353"/>
                  <a:pt x="1669077" y="847905"/>
                </a:cubicBezTo>
                <a:cubicBezTo>
                  <a:pt x="1668190" y="847897"/>
                  <a:pt x="1667618" y="846709"/>
                  <a:pt x="1667658" y="845454"/>
                </a:cubicBezTo>
                <a:cubicBezTo>
                  <a:pt x="1667420" y="844125"/>
                  <a:pt x="1667794" y="842730"/>
                  <a:pt x="1668521" y="842235"/>
                </a:cubicBezTo>
                <a:lnTo>
                  <a:pt x="1672894" y="840302"/>
                </a:lnTo>
                <a:lnTo>
                  <a:pt x="1651253" y="843589"/>
                </a:lnTo>
                <a:cubicBezTo>
                  <a:pt x="1647091" y="843624"/>
                  <a:pt x="1642959" y="843552"/>
                  <a:pt x="1638416" y="842794"/>
                </a:cubicBezTo>
                <a:cubicBezTo>
                  <a:pt x="1633875" y="842037"/>
                  <a:pt x="1628894" y="840702"/>
                  <a:pt x="1623255" y="838502"/>
                </a:cubicBezTo>
                <a:cubicBezTo>
                  <a:pt x="1622210" y="834656"/>
                  <a:pt x="1615048" y="829288"/>
                  <a:pt x="1621456" y="826404"/>
                </a:cubicBezTo>
                <a:close/>
                <a:moveTo>
                  <a:pt x="5048697" y="826097"/>
                </a:moveTo>
                <a:cubicBezTo>
                  <a:pt x="5053326" y="826533"/>
                  <a:pt x="5060498" y="830755"/>
                  <a:pt x="5061019" y="834344"/>
                </a:cubicBezTo>
                <a:cubicBezTo>
                  <a:pt x="5058601" y="837836"/>
                  <a:pt x="5055453" y="836303"/>
                  <a:pt x="5054238" y="838623"/>
                </a:cubicBezTo>
                <a:cubicBezTo>
                  <a:pt x="5047342" y="834475"/>
                  <a:pt x="5046545" y="830810"/>
                  <a:pt x="5048697" y="826097"/>
                </a:cubicBezTo>
                <a:close/>
                <a:moveTo>
                  <a:pt x="4752454" y="823771"/>
                </a:moveTo>
                <a:cubicBezTo>
                  <a:pt x="4753572" y="822921"/>
                  <a:pt x="4754373" y="823250"/>
                  <a:pt x="4755336" y="824083"/>
                </a:cubicBezTo>
                <a:cubicBezTo>
                  <a:pt x="4756022" y="824842"/>
                  <a:pt x="4757176" y="826071"/>
                  <a:pt x="4758634" y="827267"/>
                </a:cubicBezTo>
                <a:lnTo>
                  <a:pt x="4752630" y="828648"/>
                </a:lnTo>
                <a:cubicBezTo>
                  <a:pt x="4751286" y="827023"/>
                  <a:pt x="4750536" y="824292"/>
                  <a:pt x="4752454" y="823771"/>
                </a:cubicBezTo>
                <a:close/>
                <a:moveTo>
                  <a:pt x="2159584" y="823623"/>
                </a:moveTo>
                <a:cubicBezTo>
                  <a:pt x="2168515" y="826822"/>
                  <a:pt x="2161493" y="833105"/>
                  <a:pt x="2155920" y="832876"/>
                </a:cubicBezTo>
                <a:cubicBezTo>
                  <a:pt x="2153897" y="832680"/>
                  <a:pt x="2152323" y="831912"/>
                  <a:pt x="2151341" y="830039"/>
                </a:cubicBezTo>
                <a:cubicBezTo>
                  <a:pt x="2153109" y="827868"/>
                  <a:pt x="2156347" y="825745"/>
                  <a:pt x="2159584" y="823623"/>
                </a:cubicBezTo>
                <a:close/>
                <a:moveTo>
                  <a:pt x="2407221" y="823621"/>
                </a:moveTo>
                <a:lnTo>
                  <a:pt x="2406276" y="823829"/>
                </a:lnTo>
                <a:lnTo>
                  <a:pt x="2407441" y="823910"/>
                </a:lnTo>
                <a:close/>
                <a:moveTo>
                  <a:pt x="2543647" y="823606"/>
                </a:moveTo>
                <a:cubicBezTo>
                  <a:pt x="2546317" y="825817"/>
                  <a:pt x="2551115" y="828942"/>
                  <a:pt x="2548179" y="834366"/>
                </a:cubicBezTo>
                <a:cubicBezTo>
                  <a:pt x="2546917" y="835752"/>
                  <a:pt x="2546917" y="835752"/>
                  <a:pt x="2545361" y="836025"/>
                </a:cubicBezTo>
                <a:cubicBezTo>
                  <a:pt x="2542572" y="837578"/>
                  <a:pt x="2541588" y="839039"/>
                  <a:pt x="2537657" y="838216"/>
                </a:cubicBezTo>
                <a:cubicBezTo>
                  <a:pt x="2534890" y="837474"/>
                  <a:pt x="2533431" y="836279"/>
                  <a:pt x="2533222" y="834843"/>
                </a:cubicBezTo>
                <a:cubicBezTo>
                  <a:pt x="2532708" y="833440"/>
                  <a:pt x="2533417" y="831905"/>
                  <a:pt x="2534268" y="829833"/>
                </a:cubicBezTo>
                <a:cubicBezTo>
                  <a:pt x="2536220" y="825871"/>
                  <a:pt x="2541402" y="826454"/>
                  <a:pt x="2543647" y="823606"/>
                </a:cubicBezTo>
                <a:close/>
                <a:moveTo>
                  <a:pt x="2114852" y="822333"/>
                </a:moveTo>
                <a:cubicBezTo>
                  <a:pt x="2123057" y="817171"/>
                  <a:pt x="2127757" y="830620"/>
                  <a:pt x="2118921" y="829288"/>
                </a:cubicBezTo>
                <a:cubicBezTo>
                  <a:pt x="2117910" y="827522"/>
                  <a:pt x="2115298" y="825097"/>
                  <a:pt x="2114852" y="822333"/>
                </a:cubicBezTo>
                <a:close/>
                <a:moveTo>
                  <a:pt x="2620672" y="821705"/>
                </a:moveTo>
                <a:cubicBezTo>
                  <a:pt x="2624338" y="821306"/>
                  <a:pt x="2625422" y="823897"/>
                  <a:pt x="2625419" y="827232"/>
                </a:cubicBezTo>
                <a:cubicBezTo>
                  <a:pt x="2627740" y="834064"/>
                  <a:pt x="2625437" y="837127"/>
                  <a:pt x="2618174" y="836560"/>
                </a:cubicBezTo>
                <a:lnTo>
                  <a:pt x="2616525" y="834969"/>
                </a:lnTo>
                <a:lnTo>
                  <a:pt x="2619838" y="842526"/>
                </a:lnTo>
                <a:lnTo>
                  <a:pt x="2611141" y="843992"/>
                </a:lnTo>
                <a:lnTo>
                  <a:pt x="2611961" y="845360"/>
                </a:lnTo>
                <a:cubicBezTo>
                  <a:pt x="2610595" y="846030"/>
                  <a:pt x="2610746" y="847680"/>
                  <a:pt x="2609657" y="848424"/>
                </a:cubicBezTo>
                <a:cubicBezTo>
                  <a:pt x="2608446" y="847410"/>
                  <a:pt x="2604907" y="846231"/>
                  <a:pt x="2605996" y="845487"/>
                </a:cubicBezTo>
                <a:lnTo>
                  <a:pt x="2606139" y="844951"/>
                </a:lnTo>
                <a:lnTo>
                  <a:pt x="2584107" y="848592"/>
                </a:lnTo>
                <a:lnTo>
                  <a:pt x="2584211" y="849311"/>
                </a:lnTo>
                <a:cubicBezTo>
                  <a:pt x="2583585" y="853858"/>
                  <a:pt x="2577901" y="859580"/>
                  <a:pt x="2570041" y="854599"/>
                </a:cubicBezTo>
                <a:cubicBezTo>
                  <a:pt x="2568773" y="853799"/>
                  <a:pt x="2568202" y="852611"/>
                  <a:pt x="2568576" y="851216"/>
                </a:cubicBezTo>
                <a:lnTo>
                  <a:pt x="2546266" y="854784"/>
                </a:lnTo>
                <a:cubicBezTo>
                  <a:pt x="2555172" y="837044"/>
                  <a:pt x="2587424" y="835107"/>
                  <a:pt x="2612532" y="828838"/>
                </a:cubicBezTo>
                <a:lnTo>
                  <a:pt x="2613571" y="830497"/>
                </a:lnTo>
                <a:lnTo>
                  <a:pt x="2614157" y="827204"/>
                </a:lnTo>
                <a:cubicBezTo>
                  <a:pt x="2614617" y="825487"/>
                  <a:pt x="2615630" y="823919"/>
                  <a:pt x="2617082" y="822928"/>
                </a:cubicBezTo>
                <a:cubicBezTo>
                  <a:pt x="2617866" y="822217"/>
                  <a:pt x="2619145" y="821871"/>
                  <a:pt x="2620672" y="821705"/>
                </a:cubicBezTo>
                <a:close/>
                <a:moveTo>
                  <a:pt x="1765762" y="820220"/>
                </a:moveTo>
                <a:cubicBezTo>
                  <a:pt x="1766078" y="819040"/>
                  <a:pt x="1770322" y="822018"/>
                  <a:pt x="1770322" y="822018"/>
                </a:cubicBezTo>
                <a:cubicBezTo>
                  <a:pt x="1771639" y="823750"/>
                  <a:pt x="1767208" y="825897"/>
                  <a:pt x="1766891" y="827078"/>
                </a:cubicBezTo>
                <a:cubicBezTo>
                  <a:pt x="1765288" y="826418"/>
                  <a:pt x="1763973" y="824687"/>
                  <a:pt x="1762370" y="824026"/>
                </a:cubicBezTo>
                <a:cubicBezTo>
                  <a:pt x="1762687" y="822846"/>
                  <a:pt x="1763569" y="820667"/>
                  <a:pt x="1765762" y="820220"/>
                </a:cubicBezTo>
                <a:close/>
                <a:moveTo>
                  <a:pt x="1189261" y="819835"/>
                </a:moveTo>
                <a:cubicBezTo>
                  <a:pt x="1192072" y="819855"/>
                  <a:pt x="1194451" y="820665"/>
                  <a:pt x="1195899" y="823008"/>
                </a:cubicBezTo>
                <a:cubicBezTo>
                  <a:pt x="1194598" y="825649"/>
                  <a:pt x="1191255" y="827054"/>
                  <a:pt x="1188039" y="826882"/>
                </a:cubicBezTo>
                <a:cubicBezTo>
                  <a:pt x="1184823" y="826712"/>
                  <a:pt x="1181704" y="825069"/>
                  <a:pt x="1180018" y="821398"/>
                </a:cubicBezTo>
                <a:cubicBezTo>
                  <a:pt x="1183203" y="820583"/>
                  <a:pt x="1186449" y="819815"/>
                  <a:pt x="1189261" y="819835"/>
                </a:cubicBezTo>
                <a:close/>
                <a:moveTo>
                  <a:pt x="2476498" y="819644"/>
                </a:moveTo>
                <a:cubicBezTo>
                  <a:pt x="2478198" y="818834"/>
                  <a:pt x="2477882" y="820015"/>
                  <a:pt x="2479541" y="820459"/>
                </a:cubicBezTo>
                <a:cubicBezTo>
                  <a:pt x="2478539" y="820880"/>
                  <a:pt x="2478204" y="821021"/>
                  <a:pt x="2477928" y="820947"/>
                </a:cubicBezTo>
                <a:cubicBezTo>
                  <a:pt x="2477375" y="820799"/>
                  <a:pt x="2477155" y="820509"/>
                  <a:pt x="2476498" y="819644"/>
                </a:cubicBezTo>
                <a:close/>
                <a:moveTo>
                  <a:pt x="5000526" y="818825"/>
                </a:moveTo>
                <a:cubicBezTo>
                  <a:pt x="5002128" y="819485"/>
                  <a:pt x="5002444" y="818304"/>
                  <a:pt x="5004047" y="818964"/>
                </a:cubicBezTo>
                <a:cubicBezTo>
                  <a:pt x="5007845" y="819177"/>
                  <a:pt x="5009448" y="819836"/>
                  <a:pt x="5010763" y="821569"/>
                </a:cubicBezTo>
                <a:cubicBezTo>
                  <a:pt x="5012089" y="822154"/>
                  <a:pt x="5011802" y="823227"/>
                  <a:pt x="5012841" y="824885"/>
                </a:cubicBezTo>
                <a:cubicBezTo>
                  <a:pt x="5012524" y="826066"/>
                  <a:pt x="5010634" y="826479"/>
                  <a:pt x="5010634" y="826479"/>
                </a:cubicBezTo>
                <a:cubicBezTo>
                  <a:pt x="5008438" y="826925"/>
                  <a:pt x="5008438" y="826925"/>
                  <a:pt x="5009753" y="828658"/>
                </a:cubicBezTo>
                <a:cubicBezTo>
                  <a:pt x="5009753" y="828658"/>
                  <a:pt x="5008121" y="828106"/>
                  <a:pt x="5008121" y="828106"/>
                </a:cubicBezTo>
                <a:cubicBezTo>
                  <a:pt x="5008438" y="826925"/>
                  <a:pt x="5008121" y="828106"/>
                  <a:pt x="5005955" y="828445"/>
                </a:cubicBezTo>
                <a:cubicBezTo>
                  <a:pt x="5003285" y="826234"/>
                  <a:pt x="5001682" y="825575"/>
                  <a:pt x="5000644" y="823918"/>
                </a:cubicBezTo>
                <a:cubicBezTo>
                  <a:pt x="4999987" y="823051"/>
                  <a:pt x="4999415" y="821862"/>
                  <a:pt x="4999397" y="820823"/>
                </a:cubicBezTo>
                <a:cubicBezTo>
                  <a:pt x="4999350" y="819890"/>
                  <a:pt x="4999580" y="819032"/>
                  <a:pt x="5000526" y="818825"/>
                </a:cubicBezTo>
                <a:close/>
                <a:moveTo>
                  <a:pt x="4629252" y="818704"/>
                </a:moveTo>
                <a:cubicBezTo>
                  <a:pt x="4630809" y="818431"/>
                  <a:pt x="4631380" y="819619"/>
                  <a:pt x="4633479" y="820642"/>
                </a:cubicBezTo>
                <a:cubicBezTo>
                  <a:pt x="4634050" y="821830"/>
                  <a:pt x="4632817" y="823110"/>
                  <a:pt x="4632817" y="823110"/>
                </a:cubicBezTo>
                <a:cubicBezTo>
                  <a:pt x="4631555" y="824496"/>
                  <a:pt x="4631833" y="824570"/>
                  <a:pt x="4633960" y="825486"/>
                </a:cubicBezTo>
                <a:cubicBezTo>
                  <a:pt x="4633960" y="825486"/>
                  <a:pt x="4632127" y="825685"/>
                  <a:pt x="4632127" y="825685"/>
                </a:cubicBezTo>
                <a:cubicBezTo>
                  <a:pt x="4631555" y="824496"/>
                  <a:pt x="4632156" y="825577"/>
                  <a:pt x="4630894" y="826964"/>
                </a:cubicBezTo>
                <a:cubicBezTo>
                  <a:pt x="4627239" y="826216"/>
                  <a:pt x="4625655" y="826596"/>
                  <a:pt x="4623556" y="825573"/>
                </a:cubicBezTo>
                <a:cubicBezTo>
                  <a:pt x="4622478" y="825169"/>
                  <a:pt x="4621487" y="824443"/>
                  <a:pt x="4620552" y="823503"/>
                </a:cubicBezTo>
                <a:cubicBezTo>
                  <a:pt x="4619866" y="822744"/>
                  <a:pt x="4619514" y="821844"/>
                  <a:pt x="4619992" y="821168"/>
                </a:cubicBezTo>
                <a:cubicBezTo>
                  <a:pt x="4621547" y="820895"/>
                  <a:pt x="4621253" y="819781"/>
                  <a:pt x="4622810" y="819508"/>
                </a:cubicBezTo>
                <a:cubicBezTo>
                  <a:pt x="4625597" y="817955"/>
                  <a:pt x="4627154" y="817683"/>
                  <a:pt x="4629252" y="818704"/>
                </a:cubicBezTo>
                <a:close/>
                <a:moveTo>
                  <a:pt x="2093258" y="817697"/>
                </a:moveTo>
                <a:cubicBezTo>
                  <a:pt x="2096284" y="817472"/>
                  <a:pt x="2099662" y="818147"/>
                  <a:pt x="2102666" y="820218"/>
                </a:cubicBezTo>
                <a:cubicBezTo>
                  <a:pt x="2102764" y="827604"/>
                  <a:pt x="2104320" y="836186"/>
                  <a:pt x="2092982" y="835332"/>
                </a:cubicBezTo>
                <a:cubicBezTo>
                  <a:pt x="2079570" y="827829"/>
                  <a:pt x="2084488" y="818337"/>
                  <a:pt x="2093258" y="817697"/>
                </a:cubicBezTo>
                <a:close/>
                <a:moveTo>
                  <a:pt x="5782949" y="817447"/>
                </a:moveTo>
                <a:cubicBezTo>
                  <a:pt x="5789551" y="820481"/>
                  <a:pt x="5795523" y="831396"/>
                  <a:pt x="5775381" y="825769"/>
                </a:cubicBezTo>
                <a:cubicBezTo>
                  <a:pt x="5774580" y="816584"/>
                  <a:pt x="5778999" y="815584"/>
                  <a:pt x="5782949" y="817447"/>
                </a:cubicBezTo>
                <a:close/>
                <a:moveTo>
                  <a:pt x="4733182" y="817111"/>
                </a:moveTo>
                <a:cubicBezTo>
                  <a:pt x="4735101" y="816591"/>
                  <a:pt x="4736733" y="817142"/>
                  <a:pt x="4736733" y="817142"/>
                </a:cubicBezTo>
                <a:cubicBezTo>
                  <a:pt x="4740746" y="820979"/>
                  <a:pt x="4743117" y="825410"/>
                  <a:pt x="4737332" y="827079"/>
                </a:cubicBezTo>
                <a:cubicBezTo>
                  <a:pt x="4736388" y="827286"/>
                  <a:pt x="4735442" y="827492"/>
                  <a:pt x="4734526" y="827592"/>
                </a:cubicBezTo>
                <a:cubicBezTo>
                  <a:pt x="4733915" y="827658"/>
                  <a:pt x="4733638" y="827584"/>
                  <a:pt x="4733810" y="826940"/>
                </a:cubicBezTo>
                <a:cubicBezTo>
                  <a:pt x="4732180" y="826388"/>
                  <a:pt x="4732467" y="825316"/>
                  <a:pt x="4731123" y="823690"/>
                </a:cubicBezTo>
                <a:cubicBezTo>
                  <a:pt x="4730095" y="820885"/>
                  <a:pt x="4731263" y="817633"/>
                  <a:pt x="4733182" y="817111"/>
                </a:cubicBezTo>
                <a:close/>
                <a:moveTo>
                  <a:pt x="4470018" y="816403"/>
                </a:moveTo>
                <a:cubicBezTo>
                  <a:pt x="4478783" y="822432"/>
                  <a:pt x="4480687" y="826392"/>
                  <a:pt x="4478919" y="828564"/>
                </a:cubicBezTo>
                <a:cubicBezTo>
                  <a:pt x="4476863" y="831807"/>
                  <a:pt x="4467740" y="831548"/>
                  <a:pt x="4462378" y="829422"/>
                </a:cubicBezTo>
                <a:cubicBezTo>
                  <a:pt x="4460470" y="828796"/>
                  <a:pt x="4458954" y="827813"/>
                  <a:pt x="4458077" y="826658"/>
                </a:cubicBezTo>
                <a:cubicBezTo>
                  <a:pt x="4456104" y="824060"/>
                  <a:pt x="4458580" y="820354"/>
                  <a:pt x="4470018" y="816403"/>
                </a:cubicBezTo>
                <a:close/>
                <a:moveTo>
                  <a:pt x="4758408" y="815936"/>
                </a:moveTo>
                <a:cubicBezTo>
                  <a:pt x="4760012" y="816595"/>
                  <a:pt x="4760328" y="815415"/>
                  <a:pt x="4761959" y="815968"/>
                </a:cubicBezTo>
                <a:cubicBezTo>
                  <a:pt x="4761959" y="815968"/>
                  <a:pt x="4763735" y="815983"/>
                  <a:pt x="4766196" y="816758"/>
                </a:cubicBezTo>
                <a:cubicBezTo>
                  <a:pt x="4768686" y="817425"/>
                  <a:pt x="4771835" y="818958"/>
                  <a:pt x="4774361" y="821706"/>
                </a:cubicBezTo>
                <a:cubicBezTo>
                  <a:pt x="4775676" y="823438"/>
                  <a:pt x="4777742" y="827902"/>
                  <a:pt x="4776110" y="827350"/>
                </a:cubicBezTo>
                <a:cubicBezTo>
                  <a:pt x="4774191" y="827870"/>
                  <a:pt x="4775823" y="828423"/>
                  <a:pt x="4775507" y="829602"/>
                </a:cubicBezTo>
                <a:cubicBezTo>
                  <a:pt x="4772337" y="830363"/>
                  <a:pt x="4769865" y="830736"/>
                  <a:pt x="4767317" y="830283"/>
                </a:cubicBezTo>
                <a:cubicBezTo>
                  <a:pt x="4764769" y="829830"/>
                  <a:pt x="4762423" y="828627"/>
                  <a:pt x="4760554" y="826746"/>
                </a:cubicBezTo>
                <a:cubicBezTo>
                  <a:pt x="4757924" y="823281"/>
                  <a:pt x="4754226" y="818265"/>
                  <a:pt x="4758408" y="815936"/>
                </a:cubicBezTo>
                <a:close/>
                <a:moveTo>
                  <a:pt x="2363032" y="814771"/>
                </a:moveTo>
                <a:cubicBezTo>
                  <a:pt x="2364634" y="815431"/>
                  <a:pt x="2366830" y="814984"/>
                  <a:pt x="2368461" y="815536"/>
                </a:cubicBezTo>
                <a:cubicBezTo>
                  <a:pt x="2370787" y="819034"/>
                  <a:pt x="2366356" y="821181"/>
                  <a:pt x="2364752" y="820522"/>
                </a:cubicBezTo>
                <a:cubicBezTo>
                  <a:pt x="2363437" y="818790"/>
                  <a:pt x="2364346" y="816504"/>
                  <a:pt x="2363032" y="814771"/>
                </a:cubicBezTo>
                <a:close/>
                <a:moveTo>
                  <a:pt x="4408870" y="814394"/>
                </a:moveTo>
                <a:cubicBezTo>
                  <a:pt x="4414235" y="813186"/>
                  <a:pt x="4421498" y="813752"/>
                  <a:pt x="4426018" y="816804"/>
                </a:cubicBezTo>
                <a:lnTo>
                  <a:pt x="4417868" y="825085"/>
                </a:lnTo>
                <a:lnTo>
                  <a:pt x="4424613" y="827583"/>
                </a:lnTo>
                <a:cubicBezTo>
                  <a:pt x="4425343" y="832608"/>
                  <a:pt x="4419183" y="835673"/>
                  <a:pt x="4413142" y="834974"/>
                </a:cubicBezTo>
                <a:cubicBezTo>
                  <a:pt x="4411120" y="834776"/>
                  <a:pt x="4409212" y="834150"/>
                  <a:pt x="4407724" y="833062"/>
                </a:cubicBezTo>
                <a:cubicBezTo>
                  <a:pt x="4407371" y="832162"/>
                  <a:pt x="4407077" y="831048"/>
                  <a:pt x="4406782" y="829935"/>
                </a:cubicBezTo>
                <a:cubicBezTo>
                  <a:pt x="4406516" y="828713"/>
                  <a:pt x="4406250" y="827492"/>
                  <a:pt x="4406595" y="826204"/>
                </a:cubicBezTo>
                <a:lnTo>
                  <a:pt x="4409707" y="825658"/>
                </a:lnTo>
                <a:lnTo>
                  <a:pt x="4402761" y="823912"/>
                </a:lnTo>
                <a:cubicBezTo>
                  <a:pt x="4400227" y="818978"/>
                  <a:pt x="4403753" y="815782"/>
                  <a:pt x="4408870" y="814394"/>
                </a:cubicBezTo>
                <a:close/>
                <a:moveTo>
                  <a:pt x="4517231" y="814248"/>
                </a:moveTo>
                <a:cubicBezTo>
                  <a:pt x="4523440" y="814043"/>
                  <a:pt x="4532315" y="815788"/>
                  <a:pt x="4538346" y="815966"/>
                </a:cubicBezTo>
                <a:cubicBezTo>
                  <a:pt x="4541433" y="821048"/>
                  <a:pt x="4541584" y="822699"/>
                  <a:pt x="4539955" y="827668"/>
                </a:cubicBezTo>
                <a:cubicBezTo>
                  <a:pt x="4534619" y="828768"/>
                  <a:pt x="4529933" y="828547"/>
                  <a:pt x="4525391" y="827790"/>
                </a:cubicBezTo>
                <a:cubicBezTo>
                  <a:pt x="4520849" y="827034"/>
                  <a:pt x="4516479" y="825633"/>
                  <a:pt x="4512109" y="824231"/>
                </a:cubicBezTo>
                <a:cubicBezTo>
                  <a:pt x="4507479" y="816608"/>
                  <a:pt x="4511023" y="814453"/>
                  <a:pt x="4517231" y="814248"/>
                </a:cubicBezTo>
                <a:close/>
                <a:moveTo>
                  <a:pt x="4677123" y="811190"/>
                </a:moveTo>
                <a:cubicBezTo>
                  <a:pt x="4682324" y="811563"/>
                  <a:pt x="4687826" y="814274"/>
                  <a:pt x="4689991" y="820029"/>
                </a:cubicBezTo>
                <a:cubicBezTo>
                  <a:pt x="4687982" y="824206"/>
                  <a:pt x="4675505" y="826497"/>
                  <a:pt x="4670161" y="825411"/>
                </a:cubicBezTo>
                <a:cubicBezTo>
                  <a:pt x="4666367" y="821864"/>
                  <a:pt x="4665149" y="818662"/>
                  <a:pt x="4666058" y="816376"/>
                </a:cubicBezTo>
                <a:cubicBezTo>
                  <a:pt x="4667021" y="812781"/>
                  <a:pt x="4671921" y="810818"/>
                  <a:pt x="4677123" y="811190"/>
                </a:cubicBezTo>
                <a:close/>
                <a:moveTo>
                  <a:pt x="2251329" y="811061"/>
                </a:moveTo>
                <a:cubicBezTo>
                  <a:pt x="2253104" y="811076"/>
                  <a:pt x="2254620" y="812058"/>
                  <a:pt x="2255468" y="813320"/>
                </a:cubicBezTo>
                <a:cubicBezTo>
                  <a:pt x="2258595" y="817147"/>
                  <a:pt x="2257470" y="824666"/>
                  <a:pt x="2250370" y="824604"/>
                </a:cubicBezTo>
                <a:cubicBezTo>
                  <a:pt x="2247239" y="824109"/>
                  <a:pt x="2244361" y="820464"/>
                  <a:pt x="2243506" y="817014"/>
                </a:cubicBezTo>
                <a:cubicBezTo>
                  <a:pt x="2242927" y="813640"/>
                  <a:pt x="2244648" y="810535"/>
                  <a:pt x="2251329" y="811061"/>
                </a:cubicBezTo>
                <a:close/>
                <a:moveTo>
                  <a:pt x="2404123" y="810832"/>
                </a:moveTo>
                <a:lnTo>
                  <a:pt x="2402043" y="810849"/>
                </a:lnTo>
                <a:lnTo>
                  <a:pt x="2401202" y="811774"/>
                </a:lnTo>
                <a:lnTo>
                  <a:pt x="2399646" y="812047"/>
                </a:lnTo>
                <a:lnTo>
                  <a:pt x="2399808" y="812549"/>
                </a:lnTo>
                <a:lnTo>
                  <a:pt x="2399721" y="812872"/>
                </a:lnTo>
                <a:close/>
                <a:moveTo>
                  <a:pt x="1998712" y="809728"/>
                </a:moveTo>
                <a:cubicBezTo>
                  <a:pt x="2010251" y="809830"/>
                  <a:pt x="2031306" y="818691"/>
                  <a:pt x="2027237" y="829447"/>
                </a:cubicBezTo>
                <a:cubicBezTo>
                  <a:pt x="2018196" y="823344"/>
                  <a:pt x="2006014" y="817895"/>
                  <a:pt x="1998712" y="809728"/>
                </a:cubicBezTo>
                <a:close/>
                <a:moveTo>
                  <a:pt x="4814623" y="808689"/>
                </a:moveTo>
                <a:cubicBezTo>
                  <a:pt x="4821631" y="806886"/>
                  <a:pt x="4835663" y="813176"/>
                  <a:pt x="4832735" y="820787"/>
                </a:cubicBezTo>
                <a:lnTo>
                  <a:pt x="4832677" y="821001"/>
                </a:lnTo>
                <a:lnTo>
                  <a:pt x="4839436" y="827873"/>
                </a:lnTo>
                <a:cubicBezTo>
                  <a:pt x="4841323" y="830792"/>
                  <a:pt x="4842933" y="833639"/>
                  <a:pt x="4844323" y="836197"/>
                </a:cubicBezTo>
                <a:cubicBezTo>
                  <a:pt x="4837100" y="834377"/>
                  <a:pt x="4834262" y="829476"/>
                  <a:pt x="4821508" y="831694"/>
                </a:cubicBezTo>
                <a:lnTo>
                  <a:pt x="4829975" y="822232"/>
                </a:lnTo>
                <a:lnTo>
                  <a:pt x="4827214" y="823678"/>
                </a:lnTo>
                <a:cubicBezTo>
                  <a:pt x="4824990" y="824232"/>
                  <a:pt x="4822050" y="824134"/>
                  <a:pt x="4818177" y="823096"/>
                </a:cubicBezTo>
                <a:cubicBezTo>
                  <a:pt x="4813419" y="818716"/>
                  <a:pt x="4812126" y="814689"/>
                  <a:pt x="4814623" y="808689"/>
                </a:cubicBezTo>
                <a:close/>
                <a:moveTo>
                  <a:pt x="1835783" y="807933"/>
                </a:moveTo>
                <a:cubicBezTo>
                  <a:pt x="1837731" y="807304"/>
                  <a:pt x="1841052" y="808194"/>
                  <a:pt x="1844027" y="810370"/>
                </a:cubicBezTo>
                <a:cubicBezTo>
                  <a:pt x="1842050" y="811106"/>
                  <a:pt x="1843355" y="813986"/>
                  <a:pt x="1841406" y="814615"/>
                </a:cubicBezTo>
                <a:cubicBezTo>
                  <a:pt x="1841406" y="814615"/>
                  <a:pt x="1836139" y="814352"/>
                  <a:pt x="1836139" y="814352"/>
                </a:cubicBezTo>
                <a:cubicBezTo>
                  <a:pt x="1834795" y="812727"/>
                  <a:pt x="1834824" y="812620"/>
                  <a:pt x="1836455" y="813172"/>
                </a:cubicBezTo>
                <a:cubicBezTo>
                  <a:pt x="1835428" y="810368"/>
                  <a:pt x="1835467" y="809112"/>
                  <a:pt x="1835783" y="807933"/>
                </a:cubicBezTo>
                <a:close/>
                <a:moveTo>
                  <a:pt x="2345182" y="807228"/>
                </a:moveTo>
                <a:cubicBezTo>
                  <a:pt x="2348405" y="809586"/>
                  <a:pt x="2347841" y="810585"/>
                  <a:pt x="2345922" y="811106"/>
                </a:cubicBezTo>
                <a:cubicBezTo>
                  <a:pt x="2345922" y="811106"/>
                  <a:pt x="2344003" y="811627"/>
                  <a:pt x="2342056" y="812256"/>
                </a:cubicBezTo>
                <a:cubicBezTo>
                  <a:pt x="2339860" y="812702"/>
                  <a:pt x="2339572" y="813775"/>
                  <a:pt x="2339572" y="813775"/>
                </a:cubicBezTo>
                <a:cubicBezTo>
                  <a:pt x="2338599" y="814089"/>
                  <a:pt x="2337711" y="814082"/>
                  <a:pt x="2336909" y="813752"/>
                </a:cubicBezTo>
                <a:cubicBezTo>
                  <a:pt x="2336080" y="813530"/>
                  <a:pt x="2335336" y="812986"/>
                  <a:pt x="2334678" y="812119"/>
                </a:cubicBezTo>
                <a:cubicBezTo>
                  <a:pt x="2334678" y="812119"/>
                  <a:pt x="2336914" y="810417"/>
                  <a:pt x="2336914" y="810417"/>
                </a:cubicBezTo>
                <a:cubicBezTo>
                  <a:pt x="2341057" y="809343"/>
                  <a:pt x="2342976" y="808822"/>
                  <a:pt x="2345182" y="807228"/>
                </a:cubicBezTo>
                <a:close/>
                <a:moveTo>
                  <a:pt x="1738369" y="804026"/>
                </a:moveTo>
                <a:cubicBezTo>
                  <a:pt x="1740871" y="803545"/>
                  <a:pt x="1744553" y="804188"/>
                  <a:pt x="1749247" y="806595"/>
                </a:cubicBezTo>
                <a:cubicBezTo>
                  <a:pt x="1753297" y="812510"/>
                  <a:pt x="1747139" y="815575"/>
                  <a:pt x="1746598" y="819800"/>
                </a:cubicBezTo>
                <a:cubicBezTo>
                  <a:pt x="1732504" y="817059"/>
                  <a:pt x="1730837" y="805572"/>
                  <a:pt x="1738369" y="804026"/>
                </a:cubicBezTo>
                <a:close/>
                <a:moveTo>
                  <a:pt x="2296529" y="803966"/>
                </a:moveTo>
                <a:lnTo>
                  <a:pt x="2306106" y="809177"/>
                </a:lnTo>
                <a:lnTo>
                  <a:pt x="2307385" y="808831"/>
                </a:lnTo>
                <a:cubicBezTo>
                  <a:pt x="2313120" y="809562"/>
                  <a:pt x="2316969" y="816228"/>
                  <a:pt x="2316124" y="820488"/>
                </a:cubicBezTo>
                <a:lnTo>
                  <a:pt x="2314298" y="822873"/>
                </a:lnTo>
                <a:lnTo>
                  <a:pt x="2314489" y="823269"/>
                </a:lnTo>
                <a:cubicBezTo>
                  <a:pt x="2312157" y="826440"/>
                  <a:pt x="2311374" y="827150"/>
                  <a:pt x="2306202" y="825419"/>
                </a:cubicBezTo>
                <a:cubicBezTo>
                  <a:pt x="2304571" y="824867"/>
                  <a:pt x="2302415" y="824058"/>
                  <a:pt x="2299429" y="823029"/>
                </a:cubicBezTo>
                <a:cubicBezTo>
                  <a:pt x="2297330" y="822006"/>
                  <a:pt x="2295318" y="820663"/>
                  <a:pt x="2294222" y="819219"/>
                </a:cubicBezTo>
                <a:cubicBezTo>
                  <a:pt x="2292849" y="817701"/>
                  <a:pt x="2292116" y="816009"/>
                  <a:pt x="2292298" y="814219"/>
                </a:cubicBezTo>
                <a:cubicBezTo>
                  <a:pt x="2289601" y="812116"/>
                  <a:pt x="2288163" y="808626"/>
                  <a:pt x="2288825" y="806157"/>
                </a:cubicBezTo>
                <a:cubicBezTo>
                  <a:pt x="2291042" y="803416"/>
                  <a:pt x="2294401" y="803051"/>
                  <a:pt x="2296529" y="803966"/>
                </a:cubicBezTo>
                <a:close/>
                <a:moveTo>
                  <a:pt x="4871962" y="802777"/>
                </a:moveTo>
                <a:lnTo>
                  <a:pt x="4872900" y="809239"/>
                </a:lnTo>
                <a:lnTo>
                  <a:pt x="4873838" y="806845"/>
                </a:lnTo>
                <a:cubicBezTo>
                  <a:pt x="4873838" y="806845"/>
                  <a:pt x="4875088" y="806605"/>
                  <a:pt x="4876615" y="806439"/>
                </a:cubicBezTo>
                <a:cubicBezTo>
                  <a:pt x="4878115" y="806380"/>
                  <a:pt x="4879890" y="806396"/>
                  <a:pt x="4880605" y="807047"/>
                </a:cubicBezTo>
                <a:cubicBezTo>
                  <a:pt x="4884144" y="808226"/>
                  <a:pt x="4879368" y="811662"/>
                  <a:pt x="4879634" y="812883"/>
                </a:cubicBezTo>
                <a:cubicBezTo>
                  <a:pt x="4878125" y="814088"/>
                  <a:pt x="4876644" y="815187"/>
                  <a:pt x="4874632" y="813842"/>
                </a:cubicBezTo>
                <a:cubicBezTo>
                  <a:pt x="4873888" y="813299"/>
                  <a:pt x="4872781" y="813002"/>
                  <a:pt x="4872314" y="812531"/>
                </a:cubicBezTo>
                <a:lnTo>
                  <a:pt x="4872630" y="811351"/>
                </a:lnTo>
                <a:lnTo>
                  <a:pt x="4867499" y="817221"/>
                </a:lnTo>
                <a:cubicBezTo>
                  <a:pt x="4861720" y="821078"/>
                  <a:pt x="4853509" y="824053"/>
                  <a:pt x="4846587" y="825533"/>
                </a:cubicBezTo>
                <a:cubicBezTo>
                  <a:pt x="4844856" y="812074"/>
                  <a:pt x="4858548" y="807463"/>
                  <a:pt x="4871962" y="802777"/>
                </a:cubicBezTo>
                <a:close/>
                <a:moveTo>
                  <a:pt x="2101179" y="801419"/>
                </a:moveTo>
                <a:cubicBezTo>
                  <a:pt x="2101474" y="802532"/>
                  <a:pt x="2101740" y="803754"/>
                  <a:pt x="2100242" y="803812"/>
                </a:cubicBezTo>
                <a:cubicBezTo>
                  <a:pt x="2100506" y="805034"/>
                  <a:pt x="2100813" y="805000"/>
                  <a:pt x="2099285" y="805166"/>
                </a:cubicBezTo>
                <a:cubicBezTo>
                  <a:pt x="2098743" y="803870"/>
                  <a:pt x="2098448" y="802757"/>
                  <a:pt x="2098183" y="801536"/>
                </a:cubicBezTo>
                <a:cubicBezTo>
                  <a:pt x="2099385" y="800363"/>
                  <a:pt x="2099414" y="800256"/>
                  <a:pt x="2101179" y="801419"/>
                </a:cubicBezTo>
                <a:close/>
                <a:moveTo>
                  <a:pt x="2082435" y="800536"/>
                </a:moveTo>
                <a:lnTo>
                  <a:pt x="2082845" y="801221"/>
                </a:lnTo>
                <a:cubicBezTo>
                  <a:pt x="2082205" y="801394"/>
                  <a:pt x="2081900" y="801428"/>
                  <a:pt x="2081652" y="801246"/>
                </a:cubicBezTo>
                <a:close/>
                <a:moveTo>
                  <a:pt x="5240680" y="800258"/>
                </a:moveTo>
                <a:cubicBezTo>
                  <a:pt x="5242150" y="800307"/>
                  <a:pt x="5240680" y="800258"/>
                  <a:pt x="5243885" y="801577"/>
                </a:cubicBezTo>
                <a:cubicBezTo>
                  <a:pt x="5243131" y="802180"/>
                  <a:pt x="5242825" y="802213"/>
                  <a:pt x="5242330" y="801849"/>
                </a:cubicBezTo>
                <a:cubicBezTo>
                  <a:pt x="5242111" y="801561"/>
                  <a:pt x="5241395" y="800910"/>
                  <a:pt x="5240680" y="800258"/>
                </a:cubicBezTo>
                <a:close/>
                <a:moveTo>
                  <a:pt x="5433763" y="799094"/>
                </a:moveTo>
                <a:cubicBezTo>
                  <a:pt x="5434841" y="799498"/>
                  <a:pt x="5436080" y="800405"/>
                  <a:pt x="5437988" y="801031"/>
                </a:cubicBezTo>
                <a:lnTo>
                  <a:pt x="5433241" y="804359"/>
                </a:lnTo>
                <a:cubicBezTo>
                  <a:pt x="5432498" y="803815"/>
                  <a:pt x="5431257" y="802908"/>
                  <a:pt x="5430905" y="802009"/>
                </a:cubicBezTo>
                <a:cubicBezTo>
                  <a:pt x="5430248" y="801142"/>
                  <a:pt x="5430173" y="800318"/>
                  <a:pt x="5430899" y="799822"/>
                </a:cubicBezTo>
                <a:cubicBezTo>
                  <a:pt x="5431796" y="798682"/>
                  <a:pt x="5432685" y="798689"/>
                  <a:pt x="5433763" y="799094"/>
                </a:cubicBezTo>
                <a:close/>
                <a:moveTo>
                  <a:pt x="5414074" y="798418"/>
                </a:moveTo>
                <a:cubicBezTo>
                  <a:pt x="5419349" y="800867"/>
                  <a:pt x="5423143" y="804414"/>
                  <a:pt x="5418396" y="807742"/>
                </a:cubicBezTo>
                <a:cubicBezTo>
                  <a:pt x="5417670" y="808236"/>
                  <a:pt x="5416915" y="808840"/>
                  <a:pt x="5416247" y="809122"/>
                </a:cubicBezTo>
                <a:cubicBezTo>
                  <a:pt x="5415856" y="809475"/>
                  <a:pt x="5415273" y="809435"/>
                  <a:pt x="5415141" y="808825"/>
                </a:cubicBezTo>
                <a:cubicBezTo>
                  <a:pt x="5413642" y="808882"/>
                  <a:pt x="5413376" y="807661"/>
                  <a:pt x="5411640" y="806391"/>
                </a:cubicBezTo>
                <a:cubicBezTo>
                  <a:pt x="5410763" y="805237"/>
                  <a:pt x="5409973" y="803759"/>
                  <a:pt x="5410012" y="802505"/>
                </a:cubicBezTo>
                <a:cubicBezTo>
                  <a:pt x="5409775" y="801177"/>
                  <a:pt x="5410091" y="799996"/>
                  <a:pt x="5410818" y="799500"/>
                </a:cubicBezTo>
                <a:cubicBezTo>
                  <a:pt x="5412327" y="798295"/>
                  <a:pt x="5414074" y="798418"/>
                  <a:pt x="5414074" y="798418"/>
                </a:cubicBezTo>
                <a:close/>
                <a:moveTo>
                  <a:pt x="2802783" y="798396"/>
                </a:moveTo>
                <a:cubicBezTo>
                  <a:pt x="2812306" y="809342"/>
                  <a:pt x="2803243" y="823243"/>
                  <a:pt x="2795783" y="828950"/>
                </a:cubicBezTo>
                <a:cubicBezTo>
                  <a:pt x="2793257" y="826202"/>
                  <a:pt x="2791981" y="823216"/>
                  <a:pt x="2791344" y="820055"/>
                </a:cubicBezTo>
                <a:cubicBezTo>
                  <a:pt x="2789656" y="810863"/>
                  <a:pt x="2795154" y="801411"/>
                  <a:pt x="2802783" y="798396"/>
                </a:cubicBezTo>
                <a:close/>
                <a:moveTo>
                  <a:pt x="2560713" y="796439"/>
                </a:moveTo>
                <a:cubicBezTo>
                  <a:pt x="2566992" y="798466"/>
                  <a:pt x="2573981" y="795624"/>
                  <a:pt x="2577046" y="803001"/>
                </a:cubicBezTo>
                <a:cubicBezTo>
                  <a:pt x="2575181" y="806640"/>
                  <a:pt x="2569396" y="808310"/>
                  <a:pt x="2564214" y="807726"/>
                </a:cubicBezTo>
                <a:cubicBezTo>
                  <a:pt x="2562496" y="807496"/>
                  <a:pt x="2560836" y="807051"/>
                  <a:pt x="2559262" y="806284"/>
                </a:cubicBezTo>
                <a:cubicBezTo>
                  <a:pt x="2557164" y="805262"/>
                  <a:pt x="2555180" y="803811"/>
                  <a:pt x="2553951" y="801757"/>
                </a:cubicBezTo>
                <a:cubicBezTo>
                  <a:pt x="2556739" y="800204"/>
                  <a:pt x="2557925" y="797992"/>
                  <a:pt x="2560713" y="796439"/>
                </a:cubicBezTo>
                <a:close/>
                <a:moveTo>
                  <a:pt x="1901747" y="796397"/>
                </a:moveTo>
                <a:cubicBezTo>
                  <a:pt x="1908191" y="795594"/>
                  <a:pt x="1917850" y="803816"/>
                  <a:pt x="1917387" y="808867"/>
                </a:cubicBezTo>
                <a:cubicBezTo>
                  <a:pt x="1909462" y="801914"/>
                  <a:pt x="1901578" y="802562"/>
                  <a:pt x="1901747" y="796397"/>
                </a:cubicBezTo>
                <a:close/>
                <a:moveTo>
                  <a:pt x="1838888" y="796343"/>
                </a:moveTo>
                <a:cubicBezTo>
                  <a:pt x="1843355" y="796276"/>
                  <a:pt x="1848804" y="798081"/>
                  <a:pt x="1854575" y="800892"/>
                </a:cubicBezTo>
                <a:lnTo>
                  <a:pt x="1860610" y="804925"/>
                </a:lnTo>
                <a:lnTo>
                  <a:pt x="1860754" y="804388"/>
                </a:lnTo>
                <a:cubicBezTo>
                  <a:pt x="1862818" y="803331"/>
                  <a:pt x="1864871" y="803421"/>
                  <a:pt x="1866473" y="804080"/>
                </a:cubicBezTo>
                <a:cubicBezTo>
                  <a:pt x="1868323" y="804921"/>
                  <a:pt x="1870249" y="806587"/>
                  <a:pt x="1872365" y="808649"/>
                </a:cubicBezTo>
                <a:cubicBezTo>
                  <a:pt x="1874511" y="810604"/>
                  <a:pt x="1874663" y="812255"/>
                  <a:pt x="1874812" y="813905"/>
                </a:cubicBezTo>
                <a:lnTo>
                  <a:pt x="1875974" y="817321"/>
                </a:lnTo>
                <a:lnTo>
                  <a:pt x="1883657" y="826279"/>
                </a:lnTo>
                <a:cubicBezTo>
                  <a:pt x="1885723" y="830743"/>
                  <a:pt x="1886071" y="834978"/>
                  <a:pt x="1883186" y="837999"/>
                </a:cubicBezTo>
                <a:cubicBezTo>
                  <a:pt x="1872782" y="820377"/>
                  <a:pt x="1846302" y="816270"/>
                  <a:pt x="1838888" y="796343"/>
                </a:cubicBezTo>
                <a:close/>
                <a:moveTo>
                  <a:pt x="2539993" y="796292"/>
                </a:moveTo>
                <a:lnTo>
                  <a:pt x="2537621" y="800716"/>
                </a:lnTo>
                <a:lnTo>
                  <a:pt x="2539633" y="802060"/>
                </a:lnTo>
                <a:cubicBezTo>
                  <a:pt x="2539785" y="803711"/>
                  <a:pt x="2540873" y="802968"/>
                  <a:pt x="2542085" y="803982"/>
                </a:cubicBezTo>
                <a:cubicBezTo>
                  <a:pt x="2541955" y="808892"/>
                  <a:pt x="2539623" y="812063"/>
                  <a:pt x="2533905" y="812370"/>
                </a:cubicBezTo>
                <a:lnTo>
                  <a:pt x="2531053" y="811952"/>
                </a:lnTo>
                <a:lnTo>
                  <a:pt x="2530545" y="812736"/>
                </a:lnTo>
                <a:lnTo>
                  <a:pt x="2528978" y="814156"/>
                </a:lnTo>
                <a:lnTo>
                  <a:pt x="2533503" y="813872"/>
                </a:lnTo>
                <a:lnTo>
                  <a:pt x="2533345" y="818890"/>
                </a:lnTo>
                <a:cubicBezTo>
                  <a:pt x="2532180" y="818808"/>
                  <a:pt x="2530797" y="818437"/>
                  <a:pt x="2529471" y="817853"/>
                </a:cubicBezTo>
                <a:cubicBezTo>
                  <a:pt x="2528393" y="817449"/>
                  <a:pt x="2527677" y="816797"/>
                  <a:pt x="2527603" y="815972"/>
                </a:cubicBezTo>
                <a:lnTo>
                  <a:pt x="2528442" y="815047"/>
                </a:lnTo>
                <a:lnTo>
                  <a:pt x="2526790" y="816789"/>
                </a:lnTo>
                <a:lnTo>
                  <a:pt x="2526273" y="818721"/>
                </a:lnTo>
                <a:cubicBezTo>
                  <a:pt x="2525765" y="819505"/>
                  <a:pt x="2524983" y="820215"/>
                  <a:pt x="2524285" y="820604"/>
                </a:cubicBezTo>
                <a:lnTo>
                  <a:pt x="2523149" y="820414"/>
                </a:lnTo>
                <a:lnTo>
                  <a:pt x="2518881" y="823065"/>
                </a:lnTo>
                <a:lnTo>
                  <a:pt x="2522621" y="823493"/>
                </a:lnTo>
                <a:cubicBezTo>
                  <a:pt x="2524778" y="824300"/>
                  <a:pt x="2526427" y="825892"/>
                  <a:pt x="2526348" y="828400"/>
                </a:cubicBezTo>
                <a:cubicBezTo>
                  <a:pt x="2526223" y="829978"/>
                  <a:pt x="2526096" y="831554"/>
                  <a:pt x="2524857" y="830646"/>
                </a:cubicBezTo>
                <a:cubicBezTo>
                  <a:pt x="2523768" y="831389"/>
                  <a:pt x="2522528" y="830483"/>
                  <a:pt x="2520199" y="830318"/>
                </a:cubicBezTo>
                <a:cubicBezTo>
                  <a:pt x="2516631" y="829247"/>
                  <a:pt x="2513217" y="826493"/>
                  <a:pt x="2513343" y="824916"/>
                </a:cubicBezTo>
                <a:lnTo>
                  <a:pt x="2514529" y="822704"/>
                </a:lnTo>
                <a:lnTo>
                  <a:pt x="2511959" y="815691"/>
                </a:lnTo>
                <a:cubicBezTo>
                  <a:pt x="2512822" y="812472"/>
                  <a:pt x="2515126" y="809409"/>
                  <a:pt x="2518536" y="806642"/>
                </a:cubicBezTo>
                <a:lnTo>
                  <a:pt x="2522136" y="804272"/>
                </a:lnTo>
                <a:lnTo>
                  <a:pt x="2524152" y="802282"/>
                </a:lnTo>
                <a:lnTo>
                  <a:pt x="2526711" y="801588"/>
                </a:lnTo>
                <a:lnTo>
                  <a:pt x="2529586" y="799713"/>
                </a:lnTo>
                <a:cubicBezTo>
                  <a:pt x="2533626" y="797920"/>
                  <a:pt x="2537243" y="796590"/>
                  <a:pt x="2539993" y="796292"/>
                </a:cubicBezTo>
                <a:close/>
                <a:moveTo>
                  <a:pt x="2234245" y="796234"/>
                </a:moveTo>
                <a:cubicBezTo>
                  <a:pt x="2235959" y="795644"/>
                  <a:pt x="2239013" y="796146"/>
                  <a:pt x="2243308" y="796722"/>
                </a:cubicBezTo>
                <a:cubicBezTo>
                  <a:pt x="2243762" y="801673"/>
                  <a:pt x="2240315" y="802359"/>
                  <a:pt x="2233214" y="802296"/>
                </a:cubicBezTo>
                <a:cubicBezTo>
                  <a:pt x="2232154" y="798505"/>
                  <a:pt x="2232530" y="796824"/>
                  <a:pt x="2234245" y="796234"/>
                </a:cubicBezTo>
                <a:close/>
                <a:moveTo>
                  <a:pt x="1208634" y="796233"/>
                </a:moveTo>
                <a:cubicBezTo>
                  <a:pt x="1210748" y="795534"/>
                  <a:pt x="1213298" y="795700"/>
                  <a:pt x="1216141" y="797267"/>
                </a:cubicBezTo>
                <a:cubicBezTo>
                  <a:pt x="1218212" y="798396"/>
                  <a:pt x="1220005" y="799451"/>
                  <a:pt x="1218506" y="799510"/>
                </a:cubicBezTo>
                <a:cubicBezTo>
                  <a:pt x="1218773" y="800732"/>
                  <a:pt x="1217273" y="800790"/>
                  <a:pt x="1215736" y="802103"/>
                </a:cubicBezTo>
                <a:cubicBezTo>
                  <a:pt x="1213004" y="803441"/>
                  <a:pt x="1208145" y="803864"/>
                  <a:pt x="1206076" y="802734"/>
                </a:cubicBezTo>
                <a:cubicBezTo>
                  <a:pt x="1204282" y="801680"/>
                  <a:pt x="1203740" y="800383"/>
                  <a:pt x="1203740" y="800383"/>
                </a:cubicBezTo>
                <a:cubicBezTo>
                  <a:pt x="1204839" y="798494"/>
                  <a:pt x="1206519" y="796931"/>
                  <a:pt x="1208634" y="796233"/>
                </a:cubicBezTo>
                <a:close/>
                <a:moveTo>
                  <a:pt x="2247767" y="794466"/>
                </a:moveTo>
                <a:cubicBezTo>
                  <a:pt x="2258898" y="802739"/>
                  <a:pt x="2271772" y="811134"/>
                  <a:pt x="2268406" y="818166"/>
                </a:cubicBezTo>
                <a:cubicBezTo>
                  <a:pt x="2266268" y="818399"/>
                  <a:pt x="2263777" y="817732"/>
                  <a:pt x="2261402" y="816634"/>
                </a:cubicBezTo>
                <a:cubicBezTo>
                  <a:pt x="2254217" y="813560"/>
                  <a:pt x="2247822" y="806441"/>
                  <a:pt x="2244372" y="801606"/>
                </a:cubicBezTo>
                <a:cubicBezTo>
                  <a:pt x="2247333" y="799410"/>
                  <a:pt x="2245084" y="796737"/>
                  <a:pt x="2247767" y="794466"/>
                </a:cubicBezTo>
                <a:close/>
                <a:moveTo>
                  <a:pt x="2319589" y="794275"/>
                </a:moveTo>
                <a:cubicBezTo>
                  <a:pt x="2322367" y="793870"/>
                  <a:pt x="2326535" y="796022"/>
                  <a:pt x="2330503" y="798924"/>
                </a:cubicBezTo>
                <a:lnTo>
                  <a:pt x="2331189" y="799684"/>
                </a:lnTo>
                <a:lnTo>
                  <a:pt x="2331391" y="798933"/>
                </a:lnTo>
                <a:cubicBezTo>
                  <a:pt x="2331315" y="798108"/>
                  <a:pt x="2331459" y="797571"/>
                  <a:pt x="2332288" y="797793"/>
                </a:cubicBezTo>
                <a:cubicBezTo>
                  <a:pt x="2332576" y="796721"/>
                  <a:pt x="2335839" y="797824"/>
                  <a:pt x="2335839" y="797824"/>
                </a:cubicBezTo>
                <a:cubicBezTo>
                  <a:pt x="2336156" y="796644"/>
                  <a:pt x="2336472" y="795463"/>
                  <a:pt x="2338419" y="794836"/>
                </a:cubicBezTo>
                <a:cubicBezTo>
                  <a:pt x="2339429" y="796602"/>
                  <a:pt x="2340023" y="795496"/>
                  <a:pt x="2341653" y="796047"/>
                </a:cubicBezTo>
                <a:cubicBezTo>
                  <a:pt x="2339735" y="796569"/>
                  <a:pt x="2338509" y="800035"/>
                  <a:pt x="2336245" y="801843"/>
                </a:cubicBezTo>
                <a:lnTo>
                  <a:pt x="2333364" y="801531"/>
                </a:lnTo>
                <a:lnTo>
                  <a:pt x="2340572" y="807832"/>
                </a:lnTo>
                <a:cubicBezTo>
                  <a:pt x="2339321" y="808073"/>
                  <a:pt x="2337661" y="807628"/>
                  <a:pt x="2335811" y="806787"/>
                </a:cubicBezTo>
                <a:cubicBezTo>
                  <a:pt x="2329982" y="804190"/>
                  <a:pt x="2322773" y="797889"/>
                  <a:pt x="2319589" y="794275"/>
                </a:cubicBezTo>
                <a:close/>
                <a:moveTo>
                  <a:pt x="2080944" y="793927"/>
                </a:moveTo>
                <a:cubicBezTo>
                  <a:pt x="2082443" y="793869"/>
                  <a:pt x="2082720" y="793942"/>
                  <a:pt x="2084512" y="794998"/>
                </a:cubicBezTo>
                <a:cubicBezTo>
                  <a:pt x="2086011" y="794940"/>
                  <a:pt x="2084077" y="799940"/>
                  <a:pt x="2084345" y="801162"/>
                </a:cubicBezTo>
                <a:cubicBezTo>
                  <a:pt x="2082845" y="801221"/>
                  <a:pt x="2082845" y="801221"/>
                  <a:pt x="2082579" y="800000"/>
                </a:cubicBezTo>
                <a:lnTo>
                  <a:pt x="2082435" y="800536"/>
                </a:lnTo>
                <a:lnTo>
                  <a:pt x="2080216" y="797757"/>
                </a:lnTo>
                <a:cubicBezTo>
                  <a:pt x="2080225" y="796609"/>
                  <a:pt x="2080599" y="795214"/>
                  <a:pt x="2080944" y="793927"/>
                </a:cubicBezTo>
                <a:close/>
                <a:moveTo>
                  <a:pt x="838048" y="793824"/>
                </a:moveTo>
                <a:cubicBezTo>
                  <a:pt x="849447" y="791127"/>
                  <a:pt x="879848" y="806059"/>
                  <a:pt x="876600" y="818183"/>
                </a:cubicBezTo>
                <a:cubicBezTo>
                  <a:pt x="865725" y="812280"/>
                  <a:pt x="856684" y="806177"/>
                  <a:pt x="840082" y="801729"/>
                </a:cubicBezTo>
                <a:cubicBezTo>
                  <a:pt x="841497" y="798657"/>
                  <a:pt x="835352" y="797242"/>
                  <a:pt x="838048" y="793824"/>
                </a:cubicBezTo>
                <a:close/>
                <a:moveTo>
                  <a:pt x="6003706" y="793797"/>
                </a:moveTo>
                <a:cubicBezTo>
                  <a:pt x="6007332" y="794653"/>
                  <a:pt x="6010807" y="793860"/>
                  <a:pt x="6013164" y="793917"/>
                </a:cubicBezTo>
                <a:cubicBezTo>
                  <a:pt x="6016941" y="796424"/>
                  <a:pt x="6018331" y="798982"/>
                  <a:pt x="6017792" y="803207"/>
                </a:cubicBezTo>
                <a:cubicBezTo>
                  <a:pt x="6010565" y="804720"/>
                  <a:pt x="6013199" y="804852"/>
                  <a:pt x="6004553" y="803915"/>
                </a:cubicBezTo>
                <a:cubicBezTo>
                  <a:pt x="6004281" y="800506"/>
                  <a:pt x="6004008" y="797098"/>
                  <a:pt x="6003706" y="793797"/>
                </a:cubicBezTo>
                <a:close/>
                <a:moveTo>
                  <a:pt x="1494161" y="793446"/>
                </a:moveTo>
                <a:cubicBezTo>
                  <a:pt x="1498132" y="793015"/>
                  <a:pt x="1502541" y="793162"/>
                  <a:pt x="1505195" y="794332"/>
                </a:cubicBezTo>
                <a:cubicBezTo>
                  <a:pt x="1503702" y="796577"/>
                  <a:pt x="1502211" y="798822"/>
                  <a:pt x="1500721" y="801068"/>
                </a:cubicBezTo>
                <a:cubicBezTo>
                  <a:pt x="1500730" y="799920"/>
                  <a:pt x="1485676" y="801868"/>
                  <a:pt x="1485676" y="801868"/>
                </a:cubicBezTo>
                <a:cubicBezTo>
                  <a:pt x="1483635" y="800630"/>
                  <a:pt x="1482893" y="800087"/>
                  <a:pt x="1482788" y="799368"/>
                </a:cubicBezTo>
                <a:cubicBezTo>
                  <a:pt x="1482683" y="798650"/>
                  <a:pt x="1483496" y="797833"/>
                  <a:pt x="1484842" y="796124"/>
                </a:cubicBezTo>
                <a:cubicBezTo>
                  <a:pt x="1486600" y="795100"/>
                  <a:pt x="1490161" y="793984"/>
                  <a:pt x="1494161" y="793446"/>
                </a:cubicBezTo>
                <a:close/>
                <a:moveTo>
                  <a:pt x="5726588" y="793144"/>
                </a:moveTo>
                <a:cubicBezTo>
                  <a:pt x="5727770" y="803122"/>
                  <a:pt x="5730192" y="814006"/>
                  <a:pt x="5719796" y="816279"/>
                </a:cubicBezTo>
                <a:cubicBezTo>
                  <a:pt x="5715350" y="814054"/>
                  <a:pt x="5713971" y="810349"/>
                  <a:pt x="5713841" y="806405"/>
                </a:cubicBezTo>
                <a:cubicBezTo>
                  <a:pt x="5713435" y="802386"/>
                  <a:pt x="5714833" y="798276"/>
                  <a:pt x="5716191" y="795420"/>
                </a:cubicBezTo>
                <a:cubicBezTo>
                  <a:pt x="5720906" y="795533"/>
                  <a:pt x="5721873" y="793031"/>
                  <a:pt x="5726588" y="793144"/>
                </a:cubicBezTo>
                <a:close/>
                <a:moveTo>
                  <a:pt x="1812293" y="792668"/>
                </a:moveTo>
                <a:lnTo>
                  <a:pt x="1813227" y="793607"/>
                </a:lnTo>
                <a:cubicBezTo>
                  <a:pt x="1812339" y="793600"/>
                  <a:pt x="1812034" y="793634"/>
                  <a:pt x="1812062" y="793526"/>
                </a:cubicBezTo>
                <a:close/>
                <a:moveTo>
                  <a:pt x="1774344" y="792619"/>
                </a:moveTo>
                <a:cubicBezTo>
                  <a:pt x="1775983" y="795359"/>
                  <a:pt x="1778007" y="795556"/>
                  <a:pt x="1777495" y="799674"/>
                </a:cubicBezTo>
                <a:cubicBezTo>
                  <a:pt x="1775473" y="799477"/>
                  <a:pt x="1773173" y="799206"/>
                  <a:pt x="1770873" y="798935"/>
                </a:cubicBezTo>
                <a:cubicBezTo>
                  <a:pt x="1770324" y="795452"/>
                  <a:pt x="1769746" y="792076"/>
                  <a:pt x="1774344" y="792619"/>
                </a:cubicBezTo>
                <a:close/>
                <a:moveTo>
                  <a:pt x="1831076" y="792295"/>
                </a:moveTo>
                <a:cubicBezTo>
                  <a:pt x="1831647" y="793484"/>
                  <a:pt x="1832190" y="794779"/>
                  <a:pt x="1830663" y="794945"/>
                </a:cubicBezTo>
                <a:cubicBezTo>
                  <a:pt x="1831235" y="796133"/>
                  <a:pt x="1830957" y="796059"/>
                  <a:pt x="1829706" y="796298"/>
                </a:cubicBezTo>
                <a:cubicBezTo>
                  <a:pt x="1829136" y="795110"/>
                  <a:pt x="1828593" y="793815"/>
                  <a:pt x="1828022" y="792627"/>
                </a:cubicBezTo>
                <a:cubicBezTo>
                  <a:pt x="1829254" y="791348"/>
                  <a:pt x="1829254" y="791348"/>
                  <a:pt x="1831076" y="792295"/>
                </a:cubicBezTo>
                <a:close/>
                <a:moveTo>
                  <a:pt x="873459" y="792271"/>
                </a:moveTo>
                <a:cubicBezTo>
                  <a:pt x="877171" y="792806"/>
                  <a:pt x="877574" y="791304"/>
                  <a:pt x="882762" y="794074"/>
                </a:cubicBezTo>
                <a:cubicBezTo>
                  <a:pt x="882331" y="795684"/>
                  <a:pt x="881652" y="797111"/>
                  <a:pt x="880973" y="798540"/>
                </a:cubicBezTo>
                <a:cubicBezTo>
                  <a:pt x="876661" y="796924"/>
                  <a:pt x="872349" y="795309"/>
                  <a:pt x="873459" y="792271"/>
                </a:cubicBezTo>
                <a:close/>
                <a:moveTo>
                  <a:pt x="4335986" y="791989"/>
                </a:moveTo>
                <a:cubicBezTo>
                  <a:pt x="4343536" y="791482"/>
                  <a:pt x="4357568" y="797772"/>
                  <a:pt x="4338552" y="802337"/>
                </a:cubicBezTo>
                <a:cubicBezTo>
                  <a:pt x="4334174" y="798749"/>
                  <a:pt x="4332450" y="796332"/>
                  <a:pt x="4332327" y="794575"/>
                </a:cubicBezTo>
                <a:cubicBezTo>
                  <a:pt x="4332177" y="792924"/>
                  <a:pt x="4333848" y="792222"/>
                  <a:pt x="4335986" y="791989"/>
                </a:cubicBezTo>
                <a:close/>
                <a:moveTo>
                  <a:pt x="4597051" y="791677"/>
                </a:moveTo>
                <a:cubicBezTo>
                  <a:pt x="4599307" y="796536"/>
                  <a:pt x="4600573" y="800669"/>
                  <a:pt x="4599739" y="803781"/>
                </a:cubicBezTo>
                <a:lnTo>
                  <a:pt x="4595441" y="806539"/>
                </a:lnTo>
                <a:lnTo>
                  <a:pt x="4609865" y="812474"/>
                </a:lnTo>
                <a:cubicBezTo>
                  <a:pt x="4615331" y="815319"/>
                  <a:pt x="4619489" y="818618"/>
                  <a:pt x="4619866" y="822744"/>
                </a:cubicBezTo>
                <a:cubicBezTo>
                  <a:pt x="4617890" y="823480"/>
                  <a:pt x="4615475" y="823638"/>
                  <a:pt x="4613203" y="823259"/>
                </a:cubicBezTo>
                <a:cubicBezTo>
                  <a:pt x="4610627" y="822914"/>
                  <a:pt x="4607917" y="821958"/>
                  <a:pt x="4605513" y="820969"/>
                </a:cubicBezTo>
                <a:cubicBezTo>
                  <a:pt x="4600181" y="818734"/>
                  <a:pt x="4595136" y="815428"/>
                  <a:pt x="4591416" y="812706"/>
                </a:cubicBezTo>
                <a:lnTo>
                  <a:pt x="4591143" y="809298"/>
                </a:lnTo>
                <a:lnTo>
                  <a:pt x="4589691" y="810289"/>
                </a:lnTo>
                <a:lnTo>
                  <a:pt x="4584639" y="804795"/>
                </a:lnTo>
                <a:lnTo>
                  <a:pt x="4583653" y="815111"/>
                </a:lnTo>
                <a:cubicBezTo>
                  <a:pt x="4582098" y="815384"/>
                  <a:pt x="4581527" y="814196"/>
                  <a:pt x="4579999" y="814362"/>
                </a:cubicBezTo>
                <a:cubicBezTo>
                  <a:pt x="4578921" y="813958"/>
                  <a:pt x="4578073" y="812696"/>
                  <a:pt x="4577559" y="811294"/>
                </a:cubicBezTo>
                <a:lnTo>
                  <a:pt x="4576830" y="806268"/>
                </a:lnTo>
                <a:lnTo>
                  <a:pt x="4570580" y="812988"/>
                </a:lnTo>
                <a:cubicBezTo>
                  <a:pt x="4565011" y="818281"/>
                  <a:pt x="4558754" y="822815"/>
                  <a:pt x="4552023" y="824691"/>
                </a:cubicBezTo>
                <a:cubicBezTo>
                  <a:pt x="4550621" y="823280"/>
                  <a:pt x="4549831" y="821804"/>
                  <a:pt x="4549346" y="820294"/>
                </a:cubicBezTo>
                <a:cubicBezTo>
                  <a:pt x="4548171" y="812504"/>
                  <a:pt x="4562229" y="804310"/>
                  <a:pt x="4573754" y="800039"/>
                </a:cubicBezTo>
                <a:lnTo>
                  <a:pt x="4577592" y="798996"/>
                </a:lnTo>
                <a:lnTo>
                  <a:pt x="4578051" y="797280"/>
                </a:lnTo>
                <a:cubicBezTo>
                  <a:pt x="4578051" y="797280"/>
                  <a:pt x="4577509" y="795984"/>
                  <a:pt x="4578770" y="794597"/>
                </a:cubicBezTo>
                <a:cubicBezTo>
                  <a:pt x="4580003" y="793318"/>
                  <a:pt x="4580988" y="791856"/>
                  <a:pt x="4584948" y="792573"/>
                </a:cubicBezTo>
                <a:cubicBezTo>
                  <a:pt x="4584564" y="795116"/>
                  <a:pt x="4584570" y="797302"/>
                  <a:pt x="4584635" y="799274"/>
                </a:cubicBezTo>
                <a:lnTo>
                  <a:pt x="4584661" y="802500"/>
                </a:lnTo>
                <a:lnTo>
                  <a:pt x="4584922" y="798201"/>
                </a:lnTo>
                <a:cubicBezTo>
                  <a:pt x="4586874" y="794239"/>
                  <a:pt x="4591535" y="791233"/>
                  <a:pt x="4597051" y="791677"/>
                </a:cubicBezTo>
                <a:close/>
                <a:moveTo>
                  <a:pt x="2693719" y="791482"/>
                </a:moveTo>
                <a:lnTo>
                  <a:pt x="2697981" y="795499"/>
                </a:lnTo>
                <a:lnTo>
                  <a:pt x="2700370" y="792114"/>
                </a:lnTo>
                <a:close/>
                <a:moveTo>
                  <a:pt x="4917120" y="791416"/>
                </a:moveTo>
                <a:cubicBezTo>
                  <a:pt x="4918369" y="791176"/>
                  <a:pt x="4919562" y="791152"/>
                  <a:pt x="4920583" y="791769"/>
                </a:cubicBezTo>
                <a:cubicBezTo>
                  <a:pt x="4920573" y="792916"/>
                  <a:pt x="4922318" y="793040"/>
                  <a:pt x="4922308" y="794187"/>
                </a:cubicBezTo>
                <a:cubicBezTo>
                  <a:pt x="4924338" y="796571"/>
                  <a:pt x="4924299" y="797826"/>
                  <a:pt x="4922790" y="799031"/>
                </a:cubicBezTo>
                <a:cubicBezTo>
                  <a:pt x="4923056" y="800252"/>
                  <a:pt x="4921309" y="800130"/>
                  <a:pt x="4919828" y="801228"/>
                </a:cubicBezTo>
                <a:cubicBezTo>
                  <a:pt x="4918053" y="801212"/>
                  <a:pt x="4916289" y="800049"/>
                  <a:pt x="4916289" y="800049"/>
                </a:cubicBezTo>
                <a:cubicBezTo>
                  <a:pt x="4914553" y="798779"/>
                  <a:pt x="4914553" y="798779"/>
                  <a:pt x="4912767" y="799911"/>
                </a:cubicBezTo>
                <a:cubicBezTo>
                  <a:pt x="4912767" y="799911"/>
                  <a:pt x="4912778" y="798763"/>
                  <a:pt x="4912778" y="798763"/>
                </a:cubicBezTo>
                <a:cubicBezTo>
                  <a:pt x="4914553" y="798779"/>
                  <a:pt x="4912778" y="798763"/>
                  <a:pt x="4911043" y="797494"/>
                </a:cubicBezTo>
                <a:cubicBezTo>
                  <a:pt x="4912257" y="795174"/>
                  <a:pt x="4912296" y="793919"/>
                  <a:pt x="4913777" y="792821"/>
                </a:cubicBezTo>
                <a:cubicBezTo>
                  <a:pt x="4914532" y="792218"/>
                  <a:pt x="4915869" y="791656"/>
                  <a:pt x="4917120" y="791416"/>
                </a:cubicBezTo>
                <a:close/>
                <a:moveTo>
                  <a:pt x="4430278" y="788735"/>
                </a:moveTo>
                <a:cubicBezTo>
                  <a:pt x="4433996" y="791456"/>
                  <a:pt x="4436275" y="794021"/>
                  <a:pt x="4439718" y="796670"/>
                </a:cubicBezTo>
                <a:cubicBezTo>
                  <a:pt x="4438779" y="799063"/>
                  <a:pt x="4436889" y="799476"/>
                  <a:pt x="4434646" y="798990"/>
                </a:cubicBezTo>
                <a:cubicBezTo>
                  <a:pt x="4432128" y="798430"/>
                  <a:pt x="4429533" y="797046"/>
                  <a:pt x="4426939" y="795660"/>
                </a:cubicBezTo>
                <a:cubicBezTo>
                  <a:pt x="4428153" y="793340"/>
                  <a:pt x="4426152" y="790849"/>
                  <a:pt x="4430278" y="788735"/>
                </a:cubicBezTo>
                <a:close/>
                <a:moveTo>
                  <a:pt x="2544697" y="788697"/>
                </a:moveTo>
                <a:cubicBezTo>
                  <a:pt x="2547051" y="792087"/>
                  <a:pt x="2552362" y="796616"/>
                  <a:pt x="2548969" y="800422"/>
                </a:cubicBezTo>
                <a:cubicBezTo>
                  <a:pt x="2547302" y="797791"/>
                  <a:pt x="2543547" y="792989"/>
                  <a:pt x="2543350" y="790406"/>
                </a:cubicBezTo>
                <a:cubicBezTo>
                  <a:pt x="2543303" y="789473"/>
                  <a:pt x="2543475" y="788830"/>
                  <a:pt x="2544697" y="788697"/>
                </a:cubicBezTo>
                <a:close/>
                <a:moveTo>
                  <a:pt x="2304773" y="788696"/>
                </a:moveTo>
                <a:cubicBezTo>
                  <a:pt x="2311741" y="788147"/>
                  <a:pt x="2326241" y="794908"/>
                  <a:pt x="2309247" y="799669"/>
                </a:cubicBezTo>
                <a:cubicBezTo>
                  <a:pt x="2299167" y="791908"/>
                  <a:pt x="2300831" y="789019"/>
                  <a:pt x="2304773" y="788696"/>
                </a:cubicBezTo>
                <a:close/>
                <a:moveTo>
                  <a:pt x="5440741" y="788544"/>
                </a:moveTo>
                <a:cubicBezTo>
                  <a:pt x="5443128" y="788493"/>
                  <a:pt x="5446592" y="788846"/>
                  <a:pt x="5450236" y="790742"/>
                </a:cubicBezTo>
                <a:cubicBezTo>
                  <a:pt x="5451971" y="792012"/>
                  <a:pt x="5455737" y="795667"/>
                  <a:pt x="5453991" y="795544"/>
                </a:cubicBezTo>
                <a:cubicBezTo>
                  <a:pt x="5452481" y="796750"/>
                  <a:pt x="5454228" y="796872"/>
                  <a:pt x="5454217" y="798019"/>
                </a:cubicBezTo>
                <a:cubicBezTo>
                  <a:pt x="5449718" y="801529"/>
                  <a:pt x="5444715" y="802489"/>
                  <a:pt x="5439440" y="800040"/>
                </a:cubicBezTo>
                <a:cubicBezTo>
                  <a:pt x="5436684" y="798151"/>
                  <a:pt x="5433184" y="795718"/>
                  <a:pt x="5432710" y="793061"/>
                </a:cubicBezTo>
                <a:cubicBezTo>
                  <a:pt x="5432634" y="792236"/>
                  <a:pt x="5432588" y="791304"/>
                  <a:pt x="5433429" y="790379"/>
                </a:cubicBezTo>
                <a:cubicBezTo>
                  <a:pt x="5435175" y="790502"/>
                  <a:pt x="5434909" y="789280"/>
                  <a:pt x="5436684" y="789296"/>
                </a:cubicBezTo>
                <a:cubicBezTo>
                  <a:pt x="5436684" y="789296"/>
                  <a:pt x="5438327" y="788702"/>
                  <a:pt x="5440741" y="788544"/>
                </a:cubicBezTo>
                <a:close/>
                <a:moveTo>
                  <a:pt x="2769543" y="787418"/>
                </a:moveTo>
                <a:cubicBezTo>
                  <a:pt x="2771308" y="788581"/>
                  <a:pt x="2774592" y="787391"/>
                  <a:pt x="2776633" y="788628"/>
                </a:cubicBezTo>
                <a:cubicBezTo>
                  <a:pt x="2776633" y="788628"/>
                  <a:pt x="2778929" y="792233"/>
                  <a:pt x="2778929" y="792233"/>
                </a:cubicBezTo>
                <a:cubicBezTo>
                  <a:pt x="2777421" y="793439"/>
                  <a:pt x="2777421" y="793439"/>
                  <a:pt x="2777154" y="792218"/>
                </a:cubicBezTo>
                <a:cubicBezTo>
                  <a:pt x="2774146" y="793481"/>
                  <a:pt x="2772372" y="793467"/>
                  <a:pt x="2770596" y="793451"/>
                </a:cubicBezTo>
                <a:cubicBezTo>
                  <a:pt x="2768555" y="792214"/>
                  <a:pt x="2768300" y="789845"/>
                  <a:pt x="2769543" y="787418"/>
                </a:cubicBezTo>
                <a:close/>
                <a:moveTo>
                  <a:pt x="1810133" y="786339"/>
                </a:moveTo>
                <a:cubicBezTo>
                  <a:pt x="1811661" y="786173"/>
                  <a:pt x="1811688" y="786066"/>
                  <a:pt x="1813787" y="787088"/>
                </a:cubicBezTo>
                <a:cubicBezTo>
                  <a:pt x="1815316" y="786922"/>
                  <a:pt x="1814211" y="792146"/>
                  <a:pt x="1814507" y="793261"/>
                </a:cubicBezTo>
                <a:cubicBezTo>
                  <a:pt x="1813227" y="793607"/>
                  <a:pt x="1812951" y="793533"/>
                  <a:pt x="1812684" y="792313"/>
                </a:cubicBezTo>
                <a:lnTo>
                  <a:pt x="1812293" y="792668"/>
                </a:lnTo>
                <a:lnTo>
                  <a:pt x="1809986" y="790209"/>
                </a:lnTo>
                <a:cubicBezTo>
                  <a:pt x="1809719" y="788988"/>
                  <a:pt x="1809788" y="787627"/>
                  <a:pt x="1810133" y="786339"/>
                </a:cubicBezTo>
                <a:close/>
                <a:moveTo>
                  <a:pt x="4944050" y="786097"/>
                </a:moveTo>
                <a:cubicBezTo>
                  <a:pt x="4945853" y="786006"/>
                  <a:pt x="4946148" y="787120"/>
                  <a:pt x="4948218" y="788249"/>
                </a:cubicBezTo>
                <a:cubicBezTo>
                  <a:pt x="4948484" y="789471"/>
                  <a:pt x="4946974" y="790676"/>
                  <a:pt x="4946974" y="790676"/>
                </a:cubicBezTo>
                <a:cubicBezTo>
                  <a:pt x="4945742" y="791956"/>
                  <a:pt x="4945742" y="791956"/>
                  <a:pt x="4947811" y="793085"/>
                </a:cubicBezTo>
                <a:cubicBezTo>
                  <a:pt x="4947811" y="793085"/>
                  <a:pt x="4946008" y="793177"/>
                  <a:pt x="4946008" y="793177"/>
                </a:cubicBezTo>
                <a:cubicBezTo>
                  <a:pt x="4945713" y="792063"/>
                  <a:pt x="4946008" y="793177"/>
                  <a:pt x="4944775" y="794457"/>
                </a:cubicBezTo>
                <a:cubicBezTo>
                  <a:pt x="4942838" y="793938"/>
                  <a:pt x="4941426" y="793674"/>
                  <a:pt x="4940291" y="793485"/>
                </a:cubicBezTo>
                <a:cubicBezTo>
                  <a:pt x="4939183" y="793189"/>
                  <a:pt x="4938324" y="793073"/>
                  <a:pt x="4937304" y="792455"/>
                </a:cubicBezTo>
                <a:cubicBezTo>
                  <a:pt x="4936255" y="791944"/>
                  <a:pt x="4935292" y="791111"/>
                  <a:pt x="4934635" y="790245"/>
                </a:cubicBezTo>
                <a:cubicBezTo>
                  <a:pt x="4933977" y="789378"/>
                  <a:pt x="4933901" y="788553"/>
                  <a:pt x="4934408" y="787769"/>
                </a:cubicBezTo>
                <a:cubicBezTo>
                  <a:pt x="4936183" y="787785"/>
                  <a:pt x="4935641" y="786489"/>
                  <a:pt x="4937415" y="786505"/>
                </a:cubicBezTo>
                <a:cubicBezTo>
                  <a:pt x="4940452" y="785133"/>
                  <a:pt x="4941980" y="784968"/>
                  <a:pt x="4944050" y="786097"/>
                </a:cubicBezTo>
                <a:close/>
                <a:moveTo>
                  <a:pt x="2438368" y="785967"/>
                </a:moveTo>
                <a:cubicBezTo>
                  <a:pt x="2459278" y="795365"/>
                  <a:pt x="2470655" y="812673"/>
                  <a:pt x="2459906" y="822904"/>
                </a:cubicBezTo>
                <a:cubicBezTo>
                  <a:pt x="2454013" y="827189"/>
                  <a:pt x="2447235" y="828133"/>
                  <a:pt x="2441033" y="826931"/>
                </a:cubicBezTo>
                <a:cubicBezTo>
                  <a:pt x="2438791" y="826445"/>
                  <a:pt x="2436606" y="825745"/>
                  <a:pt x="2434755" y="824904"/>
                </a:cubicBezTo>
                <a:cubicBezTo>
                  <a:pt x="2426770" y="821499"/>
                  <a:pt x="2420230" y="814918"/>
                  <a:pt x="2418549" y="807912"/>
                </a:cubicBezTo>
                <a:cubicBezTo>
                  <a:pt x="2416381" y="799396"/>
                  <a:pt x="2421154" y="790440"/>
                  <a:pt x="2438368" y="785967"/>
                </a:cubicBezTo>
                <a:close/>
                <a:moveTo>
                  <a:pt x="1409637" y="784598"/>
                </a:moveTo>
                <a:cubicBezTo>
                  <a:pt x="1409637" y="784598"/>
                  <a:pt x="1409637" y="784598"/>
                  <a:pt x="1418553" y="792277"/>
                </a:cubicBezTo>
                <a:cubicBezTo>
                  <a:pt x="1417856" y="792665"/>
                  <a:pt x="1416748" y="792368"/>
                  <a:pt x="1416005" y="791824"/>
                </a:cubicBezTo>
                <a:cubicBezTo>
                  <a:pt x="1415261" y="791280"/>
                  <a:pt x="1414603" y="790414"/>
                  <a:pt x="1413917" y="789655"/>
                </a:cubicBezTo>
                <a:cubicBezTo>
                  <a:pt x="1412602" y="787922"/>
                  <a:pt x="1410981" y="786223"/>
                  <a:pt x="1409637" y="784598"/>
                </a:cubicBezTo>
                <a:close/>
                <a:moveTo>
                  <a:pt x="995089" y="784108"/>
                </a:moveTo>
                <a:cubicBezTo>
                  <a:pt x="1000153" y="785135"/>
                  <a:pt x="1005361" y="788111"/>
                  <a:pt x="1010198" y="794411"/>
                </a:cubicBezTo>
                <a:cubicBezTo>
                  <a:pt x="1012839" y="796728"/>
                  <a:pt x="1011236" y="796069"/>
                  <a:pt x="1012552" y="797800"/>
                </a:cubicBezTo>
                <a:lnTo>
                  <a:pt x="1013019" y="798271"/>
                </a:lnTo>
                <a:lnTo>
                  <a:pt x="1014280" y="796884"/>
                </a:lnTo>
                <a:cubicBezTo>
                  <a:pt x="1014948" y="796603"/>
                  <a:pt x="1015807" y="796718"/>
                  <a:pt x="1016856" y="797229"/>
                </a:cubicBezTo>
                <a:cubicBezTo>
                  <a:pt x="1016856" y="797229"/>
                  <a:pt x="1019231" y="798326"/>
                  <a:pt x="1021330" y="799348"/>
                </a:cubicBezTo>
                <a:cubicBezTo>
                  <a:pt x="1023429" y="800370"/>
                  <a:pt x="1024985" y="800098"/>
                  <a:pt x="1024985" y="800098"/>
                </a:cubicBezTo>
                <a:cubicBezTo>
                  <a:pt x="1027112" y="801012"/>
                  <a:pt x="1027378" y="802234"/>
                  <a:pt x="1026394" y="803695"/>
                </a:cubicBezTo>
                <a:cubicBezTo>
                  <a:pt x="1026394" y="803695"/>
                  <a:pt x="1022768" y="802838"/>
                  <a:pt x="1022768" y="802838"/>
                </a:cubicBezTo>
                <a:cubicBezTo>
                  <a:pt x="1020640" y="801923"/>
                  <a:pt x="1018790" y="801083"/>
                  <a:pt x="1017434" y="800605"/>
                </a:cubicBezTo>
                <a:lnTo>
                  <a:pt x="1014973" y="799830"/>
                </a:lnTo>
                <a:lnTo>
                  <a:pt x="1017834" y="802436"/>
                </a:lnTo>
                <a:cubicBezTo>
                  <a:pt x="1016468" y="803105"/>
                  <a:pt x="1015380" y="803848"/>
                  <a:pt x="1014596" y="804559"/>
                </a:cubicBezTo>
                <a:lnTo>
                  <a:pt x="1013048" y="807019"/>
                </a:lnTo>
                <a:lnTo>
                  <a:pt x="1015879" y="809733"/>
                </a:lnTo>
                <a:cubicBezTo>
                  <a:pt x="1014047" y="809932"/>
                  <a:pt x="1011229" y="811592"/>
                  <a:pt x="1010657" y="810403"/>
                </a:cubicBezTo>
                <a:lnTo>
                  <a:pt x="1010162" y="810040"/>
                </a:lnTo>
                <a:lnTo>
                  <a:pt x="1005033" y="812577"/>
                </a:lnTo>
                <a:cubicBezTo>
                  <a:pt x="998713" y="815138"/>
                  <a:pt x="993138" y="814909"/>
                  <a:pt x="988273" y="813145"/>
                </a:cubicBezTo>
                <a:cubicBezTo>
                  <a:pt x="983407" y="811382"/>
                  <a:pt x="979774" y="808338"/>
                  <a:pt x="977001" y="805410"/>
                </a:cubicBezTo>
                <a:cubicBezTo>
                  <a:pt x="978556" y="805137"/>
                  <a:pt x="971779" y="797226"/>
                  <a:pt x="974362" y="790903"/>
                </a:cubicBezTo>
                <a:cubicBezTo>
                  <a:pt x="975216" y="788832"/>
                  <a:pt x="977202" y="786948"/>
                  <a:pt x="980850" y="785512"/>
                </a:cubicBezTo>
                <a:cubicBezTo>
                  <a:pt x="985107" y="784007"/>
                  <a:pt x="990026" y="783083"/>
                  <a:pt x="995089" y="784108"/>
                </a:cubicBezTo>
                <a:close/>
                <a:moveTo>
                  <a:pt x="1202288" y="783665"/>
                </a:moveTo>
                <a:lnTo>
                  <a:pt x="1208221" y="786980"/>
                </a:lnTo>
                <a:cubicBezTo>
                  <a:pt x="1206960" y="788366"/>
                  <a:pt x="1203952" y="789631"/>
                  <a:pt x="1202159" y="788575"/>
                </a:cubicBezTo>
                <a:cubicBezTo>
                  <a:pt x="1200222" y="788056"/>
                  <a:pt x="1200089" y="787446"/>
                  <a:pt x="1200596" y="786661"/>
                </a:cubicBezTo>
                <a:cubicBezTo>
                  <a:pt x="1201074" y="785984"/>
                  <a:pt x="1201943" y="784953"/>
                  <a:pt x="1202288" y="783665"/>
                </a:cubicBezTo>
                <a:close/>
                <a:moveTo>
                  <a:pt x="4333974" y="781790"/>
                </a:moveTo>
                <a:cubicBezTo>
                  <a:pt x="4338563" y="783479"/>
                  <a:pt x="4341567" y="785549"/>
                  <a:pt x="4345849" y="787273"/>
                </a:cubicBezTo>
                <a:cubicBezTo>
                  <a:pt x="4346465" y="792727"/>
                  <a:pt x="4340625" y="791278"/>
                  <a:pt x="4334756" y="789935"/>
                </a:cubicBezTo>
                <a:cubicBezTo>
                  <a:pt x="4334588" y="787245"/>
                  <a:pt x="4331555" y="785282"/>
                  <a:pt x="4333974" y="781790"/>
                </a:cubicBezTo>
                <a:close/>
                <a:moveTo>
                  <a:pt x="4635039" y="781615"/>
                </a:moveTo>
                <a:cubicBezTo>
                  <a:pt x="4640501" y="778938"/>
                  <a:pt x="4656093" y="781621"/>
                  <a:pt x="4644238" y="791554"/>
                </a:cubicBezTo>
                <a:cubicBezTo>
                  <a:pt x="4631941" y="786534"/>
                  <a:pt x="4631668" y="783126"/>
                  <a:pt x="4635039" y="781615"/>
                </a:cubicBezTo>
                <a:close/>
                <a:moveTo>
                  <a:pt x="2804282" y="780627"/>
                </a:moveTo>
                <a:cubicBezTo>
                  <a:pt x="2808735" y="785040"/>
                  <a:pt x="2797170" y="790566"/>
                  <a:pt x="2793573" y="789602"/>
                </a:cubicBezTo>
                <a:cubicBezTo>
                  <a:pt x="2791208" y="787359"/>
                  <a:pt x="2798054" y="776197"/>
                  <a:pt x="2804282" y="780627"/>
                </a:cubicBezTo>
                <a:close/>
                <a:moveTo>
                  <a:pt x="4697966" y="780305"/>
                </a:moveTo>
                <a:cubicBezTo>
                  <a:pt x="4708829" y="787356"/>
                  <a:pt x="4698983" y="793113"/>
                  <a:pt x="4692399" y="791118"/>
                </a:cubicBezTo>
                <a:cubicBezTo>
                  <a:pt x="4686736" y="785692"/>
                  <a:pt x="4691343" y="779565"/>
                  <a:pt x="4697966" y="780305"/>
                </a:cubicBezTo>
                <a:close/>
                <a:moveTo>
                  <a:pt x="4410387" y="779955"/>
                </a:moveTo>
                <a:cubicBezTo>
                  <a:pt x="4410387" y="779955"/>
                  <a:pt x="4410387" y="779955"/>
                  <a:pt x="4405654" y="787656"/>
                </a:cubicBezTo>
                <a:cubicBezTo>
                  <a:pt x="4404633" y="787038"/>
                  <a:pt x="4404472" y="786535"/>
                  <a:pt x="4404673" y="785784"/>
                </a:cubicBezTo>
                <a:cubicBezTo>
                  <a:pt x="4404846" y="785140"/>
                  <a:pt x="4405600" y="784537"/>
                  <a:pt x="4406079" y="783861"/>
                </a:cubicBezTo>
                <a:cubicBezTo>
                  <a:pt x="4407616" y="782547"/>
                  <a:pt x="4409126" y="781342"/>
                  <a:pt x="4410387" y="779955"/>
                </a:cubicBezTo>
                <a:close/>
                <a:moveTo>
                  <a:pt x="4983198" y="779451"/>
                </a:moveTo>
                <a:cubicBezTo>
                  <a:pt x="4985117" y="778931"/>
                  <a:pt x="4987312" y="778484"/>
                  <a:pt x="4990231" y="780876"/>
                </a:cubicBezTo>
                <a:cubicBezTo>
                  <a:pt x="4981871" y="787722"/>
                  <a:pt x="4980081" y="792187"/>
                  <a:pt x="4972880" y="796928"/>
                </a:cubicBezTo>
                <a:cubicBezTo>
                  <a:pt x="4971249" y="796375"/>
                  <a:pt x="4971842" y="795269"/>
                  <a:pt x="4970239" y="794610"/>
                </a:cubicBezTo>
                <a:cubicBezTo>
                  <a:pt x="4969582" y="793743"/>
                  <a:pt x="4969621" y="792489"/>
                  <a:pt x="4970272" y="791169"/>
                </a:cubicBezTo>
                <a:cubicBezTo>
                  <a:pt x="4971918" y="787240"/>
                  <a:pt x="4977154" y="782088"/>
                  <a:pt x="4978232" y="782491"/>
                </a:cubicBezTo>
                <a:cubicBezTo>
                  <a:pt x="4978796" y="781492"/>
                  <a:pt x="4980427" y="782044"/>
                  <a:pt x="4980744" y="780864"/>
                </a:cubicBezTo>
                <a:cubicBezTo>
                  <a:pt x="4980744" y="780864"/>
                  <a:pt x="4981279" y="779972"/>
                  <a:pt x="4983198" y="779451"/>
                </a:cubicBezTo>
                <a:close/>
                <a:moveTo>
                  <a:pt x="2041124" y="777622"/>
                </a:moveTo>
                <a:lnTo>
                  <a:pt x="2044606" y="779015"/>
                </a:lnTo>
                <a:lnTo>
                  <a:pt x="2046058" y="778024"/>
                </a:lnTo>
                <a:cubicBezTo>
                  <a:pt x="2047108" y="778535"/>
                  <a:pt x="2047631" y="778791"/>
                  <a:pt x="2048099" y="779261"/>
                </a:cubicBezTo>
                <a:lnTo>
                  <a:pt x="2048613" y="780664"/>
                </a:lnTo>
                <a:lnTo>
                  <a:pt x="2053694" y="786049"/>
                </a:lnTo>
                <a:cubicBezTo>
                  <a:pt x="2054341" y="788063"/>
                  <a:pt x="2054348" y="790250"/>
                  <a:pt x="2052856" y="792495"/>
                </a:cubicBezTo>
                <a:cubicBezTo>
                  <a:pt x="2049992" y="793224"/>
                  <a:pt x="2045202" y="792285"/>
                  <a:pt x="2040584" y="790703"/>
                </a:cubicBezTo>
                <a:cubicBezTo>
                  <a:pt x="2035938" y="789227"/>
                  <a:pt x="2031770" y="787075"/>
                  <a:pt x="2029844" y="785409"/>
                </a:cubicBezTo>
                <a:cubicBezTo>
                  <a:pt x="2029466" y="781283"/>
                  <a:pt x="2031015" y="778822"/>
                  <a:pt x="2033938" y="777881"/>
                </a:cubicBezTo>
                <a:cubicBezTo>
                  <a:pt x="2035942" y="777038"/>
                  <a:pt x="2038576" y="777169"/>
                  <a:pt x="2041124" y="777622"/>
                </a:cubicBezTo>
                <a:close/>
                <a:moveTo>
                  <a:pt x="1042487" y="776841"/>
                </a:moveTo>
                <a:cubicBezTo>
                  <a:pt x="1046141" y="777590"/>
                  <a:pt x="1054531" y="785014"/>
                  <a:pt x="1053299" y="786294"/>
                </a:cubicBezTo>
                <a:cubicBezTo>
                  <a:pt x="1048872" y="785108"/>
                  <a:pt x="1041458" y="782891"/>
                  <a:pt x="1038598" y="780285"/>
                </a:cubicBezTo>
                <a:cubicBezTo>
                  <a:pt x="1037940" y="779419"/>
                  <a:pt x="1037311" y="778445"/>
                  <a:pt x="1037847" y="777553"/>
                </a:cubicBezTo>
                <a:cubicBezTo>
                  <a:pt x="1039108" y="776166"/>
                  <a:pt x="1040930" y="777114"/>
                  <a:pt x="1042487" y="776841"/>
                </a:cubicBezTo>
                <a:close/>
                <a:moveTo>
                  <a:pt x="2374509" y="776359"/>
                </a:moveTo>
                <a:cubicBezTo>
                  <a:pt x="2383267" y="775774"/>
                  <a:pt x="2393789" y="778564"/>
                  <a:pt x="2401299" y="783739"/>
                </a:cubicBezTo>
                <a:cubicBezTo>
                  <a:pt x="2410312" y="789949"/>
                  <a:pt x="2415103" y="799742"/>
                  <a:pt x="2407006" y="811143"/>
                </a:cubicBezTo>
                <a:lnTo>
                  <a:pt x="2404954" y="811054"/>
                </a:lnTo>
                <a:lnTo>
                  <a:pt x="2412626" y="812304"/>
                </a:lnTo>
                <a:cubicBezTo>
                  <a:pt x="2414409" y="814507"/>
                  <a:pt x="2414751" y="816553"/>
                  <a:pt x="2413956" y="818411"/>
                </a:cubicBezTo>
                <a:lnTo>
                  <a:pt x="2412026" y="820078"/>
                </a:lnTo>
                <a:lnTo>
                  <a:pt x="2416683" y="820407"/>
                </a:lnTo>
                <a:lnTo>
                  <a:pt x="2417603" y="825829"/>
                </a:lnTo>
                <a:lnTo>
                  <a:pt x="2418404" y="826158"/>
                </a:lnTo>
                <a:cubicBezTo>
                  <a:pt x="2422630" y="828095"/>
                  <a:pt x="2426015" y="830958"/>
                  <a:pt x="2425936" y="833466"/>
                </a:cubicBezTo>
                <a:lnTo>
                  <a:pt x="2418494" y="840212"/>
                </a:lnTo>
                <a:lnTo>
                  <a:pt x="2420661" y="839872"/>
                </a:lnTo>
                <a:cubicBezTo>
                  <a:pt x="2429318" y="839663"/>
                  <a:pt x="2435269" y="844017"/>
                  <a:pt x="2441561" y="841563"/>
                </a:cubicBezTo>
                <a:lnTo>
                  <a:pt x="2442064" y="844114"/>
                </a:lnTo>
                <a:lnTo>
                  <a:pt x="2448105" y="844812"/>
                </a:lnTo>
                <a:lnTo>
                  <a:pt x="2450563" y="848920"/>
                </a:lnTo>
                <a:lnTo>
                  <a:pt x="2452672" y="848796"/>
                </a:lnTo>
                <a:lnTo>
                  <a:pt x="2460269" y="849220"/>
                </a:lnTo>
                <a:lnTo>
                  <a:pt x="2459889" y="848429"/>
                </a:lnTo>
                <a:cubicBezTo>
                  <a:pt x="2459870" y="847389"/>
                  <a:pt x="2460435" y="846391"/>
                  <a:pt x="2462382" y="845761"/>
                </a:cubicBezTo>
                <a:cubicBezTo>
                  <a:pt x="2466288" y="843358"/>
                  <a:pt x="2471241" y="844800"/>
                  <a:pt x="2475876" y="847422"/>
                </a:cubicBezTo>
                <a:cubicBezTo>
                  <a:pt x="2479455" y="847347"/>
                  <a:pt x="2481690" y="845645"/>
                  <a:pt x="2484695" y="847716"/>
                </a:cubicBezTo>
                <a:cubicBezTo>
                  <a:pt x="2479168" y="848419"/>
                  <a:pt x="2477496" y="849122"/>
                  <a:pt x="2473918" y="849198"/>
                </a:cubicBezTo>
                <a:cubicBezTo>
                  <a:pt x="2473602" y="850377"/>
                  <a:pt x="2473314" y="851452"/>
                  <a:pt x="2471366" y="852080"/>
                </a:cubicBezTo>
                <a:lnTo>
                  <a:pt x="2468064" y="852229"/>
                </a:lnTo>
                <a:lnTo>
                  <a:pt x="2468242" y="853772"/>
                </a:lnTo>
                <a:cubicBezTo>
                  <a:pt x="2468786" y="855068"/>
                  <a:pt x="2469109" y="856074"/>
                  <a:pt x="2469928" y="857444"/>
                </a:cubicBezTo>
                <a:cubicBezTo>
                  <a:pt x="2464775" y="856753"/>
                  <a:pt x="2460556" y="857003"/>
                  <a:pt x="2457283" y="857045"/>
                </a:cubicBezTo>
                <a:lnTo>
                  <a:pt x="2451853" y="856281"/>
                </a:lnTo>
                <a:lnTo>
                  <a:pt x="2451767" y="856602"/>
                </a:lnTo>
                <a:cubicBezTo>
                  <a:pt x="2450609" y="858707"/>
                  <a:pt x="2448374" y="860409"/>
                  <a:pt x="2445176" y="861277"/>
                </a:cubicBezTo>
                <a:lnTo>
                  <a:pt x="2442092" y="861716"/>
                </a:lnTo>
                <a:cubicBezTo>
                  <a:pt x="2444827" y="865898"/>
                  <a:pt x="2443581" y="871660"/>
                  <a:pt x="2435236" y="874024"/>
                </a:cubicBezTo>
                <a:cubicBezTo>
                  <a:pt x="2428347" y="872063"/>
                  <a:pt x="2424656" y="869234"/>
                  <a:pt x="2421567" y="867486"/>
                </a:cubicBezTo>
                <a:lnTo>
                  <a:pt x="2423942" y="859727"/>
                </a:lnTo>
                <a:lnTo>
                  <a:pt x="2416237" y="853063"/>
                </a:lnTo>
                <a:lnTo>
                  <a:pt x="2418339" y="850751"/>
                </a:lnTo>
                <a:lnTo>
                  <a:pt x="2412978" y="848624"/>
                </a:lnTo>
                <a:cubicBezTo>
                  <a:pt x="2413265" y="847552"/>
                  <a:pt x="2413265" y="847552"/>
                  <a:pt x="2413265" y="847552"/>
                </a:cubicBezTo>
                <a:lnTo>
                  <a:pt x="2419935" y="849223"/>
                </a:lnTo>
                <a:lnTo>
                  <a:pt x="2420862" y="847977"/>
                </a:lnTo>
                <a:lnTo>
                  <a:pt x="2427765" y="845457"/>
                </a:lnTo>
                <a:lnTo>
                  <a:pt x="2424462" y="845606"/>
                </a:lnTo>
                <a:lnTo>
                  <a:pt x="2410904" y="841974"/>
                </a:lnTo>
                <a:lnTo>
                  <a:pt x="2409959" y="842180"/>
                </a:lnTo>
                <a:cubicBezTo>
                  <a:pt x="2404748" y="841704"/>
                  <a:pt x="2400286" y="838438"/>
                  <a:pt x="2399995" y="833990"/>
                </a:cubicBezTo>
                <a:lnTo>
                  <a:pt x="2404662" y="824315"/>
                </a:lnTo>
                <a:lnTo>
                  <a:pt x="2401073" y="825539"/>
                </a:lnTo>
                <a:cubicBezTo>
                  <a:pt x="2398324" y="825837"/>
                  <a:pt x="2395384" y="825740"/>
                  <a:pt x="2392646" y="824891"/>
                </a:cubicBezTo>
                <a:cubicBezTo>
                  <a:pt x="2390234" y="821715"/>
                  <a:pt x="2390848" y="818315"/>
                  <a:pt x="2393315" y="815756"/>
                </a:cubicBezTo>
                <a:lnTo>
                  <a:pt x="2393982" y="815474"/>
                </a:lnTo>
                <a:lnTo>
                  <a:pt x="2385523" y="809412"/>
                </a:lnTo>
                <a:lnTo>
                  <a:pt x="2384646" y="808258"/>
                </a:lnTo>
                <a:lnTo>
                  <a:pt x="2369496" y="802817"/>
                </a:lnTo>
                <a:lnTo>
                  <a:pt x="2365734" y="804685"/>
                </a:lnTo>
                <a:cubicBezTo>
                  <a:pt x="2362526" y="806700"/>
                  <a:pt x="2359354" y="807461"/>
                  <a:pt x="2357027" y="807297"/>
                </a:cubicBezTo>
                <a:cubicBezTo>
                  <a:pt x="2354450" y="806951"/>
                  <a:pt x="2352160" y="805533"/>
                  <a:pt x="2350436" y="803115"/>
                </a:cubicBezTo>
                <a:cubicBezTo>
                  <a:pt x="2350752" y="801935"/>
                  <a:pt x="2353304" y="799054"/>
                  <a:pt x="2351672" y="798502"/>
                </a:cubicBezTo>
                <a:cubicBezTo>
                  <a:pt x="2353897" y="797948"/>
                  <a:pt x="2356427" y="797361"/>
                  <a:pt x="2358565" y="797128"/>
                </a:cubicBezTo>
                <a:lnTo>
                  <a:pt x="2362611" y="797523"/>
                </a:lnTo>
                <a:lnTo>
                  <a:pt x="2361430" y="796401"/>
                </a:lnTo>
                <a:cubicBezTo>
                  <a:pt x="2359647" y="794199"/>
                  <a:pt x="2358504" y="791823"/>
                  <a:pt x="2358307" y="789240"/>
                </a:cubicBezTo>
                <a:cubicBezTo>
                  <a:pt x="2358760" y="780908"/>
                  <a:pt x="2365752" y="776946"/>
                  <a:pt x="2374509" y="776359"/>
                </a:cubicBezTo>
                <a:close/>
                <a:moveTo>
                  <a:pt x="2976256" y="776336"/>
                </a:moveTo>
                <a:lnTo>
                  <a:pt x="2976731" y="778994"/>
                </a:lnTo>
                <a:lnTo>
                  <a:pt x="2985692" y="778750"/>
                </a:lnTo>
                <a:close/>
                <a:moveTo>
                  <a:pt x="2468959" y="774728"/>
                </a:moveTo>
                <a:cubicBezTo>
                  <a:pt x="2470659" y="773919"/>
                  <a:pt x="2475618" y="777548"/>
                  <a:pt x="2477307" y="777885"/>
                </a:cubicBezTo>
                <a:cubicBezTo>
                  <a:pt x="2477268" y="779139"/>
                  <a:pt x="2475539" y="780057"/>
                  <a:pt x="2475529" y="781204"/>
                </a:cubicBezTo>
                <a:cubicBezTo>
                  <a:pt x="2473840" y="780866"/>
                  <a:pt x="2470490" y="780083"/>
                  <a:pt x="2468841" y="778492"/>
                </a:cubicBezTo>
                <a:cubicBezTo>
                  <a:pt x="2467180" y="778047"/>
                  <a:pt x="2468959" y="774728"/>
                  <a:pt x="2468959" y="774728"/>
                </a:cubicBezTo>
                <a:close/>
                <a:moveTo>
                  <a:pt x="1570126" y="774470"/>
                </a:moveTo>
                <a:cubicBezTo>
                  <a:pt x="1570413" y="773397"/>
                  <a:pt x="1576698" y="777610"/>
                  <a:pt x="1578330" y="778164"/>
                </a:cubicBezTo>
                <a:cubicBezTo>
                  <a:pt x="1578319" y="779311"/>
                  <a:pt x="1578319" y="779311"/>
                  <a:pt x="1576410" y="778684"/>
                </a:cubicBezTo>
                <a:cubicBezTo>
                  <a:pt x="1576907" y="779046"/>
                  <a:pt x="1576907" y="779046"/>
                  <a:pt x="1576878" y="779155"/>
                </a:cubicBezTo>
                <a:cubicBezTo>
                  <a:pt x="1575628" y="779395"/>
                  <a:pt x="1574129" y="779453"/>
                  <a:pt x="1573080" y="778941"/>
                </a:cubicBezTo>
                <a:cubicBezTo>
                  <a:pt x="1571448" y="778390"/>
                  <a:pt x="1569684" y="777227"/>
                  <a:pt x="1568168" y="776245"/>
                </a:cubicBezTo>
                <a:cubicBezTo>
                  <a:pt x="1568455" y="775172"/>
                  <a:pt x="1568455" y="775172"/>
                  <a:pt x="1570126" y="774470"/>
                </a:cubicBezTo>
                <a:close/>
                <a:moveTo>
                  <a:pt x="2067824" y="773161"/>
                </a:moveTo>
                <a:cubicBezTo>
                  <a:pt x="2076003" y="773627"/>
                  <a:pt x="2086378" y="782502"/>
                  <a:pt x="2078144" y="787771"/>
                </a:cubicBezTo>
                <a:cubicBezTo>
                  <a:pt x="2075672" y="788144"/>
                  <a:pt x="2072924" y="788442"/>
                  <a:pt x="2070289" y="788312"/>
                </a:cubicBezTo>
                <a:cubicBezTo>
                  <a:pt x="2067380" y="788107"/>
                  <a:pt x="2064612" y="787365"/>
                  <a:pt x="2061272" y="785435"/>
                </a:cubicBezTo>
                <a:cubicBezTo>
                  <a:pt x="2059294" y="780650"/>
                  <a:pt x="2061072" y="777332"/>
                  <a:pt x="2067824" y="773161"/>
                </a:cubicBezTo>
                <a:close/>
                <a:moveTo>
                  <a:pt x="1841109" y="772558"/>
                </a:moveTo>
                <a:cubicBezTo>
                  <a:pt x="1850368" y="773430"/>
                  <a:pt x="1848700" y="779653"/>
                  <a:pt x="1844088" y="780257"/>
                </a:cubicBezTo>
                <a:cubicBezTo>
                  <a:pt x="1842532" y="780531"/>
                  <a:pt x="1840844" y="780193"/>
                  <a:pt x="1839136" y="778815"/>
                </a:cubicBezTo>
                <a:cubicBezTo>
                  <a:pt x="1839568" y="777206"/>
                  <a:pt x="1839399" y="774516"/>
                  <a:pt x="1841109" y="772558"/>
                </a:cubicBezTo>
                <a:close/>
                <a:moveTo>
                  <a:pt x="1194350" y="772338"/>
                </a:moveTo>
                <a:lnTo>
                  <a:pt x="1196334" y="773790"/>
                </a:lnTo>
                <a:lnTo>
                  <a:pt x="1197365" y="773260"/>
                </a:lnTo>
                <a:cubicBezTo>
                  <a:pt x="1200183" y="771600"/>
                  <a:pt x="1199906" y="771527"/>
                  <a:pt x="1202281" y="772623"/>
                </a:cubicBezTo>
                <a:cubicBezTo>
                  <a:pt x="1203330" y="773134"/>
                  <a:pt x="1203626" y="774248"/>
                  <a:pt x="1204196" y="775436"/>
                </a:cubicBezTo>
                <a:lnTo>
                  <a:pt x="1205541" y="777061"/>
                </a:lnTo>
                <a:lnTo>
                  <a:pt x="1208796" y="775979"/>
                </a:lnTo>
                <a:cubicBezTo>
                  <a:pt x="1210410" y="775490"/>
                  <a:pt x="1212080" y="774789"/>
                  <a:pt x="1214029" y="774160"/>
                </a:cubicBezTo>
                <a:cubicBezTo>
                  <a:pt x="1217967" y="777171"/>
                  <a:pt x="1222549" y="785529"/>
                  <a:pt x="1218623" y="790226"/>
                </a:cubicBezTo>
                <a:cubicBezTo>
                  <a:pt x="1215958" y="790203"/>
                  <a:pt x="1213687" y="789824"/>
                  <a:pt x="1211779" y="789198"/>
                </a:cubicBezTo>
                <a:cubicBezTo>
                  <a:pt x="1209071" y="788242"/>
                  <a:pt x="1207392" y="786757"/>
                  <a:pt x="1206134" y="784810"/>
                </a:cubicBezTo>
                <a:lnTo>
                  <a:pt x="1204909" y="779422"/>
                </a:lnTo>
                <a:lnTo>
                  <a:pt x="1203573" y="779984"/>
                </a:lnTo>
                <a:lnTo>
                  <a:pt x="1200661" y="779778"/>
                </a:lnTo>
                <a:lnTo>
                  <a:pt x="1200495" y="782609"/>
                </a:lnTo>
                <a:cubicBezTo>
                  <a:pt x="1197753" y="785095"/>
                  <a:pt x="1193751" y="788967"/>
                  <a:pt x="1188083" y="786874"/>
                </a:cubicBezTo>
                <a:cubicBezTo>
                  <a:pt x="1187788" y="785760"/>
                  <a:pt x="1186291" y="785819"/>
                  <a:pt x="1185995" y="784705"/>
                </a:cubicBezTo>
                <a:cubicBezTo>
                  <a:pt x="1185995" y="784705"/>
                  <a:pt x="1184813" y="783582"/>
                  <a:pt x="1184109" y="781784"/>
                </a:cubicBezTo>
                <a:cubicBezTo>
                  <a:pt x="1183376" y="780091"/>
                  <a:pt x="1183120" y="777724"/>
                  <a:pt x="1184974" y="775231"/>
                </a:cubicBezTo>
                <a:cubicBezTo>
                  <a:pt x="1186484" y="774024"/>
                  <a:pt x="1190753" y="771374"/>
                  <a:pt x="1191048" y="772488"/>
                </a:cubicBezTo>
                <a:cubicBezTo>
                  <a:pt x="1193117" y="773617"/>
                  <a:pt x="1192575" y="772322"/>
                  <a:pt x="1194350" y="772338"/>
                </a:cubicBezTo>
                <a:close/>
                <a:moveTo>
                  <a:pt x="1664752" y="771075"/>
                </a:moveTo>
                <a:cubicBezTo>
                  <a:pt x="1667713" y="777733"/>
                  <a:pt x="1674304" y="781914"/>
                  <a:pt x="1681372" y="785418"/>
                </a:cubicBezTo>
                <a:lnTo>
                  <a:pt x="1689023" y="788963"/>
                </a:lnTo>
                <a:lnTo>
                  <a:pt x="1689892" y="787931"/>
                </a:lnTo>
                <a:cubicBezTo>
                  <a:pt x="1690255" y="787683"/>
                  <a:pt x="1690255" y="787683"/>
                  <a:pt x="1689644" y="787749"/>
                </a:cubicBezTo>
                <a:cubicBezTo>
                  <a:pt x="1692634" y="785446"/>
                  <a:pt x="1695636" y="781995"/>
                  <a:pt x="1699146" y="783280"/>
                </a:cubicBezTo>
                <a:cubicBezTo>
                  <a:pt x="1704582" y="786232"/>
                  <a:pt x="1703929" y="790887"/>
                  <a:pt x="1702167" y="795245"/>
                </a:cubicBezTo>
                <a:lnTo>
                  <a:pt x="1702023" y="795782"/>
                </a:lnTo>
                <a:lnTo>
                  <a:pt x="1706257" y="799906"/>
                </a:lnTo>
                <a:cubicBezTo>
                  <a:pt x="1707601" y="801532"/>
                  <a:pt x="1708887" y="803371"/>
                  <a:pt x="1709229" y="805417"/>
                </a:cubicBezTo>
                <a:lnTo>
                  <a:pt x="1709249" y="811978"/>
                </a:lnTo>
                <a:lnTo>
                  <a:pt x="1712894" y="813874"/>
                </a:lnTo>
                <a:cubicBezTo>
                  <a:pt x="1712136" y="826667"/>
                  <a:pt x="1706645" y="829450"/>
                  <a:pt x="1700310" y="827638"/>
                </a:cubicBezTo>
                <a:lnTo>
                  <a:pt x="1699289" y="827020"/>
                </a:lnTo>
                <a:lnTo>
                  <a:pt x="1691735" y="830860"/>
                </a:lnTo>
                <a:cubicBezTo>
                  <a:pt x="1683027" y="833472"/>
                  <a:pt x="1672786" y="834063"/>
                  <a:pt x="1663511" y="832154"/>
                </a:cubicBezTo>
                <a:cubicBezTo>
                  <a:pt x="1649417" y="829411"/>
                  <a:pt x="1637400" y="821131"/>
                  <a:pt x="1637179" y="806467"/>
                </a:cubicBezTo>
                <a:lnTo>
                  <a:pt x="1638892" y="801176"/>
                </a:lnTo>
                <a:lnTo>
                  <a:pt x="1638617" y="801102"/>
                </a:lnTo>
                <a:lnTo>
                  <a:pt x="1639772" y="798997"/>
                </a:lnTo>
                <a:lnTo>
                  <a:pt x="1640232" y="797280"/>
                </a:lnTo>
                <a:cubicBezTo>
                  <a:pt x="1645720" y="788975"/>
                  <a:pt x="1657324" y="782195"/>
                  <a:pt x="1664752" y="771075"/>
                </a:cubicBezTo>
                <a:close/>
                <a:moveTo>
                  <a:pt x="5174315" y="769020"/>
                </a:moveTo>
                <a:cubicBezTo>
                  <a:pt x="5177531" y="769193"/>
                  <a:pt x="5181157" y="770049"/>
                  <a:pt x="5185296" y="772309"/>
                </a:cubicBezTo>
                <a:cubicBezTo>
                  <a:pt x="5194100" y="777082"/>
                  <a:pt x="5201938" y="784357"/>
                  <a:pt x="5190895" y="793474"/>
                </a:cubicBezTo>
                <a:cubicBezTo>
                  <a:pt x="5189680" y="795793"/>
                  <a:pt x="5189414" y="794572"/>
                  <a:pt x="5187933" y="795670"/>
                </a:cubicBezTo>
                <a:cubicBezTo>
                  <a:pt x="5186148" y="796802"/>
                  <a:pt x="5184904" y="799228"/>
                  <a:pt x="5184923" y="800269"/>
                </a:cubicBezTo>
                <a:cubicBezTo>
                  <a:pt x="5179704" y="797605"/>
                  <a:pt x="5176420" y="798795"/>
                  <a:pt x="5170667" y="797023"/>
                </a:cubicBezTo>
                <a:cubicBezTo>
                  <a:pt x="5168730" y="796504"/>
                  <a:pt x="5166602" y="795590"/>
                  <a:pt x="5164036" y="794097"/>
                </a:cubicBezTo>
                <a:cubicBezTo>
                  <a:pt x="5156720" y="790411"/>
                  <a:pt x="5153899" y="786551"/>
                  <a:pt x="5153072" y="782994"/>
                </a:cubicBezTo>
                <a:cubicBezTo>
                  <a:pt x="5152552" y="779404"/>
                  <a:pt x="5154302" y="776194"/>
                  <a:pt x="5156709" y="773848"/>
                </a:cubicBezTo>
                <a:cubicBezTo>
                  <a:pt x="5158226" y="774829"/>
                  <a:pt x="5164360" y="768538"/>
                  <a:pt x="5174315" y="769020"/>
                </a:cubicBezTo>
                <a:close/>
                <a:moveTo>
                  <a:pt x="1831770" y="768676"/>
                </a:moveTo>
                <a:cubicBezTo>
                  <a:pt x="1828981" y="770228"/>
                  <a:pt x="1819336" y="775235"/>
                  <a:pt x="1815653" y="774593"/>
                </a:cubicBezTo>
                <a:cubicBezTo>
                  <a:pt x="1819426" y="771579"/>
                  <a:pt x="1829671" y="767654"/>
                  <a:pt x="1831770" y="768676"/>
                </a:cubicBezTo>
                <a:close/>
                <a:moveTo>
                  <a:pt x="1547553" y="768234"/>
                </a:moveTo>
                <a:cubicBezTo>
                  <a:pt x="1551925" y="768241"/>
                  <a:pt x="1556645" y="769995"/>
                  <a:pt x="1559198" y="774301"/>
                </a:cubicBezTo>
                <a:cubicBezTo>
                  <a:pt x="1559327" y="778247"/>
                  <a:pt x="1559208" y="782009"/>
                  <a:pt x="1552669" y="784282"/>
                </a:cubicBezTo>
                <a:cubicBezTo>
                  <a:pt x="1545999" y="782611"/>
                  <a:pt x="1541812" y="779419"/>
                  <a:pt x="1537992" y="772645"/>
                </a:cubicBezTo>
                <a:cubicBezTo>
                  <a:pt x="1539155" y="769966"/>
                  <a:pt x="1543180" y="768228"/>
                  <a:pt x="1547553" y="768234"/>
                </a:cubicBezTo>
                <a:close/>
                <a:moveTo>
                  <a:pt x="4749013" y="767993"/>
                </a:moveTo>
                <a:cubicBezTo>
                  <a:pt x="4749278" y="769214"/>
                  <a:pt x="4749505" y="771689"/>
                  <a:pt x="4753045" y="772868"/>
                </a:cubicBezTo>
                <a:cubicBezTo>
                  <a:pt x="4750780" y="774676"/>
                  <a:pt x="4748545" y="776378"/>
                  <a:pt x="4745968" y="776032"/>
                </a:cubicBezTo>
                <a:cubicBezTo>
                  <a:pt x="4745110" y="775917"/>
                  <a:pt x="4744003" y="775620"/>
                  <a:pt x="4743259" y="775076"/>
                </a:cubicBezTo>
                <a:cubicBezTo>
                  <a:pt x="4741494" y="773913"/>
                  <a:pt x="4739759" y="772643"/>
                  <a:pt x="4739504" y="770275"/>
                </a:cubicBezTo>
                <a:cubicBezTo>
                  <a:pt x="4742493" y="767971"/>
                  <a:pt x="4747503" y="769199"/>
                  <a:pt x="4749013" y="767993"/>
                </a:cubicBezTo>
                <a:close/>
                <a:moveTo>
                  <a:pt x="4532863" y="767806"/>
                </a:moveTo>
                <a:cubicBezTo>
                  <a:pt x="4535307" y="767541"/>
                  <a:pt x="4537636" y="767706"/>
                  <a:pt x="4540402" y="768447"/>
                </a:cubicBezTo>
                <a:cubicBezTo>
                  <a:pt x="4544028" y="769303"/>
                  <a:pt x="4547920" y="771381"/>
                  <a:pt x="4551248" y="774458"/>
                </a:cubicBezTo>
                <a:cubicBezTo>
                  <a:pt x="4553106" y="777485"/>
                  <a:pt x="4550630" y="781193"/>
                  <a:pt x="4546665" y="783810"/>
                </a:cubicBezTo>
                <a:lnTo>
                  <a:pt x="4548412" y="783933"/>
                </a:lnTo>
                <a:cubicBezTo>
                  <a:pt x="4547657" y="784535"/>
                  <a:pt x="4547381" y="784462"/>
                  <a:pt x="4547104" y="784387"/>
                </a:cubicBezTo>
                <a:lnTo>
                  <a:pt x="4545997" y="784090"/>
                </a:lnTo>
                <a:lnTo>
                  <a:pt x="4539924" y="786834"/>
                </a:lnTo>
                <a:cubicBezTo>
                  <a:pt x="4537394" y="787421"/>
                  <a:pt x="4534951" y="787687"/>
                  <a:pt x="4532984" y="787275"/>
                </a:cubicBezTo>
                <a:cubicBezTo>
                  <a:pt x="4529513" y="784735"/>
                  <a:pt x="4526071" y="782086"/>
                  <a:pt x="4522600" y="779547"/>
                </a:cubicBezTo>
                <a:cubicBezTo>
                  <a:pt x="4520659" y="773506"/>
                  <a:pt x="4525532" y="768603"/>
                  <a:pt x="4532863" y="767806"/>
                </a:cubicBezTo>
                <a:close/>
                <a:moveTo>
                  <a:pt x="5053963" y="767707"/>
                </a:moveTo>
                <a:cubicBezTo>
                  <a:pt x="5058465" y="769719"/>
                  <a:pt x="5064420" y="770740"/>
                  <a:pt x="5068301" y="773964"/>
                </a:cubicBezTo>
                <a:cubicBezTo>
                  <a:pt x="5069512" y="774978"/>
                  <a:pt x="5070637" y="776315"/>
                  <a:pt x="5071398" y="777900"/>
                </a:cubicBezTo>
                <a:cubicBezTo>
                  <a:pt x="5057653" y="779392"/>
                  <a:pt x="5049765" y="783374"/>
                  <a:pt x="5038251" y="786498"/>
                </a:cubicBezTo>
                <a:cubicBezTo>
                  <a:pt x="5037011" y="785591"/>
                  <a:pt x="5036077" y="784650"/>
                  <a:pt x="5035286" y="783173"/>
                </a:cubicBezTo>
                <a:cubicBezTo>
                  <a:pt x="5034495" y="781697"/>
                  <a:pt x="5034097" y="779866"/>
                  <a:pt x="5033871" y="777390"/>
                </a:cubicBezTo>
                <a:cubicBezTo>
                  <a:pt x="5050551" y="779329"/>
                  <a:pt x="5040878" y="766731"/>
                  <a:pt x="5053963" y="767707"/>
                </a:cubicBezTo>
                <a:close/>
                <a:moveTo>
                  <a:pt x="2788187" y="766538"/>
                </a:moveTo>
                <a:cubicBezTo>
                  <a:pt x="2788187" y="766538"/>
                  <a:pt x="2788510" y="767545"/>
                  <a:pt x="2787583" y="768792"/>
                </a:cubicBezTo>
                <a:cubicBezTo>
                  <a:pt x="2787583" y="768792"/>
                  <a:pt x="2787058" y="768536"/>
                  <a:pt x="2786562" y="768174"/>
                </a:cubicBezTo>
                <a:cubicBezTo>
                  <a:pt x="2786373" y="767777"/>
                  <a:pt x="2786210" y="767274"/>
                  <a:pt x="2786689" y="766598"/>
                </a:cubicBezTo>
                <a:cubicBezTo>
                  <a:pt x="2786689" y="766598"/>
                  <a:pt x="2786660" y="766705"/>
                  <a:pt x="2788187" y="766538"/>
                </a:cubicBezTo>
                <a:close/>
                <a:moveTo>
                  <a:pt x="1470532" y="766529"/>
                </a:moveTo>
                <a:cubicBezTo>
                  <a:pt x="1480315" y="764321"/>
                  <a:pt x="1485909" y="765589"/>
                  <a:pt x="1488519" y="768014"/>
                </a:cubicBezTo>
                <a:cubicBezTo>
                  <a:pt x="1493278" y="772394"/>
                  <a:pt x="1487953" y="781202"/>
                  <a:pt x="1481300" y="780569"/>
                </a:cubicBezTo>
                <a:cubicBezTo>
                  <a:pt x="1477530" y="780250"/>
                  <a:pt x="1473182" y="776554"/>
                  <a:pt x="1470532" y="766529"/>
                </a:cubicBezTo>
                <a:close/>
                <a:moveTo>
                  <a:pt x="1751429" y="766354"/>
                </a:moveTo>
                <a:cubicBezTo>
                  <a:pt x="1761670" y="774617"/>
                  <a:pt x="1760585" y="798593"/>
                  <a:pt x="1743425" y="797330"/>
                </a:cubicBezTo>
                <a:cubicBezTo>
                  <a:pt x="1744503" y="788878"/>
                  <a:pt x="1746821" y="781335"/>
                  <a:pt x="1742779" y="768751"/>
                </a:cubicBezTo>
                <a:cubicBezTo>
                  <a:pt x="1747378" y="769294"/>
                  <a:pt x="1745618" y="764797"/>
                  <a:pt x="1751429" y="766354"/>
                </a:cubicBezTo>
                <a:close/>
                <a:moveTo>
                  <a:pt x="984826" y="765689"/>
                </a:moveTo>
                <a:cubicBezTo>
                  <a:pt x="987536" y="766919"/>
                  <a:pt x="989294" y="769489"/>
                  <a:pt x="991791" y="772343"/>
                </a:cubicBezTo>
                <a:cubicBezTo>
                  <a:pt x="989309" y="773863"/>
                  <a:pt x="989772" y="777667"/>
                  <a:pt x="985658" y="778634"/>
                </a:cubicBezTo>
                <a:cubicBezTo>
                  <a:pt x="985658" y="778634"/>
                  <a:pt x="983767" y="779047"/>
                  <a:pt x="980534" y="777836"/>
                </a:cubicBezTo>
                <a:cubicBezTo>
                  <a:pt x="979312" y="777969"/>
                  <a:pt x="977899" y="777706"/>
                  <a:pt x="976822" y="777301"/>
                </a:cubicBezTo>
                <a:cubicBezTo>
                  <a:pt x="973587" y="776090"/>
                  <a:pt x="971701" y="773169"/>
                  <a:pt x="971701" y="773169"/>
                </a:cubicBezTo>
                <a:cubicBezTo>
                  <a:pt x="971701" y="773169"/>
                  <a:pt x="971701" y="773169"/>
                  <a:pt x="971107" y="774276"/>
                </a:cubicBezTo>
                <a:cubicBezTo>
                  <a:pt x="971988" y="772097"/>
                  <a:pt x="971266" y="769258"/>
                  <a:pt x="972146" y="767079"/>
                </a:cubicBezTo>
                <a:cubicBezTo>
                  <a:pt x="978454" y="764571"/>
                  <a:pt x="982116" y="764460"/>
                  <a:pt x="984826" y="765689"/>
                </a:cubicBezTo>
                <a:close/>
                <a:moveTo>
                  <a:pt x="4938861" y="765617"/>
                </a:moveTo>
                <a:cubicBezTo>
                  <a:pt x="4945046" y="765779"/>
                  <a:pt x="4954787" y="768159"/>
                  <a:pt x="4954834" y="769092"/>
                </a:cubicBezTo>
                <a:cubicBezTo>
                  <a:pt x="4956609" y="769107"/>
                  <a:pt x="4956846" y="770437"/>
                  <a:pt x="4958622" y="770452"/>
                </a:cubicBezTo>
                <a:cubicBezTo>
                  <a:pt x="4958622" y="770452"/>
                  <a:pt x="4960091" y="770501"/>
                  <a:pt x="4961855" y="771663"/>
                </a:cubicBezTo>
                <a:cubicBezTo>
                  <a:pt x="4963868" y="773008"/>
                  <a:pt x="4965632" y="774170"/>
                  <a:pt x="4964113" y="776523"/>
                </a:cubicBezTo>
                <a:cubicBezTo>
                  <a:pt x="4957195" y="774669"/>
                  <a:pt x="4952128" y="773656"/>
                  <a:pt x="4947366" y="772611"/>
                </a:cubicBezTo>
                <a:cubicBezTo>
                  <a:pt x="4942605" y="771565"/>
                  <a:pt x="4938121" y="770593"/>
                  <a:pt x="4932701" y="768681"/>
                </a:cubicBezTo>
                <a:cubicBezTo>
                  <a:pt x="4932712" y="767534"/>
                  <a:pt x="4934488" y="767549"/>
                  <a:pt x="4934222" y="766328"/>
                </a:cubicBezTo>
                <a:cubicBezTo>
                  <a:pt x="4934976" y="765726"/>
                  <a:pt x="4936809" y="765527"/>
                  <a:pt x="4938861" y="765617"/>
                </a:cubicBezTo>
                <a:close/>
                <a:moveTo>
                  <a:pt x="4627478" y="765557"/>
                </a:moveTo>
                <a:cubicBezTo>
                  <a:pt x="4630989" y="766844"/>
                  <a:pt x="4634252" y="767948"/>
                  <a:pt x="4637763" y="769234"/>
                </a:cubicBezTo>
                <a:cubicBezTo>
                  <a:pt x="4643304" y="772904"/>
                  <a:pt x="4648845" y="776573"/>
                  <a:pt x="4645845" y="780024"/>
                </a:cubicBezTo>
                <a:cubicBezTo>
                  <a:pt x="4638794" y="777560"/>
                  <a:pt x="4633536" y="776151"/>
                  <a:pt x="4626763" y="773762"/>
                </a:cubicBezTo>
                <a:cubicBezTo>
                  <a:pt x="4625743" y="773143"/>
                  <a:pt x="4624370" y="771625"/>
                  <a:pt x="4623303" y="770075"/>
                </a:cubicBezTo>
                <a:cubicBezTo>
                  <a:pt x="4622206" y="768631"/>
                  <a:pt x="4621721" y="767121"/>
                  <a:pt x="4622476" y="766518"/>
                </a:cubicBezTo>
                <a:cubicBezTo>
                  <a:pt x="4623956" y="765420"/>
                  <a:pt x="4625732" y="765436"/>
                  <a:pt x="4627478" y="765557"/>
                </a:cubicBezTo>
                <a:close/>
                <a:moveTo>
                  <a:pt x="4314073" y="765303"/>
                </a:moveTo>
                <a:cubicBezTo>
                  <a:pt x="4319463" y="767322"/>
                  <a:pt x="4318231" y="768601"/>
                  <a:pt x="4315737" y="771269"/>
                </a:cubicBezTo>
                <a:cubicBezTo>
                  <a:pt x="4314105" y="770716"/>
                  <a:pt x="4312473" y="770164"/>
                  <a:pt x="4312092" y="769373"/>
                </a:cubicBezTo>
                <a:cubicBezTo>
                  <a:pt x="4311435" y="768506"/>
                  <a:pt x="4311474" y="767251"/>
                  <a:pt x="4312574" y="765361"/>
                </a:cubicBezTo>
                <a:cubicBezTo>
                  <a:pt x="4312574" y="765361"/>
                  <a:pt x="4314073" y="765303"/>
                  <a:pt x="4314073" y="765303"/>
                </a:cubicBezTo>
                <a:close/>
                <a:moveTo>
                  <a:pt x="2447624" y="765260"/>
                </a:moveTo>
                <a:cubicBezTo>
                  <a:pt x="2449752" y="765614"/>
                  <a:pt x="2451842" y="766116"/>
                  <a:pt x="2453899" y="765632"/>
                </a:cubicBezTo>
                <a:cubicBezTo>
                  <a:pt x="2454412" y="767035"/>
                  <a:pt x="2455088" y="768941"/>
                  <a:pt x="2454599" y="770766"/>
                </a:cubicBezTo>
                <a:lnTo>
                  <a:pt x="2452469" y="773185"/>
                </a:lnTo>
                <a:lnTo>
                  <a:pt x="2454901" y="774066"/>
                </a:lnTo>
                <a:cubicBezTo>
                  <a:pt x="2459498" y="777943"/>
                  <a:pt x="2461351" y="784304"/>
                  <a:pt x="2455793" y="788451"/>
                </a:cubicBezTo>
                <a:cubicBezTo>
                  <a:pt x="2452357" y="787990"/>
                  <a:pt x="2449342" y="787067"/>
                  <a:pt x="2446880" y="786293"/>
                </a:cubicBezTo>
                <a:cubicBezTo>
                  <a:pt x="2444142" y="785444"/>
                  <a:pt x="2442292" y="784603"/>
                  <a:pt x="2440384" y="783976"/>
                </a:cubicBezTo>
                <a:cubicBezTo>
                  <a:pt x="2439863" y="780386"/>
                  <a:pt x="2438224" y="777648"/>
                  <a:pt x="2437979" y="774133"/>
                </a:cubicBezTo>
                <a:lnTo>
                  <a:pt x="2438371" y="773777"/>
                </a:lnTo>
                <a:lnTo>
                  <a:pt x="2438094" y="773704"/>
                </a:lnTo>
                <a:cubicBezTo>
                  <a:pt x="2436283" y="771608"/>
                  <a:pt x="2435769" y="770205"/>
                  <a:pt x="2436391" y="768992"/>
                </a:cubicBezTo>
                <a:cubicBezTo>
                  <a:pt x="2437013" y="767778"/>
                  <a:pt x="2438741" y="766861"/>
                  <a:pt x="2441109" y="765771"/>
                </a:cubicBezTo>
                <a:cubicBezTo>
                  <a:pt x="2443326" y="764697"/>
                  <a:pt x="2445494" y="764904"/>
                  <a:pt x="2447624" y="765260"/>
                </a:cubicBezTo>
                <a:close/>
                <a:moveTo>
                  <a:pt x="2485922" y="764553"/>
                </a:moveTo>
                <a:cubicBezTo>
                  <a:pt x="2488365" y="764287"/>
                  <a:pt x="2490693" y="764452"/>
                  <a:pt x="2493432" y="765301"/>
                </a:cubicBezTo>
                <a:cubicBezTo>
                  <a:pt x="2497029" y="766265"/>
                  <a:pt x="2500921" y="768342"/>
                  <a:pt x="2504745" y="771782"/>
                </a:cubicBezTo>
                <a:cubicBezTo>
                  <a:pt x="2508194" y="776616"/>
                  <a:pt x="2502700" y="782734"/>
                  <a:pt x="2496522" y="784759"/>
                </a:cubicBezTo>
                <a:lnTo>
                  <a:pt x="2493802" y="784950"/>
                </a:lnTo>
                <a:lnTo>
                  <a:pt x="2492045" y="785974"/>
                </a:lnTo>
                <a:lnTo>
                  <a:pt x="2490193" y="785134"/>
                </a:lnTo>
                <a:lnTo>
                  <a:pt x="2489889" y="785166"/>
                </a:lnTo>
                <a:lnTo>
                  <a:pt x="2489364" y="784911"/>
                </a:lnTo>
                <a:lnTo>
                  <a:pt x="2486740" y="783633"/>
                </a:lnTo>
                <a:lnTo>
                  <a:pt x="2486665" y="782807"/>
                </a:lnTo>
                <a:lnTo>
                  <a:pt x="2478731" y="777001"/>
                </a:lnTo>
                <a:cubicBezTo>
                  <a:pt x="2475712" y="770558"/>
                  <a:pt x="2479478" y="765356"/>
                  <a:pt x="2485922" y="764553"/>
                </a:cubicBezTo>
                <a:close/>
                <a:moveTo>
                  <a:pt x="1142496" y="764424"/>
                </a:moveTo>
                <a:cubicBezTo>
                  <a:pt x="1145165" y="766633"/>
                  <a:pt x="1141716" y="770654"/>
                  <a:pt x="1141026" y="773230"/>
                </a:cubicBezTo>
                <a:cubicBezTo>
                  <a:pt x="1138927" y="772207"/>
                  <a:pt x="1136800" y="771292"/>
                  <a:pt x="1137370" y="772480"/>
                </a:cubicBezTo>
                <a:cubicBezTo>
                  <a:pt x="1135243" y="771565"/>
                  <a:pt x="1134032" y="770550"/>
                  <a:pt x="1133433" y="769469"/>
                </a:cubicBezTo>
                <a:cubicBezTo>
                  <a:pt x="1132585" y="768208"/>
                  <a:pt x="1132595" y="767060"/>
                  <a:pt x="1132940" y="765773"/>
                </a:cubicBezTo>
                <a:cubicBezTo>
                  <a:pt x="1133925" y="764312"/>
                  <a:pt x="1137285" y="763947"/>
                  <a:pt x="1142496" y="764424"/>
                </a:cubicBezTo>
                <a:close/>
                <a:moveTo>
                  <a:pt x="4410128" y="763210"/>
                </a:moveTo>
                <a:cubicBezTo>
                  <a:pt x="4412676" y="763663"/>
                  <a:pt x="4415138" y="764438"/>
                  <a:pt x="4417150" y="765782"/>
                </a:cubicBezTo>
                <a:cubicBezTo>
                  <a:pt x="4420701" y="765813"/>
                  <a:pt x="4425566" y="767577"/>
                  <a:pt x="4428236" y="769787"/>
                </a:cubicBezTo>
                <a:cubicBezTo>
                  <a:pt x="4430896" y="773145"/>
                  <a:pt x="4430015" y="775323"/>
                  <a:pt x="4428096" y="775844"/>
                </a:cubicBezTo>
                <a:cubicBezTo>
                  <a:pt x="4421049" y="778902"/>
                  <a:pt x="4414455" y="778055"/>
                  <a:pt x="4408950" y="776465"/>
                </a:cubicBezTo>
                <a:cubicBezTo>
                  <a:pt x="4403473" y="774768"/>
                  <a:pt x="4399362" y="772400"/>
                  <a:pt x="4397587" y="772385"/>
                </a:cubicBezTo>
                <a:cubicBezTo>
                  <a:pt x="4393890" y="767369"/>
                  <a:pt x="4393890" y="767369"/>
                  <a:pt x="4403829" y="763477"/>
                </a:cubicBezTo>
                <a:cubicBezTo>
                  <a:pt x="4405748" y="762956"/>
                  <a:pt x="4407858" y="762832"/>
                  <a:pt x="4410128" y="763210"/>
                </a:cubicBezTo>
                <a:close/>
                <a:moveTo>
                  <a:pt x="4569690" y="763184"/>
                </a:moveTo>
                <a:cubicBezTo>
                  <a:pt x="4571293" y="763843"/>
                  <a:pt x="4569661" y="763291"/>
                  <a:pt x="4572303" y="765609"/>
                </a:cubicBezTo>
                <a:cubicBezTo>
                  <a:pt x="4571329" y="765923"/>
                  <a:pt x="4571081" y="765742"/>
                  <a:pt x="4570613" y="765271"/>
                </a:cubicBezTo>
                <a:cubicBezTo>
                  <a:pt x="4570423" y="764876"/>
                  <a:pt x="4570319" y="764158"/>
                  <a:pt x="4569690" y="763184"/>
                </a:cubicBezTo>
                <a:close/>
                <a:moveTo>
                  <a:pt x="5204310" y="762222"/>
                </a:moveTo>
                <a:cubicBezTo>
                  <a:pt x="5218361" y="769552"/>
                  <a:pt x="5213596" y="771841"/>
                  <a:pt x="5209085" y="776497"/>
                </a:cubicBezTo>
                <a:cubicBezTo>
                  <a:pt x="5207483" y="775838"/>
                  <a:pt x="5205402" y="775855"/>
                  <a:pt x="5203103" y="775584"/>
                </a:cubicBezTo>
                <a:cubicBezTo>
                  <a:pt x="5201079" y="775387"/>
                  <a:pt x="5199056" y="775190"/>
                  <a:pt x="5197044" y="773847"/>
                </a:cubicBezTo>
                <a:cubicBezTo>
                  <a:pt x="5197044" y="773847"/>
                  <a:pt x="5195308" y="772576"/>
                  <a:pt x="5195053" y="770207"/>
                </a:cubicBezTo>
                <a:cubicBezTo>
                  <a:pt x="5194090" y="769375"/>
                  <a:pt x="5193709" y="768582"/>
                  <a:pt x="5193634" y="767757"/>
                </a:cubicBezTo>
                <a:cubicBezTo>
                  <a:pt x="5193407" y="765281"/>
                  <a:pt x="5196005" y="763332"/>
                  <a:pt x="5196005" y="763332"/>
                </a:cubicBezTo>
                <a:cubicBezTo>
                  <a:pt x="5196005" y="763332"/>
                  <a:pt x="5196034" y="763225"/>
                  <a:pt x="5194259" y="763209"/>
                </a:cubicBezTo>
                <a:cubicBezTo>
                  <a:pt x="5197504" y="763273"/>
                  <a:pt x="5200759" y="762191"/>
                  <a:pt x="5204310" y="762222"/>
                </a:cubicBezTo>
                <a:close/>
                <a:moveTo>
                  <a:pt x="1882889" y="760523"/>
                </a:moveTo>
                <a:cubicBezTo>
                  <a:pt x="1895875" y="771823"/>
                  <a:pt x="1892236" y="793158"/>
                  <a:pt x="1875835" y="787958"/>
                </a:cubicBezTo>
                <a:cubicBezTo>
                  <a:pt x="1873373" y="787185"/>
                  <a:pt x="1871026" y="785980"/>
                  <a:pt x="1868022" y="783910"/>
                </a:cubicBezTo>
                <a:cubicBezTo>
                  <a:pt x="1868212" y="775451"/>
                  <a:pt x="1864118" y="759748"/>
                  <a:pt x="1882889" y="760523"/>
                </a:cubicBezTo>
                <a:close/>
                <a:moveTo>
                  <a:pt x="2525030" y="759162"/>
                </a:moveTo>
                <a:cubicBezTo>
                  <a:pt x="2542078" y="766375"/>
                  <a:pt x="2538257" y="777312"/>
                  <a:pt x="2540622" y="779555"/>
                </a:cubicBezTo>
                <a:cubicBezTo>
                  <a:pt x="2537489" y="782395"/>
                  <a:pt x="2536705" y="783106"/>
                  <a:pt x="2531897" y="781127"/>
                </a:cubicBezTo>
                <a:lnTo>
                  <a:pt x="2526870" y="778859"/>
                </a:lnTo>
                <a:lnTo>
                  <a:pt x="2523996" y="780734"/>
                </a:lnTo>
                <a:cubicBezTo>
                  <a:pt x="2521897" y="779713"/>
                  <a:pt x="2519827" y="778583"/>
                  <a:pt x="2518033" y="777527"/>
                </a:cubicBezTo>
                <a:lnTo>
                  <a:pt x="2520243" y="772600"/>
                </a:lnTo>
                <a:lnTo>
                  <a:pt x="2519445" y="768936"/>
                </a:lnTo>
                <a:cubicBezTo>
                  <a:pt x="2517081" y="766692"/>
                  <a:pt x="2516226" y="763242"/>
                  <a:pt x="2517164" y="760849"/>
                </a:cubicBezTo>
                <a:cubicBezTo>
                  <a:pt x="2519658" y="758182"/>
                  <a:pt x="2522960" y="758032"/>
                  <a:pt x="2525030" y="759162"/>
                </a:cubicBezTo>
                <a:close/>
                <a:moveTo>
                  <a:pt x="2131873" y="758811"/>
                </a:moveTo>
                <a:cubicBezTo>
                  <a:pt x="2134356" y="757293"/>
                  <a:pt x="2137748" y="762341"/>
                  <a:pt x="2139351" y="763001"/>
                </a:cubicBezTo>
                <a:cubicBezTo>
                  <a:pt x="2140666" y="764733"/>
                  <a:pt x="2141704" y="766392"/>
                  <a:pt x="2139814" y="766805"/>
                </a:cubicBezTo>
                <a:cubicBezTo>
                  <a:pt x="2138841" y="767119"/>
                  <a:pt x="2138143" y="767508"/>
                  <a:pt x="2137532" y="767574"/>
                </a:cubicBezTo>
                <a:cubicBezTo>
                  <a:pt x="2136922" y="767640"/>
                  <a:pt x="2136120" y="767310"/>
                  <a:pt x="2134662" y="766114"/>
                </a:cubicBezTo>
                <a:cubicBezTo>
                  <a:pt x="2133060" y="765455"/>
                  <a:pt x="2131991" y="763904"/>
                  <a:pt x="2130389" y="763244"/>
                </a:cubicBezTo>
                <a:cubicBezTo>
                  <a:pt x="2130389" y="763244"/>
                  <a:pt x="2130093" y="762131"/>
                  <a:pt x="2130352" y="761165"/>
                </a:cubicBezTo>
                <a:cubicBezTo>
                  <a:pt x="2130610" y="760199"/>
                  <a:pt x="2130898" y="759126"/>
                  <a:pt x="2131873" y="758811"/>
                </a:cubicBezTo>
                <a:close/>
                <a:moveTo>
                  <a:pt x="4685745" y="758400"/>
                </a:moveTo>
                <a:cubicBezTo>
                  <a:pt x="4692004" y="759388"/>
                  <a:pt x="4700981" y="763518"/>
                  <a:pt x="4704729" y="766132"/>
                </a:cubicBezTo>
                <a:cubicBezTo>
                  <a:pt x="4703697" y="766661"/>
                  <a:pt x="4701893" y="766752"/>
                  <a:pt x="4699899" y="766448"/>
                </a:cubicBezTo>
                <a:cubicBezTo>
                  <a:pt x="4693640" y="765460"/>
                  <a:pt x="4684969" y="761297"/>
                  <a:pt x="4680943" y="758609"/>
                </a:cubicBezTo>
                <a:cubicBezTo>
                  <a:pt x="4681974" y="758079"/>
                  <a:pt x="4683750" y="758096"/>
                  <a:pt x="4685745" y="758400"/>
                </a:cubicBezTo>
                <a:close/>
                <a:moveTo>
                  <a:pt x="4903126" y="757306"/>
                </a:moveTo>
                <a:cubicBezTo>
                  <a:pt x="4900510" y="767071"/>
                  <a:pt x="4901880" y="771923"/>
                  <a:pt x="4898703" y="779352"/>
                </a:cubicBezTo>
                <a:cubicBezTo>
                  <a:pt x="4896898" y="779443"/>
                  <a:pt x="4896632" y="778222"/>
                  <a:pt x="4895105" y="778388"/>
                </a:cubicBezTo>
                <a:cubicBezTo>
                  <a:pt x="4894085" y="777769"/>
                  <a:pt x="4893513" y="776581"/>
                  <a:pt x="4893028" y="775071"/>
                </a:cubicBezTo>
                <a:cubicBezTo>
                  <a:pt x="4892098" y="770797"/>
                  <a:pt x="4893355" y="763889"/>
                  <a:pt x="4894577" y="763757"/>
                </a:cubicBezTo>
                <a:cubicBezTo>
                  <a:pt x="4894283" y="762642"/>
                  <a:pt x="4895809" y="762477"/>
                  <a:pt x="4895515" y="761363"/>
                </a:cubicBezTo>
                <a:cubicBezTo>
                  <a:pt x="4895515" y="761363"/>
                  <a:pt x="4895249" y="760141"/>
                  <a:pt x="4896787" y="758828"/>
                </a:cubicBezTo>
                <a:cubicBezTo>
                  <a:pt x="4898020" y="757548"/>
                  <a:pt x="4899253" y="756269"/>
                  <a:pt x="4903126" y="757306"/>
                </a:cubicBezTo>
                <a:close/>
                <a:moveTo>
                  <a:pt x="2574130" y="756333"/>
                </a:moveTo>
                <a:cubicBezTo>
                  <a:pt x="2582847" y="761428"/>
                  <a:pt x="2593731" y="766186"/>
                  <a:pt x="2590249" y="773648"/>
                </a:cubicBezTo>
                <a:cubicBezTo>
                  <a:pt x="2586994" y="774730"/>
                  <a:pt x="2584273" y="774921"/>
                  <a:pt x="2581448" y="774394"/>
                </a:cubicBezTo>
                <a:cubicBezTo>
                  <a:pt x="2573777" y="773144"/>
                  <a:pt x="2568210" y="766247"/>
                  <a:pt x="2568951" y="761270"/>
                </a:cubicBezTo>
                <a:cubicBezTo>
                  <a:pt x="2569278" y="758943"/>
                  <a:pt x="2570960" y="757093"/>
                  <a:pt x="2574130" y="756333"/>
                </a:cubicBezTo>
                <a:close/>
                <a:moveTo>
                  <a:pt x="1265158" y="756005"/>
                </a:moveTo>
                <a:cubicBezTo>
                  <a:pt x="1267228" y="757135"/>
                  <a:pt x="1272364" y="756785"/>
                  <a:pt x="1275990" y="757642"/>
                </a:cubicBezTo>
                <a:cubicBezTo>
                  <a:pt x="1276255" y="758863"/>
                  <a:pt x="1278353" y="759886"/>
                  <a:pt x="1278648" y="760999"/>
                </a:cubicBezTo>
                <a:cubicBezTo>
                  <a:pt x="1276844" y="761091"/>
                  <a:pt x="1273808" y="762462"/>
                  <a:pt x="1273513" y="761348"/>
                </a:cubicBezTo>
                <a:cubicBezTo>
                  <a:pt x="1271710" y="761441"/>
                  <a:pt x="1271119" y="759212"/>
                  <a:pt x="1271119" y="759212"/>
                </a:cubicBezTo>
                <a:cubicBezTo>
                  <a:pt x="1269316" y="759304"/>
                  <a:pt x="1267818" y="759362"/>
                  <a:pt x="1265719" y="758340"/>
                </a:cubicBezTo>
                <a:cubicBezTo>
                  <a:pt x="1267257" y="757028"/>
                  <a:pt x="1265424" y="757226"/>
                  <a:pt x="1265158" y="756005"/>
                </a:cubicBezTo>
                <a:close/>
                <a:moveTo>
                  <a:pt x="5113419" y="755004"/>
                </a:moveTo>
                <a:cubicBezTo>
                  <a:pt x="5124893" y="761988"/>
                  <a:pt x="5116433" y="773637"/>
                  <a:pt x="5106421" y="773369"/>
                </a:cubicBezTo>
                <a:cubicBezTo>
                  <a:pt x="5098038" y="768132"/>
                  <a:pt x="5099623" y="758898"/>
                  <a:pt x="5105811" y="755725"/>
                </a:cubicBezTo>
                <a:cubicBezTo>
                  <a:pt x="5107873" y="754668"/>
                  <a:pt x="5110346" y="754295"/>
                  <a:pt x="5113419" y="755004"/>
                </a:cubicBezTo>
                <a:close/>
                <a:moveTo>
                  <a:pt x="828691" y="754315"/>
                </a:moveTo>
                <a:cubicBezTo>
                  <a:pt x="833736" y="752360"/>
                  <a:pt x="840627" y="752654"/>
                  <a:pt x="845009" y="755668"/>
                </a:cubicBezTo>
                <a:cubicBezTo>
                  <a:pt x="848043" y="757631"/>
                  <a:pt x="849844" y="760874"/>
                  <a:pt x="849216" y="765421"/>
                </a:cubicBezTo>
                <a:cubicBezTo>
                  <a:pt x="837431" y="765138"/>
                  <a:pt x="833169" y="769976"/>
                  <a:pt x="823437" y="766448"/>
                </a:cubicBezTo>
                <a:cubicBezTo>
                  <a:pt x="820442" y="760471"/>
                  <a:pt x="823644" y="756268"/>
                  <a:pt x="828691" y="754315"/>
                </a:cubicBezTo>
                <a:close/>
                <a:moveTo>
                  <a:pt x="2247680" y="753846"/>
                </a:moveTo>
                <a:cubicBezTo>
                  <a:pt x="2248229" y="757329"/>
                  <a:pt x="2247262" y="759830"/>
                  <a:pt x="2247812" y="763312"/>
                </a:cubicBezTo>
                <a:cubicBezTo>
                  <a:pt x="2246255" y="763586"/>
                  <a:pt x="2244815" y="763429"/>
                  <a:pt x="2243737" y="763026"/>
                </a:cubicBezTo>
                <a:cubicBezTo>
                  <a:pt x="2240474" y="761922"/>
                  <a:pt x="2239008" y="758539"/>
                  <a:pt x="2237541" y="755156"/>
                </a:cubicBezTo>
                <a:cubicBezTo>
                  <a:pt x="2240930" y="754683"/>
                  <a:pt x="2241869" y="752289"/>
                  <a:pt x="2247680" y="753846"/>
                </a:cubicBezTo>
                <a:close/>
                <a:moveTo>
                  <a:pt x="2738629" y="753374"/>
                </a:moveTo>
                <a:cubicBezTo>
                  <a:pt x="2744411" y="755038"/>
                  <a:pt x="2748727" y="753320"/>
                  <a:pt x="2754203" y="755018"/>
                </a:cubicBezTo>
                <a:cubicBezTo>
                  <a:pt x="2754203" y="755018"/>
                  <a:pt x="2754203" y="755018"/>
                  <a:pt x="2753247" y="756372"/>
                </a:cubicBezTo>
                <a:cubicBezTo>
                  <a:pt x="2744411" y="755038"/>
                  <a:pt x="2737525" y="758599"/>
                  <a:pt x="2728145" y="755970"/>
                </a:cubicBezTo>
                <a:cubicBezTo>
                  <a:pt x="2729102" y="754617"/>
                  <a:pt x="2732875" y="751603"/>
                  <a:pt x="2738629" y="753374"/>
                </a:cubicBezTo>
                <a:close/>
                <a:moveTo>
                  <a:pt x="1681483" y="752903"/>
                </a:moveTo>
                <a:cubicBezTo>
                  <a:pt x="1682573" y="752159"/>
                  <a:pt x="1683767" y="752134"/>
                  <a:pt x="1685807" y="753371"/>
                </a:cubicBezTo>
                <a:cubicBezTo>
                  <a:pt x="1687438" y="753923"/>
                  <a:pt x="1688067" y="754897"/>
                  <a:pt x="1688390" y="755903"/>
                </a:cubicBezTo>
                <a:lnTo>
                  <a:pt x="1688638" y="756085"/>
                </a:lnTo>
                <a:lnTo>
                  <a:pt x="1691872" y="757296"/>
                </a:lnTo>
                <a:lnTo>
                  <a:pt x="1692462" y="759524"/>
                </a:lnTo>
                <a:lnTo>
                  <a:pt x="1697338" y="760141"/>
                </a:lnTo>
                <a:cubicBezTo>
                  <a:pt x="1699200" y="759834"/>
                  <a:pt x="1701701" y="759354"/>
                  <a:pt x="1704173" y="758982"/>
                </a:cubicBezTo>
                <a:lnTo>
                  <a:pt x="1705425" y="758742"/>
                </a:lnTo>
                <a:lnTo>
                  <a:pt x="1708540" y="754862"/>
                </a:lnTo>
                <a:cubicBezTo>
                  <a:pt x="1710697" y="755669"/>
                  <a:pt x="1712823" y="756584"/>
                  <a:pt x="1715256" y="757466"/>
                </a:cubicBezTo>
                <a:lnTo>
                  <a:pt x="1715131" y="759043"/>
                </a:lnTo>
                <a:lnTo>
                  <a:pt x="1722268" y="761186"/>
                </a:lnTo>
                <a:cubicBezTo>
                  <a:pt x="1719001" y="763415"/>
                  <a:pt x="1726543" y="769576"/>
                  <a:pt x="1721796" y="772904"/>
                </a:cubicBezTo>
                <a:cubicBezTo>
                  <a:pt x="1709510" y="784447"/>
                  <a:pt x="1704234" y="781998"/>
                  <a:pt x="1691898" y="778233"/>
                </a:cubicBezTo>
                <a:cubicBezTo>
                  <a:pt x="1693397" y="778175"/>
                  <a:pt x="1691631" y="777012"/>
                  <a:pt x="1691631" y="777012"/>
                </a:cubicBezTo>
                <a:cubicBezTo>
                  <a:pt x="1687855" y="774505"/>
                  <a:pt x="1687151" y="781561"/>
                  <a:pt x="1681875" y="779112"/>
                </a:cubicBezTo>
                <a:cubicBezTo>
                  <a:pt x="1677736" y="776853"/>
                  <a:pt x="1675963" y="773504"/>
                  <a:pt x="1675633" y="770310"/>
                </a:cubicBezTo>
                <a:lnTo>
                  <a:pt x="1676104" y="767446"/>
                </a:lnTo>
                <a:lnTo>
                  <a:pt x="1673481" y="766169"/>
                </a:lnTo>
                <a:cubicBezTo>
                  <a:pt x="1670699" y="761053"/>
                  <a:pt x="1671878" y="756654"/>
                  <a:pt x="1675116" y="754531"/>
                </a:cubicBezTo>
                <a:lnTo>
                  <a:pt x="1680366" y="753753"/>
                </a:lnTo>
                <a:close/>
                <a:moveTo>
                  <a:pt x="1665317" y="752365"/>
                </a:moveTo>
                <a:cubicBezTo>
                  <a:pt x="1667552" y="750665"/>
                  <a:pt x="1669905" y="754055"/>
                  <a:pt x="1670944" y="755713"/>
                </a:cubicBezTo>
                <a:cubicBezTo>
                  <a:pt x="1668511" y="754831"/>
                  <a:pt x="1667098" y="754568"/>
                  <a:pt x="1665992" y="754271"/>
                </a:cubicBezTo>
                <a:cubicBezTo>
                  <a:pt x="1665134" y="754157"/>
                  <a:pt x="1664608" y="753901"/>
                  <a:pt x="1665029" y="753438"/>
                </a:cubicBezTo>
                <a:cubicBezTo>
                  <a:pt x="1663426" y="752779"/>
                  <a:pt x="1663713" y="751706"/>
                  <a:pt x="1665317" y="752365"/>
                </a:cubicBezTo>
                <a:close/>
                <a:moveTo>
                  <a:pt x="4315528" y="752122"/>
                </a:moveTo>
                <a:cubicBezTo>
                  <a:pt x="4317598" y="753252"/>
                  <a:pt x="4315122" y="756959"/>
                  <a:pt x="4315388" y="758180"/>
                </a:cubicBezTo>
                <a:cubicBezTo>
                  <a:pt x="4313860" y="758346"/>
                  <a:pt x="4311791" y="757217"/>
                  <a:pt x="4310263" y="757382"/>
                </a:cubicBezTo>
                <a:cubicBezTo>
                  <a:pt x="4309998" y="756161"/>
                  <a:pt x="4309160" y="753751"/>
                  <a:pt x="4310699" y="752438"/>
                </a:cubicBezTo>
                <a:cubicBezTo>
                  <a:pt x="4310156" y="751143"/>
                  <a:pt x="4315528" y="752122"/>
                  <a:pt x="4315528" y="752122"/>
                </a:cubicBezTo>
                <a:close/>
                <a:moveTo>
                  <a:pt x="1856624" y="751185"/>
                </a:moveTo>
                <a:cubicBezTo>
                  <a:pt x="1857446" y="758076"/>
                  <a:pt x="1853367" y="761124"/>
                  <a:pt x="1845502" y="762810"/>
                </a:cubicBezTo>
                <a:cubicBezTo>
                  <a:pt x="1843051" y="760889"/>
                  <a:pt x="1842655" y="755723"/>
                  <a:pt x="1842106" y="752240"/>
                </a:cubicBezTo>
                <a:cubicBezTo>
                  <a:pt x="1845343" y="750118"/>
                  <a:pt x="1850784" y="749736"/>
                  <a:pt x="1856624" y="751185"/>
                </a:cubicBezTo>
                <a:close/>
                <a:moveTo>
                  <a:pt x="1552647" y="751156"/>
                </a:moveTo>
                <a:cubicBezTo>
                  <a:pt x="1553923" y="754143"/>
                  <a:pt x="1557168" y="763063"/>
                  <a:pt x="1554933" y="764763"/>
                </a:cubicBezTo>
                <a:cubicBezTo>
                  <a:pt x="1552532" y="760441"/>
                  <a:pt x="1550890" y="752181"/>
                  <a:pt x="1552647" y="751156"/>
                </a:cubicBezTo>
                <a:close/>
                <a:moveTo>
                  <a:pt x="2376587" y="750898"/>
                </a:moveTo>
                <a:cubicBezTo>
                  <a:pt x="2380808" y="748981"/>
                  <a:pt x="2386930" y="749931"/>
                  <a:pt x="2391292" y="753572"/>
                </a:cubicBezTo>
                <a:cubicBezTo>
                  <a:pt x="2394210" y="755964"/>
                  <a:pt x="2396229" y="759495"/>
                  <a:pt x="2396740" y="764233"/>
                </a:cubicBezTo>
                <a:cubicBezTo>
                  <a:pt x="2393682" y="767897"/>
                  <a:pt x="2384184" y="769033"/>
                  <a:pt x="2378039" y="767616"/>
                </a:cubicBezTo>
                <a:cubicBezTo>
                  <a:pt x="2376073" y="767205"/>
                  <a:pt x="2374193" y="766470"/>
                  <a:pt x="2373288" y="765424"/>
                </a:cubicBezTo>
                <a:cubicBezTo>
                  <a:pt x="2370046" y="757597"/>
                  <a:pt x="2372367" y="752813"/>
                  <a:pt x="2376587" y="750898"/>
                </a:cubicBezTo>
                <a:close/>
                <a:moveTo>
                  <a:pt x="2591658" y="750680"/>
                </a:moveTo>
                <a:cubicBezTo>
                  <a:pt x="2590322" y="751241"/>
                  <a:pt x="2588669" y="752983"/>
                  <a:pt x="2586617" y="752893"/>
                </a:cubicBezTo>
                <a:cubicBezTo>
                  <a:pt x="2586006" y="752960"/>
                  <a:pt x="2585175" y="752738"/>
                  <a:pt x="2584432" y="752193"/>
                </a:cubicBezTo>
                <a:cubicBezTo>
                  <a:pt x="2586696" y="750385"/>
                  <a:pt x="2588367" y="749682"/>
                  <a:pt x="2591658" y="750680"/>
                </a:cubicBezTo>
                <a:close/>
                <a:moveTo>
                  <a:pt x="1012337" y="749903"/>
                </a:moveTo>
                <a:cubicBezTo>
                  <a:pt x="1013479" y="752279"/>
                  <a:pt x="1020523" y="752556"/>
                  <a:pt x="1018276" y="755404"/>
                </a:cubicBezTo>
                <a:cubicBezTo>
                  <a:pt x="1016179" y="754382"/>
                  <a:pt x="1013508" y="752171"/>
                  <a:pt x="1011380" y="751256"/>
                </a:cubicBezTo>
                <a:cubicBezTo>
                  <a:pt x="1011380" y="751256"/>
                  <a:pt x="1011075" y="751289"/>
                  <a:pt x="1012337" y="749903"/>
                </a:cubicBezTo>
                <a:close/>
                <a:moveTo>
                  <a:pt x="2253324" y="749379"/>
                </a:moveTo>
                <a:cubicBezTo>
                  <a:pt x="2254793" y="749429"/>
                  <a:pt x="2256570" y="749444"/>
                  <a:pt x="2258305" y="750713"/>
                </a:cubicBezTo>
                <a:cubicBezTo>
                  <a:pt x="2260346" y="751951"/>
                  <a:pt x="2258600" y="751828"/>
                  <a:pt x="2260346" y="751951"/>
                </a:cubicBezTo>
                <a:cubicBezTo>
                  <a:pt x="2262111" y="753114"/>
                  <a:pt x="2262121" y="751967"/>
                  <a:pt x="2262121" y="751967"/>
                </a:cubicBezTo>
                <a:cubicBezTo>
                  <a:pt x="2262121" y="751967"/>
                  <a:pt x="2262111" y="753114"/>
                  <a:pt x="2262111" y="753114"/>
                </a:cubicBezTo>
                <a:cubicBezTo>
                  <a:pt x="2262111" y="753114"/>
                  <a:pt x="2262111" y="753114"/>
                  <a:pt x="2265611" y="755546"/>
                </a:cubicBezTo>
                <a:cubicBezTo>
                  <a:pt x="2271163" y="758069"/>
                  <a:pt x="2272937" y="758085"/>
                  <a:pt x="2276448" y="759370"/>
                </a:cubicBezTo>
                <a:cubicBezTo>
                  <a:pt x="2279978" y="761696"/>
                  <a:pt x="2279967" y="762844"/>
                  <a:pt x="2283761" y="766390"/>
                </a:cubicBezTo>
                <a:cubicBezTo>
                  <a:pt x="2282518" y="768817"/>
                  <a:pt x="2282518" y="768817"/>
                  <a:pt x="2280744" y="768801"/>
                </a:cubicBezTo>
                <a:cubicBezTo>
                  <a:pt x="2282518" y="768817"/>
                  <a:pt x="2282507" y="769964"/>
                  <a:pt x="2284272" y="771127"/>
                </a:cubicBezTo>
                <a:cubicBezTo>
                  <a:pt x="2293335" y="774935"/>
                  <a:pt x="2290342" y="780574"/>
                  <a:pt x="2284350" y="786328"/>
                </a:cubicBezTo>
                <a:cubicBezTo>
                  <a:pt x="2282586" y="785166"/>
                  <a:pt x="2279586" y="788617"/>
                  <a:pt x="2276330" y="789699"/>
                </a:cubicBezTo>
                <a:cubicBezTo>
                  <a:pt x="2273667" y="789676"/>
                  <a:pt x="2271615" y="789586"/>
                  <a:pt x="2269620" y="789281"/>
                </a:cubicBezTo>
                <a:cubicBezTo>
                  <a:pt x="2267627" y="788978"/>
                  <a:pt x="2265994" y="788425"/>
                  <a:pt x="2264260" y="787155"/>
                </a:cubicBezTo>
                <a:cubicBezTo>
                  <a:pt x="2261474" y="785374"/>
                  <a:pt x="2259005" y="782412"/>
                  <a:pt x="2257730" y="779426"/>
                </a:cubicBezTo>
                <a:lnTo>
                  <a:pt x="2257579" y="777775"/>
                </a:lnTo>
                <a:lnTo>
                  <a:pt x="2256720" y="777660"/>
                </a:lnTo>
                <a:cubicBezTo>
                  <a:pt x="2250869" y="777357"/>
                  <a:pt x="2245105" y="776733"/>
                  <a:pt x="2239381" y="774854"/>
                </a:cubicBezTo>
                <a:cubicBezTo>
                  <a:pt x="2242849" y="771873"/>
                  <a:pt x="2249360" y="769708"/>
                  <a:pt x="2256128" y="769910"/>
                </a:cubicBezTo>
                <a:lnTo>
                  <a:pt x="2260641" y="770776"/>
                </a:lnTo>
                <a:lnTo>
                  <a:pt x="2266304" y="767348"/>
                </a:lnTo>
                <a:cubicBezTo>
                  <a:pt x="2268615" y="766472"/>
                  <a:pt x="2271058" y="766206"/>
                  <a:pt x="2273722" y="766231"/>
                </a:cubicBezTo>
                <a:cubicBezTo>
                  <a:pt x="2273722" y="766231"/>
                  <a:pt x="2273693" y="766338"/>
                  <a:pt x="2271945" y="766214"/>
                </a:cubicBezTo>
                <a:cubicBezTo>
                  <a:pt x="2264640" y="761382"/>
                  <a:pt x="2251794" y="752879"/>
                  <a:pt x="2253324" y="749379"/>
                </a:cubicBezTo>
                <a:close/>
                <a:moveTo>
                  <a:pt x="4553346" y="748915"/>
                </a:moveTo>
                <a:cubicBezTo>
                  <a:pt x="4555111" y="750077"/>
                  <a:pt x="4557142" y="752462"/>
                  <a:pt x="4553874" y="754691"/>
                </a:cubicBezTo>
                <a:cubicBezTo>
                  <a:pt x="4550903" y="758034"/>
                  <a:pt x="4545882" y="757955"/>
                  <a:pt x="4540597" y="756654"/>
                </a:cubicBezTo>
                <a:cubicBezTo>
                  <a:pt x="4537312" y="757843"/>
                  <a:pt x="4535820" y="760088"/>
                  <a:pt x="4532309" y="758803"/>
                </a:cubicBezTo>
                <a:cubicBezTo>
                  <a:pt x="4537322" y="756697"/>
                  <a:pt x="4538803" y="755597"/>
                  <a:pt x="4542059" y="754515"/>
                </a:cubicBezTo>
                <a:cubicBezTo>
                  <a:pt x="4541793" y="753294"/>
                  <a:pt x="4541805" y="752147"/>
                  <a:pt x="4543284" y="751048"/>
                </a:cubicBezTo>
                <a:cubicBezTo>
                  <a:pt x="4546552" y="748819"/>
                  <a:pt x="4550091" y="749997"/>
                  <a:pt x="4553346" y="748915"/>
                </a:cubicBezTo>
                <a:close/>
                <a:moveTo>
                  <a:pt x="1281591" y="748908"/>
                </a:moveTo>
                <a:cubicBezTo>
                  <a:pt x="1281591" y="748908"/>
                  <a:pt x="1283661" y="750038"/>
                  <a:pt x="1285455" y="751093"/>
                </a:cubicBezTo>
                <a:cubicBezTo>
                  <a:pt x="1287525" y="752223"/>
                  <a:pt x="1289300" y="752239"/>
                  <a:pt x="1289300" y="752239"/>
                </a:cubicBezTo>
                <a:cubicBezTo>
                  <a:pt x="1291094" y="753294"/>
                  <a:pt x="1291664" y="754482"/>
                  <a:pt x="1290127" y="755795"/>
                </a:cubicBezTo>
                <a:cubicBezTo>
                  <a:pt x="1290127" y="755795"/>
                  <a:pt x="1286529" y="754831"/>
                  <a:pt x="1286529" y="754831"/>
                </a:cubicBezTo>
                <a:cubicBezTo>
                  <a:pt x="1282666" y="752646"/>
                  <a:pt x="1280596" y="751516"/>
                  <a:pt x="1277028" y="750445"/>
                </a:cubicBezTo>
                <a:cubicBezTo>
                  <a:pt x="1277994" y="747944"/>
                  <a:pt x="1279522" y="747779"/>
                  <a:pt x="1281591" y="748908"/>
                </a:cubicBezTo>
                <a:close/>
                <a:moveTo>
                  <a:pt x="2336551" y="748680"/>
                </a:moveTo>
                <a:cubicBezTo>
                  <a:pt x="2338546" y="748984"/>
                  <a:pt x="2340454" y="749611"/>
                  <a:pt x="2342552" y="750633"/>
                </a:cubicBezTo>
                <a:cubicBezTo>
                  <a:pt x="2334298" y="758196"/>
                  <a:pt x="2332735" y="765138"/>
                  <a:pt x="2327944" y="773054"/>
                </a:cubicBezTo>
                <a:cubicBezTo>
                  <a:pt x="2326198" y="772931"/>
                  <a:pt x="2324538" y="772486"/>
                  <a:pt x="2322687" y="771645"/>
                </a:cubicBezTo>
                <a:cubicBezTo>
                  <a:pt x="2320836" y="770804"/>
                  <a:pt x="2318825" y="769460"/>
                  <a:pt x="2316096" y="767464"/>
                </a:cubicBezTo>
                <a:cubicBezTo>
                  <a:pt x="2329580" y="761417"/>
                  <a:pt x="2310716" y="755443"/>
                  <a:pt x="2320696" y="750296"/>
                </a:cubicBezTo>
                <a:cubicBezTo>
                  <a:pt x="2325861" y="749840"/>
                  <a:pt x="2330845" y="747840"/>
                  <a:pt x="2336551" y="748680"/>
                </a:cubicBezTo>
                <a:close/>
                <a:moveTo>
                  <a:pt x="1926471" y="748396"/>
                </a:moveTo>
                <a:cubicBezTo>
                  <a:pt x="1927047" y="755105"/>
                  <a:pt x="1926938" y="766576"/>
                  <a:pt x="1911681" y="763753"/>
                </a:cubicBezTo>
                <a:cubicBezTo>
                  <a:pt x="1910393" y="761913"/>
                  <a:pt x="1909384" y="760148"/>
                  <a:pt x="1908374" y="758382"/>
                </a:cubicBezTo>
                <a:cubicBezTo>
                  <a:pt x="1917053" y="755877"/>
                  <a:pt x="1919931" y="750669"/>
                  <a:pt x="1926471" y="748396"/>
                </a:cubicBezTo>
                <a:close/>
                <a:moveTo>
                  <a:pt x="1720478" y="747941"/>
                </a:moveTo>
                <a:cubicBezTo>
                  <a:pt x="1720478" y="747941"/>
                  <a:pt x="1722137" y="748386"/>
                  <a:pt x="1724827" y="751637"/>
                </a:cubicBezTo>
                <a:cubicBezTo>
                  <a:pt x="1723444" y="751266"/>
                  <a:pt x="1723155" y="752338"/>
                  <a:pt x="1723155" y="752338"/>
                </a:cubicBezTo>
                <a:cubicBezTo>
                  <a:pt x="1723155" y="752338"/>
                  <a:pt x="1723127" y="752445"/>
                  <a:pt x="1724786" y="752890"/>
                </a:cubicBezTo>
                <a:cubicBezTo>
                  <a:pt x="1723813" y="753204"/>
                  <a:pt x="1722983" y="752981"/>
                  <a:pt x="1722486" y="752619"/>
                </a:cubicBezTo>
                <a:cubicBezTo>
                  <a:pt x="1721685" y="752289"/>
                  <a:pt x="1721494" y="751893"/>
                  <a:pt x="1721494" y="751893"/>
                </a:cubicBezTo>
                <a:cubicBezTo>
                  <a:pt x="1720151" y="750268"/>
                  <a:pt x="1718807" y="748642"/>
                  <a:pt x="1720478" y="747941"/>
                </a:cubicBezTo>
                <a:close/>
                <a:moveTo>
                  <a:pt x="2354315" y="747690"/>
                </a:moveTo>
                <a:cubicBezTo>
                  <a:pt x="2365142" y="752660"/>
                  <a:pt x="2367212" y="771500"/>
                  <a:pt x="2362464" y="774829"/>
                </a:cubicBezTo>
                <a:cubicBezTo>
                  <a:pt x="2356895" y="771266"/>
                  <a:pt x="2358160" y="766544"/>
                  <a:pt x="2352629" y="761728"/>
                </a:cubicBezTo>
                <a:cubicBezTo>
                  <a:pt x="2355629" y="758277"/>
                  <a:pt x="2349833" y="752239"/>
                  <a:pt x="2354315" y="747690"/>
                </a:cubicBezTo>
                <a:close/>
                <a:moveTo>
                  <a:pt x="2417564" y="747387"/>
                </a:moveTo>
                <a:cubicBezTo>
                  <a:pt x="2422513" y="752163"/>
                  <a:pt x="2417892" y="753915"/>
                  <a:pt x="2413271" y="755667"/>
                </a:cubicBezTo>
                <a:cubicBezTo>
                  <a:pt x="2410934" y="753316"/>
                  <a:pt x="2407442" y="753069"/>
                  <a:pt x="2405680" y="748573"/>
                </a:cubicBezTo>
                <a:cubicBezTo>
                  <a:pt x="2409737" y="747820"/>
                  <a:pt x="2413507" y="748140"/>
                  <a:pt x="2417564" y="747387"/>
                </a:cubicBezTo>
                <a:close/>
                <a:moveTo>
                  <a:pt x="2143294" y="746490"/>
                </a:moveTo>
                <a:cubicBezTo>
                  <a:pt x="2146139" y="746247"/>
                  <a:pt x="2149246" y="747655"/>
                  <a:pt x="2153187" y="748998"/>
                </a:cubicBezTo>
                <a:cubicBezTo>
                  <a:pt x="2152802" y="751539"/>
                  <a:pt x="2155795" y="754757"/>
                  <a:pt x="2153578" y="757498"/>
                </a:cubicBezTo>
                <a:cubicBezTo>
                  <a:pt x="2153578" y="757498"/>
                  <a:pt x="2152316" y="758885"/>
                  <a:pt x="2148957" y="759250"/>
                </a:cubicBezTo>
                <a:cubicBezTo>
                  <a:pt x="2145183" y="762263"/>
                  <a:pt x="2138830" y="759412"/>
                  <a:pt x="2138830" y="759412"/>
                </a:cubicBezTo>
                <a:cubicBezTo>
                  <a:pt x="2138830" y="759412"/>
                  <a:pt x="2138830" y="759412"/>
                  <a:pt x="2139400" y="760600"/>
                </a:cubicBezTo>
                <a:cubicBezTo>
                  <a:pt x="2138535" y="758297"/>
                  <a:pt x="2135836" y="756194"/>
                  <a:pt x="2134970" y="753892"/>
                </a:cubicBezTo>
                <a:cubicBezTo>
                  <a:pt x="2137864" y="748630"/>
                  <a:pt x="2140448" y="746734"/>
                  <a:pt x="2143294" y="746490"/>
                </a:cubicBezTo>
                <a:close/>
                <a:moveTo>
                  <a:pt x="1884157" y="743613"/>
                </a:moveTo>
                <a:cubicBezTo>
                  <a:pt x="1888203" y="744007"/>
                  <a:pt x="1892706" y="746019"/>
                  <a:pt x="1897130" y="750539"/>
                </a:cubicBezTo>
                <a:cubicBezTo>
                  <a:pt x="1896160" y="756374"/>
                  <a:pt x="1891740" y="757375"/>
                  <a:pt x="1889321" y="760866"/>
                </a:cubicBezTo>
                <a:cubicBezTo>
                  <a:pt x="1872547" y="757061"/>
                  <a:pt x="1871544" y="748628"/>
                  <a:pt x="1876931" y="745126"/>
                </a:cubicBezTo>
                <a:cubicBezTo>
                  <a:pt x="1878746" y="743888"/>
                  <a:pt x="1881275" y="743301"/>
                  <a:pt x="1884157" y="743613"/>
                </a:cubicBezTo>
                <a:close/>
                <a:moveTo>
                  <a:pt x="4851965" y="743483"/>
                </a:moveTo>
                <a:cubicBezTo>
                  <a:pt x="4853194" y="745537"/>
                  <a:pt x="4853097" y="747007"/>
                  <a:pt x="4851645" y="747998"/>
                </a:cubicBezTo>
                <a:lnTo>
                  <a:pt x="4850671" y="748311"/>
                </a:lnTo>
                <a:lnTo>
                  <a:pt x="4854857" y="751503"/>
                </a:lnTo>
                <a:cubicBezTo>
                  <a:pt x="4852676" y="756325"/>
                  <a:pt x="4853880" y="755151"/>
                  <a:pt x="4848245" y="758472"/>
                </a:cubicBezTo>
                <a:cubicBezTo>
                  <a:pt x="4844555" y="755642"/>
                  <a:pt x="4840864" y="752814"/>
                  <a:pt x="4837174" y="749985"/>
                </a:cubicBezTo>
                <a:lnTo>
                  <a:pt x="4840107" y="747895"/>
                </a:lnTo>
                <a:lnTo>
                  <a:pt x="4838784" y="743976"/>
                </a:lnTo>
                <a:cubicBezTo>
                  <a:pt x="4842259" y="743182"/>
                  <a:pt x="4846974" y="743296"/>
                  <a:pt x="4851965" y="743483"/>
                </a:cubicBezTo>
                <a:close/>
                <a:moveTo>
                  <a:pt x="2768322" y="743275"/>
                </a:moveTo>
                <a:cubicBezTo>
                  <a:pt x="2773504" y="743859"/>
                  <a:pt x="2777187" y="744500"/>
                  <a:pt x="2782940" y="746273"/>
                </a:cubicBezTo>
                <a:cubicBezTo>
                  <a:pt x="2782940" y="746273"/>
                  <a:pt x="2791145" y="749965"/>
                  <a:pt x="2789499" y="753895"/>
                </a:cubicBezTo>
                <a:cubicBezTo>
                  <a:pt x="2789794" y="755009"/>
                  <a:pt x="2783627" y="755886"/>
                  <a:pt x="2781500" y="754972"/>
                </a:cubicBezTo>
                <a:cubicBezTo>
                  <a:pt x="2777273" y="753035"/>
                  <a:pt x="2775423" y="752193"/>
                  <a:pt x="2774280" y="749817"/>
                </a:cubicBezTo>
                <a:cubicBezTo>
                  <a:pt x="2772181" y="748794"/>
                  <a:pt x="2770331" y="747954"/>
                  <a:pt x="2768843" y="746865"/>
                </a:cubicBezTo>
                <a:cubicBezTo>
                  <a:pt x="2767632" y="745851"/>
                  <a:pt x="2767061" y="744663"/>
                  <a:pt x="2768322" y="743275"/>
                </a:cubicBezTo>
                <a:close/>
                <a:moveTo>
                  <a:pt x="872931" y="742220"/>
                </a:moveTo>
                <a:cubicBezTo>
                  <a:pt x="874822" y="741806"/>
                  <a:pt x="875109" y="740733"/>
                  <a:pt x="876426" y="742466"/>
                </a:cubicBezTo>
                <a:cubicBezTo>
                  <a:pt x="877464" y="744124"/>
                  <a:pt x="877492" y="744017"/>
                  <a:pt x="876324" y="747269"/>
                </a:cubicBezTo>
                <a:cubicBezTo>
                  <a:pt x="875285" y="745610"/>
                  <a:pt x="875008" y="745536"/>
                  <a:pt x="873118" y="745950"/>
                </a:cubicBezTo>
                <a:cubicBezTo>
                  <a:pt x="873118" y="745950"/>
                  <a:pt x="873090" y="746057"/>
                  <a:pt x="872802" y="747130"/>
                </a:cubicBezTo>
                <a:cubicBezTo>
                  <a:pt x="871199" y="746471"/>
                  <a:pt x="871764" y="745472"/>
                  <a:pt x="870161" y="744812"/>
                </a:cubicBezTo>
                <a:cubicBezTo>
                  <a:pt x="870161" y="744812"/>
                  <a:pt x="870448" y="743739"/>
                  <a:pt x="870448" y="743739"/>
                </a:cubicBezTo>
                <a:cubicBezTo>
                  <a:pt x="869924" y="743484"/>
                  <a:pt x="869895" y="743591"/>
                  <a:pt x="870229" y="743449"/>
                </a:cubicBezTo>
                <a:cubicBezTo>
                  <a:pt x="870841" y="743385"/>
                  <a:pt x="871813" y="743070"/>
                  <a:pt x="872931" y="742220"/>
                </a:cubicBezTo>
                <a:close/>
                <a:moveTo>
                  <a:pt x="1775737" y="742048"/>
                </a:moveTo>
                <a:cubicBezTo>
                  <a:pt x="1783732" y="744305"/>
                  <a:pt x="1791451" y="755342"/>
                  <a:pt x="1787839" y="758860"/>
                </a:cubicBezTo>
                <a:cubicBezTo>
                  <a:pt x="1779208" y="762297"/>
                  <a:pt x="1772060" y="761302"/>
                  <a:pt x="1767482" y="758465"/>
                </a:cubicBezTo>
                <a:lnTo>
                  <a:pt x="1766414" y="756914"/>
                </a:lnTo>
                <a:lnTo>
                  <a:pt x="1764552" y="757220"/>
                </a:lnTo>
                <a:cubicBezTo>
                  <a:pt x="1761030" y="757081"/>
                  <a:pt x="1756356" y="755714"/>
                  <a:pt x="1752004" y="755353"/>
                </a:cubicBezTo>
                <a:cubicBezTo>
                  <a:pt x="1752676" y="751738"/>
                  <a:pt x="1754663" y="749855"/>
                  <a:pt x="1758023" y="749491"/>
                </a:cubicBezTo>
                <a:lnTo>
                  <a:pt x="1763672" y="750544"/>
                </a:lnTo>
                <a:lnTo>
                  <a:pt x="1764229" y="747359"/>
                </a:lnTo>
                <a:cubicBezTo>
                  <a:pt x="1766055" y="744972"/>
                  <a:pt x="1769598" y="742817"/>
                  <a:pt x="1775737" y="742048"/>
                </a:cubicBezTo>
                <a:close/>
                <a:moveTo>
                  <a:pt x="1986121" y="741609"/>
                </a:moveTo>
                <a:cubicBezTo>
                  <a:pt x="1996040" y="740011"/>
                  <a:pt x="2017583" y="764759"/>
                  <a:pt x="1983034" y="754236"/>
                </a:cubicBezTo>
                <a:cubicBezTo>
                  <a:pt x="1981172" y="745688"/>
                  <a:pt x="1983009" y="742154"/>
                  <a:pt x="1986121" y="741609"/>
                </a:cubicBezTo>
                <a:close/>
                <a:moveTo>
                  <a:pt x="1630229" y="741210"/>
                </a:moveTo>
                <a:cubicBezTo>
                  <a:pt x="1635655" y="743526"/>
                  <a:pt x="1638610" y="752426"/>
                  <a:pt x="1630987" y="750987"/>
                </a:cubicBezTo>
                <a:cubicBezTo>
                  <a:pt x="1628375" y="748562"/>
                  <a:pt x="1626327" y="745137"/>
                  <a:pt x="1624278" y="741715"/>
                </a:cubicBezTo>
                <a:cubicBezTo>
                  <a:pt x="1626336" y="740397"/>
                  <a:pt x="1628420" y="740438"/>
                  <a:pt x="1630229" y="741210"/>
                </a:cubicBezTo>
                <a:close/>
                <a:moveTo>
                  <a:pt x="4674148" y="740803"/>
                </a:moveTo>
                <a:cubicBezTo>
                  <a:pt x="4678834" y="741023"/>
                  <a:pt x="4685510" y="744883"/>
                  <a:pt x="4685755" y="748398"/>
                </a:cubicBezTo>
                <a:cubicBezTo>
                  <a:pt x="4682536" y="751561"/>
                  <a:pt x="4679054" y="750168"/>
                  <a:pt x="4677562" y="752412"/>
                </a:cubicBezTo>
                <a:cubicBezTo>
                  <a:pt x="4674223" y="750484"/>
                  <a:pt x="4672632" y="748676"/>
                  <a:pt x="4672262" y="746737"/>
                </a:cubicBezTo>
                <a:cubicBezTo>
                  <a:pt x="4671863" y="744905"/>
                  <a:pt x="4672409" y="742867"/>
                  <a:pt x="4674148" y="740803"/>
                </a:cubicBezTo>
                <a:close/>
                <a:moveTo>
                  <a:pt x="4532350" y="739838"/>
                </a:moveTo>
                <a:cubicBezTo>
                  <a:pt x="4536098" y="742453"/>
                  <a:pt x="4540604" y="749985"/>
                  <a:pt x="4536590" y="755005"/>
                </a:cubicBezTo>
                <a:cubicBezTo>
                  <a:pt x="4533869" y="755196"/>
                  <a:pt x="4531541" y="755033"/>
                  <a:pt x="4529852" y="754695"/>
                </a:cubicBezTo>
                <a:cubicBezTo>
                  <a:pt x="4527915" y="754176"/>
                  <a:pt x="4526341" y="753408"/>
                  <a:pt x="4525102" y="752502"/>
                </a:cubicBezTo>
                <a:cubicBezTo>
                  <a:pt x="4522956" y="750547"/>
                  <a:pt x="4521957" y="747634"/>
                  <a:pt x="4522076" y="743870"/>
                </a:cubicBezTo>
                <a:cubicBezTo>
                  <a:pt x="4525551" y="743077"/>
                  <a:pt x="4527757" y="741483"/>
                  <a:pt x="4532350" y="739838"/>
                </a:cubicBezTo>
                <a:close/>
                <a:moveTo>
                  <a:pt x="2899875" y="739310"/>
                </a:moveTo>
                <a:lnTo>
                  <a:pt x="2900198" y="740317"/>
                </a:lnTo>
                <a:lnTo>
                  <a:pt x="2903519" y="741206"/>
                </a:lnTo>
                <a:lnTo>
                  <a:pt x="2909405" y="743588"/>
                </a:lnTo>
                <a:lnTo>
                  <a:pt x="2907109" y="739983"/>
                </a:lnTo>
                <a:lnTo>
                  <a:pt x="2903616" y="739736"/>
                </a:lnTo>
                <a:close/>
                <a:moveTo>
                  <a:pt x="2081614" y="739043"/>
                </a:moveTo>
                <a:cubicBezTo>
                  <a:pt x="2101607" y="742616"/>
                  <a:pt x="2120672" y="758829"/>
                  <a:pt x="2132868" y="773914"/>
                </a:cubicBezTo>
                <a:lnTo>
                  <a:pt x="2133530" y="771446"/>
                </a:lnTo>
                <a:cubicBezTo>
                  <a:pt x="2139968" y="773976"/>
                  <a:pt x="2145837" y="775319"/>
                  <a:pt x="2151457" y="776480"/>
                </a:cubicBezTo>
                <a:lnTo>
                  <a:pt x="2156247" y="777418"/>
                </a:lnTo>
                <a:lnTo>
                  <a:pt x="2153951" y="773814"/>
                </a:lnTo>
                <a:cubicBezTo>
                  <a:pt x="2153084" y="771511"/>
                  <a:pt x="2153193" y="768895"/>
                  <a:pt x="2154886" y="765898"/>
                </a:cubicBezTo>
                <a:cubicBezTo>
                  <a:pt x="2158748" y="759229"/>
                  <a:pt x="2166572" y="753275"/>
                  <a:pt x="2182933" y="759728"/>
                </a:cubicBezTo>
                <a:cubicBezTo>
                  <a:pt x="2186588" y="760478"/>
                  <a:pt x="2184756" y="760677"/>
                  <a:pt x="2186883" y="761592"/>
                </a:cubicBezTo>
                <a:cubicBezTo>
                  <a:pt x="2189010" y="762507"/>
                  <a:pt x="2192942" y="763330"/>
                  <a:pt x="2194497" y="763058"/>
                </a:cubicBezTo>
                <a:cubicBezTo>
                  <a:pt x="2191591" y="768373"/>
                  <a:pt x="2197344" y="770145"/>
                  <a:pt x="2192218" y="778202"/>
                </a:cubicBezTo>
                <a:cubicBezTo>
                  <a:pt x="2188011" y="786160"/>
                  <a:pt x="2179868" y="787773"/>
                  <a:pt x="2172968" y="786959"/>
                </a:cubicBezTo>
                <a:lnTo>
                  <a:pt x="2167405" y="785583"/>
                </a:lnTo>
                <a:lnTo>
                  <a:pt x="2164825" y="788572"/>
                </a:lnTo>
                <a:cubicBezTo>
                  <a:pt x="2155622" y="781966"/>
                  <a:pt x="2151685" y="787811"/>
                  <a:pt x="2145908" y="788333"/>
                </a:cubicBezTo>
                <a:lnTo>
                  <a:pt x="2141234" y="786966"/>
                </a:lnTo>
                <a:lnTo>
                  <a:pt x="2144292" y="792155"/>
                </a:lnTo>
                <a:cubicBezTo>
                  <a:pt x="2137366" y="796969"/>
                  <a:pt x="2128958" y="797362"/>
                  <a:pt x="2120161" y="794775"/>
                </a:cubicBezTo>
                <a:cubicBezTo>
                  <a:pt x="2113520" y="792995"/>
                  <a:pt x="2106728" y="789565"/>
                  <a:pt x="2100195" y="785170"/>
                </a:cubicBezTo>
                <a:lnTo>
                  <a:pt x="2096095" y="781656"/>
                </a:lnTo>
                <a:lnTo>
                  <a:pt x="2091980" y="782623"/>
                </a:lnTo>
                <a:cubicBezTo>
                  <a:pt x="2090425" y="782897"/>
                  <a:pt x="2089174" y="783137"/>
                  <a:pt x="2088067" y="782840"/>
                </a:cubicBezTo>
                <a:lnTo>
                  <a:pt x="2094387" y="780279"/>
                </a:lnTo>
                <a:lnTo>
                  <a:pt x="2082000" y="770060"/>
                </a:lnTo>
                <a:lnTo>
                  <a:pt x="2071659" y="757744"/>
                </a:lnTo>
                <a:lnTo>
                  <a:pt x="2070064" y="759271"/>
                </a:lnTo>
                <a:lnTo>
                  <a:pt x="2068561" y="753808"/>
                </a:lnTo>
                <a:lnTo>
                  <a:pt x="2068313" y="753626"/>
                </a:lnTo>
                <a:cubicBezTo>
                  <a:pt x="2064673" y="748396"/>
                  <a:pt x="2062359" y="743751"/>
                  <a:pt x="2061532" y="740195"/>
                </a:cubicBezTo>
                <a:cubicBezTo>
                  <a:pt x="2068183" y="738066"/>
                  <a:pt x="2074950" y="737853"/>
                  <a:pt x="2081614" y="739043"/>
                </a:cubicBezTo>
                <a:close/>
                <a:moveTo>
                  <a:pt x="1956938" y="738734"/>
                </a:moveTo>
                <a:cubicBezTo>
                  <a:pt x="1962153" y="735876"/>
                  <a:pt x="1967525" y="736856"/>
                  <a:pt x="1970582" y="742045"/>
                </a:cubicBezTo>
                <a:cubicBezTo>
                  <a:pt x="1966496" y="742905"/>
                  <a:pt x="1966942" y="745669"/>
                  <a:pt x="1962886" y="746423"/>
                </a:cubicBezTo>
                <a:cubicBezTo>
                  <a:pt x="1960837" y="742998"/>
                  <a:pt x="1957948" y="740499"/>
                  <a:pt x="1956938" y="738734"/>
                </a:cubicBezTo>
                <a:close/>
                <a:moveTo>
                  <a:pt x="2896555" y="738420"/>
                </a:moveTo>
                <a:lnTo>
                  <a:pt x="2896325" y="739279"/>
                </a:lnTo>
                <a:lnTo>
                  <a:pt x="2899645" y="740168"/>
                </a:lnTo>
                <a:lnTo>
                  <a:pt x="2898101" y="739294"/>
                </a:lnTo>
                <a:lnTo>
                  <a:pt x="2897823" y="739219"/>
                </a:lnTo>
                <a:cubicBezTo>
                  <a:pt x="2897385" y="738642"/>
                  <a:pt x="2897137" y="738461"/>
                  <a:pt x="2896555" y="738420"/>
                </a:cubicBezTo>
                <a:close/>
                <a:moveTo>
                  <a:pt x="1471440" y="737678"/>
                </a:moveTo>
                <a:cubicBezTo>
                  <a:pt x="1473510" y="738807"/>
                  <a:pt x="1472810" y="742529"/>
                  <a:pt x="1474879" y="743659"/>
                </a:cubicBezTo>
                <a:cubicBezTo>
                  <a:pt x="1474879" y="743659"/>
                  <a:pt x="1474879" y="743659"/>
                  <a:pt x="1471843" y="745029"/>
                </a:cubicBezTo>
                <a:cubicBezTo>
                  <a:pt x="1470039" y="745122"/>
                  <a:pt x="1468511" y="745287"/>
                  <a:pt x="1466441" y="744158"/>
                </a:cubicBezTo>
                <a:cubicBezTo>
                  <a:pt x="1464371" y="743028"/>
                  <a:pt x="1463563" y="740512"/>
                  <a:pt x="1463268" y="739397"/>
                </a:cubicBezTo>
                <a:cubicBezTo>
                  <a:pt x="1465072" y="739306"/>
                  <a:pt x="1464806" y="738085"/>
                  <a:pt x="1466334" y="737919"/>
                </a:cubicBezTo>
                <a:cubicBezTo>
                  <a:pt x="1469399" y="736440"/>
                  <a:pt x="1469371" y="736548"/>
                  <a:pt x="1471440" y="737678"/>
                </a:cubicBezTo>
                <a:close/>
                <a:moveTo>
                  <a:pt x="2630175" y="737540"/>
                </a:moveTo>
                <a:cubicBezTo>
                  <a:pt x="2637275" y="737603"/>
                  <a:pt x="2641990" y="737716"/>
                  <a:pt x="2645616" y="738572"/>
                </a:cubicBezTo>
                <a:cubicBezTo>
                  <a:pt x="2647596" y="743358"/>
                  <a:pt x="2641361" y="745597"/>
                  <a:pt x="2635932" y="744832"/>
                </a:cubicBezTo>
                <a:cubicBezTo>
                  <a:pt x="2634214" y="744602"/>
                  <a:pt x="2632582" y="744050"/>
                  <a:pt x="2631372" y="743036"/>
                </a:cubicBezTo>
                <a:cubicBezTo>
                  <a:pt x="2629913" y="741839"/>
                  <a:pt x="2629208" y="740040"/>
                  <a:pt x="2630175" y="737540"/>
                </a:cubicBezTo>
                <a:close/>
                <a:moveTo>
                  <a:pt x="1715555" y="737537"/>
                </a:moveTo>
                <a:cubicBezTo>
                  <a:pt x="1718530" y="739714"/>
                  <a:pt x="1722465" y="746057"/>
                  <a:pt x="1720201" y="747867"/>
                </a:cubicBezTo>
                <a:cubicBezTo>
                  <a:pt x="1717226" y="745689"/>
                  <a:pt x="1715910" y="743956"/>
                  <a:pt x="1714567" y="742331"/>
                </a:cubicBezTo>
                <a:cubicBezTo>
                  <a:pt x="1711591" y="740155"/>
                  <a:pt x="1711907" y="738974"/>
                  <a:pt x="1715555" y="737537"/>
                </a:cubicBezTo>
                <a:close/>
                <a:moveTo>
                  <a:pt x="1251740" y="737459"/>
                </a:moveTo>
                <a:cubicBezTo>
                  <a:pt x="1252707" y="734959"/>
                  <a:pt x="1256552" y="736103"/>
                  <a:pt x="1260444" y="738181"/>
                </a:cubicBezTo>
                <a:cubicBezTo>
                  <a:pt x="1269708" y="741239"/>
                  <a:pt x="1272367" y="744597"/>
                  <a:pt x="1268364" y="748469"/>
                </a:cubicBezTo>
                <a:cubicBezTo>
                  <a:pt x="1266589" y="748453"/>
                  <a:pt x="1261435" y="747762"/>
                  <a:pt x="1261731" y="748877"/>
                </a:cubicBezTo>
                <a:cubicBezTo>
                  <a:pt x="1257037" y="746469"/>
                  <a:pt x="1252545" y="743311"/>
                  <a:pt x="1251547" y="740398"/>
                </a:cubicBezTo>
                <a:cubicBezTo>
                  <a:pt x="1251223" y="739391"/>
                  <a:pt x="1251175" y="738458"/>
                  <a:pt x="1251740" y="737459"/>
                </a:cubicBezTo>
                <a:close/>
                <a:moveTo>
                  <a:pt x="1535636" y="737168"/>
                </a:moveTo>
                <a:cubicBezTo>
                  <a:pt x="1564161" y="739176"/>
                  <a:pt x="1585823" y="760160"/>
                  <a:pt x="1608760" y="775277"/>
                </a:cubicBezTo>
                <a:cubicBezTo>
                  <a:pt x="1604025" y="777458"/>
                  <a:pt x="1603934" y="781114"/>
                  <a:pt x="1595370" y="783189"/>
                </a:cubicBezTo>
                <a:cubicBezTo>
                  <a:pt x="1581726" y="771023"/>
                  <a:pt x="1566314" y="761029"/>
                  <a:pt x="1552647" y="751156"/>
                </a:cubicBezTo>
                <a:cubicBezTo>
                  <a:pt x="1546202" y="746439"/>
                  <a:pt x="1540307" y="741870"/>
                  <a:pt x="1535636" y="737168"/>
                </a:cubicBezTo>
                <a:close/>
                <a:moveTo>
                  <a:pt x="2614341" y="736863"/>
                </a:moveTo>
                <a:lnTo>
                  <a:pt x="2620504" y="739318"/>
                </a:lnTo>
                <a:lnTo>
                  <a:pt x="2620810" y="739286"/>
                </a:lnTo>
                <a:lnTo>
                  <a:pt x="2621334" y="739541"/>
                </a:lnTo>
                <a:lnTo>
                  <a:pt x="2621859" y="739796"/>
                </a:lnTo>
                <a:lnTo>
                  <a:pt x="2622326" y="740266"/>
                </a:lnTo>
                <a:lnTo>
                  <a:pt x="2626685" y="742814"/>
                </a:lnTo>
                <a:cubicBezTo>
                  <a:pt x="2628393" y="744192"/>
                  <a:pt x="2629488" y="745636"/>
                  <a:pt x="2629143" y="746923"/>
                </a:cubicBezTo>
                <a:lnTo>
                  <a:pt x="2626078" y="748403"/>
                </a:lnTo>
                <a:lnTo>
                  <a:pt x="2630171" y="749728"/>
                </a:lnTo>
                <a:cubicBezTo>
                  <a:pt x="2631773" y="750388"/>
                  <a:pt x="2633014" y="751296"/>
                  <a:pt x="2633862" y="752558"/>
                </a:cubicBezTo>
                <a:lnTo>
                  <a:pt x="2637692" y="758184"/>
                </a:lnTo>
                <a:lnTo>
                  <a:pt x="2640481" y="756632"/>
                </a:lnTo>
                <a:cubicBezTo>
                  <a:pt x="2641818" y="756070"/>
                  <a:pt x="2643068" y="755829"/>
                  <a:pt x="2644728" y="756274"/>
                </a:cubicBezTo>
                <a:cubicBezTo>
                  <a:pt x="2645864" y="756464"/>
                  <a:pt x="2646913" y="756975"/>
                  <a:pt x="2648429" y="757956"/>
                </a:cubicBezTo>
                <a:cubicBezTo>
                  <a:pt x="2648429" y="757956"/>
                  <a:pt x="2648429" y="757956"/>
                  <a:pt x="2648696" y="759178"/>
                </a:cubicBezTo>
                <a:cubicBezTo>
                  <a:pt x="2648951" y="761546"/>
                  <a:pt x="2648940" y="762692"/>
                  <a:pt x="2649234" y="763807"/>
                </a:cubicBezTo>
                <a:cubicBezTo>
                  <a:pt x="2648203" y="764336"/>
                  <a:pt x="2646751" y="765327"/>
                  <a:pt x="2645138" y="765814"/>
                </a:cubicBezTo>
                <a:lnTo>
                  <a:pt x="2641254" y="765923"/>
                </a:lnTo>
                <a:lnTo>
                  <a:pt x="2641433" y="767466"/>
                </a:lnTo>
                <a:cubicBezTo>
                  <a:pt x="2640904" y="770545"/>
                  <a:pt x="2638001" y="772526"/>
                  <a:pt x="2634228" y="775542"/>
                </a:cubicBezTo>
                <a:cubicBezTo>
                  <a:pt x="2634544" y="774361"/>
                  <a:pt x="2632625" y="774882"/>
                  <a:pt x="2632625" y="774882"/>
                </a:cubicBezTo>
                <a:cubicBezTo>
                  <a:pt x="2628787" y="775923"/>
                  <a:pt x="2637868" y="780772"/>
                  <a:pt x="2633466" y="782812"/>
                </a:cubicBezTo>
                <a:cubicBezTo>
                  <a:pt x="2631489" y="783548"/>
                  <a:pt x="2629132" y="783491"/>
                  <a:pt x="2627109" y="783293"/>
                </a:cubicBezTo>
                <a:cubicBezTo>
                  <a:pt x="2624809" y="783023"/>
                  <a:pt x="2622624" y="782321"/>
                  <a:pt x="2620468" y="781514"/>
                </a:cubicBezTo>
                <a:cubicBezTo>
                  <a:pt x="2616155" y="779899"/>
                  <a:pt x="2612350" y="777500"/>
                  <a:pt x="2609565" y="775718"/>
                </a:cubicBezTo>
                <a:lnTo>
                  <a:pt x="2606532" y="773756"/>
                </a:lnTo>
                <a:lnTo>
                  <a:pt x="2605968" y="774754"/>
                </a:lnTo>
                <a:lnTo>
                  <a:pt x="2604681" y="772914"/>
                </a:lnTo>
                <a:lnTo>
                  <a:pt x="2604405" y="772840"/>
                </a:lnTo>
                <a:cubicBezTo>
                  <a:pt x="2604997" y="771734"/>
                  <a:pt x="2603395" y="771074"/>
                  <a:pt x="2602802" y="772181"/>
                </a:cubicBezTo>
                <a:cubicBezTo>
                  <a:pt x="2600962" y="770192"/>
                  <a:pt x="2599313" y="768600"/>
                  <a:pt x="2598464" y="767339"/>
                </a:cubicBezTo>
                <a:cubicBezTo>
                  <a:pt x="2597893" y="766151"/>
                  <a:pt x="2598400" y="765366"/>
                  <a:pt x="2600319" y="764846"/>
                </a:cubicBezTo>
                <a:cubicBezTo>
                  <a:pt x="2602830" y="763218"/>
                  <a:pt x="2605443" y="765643"/>
                  <a:pt x="2609281" y="764602"/>
                </a:cubicBezTo>
                <a:lnTo>
                  <a:pt x="2609816" y="763710"/>
                </a:lnTo>
                <a:lnTo>
                  <a:pt x="2608577" y="762803"/>
                </a:lnTo>
                <a:lnTo>
                  <a:pt x="2610697" y="761531"/>
                </a:lnTo>
                <a:lnTo>
                  <a:pt x="2611722" y="758816"/>
                </a:lnTo>
                <a:cubicBezTo>
                  <a:pt x="2611553" y="756125"/>
                  <a:pt x="2611222" y="752932"/>
                  <a:pt x="2612552" y="750182"/>
                </a:cubicBezTo>
                <a:lnTo>
                  <a:pt x="2616803" y="746492"/>
                </a:lnTo>
                <a:lnTo>
                  <a:pt x="2613504" y="743308"/>
                </a:lnTo>
                <a:lnTo>
                  <a:pt x="2614118" y="739908"/>
                </a:lnTo>
                <a:lnTo>
                  <a:pt x="2613795" y="738901"/>
                </a:lnTo>
                <a:lnTo>
                  <a:pt x="2614176" y="739693"/>
                </a:lnTo>
                <a:close/>
                <a:moveTo>
                  <a:pt x="1775351" y="735734"/>
                </a:moveTo>
                <a:cubicBezTo>
                  <a:pt x="1777271" y="735213"/>
                  <a:pt x="1780533" y="736318"/>
                  <a:pt x="1782453" y="735797"/>
                </a:cubicBezTo>
                <a:cubicBezTo>
                  <a:pt x="1782165" y="736870"/>
                  <a:pt x="1783451" y="738709"/>
                  <a:pt x="1783164" y="739783"/>
                </a:cubicBezTo>
                <a:cubicBezTo>
                  <a:pt x="1782189" y="740096"/>
                  <a:pt x="1781026" y="740014"/>
                  <a:pt x="1780196" y="739792"/>
                </a:cubicBezTo>
                <a:cubicBezTo>
                  <a:pt x="1779365" y="739569"/>
                  <a:pt x="1778316" y="739058"/>
                  <a:pt x="1777544" y="738620"/>
                </a:cubicBezTo>
                <a:cubicBezTo>
                  <a:pt x="1776056" y="737532"/>
                  <a:pt x="1775208" y="736270"/>
                  <a:pt x="1775351" y="735734"/>
                </a:cubicBezTo>
                <a:close/>
                <a:moveTo>
                  <a:pt x="2318099" y="734535"/>
                </a:moveTo>
                <a:cubicBezTo>
                  <a:pt x="2319188" y="733792"/>
                  <a:pt x="2319989" y="734122"/>
                  <a:pt x="2320981" y="734848"/>
                </a:cubicBezTo>
                <a:cubicBezTo>
                  <a:pt x="2321667" y="735607"/>
                  <a:pt x="2322544" y="736762"/>
                  <a:pt x="2324003" y="737958"/>
                </a:cubicBezTo>
                <a:lnTo>
                  <a:pt x="2318275" y="739412"/>
                </a:lnTo>
                <a:cubicBezTo>
                  <a:pt x="2316931" y="737788"/>
                  <a:pt x="2316179" y="735056"/>
                  <a:pt x="2318099" y="734535"/>
                </a:cubicBezTo>
                <a:close/>
                <a:moveTo>
                  <a:pt x="2516993" y="734511"/>
                </a:moveTo>
                <a:cubicBezTo>
                  <a:pt x="2520723" y="733455"/>
                  <a:pt x="2525493" y="733640"/>
                  <a:pt x="2529055" y="735285"/>
                </a:cubicBezTo>
                <a:cubicBezTo>
                  <a:pt x="2531431" y="736381"/>
                  <a:pt x="2533328" y="738155"/>
                  <a:pt x="2533860" y="740598"/>
                </a:cubicBezTo>
                <a:cubicBezTo>
                  <a:pt x="2530331" y="747127"/>
                  <a:pt x="2521423" y="741635"/>
                  <a:pt x="2511163" y="741185"/>
                </a:cubicBezTo>
                <a:cubicBezTo>
                  <a:pt x="2510570" y="737865"/>
                  <a:pt x="2513262" y="735567"/>
                  <a:pt x="2516993" y="734511"/>
                </a:cubicBezTo>
                <a:close/>
                <a:moveTo>
                  <a:pt x="5082765" y="734370"/>
                </a:moveTo>
                <a:cubicBezTo>
                  <a:pt x="5091400" y="736454"/>
                  <a:pt x="5091314" y="745630"/>
                  <a:pt x="5085453" y="746475"/>
                </a:cubicBezTo>
                <a:cubicBezTo>
                  <a:pt x="5084508" y="746682"/>
                  <a:pt x="5083344" y="746600"/>
                  <a:pt x="5082237" y="746304"/>
                </a:cubicBezTo>
                <a:cubicBezTo>
                  <a:pt x="5080883" y="745825"/>
                  <a:pt x="5079557" y="745240"/>
                  <a:pt x="5077792" y="744077"/>
                </a:cubicBezTo>
                <a:cubicBezTo>
                  <a:pt x="5079639" y="739397"/>
                  <a:pt x="5080778" y="736253"/>
                  <a:pt x="5082765" y="734370"/>
                </a:cubicBezTo>
                <a:close/>
                <a:moveTo>
                  <a:pt x="2554531" y="734291"/>
                </a:moveTo>
                <a:cubicBezTo>
                  <a:pt x="2551759" y="736884"/>
                  <a:pt x="2554124" y="739127"/>
                  <a:pt x="2551354" y="741720"/>
                </a:cubicBezTo>
                <a:cubicBezTo>
                  <a:pt x="2547490" y="739535"/>
                  <a:pt x="2543892" y="738571"/>
                  <a:pt x="2542101" y="737516"/>
                </a:cubicBezTo>
                <a:cubicBezTo>
                  <a:pt x="2544033" y="732513"/>
                  <a:pt x="2548569" y="731084"/>
                  <a:pt x="2554531" y="734291"/>
                </a:cubicBezTo>
                <a:close/>
                <a:moveTo>
                  <a:pt x="1200931" y="733390"/>
                </a:moveTo>
                <a:cubicBezTo>
                  <a:pt x="1205186" y="735221"/>
                  <a:pt x="1209117" y="736044"/>
                  <a:pt x="1209411" y="737158"/>
                </a:cubicBezTo>
                <a:cubicBezTo>
                  <a:pt x="1211245" y="736959"/>
                  <a:pt x="1213065" y="737907"/>
                  <a:pt x="1214899" y="737708"/>
                </a:cubicBezTo>
                <a:cubicBezTo>
                  <a:pt x="1214899" y="737708"/>
                  <a:pt x="1214899" y="737708"/>
                  <a:pt x="1215193" y="738821"/>
                </a:cubicBezTo>
                <a:cubicBezTo>
                  <a:pt x="1208151" y="738545"/>
                  <a:pt x="1200445" y="740735"/>
                  <a:pt x="1194663" y="739071"/>
                </a:cubicBezTo>
                <a:cubicBezTo>
                  <a:pt x="1193614" y="738560"/>
                  <a:pt x="1192536" y="738155"/>
                  <a:pt x="1192127" y="737471"/>
                </a:cubicBezTo>
                <a:cubicBezTo>
                  <a:pt x="1191717" y="736786"/>
                  <a:pt x="1191670" y="735854"/>
                  <a:pt x="1192903" y="734574"/>
                </a:cubicBezTo>
                <a:cubicBezTo>
                  <a:pt x="1193593" y="731999"/>
                  <a:pt x="1195150" y="731726"/>
                  <a:pt x="1200931" y="733390"/>
                </a:cubicBezTo>
                <a:close/>
                <a:moveTo>
                  <a:pt x="4188335" y="732071"/>
                </a:moveTo>
                <a:cubicBezTo>
                  <a:pt x="4189272" y="729677"/>
                  <a:pt x="4192859" y="731788"/>
                  <a:pt x="4194929" y="732918"/>
                </a:cubicBezTo>
                <a:cubicBezTo>
                  <a:pt x="4192514" y="733076"/>
                  <a:pt x="4190929" y="733457"/>
                  <a:pt x="4189984" y="733663"/>
                </a:cubicBezTo>
                <a:cubicBezTo>
                  <a:pt x="4189039" y="733870"/>
                  <a:pt x="4188733" y="733902"/>
                  <a:pt x="4188600" y="733292"/>
                </a:cubicBezTo>
                <a:cubicBezTo>
                  <a:pt x="4187102" y="733352"/>
                  <a:pt x="4186806" y="732237"/>
                  <a:pt x="4188335" y="732071"/>
                </a:cubicBezTo>
                <a:close/>
                <a:moveTo>
                  <a:pt x="1672001" y="731846"/>
                </a:moveTo>
                <a:cubicBezTo>
                  <a:pt x="1675027" y="731622"/>
                  <a:pt x="1678433" y="732190"/>
                  <a:pt x="1681466" y="734152"/>
                </a:cubicBezTo>
                <a:cubicBezTo>
                  <a:pt x="1679904" y="741094"/>
                  <a:pt x="1680074" y="749305"/>
                  <a:pt x="1668127" y="748519"/>
                </a:cubicBezTo>
                <a:cubicBezTo>
                  <a:pt x="1664760" y="746697"/>
                  <a:pt x="1662891" y="744815"/>
                  <a:pt x="1661881" y="743050"/>
                </a:cubicBezTo>
                <a:cubicBezTo>
                  <a:pt x="1658909" y="737538"/>
                  <a:pt x="1664728" y="732427"/>
                  <a:pt x="1672001" y="731846"/>
                </a:cubicBezTo>
                <a:close/>
                <a:moveTo>
                  <a:pt x="2183437" y="731012"/>
                </a:moveTo>
                <a:cubicBezTo>
                  <a:pt x="2187448" y="733195"/>
                  <a:pt x="2189320" y="737002"/>
                  <a:pt x="2183232" y="739798"/>
                </a:cubicBezTo>
                <a:cubicBezTo>
                  <a:pt x="2177299" y="736484"/>
                  <a:pt x="2173130" y="734332"/>
                  <a:pt x="2170795" y="731981"/>
                </a:cubicBezTo>
                <a:cubicBezTo>
                  <a:pt x="2173271" y="728275"/>
                  <a:pt x="2179425" y="728830"/>
                  <a:pt x="2183437" y="731012"/>
                </a:cubicBezTo>
                <a:close/>
                <a:moveTo>
                  <a:pt x="4203158" y="730983"/>
                </a:moveTo>
                <a:cubicBezTo>
                  <a:pt x="4210582" y="732052"/>
                  <a:pt x="4214434" y="735385"/>
                  <a:pt x="4212892" y="740032"/>
                </a:cubicBezTo>
                <a:cubicBezTo>
                  <a:pt x="4208304" y="738342"/>
                  <a:pt x="4206316" y="740225"/>
                  <a:pt x="4201727" y="738535"/>
                </a:cubicBezTo>
                <a:cubicBezTo>
                  <a:pt x="4202867" y="735390"/>
                  <a:pt x="4202727" y="732593"/>
                  <a:pt x="4203158" y="730983"/>
                </a:cubicBezTo>
                <a:close/>
                <a:moveTo>
                  <a:pt x="1700722" y="730917"/>
                </a:moveTo>
                <a:cubicBezTo>
                  <a:pt x="1703164" y="730651"/>
                  <a:pt x="1706323" y="731038"/>
                  <a:pt x="1709119" y="731672"/>
                </a:cubicBezTo>
                <a:cubicBezTo>
                  <a:pt x="1707343" y="731656"/>
                  <a:pt x="1707343" y="731656"/>
                  <a:pt x="1707343" y="731656"/>
                </a:cubicBezTo>
                <a:cubicBezTo>
                  <a:pt x="1705558" y="732788"/>
                  <a:pt x="1707332" y="732803"/>
                  <a:pt x="1707599" y="734025"/>
                </a:cubicBezTo>
                <a:cubicBezTo>
                  <a:pt x="1707599" y="734025"/>
                  <a:pt x="1707332" y="732803"/>
                  <a:pt x="1709068" y="734074"/>
                </a:cubicBezTo>
                <a:cubicBezTo>
                  <a:pt x="1707570" y="734132"/>
                  <a:pt x="1707588" y="735171"/>
                  <a:pt x="1707854" y="736392"/>
                </a:cubicBezTo>
                <a:cubicBezTo>
                  <a:pt x="1704558" y="738730"/>
                  <a:pt x="1699793" y="741018"/>
                  <a:pt x="1696282" y="739733"/>
                </a:cubicBezTo>
                <a:cubicBezTo>
                  <a:pt x="1694241" y="738495"/>
                  <a:pt x="1693699" y="737201"/>
                  <a:pt x="1693958" y="736235"/>
                </a:cubicBezTo>
                <a:cubicBezTo>
                  <a:pt x="1693939" y="735194"/>
                  <a:pt x="1694752" y="734378"/>
                  <a:pt x="1695506" y="733774"/>
                </a:cubicBezTo>
                <a:cubicBezTo>
                  <a:pt x="1696272" y="732025"/>
                  <a:pt x="1698277" y="731182"/>
                  <a:pt x="1700722" y="730917"/>
                </a:cubicBezTo>
                <a:close/>
                <a:moveTo>
                  <a:pt x="926429" y="730722"/>
                </a:moveTo>
                <a:cubicBezTo>
                  <a:pt x="932325" y="731683"/>
                  <a:pt x="937575" y="733952"/>
                  <a:pt x="941102" y="737945"/>
                </a:cubicBezTo>
                <a:cubicBezTo>
                  <a:pt x="917798" y="735266"/>
                  <a:pt x="910171" y="752658"/>
                  <a:pt x="884295" y="746299"/>
                </a:cubicBezTo>
                <a:cubicBezTo>
                  <a:pt x="884827" y="739886"/>
                  <a:pt x="895342" y="733849"/>
                  <a:pt x="907876" y="731342"/>
                </a:cubicBezTo>
                <a:cubicBezTo>
                  <a:pt x="913990" y="730106"/>
                  <a:pt x="920533" y="729760"/>
                  <a:pt x="926429" y="730722"/>
                </a:cubicBezTo>
                <a:close/>
                <a:moveTo>
                  <a:pt x="1310226" y="730590"/>
                </a:moveTo>
                <a:cubicBezTo>
                  <a:pt x="1313823" y="731555"/>
                  <a:pt x="1320934" y="739325"/>
                  <a:pt x="1319702" y="740604"/>
                </a:cubicBezTo>
                <a:cubicBezTo>
                  <a:pt x="1315666" y="739063"/>
                  <a:pt x="1308368" y="736418"/>
                  <a:pt x="1306117" y="733745"/>
                </a:cubicBezTo>
                <a:cubicBezTo>
                  <a:pt x="1305184" y="732804"/>
                  <a:pt x="1304860" y="731798"/>
                  <a:pt x="1305673" y="730981"/>
                </a:cubicBezTo>
                <a:cubicBezTo>
                  <a:pt x="1306905" y="729700"/>
                  <a:pt x="1308727" y="730649"/>
                  <a:pt x="1310226" y="730590"/>
                </a:cubicBezTo>
                <a:close/>
                <a:moveTo>
                  <a:pt x="5551847" y="730424"/>
                </a:moveTo>
                <a:cubicBezTo>
                  <a:pt x="5556001" y="728893"/>
                  <a:pt x="5561775" y="729204"/>
                  <a:pt x="5566140" y="731178"/>
                </a:cubicBezTo>
                <a:cubicBezTo>
                  <a:pt x="5568763" y="732455"/>
                  <a:pt x="5571185" y="734484"/>
                  <a:pt x="5571660" y="737141"/>
                </a:cubicBezTo>
                <a:cubicBezTo>
                  <a:pt x="5565806" y="740174"/>
                  <a:pt x="5560026" y="744030"/>
                  <a:pt x="5553709" y="743257"/>
                </a:cubicBezTo>
                <a:cubicBezTo>
                  <a:pt x="5551686" y="743060"/>
                  <a:pt x="5549530" y="742252"/>
                  <a:pt x="5547270" y="740727"/>
                </a:cubicBezTo>
                <a:cubicBezTo>
                  <a:pt x="5545157" y="735330"/>
                  <a:pt x="5547692" y="731957"/>
                  <a:pt x="5551847" y="730424"/>
                </a:cubicBezTo>
                <a:close/>
                <a:moveTo>
                  <a:pt x="2965760" y="730283"/>
                </a:moveTo>
                <a:cubicBezTo>
                  <a:pt x="2965760" y="730283"/>
                  <a:pt x="2965494" y="729062"/>
                  <a:pt x="2970884" y="731081"/>
                </a:cubicBezTo>
                <a:cubicBezTo>
                  <a:pt x="2969623" y="732469"/>
                  <a:pt x="2965648" y="736233"/>
                  <a:pt x="2965648" y="736233"/>
                </a:cubicBezTo>
                <a:cubicBezTo>
                  <a:pt x="2966220" y="737422"/>
                  <a:pt x="2965914" y="737455"/>
                  <a:pt x="2964682" y="738734"/>
                </a:cubicBezTo>
                <a:cubicBezTo>
                  <a:pt x="2962612" y="737604"/>
                  <a:pt x="2962888" y="737678"/>
                  <a:pt x="2962623" y="736458"/>
                </a:cubicBezTo>
                <a:cubicBezTo>
                  <a:pt x="2963855" y="735178"/>
                  <a:pt x="2965354" y="735119"/>
                  <a:pt x="2966615" y="733732"/>
                </a:cubicBezTo>
                <a:cubicBezTo>
                  <a:pt x="2962724" y="731654"/>
                  <a:pt x="2963018" y="732768"/>
                  <a:pt x="2964527" y="731563"/>
                </a:cubicBezTo>
                <a:cubicBezTo>
                  <a:pt x="2964527" y="731563"/>
                  <a:pt x="2964527" y="731563"/>
                  <a:pt x="2965760" y="730283"/>
                </a:cubicBezTo>
                <a:close/>
                <a:moveTo>
                  <a:pt x="2574140" y="728621"/>
                </a:moveTo>
                <a:cubicBezTo>
                  <a:pt x="2575991" y="729461"/>
                  <a:pt x="2577220" y="731516"/>
                  <a:pt x="2577867" y="733529"/>
                </a:cubicBezTo>
                <a:lnTo>
                  <a:pt x="2578510" y="738876"/>
                </a:lnTo>
                <a:lnTo>
                  <a:pt x="2579675" y="738958"/>
                </a:lnTo>
                <a:cubicBezTo>
                  <a:pt x="2579675" y="738958"/>
                  <a:pt x="2578071" y="738299"/>
                  <a:pt x="2579991" y="737778"/>
                </a:cubicBezTo>
                <a:cubicBezTo>
                  <a:pt x="2579675" y="738958"/>
                  <a:pt x="2581277" y="739618"/>
                  <a:pt x="2582908" y="740170"/>
                </a:cubicBezTo>
                <a:cubicBezTo>
                  <a:pt x="2585234" y="743668"/>
                  <a:pt x="2586994" y="748165"/>
                  <a:pt x="2584759" y="749866"/>
                </a:cubicBezTo>
                <a:cubicBezTo>
                  <a:pt x="2582563" y="750312"/>
                  <a:pt x="2580875" y="749976"/>
                  <a:pt x="2579577" y="749282"/>
                </a:cubicBezTo>
                <a:cubicBezTo>
                  <a:pt x="2578280" y="748590"/>
                  <a:pt x="2577374" y="747543"/>
                  <a:pt x="2576717" y="746676"/>
                </a:cubicBezTo>
                <a:cubicBezTo>
                  <a:pt x="2574456" y="745150"/>
                  <a:pt x="2573753" y="743352"/>
                  <a:pt x="2573936" y="741560"/>
                </a:cubicBezTo>
                <a:lnTo>
                  <a:pt x="2574834" y="740421"/>
                </a:lnTo>
                <a:lnTo>
                  <a:pt x="2573221" y="740909"/>
                </a:lnTo>
                <a:cubicBezTo>
                  <a:pt x="2571168" y="740818"/>
                  <a:pt x="2568649" y="740259"/>
                  <a:pt x="2566827" y="739312"/>
                </a:cubicBezTo>
                <a:cubicBezTo>
                  <a:pt x="2564862" y="738900"/>
                  <a:pt x="2563651" y="737885"/>
                  <a:pt x="2562803" y="736623"/>
                </a:cubicBezTo>
                <a:cubicBezTo>
                  <a:pt x="2561955" y="735361"/>
                  <a:pt x="2561774" y="733817"/>
                  <a:pt x="2562119" y="732529"/>
                </a:cubicBezTo>
                <a:cubicBezTo>
                  <a:pt x="2563352" y="731249"/>
                  <a:pt x="2563352" y="731249"/>
                  <a:pt x="2564337" y="729789"/>
                </a:cubicBezTo>
                <a:cubicBezTo>
                  <a:pt x="2567697" y="729425"/>
                  <a:pt x="2570210" y="727797"/>
                  <a:pt x="2574140" y="728621"/>
                </a:cubicBezTo>
                <a:close/>
                <a:moveTo>
                  <a:pt x="990237" y="728340"/>
                </a:moveTo>
                <a:cubicBezTo>
                  <a:pt x="990531" y="729454"/>
                  <a:pt x="992364" y="729256"/>
                  <a:pt x="991102" y="730643"/>
                </a:cubicBezTo>
                <a:cubicBezTo>
                  <a:pt x="996885" y="732307"/>
                  <a:pt x="1006112" y="742139"/>
                  <a:pt x="1006566" y="747091"/>
                </a:cubicBezTo>
                <a:cubicBezTo>
                  <a:pt x="988371" y="740836"/>
                  <a:pt x="993802" y="732746"/>
                  <a:pt x="983488" y="729177"/>
                </a:cubicBezTo>
                <a:cubicBezTo>
                  <a:pt x="986306" y="727517"/>
                  <a:pt x="986278" y="727625"/>
                  <a:pt x="990237" y="728340"/>
                </a:cubicBezTo>
                <a:close/>
                <a:moveTo>
                  <a:pt x="2298826" y="727876"/>
                </a:moveTo>
                <a:cubicBezTo>
                  <a:pt x="2300746" y="727355"/>
                  <a:pt x="2302377" y="727908"/>
                  <a:pt x="2302377" y="727908"/>
                </a:cubicBezTo>
                <a:cubicBezTo>
                  <a:pt x="2306391" y="731743"/>
                  <a:pt x="2308763" y="736174"/>
                  <a:pt x="2302977" y="737843"/>
                </a:cubicBezTo>
                <a:cubicBezTo>
                  <a:pt x="2302032" y="738051"/>
                  <a:pt x="2300781" y="738290"/>
                  <a:pt x="2300170" y="738357"/>
                </a:cubicBezTo>
                <a:cubicBezTo>
                  <a:pt x="2299559" y="738422"/>
                  <a:pt x="2299006" y="738274"/>
                  <a:pt x="2299150" y="737738"/>
                </a:cubicBezTo>
                <a:cubicBezTo>
                  <a:pt x="2297547" y="737079"/>
                  <a:pt x="2298111" y="736080"/>
                  <a:pt x="2296767" y="734454"/>
                </a:cubicBezTo>
                <a:cubicBezTo>
                  <a:pt x="2295740" y="731649"/>
                  <a:pt x="2296908" y="728397"/>
                  <a:pt x="2298826" y="727876"/>
                </a:cubicBezTo>
                <a:close/>
                <a:moveTo>
                  <a:pt x="1809545" y="727660"/>
                </a:moveTo>
                <a:cubicBezTo>
                  <a:pt x="1814931" y="726098"/>
                  <a:pt x="1822143" y="726018"/>
                  <a:pt x="1831346" y="728197"/>
                </a:cubicBezTo>
                <a:cubicBezTo>
                  <a:pt x="1843697" y="745191"/>
                  <a:pt x="1842274" y="763785"/>
                  <a:pt x="1825769" y="766723"/>
                </a:cubicBezTo>
                <a:cubicBezTo>
                  <a:pt x="1823049" y="766914"/>
                  <a:pt x="1820414" y="766784"/>
                  <a:pt x="1817867" y="766331"/>
                </a:cubicBezTo>
                <a:cubicBezTo>
                  <a:pt x="1805405" y="764141"/>
                  <a:pt x="1797675" y="754250"/>
                  <a:pt x="1796931" y="744851"/>
                </a:cubicBezTo>
                <a:lnTo>
                  <a:pt x="1797316" y="742309"/>
                </a:lnTo>
                <a:lnTo>
                  <a:pt x="1795256" y="740032"/>
                </a:lnTo>
                <a:cubicBezTo>
                  <a:pt x="1794685" y="738843"/>
                  <a:pt x="1794420" y="737623"/>
                  <a:pt x="1795185" y="735873"/>
                </a:cubicBezTo>
                <a:lnTo>
                  <a:pt x="1797988" y="738693"/>
                </a:lnTo>
                <a:lnTo>
                  <a:pt x="1798706" y="736012"/>
                </a:lnTo>
                <a:cubicBezTo>
                  <a:pt x="1800601" y="732264"/>
                  <a:pt x="1804159" y="729222"/>
                  <a:pt x="1809545" y="727660"/>
                </a:cubicBezTo>
                <a:close/>
                <a:moveTo>
                  <a:pt x="1003228" y="727451"/>
                </a:moveTo>
                <a:cubicBezTo>
                  <a:pt x="1010419" y="732714"/>
                  <a:pt x="1012852" y="742450"/>
                  <a:pt x="1013145" y="743564"/>
                </a:cubicBezTo>
                <a:cubicBezTo>
                  <a:pt x="1011618" y="743730"/>
                  <a:pt x="1011618" y="743730"/>
                  <a:pt x="1011618" y="743730"/>
                </a:cubicBezTo>
                <a:cubicBezTo>
                  <a:pt x="1011403" y="740107"/>
                  <a:pt x="1005555" y="736471"/>
                  <a:pt x="1002850" y="732180"/>
                </a:cubicBezTo>
                <a:cubicBezTo>
                  <a:pt x="1002031" y="730811"/>
                  <a:pt x="1001546" y="729301"/>
                  <a:pt x="1001672" y="727725"/>
                </a:cubicBezTo>
                <a:cubicBezTo>
                  <a:pt x="1001672" y="727725"/>
                  <a:pt x="1001700" y="727617"/>
                  <a:pt x="1002243" y="728913"/>
                </a:cubicBezTo>
                <a:cubicBezTo>
                  <a:pt x="1002243" y="728913"/>
                  <a:pt x="1001672" y="727725"/>
                  <a:pt x="1003228" y="727451"/>
                </a:cubicBezTo>
                <a:close/>
                <a:moveTo>
                  <a:pt x="2035662" y="727167"/>
                </a:moveTo>
                <a:cubicBezTo>
                  <a:pt x="2044427" y="733196"/>
                  <a:pt x="2046054" y="737083"/>
                  <a:pt x="2044563" y="739328"/>
                </a:cubicBezTo>
                <a:cubicBezTo>
                  <a:pt x="2042232" y="742498"/>
                  <a:pt x="2033384" y="742312"/>
                  <a:pt x="2027717" y="740218"/>
                </a:cubicBezTo>
                <a:cubicBezTo>
                  <a:pt x="2025837" y="739486"/>
                  <a:pt x="2024598" y="738578"/>
                  <a:pt x="2023721" y="737423"/>
                </a:cubicBezTo>
                <a:cubicBezTo>
                  <a:pt x="2021748" y="734825"/>
                  <a:pt x="2024224" y="731117"/>
                  <a:pt x="2035662" y="727167"/>
                </a:cubicBezTo>
                <a:close/>
                <a:moveTo>
                  <a:pt x="4695027" y="727076"/>
                </a:moveTo>
                <a:cubicBezTo>
                  <a:pt x="4696630" y="727737"/>
                  <a:pt x="4698031" y="729147"/>
                  <a:pt x="4699375" y="730772"/>
                </a:cubicBezTo>
                <a:cubicBezTo>
                  <a:pt x="4701729" y="734162"/>
                  <a:pt x="4699523" y="735757"/>
                  <a:pt x="4699523" y="735757"/>
                </a:cubicBezTo>
                <a:cubicBezTo>
                  <a:pt x="4697431" y="736922"/>
                  <a:pt x="4694987" y="737187"/>
                  <a:pt x="4692687" y="736915"/>
                </a:cubicBezTo>
                <a:cubicBezTo>
                  <a:pt x="4690140" y="736462"/>
                  <a:pt x="4688041" y="735440"/>
                  <a:pt x="4685924" y="733378"/>
                </a:cubicBezTo>
                <a:cubicBezTo>
                  <a:pt x="4684897" y="730573"/>
                  <a:pt x="4687103" y="728979"/>
                  <a:pt x="4689616" y="727352"/>
                </a:cubicBezTo>
                <a:cubicBezTo>
                  <a:pt x="4691677" y="726295"/>
                  <a:pt x="4693453" y="726311"/>
                  <a:pt x="4695027" y="727076"/>
                </a:cubicBezTo>
                <a:close/>
                <a:moveTo>
                  <a:pt x="2324054" y="726701"/>
                </a:moveTo>
                <a:cubicBezTo>
                  <a:pt x="2325656" y="727360"/>
                  <a:pt x="2325972" y="726180"/>
                  <a:pt x="2327575" y="726839"/>
                </a:cubicBezTo>
                <a:cubicBezTo>
                  <a:pt x="2327575" y="726839"/>
                  <a:pt x="2329379" y="726747"/>
                  <a:pt x="2331841" y="727522"/>
                </a:cubicBezTo>
                <a:cubicBezTo>
                  <a:pt x="2334331" y="728189"/>
                  <a:pt x="2337203" y="729649"/>
                  <a:pt x="2340005" y="732470"/>
                </a:cubicBezTo>
                <a:cubicBezTo>
                  <a:pt x="2341044" y="734128"/>
                  <a:pt x="2343387" y="738666"/>
                  <a:pt x="2341755" y="738114"/>
                </a:cubicBezTo>
                <a:cubicBezTo>
                  <a:pt x="2339837" y="738635"/>
                  <a:pt x="2341468" y="739187"/>
                  <a:pt x="2340875" y="740293"/>
                </a:cubicBezTo>
                <a:cubicBezTo>
                  <a:pt x="2337982" y="741128"/>
                  <a:pt x="2335232" y="741426"/>
                  <a:pt x="2332962" y="741048"/>
                </a:cubicBezTo>
                <a:cubicBezTo>
                  <a:pt x="2330414" y="740595"/>
                  <a:pt x="2328038" y="739499"/>
                  <a:pt x="2325922" y="737437"/>
                </a:cubicBezTo>
                <a:cubicBezTo>
                  <a:pt x="2323539" y="734153"/>
                  <a:pt x="2319870" y="729030"/>
                  <a:pt x="2324054" y="726701"/>
                </a:cubicBezTo>
                <a:close/>
                <a:moveTo>
                  <a:pt x="1412746" y="725400"/>
                </a:moveTo>
                <a:cubicBezTo>
                  <a:pt x="1414806" y="727677"/>
                  <a:pt x="1410803" y="731550"/>
                  <a:pt x="1409864" y="733942"/>
                </a:cubicBezTo>
                <a:cubicBezTo>
                  <a:pt x="1408043" y="732995"/>
                  <a:pt x="1406001" y="731757"/>
                  <a:pt x="1406267" y="732980"/>
                </a:cubicBezTo>
                <a:cubicBezTo>
                  <a:pt x="1404198" y="731850"/>
                  <a:pt x="1403292" y="730802"/>
                  <a:pt x="1402720" y="729614"/>
                </a:cubicBezTo>
                <a:cubicBezTo>
                  <a:pt x="1402149" y="728426"/>
                  <a:pt x="1402160" y="727278"/>
                  <a:pt x="1402782" y="726065"/>
                </a:cubicBezTo>
                <a:cubicBezTo>
                  <a:pt x="1404015" y="724786"/>
                  <a:pt x="1407346" y="724528"/>
                  <a:pt x="1412746" y="725400"/>
                </a:cubicBezTo>
                <a:close/>
                <a:moveTo>
                  <a:pt x="5340223" y="725385"/>
                </a:moveTo>
                <a:cubicBezTo>
                  <a:pt x="5341970" y="725507"/>
                  <a:pt x="5343763" y="726562"/>
                  <a:pt x="5345528" y="727725"/>
                </a:cubicBezTo>
                <a:cubicBezTo>
                  <a:pt x="5349333" y="730125"/>
                  <a:pt x="5347841" y="732370"/>
                  <a:pt x="5347841" y="732370"/>
                </a:cubicBezTo>
                <a:cubicBezTo>
                  <a:pt x="5344841" y="735821"/>
                  <a:pt x="5339810" y="736889"/>
                  <a:pt x="5334505" y="734547"/>
                </a:cubicBezTo>
                <a:cubicBezTo>
                  <a:pt x="5332504" y="732056"/>
                  <a:pt x="5333995" y="729810"/>
                  <a:pt x="5335487" y="727565"/>
                </a:cubicBezTo>
                <a:cubicBezTo>
                  <a:pt x="5336863" y="725748"/>
                  <a:pt x="5338506" y="725153"/>
                  <a:pt x="5340223" y="725385"/>
                </a:cubicBezTo>
                <a:close/>
                <a:moveTo>
                  <a:pt x="1974515" y="725159"/>
                </a:moveTo>
                <a:cubicBezTo>
                  <a:pt x="1979880" y="723951"/>
                  <a:pt x="1987113" y="724624"/>
                  <a:pt x="1991663" y="727568"/>
                </a:cubicBezTo>
                <a:cubicBezTo>
                  <a:pt x="1987149" y="735559"/>
                  <a:pt x="1981867" y="739779"/>
                  <a:pt x="1968405" y="734676"/>
                </a:cubicBezTo>
                <a:cubicBezTo>
                  <a:pt x="1965872" y="729743"/>
                  <a:pt x="1969398" y="726547"/>
                  <a:pt x="1974515" y="725159"/>
                </a:cubicBezTo>
                <a:close/>
                <a:moveTo>
                  <a:pt x="2518103" y="723035"/>
                </a:moveTo>
                <a:cubicBezTo>
                  <a:pt x="2518103" y="723035"/>
                  <a:pt x="2518103" y="723035"/>
                  <a:pt x="2528049" y="730185"/>
                </a:cubicBezTo>
                <a:cubicBezTo>
                  <a:pt x="2527047" y="730607"/>
                  <a:pt x="2526217" y="730385"/>
                  <a:pt x="2525472" y="729840"/>
                </a:cubicBezTo>
                <a:cubicBezTo>
                  <a:pt x="2524700" y="729403"/>
                  <a:pt x="2523737" y="728570"/>
                  <a:pt x="2523051" y="727812"/>
                </a:cubicBezTo>
                <a:cubicBezTo>
                  <a:pt x="2521401" y="726219"/>
                  <a:pt x="2519752" y="724627"/>
                  <a:pt x="2518103" y="723035"/>
                </a:cubicBezTo>
                <a:close/>
                <a:moveTo>
                  <a:pt x="1666629" y="722012"/>
                </a:moveTo>
                <a:cubicBezTo>
                  <a:pt x="1666042" y="725305"/>
                  <a:pt x="1665141" y="729778"/>
                  <a:pt x="1663182" y="731554"/>
                </a:cubicBezTo>
                <a:cubicBezTo>
                  <a:pt x="1662126" y="728855"/>
                  <a:pt x="1661368" y="723937"/>
                  <a:pt x="1664986" y="722607"/>
                </a:cubicBezTo>
                <a:cubicBezTo>
                  <a:pt x="1664986" y="722607"/>
                  <a:pt x="1664986" y="722607"/>
                  <a:pt x="1666629" y="722012"/>
                </a:cubicBezTo>
                <a:close/>
                <a:moveTo>
                  <a:pt x="1468232" y="721982"/>
                </a:moveTo>
                <a:cubicBezTo>
                  <a:pt x="1475271" y="725594"/>
                  <a:pt x="1477007" y="726864"/>
                  <a:pt x="1474262" y="732683"/>
                </a:cubicBezTo>
                <a:cubicBezTo>
                  <a:pt x="1474262" y="732683"/>
                  <a:pt x="1472781" y="733781"/>
                  <a:pt x="1472781" y="733781"/>
                </a:cubicBezTo>
                <a:cubicBezTo>
                  <a:pt x="1468270" y="738437"/>
                  <a:pt x="1458237" y="740465"/>
                  <a:pt x="1455004" y="739253"/>
                </a:cubicBezTo>
                <a:cubicBezTo>
                  <a:pt x="1452962" y="738016"/>
                  <a:pt x="1451647" y="736284"/>
                  <a:pt x="1451248" y="734452"/>
                </a:cubicBezTo>
                <a:cubicBezTo>
                  <a:pt x="1450878" y="732512"/>
                  <a:pt x="1451453" y="730367"/>
                  <a:pt x="1453688" y="728665"/>
                </a:cubicBezTo>
                <a:cubicBezTo>
                  <a:pt x="1456689" y="725214"/>
                  <a:pt x="1463457" y="725418"/>
                  <a:pt x="1468232" y="721982"/>
                </a:cubicBezTo>
                <a:close/>
                <a:moveTo>
                  <a:pt x="2242628" y="721917"/>
                </a:moveTo>
                <a:cubicBezTo>
                  <a:pt x="2247899" y="722310"/>
                  <a:pt x="2253470" y="725038"/>
                  <a:pt x="2255635" y="730794"/>
                </a:cubicBezTo>
                <a:cubicBezTo>
                  <a:pt x="2253321" y="735003"/>
                  <a:pt x="2241149" y="737262"/>
                  <a:pt x="2235778" y="736283"/>
                </a:cubicBezTo>
                <a:cubicBezTo>
                  <a:pt x="2232011" y="732628"/>
                  <a:pt x="2230793" y="729427"/>
                  <a:pt x="2231425" y="727066"/>
                </a:cubicBezTo>
                <a:cubicBezTo>
                  <a:pt x="2232388" y="723472"/>
                  <a:pt x="2237358" y="721526"/>
                  <a:pt x="2242628" y="721917"/>
                </a:cubicBezTo>
                <a:close/>
                <a:moveTo>
                  <a:pt x="3175610" y="721881"/>
                </a:moveTo>
                <a:lnTo>
                  <a:pt x="3175035" y="724026"/>
                </a:lnTo>
                <a:cubicBezTo>
                  <a:pt x="3171779" y="725110"/>
                  <a:pt x="3166034" y="725526"/>
                  <a:pt x="3162778" y="726608"/>
                </a:cubicBezTo>
                <a:cubicBezTo>
                  <a:pt x="3160010" y="725866"/>
                  <a:pt x="3159522" y="727690"/>
                  <a:pt x="3156755" y="726949"/>
                </a:cubicBezTo>
                <a:cubicBezTo>
                  <a:pt x="3149265" y="732762"/>
                  <a:pt x="3138014" y="731587"/>
                  <a:pt x="3129500" y="731262"/>
                </a:cubicBezTo>
                <a:cubicBezTo>
                  <a:pt x="3117732" y="732018"/>
                  <a:pt x="3108424" y="733550"/>
                  <a:pt x="3108777" y="743303"/>
                </a:cubicBezTo>
                <a:cubicBezTo>
                  <a:pt x="3118055" y="741880"/>
                  <a:pt x="3129824" y="741123"/>
                  <a:pt x="3138826" y="739626"/>
                </a:cubicBezTo>
                <a:cubicBezTo>
                  <a:pt x="3138826" y="739626"/>
                  <a:pt x="3138826" y="739626"/>
                  <a:pt x="3136059" y="738884"/>
                </a:cubicBezTo>
                <a:cubicBezTo>
                  <a:pt x="3136059" y="738884"/>
                  <a:pt x="3136059" y="738884"/>
                  <a:pt x="3148317" y="736304"/>
                </a:cubicBezTo>
                <a:cubicBezTo>
                  <a:pt x="3148317" y="736304"/>
                  <a:pt x="3148594" y="736378"/>
                  <a:pt x="3151084" y="737045"/>
                </a:cubicBezTo>
                <a:lnTo>
                  <a:pt x="3179322" y="731271"/>
                </a:lnTo>
                <a:lnTo>
                  <a:pt x="3175585" y="727509"/>
                </a:lnTo>
                <a:close/>
                <a:moveTo>
                  <a:pt x="2945503" y="721764"/>
                </a:moveTo>
                <a:cubicBezTo>
                  <a:pt x="2952063" y="723019"/>
                  <a:pt x="2958483" y="725343"/>
                  <a:pt x="2961030" y="725796"/>
                </a:cubicBezTo>
                <a:cubicBezTo>
                  <a:pt x="2961030" y="725796"/>
                  <a:pt x="2962835" y="725704"/>
                  <a:pt x="2964905" y="726834"/>
                </a:cubicBezTo>
                <a:cubicBezTo>
                  <a:pt x="2968502" y="727798"/>
                  <a:pt x="2963690" y="729154"/>
                  <a:pt x="2965760" y="730283"/>
                </a:cubicBezTo>
                <a:cubicBezTo>
                  <a:pt x="2951961" y="728655"/>
                  <a:pt x="2941335" y="731788"/>
                  <a:pt x="2941335" y="731788"/>
                </a:cubicBezTo>
                <a:cubicBezTo>
                  <a:pt x="2937737" y="730824"/>
                  <a:pt x="2937166" y="729637"/>
                  <a:pt x="2937461" y="730750"/>
                </a:cubicBezTo>
                <a:cubicBezTo>
                  <a:pt x="2933598" y="728566"/>
                  <a:pt x="2928208" y="726546"/>
                  <a:pt x="2929145" y="724153"/>
                </a:cubicBezTo>
                <a:cubicBezTo>
                  <a:pt x="2932247" y="720325"/>
                  <a:pt x="2938944" y="720510"/>
                  <a:pt x="2945503" y="721764"/>
                </a:cubicBezTo>
                <a:close/>
                <a:moveTo>
                  <a:pt x="1618230" y="721119"/>
                </a:moveTo>
                <a:cubicBezTo>
                  <a:pt x="1619481" y="720879"/>
                  <a:pt x="1620369" y="720886"/>
                  <a:pt x="1621360" y="721613"/>
                </a:cubicBezTo>
                <a:cubicBezTo>
                  <a:pt x="1618371" y="723916"/>
                  <a:pt x="1615358" y="728513"/>
                  <a:pt x="1608604" y="727164"/>
                </a:cubicBezTo>
                <a:cubicBezTo>
                  <a:pt x="1610838" y="725462"/>
                  <a:pt x="1614784" y="721805"/>
                  <a:pt x="1618230" y="721119"/>
                </a:cubicBezTo>
                <a:close/>
                <a:moveTo>
                  <a:pt x="4833465" y="719550"/>
                </a:moveTo>
                <a:cubicBezTo>
                  <a:pt x="4834666" y="730567"/>
                  <a:pt x="4835438" y="748715"/>
                  <a:pt x="4827766" y="756319"/>
                </a:cubicBezTo>
                <a:cubicBezTo>
                  <a:pt x="4810176" y="747810"/>
                  <a:pt x="4825348" y="724390"/>
                  <a:pt x="4833465" y="719550"/>
                </a:cubicBezTo>
                <a:close/>
                <a:moveTo>
                  <a:pt x="2200855" y="718300"/>
                </a:moveTo>
                <a:cubicBezTo>
                  <a:pt x="2210920" y="712832"/>
                  <a:pt x="2225712" y="724040"/>
                  <a:pt x="2224368" y="731271"/>
                </a:cubicBezTo>
                <a:cubicBezTo>
                  <a:pt x="2220548" y="733352"/>
                  <a:pt x="2215613" y="732950"/>
                  <a:pt x="2211273" y="731442"/>
                </a:cubicBezTo>
                <a:cubicBezTo>
                  <a:pt x="2206655" y="729859"/>
                  <a:pt x="2202907" y="727245"/>
                  <a:pt x="2201049" y="724217"/>
                </a:cubicBezTo>
                <a:cubicBezTo>
                  <a:pt x="2199791" y="722270"/>
                  <a:pt x="2199479" y="720117"/>
                  <a:pt x="2200855" y="718300"/>
                </a:cubicBezTo>
                <a:close/>
                <a:moveTo>
                  <a:pt x="1706589" y="718286"/>
                </a:moveTo>
                <a:cubicBezTo>
                  <a:pt x="1712246" y="720003"/>
                  <a:pt x="1718186" y="723291"/>
                  <a:pt x="1723421" y="726994"/>
                </a:cubicBezTo>
                <a:lnTo>
                  <a:pt x="1732204" y="734062"/>
                </a:lnTo>
                <a:lnTo>
                  <a:pt x="1734231" y="730926"/>
                </a:lnTo>
                <a:cubicBezTo>
                  <a:pt x="1749381" y="727510"/>
                  <a:pt x="1756561" y="733918"/>
                  <a:pt x="1758509" y="733290"/>
                </a:cubicBezTo>
                <a:cubicBezTo>
                  <a:pt x="1762177" y="738414"/>
                  <a:pt x="1758312" y="739563"/>
                  <a:pt x="1753841" y="742966"/>
                </a:cubicBezTo>
                <a:cubicBezTo>
                  <a:pt x="1753183" y="742099"/>
                  <a:pt x="1751408" y="742083"/>
                  <a:pt x="1749545" y="742389"/>
                </a:cubicBezTo>
                <a:lnTo>
                  <a:pt x="1747016" y="742977"/>
                </a:lnTo>
                <a:lnTo>
                  <a:pt x="1747623" y="746244"/>
                </a:lnTo>
                <a:cubicBezTo>
                  <a:pt x="1748356" y="747936"/>
                  <a:pt x="1749672" y="749668"/>
                  <a:pt x="1752007" y="752019"/>
                </a:cubicBezTo>
                <a:cubicBezTo>
                  <a:pt x="1748266" y="751592"/>
                  <a:pt x="1744860" y="751024"/>
                  <a:pt x="1741569" y="750027"/>
                </a:cubicBezTo>
                <a:cubicBezTo>
                  <a:pt x="1738248" y="749137"/>
                  <a:pt x="1735348" y="747785"/>
                  <a:pt x="1732315" y="745823"/>
                </a:cubicBezTo>
                <a:lnTo>
                  <a:pt x="1737943" y="740316"/>
                </a:lnTo>
                <a:lnTo>
                  <a:pt x="1734184" y="738848"/>
                </a:lnTo>
                <a:cubicBezTo>
                  <a:pt x="1732857" y="738262"/>
                  <a:pt x="1731646" y="737247"/>
                  <a:pt x="1730798" y="735986"/>
                </a:cubicBezTo>
                <a:lnTo>
                  <a:pt x="1731813" y="734417"/>
                </a:lnTo>
                <a:lnTo>
                  <a:pt x="1720769" y="734679"/>
                </a:lnTo>
                <a:cubicBezTo>
                  <a:pt x="1718221" y="734226"/>
                  <a:pt x="1715456" y="733485"/>
                  <a:pt x="1713051" y="732495"/>
                </a:cubicBezTo>
                <a:cubicBezTo>
                  <a:pt x="1705256" y="729487"/>
                  <a:pt x="1698371" y="724191"/>
                  <a:pt x="1691457" y="719004"/>
                </a:cubicBezTo>
                <a:cubicBezTo>
                  <a:pt x="1695559" y="716423"/>
                  <a:pt x="1700932" y="716569"/>
                  <a:pt x="1706589" y="718286"/>
                </a:cubicBezTo>
                <a:close/>
                <a:moveTo>
                  <a:pt x="4468924" y="717554"/>
                </a:moveTo>
                <a:cubicBezTo>
                  <a:pt x="4468912" y="718701"/>
                  <a:pt x="4470659" y="718823"/>
                  <a:pt x="4470925" y="720045"/>
                </a:cubicBezTo>
                <a:cubicBezTo>
                  <a:pt x="4472927" y="722536"/>
                  <a:pt x="4472927" y="722536"/>
                  <a:pt x="4471141" y="723667"/>
                </a:cubicBezTo>
                <a:cubicBezTo>
                  <a:pt x="4469631" y="724874"/>
                  <a:pt x="4464346" y="723572"/>
                  <a:pt x="4462837" y="724778"/>
                </a:cubicBezTo>
                <a:cubicBezTo>
                  <a:pt x="4462837" y="724778"/>
                  <a:pt x="4462865" y="724670"/>
                  <a:pt x="4460834" y="722287"/>
                </a:cubicBezTo>
                <a:cubicBezTo>
                  <a:pt x="4460597" y="720957"/>
                  <a:pt x="4460608" y="719811"/>
                  <a:pt x="4462118" y="718605"/>
                </a:cubicBezTo>
                <a:cubicBezTo>
                  <a:pt x="4463627" y="717399"/>
                  <a:pt x="4467148" y="717538"/>
                  <a:pt x="4468924" y="717554"/>
                </a:cubicBezTo>
                <a:close/>
                <a:moveTo>
                  <a:pt x="2856836" y="717312"/>
                </a:moveTo>
                <a:cubicBezTo>
                  <a:pt x="2857102" y="718533"/>
                  <a:pt x="2858906" y="718442"/>
                  <a:pt x="2860433" y="718276"/>
                </a:cubicBezTo>
                <a:cubicBezTo>
                  <a:pt x="2864572" y="720536"/>
                  <a:pt x="2868701" y="723942"/>
                  <a:pt x="2867735" y="726443"/>
                </a:cubicBezTo>
                <a:cubicBezTo>
                  <a:pt x="2866502" y="727722"/>
                  <a:pt x="2864917" y="728103"/>
                  <a:pt x="2863448" y="728054"/>
                </a:cubicBezTo>
                <a:lnTo>
                  <a:pt x="2860986" y="727279"/>
                </a:lnTo>
                <a:lnTo>
                  <a:pt x="2859477" y="728485"/>
                </a:lnTo>
                <a:lnTo>
                  <a:pt x="2860364" y="728493"/>
                </a:lnTo>
                <a:cubicBezTo>
                  <a:pt x="2877703" y="731298"/>
                  <a:pt x="2879989" y="744906"/>
                  <a:pt x="2880491" y="756311"/>
                </a:cubicBezTo>
                <a:cubicBezTo>
                  <a:pt x="2874314" y="758336"/>
                  <a:pt x="2868873" y="758718"/>
                  <a:pt x="2864608" y="758035"/>
                </a:cubicBezTo>
                <a:cubicBezTo>
                  <a:pt x="2854359" y="756439"/>
                  <a:pt x="2848135" y="748676"/>
                  <a:pt x="2842619" y="739378"/>
                </a:cubicBezTo>
                <a:lnTo>
                  <a:pt x="2839267" y="733075"/>
                </a:lnTo>
                <a:lnTo>
                  <a:pt x="2833007" y="732088"/>
                </a:lnTo>
                <a:cubicBezTo>
                  <a:pt x="2834567" y="728481"/>
                  <a:pt x="2843237" y="723789"/>
                  <a:pt x="2852276" y="724370"/>
                </a:cubicBezTo>
                <a:lnTo>
                  <a:pt x="2858087" y="725927"/>
                </a:lnTo>
                <a:lnTo>
                  <a:pt x="2854338" y="723313"/>
                </a:lnTo>
                <a:cubicBezTo>
                  <a:pt x="2853357" y="721440"/>
                  <a:pt x="2853016" y="719393"/>
                  <a:pt x="2853505" y="717569"/>
                </a:cubicBezTo>
                <a:cubicBezTo>
                  <a:pt x="2853771" y="718791"/>
                  <a:pt x="2853799" y="718684"/>
                  <a:pt x="2853799" y="718684"/>
                </a:cubicBezTo>
                <a:cubicBezTo>
                  <a:pt x="2855869" y="719813"/>
                  <a:pt x="2855574" y="718699"/>
                  <a:pt x="2857102" y="718533"/>
                </a:cubicBezTo>
                <a:cubicBezTo>
                  <a:pt x="2857102" y="718533"/>
                  <a:pt x="2855574" y="718699"/>
                  <a:pt x="2856836" y="717312"/>
                </a:cubicBezTo>
                <a:close/>
                <a:moveTo>
                  <a:pt x="4140705" y="717239"/>
                </a:moveTo>
                <a:cubicBezTo>
                  <a:pt x="4151163" y="720271"/>
                  <a:pt x="4158141" y="718576"/>
                  <a:pt x="4166166" y="720726"/>
                </a:cubicBezTo>
                <a:cubicBezTo>
                  <a:pt x="4162335" y="723955"/>
                  <a:pt x="4155496" y="728447"/>
                  <a:pt x="4147443" y="726404"/>
                </a:cubicBezTo>
                <a:cubicBezTo>
                  <a:pt x="4144676" y="725663"/>
                  <a:pt x="4141776" y="724311"/>
                  <a:pt x="4138887" y="721811"/>
                </a:cubicBezTo>
                <a:cubicBezTo>
                  <a:pt x="4139595" y="720276"/>
                  <a:pt x="4140027" y="718667"/>
                  <a:pt x="4140705" y="717239"/>
                </a:cubicBezTo>
                <a:close/>
                <a:moveTo>
                  <a:pt x="2188803" y="716796"/>
                </a:moveTo>
                <a:cubicBezTo>
                  <a:pt x="2189091" y="715722"/>
                  <a:pt x="2195846" y="717073"/>
                  <a:pt x="2197162" y="718805"/>
                </a:cubicBezTo>
                <a:cubicBezTo>
                  <a:pt x="2201118" y="722855"/>
                  <a:pt x="2196745" y="724788"/>
                  <a:pt x="2193381" y="728488"/>
                </a:cubicBezTo>
                <a:cubicBezTo>
                  <a:pt x="2192343" y="726829"/>
                  <a:pt x="2190146" y="727276"/>
                  <a:pt x="2188257" y="727689"/>
                </a:cubicBezTo>
                <a:cubicBezTo>
                  <a:pt x="2186560" y="725165"/>
                  <a:pt x="2183127" y="721370"/>
                  <a:pt x="2184982" y="718876"/>
                </a:cubicBezTo>
                <a:cubicBezTo>
                  <a:pt x="2185518" y="717986"/>
                  <a:pt x="2186884" y="717316"/>
                  <a:pt x="2188803" y="716796"/>
                </a:cubicBezTo>
                <a:close/>
                <a:moveTo>
                  <a:pt x="2277079" y="716068"/>
                </a:moveTo>
                <a:cubicBezTo>
                  <a:pt x="2278872" y="717124"/>
                  <a:pt x="2278901" y="717017"/>
                  <a:pt x="2279756" y="720466"/>
                </a:cubicBezTo>
                <a:cubicBezTo>
                  <a:pt x="2277962" y="719411"/>
                  <a:pt x="2277962" y="719411"/>
                  <a:pt x="2276730" y="720690"/>
                </a:cubicBezTo>
                <a:cubicBezTo>
                  <a:pt x="2276730" y="720690"/>
                  <a:pt x="2276730" y="720690"/>
                  <a:pt x="2277025" y="721804"/>
                </a:cubicBezTo>
                <a:cubicBezTo>
                  <a:pt x="2275498" y="721970"/>
                  <a:pt x="2275202" y="720856"/>
                  <a:pt x="2273427" y="720841"/>
                </a:cubicBezTo>
                <a:cubicBezTo>
                  <a:pt x="2273427" y="720841"/>
                  <a:pt x="2273410" y="719801"/>
                  <a:pt x="2273410" y="719801"/>
                </a:cubicBezTo>
                <a:cubicBezTo>
                  <a:pt x="2272522" y="719793"/>
                  <a:pt x="2272522" y="719793"/>
                  <a:pt x="2272913" y="719438"/>
                </a:cubicBezTo>
                <a:cubicBezTo>
                  <a:pt x="2273276" y="719190"/>
                  <a:pt x="2273755" y="718514"/>
                  <a:pt x="2274348" y="717407"/>
                </a:cubicBezTo>
                <a:cubicBezTo>
                  <a:pt x="2275580" y="716127"/>
                  <a:pt x="2275009" y="714939"/>
                  <a:pt x="2277079" y="716068"/>
                </a:cubicBezTo>
                <a:close/>
                <a:moveTo>
                  <a:pt x="2071401" y="714433"/>
                </a:moveTo>
                <a:cubicBezTo>
                  <a:pt x="2083896" y="722036"/>
                  <a:pt x="2090507" y="723923"/>
                  <a:pt x="2099435" y="730455"/>
                </a:cubicBezTo>
                <a:cubicBezTo>
                  <a:pt x="2099147" y="731528"/>
                  <a:pt x="2097487" y="731083"/>
                  <a:pt x="2097447" y="732337"/>
                </a:cubicBezTo>
                <a:cubicBezTo>
                  <a:pt x="2096474" y="732652"/>
                  <a:pt x="2094784" y="732314"/>
                  <a:pt x="2092876" y="731688"/>
                </a:cubicBezTo>
                <a:cubicBezTo>
                  <a:pt x="2086846" y="729842"/>
                  <a:pt x="2078099" y="724853"/>
                  <a:pt x="2078052" y="723921"/>
                </a:cubicBezTo>
                <a:cubicBezTo>
                  <a:pt x="2076392" y="723476"/>
                  <a:pt x="2076985" y="722370"/>
                  <a:pt x="2075353" y="721818"/>
                </a:cubicBezTo>
                <a:cubicBezTo>
                  <a:pt x="2075353" y="721818"/>
                  <a:pt x="2073694" y="721373"/>
                  <a:pt x="2072073" y="719673"/>
                </a:cubicBezTo>
                <a:cubicBezTo>
                  <a:pt x="2070758" y="717941"/>
                  <a:pt x="2069384" y="716423"/>
                  <a:pt x="2071401" y="714433"/>
                </a:cubicBezTo>
                <a:close/>
                <a:moveTo>
                  <a:pt x="3305478" y="714244"/>
                </a:moveTo>
                <a:lnTo>
                  <a:pt x="3293554" y="716684"/>
                </a:lnTo>
                <a:lnTo>
                  <a:pt x="3296128" y="720364"/>
                </a:lnTo>
                <a:lnTo>
                  <a:pt x="3298600" y="728846"/>
                </a:lnTo>
                <a:lnTo>
                  <a:pt x="3311336" y="725588"/>
                </a:lnTo>
                <a:cubicBezTo>
                  <a:pt x="3307268" y="718633"/>
                  <a:pt x="3319526" y="716053"/>
                  <a:pt x="3305478" y="714244"/>
                </a:cubicBezTo>
                <a:close/>
                <a:moveTo>
                  <a:pt x="3177328" y="713257"/>
                </a:moveTo>
                <a:lnTo>
                  <a:pt x="3175657" y="713959"/>
                </a:lnTo>
                <a:lnTo>
                  <a:pt x="3165577" y="715053"/>
                </a:lnTo>
                <a:lnTo>
                  <a:pt x="3164373" y="716225"/>
                </a:lnTo>
                <a:cubicBezTo>
                  <a:pt x="3161279" y="717811"/>
                  <a:pt x="3157222" y="718564"/>
                  <a:pt x="3153032" y="718706"/>
                </a:cubicBezTo>
                <a:lnTo>
                  <a:pt x="3148986" y="718313"/>
                </a:lnTo>
                <a:lnTo>
                  <a:pt x="3143685" y="721492"/>
                </a:lnTo>
                <a:cubicBezTo>
                  <a:pt x="3143685" y="721492"/>
                  <a:pt x="3143685" y="721492"/>
                  <a:pt x="3152198" y="721819"/>
                </a:cubicBezTo>
                <a:cubicBezTo>
                  <a:pt x="3152198" y="721819"/>
                  <a:pt x="3152198" y="721819"/>
                  <a:pt x="3151709" y="723642"/>
                </a:cubicBezTo>
                <a:cubicBezTo>
                  <a:pt x="3154965" y="722560"/>
                  <a:pt x="3157733" y="723301"/>
                  <a:pt x="3158221" y="721477"/>
                </a:cubicBezTo>
                <a:cubicBezTo>
                  <a:pt x="3164244" y="721135"/>
                  <a:pt x="3167471" y="720161"/>
                  <a:pt x="3170450" y="719004"/>
                </a:cubicBezTo>
                <a:cubicBezTo>
                  <a:pt x="3170450" y="719004"/>
                  <a:pt x="3171424" y="718690"/>
                  <a:pt x="3172311" y="718698"/>
                </a:cubicBezTo>
                <a:lnTo>
                  <a:pt x="3175459" y="720231"/>
                </a:lnTo>
                <a:lnTo>
                  <a:pt x="3175445" y="715857"/>
                </a:lnTo>
                <a:close/>
                <a:moveTo>
                  <a:pt x="1473252" y="713207"/>
                </a:moveTo>
                <a:cubicBezTo>
                  <a:pt x="1479972" y="712477"/>
                  <a:pt x="1488581" y="720189"/>
                  <a:pt x="1487040" y="724837"/>
                </a:cubicBezTo>
                <a:cubicBezTo>
                  <a:pt x="1481815" y="719987"/>
                  <a:pt x="1475803" y="719181"/>
                  <a:pt x="1473554" y="716508"/>
                </a:cubicBezTo>
                <a:cubicBezTo>
                  <a:pt x="1472896" y="715642"/>
                  <a:pt x="1472849" y="714709"/>
                  <a:pt x="1473252" y="713207"/>
                </a:cubicBezTo>
                <a:close/>
                <a:moveTo>
                  <a:pt x="1262151" y="712994"/>
                </a:moveTo>
                <a:cubicBezTo>
                  <a:pt x="1264307" y="713801"/>
                  <a:pt x="1262474" y="714001"/>
                  <a:pt x="1263047" y="715188"/>
                </a:cubicBezTo>
                <a:cubicBezTo>
                  <a:pt x="1261968" y="714784"/>
                  <a:pt x="1261443" y="714529"/>
                  <a:pt x="1261224" y="714240"/>
                </a:cubicBezTo>
                <a:cubicBezTo>
                  <a:pt x="1261005" y="713952"/>
                  <a:pt x="1261396" y="713596"/>
                  <a:pt x="1262151" y="712994"/>
                </a:cubicBezTo>
                <a:close/>
                <a:moveTo>
                  <a:pt x="1219355" y="712222"/>
                </a:moveTo>
                <a:cubicBezTo>
                  <a:pt x="1225109" y="713993"/>
                  <a:pt x="1226795" y="717665"/>
                  <a:pt x="1226704" y="721321"/>
                </a:cubicBezTo>
                <a:cubicBezTo>
                  <a:pt x="1229098" y="723457"/>
                  <a:pt x="1232752" y="724207"/>
                  <a:pt x="1232062" y="726782"/>
                </a:cubicBezTo>
                <a:cubicBezTo>
                  <a:pt x="1227542" y="723730"/>
                  <a:pt x="1225443" y="722708"/>
                  <a:pt x="1222772" y="720497"/>
                </a:cubicBezTo>
                <a:cubicBezTo>
                  <a:pt x="1221218" y="720770"/>
                  <a:pt x="1219661" y="721044"/>
                  <a:pt x="1217562" y="720022"/>
                </a:cubicBezTo>
                <a:cubicBezTo>
                  <a:pt x="1213336" y="718084"/>
                  <a:pt x="1214026" y="715509"/>
                  <a:pt x="1211633" y="713373"/>
                </a:cubicBezTo>
                <a:cubicBezTo>
                  <a:pt x="1212617" y="711911"/>
                  <a:pt x="1215406" y="710359"/>
                  <a:pt x="1219355" y="712222"/>
                </a:cubicBezTo>
                <a:close/>
                <a:moveTo>
                  <a:pt x="4506021" y="712198"/>
                </a:moveTo>
                <a:cubicBezTo>
                  <a:pt x="4509443" y="711879"/>
                  <a:pt x="4513903" y="711838"/>
                  <a:pt x="4518616" y="713618"/>
                </a:cubicBezTo>
                <a:cubicBezTo>
                  <a:pt x="4521573" y="714756"/>
                  <a:pt x="4524883" y="716792"/>
                  <a:pt x="4527876" y="720010"/>
                </a:cubicBezTo>
                <a:cubicBezTo>
                  <a:pt x="4534521" y="727310"/>
                  <a:pt x="4538929" y="736312"/>
                  <a:pt x="4524876" y="741171"/>
                </a:cubicBezTo>
                <a:cubicBezTo>
                  <a:pt x="4522640" y="742872"/>
                  <a:pt x="4522956" y="741692"/>
                  <a:pt x="4521037" y="742212"/>
                </a:cubicBezTo>
                <a:cubicBezTo>
                  <a:pt x="4519089" y="742840"/>
                  <a:pt x="4516606" y="744361"/>
                  <a:pt x="4516290" y="745541"/>
                </a:cubicBezTo>
                <a:cubicBezTo>
                  <a:pt x="4510990" y="739865"/>
                  <a:pt x="4506559" y="742013"/>
                  <a:pt x="4498599" y="732980"/>
                </a:cubicBezTo>
                <a:cubicBezTo>
                  <a:pt x="4487970" y="721737"/>
                  <a:pt x="4493580" y="715190"/>
                  <a:pt x="4499652" y="712447"/>
                </a:cubicBezTo>
                <a:cubicBezTo>
                  <a:pt x="4500215" y="713115"/>
                  <a:pt x="4502598" y="712518"/>
                  <a:pt x="4506021" y="712198"/>
                </a:cubicBezTo>
                <a:close/>
                <a:moveTo>
                  <a:pt x="3641250" y="710717"/>
                </a:moveTo>
                <a:cubicBezTo>
                  <a:pt x="3644506" y="709635"/>
                  <a:pt x="3661561" y="710179"/>
                  <a:pt x="3662834" y="716500"/>
                </a:cubicBezTo>
                <a:cubicBezTo>
                  <a:pt x="3659808" y="716724"/>
                  <a:pt x="3655398" y="716578"/>
                  <a:pt x="3651466" y="715755"/>
                </a:cubicBezTo>
                <a:cubicBezTo>
                  <a:pt x="3647258" y="714857"/>
                  <a:pt x="3643500" y="713390"/>
                  <a:pt x="3641250" y="710717"/>
                </a:cubicBezTo>
                <a:close/>
                <a:moveTo>
                  <a:pt x="5009148" y="710274"/>
                </a:moveTo>
                <a:cubicBezTo>
                  <a:pt x="5010981" y="710075"/>
                  <a:pt x="5013062" y="710057"/>
                  <a:pt x="5015303" y="710544"/>
                </a:cubicBezTo>
                <a:cubicBezTo>
                  <a:pt x="5014071" y="720678"/>
                  <a:pt x="5017690" y="728203"/>
                  <a:pt x="5019321" y="737610"/>
                </a:cubicBezTo>
                <a:cubicBezTo>
                  <a:pt x="5017765" y="737884"/>
                  <a:pt x="5016266" y="737942"/>
                  <a:pt x="5014272" y="737638"/>
                </a:cubicBezTo>
                <a:cubicBezTo>
                  <a:pt x="5012001" y="737258"/>
                  <a:pt x="5009539" y="736485"/>
                  <a:pt x="5006306" y="735272"/>
                </a:cubicBezTo>
                <a:cubicBezTo>
                  <a:pt x="5012529" y="725325"/>
                  <a:pt x="4993566" y="724154"/>
                  <a:pt x="4997803" y="716089"/>
                </a:cubicBezTo>
                <a:cubicBezTo>
                  <a:pt x="5001565" y="714222"/>
                  <a:pt x="5004203" y="711019"/>
                  <a:pt x="5009148" y="710274"/>
                </a:cubicBezTo>
                <a:close/>
                <a:moveTo>
                  <a:pt x="1840101" y="708807"/>
                </a:moveTo>
                <a:cubicBezTo>
                  <a:pt x="1850210" y="716462"/>
                  <a:pt x="1862342" y="724312"/>
                  <a:pt x="1857284" y="731007"/>
                </a:cubicBezTo>
                <a:cubicBezTo>
                  <a:pt x="1854870" y="731165"/>
                  <a:pt x="1852380" y="730498"/>
                  <a:pt x="1850253" y="729583"/>
                </a:cubicBezTo>
                <a:lnTo>
                  <a:pt x="1845893" y="727035"/>
                </a:lnTo>
                <a:lnTo>
                  <a:pt x="1844279" y="727523"/>
                </a:lnTo>
                <a:cubicBezTo>
                  <a:pt x="1841944" y="725172"/>
                  <a:pt x="1839361" y="722639"/>
                  <a:pt x="1838915" y="719875"/>
                </a:cubicBezTo>
                <a:lnTo>
                  <a:pt x="1835323" y="715577"/>
                </a:lnTo>
                <a:cubicBezTo>
                  <a:pt x="1838588" y="713348"/>
                  <a:pt x="1836863" y="710930"/>
                  <a:pt x="1840101" y="708807"/>
                </a:cubicBezTo>
                <a:close/>
                <a:moveTo>
                  <a:pt x="1340390" y="708773"/>
                </a:moveTo>
                <a:cubicBezTo>
                  <a:pt x="1341992" y="709432"/>
                  <a:pt x="1342337" y="708144"/>
                  <a:pt x="1343941" y="708804"/>
                </a:cubicBezTo>
                <a:cubicBezTo>
                  <a:pt x="1347740" y="709017"/>
                  <a:pt x="1347740" y="709017"/>
                  <a:pt x="1348749" y="710783"/>
                </a:cubicBezTo>
                <a:cubicBezTo>
                  <a:pt x="1350064" y="712514"/>
                  <a:pt x="1347237" y="715322"/>
                  <a:pt x="1348276" y="716980"/>
                </a:cubicBezTo>
                <a:cubicBezTo>
                  <a:pt x="1348276" y="716980"/>
                  <a:pt x="1348247" y="717088"/>
                  <a:pt x="1344724" y="716949"/>
                </a:cubicBezTo>
                <a:cubicBezTo>
                  <a:pt x="1343093" y="716396"/>
                  <a:pt x="1341518" y="715630"/>
                  <a:pt x="1340204" y="713897"/>
                </a:cubicBezTo>
                <a:cubicBezTo>
                  <a:pt x="1338917" y="712057"/>
                  <a:pt x="1339798" y="709879"/>
                  <a:pt x="1340390" y="708773"/>
                </a:cubicBezTo>
                <a:close/>
                <a:moveTo>
                  <a:pt x="1570056" y="708325"/>
                </a:moveTo>
                <a:cubicBezTo>
                  <a:pt x="1575244" y="711095"/>
                  <a:pt x="1576808" y="713009"/>
                  <a:pt x="1576768" y="714264"/>
                </a:cubicBezTo>
                <a:cubicBezTo>
                  <a:pt x="1576365" y="715766"/>
                  <a:pt x="1573559" y="716279"/>
                  <a:pt x="1570954" y="716040"/>
                </a:cubicBezTo>
                <a:cubicBezTo>
                  <a:pt x="1568349" y="715802"/>
                  <a:pt x="1565696" y="714632"/>
                  <a:pt x="1565850" y="712948"/>
                </a:cubicBezTo>
                <a:cubicBezTo>
                  <a:pt x="1565614" y="711620"/>
                  <a:pt x="1566903" y="710126"/>
                  <a:pt x="1570056" y="708325"/>
                </a:cubicBezTo>
                <a:close/>
                <a:moveTo>
                  <a:pt x="2149327" y="708059"/>
                </a:moveTo>
                <a:cubicBezTo>
                  <a:pt x="2142751" y="717106"/>
                  <a:pt x="2131129" y="731703"/>
                  <a:pt x="2117668" y="735455"/>
                </a:cubicBezTo>
                <a:cubicBezTo>
                  <a:pt x="2115989" y="733971"/>
                  <a:pt x="2115476" y="732568"/>
                  <a:pt x="2114990" y="731058"/>
                </a:cubicBezTo>
                <a:cubicBezTo>
                  <a:pt x="2113312" y="720719"/>
                  <a:pt x="2138884" y="709400"/>
                  <a:pt x="2149327" y="708059"/>
                </a:cubicBezTo>
                <a:close/>
                <a:moveTo>
                  <a:pt x="3581277" y="707642"/>
                </a:moveTo>
                <a:cubicBezTo>
                  <a:pt x="3583789" y="706016"/>
                  <a:pt x="3586430" y="708333"/>
                  <a:pt x="3588785" y="711725"/>
                </a:cubicBezTo>
                <a:cubicBezTo>
                  <a:pt x="3595659" y="718166"/>
                  <a:pt x="3595817" y="722003"/>
                  <a:pt x="3589812" y="723385"/>
                </a:cubicBezTo>
                <a:cubicBezTo>
                  <a:pt x="3588180" y="722833"/>
                  <a:pt x="3583936" y="719855"/>
                  <a:pt x="3583648" y="720929"/>
                </a:cubicBezTo>
                <a:lnTo>
                  <a:pt x="3581726" y="715928"/>
                </a:lnTo>
                <a:lnTo>
                  <a:pt x="3581392" y="716069"/>
                </a:lnTo>
                <a:lnTo>
                  <a:pt x="3576746" y="714593"/>
                </a:lnTo>
                <a:lnTo>
                  <a:pt x="3581403" y="714921"/>
                </a:lnTo>
                <a:lnTo>
                  <a:pt x="3579509" y="709814"/>
                </a:lnTo>
                <a:cubicBezTo>
                  <a:pt x="3579768" y="708849"/>
                  <a:pt x="3580247" y="708171"/>
                  <a:pt x="3581277" y="707642"/>
                </a:cubicBezTo>
                <a:close/>
                <a:moveTo>
                  <a:pt x="4817025" y="706750"/>
                </a:moveTo>
                <a:cubicBezTo>
                  <a:pt x="4821956" y="710487"/>
                  <a:pt x="4815961" y="719576"/>
                  <a:pt x="4809385" y="719769"/>
                </a:cubicBezTo>
                <a:cubicBezTo>
                  <a:pt x="4808221" y="719686"/>
                  <a:pt x="4807085" y="719497"/>
                  <a:pt x="4806313" y="719060"/>
                </a:cubicBezTo>
                <a:cubicBezTo>
                  <a:pt x="4803107" y="717741"/>
                  <a:pt x="4800171" y="714310"/>
                  <a:pt x="4798213" y="707231"/>
                </a:cubicBezTo>
                <a:cubicBezTo>
                  <a:pt x="4808534" y="704130"/>
                  <a:pt x="4814326" y="704648"/>
                  <a:pt x="4817025" y="706750"/>
                </a:cubicBezTo>
                <a:close/>
                <a:moveTo>
                  <a:pt x="828858" y="706375"/>
                </a:moveTo>
                <a:cubicBezTo>
                  <a:pt x="837673" y="710002"/>
                  <a:pt x="841121" y="714836"/>
                  <a:pt x="842584" y="721552"/>
                </a:cubicBezTo>
                <a:cubicBezTo>
                  <a:pt x="841305" y="721899"/>
                  <a:pt x="838786" y="721340"/>
                  <a:pt x="836326" y="720565"/>
                </a:cubicBezTo>
                <a:cubicBezTo>
                  <a:pt x="833863" y="719791"/>
                  <a:pt x="831182" y="718728"/>
                  <a:pt x="828778" y="717738"/>
                </a:cubicBezTo>
                <a:cubicBezTo>
                  <a:pt x="826453" y="714240"/>
                  <a:pt x="826440" y="709867"/>
                  <a:pt x="828858" y="706375"/>
                </a:cubicBezTo>
                <a:close/>
                <a:moveTo>
                  <a:pt x="2539815" y="706198"/>
                </a:moveTo>
                <a:cubicBezTo>
                  <a:pt x="2543049" y="707409"/>
                  <a:pt x="2546571" y="707549"/>
                  <a:pt x="2549241" y="709759"/>
                </a:cubicBezTo>
                <a:cubicBezTo>
                  <a:pt x="2551566" y="713256"/>
                  <a:pt x="2547914" y="718028"/>
                  <a:pt x="2545403" y="719656"/>
                </a:cubicBezTo>
                <a:cubicBezTo>
                  <a:pt x="2543512" y="720068"/>
                  <a:pt x="2541547" y="719657"/>
                  <a:pt x="2539754" y="718602"/>
                </a:cubicBezTo>
                <a:cubicBezTo>
                  <a:pt x="2537655" y="717579"/>
                  <a:pt x="2536006" y="715987"/>
                  <a:pt x="2534967" y="714329"/>
                </a:cubicBezTo>
                <a:cubicBezTo>
                  <a:pt x="2533508" y="713133"/>
                  <a:pt x="2533271" y="711804"/>
                  <a:pt x="2533616" y="710517"/>
                </a:cubicBezTo>
                <a:cubicBezTo>
                  <a:pt x="2533961" y="709229"/>
                  <a:pt x="2534612" y="707909"/>
                  <a:pt x="2536006" y="707132"/>
                </a:cubicBezTo>
                <a:cubicBezTo>
                  <a:pt x="2537925" y="706612"/>
                  <a:pt x="2537896" y="706718"/>
                  <a:pt x="2539815" y="706198"/>
                </a:cubicBezTo>
                <a:close/>
                <a:moveTo>
                  <a:pt x="4292196" y="705275"/>
                </a:moveTo>
                <a:cubicBezTo>
                  <a:pt x="4293522" y="705860"/>
                  <a:pt x="4294704" y="706983"/>
                  <a:pt x="4295743" y="708641"/>
                </a:cubicBezTo>
                <a:cubicBezTo>
                  <a:pt x="4297374" y="709193"/>
                  <a:pt x="4297521" y="714177"/>
                  <a:pt x="4295603" y="714698"/>
                </a:cubicBezTo>
                <a:cubicBezTo>
                  <a:pt x="4294571" y="715227"/>
                  <a:pt x="4293626" y="715433"/>
                  <a:pt x="4292462" y="715351"/>
                </a:cubicBezTo>
                <a:cubicBezTo>
                  <a:pt x="4289303" y="714966"/>
                  <a:pt x="4286166" y="712284"/>
                  <a:pt x="4281530" y="709662"/>
                </a:cubicBezTo>
                <a:cubicBezTo>
                  <a:pt x="4283449" y="709142"/>
                  <a:pt x="4282134" y="707409"/>
                  <a:pt x="4281096" y="705750"/>
                </a:cubicBezTo>
                <a:cubicBezTo>
                  <a:pt x="4283988" y="704916"/>
                  <a:pt x="4288028" y="703123"/>
                  <a:pt x="4292196" y="705275"/>
                </a:cubicBezTo>
                <a:close/>
                <a:moveTo>
                  <a:pt x="2398662" y="704486"/>
                </a:moveTo>
                <a:cubicBezTo>
                  <a:pt x="2403423" y="703318"/>
                  <a:pt x="2409500" y="703883"/>
                  <a:pt x="2417246" y="707626"/>
                </a:cubicBezTo>
                <a:cubicBezTo>
                  <a:pt x="2420843" y="708590"/>
                  <a:pt x="2419038" y="708681"/>
                  <a:pt x="2421108" y="709810"/>
                </a:cubicBezTo>
                <a:cubicBezTo>
                  <a:pt x="2422902" y="710867"/>
                  <a:pt x="2426776" y="711905"/>
                  <a:pt x="2428302" y="711739"/>
                </a:cubicBezTo>
                <a:cubicBezTo>
                  <a:pt x="2426419" y="714339"/>
                  <a:pt x="2427124" y="716138"/>
                  <a:pt x="2427161" y="718217"/>
                </a:cubicBezTo>
                <a:lnTo>
                  <a:pt x="2437607" y="713542"/>
                </a:lnTo>
                <a:cubicBezTo>
                  <a:pt x="2445020" y="724613"/>
                  <a:pt x="2426074" y="733337"/>
                  <a:pt x="2412233" y="736298"/>
                </a:cubicBezTo>
                <a:lnTo>
                  <a:pt x="2412703" y="733434"/>
                </a:lnTo>
                <a:lnTo>
                  <a:pt x="2410479" y="733988"/>
                </a:lnTo>
                <a:cubicBezTo>
                  <a:pt x="2408035" y="734253"/>
                  <a:pt x="2405430" y="734015"/>
                  <a:pt x="2403158" y="733636"/>
                </a:cubicBezTo>
                <a:lnTo>
                  <a:pt x="2398760" y="732343"/>
                </a:lnTo>
                <a:lnTo>
                  <a:pt x="2405053" y="738744"/>
                </a:lnTo>
                <a:cubicBezTo>
                  <a:pt x="2406968" y="741557"/>
                  <a:pt x="2408272" y="744437"/>
                  <a:pt x="2409968" y="746961"/>
                </a:cubicBezTo>
                <a:cubicBezTo>
                  <a:pt x="2402716" y="745249"/>
                  <a:pt x="2399630" y="740167"/>
                  <a:pt x="2386875" y="742384"/>
                </a:cubicBezTo>
                <a:lnTo>
                  <a:pt x="2396852" y="731717"/>
                </a:lnTo>
                <a:cubicBezTo>
                  <a:pt x="2397721" y="730685"/>
                  <a:pt x="2387609" y="726365"/>
                  <a:pt x="2385928" y="719360"/>
                </a:cubicBezTo>
                <a:cubicBezTo>
                  <a:pt x="2385339" y="717131"/>
                  <a:pt x="2385723" y="714590"/>
                  <a:pt x="2387969" y="711741"/>
                </a:cubicBezTo>
                <a:cubicBezTo>
                  <a:pt x="2390454" y="708555"/>
                  <a:pt x="2393900" y="705654"/>
                  <a:pt x="2398662" y="704486"/>
                </a:cubicBezTo>
                <a:close/>
                <a:moveTo>
                  <a:pt x="3947838" y="704316"/>
                </a:moveTo>
                <a:cubicBezTo>
                  <a:pt x="3945658" y="709136"/>
                  <a:pt x="3944957" y="712859"/>
                  <a:pt x="3942775" y="717680"/>
                </a:cubicBezTo>
                <a:cubicBezTo>
                  <a:pt x="3941543" y="718960"/>
                  <a:pt x="3935469" y="721702"/>
                  <a:pt x="3933676" y="720646"/>
                </a:cubicBezTo>
                <a:cubicBezTo>
                  <a:pt x="3931607" y="719517"/>
                  <a:pt x="3931311" y="718403"/>
                  <a:pt x="3931018" y="717289"/>
                </a:cubicBezTo>
                <a:cubicBezTo>
                  <a:pt x="3931984" y="714788"/>
                  <a:pt x="3932950" y="712287"/>
                  <a:pt x="3934195" y="709860"/>
                </a:cubicBezTo>
                <a:cubicBezTo>
                  <a:pt x="3938168" y="706095"/>
                  <a:pt x="3942172" y="702222"/>
                  <a:pt x="3947838" y="704316"/>
                </a:cubicBezTo>
                <a:close/>
                <a:moveTo>
                  <a:pt x="3689275" y="704150"/>
                </a:moveTo>
                <a:cubicBezTo>
                  <a:pt x="3706826" y="705058"/>
                  <a:pt x="3701292" y="703575"/>
                  <a:pt x="3718382" y="706200"/>
                </a:cubicBezTo>
                <a:cubicBezTo>
                  <a:pt x="3718382" y="706200"/>
                  <a:pt x="3718382" y="706200"/>
                  <a:pt x="3720201" y="710481"/>
                </a:cubicBezTo>
                <a:cubicBezTo>
                  <a:pt x="3719712" y="712306"/>
                  <a:pt x="3719252" y="714022"/>
                  <a:pt x="3716485" y="713281"/>
                </a:cubicBezTo>
                <a:cubicBezTo>
                  <a:pt x="3713053" y="709486"/>
                  <a:pt x="3702474" y="713552"/>
                  <a:pt x="3695319" y="710370"/>
                </a:cubicBezTo>
                <a:cubicBezTo>
                  <a:pt x="3692667" y="709199"/>
                  <a:pt x="3690799" y="707319"/>
                  <a:pt x="3689275" y="704150"/>
                </a:cubicBezTo>
                <a:close/>
                <a:moveTo>
                  <a:pt x="2738262" y="703826"/>
                </a:moveTo>
                <a:cubicBezTo>
                  <a:pt x="2739179" y="703726"/>
                  <a:pt x="2740591" y="703989"/>
                  <a:pt x="2742194" y="704650"/>
                </a:cubicBezTo>
                <a:cubicBezTo>
                  <a:pt x="2747725" y="709466"/>
                  <a:pt x="2743243" y="714015"/>
                  <a:pt x="2742245" y="719957"/>
                </a:cubicBezTo>
                <a:cubicBezTo>
                  <a:pt x="2740469" y="719942"/>
                  <a:pt x="2738960" y="721148"/>
                  <a:pt x="2739226" y="722368"/>
                </a:cubicBezTo>
                <a:cubicBezTo>
                  <a:pt x="2737469" y="723393"/>
                  <a:pt x="2736235" y="724673"/>
                  <a:pt x="2737734" y="724614"/>
                </a:cubicBezTo>
                <a:cubicBezTo>
                  <a:pt x="2733235" y="728124"/>
                  <a:pt x="2733195" y="729378"/>
                  <a:pt x="2727909" y="728077"/>
                </a:cubicBezTo>
                <a:cubicBezTo>
                  <a:pt x="2728664" y="718619"/>
                  <a:pt x="2734173" y="708021"/>
                  <a:pt x="2735693" y="705668"/>
                </a:cubicBezTo>
                <a:cubicBezTo>
                  <a:pt x="2736315" y="704454"/>
                  <a:pt x="2737041" y="703959"/>
                  <a:pt x="2738262" y="703826"/>
                </a:cubicBezTo>
                <a:close/>
                <a:moveTo>
                  <a:pt x="4269025" y="703206"/>
                </a:moveTo>
                <a:cubicBezTo>
                  <a:pt x="4276991" y="705571"/>
                  <a:pt x="4278633" y="713831"/>
                  <a:pt x="4280089" y="718362"/>
                </a:cubicBezTo>
                <a:cubicBezTo>
                  <a:pt x="4273894" y="719347"/>
                  <a:pt x="4267946" y="720513"/>
                  <a:pt x="4263444" y="718501"/>
                </a:cubicBezTo>
                <a:cubicBezTo>
                  <a:pt x="4261395" y="715077"/>
                  <a:pt x="4260482" y="711843"/>
                  <a:pt x="4261478" y="709235"/>
                </a:cubicBezTo>
                <a:cubicBezTo>
                  <a:pt x="4262197" y="706552"/>
                  <a:pt x="4264546" y="704422"/>
                  <a:pt x="4269025" y="703206"/>
                </a:cubicBezTo>
                <a:close/>
                <a:moveTo>
                  <a:pt x="2121913" y="703012"/>
                </a:moveTo>
                <a:cubicBezTo>
                  <a:pt x="2123573" y="703457"/>
                  <a:pt x="2124887" y="705190"/>
                  <a:pt x="2124887" y="705190"/>
                </a:cubicBezTo>
                <a:cubicBezTo>
                  <a:pt x="2126232" y="706815"/>
                  <a:pt x="2126232" y="706815"/>
                  <a:pt x="2128179" y="706186"/>
                </a:cubicBezTo>
                <a:cubicBezTo>
                  <a:pt x="2128179" y="706186"/>
                  <a:pt x="2127863" y="707367"/>
                  <a:pt x="2127863" y="707367"/>
                </a:cubicBezTo>
                <a:cubicBezTo>
                  <a:pt x="2126232" y="706815"/>
                  <a:pt x="2127892" y="707259"/>
                  <a:pt x="2129207" y="708992"/>
                </a:cubicBezTo>
                <a:cubicBezTo>
                  <a:pt x="2127248" y="710767"/>
                  <a:pt x="2126931" y="711948"/>
                  <a:pt x="2125261" y="712650"/>
                </a:cubicBezTo>
                <a:cubicBezTo>
                  <a:pt x="2124287" y="712964"/>
                  <a:pt x="2123037" y="713205"/>
                  <a:pt x="2121567" y="713155"/>
                </a:cubicBezTo>
                <a:cubicBezTo>
                  <a:pt x="2120403" y="713073"/>
                  <a:pt x="2119324" y="712669"/>
                  <a:pt x="2118362" y="711836"/>
                </a:cubicBezTo>
                <a:cubicBezTo>
                  <a:pt x="2118679" y="710656"/>
                  <a:pt x="2117046" y="710103"/>
                  <a:pt x="2117333" y="709031"/>
                </a:cubicBezTo>
                <a:cubicBezTo>
                  <a:pt x="2116306" y="706226"/>
                  <a:pt x="2116318" y="705079"/>
                  <a:pt x="2118295" y="704342"/>
                </a:cubicBezTo>
                <a:cubicBezTo>
                  <a:pt x="2118305" y="703196"/>
                  <a:pt x="2120241" y="703715"/>
                  <a:pt x="2121913" y="703012"/>
                </a:cubicBezTo>
                <a:close/>
                <a:moveTo>
                  <a:pt x="1901630" y="702754"/>
                </a:moveTo>
                <a:cubicBezTo>
                  <a:pt x="1909180" y="702247"/>
                  <a:pt x="1923213" y="708537"/>
                  <a:pt x="1904195" y="713101"/>
                </a:cubicBezTo>
                <a:cubicBezTo>
                  <a:pt x="1899790" y="709621"/>
                  <a:pt x="1898094" y="707097"/>
                  <a:pt x="1897944" y="705446"/>
                </a:cubicBezTo>
                <a:cubicBezTo>
                  <a:pt x="1897821" y="703688"/>
                  <a:pt x="1899492" y="702987"/>
                  <a:pt x="1901630" y="702754"/>
                </a:cubicBezTo>
                <a:close/>
                <a:moveTo>
                  <a:pt x="2162419" y="702366"/>
                </a:moveTo>
                <a:cubicBezTo>
                  <a:pt x="2167209" y="712160"/>
                  <a:pt x="2167507" y="718795"/>
                  <a:pt x="2155336" y="721054"/>
                </a:cubicBezTo>
                <a:cubicBezTo>
                  <a:pt x="2149374" y="717845"/>
                  <a:pt x="2148616" y="712927"/>
                  <a:pt x="2150290" y="708891"/>
                </a:cubicBezTo>
                <a:cubicBezTo>
                  <a:pt x="2152243" y="704929"/>
                  <a:pt x="2157180" y="701996"/>
                  <a:pt x="2162419" y="702366"/>
                </a:cubicBezTo>
                <a:close/>
                <a:moveTo>
                  <a:pt x="5112417" y="702294"/>
                </a:moveTo>
                <a:cubicBezTo>
                  <a:pt x="5114084" y="704927"/>
                  <a:pt x="5116470" y="704875"/>
                  <a:pt x="5115683" y="708919"/>
                </a:cubicBezTo>
                <a:cubicBezTo>
                  <a:pt x="5113325" y="708863"/>
                  <a:pt x="5111245" y="708880"/>
                  <a:pt x="5108888" y="708823"/>
                </a:cubicBezTo>
                <a:cubicBezTo>
                  <a:pt x="5108309" y="705449"/>
                  <a:pt x="5107978" y="702255"/>
                  <a:pt x="5112417" y="702294"/>
                </a:cubicBezTo>
                <a:close/>
                <a:moveTo>
                  <a:pt x="2482488" y="702107"/>
                </a:moveTo>
                <a:cubicBezTo>
                  <a:pt x="2483737" y="701867"/>
                  <a:pt x="2484931" y="701841"/>
                  <a:pt x="2485951" y="702461"/>
                </a:cubicBezTo>
                <a:cubicBezTo>
                  <a:pt x="2486217" y="703681"/>
                  <a:pt x="2487963" y="703805"/>
                  <a:pt x="2487953" y="704952"/>
                </a:cubicBezTo>
                <a:cubicBezTo>
                  <a:pt x="2489983" y="707335"/>
                  <a:pt x="2489944" y="708590"/>
                  <a:pt x="2488434" y="709796"/>
                </a:cubicBezTo>
                <a:cubicBezTo>
                  <a:pt x="2488700" y="711017"/>
                  <a:pt x="2486954" y="710893"/>
                  <a:pt x="2485197" y="711918"/>
                </a:cubicBezTo>
                <a:cubicBezTo>
                  <a:pt x="2483698" y="711977"/>
                  <a:pt x="2481933" y="710814"/>
                  <a:pt x="2481933" y="710814"/>
                </a:cubicBezTo>
                <a:cubicBezTo>
                  <a:pt x="2479892" y="709577"/>
                  <a:pt x="2480198" y="709543"/>
                  <a:pt x="2478411" y="710675"/>
                </a:cubicBezTo>
                <a:cubicBezTo>
                  <a:pt x="2478411" y="710675"/>
                  <a:pt x="2478422" y="709528"/>
                  <a:pt x="2478422" y="709528"/>
                </a:cubicBezTo>
                <a:cubicBezTo>
                  <a:pt x="2480198" y="709543"/>
                  <a:pt x="2478422" y="709528"/>
                  <a:pt x="2476658" y="708366"/>
                </a:cubicBezTo>
                <a:cubicBezTo>
                  <a:pt x="2477902" y="705939"/>
                  <a:pt x="2477942" y="704683"/>
                  <a:pt x="2479421" y="703586"/>
                </a:cubicBezTo>
                <a:cubicBezTo>
                  <a:pt x="2480176" y="702983"/>
                  <a:pt x="2481237" y="702347"/>
                  <a:pt x="2482488" y="702107"/>
                </a:cubicBezTo>
                <a:close/>
                <a:moveTo>
                  <a:pt x="1283809" y="701892"/>
                </a:moveTo>
                <a:cubicBezTo>
                  <a:pt x="1284341" y="704334"/>
                  <a:pt x="1291547" y="705115"/>
                  <a:pt x="1288775" y="707708"/>
                </a:cubicBezTo>
                <a:cubicBezTo>
                  <a:pt x="1286984" y="706652"/>
                  <a:pt x="1284646" y="704301"/>
                  <a:pt x="1282577" y="703172"/>
                </a:cubicBezTo>
                <a:cubicBezTo>
                  <a:pt x="1282577" y="703172"/>
                  <a:pt x="1282548" y="703279"/>
                  <a:pt x="1283809" y="701892"/>
                </a:cubicBezTo>
                <a:close/>
                <a:moveTo>
                  <a:pt x="3890748" y="701554"/>
                </a:moveTo>
                <a:cubicBezTo>
                  <a:pt x="3896260" y="705330"/>
                  <a:pt x="3893270" y="707635"/>
                  <a:pt x="3890230" y="712341"/>
                </a:cubicBezTo>
                <a:cubicBezTo>
                  <a:pt x="3888465" y="711177"/>
                  <a:pt x="3883689" y="714613"/>
                  <a:pt x="3882180" y="715818"/>
                </a:cubicBezTo>
                <a:cubicBezTo>
                  <a:pt x="3879425" y="713930"/>
                  <a:pt x="3875166" y="715434"/>
                  <a:pt x="3870929" y="714644"/>
                </a:cubicBezTo>
                <a:cubicBezTo>
                  <a:pt x="3869488" y="714487"/>
                  <a:pt x="3868133" y="714010"/>
                  <a:pt x="3866894" y="713103"/>
                </a:cubicBezTo>
                <a:cubicBezTo>
                  <a:pt x="3866667" y="710627"/>
                  <a:pt x="3866401" y="709405"/>
                  <a:pt x="3867892" y="707159"/>
                </a:cubicBezTo>
                <a:cubicBezTo>
                  <a:pt x="3880481" y="698918"/>
                  <a:pt x="3889238" y="702759"/>
                  <a:pt x="3890748" y="701554"/>
                </a:cubicBezTo>
                <a:close/>
                <a:moveTo>
                  <a:pt x="4779570" y="701545"/>
                </a:moveTo>
                <a:cubicBezTo>
                  <a:pt x="4782844" y="701502"/>
                  <a:pt x="4787299" y="702581"/>
                  <a:pt x="4792050" y="704774"/>
                </a:cubicBezTo>
                <a:cubicBezTo>
                  <a:pt x="4798935" y="710069"/>
                  <a:pt x="4794408" y="722540"/>
                  <a:pt x="4786580" y="722973"/>
                </a:cubicBezTo>
                <a:cubicBezTo>
                  <a:pt x="4781992" y="721283"/>
                  <a:pt x="4777679" y="719668"/>
                  <a:pt x="4773119" y="717870"/>
                </a:cubicBezTo>
                <a:cubicBezTo>
                  <a:pt x="4767237" y="712154"/>
                  <a:pt x="4767740" y="705849"/>
                  <a:pt x="4772954" y="702992"/>
                </a:cubicBezTo>
                <a:cubicBezTo>
                  <a:pt x="4774682" y="702075"/>
                  <a:pt x="4776907" y="701521"/>
                  <a:pt x="4779570" y="701545"/>
                </a:cubicBezTo>
                <a:close/>
                <a:moveTo>
                  <a:pt x="5179544" y="699696"/>
                </a:moveTo>
                <a:cubicBezTo>
                  <a:pt x="5188155" y="698553"/>
                  <a:pt x="5202637" y="704273"/>
                  <a:pt x="5213051" y="711894"/>
                </a:cubicBezTo>
                <a:cubicBezTo>
                  <a:pt x="5223771" y="719481"/>
                  <a:pt x="5230422" y="728968"/>
                  <a:pt x="5224201" y="735582"/>
                </a:cubicBezTo>
                <a:cubicBezTo>
                  <a:pt x="5213978" y="719501"/>
                  <a:pt x="5186473" y="718112"/>
                  <a:pt x="5179544" y="699696"/>
                </a:cubicBezTo>
                <a:close/>
                <a:moveTo>
                  <a:pt x="1995921" y="699499"/>
                </a:moveTo>
                <a:cubicBezTo>
                  <a:pt x="1999642" y="702221"/>
                  <a:pt x="2001643" y="704712"/>
                  <a:pt x="2005361" y="707433"/>
                </a:cubicBezTo>
                <a:cubicBezTo>
                  <a:pt x="2004424" y="709827"/>
                  <a:pt x="2002534" y="710240"/>
                  <a:pt x="2000292" y="709754"/>
                </a:cubicBezTo>
                <a:cubicBezTo>
                  <a:pt x="1997774" y="709195"/>
                  <a:pt x="1995177" y="707809"/>
                  <a:pt x="1992583" y="706425"/>
                </a:cubicBezTo>
                <a:cubicBezTo>
                  <a:pt x="1993769" y="704212"/>
                  <a:pt x="1991519" y="701539"/>
                  <a:pt x="1995921" y="699499"/>
                </a:cubicBezTo>
                <a:close/>
                <a:moveTo>
                  <a:pt x="2449796" y="698767"/>
                </a:moveTo>
                <a:cubicBezTo>
                  <a:pt x="2455868" y="700178"/>
                  <a:pt x="2463440" y="704018"/>
                  <a:pt x="2469054" y="705753"/>
                </a:cubicBezTo>
                <a:cubicBezTo>
                  <a:pt x="2469391" y="711133"/>
                  <a:pt x="2468684" y="712668"/>
                  <a:pt x="2464652" y="716649"/>
                </a:cubicBezTo>
                <a:cubicBezTo>
                  <a:pt x="2461741" y="716444"/>
                  <a:pt x="2459221" y="715883"/>
                  <a:pt x="2457008" y="715291"/>
                </a:cubicBezTo>
                <a:cubicBezTo>
                  <a:pt x="2454518" y="714624"/>
                  <a:pt x="2452362" y="713815"/>
                  <a:pt x="2450511" y="712974"/>
                </a:cubicBezTo>
                <a:cubicBezTo>
                  <a:pt x="2446285" y="711036"/>
                  <a:pt x="2443061" y="708679"/>
                  <a:pt x="2439533" y="706352"/>
                </a:cubicBezTo>
                <a:cubicBezTo>
                  <a:pt x="2439151" y="698372"/>
                  <a:pt x="2443724" y="697355"/>
                  <a:pt x="2449796" y="698767"/>
                </a:cubicBezTo>
                <a:close/>
                <a:moveTo>
                  <a:pt x="1717708" y="697403"/>
                </a:moveTo>
                <a:cubicBezTo>
                  <a:pt x="1719540" y="697204"/>
                  <a:pt x="1721535" y="697508"/>
                  <a:pt x="1723443" y="698134"/>
                </a:cubicBezTo>
                <a:cubicBezTo>
                  <a:pt x="1725178" y="699405"/>
                  <a:pt x="1725178" y="699405"/>
                  <a:pt x="1726944" y="700567"/>
                </a:cubicBezTo>
                <a:cubicBezTo>
                  <a:pt x="1727198" y="702936"/>
                  <a:pt x="1729228" y="705320"/>
                  <a:pt x="1727737" y="707565"/>
                </a:cubicBezTo>
                <a:cubicBezTo>
                  <a:pt x="1724747" y="709869"/>
                  <a:pt x="1716187" y="708611"/>
                  <a:pt x="1712677" y="707324"/>
                </a:cubicBezTo>
                <a:cubicBezTo>
                  <a:pt x="1710912" y="706162"/>
                  <a:pt x="1710428" y="704652"/>
                  <a:pt x="1710553" y="703076"/>
                </a:cubicBezTo>
                <a:cubicBezTo>
                  <a:pt x="1710927" y="701681"/>
                  <a:pt x="1711912" y="700219"/>
                  <a:pt x="1713392" y="699122"/>
                </a:cubicBezTo>
                <a:cubicBezTo>
                  <a:pt x="1714013" y="697908"/>
                  <a:pt x="1715904" y="697494"/>
                  <a:pt x="1717708" y="697403"/>
                </a:cubicBezTo>
                <a:close/>
                <a:moveTo>
                  <a:pt x="3913794" y="696344"/>
                </a:moveTo>
                <a:cubicBezTo>
                  <a:pt x="3913783" y="697490"/>
                  <a:pt x="3915824" y="698728"/>
                  <a:pt x="3915812" y="699875"/>
                </a:cubicBezTo>
                <a:cubicBezTo>
                  <a:pt x="3914304" y="701081"/>
                  <a:pt x="3911975" y="700916"/>
                  <a:pt x="3910315" y="700471"/>
                </a:cubicBezTo>
                <a:cubicBezTo>
                  <a:pt x="3908655" y="700027"/>
                  <a:pt x="3907415" y="699120"/>
                  <a:pt x="3907282" y="698510"/>
                </a:cubicBezTo>
                <a:cubicBezTo>
                  <a:pt x="3908791" y="697304"/>
                  <a:pt x="3912037" y="697368"/>
                  <a:pt x="3913794" y="696344"/>
                </a:cubicBezTo>
                <a:close/>
                <a:moveTo>
                  <a:pt x="3558990" y="695360"/>
                </a:moveTo>
                <a:cubicBezTo>
                  <a:pt x="3562129" y="695267"/>
                  <a:pt x="3565184" y="696315"/>
                  <a:pt x="3567553" y="697985"/>
                </a:cubicBezTo>
                <a:cubicBezTo>
                  <a:pt x="3569785" y="699619"/>
                  <a:pt x="3571538" y="701928"/>
                  <a:pt x="3571794" y="704296"/>
                </a:cubicBezTo>
                <a:lnTo>
                  <a:pt x="3568600" y="710686"/>
                </a:lnTo>
                <a:lnTo>
                  <a:pt x="3579574" y="711786"/>
                </a:lnTo>
                <a:cubicBezTo>
                  <a:pt x="3577084" y="711119"/>
                  <a:pt x="3576624" y="712836"/>
                  <a:pt x="3576135" y="714661"/>
                </a:cubicBezTo>
                <a:lnTo>
                  <a:pt x="3576441" y="714627"/>
                </a:lnTo>
                <a:lnTo>
                  <a:pt x="3572689" y="715347"/>
                </a:lnTo>
                <a:cubicBezTo>
                  <a:pt x="3569796" y="716182"/>
                  <a:pt x="3566702" y="717767"/>
                  <a:pt x="3560679" y="718109"/>
                </a:cubicBezTo>
                <a:cubicBezTo>
                  <a:pt x="3559899" y="715485"/>
                  <a:pt x="3560388" y="713661"/>
                  <a:pt x="3561591" y="712488"/>
                </a:cubicBezTo>
                <a:lnTo>
                  <a:pt x="3565181" y="711265"/>
                </a:lnTo>
                <a:lnTo>
                  <a:pt x="3558864" y="710491"/>
                </a:lnTo>
                <a:cubicBezTo>
                  <a:pt x="3556345" y="709933"/>
                  <a:pt x="3554131" y="709339"/>
                  <a:pt x="3552194" y="708820"/>
                </a:cubicBezTo>
                <a:cubicBezTo>
                  <a:pt x="3551892" y="705520"/>
                  <a:pt x="3550502" y="702962"/>
                  <a:pt x="3549924" y="699587"/>
                </a:cubicBezTo>
                <a:cubicBezTo>
                  <a:pt x="3552628" y="696688"/>
                  <a:pt x="3555851" y="695453"/>
                  <a:pt x="3558990" y="695360"/>
                </a:cubicBezTo>
                <a:close/>
                <a:moveTo>
                  <a:pt x="1270779" y="695181"/>
                </a:moveTo>
                <a:cubicBezTo>
                  <a:pt x="1273478" y="697283"/>
                  <a:pt x="1275088" y="700130"/>
                  <a:pt x="1274550" y="704355"/>
                </a:cubicBezTo>
                <a:cubicBezTo>
                  <a:pt x="1272630" y="704876"/>
                  <a:pt x="1270856" y="704861"/>
                  <a:pt x="1269414" y="704705"/>
                </a:cubicBezTo>
                <a:cubicBezTo>
                  <a:pt x="1265149" y="704022"/>
                  <a:pt x="1263233" y="701208"/>
                  <a:pt x="1261041" y="698321"/>
                </a:cubicBezTo>
                <a:cubicBezTo>
                  <a:pt x="1266730" y="698120"/>
                  <a:pt x="1263758" y="692609"/>
                  <a:pt x="1270779" y="695181"/>
                </a:cubicBezTo>
                <a:close/>
                <a:moveTo>
                  <a:pt x="3627171" y="694639"/>
                </a:moveTo>
                <a:cubicBezTo>
                  <a:pt x="3628716" y="695513"/>
                  <a:pt x="3630509" y="696569"/>
                  <a:pt x="3631997" y="697657"/>
                </a:cubicBezTo>
                <a:lnTo>
                  <a:pt x="3633036" y="699316"/>
                </a:lnTo>
                <a:lnTo>
                  <a:pt x="3638896" y="698471"/>
                </a:lnTo>
                <a:cubicBezTo>
                  <a:pt x="3643454" y="703602"/>
                  <a:pt x="3651995" y="703821"/>
                  <a:pt x="3657040" y="707129"/>
                </a:cubicBezTo>
                <a:cubicBezTo>
                  <a:pt x="3642994" y="705319"/>
                  <a:pt x="3639278" y="708118"/>
                  <a:pt x="3629999" y="709542"/>
                </a:cubicBezTo>
                <a:cubicBezTo>
                  <a:pt x="3629999" y="709542"/>
                  <a:pt x="3629999" y="709542"/>
                  <a:pt x="3630811" y="717580"/>
                </a:cubicBezTo>
                <a:cubicBezTo>
                  <a:pt x="3625276" y="716097"/>
                  <a:pt x="3622326" y="717147"/>
                  <a:pt x="3616792" y="715664"/>
                </a:cubicBezTo>
                <a:cubicBezTo>
                  <a:pt x="3613536" y="716746"/>
                  <a:pt x="3607514" y="717088"/>
                  <a:pt x="3605235" y="714522"/>
                </a:cubicBezTo>
                <a:cubicBezTo>
                  <a:pt x="3601103" y="714450"/>
                  <a:pt x="3596284" y="713619"/>
                  <a:pt x="3592029" y="711788"/>
                </a:cubicBezTo>
                <a:cubicBezTo>
                  <a:pt x="3587803" y="709852"/>
                  <a:pt x="3584113" y="707022"/>
                  <a:pt x="3582323" y="702633"/>
                </a:cubicBezTo>
                <a:cubicBezTo>
                  <a:pt x="3583301" y="698984"/>
                  <a:pt x="3595317" y="698410"/>
                  <a:pt x="3606597" y="699478"/>
                </a:cubicBezTo>
                <a:cubicBezTo>
                  <a:pt x="3609595" y="699360"/>
                  <a:pt x="3613058" y="699714"/>
                  <a:pt x="3616351" y="700710"/>
                </a:cubicBezTo>
                <a:lnTo>
                  <a:pt x="3619032" y="701774"/>
                </a:lnTo>
                <a:lnTo>
                  <a:pt x="3621968" y="696350"/>
                </a:lnTo>
                <a:lnTo>
                  <a:pt x="3622158" y="696747"/>
                </a:lnTo>
                <a:lnTo>
                  <a:pt x="3622388" y="695888"/>
                </a:lnTo>
                <a:cubicBezTo>
                  <a:pt x="3624181" y="696943"/>
                  <a:pt x="3625690" y="695738"/>
                  <a:pt x="3627171" y="694639"/>
                </a:cubicBezTo>
                <a:close/>
                <a:moveTo>
                  <a:pt x="2685341" y="694360"/>
                </a:moveTo>
                <a:lnTo>
                  <a:pt x="2686189" y="695623"/>
                </a:lnTo>
                <a:lnTo>
                  <a:pt x="2687029" y="694698"/>
                </a:lnTo>
                <a:close/>
                <a:moveTo>
                  <a:pt x="3631994" y="692136"/>
                </a:moveTo>
                <a:cubicBezTo>
                  <a:pt x="3631390" y="694390"/>
                  <a:pt x="3637266" y="697919"/>
                  <a:pt x="3633151" y="698887"/>
                </a:cubicBezTo>
                <a:cubicBezTo>
                  <a:pt x="3632112" y="697229"/>
                  <a:pt x="3631390" y="694390"/>
                  <a:pt x="3630103" y="692550"/>
                </a:cubicBezTo>
                <a:cubicBezTo>
                  <a:pt x="3630103" y="692550"/>
                  <a:pt x="3630074" y="692657"/>
                  <a:pt x="3631994" y="692136"/>
                </a:cubicBezTo>
                <a:close/>
                <a:moveTo>
                  <a:pt x="2430769" y="691469"/>
                </a:moveTo>
                <a:cubicBezTo>
                  <a:pt x="2437054" y="695683"/>
                  <a:pt x="2435300" y="702228"/>
                  <a:pt x="2424573" y="701309"/>
                </a:cubicBezTo>
                <a:cubicBezTo>
                  <a:pt x="2424121" y="696358"/>
                  <a:pt x="2423696" y="691298"/>
                  <a:pt x="2430769" y="691469"/>
                </a:cubicBezTo>
                <a:close/>
                <a:moveTo>
                  <a:pt x="1975756" y="690646"/>
                </a:moveTo>
                <a:cubicBezTo>
                  <a:pt x="1975756" y="690646"/>
                  <a:pt x="1975756" y="690646"/>
                  <a:pt x="1971022" y="698347"/>
                </a:cubicBezTo>
                <a:cubicBezTo>
                  <a:pt x="1970001" y="697729"/>
                  <a:pt x="1969839" y="697225"/>
                  <a:pt x="1970289" y="696656"/>
                </a:cubicBezTo>
                <a:cubicBezTo>
                  <a:pt x="1970490" y="695904"/>
                  <a:pt x="1971245" y="695302"/>
                  <a:pt x="1971722" y="694624"/>
                </a:cubicBezTo>
                <a:cubicBezTo>
                  <a:pt x="1973232" y="693419"/>
                  <a:pt x="1974494" y="692032"/>
                  <a:pt x="1975756" y="690646"/>
                </a:cubicBezTo>
                <a:close/>
                <a:moveTo>
                  <a:pt x="1692118" y="689971"/>
                </a:moveTo>
                <a:cubicBezTo>
                  <a:pt x="1692118" y="689971"/>
                  <a:pt x="1691870" y="689790"/>
                  <a:pt x="1688492" y="697970"/>
                </a:cubicBezTo>
                <a:cubicBezTo>
                  <a:pt x="1687442" y="697458"/>
                  <a:pt x="1687034" y="696774"/>
                  <a:pt x="1687206" y="696129"/>
                </a:cubicBezTo>
                <a:cubicBezTo>
                  <a:pt x="1687379" y="695486"/>
                  <a:pt x="1688132" y="694883"/>
                  <a:pt x="1688611" y="694206"/>
                </a:cubicBezTo>
                <a:cubicBezTo>
                  <a:pt x="1689595" y="692746"/>
                  <a:pt x="1690858" y="691358"/>
                  <a:pt x="1692118" y="689971"/>
                </a:cubicBezTo>
                <a:close/>
                <a:moveTo>
                  <a:pt x="5175117" y="689655"/>
                </a:moveTo>
                <a:cubicBezTo>
                  <a:pt x="5175336" y="689943"/>
                  <a:pt x="5176328" y="690669"/>
                  <a:pt x="5177960" y="691221"/>
                </a:cubicBezTo>
                <a:cubicBezTo>
                  <a:pt x="5179724" y="692384"/>
                  <a:pt x="5181499" y="692400"/>
                  <a:pt x="5180019" y="693497"/>
                </a:cubicBezTo>
                <a:cubicBezTo>
                  <a:pt x="5178262" y="694521"/>
                  <a:pt x="5178262" y="694521"/>
                  <a:pt x="5173546" y="694409"/>
                </a:cubicBezTo>
                <a:cubicBezTo>
                  <a:pt x="5175027" y="693311"/>
                  <a:pt x="5175027" y="693311"/>
                  <a:pt x="5173263" y="692148"/>
                </a:cubicBezTo>
                <a:cubicBezTo>
                  <a:pt x="5173263" y="692148"/>
                  <a:pt x="5173263" y="692148"/>
                  <a:pt x="5171488" y="692132"/>
                </a:cubicBezTo>
                <a:cubicBezTo>
                  <a:pt x="5171499" y="690985"/>
                  <a:pt x="5173246" y="691108"/>
                  <a:pt x="5172951" y="689994"/>
                </a:cubicBezTo>
                <a:cubicBezTo>
                  <a:pt x="5172951" y="689994"/>
                  <a:pt x="5174725" y="690009"/>
                  <a:pt x="5174725" y="690009"/>
                </a:cubicBezTo>
                <a:cubicBezTo>
                  <a:pt x="5174593" y="689399"/>
                  <a:pt x="5174593" y="689399"/>
                  <a:pt x="5175117" y="689655"/>
                </a:cubicBezTo>
                <a:close/>
                <a:moveTo>
                  <a:pt x="1680475" y="689152"/>
                </a:moveTo>
                <a:cubicBezTo>
                  <a:pt x="1680475" y="689152"/>
                  <a:pt x="1681858" y="689522"/>
                  <a:pt x="1681858" y="689522"/>
                </a:cubicBezTo>
                <a:cubicBezTo>
                  <a:pt x="1681513" y="690810"/>
                  <a:pt x="1681446" y="692171"/>
                  <a:pt x="1680090" y="691693"/>
                </a:cubicBezTo>
                <a:cubicBezTo>
                  <a:pt x="1678431" y="691248"/>
                  <a:pt x="1678747" y="690068"/>
                  <a:pt x="1680475" y="689152"/>
                </a:cubicBezTo>
                <a:close/>
                <a:moveTo>
                  <a:pt x="1663887" y="689077"/>
                </a:moveTo>
                <a:cubicBezTo>
                  <a:pt x="1668002" y="688109"/>
                  <a:pt x="1672678" y="689478"/>
                  <a:pt x="1676234" y="691695"/>
                </a:cubicBezTo>
                <a:lnTo>
                  <a:pt x="1680554" y="695497"/>
                </a:lnTo>
                <a:lnTo>
                  <a:pt x="1682373" y="699780"/>
                </a:lnTo>
                <a:cubicBezTo>
                  <a:pt x="1682218" y="701463"/>
                  <a:pt x="1681176" y="703138"/>
                  <a:pt x="1678254" y="704081"/>
                </a:cubicBezTo>
                <a:lnTo>
                  <a:pt x="1676594" y="703637"/>
                </a:lnTo>
                <a:lnTo>
                  <a:pt x="1675455" y="706781"/>
                </a:lnTo>
                <a:cubicBezTo>
                  <a:pt x="1674286" y="710033"/>
                  <a:pt x="1672928" y="712890"/>
                  <a:pt x="1670110" y="714549"/>
                </a:cubicBezTo>
                <a:cubicBezTo>
                  <a:pt x="1670427" y="713369"/>
                  <a:pt x="1671404" y="709721"/>
                  <a:pt x="1672993" y="706007"/>
                </a:cubicBezTo>
                <a:lnTo>
                  <a:pt x="1674408" y="702936"/>
                </a:lnTo>
                <a:lnTo>
                  <a:pt x="1672223" y="702236"/>
                </a:lnTo>
                <a:cubicBezTo>
                  <a:pt x="1667924" y="699474"/>
                  <a:pt x="1668110" y="694348"/>
                  <a:pt x="1663887" y="689077"/>
                </a:cubicBezTo>
                <a:close/>
                <a:moveTo>
                  <a:pt x="1094274" y="688712"/>
                </a:moveTo>
                <a:cubicBezTo>
                  <a:pt x="1100351" y="691490"/>
                  <a:pt x="1100233" y="695253"/>
                  <a:pt x="1100143" y="698909"/>
                </a:cubicBezTo>
                <a:cubicBezTo>
                  <a:pt x="1099453" y="701484"/>
                  <a:pt x="1099747" y="702598"/>
                  <a:pt x="1102446" y="704702"/>
                </a:cubicBezTo>
                <a:cubicBezTo>
                  <a:pt x="1102446" y="704702"/>
                  <a:pt x="1102446" y="704702"/>
                  <a:pt x="1100230" y="707442"/>
                </a:cubicBezTo>
                <a:lnTo>
                  <a:pt x="1098673" y="707715"/>
                </a:lnTo>
                <a:cubicBezTo>
                  <a:pt x="1097843" y="707492"/>
                  <a:pt x="1096909" y="706552"/>
                  <a:pt x="1096337" y="705364"/>
                </a:cubicBezTo>
                <a:cubicBezTo>
                  <a:pt x="1094375" y="701619"/>
                  <a:pt x="1093275" y="694655"/>
                  <a:pt x="1092923" y="693755"/>
                </a:cubicBezTo>
                <a:cubicBezTo>
                  <a:pt x="1092923" y="693755"/>
                  <a:pt x="1092351" y="692566"/>
                  <a:pt x="1092058" y="691452"/>
                </a:cubicBezTo>
                <a:cubicBezTo>
                  <a:pt x="1093041" y="689991"/>
                  <a:pt x="1094569" y="689826"/>
                  <a:pt x="1094274" y="688712"/>
                </a:cubicBezTo>
                <a:close/>
                <a:moveTo>
                  <a:pt x="1433155" y="687973"/>
                </a:moveTo>
                <a:cubicBezTo>
                  <a:pt x="1437450" y="688549"/>
                  <a:pt x="1441463" y="692384"/>
                  <a:pt x="1444199" y="696567"/>
                </a:cubicBezTo>
                <a:lnTo>
                  <a:pt x="1444170" y="696675"/>
                </a:lnTo>
                <a:lnTo>
                  <a:pt x="1444820" y="695354"/>
                </a:lnTo>
                <a:cubicBezTo>
                  <a:pt x="1445477" y="696219"/>
                  <a:pt x="1445419" y="696435"/>
                  <a:pt x="1445057" y="696681"/>
                </a:cubicBezTo>
                <a:lnTo>
                  <a:pt x="1444360" y="697070"/>
                </a:lnTo>
                <a:lnTo>
                  <a:pt x="1446939" y="702937"/>
                </a:lnTo>
                <a:cubicBezTo>
                  <a:pt x="1447033" y="704802"/>
                  <a:pt x="1446879" y="706485"/>
                  <a:pt x="1445674" y="707658"/>
                </a:cubicBezTo>
                <a:cubicBezTo>
                  <a:pt x="1441617" y="708411"/>
                  <a:pt x="1437560" y="709163"/>
                  <a:pt x="1433503" y="709916"/>
                </a:cubicBezTo>
                <a:cubicBezTo>
                  <a:pt x="1425202" y="707692"/>
                  <a:pt x="1419770" y="701407"/>
                  <a:pt x="1420262" y="696248"/>
                </a:cubicBezTo>
                <a:cubicBezTo>
                  <a:pt x="1420444" y="694457"/>
                  <a:pt x="1421182" y="692814"/>
                  <a:pt x="1422720" y="691502"/>
                </a:cubicBezTo>
                <a:cubicBezTo>
                  <a:pt x="1424707" y="689619"/>
                  <a:pt x="1428019" y="688322"/>
                  <a:pt x="1433155" y="687973"/>
                </a:cubicBezTo>
                <a:close/>
                <a:moveTo>
                  <a:pt x="931326" y="684912"/>
                </a:moveTo>
                <a:cubicBezTo>
                  <a:pt x="934079" y="683910"/>
                  <a:pt x="938078" y="683372"/>
                  <a:pt x="943068" y="685227"/>
                </a:cubicBezTo>
                <a:cubicBezTo>
                  <a:pt x="942112" y="686581"/>
                  <a:pt x="954514" y="692319"/>
                  <a:pt x="953411" y="697542"/>
                </a:cubicBezTo>
                <a:cubicBezTo>
                  <a:pt x="952720" y="700118"/>
                  <a:pt x="951764" y="701472"/>
                  <a:pt x="951074" y="704046"/>
                </a:cubicBezTo>
                <a:cubicBezTo>
                  <a:pt x="946158" y="704685"/>
                  <a:pt x="942957" y="708886"/>
                  <a:pt x="931144" y="705377"/>
                </a:cubicBezTo>
                <a:cubicBezTo>
                  <a:pt x="919315" y="700827"/>
                  <a:pt x="924163" y="692695"/>
                  <a:pt x="922635" y="692861"/>
                </a:cubicBezTo>
                <a:cubicBezTo>
                  <a:pt x="920509" y="691947"/>
                  <a:pt x="920509" y="691947"/>
                  <a:pt x="918952" y="692219"/>
                </a:cubicBezTo>
                <a:cubicBezTo>
                  <a:pt x="918381" y="691031"/>
                  <a:pt x="915987" y="688895"/>
                  <a:pt x="913860" y="687980"/>
                </a:cubicBezTo>
                <a:cubicBezTo>
                  <a:pt x="915416" y="687706"/>
                  <a:pt x="916972" y="687434"/>
                  <a:pt x="916677" y="686320"/>
                </a:cubicBezTo>
                <a:cubicBezTo>
                  <a:pt x="920626" y="688183"/>
                  <a:pt x="921198" y="689372"/>
                  <a:pt x="923296" y="690394"/>
                </a:cubicBezTo>
                <a:cubicBezTo>
                  <a:pt x="922725" y="689205"/>
                  <a:pt x="924853" y="690121"/>
                  <a:pt x="924853" y="690121"/>
                </a:cubicBezTo>
                <a:cubicBezTo>
                  <a:pt x="924853" y="690121"/>
                  <a:pt x="924824" y="690227"/>
                  <a:pt x="927070" y="687380"/>
                </a:cubicBezTo>
                <a:cubicBezTo>
                  <a:pt x="927070" y="687380"/>
                  <a:pt x="928574" y="685914"/>
                  <a:pt x="931326" y="684912"/>
                </a:cubicBezTo>
                <a:close/>
                <a:moveTo>
                  <a:pt x="3746132" y="684540"/>
                </a:moveTo>
                <a:cubicBezTo>
                  <a:pt x="3746132" y="684540"/>
                  <a:pt x="3746161" y="684432"/>
                  <a:pt x="3746732" y="685621"/>
                </a:cubicBezTo>
                <a:lnTo>
                  <a:pt x="3745892" y="686545"/>
                </a:lnTo>
                <a:lnTo>
                  <a:pt x="3747476" y="686164"/>
                </a:lnTo>
                <a:close/>
                <a:moveTo>
                  <a:pt x="3304432" y="683833"/>
                </a:moveTo>
                <a:cubicBezTo>
                  <a:pt x="3306208" y="683848"/>
                  <a:pt x="3309730" y="683987"/>
                  <a:pt x="3311494" y="685150"/>
                </a:cubicBezTo>
                <a:cubicBezTo>
                  <a:pt x="3313270" y="685166"/>
                  <a:pt x="3311986" y="688847"/>
                  <a:pt x="3311986" y="688847"/>
                </a:cubicBezTo>
                <a:cubicBezTo>
                  <a:pt x="3310955" y="689375"/>
                  <a:pt x="3309543" y="689112"/>
                  <a:pt x="3307635" y="688486"/>
                </a:cubicBezTo>
                <a:cubicBezTo>
                  <a:pt x="3305975" y="688041"/>
                  <a:pt x="3304067" y="687415"/>
                  <a:pt x="3303207" y="687299"/>
                </a:cubicBezTo>
                <a:cubicBezTo>
                  <a:pt x="3302941" y="686079"/>
                  <a:pt x="3304699" y="685054"/>
                  <a:pt x="3304432" y="683833"/>
                </a:cubicBezTo>
                <a:close/>
                <a:moveTo>
                  <a:pt x="1681665" y="683605"/>
                </a:moveTo>
                <a:cubicBezTo>
                  <a:pt x="1683612" y="682977"/>
                  <a:pt x="1683612" y="682977"/>
                  <a:pt x="1686628" y="683900"/>
                </a:cubicBezTo>
                <a:cubicBezTo>
                  <a:pt x="1684324" y="686962"/>
                  <a:pt x="1684324" y="686962"/>
                  <a:pt x="1680676" y="688400"/>
                </a:cubicBezTo>
                <a:cubicBezTo>
                  <a:pt x="1680993" y="687220"/>
                  <a:pt x="1679966" y="684414"/>
                  <a:pt x="1681665" y="683605"/>
                </a:cubicBezTo>
                <a:close/>
                <a:moveTo>
                  <a:pt x="2363034" y="681944"/>
                </a:moveTo>
                <a:cubicBezTo>
                  <a:pt x="2370901" y="680257"/>
                  <a:pt x="2377688" y="687022"/>
                  <a:pt x="2382122" y="690394"/>
                </a:cubicBezTo>
                <a:lnTo>
                  <a:pt x="2380193" y="692063"/>
                </a:lnTo>
                <a:lnTo>
                  <a:pt x="2383847" y="692811"/>
                </a:lnTo>
                <a:cubicBezTo>
                  <a:pt x="2385450" y="693472"/>
                  <a:pt x="2387052" y="694131"/>
                  <a:pt x="2388904" y="694972"/>
                </a:cubicBezTo>
                <a:cubicBezTo>
                  <a:pt x="2387966" y="697366"/>
                  <a:pt x="2390596" y="700830"/>
                  <a:pt x="2387826" y="703423"/>
                </a:cubicBezTo>
                <a:cubicBezTo>
                  <a:pt x="2387826" y="703423"/>
                  <a:pt x="2386592" y="704702"/>
                  <a:pt x="2383290" y="704852"/>
                </a:cubicBezTo>
                <a:cubicBezTo>
                  <a:pt x="2379021" y="707504"/>
                  <a:pt x="2373059" y="704297"/>
                  <a:pt x="2373059" y="704297"/>
                </a:cubicBezTo>
                <a:cubicBezTo>
                  <a:pt x="2373059" y="704297"/>
                  <a:pt x="2373059" y="704297"/>
                  <a:pt x="2373354" y="705411"/>
                </a:cubicBezTo>
                <a:cubicBezTo>
                  <a:pt x="2372488" y="703108"/>
                  <a:pt x="2370401" y="700939"/>
                  <a:pt x="2369840" y="698604"/>
                </a:cubicBezTo>
                <a:lnTo>
                  <a:pt x="2370375" y="697712"/>
                </a:lnTo>
                <a:lnTo>
                  <a:pt x="2369038" y="698274"/>
                </a:lnTo>
                <a:cubicBezTo>
                  <a:pt x="2365175" y="696088"/>
                  <a:pt x="2362563" y="693664"/>
                  <a:pt x="2361506" y="690965"/>
                </a:cubicBezTo>
                <a:cubicBezTo>
                  <a:pt x="2360202" y="688085"/>
                  <a:pt x="2360702" y="685115"/>
                  <a:pt x="2363034" y="681944"/>
                </a:cubicBezTo>
                <a:close/>
                <a:moveTo>
                  <a:pt x="1595243" y="681839"/>
                </a:moveTo>
                <a:cubicBezTo>
                  <a:pt x="1600997" y="683610"/>
                  <a:pt x="1599735" y="684997"/>
                  <a:pt x="1597794" y="687813"/>
                </a:cubicBezTo>
                <a:cubicBezTo>
                  <a:pt x="1595829" y="687401"/>
                  <a:pt x="1594445" y="687030"/>
                  <a:pt x="1593787" y="686163"/>
                </a:cubicBezTo>
                <a:cubicBezTo>
                  <a:pt x="1592825" y="685331"/>
                  <a:pt x="1592864" y="684076"/>
                  <a:pt x="1593688" y="682112"/>
                </a:cubicBezTo>
                <a:cubicBezTo>
                  <a:pt x="1593688" y="682112"/>
                  <a:pt x="1595243" y="681839"/>
                  <a:pt x="1595243" y="681839"/>
                </a:cubicBezTo>
                <a:close/>
                <a:moveTo>
                  <a:pt x="4558987" y="680548"/>
                </a:moveTo>
                <a:cubicBezTo>
                  <a:pt x="4572266" y="677479"/>
                  <a:pt x="4590915" y="681758"/>
                  <a:pt x="4612232" y="699602"/>
                </a:cubicBezTo>
                <a:cubicBezTo>
                  <a:pt x="4617349" y="715923"/>
                  <a:pt x="4604010" y="730289"/>
                  <a:pt x="4577942" y="741244"/>
                </a:cubicBezTo>
                <a:cubicBezTo>
                  <a:pt x="4568447" y="739046"/>
                  <a:pt x="4560958" y="736004"/>
                  <a:pt x="4555140" y="732261"/>
                </a:cubicBezTo>
                <a:lnTo>
                  <a:pt x="4552308" y="729546"/>
                </a:lnTo>
                <a:lnTo>
                  <a:pt x="4549099" y="731562"/>
                </a:lnTo>
                <a:cubicBezTo>
                  <a:pt x="4546153" y="729277"/>
                  <a:pt x="4540999" y="728586"/>
                  <a:pt x="4538617" y="725303"/>
                </a:cubicBezTo>
                <a:cubicBezTo>
                  <a:pt x="4538617" y="725303"/>
                  <a:pt x="4537274" y="723678"/>
                  <a:pt x="4537877" y="721424"/>
                </a:cubicBezTo>
                <a:cubicBezTo>
                  <a:pt x="4536982" y="719229"/>
                  <a:pt x="4537996" y="717661"/>
                  <a:pt x="4539142" y="716704"/>
                </a:cubicBezTo>
                <a:lnTo>
                  <a:pt x="4540928" y="715573"/>
                </a:lnTo>
                <a:lnTo>
                  <a:pt x="4540796" y="714961"/>
                </a:lnTo>
                <a:lnTo>
                  <a:pt x="4540270" y="714706"/>
                </a:lnTo>
                <a:lnTo>
                  <a:pt x="4540824" y="714854"/>
                </a:lnTo>
                <a:lnTo>
                  <a:pt x="4537971" y="705579"/>
                </a:lnTo>
                <a:cubicBezTo>
                  <a:pt x="4537802" y="694034"/>
                  <a:pt x="4545709" y="683617"/>
                  <a:pt x="4558987" y="680548"/>
                </a:cubicBezTo>
                <a:close/>
                <a:moveTo>
                  <a:pt x="1144258" y="680369"/>
                </a:moveTo>
                <a:cubicBezTo>
                  <a:pt x="1144865" y="683637"/>
                  <a:pt x="1144987" y="685395"/>
                  <a:pt x="1146407" y="687845"/>
                </a:cubicBezTo>
                <a:cubicBezTo>
                  <a:pt x="1135812" y="687536"/>
                  <a:pt x="1129493" y="690098"/>
                  <a:pt x="1124072" y="688186"/>
                </a:cubicBezTo>
                <a:cubicBezTo>
                  <a:pt x="1122441" y="687633"/>
                  <a:pt x="1120676" y="686471"/>
                  <a:pt x="1119113" y="684557"/>
                </a:cubicBezTo>
                <a:cubicBezTo>
                  <a:pt x="1121981" y="680495"/>
                  <a:pt x="1133739" y="680885"/>
                  <a:pt x="1144258" y="680369"/>
                </a:cubicBezTo>
                <a:close/>
                <a:moveTo>
                  <a:pt x="2336254" y="680059"/>
                </a:moveTo>
                <a:cubicBezTo>
                  <a:pt x="2344531" y="679057"/>
                  <a:pt x="2350054" y="681687"/>
                  <a:pt x="2353284" y="686232"/>
                </a:cubicBezTo>
                <a:lnTo>
                  <a:pt x="2352138" y="687191"/>
                </a:lnTo>
                <a:lnTo>
                  <a:pt x="2354046" y="687816"/>
                </a:lnTo>
                <a:cubicBezTo>
                  <a:pt x="2355897" y="688658"/>
                  <a:pt x="2357355" y="689853"/>
                  <a:pt x="2358699" y="691479"/>
                </a:cubicBezTo>
                <a:cubicBezTo>
                  <a:pt x="2363037" y="696321"/>
                  <a:pt x="2364754" y="705406"/>
                  <a:pt x="2359188" y="707364"/>
                </a:cubicBezTo>
                <a:cubicBezTo>
                  <a:pt x="2353305" y="710503"/>
                  <a:pt x="2348094" y="710027"/>
                  <a:pt x="2343419" y="708660"/>
                </a:cubicBezTo>
                <a:cubicBezTo>
                  <a:pt x="2343419" y="708660"/>
                  <a:pt x="2343419" y="708660"/>
                  <a:pt x="2344774" y="709138"/>
                </a:cubicBezTo>
                <a:cubicBezTo>
                  <a:pt x="2350426" y="715713"/>
                  <a:pt x="2360416" y="727129"/>
                  <a:pt x="2358142" y="730084"/>
                </a:cubicBezTo>
                <a:cubicBezTo>
                  <a:pt x="2356482" y="729640"/>
                  <a:pt x="2354850" y="729088"/>
                  <a:pt x="2353230" y="727388"/>
                </a:cubicBezTo>
                <a:cubicBezTo>
                  <a:pt x="2351885" y="725764"/>
                  <a:pt x="2353794" y="726389"/>
                  <a:pt x="2352162" y="725838"/>
                </a:cubicBezTo>
                <a:cubicBezTo>
                  <a:pt x="2350542" y="724138"/>
                  <a:pt x="2350501" y="725393"/>
                  <a:pt x="2350501" y="725393"/>
                </a:cubicBezTo>
                <a:cubicBezTo>
                  <a:pt x="2350501" y="725393"/>
                  <a:pt x="2350542" y="724138"/>
                  <a:pt x="2350542" y="724138"/>
                </a:cubicBezTo>
                <a:cubicBezTo>
                  <a:pt x="2350542" y="724138"/>
                  <a:pt x="2350542" y="724138"/>
                  <a:pt x="2347853" y="720888"/>
                </a:cubicBezTo>
                <a:cubicBezTo>
                  <a:pt x="2343505" y="717193"/>
                  <a:pt x="2341569" y="716674"/>
                  <a:pt x="2338564" y="714604"/>
                </a:cubicBezTo>
                <a:cubicBezTo>
                  <a:pt x="2335877" y="711354"/>
                  <a:pt x="2335916" y="710099"/>
                  <a:pt x="2333545" y="705668"/>
                </a:cubicBezTo>
                <a:cubicBezTo>
                  <a:pt x="2335503" y="703894"/>
                  <a:pt x="2335503" y="703894"/>
                  <a:pt x="2337162" y="704338"/>
                </a:cubicBezTo>
                <a:cubicBezTo>
                  <a:pt x="2335503" y="703894"/>
                  <a:pt x="2335819" y="702713"/>
                  <a:pt x="2334475" y="701088"/>
                </a:cubicBezTo>
                <a:cubicBezTo>
                  <a:pt x="2330537" y="698078"/>
                  <a:pt x="2329757" y="695454"/>
                  <a:pt x="2330971" y="693134"/>
                </a:cubicBezTo>
                <a:lnTo>
                  <a:pt x="2336647" y="688559"/>
                </a:lnTo>
                <a:lnTo>
                  <a:pt x="2333671" y="686382"/>
                </a:lnTo>
                <a:cubicBezTo>
                  <a:pt x="2334378" y="684846"/>
                  <a:pt x="2334210" y="682157"/>
                  <a:pt x="2336254" y="680059"/>
                </a:cubicBezTo>
                <a:close/>
                <a:moveTo>
                  <a:pt x="1470014" y="679909"/>
                </a:moveTo>
                <a:cubicBezTo>
                  <a:pt x="1480436" y="689716"/>
                  <a:pt x="1497120" y="706033"/>
                  <a:pt x="1499180" y="717164"/>
                </a:cubicBezTo>
                <a:cubicBezTo>
                  <a:pt x="1497042" y="717396"/>
                  <a:pt x="1494770" y="717018"/>
                  <a:pt x="1492891" y="716284"/>
                </a:cubicBezTo>
                <a:cubicBezTo>
                  <a:pt x="1489351" y="715106"/>
                  <a:pt x="1486156" y="712640"/>
                  <a:pt x="1483410" y="709604"/>
                </a:cubicBezTo>
                <a:lnTo>
                  <a:pt x="1480400" y="705347"/>
                </a:lnTo>
                <a:lnTo>
                  <a:pt x="1478653" y="705225"/>
                </a:lnTo>
                <a:cubicBezTo>
                  <a:pt x="1475074" y="705300"/>
                  <a:pt x="1471552" y="705162"/>
                  <a:pt x="1468842" y="704206"/>
                </a:cubicBezTo>
                <a:cubicBezTo>
                  <a:pt x="1467822" y="703587"/>
                  <a:pt x="1466773" y="703076"/>
                  <a:pt x="1466362" y="702391"/>
                </a:cubicBezTo>
                <a:cubicBezTo>
                  <a:pt x="1465983" y="701599"/>
                  <a:pt x="1466213" y="700740"/>
                  <a:pt x="1467445" y="699461"/>
                </a:cubicBezTo>
                <a:cubicBezTo>
                  <a:pt x="1468689" y="697034"/>
                  <a:pt x="1470215" y="696868"/>
                  <a:pt x="1475884" y="698962"/>
                </a:cubicBezTo>
                <a:lnTo>
                  <a:pt x="1471627" y="688276"/>
                </a:lnTo>
                <a:cubicBezTo>
                  <a:pt x="1470468" y="684860"/>
                  <a:pt x="1470079" y="681881"/>
                  <a:pt x="1470014" y="679909"/>
                </a:cubicBezTo>
                <a:close/>
                <a:moveTo>
                  <a:pt x="3256954" y="679507"/>
                </a:moveTo>
                <a:cubicBezTo>
                  <a:pt x="3265698" y="678975"/>
                  <a:pt x="3272044" y="679640"/>
                  <a:pt x="3277024" y="680974"/>
                </a:cubicBezTo>
                <a:lnTo>
                  <a:pt x="3285038" y="684272"/>
                </a:lnTo>
                <a:lnTo>
                  <a:pt x="3287302" y="682463"/>
                </a:lnTo>
                <a:cubicBezTo>
                  <a:pt x="3288553" y="682224"/>
                  <a:pt x="3290271" y="682453"/>
                  <a:pt x="3292894" y="683731"/>
                </a:cubicBezTo>
                <a:cubicBezTo>
                  <a:pt x="3292894" y="683731"/>
                  <a:pt x="3293189" y="684846"/>
                  <a:pt x="3293189" y="684846"/>
                </a:cubicBezTo>
                <a:cubicBezTo>
                  <a:pt x="3291565" y="686480"/>
                  <a:pt x="3290504" y="687116"/>
                  <a:pt x="3289063" y="686960"/>
                </a:cubicBezTo>
                <a:lnTo>
                  <a:pt x="3288539" y="686704"/>
                </a:lnTo>
                <a:lnTo>
                  <a:pt x="3282027" y="688870"/>
                </a:lnTo>
                <a:cubicBezTo>
                  <a:pt x="3278695" y="689127"/>
                  <a:pt x="3275203" y="688881"/>
                  <a:pt x="3271825" y="688206"/>
                </a:cubicBezTo>
                <a:lnTo>
                  <a:pt x="3267484" y="686698"/>
                </a:lnTo>
                <a:lnTo>
                  <a:pt x="3262892" y="688343"/>
                </a:lnTo>
                <a:cubicBezTo>
                  <a:pt x="3260563" y="688178"/>
                  <a:pt x="3258188" y="687082"/>
                  <a:pt x="3255344" y="685515"/>
                </a:cubicBezTo>
                <a:lnTo>
                  <a:pt x="3261655" y="684101"/>
                </a:lnTo>
                <a:close/>
                <a:moveTo>
                  <a:pt x="5089525" y="679256"/>
                </a:moveTo>
                <a:cubicBezTo>
                  <a:pt x="5100113" y="686231"/>
                  <a:pt x="5098035" y="709481"/>
                  <a:pt x="5080387" y="710042"/>
                </a:cubicBezTo>
                <a:cubicBezTo>
                  <a:pt x="5081742" y="701666"/>
                  <a:pt x="5084337" y="694195"/>
                  <a:pt x="5080398" y="682330"/>
                </a:cubicBezTo>
                <a:cubicBezTo>
                  <a:pt x="5085113" y="682443"/>
                  <a:pt x="5083543" y="678342"/>
                  <a:pt x="5089525" y="679256"/>
                </a:cubicBezTo>
                <a:close/>
                <a:moveTo>
                  <a:pt x="1264440" y="678992"/>
                </a:moveTo>
                <a:cubicBezTo>
                  <a:pt x="1264707" y="680213"/>
                  <a:pt x="1266482" y="680229"/>
                  <a:pt x="1265249" y="681509"/>
                </a:cubicBezTo>
                <a:cubicBezTo>
                  <a:pt x="1270916" y="683602"/>
                  <a:pt x="1278836" y="693889"/>
                  <a:pt x="1278430" y="698726"/>
                </a:cubicBezTo>
                <a:cubicBezTo>
                  <a:pt x="1260858" y="691256"/>
                  <a:pt x="1267337" y="683678"/>
                  <a:pt x="1257778" y="679507"/>
                </a:cubicBezTo>
                <a:cubicBezTo>
                  <a:pt x="1260815" y="678135"/>
                  <a:pt x="1260843" y="678028"/>
                  <a:pt x="1264440" y="678992"/>
                </a:cubicBezTo>
                <a:close/>
                <a:moveTo>
                  <a:pt x="2314656" y="678758"/>
                </a:moveTo>
                <a:cubicBezTo>
                  <a:pt x="2314923" y="679978"/>
                  <a:pt x="2315149" y="682454"/>
                  <a:pt x="2318689" y="683632"/>
                </a:cubicBezTo>
                <a:cubicBezTo>
                  <a:pt x="2316148" y="685367"/>
                  <a:pt x="2313913" y="687068"/>
                  <a:pt x="2311337" y="686723"/>
                </a:cubicBezTo>
                <a:cubicBezTo>
                  <a:pt x="2310449" y="686715"/>
                  <a:pt x="2309647" y="686385"/>
                  <a:pt x="2308903" y="685841"/>
                </a:cubicBezTo>
                <a:cubicBezTo>
                  <a:pt x="2307140" y="684678"/>
                  <a:pt x="2305127" y="683333"/>
                  <a:pt x="2304871" y="680965"/>
                </a:cubicBezTo>
                <a:cubicBezTo>
                  <a:pt x="2308138" y="678736"/>
                  <a:pt x="2313148" y="679963"/>
                  <a:pt x="2314656" y="678758"/>
                </a:cubicBezTo>
                <a:close/>
                <a:moveTo>
                  <a:pt x="2098507" y="678571"/>
                </a:moveTo>
                <a:cubicBezTo>
                  <a:pt x="2100951" y="678305"/>
                  <a:pt x="2103280" y="678470"/>
                  <a:pt x="2106047" y="679211"/>
                </a:cubicBezTo>
                <a:lnTo>
                  <a:pt x="2116090" y="684893"/>
                </a:lnTo>
                <a:lnTo>
                  <a:pt x="2122804" y="681976"/>
                </a:lnTo>
                <a:cubicBezTo>
                  <a:pt x="2133344" y="679165"/>
                  <a:pt x="2145494" y="679200"/>
                  <a:pt x="2151434" y="684702"/>
                </a:cubicBezTo>
                <a:cubicBezTo>
                  <a:pt x="2137487" y="686946"/>
                  <a:pt x="2129284" y="692107"/>
                  <a:pt x="2116720" y="694721"/>
                </a:cubicBezTo>
                <a:lnTo>
                  <a:pt x="2110305" y="695417"/>
                </a:lnTo>
                <a:lnTo>
                  <a:pt x="2105569" y="697598"/>
                </a:lnTo>
                <a:cubicBezTo>
                  <a:pt x="2103010" y="698293"/>
                  <a:pt x="2100595" y="698450"/>
                  <a:pt x="2098353" y="697965"/>
                </a:cubicBezTo>
                <a:cubicBezTo>
                  <a:pt x="2095158" y="695500"/>
                  <a:pt x="2091716" y="692851"/>
                  <a:pt x="2088244" y="690311"/>
                </a:cubicBezTo>
                <a:cubicBezTo>
                  <a:pt x="2086304" y="684271"/>
                  <a:pt x="2091177" y="679367"/>
                  <a:pt x="2098507" y="678571"/>
                </a:cubicBezTo>
                <a:close/>
                <a:moveTo>
                  <a:pt x="2619302" y="678505"/>
                </a:moveTo>
                <a:cubicBezTo>
                  <a:pt x="2624110" y="680484"/>
                  <a:pt x="2630065" y="681504"/>
                  <a:pt x="2633945" y="684729"/>
                </a:cubicBezTo>
                <a:cubicBezTo>
                  <a:pt x="2635157" y="685744"/>
                  <a:pt x="2636281" y="687080"/>
                  <a:pt x="2637043" y="688664"/>
                </a:cubicBezTo>
                <a:cubicBezTo>
                  <a:pt x="2623298" y="690156"/>
                  <a:pt x="2615381" y="694244"/>
                  <a:pt x="2603867" y="697370"/>
                </a:cubicBezTo>
                <a:cubicBezTo>
                  <a:pt x="2602627" y="696463"/>
                  <a:pt x="2601721" y="695415"/>
                  <a:pt x="2600931" y="693938"/>
                </a:cubicBezTo>
                <a:cubicBezTo>
                  <a:pt x="2600141" y="692461"/>
                  <a:pt x="2599465" y="690555"/>
                  <a:pt x="2599238" y="688079"/>
                </a:cubicBezTo>
                <a:cubicBezTo>
                  <a:pt x="2603562" y="688547"/>
                  <a:pt x="2606034" y="688175"/>
                  <a:pt x="2607762" y="687259"/>
                </a:cubicBezTo>
                <a:lnTo>
                  <a:pt x="2610343" y="684271"/>
                </a:lnTo>
                <a:lnTo>
                  <a:pt x="2606487" y="684272"/>
                </a:lnTo>
                <a:cubicBezTo>
                  <a:pt x="2604769" y="684041"/>
                  <a:pt x="2603166" y="683382"/>
                  <a:pt x="2600877" y="681963"/>
                </a:cubicBezTo>
                <a:cubicBezTo>
                  <a:pt x="2602797" y="681442"/>
                  <a:pt x="2604906" y="681318"/>
                  <a:pt x="2606901" y="681623"/>
                </a:cubicBezTo>
                <a:lnTo>
                  <a:pt x="2610907" y="683271"/>
                </a:lnTo>
                <a:lnTo>
                  <a:pt x="2613020" y="679813"/>
                </a:lnTo>
                <a:cubicBezTo>
                  <a:pt x="2614167" y="678855"/>
                  <a:pt x="2616114" y="678225"/>
                  <a:pt x="2619302" y="678505"/>
                </a:cubicBezTo>
                <a:close/>
                <a:moveTo>
                  <a:pt x="3247813" y="678208"/>
                </a:moveTo>
                <a:cubicBezTo>
                  <a:pt x="3262388" y="694648"/>
                  <a:pt x="3256190" y="698967"/>
                  <a:pt x="3246437" y="697734"/>
                </a:cubicBezTo>
                <a:cubicBezTo>
                  <a:pt x="3243831" y="697495"/>
                  <a:pt x="3241340" y="696828"/>
                  <a:pt x="3238602" y="695979"/>
                </a:cubicBezTo>
                <a:cubicBezTo>
                  <a:pt x="3230693" y="693400"/>
                  <a:pt x="3223606" y="688856"/>
                  <a:pt x="3223783" y="684878"/>
                </a:cubicBezTo>
                <a:cubicBezTo>
                  <a:pt x="3224121" y="681403"/>
                  <a:pt x="3230251" y="678446"/>
                  <a:pt x="3247813" y="678208"/>
                </a:cubicBezTo>
                <a:close/>
                <a:moveTo>
                  <a:pt x="1367921" y="677969"/>
                </a:moveTo>
                <a:cubicBezTo>
                  <a:pt x="1370405" y="676450"/>
                  <a:pt x="1372007" y="677109"/>
                  <a:pt x="1375964" y="681159"/>
                </a:cubicBezTo>
                <a:cubicBezTo>
                  <a:pt x="1378317" y="684550"/>
                  <a:pt x="1381235" y="686941"/>
                  <a:pt x="1380947" y="688014"/>
                </a:cubicBezTo>
                <a:cubicBezTo>
                  <a:pt x="1382551" y="688674"/>
                  <a:pt x="1383590" y="690332"/>
                  <a:pt x="1385191" y="690991"/>
                </a:cubicBezTo>
                <a:cubicBezTo>
                  <a:pt x="1385191" y="690991"/>
                  <a:pt x="1385191" y="690991"/>
                  <a:pt x="1384627" y="691990"/>
                </a:cubicBezTo>
                <a:cubicBezTo>
                  <a:pt x="1378753" y="688460"/>
                  <a:pt x="1370394" y="686452"/>
                  <a:pt x="1366438" y="682401"/>
                </a:cubicBezTo>
                <a:cubicBezTo>
                  <a:pt x="1365779" y="681535"/>
                  <a:pt x="1365399" y="680743"/>
                  <a:pt x="1365323" y="679918"/>
                </a:cubicBezTo>
                <a:cubicBezTo>
                  <a:pt x="1365496" y="679274"/>
                  <a:pt x="1366003" y="678490"/>
                  <a:pt x="1367921" y="677969"/>
                </a:cubicBezTo>
                <a:close/>
                <a:moveTo>
                  <a:pt x="4483285" y="677240"/>
                </a:moveTo>
                <a:cubicBezTo>
                  <a:pt x="4484812" y="677075"/>
                  <a:pt x="4486501" y="677413"/>
                  <a:pt x="4488409" y="678039"/>
                </a:cubicBezTo>
                <a:cubicBezTo>
                  <a:pt x="4490144" y="679309"/>
                  <a:pt x="4490428" y="681571"/>
                  <a:pt x="4489174" y="685144"/>
                </a:cubicBezTo>
                <a:cubicBezTo>
                  <a:pt x="4487532" y="685739"/>
                  <a:pt x="4485347" y="685039"/>
                  <a:pt x="4483219" y="684123"/>
                </a:cubicBezTo>
                <a:cubicBezTo>
                  <a:pt x="4480815" y="683135"/>
                  <a:pt x="4478745" y="682005"/>
                  <a:pt x="4476866" y="681271"/>
                </a:cubicBezTo>
                <a:cubicBezTo>
                  <a:pt x="4478624" y="680246"/>
                  <a:pt x="4480133" y="679041"/>
                  <a:pt x="4478358" y="679026"/>
                </a:cubicBezTo>
                <a:cubicBezTo>
                  <a:pt x="4479866" y="677820"/>
                  <a:pt x="4481481" y="677332"/>
                  <a:pt x="4483285" y="677240"/>
                </a:cubicBezTo>
                <a:close/>
                <a:moveTo>
                  <a:pt x="3595551" y="676507"/>
                </a:moveTo>
                <a:cubicBezTo>
                  <a:pt x="3595972" y="676045"/>
                  <a:pt x="3597384" y="676308"/>
                  <a:pt x="3599044" y="676753"/>
                </a:cubicBezTo>
                <a:cubicBezTo>
                  <a:pt x="3604549" y="678343"/>
                  <a:pt x="3613411" y="682902"/>
                  <a:pt x="3614490" y="683306"/>
                </a:cubicBezTo>
                <a:lnTo>
                  <a:pt x="3616398" y="683932"/>
                </a:lnTo>
                <a:lnTo>
                  <a:pt x="3623229" y="686109"/>
                </a:lnTo>
                <a:cubicBezTo>
                  <a:pt x="3625198" y="692040"/>
                  <a:pt x="3615269" y="694785"/>
                  <a:pt x="3610285" y="696785"/>
                </a:cubicBezTo>
                <a:cubicBezTo>
                  <a:pt x="3605078" y="692975"/>
                  <a:pt x="3600148" y="689238"/>
                  <a:pt x="3599903" y="685723"/>
                </a:cubicBezTo>
                <a:lnTo>
                  <a:pt x="3605994" y="684021"/>
                </a:lnTo>
                <a:lnTo>
                  <a:pt x="3605470" y="683764"/>
                </a:lnTo>
                <a:cubicBezTo>
                  <a:pt x="3602800" y="681554"/>
                  <a:pt x="3601168" y="681002"/>
                  <a:pt x="3597617" y="680971"/>
                </a:cubicBezTo>
                <a:cubicBezTo>
                  <a:pt x="3597617" y="680971"/>
                  <a:pt x="3597617" y="680971"/>
                  <a:pt x="3594959" y="677613"/>
                </a:cubicBezTo>
                <a:close/>
                <a:moveTo>
                  <a:pt x="2259809" y="676480"/>
                </a:moveTo>
                <a:cubicBezTo>
                  <a:pt x="2264116" y="681430"/>
                  <a:pt x="2261526" y="685566"/>
                  <a:pt x="2265518" y="691696"/>
                </a:cubicBezTo>
                <a:lnTo>
                  <a:pt x="2264954" y="692694"/>
                </a:lnTo>
                <a:lnTo>
                  <a:pt x="2268224" y="695986"/>
                </a:lnTo>
                <a:cubicBezTo>
                  <a:pt x="2269194" y="699006"/>
                  <a:pt x="2266510" y="701277"/>
                  <a:pt x="2263340" y="702038"/>
                </a:cubicBezTo>
                <a:lnTo>
                  <a:pt x="2260706" y="701907"/>
                </a:lnTo>
                <a:lnTo>
                  <a:pt x="2259434" y="704440"/>
                </a:lnTo>
                <a:cubicBezTo>
                  <a:pt x="2250490" y="696869"/>
                  <a:pt x="2254242" y="678439"/>
                  <a:pt x="2259809" y="676480"/>
                </a:cubicBezTo>
                <a:close/>
                <a:moveTo>
                  <a:pt x="1879716" y="676067"/>
                </a:moveTo>
                <a:cubicBezTo>
                  <a:pt x="1885107" y="678086"/>
                  <a:pt x="1883874" y="679366"/>
                  <a:pt x="1881381" y="682033"/>
                </a:cubicBezTo>
                <a:cubicBezTo>
                  <a:pt x="1879749" y="681481"/>
                  <a:pt x="1878089" y="681036"/>
                  <a:pt x="1877431" y="680169"/>
                </a:cubicBezTo>
                <a:cubicBezTo>
                  <a:pt x="1877080" y="679270"/>
                  <a:pt x="1877091" y="678124"/>
                  <a:pt x="1878218" y="676125"/>
                </a:cubicBezTo>
                <a:cubicBezTo>
                  <a:pt x="1878218" y="676125"/>
                  <a:pt x="1879716" y="676067"/>
                  <a:pt x="1879716" y="676067"/>
                </a:cubicBezTo>
                <a:close/>
                <a:moveTo>
                  <a:pt x="4764556" y="675671"/>
                </a:moveTo>
                <a:cubicBezTo>
                  <a:pt x="4775236" y="675658"/>
                  <a:pt x="4783814" y="677956"/>
                  <a:pt x="4791346" y="676409"/>
                </a:cubicBezTo>
                <a:cubicBezTo>
                  <a:pt x="4791346" y="676409"/>
                  <a:pt x="4791346" y="676409"/>
                  <a:pt x="4794846" y="678843"/>
                </a:cubicBezTo>
                <a:cubicBezTo>
                  <a:pt x="4796622" y="678858"/>
                  <a:pt x="4796622" y="678858"/>
                  <a:pt x="4796622" y="678858"/>
                </a:cubicBezTo>
                <a:cubicBezTo>
                  <a:pt x="4798120" y="678800"/>
                  <a:pt x="4798375" y="681167"/>
                  <a:pt x="4798375" y="681167"/>
                </a:cubicBezTo>
                <a:cubicBezTo>
                  <a:pt x="4797131" y="683595"/>
                  <a:pt x="4791846" y="682294"/>
                  <a:pt x="4788572" y="682336"/>
                </a:cubicBezTo>
                <a:cubicBezTo>
                  <a:pt x="4787080" y="684582"/>
                  <a:pt x="4781578" y="679658"/>
                  <a:pt x="4780059" y="682010"/>
                </a:cubicBezTo>
                <a:cubicBezTo>
                  <a:pt x="4774823" y="678307"/>
                  <a:pt x="4769112" y="680802"/>
                  <a:pt x="4761441" y="679551"/>
                </a:cubicBezTo>
                <a:cubicBezTo>
                  <a:pt x="4758893" y="679098"/>
                  <a:pt x="4755878" y="678175"/>
                  <a:pt x="4752730" y="676642"/>
                </a:cubicBezTo>
                <a:cubicBezTo>
                  <a:pt x="4756787" y="675890"/>
                  <a:pt x="4760700" y="675673"/>
                  <a:pt x="4764556" y="675671"/>
                </a:cubicBezTo>
                <a:close/>
                <a:moveTo>
                  <a:pt x="2135306" y="674056"/>
                </a:moveTo>
                <a:cubicBezTo>
                  <a:pt x="2136937" y="674608"/>
                  <a:pt x="2135306" y="674056"/>
                  <a:pt x="2137947" y="676374"/>
                </a:cubicBezTo>
                <a:cubicBezTo>
                  <a:pt x="2136973" y="676688"/>
                  <a:pt x="2136725" y="676506"/>
                  <a:pt x="2136258" y="676036"/>
                </a:cubicBezTo>
                <a:cubicBezTo>
                  <a:pt x="2136068" y="675640"/>
                  <a:pt x="2135964" y="674922"/>
                  <a:pt x="2135306" y="674056"/>
                </a:cubicBezTo>
                <a:close/>
                <a:moveTo>
                  <a:pt x="1975773" y="673974"/>
                </a:moveTo>
                <a:cubicBezTo>
                  <a:pt x="1978320" y="674428"/>
                  <a:pt x="1980506" y="675128"/>
                  <a:pt x="1982795" y="676546"/>
                </a:cubicBezTo>
                <a:cubicBezTo>
                  <a:pt x="1986345" y="676578"/>
                  <a:pt x="1990935" y="678268"/>
                  <a:pt x="1993881" y="680552"/>
                </a:cubicBezTo>
                <a:cubicBezTo>
                  <a:pt x="1996263" y="683835"/>
                  <a:pt x="1995659" y="686088"/>
                  <a:pt x="1993742" y="686609"/>
                </a:cubicBezTo>
                <a:cubicBezTo>
                  <a:pt x="1986694" y="689666"/>
                  <a:pt x="1979822" y="688744"/>
                  <a:pt x="1974318" y="687156"/>
                </a:cubicBezTo>
                <a:cubicBezTo>
                  <a:pt x="1968841" y="685457"/>
                  <a:pt x="1965007" y="683165"/>
                  <a:pt x="1963231" y="683150"/>
                </a:cubicBezTo>
                <a:cubicBezTo>
                  <a:pt x="1959533" y="678134"/>
                  <a:pt x="1959533" y="678134"/>
                  <a:pt x="1969473" y="674242"/>
                </a:cubicBezTo>
                <a:cubicBezTo>
                  <a:pt x="1971392" y="673721"/>
                  <a:pt x="1973501" y="673596"/>
                  <a:pt x="1975773" y="673974"/>
                </a:cubicBezTo>
                <a:close/>
                <a:moveTo>
                  <a:pt x="3428253" y="673310"/>
                </a:moveTo>
                <a:cubicBezTo>
                  <a:pt x="3430017" y="674473"/>
                  <a:pt x="3430549" y="676915"/>
                  <a:pt x="3432313" y="678078"/>
                </a:cubicBezTo>
                <a:cubicBezTo>
                  <a:pt x="3430815" y="678137"/>
                  <a:pt x="3429306" y="679342"/>
                  <a:pt x="3427531" y="679326"/>
                </a:cubicBezTo>
                <a:cubicBezTo>
                  <a:pt x="3425766" y="678164"/>
                  <a:pt x="3425558" y="676728"/>
                  <a:pt x="3425903" y="675440"/>
                </a:cubicBezTo>
                <a:cubicBezTo>
                  <a:pt x="3426219" y="674260"/>
                  <a:pt x="3427366" y="673302"/>
                  <a:pt x="3428253" y="673310"/>
                </a:cubicBezTo>
                <a:close/>
                <a:moveTo>
                  <a:pt x="2200504" y="673126"/>
                </a:moveTo>
                <a:cubicBezTo>
                  <a:pt x="2206135" y="673139"/>
                  <a:pt x="2215758" y="679283"/>
                  <a:pt x="2215381" y="684012"/>
                </a:cubicBezTo>
                <a:cubicBezTo>
                  <a:pt x="2215255" y="685588"/>
                  <a:pt x="2214299" y="686942"/>
                  <a:pt x="2211378" y="687884"/>
                </a:cubicBezTo>
                <a:lnTo>
                  <a:pt x="2211043" y="688025"/>
                </a:lnTo>
                <a:lnTo>
                  <a:pt x="2211489" y="690789"/>
                </a:lnTo>
                <a:cubicBezTo>
                  <a:pt x="2204438" y="688325"/>
                  <a:pt x="2199182" y="686916"/>
                  <a:pt x="2192132" y="684452"/>
                </a:cubicBezTo>
                <a:cubicBezTo>
                  <a:pt x="2191387" y="683908"/>
                  <a:pt x="2190014" y="682391"/>
                  <a:pt x="2188947" y="680839"/>
                </a:cubicBezTo>
                <a:cubicBezTo>
                  <a:pt x="2187851" y="679395"/>
                  <a:pt x="2187366" y="677886"/>
                  <a:pt x="2188120" y="677282"/>
                </a:cubicBezTo>
                <a:cubicBezTo>
                  <a:pt x="2189601" y="676184"/>
                  <a:pt x="2191347" y="676307"/>
                  <a:pt x="2193123" y="676324"/>
                </a:cubicBezTo>
                <a:lnTo>
                  <a:pt x="2195556" y="677204"/>
                </a:lnTo>
                <a:close/>
                <a:moveTo>
                  <a:pt x="3016178" y="672722"/>
                </a:moveTo>
                <a:cubicBezTo>
                  <a:pt x="3039415" y="676763"/>
                  <a:pt x="3052329" y="701613"/>
                  <a:pt x="3042964" y="712215"/>
                </a:cubicBezTo>
                <a:cubicBezTo>
                  <a:pt x="3039688" y="715592"/>
                  <a:pt x="3034121" y="717550"/>
                  <a:pt x="3025475" y="716613"/>
                </a:cubicBezTo>
                <a:cubicBezTo>
                  <a:pt x="3007255" y="707131"/>
                  <a:pt x="3012057" y="698068"/>
                  <a:pt x="3015000" y="685976"/>
                </a:cubicBezTo>
                <a:lnTo>
                  <a:pt x="3015589" y="679348"/>
                </a:lnTo>
                <a:lnTo>
                  <a:pt x="3012552" y="680720"/>
                </a:lnTo>
                <a:cubicBezTo>
                  <a:pt x="3010195" y="680663"/>
                  <a:pt x="3007762" y="679781"/>
                  <a:pt x="3004863" y="678429"/>
                </a:cubicBezTo>
                <a:cubicBezTo>
                  <a:pt x="3006735" y="676976"/>
                  <a:pt x="3008377" y="676381"/>
                  <a:pt x="3010735" y="676438"/>
                </a:cubicBezTo>
                <a:lnTo>
                  <a:pt x="3015612" y="677054"/>
                </a:lnTo>
                <a:close/>
                <a:moveTo>
                  <a:pt x="3862309" y="672659"/>
                </a:moveTo>
                <a:cubicBezTo>
                  <a:pt x="3865683" y="676668"/>
                  <a:pt x="3863258" y="677972"/>
                  <a:pt x="3865870" y="680397"/>
                </a:cubicBezTo>
                <a:cubicBezTo>
                  <a:pt x="3862643" y="681373"/>
                  <a:pt x="3859675" y="681382"/>
                  <a:pt x="3857213" y="680608"/>
                </a:cubicBezTo>
                <a:cubicBezTo>
                  <a:pt x="3854475" y="679759"/>
                  <a:pt x="3851996" y="677945"/>
                  <a:pt x="3849631" y="675701"/>
                </a:cubicBezTo>
                <a:cubicBezTo>
                  <a:pt x="3851047" y="672630"/>
                  <a:pt x="3857807" y="670647"/>
                  <a:pt x="3862309" y="672659"/>
                </a:cubicBezTo>
                <a:close/>
                <a:moveTo>
                  <a:pt x="1292604" y="672393"/>
                </a:moveTo>
                <a:cubicBezTo>
                  <a:pt x="1294522" y="671872"/>
                  <a:pt x="1297728" y="673191"/>
                  <a:pt x="1302001" y="676061"/>
                </a:cubicBezTo>
                <a:cubicBezTo>
                  <a:pt x="1302723" y="678900"/>
                  <a:pt x="1296719" y="680281"/>
                  <a:pt x="1294482" y="681981"/>
                </a:cubicBezTo>
                <a:cubicBezTo>
                  <a:pt x="1293197" y="680142"/>
                  <a:pt x="1292158" y="678483"/>
                  <a:pt x="1291594" y="679482"/>
                </a:cubicBezTo>
                <a:cubicBezTo>
                  <a:pt x="1290555" y="677824"/>
                  <a:pt x="1290318" y="676495"/>
                  <a:pt x="1290330" y="675348"/>
                </a:cubicBezTo>
                <a:cubicBezTo>
                  <a:pt x="1290646" y="674168"/>
                  <a:pt x="1291486" y="673244"/>
                  <a:pt x="1292604" y="672393"/>
                </a:cubicBezTo>
                <a:close/>
                <a:moveTo>
                  <a:pt x="1282926" y="671984"/>
                </a:moveTo>
                <a:cubicBezTo>
                  <a:pt x="1288428" y="676909"/>
                  <a:pt x="1287418" y="675144"/>
                  <a:pt x="1289913" y="681332"/>
                </a:cubicBezTo>
                <a:lnTo>
                  <a:pt x="1280270" y="683003"/>
                </a:lnTo>
                <a:lnTo>
                  <a:pt x="1283958" y="689166"/>
                </a:lnTo>
                <a:cubicBezTo>
                  <a:pt x="1285146" y="692474"/>
                  <a:pt x="1285345" y="695057"/>
                  <a:pt x="1285477" y="695669"/>
                </a:cubicBezTo>
                <a:cubicBezTo>
                  <a:pt x="1283950" y="695834"/>
                  <a:pt x="1283950" y="695834"/>
                  <a:pt x="1283950" y="695834"/>
                </a:cubicBezTo>
                <a:cubicBezTo>
                  <a:pt x="1284039" y="692178"/>
                  <a:pt x="1278890" y="688154"/>
                  <a:pt x="1276796" y="683797"/>
                </a:cubicBezTo>
                <a:lnTo>
                  <a:pt x="1276673" y="682040"/>
                </a:lnTo>
                <a:lnTo>
                  <a:pt x="1273120" y="676487"/>
                </a:lnTo>
                <a:cubicBezTo>
                  <a:pt x="1274841" y="673382"/>
                  <a:pt x="1277295" y="671972"/>
                  <a:pt x="1282926" y="671984"/>
                </a:cubicBezTo>
                <a:close/>
                <a:moveTo>
                  <a:pt x="1631398" y="671976"/>
                </a:moveTo>
                <a:cubicBezTo>
                  <a:pt x="1636972" y="672205"/>
                  <a:pt x="1646853" y="677383"/>
                  <a:pt x="1645007" y="682063"/>
                </a:cubicBezTo>
                <a:cubicBezTo>
                  <a:pt x="1643660" y="683772"/>
                  <a:pt x="1638334" y="683724"/>
                  <a:pt x="1633716" y="682143"/>
                </a:cubicBezTo>
                <a:cubicBezTo>
                  <a:pt x="1629374" y="680633"/>
                  <a:pt x="1625436" y="677624"/>
                  <a:pt x="1627722" y="673520"/>
                </a:cubicBezTo>
                <a:cubicBezTo>
                  <a:pt x="1628038" y="672341"/>
                  <a:pt x="1629346" y="671886"/>
                  <a:pt x="1631398" y="671976"/>
                </a:cubicBezTo>
                <a:close/>
                <a:moveTo>
                  <a:pt x="4576929" y="671973"/>
                </a:moveTo>
                <a:cubicBezTo>
                  <a:pt x="4582312" y="671805"/>
                  <a:pt x="4592284" y="673327"/>
                  <a:pt x="4593477" y="673301"/>
                </a:cubicBezTo>
                <a:cubicBezTo>
                  <a:pt x="4593477" y="673301"/>
                  <a:pt x="4595253" y="673317"/>
                  <a:pt x="4596999" y="673440"/>
                </a:cubicBezTo>
                <a:cubicBezTo>
                  <a:pt x="4598763" y="674602"/>
                  <a:pt x="4599029" y="675824"/>
                  <a:pt x="4600528" y="675766"/>
                </a:cubicBezTo>
                <a:cubicBezTo>
                  <a:pt x="4596058" y="679168"/>
                  <a:pt x="4590743" y="677973"/>
                  <a:pt x="4585734" y="676746"/>
                </a:cubicBezTo>
                <a:cubicBezTo>
                  <a:pt x="4582223" y="675461"/>
                  <a:pt x="4580447" y="675446"/>
                  <a:pt x="4577191" y="676528"/>
                </a:cubicBezTo>
                <a:cubicBezTo>
                  <a:pt x="4577191" y="676528"/>
                  <a:pt x="4577191" y="676528"/>
                  <a:pt x="4573691" y="674095"/>
                </a:cubicBezTo>
                <a:lnTo>
                  <a:pt x="4573397" y="672981"/>
                </a:lnTo>
                <a:cubicBezTo>
                  <a:pt x="4573845" y="672411"/>
                  <a:pt x="4575125" y="672064"/>
                  <a:pt x="4576929" y="671973"/>
                </a:cubicBezTo>
                <a:close/>
                <a:moveTo>
                  <a:pt x="1399941" y="671368"/>
                </a:moveTo>
                <a:cubicBezTo>
                  <a:pt x="1401859" y="670848"/>
                  <a:pt x="1405410" y="670879"/>
                  <a:pt x="1407457" y="674302"/>
                </a:cubicBezTo>
                <a:cubicBezTo>
                  <a:pt x="1411414" y="678352"/>
                  <a:pt x="1410217" y="681712"/>
                  <a:pt x="1407388" y="684520"/>
                </a:cubicBezTo>
                <a:cubicBezTo>
                  <a:pt x="1408140" y="687250"/>
                  <a:pt x="1410782" y="689568"/>
                  <a:pt x="1408270" y="691195"/>
                </a:cubicBezTo>
                <a:cubicBezTo>
                  <a:pt x="1406509" y="686698"/>
                  <a:pt x="1405499" y="684933"/>
                  <a:pt x="1404777" y="682094"/>
                </a:cubicBezTo>
                <a:cubicBezTo>
                  <a:pt x="1403145" y="681542"/>
                  <a:pt x="1401543" y="680882"/>
                  <a:pt x="1400504" y="679225"/>
                </a:cubicBezTo>
                <a:cubicBezTo>
                  <a:pt x="1398179" y="675726"/>
                  <a:pt x="1400663" y="674207"/>
                  <a:pt x="1399941" y="671368"/>
                </a:cubicBezTo>
                <a:close/>
                <a:moveTo>
                  <a:pt x="3638689" y="670470"/>
                </a:moveTo>
                <a:cubicBezTo>
                  <a:pt x="3638689" y="670470"/>
                  <a:pt x="3638660" y="670577"/>
                  <a:pt x="3638096" y="671576"/>
                </a:cubicBezTo>
                <a:cubicBezTo>
                  <a:pt x="3638096" y="671576"/>
                  <a:pt x="3638689" y="670470"/>
                  <a:pt x="3640292" y="671129"/>
                </a:cubicBezTo>
                <a:cubicBezTo>
                  <a:pt x="3642774" y="678466"/>
                  <a:pt x="3637898" y="686703"/>
                  <a:pt x="3637306" y="687810"/>
                </a:cubicBezTo>
                <a:cubicBezTo>
                  <a:pt x="3635703" y="687150"/>
                  <a:pt x="3635979" y="687225"/>
                  <a:pt x="3635979" y="687225"/>
                </a:cubicBezTo>
                <a:cubicBezTo>
                  <a:pt x="3638254" y="684269"/>
                  <a:pt x="3635836" y="678906"/>
                  <a:pt x="3636432" y="674465"/>
                </a:cubicBezTo>
                <a:cubicBezTo>
                  <a:pt x="3636834" y="672963"/>
                  <a:pt x="3637208" y="671568"/>
                  <a:pt x="3638689" y="670470"/>
                </a:cubicBezTo>
                <a:close/>
                <a:moveTo>
                  <a:pt x="3889598" y="670426"/>
                </a:moveTo>
                <a:cubicBezTo>
                  <a:pt x="3891665" y="674889"/>
                  <a:pt x="3880683" y="680457"/>
                  <a:pt x="3874677" y="681838"/>
                </a:cubicBezTo>
                <a:cubicBezTo>
                  <a:pt x="3874384" y="680724"/>
                  <a:pt x="3874394" y="679576"/>
                  <a:pt x="3875292" y="678437"/>
                </a:cubicBezTo>
                <a:cubicBezTo>
                  <a:pt x="3878017" y="674912"/>
                  <a:pt x="3885179" y="671426"/>
                  <a:pt x="3889598" y="670426"/>
                </a:cubicBezTo>
                <a:close/>
                <a:moveTo>
                  <a:pt x="1606947" y="670254"/>
                </a:moveTo>
                <a:cubicBezTo>
                  <a:pt x="1613692" y="672752"/>
                  <a:pt x="1613832" y="675550"/>
                  <a:pt x="1612014" y="680123"/>
                </a:cubicBezTo>
                <a:cubicBezTo>
                  <a:pt x="1601558" y="677090"/>
                  <a:pt x="1603544" y="675208"/>
                  <a:pt x="1606947" y="670254"/>
                </a:cubicBezTo>
                <a:close/>
                <a:moveTo>
                  <a:pt x="3743610" y="669603"/>
                </a:moveTo>
                <a:cubicBezTo>
                  <a:pt x="3750327" y="672207"/>
                  <a:pt x="3748900" y="676426"/>
                  <a:pt x="3745443" y="678259"/>
                </a:cubicBezTo>
                <a:lnTo>
                  <a:pt x="3745137" y="678293"/>
                </a:lnTo>
                <a:lnTo>
                  <a:pt x="3747512" y="679388"/>
                </a:lnTo>
                <a:cubicBezTo>
                  <a:pt x="3746941" y="678201"/>
                  <a:pt x="3748498" y="677928"/>
                  <a:pt x="3749730" y="676648"/>
                </a:cubicBezTo>
                <a:cubicBezTo>
                  <a:pt x="3752066" y="670144"/>
                  <a:pt x="3760931" y="671370"/>
                  <a:pt x="3770939" y="674971"/>
                </a:cubicBezTo>
                <a:cubicBezTo>
                  <a:pt x="3769954" y="676432"/>
                  <a:pt x="3775736" y="678096"/>
                  <a:pt x="3778435" y="680199"/>
                </a:cubicBezTo>
                <a:cubicBezTo>
                  <a:pt x="3779844" y="683798"/>
                  <a:pt x="3780709" y="686099"/>
                  <a:pt x="3778493" y="688840"/>
                </a:cubicBezTo>
                <a:cubicBezTo>
                  <a:pt x="3775013" y="692968"/>
                  <a:pt x="3764797" y="696786"/>
                  <a:pt x="3758720" y="694008"/>
                </a:cubicBezTo>
                <a:cubicBezTo>
                  <a:pt x="3754627" y="692681"/>
                  <a:pt x="3751785" y="691114"/>
                  <a:pt x="3750107" y="689629"/>
                </a:cubicBezTo>
                <a:lnTo>
                  <a:pt x="3748791" y="687898"/>
                </a:lnTo>
                <a:lnTo>
                  <a:pt x="3749474" y="691990"/>
                </a:lnTo>
                <a:cubicBezTo>
                  <a:pt x="3749014" y="693707"/>
                  <a:pt x="3747753" y="695094"/>
                  <a:pt x="3746215" y="696407"/>
                </a:cubicBezTo>
                <a:cubicBezTo>
                  <a:pt x="3744009" y="698000"/>
                  <a:pt x="3743415" y="699107"/>
                  <a:pt x="3744167" y="701839"/>
                </a:cubicBezTo>
                <a:cubicBezTo>
                  <a:pt x="3744167" y="701839"/>
                  <a:pt x="3744167" y="701839"/>
                  <a:pt x="3740357" y="702772"/>
                </a:cubicBezTo>
                <a:lnTo>
                  <a:pt x="3738725" y="702220"/>
                </a:lnTo>
                <a:cubicBezTo>
                  <a:pt x="3738011" y="701568"/>
                  <a:pt x="3737992" y="700529"/>
                  <a:pt x="3738308" y="699349"/>
                </a:cubicBezTo>
                <a:cubicBezTo>
                  <a:pt x="3738550" y="697343"/>
                  <a:pt x="3740041" y="695098"/>
                  <a:pt x="3741169" y="693099"/>
                </a:cubicBezTo>
                <a:lnTo>
                  <a:pt x="3743311" y="689534"/>
                </a:lnTo>
                <a:lnTo>
                  <a:pt x="3738208" y="695296"/>
                </a:lnTo>
                <a:cubicBezTo>
                  <a:pt x="3735017" y="698352"/>
                  <a:pt x="3731722" y="700689"/>
                  <a:pt x="3729116" y="700451"/>
                </a:cubicBezTo>
                <a:cubicBezTo>
                  <a:pt x="3728545" y="699262"/>
                  <a:pt x="3728250" y="698148"/>
                  <a:pt x="3729235" y="696687"/>
                </a:cubicBezTo>
                <a:cubicBezTo>
                  <a:pt x="3730496" y="695300"/>
                  <a:pt x="3730792" y="696414"/>
                  <a:pt x="3730496" y="695300"/>
                </a:cubicBezTo>
                <a:cubicBezTo>
                  <a:pt x="3731482" y="693839"/>
                  <a:pt x="3729925" y="694112"/>
                  <a:pt x="3729925" y="694112"/>
                </a:cubicBezTo>
                <a:cubicBezTo>
                  <a:pt x="3729925" y="694112"/>
                  <a:pt x="3731453" y="693946"/>
                  <a:pt x="3731453" y="693946"/>
                </a:cubicBezTo>
                <a:cubicBezTo>
                  <a:pt x="3731453" y="693946"/>
                  <a:pt x="3731482" y="693839"/>
                  <a:pt x="3733699" y="691098"/>
                </a:cubicBezTo>
                <a:cubicBezTo>
                  <a:pt x="3735621" y="687242"/>
                  <a:pt x="3735079" y="685948"/>
                  <a:pt x="3735463" y="683406"/>
                </a:cubicBezTo>
                <a:cubicBezTo>
                  <a:pt x="3736725" y="682019"/>
                  <a:pt x="3737784" y="681383"/>
                  <a:pt x="3738903" y="680532"/>
                </a:cubicBezTo>
                <a:lnTo>
                  <a:pt x="3741108" y="678939"/>
                </a:lnTo>
                <a:lnTo>
                  <a:pt x="3736778" y="676283"/>
                </a:lnTo>
                <a:cubicBezTo>
                  <a:pt x="3737993" y="673964"/>
                  <a:pt x="3740677" y="671692"/>
                  <a:pt x="3743610" y="669603"/>
                </a:cubicBezTo>
                <a:close/>
                <a:moveTo>
                  <a:pt x="2251389" y="669165"/>
                </a:moveTo>
                <a:cubicBezTo>
                  <a:pt x="2257649" y="670152"/>
                  <a:pt x="2266349" y="674209"/>
                  <a:pt x="2270373" y="676897"/>
                </a:cubicBezTo>
                <a:cubicBezTo>
                  <a:pt x="2269342" y="677425"/>
                  <a:pt x="2267538" y="677517"/>
                  <a:pt x="2265544" y="677213"/>
                </a:cubicBezTo>
                <a:cubicBezTo>
                  <a:pt x="2259284" y="676225"/>
                  <a:pt x="2250613" y="672062"/>
                  <a:pt x="2246588" y="669373"/>
                </a:cubicBezTo>
                <a:cubicBezTo>
                  <a:pt x="2247620" y="668844"/>
                  <a:pt x="2249394" y="668860"/>
                  <a:pt x="2251389" y="669165"/>
                </a:cubicBezTo>
                <a:close/>
                <a:moveTo>
                  <a:pt x="1594675" y="668461"/>
                </a:moveTo>
                <a:cubicBezTo>
                  <a:pt x="1596774" y="669484"/>
                  <a:pt x="1595099" y="673520"/>
                  <a:pt x="1595394" y="674634"/>
                </a:cubicBezTo>
                <a:cubicBezTo>
                  <a:pt x="1593838" y="674907"/>
                  <a:pt x="1591711" y="673992"/>
                  <a:pt x="1590183" y="674158"/>
                </a:cubicBezTo>
                <a:cubicBezTo>
                  <a:pt x="1589612" y="672970"/>
                  <a:pt x="1588774" y="670560"/>
                  <a:pt x="1589760" y="669099"/>
                </a:cubicBezTo>
                <a:cubicBezTo>
                  <a:pt x="1589464" y="667985"/>
                  <a:pt x="1594675" y="668461"/>
                  <a:pt x="1594675" y="668461"/>
                </a:cubicBezTo>
                <a:close/>
                <a:moveTo>
                  <a:pt x="1478837" y="668013"/>
                </a:moveTo>
                <a:cubicBezTo>
                  <a:pt x="1482243" y="668581"/>
                  <a:pt x="1485218" y="670758"/>
                  <a:pt x="1487717" y="673612"/>
                </a:cubicBezTo>
                <a:lnTo>
                  <a:pt x="1491691" y="678702"/>
                </a:lnTo>
                <a:lnTo>
                  <a:pt x="1492388" y="678314"/>
                </a:lnTo>
                <a:cubicBezTo>
                  <a:pt x="1493916" y="678148"/>
                  <a:pt x="1495633" y="678378"/>
                  <a:pt x="1497427" y="679434"/>
                </a:cubicBezTo>
                <a:cubicBezTo>
                  <a:pt x="1503093" y="681527"/>
                  <a:pt x="1503891" y="685191"/>
                  <a:pt x="1503218" y="688806"/>
                </a:cubicBezTo>
                <a:cubicBezTo>
                  <a:pt x="1505555" y="691157"/>
                  <a:pt x="1509123" y="692228"/>
                  <a:pt x="1508156" y="694729"/>
                </a:cubicBezTo>
                <a:cubicBezTo>
                  <a:pt x="1504027" y="691324"/>
                  <a:pt x="1501986" y="690086"/>
                  <a:pt x="1499928" y="687810"/>
                </a:cubicBezTo>
                <a:cubicBezTo>
                  <a:pt x="1498123" y="687901"/>
                  <a:pt x="1496320" y="687992"/>
                  <a:pt x="1494526" y="686937"/>
                </a:cubicBezTo>
                <a:lnTo>
                  <a:pt x="1492467" y="684660"/>
                </a:lnTo>
                <a:lnTo>
                  <a:pt x="1490548" y="685181"/>
                </a:lnTo>
                <a:cubicBezTo>
                  <a:pt x="1489240" y="685635"/>
                  <a:pt x="1487875" y="686305"/>
                  <a:pt x="1486480" y="687082"/>
                </a:cubicBezTo>
                <a:cubicBezTo>
                  <a:pt x="1482165" y="679944"/>
                  <a:pt x="1475983" y="676448"/>
                  <a:pt x="1476188" y="672363"/>
                </a:cubicBezTo>
                <a:cubicBezTo>
                  <a:pt x="1476256" y="671001"/>
                  <a:pt x="1476936" y="669574"/>
                  <a:pt x="1478837" y="668013"/>
                </a:cubicBezTo>
                <a:close/>
                <a:moveTo>
                  <a:pt x="4823426" y="666260"/>
                </a:moveTo>
                <a:cubicBezTo>
                  <a:pt x="4829988" y="670548"/>
                  <a:pt x="4830081" y="681269"/>
                  <a:pt x="4818266" y="681092"/>
                </a:cubicBezTo>
                <a:cubicBezTo>
                  <a:pt x="4813400" y="679329"/>
                  <a:pt x="4808257" y="677491"/>
                  <a:pt x="4806565" y="671632"/>
                </a:cubicBezTo>
                <a:cubicBezTo>
                  <a:pt x="4809433" y="667570"/>
                  <a:pt x="4813997" y="666034"/>
                  <a:pt x="4823426" y="666260"/>
                </a:cubicBezTo>
                <a:close/>
                <a:moveTo>
                  <a:pt x="4002236" y="666221"/>
                </a:moveTo>
                <a:cubicBezTo>
                  <a:pt x="4010519" y="676260"/>
                  <a:pt x="4019236" y="681357"/>
                  <a:pt x="4028677" y="689291"/>
                </a:cubicBezTo>
                <a:cubicBezTo>
                  <a:pt x="4027519" y="691396"/>
                  <a:pt x="4025065" y="692809"/>
                  <a:pt x="4018841" y="693901"/>
                </a:cubicBezTo>
                <a:cubicBezTo>
                  <a:pt x="4013576" y="681450"/>
                  <a:pt x="4001761" y="690129"/>
                  <a:pt x="3997219" y="680517"/>
                </a:cubicBezTo>
                <a:cubicBezTo>
                  <a:pt x="3997585" y="676935"/>
                  <a:pt x="3996130" y="672405"/>
                  <a:pt x="3998491" y="669127"/>
                </a:cubicBezTo>
                <a:cubicBezTo>
                  <a:pt x="3999360" y="668096"/>
                  <a:pt x="4000536" y="667031"/>
                  <a:pt x="4002236" y="666221"/>
                </a:cubicBezTo>
                <a:close/>
                <a:moveTo>
                  <a:pt x="4471433" y="666130"/>
                </a:moveTo>
                <a:cubicBezTo>
                  <a:pt x="4476395" y="666425"/>
                  <a:pt x="4479849" y="667926"/>
                  <a:pt x="4483281" y="671720"/>
                </a:cubicBezTo>
                <a:cubicBezTo>
                  <a:pt x="4479993" y="676243"/>
                  <a:pt x="4481750" y="675219"/>
                  <a:pt x="4475008" y="678243"/>
                </a:cubicBezTo>
                <a:cubicBezTo>
                  <a:pt x="4471842" y="675670"/>
                  <a:pt x="4468399" y="673023"/>
                  <a:pt x="4464928" y="670483"/>
                </a:cubicBezTo>
                <a:cubicBezTo>
                  <a:pt x="4468185" y="669400"/>
                  <a:pt x="4469952" y="667228"/>
                  <a:pt x="4471433" y="666130"/>
                </a:cubicBezTo>
                <a:close/>
                <a:moveTo>
                  <a:pt x="3914747" y="662904"/>
                </a:moveTo>
                <a:cubicBezTo>
                  <a:pt x="3918904" y="666203"/>
                  <a:pt x="3913320" y="675976"/>
                  <a:pt x="3909621" y="679815"/>
                </a:cubicBezTo>
                <a:cubicBezTo>
                  <a:pt x="3908382" y="678908"/>
                  <a:pt x="3908087" y="677794"/>
                  <a:pt x="3907907" y="676251"/>
                </a:cubicBezTo>
                <a:cubicBezTo>
                  <a:pt x="3908141" y="672059"/>
                  <a:pt x="3911889" y="665818"/>
                  <a:pt x="3914747" y="662904"/>
                </a:cubicBezTo>
                <a:close/>
                <a:moveTo>
                  <a:pt x="1881173" y="662887"/>
                </a:moveTo>
                <a:cubicBezTo>
                  <a:pt x="1883243" y="664016"/>
                  <a:pt x="1880737" y="667831"/>
                  <a:pt x="1881033" y="668945"/>
                </a:cubicBezTo>
                <a:cubicBezTo>
                  <a:pt x="1879506" y="669111"/>
                  <a:pt x="1877436" y="667982"/>
                  <a:pt x="1875631" y="668072"/>
                </a:cubicBezTo>
                <a:cubicBezTo>
                  <a:pt x="1875365" y="666851"/>
                  <a:pt x="1874805" y="664515"/>
                  <a:pt x="1876067" y="663129"/>
                </a:cubicBezTo>
                <a:cubicBezTo>
                  <a:pt x="1875800" y="661907"/>
                  <a:pt x="1881173" y="662887"/>
                  <a:pt x="1881173" y="662887"/>
                </a:cubicBezTo>
                <a:close/>
                <a:moveTo>
                  <a:pt x="3621450" y="662861"/>
                </a:moveTo>
                <a:cubicBezTo>
                  <a:pt x="3625249" y="663074"/>
                  <a:pt x="3625249" y="663074"/>
                  <a:pt x="3627890" y="665392"/>
                </a:cubicBezTo>
                <a:cubicBezTo>
                  <a:pt x="3627602" y="666465"/>
                  <a:pt x="3629205" y="667124"/>
                  <a:pt x="3627010" y="667571"/>
                </a:cubicBezTo>
                <a:cubicBezTo>
                  <a:pt x="3631243" y="671696"/>
                  <a:pt x="3632242" y="683462"/>
                  <a:pt x="3628878" y="687161"/>
                </a:cubicBezTo>
                <a:cubicBezTo>
                  <a:pt x="3617325" y="673831"/>
                  <a:pt x="3628038" y="670376"/>
                  <a:pt x="3621450" y="662861"/>
                </a:cubicBezTo>
                <a:close/>
                <a:moveTo>
                  <a:pt x="4435541" y="662837"/>
                </a:moveTo>
                <a:cubicBezTo>
                  <a:pt x="4439277" y="666600"/>
                  <a:pt x="4444607" y="663312"/>
                  <a:pt x="4445556" y="668627"/>
                </a:cubicBezTo>
                <a:cubicBezTo>
                  <a:pt x="4444370" y="670839"/>
                  <a:pt x="4441552" y="672499"/>
                  <a:pt x="4435472" y="673055"/>
                </a:cubicBezTo>
                <a:cubicBezTo>
                  <a:pt x="4433737" y="671784"/>
                  <a:pt x="4432831" y="670737"/>
                  <a:pt x="4432202" y="669763"/>
                </a:cubicBezTo>
                <a:cubicBezTo>
                  <a:pt x="4430315" y="666842"/>
                  <a:pt x="4432943" y="664786"/>
                  <a:pt x="4435541" y="662837"/>
                </a:cubicBezTo>
                <a:close/>
                <a:moveTo>
                  <a:pt x="3304329" y="662502"/>
                </a:moveTo>
                <a:cubicBezTo>
                  <a:pt x="3308047" y="660939"/>
                  <a:pt x="3313162" y="661217"/>
                  <a:pt x="3316386" y="663576"/>
                </a:cubicBezTo>
                <a:cubicBezTo>
                  <a:pt x="3318617" y="665209"/>
                  <a:pt x="3320008" y="667766"/>
                  <a:pt x="3319670" y="671241"/>
                </a:cubicBezTo>
                <a:cubicBezTo>
                  <a:pt x="3314139" y="675279"/>
                  <a:pt x="3306489" y="671733"/>
                  <a:pt x="3300656" y="672471"/>
                </a:cubicBezTo>
                <a:cubicBezTo>
                  <a:pt x="3298290" y="667467"/>
                  <a:pt x="3300610" y="664063"/>
                  <a:pt x="3304329" y="662502"/>
                </a:cubicBezTo>
                <a:close/>
                <a:moveTo>
                  <a:pt x="5079780" y="662498"/>
                </a:moveTo>
                <a:cubicBezTo>
                  <a:pt x="5083557" y="665006"/>
                  <a:pt x="5085278" y="670758"/>
                  <a:pt x="5081983" y="673095"/>
                </a:cubicBezTo>
                <a:cubicBezTo>
                  <a:pt x="5076428" y="673905"/>
                  <a:pt x="5075008" y="671455"/>
                  <a:pt x="5071562" y="672142"/>
                </a:cubicBezTo>
                <a:cubicBezTo>
                  <a:pt x="5069812" y="666498"/>
                  <a:pt x="5073136" y="664054"/>
                  <a:pt x="5079780" y="662498"/>
                </a:cubicBezTo>
                <a:close/>
                <a:moveTo>
                  <a:pt x="3616240" y="662385"/>
                </a:moveTo>
                <a:cubicBezTo>
                  <a:pt x="3620466" y="664322"/>
                  <a:pt x="3624692" y="666260"/>
                  <a:pt x="3622198" y="668926"/>
                </a:cubicBezTo>
                <a:cubicBezTo>
                  <a:pt x="3621242" y="670280"/>
                  <a:pt x="3619981" y="671667"/>
                  <a:pt x="3616869" y="672214"/>
                </a:cubicBezTo>
                <a:cubicBezTo>
                  <a:pt x="3612643" y="670276"/>
                  <a:pt x="3612761" y="666513"/>
                  <a:pt x="3610662" y="665491"/>
                </a:cubicBezTo>
                <a:cubicBezTo>
                  <a:pt x="3612190" y="665324"/>
                  <a:pt x="3615550" y="664961"/>
                  <a:pt x="3616240" y="662385"/>
                </a:cubicBezTo>
                <a:close/>
                <a:moveTo>
                  <a:pt x="2468236" y="660108"/>
                </a:moveTo>
                <a:cubicBezTo>
                  <a:pt x="2481930" y="661018"/>
                  <a:pt x="2502629" y="681169"/>
                  <a:pt x="2490842" y="689740"/>
                </a:cubicBezTo>
                <a:cubicBezTo>
                  <a:pt x="2483951" y="682258"/>
                  <a:pt x="2478528" y="674826"/>
                  <a:pt x="2464926" y="666926"/>
                </a:cubicBezTo>
                <a:cubicBezTo>
                  <a:pt x="2468192" y="664696"/>
                  <a:pt x="2463251" y="662106"/>
                  <a:pt x="2468236" y="660108"/>
                </a:cubicBezTo>
                <a:close/>
                <a:moveTo>
                  <a:pt x="2118991" y="659680"/>
                </a:moveTo>
                <a:cubicBezTo>
                  <a:pt x="2120756" y="660842"/>
                  <a:pt x="2122786" y="663227"/>
                  <a:pt x="2119520" y="665455"/>
                </a:cubicBezTo>
                <a:cubicBezTo>
                  <a:pt x="2116518" y="668907"/>
                  <a:pt x="2111527" y="668720"/>
                  <a:pt x="2106213" y="667526"/>
                </a:cubicBezTo>
                <a:cubicBezTo>
                  <a:pt x="2102957" y="668608"/>
                  <a:pt x="2101466" y="670853"/>
                  <a:pt x="2097956" y="669568"/>
                </a:cubicBezTo>
                <a:cubicBezTo>
                  <a:pt x="2102691" y="667386"/>
                  <a:pt x="2104448" y="666362"/>
                  <a:pt x="2107705" y="665280"/>
                </a:cubicBezTo>
                <a:cubicBezTo>
                  <a:pt x="2107438" y="664059"/>
                  <a:pt x="2107449" y="662911"/>
                  <a:pt x="2108930" y="661813"/>
                </a:cubicBezTo>
                <a:cubicBezTo>
                  <a:pt x="2112196" y="659584"/>
                  <a:pt x="2115736" y="660762"/>
                  <a:pt x="2118991" y="659680"/>
                </a:cubicBezTo>
                <a:close/>
                <a:moveTo>
                  <a:pt x="3365696" y="658848"/>
                </a:moveTo>
                <a:cubicBezTo>
                  <a:pt x="3367525" y="661984"/>
                  <a:pt x="3372539" y="659876"/>
                  <a:pt x="3373775" y="664118"/>
                </a:cubicBezTo>
                <a:cubicBezTo>
                  <a:pt x="3370274" y="670541"/>
                  <a:pt x="3351372" y="674675"/>
                  <a:pt x="3338309" y="671405"/>
                </a:cubicBezTo>
                <a:cubicBezTo>
                  <a:pt x="3334160" y="670293"/>
                  <a:pt x="3330515" y="668397"/>
                  <a:pt x="3328323" y="665509"/>
                </a:cubicBezTo>
                <a:cubicBezTo>
                  <a:pt x="3340207" y="664324"/>
                  <a:pt x="3351498" y="664243"/>
                  <a:pt x="3365696" y="658848"/>
                </a:cubicBezTo>
                <a:close/>
                <a:moveTo>
                  <a:pt x="2047630" y="658153"/>
                </a:moveTo>
                <a:cubicBezTo>
                  <a:pt x="2053384" y="659924"/>
                  <a:pt x="2056349" y="663249"/>
                  <a:pt x="2054703" y="667178"/>
                </a:cubicBezTo>
                <a:cubicBezTo>
                  <a:pt x="2051885" y="668838"/>
                  <a:pt x="2048230" y="668089"/>
                  <a:pt x="2044576" y="667341"/>
                </a:cubicBezTo>
                <a:cubicBezTo>
                  <a:pt x="2041561" y="666417"/>
                  <a:pt x="2040379" y="665296"/>
                  <a:pt x="2040112" y="664074"/>
                </a:cubicBezTo>
                <a:cubicBezTo>
                  <a:pt x="2039818" y="662960"/>
                  <a:pt x="2040497" y="661532"/>
                  <a:pt x="2041730" y="660252"/>
                </a:cubicBezTo>
                <a:cubicBezTo>
                  <a:pt x="2043700" y="657330"/>
                  <a:pt x="2047630" y="658153"/>
                  <a:pt x="2047630" y="658153"/>
                </a:cubicBezTo>
                <a:close/>
                <a:moveTo>
                  <a:pt x="4593150" y="657918"/>
                </a:moveTo>
                <a:cubicBezTo>
                  <a:pt x="4595935" y="659700"/>
                  <a:pt x="4597327" y="662258"/>
                  <a:pt x="4596788" y="666483"/>
                </a:cubicBezTo>
                <a:cubicBezTo>
                  <a:pt x="4592615" y="667666"/>
                  <a:pt x="4590038" y="667319"/>
                  <a:pt x="4587911" y="666405"/>
                </a:cubicBezTo>
                <a:cubicBezTo>
                  <a:pt x="4585813" y="665382"/>
                  <a:pt x="4584468" y="663757"/>
                  <a:pt x="4582877" y="661951"/>
                </a:cubicBezTo>
                <a:cubicBezTo>
                  <a:pt x="4588985" y="661288"/>
                  <a:pt x="4585927" y="656099"/>
                  <a:pt x="4593150" y="657918"/>
                </a:cubicBezTo>
                <a:close/>
                <a:moveTo>
                  <a:pt x="3972161" y="657817"/>
                </a:moveTo>
                <a:cubicBezTo>
                  <a:pt x="3974881" y="657626"/>
                  <a:pt x="3977734" y="658046"/>
                  <a:pt x="3980577" y="659612"/>
                </a:cubicBezTo>
                <a:cubicBezTo>
                  <a:pt x="3988536" y="668645"/>
                  <a:pt x="3974127" y="675939"/>
                  <a:pt x="3964004" y="672767"/>
                </a:cubicBezTo>
                <a:cubicBezTo>
                  <a:pt x="3957855" y="665829"/>
                  <a:pt x="3964219" y="658680"/>
                  <a:pt x="3972161" y="657817"/>
                </a:cubicBezTo>
                <a:close/>
                <a:moveTo>
                  <a:pt x="1466536" y="657473"/>
                </a:moveTo>
                <a:cubicBezTo>
                  <a:pt x="1467226" y="654897"/>
                  <a:pt x="1471176" y="656760"/>
                  <a:pt x="1473274" y="657782"/>
                </a:cubicBezTo>
                <a:cubicBezTo>
                  <a:pt x="1468664" y="658387"/>
                  <a:pt x="1467432" y="659666"/>
                  <a:pt x="1467136" y="658553"/>
                </a:cubicBezTo>
                <a:cubicBezTo>
                  <a:pt x="1465580" y="658826"/>
                  <a:pt x="1465010" y="657638"/>
                  <a:pt x="1466536" y="657473"/>
                </a:cubicBezTo>
                <a:close/>
                <a:moveTo>
                  <a:pt x="2969610" y="657253"/>
                </a:moveTo>
                <a:cubicBezTo>
                  <a:pt x="2968162" y="663765"/>
                  <a:pt x="2971619" y="670787"/>
                  <a:pt x="2974361" y="677156"/>
                </a:cubicBezTo>
                <a:lnTo>
                  <a:pt x="2975787" y="681793"/>
                </a:lnTo>
                <a:lnTo>
                  <a:pt x="2979647" y="678459"/>
                </a:lnTo>
                <a:cubicBezTo>
                  <a:pt x="2986779" y="683934"/>
                  <a:pt x="2987786" y="689034"/>
                  <a:pt x="2985870" y="695075"/>
                </a:cubicBezTo>
                <a:cubicBezTo>
                  <a:pt x="2984153" y="694846"/>
                  <a:pt x="2982054" y="693823"/>
                  <a:pt x="2980070" y="692372"/>
                </a:cubicBezTo>
                <a:lnTo>
                  <a:pt x="2975826" y="689395"/>
                </a:lnTo>
                <a:lnTo>
                  <a:pt x="2974066" y="693753"/>
                </a:lnTo>
                <a:cubicBezTo>
                  <a:pt x="2972837" y="691698"/>
                  <a:pt x="2970777" y="689421"/>
                  <a:pt x="2968718" y="687145"/>
                </a:cubicBezTo>
                <a:lnTo>
                  <a:pt x="2967565" y="685916"/>
                </a:lnTo>
                <a:lnTo>
                  <a:pt x="2963346" y="686166"/>
                </a:lnTo>
                <a:lnTo>
                  <a:pt x="2956191" y="682983"/>
                </a:lnTo>
                <a:lnTo>
                  <a:pt x="2958099" y="692465"/>
                </a:lnTo>
                <a:cubicBezTo>
                  <a:pt x="2957988" y="698415"/>
                  <a:pt x="2955767" y="704490"/>
                  <a:pt x="2950825" y="710757"/>
                </a:cubicBezTo>
                <a:cubicBezTo>
                  <a:pt x="2948076" y="711055"/>
                  <a:pt x="2945471" y="710816"/>
                  <a:pt x="2943505" y="710404"/>
                </a:cubicBezTo>
                <a:cubicBezTo>
                  <a:pt x="2937055" y="709021"/>
                  <a:pt x="2933490" y="704617"/>
                  <a:pt x="2932513" y="699409"/>
                </a:cubicBezTo>
                <a:cubicBezTo>
                  <a:pt x="2930651" y="690860"/>
                  <a:pt x="2935359" y="679931"/>
                  <a:pt x="2944297" y="676461"/>
                </a:cubicBezTo>
                <a:lnTo>
                  <a:pt x="2944602" y="676428"/>
                </a:lnTo>
                <a:lnTo>
                  <a:pt x="2937012" y="669334"/>
                </a:lnTo>
                <a:cubicBezTo>
                  <a:pt x="2937925" y="663714"/>
                  <a:pt x="2941307" y="661054"/>
                  <a:pt x="2945641" y="660376"/>
                </a:cubicBezTo>
                <a:lnTo>
                  <a:pt x="2955670" y="661683"/>
                </a:lnTo>
                <a:lnTo>
                  <a:pt x="2955929" y="660718"/>
                </a:lnTo>
                <a:cubicBezTo>
                  <a:pt x="2958441" y="659091"/>
                  <a:pt x="2962919" y="657876"/>
                  <a:pt x="2969610" y="657253"/>
                </a:cubicBezTo>
                <a:close/>
                <a:moveTo>
                  <a:pt x="4922170" y="654969"/>
                </a:moveTo>
                <a:cubicBezTo>
                  <a:pt x="4933625" y="655106"/>
                  <a:pt x="4946343" y="657450"/>
                  <a:pt x="4951843" y="659613"/>
                </a:cubicBezTo>
                <a:cubicBezTo>
                  <a:pt x="4937971" y="662682"/>
                  <a:pt x="4914821" y="667174"/>
                  <a:pt x="4900070" y="663566"/>
                </a:cubicBezTo>
                <a:cubicBezTo>
                  <a:pt x="4900521" y="656902"/>
                  <a:pt x="4910714" y="654832"/>
                  <a:pt x="4922170" y="654969"/>
                </a:cubicBezTo>
                <a:close/>
                <a:moveTo>
                  <a:pt x="5199141" y="654232"/>
                </a:moveTo>
                <a:cubicBezTo>
                  <a:pt x="5199744" y="660833"/>
                  <a:pt x="5195303" y="664127"/>
                  <a:pt x="5187264" y="666459"/>
                </a:cubicBezTo>
                <a:cubicBezTo>
                  <a:pt x="5185996" y="665659"/>
                  <a:pt x="5185263" y="663967"/>
                  <a:pt x="5184864" y="662136"/>
                </a:cubicBezTo>
                <a:cubicBezTo>
                  <a:pt x="5184465" y="660304"/>
                  <a:pt x="5184124" y="658257"/>
                  <a:pt x="5183973" y="656607"/>
                </a:cubicBezTo>
                <a:cubicBezTo>
                  <a:pt x="5187296" y="654163"/>
                  <a:pt x="5193129" y="653425"/>
                  <a:pt x="5199141" y="654232"/>
                </a:cubicBezTo>
                <a:close/>
                <a:moveTo>
                  <a:pt x="2417333" y="654173"/>
                </a:moveTo>
                <a:cubicBezTo>
                  <a:pt x="2418838" y="656302"/>
                  <a:pt x="2418464" y="657697"/>
                  <a:pt x="2417290" y="658762"/>
                </a:cubicBezTo>
                <a:lnTo>
                  <a:pt x="2416039" y="659001"/>
                </a:lnTo>
                <a:lnTo>
                  <a:pt x="2420503" y="662268"/>
                </a:lnTo>
                <a:cubicBezTo>
                  <a:pt x="2418321" y="667088"/>
                  <a:pt x="2419525" y="665916"/>
                  <a:pt x="2413890" y="669237"/>
                </a:cubicBezTo>
                <a:cubicBezTo>
                  <a:pt x="2410199" y="666407"/>
                  <a:pt x="2406509" y="663578"/>
                  <a:pt x="2402789" y="660857"/>
                </a:cubicBezTo>
                <a:lnTo>
                  <a:pt x="2405751" y="658660"/>
                </a:lnTo>
                <a:lnTo>
                  <a:pt x="2404428" y="654741"/>
                </a:lnTo>
                <a:cubicBezTo>
                  <a:pt x="2407903" y="653947"/>
                  <a:pt x="2412618" y="654060"/>
                  <a:pt x="2417333" y="654173"/>
                </a:cubicBezTo>
                <a:close/>
                <a:moveTo>
                  <a:pt x="3645456" y="652963"/>
                </a:moveTo>
                <a:cubicBezTo>
                  <a:pt x="3647889" y="653846"/>
                  <a:pt x="3649567" y="655330"/>
                  <a:pt x="3650156" y="657557"/>
                </a:cubicBezTo>
                <a:cubicBezTo>
                  <a:pt x="3646293" y="664227"/>
                  <a:pt x="3637374" y="659883"/>
                  <a:pt x="3626798" y="660614"/>
                </a:cubicBezTo>
                <a:cubicBezTo>
                  <a:pt x="3625861" y="654153"/>
                  <a:pt x="3638100" y="650532"/>
                  <a:pt x="3645456" y="652963"/>
                </a:cubicBezTo>
                <a:close/>
                <a:moveTo>
                  <a:pt x="1981132" y="652870"/>
                </a:moveTo>
                <a:cubicBezTo>
                  <a:pt x="1990091" y="647105"/>
                  <a:pt x="1998327" y="656212"/>
                  <a:pt x="1996012" y="660423"/>
                </a:cubicBezTo>
                <a:cubicBezTo>
                  <a:pt x="1994065" y="661051"/>
                  <a:pt x="1992231" y="661249"/>
                  <a:pt x="1990514" y="661019"/>
                </a:cubicBezTo>
                <a:cubicBezTo>
                  <a:pt x="1985056" y="660362"/>
                  <a:pt x="1980459" y="656485"/>
                  <a:pt x="1981132" y="652870"/>
                </a:cubicBezTo>
                <a:close/>
                <a:moveTo>
                  <a:pt x="957076" y="652870"/>
                </a:moveTo>
                <a:cubicBezTo>
                  <a:pt x="961191" y="651902"/>
                  <a:pt x="964109" y="654294"/>
                  <a:pt x="964109" y="654294"/>
                </a:cubicBezTo>
                <a:cubicBezTo>
                  <a:pt x="967790" y="658270"/>
                  <a:pt x="968224" y="662181"/>
                  <a:pt x="963793" y="664330"/>
                </a:cubicBezTo>
                <a:cubicBezTo>
                  <a:pt x="960271" y="664190"/>
                  <a:pt x="957353" y="661799"/>
                  <a:pt x="954712" y="659481"/>
                </a:cubicBezTo>
                <a:cubicBezTo>
                  <a:pt x="952872" y="657492"/>
                  <a:pt x="952358" y="656090"/>
                  <a:pt x="953199" y="655166"/>
                </a:cubicBezTo>
                <a:cubicBezTo>
                  <a:pt x="953792" y="654059"/>
                  <a:pt x="955158" y="653390"/>
                  <a:pt x="957076" y="652870"/>
                </a:cubicBezTo>
                <a:close/>
                <a:moveTo>
                  <a:pt x="4195124" y="652292"/>
                </a:moveTo>
                <a:cubicBezTo>
                  <a:pt x="4202784" y="653379"/>
                  <a:pt x="4204589" y="664493"/>
                  <a:pt x="4208111" y="670439"/>
                </a:cubicBezTo>
                <a:cubicBezTo>
                  <a:pt x="4202504" y="673653"/>
                  <a:pt x="4200557" y="674280"/>
                  <a:pt x="4193122" y="674358"/>
                </a:cubicBezTo>
                <a:cubicBezTo>
                  <a:pt x="4189241" y="671133"/>
                  <a:pt x="4187411" y="667998"/>
                  <a:pt x="4186499" y="664763"/>
                </a:cubicBezTo>
                <a:cubicBezTo>
                  <a:pt x="4185558" y="661636"/>
                  <a:pt x="4185256" y="658336"/>
                  <a:pt x="4185231" y="655108"/>
                </a:cubicBezTo>
                <a:cubicBezTo>
                  <a:pt x="4189366" y="652681"/>
                  <a:pt x="4192570" y="651929"/>
                  <a:pt x="4195124" y="652292"/>
                </a:cubicBezTo>
                <a:close/>
                <a:moveTo>
                  <a:pt x="4215719" y="652007"/>
                </a:moveTo>
                <a:cubicBezTo>
                  <a:pt x="4215719" y="652007"/>
                  <a:pt x="4216912" y="651982"/>
                  <a:pt x="4218295" y="652353"/>
                </a:cubicBezTo>
                <a:cubicBezTo>
                  <a:pt x="4219678" y="652723"/>
                  <a:pt x="4221310" y="653276"/>
                  <a:pt x="4221968" y="654142"/>
                </a:cubicBezTo>
                <a:cubicBezTo>
                  <a:pt x="4224914" y="656427"/>
                  <a:pt x="4219129" y="658096"/>
                  <a:pt x="4218565" y="659096"/>
                </a:cubicBezTo>
                <a:cubicBezTo>
                  <a:pt x="4217591" y="659409"/>
                  <a:pt x="4216617" y="659724"/>
                  <a:pt x="4215729" y="659716"/>
                </a:cubicBezTo>
                <a:cubicBezTo>
                  <a:pt x="4214842" y="659708"/>
                  <a:pt x="4214317" y="659452"/>
                  <a:pt x="4213660" y="658586"/>
                </a:cubicBezTo>
                <a:cubicBezTo>
                  <a:pt x="4212316" y="656960"/>
                  <a:pt x="4210713" y="656301"/>
                  <a:pt x="4212948" y="654600"/>
                </a:cubicBezTo>
                <a:cubicBezTo>
                  <a:pt x="4213236" y="653527"/>
                  <a:pt x="4215155" y="653006"/>
                  <a:pt x="4215719" y="652007"/>
                </a:cubicBezTo>
                <a:close/>
                <a:moveTo>
                  <a:pt x="3254275" y="651878"/>
                </a:moveTo>
                <a:lnTo>
                  <a:pt x="3256725" y="653799"/>
                </a:lnTo>
                <a:lnTo>
                  <a:pt x="3256783" y="653585"/>
                </a:lnTo>
                <a:cubicBezTo>
                  <a:pt x="3258120" y="653023"/>
                  <a:pt x="3260257" y="652791"/>
                  <a:pt x="3262644" y="652740"/>
                </a:cubicBezTo>
                <a:cubicBezTo>
                  <a:pt x="3270324" y="656178"/>
                  <a:pt x="3269047" y="662047"/>
                  <a:pt x="3272699" y="666129"/>
                </a:cubicBezTo>
                <a:cubicBezTo>
                  <a:pt x="3269996" y="667360"/>
                  <a:pt x="3267247" y="667659"/>
                  <a:pt x="3264671" y="667315"/>
                </a:cubicBezTo>
                <a:lnTo>
                  <a:pt x="3262076" y="665929"/>
                </a:lnTo>
                <a:lnTo>
                  <a:pt x="3260624" y="666920"/>
                </a:lnTo>
                <a:cubicBezTo>
                  <a:pt x="3258676" y="667547"/>
                  <a:pt x="3256071" y="667309"/>
                  <a:pt x="3251643" y="666123"/>
                </a:cubicBezTo>
                <a:cubicBezTo>
                  <a:pt x="3251643" y="666123"/>
                  <a:pt x="3249879" y="664961"/>
                  <a:pt x="3249879" y="664961"/>
                </a:cubicBezTo>
                <a:cubicBezTo>
                  <a:pt x="3242534" y="661382"/>
                  <a:pt x="3238161" y="654460"/>
                  <a:pt x="3239405" y="652034"/>
                </a:cubicBezTo>
                <a:cubicBezTo>
                  <a:pt x="3242423" y="649622"/>
                  <a:pt x="3248704" y="648316"/>
                  <a:pt x="3254275" y="651878"/>
                </a:cubicBezTo>
                <a:close/>
                <a:moveTo>
                  <a:pt x="2472351" y="650285"/>
                </a:moveTo>
                <a:cubicBezTo>
                  <a:pt x="2471764" y="653578"/>
                  <a:pt x="2473137" y="655096"/>
                  <a:pt x="2471477" y="654651"/>
                </a:cubicBezTo>
                <a:cubicBezTo>
                  <a:pt x="2471333" y="655187"/>
                  <a:pt x="2470999" y="655329"/>
                  <a:pt x="2470446" y="655180"/>
                </a:cubicBezTo>
                <a:cubicBezTo>
                  <a:pt x="2470169" y="655105"/>
                  <a:pt x="2469703" y="654636"/>
                  <a:pt x="2469846" y="654099"/>
                </a:cubicBezTo>
                <a:cubicBezTo>
                  <a:pt x="2466842" y="652029"/>
                  <a:pt x="2470432" y="650806"/>
                  <a:pt x="2472351" y="650285"/>
                </a:cubicBezTo>
                <a:close/>
                <a:moveTo>
                  <a:pt x="1072042" y="648139"/>
                </a:moveTo>
                <a:cubicBezTo>
                  <a:pt x="1074376" y="648420"/>
                  <a:pt x="1076584" y="649586"/>
                  <a:pt x="1078280" y="652111"/>
                </a:cubicBezTo>
                <a:cubicBezTo>
                  <a:pt x="1079595" y="653843"/>
                  <a:pt x="1080663" y="655394"/>
                  <a:pt x="1079031" y="654841"/>
                </a:cubicBezTo>
                <a:cubicBezTo>
                  <a:pt x="1078744" y="655915"/>
                  <a:pt x="1077112" y="655362"/>
                  <a:pt x="1075194" y="655884"/>
                </a:cubicBezTo>
                <a:cubicBezTo>
                  <a:pt x="1073447" y="655760"/>
                  <a:pt x="1071205" y="655274"/>
                  <a:pt x="1069602" y="654615"/>
                </a:cubicBezTo>
                <a:cubicBezTo>
                  <a:pt x="1067722" y="653882"/>
                  <a:pt x="1066454" y="653082"/>
                  <a:pt x="1065797" y="652216"/>
                </a:cubicBezTo>
                <a:cubicBezTo>
                  <a:pt x="1064758" y="650557"/>
                  <a:pt x="1065045" y="649484"/>
                  <a:pt x="1065045" y="649484"/>
                </a:cubicBezTo>
                <a:cubicBezTo>
                  <a:pt x="1067246" y="648464"/>
                  <a:pt x="1069707" y="647858"/>
                  <a:pt x="1072042" y="648139"/>
                </a:cubicBezTo>
                <a:close/>
                <a:moveTo>
                  <a:pt x="1374646" y="647340"/>
                </a:moveTo>
                <a:cubicBezTo>
                  <a:pt x="1380578" y="650655"/>
                  <a:pt x="1379906" y="654270"/>
                  <a:pt x="1379235" y="657885"/>
                </a:cubicBezTo>
                <a:cubicBezTo>
                  <a:pt x="1378296" y="660279"/>
                  <a:pt x="1378562" y="661500"/>
                  <a:pt x="1380926" y="663744"/>
                </a:cubicBezTo>
                <a:cubicBezTo>
                  <a:pt x="1380926" y="663744"/>
                  <a:pt x="1380926" y="663744"/>
                  <a:pt x="1378184" y="666229"/>
                </a:cubicBezTo>
                <a:lnTo>
                  <a:pt x="1376658" y="666394"/>
                </a:lnTo>
                <a:cubicBezTo>
                  <a:pt x="1375828" y="666172"/>
                  <a:pt x="1375198" y="665198"/>
                  <a:pt x="1374655" y="663902"/>
                </a:cubicBezTo>
                <a:cubicBezTo>
                  <a:pt x="1372999" y="660124"/>
                  <a:pt x="1373093" y="653135"/>
                  <a:pt x="1372741" y="652234"/>
                </a:cubicBezTo>
                <a:cubicBezTo>
                  <a:pt x="1372741" y="652234"/>
                  <a:pt x="1372446" y="651121"/>
                  <a:pt x="1372180" y="649899"/>
                </a:cubicBezTo>
                <a:cubicBezTo>
                  <a:pt x="1373412" y="648620"/>
                  <a:pt x="1374939" y="648454"/>
                  <a:pt x="1374646" y="647340"/>
                </a:cubicBezTo>
                <a:close/>
                <a:moveTo>
                  <a:pt x="4058673" y="647073"/>
                </a:moveTo>
                <a:cubicBezTo>
                  <a:pt x="4068763" y="644832"/>
                  <a:pt x="4082610" y="647392"/>
                  <a:pt x="4095700" y="659409"/>
                </a:cubicBezTo>
                <a:lnTo>
                  <a:pt x="4095022" y="660837"/>
                </a:lnTo>
                <a:lnTo>
                  <a:pt x="4098586" y="656387"/>
                </a:lnTo>
                <a:cubicBezTo>
                  <a:pt x="4101803" y="656559"/>
                  <a:pt x="4104483" y="657623"/>
                  <a:pt x="4106714" y="659256"/>
                </a:cubicBezTo>
                <a:lnTo>
                  <a:pt x="4108773" y="661532"/>
                </a:lnTo>
                <a:lnTo>
                  <a:pt x="4110161" y="658570"/>
                </a:lnTo>
                <a:cubicBezTo>
                  <a:pt x="4114722" y="660366"/>
                  <a:pt x="4118185" y="660720"/>
                  <a:pt x="4121189" y="662789"/>
                </a:cubicBezTo>
                <a:cubicBezTo>
                  <a:pt x="4121797" y="666057"/>
                  <a:pt x="4120726" y="667840"/>
                  <a:pt x="4118253" y="668212"/>
                </a:cubicBezTo>
                <a:lnTo>
                  <a:pt x="4112414" y="666763"/>
                </a:lnTo>
                <a:lnTo>
                  <a:pt x="4113391" y="671969"/>
                </a:lnTo>
                <a:cubicBezTo>
                  <a:pt x="4113122" y="674083"/>
                  <a:pt x="4112356" y="675832"/>
                  <a:pt x="4110818" y="677146"/>
                </a:cubicBezTo>
                <a:cubicBezTo>
                  <a:pt x="4106132" y="676925"/>
                  <a:pt x="4101745" y="674484"/>
                  <a:pt x="4099028" y="671341"/>
                </a:cubicBezTo>
                <a:lnTo>
                  <a:pt x="4094935" y="661159"/>
                </a:lnTo>
                <a:lnTo>
                  <a:pt x="4090687" y="670372"/>
                </a:lnTo>
                <a:cubicBezTo>
                  <a:pt x="4083413" y="679807"/>
                  <a:pt x="4070115" y="684063"/>
                  <a:pt x="4056652" y="678961"/>
                </a:cubicBezTo>
                <a:cubicBezTo>
                  <a:pt x="4051129" y="676332"/>
                  <a:pt x="4047497" y="673288"/>
                  <a:pt x="4045391" y="670079"/>
                </a:cubicBezTo>
                <a:lnTo>
                  <a:pt x="4044003" y="664187"/>
                </a:lnTo>
                <a:lnTo>
                  <a:pt x="4041546" y="660078"/>
                </a:lnTo>
                <a:cubicBezTo>
                  <a:pt x="4041546" y="660078"/>
                  <a:pt x="4041546" y="660078"/>
                  <a:pt x="4041812" y="661300"/>
                </a:cubicBezTo>
                <a:lnTo>
                  <a:pt x="4036662" y="666130"/>
                </a:lnTo>
                <a:lnTo>
                  <a:pt x="4038369" y="667508"/>
                </a:lnTo>
                <a:lnTo>
                  <a:pt x="4035124" y="667443"/>
                </a:lnTo>
                <a:lnTo>
                  <a:pt x="4032019" y="670176"/>
                </a:lnTo>
                <a:cubicBezTo>
                  <a:pt x="4028304" y="672975"/>
                  <a:pt x="4024789" y="675024"/>
                  <a:pt x="4021964" y="674497"/>
                </a:cubicBezTo>
                <a:cubicBezTo>
                  <a:pt x="4021669" y="673383"/>
                  <a:pt x="4021403" y="672161"/>
                  <a:pt x="4022636" y="670882"/>
                </a:cubicBezTo>
                <a:cubicBezTo>
                  <a:pt x="4024174" y="669569"/>
                  <a:pt x="4024439" y="670790"/>
                  <a:pt x="4024174" y="669569"/>
                </a:cubicBezTo>
                <a:cubicBezTo>
                  <a:pt x="4025407" y="668290"/>
                  <a:pt x="4023879" y="668455"/>
                  <a:pt x="4023879" y="668455"/>
                </a:cubicBezTo>
                <a:cubicBezTo>
                  <a:pt x="4023879" y="668455"/>
                  <a:pt x="4025407" y="668290"/>
                  <a:pt x="4025407" y="668290"/>
                </a:cubicBezTo>
                <a:cubicBezTo>
                  <a:pt x="4025407" y="668290"/>
                  <a:pt x="4025407" y="668290"/>
                  <a:pt x="4025799" y="667934"/>
                </a:cubicBezTo>
                <a:lnTo>
                  <a:pt x="4026668" y="666903"/>
                </a:lnTo>
                <a:lnTo>
                  <a:pt x="4019129" y="666262"/>
                </a:lnTo>
                <a:cubicBezTo>
                  <a:pt x="4015172" y="662213"/>
                  <a:pt x="4006181" y="662564"/>
                  <a:pt x="4000939" y="656673"/>
                </a:cubicBezTo>
                <a:cubicBezTo>
                  <a:pt x="4005341" y="654633"/>
                  <a:pt x="4014119" y="656180"/>
                  <a:pt x="4021752" y="658685"/>
                </a:cubicBezTo>
                <a:lnTo>
                  <a:pt x="4029766" y="661983"/>
                </a:lnTo>
                <a:lnTo>
                  <a:pt x="4030187" y="661520"/>
                </a:lnTo>
                <a:cubicBezTo>
                  <a:pt x="4030474" y="660448"/>
                  <a:pt x="4030704" y="659589"/>
                  <a:pt x="4031049" y="658301"/>
                </a:cubicBezTo>
                <a:cubicBezTo>
                  <a:pt x="4033820" y="655708"/>
                  <a:pt x="4035346" y="655543"/>
                  <a:pt x="4039616" y="652892"/>
                </a:cubicBezTo>
                <a:cubicBezTo>
                  <a:pt x="4043213" y="653856"/>
                  <a:pt x="4043185" y="653963"/>
                  <a:pt x="4043479" y="655077"/>
                </a:cubicBezTo>
                <a:cubicBezTo>
                  <a:pt x="4043185" y="653963"/>
                  <a:pt x="4044740" y="653690"/>
                  <a:pt x="4046250" y="652484"/>
                </a:cubicBezTo>
                <a:cubicBezTo>
                  <a:pt x="4047694" y="649306"/>
                  <a:pt x="4050921" y="648330"/>
                  <a:pt x="4054719" y="648544"/>
                </a:cubicBezTo>
                <a:lnTo>
                  <a:pt x="4055274" y="648692"/>
                </a:lnTo>
                <a:close/>
                <a:moveTo>
                  <a:pt x="1294933" y="645991"/>
                </a:moveTo>
                <a:cubicBezTo>
                  <a:pt x="1296780" y="650167"/>
                  <a:pt x="1301646" y="651930"/>
                  <a:pt x="1302555" y="658499"/>
                </a:cubicBezTo>
                <a:cubicBezTo>
                  <a:pt x="1273572" y="663728"/>
                  <a:pt x="1250340" y="674063"/>
                  <a:pt x="1225951" y="677648"/>
                </a:cubicBezTo>
                <a:cubicBezTo>
                  <a:pt x="1235525" y="659628"/>
                  <a:pt x="1268916" y="654545"/>
                  <a:pt x="1294933" y="645991"/>
                </a:cubicBezTo>
                <a:close/>
                <a:moveTo>
                  <a:pt x="1753979" y="642836"/>
                </a:moveTo>
                <a:cubicBezTo>
                  <a:pt x="1754640" y="640368"/>
                  <a:pt x="1758474" y="642660"/>
                  <a:pt x="1760545" y="643789"/>
                </a:cubicBezTo>
                <a:cubicBezTo>
                  <a:pt x="1758157" y="643840"/>
                  <a:pt x="1756573" y="644221"/>
                  <a:pt x="1755628" y="644428"/>
                </a:cubicBezTo>
                <a:cubicBezTo>
                  <a:pt x="1754683" y="644635"/>
                  <a:pt x="1754378" y="644667"/>
                  <a:pt x="1754244" y="644057"/>
                </a:cubicBezTo>
                <a:cubicBezTo>
                  <a:pt x="1752745" y="644116"/>
                  <a:pt x="1752175" y="642928"/>
                  <a:pt x="1753979" y="642836"/>
                </a:cubicBezTo>
                <a:close/>
                <a:moveTo>
                  <a:pt x="4298087" y="642337"/>
                </a:moveTo>
                <a:cubicBezTo>
                  <a:pt x="4300785" y="644441"/>
                  <a:pt x="4303772" y="645470"/>
                  <a:pt x="4308102" y="648127"/>
                </a:cubicBezTo>
                <a:cubicBezTo>
                  <a:pt x="4306352" y="651337"/>
                  <a:pt x="4297986" y="655995"/>
                  <a:pt x="4289483" y="654523"/>
                </a:cubicBezTo>
                <a:cubicBezTo>
                  <a:pt x="4288169" y="652790"/>
                  <a:pt x="4287378" y="651313"/>
                  <a:pt x="4287141" y="649985"/>
                </a:cubicBezTo>
                <a:cubicBezTo>
                  <a:pt x="4286153" y="645925"/>
                  <a:pt x="4290364" y="643488"/>
                  <a:pt x="4298087" y="642337"/>
                </a:cubicBezTo>
                <a:close/>
                <a:moveTo>
                  <a:pt x="1768773" y="641854"/>
                </a:moveTo>
                <a:cubicBezTo>
                  <a:pt x="1776226" y="642816"/>
                  <a:pt x="1780079" y="646150"/>
                  <a:pt x="1778260" y="650722"/>
                </a:cubicBezTo>
                <a:cubicBezTo>
                  <a:pt x="1773672" y="649032"/>
                  <a:pt x="1771961" y="650990"/>
                  <a:pt x="1767372" y="649299"/>
                </a:cubicBezTo>
                <a:cubicBezTo>
                  <a:pt x="1768511" y="646155"/>
                  <a:pt x="1768371" y="643356"/>
                  <a:pt x="1768773" y="641854"/>
                </a:cubicBezTo>
                <a:close/>
                <a:moveTo>
                  <a:pt x="4548979" y="641253"/>
                </a:moveTo>
                <a:cubicBezTo>
                  <a:pt x="4548979" y="641253"/>
                  <a:pt x="4550334" y="641731"/>
                  <a:pt x="4550334" y="641731"/>
                </a:cubicBezTo>
                <a:cubicBezTo>
                  <a:pt x="4550478" y="641194"/>
                  <a:pt x="4550754" y="641268"/>
                  <a:pt x="4550944" y="641665"/>
                </a:cubicBezTo>
                <a:cubicBezTo>
                  <a:pt x="4551135" y="642061"/>
                  <a:pt x="4551821" y="642820"/>
                  <a:pt x="4553309" y="643908"/>
                </a:cubicBezTo>
                <a:cubicBezTo>
                  <a:pt x="4554377" y="645459"/>
                  <a:pt x="4556008" y="646011"/>
                  <a:pt x="4554089" y="646532"/>
                </a:cubicBezTo>
                <a:cubicBezTo>
                  <a:pt x="4553115" y="646847"/>
                  <a:pt x="4552781" y="646986"/>
                  <a:pt x="4551951" y="646764"/>
                </a:cubicBezTo>
                <a:cubicBezTo>
                  <a:pt x="4551092" y="646649"/>
                  <a:pt x="4549737" y="646171"/>
                  <a:pt x="4547552" y="645470"/>
                </a:cubicBezTo>
                <a:cubicBezTo>
                  <a:pt x="4549471" y="644950"/>
                  <a:pt x="4549471" y="644950"/>
                  <a:pt x="4548128" y="643324"/>
                </a:cubicBezTo>
                <a:cubicBezTo>
                  <a:pt x="4548128" y="643324"/>
                  <a:pt x="4548404" y="643398"/>
                  <a:pt x="4546801" y="642739"/>
                </a:cubicBezTo>
                <a:cubicBezTo>
                  <a:pt x="4547059" y="641774"/>
                  <a:pt x="4548691" y="642326"/>
                  <a:pt x="4548979" y="641253"/>
                </a:cubicBezTo>
                <a:close/>
                <a:moveTo>
                  <a:pt x="3473414" y="640905"/>
                </a:moveTo>
                <a:cubicBezTo>
                  <a:pt x="3477068" y="641655"/>
                  <a:pt x="3476978" y="645310"/>
                  <a:pt x="3477845" y="647613"/>
                </a:cubicBezTo>
                <a:cubicBezTo>
                  <a:pt x="3481499" y="648362"/>
                  <a:pt x="3476465" y="652763"/>
                  <a:pt x="3480425" y="653479"/>
                </a:cubicBezTo>
                <a:cubicBezTo>
                  <a:pt x="3475685" y="658993"/>
                  <a:pt x="3486293" y="663677"/>
                  <a:pt x="3481463" y="672848"/>
                </a:cubicBezTo>
                <a:cubicBezTo>
                  <a:pt x="3478937" y="670101"/>
                  <a:pt x="3477546" y="667544"/>
                  <a:pt x="3476156" y="664986"/>
                </a:cubicBezTo>
                <a:cubicBezTo>
                  <a:pt x="3472785" y="657642"/>
                  <a:pt x="3473288" y="651336"/>
                  <a:pt x="3468674" y="646420"/>
                </a:cubicBezTo>
                <a:cubicBezTo>
                  <a:pt x="3468674" y="646420"/>
                  <a:pt x="3468674" y="646420"/>
                  <a:pt x="3471197" y="643646"/>
                </a:cubicBezTo>
                <a:cubicBezTo>
                  <a:pt x="3470597" y="642566"/>
                  <a:pt x="3470597" y="642566"/>
                  <a:pt x="3470597" y="642566"/>
                </a:cubicBezTo>
                <a:cubicBezTo>
                  <a:pt x="3470025" y="641377"/>
                  <a:pt x="3473414" y="640905"/>
                  <a:pt x="3473414" y="640905"/>
                </a:cubicBezTo>
                <a:close/>
                <a:moveTo>
                  <a:pt x="3325256" y="640709"/>
                </a:moveTo>
                <a:cubicBezTo>
                  <a:pt x="3328982" y="639810"/>
                  <a:pt x="3333071" y="640043"/>
                  <a:pt x="3334303" y="643191"/>
                </a:cubicBezTo>
                <a:cubicBezTo>
                  <a:pt x="3335263" y="647358"/>
                  <a:pt x="3327188" y="647610"/>
                  <a:pt x="3322122" y="646597"/>
                </a:cubicBezTo>
                <a:cubicBezTo>
                  <a:pt x="3320461" y="646153"/>
                  <a:pt x="3319107" y="645674"/>
                  <a:pt x="3318391" y="645023"/>
                </a:cubicBezTo>
                <a:cubicBezTo>
                  <a:pt x="3318168" y="643640"/>
                  <a:pt x="3321531" y="641608"/>
                  <a:pt x="3325256" y="640709"/>
                </a:cubicBezTo>
                <a:close/>
                <a:moveTo>
                  <a:pt x="2623906" y="640293"/>
                </a:moveTo>
                <a:cubicBezTo>
                  <a:pt x="2648535" y="652413"/>
                  <a:pt x="2666356" y="668918"/>
                  <a:pt x="2680633" y="687579"/>
                </a:cubicBezTo>
                <a:lnTo>
                  <a:pt x="2683616" y="691943"/>
                </a:lnTo>
                <a:lnTo>
                  <a:pt x="2686180" y="693436"/>
                </a:lnTo>
                <a:lnTo>
                  <a:pt x="2687144" y="694269"/>
                </a:lnTo>
                <a:lnTo>
                  <a:pt x="2688826" y="692419"/>
                </a:lnTo>
                <a:cubicBezTo>
                  <a:pt x="2690612" y="691288"/>
                  <a:pt x="2692923" y="690412"/>
                  <a:pt x="2696063" y="689759"/>
                </a:cubicBezTo>
                <a:cubicBezTo>
                  <a:pt x="2703524" y="692908"/>
                  <a:pt x="2704656" y="696431"/>
                  <a:pt x="2708785" y="699837"/>
                </a:cubicBezTo>
                <a:cubicBezTo>
                  <a:pt x="2706528" y="703833"/>
                  <a:pt x="2703319" y="705847"/>
                  <a:pt x="2700149" y="706608"/>
                </a:cubicBezTo>
                <a:lnTo>
                  <a:pt x="2693250" y="705794"/>
                </a:lnTo>
                <a:lnTo>
                  <a:pt x="2693850" y="706875"/>
                </a:lnTo>
                <a:lnTo>
                  <a:pt x="2710480" y="737781"/>
                </a:lnTo>
                <a:lnTo>
                  <a:pt x="2714440" y="738499"/>
                </a:lnTo>
                <a:lnTo>
                  <a:pt x="2720089" y="739552"/>
                </a:lnTo>
                <a:lnTo>
                  <a:pt x="2723223" y="736712"/>
                </a:lnTo>
                <a:cubicBezTo>
                  <a:pt x="2726307" y="736272"/>
                  <a:pt x="2729749" y="738920"/>
                  <a:pt x="2730004" y="741288"/>
                </a:cubicBezTo>
                <a:lnTo>
                  <a:pt x="2728150" y="743782"/>
                </a:lnTo>
                <a:lnTo>
                  <a:pt x="2731250" y="744382"/>
                </a:lnTo>
                <a:cubicBezTo>
                  <a:pt x="2730267" y="745843"/>
                  <a:pt x="2726816" y="749864"/>
                  <a:pt x="2726816" y="749864"/>
                </a:cubicBezTo>
                <a:cubicBezTo>
                  <a:pt x="2727387" y="751053"/>
                  <a:pt x="2727387" y="751053"/>
                  <a:pt x="2726126" y="752440"/>
                </a:cubicBezTo>
                <a:cubicBezTo>
                  <a:pt x="2724027" y="751417"/>
                  <a:pt x="2724027" y="751417"/>
                  <a:pt x="2723733" y="750303"/>
                </a:cubicBezTo>
                <a:cubicBezTo>
                  <a:pt x="2724689" y="748950"/>
                  <a:pt x="2726522" y="748750"/>
                  <a:pt x="2727478" y="747396"/>
                </a:cubicBezTo>
                <a:cubicBezTo>
                  <a:pt x="2723251" y="745459"/>
                  <a:pt x="2723823" y="746647"/>
                  <a:pt x="2725084" y="745260"/>
                </a:cubicBezTo>
                <a:cubicBezTo>
                  <a:pt x="2725084" y="745260"/>
                  <a:pt x="2724808" y="745186"/>
                  <a:pt x="2726040" y="743906"/>
                </a:cubicBezTo>
                <a:lnTo>
                  <a:pt x="2726403" y="743659"/>
                </a:lnTo>
                <a:lnTo>
                  <a:pt x="2726155" y="743478"/>
                </a:lnTo>
                <a:lnTo>
                  <a:pt x="2726040" y="743906"/>
                </a:lnTo>
                <a:lnTo>
                  <a:pt x="2714242" y="744770"/>
                </a:lnTo>
                <a:lnTo>
                  <a:pt x="2716043" y="748013"/>
                </a:lnTo>
                <a:lnTo>
                  <a:pt x="2716014" y="748120"/>
                </a:lnTo>
                <a:lnTo>
                  <a:pt x="2720937" y="749669"/>
                </a:lnTo>
                <a:cubicBezTo>
                  <a:pt x="2723560" y="750947"/>
                  <a:pt x="2726508" y="753231"/>
                  <a:pt x="2726971" y="757036"/>
                </a:cubicBezTo>
                <a:cubicBezTo>
                  <a:pt x="2726083" y="757029"/>
                  <a:pt x="2725432" y="758349"/>
                  <a:pt x="2724667" y="760099"/>
                </a:cubicBezTo>
                <a:lnTo>
                  <a:pt x="2723453" y="762419"/>
                </a:lnTo>
                <a:lnTo>
                  <a:pt x="2724150" y="762030"/>
                </a:lnTo>
                <a:cubicBezTo>
                  <a:pt x="2726184" y="761080"/>
                  <a:pt x="2728875" y="760997"/>
                  <a:pt x="2731948" y="761704"/>
                </a:cubicBezTo>
                <a:cubicBezTo>
                  <a:pt x="2733863" y="764518"/>
                  <a:pt x="2733899" y="766598"/>
                  <a:pt x="2732914" y="768058"/>
                </a:cubicBezTo>
                <a:lnTo>
                  <a:pt x="2727157" y="769622"/>
                </a:lnTo>
                <a:lnTo>
                  <a:pt x="2728329" y="771890"/>
                </a:lnTo>
                <a:lnTo>
                  <a:pt x="2730086" y="770865"/>
                </a:lnTo>
                <a:cubicBezTo>
                  <a:pt x="2735099" y="768759"/>
                  <a:pt x="2740788" y="768558"/>
                  <a:pt x="2743950" y="774466"/>
                </a:cubicBezTo>
                <a:lnTo>
                  <a:pt x="2736281" y="778736"/>
                </a:lnTo>
                <a:lnTo>
                  <a:pt x="2739361" y="781631"/>
                </a:lnTo>
                <a:cubicBezTo>
                  <a:pt x="2740579" y="784833"/>
                  <a:pt x="2740489" y="788489"/>
                  <a:pt x="2738986" y="791881"/>
                </a:cubicBezTo>
                <a:lnTo>
                  <a:pt x="2738089" y="793020"/>
                </a:lnTo>
                <a:lnTo>
                  <a:pt x="2758403" y="798004"/>
                </a:lnTo>
                <a:lnTo>
                  <a:pt x="2764328" y="799132"/>
                </a:lnTo>
                <a:lnTo>
                  <a:pt x="2765475" y="798173"/>
                </a:lnTo>
                <a:cubicBezTo>
                  <a:pt x="2767423" y="797546"/>
                  <a:pt x="2769590" y="797206"/>
                  <a:pt x="2770822" y="795926"/>
                </a:cubicBezTo>
                <a:cubicBezTo>
                  <a:pt x="2772004" y="797049"/>
                  <a:pt x="2773712" y="798426"/>
                  <a:pt x="2774692" y="800299"/>
                </a:cubicBezTo>
                <a:lnTo>
                  <a:pt x="2774767" y="801124"/>
                </a:lnTo>
                <a:lnTo>
                  <a:pt x="2775627" y="801239"/>
                </a:lnTo>
                <a:lnTo>
                  <a:pt x="2774930" y="801627"/>
                </a:lnTo>
                <a:lnTo>
                  <a:pt x="2775386" y="803244"/>
                </a:lnTo>
                <a:cubicBezTo>
                  <a:pt x="2775098" y="804317"/>
                  <a:pt x="2774782" y="805497"/>
                  <a:pt x="2773827" y="806851"/>
                </a:cubicBezTo>
                <a:cubicBezTo>
                  <a:pt x="2772594" y="808131"/>
                  <a:pt x="2772594" y="808131"/>
                  <a:pt x="2770789" y="808223"/>
                </a:cubicBezTo>
                <a:cubicBezTo>
                  <a:pt x="2769424" y="808891"/>
                  <a:pt x="2768335" y="809635"/>
                  <a:pt x="2767056" y="809983"/>
                </a:cubicBezTo>
                <a:lnTo>
                  <a:pt x="2766169" y="809975"/>
                </a:lnTo>
                <a:lnTo>
                  <a:pt x="2765155" y="811544"/>
                </a:lnTo>
                <a:cubicBezTo>
                  <a:pt x="2763232" y="815397"/>
                  <a:pt x="2762664" y="819731"/>
                  <a:pt x="2761849" y="823882"/>
                </a:cubicBezTo>
                <a:lnTo>
                  <a:pt x="2765140" y="824879"/>
                </a:lnTo>
                <a:cubicBezTo>
                  <a:pt x="2767649" y="826587"/>
                  <a:pt x="2769823" y="828433"/>
                  <a:pt x="2772780" y="829572"/>
                </a:cubicBezTo>
                <a:cubicBezTo>
                  <a:pt x="2770074" y="834137"/>
                  <a:pt x="2765205" y="835706"/>
                  <a:pt x="2760605" y="835164"/>
                </a:cubicBezTo>
                <a:lnTo>
                  <a:pt x="2756817" y="833804"/>
                </a:lnTo>
                <a:lnTo>
                  <a:pt x="2756674" y="834340"/>
                </a:lnTo>
                <a:lnTo>
                  <a:pt x="2758179" y="836469"/>
                </a:lnTo>
                <a:cubicBezTo>
                  <a:pt x="2760027" y="840644"/>
                  <a:pt x="2760156" y="844589"/>
                  <a:pt x="2757795" y="847867"/>
                </a:cubicBezTo>
                <a:cubicBezTo>
                  <a:pt x="2776888" y="852982"/>
                  <a:pt x="2774774" y="838731"/>
                  <a:pt x="2789799" y="836892"/>
                </a:cubicBezTo>
                <a:cubicBezTo>
                  <a:pt x="2806124" y="841266"/>
                  <a:pt x="2800425" y="851469"/>
                  <a:pt x="2816262" y="857668"/>
                </a:cubicBezTo>
                <a:cubicBezTo>
                  <a:pt x="2823751" y="851854"/>
                  <a:pt x="2811705" y="852537"/>
                  <a:pt x="2807914" y="845656"/>
                </a:cubicBezTo>
                <a:cubicBezTo>
                  <a:pt x="2816593" y="834296"/>
                  <a:pt x="2831024" y="824708"/>
                  <a:pt x="2848004" y="815572"/>
                </a:cubicBezTo>
                <a:lnTo>
                  <a:pt x="2850125" y="814301"/>
                </a:lnTo>
                <a:lnTo>
                  <a:pt x="2845874" y="809136"/>
                </a:lnTo>
                <a:lnTo>
                  <a:pt x="2846747" y="804771"/>
                </a:lnTo>
                <a:lnTo>
                  <a:pt x="2845669" y="804367"/>
                </a:lnTo>
                <a:cubicBezTo>
                  <a:pt x="2845421" y="804184"/>
                  <a:pt x="2845231" y="803789"/>
                  <a:pt x="2844152" y="803385"/>
                </a:cubicBezTo>
                <a:cubicBezTo>
                  <a:pt x="2842054" y="802362"/>
                  <a:pt x="2833189" y="801138"/>
                  <a:pt x="2831927" y="802524"/>
                </a:cubicBezTo>
                <a:cubicBezTo>
                  <a:pt x="2831633" y="801410"/>
                  <a:pt x="2829534" y="800388"/>
                  <a:pt x="2829534" y="800388"/>
                </a:cubicBezTo>
                <a:cubicBezTo>
                  <a:pt x="2830766" y="799108"/>
                  <a:pt x="2832294" y="798942"/>
                  <a:pt x="2833850" y="798669"/>
                </a:cubicBezTo>
                <a:cubicBezTo>
                  <a:pt x="2835949" y="799692"/>
                  <a:pt x="2836520" y="800880"/>
                  <a:pt x="2838370" y="801720"/>
                </a:cubicBezTo>
                <a:cubicBezTo>
                  <a:pt x="2840203" y="801522"/>
                  <a:pt x="2843287" y="801083"/>
                  <a:pt x="2845386" y="802105"/>
                </a:cubicBezTo>
                <a:lnTo>
                  <a:pt x="2846930" y="802979"/>
                </a:lnTo>
                <a:lnTo>
                  <a:pt x="2847218" y="801906"/>
                </a:lnTo>
                <a:lnTo>
                  <a:pt x="2862178" y="806950"/>
                </a:lnTo>
                <a:lnTo>
                  <a:pt x="2869236" y="802745"/>
                </a:lnTo>
                <a:lnTo>
                  <a:pt x="2873925" y="799632"/>
                </a:lnTo>
                <a:lnTo>
                  <a:pt x="2854369" y="799567"/>
                </a:lnTo>
                <a:cubicBezTo>
                  <a:pt x="2847210" y="799719"/>
                  <a:pt x="2840138" y="799549"/>
                  <a:pt x="2835025" y="797604"/>
                </a:cubicBezTo>
                <a:cubicBezTo>
                  <a:pt x="2831762" y="796500"/>
                  <a:pt x="2829254" y="794793"/>
                  <a:pt x="2827616" y="792054"/>
                </a:cubicBezTo>
                <a:lnTo>
                  <a:pt x="2826023" y="781392"/>
                </a:lnTo>
                <a:lnTo>
                  <a:pt x="2818797" y="782905"/>
                </a:lnTo>
                <a:cubicBezTo>
                  <a:pt x="2813856" y="780316"/>
                  <a:pt x="2811322" y="775383"/>
                  <a:pt x="2810898" y="770324"/>
                </a:cubicBezTo>
                <a:cubicBezTo>
                  <a:pt x="2810722" y="765447"/>
                  <a:pt x="2812350" y="760478"/>
                  <a:pt x="2815674" y="758034"/>
                </a:cubicBezTo>
                <a:cubicBezTo>
                  <a:pt x="2823253" y="757419"/>
                  <a:pt x="2828539" y="758721"/>
                  <a:pt x="2832098" y="760938"/>
                </a:cubicBezTo>
                <a:cubicBezTo>
                  <a:pt x="2840232" y="765994"/>
                  <a:pt x="2838694" y="776163"/>
                  <a:pt x="2830051" y="780747"/>
                </a:cubicBezTo>
                <a:lnTo>
                  <a:pt x="2826969" y="781185"/>
                </a:lnTo>
                <a:lnTo>
                  <a:pt x="2839237" y="786313"/>
                </a:lnTo>
                <a:cubicBezTo>
                  <a:pt x="2849694" y="789345"/>
                  <a:pt x="2860668" y="790445"/>
                  <a:pt x="2868204" y="794419"/>
                </a:cubicBezTo>
                <a:lnTo>
                  <a:pt x="2874346" y="799170"/>
                </a:lnTo>
                <a:lnTo>
                  <a:pt x="2882913" y="793761"/>
                </a:lnTo>
                <a:cubicBezTo>
                  <a:pt x="2870655" y="796341"/>
                  <a:pt x="2866098" y="791210"/>
                  <a:pt x="2858776" y="785338"/>
                </a:cubicBezTo>
                <a:lnTo>
                  <a:pt x="2863357" y="784840"/>
                </a:lnTo>
                <a:lnTo>
                  <a:pt x="2863385" y="784733"/>
                </a:lnTo>
                <a:cubicBezTo>
                  <a:pt x="2861316" y="783603"/>
                  <a:pt x="2859303" y="782259"/>
                  <a:pt x="2858427" y="781104"/>
                </a:cubicBezTo>
                <a:cubicBezTo>
                  <a:pt x="2857769" y="780238"/>
                  <a:pt x="2857665" y="779520"/>
                  <a:pt x="2858419" y="778918"/>
                </a:cubicBezTo>
                <a:cubicBezTo>
                  <a:pt x="2860213" y="779973"/>
                  <a:pt x="2863170" y="781110"/>
                  <a:pt x="2865488" y="782422"/>
                </a:cubicBezTo>
                <a:lnTo>
                  <a:pt x="2867375" y="785341"/>
                </a:lnTo>
                <a:lnTo>
                  <a:pt x="2867957" y="785382"/>
                </a:lnTo>
                <a:cubicBezTo>
                  <a:pt x="2871115" y="785769"/>
                  <a:pt x="2874694" y="785693"/>
                  <a:pt x="2879823" y="783157"/>
                </a:cubicBezTo>
                <a:lnTo>
                  <a:pt x="2880705" y="779867"/>
                </a:lnTo>
                <a:lnTo>
                  <a:pt x="2883078" y="782074"/>
                </a:lnTo>
                <a:cubicBezTo>
                  <a:pt x="2880801" y="779510"/>
                  <a:pt x="2880772" y="779617"/>
                  <a:pt x="2880772" y="779617"/>
                </a:cubicBezTo>
                <a:lnTo>
                  <a:pt x="2880705" y="779867"/>
                </a:lnTo>
                <a:lnTo>
                  <a:pt x="2871446" y="771253"/>
                </a:lnTo>
                <a:lnTo>
                  <a:pt x="2862419" y="769524"/>
                </a:lnTo>
                <a:lnTo>
                  <a:pt x="2861607" y="770342"/>
                </a:lnTo>
                <a:lnTo>
                  <a:pt x="2861283" y="769334"/>
                </a:lnTo>
                <a:lnTo>
                  <a:pt x="2859318" y="768923"/>
                </a:lnTo>
                <a:cubicBezTo>
                  <a:pt x="2855347" y="769354"/>
                  <a:pt x="2851146" y="770643"/>
                  <a:pt x="2847661" y="772584"/>
                </a:cubicBezTo>
                <a:cubicBezTo>
                  <a:pt x="2847172" y="774408"/>
                  <a:pt x="2844681" y="773741"/>
                  <a:pt x="2842403" y="771176"/>
                </a:cubicBezTo>
                <a:cubicBezTo>
                  <a:pt x="2839636" y="770434"/>
                  <a:pt x="2840124" y="768610"/>
                  <a:pt x="2840613" y="766786"/>
                </a:cubicBezTo>
                <a:cubicBezTo>
                  <a:pt x="2845713" y="764358"/>
                  <a:pt x="2851164" y="762828"/>
                  <a:pt x="2857187" y="762487"/>
                </a:cubicBezTo>
                <a:lnTo>
                  <a:pt x="2861787" y="763029"/>
                </a:lnTo>
                <a:lnTo>
                  <a:pt x="2863727" y="760214"/>
                </a:lnTo>
                <a:lnTo>
                  <a:pt x="2864946" y="763415"/>
                </a:lnTo>
                <a:lnTo>
                  <a:pt x="2876168" y="764698"/>
                </a:lnTo>
                <a:cubicBezTo>
                  <a:pt x="2883704" y="768673"/>
                  <a:pt x="2891027" y="774544"/>
                  <a:pt x="2892357" y="780650"/>
                </a:cubicBezTo>
                <a:cubicBezTo>
                  <a:pt x="2892357" y="780650"/>
                  <a:pt x="2892357" y="780650"/>
                  <a:pt x="2896637" y="785708"/>
                </a:cubicBezTo>
                <a:cubicBezTo>
                  <a:pt x="2910684" y="787517"/>
                  <a:pt x="2926169" y="783960"/>
                  <a:pt x="2944450" y="781038"/>
                </a:cubicBezTo>
                <a:lnTo>
                  <a:pt x="2962881" y="779767"/>
                </a:lnTo>
                <a:lnTo>
                  <a:pt x="2962892" y="778620"/>
                </a:lnTo>
                <a:lnTo>
                  <a:pt x="2962255" y="775460"/>
                </a:lnTo>
                <a:lnTo>
                  <a:pt x="2959919" y="773109"/>
                </a:lnTo>
                <a:lnTo>
                  <a:pt x="2951490" y="766940"/>
                </a:lnTo>
                <a:lnTo>
                  <a:pt x="2950239" y="767179"/>
                </a:lnTo>
                <a:lnTo>
                  <a:pt x="2950152" y="767502"/>
                </a:lnTo>
                <a:lnTo>
                  <a:pt x="2950401" y="767683"/>
                </a:lnTo>
                <a:lnTo>
                  <a:pt x="2949922" y="768361"/>
                </a:lnTo>
                <a:lnTo>
                  <a:pt x="2949635" y="769433"/>
                </a:lnTo>
                <a:lnTo>
                  <a:pt x="2949329" y="769466"/>
                </a:lnTo>
                <a:lnTo>
                  <a:pt x="2948708" y="770679"/>
                </a:lnTo>
                <a:cubicBezTo>
                  <a:pt x="2947313" y="771456"/>
                  <a:pt x="2945643" y="772158"/>
                  <a:pt x="2944277" y="772828"/>
                </a:cubicBezTo>
                <a:cubicBezTo>
                  <a:pt x="2945639" y="775492"/>
                  <a:pt x="2937165" y="773912"/>
                  <a:pt x="2938251" y="776502"/>
                </a:cubicBezTo>
                <a:cubicBezTo>
                  <a:pt x="2928688" y="775665"/>
                  <a:pt x="2928526" y="784017"/>
                  <a:pt x="2914181" y="784429"/>
                </a:cubicBezTo>
                <a:lnTo>
                  <a:pt x="2921059" y="778682"/>
                </a:lnTo>
                <a:lnTo>
                  <a:pt x="2919201" y="775653"/>
                </a:lnTo>
                <a:cubicBezTo>
                  <a:pt x="2919327" y="774077"/>
                  <a:pt x="2920865" y="772764"/>
                  <a:pt x="2923100" y="771063"/>
                </a:cubicBezTo>
                <a:cubicBezTo>
                  <a:pt x="2924720" y="772763"/>
                  <a:pt x="2925511" y="774239"/>
                  <a:pt x="2925109" y="775741"/>
                </a:cubicBezTo>
                <a:lnTo>
                  <a:pt x="2924936" y="776385"/>
                </a:lnTo>
                <a:lnTo>
                  <a:pt x="2932520" y="772436"/>
                </a:lnTo>
                <a:cubicBezTo>
                  <a:pt x="2935947" y="770710"/>
                  <a:pt x="2939041" y="769124"/>
                  <a:pt x="2940867" y="766739"/>
                </a:cubicBezTo>
                <a:cubicBezTo>
                  <a:pt x="2940867" y="766739"/>
                  <a:pt x="2940867" y="766739"/>
                  <a:pt x="2945496" y="767175"/>
                </a:cubicBezTo>
                <a:cubicBezTo>
                  <a:pt x="2946890" y="766397"/>
                  <a:pt x="2946890" y="766397"/>
                  <a:pt x="2946890" y="766397"/>
                </a:cubicBezTo>
                <a:cubicBezTo>
                  <a:pt x="2947281" y="766042"/>
                  <a:pt x="2948111" y="766264"/>
                  <a:pt x="2948884" y="766702"/>
                </a:cubicBezTo>
                <a:lnTo>
                  <a:pt x="2949161" y="766776"/>
                </a:lnTo>
                <a:lnTo>
                  <a:pt x="2949524" y="766528"/>
                </a:lnTo>
                <a:lnTo>
                  <a:pt x="2950498" y="766213"/>
                </a:lnTo>
                <a:lnTo>
                  <a:pt x="2943059" y="760771"/>
                </a:lnTo>
                <a:lnTo>
                  <a:pt x="2943174" y="760342"/>
                </a:lnTo>
                <a:lnTo>
                  <a:pt x="2938150" y="763595"/>
                </a:lnTo>
                <a:cubicBezTo>
                  <a:pt x="2933022" y="766132"/>
                  <a:pt x="2928123" y="767809"/>
                  <a:pt x="2923905" y="768058"/>
                </a:cubicBezTo>
                <a:cubicBezTo>
                  <a:pt x="2921490" y="768217"/>
                  <a:pt x="2919467" y="768020"/>
                  <a:pt x="2917530" y="767501"/>
                </a:cubicBezTo>
                <a:cubicBezTo>
                  <a:pt x="2915622" y="766875"/>
                  <a:pt x="2913523" y="765852"/>
                  <a:pt x="2911817" y="764475"/>
                </a:cubicBezTo>
                <a:cubicBezTo>
                  <a:pt x="2915284" y="761494"/>
                  <a:pt x="2916567" y="757812"/>
                  <a:pt x="2915331" y="753571"/>
                </a:cubicBezTo>
                <a:lnTo>
                  <a:pt x="2914541" y="752094"/>
                </a:lnTo>
                <a:lnTo>
                  <a:pt x="2908892" y="751041"/>
                </a:lnTo>
                <a:cubicBezTo>
                  <a:pt x="2904349" y="750284"/>
                  <a:pt x="2899283" y="749271"/>
                  <a:pt x="2894855" y="748084"/>
                </a:cubicBezTo>
                <a:cubicBezTo>
                  <a:pt x="2885504" y="745349"/>
                  <a:pt x="2877969" y="741375"/>
                  <a:pt x="2878062" y="734385"/>
                </a:cubicBezTo>
                <a:cubicBezTo>
                  <a:pt x="2880524" y="735160"/>
                  <a:pt x="2884703" y="736165"/>
                  <a:pt x="2889160" y="737244"/>
                </a:cubicBezTo>
                <a:lnTo>
                  <a:pt x="2894417" y="738652"/>
                </a:lnTo>
                <a:lnTo>
                  <a:pt x="2889608" y="736674"/>
                </a:lnTo>
                <a:cubicBezTo>
                  <a:pt x="2888340" y="735874"/>
                  <a:pt x="2888264" y="735048"/>
                  <a:pt x="2889526" y="733662"/>
                </a:cubicBezTo>
                <a:cubicBezTo>
                  <a:pt x="2890492" y="731161"/>
                  <a:pt x="2894090" y="732124"/>
                  <a:pt x="2896832" y="729640"/>
                </a:cubicBezTo>
                <a:cubicBezTo>
                  <a:pt x="2898687" y="727147"/>
                  <a:pt x="2895912" y="724218"/>
                  <a:pt x="2893281" y="720753"/>
                </a:cubicBezTo>
                <a:lnTo>
                  <a:pt x="2892873" y="720068"/>
                </a:lnTo>
                <a:lnTo>
                  <a:pt x="2892901" y="719960"/>
                </a:lnTo>
                <a:cubicBezTo>
                  <a:pt x="2891718" y="718839"/>
                  <a:pt x="2891424" y="717725"/>
                  <a:pt x="2891186" y="716396"/>
                </a:cubicBezTo>
                <a:lnTo>
                  <a:pt x="2891244" y="716181"/>
                </a:lnTo>
                <a:lnTo>
                  <a:pt x="2890673" y="714993"/>
                </a:lnTo>
                <a:cubicBezTo>
                  <a:pt x="2890360" y="712840"/>
                  <a:pt x="2890935" y="710694"/>
                  <a:pt x="2892818" y="708093"/>
                </a:cubicBezTo>
                <a:cubicBezTo>
                  <a:pt x="2896681" y="710279"/>
                  <a:pt x="2903445" y="704961"/>
                  <a:pt x="2909377" y="708275"/>
                </a:cubicBezTo>
                <a:lnTo>
                  <a:pt x="2913794" y="710609"/>
                </a:lnTo>
                <a:lnTo>
                  <a:pt x="2913348" y="707844"/>
                </a:lnTo>
                <a:cubicBezTo>
                  <a:pt x="2926986" y="708968"/>
                  <a:pt x="2942948" y="713590"/>
                  <a:pt x="2946488" y="714769"/>
                </a:cubicBezTo>
                <a:cubicBezTo>
                  <a:pt x="2948120" y="715321"/>
                  <a:pt x="2949140" y="715939"/>
                  <a:pt x="2949550" y="716624"/>
                </a:cubicBezTo>
                <a:cubicBezTo>
                  <a:pt x="2949931" y="717416"/>
                  <a:pt x="2949701" y="718275"/>
                  <a:pt x="2949079" y="719488"/>
                </a:cubicBezTo>
                <a:cubicBezTo>
                  <a:pt x="2942776" y="723089"/>
                  <a:pt x="2935431" y="719511"/>
                  <a:pt x="2926813" y="718467"/>
                </a:cubicBezTo>
                <a:cubicBezTo>
                  <a:pt x="2926547" y="717246"/>
                  <a:pt x="2924783" y="716084"/>
                  <a:pt x="2923008" y="716068"/>
                </a:cubicBezTo>
                <a:lnTo>
                  <a:pt x="2920966" y="714830"/>
                </a:lnTo>
                <a:lnTo>
                  <a:pt x="2924674" y="718700"/>
                </a:lnTo>
                <a:cubicBezTo>
                  <a:pt x="2926198" y="721867"/>
                  <a:pt x="2924784" y="724938"/>
                  <a:pt x="2923605" y="729337"/>
                </a:cubicBezTo>
                <a:cubicBezTo>
                  <a:pt x="2923338" y="728116"/>
                  <a:pt x="2921828" y="729321"/>
                  <a:pt x="2921828" y="729321"/>
                </a:cubicBezTo>
                <a:cubicBezTo>
                  <a:pt x="2920567" y="730709"/>
                  <a:pt x="2922446" y="731442"/>
                  <a:pt x="2924545" y="732464"/>
                </a:cubicBezTo>
                <a:lnTo>
                  <a:pt x="2926091" y="733339"/>
                </a:lnTo>
                <a:lnTo>
                  <a:pt x="2929156" y="731860"/>
                </a:lnTo>
                <a:cubicBezTo>
                  <a:pt x="2934201" y="735167"/>
                  <a:pt x="2939085" y="737971"/>
                  <a:pt x="2944446" y="740097"/>
                </a:cubicBezTo>
                <a:lnTo>
                  <a:pt x="2958033" y="743623"/>
                </a:lnTo>
                <a:lnTo>
                  <a:pt x="2960718" y="741351"/>
                </a:lnTo>
                <a:cubicBezTo>
                  <a:pt x="2961951" y="740072"/>
                  <a:pt x="2961685" y="738852"/>
                  <a:pt x="2961685" y="738852"/>
                </a:cubicBezTo>
                <a:cubicBezTo>
                  <a:pt x="2963068" y="739222"/>
                  <a:pt x="2962741" y="741550"/>
                  <a:pt x="2961412" y="744298"/>
                </a:cubicBezTo>
                <a:lnTo>
                  <a:pt x="2961994" y="744339"/>
                </a:lnTo>
                <a:cubicBezTo>
                  <a:pt x="2962605" y="744273"/>
                  <a:pt x="2963550" y="744066"/>
                  <a:pt x="2963809" y="743100"/>
                </a:cubicBezTo>
                <a:cubicBezTo>
                  <a:pt x="2963403" y="739081"/>
                  <a:pt x="2968042" y="738369"/>
                  <a:pt x="2973022" y="739704"/>
                </a:cubicBezTo>
                <a:lnTo>
                  <a:pt x="2974320" y="740397"/>
                </a:lnTo>
                <a:lnTo>
                  <a:pt x="2976983" y="740420"/>
                </a:lnTo>
                <a:lnTo>
                  <a:pt x="2977841" y="740535"/>
                </a:lnTo>
                <a:lnTo>
                  <a:pt x="2975678" y="737541"/>
                </a:lnTo>
                <a:cubicBezTo>
                  <a:pt x="2973001" y="733143"/>
                  <a:pt x="2972042" y="728976"/>
                  <a:pt x="2973849" y="725550"/>
                </a:cubicBezTo>
                <a:lnTo>
                  <a:pt x="2976257" y="723205"/>
                </a:lnTo>
                <a:lnTo>
                  <a:pt x="2975200" y="720507"/>
                </a:lnTo>
                <a:cubicBezTo>
                  <a:pt x="2974004" y="715012"/>
                  <a:pt x="2974058" y="709276"/>
                  <a:pt x="2977501" y="703069"/>
                </a:cubicBezTo>
                <a:cubicBezTo>
                  <a:pt x="2986143" y="707339"/>
                  <a:pt x="2988579" y="713742"/>
                  <a:pt x="2988324" y="720229"/>
                </a:cubicBezTo>
                <a:lnTo>
                  <a:pt x="2987289" y="724092"/>
                </a:lnTo>
                <a:lnTo>
                  <a:pt x="2991943" y="727754"/>
                </a:lnTo>
                <a:cubicBezTo>
                  <a:pt x="2997746" y="735978"/>
                  <a:pt x="2996024" y="747938"/>
                  <a:pt x="2986854" y="746745"/>
                </a:cubicBezTo>
                <a:lnTo>
                  <a:pt x="2981988" y="744981"/>
                </a:lnTo>
                <a:lnTo>
                  <a:pt x="2985391" y="748883"/>
                </a:lnTo>
                <a:cubicBezTo>
                  <a:pt x="2979646" y="749299"/>
                  <a:pt x="2973134" y="751463"/>
                  <a:pt x="2971132" y="748973"/>
                </a:cubicBezTo>
                <a:cubicBezTo>
                  <a:pt x="2968366" y="748231"/>
                  <a:pt x="2965110" y="749313"/>
                  <a:pt x="2965110" y="749313"/>
                </a:cubicBezTo>
                <a:cubicBezTo>
                  <a:pt x="2965110" y="749313"/>
                  <a:pt x="2965110" y="749313"/>
                  <a:pt x="2961853" y="750397"/>
                </a:cubicBezTo>
                <a:cubicBezTo>
                  <a:pt x="2961853" y="750397"/>
                  <a:pt x="2959087" y="749655"/>
                  <a:pt x="2959087" y="749655"/>
                </a:cubicBezTo>
                <a:lnTo>
                  <a:pt x="2957606" y="750753"/>
                </a:lnTo>
                <a:lnTo>
                  <a:pt x="2956057" y="753213"/>
                </a:lnTo>
                <a:lnTo>
                  <a:pt x="2953886" y="756886"/>
                </a:lnTo>
                <a:lnTo>
                  <a:pt x="2955737" y="757728"/>
                </a:lnTo>
                <a:lnTo>
                  <a:pt x="2958465" y="759723"/>
                </a:lnTo>
                <a:lnTo>
                  <a:pt x="2962177" y="760258"/>
                </a:lnTo>
                <a:lnTo>
                  <a:pt x="2962626" y="759689"/>
                </a:lnTo>
                <a:cubicBezTo>
                  <a:pt x="2964164" y="758376"/>
                  <a:pt x="2964872" y="756841"/>
                  <a:pt x="2964214" y="755974"/>
                </a:cubicBezTo>
                <a:cubicBezTo>
                  <a:pt x="2965846" y="756527"/>
                  <a:pt x="2967765" y="756006"/>
                  <a:pt x="2967765" y="756006"/>
                </a:cubicBezTo>
                <a:cubicBezTo>
                  <a:pt x="2969080" y="757738"/>
                  <a:pt x="2968792" y="758811"/>
                  <a:pt x="2968505" y="759883"/>
                </a:cubicBezTo>
                <a:lnTo>
                  <a:pt x="2963618" y="760414"/>
                </a:lnTo>
                <a:lnTo>
                  <a:pt x="2977054" y="762290"/>
                </a:lnTo>
                <a:lnTo>
                  <a:pt x="2981862" y="764268"/>
                </a:lnTo>
                <a:lnTo>
                  <a:pt x="2981931" y="762906"/>
                </a:lnTo>
                <a:cubicBezTo>
                  <a:pt x="2985384" y="764406"/>
                  <a:pt x="2986588" y="763234"/>
                  <a:pt x="2990602" y="767069"/>
                </a:cubicBezTo>
                <a:lnTo>
                  <a:pt x="2990210" y="767425"/>
                </a:lnTo>
                <a:lnTo>
                  <a:pt x="2997175" y="770211"/>
                </a:lnTo>
                <a:lnTo>
                  <a:pt x="2997961" y="766166"/>
                </a:lnTo>
                <a:cubicBezTo>
                  <a:pt x="3006963" y="764669"/>
                  <a:pt x="3016242" y="763245"/>
                  <a:pt x="3025244" y="761747"/>
                </a:cubicBezTo>
                <a:cubicBezTo>
                  <a:pt x="3027346" y="759435"/>
                  <a:pt x="3031385" y="757643"/>
                  <a:pt x="3036503" y="756254"/>
                </a:cubicBezTo>
                <a:lnTo>
                  <a:pt x="3051279" y="754233"/>
                </a:lnTo>
                <a:lnTo>
                  <a:pt x="3059279" y="744301"/>
                </a:lnTo>
                <a:lnTo>
                  <a:pt x="3059900" y="743087"/>
                </a:lnTo>
                <a:lnTo>
                  <a:pt x="3057877" y="742891"/>
                </a:lnTo>
                <a:lnTo>
                  <a:pt x="3054557" y="742001"/>
                </a:lnTo>
                <a:lnTo>
                  <a:pt x="3051394" y="744949"/>
                </a:lnTo>
                <a:cubicBezTo>
                  <a:pt x="3051394" y="744949"/>
                  <a:pt x="3051394" y="744949"/>
                  <a:pt x="3050079" y="743216"/>
                </a:cubicBezTo>
                <a:lnTo>
                  <a:pt x="3051514" y="741185"/>
                </a:lnTo>
                <a:lnTo>
                  <a:pt x="3045454" y="739447"/>
                </a:lnTo>
                <a:lnTo>
                  <a:pt x="3034303" y="733469"/>
                </a:lnTo>
                <a:lnTo>
                  <a:pt x="3024695" y="731699"/>
                </a:lnTo>
                <a:lnTo>
                  <a:pt x="3017264" y="728443"/>
                </a:lnTo>
                <a:lnTo>
                  <a:pt x="3018097" y="734187"/>
                </a:lnTo>
                <a:lnTo>
                  <a:pt x="3018362" y="735407"/>
                </a:lnTo>
                <a:lnTo>
                  <a:pt x="3022513" y="736520"/>
                </a:lnTo>
                <a:cubicBezTo>
                  <a:pt x="3022513" y="736520"/>
                  <a:pt x="3030516" y="740964"/>
                  <a:pt x="3028040" y="744671"/>
                </a:cubicBezTo>
                <a:cubicBezTo>
                  <a:pt x="3028202" y="745174"/>
                  <a:pt x="3026617" y="745555"/>
                  <a:pt x="3024813" y="745646"/>
                </a:cubicBezTo>
                <a:lnTo>
                  <a:pt x="3019937" y="745030"/>
                </a:lnTo>
                <a:lnTo>
                  <a:pt x="3020579" y="750377"/>
                </a:lnTo>
                <a:lnTo>
                  <a:pt x="3023516" y="753808"/>
                </a:lnTo>
                <a:lnTo>
                  <a:pt x="3023590" y="754634"/>
                </a:lnTo>
                <a:lnTo>
                  <a:pt x="3025107" y="755616"/>
                </a:lnTo>
                <a:cubicBezTo>
                  <a:pt x="3025107" y="755616"/>
                  <a:pt x="3025107" y="755616"/>
                  <a:pt x="3024848" y="756581"/>
                </a:cubicBezTo>
                <a:lnTo>
                  <a:pt x="3023609" y="755674"/>
                </a:lnTo>
                <a:lnTo>
                  <a:pt x="3023570" y="756928"/>
                </a:lnTo>
                <a:lnTo>
                  <a:pt x="3025039" y="756976"/>
                </a:lnTo>
                <a:cubicBezTo>
                  <a:pt x="3025039" y="756976"/>
                  <a:pt x="3025086" y="757909"/>
                  <a:pt x="3023882" y="759082"/>
                </a:cubicBezTo>
                <a:cubicBezTo>
                  <a:pt x="3023882" y="759082"/>
                  <a:pt x="3023633" y="758901"/>
                  <a:pt x="3023444" y="758504"/>
                </a:cubicBezTo>
                <a:lnTo>
                  <a:pt x="3023426" y="757465"/>
                </a:lnTo>
                <a:lnTo>
                  <a:pt x="3019185" y="760008"/>
                </a:lnTo>
                <a:cubicBezTo>
                  <a:pt x="3016990" y="760456"/>
                  <a:pt x="3014384" y="760217"/>
                  <a:pt x="3011646" y="759369"/>
                </a:cubicBezTo>
                <a:cubicBezTo>
                  <a:pt x="3008354" y="758371"/>
                  <a:pt x="3005293" y="756516"/>
                  <a:pt x="3002824" y="753554"/>
                </a:cubicBezTo>
                <a:cubicBezTo>
                  <a:pt x="3003208" y="751012"/>
                  <a:pt x="3008785" y="747907"/>
                  <a:pt x="3013730" y="747162"/>
                </a:cubicBezTo>
                <a:lnTo>
                  <a:pt x="3014341" y="747095"/>
                </a:lnTo>
                <a:lnTo>
                  <a:pt x="3014093" y="746913"/>
                </a:lnTo>
                <a:cubicBezTo>
                  <a:pt x="3012922" y="744645"/>
                  <a:pt x="3011952" y="741625"/>
                  <a:pt x="3011420" y="739182"/>
                </a:cubicBezTo>
                <a:lnTo>
                  <a:pt x="3011401" y="738143"/>
                </a:lnTo>
                <a:lnTo>
                  <a:pt x="3008369" y="736180"/>
                </a:lnTo>
                <a:cubicBezTo>
                  <a:pt x="3007187" y="735058"/>
                  <a:pt x="3006892" y="733944"/>
                  <a:pt x="3008125" y="732664"/>
                </a:cubicBezTo>
                <a:lnTo>
                  <a:pt x="3011445" y="733554"/>
                </a:lnTo>
                <a:lnTo>
                  <a:pt x="3011503" y="733340"/>
                </a:lnTo>
                <a:cubicBezTo>
                  <a:pt x="3011894" y="732985"/>
                  <a:pt x="3011980" y="732663"/>
                  <a:pt x="3011571" y="731978"/>
                </a:cubicBezTo>
                <a:cubicBezTo>
                  <a:pt x="3011571" y="731978"/>
                  <a:pt x="3011000" y="730789"/>
                  <a:pt x="3011707" y="729254"/>
                </a:cubicBezTo>
                <a:cubicBezTo>
                  <a:pt x="3012416" y="727719"/>
                  <a:pt x="3013401" y="726257"/>
                  <a:pt x="3017026" y="727115"/>
                </a:cubicBezTo>
                <a:lnTo>
                  <a:pt x="3016940" y="727437"/>
                </a:lnTo>
                <a:lnTo>
                  <a:pt x="3020656" y="724637"/>
                </a:lnTo>
                <a:cubicBezTo>
                  <a:pt x="3023940" y="723447"/>
                  <a:pt x="3028055" y="722479"/>
                  <a:pt x="3032885" y="722164"/>
                </a:cubicBezTo>
                <a:lnTo>
                  <a:pt x="3043784" y="722439"/>
                </a:lnTo>
                <a:lnTo>
                  <a:pt x="3044165" y="714376"/>
                </a:lnTo>
                <a:lnTo>
                  <a:pt x="3046209" y="712279"/>
                </a:lnTo>
                <a:lnTo>
                  <a:pt x="3044312" y="710505"/>
                </a:lnTo>
                <a:cubicBezTo>
                  <a:pt x="3044599" y="709433"/>
                  <a:pt x="3044599" y="709433"/>
                  <a:pt x="3044599" y="709433"/>
                </a:cubicBezTo>
                <a:lnTo>
                  <a:pt x="3048426" y="709538"/>
                </a:lnTo>
                <a:lnTo>
                  <a:pt x="3051963" y="705195"/>
                </a:lnTo>
                <a:lnTo>
                  <a:pt x="3056757" y="702800"/>
                </a:lnTo>
                <a:lnTo>
                  <a:pt x="3053634" y="695638"/>
                </a:lnTo>
                <a:cubicBezTo>
                  <a:pt x="3051866" y="688954"/>
                  <a:pt x="3052284" y="682971"/>
                  <a:pt x="3061561" y="681547"/>
                </a:cubicBezTo>
                <a:cubicBezTo>
                  <a:pt x="3062237" y="683454"/>
                  <a:pt x="3063265" y="686258"/>
                  <a:pt x="3064454" y="689567"/>
                </a:cubicBezTo>
                <a:lnTo>
                  <a:pt x="3067232" y="698017"/>
                </a:lnTo>
                <a:lnTo>
                  <a:pt x="3078660" y="695214"/>
                </a:lnTo>
                <a:lnTo>
                  <a:pt x="3081366" y="690649"/>
                </a:lnTo>
                <a:lnTo>
                  <a:pt x="3083076" y="688692"/>
                </a:lnTo>
                <a:lnTo>
                  <a:pt x="3081473" y="688032"/>
                </a:lnTo>
                <a:lnTo>
                  <a:pt x="3083669" y="687585"/>
                </a:lnTo>
                <a:lnTo>
                  <a:pt x="3083726" y="687371"/>
                </a:lnTo>
                <a:cubicBezTo>
                  <a:pt x="3085358" y="687923"/>
                  <a:pt x="3085646" y="686850"/>
                  <a:pt x="3084043" y="686191"/>
                </a:cubicBezTo>
                <a:cubicBezTo>
                  <a:pt x="3086105" y="685134"/>
                  <a:pt x="3087863" y="684110"/>
                  <a:pt x="3089419" y="683836"/>
                </a:cubicBezTo>
                <a:cubicBezTo>
                  <a:pt x="3090670" y="683596"/>
                  <a:pt x="3092024" y="684074"/>
                  <a:pt x="3093368" y="685700"/>
                </a:cubicBezTo>
                <a:lnTo>
                  <a:pt x="3093472" y="686417"/>
                </a:lnTo>
                <a:lnTo>
                  <a:pt x="3102615" y="687716"/>
                </a:lnTo>
                <a:cubicBezTo>
                  <a:pt x="3103872" y="689663"/>
                  <a:pt x="3103804" y="691026"/>
                  <a:pt x="3102963" y="691950"/>
                </a:cubicBezTo>
                <a:lnTo>
                  <a:pt x="3101874" y="692693"/>
                </a:lnTo>
                <a:lnTo>
                  <a:pt x="3124000" y="690916"/>
                </a:lnTo>
                <a:cubicBezTo>
                  <a:pt x="3137429" y="690606"/>
                  <a:pt x="3150322" y="691185"/>
                  <a:pt x="3159989" y="692740"/>
                </a:cubicBezTo>
                <a:cubicBezTo>
                  <a:pt x="3166013" y="692400"/>
                  <a:pt x="3163080" y="703344"/>
                  <a:pt x="3171593" y="703669"/>
                </a:cubicBezTo>
                <a:cubicBezTo>
                  <a:pt x="3177616" y="703328"/>
                  <a:pt x="3175827" y="698939"/>
                  <a:pt x="3180383" y="704070"/>
                </a:cubicBezTo>
                <a:cubicBezTo>
                  <a:pt x="3183380" y="703952"/>
                  <a:pt x="3186521" y="703299"/>
                  <a:pt x="3189633" y="702754"/>
                </a:cubicBezTo>
                <a:lnTo>
                  <a:pt x="3191523" y="702340"/>
                </a:lnTo>
                <a:lnTo>
                  <a:pt x="3190963" y="700004"/>
                </a:lnTo>
                <a:cubicBezTo>
                  <a:pt x="3191526" y="699006"/>
                  <a:pt x="3192587" y="698370"/>
                  <a:pt x="3194943" y="698427"/>
                </a:cubicBezTo>
                <a:lnTo>
                  <a:pt x="3197136" y="701314"/>
                </a:lnTo>
                <a:lnTo>
                  <a:pt x="3198663" y="701148"/>
                </a:lnTo>
                <a:cubicBezTo>
                  <a:pt x="3201153" y="701815"/>
                  <a:pt x="3206688" y="703299"/>
                  <a:pt x="3206199" y="705122"/>
                </a:cubicBezTo>
                <a:lnTo>
                  <a:pt x="3205261" y="707516"/>
                </a:lnTo>
                <a:lnTo>
                  <a:pt x="3205864" y="714118"/>
                </a:lnTo>
                <a:cubicBezTo>
                  <a:pt x="3204722" y="711741"/>
                  <a:pt x="3203960" y="710157"/>
                  <a:pt x="3203723" y="708829"/>
                </a:cubicBezTo>
                <a:lnTo>
                  <a:pt x="3203982" y="707863"/>
                </a:lnTo>
                <a:lnTo>
                  <a:pt x="3202731" y="708103"/>
                </a:lnTo>
                <a:lnTo>
                  <a:pt x="3195457" y="708684"/>
                </a:lnTo>
                <a:lnTo>
                  <a:pt x="3199159" y="710366"/>
                </a:lnTo>
                <a:cubicBezTo>
                  <a:pt x="3206816" y="716098"/>
                  <a:pt x="3203855" y="727149"/>
                  <a:pt x="3193991" y="731867"/>
                </a:cubicBezTo>
                <a:lnTo>
                  <a:pt x="3192741" y="732106"/>
                </a:lnTo>
                <a:lnTo>
                  <a:pt x="3194038" y="732799"/>
                </a:lnTo>
                <a:cubicBezTo>
                  <a:pt x="3195640" y="733459"/>
                  <a:pt x="3197025" y="733829"/>
                  <a:pt x="3198408" y="734200"/>
                </a:cubicBezTo>
                <a:cubicBezTo>
                  <a:pt x="3204919" y="732034"/>
                  <a:pt x="3210665" y="731619"/>
                  <a:pt x="3219944" y="730195"/>
                </a:cubicBezTo>
                <a:cubicBezTo>
                  <a:pt x="3219455" y="732020"/>
                  <a:pt x="3218967" y="733843"/>
                  <a:pt x="3218967" y="733843"/>
                </a:cubicBezTo>
                <a:lnTo>
                  <a:pt x="3221830" y="733117"/>
                </a:lnTo>
                <a:lnTo>
                  <a:pt x="3227695" y="728937"/>
                </a:lnTo>
                <a:cubicBezTo>
                  <a:pt x="3233093" y="724289"/>
                  <a:pt x="3238317" y="720284"/>
                  <a:pt x="3248164" y="723382"/>
                </a:cubicBezTo>
                <a:lnTo>
                  <a:pt x="3245660" y="727195"/>
                </a:lnTo>
                <a:lnTo>
                  <a:pt x="3256882" y="728478"/>
                </a:lnTo>
                <a:cubicBezTo>
                  <a:pt x="3260871" y="729086"/>
                  <a:pt x="3265165" y="729662"/>
                  <a:pt x="3269545" y="729916"/>
                </a:cubicBezTo>
                <a:cubicBezTo>
                  <a:pt x="3272802" y="728833"/>
                  <a:pt x="3275781" y="727677"/>
                  <a:pt x="3278548" y="728418"/>
                </a:cubicBezTo>
                <a:cubicBezTo>
                  <a:pt x="3281804" y="727335"/>
                  <a:pt x="3284082" y="729901"/>
                  <a:pt x="3284082" y="729901"/>
                </a:cubicBezTo>
                <a:lnTo>
                  <a:pt x="3288606" y="729617"/>
                </a:lnTo>
                <a:lnTo>
                  <a:pt x="3287862" y="729074"/>
                </a:lnTo>
                <a:cubicBezTo>
                  <a:pt x="3285393" y="726112"/>
                  <a:pt x="3283564" y="722977"/>
                  <a:pt x="3282040" y="719809"/>
                </a:cubicBezTo>
                <a:lnTo>
                  <a:pt x="3281538" y="717259"/>
                </a:lnTo>
                <a:lnTo>
                  <a:pt x="3272967" y="717148"/>
                </a:lnTo>
                <a:cubicBezTo>
                  <a:pt x="3272478" y="718971"/>
                  <a:pt x="3271989" y="720796"/>
                  <a:pt x="3268734" y="721878"/>
                </a:cubicBezTo>
                <a:cubicBezTo>
                  <a:pt x="3261411" y="716006"/>
                  <a:pt x="3242152" y="722576"/>
                  <a:pt x="3235105" y="716778"/>
                </a:cubicBezTo>
                <a:cubicBezTo>
                  <a:pt x="3242105" y="712789"/>
                  <a:pt x="3247852" y="712373"/>
                  <a:pt x="3253874" y="712032"/>
                </a:cubicBezTo>
                <a:cubicBezTo>
                  <a:pt x="3245850" y="709882"/>
                  <a:pt x="3240776" y="706681"/>
                  <a:pt x="3236219" y="701551"/>
                </a:cubicBezTo>
                <a:cubicBezTo>
                  <a:pt x="3263778" y="697205"/>
                  <a:pt x="3285987" y="689585"/>
                  <a:pt x="3326127" y="692520"/>
                </a:cubicBezTo>
                <a:cubicBezTo>
                  <a:pt x="3338385" y="689940"/>
                  <a:pt x="3330709" y="674314"/>
                  <a:pt x="3355825" y="679088"/>
                </a:cubicBezTo>
                <a:cubicBezTo>
                  <a:pt x="3367917" y="688193"/>
                  <a:pt x="3356712" y="696806"/>
                  <a:pt x="3357035" y="706668"/>
                </a:cubicBezTo>
                <a:cubicBezTo>
                  <a:pt x="3360291" y="705586"/>
                  <a:pt x="3363058" y="706327"/>
                  <a:pt x="3365336" y="708892"/>
                </a:cubicBezTo>
                <a:cubicBezTo>
                  <a:pt x="3368103" y="709634"/>
                  <a:pt x="3368592" y="707810"/>
                  <a:pt x="3371082" y="708477"/>
                </a:cubicBezTo>
                <a:cubicBezTo>
                  <a:pt x="3374338" y="707394"/>
                  <a:pt x="3380361" y="707053"/>
                  <a:pt x="3385619" y="708461"/>
                </a:cubicBezTo>
                <a:cubicBezTo>
                  <a:pt x="3385619" y="708461"/>
                  <a:pt x="3385647" y="708354"/>
                  <a:pt x="3383341" y="705897"/>
                </a:cubicBezTo>
                <a:cubicBezTo>
                  <a:pt x="3383341" y="705897"/>
                  <a:pt x="3384106" y="704147"/>
                  <a:pt x="3386596" y="704814"/>
                </a:cubicBezTo>
                <a:cubicBezTo>
                  <a:pt x="3386596" y="704814"/>
                  <a:pt x="3386872" y="704888"/>
                  <a:pt x="3380850" y="705229"/>
                </a:cubicBezTo>
                <a:cubicBezTo>
                  <a:pt x="3376293" y="700098"/>
                  <a:pt x="3386032" y="696957"/>
                  <a:pt x="3391290" y="698366"/>
                </a:cubicBezTo>
                <a:cubicBezTo>
                  <a:pt x="3392756" y="692894"/>
                  <a:pt x="3394222" y="687422"/>
                  <a:pt x="3385385" y="677235"/>
                </a:cubicBezTo>
                <a:lnTo>
                  <a:pt x="3395329" y="678864"/>
                </a:lnTo>
                <a:lnTo>
                  <a:pt x="3393637" y="673004"/>
                </a:lnTo>
                <a:lnTo>
                  <a:pt x="3395117" y="671907"/>
                </a:lnTo>
                <a:lnTo>
                  <a:pt x="3393629" y="670818"/>
                </a:lnTo>
                <a:cubicBezTo>
                  <a:pt x="3391627" y="668327"/>
                  <a:pt x="3390744" y="664985"/>
                  <a:pt x="3388580" y="661989"/>
                </a:cubicBezTo>
                <a:cubicBezTo>
                  <a:pt x="3393716" y="661640"/>
                  <a:pt x="3397341" y="662498"/>
                  <a:pt x="3400040" y="664600"/>
                </a:cubicBezTo>
                <a:lnTo>
                  <a:pt x="3401887" y="668776"/>
                </a:lnTo>
                <a:lnTo>
                  <a:pt x="3406412" y="668493"/>
                </a:lnTo>
                <a:cubicBezTo>
                  <a:pt x="3410677" y="669175"/>
                  <a:pt x="3415485" y="671154"/>
                  <a:pt x="3420110" y="674923"/>
                </a:cubicBezTo>
                <a:lnTo>
                  <a:pt x="3416628" y="682384"/>
                </a:lnTo>
                <a:lnTo>
                  <a:pt x="3427153" y="684056"/>
                </a:lnTo>
                <a:cubicBezTo>
                  <a:pt x="3439263" y="685345"/>
                  <a:pt x="3450106" y="685836"/>
                  <a:pt x="3461616" y="686045"/>
                </a:cubicBezTo>
                <a:lnTo>
                  <a:pt x="3467857" y="685991"/>
                </a:lnTo>
                <a:lnTo>
                  <a:pt x="3467753" y="685274"/>
                </a:lnTo>
                <a:cubicBezTo>
                  <a:pt x="3468070" y="684094"/>
                  <a:pt x="3468386" y="682913"/>
                  <a:pt x="3470305" y="682392"/>
                </a:cubicBezTo>
                <a:cubicBezTo>
                  <a:pt x="3472529" y="681838"/>
                  <a:pt x="3475763" y="683050"/>
                  <a:pt x="3477395" y="683602"/>
                </a:cubicBezTo>
                <a:lnTo>
                  <a:pt x="3478233" y="686011"/>
                </a:lnTo>
                <a:lnTo>
                  <a:pt x="3492491" y="685923"/>
                </a:lnTo>
                <a:lnTo>
                  <a:pt x="3523640" y="689209"/>
                </a:lnTo>
                <a:lnTo>
                  <a:pt x="3528485" y="675556"/>
                </a:lnTo>
                <a:cubicBezTo>
                  <a:pt x="3530972" y="670703"/>
                  <a:pt x="3535090" y="666401"/>
                  <a:pt x="3542194" y="663130"/>
                </a:cubicBezTo>
                <a:cubicBezTo>
                  <a:pt x="3549636" y="674094"/>
                  <a:pt x="3541152" y="682516"/>
                  <a:pt x="3532146" y="687348"/>
                </a:cubicBezTo>
                <a:lnTo>
                  <a:pt x="3525186" y="690083"/>
                </a:lnTo>
                <a:lnTo>
                  <a:pt x="3528654" y="695957"/>
                </a:lnTo>
                <a:lnTo>
                  <a:pt x="3531837" y="699570"/>
                </a:lnTo>
                <a:cubicBezTo>
                  <a:pt x="3536437" y="700112"/>
                  <a:pt x="3537375" y="697719"/>
                  <a:pt x="3541698" y="698187"/>
                </a:cubicBezTo>
                <a:cubicBezTo>
                  <a:pt x="3543318" y="708741"/>
                  <a:pt x="3545873" y="720236"/>
                  <a:pt x="3536013" y="721619"/>
                </a:cubicBezTo>
                <a:cubicBezTo>
                  <a:pt x="3531711" y="718857"/>
                  <a:pt x="3529835" y="714789"/>
                  <a:pt x="3529764" y="710631"/>
                </a:cubicBezTo>
                <a:lnTo>
                  <a:pt x="3531223" y="702971"/>
                </a:lnTo>
                <a:lnTo>
                  <a:pt x="3522807" y="710031"/>
                </a:lnTo>
                <a:lnTo>
                  <a:pt x="3523752" y="709824"/>
                </a:lnTo>
                <a:cubicBezTo>
                  <a:pt x="3524859" y="710121"/>
                  <a:pt x="3525850" y="710846"/>
                  <a:pt x="3527195" y="712471"/>
                </a:cubicBezTo>
                <a:cubicBezTo>
                  <a:pt x="3530112" y="714863"/>
                  <a:pt x="3529547" y="715862"/>
                  <a:pt x="3525365" y="718192"/>
                </a:cubicBezTo>
                <a:cubicBezTo>
                  <a:pt x="3521498" y="719340"/>
                  <a:pt x="3519262" y="721041"/>
                  <a:pt x="3517660" y="720382"/>
                </a:cubicBezTo>
                <a:lnTo>
                  <a:pt x="3515645" y="722372"/>
                </a:lnTo>
                <a:lnTo>
                  <a:pt x="3515641" y="725706"/>
                </a:lnTo>
                <a:lnTo>
                  <a:pt x="3511950" y="722877"/>
                </a:lnTo>
                <a:lnTo>
                  <a:pt x="3507771" y="721872"/>
                </a:lnTo>
                <a:lnTo>
                  <a:pt x="3507235" y="722764"/>
                </a:lnTo>
                <a:cubicBezTo>
                  <a:pt x="3504094" y="723418"/>
                  <a:pt x="3499980" y="724385"/>
                  <a:pt x="3496440" y="723206"/>
                </a:cubicBezTo>
                <a:cubicBezTo>
                  <a:pt x="3495362" y="722803"/>
                  <a:pt x="3494065" y="722109"/>
                  <a:pt x="3493160" y="721062"/>
                </a:cubicBezTo>
                <a:lnTo>
                  <a:pt x="3492997" y="720559"/>
                </a:lnTo>
                <a:lnTo>
                  <a:pt x="3492243" y="721161"/>
                </a:lnTo>
                <a:cubicBezTo>
                  <a:pt x="3491183" y="721797"/>
                  <a:pt x="3489961" y="721930"/>
                  <a:pt x="3488520" y="721774"/>
                </a:cubicBezTo>
                <a:cubicBezTo>
                  <a:pt x="3485666" y="721355"/>
                  <a:pt x="3482547" y="719713"/>
                  <a:pt x="3479936" y="717289"/>
                </a:cubicBezTo>
                <a:lnTo>
                  <a:pt x="3481692" y="716265"/>
                </a:lnTo>
                <a:lnTo>
                  <a:pt x="3479640" y="716174"/>
                </a:lnTo>
                <a:cubicBezTo>
                  <a:pt x="3478691" y="719716"/>
                  <a:pt x="3475436" y="720798"/>
                  <a:pt x="3477225" y="725188"/>
                </a:cubicBezTo>
                <a:lnTo>
                  <a:pt x="3504892" y="727081"/>
                </a:lnTo>
                <a:lnTo>
                  <a:pt x="3504569" y="726074"/>
                </a:lnTo>
                <a:cubicBezTo>
                  <a:pt x="3505571" y="725653"/>
                  <a:pt x="3507157" y="725272"/>
                  <a:pt x="3508274" y="724422"/>
                </a:cubicBezTo>
                <a:lnTo>
                  <a:pt x="3510160" y="727342"/>
                </a:lnTo>
                <a:lnTo>
                  <a:pt x="3532588" y="728867"/>
                </a:lnTo>
                <a:lnTo>
                  <a:pt x="3582017" y="729231"/>
                </a:lnTo>
                <a:lnTo>
                  <a:pt x="3582304" y="728158"/>
                </a:lnTo>
                <a:lnTo>
                  <a:pt x="3583792" y="729246"/>
                </a:lnTo>
                <a:lnTo>
                  <a:pt x="3586761" y="729238"/>
                </a:lnTo>
                <a:lnTo>
                  <a:pt x="3590778" y="729739"/>
                </a:lnTo>
                <a:lnTo>
                  <a:pt x="3591705" y="728492"/>
                </a:lnTo>
                <a:lnTo>
                  <a:pt x="3596917" y="728968"/>
                </a:lnTo>
                <a:lnTo>
                  <a:pt x="3596697" y="728680"/>
                </a:lnTo>
                <a:cubicBezTo>
                  <a:pt x="3599209" y="727053"/>
                  <a:pt x="3600840" y="727605"/>
                  <a:pt x="3601850" y="729370"/>
                </a:cubicBezTo>
                <a:lnTo>
                  <a:pt x="3602259" y="730056"/>
                </a:lnTo>
                <a:lnTo>
                  <a:pt x="3604064" y="729964"/>
                </a:lnTo>
                <a:cubicBezTo>
                  <a:pt x="3607531" y="726982"/>
                  <a:pt x="3611248" y="724183"/>
                  <a:pt x="3620526" y="722759"/>
                </a:cubicBezTo>
                <a:cubicBezTo>
                  <a:pt x="3620037" y="724584"/>
                  <a:pt x="3619089" y="728124"/>
                  <a:pt x="3618600" y="729948"/>
                </a:cubicBezTo>
                <a:lnTo>
                  <a:pt x="3631436" y="730743"/>
                </a:lnTo>
                <a:lnTo>
                  <a:pt x="3634720" y="729553"/>
                </a:lnTo>
                <a:lnTo>
                  <a:pt x="3633901" y="728183"/>
                </a:lnTo>
                <a:lnTo>
                  <a:pt x="3632547" y="727705"/>
                </a:lnTo>
                <a:cubicBezTo>
                  <a:pt x="3632252" y="726591"/>
                  <a:pt x="3629887" y="724348"/>
                  <a:pt x="3628094" y="723292"/>
                </a:cubicBezTo>
                <a:cubicBezTo>
                  <a:pt x="3629621" y="723126"/>
                  <a:pt x="3631148" y="722960"/>
                  <a:pt x="3630883" y="721739"/>
                </a:cubicBezTo>
                <a:cubicBezTo>
                  <a:pt x="3632952" y="722869"/>
                  <a:pt x="3633915" y="723702"/>
                  <a:pt x="3634879" y="724535"/>
                </a:cubicBezTo>
                <a:lnTo>
                  <a:pt x="3635346" y="725005"/>
                </a:lnTo>
                <a:lnTo>
                  <a:pt x="3637064" y="725236"/>
                </a:lnTo>
                <a:lnTo>
                  <a:pt x="3638332" y="726036"/>
                </a:lnTo>
                <a:lnTo>
                  <a:pt x="3638885" y="726184"/>
                </a:lnTo>
                <a:cubicBezTo>
                  <a:pt x="3638885" y="726184"/>
                  <a:pt x="3638885" y="726184"/>
                  <a:pt x="3641351" y="723625"/>
                </a:cubicBezTo>
                <a:cubicBezTo>
                  <a:pt x="3641351" y="723625"/>
                  <a:pt x="3645401" y="720684"/>
                  <a:pt x="3651251" y="720987"/>
                </a:cubicBezTo>
                <a:lnTo>
                  <a:pt x="3657644" y="722585"/>
                </a:lnTo>
                <a:lnTo>
                  <a:pt x="3658064" y="722122"/>
                </a:lnTo>
                <a:lnTo>
                  <a:pt x="3660257" y="725010"/>
                </a:lnTo>
                <a:lnTo>
                  <a:pt x="3662147" y="724597"/>
                </a:lnTo>
                <a:cubicBezTo>
                  <a:pt x="3663616" y="724645"/>
                  <a:pt x="3664913" y="725338"/>
                  <a:pt x="3665924" y="727104"/>
                </a:cubicBezTo>
                <a:lnTo>
                  <a:pt x="3662886" y="728475"/>
                </a:lnTo>
                <a:lnTo>
                  <a:pt x="3664791" y="732435"/>
                </a:lnTo>
                <a:lnTo>
                  <a:pt x="3678677" y="733741"/>
                </a:lnTo>
                <a:cubicBezTo>
                  <a:pt x="3687018" y="734710"/>
                  <a:pt x="3695549" y="736077"/>
                  <a:pt x="3703831" y="737261"/>
                </a:cubicBezTo>
                <a:cubicBezTo>
                  <a:pt x="3711321" y="731447"/>
                  <a:pt x="3732904" y="737230"/>
                  <a:pt x="3740393" y="731417"/>
                </a:cubicBezTo>
                <a:cubicBezTo>
                  <a:pt x="3748417" y="733567"/>
                  <a:pt x="3756229" y="737616"/>
                  <a:pt x="3761975" y="737201"/>
                </a:cubicBezTo>
                <a:cubicBezTo>
                  <a:pt x="3759697" y="734635"/>
                  <a:pt x="3760157" y="732918"/>
                  <a:pt x="3763413" y="731835"/>
                </a:cubicBezTo>
                <a:cubicBezTo>
                  <a:pt x="3738085" y="728959"/>
                  <a:pt x="3721789" y="724477"/>
                  <a:pt x="3727136" y="704520"/>
                </a:cubicBezTo>
                <a:cubicBezTo>
                  <a:pt x="3747206" y="705988"/>
                  <a:pt x="3764969" y="704997"/>
                  <a:pt x="3782273" y="705724"/>
                </a:cubicBezTo>
                <a:cubicBezTo>
                  <a:pt x="3790786" y="706050"/>
                  <a:pt x="3799870" y="707564"/>
                  <a:pt x="3808887" y="710439"/>
                </a:cubicBezTo>
                <a:lnTo>
                  <a:pt x="3816929" y="713630"/>
                </a:lnTo>
                <a:lnTo>
                  <a:pt x="3817054" y="712053"/>
                </a:lnTo>
                <a:lnTo>
                  <a:pt x="3822786" y="716119"/>
                </a:lnTo>
                <a:lnTo>
                  <a:pt x="3835529" y="723904"/>
                </a:lnTo>
                <a:cubicBezTo>
                  <a:pt x="3835040" y="725728"/>
                  <a:pt x="3835040" y="725728"/>
                  <a:pt x="3834551" y="727551"/>
                </a:cubicBezTo>
                <a:cubicBezTo>
                  <a:pt x="3837042" y="728218"/>
                  <a:pt x="3839349" y="730677"/>
                  <a:pt x="3842115" y="731418"/>
                </a:cubicBezTo>
                <a:cubicBezTo>
                  <a:pt x="3844801" y="738003"/>
                  <a:pt x="3840160" y="738715"/>
                  <a:pt x="3835025" y="739064"/>
                </a:cubicBezTo>
                <a:lnTo>
                  <a:pt x="3828305" y="739793"/>
                </a:lnTo>
                <a:lnTo>
                  <a:pt x="3826764" y="744440"/>
                </a:lnTo>
                <a:lnTo>
                  <a:pt x="3825114" y="742848"/>
                </a:lnTo>
                <a:lnTo>
                  <a:pt x="3824159" y="744203"/>
                </a:lnTo>
                <a:cubicBezTo>
                  <a:pt x="3824159" y="744203"/>
                  <a:pt x="3823670" y="746026"/>
                  <a:pt x="3826436" y="746767"/>
                </a:cubicBezTo>
                <a:cubicBezTo>
                  <a:pt x="3839995" y="750401"/>
                  <a:pt x="3854042" y="752210"/>
                  <a:pt x="3868089" y="754018"/>
                </a:cubicBezTo>
                <a:cubicBezTo>
                  <a:pt x="3868089" y="754018"/>
                  <a:pt x="3868089" y="754018"/>
                  <a:pt x="3868578" y="752194"/>
                </a:cubicBezTo>
                <a:cubicBezTo>
                  <a:pt x="3868578" y="752194"/>
                  <a:pt x="3868578" y="752194"/>
                  <a:pt x="3876603" y="754345"/>
                </a:cubicBezTo>
                <a:cubicBezTo>
                  <a:pt x="3885393" y="754744"/>
                  <a:pt x="3891415" y="754403"/>
                  <a:pt x="3899929" y="754729"/>
                </a:cubicBezTo>
                <a:lnTo>
                  <a:pt x="3912743" y="757818"/>
                </a:lnTo>
                <a:lnTo>
                  <a:pt x="3913192" y="757249"/>
                </a:lnTo>
                <a:lnTo>
                  <a:pt x="3917752" y="759045"/>
                </a:lnTo>
                <a:lnTo>
                  <a:pt x="3927495" y="761426"/>
                </a:lnTo>
                <a:cubicBezTo>
                  <a:pt x="3935530" y="762429"/>
                  <a:pt x="3942965" y="762351"/>
                  <a:pt x="3950094" y="762306"/>
                </a:cubicBezTo>
                <a:cubicBezTo>
                  <a:pt x="3964879" y="762472"/>
                  <a:pt x="3979414" y="762458"/>
                  <a:pt x="3998230" y="767499"/>
                </a:cubicBezTo>
                <a:cubicBezTo>
                  <a:pt x="4001975" y="764593"/>
                  <a:pt x="4012278" y="769308"/>
                  <a:pt x="4011465" y="761271"/>
                </a:cubicBezTo>
                <a:cubicBezTo>
                  <a:pt x="4008975" y="760602"/>
                  <a:pt x="4008975" y="760602"/>
                  <a:pt x="4008975" y="760602"/>
                </a:cubicBezTo>
                <a:cubicBezTo>
                  <a:pt x="4005230" y="763510"/>
                  <a:pt x="3996718" y="763184"/>
                  <a:pt x="3993462" y="764266"/>
                </a:cubicBezTo>
                <a:cubicBezTo>
                  <a:pt x="3993462" y="764266"/>
                  <a:pt x="3993185" y="764192"/>
                  <a:pt x="3987439" y="764608"/>
                </a:cubicBezTo>
                <a:cubicBezTo>
                  <a:pt x="3978649" y="764208"/>
                  <a:pt x="3967887" y="761209"/>
                  <a:pt x="3950583" y="760482"/>
                </a:cubicBezTo>
                <a:cubicBezTo>
                  <a:pt x="3943537" y="754684"/>
                  <a:pt x="3951531" y="756942"/>
                  <a:pt x="3950232" y="750728"/>
                </a:cubicBezTo>
                <a:cubicBezTo>
                  <a:pt x="3945952" y="745671"/>
                  <a:pt x="3940694" y="744262"/>
                  <a:pt x="3929138" y="743121"/>
                </a:cubicBezTo>
                <a:cubicBezTo>
                  <a:pt x="3923391" y="743536"/>
                  <a:pt x="3917858" y="742053"/>
                  <a:pt x="3911834" y="742394"/>
                </a:cubicBezTo>
                <a:lnTo>
                  <a:pt x="3904396" y="745806"/>
                </a:lnTo>
                <a:lnTo>
                  <a:pt x="3907630" y="747017"/>
                </a:lnTo>
                <a:cubicBezTo>
                  <a:pt x="3903019" y="747623"/>
                  <a:pt x="3901786" y="748902"/>
                  <a:pt x="3901492" y="747788"/>
                </a:cubicBezTo>
                <a:lnTo>
                  <a:pt x="3900662" y="747566"/>
                </a:lnTo>
                <a:lnTo>
                  <a:pt x="3900327" y="747706"/>
                </a:lnTo>
                <a:cubicBezTo>
                  <a:pt x="3895192" y="748055"/>
                  <a:pt x="3888961" y="746960"/>
                  <a:pt x="3882303" y="744141"/>
                </a:cubicBezTo>
                <a:cubicBezTo>
                  <a:pt x="3868744" y="740508"/>
                  <a:pt x="3858930" y="733968"/>
                  <a:pt x="3859419" y="732145"/>
                </a:cubicBezTo>
                <a:cubicBezTo>
                  <a:pt x="3851118" y="729920"/>
                  <a:pt x="3845372" y="730335"/>
                  <a:pt x="3846809" y="724971"/>
                </a:cubicBezTo>
                <a:lnTo>
                  <a:pt x="3873905" y="725677"/>
                </a:lnTo>
                <a:lnTo>
                  <a:pt x="3872550" y="725199"/>
                </a:lnTo>
                <a:cubicBezTo>
                  <a:pt x="3871235" y="723465"/>
                  <a:pt x="3871798" y="722467"/>
                  <a:pt x="3872115" y="721287"/>
                </a:cubicBezTo>
                <a:cubicBezTo>
                  <a:pt x="3874598" y="719766"/>
                  <a:pt x="3876805" y="718172"/>
                  <a:pt x="3879287" y="716653"/>
                </a:cubicBezTo>
                <a:cubicBezTo>
                  <a:pt x="3885292" y="715272"/>
                  <a:pt x="3891326" y="713784"/>
                  <a:pt x="3895283" y="717834"/>
                </a:cubicBezTo>
                <a:lnTo>
                  <a:pt x="3883219" y="726332"/>
                </a:lnTo>
                <a:lnTo>
                  <a:pt x="3898811" y="729016"/>
                </a:lnTo>
                <a:cubicBezTo>
                  <a:pt x="3904346" y="730498"/>
                  <a:pt x="3909459" y="732443"/>
                  <a:pt x="3913789" y="735098"/>
                </a:cubicBezTo>
                <a:cubicBezTo>
                  <a:pt x="3916557" y="735839"/>
                  <a:pt x="3922090" y="737322"/>
                  <a:pt x="3927837" y="736907"/>
                </a:cubicBezTo>
                <a:cubicBezTo>
                  <a:pt x="3930604" y="737648"/>
                  <a:pt x="3936626" y="737307"/>
                  <a:pt x="3941884" y="738716"/>
                </a:cubicBezTo>
                <a:cubicBezTo>
                  <a:pt x="3939883" y="736224"/>
                  <a:pt x="3937604" y="733659"/>
                  <a:pt x="3935814" y="729269"/>
                </a:cubicBezTo>
                <a:cubicBezTo>
                  <a:pt x="3957397" y="735052"/>
                  <a:pt x="3975160" y="734062"/>
                  <a:pt x="3992463" y="734788"/>
                </a:cubicBezTo>
                <a:lnTo>
                  <a:pt x="4011111" y="737140"/>
                </a:lnTo>
                <a:lnTo>
                  <a:pt x="4011721" y="737073"/>
                </a:lnTo>
                <a:lnTo>
                  <a:pt x="4012274" y="737222"/>
                </a:lnTo>
                <a:lnTo>
                  <a:pt x="4012332" y="737007"/>
                </a:lnTo>
                <a:lnTo>
                  <a:pt x="4015006" y="735884"/>
                </a:lnTo>
                <a:lnTo>
                  <a:pt x="4011887" y="734243"/>
                </a:lnTo>
                <a:cubicBezTo>
                  <a:pt x="4006920" y="728427"/>
                  <a:pt x="4006762" y="724589"/>
                  <a:pt x="4007959" y="721231"/>
                </a:cubicBezTo>
                <a:cubicBezTo>
                  <a:pt x="4007959" y="721231"/>
                  <a:pt x="4007930" y="721338"/>
                  <a:pt x="4007366" y="722336"/>
                </a:cubicBezTo>
                <a:cubicBezTo>
                  <a:pt x="3999414" y="724345"/>
                  <a:pt x="3985733" y="727809"/>
                  <a:pt x="3981184" y="724866"/>
                </a:cubicBezTo>
                <a:cubicBezTo>
                  <a:pt x="3981776" y="723760"/>
                  <a:pt x="3982092" y="722580"/>
                  <a:pt x="3984288" y="722133"/>
                </a:cubicBezTo>
                <a:cubicBezTo>
                  <a:pt x="3986207" y="721612"/>
                  <a:pt x="3985891" y="722792"/>
                  <a:pt x="3986207" y="721612"/>
                </a:cubicBezTo>
                <a:cubicBezTo>
                  <a:pt x="3988126" y="721091"/>
                  <a:pt x="3986495" y="720539"/>
                  <a:pt x="3986495" y="720539"/>
                </a:cubicBezTo>
                <a:cubicBezTo>
                  <a:pt x="3986495" y="720539"/>
                  <a:pt x="3988098" y="721198"/>
                  <a:pt x="3988098" y="721198"/>
                </a:cubicBezTo>
                <a:cubicBezTo>
                  <a:pt x="3988098" y="721198"/>
                  <a:pt x="3988126" y="721091"/>
                  <a:pt x="3992212" y="720231"/>
                </a:cubicBezTo>
                <a:cubicBezTo>
                  <a:pt x="3996643" y="718083"/>
                  <a:pt x="3996931" y="717010"/>
                  <a:pt x="3999414" y="715491"/>
                </a:cubicBezTo>
                <a:cubicBezTo>
                  <a:pt x="4003252" y="714449"/>
                  <a:pt x="4004882" y="715001"/>
                  <a:pt x="4010324" y="714619"/>
                </a:cubicBezTo>
                <a:cubicBezTo>
                  <a:pt x="4012994" y="716829"/>
                  <a:pt x="4012965" y="716936"/>
                  <a:pt x="4012649" y="718117"/>
                </a:cubicBezTo>
                <a:cubicBezTo>
                  <a:pt x="4012965" y="716936"/>
                  <a:pt x="4014568" y="717596"/>
                  <a:pt x="4016763" y="717150"/>
                </a:cubicBezTo>
                <a:lnTo>
                  <a:pt x="4021546" y="715901"/>
                </a:lnTo>
                <a:lnTo>
                  <a:pt x="4022513" y="713400"/>
                </a:lnTo>
                <a:cubicBezTo>
                  <a:pt x="4022829" y="712219"/>
                  <a:pt x="4023699" y="711187"/>
                  <a:pt x="4026068" y="710097"/>
                </a:cubicBezTo>
                <a:cubicBezTo>
                  <a:pt x="4029538" y="712637"/>
                  <a:pt x="4031235" y="715162"/>
                  <a:pt x="4034706" y="717701"/>
                </a:cubicBezTo>
                <a:lnTo>
                  <a:pt x="4029445" y="719627"/>
                </a:lnTo>
                <a:lnTo>
                  <a:pt x="4036596" y="726144"/>
                </a:lnTo>
                <a:cubicBezTo>
                  <a:pt x="4034677" y="726664"/>
                  <a:pt x="4038662" y="730607"/>
                  <a:pt x="4039384" y="733446"/>
                </a:cubicBezTo>
                <a:cubicBezTo>
                  <a:pt x="4037911" y="736731"/>
                  <a:pt x="4037307" y="738984"/>
                  <a:pt x="4033192" y="739952"/>
                </a:cubicBezTo>
                <a:lnTo>
                  <a:pt x="4027037" y="739682"/>
                </a:lnTo>
                <a:lnTo>
                  <a:pt x="4028658" y="741382"/>
                </a:lnTo>
                <a:lnTo>
                  <a:pt x="4031148" y="742049"/>
                </a:lnTo>
                <a:cubicBezTo>
                  <a:pt x="4035431" y="743771"/>
                  <a:pt x="4039600" y="745923"/>
                  <a:pt x="4044207" y="748653"/>
                </a:cubicBezTo>
                <a:cubicBezTo>
                  <a:pt x="4062699" y="743833"/>
                  <a:pt x="4086348" y="754080"/>
                  <a:pt x="4110698" y="760604"/>
                </a:cubicBezTo>
                <a:cubicBezTo>
                  <a:pt x="4127023" y="764979"/>
                  <a:pt x="4156556" y="763232"/>
                  <a:pt x="4152674" y="777717"/>
                </a:cubicBezTo>
                <a:cubicBezTo>
                  <a:pt x="4143184" y="781039"/>
                  <a:pt x="4131627" y="779897"/>
                  <a:pt x="4123602" y="777747"/>
                </a:cubicBezTo>
                <a:lnTo>
                  <a:pt x="4125604" y="780239"/>
                </a:lnTo>
                <a:lnTo>
                  <a:pt x="4126503" y="779099"/>
                </a:lnTo>
                <a:cubicBezTo>
                  <a:pt x="4126503" y="779099"/>
                  <a:pt x="4126503" y="779099"/>
                  <a:pt x="4125938" y="780098"/>
                </a:cubicBezTo>
                <a:lnTo>
                  <a:pt x="4125823" y="780527"/>
                </a:lnTo>
                <a:lnTo>
                  <a:pt x="4128263" y="783596"/>
                </a:lnTo>
                <a:cubicBezTo>
                  <a:pt x="4130189" y="785262"/>
                  <a:pt x="4132698" y="786970"/>
                  <a:pt x="4135234" y="788569"/>
                </a:cubicBezTo>
                <a:lnTo>
                  <a:pt x="4145750" y="791386"/>
                </a:lnTo>
                <a:lnTo>
                  <a:pt x="4148024" y="788431"/>
                </a:lnTo>
                <a:cubicBezTo>
                  <a:pt x="4148646" y="787218"/>
                  <a:pt x="4150259" y="786730"/>
                  <a:pt x="4152063" y="786638"/>
                </a:cubicBezTo>
                <a:cubicBezTo>
                  <a:pt x="4153897" y="786439"/>
                  <a:pt x="4155890" y="786745"/>
                  <a:pt x="4157799" y="787370"/>
                </a:cubicBezTo>
                <a:cubicBezTo>
                  <a:pt x="4159535" y="788641"/>
                  <a:pt x="4159535" y="788641"/>
                  <a:pt x="4161299" y="789804"/>
                </a:cubicBezTo>
                <a:lnTo>
                  <a:pt x="4161623" y="790810"/>
                </a:lnTo>
                <a:lnTo>
                  <a:pt x="4161899" y="790884"/>
                </a:lnTo>
                <a:cubicBezTo>
                  <a:pt x="4163559" y="791329"/>
                  <a:pt x="4164942" y="791699"/>
                  <a:pt x="4166097" y="792929"/>
                </a:cubicBezTo>
                <a:cubicBezTo>
                  <a:pt x="4166585" y="791104"/>
                  <a:pt x="4167074" y="789281"/>
                  <a:pt x="4164796" y="786714"/>
                </a:cubicBezTo>
                <a:cubicBezTo>
                  <a:pt x="4188657" y="795064"/>
                  <a:pt x="4197583" y="783885"/>
                  <a:pt x="4220956" y="794057"/>
                </a:cubicBezTo>
                <a:cubicBezTo>
                  <a:pt x="4222256" y="800271"/>
                  <a:pt x="4213254" y="801769"/>
                  <a:pt x="4204004" y="803086"/>
                </a:cubicBezTo>
                <a:cubicBezTo>
                  <a:pt x="4206772" y="803828"/>
                  <a:pt x="4209538" y="804569"/>
                  <a:pt x="4212028" y="805236"/>
                </a:cubicBezTo>
                <a:cubicBezTo>
                  <a:pt x="4233536" y="801339"/>
                  <a:pt x="4255885" y="805372"/>
                  <a:pt x="4273723" y="814062"/>
                </a:cubicBezTo>
                <a:lnTo>
                  <a:pt x="4275243" y="811709"/>
                </a:lnTo>
                <a:lnTo>
                  <a:pt x="4273270" y="809110"/>
                </a:lnTo>
                <a:lnTo>
                  <a:pt x="4269706" y="804705"/>
                </a:lnTo>
                <a:cubicBezTo>
                  <a:pt x="4272944" y="802583"/>
                  <a:pt x="4271218" y="800166"/>
                  <a:pt x="4274734" y="798117"/>
                </a:cubicBezTo>
                <a:lnTo>
                  <a:pt x="4282276" y="804279"/>
                </a:lnTo>
                <a:lnTo>
                  <a:pt x="4285934" y="801694"/>
                </a:lnTo>
                <a:cubicBezTo>
                  <a:pt x="4306540" y="811124"/>
                  <a:pt x="4310607" y="818080"/>
                  <a:pt x="4313698" y="828683"/>
                </a:cubicBezTo>
                <a:cubicBezTo>
                  <a:pt x="4310931" y="827942"/>
                  <a:pt x="4308163" y="827200"/>
                  <a:pt x="4307214" y="830741"/>
                </a:cubicBezTo>
                <a:cubicBezTo>
                  <a:pt x="4304448" y="830000"/>
                  <a:pt x="4301681" y="829259"/>
                  <a:pt x="4299191" y="828591"/>
                </a:cubicBezTo>
                <a:cubicBezTo>
                  <a:pt x="4301192" y="831082"/>
                  <a:pt x="4306237" y="834390"/>
                  <a:pt x="4308516" y="836955"/>
                </a:cubicBezTo>
                <a:cubicBezTo>
                  <a:pt x="4304771" y="839861"/>
                  <a:pt x="4295981" y="839461"/>
                  <a:pt x="4287468" y="839136"/>
                </a:cubicBezTo>
                <a:lnTo>
                  <a:pt x="4299366" y="842324"/>
                </a:lnTo>
                <a:lnTo>
                  <a:pt x="4302834" y="839343"/>
                </a:lnTo>
                <a:lnTo>
                  <a:pt x="4310136" y="838654"/>
                </a:lnTo>
                <a:lnTo>
                  <a:pt x="4310165" y="838547"/>
                </a:lnTo>
                <a:lnTo>
                  <a:pt x="4311315" y="834254"/>
                </a:lnTo>
                <a:cubicBezTo>
                  <a:pt x="4313129" y="833016"/>
                  <a:pt x="4315631" y="832536"/>
                  <a:pt x="4318789" y="832922"/>
                </a:cubicBezTo>
                <a:cubicBezTo>
                  <a:pt x="4322560" y="833242"/>
                  <a:pt x="4327062" y="835254"/>
                  <a:pt x="4331485" y="839775"/>
                </a:cubicBezTo>
                <a:lnTo>
                  <a:pt x="4331370" y="840204"/>
                </a:lnTo>
                <a:lnTo>
                  <a:pt x="4336121" y="842396"/>
                </a:lnTo>
                <a:cubicBezTo>
                  <a:pt x="4336121" y="842396"/>
                  <a:pt x="4339072" y="841347"/>
                  <a:pt x="4339072" y="841347"/>
                </a:cubicBezTo>
                <a:cubicBezTo>
                  <a:pt x="4339072" y="841347"/>
                  <a:pt x="4339348" y="841421"/>
                  <a:pt x="4336581" y="840680"/>
                </a:cubicBezTo>
                <a:cubicBezTo>
                  <a:pt x="4331536" y="837372"/>
                  <a:pt x="4334821" y="836183"/>
                  <a:pt x="4335798" y="832535"/>
                </a:cubicBezTo>
                <a:cubicBezTo>
                  <a:pt x="4340294" y="832359"/>
                  <a:pt x="4352547" y="833113"/>
                  <a:pt x="4358873" y="836072"/>
                </a:cubicBezTo>
                <a:lnTo>
                  <a:pt x="4360770" y="837846"/>
                </a:lnTo>
                <a:lnTo>
                  <a:pt x="4360741" y="837954"/>
                </a:lnTo>
                <a:lnTo>
                  <a:pt x="4362915" y="839800"/>
                </a:lnTo>
                <a:cubicBezTo>
                  <a:pt x="4362915" y="839800"/>
                  <a:pt x="4365682" y="840542"/>
                  <a:pt x="4365682" y="840542"/>
                </a:cubicBezTo>
                <a:cubicBezTo>
                  <a:pt x="4368449" y="841283"/>
                  <a:pt x="4368937" y="839459"/>
                  <a:pt x="4369397" y="837743"/>
                </a:cubicBezTo>
                <a:cubicBezTo>
                  <a:pt x="4403591" y="850699"/>
                  <a:pt x="4437190" y="855908"/>
                  <a:pt x="4457170" y="878741"/>
                </a:cubicBezTo>
                <a:cubicBezTo>
                  <a:pt x="4457170" y="878741"/>
                  <a:pt x="4457170" y="878741"/>
                  <a:pt x="4456681" y="880565"/>
                </a:cubicBezTo>
                <a:cubicBezTo>
                  <a:pt x="4464004" y="886438"/>
                  <a:pt x="4471052" y="892236"/>
                  <a:pt x="4478587" y="896211"/>
                </a:cubicBezTo>
                <a:cubicBezTo>
                  <a:pt x="4477610" y="899858"/>
                  <a:pt x="4474631" y="901015"/>
                  <a:pt x="4471403" y="901990"/>
                </a:cubicBezTo>
                <a:cubicBezTo>
                  <a:pt x="4473682" y="904557"/>
                  <a:pt x="4473682" y="904557"/>
                  <a:pt x="4476172" y="905224"/>
                </a:cubicBezTo>
                <a:cubicBezTo>
                  <a:pt x="4475195" y="908872"/>
                  <a:pt x="4472216" y="910028"/>
                  <a:pt x="4468960" y="911110"/>
                </a:cubicBezTo>
                <a:cubicBezTo>
                  <a:pt x="4479752" y="914002"/>
                  <a:pt x="4487711" y="914180"/>
                  <a:pt x="4495843" y="913714"/>
                </a:cubicBezTo>
                <a:lnTo>
                  <a:pt x="4519905" y="912457"/>
                </a:lnTo>
                <a:lnTo>
                  <a:pt x="4522047" y="908891"/>
                </a:lnTo>
                <a:lnTo>
                  <a:pt x="4524692" y="907874"/>
                </a:lnTo>
                <a:lnTo>
                  <a:pt x="4522957" y="906605"/>
                </a:lnTo>
                <a:cubicBezTo>
                  <a:pt x="4522795" y="906100"/>
                  <a:pt x="4522881" y="905779"/>
                  <a:pt x="4522881" y="905779"/>
                </a:cubicBezTo>
                <a:cubicBezTo>
                  <a:pt x="4520115" y="905037"/>
                  <a:pt x="4517836" y="902472"/>
                  <a:pt x="4518296" y="900755"/>
                </a:cubicBezTo>
                <a:cubicBezTo>
                  <a:pt x="4519245" y="897214"/>
                  <a:pt x="4522472" y="896239"/>
                  <a:pt x="4525699" y="895264"/>
                </a:cubicBezTo>
                <a:cubicBezTo>
                  <a:pt x="4525699" y="895264"/>
                  <a:pt x="4525699" y="895264"/>
                  <a:pt x="4528926" y="894289"/>
                </a:cubicBezTo>
                <a:cubicBezTo>
                  <a:pt x="4528926" y="894289"/>
                  <a:pt x="4528926" y="894289"/>
                  <a:pt x="4534460" y="895772"/>
                </a:cubicBezTo>
                <a:cubicBezTo>
                  <a:pt x="4537227" y="896513"/>
                  <a:pt x="4539811" y="899045"/>
                  <a:pt x="4539351" y="900762"/>
                </a:cubicBezTo>
                <a:cubicBezTo>
                  <a:pt x="4538891" y="902479"/>
                  <a:pt x="4535847" y="901663"/>
                  <a:pt x="4533080" y="900921"/>
                </a:cubicBezTo>
                <a:cubicBezTo>
                  <a:pt x="4533080" y="900921"/>
                  <a:pt x="4533080" y="900921"/>
                  <a:pt x="4530313" y="900180"/>
                </a:cubicBezTo>
                <a:cubicBezTo>
                  <a:pt x="4527057" y="901263"/>
                  <a:pt x="4529365" y="903721"/>
                  <a:pt x="4529365" y="903721"/>
                </a:cubicBezTo>
                <a:cubicBezTo>
                  <a:pt x="4529365" y="903721"/>
                  <a:pt x="4530079" y="904372"/>
                  <a:pt x="4530183" y="905090"/>
                </a:cubicBezTo>
                <a:lnTo>
                  <a:pt x="4528444" y="907155"/>
                </a:lnTo>
                <a:lnTo>
                  <a:pt x="4537298" y="909527"/>
                </a:lnTo>
                <a:cubicBezTo>
                  <a:pt x="4537209" y="913182"/>
                  <a:pt x="4537614" y="917202"/>
                  <a:pt x="4536533" y="920132"/>
                </a:cubicBezTo>
                <a:lnTo>
                  <a:pt x="4536141" y="920487"/>
                </a:lnTo>
                <a:lnTo>
                  <a:pt x="4545211" y="926483"/>
                </a:lnTo>
                <a:cubicBezTo>
                  <a:pt x="4552851" y="931174"/>
                  <a:pt x="4561102" y="935800"/>
                  <a:pt x="4568915" y="939849"/>
                </a:cubicBezTo>
                <a:cubicBezTo>
                  <a:pt x="4569403" y="938024"/>
                  <a:pt x="4570381" y="934376"/>
                  <a:pt x="4577916" y="938351"/>
                </a:cubicBezTo>
                <a:cubicBezTo>
                  <a:pt x="4582150" y="933620"/>
                  <a:pt x="4587195" y="936927"/>
                  <a:pt x="4589121" y="929737"/>
                </a:cubicBezTo>
                <a:cubicBezTo>
                  <a:pt x="4589121" y="929737"/>
                  <a:pt x="4589150" y="929630"/>
                  <a:pt x="4570546" y="922691"/>
                </a:cubicBezTo>
                <a:cubicBezTo>
                  <a:pt x="4575969" y="921269"/>
                  <a:pt x="4581248" y="920383"/>
                  <a:pt x="4586383" y="920034"/>
                </a:cubicBezTo>
                <a:lnTo>
                  <a:pt x="4586965" y="920075"/>
                </a:lnTo>
                <a:lnTo>
                  <a:pt x="4585696" y="919274"/>
                </a:lnTo>
                <a:cubicBezTo>
                  <a:pt x="4587465" y="917103"/>
                  <a:pt x="4590702" y="914982"/>
                  <a:pt x="4594217" y="912933"/>
                </a:cubicBezTo>
                <a:cubicBezTo>
                  <a:pt x="4598529" y="914549"/>
                  <a:pt x="4598842" y="916702"/>
                  <a:pt x="4597436" y="918626"/>
                </a:cubicBezTo>
                <a:lnTo>
                  <a:pt x="4595536" y="920186"/>
                </a:lnTo>
                <a:lnTo>
                  <a:pt x="4601692" y="920456"/>
                </a:lnTo>
                <a:cubicBezTo>
                  <a:pt x="4611474" y="921582"/>
                  <a:pt x="4621043" y="924606"/>
                  <a:pt x="4629962" y="928951"/>
                </a:cubicBezTo>
                <a:lnTo>
                  <a:pt x="4638698" y="935087"/>
                </a:lnTo>
                <a:lnTo>
                  <a:pt x="4643269" y="935736"/>
                </a:lnTo>
                <a:cubicBezTo>
                  <a:pt x="4643269" y="935736"/>
                  <a:pt x="4643269" y="935736"/>
                  <a:pt x="4645062" y="936792"/>
                </a:cubicBezTo>
                <a:lnTo>
                  <a:pt x="4641149" y="937009"/>
                </a:lnTo>
                <a:lnTo>
                  <a:pt x="4644897" y="939623"/>
                </a:lnTo>
                <a:lnTo>
                  <a:pt x="4646683" y="938492"/>
                </a:lnTo>
                <a:cubicBezTo>
                  <a:pt x="4650908" y="940428"/>
                  <a:pt x="4655135" y="942366"/>
                  <a:pt x="4652641" y="945033"/>
                </a:cubicBezTo>
                <a:lnTo>
                  <a:pt x="4652612" y="945140"/>
                </a:lnTo>
                <a:lnTo>
                  <a:pt x="4654100" y="946229"/>
                </a:lnTo>
                <a:lnTo>
                  <a:pt x="4654093" y="944043"/>
                </a:lnTo>
                <a:cubicBezTo>
                  <a:pt x="4654218" y="942465"/>
                  <a:pt x="4653486" y="940774"/>
                  <a:pt x="4651893" y="938967"/>
                </a:cubicBezTo>
                <a:cubicBezTo>
                  <a:pt x="4655691" y="939181"/>
                  <a:pt x="4655691" y="939181"/>
                  <a:pt x="4658333" y="941498"/>
                </a:cubicBezTo>
                <a:cubicBezTo>
                  <a:pt x="4658045" y="942570"/>
                  <a:pt x="4659648" y="943231"/>
                  <a:pt x="4657453" y="943677"/>
                </a:cubicBezTo>
                <a:cubicBezTo>
                  <a:pt x="4658635" y="944799"/>
                  <a:pt x="4659425" y="946276"/>
                  <a:pt x="4660158" y="947967"/>
                </a:cubicBezTo>
                <a:lnTo>
                  <a:pt x="4660708" y="951449"/>
                </a:lnTo>
                <a:lnTo>
                  <a:pt x="4663435" y="953446"/>
                </a:lnTo>
                <a:lnTo>
                  <a:pt x="4663694" y="952480"/>
                </a:lnTo>
                <a:lnTo>
                  <a:pt x="4667003" y="954517"/>
                </a:lnTo>
                <a:lnTo>
                  <a:pt x="4666875" y="950572"/>
                </a:lnTo>
                <a:cubicBezTo>
                  <a:pt x="4667278" y="949069"/>
                  <a:pt x="4667651" y="947675"/>
                  <a:pt x="4669131" y="946576"/>
                </a:cubicBezTo>
                <a:cubicBezTo>
                  <a:pt x="4669131" y="946576"/>
                  <a:pt x="4669102" y="946683"/>
                  <a:pt x="4668539" y="947683"/>
                </a:cubicBezTo>
                <a:cubicBezTo>
                  <a:pt x="4668539" y="947683"/>
                  <a:pt x="4669131" y="946576"/>
                  <a:pt x="4670734" y="947236"/>
                </a:cubicBezTo>
                <a:lnTo>
                  <a:pt x="4670313" y="956553"/>
                </a:lnTo>
                <a:lnTo>
                  <a:pt x="4670590" y="956627"/>
                </a:lnTo>
                <a:lnTo>
                  <a:pt x="4670943" y="957527"/>
                </a:lnTo>
                <a:lnTo>
                  <a:pt x="4678737" y="960535"/>
                </a:lnTo>
                <a:cubicBezTo>
                  <a:pt x="4681303" y="962028"/>
                  <a:pt x="4683725" y="964057"/>
                  <a:pt x="4685392" y="966688"/>
                </a:cubicBezTo>
                <a:cubicBezTo>
                  <a:pt x="4681859" y="967697"/>
                  <a:pt x="4679082" y="968103"/>
                  <a:pt x="4676171" y="967898"/>
                </a:cubicBezTo>
                <a:lnTo>
                  <a:pt x="4673127" y="967082"/>
                </a:lnTo>
                <a:lnTo>
                  <a:pt x="4672106" y="975319"/>
                </a:lnTo>
                <a:lnTo>
                  <a:pt x="4670357" y="978530"/>
                </a:lnTo>
                <a:lnTo>
                  <a:pt x="4670705" y="982764"/>
                </a:lnTo>
                <a:lnTo>
                  <a:pt x="4672337" y="983316"/>
                </a:lnTo>
                <a:lnTo>
                  <a:pt x="4673472" y="983505"/>
                </a:lnTo>
                <a:lnTo>
                  <a:pt x="4673939" y="983976"/>
                </a:lnTo>
                <a:lnTo>
                  <a:pt x="4677421" y="985369"/>
                </a:lnTo>
                <a:cubicBezTo>
                  <a:pt x="4679854" y="986250"/>
                  <a:pt x="4682534" y="987313"/>
                  <a:pt x="4686570" y="988855"/>
                </a:cubicBezTo>
                <a:cubicBezTo>
                  <a:pt x="4692730" y="976936"/>
                  <a:pt x="4705800" y="982392"/>
                  <a:pt x="4716102" y="987107"/>
                </a:cubicBezTo>
                <a:cubicBezTo>
                  <a:pt x="4716102" y="987107"/>
                  <a:pt x="4716102" y="987107"/>
                  <a:pt x="4725546" y="973998"/>
                </a:cubicBezTo>
                <a:cubicBezTo>
                  <a:pt x="4734060" y="974325"/>
                  <a:pt x="4747618" y="977957"/>
                  <a:pt x="4760965" y="983488"/>
                </a:cubicBezTo>
                <a:lnTo>
                  <a:pt x="4766753" y="987340"/>
                </a:lnTo>
                <a:lnTo>
                  <a:pt x="4767699" y="978278"/>
                </a:lnTo>
                <a:lnTo>
                  <a:pt x="4768960" y="976890"/>
                </a:lnTo>
                <a:lnTo>
                  <a:pt x="4768751" y="975455"/>
                </a:lnTo>
                <a:cubicBezTo>
                  <a:pt x="4768993" y="973449"/>
                  <a:pt x="4770483" y="971204"/>
                  <a:pt x="4771612" y="969206"/>
                </a:cubicBezTo>
                <a:lnTo>
                  <a:pt x="4773754" y="965640"/>
                </a:lnTo>
                <a:lnTo>
                  <a:pt x="4768652" y="971403"/>
                </a:lnTo>
                <a:cubicBezTo>
                  <a:pt x="4765460" y="974458"/>
                  <a:pt x="4762165" y="976795"/>
                  <a:pt x="4759560" y="976557"/>
                </a:cubicBezTo>
                <a:cubicBezTo>
                  <a:pt x="4758988" y="975369"/>
                  <a:pt x="4758693" y="974255"/>
                  <a:pt x="4759678" y="972794"/>
                </a:cubicBezTo>
                <a:cubicBezTo>
                  <a:pt x="4760940" y="971406"/>
                  <a:pt x="4761234" y="972520"/>
                  <a:pt x="4760940" y="971406"/>
                </a:cubicBezTo>
                <a:cubicBezTo>
                  <a:pt x="4761924" y="969945"/>
                  <a:pt x="4760368" y="970219"/>
                  <a:pt x="4760368" y="970219"/>
                </a:cubicBezTo>
                <a:cubicBezTo>
                  <a:pt x="4760368" y="970219"/>
                  <a:pt x="4761895" y="970052"/>
                  <a:pt x="4761895" y="970052"/>
                </a:cubicBezTo>
                <a:cubicBezTo>
                  <a:pt x="4761895" y="970052"/>
                  <a:pt x="4761924" y="969945"/>
                  <a:pt x="4764142" y="967205"/>
                </a:cubicBezTo>
                <a:cubicBezTo>
                  <a:pt x="4766064" y="963349"/>
                  <a:pt x="4765522" y="962054"/>
                  <a:pt x="4765906" y="959512"/>
                </a:cubicBezTo>
                <a:cubicBezTo>
                  <a:pt x="4768152" y="956665"/>
                  <a:pt x="4769956" y="956572"/>
                  <a:pt x="4773729" y="953558"/>
                </a:cubicBezTo>
                <a:cubicBezTo>
                  <a:pt x="4777384" y="954308"/>
                  <a:pt x="4777384" y="954308"/>
                  <a:pt x="4777956" y="955495"/>
                </a:cubicBezTo>
                <a:cubicBezTo>
                  <a:pt x="4777384" y="954308"/>
                  <a:pt x="4778940" y="954034"/>
                  <a:pt x="4780173" y="952754"/>
                </a:cubicBezTo>
                <a:lnTo>
                  <a:pt x="4784805" y="949856"/>
                </a:lnTo>
                <a:lnTo>
                  <a:pt x="4784118" y="949097"/>
                </a:lnTo>
                <a:cubicBezTo>
                  <a:pt x="4783443" y="947191"/>
                  <a:pt x="4783465" y="944897"/>
                  <a:pt x="4785013" y="942437"/>
                </a:cubicBezTo>
                <a:cubicBezTo>
                  <a:pt x="4787371" y="942493"/>
                  <a:pt x="4789729" y="942550"/>
                  <a:pt x="4792085" y="942607"/>
                </a:cubicBezTo>
                <a:lnTo>
                  <a:pt x="4796344" y="949958"/>
                </a:lnTo>
                <a:lnTo>
                  <a:pt x="4801381" y="951078"/>
                </a:lnTo>
                <a:cubicBezTo>
                  <a:pt x="4800397" y="952538"/>
                  <a:pt x="4806179" y="954203"/>
                  <a:pt x="4808878" y="956306"/>
                </a:cubicBezTo>
                <a:cubicBezTo>
                  <a:pt x="4810287" y="959903"/>
                  <a:pt x="4811152" y="962206"/>
                  <a:pt x="4808935" y="964947"/>
                </a:cubicBezTo>
                <a:lnTo>
                  <a:pt x="4801486" y="969505"/>
                </a:lnTo>
                <a:lnTo>
                  <a:pt x="4803613" y="970421"/>
                </a:lnTo>
                <a:cubicBezTo>
                  <a:pt x="4801985" y="975390"/>
                  <a:pt x="4799470" y="980350"/>
                  <a:pt x="4795351" y="984653"/>
                </a:cubicBezTo>
                <a:lnTo>
                  <a:pt x="4777254" y="994638"/>
                </a:lnTo>
                <a:lnTo>
                  <a:pt x="4785149" y="1001699"/>
                </a:lnTo>
                <a:cubicBezTo>
                  <a:pt x="4787456" y="1004156"/>
                  <a:pt x="4789917" y="1004931"/>
                  <a:pt x="4789917" y="1004931"/>
                </a:cubicBezTo>
                <a:cubicBezTo>
                  <a:pt x="4792196" y="1007497"/>
                  <a:pt x="4792196" y="1007497"/>
                  <a:pt x="4794963" y="1008238"/>
                </a:cubicBezTo>
                <a:cubicBezTo>
                  <a:pt x="4794963" y="1008238"/>
                  <a:pt x="4794963" y="1008238"/>
                  <a:pt x="4792196" y="1007497"/>
                </a:cubicBezTo>
                <a:lnTo>
                  <a:pt x="4795973" y="1010004"/>
                </a:lnTo>
                <a:lnTo>
                  <a:pt x="4805345" y="1001590"/>
                </a:lnTo>
                <a:cubicBezTo>
                  <a:pt x="4807917" y="1005270"/>
                  <a:pt x="4808496" y="1008645"/>
                  <a:pt x="4808274" y="1011690"/>
                </a:cubicBezTo>
                <a:lnTo>
                  <a:pt x="4805538" y="1016362"/>
                </a:lnTo>
                <a:lnTo>
                  <a:pt x="4806283" y="1016906"/>
                </a:lnTo>
                <a:cubicBezTo>
                  <a:pt x="4808941" y="1020264"/>
                  <a:pt x="4809492" y="1023747"/>
                  <a:pt x="4807130" y="1027024"/>
                </a:cubicBezTo>
                <a:lnTo>
                  <a:pt x="4797561" y="1023999"/>
                </a:lnTo>
                <a:lnTo>
                  <a:pt x="4795296" y="1025808"/>
                </a:lnTo>
                <a:cubicBezTo>
                  <a:pt x="4792203" y="1027394"/>
                  <a:pt x="4788918" y="1028584"/>
                  <a:pt x="4786360" y="1029278"/>
                </a:cubicBezTo>
                <a:lnTo>
                  <a:pt x="4789633" y="1020380"/>
                </a:lnTo>
                <a:lnTo>
                  <a:pt x="4781267" y="1016184"/>
                </a:lnTo>
                <a:cubicBezTo>
                  <a:pt x="4781267" y="1016184"/>
                  <a:pt x="4780963" y="1016216"/>
                  <a:pt x="4785684" y="1009662"/>
                </a:cubicBezTo>
                <a:cubicBezTo>
                  <a:pt x="4783406" y="1007097"/>
                  <a:pt x="4780916" y="1006430"/>
                  <a:pt x="4778637" y="1003863"/>
                </a:cubicBezTo>
                <a:cubicBezTo>
                  <a:pt x="4778637" y="1003863"/>
                  <a:pt x="4778637" y="1003863"/>
                  <a:pt x="4778149" y="1005688"/>
                </a:cubicBezTo>
                <a:cubicBezTo>
                  <a:pt x="4775963" y="1013844"/>
                  <a:pt x="4771852" y="1029186"/>
                  <a:pt x="4778928" y="1043732"/>
                </a:cubicBezTo>
                <a:lnTo>
                  <a:pt x="4783675" y="1049259"/>
                </a:lnTo>
                <a:lnTo>
                  <a:pt x="4784095" y="1048796"/>
                </a:lnTo>
                <a:cubicBezTo>
                  <a:pt x="4785069" y="1048483"/>
                  <a:pt x="4786043" y="1048169"/>
                  <a:pt x="4786901" y="1048284"/>
                </a:cubicBezTo>
                <a:cubicBezTo>
                  <a:pt x="4788008" y="1048581"/>
                  <a:pt x="4789000" y="1049306"/>
                  <a:pt x="4790344" y="1050931"/>
                </a:cubicBezTo>
                <a:cubicBezTo>
                  <a:pt x="4791803" y="1052128"/>
                  <a:pt x="4792461" y="1052993"/>
                  <a:pt x="4792231" y="1053852"/>
                </a:cubicBezTo>
                <a:lnTo>
                  <a:pt x="4789241" y="1056156"/>
                </a:lnTo>
                <a:lnTo>
                  <a:pt x="4790337" y="1057600"/>
                </a:lnTo>
                <a:lnTo>
                  <a:pt x="4796608" y="1057440"/>
                </a:lnTo>
                <a:lnTo>
                  <a:pt x="4794577" y="1055055"/>
                </a:lnTo>
                <a:cubicBezTo>
                  <a:pt x="4791605" y="1049544"/>
                  <a:pt x="4792949" y="1042315"/>
                  <a:pt x="4794988" y="1038031"/>
                </a:cubicBezTo>
                <a:cubicBezTo>
                  <a:pt x="4799587" y="1038572"/>
                  <a:pt x="4800248" y="1036104"/>
                  <a:pt x="4804848" y="1036648"/>
                </a:cubicBezTo>
                <a:cubicBezTo>
                  <a:pt x="4805995" y="1044544"/>
                  <a:pt x="4807913" y="1052879"/>
                  <a:pt x="4804377" y="1057222"/>
                </a:cubicBezTo>
                <a:lnTo>
                  <a:pt x="4802677" y="1058031"/>
                </a:lnTo>
                <a:lnTo>
                  <a:pt x="4806609" y="1058855"/>
                </a:lnTo>
                <a:cubicBezTo>
                  <a:pt x="4820825" y="1063353"/>
                  <a:pt x="4830469" y="1076058"/>
                  <a:pt x="4841178" y="1084793"/>
                </a:cubicBezTo>
                <a:cubicBezTo>
                  <a:pt x="4841178" y="1084793"/>
                  <a:pt x="4843916" y="1085641"/>
                  <a:pt x="4844405" y="1083817"/>
                </a:cubicBezTo>
                <a:cubicBezTo>
                  <a:pt x="4847172" y="1084558"/>
                  <a:pt x="4849968" y="1085194"/>
                  <a:pt x="4849480" y="1087017"/>
                </a:cubicBezTo>
                <a:cubicBezTo>
                  <a:pt x="4852246" y="1087759"/>
                  <a:pt x="4851757" y="1089582"/>
                  <a:pt x="4848502" y="1090666"/>
                </a:cubicBezTo>
                <a:cubicBezTo>
                  <a:pt x="4845735" y="1089924"/>
                  <a:pt x="4842479" y="1091006"/>
                  <a:pt x="4839712" y="1090265"/>
                </a:cubicBezTo>
                <a:cubicBezTo>
                  <a:pt x="4839712" y="1090265"/>
                  <a:pt x="4839712" y="1090265"/>
                  <a:pt x="4841990" y="1092830"/>
                </a:cubicBezTo>
                <a:cubicBezTo>
                  <a:pt x="4844757" y="1093571"/>
                  <a:pt x="4847934" y="1094998"/>
                  <a:pt x="4851024" y="1096746"/>
                </a:cubicBezTo>
                <a:lnTo>
                  <a:pt x="4854686" y="1099682"/>
                </a:lnTo>
                <a:lnTo>
                  <a:pt x="4855574" y="1099690"/>
                </a:lnTo>
                <a:lnTo>
                  <a:pt x="4867691" y="1103167"/>
                </a:lnTo>
                <a:lnTo>
                  <a:pt x="4870433" y="1100682"/>
                </a:lnTo>
                <a:lnTo>
                  <a:pt x="4873089" y="1098518"/>
                </a:lnTo>
                <a:lnTo>
                  <a:pt x="4872040" y="1098008"/>
                </a:lnTo>
                <a:cubicBezTo>
                  <a:pt x="4871515" y="1097752"/>
                  <a:pt x="4870933" y="1097711"/>
                  <a:pt x="4871094" y="1098214"/>
                </a:cubicBezTo>
                <a:cubicBezTo>
                  <a:pt x="4869273" y="1097265"/>
                  <a:pt x="4868091" y="1096143"/>
                  <a:pt x="4867519" y="1094956"/>
                </a:cubicBezTo>
                <a:cubicBezTo>
                  <a:pt x="4866948" y="1093767"/>
                  <a:pt x="4866987" y="1092513"/>
                  <a:pt x="4867580" y="1091408"/>
                </a:cubicBezTo>
                <a:cubicBezTo>
                  <a:pt x="4868841" y="1090020"/>
                  <a:pt x="4872144" y="1089869"/>
                  <a:pt x="4877545" y="1090742"/>
                </a:cubicBezTo>
                <a:cubicBezTo>
                  <a:pt x="4878728" y="1091864"/>
                  <a:pt x="4878296" y="1093474"/>
                  <a:pt x="4877312" y="1094934"/>
                </a:cubicBezTo>
                <a:lnTo>
                  <a:pt x="4875504" y="1098360"/>
                </a:lnTo>
                <a:lnTo>
                  <a:pt x="4878386" y="1098673"/>
                </a:lnTo>
                <a:cubicBezTo>
                  <a:pt x="4878921" y="1106637"/>
                  <a:pt x="4894546" y="1114733"/>
                  <a:pt x="4905826" y="1115800"/>
                </a:cubicBezTo>
                <a:lnTo>
                  <a:pt x="4906056" y="1114942"/>
                </a:lnTo>
                <a:lnTo>
                  <a:pt x="4902315" y="1114515"/>
                </a:lnTo>
                <a:cubicBezTo>
                  <a:pt x="4894319" y="1112257"/>
                  <a:pt x="4887452" y="1108002"/>
                  <a:pt x="4888049" y="1103561"/>
                </a:cubicBezTo>
                <a:cubicBezTo>
                  <a:pt x="4888365" y="1102381"/>
                  <a:pt x="4889015" y="1101060"/>
                  <a:pt x="4890525" y="1099855"/>
                </a:cubicBezTo>
                <a:cubicBezTo>
                  <a:pt x="4893637" y="1099309"/>
                  <a:pt x="4896415" y="1098903"/>
                  <a:pt x="4899412" y="1098786"/>
                </a:cubicBezTo>
                <a:lnTo>
                  <a:pt x="4900853" y="1098942"/>
                </a:lnTo>
                <a:lnTo>
                  <a:pt x="4897155" y="1093926"/>
                </a:lnTo>
                <a:cubicBezTo>
                  <a:pt x="4897155" y="1093926"/>
                  <a:pt x="4894389" y="1093185"/>
                  <a:pt x="4891621" y="1092443"/>
                </a:cubicBezTo>
                <a:cubicBezTo>
                  <a:pt x="4891621" y="1092443"/>
                  <a:pt x="4889314" y="1089985"/>
                  <a:pt x="4889314" y="1089985"/>
                </a:cubicBezTo>
                <a:cubicBezTo>
                  <a:pt x="4886547" y="1089244"/>
                  <a:pt x="4887036" y="1087420"/>
                  <a:pt x="4887525" y="1085597"/>
                </a:cubicBezTo>
                <a:cubicBezTo>
                  <a:pt x="4888014" y="1083772"/>
                  <a:pt x="4891269" y="1082689"/>
                  <a:pt x="4896315" y="1085996"/>
                </a:cubicBezTo>
                <a:cubicBezTo>
                  <a:pt x="4898805" y="1086663"/>
                  <a:pt x="4901571" y="1087405"/>
                  <a:pt x="4903850" y="1089971"/>
                </a:cubicBezTo>
                <a:cubicBezTo>
                  <a:pt x="4906617" y="1090711"/>
                  <a:pt x="4906617" y="1090711"/>
                  <a:pt x="4906617" y="1090711"/>
                </a:cubicBezTo>
                <a:cubicBezTo>
                  <a:pt x="4906617" y="1090711"/>
                  <a:pt x="4907106" y="1088888"/>
                  <a:pt x="4909872" y="1089629"/>
                </a:cubicBezTo>
                <a:cubicBezTo>
                  <a:pt x="4909872" y="1089629"/>
                  <a:pt x="4913129" y="1088546"/>
                  <a:pt x="4913129" y="1088546"/>
                </a:cubicBezTo>
                <a:cubicBezTo>
                  <a:pt x="4901985" y="1075901"/>
                  <a:pt x="4926011" y="1072563"/>
                  <a:pt x="4942690" y="1086693"/>
                </a:cubicBezTo>
                <a:lnTo>
                  <a:pt x="4935538" y="1089031"/>
                </a:lnTo>
                <a:lnTo>
                  <a:pt x="4939839" y="1091794"/>
                </a:lnTo>
                <a:cubicBezTo>
                  <a:pt x="4940907" y="1093344"/>
                  <a:pt x="4940447" y="1095062"/>
                  <a:pt x="4939089" y="1097918"/>
                </a:cubicBezTo>
                <a:cubicBezTo>
                  <a:pt x="4939089" y="1097918"/>
                  <a:pt x="4937579" y="1099123"/>
                  <a:pt x="4937579" y="1099123"/>
                </a:cubicBezTo>
                <a:cubicBezTo>
                  <a:pt x="4935200" y="1101360"/>
                  <a:pt x="4931743" y="1103194"/>
                  <a:pt x="4928239" y="1104096"/>
                </a:cubicBezTo>
                <a:lnTo>
                  <a:pt x="4920718" y="1104496"/>
                </a:lnTo>
                <a:lnTo>
                  <a:pt x="4922806" y="1106664"/>
                </a:lnTo>
                <a:cubicBezTo>
                  <a:pt x="4922317" y="1108489"/>
                  <a:pt x="4923341" y="1114628"/>
                  <a:pt x="4922852" y="1116453"/>
                </a:cubicBezTo>
                <a:cubicBezTo>
                  <a:pt x="4922852" y="1116453"/>
                  <a:pt x="4922852" y="1116453"/>
                  <a:pt x="4922363" y="1118277"/>
                </a:cubicBezTo>
                <a:cubicBezTo>
                  <a:pt x="4919414" y="1119325"/>
                  <a:pt x="4918896" y="1121257"/>
                  <a:pt x="4916129" y="1120516"/>
                </a:cubicBezTo>
                <a:lnTo>
                  <a:pt x="4931998" y="1132128"/>
                </a:lnTo>
                <a:lnTo>
                  <a:pt x="4927355" y="1127319"/>
                </a:lnTo>
                <a:cubicBezTo>
                  <a:pt x="4928576" y="1127186"/>
                  <a:pt x="4930485" y="1127813"/>
                  <a:pt x="4932307" y="1128761"/>
                </a:cubicBezTo>
                <a:lnTo>
                  <a:pt x="4936551" y="1131738"/>
                </a:lnTo>
                <a:lnTo>
                  <a:pt x="4947155" y="1130900"/>
                </a:lnTo>
                <a:cubicBezTo>
                  <a:pt x="4950038" y="1131212"/>
                  <a:pt x="4951888" y="1132053"/>
                  <a:pt x="4953347" y="1133249"/>
                </a:cubicBezTo>
                <a:cubicBezTo>
                  <a:pt x="4956894" y="1136614"/>
                  <a:pt x="4954759" y="1142368"/>
                  <a:pt x="4950853" y="1144770"/>
                </a:cubicBezTo>
                <a:lnTo>
                  <a:pt x="4948934" y="1145291"/>
                </a:lnTo>
                <a:lnTo>
                  <a:pt x="4964926" y="1158661"/>
                </a:lnTo>
                <a:cubicBezTo>
                  <a:pt x="4966977" y="1158751"/>
                  <a:pt x="4968666" y="1159089"/>
                  <a:pt x="4969992" y="1159674"/>
                </a:cubicBezTo>
                <a:lnTo>
                  <a:pt x="4968558" y="1161704"/>
                </a:lnTo>
                <a:lnTo>
                  <a:pt x="4969111" y="1161852"/>
                </a:lnTo>
                <a:lnTo>
                  <a:pt x="4990482" y="1178390"/>
                </a:lnTo>
                <a:lnTo>
                  <a:pt x="4990540" y="1178174"/>
                </a:lnTo>
                <a:cubicBezTo>
                  <a:pt x="4997921" y="1174977"/>
                  <a:pt x="5006002" y="1176912"/>
                  <a:pt x="5011526" y="1179543"/>
                </a:cubicBezTo>
                <a:lnTo>
                  <a:pt x="5016179" y="1174350"/>
                </a:lnTo>
                <a:lnTo>
                  <a:pt x="5016208" y="1174243"/>
                </a:lnTo>
                <a:cubicBezTo>
                  <a:pt x="5015331" y="1173088"/>
                  <a:pt x="5014732" y="1172007"/>
                  <a:pt x="5015849" y="1171156"/>
                </a:cubicBezTo>
                <a:lnTo>
                  <a:pt x="5016449" y="1172237"/>
                </a:lnTo>
                <a:lnTo>
                  <a:pt x="5014969" y="1164480"/>
                </a:lnTo>
                <a:cubicBezTo>
                  <a:pt x="5016468" y="1164421"/>
                  <a:pt x="5018070" y="1165082"/>
                  <a:pt x="5019586" y="1166062"/>
                </a:cubicBezTo>
                <a:lnTo>
                  <a:pt x="5023144" y="1168281"/>
                </a:lnTo>
                <a:lnTo>
                  <a:pt x="5022404" y="1164402"/>
                </a:lnTo>
                <a:cubicBezTo>
                  <a:pt x="5026084" y="1159523"/>
                  <a:pt x="5034712" y="1159420"/>
                  <a:pt x="5041199" y="1162883"/>
                </a:cubicBezTo>
                <a:lnTo>
                  <a:pt x="5042657" y="1164079"/>
                </a:lnTo>
                <a:lnTo>
                  <a:pt x="5047638" y="1165414"/>
                </a:lnTo>
                <a:cubicBezTo>
                  <a:pt x="5052295" y="1165741"/>
                  <a:pt x="5056934" y="1165030"/>
                  <a:pt x="5061527" y="1163385"/>
                </a:cubicBezTo>
                <a:cubicBezTo>
                  <a:pt x="5075262" y="1171895"/>
                  <a:pt x="5080045" y="1179502"/>
                  <a:pt x="5083387" y="1186953"/>
                </a:cubicBezTo>
                <a:lnTo>
                  <a:pt x="5086081" y="1192390"/>
                </a:lnTo>
                <a:lnTo>
                  <a:pt x="5086254" y="1191746"/>
                </a:lnTo>
                <a:cubicBezTo>
                  <a:pt x="5098329" y="1199812"/>
                  <a:pt x="5111416" y="1197453"/>
                  <a:pt x="5122667" y="1198628"/>
                </a:cubicBezTo>
                <a:lnTo>
                  <a:pt x="5129279" y="1200514"/>
                </a:lnTo>
                <a:lnTo>
                  <a:pt x="5128841" y="1199937"/>
                </a:lnTo>
                <a:lnTo>
                  <a:pt x="5128310" y="1197495"/>
                </a:lnTo>
                <a:lnTo>
                  <a:pt x="5118463" y="1194396"/>
                </a:lnTo>
                <a:cubicBezTo>
                  <a:pt x="5109210" y="1190192"/>
                  <a:pt x="5102289" y="1182817"/>
                  <a:pt x="5101977" y="1171809"/>
                </a:cubicBezTo>
                <a:lnTo>
                  <a:pt x="5103690" y="1166518"/>
                </a:lnTo>
                <a:lnTo>
                  <a:pt x="5103443" y="1166337"/>
                </a:lnTo>
                <a:lnTo>
                  <a:pt x="5104571" y="1164339"/>
                </a:lnTo>
                <a:lnTo>
                  <a:pt x="5105031" y="1162622"/>
                </a:lnTo>
                <a:lnTo>
                  <a:pt x="5114022" y="1153416"/>
                </a:lnTo>
                <a:lnTo>
                  <a:pt x="5108525" y="1145157"/>
                </a:lnTo>
                <a:cubicBezTo>
                  <a:pt x="5106703" y="1135354"/>
                  <a:pt x="5119442" y="1128763"/>
                  <a:pt x="5133909" y="1130109"/>
                </a:cubicBezTo>
                <a:lnTo>
                  <a:pt x="5138118" y="1131006"/>
                </a:lnTo>
                <a:lnTo>
                  <a:pt x="5136874" y="1124578"/>
                </a:lnTo>
                <a:cubicBezTo>
                  <a:pt x="5137115" y="1122573"/>
                  <a:pt x="5138434" y="1120971"/>
                  <a:pt x="5139914" y="1119874"/>
                </a:cubicBezTo>
                <a:lnTo>
                  <a:pt x="5145164" y="1119095"/>
                </a:lnTo>
                <a:lnTo>
                  <a:pt x="5146311" y="1118137"/>
                </a:lnTo>
                <a:cubicBezTo>
                  <a:pt x="5147400" y="1117394"/>
                  <a:pt x="5148564" y="1117476"/>
                  <a:pt x="5150605" y="1118712"/>
                </a:cubicBezTo>
                <a:cubicBezTo>
                  <a:pt x="5152237" y="1119264"/>
                  <a:pt x="5152866" y="1120238"/>
                  <a:pt x="5153189" y="1121245"/>
                </a:cubicBezTo>
                <a:lnTo>
                  <a:pt x="5153437" y="1121427"/>
                </a:lnTo>
                <a:lnTo>
                  <a:pt x="5156672" y="1122638"/>
                </a:lnTo>
                <a:lnTo>
                  <a:pt x="5157260" y="1124865"/>
                </a:lnTo>
                <a:lnTo>
                  <a:pt x="5162137" y="1125483"/>
                </a:lnTo>
                <a:cubicBezTo>
                  <a:pt x="5164276" y="1125250"/>
                  <a:pt x="5166529" y="1124589"/>
                  <a:pt x="5169001" y="1124217"/>
                </a:cubicBezTo>
                <a:lnTo>
                  <a:pt x="5170222" y="1124084"/>
                </a:lnTo>
                <a:lnTo>
                  <a:pt x="5173338" y="1120204"/>
                </a:lnTo>
                <a:cubicBezTo>
                  <a:pt x="5175494" y="1121011"/>
                  <a:pt x="5177899" y="1122000"/>
                  <a:pt x="5180054" y="1122809"/>
                </a:cubicBezTo>
                <a:lnTo>
                  <a:pt x="5180205" y="1124459"/>
                </a:lnTo>
                <a:lnTo>
                  <a:pt x="5187066" y="1126527"/>
                </a:lnTo>
                <a:cubicBezTo>
                  <a:pt x="5184076" y="1128831"/>
                  <a:pt x="5191342" y="1134918"/>
                  <a:pt x="5186594" y="1138247"/>
                </a:cubicBezTo>
                <a:cubicBezTo>
                  <a:pt x="5177441" y="1146949"/>
                  <a:pt x="5171915" y="1147653"/>
                  <a:pt x="5164692" y="1145832"/>
                </a:cubicBezTo>
                <a:lnTo>
                  <a:pt x="5160817" y="1144794"/>
                </a:lnTo>
                <a:lnTo>
                  <a:pt x="5163638" y="1148656"/>
                </a:lnTo>
                <a:lnTo>
                  <a:pt x="5163973" y="1148516"/>
                </a:lnTo>
                <a:cubicBezTo>
                  <a:pt x="5169381" y="1151575"/>
                  <a:pt x="5169004" y="1156303"/>
                  <a:pt x="5166966" y="1160588"/>
                </a:cubicBezTo>
                <a:lnTo>
                  <a:pt x="5166823" y="1161124"/>
                </a:lnTo>
                <a:lnTo>
                  <a:pt x="5171360" y="1165215"/>
                </a:lnTo>
                <a:cubicBezTo>
                  <a:pt x="5172676" y="1166947"/>
                  <a:pt x="5173686" y="1168713"/>
                  <a:pt x="5174027" y="1170759"/>
                </a:cubicBezTo>
                <a:lnTo>
                  <a:pt x="5174325" y="1177394"/>
                </a:lnTo>
                <a:lnTo>
                  <a:pt x="5177721" y="1179109"/>
                </a:lnTo>
                <a:cubicBezTo>
                  <a:pt x="5176934" y="1192008"/>
                  <a:pt x="5171443" y="1194792"/>
                  <a:pt x="5165385" y="1193054"/>
                </a:cubicBezTo>
                <a:lnTo>
                  <a:pt x="5164115" y="1192254"/>
                </a:lnTo>
                <a:lnTo>
                  <a:pt x="5156562" y="1196095"/>
                </a:lnTo>
                <a:cubicBezTo>
                  <a:pt x="5152332" y="1197492"/>
                  <a:pt x="5147635" y="1198419"/>
                  <a:pt x="5142835" y="1198627"/>
                </a:cubicBezTo>
                <a:lnTo>
                  <a:pt x="5134713" y="1197946"/>
                </a:lnTo>
                <a:lnTo>
                  <a:pt x="5134961" y="1198127"/>
                </a:lnTo>
                <a:cubicBezTo>
                  <a:pt x="5134598" y="1198376"/>
                  <a:pt x="5133843" y="1198978"/>
                  <a:pt x="5133250" y="1200083"/>
                </a:cubicBezTo>
                <a:lnTo>
                  <a:pt x="5132018" y="1201363"/>
                </a:lnTo>
                <a:lnTo>
                  <a:pt x="5133125" y="1201659"/>
                </a:lnTo>
                <a:lnTo>
                  <a:pt x="5138026" y="1205503"/>
                </a:lnTo>
                <a:lnTo>
                  <a:pt x="5141340" y="1204206"/>
                </a:lnTo>
                <a:cubicBezTo>
                  <a:pt x="5142849" y="1203001"/>
                  <a:pt x="5144606" y="1201976"/>
                  <a:pt x="5146248" y="1201382"/>
                </a:cubicBezTo>
                <a:cubicBezTo>
                  <a:pt x="5147862" y="1200894"/>
                  <a:pt x="5149332" y="1200943"/>
                  <a:pt x="5151096" y="1202105"/>
                </a:cubicBezTo>
                <a:cubicBezTo>
                  <a:pt x="5149871" y="1205572"/>
                  <a:pt x="5148379" y="1207817"/>
                  <a:pt x="5145407" y="1211161"/>
                </a:cubicBezTo>
                <a:cubicBezTo>
                  <a:pt x="5145407" y="1211161"/>
                  <a:pt x="5139428" y="1215770"/>
                  <a:pt x="5134152" y="1213320"/>
                </a:cubicBezTo>
                <a:cubicBezTo>
                  <a:pt x="5133265" y="1213313"/>
                  <a:pt x="5132694" y="1212124"/>
                  <a:pt x="5132457" y="1210796"/>
                </a:cubicBezTo>
                <a:cubicBezTo>
                  <a:pt x="5132219" y="1209468"/>
                  <a:pt x="5132593" y="1208073"/>
                  <a:pt x="5133319" y="1207577"/>
                </a:cubicBezTo>
                <a:lnTo>
                  <a:pt x="5137969" y="1205718"/>
                </a:lnTo>
                <a:lnTo>
                  <a:pt x="5116080" y="1208823"/>
                </a:lnTo>
                <a:cubicBezTo>
                  <a:pt x="5111891" y="1208966"/>
                  <a:pt x="5107757" y="1208893"/>
                  <a:pt x="5103216" y="1208136"/>
                </a:cubicBezTo>
                <a:lnTo>
                  <a:pt x="5094943" y="1205804"/>
                </a:lnTo>
                <a:lnTo>
                  <a:pt x="5098507" y="1210210"/>
                </a:lnTo>
                <a:cubicBezTo>
                  <a:pt x="5090806" y="1217922"/>
                  <a:pt x="5091295" y="1216097"/>
                  <a:pt x="5081040" y="1221170"/>
                </a:cubicBezTo>
                <a:lnTo>
                  <a:pt x="5084604" y="1225574"/>
                </a:lnTo>
                <a:lnTo>
                  <a:pt x="5095165" y="1229324"/>
                </a:lnTo>
                <a:cubicBezTo>
                  <a:pt x="5105853" y="1231498"/>
                  <a:pt x="5112156" y="1227897"/>
                  <a:pt x="5120126" y="1226928"/>
                </a:cubicBezTo>
                <a:lnTo>
                  <a:pt x="5133527" y="1235578"/>
                </a:lnTo>
                <a:lnTo>
                  <a:pt x="5136908" y="1232919"/>
                </a:lnTo>
                <a:cubicBezTo>
                  <a:pt x="5137853" y="1232712"/>
                  <a:pt x="5139352" y="1232654"/>
                  <a:pt x="5140793" y="1232810"/>
                </a:cubicBezTo>
                <a:cubicBezTo>
                  <a:pt x="5141957" y="1232893"/>
                  <a:pt x="5143035" y="1233296"/>
                  <a:pt x="5143693" y="1234162"/>
                </a:cubicBezTo>
                <a:cubicBezTo>
                  <a:pt x="5143405" y="1235235"/>
                  <a:pt x="5145008" y="1235895"/>
                  <a:pt x="5144692" y="1237075"/>
                </a:cubicBezTo>
                <a:cubicBezTo>
                  <a:pt x="5145443" y="1239806"/>
                  <a:pt x="5145126" y="1240987"/>
                  <a:pt x="5143207" y="1241508"/>
                </a:cubicBezTo>
                <a:lnTo>
                  <a:pt x="5147099" y="1243585"/>
                </a:lnTo>
                <a:lnTo>
                  <a:pt x="5148407" y="1243131"/>
                </a:lnTo>
                <a:cubicBezTo>
                  <a:pt x="5150897" y="1243798"/>
                  <a:pt x="5150897" y="1243798"/>
                  <a:pt x="5153176" y="1246363"/>
                </a:cubicBezTo>
                <a:lnTo>
                  <a:pt x="5153586" y="1247049"/>
                </a:lnTo>
                <a:lnTo>
                  <a:pt x="5164240" y="1252664"/>
                </a:lnTo>
                <a:lnTo>
                  <a:pt x="5165077" y="1255072"/>
                </a:lnTo>
                <a:lnTo>
                  <a:pt x="5165355" y="1255147"/>
                </a:lnTo>
                <a:cubicBezTo>
                  <a:pt x="5167834" y="1256961"/>
                  <a:pt x="5170112" y="1259526"/>
                  <a:pt x="5172344" y="1261159"/>
                </a:cubicBezTo>
                <a:lnTo>
                  <a:pt x="5169038" y="1264643"/>
                </a:lnTo>
                <a:lnTo>
                  <a:pt x="5173073" y="1275040"/>
                </a:lnTo>
                <a:lnTo>
                  <a:pt x="5173968" y="1277235"/>
                </a:lnTo>
                <a:lnTo>
                  <a:pt x="5177235" y="1275006"/>
                </a:lnTo>
                <a:cubicBezTo>
                  <a:pt x="5179430" y="1274559"/>
                  <a:pt x="5183228" y="1274771"/>
                  <a:pt x="5187437" y="1275669"/>
                </a:cubicBezTo>
                <a:cubicBezTo>
                  <a:pt x="5191368" y="1276492"/>
                  <a:pt x="5195432" y="1277926"/>
                  <a:pt x="5197578" y="1279881"/>
                </a:cubicBezTo>
                <a:cubicBezTo>
                  <a:pt x="5195094" y="1281401"/>
                  <a:pt x="5192888" y="1282995"/>
                  <a:pt x="5190653" y="1284696"/>
                </a:cubicBezTo>
                <a:cubicBezTo>
                  <a:pt x="5190969" y="1283516"/>
                  <a:pt x="5175768" y="1280478"/>
                  <a:pt x="5175768" y="1280478"/>
                </a:cubicBezTo>
                <a:lnTo>
                  <a:pt x="5174377" y="1277920"/>
                </a:lnTo>
                <a:lnTo>
                  <a:pt x="5176624" y="1283927"/>
                </a:lnTo>
                <a:lnTo>
                  <a:pt x="5181823" y="1285550"/>
                </a:lnTo>
                <a:cubicBezTo>
                  <a:pt x="5185259" y="1286010"/>
                  <a:pt x="5189115" y="1286009"/>
                  <a:pt x="5192112" y="1285892"/>
                </a:cubicBezTo>
                <a:cubicBezTo>
                  <a:pt x="5192601" y="1284068"/>
                  <a:pt x="5195091" y="1284735"/>
                  <a:pt x="5197368" y="1287301"/>
                </a:cubicBezTo>
                <a:cubicBezTo>
                  <a:pt x="5200136" y="1288042"/>
                  <a:pt x="5199647" y="1289865"/>
                  <a:pt x="5196420" y="1290841"/>
                </a:cubicBezTo>
                <a:cubicBezTo>
                  <a:pt x="5192906" y="1292889"/>
                  <a:pt x="5187713" y="1293453"/>
                  <a:pt x="5182560" y="1292763"/>
                </a:cubicBezTo>
                <a:lnTo>
                  <a:pt x="5179879" y="1291699"/>
                </a:lnTo>
                <a:lnTo>
                  <a:pt x="5182154" y="1297599"/>
                </a:lnTo>
                <a:cubicBezTo>
                  <a:pt x="5174265" y="1301580"/>
                  <a:pt x="5170247" y="1309934"/>
                  <a:pt x="5165019" y="1317273"/>
                </a:cubicBezTo>
                <a:lnTo>
                  <a:pt x="5163337" y="1319122"/>
                </a:lnTo>
                <a:lnTo>
                  <a:pt x="5167075" y="1322884"/>
                </a:lnTo>
                <a:lnTo>
                  <a:pt x="5173234" y="1328674"/>
                </a:lnTo>
                <a:lnTo>
                  <a:pt x="5174456" y="1328541"/>
                </a:lnTo>
                <a:cubicBezTo>
                  <a:pt x="5177862" y="1329109"/>
                  <a:pt x="5182002" y="1331369"/>
                  <a:pt x="5186436" y="1334741"/>
                </a:cubicBezTo>
                <a:lnTo>
                  <a:pt x="5182415" y="1337574"/>
                </a:lnTo>
                <a:lnTo>
                  <a:pt x="5185743" y="1340651"/>
                </a:lnTo>
                <a:cubicBezTo>
                  <a:pt x="5183382" y="1343928"/>
                  <a:pt x="5178677" y="1342668"/>
                  <a:pt x="5175358" y="1341779"/>
                </a:cubicBezTo>
                <a:lnTo>
                  <a:pt x="5172781" y="1341433"/>
                </a:lnTo>
                <a:lnTo>
                  <a:pt x="5174973" y="1344320"/>
                </a:lnTo>
                <a:lnTo>
                  <a:pt x="5172835" y="1344552"/>
                </a:lnTo>
                <a:lnTo>
                  <a:pt x="5172996" y="1345056"/>
                </a:lnTo>
                <a:lnTo>
                  <a:pt x="5183281" y="1348731"/>
                </a:lnTo>
                <a:lnTo>
                  <a:pt x="5183120" y="1348228"/>
                </a:lnTo>
                <a:cubicBezTo>
                  <a:pt x="5184363" y="1345801"/>
                  <a:pt x="5187960" y="1346765"/>
                  <a:pt x="5190425" y="1344205"/>
                </a:cubicBezTo>
                <a:cubicBezTo>
                  <a:pt x="5192279" y="1341713"/>
                  <a:pt x="5189506" y="1338784"/>
                  <a:pt x="5186875" y="1335319"/>
                </a:cubicBezTo>
                <a:lnTo>
                  <a:pt x="5186742" y="1334708"/>
                </a:lnTo>
                <a:lnTo>
                  <a:pt x="5186494" y="1334527"/>
                </a:lnTo>
                <a:cubicBezTo>
                  <a:pt x="5185312" y="1333406"/>
                  <a:pt x="5185017" y="1332291"/>
                  <a:pt x="5184780" y="1330963"/>
                </a:cubicBezTo>
                <a:lnTo>
                  <a:pt x="5184837" y="1330748"/>
                </a:lnTo>
                <a:lnTo>
                  <a:pt x="5184267" y="1329560"/>
                </a:lnTo>
                <a:cubicBezTo>
                  <a:pt x="5183953" y="1327407"/>
                  <a:pt x="5184528" y="1325260"/>
                  <a:pt x="5186411" y="1322660"/>
                </a:cubicBezTo>
                <a:cubicBezTo>
                  <a:pt x="5190274" y="1324845"/>
                  <a:pt x="5197315" y="1319602"/>
                  <a:pt x="5202971" y="1322842"/>
                </a:cubicBezTo>
                <a:lnTo>
                  <a:pt x="5207387" y="1325176"/>
                </a:lnTo>
                <a:lnTo>
                  <a:pt x="5206941" y="1322411"/>
                </a:lnTo>
                <a:lnTo>
                  <a:pt x="5224557" y="1325291"/>
                </a:lnTo>
                <a:lnTo>
                  <a:pt x="5228463" y="1322888"/>
                </a:lnTo>
                <a:cubicBezTo>
                  <a:pt x="5228463" y="1322888"/>
                  <a:pt x="5228463" y="1322888"/>
                  <a:pt x="5229674" y="1323901"/>
                </a:cubicBezTo>
                <a:lnTo>
                  <a:pt x="5234023" y="1327597"/>
                </a:lnTo>
                <a:lnTo>
                  <a:pt x="5240082" y="1329335"/>
                </a:lnTo>
                <a:cubicBezTo>
                  <a:pt x="5241989" y="1329962"/>
                  <a:pt x="5242734" y="1330506"/>
                  <a:pt x="5243144" y="1331191"/>
                </a:cubicBezTo>
                <a:cubicBezTo>
                  <a:pt x="5243524" y="1331982"/>
                  <a:pt x="5243294" y="1332841"/>
                  <a:pt x="5242672" y="1334055"/>
                </a:cubicBezTo>
                <a:cubicBezTo>
                  <a:pt x="5240944" y="1334972"/>
                  <a:pt x="5239636" y="1335426"/>
                  <a:pt x="5237803" y="1335625"/>
                </a:cubicBezTo>
                <a:lnTo>
                  <a:pt x="5233422" y="1335371"/>
                </a:lnTo>
                <a:lnTo>
                  <a:pt x="5232697" y="1335866"/>
                </a:lnTo>
                <a:lnTo>
                  <a:pt x="5239377" y="1336391"/>
                </a:lnTo>
                <a:cubicBezTo>
                  <a:pt x="5245856" y="1337668"/>
                  <a:pt x="5252354" y="1339983"/>
                  <a:pt x="5254901" y="1340437"/>
                </a:cubicBezTo>
                <a:cubicBezTo>
                  <a:pt x="5254901" y="1340437"/>
                  <a:pt x="5256428" y="1340271"/>
                  <a:pt x="5258498" y="1341401"/>
                </a:cubicBezTo>
                <a:cubicBezTo>
                  <a:pt x="5262095" y="1342365"/>
                  <a:pt x="5257283" y="1343721"/>
                  <a:pt x="5259354" y="1344850"/>
                </a:cubicBezTo>
                <a:cubicBezTo>
                  <a:pt x="5245554" y="1343222"/>
                  <a:pt x="5234928" y="1346354"/>
                  <a:pt x="5234928" y="1346354"/>
                </a:cubicBezTo>
                <a:cubicBezTo>
                  <a:pt x="5231331" y="1345391"/>
                  <a:pt x="5231036" y="1344277"/>
                  <a:pt x="5231331" y="1345391"/>
                </a:cubicBezTo>
                <a:cubicBezTo>
                  <a:pt x="5227468" y="1343206"/>
                  <a:pt x="5221800" y="1341113"/>
                  <a:pt x="5222739" y="1338719"/>
                </a:cubicBezTo>
                <a:lnTo>
                  <a:pt x="5227752" y="1336612"/>
                </a:lnTo>
                <a:lnTo>
                  <a:pt x="5222789" y="1336317"/>
                </a:lnTo>
                <a:lnTo>
                  <a:pt x="5218049" y="1332977"/>
                </a:lnTo>
                <a:lnTo>
                  <a:pt x="5218268" y="1333266"/>
                </a:lnTo>
                <a:cubicBezTo>
                  <a:pt x="5219792" y="1336434"/>
                  <a:pt x="5218376" y="1339505"/>
                  <a:pt x="5217197" y="1343904"/>
                </a:cubicBezTo>
                <a:cubicBezTo>
                  <a:pt x="5216931" y="1342682"/>
                  <a:pt x="5215422" y="1343888"/>
                  <a:pt x="5215422" y="1343888"/>
                </a:cubicBezTo>
                <a:cubicBezTo>
                  <a:pt x="5212928" y="1346555"/>
                  <a:pt x="5223159" y="1347111"/>
                  <a:pt x="5220684" y="1350818"/>
                </a:cubicBezTo>
                <a:cubicBezTo>
                  <a:pt x="5216162" y="1356622"/>
                  <a:pt x="5203775" y="1355258"/>
                  <a:pt x="5197210" y="1354303"/>
                </a:cubicBezTo>
                <a:lnTo>
                  <a:pt x="5196045" y="1354222"/>
                </a:lnTo>
                <a:lnTo>
                  <a:pt x="5202999" y="1358155"/>
                </a:lnTo>
                <a:lnTo>
                  <a:pt x="5209629" y="1361081"/>
                </a:lnTo>
                <a:lnTo>
                  <a:pt x="5210696" y="1362632"/>
                </a:lnTo>
                <a:lnTo>
                  <a:pt x="5211717" y="1363251"/>
                </a:lnTo>
                <a:cubicBezTo>
                  <a:pt x="5219300" y="1368157"/>
                  <a:pt x="5225631" y="1373304"/>
                  <a:pt x="5230960" y="1378872"/>
                </a:cubicBezTo>
                <a:lnTo>
                  <a:pt x="5232979" y="1382403"/>
                </a:lnTo>
                <a:lnTo>
                  <a:pt x="5234460" y="1381305"/>
                </a:lnTo>
                <a:cubicBezTo>
                  <a:pt x="5234460" y="1381305"/>
                  <a:pt x="5234460" y="1381305"/>
                  <a:pt x="5239088" y="1381740"/>
                </a:cubicBezTo>
                <a:cubicBezTo>
                  <a:pt x="5240483" y="1380964"/>
                  <a:pt x="5240483" y="1380964"/>
                  <a:pt x="5240483" y="1380964"/>
                </a:cubicBezTo>
                <a:lnTo>
                  <a:pt x="5242477" y="1381268"/>
                </a:lnTo>
                <a:lnTo>
                  <a:pt x="5237863" y="1376351"/>
                </a:lnTo>
                <a:lnTo>
                  <a:pt x="5236653" y="1375337"/>
                </a:lnTo>
                <a:cubicBezTo>
                  <a:pt x="5239614" y="1373141"/>
                  <a:pt x="5234148" y="1370296"/>
                  <a:pt x="5238302" y="1368074"/>
                </a:cubicBezTo>
                <a:lnTo>
                  <a:pt x="5242891" y="1369764"/>
                </a:lnTo>
                <a:cubicBezTo>
                  <a:pt x="5242931" y="1368510"/>
                  <a:pt x="5243944" y="1366940"/>
                  <a:pt x="5245044" y="1365051"/>
                </a:cubicBezTo>
                <a:lnTo>
                  <a:pt x="5248044" y="1361600"/>
                </a:lnTo>
                <a:lnTo>
                  <a:pt x="5247824" y="1361311"/>
                </a:lnTo>
                <a:cubicBezTo>
                  <a:pt x="5247606" y="1361022"/>
                  <a:pt x="5247635" y="1360914"/>
                  <a:pt x="5247635" y="1360914"/>
                </a:cubicBezTo>
                <a:cubicBezTo>
                  <a:pt x="5247635" y="1360914"/>
                  <a:pt x="5247635" y="1360914"/>
                  <a:pt x="5244867" y="1360173"/>
                </a:cubicBezTo>
                <a:cubicBezTo>
                  <a:pt x="5242312" y="1357533"/>
                  <a:pt x="5243078" y="1355784"/>
                  <a:pt x="5243078" y="1355784"/>
                </a:cubicBezTo>
                <a:cubicBezTo>
                  <a:pt x="5246362" y="1354593"/>
                  <a:pt x="5249647" y="1353404"/>
                  <a:pt x="5249130" y="1355335"/>
                </a:cubicBezTo>
                <a:cubicBezTo>
                  <a:pt x="5249130" y="1355335"/>
                  <a:pt x="5249130" y="1355335"/>
                  <a:pt x="5251897" y="1356077"/>
                </a:cubicBezTo>
                <a:lnTo>
                  <a:pt x="5253165" y="1356877"/>
                </a:lnTo>
                <a:lnTo>
                  <a:pt x="5254311" y="1355918"/>
                </a:lnTo>
                <a:cubicBezTo>
                  <a:pt x="5255820" y="1354714"/>
                  <a:pt x="5255555" y="1353492"/>
                  <a:pt x="5255555" y="1353492"/>
                </a:cubicBezTo>
                <a:cubicBezTo>
                  <a:pt x="5256108" y="1353640"/>
                  <a:pt x="5256213" y="1354358"/>
                  <a:pt x="5256259" y="1355291"/>
                </a:cubicBezTo>
                <a:lnTo>
                  <a:pt x="5255207" y="1358114"/>
                </a:lnTo>
                <a:lnTo>
                  <a:pt x="5255731" y="1358369"/>
                </a:lnTo>
                <a:lnTo>
                  <a:pt x="5256665" y="1359309"/>
                </a:lnTo>
                <a:lnTo>
                  <a:pt x="5256503" y="1358807"/>
                </a:lnTo>
                <a:lnTo>
                  <a:pt x="5263396" y="1357433"/>
                </a:lnTo>
                <a:lnTo>
                  <a:pt x="5259655" y="1357006"/>
                </a:lnTo>
                <a:cubicBezTo>
                  <a:pt x="5260917" y="1355618"/>
                  <a:pt x="5265214" y="1352860"/>
                  <a:pt x="5270575" y="1354987"/>
                </a:cubicBezTo>
                <a:lnTo>
                  <a:pt x="5271435" y="1355102"/>
                </a:lnTo>
                <a:lnTo>
                  <a:pt x="5269271" y="1352107"/>
                </a:lnTo>
                <a:cubicBezTo>
                  <a:pt x="5266594" y="1347710"/>
                  <a:pt x="5265635" y="1343542"/>
                  <a:pt x="5267442" y="1340117"/>
                </a:cubicBezTo>
                <a:lnTo>
                  <a:pt x="5270128" y="1337846"/>
                </a:lnTo>
                <a:lnTo>
                  <a:pt x="5268794" y="1335074"/>
                </a:lnTo>
                <a:cubicBezTo>
                  <a:pt x="5267597" y="1329578"/>
                  <a:pt x="5267652" y="1323843"/>
                  <a:pt x="5271095" y="1317634"/>
                </a:cubicBezTo>
                <a:cubicBezTo>
                  <a:pt x="5279737" y="1321906"/>
                  <a:pt x="5282173" y="1328308"/>
                  <a:pt x="5281918" y="1334795"/>
                </a:cubicBezTo>
                <a:lnTo>
                  <a:pt x="5280883" y="1338658"/>
                </a:lnTo>
                <a:lnTo>
                  <a:pt x="5285537" y="1342320"/>
                </a:lnTo>
                <a:cubicBezTo>
                  <a:pt x="5291339" y="1350546"/>
                  <a:pt x="5289895" y="1362579"/>
                  <a:pt x="5280724" y="1361386"/>
                </a:cubicBezTo>
                <a:cubicBezTo>
                  <a:pt x="5279006" y="1361156"/>
                  <a:pt x="5276822" y="1360456"/>
                  <a:pt x="5274503" y="1359144"/>
                </a:cubicBezTo>
                <a:lnTo>
                  <a:pt x="5274065" y="1358566"/>
                </a:lnTo>
                <a:lnTo>
                  <a:pt x="5272319" y="1358444"/>
                </a:lnTo>
                <a:lnTo>
                  <a:pt x="5272013" y="1358477"/>
                </a:lnTo>
                <a:lnTo>
                  <a:pt x="5278992" y="1365637"/>
                </a:lnTo>
                <a:cubicBezTo>
                  <a:pt x="5279366" y="1373097"/>
                  <a:pt x="5273027" y="1374618"/>
                  <a:pt x="5267025" y="1372665"/>
                </a:cubicBezTo>
                <a:cubicBezTo>
                  <a:pt x="5264039" y="1371635"/>
                  <a:pt x="5260978" y="1369780"/>
                  <a:pt x="5258975" y="1367289"/>
                </a:cubicBezTo>
                <a:lnTo>
                  <a:pt x="5257873" y="1363657"/>
                </a:lnTo>
                <a:lnTo>
                  <a:pt x="5254901" y="1367002"/>
                </a:lnTo>
                <a:cubicBezTo>
                  <a:pt x="5253517" y="1366632"/>
                  <a:pt x="5252964" y="1366483"/>
                  <a:pt x="5252220" y="1365938"/>
                </a:cubicBezTo>
                <a:lnTo>
                  <a:pt x="5251256" y="1365105"/>
                </a:lnTo>
                <a:lnTo>
                  <a:pt x="5249650" y="1367780"/>
                </a:lnTo>
                <a:lnTo>
                  <a:pt x="5247480" y="1371453"/>
                </a:lnTo>
                <a:lnTo>
                  <a:pt x="5249607" y="1372369"/>
                </a:lnTo>
                <a:lnTo>
                  <a:pt x="5252059" y="1374290"/>
                </a:lnTo>
                <a:lnTo>
                  <a:pt x="5255771" y="1374825"/>
                </a:lnTo>
                <a:lnTo>
                  <a:pt x="5256219" y="1374256"/>
                </a:lnTo>
                <a:cubicBezTo>
                  <a:pt x="5257758" y="1372942"/>
                  <a:pt x="5258742" y="1371481"/>
                  <a:pt x="5258084" y="1370614"/>
                </a:cubicBezTo>
                <a:cubicBezTo>
                  <a:pt x="5259716" y="1371166"/>
                  <a:pt x="5261359" y="1370572"/>
                  <a:pt x="5261359" y="1370572"/>
                </a:cubicBezTo>
                <a:cubicBezTo>
                  <a:pt x="5262673" y="1372305"/>
                  <a:pt x="5262386" y="1373378"/>
                  <a:pt x="5262098" y="1374450"/>
                </a:cubicBezTo>
                <a:lnTo>
                  <a:pt x="5257211" y="1374981"/>
                </a:lnTo>
                <a:lnTo>
                  <a:pt x="5270648" y="1376857"/>
                </a:lnTo>
                <a:lnTo>
                  <a:pt x="5275456" y="1378834"/>
                </a:lnTo>
                <a:lnTo>
                  <a:pt x="5275524" y="1377473"/>
                </a:lnTo>
                <a:cubicBezTo>
                  <a:pt x="5278978" y="1378973"/>
                  <a:pt x="5280458" y="1377875"/>
                  <a:pt x="5284195" y="1381637"/>
                </a:cubicBezTo>
                <a:lnTo>
                  <a:pt x="5283803" y="1381991"/>
                </a:lnTo>
                <a:lnTo>
                  <a:pt x="5292094" y="1385363"/>
                </a:lnTo>
                <a:cubicBezTo>
                  <a:pt x="5296205" y="1387729"/>
                  <a:pt x="5299952" y="1390344"/>
                  <a:pt x="5303309" y="1393313"/>
                </a:cubicBezTo>
                <a:lnTo>
                  <a:pt x="5296101" y="1395867"/>
                </a:lnTo>
                <a:lnTo>
                  <a:pt x="5302730" y="1398794"/>
                </a:lnTo>
                <a:cubicBezTo>
                  <a:pt x="5306518" y="1400152"/>
                  <a:pt x="5310334" y="1401406"/>
                  <a:pt x="5314007" y="1403194"/>
                </a:cubicBezTo>
                <a:lnTo>
                  <a:pt x="5323239" y="1409693"/>
                </a:lnTo>
                <a:lnTo>
                  <a:pt x="5325294" y="1406450"/>
                </a:lnTo>
                <a:cubicBezTo>
                  <a:pt x="5327241" y="1405821"/>
                  <a:pt x="5330850" y="1405638"/>
                  <a:pt x="5330850" y="1405638"/>
                </a:cubicBezTo>
                <a:cubicBezTo>
                  <a:pt x="5332194" y="1407263"/>
                  <a:pt x="5331917" y="1407189"/>
                  <a:pt x="5330562" y="1406711"/>
                </a:cubicBezTo>
                <a:cubicBezTo>
                  <a:pt x="5328298" y="1408519"/>
                  <a:pt x="5328586" y="1407446"/>
                  <a:pt x="5326638" y="1408074"/>
                </a:cubicBezTo>
                <a:lnTo>
                  <a:pt x="5323953" y="1410345"/>
                </a:lnTo>
                <a:lnTo>
                  <a:pt x="5324755" y="1410675"/>
                </a:lnTo>
                <a:cubicBezTo>
                  <a:pt x="5320033" y="1417229"/>
                  <a:pt x="5326102" y="1426676"/>
                  <a:pt x="5316123" y="1431822"/>
                </a:cubicBezTo>
                <a:cubicBezTo>
                  <a:pt x="5308311" y="1427774"/>
                  <a:pt x="5301753" y="1420152"/>
                  <a:pt x="5291497" y="1425223"/>
                </a:cubicBezTo>
                <a:cubicBezTo>
                  <a:pt x="5290555" y="1413241"/>
                  <a:pt x="5279922" y="1405332"/>
                  <a:pt x="5277824" y="1395455"/>
                </a:cubicBezTo>
                <a:lnTo>
                  <a:pt x="5278179" y="1393020"/>
                </a:lnTo>
                <a:lnTo>
                  <a:pt x="5270126" y="1390977"/>
                </a:lnTo>
                <a:cubicBezTo>
                  <a:pt x="5270817" y="1397256"/>
                  <a:pt x="5273842" y="1405888"/>
                  <a:pt x="5269780" y="1409975"/>
                </a:cubicBezTo>
                <a:lnTo>
                  <a:pt x="5269141" y="1410148"/>
                </a:lnTo>
                <a:lnTo>
                  <a:pt x="5280507" y="1410894"/>
                </a:lnTo>
                <a:cubicBezTo>
                  <a:pt x="5276239" y="1413545"/>
                  <a:pt x="5274050" y="1416178"/>
                  <a:pt x="5273083" y="1418679"/>
                </a:cubicBezTo>
                <a:lnTo>
                  <a:pt x="5273299" y="1422302"/>
                </a:lnTo>
                <a:lnTo>
                  <a:pt x="5284360" y="1423082"/>
                </a:lnTo>
                <a:cubicBezTo>
                  <a:pt x="5284655" y="1424195"/>
                  <a:pt x="5286753" y="1425218"/>
                  <a:pt x="5288309" y="1424944"/>
                </a:cubicBezTo>
                <a:cubicBezTo>
                  <a:pt x="5290436" y="1425859"/>
                  <a:pt x="5292535" y="1426882"/>
                  <a:pt x="5292240" y="1425768"/>
                </a:cubicBezTo>
                <a:cubicBezTo>
                  <a:pt x="5298593" y="1428620"/>
                  <a:pt x="5300150" y="1428347"/>
                  <a:pt x="5299754" y="1432036"/>
                </a:cubicBezTo>
                <a:cubicBezTo>
                  <a:pt x="5293149" y="1432336"/>
                  <a:pt x="5285581" y="1431804"/>
                  <a:pt x="5279235" y="1431139"/>
                </a:cubicBezTo>
                <a:lnTo>
                  <a:pt x="5274969" y="1430456"/>
                </a:lnTo>
                <a:lnTo>
                  <a:pt x="5276702" y="1435060"/>
                </a:lnTo>
                <a:lnTo>
                  <a:pt x="5277151" y="1443345"/>
                </a:lnTo>
                <a:lnTo>
                  <a:pt x="5288129" y="1441111"/>
                </a:lnTo>
                <a:cubicBezTo>
                  <a:pt x="5289606" y="1443347"/>
                  <a:pt x="5290195" y="1445574"/>
                  <a:pt x="5289984" y="1447473"/>
                </a:cubicBezTo>
                <a:lnTo>
                  <a:pt x="5288395" y="1451188"/>
                </a:lnTo>
                <a:lnTo>
                  <a:pt x="5288949" y="1451336"/>
                </a:lnTo>
                <a:cubicBezTo>
                  <a:pt x="5296750" y="1456531"/>
                  <a:pt x="5304759" y="1463162"/>
                  <a:pt x="5312677" y="1467929"/>
                </a:cubicBezTo>
                <a:lnTo>
                  <a:pt x="5322730" y="1472463"/>
                </a:lnTo>
                <a:lnTo>
                  <a:pt x="5323018" y="1471390"/>
                </a:lnTo>
                <a:cubicBezTo>
                  <a:pt x="5324707" y="1471727"/>
                  <a:pt x="5326408" y="1470918"/>
                  <a:pt x="5326418" y="1469771"/>
                </a:cubicBezTo>
                <a:cubicBezTo>
                  <a:pt x="5328146" y="1468854"/>
                  <a:pt x="5329847" y="1468045"/>
                  <a:pt x="5328157" y="1467707"/>
                </a:cubicBezTo>
                <a:cubicBezTo>
                  <a:pt x="5333286" y="1465171"/>
                  <a:pt x="5333296" y="1464023"/>
                  <a:pt x="5338323" y="1466291"/>
                </a:cubicBezTo>
                <a:cubicBezTo>
                  <a:pt x="5337087" y="1470904"/>
                  <a:pt x="5334935" y="1475618"/>
                  <a:pt x="5332735" y="1479399"/>
                </a:cubicBezTo>
                <a:lnTo>
                  <a:pt x="5329896" y="1483354"/>
                </a:lnTo>
                <a:lnTo>
                  <a:pt x="5338276" y="1483068"/>
                </a:lnTo>
                <a:cubicBezTo>
                  <a:pt x="5346553" y="1482066"/>
                  <a:pt x="5357998" y="1480303"/>
                  <a:pt x="5366511" y="1480629"/>
                </a:cubicBezTo>
                <a:lnTo>
                  <a:pt x="5368121" y="1483475"/>
                </a:lnTo>
                <a:lnTo>
                  <a:pt x="5368732" y="1483409"/>
                </a:lnTo>
                <a:cubicBezTo>
                  <a:pt x="5372092" y="1483045"/>
                  <a:pt x="5373619" y="1482879"/>
                  <a:pt x="5375175" y="1482606"/>
                </a:cubicBezTo>
                <a:cubicBezTo>
                  <a:pt x="5377273" y="1483628"/>
                  <a:pt x="5381824" y="1486571"/>
                  <a:pt x="5380839" y="1488033"/>
                </a:cubicBezTo>
                <a:lnTo>
                  <a:pt x="5376483" y="1491005"/>
                </a:lnTo>
                <a:lnTo>
                  <a:pt x="5377867" y="1491377"/>
                </a:lnTo>
                <a:cubicBezTo>
                  <a:pt x="5379394" y="1491211"/>
                  <a:pt x="5380540" y="1490253"/>
                  <a:pt x="5381859" y="1488652"/>
                </a:cubicBezTo>
                <a:cubicBezTo>
                  <a:pt x="5383418" y="1493899"/>
                  <a:pt x="5385877" y="1498008"/>
                  <a:pt x="5388812" y="1501440"/>
                </a:cubicBezTo>
                <a:lnTo>
                  <a:pt x="5390739" y="1503106"/>
                </a:lnTo>
                <a:lnTo>
                  <a:pt x="5396385" y="1498638"/>
                </a:lnTo>
                <a:lnTo>
                  <a:pt x="5397739" y="1499116"/>
                </a:lnTo>
                <a:lnTo>
                  <a:pt x="5397768" y="1499009"/>
                </a:lnTo>
                <a:cubicBezTo>
                  <a:pt x="5398770" y="1498588"/>
                  <a:pt x="5399553" y="1497878"/>
                  <a:pt x="5399622" y="1496516"/>
                </a:cubicBezTo>
                <a:cubicBezTo>
                  <a:pt x="5401750" y="1497432"/>
                  <a:pt x="5404125" y="1498528"/>
                  <a:pt x="5405336" y="1499542"/>
                </a:cubicBezTo>
                <a:lnTo>
                  <a:pt x="5406126" y="1501019"/>
                </a:lnTo>
                <a:lnTo>
                  <a:pt x="5406709" y="1501060"/>
                </a:lnTo>
                <a:lnTo>
                  <a:pt x="5408858" y="1499680"/>
                </a:lnTo>
                <a:lnTo>
                  <a:pt x="5408355" y="1497131"/>
                </a:lnTo>
                <a:lnTo>
                  <a:pt x="5414338" y="1498045"/>
                </a:lnTo>
                <a:lnTo>
                  <a:pt x="5419692" y="1497984"/>
                </a:lnTo>
                <a:cubicBezTo>
                  <a:pt x="5421295" y="1498643"/>
                  <a:pt x="5423031" y="1499913"/>
                  <a:pt x="5424375" y="1501538"/>
                </a:cubicBezTo>
                <a:lnTo>
                  <a:pt x="5424145" y="1502397"/>
                </a:lnTo>
                <a:lnTo>
                  <a:pt x="5430781" y="1499703"/>
                </a:lnTo>
                <a:lnTo>
                  <a:pt x="5414280" y="1482187"/>
                </a:lnTo>
                <a:lnTo>
                  <a:pt x="5400760" y="1464049"/>
                </a:lnTo>
                <a:lnTo>
                  <a:pt x="5385308" y="1446700"/>
                </a:lnTo>
                <a:lnTo>
                  <a:pt x="5399079" y="1443889"/>
                </a:lnTo>
                <a:lnTo>
                  <a:pt x="5392113" y="1442638"/>
                </a:lnTo>
                <a:lnTo>
                  <a:pt x="5388048" y="1441205"/>
                </a:lnTo>
                <a:lnTo>
                  <a:pt x="5386625" y="1442088"/>
                </a:lnTo>
                <a:cubicBezTo>
                  <a:pt x="5385565" y="1442724"/>
                  <a:pt x="5384257" y="1443178"/>
                  <a:pt x="5383283" y="1443492"/>
                </a:cubicBezTo>
                <a:cubicBezTo>
                  <a:pt x="5382995" y="1444565"/>
                  <a:pt x="5381325" y="1445268"/>
                  <a:pt x="5379664" y="1444823"/>
                </a:cubicBezTo>
                <a:cubicBezTo>
                  <a:pt x="5379664" y="1444823"/>
                  <a:pt x="5377993" y="1445526"/>
                  <a:pt x="5377706" y="1446598"/>
                </a:cubicBezTo>
                <a:cubicBezTo>
                  <a:pt x="5374087" y="1447929"/>
                  <a:pt x="5372427" y="1447484"/>
                  <a:pt x="5370795" y="1446932"/>
                </a:cubicBezTo>
                <a:cubicBezTo>
                  <a:pt x="5370795" y="1446932"/>
                  <a:pt x="5372743" y="1446303"/>
                  <a:pt x="5373031" y="1445230"/>
                </a:cubicBezTo>
                <a:cubicBezTo>
                  <a:pt x="5373031" y="1445230"/>
                  <a:pt x="5374702" y="1444528"/>
                  <a:pt x="5376650" y="1443899"/>
                </a:cubicBezTo>
                <a:cubicBezTo>
                  <a:pt x="5376650" y="1443899"/>
                  <a:pt x="5376688" y="1442646"/>
                  <a:pt x="5376976" y="1441573"/>
                </a:cubicBezTo>
                <a:lnTo>
                  <a:pt x="5381857" y="1438855"/>
                </a:lnTo>
                <a:lnTo>
                  <a:pt x="5380473" y="1438485"/>
                </a:lnTo>
                <a:cubicBezTo>
                  <a:pt x="5373175" y="1435838"/>
                  <a:pt x="5365496" y="1432401"/>
                  <a:pt x="5363227" y="1428688"/>
                </a:cubicBezTo>
                <a:cubicBezTo>
                  <a:pt x="5362380" y="1427427"/>
                  <a:pt x="5362448" y="1426064"/>
                  <a:pt x="5363099" y="1424743"/>
                </a:cubicBezTo>
                <a:cubicBezTo>
                  <a:pt x="5364745" y="1420815"/>
                  <a:pt x="5369843" y="1418386"/>
                  <a:pt x="5375982" y="1417616"/>
                </a:cubicBezTo>
                <a:lnTo>
                  <a:pt x="5383416" y="1417537"/>
                </a:lnTo>
                <a:lnTo>
                  <a:pt x="5380765" y="1416366"/>
                </a:lnTo>
                <a:cubicBezTo>
                  <a:pt x="5378083" y="1415304"/>
                  <a:pt x="5376262" y="1414355"/>
                  <a:pt x="5377046" y="1413645"/>
                </a:cubicBezTo>
                <a:cubicBezTo>
                  <a:pt x="5377046" y="1413645"/>
                  <a:pt x="5378838" y="1414701"/>
                  <a:pt x="5380909" y="1415830"/>
                </a:cubicBezTo>
                <a:cubicBezTo>
                  <a:pt x="5382978" y="1416959"/>
                  <a:pt x="5383006" y="1416853"/>
                  <a:pt x="5384516" y="1415647"/>
                </a:cubicBezTo>
                <a:cubicBezTo>
                  <a:pt x="5385289" y="1416085"/>
                  <a:pt x="5385785" y="1416447"/>
                  <a:pt x="5386252" y="1416917"/>
                </a:cubicBezTo>
                <a:lnTo>
                  <a:pt x="5386603" y="1417817"/>
                </a:lnTo>
                <a:lnTo>
                  <a:pt x="5396622" y="1420272"/>
                </a:lnTo>
                <a:lnTo>
                  <a:pt x="5406372" y="1424838"/>
                </a:lnTo>
                <a:lnTo>
                  <a:pt x="5410321" y="1426702"/>
                </a:lnTo>
                <a:lnTo>
                  <a:pt x="5419686" y="1433811"/>
                </a:lnTo>
                <a:lnTo>
                  <a:pt x="5419276" y="1433126"/>
                </a:lnTo>
                <a:cubicBezTo>
                  <a:pt x="5418612" y="1430073"/>
                  <a:pt x="5421106" y="1427406"/>
                  <a:pt x="5425221" y="1426440"/>
                </a:cubicBezTo>
                <a:lnTo>
                  <a:pt x="5428990" y="1426759"/>
                </a:lnTo>
                <a:lnTo>
                  <a:pt x="5427275" y="1423195"/>
                </a:lnTo>
                <a:lnTo>
                  <a:pt x="5427304" y="1423088"/>
                </a:lnTo>
                <a:lnTo>
                  <a:pt x="5413423" y="1418448"/>
                </a:lnTo>
                <a:lnTo>
                  <a:pt x="5410505" y="1416056"/>
                </a:lnTo>
                <a:lnTo>
                  <a:pt x="5406850" y="1415307"/>
                </a:lnTo>
                <a:cubicBezTo>
                  <a:pt x="5406861" y="1414159"/>
                  <a:pt x="5406861" y="1414159"/>
                  <a:pt x="5408636" y="1414175"/>
                </a:cubicBezTo>
                <a:cubicBezTo>
                  <a:pt x="5408388" y="1413994"/>
                  <a:pt x="5408388" y="1413994"/>
                  <a:pt x="5408112" y="1413920"/>
                </a:cubicBezTo>
                <a:lnTo>
                  <a:pt x="5408751" y="1413745"/>
                </a:lnTo>
                <a:lnTo>
                  <a:pt x="5408342" y="1413061"/>
                </a:lnTo>
                <a:cubicBezTo>
                  <a:pt x="5408018" y="1412055"/>
                  <a:pt x="5407971" y="1411122"/>
                  <a:pt x="5408784" y="1410305"/>
                </a:cubicBezTo>
                <a:cubicBezTo>
                  <a:pt x="5408517" y="1409084"/>
                  <a:pt x="5415094" y="1408890"/>
                  <a:pt x="5417135" y="1410127"/>
                </a:cubicBezTo>
                <a:cubicBezTo>
                  <a:pt x="5420664" y="1412453"/>
                  <a:pt x="5422705" y="1413690"/>
                  <a:pt x="5422960" y="1416059"/>
                </a:cubicBezTo>
                <a:cubicBezTo>
                  <a:pt x="5424725" y="1417221"/>
                  <a:pt x="5426766" y="1418457"/>
                  <a:pt x="5427642" y="1419613"/>
                </a:cubicBezTo>
                <a:lnTo>
                  <a:pt x="5427534" y="1422229"/>
                </a:lnTo>
                <a:lnTo>
                  <a:pt x="5427994" y="1420512"/>
                </a:lnTo>
                <a:cubicBezTo>
                  <a:pt x="5428778" y="1419802"/>
                  <a:pt x="5429561" y="1419093"/>
                  <a:pt x="5431003" y="1419248"/>
                </a:cubicBezTo>
                <a:cubicBezTo>
                  <a:pt x="5431936" y="1420189"/>
                  <a:pt x="5433302" y="1419519"/>
                  <a:pt x="5434542" y="1420427"/>
                </a:cubicBezTo>
                <a:cubicBezTo>
                  <a:pt x="5438082" y="1421605"/>
                  <a:pt x="5439045" y="1422438"/>
                  <a:pt x="5439166" y="1424197"/>
                </a:cubicBezTo>
                <a:cubicBezTo>
                  <a:pt x="5440407" y="1425104"/>
                  <a:pt x="5439289" y="1425954"/>
                  <a:pt x="5439163" y="1427530"/>
                </a:cubicBezTo>
                <a:lnTo>
                  <a:pt x="5437579" y="1427910"/>
                </a:lnTo>
                <a:lnTo>
                  <a:pt x="5438675" y="1429354"/>
                </a:lnTo>
                <a:cubicBezTo>
                  <a:pt x="5440036" y="1432019"/>
                  <a:pt x="5440597" y="1434354"/>
                  <a:pt x="5439842" y="1434957"/>
                </a:cubicBezTo>
                <a:lnTo>
                  <a:pt x="5435792" y="1429041"/>
                </a:lnTo>
                <a:lnTo>
                  <a:pt x="5435929" y="1435174"/>
                </a:lnTo>
                <a:lnTo>
                  <a:pt x="5433840" y="1438067"/>
                </a:lnTo>
                <a:lnTo>
                  <a:pt x="5436322" y="1438487"/>
                </a:lnTo>
                <a:lnTo>
                  <a:pt x="5443317" y="1434163"/>
                </a:lnTo>
                <a:cubicBezTo>
                  <a:pt x="5445704" y="1434112"/>
                  <a:pt x="5448194" y="1434780"/>
                  <a:pt x="5450818" y="1436057"/>
                </a:cubicBezTo>
                <a:lnTo>
                  <a:pt x="5453267" y="1437980"/>
                </a:lnTo>
                <a:lnTo>
                  <a:pt x="5450724" y="1434193"/>
                </a:lnTo>
                <a:lnTo>
                  <a:pt x="5447184" y="1433014"/>
                </a:lnTo>
                <a:lnTo>
                  <a:pt x="5449879" y="1429596"/>
                </a:lnTo>
                <a:lnTo>
                  <a:pt x="5451134" y="1426022"/>
                </a:lnTo>
                <a:cubicBezTo>
                  <a:pt x="5452193" y="1425386"/>
                  <a:pt x="5454084" y="1424973"/>
                  <a:pt x="5456717" y="1425104"/>
                </a:cubicBezTo>
                <a:lnTo>
                  <a:pt x="5458540" y="1426052"/>
                </a:lnTo>
                <a:lnTo>
                  <a:pt x="5465727" y="1425792"/>
                </a:lnTo>
                <a:lnTo>
                  <a:pt x="5467628" y="1424232"/>
                </a:lnTo>
                <a:lnTo>
                  <a:pt x="5465809" y="1419950"/>
                </a:lnTo>
                <a:lnTo>
                  <a:pt x="5463808" y="1417459"/>
                </a:lnTo>
                <a:lnTo>
                  <a:pt x="5459762" y="1417064"/>
                </a:lnTo>
                <a:cubicBezTo>
                  <a:pt x="5454181" y="1414648"/>
                  <a:pt x="5449703" y="1415864"/>
                  <a:pt x="5444399" y="1413523"/>
                </a:cubicBezTo>
                <a:cubicBezTo>
                  <a:pt x="5444399" y="1413523"/>
                  <a:pt x="5444399" y="1413523"/>
                  <a:pt x="5445908" y="1412318"/>
                </a:cubicBezTo>
                <a:cubicBezTo>
                  <a:pt x="5450059" y="1413430"/>
                  <a:pt x="5454220" y="1413395"/>
                  <a:pt x="5458324" y="1413574"/>
                </a:cubicBezTo>
                <a:lnTo>
                  <a:pt x="5460901" y="1413920"/>
                </a:lnTo>
                <a:lnTo>
                  <a:pt x="5458403" y="1411065"/>
                </a:lnTo>
                <a:cubicBezTo>
                  <a:pt x="5452798" y="1405423"/>
                  <a:pt x="5447440" y="1399962"/>
                  <a:pt x="5445787" y="1392849"/>
                </a:cubicBezTo>
                <a:lnTo>
                  <a:pt x="5445841" y="1387113"/>
                </a:lnTo>
                <a:lnTo>
                  <a:pt x="5438804" y="1389023"/>
                </a:lnTo>
                <a:cubicBezTo>
                  <a:pt x="5436246" y="1389718"/>
                  <a:pt x="5433993" y="1390379"/>
                  <a:pt x="5432016" y="1391115"/>
                </a:cubicBezTo>
                <a:lnTo>
                  <a:pt x="5419032" y="1394190"/>
                </a:lnTo>
                <a:lnTo>
                  <a:pt x="5416262" y="1396783"/>
                </a:lnTo>
                <a:lnTo>
                  <a:pt x="5415011" y="1397024"/>
                </a:lnTo>
                <a:lnTo>
                  <a:pt x="5414695" y="1398203"/>
                </a:lnTo>
                <a:cubicBezTo>
                  <a:pt x="5414695" y="1398203"/>
                  <a:pt x="5414695" y="1398203"/>
                  <a:pt x="5413197" y="1398262"/>
                </a:cubicBezTo>
                <a:lnTo>
                  <a:pt x="5413760" y="1397263"/>
                </a:lnTo>
                <a:lnTo>
                  <a:pt x="5411565" y="1397709"/>
                </a:lnTo>
                <a:cubicBezTo>
                  <a:pt x="5406908" y="1397382"/>
                  <a:pt x="5402751" y="1394082"/>
                  <a:pt x="5401734" y="1390131"/>
                </a:cubicBezTo>
                <a:cubicBezTo>
                  <a:pt x="5401173" y="1387795"/>
                  <a:pt x="5401834" y="1385327"/>
                  <a:pt x="5404212" y="1383090"/>
                </a:cubicBezTo>
                <a:cubicBezTo>
                  <a:pt x="5407850" y="1382800"/>
                  <a:pt x="5415062" y="1385767"/>
                  <a:pt x="5419000" y="1388777"/>
                </a:cubicBezTo>
                <a:lnTo>
                  <a:pt x="5419468" y="1389247"/>
                </a:lnTo>
                <a:lnTo>
                  <a:pt x="5419525" y="1389033"/>
                </a:lnTo>
                <a:cubicBezTo>
                  <a:pt x="5424100" y="1386348"/>
                  <a:pt x="5433026" y="1384025"/>
                  <a:pt x="5434018" y="1384751"/>
                </a:cubicBezTo>
                <a:cubicBezTo>
                  <a:pt x="5435413" y="1383974"/>
                  <a:pt x="5436347" y="1384914"/>
                  <a:pt x="5437740" y="1384139"/>
                </a:cubicBezTo>
                <a:cubicBezTo>
                  <a:pt x="5437740" y="1384139"/>
                  <a:pt x="5438801" y="1383502"/>
                  <a:pt x="5441407" y="1383740"/>
                </a:cubicBezTo>
                <a:cubicBezTo>
                  <a:pt x="5443735" y="1383904"/>
                  <a:pt x="5446369" y="1384035"/>
                  <a:pt x="5447426" y="1386734"/>
                </a:cubicBezTo>
                <a:lnTo>
                  <a:pt x="5447091" y="1386874"/>
                </a:lnTo>
                <a:lnTo>
                  <a:pt x="5452816" y="1388752"/>
                </a:lnTo>
                <a:cubicBezTo>
                  <a:pt x="5456488" y="1390541"/>
                  <a:pt x="5459960" y="1393081"/>
                  <a:pt x="5463316" y="1396051"/>
                </a:cubicBezTo>
                <a:lnTo>
                  <a:pt x="5470474" y="1404754"/>
                </a:lnTo>
                <a:lnTo>
                  <a:pt x="5471772" y="1405447"/>
                </a:lnTo>
                <a:lnTo>
                  <a:pt x="5477597" y="1411377"/>
                </a:lnTo>
                <a:lnTo>
                  <a:pt x="5477654" y="1411164"/>
                </a:lnTo>
                <a:cubicBezTo>
                  <a:pt x="5480464" y="1407316"/>
                  <a:pt x="5483972" y="1403081"/>
                  <a:pt x="5485348" y="1401265"/>
                </a:cubicBezTo>
                <a:cubicBezTo>
                  <a:pt x="5486846" y="1401206"/>
                  <a:pt x="5487152" y="1401173"/>
                  <a:pt x="5487152" y="1401173"/>
                </a:cubicBezTo>
                <a:cubicBezTo>
                  <a:pt x="5488784" y="1401725"/>
                  <a:pt x="5489412" y="1402699"/>
                  <a:pt x="5489096" y="1403879"/>
                </a:cubicBezTo>
                <a:cubicBezTo>
                  <a:pt x="5489057" y="1405134"/>
                  <a:pt x="5488044" y="1406702"/>
                  <a:pt x="5486667" y="1408518"/>
                </a:cubicBezTo>
                <a:cubicBezTo>
                  <a:pt x="5485291" y="1410334"/>
                  <a:pt x="5483027" y="1412143"/>
                  <a:pt x="5480848" y="1413630"/>
                </a:cubicBezTo>
                <a:lnTo>
                  <a:pt x="5479789" y="1414265"/>
                </a:lnTo>
                <a:lnTo>
                  <a:pt x="5489854" y="1426507"/>
                </a:lnTo>
                <a:lnTo>
                  <a:pt x="5494034" y="1427512"/>
                </a:lnTo>
                <a:lnTo>
                  <a:pt x="5494120" y="1427191"/>
                </a:lnTo>
                <a:cubicBezTo>
                  <a:pt x="5497023" y="1425207"/>
                  <a:pt x="5500326" y="1425058"/>
                  <a:pt x="5504096" y="1425378"/>
                </a:cubicBezTo>
                <a:lnTo>
                  <a:pt x="5509525" y="1426143"/>
                </a:lnTo>
                <a:lnTo>
                  <a:pt x="5509277" y="1425962"/>
                </a:lnTo>
                <a:cubicBezTo>
                  <a:pt x="5508839" y="1425385"/>
                  <a:pt x="5508764" y="1424559"/>
                  <a:pt x="5509299" y="1423667"/>
                </a:cubicBezTo>
                <a:cubicBezTo>
                  <a:pt x="5512098" y="1420968"/>
                  <a:pt x="5516461" y="1420181"/>
                  <a:pt x="5520928" y="1420113"/>
                </a:cubicBezTo>
                <a:lnTo>
                  <a:pt x="5528410" y="1420968"/>
                </a:lnTo>
                <a:lnTo>
                  <a:pt x="5526761" y="1410521"/>
                </a:lnTo>
                <a:cubicBezTo>
                  <a:pt x="5526502" y="1402632"/>
                  <a:pt x="5528047" y="1394651"/>
                  <a:pt x="5526225" y="1384847"/>
                </a:cubicBezTo>
                <a:cubicBezTo>
                  <a:pt x="5545907" y="1383336"/>
                  <a:pt x="5544887" y="1373862"/>
                  <a:pt x="5550248" y="1367134"/>
                </a:cubicBezTo>
                <a:cubicBezTo>
                  <a:pt x="5565162" y="1371245"/>
                  <a:pt x="5581983" y="1367128"/>
                  <a:pt x="5598647" y="1368027"/>
                </a:cubicBezTo>
                <a:cubicBezTo>
                  <a:pt x="5606772" y="1374229"/>
                  <a:pt x="5615213" y="1379251"/>
                  <a:pt x="5623377" y="1384199"/>
                </a:cubicBezTo>
                <a:lnTo>
                  <a:pt x="5633220" y="1390631"/>
                </a:lnTo>
                <a:lnTo>
                  <a:pt x="5639218" y="1387063"/>
                </a:lnTo>
                <a:cubicBezTo>
                  <a:pt x="5641945" y="1389059"/>
                  <a:pt x="5642707" y="1390643"/>
                  <a:pt x="5642333" y="1392037"/>
                </a:cubicBezTo>
                <a:lnTo>
                  <a:pt x="5639563" y="1394630"/>
                </a:lnTo>
                <a:lnTo>
                  <a:pt x="5648413" y="1400338"/>
                </a:lnTo>
                <a:lnTo>
                  <a:pt x="5650652" y="1413012"/>
                </a:lnTo>
                <a:lnTo>
                  <a:pt x="5659747" y="1413379"/>
                </a:lnTo>
                <a:cubicBezTo>
                  <a:pt x="5660049" y="1416680"/>
                  <a:pt x="5659446" y="1418933"/>
                  <a:pt x="5658156" y="1420428"/>
                </a:cubicBezTo>
                <a:lnTo>
                  <a:pt x="5653840" y="1422146"/>
                </a:lnTo>
                <a:lnTo>
                  <a:pt x="5655895" y="1427757"/>
                </a:lnTo>
                <a:cubicBezTo>
                  <a:pt x="5659549" y="1437361"/>
                  <a:pt x="5661544" y="1446521"/>
                  <a:pt x="5654712" y="1453200"/>
                </a:cubicBezTo>
                <a:lnTo>
                  <a:pt x="5653519" y="1453226"/>
                </a:lnTo>
                <a:lnTo>
                  <a:pt x="5645983" y="1458107"/>
                </a:lnTo>
                <a:lnTo>
                  <a:pt x="5638882" y="1458044"/>
                </a:lnTo>
                <a:lnTo>
                  <a:pt x="5636123" y="1459490"/>
                </a:lnTo>
                <a:cubicBezTo>
                  <a:pt x="5632378" y="1462396"/>
                  <a:pt x="5629711" y="1465708"/>
                  <a:pt x="5624641" y="1468028"/>
                </a:cubicBezTo>
                <a:cubicBezTo>
                  <a:pt x="5610802" y="1467656"/>
                  <a:pt x="5594178" y="1465501"/>
                  <a:pt x="5578331" y="1460450"/>
                </a:cubicBezTo>
                <a:cubicBezTo>
                  <a:pt x="5570421" y="1457870"/>
                  <a:pt x="5562685" y="1454647"/>
                  <a:pt x="5555760" y="1450607"/>
                </a:cubicBezTo>
                <a:lnTo>
                  <a:pt x="5540092" y="1438244"/>
                </a:lnTo>
                <a:lnTo>
                  <a:pt x="5541759" y="1440875"/>
                </a:lnTo>
                <a:cubicBezTo>
                  <a:pt x="5543779" y="1444407"/>
                  <a:pt x="5545321" y="1448614"/>
                  <a:pt x="5541087" y="1453345"/>
                </a:cubicBezTo>
                <a:cubicBezTo>
                  <a:pt x="5537530" y="1451128"/>
                  <a:pt x="5529717" y="1455935"/>
                  <a:pt x="5524147" y="1452371"/>
                </a:cubicBezTo>
                <a:cubicBezTo>
                  <a:pt x="5510345" y="1445222"/>
                  <a:pt x="5508660" y="1441551"/>
                  <a:pt x="5510011" y="1436508"/>
                </a:cubicBezTo>
                <a:lnTo>
                  <a:pt x="5510776" y="1434758"/>
                </a:lnTo>
                <a:lnTo>
                  <a:pt x="5510222" y="1434610"/>
                </a:lnTo>
                <a:lnTo>
                  <a:pt x="5506816" y="1434042"/>
                </a:lnTo>
                <a:lnTo>
                  <a:pt x="5508437" y="1435741"/>
                </a:lnTo>
                <a:lnTo>
                  <a:pt x="5503462" y="1436594"/>
                </a:lnTo>
                <a:lnTo>
                  <a:pt x="5498842" y="1438346"/>
                </a:lnTo>
                <a:lnTo>
                  <a:pt x="5495988" y="1437926"/>
                </a:lnTo>
                <a:lnTo>
                  <a:pt x="5484456" y="1440011"/>
                </a:lnTo>
                <a:lnTo>
                  <a:pt x="5476946" y="1439264"/>
                </a:lnTo>
                <a:lnTo>
                  <a:pt x="5476888" y="1439478"/>
                </a:lnTo>
                <a:lnTo>
                  <a:pt x="5477682" y="1445498"/>
                </a:lnTo>
                <a:lnTo>
                  <a:pt x="5584089" y="1463534"/>
                </a:lnTo>
                <a:lnTo>
                  <a:pt x="5585755" y="1463043"/>
                </a:lnTo>
                <a:lnTo>
                  <a:pt x="5588924" y="1464353"/>
                </a:lnTo>
                <a:lnTo>
                  <a:pt x="5648433" y="1474440"/>
                </a:lnTo>
                <a:lnTo>
                  <a:pt x="5651121" y="1472134"/>
                </a:lnTo>
                <a:lnTo>
                  <a:pt x="5660934" y="1476559"/>
                </a:lnTo>
                <a:lnTo>
                  <a:pt x="5698817" y="1482980"/>
                </a:lnTo>
                <a:lnTo>
                  <a:pt x="5701978" y="1477136"/>
                </a:lnTo>
                <a:cubicBezTo>
                  <a:pt x="5704982" y="1479205"/>
                  <a:pt x="5708274" y="1480202"/>
                  <a:pt x="5711278" y="1482273"/>
                </a:cubicBezTo>
                <a:lnTo>
                  <a:pt x="5711714" y="1485167"/>
                </a:lnTo>
                <a:lnTo>
                  <a:pt x="5831359" y="1505446"/>
                </a:lnTo>
                <a:lnTo>
                  <a:pt x="5831044" y="1504588"/>
                </a:lnTo>
                <a:lnTo>
                  <a:pt x="5831911" y="1489180"/>
                </a:lnTo>
                <a:lnTo>
                  <a:pt x="5830778" y="1494512"/>
                </a:lnTo>
                <a:cubicBezTo>
                  <a:pt x="5829937" y="1495437"/>
                  <a:pt x="5828571" y="1496106"/>
                  <a:pt x="5826739" y="1496306"/>
                </a:cubicBezTo>
                <a:cubicBezTo>
                  <a:pt x="5815800" y="1497284"/>
                  <a:pt x="5802630" y="1487775"/>
                  <a:pt x="5798911" y="1476198"/>
                </a:cubicBezTo>
                <a:cubicBezTo>
                  <a:pt x="5793004" y="1458400"/>
                  <a:pt x="5800238" y="1450218"/>
                  <a:pt x="5800238" y="1450218"/>
                </a:cubicBezTo>
                <a:cubicBezTo>
                  <a:pt x="5820214" y="1449821"/>
                  <a:pt x="5826398" y="1467694"/>
                  <a:pt x="5829869" y="1479088"/>
                </a:cubicBezTo>
                <a:lnTo>
                  <a:pt x="5832036" y="1487604"/>
                </a:lnTo>
                <a:lnTo>
                  <a:pt x="5837142" y="1478508"/>
                </a:lnTo>
                <a:cubicBezTo>
                  <a:pt x="5849325" y="1483957"/>
                  <a:pt x="5847643" y="1494661"/>
                  <a:pt x="5849256" y="1503029"/>
                </a:cubicBezTo>
                <a:cubicBezTo>
                  <a:pt x="5859538" y="1501183"/>
                  <a:pt x="5873430" y="1495821"/>
                  <a:pt x="5880110" y="1505201"/>
                </a:cubicBezTo>
                <a:lnTo>
                  <a:pt x="5868179" y="1511686"/>
                </a:lnTo>
                <a:lnTo>
                  <a:pt x="6070995" y="1546064"/>
                </a:lnTo>
                <a:lnTo>
                  <a:pt x="6113489" y="1554738"/>
                </a:lnTo>
                <a:lnTo>
                  <a:pt x="6148256" y="1565779"/>
                </a:lnTo>
                <a:lnTo>
                  <a:pt x="6184954" y="1578396"/>
                </a:lnTo>
                <a:lnTo>
                  <a:pt x="6208133" y="1589436"/>
                </a:lnTo>
                <a:lnTo>
                  <a:pt x="6219720" y="1600477"/>
                </a:lnTo>
                <a:lnTo>
                  <a:pt x="6221653" y="1611518"/>
                </a:lnTo>
                <a:lnTo>
                  <a:pt x="6211994" y="1619404"/>
                </a:lnTo>
                <a:lnTo>
                  <a:pt x="6190749" y="1628866"/>
                </a:lnTo>
                <a:lnTo>
                  <a:pt x="6167602" y="1634774"/>
                </a:lnTo>
                <a:lnTo>
                  <a:pt x="6158861" y="1644752"/>
                </a:lnTo>
                <a:lnTo>
                  <a:pt x="6161876" y="1645675"/>
                </a:lnTo>
                <a:cubicBezTo>
                  <a:pt x="6163450" y="1646443"/>
                  <a:pt x="6165157" y="1647819"/>
                  <a:pt x="6166806" y="1649412"/>
                </a:cubicBezTo>
                <a:cubicBezTo>
                  <a:pt x="6168107" y="1655625"/>
                  <a:pt x="6160252" y="1656165"/>
                  <a:pt x="6157832" y="1659658"/>
                </a:cubicBezTo>
                <a:cubicBezTo>
                  <a:pt x="6154437" y="1657943"/>
                  <a:pt x="6152263" y="1656095"/>
                  <a:pt x="6150976" y="1654255"/>
                </a:cubicBezTo>
                <a:lnTo>
                  <a:pt x="6150757" y="1653967"/>
                </a:lnTo>
                <a:lnTo>
                  <a:pt x="6146075" y="1659267"/>
                </a:lnTo>
                <a:cubicBezTo>
                  <a:pt x="6141450" y="1655497"/>
                  <a:pt x="6136487" y="1655203"/>
                  <a:pt x="6131111" y="1648703"/>
                </a:cubicBezTo>
                <a:lnTo>
                  <a:pt x="6139477" y="1640533"/>
                </a:lnTo>
                <a:lnTo>
                  <a:pt x="6124489" y="1643314"/>
                </a:lnTo>
                <a:lnTo>
                  <a:pt x="6126239" y="1644751"/>
                </a:lnTo>
                <a:cubicBezTo>
                  <a:pt x="6121402" y="1651735"/>
                  <a:pt x="6116579" y="1654238"/>
                  <a:pt x="6112141" y="1654199"/>
                </a:cubicBezTo>
                <a:lnTo>
                  <a:pt x="6108238" y="1653268"/>
                </a:lnTo>
                <a:lnTo>
                  <a:pt x="6109820" y="1656222"/>
                </a:lnTo>
                <a:cubicBezTo>
                  <a:pt x="6110247" y="1657947"/>
                  <a:pt x="6109252" y="1660555"/>
                  <a:pt x="6107702" y="1663015"/>
                </a:cubicBezTo>
                <a:cubicBezTo>
                  <a:pt x="6105877" y="1665402"/>
                  <a:pt x="6103556" y="1667425"/>
                  <a:pt x="6100807" y="1667723"/>
                </a:cubicBezTo>
                <a:cubicBezTo>
                  <a:pt x="6099416" y="1665164"/>
                  <a:pt x="6097778" y="1662426"/>
                  <a:pt x="6096139" y="1659687"/>
                </a:cubicBezTo>
                <a:cubicBezTo>
                  <a:pt x="6097350" y="1660701"/>
                  <a:pt x="6103373" y="1651505"/>
                  <a:pt x="6103373" y="1651505"/>
                </a:cubicBezTo>
                <a:lnTo>
                  <a:pt x="6106503" y="1651998"/>
                </a:lnTo>
                <a:lnTo>
                  <a:pt x="6101439" y="1647651"/>
                </a:lnTo>
                <a:lnTo>
                  <a:pt x="6101178" y="1646943"/>
                </a:lnTo>
                <a:lnTo>
                  <a:pt x="6068436" y="1651606"/>
                </a:lnTo>
                <a:lnTo>
                  <a:pt x="6072216" y="1654886"/>
                </a:lnTo>
                <a:lnTo>
                  <a:pt x="6061997" y="1653183"/>
                </a:lnTo>
                <a:lnTo>
                  <a:pt x="6062730" y="1654875"/>
                </a:lnTo>
                <a:cubicBezTo>
                  <a:pt x="6063433" y="1656674"/>
                  <a:pt x="6063107" y="1659001"/>
                  <a:pt x="6061005" y="1661313"/>
                </a:cubicBezTo>
                <a:cubicBezTo>
                  <a:pt x="6059495" y="1662519"/>
                  <a:pt x="6055007" y="1664881"/>
                  <a:pt x="6054712" y="1663767"/>
                </a:cubicBezTo>
                <a:cubicBezTo>
                  <a:pt x="6052947" y="1662603"/>
                  <a:pt x="6053242" y="1663717"/>
                  <a:pt x="6051467" y="1663703"/>
                </a:cubicBezTo>
                <a:cubicBezTo>
                  <a:pt x="6048654" y="1662029"/>
                  <a:pt x="6046756" y="1660255"/>
                  <a:pt x="6045746" y="1658489"/>
                </a:cubicBezTo>
                <a:lnTo>
                  <a:pt x="6046113" y="1654785"/>
                </a:lnTo>
                <a:lnTo>
                  <a:pt x="6034296" y="1656468"/>
                </a:lnTo>
                <a:lnTo>
                  <a:pt x="6037062" y="1666406"/>
                </a:lnTo>
                <a:lnTo>
                  <a:pt x="6042835" y="1667140"/>
                </a:lnTo>
                <a:cubicBezTo>
                  <a:pt x="6048358" y="1678625"/>
                  <a:pt x="6064953" y="1689741"/>
                  <a:pt x="6075134" y="1701554"/>
                </a:cubicBezTo>
                <a:lnTo>
                  <a:pt x="6071836" y="1734449"/>
                </a:lnTo>
                <a:lnTo>
                  <a:pt x="6086448" y="1751888"/>
                </a:lnTo>
                <a:lnTo>
                  <a:pt x="6101755" y="1764756"/>
                </a:lnTo>
                <a:lnTo>
                  <a:pt x="6105549" y="1765134"/>
                </a:lnTo>
                <a:cubicBezTo>
                  <a:pt x="6107226" y="1766619"/>
                  <a:pt x="6108571" y="1768244"/>
                  <a:pt x="6108940" y="1770184"/>
                </a:cubicBezTo>
                <a:lnTo>
                  <a:pt x="6108850" y="1770720"/>
                </a:lnTo>
                <a:lnTo>
                  <a:pt x="6119281" y="1779488"/>
                </a:lnTo>
                <a:lnTo>
                  <a:pt x="6155982" y="1805512"/>
                </a:lnTo>
                <a:lnTo>
                  <a:pt x="6198475" y="1830748"/>
                </a:lnTo>
                <a:lnTo>
                  <a:pt x="6200421" y="1831670"/>
                </a:lnTo>
                <a:lnTo>
                  <a:pt x="6206947" y="1826115"/>
                </a:lnTo>
                <a:cubicBezTo>
                  <a:pt x="6209276" y="1826278"/>
                  <a:pt x="6209276" y="1826278"/>
                  <a:pt x="6210486" y="1827293"/>
                </a:cubicBezTo>
                <a:cubicBezTo>
                  <a:pt x="6214055" y="1828364"/>
                  <a:pt x="6216412" y="1828421"/>
                  <a:pt x="6218327" y="1831235"/>
                </a:cubicBezTo>
                <a:cubicBezTo>
                  <a:pt x="6219193" y="1833536"/>
                  <a:pt x="6218848" y="1834824"/>
                  <a:pt x="6217731" y="1835674"/>
                </a:cubicBezTo>
                <a:lnTo>
                  <a:pt x="6211720" y="1837022"/>
                </a:lnTo>
                <a:lnTo>
                  <a:pt x="6246762" y="1853617"/>
                </a:lnTo>
                <a:lnTo>
                  <a:pt x="6287172" y="1871338"/>
                </a:lnTo>
                <a:lnTo>
                  <a:pt x="6299172" y="1870399"/>
                </a:lnTo>
                <a:cubicBezTo>
                  <a:pt x="6315882" y="1869276"/>
                  <a:pt x="6332528" y="1867958"/>
                  <a:pt x="6348274" y="1865363"/>
                </a:cubicBezTo>
                <a:cubicBezTo>
                  <a:pt x="6358325" y="1873231"/>
                  <a:pt x="6351331" y="1888263"/>
                  <a:pt x="6368914" y="1894584"/>
                </a:cubicBezTo>
                <a:cubicBezTo>
                  <a:pt x="6392202" y="1896223"/>
                  <a:pt x="6402975" y="1880365"/>
                  <a:pt x="6432198" y="1890840"/>
                </a:cubicBezTo>
                <a:cubicBezTo>
                  <a:pt x="6440631" y="1902531"/>
                  <a:pt x="6437419" y="1916734"/>
                  <a:pt x="6460974" y="1925116"/>
                </a:cubicBezTo>
                <a:cubicBezTo>
                  <a:pt x="6488396" y="1932349"/>
                  <a:pt x="6506806" y="1942226"/>
                  <a:pt x="6520128" y="1953387"/>
                </a:cubicBezTo>
                <a:lnTo>
                  <a:pt x="6527660" y="1960695"/>
                </a:lnTo>
                <a:lnTo>
                  <a:pt x="6529866" y="1959102"/>
                </a:lnTo>
                <a:cubicBezTo>
                  <a:pt x="6533428" y="1957986"/>
                  <a:pt x="6536766" y="1959915"/>
                  <a:pt x="6540380" y="1961919"/>
                </a:cubicBezTo>
                <a:cubicBezTo>
                  <a:pt x="6538413" y="1963174"/>
                  <a:pt x="6538924" y="1964863"/>
                  <a:pt x="6539064" y="1966281"/>
                </a:cubicBezTo>
                <a:lnTo>
                  <a:pt x="6538266" y="1966894"/>
                </a:lnTo>
                <a:lnTo>
                  <a:pt x="6582845" y="1982159"/>
                </a:lnTo>
                <a:lnTo>
                  <a:pt x="6550592" y="1993446"/>
                </a:lnTo>
                <a:lnTo>
                  <a:pt x="6562893" y="2016252"/>
                </a:lnTo>
                <a:lnTo>
                  <a:pt x="6565819" y="2020830"/>
                </a:lnTo>
                <a:lnTo>
                  <a:pt x="6554829" y="2061844"/>
                </a:lnTo>
                <a:lnTo>
                  <a:pt x="6580914" y="2064174"/>
                </a:lnTo>
                <a:lnTo>
                  <a:pt x="6633065" y="2072060"/>
                </a:lnTo>
                <a:lnTo>
                  <a:pt x="6679420" y="2083099"/>
                </a:lnTo>
                <a:lnTo>
                  <a:pt x="6719982" y="2095717"/>
                </a:lnTo>
                <a:lnTo>
                  <a:pt x="6754750" y="2109913"/>
                </a:lnTo>
                <a:lnTo>
                  <a:pt x="6787585" y="2126472"/>
                </a:lnTo>
                <a:lnTo>
                  <a:pt x="6814626" y="2144611"/>
                </a:lnTo>
                <a:lnTo>
                  <a:pt x="6841668" y="2162748"/>
                </a:lnTo>
                <a:lnTo>
                  <a:pt x="6864846" y="2181675"/>
                </a:lnTo>
                <a:lnTo>
                  <a:pt x="6886092" y="2201390"/>
                </a:lnTo>
                <a:lnTo>
                  <a:pt x="6909270" y="2221105"/>
                </a:lnTo>
                <a:lnTo>
                  <a:pt x="6932450" y="2240820"/>
                </a:lnTo>
                <a:lnTo>
                  <a:pt x="6976874" y="2278672"/>
                </a:lnTo>
                <a:lnTo>
                  <a:pt x="7019368" y="2316525"/>
                </a:lnTo>
                <a:lnTo>
                  <a:pt x="7059928" y="2354379"/>
                </a:lnTo>
                <a:lnTo>
                  <a:pt x="7106285" y="2391443"/>
                </a:lnTo>
                <a:lnTo>
                  <a:pt x="7158436" y="2427719"/>
                </a:lnTo>
                <a:lnTo>
                  <a:pt x="7193203" y="2455319"/>
                </a:lnTo>
                <a:lnTo>
                  <a:pt x="7216381" y="2483708"/>
                </a:lnTo>
                <a:lnTo>
                  <a:pt x="7227970" y="2512098"/>
                </a:lnTo>
                <a:lnTo>
                  <a:pt x="7231832" y="2540487"/>
                </a:lnTo>
                <a:lnTo>
                  <a:pt x="7231832" y="2568877"/>
                </a:lnTo>
                <a:lnTo>
                  <a:pt x="7227970" y="2598055"/>
                </a:lnTo>
                <a:lnTo>
                  <a:pt x="7226038" y="2626445"/>
                </a:lnTo>
                <a:lnTo>
                  <a:pt x="7222174" y="2654835"/>
                </a:lnTo>
                <a:lnTo>
                  <a:pt x="7218312" y="2660355"/>
                </a:lnTo>
                <a:lnTo>
                  <a:pt x="7202860" y="2666663"/>
                </a:lnTo>
                <a:lnTo>
                  <a:pt x="7181612" y="2672973"/>
                </a:lnTo>
                <a:lnTo>
                  <a:pt x="7156504" y="2678492"/>
                </a:lnTo>
                <a:lnTo>
                  <a:pt x="7127532" y="2684802"/>
                </a:lnTo>
                <a:lnTo>
                  <a:pt x="7104352" y="2691110"/>
                </a:lnTo>
                <a:lnTo>
                  <a:pt x="7032887" y="2710037"/>
                </a:lnTo>
                <a:lnTo>
                  <a:pt x="6961420" y="2728175"/>
                </a:lnTo>
                <a:lnTo>
                  <a:pt x="6990394" y="2744735"/>
                </a:lnTo>
                <a:lnTo>
                  <a:pt x="7023228" y="2762872"/>
                </a:lnTo>
                <a:lnTo>
                  <a:pt x="7056065" y="2779434"/>
                </a:lnTo>
                <a:lnTo>
                  <a:pt x="7104352" y="2795994"/>
                </a:lnTo>
                <a:lnTo>
                  <a:pt x="7158436" y="2810978"/>
                </a:lnTo>
                <a:lnTo>
                  <a:pt x="7210586" y="2826749"/>
                </a:lnTo>
                <a:lnTo>
                  <a:pt x="7209368" y="2829317"/>
                </a:lnTo>
                <a:lnTo>
                  <a:pt x="7280138" y="2817644"/>
                </a:lnTo>
                <a:lnTo>
                  <a:pt x="7295840" y="2816843"/>
                </a:lnTo>
                <a:lnTo>
                  <a:pt x="7313506" y="2817644"/>
                </a:lnTo>
                <a:lnTo>
                  <a:pt x="7331172" y="2818445"/>
                </a:lnTo>
                <a:lnTo>
                  <a:pt x="7350798" y="2820047"/>
                </a:lnTo>
                <a:lnTo>
                  <a:pt x="7339021" y="2841670"/>
                </a:lnTo>
                <a:lnTo>
                  <a:pt x="7327244" y="2860090"/>
                </a:lnTo>
                <a:lnTo>
                  <a:pt x="7323320" y="2874505"/>
                </a:lnTo>
                <a:lnTo>
                  <a:pt x="7323320" y="2884981"/>
                </a:lnTo>
                <a:lnTo>
                  <a:pt x="7469489" y="2884982"/>
                </a:lnTo>
                <a:lnTo>
                  <a:pt x="7466338" y="2890758"/>
                </a:lnTo>
                <a:cubicBezTo>
                  <a:pt x="7463760" y="2894424"/>
                  <a:pt x="7460608" y="2898311"/>
                  <a:pt x="7458030" y="2901866"/>
                </a:cubicBezTo>
                <a:cubicBezTo>
                  <a:pt x="7454593" y="2901867"/>
                  <a:pt x="7452588" y="2903088"/>
                  <a:pt x="7449150" y="2900644"/>
                </a:cubicBezTo>
                <a:cubicBezTo>
                  <a:pt x="7449150" y="2900644"/>
                  <a:pt x="7447431" y="2900644"/>
                  <a:pt x="7447431" y="2900644"/>
                </a:cubicBezTo>
                <a:lnTo>
                  <a:pt x="7421549" y="2924578"/>
                </a:lnTo>
                <a:lnTo>
                  <a:pt x="7427351" y="2925761"/>
                </a:lnTo>
                <a:lnTo>
                  <a:pt x="7440883" y="2928632"/>
                </a:lnTo>
                <a:lnTo>
                  <a:pt x="7452588" y="2918530"/>
                </a:lnTo>
                <a:cubicBezTo>
                  <a:pt x="7456025" y="2913863"/>
                  <a:pt x="7452588" y="2911419"/>
                  <a:pt x="7454306" y="2907865"/>
                </a:cubicBezTo>
                <a:cubicBezTo>
                  <a:pt x="7459749" y="2907087"/>
                  <a:pt x="7462900" y="2902867"/>
                  <a:pt x="7468056" y="2902755"/>
                </a:cubicBezTo>
                <a:cubicBezTo>
                  <a:pt x="7469776" y="2902756"/>
                  <a:pt x="7471494" y="2903199"/>
                  <a:pt x="7473786" y="2904310"/>
                </a:cubicBezTo>
                <a:cubicBezTo>
                  <a:pt x="7472067" y="2912031"/>
                  <a:pt x="7470276" y="2918556"/>
                  <a:pt x="7466266" y="2923736"/>
                </a:cubicBezTo>
                <a:lnTo>
                  <a:pt x="7452675" y="2931134"/>
                </a:lnTo>
                <a:lnTo>
                  <a:pt x="7476420" y="2936173"/>
                </a:lnTo>
                <a:lnTo>
                  <a:pt x="7496048" y="2941779"/>
                </a:lnTo>
                <a:lnTo>
                  <a:pt x="7517639" y="2948186"/>
                </a:lnTo>
                <a:lnTo>
                  <a:pt x="7537267" y="2955394"/>
                </a:lnTo>
                <a:lnTo>
                  <a:pt x="7537267" y="3454335"/>
                </a:lnTo>
                <a:lnTo>
                  <a:pt x="7484272" y="3470353"/>
                </a:lnTo>
                <a:lnTo>
                  <a:pt x="7431274" y="3487171"/>
                </a:lnTo>
                <a:lnTo>
                  <a:pt x="7378278" y="3503189"/>
                </a:lnTo>
                <a:lnTo>
                  <a:pt x="7319393" y="3515201"/>
                </a:lnTo>
                <a:lnTo>
                  <a:pt x="7291914" y="3520807"/>
                </a:lnTo>
                <a:lnTo>
                  <a:pt x="7268360" y="3528816"/>
                </a:lnTo>
                <a:lnTo>
                  <a:pt x="7242842" y="3538426"/>
                </a:lnTo>
                <a:lnTo>
                  <a:pt x="7219290" y="3549638"/>
                </a:lnTo>
                <a:lnTo>
                  <a:pt x="7197698" y="3560050"/>
                </a:lnTo>
                <a:lnTo>
                  <a:pt x="7174144" y="3571262"/>
                </a:lnTo>
                <a:lnTo>
                  <a:pt x="7148627" y="3580873"/>
                </a:lnTo>
                <a:lnTo>
                  <a:pt x="7123112" y="3591284"/>
                </a:lnTo>
                <a:lnTo>
                  <a:pt x="7099556" y="3599293"/>
                </a:lnTo>
                <a:lnTo>
                  <a:pt x="7068150" y="3605700"/>
                </a:lnTo>
                <a:lnTo>
                  <a:pt x="7038708" y="3608902"/>
                </a:lnTo>
                <a:lnTo>
                  <a:pt x="7009423" y="3608903"/>
                </a:lnTo>
                <a:lnTo>
                  <a:pt x="7007530" y="3609744"/>
                </a:lnTo>
                <a:lnTo>
                  <a:pt x="7007139" y="3608903"/>
                </a:lnTo>
                <a:lnTo>
                  <a:pt x="7005340" y="3608903"/>
                </a:lnTo>
                <a:lnTo>
                  <a:pt x="6996148" y="3608311"/>
                </a:lnTo>
                <a:lnTo>
                  <a:pt x="6993099" y="3609799"/>
                </a:lnTo>
                <a:cubicBezTo>
                  <a:pt x="6987942" y="3610022"/>
                  <a:pt x="6984792" y="3610243"/>
                  <a:pt x="6980781" y="3608022"/>
                </a:cubicBezTo>
                <a:lnTo>
                  <a:pt x="6980072" y="3607275"/>
                </a:lnTo>
                <a:lnTo>
                  <a:pt x="6968047" y="3606500"/>
                </a:lnTo>
                <a:lnTo>
                  <a:pt x="6966335" y="3606234"/>
                </a:lnTo>
                <a:lnTo>
                  <a:pt x="6957649" y="3606911"/>
                </a:lnTo>
                <a:lnTo>
                  <a:pt x="6954898" y="3604456"/>
                </a:lnTo>
                <a:lnTo>
                  <a:pt x="6926827" y="3600093"/>
                </a:lnTo>
                <a:lnTo>
                  <a:pt x="6881682" y="3588881"/>
                </a:lnTo>
                <a:lnTo>
                  <a:pt x="6869904" y="3588080"/>
                </a:lnTo>
                <a:lnTo>
                  <a:pt x="6854202" y="3588882"/>
                </a:lnTo>
                <a:lnTo>
                  <a:pt x="6836536" y="3592084"/>
                </a:lnTo>
                <a:lnTo>
                  <a:pt x="6827621" y="3593903"/>
                </a:lnTo>
                <a:lnTo>
                  <a:pt x="6821471" y="3599983"/>
                </a:lnTo>
                <a:cubicBezTo>
                  <a:pt x="6815777" y="3602773"/>
                  <a:pt x="6808902" y="3605356"/>
                  <a:pt x="6803746" y="3609244"/>
                </a:cubicBezTo>
                <a:cubicBezTo>
                  <a:pt x="6801740" y="3612688"/>
                  <a:pt x="6804319" y="3615686"/>
                  <a:pt x="6800881" y="3619242"/>
                </a:cubicBezTo>
                <a:lnTo>
                  <a:pt x="6798876" y="3620685"/>
                </a:lnTo>
                <a:lnTo>
                  <a:pt x="6799162" y="3626350"/>
                </a:lnTo>
                <a:cubicBezTo>
                  <a:pt x="6796012" y="3627461"/>
                  <a:pt x="6790568" y="3623796"/>
                  <a:pt x="6787131" y="3622573"/>
                </a:cubicBezTo>
                <a:cubicBezTo>
                  <a:pt x="6788563" y="3621463"/>
                  <a:pt x="6790282" y="3620352"/>
                  <a:pt x="6788563" y="3620241"/>
                </a:cubicBezTo>
                <a:lnTo>
                  <a:pt x="6792574" y="3618908"/>
                </a:lnTo>
                <a:lnTo>
                  <a:pt x="6790855" y="3616353"/>
                </a:lnTo>
                <a:lnTo>
                  <a:pt x="6789136" y="3617687"/>
                </a:lnTo>
                <a:cubicBezTo>
                  <a:pt x="6784552" y="3620019"/>
                  <a:pt x="6779970" y="3622018"/>
                  <a:pt x="6774813" y="3623795"/>
                </a:cubicBezTo>
                <a:lnTo>
                  <a:pt x="6765932" y="3626573"/>
                </a:lnTo>
                <a:lnTo>
                  <a:pt x="6769657" y="3627795"/>
                </a:lnTo>
                <a:cubicBezTo>
                  <a:pt x="6776818" y="3631238"/>
                  <a:pt x="6776818" y="3635237"/>
                  <a:pt x="6778537" y="3635570"/>
                </a:cubicBezTo>
                <a:cubicBezTo>
                  <a:pt x="6776245" y="3640458"/>
                  <a:pt x="6771662" y="3639681"/>
                  <a:pt x="6763928" y="3640236"/>
                </a:cubicBezTo>
                <a:cubicBezTo>
                  <a:pt x="6764786" y="3638681"/>
                  <a:pt x="6757912" y="3637459"/>
                  <a:pt x="6755620" y="3637126"/>
                </a:cubicBezTo>
                <a:cubicBezTo>
                  <a:pt x="6756192" y="3635460"/>
                  <a:pt x="6754760" y="3634127"/>
                  <a:pt x="6753328" y="3632571"/>
                </a:cubicBezTo>
                <a:lnTo>
                  <a:pt x="6751896" y="3630571"/>
                </a:lnTo>
                <a:lnTo>
                  <a:pt x="6749031" y="3631349"/>
                </a:lnTo>
                <a:lnTo>
                  <a:pt x="6747886" y="3634238"/>
                </a:lnTo>
                <a:cubicBezTo>
                  <a:pt x="6745307" y="3636681"/>
                  <a:pt x="6741296" y="3638680"/>
                  <a:pt x="6735569" y="3639569"/>
                </a:cubicBezTo>
                <a:lnTo>
                  <a:pt x="6732130" y="3635792"/>
                </a:lnTo>
                <a:lnTo>
                  <a:pt x="6724968" y="3637680"/>
                </a:lnTo>
                <a:cubicBezTo>
                  <a:pt x="6724682" y="3633459"/>
                  <a:pt x="6720099" y="3631683"/>
                  <a:pt x="6721244" y="3625129"/>
                </a:cubicBezTo>
                <a:lnTo>
                  <a:pt x="6723822" y="3624462"/>
                </a:lnTo>
                <a:lnTo>
                  <a:pt x="6725254" y="3618130"/>
                </a:lnTo>
                <a:lnTo>
                  <a:pt x="6730186" y="3612099"/>
                </a:lnTo>
                <a:lnTo>
                  <a:pt x="6726620" y="3612908"/>
                </a:lnTo>
                <a:lnTo>
                  <a:pt x="6710916" y="3613708"/>
                </a:lnTo>
                <a:lnTo>
                  <a:pt x="6697176" y="3612907"/>
                </a:lnTo>
                <a:lnTo>
                  <a:pt x="6663809" y="3608101"/>
                </a:lnTo>
                <a:lnTo>
                  <a:pt x="6649896" y="3607228"/>
                </a:lnTo>
                <a:lnTo>
                  <a:pt x="6643943" y="3610125"/>
                </a:lnTo>
                <a:cubicBezTo>
                  <a:pt x="6640174" y="3611021"/>
                  <a:pt x="6636379" y="3610799"/>
                  <a:pt x="6632726" y="3608799"/>
                </a:cubicBezTo>
                <a:lnTo>
                  <a:pt x="6635587" y="3606670"/>
                </a:lnTo>
                <a:lnTo>
                  <a:pt x="6612775" y="3608102"/>
                </a:lnTo>
                <a:lnTo>
                  <a:pt x="6601737" y="3610150"/>
                </a:lnTo>
                <a:lnTo>
                  <a:pt x="6600071" y="3620019"/>
                </a:lnTo>
                <a:cubicBezTo>
                  <a:pt x="6581163" y="3628462"/>
                  <a:pt x="6582309" y="3636903"/>
                  <a:pt x="6573715" y="3644790"/>
                </a:cubicBezTo>
                <a:cubicBezTo>
                  <a:pt x="6553089" y="3651622"/>
                  <a:pt x="6525375" y="3656704"/>
                  <a:pt x="6502292" y="3652632"/>
                </a:cubicBezTo>
                <a:lnTo>
                  <a:pt x="6496304" y="3650534"/>
                </a:lnTo>
                <a:lnTo>
                  <a:pt x="6489225" y="3653184"/>
                </a:lnTo>
                <a:lnTo>
                  <a:pt x="6490927" y="3654900"/>
                </a:lnTo>
                <a:cubicBezTo>
                  <a:pt x="6486057" y="3659453"/>
                  <a:pt x="6481187" y="3659231"/>
                  <a:pt x="6476030" y="3661342"/>
                </a:cubicBezTo>
                <a:lnTo>
                  <a:pt x="6473712" y="3658992"/>
                </a:lnTo>
                <a:lnTo>
                  <a:pt x="6450182" y="3667802"/>
                </a:lnTo>
                <a:lnTo>
                  <a:pt x="6475207" y="3677074"/>
                </a:lnTo>
                <a:cubicBezTo>
                  <a:pt x="6482333" y="3682447"/>
                  <a:pt x="6488492" y="3688946"/>
                  <a:pt x="6498375" y="3694556"/>
                </a:cubicBezTo>
                <a:cubicBezTo>
                  <a:pt x="6492933" y="3701332"/>
                  <a:pt x="6492359" y="3706331"/>
                  <a:pt x="6493792" y="3710441"/>
                </a:cubicBezTo>
                <a:lnTo>
                  <a:pt x="6494938" y="3713329"/>
                </a:lnTo>
                <a:lnTo>
                  <a:pt x="6504390" y="3715550"/>
                </a:lnTo>
                <a:cubicBezTo>
                  <a:pt x="6504390" y="3719549"/>
                  <a:pt x="6503531" y="3722437"/>
                  <a:pt x="6502386" y="3724214"/>
                </a:cubicBezTo>
                <a:lnTo>
                  <a:pt x="6497516" y="3727103"/>
                </a:lnTo>
                <a:lnTo>
                  <a:pt x="6499521" y="3729102"/>
                </a:lnTo>
                <a:cubicBezTo>
                  <a:pt x="6501526" y="3737212"/>
                  <a:pt x="6490640" y="3744987"/>
                  <a:pt x="6482620" y="3750430"/>
                </a:cubicBezTo>
                <a:cubicBezTo>
                  <a:pt x="6477463" y="3754319"/>
                  <a:pt x="6471160" y="3758095"/>
                  <a:pt x="6465718" y="3758095"/>
                </a:cubicBezTo>
                <a:cubicBezTo>
                  <a:pt x="6463712" y="3758095"/>
                  <a:pt x="6461994" y="3757650"/>
                  <a:pt x="6460275" y="3756650"/>
                </a:cubicBezTo>
                <a:lnTo>
                  <a:pt x="6458556" y="3755096"/>
                </a:lnTo>
                <a:lnTo>
                  <a:pt x="6455978" y="3754540"/>
                </a:lnTo>
                <a:lnTo>
                  <a:pt x="6438790" y="3757428"/>
                </a:lnTo>
                <a:lnTo>
                  <a:pt x="6445379" y="3757983"/>
                </a:lnTo>
                <a:cubicBezTo>
                  <a:pt x="6443660" y="3757984"/>
                  <a:pt x="6443660" y="3757984"/>
                  <a:pt x="6443660" y="3757984"/>
                </a:cubicBezTo>
                <a:cubicBezTo>
                  <a:pt x="6441942" y="3759095"/>
                  <a:pt x="6443660" y="3759206"/>
                  <a:pt x="6443946" y="3760316"/>
                </a:cubicBezTo>
                <a:cubicBezTo>
                  <a:pt x="6443946" y="3760316"/>
                  <a:pt x="6443660" y="3759206"/>
                  <a:pt x="6445379" y="3760428"/>
                </a:cubicBezTo>
                <a:cubicBezTo>
                  <a:pt x="6443659" y="3760428"/>
                  <a:pt x="6443946" y="3761539"/>
                  <a:pt x="6443946" y="3762761"/>
                </a:cubicBezTo>
                <a:cubicBezTo>
                  <a:pt x="6440796" y="3764983"/>
                  <a:pt x="6435639" y="3767204"/>
                  <a:pt x="6432202" y="3765983"/>
                </a:cubicBezTo>
                <a:cubicBezTo>
                  <a:pt x="6430483" y="3764760"/>
                  <a:pt x="6429910" y="3763538"/>
                  <a:pt x="6429910" y="3762427"/>
                </a:cubicBezTo>
                <a:lnTo>
                  <a:pt x="6431056" y="3760984"/>
                </a:lnTo>
                <a:lnTo>
                  <a:pt x="6428478" y="3759095"/>
                </a:lnTo>
                <a:lnTo>
                  <a:pt x="6408425" y="3762316"/>
                </a:lnTo>
                <a:cubicBezTo>
                  <a:pt x="6395820" y="3750097"/>
                  <a:pt x="6360872" y="3747764"/>
                  <a:pt x="6358008" y="3729880"/>
                </a:cubicBezTo>
                <a:lnTo>
                  <a:pt x="6358581" y="3728436"/>
                </a:lnTo>
                <a:lnTo>
                  <a:pt x="6356575" y="3726880"/>
                </a:lnTo>
                <a:cubicBezTo>
                  <a:pt x="6354284" y="3724437"/>
                  <a:pt x="6353138" y="3721771"/>
                  <a:pt x="6353710" y="3718661"/>
                </a:cubicBezTo>
                <a:cubicBezTo>
                  <a:pt x="6355429" y="3717217"/>
                  <a:pt x="6358295" y="3716328"/>
                  <a:pt x="6361445" y="3715995"/>
                </a:cubicBezTo>
                <a:lnTo>
                  <a:pt x="6363450" y="3716106"/>
                </a:lnTo>
                <a:lnTo>
                  <a:pt x="6363736" y="3713551"/>
                </a:lnTo>
                <a:lnTo>
                  <a:pt x="6363166" y="3700381"/>
                </a:lnTo>
                <a:lnTo>
                  <a:pt x="6355217" y="3703359"/>
                </a:lnTo>
                <a:lnTo>
                  <a:pt x="6357434" y="3709107"/>
                </a:lnTo>
                <a:lnTo>
                  <a:pt x="6348351" y="3705929"/>
                </a:lnTo>
                <a:lnTo>
                  <a:pt x="6301099" y="3723621"/>
                </a:lnTo>
                <a:lnTo>
                  <a:pt x="6299569" y="3728922"/>
                </a:lnTo>
                <a:cubicBezTo>
                  <a:pt x="6298136" y="3732879"/>
                  <a:pt x="6296274" y="3736989"/>
                  <a:pt x="6294412" y="3738767"/>
                </a:cubicBezTo>
                <a:lnTo>
                  <a:pt x="6300570" y="3723819"/>
                </a:lnTo>
                <a:lnTo>
                  <a:pt x="6277325" y="3732522"/>
                </a:lnTo>
                <a:lnTo>
                  <a:pt x="6277798" y="3733768"/>
                </a:lnTo>
                <a:cubicBezTo>
                  <a:pt x="6275792" y="3734767"/>
                  <a:pt x="6276078" y="3734656"/>
                  <a:pt x="6276078" y="3733545"/>
                </a:cubicBezTo>
                <a:lnTo>
                  <a:pt x="6274318" y="3733649"/>
                </a:lnTo>
                <a:lnTo>
                  <a:pt x="6270520" y="3735070"/>
                </a:lnTo>
                <a:lnTo>
                  <a:pt x="6270922" y="3737879"/>
                </a:lnTo>
                <a:lnTo>
                  <a:pt x="6269775" y="3739989"/>
                </a:lnTo>
                <a:lnTo>
                  <a:pt x="6270636" y="3741766"/>
                </a:lnTo>
                <a:lnTo>
                  <a:pt x="6281235" y="3739989"/>
                </a:lnTo>
                <a:cubicBezTo>
                  <a:pt x="6285818" y="3739322"/>
                  <a:pt x="6290115" y="3738766"/>
                  <a:pt x="6293265" y="3738878"/>
                </a:cubicBezTo>
                <a:lnTo>
                  <a:pt x="6294126" y="3739100"/>
                </a:lnTo>
                <a:lnTo>
                  <a:pt x="6294126" y="3738766"/>
                </a:lnTo>
                <a:lnTo>
                  <a:pt x="6294698" y="3739211"/>
                </a:lnTo>
                <a:lnTo>
                  <a:pt x="6297850" y="3739988"/>
                </a:lnTo>
                <a:cubicBezTo>
                  <a:pt x="6296704" y="3741099"/>
                  <a:pt x="6295844" y="3742099"/>
                  <a:pt x="6293553" y="3742432"/>
                </a:cubicBezTo>
                <a:cubicBezTo>
                  <a:pt x="6291261" y="3742877"/>
                  <a:pt x="6292120" y="3741877"/>
                  <a:pt x="6291261" y="3742877"/>
                </a:cubicBezTo>
                <a:cubicBezTo>
                  <a:pt x="6288970" y="3743321"/>
                  <a:pt x="6290115" y="3743987"/>
                  <a:pt x="6290115" y="3743987"/>
                </a:cubicBezTo>
                <a:cubicBezTo>
                  <a:pt x="6290115" y="3743987"/>
                  <a:pt x="6288970" y="3743432"/>
                  <a:pt x="6288970" y="3743432"/>
                </a:cubicBezTo>
                <a:cubicBezTo>
                  <a:pt x="6288970" y="3743432"/>
                  <a:pt x="6288970" y="3743432"/>
                  <a:pt x="6284100" y="3744321"/>
                </a:cubicBezTo>
                <a:cubicBezTo>
                  <a:pt x="6278370" y="3746209"/>
                  <a:pt x="6277511" y="3747209"/>
                  <a:pt x="6274073" y="3748653"/>
                </a:cubicBezTo>
                <a:cubicBezTo>
                  <a:pt x="6269490" y="3749541"/>
                  <a:pt x="6268058" y="3748986"/>
                  <a:pt x="6262042" y="3749320"/>
                </a:cubicBezTo>
                <a:cubicBezTo>
                  <a:pt x="6260323" y="3747097"/>
                  <a:pt x="6260323" y="3747097"/>
                  <a:pt x="6261182" y="3746099"/>
                </a:cubicBezTo>
                <a:cubicBezTo>
                  <a:pt x="6260323" y="3747097"/>
                  <a:pt x="6258890" y="3746543"/>
                  <a:pt x="6256313" y="3746987"/>
                </a:cubicBezTo>
                <a:cubicBezTo>
                  <a:pt x="6251872" y="3748653"/>
                  <a:pt x="6248435" y="3748236"/>
                  <a:pt x="6245749" y="3746515"/>
                </a:cubicBezTo>
                <a:lnTo>
                  <a:pt x="6244507" y="3744810"/>
                </a:lnTo>
                <a:lnTo>
                  <a:pt x="6171139" y="3772280"/>
                </a:lnTo>
                <a:lnTo>
                  <a:pt x="6160635" y="3774184"/>
                </a:lnTo>
                <a:lnTo>
                  <a:pt x="6158342" y="3784311"/>
                </a:lnTo>
                <a:cubicBezTo>
                  <a:pt x="6155477" y="3788976"/>
                  <a:pt x="6152326" y="3792531"/>
                  <a:pt x="6148316" y="3795641"/>
                </a:cubicBezTo>
                <a:lnTo>
                  <a:pt x="6141154" y="3799862"/>
                </a:lnTo>
                <a:lnTo>
                  <a:pt x="6149748" y="3804195"/>
                </a:lnTo>
                <a:cubicBezTo>
                  <a:pt x="6161779" y="3810193"/>
                  <a:pt x="6177821" y="3818635"/>
                  <a:pt x="6171806" y="3824523"/>
                </a:cubicBezTo>
                <a:cubicBezTo>
                  <a:pt x="6162638" y="3820190"/>
                  <a:pt x="6137716" y="3812748"/>
                  <a:pt x="6138002" y="3803418"/>
                </a:cubicBezTo>
                <a:lnTo>
                  <a:pt x="6139148" y="3800973"/>
                </a:lnTo>
                <a:lnTo>
                  <a:pt x="6135424" y="3803306"/>
                </a:lnTo>
                <a:cubicBezTo>
                  <a:pt x="6125684" y="3807638"/>
                  <a:pt x="6115086" y="3811192"/>
                  <a:pt x="6104486" y="3817524"/>
                </a:cubicBezTo>
                <a:lnTo>
                  <a:pt x="6100190" y="3815969"/>
                </a:lnTo>
                <a:lnTo>
                  <a:pt x="6101622" y="3816858"/>
                </a:lnTo>
                <a:cubicBezTo>
                  <a:pt x="6103627" y="3818080"/>
                  <a:pt x="6105346" y="3819302"/>
                  <a:pt x="6106205" y="3820191"/>
                </a:cubicBezTo>
                <a:cubicBezTo>
                  <a:pt x="6102768" y="3818192"/>
                  <a:pt x="6098184" y="3816414"/>
                  <a:pt x="6093887" y="3814525"/>
                </a:cubicBezTo>
                <a:lnTo>
                  <a:pt x="6092168" y="3813413"/>
                </a:lnTo>
                <a:lnTo>
                  <a:pt x="6083002" y="3812970"/>
                </a:lnTo>
                <a:cubicBezTo>
                  <a:pt x="6076986" y="3813414"/>
                  <a:pt x="6071256" y="3815192"/>
                  <a:pt x="6065240" y="3815748"/>
                </a:cubicBezTo>
                <a:cubicBezTo>
                  <a:pt x="6062089" y="3811026"/>
                  <a:pt x="6056145" y="3807138"/>
                  <a:pt x="6049593" y="3803362"/>
                </a:cubicBezTo>
                <a:lnTo>
                  <a:pt x="6045208" y="3800699"/>
                </a:lnTo>
                <a:lnTo>
                  <a:pt x="6013373" y="3809745"/>
                </a:lnTo>
                <a:lnTo>
                  <a:pt x="6010311" y="3817469"/>
                </a:lnTo>
                <a:cubicBezTo>
                  <a:pt x="6006802" y="3821357"/>
                  <a:pt x="6001932" y="3824745"/>
                  <a:pt x="5997062" y="3827300"/>
                </a:cubicBezTo>
                <a:lnTo>
                  <a:pt x="5995344" y="3830188"/>
                </a:lnTo>
                <a:lnTo>
                  <a:pt x="5992765" y="3829299"/>
                </a:lnTo>
                <a:lnTo>
                  <a:pt x="5987896" y="3831410"/>
                </a:lnTo>
                <a:lnTo>
                  <a:pt x="5989041" y="3827078"/>
                </a:lnTo>
                <a:lnTo>
                  <a:pt x="5987609" y="3824857"/>
                </a:lnTo>
                <a:cubicBezTo>
                  <a:pt x="5987322" y="3823745"/>
                  <a:pt x="5987896" y="3822523"/>
                  <a:pt x="5989041" y="3821413"/>
                </a:cubicBezTo>
                <a:lnTo>
                  <a:pt x="5992192" y="3819635"/>
                </a:lnTo>
                <a:lnTo>
                  <a:pt x="5996091" y="3814595"/>
                </a:lnTo>
                <a:lnTo>
                  <a:pt x="5960254" y="3824518"/>
                </a:lnTo>
                <a:lnTo>
                  <a:pt x="5962400" y="3824745"/>
                </a:lnTo>
                <a:cubicBezTo>
                  <a:pt x="5962400" y="3825967"/>
                  <a:pt x="5964119" y="3825967"/>
                  <a:pt x="5963832" y="3827189"/>
                </a:cubicBezTo>
                <a:cubicBezTo>
                  <a:pt x="5965264" y="3829521"/>
                  <a:pt x="5964978" y="3830744"/>
                  <a:pt x="5963260" y="3831854"/>
                </a:cubicBezTo>
                <a:lnTo>
                  <a:pt x="5959823" y="3834076"/>
                </a:lnTo>
                <a:lnTo>
                  <a:pt x="5953806" y="3847183"/>
                </a:lnTo>
                <a:lnTo>
                  <a:pt x="5950368" y="3856181"/>
                </a:lnTo>
                <a:lnTo>
                  <a:pt x="5955525" y="3858513"/>
                </a:lnTo>
                <a:cubicBezTo>
                  <a:pt x="5960109" y="3862624"/>
                  <a:pt x="5956384" y="3869067"/>
                  <a:pt x="5949796" y="3870067"/>
                </a:cubicBezTo>
                <a:cubicBezTo>
                  <a:pt x="5948364" y="3870289"/>
                  <a:pt x="5946644" y="3870289"/>
                  <a:pt x="5944926" y="3869955"/>
                </a:cubicBezTo>
                <a:lnTo>
                  <a:pt x="5940056" y="3867957"/>
                </a:lnTo>
                <a:lnTo>
                  <a:pt x="5927452" y="3872622"/>
                </a:lnTo>
                <a:cubicBezTo>
                  <a:pt x="5913414" y="3872622"/>
                  <a:pt x="5913128" y="3863179"/>
                  <a:pt x="5904820" y="3870733"/>
                </a:cubicBezTo>
                <a:lnTo>
                  <a:pt x="5910550" y="3874843"/>
                </a:lnTo>
                <a:lnTo>
                  <a:pt x="5917712" y="3872178"/>
                </a:lnTo>
                <a:cubicBezTo>
                  <a:pt x="5922008" y="3872178"/>
                  <a:pt x="5927452" y="3874066"/>
                  <a:pt x="5934326" y="3878842"/>
                </a:cubicBezTo>
                <a:cubicBezTo>
                  <a:pt x="5929743" y="3879953"/>
                  <a:pt x="5926019" y="3881842"/>
                  <a:pt x="5922582" y="3883952"/>
                </a:cubicBezTo>
                <a:lnTo>
                  <a:pt x="5916852" y="3888062"/>
                </a:lnTo>
                <a:lnTo>
                  <a:pt x="5915993" y="3895172"/>
                </a:lnTo>
                <a:cubicBezTo>
                  <a:pt x="5914560" y="3899948"/>
                  <a:pt x="5911696" y="3905058"/>
                  <a:pt x="5909118" y="3909502"/>
                </a:cubicBezTo>
                <a:lnTo>
                  <a:pt x="5905394" y="3914944"/>
                </a:lnTo>
                <a:lnTo>
                  <a:pt x="5912555" y="3915833"/>
                </a:lnTo>
                <a:cubicBezTo>
                  <a:pt x="5911123" y="3917610"/>
                  <a:pt x="5909977" y="3918944"/>
                  <a:pt x="5908258" y="3919832"/>
                </a:cubicBezTo>
                <a:lnTo>
                  <a:pt x="5903962" y="3921276"/>
                </a:lnTo>
                <a:lnTo>
                  <a:pt x="5909690" y="3925942"/>
                </a:lnTo>
                <a:cubicBezTo>
                  <a:pt x="5912555" y="3928051"/>
                  <a:pt x="5915993" y="3929941"/>
                  <a:pt x="5921722" y="3930830"/>
                </a:cubicBezTo>
                <a:lnTo>
                  <a:pt x="5914561" y="3941382"/>
                </a:lnTo>
                <a:lnTo>
                  <a:pt x="5915706" y="3941049"/>
                </a:lnTo>
                <a:cubicBezTo>
                  <a:pt x="5916852" y="3946936"/>
                  <a:pt x="5909404" y="3953935"/>
                  <a:pt x="5899951" y="3958378"/>
                </a:cubicBezTo>
                <a:lnTo>
                  <a:pt x="5897372" y="3959267"/>
                </a:lnTo>
                <a:lnTo>
                  <a:pt x="5896513" y="3963266"/>
                </a:lnTo>
                <a:lnTo>
                  <a:pt x="5893362" y="3960265"/>
                </a:lnTo>
                <a:lnTo>
                  <a:pt x="5891070" y="3960933"/>
                </a:lnTo>
                <a:lnTo>
                  <a:pt x="5871018" y="3974152"/>
                </a:lnTo>
                <a:cubicBezTo>
                  <a:pt x="5871018" y="3976040"/>
                  <a:pt x="5871018" y="3976040"/>
                  <a:pt x="5871018" y="3977928"/>
                </a:cubicBezTo>
                <a:cubicBezTo>
                  <a:pt x="5868154" y="3979706"/>
                  <a:pt x="5865288" y="3983593"/>
                  <a:pt x="5862710" y="3985481"/>
                </a:cubicBezTo>
                <a:cubicBezTo>
                  <a:pt x="5856981" y="3998590"/>
                  <a:pt x="5845810" y="4008032"/>
                  <a:pt x="5831772" y="4006143"/>
                </a:cubicBezTo>
                <a:cubicBezTo>
                  <a:pt x="5834637" y="3996701"/>
                  <a:pt x="5848674" y="3987371"/>
                  <a:pt x="5845809" y="3979817"/>
                </a:cubicBezTo>
                <a:cubicBezTo>
                  <a:pt x="5848674" y="3981705"/>
                  <a:pt x="5851252" y="3977929"/>
                  <a:pt x="5854116" y="3979817"/>
                </a:cubicBezTo>
                <a:cubicBezTo>
                  <a:pt x="5856982" y="3977928"/>
                  <a:pt x="5856981" y="3976040"/>
                  <a:pt x="5859846" y="3974152"/>
                </a:cubicBezTo>
                <a:cubicBezTo>
                  <a:pt x="5859846" y="3972264"/>
                  <a:pt x="5862710" y="3972263"/>
                  <a:pt x="5862710" y="3970375"/>
                </a:cubicBezTo>
                <a:cubicBezTo>
                  <a:pt x="5862710" y="3970375"/>
                  <a:pt x="5862710" y="3968597"/>
                  <a:pt x="5862710" y="3968597"/>
                </a:cubicBezTo>
                <a:cubicBezTo>
                  <a:pt x="5861278" y="3966709"/>
                  <a:pt x="5861278" y="3964266"/>
                  <a:pt x="5860132" y="3962155"/>
                </a:cubicBezTo>
                <a:lnTo>
                  <a:pt x="5853545" y="3958378"/>
                </a:lnTo>
                <a:lnTo>
                  <a:pt x="5854976" y="3961266"/>
                </a:lnTo>
                <a:cubicBezTo>
                  <a:pt x="5858127" y="3970597"/>
                  <a:pt x="5855262" y="3976262"/>
                  <a:pt x="5855262" y="3976262"/>
                </a:cubicBezTo>
                <a:cubicBezTo>
                  <a:pt x="5840939" y="3980483"/>
                  <a:pt x="5831486" y="3972708"/>
                  <a:pt x="5824896" y="3964266"/>
                </a:cubicBezTo>
                <a:lnTo>
                  <a:pt x="5819454" y="3956156"/>
                </a:lnTo>
                <a:lnTo>
                  <a:pt x="5812579" y="3971375"/>
                </a:lnTo>
                <a:lnTo>
                  <a:pt x="5806277" y="3987482"/>
                </a:lnTo>
                <a:lnTo>
                  <a:pt x="5806564" y="3991925"/>
                </a:lnTo>
                <a:lnTo>
                  <a:pt x="5807710" y="3992480"/>
                </a:lnTo>
                <a:lnTo>
                  <a:pt x="5812579" y="3989926"/>
                </a:lnTo>
                <a:cubicBezTo>
                  <a:pt x="5815730" y="3989259"/>
                  <a:pt x="5819168" y="3989259"/>
                  <a:pt x="5823178" y="3989259"/>
                </a:cubicBezTo>
                <a:cubicBezTo>
                  <a:pt x="5821746" y="3993925"/>
                  <a:pt x="5818308" y="3999590"/>
                  <a:pt x="5814298" y="4005477"/>
                </a:cubicBezTo>
                <a:lnTo>
                  <a:pt x="5809428" y="4011697"/>
                </a:lnTo>
                <a:lnTo>
                  <a:pt x="5818595" y="4011365"/>
                </a:lnTo>
                <a:cubicBezTo>
                  <a:pt x="5822892" y="4012364"/>
                  <a:pt x="5826043" y="4014697"/>
                  <a:pt x="5828048" y="4019363"/>
                </a:cubicBezTo>
                <a:cubicBezTo>
                  <a:pt x="5824038" y="4023361"/>
                  <a:pt x="5817449" y="4023473"/>
                  <a:pt x="5811720" y="4021695"/>
                </a:cubicBezTo>
                <a:lnTo>
                  <a:pt x="5804844" y="4017696"/>
                </a:lnTo>
                <a:lnTo>
                  <a:pt x="5800834" y="4023028"/>
                </a:lnTo>
                <a:cubicBezTo>
                  <a:pt x="5795392" y="4023029"/>
                  <a:pt x="5792526" y="4024916"/>
                  <a:pt x="5786798" y="4021140"/>
                </a:cubicBezTo>
                <a:cubicBezTo>
                  <a:pt x="5786798" y="4021140"/>
                  <a:pt x="5783932" y="4021140"/>
                  <a:pt x="5783932" y="4021140"/>
                </a:cubicBezTo>
                <a:lnTo>
                  <a:pt x="5783646" y="4021362"/>
                </a:lnTo>
                <a:lnTo>
                  <a:pt x="5783360" y="4021695"/>
                </a:lnTo>
                <a:lnTo>
                  <a:pt x="5784219" y="4023250"/>
                </a:lnTo>
                <a:cubicBezTo>
                  <a:pt x="5781354" y="4025583"/>
                  <a:pt x="5778776" y="4027027"/>
                  <a:pt x="5776484" y="4027582"/>
                </a:cubicBezTo>
                <a:lnTo>
                  <a:pt x="5774193" y="4027471"/>
                </a:lnTo>
                <a:lnTo>
                  <a:pt x="5766458" y="4032248"/>
                </a:lnTo>
                <a:lnTo>
                  <a:pt x="5760729" y="4037358"/>
                </a:lnTo>
                <a:lnTo>
                  <a:pt x="5761016" y="4037358"/>
                </a:lnTo>
                <a:lnTo>
                  <a:pt x="5762162" y="4038691"/>
                </a:lnTo>
                <a:lnTo>
                  <a:pt x="5764453" y="4038247"/>
                </a:lnTo>
                <a:cubicBezTo>
                  <a:pt x="5773906" y="4038025"/>
                  <a:pt x="5783361" y="4040024"/>
                  <a:pt x="5791668" y="4043690"/>
                </a:cubicBezTo>
                <a:lnTo>
                  <a:pt x="5793672" y="4044800"/>
                </a:lnTo>
                <a:lnTo>
                  <a:pt x="5794818" y="4040468"/>
                </a:lnTo>
                <a:cubicBezTo>
                  <a:pt x="5794532" y="4037803"/>
                  <a:pt x="5793673" y="4035470"/>
                  <a:pt x="5795105" y="4032693"/>
                </a:cubicBezTo>
                <a:cubicBezTo>
                  <a:pt x="5803699" y="4031249"/>
                  <a:pt x="5808856" y="4024583"/>
                  <a:pt x="5816877" y="4024472"/>
                </a:cubicBezTo>
                <a:cubicBezTo>
                  <a:pt x="5819454" y="4024473"/>
                  <a:pt x="5822606" y="4025139"/>
                  <a:pt x="5826043" y="4027027"/>
                </a:cubicBezTo>
                <a:cubicBezTo>
                  <a:pt x="5824610" y="4033136"/>
                  <a:pt x="5823178" y="4038803"/>
                  <a:pt x="5821461" y="4043911"/>
                </a:cubicBezTo>
                <a:lnTo>
                  <a:pt x="5814871" y="4056353"/>
                </a:lnTo>
                <a:lnTo>
                  <a:pt x="5823178" y="4061907"/>
                </a:lnTo>
                <a:cubicBezTo>
                  <a:pt x="5836069" y="4074349"/>
                  <a:pt x="5841512" y="4091900"/>
                  <a:pt x="5850106" y="4107007"/>
                </a:cubicBezTo>
                <a:cubicBezTo>
                  <a:pt x="5844090" y="4107118"/>
                  <a:pt x="5841226" y="4110118"/>
                  <a:pt x="5831772" y="4109118"/>
                </a:cubicBezTo>
                <a:cubicBezTo>
                  <a:pt x="5828621" y="4098565"/>
                  <a:pt x="5823752" y="4088567"/>
                  <a:pt x="5818882" y="4079014"/>
                </a:cubicBezTo>
                <a:lnTo>
                  <a:pt x="5811434" y="4061130"/>
                </a:lnTo>
                <a:lnTo>
                  <a:pt x="5810574" y="4062908"/>
                </a:lnTo>
                <a:lnTo>
                  <a:pt x="5802840" y="4067239"/>
                </a:lnTo>
                <a:lnTo>
                  <a:pt x="5801407" y="4068462"/>
                </a:lnTo>
                <a:cubicBezTo>
                  <a:pt x="5796250" y="4071572"/>
                  <a:pt x="5789662" y="4073904"/>
                  <a:pt x="5781068" y="4075793"/>
                </a:cubicBezTo>
                <a:lnTo>
                  <a:pt x="5779922" y="4080348"/>
                </a:lnTo>
                <a:lnTo>
                  <a:pt x="5783646" y="4077903"/>
                </a:lnTo>
                <a:cubicBezTo>
                  <a:pt x="5791668" y="4075015"/>
                  <a:pt x="5798829" y="4077459"/>
                  <a:pt x="5803699" y="4073127"/>
                </a:cubicBezTo>
                <a:cubicBezTo>
                  <a:pt x="5805418" y="4075571"/>
                  <a:pt x="5805704" y="4075570"/>
                  <a:pt x="5803986" y="4077903"/>
                </a:cubicBezTo>
                <a:cubicBezTo>
                  <a:pt x="5802266" y="4077903"/>
                  <a:pt x="5802266" y="4079125"/>
                  <a:pt x="5800548" y="4077792"/>
                </a:cubicBezTo>
                <a:cubicBezTo>
                  <a:pt x="5798829" y="4079569"/>
                  <a:pt x="5794532" y="4081235"/>
                  <a:pt x="5789376" y="4082235"/>
                </a:cubicBezTo>
                <a:lnTo>
                  <a:pt x="5779063" y="4082791"/>
                </a:lnTo>
                <a:lnTo>
                  <a:pt x="5777630" y="4088012"/>
                </a:lnTo>
                <a:cubicBezTo>
                  <a:pt x="5775340" y="4092233"/>
                  <a:pt x="5772474" y="4096454"/>
                  <a:pt x="5769896" y="4100231"/>
                </a:cubicBezTo>
                <a:cubicBezTo>
                  <a:pt x="5764166" y="4109673"/>
                  <a:pt x="5752994" y="4115227"/>
                  <a:pt x="5741536" y="4115227"/>
                </a:cubicBezTo>
                <a:cubicBezTo>
                  <a:pt x="5730364" y="4117115"/>
                  <a:pt x="5733228" y="4100231"/>
                  <a:pt x="5738958" y="4092788"/>
                </a:cubicBezTo>
                <a:cubicBezTo>
                  <a:pt x="5752994" y="4089012"/>
                  <a:pt x="5758438" y="4081458"/>
                  <a:pt x="5764166" y="4074015"/>
                </a:cubicBezTo>
                <a:lnTo>
                  <a:pt x="5768177" y="4069683"/>
                </a:lnTo>
                <a:lnTo>
                  <a:pt x="5747552" y="4062352"/>
                </a:lnTo>
                <a:lnTo>
                  <a:pt x="5741822" y="4056353"/>
                </a:lnTo>
                <a:lnTo>
                  <a:pt x="5726926" y="4073460"/>
                </a:lnTo>
                <a:lnTo>
                  <a:pt x="5731224" y="4069794"/>
                </a:lnTo>
                <a:cubicBezTo>
                  <a:pt x="5734661" y="4068572"/>
                  <a:pt x="5738672" y="4068016"/>
                  <a:pt x="5742682" y="4068016"/>
                </a:cubicBezTo>
                <a:cubicBezTo>
                  <a:pt x="5750990" y="4068128"/>
                  <a:pt x="5758724" y="4070461"/>
                  <a:pt x="5759297" y="4074904"/>
                </a:cubicBezTo>
                <a:cubicBezTo>
                  <a:pt x="5759297" y="4076237"/>
                  <a:pt x="5759010" y="4077682"/>
                  <a:pt x="5757864" y="4079236"/>
                </a:cubicBezTo>
                <a:cubicBezTo>
                  <a:pt x="5749557" y="4083235"/>
                  <a:pt x="5741536" y="4085345"/>
                  <a:pt x="5733515" y="4083013"/>
                </a:cubicBezTo>
                <a:lnTo>
                  <a:pt x="5728358" y="4080347"/>
                </a:lnTo>
                <a:lnTo>
                  <a:pt x="5732082" y="4085345"/>
                </a:lnTo>
                <a:cubicBezTo>
                  <a:pt x="5734088" y="4088345"/>
                  <a:pt x="5734661" y="4091678"/>
                  <a:pt x="5730650" y="4096454"/>
                </a:cubicBezTo>
                <a:lnTo>
                  <a:pt x="5728645" y="4096010"/>
                </a:lnTo>
                <a:lnTo>
                  <a:pt x="5728932" y="4097898"/>
                </a:lnTo>
                <a:cubicBezTo>
                  <a:pt x="5727500" y="4100120"/>
                  <a:pt x="5716041" y="4103230"/>
                  <a:pt x="5714322" y="4102119"/>
                </a:cubicBezTo>
                <a:lnTo>
                  <a:pt x="5718233" y="4098233"/>
                </a:lnTo>
                <a:lnTo>
                  <a:pt x="5722916" y="4095010"/>
                </a:lnTo>
                <a:lnTo>
                  <a:pt x="5718905" y="4097565"/>
                </a:lnTo>
                <a:lnTo>
                  <a:pt x="5718233" y="4098233"/>
                </a:lnTo>
                <a:lnTo>
                  <a:pt x="5707339" y="4105729"/>
                </a:lnTo>
                <a:cubicBezTo>
                  <a:pt x="5704081" y="4111672"/>
                  <a:pt x="5702147" y="4118670"/>
                  <a:pt x="5699712" y="4122781"/>
                </a:cubicBezTo>
                <a:cubicBezTo>
                  <a:pt x="5685676" y="4126558"/>
                  <a:pt x="5693983" y="4124669"/>
                  <a:pt x="5679946" y="4126447"/>
                </a:cubicBezTo>
                <a:cubicBezTo>
                  <a:pt x="5671639" y="4137777"/>
                  <a:pt x="5668774" y="4147108"/>
                  <a:pt x="5660466" y="4158438"/>
                </a:cubicBezTo>
                <a:cubicBezTo>
                  <a:pt x="5651874" y="4160327"/>
                  <a:pt x="5643279" y="4160327"/>
                  <a:pt x="5634972" y="4167880"/>
                </a:cubicBezTo>
                <a:cubicBezTo>
                  <a:pt x="5640700" y="4173434"/>
                  <a:pt x="5654737" y="4169658"/>
                  <a:pt x="5651873" y="4175323"/>
                </a:cubicBezTo>
                <a:cubicBezTo>
                  <a:pt x="5643565" y="4173435"/>
                  <a:pt x="5634971" y="4186653"/>
                  <a:pt x="5646430" y="4188542"/>
                </a:cubicBezTo>
                <a:cubicBezTo>
                  <a:pt x="5650440" y="4189431"/>
                  <a:pt x="5654737" y="4188098"/>
                  <a:pt x="5659034" y="4185765"/>
                </a:cubicBezTo>
                <a:lnTo>
                  <a:pt x="5669634" y="4178433"/>
                </a:lnTo>
                <a:lnTo>
                  <a:pt x="5658175" y="4181544"/>
                </a:lnTo>
                <a:cubicBezTo>
                  <a:pt x="5657889" y="4177323"/>
                  <a:pt x="5653305" y="4175546"/>
                  <a:pt x="5654451" y="4168992"/>
                </a:cubicBezTo>
                <a:cubicBezTo>
                  <a:pt x="5669634" y="4166437"/>
                  <a:pt x="5683957" y="4162659"/>
                  <a:pt x="5697421" y="4158994"/>
                </a:cubicBezTo>
                <a:lnTo>
                  <a:pt x="5708306" y="4156551"/>
                </a:lnTo>
                <a:lnTo>
                  <a:pt x="5702290" y="4155328"/>
                </a:lnTo>
                <a:cubicBezTo>
                  <a:pt x="5695415" y="4152995"/>
                  <a:pt x="5690545" y="4149218"/>
                  <a:pt x="5693410" y="4145553"/>
                </a:cubicBezTo>
                <a:cubicBezTo>
                  <a:pt x="5696275" y="4145553"/>
                  <a:pt x="5699139" y="4147330"/>
                  <a:pt x="5702004" y="4145553"/>
                </a:cubicBezTo>
                <a:cubicBezTo>
                  <a:pt x="5702004" y="4145553"/>
                  <a:pt x="5702004" y="4143665"/>
                  <a:pt x="5702004" y="4141887"/>
                </a:cubicBezTo>
                <a:cubicBezTo>
                  <a:pt x="5702004" y="4139110"/>
                  <a:pt x="5700285" y="4133112"/>
                  <a:pt x="5704296" y="4131890"/>
                </a:cubicBezTo>
                <a:cubicBezTo>
                  <a:pt x="5705728" y="4131445"/>
                  <a:pt x="5707733" y="4131557"/>
                  <a:pt x="5710598" y="4132556"/>
                </a:cubicBezTo>
                <a:cubicBezTo>
                  <a:pt x="5707733" y="4136222"/>
                  <a:pt x="5704868" y="4138111"/>
                  <a:pt x="5704868" y="4141887"/>
                </a:cubicBezTo>
                <a:cubicBezTo>
                  <a:pt x="5704868" y="4143665"/>
                  <a:pt x="5704868" y="4143665"/>
                  <a:pt x="5704868" y="4143665"/>
                </a:cubicBezTo>
                <a:cubicBezTo>
                  <a:pt x="5706874" y="4144109"/>
                  <a:pt x="5709166" y="4143998"/>
                  <a:pt x="5711172" y="4143553"/>
                </a:cubicBezTo>
                <a:lnTo>
                  <a:pt x="5715468" y="4142331"/>
                </a:lnTo>
                <a:lnTo>
                  <a:pt x="5714322" y="4133889"/>
                </a:lnTo>
                <a:cubicBezTo>
                  <a:pt x="5714608" y="4130335"/>
                  <a:pt x="5715754" y="4126780"/>
                  <a:pt x="5717473" y="4123337"/>
                </a:cubicBezTo>
                <a:cubicBezTo>
                  <a:pt x="5730650" y="4124114"/>
                  <a:pt x="5731510" y="4134889"/>
                  <a:pt x="5734661" y="4142221"/>
                </a:cubicBezTo>
                <a:cubicBezTo>
                  <a:pt x="5744400" y="4136777"/>
                  <a:pt x="5756718" y="4126891"/>
                  <a:pt x="5765312" y="4133334"/>
                </a:cubicBezTo>
                <a:cubicBezTo>
                  <a:pt x="5764453" y="4142775"/>
                  <a:pt x="5747266" y="4145330"/>
                  <a:pt x="5736952" y="4153107"/>
                </a:cubicBezTo>
                <a:cubicBezTo>
                  <a:pt x="5734948" y="4156550"/>
                  <a:pt x="5737526" y="4159550"/>
                  <a:pt x="5734088" y="4163104"/>
                </a:cubicBezTo>
                <a:lnTo>
                  <a:pt x="5732082" y="4164660"/>
                </a:lnTo>
                <a:lnTo>
                  <a:pt x="5732369" y="4170324"/>
                </a:lnTo>
                <a:cubicBezTo>
                  <a:pt x="5729218" y="4171325"/>
                  <a:pt x="5723775" y="4167770"/>
                  <a:pt x="5720338" y="4166437"/>
                </a:cubicBezTo>
                <a:cubicBezTo>
                  <a:pt x="5721770" y="4165326"/>
                  <a:pt x="5723489" y="4164214"/>
                  <a:pt x="5721770" y="4164215"/>
                </a:cubicBezTo>
                <a:lnTo>
                  <a:pt x="5725780" y="4162771"/>
                </a:lnTo>
                <a:lnTo>
                  <a:pt x="5724062" y="4160216"/>
                </a:lnTo>
                <a:lnTo>
                  <a:pt x="5722343" y="4161549"/>
                </a:lnTo>
                <a:cubicBezTo>
                  <a:pt x="5717760" y="4163882"/>
                  <a:pt x="5713176" y="4165881"/>
                  <a:pt x="5708020" y="4167658"/>
                </a:cubicBezTo>
                <a:lnTo>
                  <a:pt x="5703150" y="4169102"/>
                </a:lnTo>
                <a:lnTo>
                  <a:pt x="5703723" y="4172213"/>
                </a:lnTo>
                <a:lnTo>
                  <a:pt x="5709452" y="4176767"/>
                </a:lnTo>
                <a:cubicBezTo>
                  <a:pt x="5710312" y="4178322"/>
                  <a:pt x="5710884" y="4179322"/>
                  <a:pt x="5711744" y="4179433"/>
                </a:cubicBezTo>
                <a:cubicBezTo>
                  <a:pt x="5710598" y="4181877"/>
                  <a:pt x="5708879" y="4182988"/>
                  <a:pt x="5706587" y="4183432"/>
                </a:cubicBezTo>
                <a:lnTo>
                  <a:pt x="5704582" y="4183654"/>
                </a:lnTo>
                <a:lnTo>
                  <a:pt x="5699713" y="4199872"/>
                </a:lnTo>
                <a:cubicBezTo>
                  <a:pt x="5691405" y="4212980"/>
                  <a:pt x="5677082" y="4224200"/>
                  <a:pt x="5665910" y="4231753"/>
                </a:cubicBezTo>
                <a:cubicBezTo>
                  <a:pt x="5651873" y="4226088"/>
                  <a:pt x="5637836" y="4227976"/>
                  <a:pt x="5629528" y="4224310"/>
                </a:cubicBezTo>
                <a:cubicBezTo>
                  <a:pt x="5634971" y="4220533"/>
                  <a:pt x="5665910" y="4205538"/>
                  <a:pt x="5637836" y="4196096"/>
                </a:cubicBezTo>
                <a:cubicBezTo>
                  <a:pt x="5634398" y="4196540"/>
                  <a:pt x="5631820" y="4197095"/>
                  <a:pt x="5630102" y="4197762"/>
                </a:cubicBezTo>
                <a:lnTo>
                  <a:pt x="5628956" y="4198317"/>
                </a:lnTo>
                <a:lnTo>
                  <a:pt x="5625804" y="4202761"/>
                </a:lnTo>
                <a:lnTo>
                  <a:pt x="5628956" y="4204205"/>
                </a:lnTo>
                <a:cubicBezTo>
                  <a:pt x="5630388" y="4205538"/>
                  <a:pt x="5631820" y="4208426"/>
                  <a:pt x="5632393" y="4211314"/>
                </a:cubicBezTo>
                <a:cubicBezTo>
                  <a:pt x="5632966" y="4214202"/>
                  <a:pt x="5632680" y="4217090"/>
                  <a:pt x="5630961" y="4218646"/>
                </a:cubicBezTo>
                <a:cubicBezTo>
                  <a:pt x="5627811" y="4217201"/>
                  <a:pt x="5624372" y="4215646"/>
                  <a:pt x="5621221" y="4214091"/>
                </a:cubicBezTo>
                <a:cubicBezTo>
                  <a:pt x="5622080" y="4214202"/>
                  <a:pt x="5622080" y="4211425"/>
                  <a:pt x="5621794" y="4208760"/>
                </a:cubicBezTo>
                <a:lnTo>
                  <a:pt x="5617784" y="4214313"/>
                </a:lnTo>
                <a:cubicBezTo>
                  <a:pt x="5616351" y="4215979"/>
                  <a:pt x="5614632" y="4217312"/>
                  <a:pt x="5612914" y="4218312"/>
                </a:cubicBezTo>
                <a:lnTo>
                  <a:pt x="5610622" y="4219090"/>
                </a:lnTo>
                <a:lnTo>
                  <a:pt x="5604033" y="4233642"/>
                </a:lnTo>
                <a:cubicBezTo>
                  <a:pt x="5615492" y="4239307"/>
                  <a:pt x="5623799" y="4224200"/>
                  <a:pt x="5634971" y="4231754"/>
                </a:cubicBezTo>
                <a:cubicBezTo>
                  <a:pt x="5623799" y="4250526"/>
                  <a:pt x="5626664" y="4254303"/>
                  <a:pt x="5598590" y="4265634"/>
                </a:cubicBezTo>
                <a:cubicBezTo>
                  <a:pt x="5584554" y="4265634"/>
                  <a:pt x="5592861" y="4254303"/>
                  <a:pt x="5584554" y="4248638"/>
                </a:cubicBezTo>
                <a:lnTo>
                  <a:pt x="5562782" y="4260080"/>
                </a:lnTo>
                <a:lnTo>
                  <a:pt x="5563928" y="4264412"/>
                </a:lnTo>
                <a:cubicBezTo>
                  <a:pt x="5563355" y="4266189"/>
                  <a:pt x="5561923" y="4268077"/>
                  <a:pt x="5558773" y="4269521"/>
                </a:cubicBezTo>
                <a:cubicBezTo>
                  <a:pt x="5557053" y="4269521"/>
                  <a:pt x="5555048" y="4268966"/>
                  <a:pt x="5553329" y="4268189"/>
                </a:cubicBezTo>
                <a:lnTo>
                  <a:pt x="5545881" y="4274298"/>
                </a:lnTo>
                <a:cubicBezTo>
                  <a:pt x="5535854" y="4284407"/>
                  <a:pt x="5528406" y="4295737"/>
                  <a:pt x="5519812" y="4307068"/>
                </a:cubicBezTo>
                <a:cubicBezTo>
                  <a:pt x="5523250" y="4306513"/>
                  <a:pt x="5526688" y="4306957"/>
                  <a:pt x="5529839" y="4307511"/>
                </a:cubicBezTo>
                <a:lnTo>
                  <a:pt x="5536714" y="4309178"/>
                </a:lnTo>
                <a:lnTo>
                  <a:pt x="5538719" y="4299625"/>
                </a:lnTo>
                <a:cubicBezTo>
                  <a:pt x="5538719" y="4295626"/>
                  <a:pt x="5538719" y="4291516"/>
                  <a:pt x="5539006" y="4287184"/>
                </a:cubicBezTo>
                <a:cubicBezTo>
                  <a:pt x="5540724" y="4286850"/>
                  <a:pt x="5542443" y="4286850"/>
                  <a:pt x="5544448" y="4287183"/>
                </a:cubicBezTo>
                <a:lnTo>
                  <a:pt x="5548746" y="4288628"/>
                </a:lnTo>
                <a:lnTo>
                  <a:pt x="5563642" y="4283185"/>
                </a:lnTo>
                <a:cubicBezTo>
                  <a:pt x="5569658" y="4282185"/>
                  <a:pt x="5575387" y="4282630"/>
                  <a:pt x="5580830" y="4284517"/>
                </a:cubicBezTo>
                <a:lnTo>
                  <a:pt x="5579111" y="4287405"/>
                </a:lnTo>
                <a:lnTo>
                  <a:pt x="5581402" y="4288405"/>
                </a:lnTo>
                <a:cubicBezTo>
                  <a:pt x="5584555" y="4291071"/>
                  <a:pt x="5584840" y="4295293"/>
                  <a:pt x="5579111" y="4300291"/>
                </a:cubicBezTo>
                <a:cubicBezTo>
                  <a:pt x="5575673" y="4301180"/>
                  <a:pt x="5571949" y="4301403"/>
                  <a:pt x="5569084" y="4300847"/>
                </a:cubicBezTo>
                <a:lnTo>
                  <a:pt x="5562782" y="4297959"/>
                </a:lnTo>
                <a:lnTo>
                  <a:pt x="5551324" y="4297182"/>
                </a:lnTo>
                <a:lnTo>
                  <a:pt x="5553329" y="4299292"/>
                </a:lnTo>
                <a:cubicBezTo>
                  <a:pt x="5556194" y="4301625"/>
                  <a:pt x="5559345" y="4303847"/>
                  <a:pt x="5555907" y="4307512"/>
                </a:cubicBezTo>
                <a:lnTo>
                  <a:pt x="5550464" y="4310178"/>
                </a:lnTo>
                <a:lnTo>
                  <a:pt x="5557339" y="4307734"/>
                </a:lnTo>
                <a:lnTo>
                  <a:pt x="5557626" y="4307512"/>
                </a:lnTo>
                <a:lnTo>
                  <a:pt x="5559058" y="4307067"/>
                </a:lnTo>
                <a:lnTo>
                  <a:pt x="5561064" y="4315399"/>
                </a:lnTo>
                <a:lnTo>
                  <a:pt x="5570230" y="4319398"/>
                </a:lnTo>
                <a:lnTo>
                  <a:pt x="5570803" y="4320064"/>
                </a:lnTo>
                <a:lnTo>
                  <a:pt x="5573382" y="4317065"/>
                </a:lnTo>
                <a:lnTo>
                  <a:pt x="5570230" y="4316843"/>
                </a:lnTo>
                <a:cubicBezTo>
                  <a:pt x="5567366" y="4315621"/>
                  <a:pt x="5565933" y="4313398"/>
                  <a:pt x="5567652" y="4309734"/>
                </a:cubicBezTo>
                <a:cubicBezTo>
                  <a:pt x="5569944" y="4308956"/>
                  <a:pt x="5573668" y="4308845"/>
                  <a:pt x="5577106" y="4309512"/>
                </a:cubicBezTo>
                <a:lnTo>
                  <a:pt x="5580543" y="4311178"/>
                </a:lnTo>
                <a:lnTo>
                  <a:pt x="5590569" y="4307511"/>
                </a:lnTo>
                <a:cubicBezTo>
                  <a:pt x="5595439" y="4306734"/>
                  <a:pt x="5601455" y="4306734"/>
                  <a:pt x="5608616" y="4307734"/>
                </a:cubicBezTo>
                <a:cubicBezTo>
                  <a:pt x="5618070" y="4309511"/>
                  <a:pt x="5625232" y="4313733"/>
                  <a:pt x="5632393" y="4318842"/>
                </a:cubicBezTo>
                <a:lnTo>
                  <a:pt x="5637550" y="4322398"/>
                </a:lnTo>
                <a:lnTo>
                  <a:pt x="5639841" y="4322841"/>
                </a:lnTo>
                <a:cubicBezTo>
                  <a:pt x="5642419" y="4323285"/>
                  <a:pt x="5644711" y="4323730"/>
                  <a:pt x="5646144" y="4324508"/>
                </a:cubicBezTo>
                <a:cubicBezTo>
                  <a:pt x="5647003" y="4325063"/>
                  <a:pt x="5647289" y="4325841"/>
                  <a:pt x="5647003" y="4326618"/>
                </a:cubicBezTo>
                <a:lnTo>
                  <a:pt x="5642706" y="4326174"/>
                </a:lnTo>
                <a:lnTo>
                  <a:pt x="5643852" y="4326951"/>
                </a:lnTo>
                <a:cubicBezTo>
                  <a:pt x="5648149" y="4329840"/>
                  <a:pt x="5652732" y="4332616"/>
                  <a:pt x="5657888" y="4335171"/>
                </a:cubicBezTo>
                <a:cubicBezTo>
                  <a:pt x="5648149" y="4335727"/>
                  <a:pt x="5642133" y="4339281"/>
                  <a:pt x="5636976" y="4343392"/>
                </a:cubicBezTo>
                <a:lnTo>
                  <a:pt x="5631534" y="4348057"/>
                </a:lnTo>
                <a:lnTo>
                  <a:pt x="5632680" y="4348835"/>
                </a:lnTo>
                <a:cubicBezTo>
                  <a:pt x="5633252" y="4349168"/>
                  <a:pt x="5633252" y="4349168"/>
                  <a:pt x="5633252" y="4348501"/>
                </a:cubicBezTo>
                <a:cubicBezTo>
                  <a:pt x="5636404" y="4351279"/>
                  <a:pt x="5641274" y="4354167"/>
                  <a:pt x="5639268" y="4356278"/>
                </a:cubicBezTo>
                <a:cubicBezTo>
                  <a:pt x="5634685" y="4359276"/>
                  <a:pt x="5628096" y="4357944"/>
                  <a:pt x="5622080" y="4355722"/>
                </a:cubicBezTo>
                <a:lnTo>
                  <a:pt x="5621221" y="4355389"/>
                </a:lnTo>
                <a:lnTo>
                  <a:pt x="5615205" y="4357499"/>
                </a:lnTo>
                <a:cubicBezTo>
                  <a:pt x="5612914" y="4358055"/>
                  <a:pt x="5610335" y="4358277"/>
                  <a:pt x="5607184" y="4358277"/>
                </a:cubicBezTo>
                <a:lnTo>
                  <a:pt x="5595153" y="4356278"/>
                </a:lnTo>
                <a:lnTo>
                  <a:pt x="5594580" y="4358832"/>
                </a:lnTo>
                <a:lnTo>
                  <a:pt x="5592861" y="4358388"/>
                </a:lnTo>
                <a:lnTo>
                  <a:pt x="5609762" y="4380715"/>
                </a:lnTo>
                <a:lnTo>
                  <a:pt x="5620362" y="4377828"/>
                </a:lnTo>
                <a:lnTo>
                  <a:pt x="5624086" y="4377161"/>
                </a:lnTo>
                <a:lnTo>
                  <a:pt x="5623226" y="4376162"/>
                </a:lnTo>
                <a:lnTo>
                  <a:pt x="5625804" y="4376494"/>
                </a:lnTo>
                <a:lnTo>
                  <a:pt x="5626092" y="4376383"/>
                </a:lnTo>
                <a:cubicBezTo>
                  <a:pt x="5626664" y="4377383"/>
                  <a:pt x="5628382" y="4376717"/>
                  <a:pt x="5627523" y="4375716"/>
                </a:cubicBezTo>
                <a:cubicBezTo>
                  <a:pt x="5630674" y="4375828"/>
                  <a:pt x="5632966" y="4375828"/>
                  <a:pt x="5634685" y="4376161"/>
                </a:cubicBezTo>
                <a:cubicBezTo>
                  <a:pt x="5636117" y="4376605"/>
                  <a:pt x="5636690" y="4377383"/>
                  <a:pt x="5635831" y="4378938"/>
                </a:cubicBezTo>
                <a:cubicBezTo>
                  <a:pt x="5635831" y="4381604"/>
                  <a:pt x="5632393" y="4381826"/>
                  <a:pt x="5630961" y="4385048"/>
                </a:cubicBezTo>
                <a:cubicBezTo>
                  <a:pt x="5629528" y="4391047"/>
                  <a:pt x="5645857" y="4392046"/>
                  <a:pt x="5643279" y="4403932"/>
                </a:cubicBezTo>
                <a:cubicBezTo>
                  <a:pt x="5640987" y="4403488"/>
                  <a:pt x="5638695" y="4405043"/>
                  <a:pt x="5636117" y="4406598"/>
                </a:cubicBezTo>
                <a:lnTo>
                  <a:pt x="5633252" y="4408153"/>
                </a:lnTo>
                <a:lnTo>
                  <a:pt x="5642706" y="4418928"/>
                </a:lnTo>
                <a:cubicBezTo>
                  <a:pt x="5661899" y="4439812"/>
                  <a:pt x="5679660" y="4459807"/>
                  <a:pt x="5691691" y="4480357"/>
                </a:cubicBezTo>
                <a:cubicBezTo>
                  <a:pt x="5664764" y="4475025"/>
                  <a:pt x="5643279" y="4463695"/>
                  <a:pt x="5624658" y="4449364"/>
                </a:cubicBezTo>
                <a:lnTo>
                  <a:pt x="5620648" y="4445922"/>
                </a:lnTo>
                <a:lnTo>
                  <a:pt x="5617784" y="4445144"/>
                </a:lnTo>
                <a:lnTo>
                  <a:pt x="5616638" y="4444588"/>
                </a:lnTo>
                <a:lnTo>
                  <a:pt x="5615492" y="4446810"/>
                </a:lnTo>
                <a:cubicBezTo>
                  <a:pt x="5614059" y="4448365"/>
                  <a:pt x="5612054" y="4449810"/>
                  <a:pt x="5609190" y="4451253"/>
                </a:cubicBezTo>
                <a:cubicBezTo>
                  <a:pt x="5601168" y="4450142"/>
                  <a:pt x="5599163" y="4447031"/>
                  <a:pt x="5594293" y="4444811"/>
                </a:cubicBezTo>
                <a:cubicBezTo>
                  <a:pt x="5595439" y="4440366"/>
                  <a:pt x="5598017" y="4437590"/>
                  <a:pt x="5600883" y="4436035"/>
                </a:cubicBezTo>
                <a:lnTo>
                  <a:pt x="5607758" y="4435035"/>
                </a:lnTo>
                <a:lnTo>
                  <a:pt x="5606898" y="4434147"/>
                </a:lnTo>
                <a:lnTo>
                  <a:pt x="5582835" y="4408598"/>
                </a:lnTo>
                <a:lnTo>
                  <a:pt x="5578824" y="4408931"/>
                </a:lnTo>
                <a:lnTo>
                  <a:pt x="5573095" y="4409375"/>
                </a:lnTo>
                <a:lnTo>
                  <a:pt x="5570803" y="4412929"/>
                </a:lnTo>
                <a:cubicBezTo>
                  <a:pt x="5567938" y="4414151"/>
                  <a:pt x="5563928" y="4412486"/>
                  <a:pt x="5563069" y="4410264"/>
                </a:cubicBezTo>
                <a:lnTo>
                  <a:pt x="5564214" y="4407376"/>
                </a:lnTo>
                <a:lnTo>
                  <a:pt x="5561064" y="4407598"/>
                </a:lnTo>
                <a:cubicBezTo>
                  <a:pt x="5561636" y="4405932"/>
                  <a:pt x="5563928" y="4401156"/>
                  <a:pt x="5563928" y="4401156"/>
                </a:cubicBezTo>
                <a:cubicBezTo>
                  <a:pt x="5563069" y="4400155"/>
                  <a:pt x="5563069" y="4400155"/>
                  <a:pt x="5563928" y="4398489"/>
                </a:cubicBezTo>
                <a:cubicBezTo>
                  <a:pt x="5566220" y="4398933"/>
                  <a:pt x="5566220" y="4398933"/>
                  <a:pt x="5566793" y="4399933"/>
                </a:cubicBezTo>
                <a:cubicBezTo>
                  <a:pt x="5566220" y="4401488"/>
                  <a:pt x="5564501" y="4402154"/>
                  <a:pt x="5563928" y="4403710"/>
                </a:cubicBezTo>
                <a:cubicBezTo>
                  <a:pt x="5568513" y="4404488"/>
                  <a:pt x="5567652" y="4403488"/>
                  <a:pt x="5566794" y="4405154"/>
                </a:cubicBezTo>
                <a:cubicBezTo>
                  <a:pt x="5566794" y="4405154"/>
                  <a:pt x="5567079" y="4405154"/>
                  <a:pt x="5566220" y="4406709"/>
                </a:cubicBezTo>
                <a:lnTo>
                  <a:pt x="5565933" y="4407042"/>
                </a:lnTo>
                <a:lnTo>
                  <a:pt x="5566221" y="4407153"/>
                </a:lnTo>
                <a:lnTo>
                  <a:pt x="5566220" y="4406709"/>
                </a:lnTo>
                <a:lnTo>
                  <a:pt x="5577392" y="4402821"/>
                </a:lnTo>
                <a:lnTo>
                  <a:pt x="5574814" y="4400155"/>
                </a:lnTo>
                <a:lnTo>
                  <a:pt x="5574814" y="4400044"/>
                </a:lnTo>
                <a:lnTo>
                  <a:pt x="5569658" y="4399822"/>
                </a:lnTo>
                <a:cubicBezTo>
                  <a:pt x="5566793" y="4399267"/>
                  <a:pt x="5563355" y="4397823"/>
                  <a:pt x="5561923" y="4394268"/>
                </a:cubicBezTo>
                <a:cubicBezTo>
                  <a:pt x="5562782" y="4394046"/>
                  <a:pt x="5563069" y="4392602"/>
                  <a:pt x="5563355" y="4390713"/>
                </a:cubicBezTo>
                <a:lnTo>
                  <a:pt x="5563928" y="4388158"/>
                </a:lnTo>
                <a:lnTo>
                  <a:pt x="5563355" y="4388714"/>
                </a:lnTo>
                <a:cubicBezTo>
                  <a:pt x="5561636" y="4390158"/>
                  <a:pt x="5559058" y="4390935"/>
                  <a:pt x="5555907" y="4391046"/>
                </a:cubicBezTo>
                <a:cubicBezTo>
                  <a:pt x="5553329" y="4388824"/>
                  <a:pt x="5552756" y="4386825"/>
                  <a:pt x="5553329" y="4385158"/>
                </a:cubicBezTo>
                <a:lnTo>
                  <a:pt x="5558485" y="4382160"/>
                </a:lnTo>
                <a:lnTo>
                  <a:pt x="5556766" y="4380271"/>
                </a:lnTo>
                <a:lnTo>
                  <a:pt x="5555334" y="4381715"/>
                </a:lnTo>
                <a:cubicBezTo>
                  <a:pt x="5551038" y="4385048"/>
                  <a:pt x="5545594" y="4386713"/>
                  <a:pt x="5541011" y="4381827"/>
                </a:cubicBezTo>
                <a:lnTo>
                  <a:pt x="5547313" y="4375717"/>
                </a:lnTo>
                <a:lnTo>
                  <a:pt x="5543589" y="4373718"/>
                </a:lnTo>
                <a:cubicBezTo>
                  <a:pt x="5541584" y="4370940"/>
                  <a:pt x="5540724" y="4367386"/>
                  <a:pt x="5541298" y="4363720"/>
                </a:cubicBezTo>
                <a:lnTo>
                  <a:pt x="5541870" y="4362387"/>
                </a:lnTo>
                <a:lnTo>
                  <a:pt x="5520958" y="4362831"/>
                </a:lnTo>
                <a:lnTo>
                  <a:pt x="5514943" y="4363276"/>
                </a:lnTo>
                <a:lnTo>
                  <a:pt x="5514083" y="4364498"/>
                </a:lnTo>
                <a:cubicBezTo>
                  <a:pt x="5512364" y="4365608"/>
                  <a:pt x="5510359" y="4366497"/>
                  <a:pt x="5509500" y="4368052"/>
                </a:cubicBezTo>
                <a:cubicBezTo>
                  <a:pt x="5508068" y="4367275"/>
                  <a:pt x="5506062" y="4366386"/>
                  <a:pt x="5504630" y="4364830"/>
                </a:cubicBezTo>
                <a:lnTo>
                  <a:pt x="5504344" y="4364053"/>
                </a:lnTo>
                <a:lnTo>
                  <a:pt x="5503484" y="4364164"/>
                </a:lnTo>
                <a:lnTo>
                  <a:pt x="5504058" y="4363609"/>
                </a:lnTo>
                <a:lnTo>
                  <a:pt x="5503198" y="4362165"/>
                </a:lnTo>
                <a:cubicBezTo>
                  <a:pt x="5503198" y="4361054"/>
                  <a:pt x="5503198" y="4359832"/>
                  <a:pt x="5503770" y="4358277"/>
                </a:cubicBezTo>
                <a:cubicBezTo>
                  <a:pt x="5504630" y="4356722"/>
                  <a:pt x="5504630" y="4356722"/>
                  <a:pt x="5506349" y="4356166"/>
                </a:cubicBezTo>
                <a:cubicBezTo>
                  <a:pt x="5507495" y="4355167"/>
                  <a:pt x="5508354" y="4354167"/>
                  <a:pt x="5509500" y="4353500"/>
                </a:cubicBezTo>
                <a:lnTo>
                  <a:pt x="5510359" y="4353278"/>
                </a:lnTo>
                <a:lnTo>
                  <a:pt x="5510932" y="4351500"/>
                </a:lnTo>
                <a:cubicBezTo>
                  <a:pt x="5511792" y="4347280"/>
                  <a:pt x="5511219" y="4342947"/>
                  <a:pt x="5510932" y="4338726"/>
                </a:cubicBezTo>
                <a:lnTo>
                  <a:pt x="5507495" y="4338615"/>
                </a:lnTo>
                <a:cubicBezTo>
                  <a:pt x="5504630" y="4337615"/>
                  <a:pt x="5502052" y="4336394"/>
                  <a:pt x="5498901" y="4336060"/>
                </a:cubicBezTo>
                <a:cubicBezTo>
                  <a:pt x="5500333" y="4330950"/>
                  <a:pt x="5504630" y="4328174"/>
                  <a:pt x="5509214" y="4327507"/>
                </a:cubicBezTo>
                <a:lnTo>
                  <a:pt x="5513223" y="4327840"/>
                </a:lnTo>
                <a:lnTo>
                  <a:pt x="5513224" y="4327285"/>
                </a:lnTo>
                <a:lnTo>
                  <a:pt x="5511219" y="4325619"/>
                </a:lnTo>
                <a:cubicBezTo>
                  <a:pt x="5508354" y="4322064"/>
                  <a:pt x="5507208" y="4318287"/>
                  <a:pt x="5508640" y="4314510"/>
                </a:cubicBezTo>
                <a:cubicBezTo>
                  <a:pt x="5488874" y="4314510"/>
                  <a:pt x="5494604" y="4327729"/>
                  <a:pt x="5480567" y="4333394"/>
                </a:cubicBezTo>
                <a:cubicBezTo>
                  <a:pt x="5463666" y="4333394"/>
                  <a:pt x="5466530" y="4322064"/>
                  <a:pt x="5449629" y="4320176"/>
                </a:cubicBezTo>
                <a:cubicBezTo>
                  <a:pt x="5443900" y="4327729"/>
                  <a:pt x="5455358" y="4323952"/>
                  <a:pt x="5460801" y="4329618"/>
                </a:cubicBezTo>
                <a:cubicBezTo>
                  <a:pt x="5455358" y="4342837"/>
                  <a:pt x="5443900" y="4355833"/>
                  <a:pt x="5429863" y="4369052"/>
                </a:cubicBezTo>
                <a:lnTo>
                  <a:pt x="5428144" y="4370829"/>
                </a:lnTo>
                <a:lnTo>
                  <a:pt x="5433587" y="4374717"/>
                </a:lnTo>
                <a:lnTo>
                  <a:pt x="5433873" y="4379161"/>
                </a:lnTo>
                <a:lnTo>
                  <a:pt x="5435019" y="4379272"/>
                </a:lnTo>
                <a:cubicBezTo>
                  <a:pt x="5435306" y="4379383"/>
                  <a:pt x="5435592" y="4379716"/>
                  <a:pt x="5436738" y="4379827"/>
                </a:cubicBezTo>
                <a:cubicBezTo>
                  <a:pt x="5439030" y="4380271"/>
                  <a:pt x="5447910" y="4379161"/>
                  <a:pt x="5448770" y="4377494"/>
                </a:cubicBezTo>
                <a:cubicBezTo>
                  <a:pt x="5449342" y="4378493"/>
                  <a:pt x="5451634" y="4378938"/>
                  <a:pt x="5451634" y="4378938"/>
                </a:cubicBezTo>
                <a:cubicBezTo>
                  <a:pt x="5450775" y="4380493"/>
                  <a:pt x="5449342" y="4381049"/>
                  <a:pt x="5447910" y="4381716"/>
                </a:cubicBezTo>
                <a:cubicBezTo>
                  <a:pt x="5445618" y="4381271"/>
                  <a:pt x="5444759" y="4380272"/>
                  <a:pt x="5442754" y="4379938"/>
                </a:cubicBezTo>
                <a:cubicBezTo>
                  <a:pt x="5441035" y="4380604"/>
                  <a:pt x="5438170" y="4381827"/>
                  <a:pt x="5435878" y="4381382"/>
                </a:cubicBezTo>
                <a:lnTo>
                  <a:pt x="5434160" y="4380938"/>
                </a:lnTo>
                <a:lnTo>
                  <a:pt x="5434160" y="4382049"/>
                </a:lnTo>
                <a:lnTo>
                  <a:pt x="5418404" y="4381049"/>
                </a:lnTo>
                <a:lnTo>
                  <a:pt x="5412675" y="4386936"/>
                </a:lnTo>
                <a:lnTo>
                  <a:pt x="5408951" y="4391158"/>
                </a:lnTo>
                <a:lnTo>
                  <a:pt x="5427858" y="4386159"/>
                </a:lnTo>
                <a:cubicBezTo>
                  <a:pt x="5434733" y="4384158"/>
                  <a:pt x="5441608" y="4382493"/>
                  <a:pt x="5447051" y="4383048"/>
                </a:cubicBezTo>
                <a:cubicBezTo>
                  <a:pt x="5450488" y="4383271"/>
                  <a:pt x="5453353" y="4384271"/>
                  <a:pt x="5455644" y="4386492"/>
                </a:cubicBezTo>
                <a:lnTo>
                  <a:pt x="5459942" y="4396378"/>
                </a:lnTo>
                <a:lnTo>
                  <a:pt x="5466530" y="4393046"/>
                </a:lnTo>
                <a:cubicBezTo>
                  <a:pt x="5471973" y="4394268"/>
                  <a:pt x="5475697" y="4398378"/>
                  <a:pt x="5477415" y="4403155"/>
                </a:cubicBezTo>
                <a:cubicBezTo>
                  <a:pt x="5478848" y="4407819"/>
                  <a:pt x="5478562" y="4413041"/>
                  <a:pt x="5475984" y="4416262"/>
                </a:cubicBezTo>
                <a:cubicBezTo>
                  <a:pt x="5468822" y="4418817"/>
                  <a:pt x="5463379" y="4418928"/>
                  <a:pt x="5459368" y="4417707"/>
                </a:cubicBezTo>
                <a:cubicBezTo>
                  <a:pt x="5450202" y="4414930"/>
                  <a:pt x="5449056" y="4404710"/>
                  <a:pt x="5456218" y="4398044"/>
                </a:cubicBezTo>
                <a:lnTo>
                  <a:pt x="5459082" y="4396823"/>
                </a:lnTo>
                <a:lnTo>
                  <a:pt x="5445905" y="4395045"/>
                </a:lnTo>
                <a:cubicBezTo>
                  <a:pt x="5435019" y="4394823"/>
                  <a:pt x="5424134" y="4396600"/>
                  <a:pt x="5415826" y="4394712"/>
                </a:cubicBezTo>
                <a:lnTo>
                  <a:pt x="5408664" y="4391713"/>
                </a:lnTo>
                <a:lnTo>
                  <a:pt x="5401789" y="4399155"/>
                </a:lnTo>
                <a:cubicBezTo>
                  <a:pt x="5412962" y="4393491"/>
                  <a:pt x="5418691" y="4397267"/>
                  <a:pt x="5427284" y="4401044"/>
                </a:cubicBezTo>
                <a:lnTo>
                  <a:pt x="5422988" y="4402711"/>
                </a:lnTo>
                <a:lnTo>
                  <a:pt x="5422988" y="4402822"/>
                </a:lnTo>
                <a:cubicBezTo>
                  <a:pt x="5425280" y="4403377"/>
                  <a:pt x="5427571" y="4404154"/>
                  <a:pt x="5428717" y="4405043"/>
                </a:cubicBezTo>
                <a:cubicBezTo>
                  <a:pt x="5429576" y="4405709"/>
                  <a:pt x="5429863" y="4406376"/>
                  <a:pt x="5429290" y="4407153"/>
                </a:cubicBezTo>
                <a:cubicBezTo>
                  <a:pt x="5427284" y="4406598"/>
                  <a:pt x="5424134" y="4406264"/>
                  <a:pt x="5421555" y="4405598"/>
                </a:cubicBezTo>
                <a:lnTo>
                  <a:pt x="5418977" y="4403265"/>
                </a:lnTo>
                <a:lnTo>
                  <a:pt x="5418404" y="4403377"/>
                </a:lnTo>
                <a:cubicBezTo>
                  <a:pt x="5415253" y="4403821"/>
                  <a:pt x="5411816" y="4404821"/>
                  <a:pt x="5407518" y="4408597"/>
                </a:cubicBezTo>
                <a:lnTo>
                  <a:pt x="5407518" y="4412005"/>
                </a:lnTo>
                <a:lnTo>
                  <a:pt x="5404654" y="4410485"/>
                </a:lnTo>
                <a:cubicBezTo>
                  <a:pt x="5407518" y="4412374"/>
                  <a:pt x="5407518" y="4412263"/>
                  <a:pt x="5407518" y="4412263"/>
                </a:cubicBezTo>
                <a:lnTo>
                  <a:pt x="5407518" y="4412005"/>
                </a:lnTo>
                <a:lnTo>
                  <a:pt x="5418691" y="4417928"/>
                </a:lnTo>
                <a:lnTo>
                  <a:pt x="5427858" y="4417262"/>
                </a:lnTo>
                <a:lnTo>
                  <a:pt x="5428430" y="4416262"/>
                </a:lnTo>
                <a:lnTo>
                  <a:pt x="5429004" y="4417151"/>
                </a:lnTo>
                <a:lnTo>
                  <a:pt x="5431009" y="4417039"/>
                </a:lnTo>
                <a:cubicBezTo>
                  <a:pt x="5434733" y="4415596"/>
                  <a:pt x="5438457" y="4413263"/>
                  <a:pt x="5441321" y="4410486"/>
                </a:cubicBezTo>
                <a:cubicBezTo>
                  <a:pt x="5441321" y="4408598"/>
                  <a:pt x="5443900" y="4408598"/>
                  <a:pt x="5446764" y="4410486"/>
                </a:cubicBezTo>
                <a:cubicBezTo>
                  <a:pt x="5449629" y="4410486"/>
                  <a:pt x="5449629" y="4412374"/>
                  <a:pt x="5449629" y="4414263"/>
                </a:cubicBezTo>
                <a:cubicBezTo>
                  <a:pt x="5445332" y="4417928"/>
                  <a:pt x="5440462" y="4420817"/>
                  <a:pt x="5434733" y="4422706"/>
                </a:cubicBezTo>
                <a:lnTo>
                  <a:pt x="5430149" y="4423372"/>
                </a:lnTo>
                <a:lnTo>
                  <a:pt x="5429004" y="4426593"/>
                </a:lnTo>
                <a:lnTo>
                  <a:pt x="5426998" y="4423816"/>
                </a:lnTo>
                <a:lnTo>
                  <a:pt x="5415826" y="4425482"/>
                </a:lnTo>
                <a:cubicBezTo>
                  <a:pt x="5407518" y="4423593"/>
                  <a:pt x="5398926" y="4419817"/>
                  <a:pt x="5396060" y="4414263"/>
                </a:cubicBezTo>
                <a:cubicBezTo>
                  <a:pt x="5396060" y="4414263"/>
                  <a:pt x="5396060" y="4414263"/>
                  <a:pt x="5390618" y="4410486"/>
                </a:cubicBezTo>
                <a:cubicBezTo>
                  <a:pt x="5376580" y="4412375"/>
                  <a:pt x="5362544" y="4419817"/>
                  <a:pt x="5345642" y="4427370"/>
                </a:cubicBezTo>
                <a:lnTo>
                  <a:pt x="5328168" y="4433369"/>
                </a:lnTo>
                <a:lnTo>
                  <a:pt x="5328454" y="4434480"/>
                </a:lnTo>
                <a:lnTo>
                  <a:pt x="5329886" y="4437368"/>
                </a:lnTo>
                <a:lnTo>
                  <a:pt x="5332752" y="4439035"/>
                </a:lnTo>
                <a:lnTo>
                  <a:pt x="5342491" y="4442811"/>
                </a:lnTo>
                <a:lnTo>
                  <a:pt x="5343637" y="4442256"/>
                </a:lnTo>
                <a:lnTo>
                  <a:pt x="5343637" y="4441922"/>
                </a:lnTo>
                <a:lnTo>
                  <a:pt x="5343350" y="4441811"/>
                </a:lnTo>
                <a:lnTo>
                  <a:pt x="5343637" y="4441033"/>
                </a:lnTo>
                <a:lnTo>
                  <a:pt x="5343637" y="4439923"/>
                </a:lnTo>
                <a:lnTo>
                  <a:pt x="5343924" y="4439812"/>
                </a:lnTo>
                <a:lnTo>
                  <a:pt x="5344210" y="4438479"/>
                </a:lnTo>
                <a:cubicBezTo>
                  <a:pt x="5345356" y="4437368"/>
                  <a:pt x="5346788" y="4436257"/>
                  <a:pt x="5347934" y="4435257"/>
                </a:cubicBezTo>
                <a:cubicBezTo>
                  <a:pt x="5345929" y="4433036"/>
                  <a:pt x="5354523" y="4432369"/>
                  <a:pt x="5352804" y="4430148"/>
                </a:cubicBezTo>
                <a:cubicBezTo>
                  <a:pt x="5362257" y="4428482"/>
                  <a:pt x="5360252" y="4420372"/>
                  <a:pt x="5374002" y="4416262"/>
                </a:cubicBezTo>
                <a:lnTo>
                  <a:pt x="5368846" y="4423593"/>
                </a:lnTo>
                <a:lnTo>
                  <a:pt x="5371424" y="4426038"/>
                </a:lnTo>
                <a:cubicBezTo>
                  <a:pt x="5371710" y="4427593"/>
                  <a:pt x="5370565" y="4429259"/>
                  <a:pt x="5368846" y="4431481"/>
                </a:cubicBezTo>
                <a:cubicBezTo>
                  <a:pt x="5366841" y="4430258"/>
                  <a:pt x="5365695" y="4429037"/>
                  <a:pt x="5365695" y="4427482"/>
                </a:cubicBezTo>
                <a:lnTo>
                  <a:pt x="5365695" y="4426816"/>
                </a:lnTo>
                <a:lnTo>
                  <a:pt x="5359392" y="4432592"/>
                </a:lnTo>
                <a:cubicBezTo>
                  <a:pt x="5356528" y="4435147"/>
                  <a:pt x="5353950" y="4437479"/>
                  <a:pt x="5352804" y="4440256"/>
                </a:cubicBezTo>
                <a:cubicBezTo>
                  <a:pt x="5352804" y="4440256"/>
                  <a:pt x="5352804" y="4440256"/>
                  <a:pt x="5348221" y="4441033"/>
                </a:cubicBezTo>
                <a:cubicBezTo>
                  <a:pt x="5347074" y="4442144"/>
                  <a:pt x="5347074" y="4442144"/>
                  <a:pt x="5347074" y="4442144"/>
                </a:cubicBezTo>
                <a:cubicBezTo>
                  <a:pt x="5346788" y="4442590"/>
                  <a:pt x="5345929" y="4442589"/>
                  <a:pt x="5345069" y="4442367"/>
                </a:cubicBezTo>
                <a:lnTo>
                  <a:pt x="5344783" y="4442367"/>
                </a:lnTo>
                <a:lnTo>
                  <a:pt x="5344496" y="4442700"/>
                </a:lnTo>
                <a:lnTo>
                  <a:pt x="5343637" y="4443256"/>
                </a:lnTo>
                <a:lnTo>
                  <a:pt x="5352231" y="4446587"/>
                </a:lnTo>
                <a:lnTo>
                  <a:pt x="5352231" y="4447032"/>
                </a:lnTo>
                <a:lnTo>
                  <a:pt x="5356242" y="4442590"/>
                </a:lnTo>
                <a:cubicBezTo>
                  <a:pt x="5360538" y="4438812"/>
                  <a:pt x="5364836" y="4435924"/>
                  <a:pt x="5368846" y="4434591"/>
                </a:cubicBezTo>
                <a:cubicBezTo>
                  <a:pt x="5371138" y="4433814"/>
                  <a:pt x="5373143" y="4433480"/>
                  <a:pt x="5375148" y="4433480"/>
                </a:cubicBezTo>
                <a:cubicBezTo>
                  <a:pt x="5377153" y="4433591"/>
                  <a:pt x="5379444" y="4434036"/>
                  <a:pt x="5381450" y="4434925"/>
                </a:cubicBezTo>
                <a:cubicBezTo>
                  <a:pt x="5378872" y="4438701"/>
                  <a:pt x="5378586" y="4442590"/>
                  <a:pt x="5380878" y="4446366"/>
                </a:cubicBezTo>
                <a:lnTo>
                  <a:pt x="5382023" y="4447588"/>
                </a:lnTo>
                <a:lnTo>
                  <a:pt x="5387752" y="4447143"/>
                </a:lnTo>
                <a:cubicBezTo>
                  <a:pt x="5392336" y="4446699"/>
                  <a:pt x="5397492" y="4446366"/>
                  <a:pt x="5402076" y="4446366"/>
                </a:cubicBezTo>
                <a:cubicBezTo>
                  <a:pt x="5411816" y="4446588"/>
                  <a:pt x="5420123" y="4448476"/>
                  <a:pt x="5421842" y="4455252"/>
                </a:cubicBezTo>
                <a:cubicBezTo>
                  <a:pt x="5419264" y="4455140"/>
                  <a:pt x="5414967" y="4455252"/>
                  <a:pt x="5410383" y="4455363"/>
                </a:cubicBezTo>
                <a:lnTo>
                  <a:pt x="5404940" y="4455364"/>
                </a:lnTo>
                <a:lnTo>
                  <a:pt x="5410097" y="4456030"/>
                </a:lnTo>
                <a:cubicBezTo>
                  <a:pt x="5411529" y="4456475"/>
                  <a:pt x="5411816" y="4457252"/>
                  <a:pt x="5410956" y="4458919"/>
                </a:cubicBezTo>
                <a:cubicBezTo>
                  <a:pt x="5410670" y="4461585"/>
                  <a:pt x="5406945" y="4461585"/>
                  <a:pt x="5404940" y="4464695"/>
                </a:cubicBezTo>
                <a:cubicBezTo>
                  <a:pt x="5403794" y="4467582"/>
                  <a:pt x="5407232" y="4469693"/>
                  <a:pt x="5410670" y="4472360"/>
                </a:cubicBezTo>
                <a:lnTo>
                  <a:pt x="5411242" y="4472915"/>
                </a:lnTo>
                <a:lnTo>
                  <a:pt x="5411242" y="4473026"/>
                </a:lnTo>
                <a:cubicBezTo>
                  <a:pt x="5412675" y="4473803"/>
                  <a:pt x="5413248" y="4474803"/>
                  <a:pt x="5413821" y="4476025"/>
                </a:cubicBezTo>
                <a:lnTo>
                  <a:pt x="5413821" y="4476247"/>
                </a:lnTo>
                <a:lnTo>
                  <a:pt x="5414680" y="4477247"/>
                </a:lnTo>
                <a:cubicBezTo>
                  <a:pt x="5415540" y="4479246"/>
                  <a:pt x="5415540" y="4481469"/>
                  <a:pt x="5414394" y="4484467"/>
                </a:cubicBezTo>
                <a:cubicBezTo>
                  <a:pt x="5410097" y="4483356"/>
                  <a:pt x="5404940" y="4490243"/>
                  <a:pt x="5398352" y="4488577"/>
                </a:cubicBezTo>
                <a:lnTo>
                  <a:pt x="5393482" y="4487466"/>
                </a:lnTo>
                <a:lnTo>
                  <a:pt x="5394628" y="4490021"/>
                </a:lnTo>
                <a:cubicBezTo>
                  <a:pt x="5381164" y="4492465"/>
                  <a:pt x="5364549" y="4492132"/>
                  <a:pt x="5360825" y="4491910"/>
                </a:cubicBezTo>
                <a:cubicBezTo>
                  <a:pt x="5359106" y="4491799"/>
                  <a:pt x="5357961" y="4491466"/>
                  <a:pt x="5357387" y="4490910"/>
                </a:cubicBezTo>
                <a:cubicBezTo>
                  <a:pt x="5356814" y="4490243"/>
                  <a:pt x="5356814" y="4489355"/>
                  <a:pt x="5357101" y="4488022"/>
                </a:cubicBezTo>
                <a:cubicBezTo>
                  <a:pt x="5362257" y="4482912"/>
                  <a:pt x="5370278" y="4484467"/>
                  <a:pt x="5378872" y="4483246"/>
                </a:cubicBezTo>
                <a:cubicBezTo>
                  <a:pt x="5379445" y="4484356"/>
                  <a:pt x="5381450" y="4485023"/>
                  <a:pt x="5383169" y="4484578"/>
                </a:cubicBezTo>
                <a:lnTo>
                  <a:pt x="5385461" y="4485245"/>
                </a:lnTo>
                <a:lnTo>
                  <a:pt x="5380878" y="4482468"/>
                </a:lnTo>
                <a:cubicBezTo>
                  <a:pt x="5378586" y="4479802"/>
                  <a:pt x="5379158" y="4476469"/>
                  <a:pt x="5379158" y="4471915"/>
                </a:cubicBezTo>
                <a:cubicBezTo>
                  <a:pt x="5379732" y="4473026"/>
                  <a:pt x="5380879" y="4471471"/>
                  <a:pt x="5380879" y="4471471"/>
                </a:cubicBezTo>
                <a:cubicBezTo>
                  <a:pt x="5381737" y="4469804"/>
                  <a:pt x="5379732" y="4469582"/>
                  <a:pt x="5377440" y="4469138"/>
                </a:cubicBezTo>
                <a:lnTo>
                  <a:pt x="5375721" y="4468693"/>
                </a:lnTo>
                <a:lnTo>
                  <a:pt x="5373143" y="4470915"/>
                </a:lnTo>
                <a:cubicBezTo>
                  <a:pt x="5367414" y="4469027"/>
                  <a:pt x="5361971" y="4467583"/>
                  <a:pt x="5356242" y="4466916"/>
                </a:cubicBezTo>
                <a:lnTo>
                  <a:pt x="5342205" y="4467027"/>
                </a:lnTo>
                <a:lnTo>
                  <a:pt x="5340200" y="4469916"/>
                </a:lnTo>
                <a:cubicBezTo>
                  <a:pt x="5339340" y="4471471"/>
                  <a:pt x="5339913" y="4472581"/>
                  <a:pt x="5339913" y="4472581"/>
                </a:cubicBezTo>
                <a:cubicBezTo>
                  <a:pt x="5338481" y="4472580"/>
                  <a:pt x="5338194" y="4470249"/>
                  <a:pt x="5338767" y="4467250"/>
                </a:cubicBezTo>
                <a:lnTo>
                  <a:pt x="5338194" y="4467361"/>
                </a:lnTo>
                <a:cubicBezTo>
                  <a:pt x="5337621" y="4467583"/>
                  <a:pt x="5336762" y="4468026"/>
                  <a:pt x="5336762" y="4469026"/>
                </a:cubicBezTo>
                <a:cubicBezTo>
                  <a:pt x="5338194" y="4472804"/>
                  <a:pt x="5333897" y="4474692"/>
                  <a:pt x="5328741" y="4474692"/>
                </a:cubicBezTo>
                <a:lnTo>
                  <a:pt x="5327308" y="4474358"/>
                </a:lnTo>
                <a:lnTo>
                  <a:pt x="5324731" y="4475025"/>
                </a:lnTo>
                <a:lnTo>
                  <a:pt x="5323871" y="4475136"/>
                </a:lnTo>
                <a:lnTo>
                  <a:pt x="5326736" y="4477469"/>
                </a:lnTo>
                <a:cubicBezTo>
                  <a:pt x="5330460" y="4481023"/>
                  <a:pt x="5332465" y="4484801"/>
                  <a:pt x="5331606" y="4488577"/>
                </a:cubicBezTo>
                <a:lnTo>
                  <a:pt x="5329887" y="4491466"/>
                </a:lnTo>
                <a:lnTo>
                  <a:pt x="5331606" y="4493798"/>
                </a:lnTo>
                <a:cubicBezTo>
                  <a:pt x="5334184" y="4498797"/>
                  <a:pt x="5335616" y="4504351"/>
                  <a:pt x="5333897" y="4511238"/>
                </a:cubicBezTo>
                <a:cubicBezTo>
                  <a:pt x="5324444" y="4509350"/>
                  <a:pt x="5320434" y="4503796"/>
                  <a:pt x="5319001" y="4497464"/>
                </a:cubicBezTo>
                <a:lnTo>
                  <a:pt x="5319001" y="4493465"/>
                </a:lnTo>
                <a:lnTo>
                  <a:pt x="5313558" y="4491132"/>
                </a:lnTo>
                <a:cubicBezTo>
                  <a:pt x="5305824" y="4484690"/>
                  <a:pt x="5304392" y="4472692"/>
                  <a:pt x="5313558" y="4471471"/>
                </a:cubicBezTo>
                <a:lnTo>
                  <a:pt x="5318715" y="4471915"/>
                </a:lnTo>
                <a:lnTo>
                  <a:pt x="5314419" y="4469027"/>
                </a:lnTo>
                <a:cubicBezTo>
                  <a:pt x="5319860" y="4467139"/>
                  <a:pt x="5325590" y="4463362"/>
                  <a:pt x="5328168" y="4465249"/>
                </a:cubicBezTo>
                <a:cubicBezTo>
                  <a:pt x="5331032" y="4465250"/>
                  <a:pt x="5333897" y="4463362"/>
                  <a:pt x="5333897" y="4463362"/>
                </a:cubicBezTo>
                <a:cubicBezTo>
                  <a:pt x="5333897" y="4463362"/>
                  <a:pt x="5333897" y="4463362"/>
                  <a:pt x="5336762" y="4461473"/>
                </a:cubicBezTo>
                <a:cubicBezTo>
                  <a:pt x="5336762" y="4461473"/>
                  <a:pt x="5339625" y="4461473"/>
                  <a:pt x="5339625" y="4461473"/>
                </a:cubicBezTo>
                <a:lnTo>
                  <a:pt x="5340772" y="4460030"/>
                </a:lnTo>
                <a:lnTo>
                  <a:pt x="5341632" y="4457252"/>
                </a:lnTo>
                <a:lnTo>
                  <a:pt x="5342778" y="4453142"/>
                </a:lnTo>
                <a:lnTo>
                  <a:pt x="5340772" y="4452809"/>
                </a:lnTo>
                <a:lnTo>
                  <a:pt x="5337621" y="4451587"/>
                </a:lnTo>
                <a:lnTo>
                  <a:pt x="5333897" y="4452031"/>
                </a:lnTo>
                <a:lnTo>
                  <a:pt x="5333611" y="4452698"/>
                </a:lnTo>
                <a:cubicBezTo>
                  <a:pt x="5332465" y="4454364"/>
                  <a:pt x="5332178" y="4456030"/>
                  <a:pt x="5333038" y="4456697"/>
                </a:cubicBezTo>
                <a:cubicBezTo>
                  <a:pt x="5331319" y="4456586"/>
                  <a:pt x="5329600" y="4457585"/>
                  <a:pt x="5329600" y="4457585"/>
                </a:cubicBezTo>
                <a:cubicBezTo>
                  <a:pt x="5327882" y="4456252"/>
                  <a:pt x="5327882" y="4455141"/>
                  <a:pt x="5327882" y="4454031"/>
                </a:cubicBezTo>
                <a:lnTo>
                  <a:pt x="5332465" y="4452253"/>
                </a:lnTo>
                <a:lnTo>
                  <a:pt x="5319001" y="4453920"/>
                </a:lnTo>
                <a:lnTo>
                  <a:pt x="5313845" y="4453253"/>
                </a:lnTo>
                <a:lnTo>
                  <a:pt x="5314131" y="4454586"/>
                </a:lnTo>
                <a:cubicBezTo>
                  <a:pt x="5310407" y="4454031"/>
                  <a:pt x="5309548" y="4455474"/>
                  <a:pt x="5304678" y="4452808"/>
                </a:cubicBezTo>
                <a:lnTo>
                  <a:pt x="5304964" y="4452365"/>
                </a:lnTo>
                <a:lnTo>
                  <a:pt x="5297516" y="4451476"/>
                </a:lnTo>
                <a:lnTo>
                  <a:pt x="5297803" y="4455586"/>
                </a:lnTo>
                <a:cubicBezTo>
                  <a:pt x="5289495" y="4459362"/>
                  <a:pt x="5280901" y="4463139"/>
                  <a:pt x="5272594" y="4466916"/>
                </a:cubicBezTo>
                <a:cubicBezTo>
                  <a:pt x="5271162" y="4469694"/>
                  <a:pt x="5267724" y="4472471"/>
                  <a:pt x="5263140" y="4475136"/>
                </a:cubicBezTo>
                <a:lnTo>
                  <a:pt x="5249391" y="4480912"/>
                </a:lnTo>
                <a:lnTo>
                  <a:pt x="5244234" y="4492576"/>
                </a:lnTo>
                <a:lnTo>
                  <a:pt x="5243948" y="4493909"/>
                </a:lnTo>
                <a:lnTo>
                  <a:pt x="5245953" y="4493576"/>
                </a:lnTo>
                <a:lnTo>
                  <a:pt x="5249390" y="4493575"/>
                </a:lnTo>
                <a:lnTo>
                  <a:pt x="5251682" y="4489910"/>
                </a:lnTo>
                <a:cubicBezTo>
                  <a:pt x="5251682" y="4489910"/>
                  <a:pt x="5251682" y="4489910"/>
                  <a:pt x="5253401" y="4491243"/>
                </a:cubicBezTo>
                <a:lnTo>
                  <a:pt x="5252541" y="4493576"/>
                </a:lnTo>
                <a:lnTo>
                  <a:pt x="5258844" y="4493687"/>
                </a:lnTo>
                <a:lnTo>
                  <a:pt x="5271162" y="4496575"/>
                </a:lnTo>
                <a:lnTo>
                  <a:pt x="5280901" y="4495798"/>
                </a:lnTo>
                <a:lnTo>
                  <a:pt x="5288922" y="4497019"/>
                </a:lnTo>
                <a:lnTo>
                  <a:pt x="5286630" y="4491687"/>
                </a:lnTo>
                <a:lnTo>
                  <a:pt x="5286058" y="4490577"/>
                </a:lnTo>
                <a:lnTo>
                  <a:pt x="5281761" y="4490577"/>
                </a:lnTo>
                <a:cubicBezTo>
                  <a:pt x="5281761" y="4490577"/>
                  <a:pt x="5272880" y="4488355"/>
                  <a:pt x="5274313" y="4484134"/>
                </a:cubicBezTo>
                <a:cubicBezTo>
                  <a:pt x="5274026" y="4483690"/>
                  <a:pt x="5275458" y="4482912"/>
                  <a:pt x="5277177" y="4482357"/>
                </a:cubicBezTo>
                <a:lnTo>
                  <a:pt x="5282047" y="4481690"/>
                </a:lnTo>
                <a:lnTo>
                  <a:pt x="5280042" y="4476690"/>
                </a:lnTo>
                <a:lnTo>
                  <a:pt x="5276318" y="4474137"/>
                </a:lnTo>
                <a:lnTo>
                  <a:pt x="5276032" y="4473359"/>
                </a:lnTo>
                <a:lnTo>
                  <a:pt x="5274314" y="4472803"/>
                </a:lnTo>
                <a:cubicBezTo>
                  <a:pt x="5274314" y="4472803"/>
                  <a:pt x="5274314" y="4472803"/>
                  <a:pt x="5274313" y="4471803"/>
                </a:cubicBezTo>
                <a:lnTo>
                  <a:pt x="5275745" y="4472360"/>
                </a:lnTo>
                <a:lnTo>
                  <a:pt x="5275458" y="4471137"/>
                </a:lnTo>
                <a:lnTo>
                  <a:pt x="5274026" y="4471470"/>
                </a:lnTo>
                <a:cubicBezTo>
                  <a:pt x="5274026" y="4471470"/>
                  <a:pt x="5273740" y="4470582"/>
                  <a:pt x="5274599" y="4469138"/>
                </a:cubicBezTo>
                <a:cubicBezTo>
                  <a:pt x="5274599" y="4469138"/>
                  <a:pt x="5274886" y="4469248"/>
                  <a:pt x="5275172" y="4469582"/>
                </a:cubicBezTo>
                <a:lnTo>
                  <a:pt x="5275459" y="4470582"/>
                </a:lnTo>
                <a:lnTo>
                  <a:pt x="5278896" y="4467026"/>
                </a:lnTo>
                <a:cubicBezTo>
                  <a:pt x="5280901" y="4466027"/>
                  <a:pt x="5283479" y="4465584"/>
                  <a:pt x="5286344" y="4465695"/>
                </a:cubicBezTo>
                <a:cubicBezTo>
                  <a:pt x="5289782" y="4465805"/>
                  <a:pt x="5293219" y="4466805"/>
                  <a:pt x="5296370" y="4469027"/>
                </a:cubicBezTo>
                <a:cubicBezTo>
                  <a:pt x="5296657" y="4471582"/>
                  <a:pt x="5292074" y="4476025"/>
                  <a:pt x="5287490" y="4478025"/>
                </a:cubicBezTo>
                <a:lnTo>
                  <a:pt x="5286917" y="4478247"/>
                </a:lnTo>
                <a:lnTo>
                  <a:pt x="5287204" y="4478358"/>
                </a:lnTo>
                <a:cubicBezTo>
                  <a:pt x="5288922" y="4480246"/>
                  <a:pt x="5290641" y="4482912"/>
                  <a:pt x="5291787" y="4485133"/>
                </a:cubicBezTo>
                <a:lnTo>
                  <a:pt x="5292074" y="4486133"/>
                </a:lnTo>
                <a:lnTo>
                  <a:pt x="5295511" y="4487245"/>
                </a:lnTo>
                <a:cubicBezTo>
                  <a:pt x="5296943" y="4488022"/>
                  <a:pt x="5297516" y="4489022"/>
                  <a:pt x="5296657" y="4490577"/>
                </a:cubicBezTo>
                <a:lnTo>
                  <a:pt x="5293219" y="4490577"/>
                </a:lnTo>
                <a:lnTo>
                  <a:pt x="5293219" y="4490799"/>
                </a:lnTo>
                <a:cubicBezTo>
                  <a:pt x="5292933" y="4491244"/>
                  <a:pt x="5292933" y="4491576"/>
                  <a:pt x="5293506" y="4492132"/>
                </a:cubicBezTo>
                <a:cubicBezTo>
                  <a:pt x="5293506" y="4492132"/>
                  <a:pt x="5294365" y="4493132"/>
                  <a:pt x="5294079" y="4494799"/>
                </a:cubicBezTo>
                <a:cubicBezTo>
                  <a:pt x="5293792" y="4496464"/>
                  <a:pt x="5293220" y="4498131"/>
                  <a:pt x="5289495" y="4498241"/>
                </a:cubicBezTo>
                <a:lnTo>
                  <a:pt x="5289495" y="4497908"/>
                </a:lnTo>
                <a:lnTo>
                  <a:pt x="5286630" y="4501574"/>
                </a:lnTo>
                <a:cubicBezTo>
                  <a:pt x="5283766" y="4503573"/>
                  <a:pt x="5280042" y="4505574"/>
                  <a:pt x="5275458" y="4507128"/>
                </a:cubicBezTo>
                <a:lnTo>
                  <a:pt x="5264859" y="4509683"/>
                </a:lnTo>
                <a:lnTo>
                  <a:pt x="5266578" y="4517570"/>
                </a:lnTo>
                <a:lnTo>
                  <a:pt x="5265146" y="4520125"/>
                </a:lnTo>
                <a:lnTo>
                  <a:pt x="5267438" y="4521347"/>
                </a:lnTo>
                <a:cubicBezTo>
                  <a:pt x="5267438" y="4522458"/>
                  <a:pt x="5267438" y="4522458"/>
                  <a:pt x="5267438" y="4522458"/>
                </a:cubicBezTo>
                <a:lnTo>
                  <a:pt x="5263714" y="4523346"/>
                </a:lnTo>
                <a:lnTo>
                  <a:pt x="5261422" y="4528456"/>
                </a:lnTo>
                <a:lnTo>
                  <a:pt x="5257411" y="4532011"/>
                </a:lnTo>
                <a:lnTo>
                  <a:pt x="5262281" y="4538120"/>
                </a:lnTo>
                <a:cubicBezTo>
                  <a:pt x="5265719" y="4544119"/>
                  <a:pt x="5266864" y="4550007"/>
                  <a:pt x="5258271" y="4553783"/>
                </a:cubicBezTo>
                <a:cubicBezTo>
                  <a:pt x="5257125" y="4552116"/>
                  <a:pt x="5255406" y="4549673"/>
                  <a:pt x="5253401" y="4546785"/>
                </a:cubicBezTo>
                <a:lnTo>
                  <a:pt x="5248531" y="4539343"/>
                </a:lnTo>
                <a:lnTo>
                  <a:pt x="5238218" y="4545007"/>
                </a:lnTo>
                <a:lnTo>
                  <a:pt x="5236786" y="4550118"/>
                </a:lnTo>
                <a:lnTo>
                  <a:pt x="5235640" y="4552450"/>
                </a:lnTo>
                <a:lnTo>
                  <a:pt x="5237359" y="4552672"/>
                </a:lnTo>
                <a:lnTo>
                  <a:pt x="5235354" y="4553672"/>
                </a:lnTo>
                <a:lnTo>
                  <a:pt x="5235354" y="4553894"/>
                </a:lnTo>
                <a:cubicBezTo>
                  <a:pt x="5233635" y="4553783"/>
                  <a:pt x="5233635" y="4554894"/>
                  <a:pt x="5235354" y="4555116"/>
                </a:cubicBezTo>
                <a:cubicBezTo>
                  <a:pt x="5233635" y="4556672"/>
                  <a:pt x="5232202" y="4558115"/>
                  <a:pt x="5230770" y="4558781"/>
                </a:cubicBezTo>
                <a:cubicBezTo>
                  <a:pt x="5229624" y="4559337"/>
                  <a:pt x="5228192" y="4559226"/>
                  <a:pt x="5226473" y="4558003"/>
                </a:cubicBezTo>
                <a:lnTo>
                  <a:pt x="5226187" y="4557338"/>
                </a:lnTo>
                <a:lnTo>
                  <a:pt x="5217020" y="4558449"/>
                </a:lnTo>
                <a:cubicBezTo>
                  <a:pt x="5215301" y="4556894"/>
                  <a:pt x="5215014" y="4555560"/>
                  <a:pt x="5215588" y="4554450"/>
                </a:cubicBezTo>
                <a:lnTo>
                  <a:pt x="5216447" y="4553450"/>
                </a:lnTo>
                <a:lnTo>
                  <a:pt x="5195535" y="4560893"/>
                </a:lnTo>
                <a:cubicBezTo>
                  <a:pt x="5182644" y="4564669"/>
                  <a:pt x="5170040" y="4567446"/>
                  <a:pt x="5160300" y="4568447"/>
                </a:cubicBezTo>
                <a:cubicBezTo>
                  <a:pt x="5154570" y="4570334"/>
                  <a:pt x="5154570" y="4559004"/>
                  <a:pt x="5146263" y="4560892"/>
                </a:cubicBezTo>
                <a:cubicBezTo>
                  <a:pt x="5140534" y="4562781"/>
                  <a:pt x="5143398" y="4566558"/>
                  <a:pt x="5137669" y="4562781"/>
                </a:cubicBezTo>
                <a:cubicBezTo>
                  <a:pt x="5134804" y="4563670"/>
                  <a:pt x="5131940" y="4565114"/>
                  <a:pt x="5129075" y="4566447"/>
                </a:cubicBezTo>
                <a:lnTo>
                  <a:pt x="5127356" y="4567335"/>
                </a:lnTo>
                <a:lnTo>
                  <a:pt x="5128502" y="4569446"/>
                </a:lnTo>
                <a:cubicBezTo>
                  <a:pt x="5128216" y="4570556"/>
                  <a:pt x="5127356" y="4571445"/>
                  <a:pt x="5125065" y="4572000"/>
                </a:cubicBezTo>
                <a:lnTo>
                  <a:pt x="5122200" y="4569779"/>
                </a:lnTo>
                <a:lnTo>
                  <a:pt x="5120768" y="4570334"/>
                </a:lnTo>
                <a:cubicBezTo>
                  <a:pt x="5118190" y="4570334"/>
                  <a:pt x="5112460" y="4570334"/>
                  <a:pt x="5112461" y="4568446"/>
                </a:cubicBezTo>
                <a:lnTo>
                  <a:pt x="5112747" y="4565892"/>
                </a:lnTo>
                <a:lnTo>
                  <a:pt x="5110455" y="4559671"/>
                </a:lnTo>
                <a:cubicBezTo>
                  <a:pt x="5112175" y="4561670"/>
                  <a:pt x="5113321" y="4563003"/>
                  <a:pt x="5113892" y="4564225"/>
                </a:cubicBezTo>
                <a:lnTo>
                  <a:pt x="5113892" y="4565225"/>
                </a:lnTo>
                <a:lnTo>
                  <a:pt x="5115038" y="4564669"/>
                </a:lnTo>
                <a:lnTo>
                  <a:pt x="5121914" y="4562225"/>
                </a:lnTo>
                <a:lnTo>
                  <a:pt x="5117903" y="4561559"/>
                </a:lnTo>
                <a:cubicBezTo>
                  <a:pt x="5109023" y="4558004"/>
                  <a:pt x="5109023" y="4546562"/>
                  <a:pt x="5117330" y="4539453"/>
                </a:cubicBezTo>
                <a:lnTo>
                  <a:pt x="5118476" y="4538898"/>
                </a:lnTo>
                <a:lnTo>
                  <a:pt x="5117044" y="4538565"/>
                </a:lnTo>
                <a:cubicBezTo>
                  <a:pt x="5115325" y="4538342"/>
                  <a:pt x="5113892" y="4538342"/>
                  <a:pt x="5112460" y="4538343"/>
                </a:cubicBezTo>
                <a:cubicBezTo>
                  <a:pt x="5106731" y="4542120"/>
                  <a:pt x="5101288" y="4544008"/>
                  <a:pt x="5092694" y="4547785"/>
                </a:cubicBezTo>
                <a:cubicBezTo>
                  <a:pt x="5092694" y="4545896"/>
                  <a:pt x="5092694" y="4544008"/>
                  <a:pt x="5092694" y="4544008"/>
                </a:cubicBezTo>
                <a:lnTo>
                  <a:pt x="5090117" y="4545451"/>
                </a:lnTo>
                <a:lnTo>
                  <a:pt x="5085533" y="4551006"/>
                </a:lnTo>
                <a:cubicBezTo>
                  <a:pt x="5081522" y="4556894"/>
                  <a:pt x="5077513" y="4562114"/>
                  <a:pt x="5067199" y="4561670"/>
                </a:cubicBezTo>
                <a:lnTo>
                  <a:pt x="5068631" y="4557338"/>
                </a:lnTo>
                <a:lnTo>
                  <a:pt x="5057459" y="4559003"/>
                </a:lnTo>
                <a:cubicBezTo>
                  <a:pt x="5053449" y="4559449"/>
                  <a:pt x="5049152" y="4560004"/>
                  <a:pt x="5044855" y="4560893"/>
                </a:cubicBezTo>
                <a:cubicBezTo>
                  <a:pt x="5041991" y="4562781"/>
                  <a:pt x="5039412" y="4564669"/>
                  <a:pt x="5036547" y="4564669"/>
                </a:cubicBezTo>
                <a:cubicBezTo>
                  <a:pt x="5033682" y="4566558"/>
                  <a:pt x="5030818" y="4564669"/>
                  <a:pt x="5030818" y="4564669"/>
                </a:cubicBezTo>
                <a:lnTo>
                  <a:pt x="5026521" y="4566113"/>
                </a:lnTo>
                <a:lnTo>
                  <a:pt x="5027380" y="4566446"/>
                </a:lnTo>
                <a:cubicBezTo>
                  <a:pt x="5030532" y="4568668"/>
                  <a:pt x="5033110" y="4571223"/>
                  <a:pt x="5035402" y="4573889"/>
                </a:cubicBezTo>
                <a:lnTo>
                  <a:pt x="5036547" y="4576222"/>
                </a:lnTo>
                <a:lnTo>
                  <a:pt x="5044856" y="4574111"/>
                </a:lnTo>
                <a:cubicBezTo>
                  <a:pt x="5044855" y="4572223"/>
                  <a:pt x="5044855" y="4570334"/>
                  <a:pt x="5047719" y="4568446"/>
                </a:cubicBezTo>
                <a:cubicBezTo>
                  <a:pt x="5056313" y="4572223"/>
                  <a:pt x="5073215" y="4560893"/>
                  <a:pt x="5081522" y="4564668"/>
                </a:cubicBezTo>
                <a:cubicBezTo>
                  <a:pt x="5075793" y="4570334"/>
                  <a:pt x="5070350" y="4572223"/>
                  <a:pt x="5064621" y="4574112"/>
                </a:cubicBezTo>
                <a:cubicBezTo>
                  <a:pt x="5072928" y="4574112"/>
                  <a:pt x="5078658" y="4575889"/>
                  <a:pt x="5084387" y="4579665"/>
                </a:cubicBezTo>
                <a:cubicBezTo>
                  <a:pt x="5058892" y="4590995"/>
                  <a:pt x="5039412" y="4604104"/>
                  <a:pt x="4999880" y="4611658"/>
                </a:cubicBezTo>
                <a:cubicBezTo>
                  <a:pt x="4988708" y="4617323"/>
                  <a:pt x="5000166" y="4630431"/>
                  <a:pt x="4974671" y="4632318"/>
                </a:cubicBezTo>
                <a:cubicBezTo>
                  <a:pt x="4960634" y="4626653"/>
                  <a:pt x="4969228" y="4615435"/>
                  <a:pt x="4966364" y="4605991"/>
                </a:cubicBezTo>
                <a:cubicBezTo>
                  <a:pt x="4963499" y="4607880"/>
                  <a:pt x="4960634" y="4607881"/>
                  <a:pt x="4957770" y="4605992"/>
                </a:cubicBezTo>
                <a:cubicBezTo>
                  <a:pt x="4954905" y="4605992"/>
                  <a:pt x="4954906" y="4607880"/>
                  <a:pt x="4952327" y="4607881"/>
                </a:cubicBezTo>
                <a:cubicBezTo>
                  <a:pt x="4949462" y="4609769"/>
                  <a:pt x="4943733" y="4611658"/>
                  <a:pt x="4938290" y="4611658"/>
                </a:cubicBezTo>
                <a:cubicBezTo>
                  <a:pt x="4938290" y="4611658"/>
                  <a:pt x="4938290" y="4611769"/>
                  <a:pt x="4941154" y="4613545"/>
                </a:cubicBezTo>
                <a:cubicBezTo>
                  <a:pt x="4941154" y="4613545"/>
                  <a:pt x="4940868" y="4615434"/>
                  <a:pt x="4938290" y="4615434"/>
                </a:cubicBezTo>
                <a:cubicBezTo>
                  <a:pt x="4938290" y="4615434"/>
                  <a:pt x="4938004" y="4615434"/>
                  <a:pt x="4943733" y="4613545"/>
                </a:cubicBezTo>
                <a:cubicBezTo>
                  <a:pt x="4949462" y="4617323"/>
                  <a:pt x="4940868" y="4622877"/>
                  <a:pt x="4935425" y="4622877"/>
                </a:cubicBezTo>
                <a:cubicBezTo>
                  <a:pt x="4935425" y="4628542"/>
                  <a:pt x="4935425" y="4634207"/>
                  <a:pt x="4946598" y="4641762"/>
                </a:cubicBezTo>
                <a:lnTo>
                  <a:pt x="4936571" y="4642760"/>
                </a:lnTo>
                <a:lnTo>
                  <a:pt x="4939722" y="4647982"/>
                </a:lnTo>
                <a:lnTo>
                  <a:pt x="4938576" y="4649425"/>
                </a:lnTo>
                <a:lnTo>
                  <a:pt x="4940295" y="4650092"/>
                </a:lnTo>
                <a:cubicBezTo>
                  <a:pt x="4942874" y="4651981"/>
                  <a:pt x="4944592" y="4654980"/>
                  <a:pt x="4947457" y="4657313"/>
                </a:cubicBezTo>
                <a:cubicBezTo>
                  <a:pt x="4942587" y="4658979"/>
                  <a:pt x="4938863" y="4659090"/>
                  <a:pt x="4935712" y="4657757"/>
                </a:cubicBezTo>
                <a:lnTo>
                  <a:pt x="4932847" y="4654202"/>
                </a:lnTo>
                <a:lnTo>
                  <a:pt x="4928550" y="4655646"/>
                </a:lnTo>
                <a:cubicBezTo>
                  <a:pt x="4924253" y="4656090"/>
                  <a:pt x="4919097" y="4655424"/>
                  <a:pt x="4913654" y="4652980"/>
                </a:cubicBezTo>
                <a:lnTo>
                  <a:pt x="4915086" y="4644871"/>
                </a:lnTo>
                <a:lnTo>
                  <a:pt x="4904487" y="4645982"/>
                </a:lnTo>
                <a:cubicBezTo>
                  <a:pt x="4892456" y="4647871"/>
                  <a:pt x="4881857" y="4650203"/>
                  <a:pt x="4870684" y="4652981"/>
                </a:cubicBezTo>
                <a:lnTo>
                  <a:pt x="4864669" y="4654647"/>
                </a:lnTo>
                <a:lnTo>
                  <a:pt x="4864955" y="4655313"/>
                </a:lnTo>
                <a:cubicBezTo>
                  <a:pt x="4864955" y="4656535"/>
                  <a:pt x="4864956" y="4657757"/>
                  <a:pt x="4863236" y="4658757"/>
                </a:cubicBezTo>
                <a:cubicBezTo>
                  <a:pt x="4861231" y="4659868"/>
                  <a:pt x="4857794" y="4659535"/>
                  <a:pt x="4856075" y="4659423"/>
                </a:cubicBezTo>
                <a:lnTo>
                  <a:pt x="4854642" y="4657313"/>
                </a:lnTo>
                <a:lnTo>
                  <a:pt x="4840892" y="4661089"/>
                </a:lnTo>
                <a:lnTo>
                  <a:pt x="4809954" y="4665976"/>
                </a:lnTo>
                <a:lnTo>
                  <a:pt x="4808808" y="4680418"/>
                </a:lnTo>
                <a:cubicBezTo>
                  <a:pt x="4807662" y="4685749"/>
                  <a:pt x="4804798" y="4690971"/>
                  <a:pt x="4798781" y="4695970"/>
                </a:cubicBezTo>
                <a:cubicBezTo>
                  <a:pt x="4788757" y="4687305"/>
                  <a:pt x="4794771" y="4676975"/>
                  <a:pt x="4802220" y="4669976"/>
                </a:cubicBezTo>
                <a:lnTo>
                  <a:pt x="4808235" y="4665533"/>
                </a:lnTo>
                <a:lnTo>
                  <a:pt x="4803365" y="4660756"/>
                </a:lnTo>
                <a:lnTo>
                  <a:pt x="4799355" y="4658091"/>
                </a:lnTo>
                <a:cubicBezTo>
                  <a:pt x="4794771" y="4658757"/>
                  <a:pt x="4794485" y="4661312"/>
                  <a:pt x="4790188" y="4661978"/>
                </a:cubicBezTo>
                <a:cubicBezTo>
                  <a:pt x="4785891" y="4652203"/>
                  <a:pt x="4780448" y="4641761"/>
                  <a:pt x="4789615" y="4637873"/>
                </a:cubicBezTo>
                <a:cubicBezTo>
                  <a:pt x="4794485" y="4639428"/>
                  <a:pt x="4797350" y="4642872"/>
                  <a:pt x="4798495" y="4646871"/>
                </a:cubicBezTo>
                <a:lnTo>
                  <a:pt x="4799068" y="4654647"/>
                </a:lnTo>
                <a:lnTo>
                  <a:pt x="4805370" y="4645649"/>
                </a:lnTo>
                <a:lnTo>
                  <a:pt x="4804511" y="4646093"/>
                </a:lnTo>
                <a:cubicBezTo>
                  <a:pt x="4803365" y="4646093"/>
                  <a:pt x="4802220" y="4645649"/>
                  <a:pt x="4800500" y="4644427"/>
                </a:cubicBezTo>
                <a:cubicBezTo>
                  <a:pt x="4797063" y="4642872"/>
                  <a:pt x="4797350" y="4641761"/>
                  <a:pt x="4800787" y="4638428"/>
                </a:cubicBezTo>
                <a:cubicBezTo>
                  <a:pt x="4804225" y="4636318"/>
                  <a:pt x="4805944" y="4634096"/>
                  <a:pt x="4807662" y="4634317"/>
                </a:cubicBezTo>
                <a:lnTo>
                  <a:pt x="4809094" y="4631875"/>
                </a:lnTo>
                <a:lnTo>
                  <a:pt x="4808236" y="4628653"/>
                </a:lnTo>
                <a:lnTo>
                  <a:pt x="4812532" y="4630430"/>
                </a:lnTo>
                <a:lnTo>
                  <a:pt x="4816829" y="4630320"/>
                </a:lnTo>
                <a:lnTo>
                  <a:pt x="4817116" y="4629319"/>
                </a:lnTo>
                <a:cubicBezTo>
                  <a:pt x="4819980" y="4627875"/>
                  <a:pt x="4823704" y="4625877"/>
                  <a:pt x="4827428" y="4626098"/>
                </a:cubicBezTo>
                <a:cubicBezTo>
                  <a:pt x="4828574" y="4626209"/>
                  <a:pt x="4830006" y="4626543"/>
                  <a:pt x="4831152" y="4627321"/>
                </a:cubicBezTo>
                <a:lnTo>
                  <a:pt x="4831439" y="4627764"/>
                </a:lnTo>
                <a:lnTo>
                  <a:pt x="4832012" y="4626987"/>
                </a:lnTo>
                <a:cubicBezTo>
                  <a:pt x="4832871" y="4626098"/>
                  <a:pt x="4834017" y="4625654"/>
                  <a:pt x="4835450" y="4625432"/>
                </a:cubicBezTo>
                <a:cubicBezTo>
                  <a:pt x="4838315" y="4625098"/>
                  <a:pt x="4841752" y="4625876"/>
                  <a:pt x="4844902" y="4627542"/>
                </a:cubicBezTo>
                <a:lnTo>
                  <a:pt x="4843470" y="4628987"/>
                </a:lnTo>
                <a:lnTo>
                  <a:pt x="4845476" y="4628542"/>
                </a:lnTo>
                <a:cubicBezTo>
                  <a:pt x="4845476" y="4624877"/>
                  <a:pt x="4848340" y="4622988"/>
                  <a:pt x="4845476" y="4619212"/>
                </a:cubicBezTo>
                <a:lnTo>
                  <a:pt x="4818262" y="4624543"/>
                </a:lnTo>
                <a:lnTo>
                  <a:pt x="4818834" y="4625432"/>
                </a:lnTo>
                <a:cubicBezTo>
                  <a:pt x="4817975" y="4626098"/>
                  <a:pt x="4816542" y="4626875"/>
                  <a:pt x="4815683" y="4627987"/>
                </a:cubicBezTo>
                <a:lnTo>
                  <a:pt x="4813105" y="4625654"/>
                </a:lnTo>
                <a:lnTo>
                  <a:pt x="4791047" y="4629987"/>
                </a:lnTo>
                <a:lnTo>
                  <a:pt x="4743209" y="4642428"/>
                </a:lnTo>
                <a:lnTo>
                  <a:pt x="4743208" y="4643538"/>
                </a:lnTo>
                <a:lnTo>
                  <a:pt x="4741489" y="4642872"/>
                </a:lnTo>
                <a:lnTo>
                  <a:pt x="4738624" y="4643649"/>
                </a:lnTo>
                <a:lnTo>
                  <a:pt x="4734614" y="4644204"/>
                </a:lnTo>
                <a:lnTo>
                  <a:pt x="4734041" y="4645649"/>
                </a:lnTo>
                <a:lnTo>
                  <a:pt x="4728884" y="4646538"/>
                </a:lnTo>
                <a:lnTo>
                  <a:pt x="4729171" y="4646760"/>
                </a:lnTo>
                <a:cubicBezTo>
                  <a:pt x="4727166" y="4648981"/>
                  <a:pt x="4725447" y="4648871"/>
                  <a:pt x="4724015" y="4647427"/>
                </a:cubicBezTo>
                <a:lnTo>
                  <a:pt x="4723442" y="4646871"/>
                </a:lnTo>
                <a:lnTo>
                  <a:pt x="4721723" y="4647426"/>
                </a:lnTo>
                <a:cubicBezTo>
                  <a:pt x="4719145" y="4651203"/>
                  <a:pt x="4716280" y="4654869"/>
                  <a:pt x="4707686" y="4658646"/>
                </a:cubicBezTo>
                <a:cubicBezTo>
                  <a:pt x="4707686" y="4656758"/>
                  <a:pt x="4707686" y="4653092"/>
                  <a:pt x="4707686" y="4651203"/>
                </a:cubicBezTo>
                <a:lnTo>
                  <a:pt x="4695082" y="4653758"/>
                </a:lnTo>
                <a:lnTo>
                  <a:pt x="4692217" y="4655757"/>
                </a:lnTo>
                <a:lnTo>
                  <a:pt x="4693363" y="4656868"/>
                </a:lnTo>
                <a:lnTo>
                  <a:pt x="4694795" y="4656979"/>
                </a:lnTo>
                <a:cubicBezTo>
                  <a:pt x="4695369" y="4657979"/>
                  <a:pt x="4698233" y="4659534"/>
                  <a:pt x="4700238" y="4660089"/>
                </a:cubicBezTo>
                <a:cubicBezTo>
                  <a:pt x="4698806" y="4660646"/>
                  <a:pt x="4697374" y="4661201"/>
                  <a:pt x="4697946" y="4662312"/>
                </a:cubicBezTo>
                <a:cubicBezTo>
                  <a:pt x="4695655" y="4661756"/>
                  <a:pt x="4694509" y="4661200"/>
                  <a:pt x="4693363" y="4660646"/>
                </a:cubicBezTo>
                <a:lnTo>
                  <a:pt x="4692790" y="4660312"/>
                </a:lnTo>
                <a:lnTo>
                  <a:pt x="4691071" y="4660534"/>
                </a:lnTo>
                <a:lnTo>
                  <a:pt x="4689639" y="4660089"/>
                </a:lnTo>
                <a:lnTo>
                  <a:pt x="4689065" y="4660090"/>
                </a:lnTo>
                <a:cubicBezTo>
                  <a:pt x="4689065" y="4660090"/>
                  <a:pt x="4689065" y="4660090"/>
                  <a:pt x="4687347" y="4663200"/>
                </a:cubicBezTo>
                <a:cubicBezTo>
                  <a:pt x="4687347" y="4663200"/>
                  <a:pt x="4684196" y="4667088"/>
                  <a:pt x="4678467" y="4668310"/>
                </a:cubicBezTo>
                <a:lnTo>
                  <a:pt x="4671878" y="4668421"/>
                </a:lnTo>
                <a:lnTo>
                  <a:pt x="4671592" y="4668976"/>
                </a:lnTo>
                <a:lnTo>
                  <a:pt x="4668727" y="4666755"/>
                </a:lnTo>
                <a:lnTo>
                  <a:pt x="4667008" y="4667643"/>
                </a:lnTo>
                <a:cubicBezTo>
                  <a:pt x="4665576" y="4667977"/>
                  <a:pt x="4664144" y="4667643"/>
                  <a:pt x="4662711" y="4666200"/>
                </a:cubicBezTo>
                <a:lnTo>
                  <a:pt x="4665290" y="4664088"/>
                </a:lnTo>
                <a:lnTo>
                  <a:pt x="4662425" y="4660756"/>
                </a:lnTo>
                <a:lnTo>
                  <a:pt x="4648674" y="4663089"/>
                </a:lnTo>
                <a:cubicBezTo>
                  <a:pt x="4640366" y="4664311"/>
                  <a:pt x="4631773" y="4665199"/>
                  <a:pt x="4623466" y="4666199"/>
                </a:cubicBezTo>
                <a:cubicBezTo>
                  <a:pt x="4617736" y="4673753"/>
                  <a:pt x="4595392" y="4673753"/>
                  <a:pt x="4589663" y="4681307"/>
                </a:cubicBezTo>
                <a:cubicBezTo>
                  <a:pt x="4581356" y="4681307"/>
                  <a:pt x="4572762" y="4679418"/>
                  <a:pt x="4567319" y="4681307"/>
                </a:cubicBezTo>
                <a:cubicBezTo>
                  <a:pt x="4570183" y="4683195"/>
                  <a:pt x="4570183" y="4684972"/>
                  <a:pt x="4567319" y="4686861"/>
                </a:cubicBezTo>
                <a:cubicBezTo>
                  <a:pt x="4592528" y="4683084"/>
                  <a:pt x="4609429" y="4683194"/>
                  <a:pt x="4609429" y="4703856"/>
                </a:cubicBezTo>
                <a:cubicBezTo>
                  <a:pt x="4589663" y="4707633"/>
                  <a:pt x="4572762" y="4713187"/>
                  <a:pt x="4555860" y="4716965"/>
                </a:cubicBezTo>
                <a:cubicBezTo>
                  <a:pt x="4547552" y="4718852"/>
                  <a:pt x="4538386" y="4719741"/>
                  <a:pt x="4528932" y="4719296"/>
                </a:cubicBezTo>
                <a:lnTo>
                  <a:pt x="4520338" y="4718297"/>
                </a:lnTo>
                <a:lnTo>
                  <a:pt x="4520625" y="4719852"/>
                </a:lnTo>
                <a:lnTo>
                  <a:pt x="4514036" y="4717409"/>
                </a:lnTo>
                <a:lnTo>
                  <a:pt x="4499713" y="4713187"/>
                </a:lnTo>
                <a:cubicBezTo>
                  <a:pt x="4499713" y="4711298"/>
                  <a:pt x="4499713" y="4711298"/>
                  <a:pt x="4499713" y="4709411"/>
                </a:cubicBezTo>
                <a:cubicBezTo>
                  <a:pt x="4497135" y="4709411"/>
                  <a:pt x="4494270" y="4707633"/>
                  <a:pt x="4491406" y="4707633"/>
                </a:cubicBezTo>
                <a:cubicBezTo>
                  <a:pt x="4487108" y="4701968"/>
                  <a:pt x="4491406" y="4700079"/>
                  <a:pt x="4496276" y="4698414"/>
                </a:cubicBezTo>
                <a:lnTo>
                  <a:pt x="4502578" y="4695970"/>
                </a:lnTo>
                <a:lnTo>
                  <a:pt x="4502864" y="4691082"/>
                </a:lnTo>
                <a:lnTo>
                  <a:pt x="4504870" y="4692193"/>
                </a:lnTo>
                <a:lnTo>
                  <a:pt x="4505442" y="4690637"/>
                </a:lnTo>
                <a:cubicBezTo>
                  <a:pt x="4505442" y="4690637"/>
                  <a:pt x="4505442" y="4688749"/>
                  <a:pt x="4502578" y="4688750"/>
                </a:cubicBezTo>
                <a:cubicBezTo>
                  <a:pt x="4488541" y="4688750"/>
                  <a:pt x="4474504" y="4690637"/>
                  <a:pt x="4460468" y="4692526"/>
                </a:cubicBezTo>
                <a:cubicBezTo>
                  <a:pt x="4460468" y="4692526"/>
                  <a:pt x="4460468" y="4692526"/>
                  <a:pt x="4460468" y="4694415"/>
                </a:cubicBezTo>
                <a:cubicBezTo>
                  <a:pt x="4460468" y="4694415"/>
                  <a:pt x="4460468" y="4694415"/>
                  <a:pt x="4452160" y="4694415"/>
                </a:cubicBezTo>
                <a:cubicBezTo>
                  <a:pt x="4443566" y="4696303"/>
                  <a:pt x="4437837" y="4698191"/>
                  <a:pt x="4429529" y="4700079"/>
                </a:cubicBezTo>
                <a:lnTo>
                  <a:pt x="4416352" y="4700413"/>
                </a:lnTo>
                <a:lnTo>
                  <a:pt x="4416066" y="4701080"/>
                </a:lnTo>
                <a:lnTo>
                  <a:pt x="4411196" y="4700524"/>
                </a:lnTo>
                <a:lnTo>
                  <a:pt x="4401169" y="4700746"/>
                </a:lnTo>
                <a:cubicBezTo>
                  <a:pt x="4393148" y="4701857"/>
                  <a:pt x="4385987" y="4703855"/>
                  <a:pt x="4379112" y="4705744"/>
                </a:cubicBezTo>
                <a:cubicBezTo>
                  <a:pt x="4364788" y="4709411"/>
                  <a:pt x="4350752" y="4713187"/>
                  <a:pt x="4331272" y="4713187"/>
                </a:cubicBezTo>
                <a:cubicBezTo>
                  <a:pt x="4328407" y="4716964"/>
                  <a:pt x="4317235" y="4715075"/>
                  <a:pt x="4320100" y="4722629"/>
                </a:cubicBezTo>
                <a:cubicBezTo>
                  <a:pt x="4322678" y="4722629"/>
                  <a:pt x="4322678" y="4722629"/>
                  <a:pt x="4322678" y="4722629"/>
                </a:cubicBezTo>
                <a:cubicBezTo>
                  <a:pt x="4325543" y="4718852"/>
                  <a:pt x="4333851" y="4716964"/>
                  <a:pt x="4336715" y="4715076"/>
                </a:cubicBezTo>
                <a:cubicBezTo>
                  <a:pt x="4336715" y="4715076"/>
                  <a:pt x="4337001" y="4715076"/>
                  <a:pt x="4342444" y="4713187"/>
                </a:cubicBezTo>
                <a:cubicBezTo>
                  <a:pt x="4351038" y="4711298"/>
                  <a:pt x="4362210" y="4711410"/>
                  <a:pt x="4379112" y="4707633"/>
                </a:cubicBezTo>
                <a:cubicBezTo>
                  <a:pt x="4387420" y="4711410"/>
                  <a:pt x="4379112" y="4711299"/>
                  <a:pt x="4381976" y="4716964"/>
                </a:cubicBezTo>
                <a:cubicBezTo>
                  <a:pt x="4387419" y="4720741"/>
                  <a:pt x="4392862" y="4720741"/>
                  <a:pt x="4404320" y="4718852"/>
                </a:cubicBezTo>
                <a:cubicBezTo>
                  <a:pt x="4409763" y="4716965"/>
                  <a:pt x="4415492" y="4716965"/>
                  <a:pt x="4421222" y="4715076"/>
                </a:cubicBezTo>
                <a:lnTo>
                  <a:pt x="4427524" y="4709856"/>
                </a:lnTo>
                <a:lnTo>
                  <a:pt x="4424086" y="4709522"/>
                </a:lnTo>
                <a:cubicBezTo>
                  <a:pt x="4428384" y="4707744"/>
                  <a:pt x="4429243" y="4706189"/>
                  <a:pt x="4429816" y="4707189"/>
                </a:cubicBezTo>
                <a:lnTo>
                  <a:pt x="4430675" y="4707188"/>
                </a:lnTo>
                <a:lnTo>
                  <a:pt x="4430962" y="4706967"/>
                </a:lnTo>
                <a:cubicBezTo>
                  <a:pt x="4435832" y="4705301"/>
                  <a:pt x="4442134" y="4704745"/>
                  <a:pt x="4449295" y="4705745"/>
                </a:cubicBezTo>
                <a:cubicBezTo>
                  <a:pt x="4463332" y="4705745"/>
                  <a:pt x="4474504" y="4709522"/>
                  <a:pt x="4474504" y="4711410"/>
                </a:cubicBezTo>
                <a:cubicBezTo>
                  <a:pt x="4483098" y="4711410"/>
                  <a:pt x="4488541" y="4709521"/>
                  <a:pt x="4488541" y="4715076"/>
                </a:cubicBezTo>
                <a:lnTo>
                  <a:pt x="4462187" y="4721407"/>
                </a:lnTo>
                <a:lnTo>
                  <a:pt x="4463618" y="4721519"/>
                </a:lnTo>
                <a:cubicBezTo>
                  <a:pt x="4465337" y="4722852"/>
                  <a:pt x="4465051" y="4723963"/>
                  <a:pt x="4465051" y="4725184"/>
                </a:cubicBezTo>
                <a:cubicBezTo>
                  <a:pt x="4463046" y="4727294"/>
                  <a:pt x="4461327" y="4729405"/>
                  <a:pt x="4459322" y="4731515"/>
                </a:cubicBezTo>
                <a:cubicBezTo>
                  <a:pt x="4453879" y="4734404"/>
                  <a:pt x="4448436" y="4737404"/>
                  <a:pt x="4443566" y="4734515"/>
                </a:cubicBezTo>
                <a:lnTo>
                  <a:pt x="4453019" y="4723185"/>
                </a:lnTo>
                <a:lnTo>
                  <a:pt x="4437264" y="4724629"/>
                </a:lnTo>
                <a:cubicBezTo>
                  <a:pt x="4431534" y="4724629"/>
                  <a:pt x="4426092" y="4724073"/>
                  <a:pt x="4421222" y="4722630"/>
                </a:cubicBezTo>
                <a:cubicBezTo>
                  <a:pt x="4418357" y="4722629"/>
                  <a:pt x="4412628" y="4722629"/>
                  <a:pt x="4407185" y="4724518"/>
                </a:cubicBezTo>
                <a:cubicBezTo>
                  <a:pt x="4404320" y="4724518"/>
                  <a:pt x="4398591" y="4726406"/>
                  <a:pt x="4393148" y="4726406"/>
                </a:cubicBezTo>
                <a:cubicBezTo>
                  <a:pt x="4395726" y="4728295"/>
                  <a:pt x="4398591" y="4730183"/>
                  <a:pt x="4401456" y="4733960"/>
                </a:cubicBezTo>
                <a:cubicBezTo>
                  <a:pt x="4379112" y="4733960"/>
                  <a:pt x="4362210" y="4739513"/>
                  <a:pt x="4345309" y="4743291"/>
                </a:cubicBezTo>
                <a:lnTo>
                  <a:pt x="4326688" y="4745846"/>
                </a:lnTo>
                <a:lnTo>
                  <a:pt x="4326116" y="4746068"/>
                </a:lnTo>
                <a:lnTo>
                  <a:pt x="4325543" y="4746068"/>
                </a:lnTo>
                <a:lnTo>
                  <a:pt x="4325543" y="4746290"/>
                </a:lnTo>
                <a:lnTo>
                  <a:pt x="4323251" y="4748068"/>
                </a:lnTo>
                <a:lnTo>
                  <a:pt x="4326688" y="4748845"/>
                </a:lnTo>
                <a:cubicBezTo>
                  <a:pt x="4332991" y="4753178"/>
                  <a:pt x="4334137" y="4756843"/>
                  <a:pt x="4333850" y="4760397"/>
                </a:cubicBezTo>
                <a:cubicBezTo>
                  <a:pt x="4333850" y="4760397"/>
                  <a:pt x="4333850" y="4760286"/>
                  <a:pt x="4334137" y="4759176"/>
                </a:cubicBezTo>
                <a:cubicBezTo>
                  <a:pt x="4341298" y="4755177"/>
                  <a:pt x="4353616" y="4748290"/>
                  <a:pt x="4358772" y="4749955"/>
                </a:cubicBezTo>
                <a:cubicBezTo>
                  <a:pt x="4358486" y="4751177"/>
                  <a:pt x="4358486" y="4752400"/>
                  <a:pt x="4356480" y="4753400"/>
                </a:cubicBezTo>
                <a:cubicBezTo>
                  <a:pt x="4354762" y="4754399"/>
                  <a:pt x="4354762" y="4753178"/>
                  <a:pt x="4354762" y="4754399"/>
                </a:cubicBezTo>
                <a:cubicBezTo>
                  <a:pt x="4353043" y="4755399"/>
                  <a:pt x="4354762" y="4755510"/>
                  <a:pt x="4354762" y="4755510"/>
                </a:cubicBezTo>
                <a:cubicBezTo>
                  <a:pt x="4354762" y="4755510"/>
                  <a:pt x="4353043" y="4755287"/>
                  <a:pt x="4353043" y="4755287"/>
                </a:cubicBezTo>
                <a:cubicBezTo>
                  <a:pt x="4353043" y="4755287"/>
                  <a:pt x="4353043" y="4755399"/>
                  <a:pt x="4349319" y="4757288"/>
                </a:cubicBezTo>
                <a:cubicBezTo>
                  <a:pt x="4345595" y="4760509"/>
                  <a:pt x="4345595" y="4761619"/>
                  <a:pt x="4343590" y="4763729"/>
                </a:cubicBezTo>
                <a:cubicBezTo>
                  <a:pt x="4340152" y="4765730"/>
                  <a:pt x="4338434" y="4765618"/>
                  <a:pt x="4333277" y="4767396"/>
                </a:cubicBezTo>
                <a:cubicBezTo>
                  <a:pt x="4330126" y="4765952"/>
                  <a:pt x="4330127" y="4765841"/>
                  <a:pt x="4330126" y="4764619"/>
                </a:cubicBezTo>
                <a:cubicBezTo>
                  <a:pt x="4330127" y="4765841"/>
                  <a:pt x="4328408" y="4765618"/>
                  <a:pt x="4326402" y="4766618"/>
                </a:cubicBezTo>
                <a:lnTo>
                  <a:pt x="4322105" y="4769063"/>
                </a:lnTo>
                <a:lnTo>
                  <a:pt x="4321819" y="4771728"/>
                </a:lnTo>
                <a:cubicBezTo>
                  <a:pt x="4321819" y="4772950"/>
                  <a:pt x="4321246" y="4774172"/>
                  <a:pt x="4319240" y="4775839"/>
                </a:cubicBezTo>
                <a:cubicBezTo>
                  <a:pt x="4315230" y="4774283"/>
                  <a:pt x="4312938" y="4772284"/>
                  <a:pt x="4308928" y="4770729"/>
                </a:cubicBezTo>
                <a:lnTo>
                  <a:pt x="4313511" y="4767507"/>
                </a:lnTo>
                <a:lnTo>
                  <a:pt x="4304917" y="4763064"/>
                </a:lnTo>
                <a:cubicBezTo>
                  <a:pt x="4306636" y="4762064"/>
                  <a:pt x="4301766" y="4759287"/>
                  <a:pt x="4300334" y="4756731"/>
                </a:cubicBezTo>
                <a:cubicBezTo>
                  <a:pt x="4300907" y="4753178"/>
                  <a:pt x="4300907" y="4750845"/>
                  <a:pt x="4304631" y="4748845"/>
                </a:cubicBezTo>
                <a:lnTo>
                  <a:pt x="4310646" y="4747512"/>
                </a:lnTo>
                <a:lnTo>
                  <a:pt x="4308641" y="4746290"/>
                </a:lnTo>
                <a:lnTo>
                  <a:pt x="4306063" y="4746289"/>
                </a:lnTo>
                <a:cubicBezTo>
                  <a:pt x="4301480" y="4745735"/>
                  <a:pt x="4296896" y="4744735"/>
                  <a:pt x="4291740" y="4743291"/>
                </a:cubicBezTo>
                <a:cubicBezTo>
                  <a:pt x="4275125" y="4752733"/>
                  <a:pt x="4249630" y="4748956"/>
                  <a:pt x="4224421" y="4748956"/>
                </a:cubicBezTo>
                <a:cubicBezTo>
                  <a:pt x="4207520" y="4748956"/>
                  <a:pt x="4179446" y="4758287"/>
                  <a:pt x="4179446" y="4743292"/>
                </a:cubicBezTo>
                <a:cubicBezTo>
                  <a:pt x="4187753" y="4737626"/>
                  <a:pt x="4199212" y="4735737"/>
                  <a:pt x="4207520" y="4735737"/>
                </a:cubicBezTo>
                <a:lnTo>
                  <a:pt x="4204941" y="4733848"/>
                </a:lnTo>
                <a:lnTo>
                  <a:pt x="4204368" y="4735182"/>
                </a:lnTo>
                <a:cubicBezTo>
                  <a:pt x="4204368" y="4735182"/>
                  <a:pt x="4204368" y="4735182"/>
                  <a:pt x="4204655" y="4734071"/>
                </a:cubicBezTo>
                <a:lnTo>
                  <a:pt x="4204655" y="4733627"/>
                </a:lnTo>
                <a:lnTo>
                  <a:pt x="4201504" y="4731294"/>
                </a:lnTo>
                <a:cubicBezTo>
                  <a:pt x="4199212" y="4730182"/>
                  <a:pt x="4196347" y="4729183"/>
                  <a:pt x="4193483" y="4728295"/>
                </a:cubicBezTo>
                <a:lnTo>
                  <a:pt x="4182597" y="4728295"/>
                </a:lnTo>
                <a:lnTo>
                  <a:pt x="4181165" y="4731739"/>
                </a:lnTo>
                <a:cubicBezTo>
                  <a:pt x="4180878" y="4733071"/>
                  <a:pt x="4179446" y="4733959"/>
                  <a:pt x="4177727" y="4734515"/>
                </a:cubicBezTo>
                <a:cubicBezTo>
                  <a:pt x="4176008" y="4735182"/>
                  <a:pt x="4174003" y="4735404"/>
                  <a:pt x="4171998" y="4735293"/>
                </a:cubicBezTo>
                <a:cubicBezTo>
                  <a:pt x="4169992" y="4734514"/>
                  <a:pt x="4169992" y="4734514"/>
                  <a:pt x="4167987" y="4733849"/>
                </a:cubicBezTo>
                <a:lnTo>
                  <a:pt x="4167414" y="4732960"/>
                </a:lnTo>
                <a:lnTo>
                  <a:pt x="4167128" y="4732960"/>
                </a:lnTo>
                <a:cubicBezTo>
                  <a:pt x="4165409" y="4732960"/>
                  <a:pt x="4163977" y="4732960"/>
                  <a:pt x="4162544" y="4732070"/>
                </a:cubicBezTo>
                <a:cubicBezTo>
                  <a:pt x="4162544" y="4733960"/>
                  <a:pt x="4162544" y="4735848"/>
                  <a:pt x="4165409" y="4737737"/>
                </a:cubicBezTo>
                <a:cubicBezTo>
                  <a:pt x="4140201" y="4735848"/>
                  <a:pt x="4134471" y="4748956"/>
                  <a:pt x="4109262" y="4745180"/>
                </a:cubicBezTo>
                <a:cubicBezTo>
                  <a:pt x="4106398" y="4739514"/>
                  <a:pt x="4114705" y="4735737"/>
                  <a:pt x="4123299" y="4732071"/>
                </a:cubicBezTo>
                <a:cubicBezTo>
                  <a:pt x="4120434" y="4732071"/>
                  <a:pt x="4117570" y="4732071"/>
                  <a:pt x="4114992" y="4732071"/>
                </a:cubicBezTo>
                <a:cubicBezTo>
                  <a:pt x="4095226" y="4741402"/>
                  <a:pt x="4072595" y="4743291"/>
                  <a:pt x="4053115" y="4739514"/>
                </a:cubicBezTo>
                <a:lnTo>
                  <a:pt x="4052256" y="4742180"/>
                </a:lnTo>
                <a:lnTo>
                  <a:pt x="4054834" y="4744180"/>
                </a:lnTo>
                <a:lnTo>
                  <a:pt x="4059417" y="4747511"/>
                </a:lnTo>
                <a:cubicBezTo>
                  <a:pt x="4056839" y="4750400"/>
                  <a:pt x="4059131" y="4752288"/>
                  <a:pt x="4056266" y="4755177"/>
                </a:cubicBezTo>
                <a:lnTo>
                  <a:pt x="4047386" y="4751178"/>
                </a:lnTo>
                <a:lnTo>
                  <a:pt x="4044521" y="4754621"/>
                </a:lnTo>
                <a:cubicBezTo>
                  <a:pt x="4022177" y="4750844"/>
                  <a:pt x="4016448" y="4745180"/>
                  <a:pt x="4010718" y="4735737"/>
                </a:cubicBezTo>
                <a:cubicBezTo>
                  <a:pt x="4013583" y="4735737"/>
                  <a:pt x="4016448" y="4735737"/>
                  <a:pt x="4016448" y="4732071"/>
                </a:cubicBezTo>
                <a:cubicBezTo>
                  <a:pt x="4019312" y="4732071"/>
                  <a:pt x="4022177" y="4732071"/>
                  <a:pt x="4024755" y="4732071"/>
                </a:cubicBezTo>
                <a:cubicBezTo>
                  <a:pt x="4022177" y="4730183"/>
                  <a:pt x="4016448" y="4728294"/>
                  <a:pt x="4013583" y="4726406"/>
                </a:cubicBezTo>
                <a:cubicBezTo>
                  <a:pt x="4016448" y="4722629"/>
                  <a:pt x="4025042" y="4720741"/>
                  <a:pt x="4033349" y="4718852"/>
                </a:cubicBezTo>
                <a:lnTo>
                  <a:pt x="4021031" y="4718853"/>
                </a:lnTo>
                <a:lnTo>
                  <a:pt x="4018453" y="4722629"/>
                </a:lnTo>
                <a:lnTo>
                  <a:pt x="4011578" y="4725184"/>
                </a:lnTo>
                <a:lnTo>
                  <a:pt x="4011578" y="4725296"/>
                </a:lnTo>
                <a:lnTo>
                  <a:pt x="4011578" y="4729738"/>
                </a:lnTo>
                <a:cubicBezTo>
                  <a:pt x="4010146" y="4731405"/>
                  <a:pt x="4007854" y="4732516"/>
                  <a:pt x="4004703" y="4732960"/>
                </a:cubicBezTo>
                <a:cubicBezTo>
                  <a:pt x="4000978" y="4733627"/>
                  <a:pt x="3996109" y="4732849"/>
                  <a:pt x="3990666" y="4729627"/>
                </a:cubicBezTo>
                <a:lnTo>
                  <a:pt x="3990666" y="4729184"/>
                </a:lnTo>
                <a:lnTo>
                  <a:pt x="3985510" y="4728295"/>
                </a:lnTo>
                <a:cubicBezTo>
                  <a:pt x="3985510" y="4728295"/>
                  <a:pt x="3982931" y="4730072"/>
                  <a:pt x="3982931" y="4730072"/>
                </a:cubicBezTo>
                <a:cubicBezTo>
                  <a:pt x="3982931" y="4730072"/>
                  <a:pt x="3982645" y="4730072"/>
                  <a:pt x="3985510" y="4730072"/>
                </a:cubicBezTo>
                <a:cubicBezTo>
                  <a:pt x="3991239" y="4731961"/>
                  <a:pt x="3988374" y="4733960"/>
                  <a:pt x="3988374" y="4737737"/>
                </a:cubicBezTo>
                <a:cubicBezTo>
                  <a:pt x="3984077" y="4739070"/>
                  <a:pt x="3972046" y="4741514"/>
                  <a:pt x="3965171" y="4740292"/>
                </a:cubicBezTo>
                <a:lnTo>
                  <a:pt x="3962879" y="4739070"/>
                </a:lnTo>
                <a:lnTo>
                  <a:pt x="3962880" y="4738958"/>
                </a:lnTo>
                <a:lnTo>
                  <a:pt x="3960301" y="4737737"/>
                </a:lnTo>
                <a:cubicBezTo>
                  <a:pt x="3960301" y="4737737"/>
                  <a:pt x="3957436" y="4737737"/>
                  <a:pt x="3957436" y="4737737"/>
                </a:cubicBezTo>
                <a:cubicBezTo>
                  <a:pt x="3954572" y="4737736"/>
                  <a:pt x="3954572" y="4739625"/>
                  <a:pt x="3954572" y="4741402"/>
                </a:cubicBezTo>
                <a:cubicBezTo>
                  <a:pt x="3918190" y="4737737"/>
                  <a:pt x="3884388" y="4741403"/>
                  <a:pt x="3859180" y="4724518"/>
                </a:cubicBezTo>
                <a:cubicBezTo>
                  <a:pt x="3859180" y="4724518"/>
                  <a:pt x="3859180" y="4724518"/>
                  <a:pt x="3859179" y="4722629"/>
                </a:cubicBezTo>
                <a:cubicBezTo>
                  <a:pt x="3850585" y="4718852"/>
                  <a:pt x="3842277" y="4715076"/>
                  <a:pt x="3833970" y="4713187"/>
                </a:cubicBezTo>
                <a:cubicBezTo>
                  <a:pt x="3833970" y="4709411"/>
                  <a:pt x="3836548" y="4707522"/>
                  <a:pt x="3839413" y="4705745"/>
                </a:cubicBezTo>
                <a:cubicBezTo>
                  <a:pt x="3836548" y="4703856"/>
                  <a:pt x="3836548" y="4703856"/>
                  <a:pt x="3833970" y="4703856"/>
                </a:cubicBezTo>
                <a:cubicBezTo>
                  <a:pt x="3833970" y="4700079"/>
                  <a:pt x="3836548" y="4698191"/>
                  <a:pt x="3839412" y="4696303"/>
                </a:cubicBezTo>
                <a:cubicBezTo>
                  <a:pt x="3828240" y="4696303"/>
                  <a:pt x="3820506" y="4698191"/>
                  <a:pt x="3812772" y="4700745"/>
                </a:cubicBezTo>
                <a:lnTo>
                  <a:pt x="3789855" y="4708189"/>
                </a:lnTo>
                <a:lnTo>
                  <a:pt x="3788709" y="4712187"/>
                </a:lnTo>
                <a:lnTo>
                  <a:pt x="3786417" y="4713853"/>
                </a:lnTo>
                <a:lnTo>
                  <a:pt x="3788422" y="4714631"/>
                </a:lnTo>
                <a:cubicBezTo>
                  <a:pt x="3788709" y="4715076"/>
                  <a:pt x="3788709" y="4715409"/>
                  <a:pt x="3788709" y="4715409"/>
                </a:cubicBezTo>
                <a:cubicBezTo>
                  <a:pt x="3791573" y="4715410"/>
                  <a:pt x="3794438" y="4717297"/>
                  <a:pt x="3794438" y="4719075"/>
                </a:cubicBezTo>
                <a:cubicBezTo>
                  <a:pt x="3794438" y="4722741"/>
                  <a:pt x="3791573" y="4724518"/>
                  <a:pt x="3788709" y="4726295"/>
                </a:cubicBezTo>
                <a:cubicBezTo>
                  <a:pt x="3788709" y="4726295"/>
                  <a:pt x="3788709" y="4726295"/>
                  <a:pt x="3785844" y="4728072"/>
                </a:cubicBezTo>
                <a:cubicBezTo>
                  <a:pt x="3785844" y="4728072"/>
                  <a:pt x="3785844" y="4728072"/>
                  <a:pt x="3780115" y="4728073"/>
                </a:cubicBezTo>
                <a:cubicBezTo>
                  <a:pt x="3777250" y="4728073"/>
                  <a:pt x="3774099" y="4726295"/>
                  <a:pt x="3774099" y="4724518"/>
                </a:cubicBezTo>
                <a:cubicBezTo>
                  <a:pt x="3774099" y="4722741"/>
                  <a:pt x="3777250" y="4722741"/>
                  <a:pt x="3780115" y="4722741"/>
                </a:cubicBezTo>
                <a:cubicBezTo>
                  <a:pt x="3780115" y="4722741"/>
                  <a:pt x="3780115" y="4722741"/>
                  <a:pt x="3782979" y="4722741"/>
                </a:cubicBezTo>
                <a:cubicBezTo>
                  <a:pt x="3785844" y="4720852"/>
                  <a:pt x="3782979" y="4719075"/>
                  <a:pt x="3782979" y="4719075"/>
                </a:cubicBezTo>
                <a:cubicBezTo>
                  <a:pt x="3782979" y="4719075"/>
                  <a:pt x="3782121" y="4718631"/>
                  <a:pt x="3781834" y="4717964"/>
                </a:cubicBezTo>
                <a:lnTo>
                  <a:pt x="3782979" y="4715520"/>
                </a:lnTo>
                <a:lnTo>
                  <a:pt x="3773813" y="4715519"/>
                </a:lnTo>
                <a:cubicBezTo>
                  <a:pt x="3772953" y="4711966"/>
                  <a:pt x="3771521" y="4708189"/>
                  <a:pt x="3771807" y="4705079"/>
                </a:cubicBezTo>
                <a:lnTo>
                  <a:pt x="3772094" y="4704635"/>
                </a:lnTo>
                <a:lnTo>
                  <a:pt x="3761781" y="4701190"/>
                </a:lnTo>
                <a:cubicBezTo>
                  <a:pt x="3753187" y="4698636"/>
                  <a:pt x="3744020" y="4696303"/>
                  <a:pt x="3735426" y="4694414"/>
                </a:cubicBezTo>
                <a:cubicBezTo>
                  <a:pt x="3735426" y="4696303"/>
                  <a:pt x="3735426" y="4700079"/>
                  <a:pt x="3727119" y="4698191"/>
                </a:cubicBezTo>
                <a:cubicBezTo>
                  <a:pt x="3724254" y="4703856"/>
                  <a:pt x="3718525" y="4701968"/>
                  <a:pt x="3718525" y="4709411"/>
                </a:cubicBezTo>
                <a:cubicBezTo>
                  <a:pt x="3718525" y="4709411"/>
                  <a:pt x="3718525" y="4709522"/>
                  <a:pt x="3738291" y="4711410"/>
                </a:cubicBezTo>
                <a:cubicBezTo>
                  <a:pt x="3733421" y="4714187"/>
                  <a:pt x="3728551" y="4716408"/>
                  <a:pt x="3723681" y="4718075"/>
                </a:cubicBezTo>
                <a:lnTo>
                  <a:pt x="3723108" y="4718186"/>
                </a:lnTo>
                <a:lnTo>
                  <a:pt x="3724542" y="4718631"/>
                </a:lnTo>
                <a:cubicBezTo>
                  <a:pt x="3723396" y="4721186"/>
                  <a:pt x="3720817" y="4724074"/>
                  <a:pt x="3717952" y="4726962"/>
                </a:cubicBezTo>
                <a:cubicBezTo>
                  <a:pt x="3713369" y="4726517"/>
                  <a:pt x="3712509" y="4724518"/>
                  <a:pt x="3713369" y="4722296"/>
                </a:cubicBezTo>
                <a:lnTo>
                  <a:pt x="3714802" y="4720297"/>
                </a:lnTo>
                <a:lnTo>
                  <a:pt x="3708786" y="4721630"/>
                </a:lnTo>
                <a:cubicBezTo>
                  <a:pt x="3699045" y="4723074"/>
                  <a:pt x="3689019" y="4722630"/>
                  <a:pt x="3679279" y="4720741"/>
                </a:cubicBezTo>
                <a:lnTo>
                  <a:pt x="3669253" y="4717076"/>
                </a:lnTo>
                <a:lnTo>
                  <a:pt x="3664670" y="4717631"/>
                </a:lnTo>
                <a:cubicBezTo>
                  <a:pt x="3664670" y="4717631"/>
                  <a:pt x="3664670" y="4717631"/>
                  <a:pt x="3662664" y="4717075"/>
                </a:cubicBezTo>
                <a:lnTo>
                  <a:pt x="3666388" y="4715853"/>
                </a:lnTo>
                <a:lnTo>
                  <a:pt x="3662091" y="4714298"/>
                </a:lnTo>
                <a:lnTo>
                  <a:pt x="3660659" y="4715853"/>
                </a:lnTo>
                <a:cubicBezTo>
                  <a:pt x="3656076" y="4715076"/>
                  <a:pt x="3651492" y="4714298"/>
                  <a:pt x="3653211" y="4711077"/>
                </a:cubicBezTo>
                <a:lnTo>
                  <a:pt x="3653211" y="4710966"/>
                </a:lnTo>
                <a:lnTo>
                  <a:pt x="3651492" y="4710300"/>
                </a:lnTo>
                <a:lnTo>
                  <a:pt x="3652065" y="4712410"/>
                </a:lnTo>
                <a:cubicBezTo>
                  <a:pt x="3652353" y="4713965"/>
                  <a:pt x="3653498" y="4715410"/>
                  <a:pt x="3655503" y="4716742"/>
                </a:cubicBezTo>
                <a:cubicBezTo>
                  <a:pt x="3651779" y="4717519"/>
                  <a:pt x="3651779" y="4717519"/>
                  <a:pt x="3648628" y="4715964"/>
                </a:cubicBezTo>
                <a:cubicBezTo>
                  <a:pt x="3648629" y="4714854"/>
                  <a:pt x="3646910" y="4714631"/>
                  <a:pt x="3648915" y="4713632"/>
                </a:cubicBezTo>
                <a:cubicBezTo>
                  <a:pt x="3647482" y="4712855"/>
                  <a:pt x="3646337" y="4711632"/>
                  <a:pt x="3645190" y="4710188"/>
                </a:cubicBezTo>
                <a:lnTo>
                  <a:pt x="3643758" y="4706966"/>
                </a:lnTo>
                <a:lnTo>
                  <a:pt x="3640607" y="4705745"/>
                </a:lnTo>
                <a:lnTo>
                  <a:pt x="3640607" y="4706744"/>
                </a:lnTo>
                <a:lnTo>
                  <a:pt x="3636883" y="4705634"/>
                </a:lnTo>
                <a:lnTo>
                  <a:pt x="3638028" y="4709411"/>
                </a:lnTo>
                <a:cubicBezTo>
                  <a:pt x="3638029" y="4710966"/>
                  <a:pt x="3638028" y="4712410"/>
                  <a:pt x="3636883" y="4713854"/>
                </a:cubicBezTo>
                <a:cubicBezTo>
                  <a:pt x="3636883" y="4713854"/>
                  <a:pt x="3636883" y="4713743"/>
                  <a:pt x="3637169" y="4712632"/>
                </a:cubicBezTo>
                <a:cubicBezTo>
                  <a:pt x="3637169" y="4712632"/>
                  <a:pt x="3636883" y="4713854"/>
                  <a:pt x="3635164" y="4713632"/>
                </a:cubicBezTo>
                <a:lnTo>
                  <a:pt x="3633159" y="4704523"/>
                </a:lnTo>
                <a:lnTo>
                  <a:pt x="3632873" y="4704523"/>
                </a:lnTo>
                <a:lnTo>
                  <a:pt x="3632299" y="4703746"/>
                </a:lnTo>
                <a:lnTo>
                  <a:pt x="3623992" y="4702857"/>
                </a:lnTo>
                <a:cubicBezTo>
                  <a:pt x="3621127" y="4702079"/>
                  <a:pt x="3618262" y="4700746"/>
                  <a:pt x="3615971" y="4698636"/>
                </a:cubicBezTo>
                <a:cubicBezTo>
                  <a:pt x="3619123" y="4696747"/>
                  <a:pt x="3621700" y="4695636"/>
                  <a:pt x="3624565" y="4695081"/>
                </a:cubicBezTo>
                <a:lnTo>
                  <a:pt x="3627717" y="4695081"/>
                </a:lnTo>
                <a:lnTo>
                  <a:pt x="3626570" y="4686861"/>
                </a:lnTo>
                <a:lnTo>
                  <a:pt x="3627430" y="4683306"/>
                </a:lnTo>
                <a:lnTo>
                  <a:pt x="3625998" y="4679307"/>
                </a:lnTo>
                <a:lnTo>
                  <a:pt x="3624278" y="4679196"/>
                </a:lnTo>
                <a:lnTo>
                  <a:pt x="3623132" y="4679307"/>
                </a:lnTo>
                <a:lnTo>
                  <a:pt x="3622559" y="4678974"/>
                </a:lnTo>
                <a:lnTo>
                  <a:pt x="3618835" y="4678530"/>
                </a:lnTo>
                <a:cubicBezTo>
                  <a:pt x="3616258" y="4678307"/>
                  <a:pt x="3613393" y="4677974"/>
                  <a:pt x="3609096" y="4677529"/>
                </a:cubicBezTo>
                <a:cubicBezTo>
                  <a:pt x="3606231" y="4690637"/>
                  <a:pt x="3592194" y="4688749"/>
                  <a:pt x="3581022" y="4686861"/>
                </a:cubicBezTo>
                <a:cubicBezTo>
                  <a:pt x="3581022" y="4686861"/>
                  <a:pt x="3581022" y="4686861"/>
                  <a:pt x="3575293" y="4701968"/>
                </a:cubicBezTo>
                <a:cubicBezTo>
                  <a:pt x="3566985" y="4703856"/>
                  <a:pt x="3552949" y="4703856"/>
                  <a:pt x="3538626" y="4701968"/>
                </a:cubicBezTo>
                <a:lnTo>
                  <a:pt x="3532037" y="4699746"/>
                </a:lnTo>
                <a:lnTo>
                  <a:pt x="3533469" y="4708744"/>
                </a:lnTo>
                <a:lnTo>
                  <a:pt x="3532610" y="4710411"/>
                </a:lnTo>
                <a:lnTo>
                  <a:pt x="3533183" y="4711743"/>
                </a:lnTo>
                <a:cubicBezTo>
                  <a:pt x="3533469" y="4713742"/>
                  <a:pt x="3532610" y="4716297"/>
                  <a:pt x="3532037" y="4718520"/>
                </a:cubicBezTo>
                <a:lnTo>
                  <a:pt x="3530891" y="4722518"/>
                </a:lnTo>
                <a:lnTo>
                  <a:pt x="3534328" y="4715631"/>
                </a:lnTo>
                <a:cubicBezTo>
                  <a:pt x="3536620" y="4711855"/>
                  <a:pt x="3539198" y="4708745"/>
                  <a:pt x="3541776" y="4708299"/>
                </a:cubicBezTo>
                <a:cubicBezTo>
                  <a:pt x="3542637" y="4709300"/>
                  <a:pt x="3543209" y="4710299"/>
                  <a:pt x="3542637" y="4711966"/>
                </a:cubicBezTo>
                <a:cubicBezTo>
                  <a:pt x="3541776" y="4713632"/>
                  <a:pt x="3541204" y="4712632"/>
                  <a:pt x="3541776" y="4713632"/>
                </a:cubicBezTo>
                <a:cubicBezTo>
                  <a:pt x="3541204" y="4715298"/>
                  <a:pt x="3542637" y="4714631"/>
                  <a:pt x="3542637" y="4714631"/>
                </a:cubicBezTo>
                <a:cubicBezTo>
                  <a:pt x="3542637" y="4714631"/>
                  <a:pt x="3541204" y="4715187"/>
                  <a:pt x="3541204" y="4715187"/>
                </a:cubicBezTo>
                <a:cubicBezTo>
                  <a:pt x="3541204" y="4715187"/>
                  <a:pt x="3541204" y="4715298"/>
                  <a:pt x="3539772" y="4718519"/>
                </a:cubicBezTo>
                <a:cubicBezTo>
                  <a:pt x="3538912" y="4722741"/>
                  <a:pt x="3539771" y="4723851"/>
                  <a:pt x="3540058" y="4726406"/>
                </a:cubicBezTo>
                <a:cubicBezTo>
                  <a:pt x="3538625" y="4729738"/>
                  <a:pt x="3536908" y="4730294"/>
                  <a:pt x="3534043" y="4734182"/>
                </a:cubicBezTo>
                <a:cubicBezTo>
                  <a:pt x="3530318" y="4734405"/>
                  <a:pt x="3530318" y="4734405"/>
                  <a:pt x="3529459" y="4733404"/>
                </a:cubicBezTo>
                <a:cubicBezTo>
                  <a:pt x="3530318" y="4734405"/>
                  <a:pt x="3528886" y="4735071"/>
                  <a:pt x="3528026" y="4736626"/>
                </a:cubicBezTo>
                <a:lnTo>
                  <a:pt x="3524302" y="4740625"/>
                </a:lnTo>
                <a:lnTo>
                  <a:pt x="3525162" y="4741180"/>
                </a:lnTo>
                <a:cubicBezTo>
                  <a:pt x="3526308" y="4742846"/>
                  <a:pt x="3526880" y="4745068"/>
                  <a:pt x="3526021" y="4747845"/>
                </a:cubicBezTo>
                <a:cubicBezTo>
                  <a:pt x="3523729" y="4748400"/>
                  <a:pt x="3521437" y="4748956"/>
                  <a:pt x="3519147" y="4749511"/>
                </a:cubicBezTo>
                <a:lnTo>
                  <a:pt x="3513130" y="4743514"/>
                </a:lnTo>
                <a:lnTo>
                  <a:pt x="3507974" y="4743735"/>
                </a:lnTo>
                <a:cubicBezTo>
                  <a:pt x="3508548" y="4742069"/>
                  <a:pt x="3502532" y="4741958"/>
                  <a:pt x="3499380" y="4740625"/>
                </a:cubicBezTo>
                <a:cubicBezTo>
                  <a:pt x="3497088" y="4737514"/>
                  <a:pt x="3495657" y="4735515"/>
                  <a:pt x="3497088" y="4732293"/>
                </a:cubicBezTo>
                <a:lnTo>
                  <a:pt x="3503104" y="4725962"/>
                </a:lnTo>
                <a:lnTo>
                  <a:pt x="3500812" y="4725628"/>
                </a:lnTo>
                <a:cubicBezTo>
                  <a:pt x="3501099" y="4720408"/>
                  <a:pt x="3502244" y="4714964"/>
                  <a:pt x="3505109" y="4709743"/>
                </a:cubicBezTo>
                <a:lnTo>
                  <a:pt x="3520005" y="4695414"/>
                </a:lnTo>
                <a:lnTo>
                  <a:pt x="3510553" y="4690637"/>
                </a:lnTo>
                <a:cubicBezTo>
                  <a:pt x="3507687" y="4688861"/>
                  <a:pt x="3505110" y="4688750"/>
                  <a:pt x="3505110" y="4688750"/>
                </a:cubicBezTo>
                <a:cubicBezTo>
                  <a:pt x="3502244" y="4686861"/>
                  <a:pt x="3502244" y="4686861"/>
                  <a:pt x="3499380" y="4686861"/>
                </a:cubicBezTo>
                <a:cubicBezTo>
                  <a:pt x="3499380" y="4686861"/>
                  <a:pt x="3499380" y="4686861"/>
                  <a:pt x="3502244" y="4686861"/>
                </a:cubicBezTo>
                <a:lnTo>
                  <a:pt x="3497947" y="4685416"/>
                </a:lnTo>
                <a:lnTo>
                  <a:pt x="3491073" y="4695970"/>
                </a:lnTo>
                <a:cubicBezTo>
                  <a:pt x="3487635" y="4693081"/>
                  <a:pt x="3486202" y="4689971"/>
                  <a:pt x="3485629" y="4686972"/>
                </a:cubicBezTo>
                <a:lnTo>
                  <a:pt x="3487062" y="4681751"/>
                </a:lnTo>
                <a:lnTo>
                  <a:pt x="3486202" y="4681418"/>
                </a:lnTo>
                <a:cubicBezTo>
                  <a:pt x="3482765" y="4678863"/>
                  <a:pt x="3481332" y="4675641"/>
                  <a:pt x="3482766" y="4671864"/>
                </a:cubicBezTo>
                <a:lnTo>
                  <a:pt x="3492791" y="4672309"/>
                </a:lnTo>
                <a:lnTo>
                  <a:pt x="3494511" y="4669976"/>
                </a:lnTo>
                <a:cubicBezTo>
                  <a:pt x="3497088" y="4667642"/>
                  <a:pt x="3499953" y="4665644"/>
                  <a:pt x="3502244" y="4664310"/>
                </a:cubicBezTo>
                <a:lnTo>
                  <a:pt x="3501385" y="4673753"/>
                </a:lnTo>
                <a:lnTo>
                  <a:pt x="3510552" y="4675641"/>
                </a:lnTo>
                <a:cubicBezTo>
                  <a:pt x="3510552" y="4675641"/>
                  <a:pt x="3510838" y="4675530"/>
                  <a:pt x="3507975" y="4683084"/>
                </a:cubicBezTo>
                <a:cubicBezTo>
                  <a:pt x="3510839" y="4684972"/>
                  <a:pt x="3513416" y="4684972"/>
                  <a:pt x="3516281" y="4686861"/>
                </a:cubicBezTo>
                <a:cubicBezTo>
                  <a:pt x="3516281" y="4686861"/>
                  <a:pt x="3516281" y="4686861"/>
                  <a:pt x="3516281" y="4684971"/>
                </a:cubicBezTo>
                <a:cubicBezTo>
                  <a:pt x="3516281" y="4676530"/>
                  <a:pt x="3516281" y="4660646"/>
                  <a:pt x="3505683" y="4648426"/>
                </a:cubicBezTo>
                <a:lnTo>
                  <a:pt x="3499666" y="4644316"/>
                </a:lnTo>
                <a:lnTo>
                  <a:pt x="3499380" y="4644872"/>
                </a:lnTo>
                <a:cubicBezTo>
                  <a:pt x="3498520" y="4645427"/>
                  <a:pt x="3497661" y="4645982"/>
                  <a:pt x="3496802" y="4646093"/>
                </a:cubicBezTo>
                <a:cubicBezTo>
                  <a:pt x="3495656" y="4646093"/>
                  <a:pt x="3494511" y="4645649"/>
                  <a:pt x="3492791" y="4644427"/>
                </a:cubicBezTo>
                <a:cubicBezTo>
                  <a:pt x="3491072" y="4643650"/>
                  <a:pt x="3490213" y="4642983"/>
                  <a:pt x="3490214" y="4642094"/>
                </a:cubicBezTo>
                <a:lnTo>
                  <a:pt x="3492506" y="4639095"/>
                </a:lnTo>
                <a:lnTo>
                  <a:pt x="3491072" y="4637984"/>
                </a:lnTo>
                <a:lnTo>
                  <a:pt x="3485056" y="4639761"/>
                </a:lnTo>
                <a:lnTo>
                  <a:pt x="3487635" y="4641538"/>
                </a:lnTo>
                <a:cubicBezTo>
                  <a:pt x="3491932" y="4646093"/>
                  <a:pt x="3492505" y="4653425"/>
                  <a:pt x="3491645" y="4658090"/>
                </a:cubicBezTo>
                <a:cubicBezTo>
                  <a:pt x="3487062" y="4658757"/>
                  <a:pt x="3487062" y="4661312"/>
                  <a:pt x="3482478" y="4661978"/>
                </a:cubicBezTo>
                <a:cubicBezTo>
                  <a:pt x="3479328" y="4654647"/>
                  <a:pt x="3475317" y="4647092"/>
                  <a:pt x="3477609" y="4641983"/>
                </a:cubicBezTo>
                <a:lnTo>
                  <a:pt x="3479042" y="4640762"/>
                </a:lnTo>
                <a:lnTo>
                  <a:pt x="3475031" y="4640983"/>
                </a:lnTo>
                <a:cubicBezTo>
                  <a:pt x="3460134" y="4640317"/>
                  <a:pt x="3447530" y="4630542"/>
                  <a:pt x="3434926" y="4624876"/>
                </a:cubicBezTo>
                <a:cubicBezTo>
                  <a:pt x="3434926" y="4624876"/>
                  <a:pt x="3432061" y="4624765"/>
                  <a:pt x="3432061" y="4626654"/>
                </a:cubicBezTo>
                <a:cubicBezTo>
                  <a:pt x="3429196" y="4626654"/>
                  <a:pt x="3426331" y="4626764"/>
                  <a:pt x="3426331" y="4624876"/>
                </a:cubicBezTo>
                <a:cubicBezTo>
                  <a:pt x="3423467" y="4624877"/>
                  <a:pt x="3423467" y="4622988"/>
                  <a:pt x="3426332" y="4621099"/>
                </a:cubicBezTo>
                <a:cubicBezTo>
                  <a:pt x="3429196" y="4621100"/>
                  <a:pt x="3432061" y="4619211"/>
                  <a:pt x="3434925" y="4619211"/>
                </a:cubicBezTo>
                <a:cubicBezTo>
                  <a:pt x="3434925" y="4619211"/>
                  <a:pt x="3434925" y="4619211"/>
                  <a:pt x="3432061" y="4617323"/>
                </a:cubicBezTo>
                <a:cubicBezTo>
                  <a:pt x="3429196" y="4617323"/>
                  <a:pt x="3425758" y="4616767"/>
                  <a:pt x="3422321" y="4615879"/>
                </a:cubicBezTo>
                <a:lnTo>
                  <a:pt x="3418024" y="4613990"/>
                </a:lnTo>
                <a:lnTo>
                  <a:pt x="3417165" y="4614212"/>
                </a:lnTo>
                <a:lnTo>
                  <a:pt x="3404561" y="4613990"/>
                </a:lnTo>
                <a:lnTo>
                  <a:pt x="3402555" y="4617100"/>
                </a:lnTo>
                <a:lnTo>
                  <a:pt x="3400550" y="4619878"/>
                </a:lnTo>
                <a:lnTo>
                  <a:pt x="3401695" y="4620099"/>
                </a:lnTo>
                <a:cubicBezTo>
                  <a:pt x="3402269" y="4620210"/>
                  <a:pt x="3402841" y="4620099"/>
                  <a:pt x="3402555" y="4619655"/>
                </a:cubicBezTo>
                <a:cubicBezTo>
                  <a:pt x="3404560" y="4620100"/>
                  <a:pt x="3405992" y="4620878"/>
                  <a:pt x="3406852" y="4621877"/>
                </a:cubicBezTo>
                <a:cubicBezTo>
                  <a:pt x="3407711" y="4622877"/>
                  <a:pt x="3407999" y="4624099"/>
                  <a:pt x="3407712" y="4625320"/>
                </a:cubicBezTo>
                <a:cubicBezTo>
                  <a:pt x="3406852" y="4626987"/>
                  <a:pt x="3403702" y="4627987"/>
                  <a:pt x="3398259" y="4628542"/>
                </a:cubicBezTo>
                <a:cubicBezTo>
                  <a:pt x="3396825" y="4627765"/>
                  <a:pt x="3396825" y="4626098"/>
                  <a:pt x="3397398" y="4624431"/>
                </a:cubicBezTo>
                <a:lnTo>
                  <a:pt x="3398258" y="4620655"/>
                </a:lnTo>
                <a:lnTo>
                  <a:pt x="3395393" y="4621099"/>
                </a:lnTo>
                <a:cubicBezTo>
                  <a:pt x="3392816" y="4613545"/>
                  <a:pt x="3375627" y="4609769"/>
                  <a:pt x="3364456" y="4611658"/>
                </a:cubicBezTo>
                <a:lnTo>
                  <a:pt x="3364455" y="4612546"/>
                </a:lnTo>
                <a:lnTo>
                  <a:pt x="3368180" y="4611990"/>
                </a:lnTo>
                <a:cubicBezTo>
                  <a:pt x="3376487" y="4612102"/>
                  <a:pt x="3384222" y="4614434"/>
                  <a:pt x="3384794" y="4618878"/>
                </a:cubicBezTo>
                <a:cubicBezTo>
                  <a:pt x="3384794" y="4620100"/>
                  <a:pt x="3384508" y="4621544"/>
                  <a:pt x="3383362" y="4623099"/>
                </a:cubicBezTo>
                <a:cubicBezTo>
                  <a:pt x="3380497" y="4624432"/>
                  <a:pt x="3377919" y="4625543"/>
                  <a:pt x="3375054" y="4626432"/>
                </a:cubicBezTo>
                <a:lnTo>
                  <a:pt x="3373622" y="4626653"/>
                </a:lnTo>
                <a:lnTo>
                  <a:pt x="3378493" y="4630542"/>
                </a:lnTo>
                <a:cubicBezTo>
                  <a:pt x="3378493" y="4630542"/>
                  <a:pt x="3381356" y="4630542"/>
                  <a:pt x="3384221" y="4630541"/>
                </a:cubicBezTo>
                <a:cubicBezTo>
                  <a:pt x="3384221" y="4630541"/>
                  <a:pt x="3387086" y="4632319"/>
                  <a:pt x="3387086" y="4632319"/>
                </a:cubicBezTo>
                <a:cubicBezTo>
                  <a:pt x="3389950" y="4632318"/>
                  <a:pt x="3389950" y="4634207"/>
                  <a:pt x="3389951" y="4636095"/>
                </a:cubicBezTo>
                <a:cubicBezTo>
                  <a:pt x="3389950" y="4637983"/>
                  <a:pt x="3387086" y="4639873"/>
                  <a:pt x="3381356" y="4637984"/>
                </a:cubicBezTo>
                <a:cubicBezTo>
                  <a:pt x="3378778" y="4637984"/>
                  <a:pt x="3375915" y="4637984"/>
                  <a:pt x="3373050" y="4636096"/>
                </a:cubicBezTo>
                <a:cubicBezTo>
                  <a:pt x="3370184" y="4636095"/>
                  <a:pt x="3370184" y="4636095"/>
                  <a:pt x="3370184" y="4636095"/>
                </a:cubicBezTo>
                <a:cubicBezTo>
                  <a:pt x="3370184" y="4636095"/>
                  <a:pt x="3370184" y="4637984"/>
                  <a:pt x="3367321" y="4637984"/>
                </a:cubicBezTo>
                <a:cubicBezTo>
                  <a:pt x="3367321" y="4637984"/>
                  <a:pt x="3364455" y="4639873"/>
                  <a:pt x="3364455" y="4639873"/>
                </a:cubicBezTo>
                <a:cubicBezTo>
                  <a:pt x="3378493" y="4649203"/>
                  <a:pt x="3356149" y="4658645"/>
                  <a:pt x="3336381" y="4649314"/>
                </a:cubicBezTo>
                <a:lnTo>
                  <a:pt x="3342685" y="4645204"/>
                </a:lnTo>
                <a:lnTo>
                  <a:pt x="3337814" y="4643650"/>
                </a:lnTo>
                <a:cubicBezTo>
                  <a:pt x="3336381" y="4642428"/>
                  <a:pt x="3336381" y="4640651"/>
                  <a:pt x="3336954" y="4637539"/>
                </a:cubicBezTo>
                <a:cubicBezTo>
                  <a:pt x="3336954" y="4637539"/>
                  <a:pt x="3338101" y="4635985"/>
                  <a:pt x="3338101" y="4635985"/>
                </a:cubicBezTo>
                <a:cubicBezTo>
                  <a:pt x="3339820" y="4633208"/>
                  <a:pt x="3342684" y="4630542"/>
                  <a:pt x="3345835" y="4628764"/>
                </a:cubicBezTo>
                <a:lnTo>
                  <a:pt x="3352997" y="4626432"/>
                </a:lnTo>
                <a:lnTo>
                  <a:pt x="3350418" y="4624876"/>
                </a:lnTo>
                <a:cubicBezTo>
                  <a:pt x="3350418" y="4622988"/>
                  <a:pt x="3347840" y="4617323"/>
                  <a:pt x="3347840" y="4615434"/>
                </a:cubicBezTo>
                <a:cubicBezTo>
                  <a:pt x="3347840" y="4615434"/>
                  <a:pt x="3347840" y="4615434"/>
                  <a:pt x="3347840" y="4613545"/>
                </a:cubicBezTo>
                <a:cubicBezTo>
                  <a:pt x="3350419" y="4611769"/>
                  <a:pt x="3350418" y="4609769"/>
                  <a:pt x="3353283" y="4609769"/>
                </a:cubicBezTo>
                <a:lnTo>
                  <a:pt x="3334949" y="4602660"/>
                </a:lnTo>
                <a:lnTo>
                  <a:pt x="3340678" y="4606103"/>
                </a:lnTo>
                <a:cubicBezTo>
                  <a:pt x="3339533" y="4606548"/>
                  <a:pt x="3337528" y="4606437"/>
                  <a:pt x="3335522" y="4605991"/>
                </a:cubicBezTo>
                <a:lnTo>
                  <a:pt x="3330652" y="4604214"/>
                </a:lnTo>
                <a:lnTo>
                  <a:pt x="3320627" y="4607770"/>
                </a:lnTo>
                <a:cubicBezTo>
                  <a:pt x="3317761" y="4608214"/>
                  <a:pt x="3315756" y="4607880"/>
                  <a:pt x="3314038" y="4607103"/>
                </a:cubicBezTo>
                <a:cubicBezTo>
                  <a:pt x="3309740" y="4604770"/>
                  <a:pt x="3310313" y="4598660"/>
                  <a:pt x="3313464" y="4595328"/>
                </a:cubicBezTo>
                <a:lnTo>
                  <a:pt x="3315183" y="4594329"/>
                </a:lnTo>
                <a:lnTo>
                  <a:pt x="3296276" y="4585553"/>
                </a:lnTo>
                <a:cubicBezTo>
                  <a:pt x="3294272" y="4585998"/>
                  <a:pt x="3292553" y="4586108"/>
                  <a:pt x="3291120" y="4585886"/>
                </a:cubicBezTo>
                <a:lnTo>
                  <a:pt x="3291980" y="4583554"/>
                </a:lnTo>
                <a:lnTo>
                  <a:pt x="3291408" y="4583554"/>
                </a:lnTo>
                <a:lnTo>
                  <a:pt x="3266484" y="4573112"/>
                </a:lnTo>
                <a:lnTo>
                  <a:pt x="3266484" y="4573334"/>
                </a:lnTo>
                <a:cubicBezTo>
                  <a:pt x="3260182" y="4578332"/>
                  <a:pt x="3251875" y="4578555"/>
                  <a:pt x="3245859" y="4577444"/>
                </a:cubicBezTo>
                <a:lnTo>
                  <a:pt x="3242709" y="4583664"/>
                </a:lnTo>
                <a:lnTo>
                  <a:pt x="3242708" y="4583775"/>
                </a:lnTo>
                <a:cubicBezTo>
                  <a:pt x="3243854" y="4584664"/>
                  <a:pt x="3244713" y="4585553"/>
                  <a:pt x="3243854" y="4586663"/>
                </a:cubicBezTo>
                <a:lnTo>
                  <a:pt x="3242994" y="4585775"/>
                </a:lnTo>
                <a:lnTo>
                  <a:pt x="3246432" y="4592884"/>
                </a:lnTo>
                <a:cubicBezTo>
                  <a:pt x="3244999" y="4593329"/>
                  <a:pt x="3243281" y="4593107"/>
                  <a:pt x="3241562" y="4592552"/>
                </a:cubicBezTo>
                <a:lnTo>
                  <a:pt x="3237551" y="4591329"/>
                </a:lnTo>
                <a:lnTo>
                  <a:pt x="3239271" y="4594884"/>
                </a:lnTo>
                <a:cubicBezTo>
                  <a:pt x="3236978" y="4600549"/>
                  <a:pt x="3228671" y="4602882"/>
                  <a:pt x="3221510" y="4601215"/>
                </a:cubicBezTo>
                <a:lnTo>
                  <a:pt x="3219791" y="4600438"/>
                </a:lnTo>
                <a:lnTo>
                  <a:pt x="3214635" y="4600438"/>
                </a:lnTo>
                <a:cubicBezTo>
                  <a:pt x="3210052" y="4601326"/>
                  <a:pt x="3205754" y="4603215"/>
                  <a:pt x="3201743" y="4605992"/>
                </a:cubicBezTo>
                <a:cubicBezTo>
                  <a:pt x="3186274" y="4601326"/>
                  <a:pt x="3179685" y="4595217"/>
                  <a:pt x="3174529" y="4588885"/>
                </a:cubicBezTo>
                <a:lnTo>
                  <a:pt x="3170519" y="4584330"/>
                </a:lnTo>
                <a:lnTo>
                  <a:pt x="3170519" y="4584997"/>
                </a:lnTo>
                <a:cubicBezTo>
                  <a:pt x="3156769" y="4580332"/>
                  <a:pt x="3144737" y="4585997"/>
                  <a:pt x="3133565" y="4587774"/>
                </a:cubicBezTo>
                <a:lnTo>
                  <a:pt x="3126690" y="4587664"/>
                </a:lnTo>
                <a:lnTo>
                  <a:pt x="3127263" y="4588108"/>
                </a:lnTo>
                <a:lnTo>
                  <a:pt x="3128408" y="4590329"/>
                </a:lnTo>
                <a:lnTo>
                  <a:pt x="3138721" y="4590774"/>
                </a:lnTo>
                <a:cubicBezTo>
                  <a:pt x="3148748" y="4592440"/>
                  <a:pt x="3157342" y="4597772"/>
                  <a:pt x="3160493" y="4608325"/>
                </a:cubicBezTo>
                <a:lnTo>
                  <a:pt x="3160206" y="4613879"/>
                </a:lnTo>
                <a:lnTo>
                  <a:pt x="3160492" y="4613991"/>
                </a:lnTo>
                <a:lnTo>
                  <a:pt x="3159920" y="4616212"/>
                </a:lnTo>
                <a:lnTo>
                  <a:pt x="3159920" y="4617989"/>
                </a:lnTo>
                <a:lnTo>
                  <a:pt x="3153617" y="4629208"/>
                </a:lnTo>
                <a:lnTo>
                  <a:pt x="3161066" y="4635763"/>
                </a:lnTo>
                <a:cubicBezTo>
                  <a:pt x="3165362" y="4644761"/>
                  <a:pt x="3154763" y="4654425"/>
                  <a:pt x="3140440" y="4656868"/>
                </a:cubicBezTo>
                <a:lnTo>
                  <a:pt x="3136143" y="4657091"/>
                </a:lnTo>
                <a:lnTo>
                  <a:pt x="3139008" y="4662978"/>
                </a:lnTo>
                <a:cubicBezTo>
                  <a:pt x="3139295" y="4664977"/>
                  <a:pt x="3138435" y="4666866"/>
                  <a:pt x="3137290" y="4668310"/>
                </a:cubicBezTo>
                <a:lnTo>
                  <a:pt x="3132419" y="4670421"/>
                </a:lnTo>
                <a:lnTo>
                  <a:pt x="3131559" y="4671642"/>
                </a:lnTo>
                <a:cubicBezTo>
                  <a:pt x="3130700" y="4672642"/>
                  <a:pt x="3129554" y="4672865"/>
                  <a:pt x="3127264" y="4672198"/>
                </a:cubicBezTo>
                <a:cubicBezTo>
                  <a:pt x="3125544" y="4672087"/>
                  <a:pt x="3124684" y="4671309"/>
                  <a:pt x="3124111" y="4670421"/>
                </a:cubicBezTo>
                <a:lnTo>
                  <a:pt x="3123825" y="4670310"/>
                </a:lnTo>
                <a:lnTo>
                  <a:pt x="3120388" y="4669976"/>
                </a:lnTo>
                <a:lnTo>
                  <a:pt x="3119242" y="4667977"/>
                </a:lnTo>
                <a:lnTo>
                  <a:pt x="3114372" y="4668643"/>
                </a:lnTo>
                <a:cubicBezTo>
                  <a:pt x="3112366" y="4669421"/>
                  <a:pt x="3110361" y="4670642"/>
                  <a:pt x="3108070" y="4671642"/>
                </a:cubicBezTo>
                <a:lnTo>
                  <a:pt x="3106924" y="4672087"/>
                </a:lnTo>
                <a:lnTo>
                  <a:pt x="3104918" y="4676641"/>
                </a:lnTo>
                <a:cubicBezTo>
                  <a:pt x="3102627" y="4676418"/>
                  <a:pt x="3100048" y="4676086"/>
                  <a:pt x="3097758" y="4675863"/>
                </a:cubicBezTo>
                <a:lnTo>
                  <a:pt x="3097185" y="4674308"/>
                </a:lnTo>
                <a:lnTo>
                  <a:pt x="3090022" y="4674086"/>
                </a:lnTo>
                <a:cubicBezTo>
                  <a:pt x="3092314" y="4671087"/>
                  <a:pt x="3083721" y="4667088"/>
                  <a:pt x="3087445" y="4662645"/>
                </a:cubicBezTo>
                <a:cubicBezTo>
                  <a:pt x="3094033" y="4651870"/>
                  <a:pt x="3099190" y="4649759"/>
                  <a:pt x="3106637" y="4649648"/>
                </a:cubicBezTo>
                <a:lnTo>
                  <a:pt x="3110648" y="4649648"/>
                </a:lnTo>
                <a:lnTo>
                  <a:pt x="3106924" y="4646648"/>
                </a:lnTo>
                <a:lnTo>
                  <a:pt x="3106637" y="4646871"/>
                </a:lnTo>
                <a:cubicBezTo>
                  <a:pt x="3100622" y="4645316"/>
                  <a:pt x="3099763" y="4640650"/>
                  <a:pt x="3100622" y="4635985"/>
                </a:cubicBezTo>
                <a:lnTo>
                  <a:pt x="3100622" y="4635429"/>
                </a:lnTo>
                <a:lnTo>
                  <a:pt x="3095180" y="4632652"/>
                </a:lnTo>
                <a:cubicBezTo>
                  <a:pt x="3093460" y="4631319"/>
                  <a:pt x="3092027" y="4629875"/>
                  <a:pt x="3091169" y="4627987"/>
                </a:cubicBezTo>
                <a:lnTo>
                  <a:pt x="3089163" y="4621655"/>
                </a:lnTo>
                <a:lnTo>
                  <a:pt x="3085439" y="4620877"/>
                </a:lnTo>
                <a:cubicBezTo>
                  <a:pt x="3082861" y="4608214"/>
                  <a:pt x="3087444" y="4604104"/>
                  <a:pt x="3093746" y="4604215"/>
                </a:cubicBezTo>
                <a:lnTo>
                  <a:pt x="3095179" y="4604659"/>
                </a:lnTo>
                <a:lnTo>
                  <a:pt x="3101481" y="4598994"/>
                </a:lnTo>
                <a:cubicBezTo>
                  <a:pt x="3105205" y="4596550"/>
                  <a:pt x="3109502" y="4594438"/>
                  <a:pt x="3114085" y="4592995"/>
                </a:cubicBezTo>
                <a:lnTo>
                  <a:pt x="3122106" y="4591551"/>
                </a:lnTo>
                <a:lnTo>
                  <a:pt x="3121820" y="4591440"/>
                </a:lnTo>
                <a:cubicBezTo>
                  <a:pt x="3122106" y="4591107"/>
                  <a:pt x="3122679" y="4590329"/>
                  <a:pt x="3122967" y="4589108"/>
                </a:cubicBezTo>
                <a:lnTo>
                  <a:pt x="3123826" y="4587552"/>
                </a:lnTo>
                <a:lnTo>
                  <a:pt x="3122679" y="4587552"/>
                </a:lnTo>
                <a:lnTo>
                  <a:pt x="3116951" y="4585109"/>
                </a:lnTo>
                <a:lnTo>
                  <a:pt x="3114085" y="4587219"/>
                </a:lnTo>
                <a:cubicBezTo>
                  <a:pt x="3112939" y="4588774"/>
                  <a:pt x="3111508" y="4590219"/>
                  <a:pt x="3110075" y="4591218"/>
                </a:cubicBezTo>
                <a:cubicBezTo>
                  <a:pt x="3108642" y="4592106"/>
                  <a:pt x="3107210" y="4592440"/>
                  <a:pt x="3105205" y="4591774"/>
                </a:cubicBezTo>
                <a:cubicBezTo>
                  <a:pt x="3105491" y="4588108"/>
                  <a:pt x="3106351" y="4585553"/>
                  <a:pt x="3108356" y="4581554"/>
                </a:cubicBezTo>
                <a:cubicBezTo>
                  <a:pt x="3108356" y="4581554"/>
                  <a:pt x="3112940" y="4575556"/>
                  <a:pt x="3118669" y="4576555"/>
                </a:cubicBezTo>
                <a:cubicBezTo>
                  <a:pt x="3119528" y="4576332"/>
                  <a:pt x="3120387" y="4577333"/>
                  <a:pt x="3120961" y="4578555"/>
                </a:cubicBezTo>
                <a:cubicBezTo>
                  <a:pt x="3121533" y="4579777"/>
                  <a:pt x="3121533" y="4581220"/>
                  <a:pt x="3120960" y="4581887"/>
                </a:cubicBezTo>
                <a:lnTo>
                  <a:pt x="3116950" y="4584887"/>
                </a:lnTo>
                <a:lnTo>
                  <a:pt x="3137290" y="4576222"/>
                </a:lnTo>
                <a:cubicBezTo>
                  <a:pt x="3141300" y="4575000"/>
                  <a:pt x="3145310" y="4574000"/>
                  <a:pt x="3149893" y="4573556"/>
                </a:cubicBezTo>
                <a:lnTo>
                  <a:pt x="3158487" y="4573667"/>
                </a:lnTo>
                <a:lnTo>
                  <a:pt x="3153904" y="4570334"/>
                </a:lnTo>
                <a:cubicBezTo>
                  <a:pt x="3159347" y="4560892"/>
                  <a:pt x="3159347" y="4562781"/>
                  <a:pt x="3167940" y="4555227"/>
                </a:cubicBezTo>
                <a:lnTo>
                  <a:pt x="3163357" y="4551895"/>
                </a:lnTo>
                <a:lnTo>
                  <a:pt x="3152186" y="4551006"/>
                </a:lnTo>
                <a:cubicBezTo>
                  <a:pt x="3141299" y="4551672"/>
                  <a:pt x="3136143" y="4556783"/>
                  <a:pt x="3128695" y="4559781"/>
                </a:cubicBezTo>
                <a:lnTo>
                  <a:pt x="3113513" y="4554894"/>
                </a:lnTo>
                <a:lnTo>
                  <a:pt x="3110935" y="4558337"/>
                </a:lnTo>
                <a:cubicBezTo>
                  <a:pt x="3110075" y="4558782"/>
                  <a:pt x="3108643" y="4559226"/>
                  <a:pt x="3107210" y="4559448"/>
                </a:cubicBezTo>
                <a:cubicBezTo>
                  <a:pt x="3106065" y="4559670"/>
                  <a:pt x="3104919" y="4559559"/>
                  <a:pt x="3104060" y="4558893"/>
                </a:cubicBezTo>
                <a:cubicBezTo>
                  <a:pt x="3104059" y="4557783"/>
                  <a:pt x="3102340" y="4557560"/>
                  <a:pt x="3102340" y="4556338"/>
                </a:cubicBezTo>
                <a:cubicBezTo>
                  <a:pt x="3100908" y="4553894"/>
                  <a:pt x="3100908" y="4552672"/>
                  <a:pt x="3102627" y="4551673"/>
                </a:cubicBezTo>
                <a:lnTo>
                  <a:pt x="3098330" y="4550673"/>
                </a:lnTo>
                <a:lnTo>
                  <a:pt x="3097185" y="4551450"/>
                </a:lnTo>
                <a:cubicBezTo>
                  <a:pt x="3094606" y="4551450"/>
                  <a:pt x="3094606" y="4551450"/>
                  <a:pt x="3091742" y="4549563"/>
                </a:cubicBezTo>
                <a:lnTo>
                  <a:pt x="3091168" y="4549006"/>
                </a:lnTo>
                <a:lnTo>
                  <a:pt x="3079423" y="4546340"/>
                </a:lnTo>
                <a:lnTo>
                  <a:pt x="3077991" y="4544230"/>
                </a:lnTo>
                <a:lnTo>
                  <a:pt x="3077705" y="4544230"/>
                </a:lnTo>
                <a:cubicBezTo>
                  <a:pt x="3074841" y="4543119"/>
                  <a:pt x="3071976" y="4541231"/>
                  <a:pt x="3069398" y="4540231"/>
                </a:cubicBezTo>
                <a:lnTo>
                  <a:pt x="3071688" y="4536010"/>
                </a:lnTo>
                <a:lnTo>
                  <a:pt x="3065100" y="4527012"/>
                </a:lnTo>
                <a:lnTo>
                  <a:pt x="3063667" y="4525124"/>
                </a:lnTo>
                <a:lnTo>
                  <a:pt x="3061089" y="4528123"/>
                </a:lnTo>
                <a:cubicBezTo>
                  <a:pt x="3059084" y="4529123"/>
                  <a:pt x="3055360" y="4529900"/>
                  <a:pt x="3051063" y="4530123"/>
                </a:cubicBezTo>
                <a:cubicBezTo>
                  <a:pt x="3047053" y="4530344"/>
                  <a:pt x="3042756" y="4530011"/>
                  <a:pt x="3040177" y="4528678"/>
                </a:cubicBezTo>
                <a:cubicBezTo>
                  <a:pt x="3042184" y="4526568"/>
                  <a:pt x="3043901" y="4524457"/>
                  <a:pt x="3045620" y="4522235"/>
                </a:cubicBezTo>
                <a:cubicBezTo>
                  <a:pt x="3045621" y="4523457"/>
                  <a:pt x="3061090" y="4522458"/>
                  <a:pt x="3061090" y="4522458"/>
                </a:cubicBezTo>
                <a:lnTo>
                  <a:pt x="3063096" y="4524569"/>
                </a:lnTo>
                <a:lnTo>
                  <a:pt x="3059370" y="4519348"/>
                </a:lnTo>
                <a:lnTo>
                  <a:pt x="3053928" y="4519125"/>
                </a:lnTo>
                <a:cubicBezTo>
                  <a:pt x="3050490" y="4519570"/>
                  <a:pt x="3046766" y="4520569"/>
                  <a:pt x="3043902" y="4521458"/>
                </a:cubicBezTo>
                <a:cubicBezTo>
                  <a:pt x="3043901" y="4523346"/>
                  <a:pt x="3041323" y="4523346"/>
                  <a:pt x="3038459" y="4521457"/>
                </a:cubicBezTo>
                <a:cubicBezTo>
                  <a:pt x="3035595" y="4521458"/>
                  <a:pt x="3035594" y="4519570"/>
                  <a:pt x="3038459" y="4517792"/>
                </a:cubicBezTo>
                <a:cubicBezTo>
                  <a:pt x="3041323" y="4514904"/>
                  <a:pt x="3046194" y="4513016"/>
                  <a:pt x="3051349" y="4512349"/>
                </a:cubicBezTo>
                <a:lnTo>
                  <a:pt x="3054214" y="4512682"/>
                </a:lnTo>
                <a:lnTo>
                  <a:pt x="3050490" y="4507572"/>
                </a:lnTo>
                <a:cubicBezTo>
                  <a:pt x="3057079" y="4501685"/>
                  <a:pt x="3058799" y="4492576"/>
                  <a:pt x="3061950" y="4484134"/>
                </a:cubicBezTo>
                <a:lnTo>
                  <a:pt x="3063096" y="4481912"/>
                </a:lnTo>
                <a:lnTo>
                  <a:pt x="3058512" y="4479246"/>
                </a:lnTo>
                <a:lnTo>
                  <a:pt x="3051063" y="4475247"/>
                </a:lnTo>
                <a:lnTo>
                  <a:pt x="3049918" y="4475692"/>
                </a:lnTo>
                <a:cubicBezTo>
                  <a:pt x="3046480" y="4476025"/>
                  <a:pt x="3041897" y="4474914"/>
                  <a:pt x="3036740" y="4472804"/>
                </a:cubicBezTo>
                <a:lnTo>
                  <a:pt x="3039891" y="4469027"/>
                </a:lnTo>
                <a:lnTo>
                  <a:pt x="3035880" y="4466915"/>
                </a:lnTo>
                <a:cubicBezTo>
                  <a:pt x="3037313" y="4463140"/>
                  <a:pt x="3042183" y="4463139"/>
                  <a:pt x="3045620" y="4463140"/>
                </a:cubicBezTo>
                <a:lnTo>
                  <a:pt x="3048198" y="4462806"/>
                </a:lnTo>
                <a:lnTo>
                  <a:pt x="3045335" y="4460585"/>
                </a:lnTo>
                <a:lnTo>
                  <a:pt x="3047339" y="4459807"/>
                </a:lnTo>
                <a:lnTo>
                  <a:pt x="3047053" y="4459363"/>
                </a:lnTo>
                <a:lnTo>
                  <a:pt x="3036168" y="4458473"/>
                </a:lnTo>
                <a:lnTo>
                  <a:pt x="3036453" y="4458918"/>
                </a:lnTo>
                <a:cubicBezTo>
                  <a:pt x="3035881" y="4461585"/>
                  <a:pt x="3032156" y="4461584"/>
                  <a:pt x="3030438" y="4464694"/>
                </a:cubicBezTo>
                <a:cubicBezTo>
                  <a:pt x="3029292" y="4467582"/>
                  <a:pt x="3032730" y="4469694"/>
                  <a:pt x="3036168" y="4472359"/>
                </a:cubicBezTo>
                <a:lnTo>
                  <a:pt x="3036454" y="4472915"/>
                </a:lnTo>
                <a:lnTo>
                  <a:pt x="3036741" y="4473026"/>
                </a:lnTo>
                <a:cubicBezTo>
                  <a:pt x="3038172" y="4473803"/>
                  <a:pt x="3038745" y="4474803"/>
                  <a:pt x="3039318" y="4476025"/>
                </a:cubicBezTo>
                <a:lnTo>
                  <a:pt x="3039318" y="4476247"/>
                </a:lnTo>
                <a:lnTo>
                  <a:pt x="3040177" y="4477247"/>
                </a:lnTo>
                <a:cubicBezTo>
                  <a:pt x="3041037" y="4479246"/>
                  <a:pt x="3041037" y="4481468"/>
                  <a:pt x="3039891" y="4484467"/>
                </a:cubicBezTo>
                <a:cubicBezTo>
                  <a:pt x="3035594" y="4483356"/>
                  <a:pt x="3030151" y="4490244"/>
                  <a:pt x="3023849" y="4488578"/>
                </a:cubicBezTo>
                <a:lnTo>
                  <a:pt x="3018979" y="4487466"/>
                </a:lnTo>
                <a:lnTo>
                  <a:pt x="3020125" y="4490021"/>
                </a:lnTo>
                <a:lnTo>
                  <a:pt x="3002365" y="4491799"/>
                </a:lnTo>
                <a:lnTo>
                  <a:pt x="2999213" y="4495131"/>
                </a:lnTo>
                <a:cubicBezTo>
                  <a:pt x="2999213" y="4495131"/>
                  <a:pt x="2999213" y="4495131"/>
                  <a:pt x="2997782" y="4494465"/>
                </a:cubicBezTo>
                <a:lnTo>
                  <a:pt x="2992624" y="4492020"/>
                </a:lnTo>
                <a:lnTo>
                  <a:pt x="2986322" y="4491910"/>
                </a:lnTo>
                <a:cubicBezTo>
                  <a:pt x="2984317" y="4491799"/>
                  <a:pt x="2983458" y="4491466"/>
                  <a:pt x="2982884" y="4490910"/>
                </a:cubicBezTo>
                <a:cubicBezTo>
                  <a:pt x="2982312" y="4490243"/>
                  <a:pt x="2982312" y="4489355"/>
                  <a:pt x="2982599" y="4488022"/>
                </a:cubicBezTo>
                <a:cubicBezTo>
                  <a:pt x="2984031" y="4486689"/>
                  <a:pt x="2985176" y="4485910"/>
                  <a:pt x="2986895" y="4485245"/>
                </a:cubicBezTo>
                <a:lnTo>
                  <a:pt x="2991192" y="4484356"/>
                </a:lnTo>
                <a:lnTo>
                  <a:pt x="2991765" y="4483690"/>
                </a:lnTo>
                <a:lnTo>
                  <a:pt x="2985177" y="4484912"/>
                </a:lnTo>
                <a:cubicBezTo>
                  <a:pt x="2978588" y="4485356"/>
                  <a:pt x="2971712" y="4484801"/>
                  <a:pt x="2969134" y="4485022"/>
                </a:cubicBezTo>
                <a:cubicBezTo>
                  <a:pt x="2969134" y="4485022"/>
                  <a:pt x="2967702" y="4485579"/>
                  <a:pt x="2965410" y="4485022"/>
                </a:cubicBezTo>
                <a:cubicBezTo>
                  <a:pt x="2961686" y="4485023"/>
                  <a:pt x="2965983" y="4482468"/>
                  <a:pt x="2963692" y="4481913"/>
                </a:cubicBezTo>
                <a:cubicBezTo>
                  <a:pt x="2977443" y="4479913"/>
                  <a:pt x="2986896" y="4474137"/>
                  <a:pt x="2986896" y="4474137"/>
                </a:cubicBezTo>
                <a:cubicBezTo>
                  <a:pt x="2990620" y="4474137"/>
                  <a:pt x="2991193" y="4475136"/>
                  <a:pt x="2990620" y="4474137"/>
                </a:cubicBezTo>
                <a:cubicBezTo>
                  <a:pt x="2994917" y="4475247"/>
                  <a:pt x="3000932" y="4475802"/>
                  <a:pt x="3000645" y="4478358"/>
                </a:cubicBezTo>
                <a:lnTo>
                  <a:pt x="2996348" y="4481690"/>
                </a:lnTo>
                <a:lnTo>
                  <a:pt x="3001219" y="4480691"/>
                </a:lnTo>
                <a:lnTo>
                  <a:pt x="3006662" y="4482690"/>
                </a:lnTo>
                <a:lnTo>
                  <a:pt x="3006376" y="4482467"/>
                </a:lnTo>
                <a:cubicBezTo>
                  <a:pt x="3004083" y="4479802"/>
                  <a:pt x="3004656" y="4476470"/>
                  <a:pt x="3004656" y="4471914"/>
                </a:cubicBezTo>
                <a:cubicBezTo>
                  <a:pt x="3005229" y="4473026"/>
                  <a:pt x="3006375" y="4471471"/>
                  <a:pt x="3006375" y="4471471"/>
                </a:cubicBezTo>
                <a:cubicBezTo>
                  <a:pt x="3008093" y="4468249"/>
                  <a:pt x="2998067" y="4470360"/>
                  <a:pt x="2999499" y="4466139"/>
                </a:cubicBezTo>
                <a:cubicBezTo>
                  <a:pt x="3002365" y="4459363"/>
                  <a:pt x="3014682" y="4457474"/>
                  <a:pt x="3021271" y="4456697"/>
                </a:cubicBezTo>
                <a:lnTo>
                  <a:pt x="3022418" y="4456474"/>
                </a:lnTo>
                <a:lnTo>
                  <a:pt x="3014682" y="4454475"/>
                </a:lnTo>
                <a:lnTo>
                  <a:pt x="3007520" y="4453365"/>
                </a:lnTo>
                <a:lnTo>
                  <a:pt x="3006088" y="4452142"/>
                </a:lnTo>
                <a:lnTo>
                  <a:pt x="3004943" y="4451809"/>
                </a:lnTo>
                <a:cubicBezTo>
                  <a:pt x="2996349" y="4449032"/>
                  <a:pt x="2988900" y="4445699"/>
                  <a:pt x="2982312" y="4441701"/>
                </a:cubicBezTo>
                <a:lnTo>
                  <a:pt x="2979448" y="4438812"/>
                </a:lnTo>
                <a:lnTo>
                  <a:pt x="2978301" y="4440255"/>
                </a:lnTo>
                <a:cubicBezTo>
                  <a:pt x="2978301" y="4440255"/>
                  <a:pt x="2978301" y="4440255"/>
                  <a:pt x="2973718" y="4441034"/>
                </a:cubicBezTo>
                <a:cubicBezTo>
                  <a:pt x="2972572" y="4442144"/>
                  <a:pt x="2972572" y="4442144"/>
                  <a:pt x="2972572" y="4442144"/>
                </a:cubicBezTo>
                <a:lnTo>
                  <a:pt x="2970567" y="4442367"/>
                </a:lnTo>
                <a:lnTo>
                  <a:pt x="2976296" y="4445922"/>
                </a:lnTo>
                <a:lnTo>
                  <a:pt x="2977729" y="4446588"/>
                </a:lnTo>
                <a:cubicBezTo>
                  <a:pt x="2975436" y="4449476"/>
                  <a:pt x="2981452" y="4450810"/>
                  <a:pt x="2978015" y="4454031"/>
                </a:cubicBezTo>
                <a:lnTo>
                  <a:pt x="2973145" y="4453586"/>
                </a:lnTo>
                <a:cubicBezTo>
                  <a:pt x="2973432" y="4454808"/>
                  <a:pt x="2972858" y="4456586"/>
                  <a:pt x="2972285" y="4458696"/>
                </a:cubicBezTo>
                <a:lnTo>
                  <a:pt x="2970280" y="4462806"/>
                </a:lnTo>
                <a:lnTo>
                  <a:pt x="2970567" y="4463029"/>
                </a:lnTo>
                <a:cubicBezTo>
                  <a:pt x="2970854" y="4463251"/>
                  <a:pt x="2970853" y="4463362"/>
                  <a:pt x="2970853" y="4463362"/>
                </a:cubicBezTo>
                <a:cubicBezTo>
                  <a:pt x="2970853" y="4463362"/>
                  <a:pt x="2970853" y="4463362"/>
                  <a:pt x="2973719" y="4463362"/>
                </a:cubicBezTo>
                <a:cubicBezTo>
                  <a:pt x="2976869" y="4465250"/>
                  <a:pt x="2976583" y="4467139"/>
                  <a:pt x="2976583" y="4467139"/>
                </a:cubicBezTo>
                <a:cubicBezTo>
                  <a:pt x="2973719" y="4469138"/>
                  <a:pt x="2970854" y="4471137"/>
                  <a:pt x="2970853" y="4469138"/>
                </a:cubicBezTo>
                <a:cubicBezTo>
                  <a:pt x="2970853" y="4469138"/>
                  <a:pt x="2970853" y="4469138"/>
                  <a:pt x="2967988" y="4469138"/>
                </a:cubicBezTo>
                <a:lnTo>
                  <a:pt x="2966557" y="4468694"/>
                </a:lnTo>
                <a:lnTo>
                  <a:pt x="2965697" y="4469916"/>
                </a:lnTo>
                <a:cubicBezTo>
                  <a:pt x="2964551" y="4471471"/>
                  <a:pt x="2965125" y="4472581"/>
                  <a:pt x="2965125" y="4472581"/>
                </a:cubicBezTo>
                <a:cubicBezTo>
                  <a:pt x="2964551" y="4472581"/>
                  <a:pt x="2964265" y="4471915"/>
                  <a:pt x="2963978" y="4471026"/>
                </a:cubicBezTo>
                <a:lnTo>
                  <a:pt x="2964264" y="4468027"/>
                </a:lnTo>
                <a:lnTo>
                  <a:pt x="2963691" y="4467916"/>
                </a:lnTo>
                <a:lnTo>
                  <a:pt x="2962547" y="4467250"/>
                </a:lnTo>
                <a:lnTo>
                  <a:pt x="2962832" y="4467694"/>
                </a:lnTo>
                <a:lnTo>
                  <a:pt x="2956531" y="4470805"/>
                </a:lnTo>
                <a:lnTo>
                  <a:pt x="2960254" y="4470249"/>
                </a:lnTo>
                <a:cubicBezTo>
                  <a:pt x="2959394" y="4471915"/>
                  <a:pt x="2955957" y="4475692"/>
                  <a:pt x="2950229" y="4475025"/>
                </a:cubicBezTo>
                <a:lnTo>
                  <a:pt x="2949369" y="4475136"/>
                </a:lnTo>
                <a:lnTo>
                  <a:pt x="2952233" y="4477469"/>
                </a:lnTo>
                <a:cubicBezTo>
                  <a:pt x="2955957" y="4481024"/>
                  <a:pt x="2957962" y="4484801"/>
                  <a:pt x="2957103" y="4488578"/>
                </a:cubicBezTo>
                <a:lnTo>
                  <a:pt x="2955097" y="4491466"/>
                </a:lnTo>
                <a:lnTo>
                  <a:pt x="2957103" y="4493798"/>
                </a:lnTo>
                <a:cubicBezTo>
                  <a:pt x="2959681" y="4498797"/>
                  <a:pt x="2961113" y="4504351"/>
                  <a:pt x="2959394" y="4511239"/>
                </a:cubicBezTo>
                <a:cubicBezTo>
                  <a:pt x="2949941" y="4509350"/>
                  <a:pt x="2945932" y="4503796"/>
                  <a:pt x="2944499" y="4497464"/>
                </a:cubicBezTo>
                <a:lnTo>
                  <a:pt x="2944499" y="4493465"/>
                </a:lnTo>
                <a:lnTo>
                  <a:pt x="2939055" y="4491132"/>
                </a:lnTo>
                <a:cubicBezTo>
                  <a:pt x="2931321" y="4484689"/>
                  <a:pt x="2929602" y="4472693"/>
                  <a:pt x="2938769" y="4471470"/>
                </a:cubicBezTo>
                <a:cubicBezTo>
                  <a:pt x="2940488" y="4471249"/>
                  <a:pt x="2942779" y="4471360"/>
                  <a:pt x="2945358" y="4472026"/>
                </a:cubicBezTo>
                <a:lnTo>
                  <a:pt x="2945931" y="4472471"/>
                </a:lnTo>
                <a:lnTo>
                  <a:pt x="2947649" y="4472137"/>
                </a:lnTo>
                <a:lnTo>
                  <a:pt x="2947937" y="4472026"/>
                </a:lnTo>
                <a:lnTo>
                  <a:pt x="2939342" y="4466916"/>
                </a:lnTo>
                <a:cubicBezTo>
                  <a:pt x="2937050" y="4459807"/>
                  <a:pt x="2942779" y="4456697"/>
                  <a:pt x="2949082" y="4457030"/>
                </a:cubicBezTo>
                <a:cubicBezTo>
                  <a:pt x="2952233" y="4457252"/>
                  <a:pt x="2955670" y="4458252"/>
                  <a:pt x="2958249" y="4460140"/>
                </a:cubicBezTo>
                <a:lnTo>
                  <a:pt x="2960255" y="4463362"/>
                </a:lnTo>
                <a:lnTo>
                  <a:pt x="2962259" y="4459363"/>
                </a:lnTo>
                <a:cubicBezTo>
                  <a:pt x="2963691" y="4459362"/>
                  <a:pt x="2964265" y="4459363"/>
                  <a:pt x="2965125" y="4459696"/>
                </a:cubicBezTo>
                <a:lnTo>
                  <a:pt x="2966270" y="4460251"/>
                </a:lnTo>
                <a:lnTo>
                  <a:pt x="2967129" y="4457252"/>
                </a:lnTo>
                <a:lnTo>
                  <a:pt x="2968275" y="4453142"/>
                </a:lnTo>
                <a:lnTo>
                  <a:pt x="2965984" y="4452808"/>
                </a:lnTo>
                <a:lnTo>
                  <a:pt x="2963118" y="4451587"/>
                </a:lnTo>
                <a:lnTo>
                  <a:pt x="2959394" y="4452031"/>
                </a:lnTo>
                <a:lnTo>
                  <a:pt x="2959108" y="4452697"/>
                </a:lnTo>
                <a:cubicBezTo>
                  <a:pt x="2957963" y="4454363"/>
                  <a:pt x="2957389" y="4456029"/>
                  <a:pt x="2958249" y="4456697"/>
                </a:cubicBezTo>
                <a:cubicBezTo>
                  <a:pt x="2956531" y="4456586"/>
                  <a:pt x="2955097" y="4457585"/>
                  <a:pt x="2955097" y="4457585"/>
                </a:cubicBezTo>
                <a:cubicBezTo>
                  <a:pt x="2953380" y="4456252"/>
                  <a:pt x="2953379" y="4455140"/>
                  <a:pt x="2953380" y="4454031"/>
                </a:cubicBezTo>
                <a:lnTo>
                  <a:pt x="2957962" y="4452253"/>
                </a:lnTo>
                <a:lnTo>
                  <a:pt x="2944498" y="4453919"/>
                </a:lnTo>
                <a:lnTo>
                  <a:pt x="2939343" y="4453253"/>
                </a:lnTo>
                <a:lnTo>
                  <a:pt x="2939628" y="4454586"/>
                </a:lnTo>
                <a:cubicBezTo>
                  <a:pt x="2935904" y="4454031"/>
                  <a:pt x="2934758" y="4455474"/>
                  <a:pt x="2930175" y="4452808"/>
                </a:cubicBezTo>
                <a:lnTo>
                  <a:pt x="2930462" y="4452364"/>
                </a:lnTo>
                <a:lnTo>
                  <a:pt x="2921581" y="4451253"/>
                </a:lnTo>
                <a:cubicBezTo>
                  <a:pt x="2916998" y="4450032"/>
                  <a:pt x="2912701" y="4448476"/>
                  <a:pt x="2908690" y="4446477"/>
                </a:cubicBezTo>
                <a:lnTo>
                  <a:pt x="2914992" y="4442144"/>
                </a:lnTo>
                <a:lnTo>
                  <a:pt x="2907832" y="4441033"/>
                </a:lnTo>
                <a:cubicBezTo>
                  <a:pt x="2903820" y="4440701"/>
                  <a:pt x="2899810" y="4440478"/>
                  <a:pt x="2895800" y="4439701"/>
                </a:cubicBezTo>
                <a:lnTo>
                  <a:pt x="2885201" y="4435813"/>
                </a:lnTo>
                <a:lnTo>
                  <a:pt x="2884054" y="4439478"/>
                </a:lnTo>
                <a:cubicBezTo>
                  <a:pt x="2882337" y="4440589"/>
                  <a:pt x="2878898" y="4441700"/>
                  <a:pt x="2878898" y="4441700"/>
                </a:cubicBezTo>
                <a:cubicBezTo>
                  <a:pt x="2877180" y="4440479"/>
                  <a:pt x="2877467" y="4440478"/>
                  <a:pt x="2878899" y="4440590"/>
                </a:cubicBezTo>
                <a:cubicBezTo>
                  <a:pt x="2880617" y="4438257"/>
                  <a:pt x="2880618" y="4439367"/>
                  <a:pt x="2882336" y="4438257"/>
                </a:cubicBezTo>
                <a:lnTo>
                  <a:pt x="2884341" y="4435368"/>
                </a:lnTo>
                <a:lnTo>
                  <a:pt x="2883481" y="4435257"/>
                </a:lnTo>
                <a:cubicBezTo>
                  <a:pt x="2886346" y="4427704"/>
                  <a:pt x="2878039" y="4420151"/>
                  <a:pt x="2886346" y="4412597"/>
                </a:cubicBezTo>
                <a:cubicBezTo>
                  <a:pt x="2894941" y="4414485"/>
                  <a:pt x="2903247" y="4420150"/>
                  <a:pt x="2911841" y="4412597"/>
                </a:cubicBezTo>
                <a:cubicBezTo>
                  <a:pt x="2915852" y="4423927"/>
                  <a:pt x="2928170" y="4428815"/>
                  <a:pt x="2932754" y="4437812"/>
                </a:cubicBezTo>
                <a:lnTo>
                  <a:pt x="2933041" y="4440256"/>
                </a:lnTo>
                <a:lnTo>
                  <a:pt x="2941347" y="4440145"/>
                </a:lnTo>
                <a:cubicBezTo>
                  <a:pt x="2939055" y="4434258"/>
                  <a:pt x="2933899" y="4426705"/>
                  <a:pt x="2936764" y="4421706"/>
                </a:cubicBezTo>
                <a:lnTo>
                  <a:pt x="2937338" y="4421372"/>
                </a:lnTo>
                <a:lnTo>
                  <a:pt x="2926165" y="4423593"/>
                </a:lnTo>
                <a:cubicBezTo>
                  <a:pt x="2929602" y="4419928"/>
                  <a:pt x="2931034" y="4416818"/>
                  <a:pt x="2931321" y="4414152"/>
                </a:cubicBezTo>
                <a:lnTo>
                  <a:pt x="2930176" y="4410708"/>
                </a:lnTo>
                <a:lnTo>
                  <a:pt x="2919290" y="4412818"/>
                </a:lnTo>
                <a:cubicBezTo>
                  <a:pt x="2918717" y="4411819"/>
                  <a:pt x="2916426" y="4411375"/>
                  <a:pt x="2914992" y="4412041"/>
                </a:cubicBezTo>
                <a:cubicBezTo>
                  <a:pt x="2912701" y="4411708"/>
                  <a:pt x="2910409" y="4411264"/>
                  <a:pt x="2910982" y="4412263"/>
                </a:cubicBezTo>
                <a:cubicBezTo>
                  <a:pt x="2904108" y="4411152"/>
                  <a:pt x="2902674" y="4411819"/>
                  <a:pt x="2902102" y="4408153"/>
                </a:cubicBezTo>
                <a:cubicBezTo>
                  <a:pt x="2908405" y="4406154"/>
                  <a:pt x="2915852" y="4404709"/>
                  <a:pt x="2922155" y="4403709"/>
                </a:cubicBezTo>
                <a:lnTo>
                  <a:pt x="2926451" y="4403265"/>
                </a:lnTo>
                <a:lnTo>
                  <a:pt x="2923586" y="4399267"/>
                </a:lnTo>
                <a:lnTo>
                  <a:pt x="2921008" y="4391380"/>
                </a:lnTo>
                <a:lnTo>
                  <a:pt x="2910983" y="4396378"/>
                </a:lnTo>
                <a:cubicBezTo>
                  <a:pt x="2908977" y="4394601"/>
                  <a:pt x="2907832" y="4392602"/>
                  <a:pt x="2907545" y="4390713"/>
                </a:cubicBezTo>
                <a:lnTo>
                  <a:pt x="2908117" y="4386714"/>
                </a:lnTo>
                <a:lnTo>
                  <a:pt x="2907545" y="4386714"/>
                </a:lnTo>
                <a:cubicBezTo>
                  <a:pt x="2898664" y="4383715"/>
                  <a:pt x="2889211" y="4379383"/>
                  <a:pt x="2880330" y="4376827"/>
                </a:cubicBezTo>
                <a:lnTo>
                  <a:pt x="2869445" y="4375051"/>
                </a:lnTo>
                <a:lnTo>
                  <a:pt x="2869446" y="4376162"/>
                </a:lnTo>
                <a:cubicBezTo>
                  <a:pt x="2867726" y="4376272"/>
                  <a:pt x="2866293" y="4377494"/>
                  <a:pt x="2866581" y="4378605"/>
                </a:cubicBezTo>
                <a:cubicBezTo>
                  <a:pt x="2865148" y="4379938"/>
                  <a:pt x="2863715" y="4381161"/>
                  <a:pt x="2865434" y="4381049"/>
                </a:cubicBezTo>
                <a:cubicBezTo>
                  <a:pt x="2861137" y="4384825"/>
                  <a:pt x="2861424" y="4385937"/>
                  <a:pt x="2855981" y="4385048"/>
                </a:cubicBezTo>
                <a:cubicBezTo>
                  <a:pt x="2855981" y="4380272"/>
                  <a:pt x="2856840" y="4375161"/>
                  <a:pt x="2857986" y="4370941"/>
                </a:cubicBezTo>
                <a:lnTo>
                  <a:pt x="2859705" y="4366385"/>
                </a:lnTo>
                <a:lnTo>
                  <a:pt x="2851684" y="4368830"/>
                </a:lnTo>
                <a:cubicBezTo>
                  <a:pt x="2843949" y="4371941"/>
                  <a:pt x="2833350" y="4376606"/>
                  <a:pt x="2825043" y="4378494"/>
                </a:cubicBezTo>
                <a:lnTo>
                  <a:pt x="2822752" y="4376161"/>
                </a:lnTo>
                <a:lnTo>
                  <a:pt x="2822179" y="4376383"/>
                </a:lnTo>
                <a:cubicBezTo>
                  <a:pt x="2819027" y="4377606"/>
                  <a:pt x="2817595" y="4378161"/>
                  <a:pt x="2816162" y="4378827"/>
                </a:cubicBezTo>
                <a:cubicBezTo>
                  <a:pt x="2813871" y="4378383"/>
                  <a:pt x="2808714" y="4376717"/>
                  <a:pt x="2809287" y="4375051"/>
                </a:cubicBezTo>
                <a:lnTo>
                  <a:pt x="2812726" y="4371051"/>
                </a:lnTo>
                <a:lnTo>
                  <a:pt x="2811293" y="4371051"/>
                </a:lnTo>
                <a:cubicBezTo>
                  <a:pt x="2809860" y="4371607"/>
                  <a:pt x="2809002" y="4372829"/>
                  <a:pt x="2808142" y="4374717"/>
                </a:cubicBezTo>
                <a:cubicBezTo>
                  <a:pt x="2805278" y="4370052"/>
                  <a:pt x="2801839" y="4366719"/>
                  <a:pt x="2798115" y="4364164"/>
                </a:cubicBezTo>
                <a:lnTo>
                  <a:pt x="2795823" y="4363053"/>
                </a:lnTo>
                <a:lnTo>
                  <a:pt x="2791526" y="4368830"/>
                </a:lnTo>
                <a:lnTo>
                  <a:pt x="2790094" y="4368719"/>
                </a:lnTo>
                <a:lnTo>
                  <a:pt x="2790094" y="4368830"/>
                </a:lnTo>
                <a:cubicBezTo>
                  <a:pt x="2789236" y="4369497"/>
                  <a:pt x="2788662" y="4370385"/>
                  <a:pt x="2788948" y="4371718"/>
                </a:cubicBezTo>
                <a:cubicBezTo>
                  <a:pt x="2786656" y="4371384"/>
                  <a:pt x="2784078" y="4370940"/>
                  <a:pt x="2782646" y="4370274"/>
                </a:cubicBezTo>
                <a:lnTo>
                  <a:pt x="2781500" y="4369051"/>
                </a:lnTo>
                <a:lnTo>
                  <a:pt x="2780927" y="4369163"/>
                </a:lnTo>
                <a:lnTo>
                  <a:pt x="2779209" y="4371051"/>
                </a:lnTo>
                <a:lnTo>
                  <a:pt x="2780354" y="4373383"/>
                </a:lnTo>
                <a:lnTo>
                  <a:pt x="2774338" y="4374050"/>
                </a:lnTo>
                <a:lnTo>
                  <a:pt x="2769182" y="4375495"/>
                </a:lnTo>
                <a:cubicBezTo>
                  <a:pt x="2767464" y="4375274"/>
                  <a:pt x="2765459" y="4374495"/>
                  <a:pt x="2763739" y="4373273"/>
                </a:cubicBezTo>
                <a:lnTo>
                  <a:pt x="2763739" y="4372384"/>
                </a:lnTo>
                <a:lnTo>
                  <a:pt x="2758010" y="4376717"/>
                </a:lnTo>
                <a:cubicBezTo>
                  <a:pt x="2754287" y="4378383"/>
                  <a:pt x="2749990" y="4379383"/>
                  <a:pt x="2745692" y="4380383"/>
                </a:cubicBezTo>
                <a:lnTo>
                  <a:pt x="2742254" y="4378160"/>
                </a:lnTo>
                <a:lnTo>
                  <a:pt x="2737957" y="4381826"/>
                </a:lnTo>
                <a:cubicBezTo>
                  <a:pt x="2735666" y="4382826"/>
                  <a:pt x="2733088" y="4383159"/>
                  <a:pt x="2729937" y="4382604"/>
                </a:cubicBezTo>
                <a:cubicBezTo>
                  <a:pt x="2723634" y="4374717"/>
                  <a:pt x="2737385" y="4366386"/>
                  <a:pt x="2740823" y="4356389"/>
                </a:cubicBezTo>
                <a:cubicBezTo>
                  <a:pt x="2739964" y="4351612"/>
                  <a:pt x="2731942" y="4350612"/>
                  <a:pt x="2738245" y="4342170"/>
                </a:cubicBezTo>
                <a:cubicBezTo>
                  <a:pt x="2747411" y="4344835"/>
                  <a:pt x="2754859" y="4347946"/>
                  <a:pt x="2761162" y="4351500"/>
                </a:cubicBezTo>
                <a:lnTo>
                  <a:pt x="2766031" y="4355611"/>
                </a:lnTo>
                <a:lnTo>
                  <a:pt x="2766031" y="4355389"/>
                </a:lnTo>
                <a:cubicBezTo>
                  <a:pt x="2767750" y="4353834"/>
                  <a:pt x="2770328" y="4352500"/>
                  <a:pt x="2773766" y="4351279"/>
                </a:cubicBezTo>
                <a:cubicBezTo>
                  <a:pt x="2774052" y="4352057"/>
                  <a:pt x="2774625" y="4352278"/>
                  <a:pt x="2775771" y="4352278"/>
                </a:cubicBezTo>
                <a:lnTo>
                  <a:pt x="2776344" y="4352168"/>
                </a:lnTo>
                <a:lnTo>
                  <a:pt x="2773479" y="4350501"/>
                </a:lnTo>
                <a:cubicBezTo>
                  <a:pt x="2769470" y="4347391"/>
                  <a:pt x="2766031" y="4343614"/>
                  <a:pt x="2763167" y="4338949"/>
                </a:cubicBezTo>
                <a:cubicBezTo>
                  <a:pt x="2757724" y="4339837"/>
                  <a:pt x="2750562" y="4338504"/>
                  <a:pt x="2743115" y="4335505"/>
                </a:cubicBezTo>
                <a:lnTo>
                  <a:pt x="2735952" y="4331728"/>
                </a:lnTo>
                <a:lnTo>
                  <a:pt x="2735093" y="4334505"/>
                </a:lnTo>
                <a:cubicBezTo>
                  <a:pt x="2733374" y="4336615"/>
                  <a:pt x="2729650" y="4338170"/>
                  <a:pt x="2727072" y="4338059"/>
                </a:cubicBezTo>
                <a:cubicBezTo>
                  <a:pt x="2720483" y="4335282"/>
                  <a:pt x="2723348" y="4330950"/>
                  <a:pt x="2727358" y="4329062"/>
                </a:cubicBezTo>
                <a:lnTo>
                  <a:pt x="2729937" y="4328396"/>
                </a:lnTo>
                <a:lnTo>
                  <a:pt x="2721056" y="4322064"/>
                </a:lnTo>
                <a:lnTo>
                  <a:pt x="2718764" y="4320064"/>
                </a:lnTo>
                <a:lnTo>
                  <a:pt x="2717046" y="4328174"/>
                </a:lnTo>
                <a:cubicBezTo>
                  <a:pt x="2714181" y="4332839"/>
                  <a:pt x="2711031" y="4336505"/>
                  <a:pt x="2707019" y="4339503"/>
                </a:cubicBezTo>
                <a:lnTo>
                  <a:pt x="2699858" y="4343725"/>
                </a:lnTo>
                <a:lnTo>
                  <a:pt x="2708452" y="4348058"/>
                </a:lnTo>
                <a:cubicBezTo>
                  <a:pt x="2720483" y="4354055"/>
                  <a:pt x="2736525" y="4362498"/>
                  <a:pt x="2730509" y="4368385"/>
                </a:cubicBezTo>
                <a:cubicBezTo>
                  <a:pt x="2721343" y="4364053"/>
                  <a:pt x="2696420" y="4356610"/>
                  <a:pt x="2696707" y="4347279"/>
                </a:cubicBezTo>
                <a:lnTo>
                  <a:pt x="2697566" y="4344835"/>
                </a:lnTo>
                <a:lnTo>
                  <a:pt x="2694129" y="4347169"/>
                </a:lnTo>
                <a:cubicBezTo>
                  <a:pt x="2684389" y="4351612"/>
                  <a:pt x="2673790" y="4355167"/>
                  <a:pt x="2663191" y="4361387"/>
                </a:cubicBezTo>
                <a:lnTo>
                  <a:pt x="2658894" y="4359832"/>
                </a:lnTo>
                <a:lnTo>
                  <a:pt x="2660327" y="4360721"/>
                </a:lnTo>
                <a:cubicBezTo>
                  <a:pt x="2662331" y="4361943"/>
                  <a:pt x="2664050" y="4363164"/>
                  <a:pt x="2664909" y="4364053"/>
                </a:cubicBezTo>
                <a:cubicBezTo>
                  <a:pt x="2661185" y="4362165"/>
                  <a:pt x="2656603" y="4360277"/>
                  <a:pt x="2652592" y="4358388"/>
                </a:cubicBezTo>
                <a:lnTo>
                  <a:pt x="2650873" y="4357277"/>
                </a:lnTo>
                <a:lnTo>
                  <a:pt x="2641705" y="4356833"/>
                </a:lnTo>
                <a:cubicBezTo>
                  <a:pt x="2635404" y="4357277"/>
                  <a:pt x="2629960" y="4359054"/>
                  <a:pt x="2623945" y="4359610"/>
                </a:cubicBezTo>
                <a:cubicBezTo>
                  <a:pt x="2617642" y="4350167"/>
                  <a:pt x="2600168" y="4344058"/>
                  <a:pt x="2588996" y="4335505"/>
                </a:cubicBezTo>
                <a:cubicBezTo>
                  <a:pt x="2591574" y="4320730"/>
                  <a:pt x="2588138" y="4308290"/>
                  <a:pt x="2591001" y="4293404"/>
                </a:cubicBezTo>
                <a:cubicBezTo>
                  <a:pt x="2601314" y="4289628"/>
                  <a:pt x="2609621" y="4281741"/>
                  <a:pt x="2618502" y="4274742"/>
                </a:cubicBezTo>
                <a:lnTo>
                  <a:pt x="2621081" y="4273187"/>
                </a:lnTo>
                <a:lnTo>
                  <a:pt x="2619648" y="4257525"/>
                </a:lnTo>
                <a:lnTo>
                  <a:pt x="2625950" y="4244860"/>
                </a:lnTo>
                <a:lnTo>
                  <a:pt x="2622226" y="4243972"/>
                </a:lnTo>
                <a:lnTo>
                  <a:pt x="2617356" y="4252637"/>
                </a:lnTo>
                <a:cubicBezTo>
                  <a:pt x="2614491" y="4256081"/>
                  <a:pt x="2610195" y="4259413"/>
                  <a:pt x="2605324" y="4262635"/>
                </a:cubicBezTo>
                <a:lnTo>
                  <a:pt x="2598737" y="4266300"/>
                </a:lnTo>
                <a:lnTo>
                  <a:pt x="2597303" y="4267189"/>
                </a:lnTo>
                <a:lnTo>
                  <a:pt x="2597017" y="4267189"/>
                </a:lnTo>
                <a:lnTo>
                  <a:pt x="2588710" y="4271520"/>
                </a:lnTo>
                <a:cubicBezTo>
                  <a:pt x="2582694" y="4274187"/>
                  <a:pt x="2576106" y="4276631"/>
                  <a:pt x="2569230" y="4278630"/>
                </a:cubicBezTo>
                <a:lnTo>
                  <a:pt x="2556053" y="4281407"/>
                </a:lnTo>
                <a:lnTo>
                  <a:pt x="2572095" y="4281963"/>
                </a:lnTo>
                <a:cubicBezTo>
                  <a:pt x="2559777" y="4291738"/>
                  <a:pt x="2568371" y="4304624"/>
                  <a:pt x="2566079" y="4314844"/>
                </a:cubicBezTo>
                <a:cubicBezTo>
                  <a:pt x="2565219" y="4318176"/>
                  <a:pt x="2563214" y="4321286"/>
                  <a:pt x="2558917" y="4323841"/>
                </a:cubicBezTo>
                <a:cubicBezTo>
                  <a:pt x="2525401" y="4345947"/>
                  <a:pt x="2465243" y="4301069"/>
                  <a:pt x="2511937" y="4282184"/>
                </a:cubicBezTo>
                <a:lnTo>
                  <a:pt x="2514515" y="4281630"/>
                </a:lnTo>
                <a:lnTo>
                  <a:pt x="2509932" y="4280852"/>
                </a:lnTo>
                <a:cubicBezTo>
                  <a:pt x="2516521" y="4269410"/>
                  <a:pt x="2524542" y="4261524"/>
                  <a:pt x="2533422" y="4255970"/>
                </a:cubicBezTo>
                <a:lnTo>
                  <a:pt x="2536860" y="4254303"/>
                </a:lnTo>
                <a:lnTo>
                  <a:pt x="2539151" y="4246639"/>
                </a:lnTo>
                <a:lnTo>
                  <a:pt x="2549177" y="4248527"/>
                </a:lnTo>
                <a:lnTo>
                  <a:pt x="2562069" y="4244639"/>
                </a:lnTo>
                <a:cubicBezTo>
                  <a:pt x="2572095" y="4242306"/>
                  <a:pt x="2582407" y="4240973"/>
                  <a:pt x="2592434" y="4239307"/>
                </a:cubicBezTo>
                <a:lnTo>
                  <a:pt x="2600168" y="4237752"/>
                </a:lnTo>
                <a:lnTo>
                  <a:pt x="2591575" y="4233753"/>
                </a:lnTo>
                <a:cubicBezTo>
                  <a:pt x="2588996" y="4231864"/>
                  <a:pt x="2588138" y="4229865"/>
                  <a:pt x="2589569" y="4227532"/>
                </a:cubicBezTo>
                <a:cubicBezTo>
                  <a:pt x="2592147" y="4228087"/>
                  <a:pt x="2595585" y="4228532"/>
                  <a:pt x="2599309" y="4229198"/>
                </a:cubicBezTo>
                <a:lnTo>
                  <a:pt x="2607330" y="4230643"/>
                </a:lnTo>
                <a:lnTo>
                  <a:pt x="2607617" y="4229532"/>
                </a:lnTo>
                <a:lnTo>
                  <a:pt x="2608189" y="4230754"/>
                </a:lnTo>
                <a:lnTo>
                  <a:pt x="2611340" y="4231420"/>
                </a:lnTo>
                <a:lnTo>
                  <a:pt x="2617070" y="4233309"/>
                </a:lnTo>
                <a:lnTo>
                  <a:pt x="2620795" y="4232086"/>
                </a:lnTo>
                <a:lnTo>
                  <a:pt x="2621653" y="4234864"/>
                </a:lnTo>
                <a:lnTo>
                  <a:pt x="2621940" y="4234864"/>
                </a:lnTo>
                <a:cubicBezTo>
                  <a:pt x="2624804" y="4236418"/>
                  <a:pt x="2626524" y="4238307"/>
                  <a:pt x="2627096" y="4240528"/>
                </a:cubicBezTo>
                <a:lnTo>
                  <a:pt x="2626523" y="4243750"/>
                </a:lnTo>
                <a:lnTo>
                  <a:pt x="2627383" y="4241751"/>
                </a:lnTo>
                <a:cubicBezTo>
                  <a:pt x="2631107" y="4237863"/>
                  <a:pt x="2635117" y="4235086"/>
                  <a:pt x="2639414" y="4232975"/>
                </a:cubicBezTo>
                <a:lnTo>
                  <a:pt x="2644284" y="4231420"/>
                </a:lnTo>
                <a:lnTo>
                  <a:pt x="2635404" y="4226533"/>
                </a:lnTo>
                <a:cubicBezTo>
                  <a:pt x="2629388" y="4221645"/>
                  <a:pt x="2624519" y="4214536"/>
                  <a:pt x="2621939" y="4208203"/>
                </a:cubicBezTo>
                <a:lnTo>
                  <a:pt x="2621654" y="4207204"/>
                </a:lnTo>
                <a:lnTo>
                  <a:pt x="2612773" y="4211981"/>
                </a:lnTo>
                <a:cubicBezTo>
                  <a:pt x="2588137" y="4219756"/>
                  <a:pt x="2570376" y="4209204"/>
                  <a:pt x="2543735" y="4206871"/>
                </a:cubicBezTo>
                <a:cubicBezTo>
                  <a:pt x="2540011" y="4191874"/>
                  <a:pt x="2527120" y="4190208"/>
                  <a:pt x="2517667" y="4184654"/>
                </a:cubicBezTo>
                <a:cubicBezTo>
                  <a:pt x="2519672" y="4179656"/>
                  <a:pt x="2518812" y="4173657"/>
                  <a:pt x="2517666" y="4167436"/>
                </a:cubicBezTo>
                <a:lnTo>
                  <a:pt x="2515661" y="4154662"/>
                </a:lnTo>
                <a:lnTo>
                  <a:pt x="2496183" y="4165881"/>
                </a:lnTo>
                <a:cubicBezTo>
                  <a:pt x="2490739" y="4170213"/>
                  <a:pt x="2486442" y="4175101"/>
                  <a:pt x="2484723" y="4180989"/>
                </a:cubicBezTo>
                <a:lnTo>
                  <a:pt x="2483865" y="4186542"/>
                </a:lnTo>
                <a:lnTo>
                  <a:pt x="2499047" y="4194652"/>
                </a:lnTo>
                <a:cubicBezTo>
                  <a:pt x="2505348" y="4198983"/>
                  <a:pt x="2511079" y="4204427"/>
                  <a:pt x="2514515" y="4212535"/>
                </a:cubicBezTo>
                <a:cubicBezTo>
                  <a:pt x="2510506" y="4214757"/>
                  <a:pt x="2509359" y="4220979"/>
                  <a:pt x="2501339" y="4218646"/>
                </a:cubicBezTo>
                <a:cubicBezTo>
                  <a:pt x="2501624" y="4210870"/>
                  <a:pt x="2494177" y="4205316"/>
                  <a:pt x="2487588" y="4199984"/>
                </a:cubicBezTo>
                <a:lnTo>
                  <a:pt x="2485870" y="4198651"/>
                </a:lnTo>
                <a:lnTo>
                  <a:pt x="2487015" y="4202316"/>
                </a:lnTo>
                <a:cubicBezTo>
                  <a:pt x="2477848" y="4205205"/>
                  <a:pt x="2468968" y="4207982"/>
                  <a:pt x="2460661" y="4210981"/>
                </a:cubicBezTo>
                <a:lnTo>
                  <a:pt x="2449201" y="4216313"/>
                </a:lnTo>
                <a:lnTo>
                  <a:pt x="2458368" y="4214313"/>
                </a:lnTo>
                <a:cubicBezTo>
                  <a:pt x="2462093" y="4218978"/>
                  <a:pt x="2454931" y="4221644"/>
                  <a:pt x="2450921" y="4219868"/>
                </a:cubicBezTo>
                <a:lnTo>
                  <a:pt x="2448629" y="4216646"/>
                </a:lnTo>
                <a:lnTo>
                  <a:pt x="2443472" y="4218979"/>
                </a:lnTo>
                <a:lnTo>
                  <a:pt x="2444045" y="4219423"/>
                </a:lnTo>
                <a:cubicBezTo>
                  <a:pt x="2443759" y="4219646"/>
                  <a:pt x="2443472" y="4219979"/>
                  <a:pt x="2443759" y="4220534"/>
                </a:cubicBezTo>
                <a:cubicBezTo>
                  <a:pt x="2442614" y="4220312"/>
                  <a:pt x="2442041" y="4220201"/>
                  <a:pt x="2442040" y="4219867"/>
                </a:cubicBezTo>
                <a:lnTo>
                  <a:pt x="2442040" y="4219646"/>
                </a:lnTo>
                <a:lnTo>
                  <a:pt x="2438029" y="4221533"/>
                </a:lnTo>
                <a:cubicBezTo>
                  <a:pt x="2424853" y="4229754"/>
                  <a:pt x="2415685" y="4240973"/>
                  <a:pt x="2414540" y="4258413"/>
                </a:cubicBezTo>
                <a:cubicBezTo>
                  <a:pt x="2350085" y="4247082"/>
                  <a:pt x="2274745" y="4263634"/>
                  <a:pt x="2225186" y="4278297"/>
                </a:cubicBezTo>
                <a:cubicBezTo>
                  <a:pt x="2199691" y="4265412"/>
                  <a:pt x="2180212" y="4246638"/>
                  <a:pt x="2140393" y="4250415"/>
                </a:cubicBezTo>
                <a:lnTo>
                  <a:pt x="2132086" y="4251859"/>
                </a:lnTo>
                <a:lnTo>
                  <a:pt x="2131227" y="4253859"/>
                </a:lnTo>
                <a:lnTo>
                  <a:pt x="2130080" y="4254414"/>
                </a:lnTo>
                <a:lnTo>
                  <a:pt x="2130080" y="4255525"/>
                </a:lnTo>
                <a:cubicBezTo>
                  <a:pt x="2128934" y="4258525"/>
                  <a:pt x="2125211" y="4260412"/>
                  <a:pt x="2120341" y="4263190"/>
                </a:cubicBezTo>
                <a:cubicBezTo>
                  <a:pt x="2121200" y="4262079"/>
                  <a:pt x="2118908" y="4262523"/>
                  <a:pt x="2118908" y="4262523"/>
                </a:cubicBezTo>
                <a:cubicBezTo>
                  <a:pt x="2114325" y="4263412"/>
                  <a:pt x="2122633" y="4267966"/>
                  <a:pt x="2117476" y="4269855"/>
                </a:cubicBezTo>
                <a:cubicBezTo>
                  <a:pt x="2108595" y="4272299"/>
                  <a:pt x="2098856" y="4266411"/>
                  <a:pt x="2093986" y="4263079"/>
                </a:cubicBezTo>
                <a:lnTo>
                  <a:pt x="2091122" y="4261190"/>
                </a:lnTo>
                <a:lnTo>
                  <a:pt x="2090262" y="4262300"/>
                </a:lnTo>
                <a:lnTo>
                  <a:pt x="2089402" y="4260524"/>
                </a:lnTo>
                <a:lnTo>
                  <a:pt x="2089117" y="4260413"/>
                </a:lnTo>
                <a:cubicBezTo>
                  <a:pt x="2089975" y="4259414"/>
                  <a:pt x="2088256" y="4258857"/>
                  <a:pt x="2087683" y="4259858"/>
                </a:cubicBezTo>
                <a:cubicBezTo>
                  <a:pt x="2085966" y="4257969"/>
                  <a:pt x="2084819" y="4256414"/>
                  <a:pt x="2084246" y="4255302"/>
                </a:cubicBezTo>
                <a:lnTo>
                  <a:pt x="2085105" y="4254303"/>
                </a:lnTo>
                <a:lnTo>
                  <a:pt x="2081381" y="4253303"/>
                </a:lnTo>
                <a:lnTo>
                  <a:pt x="2080235" y="4254304"/>
                </a:lnTo>
                <a:cubicBezTo>
                  <a:pt x="2066773" y="4258302"/>
                  <a:pt x="2043282" y="4254636"/>
                  <a:pt x="2035834" y="4251304"/>
                </a:cubicBezTo>
                <a:cubicBezTo>
                  <a:pt x="2043282" y="4249749"/>
                  <a:pt x="2053308" y="4247860"/>
                  <a:pt x="2063048" y="4246861"/>
                </a:cubicBezTo>
                <a:lnTo>
                  <a:pt x="2064766" y="4246750"/>
                </a:lnTo>
                <a:lnTo>
                  <a:pt x="2064480" y="4246639"/>
                </a:lnTo>
                <a:cubicBezTo>
                  <a:pt x="2061615" y="4244750"/>
                  <a:pt x="2060470" y="4242640"/>
                  <a:pt x="2061330" y="4240307"/>
                </a:cubicBezTo>
                <a:cubicBezTo>
                  <a:pt x="2067345" y="4241640"/>
                  <a:pt x="2078517" y="4242972"/>
                  <a:pt x="2087397" y="4245638"/>
                </a:cubicBezTo>
                <a:lnTo>
                  <a:pt x="2098570" y="4250637"/>
                </a:lnTo>
                <a:lnTo>
                  <a:pt x="2099716" y="4249638"/>
                </a:lnTo>
                <a:lnTo>
                  <a:pt x="2100574" y="4246639"/>
                </a:lnTo>
                <a:lnTo>
                  <a:pt x="2099142" y="4246638"/>
                </a:lnTo>
                <a:cubicBezTo>
                  <a:pt x="2098569" y="4245527"/>
                  <a:pt x="2095991" y="4243750"/>
                  <a:pt x="2093987" y="4243084"/>
                </a:cubicBezTo>
                <a:cubicBezTo>
                  <a:pt x="2095419" y="4242639"/>
                  <a:pt x="2097137" y="4242195"/>
                  <a:pt x="2096564" y="4241085"/>
                </a:cubicBezTo>
                <a:cubicBezTo>
                  <a:pt x="2098857" y="4241751"/>
                  <a:pt x="2100001" y="4242306"/>
                  <a:pt x="2100861" y="4242862"/>
                </a:cubicBezTo>
                <a:lnTo>
                  <a:pt x="2101435" y="4243195"/>
                </a:lnTo>
                <a:lnTo>
                  <a:pt x="2101720" y="4241862"/>
                </a:lnTo>
                <a:lnTo>
                  <a:pt x="2103153" y="4240751"/>
                </a:lnTo>
                <a:lnTo>
                  <a:pt x="2092267" y="4233198"/>
                </a:lnTo>
                <a:cubicBezTo>
                  <a:pt x="2079090" y="4225311"/>
                  <a:pt x="2065626" y="4217757"/>
                  <a:pt x="2053881" y="4208870"/>
                </a:cubicBezTo>
                <a:lnTo>
                  <a:pt x="2045574" y="4201539"/>
                </a:lnTo>
                <a:lnTo>
                  <a:pt x="2045860" y="4201095"/>
                </a:lnTo>
                <a:lnTo>
                  <a:pt x="2044428" y="4200317"/>
                </a:lnTo>
                <a:lnTo>
                  <a:pt x="2037839" y="4194652"/>
                </a:lnTo>
                <a:cubicBezTo>
                  <a:pt x="2032969" y="4189431"/>
                  <a:pt x="2029245" y="4183765"/>
                  <a:pt x="2026095" y="4177434"/>
                </a:cubicBezTo>
                <a:lnTo>
                  <a:pt x="2022657" y="4165881"/>
                </a:lnTo>
                <a:lnTo>
                  <a:pt x="2017214" y="4168325"/>
                </a:lnTo>
                <a:cubicBezTo>
                  <a:pt x="2012343" y="4169547"/>
                  <a:pt x="2007473" y="4170213"/>
                  <a:pt x="2002605" y="4170547"/>
                </a:cubicBezTo>
                <a:cubicBezTo>
                  <a:pt x="2001458" y="4168324"/>
                  <a:pt x="2001458" y="4166214"/>
                  <a:pt x="2002032" y="4164437"/>
                </a:cubicBezTo>
                <a:lnTo>
                  <a:pt x="2004037" y="4162105"/>
                </a:lnTo>
                <a:lnTo>
                  <a:pt x="1998021" y="4162549"/>
                </a:lnTo>
                <a:cubicBezTo>
                  <a:pt x="1976822" y="4166103"/>
                  <a:pt x="1961353" y="4174101"/>
                  <a:pt x="1939582" y="4176990"/>
                </a:cubicBezTo>
                <a:cubicBezTo>
                  <a:pt x="1912655" y="4224311"/>
                  <a:pt x="1835308" y="4234641"/>
                  <a:pt x="1777156" y="4260968"/>
                </a:cubicBezTo>
                <a:cubicBezTo>
                  <a:pt x="1765411" y="4255970"/>
                  <a:pt x="1768277" y="4239640"/>
                  <a:pt x="1749657" y="4238085"/>
                </a:cubicBezTo>
                <a:cubicBezTo>
                  <a:pt x="1726739" y="4242529"/>
                  <a:pt x="1720437" y="4260635"/>
                  <a:pt x="1689499" y="4258080"/>
                </a:cubicBezTo>
                <a:cubicBezTo>
                  <a:pt x="1678326" y="4248971"/>
                  <a:pt x="1677753" y="4234419"/>
                  <a:pt x="1652832" y="4232420"/>
                </a:cubicBezTo>
                <a:cubicBezTo>
                  <a:pt x="1624472" y="4232531"/>
                  <a:pt x="1604133" y="4227755"/>
                  <a:pt x="1588376" y="4220423"/>
                </a:cubicBezTo>
                <a:lnTo>
                  <a:pt x="1579210" y="4215313"/>
                </a:lnTo>
                <a:lnTo>
                  <a:pt x="1577491" y="4217423"/>
                </a:lnTo>
                <a:cubicBezTo>
                  <a:pt x="1574340" y="4219423"/>
                  <a:pt x="1570616" y="4218424"/>
                  <a:pt x="1566605" y="4217424"/>
                </a:cubicBezTo>
                <a:cubicBezTo>
                  <a:pt x="1569756" y="4213980"/>
                  <a:pt x="1562882" y="4211425"/>
                  <a:pt x="1569469" y="4209315"/>
                </a:cubicBezTo>
                <a:lnTo>
                  <a:pt x="1570616" y="4209537"/>
                </a:lnTo>
                <a:lnTo>
                  <a:pt x="1551136" y="4192319"/>
                </a:lnTo>
                <a:cubicBezTo>
                  <a:pt x="1544261" y="4185209"/>
                  <a:pt x="1537673" y="4177767"/>
                  <a:pt x="1530797" y="4170768"/>
                </a:cubicBezTo>
                <a:lnTo>
                  <a:pt x="1526786" y="4167103"/>
                </a:lnTo>
                <a:lnTo>
                  <a:pt x="1526786" y="3999812"/>
                </a:lnTo>
                <a:lnTo>
                  <a:pt x="1538245" y="3988481"/>
                </a:lnTo>
                <a:cubicBezTo>
                  <a:pt x="1543116" y="3984816"/>
                  <a:pt x="1548272" y="3981705"/>
                  <a:pt x="1554001" y="3979151"/>
                </a:cubicBezTo>
                <a:cubicBezTo>
                  <a:pt x="1560303" y="3961044"/>
                  <a:pt x="1532229" y="3960822"/>
                  <a:pt x="1539104" y="3938605"/>
                </a:cubicBezTo>
                <a:cubicBezTo>
                  <a:pt x="1577777" y="3933496"/>
                  <a:pt x="1560303" y="3960933"/>
                  <a:pt x="1589523" y="3957156"/>
                </a:cubicBezTo>
                <a:cubicBezTo>
                  <a:pt x="1623899" y="3957823"/>
                  <a:pt x="1624757" y="3935162"/>
                  <a:pt x="1636502" y="3921721"/>
                </a:cubicBezTo>
                <a:cubicBezTo>
                  <a:pt x="1665435" y="3917833"/>
                  <a:pt x="1652258" y="3939493"/>
                  <a:pt x="1674602" y="3939161"/>
                </a:cubicBezTo>
                <a:cubicBezTo>
                  <a:pt x="1695227" y="3928385"/>
                  <a:pt x="1729030" y="3914610"/>
                  <a:pt x="1758822" y="3925276"/>
                </a:cubicBezTo>
                <a:cubicBezTo>
                  <a:pt x="1774578" y="3924497"/>
                  <a:pt x="1766558" y="3899059"/>
                  <a:pt x="1787756" y="3902836"/>
                </a:cubicBezTo>
                <a:lnTo>
                  <a:pt x="1793772" y="3908391"/>
                </a:lnTo>
                <a:lnTo>
                  <a:pt x="1795203" y="3908057"/>
                </a:lnTo>
                <a:cubicBezTo>
                  <a:pt x="1797783" y="3908390"/>
                  <a:pt x="1799787" y="3909502"/>
                  <a:pt x="1800933" y="3911945"/>
                </a:cubicBezTo>
                <a:cubicBezTo>
                  <a:pt x="1801793" y="3913501"/>
                  <a:pt x="1802652" y="3915167"/>
                  <a:pt x="1800933" y="3914611"/>
                </a:cubicBezTo>
                <a:lnTo>
                  <a:pt x="1813251" y="3925496"/>
                </a:lnTo>
                <a:cubicBezTo>
                  <a:pt x="1822990" y="3933050"/>
                  <a:pt x="1835022" y="3939716"/>
                  <a:pt x="1853357" y="3943271"/>
                </a:cubicBezTo>
                <a:cubicBezTo>
                  <a:pt x="1880283" y="3933051"/>
                  <a:pt x="1923253" y="3921943"/>
                  <a:pt x="1962785" y="3931274"/>
                </a:cubicBezTo>
                <a:cubicBezTo>
                  <a:pt x="1963072" y="3938605"/>
                  <a:pt x="1960207" y="3943493"/>
                  <a:pt x="1955624" y="3947269"/>
                </a:cubicBezTo>
                <a:lnTo>
                  <a:pt x="1941873" y="3954934"/>
                </a:lnTo>
                <a:lnTo>
                  <a:pt x="1942160" y="3957490"/>
                </a:lnTo>
                <a:lnTo>
                  <a:pt x="1939582" y="3956156"/>
                </a:lnTo>
                <a:lnTo>
                  <a:pt x="1939581" y="3956378"/>
                </a:lnTo>
                <a:cubicBezTo>
                  <a:pt x="1927550" y="3961599"/>
                  <a:pt x="1915519" y="3966820"/>
                  <a:pt x="1916379" y="3981261"/>
                </a:cubicBezTo>
                <a:cubicBezTo>
                  <a:pt x="1942160" y="3995702"/>
                  <a:pt x="1953619" y="3980039"/>
                  <a:pt x="1971093" y="3972263"/>
                </a:cubicBezTo>
                <a:lnTo>
                  <a:pt x="1977396" y="3970153"/>
                </a:lnTo>
                <a:lnTo>
                  <a:pt x="1978254" y="3970264"/>
                </a:lnTo>
                <a:lnTo>
                  <a:pt x="1977968" y="3970042"/>
                </a:lnTo>
                <a:lnTo>
                  <a:pt x="1980259" y="3969264"/>
                </a:lnTo>
                <a:cubicBezTo>
                  <a:pt x="1983410" y="3968597"/>
                  <a:pt x="1987134" y="3968376"/>
                  <a:pt x="1990858" y="3968597"/>
                </a:cubicBezTo>
                <a:cubicBezTo>
                  <a:pt x="2015208" y="3993259"/>
                  <a:pt x="1943878" y="3985482"/>
                  <a:pt x="1959920" y="4021806"/>
                </a:cubicBezTo>
                <a:cubicBezTo>
                  <a:pt x="1965936" y="4022362"/>
                  <a:pt x="1968801" y="4024583"/>
                  <a:pt x="1971379" y="4026916"/>
                </a:cubicBezTo>
                <a:cubicBezTo>
                  <a:pt x="2014636" y="4024139"/>
                  <a:pt x="2047865" y="3995146"/>
                  <a:pt x="2051017" y="3966042"/>
                </a:cubicBezTo>
                <a:lnTo>
                  <a:pt x="2050731" y="3961488"/>
                </a:lnTo>
                <a:lnTo>
                  <a:pt x="2045860" y="3960711"/>
                </a:lnTo>
                <a:cubicBezTo>
                  <a:pt x="2029818" y="3960377"/>
                  <a:pt x="2014635" y="3965154"/>
                  <a:pt x="1997735" y="3956823"/>
                </a:cubicBezTo>
                <a:cubicBezTo>
                  <a:pt x="2002317" y="3951713"/>
                  <a:pt x="2017501" y="3949158"/>
                  <a:pt x="2031824" y="3950047"/>
                </a:cubicBezTo>
                <a:lnTo>
                  <a:pt x="2050157" y="3953712"/>
                </a:lnTo>
                <a:lnTo>
                  <a:pt x="2050157" y="3951491"/>
                </a:lnTo>
                <a:cubicBezTo>
                  <a:pt x="2049011" y="3946825"/>
                  <a:pt x="2046719" y="3942271"/>
                  <a:pt x="2043568" y="3937827"/>
                </a:cubicBezTo>
                <a:cubicBezTo>
                  <a:pt x="2057318" y="3930718"/>
                  <a:pt x="2087683" y="3937161"/>
                  <a:pt x="2109742" y="3936939"/>
                </a:cubicBezTo>
                <a:cubicBezTo>
                  <a:pt x="2124351" y="3925720"/>
                  <a:pt x="2136096" y="3912167"/>
                  <a:pt x="2156721" y="3901502"/>
                </a:cubicBezTo>
                <a:lnTo>
                  <a:pt x="2171624" y="3906505"/>
                </a:lnTo>
                <a:lnTo>
                  <a:pt x="2174817" y="3890008"/>
                </a:lnTo>
                <a:lnTo>
                  <a:pt x="2176779" y="3876393"/>
                </a:lnTo>
                <a:lnTo>
                  <a:pt x="2176780" y="3860376"/>
                </a:lnTo>
                <a:lnTo>
                  <a:pt x="2176779" y="3841956"/>
                </a:lnTo>
                <a:lnTo>
                  <a:pt x="2174816" y="3817129"/>
                </a:lnTo>
                <a:lnTo>
                  <a:pt x="2159444" y="3824139"/>
                </a:lnTo>
                <a:lnTo>
                  <a:pt x="2157903" y="3842337"/>
                </a:lnTo>
                <a:cubicBezTo>
                  <a:pt x="2157867" y="3849905"/>
                  <a:pt x="2157008" y="3856903"/>
                  <a:pt x="2150992" y="3862180"/>
                </a:cubicBezTo>
                <a:cubicBezTo>
                  <a:pt x="2148701" y="3864180"/>
                  <a:pt x="2145549" y="3865957"/>
                  <a:pt x="2141540" y="3867400"/>
                </a:cubicBezTo>
                <a:lnTo>
                  <a:pt x="2132015" y="3837798"/>
                </a:lnTo>
                <a:lnTo>
                  <a:pt x="2120174" y="3844643"/>
                </a:lnTo>
                <a:lnTo>
                  <a:pt x="2117762" y="3848517"/>
                </a:lnTo>
                <a:lnTo>
                  <a:pt x="2112690" y="3848438"/>
                </a:lnTo>
                <a:lnTo>
                  <a:pt x="2094341" y="3857173"/>
                </a:lnTo>
                <a:lnTo>
                  <a:pt x="2070787" y="3868383"/>
                </a:lnTo>
                <a:lnTo>
                  <a:pt x="2058803" y="3874252"/>
                </a:lnTo>
                <a:lnTo>
                  <a:pt x="2057319" y="3876288"/>
                </a:lnTo>
                <a:cubicBezTo>
                  <a:pt x="2057319" y="3876288"/>
                  <a:pt x="2057606" y="3876288"/>
                  <a:pt x="2053022" y="3877176"/>
                </a:cubicBezTo>
                <a:lnTo>
                  <a:pt x="2052915" y="3877135"/>
                </a:lnTo>
                <a:lnTo>
                  <a:pt x="2051158" y="3877995"/>
                </a:lnTo>
                <a:lnTo>
                  <a:pt x="2044196" y="3869827"/>
                </a:lnTo>
                <a:lnTo>
                  <a:pt x="2028673" y="3884063"/>
                </a:lnTo>
                <a:cubicBezTo>
                  <a:pt x="1990286" y="3883952"/>
                  <a:pt x="1958775" y="3891061"/>
                  <a:pt x="1920388" y="3890950"/>
                </a:cubicBezTo>
                <a:cubicBezTo>
                  <a:pt x="1899476" y="3867512"/>
                  <a:pt x="1837027" y="3857736"/>
                  <a:pt x="1834162" y="3825966"/>
                </a:cubicBezTo>
                <a:cubicBezTo>
                  <a:pt x="1855074" y="3803972"/>
                  <a:pt x="1842757" y="3791531"/>
                  <a:pt x="1847340" y="3775313"/>
                </a:cubicBezTo>
                <a:lnTo>
                  <a:pt x="1851923" y="3772535"/>
                </a:lnTo>
                <a:lnTo>
                  <a:pt x="1842756" y="3772647"/>
                </a:lnTo>
                <a:cubicBezTo>
                  <a:pt x="1824997" y="3772536"/>
                  <a:pt x="1810960" y="3771426"/>
                  <a:pt x="1804370" y="3772648"/>
                </a:cubicBezTo>
                <a:cubicBezTo>
                  <a:pt x="1812678" y="3774091"/>
                  <a:pt x="1810386" y="3779756"/>
                  <a:pt x="1812106" y="3784311"/>
                </a:cubicBezTo>
                <a:cubicBezTo>
                  <a:pt x="1806375" y="3782755"/>
                  <a:pt x="1806089" y="3779090"/>
                  <a:pt x="1796349" y="3778645"/>
                </a:cubicBezTo>
                <a:cubicBezTo>
                  <a:pt x="1794918" y="3779534"/>
                  <a:pt x="1793772" y="3780533"/>
                  <a:pt x="1792339" y="3779756"/>
                </a:cubicBezTo>
                <a:cubicBezTo>
                  <a:pt x="1789761" y="3781756"/>
                  <a:pt x="1788615" y="3784532"/>
                  <a:pt x="1791480" y="3788087"/>
                </a:cubicBezTo>
                <a:cubicBezTo>
                  <a:pt x="1793198" y="3790865"/>
                  <a:pt x="1800360" y="3793309"/>
                  <a:pt x="1807235" y="3793864"/>
                </a:cubicBezTo>
                <a:cubicBezTo>
                  <a:pt x="1809813" y="3793752"/>
                  <a:pt x="1811246" y="3794642"/>
                  <a:pt x="1810099" y="3795642"/>
                </a:cubicBezTo>
                <a:cubicBezTo>
                  <a:pt x="1810099" y="3797418"/>
                  <a:pt x="1808954" y="3798418"/>
                  <a:pt x="1806090" y="3798529"/>
                </a:cubicBezTo>
                <a:cubicBezTo>
                  <a:pt x="1796349" y="3798085"/>
                  <a:pt x="1787756" y="3794753"/>
                  <a:pt x="1784892" y="3789310"/>
                </a:cubicBezTo>
                <a:cubicBezTo>
                  <a:pt x="1780308" y="3784866"/>
                  <a:pt x="1781453" y="3780201"/>
                  <a:pt x="1786609" y="3776202"/>
                </a:cubicBezTo>
                <a:cubicBezTo>
                  <a:pt x="1786609" y="3776202"/>
                  <a:pt x="1786609" y="3776202"/>
                  <a:pt x="1789188" y="3772425"/>
                </a:cubicBezTo>
                <a:cubicBezTo>
                  <a:pt x="1779161" y="3768204"/>
                  <a:pt x="1767703" y="3763315"/>
                  <a:pt x="1755098" y="3759206"/>
                </a:cubicBezTo>
                <a:lnTo>
                  <a:pt x="1730085" y="3749055"/>
                </a:lnTo>
                <a:lnTo>
                  <a:pt x="1713948" y="3749055"/>
                </a:lnTo>
                <a:lnTo>
                  <a:pt x="1708979" y="3751208"/>
                </a:lnTo>
                <a:lnTo>
                  <a:pt x="1702487" y="3749055"/>
                </a:lnTo>
                <a:lnTo>
                  <a:pt x="1697849" y="3749055"/>
                </a:lnTo>
                <a:lnTo>
                  <a:pt x="1666443" y="3751457"/>
                </a:lnTo>
                <a:lnTo>
                  <a:pt x="1659554" y="3752735"/>
                </a:lnTo>
                <a:lnTo>
                  <a:pt x="1663143" y="3762650"/>
                </a:lnTo>
                <a:cubicBezTo>
                  <a:pt x="1654549" y="3761205"/>
                  <a:pt x="1652832" y="3754762"/>
                  <a:pt x="1648820" y="3757762"/>
                </a:cubicBezTo>
                <a:cubicBezTo>
                  <a:pt x="1643664" y="3762650"/>
                  <a:pt x="1636287" y="3764872"/>
                  <a:pt x="1627551" y="3765177"/>
                </a:cubicBezTo>
                <a:lnTo>
                  <a:pt x="1623856" y="3764664"/>
                </a:lnTo>
                <a:lnTo>
                  <a:pt x="1595782" y="3779488"/>
                </a:lnTo>
                <a:lnTo>
                  <a:pt x="1562414" y="3792302"/>
                </a:lnTo>
                <a:lnTo>
                  <a:pt x="1523158" y="3801111"/>
                </a:lnTo>
                <a:lnTo>
                  <a:pt x="1481938" y="3807518"/>
                </a:lnTo>
                <a:lnTo>
                  <a:pt x="1438756" y="3811522"/>
                </a:lnTo>
                <a:lnTo>
                  <a:pt x="1395572" y="3813125"/>
                </a:lnTo>
                <a:lnTo>
                  <a:pt x="1352390" y="3814726"/>
                </a:lnTo>
                <a:lnTo>
                  <a:pt x="1307246" y="3815526"/>
                </a:lnTo>
                <a:lnTo>
                  <a:pt x="1262101" y="3817930"/>
                </a:lnTo>
                <a:lnTo>
                  <a:pt x="1222845" y="3821134"/>
                </a:lnTo>
                <a:lnTo>
                  <a:pt x="1181625" y="3826739"/>
                </a:lnTo>
                <a:lnTo>
                  <a:pt x="1167884" y="3826739"/>
                </a:lnTo>
                <a:lnTo>
                  <a:pt x="1150219" y="3824336"/>
                </a:lnTo>
                <a:lnTo>
                  <a:pt x="1132553" y="3819531"/>
                </a:lnTo>
                <a:lnTo>
                  <a:pt x="1114889" y="3813925"/>
                </a:lnTo>
                <a:lnTo>
                  <a:pt x="1097223" y="3809120"/>
                </a:lnTo>
                <a:lnTo>
                  <a:pt x="1087409" y="3824337"/>
                </a:lnTo>
                <a:lnTo>
                  <a:pt x="1071706" y="3841155"/>
                </a:lnTo>
                <a:lnTo>
                  <a:pt x="1046189" y="3857973"/>
                </a:lnTo>
                <a:lnTo>
                  <a:pt x="1014785" y="3874792"/>
                </a:lnTo>
                <a:lnTo>
                  <a:pt x="975527" y="3891610"/>
                </a:lnTo>
                <a:lnTo>
                  <a:pt x="936271" y="3907627"/>
                </a:lnTo>
                <a:lnTo>
                  <a:pt x="893088" y="3923645"/>
                </a:lnTo>
                <a:lnTo>
                  <a:pt x="847943" y="3938060"/>
                </a:lnTo>
                <a:lnTo>
                  <a:pt x="804761" y="3949272"/>
                </a:lnTo>
                <a:lnTo>
                  <a:pt x="763541" y="3958883"/>
                </a:lnTo>
                <a:lnTo>
                  <a:pt x="724284" y="3966090"/>
                </a:lnTo>
                <a:lnTo>
                  <a:pt x="688953" y="3969294"/>
                </a:lnTo>
                <a:lnTo>
                  <a:pt x="659511" y="3969294"/>
                </a:lnTo>
                <a:lnTo>
                  <a:pt x="643809" y="3983710"/>
                </a:lnTo>
                <a:lnTo>
                  <a:pt x="626143" y="3997324"/>
                </a:lnTo>
                <a:lnTo>
                  <a:pt x="608478" y="4013342"/>
                </a:lnTo>
                <a:lnTo>
                  <a:pt x="584925" y="4031762"/>
                </a:lnTo>
                <a:lnTo>
                  <a:pt x="557445" y="4054186"/>
                </a:lnTo>
                <a:lnTo>
                  <a:pt x="482857" y="4001329"/>
                </a:lnTo>
                <a:lnTo>
                  <a:pt x="410232" y="3951674"/>
                </a:lnTo>
                <a:lnTo>
                  <a:pt x="345459" y="3905225"/>
                </a:lnTo>
                <a:lnTo>
                  <a:pt x="280685" y="3860376"/>
                </a:lnTo>
                <a:lnTo>
                  <a:pt x="213950" y="3817930"/>
                </a:lnTo>
                <a:lnTo>
                  <a:pt x="166842" y="3792302"/>
                </a:lnTo>
                <a:lnTo>
                  <a:pt x="111882" y="3769077"/>
                </a:lnTo>
                <a:lnTo>
                  <a:pt x="54959" y="3745852"/>
                </a:lnTo>
                <a:lnTo>
                  <a:pt x="1" y="3723427"/>
                </a:lnTo>
                <a:lnTo>
                  <a:pt x="0" y="3531219"/>
                </a:lnTo>
                <a:lnTo>
                  <a:pt x="125622" y="3517604"/>
                </a:lnTo>
                <a:lnTo>
                  <a:pt x="253205" y="3503188"/>
                </a:lnTo>
                <a:lnTo>
                  <a:pt x="233577" y="3481564"/>
                </a:lnTo>
                <a:lnTo>
                  <a:pt x="221801" y="3463144"/>
                </a:lnTo>
                <a:lnTo>
                  <a:pt x="219838" y="3445526"/>
                </a:lnTo>
                <a:lnTo>
                  <a:pt x="225727" y="3430309"/>
                </a:lnTo>
                <a:lnTo>
                  <a:pt x="241428" y="3416695"/>
                </a:lnTo>
                <a:lnTo>
                  <a:pt x="263021" y="3404681"/>
                </a:lnTo>
                <a:lnTo>
                  <a:pt x="290501" y="3393469"/>
                </a:lnTo>
                <a:lnTo>
                  <a:pt x="323867" y="3383057"/>
                </a:lnTo>
                <a:lnTo>
                  <a:pt x="361162" y="3373447"/>
                </a:lnTo>
                <a:lnTo>
                  <a:pt x="402382" y="3365438"/>
                </a:lnTo>
                <a:lnTo>
                  <a:pt x="433786" y="3355828"/>
                </a:lnTo>
                <a:lnTo>
                  <a:pt x="459303" y="3343815"/>
                </a:lnTo>
                <a:lnTo>
                  <a:pt x="478930" y="3330200"/>
                </a:lnTo>
                <a:lnTo>
                  <a:pt x="496597" y="3312581"/>
                </a:lnTo>
                <a:lnTo>
                  <a:pt x="514262" y="3295762"/>
                </a:lnTo>
                <a:lnTo>
                  <a:pt x="531928" y="3280546"/>
                </a:lnTo>
                <a:lnTo>
                  <a:pt x="553518" y="3266931"/>
                </a:lnTo>
                <a:lnTo>
                  <a:pt x="577073" y="3255720"/>
                </a:lnTo>
                <a:lnTo>
                  <a:pt x="604552" y="3246109"/>
                </a:lnTo>
                <a:lnTo>
                  <a:pt x="633996" y="3240503"/>
                </a:lnTo>
                <a:lnTo>
                  <a:pt x="671288" y="3238100"/>
                </a:lnTo>
                <a:lnTo>
                  <a:pt x="710545" y="3238901"/>
                </a:lnTo>
                <a:lnTo>
                  <a:pt x="755689" y="3244507"/>
                </a:lnTo>
                <a:lnTo>
                  <a:pt x="822427" y="3200459"/>
                </a:lnTo>
                <a:lnTo>
                  <a:pt x="881311" y="3160416"/>
                </a:lnTo>
                <a:lnTo>
                  <a:pt x="936271" y="3121173"/>
                </a:lnTo>
                <a:lnTo>
                  <a:pt x="971602" y="3096347"/>
                </a:lnTo>
                <a:lnTo>
                  <a:pt x="1004970" y="3070719"/>
                </a:lnTo>
                <a:lnTo>
                  <a:pt x="1042265" y="3046693"/>
                </a:lnTo>
                <a:lnTo>
                  <a:pt x="1079556" y="3024268"/>
                </a:lnTo>
                <a:lnTo>
                  <a:pt x="1120777" y="3001844"/>
                </a:lnTo>
                <a:lnTo>
                  <a:pt x="1169847" y="2982623"/>
                </a:lnTo>
                <a:lnTo>
                  <a:pt x="1222845" y="2965004"/>
                </a:lnTo>
                <a:lnTo>
                  <a:pt x="1283692" y="2949788"/>
                </a:lnTo>
                <a:lnTo>
                  <a:pt x="1352390" y="2937774"/>
                </a:lnTo>
                <a:lnTo>
                  <a:pt x="1356316" y="2936974"/>
                </a:lnTo>
                <a:lnTo>
                  <a:pt x="1358280" y="2935371"/>
                </a:lnTo>
                <a:lnTo>
                  <a:pt x="1364167" y="2932169"/>
                </a:lnTo>
                <a:lnTo>
                  <a:pt x="1366130" y="2929766"/>
                </a:lnTo>
                <a:lnTo>
                  <a:pt x="1370057" y="2927364"/>
                </a:lnTo>
                <a:lnTo>
                  <a:pt x="1438756" y="2888921"/>
                </a:lnTo>
                <a:lnTo>
                  <a:pt x="1509417" y="2848878"/>
                </a:lnTo>
                <a:lnTo>
                  <a:pt x="1552091" y="2825180"/>
                </a:lnTo>
                <a:lnTo>
                  <a:pt x="1551260" y="2822807"/>
                </a:lnTo>
                <a:lnTo>
                  <a:pt x="1526151" y="2701362"/>
                </a:lnTo>
                <a:lnTo>
                  <a:pt x="1495247" y="2580706"/>
                </a:lnTo>
                <a:lnTo>
                  <a:pt x="1340725" y="2552316"/>
                </a:lnTo>
                <a:lnTo>
                  <a:pt x="1178478" y="2523139"/>
                </a:lnTo>
                <a:lnTo>
                  <a:pt x="1008506" y="2492383"/>
                </a:lnTo>
                <a:lnTo>
                  <a:pt x="834669" y="2460051"/>
                </a:lnTo>
                <a:lnTo>
                  <a:pt x="886821" y="2446644"/>
                </a:lnTo>
                <a:lnTo>
                  <a:pt x="931246" y="2431660"/>
                </a:lnTo>
                <a:lnTo>
                  <a:pt x="964081" y="2416677"/>
                </a:lnTo>
                <a:lnTo>
                  <a:pt x="987260" y="2400906"/>
                </a:lnTo>
                <a:lnTo>
                  <a:pt x="1004643" y="2383557"/>
                </a:lnTo>
                <a:lnTo>
                  <a:pt x="1014300" y="2366207"/>
                </a:lnTo>
                <a:lnTo>
                  <a:pt x="1018163" y="2349647"/>
                </a:lnTo>
                <a:lnTo>
                  <a:pt x="1016233" y="2331509"/>
                </a:lnTo>
                <a:lnTo>
                  <a:pt x="1010437" y="2313371"/>
                </a:lnTo>
                <a:lnTo>
                  <a:pt x="1002712" y="2294445"/>
                </a:lnTo>
                <a:lnTo>
                  <a:pt x="993054" y="2275518"/>
                </a:lnTo>
                <a:lnTo>
                  <a:pt x="981464" y="2257380"/>
                </a:lnTo>
                <a:lnTo>
                  <a:pt x="973739" y="2238455"/>
                </a:lnTo>
                <a:lnTo>
                  <a:pt x="967945" y="2225047"/>
                </a:lnTo>
                <a:lnTo>
                  <a:pt x="964081" y="2211642"/>
                </a:lnTo>
                <a:lnTo>
                  <a:pt x="964081" y="2196658"/>
                </a:lnTo>
                <a:lnTo>
                  <a:pt x="962149" y="2183252"/>
                </a:lnTo>
                <a:lnTo>
                  <a:pt x="960219" y="2169846"/>
                </a:lnTo>
                <a:lnTo>
                  <a:pt x="956356" y="2158017"/>
                </a:lnTo>
                <a:lnTo>
                  <a:pt x="948630" y="2148554"/>
                </a:lnTo>
                <a:lnTo>
                  <a:pt x="933178" y="2142245"/>
                </a:lnTo>
                <a:lnTo>
                  <a:pt x="882958" y="2129627"/>
                </a:lnTo>
                <a:lnTo>
                  <a:pt x="828875" y="2119376"/>
                </a:lnTo>
                <a:lnTo>
                  <a:pt x="770930" y="2110701"/>
                </a:lnTo>
                <a:lnTo>
                  <a:pt x="712984" y="2103603"/>
                </a:lnTo>
                <a:lnTo>
                  <a:pt x="653107" y="2096506"/>
                </a:lnTo>
                <a:lnTo>
                  <a:pt x="593232" y="2088621"/>
                </a:lnTo>
                <a:lnTo>
                  <a:pt x="527560" y="2079157"/>
                </a:lnTo>
                <a:lnTo>
                  <a:pt x="458026" y="2070482"/>
                </a:lnTo>
                <a:lnTo>
                  <a:pt x="384627" y="2061020"/>
                </a:lnTo>
                <a:lnTo>
                  <a:pt x="305436" y="2050767"/>
                </a:lnTo>
                <a:lnTo>
                  <a:pt x="355655" y="2029476"/>
                </a:lnTo>
                <a:lnTo>
                  <a:pt x="405875" y="2010550"/>
                </a:lnTo>
                <a:lnTo>
                  <a:pt x="458026" y="1993200"/>
                </a:lnTo>
                <a:lnTo>
                  <a:pt x="510177" y="1978216"/>
                </a:lnTo>
                <a:lnTo>
                  <a:pt x="564258" y="1966387"/>
                </a:lnTo>
                <a:lnTo>
                  <a:pt x="622204" y="1957713"/>
                </a:lnTo>
                <a:lnTo>
                  <a:pt x="680149" y="1952981"/>
                </a:lnTo>
                <a:lnTo>
                  <a:pt x="745820" y="1950615"/>
                </a:lnTo>
                <a:lnTo>
                  <a:pt x="790245" y="1949827"/>
                </a:lnTo>
                <a:lnTo>
                  <a:pt x="825012" y="1946672"/>
                </a:lnTo>
                <a:lnTo>
                  <a:pt x="853985" y="1940364"/>
                </a:lnTo>
                <a:lnTo>
                  <a:pt x="875232" y="1931689"/>
                </a:lnTo>
                <a:lnTo>
                  <a:pt x="888752" y="1919860"/>
                </a:lnTo>
                <a:lnTo>
                  <a:pt x="900341" y="1905665"/>
                </a:lnTo>
                <a:lnTo>
                  <a:pt x="906136" y="1888315"/>
                </a:lnTo>
                <a:lnTo>
                  <a:pt x="920503" y="1835522"/>
                </a:lnTo>
                <a:lnTo>
                  <a:pt x="493771" y="1721180"/>
                </a:lnTo>
                <a:lnTo>
                  <a:pt x="498310" y="1716416"/>
                </a:lnTo>
                <a:cubicBezTo>
                  <a:pt x="501749" y="1713542"/>
                  <a:pt x="505800" y="1710602"/>
                  <a:pt x="509210" y="1707836"/>
                </a:cubicBezTo>
                <a:cubicBezTo>
                  <a:pt x="512530" y="1708725"/>
                  <a:pt x="514783" y="1708065"/>
                  <a:pt x="517471" y="1711314"/>
                </a:cubicBezTo>
                <a:cubicBezTo>
                  <a:pt x="517471" y="1711314"/>
                  <a:pt x="519132" y="1711759"/>
                  <a:pt x="519132" y="1711759"/>
                </a:cubicBezTo>
                <a:cubicBezTo>
                  <a:pt x="536783" y="1707864"/>
                  <a:pt x="550385" y="1698053"/>
                  <a:pt x="564015" y="1688135"/>
                </a:cubicBezTo>
                <a:cubicBezTo>
                  <a:pt x="563563" y="1683184"/>
                  <a:pt x="557248" y="1679078"/>
                  <a:pt x="563782" y="1674618"/>
                </a:cubicBezTo>
                <a:cubicBezTo>
                  <a:pt x="576381" y="1682938"/>
                  <a:pt x="582037" y="1668469"/>
                  <a:pt x="586910" y="1663564"/>
                </a:cubicBezTo>
                <a:cubicBezTo>
                  <a:pt x="596093" y="1663611"/>
                  <a:pt x="590795" y="1663455"/>
                  <a:pt x="599689" y="1664574"/>
                </a:cubicBezTo>
                <a:cubicBezTo>
                  <a:pt x="606510" y="1659041"/>
                  <a:pt x="609694" y="1653799"/>
                  <a:pt x="616514" y="1648266"/>
                </a:cubicBezTo>
                <a:cubicBezTo>
                  <a:pt x="622089" y="1648496"/>
                  <a:pt x="627345" y="1649904"/>
                  <a:pt x="633562" y="1646625"/>
                </a:cubicBezTo>
                <a:cubicBezTo>
                  <a:pt x="631162" y="1642302"/>
                  <a:pt x="621951" y="1642364"/>
                  <a:pt x="624532" y="1639376"/>
                </a:cubicBezTo>
                <a:cubicBezTo>
                  <a:pt x="629196" y="1641891"/>
                  <a:pt x="636609" y="1635252"/>
                  <a:pt x="630009" y="1632217"/>
                </a:cubicBezTo>
                <a:cubicBezTo>
                  <a:pt x="625315" y="1629809"/>
                  <a:pt x="618823" y="1633015"/>
                  <a:pt x="612922" y="1635114"/>
                </a:cubicBezTo>
                <a:cubicBezTo>
                  <a:pt x="606456" y="1638212"/>
                  <a:pt x="600556" y="1640310"/>
                  <a:pt x="592294" y="1636832"/>
                </a:cubicBezTo>
                <a:cubicBezTo>
                  <a:pt x="590497" y="1630255"/>
                  <a:pt x="593969" y="1623940"/>
                  <a:pt x="599445" y="1616783"/>
                </a:cubicBezTo>
                <a:cubicBezTo>
                  <a:pt x="606860" y="1610144"/>
                  <a:pt x="617001" y="1605502"/>
                  <a:pt x="625155" y="1602741"/>
                </a:cubicBezTo>
                <a:cubicBezTo>
                  <a:pt x="632813" y="1608474"/>
                  <a:pt x="641678" y="1609699"/>
                  <a:pt x="646054" y="1613286"/>
                </a:cubicBezTo>
                <a:cubicBezTo>
                  <a:pt x="642130" y="1614649"/>
                  <a:pt x="620843" y="1618836"/>
                  <a:pt x="636474" y="1629120"/>
                </a:cubicBezTo>
                <a:cubicBezTo>
                  <a:pt x="645367" y="1630238"/>
                  <a:pt x="644035" y="1627465"/>
                  <a:pt x="651268" y="1628138"/>
                </a:cubicBezTo>
                <a:cubicBezTo>
                  <a:pt x="652791" y="1622452"/>
                  <a:pt x="659890" y="1616994"/>
                  <a:pt x="663102" y="1611644"/>
                </a:cubicBezTo>
                <a:cubicBezTo>
                  <a:pt x="657104" y="1606358"/>
                  <a:pt x="649651" y="1614250"/>
                  <a:pt x="643970" y="1607783"/>
                </a:cubicBezTo>
                <a:cubicBezTo>
                  <a:pt x="653935" y="1598263"/>
                  <a:pt x="652908" y="1595458"/>
                  <a:pt x="671627" y="1593113"/>
                </a:cubicBezTo>
                <a:cubicBezTo>
                  <a:pt x="680204" y="1595412"/>
                  <a:pt x="673384" y="1600944"/>
                  <a:pt x="677444" y="1605712"/>
                </a:cubicBezTo>
                <a:cubicBezTo>
                  <a:pt x="700076" y="1603151"/>
                  <a:pt x="712335" y="1591715"/>
                  <a:pt x="726254" y="1580724"/>
                </a:cubicBezTo>
                <a:cubicBezTo>
                  <a:pt x="717359" y="1579607"/>
                  <a:pt x="712281" y="1570886"/>
                  <a:pt x="702456" y="1574349"/>
                </a:cubicBezTo>
                <a:cubicBezTo>
                  <a:pt x="697982" y="1563374"/>
                  <a:pt x="715644" y="1558333"/>
                  <a:pt x="713531" y="1552935"/>
                </a:cubicBezTo>
                <a:cubicBezTo>
                  <a:pt x="720173" y="1554715"/>
                  <a:pt x="740143" y="1569842"/>
                  <a:pt x="734378" y="1578072"/>
                </a:cubicBezTo>
                <a:cubicBezTo>
                  <a:pt x="746276" y="1581260"/>
                  <a:pt x="744835" y="1572249"/>
                  <a:pt x="754333" y="1571113"/>
                </a:cubicBezTo>
                <a:cubicBezTo>
                  <a:pt x="764571" y="1573857"/>
                  <a:pt x="761070" y="1580278"/>
                  <a:pt x="770993" y="1584202"/>
                </a:cubicBezTo>
                <a:cubicBezTo>
                  <a:pt x="775549" y="1580479"/>
                  <a:pt x="768028" y="1580879"/>
                  <a:pt x="765627" y="1576555"/>
                </a:cubicBezTo>
                <a:cubicBezTo>
                  <a:pt x="771076" y="1569505"/>
                  <a:pt x="780149" y="1563311"/>
                  <a:pt x="790855" y="1557669"/>
                </a:cubicBezTo>
                <a:cubicBezTo>
                  <a:pt x="799651" y="1551401"/>
                  <a:pt x="810069" y="1546833"/>
                  <a:pt x="812926" y="1543918"/>
                </a:cubicBezTo>
                <a:cubicBezTo>
                  <a:pt x="805089" y="1545498"/>
                  <a:pt x="802372" y="1542355"/>
                  <a:pt x="797747" y="1538585"/>
                </a:cubicBezTo>
                <a:cubicBezTo>
                  <a:pt x="801948" y="1537296"/>
                  <a:pt x="804637" y="1540547"/>
                  <a:pt x="810853" y="1537268"/>
                </a:cubicBezTo>
                <a:lnTo>
                  <a:pt x="811428" y="1535121"/>
                </a:lnTo>
                <a:lnTo>
                  <a:pt x="812829" y="1536532"/>
                </a:lnTo>
                <a:cubicBezTo>
                  <a:pt x="811485" y="1534907"/>
                  <a:pt x="811456" y="1535014"/>
                  <a:pt x="811456" y="1535014"/>
                </a:cubicBezTo>
                <a:lnTo>
                  <a:pt x="811428" y="1535121"/>
                </a:lnTo>
                <a:lnTo>
                  <a:pt x="805765" y="1529694"/>
                </a:lnTo>
                <a:cubicBezTo>
                  <a:pt x="800794" y="1527213"/>
                  <a:pt x="795210" y="1528131"/>
                  <a:pt x="790693" y="1530601"/>
                </a:cubicBezTo>
                <a:cubicBezTo>
                  <a:pt x="790377" y="1531781"/>
                  <a:pt x="788717" y="1531336"/>
                  <a:pt x="787372" y="1529711"/>
                </a:cubicBezTo>
                <a:cubicBezTo>
                  <a:pt x="785713" y="1529266"/>
                  <a:pt x="786029" y="1528086"/>
                  <a:pt x="786317" y="1527013"/>
                </a:cubicBezTo>
                <a:cubicBezTo>
                  <a:pt x="792810" y="1523807"/>
                  <a:pt x="800055" y="1523334"/>
                  <a:pt x="808633" y="1525633"/>
                </a:cubicBezTo>
                <a:cubicBezTo>
                  <a:pt x="813297" y="1528146"/>
                  <a:pt x="817950" y="1531810"/>
                  <a:pt x="818692" y="1535688"/>
                </a:cubicBezTo>
                <a:cubicBezTo>
                  <a:pt x="818692" y="1535688"/>
                  <a:pt x="818692" y="1535688"/>
                  <a:pt x="821408" y="1538831"/>
                </a:cubicBezTo>
                <a:cubicBezTo>
                  <a:pt x="830301" y="1539949"/>
                  <a:pt x="840086" y="1537741"/>
                  <a:pt x="851562" y="1535869"/>
                </a:cubicBezTo>
                <a:cubicBezTo>
                  <a:pt x="862718" y="1535180"/>
                  <a:pt x="875825" y="1533861"/>
                  <a:pt x="886695" y="1534244"/>
                </a:cubicBezTo>
                <a:cubicBezTo>
                  <a:pt x="882003" y="1531837"/>
                  <a:pt x="886271" y="1529185"/>
                  <a:pt x="885215" y="1526487"/>
                </a:cubicBezTo>
                <a:cubicBezTo>
                  <a:pt x="890799" y="1525568"/>
                  <a:pt x="896661" y="1524724"/>
                  <a:pt x="902274" y="1523698"/>
                </a:cubicBezTo>
                <a:cubicBezTo>
                  <a:pt x="904853" y="1520709"/>
                  <a:pt x="912691" y="1519129"/>
                  <a:pt x="920213" y="1518729"/>
                </a:cubicBezTo>
                <a:cubicBezTo>
                  <a:pt x="925826" y="1517704"/>
                  <a:pt x="933635" y="1516231"/>
                  <a:pt x="932895" y="1512352"/>
                </a:cubicBezTo>
                <a:cubicBezTo>
                  <a:pt x="917825" y="1513259"/>
                  <a:pt x="910195" y="1507420"/>
                  <a:pt x="902497" y="1502942"/>
                </a:cubicBezTo>
                <a:cubicBezTo>
                  <a:pt x="906737" y="1500399"/>
                  <a:pt x="914683" y="1505057"/>
                  <a:pt x="913665" y="1501105"/>
                </a:cubicBezTo>
                <a:cubicBezTo>
                  <a:pt x="911158" y="1490543"/>
                  <a:pt x="922179" y="1483720"/>
                  <a:pt x="939515" y="1481006"/>
                </a:cubicBezTo>
                <a:cubicBezTo>
                  <a:pt x="954625" y="1478845"/>
                  <a:pt x="974966" y="1478199"/>
                  <a:pt x="987179" y="1480208"/>
                </a:cubicBezTo>
                <a:cubicBezTo>
                  <a:pt x="990816" y="1479916"/>
                  <a:pt x="988947" y="1486892"/>
                  <a:pt x="994521" y="1487120"/>
                </a:cubicBezTo>
                <a:cubicBezTo>
                  <a:pt x="998129" y="1486936"/>
                  <a:pt x="997102" y="1484131"/>
                  <a:pt x="999818" y="1487274"/>
                </a:cubicBezTo>
                <a:cubicBezTo>
                  <a:pt x="1003703" y="1487166"/>
                  <a:pt x="1007657" y="1485695"/>
                  <a:pt x="1011263" y="1485511"/>
                </a:cubicBezTo>
                <a:cubicBezTo>
                  <a:pt x="1012924" y="1485956"/>
                  <a:pt x="1016550" y="1486812"/>
                  <a:pt x="1016233" y="1487993"/>
                </a:cubicBezTo>
                <a:cubicBezTo>
                  <a:pt x="1015918" y="1489173"/>
                  <a:pt x="1015601" y="1490353"/>
                  <a:pt x="1013664" y="1489834"/>
                </a:cubicBezTo>
                <a:cubicBezTo>
                  <a:pt x="1010027" y="1490124"/>
                  <a:pt x="1006419" y="1490308"/>
                  <a:pt x="1002496" y="1491672"/>
                </a:cubicBezTo>
                <a:cubicBezTo>
                  <a:pt x="997662" y="1495321"/>
                  <a:pt x="980180" y="1493052"/>
                  <a:pt x="976995" y="1498293"/>
                </a:cubicBezTo>
                <a:cubicBezTo>
                  <a:pt x="976995" y="1498293"/>
                  <a:pt x="976690" y="1498327"/>
                  <a:pt x="982263" y="1498556"/>
                </a:cubicBezTo>
                <a:cubicBezTo>
                  <a:pt x="982263" y="1498556"/>
                  <a:pt x="982263" y="1498556"/>
                  <a:pt x="981975" y="1499628"/>
                </a:cubicBezTo>
                <a:cubicBezTo>
                  <a:pt x="983924" y="1499001"/>
                  <a:pt x="985584" y="1499445"/>
                  <a:pt x="985900" y="1498265"/>
                </a:cubicBezTo>
                <a:cubicBezTo>
                  <a:pt x="989508" y="1498082"/>
                  <a:pt x="991761" y="1497420"/>
                  <a:pt x="993738" y="1496685"/>
                </a:cubicBezTo>
                <a:cubicBezTo>
                  <a:pt x="993738" y="1496685"/>
                  <a:pt x="995714" y="1495949"/>
                  <a:pt x="997058" y="1497574"/>
                </a:cubicBezTo>
                <a:cubicBezTo>
                  <a:pt x="997058" y="1497574"/>
                  <a:pt x="996741" y="1498755"/>
                  <a:pt x="996425" y="1499935"/>
                </a:cubicBezTo>
                <a:cubicBezTo>
                  <a:pt x="994448" y="1500671"/>
                  <a:pt x="990564" y="1500780"/>
                  <a:pt x="988617" y="1501407"/>
                </a:cubicBezTo>
                <a:cubicBezTo>
                  <a:pt x="986957" y="1500963"/>
                  <a:pt x="986640" y="1502143"/>
                  <a:pt x="984980" y="1501698"/>
                </a:cubicBezTo>
                <a:cubicBezTo>
                  <a:pt x="980424" y="1505423"/>
                  <a:pt x="973219" y="1504643"/>
                  <a:pt x="967921" y="1504487"/>
                </a:cubicBezTo>
                <a:cubicBezTo>
                  <a:pt x="960400" y="1504887"/>
                  <a:pt x="954786" y="1505914"/>
                  <a:pt x="954895" y="1512152"/>
                </a:cubicBezTo>
                <a:cubicBezTo>
                  <a:pt x="960508" y="1511126"/>
                  <a:pt x="968030" y="1510727"/>
                  <a:pt x="973920" y="1509775"/>
                </a:cubicBezTo>
                <a:cubicBezTo>
                  <a:pt x="973920" y="1509775"/>
                  <a:pt x="973642" y="1509700"/>
                  <a:pt x="971983" y="1509256"/>
                </a:cubicBezTo>
                <a:cubicBezTo>
                  <a:pt x="971983" y="1509256"/>
                  <a:pt x="971983" y="1509256"/>
                  <a:pt x="979819" y="1507675"/>
                </a:cubicBezTo>
                <a:cubicBezTo>
                  <a:pt x="979819" y="1507675"/>
                  <a:pt x="979819" y="1507675"/>
                  <a:pt x="981480" y="1508121"/>
                </a:cubicBezTo>
                <a:cubicBezTo>
                  <a:pt x="989317" y="1506541"/>
                  <a:pt x="996878" y="1504886"/>
                  <a:pt x="1004716" y="1503307"/>
                </a:cubicBezTo>
                <a:cubicBezTo>
                  <a:pt x="1007720" y="1505377"/>
                  <a:pt x="1009656" y="1505896"/>
                  <a:pt x="1011317" y="1506341"/>
                </a:cubicBezTo>
                <a:cubicBezTo>
                  <a:pt x="1015241" y="1504977"/>
                  <a:pt x="1018878" y="1504686"/>
                  <a:pt x="1024739" y="1503842"/>
                </a:cubicBezTo>
                <a:cubicBezTo>
                  <a:pt x="1024451" y="1504915"/>
                  <a:pt x="1024135" y="1506095"/>
                  <a:pt x="1024135" y="1506095"/>
                </a:cubicBezTo>
                <a:cubicBezTo>
                  <a:pt x="1029720" y="1505176"/>
                  <a:pt x="1036213" y="1501971"/>
                  <a:pt x="1039850" y="1501681"/>
                </a:cubicBezTo>
                <a:cubicBezTo>
                  <a:pt x="1045119" y="1501942"/>
                  <a:pt x="1050375" y="1503351"/>
                  <a:pt x="1055673" y="1503505"/>
                </a:cubicBezTo>
                <a:cubicBezTo>
                  <a:pt x="1057896" y="1502951"/>
                  <a:pt x="1059874" y="1502217"/>
                  <a:pt x="1061533" y="1502660"/>
                </a:cubicBezTo>
                <a:cubicBezTo>
                  <a:pt x="1063510" y="1501925"/>
                  <a:pt x="1064854" y="1503550"/>
                  <a:pt x="1064854" y="1503550"/>
                </a:cubicBezTo>
                <a:cubicBezTo>
                  <a:pt x="1070427" y="1503778"/>
                  <a:pt x="1076012" y="1502860"/>
                  <a:pt x="1082190" y="1500835"/>
                </a:cubicBezTo>
                <a:cubicBezTo>
                  <a:pt x="1079513" y="1496438"/>
                  <a:pt x="1087350" y="1494858"/>
                  <a:pt x="1078485" y="1493632"/>
                </a:cubicBezTo>
                <a:cubicBezTo>
                  <a:pt x="1072583" y="1495731"/>
                  <a:pt x="1065034" y="1496238"/>
                  <a:pt x="1057801" y="1495566"/>
                </a:cubicBezTo>
                <a:cubicBezTo>
                  <a:pt x="1057513" y="1496638"/>
                  <a:pt x="1057503" y="1497785"/>
                  <a:pt x="1055526" y="1498521"/>
                </a:cubicBezTo>
                <a:cubicBezTo>
                  <a:pt x="1050871" y="1494859"/>
                  <a:pt x="1038793" y="1498982"/>
                  <a:pt x="1034139" y="1495321"/>
                </a:cubicBezTo>
                <a:cubicBezTo>
                  <a:pt x="1038657" y="1492851"/>
                  <a:pt x="1042294" y="1492560"/>
                  <a:pt x="1045902" y="1492377"/>
                </a:cubicBezTo>
                <a:cubicBezTo>
                  <a:pt x="1040921" y="1491042"/>
                  <a:pt x="1037640" y="1488898"/>
                  <a:pt x="1034953" y="1485648"/>
                </a:cubicBezTo>
                <a:cubicBezTo>
                  <a:pt x="1052288" y="1482933"/>
                  <a:pt x="1066315" y="1478182"/>
                  <a:pt x="1091347" y="1479943"/>
                </a:cubicBezTo>
                <a:cubicBezTo>
                  <a:pt x="1099184" y="1478364"/>
                  <a:pt x="1094394" y="1468571"/>
                  <a:pt x="1110207" y="1471542"/>
                </a:cubicBezTo>
                <a:cubicBezTo>
                  <a:pt x="1117587" y="1477199"/>
                  <a:pt x="1110766" y="1482731"/>
                  <a:pt x="1110902" y="1488864"/>
                </a:cubicBezTo>
                <a:cubicBezTo>
                  <a:pt x="1112850" y="1488235"/>
                  <a:pt x="1114787" y="1488754"/>
                  <a:pt x="1116159" y="1490272"/>
                </a:cubicBezTo>
                <a:cubicBezTo>
                  <a:pt x="1117820" y="1490717"/>
                  <a:pt x="1118137" y="1489537"/>
                  <a:pt x="1119796" y="1489982"/>
                </a:cubicBezTo>
                <a:lnTo>
                  <a:pt x="1128977" y="1490027"/>
                </a:lnTo>
                <a:lnTo>
                  <a:pt x="1126585" y="1487890"/>
                </a:lnTo>
                <a:lnTo>
                  <a:pt x="1125696" y="1487882"/>
                </a:lnTo>
                <a:lnTo>
                  <a:pt x="1126042" y="1486595"/>
                </a:lnTo>
                <a:lnTo>
                  <a:pt x="1126764" y="1480579"/>
                </a:lnTo>
                <a:lnTo>
                  <a:pt x="1132834" y="1481170"/>
                </a:lnTo>
                <a:lnTo>
                  <a:pt x="1133057" y="1478125"/>
                </a:lnTo>
                <a:cubicBezTo>
                  <a:pt x="1132716" y="1476078"/>
                  <a:pt x="1131602" y="1473594"/>
                  <a:pt x="1128608" y="1470377"/>
                </a:cubicBezTo>
                <a:cubicBezTo>
                  <a:pt x="1149400" y="1474684"/>
                  <a:pt x="1161931" y="1475511"/>
                  <a:pt x="1176687" y="1475785"/>
                </a:cubicBezTo>
                <a:lnTo>
                  <a:pt x="1176963" y="1475859"/>
                </a:lnTo>
                <a:lnTo>
                  <a:pt x="1175543" y="1473408"/>
                </a:lnTo>
                <a:cubicBezTo>
                  <a:pt x="1174982" y="1471074"/>
                  <a:pt x="1175206" y="1468028"/>
                  <a:pt x="1178501" y="1465691"/>
                </a:cubicBezTo>
                <a:cubicBezTo>
                  <a:pt x="1180150" y="1467283"/>
                  <a:pt x="1190349" y="1462425"/>
                  <a:pt x="1196997" y="1466392"/>
                </a:cubicBezTo>
                <a:cubicBezTo>
                  <a:pt x="1200060" y="1468248"/>
                  <a:pt x="1201708" y="1469840"/>
                  <a:pt x="1205047" y="1471769"/>
                </a:cubicBezTo>
                <a:lnTo>
                  <a:pt x="1206053" y="1476869"/>
                </a:lnTo>
                <a:lnTo>
                  <a:pt x="1216169" y="1477855"/>
                </a:lnTo>
                <a:cubicBezTo>
                  <a:pt x="1216909" y="1481732"/>
                  <a:pt x="1220506" y="1482696"/>
                  <a:pt x="1221563" y="1485395"/>
                </a:cubicBezTo>
                <a:cubicBezTo>
                  <a:pt x="1216442" y="1490117"/>
                  <a:pt x="1210224" y="1493397"/>
                  <a:pt x="1208701" y="1499083"/>
                </a:cubicBezTo>
                <a:cubicBezTo>
                  <a:pt x="1200084" y="1498040"/>
                  <a:pt x="1199067" y="1494086"/>
                  <a:pt x="1187909" y="1494777"/>
                </a:cubicBezTo>
                <a:cubicBezTo>
                  <a:pt x="1187276" y="1497138"/>
                  <a:pt x="1185328" y="1497766"/>
                  <a:pt x="1186356" y="1500572"/>
                </a:cubicBezTo>
                <a:cubicBezTo>
                  <a:pt x="1211350" y="1503589"/>
                  <a:pt x="1231441" y="1502762"/>
                  <a:pt x="1255102" y="1503006"/>
                </a:cubicBezTo>
                <a:cubicBezTo>
                  <a:pt x="1258699" y="1503970"/>
                  <a:pt x="1262335" y="1503679"/>
                  <a:pt x="1266248" y="1503463"/>
                </a:cubicBezTo>
                <a:cubicBezTo>
                  <a:pt x="1268512" y="1501654"/>
                  <a:pt x="1270805" y="1499739"/>
                  <a:pt x="1276389" y="1498820"/>
                </a:cubicBezTo>
                <a:cubicBezTo>
                  <a:pt x="1276073" y="1500001"/>
                  <a:pt x="1275441" y="1502362"/>
                  <a:pt x="1275153" y="1503433"/>
                </a:cubicBezTo>
                <a:cubicBezTo>
                  <a:pt x="1280698" y="1503770"/>
                  <a:pt x="1287655" y="1504369"/>
                  <a:pt x="1293229" y="1504597"/>
                </a:cubicBezTo>
                <a:cubicBezTo>
                  <a:pt x="1293229" y="1504597"/>
                  <a:pt x="1293545" y="1503417"/>
                  <a:pt x="1293545" y="1503417"/>
                </a:cubicBezTo>
                <a:cubicBezTo>
                  <a:pt x="1297182" y="1503127"/>
                  <a:pt x="1302313" y="1497257"/>
                  <a:pt x="1304990" y="1501654"/>
                </a:cubicBezTo>
                <a:cubicBezTo>
                  <a:pt x="1303043" y="1502282"/>
                  <a:pt x="1300502" y="1504016"/>
                  <a:pt x="1296866" y="1504307"/>
                </a:cubicBezTo>
                <a:cubicBezTo>
                  <a:pt x="1307707" y="1504796"/>
                  <a:pt x="1318262" y="1506359"/>
                  <a:pt x="1328787" y="1508030"/>
                </a:cubicBezTo>
                <a:cubicBezTo>
                  <a:pt x="1333343" y="1504306"/>
                  <a:pt x="1347179" y="1508013"/>
                  <a:pt x="1351736" y="1504289"/>
                </a:cubicBezTo>
                <a:cubicBezTo>
                  <a:pt x="1356993" y="1505697"/>
                  <a:pt x="1361657" y="1508212"/>
                  <a:pt x="1365294" y="1507922"/>
                </a:cubicBezTo>
                <a:cubicBezTo>
                  <a:pt x="1363951" y="1506298"/>
                  <a:pt x="1364238" y="1505224"/>
                  <a:pt x="1366185" y="1504595"/>
                </a:cubicBezTo>
                <a:cubicBezTo>
                  <a:pt x="1350362" y="1502770"/>
                  <a:pt x="1340154" y="1499920"/>
                  <a:pt x="1343518" y="1487366"/>
                </a:cubicBezTo>
                <a:cubicBezTo>
                  <a:pt x="1356020" y="1488302"/>
                  <a:pt x="1367177" y="1487611"/>
                  <a:pt x="1378020" y="1488101"/>
                </a:cubicBezTo>
                <a:cubicBezTo>
                  <a:pt x="1388891" y="1488484"/>
                  <a:pt x="1400759" y="1491780"/>
                  <a:pt x="1411421" y="1499581"/>
                </a:cubicBezTo>
                <a:cubicBezTo>
                  <a:pt x="1411134" y="1500654"/>
                  <a:pt x="1411134" y="1500654"/>
                  <a:pt x="1410818" y="1501835"/>
                </a:cubicBezTo>
                <a:cubicBezTo>
                  <a:pt x="1412755" y="1502354"/>
                  <a:pt x="1414127" y="1503872"/>
                  <a:pt x="1415788" y="1504316"/>
                </a:cubicBezTo>
                <a:cubicBezTo>
                  <a:pt x="1419204" y="1512592"/>
                  <a:pt x="1404313" y="1506187"/>
                  <a:pt x="1404421" y="1512426"/>
                </a:cubicBezTo>
                <a:cubicBezTo>
                  <a:pt x="1404421" y="1512426"/>
                  <a:pt x="1404134" y="1513499"/>
                  <a:pt x="1405793" y="1513944"/>
                </a:cubicBezTo>
                <a:cubicBezTo>
                  <a:pt x="1414371" y="1516242"/>
                  <a:pt x="1423265" y="1517360"/>
                  <a:pt x="1432131" y="1518586"/>
                </a:cubicBezTo>
                <a:cubicBezTo>
                  <a:pt x="1432131" y="1518586"/>
                  <a:pt x="1432160" y="1518478"/>
                  <a:pt x="1432448" y="1517406"/>
                </a:cubicBezTo>
                <a:cubicBezTo>
                  <a:pt x="1432448" y="1517406"/>
                  <a:pt x="1432448" y="1517406"/>
                  <a:pt x="1437428" y="1518740"/>
                </a:cubicBezTo>
                <a:cubicBezTo>
                  <a:pt x="1443001" y="1518968"/>
                  <a:pt x="1446609" y="1518785"/>
                  <a:pt x="1452183" y="1519014"/>
                </a:cubicBezTo>
                <a:cubicBezTo>
                  <a:pt x="1465425" y="1523827"/>
                  <a:pt x="1474635" y="1523764"/>
                  <a:pt x="1483817" y="1523810"/>
                </a:cubicBezTo>
                <a:cubicBezTo>
                  <a:pt x="1492721" y="1523781"/>
                  <a:pt x="1501904" y="1523826"/>
                  <a:pt x="1513801" y="1527014"/>
                </a:cubicBezTo>
                <a:cubicBezTo>
                  <a:pt x="1516095" y="1525098"/>
                  <a:pt x="1522696" y="1528132"/>
                  <a:pt x="1522271" y="1523074"/>
                </a:cubicBezTo>
                <a:cubicBezTo>
                  <a:pt x="1520612" y="1522629"/>
                  <a:pt x="1520612" y="1522629"/>
                  <a:pt x="1520612" y="1522629"/>
                </a:cubicBezTo>
                <a:cubicBezTo>
                  <a:pt x="1518348" y="1524437"/>
                  <a:pt x="1512774" y="1524208"/>
                  <a:pt x="1510797" y="1524944"/>
                </a:cubicBezTo>
                <a:cubicBezTo>
                  <a:pt x="1510797" y="1524944"/>
                  <a:pt x="1510797" y="1524944"/>
                  <a:pt x="1507161" y="1525234"/>
                </a:cubicBezTo>
                <a:cubicBezTo>
                  <a:pt x="1501615" y="1524899"/>
                  <a:pt x="1494698" y="1523045"/>
                  <a:pt x="1484134" y="1522630"/>
                </a:cubicBezTo>
                <a:cubicBezTo>
                  <a:pt x="1479480" y="1518967"/>
                  <a:pt x="1484461" y="1520302"/>
                  <a:pt x="1483720" y="1516423"/>
                </a:cubicBezTo>
                <a:cubicBezTo>
                  <a:pt x="1481033" y="1513173"/>
                  <a:pt x="1477683" y="1512391"/>
                  <a:pt x="1470477" y="1511611"/>
                </a:cubicBezTo>
                <a:cubicBezTo>
                  <a:pt x="1466841" y="1511901"/>
                  <a:pt x="1463521" y="1511011"/>
                  <a:pt x="1459607" y="1511228"/>
                </a:cubicBezTo>
                <a:cubicBezTo>
                  <a:pt x="1456739" y="1515289"/>
                  <a:pt x="1449190" y="1515796"/>
                  <a:pt x="1440927" y="1512318"/>
                </a:cubicBezTo>
                <a:cubicBezTo>
                  <a:pt x="1432626" y="1510093"/>
                  <a:pt x="1426342" y="1505879"/>
                  <a:pt x="1426629" y="1504806"/>
                </a:cubicBezTo>
                <a:cubicBezTo>
                  <a:pt x="1421372" y="1503397"/>
                  <a:pt x="1417735" y="1503688"/>
                  <a:pt x="1418655" y="1500255"/>
                </a:cubicBezTo>
                <a:cubicBezTo>
                  <a:pt x="1431473" y="1500009"/>
                  <a:pt x="1449865" y="1499992"/>
                  <a:pt x="1460843" y="1506614"/>
                </a:cubicBezTo>
                <a:cubicBezTo>
                  <a:pt x="1461950" y="1506911"/>
                  <a:pt x="1464279" y="1507074"/>
                  <a:pt x="1466578" y="1507345"/>
                </a:cubicBezTo>
                <a:cubicBezTo>
                  <a:pt x="1467715" y="1507535"/>
                  <a:pt x="1468240" y="1507790"/>
                  <a:pt x="1469738" y="1507732"/>
                </a:cubicBezTo>
                <a:cubicBezTo>
                  <a:pt x="1471397" y="1508177"/>
                  <a:pt x="1475034" y="1507886"/>
                  <a:pt x="1478632" y="1508850"/>
                </a:cubicBezTo>
                <a:lnTo>
                  <a:pt x="1477126" y="1506722"/>
                </a:lnTo>
                <a:lnTo>
                  <a:pt x="1473518" y="1506904"/>
                </a:lnTo>
                <a:cubicBezTo>
                  <a:pt x="1470493" y="1507129"/>
                  <a:pt x="1468077" y="1507287"/>
                  <a:pt x="1466578" y="1507345"/>
                </a:cubicBezTo>
                <a:cubicBezTo>
                  <a:pt x="1465339" y="1506439"/>
                  <a:pt x="1465339" y="1506439"/>
                  <a:pt x="1465339" y="1506439"/>
                </a:cubicBezTo>
                <a:cubicBezTo>
                  <a:pt x="1464797" y="1505143"/>
                  <a:pt x="1465332" y="1504251"/>
                  <a:pt x="1466946" y="1503764"/>
                </a:cubicBezTo>
                <a:cubicBezTo>
                  <a:pt x="1468559" y="1503276"/>
                  <a:pt x="1470974" y="1503118"/>
                  <a:pt x="1473999" y="1502894"/>
                </a:cubicBezTo>
                <a:cubicBezTo>
                  <a:pt x="1480023" y="1502553"/>
                  <a:pt x="1488248" y="1503951"/>
                  <a:pt x="1490577" y="1504116"/>
                </a:cubicBezTo>
                <a:cubicBezTo>
                  <a:pt x="1493183" y="1504354"/>
                  <a:pt x="1494271" y="1503610"/>
                  <a:pt x="1494271" y="1503610"/>
                </a:cubicBezTo>
                <a:cubicBezTo>
                  <a:pt x="1494680" y="1504296"/>
                  <a:pt x="1493373" y="1504750"/>
                  <a:pt x="1491453" y="1505271"/>
                </a:cubicBezTo>
                <a:lnTo>
                  <a:pt x="1490537" y="1505370"/>
                </a:lnTo>
                <a:lnTo>
                  <a:pt x="1493391" y="1505790"/>
                </a:lnTo>
                <a:cubicBezTo>
                  <a:pt x="1499241" y="1506092"/>
                  <a:pt x="1504873" y="1506106"/>
                  <a:pt x="1510445" y="1506334"/>
                </a:cubicBezTo>
                <a:cubicBezTo>
                  <a:pt x="1521287" y="1506824"/>
                  <a:pt x="1531564" y="1508313"/>
                  <a:pt x="1542542" y="1514935"/>
                </a:cubicBezTo>
                <a:cubicBezTo>
                  <a:pt x="1548548" y="1513554"/>
                  <a:pt x="1555142" y="1514401"/>
                  <a:pt x="1562394" y="1516114"/>
                </a:cubicBezTo>
                <a:lnTo>
                  <a:pt x="1576143" y="1520143"/>
                </a:lnTo>
                <a:lnTo>
                  <a:pt x="1578674" y="1519556"/>
                </a:lnTo>
                <a:cubicBezTo>
                  <a:pt x="1581394" y="1519364"/>
                  <a:pt x="1583664" y="1519744"/>
                  <a:pt x="1585515" y="1520583"/>
                </a:cubicBezTo>
                <a:lnTo>
                  <a:pt x="1589205" y="1523413"/>
                </a:lnTo>
                <a:lnTo>
                  <a:pt x="1593442" y="1524203"/>
                </a:lnTo>
                <a:cubicBezTo>
                  <a:pt x="1602613" y="1525396"/>
                  <a:pt x="1612730" y="1526381"/>
                  <a:pt x="1610889" y="1533248"/>
                </a:cubicBezTo>
                <a:lnTo>
                  <a:pt x="1594609" y="1533358"/>
                </a:lnTo>
                <a:lnTo>
                  <a:pt x="1595685" y="1533446"/>
                </a:lnTo>
                <a:lnTo>
                  <a:pt x="1618723" y="1540165"/>
                </a:lnTo>
                <a:lnTo>
                  <a:pt x="1618518" y="1539088"/>
                </a:lnTo>
                <a:cubicBezTo>
                  <a:pt x="1629909" y="1543059"/>
                  <a:pt x="1635763" y="1540028"/>
                  <a:pt x="1644132" y="1540891"/>
                </a:cubicBezTo>
                <a:lnTo>
                  <a:pt x="1653235" y="1543445"/>
                </a:lnTo>
                <a:lnTo>
                  <a:pt x="1642178" y="1530477"/>
                </a:lnTo>
                <a:cubicBezTo>
                  <a:pt x="1650260" y="1523557"/>
                  <a:pt x="1661105" y="1520713"/>
                  <a:pt x="1672062" y="1520774"/>
                </a:cubicBezTo>
                <a:cubicBezTo>
                  <a:pt x="1690645" y="1521152"/>
                  <a:pt x="1709924" y="1529999"/>
                  <a:pt x="1718699" y="1543736"/>
                </a:cubicBezTo>
                <a:cubicBezTo>
                  <a:pt x="1716942" y="1544760"/>
                  <a:pt x="1715185" y="1545784"/>
                  <a:pt x="1716920" y="1547054"/>
                </a:cubicBezTo>
                <a:lnTo>
                  <a:pt x="1701195" y="1552615"/>
                </a:lnTo>
                <a:lnTo>
                  <a:pt x="1707537" y="1556615"/>
                </a:lnTo>
                <a:lnTo>
                  <a:pt x="1709470" y="1560468"/>
                </a:lnTo>
                <a:lnTo>
                  <a:pt x="1710779" y="1560013"/>
                </a:lnTo>
                <a:lnTo>
                  <a:pt x="1710427" y="1559114"/>
                </a:lnTo>
                <a:cubicBezTo>
                  <a:pt x="1712787" y="1555837"/>
                  <a:pt x="1722236" y="1557103"/>
                  <a:pt x="1727892" y="1560343"/>
                </a:cubicBezTo>
                <a:lnTo>
                  <a:pt x="1730781" y="1562843"/>
                </a:lnTo>
                <a:lnTo>
                  <a:pt x="1731362" y="1562884"/>
                </a:lnTo>
                <a:cubicBezTo>
                  <a:pt x="1733699" y="1565236"/>
                  <a:pt x="1734882" y="1566357"/>
                  <a:pt x="1734259" y="1567570"/>
                </a:cubicBezTo>
                <a:lnTo>
                  <a:pt x="1733448" y="1568388"/>
                </a:lnTo>
                <a:lnTo>
                  <a:pt x="1735164" y="1568617"/>
                </a:lnTo>
                <a:lnTo>
                  <a:pt x="1733518" y="1554837"/>
                </a:lnTo>
                <a:lnTo>
                  <a:pt x="1736796" y="1551460"/>
                </a:lnTo>
                <a:lnTo>
                  <a:pt x="1735804" y="1550733"/>
                </a:lnTo>
                <a:cubicBezTo>
                  <a:pt x="1739976" y="1549552"/>
                  <a:pt x="1739502" y="1546895"/>
                  <a:pt x="1743951" y="1545786"/>
                </a:cubicBezTo>
                <a:lnTo>
                  <a:pt x="1747516" y="1550192"/>
                </a:lnTo>
                <a:lnTo>
                  <a:pt x="1750980" y="1550545"/>
                </a:lnTo>
                <a:lnTo>
                  <a:pt x="1754491" y="1542976"/>
                </a:lnTo>
                <a:cubicBezTo>
                  <a:pt x="1756069" y="1540409"/>
                  <a:pt x="1758143" y="1538205"/>
                  <a:pt x="1760406" y="1536395"/>
                </a:cubicBezTo>
                <a:cubicBezTo>
                  <a:pt x="1771711" y="1549545"/>
                  <a:pt x="1764640" y="1558230"/>
                  <a:pt x="1757786" y="1567204"/>
                </a:cubicBezTo>
                <a:cubicBezTo>
                  <a:pt x="1754257" y="1564878"/>
                  <a:pt x="1751978" y="1562313"/>
                  <a:pt x="1750952" y="1559508"/>
                </a:cubicBezTo>
                <a:lnTo>
                  <a:pt x="1750962" y="1558360"/>
                </a:lnTo>
                <a:lnTo>
                  <a:pt x="1750253" y="1559895"/>
                </a:lnTo>
                <a:lnTo>
                  <a:pt x="1748342" y="1571459"/>
                </a:lnTo>
                <a:lnTo>
                  <a:pt x="1777956" y="1581578"/>
                </a:lnTo>
                <a:cubicBezTo>
                  <a:pt x="1782795" y="1583450"/>
                  <a:pt x="1787297" y="1585462"/>
                  <a:pt x="1791379" y="1587935"/>
                </a:cubicBezTo>
                <a:lnTo>
                  <a:pt x="1794793" y="1590690"/>
                </a:lnTo>
                <a:lnTo>
                  <a:pt x="1796858" y="1586299"/>
                </a:lnTo>
                <a:cubicBezTo>
                  <a:pt x="1797157" y="1584078"/>
                  <a:pt x="1797789" y="1581718"/>
                  <a:pt x="1800988" y="1580850"/>
                </a:cubicBezTo>
                <a:cubicBezTo>
                  <a:pt x="1814328" y="1575339"/>
                  <a:pt x="1819785" y="1575996"/>
                  <a:pt x="1825996" y="1579386"/>
                </a:cubicBezTo>
                <a:lnTo>
                  <a:pt x="1826520" y="1579642"/>
                </a:lnTo>
                <a:lnTo>
                  <a:pt x="1832511" y="1581247"/>
                </a:lnTo>
                <a:lnTo>
                  <a:pt x="1833534" y="1576550"/>
                </a:lnTo>
                <a:lnTo>
                  <a:pt x="1828345" y="1577256"/>
                </a:lnTo>
                <a:cubicBezTo>
                  <a:pt x="1824680" y="1573226"/>
                  <a:pt x="1827333" y="1569135"/>
                  <a:pt x="1831292" y="1565711"/>
                </a:cubicBezTo>
                <a:lnTo>
                  <a:pt x="1836723" y="1561904"/>
                </a:lnTo>
                <a:lnTo>
                  <a:pt x="1842917" y="1533446"/>
                </a:lnTo>
                <a:lnTo>
                  <a:pt x="1855584" y="1491606"/>
                </a:lnTo>
                <a:lnTo>
                  <a:pt x="1855288" y="1479608"/>
                </a:lnTo>
                <a:lnTo>
                  <a:pt x="1859914" y="1477306"/>
                </a:lnTo>
                <a:lnTo>
                  <a:pt x="1864166" y="1463261"/>
                </a:lnTo>
                <a:lnTo>
                  <a:pt x="1875755" y="1439603"/>
                </a:lnTo>
                <a:lnTo>
                  <a:pt x="1885412" y="1416733"/>
                </a:lnTo>
                <a:lnTo>
                  <a:pt x="1902795" y="1394653"/>
                </a:lnTo>
                <a:lnTo>
                  <a:pt x="1924042" y="1371783"/>
                </a:lnTo>
                <a:lnTo>
                  <a:pt x="1925873" y="1370449"/>
                </a:lnTo>
                <a:lnTo>
                  <a:pt x="1919939" y="1371564"/>
                </a:lnTo>
                <a:lnTo>
                  <a:pt x="1914824" y="1378474"/>
                </a:lnTo>
                <a:cubicBezTo>
                  <a:pt x="1902283" y="1387648"/>
                  <a:pt x="1881555" y="1385315"/>
                  <a:pt x="1859750" y="1391432"/>
                </a:cubicBezTo>
                <a:cubicBezTo>
                  <a:pt x="1866548" y="1379339"/>
                  <a:pt x="1852893" y="1368320"/>
                  <a:pt x="1850384" y="1357758"/>
                </a:cubicBezTo>
                <a:lnTo>
                  <a:pt x="1850361" y="1354530"/>
                </a:lnTo>
                <a:lnTo>
                  <a:pt x="1843597" y="1350993"/>
                </a:lnTo>
                <a:cubicBezTo>
                  <a:pt x="1842664" y="1350053"/>
                  <a:pt x="1842034" y="1349080"/>
                  <a:pt x="1842294" y="1348114"/>
                </a:cubicBezTo>
                <a:cubicBezTo>
                  <a:pt x="1843000" y="1346578"/>
                  <a:pt x="1845099" y="1347601"/>
                  <a:pt x="1846655" y="1347328"/>
                </a:cubicBezTo>
                <a:lnTo>
                  <a:pt x="1851482" y="1350347"/>
                </a:lnTo>
                <a:lnTo>
                  <a:pt x="1852898" y="1347276"/>
                </a:lnTo>
                <a:cubicBezTo>
                  <a:pt x="1865744" y="1329212"/>
                  <a:pt x="1900146" y="1334751"/>
                  <a:pt x="1915746" y="1348476"/>
                </a:cubicBezTo>
                <a:lnTo>
                  <a:pt x="1922292" y="1357245"/>
                </a:lnTo>
                <a:lnTo>
                  <a:pt x="1925549" y="1356162"/>
                </a:lnTo>
                <a:cubicBezTo>
                  <a:pt x="1929156" y="1355978"/>
                  <a:pt x="1932592" y="1356439"/>
                  <a:pt x="1934109" y="1357420"/>
                </a:cubicBezTo>
                <a:lnTo>
                  <a:pt x="1933760" y="1364699"/>
                </a:lnTo>
                <a:lnTo>
                  <a:pt x="1937566" y="1361924"/>
                </a:lnTo>
                <a:lnTo>
                  <a:pt x="1937367" y="1361859"/>
                </a:lnTo>
                <a:cubicBezTo>
                  <a:pt x="1939038" y="1361157"/>
                  <a:pt x="1939287" y="1361338"/>
                  <a:pt x="1939632" y="1360051"/>
                </a:cubicBezTo>
                <a:lnTo>
                  <a:pt x="1939780" y="1360310"/>
                </a:lnTo>
                <a:lnTo>
                  <a:pt x="1951083" y="1352068"/>
                </a:lnTo>
                <a:lnTo>
                  <a:pt x="1968467" y="1342605"/>
                </a:lnTo>
                <a:lnTo>
                  <a:pt x="1980873" y="1337080"/>
                </a:lnTo>
                <a:lnTo>
                  <a:pt x="1967600" y="1329824"/>
                </a:lnTo>
                <a:cubicBezTo>
                  <a:pt x="1966354" y="1326731"/>
                  <a:pt x="1967942" y="1323016"/>
                  <a:pt x="1973397" y="1318152"/>
                </a:cubicBezTo>
                <a:lnTo>
                  <a:pt x="1993776" y="1331483"/>
                </a:lnTo>
                <a:lnTo>
                  <a:pt x="2012891" y="1323678"/>
                </a:lnTo>
                <a:lnTo>
                  <a:pt x="2026287" y="1319381"/>
                </a:lnTo>
                <a:lnTo>
                  <a:pt x="2026176" y="1319299"/>
                </a:lnTo>
                <a:lnTo>
                  <a:pt x="2022510" y="1319697"/>
                </a:lnTo>
                <a:cubicBezTo>
                  <a:pt x="2020822" y="1319360"/>
                  <a:pt x="2019218" y="1318700"/>
                  <a:pt x="2017236" y="1317249"/>
                </a:cubicBezTo>
                <a:cubicBezTo>
                  <a:pt x="2016104" y="1313725"/>
                  <a:pt x="2018741" y="1310522"/>
                  <a:pt x="2022446" y="1308870"/>
                </a:cubicBezTo>
                <a:lnTo>
                  <a:pt x="2027725" y="1307985"/>
                </a:lnTo>
                <a:lnTo>
                  <a:pt x="2033378" y="1305704"/>
                </a:lnTo>
                <a:lnTo>
                  <a:pt x="2033140" y="1304375"/>
                </a:lnTo>
                <a:lnTo>
                  <a:pt x="2028062" y="1304510"/>
                </a:lnTo>
                <a:cubicBezTo>
                  <a:pt x="2017832" y="1303954"/>
                  <a:pt x="2006448" y="1302168"/>
                  <a:pt x="1994431" y="1302743"/>
                </a:cubicBezTo>
                <a:cubicBezTo>
                  <a:pt x="1983729" y="1287340"/>
                  <a:pt x="1971579" y="1287305"/>
                  <a:pt x="1960361" y="1282689"/>
                </a:cubicBezTo>
                <a:cubicBezTo>
                  <a:pt x="1959218" y="1271457"/>
                  <a:pt x="1946559" y="1257830"/>
                  <a:pt x="1940492" y="1245049"/>
                </a:cubicBezTo>
                <a:cubicBezTo>
                  <a:pt x="1949620" y="1233121"/>
                  <a:pt x="1952126" y="1220451"/>
                  <a:pt x="1961529" y="1208596"/>
                </a:cubicBezTo>
                <a:cubicBezTo>
                  <a:pt x="1966960" y="1209361"/>
                  <a:pt x="1972430" y="1208871"/>
                  <a:pt x="1977985" y="1208060"/>
                </a:cubicBezTo>
                <a:lnTo>
                  <a:pt x="1985153" y="1206761"/>
                </a:lnTo>
                <a:lnTo>
                  <a:pt x="1993006" y="1191844"/>
                </a:lnTo>
                <a:cubicBezTo>
                  <a:pt x="1996981" y="1188080"/>
                  <a:pt x="2000944" y="1185461"/>
                  <a:pt x="2005622" y="1183495"/>
                </a:cubicBezTo>
                <a:lnTo>
                  <a:pt x="2013633" y="1181272"/>
                </a:lnTo>
                <a:lnTo>
                  <a:pt x="2006453" y="1174862"/>
                </a:lnTo>
                <a:cubicBezTo>
                  <a:pt x="1996385" y="1165955"/>
                  <a:pt x="1983074" y="1153648"/>
                  <a:pt x="1990408" y="1149518"/>
                </a:cubicBezTo>
                <a:cubicBezTo>
                  <a:pt x="1998142" y="1156076"/>
                  <a:pt x="2020289" y="1169715"/>
                  <a:pt x="2017598" y="1178654"/>
                </a:cubicBezTo>
                <a:lnTo>
                  <a:pt x="2015858" y="1180718"/>
                </a:lnTo>
                <a:lnTo>
                  <a:pt x="2020059" y="1179428"/>
                </a:lnTo>
                <a:cubicBezTo>
                  <a:pt x="2030588" y="1177764"/>
                  <a:pt x="2041745" y="1177074"/>
                  <a:pt x="2053623" y="1173702"/>
                </a:cubicBezTo>
                <a:lnTo>
                  <a:pt x="2057370" y="1176316"/>
                </a:lnTo>
                <a:lnTo>
                  <a:pt x="2056218" y="1175087"/>
                </a:lnTo>
                <a:cubicBezTo>
                  <a:pt x="2054596" y="1173387"/>
                  <a:pt x="2053252" y="1171762"/>
                  <a:pt x="2052652" y="1170682"/>
                </a:cubicBezTo>
                <a:cubicBezTo>
                  <a:pt x="2055455" y="1173502"/>
                  <a:pt x="2059423" y="1176405"/>
                  <a:pt x="2063084" y="1179342"/>
                </a:cubicBezTo>
                <a:lnTo>
                  <a:pt x="2064457" y="1180860"/>
                </a:lnTo>
                <a:lnTo>
                  <a:pt x="2073196" y="1183661"/>
                </a:lnTo>
                <a:cubicBezTo>
                  <a:pt x="2079122" y="1184789"/>
                  <a:pt x="2085117" y="1184556"/>
                  <a:pt x="2091072" y="1185576"/>
                </a:cubicBezTo>
                <a:cubicBezTo>
                  <a:pt x="2094715" y="1196327"/>
                  <a:pt x="2110013" y="1206752"/>
                  <a:pt x="2118590" y="1217905"/>
                </a:cubicBezTo>
                <a:cubicBezTo>
                  <a:pt x="2115281" y="1224723"/>
                  <a:pt x="2113803" y="1231342"/>
                  <a:pt x="2112325" y="1237962"/>
                </a:cubicBezTo>
                <a:lnTo>
                  <a:pt x="2109013" y="1248113"/>
                </a:lnTo>
                <a:lnTo>
                  <a:pt x="2132058" y="1251759"/>
                </a:lnTo>
                <a:lnTo>
                  <a:pt x="2133413" y="1252237"/>
                </a:lnTo>
                <a:lnTo>
                  <a:pt x="2135350" y="1243900"/>
                </a:lnTo>
                <a:cubicBezTo>
                  <a:pt x="2137071" y="1240797"/>
                  <a:pt x="2139813" y="1238312"/>
                  <a:pt x="2144624" y="1236955"/>
                </a:cubicBezTo>
                <a:lnTo>
                  <a:pt x="2158399" y="1235357"/>
                </a:lnTo>
                <a:lnTo>
                  <a:pt x="2168932" y="1221504"/>
                </a:lnTo>
                <a:cubicBezTo>
                  <a:pt x="2178348" y="1208502"/>
                  <a:pt x="2188787" y="1201638"/>
                  <a:pt x="2202208" y="1216850"/>
                </a:cubicBezTo>
                <a:cubicBezTo>
                  <a:pt x="2211947" y="1213709"/>
                  <a:pt x="2214955" y="1212445"/>
                  <a:pt x="2216881" y="1205256"/>
                </a:cubicBezTo>
                <a:cubicBezTo>
                  <a:pt x="2213884" y="1205374"/>
                  <a:pt x="2210563" y="1204484"/>
                  <a:pt x="2207110" y="1202983"/>
                </a:cubicBezTo>
                <a:lnTo>
                  <a:pt x="2203685" y="1201376"/>
                </a:lnTo>
                <a:lnTo>
                  <a:pt x="2199664" y="1204209"/>
                </a:lnTo>
                <a:cubicBezTo>
                  <a:pt x="2198691" y="1204523"/>
                  <a:pt x="2197135" y="1204795"/>
                  <a:pt x="2195693" y="1204640"/>
                </a:cubicBezTo>
                <a:cubicBezTo>
                  <a:pt x="2194224" y="1204590"/>
                  <a:pt x="2193117" y="1204293"/>
                  <a:pt x="2192736" y="1203501"/>
                </a:cubicBezTo>
                <a:cubicBezTo>
                  <a:pt x="2193052" y="1202321"/>
                  <a:pt x="2191392" y="1201876"/>
                  <a:pt x="2191986" y="1200770"/>
                </a:cubicBezTo>
                <a:cubicBezTo>
                  <a:pt x="2191206" y="1198147"/>
                  <a:pt x="2191799" y="1197040"/>
                  <a:pt x="2193745" y="1196412"/>
                </a:cubicBezTo>
                <a:lnTo>
                  <a:pt x="2197641" y="1195156"/>
                </a:lnTo>
                <a:lnTo>
                  <a:pt x="2206845" y="1184051"/>
                </a:lnTo>
                <a:lnTo>
                  <a:pt x="2212495" y="1176250"/>
                </a:lnTo>
                <a:lnTo>
                  <a:pt x="2208117" y="1172662"/>
                </a:lnTo>
                <a:cubicBezTo>
                  <a:pt x="2204754" y="1167506"/>
                  <a:pt x="2210019" y="1162247"/>
                  <a:pt x="2216641" y="1162986"/>
                </a:cubicBezTo>
                <a:cubicBezTo>
                  <a:pt x="2218082" y="1163142"/>
                  <a:pt x="2219743" y="1163587"/>
                  <a:pt x="2221316" y="1164355"/>
                </a:cubicBezTo>
                <a:lnTo>
                  <a:pt x="2225503" y="1167546"/>
                </a:lnTo>
                <a:lnTo>
                  <a:pt x="2238885" y="1166301"/>
                </a:lnTo>
                <a:cubicBezTo>
                  <a:pt x="2252444" y="1169934"/>
                  <a:pt x="2250277" y="1179130"/>
                  <a:pt x="2260257" y="1173983"/>
                </a:cubicBezTo>
                <a:lnTo>
                  <a:pt x="2255786" y="1168530"/>
                </a:lnTo>
                <a:lnTo>
                  <a:pt x="2248178" y="1169252"/>
                </a:lnTo>
                <a:cubicBezTo>
                  <a:pt x="2244028" y="1168140"/>
                  <a:pt x="2239259" y="1164906"/>
                  <a:pt x="2233855" y="1158513"/>
                </a:cubicBezTo>
                <a:cubicBezTo>
                  <a:pt x="2238569" y="1158627"/>
                  <a:pt x="2242655" y="1157766"/>
                  <a:pt x="2246521" y="1156618"/>
                </a:cubicBezTo>
                <a:lnTo>
                  <a:pt x="2253120" y="1154131"/>
                </a:lnTo>
                <a:lnTo>
                  <a:pt x="2255790" y="1147485"/>
                </a:lnTo>
                <a:cubicBezTo>
                  <a:pt x="2258410" y="1143243"/>
                  <a:pt x="2262499" y="1139048"/>
                  <a:pt x="2266139" y="1135423"/>
                </a:cubicBezTo>
                <a:lnTo>
                  <a:pt x="2271145" y="1131130"/>
                </a:lnTo>
                <a:lnTo>
                  <a:pt x="2264458" y="1128418"/>
                </a:lnTo>
                <a:cubicBezTo>
                  <a:pt x="2266301" y="1127072"/>
                  <a:pt x="2267753" y="1126081"/>
                  <a:pt x="2269644" y="1125668"/>
                </a:cubicBezTo>
                <a:lnTo>
                  <a:pt x="2274167" y="1125384"/>
                </a:lnTo>
                <a:lnTo>
                  <a:pt x="2269842" y="1119395"/>
                </a:lnTo>
                <a:cubicBezTo>
                  <a:pt x="2267621" y="1116615"/>
                  <a:pt x="2264788" y="1113902"/>
                  <a:pt x="2259485" y="1111561"/>
                </a:cubicBezTo>
                <a:lnTo>
                  <a:pt x="2269134" y="1103221"/>
                </a:lnTo>
                <a:lnTo>
                  <a:pt x="2267941" y="1103246"/>
                </a:lnTo>
                <a:cubicBezTo>
                  <a:pt x="2268358" y="1097263"/>
                  <a:pt x="2277363" y="1092430"/>
                  <a:pt x="2287644" y="1090585"/>
                </a:cubicBezTo>
                <a:lnTo>
                  <a:pt x="2290365" y="1090394"/>
                </a:lnTo>
                <a:lnTo>
                  <a:pt x="2292230" y="1086754"/>
                </a:lnTo>
                <a:lnTo>
                  <a:pt x="2294497" y="1090467"/>
                </a:lnTo>
                <a:lnTo>
                  <a:pt x="2296884" y="1090416"/>
                </a:lnTo>
                <a:lnTo>
                  <a:pt x="2319674" y="1082837"/>
                </a:lnTo>
                <a:cubicBezTo>
                  <a:pt x="2320162" y="1081013"/>
                  <a:pt x="2320162" y="1081013"/>
                  <a:pt x="2320651" y="1079190"/>
                </a:cubicBezTo>
                <a:cubicBezTo>
                  <a:pt x="2323878" y="1078213"/>
                  <a:pt x="2327652" y="1075199"/>
                  <a:pt x="2330631" y="1074043"/>
                </a:cubicBezTo>
                <a:cubicBezTo>
                  <a:pt x="2339558" y="1062865"/>
                  <a:pt x="2352793" y="1056636"/>
                  <a:pt x="2365863" y="1062093"/>
                </a:cubicBezTo>
                <a:cubicBezTo>
                  <a:pt x="2360651" y="1070472"/>
                  <a:pt x="2344678" y="1075851"/>
                  <a:pt x="2345490" y="1083889"/>
                </a:cubicBezTo>
                <a:cubicBezTo>
                  <a:pt x="2343211" y="1081324"/>
                  <a:pt x="2339744" y="1084305"/>
                  <a:pt x="2337466" y="1081739"/>
                </a:cubicBezTo>
                <a:cubicBezTo>
                  <a:pt x="2334210" y="1082823"/>
                  <a:pt x="2333721" y="1084646"/>
                  <a:pt x="2330465" y="1085728"/>
                </a:cubicBezTo>
                <a:cubicBezTo>
                  <a:pt x="2329976" y="1087553"/>
                  <a:pt x="2327210" y="1086812"/>
                  <a:pt x="2326721" y="1088635"/>
                </a:cubicBezTo>
                <a:cubicBezTo>
                  <a:pt x="2326721" y="1088635"/>
                  <a:pt x="2326261" y="1090353"/>
                  <a:pt x="2326261" y="1090353"/>
                </a:cubicBezTo>
                <a:cubicBezTo>
                  <a:pt x="2327156" y="1092547"/>
                  <a:pt x="2326523" y="1094907"/>
                  <a:pt x="2327084" y="1097243"/>
                </a:cubicBezTo>
                <a:lnTo>
                  <a:pt x="2332470" y="1102596"/>
                </a:lnTo>
                <a:lnTo>
                  <a:pt x="2331834" y="1099436"/>
                </a:lnTo>
                <a:cubicBezTo>
                  <a:pt x="2331205" y="1089607"/>
                  <a:pt x="2335439" y="1084877"/>
                  <a:pt x="2335439" y="1084877"/>
                </a:cubicBezTo>
                <a:cubicBezTo>
                  <a:pt x="2350366" y="1084507"/>
                  <a:pt x="2357485" y="1094464"/>
                  <a:pt x="2361664" y="1104324"/>
                </a:cubicBezTo>
                <a:lnTo>
                  <a:pt x="2364823" y="1113565"/>
                </a:lnTo>
                <a:lnTo>
                  <a:pt x="2375403" y="1100645"/>
                </a:lnTo>
                <a:lnTo>
                  <a:pt x="2385659" y="1086717"/>
                </a:lnTo>
                <a:lnTo>
                  <a:pt x="2386532" y="1082351"/>
                </a:lnTo>
                <a:lnTo>
                  <a:pt x="2385568" y="1081519"/>
                </a:lnTo>
                <a:lnTo>
                  <a:pt x="2380204" y="1082725"/>
                </a:lnTo>
                <a:cubicBezTo>
                  <a:pt x="2376988" y="1082555"/>
                  <a:pt x="2373667" y="1081665"/>
                  <a:pt x="2369794" y="1080627"/>
                </a:cubicBezTo>
                <a:cubicBezTo>
                  <a:pt x="2372384" y="1076491"/>
                  <a:pt x="2377171" y="1071909"/>
                  <a:pt x="2382569" y="1067259"/>
                </a:cubicBezTo>
                <a:lnTo>
                  <a:pt x="2388883" y="1062511"/>
                </a:lnTo>
                <a:lnTo>
                  <a:pt x="2379942" y="1060460"/>
                </a:lnTo>
                <a:cubicBezTo>
                  <a:pt x="2376050" y="1058383"/>
                  <a:pt x="2373610" y="1055314"/>
                  <a:pt x="2372881" y="1050289"/>
                </a:cubicBezTo>
                <a:cubicBezTo>
                  <a:pt x="2377789" y="1047464"/>
                  <a:pt x="2384182" y="1049062"/>
                  <a:pt x="2389256" y="1052261"/>
                </a:cubicBezTo>
                <a:lnTo>
                  <a:pt x="2394863" y="1057904"/>
                </a:lnTo>
                <a:lnTo>
                  <a:pt x="2400116" y="1053791"/>
                </a:lnTo>
                <a:cubicBezTo>
                  <a:pt x="2405373" y="1055200"/>
                  <a:pt x="2408630" y="1054118"/>
                  <a:pt x="2413185" y="1059248"/>
                </a:cubicBezTo>
                <a:cubicBezTo>
                  <a:pt x="2413185" y="1059248"/>
                  <a:pt x="2415954" y="1059989"/>
                  <a:pt x="2415954" y="1059989"/>
                </a:cubicBezTo>
                <a:lnTo>
                  <a:pt x="2416288" y="1059849"/>
                </a:lnTo>
                <a:lnTo>
                  <a:pt x="2416650" y="1059601"/>
                </a:lnTo>
                <a:lnTo>
                  <a:pt x="2416223" y="1057877"/>
                </a:lnTo>
                <a:cubicBezTo>
                  <a:pt x="2419594" y="1056365"/>
                  <a:pt x="2422458" y="1055638"/>
                  <a:pt x="2424815" y="1055695"/>
                </a:cubicBezTo>
                <a:lnTo>
                  <a:pt x="2427000" y="1056395"/>
                </a:lnTo>
                <a:lnTo>
                  <a:pt x="2435707" y="1053783"/>
                </a:lnTo>
                <a:lnTo>
                  <a:pt x="2442564" y="1050329"/>
                </a:lnTo>
                <a:lnTo>
                  <a:pt x="2442286" y="1050255"/>
                </a:lnTo>
                <a:lnTo>
                  <a:pt x="2441525" y="1048671"/>
                </a:lnTo>
                <a:lnTo>
                  <a:pt x="2439196" y="1048508"/>
                </a:lnTo>
                <a:cubicBezTo>
                  <a:pt x="2430008" y="1046275"/>
                  <a:pt x="2421394" y="1041897"/>
                  <a:pt x="2414318" y="1036206"/>
                </a:cubicBezTo>
                <a:lnTo>
                  <a:pt x="2412669" y="1034615"/>
                </a:lnTo>
                <a:lnTo>
                  <a:pt x="2410441" y="1038502"/>
                </a:lnTo>
                <a:cubicBezTo>
                  <a:pt x="2410027" y="1041152"/>
                  <a:pt x="2410255" y="1043627"/>
                  <a:pt x="2408151" y="1045939"/>
                </a:cubicBezTo>
                <a:cubicBezTo>
                  <a:pt x="2399477" y="1045109"/>
                  <a:pt x="2392771" y="1050212"/>
                  <a:pt x="2384995" y="1048244"/>
                </a:cubicBezTo>
                <a:cubicBezTo>
                  <a:pt x="2382505" y="1047577"/>
                  <a:pt x="2379633" y="1046117"/>
                  <a:pt x="2376801" y="1043404"/>
                </a:cubicBezTo>
                <a:cubicBezTo>
                  <a:pt x="2379767" y="1037874"/>
                  <a:pt x="2382616" y="1032772"/>
                  <a:pt x="2385598" y="1028280"/>
                </a:cubicBezTo>
                <a:lnTo>
                  <a:pt x="2395183" y="1017969"/>
                </a:lnTo>
                <a:lnTo>
                  <a:pt x="2388596" y="1010454"/>
                </a:lnTo>
                <a:cubicBezTo>
                  <a:pt x="2379365" y="995099"/>
                  <a:pt x="2378650" y="976738"/>
                  <a:pt x="2374259" y="959921"/>
                </a:cubicBezTo>
                <a:cubicBezTo>
                  <a:pt x="2380098" y="961371"/>
                  <a:pt x="2383641" y="959215"/>
                  <a:pt x="2392514" y="962627"/>
                </a:cubicBezTo>
                <a:cubicBezTo>
                  <a:pt x="2392827" y="973636"/>
                  <a:pt x="2394942" y="984554"/>
                  <a:pt x="2397174" y="995042"/>
                </a:cubicBezTo>
                <a:lnTo>
                  <a:pt x="2399739" y="1014244"/>
                </a:lnTo>
                <a:lnTo>
                  <a:pt x="2401030" y="1012750"/>
                </a:lnTo>
                <a:lnTo>
                  <a:pt x="2409621" y="1010567"/>
                </a:lnTo>
                <a:lnTo>
                  <a:pt x="2411322" y="1009758"/>
                </a:lnTo>
                <a:cubicBezTo>
                  <a:pt x="2417108" y="1008089"/>
                  <a:pt x="2424075" y="1007540"/>
                  <a:pt x="2432865" y="1007940"/>
                </a:cubicBezTo>
                <a:lnTo>
                  <a:pt x="2435151" y="1003838"/>
                </a:lnTo>
                <a:lnTo>
                  <a:pt x="2430921" y="1005235"/>
                </a:lnTo>
                <a:cubicBezTo>
                  <a:pt x="2422425" y="1005948"/>
                  <a:pt x="2416141" y="1001734"/>
                  <a:pt x="2410315" y="1004659"/>
                </a:cubicBezTo>
                <a:cubicBezTo>
                  <a:pt x="2409287" y="1001853"/>
                  <a:pt x="2409011" y="1001779"/>
                  <a:pt x="2411275" y="999971"/>
                </a:cubicBezTo>
                <a:cubicBezTo>
                  <a:pt x="2412936" y="1000415"/>
                  <a:pt x="2413252" y="999235"/>
                  <a:pt x="2414567" y="1000967"/>
                </a:cubicBezTo>
                <a:cubicBezTo>
                  <a:pt x="2416687" y="999696"/>
                  <a:pt x="2421269" y="999198"/>
                  <a:pt x="2426508" y="999567"/>
                </a:cubicBezTo>
                <a:lnTo>
                  <a:pt x="2436613" y="1001699"/>
                </a:lnTo>
                <a:lnTo>
                  <a:pt x="2439349" y="997027"/>
                </a:lnTo>
                <a:cubicBezTo>
                  <a:pt x="2442654" y="993543"/>
                  <a:pt x="2446514" y="990207"/>
                  <a:pt x="2449982" y="987226"/>
                </a:cubicBezTo>
                <a:cubicBezTo>
                  <a:pt x="2457960" y="979589"/>
                  <a:pt x="2470189" y="977116"/>
                  <a:pt x="2481257" y="980081"/>
                </a:cubicBezTo>
                <a:cubicBezTo>
                  <a:pt x="2492537" y="981149"/>
                  <a:pt x="2485400" y="996716"/>
                  <a:pt x="2477939" y="1002422"/>
                </a:cubicBezTo>
                <a:cubicBezTo>
                  <a:pt x="2463404" y="1002438"/>
                  <a:pt x="2456191" y="1008325"/>
                  <a:pt x="2448731" y="1014032"/>
                </a:cubicBezTo>
                <a:lnTo>
                  <a:pt x="2443736" y="1017178"/>
                </a:lnTo>
                <a:lnTo>
                  <a:pt x="2461760" y="1029599"/>
                </a:lnTo>
                <a:lnTo>
                  <a:pt x="2465743" y="1036875"/>
                </a:lnTo>
                <a:lnTo>
                  <a:pt x="2484559" y="1024206"/>
                </a:lnTo>
                <a:lnTo>
                  <a:pt x="2479458" y="1026635"/>
                </a:lnTo>
                <a:cubicBezTo>
                  <a:pt x="2475822" y="1026926"/>
                  <a:pt x="2471804" y="1026425"/>
                  <a:pt x="2467931" y="1025387"/>
                </a:cubicBezTo>
                <a:cubicBezTo>
                  <a:pt x="2459935" y="1023128"/>
                  <a:pt x="2453068" y="1018874"/>
                  <a:pt x="2453665" y="1014433"/>
                </a:cubicBezTo>
                <a:cubicBezTo>
                  <a:pt x="2454010" y="1013146"/>
                  <a:pt x="2454660" y="1011825"/>
                  <a:pt x="2456170" y="1010620"/>
                </a:cubicBezTo>
                <a:cubicBezTo>
                  <a:pt x="2465229" y="1008907"/>
                  <a:pt x="2473523" y="1008945"/>
                  <a:pt x="2480667" y="1013274"/>
                </a:cubicBezTo>
                <a:lnTo>
                  <a:pt x="2484958" y="1017183"/>
                </a:lnTo>
                <a:lnTo>
                  <a:pt x="2482655" y="1011392"/>
                </a:lnTo>
                <a:cubicBezTo>
                  <a:pt x="2481493" y="1007975"/>
                  <a:pt x="2481802" y="1004608"/>
                  <a:pt x="2486913" y="1001032"/>
                </a:cubicBezTo>
                <a:lnTo>
                  <a:pt x="2488735" y="1001980"/>
                </a:lnTo>
                <a:lnTo>
                  <a:pt x="2488946" y="1000082"/>
                </a:lnTo>
                <a:cubicBezTo>
                  <a:pt x="2490904" y="998306"/>
                  <a:pt x="2502778" y="998268"/>
                  <a:pt x="2504151" y="999786"/>
                </a:cubicBezTo>
                <a:cubicBezTo>
                  <a:pt x="2502699" y="1000777"/>
                  <a:pt x="2500608" y="1001942"/>
                  <a:pt x="2498545" y="1002999"/>
                </a:cubicBezTo>
                <a:lnTo>
                  <a:pt x="2494010" y="1004429"/>
                </a:lnTo>
                <a:cubicBezTo>
                  <a:pt x="2508894" y="1008647"/>
                  <a:pt x="2516779" y="990290"/>
                  <a:pt x="2523611" y="983610"/>
                </a:cubicBezTo>
                <a:cubicBezTo>
                  <a:pt x="2538146" y="983594"/>
                  <a:pt x="2529633" y="983269"/>
                  <a:pt x="2543652" y="985185"/>
                </a:cubicBezTo>
                <a:cubicBezTo>
                  <a:pt x="2554608" y="976390"/>
                  <a:pt x="2559791" y="968119"/>
                  <a:pt x="2570748" y="959325"/>
                </a:cubicBezTo>
                <a:cubicBezTo>
                  <a:pt x="2579537" y="959725"/>
                  <a:pt x="2587838" y="961949"/>
                  <a:pt x="2597818" y="956803"/>
                </a:cubicBezTo>
                <a:cubicBezTo>
                  <a:pt x="2593722" y="949956"/>
                  <a:pt x="2579186" y="949970"/>
                  <a:pt x="2583418" y="945239"/>
                </a:cubicBezTo>
                <a:cubicBezTo>
                  <a:pt x="2590954" y="949214"/>
                  <a:pt x="2602677" y="938669"/>
                  <a:pt x="2592097" y="933880"/>
                </a:cubicBezTo>
                <a:cubicBezTo>
                  <a:pt x="2588454" y="931983"/>
                  <a:pt x="2583958" y="932159"/>
                  <a:pt x="2579204" y="933301"/>
                </a:cubicBezTo>
                <a:lnTo>
                  <a:pt x="2567068" y="937639"/>
                </a:lnTo>
                <a:lnTo>
                  <a:pt x="2578941" y="937600"/>
                </a:lnTo>
                <a:cubicBezTo>
                  <a:pt x="2578126" y="941751"/>
                  <a:pt x="2582093" y="944654"/>
                  <a:pt x="2579290" y="950687"/>
                </a:cubicBezTo>
                <a:cubicBezTo>
                  <a:pt x="2563963" y="949227"/>
                  <a:pt x="2549150" y="949168"/>
                  <a:pt x="2535197" y="949224"/>
                </a:cubicBezTo>
                <a:lnTo>
                  <a:pt x="2524050" y="948767"/>
                </a:lnTo>
                <a:lnTo>
                  <a:pt x="2529544" y="951504"/>
                </a:lnTo>
                <a:cubicBezTo>
                  <a:pt x="2535581" y="955537"/>
                  <a:pt x="2539308" y="960446"/>
                  <a:pt x="2535592" y="963245"/>
                </a:cubicBezTo>
                <a:cubicBezTo>
                  <a:pt x="2532824" y="962503"/>
                  <a:pt x="2530518" y="960045"/>
                  <a:pt x="2527291" y="961020"/>
                </a:cubicBezTo>
                <a:cubicBezTo>
                  <a:pt x="2527291" y="961020"/>
                  <a:pt x="2526802" y="962845"/>
                  <a:pt x="2526342" y="964561"/>
                </a:cubicBezTo>
                <a:cubicBezTo>
                  <a:pt x="2525623" y="967244"/>
                  <a:pt x="2525731" y="973482"/>
                  <a:pt x="2521540" y="973625"/>
                </a:cubicBezTo>
                <a:cubicBezTo>
                  <a:pt x="2520042" y="973684"/>
                  <a:pt x="2518134" y="973057"/>
                  <a:pt x="2515626" y="971350"/>
                </a:cubicBezTo>
                <a:cubicBezTo>
                  <a:pt x="2519342" y="968551"/>
                  <a:pt x="2522598" y="967468"/>
                  <a:pt x="2523575" y="963820"/>
                </a:cubicBezTo>
                <a:cubicBezTo>
                  <a:pt x="2524035" y="962104"/>
                  <a:pt x="2524035" y="962104"/>
                  <a:pt x="2524035" y="962104"/>
                </a:cubicBezTo>
                <a:cubicBezTo>
                  <a:pt x="2522213" y="961155"/>
                  <a:pt x="2519970" y="960669"/>
                  <a:pt x="2517918" y="960580"/>
                </a:cubicBezTo>
                <a:lnTo>
                  <a:pt x="2513452" y="960647"/>
                </a:lnTo>
                <a:lnTo>
                  <a:pt x="2512373" y="969099"/>
                </a:lnTo>
                <a:cubicBezTo>
                  <a:pt x="2511177" y="972459"/>
                  <a:pt x="2509150" y="975595"/>
                  <a:pt x="2506599" y="978477"/>
                </a:cubicBezTo>
                <a:cubicBezTo>
                  <a:pt x="2494072" y="974315"/>
                  <a:pt x="2496030" y="963684"/>
                  <a:pt x="2494884" y="955787"/>
                </a:cubicBezTo>
                <a:cubicBezTo>
                  <a:pt x="2484068" y="958524"/>
                  <a:pt x="2469611" y="964885"/>
                  <a:pt x="2462977" y="956437"/>
                </a:cubicBezTo>
                <a:cubicBezTo>
                  <a:pt x="2466251" y="947540"/>
                  <a:pt x="2483513" y="949520"/>
                  <a:pt x="2495489" y="944678"/>
                </a:cubicBezTo>
                <a:cubicBezTo>
                  <a:pt x="2498315" y="941871"/>
                  <a:pt x="2496601" y="938307"/>
                  <a:pt x="2500842" y="935763"/>
                </a:cubicBezTo>
                <a:lnTo>
                  <a:pt x="2503182" y="934781"/>
                </a:lnTo>
                <a:lnTo>
                  <a:pt x="2504371" y="929234"/>
                </a:lnTo>
                <a:cubicBezTo>
                  <a:pt x="2507674" y="929084"/>
                  <a:pt x="2512011" y="933926"/>
                  <a:pt x="2514987" y="936103"/>
                </a:cubicBezTo>
                <a:cubicBezTo>
                  <a:pt x="2513316" y="936805"/>
                  <a:pt x="2511368" y="937433"/>
                  <a:pt x="2513028" y="937879"/>
                </a:cubicBezTo>
                <a:lnTo>
                  <a:pt x="2508781" y="938235"/>
                </a:lnTo>
                <a:lnTo>
                  <a:pt x="2509779" y="941148"/>
                </a:lnTo>
                <a:lnTo>
                  <a:pt x="2511785" y="940305"/>
                </a:lnTo>
                <a:cubicBezTo>
                  <a:pt x="2516815" y="939238"/>
                  <a:pt x="2521761" y="938493"/>
                  <a:pt x="2527201" y="938111"/>
                </a:cubicBezTo>
                <a:lnTo>
                  <a:pt x="2532279" y="937977"/>
                </a:lnTo>
                <a:lnTo>
                  <a:pt x="2532530" y="934824"/>
                </a:lnTo>
                <a:lnTo>
                  <a:pt x="2528175" y="928942"/>
                </a:lnTo>
                <a:cubicBezTo>
                  <a:pt x="2527747" y="927218"/>
                  <a:pt x="2527453" y="926104"/>
                  <a:pt x="2526651" y="925774"/>
                </a:cubicBezTo>
                <a:cubicBezTo>
                  <a:pt x="2528391" y="923710"/>
                  <a:pt x="2530339" y="923081"/>
                  <a:pt x="2532668" y="923246"/>
                </a:cubicBezTo>
                <a:lnTo>
                  <a:pt x="2534662" y="923550"/>
                </a:lnTo>
                <a:lnTo>
                  <a:pt x="2543563" y="909145"/>
                </a:lnTo>
                <a:cubicBezTo>
                  <a:pt x="2554980" y="898634"/>
                  <a:pt x="2571719" y="891503"/>
                  <a:pt x="2584465" y="887099"/>
                </a:cubicBezTo>
                <a:cubicBezTo>
                  <a:pt x="2596557" y="896204"/>
                  <a:pt x="2610605" y="898014"/>
                  <a:pt x="2617681" y="903704"/>
                </a:cubicBezTo>
                <a:cubicBezTo>
                  <a:pt x="2611446" y="905944"/>
                  <a:pt x="2577680" y="912421"/>
                  <a:pt x="2602354" y="928807"/>
                </a:cubicBezTo>
                <a:cubicBezTo>
                  <a:pt x="2605789" y="929268"/>
                  <a:pt x="2608423" y="929399"/>
                  <a:pt x="2610255" y="929200"/>
                </a:cubicBezTo>
                <a:lnTo>
                  <a:pt x="2611506" y="928960"/>
                </a:lnTo>
                <a:lnTo>
                  <a:pt x="2615701" y="925484"/>
                </a:lnTo>
                <a:lnTo>
                  <a:pt x="2613030" y="923273"/>
                </a:lnTo>
                <a:cubicBezTo>
                  <a:pt x="2611992" y="921615"/>
                  <a:pt x="2611356" y="918455"/>
                  <a:pt x="2611550" y="915517"/>
                </a:cubicBezTo>
                <a:cubicBezTo>
                  <a:pt x="2611744" y="912579"/>
                  <a:pt x="2612768" y="909862"/>
                  <a:pt x="2614831" y="908805"/>
                </a:cubicBezTo>
                <a:cubicBezTo>
                  <a:pt x="2617500" y="911016"/>
                  <a:pt x="2620419" y="913408"/>
                  <a:pt x="2623060" y="915726"/>
                </a:cubicBezTo>
                <a:cubicBezTo>
                  <a:pt x="2622259" y="915396"/>
                  <a:pt x="2621540" y="918079"/>
                  <a:pt x="2621126" y="920728"/>
                </a:cubicBezTo>
                <a:lnTo>
                  <a:pt x="2626437" y="916401"/>
                </a:lnTo>
                <a:cubicBezTo>
                  <a:pt x="2628253" y="915163"/>
                  <a:pt x="2630258" y="914320"/>
                  <a:pt x="2632176" y="913799"/>
                </a:cubicBezTo>
                <a:lnTo>
                  <a:pt x="2634592" y="913640"/>
                </a:lnTo>
                <a:lnTo>
                  <a:pt x="2644722" y="901290"/>
                </a:lnTo>
                <a:cubicBezTo>
                  <a:pt x="2635120" y="892852"/>
                  <a:pt x="2623186" y="905294"/>
                  <a:pt x="2614350" y="895107"/>
                </a:cubicBezTo>
                <a:cubicBezTo>
                  <a:pt x="2630000" y="879865"/>
                  <a:pt x="2628210" y="875474"/>
                  <a:pt x="2658260" y="871796"/>
                </a:cubicBezTo>
                <a:cubicBezTo>
                  <a:pt x="2671818" y="875429"/>
                  <a:pt x="2660861" y="884224"/>
                  <a:pt x="2667419" y="891846"/>
                </a:cubicBezTo>
                <a:lnTo>
                  <a:pt x="2691411" y="886429"/>
                </a:lnTo>
                <a:lnTo>
                  <a:pt x="2691425" y="881948"/>
                </a:lnTo>
                <a:cubicBezTo>
                  <a:pt x="2692438" y="880380"/>
                  <a:pt x="2694310" y="878927"/>
                  <a:pt x="2697727" y="878347"/>
                </a:cubicBezTo>
                <a:cubicBezTo>
                  <a:pt x="2699388" y="878792"/>
                  <a:pt x="2701181" y="879847"/>
                  <a:pt x="2702640" y="881044"/>
                </a:cubicBezTo>
                <a:lnTo>
                  <a:pt x="2711416" y="877070"/>
                </a:lnTo>
                <a:cubicBezTo>
                  <a:pt x="2723717" y="869901"/>
                  <a:pt x="2733844" y="860884"/>
                  <a:pt x="2745077" y="852164"/>
                </a:cubicBezTo>
                <a:cubicBezTo>
                  <a:pt x="2741613" y="851811"/>
                  <a:pt x="2738407" y="850492"/>
                  <a:pt x="2735507" y="849140"/>
                </a:cubicBezTo>
                <a:lnTo>
                  <a:pt x="2729298" y="845751"/>
                </a:lnTo>
                <a:lnTo>
                  <a:pt x="2724889" y="854459"/>
                </a:lnTo>
                <a:cubicBezTo>
                  <a:pt x="2723854" y="858322"/>
                  <a:pt x="2722790" y="862292"/>
                  <a:pt x="2721391" y="866402"/>
                </a:cubicBezTo>
                <a:cubicBezTo>
                  <a:pt x="2719645" y="866280"/>
                  <a:pt x="2717985" y="865835"/>
                  <a:pt x="2716135" y="864994"/>
                </a:cubicBezTo>
                <a:lnTo>
                  <a:pt x="2712357" y="862486"/>
                </a:lnTo>
                <a:lnTo>
                  <a:pt x="2696560" y="863889"/>
                </a:lnTo>
                <a:cubicBezTo>
                  <a:pt x="2690490" y="863298"/>
                  <a:pt x="2685071" y="861385"/>
                  <a:pt x="2680302" y="858153"/>
                </a:cubicBezTo>
                <a:lnTo>
                  <a:pt x="2682710" y="855808"/>
                </a:lnTo>
                <a:lnTo>
                  <a:pt x="2680756" y="854249"/>
                </a:lnTo>
                <a:cubicBezTo>
                  <a:pt x="2678401" y="850859"/>
                  <a:pt x="2679218" y="846707"/>
                  <a:pt x="2686045" y="843362"/>
                </a:cubicBezTo>
                <a:cubicBezTo>
                  <a:pt x="2689596" y="843393"/>
                  <a:pt x="2693251" y="844142"/>
                  <a:pt x="2695875" y="845420"/>
                </a:cubicBezTo>
                <a:lnTo>
                  <a:pt x="2701214" y="849841"/>
                </a:lnTo>
                <a:lnTo>
                  <a:pt x="2712081" y="853558"/>
                </a:lnTo>
                <a:lnTo>
                  <a:pt x="2710690" y="851001"/>
                </a:lnTo>
                <a:cubicBezTo>
                  <a:pt x="2708527" y="848005"/>
                  <a:pt x="2706058" y="845044"/>
                  <a:pt x="2710327" y="842394"/>
                </a:cubicBezTo>
                <a:lnTo>
                  <a:pt x="2716275" y="841226"/>
                </a:lnTo>
                <a:lnTo>
                  <a:pt x="2709001" y="841807"/>
                </a:lnTo>
                <a:lnTo>
                  <a:pt x="2708667" y="841949"/>
                </a:lnTo>
                <a:lnTo>
                  <a:pt x="2707169" y="842007"/>
                </a:lnTo>
                <a:lnTo>
                  <a:pt x="2707388" y="833439"/>
                </a:lnTo>
                <a:lnTo>
                  <a:pt x="2699569" y="827205"/>
                </a:lnTo>
                <a:lnTo>
                  <a:pt x="2699188" y="826413"/>
                </a:lnTo>
                <a:lnTo>
                  <a:pt x="2695920" y="828642"/>
                </a:lnTo>
                <a:lnTo>
                  <a:pt x="2698908" y="829672"/>
                </a:lnTo>
                <a:cubicBezTo>
                  <a:pt x="2701358" y="831594"/>
                  <a:pt x="2702167" y="834111"/>
                  <a:pt x="2699558" y="837206"/>
                </a:cubicBezTo>
                <a:cubicBezTo>
                  <a:pt x="2697143" y="837365"/>
                  <a:pt x="2693517" y="836508"/>
                  <a:pt x="2690368" y="834975"/>
                </a:cubicBezTo>
                <a:lnTo>
                  <a:pt x="2687480" y="832476"/>
                </a:lnTo>
                <a:lnTo>
                  <a:pt x="2676846" y="833422"/>
                </a:lnTo>
                <a:cubicBezTo>
                  <a:pt x="2671941" y="832912"/>
                  <a:pt x="2666130" y="831355"/>
                  <a:pt x="2659472" y="828536"/>
                </a:cubicBezTo>
                <a:cubicBezTo>
                  <a:pt x="2650800" y="824373"/>
                  <a:pt x="2644975" y="818442"/>
                  <a:pt x="2639380" y="811653"/>
                </a:cubicBezTo>
                <a:lnTo>
                  <a:pt x="2635319" y="806884"/>
                </a:lnTo>
                <a:lnTo>
                  <a:pt x="2633221" y="805862"/>
                </a:lnTo>
                <a:cubicBezTo>
                  <a:pt x="2630846" y="804766"/>
                  <a:pt x="2628747" y="803743"/>
                  <a:pt x="2627564" y="802621"/>
                </a:cubicBezTo>
                <a:cubicBezTo>
                  <a:pt x="2626878" y="801862"/>
                  <a:pt x="2626803" y="801038"/>
                  <a:pt x="2627281" y="800360"/>
                </a:cubicBezTo>
                <a:lnTo>
                  <a:pt x="2631316" y="801901"/>
                </a:lnTo>
                <a:lnTo>
                  <a:pt x="2630410" y="800854"/>
                </a:lnTo>
                <a:cubicBezTo>
                  <a:pt x="2627008" y="796951"/>
                  <a:pt x="2623299" y="793084"/>
                  <a:pt x="2618980" y="789281"/>
                </a:cubicBezTo>
                <a:cubicBezTo>
                  <a:pt x="2628531" y="791265"/>
                  <a:pt x="2635262" y="789388"/>
                  <a:pt x="2641307" y="786753"/>
                </a:cubicBezTo>
                <a:lnTo>
                  <a:pt x="2647771" y="783655"/>
                </a:lnTo>
                <a:lnTo>
                  <a:pt x="2646866" y="782607"/>
                </a:lnTo>
                <a:cubicBezTo>
                  <a:pt x="2646399" y="782138"/>
                  <a:pt x="2646399" y="782138"/>
                  <a:pt x="2646227" y="782781"/>
                </a:cubicBezTo>
                <a:cubicBezTo>
                  <a:pt x="2643901" y="779283"/>
                  <a:pt x="2639945" y="775233"/>
                  <a:pt x="2642429" y="773713"/>
                </a:cubicBezTo>
                <a:cubicBezTo>
                  <a:pt x="2647631" y="772003"/>
                  <a:pt x="2653651" y="774995"/>
                  <a:pt x="2658887" y="778698"/>
                </a:cubicBezTo>
                <a:lnTo>
                  <a:pt x="2659631" y="779242"/>
                </a:lnTo>
                <a:lnTo>
                  <a:pt x="2665988" y="778761"/>
                </a:lnTo>
                <a:cubicBezTo>
                  <a:pt x="2668345" y="778817"/>
                  <a:pt x="2670893" y="779270"/>
                  <a:pt x="2673937" y="780086"/>
                </a:cubicBezTo>
                <a:lnTo>
                  <a:pt x="2685040" y="785132"/>
                </a:lnTo>
                <a:lnTo>
                  <a:pt x="2686255" y="782811"/>
                </a:lnTo>
                <a:lnTo>
                  <a:pt x="2687800" y="783686"/>
                </a:lnTo>
                <a:lnTo>
                  <a:pt x="2677254" y="757744"/>
                </a:lnTo>
                <a:lnTo>
                  <a:pt x="2666268" y="757790"/>
                </a:lnTo>
                <a:lnTo>
                  <a:pt x="2662498" y="757471"/>
                </a:lnTo>
                <a:lnTo>
                  <a:pt x="2663070" y="758659"/>
                </a:lnTo>
                <a:lnTo>
                  <a:pt x="2660666" y="757670"/>
                </a:lnTo>
                <a:lnTo>
                  <a:pt x="2660360" y="757703"/>
                </a:lnTo>
                <a:cubicBezTo>
                  <a:pt x="2660065" y="756589"/>
                  <a:pt x="2658234" y="756788"/>
                  <a:pt x="2658805" y="757976"/>
                </a:cubicBezTo>
                <a:cubicBezTo>
                  <a:pt x="2655790" y="757053"/>
                  <a:pt x="2653576" y="756460"/>
                  <a:pt x="2652002" y="755693"/>
                </a:cubicBezTo>
                <a:cubicBezTo>
                  <a:pt x="2650733" y="754894"/>
                  <a:pt x="2650381" y="753994"/>
                  <a:pt x="2651613" y="752714"/>
                </a:cubicBezTo>
                <a:cubicBezTo>
                  <a:pt x="2652303" y="750139"/>
                  <a:pt x="2655682" y="750815"/>
                  <a:pt x="2657899" y="748073"/>
                </a:cubicBezTo>
                <a:cubicBezTo>
                  <a:pt x="2660836" y="742649"/>
                  <a:pt x="2645322" y="737458"/>
                  <a:pt x="2650888" y="726644"/>
                </a:cubicBezTo>
                <a:cubicBezTo>
                  <a:pt x="2652987" y="727667"/>
                  <a:pt x="2655603" y="726758"/>
                  <a:pt x="2658496" y="725923"/>
                </a:cubicBezTo>
                <a:lnTo>
                  <a:pt x="2661666" y="725162"/>
                </a:lnTo>
                <a:lnTo>
                  <a:pt x="2655323" y="712308"/>
                </a:lnTo>
                <a:cubicBezTo>
                  <a:pt x="2642189" y="687168"/>
                  <a:pt x="2630208" y="663257"/>
                  <a:pt x="2623906" y="640293"/>
                </a:cubicBezTo>
                <a:close/>
                <a:moveTo>
                  <a:pt x="3379748" y="639613"/>
                </a:moveTo>
                <a:cubicBezTo>
                  <a:pt x="3379748" y="639613"/>
                  <a:pt x="3380014" y="640834"/>
                  <a:pt x="3377548" y="643393"/>
                </a:cubicBezTo>
                <a:cubicBezTo>
                  <a:pt x="3377253" y="642280"/>
                  <a:pt x="3375478" y="642264"/>
                  <a:pt x="3375478" y="642264"/>
                </a:cubicBezTo>
                <a:cubicBezTo>
                  <a:pt x="3375478" y="642264"/>
                  <a:pt x="3375449" y="642371"/>
                  <a:pt x="3375744" y="643485"/>
                </a:cubicBezTo>
                <a:cubicBezTo>
                  <a:pt x="3374696" y="642974"/>
                  <a:pt x="3374591" y="642256"/>
                  <a:pt x="3374706" y="641827"/>
                </a:cubicBezTo>
                <a:cubicBezTo>
                  <a:pt x="3374821" y="641397"/>
                  <a:pt x="3375213" y="641043"/>
                  <a:pt x="3375213" y="641043"/>
                </a:cubicBezTo>
                <a:cubicBezTo>
                  <a:pt x="3376445" y="639763"/>
                  <a:pt x="3377955" y="638557"/>
                  <a:pt x="3379748" y="639613"/>
                </a:cubicBezTo>
                <a:close/>
                <a:moveTo>
                  <a:pt x="1162341" y="639444"/>
                </a:moveTo>
                <a:cubicBezTo>
                  <a:pt x="1164853" y="637817"/>
                  <a:pt x="1166456" y="638476"/>
                  <a:pt x="1167494" y="640134"/>
                </a:cubicBezTo>
                <a:cubicBezTo>
                  <a:pt x="1167494" y="640134"/>
                  <a:pt x="1168781" y="641975"/>
                  <a:pt x="1169820" y="643633"/>
                </a:cubicBezTo>
                <a:cubicBezTo>
                  <a:pt x="1171105" y="645473"/>
                  <a:pt x="1172737" y="646025"/>
                  <a:pt x="1172737" y="646025"/>
                </a:cubicBezTo>
                <a:cubicBezTo>
                  <a:pt x="1173748" y="647790"/>
                  <a:pt x="1173154" y="648897"/>
                  <a:pt x="1171235" y="649417"/>
                </a:cubicBezTo>
                <a:cubicBezTo>
                  <a:pt x="1171235" y="649417"/>
                  <a:pt x="1168594" y="647100"/>
                  <a:pt x="1168594" y="647100"/>
                </a:cubicBezTo>
                <a:cubicBezTo>
                  <a:pt x="1166269" y="643601"/>
                  <a:pt x="1164953" y="641870"/>
                  <a:pt x="1162341" y="639444"/>
                </a:cubicBezTo>
                <a:close/>
                <a:moveTo>
                  <a:pt x="1147920" y="639030"/>
                </a:moveTo>
                <a:cubicBezTo>
                  <a:pt x="1149236" y="640762"/>
                  <a:pt x="1154072" y="642633"/>
                  <a:pt x="1156990" y="645025"/>
                </a:cubicBezTo>
                <a:cubicBezTo>
                  <a:pt x="1156703" y="646098"/>
                  <a:pt x="1158046" y="647723"/>
                  <a:pt x="1157482" y="648722"/>
                </a:cubicBezTo>
                <a:cubicBezTo>
                  <a:pt x="1156681" y="648392"/>
                  <a:pt x="1155240" y="648236"/>
                  <a:pt x="1154133" y="647940"/>
                </a:cubicBezTo>
                <a:cubicBezTo>
                  <a:pt x="1153304" y="647718"/>
                  <a:pt x="1152197" y="647420"/>
                  <a:pt x="1152646" y="646851"/>
                </a:cubicBezTo>
                <a:cubicBezTo>
                  <a:pt x="1151014" y="646299"/>
                  <a:pt x="1151866" y="644228"/>
                  <a:pt x="1151866" y="644228"/>
                </a:cubicBezTo>
                <a:cubicBezTo>
                  <a:pt x="1150263" y="643567"/>
                  <a:pt x="1148384" y="642834"/>
                  <a:pt x="1147069" y="641102"/>
                </a:cubicBezTo>
                <a:cubicBezTo>
                  <a:pt x="1149264" y="640655"/>
                  <a:pt x="1147634" y="640103"/>
                  <a:pt x="1147920" y="639030"/>
                </a:cubicBezTo>
                <a:close/>
                <a:moveTo>
                  <a:pt x="3654081" y="638484"/>
                </a:moveTo>
                <a:cubicBezTo>
                  <a:pt x="3655856" y="638500"/>
                  <a:pt x="3657620" y="639662"/>
                  <a:pt x="3659396" y="639678"/>
                </a:cubicBezTo>
                <a:cubicBezTo>
                  <a:pt x="3659396" y="639678"/>
                  <a:pt x="3659777" y="640470"/>
                  <a:pt x="3660376" y="641551"/>
                </a:cubicBezTo>
                <a:cubicBezTo>
                  <a:pt x="3660700" y="642558"/>
                  <a:pt x="3660966" y="643779"/>
                  <a:pt x="3660211" y="644382"/>
                </a:cubicBezTo>
                <a:cubicBezTo>
                  <a:pt x="3659590" y="645595"/>
                  <a:pt x="3657872" y="645365"/>
                  <a:pt x="3655963" y="644738"/>
                </a:cubicBezTo>
                <a:cubicBezTo>
                  <a:pt x="3654332" y="644186"/>
                  <a:pt x="3652510" y="643238"/>
                  <a:pt x="3651622" y="643230"/>
                </a:cubicBezTo>
                <a:cubicBezTo>
                  <a:pt x="3650573" y="642719"/>
                  <a:pt x="3649829" y="642175"/>
                  <a:pt x="3649114" y="641524"/>
                </a:cubicBezTo>
                <a:cubicBezTo>
                  <a:pt x="3648676" y="640946"/>
                  <a:pt x="3648543" y="640336"/>
                  <a:pt x="3649297" y="639732"/>
                </a:cubicBezTo>
                <a:cubicBezTo>
                  <a:pt x="3650778" y="638634"/>
                  <a:pt x="3650512" y="637413"/>
                  <a:pt x="3654081" y="638484"/>
                </a:cubicBezTo>
                <a:close/>
                <a:moveTo>
                  <a:pt x="2504434" y="636802"/>
                </a:moveTo>
                <a:cubicBezTo>
                  <a:pt x="2505501" y="638352"/>
                  <a:pt x="2506224" y="641191"/>
                  <a:pt x="2505782" y="643947"/>
                </a:cubicBezTo>
                <a:lnTo>
                  <a:pt x="2501537" y="649826"/>
                </a:lnTo>
                <a:lnTo>
                  <a:pt x="2514955" y="650660"/>
                </a:lnTo>
                <a:cubicBezTo>
                  <a:pt x="2520824" y="652003"/>
                  <a:pt x="2525909" y="654056"/>
                  <a:pt x="2530516" y="656785"/>
                </a:cubicBezTo>
                <a:cubicBezTo>
                  <a:pt x="2545385" y="665484"/>
                  <a:pt x="2552928" y="680501"/>
                  <a:pt x="2547255" y="693931"/>
                </a:cubicBezTo>
                <a:cubicBezTo>
                  <a:pt x="2544897" y="693874"/>
                  <a:pt x="2542539" y="693817"/>
                  <a:pt x="2542967" y="695542"/>
                </a:cubicBezTo>
                <a:cubicBezTo>
                  <a:pt x="2537001" y="695669"/>
                  <a:pt x="2531294" y="694829"/>
                  <a:pt x="2525819" y="693132"/>
                </a:cubicBezTo>
                <a:cubicBezTo>
                  <a:pt x="2517880" y="690660"/>
                  <a:pt x="2510430" y="686364"/>
                  <a:pt x="2504682" y="681258"/>
                </a:cubicBezTo>
                <a:lnTo>
                  <a:pt x="2504434" y="681077"/>
                </a:lnTo>
                <a:lnTo>
                  <a:pt x="2498345" y="679445"/>
                </a:lnTo>
                <a:cubicBezTo>
                  <a:pt x="2498080" y="678225"/>
                  <a:pt x="2499855" y="678240"/>
                  <a:pt x="2499866" y="677093"/>
                </a:cubicBezTo>
                <a:lnTo>
                  <a:pt x="2501728" y="676786"/>
                </a:lnTo>
                <a:lnTo>
                  <a:pt x="2493494" y="664345"/>
                </a:lnTo>
                <a:cubicBezTo>
                  <a:pt x="2492715" y="661722"/>
                  <a:pt x="2492546" y="659032"/>
                  <a:pt x="2493207" y="656564"/>
                </a:cubicBezTo>
                <a:lnTo>
                  <a:pt x="2496183" y="649886"/>
                </a:lnTo>
                <a:lnTo>
                  <a:pt x="2494027" y="649078"/>
                </a:lnTo>
                <a:cubicBezTo>
                  <a:pt x="2489085" y="646490"/>
                  <a:pt x="2489262" y="642511"/>
                  <a:pt x="2492360" y="637591"/>
                </a:cubicBezTo>
                <a:cubicBezTo>
                  <a:pt x="2496158" y="637804"/>
                  <a:pt x="2499051" y="636970"/>
                  <a:pt x="2504434" y="636802"/>
                </a:cubicBezTo>
                <a:close/>
                <a:moveTo>
                  <a:pt x="4865205" y="636514"/>
                </a:moveTo>
                <a:cubicBezTo>
                  <a:pt x="4869320" y="635546"/>
                  <a:pt x="4877039" y="637730"/>
                  <a:pt x="4879641" y="641302"/>
                </a:cubicBezTo>
                <a:cubicBezTo>
                  <a:pt x="4879407" y="645495"/>
                  <a:pt x="4875972" y="645034"/>
                  <a:pt x="4876141" y="647724"/>
                </a:cubicBezTo>
                <a:cubicBezTo>
                  <a:pt x="4868145" y="645468"/>
                  <a:pt x="4865820" y="641969"/>
                  <a:pt x="4865205" y="636514"/>
                </a:cubicBezTo>
                <a:close/>
                <a:moveTo>
                  <a:pt x="4016614" y="635803"/>
                </a:moveTo>
                <a:cubicBezTo>
                  <a:pt x="4020308" y="635298"/>
                  <a:pt x="4025490" y="635882"/>
                  <a:pt x="4031900" y="638519"/>
                </a:cubicBezTo>
                <a:cubicBezTo>
                  <a:pt x="4037507" y="644161"/>
                  <a:pt x="4034718" y="654569"/>
                  <a:pt x="4028171" y="654656"/>
                </a:cubicBezTo>
                <a:cubicBezTo>
                  <a:pt x="4006357" y="649731"/>
                  <a:pt x="4005225" y="637352"/>
                  <a:pt x="4016614" y="635803"/>
                </a:cubicBezTo>
                <a:close/>
                <a:moveTo>
                  <a:pt x="3011982" y="635256"/>
                </a:moveTo>
                <a:cubicBezTo>
                  <a:pt x="3011982" y="635256"/>
                  <a:pt x="3011982" y="635256"/>
                  <a:pt x="3003120" y="639552"/>
                </a:cubicBezTo>
                <a:cubicBezTo>
                  <a:pt x="3002463" y="638686"/>
                  <a:pt x="3002635" y="638042"/>
                  <a:pt x="3003333" y="637655"/>
                </a:cubicBezTo>
                <a:cubicBezTo>
                  <a:pt x="3004030" y="637266"/>
                  <a:pt x="3004975" y="637059"/>
                  <a:pt x="3005949" y="636745"/>
                </a:cubicBezTo>
                <a:cubicBezTo>
                  <a:pt x="3008144" y="636299"/>
                  <a:pt x="3010064" y="635778"/>
                  <a:pt x="3011982" y="635256"/>
                </a:cubicBezTo>
                <a:close/>
                <a:moveTo>
                  <a:pt x="1073642" y="635112"/>
                </a:moveTo>
                <a:lnTo>
                  <a:pt x="1077004" y="640268"/>
                </a:lnTo>
                <a:cubicBezTo>
                  <a:pt x="1076032" y="640582"/>
                  <a:pt x="1074810" y="640715"/>
                  <a:pt x="1073397" y="640452"/>
                </a:cubicBezTo>
                <a:cubicBezTo>
                  <a:pt x="1072233" y="640370"/>
                  <a:pt x="1071184" y="639859"/>
                  <a:pt x="1070525" y="638993"/>
                </a:cubicBezTo>
                <a:cubicBezTo>
                  <a:pt x="1069344" y="637871"/>
                  <a:pt x="1069487" y="637335"/>
                  <a:pt x="1070212" y="636838"/>
                </a:cubicBezTo>
                <a:cubicBezTo>
                  <a:pt x="1071216" y="636418"/>
                  <a:pt x="1072524" y="635963"/>
                  <a:pt x="1073642" y="635112"/>
                </a:cubicBezTo>
                <a:close/>
                <a:moveTo>
                  <a:pt x="3041446" y="634871"/>
                </a:moveTo>
                <a:cubicBezTo>
                  <a:pt x="3042610" y="634953"/>
                  <a:pt x="3043660" y="635464"/>
                  <a:pt x="3044318" y="636331"/>
                </a:cubicBezTo>
                <a:cubicBezTo>
                  <a:pt x="3041148" y="637092"/>
                  <a:pt x="3037938" y="639107"/>
                  <a:pt x="3033892" y="638712"/>
                </a:cubicBezTo>
                <a:cubicBezTo>
                  <a:pt x="3032756" y="638524"/>
                  <a:pt x="3031373" y="638152"/>
                  <a:pt x="3029828" y="637278"/>
                </a:cubicBezTo>
                <a:cubicBezTo>
                  <a:pt x="3032720" y="636443"/>
                  <a:pt x="3038011" y="634410"/>
                  <a:pt x="3041446" y="634871"/>
                </a:cubicBezTo>
                <a:close/>
                <a:moveTo>
                  <a:pt x="3390424" y="634078"/>
                </a:moveTo>
                <a:cubicBezTo>
                  <a:pt x="3389458" y="636579"/>
                  <a:pt x="3383402" y="640362"/>
                  <a:pt x="3379805" y="639398"/>
                </a:cubicBezTo>
                <a:cubicBezTo>
                  <a:pt x="3380743" y="637004"/>
                  <a:pt x="3382252" y="635799"/>
                  <a:pt x="3383485" y="634519"/>
                </a:cubicBezTo>
                <a:cubicBezTo>
                  <a:pt x="3384728" y="632092"/>
                  <a:pt x="3386256" y="631927"/>
                  <a:pt x="3390424" y="634078"/>
                </a:cubicBezTo>
                <a:close/>
                <a:moveTo>
                  <a:pt x="3959437" y="633362"/>
                </a:moveTo>
                <a:cubicBezTo>
                  <a:pt x="3967439" y="637807"/>
                  <a:pt x="3962488" y="645220"/>
                  <a:pt x="3956227" y="644233"/>
                </a:cubicBezTo>
                <a:cubicBezTo>
                  <a:pt x="3953928" y="643962"/>
                  <a:pt x="3951609" y="642651"/>
                  <a:pt x="3949360" y="639978"/>
                </a:cubicBezTo>
                <a:cubicBezTo>
                  <a:pt x="3953525" y="636608"/>
                  <a:pt x="3956209" y="634338"/>
                  <a:pt x="3959437" y="633362"/>
                </a:cubicBezTo>
                <a:close/>
                <a:moveTo>
                  <a:pt x="1211706" y="632302"/>
                </a:moveTo>
                <a:cubicBezTo>
                  <a:pt x="1214657" y="631525"/>
                  <a:pt x="1218800" y="631284"/>
                  <a:pt x="1223565" y="633424"/>
                </a:cubicBezTo>
                <a:cubicBezTo>
                  <a:pt x="1222056" y="634629"/>
                  <a:pt x="1233921" y="641259"/>
                  <a:pt x="1231988" y="646260"/>
                </a:cubicBezTo>
                <a:cubicBezTo>
                  <a:pt x="1231022" y="648761"/>
                  <a:pt x="1229789" y="650041"/>
                  <a:pt x="1228822" y="652543"/>
                </a:cubicBezTo>
                <a:lnTo>
                  <a:pt x="1224431" y="653435"/>
                </a:lnTo>
                <a:lnTo>
                  <a:pt x="1222926" y="660162"/>
                </a:lnTo>
                <a:cubicBezTo>
                  <a:pt x="1221968" y="661517"/>
                  <a:pt x="1216363" y="664729"/>
                  <a:pt x="1214236" y="663814"/>
                </a:cubicBezTo>
                <a:cubicBezTo>
                  <a:pt x="1212137" y="662792"/>
                  <a:pt x="1211842" y="661677"/>
                  <a:pt x="1211272" y="660489"/>
                </a:cubicBezTo>
                <a:lnTo>
                  <a:pt x="1213111" y="653622"/>
                </a:lnTo>
                <a:lnTo>
                  <a:pt x="1208683" y="652437"/>
                </a:lnTo>
                <a:cubicBezTo>
                  <a:pt x="1205784" y="651084"/>
                  <a:pt x="1203800" y="649633"/>
                  <a:pt x="1203010" y="648156"/>
                </a:cubicBezTo>
                <a:lnTo>
                  <a:pt x="1202248" y="646572"/>
                </a:lnTo>
                <a:lnTo>
                  <a:pt x="1200663" y="646952"/>
                </a:lnTo>
                <a:cubicBezTo>
                  <a:pt x="1199032" y="646400"/>
                  <a:pt x="1197047" y="644948"/>
                  <a:pt x="1195438" y="642102"/>
                </a:cubicBezTo>
                <a:lnTo>
                  <a:pt x="1200365" y="640318"/>
                </a:lnTo>
                <a:lnTo>
                  <a:pt x="1199545" y="638948"/>
                </a:lnTo>
                <a:lnTo>
                  <a:pt x="1198162" y="638577"/>
                </a:lnTo>
                <a:cubicBezTo>
                  <a:pt x="1197591" y="637389"/>
                  <a:pt x="1195531" y="635112"/>
                  <a:pt x="1193461" y="633982"/>
                </a:cubicBezTo>
                <a:cubicBezTo>
                  <a:pt x="1195236" y="633998"/>
                  <a:pt x="1196793" y="633725"/>
                  <a:pt x="1196498" y="632610"/>
                </a:cubicBezTo>
                <a:cubicBezTo>
                  <a:pt x="1198596" y="633633"/>
                  <a:pt x="1199560" y="634466"/>
                  <a:pt x="1200523" y="635299"/>
                </a:cubicBezTo>
                <a:lnTo>
                  <a:pt x="1200991" y="635770"/>
                </a:lnTo>
                <a:lnTo>
                  <a:pt x="1202708" y="636000"/>
                </a:lnTo>
                <a:lnTo>
                  <a:pt x="1203976" y="636800"/>
                </a:lnTo>
                <a:lnTo>
                  <a:pt x="1204530" y="636948"/>
                </a:lnTo>
                <a:cubicBezTo>
                  <a:pt x="1204530" y="636948"/>
                  <a:pt x="1204223" y="636982"/>
                  <a:pt x="1206995" y="634389"/>
                </a:cubicBezTo>
                <a:cubicBezTo>
                  <a:pt x="1206995" y="634389"/>
                  <a:pt x="1208755" y="633078"/>
                  <a:pt x="1211706" y="632302"/>
                </a:cubicBezTo>
                <a:close/>
                <a:moveTo>
                  <a:pt x="3354427" y="631592"/>
                </a:moveTo>
                <a:cubicBezTo>
                  <a:pt x="3357917" y="631435"/>
                  <a:pt x="3361499" y="631906"/>
                  <a:pt x="3363387" y="633158"/>
                </a:cubicBezTo>
                <a:cubicBezTo>
                  <a:pt x="3363537" y="634809"/>
                  <a:pt x="3363994" y="636427"/>
                  <a:pt x="3364145" y="638077"/>
                </a:cubicBezTo>
                <a:cubicBezTo>
                  <a:pt x="3360745" y="639696"/>
                  <a:pt x="3356659" y="640556"/>
                  <a:pt x="3353253" y="639989"/>
                </a:cubicBezTo>
                <a:cubicBezTo>
                  <a:pt x="3349846" y="639421"/>
                  <a:pt x="3346813" y="637458"/>
                  <a:pt x="3346015" y="633794"/>
                </a:cubicBezTo>
                <a:cubicBezTo>
                  <a:pt x="3347539" y="632535"/>
                  <a:pt x="3350937" y="631749"/>
                  <a:pt x="3354427" y="631592"/>
                </a:cubicBezTo>
                <a:close/>
                <a:moveTo>
                  <a:pt x="2241601" y="630432"/>
                </a:moveTo>
                <a:cubicBezTo>
                  <a:pt x="2245410" y="629497"/>
                  <a:pt x="2248644" y="630709"/>
                  <a:pt x="2249683" y="632367"/>
                </a:cubicBezTo>
                <a:lnTo>
                  <a:pt x="2253913" y="639825"/>
                </a:lnTo>
                <a:lnTo>
                  <a:pt x="2255259" y="638116"/>
                </a:lnTo>
                <a:cubicBezTo>
                  <a:pt x="2257323" y="637059"/>
                  <a:pt x="2259097" y="637075"/>
                  <a:pt x="2260672" y="637841"/>
                </a:cubicBezTo>
                <a:cubicBezTo>
                  <a:pt x="2262275" y="638500"/>
                  <a:pt x="2263675" y="639911"/>
                  <a:pt x="2265020" y="641538"/>
                </a:cubicBezTo>
                <a:cubicBezTo>
                  <a:pt x="2267373" y="644927"/>
                  <a:pt x="2265139" y="646629"/>
                  <a:pt x="2265139" y="646629"/>
                </a:cubicBezTo>
                <a:cubicBezTo>
                  <a:pt x="2263076" y="647686"/>
                  <a:pt x="2260603" y="648058"/>
                  <a:pt x="2258333" y="647680"/>
                </a:cubicBezTo>
                <a:lnTo>
                  <a:pt x="2254937" y="645965"/>
                </a:lnTo>
                <a:lnTo>
                  <a:pt x="2254724" y="647863"/>
                </a:lnTo>
                <a:cubicBezTo>
                  <a:pt x="2253718" y="651619"/>
                  <a:pt x="2251530" y="654252"/>
                  <a:pt x="2251766" y="655580"/>
                </a:cubicBezTo>
                <a:lnTo>
                  <a:pt x="2248493" y="655624"/>
                </a:lnTo>
                <a:lnTo>
                  <a:pt x="2251400" y="659163"/>
                </a:lnTo>
                <a:cubicBezTo>
                  <a:pt x="2248151" y="662433"/>
                  <a:pt x="2244698" y="660933"/>
                  <a:pt x="2243206" y="663177"/>
                </a:cubicBezTo>
                <a:cubicBezTo>
                  <a:pt x="2239868" y="661247"/>
                  <a:pt x="2238276" y="659441"/>
                  <a:pt x="2237906" y="657502"/>
                </a:cubicBezTo>
                <a:cubicBezTo>
                  <a:pt x="2237231" y="655596"/>
                  <a:pt x="2238053" y="653631"/>
                  <a:pt x="2239793" y="651567"/>
                </a:cubicBezTo>
                <a:lnTo>
                  <a:pt x="2242254" y="652342"/>
                </a:lnTo>
                <a:lnTo>
                  <a:pt x="2238690" y="647937"/>
                </a:lnTo>
                <a:cubicBezTo>
                  <a:pt x="2237374" y="646204"/>
                  <a:pt x="2236670" y="644406"/>
                  <a:pt x="2236549" y="642647"/>
                </a:cubicBezTo>
                <a:cubicBezTo>
                  <a:pt x="2236703" y="640964"/>
                  <a:pt x="2237440" y="639322"/>
                  <a:pt x="2238700" y="637933"/>
                </a:cubicBezTo>
                <a:cubicBezTo>
                  <a:pt x="2237949" y="635203"/>
                  <a:pt x="2239118" y="631952"/>
                  <a:pt x="2241601" y="630432"/>
                </a:cubicBezTo>
                <a:close/>
                <a:moveTo>
                  <a:pt x="2583392" y="629898"/>
                </a:moveTo>
                <a:cubicBezTo>
                  <a:pt x="2597831" y="631351"/>
                  <a:pt x="2611408" y="636024"/>
                  <a:pt x="2613050" y="644285"/>
                </a:cubicBezTo>
                <a:lnTo>
                  <a:pt x="2603221" y="642226"/>
                </a:lnTo>
                <a:lnTo>
                  <a:pt x="2598104" y="643615"/>
                </a:lnTo>
                <a:cubicBezTo>
                  <a:pt x="2593187" y="644253"/>
                  <a:pt x="2587338" y="643950"/>
                  <a:pt x="2582796" y="643193"/>
                </a:cubicBezTo>
                <a:lnTo>
                  <a:pt x="2580679" y="641131"/>
                </a:lnTo>
                <a:lnTo>
                  <a:pt x="2565122" y="640527"/>
                </a:lnTo>
                <a:cubicBezTo>
                  <a:pt x="2562545" y="640182"/>
                  <a:pt x="2559750" y="639548"/>
                  <a:pt x="2557012" y="638700"/>
                </a:cubicBezTo>
                <a:cubicBezTo>
                  <a:pt x="2554272" y="637851"/>
                  <a:pt x="2551592" y="636787"/>
                  <a:pt x="2548750" y="635221"/>
                </a:cubicBezTo>
                <a:cubicBezTo>
                  <a:pt x="2553899" y="630391"/>
                  <a:pt x="2569201" y="628625"/>
                  <a:pt x="2583392" y="629898"/>
                </a:cubicBezTo>
                <a:close/>
                <a:moveTo>
                  <a:pt x="3914010" y="629126"/>
                </a:moveTo>
                <a:cubicBezTo>
                  <a:pt x="3917873" y="631311"/>
                  <a:pt x="3921736" y="633496"/>
                  <a:pt x="3918995" y="635981"/>
                </a:cubicBezTo>
                <a:cubicBezTo>
                  <a:pt x="3917762" y="637261"/>
                  <a:pt x="3916501" y="638648"/>
                  <a:pt x="3913198" y="638798"/>
                </a:cubicBezTo>
                <a:cubicBezTo>
                  <a:pt x="3911128" y="637669"/>
                  <a:pt x="3910337" y="636192"/>
                  <a:pt x="3909795" y="634896"/>
                </a:cubicBezTo>
                <a:lnTo>
                  <a:pt x="3908786" y="633131"/>
                </a:lnTo>
                <a:lnTo>
                  <a:pt x="3909626" y="641061"/>
                </a:lnTo>
                <a:lnTo>
                  <a:pt x="3908641" y="642522"/>
                </a:lnTo>
                <a:lnTo>
                  <a:pt x="3908947" y="642490"/>
                </a:lnTo>
                <a:cubicBezTo>
                  <a:pt x="3911301" y="645880"/>
                  <a:pt x="3913654" y="649270"/>
                  <a:pt x="3909816" y="650312"/>
                </a:cubicBezTo>
                <a:lnTo>
                  <a:pt x="3904243" y="650084"/>
                </a:lnTo>
                <a:lnTo>
                  <a:pt x="3903287" y="651438"/>
                </a:lnTo>
                <a:cubicBezTo>
                  <a:pt x="3897181" y="657622"/>
                  <a:pt x="3887939" y="661125"/>
                  <a:pt x="3879181" y="657284"/>
                </a:cubicBezTo>
                <a:cubicBezTo>
                  <a:pt x="3891245" y="648787"/>
                  <a:pt x="3891514" y="637818"/>
                  <a:pt x="3908254" y="630688"/>
                </a:cubicBezTo>
                <a:lnTo>
                  <a:pt x="3908548" y="631802"/>
                </a:lnTo>
                <a:lnTo>
                  <a:pt x="3911049" y="631322"/>
                </a:lnTo>
                <a:cubicBezTo>
                  <a:pt x="3912328" y="630975"/>
                  <a:pt x="3913389" y="630339"/>
                  <a:pt x="3914010" y="629126"/>
                </a:cubicBezTo>
                <a:close/>
                <a:moveTo>
                  <a:pt x="3283124" y="628328"/>
                </a:moveTo>
                <a:cubicBezTo>
                  <a:pt x="3284727" y="628987"/>
                  <a:pt x="3286462" y="630258"/>
                  <a:pt x="3287415" y="632237"/>
                </a:cubicBezTo>
                <a:lnTo>
                  <a:pt x="3288507" y="637015"/>
                </a:lnTo>
                <a:lnTo>
                  <a:pt x="3293571" y="641362"/>
                </a:lnTo>
                <a:lnTo>
                  <a:pt x="3288953" y="639780"/>
                </a:lnTo>
                <a:lnTo>
                  <a:pt x="3289334" y="640572"/>
                </a:lnTo>
                <a:lnTo>
                  <a:pt x="3288658" y="647520"/>
                </a:lnTo>
                <a:lnTo>
                  <a:pt x="3294842" y="647683"/>
                </a:lnTo>
                <a:cubicBezTo>
                  <a:pt x="3296326" y="652105"/>
                  <a:pt x="3296901" y="667669"/>
                  <a:pt x="3287788" y="666263"/>
                </a:cubicBezTo>
                <a:cubicBezTo>
                  <a:pt x="3286376" y="665999"/>
                  <a:pt x="3285020" y="665521"/>
                  <a:pt x="3283227" y="664466"/>
                </a:cubicBezTo>
                <a:cubicBezTo>
                  <a:pt x="3284453" y="660999"/>
                  <a:pt x="3284572" y="657236"/>
                  <a:pt x="3284518" y="654117"/>
                </a:cubicBezTo>
                <a:lnTo>
                  <a:pt x="3286785" y="648974"/>
                </a:lnTo>
                <a:lnTo>
                  <a:pt x="3277403" y="649680"/>
                </a:lnTo>
                <a:cubicBezTo>
                  <a:pt x="3268251" y="649527"/>
                  <a:pt x="3263891" y="646980"/>
                  <a:pt x="3263007" y="643638"/>
                </a:cubicBezTo>
                <a:cubicBezTo>
                  <a:pt x="3261135" y="636236"/>
                  <a:pt x="3274834" y="624957"/>
                  <a:pt x="3283124" y="628328"/>
                </a:cubicBezTo>
                <a:close/>
                <a:moveTo>
                  <a:pt x="2034568" y="628318"/>
                </a:moveTo>
                <a:cubicBezTo>
                  <a:pt x="2034558" y="629465"/>
                  <a:pt x="2036304" y="629588"/>
                  <a:pt x="2036569" y="630810"/>
                </a:cubicBezTo>
                <a:cubicBezTo>
                  <a:pt x="2038572" y="633301"/>
                  <a:pt x="2038572" y="633301"/>
                  <a:pt x="2036785" y="634433"/>
                </a:cubicBezTo>
                <a:cubicBezTo>
                  <a:pt x="2035276" y="635638"/>
                  <a:pt x="2029990" y="634337"/>
                  <a:pt x="2028481" y="635542"/>
                </a:cubicBezTo>
                <a:cubicBezTo>
                  <a:pt x="2028481" y="635542"/>
                  <a:pt x="2028510" y="635435"/>
                  <a:pt x="2026479" y="633050"/>
                </a:cubicBezTo>
                <a:cubicBezTo>
                  <a:pt x="2026243" y="631722"/>
                  <a:pt x="2026253" y="630575"/>
                  <a:pt x="2027762" y="629370"/>
                </a:cubicBezTo>
                <a:cubicBezTo>
                  <a:pt x="2029270" y="628164"/>
                  <a:pt x="2032793" y="628302"/>
                  <a:pt x="2034568" y="628318"/>
                </a:cubicBezTo>
                <a:close/>
                <a:moveTo>
                  <a:pt x="1706072" y="627930"/>
                </a:moveTo>
                <a:cubicBezTo>
                  <a:pt x="1716530" y="630961"/>
                  <a:pt x="1723786" y="629340"/>
                  <a:pt x="1731810" y="631490"/>
                </a:cubicBezTo>
                <a:cubicBezTo>
                  <a:pt x="1727703" y="634645"/>
                  <a:pt x="1721141" y="639212"/>
                  <a:pt x="1713088" y="637169"/>
                </a:cubicBezTo>
                <a:cubicBezTo>
                  <a:pt x="1710320" y="636427"/>
                  <a:pt x="1707421" y="635075"/>
                  <a:pt x="1704531" y="632576"/>
                </a:cubicBezTo>
                <a:cubicBezTo>
                  <a:pt x="1705210" y="631148"/>
                  <a:pt x="1705670" y="629432"/>
                  <a:pt x="1706072" y="627930"/>
                </a:cubicBezTo>
                <a:close/>
                <a:moveTo>
                  <a:pt x="5419520" y="626455"/>
                </a:moveTo>
                <a:cubicBezTo>
                  <a:pt x="5425931" y="629094"/>
                  <a:pt x="5425816" y="638377"/>
                  <a:pt x="5419830" y="640798"/>
                </a:cubicBezTo>
                <a:cubicBezTo>
                  <a:pt x="5420254" y="637002"/>
                  <a:pt x="5418338" y="634188"/>
                  <a:pt x="5417167" y="631920"/>
                </a:cubicBezTo>
                <a:cubicBezTo>
                  <a:pt x="5416272" y="629725"/>
                  <a:pt x="5416121" y="628075"/>
                  <a:pt x="5419520" y="626455"/>
                </a:cubicBezTo>
                <a:close/>
                <a:moveTo>
                  <a:pt x="1453445" y="625947"/>
                </a:moveTo>
                <a:cubicBezTo>
                  <a:pt x="1456161" y="625913"/>
                  <a:pt x="1458657" y="626553"/>
                  <a:pt x="1460650" y="628525"/>
                </a:cubicBezTo>
                <a:cubicBezTo>
                  <a:pt x="1455932" y="631744"/>
                  <a:pt x="1453161" y="634338"/>
                  <a:pt x="1448194" y="637377"/>
                </a:cubicBezTo>
                <a:cubicBezTo>
                  <a:pt x="1447223" y="637692"/>
                  <a:pt x="1445112" y="637816"/>
                  <a:pt x="1442812" y="637544"/>
                </a:cubicBezTo>
                <a:cubicBezTo>
                  <a:pt x="1440789" y="637348"/>
                  <a:pt x="1438547" y="636862"/>
                  <a:pt x="1438195" y="635962"/>
                </a:cubicBezTo>
                <a:cubicBezTo>
                  <a:pt x="1436879" y="634230"/>
                  <a:pt x="1437168" y="633157"/>
                  <a:pt x="1437759" y="632050"/>
                </a:cubicBezTo>
                <a:cubicBezTo>
                  <a:pt x="1439966" y="630457"/>
                  <a:pt x="1442449" y="628937"/>
                  <a:pt x="1444933" y="627418"/>
                </a:cubicBezTo>
                <a:cubicBezTo>
                  <a:pt x="1447797" y="626691"/>
                  <a:pt x="1450730" y="625981"/>
                  <a:pt x="1453445" y="625947"/>
                </a:cubicBezTo>
                <a:close/>
                <a:moveTo>
                  <a:pt x="2761827" y="625844"/>
                </a:moveTo>
                <a:lnTo>
                  <a:pt x="2761406" y="626306"/>
                </a:lnTo>
                <a:lnTo>
                  <a:pt x="2761816" y="626991"/>
                </a:lnTo>
                <a:close/>
                <a:moveTo>
                  <a:pt x="2105638" y="625396"/>
                </a:moveTo>
                <a:cubicBezTo>
                  <a:pt x="2108872" y="626608"/>
                  <a:pt x="2112423" y="626639"/>
                  <a:pt x="2115658" y="627850"/>
                </a:cubicBezTo>
                <a:cubicBezTo>
                  <a:pt x="2126287" y="639093"/>
                  <a:pt x="2120817" y="639584"/>
                  <a:pt x="2114744" y="642326"/>
                </a:cubicBezTo>
                <a:cubicBezTo>
                  <a:pt x="2111798" y="640041"/>
                  <a:pt x="2106615" y="639457"/>
                  <a:pt x="2104262" y="636068"/>
                </a:cubicBezTo>
                <a:cubicBezTo>
                  <a:pt x="2104262" y="636068"/>
                  <a:pt x="2102917" y="634441"/>
                  <a:pt x="2103521" y="632189"/>
                </a:cubicBezTo>
                <a:cubicBezTo>
                  <a:pt x="2101456" y="627725"/>
                  <a:pt x="2107241" y="626055"/>
                  <a:pt x="2107241" y="626055"/>
                </a:cubicBezTo>
                <a:cubicBezTo>
                  <a:pt x="2107241" y="626055"/>
                  <a:pt x="2107270" y="625948"/>
                  <a:pt x="2105638" y="625396"/>
                </a:cubicBezTo>
                <a:close/>
                <a:moveTo>
                  <a:pt x="3199272" y="624720"/>
                </a:moveTo>
                <a:cubicBezTo>
                  <a:pt x="3206663" y="629230"/>
                  <a:pt x="3210760" y="636078"/>
                  <a:pt x="3202110" y="638476"/>
                </a:cubicBezTo>
                <a:cubicBezTo>
                  <a:pt x="3197331" y="636390"/>
                  <a:pt x="3191632" y="628883"/>
                  <a:pt x="3193048" y="625813"/>
                </a:cubicBezTo>
                <a:cubicBezTo>
                  <a:pt x="3195215" y="625473"/>
                  <a:pt x="3197381" y="625133"/>
                  <a:pt x="3199272" y="624720"/>
                </a:cubicBezTo>
                <a:close/>
                <a:moveTo>
                  <a:pt x="2071631" y="622954"/>
                </a:moveTo>
                <a:cubicBezTo>
                  <a:pt x="2075019" y="622625"/>
                  <a:pt x="2079409" y="622565"/>
                  <a:pt x="2083983" y="624309"/>
                </a:cubicBezTo>
                <a:cubicBezTo>
                  <a:pt x="2087217" y="625520"/>
                  <a:pt x="2090528" y="627556"/>
                  <a:pt x="2093520" y="630774"/>
                </a:cubicBezTo>
                <a:cubicBezTo>
                  <a:pt x="2100165" y="638075"/>
                  <a:pt x="2104574" y="647076"/>
                  <a:pt x="2090519" y="651936"/>
                </a:cubicBezTo>
                <a:cubicBezTo>
                  <a:pt x="2088285" y="653636"/>
                  <a:pt x="2088601" y="652456"/>
                  <a:pt x="2086682" y="652977"/>
                </a:cubicBezTo>
                <a:cubicBezTo>
                  <a:pt x="2084457" y="653531"/>
                  <a:pt x="2082251" y="655125"/>
                  <a:pt x="2081935" y="656305"/>
                </a:cubicBezTo>
                <a:cubicBezTo>
                  <a:pt x="2076634" y="650629"/>
                  <a:pt x="2072203" y="652777"/>
                  <a:pt x="2064244" y="643744"/>
                </a:cubicBezTo>
                <a:cubicBezTo>
                  <a:pt x="2053613" y="632502"/>
                  <a:pt x="2059224" y="625954"/>
                  <a:pt x="2065297" y="623212"/>
                </a:cubicBezTo>
                <a:cubicBezTo>
                  <a:pt x="2065860" y="623879"/>
                  <a:pt x="2068244" y="623282"/>
                  <a:pt x="2071631" y="622954"/>
                </a:cubicBezTo>
                <a:close/>
                <a:moveTo>
                  <a:pt x="1591711" y="620861"/>
                </a:moveTo>
                <a:cubicBezTo>
                  <a:pt x="1595183" y="623401"/>
                  <a:pt x="1596878" y="625926"/>
                  <a:pt x="1600350" y="628466"/>
                </a:cubicBezTo>
                <a:lnTo>
                  <a:pt x="1594813" y="630318"/>
                </a:lnTo>
                <a:lnTo>
                  <a:pt x="1602241" y="636908"/>
                </a:lnTo>
                <a:cubicBezTo>
                  <a:pt x="1600322" y="637429"/>
                  <a:pt x="1604307" y="641372"/>
                  <a:pt x="1605029" y="644210"/>
                </a:cubicBezTo>
                <a:cubicBezTo>
                  <a:pt x="1603555" y="647495"/>
                  <a:pt x="1602952" y="649748"/>
                  <a:pt x="1598837" y="650716"/>
                </a:cubicBezTo>
                <a:lnTo>
                  <a:pt x="1592652" y="650554"/>
                </a:lnTo>
                <a:lnTo>
                  <a:pt x="1594578" y="652220"/>
                </a:lnTo>
                <a:cubicBezTo>
                  <a:pt x="1595341" y="653805"/>
                  <a:pt x="1595855" y="655208"/>
                  <a:pt x="1597867" y="656551"/>
                </a:cubicBezTo>
                <a:cubicBezTo>
                  <a:pt x="1596253" y="657039"/>
                  <a:pt x="1594219" y="657989"/>
                  <a:pt x="1591499" y="658181"/>
                </a:cubicBezTo>
                <a:lnTo>
                  <a:pt x="1587014" y="657208"/>
                </a:lnTo>
                <a:lnTo>
                  <a:pt x="1587137" y="658966"/>
                </a:lnTo>
                <a:cubicBezTo>
                  <a:pt x="1584909" y="662854"/>
                  <a:pt x="1577670" y="665515"/>
                  <a:pt x="1568961" y="662606"/>
                </a:cubicBezTo>
                <a:cubicBezTo>
                  <a:pt x="1567512" y="660263"/>
                  <a:pt x="1566617" y="658068"/>
                  <a:pt x="1566219" y="656236"/>
                </a:cubicBezTo>
                <a:cubicBezTo>
                  <a:pt x="1565820" y="654404"/>
                  <a:pt x="1565945" y="652828"/>
                  <a:pt x="1565707" y="651500"/>
                </a:cubicBezTo>
                <a:cubicBezTo>
                  <a:pt x="1570129" y="650499"/>
                  <a:pt x="1572945" y="648839"/>
                  <a:pt x="1577366" y="647837"/>
                </a:cubicBezTo>
                <a:lnTo>
                  <a:pt x="1577919" y="647986"/>
                </a:lnTo>
                <a:lnTo>
                  <a:pt x="1577976" y="647772"/>
                </a:lnTo>
                <a:lnTo>
                  <a:pt x="1580650" y="646648"/>
                </a:lnTo>
                <a:lnTo>
                  <a:pt x="1577530" y="645007"/>
                </a:lnTo>
                <a:cubicBezTo>
                  <a:pt x="1572536" y="639299"/>
                  <a:pt x="1572407" y="635353"/>
                  <a:pt x="1573604" y="631995"/>
                </a:cubicBezTo>
                <a:cubicBezTo>
                  <a:pt x="1573604" y="631995"/>
                  <a:pt x="1573575" y="632102"/>
                  <a:pt x="1573010" y="633101"/>
                </a:cubicBezTo>
                <a:cubicBezTo>
                  <a:pt x="1565057" y="635110"/>
                  <a:pt x="1551100" y="638500"/>
                  <a:pt x="1546827" y="635630"/>
                </a:cubicBezTo>
                <a:cubicBezTo>
                  <a:pt x="1547421" y="634524"/>
                  <a:pt x="1547737" y="633344"/>
                  <a:pt x="1549656" y="632823"/>
                </a:cubicBezTo>
                <a:cubicBezTo>
                  <a:pt x="1551574" y="632302"/>
                  <a:pt x="1551259" y="633482"/>
                  <a:pt x="1551852" y="632377"/>
                </a:cubicBezTo>
                <a:cubicBezTo>
                  <a:pt x="1553742" y="631963"/>
                  <a:pt x="1552139" y="631304"/>
                  <a:pt x="1552139" y="631304"/>
                </a:cubicBezTo>
                <a:cubicBezTo>
                  <a:pt x="1552139" y="631304"/>
                  <a:pt x="1553742" y="631963"/>
                  <a:pt x="1553742" y="631963"/>
                </a:cubicBezTo>
                <a:cubicBezTo>
                  <a:pt x="1553742" y="631963"/>
                  <a:pt x="1553742" y="631963"/>
                  <a:pt x="1557581" y="630921"/>
                </a:cubicBezTo>
                <a:cubicBezTo>
                  <a:pt x="1562011" y="628774"/>
                  <a:pt x="1562575" y="627774"/>
                  <a:pt x="1564781" y="626181"/>
                </a:cubicBezTo>
                <a:cubicBezTo>
                  <a:pt x="1568896" y="625213"/>
                  <a:pt x="1570528" y="625765"/>
                  <a:pt x="1575968" y="625383"/>
                </a:cubicBezTo>
                <a:cubicBezTo>
                  <a:pt x="1578609" y="627701"/>
                  <a:pt x="1578609" y="627701"/>
                  <a:pt x="1578293" y="628881"/>
                </a:cubicBezTo>
                <a:cubicBezTo>
                  <a:pt x="1578609" y="627701"/>
                  <a:pt x="1580212" y="628360"/>
                  <a:pt x="1582408" y="627913"/>
                </a:cubicBezTo>
                <a:lnTo>
                  <a:pt x="1587162" y="626773"/>
                </a:lnTo>
                <a:lnTo>
                  <a:pt x="1588157" y="624163"/>
                </a:lnTo>
                <a:cubicBezTo>
                  <a:pt x="1588446" y="623092"/>
                  <a:pt x="1589344" y="621952"/>
                  <a:pt x="1591711" y="620861"/>
                </a:cubicBezTo>
                <a:close/>
                <a:moveTo>
                  <a:pt x="1146921" y="618407"/>
                </a:moveTo>
                <a:cubicBezTo>
                  <a:pt x="1149405" y="616887"/>
                  <a:pt x="1152075" y="619098"/>
                  <a:pt x="1154399" y="622596"/>
                </a:cubicBezTo>
                <a:cubicBezTo>
                  <a:pt x="1161303" y="628931"/>
                  <a:pt x="1161461" y="632768"/>
                  <a:pt x="1155427" y="634257"/>
                </a:cubicBezTo>
                <a:cubicBezTo>
                  <a:pt x="1153825" y="633596"/>
                  <a:pt x="1149580" y="630619"/>
                  <a:pt x="1149293" y="631693"/>
                </a:cubicBezTo>
                <a:cubicBezTo>
                  <a:pt x="1146472" y="627832"/>
                  <a:pt x="1144071" y="623508"/>
                  <a:pt x="1144847" y="620611"/>
                </a:cubicBezTo>
                <a:cubicBezTo>
                  <a:pt x="1145106" y="619645"/>
                  <a:pt x="1145891" y="618935"/>
                  <a:pt x="1146921" y="618407"/>
                </a:cubicBezTo>
                <a:close/>
                <a:moveTo>
                  <a:pt x="3988372" y="618345"/>
                </a:moveTo>
                <a:cubicBezTo>
                  <a:pt x="3995351" y="616651"/>
                  <a:pt x="4004932" y="618527"/>
                  <a:pt x="4012079" y="619523"/>
                </a:cubicBezTo>
                <a:cubicBezTo>
                  <a:pt x="4008104" y="623288"/>
                  <a:pt x="4000957" y="622292"/>
                  <a:pt x="4001309" y="632048"/>
                </a:cubicBezTo>
                <a:cubicBezTo>
                  <a:pt x="3995023" y="627833"/>
                  <a:pt x="3990266" y="623453"/>
                  <a:pt x="3988372" y="618345"/>
                </a:cubicBezTo>
                <a:close/>
                <a:moveTo>
                  <a:pt x="5604155" y="618082"/>
                </a:moveTo>
                <a:cubicBezTo>
                  <a:pt x="5604456" y="621382"/>
                  <a:pt x="5603795" y="623850"/>
                  <a:pt x="5604096" y="627152"/>
                </a:cubicBezTo>
                <a:cubicBezTo>
                  <a:pt x="5602512" y="627532"/>
                  <a:pt x="5601014" y="627590"/>
                  <a:pt x="5599878" y="627402"/>
                </a:cubicBezTo>
                <a:cubicBezTo>
                  <a:pt x="5596529" y="626619"/>
                  <a:pt x="5595006" y="623451"/>
                  <a:pt x="5593758" y="620356"/>
                </a:cubicBezTo>
                <a:cubicBezTo>
                  <a:pt x="5597233" y="619562"/>
                  <a:pt x="5598172" y="617168"/>
                  <a:pt x="5604155" y="618082"/>
                </a:cubicBezTo>
                <a:close/>
                <a:moveTo>
                  <a:pt x="1857563" y="615965"/>
                </a:moveTo>
                <a:cubicBezTo>
                  <a:pt x="1858890" y="616551"/>
                  <a:pt x="1860349" y="617746"/>
                  <a:pt x="1861387" y="619404"/>
                </a:cubicBezTo>
                <a:cubicBezTo>
                  <a:pt x="1863019" y="619957"/>
                  <a:pt x="1863166" y="624941"/>
                  <a:pt x="1861246" y="625462"/>
                </a:cubicBezTo>
                <a:cubicBezTo>
                  <a:pt x="1860187" y="626098"/>
                  <a:pt x="1859271" y="626198"/>
                  <a:pt x="1858107" y="626115"/>
                </a:cubicBezTo>
                <a:cubicBezTo>
                  <a:pt x="1854948" y="625729"/>
                  <a:pt x="1851533" y="622975"/>
                  <a:pt x="1847175" y="620427"/>
                </a:cubicBezTo>
                <a:cubicBezTo>
                  <a:pt x="1849094" y="619906"/>
                  <a:pt x="1847778" y="618173"/>
                  <a:pt x="1846740" y="616515"/>
                </a:cubicBezTo>
                <a:cubicBezTo>
                  <a:pt x="1849633" y="615680"/>
                  <a:pt x="1853643" y="613995"/>
                  <a:pt x="1857563" y="615965"/>
                </a:cubicBezTo>
                <a:close/>
                <a:moveTo>
                  <a:pt x="3371188" y="615943"/>
                </a:moveTo>
                <a:cubicBezTo>
                  <a:pt x="3375142" y="614745"/>
                  <a:pt x="3380696" y="615602"/>
                  <a:pt x="3384944" y="618005"/>
                </a:cubicBezTo>
                <a:cubicBezTo>
                  <a:pt x="3387758" y="619679"/>
                  <a:pt x="3389817" y="621955"/>
                  <a:pt x="3390511" y="624901"/>
                </a:cubicBezTo>
                <a:cubicBezTo>
                  <a:pt x="3384801" y="627397"/>
                  <a:pt x="3379414" y="630898"/>
                  <a:pt x="3373269" y="629482"/>
                </a:cubicBezTo>
                <a:cubicBezTo>
                  <a:pt x="3371303" y="629070"/>
                  <a:pt x="3369232" y="627940"/>
                  <a:pt x="3367030" y="626200"/>
                </a:cubicBezTo>
                <a:cubicBezTo>
                  <a:pt x="3364880" y="620391"/>
                  <a:pt x="3367234" y="617140"/>
                  <a:pt x="3371188" y="615943"/>
                </a:cubicBezTo>
                <a:close/>
                <a:moveTo>
                  <a:pt x="4937774" y="615823"/>
                </a:moveTo>
                <a:cubicBezTo>
                  <a:pt x="4939902" y="616738"/>
                  <a:pt x="4941914" y="618083"/>
                  <a:pt x="4943535" y="619782"/>
                </a:cubicBezTo>
                <a:cubicBezTo>
                  <a:pt x="4945594" y="622058"/>
                  <a:pt x="4946841" y="625152"/>
                  <a:pt x="4946722" y="628916"/>
                </a:cubicBezTo>
                <a:cubicBezTo>
                  <a:pt x="4944684" y="633200"/>
                  <a:pt x="4933469" y="634105"/>
                  <a:pt x="4925692" y="632136"/>
                </a:cubicBezTo>
                <a:cubicBezTo>
                  <a:pt x="4922926" y="631395"/>
                  <a:pt x="4920798" y="630480"/>
                  <a:pt x="4919368" y="629176"/>
                </a:cubicBezTo>
                <a:cubicBezTo>
                  <a:pt x="4919095" y="625768"/>
                  <a:pt x="4918516" y="622394"/>
                  <a:pt x="4918214" y="619093"/>
                </a:cubicBezTo>
                <a:cubicBezTo>
                  <a:pt x="4922257" y="613966"/>
                  <a:pt x="4931087" y="613112"/>
                  <a:pt x="4937774" y="615823"/>
                </a:cubicBezTo>
                <a:close/>
                <a:moveTo>
                  <a:pt x="3646671" y="615224"/>
                </a:moveTo>
                <a:cubicBezTo>
                  <a:pt x="3654793" y="615905"/>
                  <a:pt x="3666216" y="625290"/>
                  <a:pt x="3659396" y="630822"/>
                </a:cubicBezTo>
                <a:cubicBezTo>
                  <a:pt x="3656923" y="631195"/>
                  <a:pt x="3654727" y="631642"/>
                  <a:pt x="3652122" y="631404"/>
                </a:cubicBezTo>
                <a:cubicBezTo>
                  <a:pt x="3649517" y="631166"/>
                  <a:pt x="3646473" y="630351"/>
                  <a:pt x="3642887" y="628240"/>
                </a:cubicBezTo>
                <a:cubicBezTo>
                  <a:pt x="3640382" y="623198"/>
                  <a:pt x="3641331" y="619657"/>
                  <a:pt x="3646671" y="615224"/>
                </a:cubicBezTo>
                <a:close/>
                <a:moveTo>
                  <a:pt x="4653861" y="615075"/>
                </a:moveTo>
                <a:cubicBezTo>
                  <a:pt x="4658005" y="614000"/>
                  <a:pt x="4661717" y="614535"/>
                  <a:pt x="4667125" y="617594"/>
                </a:cubicBezTo>
                <a:cubicBezTo>
                  <a:pt x="4667711" y="623156"/>
                  <a:pt x="4668142" y="621547"/>
                  <a:pt x="4665016" y="626574"/>
                </a:cubicBezTo>
                <a:cubicBezTo>
                  <a:pt x="4660731" y="624852"/>
                  <a:pt x="4656171" y="623054"/>
                  <a:pt x="4651612" y="621258"/>
                </a:cubicBezTo>
                <a:cubicBezTo>
                  <a:pt x="4653599" y="619375"/>
                  <a:pt x="4653153" y="616611"/>
                  <a:pt x="4653861" y="615075"/>
                </a:cubicBezTo>
                <a:close/>
                <a:moveTo>
                  <a:pt x="1513206" y="615007"/>
                </a:moveTo>
                <a:cubicBezTo>
                  <a:pt x="1511273" y="620008"/>
                  <a:pt x="1510601" y="623623"/>
                  <a:pt x="1508421" y="628444"/>
                </a:cubicBezTo>
                <a:cubicBezTo>
                  <a:pt x="1507187" y="629724"/>
                  <a:pt x="1501114" y="632467"/>
                  <a:pt x="1499321" y="631411"/>
                </a:cubicBezTo>
                <a:cubicBezTo>
                  <a:pt x="1497222" y="630389"/>
                  <a:pt x="1496958" y="629168"/>
                  <a:pt x="1496661" y="628053"/>
                </a:cubicBezTo>
                <a:cubicBezTo>
                  <a:pt x="1497628" y="625552"/>
                  <a:pt x="1498595" y="623051"/>
                  <a:pt x="1499838" y="620624"/>
                </a:cubicBezTo>
                <a:cubicBezTo>
                  <a:pt x="1503813" y="616860"/>
                  <a:pt x="1507540" y="612913"/>
                  <a:pt x="1513206" y="615007"/>
                </a:cubicBezTo>
                <a:close/>
                <a:moveTo>
                  <a:pt x="3400544" y="614020"/>
                </a:moveTo>
                <a:cubicBezTo>
                  <a:pt x="3403502" y="615157"/>
                  <a:pt x="3405790" y="616576"/>
                  <a:pt x="3407440" y="618167"/>
                </a:cubicBezTo>
                <a:lnTo>
                  <a:pt x="3407792" y="619066"/>
                </a:lnTo>
                <a:lnTo>
                  <a:pt x="3415587" y="622075"/>
                </a:lnTo>
                <a:cubicBezTo>
                  <a:pt x="3418152" y="623568"/>
                  <a:pt x="3420574" y="625597"/>
                  <a:pt x="3421965" y="628155"/>
                </a:cubicBezTo>
                <a:cubicBezTo>
                  <a:pt x="3418709" y="629237"/>
                  <a:pt x="3415931" y="629643"/>
                  <a:pt x="3413021" y="629438"/>
                </a:cubicBezTo>
                <a:lnTo>
                  <a:pt x="3409977" y="628622"/>
                </a:lnTo>
                <a:lnTo>
                  <a:pt x="3408956" y="636859"/>
                </a:lnTo>
                <a:lnTo>
                  <a:pt x="3404615" y="644205"/>
                </a:lnTo>
                <a:lnTo>
                  <a:pt x="3410045" y="644971"/>
                </a:lnTo>
                <a:cubicBezTo>
                  <a:pt x="3423826" y="654413"/>
                  <a:pt x="3419553" y="660398"/>
                  <a:pt x="3421595" y="661636"/>
                </a:cubicBezTo>
                <a:cubicBezTo>
                  <a:pt x="3417066" y="665253"/>
                  <a:pt x="3412985" y="662778"/>
                  <a:pt x="3405876" y="660530"/>
                </a:cubicBezTo>
                <a:cubicBezTo>
                  <a:pt x="3406630" y="659926"/>
                  <a:pt x="3405477" y="658697"/>
                  <a:pt x="3404019" y="657501"/>
                </a:cubicBezTo>
                <a:lnTo>
                  <a:pt x="3402035" y="656050"/>
                </a:lnTo>
                <a:lnTo>
                  <a:pt x="3397863" y="657233"/>
                </a:lnTo>
                <a:cubicBezTo>
                  <a:pt x="3396440" y="658115"/>
                  <a:pt x="3394902" y="659428"/>
                  <a:pt x="3393191" y="661385"/>
                </a:cubicBezTo>
                <a:cubicBezTo>
                  <a:pt x="3391494" y="658861"/>
                  <a:pt x="3390075" y="656410"/>
                  <a:pt x="3389514" y="654075"/>
                </a:cubicBezTo>
                <a:cubicBezTo>
                  <a:pt x="3388678" y="651666"/>
                  <a:pt x="3388728" y="649264"/>
                  <a:pt x="3389608" y="647084"/>
                </a:cubicBezTo>
                <a:lnTo>
                  <a:pt x="3399961" y="649400"/>
                </a:lnTo>
                <a:lnTo>
                  <a:pt x="3399792" y="646709"/>
                </a:lnTo>
                <a:cubicBezTo>
                  <a:pt x="3399775" y="645669"/>
                  <a:pt x="3400339" y="644669"/>
                  <a:pt x="3401457" y="643820"/>
                </a:cubicBezTo>
                <a:lnTo>
                  <a:pt x="3404309" y="644239"/>
                </a:lnTo>
                <a:lnTo>
                  <a:pt x="3397360" y="636971"/>
                </a:lnTo>
                <a:cubicBezTo>
                  <a:pt x="3396408" y="634991"/>
                  <a:pt x="3395732" y="633085"/>
                  <a:pt x="3395638" y="631221"/>
                </a:cubicBezTo>
                <a:cubicBezTo>
                  <a:pt x="3395222" y="628349"/>
                  <a:pt x="3395999" y="625451"/>
                  <a:pt x="3396775" y="622555"/>
                </a:cubicBezTo>
                <a:lnTo>
                  <a:pt x="3397224" y="621985"/>
                </a:lnTo>
                <a:lnTo>
                  <a:pt x="3392951" y="619115"/>
                </a:lnTo>
                <a:cubicBezTo>
                  <a:pt x="3394317" y="618446"/>
                  <a:pt x="3396207" y="618032"/>
                  <a:pt x="3398870" y="618056"/>
                </a:cubicBezTo>
                <a:lnTo>
                  <a:pt x="3398898" y="617949"/>
                </a:lnTo>
                <a:close/>
                <a:moveTo>
                  <a:pt x="1834364" y="614004"/>
                </a:moveTo>
                <a:cubicBezTo>
                  <a:pt x="1842636" y="616336"/>
                  <a:pt x="1844279" y="624595"/>
                  <a:pt x="1845734" y="629125"/>
                </a:cubicBezTo>
                <a:cubicBezTo>
                  <a:pt x="1839509" y="630217"/>
                  <a:pt x="1833285" y="631311"/>
                  <a:pt x="1828782" y="629299"/>
                </a:cubicBezTo>
                <a:cubicBezTo>
                  <a:pt x="1826762" y="625768"/>
                  <a:pt x="1826127" y="622608"/>
                  <a:pt x="1826845" y="619925"/>
                </a:cubicBezTo>
                <a:cubicBezTo>
                  <a:pt x="1827536" y="617349"/>
                  <a:pt x="1830163" y="615293"/>
                  <a:pt x="1834364" y="614004"/>
                </a:cubicBezTo>
                <a:close/>
                <a:moveTo>
                  <a:pt x="1456392" y="612319"/>
                </a:moveTo>
                <a:cubicBezTo>
                  <a:pt x="1461905" y="616095"/>
                  <a:pt x="1458887" y="618507"/>
                  <a:pt x="1455874" y="623104"/>
                </a:cubicBezTo>
                <a:cubicBezTo>
                  <a:pt x="1454111" y="621942"/>
                  <a:pt x="1449335" y="625378"/>
                  <a:pt x="1447825" y="626583"/>
                </a:cubicBezTo>
                <a:cubicBezTo>
                  <a:pt x="1445068" y="624694"/>
                  <a:pt x="1440810" y="626199"/>
                  <a:pt x="1436545" y="625516"/>
                </a:cubicBezTo>
                <a:cubicBezTo>
                  <a:pt x="1435132" y="625252"/>
                  <a:pt x="1433778" y="624774"/>
                  <a:pt x="1432261" y="623792"/>
                </a:cubicBezTo>
                <a:cubicBezTo>
                  <a:pt x="1432006" y="621424"/>
                  <a:pt x="1432017" y="620277"/>
                  <a:pt x="1433260" y="617850"/>
                </a:cubicBezTo>
                <a:cubicBezTo>
                  <a:pt x="1446097" y="609790"/>
                  <a:pt x="1454883" y="613524"/>
                  <a:pt x="1456392" y="612319"/>
                </a:cubicBezTo>
                <a:close/>
                <a:moveTo>
                  <a:pt x="3344122" y="610976"/>
                </a:moveTo>
                <a:cubicBezTo>
                  <a:pt x="3348958" y="612847"/>
                  <a:pt x="3352056" y="616783"/>
                  <a:pt x="3350198" y="622609"/>
                </a:cubicBezTo>
                <a:cubicBezTo>
                  <a:pt x="3345986" y="625046"/>
                  <a:pt x="3341100" y="625577"/>
                  <a:pt x="3336833" y="624893"/>
                </a:cubicBezTo>
                <a:cubicBezTo>
                  <a:pt x="3332320" y="624029"/>
                  <a:pt x="3328734" y="621918"/>
                  <a:pt x="3327430" y="619039"/>
                </a:cubicBezTo>
                <a:cubicBezTo>
                  <a:pt x="3326448" y="617166"/>
                  <a:pt x="3326470" y="614871"/>
                  <a:pt x="3328019" y="612411"/>
                </a:cubicBezTo>
                <a:cubicBezTo>
                  <a:pt x="3332956" y="609479"/>
                  <a:pt x="3339285" y="609106"/>
                  <a:pt x="3344122" y="610976"/>
                </a:cubicBezTo>
                <a:close/>
                <a:moveTo>
                  <a:pt x="4762947" y="610840"/>
                </a:moveTo>
                <a:cubicBezTo>
                  <a:pt x="4769229" y="609532"/>
                  <a:pt x="4774497" y="609794"/>
                  <a:pt x="4779230" y="610947"/>
                </a:cubicBezTo>
                <a:cubicBezTo>
                  <a:pt x="4792817" y="614472"/>
                  <a:pt x="4799989" y="627549"/>
                  <a:pt x="4806886" y="640552"/>
                </a:cubicBezTo>
                <a:cubicBezTo>
                  <a:pt x="4792414" y="642541"/>
                  <a:pt x="4782812" y="642958"/>
                  <a:pt x="4768036" y="644978"/>
                </a:cubicBezTo>
                <a:cubicBezTo>
                  <a:pt x="4757714" y="630368"/>
                  <a:pt x="4756278" y="618022"/>
                  <a:pt x="4762947" y="610840"/>
                </a:cubicBezTo>
                <a:close/>
                <a:moveTo>
                  <a:pt x="2768878" y="610597"/>
                </a:moveTo>
                <a:cubicBezTo>
                  <a:pt x="2767149" y="611514"/>
                  <a:pt x="2767149" y="611514"/>
                  <a:pt x="2767110" y="612769"/>
                </a:cubicBezTo>
                <a:cubicBezTo>
                  <a:pt x="2767110" y="612769"/>
                  <a:pt x="2765766" y="611144"/>
                  <a:pt x="2765766" y="611144"/>
                </a:cubicBezTo>
                <a:cubicBezTo>
                  <a:pt x="2767217" y="610153"/>
                  <a:pt x="2765805" y="609890"/>
                  <a:pt x="2768878" y="610597"/>
                </a:cubicBezTo>
                <a:close/>
                <a:moveTo>
                  <a:pt x="2674866" y="610593"/>
                </a:moveTo>
                <a:cubicBezTo>
                  <a:pt x="2684957" y="617207"/>
                  <a:pt x="2689952" y="622916"/>
                  <a:pt x="2681975" y="630552"/>
                </a:cubicBezTo>
                <a:cubicBezTo>
                  <a:pt x="2680199" y="630537"/>
                  <a:pt x="2678786" y="630273"/>
                  <a:pt x="2677432" y="629795"/>
                </a:cubicBezTo>
                <a:cubicBezTo>
                  <a:pt x="2673368" y="628361"/>
                  <a:pt x="2670928" y="625293"/>
                  <a:pt x="2670043" y="621951"/>
                </a:cubicBezTo>
                <a:cubicBezTo>
                  <a:pt x="2668837" y="617602"/>
                  <a:pt x="2670464" y="612633"/>
                  <a:pt x="2674866" y="610593"/>
                </a:cubicBezTo>
                <a:close/>
                <a:moveTo>
                  <a:pt x="2788797" y="610414"/>
                </a:moveTo>
                <a:cubicBezTo>
                  <a:pt x="2808296" y="619549"/>
                  <a:pt x="2815842" y="613521"/>
                  <a:pt x="2826533" y="612362"/>
                </a:cubicBezTo>
                <a:cubicBezTo>
                  <a:pt x="2836591" y="622416"/>
                  <a:pt x="2856169" y="629042"/>
                  <a:pt x="2870647" y="638097"/>
                </a:cubicBezTo>
                <a:cubicBezTo>
                  <a:pt x="2872681" y="646002"/>
                  <a:pt x="2876080" y="653238"/>
                  <a:pt x="2879480" y="660474"/>
                </a:cubicBezTo>
                <a:lnTo>
                  <a:pt x="2880375" y="662668"/>
                </a:lnTo>
                <a:lnTo>
                  <a:pt x="2883641" y="660439"/>
                </a:lnTo>
                <a:cubicBezTo>
                  <a:pt x="2885837" y="659991"/>
                  <a:pt x="2889635" y="660205"/>
                  <a:pt x="2893567" y="661028"/>
                </a:cubicBezTo>
                <a:cubicBezTo>
                  <a:pt x="2897775" y="661925"/>
                  <a:pt x="2901562" y="663286"/>
                  <a:pt x="2903707" y="665240"/>
                </a:cubicBezTo>
                <a:cubicBezTo>
                  <a:pt x="2901500" y="666835"/>
                  <a:pt x="2899295" y="668428"/>
                  <a:pt x="2897059" y="670130"/>
                </a:cubicBezTo>
                <a:cubicBezTo>
                  <a:pt x="2897376" y="668949"/>
                  <a:pt x="2881899" y="665837"/>
                  <a:pt x="2881899" y="665837"/>
                </a:cubicBezTo>
                <a:lnTo>
                  <a:pt x="2880784" y="663353"/>
                </a:lnTo>
                <a:lnTo>
                  <a:pt x="2888560" y="683032"/>
                </a:lnTo>
                <a:cubicBezTo>
                  <a:pt x="2872756" y="691102"/>
                  <a:pt x="2872184" y="716480"/>
                  <a:pt x="2847492" y="716764"/>
                </a:cubicBezTo>
                <a:lnTo>
                  <a:pt x="2842103" y="714744"/>
                </a:lnTo>
                <a:lnTo>
                  <a:pt x="2841681" y="715207"/>
                </a:lnTo>
                <a:cubicBezTo>
                  <a:pt x="2839820" y="715513"/>
                  <a:pt x="2837768" y="715423"/>
                  <a:pt x="2835889" y="714689"/>
                </a:cubicBezTo>
                <a:lnTo>
                  <a:pt x="2833190" y="712587"/>
                </a:lnTo>
                <a:lnTo>
                  <a:pt x="2823437" y="711352"/>
                </a:lnTo>
                <a:lnTo>
                  <a:pt x="2821558" y="710620"/>
                </a:lnTo>
                <a:lnTo>
                  <a:pt x="2818342" y="710448"/>
                </a:lnTo>
                <a:lnTo>
                  <a:pt x="2817993" y="715069"/>
                </a:lnTo>
                <a:cubicBezTo>
                  <a:pt x="2816483" y="716275"/>
                  <a:pt x="2814565" y="716796"/>
                  <a:pt x="2812541" y="716599"/>
                </a:cubicBezTo>
                <a:cubicBezTo>
                  <a:pt x="2810241" y="716328"/>
                  <a:pt x="2808057" y="715627"/>
                  <a:pt x="2806235" y="714679"/>
                </a:cubicBezTo>
                <a:cubicBezTo>
                  <a:pt x="2804298" y="714159"/>
                  <a:pt x="2803145" y="712930"/>
                  <a:pt x="2802601" y="711635"/>
                </a:cubicBezTo>
                <a:cubicBezTo>
                  <a:pt x="2802059" y="710340"/>
                  <a:pt x="2802156" y="708871"/>
                  <a:pt x="2802501" y="707583"/>
                </a:cubicBezTo>
                <a:lnTo>
                  <a:pt x="2802835" y="707443"/>
                </a:lnTo>
                <a:lnTo>
                  <a:pt x="2787538" y="697019"/>
                </a:lnTo>
                <a:cubicBezTo>
                  <a:pt x="2768895" y="682478"/>
                  <a:pt x="2752842" y="663802"/>
                  <a:pt x="2753845" y="645670"/>
                </a:cubicBezTo>
                <a:lnTo>
                  <a:pt x="2756958" y="636269"/>
                </a:lnTo>
                <a:lnTo>
                  <a:pt x="2751909" y="636297"/>
                </a:lnTo>
                <a:cubicBezTo>
                  <a:pt x="2739295" y="632456"/>
                  <a:pt x="2724527" y="618954"/>
                  <a:pt x="2756052" y="617511"/>
                </a:cubicBezTo>
                <a:lnTo>
                  <a:pt x="2760692" y="625655"/>
                </a:lnTo>
                <a:lnTo>
                  <a:pt x="2761914" y="625521"/>
                </a:lnTo>
                <a:lnTo>
                  <a:pt x="2762230" y="624342"/>
                </a:lnTo>
                <a:cubicBezTo>
                  <a:pt x="2760217" y="622997"/>
                  <a:pt x="2760494" y="623072"/>
                  <a:pt x="2761993" y="623012"/>
                </a:cubicBezTo>
                <a:lnTo>
                  <a:pt x="2762776" y="622303"/>
                </a:lnTo>
                <a:lnTo>
                  <a:pt x="2763639" y="619083"/>
                </a:lnTo>
                <a:cubicBezTo>
                  <a:pt x="2764415" y="616187"/>
                  <a:pt x="2765658" y="613760"/>
                  <a:pt x="2766833" y="612695"/>
                </a:cubicBezTo>
                <a:lnTo>
                  <a:pt x="2765432" y="620139"/>
                </a:lnTo>
                <a:lnTo>
                  <a:pt x="2767516" y="616788"/>
                </a:lnTo>
                <a:cubicBezTo>
                  <a:pt x="2768281" y="615037"/>
                  <a:pt x="2768436" y="613354"/>
                  <a:pt x="2767415" y="612736"/>
                </a:cubicBezTo>
                <a:cubicBezTo>
                  <a:pt x="2769191" y="612752"/>
                  <a:pt x="2770699" y="611546"/>
                  <a:pt x="2770699" y="611546"/>
                </a:cubicBezTo>
                <a:cubicBezTo>
                  <a:pt x="2772712" y="612890"/>
                  <a:pt x="2772730" y="613930"/>
                  <a:pt x="2772996" y="615151"/>
                </a:cubicBezTo>
                <a:cubicBezTo>
                  <a:pt x="2771487" y="616357"/>
                  <a:pt x="2769740" y="616234"/>
                  <a:pt x="2768231" y="617440"/>
                </a:cubicBezTo>
                <a:cubicBezTo>
                  <a:pt x="2768221" y="618586"/>
                  <a:pt x="2768475" y="620955"/>
                  <a:pt x="2766994" y="622053"/>
                </a:cubicBezTo>
                <a:lnTo>
                  <a:pt x="2764655" y="623036"/>
                </a:lnTo>
                <a:lnTo>
                  <a:pt x="2762387" y="628178"/>
                </a:lnTo>
                <a:lnTo>
                  <a:pt x="2762798" y="628864"/>
                </a:lnTo>
                <a:lnTo>
                  <a:pt x="2766380" y="625454"/>
                </a:lnTo>
                <a:cubicBezTo>
                  <a:pt x="2773276" y="620746"/>
                  <a:pt x="2781718" y="616913"/>
                  <a:pt x="2788797" y="610414"/>
                </a:cubicBezTo>
                <a:close/>
                <a:moveTo>
                  <a:pt x="4478244" y="608614"/>
                </a:moveTo>
                <a:cubicBezTo>
                  <a:pt x="4479523" y="608268"/>
                  <a:pt x="4480688" y="608349"/>
                  <a:pt x="4482013" y="608935"/>
                </a:cubicBezTo>
                <a:cubicBezTo>
                  <a:pt x="4483778" y="610097"/>
                  <a:pt x="4482297" y="611195"/>
                  <a:pt x="4482287" y="612343"/>
                </a:cubicBezTo>
                <a:cubicBezTo>
                  <a:pt x="4481072" y="614662"/>
                  <a:pt x="4469835" y="617861"/>
                  <a:pt x="4468099" y="616591"/>
                </a:cubicBezTo>
                <a:cubicBezTo>
                  <a:pt x="4470259" y="614065"/>
                  <a:pt x="4474129" y="609581"/>
                  <a:pt x="4478244" y="608614"/>
                </a:cubicBezTo>
                <a:close/>
                <a:moveTo>
                  <a:pt x="2453062" y="607166"/>
                </a:moveTo>
                <a:cubicBezTo>
                  <a:pt x="2460248" y="615761"/>
                  <a:pt x="2461251" y="624196"/>
                  <a:pt x="2458103" y="631517"/>
                </a:cubicBezTo>
                <a:cubicBezTo>
                  <a:pt x="2453078" y="643626"/>
                  <a:pt x="2436271" y="652118"/>
                  <a:pt x="2415637" y="651650"/>
                </a:cubicBezTo>
                <a:cubicBezTo>
                  <a:pt x="2414598" y="649990"/>
                  <a:pt x="2413560" y="648332"/>
                  <a:pt x="2411336" y="648886"/>
                </a:cubicBezTo>
                <a:cubicBezTo>
                  <a:pt x="2409611" y="646469"/>
                  <a:pt x="2408525" y="643878"/>
                  <a:pt x="2407773" y="641147"/>
                </a:cubicBezTo>
                <a:cubicBezTo>
                  <a:pt x="2403232" y="622680"/>
                  <a:pt x="2426361" y="602772"/>
                  <a:pt x="2453062" y="607166"/>
                </a:cubicBezTo>
                <a:close/>
                <a:moveTo>
                  <a:pt x="1187612" y="607115"/>
                </a:moveTo>
                <a:cubicBezTo>
                  <a:pt x="1192132" y="610166"/>
                  <a:pt x="1187932" y="620310"/>
                  <a:pt x="1184758" y="624405"/>
                </a:cubicBezTo>
                <a:cubicBezTo>
                  <a:pt x="1183460" y="623713"/>
                  <a:pt x="1182918" y="622417"/>
                  <a:pt x="1182710" y="620981"/>
                </a:cubicBezTo>
                <a:cubicBezTo>
                  <a:pt x="1182085" y="616674"/>
                  <a:pt x="1185002" y="610211"/>
                  <a:pt x="1187612" y="607115"/>
                </a:cubicBezTo>
                <a:close/>
                <a:moveTo>
                  <a:pt x="1479439" y="607108"/>
                </a:moveTo>
                <a:cubicBezTo>
                  <a:pt x="1479428" y="608255"/>
                  <a:pt x="1481191" y="609418"/>
                  <a:pt x="1481459" y="610640"/>
                </a:cubicBezTo>
                <a:cubicBezTo>
                  <a:pt x="1479671" y="611771"/>
                  <a:pt x="1477591" y="611788"/>
                  <a:pt x="1475959" y="611236"/>
                </a:cubicBezTo>
                <a:cubicBezTo>
                  <a:pt x="1474299" y="610791"/>
                  <a:pt x="1472783" y="609809"/>
                  <a:pt x="1472650" y="609199"/>
                </a:cubicBezTo>
                <a:cubicBezTo>
                  <a:pt x="1474437" y="608068"/>
                  <a:pt x="1477680" y="608133"/>
                  <a:pt x="1479439" y="607108"/>
                </a:cubicBezTo>
                <a:close/>
                <a:moveTo>
                  <a:pt x="1043646" y="606489"/>
                </a:moveTo>
                <a:cubicBezTo>
                  <a:pt x="1059645" y="604337"/>
                  <a:pt x="1090650" y="625869"/>
                  <a:pt x="1081285" y="636471"/>
                </a:cubicBezTo>
                <a:lnTo>
                  <a:pt x="1074400" y="631175"/>
                </a:lnTo>
                <a:lnTo>
                  <a:pt x="1072603" y="633454"/>
                </a:lnTo>
                <a:cubicBezTo>
                  <a:pt x="1069739" y="634181"/>
                  <a:pt x="1065624" y="635149"/>
                  <a:pt x="1062084" y="633971"/>
                </a:cubicBezTo>
                <a:cubicBezTo>
                  <a:pt x="1060729" y="633493"/>
                  <a:pt x="1059709" y="632874"/>
                  <a:pt x="1058803" y="631826"/>
                </a:cubicBezTo>
                <a:cubicBezTo>
                  <a:pt x="1059090" y="630753"/>
                  <a:pt x="1057488" y="630094"/>
                  <a:pt x="1058052" y="629095"/>
                </a:cubicBezTo>
                <a:cubicBezTo>
                  <a:pt x="1058052" y="629095"/>
                  <a:pt x="1057539" y="627693"/>
                  <a:pt x="1057999" y="625976"/>
                </a:cubicBezTo>
                <a:lnTo>
                  <a:pt x="1061610" y="622458"/>
                </a:lnTo>
                <a:lnTo>
                  <a:pt x="1052132" y="615778"/>
                </a:lnTo>
                <a:cubicBezTo>
                  <a:pt x="1049270" y="613172"/>
                  <a:pt x="1046219" y="610170"/>
                  <a:pt x="1043646" y="606489"/>
                </a:cubicBezTo>
                <a:close/>
                <a:moveTo>
                  <a:pt x="1124633" y="606124"/>
                </a:moveTo>
                <a:cubicBezTo>
                  <a:pt x="1127772" y="606031"/>
                  <a:pt x="1130828" y="607080"/>
                  <a:pt x="1133199" y="608749"/>
                </a:cubicBezTo>
                <a:cubicBezTo>
                  <a:pt x="1137661" y="612016"/>
                  <a:pt x="1139631" y="617949"/>
                  <a:pt x="1133679" y="622450"/>
                </a:cubicBezTo>
                <a:cubicBezTo>
                  <a:pt x="1126607" y="622279"/>
                  <a:pt x="1121465" y="620441"/>
                  <a:pt x="1117839" y="619584"/>
                </a:cubicBezTo>
                <a:cubicBezTo>
                  <a:pt x="1117537" y="616284"/>
                  <a:pt x="1115869" y="613651"/>
                  <a:pt x="1115567" y="610350"/>
                </a:cubicBezTo>
                <a:cubicBezTo>
                  <a:pt x="1118271" y="607453"/>
                  <a:pt x="1121494" y="606218"/>
                  <a:pt x="1124633" y="606124"/>
                </a:cubicBezTo>
                <a:close/>
                <a:moveTo>
                  <a:pt x="2767664" y="604062"/>
                </a:moveTo>
                <a:cubicBezTo>
                  <a:pt x="2767664" y="604062"/>
                  <a:pt x="2769047" y="604433"/>
                  <a:pt x="2769047" y="604433"/>
                </a:cubicBezTo>
                <a:cubicBezTo>
                  <a:pt x="2768979" y="605794"/>
                  <a:pt x="2768939" y="607049"/>
                  <a:pt x="2767527" y="606786"/>
                </a:cubicBezTo>
                <a:cubicBezTo>
                  <a:pt x="2766143" y="606415"/>
                  <a:pt x="2766212" y="605052"/>
                  <a:pt x="2767664" y="604062"/>
                </a:cubicBezTo>
                <a:close/>
                <a:moveTo>
                  <a:pt x="3339500" y="603873"/>
                </a:moveTo>
                <a:cubicBezTo>
                  <a:pt x="3339483" y="602833"/>
                  <a:pt x="3340981" y="602775"/>
                  <a:pt x="3341276" y="603889"/>
                </a:cubicBezTo>
                <a:cubicBezTo>
                  <a:pt x="3344787" y="605175"/>
                  <a:pt x="3341548" y="607297"/>
                  <a:pt x="3340068" y="608395"/>
                </a:cubicBezTo>
                <a:cubicBezTo>
                  <a:pt x="3339917" y="606745"/>
                  <a:pt x="3339346" y="605556"/>
                  <a:pt x="3339213" y="604946"/>
                </a:cubicBezTo>
                <a:cubicBezTo>
                  <a:pt x="3338832" y="604154"/>
                  <a:pt x="3338612" y="603865"/>
                  <a:pt x="3339500" y="603873"/>
                </a:cubicBezTo>
                <a:close/>
                <a:moveTo>
                  <a:pt x="3595355" y="603083"/>
                </a:moveTo>
                <a:lnTo>
                  <a:pt x="3596249" y="605278"/>
                </a:lnTo>
                <a:cubicBezTo>
                  <a:pt x="3596843" y="604172"/>
                  <a:pt x="3597881" y="605830"/>
                  <a:pt x="3597881" y="605830"/>
                </a:cubicBezTo>
                <a:cubicBezTo>
                  <a:pt x="3597881" y="605830"/>
                  <a:pt x="3597881" y="605830"/>
                  <a:pt x="3601996" y="604863"/>
                </a:cubicBezTo>
                <a:lnTo>
                  <a:pt x="3606100" y="605043"/>
                </a:lnTo>
                <a:close/>
                <a:moveTo>
                  <a:pt x="1197638" y="602901"/>
                </a:moveTo>
                <a:cubicBezTo>
                  <a:pt x="1197034" y="605154"/>
                  <a:pt x="1202880" y="608791"/>
                  <a:pt x="1198794" y="609651"/>
                </a:cubicBezTo>
                <a:cubicBezTo>
                  <a:pt x="1197480" y="607918"/>
                  <a:pt x="1196759" y="605080"/>
                  <a:pt x="1195719" y="603422"/>
                </a:cubicBezTo>
                <a:cubicBezTo>
                  <a:pt x="1195719" y="603422"/>
                  <a:pt x="1195719" y="603422"/>
                  <a:pt x="1197638" y="602901"/>
                </a:cubicBezTo>
                <a:close/>
                <a:moveTo>
                  <a:pt x="2265836" y="601965"/>
                </a:moveTo>
                <a:cubicBezTo>
                  <a:pt x="2272435" y="599478"/>
                  <a:pt x="2278245" y="601035"/>
                  <a:pt x="2283614" y="605348"/>
                </a:cubicBezTo>
                <a:cubicBezTo>
                  <a:pt x="2284285" y="610588"/>
                  <a:pt x="2278298" y="613009"/>
                  <a:pt x="2272430" y="611666"/>
                </a:cubicBezTo>
                <a:cubicBezTo>
                  <a:pt x="2270464" y="611255"/>
                  <a:pt x="2268614" y="610414"/>
                  <a:pt x="2267184" y="609111"/>
                </a:cubicBezTo>
                <a:cubicBezTo>
                  <a:pt x="2266785" y="607279"/>
                  <a:pt x="2265146" y="604540"/>
                  <a:pt x="2265836" y="601965"/>
                </a:cubicBezTo>
                <a:close/>
                <a:moveTo>
                  <a:pt x="3405625" y="601696"/>
                </a:moveTo>
                <a:cubicBezTo>
                  <a:pt x="3413712" y="600298"/>
                  <a:pt x="3418242" y="602201"/>
                  <a:pt x="3421865" y="606392"/>
                </a:cubicBezTo>
                <a:cubicBezTo>
                  <a:pt x="3419999" y="610033"/>
                  <a:pt x="3415885" y="611000"/>
                  <a:pt x="3412011" y="609962"/>
                </a:cubicBezTo>
                <a:cubicBezTo>
                  <a:pt x="3408414" y="608998"/>
                  <a:pt x="3405335" y="606103"/>
                  <a:pt x="3405625" y="601696"/>
                </a:cubicBezTo>
                <a:close/>
                <a:moveTo>
                  <a:pt x="2123120" y="600827"/>
                </a:moveTo>
                <a:cubicBezTo>
                  <a:pt x="2125060" y="599952"/>
                  <a:pt x="2127584" y="599938"/>
                  <a:pt x="2130747" y="601418"/>
                </a:cubicBezTo>
                <a:cubicBezTo>
                  <a:pt x="2132874" y="602333"/>
                  <a:pt x="2134697" y="603281"/>
                  <a:pt x="2133169" y="603447"/>
                </a:cubicBezTo>
                <a:cubicBezTo>
                  <a:pt x="2133740" y="604635"/>
                  <a:pt x="2132184" y="604909"/>
                  <a:pt x="2130951" y="606188"/>
                </a:cubicBezTo>
                <a:cubicBezTo>
                  <a:pt x="2128440" y="607815"/>
                  <a:pt x="2123524" y="608453"/>
                  <a:pt x="2121425" y="607430"/>
                </a:cubicBezTo>
                <a:cubicBezTo>
                  <a:pt x="2119574" y="606590"/>
                  <a:pt x="2119004" y="605401"/>
                  <a:pt x="2119004" y="605401"/>
                </a:cubicBezTo>
                <a:cubicBezTo>
                  <a:pt x="2119826" y="603437"/>
                  <a:pt x="2121180" y="601702"/>
                  <a:pt x="2123120" y="600827"/>
                </a:cubicBezTo>
                <a:close/>
                <a:moveTo>
                  <a:pt x="2372647" y="600555"/>
                </a:moveTo>
                <a:cubicBezTo>
                  <a:pt x="2378659" y="600944"/>
                  <a:pt x="2387281" y="603628"/>
                  <a:pt x="2393001" y="604414"/>
                </a:cubicBezTo>
                <a:cubicBezTo>
                  <a:pt x="2395973" y="609925"/>
                  <a:pt x="2396372" y="611756"/>
                  <a:pt x="2394773" y="616618"/>
                </a:cubicBezTo>
                <a:cubicBezTo>
                  <a:pt x="2389856" y="617256"/>
                  <a:pt x="2385286" y="616606"/>
                  <a:pt x="2380859" y="615420"/>
                </a:cubicBezTo>
                <a:cubicBezTo>
                  <a:pt x="2376460" y="614126"/>
                  <a:pt x="2372206" y="612296"/>
                  <a:pt x="2367951" y="610466"/>
                </a:cubicBezTo>
                <a:cubicBezTo>
                  <a:pt x="2363231" y="602072"/>
                  <a:pt x="2366633" y="600165"/>
                  <a:pt x="2372647" y="600555"/>
                </a:cubicBezTo>
                <a:close/>
                <a:moveTo>
                  <a:pt x="3433267" y="600362"/>
                </a:moveTo>
                <a:cubicBezTo>
                  <a:pt x="3433267" y="600362"/>
                  <a:pt x="3433591" y="601369"/>
                  <a:pt x="3433591" y="601369"/>
                </a:cubicBezTo>
                <a:cubicBezTo>
                  <a:pt x="3432675" y="601468"/>
                  <a:pt x="3431787" y="601461"/>
                  <a:pt x="3430928" y="601345"/>
                </a:cubicBezTo>
                <a:cubicBezTo>
                  <a:pt x="3430346" y="601305"/>
                  <a:pt x="3429821" y="601048"/>
                  <a:pt x="3429660" y="600546"/>
                </a:cubicBezTo>
                <a:cubicBezTo>
                  <a:pt x="3429365" y="599431"/>
                  <a:pt x="3431169" y="599340"/>
                  <a:pt x="3433267" y="600362"/>
                </a:cubicBezTo>
                <a:close/>
                <a:moveTo>
                  <a:pt x="3422731" y="599839"/>
                </a:moveTo>
                <a:cubicBezTo>
                  <a:pt x="3424858" y="600754"/>
                  <a:pt x="3424563" y="599641"/>
                  <a:pt x="3425153" y="601868"/>
                </a:cubicBezTo>
                <a:cubicBezTo>
                  <a:pt x="3423055" y="600846"/>
                  <a:pt x="3423055" y="600846"/>
                  <a:pt x="3421251" y="600938"/>
                </a:cubicBezTo>
                <a:cubicBezTo>
                  <a:pt x="3421251" y="600938"/>
                  <a:pt x="3422731" y="599839"/>
                  <a:pt x="3422731" y="599839"/>
                </a:cubicBezTo>
                <a:close/>
                <a:moveTo>
                  <a:pt x="4549292" y="599131"/>
                </a:moveTo>
                <a:cubicBezTo>
                  <a:pt x="4551402" y="599007"/>
                  <a:pt x="4553454" y="599096"/>
                  <a:pt x="4555638" y="599797"/>
                </a:cubicBezTo>
                <a:cubicBezTo>
                  <a:pt x="4555638" y="599797"/>
                  <a:pt x="4555944" y="599763"/>
                  <a:pt x="4554169" y="599748"/>
                </a:cubicBezTo>
                <a:cubicBezTo>
                  <a:pt x="4554169" y="599748"/>
                  <a:pt x="4555667" y="599689"/>
                  <a:pt x="4555933" y="600910"/>
                </a:cubicBezTo>
                <a:cubicBezTo>
                  <a:pt x="4547664" y="604101"/>
                  <a:pt x="4534084" y="602761"/>
                  <a:pt x="4532309" y="602745"/>
                </a:cubicBezTo>
                <a:cubicBezTo>
                  <a:pt x="4532043" y="601525"/>
                  <a:pt x="4532349" y="601491"/>
                  <a:pt x="4532349" y="601491"/>
                </a:cubicBezTo>
                <a:cubicBezTo>
                  <a:pt x="4537416" y="602504"/>
                  <a:pt x="4543241" y="599580"/>
                  <a:pt x="4549292" y="599131"/>
                </a:cubicBezTo>
                <a:close/>
                <a:moveTo>
                  <a:pt x="3393889" y="599011"/>
                </a:moveTo>
                <a:cubicBezTo>
                  <a:pt x="3397220" y="598754"/>
                  <a:pt x="3415612" y="598737"/>
                  <a:pt x="3421002" y="600756"/>
                </a:cubicBezTo>
                <a:cubicBezTo>
                  <a:pt x="3412576" y="600108"/>
                  <a:pt x="3401407" y="601945"/>
                  <a:pt x="3393889" y="599011"/>
                </a:cubicBezTo>
                <a:close/>
                <a:moveTo>
                  <a:pt x="4521776" y="598889"/>
                </a:moveTo>
                <a:cubicBezTo>
                  <a:pt x="4521776" y="598889"/>
                  <a:pt x="4521776" y="598889"/>
                  <a:pt x="4523541" y="600051"/>
                </a:cubicBezTo>
                <a:cubicBezTo>
                  <a:pt x="4520878" y="600028"/>
                  <a:pt x="4519577" y="602669"/>
                  <a:pt x="4517687" y="603082"/>
                </a:cubicBezTo>
                <a:cubicBezTo>
                  <a:pt x="4517077" y="603149"/>
                  <a:pt x="4516217" y="603034"/>
                  <a:pt x="4515196" y="602415"/>
                </a:cubicBezTo>
                <a:cubicBezTo>
                  <a:pt x="4516706" y="601210"/>
                  <a:pt x="4520267" y="600094"/>
                  <a:pt x="4521776" y="598889"/>
                </a:cubicBezTo>
                <a:close/>
                <a:moveTo>
                  <a:pt x="3584470" y="598327"/>
                </a:moveTo>
                <a:lnTo>
                  <a:pt x="3590033" y="599702"/>
                </a:lnTo>
                <a:lnTo>
                  <a:pt x="3589653" y="598910"/>
                </a:lnTo>
                <a:cubicBezTo>
                  <a:pt x="3591283" y="599462"/>
                  <a:pt x="3592886" y="600121"/>
                  <a:pt x="3593174" y="599049"/>
                </a:cubicBezTo>
                <a:lnTo>
                  <a:pt x="3594242" y="600600"/>
                </a:lnTo>
                <a:lnTo>
                  <a:pt x="3601666" y="601668"/>
                </a:lnTo>
                <a:cubicBezTo>
                  <a:pt x="3603603" y="602188"/>
                  <a:pt x="3605758" y="602996"/>
                  <a:pt x="3607523" y="604158"/>
                </a:cubicBezTo>
                <a:cubicBezTo>
                  <a:pt x="3607523" y="604158"/>
                  <a:pt x="3607523" y="604158"/>
                  <a:pt x="3605892" y="603606"/>
                </a:cubicBezTo>
                <a:lnTo>
                  <a:pt x="3607265" y="605124"/>
                </a:lnTo>
                <a:lnTo>
                  <a:pt x="3607541" y="605198"/>
                </a:lnTo>
                <a:cubicBezTo>
                  <a:pt x="3610642" y="605799"/>
                  <a:pt x="3614430" y="607159"/>
                  <a:pt x="3617556" y="610987"/>
                </a:cubicBezTo>
                <a:cubicBezTo>
                  <a:pt x="3615638" y="611508"/>
                  <a:pt x="3622670" y="621787"/>
                  <a:pt x="3617674" y="624933"/>
                </a:cubicBezTo>
                <a:cubicBezTo>
                  <a:pt x="3615440" y="626635"/>
                  <a:pt x="3613243" y="627082"/>
                  <a:pt x="3611037" y="628676"/>
                </a:cubicBezTo>
                <a:cubicBezTo>
                  <a:pt x="3608604" y="627793"/>
                  <a:pt x="3605970" y="627662"/>
                  <a:pt x="3602926" y="626848"/>
                </a:cubicBezTo>
                <a:cubicBezTo>
                  <a:pt x="3599912" y="625924"/>
                  <a:pt x="3596487" y="624317"/>
                  <a:pt x="3592530" y="620267"/>
                </a:cubicBezTo>
                <a:cubicBezTo>
                  <a:pt x="3585211" y="611061"/>
                  <a:pt x="3595369" y="607457"/>
                  <a:pt x="3594044" y="606872"/>
                </a:cubicBezTo>
                <a:cubicBezTo>
                  <a:pt x="3592728" y="605139"/>
                  <a:pt x="3592728" y="605139"/>
                  <a:pt x="3591125" y="604480"/>
                </a:cubicBezTo>
                <a:lnTo>
                  <a:pt x="3590375" y="601749"/>
                </a:lnTo>
                <a:lnTo>
                  <a:pt x="3584183" y="599399"/>
                </a:lnTo>
                <a:cubicBezTo>
                  <a:pt x="3584470" y="598327"/>
                  <a:pt x="3584470" y="598327"/>
                  <a:pt x="3584470" y="598327"/>
                </a:cubicBezTo>
                <a:close/>
                <a:moveTo>
                  <a:pt x="2773072" y="598267"/>
                </a:moveTo>
                <a:cubicBezTo>
                  <a:pt x="2771293" y="601584"/>
                  <a:pt x="2771293" y="601584"/>
                  <a:pt x="2767894" y="603203"/>
                </a:cubicBezTo>
                <a:cubicBezTo>
                  <a:pt x="2767904" y="602056"/>
                  <a:pt x="2766294" y="599209"/>
                  <a:pt x="2767994" y="598401"/>
                </a:cubicBezTo>
                <a:cubicBezTo>
                  <a:pt x="2769694" y="597591"/>
                  <a:pt x="2769694" y="597591"/>
                  <a:pt x="2773072" y="598267"/>
                </a:cubicBezTo>
                <a:close/>
                <a:moveTo>
                  <a:pt x="2295638" y="598105"/>
                </a:moveTo>
                <a:cubicBezTo>
                  <a:pt x="2300999" y="600232"/>
                  <a:pt x="2303906" y="603771"/>
                  <a:pt x="2301430" y="607478"/>
                </a:cubicBezTo>
                <a:cubicBezTo>
                  <a:pt x="2298670" y="608922"/>
                  <a:pt x="2294826" y="607777"/>
                  <a:pt x="2291228" y="606814"/>
                </a:cubicBezTo>
                <a:cubicBezTo>
                  <a:pt x="2288547" y="605750"/>
                  <a:pt x="2287337" y="604735"/>
                  <a:pt x="2287099" y="603408"/>
                </a:cubicBezTo>
                <a:cubicBezTo>
                  <a:pt x="2287111" y="602260"/>
                  <a:pt x="2288037" y="601013"/>
                  <a:pt x="2289270" y="599733"/>
                </a:cubicBezTo>
                <a:cubicBezTo>
                  <a:pt x="2292040" y="597141"/>
                  <a:pt x="2295638" y="598105"/>
                  <a:pt x="2295638" y="598105"/>
                </a:cubicBezTo>
                <a:close/>
                <a:moveTo>
                  <a:pt x="3773189" y="597948"/>
                </a:moveTo>
                <a:cubicBezTo>
                  <a:pt x="3777064" y="598986"/>
                  <a:pt x="3776392" y="602602"/>
                  <a:pt x="3776952" y="604936"/>
                </a:cubicBezTo>
                <a:lnTo>
                  <a:pt x="3777541" y="607165"/>
                </a:lnTo>
                <a:lnTo>
                  <a:pt x="3787834" y="604172"/>
                </a:lnTo>
                <a:cubicBezTo>
                  <a:pt x="3815126" y="598605"/>
                  <a:pt x="3844044" y="600258"/>
                  <a:pt x="3874726" y="611929"/>
                </a:cubicBezTo>
                <a:cubicBezTo>
                  <a:pt x="3873259" y="617402"/>
                  <a:pt x="3871764" y="622981"/>
                  <a:pt x="3860973" y="628945"/>
                </a:cubicBezTo>
                <a:cubicBezTo>
                  <a:pt x="3814405" y="613477"/>
                  <a:pt x="3773559" y="644163"/>
                  <a:pt x="3726990" y="628695"/>
                </a:cubicBezTo>
                <a:lnTo>
                  <a:pt x="3735212" y="624572"/>
                </a:lnTo>
                <a:lnTo>
                  <a:pt x="3727374" y="626153"/>
                </a:lnTo>
                <a:lnTo>
                  <a:pt x="3723853" y="626014"/>
                </a:lnTo>
                <a:lnTo>
                  <a:pt x="3723156" y="626402"/>
                </a:lnTo>
                <a:cubicBezTo>
                  <a:pt x="3720235" y="627344"/>
                  <a:pt x="3717561" y="628468"/>
                  <a:pt x="3714905" y="630632"/>
                </a:cubicBezTo>
                <a:cubicBezTo>
                  <a:pt x="3709123" y="628967"/>
                  <a:pt x="3702562" y="633534"/>
                  <a:pt x="3694681" y="630848"/>
                </a:cubicBezTo>
                <a:cubicBezTo>
                  <a:pt x="3695504" y="628883"/>
                  <a:pt x="3697740" y="627181"/>
                  <a:pt x="3700776" y="625811"/>
                </a:cubicBezTo>
                <a:lnTo>
                  <a:pt x="3706590" y="624034"/>
                </a:lnTo>
                <a:lnTo>
                  <a:pt x="3703736" y="623613"/>
                </a:lnTo>
                <a:cubicBezTo>
                  <a:pt x="3698231" y="622024"/>
                  <a:pt x="3693175" y="619864"/>
                  <a:pt x="3688597" y="617027"/>
                </a:cubicBezTo>
                <a:cubicBezTo>
                  <a:pt x="3686643" y="597758"/>
                  <a:pt x="3702375" y="594384"/>
                  <a:pt x="3730131" y="601476"/>
                </a:cubicBezTo>
                <a:cubicBezTo>
                  <a:pt x="3731321" y="604785"/>
                  <a:pt x="3733455" y="607887"/>
                  <a:pt x="3736115" y="611245"/>
                </a:cubicBezTo>
                <a:lnTo>
                  <a:pt x="3743014" y="620913"/>
                </a:lnTo>
                <a:lnTo>
                  <a:pt x="3761130" y="611967"/>
                </a:lnTo>
                <a:lnTo>
                  <a:pt x="3770171" y="609214"/>
                </a:lnTo>
                <a:lnTo>
                  <a:pt x="3767982" y="602993"/>
                </a:lnTo>
                <a:cubicBezTo>
                  <a:pt x="3767982" y="602993"/>
                  <a:pt x="3767954" y="603100"/>
                  <a:pt x="3770725" y="600508"/>
                </a:cubicBezTo>
                <a:cubicBezTo>
                  <a:pt x="3770153" y="599320"/>
                  <a:pt x="3770430" y="599394"/>
                  <a:pt x="3770430" y="599394"/>
                </a:cubicBezTo>
                <a:cubicBezTo>
                  <a:pt x="3770164" y="598173"/>
                  <a:pt x="3773189" y="597948"/>
                  <a:pt x="3773189" y="597948"/>
                </a:cubicBezTo>
                <a:close/>
                <a:moveTo>
                  <a:pt x="3380119" y="597276"/>
                </a:moveTo>
                <a:cubicBezTo>
                  <a:pt x="3380119" y="597276"/>
                  <a:pt x="3380119" y="597276"/>
                  <a:pt x="3381912" y="598332"/>
                </a:cubicBezTo>
                <a:cubicBezTo>
                  <a:pt x="3377110" y="598541"/>
                  <a:pt x="3370754" y="599022"/>
                  <a:pt x="3367157" y="598058"/>
                </a:cubicBezTo>
                <a:cubicBezTo>
                  <a:pt x="3370193" y="596687"/>
                  <a:pt x="3376227" y="595198"/>
                  <a:pt x="3380119" y="597276"/>
                </a:cubicBezTo>
                <a:close/>
                <a:moveTo>
                  <a:pt x="4015307" y="596683"/>
                </a:moveTo>
                <a:cubicBezTo>
                  <a:pt x="4023190" y="595763"/>
                  <a:pt x="4031232" y="596192"/>
                  <a:pt x="4034198" y="597849"/>
                </a:cubicBezTo>
                <a:cubicBezTo>
                  <a:pt x="4030223" y="601614"/>
                  <a:pt x="4023323" y="600801"/>
                  <a:pt x="4017793" y="604838"/>
                </a:cubicBezTo>
                <a:cubicBezTo>
                  <a:pt x="4012155" y="602638"/>
                  <a:pt x="4004820" y="606767"/>
                  <a:pt x="3997360" y="603618"/>
                </a:cubicBezTo>
                <a:cubicBezTo>
                  <a:pt x="3999698" y="599875"/>
                  <a:pt x="4007424" y="597604"/>
                  <a:pt x="4015307" y="596683"/>
                </a:cubicBezTo>
                <a:close/>
                <a:moveTo>
                  <a:pt x="1311777" y="595305"/>
                </a:moveTo>
                <a:cubicBezTo>
                  <a:pt x="1311777" y="595305"/>
                  <a:pt x="1311806" y="595197"/>
                  <a:pt x="1312377" y="596385"/>
                </a:cubicBezTo>
                <a:lnTo>
                  <a:pt x="1311536" y="597310"/>
                </a:lnTo>
                <a:lnTo>
                  <a:pt x="1313121" y="596929"/>
                </a:lnTo>
                <a:close/>
                <a:moveTo>
                  <a:pt x="2711686" y="594928"/>
                </a:moveTo>
                <a:cubicBezTo>
                  <a:pt x="2711686" y="594928"/>
                  <a:pt x="2710206" y="596026"/>
                  <a:pt x="2710195" y="597174"/>
                </a:cubicBezTo>
                <a:cubicBezTo>
                  <a:pt x="2710195" y="597174"/>
                  <a:pt x="2708686" y="598379"/>
                  <a:pt x="2707205" y="599477"/>
                </a:cubicBezTo>
                <a:cubicBezTo>
                  <a:pt x="2707205" y="599477"/>
                  <a:pt x="2707471" y="600699"/>
                  <a:pt x="2707461" y="601846"/>
                </a:cubicBezTo>
                <a:cubicBezTo>
                  <a:pt x="2704459" y="605297"/>
                  <a:pt x="2703245" y="607617"/>
                  <a:pt x="2696489" y="606266"/>
                </a:cubicBezTo>
                <a:cubicBezTo>
                  <a:pt x="2696194" y="605152"/>
                  <a:pt x="2699462" y="602923"/>
                  <a:pt x="2700970" y="601717"/>
                </a:cubicBezTo>
                <a:cubicBezTo>
                  <a:pt x="2700704" y="600495"/>
                  <a:pt x="2702185" y="599397"/>
                  <a:pt x="2703932" y="599520"/>
                </a:cubicBezTo>
                <a:cubicBezTo>
                  <a:pt x="2703932" y="599520"/>
                  <a:pt x="2705441" y="598315"/>
                  <a:pt x="2705175" y="597094"/>
                </a:cubicBezTo>
                <a:cubicBezTo>
                  <a:pt x="2708165" y="594789"/>
                  <a:pt x="2709911" y="594913"/>
                  <a:pt x="2711686" y="594928"/>
                </a:cubicBezTo>
                <a:close/>
                <a:moveTo>
                  <a:pt x="4187301" y="594252"/>
                </a:moveTo>
                <a:cubicBezTo>
                  <a:pt x="4190281" y="593096"/>
                  <a:pt x="4194442" y="593061"/>
                  <a:pt x="4199642" y="594684"/>
                </a:cubicBezTo>
                <a:cubicBezTo>
                  <a:pt x="4205248" y="600326"/>
                  <a:pt x="4199315" y="605866"/>
                  <a:pt x="4196619" y="609284"/>
                </a:cubicBezTo>
                <a:cubicBezTo>
                  <a:pt x="4190180" y="606753"/>
                  <a:pt x="4183435" y="604257"/>
                  <a:pt x="4180862" y="600577"/>
                </a:cubicBezTo>
                <a:cubicBezTo>
                  <a:pt x="4181972" y="597539"/>
                  <a:pt x="4184046" y="595335"/>
                  <a:pt x="4187301" y="594252"/>
                </a:cubicBezTo>
                <a:close/>
                <a:moveTo>
                  <a:pt x="3896194" y="591577"/>
                </a:moveTo>
                <a:cubicBezTo>
                  <a:pt x="3897912" y="591807"/>
                  <a:pt x="3900097" y="592507"/>
                  <a:pt x="3902167" y="593637"/>
                </a:cubicBezTo>
                <a:cubicBezTo>
                  <a:pt x="3895878" y="601612"/>
                  <a:pt x="3895698" y="608924"/>
                  <a:pt x="3892597" y="617178"/>
                </a:cubicBezTo>
                <a:cubicBezTo>
                  <a:pt x="3890850" y="617055"/>
                  <a:pt x="3889190" y="616610"/>
                  <a:pt x="3887368" y="615662"/>
                </a:cubicBezTo>
                <a:cubicBezTo>
                  <a:pt x="3885241" y="614747"/>
                  <a:pt x="3883228" y="613402"/>
                  <a:pt x="3880529" y="611300"/>
                </a:cubicBezTo>
                <a:cubicBezTo>
                  <a:pt x="3891741" y="604874"/>
                  <a:pt x="3872994" y="598470"/>
                  <a:pt x="3881561" y="593061"/>
                </a:cubicBezTo>
                <a:cubicBezTo>
                  <a:pt x="3886143" y="592563"/>
                  <a:pt x="3890516" y="590630"/>
                  <a:pt x="3896194" y="591577"/>
                </a:cubicBezTo>
                <a:close/>
                <a:moveTo>
                  <a:pt x="3599725" y="591475"/>
                </a:moveTo>
                <a:cubicBezTo>
                  <a:pt x="3604553" y="592553"/>
                  <a:pt x="3608617" y="593987"/>
                  <a:pt x="3612766" y="592338"/>
                </a:cubicBezTo>
                <a:cubicBezTo>
                  <a:pt x="3613766" y="595250"/>
                  <a:pt x="3613488" y="595176"/>
                  <a:pt x="3611253" y="596878"/>
                </a:cubicBezTo>
                <a:cubicBezTo>
                  <a:pt x="3609622" y="596325"/>
                  <a:pt x="3609306" y="597506"/>
                  <a:pt x="3607990" y="595773"/>
                </a:cubicBezTo>
                <a:cubicBezTo>
                  <a:pt x="3603836" y="597996"/>
                  <a:pt x="3588290" y="596245"/>
                  <a:pt x="3582109" y="592749"/>
                </a:cubicBezTo>
                <a:cubicBezTo>
                  <a:pt x="3589309" y="589675"/>
                  <a:pt x="3594899" y="590397"/>
                  <a:pt x="3599725" y="591475"/>
                </a:cubicBezTo>
                <a:close/>
                <a:moveTo>
                  <a:pt x="2749560" y="591247"/>
                </a:moveTo>
                <a:cubicBezTo>
                  <a:pt x="2753850" y="589206"/>
                  <a:pt x="2759954" y="589117"/>
                  <a:pt x="2765518" y="593253"/>
                </a:cubicBezTo>
                <a:cubicBezTo>
                  <a:pt x="2766610" y="598030"/>
                  <a:pt x="2758633" y="605667"/>
                  <a:pt x="2754098" y="607098"/>
                </a:cubicBezTo>
                <a:cubicBezTo>
                  <a:pt x="2748564" y="605614"/>
                  <a:pt x="2745588" y="603437"/>
                  <a:pt x="2744474" y="600953"/>
                </a:cubicBezTo>
                <a:cubicBezTo>
                  <a:pt x="2742789" y="597282"/>
                  <a:pt x="2745268" y="593289"/>
                  <a:pt x="2749560" y="591247"/>
                </a:cubicBezTo>
                <a:close/>
                <a:moveTo>
                  <a:pt x="3227083" y="590656"/>
                </a:moveTo>
                <a:cubicBezTo>
                  <a:pt x="3230706" y="594846"/>
                  <a:pt x="3230102" y="597101"/>
                  <a:pt x="3227866" y="598801"/>
                </a:cubicBezTo>
                <a:lnTo>
                  <a:pt x="3220198" y="603071"/>
                </a:lnTo>
                <a:lnTo>
                  <a:pt x="3226087" y="610974"/>
                </a:lnTo>
                <a:cubicBezTo>
                  <a:pt x="3230996" y="617006"/>
                  <a:pt x="3235685" y="622746"/>
                  <a:pt x="3230334" y="628328"/>
                </a:cubicBezTo>
                <a:cubicBezTo>
                  <a:pt x="3218605" y="618975"/>
                  <a:pt x="3204641" y="611324"/>
                  <a:pt x="3202855" y="594745"/>
                </a:cubicBezTo>
                <a:cubicBezTo>
                  <a:pt x="3207419" y="593208"/>
                  <a:pt x="3210164" y="587388"/>
                  <a:pt x="3217815" y="590933"/>
                </a:cubicBezTo>
                <a:lnTo>
                  <a:pt x="3218060" y="594449"/>
                </a:lnTo>
                <a:close/>
                <a:moveTo>
                  <a:pt x="2540601" y="590372"/>
                </a:moveTo>
                <a:cubicBezTo>
                  <a:pt x="2544506" y="587968"/>
                  <a:pt x="2546128" y="589667"/>
                  <a:pt x="2548845" y="592810"/>
                </a:cubicBezTo>
                <a:cubicBezTo>
                  <a:pt x="2548003" y="593735"/>
                  <a:pt x="2546943" y="594370"/>
                  <a:pt x="2545501" y="594215"/>
                </a:cubicBezTo>
                <a:cubicBezTo>
                  <a:pt x="2544338" y="594133"/>
                  <a:pt x="2542764" y="593366"/>
                  <a:pt x="2540590" y="591519"/>
                </a:cubicBezTo>
                <a:cubicBezTo>
                  <a:pt x="2540590" y="591519"/>
                  <a:pt x="2540601" y="590372"/>
                  <a:pt x="2540601" y="590372"/>
                </a:cubicBezTo>
                <a:close/>
                <a:moveTo>
                  <a:pt x="2519672" y="588789"/>
                </a:moveTo>
                <a:cubicBezTo>
                  <a:pt x="2526003" y="593935"/>
                  <a:pt x="2526208" y="598705"/>
                  <a:pt x="2523186" y="604450"/>
                </a:cubicBezTo>
                <a:cubicBezTo>
                  <a:pt x="2519998" y="604172"/>
                  <a:pt x="2514791" y="600361"/>
                  <a:pt x="2511625" y="597788"/>
                </a:cubicBezTo>
                <a:cubicBezTo>
                  <a:pt x="2511410" y="594166"/>
                  <a:pt x="2514687" y="590789"/>
                  <a:pt x="2519672" y="588789"/>
                </a:cubicBezTo>
                <a:close/>
                <a:moveTo>
                  <a:pt x="2115194" y="588626"/>
                </a:moveTo>
                <a:lnTo>
                  <a:pt x="2121244" y="591512"/>
                </a:lnTo>
                <a:cubicBezTo>
                  <a:pt x="2120257" y="592972"/>
                  <a:pt x="2117468" y="594525"/>
                  <a:pt x="2115648" y="593578"/>
                </a:cubicBezTo>
                <a:cubicBezTo>
                  <a:pt x="2113681" y="593166"/>
                  <a:pt x="2113549" y="592555"/>
                  <a:pt x="2113750" y="591803"/>
                </a:cubicBezTo>
                <a:cubicBezTo>
                  <a:pt x="2113980" y="590946"/>
                  <a:pt x="2114849" y="589913"/>
                  <a:pt x="2115194" y="588626"/>
                </a:cubicBezTo>
                <a:close/>
                <a:moveTo>
                  <a:pt x="2048928" y="588005"/>
                </a:moveTo>
                <a:cubicBezTo>
                  <a:pt x="2050456" y="587839"/>
                  <a:pt x="2052145" y="588177"/>
                  <a:pt x="2054053" y="588803"/>
                </a:cubicBezTo>
                <a:cubicBezTo>
                  <a:pt x="2055789" y="590073"/>
                  <a:pt x="2056044" y="592442"/>
                  <a:pt x="2054541" y="595834"/>
                </a:cubicBezTo>
                <a:cubicBezTo>
                  <a:pt x="2053176" y="596504"/>
                  <a:pt x="2050962" y="595911"/>
                  <a:pt x="2048836" y="594995"/>
                </a:cubicBezTo>
                <a:cubicBezTo>
                  <a:pt x="2046431" y="594006"/>
                  <a:pt x="2044391" y="592769"/>
                  <a:pt x="2042510" y="592036"/>
                </a:cubicBezTo>
                <a:cubicBezTo>
                  <a:pt x="2044267" y="591011"/>
                  <a:pt x="2045748" y="589913"/>
                  <a:pt x="2043974" y="589898"/>
                </a:cubicBezTo>
                <a:cubicBezTo>
                  <a:pt x="2045483" y="588692"/>
                  <a:pt x="2047125" y="588097"/>
                  <a:pt x="2048928" y="588005"/>
                </a:cubicBezTo>
                <a:close/>
                <a:moveTo>
                  <a:pt x="2897255" y="587496"/>
                </a:moveTo>
                <a:cubicBezTo>
                  <a:pt x="2902555" y="593171"/>
                  <a:pt x="2903899" y="594795"/>
                  <a:pt x="2898864" y="599197"/>
                </a:cubicBezTo>
                <a:cubicBezTo>
                  <a:pt x="2898864" y="599197"/>
                  <a:pt x="2896917" y="599824"/>
                  <a:pt x="2896917" y="599824"/>
                </a:cubicBezTo>
                <a:cubicBezTo>
                  <a:pt x="2890844" y="602568"/>
                  <a:pt x="2880480" y="601401"/>
                  <a:pt x="2877534" y="599116"/>
                </a:cubicBezTo>
                <a:cubicBezTo>
                  <a:pt x="2874874" y="595758"/>
                  <a:pt x="2874756" y="590666"/>
                  <a:pt x="2880541" y="588997"/>
                </a:cubicBezTo>
                <a:cubicBezTo>
                  <a:pt x="2884972" y="586849"/>
                  <a:pt x="2891469" y="589165"/>
                  <a:pt x="2897255" y="587496"/>
                </a:cubicBezTo>
                <a:close/>
                <a:moveTo>
                  <a:pt x="4555596" y="586675"/>
                </a:moveTo>
                <a:cubicBezTo>
                  <a:pt x="4557597" y="589167"/>
                  <a:pt x="4557597" y="589167"/>
                  <a:pt x="4556077" y="591520"/>
                </a:cubicBezTo>
                <a:cubicBezTo>
                  <a:pt x="4554578" y="591578"/>
                  <a:pt x="4554568" y="592725"/>
                  <a:pt x="4552832" y="591454"/>
                </a:cubicBezTo>
                <a:cubicBezTo>
                  <a:pt x="4549803" y="595013"/>
                  <a:pt x="4534987" y="598288"/>
                  <a:pt x="4527925" y="596971"/>
                </a:cubicBezTo>
                <a:cubicBezTo>
                  <a:pt x="4538760" y="586419"/>
                  <a:pt x="4549548" y="592645"/>
                  <a:pt x="4555596" y="586675"/>
                </a:cubicBezTo>
                <a:close/>
                <a:moveTo>
                  <a:pt x="2329924" y="586362"/>
                </a:moveTo>
                <a:cubicBezTo>
                  <a:pt x="2340604" y="586347"/>
                  <a:pt x="2349459" y="588721"/>
                  <a:pt x="2356714" y="587101"/>
                </a:cubicBezTo>
                <a:cubicBezTo>
                  <a:pt x="2356714" y="587101"/>
                  <a:pt x="2356714" y="587101"/>
                  <a:pt x="2360491" y="589607"/>
                </a:cubicBezTo>
                <a:cubicBezTo>
                  <a:pt x="2361990" y="589549"/>
                  <a:pt x="2361990" y="589549"/>
                  <a:pt x="2361990" y="589549"/>
                </a:cubicBezTo>
                <a:cubicBezTo>
                  <a:pt x="2363764" y="589564"/>
                  <a:pt x="2363992" y="592040"/>
                  <a:pt x="2363992" y="592040"/>
                </a:cubicBezTo>
                <a:cubicBezTo>
                  <a:pt x="2362500" y="594285"/>
                  <a:pt x="2357462" y="593166"/>
                  <a:pt x="2354216" y="593101"/>
                </a:cubicBezTo>
                <a:cubicBezTo>
                  <a:pt x="2352726" y="595347"/>
                  <a:pt x="2347223" y="590422"/>
                  <a:pt x="2345704" y="592776"/>
                </a:cubicBezTo>
                <a:cubicBezTo>
                  <a:pt x="2340439" y="589179"/>
                  <a:pt x="2334481" y="591492"/>
                  <a:pt x="2326808" y="590242"/>
                </a:cubicBezTo>
                <a:cubicBezTo>
                  <a:pt x="2324260" y="589789"/>
                  <a:pt x="2321494" y="589047"/>
                  <a:pt x="2318374" y="587407"/>
                </a:cubicBezTo>
                <a:cubicBezTo>
                  <a:pt x="2322431" y="586654"/>
                  <a:pt x="2326345" y="586438"/>
                  <a:pt x="2329924" y="586362"/>
                </a:cubicBezTo>
                <a:close/>
                <a:moveTo>
                  <a:pt x="2587209" y="586185"/>
                </a:moveTo>
                <a:cubicBezTo>
                  <a:pt x="2590401" y="586034"/>
                  <a:pt x="2593755" y="588457"/>
                  <a:pt x="2594805" y="596155"/>
                </a:cubicBezTo>
                <a:cubicBezTo>
                  <a:pt x="2588945" y="597001"/>
                  <a:pt x="2585480" y="596647"/>
                  <a:pt x="2583076" y="595657"/>
                </a:cubicBezTo>
                <a:cubicBezTo>
                  <a:pt x="2580948" y="594743"/>
                  <a:pt x="2580435" y="593340"/>
                  <a:pt x="2580589" y="591656"/>
                </a:cubicBezTo>
                <a:cubicBezTo>
                  <a:pt x="2580989" y="589060"/>
                  <a:pt x="2584017" y="586336"/>
                  <a:pt x="2587209" y="586185"/>
                </a:cubicBezTo>
                <a:close/>
                <a:moveTo>
                  <a:pt x="2908672" y="585839"/>
                </a:moveTo>
                <a:cubicBezTo>
                  <a:pt x="2915600" y="586546"/>
                  <a:pt x="2941265" y="594802"/>
                  <a:pt x="2929661" y="601584"/>
                </a:cubicBezTo>
                <a:lnTo>
                  <a:pt x="2929385" y="601510"/>
                </a:lnTo>
                <a:lnTo>
                  <a:pt x="2930488" y="605140"/>
                </a:lnTo>
                <a:cubicBezTo>
                  <a:pt x="2929809" y="606568"/>
                  <a:pt x="2927804" y="607411"/>
                  <a:pt x="2925187" y="608319"/>
                </a:cubicBezTo>
                <a:cubicBezTo>
                  <a:pt x="2923958" y="606265"/>
                  <a:pt x="2923779" y="604723"/>
                  <a:pt x="2924458" y="603294"/>
                </a:cubicBezTo>
                <a:lnTo>
                  <a:pt x="2927010" y="600413"/>
                </a:lnTo>
                <a:lnTo>
                  <a:pt x="2916039" y="595978"/>
                </a:lnTo>
                <a:cubicBezTo>
                  <a:pt x="2911974" y="594544"/>
                  <a:pt x="2908797" y="593118"/>
                  <a:pt x="2907597" y="590956"/>
                </a:cubicBezTo>
                <a:cubicBezTo>
                  <a:pt x="2906777" y="589586"/>
                  <a:pt x="2907209" y="587977"/>
                  <a:pt x="2908672" y="585839"/>
                </a:cubicBezTo>
                <a:close/>
                <a:moveTo>
                  <a:pt x="4135924" y="585661"/>
                </a:moveTo>
                <a:cubicBezTo>
                  <a:pt x="4143212" y="589454"/>
                  <a:pt x="4144448" y="593695"/>
                  <a:pt x="4142077" y="598119"/>
                </a:cubicBezTo>
                <a:cubicBezTo>
                  <a:pt x="4138879" y="598988"/>
                  <a:pt x="4135443" y="598527"/>
                  <a:pt x="4132790" y="597357"/>
                </a:cubicBezTo>
                <a:cubicBezTo>
                  <a:pt x="4130139" y="596187"/>
                  <a:pt x="4127993" y="594230"/>
                  <a:pt x="4127070" y="592143"/>
                </a:cubicBezTo>
                <a:cubicBezTo>
                  <a:pt x="4126528" y="590848"/>
                  <a:pt x="4126348" y="589305"/>
                  <a:pt x="4127304" y="587951"/>
                </a:cubicBezTo>
                <a:cubicBezTo>
                  <a:pt x="4129252" y="587324"/>
                  <a:pt x="4132069" y="585662"/>
                  <a:pt x="4135924" y="585661"/>
                </a:cubicBezTo>
                <a:close/>
                <a:moveTo>
                  <a:pt x="4454419" y="584635"/>
                </a:moveTo>
                <a:cubicBezTo>
                  <a:pt x="4457959" y="585814"/>
                  <a:pt x="4458224" y="587035"/>
                  <a:pt x="4456438" y="588167"/>
                </a:cubicBezTo>
                <a:cubicBezTo>
                  <a:pt x="4456438" y="588167"/>
                  <a:pt x="4454929" y="589372"/>
                  <a:pt x="4453448" y="590470"/>
                </a:cubicBezTo>
                <a:cubicBezTo>
                  <a:pt x="4451662" y="591602"/>
                  <a:pt x="4451928" y="592823"/>
                  <a:pt x="4451928" y="592823"/>
                </a:cubicBezTo>
                <a:cubicBezTo>
                  <a:pt x="4451174" y="593425"/>
                  <a:pt x="4450229" y="593632"/>
                  <a:pt x="4449341" y="593625"/>
                </a:cubicBezTo>
                <a:cubicBezTo>
                  <a:pt x="4448453" y="593617"/>
                  <a:pt x="4447651" y="593287"/>
                  <a:pt x="4446632" y="592668"/>
                </a:cubicBezTo>
                <a:cubicBezTo>
                  <a:pt x="4446632" y="592668"/>
                  <a:pt x="4448151" y="590316"/>
                  <a:pt x="4448151" y="590316"/>
                </a:cubicBezTo>
                <a:cubicBezTo>
                  <a:pt x="4451418" y="588086"/>
                  <a:pt x="4452899" y="586987"/>
                  <a:pt x="4454419" y="584635"/>
                </a:cubicBezTo>
                <a:close/>
                <a:moveTo>
                  <a:pt x="1427678" y="583349"/>
                </a:moveTo>
                <a:cubicBezTo>
                  <a:pt x="1431328" y="587432"/>
                  <a:pt x="1428902" y="588737"/>
                  <a:pt x="1431514" y="591162"/>
                </a:cubicBezTo>
                <a:cubicBezTo>
                  <a:pt x="1428258" y="592245"/>
                  <a:pt x="1425319" y="592147"/>
                  <a:pt x="1422858" y="591373"/>
                </a:cubicBezTo>
                <a:cubicBezTo>
                  <a:pt x="1420120" y="590524"/>
                  <a:pt x="1417639" y="588709"/>
                  <a:pt x="1415275" y="586466"/>
                </a:cubicBezTo>
                <a:cubicBezTo>
                  <a:pt x="1416691" y="583395"/>
                  <a:pt x="1423175" y="581338"/>
                  <a:pt x="1427678" y="583349"/>
                </a:cubicBezTo>
                <a:close/>
                <a:moveTo>
                  <a:pt x="1323102" y="582784"/>
                </a:moveTo>
                <a:cubicBezTo>
                  <a:pt x="1326861" y="582728"/>
                  <a:pt x="1331580" y="583935"/>
                  <a:pt x="1336583" y="585736"/>
                </a:cubicBezTo>
                <a:cubicBezTo>
                  <a:pt x="1335600" y="587197"/>
                  <a:pt x="1341382" y="588861"/>
                  <a:pt x="1343774" y="590997"/>
                </a:cubicBezTo>
                <a:cubicBezTo>
                  <a:pt x="1345212" y="594487"/>
                  <a:pt x="1346355" y="596864"/>
                  <a:pt x="1344137" y="599605"/>
                </a:cubicBezTo>
                <a:cubicBezTo>
                  <a:pt x="1340658" y="603733"/>
                  <a:pt x="1330413" y="607657"/>
                  <a:pt x="1324365" y="604772"/>
                </a:cubicBezTo>
                <a:cubicBezTo>
                  <a:pt x="1320272" y="603446"/>
                  <a:pt x="1317401" y="601986"/>
                  <a:pt x="1315475" y="600320"/>
                </a:cubicBezTo>
                <a:lnTo>
                  <a:pt x="1314436" y="598661"/>
                </a:lnTo>
                <a:lnTo>
                  <a:pt x="1315119" y="602755"/>
                </a:lnTo>
                <a:cubicBezTo>
                  <a:pt x="1314659" y="604471"/>
                  <a:pt x="1313121" y="605785"/>
                  <a:pt x="1311859" y="607171"/>
                </a:cubicBezTo>
                <a:cubicBezTo>
                  <a:pt x="1309377" y="608691"/>
                  <a:pt x="1309061" y="609871"/>
                  <a:pt x="1309811" y="612602"/>
                </a:cubicBezTo>
                <a:cubicBezTo>
                  <a:pt x="1309811" y="612602"/>
                  <a:pt x="1309811" y="612602"/>
                  <a:pt x="1305973" y="613644"/>
                </a:cubicBezTo>
                <a:lnTo>
                  <a:pt x="1304371" y="612985"/>
                </a:lnTo>
                <a:cubicBezTo>
                  <a:pt x="1303626" y="612440"/>
                  <a:pt x="1303609" y="611400"/>
                  <a:pt x="1303955" y="610113"/>
                </a:cubicBezTo>
                <a:cubicBezTo>
                  <a:pt x="1304165" y="608215"/>
                  <a:pt x="1305409" y="605788"/>
                  <a:pt x="1306815" y="603864"/>
                </a:cubicBezTo>
                <a:lnTo>
                  <a:pt x="1308956" y="600298"/>
                </a:lnTo>
                <a:lnTo>
                  <a:pt x="1303853" y="606061"/>
                </a:lnTo>
                <a:cubicBezTo>
                  <a:pt x="1300662" y="609116"/>
                  <a:pt x="1297367" y="611452"/>
                  <a:pt x="1294761" y="611215"/>
                </a:cubicBezTo>
                <a:cubicBezTo>
                  <a:pt x="1294190" y="610026"/>
                  <a:pt x="1293618" y="608838"/>
                  <a:pt x="1294880" y="607451"/>
                </a:cubicBezTo>
                <a:cubicBezTo>
                  <a:pt x="1295864" y="605990"/>
                  <a:pt x="1296435" y="607179"/>
                  <a:pt x="1296142" y="606065"/>
                </a:cubicBezTo>
                <a:cubicBezTo>
                  <a:pt x="1297125" y="604603"/>
                  <a:pt x="1295570" y="604877"/>
                  <a:pt x="1295570" y="604877"/>
                </a:cubicBezTo>
                <a:cubicBezTo>
                  <a:pt x="1295570" y="604877"/>
                  <a:pt x="1297096" y="604711"/>
                  <a:pt x="1297096" y="604711"/>
                </a:cubicBezTo>
                <a:cubicBezTo>
                  <a:pt x="1297096" y="604711"/>
                  <a:pt x="1297096" y="604711"/>
                  <a:pt x="1299343" y="601862"/>
                </a:cubicBezTo>
                <a:cubicBezTo>
                  <a:pt x="1300989" y="597933"/>
                  <a:pt x="1300722" y="596712"/>
                  <a:pt x="1301108" y="594171"/>
                </a:cubicBezTo>
                <a:cubicBezTo>
                  <a:pt x="1303354" y="591322"/>
                  <a:pt x="1305158" y="591230"/>
                  <a:pt x="1308931" y="588217"/>
                </a:cubicBezTo>
                <a:cubicBezTo>
                  <a:pt x="1312586" y="588965"/>
                  <a:pt x="1312586" y="588965"/>
                  <a:pt x="1313157" y="590153"/>
                </a:cubicBezTo>
                <a:cubicBezTo>
                  <a:pt x="1312586" y="588965"/>
                  <a:pt x="1314112" y="588799"/>
                  <a:pt x="1315374" y="587413"/>
                </a:cubicBezTo>
                <a:cubicBezTo>
                  <a:pt x="1316542" y="584160"/>
                  <a:pt x="1319342" y="582841"/>
                  <a:pt x="1323102" y="582784"/>
                </a:cubicBezTo>
                <a:close/>
                <a:moveTo>
                  <a:pt x="2142573" y="582737"/>
                </a:moveTo>
                <a:cubicBezTo>
                  <a:pt x="2147957" y="582570"/>
                  <a:pt x="2157929" y="584092"/>
                  <a:pt x="2159094" y="584173"/>
                </a:cubicBezTo>
                <a:cubicBezTo>
                  <a:pt x="2159094" y="584173"/>
                  <a:pt x="2160897" y="584082"/>
                  <a:pt x="2162644" y="584204"/>
                </a:cubicBezTo>
                <a:cubicBezTo>
                  <a:pt x="2164408" y="585367"/>
                  <a:pt x="2164674" y="586589"/>
                  <a:pt x="2166173" y="586531"/>
                </a:cubicBezTo>
                <a:cubicBezTo>
                  <a:pt x="2161673" y="590040"/>
                  <a:pt x="2156387" y="588738"/>
                  <a:pt x="2151102" y="587437"/>
                </a:cubicBezTo>
                <a:cubicBezTo>
                  <a:pt x="2147590" y="586151"/>
                  <a:pt x="2146093" y="586210"/>
                  <a:pt x="2142836" y="587293"/>
                </a:cubicBezTo>
                <a:cubicBezTo>
                  <a:pt x="2142836" y="587293"/>
                  <a:pt x="2142836" y="587293"/>
                  <a:pt x="2139059" y="584784"/>
                </a:cubicBezTo>
                <a:lnTo>
                  <a:pt x="2139041" y="583746"/>
                </a:lnTo>
                <a:cubicBezTo>
                  <a:pt x="2139490" y="583175"/>
                  <a:pt x="2140769" y="582829"/>
                  <a:pt x="2142573" y="582737"/>
                </a:cubicBezTo>
                <a:close/>
                <a:moveTo>
                  <a:pt x="2930952" y="582379"/>
                </a:moveTo>
                <a:cubicBezTo>
                  <a:pt x="2930952" y="582379"/>
                  <a:pt x="2932278" y="582965"/>
                  <a:pt x="2932278" y="582965"/>
                </a:cubicBezTo>
                <a:lnTo>
                  <a:pt x="2933697" y="585415"/>
                </a:lnTo>
                <a:lnTo>
                  <a:pt x="2934251" y="585564"/>
                </a:lnTo>
                <a:cubicBezTo>
                  <a:pt x="2936597" y="586767"/>
                  <a:pt x="2938189" y="588573"/>
                  <a:pt x="2939113" y="590661"/>
                </a:cubicBezTo>
                <a:cubicBezTo>
                  <a:pt x="2936543" y="592503"/>
                  <a:pt x="2933708" y="593123"/>
                  <a:pt x="2931160" y="592670"/>
                </a:cubicBezTo>
                <a:cubicBezTo>
                  <a:pt x="2928889" y="592291"/>
                  <a:pt x="2926600" y="590874"/>
                  <a:pt x="2925371" y="588819"/>
                </a:cubicBezTo>
                <a:cubicBezTo>
                  <a:pt x="2924551" y="587449"/>
                  <a:pt x="2924124" y="585724"/>
                  <a:pt x="2924308" y="583934"/>
                </a:cubicBezTo>
                <a:lnTo>
                  <a:pt x="2928850" y="584691"/>
                </a:lnTo>
                <a:close/>
                <a:moveTo>
                  <a:pt x="2979084" y="582051"/>
                </a:moveTo>
                <a:cubicBezTo>
                  <a:pt x="2981071" y="580169"/>
                  <a:pt x="2998676" y="584196"/>
                  <a:pt x="2995549" y="589223"/>
                </a:cubicBezTo>
                <a:cubicBezTo>
                  <a:pt x="2994432" y="590074"/>
                  <a:pt x="2993153" y="590420"/>
                  <a:pt x="2991464" y="590083"/>
                </a:cubicBezTo>
                <a:cubicBezTo>
                  <a:pt x="2986062" y="589211"/>
                  <a:pt x="2979121" y="584130"/>
                  <a:pt x="2979084" y="582051"/>
                </a:cubicBezTo>
                <a:close/>
                <a:moveTo>
                  <a:pt x="2523678" y="581582"/>
                </a:moveTo>
                <a:cubicBezTo>
                  <a:pt x="2525626" y="580954"/>
                  <a:pt x="2530223" y="584831"/>
                  <a:pt x="2531883" y="585276"/>
                </a:cubicBezTo>
                <a:cubicBezTo>
                  <a:pt x="2531567" y="586456"/>
                  <a:pt x="2529619" y="587084"/>
                  <a:pt x="2529303" y="588264"/>
                </a:cubicBezTo>
                <a:cubicBezTo>
                  <a:pt x="2527671" y="587711"/>
                  <a:pt x="2524350" y="586822"/>
                  <a:pt x="2523035" y="585090"/>
                </a:cubicBezTo>
                <a:cubicBezTo>
                  <a:pt x="2521375" y="584646"/>
                  <a:pt x="2523678" y="581582"/>
                  <a:pt x="2523678" y="581582"/>
                </a:cubicBezTo>
                <a:close/>
                <a:moveTo>
                  <a:pt x="1204305" y="581342"/>
                </a:moveTo>
                <a:cubicBezTo>
                  <a:pt x="1204305" y="581342"/>
                  <a:pt x="1204305" y="581342"/>
                  <a:pt x="1203711" y="582448"/>
                </a:cubicBezTo>
                <a:cubicBezTo>
                  <a:pt x="1203711" y="582448"/>
                  <a:pt x="1204028" y="581268"/>
                  <a:pt x="1205659" y="581820"/>
                </a:cubicBezTo>
                <a:cubicBezTo>
                  <a:pt x="1208141" y="589155"/>
                  <a:pt x="1203265" y="597393"/>
                  <a:pt x="1202949" y="598574"/>
                </a:cubicBezTo>
                <a:cubicBezTo>
                  <a:pt x="1201347" y="597914"/>
                  <a:pt x="1201623" y="597988"/>
                  <a:pt x="1201623" y="597988"/>
                </a:cubicBezTo>
                <a:cubicBezTo>
                  <a:pt x="1203869" y="595140"/>
                  <a:pt x="1201203" y="589597"/>
                  <a:pt x="1202077" y="585230"/>
                </a:cubicBezTo>
                <a:cubicBezTo>
                  <a:pt x="1202480" y="583728"/>
                  <a:pt x="1202853" y="582333"/>
                  <a:pt x="1204305" y="581342"/>
                </a:cubicBezTo>
                <a:close/>
                <a:moveTo>
                  <a:pt x="3974268" y="581331"/>
                </a:moveTo>
                <a:cubicBezTo>
                  <a:pt x="3990453" y="582908"/>
                  <a:pt x="3997525" y="600788"/>
                  <a:pt x="3998449" y="611730"/>
                </a:cubicBezTo>
                <a:cubicBezTo>
                  <a:pt x="3980398" y="604939"/>
                  <a:pt x="3977348" y="593080"/>
                  <a:pt x="3974268" y="581331"/>
                </a:cubicBezTo>
                <a:close/>
                <a:moveTo>
                  <a:pt x="1455243" y="581189"/>
                </a:moveTo>
                <a:cubicBezTo>
                  <a:pt x="1457310" y="585654"/>
                  <a:pt x="1446050" y="591148"/>
                  <a:pt x="1440323" y="592602"/>
                </a:cubicBezTo>
                <a:cubicBezTo>
                  <a:pt x="1439722" y="591521"/>
                  <a:pt x="1440038" y="590341"/>
                  <a:pt x="1440937" y="589202"/>
                </a:cubicBezTo>
                <a:cubicBezTo>
                  <a:pt x="1443661" y="585677"/>
                  <a:pt x="1450823" y="582191"/>
                  <a:pt x="1455243" y="581189"/>
                </a:cubicBezTo>
                <a:close/>
                <a:moveTo>
                  <a:pt x="3157134" y="580539"/>
                </a:moveTo>
                <a:cubicBezTo>
                  <a:pt x="3159290" y="581347"/>
                  <a:pt x="3158968" y="580340"/>
                  <a:pt x="3159614" y="582353"/>
                </a:cubicBezTo>
                <a:cubicBezTo>
                  <a:pt x="3157458" y="581545"/>
                  <a:pt x="3157458" y="581545"/>
                  <a:pt x="3155625" y="581745"/>
                </a:cubicBezTo>
                <a:cubicBezTo>
                  <a:pt x="3155625" y="581745"/>
                  <a:pt x="3157134" y="580539"/>
                  <a:pt x="3157134" y="580539"/>
                </a:cubicBezTo>
                <a:close/>
                <a:moveTo>
                  <a:pt x="3167595" y="580237"/>
                </a:moveTo>
                <a:cubicBezTo>
                  <a:pt x="3167595" y="580237"/>
                  <a:pt x="3167919" y="581243"/>
                  <a:pt x="3167919" y="581243"/>
                </a:cubicBezTo>
                <a:cubicBezTo>
                  <a:pt x="3167002" y="581343"/>
                  <a:pt x="3166363" y="581517"/>
                  <a:pt x="3165475" y="581509"/>
                </a:cubicBezTo>
                <a:cubicBezTo>
                  <a:pt x="3164893" y="581467"/>
                  <a:pt x="3164092" y="581138"/>
                  <a:pt x="3163930" y="580634"/>
                </a:cubicBezTo>
                <a:cubicBezTo>
                  <a:pt x="3163606" y="579628"/>
                  <a:pt x="3165163" y="579355"/>
                  <a:pt x="3167595" y="580237"/>
                </a:cubicBezTo>
                <a:close/>
                <a:moveTo>
                  <a:pt x="3104794" y="579969"/>
                </a:moveTo>
                <a:cubicBezTo>
                  <a:pt x="3111543" y="579132"/>
                  <a:pt x="3117451" y="579220"/>
                  <a:pt x="3122881" y="579986"/>
                </a:cubicBezTo>
                <a:lnTo>
                  <a:pt x="3128997" y="581509"/>
                </a:lnTo>
                <a:lnTo>
                  <a:pt x="3133245" y="581153"/>
                </a:lnTo>
                <a:cubicBezTo>
                  <a:pt x="3139907" y="580638"/>
                  <a:pt x="3151255" y="580343"/>
                  <a:pt x="3155683" y="581529"/>
                </a:cubicBezTo>
                <a:cubicBezTo>
                  <a:pt x="3151521" y="581564"/>
                  <a:pt x="3146605" y="582203"/>
                  <a:pt x="3141776" y="582519"/>
                </a:cubicBezTo>
                <a:lnTo>
                  <a:pt x="3129550" y="581658"/>
                </a:lnTo>
                <a:lnTo>
                  <a:pt x="3138710" y="583996"/>
                </a:lnTo>
                <a:cubicBezTo>
                  <a:pt x="3149024" y="587565"/>
                  <a:pt x="3159020" y="592315"/>
                  <a:pt x="3171807" y="595510"/>
                </a:cubicBezTo>
                <a:cubicBezTo>
                  <a:pt x="3171333" y="610564"/>
                  <a:pt x="3183726" y="614114"/>
                  <a:pt x="3191679" y="620960"/>
                </a:cubicBezTo>
                <a:cubicBezTo>
                  <a:pt x="3189882" y="623239"/>
                  <a:pt x="3188581" y="625880"/>
                  <a:pt x="3187833" y="628671"/>
                </a:cubicBezTo>
                <a:lnTo>
                  <a:pt x="3186392" y="637369"/>
                </a:lnTo>
                <a:lnTo>
                  <a:pt x="3192886" y="643018"/>
                </a:lnTo>
                <a:cubicBezTo>
                  <a:pt x="3196145" y="647457"/>
                  <a:pt x="3195520" y="652005"/>
                  <a:pt x="3191423" y="654012"/>
                </a:cubicBezTo>
                <a:lnTo>
                  <a:pt x="3184179" y="654485"/>
                </a:lnTo>
                <a:lnTo>
                  <a:pt x="3183833" y="655774"/>
                </a:lnTo>
                <a:cubicBezTo>
                  <a:pt x="3174677" y="658956"/>
                  <a:pt x="3167123" y="662796"/>
                  <a:pt x="3159598" y="666530"/>
                </a:cubicBezTo>
                <a:lnTo>
                  <a:pt x="3157536" y="667587"/>
                </a:lnTo>
                <a:lnTo>
                  <a:pt x="3162125" y="669276"/>
                </a:lnTo>
                <a:lnTo>
                  <a:pt x="3167195" y="675810"/>
                </a:lnTo>
                <a:lnTo>
                  <a:pt x="3174601" y="675840"/>
                </a:lnTo>
                <a:cubicBezTo>
                  <a:pt x="3181110" y="677009"/>
                  <a:pt x="3187358" y="679144"/>
                  <a:pt x="3191573" y="682228"/>
                </a:cubicBezTo>
                <a:lnTo>
                  <a:pt x="3196004" y="688935"/>
                </a:lnTo>
                <a:lnTo>
                  <a:pt x="3197111" y="689232"/>
                </a:lnTo>
                <a:cubicBezTo>
                  <a:pt x="3199799" y="692482"/>
                  <a:pt x="3200816" y="696435"/>
                  <a:pt x="3198868" y="697062"/>
                </a:cubicBezTo>
                <a:cubicBezTo>
                  <a:pt x="3196223" y="698079"/>
                  <a:pt x="3193302" y="699021"/>
                  <a:pt x="3190459" y="697454"/>
                </a:cubicBezTo>
                <a:cubicBezTo>
                  <a:pt x="3189439" y="696836"/>
                  <a:pt x="3188475" y="696003"/>
                  <a:pt x="3187322" y="694774"/>
                </a:cubicBezTo>
                <a:cubicBezTo>
                  <a:pt x="3187322" y="694774"/>
                  <a:pt x="3187322" y="694774"/>
                  <a:pt x="3187610" y="693702"/>
                </a:cubicBezTo>
                <a:lnTo>
                  <a:pt x="3187879" y="691587"/>
                </a:lnTo>
                <a:lnTo>
                  <a:pt x="3176261" y="693995"/>
                </a:lnTo>
                <a:cubicBezTo>
                  <a:pt x="3168463" y="694320"/>
                  <a:pt x="3159569" y="693203"/>
                  <a:pt x="3149388" y="690244"/>
                </a:cubicBezTo>
                <a:cubicBezTo>
                  <a:pt x="3143223" y="682267"/>
                  <a:pt x="3147760" y="677503"/>
                  <a:pt x="3156238" y="675750"/>
                </a:cubicBezTo>
                <a:lnTo>
                  <a:pt x="3156791" y="675899"/>
                </a:lnTo>
                <a:lnTo>
                  <a:pt x="3156497" y="674784"/>
                </a:lnTo>
                <a:cubicBezTo>
                  <a:pt x="3155440" y="672086"/>
                  <a:pt x="3154078" y="669422"/>
                  <a:pt x="3154078" y="669422"/>
                </a:cubicBezTo>
                <a:lnTo>
                  <a:pt x="3156561" y="667902"/>
                </a:lnTo>
                <a:lnTo>
                  <a:pt x="3135640" y="677361"/>
                </a:lnTo>
                <a:lnTo>
                  <a:pt x="3121804" y="673654"/>
                </a:lnTo>
                <a:lnTo>
                  <a:pt x="3121470" y="673794"/>
                </a:lnTo>
                <a:cubicBezTo>
                  <a:pt x="3121660" y="674190"/>
                  <a:pt x="3121851" y="674586"/>
                  <a:pt x="3121708" y="675123"/>
                </a:cubicBezTo>
                <a:cubicBezTo>
                  <a:pt x="3121708" y="675123"/>
                  <a:pt x="3121995" y="674050"/>
                  <a:pt x="3123339" y="675675"/>
                </a:cubicBezTo>
                <a:cubicBezTo>
                  <a:pt x="3121708" y="675123"/>
                  <a:pt x="3121420" y="676195"/>
                  <a:pt x="3121104" y="677375"/>
                </a:cubicBezTo>
                <a:cubicBezTo>
                  <a:pt x="3117237" y="678525"/>
                  <a:pt x="3111462" y="679047"/>
                  <a:pt x="3108792" y="676837"/>
                </a:cubicBezTo>
                <a:cubicBezTo>
                  <a:pt x="3107477" y="675104"/>
                  <a:pt x="3107240" y="673777"/>
                  <a:pt x="3107804" y="672777"/>
                </a:cubicBezTo>
                <a:lnTo>
                  <a:pt x="3109590" y="671645"/>
                </a:lnTo>
                <a:lnTo>
                  <a:pt x="3099284" y="670264"/>
                </a:lnTo>
                <a:cubicBezTo>
                  <a:pt x="3086430" y="668430"/>
                  <a:pt x="3074416" y="665671"/>
                  <a:pt x="3066781" y="657645"/>
                </a:cubicBezTo>
                <a:cubicBezTo>
                  <a:pt x="3067255" y="642592"/>
                  <a:pt x="3055978" y="638189"/>
                  <a:pt x="3051350" y="628900"/>
                </a:cubicBezTo>
                <a:cubicBezTo>
                  <a:pt x="3052672" y="623964"/>
                  <a:pt x="3054387" y="618674"/>
                  <a:pt x="3057265" y="613465"/>
                </a:cubicBezTo>
                <a:lnTo>
                  <a:pt x="3062523" y="606018"/>
                </a:lnTo>
                <a:lnTo>
                  <a:pt x="3059083" y="600037"/>
                </a:lnTo>
                <a:lnTo>
                  <a:pt x="3065954" y="600958"/>
                </a:lnTo>
                <a:lnTo>
                  <a:pt x="3067751" y="598679"/>
                </a:lnTo>
                <a:lnTo>
                  <a:pt x="3074877" y="593114"/>
                </a:lnTo>
                <a:lnTo>
                  <a:pt x="3074191" y="592355"/>
                </a:lnTo>
                <a:cubicBezTo>
                  <a:pt x="3073343" y="591093"/>
                  <a:pt x="3073660" y="589912"/>
                  <a:pt x="3074805" y="588955"/>
                </a:cubicBezTo>
                <a:lnTo>
                  <a:pt x="3082337" y="587407"/>
                </a:lnTo>
                <a:lnTo>
                  <a:pt x="3083398" y="586771"/>
                </a:lnTo>
                <a:cubicBezTo>
                  <a:pt x="3089615" y="583492"/>
                  <a:pt x="3096490" y="581078"/>
                  <a:pt x="3104794" y="579969"/>
                </a:cubicBezTo>
                <a:close/>
                <a:moveTo>
                  <a:pt x="2601283" y="579592"/>
                </a:moveTo>
                <a:cubicBezTo>
                  <a:pt x="2602784" y="578829"/>
                  <a:pt x="2604307" y="578404"/>
                  <a:pt x="2607384" y="580206"/>
                </a:cubicBezTo>
                <a:cubicBezTo>
                  <a:pt x="2608860" y="582441"/>
                  <a:pt x="2609058" y="585024"/>
                  <a:pt x="2606028" y="588583"/>
                </a:cubicBezTo>
                <a:cubicBezTo>
                  <a:pt x="2603948" y="588600"/>
                  <a:pt x="2601953" y="588296"/>
                  <a:pt x="2600598" y="587818"/>
                </a:cubicBezTo>
                <a:cubicBezTo>
                  <a:pt x="2596478" y="586598"/>
                  <a:pt x="2596032" y="583834"/>
                  <a:pt x="2595309" y="580995"/>
                </a:cubicBezTo>
                <a:cubicBezTo>
                  <a:pt x="2598301" y="581451"/>
                  <a:pt x="2599782" y="580353"/>
                  <a:pt x="2601283" y="579592"/>
                </a:cubicBezTo>
                <a:close/>
                <a:moveTo>
                  <a:pt x="3175289" y="579193"/>
                </a:moveTo>
                <a:cubicBezTo>
                  <a:pt x="3177416" y="580108"/>
                  <a:pt x="3177388" y="580215"/>
                  <a:pt x="3178560" y="582484"/>
                </a:cubicBezTo>
                <a:cubicBezTo>
                  <a:pt x="3175648" y="582279"/>
                  <a:pt x="3174236" y="582016"/>
                  <a:pt x="3173100" y="581827"/>
                </a:cubicBezTo>
                <a:cubicBezTo>
                  <a:pt x="3171993" y="581531"/>
                  <a:pt x="3170915" y="581127"/>
                  <a:pt x="3168789" y="580211"/>
                </a:cubicBezTo>
                <a:cubicBezTo>
                  <a:pt x="3170344" y="579939"/>
                  <a:pt x="3173162" y="578278"/>
                  <a:pt x="3175289" y="579193"/>
                </a:cubicBezTo>
                <a:close/>
                <a:moveTo>
                  <a:pt x="3661161" y="578856"/>
                </a:moveTo>
                <a:cubicBezTo>
                  <a:pt x="3666393" y="577037"/>
                  <a:pt x="3670821" y="578223"/>
                  <a:pt x="3674216" y="579938"/>
                </a:cubicBezTo>
                <a:lnTo>
                  <a:pt x="3675266" y="580449"/>
                </a:lnTo>
                <a:lnTo>
                  <a:pt x="3681576" y="579035"/>
                </a:lnTo>
                <a:cubicBezTo>
                  <a:pt x="3691473" y="579733"/>
                  <a:pt x="3698890" y="587470"/>
                  <a:pt x="3695648" y="592926"/>
                </a:cubicBezTo>
                <a:cubicBezTo>
                  <a:pt x="3694405" y="595353"/>
                  <a:pt x="3690891" y="597401"/>
                  <a:pt x="3684476" y="598098"/>
                </a:cubicBezTo>
                <a:lnTo>
                  <a:pt x="3683818" y="597232"/>
                </a:lnTo>
                <a:lnTo>
                  <a:pt x="3681371" y="600831"/>
                </a:lnTo>
                <a:cubicBezTo>
                  <a:pt x="3680523" y="599568"/>
                  <a:pt x="3673602" y="601049"/>
                  <a:pt x="3667676" y="599921"/>
                </a:cubicBezTo>
                <a:cubicBezTo>
                  <a:pt x="3665710" y="599510"/>
                  <a:pt x="3664078" y="598958"/>
                  <a:pt x="3662591" y="597868"/>
                </a:cubicBezTo>
                <a:cubicBezTo>
                  <a:pt x="3659644" y="595584"/>
                  <a:pt x="3658329" y="593851"/>
                  <a:pt x="3655659" y="591641"/>
                </a:cubicBezTo>
                <a:cubicBezTo>
                  <a:pt x="3656550" y="588316"/>
                  <a:pt x="3652853" y="583300"/>
                  <a:pt x="3661161" y="578856"/>
                </a:cubicBezTo>
                <a:close/>
                <a:moveTo>
                  <a:pt x="2105643" y="577786"/>
                </a:moveTo>
                <a:cubicBezTo>
                  <a:pt x="2112024" y="580532"/>
                  <a:pt x="2114989" y="583856"/>
                  <a:pt x="2113067" y="587711"/>
                </a:cubicBezTo>
                <a:cubicBezTo>
                  <a:pt x="2110849" y="590451"/>
                  <a:pt x="2107371" y="594580"/>
                  <a:pt x="2101589" y="592916"/>
                </a:cubicBezTo>
                <a:cubicBezTo>
                  <a:pt x="2101018" y="591727"/>
                  <a:pt x="2099492" y="591894"/>
                  <a:pt x="2098919" y="590705"/>
                </a:cubicBezTo>
                <a:cubicBezTo>
                  <a:pt x="2098919" y="590705"/>
                  <a:pt x="2097708" y="589690"/>
                  <a:pt x="2096671" y="588032"/>
                </a:cubicBezTo>
                <a:cubicBezTo>
                  <a:pt x="2096317" y="587132"/>
                  <a:pt x="2095966" y="586234"/>
                  <a:pt x="2095976" y="585086"/>
                </a:cubicBezTo>
                <a:cubicBezTo>
                  <a:pt x="2095710" y="583865"/>
                  <a:pt x="2096026" y="582684"/>
                  <a:pt x="2096953" y="581438"/>
                </a:cubicBezTo>
                <a:cubicBezTo>
                  <a:pt x="2097938" y="579977"/>
                  <a:pt x="2101683" y="577070"/>
                  <a:pt x="2102283" y="578151"/>
                </a:cubicBezTo>
                <a:cubicBezTo>
                  <a:pt x="2104382" y="579173"/>
                  <a:pt x="2104116" y="577952"/>
                  <a:pt x="2105643" y="577786"/>
                </a:cubicBezTo>
                <a:close/>
                <a:moveTo>
                  <a:pt x="2792660" y="577179"/>
                </a:moveTo>
                <a:cubicBezTo>
                  <a:pt x="2808483" y="587859"/>
                  <a:pt x="2826616" y="579953"/>
                  <a:pt x="2839531" y="587094"/>
                </a:cubicBezTo>
                <a:lnTo>
                  <a:pt x="2844433" y="590936"/>
                </a:lnTo>
                <a:lnTo>
                  <a:pt x="2847746" y="589640"/>
                </a:lnTo>
                <a:cubicBezTo>
                  <a:pt x="2849256" y="588434"/>
                  <a:pt x="2850737" y="587335"/>
                  <a:pt x="2852378" y="586741"/>
                </a:cubicBezTo>
                <a:cubicBezTo>
                  <a:pt x="2853992" y="586253"/>
                  <a:pt x="2855738" y="586376"/>
                  <a:pt x="2857503" y="587538"/>
                </a:cubicBezTo>
                <a:cubicBezTo>
                  <a:pt x="2856277" y="591005"/>
                  <a:pt x="2854785" y="593251"/>
                  <a:pt x="2851814" y="596595"/>
                </a:cubicBezTo>
                <a:cubicBezTo>
                  <a:pt x="2851814" y="596595"/>
                  <a:pt x="2845558" y="601129"/>
                  <a:pt x="2840282" y="598680"/>
                </a:cubicBezTo>
                <a:cubicBezTo>
                  <a:pt x="2839395" y="598672"/>
                  <a:pt x="2838823" y="597483"/>
                  <a:pt x="2838863" y="596229"/>
                </a:cubicBezTo>
                <a:cubicBezTo>
                  <a:pt x="2838626" y="594901"/>
                  <a:pt x="2838999" y="593507"/>
                  <a:pt x="2839725" y="593011"/>
                </a:cubicBezTo>
                <a:lnTo>
                  <a:pt x="2844099" y="591078"/>
                </a:lnTo>
                <a:lnTo>
                  <a:pt x="2822487" y="594256"/>
                </a:lnTo>
                <a:cubicBezTo>
                  <a:pt x="2818297" y="594399"/>
                  <a:pt x="2814165" y="594327"/>
                  <a:pt x="2809622" y="593569"/>
                </a:cubicBezTo>
                <a:cubicBezTo>
                  <a:pt x="2805079" y="592813"/>
                  <a:pt x="2800099" y="591478"/>
                  <a:pt x="2794460" y="589277"/>
                </a:cubicBezTo>
                <a:cubicBezTo>
                  <a:pt x="2793415" y="585432"/>
                  <a:pt x="2786254" y="580063"/>
                  <a:pt x="2792660" y="577179"/>
                </a:cubicBezTo>
                <a:close/>
                <a:moveTo>
                  <a:pt x="2389070" y="577024"/>
                </a:moveTo>
                <a:cubicBezTo>
                  <a:pt x="2395632" y="581312"/>
                  <a:pt x="2395727" y="592033"/>
                  <a:pt x="2383909" y="591857"/>
                </a:cubicBezTo>
                <a:cubicBezTo>
                  <a:pt x="2379044" y="590093"/>
                  <a:pt x="2373903" y="588256"/>
                  <a:pt x="2372209" y="582397"/>
                </a:cubicBezTo>
                <a:cubicBezTo>
                  <a:pt x="2375077" y="578336"/>
                  <a:pt x="2379642" y="576798"/>
                  <a:pt x="2389070" y="577024"/>
                </a:cubicBezTo>
                <a:close/>
                <a:moveTo>
                  <a:pt x="1567880" y="576985"/>
                </a:moveTo>
                <a:cubicBezTo>
                  <a:pt x="1576163" y="587025"/>
                  <a:pt x="1584881" y="592121"/>
                  <a:pt x="1594045" y="599981"/>
                </a:cubicBezTo>
                <a:cubicBezTo>
                  <a:pt x="1593164" y="602161"/>
                  <a:pt x="1590432" y="603498"/>
                  <a:pt x="1584485" y="604665"/>
                </a:cubicBezTo>
                <a:cubicBezTo>
                  <a:pt x="1579221" y="592214"/>
                  <a:pt x="1567376" y="601001"/>
                  <a:pt x="1562863" y="591281"/>
                </a:cubicBezTo>
                <a:cubicBezTo>
                  <a:pt x="1563230" y="587699"/>
                  <a:pt x="1561746" y="583277"/>
                  <a:pt x="1564135" y="579892"/>
                </a:cubicBezTo>
                <a:cubicBezTo>
                  <a:pt x="1565005" y="578859"/>
                  <a:pt x="1566151" y="577902"/>
                  <a:pt x="1567880" y="576985"/>
                </a:cubicBezTo>
                <a:close/>
                <a:moveTo>
                  <a:pt x="2037078" y="576895"/>
                </a:moveTo>
                <a:cubicBezTo>
                  <a:pt x="2042041" y="577190"/>
                  <a:pt x="2045494" y="578690"/>
                  <a:pt x="2048925" y="582484"/>
                </a:cubicBezTo>
                <a:cubicBezTo>
                  <a:pt x="2045638" y="587008"/>
                  <a:pt x="2047118" y="585910"/>
                  <a:pt x="2040653" y="589008"/>
                </a:cubicBezTo>
                <a:cubicBezTo>
                  <a:pt x="2037182" y="586468"/>
                  <a:pt x="2033768" y="583713"/>
                  <a:pt x="2030296" y="581172"/>
                </a:cubicBezTo>
                <a:cubicBezTo>
                  <a:pt x="2033829" y="580165"/>
                  <a:pt x="2035320" y="577919"/>
                  <a:pt x="2037078" y="576895"/>
                </a:cubicBezTo>
                <a:close/>
                <a:moveTo>
                  <a:pt x="4065203" y="575107"/>
                </a:moveTo>
                <a:cubicBezTo>
                  <a:pt x="4067371" y="574767"/>
                  <a:pt x="4069728" y="574824"/>
                  <a:pt x="4072524" y="575458"/>
                </a:cubicBezTo>
                <a:cubicBezTo>
                  <a:pt x="4075779" y="574375"/>
                  <a:pt x="4080523" y="574381"/>
                  <a:pt x="4084034" y="575667"/>
                </a:cubicBezTo>
                <a:cubicBezTo>
                  <a:pt x="4087534" y="578099"/>
                  <a:pt x="4087789" y="580469"/>
                  <a:pt x="4086309" y="581566"/>
                </a:cubicBezTo>
                <a:cubicBezTo>
                  <a:pt x="4075837" y="591871"/>
                  <a:pt x="4060265" y="586893"/>
                  <a:pt x="4057287" y="588050"/>
                </a:cubicBezTo>
                <a:cubicBezTo>
                  <a:pt x="4054530" y="586162"/>
                  <a:pt x="4053262" y="585362"/>
                  <a:pt x="4053330" y="584001"/>
                </a:cubicBezTo>
                <a:cubicBezTo>
                  <a:pt x="4053675" y="582712"/>
                  <a:pt x="4055634" y="580938"/>
                  <a:pt x="4059246" y="577419"/>
                </a:cubicBezTo>
                <a:cubicBezTo>
                  <a:pt x="4061002" y="576396"/>
                  <a:pt x="4063008" y="575554"/>
                  <a:pt x="4065203" y="575107"/>
                </a:cubicBezTo>
                <a:close/>
                <a:moveTo>
                  <a:pt x="4443082" y="574927"/>
                </a:moveTo>
                <a:cubicBezTo>
                  <a:pt x="4444817" y="576197"/>
                  <a:pt x="4444856" y="574942"/>
                  <a:pt x="4446603" y="575066"/>
                </a:cubicBezTo>
                <a:cubicBezTo>
                  <a:pt x="4445094" y="576271"/>
                  <a:pt x="4445309" y="579894"/>
                  <a:pt x="4444065" y="582321"/>
                </a:cubicBezTo>
                <a:cubicBezTo>
                  <a:pt x="4442320" y="582198"/>
                  <a:pt x="4440810" y="583404"/>
                  <a:pt x="4439341" y="583355"/>
                </a:cubicBezTo>
                <a:cubicBezTo>
                  <a:pt x="4439207" y="582744"/>
                  <a:pt x="4438855" y="581846"/>
                  <a:pt x="4438474" y="581053"/>
                </a:cubicBezTo>
                <a:cubicBezTo>
                  <a:pt x="4438093" y="580260"/>
                  <a:pt x="4438237" y="579724"/>
                  <a:pt x="4438819" y="579765"/>
                </a:cubicBezTo>
                <a:cubicBezTo>
                  <a:pt x="4438858" y="578511"/>
                  <a:pt x="4442104" y="578575"/>
                  <a:pt x="4442104" y="578575"/>
                </a:cubicBezTo>
                <a:cubicBezTo>
                  <a:pt x="4441838" y="577355"/>
                  <a:pt x="4441572" y="576133"/>
                  <a:pt x="4443082" y="574927"/>
                </a:cubicBezTo>
                <a:close/>
                <a:moveTo>
                  <a:pt x="3330790" y="574398"/>
                </a:moveTo>
                <a:cubicBezTo>
                  <a:pt x="3339720" y="577597"/>
                  <a:pt x="3332727" y="583773"/>
                  <a:pt x="3327125" y="583651"/>
                </a:cubicBezTo>
                <a:cubicBezTo>
                  <a:pt x="3325102" y="583455"/>
                  <a:pt x="3323527" y="582688"/>
                  <a:pt x="3322547" y="580814"/>
                </a:cubicBezTo>
                <a:cubicBezTo>
                  <a:pt x="3324315" y="578644"/>
                  <a:pt x="3327552" y="576522"/>
                  <a:pt x="3330790" y="574398"/>
                </a:cubicBezTo>
                <a:close/>
                <a:moveTo>
                  <a:pt x="1480362" y="573775"/>
                </a:moveTo>
                <a:cubicBezTo>
                  <a:pt x="1484548" y="576967"/>
                  <a:pt x="1478964" y="586741"/>
                  <a:pt x="1475267" y="590580"/>
                </a:cubicBezTo>
                <a:cubicBezTo>
                  <a:pt x="1474026" y="589673"/>
                  <a:pt x="1473732" y="588559"/>
                  <a:pt x="1473553" y="587016"/>
                </a:cubicBezTo>
                <a:cubicBezTo>
                  <a:pt x="1473510" y="582749"/>
                  <a:pt x="1477534" y="576582"/>
                  <a:pt x="1480362" y="573775"/>
                </a:cubicBezTo>
                <a:close/>
                <a:moveTo>
                  <a:pt x="1187095" y="573626"/>
                </a:moveTo>
                <a:cubicBezTo>
                  <a:pt x="1190893" y="573838"/>
                  <a:pt x="1190893" y="573838"/>
                  <a:pt x="1193535" y="576156"/>
                </a:cubicBezTo>
                <a:cubicBezTo>
                  <a:pt x="1193247" y="577229"/>
                  <a:pt x="1194849" y="577889"/>
                  <a:pt x="1192655" y="578335"/>
                </a:cubicBezTo>
                <a:cubicBezTo>
                  <a:pt x="1196612" y="582386"/>
                  <a:pt x="1197885" y="594227"/>
                  <a:pt x="1194494" y="598034"/>
                </a:cubicBezTo>
                <a:cubicBezTo>
                  <a:pt x="1182970" y="584595"/>
                  <a:pt x="1193376" y="581174"/>
                  <a:pt x="1187095" y="573626"/>
                </a:cubicBezTo>
                <a:close/>
                <a:moveTo>
                  <a:pt x="2001185" y="573602"/>
                </a:moveTo>
                <a:cubicBezTo>
                  <a:pt x="2004646" y="577289"/>
                  <a:pt x="2010251" y="574077"/>
                  <a:pt x="2011200" y="579391"/>
                </a:cubicBezTo>
                <a:cubicBezTo>
                  <a:pt x="2010014" y="581604"/>
                  <a:pt x="2007198" y="583264"/>
                  <a:pt x="2001117" y="583819"/>
                </a:cubicBezTo>
                <a:cubicBezTo>
                  <a:pt x="1999380" y="582549"/>
                  <a:pt x="1998475" y="581501"/>
                  <a:pt x="1997847" y="580528"/>
                </a:cubicBezTo>
                <a:cubicBezTo>
                  <a:pt x="1995961" y="577607"/>
                  <a:pt x="1998586" y="575551"/>
                  <a:pt x="2001185" y="573602"/>
                </a:cubicBezTo>
                <a:close/>
                <a:moveTo>
                  <a:pt x="2645425" y="573263"/>
                </a:moveTo>
                <a:cubicBezTo>
                  <a:pt x="2649202" y="575770"/>
                  <a:pt x="2650923" y="581521"/>
                  <a:pt x="2647599" y="583966"/>
                </a:cubicBezTo>
                <a:cubicBezTo>
                  <a:pt x="2642072" y="584670"/>
                  <a:pt x="2640653" y="582220"/>
                  <a:pt x="2637207" y="582907"/>
                </a:cubicBezTo>
                <a:cubicBezTo>
                  <a:pt x="2635456" y="577262"/>
                  <a:pt x="2638751" y="574925"/>
                  <a:pt x="2645425" y="573263"/>
                </a:cubicBezTo>
                <a:close/>
                <a:moveTo>
                  <a:pt x="1181578" y="573183"/>
                </a:moveTo>
                <a:cubicBezTo>
                  <a:pt x="1185834" y="575013"/>
                  <a:pt x="1190059" y="576949"/>
                  <a:pt x="1187842" y="579691"/>
                </a:cubicBezTo>
                <a:cubicBezTo>
                  <a:pt x="1186886" y="581045"/>
                  <a:pt x="1185624" y="582431"/>
                  <a:pt x="1182237" y="582905"/>
                </a:cubicBezTo>
                <a:cubicBezTo>
                  <a:pt x="1178286" y="581041"/>
                  <a:pt x="1178377" y="577385"/>
                  <a:pt x="1176280" y="576363"/>
                </a:cubicBezTo>
                <a:cubicBezTo>
                  <a:pt x="1177806" y="576196"/>
                  <a:pt x="1181194" y="575725"/>
                  <a:pt x="1181578" y="573183"/>
                </a:cubicBezTo>
                <a:close/>
                <a:moveTo>
                  <a:pt x="3286057" y="573108"/>
                </a:moveTo>
                <a:cubicBezTo>
                  <a:pt x="3294262" y="567946"/>
                  <a:pt x="3298962" y="581395"/>
                  <a:pt x="3290126" y="580063"/>
                </a:cubicBezTo>
                <a:cubicBezTo>
                  <a:pt x="3289115" y="578297"/>
                  <a:pt x="3286503" y="575872"/>
                  <a:pt x="3286057" y="573108"/>
                </a:cubicBezTo>
                <a:close/>
                <a:moveTo>
                  <a:pt x="2936968" y="570996"/>
                </a:moveTo>
                <a:cubicBezTo>
                  <a:pt x="2937284" y="569815"/>
                  <a:pt x="2941528" y="572793"/>
                  <a:pt x="2941528" y="572793"/>
                </a:cubicBezTo>
                <a:cubicBezTo>
                  <a:pt x="2942843" y="574525"/>
                  <a:pt x="2938412" y="576673"/>
                  <a:pt x="2938124" y="577746"/>
                </a:cubicBezTo>
                <a:cubicBezTo>
                  <a:pt x="2936493" y="577194"/>
                  <a:pt x="2935207" y="575354"/>
                  <a:pt x="2933575" y="574802"/>
                </a:cubicBezTo>
                <a:cubicBezTo>
                  <a:pt x="2933892" y="573621"/>
                  <a:pt x="2934772" y="571443"/>
                  <a:pt x="2936968" y="570996"/>
                </a:cubicBezTo>
                <a:close/>
                <a:moveTo>
                  <a:pt x="2360466" y="570611"/>
                </a:moveTo>
                <a:cubicBezTo>
                  <a:pt x="2363277" y="570630"/>
                  <a:pt x="2365656" y="571440"/>
                  <a:pt x="2367104" y="573783"/>
                </a:cubicBezTo>
                <a:cubicBezTo>
                  <a:pt x="2365803" y="576425"/>
                  <a:pt x="2362489" y="577722"/>
                  <a:pt x="2359244" y="577658"/>
                </a:cubicBezTo>
                <a:cubicBezTo>
                  <a:pt x="2356028" y="577487"/>
                  <a:pt x="2352910" y="575845"/>
                  <a:pt x="2351224" y="572173"/>
                </a:cubicBezTo>
                <a:cubicBezTo>
                  <a:pt x="2354407" y="571359"/>
                  <a:pt x="2357653" y="570590"/>
                  <a:pt x="2360466" y="570611"/>
                </a:cubicBezTo>
                <a:close/>
                <a:moveTo>
                  <a:pt x="4468991" y="568989"/>
                </a:moveTo>
                <a:cubicBezTo>
                  <a:pt x="4470184" y="568964"/>
                  <a:pt x="4471596" y="569228"/>
                  <a:pt x="4472922" y="569813"/>
                </a:cubicBezTo>
                <a:cubicBezTo>
                  <a:pt x="4476433" y="571098"/>
                  <a:pt x="4474942" y="573344"/>
                  <a:pt x="4471952" y="575647"/>
                </a:cubicBezTo>
                <a:cubicBezTo>
                  <a:pt x="4468693" y="580064"/>
                  <a:pt x="4465235" y="581898"/>
                  <a:pt x="4461362" y="580860"/>
                </a:cubicBezTo>
                <a:cubicBezTo>
                  <a:pt x="4459978" y="580489"/>
                  <a:pt x="4458652" y="579904"/>
                  <a:pt x="4457412" y="578997"/>
                </a:cubicBezTo>
                <a:cubicBezTo>
                  <a:pt x="4457147" y="577776"/>
                  <a:pt x="4458373" y="574309"/>
                  <a:pt x="4456625" y="574186"/>
                </a:cubicBezTo>
                <a:cubicBezTo>
                  <a:pt x="4460255" y="571709"/>
                  <a:pt x="4464801" y="569131"/>
                  <a:pt x="4468991" y="568989"/>
                </a:cubicBezTo>
                <a:close/>
                <a:moveTo>
                  <a:pt x="2487711" y="565706"/>
                </a:moveTo>
                <a:cubicBezTo>
                  <a:pt x="2499132" y="565834"/>
                  <a:pt x="2511850" y="568177"/>
                  <a:pt x="2517487" y="570378"/>
                </a:cubicBezTo>
                <a:cubicBezTo>
                  <a:pt x="2503615" y="573446"/>
                  <a:pt x="2480437" y="578046"/>
                  <a:pt x="2465715" y="574330"/>
                </a:cubicBezTo>
                <a:cubicBezTo>
                  <a:pt x="2466166" y="567667"/>
                  <a:pt x="2476290" y="565578"/>
                  <a:pt x="2487711" y="565706"/>
                </a:cubicBezTo>
                <a:close/>
                <a:moveTo>
                  <a:pt x="1211072" y="563835"/>
                </a:moveTo>
                <a:cubicBezTo>
                  <a:pt x="1213533" y="564609"/>
                  <a:pt x="1215211" y="566094"/>
                  <a:pt x="1215772" y="568429"/>
                </a:cubicBezTo>
                <a:cubicBezTo>
                  <a:pt x="1211908" y="575099"/>
                  <a:pt x="1203018" y="570648"/>
                  <a:pt x="1192165" y="571304"/>
                </a:cubicBezTo>
                <a:cubicBezTo>
                  <a:pt x="1191504" y="564917"/>
                  <a:pt x="1203744" y="561297"/>
                  <a:pt x="1211072" y="563835"/>
                </a:cubicBezTo>
                <a:close/>
                <a:moveTo>
                  <a:pt x="1760756" y="563101"/>
                </a:moveTo>
                <a:cubicBezTo>
                  <a:pt x="1768428" y="564143"/>
                  <a:pt x="1770232" y="575257"/>
                  <a:pt x="1773755" y="581203"/>
                </a:cubicBezTo>
                <a:cubicBezTo>
                  <a:pt x="1768150" y="584417"/>
                  <a:pt x="1765925" y="584971"/>
                  <a:pt x="1758766" y="585122"/>
                </a:cubicBezTo>
                <a:cubicBezTo>
                  <a:pt x="1754886" y="581898"/>
                  <a:pt x="1753057" y="578763"/>
                  <a:pt x="1752143" y="575528"/>
                </a:cubicBezTo>
                <a:cubicBezTo>
                  <a:pt x="1750926" y="572327"/>
                  <a:pt x="1750900" y="569099"/>
                  <a:pt x="1750846" y="565980"/>
                </a:cubicBezTo>
                <a:cubicBezTo>
                  <a:pt x="1754988" y="563525"/>
                  <a:pt x="1758198" y="562754"/>
                  <a:pt x="1760756" y="563101"/>
                </a:cubicBezTo>
                <a:close/>
                <a:moveTo>
                  <a:pt x="1781363" y="562772"/>
                </a:moveTo>
                <a:cubicBezTo>
                  <a:pt x="1781363" y="562772"/>
                  <a:pt x="1782527" y="562854"/>
                  <a:pt x="1783939" y="563118"/>
                </a:cubicBezTo>
                <a:cubicBezTo>
                  <a:pt x="1785324" y="563489"/>
                  <a:pt x="1786925" y="564148"/>
                  <a:pt x="1787613" y="564906"/>
                </a:cubicBezTo>
                <a:cubicBezTo>
                  <a:pt x="1790560" y="567191"/>
                  <a:pt x="1784773" y="568860"/>
                  <a:pt x="1784208" y="569860"/>
                </a:cubicBezTo>
                <a:cubicBezTo>
                  <a:pt x="1783235" y="570174"/>
                  <a:pt x="1782261" y="570488"/>
                  <a:pt x="1781374" y="570479"/>
                </a:cubicBezTo>
                <a:cubicBezTo>
                  <a:pt x="1780487" y="570473"/>
                  <a:pt x="1779685" y="570143"/>
                  <a:pt x="1779303" y="569350"/>
                </a:cubicBezTo>
                <a:cubicBezTo>
                  <a:pt x="1777960" y="567725"/>
                  <a:pt x="1776357" y="567066"/>
                  <a:pt x="1778564" y="565472"/>
                </a:cubicBezTo>
                <a:cubicBezTo>
                  <a:pt x="1778880" y="564292"/>
                  <a:pt x="1780799" y="563771"/>
                  <a:pt x="1781363" y="562772"/>
                </a:cubicBezTo>
                <a:close/>
                <a:moveTo>
                  <a:pt x="3422534" y="561836"/>
                </a:moveTo>
                <a:cubicBezTo>
                  <a:pt x="3424309" y="561851"/>
                  <a:pt x="3425826" y="562833"/>
                  <a:pt x="3426674" y="564095"/>
                </a:cubicBezTo>
                <a:cubicBezTo>
                  <a:pt x="3429800" y="567923"/>
                  <a:pt x="3428676" y="575442"/>
                  <a:pt x="3421574" y="575379"/>
                </a:cubicBezTo>
                <a:cubicBezTo>
                  <a:pt x="3418445" y="574886"/>
                  <a:pt x="3415566" y="571239"/>
                  <a:pt x="3414710" y="567789"/>
                </a:cubicBezTo>
                <a:cubicBezTo>
                  <a:pt x="3414132" y="564415"/>
                  <a:pt x="3415854" y="561311"/>
                  <a:pt x="3422534" y="561836"/>
                </a:cubicBezTo>
                <a:close/>
                <a:moveTo>
                  <a:pt x="3169917" y="560503"/>
                </a:moveTo>
                <a:cubicBezTo>
                  <a:pt x="3181485" y="560498"/>
                  <a:pt x="3202511" y="569467"/>
                  <a:pt x="3198442" y="580222"/>
                </a:cubicBezTo>
                <a:cubicBezTo>
                  <a:pt x="3189401" y="574120"/>
                  <a:pt x="3177248" y="568563"/>
                  <a:pt x="3169917" y="560503"/>
                </a:cubicBezTo>
                <a:close/>
                <a:moveTo>
                  <a:pt x="3891724" y="559558"/>
                </a:moveTo>
                <a:cubicBezTo>
                  <a:pt x="3900981" y="560429"/>
                  <a:pt x="3899655" y="568699"/>
                  <a:pt x="3894872" y="569947"/>
                </a:cubicBezTo>
                <a:cubicBezTo>
                  <a:pt x="3894203" y="570227"/>
                  <a:pt x="3893316" y="570221"/>
                  <a:pt x="3892486" y="569998"/>
                </a:cubicBezTo>
                <a:cubicBezTo>
                  <a:pt x="3891656" y="569776"/>
                  <a:pt x="3890606" y="569264"/>
                  <a:pt x="3889643" y="568431"/>
                </a:cubicBezTo>
                <a:cubicBezTo>
                  <a:pt x="3889475" y="565741"/>
                  <a:pt x="3890614" y="562596"/>
                  <a:pt x="3891724" y="559558"/>
                </a:cubicBezTo>
                <a:close/>
                <a:moveTo>
                  <a:pt x="3006988" y="558708"/>
                </a:moveTo>
                <a:cubicBezTo>
                  <a:pt x="3008965" y="557972"/>
                  <a:pt x="3012257" y="558969"/>
                  <a:pt x="3015232" y="561146"/>
                </a:cubicBezTo>
                <a:cubicBezTo>
                  <a:pt x="3013256" y="561882"/>
                  <a:pt x="3014560" y="564762"/>
                  <a:pt x="3012612" y="565390"/>
                </a:cubicBezTo>
                <a:cubicBezTo>
                  <a:pt x="3012612" y="565390"/>
                  <a:pt x="3007345" y="565128"/>
                  <a:pt x="3007345" y="565128"/>
                </a:cubicBezTo>
                <a:cubicBezTo>
                  <a:pt x="3006029" y="563395"/>
                  <a:pt x="3006029" y="563395"/>
                  <a:pt x="3007661" y="563948"/>
                </a:cubicBezTo>
                <a:cubicBezTo>
                  <a:pt x="3006633" y="561142"/>
                  <a:pt x="3006672" y="559888"/>
                  <a:pt x="3006988" y="558708"/>
                </a:cubicBezTo>
                <a:close/>
                <a:moveTo>
                  <a:pt x="3794899" y="557880"/>
                </a:moveTo>
                <a:cubicBezTo>
                  <a:pt x="3795187" y="556807"/>
                  <a:pt x="3798421" y="558018"/>
                  <a:pt x="3798421" y="558018"/>
                </a:cubicBezTo>
                <a:cubicBezTo>
                  <a:pt x="3801339" y="560411"/>
                  <a:pt x="3798263" y="563036"/>
                  <a:pt x="3797688" y="565181"/>
                </a:cubicBezTo>
                <a:cubicBezTo>
                  <a:pt x="3800329" y="567499"/>
                  <a:pt x="3792721" y="568221"/>
                  <a:pt x="3795363" y="570539"/>
                </a:cubicBezTo>
                <a:cubicBezTo>
                  <a:pt x="3787439" y="572441"/>
                  <a:pt x="3793432" y="581062"/>
                  <a:pt x="3782462" y="585482"/>
                </a:cubicBezTo>
                <a:cubicBezTo>
                  <a:pt x="3782407" y="582363"/>
                  <a:pt x="3782850" y="579606"/>
                  <a:pt x="3783482" y="577246"/>
                </a:cubicBezTo>
                <a:cubicBezTo>
                  <a:pt x="3785991" y="570098"/>
                  <a:pt x="3790997" y="565804"/>
                  <a:pt x="3790497" y="559920"/>
                </a:cubicBezTo>
                <a:cubicBezTo>
                  <a:pt x="3790497" y="559920"/>
                  <a:pt x="3790497" y="559920"/>
                  <a:pt x="3794335" y="558878"/>
                </a:cubicBezTo>
                <a:cubicBezTo>
                  <a:pt x="3794899" y="557880"/>
                  <a:pt x="3794899" y="557880"/>
                  <a:pt x="3794899" y="557880"/>
                </a:cubicBezTo>
                <a:close/>
                <a:moveTo>
                  <a:pt x="1624317" y="557837"/>
                </a:moveTo>
                <a:cubicBezTo>
                  <a:pt x="1634408" y="555596"/>
                  <a:pt x="1648253" y="558155"/>
                  <a:pt x="1661345" y="570173"/>
                </a:cubicBezTo>
                <a:lnTo>
                  <a:pt x="1660666" y="571602"/>
                </a:lnTo>
                <a:lnTo>
                  <a:pt x="1664231" y="567152"/>
                </a:lnTo>
                <a:cubicBezTo>
                  <a:pt x="1667446" y="567323"/>
                  <a:pt x="1670128" y="568386"/>
                  <a:pt x="1672360" y="570020"/>
                </a:cubicBezTo>
                <a:lnTo>
                  <a:pt x="1674419" y="572297"/>
                </a:lnTo>
                <a:lnTo>
                  <a:pt x="1675776" y="569441"/>
                </a:lnTo>
                <a:cubicBezTo>
                  <a:pt x="1680365" y="571130"/>
                  <a:pt x="1683830" y="571483"/>
                  <a:pt x="1686835" y="573554"/>
                </a:cubicBezTo>
                <a:cubicBezTo>
                  <a:pt x="1687442" y="576821"/>
                  <a:pt x="1686370" y="578604"/>
                  <a:pt x="1683899" y="578977"/>
                </a:cubicBezTo>
                <a:lnTo>
                  <a:pt x="1677782" y="577453"/>
                </a:lnTo>
                <a:lnTo>
                  <a:pt x="1679036" y="582734"/>
                </a:lnTo>
                <a:cubicBezTo>
                  <a:pt x="1678767" y="584846"/>
                  <a:pt x="1677972" y="586704"/>
                  <a:pt x="1676464" y="587910"/>
                </a:cubicBezTo>
                <a:cubicBezTo>
                  <a:pt x="1671777" y="587689"/>
                  <a:pt x="1667390" y="585249"/>
                  <a:pt x="1664672" y="582105"/>
                </a:cubicBezTo>
                <a:lnTo>
                  <a:pt x="1660551" y="572031"/>
                </a:lnTo>
                <a:lnTo>
                  <a:pt x="1656333" y="581135"/>
                </a:lnTo>
                <a:cubicBezTo>
                  <a:pt x="1649059" y="590572"/>
                  <a:pt x="1635454" y="594861"/>
                  <a:pt x="1622020" y="589652"/>
                </a:cubicBezTo>
                <a:cubicBezTo>
                  <a:pt x="1616774" y="587097"/>
                  <a:pt x="1613140" y="584053"/>
                  <a:pt x="1611035" y="580843"/>
                </a:cubicBezTo>
                <a:lnTo>
                  <a:pt x="1609649" y="574952"/>
                </a:lnTo>
                <a:lnTo>
                  <a:pt x="1607190" y="570843"/>
                </a:lnTo>
                <a:cubicBezTo>
                  <a:pt x="1607190" y="570843"/>
                  <a:pt x="1607190" y="570843"/>
                  <a:pt x="1607456" y="572064"/>
                </a:cubicBezTo>
                <a:lnTo>
                  <a:pt x="1602029" y="576821"/>
                </a:lnTo>
                <a:lnTo>
                  <a:pt x="1604013" y="578272"/>
                </a:lnTo>
                <a:lnTo>
                  <a:pt x="1600491" y="578133"/>
                </a:lnTo>
                <a:lnTo>
                  <a:pt x="1597663" y="580941"/>
                </a:lnTo>
                <a:cubicBezTo>
                  <a:pt x="1593947" y="583740"/>
                  <a:pt x="1590157" y="585714"/>
                  <a:pt x="1587608" y="585262"/>
                </a:cubicBezTo>
                <a:cubicBezTo>
                  <a:pt x="1587314" y="584148"/>
                  <a:pt x="1587049" y="582926"/>
                  <a:pt x="1588280" y="581647"/>
                </a:cubicBezTo>
                <a:cubicBezTo>
                  <a:pt x="1589819" y="580334"/>
                  <a:pt x="1590085" y="581555"/>
                  <a:pt x="1589513" y="580367"/>
                </a:cubicBezTo>
                <a:cubicBezTo>
                  <a:pt x="1591051" y="579054"/>
                  <a:pt x="1589247" y="579146"/>
                  <a:pt x="1589247" y="579146"/>
                </a:cubicBezTo>
                <a:cubicBezTo>
                  <a:pt x="1589247" y="579146"/>
                  <a:pt x="1591051" y="579054"/>
                  <a:pt x="1591051" y="579054"/>
                </a:cubicBezTo>
                <a:cubicBezTo>
                  <a:pt x="1591051" y="579054"/>
                  <a:pt x="1591051" y="579054"/>
                  <a:pt x="1591442" y="578699"/>
                </a:cubicBezTo>
                <a:lnTo>
                  <a:pt x="1592313" y="577667"/>
                </a:lnTo>
                <a:lnTo>
                  <a:pt x="1584773" y="577026"/>
                </a:lnTo>
                <a:cubicBezTo>
                  <a:pt x="1580817" y="572977"/>
                  <a:pt x="1571826" y="573327"/>
                  <a:pt x="1566582" y="567438"/>
                </a:cubicBezTo>
                <a:cubicBezTo>
                  <a:pt x="1570985" y="565398"/>
                  <a:pt x="1579487" y="566870"/>
                  <a:pt x="1587397" y="569450"/>
                </a:cubicBezTo>
                <a:lnTo>
                  <a:pt x="1595410" y="572747"/>
                </a:lnTo>
                <a:lnTo>
                  <a:pt x="1595525" y="572318"/>
                </a:lnTo>
                <a:cubicBezTo>
                  <a:pt x="1595841" y="571138"/>
                  <a:pt x="1596071" y="570279"/>
                  <a:pt x="1596693" y="569065"/>
                </a:cubicBezTo>
                <a:cubicBezTo>
                  <a:pt x="1599188" y="566399"/>
                  <a:pt x="1600991" y="566307"/>
                  <a:pt x="1605262" y="563656"/>
                </a:cubicBezTo>
                <a:cubicBezTo>
                  <a:pt x="1608858" y="564619"/>
                  <a:pt x="1608829" y="564727"/>
                  <a:pt x="1609123" y="565841"/>
                </a:cubicBezTo>
                <a:cubicBezTo>
                  <a:pt x="1608829" y="564727"/>
                  <a:pt x="1610356" y="564561"/>
                  <a:pt x="1611865" y="563356"/>
                </a:cubicBezTo>
                <a:cubicBezTo>
                  <a:pt x="1613310" y="560178"/>
                  <a:pt x="1616566" y="559095"/>
                  <a:pt x="1620365" y="559309"/>
                </a:cubicBezTo>
                <a:lnTo>
                  <a:pt x="1620641" y="559382"/>
                </a:lnTo>
                <a:close/>
                <a:moveTo>
                  <a:pt x="3934132" y="557352"/>
                </a:moveTo>
                <a:cubicBezTo>
                  <a:pt x="3935821" y="557689"/>
                  <a:pt x="3937452" y="558242"/>
                  <a:pt x="3939217" y="559404"/>
                </a:cubicBezTo>
                <a:cubicBezTo>
                  <a:pt x="3940963" y="559526"/>
                  <a:pt x="3942972" y="564204"/>
                  <a:pt x="3941462" y="565411"/>
                </a:cubicBezTo>
                <a:cubicBezTo>
                  <a:pt x="3938462" y="568862"/>
                  <a:pt x="3933187" y="566413"/>
                  <a:pt x="3926431" y="565063"/>
                </a:cubicBezTo>
                <a:cubicBezTo>
                  <a:pt x="3927940" y="563857"/>
                  <a:pt x="3926175" y="562695"/>
                  <a:pt x="3924440" y="561424"/>
                </a:cubicBezTo>
                <a:cubicBezTo>
                  <a:pt x="3926952" y="559798"/>
                  <a:pt x="3929837" y="556776"/>
                  <a:pt x="3934132" y="557352"/>
                </a:cubicBezTo>
                <a:close/>
                <a:moveTo>
                  <a:pt x="3228940" y="557300"/>
                </a:moveTo>
                <a:cubicBezTo>
                  <a:pt x="3237173" y="559089"/>
                  <a:pt x="3246325" y="563669"/>
                  <a:pt x="3253888" y="569203"/>
                </a:cubicBezTo>
                <a:lnTo>
                  <a:pt x="3257463" y="572461"/>
                </a:lnTo>
                <a:lnTo>
                  <a:pt x="3258897" y="570431"/>
                </a:lnTo>
                <a:cubicBezTo>
                  <a:pt x="3260378" y="569332"/>
                  <a:pt x="3262354" y="568597"/>
                  <a:pt x="3264464" y="568472"/>
                </a:cubicBezTo>
                <a:cubicBezTo>
                  <a:pt x="3267489" y="568247"/>
                  <a:pt x="3270868" y="568923"/>
                  <a:pt x="3274149" y="571067"/>
                </a:cubicBezTo>
                <a:cubicBezTo>
                  <a:pt x="3273875" y="576514"/>
                  <a:pt x="3274871" y="582760"/>
                  <a:pt x="3270658" y="585197"/>
                </a:cubicBezTo>
                <a:lnTo>
                  <a:pt x="3268521" y="585429"/>
                </a:lnTo>
                <a:lnTo>
                  <a:pt x="3269340" y="586798"/>
                </a:lnTo>
                <a:cubicBezTo>
                  <a:pt x="3270368" y="589604"/>
                  <a:pt x="3270260" y="592220"/>
                  <a:pt x="3268797" y="594358"/>
                </a:cubicBezTo>
                <a:lnTo>
                  <a:pt x="3264222" y="597043"/>
                </a:lnTo>
                <a:lnTo>
                  <a:pt x="3268240" y="597544"/>
                </a:lnTo>
                <a:cubicBezTo>
                  <a:pt x="3269232" y="598270"/>
                  <a:pt x="3270109" y="599425"/>
                  <a:pt x="3269678" y="601034"/>
                </a:cubicBezTo>
                <a:cubicBezTo>
                  <a:pt x="3266202" y="601828"/>
                  <a:pt x="3263845" y="601771"/>
                  <a:pt x="3259130" y="601658"/>
                </a:cubicBezTo>
                <a:lnTo>
                  <a:pt x="3260345" y="599339"/>
                </a:lnTo>
                <a:lnTo>
                  <a:pt x="3243632" y="591985"/>
                </a:lnTo>
                <a:cubicBezTo>
                  <a:pt x="3231546" y="585067"/>
                  <a:pt x="3229722" y="578598"/>
                  <a:pt x="3209515" y="562143"/>
                </a:cubicBezTo>
                <a:cubicBezTo>
                  <a:pt x="3213396" y="556513"/>
                  <a:pt x="3220708" y="555511"/>
                  <a:pt x="3228940" y="557300"/>
                </a:cubicBezTo>
                <a:close/>
                <a:moveTo>
                  <a:pt x="2909574" y="554801"/>
                </a:moveTo>
                <a:cubicBezTo>
                  <a:pt x="2912075" y="554321"/>
                  <a:pt x="2915759" y="554963"/>
                  <a:pt x="2920452" y="557370"/>
                </a:cubicBezTo>
                <a:cubicBezTo>
                  <a:pt x="2924502" y="563286"/>
                  <a:pt x="2918343" y="566350"/>
                  <a:pt x="2917803" y="570576"/>
                </a:cubicBezTo>
                <a:cubicBezTo>
                  <a:pt x="2903709" y="567834"/>
                  <a:pt x="2902042" y="556348"/>
                  <a:pt x="2909574" y="554801"/>
                </a:cubicBezTo>
                <a:close/>
                <a:moveTo>
                  <a:pt x="1863732" y="553102"/>
                </a:moveTo>
                <a:cubicBezTo>
                  <a:pt x="1866153" y="555131"/>
                  <a:pt x="1869416" y="556235"/>
                  <a:pt x="1873718" y="558999"/>
                </a:cubicBezTo>
                <a:cubicBezTo>
                  <a:pt x="1871996" y="562102"/>
                  <a:pt x="1863602" y="566868"/>
                  <a:pt x="1855129" y="565287"/>
                </a:cubicBezTo>
                <a:cubicBezTo>
                  <a:pt x="1853813" y="563554"/>
                  <a:pt x="1852745" y="562003"/>
                  <a:pt x="1852509" y="560675"/>
                </a:cubicBezTo>
                <a:cubicBezTo>
                  <a:pt x="1851797" y="556689"/>
                  <a:pt x="1856008" y="554253"/>
                  <a:pt x="1863732" y="553102"/>
                </a:cubicBezTo>
                <a:close/>
                <a:moveTo>
                  <a:pt x="1467549" y="552977"/>
                </a:moveTo>
                <a:cubicBezTo>
                  <a:pt x="1468903" y="553455"/>
                  <a:pt x="1472109" y="554774"/>
                  <a:pt x="1474590" y="553254"/>
                </a:cubicBezTo>
                <a:cubicBezTo>
                  <a:pt x="1476945" y="556644"/>
                  <a:pt x="1479299" y="560035"/>
                  <a:pt x="1475184" y="561003"/>
                </a:cubicBezTo>
                <a:cubicBezTo>
                  <a:pt x="1473294" y="561417"/>
                  <a:pt x="1471376" y="561937"/>
                  <a:pt x="1468141" y="560725"/>
                </a:cubicBezTo>
                <a:cubicBezTo>
                  <a:pt x="1465786" y="557334"/>
                  <a:pt x="1468587" y="554634"/>
                  <a:pt x="1467549" y="552977"/>
                </a:cubicBezTo>
                <a:close/>
                <a:moveTo>
                  <a:pt x="3272384" y="552194"/>
                </a:moveTo>
                <a:cubicBezTo>
                  <a:pt x="3272679" y="553307"/>
                  <a:pt x="3272945" y="554530"/>
                  <a:pt x="3271446" y="554588"/>
                </a:cubicBezTo>
                <a:cubicBezTo>
                  <a:pt x="3271712" y="555810"/>
                  <a:pt x="3272018" y="555775"/>
                  <a:pt x="3270519" y="555835"/>
                </a:cubicBezTo>
                <a:cubicBezTo>
                  <a:pt x="3269947" y="554646"/>
                  <a:pt x="3269654" y="553532"/>
                  <a:pt x="3269387" y="552310"/>
                </a:cubicBezTo>
                <a:cubicBezTo>
                  <a:pt x="3270620" y="551031"/>
                  <a:pt x="3270620" y="551031"/>
                  <a:pt x="3272384" y="552194"/>
                </a:cubicBezTo>
                <a:close/>
                <a:moveTo>
                  <a:pt x="2114347" y="551944"/>
                </a:moveTo>
                <a:cubicBezTo>
                  <a:pt x="2114347" y="551944"/>
                  <a:pt x="2115977" y="552495"/>
                  <a:pt x="2115977" y="552495"/>
                </a:cubicBezTo>
                <a:cubicBezTo>
                  <a:pt x="2116121" y="551958"/>
                  <a:pt x="2116121" y="551958"/>
                  <a:pt x="2116589" y="552430"/>
                </a:cubicBezTo>
                <a:cubicBezTo>
                  <a:pt x="2116779" y="552825"/>
                  <a:pt x="2117466" y="553584"/>
                  <a:pt x="2118953" y="554673"/>
                </a:cubicBezTo>
                <a:cubicBezTo>
                  <a:pt x="2120020" y="556224"/>
                  <a:pt x="2121624" y="556883"/>
                  <a:pt x="2119733" y="557296"/>
                </a:cubicBezTo>
                <a:cubicBezTo>
                  <a:pt x="2118759" y="557611"/>
                  <a:pt x="2118425" y="557751"/>
                  <a:pt x="2117596" y="557529"/>
                </a:cubicBezTo>
                <a:cubicBezTo>
                  <a:pt x="2116736" y="557413"/>
                  <a:pt x="2115353" y="557043"/>
                  <a:pt x="2113197" y="556235"/>
                </a:cubicBezTo>
                <a:cubicBezTo>
                  <a:pt x="2115115" y="555714"/>
                  <a:pt x="2115115" y="555714"/>
                  <a:pt x="2113772" y="554089"/>
                </a:cubicBezTo>
                <a:cubicBezTo>
                  <a:pt x="2113772" y="554089"/>
                  <a:pt x="2113772" y="554089"/>
                  <a:pt x="2112141" y="553537"/>
                </a:cubicBezTo>
                <a:cubicBezTo>
                  <a:pt x="2112705" y="552539"/>
                  <a:pt x="2114059" y="553017"/>
                  <a:pt x="2114347" y="551944"/>
                </a:cubicBezTo>
                <a:close/>
                <a:moveTo>
                  <a:pt x="1039029" y="551776"/>
                </a:moveTo>
                <a:cubicBezTo>
                  <a:pt x="1042713" y="552419"/>
                  <a:pt x="1042595" y="556182"/>
                  <a:pt x="1043489" y="558376"/>
                </a:cubicBezTo>
                <a:cubicBezTo>
                  <a:pt x="1047144" y="559126"/>
                  <a:pt x="1042110" y="563528"/>
                  <a:pt x="1045792" y="564169"/>
                </a:cubicBezTo>
                <a:cubicBezTo>
                  <a:pt x="1041330" y="569758"/>
                  <a:pt x="1051937" y="574441"/>
                  <a:pt x="1047107" y="583612"/>
                </a:cubicBezTo>
                <a:cubicBezTo>
                  <a:pt x="1044581" y="580864"/>
                  <a:pt x="1043191" y="578307"/>
                  <a:pt x="1041799" y="575749"/>
                </a:cubicBezTo>
                <a:cubicBezTo>
                  <a:pt x="1038429" y="568406"/>
                  <a:pt x="1038932" y="562101"/>
                  <a:pt x="1034318" y="557185"/>
                </a:cubicBezTo>
                <a:cubicBezTo>
                  <a:pt x="1034318" y="557185"/>
                  <a:pt x="1034318" y="557185"/>
                  <a:pt x="1036812" y="554518"/>
                </a:cubicBezTo>
                <a:cubicBezTo>
                  <a:pt x="1036240" y="553329"/>
                  <a:pt x="1036240" y="553329"/>
                  <a:pt x="1036240" y="553329"/>
                </a:cubicBezTo>
                <a:cubicBezTo>
                  <a:pt x="1035669" y="552142"/>
                  <a:pt x="1039029" y="551776"/>
                  <a:pt x="1039029" y="551776"/>
                </a:cubicBezTo>
                <a:close/>
                <a:moveTo>
                  <a:pt x="4621002" y="551761"/>
                </a:moveTo>
                <a:cubicBezTo>
                  <a:pt x="4620992" y="552907"/>
                  <a:pt x="4621258" y="554128"/>
                  <a:pt x="4623005" y="554252"/>
                </a:cubicBezTo>
                <a:cubicBezTo>
                  <a:pt x="4619737" y="556481"/>
                  <a:pt x="4617992" y="556358"/>
                  <a:pt x="4616482" y="557563"/>
                </a:cubicBezTo>
                <a:cubicBezTo>
                  <a:pt x="4618258" y="557579"/>
                  <a:pt x="4616471" y="558711"/>
                  <a:pt x="4616471" y="558711"/>
                </a:cubicBezTo>
                <a:cubicBezTo>
                  <a:pt x="4616471" y="558711"/>
                  <a:pt x="4616471" y="558711"/>
                  <a:pt x="4620248" y="561218"/>
                </a:cubicBezTo>
                <a:cubicBezTo>
                  <a:pt x="4620248" y="561218"/>
                  <a:pt x="4627849" y="567164"/>
                  <a:pt x="4621581" y="572845"/>
                </a:cubicBezTo>
                <a:cubicBezTo>
                  <a:pt x="4619816" y="571683"/>
                  <a:pt x="4610265" y="578553"/>
                  <a:pt x="4603243" y="575981"/>
                </a:cubicBezTo>
                <a:cubicBezTo>
                  <a:pt x="4599703" y="574803"/>
                  <a:pt x="4597968" y="573534"/>
                  <a:pt x="4594428" y="572354"/>
                </a:cubicBezTo>
                <a:cubicBezTo>
                  <a:pt x="4594029" y="570523"/>
                  <a:pt x="4592742" y="568683"/>
                  <a:pt x="4592124" y="566562"/>
                </a:cubicBezTo>
                <a:cubicBezTo>
                  <a:pt x="4591258" y="564260"/>
                  <a:pt x="4591366" y="561644"/>
                  <a:pt x="4594367" y="558193"/>
                </a:cubicBezTo>
                <a:cubicBezTo>
                  <a:pt x="4602144" y="551307"/>
                  <a:pt x="4612960" y="557425"/>
                  <a:pt x="4612971" y="556278"/>
                </a:cubicBezTo>
                <a:cubicBezTo>
                  <a:pt x="4614452" y="555180"/>
                  <a:pt x="4614452" y="555180"/>
                  <a:pt x="4614462" y="554032"/>
                </a:cubicBezTo>
                <a:cubicBezTo>
                  <a:pt x="4615960" y="553974"/>
                  <a:pt x="4619216" y="552892"/>
                  <a:pt x="4621002" y="551761"/>
                </a:cubicBezTo>
                <a:close/>
                <a:moveTo>
                  <a:pt x="3253641" y="551312"/>
                </a:moveTo>
                <a:lnTo>
                  <a:pt x="3254050" y="551996"/>
                </a:lnTo>
                <a:cubicBezTo>
                  <a:pt x="3253440" y="552063"/>
                  <a:pt x="3253105" y="552203"/>
                  <a:pt x="3252856" y="552021"/>
                </a:cubicBezTo>
                <a:close/>
                <a:moveTo>
                  <a:pt x="3376152" y="550098"/>
                </a:moveTo>
                <a:cubicBezTo>
                  <a:pt x="3382922" y="546968"/>
                  <a:pt x="3388877" y="547988"/>
                  <a:pt x="3394171" y="551476"/>
                </a:cubicBezTo>
                <a:cubicBezTo>
                  <a:pt x="3394900" y="556501"/>
                  <a:pt x="3388740" y="559566"/>
                  <a:pt x="3382700" y="558867"/>
                </a:cubicBezTo>
                <a:cubicBezTo>
                  <a:pt x="3380677" y="558670"/>
                  <a:pt x="3378768" y="558044"/>
                  <a:pt x="3377281" y="556956"/>
                </a:cubicBezTo>
                <a:cubicBezTo>
                  <a:pt x="3376928" y="556056"/>
                  <a:pt x="3376634" y="554942"/>
                  <a:pt x="3376339" y="553828"/>
                </a:cubicBezTo>
                <a:cubicBezTo>
                  <a:pt x="3376073" y="552607"/>
                  <a:pt x="3375807" y="551386"/>
                  <a:pt x="3376152" y="550098"/>
                </a:cubicBezTo>
                <a:close/>
                <a:moveTo>
                  <a:pt x="3010370" y="547194"/>
                </a:moveTo>
                <a:cubicBezTo>
                  <a:pt x="3014560" y="547051"/>
                  <a:pt x="3020008" y="548856"/>
                  <a:pt x="3025780" y="551667"/>
                </a:cubicBezTo>
                <a:lnTo>
                  <a:pt x="3031816" y="555700"/>
                </a:lnTo>
                <a:lnTo>
                  <a:pt x="3031960" y="555164"/>
                </a:lnTo>
                <a:cubicBezTo>
                  <a:pt x="3034052" y="553999"/>
                  <a:pt x="3036075" y="554196"/>
                  <a:pt x="3037954" y="554929"/>
                </a:cubicBezTo>
                <a:cubicBezTo>
                  <a:pt x="3039528" y="555696"/>
                  <a:pt x="3041455" y="557362"/>
                  <a:pt x="3043600" y="559317"/>
                </a:cubicBezTo>
                <a:cubicBezTo>
                  <a:pt x="3045716" y="561379"/>
                  <a:pt x="3045867" y="563030"/>
                  <a:pt x="3046018" y="564681"/>
                </a:cubicBezTo>
                <a:lnTo>
                  <a:pt x="3047178" y="568097"/>
                </a:lnTo>
                <a:lnTo>
                  <a:pt x="3054862" y="577055"/>
                </a:lnTo>
                <a:cubicBezTo>
                  <a:pt x="3057204" y="581593"/>
                  <a:pt x="3057276" y="585753"/>
                  <a:pt x="3054391" y="588774"/>
                </a:cubicBezTo>
                <a:cubicBezTo>
                  <a:pt x="3043988" y="571152"/>
                  <a:pt x="3017506" y="567046"/>
                  <a:pt x="3010370" y="547194"/>
                </a:cubicBezTo>
                <a:close/>
                <a:moveTo>
                  <a:pt x="3711198" y="547067"/>
                </a:moveTo>
                <a:cubicBezTo>
                  <a:pt x="3706616" y="556420"/>
                  <a:pt x="3698649" y="571765"/>
                  <a:pt x="3686600" y="575782"/>
                </a:cubicBezTo>
                <a:cubicBezTo>
                  <a:pt x="3672984" y="563508"/>
                  <a:pt x="3700393" y="548656"/>
                  <a:pt x="3711198" y="547067"/>
                </a:cubicBezTo>
                <a:close/>
                <a:moveTo>
                  <a:pt x="3072981" y="547065"/>
                </a:moveTo>
                <a:cubicBezTo>
                  <a:pt x="3079395" y="546368"/>
                  <a:pt x="3089055" y="554592"/>
                  <a:pt x="3088591" y="559643"/>
                </a:cubicBezTo>
                <a:cubicBezTo>
                  <a:pt x="3080667" y="552689"/>
                  <a:pt x="3072783" y="553337"/>
                  <a:pt x="3072981" y="547065"/>
                </a:cubicBezTo>
                <a:close/>
                <a:moveTo>
                  <a:pt x="3405455" y="546995"/>
                </a:moveTo>
                <a:cubicBezTo>
                  <a:pt x="3407173" y="546392"/>
                  <a:pt x="3410234" y="546868"/>
                  <a:pt x="3414542" y="547390"/>
                </a:cubicBezTo>
                <a:cubicBezTo>
                  <a:pt x="3414966" y="552448"/>
                  <a:pt x="3411521" y="553134"/>
                  <a:pt x="3404419" y="553072"/>
                </a:cubicBezTo>
                <a:cubicBezTo>
                  <a:pt x="3403359" y="549280"/>
                  <a:pt x="3403736" y="547599"/>
                  <a:pt x="3405455" y="546995"/>
                </a:cubicBezTo>
                <a:close/>
                <a:moveTo>
                  <a:pt x="2379849" y="546968"/>
                </a:moveTo>
                <a:cubicBezTo>
                  <a:pt x="2381969" y="546256"/>
                  <a:pt x="2384519" y="546422"/>
                  <a:pt x="2387347" y="548042"/>
                </a:cubicBezTo>
                <a:cubicBezTo>
                  <a:pt x="2389417" y="549172"/>
                  <a:pt x="2391209" y="550227"/>
                  <a:pt x="2389711" y="550285"/>
                </a:cubicBezTo>
                <a:cubicBezTo>
                  <a:pt x="2389978" y="551507"/>
                  <a:pt x="2388478" y="551565"/>
                  <a:pt x="2386969" y="552772"/>
                </a:cubicBezTo>
                <a:cubicBezTo>
                  <a:pt x="2384210" y="554217"/>
                  <a:pt x="2379351" y="554640"/>
                  <a:pt x="2377281" y="553510"/>
                </a:cubicBezTo>
                <a:cubicBezTo>
                  <a:pt x="2375487" y="552455"/>
                  <a:pt x="2374945" y="551160"/>
                  <a:pt x="2374945" y="551160"/>
                </a:cubicBezTo>
                <a:cubicBezTo>
                  <a:pt x="2376045" y="549269"/>
                  <a:pt x="2377731" y="547679"/>
                  <a:pt x="2379849" y="546968"/>
                </a:cubicBezTo>
                <a:close/>
                <a:moveTo>
                  <a:pt x="1582258" y="546568"/>
                </a:moveTo>
                <a:cubicBezTo>
                  <a:pt x="1585952" y="546063"/>
                  <a:pt x="1591134" y="546646"/>
                  <a:pt x="1597546" y="549284"/>
                </a:cubicBezTo>
                <a:cubicBezTo>
                  <a:pt x="1603150" y="554926"/>
                  <a:pt x="1600361" y="565334"/>
                  <a:pt x="1593786" y="565526"/>
                </a:cubicBezTo>
                <a:cubicBezTo>
                  <a:pt x="1572002" y="560495"/>
                  <a:pt x="1570594" y="548042"/>
                  <a:pt x="1582258" y="546568"/>
                </a:cubicBezTo>
                <a:close/>
                <a:moveTo>
                  <a:pt x="3252149" y="544702"/>
                </a:moveTo>
                <a:cubicBezTo>
                  <a:pt x="3253648" y="544644"/>
                  <a:pt x="3253924" y="544718"/>
                  <a:pt x="3255717" y="545773"/>
                </a:cubicBezTo>
                <a:cubicBezTo>
                  <a:pt x="3257216" y="545715"/>
                  <a:pt x="3255283" y="550717"/>
                  <a:pt x="3255577" y="551831"/>
                </a:cubicBezTo>
                <a:cubicBezTo>
                  <a:pt x="3254050" y="551996"/>
                  <a:pt x="3254050" y="551996"/>
                  <a:pt x="3253785" y="550775"/>
                </a:cubicBezTo>
                <a:lnTo>
                  <a:pt x="3253641" y="551312"/>
                </a:lnTo>
                <a:lnTo>
                  <a:pt x="3251420" y="548531"/>
                </a:lnTo>
                <a:cubicBezTo>
                  <a:pt x="3251430" y="547384"/>
                  <a:pt x="3251804" y="545989"/>
                  <a:pt x="3252149" y="544702"/>
                </a:cubicBezTo>
                <a:close/>
                <a:moveTo>
                  <a:pt x="2009254" y="544599"/>
                </a:moveTo>
                <a:cubicBezTo>
                  <a:pt x="2020681" y="541795"/>
                  <a:pt x="2051053" y="556834"/>
                  <a:pt x="2047804" y="568959"/>
                </a:cubicBezTo>
                <a:cubicBezTo>
                  <a:pt x="2036931" y="563055"/>
                  <a:pt x="2027888" y="556952"/>
                  <a:pt x="2011287" y="552504"/>
                </a:cubicBezTo>
                <a:cubicBezTo>
                  <a:pt x="2012703" y="549433"/>
                  <a:pt x="2006558" y="548017"/>
                  <a:pt x="2009254" y="544599"/>
                </a:cubicBezTo>
                <a:close/>
                <a:moveTo>
                  <a:pt x="2665367" y="544222"/>
                </a:moveTo>
                <a:cubicBezTo>
                  <a:pt x="2669338" y="543791"/>
                  <a:pt x="2673746" y="543937"/>
                  <a:pt x="2676399" y="545107"/>
                </a:cubicBezTo>
                <a:cubicBezTo>
                  <a:pt x="2674908" y="547353"/>
                  <a:pt x="2673416" y="549598"/>
                  <a:pt x="2671925" y="551844"/>
                </a:cubicBezTo>
                <a:cubicBezTo>
                  <a:pt x="2671935" y="550696"/>
                  <a:pt x="2656882" y="552643"/>
                  <a:pt x="2656882" y="552643"/>
                </a:cubicBezTo>
                <a:cubicBezTo>
                  <a:pt x="2654841" y="551405"/>
                  <a:pt x="2654096" y="550862"/>
                  <a:pt x="2653993" y="550144"/>
                </a:cubicBezTo>
                <a:cubicBezTo>
                  <a:pt x="2653889" y="549426"/>
                  <a:pt x="2654700" y="548608"/>
                  <a:pt x="2656048" y="546899"/>
                </a:cubicBezTo>
                <a:cubicBezTo>
                  <a:pt x="2657805" y="545875"/>
                  <a:pt x="2661366" y="544760"/>
                  <a:pt x="2665367" y="544222"/>
                </a:cubicBezTo>
                <a:close/>
                <a:moveTo>
                  <a:pt x="840097" y="543785"/>
                </a:moveTo>
                <a:cubicBezTo>
                  <a:pt x="844949" y="541173"/>
                  <a:pt x="857350" y="546911"/>
                  <a:pt x="859214" y="552126"/>
                </a:cubicBezTo>
                <a:cubicBezTo>
                  <a:pt x="854216" y="549752"/>
                  <a:pt x="850171" y="549358"/>
                  <a:pt x="846821" y="548575"/>
                </a:cubicBezTo>
                <a:cubicBezTo>
                  <a:pt x="843718" y="547975"/>
                  <a:pt x="841592" y="547059"/>
                  <a:pt x="840097" y="543785"/>
                </a:cubicBezTo>
                <a:close/>
                <a:moveTo>
                  <a:pt x="2983498" y="543443"/>
                </a:moveTo>
                <a:lnTo>
                  <a:pt x="2984432" y="544384"/>
                </a:lnTo>
                <a:cubicBezTo>
                  <a:pt x="2983545" y="544376"/>
                  <a:pt x="2983239" y="544408"/>
                  <a:pt x="2983267" y="544301"/>
                </a:cubicBezTo>
                <a:close/>
                <a:moveTo>
                  <a:pt x="2945550" y="543394"/>
                </a:moveTo>
                <a:cubicBezTo>
                  <a:pt x="2947189" y="546135"/>
                  <a:pt x="2949212" y="546331"/>
                  <a:pt x="2948701" y="550450"/>
                </a:cubicBezTo>
                <a:cubicBezTo>
                  <a:pt x="2946677" y="550253"/>
                  <a:pt x="2944378" y="549981"/>
                  <a:pt x="2942078" y="549710"/>
                </a:cubicBezTo>
                <a:cubicBezTo>
                  <a:pt x="2941529" y="546228"/>
                  <a:pt x="2940978" y="542745"/>
                  <a:pt x="2945550" y="543394"/>
                </a:cubicBezTo>
                <a:close/>
                <a:moveTo>
                  <a:pt x="3002281" y="543070"/>
                </a:moveTo>
                <a:cubicBezTo>
                  <a:pt x="3002853" y="544259"/>
                  <a:pt x="3003424" y="545447"/>
                  <a:pt x="3001868" y="545720"/>
                </a:cubicBezTo>
                <a:cubicBezTo>
                  <a:pt x="3002468" y="546801"/>
                  <a:pt x="3002163" y="546834"/>
                  <a:pt x="3000912" y="547074"/>
                </a:cubicBezTo>
                <a:cubicBezTo>
                  <a:pt x="3000340" y="545885"/>
                  <a:pt x="2999798" y="544591"/>
                  <a:pt x="2999503" y="543476"/>
                </a:cubicBezTo>
                <a:cubicBezTo>
                  <a:pt x="3000459" y="542123"/>
                  <a:pt x="3000459" y="542123"/>
                  <a:pt x="3002281" y="543070"/>
                </a:cubicBezTo>
                <a:close/>
                <a:moveTo>
                  <a:pt x="2044664" y="543046"/>
                </a:moveTo>
                <a:cubicBezTo>
                  <a:pt x="2048376" y="543581"/>
                  <a:pt x="2048779" y="542079"/>
                  <a:pt x="2053967" y="544850"/>
                </a:cubicBezTo>
                <a:cubicBezTo>
                  <a:pt x="2053566" y="546352"/>
                  <a:pt x="2052858" y="547887"/>
                  <a:pt x="2052179" y="549316"/>
                </a:cubicBezTo>
                <a:cubicBezTo>
                  <a:pt x="2047866" y="547699"/>
                  <a:pt x="2043554" y="546084"/>
                  <a:pt x="2044664" y="543046"/>
                </a:cubicBezTo>
                <a:close/>
                <a:moveTo>
                  <a:pt x="3970083" y="542719"/>
                </a:moveTo>
                <a:cubicBezTo>
                  <a:pt x="3971685" y="543378"/>
                  <a:pt x="3972001" y="542198"/>
                  <a:pt x="3973604" y="542857"/>
                </a:cubicBezTo>
                <a:cubicBezTo>
                  <a:pt x="3977402" y="543070"/>
                  <a:pt x="3979005" y="543730"/>
                  <a:pt x="3980043" y="545388"/>
                </a:cubicBezTo>
                <a:cubicBezTo>
                  <a:pt x="3981646" y="546047"/>
                  <a:pt x="3981359" y="547120"/>
                  <a:pt x="3982398" y="548779"/>
                </a:cubicBezTo>
                <a:cubicBezTo>
                  <a:pt x="3982082" y="549959"/>
                  <a:pt x="3980191" y="550372"/>
                  <a:pt x="3980191" y="550372"/>
                </a:cubicBezTo>
                <a:cubicBezTo>
                  <a:pt x="3977996" y="550819"/>
                  <a:pt x="3977996" y="550819"/>
                  <a:pt x="3979310" y="552551"/>
                </a:cubicBezTo>
                <a:cubicBezTo>
                  <a:pt x="3979310" y="552551"/>
                  <a:pt x="3977680" y="552000"/>
                  <a:pt x="3977680" y="552000"/>
                </a:cubicBezTo>
                <a:cubicBezTo>
                  <a:pt x="3977996" y="550819"/>
                  <a:pt x="3977680" y="552000"/>
                  <a:pt x="3975512" y="552338"/>
                </a:cubicBezTo>
                <a:cubicBezTo>
                  <a:pt x="3972842" y="550128"/>
                  <a:pt x="3971239" y="549468"/>
                  <a:pt x="3970201" y="547810"/>
                </a:cubicBezTo>
                <a:cubicBezTo>
                  <a:pt x="3969543" y="546944"/>
                  <a:pt x="3968972" y="545756"/>
                  <a:pt x="3968954" y="544716"/>
                </a:cubicBezTo>
                <a:cubicBezTo>
                  <a:pt x="3968907" y="543784"/>
                  <a:pt x="3969137" y="542925"/>
                  <a:pt x="3970083" y="542719"/>
                </a:cubicBezTo>
                <a:close/>
                <a:moveTo>
                  <a:pt x="3598809" y="542598"/>
                </a:moveTo>
                <a:cubicBezTo>
                  <a:pt x="3600365" y="542325"/>
                  <a:pt x="3600937" y="543513"/>
                  <a:pt x="3603036" y="544535"/>
                </a:cubicBezTo>
                <a:cubicBezTo>
                  <a:pt x="3603607" y="545724"/>
                  <a:pt x="3602375" y="547003"/>
                  <a:pt x="3602375" y="547003"/>
                </a:cubicBezTo>
                <a:cubicBezTo>
                  <a:pt x="3601113" y="548390"/>
                  <a:pt x="3601390" y="548464"/>
                  <a:pt x="3603517" y="549380"/>
                </a:cubicBezTo>
                <a:cubicBezTo>
                  <a:pt x="3603517" y="549380"/>
                  <a:pt x="3601685" y="549578"/>
                  <a:pt x="3601685" y="549578"/>
                </a:cubicBezTo>
                <a:cubicBezTo>
                  <a:pt x="3601113" y="548390"/>
                  <a:pt x="3601713" y="549471"/>
                  <a:pt x="3600452" y="550858"/>
                </a:cubicBezTo>
                <a:cubicBezTo>
                  <a:pt x="3596797" y="550109"/>
                  <a:pt x="3595212" y="550489"/>
                  <a:pt x="3593114" y="549466"/>
                </a:cubicBezTo>
                <a:cubicBezTo>
                  <a:pt x="3592035" y="549062"/>
                  <a:pt x="3590767" y="548263"/>
                  <a:pt x="3590110" y="547397"/>
                </a:cubicBezTo>
                <a:cubicBezTo>
                  <a:pt x="3589423" y="546637"/>
                  <a:pt x="3589071" y="545739"/>
                  <a:pt x="3589549" y="545062"/>
                </a:cubicBezTo>
                <a:cubicBezTo>
                  <a:pt x="3591105" y="544789"/>
                  <a:pt x="3590810" y="543675"/>
                  <a:pt x="3592366" y="543401"/>
                </a:cubicBezTo>
                <a:cubicBezTo>
                  <a:pt x="3595155" y="541849"/>
                  <a:pt x="3596710" y="541576"/>
                  <a:pt x="3598809" y="542598"/>
                </a:cubicBezTo>
                <a:close/>
                <a:moveTo>
                  <a:pt x="4752506" y="541341"/>
                </a:moveTo>
                <a:cubicBezTo>
                  <a:pt x="4759108" y="544374"/>
                  <a:pt x="4765080" y="555290"/>
                  <a:pt x="4744938" y="549663"/>
                </a:cubicBezTo>
                <a:cubicBezTo>
                  <a:pt x="4744137" y="540478"/>
                  <a:pt x="4748556" y="539477"/>
                  <a:pt x="4752506" y="541341"/>
                </a:cubicBezTo>
                <a:close/>
                <a:moveTo>
                  <a:pt x="1479626" y="539998"/>
                </a:moveTo>
                <a:cubicBezTo>
                  <a:pt x="1483518" y="542075"/>
                  <a:pt x="1487381" y="544260"/>
                  <a:pt x="1484639" y="546746"/>
                </a:cubicBezTo>
                <a:cubicBezTo>
                  <a:pt x="1483377" y="548133"/>
                  <a:pt x="1482145" y="549412"/>
                  <a:pt x="1478843" y="549563"/>
                </a:cubicBezTo>
                <a:cubicBezTo>
                  <a:pt x="1474674" y="547411"/>
                  <a:pt x="1475651" y="543762"/>
                  <a:pt x="1473581" y="542633"/>
                </a:cubicBezTo>
                <a:cubicBezTo>
                  <a:pt x="1475109" y="542467"/>
                  <a:pt x="1478412" y="542318"/>
                  <a:pt x="1479626" y="539998"/>
                </a:cubicBezTo>
                <a:close/>
                <a:moveTo>
                  <a:pt x="2861098" y="538706"/>
                </a:moveTo>
                <a:lnTo>
                  <a:pt x="2858129" y="538716"/>
                </a:lnTo>
                <a:lnTo>
                  <a:pt x="2860256" y="539630"/>
                </a:lnTo>
                <a:close/>
                <a:moveTo>
                  <a:pt x="3491863" y="538294"/>
                </a:moveTo>
                <a:cubicBezTo>
                  <a:pt x="3497249" y="538673"/>
                  <a:pt x="3503355" y="539676"/>
                  <a:pt x="3507904" y="539860"/>
                </a:cubicBezTo>
                <a:cubicBezTo>
                  <a:pt x="3509323" y="542311"/>
                  <a:pt x="3510027" y="544109"/>
                  <a:pt x="3510454" y="545834"/>
                </a:cubicBezTo>
                <a:lnTo>
                  <a:pt x="3510368" y="546155"/>
                </a:lnTo>
                <a:lnTo>
                  <a:pt x="3511141" y="546592"/>
                </a:lnTo>
                <a:cubicBezTo>
                  <a:pt x="3511446" y="546559"/>
                  <a:pt x="3512057" y="546493"/>
                  <a:pt x="3512859" y="546823"/>
                </a:cubicBezTo>
                <a:cubicBezTo>
                  <a:pt x="3511885" y="547137"/>
                  <a:pt x="3511044" y="548061"/>
                  <a:pt x="3510145" y="549201"/>
                </a:cubicBezTo>
                <a:lnTo>
                  <a:pt x="3509639" y="549985"/>
                </a:lnTo>
                <a:lnTo>
                  <a:pt x="3509513" y="551561"/>
                </a:lnTo>
                <a:lnTo>
                  <a:pt x="3508348" y="551480"/>
                </a:lnTo>
                <a:lnTo>
                  <a:pt x="3507480" y="552511"/>
                </a:lnTo>
                <a:cubicBezTo>
                  <a:pt x="3505847" y="551959"/>
                  <a:pt x="3503900" y="552587"/>
                  <a:pt x="3502546" y="552109"/>
                </a:cubicBezTo>
                <a:lnTo>
                  <a:pt x="3502383" y="551606"/>
                </a:lnTo>
                <a:lnTo>
                  <a:pt x="3494949" y="551684"/>
                </a:lnTo>
                <a:lnTo>
                  <a:pt x="3483603" y="548644"/>
                </a:lnTo>
                <a:lnTo>
                  <a:pt x="3480480" y="550337"/>
                </a:lnTo>
                <a:cubicBezTo>
                  <a:pt x="3470372" y="542684"/>
                  <a:pt x="3472035" y="539794"/>
                  <a:pt x="3475977" y="539470"/>
                </a:cubicBezTo>
                <a:lnTo>
                  <a:pt x="3480100" y="540690"/>
                </a:lnTo>
                <a:lnTo>
                  <a:pt x="3480158" y="540476"/>
                </a:lnTo>
                <a:cubicBezTo>
                  <a:pt x="3481817" y="538160"/>
                  <a:pt x="3486479" y="537914"/>
                  <a:pt x="3491863" y="538294"/>
                </a:cubicBezTo>
                <a:close/>
                <a:moveTo>
                  <a:pt x="2981338" y="537114"/>
                </a:moveTo>
                <a:cubicBezTo>
                  <a:pt x="2982894" y="536842"/>
                  <a:pt x="2982894" y="536842"/>
                  <a:pt x="2984992" y="537863"/>
                </a:cubicBezTo>
                <a:cubicBezTo>
                  <a:pt x="2986520" y="537698"/>
                  <a:pt x="2985417" y="542922"/>
                  <a:pt x="2985711" y="544036"/>
                </a:cubicBezTo>
                <a:cubicBezTo>
                  <a:pt x="2984461" y="544275"/>
                  <a:pt x="2984461" y="544275"/>
                  <a:pt x="2983890" y="543088"/>
                </a:cubicBezTo>
                <a:lnTo>
                  <a:pt x="2983498" y="543443"/>
                </a:lnTo>
                <a:lnTo>
                  <a:pt x="2981190" y="540985"/>
                </a:lnTo>
                <a:cubicBezTo>
                  <a:pt x="2980925" y="539764"/>
                  <a:pt x="2980993" y="538402"/>
                  <a:pt x="2981338" y="537114"/>
                </a:cubicBezTo>
                <a:close/>
                <a:moveTo>
                  <a:pt x="2580843" y="535374"/>
                </a:moveTo>
                <a:cubicBezTo>
                  <a:pt x="2580843" y="535374"/>
                  <a:pt x="2580843" y="535374"/>
                  <a:pt x="2589757" y="543052"/>
                </a:cubicBezTo>
                <a:cubicBezTo>
                  <a:pt x="2589061" y="543441"/>
                  <a:pt x="2587983" y="543037"/>
                  <a:pt x="2587210" y="542599"/>
                </a:cubicBezTo>
                <a:cubicBezTo>
                  <a:pt x="2586466" y="542055"/>
                  <a:pt x="2585809" y="541189"/>
                  <a:pt x="2585151" y="540323"/>
                </a:cubicBezTo>
                <a:cubicBezTo>
                  <a:pt x="2583808" y="538698"/>
                  <a:pt x="2582462" y="537072"/>
                  <a:pt x="2580843" y="535374"/>
                </a:cubicBezTo>
                <a:close/>
                <a:moveTo>
                  <a:pt x="2166295" y="534884"/>
                </a:moveTo>
                <a:cubicBezTo>
                  <a:pt x="2171358" y="535910"/>
                  <a:pt x="2176566" y="538887"/>
                  <a:pt x="2181403" y="545186"/>
                </a:cubicBezTo>
                <a:cubicBezTo>
                  <a:pt x="2184073" y="547396"/>
                  <a:pt x="2182441" y="546844"/>
                  <a:pt x="2183756" y="548576"/>
                </a:cubicBezTo>
                <a:lnTo>
                  <a:pt x="2184224" y="549046"/>
                </a:lnTo>
                <a:lnTo>
                  <a:pt x="2185485" y="547660"/>
                </a:lnTo>
                <a:cubicBezTo>
                  <a:pt x="2186153" y="547379"/>
                  <a:pt x="2187012" y="547494"/>
                  <a:pt x="2188062" y="548004"/>
                </a:cubicBezTo>
                <a:cubicBezTo>
                  <a:pt x="2188062" y="548004"/>
                  <a:pt x="2190437" y="549101"/>
                  <a:pt x="2192536" y="550123"/>
                </a:cubicBezTo>
                <a:cubicBezTo>
                  <a:pt x="2194635" y="551146"/>
                  <a:pt x="2196191" y="550873"/>
                  <a:pt x="2196191" y="550873"/>
                </a:cubicBezTo>
                <a:cubicBezTo>
                  <a:pt x="2198318" y="551788"/>
                  <a:pt x="2198860" y="553083"/>
                  <a:pt x="2197599" y="554471"/>
                </a:cubicBezTo>
                <a:cubicBezTo>
                  <a:pt x="2197599" y="554471"/>
                  <a:pt x="2193973" y="553614"/>
                  <a:pt x="2193973" y="553614"/>
                </a:cubicBezTo>
                <a:cubicBezTo>
                  <a:pt x="2191846" y="552699"/>
                  <a:pt x="2190272" y="551932"/>
                  <a:pt x="2188640" y="551380"/>
                </a:cubicBezTo>
                <a:lnTo>
                  <a:pt x="2186179" y="550605"/>
                </a:lnTo>
                <a:lnTo>
                  <a:pt x="2189068" y="553104"/>
                </a:lnTo>
                <a:cubicBezTo>
                  <a:pt x="2187674" y="553881"/>
                  <a:pt x="2186585" y="554623"/>
                  <a:pt x="2185801" y="555334"/>
                </a:cubicBezTo>
                <a:lnTo>
                  <a:pt x="2184281" y="557687"/>
                </a:lnTo>
                <a:lnTo>
                  <a:pt x="2187084" y="560508"/>
                </a:lnTo>
                <a:cubicBezTo>
                  <a:pt x="2185251" y="560706"/>
                  <a:pt x="2182463" y="562260"/>
                  <a:pt x="2181863" y="561179"/>
                </a:cubicBezTo>
                <a:lnTo>
                  <a:pt x="2181366" y="560816"/>
                </a:lnTo>
                <a:lnTo>
                  <a:pt x="2176239" y="563352"/>
                </a:lnTo>
                <a:cubicBezTo>
                  <a:pt x="2169918" y="565913"/>
                  <a:pt x="2164344" y="565685"/>
                  <a:pt x="2159478" y="563922"/>
                </a:cubicBezTo>
                <a:cubicBezTo>
                  <a:pt x="2154612" y="562158"/>
                  <a:pt x="2150979" y="559114"/>
                  <a:pt x="2148205" y="556185"/>
                </a:cubicBezTo>
                <a:cubicBezTo>
                  <a:pt x="2149790" y="555805"/>
                  <a:pt x="2142984" y="548001"/>
                  <a:pt x="2145567" y="541678"/>
                </a:cubicBezTo>
                <a:cubicBezTo>
                  <a:pt x="2146420" y="539606"/>
                  <a:pt x="2148406" y="537724"/>
                  <a:pt x="2152054" y="536286"/>
                </a:cubicBezTo>
                <a:cubicBezTo>
                  <a:pt x="2156312" y="534782"/>
                  <a:pt x="2161231" y="533858"/>
                  <a:pt x="2166295" y="534884"/>
                </a:cubicBezTo>
                <a:close/>
                <a:moveTo>
                  <a:pt x="2373493" y="534440"/>
                </a:moveTo>
                <a:lnTo>
                  <a:pt x="2379426" y="537755"/>
                </a:lnTo>
                <a:cubicBezTo>
                  <a:pt x="2378166" y="539142"/>
                  <a:pt x="2375158" y="540406"/>
                  <a:pt x="2373364" y="539350"/>
                </a:cubicBezTo>
                <a:cubicBezTo>
                  <a:pt x="2371427" y="538831"/>
                  <a:pt x="2371294" y="538221"/>
                  <a:pt x="2371801" y="537436"/>
                </a:cubicBezTo>
                <a:cubicBezTo>
                  <a:pt x="2372279" y="536760"/>
                  <a:pt x="2373148" y="535728"/>
                  <a:pt x="2373493" y="534440"/>
                </a:cubicBezTo>
                <a:close/>
                <a:moveTo>
                  <a:pt x="1295801" y="533177"/>
                </a:moveTo>
                <a:cubicBezTo>
                  <a:pt x="1292322" y="537305"/>
                  <a:pt x="1285585" y="536996"/>
                  <a:pt x="1280551" y="541396"/>
                </a:cubicBezTo>
                <a:cubicBezTo>
                  <a:pt x="1274768" y="539731"/>
                  <a:pt x="1268206" y="544299"/>
                  <a:pt x="1260296" y="541719"/>
                </a:cubicBezTo>
                <a:cubicBezTo>
                  <a:pt x="1263893" y="533828"/>
                  <a:pt x="1289447" y="530324"/>
                  <a:pt x="1295801" y="533177"/>
                </a:cubicBezTo>
                <a:close/>
                <a:moveTo>
                  <a:pt x="3784180" y="532582"/>
                </a:moveTo>
                <a:cubicBezTo>
                  <a:pt x="3791187" y="530780"/>
                  <a:pt x="3805220" y="537070"/>
                  <a:pt x="3802292" y="544679"/>
                </a:cubicBezTo>
                <a:cubicBezTo>
                  <a:pt x="3799025" y="546910"/>
                  <a:pt x="3795729" y="549247"/>
                  <a:pt x="3787734" y="546989"/>
                </a:cubicBezTo>
                <a:cubicBezTo>
                  <a:pt x="3782975" y="542609"/>
                  <a:pt x="3781683" y="538583"/>
                  <a:pt x="3784180" y="532582"/>
                </a:cubicBezTo>
                <a:close/>
                <a:moveTo>
                  <a:pt x="3846172" y="530333"/>
                </a:moveTo>
                <a:cubicBezTo>
                  <a:pt x="3847672" y="530274"/>
                  <a:pt x="3849170" y="530215"/>
                  <a:pt x="3850162" y="530942"/>
                </a:cubicBezTo>
                <a:cubicBezTo>
                  <a:pt x="3853701" y="532120"/>
                  <a:pt x="3848925" y="535555"/>
                  <a:pt x="3849191" y="536777"/>
                </a:cubicBezTo>
                <a:cubicBezTo>
                  <a:pt x="3847682" y="537982"/>
                  <a:pt x="3846201" y="539080"/>
                  <a:pt x="3844189" y="537736"/>
                </a:cubicBezTo>
                <a:cubicBezTo>
                  <a:pt x="3843445" y="537193"/>
                  <a:pt x="3842338" y="536896"/>
                  <a:pt x="3841871" y="536425"/>
                </a:cubicBezTo>
                <a:cubicBezTo>
                  <a:pt x="3841404" y="535955"/>
                  <a:pt x="3841548" y="535418"/>
                  <a:pt x="3842170" y="534206"/>
                </a:cubicBezTo>
                <a:cubicBezTo>
                  <a:pt x="3841904" y="532983"/>
                  <a:pt x="3843661" y="531960"/>
                  <a:pt x="3843395" y="530739"/>
                </a:cubicBezTo>
                <a:cubicBezTo>
                  <a:pt x="3843395" y="530739"/>
                  <a:pt x="3844645" y="530498"/>
                  <a:pt x="3846172" y="530333"/>
                </a:cubicBezTo>
                <a:close/>
                <a:moveTo>
                  <a:pt x="1554017" y="529110"/>
                </a:moveTo>
                <a:cubicBezTo>
                  <a:pt x="1560995" y="527415"/>
                  <a:pt x="1570299" y="529218"/>
                  <a:pt x="1577723" y="530287"/>
                </a:cubicBezTo>
                <a:cubicBezTo>
                  <a:pt x="1573749" y="534052"/>
                  <a:pt x="1566325" y="532983"/>
                  <a:pt x="1566676" y="542737"/>
                </a:cubicBezTo>
                <a:cubicBezTo>
                  <a:pt x="1560640" y="538705"/>
                  <a:pt x="1555910" y="534218"/>
                  <a:pt x="1554017" y="529110"/>
                </a:cubicBezTo>
                <a:close/>
                <a:moveTo>
                  <a:pt x="3276543" y="528928"/>
                </a:moveTo>
                <a:cubicBezTo>
                  <a:pt x="3273506" y="530299"/>
                  <a:pt x="3262869" y="534579"/>
                  <a:pt x="3259300" y="533508"/>
                </a:cubicBezTo>
                <a:cubicBezTo>
                  <a:pt x="3263569" y="530857"/>
                  <a:pt x="3274472" y="527798"/>
                  <a:pt x="3276543" y="528928"/>
                </a:cubicBezTo>
                <a:close/>
                <a:moveTo>
                  <a:pt x="3205142" y="528656"/>
                </a:moveTo>
                <a:cubicBezTo>
                  <a:pt x="3213134" y="525393"/>
                  <a:pt x="3230304" y="534364"/>
                  <a:pt x="3224062" y="543270"/>
                </a:cubicBezTo>
                <a:cubicBezTo>
                  <a:pt x="3221227" y="543892"/>
                  <a:pt x="3216408" y="543060"/>
                  <a:pt x="3211790" y="541478"/>
                </a:cubicBezTo>
                <a:cubicBezTo>
                  <a:pt x="3207143" y="540003"/>
                  <a:pt x="3202974" y="537851"/>
                  <a:pt x="3201049" y="536185"/>
                </a:cubicBezTo>
                <a:cubicBezTo>
                  <a:pt x="3200671" y="532058"/>
                  <a:pt x="3202220" y="529599"/>
                  <a:pt x="3205142" y="528656"/>
                </a:cubicBezTo>
                <a:close/>
                <a:moveTo>
                  <a:pt x="3425377" y="527983"/>
                </a:moveTo>
                <a:lnTo>
                  <a:pt x="3425759" y="528774"/>
                </a:lnTo>
                <a:lnTo>
                  <a:pt x="3426207" y="528205"/>
                </a:lnTo>
                <a:close/>
                <a:moveTo>
                  <a:pt x="2213691" y="527617"/>
                </a:moveTo>
                <a:cubicBezTo>
                  <a:pt x="2217347" y="528366"/>
                  <a:pt x="2225737" y="535789"/>
                  <a:pt x="2224504" y="537070"/>
                </a:cubicBezTo>
                <a:cubicBezTo>
                  <a:pt x="2220382" y="535850"/>
                  <a:pt x="2212663" y="533667"/>
                  <a:pt x="2209831" y="530952"/>
                </a:cubicBezTo>
                <a:cubicBezTo>
                  <a:pt x="2209145" y="530194"/>
                  <a:pt x="2208517" y="529220"/>
                  <a:pt x="2209081" y="528221"/>
                </a:cubicBezTo>
                <a:cubicBezTo>
                  <a:pt x="2210314" y="526942"/>
                  <a:pt x="2212164" y="527783"/>
                  <a:pt x="2213691" y="527617"/>
                </a:cubicBezTo>
                <a:close/>
                <a:moveTo>
                  <a:pt x="2503142" y="526514"/>
                </a:moveTo>
                <a:cubicBezTo>
                  <a:pt x="2505546" y="527503"/>
                  <a:pt x="2507559" y="528847"/>
                  <a:pt x="2508902" y="530472"/>
                </a:cubicBezTo>
                <a:cubicBezTo>
                  <a:pt x="2510933" y="532856"/>
                  <a:pt x="2512209" y="535843"/>
                  <a:pt x="2512091" y="539606"/>
                </a:cubicBezTo>
                <a:cubicBezTo>
                  <a:pt x="2510052" y="543890"/>
                  <a:pt x="2498837" y="544795"/>
                  <a:pt x="2491061" y="542827"/>
                </a:cubicBezTo>
                <a:cubicBezTo>
                  <a:pt x="2488570" y="542159"/>
                  <a:pt x="2486443" y="541245"/>
                  <a:pt x="2485012" y="539941"/>
                </a:cubicBezTo>
                <a:cubicBezTo>
                  <a:pt x="2484711" y="536640"/>
                  <a:pt x="2484161" y="533157"/>
                  <a:pt x="2483859" y="529857"/>
                </a:cubicBezTo>
                <a:cubicBezTo>
                  <a:pt x="2487903" y="524731"/>
                  <a:pt x="2496454" y="523801"/>
                  <a:pt x="2503142" y="526514"/>
                </a:cubicBezTo>
                <a:close/>
                <a:moveTo>
                  <a:pt x="2741608" y="525320"/>
                </a:moveTo>
                <a:cubicBezTo>
                  <a:pt x="2741618" y="524172"/>
                  <a:pt x="2747904" y="528386"/>
                  <a:pt x="2749535" y="528939"/>
                </a:cubicBezTo>
                <a:cubicBezTo>
                  <a:pt x="2749524" y="530086"/>
                  <a:pt x="2749553" y="529979"/>
                  <a:pt x="2747892" y="529534"/>
                </a:cubicBezTo>
                <a:cubicBezTo>
                  <a:pt x="2748112" y="529822"/>
                  <a:pt x="2748112" y="529822"/>
                  <a:pt x="2748083" y="529930"/>
                </a:cubicBezTo>
                <a:cubicBezTo>
                  <a:pt x="2746833" y="530170"/>
                  <a:pt x="2745363" y="530121"/>
                  <a:pt x="2744285" y="529716"/>
                </a:cubicBezTo>
                <a:cubicBezTo>
                  <a:pt x="2742682" y="529058"/>
                  <a:pt x="2740889" y="528002"/>
                  <a:pt x="2739372" y="527021"/>
                </a:cubicBezTo>
                <a:cubicBezTo>
                  <a:pt x="2739660" y="525948"/>
                  <a:pt x="2739689" y="525841"/>
                  <a:pt x="2741608" y="525320"/>
                </a:cubicBezTo>
                <a:close/>
                <a:moveTo>
                  <a:pt x="4210237" y="524152"/>
                </a:moveTo>
                <a:cubicBezTo>
                  <a:pt x="4211707" y="524201"/>
                  <a:pt x="4210237" y="524152"/>
                  <a:pt x="4213443" y="525471"/>
                </a:cubicBezTo>
                <a:cubicBezTo>
                  <a:pt x="4212687" y="526074"/>
                  <a:pt x="4212382" y="526107"/>
                  <a:pt x="4211886" y="525744"/>
                </a:cubicBezTo>
                <a:cubicBezTo>
                  <a:pt x="4211668" y="525455"/>
                  <a:pt x="4210952" y="524803"/>
                  <a:pt x="4210237" y="524152"/>
                </a:cubicBezTo>
                <a:close/>
                <a:moveTo>
                  <a:pt x="3239029" y="523936"/>
                </a:moveTo>
                <a:cubicBezTo>
                  <a:pt x="3247208" y="524403"/>
                  <a:pt x="3257583" y="533278"/>
                  <a:pt x="3249379" y="538439"/>
                </a:cubicBezTo>
                <a:cubicBezTo>
                  <a:pt x="3246878" y="538919"/>
                  <a:pt x="3244129" y="539218"/>
                  <a:pt x="3241494" y="539087"/>
                </a:cubicBezTo>
                <a:cubicBezTo>
                  <a:pt x="3238584" y="538882"/>
                  <a:pt x="3235816" y="538141"/>
                  <a:pt x="3232478" y="536211"/>
                </a:cubicBezTo>
                <a:cubicBezTo>
                  <a:pt x="3230498" y="531426"/>
                  <a:pt x="3232305" y="528000"/>
                  <a:pt x="3239029" y="523936"/>
                </a:cubicBezTo>
                <a:close/>
                <a:moveTo>
                  <a:pt x="3299035" y="523570"/>
                </a:moveTo>
                <a:cubicBezTo>
                  <a:pt x="3303667" y="529525"/>
                  <a:pt x="3301916" y="532737"/>
                  <a:pt x="3303649" y="537341"/>
                </a:cubicBezTo>
                <a:cubicBezTo>
                  <a:pt x="3297050" y="539828"/>
                  <a:pt x="3291840" y="539352"/>
                  <a:pt x="3288196" y="537456"/>
                </a:cubicBezTo>
                <a:cubicBezTo>
                  <a:pt x="3284581" y="535452"/>
                  <a:pt x="3282503" y="532136"/>
                  <a:pt x="3282450" y="529016"/>
                </a:cubicBezTo>
                <a:cubicBezTo>
                  <a:pt x="3282691" y="527011"/>
                  <a:pt x="3283514" y="525046"/>
                  <a:pt x="3285329" y="523807"/>
                </a:cubicBezTo>
                <a:cubicBezTo>
                  <a:pt x="3288117" y="522254"/>
                  <a:pt x="3292423" y="521683"/>
                  <a:pt x="3299035" y="523570"/>
                </a:cubicBezTo>
                <a:close/>
                <a:moveTo>
                  <a:pt x="3012344" y="523227"/>
                </a:moveTo>
                <a:cubicBezTo>
                  <a:pt x="3021572" y="524205"/>
                  <a:pt x="3019933" y="530321"/>
                  <a:pt x="3015294" y="531032"/>
                </a:cubicBezTo>
                <a:cubicBezTo>
                  <a:pt x="3013767" y="531199"/>
                  <a:pt x="3012049" y="530968"/>
                  <a:pt x="3010342" y="529591"/>
                </a:cubicBezTo>
                <a:cubicBezTo>
                  <a:pt x="3010774" y="527981"/>
                  <a:pt x="3010633" y="525184"/>
                  <a:pt x="3012344" y="523227"/>
                </a:cubicBezTo>
                <a:close/>
                <a:moveTo>
                  <a:pt x="2365555" y="523113"/>
                </a:moveTo>
                <a:lnTo>
                  <a:pt x="2367539" y="524565"/>
                </a:lnTo>
                <a:lnTo>
                  <a:pt x="2368570" y="524035"/>
                </a:lnTo>
                <a:cubicBezTo>
                  <a:pt x="2371388" y="522376"/>
                  <a:pt x="2371112" y="522302"/>
                  <a:pt x="2373487" y="523398"/>
                </a:cubicBezTo>
                <a:cubicBezTo>
                  <a:pt x="2374536" y="523909"/>
                  <a:pt x="2374830" y="525023"/>
                  <a:pt x="2375402" y="526211"/>
                </a:cubicBezTo>
                <a:lnTo>
                  <a:pt x="2376745" y="527837"/>
                </a:lnTo>
                <a:lnTo>
                  <a:pt x="2380002" y="526754"/>
                </a:lnTo>
                <a:cubicBezTo>
                  <a:pt x="2381616" y="526266"/>
                  <a:pt x="2383286" y="525564"/>
                  <a:pt x="2385233" y="524936"/>
                </a:cubicBezTo>
                <a:cubicBezTo>
                  <a:pt x="2389172" y="527946"/>
                  <a:pt x="2393754" y="536304"/>
                  <a:pt x="2389825" y="541002"/>
                </a:cubicBezTo>
                <a:cubicBezTo>
                  <a:pt x="2387192" y="540871"/>
                  <a:pt x="2384891" y="540599"/>
                  <a:pt x="2382984" y="539973"/>
                </a:cubicBezTo>
                <a:cubicBezTo>
                  <a:pt x="2380275" y="539017"/>
                  <a:pt x="2378597" y="537532"/>
                  <a:pt x="2377367" y="535478"/>
                </a:cubicBezTo>
                <a:lnTo>
                  <a:pt x="2376141" y="530089"/>
                </a:lnTo>
                <a:lnTo>
                  <a:pt x="2374777" y="530759"/>
                </a:lnTo>
                <a:lnTo>
                  <a:pt x="2371866" y="530554"/>
                </a:lnTo>
                <a:lnTo>
                  <a:pt x="2371700" y="533385"/>
                </a:lnTo>
                <a:cubicBezTo>
                  <a:pt x="2368958" y="535870"/>
                  <a:pt x="2364955" y="539742"/>
                  <a:pt x="2359289" y="537649"/>
                </a:cubicBezTo>
                <a:cubicBezTo>
                  <a:pt x="2359022" y="536427"/>
                  <a:pt x="2357495" y="536594"/>
                  <a:pt x="2357200" y="535479"/>
                </a:cubicBezTo>
                <a:cubicBezTo>
                  <a:pt x="2357200" y="535479"/>
                  <a:pt x="2356018" y="534357"/>
                  <a:pt x="2355314" y="532559"/>
                </a:cubicBezTo>
                <a:cubicBezTo>
                  <a:pt x="2354580" y="530867"/>
                  <a:pt x="2354326" y="528499"/>
                  <a:pt x="2356180" y="526006"/>
                </a:cubicBezTo>
                <a:cubicBezTo>
                  <a:pt x="2357690" y="524800"/>
                  <a:pt x="2361958" y="522149"/>
                  <a:pt x="2362253" y="523263"/>
                </a:cubicBezTo>
                <a:cubicBezTo>
                  <a:pt x="2364323" y="524392"/>
                  <a:pt x="2363780" y="523098"/>
                  <a:pt x="2365555" y="523113"/>
                </a:cubicBezTo>
                <a:close/>
                <a:moveTo>
                  <a:pt x="4403320" y="522988"/>
                </a:moveTo>
                <a:cubicBezTo>
                  <a:pt x="4404398" y="523391"/>
                  <a:pt x="4405637" y="524298"/>
                  <a:pt x="4407545" y="524924"/>
                </a:cubicBezTo>
                <a:lnTo>
                  <a:pt x="4402798" y="528253"/>
                </a:lnTo>
                <a:cubicBezTo>
                  <a:pt x="4402055" y="527708"/>
                  <a:pt x="4400814" y="526801"/>
                  <a:pt x="4400462" y="525901"/>
                </a:cubicBezTo>
                <a:cubicBezTo>
                  <a:pt x="4399805" y="525036"/>
                  <a:pt x="4399729" y="524211"/>
                  <a:pt x="4400456" y="523715"/>
                </a:cubicBezTo>
                <a:cubicBezTo>
                  <a:pt x="4401353" y="522576"/>
                  <a:pt x="4402242" y="522583"/>
                  <a:pt x="4403320" y="522988"/>
                </a:cubicBezTo>
                <a:close/>
                <a:moveTo>
                  <a:pt x="4383630" y="522312"/>
                </a:moveTo>
                <a:cubicBezTo>
                  <a:pt x="4388906" y="524761"/>
                  <a:pt x="4392700" y="528307"/>
                  <a:pt x="4387953" y="531635"/>
                </a:cubicBezTo>
                <a:cubicBezTo>
                  <a:pt x="4387227" y="532130"/>
                  <a:pt x="4386473" y="532734"/>
                  <a:pt x="4385804" y="533014"/>
                </a:cubicBezTo>
                <a:cubicBezTo>
                  <a:pt x="4385413" y="533369"/>
                  <a:pt x="4384830" y="533329"/>
                  <a:pt x="4384697" y="532717"/>
                </a:cubicBezTo>
                <a:cubicBezTo>
                  <a:pt x="4383199" y="532776"/>
                  <a:pt x="4382933" y="531555"/>
                  <a:pt x="4381197" y="530285"/>
                </a:cubicBezTo>
                <a:cubicBezTo>
                  <a:pt x="4380320" y="529130"/>
                  <a:pt x="4379530" y="527652"/>
                  <a:pt x="4379569" y="526399"/>
                </a:cubicBezTo>
                <a:cubicBezTo>
                  <a:pt x="4379332" y="525070"/>
                  <a:pt x="4379649" y="523890"/>
                  <a:pt x="4380375" y="523394"/>
                </a:cubicBezTo>
                <a:cubicBezTo>
                  <a:pt x="4381884" y="522189"/>
                  <a:pt x="4383630" y="522312"/>
                  <a:pt x="4383630" y="522312"/>
                </a:cubicBezTo>
                <a:close/>
                <a:moveTo>
                  <a:pt x="3002976" y="519451"/>
                </a:moveTo>
                <a:cubicBezTo>
                  <a:pt x="3000187" y="521004"/>
                  <a:pt x="2990541" y="526011"/>
                  <a:pt x="2986887" y="525260"/>
                </a:cubicBezTo>
                <a:cubicBezTo>
                  <a:pt x="2990660" y="522247"/>
                  <a:pt x="3000877" y="518429"/>
                  <a:pt x="3002976" y="519451"/>
                </a:cubicBezTo>
                <a:close/>
                <a:moveTo>
                  <a:pt x="2043612" y="519305"/>
                </a:moveTo>
                <a:cubicBezTo>
                  <a:pt x="2044892" y="518957"/>
                  <a:pt x="2046332" y="519113"/>
                  <a:pt x="2047658" y="519698"/>
                </a:cubicBezTo>
                <a:cubicBezTo>
                  <a:pt x="2049422" y="520862"/>
                  <a:pt x="2047942" y="521960"/>
                  <a:pt x="2047931" y="523107"/>
                </a:cubicBezTo>
                <a:cubicBezTo>
                  <a:pt x="2046716" y="525427"/>
                  <a:pt x="2035479" y="528625"/>
                  <a:pt x="2033715" y="527462"/>
                </a:cubicBezTo>
                <a:cubicBezTo>
                  <a:pt x="2035904" y="524829"/>
                  <a:pt x="2039745" y="520453"/>
                  <a:pt x="2043612" y="519305"/>
                </a:cubicBezTo>
                <a:close/>
                <a:moveTo>
                  <a:pt x="2718757" y="519010"/>
                </a:moveTo>
                <a:cubicBezTo>
                  <a:pt x="2723130" y="519017"/>
                  <a:pt x="2727850" y="520771"/>
                  <a:pt x="2730403" y="525077"/>
                </a:cubicBezTo>
                <a:cubicBezTo>
                  <a:pt x="2730532" y="529022"/>
                  <a:pt x="2730413" y="532785"/>
                  <a:pt x="2723873" y="535058"/>
                </a:cubicBezTo>
                <a:cubicBezTo>
                  <a:pt x="2717204" y="533386"/>
                  <a:pt x="2713293" y="530268"/>
                  <a:pt x="2709197" y="523420"/>
                </a:cubicBezTo>
                <a:cubicBezTo>
                  <a:pt x="2710360" y="520742"/>
                  <a:pt x="2714385" y="519003"/>
                  <a:pt x="2718757" y="519010"/>
                </a:cubicBezTo>
                <a:close/>
                <a:moveTo>
                  <a:pt x="4973263" y="517690"/>
                </a:moveTo>
                <a:cubicBezTo>
                  <a:pt x="4976889" y="518547"/>
                  <a:pt x="4980364" y="517753"/>
                  <a:pt x="4982721" y="517811"/>
                </a:cubicBezTo>
                <a:cubicBezTo>
                  <a:pt x="4986497" y="520317"/>
                  <a:pt x="4987888" y="522875"/>
                  <a:pt x="4987072" y="527027"/>
                </a:cubicBezTo>
                <a:cubicBezTo>
                  <a:pt x="4980123" y="528614"/>
                  <a:pt x="4982480" y="528670"/>
                  <a:pt x="4974110" y="527808"/>
                </a:cubicBezTo>
                <a:cubicBezTo>
                  <a:pt x="4973837" y="524401"/>
                  <a:pt x="4973565" y="520992"/>
                  <a:pt x="4973263" y="517690"/>
                </a:cubicBezTo>
                <a:close/>
                <a:moveTo>
                  <a:pt x="2641735" y="517304"/>
                </a:moveTo>
                <a:cubicBezTo>
                  <a:pt x="2651521" y="515096"/>
                  <a:pt x="2657113" y="516364"/>
                  <a:pt x="2659754" y="518682"/>
                </a:cubicBezTo>
                <a:cubicBezTo>
                  <a:pt x="2664483" y="523169"/>
                  <a:pt x="2659185" y="531869"/>
                  <a:pt x="2652505" y="531345"/>
                </a:cubicBezTo>
                <a:cubicBezTo>
                  <a:pt x="2648736" y="531025"/>
                  <a:pt x="2644388" y="527330"/>
                  <a:pt x="2641735" y="517304"/>
                </a:cubicBezTo>
                <a:close/>
                <a:moveTo>
                  <a:pt x="2922634" y="517129"/>
                </a:moveTo>
                <a:cubicBezTo>
                  <a:pt x="2932904" y="525286"/>
                  <a:pt x="2931790" y="549369"/>
                  <a:pt x="2914630" y="548105"/>
                </a:cubicBezTo>
                <a:cubicBezTo>
                  <a:pt x="2915709" y="539655"/>
                  <a:pt x="2918027" y="532110"/>
                  <a:pt x="2913984" y="519526"/>
                </a:cubicBezTo>
                <a:cubicBezTo>
                  <a:pt x="2918584" y="520069"/>
                  <a:pt x="2916823" y="515572"/>
                  <a:pt x="2922634" y="517129"/>
                </a:cubicBezTo>
                <a:close/>
                <a:moveTo>
                  <a:pt x="4696145" y="517038"/>
                </a:moveTo>
                <a:cubicBezTo>
                  <a:pt x="4697327" y="527016"/>
                  <a:pt x="4699749" y="537899"/>
                  <a:pt x="4689353" y="540173"/>
                </a:cubicBezTo>
                <a:cubicBezTo>
                  <a:pt x="4684908" y="537948"/>
                  <a:pt x="4683528" y="534242"/>
                  <a:pt x="4683398" y="530298"/>
                </a:cubicBezTo>
                <a:cubicBezTo>
                  <a:pt x="4682992" y="526280"/>
                  <a:pt x="4684390" y="522169"/>
                  <a:pt x="4685748" y="519313"/>
                </a:cubicBezTo>
                <a:cubicBezTo>
                  <a:pt x="4690464" y="519427"/>
                  <a:pt x="4691430" y="516925"/>
                  <a:pt x="4696145" y="517038"/>
                </a:cubicBezTo>
                <a:close/>
                <a:moveTo>
                  <a:pt x="2156046" y="516411"/>
                </a:moveTo>
                <a:cubicBezTo>
                  <a:pt x="2158762" y="517613"/>
                  <a:pt x="2160528" y="520157"/>
                  <a:pt x="2163026" y="523012"/>
                </a:cubicBezTo>
                <a:cubicBezTo>
                  <a:pt x="2160513" y="524638"/>
                  <a:pt x="2160977" y="528443"/>
                  <a:pt x="2156863" y="529410"/>
                </a:cubicBezTo>
                <a:cubicBezTo>
                  <a:pt x="2156863" y="529410"/>
                  <a:pt x="2154972" y="529823"/>
                  <a:pt x="2151737" y="528612"/>
                </a:cubicBezTo>
                <a:cubicBezTo>
                  <a:pt x="2150517" y="528745"/>
                  <a:pt x="2149104" y="528481"/>
                  <a:pt x="2148026" y="528077"/>
                </a:cubicBezTo>
                <a:cubicBezTo>
                  <a:pt x="2144820" y="526759"/>
                  <a:pt x="2142905" y="523945"/>
                  <a:pt x="2142905" y="523945"/>
                </a:cubicBezTo>
                <a:cubicBezTo>
                  <a:pt x="2142905" y="523945"/>
                  <a:pt x="2142905" y="523945"/>
                  <a:pt x="2142312" y="525051"/>
                </a:cubicBezTo>
                <a:cubicBezTo>
                  <a:pt x="2143193" y="522872"/>
                  <a:pt x="2142471" y="520033"/>
                  <a:pt x="2143351" y="517855"/>
                </a:cubicBezTo>
                <a:cubicBezTo>
                  <a:pt x="2149658" y="515347"/>
                  <a:pt x="2153328" y="515209"/>
                  <a:pt x="2156046" y="516411"/>
                </a:cubicBezTo>
                <a:close/>
                <a:moveTo>
                  <a:pt x="3657126" y="515329"/>
                </a:moveTo>
                <a:cubicBezTo>
                  <a:pt x="3659570" y="515063"/>
                  <a:pt x="3661899" y="515227"/>
                  <a:pt x="3664637" y="516076"/>
                </a:cubicBezTo>
                <a:cubicBezTo>
                  <a:pt x="3668234" y="517040"/>
                  <a:pt x="3672126" y="519117"/>
                  <a:pt x="3675978" y="522449"/>
                </a:cubicBezTo>
                <a:cubicBezTo>
                  <a:pt x="3680466" y="528942"/>
                  <a:pt x="3669481" y="537844"/>
                  <a:pt x="3661094" y="535941"/>
                </a:cubicBezTo>
                <a:cubicBezTo>
                  <a:pt x="3657374" y="533219"/>
                  <a:pt x="3653655" y="530498"/>
                  <a:pt x="3649964" y="527669"/>
                </a:cubicBezTo>
                <a:cubicBezTo>
                  <a:pt x="3646917" y="521333"/>
                  <a:pt x="3650683" y="516131"/>
                  <a:pt x="3657126" y="515329"/>
                </a:cubicBezTo>
                <a:close/>
                <a:moveTo>
                  <a:pt x="2313700" y="515199"/>
                </a:moveTo>
                <a:cubicBezTo>
                  <a:pt x="2316399" y="517302"/>
                  <a:pt x="2312921" y="521430"/>
                  <a:pt x="2312259" y="523897"/>
                </a:cubicBezTo>
                <a:cubicBezTo>
                  <a:pt x="2310132" y="522983"/>
                  <a:pt x="2308004" y="522068"/>
                  <a:pt x="2308576" y="523255"/>
                </a:cubicBezTo>
                <a:cubicBezTo>
                  <a:pt x="2306477" y="522233"/>
                  <a:pt x="2305237" y="521326"/>
                  <a:pt x="2304637" y="520245"/>
                </a:cubicBezTo>
                <a:cubicBezTo>
                  <a:pt x="2303789" y="518983"/>
                  <a:pt x="2303800" y="517835"/>
                  <a:pt x="2304145" y="516548"/>
                </a:cubicBezTo>
                <a:cubicBezTo>
                  <a:pt x="2305130" y="515087"/>
                  <a:pt x="2308490" y="514722"/>
                  <a:pt x="2313700" y="515199"/>
                </a:cubicBezTo>
                <a:close/>
                <a:moveTo>
                  <a:pt x="4410298" y="512437"/>
                </a:moveTo>
                <a:cubicBezTo>
                  <a:pt x="4412685" y="512386"/>
                  <a:pt x="4416149" y="512740"/>
                  <a:pt x="4419793" y="514636"/>
                </a:cubicBezTo>
                <a:cubicBezTo>
                  <a:pt x="4421528" y="515906"/>
                  <a:pt x="4425294" y="519560"/>
                  <a:pt x="4423548" y="519437"/>
                </a:cubicBezTo>
                <a:cubicBezTo>
                  <a:pt x="4422038" y="520644"/>
                  <a:pt x="4423785" y="520766"/>
                  <a:pt x="4423774" y="521913"/>
                </a:cubicBezTo>
                <a:cubicBezTo>
                  <a:pt x="4419275" y="525422"/>
                  <a:pt x="4414272" y="526382"/>
                  <a:pt x="4408997" y="523934"/>
                </a:cubicBezTo>
                <a:cubicBezTo>
                  <a:pt x="4406241" y="522045"/>
                  <a:pt x="4402741" y="519612"/>
                  <a:pt x="4402267" y="516956"/>
                </a:cubicBezTo>
                <a:cubicBezTo>
                  <a:pt x="4402191" y="516130"/>
                  <a:pt x="4402144" y="515197"/>
                  <a:pt x="4402986" y="514272"/>
                </a:cubicBezTo>
                <a:cubicBezTo>
                  <a:pt x="4404732" y="514395"/>
                  <a:pt x="4404466" y="513174"/>
                  <a:pt x="4406241" y="513190"/>
                </a:cubicBezTo>
                <a:cubicBezTo>
                  <a:pt x="4406241" y="513190"/>
                  <a:pt x="4407883" y="512596"/>
                  <a:pt x="4410298" y="512437"/>
                </a:cubicBezTo>
                <a:close/>
                <a:moveTo>
                  <a:pt x="3054093" y="511299"/>
                </a:moveTo>
                <a:cubicBezTo>
                  <a:pt x="3067080" y="522598"/>
                  <a:pt x="3063440" y="543933"/>
                  <a:pt x="3047040" y="538733"/>
                </a:cubicBezTo>
                <a:cubicBezTo>
                  <a:pt x="3044577" y="537959"/>
                  <a:pt x="3042259" y="536648"/>
                  <a:pt x="3039227" y="534685"/>
                </a:cubicBezTo>
                <a:cubicBezTo>
                  <a:pt x="3039418" y="526226"/>
                  <a:pt x="3035320" y="510524"/>
                  <a:pt x="3054093" y="511299"/>
                </a:cubicBezTo>
                <a:close/>
                <a:moveTo>
                  <a:pt x="3913607" y="509991"/>
                </a:moveTo>
                <a:cubicBezTo>
                  <a:pt x="3915410" y="509899"/>
                  <a:pt x="3915705" y="511013"/>
                  <a:pt x="3917775" y="512143"/>
                </a:cubicBezTo>
                <a:cubicBezTo>
                  <a:pt x="3918041" y="513364"/>
                  <a:pt x="3916531" y="514570"/>
                  <a:pt x="3916531" y="514570"/>
                </a:cubicBezTo>
                <a:cubicBezTo>
                  <a:pt x="3915298" y="515849"/>
                  <a:pt x="3915298" y="515849"/>
                  <a:pt x="3917369" y="516979"/>
                </a:cubicBezTo>
                <a:cubicBezTo>
                  <a:pt x="3917369" y="516979"/>
                  <a:pt x="3915594" y="516964"/>
                  <a:pt x="3915594" y="516964"/>
                </a:cubicBezTo>
                <a:cubicBezTo>
                  <a:pt x="3915298" y="515849"/>
                  <a:pt x="3915565" y="517071"/>
                  <a:pt x="3914332" y="518350"/>
                </a:cubicBezTo>
                <a:cubicBezTo>
                  <a:pt x="3912395" y="517832"/>
                  <a:pt x="3910982" y="517568"/>
                  <a:pt x="3909848" y="517379"/>
                </a:cubicBezTo>
                <a:cubicBezTo>
                  <a:pt x="3908741" y="517082"/>
                  <a:pt x="3907882" y="516967"/>
                  <a:pt x="3906862" y="516349"/>
                </a:cubicBezTo>
                <a:cubicBezTo>
                  <a:pt x="3905812" y="515838"/>
                  <a:pt x="3904849" y="515004"/>
                  <a:pt x="3904191" y="514138"/>
                </a:cubicBezTo>
                <a:cubicBezTo>
                  <a:pt x="3903534" y="513272"/>
                  <a:pt x="3903181" y="512373"/>
                  <a:pt x="3903965" y="511662"/>
                </a:cubicBezTo>
                <a:cubicBezTo>
                  <a:pt x="3905740" y="511678"/>
                  <a:pt x="3905197" y="510383"/>
                  <a:pt x="3906972" y="510399"/>
                </a:cubicBezTo>
                <a:cubicBezTo>
                  <a:pt x="3910010" y="509027"/>
                  <a:pt x="3911537" y="508862"/>
                  <a:pt x="3913607" y="509991"/>
                </a:cubicBezTo>
                <a:close/>
                <a:moveTo>
                  <a:pt x="2114938" y="509896"/>
                </a:moveTo>
                <a:cubicBezTo>
                  <a:pt x="2117046" y="509771"/>
                  <a:pt x="2119099" y="509860"/>
                  <a:pt x="2121284" y="510561"/>
                </a:cubicBezTo>
                <a:cubicBezTo>
                  <a:pt x="2121284" y="510561"/>
                  <a:pt x="2121312" y="510454"/>
                  <a:pt x="2119536" y="510438"/>
                </a:cubicBezTo>
                <a:cubicBezTo>
                  <a:pt x="2119536" y="510438"/>
                  <a:pt x="2121312" y="510454"/>
                  <a:pt x="2121577" y="511675"/>
                </a:cubicBezTo>
                <a:cubicBezTo>
                  <a:pt x="2113308" y="514864"/>
                  <a:pt x="2099729" y="513526"/>
                  <a:pt x="2097953" y="513510"/>
                </a:cubicBezTo>
                <a:cubicBezTo>
                  <a:pt x="2097688" y="512289"/>
                  <a:pt x="2097688" y="512289"/>
                  <a:pt x="2097688" y="512289"/>
                </a:cubicBezTo>
                <a:cubicBezTo>
                  <a:pt x="2103060" y="513269"/>
                  <a:pt x="2108581" y="510377"/>
                  <a:pt x="2114938" y="509896"/>
                </a:cubicBezTo>
                <a:close/>
                <a:moveTo>
                  <a:pt x="1155296" y="509675"/>
                </a:moveTo>
                <a:cubicBezTo>
                  <a:pt x="1156929" y="510227"/>
                  <a:pt x="1158531" y="510886"/>
                  <a:pt x="1158818" y="509813"/>
                </a:cubicBezTo>
                <a:cubicBezTo>
                  <a:pt x="1161173" y="513204"/>
                  <a:pt x="1160579" y="514310"/>
                  <a:pt x="1161895" y="516043"/>
                </a:cubicBezTo>
                <a:cubicBezTo>
                  <a:pt x="1162211" y="514862"/>
                  <a:pt x="1163525" y="516594"/>
                  <a:pt x="1163525" y="516594"/>
                </a:cubicBezTo>
                <a:cubicBezTo>
                  <a:pt x="1163525" y="516594"/>
                  <a:pt x="1163525" y="516594"/>
                  <a:pt x="1167364" y="515553"/>
                </a:cubicBezTo>
                <a:cubicBezTo>
                  <a:pt x="1167364" y="515553"/>
                  <a:pt x="1176919" y="514203"/>
                  <a:pt x="1183201" y="521752"/>
                </a:cubicBezTo>
                <a:cubicBezTo>
                  <a:pt x="1181281" y="522272"/>
                  <a:pt x="1188009" y="532585"/>
                  <a:pt x="1183291" y="535806"/>
                </a:cubicBezTo>
                <a:cubicBezTo>
                  <a:pt x="1180807" y="537325"/>
                  <a:pt x="1178889" y="537846"/>
                  <a:pt x="1176405" y="539366"/>
                </a:cubicBezTo>
                <a:cubicBezTo>
                  <a:pt x="1174248" y="538558"/>
                  <a:pt x="1171614" y="538427"/>
                  <a:pt x="1168571" y="537611"/>
                </a:cubicBezTo>
                <a:cubicBezTo>
                  <a:pt x="1165556" y="536689"/>
                  <a:pt x="1162131" y="535081"/>
                  <a:pt x="1158174" y="531031"/>
                </a:cubicBezTo>
                <a:cubicBezTo>
                  <a:pt x="1150854" y="521824"/>
                  <a:pt x="1161014" y="518222"/>
                  <a:pt x="1159411" y="517562"/>
                </a:cubicBezTo>
                <a:cubicBezTo>
                  <a:pt x="1158373" y="515903"/>
                  <a:pt x="1158373" y="515903"/>
                  <a:pt x="1156769" y="515245"/>
                </a:cubicBezTo>
                <a:cubicBezTo>
                  <a:pt x="1157334" y="514246"/>
                  <a:pt x="1156612" y="511407"/>
                  <a:pt x="1155296" y="509675"/>
                </a:cubicBezTo>
                <a:close/>
                <a:moveTo>
                  <a:pt x="2087145" y="509579"/>
                </a:moveTo>
                <a:cubicBezTo>
                  <a:pt x="2087145" y="509579"/>
                  <a:pt x="2087421" y="509653"/>
                  <a:pt x="2089185" y="510816"/>
                </a:cubicBezTo>
                <a:cubicBezTo>
                  <a:pt x="2086522" y="510792"/>
                  <a:pt x="2085221" y="513434"/>
                  <a:pt x="2083055" y="513773"/>
                </a:cubicBezTo>
                <a:cubicBezTo>
                  <a:pt x="2082444" y="513839"/>
                  <a:pt x="2081862" y="513798"/>
                  <a:pt x="2080841" y="513180"/>
                </a:cubicBezTo>
                <a:cubicBezTo>
                  <a:pt x="2082350" y="511974"/>
                  <a:pt x="2085635" y="510785"/>
                  <a:pt x="2087145" y="509579"/>
                </a:cubicBezTo>
                <a:close/>
                <a:moveTo>
                  <a:pt x="1338835" y="508712"/>
                </a:moveTo>
                <a:cubicBezTo>
                  <a:pt x="1342708" y="509751"/>
                  <a:pt x="1341759" y="513291"/>
                  <a:pt x="1342596" y="515701"/>
                </a:cubicBezTo>
                <a:cubicBezTo>
                  <a:pt x="1346194" y="516665"/>
                  <a:pt x="1340415" y="520522"/>
                  <a:pt x="1344012" y="521486"/>
                </a:cubicBezTo>
                <a:cubicBezTo>
                  <a:pt x="1338777" y="526637"/>
                  <a:pt x="1348629" y="531922"/>
                  <a:pt x="1342445" y="540616"/>
                </a:cubicBezTo>
                <a:cubicBezTo>
                  <a:pt x="1340531" y="537802"/>
                  <a:pt x="1339168" y="535137"/>
                  <a:pt x="1338360" y="532621"/>
                </a:cubicBezTo>
                <a:cubicBezTo>
                  <a:pt x="1335934" y="525071"/>
                  <a:pt x="1337573" y="518955"/>
                  <a:pt x="1333599" y="513865"/>
                </a:cubicBezTo>
                <a:cubicBezTo>
                  <a:pt x="1333599" y="513865"/>
                  <a:pt x="1333599" y="513865"/>
                  <a:pt x="1336368" y="511272"/>
                </a:cubicBezTo>
                <a:cubicBezTo>
                  <a:pt x="1335799" y="510084"/>
                  <a:pt x="1335799" y="510084"/>
                  <a:pt x="1335799" y="510084"/>
                </a:cubicBezTo>
                <a:cubicBezTo>
                  <a:pt x="1335531" y="508862"/>
                  <a:pt x="1338835" y="508712"/>
                  <a:pt x="1338835" y="508712"/>
                </a:cubicBezTo>
                <a:close/>
                <a:moveTo>
                  <a:pt x="1018853" y="508650"/>
                </a:moveTo>
                <a:cubicBezTo>
                  <a:pt x="1022472" y="516175"/>
                  <a:pt x="1028217" y="524614"/>
                  <a:pt x="1018097" y="526963"/>
                </a:cubicBezTo>
                <a:cubicBezTo>
                  <a:pt x="1003069" y="523281"/>
                  <a:pt x="1002508" y="512091"/>
                  <a:pt x="1009613" y="508819"/>
                </a:cubicBezTo>
                <a:cubicBezTo>
                  <a:pt x="1011982" y="507729"/>
                  <a:pt x="1015036" y="507397"/>
                  <a:pt x="1018853" y="508650"/>
                </a:cubicBezTo>
                <a:close/>
                <a:moveTo>
                  <a:pt x="3788871" y="507605"/>
                </a:moveTo>
                <a:cubicBezTo>
                  <a:pt x="3793348" y="506949"/>
                  <a:pt x="3798592" y="507578"/>
                  <a:pt x="3802569" y="509334"/>
                </a:cubicBezTo>
                <a:cubicBezTo>
                  <a:pt x="3805221" y="510505"/>
                  <a:pt x="3807176" y="512063"/>
                  <a:pt x="3808099" y="514151"/>
                </a:cubicBezTo>
                <a:cubicBezTo>
                  <a:pt x="3806719" y="519301"/>
                  <a:pt x="3799827" y="520675"/>
                  <a:pt x="3792708" y="519571"/>
                </a:cubicBezTo>
                <a:cubicBezTo>
                  <a:pt x="3790436" y="519193"/>
                  <a:pt x="3788223" y="518600"/>
                  <a:pt x="3786344" y="517866"/>
                </a:cubicBezTo>
                <a:cubicBezTo>
                  <a:pt x="3783663" y="516803"/>
                  <a:pt x="3781403" y="515277"/>
                  <a:pt x="3779783" y="513578"/>
                </a:cubicBezTo>
                <a:cubicBezTo>
                  <a:pt x="3780688" y="510198"/>
                  <a:pt x="3784396" y="508260"/>
                  <a:pt x="3788871" y="507605"/>
                </a:cubicBezTo>
                <a:close/>
                <a:moveTo>
                  <a:pt x="1580952" y="507448"/>
                </a:moveTo>
                <a:cubicBezTo>
                  <a:pt x="1588836" y="506527"/>
                  <a:pt x="1596876" y="506956"/>
                  <a:pt x="1599842" y="508614"/>
                </a:cubicBezTo>
                <a:cubicBezTo>
                  <a:pt x="1595840" y="512486"/>
                  <a:pt x="1588968" y="511565"/>
                  <a:pt x="1583438" y="515603"/>
                </a:cubicBezTo>
                <a:cubicBezTo>
                  <a:pt x="1577771" y="513510"/>
                  <a:pt x="1570465" y="517532"/>
                  <a:pt x="1563004" y="514384"/>
                </a:cubicBezTo>
                <a:cubicBezTo>
                  <a:pt x="1565342" y="510639"/>
                  <a:pt x="1573068" y="508369"/>
                  <a:pt x="1580952" y="507448"/>
                </a:cubicBezTo>
                <a:close/>
                <a:moveTo>
                  <a:pt x="2436363" y="506781"/>
                </a:moveTo>
                <a:cubicBezTo>
                  <a:pt x="2438433" y="507910"/>
                  <a:pt x="2443568" y="507561"/>
                  <a:pt x="2447195" y="508417"/>
                </a:cubicBezTo>
                <a:cubicBezTo>
                  <a:pt x="2447461" y="509638"/>
                  <a:pt x="2449559" y="510661"/>
                  <a:pt x="2449853" y="511774"/>
                </a:cubicBezTo>
                <a:cubicBezTo>
                  <a:pt x="2448050" y="511867"/>
                  <a:pt x="2445014" y="513239"/>
                  <a:pt x="2444718" y="512124"/>
                </a:cubicBezTo>
                <a:cubicBezTo>
                  <a:pt x="2442915" y="512216"/>
                  <a:pt x="2442354" y="509881"/>
                  <a:pt x="2442354" y="509881"/>
                </a:cubicBezTo>
                <a:cubicBezTo>
                  <a:pt x="2440550" y="509973"/>
                  <a:pt x="2439022" y="510138"/>
                  <a:pt x="2436953" y="509008"/>
                </a:cubicBezTo>
                <a:cubicBezTo>
                  <a:pt x="2438462" y="507803"/>
                  <a:pt x="2436629" y="508002"/>
                  <a:pt x="2436363" y="506781"/>
                </a:cubicBezTo>
                <a:close/>
                <a:moveTo>
                  <a:pt x="3303530" y="505684"/>
                </a:moveTo>
                <a:cubicBezTo>
                  <a:pt x="3308119" y="507373"/>
                  <a:pt x="3311124" y="509443"/>
                  <a:pt x="3315407" y="511166"/>
                </a:cubicBezTo>
                <a:cubicBezTo>
                  <a:pt x="3316021" y="516621"/>
                  <a:pt x="3310182" y="515172"/>
                  <a:pt x="3304314" y="513829"/>
                </a:cubicBezTo>
                <a:cubicBezTo>
                  <a:pt x="3304145" y="511139"/>
                  <a:pt x="3301112" y="509176"/>
                  <a:pt x="3303530" y="505684"/>
                </a:cubicBezTo>
                <a:close/>
                <a:moveTo>
                  <a:pt x="3604596" y="505508"/>
                </a:moveTo>
                <a:cubicBezTo>
                  <a:pt x="3610058" y="502832"/>
                  <a:pt x="3625651" y="505515"/>
                  <a:pt x="3613795" y="515448"/>
                </a:cubicBezTo>
                <a:cubicBezTo>
                  <a:pt x="3601498" y="510428"/>
                  <a:pt x="3601225" y="507019"/>
                  <a:pt x="3604596" y="505508"/>
                </a:cubicBezTo>
                <a:close/>
                <a:moveTo>
                  <a:pt x="1999896" y="505090"/>
                </a:moveTo>
                <a:cubicBezTo>
                  <a:pt x="2004942" y="503136"/>
                  <a:pt x="2011832" y="503429"/>
                  <a:pt x="2016214" y="506444"/>
                </a:cubicBezTo>
                <a:cubicBezTo>
                  <a:pt x="2019247" y="508406"/>
                  <a:pt x="2021048" y="511649"/>
                  <a:pt x="2020422" y="516196"/>
                </a:cubicBezTo>
                <a:cubicBezTo>
                  <a:pt x="2008636" y="515913"/>
                  <a:pt x="2004373" y="520750"/>
                  <a:pt x="1994642" y="517224"/>
                </a:cubicBezTo>
                <a:cubicBezTo>
                  <a:pt x="1991647" y="511246"/>
                  <a:pt x="1994849" y="507043"/>
                  <a:pt x="1999896" y="505090"/>
                </a:cubicBezTo>
                <a:close/>
                <a:moveTo>
                  <a:pt x="1752946" y="505017"/>
                </a:moveTo>
                <a:cubicBezTo>
                  <a:pt x="1755925" y="503860"/>
                  <a:pt x="1760087" y="503825"/>
                  <a:pt x="1765287" y="505449"/>
                </a:cubicBezTo>
                <a:cubicBezTo>
                  <a:pt x="1770615" y="511017"/>
                  <a:pt x="1764930" y="516738"/>
                  <a:pt x="1762264" y="520049"/>
                </a:cubicBezTo>
                <a:cubicBezTo>
                  <a:pt x="1755824" y="517518"/>
                  <a:pt x="1748802" y="514947"/>
                  <a:pt x="1746478" y="511448"/>
                </a:cubicBezTo>
                <a:cubicBezTo>
                  <a:pt x="1747617" y="508304"/>
                  <a:pt x="1749692" y="506100"/>
                  <a:pt x="1752946" y="505017"/>
                </a:cubicBezTo>
                <a:close/>
                <a:moveTo>
                  <a:pt x="3418883" y="504622"/>
                </a:moveTo>
                <a:cubicBezTo>
                  <a:pt x="3419434" y="508104"/>
                  <a:pt x="3418467" y="510605"/>
                  <a:pt x="3419017" y="514088"/>
                </a:cubicBezTo>
                <a:cubicBezTo>
                  <a:pt x="3417489" y="514253"/>
                  <a:pt x="3416049" y="514097"/>
                  <a:pt x="3414942" y="513800"/>
                </a:cubicBezTo>
                <a:cubicBezTo>
                  <a:pt x="3411679" y="512698"/>
                  <a:pt x="3410213" y="509314"/>
                  <a:pt x="3408746" y="505931"/>
                </a:cubicBezTo>
                <a:cubicBezTo>
                  <a:pt x="3412135" y="505459"/>
                  <a:pt x="3413073" y="503065"/>
                  <a:pt x="3418883" y="504622"/>
                </a:cubicBezTo>
                <a:close/>
                <a:moveTo>
                  <a:pt x="3952755" y="503346"/>
                </a:moveTo>
                <a:cubicBezTo>
                  <a:pt x="3954674" y="502825"/>
                  <a:pt x="3956870" y="502378"/>
                  <a:pt x="3959788" y="504770"/>
                </a:cubicBezTo>
                <a:cubicBezTo>
                  <a:pt x="3951428" y="511615"/>
                  <a:pt x="3949638" y="516081"/>
                  <a:pt x="3942437" y="520822"/>
                </a:cubicBezTo>
                <a:cubicBezTo>
                  <a:pt x="3940806" y="520269"/>
                  <a:pt x="3941399" y="519163"/>
                  <a:pt x="3939796" y="518503"/>
                </a:cubicBezTo>
                <a:cubicBezTo>
                  <a:pt x="3939139" y="517637"/>
                  <a:pt x="3939178" y="516383"/>
                  <a:pt x="3939829" y="515062"/>
                </a:cubicBezTo>
                <a:cubicBezTo>
                  <a:pt x="3941475" y="511134"/>
                  <a:pt x="3946711" y="505981"/>
                  <a:pt x="3947789" y="506385"/>
                </a:cubicBezTo>
                <a:cubicBezTo>
                  <a:pt x="3948353" y="505386"/>
                  <a:pt x="3949984" y="505938"/>
                  <a:pt x="3950301" y="504758"/>
                </a:cubicBezTo>
                <a:cubicBezTo>
                  <a:pt x="3950301" y="504758"/>
                  <a:pt x="3950836" y="503866"/>
                  <a:pt x="3952755" y="503346"/>
                </a:cubicBezTo>
                <a:close/>
                <a:moveTo>
                  <a:pt x="3027828" y="501961"/>
                </a:moveTo>
                <a:cubicBezTo>
                  <a:pt x="3028651" y="508851"/>
                  <a:pt x="3024572" y="511899"/>
                  <a:pt x="3016707" y="513585"/>
                </a:cubicBezTo>
                <a:cubicBezTo>
                  <a:pt x="3014255" y="511665"/>
                  <a:pt x="3013860" y="506498"/>
                  <a:pt x="3013339" y="502908"/>
                </a:cubicBezTo>
                <a:cubicBezTo>
                  <a:pt x="3016577" y="500786"/>
                  <a:pt x="3021990" y="500511"/>
                  <a:pt x="3027828" y="501961"/>
                </a:cubicBezTo>
                <a:close/>
                <a:moveTo>
                  <a:pt x="2723881" y="501825"/>
                </a:moveTo>
                <a:cubicBezTo>
                  <a:pt x="2725405" y="504992"/>
                  <a:pt x="2728373" y="513838"/>
                  <a:pt x="2726137" y="515539"/>
                </a:cubicBezTo>
                <a:cubicBezTo>
                  <a:pt x="2723737" y="511217"/>
                  <a:pt x="2722095" y="502956"/>
                  <a:pt x="2723881" y="501825"/>
                </a:cubicBezTo>
                <a:close/>
                <a:moveTo>
                  <a:pt x="3547797" y="501659"/>
                </a:moveTo>
                <a:cubicBezTo>
                  <a:pt x="3552020" y="499729"/>
                  <a:pt x="3558149" y="500652"/>
                  <a:pt x="3562526" y="504240"/>
                </a:cubicBezTo>
                <a:cubicBezTo>
                  <a:pt x="3565415" y="506739"/>
                  <a:pt x="3567435" y="510271"/>
                  <a:pt x="3567945" y="515008"/>
                </a:cubicBezTo>
                <a:cubicBezTo>
                  <a:pt x="3566263" y="516857"/>
                  <a:pt x="3563284" y="518014"/>
                  <a:pt x="3559838" y="518700"/>
                </a:cubicBezTo>
                <a:lnTo>
                  <a:pt x="3554264" y="518472"/>
                </a:lnTo>
                <a:lnTo>
                  <a:pt x="3554192" y="523167"/>
                </a:lnTo>
                <a:lnTo>
                  <a:pt x="3554063" y="528078"/>
                </a:lnTo>
                <a:lnTo>
                  <a:pt x="3559799" y="528810"/>
                </a:lnTo>
                <a:lnTo>
                  <a:pt x="3560351" y="528958"/>
                </a:lnTo>
                <a:lnTo>
                  <a:pt x="3560190" y="528455"/>
                </a:lnTo>
                <a:cubicBezTo>
                  <a:pt x="3573651" y="533557"/>
                  <a:pt x="3588668" y="538386"/>
                  <a:pt x="3589423" y="546637"/>
                </a:cubicBezTo>
                <a:cubicBezTo>
                  <a:pt x="3587446" y="547373"/>
                  <a:pt x="3585032" y="547532"/>
                  <a:pt x="3582761" y="547153"/>
                </a:cubicBezTo>
                <a:lnTo>
                  <a:pt x="3581654" y="546856"/>
                </a:lnTo>
                <a:lnTo>
                  <a:pt x="3578240" y="561811"/>
                </a:lnTo>
                <a:lnTo>
                  <a:pt x="3576188" y="561722"/>
                </a:lnTo>
                <a:lnTo>
                  <a:pt x="3583832" y="563080"/>
                </a:lnTo>
                <a:cubicBezTo>
                  <a:pt x="3585613" y="565283"/>
                  <a:pt x="3585955" y="567329"/>
                  <a:pt x="3585161" y="569187"/>
                </a:cubicBezTo>
                <a:lnTo>
                  <a:pt x="3583231" y="570854"/>
                </a:lnTo>
                <a:lnTo>
                  <a:pt x="3587888" y="571182"/>
                </a:lnTo>
                <a:cubicBezTo>
                  <a:pt x="3588467" y="574558"/>
                  <a:pt x="3589858" y="577115"/>
                  <a:pt x="3589197" y="579583"/>
                </a:cubicBezTo>
                <a:cubicBezTo>
                  <a:pt x="3585053" y="580657"/>
                  <a:pt x="3582228" y="580131"/>
                  <a:pt x="3580244" y="578679"/>
                </a:cubicBezTo>
                <a:lnTo>
                  <a:pt x="3578427" y="574397"/>
                </a:lnTo>
                <a:lnTo>
                  <a:pt x="3572307" y="576207"/>
                </a:lnTo>
                <a:cubicBezTo>
                  <a:pt x="3569529" y="576613"/>
                  <a:pt x="3566589" y="576516"/>
                  <a:pt x="3563852" y="575666"/>
                </a:cubicBezTo>
                <a:cubicBezTo>
                  <a:pt x="3561439" y="572491"/>
                  <a:pt x="3562054" y="569090"/>
                  <a:pt x="3564519" y="566531"/>
                </a:cubicBezTo>
                <a:lnTo>
                  <a:pt x="3575329" y="561607"/>
                </a:lnTo>
                <a:lnTo>
                  <a:pt x="3573277" y="561517"/>
                </a:lnTo>
                <a:lnTo>
                  <a:pt x="3572407" y="562549"/>
                </a:lnTo>
                <a:cubicBezTo>
                  <a:pt x="3571652" y="563152"/>
                  <a:pt x="3570125" y="563317"/>
                  <a:pt x="3568350" y="563301"/>
                </a:cubicBezTo>
                <a:lnTo>
                  <a:pt x="3566540" y="561206"/>
                </a:lnTo>
                <a:lnTo>
                  <a:pt x="3560995" y="560871"/>
                </a:lnTo>
                <a:lnTo>
                  <a:pt x="3540702" y="553594"/>
                </a:lnTo>
                <a:lnTo>
                  <a:pt x="3536939" y="555460"/>
                </a:lnTo>
                <a:cubicBezTo>
                  <a:pt x="3533729" y="557475"/>
                  <a:pt x="3530837" y="558310"/>
                  <a:pt x="3528232" y="558072"/>
                </a:cubicBezTo>
                <a:cubicBezTo>
                  <a:pt x="3525655" y="557727"/>
                  <a:pt x="3523366" y="556308"/>
                  <a:pt x="3521670" y="553784"/>
                </a:cubicBezTo>
                <a:cubicBezTo>
                  <a:pt x="3521957" y="552710"/>
                  <a:pt x="3524509" y="549830"/>
                  <a:pt x="3522877" y="549277"/>
                </a:cubicBezTo>
                <a:cubicBezTo>
                  <a:pt x="3525103" y="548723"/>
                  <a:pt x="3527632" y="548136"/>
                  <a:pt x="3529770" y="547903"/>
                </a:cubicBezTo>
                <a:lnTo>
                  <a:pt x="3533816" y="548298"/>
                </a:lnTo>
                <a:lnTo>
                  <a:pt x="3532633" y="547177"/>
                </a:lnTo>
                <a:cubicBezTo>
                  <a:pt x="3530852" y="544974"/>
                  <a:pt x="3529738" y="542491"/>
                  <a:pt x="3529512" y="540015"/>
                </a:cubicBezTo>
                <a:cubicBezTo>
                  <a:pt x="3529950" y="531737"/>
                  <a:pt x="3536950" y="527748"/>
                  <a:pt x="3545722" y="527109"/>
                </a:cubicBezTo>
                <a:lnTo>
                  <a:pt x="3545999" y="527183"/>
                </a:lnTo>
                <a:lnTo>
                  <a:pt x="3546298" y="524962"/>
                </a:lnTo>
                <a:cubicBezTo>
                  <a:pt x="3546222" y="524136"/>
                  <a:pt x="3546643" y="523675"/>
                  <a:pt x="3546948" y="523642"/>
                </a:cubicBezTo>
                <a:cubicBezTo>
                  <a:pt x="3546377" y="522453"/>
                  <a:pt x="3548180" y="522362"/>
                  <a:pt x="3547609" y="521174"/>
                </a:cubicBezTo>
                <a:cubicBezTo>
                  <a:pt x="3547609" y="521174"/>
                  <a:pt x="3547067" y="519878"/>
                  <a:pt x="3548328" y="518491"/>
                </a:cubicBezTo>
                <a:lnTo>
                  <a:pt x="3548967" y="518318"/>
                </a:lnTo>
                <a:lnTo>
                  <a:pt x="3544493" y="516199"/>
                </a:lnTo>
                <a:cubicBezTo>
                  <a:pt x="3541252" y="508373"/>
                  <a:pt x="3543572" y="503590"/>
                  <a:pt x="3547797" y="501659"/>
                </a:cubicBezTo>
                <a:close/>
                <a:moveTo>
                  <a:pt x="2183541" y="500678"/>
                </a:moveTo>
                <a:cubicBezTo>
                  <a:pt x="2184685" y="503055"/>
                  <a:pt x="2191727" y="503332"/>
                  <a:pt x="2189481" y="506179"/>
                </a:cubicBezTo>
                <a:cubicBezTo>
                  <a:pt x="2187383" y="505157"/>
                  <a:pt x="2184714" y="502947"/>
                  <a:pt x="2182586" y="502031"/>
                </a:cubicBezTo>
                <a:cubicBezTo>
                  <a:pt x="2182586" y="502031"/>
                  <a:pt x="2182557" y="502139"/>
                  <a:pt x="2183541" y="500678"/>
                </a:cubicBezTo>
                <a:close/>
                <a:moveTo>
                  <a:pt x="2842289" y="500432"/>
                </a:moveTo>
                <a:cubicBezTo>
                  <a:pt x="2854446" y="502654"/>
                  <a:pt x="2864048" y="502237"/>
                  <a:pt x="2876205" y="504459"/>
                </a:cubicBezTo>
                <a:lnTo>
                  <a:pt x="2878846" y="506777"/>
                </a:lnTo>
                <a:lnTo>
                  <a:pt x="2879745" y="505637"/>
                </a:lnTo>
                <a:cubicBezTo>
                  <a:pt x="2881900" y="506445"/>
                  <a:pt x="2884028" y="507361"/>
                  <a:pt x="2886461" y="508242"/>
                </a:cubicBezTo>
                <a:lnTo>
                  <a:pt x="2886335" y="509819"/>
                </a:lnTo>
                <a:lnTo>
                  <a:pt x="2893472" y="511961"/>
                </a:lnTo>
                <a:cubicBezTo>
                  <a:pt x="2890206" y="514190"/>
                  <a:pt x="2897748" y="520351"/>
                  <a:pt x="2893001" y="523680"/>
                </a:cubicBezTo>
                <a:lnTo>
                  <a:pt x="2890794" y="525273"/>
                </a:lnTo>
                <a:lnTo>
                  <a:pt x="2888879" y="531315"/>
                </a:lnTo>
                <a:cubicBezTo>
                  <a:pt x="2887140" y="533380"/>
                  <a:pt x="2884570" y="535221"/>
                  <a:pt x="2881534" y="536592"/>
                </a:cubicBezTo>
                <a:lnTo>
                  <a:pt x="2873639" y="538387"/>
                </a:lnTo>
                <a:lnTo>
                  <a:pt x="2874516" y="539542"/>
                </a:lnTo>
                <a:cubicBezTo>
                  <a:pt x="2874857" y="541588"/>
                  <a:pt x="2874253" y="543842"/>
                  <a:pt x="2873373" y="546021"/>
                </a:cubicBezTo>
                <a:lnTo>
                  <a:pt x="2873229" y="546557"/>
                </a:lnTo>
                <a:lnTo>
                  <a:pt x="2877491" y="550574"/>
                </a:lnTo>
                <a:cubicBezTo>
                  <a:pt x="2878806" y="552307"/>
                  <a:pt x="2880093" y="554146"/>
                  <a:pt x="2880434" y="556192"/>
                </a:cubicBezTo>
                <a:lnTo>
                  <a:pt x="2880455" y="562753"/>
                </a:lnTo>
                <a:lnTo>
                  <a:pt x="2884127" y="564543"/>
                </a:lnTo>
                <a:cubicBezTo>
                  <a:pt x="2883341" y="577442"/>
                  <a:pt x="2877850" y="580225"/>
                  <a:pt x="2871514" y="578413"/>
                </a:cubicBezTo>
                <a:lnTo>
                  <a:pt x="2870523" y="577688"/>
                </a:lnTo>
                <a:lnTo>
                  <a:pt x="2862968" y="581528"/>
                </a:lnTo>
                <a:cubicBezTo>
                  <a:pt x="2854509" y="584322"/>
                  <a:pt x="2843991" y="584838"/>
                  <a:pt x="2834716" y="582929"/>
                </a:cubicBezTo>
                <a:cubicBezTo>
                  <a:pt x="2820651" y="580080"/>
                  <a:pt x="2808634" y="571799"/>
                  <a:pt x="2808383" y="557242"/>
                </a:cubicBezTo>
                <a:lnTo>
                  <a:pt x="2810097" y="551951"/>
                </a:lnTo>
                <a:lnTo>
                  <a:pt x="2809849" y="551770"/>
                </a:lnTo>
                <a:lnTo>
                  <a:pt x="2810978" y="549772"/>
                </a:lnTo>
                <a:lnTo>
                  <a:pt x="2811438" y="548056"/>
                </a:lnTo>
                <a:cubicBezTo>
                  <a:pt x="2814305" y="543994"/>
                  <a:pt x="2818557" y="540303"/>
                  <a:pt x="2822952" y="536075"/>
                </a:cubicBezTo>
                <a:lnTo>
                  <a:pt x="2832115" y="526225"/>
                </a:lnTo>
                <a:lnTo>
                  <a:pt x="2831372" y="525681"/>
                </a:lnTo>
                <a:cubicBezTo>
                  <a:pt x="2831569" y="519410"/>
                  <a:pt x="2833445" y="514622"/>
                  <a:pt x="2835731" y="510519"/>
                </a:cubicBezTo>
                <a:lnTo>
                  <a:pt x="2838857" y="505492"/>
                </a:lnTo>
                <a:lnTo>
                  <a:pt x="2837197" y="505047"/>
                </a:lnTo>
                <a:cubicBezTo>
                  <a:pt x="2836366" y="504824"/>
                  <a:pt x="2835814" y="504676"/>
                  <a:pt x="2836234" y="504214"/>
                </a:cubicBezTo>
                <a:cubicBezTo>
                  <a:pt x="2834631" y="503554"/>
                  <a:pt x="2834919" y="502481"/>
                  <a:pt x="2836550" y="503033"/>
                </a:cubicBezTo>
                <a:cubicBezTo>
                  <a:pt x="2837640" y="502290"/>
                  <a:pt x="2838718" y="502694"/>
                  <a:pt x="2839680" y="503528"/>
                </a:cubicBezTo>
                <a:lnTo>
                  <a:pt x="2839900" y="503816"/>
                </a:lnTo>
                <a:close/>
                <a:moveTo>
                  <a:pt x="3424530" y="500154"/>
                </a:moveTo>
                <a:cubicBezTo>
                  <a:pt x="3426276" y="500278"/>
                  <a:pt x="3427775" y="500219"/>
                  <a:pt x="3429539" y="501382"/>
                </a:cubicBezTo>
                <a:cubicBezTo>
                  <a:pt x="3431552" y="502726"/>
                  <a:pt x="3429805" y="502603"/>
                  <a:pt x="3431552" y="502726"/>
                </a:cubicBezTo>
                <a:cubicBezTo>
                  <a:pt x="3433316" y="503889"/>
                  <a:pt x="3433326" y="502742"/>
                  <a:pt x="3433326" y="502742"/>
                </a:cubicBezTo>
                <a:cubicBezTo>
                  <a:pt x="3433326" y="502742"/>
                  <a:pt x="3433316" y="503889"/>
                  <a:pt x="3433316" y="503889"/>
                </a:cubicBezTo>
                <a:cubicBezTo>
                  <a:pt x="3433316" y="503889"/>
                  <a:pt x="3433316" y="503889"/>
                  <a:pt x="3436816" y="506322"/>
                </a:cubicBezTo>
                <a:cubicBezTo>
                  <a:pt x="3442396" y="508738"/>
                  <a:pt x="3444143" y="508860"/>
                  <a:pt x="3447683" y="510038"/>
                </a:cubicBezTo>
                <a:cubicBezTo>
                  <a:pt x="3449418" y="511309"/>
                  <a:pt x="3450382" y="512142"/>
                  <a:pt x="3451287" y="513190"/>
                </a:cubicBezTo>
                <a:lnTo>
                  <a:pt x="3453595" y="515648"/>
                </a:lnTo>
                <a:lnTo>
                  <a:pt x="3459243" y="516702"/>
                </a:lnTo>
                <a:cubicBezTo>
                  <a:pt x="3475616" y="522009"/>
                  <a:pt x="3472679" y="536286"/>
                  <a:pt x="3468942" y="550235"/>
                </a:cubicBezTo>
                <a:lnTo>
                  <a:pt x="3467205" y="557820"/>
                </a:lnTo>
                <a:lnTo>
                  <a:pt x="3475666" y="555027"/>
                </a:lnTo>
                <a:cubicBezTo>
                  <a:pt x="3482939" y="554445"/>
                  <a:pt x="3490812" y="554945"/>
                  <a:pt x="3499257" y="556633"/>
                </a:cubicBezTo>
                <a:lnTo>
                  <a:pt x="3511069" y="560143"/>
                </a:lnTo>
                <a:lnTo>
                  <a:pt x="3516693" y="557971"/>
                </a:lnTo>
                <a:lnTo>
                  <a:pt x="3517127" y="561881"/>
                </a:lnTo>
                <a:lnTo>
                  <a:pt x="3524293" y="563916"/>
                </a:lnTo>
                <a:cubicBezTo>
                  <a:pt x="3540902" y="570552"/>
                  <a:pt x="3556707" y="580192"/>
                  <a:pt x="3567671" y="591295"/>
                </a:cubicBezTo>
                <a:lnTo>
                  <a:pt x="3569176" y="593423"/>
                </a:lnTo>
                <a:lnTo>
                  <a:pt x="3575342" y="592547"/>
                </a:lnTo>
                <a:cubicBezTo>
                  <a:pt x="3575342" y="592547"/>
                  <a:pt x="3575342" y="592547"/>
                  <a:pt x="3576687" y="594171"/>
                </a:cubicBezTo>
                <a:cubicBezTo>
                  <a:pt x="3575303" y="593800"/>
                  <a:pt x="3574053" y="594040"/>
                  <a:pt x="3573050" y="594462"/>
                </a:cubicBezTo>
                <a:lnTo>
                  <a:pt x="3570273" y="594868"/>
                </a:lnTo>
                <a:lnTo>
                  <a:pt x="3580183" y="608793"/>
                </a:lnTo>
                <a:cubicBezTo>
                  <a:pt x="3588361" y="626970"/>
                  <a:pt x="3581659" y="646449"/>
                  <a:pt x="3547312" y="661742"/>
                </a:cubicBezTo>
                <a:cubicBezTo>
                  <a:pt x="3540287" y="662503"/>
                  <a:pt x="3533052" y="661831"/>
                  <a:pt x="3525829" y="660010"/>
                </a:cubicBezTo>
                <a:lnTo>
                  <a:pt x="3514438" y="656038"/>
                </a:lnTo>
                <a:lnTo>
                  <a:pt x="3513044" y="656814"/>
                </a:lnTo>
                <a:lnTo>
                  <a:pt x="3511366" y="655329"/>
                </a:lnTo>
                <a:lnTo>
                  <a:pt x="3509651" y="660620"/>
                </a:lnTo>
                <a:cubicBezTo>
                  <a:pt x="3506100" y="660589"/>
                  <a:pt x="3502403" y="655573"/>
                  <a:pt x="3499456" y="653289"/>
                </a:cubicBezTo>
                <a:cubicBezTo>
                  <a:pt x="3501404" y="652660"/>
                  <a:pt x="3503323" y="652139"/>
                  <a:pt x="3501968" y="651661"/>
                </a:cubicBezTo>
                <a:lnTo>
                  <a:pt x="3504659" y="651578"/>
                </a:lnTo>
                <a:lnTo>
                  <a:pt x="3493376" y="644989"/>
                </a:lnTo>
                <a:cubicBezTo>
                  <a:pt x="3483066" y="638086"/>
                  <a:pt x="3473741" y="629723"/>
                  <a:pt x="3466029" y="620871"/>
                </a:cubicBezTo>
                <a:lnTo>
                  <a:pt x="3461380" y="613875"/>
                </a:lnTo>
                <a:lnTo>
                  <a:pt x="3458013" y="612053"/>
                </a:lnTo>
                <a:lnTo>
                  <a:pt x="3457833" y="610510"/>
                </a:lnTo>
                <a:lnTo>
                  <a:pt x="3457333" y="613481"/>
                </a:lnTo>
                <a:cubicBezTo>
                  <a:pt x="3456435" y="614620"/>
                  <a:pt x="3454983" y="615611"/>
                  <a:pt x="3452453" y="616198"/>
                </a:cubicBezTo>
                <a:cubicBezTo>
                  <a:pt x="3444954" y="614305"/>
                  <a:pt x="3441187" y="610651"/>
                  <a:pt x="3440084" y="607019"/>
                </a:cubicBezTo>
                <a:lnTo>
                  <a:pt x="3441759" y="602983"/>
                </a:lnTo>
                <a:lnTo>
                  <a:pt x="3438686" y="602275"/>
                </a:lnTo>
                <a:cubicBezTo>
                  <a:pt x="3437303" y="601904"/>
                  <a:pt x="3436530" y="601467"/>
                  <a:pt x="3434460" y="600337"/>
                </a:cubicBezTo>
                <a:cubicBezTo>
                  <a:pt x="3435988" y="600172"/>
                  <a:pt x="3439025" y="598800"/>
                  <a:pt x="3441094" y="599930"/>
                </a:cubicBezTo>
                <a:lnTo>
                  <a:pt x="3442611" y="600911"/>
                </a:lnTo>
                <a:lnTo>
                  <a:pt x="3443969" y="598055"/>
                </a:lnTo>
                <a:lnTo>
                  <a:pt x="3451405" y="597977"/>
                </a:lnTo>
                <a:lnTo>
                  <a:pt x="3448918" y="593975"/>
                </a:lnTo>
                <a:cubicBezTo>
                  <a:pt x="3445310" y="585304"/>
                  <a:pt x="3444469" y="577373"/>
                  <a:pt x="3446747" y="571083"/>
                </a:cubicBezTo>
                <a:lnTo>
                  <a:pt x="3449834" y="567311"/>
                </a:lnTo>
                <a:lnTo>
                  <a:pt x="3443039" y="567216"/>
                </a:lnTo>
                <a:lnTo>
                  <a:pt x="3439500" y="566036"/>
                </a:lnTo>
                <a:lnTo>
                  <a:pt x="3439610" y="568942"/>
                </a:lnTo>
                <a:cubicBezTo>
                  <a:pt x="3437473" y="569174"/>
                  <a:pt x="3434982" y="568506"/>
                  <a:pt x="3432606" y="567410"/>
                </a:cubicBezTo>
                <a:lnTo>
                  <a:pt x="3423346" y="561019"/>
                </a:lnTo>
                <a:lnTo>
                  <a:pt x="3421714" y="560467"/>
                </a:lnTo>
                <a:lnTo>
                  <a:pt x="3421697" y="559427"/>
                </a:lnTo>
                <a:lnTo>
                  <a:pt x="3415606" y="552275"/>
                </a:lnTo>
                <a:cubicBezTo>
                  <a:pt x="3418538" y="550185"/>
                  <a:pt x="3416288" y="547512"/>
                  <a:pt x="3418973" y="545241"/>
                </a:cubicBezTo>
                <a:lnTo>
                  <a:pt x="3421672" y="547345"/>
                </a:lnTo>
                <a:lnTo>
                  <a:pt x="3421622" y="540892"/>
                </a:lnTo>
                <a:lnTo>
                  <a:pt x="3418459" y="543838"/>
                </a:lnTo>
                <a:cubicBezTo>
                  <a:pt x="3413001" y="543181"/>
                  <a:pt x="3409652" y="542399"/>
                  <a:pt x="3407772" y="541666"/>
                </a:cubicBezTo>
                <a:cubicBezTo>
                  <a:pt x="3401361" y="539028"/>
                  <a:pt x="3405946" y="535197"/>
                  <a:pt x="3391594" y="524565"/>
                </a:cubicBezTo>
                <a:cubicBezTo>
                  <a:pt x="3396909" y="516904"/>
                  <a:pt x="3406540" y="516380"/>
                  <a:pt x="3414392" y="519173"/>
                </a:cubicBezTo>
                <a:lnTo>
                  <a:pt x="3419361" y="521655"/>
                </a:lnTo>
                <a:lnTo>
                  <a:pt x="3427360" y="520579"/>
                </a:lnTo>
                <a:lnTo>
                  <a:pt x="3430710" y="521360"/>
                </a:lnTo>
                <a:lnTo>
                  <a:pt x="3435155" y="514732"/>
                </a:lnTo>
                <a:lnTo>
                  <a:pt x="3439899" y="514738"/>
                </a:lnTo>
                <a:lnTo>
                  <a:pt x="3430448" y="507951"/>
                </a:lnTo>
                <a:cubicBezTo>
                  <a:pt x="3426539" y="504833"/>
                  <a:pt x="3423764" y="501905"/>
                  <a:pt x="3424530" y="500154"/>
                </a:cubicBezTo>
                <a:close/>
                <a:moveTo>
                  <a:pt x="2452797" y="499683"/>
                </a:moveTo>
                <a:cubicBezTo>
                  <a:pt x="2452797" y="499683"/>
                  <a:pt x="2454867" y="500814"/>
                  <a:pt x="2456660" y="501869"/>
                </a:cubicBezTo>
                <a:cubicBezTo>
                  <a:pt x="2458729" y="502998"/>
                  <a:pt x="2460506" y="503014"/>
                  <a:pt x="2460506" y="503014"/>
                </a:cubicBezTo>
                <a:cubicBezTo>
                  <a:pt x="2462298" y="504069"/>
                  <a:pt x="2462870" y="505257"/>
                  <a:pt x="2461331" y="506571"/>
                </a:cubicBezTo>
                <a:cubicBezTo>
                  <a:pt x="2461331" y="506571"/>
                  <a:pt x="2457734" y="505607"/>
                  <a:pt x="2457734" y="505607"/>
                </a:cubicBezTo>
                <a:cubicBezTo>
                  <a:pt x="2453871" y="503421"/>
                  <a:pt x="2451802" y="502293"/>
                  <a:pt x="2448234" y="501221"/>
                </a:cubicBezTo>
                <a:cubicBezTo>
                  <a:pt x="2449200" y="498719"/>
                  <a:pt x="2450727" y="498554"/>
                  <a:pt x="2452797" y="499683"/>
                </a:cubicBezTo>
                <a:close/>
                <a:moveTo>
                  <a:pt x="3507757" y="499455"/>
                </a:moveTo>
                <a:cubicBezTo>
                  <a:pt x="3509751" y="499760"/>
                  <a:pt x="3511688" y="500279"/>
                  <a:pt x="3513787" y="501301"/>
                </a:cubicBezTo>
                <a:cubicBezTo>
                  <a:pt x="3505503" y="508971"/>
                  <a:pt x="3503939" y="515913"/>
                  <a:pt x="3499149" y="523829"/>
                </a:cubicBezTo>
                <a:cubicBezTo>
                  <a:pt x="3497404" y="523706"/>
                  <a:pt x="3495743" y="523261"/>
                  <a:pt x="3493893" y="522420"/>
                </a:cubicBezTo>
                <a:cubicBezTo>
                  <a:pt x="3492041" y="521580"/>
                  <a:pt x="3490029" y="520235"/>
                  <a:pt x="3487302" y="518240"/>
                </a:cubicBezTo>
                <a:cubicBezTo>
                  <a:pt x="3500785" y="512193"/>
                  <a:pt x="3482199" y="506292"/>
                  <a:pt x="3491902" y="501072"/>
                </a:cubicBezTo>
                <a:cubicBezTo>
                  <a:pt x="3497065" y="500616"/>
                  <a:pt x="3502050" y="498615"/>
                  <a:pt x="3507757" y="499455"/>
                </a:cubicBezTo>
                <a:close/>
                <a:moveTo>
                  <a:pt x="3097677" y="499171"/>
                </a:moveTo>
                <a:cubicBezTo>
                  <a:pt x="3098252" y="505880"/>
                  <a:pt x="3098144" y="517351"/>
                  <a:pt x="3082914" y="514421"/>
                </a:cubicBezTo>
                <a:cubicBezTo>
                  <a:pt x="3081599" y="512689"/>
                  <a:pt x="3080590" y="510923"/>
                  <a:pt x="3079579" y="509157"/>
                </a:cubicBezTo>
                <a:cubicBezTo>
                  <a:pt x="3088287" y="506546"/>
                  <a:pt x="3091136" y="501444"/>
                  <a:pt x="3097677" y="499171"/>
                </a:cubicBezTo>
                <a:close/>
                <a:moveTo>
                  <a:pt x="2891683" y="498716"/>
                </a:moveTo>
                <a:cubicBezTo>
                  <a:pt x="2891683" y="498716"/>
                  <a:pt x="2893343" y="499161"/>
                  <a:pt x="2896031" y="502412"/>
                </a:cubicBezTo>
                <a:cubicBezTo>
                  <a:pt x="2894676" y="501934"/>
                  <a:pt x="2894360" y="503113"/>
                  <a:pt x="2894360" y="503113"/>
                </a:cubicBezTo>
                <a:cubicBezTo>
                  <a:pt x="2894360" y="503113"/>
                  <a:pt x="2894360" y="503113"/>
                  <a:pt x="2895992" y="503665"/>
                </a:cubicBezTo>
                <a:cubicBezTo>
                  <a:pt x="2895017" y="503980"/>
                  <a:pt x="2894188" y="503757"/>
                  <a:pt x="2893692" y="503394"/>
                </a:cubicBezTo>
                <a:cubicBezTo>
                  <a:pt x="2892890" y="503065"/>
                  <a:pt x="2892700" y="502668"/>
                  <a:pt x="2892700" y="502668"/>
                </a:cubicBezTo>
                <a:cubicBezTo>
                  <a:pt x="2891355" y="501044"/>
                  <a:pt x="2890011" y="499419"/>
                  <a:pt x="2891683" y="498716"/>
                </a:cubicBezTo>
                <a:close/>
                <a:moveTo>
                  <a:pt x="3525520" y="498465"/>
                </a:moveTo>
                <a:cubicBezTo>
                  <a:pt x="3536347" y="503435"/>
                  <a:pt x="3538416" y="522276"/>
                  <a:pt x="3533669" y="525604"/>
                </a:cubicBezTo>
                <a:cubicBezTo>
                  <a:pt x="3528128" y="521934"/>
                  <a:pt x="3529364" y="517320"/>
                  <a:pt x="3523834" y="512504"/>
                </a:cubicBezTo>
                <a:cubicBezTo>
                  <a:pt x="3526835" y="509052"/>
                  <a:pt x="3521039" y="503014"/>
                  <a:pt x="3525520" y="498465"/>
                </a:cubicBezTo>
                <a:close/>
                <a:moveTo>
                  <a:pt x="2121212" y="497547"/>
                </a:moveTo>
                <a:cubicBezTo>
                  <a:pt x="2123242" y="499930"/>
                  <a:pt x="2123213" y="500038"/>
                  <a:pt x="2121721" y="502283"/>
                </a:cubicBezTo>
                <a:cubicBezTo>
                  <a:pt x="2120223" y="502341"/>
                  <a:pt x="2120212" y="503488"/>
                  <a:pt x="2118477" y="502219"/>
                </a:cubicBezTo>
                <a:cubicBezTo>
                  <a:pt x="2115448" y="505777"/>
                  <a:pt x="2100630" y="509053"/>
                  <a:pt x="2093570" y="507736"/>
                </a:cubicBezTo>
                <a:cubicBezTo>
                  <a:pt x="2104405" y="497184"/>
                  <a:pt x="2115192" y="503410"/>
                  <a:pt x="2121212" y="497547"/>
                </a:cubicBezTo>
                <a:close/>
                <a:moveTo>
                  <a:pt x="1701569" y="496426"/>
                </a:moveTo>
                <a:cubicBezTo>
                  <a:pt x="1708857" y="500219"/>
                  <a:pt x="1710093" y="504460"/>
                  <a:pt x="1707722" y="508884"/>
                </a:cubicBezTo>
                <a:cubicBezTo>
                  <a:pt x="1704246" y="509678"/>
                  <a:pt x="1701087" y="509292"/>
                  <a:pt x="1698159" y="508046"/>
                </a:cubicBezTo>
                <a:cubicBezTo>
                  <a:pt x="1695506" y="506876"/>
                  <a:pt x="1693638" y="504995"/>
                  <a:pt x="1692714" y="502908"/>
                </a:cubicBezTo>
                <a:cubicBezTo>
                  <a:pt x="1692172" y="501613"/>
                  <a:pt x="1691992" y="500070"/>
                  <a:pt x="1692948" y="498716"/>
                </a:cubicBezTo>
                <a:cubicBezTo>
                  <a:pt x="1694867" y="498195"/>
                  <a:pt x="1697684" y="496534"/>
                  <a:pt x="1701569" y="496426"/>
                </a:cubicBezTo>
                <a:close/>
                <a:moveTo>
                  <a:pt x="2020063" y="495399"/>
                </a:moveTo>
                <a:cubicBezTo>
                  <a:pt x="2023574" y="496685"/>
                  <a:pt x="2023869" y="497799"/>
                  <a:pt x="2022083" y="498930"/>
                </a:cubicBezTo>
                <a:cubicBezTo>
                  <a:pt x="2022083" y="498930"/>
                  <a:pt x="2020574" y="500136"/>
                  <a:pt x="2019094" y="501234"/>
                </a:cubicBezTo>
                <a:cubicBezTo>
                  <a:pt x="2017307" y="502365"/>
                  <a:pt x="2017296" y="503514"/>
                  <a:pt x="2017296" y="503514"/>
                </a:cubicBezTo>
                <a:cubicBezTo>
                  <a:pt x="2016541" y="504116"/>
                  <a:pt x="2015845" y="504504"/>
                  <a:pt x="2014985" y="504389"/>
                </a:cubicBezTo>
                <a:cubicBezTo>
                  <a:pt x="2014098" y="504381"/>
                  <a:pt x="2013020" y="503977"/>
                  <a:pt x="2012276" y="503434"/>
                </a:cubicBezTo>
                <a:cubicBezTo>
                  <a:pt x="2012276" y="503434"/>
                  <a:pt x="2013796" y="501081"/>
                  <a:pt x="2013796" y="501081"/>
                </a:cubicBezTo>
                <a:cubicBezTo>
                  <a:pt x="2017063" y="498851"/>
                  <a:pt x="2018543" y="497752"/>
                  <a:pt x="2020063" y="495399"/>
                </a:cubicBezTo>
                <a:close/>
                <a:moveTo>
                  <a:pt x="3240549" y="495019"/>
                </a:moveTo>
                <a:cubicBezTo>
                  <a:pt x="3246759" y="498407"/>
                  <a:pt x="3246835" y="508088"/>
                  <a:pt x="3241269" y="510046"/>
                </a:cubicBezTo>
                <a:cubicBezTo>
                  <a:pt x="3241316" y="502124"/>
                  <a:pt x="3233895" y="497719"/>
                  <a:pt x="3240549" y="495019"/>
                </a:cubicBezTo>
                <a:close/>
                <a:moveTo>
                  <a:pt x="3055640" y="494462"/>
                </a:moveTo>
                <a:cubicBezTo>
                  <a:pt x="3059409" y="494782"/>
                  <a:pt x="3063912" y="496794"/>
                  <a:pt x="3068335" y="501315"/>
                </a:cubicBezTo>
                <a:cubicBezTo>
                  <a:pt x="3067365" y="507149"/>
                  <a:pt x="3063221" y="508224"/>
                  <a:pt x="3060526" y="511641"/>
                </a:cubicBezTo>
                <a:cubicBezTo>
                  <a:pt x="3043751" y="507837"/>
                  <a:pt x="3042750" y="499404"/>
                  <a:pt x="3048135" y="495902"/>
                </a:cubicBezTo>
                <a:cubicBezTo>
                  <a:pt x="3049951" y="494663"/>
                  <a:pt x="3052480" y="494076"/>
                  <a:pt x="3055640" y="494462"/>
                </a:cubicBezTo>
                <a:close/>
                <a:moveTo>
                  <a:pt x="2044136" y="492995"/>
                </a:moveTo>
                <a:cubicBezTo>
                  <a:pt x="2046027" y="492581"/>
                  <a:pt x="2046314" y="491508"/>
                  <a:pt x="2047630" y="493241"/>
                </a:cubicBezTo>
                <a:cubicBezTo>
                  <a:pt x="2048668" y="494899"/>
                  <a:pt x="2048697" y="494792"/>
                  <a:pt x="2047557" y="497937"/>
                </a:cubicBezTo>
                <a:cubicBezTo>
                  <a:pt x="2046490" y="496385"/>
                  <a:pt x="2046214" y="496311"/>
                  <a:pt x="2044323" y="496725"/>
                </a:cubicBezTo>
                <a:cubicBezTo>
                  <a:pt x="2044323" y="496725"/>
                  <a:pt x="2044323" y="496725"/>
                  <a:pt x="2044007" y="497905"/>
                </a:cubicBezTo>
                <a:cubicBezTo>
                  <a:pt x="2042405" y="497246"/>
                  <a:pt x="2042969" y="496247"/>
                  <a:pt x="2041367" y="495588"/>
                </a:cubicBezTo>
                <a:cubicBezTo>
                  <a:pt x="2041367" y="495588"/>
                  <a:pt x="2041654" y="494514"/>
                  <a:pt x="2041654" y="494514"/>
                </a:cubicBezTo>
                <a:cubicBezTo>
                  <a:pt x="2041129" y="494259"/>
                  <a:pt x="2041100" y="494366"/>
                  <a:pt x="2041711" y="494300"/>
                </a:cubicBezTo>
                <a:cubicBezTo>
                  <a:pt x="2042073" y="494052"/>
                  <a:pt x="2043048" y="493738"/>
                  <a:pt x="2044136" y="492995"/>
                </a:cubicBezTo>
                <a:close/>
                <a:moveTo>
                  <a:pt x="4143872" y="492914"/>
                </a:moveTo>
                <a:cubicBezTo>
                  <a:pt x="4147088" y="493086"/>
                  <a:pt x="4150714" y="493943"/>
                  <a:pt x="4154854" y="496202"/>
                </a:cubicBezTo>
                <a:cubicBezTo>
                  <a:pt x="4163658" y="500976"/>
                  <a:pt x="4171495" y="508251"/>
                  <a:pt x="4160452" y="517367"/>
                </a:cubicBezTo>
                <a:cubicBezTo>
                  <a:pt x="4159237" y="519687"/>
                  <a:pt x="4158971" y="518466"/>
                  <a:pt x="4157490" y="519564"/>
                </a:cubicBezTo>
                <a:cubicBezTo>
                  <a:pt x="4155705" y="520695"/>
                  <a:pt x="4154461" y="523122"/>
                  <a:pt x="4154479" y="524162"/>
                </a:cubicBezTo>
                <a:cubicBezTo>
                  <a:pt x="4149261" y="521499"/>
                  <a:pt x="4145976" y="522688"/>
                  <a:pt x="4140224" y="520917"/>
                </a:cubicBezTo>
                <a:cubicBezTo>
                  <a:pt x="4138287" y="520398"/>
                  <a:pt x="4136159" y="519483"/>
                  <a:pt x="4133593" y="517990"/>
                </a:cubicBezTo>
                <a:cubicBezTo>
                  <a:pt x="4126277" y="514305"/>
                  <a:pt x="4123456" y="510444"/>
                  <a:pt x="4122630" y="506887"/>
                </a:cubicBezTo>
                <a:cubicBezTo>
                  <a:pt x="4122109" y="503298"/>
                  <a:pt x="4123858" y="500088"/>
                  <a:pt x="4126266" y="497742"/>
                </a:cubicBezTo>
                <a:cubicBezTo>
                  <a:pt x="4127783" y="498723"/>
                  <a:pt x="4133917" y="492432"/>
                  <a:pt x="4143872" y="492914"/>
                </a:cubicBezTo>
                <a:close/>
                <a:moveTo>
                  <a:pt x="2946970" y="492715"/>
                </a:moveTo>
                <a:cubicBezTo>
                  <a:pt x="2954937" y="495080"/>
                  <a:pt x="2962656" y="506118"/>
                  <a:pt x="2959044" y="509636"/>
                </a:cubicBezTo>
                <a:cubicBezTo>
                  <a:pt x="2950412" y="513073"/>
                  <a:pt x="2943265" y="512077"/>
                  <a:pt x="2938687" y="509240"/>
                </a:cubicBezTo>
                <a:lnTo>
                  <a:pt x="2937619" y="507689"/>
                </a:lnTo>
                <a:lnTo>
                  <a:pt x="2935758" y="507996"/>
                </a:lnTo>
                <a:cubicBezTo>
                  <a:pt x="2932236" y="507858"/>
                  <a:pt x="2927561" y="506490"/>
                  <a:pt x="2923209" y="506128"/>
                </a:cubicBezTo>
                <a:cubicBezTo>
                  <a:pt x="2923910" y="502406"/>
                  <a:pt x="2925868" y="500631"/>
                  <a:pt x="2929257" y="500159"/>
                </a:cubicBezTo>
                <a:lnTo>
                  <a:pt x="2934878" y="501320"/>
                </a:lnTo>
                <a:lnTo>
                  <a:pt x="2935435" y="498134"/>
                </a:lnTo>
                <a:cubicBezTo>
                  <a:pt x="2937260" y="495748"/>
                  <a:pt x="2940804" y="493593"/>
                  <a:pt x="2946970" y="492715"/>
                </a:cubicBezTo>
                <a:close/>
                <a:moveTo>
                  <a:pt x="1539636" y="492021"/>
                </a:moveTo>
                <a:cubicBezTo>
                  <a:pt x="1555822" y="493598"/>
                  <a:pt x="1563170" y="511552"/>
                  <a:pt x="1564093" y="522495"/>
                </a:cubicBezTo>
                <a:cubicBezTo>
                  <a:pt x="1546043" y="515704"/>
                  <a:pt x="1542992" y="503846"/>
                  <a:pt x="1539636" y="492021"/>
                </a:cubicBezTo>
                <a:close/>
                <a:moveTo>
                  <a:pt x="2801446" y="491940"/>
                </a:moveTo>
                <a:cubicBezTo>
                  <a:pt x="2806877" y="494241"/>
                  <a:pt x="2809814" y="503201"/>
                  <a:pt x="2802192" y="501762"/>
                </a:cubicBezTo>
                <a:cubicBezTo>
                  <a:pt x="2799580" y="499337"/>
                  <a:pt x="2797531" y="495914"/>
                  <a:pt x="2795484" y="492490"/>
                </a:cubicBezTo>
                <a:cubicBezTo>
                  <a:pt x="2797549" y="491146"/>
                  <a:pt x="2799636" y="491173"/>
                  <a:pt x="2801446" y="491940"/>
                </a:cubicBezTo>
                <a:close/>
                <a:moveTo>
                  <a:pt x="1237159" y="491934"/>
                </a:moveTo>
                <a:cubicBezTo>
                  <a:pt x="1250566" y="485062"/>
                  <a:pt x="1265634" y="496344"/>
                  <a:pt x="1261292" y="503691"/>
                </a:cubicBezTo>
                <a:cubicBezTo>
                  <a:pt x="1260049" y="506118"/>
                  <a:pt x="1256534" y="508166"/>
                  <a:pt x="1250119" y="508862"/>
                </a:cubicBezTo>
                <a:cubicBezTo>
                  <a:pt x="1246375" y="502913"/>
                  <a:pt x="1240794" y="500497"/>
                  <a:pt x="1238279" y="496604"/>
                </a:cubicBezTo>
                <a:cubicBezTo>
                  <a:pt x="1237460" y="495234"/>
                  <a:pt x="1236946" y="493833"/>
                  <a:pt x="1237159" y="491934"/>
                </a:cubicBezTo>
                <a:close/>
                <a:moveTo>
                  <a:pt x="3128143" y="489509"/>
                </a:moveTo>
                <a:cubicBezTo>
                  <a:pt x="3133358" y="486651"/>
                  <a:pt x="3138730" y="487631"/>
                  <a:pt x="3141788" y="492820"/>
                </a:cubicBezTo>
                <a:cubicBezTo>
                  <a:pt x="3137702" y="493680"/>
                  <a:pt x="3138148" y="496445"/>
                  <a:pt x="3134091" y="497198"/>
                </a:cubicBezTo>
                <a:cubicBezTo>
                  <a:pt x="3132042" y="493774"/>
                  <a:pt x="3129459" y="491241"/>
                  <a:pt x="3128143" y="489509"/>
                </a:cubicBezTo>
                <a:close/>
                <a:moveTo>
                  <a:pt x="2642673" y="488345"/>
                </a:moveTo>
                <a:cubicBezTo>
                  <a:pt x="2644744" y="489475"/>
                  <a:pt x="2644014" y="493304"/>
                  <a:pt x="2646084" y="494434"/>
                </a:cubicBezTo>
                <a:cubicBezTo>
                  <a:pt x="2646084" y="494434"/>
                  <a:pt x="2646084" y="494434"/>
                  <a:pt x="2643047" y="495805"/>
                </a:cubicBezTo>
                <a:cubicBezTo>
                  <a:pt x="2641243" y="495897"/>
                  <a:pt x="2639716" y="496063"/>
                  <a:pt x="2637646" y="494933"/>
                </a:cubicBezTo>
                <a:cubicBezTo>
                  <a:pt x="2635577" y="493804"/>
                  <a:pt x="2634768" y="491286"/>
                  <a:pt x="2634502" y="490065"/>
                </a:cubicBezTo>
                <a:cubicBezTo>
                  <a:pt x="2636277" y="490081"/>
                  <a:pt x="2636011" y="488860"/>
                  <a:pt x="2637538" y="488694"/>
                </a:cubicBezTo>
                <a:cubicBezTo>
                  <a:pt x="2640604" y="487216"/>
                  <a:pt x="2640604" y="487216"/>
                  <a:pt x="2642673" y="488345"/>
                </a:cubicBezTo>
                <a:close/>
                <a:moveTo>
                  <a:pt x="3801380" y="488315"/>
                </a:moveTo>
                <a:cubicBezTo>
                  <a:pt x="3808481" y="488378"/>
                  <a:pt x="3813195" y="488491"/>
                  <a:pt x="3817098" y="489422"/>
                </a:cubicBezTo>
                <a:cubicBezTo>
                  <a:pt x="3818801" y="494133"/>
                  <a:pt x="3812567" y="496373"/>
                  <a:pt x="3807137" y="495607"/>
                </a:cubicBezTo>
                <a:cubicBezTo>
                  <a:pt x="3805419" y="495378"/>
                  <a:pt x="3803787" y="494826"/>
                  <a:pt x="3802576" y="493811"/>
                </a:cubicBezTo>
                <a:cubicBezTo>
                  <a:pt x="3801117" y="492615"/>
                  <a:pt x="3800413" y="490816"/>
                  <a:pt x="3801380" y="488315"/>
                </a:cubicBezTo>
                <a:close/>
                <a:moveTo>
                  <a:pt x="2886759" y="488311"/>
                </a:moveTo>
                <a:cubicBezTo>
                  <a:pt x="2889735" y="490489"/>
                  <a:pt x="2893699" y="496726"/>
                  <a:pt x="2891406" y="498642"/>
                </a:cubicBezTo>
                <a:cubicBezTo>
                  <a:pt x="2888430" y="496465"/>
                  <a:pt x="2887116" y="494732"/>
                  <a:pt x="2885771" y="493107"/>
                </a:cubicBezTo>
                <a:cubicBezTo>
                  <a:pt x="2882796" y="490930"/>
                  <a:pt x="2883113" y="489750"/>
                  <a:pt x="2886759" y="488311"/>
                </a:cubicBezTo>
                <a:close/>
                <a:moveTo>
                  <a:pt x="2422945" y="488235"/>
                </a:moveTo>
                <a:cubicBezTo>
                  <a:pt x="2423912" y="485734"/>
                  <a:pt x="2427787" y="486772"/>
                  <a:pt x="2431649" y="488957"/>
                </a:cubicBezTo>
                <a:cubicBezTo>
                  <a:pt x="2440913" y="492014"/>
                  <a:pt x="2443573" y="495372"/>
                  <a:pt x="2439569" y="499245"/>
                </a:cubicBezTo>
                <a:cubicBezTo>
                  <a:pt x="2438070" y="499302"/>
                  <a:pt x="2432641" y="498537"/>
                  <a:pt x="2432936" y="499651"/>
                </a:cubicBezTo>
                <a:cubicBezTo>
                  <a:pt x="2428519" y="497319"/>
                  <a:pt x="2423750" y="494086"/>
                  <a:pt x="2422752" y="491173"/>
                </a:cubicBezTo>
                <a:cubicBezTo>
                  <a:pt x="2422428" y="490166"/>
                  <a:pt x="2422381" y="489234"/>
                  <a:pt x="2422945" y="488235"/>
                </a:cubicBezTo>
                <a:close/>
                <a:moveTo>
                  <a:pt x="2706841" y="487943"/>
                </a:moveTo>
                <a:cubicBezTo>
                  <a:pt x="2735366" y="489952"/>
                  <a:pt x="2757028" y="510935"/>
                  <a:pt x="2779965" y="526052"/>
                </a:cubicBezTo>
                <a:cubicBezTo>
                  <a:pt x="2775229" y="528234"/>
                  <a:pt x="2775139" y="531889"/>
                  <a:pt x="2766576" y="533964"/>
                </a:cubicBezTo>
                <a:cubicBezTo>
                  <a:pt x="2752931" y="521798"/>
                  <a:pt x="2737519" y="511803"/>
                  <a:pt x="2723881" y="501825"/>
                </a:cubicBezTo>
                <a:cubicBezTo>
                  <a:pt x="2717405" y="497215"/>
                  <a:pt x="2711789" y="492719"/>
                  <a:pt x="2706841" y="487943"/>
                </a:cubicBezTo>
                <a:close/>
                <a:moveTo>
                  <a:pt x="3785547" y="487637"/>
                </a:moveTo>
                <a:cubicBezTo>
                  <a:pt x="3790175" y="488073"/>
                  <a:pt x="3797348" y="492295"/>
                  <a:pt x="3797868" y="495884"/>
                </a:cubicBezTo>
                <a:cubicBezTo>
                  <a:pt x="3795450" y="499376"/>
                  <a:pt x="3792302" y="497843"/>
                  <a:pt x="3791088" y="500163"/>
                </a:cubicBezTo>
                <a:cubicBezTo>
                  <a:pt x="3784192" y="496015"/>
                  <a:pt x="3783394" y="492350"/>
                  <a:pt x="3785547" y="487637"/>
                </a:cubicBezTo>
                <a:close/>
                <a:moveTo>
                  <a:pt x="2946557" y="486509"/>
                </a:moveTo>
                <a:cubicBezTo>
                  <a:pt x="2948475" y="485989"/>
                  <a:pt x="2951739" y="487093"/>
                  <a:pt x="2953657" y="486572"/>
                </a:cubicBezTo>
                <a:cubicBezTo>
                  <a:pt x="2953370" y="487645"/>
                  <a:pt x="2954657" y="489485"/>
                  <a:pt x="2954370" y="490558"/>
                </a:cubicBezTo>
                <a:cubicBezTo>
                  <a:pt x="2953395" y="490871"/>
                  <a:pt x="2952260" y="490682"/>
                  <a:pt x="2951401" y="490568"/>
                </a:cubicBezTo>
                <a:cubicBezTo>
                  <a:pt x="2950570" y="490345"/>
                  <a:pt x="2949522" y="489833"/>
                  <a:pt x="2948749" y="489396"/>
                </a:cubicBezTo>
                <a:cubicBezTo>
                  <a:pt x="2947261" y="488308"/>
                  <a:pt x="2946413" y="487046"/>
                  <a:pt x="2946557" y="486509"/>
                </a:cubicBezTo>
                <a:close/>
                <a:moveTo>
                  <a:pt x="4173867" y="486116"/>
                </a:moveTo>
                <a:cubicBezTo>
                  <a:pt x="4187918" y="493446"/>
                  <a:pt x="4183153" y="495735"/>
                  <a:pt x="4178642" y="500391"/>
                </a:cubicBezTo>
                <a:cubicBezTo>
                  <a:pt x="4177040" y="499732"/>
                  <a:pt x="4174959" y="499749"/>
                  <a:pt x="4172660" y="499478"/>
                </a:cubicBezTo>
                <a:cubicBezTo>
                  <a:pt x="4170637" y="499281"/>
                  <a:pt x="4168613" y="499084"/>
                  <a:pt x="4166600" y="497740"/>
                </a:cubicBezTo>
                <a:cubicBezTo>
                  <a:pt x="4166600" y="497740"/>
                  <a:pt x="4164865" y="496469"/>
                  <a:pt x="4164610" y="494101"/>
                </a:cubicBezTo>
                <a:cubicBezTo>
                  <a:pt x="4163647" y="493268"/>
                  <a:pt x="4163266" y="492476"/>
                  <a:pt x="4163190" y="491651"/>
                </a:cubicBezTo>
                <a:cubicBezTo>
                  <a:pt x="4162964" y="489174"/>
                  <a:pt x="4165562" y="487226"/>
                  <a:pt x="4165562" y="487226"/>
                </a:cubicBezTo>
                <a:cubicBezTo>
                  <a:pt x="4165562" y="487226"/>
                  <a:pt x="4165591" y="487119"/>
                  <a:pt x="4163816" y="487103"/>
                </a:cubicBezTo>
                <a:cubicBezTo>
                  <a:pt x="4167061" y="487167"/>
                  <a:pt x="4170316" y="486085"/>
                  <a:pt x="4173867" y="486116"/>
                </a:cubicBezTo>
                <a:close/>
                <a:moveTo>
                  <a:pt x="1630848" y="485871"/>
                </a:moveTo>
                <a:cubicBezTo>
                  <a:pt x="1633014" y="485532"/>
                  <a:pt x="1635372" y="485589"/>
                  <a:pt x="1637891" y="486148"/>
                </a:cubicBezTo>
                <a:cubicBezTo>
                  <a:pt x="1641147" y="485066"/>
                  <a:pt x="1646167" y="485146"/>
                  <a:pt x="1649678" y="486431"/>
                </a:cubicBezTo>
                <a:cubicBezTo>
                  <a:pt x="1653179" y="488864"/>
                  <a:pt x="1653433" y="491232"/>
                  <a:pt x="1651924" y="492438"/>
                </a:cubicBezTo>
                <a:cubicBezTo>
                  <a:pt x="1641452" y="502743"/>
                  <a:pt x="1625910" y="497658"/>
                  <a:pt x="1622655" y="498740"/>
                </a:cubicBezTo>
                <a:cubicBezTo>
                  <a:pt x="1619898" y="496853"/>
                  <a:pt x="1618629" y="496052"/>
                  <a:pt x="1618974" y="494764"/>
                </a:cubicBezTo>
                <a:cubicBezTo>
                  <a:pt x="1619319" y="493477"/>
                  <a:pt x="1621249" y="491808"/>
                  <a:pt x="1624861" y="488292"/>
                </a:cubicBezTo>
                <a:cubicBezTo>
                  <a:pt x="1626618" y="487267"/>
                  <a:pt x="1628377" y="486244"/>
                  <a:pt x="1630848" y="485871"/>
                </a:cubicBezTo>
                <a:close/>
                <a:moveTo>
                  <a:pt x="2008725" y="485691"/>
                </a:moveTo>
                <a:cubicBezTo>
                  <a:pt x="2010461" y="486962"/>
                  <a:pt x="2010501" y="485707"/>
                  <a:pt x="2011971" y="485756"/>
                </a:cubicBezTo>
                <a:cubicBezTo>
                  <a:pt x="2010461" y="486962"/>
                  <a:pt x="2010954" y="490658"/>
                  <a:pt x="2009711" y="493086"/>
                </a:cubicBezTo>
                <a:cubicBezTo>
                  <a:pt x="2007963" y="492962"/>
                  <a:pt x="2006454" y="494167"/>
                  <a:pt x="2004984" y="494119"/>
                </a:cubicBezTo>
                <a:cubicBezTo>
                  <a:pt x="2004852" y="493509"/>
                  <a:pt x="2004500" y="492609"/>
                  <a:pt x="2004119" y="491817"/>
                </a:cubicBezTo>
                <a:cubicBezTo>
                  <a:pt x="2003738" y="491025"/>
                  <a:pt x="2003576" y="490522"/>
                  <a:pt x="2004464" y="490530"/>
                </a:cubicBezTo>
                <a:cubicBezTo>
                  <a:pt x="2004226" y="489201"/>
                  <a:pt x="2007443" y="489373"/>
                  <a:pt x="2007443" y="489373"/>
                </a:cubicBezTo>
                <a:cubicBezTo>
                  <a:pt x="2007483" y="488118"/>
                  <a:pt x="2007217" y="486897"/>
                  <a:pt x="2008725" y="485691"/>
                </a:cubicBezTo>
                <a:close/>
                <a:moveTo>
                  <a:pt x="3489304" y="485311"/>
                </a:moveTo>
                <a:cubicBezTo>
                  <a:pt x="3490421" y="484460"/>
                  <a:pt x="3491223" y="484790"/>
                  <a:pt x="3492187" y="485623"/>
                </a:cubicBezTo>
                <a:cubicBezTo>
                  <a:pt x="3492872" y="486382"/>
                  <a:pt x="3493749" y="487537"/>
                  <a:pt x="3495209" y="488733"/>
                </a:cubicBezTo>
                <a:lnTo>
                  <a:pt x="3489480" y="490188"/>
                </a:lnTo>
                <a:cubicBezTo>
                  <a:pt x="3488136" y="488563"/>
                  <a:pt x="3487385" y="485831"/>
                  <a:pt x="3489304" y="485311"/>
                </a:cubicBezTo>
                <a:close/>
                <a:moveTo>
                  <a:pt x="2372165" y="484058"/>
                </a:moveTo>
                <a:cubicBezTo>
                  <a:pt x="2376390" y="485995"/>
                  <a:pt x="2380322" y="486819"/>
                  <a:pt x="2380617" y="487933"/>
                </a:cubicBezTo>
                <a:cubicBezTo>
                  <a:pt x="2382449" y="487734"/>
                  <a:pt x="2384271" y="488683"/>
                  <a:pt x="2386104" y="488484"/>
                </a:cubicBezTo>
                <a:cubicBezTo>
                  <a:pt x="2386104" y="488484"/>
                  <a:pt x="2386104" y="488484"/>
                  <a:pt x="2386399" y="489597"/>
                </a:cubicBezTo>
                <a:cubicBezTo>
                  <a:pt x="2379384" y="489213"/>
                  <a:pt x="2371651" y="491511"/>
                  <a:pt x="2365869" y="489846"/>
                </a:cubicBezTo>
                <a:cubicBezTo>
                  <a:pt x="2364820" y="489335"/>
                  <a:pt x="2364018" y="489006"/>
                  <a:pt x="2363332" y="488247"/>
                </a:cubicBezTo>
                <a:cubicBezTo>
                  <a:pt x="2362922" y="487562"/>
                  <a:pt x="2362876" y="486630"/>
                  <a:pt x="2364108" y="485349"/>
                </a:cubicBezTo>
                <a:cubicBezTo>
                  <a:pt x="2364798" y="482775"/>
                  <a:pt x="2366355" y="482501"/>
                  <a:pt x="2372165" y="484058"/>
                </a:cubicBezTo>
                <a:close/>
                <a:moveTo>
                  <a:pt x="2843206" y="482621"/>
                </a:moveTo>
                <a:cubicBezTo>
                  <a:pt x="2846232" y="482397"/>
                  <a:pt x="2849638" y="482966"/>
                  <a:pt x="2852672" y="484928"/>
                </a:cubicBezTo>
                <a:cubicBezTo>
                  <a:pt x="2851108" y="491869"/>
                  <a:pt x="2851280" y="500080"/>
                  <a:pt x="2839360" y="499187"/>
                </a:cubicBezTo>
                <a:cubicBezTo>
                  <a:pt x="2835965" y="497472"/>
                  <a:pt x="2834096" y="495591"/>
                  <a:pt x="2833115" y="493718"/>
                </a:cubicBezTo>
                <a:cubicBezTo>
                  <a:pt x="2830115" y="488314"/>
                  <a:pt x="2835933" y="483202"/>
                  <a:pt x="2843206" y="482621"/>
                </a:cubicBezTo>
                <a:close/>
                <a:moveTo>
                  <a:pt x="3568840" y="481783"/>
                </a:moveTo>
                <a:cubicBezTo>
                  <a:pt x="3575126" y="485997"/>
                  <a:pt x="3578086" y="492655"/>
                  <a:pt x="3581173" y="497737"/>
                </a:cubicBezTo>
                <a:cubicBezTo>
                  <a:pt x="3573950" y="495917"/>
                  <a:pt x="3570835" y="490942"/>
                  <a:pt x="3558081" y="493159"/>
                </a:cubicBezTo>
                <a:cubicBezTo>
                  <a:pt x="3559986" y="488265"/>
                  <a:pt x="3563159" y="484169"/>
                  <a:pt x="3568840" y="481783"/>
                </a:cubicBezTo>
                <a:close/>
                <a:moveTo>
                  <a:pt x="2871925" y="481692"/>
                </a:moveTo>
                <a:cubicBezTo>
                  <a:pt x="2874369" y="481426"/>
                  <a:pt x="2877529" y="481813"/>
                  <a:pt x="2880324" y="482447"/>
                </a:cubicBezTo>
                <a:cubicBezTo>
                  <a:pt x="2878548" y="482431"/>
                  <a:pt x="2878548" y="482431"/>
                  <a:pt x="2878548" y="482431"/>
                </a:cubicBezTo>
                <a:cubicBezTo>
                  <a:pt x="2876763" y="483563"/>
                  <a:pt x="2878538" y="483578"/>
                  <a:pt x="2878804" y="484800"/>
                </a:cubicBezTo>
                <a:cubicBezTo>
                  <a:pt x="2878804" y="484800"/>
                  <a:pt x="2878538" y="483578"/>
                  <a:pt x="2880273" y="484849"/>
                </a:cubicBezTo>
                <a:cubicBezTo>
                  <a:pt x="2878804" y="484800"/>
                  <a:pt x="2878793" y="485947"/>
                  <a:pt x="2879059" y="487168"/>
                </a:cubicBezTo>
                <a:cubicBezTo>
                  <a:pt x="2875764" y="489505"/>
                  <a:pt x="2870998" y="491794"/>
                  <a:pt x="2867487" y="490508"/>
                </a:cubicBezTo>
                <a:cubicBezTo>
                  <a:pt x="2865447" y="489271"/>
                  <a:pt x="2864904" y="487975"/>
                  <a:pt x="2865162" y="487010"/>
                </a:cubicBezTo>
                <a:cubicBezTo>
                  <a:pt x="2865145" y="485970"/>
                  <a:pt x="2865957" y="485153"/>
                  <a:pt x="2866712" y="484550"/>
                </a:cubicBezTo>
                <a:cubicBezTo>
                  <a:pt x="2867477" y="482800"/>
                  <a:pt x="2869482" y="481957"/>
                  <a:pt x="2871925" y="481692"/>
                </a:cubicBezTo>
                <a:close/>
                <a:moveTo>
                  <a:pt x="2097635" y="481498"/>
                </a:moveTo>
                <a:cubicBezTo>
                  <a:pt x="2103530" y="482459"/>
                  <a:pt x="2108780" y="484728"/>
                  <a:pt x="2112307" y="488720"/>
                </a:cubicBezTo>
                <a:cubicBezTo>
                  <a:pt x="2089002" y="486041"/>
                  <a:pt x="2081405" y="503326"/>
                  <a:pt x="2055499" y="497074"/>
                </a:cubicBezTo>
                <a:cubicBezTo>
                  <a:pt x="2056031" y="490662"/>
                  <a:pt x="2066575" y="484517"/>
                  <a:pt x="2079081" y="482118"/>
                </a:cubicBezTo>
                <a:cubicBezTo>
                  <a:pt x="2085196" y="480881"/>
                  <a:pt x="2091739" y="480536"/>
                  <a:pt x="2097635" y="481498"/>
                </a:cubicBezTo>
                <a:close/>
                <a:moveTo>
                  <a:pt x="2481431" y="481366"/>
                </a:moveTo>
                <a:cubicBezTo>
                  <a:pt x="2485028" y="482330"/>
                  <a:pt x="2492140" y="490100"/>
                  <a:pt x="2490907" y="491380"/>
                </a:cubicBezTo>
                <a:cubicBezTo>
                  <a:pt x="2486871" y="489838"/>
                  <a:pt x="2479572" y="487193"/>
                  <a:pt x="2477323" y="484520"/>
                </a:cubicBezTo>
                <a:cubicBezTo>
                  <a:pt x="2476418" y="483472"/>
                  <a:pt x="2476065" y="482573"/>
                  <a:pt x="2476878" y="481756"/>
                </a:cubicBezTo>
                <a:cubicBezTo>
                  <a:pt x="2478111" y="480476"/>
                  <a:pt x="2479932" y="481424"/>
                  <a:pt x="2481431" y="481366"/>
                </a:cubicBezTo>
                <a:close/>
                <a:moveTo>
                  <a:pt x="3872683" y="481200"/>
                </a:moveTo>
                <a:cubicBezTo>
                  <a:pt x="3870067" y="490965"/>
                  <a:pt x="3871437" y="495816"/>
                  <a:pt x="3868260" y="503245"/>
                </a:cubicBezTo>
                <a:cubicBezTo>
                  <a:pt x="3866456" y="503337"/>
                  <a:pt x="3866189" y="502116"/>
                  <a:pt x="3864663" y="502281"/>
                </a:cubicBezTo>
                <a:cubicBezTo>
                  <a:pt x="3863642" y="501662"/>
                  <a:pt x="3863070" y="500475"/>
                  <a:pt x="3862585" y="498965"/>
                </a:cubicBezTo>
                <a:cubicBezTo>
                  <a:pt x="3861655" y="494690"/>
                  <a:pt x="3862913" y="487783"/>
                  <a:pt x="3864134" y="487650"/>
                </a:cubicBezTo>
                <a:cubicBezTo>
                  <a:pt x="3863840" y="486536"/>
                  <a:pt x="3865367" y="486371"/>
                  <a:pt x="3865072" y="485256"/>
                </a:cubicBezTo>
                <a:cubicBezTo>
                  <a:pt x="3865072" y="485256"/>
                  <a:pt x="3864806" y="484035"/>
                  <a:pt x="3866344" y="482721"/>
                </a:cubicBezTo>
                <a:cubicBezTo>
                  <a:pt x="3867578" y="481442"/>
                  <a:pt x="3868810" y="480162"/>
                  <a:pt x="3872683" y="481200"/>
                </a:cubicBezTo>
                <a:close/>
                <a:moveTo>
                  <a:pt x="2034636" y="479754"/>
                </a:moveTo>
                <a:cubicBezTo>
                  <a:pt x="2035828" y="479728"/>
                  <a:pt x="2037241" y="479992"/>
                  <a:pt x="2038568" y="480577"/>
                </a:cubicBezTo>
                <a:cubicBezTo>
                  <a:pt x="2042078" y="481863"/>
                  <a:pt x="2040586" y="484109"/>
                  <a:pt x="2037568" y="486519"/>
                </a:cubicBezTo>
                <a:cubicBezTo>
                  <a:pt x="2034337" y="490829"/>
                  <a:pt x="2030603" y="492589"/>
                  <a:pt x="2026730" y="491551"/>
                </a:cubicBezTo>
                <a:cubicBezTo>
                  <a:pt x="2025594" y="491361"/>
                  <a:pt x="2024296" y="490669"/>
                  <a:pt x="2022780" y="489688"/>
                </a:cubicBezTo>
                <a:cubicBezTo>
                  <a:pt x="2022791" y="488540"/>
                  <a:pt x="2024016" y="485074"/>
                  <a:pt x="2022270" y="484951"/>
                </a:cubicBezTo>
                <a:cubicBezTo>
                  <a:pt x="2025899" y="482473"/>
                  <a:pt x="2030445" y="479896"/>
                  <a:pt x="2034636" y="479754"/>
                </a:cubicBezTo>
                <a:close/>
                <a:moveTo>
                  <a:pt x="4082976" y="478897"/>
                </a:moveTo>
                <a:cubicBezTo>
                  <a:pt x="4094449" y="485882"/>
                  <a:pt x="4085990" y="497530"/>
                  <a:pt x="4075978" y="497263"/>
                </a:cubicBezTo>
                <a:cubicBezTo>
                  <a:pt x="4067595" y="492026"/>
                  <a:pt x="4069180" y="482791"/>
                  <a:pt x="4075368" y="479619"/>
                </a:cubicBezTo>
                <a:cubicBezTo>
                  <a:pt x="4077431" y="478562"/>
                  <a:pt x="4079902" y="478189"/>
                  <a:pt x="4082976" y="478897"/>
                </a:cubicBezTo>
                <a:close/>
                <a:moveTo>
                  <a:pt x="3470032" y="478651"/>
                </a:moveTo>
                <a:cubicBezTo>
                  <a:pt x="3471950" y="478131"/>
                  <a:pt x="3473582" y="478682"/>
                  <a:pt x="3473582" y="478682"/>
                </a:cubicBezTo>
                <a:cubicBezTo>
                  <a:pt x="3477596" y="482519"/>
                  <a:pt x="3479968" y="486950"/>
                  <a:pt x="3474182" y="488619"/>
                </a:cubicBezTo>
                <a:cubicBezTo>
                  <a:pt x="3473237" y="488826"/>
                  <a:pt x="3472015" y="488958"/>
                  <a:pt x="3471375" y="489132"/>
                </a:cubicBezTo>
                <a:cubicBezTo>
                  <a:pt x="3470764" y="489197"/>
                  <a:pt x="3470211" y="489050"/>
                  <a:pt x="3470383" y="488406"/>
                </a:cubicBezTo>
                <a:cubicBezTo>
                  <a:pt x="3468753" y="487854"/>
                  <a:pt x="3469316" y="486856"/>
                  <a:pt x="3467972" y="485229"/>
                </a:cubicBezTo>
                <a:cubicBezTo>
                  <a:pt x="3466944" y="482425"/>
                  <a:pt x="3468113" y="479172"/>
                  <a:pt x="3470032" y="478651"/>
                </a:cubicBezTo>
                <a:close/>
                <a:moveTo>
                  <a:pt x="2980754" y="478422"/>
                </a:moveTo>
                <a:cubicBezTo>
                  <a:pt x="2986136" y="476873"/>
                  <a:pt x="2993349" y="476793"/>
                  <a:pt x="3002552" y="478973"/>
                </a:cubicBezTo>
                <a:cubicBezTo>
                  <a:pt x="3014902" y="495967"/>
                  <a:pt x="3013508" y="514453"/>
                  <a:pt x="2996975" y="517499"/>
                </a:cubicBezTo>
                <a:cubicBezTo>
                  <a:pt x="2994254" y="517689"/>
                  <a:pt x="2991619" y="517559"/>
                  <a:pt x="2989101" y="516999"/>
                </a:cubicBezTo>
                <a:cubicBezTo>
                  <a:pt x="2976609" y="514917"/>
                  <a:pt x="2968880" y="505025"/>
                  <a:pt x="2968136" y="495626"/>
                </a:cubicBezTo>
                <a:lnTo>
                  <a:pt x="2968520" y="493084"/>
                </a:lnTo>
                <a:lnTo>
                  <a:pt x="2966461" y="490807"/>
                </a:lnTo>
                <a:cubicBezTo>
                  <a:pt x="2965890" y="489620"/>
                  <a:pt x="2965624" y="488398"/>
                  <a:pt x="2966418" y="486541"/>
                </a:cubicBezTo>
                <a:lnTo>
                  <a:pt x="2969192" y="489469"/>
                </a:lnTo>
                <a:lnTo>
                  <a:pt x="2969940" y="486680"/>
                </a:lnTo>
                <a:cubicBezTo>
                  <a:pt x="2971820" y="482985"/>
                  <a:pt x="2975372" y="479970"/>
                  <a:pt x="2980754" y="478422"/>
                </a:cubicBezTo>
                <a:close/>
                <a:moveTo>
                  <a:pt x="3206868" y="477943"/>
                </a:moveTo>
                <a:cubicBezTo>
                  <a:pt x="3215633" y="483971"/>
                  <a:pt x="3217260" y="487858"/>
                  <a:pt x="3215768" y="490103"/>
                </a:cubicBezTo>
                <a:cubicBezTo>
                  <a:pt x="3213436" y="493273"/>
                  <a:pt x="3204589" y="493088"/>
                  <a:pt x="3198950" y="490887"/>
                </a:cubicBezTo>
                <a:cubicBezTo>
                  <a:pt x="3197320" y="490335"/>
                  <a:pt x="3195803" y="489353"/>
                  <a:pt x="3194926" y="488198"/>
                </a:cubicBezTo>
                <a:cubicBezTo>
                  <a:pt x="3192953" y="485600"/>
                  <a:pt x="3195429" y="481893"/>
                  <a:pt x="3206868" y="477943"/>
                </a:cubicBezTo>
                <a:close/>
                <a:moveTo>
                  <a:pt x="2583952" y="476176"/>
                </a:moveTo>
                <a:cubicBezTo>
                  <a:pt x="2586011" y="478452"/>
                  <a:pt x="2582008" y="482325"/>
                  <a:pt x="2581069" y="484719"/>
                </a:cubicBezTo>
                <a:cubicBezTo>
                  <a:pt x="2579276" y="483664"/>
                  <a:pt x="2577207" y="482534"/>
                  <a:pt x="2577501" y="483647"/>
                </a:cubicBezTo>
                <a:cubicBezTo>
                  <a:pt x="2575402" y="482625"/>
                  <a:pt x="2574497" y="481578"/>
                  <a:pt x="2573926" y="480389"/>
                </a:cubicBezTo>
                <a:cubicBezTo>
                  <a:pt x="2573354" y="479201"/>
                  <a:pt x="2573394" y="477946"/>
                  <a:pt x="2573987" y="476840"/>
                </a:cubicBezTo>
                <a:cubicBezTo>
                  <a:pt x="2575249" y="475453"/>
                  <a:pt x="2578550" y="475303"/>
                  <a:pt x="2583952" y="476176"/>
                </a:cubicBezTo>
                <a:close/>
                <a:moveTo>
                  <a:pt x="3145720" y="475934"/>
                </a:moveTo>
                <a:cubicBezTo>
                  <a:pt x="3151085" y="474726"/>
                  <a:pt x="3158347" y="475292"/>
                  <a:pt x="3162868" y="478344"/>
                </a:cubicBezTo>
                <a:cubicBezTo>
                  <a:pt x="3158354" y="486334"/>
                  <a:pt x="3153100" y="490446"/>
                  <a:pt x="3139610" y="485452"/>
                </a:cubicBezTo>
                <a:cubicBezTo>
                  <a:pt x="3137077" y="480518"/>
                  <a:pt x="3140603" y="477323"/>
                  <a:pt x="3145720" y="475934"/>
                </a:cubicBezTo>
                <a:close/>
                <a:moveTo>
                  <a:pt x="2639437" y="472758"/>
                </a:moveTo>
                <a:cubicBezTo>
                  <a:pt x="2646476" y="476368"/>
                  <a:pt x="2648240" y="477531"/>
                  <a:pt x="2645495" y="483352"/>
                </a:cubicBezTo>
                <a:cubicBezTo>
                  <a:pt x="2645495" y="483352"/>
                  <a:pt x="2643986" y="484557"/>
                  <a:pt x="2643986" y="484557"/>
                </a:cubicBezTo>
                <a:cubicBezTo>
                  <a:pt x="2639505" y="489106"/>
                  <a:pt x="2629443" y="491240"/>
                  <a:pt x="2626209" y="490029"/>
                </a:cubicBezTo>
                <a:cubicBezTo>
                  <a:pt x="2624167" y="488792"/>
                  <a:pt x="2622852" y="487059"/>
                  <a:pt x="2622454" y="485227"/>
                </a:cubicBezTo>
                <a:cubicBezTo>
                  <a:pt x="2622083" y="483288"/>
                  <a:pt x="2622658" y="481142"/>
                  <a:pt x="2624893" y="479441"/>
                </a:cubicBezTo>
                <a:cubicBezTo>
                  <a:pt x="2627894" y="475990"/>
                  <a:pt x="2634661" y="476193"/>
                  <a:pt x="2639437" y="472758"/>
                </a:cubicBezTo>
                <a:close/>
                <a:moveTo>
                  <a:pt x="3413835" y="472694"/>
                </a:moveTo>
                <a:cubicBezTo>
                  <a:pt x="3419105" y="473085"/>
                  <a:pt x="3424676" y="475814"/>
                  <a:pt x="3426841" y="481569"/>
                </a:cubicBezTo>
                <a:cubicBezTo>
                  <a:pt x="3424832" y="485745"/>
                  <a:pt x="3412355" y="488037"/>
                  <a:pt x="3407011" y="486950"/>
                </a:cubicBezTo>
                <a:cubicBezTo>
                  <a:pt x="3403216" y="483404"/>
                  <a:pt x="3401999" y="480202"/>
                  <a:pt x="3402631" y="477842"/>
                </a:cubicBezTo>
                <a:cubicBezTo>
                  <a:pt x="3403594" y="474247"/>
                  <a:pt x="3408564" y="472301"/>
                  <a:pt x="3413835" y="472694"/>
                </a:cubicBezTo>
                <a:close/>
                <a:moveTo>
                  <a:pt x="2837863" y="472679"/>
                </a:moveTo>
                <a:cubicBezTo>
                  <a:pt x="2837277" y="475973"/>
                  <a:pt x="2836345" y="480553"/>
                  <a:pt x="2834387" y="482329"/>
                </a:cubicBezTo>
                <a:cubicBezTo>
                  <a:pt x="2833330" y="479631"/>
                  <a:pt x="2832601" y="474605"/>
                  <a:pt x="2836191" y="473382"/>
                </a:cubicBezTo>
                <a:cubicBezTo>
                  <a:pt x="2836191" y="473382"/>
                  <a:pt x="2836220" y="473275"/>
                  <a:pt x="2837863" y="472679"/>
                </a:cubicBezTo>
                <a:close/>
                <a:moveTo>
                  <a:pt x="2789435" y="471894"/>
                </a:moveTo>
                <a:cubicBezTo>
                  <a:pt x="2790686" y="471654"/>
                  <a:pt x="2791573" y="471662"/>
                  <a:pt x="2792565" y="472387"/>
                </a:cubicBezTo>
                <a:cubicBezTo>
                  <a:pt x="2789576" y="474691"/>
                  <a:pt x="2786564" y="479290"/>
                  <a:pt x="2779808" y="477940"/>
                </a:cubicBezTo>
                <a:cubicBezTo>
                  <a:pt x="2782044" y="476238"/>
                  <a:pt x="2785989" y="472580"/>
                  <a:pt x="2789435" y="471894"/>
                </a:cubicBezTo>
                <a:close/>
                <a:moveTo>
                  <a:pt x="1457091" y="470249"/>
                </a:moveTo>
                <a:cubicBezTo>
                  <a:pt x="1466350" y="471120"/>
                  <a:pt x="1465299" y="479463"/>
                  <a:pt x="1460516" y="480712"/>
                </a:cubicBezTo>
                <a:cubicBezTo>
                  <a:pt x="1459849" y="480992"/>
                  <a:pt x="1458961" y="480984"/>
                  <a:pt x="1458130" y="480762"/>
                </a:cubicBezTo>
                <a:cubicBezTo>
                  <a:pt x="1457300" y="480539"/>
                  <a:pt x="1456252" y="480029"/>
                  <a:pt x="1455288" y="479196"/>
                </a:cubicBezTo>
                <a:cubicBezTo>
                  <a:pt x="1454843" y="476431"/>
                  <a:pt x="1455953" y="473393"/>
                  <a:pt x="1457091" y="470249"/>
                </a:cubicBezTo>
                <a:close/>
                <a:moveTo>
                  <a:pt x="2877797" y="469049"/>
                </a:moveTo>
                <a:cubicBezTo>
                  <a:pt x="2883450" y="470779"/>
                  <a:pt x="2889391" y="474066"/>
                  <a:pt x="2894626" y="477769"/>
                </a:cubicBezTo>
                <a:lnTo>
                  <a:pt x="2903409" y="484837"/>
                </a:lnTo>
                <a:lnTo>
                  <a:pt x="2905436" y="481701"/>
                </a:lnTo>
                <a:cubicBezTo>
                  <a:pt x="2920586" y="478285"/>
                  <a:pt x="2927766" y="484694"/>
                  <a:pt x="2929714" y="484065"/>
                </a:cubicBezTo>
                <a:cubicBezTo>
                  <a:pt x="2933383" y="489189"/>
                  <a:pt x="2929516" y="490338"/>
                  <a:pt x="2925046" y="493741"/>
                </a:cubicBezTo>
                <a:cubicBezTo>
                  <a:pt x="2924388" y="492875"/>
                  <a:pt x="2922613" y="492858"/>
                  <a:pt x="2920751" y="493165"/>
                </a:cubicBezTo>
                <a:lnTo>
                  <a:pt x="2918221" y="493752"/>
                </a:lnTo>
                <a:lnTo>
                  <a:pt x="2918828" y="497019"/>
                </a:lnTo>
                <a:cubicBezTo>
                  <a:pt x="2919590" y="498603"/>
                  <a:pt x="2920877" y="500444"/>
                  <a:pt x="2923213" y="502795"/>
                </a:cubicBezTo>
                <a:cubicBezTo>
                  <a:pt x="2919472" y="502367"/>
                  <a:pt x="2916065" y="501800"/>
                  <a:pt x="2912773" y="500802"/>
                </a:cubicBezTo>
                <a:cubicBezTo>
                  <a:pt x="2909453" y="499912"/>
                  <a:pt x="2906582" y="498452"/>
                  <a:pt x="2903520" y="496598"/>
                </a:cubicBezTo>
                <a:lnTo>
                  <a:pt x="2909148" y="491091"/>
                </a:lnTo>
                <a:lnTo>
                  <a:pt x="2905389" y="489623"/>
                </a:lnTo>
                <a:cubicBezTo>
                  <a:pt x="2904092" y="488930"/>
                  <a:pt x="2902852" y="488023"/>
                  <a:pt x="2902004" y="486761"/>
                </a:cubicBezTo>
                <a:lnTo>
                  <a:pt x="2903017" y="485193"/>
                </a:lnTo>
                <a:lnTo>
                  <a:pt x="2892003" y="485347"/>
                </a:lnTo>
                <a:cubicBezTo>
                  <a:pt x="2889426" y="485001"/>
                  <a:pt x="2886660" y="484260"/>
                  <a:pt x="2884255" y="483270"/>
                </a:cubicBezTo>
                <a:cubicBezTo>
                  <a:pt x="2876489" y="480154"/>
                  <a:pt x="2869575" y="474967"/>
                  <a:pt x="2862690" y="469672"/>
                </a:cubicBezTo>
                <a:cubicBezTo>
                  <a:pt x="2866779" y="467145"/>
                  <a:pt x="2872144" y="467317"/>
                  <a:pt x="2877797" y="469049"/>
                </a:cubicBezTo>
                <a:close/>
                <a:moveTo>
                  <a:pt x="1360543" y="468644"/>
                </a:moveTo>
                <a:cubicBezTo>
                  <a:pt x="1360830" y="467571"/>
                  <a:pt x="1364065" y="468783"/>
                  <a:pt x="1364065" y="468783"/>
                </a:cubicBezTo>
                <a:cubicBezTo>
                  <a:pt x="1366707" y="471101"/>
                  <a:pt x="1363907" y="473801"/>
                  <a:pt x="1363027" y="475979"/>
                </a:cubicBezTo>
                <a:cubicBezTo>
                  <a:pt x="1365974" y="478264"/>
                  <a:pt x="1358338" y="479093"/>
                  <a:pt x="1361006" y="481304"/>
                </a:cubicBezTo>
                <a:cubicBezTo>
                  <a:pt x="1353083" y="483205"/>
                  <a:pt x="1359077" y="491826"/>
                  <a:pt x="1348106" y="496246"/>
                </a:cubicBezTo>
                <a:cubicBezTo>
                  <a:pt x="1348054" y="493127"/>
                  <a:pt x="1348494" y="490371"/>
                  <a:pt x="1349127" y="488010"/>
                </a:cubicBezTo>
                <a:cubicBezTo>
                  <a:pt x="1351359" y="480788"/>
                  <a:pt x="1356641" y="476569"/>
                  <a:pt x="1356141" y="470685"/>
                </a:cubicBezTo>
                <a:cubicBezTo>
                  <a:pt x="1356141" y="470685"/>
                  <a:pt x="1356141" y="470685"/>
                  <a:pt x="1359979" y="469643"/>
                </a:cubicBezTo>
                <a:cubicBezTo>
                  <a:pt x="1360543" y="468644"/>
                  <a:pt x="1360543" y="468644"/>
                  <a:pt x="1360543" y="468644"/>
                </a:cubicBezTo>
                <a:close/>
                <a:moveTo>
                  <a:pt x="1499776" y="468116"/>
                </a:moveTo>
                <a:cubicBezTo>
                  <a:pt x="1501465" y="468453"/>
                  <a:pt x="1502821" y="468931"/>
                  <a:pt x="1504834" y="470276"/>
                </a:cubicBezTo>
                <a:cubicBezTo>
                  <a:pt x="1506332" y="470217"/>
                  <a:pt x="1508616" y="474969"/>
                  <a:pt x="1507108" y="476176"/>
                </a:cubicBezTo>
                <a:cubicBezTo>
                  <a:pt x="1504106" y="479627"/>
                  <a:pt x="1498831" y="477178"/>
                  <a:pt x="1492076" y="475827"/>
                </a:cubicBezTo>
                <a:cubicBezTo>
                  <a:pt x="1493585" y="474622"/>
                  <a:pt x="1491820" y="473459"/>
                  <a:pt x="1490085" y="472189"/>
                </a:cubicBezTo>
                <a:cubicBezTo>
                  <a:pt x="1492320" y="470488"/>
                  <a:pt x="1495482" y="467541"/>
                  <a:pt x="1499776" y="468116"/>
                </a:cubicBezTo>
                <a:close/>
                <a:moveTo>
                  <a:pt x="3608812" y="464317"/>
                </a:moveTo>
                <a:cubicBezTo>
                  <a:pt x="3616225" y="475389"/>
                  <a:pt x="3597279" y="484112"/>
                  <a:pt x="3583438" y="487073"/>
                </a:cubicBezTo>
                <a:cubicBezTo>
                  <a:pt x="3581705" y="473614"/>
                  <a:pt x="3595397" y="469002"/>
                  <a:pt x="3608812" y="464317"/>
                </a:cubicBezTo>
                <a:close/>
                <a:moveTo>
                  <a:pt x="2644457" y="463983"/>
                </a:moveTo>
                <a:cubicBezTo>
                  <a:pt x="2651176" y="463253"/>
                  <a:pt x="2659787" y="470965"/>
                  <a:pt x="2658246" y="475612"/>
                </a:cubicBezTo>
                <a:cubicBezTo>
                  <a:pt x="2653020" y="470762"/>
                  <a:pt x="2647008" y="469957"/>
                  <a:pt x="2644759" y="467284"/>
                </a:cubicBezTo>
                <a:cubicBezTo>
                  <a:pt x="2644102" y="466417"/>
                  <a:pt x="2644054" y="465485"/>
                  <a:pt x="2644457" y="463983"/>
                </a:cubicBezTo>
                <a:close/>
                <a:moveTo>
                  <a:pt x="2433356" y="463769"/>
                </a:moveTo>
                <a:cubicBezTo>
                  <a:pt x="2435512" y="464577"/>
                  <a:pt x="2433680" y="464776"/>
                  <a:pt x="2434279" y="465856"/>
                </a:cubicBezTo>
                <a:cubicBezTo>
                  <a:pt x="2433202" y="465452"/>
                  <a:pt x="2432649" y="465304"/>
                  <a:pt x="2432458" y="464909"/>
                </a:cubicBezTo>
                <a:cubicBezTo>
                  <a:pt x="2432239" y="464619"/>
                  <a:pt x="2432602" y="464372"/>
                  <a:pt x="2433356" y="463769"/>
                </a:cubicBezTo>
                <a:close/>
                <a:moveTo>
                  <a:pt x="3501907" y="463733"/>
                </a:moveTo>
                <a:cubicBezTo>
                  <a:pt x="3505654" y="466347"/>
                  <a:pt x="3510161" y="473879"/>
                  <a:pt x="3506147" y="478898"/>
                </a:cubicBezTo>
                <a:lnTo>
                  <a:pt x="3504095" y="478809"/>
                </a:lnTo>
                <a:lnTo>
                  <a:pt x="3507052" y="479946"/>
                </a:lnTo>
                <a:cubicBezTo>
                  <a:pt x="3508320" y="480747"/>
                  <a:pt x="3509809" y="481835"/>
                  <a:pt x="3511210" y="483246"/>
                </a:cubicBezTo>
                <a:cubicBezTo>
                  <a:pt x="3512249" y="484903"/>
                  <a:pt x="3514592" y="489442"/>
                  <a:pt x="3512960" y="488890"/>
                </a:cubicBezTo>
                <a:cubicBezTo>
                  <a:pt x="3511041" y="489410"/>
                  <a:pt x="3512672" y="489963"/>
                  <a:pt x="3512080" y="491068"/>
                </a:cubicBezTo>
                <a:cubicBezTo>
                  <a:pt x="3509187" y="491903"/>
                  <a:pt x="3506715" y="492276"/>
                  <a:pt x="3504167" y="491824"/>
                </a:cubicBezTo>
                <a:cubicBezTo>
                  <a:pt x="3501618" y="491370"/>
                  <a:pt x="3499272" y="490167"/>
                  <a:pt x="3497127" y="488212"/>
                </a:cubicBezTo>
                <a:cubicBezTo>
                  <a:pt x="3494773" y="484821"/>
                  <a:pt x="3491075" y="479805"/>
                  <a:pt x="3495259" y="477476"/>
                </a:cubicBezTo>
                <a:lnTo>
                  <a:pt x="3497311" y="477566"/>
                </a:lnTo>
                <a:lnTo>
                  <a:pt x="3494659" y="476395"/>
                </a:lnTo>
                <a:cubicBezTo>
                  <a:pt x="3492513" y="474440"/>
                  <a:pt x="3491514" y="471528"/>
                  <a:pt x="3491633" y="467764"/>
                </a:cubicBezTo>
                <a:cubicBezTo>
                  <a:pt x="3495108" y="466970"/>
                  <a:pt x="3497314" y="465376"/>
                  <a:pt x="3501907" y="463733"/>
                </a:cubicBezTo>
                <a:close/>
                <a:moveTo>
                  <a:pt x="2390561" y="462997"/>
                </a:moveTo>
                <a:cubicBezTo>
                  <a:pt x="2396314" y="464769"/>
                  <a:pt x="2398028" y="468334"/>
                  <a:pt x="2397909" y="472096"/>
                </a:cubicBezTo>
                <a:cubicBezTo>
                  <a:pt x="2400303" y="474232"/>
                  <a:pt x="2403957" y="474982"/>
                  <a:pt x="2403267" y="477557"/>
                </a:cubicBezTo>
                <a:cubicBezTo>
                  <a:pt x="2398746" y="474506"/>
                  <a:pt x="2396648" y="473483"/>
                  <a:pt x="2393978" y="471273"/>
                </a:cubicBezTo>
                <a:cubicBezTo>
                  <a:pt x="2392451" y="471438"/>
                  <a:pt x="2390894" y="471712"/>
                  <a:pt x="2388768" y="470797"/>
                </a:cubicBezTo>
                <a:cubicBezTo>
                  <a:pt x="2384541" y="468859"/>
                  <a:pt x="2385231" y="466284"/>
                  <a:pt x="2382839" y="464148"/>
                </a:cubicBezTo>
                <a:cubicBezTo>
                  <a:pt x="2383822" y="462687"/>
                  <a:pt x="2386611" y="461134"/>
                  <a:pt x="2390561" y="462997"/>
                </a:cubicBezTo>
                <a:close/>
                <a:moveTo>
                  <a:pt x="2186648" y="462525"/>
                </a:moveTo>
                <a:cubicBezTo>
                  <a:pt x="2186636" y="463672"/>
                  <a:pt x="2186596" y="464926"/>
                  <a:pt x="2188373" y="464941"/>
                </a:cubicBezTo>
                <a:cubicBezTo>
                  <a:pt x="2185383" y="467246"/>
                  <a:pt x="2183636" y="467123"/>
                  <a:pt x="2182127" y="468328"/>
                </a:cubicBezTo>
                <a:cubicBezTo>
                  <a:pt x="2183626" y="468270"/>
                  <a:pt x="2182116" y="469476"/>
                  <a:pt x="2182116" y="469476"/>
                </a:cubicBezTo>
                <a:cubicBezTo>
                  <a:pt x="2182116" y="469476"/>
                  <a:pt x="2182116" y="469476"/>
                  <a:pt x="2185892" y="471982"/>
                </a:cubicBezTo>
                <a:cubicBezTo>
                  <a:pt x="2185892" y="471982"/>
                  <a:pt x="2193493" y="477929"/>
                  <a:pt x="2187197" y="483717"/>
                </a:cubicBezTo>
                <a:cubicBezTo>
                  <a:pt x="2186700" y="483354"/>
                  <a:pt x="2185756" y="483561"/>
                  <a:pt x="2184447" y="484015"/>
                </a:cubicBezTo>
                <a:lnTo>
                  <a:pt x="2180160" y="485627"/>
                </a:lnTo>
                <a:lnTo>
                  <a:pt x="2181972" y="487722"/>
                </a:lnTo>
                <a:cubicBezTo>
                  <a:pt x="2183466" y="490997"/>
                  <a:pt x="2184218" y="493729"/>
                  <a:pt x="2184351" y="494340"/>
                </a:cubicBezTo>
                <a:cubicBezTo>
                  <a:pt x="2182823" y="494505"/>
                  <a:pt x="2182823" y="494505"/>
                  <a:pt x="2182823" y="494505"/>
                </a:cubicBezTo>
                <a:cubicBezTo>
                  <a:pt x="2182730" y="492640"/>
                  <a:pt x="2181138" y="490834"/>
                  <a:pt x="2179269" y="488953"/>
                </a:cubicBezTo>
                <a:lnTo>
                  <a:pt x="2177268" y="486461"/>
                </a:lnTo>
                <a:lnTo>
                  <a:pt x="2174404" y="487189"/>
                </a:lnTo>
                <a:lnTo>
                  <a:pt x="2170328" y="486902"/>
                </a:lnTo>
                <a:lnTo>
                  <a:pt x="2172283" y="488462"/>
                </a:lnTo>
                <a:cubicBezTo>
                  <a:pt x="2175277" y="491678"/>
                  <a:pt x="2177544" y="495390"/>
                  <a:pt x="2177770" y="497866"/>
                </a:cubicBezTo>
                <a:cubicBezTo>
                  <a:pt x="2159577" y="491611"/>
                  <a:pt x="2165006" y="483521"/>
                  <a:pt x="2154694" y="479952"/>
                </a:cubicBezTo>
                <a:cubicBezTo>
                  <a:pt x="2156088" y="479176"/>
                  <a:pt x="2156814" y="478680"/>
                  <a:pt x="2157730" y="478581"/>
                </a:cubicBezTo>
                <a:lnTo>
                  <a:pt x="2158283" y="478729"/>
                </a:lnTo>
                <a:lnTo>
                  <a:pt x="2157492" y="477252"/>
                </a:lnTo>
                <a:cubicBezTo>
                  <a:pt x="2156903" y="475025"/>
                  <a:pt x="2157012" y="472409"/>
                  <a:pt x="2160011" y="468958"/>
                </a:cubicBezTo>
                <a:cubicBezTo>
                  <a:pt x="2167788" y="462071"/>
                  <a:pt x="2178606" y="468189"/>
                  <a:pt x="2178587" y="467150"/>
                </a:cubicBezTo>
                <a:cubicBezTo>
                  <a:pt x="2180096" y="465944"/>
                  <a:pt x="2180096" y="465944"/>
                  <a:pt x="2180107" y="464797"/>
                </a:cubicBezTo>
                <a:cubicBezTo>
                  <a:pt x="2181605" y="464738"/>
                  <a:pt x="2184862" y="463656"/>
                  <a:pt x="2186648" y="462525"/>
                </a:cubicBezTo>
                <a:close/>
                <a:moveTo>
                  <a:pt x="941768" y="460970"/>
                </a:moveTo>
                <a:cubicBezTo>
                  <a:pt x="948538" y="457839"/>
                  <a:pt x="954521" y="458752"/>
                  <a:pt x="959814" y="462240"/>
                </a:cubicBezTo>
                <a:cubicBezTo>
                  <a:pt x="960544" y="467266"/>
                  <a:pt x="954386" y="470331"/>
                  <a:pt x="948344" y="469632"/>
                </a:cubicBezTo>
                <a:cubicBezTo>
                  <a:pt x="946320" y="469435"/>
                  <a:pt x="944412" y="468808"/>
                  <a:pt x="942648" y="467645"/>
                </a:cubicBezTo>
                <a:cubicBezTo>
                  <a:pt x="942573" y="466821"/>
                  <a:pt x="942277" y="465706"/>
                  <a:pt x="941983" y="464593"/>
                </a:cubicBezTo>
                <a:cubicBezTo>
                  <a:pt x="941411" y="463405"/>
                  <a:pt x="941451" y="462150"/>
                  <a:pt x="941768" y="460970"/>
                </a:cubicBezTo>
                <a:close/>
                <a:moveTo>
                  <a:pt x="3011307" y="459583"/>
                </a:moveTo>
                <a:cubicBezTo>
                  <a:pt x="3021414" y="467237"/>
                  <a:pt x="3033547" y="475087"/>
                  <a:pt x="3028490" y="481783"/>
                </a:cubicBezTo>
                <a:cubicBezTo>
                  <a:pt x="3026075" y="481941"/>
                  <a:pt x="3023585" y="481274"/>
                  <a:pt x="3021458" y="480358"/>
                </a:cubicBezTo>
                <a:lnTo>
                  <a:pt x="3017127" y="477703"/>
                </a:lnTo>
                <a:lnTo>
                  <a:pt x="3015485" y="478298"/>
                </a:lnTo>
                <a:cubicBezTo>
                  <a:pt x="3013149" y="475947"/>
                  <a:pt x="3010566" y="473414"/>
                  <a:pt x="3010120" y="470650"/>
                </a:cubicBezTo>
                <a:lnTo>
                  <a:pt x="3006555" y="466245"/>
                </a:lnTo>
                <a:cubicBezTo>
                  <a:pt x="3009793" y="464123"/>
                  <a:pt x="3008068" y="461706"/>
                  <a:pt x="3011307" y="459583"/>
                </a:cubicBezTo>
                <a:close/>
                <a:moveTo>
                  <a:pt x="2511595" y="459548"/>
                </a:moveTo>
                <a:cubicBezTo>
                  <a:pt x="2513198" y="460207"/>
                  <a:pt x="2513543" y="458919"/>
                  <a:pt x="2515145" y="459580"/>
                </a:cubicBezTo>
                <a:cubicBezTo>
                  <a:pt x="2518944" y="459792"/>
                  <a:pt x="2518944" y="459792"/>
                  <a:pt x="2519954" y="461558"/>
                </a:cubicBezTo>
                <a:cubicBezTo>
                  <a:pt x="2521269" y="463290"/>
                  <a:pt x="2518441" y="466096"/>
                  <a:pt x="2519480" y="467755"/>
                </a:cubicBezTo>
                <a:cubicBezTo>
                  <a:pt x="2519480" y="467755"/>
                  <a:pt x="2519451" y="467862"/>
                  <a:pt x="2515930" y="467724"/>
                </a:cubicBezTo>
                <a:cubicBezTo>
                  <a:pt x="2514326" y="467065"/>
                  <a:pt x="2512724" y="466405"/>
                  <a:pt x="2511409" y="464672"/>
                </a:cubicBezTo>
                <a:cubicBezTo>
                  <a:pt x="2510122" y="462833"/>
                  <a:pt x="2511002" y="460654"/>
                  <a:pt x="2511595" y="459548"/>
                </a:cubicBezTo>
                <a:close/>
                <a:moveTo>
                  <a:pt x="2741260" y="459101"/>
                </a:moveTo>
                <a:cubicBezTo>
                  <a:pt x="2746478" y="461763"/>
                  <a:pt x="2748290" y="463859"/>
                  <a:pt x="2747974" y="465039"/>
                </a:cubicBezTo>
                <a:cubicBezTo>
                  <a:pt x="2747600" y="466434"/>
                  <a:pt x="2744763" y="467055"/>
                  <a:pt x="2742158" y="466817"/>
                </a:cubicBezTo>
                <a:cubicBezTo>
                  <a:pt x="2739553" y="466578"/>
                  <a:pt x="2736901" y="465408"/>
                  <a:pt x="2737056" y="463723"/>
                </a:cubicBezTo>
                <a:cubicBezTo>
                  <a:pt x="2736819" y="462395"/>
                  <a:pt x="2738109" y="460901"/>
                  <a:pt x="2741260" y="459101"/>
                </a:cubicBezTo>
                <a:close/>
                <a:moveTo>
                  <a:pt x="3320533" y="458834"/>
                </a:moveTo>
                <a:cubicBezTo>
                  <a:pt x="3313956" y="467882"/>
                  <a:pt x="3302363" y="482371"/>
                  <a:pt x="3288872" y="486231"/>
                </a:cubicBezTo>
                <a:cubicBezTo>
                  <a:pt x="3287195" y="484746"/>
                  <a:pt x="3286681" y="483344"/>
                  <a:pt x="3286195" y="481833"/>
                </a:cubicBezTo>
                <a:cubicBezTo>
                  <a:pt x="3284546" y="471387"/>
                  <a:pt x="3310090" y="460176"/>
                  <a:pt x="3320533" y="458834"/>
                </a:cubicBezTo>
                <a:close/>
                <a:moveTo>
                  <a:pt x="4052323" y="458264"/>
                </a:moveTo>
                <a:cubicBezTo>
                  <a:pt x="4060957" y="460347"/>
                  <a:pt x="4060871" y="469524"/>
                  <a:pt x="4055010" y="470369"/>
                </a:cubicBezTo>
                <a:cubicBezTo>
                  <a:pt x="4054065" y="470575"/>
                  <a:pt x="4052901" y="470494"/>
                  <a:pt x="4051794" y="470197"/>
                </a:cubicBezTo>
                <a:cubicBezTo>
                  <a:pt x="4050440" y="469718"/>
                  <a:pt x="4048837" y="469059"/>
                  <a:pt x="4047349" y="467971"/>
                </a:cubicBezTo>
                <a:cubicBezTo>
                  <a:pt x="4049196" y="463291"/>
                  <a:pt x="4050336" y="460146"/>
                  <a:pt x="4052323" y="458264"/>
                </a:cubicBezTo>
                <a:close/>
                <a:moveTo>
                  <a:pt x="2000062" y="457150"/>
                </a:moveTo>
                <a:cubicBezTo>
                  <a:pt x="2008905" y="460669"/>
                  <a:pt x="2012327" y="465611"/>
                  <a:pt x="2013789" y="472329"/>
                </a:cubicBezTo>
                <a:cubicBezTo>
                  <a:pt x="2012510" y="472675"/>
                  <a:pt x="2009991" y="472115"/>
                  <a:pt x="2007530" y="471341"/>
                </a:cubicBezTo>
                <a:cubicBezTo>
                  <a:pt x="2005067" y="470566"/>
                  <a:pt x="2002388" y="469503"/>
                  <a:pt x="1999983" y="468513"/>
                </a:cubicBezTo>
                <a:cubicBezTo>
                  <a:pt x="1997686" y="464908"/>
                  <a:pt x="1997644" y="460641"/>
                  <a:pt x="2000062" y="457150"/>
                </a:cubicBezTo>
                <a:close/>
                <a:moveTo>
                  <a:pt x="4521404" y="454317"/>
                </a:moveTo>
                <a:cubicBezTo>
                  <a:pt x="4525558" y="452786"/>
                  <a:pt x="4531333" y="453097"/>
                  <a:pt x="4535696" y="455071"/>
                </a:cubicBezTo>
                <a:cubicBezTo>
                  <a:pt x="4538320" y="456349"/>
                  <a:pt x="4540742" y="458378"/>
                  <a:pt x="4541217" y="461035"/>
                </a:cubicBezTo>
                <a:cubicBezTo>
                  <a:pt x="4535363" y="464067"/>
                  <a:pt x="4529584" y="467924"/>
                  <a:pt x="4523266" y="467151"/>
                </a:cubicBezTo>
                <a:cubicBezTo>
                  <a:pt x="4521244" y="466953"/>
                  <a:pt x="4519087" y="466146"/>
                  <a:pt x="4516827" y="464621"/>
                </a:cubicBezTo>
                <a:cubicBezTo>
                  <a:pt x="4514715" y="459224"/>
                  <a:pt x="4517249" y="455850"/>
                  <a:pt x="4521404" y="454317"/>
                </a:cubicBezTo>
                <a:close/>
                <a:moveTo>
                  <a:pt x="3072835" y="453529"/>
                </a:moveTo>
                <a:cubicBezTo>
                  <a:pt x="3080385" y="453023"/>
                  <a:pt x="3094419" y="459312"/>
                  <a:pt x="3075401" y="463877"/>
                </a:cubicBezTo>
                <a:cubicBezTo>
                  <a:pt x="3071024" y="460289"/>
                  <a:pt x="3069299" y="457872"/>
                  <a:pt x="3069177" y="456115"/>
                </a:cubicBezTo>
                <a:cubicBezTo>
                  <a:pt x="3069026" y="454463"/>
                  <a:pt x="3070697" y="453762"/>
                  <a:pt x="3072835" y="453529"/>
                </a:cubicBezTo>
                <a:close/>
                <a:moveTo>
                  <a:pt x="1535726" y="453484"/>
                </a:moveTo>
                <a:cubicBezTo>
                  <a:pt x="1537330" y="454143"/>
                  <a:pt x="1537646" y="452963"/>
                  <a:pt x="1539248" y="453622"/>
                </a:cubicBezTo>
                <a:cubicBezTo>
                  <a:pt x="1543047" y="453834"/>
                  <a:pt x="1544372" y="454420"/>
                  <a:pt x="1545689" y="456153"/>
                </a:cubicBezTo>
                <a:cubicBezTo>
                  <a:pt x="1547291" y="456812"/>
                  <a:pt x="1547004" y="457885"/>
                  <a:pt x="1548041" y="459543"/>
                </a:cubicBezTo>
                <a:cubicBezTo>
                  <a:pt x="1547725" y="460723"/>
                  <a:pt x="1545836" y="461137"/>
                  <a:pt x="1545836" y="461137"/>
                </a:cubicBezTo>
                <a:cubicBezTo>
                  <a:pt x="1543639" y="461584"/>
                  <a:pt x="1543639" y="461584"/>
                  <a:pt x="1544956" y="463316"/>
                </a:cubicBezTo>
                <a:cubicBezTo>
                  <a:pt x="1544956" y="463316"/>
                  <a:pt x="1543323" y="462764"/>
                  <a:pt x="1543323" y="462764"/>
                </a:cubicBezTo>
                <a:cubicBezTo>
                  <a:pt x="1543639" y="461584"/>
                  <a:pt x="1543323" y="462764"/>
                  <a:pt x="1541156" y="463103"/>
                </a:cubicBezTo>
                <a:cubicBezTo>
                  <a:pt x="1538487" y="460892"/>
                  <a:pt x="1536884" y="460233"/>
                  <a:pt x="1535845" y="458575"/>
                </a:cubicBezTo>
                <a:cubicBezTo>
                  <a:pt x="1535188" y="457709"/>
                  <a:pt x="1534616" y="456521"/>
                  <a:pt x="1534599" y="455481"/>
                </a:cubicBezTo>
                <a:cubicBezTo>
                  <a:pt x="1534552" y="454548"/>
                  <a:pt x="1534781" y="453690"/>
                  <a:pt x="1535726" y="453484"/>
                </a:cubicBezTo>
                <a:close/>
                <a:moveTo>
                  <a:pt x="1164454" y="453362"/>
                </a:moveTo>
                <a:cubicBezTo>
                  <a:pt x="1166010" y="453090"/>
                  <a:pt x="1166582" y="454278"/>
                  <a:pt x="1168679" y="455300"/>
                </a:cubicBezTo>
                <a:cubicBezTo>
                  <a:pt x="1169251" y="456488"/>
                  <a:pt x="1168018" y="457768"/>
                  <a:pt x="1168018" y="457768"/>
                </a:cubicBezTo>
                <a:cubicBezTo>
                  <a:pt x="1166758" y="459155"/>
                  <a:pt x="1167034" y="459229"/>
                  <a:pt x="1168885" y="460069"/>
                </a:cubicBezTo>
                <a:cubicBezTo>
                  <a:pt x="1168885" y="460069"/>
                  <a:pt x="1167329" y="460343"/>
                  <a:pt x="1167329" y="460343"/>
                </a:cubicBezTo>
                <a:cubicBezTo>
                  <a:pt x="1166758" y="459155"/>
                  <a:pt x="1167358" y="460235"/>
                  <a:pt x="1166097" y="461623"/>
                </a:cubicBezTo>
                <a:cubicBezTo>
                  <a:pt x="1162441" y="460873"/>
                  <a:pt x="1160857" y="461254"/>
                  <a:pt x="1158758" y="460231"/>
                </a:cubicBezTo>
                <a:cubicBezTo>
                  <a:pt x="1157681" y="459827"/>
                  <a:pt x="1156411" y="459028"/>
                  <a:pt x="1155754" y="458162"/>
                </a:cubicBezTo>
                <a:cubicBezTo>
                  <a:pt x="1154791" y="457328"/>
                  <a:pt x="1154716" y="456503"/>
                  <a:pt x="1155195" y="455826"/>
                </a:cubicBezTo>
                <a:cubicBezTo>
                  <a:pt x="1156749" y="455553"/>
                  <a:pt x="1156178" y="454364"/>
                  <a:pt x="1158011" y="454166"/>
                </a:cubicBezTo>
                <a:cubicBezTo>
                  <a:pt x="1160799" y="452613"/>
                  <a:pt x="1162356" y="452340"/>
                  <a:pt x="1164454" y="453362"/>
                </a:cubicBezTo>
                <a:close/>
                <a:moveTo>
                  <a:pt x="3333901" y="453216"/>
                </a:moveTo>
                <a:cubicBezTo>
                  <a:pt x="3338414" y="462936"/>
                  <a:pt x="3338712" y="469570"/>
                  <a:pt x="3326541" y="471829"/>
                </a:cubicBezTo>
                <a:cubicBezTo>
                  <a:pt x="3320579" y="468621"/>
                  <a:pt x="3319820" y="463703"/>
                  <a:pt x="3321773" y="459741"/>
                </a:cubicBezTo>
                <a:cubicBezTo>
                  <a:pt x="3323447" y="455705"/>
                  <a:pt x="3328384" y="452772"/>
                  <a:pt x="3333901" y="453216"/>
                </a:cubicBezTo>
                <a:close/>
                <a:moveTo>
                  <a:pt x="3653692" y="452882"/>
                </a:moveTo>
                <a:cubicBezTo>
                  <a:pt x="3654943" y="452641"/>
                  <a:pt x="3656135" y="452617"/>
                  <a:pt x="3657156" y="453235"/>
                </a:cubicBezTo>
                <a:cubicBezTo>
                  <a:pt x="3657422" y="454457"/>
                  <a:pt x="3659169" y="454580"/>
                  <a:pt x="3659158" y="455727"/>
                </a:cubicBezTo>
                <a:cubicBezTo>
                  <a:pt x="3661188" y="458111"/>
                  <a:pt x="3661149" y="459366"/>
                  <a:pt x="3659639" y="460571"/>
                </a:cubicBezTo>
                <a:cubicBezTo>
                  <a:pt x="3659905" y="461792"/>
                  <a:pt x="3658159" y="461669"/>
                  <a:pt x="3656402" y="462694"/>
                </a:cubicBezTo>
                <a:cubicBezTo>
                  <a:pt x="3654902" y="462752"/>
                  <a:pt x="3653138" y="461588"/>
                  <a:pt x="3653138" y="461588"/>
                </a:cubicBezTo>
                <a:cubicBezTo>
                  <a:pt x="3651403" y="460319"/>
                  <a:pt x="3651403" y="460319"/>
                  <a:pt x="3649617" y="461450"/>
                </a:cubicBezTo>
                <a:cubicBezTo>
                  <a:pt x="3649617" y="461450"/>
                  <a:pt x="3649628" y="460303"/>
                  <a:pt x="3649628" y="460303"/>
                </a:cubicBezTo>
                <a:cubicBezTo>
                  <a:pt x="3651403" y="460319"/>
                  <a:pt x="3649628" y="460303"/>
                  <a:pt x="3647892" y="459033"/>
                </a:cubicBezTo>
                <a:cubicBezTo>
                  <a:pt x="3649107" y="456714"/>
                  <a:pt x="3649146" y="455459"/>
                  <a:pt x="3650626" y="454361"/>
                </a:cubicBezTo>
                <a:cubicBezTo>
                  <a:pt x="3651381" y="453758"/>
                  <a:pt x="3652442" y="453122"/>
                  <a:pt x="3653692" y="452882"/>
                </a:cubicBezTo>
                <a:close/>
                <a:moveTo>
                  <a:pt x="2455015" y="452667"/>
                </a:moveTo>
                <a:cubicBezTo>
                  <a:pt x="2455576" y="455002"/>
                  <a:pt x="2462752" y="455890"/>
                  <a:pt x="2459981" y="458484"/>
                </a:cubicBezTo>
                <a:cubicBezTo>
                  <a:pt x="2458187" y="457428"/>
                  <a:pt x="2455852" y="455076"/>
                  <a:pt x="2453782" y="453947"/>
                </a:cubicBezTo>
                <a:cubicBezTo>
                  <a:pt x="2453782" y="453947"/>
                  <a:pt x="2453753" y="454054"/>
                  <a:pt x="2455015" y="452667"/>
                </a:cubicBezTo>
                <a:close/>
                <a:moveTo>
                  <a:pt x="2318150" y="452105"/>
                </a:moveTo>
                <a:cubicBezTo>
                  <a:pt x="2324751" y="455139"/>
                  <a:pt x="2330695" y="466162"/>
                  <a:pt x="2310581" y="460427"/>
                </a:cubicBezTo>
                <a:cubicBezTo>
                  <a:pt x="2309781" y="451242"/>
                  <a:pt x="2314172" y="450349"/>
                  <a:pt x="2318150" y="452105"/>
                </a:cubicBezTo>
                <a:close/>
                <a:moveTo>
                  <a:pt x="3167127" y="450275"/>
                </a:moveTo>
                <a:cubicBezTo>
                  <a:pt x="3170846" y="452996"/>
                  <a:pt x="3173124" y="455561"/>
                  <a:pt x="3176567" y="458210"/>
                </a:cubicBezTo>
                <a:cubicBezTo>
                  <a:pt x="3175629" y="460603"/>
                  <a:pt x="3173738" y="461016"/>
                  <a:pt x="3171497" y="460530"/>
                </a:cubicBezTo>
                <a:cubicBezTo>
                  <a:pt x="3168977" y="459970"/>
                  <a:pt x="3166383" y="458585"/>
                  <a:pt x="3163788" y="457200"/>
                </a:cubicBezTo>
                <a:cubicBezTo>
                  <a:pt x="3165003" y="454880"/>
                  <a:pt x="3162725" y="452315"/>
                  <a:pt x="3167127" y="450275"/>
                </a:cubicBezTo>
                <a:close/>
                <a:moveTo>
                  <a:pt x="4309780" y="449278"/>
                </a:moveTo>
                <a:cubicBezTo>
                  <a:pt x="4311527" y="449401"/>
                  <a:pt x="4313348" y="450349"/>
                  <a:pt x="4315085" y="451619"/>
                </a:cubicBezTo>
                <a:cubicBezTo>
                  <a:pt x="4318889" y="454018"/>
                  <a:pt x="4317398" y="456264"/>
                  <a:pt x="4317398" y="456264"/>
                </a:cubicBezTo>
                <a:cubicBezTo>
                  <a:pt x="4314398" y="459715"/>
                  <a:pt x="4309366" y="460782"/>
                  <a:pt x="4304063" y="458441"/>
                </a:cubicBezTo>
                <a:cubicBezTo>
                  <a:pt x="4302061" y="455950"/>
                  <a:pt x="4303552" y="453704"/>
                  <a:pt x="4305044" y="451459"/>
                </a:cubicBezTo>
                <a:cubicBezTo>
                  <a:pt x="4306420" y="449642"/>
                  <a:pt x="4308063" y="449047"/>
                  <a:pt x="4309780" y="449278"/>
                </a:cubicBezTo>
                <a:close/>
                <a:moveTo>
                  <a:pt x="1052384" y="448950"/>
                </a:moveTo>
                <a:cubicBezTo>
                  <a:pt x="1058565" y="448708"/>
                  <a:pt x="1067377" y="450409"/>
                  <a:pt x="1073271" y="450551"/>
                </a:cubicBezTo>
                <a:cubicBezTo>
                  <a:pt x="1076358" y="455633"/>
                  <a:pt x="1076785" y="457357"/>
                  <a:pt x="1074881" y="462252"/>
                </a:cubicBezTo>
                <a:cubicBezTo>
                  <a:pt x="1069821" y="463426"/>
                  <a:pt x="1065106" y="463313"/>
                  <a:pt x="1060563" y="462556"/>
                </a:cubicBezTo>
                <a:cubicBezTo>
                  <a:pt x="1056022" y="461798"/>
                  <a:pt x="1051681" y="460290"/>
                  <a:pt x="1047282" y="458997"/>
                </a:cubicBezTo>
                <a:cubicBezTo>
                  <a:pt x="1042651" y="451373"/>
                  <a:pt x="1046202" y="449191"/>
                  <a:pt x="1052384" y="448950"/>
                </a:cubicBezTo>
                <a:close/>
                <a:moveTo>
                  <a:pt x="2888913" y="448178"/>
                </a:moveTo>
                <a:cubicBezTo>
                  <a:pt x="2890746" y="447979"/>
                  <a:pt x="2892740" y="448283"/>
                  <a:pt x="2894648" y="448909"/>
                </a:cubicBezTo>
                <a:cubicBezTo>
                  <a:pt x="2896384" y="450180"/>
                  <a:pt x="2896384" y="450180"/>
                  <a:pt x="2898148" y="451343"/>
                </a:cubicBezTo>
                <a:cubicBezTo>
                  <a:pt x="2898403" y="453711"/>
                  <a:pt x="2900462" y="455988"/>
                  <a:pt x="2898942" y="458340"/>
                </a:cubicBezTo>
                <a:cubicBezTo>
                  <a:pt x="2895952" y="460644"/>
                  <a:pt x="2887422" y="459279"/>
                  <a:pt x="2883882" y="458100"/>
                </a:cubicBezTo>
                <a:cubicBezTo>
                  <a:pt x="2882146" y="456830"/>
                  <a:pt x="2881633" y="455427"/>
                  <a:pt x="2881758" y="453851"/>
                </a:cubicBezTo>
                <a:cubicBezTo>
                  <a:pt x="2882132" y="452456"/>
                  <a:pt x="2883116" y="450995"/>
                  <a:pt x="2884597" y="449897"/>
                </a:cubicBezTo>
                <a:cubicBezTo>
                  <a:pt x="2885219" y="448684"/>
                  <a:pt x="2887109" y="448269"/>
                  <a:pt x="2888913" y="448178"/>
                </a:cubicBezTo>
                <a:close/>
                <a:moveTo>
                  <a:pt x="2441984" y="445956"/>
                </a:moveTo>
                <a:cubicBezTo>
                  <a:pt x="2444684" y="448059"/>
                  <a:pt x="2446293" y="450905"/>
                  <a:pt x="2445754" y="455131"/>
                </a:cubicBezTo>
                <a:cubicBezTo>
                  <a:pt x="2443865" y="455544"/>
                  <a:pt x="2442060" y="455635"/>
                  <a:pt x="2440647" y="455373"/>
                </a:cubicBezTo>
                <a:cubicBezTo>
                  <a:pt x="2436354" y="454798"/>
                  <a:pt x="2434438" y="451983"/>
                  <a:pt x="2432246" y="449096"/>
                </a:cubicBezTo>
                <a:cubicBezTo>
                  <a:pt x="2437935" y="448896"/>
                  <a:pt x="2434963" y="443384"/>
                  <a:pt x="2441984" y="445956"/>
                </a:cubicBezTo>
                <a:close/>
                <a:moveTo>
                  <a:pt x="3803022" y="443444"/>
                </a:moveTo>
                <a:cubicBezTo>
                  <a:pt x="3804223" y="454461"/>
                  <a:pt x="3804995" y="472608"/>
                  <a:pt x="3797323" y="480213"/>
                </a:cubicBezTo>
                <a:cubicBezTo>
                  <a:pt x="3779733" y="471704"/>
                  <a:pt x="3794905" y="448284"/>
                  <a:pt x="3803022" y="443444"/>
                </a:cubicBezTo>
                <a:close/>
                <a:moveTo>
                  <a:pt x="1349825" y="443346"/>
                </a:moveTo>
                <a:cubicBezTo>
                  <a:pt x="1356833" y="441544"/>
                  <a:pt x="1370866" y="447834"/>
                  <a:pt x="1367935" y="455444"/>
                </a:cubicBezTo>
                <a:cubicBezTo>
                  <a:pt x="1364669" y="457674"/>
                  <a:pt x="1361097" y="459937"/>
                  <a:pt x="1353101" y="457680"/>
                </a:cubicBezTo>
                <a:cubicBezTo>
                  <a:pt x="1348344" y="453300"/>
                  <a:pt x="1347327" y="449347"/>
                  <a:pt x="1349825" y="443346"/>
                </a:cubicBezTo>
                <a:close/>
                <a:moveTo>
                  <a:pt x="3434815" y="441844"/>
                </a:moveTo>
                <a:cubicBezTo>
                  <a:pt x="3445402" y="448821"/>
                  <a:pt x="3435832" y="454653"/>
                  <a:pt x="3429249" y="452658"/>
                </a:cubicBezTo>
                <a:cubicBezTo>
                  <a:pt x="3423309" y="447157"/>
                  <a:pt x="3428192" y="441105"/>
                  <a:pt x="3434815" y="441844"/>
                </a:cubicBezTo>
                <a:close/>
                <a:moveTo>
                  <a:pt x="3146960" y="441420"/>
                </a:moveTo>
                <a:cubicBezTo>
                  <a:pt x="3146960" y="441420"/>
                  <a:pt x="3146960" y="441420"/>
                  <a:pt x="3142227" y="449122"/>
                </a:cubicBezTo>
                <a:cubicBezTo>
                  <a:pt x="3141206" y="448504"/>
                  <a:pt x="3141321" y="448075"/>
                  <a:pt x="3141523" y="447323"/>
                </a:cubicBezTo>
                <a:cubicBezTo>
                  <a:pt x="3141695" y="446680"/>
                  <a:pt x="3142450" y="446077"/>
                  <a:pt x="3142928" y="445401"/>
                </a:cubicBezTo>
                <a:cubicBezTo>
                  <a:pt x="3144467" y="444087"/>
                  <a:pt x="3145699" y="442807"/>
                  <a:pt x="3146960" y="441420"/>
                </a:cubicBezTo>
                <a:close/>
                <a:moveTo>
                  <a:pt x="1411818" y="441098"/>
                </a:moveTo>
                <a:cubicBezTo>
                  <a:pt x="1413316" y="441038"/>
                  <a:pt x="1414814" y="440980"/>
                  <a:pt x="1415806" y="441706"/>
                </a:cubicBezTo>
                <a:cubicBezTo>
                  <a:pt x="1419346" y="442885"/>
                  <a:pt x="1414570" y="446319"/>
                  <a:pt x="1414836" y="447541"/>
                </a:cubicBezTo>
                <a:cubicBezTo>
                  <a:pt x="1413328" y="448746"/>
                  <a:pt x="1411568" y="449771"/>
                  <a:pt x="1409834" y="448501"/>
                </a:cubicBezTo>
                <a:cubicBezTo>
                  <a:pt x="1408813" y="447882"/>
                  <a:pt x="1407983" y="447660"/>
                  <a:pt x="1407515" y="447190"/>
                </a:cubicBezTo>
                <a:cubicBezTo>
                  <a:pt x="1407048" y="446720"/>
                  <a:pt x="1407192" y="446183"/>
                  <a:pt x="1407785" y="445077"/>
                </a:cubicBezTo>
                <a:cubicBezTo>
                  <a:pt x="1407520" y="443855"/>
                  <a:pt x="1409305" y="442724"/>
                  <a:pt x="1409039" y="441502"/>
                </a:cubicBezTo>
                <a:cubicBezTo>
                  <a:pt x="1409039" y="441502"/>
                  <a:pt x="1410290" y="441263"/>
                  <a:pt x="1411818" y="441098"/>
                </a:cubicBezTo>
                <a:close/>
                <a:moveTo>
                  <a:pt x="2863352" y="440639"/>
                </a:moveTo>
                <a:cubicBezTo>
                  <a:pt x="2863352" y="440639"/>
                  <a:pt x="2863076" y="440565"/>
                  <a:pt x="2859698" y="448745"/>
                </a:cubicBezTo>
                <a:cubicBezTo>
                  <a:pt x="2858648" y="448234"/>
                  <a:pt x="2858238" y="447550"/>
                  <a:pt x="2858411" y="446904"/>
                </a:cubicBezTo>
                <a:cubicBezTo>
                  <a:pt x="2858584" y="446261"/>
                  <a:pt x="2859338" y="445659"/>
                  <a:pt x="2859816" y="444982"/>
                </a:cubicBezTo>
                <a:cubicBezTo>
                  <a:pt x="2860800" y="443521"/>
                  <a:pt x="2862090" y="442025"/>
                  <a:pt x="2863352" y="440639"/>
                </a:cubicBezTo>
                <a:close/>
                <a:moveTo>
                  <a:pt x="2851680" y="439926"/>
                </a:moveTo>
                <a:cubicBezTo>
                  <a:pt x="2851680" y="439926"/>
                  <a:pt x="2853064" y="440297"/>
                  <a:pt x="2853064" y="440297"/>
                </a:cubicBezTo>
                <a:cubicBezTo>
                  <a:pt x="2852719" y="441585"/>
                  <a:pt x="2852679" y="442839"/>
                  <a:pt x="2851296" y="442469"/>
                </a:cubicBezTo>
                <a:cubicBezTo>
                  <a:pt x="2849635" y="442024"/>
                  <a:pt x="2849980" y="440736"/>
                  <a:pt x="2851680" y="439926"/>
                </a:cubicBezTo>
                <a:close/>
                <a:moveTo>
                  <a:pt x="2835092" y="439852"/>
                </a:moveTo>
                <a:cubicBezTo>
                  <a:pt x="2839236" y="438778"/>
                  <a:pt x="2843911" y="440145"/>
                  <a:pt x="2847469" y="442363"/>
                </a:cubicBezTo>
                <a:lnTo>
                  <a:pt x="2851788" y="446165"/>
                </a:lnTo>
                <a:lnTo>
                  <a:pt x="2853606" y="450448"/>
                </a:lnTo>
                <a:cubicBezTo>
                  <a:pt x="2853423" y="452239"/>
                  <a:pt x="2852380" y="453914"/>
                  <a:pt x="2849459" y="454856"/>
                </a:cubicBezTo>
                <a:lnTo>
                  <a:pt x="2847799" y="454411"/>
                </a:lnTo>
                <a:lnTo>
                  <a:pt x="2846660" y="457557"/>
                </a:lnTo>
                <a:cubicBezTo>
                  <a:pt x="2845520" y="460701"/>
                  <a:pt x="2844134" y="463665"/>
                  <a:pt x="2841345" y="465217"/>
                </a:cubicBezTo>
                <a:cubicBezTo>
                  <a:pt x="2841633" y="464144"/>
                  <a:pt x="2842610" y="460497"/>
                  <a:pt x="2844198" y="456783"/>
                </a:cubicBezTo>
                <a:lnTo>
                  <a:pt x="2845614" y="453711"/>
                </a:lnTo>
                <a:lnTo>
                  <a:pt x="2843429" y="453011"/>
                </a:lnTo>
                <a:cubicBezTo>
                  <a:pt x="2839128" y="450248"/>
                  <a:pt x="2839314" y="445124"/>
                  <a:pt x="2835092" y="439852"/>
                </a:cubicBezTo>
                <a:close/>
                <a:moveTo>
                  <a:pt x="2265480" y="439487"/>
                </a:moveTo>
                <a:cubicBezTo>
                  <a:pt x="2271556" y="442265"/>
                  <a:pt x="2271438" y="446029"/>
                  <a:pt x="2271348" y="449684"/>
                </a:cubicBezTo>
                <a:cubicBezTo>
                  <a:pt x="2270658" y="452260"/>
                  <a:pt x="2270981" y="453266"/>
                  <a:pt x="2273651" y="455477"/>
                </a:cubicBezTo>
                <a:cubicBezTo>
                  <a:pt x="2273651" y="455477"/>
                  <a:pt x="2273651" y="455477"/>
                  <a:pt x="2271433" y="458218"/>
                </a:cubicBezTo>
                <a:lnTo>
                  <a:pt x="2269906" y="458383"/>
                </a:lnTo>
                <a:cubicBezTo>
                  <a:pt x="2269048" y="458268"/>
                  <a:pt x="2268114" y="457327"/>
                  <a:pt x="2267571" y="456033"/>
                </a:cubicBezTo>
                <a:cubicBezTo>
                  <a:pt x="2265580" y="452394"/>
                  <a:pt x="2264480" y="445430"/>
                  <a:pt x="2264129" y="444530"/>
                </a:cubicBezTo>
                <a:cubicBezTo>
                  <a:pt x="2264129" y="444530"/>
                  <a:pt x="2263557" y="443342"/>
                  <a:pt x="2263262" y="442228"/>
                </a:cubicBezTo>
                <a:cubicBezTo>
                  <a:pt x="2264247" y="440766"/>
                  <a:pt x="2265774" y="440601"/>
                  <a:pt x="2265480" y="439487"/>
                </a:cubicBezTo>
                <a:close/>
                <a:moveTo>
                  <a:pt x="1125834" y="439220"/>
                </a:moveTo>
                <a:cubicBezTo>
                  <a:pt x="1139295" y="444322"/>
                  <a:pt x="1154037" y="449076"/>
                  <a:pt x="1154791" y="457328"/>
                </a:cubicBezTo>
                <a:cubicBezTo>
                  <a:pt x="1152814" y="458064"/>
                  <a:pt x="1150676" y="458295"/>
                  <a:pt x="1148129" y="457844"/>
                </a:cubicBezTo>
                <a:cubicBezTo>
                  <a:pt x="1145828" y="457572"/>
                  <a:pt x="1143091" y="456723"/>
                  <a:pt x="1140437" y="455553"/>
                </a:cubicBezTo>
                <a:cubicBezTo>
                  <a:pt x="1135382" y="453393"/>
                  <a:pt x="1130031" y="450118"/>
                  <a:pt x="1126589" y="447471"/>
                </a:cubicBezTo>
                <a:cubicBezTo>
                  <a:pt x="1127728" y="444327"/>
                  <a:pt x="1124724" y="442257"/>
                  <a:pt x="1125834" y="439220"/>
                </a:cubicBezTo>
                <a:close/>
                <a:moveTo>
                  <a:pt x="2604361" y="438748"/>
                </a:moveTo>
                <a:cubicBezTo>
                  <a:pt x="2608654" y="439323"/>
                  <a:pt x="2612668" y="443159"/>
                  <a:pt x="2615403" y="447342"/>
                </a:cubicBezTo>
                <a:lnTo>
                  <a:pt x="2615374" y="447449"/>
                </a:lnTo>
                <a:lnTo>
                  <a:pt x="2616025" y="446129"/>
                </a:lnTo>
                <a:cubicBezTo>
                  <a:pt x="2616682" y="446995"/>
                  <a:pt x="2616624" y="447210"/>
                  <a:pt x="2616291" y="447350"/>
                </a:cubicBezTo>
                <a:lnTo>
                  <a:pt x="2615565" y="447846"/>
                </a:lnTo>
                <a:lnTo>
                  <a:pt x="2618145" y="453713"/>
                </a:lnTo>
                <a:cubicBezTo>
                  <a:pt x="2618238" y="455576"/>
                  <a:pt x="2618084" y="457261"/>
                  <a:pt x="2616880" y="458434"/>
                </a:cubicBezTo>
                <a:lnTo>
                  <a:pt x="2613405" y="459227"/>
                </a:lnTo>
                <a:lnTo>
                  <a:pt x="2615831" y="466777"/>
                </a:lnTo>
                <a:cubicBezTo>
                  <a:pt x="2617387" y="475359"/>
                  <a:pt x="2617127" y="485180"/>
                  <a:pt x="2617842" y="494687"/>
                </a:cubicBezTo>
                <a:cubicBezTo>
                  <a:pt x="2605628" y="492679"/>
                  <a:pt x="2599673" y="491658"/>
                  <a:pt x="2590072" y="492075"/>
                </a:cubicBezTo>
                <a:cubicBezTo>
                  <a:pt x="2591742" y="473663"/>
                  <a:pt x="2582795" y="460570"/>
                  <a:pt x="2589943" y="452711"/>
                </a:cubicBezTo>
                <a:lnTo>
                  <a:pt x="2593285" y="451307"/>
                </a:lnTo>
                <a:lnTo>
                  <a:pt x="2591466" y="447024"/>
                </a:lnTo>
                <a:cubicBezTo>
                  <a:pt x="2591649" y="445232"/>
                  <a:pt x="2592386" y="443590"/>
                  <a:pt x="2593925" y="442277"/>
                </a:cubicBezTo>
                <a:cubicBezTo>
                  <a:pt x="2595912" y="440395"/>
                  <a:pt x="2599254" y="438990"/>
                  <a:pt x="2604361" y="438748"/>
                </a:cubicBezTo>
                <a:close/>
                <a:moveTo>
                  <a:pt x="2102532" y="435687"/>
                </a:moveTo>
                <a:cubicBezTo>
                  <a:pt x="2105285" y="434686"/>
                  <a:pt x="2109284" y="434147"/>
                  <a:pt x="2114273" y="436002"/>
                </a:cubicBezTo>
                <a:cubicBezTo>
                  <a:pt x="2113317" y="437355"/>
                  <a:pt x="2125719" y="443094"/>
                  <a:pt x="2124615" y="448318"/>
                </a:cubicBezTo>
                <a:cubicBezTo>
                  <a:pt x="2123925" y="450893"/>
                  <a:pt x="2122970" y="452247"/>
                  <a:pt x="2122280" y="454822"/>
                </a:cubicBezTo>
                <a:cubicBezTo>
                  <a:pt x="2117363" y="455460"/>
                  <a:pt x="2114162" y="459662"/>
                  <a:pt x="2102349" y="456152"/>
                </a:cubicBezTo>
                <a:cubicBezTo>
                  <a:pt x="2090519" y="451602"/>
                  <a:pt x="2095367" y="443471"/>
                  <a:pt x="2093840" y="443637"/>
                </a:cubicBezTo>
                <a:cubicBezTo>
                  <a:pt x="2091712" y="442722"/>
                  <a:pt x="2091712" y="442722"/>
                  <a:pt x="2090157" y="442994"/>
                </a:cubicBezTo>
                <a:cubicBezTo>
                  <a:pt x="2089585" y="441807"/>
                  <a:pt x="2087192" y="439671"/>
                  <a:pt x="2085094" y="438648"/>
                </a:cubicBezTo>
                <a:cubicBezTo>
                  <a:pt x="2086621" y="438482"/>
                  <a:pt x="2088177" y="438209"/>
                  <a:pt x="2087882" y="437096"/>
                </a:cubicBezTo>
                <a:cubicBezTo>
                  <a:pt x="2091831" y="438958"/>
                  <a:pt x="2092402" y="440147"/>
                  <a:pt x="2094501" y="441170"/>
                </a:cubicBezTo>
                <a:cubicBezTo>
                  <a:pt x="2093930" y="439981"/>
                  <a:pt x="2096058" y="440896"/>
                  <a:pt x="2096058" y="440896"/>
                </a:cubicBezTo>
                <a:cubicBezTo>
                  <a:pt x="2096058" y="440896"/>
                  <a:pt x="2096028" y="441003"/>
                  <a:pt x="2098275" y="438155"/>
                </a:cubicBezTo>
                <a:cubicBezTo>
                  <a:pt x="2098275" y="438155"/>
                  <a:pt x="2099780" y="436689"/>
                  <a:pt x="2102532" y="435687"/>
                </a:cubicBezTo>
                <a:close/>
                <a:moveTo>
                  <a:pt x="1775882" y="434917"/>
                </a:moveTo>
                <a:cubicBezTo>
                  <a:pt x="1777351" y="434965"/>
                  <a:pt x="1775882" y="434917"/>
                  <a:pt x="1779087" y="436235"/>
                </a:cubicBezTo>
                <a:cubicBezTo>
                  <a:pt x="1778333" y="436838"/>
                  <a:pt x="1777750" y="436797"/>
                  <a:pt x="1777531" y="436508"/>
                </a:cubicBezTo>
                <a:cubicBezTo>
                  <a:pt x="1777006" y="436252"/>
                  <a:pt x="1776596" y="435568"/>
                  <a:pt x="1775882" y="434917"/>
                </a:cubicBezTo>
                <a:close/>
                <a:moveTo>
                  <a:pt x="2852870" y="434381"/>
                </a:moveTo>
                <a:cubicBezTo>
                  <a:pt x="2854818" y="433752"/>
                  <a:pt x="2854818" y="433752"/>
                  <a:pt x="2857833" y="434675"/>
                </a:cubicBezTo>
                <a:cubicBezTo>
                  <a:pt x="2855529" y="437737"/>
                  <a:pt x="2855529" y="437737"/>
                  <a:pt x="2851910" y="439069"/>
                </a:cubicBezTo>
                <a:cubicBezTo>
                  <a:pt x="2852197" y="437996"/>
                  <a:pt x="2851169" y="435190"/>
                  <a:pt x="2852870" y="434381"/>
                </a:cubicBezTo>
                <a:close/>
                <a:moveTo>
                  <a:pt x="3978706" y="434168"/>
                </a:moveTo>
                <a:cubicBezTo>
                  <a:pt x="3980538" y="433968"/>
                  <a:pt x="3982619" y="433951"/>
                  <a:pt x="3984861" y="434437"/>
                </a:cubicBezTo>
                <a:cubicBezTo>
                  <a:pt x="3983629" y="444572"/>
                  <a:pt x="3987246" y="452096"/>
                  <a:pt x="3988878" y="461503"/>
                </a:cubicBezTo>
                <a:cubicBezTo>
                  <a:pt x="3987322" y="461777"/>
                  <a:pt x="3985823" y="461835"/>
                  <a:pt x="3983829" y="461531"/>
                </a:cubicBezTo>
                <a:cubicBezTo>
                  <a:pt x="3981558" y="461152"/>
                  <a:pt x="3979096" y="460378"/>
                  <a:pt x="3975863" y="459166"/>
                </a:cubicBezTo>
                <a:cubicBezTo>
                  <a:pt x="3982086" y="449219"/>
                  <a:pt x="3963123" y="448048"/>
                  <a:pt x="3967360" y="439983"/>
                </a:cubicBezTo>
                <a:cubicBezTo>
                  <a:pt x="3971122" y="438116"/>
                  <a:pt x="3973760" y="434913"/>
                  <a:pt x="3978706" y="434168"/>
                </a:cubicBezTo>
                <a:close/>
                <a:moveTo>
                  <a:pt x="1968963" y="433751"/>
                </a:moveTo>
                <a:cubicBezTo>
                  <a:pt x="1970013" y="434263"/>
                  <a:pt x="1971282" y="435063"/>
                  <a:pt x="1973190" y="435689"/>
                </a:cubicBezTo>
                <a:lnTo>
                  <a:pt x="1968443" y="439017"/>
                </a:lnTo>
                <a:cubicBezTo>
                  <a:pt x="1967422" y="438399"/>
                  <a:pt x="1966459" y="437566"/>
                  <a:pt x="1966108" y="436666"/>
                </a:cubicBezTo>
                <a:cubicBezTo>
                  <a:pt x="1965450" y="435801"/>
                  <a:pt x="1965374" y="434975"/>
                  <a:pt x="1966099" y="434479"/>
                </a:cubicBezTo>
                <a:cubicBezTo>
                  <a:pt x="1967000" y="433340"/>
                  <a:pt x="1967886" y="433348"/>
                  <a:pt x="1968963" y="433751"/>
                </a:cubicBezTo>
                <a:close/>
                <a:moveTo>
                  <a:pt x="1949275" y="433077"/>
                </a:moveTo>
                <a:cubicBezTo>
                  <a:pt x="1954550" y="435525"/>
                  <a:pt x="1958345" y="439071"/>
                  <a:pt x="1953598" y="442399"/>
                </a:cubicBezTo>
                <a:cubicBezTo>
                  <a:pt x="1952844" y="443002"/>
                  <a:pt x="1952117" y="443498"/>
                  <a:pt x="1951449" y="443779"/>
                </a:cubicBezTo>
                <a:cubicBezTo>
                  <a:pt x="1950780" y="444059"/>
                  <a:pt x="1950475" y="444092"/>
                  <a:pt x="1950342" y="443482"/>
                </a:cubicBezTo>
                <a:cubicBezTo>
                  <a:pt x="1948844" y="443541"/>
                  <a:pt x="1948577" y="442320"/>
                  <a:pt x="1946813" y="441157"/>
                </a:cubicBezTo>
                <a:cubicBezTo>
                  <a:pt x="1945661" y="439929"/>
                  <a:pt x="1945176" y="438418"/>
                  <a:pt x="1945214" y="437164"/>
                </a:cubicBezTo>
                <a:cubicBezTo>
                  <a:pt x="1944977" y="435834"/>
                  <a:pt x="1945293" y="434655"/>
                  <a:pt x="1946019" y="434159"/>
                </a:cubicBezTo>
                <a:cubicBezTo>
                  <a:pt x="1947528" y="432953"/>
                  <a:pt x="1949275" y="433077"/>
                  <a:pt x="1949275" y="433077"/>
                </a:cubicBezTo>
                <a:close/>
                <a:moveTo>
                  <a:pt x="2766448" y="432614"/>
                </a:moveTo>
                <a:cubicBezTo>
                  <a:pt x="2772201" y="434385"/>
                  <a:pt x="2770940" y="435773"/>
                  <a:pt x="2768999" y="438587"/>
                </a:cubicBezTo>
                <a:cubicBezTo>
                  <a:pt x="2767034" y="438176"/>
                  <a:pt x="2765651" y="437805"/>
                  <a:pt x="2764992" y="436939"/>
                </a:cubicBezTo>
                <a:cubicBezTo>
                  <a:pt x="2764029" y="436106"/>
                  <a:pt x="2764069" y="434851"/>
                  <a:pt x="2764892" y="432887"/>
                </a:cubicBezTo>
                <a:cubicBezTo>
                  <a:pt x="2764892" y="432887"/>
                  <a:pt x="2766448" y="432614"/>
                  <a:pt x="2766448" y="432614"/>
                </a:cubicBezTo>
                <a:close/>
                <a:moveTo>
                  <a:pt x="2315492" y="431037"/>
                </a:moveTo>
                <a:cubicBezTo>
                  <a:pt x="2316070" y="434412"/>
                  <a:pt x="2316193" y="436170"/>
                  <a:pt x="2317888" y="438694"/>
                </a:cubicBezTo>
                <a:cubicBezTo>
                  <a:pt x="2307018" y="438312"/>
                  <a:pt x="2300697" y="440873"/>
                  <a:pt x="2295554" y="439035"/>
                </a:cubicBezTo>
                <a:cubicBezTo>
                  <a:pt x="2293646" y="438409"/>
                  <a:pt x="2291882" y="437247"/>
                  <a:pt x="2290318" y="435333"/>
                </a:cubicBezTo>
                <a:cubicBezTo>
                  <a:pt x="2293187" y="431271"/>
                  <a:pt x="2304973" y="431554"/>
                  <a:pt x="2315492" y="431037"/>
                </a:cubicBezTo>
                <a:close/>
                <a:moveTo>
                  <a:pt x="2641220" y="430684"/>
                </a:moveTo>
                <a:cubicBezTo>
                  <a:pt x="2651669" y="440385"/>
                  <a:pt x="2668325" y="456808"/>
                  <a:pt x="2670384" y="467939"/>
                </a:cubicBezTo>
                <a:cubicBezTo>
                  <a:pt x="2668246" y="468172"/>
                  <a:pt x="2665975" y="467793"/>
                  <a:pt x="2664096" y="467060"/>
                </a:cubicBezTo>
                <a:cubicBezTo>
                  <a:pt x="2660556" y="465881"/>
                  <a:pt x="2657361" y="463414"/>
                  <a:pt x="2654616" y="460380"/>
                </a:cubicBezTo>
                <a:lnTo>
                  <a:pt x="2651633" y="456015"/>
                </a:lnTo>
                <a:lnTo>
                  <a:pt x="2649858" y="456000"/>
                </a:lnTo>
                <a:cubicBezTo>
                  <a:pt x="2646307" y="455968"/>
                  <a:pt x="2642757" y="455937"/>
                  <a:pt x="2640047" y="454981"/>
                </a:cubicBezTo>
                <a:cubicBezTo>
                  <a:pt x="2639027" y="454362"/>
                  <a:pt x="2637977" y="453852"/>
                  <a:pt x="2637597" y="453059"/>
                </a:cubicBezTo>
                <a:cubicBezTo>
                  <a:pt x="2637186" y="452375"/>
                  <a:pt x="2637416" y="451516"/>
                  <a:pt x="2638650" y="450237"/>
                </a:cubicBezTo>
                <a:cubicBezTo>
                  <a:pt x="2639893" y="447810"/>
                  <a:pt x="2641421" y="447644"/>
                  <a:pt x="2647087" y="449737"/>
                </a:cubicBezTo>
                <a:lnTo>
                  <a:pt x="2642862" y="438944"/>
                </a:lnTo>
                <a:cubicBezTo>
                  <a:pt x="2641700" y="435528"/>
                  <a:pt x="2641284" y="432656"/>
                  <a:pt x="2641220" y="430684"/>
                </a:cubicBezTo>
                <a:close/>
                <a:moveTo>
                  <a:pt x="2435646" y="429767"/>
                </a:moveTo>
                <a:cubicBezTo>
                  <a:pt x="2435911" y="430988"/>
                  <a:pt x="2437716" y="430897"/>
                  <a:pt x="2436454" y="432284"/>
                </a:cubicBezTo>
                <a:cubicBezTo>
                  <a:pt x="2442122" y="434377"/>
                  <a:pt x="2450041" y="444664"/>
                  <a:pt x="2449635" y="449501"/>
                </a:cubicBezTo>
                <a:cubicBezTo>
                  <a:pt x="2432063" y="442032"/>
                  <a:pt x="2438542" y="434453"/>
                  <a:pt x="2428984" y="430282"/>
                </a:cubicBezTo>
                <a:cubicBezTo>
                  <a:pt x="2432021" y="428910"/>
                  <a:pt x="2432049" y="428803"/>
                  <a:pt x="2435646" y="429767"/>
                </a:cubicBezTo>
                <a:close/>
                <a:moveTo>
                  <a:pt x="3485862" y="429533"/>
                </a:moveTo>
                <a:cubicBezTo>
                  <a:pt x="3486128" y="430753"/>
                  <a:pt x="3486354" y="433229"/>
                  <a:pt x="3489894" y="434407"/>
                </a:cubicBezTo>
                <a:cubicBezTo>
                  <a:pt x="3487353" y="436142"/>
                  <a:pt x="3485118" y="437843"/>
                  <a:pt x="3482542" y="437498"/>
                </a:cubicBezTo>
                <a:cubicBezTo>
                  <a:pt x="3481683" y="437383"/>
                  <a:pt x="3480852" y="437160"/>
                  <a:pt x="3480109" y="436616"/>
                </a:cubicBezTo>
                <a:cubicBezTo>
                  <a:pt x="3478345" y="435453"/>
                  <a:pt x="3476332" y="434109"/>
                  <a:pt x="3476077" y="431741"/>
                </a:cubicBezTo>
                <a:cubicBezTo>
                  <a:pt x="3479344" y="429511"/>
                  <a:pt x="3484353" y="430738"/>
                  <a:pt x="3485862" y="429533"/>
                </a:cubicBezTo>
                <a:close/>
                <a:moveTo>
                  <a:pt x="3269713" y="429346"/>
                </a:moveTo>
                <a:cubicBezTo>
                  <a:pt x="3272156" y="429081"/>
                  <a:pt x="3274485" y="429245"/>
                  <a:pt x="3277253" y="429986"/>
                </a:cubicBezTo>
                <a:cubicBezTo>
                  <a:pt x="3280879" y="430843"/>
                  <a:pt x="3284769" y="432921"/>
                  <a:pt x="3288097" y="435998"/>
                </a:cubicBezTo>
                <a:cubicBezTo>
                  <a:pt x="3289955" y="439025"/>
                  <a:pt x="3287508" y="442624"/>
                  <a:pt x="3283516" y="445350"/>
                </a:cubicBezTo>
                <a:lnTo>
                  <a:pt x="3285261" y="445473"/>
                </a:lnTo>
                <a:cubicBezTo>
                  <a:pt x="3284508" y="446075"/>
                  <a:pt x="3284231" y="446001"/>
                  <a:pt x="3283954" y="445927"/>
                </a:cubicBezTo>
                <a:lnTo>
                  <a:pt x="3282847" y="445630"/>
                </a:lnTo>
                <a:lnTo>
                  <a:pt x="3276773" y="448374"/>
                </a:lnTo>
                <a:cubicBezTo>
                  <a:pt x="3274244" y="448961"/>
                  <a:pt x="3271800" y="449226"/>
                  <a:pt x="3269557" y="448741"/>
                </a:cubicBezTo>
                <a:cubicBezTo>
                  <a:pt x="3266363" y="446275"/>
                  <a:pt x="3262921" y="443627"/>
                  <a:pt x="3259449" y="441086"/>
                </a:cubicBezTo>
                <a:cubicBezTo>
                  <a:pt x="3257509" y="435047"/>
                  <a:pt x="3262382" y="430141"/>
                  <a:pt x="3269713" y="429346"/>
                </a:cubicBezTo>
                <a:close/>
                <a:moveTo>
                  <a:pt x="3779941" y="428864"/>
                </a:moveTo>
                <a:lnTo>
                  <a:pt x="3785476" y="430347"/>
                </a:lnTo>
                <a:lnTo>
                  <a:pt x="3790536" y="429173"/>
                </a:lnTo>
                <a:cubicBezTo>
                  <a:pt x="3795315" y="431259"/>
                  <a:pt x="3801269" y="432280"/>
                  <a:pt x="3805150" y="435504"/>
                </a:cubicBezTo>
                <a:cubicBezTo>
                  <a:pt x="3806362" y="436518"/>
                  <a:pt x="3807486" y="437855"/>
                  <a:pt x="3808248" y="439440"/>
                </a:cubicBezTo>
                <a:cubicBezTo>
                  <a:pt x="3794502" y="440931"/>
                  <a:pt x="3786614" y="444913"/>
                  <a:pt x="3775100" y="448038"/>
                </a:cubicBezTo>
                <a:cubicBezTo>
                  <a:pt x="3773861" y="447131"/>
                  <a:pt x="3772926" y="446190"/>
                  <a:pt x="3772136" y="444713"/>
                </a:cubicBezTo>
                <a:cubicBezTo>
                  <a:pt x="3771346" y="443237"/>
                  <a:pt x="3770670" y="441331"/>
                  <a:pt x="3770444" y="438856"/>
                </a:cubicBezTo>
                <a:lnTo>
                  <a:pt x="3771360" y="438755"/>
                </a:lnTo>
                <a:lnTo>
                  <a:pt x="3770045" y="437023"/>
                </a:lnTo>
                <a:cubicBezTo>
                  <a:pt x="3769283" y="435439"/>
                  <a:pt x="3768607" y="433533"/>
                  <a:pt x="3767770" y="431124"/>
                </a:cubicBezTo>
                <a:cubicBezTo>
                  <a:pt x="3772945" y="429520"/>
                  <a:pt x="3776974" y="428875"/>
                  <a:pt x="3779941" y="428864"/>
                </a:cubicBezTo>
                <a:close/>
                <a:moveTo>
                  <a:pt x="2542821" y="428239"/>
                </a:moveTo>
                <a:lnTo>
                  <a:pt x="2543288" y="428709"/>
                </a:lnTo>
                <a:lnTo>
                  <a:pt x="2544118" y="428931"/>
                </a:lnTo>
                <a:cubicBezTo>
                  <a:pt x="2545646" y="428766"/>
                  <a:pt x="2547172" y="428600"/>
                  <a:pt x="2548366" y="428575"/>
                </a:cubicBezTo>
                <a:cubicBezTo>
                  <a:pt x="2552142" y="431081"/>
                  <a:pt x="2553533" y="433639"/>
                  <a:pt x="2552717" y="437791"/>
                </a:cubicBezTo>
                <a:lnTo>
                  <a:pt x="2551466" y="438031"/>
                </a:lnTo>
                <a:lnTo>
                  <a:pt x="2552153" y="438790"/>
                </a:lnTo>
                <a:cubicBezTo>
                  <a:pt x="2553755" y="439449"/>
                  <a:pt x="2554794" y="441107"/>
                  <a:pt x="2556397" y="441766"/>
                </a:cubicBezTo>
                <a:cubicBezTo>
                  <a:pt x="2556397" y="441766"/>
                  <a:pt x="2556397" y="441766"/>
                  <a:pt x="2555833" y="442766"/>
                </a:cubicBezTo>
                <a:lnTo>
                  <a:pt x="2547657" y="438965"/>
                </a:lnTo>
                <a:lnTo>
                  <a:pt x="2546742" y="439064"/>
                </a:lnTo>
                <a:cubicBezTo>
                  <a:pt x="2545519" y="439198"/>
                  <a:pt x="2543802" y="438967"/>
                  <a:pt x="2539755" y="438573"/>
                </a:cubicBezTo>
                <a:lnTo>
                  <a:pt x="2539435" y="434233"/>
                </a:lnTo>
                <a:lnTo>
                  <a:pt x="2537642" y="433177"/>
                </a:lnTo>
                <a:cubicBezTo>
                  <a:pt x="2536985" y="432310"/>
                  <a:pt x="2536603" y="431518"/>
                  <a:pt x="2536528" y="430693"/>
                </a:cubicBezTo>
                <a:lnTo>
                  <a:pt x="2538735" y="429099"/>
                </a:lnTo>
                <a:lnTo>
                  <a:pt x="2538907" y="428455"/>
                </a:lnTo>
                <a:lnTo>
                  <a:pt x="2540348" y="428612"/>
                </a:lnTo>
                <a:close/>
                <a:moveTo>
                  <a:pt x="2261789" y="427803"/>
                </a:moveTo>
                <a:cubicBezTo>
                  <a:pt x="2262971" y="437779"/>
                  <a:pt x="2265393" y="448664"/>
                  <a:pt x="2254997" y="450938"/>
                </a:cubicBezTo>
                <a:cubicBezTo>
                  <a:pt x="2250552" y="448713"/>
                  <a:pt x="2248895" y="444934"/>
                  <a:pt x="2248766" y="440988"/>
                </a:cubicBezTo>
                <a:cubicBezTo>
                  <a:pt x="2248637" y="437044"/>
                  <a:pt x="2249758" y="432860"/>
                  <a:pt x="2251394" y="430077"/>
                </a:cubicBezTo>
                <a:cubicBezTo>
                  <a:pt x="2256108" y="430190"/>
                  <a:pt x="2257074" y="427689"/>
                  <a:pt x="2261789" y="427803"/>
                </a:cubicBezTo>
                <a:close/>
                <a:moveTo>
                  <a:pt x="3675710" y="427157"/>
                </a:moveTo>
                <a:cubicBezTo>
                  <a:pt x="3681895" y="427318"/>
                  <a:pt x="3691637" y="429699"/>
                  <a:pt x="3691684" y="430632"/>
                </a:cubicBezTo>
                <a:cubicBezTo>
                  <a:pt x="3693460" y="430647"/>
                  <a:pt x="3693419" y="431902"/>
                  <a:pt x="3695195" y="431917"/>
                </a:cubicBezTo>
                <a:cubicBezTo>
                  <a:pt x="3695195" y="431917"/>
                  <a:pt x="3696942" y="432041"/>
                  <a:pt x="3698706" y="433203"/>
                </a:cubicBezTo>
                <a:cubicBezTo>
                  <a:pt x="3700717" y="434547"/>
                  <a:pt x="3702483" y="435710"/>
                  <a:pt x="3700962" y="438062"/>
                </a:cubicBezTo>
                <a:cubicBezTo>
                  <a:pt x="3694045" y="436209"/>
                  <a:pt x="3688701" y="435122"/>
                  <a:pt x="3683939" y="434077"/>
                </a:cubicBezTo>
                <a:cubicBezTo>
                  <a:pt x="3679178" y="433031"/>
                  <a:pt x="3674970" y="432133"/>
                  <a:pt x="3669551" y="430221"/>
                </a:cubicBezTo>
                <a:cubicBezTo>
                  <a:pt x="3669285" y="428999"/>
                  <a:pt x="3671061" y="429015"/>
                  <a:pt x="3671071" y="427869"/>
                </a:cubicBezTo>
                <a:cubicBezTo>
                  <a:pt x="3671826" y="427265"/>
                  <a:pt x="3673658" y="427067"/>
                  <a:pt x="3675710" y="427157"/>
                </a:cubicBezTo>
                <a:close/>
                <a:moveTo>
                  <a:pt x="1119872" y="427157"/>
                </a:moveTo>
                <a:cubicBezTo>
                  <a:pt x="1118945" y="437259"/>
                  <a:pt x="1120925" y="442044"/>
                  <a:pt x="1118855" y="449769"/>
                </a:cubicBezTo>
                <a:cubicBezTo>
                  <a:pt x="1117023" y="449968"/>
                  <a:pt x="1116727" y="448854"/>
                  <a:pt x="1115201" y="449020"/>
                </a:cubicBezTo>
                <a:cubicBezTo>
                  <a:pt x="1114122" y="448617"/>
                  <a:pt x="1113274" y="447354"/>
                  <a:pt x="1112760" y="445951"/>
                </a:cubicBezTo>
                <a:cubicBezTo>
                  <a:pt x="1110942" y="441669"/>
                  <a:pt x="1111341" y="434646"/>
                  <a:pt x="1112593" y="434407"/>
                </a:cubicBezTo>
                <a:cubicBezTo>
                  <a:pt x="1112020" y="433218"/>
                  <a:pt x="1113825" y="433126"/>
                  <a:pt x="1113253" y="431938"/>
                </a:cubicBezTo>
                <a:cubicBezTo>
                  <a:pt x="1113253" y="431938"/>
                  <a:pt x="1112710" y="430643"/>
                  <a:pt x="1113667" y="429289"/>
                </a:cubicBezTo>
                <a:cubicBezTo>
                  <a:pt x="1114928" y="427901"/>
                  <a:pt x="1116190" y="426515"/>
                  <a:pt x="1119872" y="427157"/>
                </a:cubicBezTo>
                <a:close/>
                <a:moveTo>
                  <a:pt x="3364328" y="427098"/>
                </a:moveTo>
                <a:cubicBezTo>
                  <a:pt x="3367839" y="428384"/>
                  <a:pt x="3371101" y="429488"/>
                  <a:pt x="3374612" y="430774"/>
                </a:cubicBezTo>
                <a:cubicBezTo>
                  <a:pt x="3380153" y="434444"/>
                  <a:pt x="3385695" y="438113"/>
                  <a:pt x="3382695" y="441564"/>
                </a:cubicBezTo>
                <a:cubicBezTo>
                  <a:pt x="3375644" y="439100"/>
                  <a:pt x="3370386" y="437691"/>
                  <a:pt x="3363335" y="435228"/>
                </a:cubicBezTo>
                <a:cubicBezTo>
                  <a:pt x="3362592" y="434683"/>
                  <a:pt x="3361219" y="433165"/>
                  <a:pt x="3360152" y="431615"/>
                </a:cubicBezTo>
                <a:cubicBezTo>
                  <a:pt x="3359056" y="430171"/>
                  <a:pt x="3358571" y="428661"/>
                  <a:pt x="3359325" y="428057"/>
                </a:cubicBezTo>
                <a:cubicBezTo>
                  <a:pt x="3360806" y="426959"/>
                  <a:pt x="3362581" y="426975"/>
                  <a:pt x="3364328" y="427098"/>
                </a:cubicBezTo>
                <a:close/>
                <a:moveTo>
                  <a:pt x="3050922" y="426842"/>
                </a:moveTo>
                <a:cubicBezTo>
                  <a:pt x="3056312" y="428861"/>
                  <a:pt x="3055080" y="430141"/>
                  <a:pt x="3052586" y="432808"/>
                </a:cubicBezTo>
                <a:cubicBezTo>
                  <a:pt x="3050954" y="432256"/>
                  <a:pt x="3049323" y="431704"/>
                  <a:pt x="3048941" y="430912"/>
                </a:cubicBezTo>
                <a:cubicBezTo>
                  <a:pt x="3048284" y="430046"/>
                  <a:pt x="3048323" y="428791"/>
                  <a:pt x="3049424" y="426901"/>
                </a:cubicBezTo>
                <a:cubicBezTo>
                  <a:pt x="3049424" y="426901"/>
                  <a:pt x="3050922" y="426842"/>
                  <a:pt x="3050922" y="426842"/>
                </a:cubicBezTo>
                <a:close/>
                <a:moveTo>
                  <a:pt x="4081974" y="426188"/>
                </a:moveTo>
                <a:cubicBezTo>
                  <a:pt x="4083641" y="428820"/>
                  <a:pt x="4086027" y="428769"/>
                  <a:pt x="4085240" y="432813"/>
                </a:cubicBezTo>
                <a:cubicBezTo>
                  <a:pt x="4082883" y="432756"/>
                  <a:pt x="4080525" y="432700"/>
                  <a:pt x="4078445" y="432717"/>
                </a:cubicBezTo>
                <a:cubicBezTo>
                  <a:pt x="4077866" y="429342"/>
                  <a:pt x="4077536" y="426149"/>
                  <a:pt x="4081974" y="426188"/>
                </a:cubicBezTo>
                <a:close/>
                <a:moveTo>
                  <a:pt x="3749126" y="425438"/>
                </a:moveTo>
                <a:cubicBezTo>
                  <a:pt x="3752401" y="425395"/>
                  <a:pt x="3756857" y="426474"/>
                  <a:pt x="3761607" y="428667"/>
                </a:cubicBezTo>
                <a:cubicBezTo>
                  <a:pt x="3768492" y="433963"/>
                  <a:pt x="3763964" y="446434"/>
                  <a:pt x="3756137" y="446867"/>
                </a:cubicBezTo>
                <a:cubicBezTo>
                  <a:pt x="3751548" y="445176"/>
                  <a:pt x="3746960" y="443487"/>
                  <a:pt x="3742676" y="441764"/>
                </a:cubicBezTo>
                <a:cubicBezTo>
                  <a:pt x="3736794" y="436049"/>
                  <a:pt x="3737297" y="429743"/>
                  <a:pt x="3742511" y="426885"/>
                </a:cubicBezTo>
                <a:cubicBezTo>
                  <a:pt x="3744240" y="425968"/>
                  <a:pt x="3746463" y="425415"/>
                  <a:pt x="3749126" y="425438"/>
                </a:cubicBezTo>
                <a:close/>
                <a:moveTo>
                  <a:pt x="3146978" y="424750"/>
                </a:moveTo>
                <a:cubicBezTo>
                  <a:pt x="3149526" y="425203"/>
                  <a:pt x="3151711" y="425903"/>
                  <a:pt x="3154000" y="427322"/>
                </a:cubicBezTo>
                <a:cubicBezTo>
                  <a:pt x="3157550" y="427353"/>
                  <a:pt x="3162140" y="429043"/>
                  <a:pt x="3165086" y="431327"/>
                </a:cubicBezTo>
                <a:cubicBezTo>
                  <a:pt x="3167469" y="434611"/>
                  <a:pt x="3166865" y="436864"/>
                  <a:pt x="3164946" y="437384"/>
                </a:cubicBezTo>
                <a:cubicBezTo>
                  <a:pt x="3157899" y="440441"/>
                  <a:pt x="3151028" y="439520"/>
                  <a:pt x="3145522" y="437930"/>
                </a:cubicBezTo>
                <a:cubicBezTo>
                  <a:pt x="3140323" y="436308"/>
                  <a:pt x="3136212" y="433940"/>
                  <a:pt x="3134437" y="433925"/>
                </a:cubicBezTo>
                <a:cubicBezTo>
                  <a:pt x="3130739" y="428909"/>
                  <a:pt x="3130739" y="428909"/>
                  <a:pt x="3140679" y="425017"/>
                </a:cubicBezTo>
                <a:cubicBezTo>
                  <a:pt x="3142597" y="424496"/>
                  <a:pt x="3144707" y="424372"/>
                  <a:pt x="3146978" y="424750"/>
                </a:cubicBezTo>
                <a:close/>
                <a:moveTo>
                  <a:pt x="3306540" y="424724"/>
                </a:moveTo>
                <a:cubicBezTo>
                  <a:pt x="3308143" y="425383"/>
                  <a:pt x="3306511" y="424831"/>
                  <a:pt x="3309152" y="427149"/>
                </a:cubicBezTo>
                <a:cubicBezTo>
                  <a:pt x="3308178" y="427463"/>
                  <a:pt x="3307930" y="427282"/>
                  <a:pt x="3307464" y="426811"/>
                </a:cubicBezTo>
                <a:cubicBezTo>
                  <a:pt x="3307273" y="426415"/>
                  <a:pt x="3307168" y="425697"/>
                  <a:pt x="3306540" y="424724"/>
                </a:cubicBezTo>
                <a:close/>
                <a:moveTo>
                  <a:pt x="4149102" y="423589"/>
                </a:moveTo>
                <a:cubicBezTo>
                  <a:pt x="4157712" y="422447"/>
                  <a:pt x="4172194" y="428167"/>
                  <a:pt x="4182608" y="435788"/>
                </a:cubicBezTo>
                <a:cubicBezTo>
                  <a:pt x="4193328" y="443375"/>
                  <a:pt x="4199979" y="452862"/>
                  <a:pt x="4193758" y="459476"/>
                </a:cubicBezTo>
                <a:cubicBezTo>
                  <a:pt x="4183534" y="443396"/>
                  <a:pt x="4156029" y="442006"/>
                  <a:pt x="4149102" y="423589"/>
                </a:cubicBezTo>
                <a:close/>
                <a:moveTo>
                  <a:pt x="1975914" y="423309"/>
                </a:moveTo>
                <a:cubicBezTo>
                  <a:pt x="1978329" y="423151"/>
                  <a:pt x="1981764" y="423612"/>
                  <a:pt x="1985437" y="425400"/>
                </a:cubicBezTo>
                <a:cubicBezTo>
                  <a:pt x="1987172" y="426671"/>
                  <a:pt x="1990939" y="430325"/>
                  <a:pt x="1989192" y="430202"/>
                </a:cubicBezTo>
                <a:cubicBezTo>
                  <a:pt x="1987683" y="431407"/>
                  <a:pt x="1989153" y="431457"/>
                  <a:pt x="1989418" y="432678"/>
                </a:cubicBezTo>
                <a:cubicBezTo>
                  <a:pt x="1984643" y="436113"/>
                  <a:pt x="1979917" y="437147"/>
                  <a:pt x="1974642" y="434698"/>
                </a:cubicBezTo>
                <a:cubicBezTo>
                  <a:pt x="1971886" y="432810"/>
                  <a:pt x="1968109" y="430302"/>
                  <a:pt x="1967634" y="427645"/>
                </a:cubicBezTo>
                <a:cubicBezTo>
                  <a:pt x="1967559" y="426821"/>
                  <a:pt x="1967789" y="425962"/>
                  <a:pt x="1968601" y="425144"/>
                </a:cubicBezTo>
                <a:cubicBezTo>
                  <a:pt x="1970377" y="425160"/>
                  <a:pt x="1970110" y="423939"/>
                  <a:pt x="1971886" y="423954"/>
                </a:cubicBezTo>
                <a:cubicBezTo>
                  <a:pt x="1971886" y="423954"/>
                  <a:pt x="1973528" y="423360"/>
                  <a:pt x="1975914" y="423309"/>
                </a:cubicBezTo>
                <a:close/>
                <a:moveTo>
                  <a:pt x="2463809" y="423168"/>
                </a:moveTo>
                <a:cubicBezTo>
                  <a:pt x="2465728" y="422647"/>
                  <a:pt x="2468934" y="423967"/>
                  <a:pt x="2473207" y="426836"/>
                </a:cubicBezTo>
                <a:cubicBezTo>
                  <a:pt x="2473929" y="429675"/>
                  <a:pt x="2467924" y="431056"/>
                  <a:pt x="2465717" y="432650"/>
                </a:cubicBezTo>
                <a:cubicBezTo>
                  <a:pt x="2464402" y="430917"/>
                  <a:pt x="2463363" y="429259"/>
                  <a:pt x="2462799" y="430257"/>
                </a:cubicBezTo>
                <a:cubicBezTo>
                  <a:pt x="2461760" y="428599"/>
                  <a:pt x="2461523" y="427270"/>
                  <a:pt x="2461533" y="426124"/>
                </a:cubicBezTo>
                <a:cubicBezTo>
                  <a:pt x="2461850" y="424944"/>
                  <a:pt x="2462692" y="424019"/>
                  <a:pt x="2463809" y="423168"/>
                </a:cubicBezTo>
                <a:close/>
                <a:moveTo>
                  <a:pt x="2454132" y="422759"/>
                </a:moveTo>
                <a:cubicBezTo>
                  <a:pt x="2459633" y="427684"/>
                  <a:pt x="2458623" y="425919"/>
                  <a:pt x="2461117" y="432107"/>
                </a:cubicBezTo>
                <a:lnTo>
                  <a:pt x="2451475" y="433779"/>
                </a:lnTo>
                <a:lnTo>
                  <a:pt x="2455162" y="439942"/>
                </a:lnTo>
                <a:cubicBezTo>
                  <a:pt x="2456381" y="443143"/>
                  <a:pt x="2456549" y="445833"/>
                  <a:pt x="2456683" y="446445"/>
                </a:cubicBezTo>
                <a:cubicBezTo>
                  <a:pt x="2455156" y="446610"/>
                  <a:pt x="2455156" y="446610"/>
                  <a:pt x="2455156" y="446610"/>
                </a:cubicBezTo>
                <a:cubicBezTo>
                  <a:pt x="2455550" y="442921"/>
                  <a:pt x="2450095" y="438929"/>
                  <a:pt x="2448001" y="434572"/>
                </a:cubicBezTo>
                <a:lnTo>
                  <a:pt x="2447878" y="432815"/>
                </a:lnTo>
                <a:lnTo>
                  <a:pt x="2444324" y="427263"/>
                </a:lnTo>
                <a:cubicBezTo>
                  <a:pt x="2446046" y="424159"/>
                  <a:pt x="2448500" y="422746"/>
                  <a:pt x="2454132" y="422759"/>
                </a:cubicBezTo>
                <a:close/>
                <a:moveTo>
                  <a:pt x="2802603" y="422751"/>
                </a:moveTo>
                <a:cubicBezTo>
                  <a:pt x="2808177" y="422980"/>
                  <a:pt x="2818059" y="428158"/>
                  <a:pt x="2816212" y="432838"/>
                </a:cubicBezTo>
                <a:cubicBezTo>
                  <a:pt x="2814865" y="434547"/>
                  <a:pt x="2809538" y="434501"/>
                  <a:pt x="2804921" y="432917"/>
                </a:cubicBezTo>
                <a:cubicBezTo>
                  <a:pt x="2800580" y="431409"/>
                  <a:pt x="2796670" y="428291"/>
                  <a:pt x="2798927" y="424296"/>
                </a:cubicBezTo>
                <a:cubicBezTo>
                  <a:pt x="2799243" y="423116"/>
                  <a:pt x="2800551" y="422662"/>
                  <a:pt x="2802603" y="422751"/>
                </a:cubicBezTo>
                <a:close/>
                <a:moveTo>
                  <a:pt x="2571144" y="422144"/>
                </a:moveTo>
                <a:cubicBezTo>
                  <a:pt x="2573065" y="421623"/>
                  <a:pt x="2576615" y="421654"/>
                  <a:pt x="2578663" y="425078"/>
                </a:cubicBezTo>
                <a:cubicBezTo>
                  <a:pt x="2582620" y="429128"/>
                  <a:pt x="2581423" y="432487"/>
                  <a:pt x="2578623" y="435188"/>
                </a:cubicBezTo>
                <a:cubicBezTo>
                  <a:pt x="2579345" y="438025"/>
                  <a:pt x="2581987" y="440344"/>
                  <a:pt x="2579475" y="441970"/>
                </a:cubicBezTo>
                <a:cubicBezTo>
                  <a:pt x="2577715" y="437474"/>
                  <a:pt x="2576704" y="435708"/>
                  <a:pt x="2575981" y="432869"/>
                </a:cubicBezTo>
                <a:cubicBezTo>
                  <a:pt x="2574351" y="432317"/>
                  <a:pt x="2572748" y="431658"/>
                  <a:pt x="2571709" y="430000"/>
                </a:cubicBezTo>
                <a:cubicBezTo>
                  <a:pt x="2569385" y="426502"/>
                  <a:pt x="2571867" y="424983"/>
                  <a:pt x="2571144" y="422144"/>
                </a:cubicBezTo>
                <a:close/>
                <a:moveTo>
                  <a:pt x="2778152" y="421030"/>
                </a:moveTo>
                <a:cubicBezTo>
                  <a:pt x="2784898" y="423527"/>
                  <a:pt x="2785038" y="426325"/>
                  <a:pt x="2783219" y="430898"/>
                </a:cubicBezTo>
                <a:cubicBezTo>
                  <a:pt x="2773039" y="427940"/>
                  <a:pt x="2774778" y="425876"/>
                  <a:pt x="2778152" y="421030"/>
                </a:cubicBezTo>
                <a:close/>
                <a:moveTo>
                  <a:pt x="1479250" y="420755"/>
                </a:moveTo>
                <a:cubicBezTo>
                  <a:pt x="1481055" y="420663"/>
                  <a:pt x="1481321" y="421885"/>
                  <a:pt x="1483143" y="422833"/>
                </a:cubicBezTo>
                <a:cubicBezTo>
                  <a:pt x="1483686" y="424128"/>
                  <a:pt x="1482177" y="425334"/>
                  <a:pt x="1482177" y="425334"/>
                </a:cubicBezTo>
                <a:cubicBezTo>
                  <a:pt x="1480944" y="426614"/>
                  <a:pt x="1480944" y="426614"/>
                  <a:pt x="1482737" y="427669"/>
                </a:cubicBezTo>
                <a:cubicBezTo>
                  <a:pt x="1482737" y="427669"/>
                  <a:pt x="1481209" y="427835"/>
                  <a:pt x="1481209" y="427835"/>
                </a:cubicBezTo>
                <a:cubicBezTo>
                  <a:pt x="1480915" y="426722"/>
                  <a:pt x="1481209" y="427835"/>
                  <a:pt x="1479976" y="429115"/>
                </a:cubicBezTo>
                <a:cubicBezTo>
                  <a:pt x="1478040" y="428596"/>
                  <a:pt x="1476628" y="428333"/>
                  <a:pt x="1475492" y="428143"/>
                </a:cubicBezTo>
                <a:cubicBezTo>
                  <a:pt x="1474356" y="427954"/>
                  <a:pt x="1473526" y="427731"/>
                  <a:pt x="1472505" y="427113"/>
                </a:cubicBezTo>
                <a:cubicBezTo>
                  <a:pt x="1471457" y="426601"/>
                  <a:pt x="1470493" y="425769"/>
                  <a:pt x="1469836" y="424903"/>
                </a:cubicBezTo>
                <a:cubicBezTo>
                  <a:pt x="1469178" y="424036"/>
                  <a:pt x="1468826" y="423136"/>
                  <a:pt x="1469580" y="422534"/>
                </a:cubicBezTo>
                <a:cubicBezTo>
                  <a:pt x="1471108" y="422368"/>
                  <a:pt x="1470814" y="421255"/>
                  <a:pt x="1472617" y="421162"/>
                </a:cubicBezTo>
                <a:cubicBezTo>
                  <a:pt x="1475653" y="419791"/>
                  <a:pt x="1477180" y="419625"/>
                  <a:pt x="1479250" y="420755"/>
                </a:cubicBezTo>
                <a:close/>
                <a:moveTo>
                  <a:pt x="3422594" y="419940"/>
                </a:moveTo>
                <a:cubicBezTo>
                  <a:pt x="3428854" y="420928"/>
                  <a:pt x="3437554" y="424984"/>
                  <a:pt x="3441579" y="427672"/>
                </a:cubicBezTo>
                <a:cubicBezTo>
                  <a:pt x="3440547" y="428201"/>
                  <a:pt x="3438744" y="428292"/>
                  <a:pt x="3436749" y="427988"/>
                </a:cubicBezTo>
                <a:cubicBezTo>
                  <a:pt x="3430489" y="427001"/>
                  <a:pt x="3421818" y="422837"/>
                  <a:pt x="3417794" y="420149"/>
                </a:cubicBezTo>
                <a:cubicBezTo>
                  <a:pt x="3418825" y="419619"/>
                  <a:pt x="3420600" y="419636"/>
                  <a:pt x="3422594" y="419940"/>
                </a:cubicBezTo>
                <a:close/>
                <a:moveTo>
                  <a:pt x="2765880" y="419237"/>
                </a:moveTo>
                <a:cubicBezTo>
                  <a:pt x="2768008" y="420152"/>
                  <a:pt x="2766333" y="424188"/>
                  <a:pt x="2766875" y="425483"/>
                </a:cubicBezTo>
                <a:cubicBezTo>
                  <a:pt x="2765072" y="425575"/>
                  <a:pt x="2762916" y="424767"/>
                  <a:pt x="2761389" y="424934"/>
                </a:cubicBezTo>
                <a:cubicBezTo>
                  <a:pt x="2760817" y="423745"/>
                  <a:pt x="2759980" y="421336"/>
                  <a:pt x="2760965" y="419874"/>
                </a:cubicBezTo>
                <a:cubicBezTo>
                  <a:pt x="2760670" y="418761"/>
                  <a:pt x="2765880" y="419237"/>
                  <a:pt x="2765880" y="419237"/>
                </a:cubicBezTo>
                <a:close/>
                <a:moveTo>
                  <a:pt x="2650042" y="418788"/>
                </a:moveTo>
                <a:cubicBezTo>
                  <a:pt x="2653477" y="419249"/>
                  <a:pt x="2656424" y="421533"/>
                  <a:pt x="2658922" y="424387"/>
                </a:cubicBezTo>
                <a:lnTo>
                  <a:pt x="2662897" y="429478"/>
                </a:lnTo>
                <a:lnTo>
                  <a:pt x="2663593" y="429089"/>
                </a:lnTo>
                <a:cubicBezTo>
                  <a:pt x="2665121" y="428924"/>
                  <a:pt x="2666839" y="429154"/>
                  <a:pt x="2668631" y="430210"/>
                </a:cubicBezTo>
                <a:cubicBezTo>
                  <a:pt x="2674298" y="432303"/>
                  <a:pt x="2675096" y="435966"/>
                  <a:pt x="2674424" y="439582"/>
                </a:cubicBezTo>
                <a:cubicBezTo>
                  <a:pt x="2676759" y="441933"/>
                  <a:pt x="2680356" y="442897"/>
                  <a:pt x="2679390" y="445397"/>
                </a:cubicBezTo>
                <a:cubicBezTo>
                  <a:pt x="2675232" y="442098"/>
                  <a:pt x="2673191" y="440861"/>
                  <a:pt x="2671132" y="438585"/>
                </a:cubicBezTo>
                <a:cubicBezTo>
                  <a:pt x="2669328" y="438676"/>
                  <a:pt x="2667524" y="438768"/>
                  <a:pt x="2665731" y="437712"/>
                </a:cubicBezTo>
                <a:lnTo>
                  <a:pt x="2663672" y="435435"/>
                </a:lnTo>
                <a:lnTo>
                  <a:pt x="2661753" y="435957"/>
                </a:lnTo>
                <a:cubicBezTo>
                  <a:pt x="2660445" y="436410"/>
                  <a:pt x="2659108" y="436972"/>
                  <a:pt x="2657685" y="437857"/>
                </a:cubicBezTo>
                <a:cubicBezTo>
                  <a:pt x="2653370" y="430719"/>
                  <a:pt x="2647189" y="427224"/>
                  <a:pt x="2647393" y="423138"/>
                </a:cubicBezTo>
                <a:cubicBezTo>
                  <a:pt x="2647462" y="421777"/>
                  <a:pt x="2648141" y="420349"/>
                  <a:pt x="2650042" y="418788"/>
                </a:cubicBezTo>
                <a:close/>
                <a:moveTo>
                  <a:pt x="869175" y="416449"/>
                </a:moveTo>
                <a:cubicBezTo>
                  <a:pt x="873765" y="418138"/>
                  <a:pt x="876739" y="420315"/>
                  <a:pt x="881051" y="421930"/>
                </a:cubicBezTo>
                <a:cubicBezTo>
                  <a:pt x="881666" y="427385"/>
                  <a:pt x="875827" y="425935"/>
                  <a:pt x="869958" y="424594"/>
                </a:cubicBezTo>
                <a:cubicBezTo>
                  <a:pt x="869789" y="421903"/>
                  <a:pt x="866756" y="419940"/>
                  <a:pt x="869175" y="416449"/>
                </a:cubicBezTo>
                <a:close/>
                <a:moveTo>
                  <a:pt x="1170240" y="416272"/>
                </a:moveTo>
                <a:cubicBezTo>
                  <a:pt x="1175703" y="413596"/>
                  <a:pt x="1191018" y="416204"/>
                  <a:pt x="1179440" y="426212"/>
                </a:cubicBezTo>
                <a:cubicBezTo>
                  <a:pt x="1167142" y="421193"/>
                  <a:pt x="1166869" y="417784"/>
                  <a:pt x="1170240" y="416272"/>
                </a:cubicBezTo>
                <a:close/>
                <a:moveTo>
                  <a:pt x="1518399" y="414109"/>
                </a:moveTo>
                <a:cubicBezTo>
                  <a:pt x="1520318" y="413589"/>
                  <a:pt x="1522237" y="413068"/>
                  <a:pt x="1525156" y="415460"/>
                </a:cubicBezTo>
                <a:cubicBezTo>
                  <a:pt x="1517073" y="422379"/>
                  <a:pt x="1515284" y="426845"/>
                  <a:pt x="1508082" y="431586"/>
                </a:cubicBezTo>
                <a:cubicBezTo>
                  <a:pt x="1506452" y="431034"/>
                  <a:pt x="1506767" y="429853"/>
                  <a:pt x="1505441" y="429268"/>
                </a:cubicBezTo>
                <a:cubicBezTo>
                  <a:pt x="1504784" y="428402"/>
                  <a:pt x="1504822" y="427147"/>
                  <a:pt x="1505196" y="425753"/>
                </a:cubicBezTo>
                <a:cubicBezTo>
                  <a:pt x="1506842" y="421823"/>
                  <a:pt x="1512354" y="416745"/>
                  <a:pt x="1513433" y="417149"/>
                </a:cubicBezTo>
                <a:cubicBezTo>
                  <a:pt x="1513997" y="416151"/>
                  <a:pt x="1515629" y="416703"/>
                  <a:pt x="1515916" y="415629"/>
                </a:cubicBezTo>
                <a:cubicBezTo>
                  <a:pt x="1515916" y="415629"/>
                  <a:pt x="1516480" y="414630"/>
                  <a:pt x="1518399" y="414109"/>
                </a:cubicBezTo>
                <a:close/>
                <a:moveTo>
                  <a:pt x="3052377" y="413662"/>
                </a:moveTo>
                <a:cubicBezTo>
                  <a:pt x="3054447" y="414792"/>
                  <a:pt x="3051972" y="418499"/>
                  <a:pt x="3052238" y="419720"/>
                </a:cubicBezTo>
                <a:cubicBezTo>
                  <a:pt x="3050710" y="419885"/>
                  <a:pt x="3048640" y="418756"/>
                  <a:pt x="3046836" y="418847"/>
                </a:cubicBezTo>
                <a:cubicBezTo>
                  <a:pt x="3046570" y="417626"/>
                  <a:pt x="3046010" y="415291"/>
                  <a:pt x="3047272" y="413904"/>
                </a:cubicBezTo>
                <a:cubicBezTo>
                  <a:pt x="3047006" y="412682"/>
                  <a:pt x="3052377" y="413662"/>
                  <a:pt x="3052377" y="413662"/>
                </a:cubicBezTo>
                <a:close/>
                <a:moveTo>
                  <a:pt x="4144675" y="413548"/>
                </a:moveTo>
                <a:cubicBezTo>
                  <a:pt x="4144893" y="413837"/>
                  <a:pt x="4145885" y="414562"/>
                  <a:pt x="4147517" y="415114"/>
                </a:cubicBezTo>
                <a:cubicBezTo>
                  <a:pt x="4149281" y="416278"/>
                  <a:pt x="4151056" y="416294"/>
                  <a:pt x="4149576" y="417392"/>
                </a:cubicBezTo>
                <a:cubicBezTo>
                  <a:pt x="4147819" y="418415"/>
                  <a:pt x="4147819" y="418415"/>
                  <a:pt x="4143103" y="418303"/>
                </a:cubicBezTo>
                <a:cubicBezTo>
                  <a:pt x="4144584" y="417205"/>
                  <a:pt x="4144584" y="417205"/>
                  <a:pt x="4142820" y="416041"/>
                </a:cubicBezTo>
                <a:cubicBezTo>
                  <a:pt x="4142820" y="416041"/>
                  <a:pt x="4142820" y="416041"/>
                  <a:pt x="4141045" y="416025"/>
                </a:cubicBezTo>
                <a:cubicBezTo>
                  <a:pt x="4141056" y="414878"/>
                  <a:pt x="4142802" y="415001"/>
                  <a:pt x="4142508" y="413887"/>
                </a:cubicBezTo>
                <a:cubicBezTo>
                  <a:pt x="4142508" y="413887"/>
                  <a:pt x="4144282" y="413903"/>
                  <a:pt x="4144282" y="413903"/>
                </a:cubicBezTo>
                <a:cubicBezTo>
                  <a:pt x="4144150" y="413293"/>
                  <a:pt x="4144150" y="413293"/>
                  <a:pt x="4144675" y="413548"/>
                </a:cubicBezTo>
                <a:close/>
                <a:moveTo>
                  <a:pt x="3290197" y="410455"/>
                </a:moveTo>
                <a:cubicBezTo>
                  <a:pt x="3291961" y="411617"/>
                  <a:pt x="3293991" y="414002"/>
                  <a:pt x="3290725" y="416231"/>
                </a:cubicBezTo>
                <a:cubicBezTo>
                  <a:pt x="3287753" y="419575"/>
                  <a:pt x="3282733" y="419495"/>
                  <a:pt x="3277446" y="418193"/>
                </a:cubicBezTo>
                <a:cubicBezTo>
                  <a:pt x="3274162" y="419383"/>
                  <a:pt x="3272671" y="421628"/>
                  <a:pt x="3269160" y="420343"/>
                </a:cubicBezTo>
                <a:cubicBezTo>
                  <a:pt x="3273896" y="418162"/>
                  <a:pt x="3275654" y="417138"/>
                  <a:pt x="3278909" y="416055"/>
                </a:cubicBezTo>
                <a:cubicBezTo>
                  <a:pt x="3278643" y="414834"/>
                  <a:pt x="3278654" y="413686"/>
                  <a:pt x="3280135" y="412588"/>
                </a:cubicBezTo>
                <a:cubicBezTo>
                  <a:pt x="3283401" y="410359"/>
                  <a:pt x="3286941" y="411537"/>
                  <a:pt x="3290197" y="410455"/>
                </a:cubicBezTo>
                <a:close/>
                <a:moveTo>
                  <a:pt x="4859488" y="409924"/>
                </a:moveTo>
                <a:cubicBezTo>
                  <a:pt x="4866572" y="417802"/>
                  <a:pt x="4881819" y="412918"/>
                  <a:pt x="4889649" y="418006"/>
                </a:cubicBezTo>
                <a:cubicBezTo>
                  <a:pt x="4913352" y="457937"/>
                  <a:pt x="4893947" y="468378"/>
                  <a:pt x="4868428" y="465105"/>
                </a:cubicBezTo>
                <a:cubicBezTo>
                  <a:pt x="4862970" y="464448"/>
                  <a:pt x="4857378" y="463180"/>
                  <a:pt x="4851901" y="461483"/>
                </a:cubicBezTo>
                <a:cubicBezTo>
                  <a:pt x="4813012" y="449451"/>
                  <a:pt x="4777268" y="415724"/>
                  <a:pt x="4859488" y="409924"/>
                </a:cubicBezTo>
                <a:close/>
                <a:moveTo>
                  <a:pt x="2637770" y="408140"/>
                </a:moveTo>
                <a:cubicBezTo>
                  <a:pt x="2638431" y="405673"/>
                  <a:pt x="2642381" y="407535"/>
                  <a:pt x="2644480" y="408557"/>
                </a:cubicBezTo>
                <a:cubicBezTo>
                  <a:pt x="2639869" y="409163"/>
                  <a:pt x="2638637" y="410442"/>
                  <a:pt x="2638341" y="409329"/>
                </a:cubicBezTo>
                <a:cubicBezTo>
                  <a:pt x="2636814" y="409494"/>
                  <a:pt x="2636214" y="408413"/>
                  <a:pt x="2637770" y="408140"/>
                </a:cubicBezTo>
                <a:close/>
                <a:moveTo>
                  <a:pt x="3588538" y="404948"/>
                </a:moveTo>
                <a:cubicBezTo>
                  <a:pt x="3590044" y="407077"/>
                  <a:pt x="3589670" y="408473"/>
                  <a:pt x="3588495" y="409537"/>
                </a:cubicBezTo>
                <a:lnTo>
                  <a:pt x="3587244" y="409777"/>
                </a:lnTo>
                <a:lnTo>
                  <a:pt x="3591708" y="413043"/>
                </a:lnTo>
                <a:cubicBezTo>
                  <a:pt x="3589526" y="417865"/>
                  <a:pt x="3590730" y="416691"/>
                  <a:pt x="3585095" y="420012"/>
                </a:cubicBezTo>
                <a:cubicBezTo>
                  <a:pt x="3581404" y="417182"/>
                  <a:pt x="3577715" y="414354"/>
                  <a:pt x="3574023" y="411525"/>
                </a:cubicBezTo>
                <a:lnTo>
                  <a:pt x="3576956" y="409435"/>
                </a:lnTo>
                <a:lnTo>
                  <a:pt x="3575633" y="405516"/>
                </a:lnTo>
                <a:cubicBezTo>
                  <a:pt x="3579109" y="404722"/>
                  <a:pt x="3583823" y="404835"/>
                  <a:pt x="3588538" y="404948"/>
                </a:cubicBezTo>
                <a:close/>
                <a:moveTo>
                  <a:pt x="1709517" y="403679"/>
                </a:moveTo>
                <a:cubicBezTo>
                  <a:pt x="1712732" y="403850"/>
                  <a:pt x="1716358" y="404706"/>
                  <a:pt x="1720498" y="406966"/>
                </a:cubicBezTo>
                <a:cubicBezTo>
                  <a:pt x="1729302" y="411740"/>
                  <a:pt x="1736863" y="418942"/>
                  <a:pt x="1726097" y="428131"/>
                </a:cubicBezTo>
                <a:cubicBezTo>
                  <a:pt x="1724604" y="430376"/>
                  <a:pt x="1724617" y="429230"/>
                  <a:pt x="1723135" y="430328"/>
                </a:cubicBezTo>
                <a:cubicBezTo>
                  <a:pt x="1721349" y="431460"/>
                  <a:pt x="1720107" y="433886"/>
                  <a:pt x="1720095" y="435034"/>
                </a:cubicBezTo>
                <a:cubicBezTo>
                  <a:pt x="1714906" y="432264"/>
                  <a:pt x="1711622" y="433453"/>
                  <a:pt x="1705868" y="431682"/>
                </a:cubicBezTo>
                <a:cubicBezTo>
                  <a:pt x="1703932" y="431162"/>
                  <a:pt x="1701804" y="430248"/>
                  <a:pt x="1699238" y="428755"/>
                </a:cubicBezTo>
                <a:cubicBezTo>
                  <a:pt x="1691921" y="425070"/>
                  <a:pt x="1689101" y="421208"/>
                  <a:pt x="1688274" y="417652"/>
                </a:cubicBezTo>
                <a:cubicBezTo>
                  <a:pt x="1687753" y="414062"/>
                  <a:pt x="1689504" y="410852"/>
                  <a:pt x="1691882" y="408614"/>
                </a:cubicBezTo>
                <a:cubicBezTo>
                  <a:pt x="1693150" y="409413"/>
                  <a:pt x="1699533" y="403304"/>
                  <a:pt x="1709517" y="403679"/>
                </a:cubicBezTo>
                <a:close/>
                <a:moveTo>
                  <a:pt x="2128282" y="403645"/>
                </a:moveTo>
                <a:cubicBezTo>
                  <a:pt x="2132397" y="402677"/>
                  <a:pt x="2135315" y="405070"/>
                  <a:pt x="2135315" y="405070"/>
                </a:cubicBezTo>
                <a:cubicBezTo>
                  <a:pt x="2138993" y="409045"/>
                  <a:pt x="2139429" y="412957"/>
                  <a:pt x="2134998" y="415105"/>
                </a:cubicBezTo>
                <a:cubicBezTo>
                  <a:pt x="2131476" y="414966"/>
                  <a:pt x="2128558" y="412575"/>
                  <a:pt x="2125916" y="410256"/>
                </a:cubicBezTo>
                <a:cubicBezTo>
                  <a:pt x="2124077" y="408268"/>
                  <a:pt x="2123564" y="406866"/>
                  <a:pt x="2124404" y="405941"/>
                </a:cubicBezTo>
                <a:cubicBezTo>
                  <a:pt x="2124997" y="404835"/>
                  <a:pt x="2126362" y="404166"/>
                  <a:pt x="2128282" y="403645"/>
                </a:cubicBezTo>
                <a:close/>
                <a:moveTo>
                  <a:pt x="4059083" y="403149"/>
                </a:moveTo>
                <a:cubicBezTo>
                  <a:pt x="4069670" y="410125"/>
                  <a:pt x="4067592" y="433374"/>
                  <a:pt x="4049944" y="433936"/>
                </a:cubicBezTo>
                <a:cubicBezTo>
                  <a:pt x="4051299" y="425559"/>
                  <a:pt x="4053893" y="418088"/>
                  <a:pt x="4049956" y="406224"/>
                </a:cubicBezTo>
                <a:cubicBezTo>
                  <a:pt x="4054670" y="406337"/>
                  <a:pt x="4053100" y="402236"/>
                  <a:pt x="4059083" y="403149"/>
                </a:cubicBezTo>
                <a:close/>
                <a:moveTo>
                  <a:pt x="3410998" y="402343"/>
                </a:moveTo>
                <a:cubicBezTo>
                  <a:pt x="3415684" y="402563"/>
                  <a:pt x="3422361" y="406423"/>
                  <a:pt x="3422605" y="409938"/>
                </a:cubicBezTo>
                <a:cubicBezTo>
                  <a:pt x="3419385" y="413100"/>
                  <a:pt x="3415903" y="411708"/>
                  <a:pt x="3414412" y="413952"/>
                </a:cubicBezTo>
                <a:cubicBezTo>
                  <a:pt x="3411074" y="412024"/>
                  <a:pt x="3409481" y="410216"/>
                  <a:pt x="3409111" y="408277"/>
                </a:cubicBezTo>
                <a:cubicBezTo>
                  <a:pt x="3408713" y="406445"/>
                  <a:pt x="3409259" y="404407"/>
                  <a:pt x="3410998" y="402343"/>
                </a:cubicBezTo>
                <a:close/>
                <a:moveTo>
                  <a:pt x="2243272" y="398820"/>
                </a:moveTo>
                <a:cubicBezTo>
                  <a:pt x="2245603" y="399115"/>
                  <a:pt x="2247803" y="400308"/>
                  <a:pt x="2249485" y="402886"/>
                </a:cubicBezTo>
                <a:cubicBezTo>
                  <a:pt x="2250801" y="404618"/>
                  <a:pt x="2251868" y="406169"/>
                  <a:pt x="2250237" y="405618"/>
                </a:cubicBezTo>
                <a:cubicBezTo>
                  <a:pt x="2249950" y="406690"/>
                  <a:pt x="2248317" y="406138"/>
                  <a:pt x="2246399" y="406659"/>
                </a:cubicBezTo>
                <a:cubicBezTo>
                  <a:pt x="2244652" y="406535"/>
                  <a:pt x="2242409" y="406050"/>
                  <a:pt x="2240807" y="405390"/>
                </a:cubicBezTo>
                <a:cubicBezTo>
                  <a:pt x="2238927" y="404657"/>
                  <a:pt x="2237659" y="403857"/>
                  <a:pt x="2237031" y="402883"/>
                </a:cubicBezTo>
                <a:cubicBezTo>
                  <a:pt x="2235992" y="401225"/>
                  <a:pt x="2236279" y="400153"/>
                  <a:pt x="2236279" y="400153"/>
                </a:cubicBezTo>
                <a:cubicBezTo>
                  <a:pt x="2238480" y="399133"/>
                  <a:pt x="2240940" y="398527"/>
                  <a:pt x="2243272" y="398820"/>
                </a:cubicBezTo>
                <a:close/>
                <a:moveTo>
                  <a:pt x="2545851" y="398115"/>
                </a:moveTo>
                <a:cubicBezTo>
                  <a:pt x="2551813" y="401323"/>
                  <a:pt x="2551111" y="405045"/>
                  <a:pt x="2550439" y="408660"/>
                </a:cubicBezTo>
                <a:cubicBezTo>
                  <a:pt x="2549501" y="411054"/>
                  <a:pt x="2549767" y="412275"/>
                  <a:pt x="2552132" y="414519"/>
                </a:cubicBezTo>
                <a:cubicBezTo>
                  <a:pt x="2552132" y="414519"/>
                  <a:pt x="2552132" y="414519"/>
                  <a:pt x="2549389" y="417004"/>
                </a:cubicBezTo>
                <a:lnTo>
                  <a:pt x="2547863" y="417169"/>
                </a:lnTo>
                <a:cubicBezTo>
                  <a:pt x="2547032" y="416947"/>
                  <a:pt x="2546404" y="415974"/>
                  <a:pt x="2545861" y="414678"/>
                </a:cubicBezTo>
                <a:cubicBezTo>
                  <a:pt x="2544205" y="410899"/>
                  <a:pt x="2544298" y="403910"/>
                  <a:pt x="2543946" y="403010"/>
                </a:cubicBezTo>
                <a:cubicBezTo>
                  <a:pt x="2543946" y="403010"/>
                  <a:pt x="2543651" y="401896"/>
                  <a:pt x="2543385" y="400675"/>
                </a:cubicBezTo>
                <a:cubicBezTo>
                  <a:pt x="2544618" y="399395"/>
                  <a:pt x="2546145" y="399230"/>
                  <a:pt x="2545851" y="398115"/>
                </a:cubicBezTo>
                <a:close/>
                <a:moveTo>
                  <a:pt x="1739483" y="396988"/>
                </a:moveTo>
                <a:cubicBezTo>
                  <a:pt x="1753563" y="404210"/>
                  <a:pt x="1748797" y="406498"/>
                  <a:pt x="1744289" y="411155"/>
                </a:cubicBezTo>
                <a:cubicBezTo>
                  <a:pt x="1742684" y="410496"/>
                  <a:pt x="1740604" y="410514"/>
                  <a:pt x="1738304" y="410242"/>
                </a:cubicBezTo>
                <a:cubicBezTo>
                  <a:pt x="1736281" y="410045"/>
                  <a:pt x="1733981" y="409774"/>
                  <a:pt x="1732246" y="408504"/>
                </a:cubicBezTo>
                <a:cubicBezTo>
                  <a:pt x="1732246" y="408504"/>
                  <a:pt x="1730481" y="407341"/>
                  <a:pt x="1730226" y="404973"/>
                </a:cubicBezTo>
                <a:cubicBezTo>
                  <a:pt x="1729293" y="404032"/>
                  <a:pt x="1728911" y="403240"/>
                  <a:pt x="1728836" y="402415"/>
                </a:cubicBezTo>
                <a:cubicBezTo>
                  <a:pt x="1728608" y="399940"/>
                  <a:pt x="1731207" y="397991"/>
                  <a:pt x="1731207" y="397991"/>
                </a:cubicBezTo>
                <a:cubicBezTo>
                  <a:pt x="1731207" y="397991"/>
                  <a:pt x="1731236" y="397884"/>
                  <a:pt x="1729460" y="397867"/>
                </a:cubicBezTo>
                <a:cubicBezTo>
                  <a:pt x="1732706" y="397932"/>
                  <a:pt x="1735961" y="396849"/>
                  <a:pt x="1739483" y="396988"/>
                </a:cubicBezTo>
                <a:close/>
                <a:moveTo>
                  <a:pt x="2466167" y="396660"/>
                </a:moveTo>
                <a:cubicBezTo>
                  <a:pt x="2467985" y="400942"/>
                  <a:pt x="2472879" y="402599"/>
                  <a:pt x="2473760" y="409274"/>
                </a:cubicBezTo>
                <a:cubicBezTo>
                  <a:pt x="2444778" y="414503"/>
                  <a:pt x="2421545" y="424839"/>
                  <a:pt x="2397155" y="428424"/>
                </a:cubicBezTo>
                <a:cubicBezTo>
                  <a:pt x="2406729" y="410404"/>
                  <a:pt x="2440120" y="405321"/>
                  <a:pt x="2466167" y="396660"/>
                </a:cubicBezTo>
                <a:close/>
                <a:moveTo>
                  <a:pt x="2925184" y="393611"/>
                </a:moveTo>
                <a:cubicBezTo>
                  <a:pt x="2925845" y="391143"/>
                  <a:pt x="2929708" y="393328"/>
                  <a:pt x="2931778" y="394457"/>
                </a:cubicBezTo>
                <a:cubicBezTo>
                  <a:pt x="2929363" y="394616"/>
                  <a:pt x="2927779" y="394996"/>
                  <a:pt x="2926833" y="395203"/>
                </a:cubicBezTo>
                <a:cubicBezTo>
                  <a:pt x="2925888" y="395410"/>
                  <a:pt x="2925582" y="395442"/>
                  <a:pt x="2925450" y="394832"/>
                </a:cubicBezTo>
                <a:cubicBezTo>
                  <a:pt x="2923951" y="394891"/>
                  <a:pt x="2923380" y="393703"/>
                  <a:pt x="2925184" y="393611"/>
                </a:cubicBezTo>
                <a:close/>
                <a:moveTo>
                  <a:pt x="2940008" y="392522"/>
                </a:moveTo>
                <a:cubicBezTo>
                  <a:pt x="2947432" y="393592"/>
                  <a:pt x="2951284" y="396925"/>
                  <a:pt x="2949465" y="401497"/>
                </a:cubicBezTo>
                <a:cubicBezTo>
                  <a:pt x="2944876" y="399807"/>
                  <a:pt x="2943165" y="401764"/>
                  <a:pt x="2938577" y="400074"/>
                </a:cubicBezTo>
                <a:cubicBezTo>
                  <a:pt x="2939716" y="396930"/>
                  <a:pt x="2939576" y="394132"/>
                  <a:pt x="2940008" y="392522"/>
                </a:cubicBezTo>
                <a:close/>
                <a:moveTo>
                  <a:pt x="1438051" y="391891"/>
                </a:moveTo>
                <a:cubicBezTo>
                  <a:pt x="1435684" y="401836"/>
                  <a:pt x="1437080" y="406581"/>
                  <a:pt x="1433903" y="414010"/>
                </a:cubicBezTo>
                <a:cubicBezTo>
                  <a:pt x="1432100" y="414101"/>
                  <a:pt x="1431834" y="412880"/>
                  <a:pt x="1430306" y="413046"/>
                </a:cubicBezTo>
                <a:cubicBezTo>
                  <a:pt x="1429257" y="412534"/>
                  <a:pt x="1428715" y="411240"/>
                  <a:pt x="1428230" y="409728"/>
                </a:cubicBezTo>
                <a:cubicBezTo>
                  <a:pt x="1427298" y="405455"/>
                  <a:pt x="1428557" y="398546"/>
                  <a:pt x="1429779" y="398414"/>
                </a:cubicBezTo>
                <a:cubicBezTo>
                  <a:pt x="1429483" y="397300"/>
                  <a:pt x="1431011" y="397134"/>
                  <a:pt x="1430717" y="396020"/>
                </a:cubicBezTo>
                <a:cubicBezTo>
                  <a:pt x="1430717" y="396020"/>
                  <a:pt x="1430451" y="394799"/>
                  <a:pt x="1431683" y="393519"/>
                </a:cubicBezTo>
                <a:cubicBezTo>
                  <a:pt x="1433221" y="392206"/>
                  <a:pt x="1434454" y="390927"/>
                  <a:pt x="1438051" y="391891"/>
                </a:cubicBezTo>
                <a:close/>
                <a:moveTo>
                  <a:pt x="2333546" y="390220"/>
                </a:moveTo>
                <a:cubicBezTo>
                  <a:pt x="2336058" y="388592"/>
                  <a:pt x="2337690" y="389145"/>
                  <a:pt x="2338700" y="390910"/>
                </a:cubicBezTo>
                <a:cubicBezTo>
                  <a:pt x="2338700" y="390910"/>
                  <a:pt x="2339986" y="392750"/>
                  <a:pt x="2341024" y="394408"/>
                </a:cubicBezTo>
                <a:cubicBezTo>
                  <a:pt x="2342311" y="396248"/>
                  <a:pt x="2343942" y="396800"/>
                  <a:pt x="2343942" y="396800"/>
                </a:cubicBezTo>
                <a:cubicBezTo>
                  <a:pt x="2344951" y="398566"/>
                  <a:pt x="2344359" y="399671"/>
                  <a:pt x="2342441" y="400193"/>
                </a:cubicBezTo>
                <a:cubicBezTo>
                  <a:pt x="2342441" y="400193"/>
                  <a:pt x="2339799" y="397875"/>
                  <a:pt x="2339799" y="397875"/>
                </a:cubicBezTo>
                <a:cubicBezTo>
                  <a:pt x="2337474" y="394377"/>
                  <a:pt x="2336187" y="392537"/>
                  <a:pt x="2333546" y="390220"/>
                </a:cubicBezTo>
                <a:close/>
                <a:moveTo>
                  <a:pt x="2319154" y="389698"/>
                </a:moveTo>
                <a:cubicBezTo>
                  <a:pt x="2320470" y="391431"/>
                  <a:pt x="2325583" y="393376"/>
                  <a:pt x="2328224" y="395694"/>
                </a:cubicBezTo>
                <a:cubicBezTo>
                  <a:pt x="2327937" y="396766"/>
                  <a:pt x="2329252" y="398499"/>
                  <a:pt x="2328688" y="399498"/>
                </a:cubicBezTo>
                <a:cubicBezTo>
                  <a:pt x="2327886" y="399168"/>
                  <a:pt x="2326445" y="399012"/>
                  <a:pt x="2325615" y="398789"/>
                </a:cubicBezTo>
                <a:cubicBezTo>
                  <a:pt x="2324508" y="398493"/>
                  <a:pt x="2323707" y="398163"/>
                  <a:pt x="2323850" y="397627"/>
                </a:cubicBezTo>
                <a:cubicBezTo>
                  <a:pt x="2322219" y="397075"/>
                  <a:pt x="2323100" y="394896"/>
                  <a:pt x="2323100" y="394896"/>
                </a:cubicBezTo>
                <a:cubicBezTo>
                  <a:pt x="2321468" y="394343"/>
                  <a:pt x="2319589" y="393609"/>
                  <a:pt x="2318550" y="391952"/>
                </a:cubicBezTo>
                <a:cubicBezTo>
                  <a:pt x="2320470" y="391431"/>
                  <a:pt x="2318866" y="390770"/>
                  <a:pt x="2319154" y="389698"/>
                </a:cubicBezTo>
                <a:close/>
                <a:moveTo>
                  <a:pt x="1648619" y="389662"/>
                </a:moveTo>
                <a:cubicBezTo>
                  <a:pt x="1660094" y="396646"/>
                  <a:pt x="1651634" y="408295"/>
                  <a:pt x="1641623" y="408027"/>
                </a:cubicBezTo>
                <a:cubicBezTo>
                  <a:pt x="1632963" y="402716"/>
                  <a:pt x="1634823" y="393555"/>
                  <a:pt x="1641012" y="390383"/>
                </a:cubicBezTo>
                <a:cubicBezTo>
                  <a:pt x="1643075" y="389325"/>
                  <a:pt x="1645548" y="388953"/>
                  <a:pt x="1648619" y="389662"/>
                </a:cubicBezTo>
                <a:close/>
                <a:moveTo>
                  <a:pt x="3431877" y="388616"/>
                </a:moveTo>
                <a:cubicBezTo>
                  <a:pt x="3433479" y="389276"/>
                  <a:pt x="3434881" y="390687"/>
                  <a:pt x="3436225" y="392312"/>
                </a:cubicBezTo>
                <a:cubicBezTo>
                  <a:pt x="3438579" y="395702"/>
                  <a:pt x="3436372" y="397296"/>
                  <a:pt x="3436372" y="397296"/>
                </a:cubicBezTo>
                <a:cubicBezTo>
                  <a:pt x="3434281" y="398461"/>
                  <a:pt x="3431837" y="398726"/>
                  <a:pt x="3429538" y="398455"/>
                </a:cubicBezTo>
                <a:cubicBezTo>
                  <a:pt x="3426989" y="398002"/>
                  <a:pt x="3424891" y="396980"/>
                  <a:pt x="3422775" y="394918"/>
                </a:cubicBezTo>
                <a:cubicBezTo>
                  <a:pt x="3421747" y="392112"/>
                  <a:pt x="3423953" y="390519"/>
                  <a:pt x="3426465" y="388892"/>
                </a:cubicBezTo>
                <a:cubicBezTo>
                  <a:pt x="3428528" y="387835"/>
                  <a:pt x="3430303" y="387851"/>
                  <a:pt x="3431877" y="388616"/>
                </a:cubicBezTo>
                <a:close/>
                <a:moveTo>
                  <a:pt x="2244846" y="385887"/>
                </a:moveTo>
                <a:lnTo>
                  <a:pt x="2248210" y="391044"/>
                </a:lnTo>
                <a:cubicBezTo>
                  <a:pt x="2247264" y="391251"/>
                  <a:pt x="2246014" y="391490"/>
                  <a:pt x="2244601" y="391228"/>
                </a:cubicBezTo>
                <a:cubicBezTo>
                  <a:pt x="2243437" y="391145"/>
                  <a:pt x="2242387" y="390634"/>
                  <a:pt x="2241731" y="389768"/>
                </a:cubicBezTo>
                <a:cubicBezTo>
                  <a:pt x="2240549" y="388646"/>
                  <a:pt x="2240692" y="388110"/>
                  <a:pt x="2241418" y="387614"/>
                </a:cubicBezTo>
                <a:cubicBezTo>
                  <a:pt x="2242421" y="387193"/>
                  <a:pt x="2243729" y="386738"/>
                  <a:pt x="2244846" y="385887"/>
                </a:cubicBezTo>
                <a:close/>
                <a:moveTo>
                  <a:pt x="2382912" y="383077"/>
                </a:moveTo>
                <a:cubicBezTo>
                  <a:pt x="2385862" y="382301"/>
                  <a:pt x="2390005" y="382059"/>
                  <a:pt x="2394770" y="384199"/>
                </a:cubicBezTo>
                <a:cubicBezTo>
                  <a:pt x="2393260" y="385404"/>
                  <a:pt x="2405126" y="392034"/>
                  <a:pt x="2403193" y="397035"/>
                </a:cubicBezTo>
                <a:cubicBezTo>
                  <a:pt x="2402255" y="399429"/>
                  <a:pt x="2400994" y="400817"/>
                  <a:pt x="2400027" y="403318"/>
                </a:cubicBezTo>
                <a:lnTo>
                  <a:pt x="2395635" y="404212"/>
                </a:lnTo>
                <a:lnTo>
                  <a:pt x="2394130" y="410937"/>
                </a:lnTo>
                <a:cubicBezTo>
                  <a:pt x="2393174" y="412292"/>
                  <a:pt x="2387568" y="415504"/>
                  <a:pt x="2385440" y="414589"/>
                </a:cubicBezTo>
                <a:cubicBezTo>
                  <a:pt x="2383342" y="413568"/>
                  <a:pt x="2383047" y="412453"/>
                  <a:pt x="2382475" y="411265"/>
                </a:cubicBezTo>
                <a:lnTo>
                  <a:pt x="2384315" y="404398"/>
                </a:lnTo>
                <a:lnTo>
                  <a:pt x="2379889" y="403212"/>
                </a:lnTo>
                <a:cubicBezTo>
                  <a:pt x="2376988" y="401860"/>
                  <a:pt x="2375005" y="400408"/>
                  <a:pt x="2374214" y="398931"/>
                </a:cubicBezTo>
                <a:lnTo>
                  <a:pt x="2373452" y="397347"/>
                </a:lnTo>
                <a:lnTo>
                  <a:pt x="2371868" y="397727"/>
                </a:lnTo>
                <a:cubicBezTo>
                  <a:pt x="2370237" y="397175"/>
                  <a:pt x="2368253" y="395724"/>
                  <a:pt x="2366643" y="392878"/>
                </a:cubicBezTo>
                <a:lnTo>
                  <a:pt x="2371570" y="391093"/>
                </a:lnTo>
                <a:lnTo>
                  <a:pt x="2370751" y="389723"/>
                </a:lnTo>
                <a:lnTo>
                  <a:pt x="2369367" y="389352"/>
                </a:lnTo>
                <a:cubicBezTo>
                  <a:pt x="2368796" y="388164"/>
                  <a:pt x="2366737" y="385888"/>
                  <a:pt x="2364667" y="384758"/>
                </a:cubicBezTo>
                <a:cubicBezTo>
                  <a:pt x="2366470" y="384666"/>
                  <a:pt x="2367998" y="384501"/>
                  <a:pt x="2367732" y="383278"/>
                </a:cubicBezTo>
                <a:cubicBezTo>
                  <a:pt x="2369802" y="384409"/>
                  <a:pt x="2370765" y="385242"/>
                  <a:pt x="2371729" y="386075"/>
                </a:cubicBezTo>
                <a:lnTo>
                  <a:pt x="2372195" y="386545"/>
                </a:lnTo>
                <a:lnTo>
                  <a:pt x="2373913" y="386775"/>
                </a:lnTo>
                <a:lnTo>
                  <a:pt x="2375182" y="387576"/>
                </a:lnTo>
                <a:lnTo>
                  <a:pt x="2375734" y="387724"/>
                </a:lnTo>
                <a:cubicBezTo>
                  <a:pt x="2375734" y="387724"/>
                  <a:pt x="2375458" y="387650"/>
                  <a:pt x="2378200" y="385165"/>
                </a:cubicBezTo>
                <a:cubicBezTo>
                  <a:pt x="2378200" y="385165"/>
                  <a:pt x="2379960" y="383854"/>
                  <a:pt x="2382912" y="383077"/>
                </a:cubicBezTo>
                <a:close/>
                <a:moveTo>
                  <a:pt x="3562708" y="381812"/>
                </a:moveTo>
                <a:cubicBezTo>
                  <a:pt x="3565494" y="383594"/>
                  <a:pt x="3566884" y="386152"/>
                  <a:pt x="3566345" y="390377"/>
                </a:cubicBezTo>
                <a:cubicBezTo>
                  <a:pt x="3562173" y="391560"/>
                  <a:pt x="3559595" y="391214"/>
                  <a:pt x="3557469" y="390299"/>
                </a:cubicBezTo>
                <a:cubicBezTo>
                  <a:pt x="3555370" y="389276"/>
                  <a:pt x="3554026" y="387651"/>
                  <a:pt x="3552434" y="385844"/>
                </a:cubicBezTo>
                <a:cubicBezTo>
                  <a:pt x="3558543" y="385182"/>
                  <a:pt x="3555485" y="379992"/>
                  <a:pt x="3562708" y="381812"/>
                </a:cubicBezTo>
                <a:close/>
                <a:moveTo>
                  <a:pt x="3205773" y="379094"/>
                </a:moveTo>
                <a:cubicBezTo>
                  <a:pt x="3205763" y="380241"/>
                  <a:pt x="3207510" y="380363"/>
                  <a:pt x="3207775" y="381585"/>
                </a:cubicBezTo>
                <a:cubicBezTo>
                  <a:pt x="3209776" y="384075"/>
                  <a:pt x="3209776" y="384075"/>
                  <a:pt x="3207990" y="385207"/>
                </a:cubicBezTo>
                <a:cubicBezTo>
                  <a:pt x="3206481" y="386413"/>
                  <a:pt x="3201195" y="385112"/>
                  <a:pt x="3199686" y="386317"/>
                </a:cubicBezTo>
                <a:cubicBezTo>
                  <a:pt x="3199686" y="386317"/>
                  <a:pt x="3199715" y="386210"/>
                  <a:pt x="3197684" y="383827"/>
                </a:cubicBezTo>
                <a:cubicBezTo>
                  <a:pt x="3197448" y="382497"/>
                  <a:pt x="3197458" y="381350"/>
                  <a:pt x="3198967" y="380145"/>
                </a:cubicBezTo>
                <a:cubicBezTo>
                  <a:pt x="3200477" y="378939"/>
                  <a:pt x="3203999" y="379078"/>
                  <a:pt x="3205773" y="379094"/>
                </a:cubicBezTo>
                <a:close/>
                <a:moveTo>
                  <a:pt x="2877278" y="378705"/>
                </a:moveTo>
                <a:cubicBezTo>
                  <a:pt x="2887736" y="381737"/>
                  <a:pt x="2894991" y="380116"/>
                  <a:pt x="2903016" y="382266"/>
                </a:cubicBezTo>
                <a:cubicBezTo>
                  <a:pt x="2898907" y="385421"/>
                  <a:pt x="2892346" y="389987"/>
                  <a:pt x="2884292" y="387944"/>
                </a:cubicBezTo>
                <a:cubicBezTo>
                  <a:pt x="2881526" y="387203"/>
                  <a:pt x="2878626" y="385851"/>
                  <a:pt x="2875736" y="383352"/>
                </a:cubicBezTo>
                <a:cubicBezTo>
                  <a:pt x="2876445" y="381816"/>
                  <a:pt x="2876876" y="380207"/>
                  <a:pt x="2877278" y="378705"/>
                </a:cubicBezTo>
                <a:close/>
                <a:moveTo>
                  <a:pt x="4168698" y="378125"/>
                </a:moveTo>
                <a:cubicBezTo>
                  <a:pt x="4169301" y="384726"/>
                  <a:pt x="4164860" y="388021"/>
                  <a:pt x="4156821" y="390353"/>
                </a:cubicBezTo>
                <a:cubicBezTo>
                  <a:pt x="4155553" y="389552"/>
                  <a:pt x="4154820" y="387861"/>
                  <a:pt x="4154420" y="386029"/>
                </a:cubicBezTo>
                <a:cubicBezTo>
                  <a:pt x="4153745" y="384123"/>
                  <a:pt x="4153681" y="382151"/>
                  <a:pt x="4153530" y="380500"/>
                </a:cubicBezTo>
                <a:cubicBezTo>
                  <a:pt x="4156854" y="378056"/>
                  <a:pt x="4162686" y="377319"/>
                  <a:pt x="4168698" y="378125"/>
                </a:cubicBezTo>
                <a:close/>
                <a:moveTo>
                  <a:pt x="2624660" y="376681"/>
                </a:moveTo>
                <a:cubicBezTo>
                  <a:pt x="2627380" y="376634"/>
                  <a:pt x="2629878" y="377275"/>
                  <a:pt x="2631856" y="379300"/>
                </a:cubicBezTo>
                <a:cubicBezTo>
                  <a:pt x="2627138" y="382521"/>
                  <a:pt x="2624366" y="385113"/>
                  <a:pt x="2619400" y="388152"/>
                </a:cubicBezTo>
                <a:cubicBezTo>
                  <a:pt x="2618426" y="388466"/>
                  <a:pt x="2616317" y="388592"/>
                  <a:pt x="2614017" y="388320"/>
                </a:cubicBezTo>
                <a:cubicBezTo>
                  <a:pt x="2611994" y="388123"/>
                  <a:pt x="2609780" y="387530"/>
                  <a:pt x="2609399" y="386738"/>
                </a:cubicBezTo>
                <a:cubicBezTo>
                  <a:pt x="2608084" y="385005"/>
                  <a:pt x="2608372" y="383933"/>
                  <a:pt x="2608965" y="382827"/>
                </a:cubicBezTo>
                <a:cubicBezTo>
                  <a:pt x="2611171" y="381232"/>
                  <a:pt x="2613655" y="379712"/>
                  <a:pt x="2616137" y="378193"/>
                </a:cubicBezTo>
                <a:cubicBezTo>
                  <a:pt x="2619002" y="377466"/>
                  <a:pt x="2621941" y="376729"/>
                  <a:pt x="2624660" y="376681"/>
                </a:cubicBezTo>
                <a:close/>
                <a:moveTo>
                  <a:pt x="3276843" y="376171"/>
                </a:moveTo>
                <a:cubicBezTo>
                  <a:pt x="3280078" y="377383"/>
                  <a:pt x="3283629" y="377414"/>
                  <a:pt x="3286862" y="378626"/>
                </a:cubicBezTo>
                <a:cubicBezTo>
                  <a:pt x="3297491" y="389869"/>
                  <a:pt x="3292051" y="390251"/>
                  <a:pt x="3285950" y="393101"/>
                </a:cubicBezTo>
                <a:cubicBezTo>
                  <a:pt x="3283002" y="390817"/>
                  <a:pt x="3277849" y="390126"/>
                  <a:pt x="3275467" y="386843"/>
                </a:cubicBezTo>
                <a:cubicBezTo>
                  <a:pt x="3275467" y="386843"/>
                  <a:pt x="3274123" y="385218"/>
                  <a:pt x="3274727" y="382964"/>
                </a:cubicBezTo>
                <a:cubicBezTo>
                  <a:pt x="3272661" y="378500"/>
                  <a:pt x="3278446" y="376831"/>
                  <a:pt x="3278446" y="376831"/>
                </a:cubicBezTo>
                <a:cubicBezTo>
                  <a:pt x="3278446" y="376831"/>
                  <a:pt x="3278475" y="376724"/>
                  <a:pt x="3276843" y="376171"/>
                </a:cubicBezTo>
                <a:close/>
                <a:moveTo>
                  <a:pt x="1067551" y="374496"/>
                </a:moveTo>
                <a:cubicBezTo>
                  <a:pt x="1071301" y="377111"/>
                  <a:pt x="1075806" y="384644"/>
                  <a:pt x="1071515" y="389589"/>
                </a:cubicBezTo>
                <a:cubicBezTo>
                  <a:pt x="1068794" y="389780"/>
                  <a:pt x="1066743" y="389690"/>
                  <a:pt x="1064776" y="389278"/>
                </a:cubicBezTo>
                <a:cubicBezTo>
                  <a:pt x="1062839" y="388760"/>
                  <a:pt x="1061542" y="388067"/>
                  <a:pt x="1060302" y="387160"/>
                </a:cubicBezTo>
                <a:cubicBezTo>
                  <a:pt x="1058157" y="385204"/>
                  <a:pt x="1057159" y="382291"/>
                  <a:pt x="1057278" y="378529"/>
                </a:cubicBezTo>
                <a:cubicBezTo>
                  <a:pt x="1060752" y="377735"/>
                  <a:pt x="1062959" y="376141"/>
                  <a:pt x="1067551" y="374496"/>
                </a:cubicBezTo>
                <a:close/>
                <a:moveTo>
                  <a:pt x="3242836" y="373728"/>
                </a:moveTo>
                <a:cubicBezTo>
                  <a:pt x="3246223" y="373400"/>
                  <a:pt x="3250614" y="373340"/>
                  <a:pt x="3255189" y="375084"/>
                </a:cubicBezTo>
                <a:cubicBezTo>
                  <a:pt x="3258423" y="376296"/>
                  <a:pt x="3261733" y="378332"/>
                  <a:pt x="3264726" y="381550"/>
                </a:cubicBezTo>
                <a:cubicBezTo>
                  <a:pt x="3271370" y="388850"/>
                  <a:pt x="3275779" y="397852"/>
                  <a:pt x="3261725" y="402711"/>
                </a:cubicBezTo>
                <a:cubicBezTo>
                  <a:pt x="3259490" y="404411"/>
                  <a:pt x="3259806" y="403232"/>
                  <a:pt x="3257887" y="403752"/>
                </a:cubicBezTo>
                <a:cubicBezTo>
                  <a:pt x="3255662" y="404306"/>
                  <a:pt x="3253456" y="405900"/>
                  <a:pt x="3253139" y="407081"/>
                </a:cubicBezTo>
                <a:cubicBezTo>
                  <a:pt x="3247840" y="401405"/>
                  <a:pt x="3243409" y="403553"/>
                  <a:pt x="3235449" y="394520"/>
                </a:cubicBezTo>
                <a:cubicBezTo>
                  <a:pt x="3224819" y="383277"/>
                  <a:pt x="3230429" y="376730"/>
                  <a:pt x="3236502" y="373987"/>
                </a:cubicBezTo>
                <a:cubicBezTo>
                  <a:pt x="3237064" y="374655"/>
                  <a:pt x="3239449" y="374057"/>
                  <a:pt x="3242836" y="373728"/>
                </a:cubicBezTo>
                <a:close/>
                <a:moveTo>
                  <a:pt x="2762917" y="371637"/>
                </a:moveTo>
                <a:cubicBezTo>
                  <a:pt x="2766388" y="374177"/>
                  <a:pt x="2768084" y="376701"/>
                  <a:pt x="2771555" y="379242"/>
                </a:cubicBezTo>
                <a:lnTo>
                  <a:pt x="2766017" y="381093"/>
                </a:lnTo>
                <a:lnTo>
                  <a:pt x="2773446" y="387683"/>
                </a:lnTo>
                <a:cubicBezTo>
                  <a:pt x="2771527" y="388204"/>
                  <a:pt x="2775512" y="392147"/>
                  <a:pt x="2776234" y="394985"/>
                </a:cubicBezTo>
                <a:cubicBezTo>
                  <a:pt x="2774761" y="398271"/>
                  <a:pt x="2774157" y="400525"/>
                  <a:pt x="2770043" y="401492"/>
                </a:cubicBezTo>
                <a:lnTo>
                  <a:pt x="2763887" y="401222"/>
                </a:lnTo>
                <a:lnTo>
                  <a:pt x="2765784" y="402996"/>
                </a:lnTo>
                <a:cubicBezTo>
                  <a:pt x="2766545" y="404580"/>
                  <a:pt x="2767060" y="405983"/>
                  <a:pt x="2769100" y="407219"/>
                </a:cubicBezTo>
                <a:cubicBezTo>
                  <a:pt x="2767458" y="407814"/>
                  <a:pt x="2765453" y="408657"/>
                  <a:pt x="2762733" y="408848"/>
                </a:cubicBezTo>
                <a:lnTo>
                  <a:pt x="2758220" y="407984"/>
                </a:lnTo>
                <a:lnTo>
                  <a:pt x="2758341" y="409742"/>
                </a:lnTo>
                <a:cubicBezTo>
                  <a:pt x="2756114" y="413629"/>
                  <a:pt x="2748904" y="416183"/>
                  <a:pt x="2740165" y="413382"/>
                </a:cubicBezTo>
                <a:cubicBezTo>
                  <a:pt x="2738745" y="410931"/>
                  <a:pt x="2737822" y="408843"/>
                  <a:pt x="2737424" y="407011"/>
                </a:cubicBezTo>
                <a:cubicBezTo>
                  <a:pt x="2737302" y="405254"/>
                  <a:pt x="2737150" y="403603"/>
                  <a:pt x="2736913" y="402275"/>
                </a:cubicBezTo>
                <a:cubicBezTo>
                  <a:pt x="2741333" y="401274"/>
                  <a:pt x="2744150" y="399614"/>
                  <a:pt x="2748570" y="398613"/>
                </a:cubicBezTo>
                <a:lnTo>
                  <a:pt x="2749125" y="398762"/>
                </a:lnTo>
                <a:lnTo>
                  <a:pt x="2749182" y="398547"/>
                </a:lnTo>
                <a:lnTo>
                  <a:pt x="2751855" y="397424"/>
                </a:lnTo>
                <a:lnTo>
                  <a:pt x="2748736" y="395783"/>
                </a:lnTo>
                <a:cubicBezTo>
                  <a:pt x="2743770" y="389967"/>
                  <a:pt x="2743612" y="386129"/>
                  <a:pt x="2744808" y="382771"/>
                </a:cubicBezTo>
                <a:cubicBezTo>
                  <a:pt x="2744808" y="382771"/>
                  <a:pt x="2744780" y="382878"/>
                  <a:pt x="2744216" y="383876"/>
                </a:cubicBezTo>
                <a:cubicBezTo>
                  <a:pt x="2736263" y="385885"/>
                  <a:pt x="2722582" y="389349"/>
                  <a:pt x="2718033" y="386405"/>
                </a:cubicBezTo>
                <a:cubicBezTo>
                  <a:pt x="2718626" y="385300"/>
                  <a:pt x="2718942" y="384119"/>
                  <a:pt x="2720861" y="383598"/>
                </a:cubicBezTo>
                <a:cubicBezTo>
                  <a:pt x="2722780" y="383078"/>
                  <a:pt x="2722464" y="384258"/>
                  <a:pt x="2723057" y="383152"/>
                </a:cubicBezTo>
                <a:cubicBezTo>
                  <a:pt x="2724976" y="382631"/>
                  <a:pt x="2723344" y="382079"/>
                  <a:pt x="2723344" y="382079"/>
                </a:cubicBezTo>
                <a:cubicBezTo>
                  <a:pt x="2723344" y="382079"/>
                  <a:pt x="2724947" y="382739"/>
                  <a:pt x="2724947" y="382739"/>
                </a:cubicBezTo>
                <a:cubicBezTo>
                  <a:pt x="2724947" y="382739"/>
                  <a:pt x="2724976" y="382631"/>
                  <a:pt x="2728784" y="381697"/>
                </a:cubicBezTo>
                <a:cubicBezTo>
                  <a:pt x="2733215" y="379548"/>
                  <a:pt x="2733780" y="378549"/>
                  <a:pt x="2735987" y="376956"/>
                </a:cubicBezTo>
                <a:cubicBezTo>
                  <a:pt x="2740101" y="375988"/>
                  <a:pt x="2741732" y="376541"/>
                  <a:pt x="2747173" y="376158"/>
                </a:cubicBezTo>
                <a:cubicBezTo>
                  <a:pt x="2749843" y="378369"/>
                  <a:pt x="2749814" y="378476"/>
                  <a:pt x="2749498" y="379656"/>
                </a:cubicBezTo>
                <a:cubicBezTo>
                  <a:pt x="2749814" y="378476"/>
                  <a:pt x="2751417" y="379136"/>
                  <a:pt x="2753613" y="378689"/>
                </a:cubicBezTo>
                <a:lnTo>
                  <a:pt x="2758396" y="377441"/>
                </a:lnTo>
                <a:lnTo>
                  <a:pt x="2759363" y="374940"/>
                </a:lnTo>
                <a:cubicBezTo>
                  <a:pt x="2759679" y="373759"/>
                  <a:pt x="2760548" y="372727"/>
                  <a:pt x="2762917" y="371637"/>
                </a:cubicBezTo>
                <a:close/>
                <a:moveTo>
                  <a:pt x="2318126" y="369182"/>
                </a:moveTo>
                <a:cubicBezTo>
                  <a:pt x="2320639" y="367556"/>
                  <a:pt x="2323279" y="369873"/>
                  <a:pt x="2325634" y="373264"/>
                </a:cubicBezTo>
                <a:cubicBezTo>
                  <a:pt x="2332508" y="379706"/>
                  <a:pt x="2332666" y="383544"/>
                  <a:pt x="2326661" y="384924"/>
                </a:cubicBezTo>
                <a:cubicBezTo>
                  <a:pt x="2325030" y="384373"/>
                  <a:pt x="2320786" y="381396"/>
                  <a:pt x="2320498" y="382469"/>
                </a:cubicBezTo>
                <a:cubicBezTo>
                  <a:pt x="2317678" y="378607"/>
                  <a:pt x="2315306" y="374177"/>
                  <a:pt x="2316082" y="371279"/>
                </a:cubicBezTo>
                <a:cubicBezTo>
                  <a:pt x="2316341" y="370315"/>
                  <a:pt x="2317096" y="369710"/>
                  <a:pt x="2318126" y="369182"/>
                </a:cubicBezTo>
                <a:close/>
                <a:moveTo>
                  <a:pt x="1617967" y="369028"/>
                </a:moveTo>
                <a:cubicBezTo>
                  <a:pt x="1626602" y="371111"/>
                  <a:pt x="1626516" y="380289"/>
                  <a:pt x="1620654" y="381133"/>
                </a:cubicBezTo>
                <a:cubicBezTo>
                  <a:pt x="1619710" y="381340"/>
                  <a:pt x="1618545" y="381258"/>
                  <a:pt x="1617162" y="380887"/>
                </a:cubicBezTo>
                <a:cubicBezTo>
                  <a:pt x="1616085" y="380483"/>
                  <a:pt x="1614481" y="379824"/>
                  <a:pt x="1612993" y="378735"/>
                </a:cubicBezTo>
                <a:cubicBezTo>
                  <a:pt x="1614840" y="374055"/>
                  <a:pt x="1615951" y="371017"/>
                  <a:pt x="1617967" y="369028"/>
                </a:cubicBezTo>
                <a:close/>
                <a:moveTo>
                  <a:pt x="3028769" y="366741"/>
                </a:moveTo>
                <a:cubicBezTo>
                  <a:pt x="3030095" y="367326"/>
                  <a:pt x="3031554" y="368522"/>
                  <a:pt x="3032592" y="370179"/>
                </a:cubicBezTo>
                <a:cubicBezTo>
                  <a:pt x="3034224" y="370733"/>
                  <a:pt x="3034371" y="375716"/>
                  <a:pt x="3032452" y="376238"/>
                </a:cubicBezTo>
                <a:cubicBezTo>
                  <a:pt x="3031420" y="376767"/>
                  <a:pt x="3030476" y="376973"/>
                  <a:pt x="3029311" y="376891"/>
                </a:cubicBezTo>
                <a:cubicBezTo>
                  <a:pt x="3026153" y="376505"/>
                  <a:pt x="3022739" y="373750"/>
                  <a:pt x="3018380" y="371202"/>
                </a:cubicBezTo>
                <a:cubicBezTo>
                  <a:pt x="3020298" y="370682"/>
                  <a:pt x="3018984" y="368949"/>
                  <a:pt x="3017945" y="367290"/>
                </a:cubicBezTo>
                <a:cubicBezTo>
                  <a:pt x="3020839" y="366455"/>
                  <a:pt x="3024877" y="364663"/>
                  <a:pt x="3028769" y="366741"/>
                </a:cubicBezTo>
                <a:close/>
                <a:moveTo>
                  <a:pt x="2684411" y="365782"/>
                </a:moveTo>
                <a:cubicBezTo>
                  <a:pt x="2682508" y="370676"/>
                  <a:pt x="2681806" y="374399"/>
                  <a:pt x="2679624" y="379220"/>
                </a:cubicBezTo>
                <a:cubicBezTo>
                  <a:pt x="2678392" y="380499"/>
                  <a:pt x="2672319" y="383242"/>
                  <a:pt x="2670527" y="382186"/>
                </a:cubicBezTo>
                <a:cubicBezTo>
                  <a:pt x="2668456" y="381057"/>
                  <a:pt x="2668162" y="379943"/>
                  <a:pt x="2667867" y="378828"/>
                </a:cubicBezTo>
                <a:cubicBezTo>
                  <a:pt x="2668833" y="376328"/>
                  <a:pt x="2669800" y="373827"/>
                  <a:pt x="2671044" y="371400"/>
                </a:cubicBezTo>
                <a:cubicBezTo>
                  <a:pt x="2675018" y="367635"/>
                  <a:pt x="2678744" y="363688"/>
                  <a:pt x="2684411" y="365782"/>
                </a:cubicBezTo>
                <a:close/>
                <a:moveTo>
                  <a:pt x="2087014" y="365073"/>
                </a:moveTo>
                <a:cubicBezTo>
                  <a:pt x="2091134" y="363532"/>
                  <a:pt x="2096839" y="363824"/>
                  <a:pt x="2101065" y="365762"/>
                </a:cubicBezTo>
                <a:cubicBezTo>
                  <a:pt x="2103965" y="367113"/>
                  <a:pt x="2106110" y="369068"/>
                  <a:pt x="2106860" y="371800"/>
                </a:cubicBezTo>
                <a:cubicBezTo>
                  <a:pt x="2101006" y="374831"/>
                  <a:pt x="2095229" y="378688"/>
                  <a:pt x="2088911" y="377915"/>
                </a:cubicBezTo>
                <a:cubicBezTo>
                  <a:pt x="2086888" y="377718"/>
                  <a:pt x="2084732" y="376910"/>
                  <a:pt x="2082471" y="375384"/>
                </a:cubicBezTo>
                <a:cubicBezTo>
                  <a:pt x="2080359" y="369989"/>
                  <a:pt x="2082894" y="366614"/>
                  <a:pt x="2087014" y="365073"/>
                </a:cubicBezTo>
                <a:close/>
                <a:moveTo>
                  <a:pt x="3005598" y="364672"/>
                </a:moveTo>
                <a:cubicBezTo>
                  <a:pt x="3013841" y="367111"/>
                  <a:pt x="3015483" y="375371"/>
                  <a:pt x="3016939" y="379901"/>
                </a:cubicBezTo>
                <a:cubicBezTo>
                  <a:pt x="3010744" y="380886"/>
                  <a:pt x="3004519" y="381979"/>
                  <a:pt x="3000016" y="379967"/>
                </a:cubicBezTo>
                <a:cubicBezTo>
                  <a:pt x="2997968" y="376543"/>
                  <a:pt x="2997333" y="373383"/>
                  <a:pt x="2998051" y="370700"/>
                </a:cubicBezTo>
                <a:cubicBezTo>
                  <a:pt x="2998770" y="368018"/>
                  <a:pt x="3001397" y="365961"/>
                  <a:pt x="3005598" y="364672"/>
                </a:cubicBezTo>
                <a:close/>
                <a:moveTo>
                  <a:pt x="2627597" y="363094"/>
                </a:moveTo>
                <a:cubicBezTo>
                  <a:pt x="2633110" y="366870"/>
                  <a:pt x="2630120" y="369175"/>
                  <a:pt x="2627080" y="373880"/>
                </a:cubicBezTo>
                <a:cubicBezTo>
                  <a:pt x="2625315" y="372717"/>
                  <a:pt x="2620539" y="376153"/>
                  <a:pt x="2619030" y="377358"/>
                </a:cubicBezTo>
                <a:cubicBezTo>
                  <a:pt x="2616274" y="375470"/>
                  <a:pt x="2612016" y="376974"/>
                  <a:pt x="2607778" y="376183"/>
                </a:cubicBezTo>
                <a:cubicBezTo>
                  <a:pt x="2606337" y="376027"/>
                  <a:pt x="2604983" y="375550"/>
                  <a:pt x="2603467" y="374568"/>
                </a:cubicBezTo>
                <a:cubicBezTo>
                  <a:pt x="2603240" y="372092"/>
                  <a:pt x="2603252" y="370945"/>
                  <a:pt x="2604465" y="368625"/>
                </a:cubicBezTo>
                <a:cubicBezTo>
                  <a:pt x="2617331" y="360458"/>
                  <a:pt x="2626088" y="364299"/>
                  <a:pt x="2627597" y="363094"/>
                </a:cubicBezTo>
                <a:close/>
                <a:moveTo>
                  <a:pt x="3834762" y="360407"/>
                </a:moveTo>
                <a:cubicBezTo>
                  <a:pt x="3838877" y="359439"/>
                  <a:pt x="3846596" y="361624"/>
                  <a:pt x="3849198" y="365196"/>
                </a:cubicBezTo>
                <a:cubicBezTo>
                  <a:pt x="3848964" y="369388"/>
                  <a:pt x="3845529" y="368927"/>
                  <a:pt x="3845698" y="371618"/>
                </a:cubicBezTo>
                <a:cubicBezTo>
                  <a:pt x="3837702" y="369361"/>
                  <a:pt x="3835377" y="365862"/>
                  <a:pt x="3834762" y="360407"/>
                </a:cubicBezTo>
                <a:close/>
                <a:moveTo>
                  <a:pt x="1875425" y="360042"/>
                </a:moveTo>
                <a:cubicBezTo>
                  <a:pt x="1877142" y="360272"/>
                  <a:pt x="1878965" y="361221"/>
                  <a:pt x="1880728" y="362383"/>
                </a:cubicBezTo>
                <a:cubicBezTo>
                  <a:pt x="1884535" y="364783"/>
                  <a:pt x="1883043" y="367029"/>
                  <a:pt x="1883043" y="367029"/>
                </a:cubicBezTo>
                <a:cubicBezTo>
                  <a:pt x="1880042" y="370480"/>
                  <a:pt x="1875012" y="371546"/>
                  <a:pt x="1869431" y="369131"/>
                </a:cubicBezTo>
                <a:cubicBezTo>
                  <a:pt x="1867400" y="366748"/>
                  <a:pt x="1868920" y="364395"/>
                  <a:pt x="1870412" y="362149"/>
                </a:cubicBezTo>
                <a:cubicBezTo>
                  <a:pt x="1872065" y="360407"/>
                  <a:pt x="1873706" y="359812"/>
                  <a:pt x="1875425" y="360042"/>
                </a:cubicBezTo>
                <a:close/>
                <a:moveTo>
                  <a:pt x="2358817" y="357890"/>
                </a:moveTo>
                <a:cubicBezTo>
                  <a:pt x="2363338" y="360941"/>
                  <a:pt x="2359137" y="371086"/>
                  <a:pt x="2355963" y="375180"/>
                </a:cubicBezTo>
                <a:cubicBezTo>
                  <a:pt x="2354695" y="374381"/>
                  <a:pt x="2354123" y="373192"/>
                  <a:pt x="2353916" y="371757"/>
                </a:cubicBezTo>
                <a:cubicBezTo>
                  <a:pt x="2353289" y="367449"/>
                  <a:pt x="2356207" y="360986"/>
                  <a:pt x="2358817" y="357890"/>
                </a:cubicBezTo>
                <a:close/>
                <a:moveTo>
                  <a:pt x="2650643" y="357883"/>
                </a:moveTo>
                <a:cubicBezTo>
                  <a:pt x="2650632" y="359030"/>
                  <a:pt x="2652397" y="360193"/>
                  <a:pt x="2652663" y="361415"/>
                </a:cubicBezTo>
                <a:cubicBezTo>
                  <a:pt x="2650876" y="362546"/>
                  <a:pt x="2648825" y="362456"/>
                  <a:pt x="2647164" y="362011"/>
                </a:cubicBezTo>
                <a:cubicBezTo>
                  <a:pt x="2645505" y="361566"/>
                  <a:pt x="2643988" y="360585"/>
                  <a:pt x="2643854" y="359975"/>
                </a:cubicBezTo>
                <a:cubicBezTo>
                  <a:pt x="2645640" y="358843"/>
                  <a:pt x="2648886" y="358908"/>
                  <a:pt x="2650643" y="357883"/>
                </a:cubicBezTo>
                <a:close/>
                <a:moveTo>
                  <a:pt x="2214852" y="357266"/>
                </a:moveTo>
                <a:cubicBezTo>
                  <a:pt x="2230850" y="355112"/>
                  <a:pt x="2261884" y="376537"/>
                  <a:pt x="2252490" y="387246"/>
                </a:cubicBezTo>
                <a:lnTo>
                  <a:pt x="2245605" y="381950"/>
                </a:lnTo>
                <a:lnTo>
                  <a:pt x="2243808" y="384230"/>
                </a:lnTo>
                <a:cubicBezTo>
                  <a:pt x="2240944" y="384957"/>
                  <a:pt x="2236829" y="385924"/>
                  <a:pt x="2233289" y="384746"/>
                </a:cubicBezTo>
                <a:cubicBezTo>
                  <a:pt x="2231935" y="384268"/>
                  <a:pt x="2230915" y="383649"/>
                  <a:pt x="2230009" y="382602"/>
                </a:cubicBezTo>
                <a:cubicBezTo>
                  <a:pt x="2230296" y="381529"/>
                  <a:pt x="2228693" y="380869"/>
                  <a:pt x="2229258" y="379870"/>
                </a:cubicBezTo>
                <a:cubicBezTo>
                  <a:pt x="2229258" y="379870"/>
                  <a:pt x="2228744" y="378468"/>
                  <a:pt x="2229204" y="376751"/>
                </a:cubicBezTo>
                <a:lnTo>
                  <a:pt x="2232815" y="373234"/>
                </a:lnTo>
                <a:lnTo>
                  <a:pt x="2223365" y="366447"/>
                </a:lnTo>
                <a:cubicBezTo>
                  <a:pt x="2220475" y="363947"/>
                  <a:pt x="2217424" y="360945"/>
                  <a:pt x="2214852" y="357266"/>
                </a:cubicBezTo>
                <a:close/>
                <a:moveTo>
                  <a:pt x="2295839" y="356899"/>
                </a:moveTo>
                <a:cubicBezTo>
                  <a:pt x="2298978" y="356807"/>
                  <a:pt x="2302033" y="357855"/>
                  <a:pt x="2304402" y="359525"/>
                </a:cubicBezTo>
                <a:cubicBezTo>
                  <a:pt x="2308866" y="362791"/>
                  <a:pt x="2310864" y="368616"/>
                  <a:pt x="2304884" y="373225"/>
                </a:cubicBezTo>
                <a:cubicBezTo>
                  <a:pt x="2297812" y="373054"/>
                  <a:pt x="2292670" y="371217"/>
                  <a:pt x="2289044" y="370360"/>
                </a:cubicBezTo>
                <a:cubicBezTo>
                  <a:pt x="2288743" y="367060"/>
                  <a:pt x="2287075" y="364427"/>
                  <a:pt x="2286773" y="361126"/>
                </a:cubicBezTo>
                <a:cubicBezTo>
                  <a:pt x="2289477" y="358228"/>
                  <a:pt x="2292700" y="356993"/>
                  <a:pt x="2295839" y="356899"/>
                </a:cubicBezTo>
                <a:close/>
                <a:moveTo>
                  <a:pt x="1368668" y="354209"/>
                </a:moveTo>
                <a:cubicBezTo>
                  <a:pt x="1369867" y="365226"/>
                  <a:pt x="1370639" y="383373"/>
                  <a:pt x="1362691" y="390903"/>
                </a:cubicBezTo>
                <a:cubicBezTo>
                  <a:pt x="1345348" y="382576"/>
                  <a:pt x="1360549" y="359048"/>
                  <a:pt x="1368668" y="354209"/>
                </a:cubicBezTo>
                <a:close/>
                <a:moveTo>
                  <a:pt x="2368843" y="353676"/>
                </a:moveTo>
                <a:cubicBezTo>
                  <a:pt x="2368239" y="355930"/>
                  <a:pt x="2374115" y="359459"/>
                  <a:pt x="2370000" y="360427"/>
                </a:cubicBezTo>
                <a:cubicBezTo>
                  <a:pt x="2368685" y="358694"/>
                  <a:pt x="2367962" y="355855"/>
                  <a:pt x="2366952" y="354090"/>
                </a:cubicBezTo>
                <a:cubicBezTo>
                  <a:pt x="2366952" y="354090"/>
                  <a:pt x="2366924" y="354197"/>
                  <a:pt x="2368843" y="353676"/>
                </a:cubicBezTo>
                <a:close/>
                <a:moveTo>
                  <a:pt x="4389078" y="350349"/>
                </a:moveTo>
                <a:cubicBezTo>
                  <a:pt x="4395488" y="352987"/>
                  <a:pt x="4395373" y="362271"/>
                  <a:pt x="4389387" y="364692"/>
                </a:cubicBezTo>
                <a:cubicBezTo>
                  <a:pt x="4389810" y="360895"/>
                  <a:pt x="4387895" y="358081"/>
                  <a:pt x="4386724" y="355813"/>
                </a:cubicBezTo>
                <a:cubicBezTo>
                  <a:pt x="4385829" y="353619"/>
                  <a:pt x="4385678" y="351968"/>
                  <a:pt x="4389078" y="350349"/>
                </a:cubicBezTo>
                <a:close/>
                <a:moveTo>
                  <a:pt x="2482981" y="346079"/>
                </a:moveTo>
                <a:cubicBezTo>
                  <a:pt x="2482981" y="346079"/>
                  <a:pt x="2483010" y="345972"/>
                  <a:pt x="2483582" y="347161"/>
                </a:cubicBezTo>
                <a:lnTo>
                  <a:pt x="2482741" y="348085"/>
                </a:lnTo>
                <a:lnTo>
                  <a:pt x="2484327" y="347704"/>
                </a:lnTo>
                <a:close/>
                <a:moveTo>
                  <a:pt x="1544349" y="344931"/>
                </a:moveTo>
                <a:cubicBezTo>
                  <a:pt x="1545906" y="344659"/>
                  <a:pt x="1547958" y="344748"/>
                  <a:pt x="1550229" y="345128"/>
                </a:cubicBezTo>
                <a:cubicBezTo>
                  <a:pt x="1549272" y="355336"/>
                  <a:pt x="1552893" y="362862"/>
                  <a:pt x="1554523" y="372268"/>
                </a:cubicBezTo>
                <a:cubicBezTo>
                  <a:pt x="1552967" y="372542"/>
                  <a:pt x="1551469" y="372600"/>
                  <a:pt x="1549197" y="372221"/>
                </a:cubicBezTo>
                <a:cubicBezTo>
                  <a:pt x="1547202" y="371917"/>
                  <a:pt x="1544740" y="371143"/>
                  <a:pt x="1541230" y="369856"/>
                </a:cubicBezTo>
                <a:cubicBezTo>
                  <a:pt x="1547454" y="359910"/>
                  <a:pt x="1528768" y="358812"/>
                  <a:pt x="1532976" y="350855"/>
                </a:cubicBezTo>
                <a:cubicBezTo>
                  <a:pt x="1536738" y="348988"/>
                  <a:pt x="1539127" y="345603"/>
                  <a:pt x="1544349" y="344931"/>
                </a:cubicBezTo>
                <a:close/>
                <a:moveTo>
                  <a:pt x="4573711" y="341975"/>
                </a:moveTo>
                <a:cubicBezTo>
                  <a:pt x="4574013" y="345276"/>
                  <a:pt x="4573352" y="347744"/>
                  <a:pt x="4573654" y="351046"/>
                </a:cubicBezTo>
                <a:cubicBezTo>
                  <a:pt x="4572069" y="351425"/>
                  <a:pt x="4570571" y="351484"/>
                  <a:pt x="4569435" y="351295"/>
                </a:cubicBezTo>
                <a:cubicBezTo>
                  <a:pt x="4566086" y="350513"/>
                  <a:pt x="4564562" y="347344"/>
                  <a:pt x="4563315" y="344249"/>
                </a:cubicBezTo>
                <a:cubicBezTo>
                  <a:pt x="4566790" y="343456"/>
                  <a:pt x="4567729" y="341062"/>
                  <a:pt x="4573711" y="341975"/>
                </a:cubicBezTo>
                <a:close/>
                <a:moveTo>
                  <a:pt x="1351950" y="341334"/>
                </a:moveTo>
                <a:cubicBezTo>
                  <a:pt x="1356852" y="345178"/>
                  <a:pt x="1351163" y="354234"/>
                  <a:pt x="1344311" y="354353"/>
                </a:cubicBezTo>
                <a:cubicBezTo>
                  <a:pt x="1343422" y="354345"/>
                  <a:pt x="1342287" y="354155"/>
                  <a:pt x="1341515" y="353718"/>
                </a:cubicBezTo>
                <a:cubicBezTo>
                  <a:pt x="1338309" y="352400"/>
                  <a:pt x="1335373" y="348968"/>
                  <a:pt x="1333415" y="341888"/>
                </a:cubicBezTo>
                <a:cubicBezTo>
                  <a:pt x="1343735" y="338788"/>
                  <a:pt x="1349251" y="339231"/>
                  <a:pt x="1351950" y="341334"/>
                </a:cubicBezTo>
                <a:close/>
                <a:moveTo>
                  <a:pt x="3623418" y="338969"/>
                </a:moveTo>
                <a:cubicBezTo>
                  <a:pt x="3627562" y="337894"/>
                  <a:pt x="3631274" y="338429"/>
                  <a:pt x="3636682" y="341488"/>
                </a:cubicBezTo>
                <a:cubicBezTo>
                  <a:pt x="3637267" y="347050"/>
                  <a:pt x="3637699" y="345441"/>
                  <a:pt x="3634573" y="350468"/>
                </a:cubicBezTo>
                <a:cubicBezTo>
                  <a:pt x="3630289" y="348745"/>
                  <a:pt x="3625729" y="346948"/>
                  <a:pt x="3621168" y="345151"/>
                </a:cubicBezTo>
                <a:cubicBezTo>
                  <a:pt x="3623156" y="343269"/>
                  <a:pt x="3622711" y="340504"/>
                  <a:pt x="3623418" y="338969"/>
                </a:cubicBezTo>
                <a:close/>
                <a:moveTo>
                  <a:pt x="3220134" y="338780"/>
                </a:moveTo>
                <a:cubicBezTo>
                  <a:pt x="3221661" y="338615"/>
                  <a:pt x="3223350" y="338952"/>
                  <a:pt x="3225258" y="339578"/>
                </a:cubicBezTo>
                <a:cubicBezTo>
                  <a:pt x="3226995" y="340849"/>
                  <a:pt x="3227278" y="343110"/>
                  <a:pt x="3225747" y="346609"/>
                </a:cubicBezTo>
                <a:cubicBezTo>
                  <a:pt x="3224381" y="347279"/>
                  <a:pt x="3222196" y="346578"/>
                  <a:pt x="3220069" y="345663"/>
                </a:cubicBezTo>
                <a:cubicBezTo>
                  <a:pt x="3217665" y="344674"/>
                  <a:pt x="3215595" y="343545"/>
                  <a:pt x="3213716" y="342811"/>
                </a:cubicBezTo>
                <a:cubicBezTo>
                  <a:pt x="3215473" y="341786"/>
                  <a:pt x="3216983" y="340581"/>
                  <a:pt x="3215207" y="340566"/>
                </a:cubicBezTo>
                <a:cubicBezTo>
                  <a:pt x="3216717" y="339360"/>
                  <a:pt x="3218330" y="338872"/>
                  <a:pt x="3220134" y="338780"/>
                </a:cubicBezTo>
                <a:close/>
                <a:moveTo>
                  <a:pt x="3501129" y="337137"/>
                </a:moveTo>
                <a:cubicBezTo>
                  <a:pt x="3511810" y="337124"/>
                  <a:pt x="3520664" y="339496"/>
                  <a:pt x="3527919" y="337875"/>
                </a:cubicBezTo>
                <a:cubicBezTo>
                  <a:pt x="3527919" y="337875"/>
                  <a:pt x="3527919" y="337875"/>
                  <a:pt x="3531696" y="340383"/>
                </a:cubicBezTo>
                <a:cubicBezTo>
                  <a:pt x="3533195" y="340324"/>
                  <a:pt x="3533195" y="340324"/>
                  <a:pt x="3533195" y="340324"/>
                </a:cubicBezTo>
                <a:cubicBezTo>
                  <a:pt x="3534970" y="340340"/>
                  <a:pt x="3535225" y="342707"/>
                  <a:pt x="3535225" y="342707"/>
                </a:cubicBezTo>
                <a:cubicBezTo>
                  <a:pt x="3533705" y="345061"/>
                  <a:pt x="3528695" y="343834"/>
                  <a:pt x="3525422" y="343876"/>
                </a:cubicBezTo>
                <a:cubicBezTo>
                  <a:pt x="3523930" y="346121"/>
                  <a:pt x="3518429" y="341198"/>
                  <a:pt x="3516908" y="343549"/>
                </a:cubicBezTo>
                <a:cubicBezTo>
                  <a:pt x="3511673" y="339847"/>
                  <a:pt x="3505685" y="342268"/>
                  <a:pt x="3498014" y="341017"/>
                </a:cubicBezTo>
                <a:cubicBezTo>
                  <a:pt x="3495466" y="340564"/>
                  <a:pt x="3492728" y="339715"/>
                  <a:pt x="3489580" y="338182"/>
                </a:cubicBezTo>
                <a:cubicBezTo>
                  <a:pt x="3493637" y="337430"/>
                  <a:pt x="3497551" y="337213"/>
                  <a:pt x="3501129" y="337137"/>
                </a:cubicBezTo>
                <a:close/>
                <a:moveTo>
                  <a:pt x="1647590" y="337059"/>
                </a:moveTo>
                <a:cubicBezTo>
                  <a:pt x="1649285" y="339584"/>
                  <a:pt x="1651395" y="339460"/>
                  <a:pt x="1650885" y="343578"/>
                </a:cubicBezTo>
                <a:cubicBezTo>
                  <a:pt x="1648527" y="343521"/>
                  <a:pt x="1646170" y="343465"/>
                  <a:pt x="1643813" y="343408"/>
                </a:cubicBezTo>
                <a:cubicBezTo>
                  <a:pt x="1643511" y="340107"/>
                  <a:pt x="1643180" y="336913"/>
                  <a:pt x="1647590" y="337059"/>
                </a:cubicBezTo>
                <a:close/>
                <a:moveTo>
                  <a:pt x="1314494" y="336129"/>
                </a:moveTo>
                <a:cubicBezTo>
                  <a:pt x="1318044" y="336160"/>
                  <a:pt x="1322225" y="337165"/>
                  <a:pt x="1327251" y="339432"/>
                </a:cubicBezTo>
                <a:cubicBezTo>
                  <a:pt x="1334137" y="344727"/>
                  <a:pt x="1329609" y="357199"/>
                  <a:pt x="1321754" y="357739"/>
                </a:cubicBezTo>
                <a:cubicBezTo>
                  <a:pt x="1317193" y="355941"/>
                  <a:pt x="1312604" y="354252"/>
                  <a:pt x="1308320" y="352530"/>
                </a:cubicBezTo>
                <a:cubicBezTo>
                  <a:pt x="1302437" y="346812"/>
                  <a:pt x="1302940" y="340508"/>
                  <a:pt x="1308157" y="337650"/>
                </a:cubicBezTo>
                <a:cubicBezTo>
                  <a:pt x="1309884" y="336733"/>
                  <a:pt x="1311832" y="336105"/>
                  <a:pt x="1314494" y="336129"/>
                </a:cubicBezTo>
                <a:close/>
                <a:moveTo>
                  <a:pt x="1714746" y="334354"/>
                </a:moveTo>
                <a:cubicBezTo>
                  <a:pt x="1723356" y="333212"/>
                  <a:pt x="1737561" y="338856"/>
                  <a:pt x="1748252" y="346552"/>
                </a:cubicBezTo>
                <a:cubicBezTo>
                  <a:pt x="1758666" y="354172"/>
                  <a:pt x="1765623" y="363626"/>
                  <a:pt x="1759126" y="370166"/>
                </a:cubicBezTo>
                <a:cubicBezTo>
                  <a:pt x="1748902" y="354086"/>
                  <a:pt x="1721674" y="352771"/>
                  <a:pt x="1714746" y="334354"/>
                </a:cubicBezTo>
                <a:close/>
                <a:moveTo>
                  <a:pt x="2598882" y="334124"/>
                </a:moveTo>
                <a:cubicBezTo>
                  <a:pt x="2602532" y="338207"/>
                  <a:pt x="2600108" y="339512"/>
                  <a:pt x="2602719" y="341938"/>
                </a:cubicBezTo>
                <a:cubicBezTo>
                  <a:pt x="2599493" y="342913"/>
                  <a:pt x="2596524" y="342922"/>
                  <a:pt x="2594063" y="342148"/>
                </a:cubicBezTo>
                <a:cubicBezTo>
                  <a:pt x="2591324" y="341299"/>
                  <a:pt x="2588845" y="339484"/>
                  <a:pt x="2586480" y="337241"/>
                </a:cubicBezTo>
                <a:cubicBezTo>
                  <a:pt x="2587897" y="334170"/>
                  <a:pt x="2594380" y="332113"/>
                  <a:pt x="2598882" y="334124"/>
                </a:cubicBezTo>
                <a:close/>
                <a:moveTo>
                  <a:pt x="2494306" y="333560"/>
                </a:moveTo>
                <a:cubicBezTo>
                  <a:pt x="2498066" y="333503"/>
                  <a:pt x="2502784" y="334711"/>
                  <a:pt x="2507789" y="336511"/>
                </a:cubicBezTo>
                <a:cubicBezTo>
                  <a:pt x="2506803" y="337972"/>
                  <a:pt x="2512586" y="339636"/>
                  <a:pt x="2515008" y="341665"/>
                </a:cubicBezTo>
                <a:cubicBezTo>
                  <a:pt x="2516416" y="345263"/>
                  <a:pt x="2517560" y="347639"/>
                  <a:pt x="2515342" y="350380"/>
                </a:cubicBezTo>
                <a:cubicBezTo>
                  <a:pt x="2511864" y="354508"/>
                  <a:pt x="2501647" y="358326"/>
                  <a:pt x="2495570" y="355547"/>
                </a:cubicBezTo>
                <a:cubicBezTo>
                  <a:pt x="2491478" y="354221"/>
                  <a:pt x="2488634" y="352654"/>
                  <a:pt x="2486679" y="351094"/>
                </a:cubicBezTo>
                <a:lnTo>
                  <a:pt x="2485641" y="349437"/>
                </a:lnTo>
                <a:lnTo>
                  <a:pt x="2486324" y="353529"/>
                </a:lnTo>
                <a:cubicBezTo>
                  <a:pt x="2485864" y="355247"/>
                  <a:pt x="2484326" y="356559"/>
                  <a:pt x="2483065" y="357946"/>
                </a:cubicBezTo>
                <a:cubicBezTo>
                  <a:pt x="2480581" y="359466"/>
                  <a:pt x="2480264" y="360647"/>
                  <a:pt x="2481016" y="363377"/>
                </a:cubicBezTo>
                <a:cubicBezTo>
                  <a:pt x="2481016" y="363377"/>
                  <a:pt x="2481016" y="363377"/>
                  <a:pt x="2477207" y="364312"/>
                </a:cubicBezTo>
                <a:lnTo>
                  <a:pt x="2475575" y="363760"/>
                </a:lnTo>
                <a:cubicBezTo>
                  <a:pt x="2474860" y="363108"/>
                  <a:pt x="2474842" y="362069"/>
                  <a:pt x="2475158" y="360888"/>
                </a:cubicBezTo>
                <a:cubicBezTo>
                  <a:pt x="2475399" y="358882"/>
                  <a:pt x="2476614" y="356564"/>
                  <a:pt x="2478019" y="354640"/>
                </a:cubicBezTo>
                <a:lnTo>
                  <a:pt x="2480160" y="351074"/>
                </a:lnTo>
                <a:lnTo>
                  <a:pt x="2475058" y="356836"/>
                </a:lnTo>
                <a:cubicBezTo>
                  <a:pt x="2471867" y="359891"/>
                  <a:pt x="2468572" y="362228"/>
                  <a:pt x="2465965" y="361991"/>
                </a:cubicBezTo>
                <a:cubicBezTo>
                  <a:pt x="2465395" y="360803"/>
                  <a:pt x="2464823" y="359614"/>
                  <a:pt x="2466086" y="358226"/>
                </a:cubicBezTo>
                <a:cubicBezTo>
                  <a:pt x="2467069" y="356765"/>
                  <a:pt x="2467641" y="357954"/>
                  <a:pt x="2467346" y="356839"/>
                </a:cubicBezTo>
                <a:cubicBezTo>
                  <a:pt x="2468331" y="355379"/>
                  <a:pt x="2466775" y="355652"/>
                  <a:pt x="2466775" y="355652"/>
                </a:cubicBezTo>
                <a:cubicBezTo>
                  <a:pt x="2466775" y="355652"/>
                  <a:pt x="2468302" y="355486"/>
                  <a:pt x="2468302" y="355486"/>
                </a:cubicBezTo>
                <a:cubicBezTo>
                  <a:pt x="2468302" y="355486"/>
                  <a:pt x="2468331" y="355379"/>
                  <a:pt x="2470548" y="352638"/>
                </a:cubicBezTo>
                <a:cubicBezTo>
                  <a:pt x="2472194" y="348708"/>
                  <a:pt x="2471928" y="347488"/>
                  <a:pt x="2472313" y="344946"/>
                </a:cubicBezTo>
                <a:cubicBezTo>
                  <a:pt x="2474559" y="342098"/>
                  <a:pt x="2476362" y="342006"/>
                  <a:pt x="2480137" y="338992"/>
                </a:cubicBezTo>
                <a:cubicBezTo>
                  <a:pt x="2483791" y="339741"/>
                  <a:pt x="2483791" y="339741"/>
                  <a:pt x="2484361" y="340929"/>
                </a:cubicBezTo>
                <a:cubicBezTo>
                  <a:pt x="2483791" y="339741"/>
                  <a:pt x="2485347" y="339467"/>
                  <a:pt x="2486579" y="338188"/>
                </a:cubicBezTo>
                <a:cubicBezTo>
                  <a:pt x="2487748" y="334935"/>
                  <a:pt x="2490548" y="333616"/>
                  <a:pt x="2494306" y="333560"/>
                </a:cubicBezTo>
                <a:close/>
                <a:moveTo>
                  <a:pt x="3313778" y="333512"/>
                </a:moveTo>
                <a:cubicBezTo>
                  <a:pt x="3319161" y="333345"/>
                  <a:pt x="3329134" y="334867"/>
                  <a:pt x="3330328" y="334841"/>
                </a:cubicBezTo>
                <a:cubicBezTo>
                  <a:pt x="3330328" y="334841"/>
                  <a:pt x="3332103" y="334857"/>
                  <a:pt x="3333849" y="334980"/>
                </a:cubicBezTo>
                <a:cubicBezTo>
                  <a:pt x="3335614" y="336142"/>
                  <a:pt x="3335879" y="337364"/>
                  <a:pt x="3337378" y="337306"/>
                </a:cubicBezTo>
                <a:cubicBezTo>
                  <a:pt x="3332907" y="340707"/>
                  <a:pt x="3327592" y="339513"/>
                  <a:pt x="3322307" y="338213"/>
                </a:cubicBezTo>
                <a:cubicBezTo>
                  <a:pt x="3318796" y="336926"/>
                  <a:pt x="3317297" y="336985"/>
                  <a:pt x="3314041" y="338067"/>
                </a:cubicBezTo>
                <a:cubicBezTo>
                  <a:pt x="3314041" y="338067"/>
                  <a:pt x="3314041" y="338067"/>
                  <a:pt x="3310541" y="335635"/>
                </a:cubicBezTo>
                <a:lnTo>
                  <a:pt x="3310246" y="334521"/>
                </a:lnTo>
                <a:cubicBezTo>
                  <a:pt x="3310696" y="333951"/>
                  <a:pt x="3311975" y="333604"/>
                  <a:pt x="3313778" y="333512"/>
                </a:cubicBezTo>
                <a:close/>
                <a:moveTo>
                  <a:pt x="2375538" y="332010"/>
                </a:moveTo>
                <a:cubicBezTo>
                  <a:pt x="2375538" y="332010"/>
                  <a:pt x="2375509" y="332117"/>
                  <a:pt x="2374945" y="333116"/>
                </a:cubicBezTo>
                <a:cubicBezTo>
                  <a:pt x="2374945" y="333116"/>
                  <a:pt x="2375261" y="331937"/>
                  <a:pt x="2376864" y="332595"/>
                </a:cubicBezTo>
                <a:cubicBezTo>
                  <a:pt x="2379347" y="339932"/>
                  <a:pt x="2374471" y="348169"/>
                  <a:pt x="2374155" y="349349"/>
                </a:cubicBezTo>
                <a:cubicBezTo>
                  <a:pt x="2372552" y="348690"/>
                  <a:pt x="2372829" y="348764"/>
                  <a:pt x="2372829" y="348764"/>
                </a:cubicBezTo>
                <a:cubicBezTo>
                  <a:pt x="2375103" y="345808"/>
                  <a:pt x="2372685" y="340446"/>
                  <a:pt x="2373281" y="336005"/>
                </a:cubicBezTo>
                <a:cubicBezTo>
                  <a:pt x="2373683" y="334503"/>
                  <a:pt x="2374057" y="333108"/>
                  <a:pt x="2375538" y="332010"/>
                </a:cubicBezTo>
                <a:close/>
                <a:moveTo>
                  <a:pt x="2626449" y="331966"/>
                </a:moveTo>
                <a:cubicBezTo>
                  <a:pt x="2628514" y="336428"/>
                  <a:pt x="2617255" y="341923"/>
                  <a:pt x="2611528" y="343378"/>
                </a:cubicBezTo>
                <a:cubicBezTo>
                  <a:pt x="2610957" y="342189"/>
                  <a:pt x="2611244" y="341116"/>
                  <a:pt x="2612142" y="339977"/>
                </a:cubicBezTo>
                <a:cubicBezTo>
                  <a:pt x="2614866" y="336452"/>
                  <a:pt x="2622028" y="332966"/>
                  <a:pt x="2626449" y="331966"/>
                </a:cubicBezTo>
                <a:close/>
                <a:moveTo>
                  <a:pt x="3560276" y="327800"/>
                </a:moveTo>
                <a:cubicBezTo>
                  <a:pt x="3566838" y="332088"/>
                  <a:pt x="3566931" y="342808"/>
                  <a:pt x="3555116" y="342632"/>
                </a:cubicBezTo>
                <a:cubicBezTo>
                  <a:pt x="3550250" y="340868"/>
                  <a:pt x="3545108" y="339031"/>
                  <a:pt x="3543415" y="333172"/>
                </a:cubicBezTo>
                <a:cubicBezTo>
                  <a:pt x="3546282" y="329110"/>
                  <a:pt x="3550846" y="327574"/>
                  <a:pt x="3560276" y="327800"/>
                </a:cubicBezTo>
                <a:close/>
                <a:moveTo>
                  <a:pt x="2739085" y="327761"/>
                </a:moveTo>
                <a:cubicBezTo>
                  <a:pt x="2747368" y="337801"/>
                  <a:pt x="2756086" y="342897"/>
                  <a:pt x="2765249" y="350756"/>
                </a:cubicBezTo>
                <a:cubicBezTo>
                  <a:pt x="2764369" y="352936"/>
                  <a:pt x="2761637" y="354274"/>
                  <a:pt x="2755691" y="355441"/>
                </a:cubicBezTo>
                <a:cubicBezTo>
                  <a:pt x="2750426" y="342990"/>
                  <a:pt x="2738610" y="351668"/>
                  <a:pt x="2734068" y="342056"/>
                </a:cubicBezTo>
                <a:cubicBezTo>
                  <a:pt x="2734435" y="338474"/>
                  <a:pt x="2732979" y="333945"/>
                  <a:pt x="2735340" y="330667"/>
                </a:cubicBezTo>
                <a:cubicBezTo>
                  <a:pt x="2736210" y="329636"/>
                  <a:pt x="2737385" y="328570"/>
                  <a:pt x="2739085" y="327761"/>
                </a:cubicBezTo>
                <a:close/>
                <a:moveTo>
                  <a:pt x="3208282" y="327670"/>
                </a:moveTo>
                <a:cubicBezTo>
                  <a:pt x="3213245" y="327964"/>
                  <a:pt x="3216698" y="329464"/>
                  <a:pt x="3220131" y="333260"/>
                </a:cubicBezTo>
                <a:cubicBezTo>
                  <a:pt x="3216842" y="337783"/>
                  <a:pt x="3218323" y="336685"/>
                  <a:pt x="3211858" y="339783"/>
                </a:cubicBezTo>
                <a:cubicBezTo>
                  <a:pt x="3208416" y="337136"/>
                  <a:pt x="3204972" y="334489"/>
                  <a:pt x="3201501" y="331949"/>
                </a:cubicBezTo>
                <a:cubicBezTo>
                  <a:pt x="3205034" y="330940"/>
                  <a:pt x="3206802" y="328768"/>
                  <a:pt x="3208282" y="327670"/>
                </a:cubicBezTo>
                <a:close/>
                <a:moveTo>
                  <a:pt x="2651596" y="324444"/>
                </a:moveTo>
                <a:cubicBezTo>
                  <a:pt x="2655754" y="327743"/>
                  <a:pt x="2650169" y="337516"/>
                  <a:pt x="2646471" y="341355"/>
                </a:cubicBezTo>
                <a:cubicBezTo>
                  <a:pt x="2645231" y="340448"/>
                  <a:pt x="2644938" y="339334"/>
                  <a:pt x="2644757" y="337791"/>
                </a:cubicBezTo>
                <a:cubicBezTo>
                  <a:pt x="2644991" y="333598"/>
                  <a:pt x="2648739" y="327358"/>
                  <a:pt x="2651596" y="324444"/>
                </a:cubicBezTo>
                <a:close/>
                <a:moveTo>
                  <a:pt x="2358300" y="324401"/>
                </a:moveTo>
                <a:cubicBezTo>
                  <a:pt x="2362098" y="324614"/>
                  <a:pt x="2362098" y="324614"/>
                  <a:pt x="2364740" y="326931"/>
                </a:cubicBezTo>
                <a:cubicBezTo>
                  <a:pt x="2364452" y="328005"/>
                  <a:pt x="2366054" y="328664"/>
                  <a:pt x="2363859" y="329110"/>
                </a:cubicBezTo>
                <a:cubicBezTo>
                  <a:pt x="2367815" y="333161"/>
                  <a:pt x="2369091" y="345002"/>
                  <a:pt x="2365727" y="348701"/>
                </a:cubicBezTo>
                <a:cubicBezTo>
                  <a:pt x="2354174" y="335371"/>
                  <a:pt x="2364611" y="331842"/>
                  <a:pt x="2358300" y="324401"/>
                </a:cubicBezTo>
                <a:close/>
                <a:moveTo>
                  <a:pt x="3172390" y="324377"/>
                </a:moveTo>
                <a:cubicBezTo>
                  <a:pt x="3176127" y="328139"/>
                  <a:pt x="3181457" y="324852"/>
                  <a:pt x="3182405" y="330166"/>
                </a:cubicBezTo>
                <a:cubicBezTo>
                  <a:pt x="3181219" y="332379"/>
                  <a:pt x="3178402" y="334038"/>
                  <a:pt x="3172321" y="334595"/>
                </a:cubicBezTo>
                <a:cubicBezTo>
                  <a:pt x="3170586" y="333324"/>
                  <a:pt x="3169680" y="332277"/>
                  <a:pt x="3169052" y="331303"/>
                </a:cubicBezTo>
                <a:cubicBezTo>
                  <a:pt x="3167165" y="328382"/>
                  <a:pt x="3169792" y="326326"/>
                  <a:pt x="3172390" y="324377"/>
                </a:cubicBezTo>
                <a:close/>
                <a:moveTo>
                  <a:pt x="1710015" y="324347"/>
                </a:moveTo>
                <a:cubicBezTo>
                  <a:pt x="1710538" y="324602"/>
                  <a:pt x="1711530" y="325327"/>
                  <a:pt x="1713161" y="325879"/>
                </a:cubicBezTo>
                <a:cubicBezTo>
                  <a:pt x="1714926" y="327041"/>
                  <a:pt x="1716424" y="326983"/>
                  <a:pt x="1714943" y="328081"/>
                </a:cubicBezTo>
                <a:cubicBezTo>
                  <a:pt x="1713463" y="329180"/>
                  <a:pt x="1713463" y="329180"/>
                  <a:pt x="1708749" y="329067"/>
                </a:cubicBezTo>
                <a:cubicBezTo>
                  <a:pt x="1710229" y="327968"/>
                  <a:pt x="1710229" y="327968"/>
                  <a:pt x="1708466" y="326805"/>
                </a:cubicBezTo>
                <a:cubicBezTo>
                  <a:pt x="1708466" y="326805"/>
                  <a:pt x="1708466" y="326805"/>
                  <a:pt x="1706689" y="326790"/>
                </a:cubicBezTo>
                <a:cubicBezTo>
                  <a:pt x="1706700" y="325643"/>
                  <a:pt x="1708170" y="325692"/>
                  <a:pt x="1708151" y="324652"/>
                </a:cubicBezTo>
                <a:cubicBezTo>
                  <a:pt x="1708151" y="324652"/>
                  <a:pt x="1709928" y="324667"/>
                  <a:pt x="1709928" y="324667"/>
                </a:cubicBezTo>
                <a:cubicBezTo>
                  <a:pt x="1709794" y="324057"/>
                  <a:pt x="1709794" y="324057"/>
                  <a:pt x="1710015" y="324347"/>
                </a:cubicBezTo>
                <a:close/>
                <a:moveTo>
                  <a:pt x="3816630" y="324039"/>
                </a:moveTo>
                <a:cubicBezTo>
                  <a:pt x="3820406" y="326546"/>
                  <a:pt x="3822128" y="332298"/>
                  <a:pt x="3818833" y="334635"/>
                </a:cubicBezTo>
                <a:cubicBezTo>
                  <a:pt x="3813277" y="335445"/>
                  <a:pt x="3811858" y="332995"/>
                  <a:pt x="3808412" y="333682"/>
                </a:cubicBezTo>
                <a:cubicBezTo>
                  <a:pt x="3806662" y="328038"/>
                  <a:pt x="3809986" y="325593"/>
                  <a:pt x="3816630" y="324039"/>
                </a:cubicBezTo>
                <a:close/>
                <a:moveTo>
                  <a:pt x="2353089" y="323925"/>
                </a:moveTo>
                <a:cubicBezTo>
                  <a:pt x="2357039" y="325788"/>
                  <a:pt x="2361264" y="327725"/>
                  <a:pt x="2359047" y="330466"/>
                </a:cubicBezTo>
                <a:cubicBezTo>
                  <a:pt x="2358091" y="331820"/>
                  <a:pt x="2356830" y="333208"/>
                  <a:pt x="2353441" y="333679"/>
                </a:cubicBezTo>
                <a:cubicBezTo>
                  <a:pt x="2349492" y="331816"/>
                  <a:pt x="2349610" y="328052"/>
                  <a:pt x="2347511" y="327030"/>
                </a:cubicBezTo>
                <a:cubicBezTo>
                  <a:pt x="2349040" y="326864"/>
                  <a:pt x="2352399" y="326500"/>
                  <a:pt x="2353089" y="323925"/>
                </a:cubicBezTo>
                <a:close/>
                <a:moveTo>
                  <a:pt x="3408383" y="323556"/>
                </a:moveTo>
                <a:cubicBezTo>
                  <a:pt x="3414338" y="324577"/>
                  <a:pt x="3423969" y="324051"/>
                  <a:pt x="3433088" y="327645"/>
                </a:cubicBezTo>
                <a:cubicBezTo>
                  <a:pt x="3444326" y="342156"/>
                  <a:pt x="3440211" y="351980"/>
                  <a:pt x="3427223" y="358390"/>
                </a:cubicBezTo>
                <a:cubicBezTo>
                  <a:pt x="3402242" y="354225"/>
                  <a:pt x="3391749" y="331404"/>
                  <a:pt x="3408383" y="323556"/>
                </a:cubicBezTo>
                <a:close/>
                <a:moveTo>
                  <a:pt x="3658915" y="316481"/>
                </a:moveTo>
                <a:cubicBezTo>
                  <a:pt x="3670336" y="316608"/>
                  <a:pt x="3683054" y="318953"/>
                  <a:pt x="3688692" y="321153"/>
                </a:cubicBezTo>
                <a:cubicBezTo>
                  <a:pt x="3674821" y="324222"/>
                  <a:pt x="3651671" y="328714"/>
                  <a:pt x="3636920" y="325106"/>
                </a:cubicBezTo>
                <a:cubicBezTo>
                  <a:pt x="3637371" y="318442"/>
                  <a:pt x="3647495" y="316353"/>
                  <a:pt x="3658915" y="316481"/>
                </a:cubicBezTo>
                <a:close/>
                <a:moveTo>
                  <a:pt x="2382305" y="314503"/>
                </a:moveTo>
                <a:cubicBezTo>
                  <a:pt x="2384738" y="315385"/>
                  <a:pt x="2386417" y="316870"/>
                  <a:pt x="2387005" y="319098"/>
                </a:cubicBezTo>
                <a:cubicBezTo>
                  <a:pt x="2383142" y="325767"/>
                  <a:pt x="2374223" y="321423"/>
                  <a:pt x="2363371" y="322079"/>
                </a:cubicBezTo>
                <a:cubicBezTo>
                  <a:pt x="2362710" y="315693"/>
                  <a:pt x="2374950" y="312072"/>
                  <a:pt x="2382305" y="314503"/>
                </a:cubicBezTo>
                <a:close/>
                <a:moveTo>
                  <a:pt x="1624728" y="313913"/>
                </a:moveTo>
                <a:cubicBezTo>
                  <a:pt x="1635038" y="320816"/>
                  <a:pt x="1633237" y="344139"/>
                  <a:pt x="1615588" y="344701"/>
                </a:cubicBezTo>
                <a:cubicBezTo>
                  <a:pt x="1616943" y="336323"/>
                  <a:pt x="1619539" y="328853"/>
                  <a:pt x="1615570" y="317095"/>
                </a:cubicBezTo>
                <a:cubicBezTo>
                  <a:pt x="1620316" y="317101"/>
                  <a:pt x="1618467" y="312926"/>
                  <a:pt x="1624728" y="313913"/>
                </a:cubicBezTo>
                <a:close/>
                <a:moveTo>
                  <a:pt x="2931974" y="313831"/>
                </a:moveTo>
                <a:cubicBezTo>
                  <a:pt x="2939634" y="314919"/>
                  <a:pt x="2941438" y="326033"/>
                  <a:pt x="2944960" y="331979"/>
                </a:cubicBezTo>
                <a:cubicBezTo>
                  <a:pt x="2939355" y="335192"/>
                  <a:pt x="2937407" y="335820"/>
                  <a:pt x="2929971" y="335898"/>
                </a:cubicBezTo>
                <a:cubicBezTo>
                  <a:pt x="2926091" y="332673"/>
                  <a:pt x="2924262" y="329538"/>
                  <a:pt x="2923349" y="326303"/>
                </a:cubicBezTo>
                <a:cubicBezTo>
                  <a:pt x="2922131" y="323102"/>
                  <a:pt x="2922105" y="319874"/>
                  <a:pt x="2922081" y="316648"/>
                </a:cubicBezTo>
                <a:cubicBezTo>
                  <a:pt x="2926216" y="314220"/>
                  <a:pt x="2929420" y="313468"/>
                  <a:pt x="2931974" y="313831"/>
                </a:cubicBezTo>
                <a:close/>
                <a:moveTo>
                  <a:pt x="2952568" y="313547"/>
                </a:moveTo>
                <a:cubicBezTo>
                  <a:pt x="2952568" y="313547"/>
                  <a:pt x="2953761" y="313522"/>
                  <a:pt x="2955144" y="313893"/>
                </a:cubicBezTo>
                <a:cubicBezTo>
                  <a:pt x="2956529" y="314263"/>
                  <a:pt x="2958160" y="314816"/>
                  <a:pt x="2958817" y="315682"/>
                </a:cubicBezTo>
                <a:cubicBezTo>
                  <a:pt x="2961763" y="317966"/>
                  <a:pt x="2955978" y="319636"/>
                  <a:pt x="2955414" y="320635"/>
                </a:cubicBezTo>
                <a:cubicBezTo>
                  <a:pt x="2954440" y="320949"/>
                  <a:pt x="2953466" y="321263"/>
                  <a:pt x="2952579" y="321256"/>
                </a:cubicBezTo>
                <a:cubicBezTo>
                  <a:pt x="2951691" y="321247"/>
                  <a:pt x="2951166" y="320992"/>
                  <a:pt x="2950509" y="320125"/>
                </a:cubicBezTo>
                <a:cubicBezTo>
                  <a:pt x="2949165" y="318500"/>
                  <a:pt x="2947562" y="317842"/>
                  <a:pt x="2949798" y="316139"/>
                </a:cubicBezTo>
                <a:cubicBezTo>
                  <a:pt x="2950085" y="315067"/>
                  <a:pt x="2952004" y="314546"/>
                  <a:pt x="2952568" y="313547"/>
                </a:cubicBezTo>
                <a:close/>
                <a:moveTo>
                  <a:pt x="2795522" y="308612"/>
                </a:moveTo>
                <a:cubicBezTo>
                  <a:pt x="2805613" y="306372"/>
                  <a:pt x="2819459" y="308932"/>
                  <a:pt x="2832551" y="320949"/>
                </a:cubicBezTo>
                <a:lnTo>
                  <a:pt x="2831871" y="322377"/>
                </a:lnTo>
                <a:lnTo>
                  <a:pt x="2835436" y="317927"/>
                </a:lnTo>
                <a:cubicBezTo>
                  <a:pt x="2838652" y="318099"/>
                  <a:pt x="2841332" y="319162"/>
                  <a:pt x="2843565" y="320796"/>
                </a:cubicBezTo>
                <a:lnTo>
                  <a:pt x="2845624" y="323072"/>
                </a:lnTo>
                <a:lnTo>
                  <a:pt x="2847011" y="320109"/>
                </a:lnTo>
                <a:cubicBezTo>
                  <a:pt x="2851571" y="321906"/>
                  <a:pt x="2855035" y="322259"/>
                  <a:pt x="2858040" y="324329"/>
                </a:cubicBezTo>
                <a:cubicBezTo>
                  <a:pt x="2858646" y="327597"/>
                  <a:pt x="2857575" y="329380"/>
                  <a:pt x="2855103" y="329752"/>
                </a:cubicBezTo>
                <a:lnTo>
                  <a:pt x="2848987" y="328228"/>
                </a:lnTo>
                <a:lnTo>
                  <a:pt x="2850241" y="333509"/>
                </a:lnTo>
                <a:cubicBezTo>
                  <a:pt x="2849972" y="335622"/>
                  <a:pt x="2849206" y="337372"/>
                  <a:pt x="2847667" y="338685"/>
                </a:cubicBezTo>
                <a:cubicBezTo>
                  <a:pt x="2842982" y="338464"/>
                  <a:pt x="2838594" y="336023"/>
                  <a:pt x="2835878" y="332881"/>
                </a:cubicBezTo>
                <a:lnTo>
                  <a:pt x="2831785" y="322699"/>
                </a:lnTo>
                <a:lnTo>
                  <a:pt x="2827537" y="331911"/>
                </a:lnTo>
                <a:cubicBezTo>
                  <a:pt x="2820264" y="341347"/>
                  <a:pt x="2806687" y="345529"/>
                  <a:pt x="2793225" y="340427"/>
                </a:cubicBezTo>
                <a:cubicBezTo>
                  <a:pt x="2787979" y="337872"/>
                  <a:pt x="2784346" y="334828"/>
                  <a:pt x="2782240" y="331619"/>
                </a:cubicBezTo>
                <a:lnTo>
                  <a:pt x="2780853" y="325727"/>
                </a:lnTo>
                <a:lnTo>
                  <a:pt x="2778395" y="321618"/>
                </a:lnTo>
                <a:cubicBezTo>
                  <a:pt x="2778395" y="321618"/>
                  <a:pt x="2778395" y="321618"/>
                  <a:pt x="2778661" y="322840"/>
                </a:cubicBezTo>
                <a:lnTo>
                  <a:pt x="2773235" y="327596"/>
                </a:lnTo>
                <a:lnTo>
                  <a:pt x="2775218" y="329048"/>
                </a:lnTo>
                <a:lnTo>
                  <a:pt x="2771697" y="328909"/>
                </a:lnTo>
                <a:lnTo>
                  <a:pt x="2768868" y="331716"/>
                </a:lnTo>
                <a:cubicBezTo>
                  <a:pt x="2765153" y="334515"/>
                  <a:pt x="2761361" y="336490"/>
                  <a:pt x="2758813" y="336037"/>
                </a:cubicBezTo>
                <a:cubicBezTo>
                  <a:pt x="2758519" y="334923"/>
                  <a:pt x="2758253" y="333701"/>
                  <a:pt x="2759486" y="332422"/>
                </a:cubicBezTo>
                <a:cubicBezTo>
                  <a:pt x="2761024" y="331109"/>
                  <a:pt x="2761290" y="332331"/>
                  <a:pt x="2760747" y="331035"/>
                </a:cubicBezTo>
                <a:cubicBezTo>
                  <a:pt x="2762256" y="329829"/>
                  <a:pt x="2760452" y="329921"/>
                  <a:pt x="2760452" y="329921"/>
                </a:cubicBezTo>
                <a:cubicBezTo>
                  <a:pt x="2760452" y="329921"/>
                  <a:pt x="2762256" y="329829"/>
                  <a:pt x="2762256" y="329829"/>
                </a:cubicBezTo>
                <a:cubicBezTo>
                  <a:pt x="2762256" y="329829"/>
                  <a:pt x="2762256" y="329829"/>
                  <a:pt x="2762648" y="329474"/>
                </a:cubicBezTo>
                <a:lnTo>
                  <a:pt x="2763517" y="328442"/>
                </a:lnTo>
                <a:lnTo>
                  <a:pt x="2755978" y="327801"/>
                </a:lnTo>
                <a:cubicBezTo>
                  <a:pt x="2752021" y="323751"/>
                  <a:pt x="2743031" y="324104"/>
                  <a:pt x="2737788" y="318213"/>
                </a:cubicBezTo>
                <a:cubicBezTo>
                  <a:pt x="2742190" y="316173"/>
                  <a:pt x="2750692" y="317645"/>
                  <a:pt x="2758602" y="320225"/>
                </a:cubicBezTo>
                <a:lnTo>
                  <a:pt x="2766615" y="323523"/>
                </a:lnTo>
                <a:lnTo>
                  <a:pt x="2766759" y="322986"/>
                </a:lnTo>
                <a:cubicBezTo>
                  <a:pt x="2767046" y="321912"/>
                  <a:pt x="2767276" y="321055"/>
                  <a:pt x="2767899" y="319840"/>
                </a:cubicBezTo>
                <a:cubicBezTo>
                  <a:pt x="2770392" y="317174"/>
                  <a:pt x="2772196" y="317083"/>
                  <a:pt x="2776466" y="314431"/>
                </a:cubicBezTo>
                <a:cubicBezTo>
                  <a:pt x="2780063" y="315395"/>
                  <a:pt x="2780034" y="315502"/>
                  <a:pt x="2780329" y="316617"/>
                </a:cubicBezTo>
                <a:cubicBezTo>
                  <a:pt x="2780034" y="315502"/>
                  <a:pt x="2781589" y="315230"/>
                  <a:pt x="2783099" y="314023"/>
                </a:cubicBezTo>
                <a:cubicBezTo>
                  <a:pt x="2784544" y="310846"/>
                  <a:pt x="2787771" y="309870"/>
                  <a:pt x="2791570" y="310084"/>
                </a:cubicBezTo>
                <a:lnTo>
                  <a:pt x="2791846" y="310157"/>
                </a:lnTo>
                <a:close/>
                <a:moveTo>
                  <a:pt x="3034936" y="303877"/>
                </a:moveTo>
                <a:cubicBezTo>
                  <a:pt x="3037359" y="305906"/>
                  <a:pt x="3040622" y="307010"/>
                  <a:pt x="3044951" y="309666"/>
                </a:cubicBezTo>
                <a:cubicBezTo>
                  <a:pt x="3043202" y="312877"/>
                  <a:pt x="3034836" y="317535"/>
                  <a:pt x="3026334" y="316062"/>
                </a:cubicBezTo>
                <a:cubicBezTo>
                  <a:pt x="3025018" y="314330"/>
                  <a:pt x="3023951" y="312778"/>
                  <a:pt x="3023714" y="311450"/>
                </a:cubicBezTo>
                <a:cubicBezTo>
                  <a:pt x="3023002" y="307464"/>
                  <a:pt x="3027214" y="305028"/>
                  <a:pt x="3034936" y="303877"/>
                </a:cubicBezTo>
                <a:close/>
                <a:moveTo>
                  <a:pt x="2638753" y="303752"/>
                </a:moveTo>
                <a:cubicBezTo>
                  <a:pt x="2640385" y="304304"/>
                  <a:pt x="2643313" y="305548"/>
                  <a:pt x="2645796" y="304029"/>
                </a:cubicBezTo>
                <a:cubicBezTo>
                  <a:pt x="2648150" y="307420"/>
                  <a:pt x="2650504" y="310811"/>
                  <a:pt x="2646389" y="311778"/>
                </a:cubicBezTo>
                <a:cubicBezTo>
                  <a:pt x="2644500" y="312192"/>
                  <a:pt x="2642580" y="312712"/>
                  <a:pt x="2639346" y="311501"/>
                </a:cubicBezTo>
                <a:cubicBezTo>
                  <a:pt x="2637021" y="308002"/>
                  <a:pt x="2639791" y="305410"/>
                  <a:pt x="2638753" y="303752"/>
                </a:cubicBezTo>
                <a:close/>
                <a:moveTo>
                  <a:pt x="3285552" y="302719"/>
                </a:moveTo>
                <a:cubicBezTo>
                  <a:pt x="3285552" y="302719"/>
                  <a:pt x="3287183" y="303271"/>
                  <a:pt x="3287183" y="303271"/>
                </a:cubicBezTo>
                <a:cubicBezTo>
                  <a:pt x="3287327" y="302734"/>
                  <a:pt x="3287327" y="302734"/>
                  <a:pt x="3287794" y="303205"/>
                </a:cubicBezTo>
                <a:cubicBezTo>
                  <a:pt x="3287984" y="303600"/>
                  <a:pt x="3288671" y="304360"/>
                  <a:pt x="3290159" y="305448"/>
                </a:cubicBezTo>
                <a:cubicBezTo>
                  <a:pt x="3291226" y="306999"/>
                  <a:pt x="3292857" y="307551"/>
                  <a:pt x="3290939" y="308072"/>
                </a:cubicBezTo>
                <a:cubicBezTo>
                  <a:pt x="3289964" y="308386"/>
                  <a:pt x="3289631" y="308526"/>
                  <a:pt x="3288800" y="308304"/>
                </a:cubicBezTo>
                <a:cubicBezTo>
                  <a:pt x="3287941" y="308188"/>
                  <a:pt x="3286587" y="307711"/>
                  <a:pt x="3284402" y="307010"/>
                </a:cubicBezTo>
                <a:cubicBezTo>
                  <a:pt x="3286321" y="306490"/>
                  <a:pt x="3286321" y="306490"/>
                  <a:pt x="3284977" y="304864"/>
                </a:cubicBezTo>
                <a:cubicBezTo>
                  <a:pt x="3284977" y="304864"/>
                  <a:pt x="3284977" y="304864"/>
                  <a:pt x="3283374" y="304205"/>
                </a:cubicBezTo>
                <a:cubicBezTo>
                  <a:pt x="3283910" y="303314"/>
                  <a:pt x="3285264" y="303792"/>
                  <a:pt x="3285552" y="302719"/>
                </a:cubicBezTo>
                <a:close/>
                <a:moveTo>
                  <a:pt x="2210264" y="302444"/>
                </a:moveTo>
                <a:cubicBezTo>
                  <a:pt x="2213918" y="303195"/>
                  <a:pt x="2213828" y="306850"/>
                  <a:pt x="2214694" y="309152"/>
                </a:cubicBezTo>
                <a:cubicBezTo>
                  <a:pt x="2218349" y="309901"/>
                  <a:pt x="2213314" y="314303"/>
                  <a:pt x="2216997" y="314945"/>
                </a:cubicBezTo>
                <a:cubicBezTo>
                  <a:pt x="2212534" y="320533"/>
                  <a:pt x="2223142" y="325216"/>
                  <a:pt x="2218313" y="334388"/>
                </a:cubicBezTo>
                <a:cubicBezTo>
                  <a:pt x="2215786" y="331640"/>
                  <a:pt x="2214395" y="329083"/>
                  <a:pt x="2213005" y="326524"/>
                </a:cubicBezTo>
                <a:cubicBezTo>
                  <a:pt x="2209635" y="319182"/>
                  <a:pt x="2210138" y="312876"/>
                  <a:pt x="2205523" y="307960"/>
                </a:cubicBezTo>
                <a:cubicBezTo>
                  <a:pt x="2205523" y="307960"/>
                  <a:pt x="2205523" y="307960"/>
                  <a:pt x="2208046" y="305187"/>
                </a:cubicBezTo>
                <a:cubicBezTo>
                  <a:pt x="2207446" y="304106"/>
                  <a:pt x="2207446" y="304106"/>
                  <a:pt x="2207446" y="304106"/>
                </a:cubicBezTo>
                <a:cubicBezTo>
                  <a:pt x="2206874" y="302917"/>
                  <a:pt x="2210264" y="302444"/>
                  <a:pt x="2210264" y="302444"/>
                </a:cubicBezTo>
                <a:close/>
                <a:moveTo>
                  <a:pt x="2753464" y="297343"/>
                </a:moveTo>
                <a:cubicBezTo>
                  <a:pt x="2757157" y="296838"/>
                  <a:pt x="2762340" y="297422"/>
                  <a:pt x="2768751" y="300059"/>
                </a:cubicBezTo>
                <a:cubicBezTo>
                  <a:pt x="2774356" y="305701"/>
                  <a:pt x="2771567" y="316109"/>
                  <a:pt x="2765020" y="316195"/>
                </a:cubicBezTo>
                <a:cubicBezTo>
                  <a:pt x="2743208" y="311270"/>
                  <a:pt x="2741798" y="298818"/>
                  <a:pt x="2753464" y="297343"/>
                </a:cubicBezTo>
                <a:close/>
                <a:moveTo>
                  <a:pt x="2011301" y="294559"/>
                </a:moveTo>
                <a:cubicBezTo>
                  <a:pt x="2016153" y="291949"/>
                  <a:pt x="2028555" y="297686"/>
                  <a:pt x="2030420" y="302902"/>
                </a:cubicBezTo>
                <a:cubicBezTo>
                  <a:pt x="2025422" y="300527"/>
                  <a:pt x="2021375" y="300133"/>
                  <a:pt x="2018025" y="299351"/>
                </a:cubicBezTo>
                <a:cubicBezTo>
                  <a:pt x="2014924" y="298750"/>
                  <a:pt x="2012797" y="297835"/>
                  <a:pt x="2011301" y="294559"/>
                </a:cubicBezTo>
                <a:close/>
                <a:moveTo>
                  <a:pt x="1128353" y="292577"/>
                </a:moveTo>
                <a:cubicBezTo>
                  <a:pt x="1131137" y="294358"/>
                  <a:pt x="1132528" y="296915"/>
                  <a:pt x="1131988" y="301141"/>
                </a:cubicBezTo>
                <a:cubicBezTo>
                  <a:pt x="1127816" y="302323"/>
                  <a:pt x="1125211" y="302085"/>
                  <a:pt x="1123112" y="301064"/>
                </a:cubicBezTo>
                <a:cubicBezTo>
                  <a:pt x="1121014" y="300041"/>
                  <a:pt x="1119670" y="298415"/>
                  <a:pt x="1118078" y="296609"/>
                </a:cubicBezTo>
                <a:cubicBezTo>
                  <a:pt x="1124187" y="295945"/>
                  <a:pt x="1121130" y="290756"/>
                  <a:pt x="1128353" y="292577"/>
                </a:cubicBezTo>
                <a:close/>
                <a:moveTo>
                  <a:pt x="2650860" y="290665"/>
                </a:moveTo>
                <a:cubicBezTo>
                  <a:pt x="2654724" y="292851"/>
                  <a:pt x="2658586" y="295036"/>
                  <a:pt x="2655844" y="297521"/>
                </a:cubicBezTo>
                <a:cubicBezTo>
                  <a:pt x="2654612" y="298801"/>
                  <a:pt x="2653350" y="300187"/>
                  <a:pt x="2650048" y="300338"/>
                </a:cubicBezTo>
                <a:cubicBezTo>
                  <a:pt x="2645908" y="298079"/>
                  <a:pt x="2646857" y="294538"/>
                  <a:pt x="2644787" y="293408"/>
                </a:cubicBezTo>
                <a:cubicBezTo>
                  <a:pt x="2646314" y="293243"/>
                  <a:pt x="2649893" y="293167"/>
                  <a:pt x="2650860" y="290665"/>
                </a:cubicBezTo>
                <a:close/>
                <a:moveTo>
                  <a:pt x="1734066" y="288815"/>
                </a:moveTo>
                <a:cubicBezTo>
                  <a:pt x="1734670" y="295417"/>
                  <a:pt x="1730504" y="298785"/>
                  <a:pt x="1722437" y="301225"/>
                </a:cubicBezTo>
                <a:cubicBezTo>
                  <a:pt x="1721196" y="300317"/>
                  <a:pt x="1720464" y="298626"/>
                  <a:pt x="1720065" y="296794"/>
                </a:cubicBezTo>
                <a:cubicBezTo>
                  <a:pt x="1719390" y="294887"/>
                  <a:pt x="1719324" y="292915"/>
                  <a:pt x="1719174" y="291265"/>
                </a:cubicBezTo>
                <a:cubicBezTo>
                  <a:pt x="1722498" y="288820"/>
                  <a:pt x="1728053" y="288009"/>
                  <a:pt x="1734066" y="288815"/>
                </a:cubicBezTo>
                <a:close/>
                <a:moveTo>
                  <a:pt x="2467006" y="283953"/>
                </a:moveTo>
                <a:cubicBezTo>
                  <a:pt x="2463528" y="288080"/>
                  <a:pt x="2456789" y="287771"/>
                  <a:pt x="2451755" y="292172"/>
                </a:cubicBezTo>
                <a:cubicBezTo>
                  <a:pt x="2445973" y="290508"/>
                  <a:pt x="2439411" y="295074"/>
                  <a:pt x="2431531" y="292388"/>
                </a:cubicBezTo>
                <a:cubicBezTo>
                  <a:pt x="2435099" y="284603"/>
                  <a:pt x="2460652" y="281100"/>
                  <a:pt x="2467006" y="283953"/>
                </a:cubicBezTo>
                <a:close/>
                <a:moveTo>
                  <a:pt x="2725222" y="279885"/>
                </a:moveTo>
                <a:cubicBezTo>
                  <a:pt x="2732200" y="278190"/>
                  <a:pt x="2741505" y="279992"/>
                  <a:pt x="2748929" y="281063"/>
                </a:cubicBezTo>
                <a:cubicBezTo>
                  <a:pt x="2744954" y="284828"/>
                  <a:pt x="2737807" y="283832"/>
                  <a:pt x="2738158" y="293588"/>
                </a:cubicBezTo>
                <a:cubicBezTo>
                  <a:pt x="2731873" y="289373"/>
                  <a:pt x="2727115" y="284993"/>
                  <a:pt x="2725222" y="279885"/>
                </a:cubicBezTo>
                <a:close/>
                <a:moveTo>
                  <a:pt x="3674347" y="277289"/>
                </a:moveTo>
                <a:cubicBezTo>
                  <a:pt x="3676752" y="278278"/>
                  <a:pt x="3678764" y="279622"/>
                  <a:pt x="3680108" y="281248"/>
                </a:cubicBezTo>
                <a:cubicBezTo>
                  <a:pt x="3682167" y="283524"/>
                  <a:pt x="3683691" y="286692"/>
                  <a:pt x="3683296" y="290382"/>
                </a:cubicBezTo>
                <a:cubicBezTo>
                  <a:pt x="3681257" y="294666"/>
                  <a:pt x="3670042" y="295570"/>
                  <a:pt x="3662266" y="293602"/>
                </a:cubicBezTo>
                <a:cubicBezTo>
                  <a:pt x="3659775" y="292934"/>
                  <a:pt x="3657648" y="292020"/>
                  <a:pt x="3656217" y="290716"/>
                </a:cubicBezTo>
                <a:cubicBezTo>
                  <a:pt x="3655944" y="287308"/>
                  <a:pt x="3655366" y="283933"/>
                  <a:pt x="3655064" y="280633"/>
                </a:cubicBezTo>
                <a:cubicBezTo>
                  <a:pt x="3659107" y="275505"/>
                  <a:pt x="3667660" y="274578"/>
                  <a:pt x="3674347" y="277289"/>
                </a:cubicBezTo>
                <a:close/>
                <a:moveTo>
                  <a:pt x="1400407" y="271172"/>
                </a:moveTo>
                <a:cubicBezTo>
                  <a:pt x="1404521" y="270205"/>
                  <a:pt x="1412241" y="272388"/>
                  <a:pt x="1414842" y="275961"/>
                </a:cubicBezTo>
                <a:cubicBezTo>
                  <a:pt x="1414580" y="280260"/>
                  <a:pt x="1411173" y="279692"/>
                  <a:pt x="1411342" y="282382"/>
                </a:cubicBezTo>
                <a:cubicBezTo>
                  <a:pt x="1403346" y="280125"/>
                  <a:pt x="1401022" y="276627"/>
                  <a:pt x="1400407" y="271172"/>
                </a:cubicBezTo>
                <a:close/>
                <a:moveTo>
                  <a:pt x="3214817" y="270080"/>
                </a:moveTo>
                <a:cubicBezTo>
                  <a:pt x="3216095" y="269733"/>
                  <a:pt x="3217537" y="269888"/>
                  <a:pt x="3218863" y="270474"/>
                </a:cubicBezTo>
                <a:cubicBezTo>
                  <a:pt x="3220627" y="271637"/>
                  <a:pt x="3219146" y="272735"/>
                  <a:pt x="3219136" y="273882"/>
                </a:cubicBezTo>
                <a:cubicBezTo>
                  <a:pt x="3217921" y="276202"/>
                  <a:pt x="3206685" y="279401"/>
                  <a:pt x="3204948" y="278131"/>
                </a:cubicBezTo>
                <a:cubicBezTo>
                  <a:pt x="3207108" y="275605"/>
                  <a:pt x="3210979" y="271121"/>
                  <a:pt x="3214817" y="270080"/>
                </a:cubicBezTo>
                <a:close/>
                <a:moveTo>
                  <a:pt x="1954446" y="261040"/>
                </a:moveTo>
                <a:cubicBezTo>
                  <a:pt x="1960856" y="263677"/>
                  <a:pt x="1961018" y="273035"/>
                  <a:pt x="1955030" y="275456"/>
                </a:cubicBezTo>
                <a:cubicBezTo>
                  <a:pt x="1955149" y="271693"/>
                  <a:pt x="1953540" y="268846"/>
                  <a:pt x="1952368" y="266578"/>
                </a:cubicBezTo>
                <a:cubicBezTo>
                  <a:pt x="1951473" y="264382"/>
                  <a:pt x="1951046" y="262658"/>
                  <a:pt x="1954446" y="261040"/>
                </a:cubicBezTo>
                <a:close/>
                <a:moveTo>
                  <a:pt x="3286142" y="260670"/>
                </a:moveTo>
                <a:cubicBezTo>
                  <a:pt x="3288252" y="260546"/>
                  <a:pt x="3290304" y="260635"/>
                  <a:pt x="3292488" y="261337"/>
                </a:cubicBezTo>
                <a:cubicBezTo>
                  <a:pt x="3292488" y="261337"/>
                  <a:pt x="3292517" y="261229"/>
                  <a:pt x="3290742" y="261214"/>
                </a:cubicBezTo>
                <a:cubicBezTo>
                  <a:pt x="3290742" y="261214"/>
                  <a:pt x="3292517" y="261229"/>
                  <a:pt x="3292783" y="262450"/>
                </a:cubicBezTo>
                <a:cubicBezTo>
                  <a:pt x="3284514" y="265640"/>
                  <a:pt x="3270934" y="264301"/>
                  <a:pt x="3269158" y="264285"/>
                </a:cubicBezTo>
                <a:cubicBezTo>
                  <a:pt x="3268892" y="263065"/>
                  <a:pt x="3268921" y="262956"/>
                  <a:pt x="3268921" y="262956"/>
                </a:cubicBezTo>
                <a:cubicBezTo>
                  <a:pt x="3274265" y="264044"/>
                  <a:pt x="3279814" y="261046"/>
                  <a:pt x="3286142" y="260670"/>
                </a:cubicBezTo>
                <a:close/>
                <a:moveTo>
                  <a:pt x="2326502" y="260450"/>
                </a:moveTo>
                <a:cubicBezTo>
                  <a:pt x="2328133" y="261002"/>
                  <a:pt x="2329737" y="261661"/>
                  <a:pt x="2330024" y="260589"/>
                </a:cubicBezTo>
                <a:cubicBezTo>
                  <a:pt x="2332377" y="263979"/>
                  <a:pt x="2331813" y="264978"/>
                  <a:pt x="2333100" y="266817"/>
                </a:cubicBezTo>
                <a:cubicBezTo>
                  <a:pt x="2333416" y="265638"/>
                  <a:pt x="2334731" y="267370"/>
                  <a:pt x="2334731" y="267370"/>
                </a:cubicBezTo>
                <a:cubicBezTo>
                  <a:pt x="2334731" y="267370"/>
                  <a:pt x="2334731" y="267370"/>
                  <a:pt x="2338846" y="266403"/>
                </a:cubicBezTo>
                <a:cubicBezTo>
                  <a:pt x="2338846" y="266403"/>
                  <a:pt x="2348401" y="265053"/>
                  <a:pt x="2354405" y="272526"/>
                </a:cubicBezTo>
                <a:cubicBezTo>
                  <a:pt x="2352487" y="273047"/>
                  <a:pt x="2359242" y="283253"/>
                  <a:pt x="2354523" y="286473"/>
                </a:cubicBezTo>
                <a:cubicBezTo>
                  <a:pt x="2352013" y="288101"/>
                  <a:pt x="2350092" y="288621"/>
                  <a:pt x="2347610" y="290142"/>
                </a:cubicBezTo>
                <a:cubicBezTo>
                  <a:pt x="2345454" y="289333"/>
                  <a:pt x="2342820" y="289202"/>
                  <a:pt x="2339776" y="288386"/>
                </a:cubicBezTo>
                <a:cubicBezTo>
                  <a:pt x="2336761" y="287464"/>
                  <a:pt x="2333336" y="285856"/>
                  <a:pt x="2329379" y="281806"/>
                </a:cubicBezTo>
                <a:cubicBezTo>
                  <a:pt x="2322060" y="272600"/>
                  <a:pt x="2332219" y="268997"/>
                  <a:pt x="2330893" y="268412"/>
                </a:cubicBezTo>
                <a:cubicBezTo>
                  <a:pt x="2329577" y="266679"/>
                  <a:pt x="2329577" y="266679"/>
                  <a:pt x="2327974" y="266020"/>
                </a:cubicBezTo>
                <a:cubicBezTo>
                  <a:pt x="2328539" y="265021"/>
                  <a:pt x="2327816" y="262182"/>
                  <a:pt x="2326502" y="260450"/>
                </a:cubicBezTo>
                <a:close/>
                <a:moveTo>
                  <a:pt x="3258349" y="260355"/>
                </a:moveTo>
                <a:cubicBezTo>
                  <a:pt x="3258349" y="260355"/>
                  <a:pt x="3258626" y="260429"/>
                  <a:pt x="3260390" y="261591"/>
                </a:cubicBezTo>
                <a:cubicBezTo>
                  <a:pt x="3257727" y="261568"/>
                  <a:pt x="3256426" y="264209"/>
                  <a:pt x="3254260" y="264548"/>
                </a:cubicBezTo>
                <a:cubicBezTo>
                  <a:pt x="3253649" y="264614"/>
                  <a:pt x="3253066" y="264574"/>
                  <a:pt x="3252046" y="263955"/>
                </a:cubicBezTo>
                <a:cubicBezTo>
                  <a:pt x="3253555" y="262749"/>
                  <a:pt x="3256840" y="261560"/>
                  <a:pt x="3258349" y="260355"/>
                </a:cubicBezTo>
                <a:close/>
                <a:moveTo>
                  <a:pt x="2510039" y="259488"/>
                </a:moveTo>
                <a:cubicBezTo>
                  <a:pt x="2513913" y="260526"/>
                  <a:pt x="2512964" y="264067"/>
                  <a:pt x="2513802" y="266476"/>
                </a:cubicBezTo>
                <a:cubicBezTo>
                  <a:pt x="2517399" y="267440"/>
                  <a:pt x="2511620" y="271297"/>
                  <a:pt x="2515217" y="272261"/>
                </a:cubicBezTo>
                <a:cubicBezTo>
                  <a:pt x="2509981" y="277413"/>
                  <a:pt x="2519835" y="282698"/>
                  <a:pt x="2513651" y="291391"/>
                </a:cubicBezTo>
                <a:cubicBezTo>
                  <a:pt x="2511735" y="288578"/>
                  <a:pt x="2510373" y="285913"/>
                  <a:pt x="2509565" y="283396"/>
                </a:cubicBezTo>
                <a:cubicBezTo>
                  <a:pt x="2507139" y="275846"/>
                  <a:pt x="2508778" y="269731"/>
                  <a:pt x="2504831" y="264533"/>
                </a:cubicBezTo>
                <a:cubicBezTo>
                  <a:pt x="2504831" y="264533"/>
                  <a:pt x="2504803" y="264639"/>
                  <a:pt x="2507574" y="262047"/>
                </a:cubicBezTo>
                <a:cubicBezTo>
                  <a:pt x="2507002" y="260860"/>
                  <a:pt x="2507002" y="260860"/>
                  <a:pt x="2507002" y="260860"/>
                </a:cubicBezTo>
                <a:cubicBezTo>
                  <a:pt x="2506737" y="259639"/>
                  <a:pt x="2510039" y="259488"/>
                  <a:pt x="2510039" y="259488"/>
                </a:cubicBezTo>
                <a:close/>
                <a:moveTo>
                  <a:pt x="2190058" y="259426"/>
                </a:moveTo>
                <a:cubicBezTo>
                  <a:pt x="2193675" y="266950"/>
                  <a:pt x="2199422" y="275390"/>
                  <a:pt x="2189302" y="277738"/>
                </a:cubicBezTo>
                <a:cubicBezTo>
                  <a:pt x="2174274" y="274056"/>
                  <a:pt x="2173714" y="262866"/>
                  <a:pt x="2180819" y="259595"/>
                </a:cubicBezTo>
                <a:cubicBezTo>
                  <a:pt x="2183186" y="258504"/>
                  <a:pt x="2186241" y="258173"/>
                  <a:pt x="2190058" y="259426"/>
                </a:cubicBezTo>
                <a:close/>
                <a:moveTo>
                  <a:pt x="2752157" y="258223"/>
                </a:moveTo>
                <a:cubicBezTo>
                  <a:pt x="2760040" y="257303"/>
                  <a:pt x="2768081" y="257731"/>
                  <a:pt x="2771047" y="259388"/>
                </a:cubicBezTo>
                <a:cubicBezTo>
                  <a:pt x="2767073" y="263154"/>
                  <a:pt x="2760174" y="262340"/>
                  <a:pt x="2754642" y="266378"/>
                </a:cubicBezTo>
                <a:cubicBezTo>
                  <a:pt x="2749004" y="264178"/>
                  <a:pt x="2741670" y="268307"/>
                  <a:pt x="2734210" y="265158"/>
                </a:cubicBezTo>
                <a:cubicBezTo>
                  <a:pt x="2736547" y="261414"/>
                  <a:pt x="2744274" y="259144"/>
                  <a:pt x="2752157" y="258223"/>
                </a:cubicBezTo>
                <a:close/>
                <a:moveTo>
                  <a:pt x="2924152" y="255792"/>
                </a:moveTo>
                <a:cubicBezTo>
                  <a:pt x="2927131" y="254636"/>
                  <a:pt x="2931292" y="254600"/>
                  <a:pt x="2936492" y="256224"/>
                </a:cubicBezTo>
                <a:cubicBezTo>
                  <a:pt x="2941821" y="261792"/>
                  <a:pt x="2936164" y="267406"/>
                  <a:pt x="2933469" y="270824"/>
                </a:cubicBezTo>
                <a:cubicBezTo>
                  <a:pt x="2927029" y="268293"/>
                  <a:pt x="2920008" y="265722"/>
                  <a:pt x="2917711" y="262117"/>
                </a:cubicBezTo>
                <a:cubicBezTo>
                  <a:pt x="2918822" y="259079"/>
                  <a:pt x="2920896" y="256874"/>
                  <a:pt x="2924152" y="255792"/>
                </a:cubicBezTo>
                <a:close/>
                <a:moveTo>
                  <a:pt x="2139357" y="252739"/>
                </a:moveTo>
                <a:cubicBezTo>
                  <a:pt x="2139658" y="256041"/>
                  <a:pt x="2138998" y="258509"/>
                  <a:pt x="2139298" y="261809"/>
                </a:cubicBezTo>
                <a:cubicBezTo>
                  <a:pt x="2137714" y="262190"/>
                  <a:pt x="2136215" y="262248"/>
                  <a:pt x="2135079" y="262059"/>
                </a:cubicBezTo>
                <a:cubicBezTo>
                  <a:pt x="2131453" y="261202"/>
                  <a:pt x="2130207" y="258108"/>
                  <a:pt x="2128960" y="255014"/>
                </a:cubicBezTo>
                <a:cubicBezTo>
                  <a:pt x="2132435" y="254221"/>
                  <a:pt x="2133373" y="251827"/>
                  <a:pt x="2139357" y="252739"/>
                </a:cubicBezTo>
                <a:close/>
                <a:moveTo>
                  <a:pt x="1189062" y="249733"/>
                </a:moveTo>
                <a:cubicBezTo>
                  <a:pt x="1193206" y="248658"/>
                  <a:pt x="1196889" y="249301"/>
                  <a:pt x="1202326" y="252252"/>
                </a:cubicBezTo>
                <a:cubicBezTo>
                  <a:pt x="1202912" y="257815"/>
                  <a:pt x="1203315" y="256312"/>
                  <a:pt x="1200217" y="261232"/>
                </a:cubicBezTo>
                <a:cubicBezTo>
                  <a:pt x="1195933" y="259509"/>
                  <a:pt x="1191345" y="257820"/>
                  <a:pt x="1186785" y="256023"/>
                </a:cubicBezTo>
                <a:cubicBezTo>
                  <a:pt x="1188800" y="254033"/>
                  <a:pt x="1188356" y="251268"/>
                  <a:pt x="1189062" y="249733"/>
                </a:cubicBezTo>
                <a:close/>
                <a:moveTo>
                  <a:pt x="3292445" y="248214"/>
                </a:moveTo>
                <a:cubicBezTo>
                  <a:pt x="3294447" y="250706"/>
                  <a:pt x="3294447" y="250706"/>
                  <a:pt x="3292927" y="253059"/>
                </a:cubicBezTo>
                <a:cubicBezTo>
                  <a:pt x="3291429" y="253118"/>
                  <a:pt x="3291417" y="254265"/>
                  <a:pt x="3289682" y="252994"/>
                </a:cubicBezTo>
                <a:cubicBezTo>
                  <a:pt x="3286653" y="256552"/>
                  <a:pt x="3271836" y="259827"/>
                  <a:pt x="3264775" y="258511"/>
                </a:cubicBezTo>
                <a:cubicBezTo>
                  <a:pt x="3275609" y="247958"/>
                  <a:pt x="3286397" y="254185"/>
                  <a:pt x="3292445" y="248214"/>
                </a:cubicBezTo>
                <a:close/>
                <a:moveTo>
                  <a:pt x="2872775" y="247201"/>
                </a:moveTo>
                <a:cubicBezTo>
                  <a:pt x="2880061" y="250993"/>
                  <a:pt x="2881298" y="255235"/>
                  <a:pt x="2878926" y="259660"/>
                </a:cubicBezTo>
                <a:cubicBezTo>
                  <a:pt x="2875728" y="260528"/>
                  <a:pt x="2872292" y="260067"/>
                  <a:pt x="2869364" y="258822"/>
                </a:cubicBezTo>
                <a:cubicBezTo>
                  <a:pt x="2866711" y="257652"/>
                  <a:pt x="2864843" y="255770"/>
                  <a:pt x="2863919" y="253683"/>
                </a:cubicBezTo>
                <a:cubicBezTo>
                  <a:pt x="2863377" y="252389"/>
                  <a:pt x="2863197" y="250845"/>
                  <a:pt x="2864153" y="249491"/>
                </a:cubicBezTo>
                <a:cubicBezTo>
                  <a:pt x="2866101" y="248863"/>
                  <a:pt x="2868919" y="247202"/>
                  <a:pt x="2872775" y="247201"/>
                </a:cubicBezTo>
                <a:close/>
                <a:moveTo>
                  <a:pt x="3191269" y="246175"/>
                </a:moveTo>
                <a:cubicBezTo>
                  <a:pt x="3194808" y="247354"/>
                  <a:pt x="3195074" y="248575"/>
                  <a:pt x="3193287" y="249706"/>
                </a:cubicBezTo>
                <a:cubicBezTo>
                  <a:pt x="3193287" y="249706"/>
                  <a:pt x="3191778" y="250912"/>
                  <a:pt x="3190298" y="252010"/>
                </a:cubicBezTo>
                <a:cubicBezTo>
                  <a:pt x="3188512" y="253141"/>
                  <a:pt x="3188501" y="254289"/>
                  <a:pt x="3188501" y="254289"/>
                </a:cubicBezTo>
                <a:cubicBezTo>
                  <a:pt x="3187747" y="254891"/>
                  <a:pt x="3187078" y="255172"/>
                  <a:pt x="3186191" y="255165"/>
                </a:cubicBezTo>
                <a:cubicBezTo>
                  <a:pt x="3185303" y="255157"/>
                  <a:pt x="3184225" y="254753"/>
                  <a:pt x="3183481" y="254208"/>
                </a:cubicBezTo>
                <a:cubicBezTo>
                  <a:pt x="3183481" y="254208"/>
                  <a:pt x="3185001" y="251856"/>
                  <a:pt x="3185001" y="251856"/>
                </a:cubicBezTo>
                <a:cubicBezTo>
                  <a:pt x="3188267" y="249625"/>
                  <a:pt x="3189748" y="248527"/>
                  <a:pt x="3191269" y="246175"/>
                </a:cubicBezTo>
                <a:close/>
                <a:moveTo>
                  <a:pt x="2710841" y="242797"/>
                </a:moveTo>
                <a:cubicBezTo>
                  <a:pt x="2727026" y="244373"/>
                  <a:pt x="2734375" y="262328"/>
                  <a:pt x="2735298" y="273270"/>
                </a:cubicBezTo>
                <a:cubicBezTo>
                  <a:pt x="2717248" y="266479"/>
                  <a:pt x="2714197" y="254621"/>
                  <a:pt x="2710841" y="242797"/>
                </a:cubicBezTo>
                <a:close/>
                <a:moveTo>
                  <a:pt x="2408363" y="242710"/>
                </a:moveTo>
                <a:cubicBezTo>
                  <a:pt x="2421770" y="235837"/>
                  <a:pt x="2436839" y="247119"/>
                  <a:pt x="2432497" y="254466"/>
                </a:cubicBezTo>
                <a:cubicBezTo>
                  <a:pt x="2431254" y="256893"/>
                  <a:pt x="2427740" y="258941"/>
                  <a:pt x="2421325" y="259637"/>
                </a:cubicBezTo>
                <a:cubicBezTo>
                  <a:pt x="2417581" y="253689"/>
                  <a:pt x="2412000" y="251274"/>
                  <a:pt x="2409484" y="247380"/>
                </a:cubicBezTo>
                <a:cubicBezTo>
                  <a:pt x="2408665" y="246010"/>
                  <a:pt x="2408457" y="244575"/>
                  <a:pt x="2408363" y="242710"/>
                </a:cubicBezTo>
                <a:close/>
                <a:moveTo>
                  <a:pt x="2802053" y="236646"/>
                </a:moveTo>
                <a:cubicBezTo>
                  <a:pt x="2804220" y="236307"/>
                  <a:pt x="2806577" y="236364"/>
                  <a:pt x="2809097" y="236924"/>
                </a:cubicBezTo>
                <a:cubicBezTo>
                  <a:pt x="2812352" y="235841"/>
                  <a:pt x="2817372" y="235921"/>
                  <a:pt x="2820883" y="237207"/>
                </a:cubicBezTo>
                <a:cubicBezTo>
                  <a:pt x="2824383" y="239639"/>
                  <a:pt x="2824638" y="242009"/>
                  <a:pt x="2823158" y="243106"/>
                </a:cubicBezTo>
                <a:cubicBezTo>
                  <a:pt x="2812686" y="253411"/>
                  <a:pt x="2797115" y="248434"/>
                  <a:pt x="2793859" y="249516"/>
                </a:cubicBezTo>
                <a:cubicBezTo>
                  <a:pt x="2791380" y="247702"/>
                  <a:pt x="2789835" y="246827"/>
                  <a:pt x="2790180" y="245541"/>
                </a:cubicBezTo>
                <a:cubicBezTo>
                  <a:pt x="2790525" y="244252"/>
                  <a:pt x="2792483" y="242477"/>
                  <a:pt x="2796095" y="238959"/>
                </a:cubicBezTo>
                <a:cubicBezTo>
                  <a:pt x="2797852" y="237935"/>
                  <a:pt x="2799581" y="237019"/>
                  <a:pt x="2802053" y="236646"/>
                </a:cubicBezTo>
                <a:close/>
                <a:moveTo>
                  <a:pt x="3179931" y="236466"/>
                </a:moveTo>
                <a:cubicBezTo>
                  <a:pt x="3181666" y="237737"/>
                  <a:pt x="3181706" y="236482"/>
                  <a:pt x="3183176" y="236531"/>
                </a:cubicBezTo>
                <a:cubicBezTo>
                  <a:pt x="3181666" y="237737"/>
                  <a:pt x="3182159" y="241434"/>
                  <a:pt x="3180915" y="243861"/>
                </a:cubicBezTo>
                <a:cubicBezTo>
                  <a:pt x="3179169" y="243738"/>
                  <a:pt x="3177660" y="244943"/>
                  <a:pt x="3176190" y="244894"/>
                </a:cubicBezTo>
                <a:cubicBezTo>
                  <a:pt x="3176057" y="244284"/>
                  <a:pt x="3175704" y="243385"/>
                  <a:pt x="3175324" y="242593"/>
                </a:cubicBezTo>
                <a:cubicBezTo>
                  <a:pt x="3174943" y="241800"/>
                  <a:pt x="3174810" y="241190"/>
                  <a:pt x="3175669" y="241305"/>
                </a:cubicBezTo>
                <a:cubicBezTo>
                  <a:pt x="3175431" y="239976"/>
                  <a:pt x="3178677" y="240041"/>
                  <a:pt x="3178677" y="240041"/>
                </a:cubicBezTo>
                <a:cubicBezTo>
                  <a:pt x="3178687" y="238894"/>
                  <a:pt x="3178421" y="237673"/>
                  <a:pt x="3179931" y="236466"/>
                </a:cubicBezTo>
                <a:close/>
                <a:moveTo>
                  <a:pt x="3205841" y="230529"/>
                </a:moveTo>
                <a:cubicBezTo>
                  <a:pt x="3207034" y="230504"/>
                  <a:pt x="3208446" y="230767"/>
                  <a:pt x="3209772" y="231352"/>
                </a:cubicBezTo>
                <a:cubicBezTo>
                  <a:pt x="3213282" y="232638"/>
                  <a:pt x="3211791" y="234883"/>
                  <a:pt x="3208802" y="237187"/>
                </a:cubicBezTo>
                <a:cubicBezTo>
                  <a:pt x="3205542" y="241604"/>
                  <a:pt x="3201808" y="243364"/>
                  <a:pt x="3197934" y="242326"/>
                </a:cubicBezTo>
                <a:cubicBezTo>
                  <a:pt x="3196828" y="242029"/>
                  <a:pt x="3195501" y="241444"/>
                  <a:pt x="3193986" y="240463"/>
                </a:cubicBezTo>
                <a:cubicBezTo>
                  <a:pt x="3193996" y="239316"/>
                  <a:pt x="3195222" y="235849"/>
                  <a:pt x="3193475" y="235726"/>
                </a:cubicBezTo>
                <a:cubicBezTo>
                  <a:pt x="3197105" y="233249"/>
                  <a:pt x="3201651" y="230671"/>
                  <a:pt x="3205841" y="230529"/>
                </a:cubicBezTo>
                <a:close/>
                <a:moveTo>
                  <a:pt x="2628574" y="221098"/>
                </a:moveTo>
                <a:cubicBezTo>
                  <a:pt x="2637554" y="221894"/>
                  <a:pt x="2636504" y="230239"/>
                  <a:pt x="2631722" y="231487"/>
                </a:cubicBezTo>
                <a:cubicBezTo>
                  <a:pt x="2631053" y="231767"/>
                  <a:pt x="2630165" y="231760"/>
                  <a:pt x="2629336" y="231538"/>
                </a:cubicBezTo>
                <a:cubicBezTo>
                  <a:pt x="2628505" y="231315"/>
                  <a:pt x="2627456" y="230803"/>
                  <a:pt x="2626492" y="229971"/>
                </a:cubicBezTo>
                <a:cubicBezTo>
                  <a:pt x="2626325" y="227281"/>
                  <a:pt x="2627187" y="224062"/>
                  <a:pt x="2628574" y="221098"/>
                </a:cubicBezTo>
                <a:close/>
                <a:moveTo>
                  <a:pt x="3813613" y="220189"/>
                </a:moveTo>
                <a:cubicBezTo>
                  <a:pt x="3832264" y="236916"/>
                  <a:pt x="3832263" y="254626"/>
                  <a:pt x="3805257" y="267975"/>
                </a:cubicBezTo>
                <a:cubicBezTo>
                  <a:pt x="3773602" y="247764"/>
                  <a:pt x="3777559" y="216393"/>
                  <a:pt x="3813613" y="220189"/>
                </a:cubicBezTo>
                <a:close/>
                <a:moveTo>
                  <a:pt x="2531749" y="219420"/>
                </a:moveTo>
                <a:cubicBezTo>
                  <a:pt x="2532036" y="218347"/>
                  <a:pt x="2535271" y="219558"/>
                  <a:pt x="2535271" y="219558"/>
                </a:cubicBezTo>
                <a:cubicBezTo>
                  <a:pt x="2538188" y="221950"/>
                  <a:pt x="2535113" y="224576"/>
                  <a:pt x="2534261" y="226648"/>
                </a:cubicBezTo>
                <a:cubicBezTo>
                  <a:pt x="2537178" y="229039"/>
                  <a:pt x="2529571" y="229761"/>
                  <a:pt x="2532212" y="232079"/>
                </a:cubicBezTo>
                <a:cubicBezTo>
                  <a:pt x="2524288" y="233980"/>
                  <a:pt x="2530283" y="242602"/>
                  <a:pt x="2519311" y="247022"/>
                </a:cubicBezTo>
                <a:cubicBezTo>
                  <a:pt x="2519257" y="243903"/>
                  <a:pt x="2519699" y="241145"/>
                  <a:pt x="2520332" y="238785"/>
                </a:cubicBezTo>
                <a:cubicBezTo>
                  <a:pt x="2522563" y="231563"/>
                  <a:pt x="2527846" y="227344"/>
                  <a:pt x="2527347" y="221460"/>
                </a:cubicBezTo>
                <a:cubicBezTo>
                  <a:pt x="2527347" y="221460"/>
                  <a:pt x="2527347" y="221460"/>
                  <a:pt x="2531185" y="220418"/>
                </a:cubicBezTo>
                <a:cubicBezTo>
                  <a:pt x="2531749" y="219420"/>
                  <a:pt x="2531749" y="219420"/>
                  <a:pt x="2531749" y="219420"/>
                </a:cubicBezTo>
                <a:close/>
                <a:moveTo>
                  <a:pt x="2670982" y="218892"/>
                </a:moveTo>
                <a:cubicBezTo>
                  <a:pt x="2672670" y="219228"/>
                  <a:pt x="2674025" y="219707"/>
                  <a:pt x="2676066" y="220944"/>
                </a:cubicBezTo>
                <a:cubicBezTo>
                  <a:pt x="2677537" y="220992"/>
                  <a:pt x="2679821" y="225744"/>
                  <a:pt x="2678312" y="226951"/>
                </a:cubicBezTo>
                <a:cubicBezTo>
                  <a:pt x="2675312" y="230402"/>
                  <a:pt x="2670036" y="227953"/>
                  <a:pt x="2663281" y="226602"/>
                </a:cubicBezTo>
                <a:cubicBezTo>
                  <a:pt x="2664789" y="225397"/>
                  <a:pt x="2663026" y="224235"/>
                  <a:pt x="2661290" y="222964"/>
                </a:cubicBezTo>
                <a:cubicBezTo>
                  <a:pt x="2663525" y="221264"/>
                  <a:pt x="2666687" y="218315"/>
                  <a:pt x="2670982" y="218892"/>
                </a:cubicBezTo>
                <a:close/>
                <a:moveTo>
                  <a:pt x="3357852" y="213300"/>
                </a:moveTo>
                <a:cubicBezTo>
                  <a:pt x="3357841" y="214447"/>
                  <a:pt x="3357831" y="215594"/>
                  <a:pt x="3359577" y="215717"/>
                </a:cubicBezTo>
                <a:cubicBezTo>
                  <a:pt x="3356588" y="218021"/>
                  <a:pt x="3354841" y="217898"/>
                  <a:pt x="3353332" y="219103"/>
                </a:cubicBezTo>
                <a:cubicBezTo>
                  <a:pt x="3354830" y="219045"/>
                  <a:pt x="3353321" y="220251"/>
                  <a:pt x="3353321" y="220251"/>
                </a:cubicBezTo>
                <a:cubicBezTo>
                  <a:pt x="3353321" y="220251"/>
                  <a:pt x="3353321" y="220251"/>
                  <a:pt x="3357098" y="222757"/>
                </a:cubicBezTo>
                <a:cubicBezTo>
                  <a:pt x="3357098" y="222757"/>
                  <a:pt x="3364698" y="228704"/>
                  <a:pt x="3358430" y="234384"/>
                </a:cubicBezTo>
                <a:cubicBezTo>
                  <a:pt x="3356666" y="233222"/>
                  <a:pt x="3347114" y="240093"/>
                  <a:pt x="3340092" y="237521"/>
                </a:cubicBezTo>
                <a:cubicBezTo>
                  <a:pt x="3336553" y="236343"/>
                  <a:pt x="3334817" y="235073"/>
                  <a:pt x="3331278" y="233894"/>
                </a:cubicBezTo>
                <a:cubicBezTo>
                  <a:pt x="3330878" y="232062"/>
                  <a:pt x="3329593" y="230223"/>
                  <a:pt x="3328697" y="228027"/>
                </a:cubicBezTo>
                <a:cubicBezTo>
                  <a:pt x="3328109" y="225800"/>
                  <a:pt x="3328216" y="223184"/>
                  <a:pt x="3331217" y="219733"/>
                </a:cubicBezTo>
                <a:cubicBezTo>
                  <a:pt x="3338993" y="212847"/>
                  <a:pt x="3349809" y="218965"/>
                  <a:pt x="3349821" y="217818"/>
                </a:cubicBezTo>
                <a:cubicBezTo>
                  <a:pt x="3351301" y="216719"/>
                  <a:pt x="3351301" y="216719"/>
                  <a:pt x="3351313" y="215572"/>
                </a:cubicBezTo>
                <a:cubicBezTo>
                  <a:pt x="3352811" y="215514"/>
                  <a:pt x="3356066" y="214432"/>
                  <a:pt x="3357852" y="213300"/>
                </a:cubicBezTo>
                <a:close/>
                <a:moveTo>
                  <a:pt x="2113002" y="211638"/>
                </a:moveTo>
                <a:cubicBezTo>
                  <a:pt x="2119771" y="208507"/>
                  <a:pt x="2125726" y="209527"/>
                  <a:pt x="2131020" y="213016"/>
                </a:cubicBezTo>
                <a:cubicBezTo>
                  <a:pt x="2131749" y="218041"/>
                  <a:pt x="2125589" y="221106"/>
                  <a:pt x="2119549" y="220407"/>
                </a:cubicBezTo>
                <a:cubicBezTo>
                  <a:pt x="2117526" y="220210"/>
                  <a:pt x="2115618" y="219584"/>
                  <a:pt x="2113853" y="218421"/>
                </a:cubicBezTo>
                <a:cubicBezTo>
                  <a:pt x="2113777" y="217595"/>
                  <a:pt x="2113483" y="216481"/>
                  <a:pt x="2113188" y="215368"/>
                </a:cubicBezTo>
                <a:cubicBezTo>
                  <a:pt x="2112646" y="214073"/>
                  <a:pt x="2112657" y="212925"/>
                  <a:pt x="2113002" y="211638"/>
                </a:cubicBezTo>
                <a:close/>
                <a:moveTo>
                  <a:pt x="2706932" y="204259"/>
                </a:moveTo>
                <a:cubicBezTo>
                  <a:pt x="2708534" y="204918"/>
                  <a:pt x="2708850" y="203738"/>
                  <a:pt x="2710454" y="204397"/>
                </a:cubicBezTo>
                <a:cubicBezTo>
                  <a:pt x="2714252" y="204610"/>
                  <a:pt x="2715578" y="205196"/>
                  <a:pt x="2716893" y="206928"/>
                </a:cubicBezTo>
                <a:cubicBezTo>
                  <a:pt x="2718496" y="207587"/>
                  <a:pt x="2718208" y="208660"/>
                  <a:pt x="2719247" y="210319"/>
                </a:cubicBezTo>
                <a:cubicBezTo>
                  <a:pt x="2718931" y="211499"/>
                  <a:pt x="2717041" y="211912"/>
                  <a:pt x="2717041" y="211912"/>
                </a:cubicBezTo>
                <a:cubicBezTo>
                  <a:pt x="2714845" y="212359"/>
                  <a:pt x="2714845" y="212359"/>
                  <a:pt x="2716160" y="214091"/>
                </a:cubicBezTo>
                <a:cubicBezTo>
                  <a:pt x="2716160" y="214091"/>
                  <a:pt x="2714529" y="213539"/>
                  <a:pt x="2714529" y="213539"/>
                </a:cubicBezTo>
                <a:cubicBezTo>
                  <a:pt x="2714845" y="212359"/>
                  <a:pt x="2714529" y="213539"/>
                  <a:pt x="2712361" y="213878"/>
                </a:cubicBezTo>
                <a:cubicBezTo>
                  <a:pt x="2709691" y="211668"/>
                  <a:pt x="2708089" y="211008"/>
                  <a:pt x="2707050" y="209350"/>
                </a:cubicBezTo>
                <a:cubicBezTo>
                  <a:pt x="2706393" y="208484"/>
                  <a:pt x="2705822" y="207296"/>
                  <a:pt x="2705804" y="206256"/>
                </a:cubicBezTo>
                <a:cubicBezTo>
                  <a:pt x="2705756" y="205324"/>
                  <a:pt x="2705986" y="204465"/>
                  <a:pt x="2706932" y="204259"/>
                </a:cubicBezTo>
                <a:close/>
                <a:moveTo>
                  <a:pt x="2335659" y="204137"/>
                </a:moveTo>
                <a:cubicBezTo>
                  <a:pt x="2337215" y="203865"/>
                  <a:pt x="2337786" y="205053"/>
                  <a:pt x="2339885" y="206075"/>
                </a:cubicBezTo>
                <a:cubicBezTo>
                  <a:pt x="2340457" y="207263"/>
                  <a:pt x="2339224" y="208543"/>
                  <a:pt x="2339224" y="208543"/>
                </a:cubicBezTo>
                <a:cubicBezTo>
                  <a:pt x="2337962" y="209930"/>
                  <a:pt x="2338239" y="210004"/>
                  <a:pt x="2340366" y="210919"/>
                </a:cubicBezTo>
                <a:cubicBezTo>
                  <a:pt x="2340366" y="210919"/>
                  <a:pt x="2338534" y="211118"/>
                  <a:pt x="2338534" y="211118"/>
                </a:cubicBezTo>
                <a:cubicBezTo>
                  <a:pt x="2337962" y="209930"/>
                  <a:pt x="2338563" y="211011"/>
                  <a:pt x="2337301" y="212397"/>
                </a:cubicBezTo>
                <a:cubicBezTo>
                  <a:pt x="2333646" y="211649"/>
                  <a:pt x="2332062" y="212029"/>
                  <a:pt x="2329963" y="211006"/>
                </a:cubicBezTo>
                <a:cubicBezTo>
                  <a:pt x="2328885" y="210602"/>
                  <a:pt x="2327616" y="209803"/>
                  <a:pt x="2326959" y="208937"/>
                </a:cubicBezTo>
                <a:cubicBezTo>
                  <a:pt x="2325996" y="208103"/>
                  <a:pt x="2325920" y="207278"/>
                  <a:pt x="2326398" y="206601"/>
                </a:cubicBezTo>
                <a:cubicBezTo>
                  <a:pt x="2327955" y="206328"/>
                  <a:pt x="2327383" y="205140"/>
                  <a:pt x="2329215" y="204941"/>
                </a:cubicBezTo>
                <a:cubicBezTo>
                  <a:pt x="2332004" y="203389"/>
                  <a:pt x="2333561" y="203115"/>
                  <a:pt x="2335659" y="204137"/>
                </a:cubicBezTo>
                <a:close/>
                <a:moveTo>
                  <a:pt x="3489355" y="202881"/>
                </a:moveTo>
                <a:cubicBezTo>
                  <a:pt x="3495957" y="205914"/>
                  <a:pt x="3501929" y="216830"/>
                  <a:pt x="3481787" y="211203"/>
                </a:cubicBezTo>
                <a:cubicBezTo>
                  <a:pt x="3480986" y="202017"/>
                  <a:pt x="3485407" y="201017"/>
                  <a:pt x="3489355" y="202881"/>
                </a:cubicBezTo>
                <a:close/>
                <a:moveTo>
                  <a:pt x="2223603" y="199672"/>
                </a:moveTo>
                <a:cubicBezTo>
                  <a:pt x="2229777" y="199457"/>
                  <a:pt x="2238582" y="201184"/>
                  <a:pt x="2244475" y="201325"/>
                </a:cubicBezTo>
                <a:cubicBezTo>
                  <a:pt x="2247563" y="206408"/>
                  <a:pt x="2247991" y="208132"/>
                  <a:pt x="2246086" y="213027"/>
                </a:cubicBezTo>
                <a:cubicBezTo>
                  <a:pt x="2241025" y="214201"/>
                  <a:pt x="2236340" y="213981"/>
                  <a:pt x="2231798" y="213224"/>
                </a:cubicBezTo>
                <a:cubicBezTo>
                  <a:pt x="2227255" y="212467"/>
                  <a:pt x="2222886" y="211066"/>
                  <a:pt x="2218516" y="209665"/>
                </a:cubicBezTo>
                <a:cubicBezTo>
                  <a:pt x="2213886" y="202041"/>
                  <a:pt x="2217428" y="199886"/>
                  <a:pt x="2223603" y="199672"/>
                </a:cubicBezTo>
                <a:close/>
                <a:moveTo>
                  <a:pt x="2521029" y="194122"/>
                </a:moveTo>
                <a:cubicBezTo>
                  <a:pt x="2528036" y="192319"/>
                  <a:pt x="2542071" y="198610"/>
                  <a:pt x="2539141" y="206219"/>
                </a:cubicBezTo>
                <a:cubicBezTo>
                  <a:pt x="2535875" y="208450"/>
                  <a:pt x="2532302" y="210712"/>
                  <a:pt x="2524307" y="208455"/>
                </a:cubicBezTo>
                <a:cubicBezTo>
                  <a:pt x="2519549" y="204075"/>
                  <a:pt x="2518532" y="200122"/>
                  <a:pt x="2521029" y="194122"/>
                </a:cubicBezTo>
                <a:close/>
                <a:moveTo>
                  <a:pt x="2583022" y="191872"/>
                </a:moveTo>
                <a:cubicBezTo>
                  <a:pt x="2584521" y="191813"/>
                  <a:pt x="2586020" y="191755"/>
                  <a:pt x="2587011" y="192481"/>
                </a:cubicBezTo>
                <a:cubicBezTo>
                  <a:pt x="2590551" y="193660"/>
                  <a:pt x="2585775" y="197095"/>
                  <a:pt x="2586041" y="198316"/>
                </a:cubicBezTo>
                <a:cubicBezTo>
                  <a:pt x="2584531" y="199522"/>
                  <a:pt x="2582774" y="200546"/>
                  <a:pt x="2581038" y="199275"/>
                </a:cubicBezTo>
                <a:cubicBezTo>
                  <a:pt x="2580018" y="198657"/>
                  <a:pt x="2579188" y="198436"/>
                  <a:pt x="2578720" y="197965"/>
                </a:cubicBezTo>
                <a:cubicBezTo>
                  <a:pt x="2578254" y="197495"/>
                  <a:pt x="2578398" y="196958"/>
                  <a:pt x="2579019" y="195744"/>
                </a:cubicBezTo>
                <a:cubicBezTo>
                  <a:pt x="2578753" y="194523"/>
                  <a:pt x="2580511" y="193499"/>
                  <a:pt x="2580244" y="192277"/>
                </a:cubicBezTo>
                <a:cubicBezTo>
                  <a:pt x="2580244" y="192277"/>
                  <a:pt x="2581495" y="192038"/>
                  <a:pt x="2583022" y="191872"/>
                </a:cubicBezTo>
                <a:close/>
                <a:moveTo>
                  <a:pt x="2297039" y="189995"/>
                </a:moveTo>
                <a:cubicBezTo>
                  <a:pt x="2310501" y="195097"/>
                  <a:pt x="2325241" y="199852"/>
                  <a:pt x="2325996" y="208103"/>
                </a:cubicBezTo>
                <a:cubicBezTo>
                  <a:pt x="2324019" y="208839"/>
                  <a:pt x="2321881" y="209071"/>
                  <a:pt x="2319334" y="208619"/>
                </a:cubicBezTo>
                <a:cubicBezTo>
                  <a:pt x="2317033" y="208347"/>
                  <a:pt x="2314324" y="207391"/>
                  <a:pt x="2311643" y="206328"/>
                </a:cubicBezTo>
                <a:cubicBezTo>
                  <a:pt x="2306587" y="204168"/>
                  <a:pt x="2301542" y="200861"/>
                  <a:pt x="2297822" y="198139"/>
                </a:cubicBezTo>
                <a:cubicBezTo>
                  <a:pt x="2298933" y="195102"/>
                  <a:pt x="2295929" y="193033"/>
                  <a:pt x="2297039" y="189995"/>
                </a:cubicBezTo>
                <a:close/>
                <a:moveTo>
                  <a:pt x="2947087" y="185692"/>
                </a:moveTo>
                <a:cubicBezTo>
                  <a:pt x="2948556" y="185741"/>
                  <a:pt x="2947087" y="185692"/>
                  <a:pt x="2950293" y="187010"/>
                </a:cubicBezTo>
                <a:cubicBezTo>
                  <a:pt x="2949538" y="187614"/>
                  <a:pt x="2948955" y="187572"/>
                  <a:pt x="2948736" y="187284"/>
                </a:cubicBezTo>
                <a:cubicBezTo>
                  <a:pt x="2948240" y="186920"/>
                  <a:pt x="2947802" y="186343"/>
                  <a:pt x="2947087" y="185692"/>
                </a:cubicBezTo>
                <a:close/>
                <a:moveTo>
                  <a:pt x="3140169" y="184527"/>
                </a:moveTo>
                <a:cubicBezTo>
                  <a:pt x="3141247" y="184931"/>
                  <a:pt x="3142487" y="185838"/>
                  <a:pt x="3144395" y="186464"/>
                </a:cubicBezTo>
                <a:lnTo>
                  <a:pt x="3139647" y="189793"/>
                </a:lnTo>
                <a:cubicBezTo>
                  <a:pt x="3138628" y="189174"/>
                  <a:pt x="3137665" y="188341"/>
                  <a:pt x="3137313" y="187441"/>
                </a:cubicBezTo>
                <a:cubicBezTo>
                  <a:pt x="3136654" y="186575"/>
                  <a:pt x="3136579" y="185751"/>
                  <a:pt x="3137305" y="185255"/>
                </a:cubicBezTo>
                <a:cubicBezTo>
                  <a:pt x="3138204" y="184116"/>
                  <a:pt x="3139091" y="184123"/>
                  <a:pt x="3140169" y="184527"/>
                </a:cubicBezTo>
                <a:close/>
                <a:moveTo>
                  <a:pt x="3120480" y="183852"/>
                </a:moveTo>
                <a:cubicBezTo>
                  <a:pt x="3125755" y="186300"/>
                  <a:pt x="3129550" y="189847"/>
                  <a:pt x="3124803" y="193175"/>
                </a:cubicBezTo>
                <a:cubicBezTo>
                  <a:pt x="3124076" y="193670"/>
                  <a:pt x="3123323" y="194273"/>
                  <a:pt x="3122654" y="194554"/>
                </a:cubicBezTo>
                <a:cubicBezTo>
                  <a:pt x="3121986" y="194834"/>
                  <a:pt x="3121680" y="194868"/>
                  <a:pt x="3121547" y="194257"/>
                </a:cubicBezTo>
                <a:cubicBezTo>
                  <a:pt x="3120048" y="194315"/>
                  <a:pt x="3119783" y="193095"/>
                  <a:pt x="3118047" y="191824"/>
                </a:cubicBezTo>
                <a:cubicBezTo>
                  <a:pt x="3116893" y="190596"/>
                  <a:pt x="3116379" y="189192"/>
                  <a:pt x="3116419" y="187939"/>
                </a:cubicBezTo>
                <a:cubicBezTo>
                  <a:pt x="3116182" y="186610"/>
                  <a:pt x="3116498" y="185430"/>
                  <a:pt x="3117224" y="184934"/>
                </a:cubicBezTo>
                <a:cubicBezTo>
                  <a:pt x="3118733" y="183728"/>
                  <a:pt x="3120480" y="183852"/>
                  <a:pt x="3120480" y="183852"/>
                </a:cubicBezTo>
                <a:close/>
                <a:moveTo>
                  <a:pt x="3710112" y="179230"/>
                </a:moveTo>
                <a:cubicBezTo>
                  <a:pt x="3713738" y="180087"/>
                  <a:pt x="3717213" y="179293"/>
                  <a:pt x="3719571" y="179350"/>
                </a:cubicBezTo>
                <a:cubicBezTo>
                  <a:pt x="3723347" y="181857"/>
                  <a:pt x="3724738" y="184415"/>
                  <a:pt x="3723923" y="188567"/>
                </a:cubicBezTo>
                <a:cubicBezTo>
                  <a:pt x="3716973" y="190154"/>
                  <a:pt x="3719330" y="190210"/>
                  <a:pt x="3710961" y="189348"/>
                </a:cubicBezTo>
                <a:cubicBezTo>
                  <a:pt x="3710687" y="185941"/>
                  <a:pt x="3710414" y="182532"/>
                  <a:pt x="3710112" y="179230"/>
                </a:cubicBezTo>
                <a:close/>
                <a:moveTo>
                  <a:pt x="3432995" y="178578"/>
                </a:moveTo>
                <a:cubicBezTo>
                  <a:pt x="3434177" y="188555"/>
                  <a:pt x="3436598" y="199439"/>
                  <a:pt x="3426202" y="201713"/>
                </a:cubicBezTo>
                <a:cubicBezTo>
                  <a:pt x="3421757" y="199488"/>
                  <a:pt x="3420101" y="195708"/>
                  <a:pt x="3419971" y="191764"/>
                </a:cubicBezTo>
                <a:cubicBezTo>
                  <a:pt x="3419842" y="187819"/>
                  <a:pt x="3421240" y="183709"/>
                  <a:pt x="3422598" y="180853"/>
                </a:cubicBezTo>
                <a:cubicBezTo>
                  <a:pt x="3427313" y="180966"/>
                  <a:pt x="3428279" y="178464"/>
                  <a:pt x="3432995" y="178578"/>
                </a:cubicBezTo>
                <a:close/>
                <a:moveTo>
                  <a:pt x="2291078" y="177933"/>
                </a:moveTo>
                <a:cubicBezTo>
                  <a:pt x="2290150" y="188034"/>
                  <a:pt x="2292131" y="192819"/>
                  <a:pt x="2290061" y="200545"/>
                </a:cubicBezTo>
                <a:cubicBezTo>
                  <a:pt x="2288505" y="200818"/>
                  <a:pt x="2287933" y="199629"/>
                  <a:pt x="2286406" y="199796"/>
                </a:cubicBezTo>
                <a:cubicBezTo>
                  <a:pt x="2285328" y="199392"/>
                  <a:pt x="2284480" y="198129"/>
                  <a:pt x="2283965" y="196727"/>
                </a:cubicBezTo>
                <a:cubicBezTo>
                  <a:pt x="2282148" y="192444"/>
                  <a:pt x="2282547" y="185421"/>
                  <a:pt x="2283798" y="185182"/>
                </a:cubicBezTo>
                <a:cubicBezTo>
                  <a:pt x="2283226" y="183993"/>
                  <a:pt x="2285029" y="183902"/>
                  <a:pt x="2284459" y="182714"/>
                </a:cubicBezTo>
                <a:cubicBezTo>
                  <a:pt x="2284459" y="182714"/>
                  <a:pt x="2283916" y="181418"/>
                  <a:pt x="2284900" y="179957"/>
                </a:cubicBezTo>
                <a:cubicBezTo>
                  <a:pt x="2286133" y="178676"/>
                  <a:pt x="2287395" y="177290"/>
                  <a:pt x="2291078" y="177933"/>
                </a:cubicBezTo>
                <a:close/>
                <a:moveTo>
                  <a:pt x="3147147" y="173977"/>
                </a:moveTo>
                <a:cubicBezTo>
                  <a:pt x="3149534" y="173926"/>
                  <a:pt x="3152998" y="174280"/>
                  <a:pt x="3156642" y="176175"/>
                </a:cubicBezTo>
                <a:cubicBezTo>
                  <a:pt x="3158378" y="177446"/>
                  <a:pt x="3162144" y="181100"/>
                  <a:pt x="3160397" y="180977"/>
                </a:cubicBezTo>
                <a:cubicBezTo>
                  <a:pt x="3158888" y="182183"/>
                  <a:pt x="3160357" y="182231"/>
                  <a:pt x="3160624" y="183453"/>
                </a:cubicBezTo>
                <a:cubicBezTo>
                  <a:pt x="3155848" y="186888"/>
                  <a:pt x="3151122" y="187922"/>
                  <a:pt x="3145847" y="185473"/>
                </a:cubicBezTo>
                <a:cubicBezTo>
                  <a:pt x="3143091" y="183584"/>
                  <a:pt x="3139314" y="181078"/>
                  <a:pt x="3138839" y="178421"/>
                </a:cubicBezTo>
                <a:cubicBezTo>
                  <a:pt x="3138764" y="177596"/>
                  <a:pt x="3138994" y="176737"/>
                  <a:pt x="3139835" y="175812"/>
                </a:cubicBezTo>
                <a:cubicBezTo>
                  <a:pt x="3141581" y="175935"/>
                  <a:pt x="3141316" y="174714"/>
                  <a:pt x="3143090" y="174730"/>
                </a:cubicBezTo>
                <a:cubicBezTo>
                  <a:pt x="3143090" y="174730"/>
                  <a:pt x="3144733" y="174136"/>
                  <a:pt x="3147147" y="173977"/>
                </a:cubicBezTo>
                <a:close/>
                <a:moveTo>
                  <a:pt x="2650456" y="171531"/>
                </a:moveTo>
                <a:cubicBezTo>
                  <a:pt x="2652259" y="171439"/>
                  <a:pt x="2652555" y="172553"/>
                  <a:pt x="2654624" y="173683"/>
                </a:cubicBezTo>
                <a:cubicBezTo>
                  <a:pt x="2654890" y="174904"/>
                  <a:pt x="2653381" y="176110"/>
                  <a:pt x="2653381" y="176110"/>
                </a:cubicBezTo>
                <a:cubicBezTo>
                  <a:pt x="2652149" y="177389"/>
                  <a:pt x="2652149" y="177389"/>
                  <a:pt x="2653942" y="178444"/>
                </a:cubicBezTo>
                <a:cubicBezTo>
                  <a:pt x="2653942" y="178444"/>
                  <a:pt x="2652415" y="178611"/>
                  <a:pt x="2652415" y="178611"/>
                </a:cubicBezTo>
                <a:cubicBezTo>
                  <a:pt x="2652120" y="177496"/>
                  <a:pt x="2652415" y="178611"/>
                  <a:pt x="2651181" y="179890"/>
                </a:cubicBezTo>
                <a:cubicBezTo>
                  <a:pt x="2649245" y="179371"/>
                  <a:pt x="2647833" y="179108"/>
                  <a:pt x="2646697" y="178918"/>
                </a:cubicBezTo>
                <a:cubicBezTo>
                  <a:pt x="2645590" y="178622"/>
                  <a:pt x="2644732" y="178507"/>
                  <a:pt x="2643711" y="177888"/>
                </a:cubicBezTo>
                <a:cubicBezTo>
                  <a:pt x="2642661" y="177377"/>
                  <a:pt x="2641698" y="176544"/>
                  <a:pt x="2641040" y="175678"/>
                </a:cubicBezTo>
                <a:cubicBezTo>
                  <a:pt x="2640384" y="174812"/>
                  <a:pt x="2640031" y="173912"/>
                  <a:pt x="2640815" y="173202"/>
                </a:cubicBezTo>
                <a:cubicBezTo>
                  <a:pt x="2642313" y="173144"/>
                  <a:pt x="2642046" y="171922"/>
                  <a:pt x="2643823" y="171939"/>
                </a:cubicBezTo>
                <a:cubicBezTo>
                  <a:pt x="2646859" y="170567"/>
                  <a:pt x="2648386" y="170401"/>
                  <a:pt x="2650456" y="171531"/>
                </a:cubicBezTo>
                <a:close/>
                <a:moveTo>
                  <a:pt x="2040379" y="167223"/>
                </a:moveTo>
                <a:cubicBezTo>
                  <a:pt x="2044968" y="168913"/>
                  <a:pt x="2047973" y="170983"/>
                  <a:pt x="2052257" y="172705"/>
                </a:cubicBezTo>
                <a:cubicBezTo>
                  <a:pt x="2052871" y="178161"/>
                  <a:pt x="2047031" y="176711"/>
                  <a:pt x="2041164" y="175369"/>
                </a:cubicBezTo>
                <a:cubicBezTo>
                  <a:pt x="2040994" y="172678"/>
                  <a:pt x="2037961" y="170715"/>
                  <a:pt x="2040379" y="167223"/>
                </a:cubicBezTo>
                <a:close/>
                <a:moveTo>
                  <a:pt x="2341445" y="167048"/>
                </a:moveTo>
                <a:cubicBezTo>
                  <a:pt x="2346908" y="164372"/>
                  <a:pt x="2362500" y="167055"/>
                  <a:pt x="2350644" y="176987"/>
                </a:cubicBezTo>
                <a:cubicBezTo>
                  <a:pt x="2338347" y="171968"/>
                  <a:pt x="2338075" y="168559"/>
                  <a:pt x="2341445" y="167048"/>
                </a:cubicBezTo>
                <a:close/>
                <a:moveTo>
                  <a:pt x="2689604" y="164885"/>
                </a:moveTo>
                <a:cubicBezTo>
                  <a:pt x="2691523" y="164364"/>
                  <a:pt x="2693719" y="163917"/>
                  <a:pt x="2696361" y="166236"/>
                </a:cubicBezTo>
                <a:cubicBezTo>
                  <a:pt x="2688279" y="173155"/>
                  <a:pt x="2686488" y="177621"/>
                  <a:pt x="2679288" y="182361"/>
                </a:cubicBezTo>
                <a:cubicBezTo>
                  <a:pt x="2677655" y="181808"/>
                  <a:pt x="2678249" y="180702"/>
                  <a:pt x="2676646" y="180043"/>
                </a:cubicBezTo>
                <a:cubicBezTo>
                  <a:pt x="2675988" y="179176"/>
                  <a:pt x="2676027" y="177923"/>
                  <a:pt x="2676401" y="176528"/>
                </a:cubicBezTo>
                <a:cubicBezTo>
                  <a:pt x="2678048" y="172599"/>
                  <a:pt x="2683560" y="167521"/>
                  <a:pt x="2684638" y="167925"/>
                </a:cubicBezTo>
                <a:cubicBezTo>
                  <a:pt x="2685202" y="166926"/>
                  <a:pt x="2686834" y="167478"/>
                  <a:pt x="2687150" y="166297"/>
                </a:cubicBezTo>
                <a:cubicBezTo>
                  <a:pt x="2687150" y="166297"/>
                  <a:pt x="2687686" y="165406"/>
                  <a:pt x="2689604" y="164885"/>
                </a:cubicBezTo>
                <a:close/>
                <a:moveTo>
                  <a:pt x="2880721" y="154454"/>
                </a:moveTo>
                <a:cubicBezTo>
                  <a:pt x="2883937" y="154626"/>
                  <a:pt x="2887563" y="155483"/>
                  <a:pt x="2891703" y="157742"/>
                </a:cubicBezTo>
                <a:cubicBezTo>
                  <a:pt x="2900508" y="162516"/>
                  <a:pt x="2908068" y="169717"/>
                  <a:pt x="2897301" y="178907"/>
                </a:cubicBezTo>
                <a:cubicBezTo>
                  <a:pt x="2895810" y="181153"/>
                  <a:pt x="2895821" y="180006"/>
                  <a:pt x="2894341" y="181104"/>
                </a:cubicBezTo>
                <a:cubicBezTo>
                  <a:pt x="2892554" y="182235"/>
                  <a:pt x="2891311" y="184662"/>
                  <a:pt x="2891329" y="185702"/>
                </a:cubicBezTo>
                <a:cubicBezTo>
                  <a:pt x="2886112" y="183039"/>
                  <a:pt x="2882827" y="184228"/>
                  <a:pt x="2877073" y="182457"/>
                </a:cubicBezTo>
                <a:cubicBezTo>
                  <a:pt x="2875137" y="181938"/>
                  <a:pt x="2873009" y="181023"/>
                  <a:pt x="2870444" y="179530"/>
                </a:cubicBezTo>
                <a:cubicBezTo>
                  <a:pt x="2863126" y="175845"/>
                  <a:pt x="2860305" y="171984"/>
                  <a:pt x="2859480" y="168427"/>
                </a:cubicBezTo>
                <a:cubicBezTo>
                  <a:pt x="2858958" y="164838"/>
                  <a:pt x="2860709" y="161627"/>
                  <a:pt x="2863117" y="159282"/>
                </a:cubicBezTo>
                <a:cubicBezTo>
                  <a:pt x="2864356" y="160189"/>
                  <a:pt x="2870767" y="153972"/>
                  <a:pt x="2880721" y="154454"/>
                </a:cubicBezTo>
                <a:close/>
                <a:moveTo>
                  <a:pt x="2910717" y="147655"/>
                </a:moveTo>
                <a:cubicBezTo>
                  <a:pt x="2924767" y="154986"/>
                  <a:pt x="2920003" y="157275"/>
                  <a:pt x="2915493" y="161931"/>
                </a:cubicBezTo>
                <a:cubicBezTo>
                  <a:pt x="2913890" y="161272"/>
                  <a:pt x="2911809" y="161289"/>
                  <a:pt x="2909509" y="161017"/>
                </a:cubicBezTo>
                <a:cubicBezTo>
                  <a:pt x="2907486" y="160821"/>
                  <a:pt x="2905186" y="160549"/>
                  <a:pt x="2903451" y="159280"/>
                </a:cubicBezTo>
                <a:cubicBezTo>
                  <a:pt x="2903451" y="159280"/>
                  <a:pt x="2901715" y="158009"/>
                  <a:pt x="2901460" y="155641"/>
                </a:cubicBezTo>
                <a:cubicBezTo>
                  <a:pt x="2900496" y="154808"/>
                  <a:pt x="2900116" y="154015"/>
                  <a:pt x="2900040" y="153191"/>
                </a:cubicBezTo>
                <a:cubicBezTo>
                  <a:pt x="2899815" y="150714"/>
                  <a:pt x="2902412" y="148766"/>
                  <a:pt x="2902412" y="148766"/>
                </a:cubicBezTo>
                <a:cubicBezTo>
                  <a:pt x="2902412" y="148766"/>
                  <a:pt x="2902441" y="148659"/>
                  <a:pt x="2900666" y="148643"/>
                </a:cubicBezTo>
                <a:cubicBezTo>
                  <a:pt x="2903911" y="148707"/>
                  <a:pt x="2907167" y="147625"/>
                  <a:pt x="2910717" y="147655"/>
                </a:cubicBezTo>
                <a:close/>
                <a:moveTo>
                  <a:pt x="2609533" y="142740"/>
                </a:moveTo>
                <a:cubicBezTo>
                  <a:pt x="2606917" y="152504"/>
                  <a:pt x="2608286" y="157356"/>
                  <a:pt x="2605109" y="164785"/>
                </a:cubicBezTo>
                <a:cubicBezTo>
                  <a:pt x="2603305" y="164876"/>
                  <a:pt x="2603039" y="163656"/>
                  <a:pt x="2601512" y="163821"/>
                </a:cubicBezTo>
                <a:cubicBezTo>
                  <a:pt x="2600491" y="163202"/>
                  <a:pt x="2599919" y="162014"/>
                  <a:pt x="2599435" y="160505"/>
                </a:cubicBezTo>
                <a:cubicBezTo>
                  <a:pt x="2598504" y="156230"/>
                  <a:pt x="2599762" y="149322"/>
                  <a:pt x="2600984" y="149190"/>
                </a:cubicBezTo>
                <a:cubicBezTo>
                  <a:pt x="2600689" y="148076"/>
                  <a:pt x="2602216" y="147909"/>
                  <a:pt x="2601922" y="146796"/>
                </a:cubicBezTo>
                <a:cubicBezTo>
                  <a:pt x="2601922" y="146796"/>
                  <a:pt x="2601656" y="145574"/>
                  <a:pt x="2603194" y="144261"/>
                </a:cubicBezTo>
                <a:cubicBezTo>
                  <a:pt x="2604427" y="142982"/>
                  <a:pt x="2605659" y="141702"/>
                  <a:pt x="2609533" y="142740"/>
                </a:cubicBezTo>
                <a:close/>
                <a:moveTo>
                  <a:pt x="2819825" y="140437"/>
                </a:moveTo>
                <a:cubicBezTo>
                  <a:pt x="2831299" y="147422"/>
                  <a:pt x="2822839" y="159070"/>
                  <a:pt x="2812827" y="158803"/>
                </a:cubicBezTo>
                <a:cubicBezTo>
                  <a:pt x="2804444" y="153565"/>
                  <a:pt x="2806029" y="144331"/>
                  <a:pt x="2812217" y="141158"/>
                </a:cubicBezTo>
                <a:cubicBezTo>
                  <a:pt x="2814280" y="140101"/>
                  <a:pt x="2816753" y="139729"/>
                  <a:pt x="2819825" y="140437"/>
                </a:cubicBezTo>
                <a:close/>
                <a:moveTo>
                  <a:pt x="2238756" y="125273"/>
                </a:moveTo>
                <a:cubicBezTo>
                  <a:pt x="2242504" y="127887"/>
                  <a:pt x="2247011" y="135419"/>
                  <a:pt x="2242720" y="140364"/>
                </a:cubicBezTo>
                <a:cubicBezTo>
                  <a:pt x="2239999" y="140555"/>
                  <a:pt x="2237948" y="140466"/>
                  <a:pt x="2235982" y="140054"/>
                </a:cubicBezTo>
                <a:cubicBezTo>
                  <a:pt x="2234044" y="139535"/>
                  <a:pt x="2232748" y="138842"/>
                  <a:pt x="2231508" y="137935"/>
                </a:cubicBezTo>
                <a:cubicBezTo>
                  <a:pt x="2229363" y="135980"/>
                  <a:pt x="2228363" y="133067"/>
                  <a:pt x="2228483" y="129304"/>
                </a:cubicBezTo>
                <a:cubicBezTo>
                  <a:pt x="2231957" y="128510"/>
                  <a:pt x="2234164" y="126916"/>
                  <a:pt x="2238756" y="125273"/>
                </a:cubicBezTo>
                <a:close/>
                <a:moveTo>
                  <a:pt x="3668054" y="123686"/>
                </a:moveTo>
                <a:cubicBezTo>
                  <a:pt x="3691768" y="135905"/>
                  <a:pt x="3685404" y="160765"/>
                  <a:pt x="3681695" y="174607"/>
                </a:cubicBezTo>
                <a:cubicBezTo>
                  <a:pt x="3671091" y="175445"/>
                  <a:pt x="3662778" y="174367"/>
                  <a:pt x="3656338" y="171838"/>
                </a:cubicBezTo>
                <a:cubicBezTo>
                  <a:pt x="3636990" y="164353"/>
                  <a:pt x="3633272" y="143921"/>
                  <a:pt x="3631364" y="125585"/>
                </a:cubicBezTo>
                <a:cubicBezTo>
                  <a:pt x="3644811" y="126313"/>
                  <a:pt x="3654608" y="122957"/>
                  <a:pt x="3668054" y="123686"/>
                </a:cubicBezTo>
                <a:close/>
                <a:moveTo>
                  <a:pt x="2789172" y="119803"/>
                </a:moveTo>
                <a:cubicBezTo>
                  <a:pt x="2797808" y="121887"/>
                  <a:pt x="2797721" y="131064"/>
                  <a:pt x="2791860" y="131908"/>
                </a:cubicBezTo>
                <a:cubicBezTo>
                  <a:pt x="2790915" y="132115"/>
                  <a:pt x="2789750" y="132034"/>
                  <a:pt x="2788367" y="131663"/>
                </a:cubicBezTo>
                <a:cubicBezTo>
                  <a:pt x="2787289" y="131258"/>
                  <a:pt x="2785686" y="130599"/>
                  <a:pt x="2784199" y="129511"/>
                </a:cubicBezTo>
                <a:cubicBezTo>
                  <a:pt x="2786045" y="124830"/>
                  <a:pt x="2787185" y="121686"/>
                  <a:pt x="2789172" y="119803"/>
                </a:cubicBezTo>
                <a:close/>
                <a:moveTo>
                  <a:pt x="3258219" y="115849"/>
                </a:moveTo>
                <a:cubicBezTo>
                  <a:pt x="3262339" y="114308"/>
                  <a:pt x="3268043" y="114600"/>
                  <a:pt x="3272269" y="116538"/>
                </a:cubicBezTo>
                <a:cubicBezTo>
                  <a:pt x="3275170" y="117888"/>
                  <a:pt x="3277316" y="119844"/>
                  <a:pt x="3278066" y="122575"/>
                </a:cubicBezTo>
                <a:cubicBezTo>
                  <a:pt x="3272212" y="125607"/>
                  <a:pt x="3266433" y="129464"/>
                  <a:pt x="3260116" y="128690"/>
                </a:cubicBezTo>
                <a:cubicBezTo>
                  <a:pt x="3258093" y="128493"/>
                  <a:pt x="3255937" y="127685"/>
                  <a:pt x="3253676" y="126160"/>
                </a:cubicBezTo>
                <a:cubicBezTo>
                  <a:pt x="3251564" y="120764"/>
                  <a:pt x="3254099" y="117389"/>
                  <a:pt x="3258219" y="115849"/>
                </a:cubicBezTo>
                <a:close/>
                <a:moveTo>
                  <a:pt x="3046629" y="110818"/>
                </a:moveTo>
                <a:cubicBezTo>
                  <a:pt x="3048376" y="110940"/>
                  <a:pt x="3050169" y="111995"/>
                  <a:pt x="3051934" y="113160"/>
                </a:cubicBezTo>
                <a:cubicBezTo>
                  <a:pt x="3055740" y="115558"/>
                  <a:pt x="3054249" y="117804"/>
                  <a:pt x="3054249" y="117804"/>
                </a:cubicBezTo>
                <a:cubicBezTo>
                  <a:pt x="3051247" y="121255"/>
                  <a:pt x="3046217" y="122322"/>
                  <a:pt x="3040636" y="119906"/>
                </a:cubicBezTo>
                <a:cubicBezTo>
                  <a:pt x="3038910" y="117489"/>
                  <a:pt x="3040125" y="115170"/>
                  <a:pt x="3041617" y="112925"/>
                </a:cubicBezTo>
                <a:cubicBezTo>
                  <a:pt x="3043270" y="111182"/>
                  <a:pt x="3044913" y="110587"/>
                  <a:pt x="3046629" y="110818"/>
                </a:cubicBezTo>
                <a:close/>
                <a:moveTo>
                  <a:pt x="2539872" y="104984"/>
                </a:moveTo>
                <a:cubicBezTo>
                  <a:pt x="2541072" y="116001"/>
                  <a:pt x="2541845" y="134148"/>
                  <a:pt x="2533895" y="141678"/>
                </a:cubicBezTo>
                <a:cubicBezTo>
                  <a:pt x="2516582" y="133244"/>
                  <a:pt x="2531755" y="109824"/>
                  <a:pt x="2539872" y="104984"/>
                </a:cubicBezTo>
                <a:close/>
                <a:moveTo>
                  <a:pt x="2715555" y="95708"/>
                </a:moveTo>
                <a:cubicBezTo>
                  <a:pt x="2717111" y="95434"/>
                  <a:pt x="2719192" y="95416"/>
                  <a:pt x="2721434" y="95903"/>
                </a:cubicBezTo>
                <a:cubicBezTo>
                  <a:pt x="2720478" y="106111"/>
                  <a:pt x="2724096" y="113636"/>
                  <a:pt x="2725728" y="123043"/>
                </a:cubicBezTo>
                <a:cubicBezTo>
                  <a:pt x="2724172" y="123317"/>
                  <a:pt x="2722673" y="123375"/>
                  <a:pt x="2720402" y="122997"/>
                </a:cubicBezTo>
                <a:cubicBezTo>
                  <a:pt x="2718408" y="122692"/>
                  <a:pt x="2715946" y="121918"/>
                  <a:pt x="2712436" y="120632"/>
                </a:cubicBezTo>
                <a:cubicBezTo>
                  <a:pt x="2718659" y="110685"/>
                  <a:pt x="2699973" y="109588"/>
                  <a:pt x="2704209" y="101522"/>
                </a:cubicBezTo>
                <a:cubicBezTo>
                  <a:pt x="2707973" y="99656"/>
                  <a:pt x="2710333" y="96378"/>
                  <a:pt x="2715555" y="95708"/>
                </a:cubicBezTo>
                <a:close/>
                <a:moveTo>
                  <a:pt x="2523155" y="92110"/>
                </a:moveTo>
                <a:cubicBezTo>
                  <a:pt x="2528085" y="95846"/>
                  <a:pt x="2522368" y="105009"/>
                  <a:pt x="2515515" y="105128"/>
                </a:cubicBezTo>
                <a:cubicBezTo>
                  <a:pt x="2514627" y="105120"/>
                  <a:pt x="2513493" y="104930"/>
                  <a:pt x="2512720" y="104494"/>
                </a:cubicBezTo>
                <a:cubicBezTo>
                  <a:pt x="2509514" y="103175"/>
                  <a:pt x="2506578" y="99743"/>
                  <a:pt x="2504619" y="92664"/>
                </a:cubicBezTo>
                <a:cubicBezTo>
                  <a:pt x="2514940" y="89564"/>
                  <a:pt x="2520456" y="90007"/>
                  <a:pt x="2523155" y="92110"/>
                </a:cubicBezTo>
                <a:close/>
                <a:moveTo>
                  <a:pt x="2818823" y="87728"/>
                </a:moveTo>
                <a:cubicBezTo>
                  <a:pt x="2820491" y="90360"/>
                  <a:pt x="2822600" y="90235"/>
                  <a:pt x="2822090" y="94353"/>
                </a:cubicBezTo>
                <a:cubicBezTo>
                  <a:pt x="2819732" y="94296"/>
                  <a:pt x="2817374" y="94240"/>
                  <a:pt x="2815018" y="94183"/>
                </a:cubicBezTo>
                <a:cubicBezTo>
                  <a:pt x="2814716" y="90882"/>
                  <a:pt x="2814385" y="87689"/>
                  <a:pt x="2818823" y="87728"/>
                </a:cubicBezTo>
                <a:close/>
                <a:moveTo>
                  <a:pt x="2485699" y="86904"/>
                </a:moveTo>
                <a:cubicBezTo>
                  <a:pt x="2489250" y="86935"/>
                  <a:pt x="2493706" y="88014"/>
                  <a:pt x="2498457" y="90207"/>
                </a:cubicBezTo>
                <a:cubicBezTo>
                  <a:pt x="2505341" y="95502"/>
                  <a:pt x="2500813" y="107973"/>
                  <a:pt x="2492986" y="108407"/>
                </a:cubicBezTo>
                <a:cubicBezTo>
                  <a:pt x="2488398" y="106716"/>
                  <a:pt x="2483809" y="105027"/>
                  <a:pt x="2479526" y="103305"/>
                </a:cubicBezTo>
                <a:cubicBezTo>
                  <a:pt x="2473643" y="97588"/>
                  <a:pt x="2474146" y="91283"/>
                  <a:pt x="2479361" y="88425"/>
                </a:cubicBezTo>
                <a:cubicBezTo>
                  <a:pt x="2481090" y="87508"/>
                  <a:pt x="2483037" y="86880"/>
                  <a:pt x="2485699" y="86904"/>
                </a:cubicBezTo>
                <a:close/>
                <a:moveTo>
                  <a:pt x="2885951" y="85129"/>
                </a:moveTo>
                <a:cubicBezTo>
                  <a:pt x="2894561" y="83987"/>
                  <a:pt x="2908767" y="89633"/>
                  <a:pt x="2919457" y="97328"/>
                </a:cubicBezTo>
                <a:cubicBezTo>
                  <a:pt x="2929900" y="104840"/>
                  <a:pt x="2936828" y="114402"/>
                  <a:pt x="2930331" y="120942"/>
                </a:cubicBezTo>
                <a:cubicBezTo>
                  <a:pt x="2920108" y="104862"/>
                  <a:pt x="2892879" y="103546"/>
                  <a:pt x="2885951" y="85129"/>
                </a:cubicBezTo>
                <a:close/>
                <a:moveTo>
                  <a:pt x="2881524" y="75088"/>
                </a:moveTo>
                <a:cubicBezTo>
                  <a:pt x="2881744" y="75377"/>
                  <a:pt x="2882735" y="76102"/>
                  <a:pt x="2884366" y="76654"/>
                </a:cubicBezTo>
                <a:cubicBezTo>
                  <a:pt x="2886131" y="77818"/>
                  <a:pt x="2887630" y="77759"/>
                  <a:pt x="2886149" y="78858"/>
                </a:cubicBezTo>
                <a:cubicBezTo>
                  <a:pt x="2884668" y="79955"/>
                  <a:pt x="2884668" y="79955"/>
                  <a:pt x="2879953" y="79842"/>
                </a:cubicBezTo>
                <a:cubicBezTo>
                  <a:pt x="2881434" y="78744"/>
                  <a:pt x="2881434" y="78744"/>
                  <a:pt x="2879669" y="77581"/>
                </a:cubicBezTo>
                <a:cubicBezTo>
                  <a:pt x="2879669" y="77581"/>
                  <a:pt x="2879669" y="77581"/>
                  <a:pt x="2877894" y="77565"/>
                </a:cubicBezTo>
                <a:cubicBezTo>
                  <a:pt x="2877905" y="76418"/>
                  <a:pt x="2879375" y="76467"/>
                  <a:pt x="2879357" y="75427"/>
                </a:cubicBezTo>
                <a:cubicBezTo>
                  <a:pt x="2879357" y="75427"/>
                  <a:pt x="2881132" y="75443"/>
                  <a:pt x="2881132" y="75443"/>
                </a:cubicBezTo>
                <a:cubicBezTo>
                  <a:pt x="2880999" y="74833"/>
                  <a:pt x="2880999" y="74833"/>
                  <a:pt x="2881524" y="75088"/>
                </a:cubicBezTo>
                <a:close/>
                <a:moveTo>
                  <a:pt x="2795933" y="64689"/>
                </a:moveTo>
                <a:cubicBezTo>
                  <a:pt x="2806243" y="71591"/>
                  <a:pt x="2804442" y="94914"/>
                  <a:pt x="2786793" y="95476"/>
                </a:cubicBezTo>
                <a:cubicBezTo>
                  <a:pt x="2788149" y="87099"/>
                  <a:pt x="2790744" y="79628"/>
                  <a:pt x="2786805" y="67763"/>
                </a:cubicBezTo>
                <a:cubicBezTo>
                  <a:pt x="2791520" y="67877"/>
                  <a:pt x="2789672" y="63701"/>
                  <a:pt x="2795933" y="64689"/>
                </a:cubicBezTo>
                <a:close/>
                <a:moveTo>
                  <a:pt x="2299557" y="43352"/>
                </a:moveTo>
                <a:cubicBezTo>
                  <a:pt x="2302343" y="45133"/>
                  <a:pt x="2303733" y="47690"/>
                  <a:pt x="2303194" y="51917"/>
                </a:cubicBezTo>
                <a:cubicBezTo>
                  <a:pt x="2299022" y="53099"/>
                  <a:pt x="2296445" y="52754"/>
                  <a:pt x="2294318" y="51839"/>
                </a:cubicBezTo>
                <a:cubicBezTo>
                  <a:pt x="2292219" y="50816"/>
                  <a:pt x="2290876" y="49191"/>
                  <a:pt x="2289283" y="47384"/>
                </a:cubicBezTo>
                <a:cubicBezTo>
                  <a:pt x="2295393" y="46722"/>
                  <a:pt x="2292334" y="41532"/>
                  <a:pt x="2299557" y="43352"/>
                </a:cubicBezTo>
                <a:close/>
                <a:moveTo>
                  <a:pt x="2905270" y="39591"/>
                </a:moveTo>
                <a:cubicBezTo>
                  <a:pt x="2905875" y="46192"/>
                  <a:pt x="2901710" y="49561"/>
                  <a:pt x="2893670" y="51892"/>
                </a:cubicBezTo>
                <a:cubicBezTo>
                  <a:pt x="2892402" y="51092"/>
                  <a:pt x="2891669" y="49401"/>
                  <a:pt x="2891270" y="47569"/>
                </a:cubicBezTo>
                <a:cubicBezTo>
                  <a:pt x="2890595" y="45663"/>
                  <a:pt x="2890530" y="43690"/>
                  <a:pt x="2890379" y="42040"/>
                </a:cubicBezTo>
                <a:cubicBezTo>
                  <a:pt x="2893703" y="39596"/>
                  <a:pt x="2899259" y="38784"/>
                  <a:pt x="2905270" y="39591"/>
                </a:cubicBezTo>
                <a:close/>
                <a:moveTo>
                  <a:pt x="2571613" y="21948"/>
                </a:moveTo>
                <a:cubicBezTo>
                  <a:pt x="2575728" y="20979"/>
                  <a:pt x="2583445" y="23163"/>
                  <a:pt x="2586047" y="26736"/>
                </a:cubicBezTo>
                <a:cubicBezTo>
                  <a:pt x="2585814" y="30928"/>
                  <a:pt x="2582379" y="30467"/>
                  <a:pt x="2582548" y="33158"/>
                </a:cubicBezTo>
                <a:cubicBezTo>
                  <a:pt x="2574552" y="30901"/>
                  <a:pt x="2572226" y="27402"/>
                  <a:pt x="2571613" y="21948"/>
                </a:cubicBezTo>
                <a:close/>
                <a:moveTo>
                  <a:pt x="3125651" y="11815"/>
                </a:moveTo>
                <a:cubicBezTo>
                  <a:pt x="3132061" y="14453"/>
                  <a:pt x="3132223" y="23811"/>
                  <a:pt x="3126236" y="26232"/>
                </a:cubicBezTo>
                <a:cubicBezTo>
                  <a:pt x="3126383" y="22361"/>
                  <a:pt x="3124744" y="19621"/>
                  <a:pt x="3123574" y="17353"/>
                </a:cubicBezTo>
                <a:cubicBezTo>
                  <a:pt x="3122679" y="15159"/>
                  <a:pt x="3122251" y="13434"/>
                  <a:pt x="3125651" y="11815"/>
                </a:cubicBezTo>
                <a:close/>
                <a:moveTo>
                  <a:pt x="3310561" y="3515"/>
                </a:moveTo>
                <a:cubicBezTo>
                  <a:pt x="3310862" y="6816"/>
                  <a:pt x="3310201" y="9284"/>
                  <a:pt x="3310503" y="12585"/>
                </a:cubicBezTo>
                <a:cubicBezTo>
                  <a:pt x="3308919" y="12965"/>
                  <a:pt x="3307421" y="13023"/>
                  <a:pt x="3306285" y="12835"/>
                </a:cubicBezTo>
                <a:cubicBezTo>
                  <a:pt x="3302659" y="11978"/>
                  <a:pt x="3301412" y="8884"/>
                  <a:pt x="3300166" y="5789"/>
                </a:cubicBezTo>
                <a:cubicBezTo>
                  <a:pt x="3303640" y="4995"/>
                  <a:pt x="3304578" y="2602"/>
                  <a:pt x="3310561" y="3515"/>
                </a:cubicBezTo>
                <a:close/>
                <a:moveTo>
                  <a:pt x="2360268" y="509"/>
                </a:moveTo>
                <a:cubicBezTo>
                  <a:pt x="2364412" y="-566"/>
                  <a:pt x="2368124" y="-31"/>
                  <a:pt x="2373532" y="3028"/>
                </a:cubicBezTo>
                <a:cubicBezTo>
                  <a:pt x="2374117" y="8589"/>
                  <a:pt x="2374548" y="6980"/>
                  <a:pt x="2371422" y="12008"/>
                </a:cubicBezTo>
                <a:cubicBezTo>
                  <a:pt x="2367138" y="10285"/>
                  <a:pt x="2362578" y="8488"/>
                  <a:pt x="2358017" y="6691"/>
                </a:cubicBezTo>
                <a:cubicBezTo>
                  <a:pt x="2360005" y="4808"/>
                  <a:pt x="2359560" y="2044"/>
                  <a:pt x="2360268" y="50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25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48956" y="-113807"/>
            <a:ext cx="9694088" cy="4513449"/>
          </a:xfrm>
          <a:custGeom>
            <a:avLst/>
            <a:gdLst>
              <a:gd name="connsiteX0" fmla="*/ 11212653 w 11622771"/>
              <a:gd name="connsiteY0" fmla="*/ 0 h 5411420"/>
              <a:gd name="connsiteX1" fmla="*/ 11226763 w 11622771"/>
              <a:gd name="connsiteY1" fmla="*/ 60367 h 5411420"/>
              <a:gd name="connsiteX2" fmla="*/ 11240555 w 11622771"/>
              <a:gd name="connsiteY2" fmla="*/ 112288 h 5411420"/>
              <a:gd name="connsiteX3" fmla="*/ 11254347 w 11622771"/>
              <a:gd name="connsiteY3" fmla="*/ 164210 h 5411420"/>
              <a:gd name="connsiteX4" fmla="*/ 11303461 w 11622771"/>
              <a:gd name="connsiteY4" fmla="*/ 142905 h 5411420"/>
              <a:gd name="connsiteX5" fmla="*/ 11352576 w 11622771"/>
              <a:gd name="connsiteY5" fmla="*/ 121601 h 5411420"/>
              <a:gd name="connsiteX6" fmla="*/ 11408259 w 11622771"/>
              <a:gd name="connsiteY6" fmla="*/ 94973 h 5411420"/>
              <a:gd name="connsiteX7" fmla="*/ 11473953 w 11622771"/>
              <a:gd name="connsiteY7" fmla="*/ 64586 h 5411420"/>
              <a:gd name="connsiteX8" fmla="*/ 11463690 w 11622771"/>
              <a:gd name="connsiteY8" fmla="*/ 196921 h 5411420"/>
              <a:gd name="connsiteX9" fmla="*/ 11452170 w 11622771"/>
              <a:gd name="connsiteY9" fmla="*/ 318307 h 5411420"/>
              <a:gd name="connsiteX10" fmla="*/ 11441897 w 11622771"/>
              <a:gd name="connsiteY10" fmla="*/ 427805 h 5411420"/>
              <a:gd name="connsiteX11" fmla="*/ 11429744 w 11622771"/>
              <a:gd name="connsiteY11" fmla="*/ 532299 h 5411420"/>
              <a:gd name="connsiteX12" fmla="*/ 11457897 w 11622771"/>
              <a:gd name="connsiteY12" fmla="*/ 516013 h 5411420"/>
              <a:gd name="connsiteX13" fmla="*/ 11494180 w 11622771"/>
              <a:gd name="connsiteY13" fmla="*/ 490963 h 5411420"/>
              <a:gd name="connsiteX14" fmla="*/ 11538913 w 11622771"/>
              <a:gd name="connsiteY14" fmla="*/ 465594 h 5411420"/>
              <a:gd name="connsiteX15" fmla="*/ 11588651 w 11622771"/>
              <a:gd name="connsiteY15" fmla="*/ 438346 h 5411420"/>
              <a:gd name="connsiteX16" fmla="*/ 11622771 w 11622771"/>
              <a:gd name="connsiteY16" fmla="*/ 468355 h 5411420"/>
              <a:gd name="connsiteX17" fmla="*/ 11444847 w 11622771"/>
              <a:gd name="connsiteY17" fmla="*/ 709353 h 5411420"/>
              <a:gd name="connsiteX18" fmla="*/ 11270989 w 11622771"/>
              <a:gd name="connsiteY18" fmla="*/ 945968 h 5411420"/>
              <a:gd name="connsiteX19" fmla="*/ 11091185 w 11622771"/>
              <a:gd name="connsiteY19" fmla="*/ 1181962 h 5411420"/>
              <a:gd name="connsiteX20" fmla="*/ 10907940 w 11622771"/>
              <a:gd name="connsiteY20" fmla="*/ 1416392 h 5411420"/>
              <a:gd name="connsiteX21" fmla="*/ 10719370 w 11622771"/>
              <a:gd name="connsiteY21" fmla="*/ 1644258 h 5411420"/>
              <a:gd name="connsiteX22" fmla="*/ 10628988 w 11622771"/>
              <a:gd name="connsiteY22" fmla="*/ 1738168 h 5411420"/>
              <a:gd name="connsiteX23" fmla="*/ 10534223 w 11622771"/>
              <a:gd name="connsiteY23" fmla="*/ 1828012 h 5411420"/>
              <a:gd name="connsiteX24" fmla="*/ 10432256 w 11622771"/>
              <a:gd name="connsiteY24" fmla="*/ 1906288 h 5411420"/>
              <a:gd name="connsiteX25" fmla="*/ 10324027 w 11622771"/>
              <a:gd name="connsiteY25" fmla="*/ 1975494 h 5411420"/>
              <a:gd name="connsiteX26" fmla="*/ 10207655 w 11622771"/>
              <a:gd name="connsiteY26" fmla="*/ 2030628 h 5411420"/>
              <a:gd name="connsiteX27" fmla="*/ 10085022 w 11622771"/>
              <a:gd name="connsiteY27" fmla="*/ 2076695 h 5411420"/>
              <a:gd name="connsiteX28" fmla="*/ 9954247 w 11622771"/>
              <a:gd name="connsiteY28" fmla="*/ 2108690 h 5411420"/>
              <a:gd name="connsiteX29" fmla="*/ 9813449 w 11622771"/>
              <a:gd name="connsiteY29" fmla="*/ 2121607 h 5411420"/>
              <a:gd name="connsiteX30" fmla="*/ 9755570 w 11622771"/>
              <a:gd name="connsiteY30" fmla="*/ 2134784 h 5411420"/>
              <a:gd name="connsiteX31" fmla="*/ 9698947 w 11622771"/>
              <a:gd name="connsiteY31" fmla="*/ 2158910 h 5411420"/>
              <a:gd name="connsiteX32" fmla="*/ 9641700 w 11622771"/>
              <a:gd name="connsiteY32" fmla="*/ 2188979 h 5411420"/>
              <a:gd name="connsiteX33" fmla="*/ 9586334 w 11622771"/>
              <a:gd name="connsiteY33" fmla="*/ 2224053 h 5411420"/>
              <a:gd name="connsiteX34" fmla="*/ 9527526 w 11622771"/>
              <a:gd name="connsiteY34" fmla="*/ 2257564 h 5411420"/>
              <a:gd name="connsiteX35" fmla="*/ 9297297 w 11622771"/>
              <a:gd name="connsiteY35" fmla="*/ 2389730 h 5411420"/>
              <a:gd name="connsiteX36" fmla="*/ 9063942 w 11622771"/>
              <a:gd name="connsiteY36" fmla="*/ 2528780 h 5411420"/>
              <a:gd name="connsiteX37" fmla="*/ 8840292 w 11622771"/>
              <a:gd name="connsiteY37" fmla="*/ 2678460 h 5411420"/>
              <a:gd name="connsiteX38" fmla="*/ 9321798 w 11622771"/>
              <a:gd name="connsiteY38" fmla="*/ 2591803 h 5411420"/>
              <a:gd name="connsiteX39" fmla="*/ 9330585 w 11622771"/>
              <a:gd name="connsiteY39" fmla="*/ 2645606 h 5411420"/>
              <a:gd name="connsiteX40" fmla="*/ 9112520 w 11622771"/>
              <a:gd name="connsiteY40" fmla="*/ 2696114 h 5411420"/>
              <a:gd name="connsiteX41" fmla="*/ 8892893 w 11622771"/>
              <a:gd name="connsiteY41" fmla="*/ 2750065 h 5411420"/>
              <a:gd name="connsiteX42" fmla="*/ 8662937 w 11622771"/>
              <a:gd name="connsiteY42" fmla="*/ 2799330 h 5411420"/>
              <a:gd name="connsiteX43" fmla="*/ 8422347 w 11622771"/>
              <a:gd name="connsiteY43" fmla="*/ 2858300 h 5411420"/>
              <a:gd name="connsiteX44" fmla="*/ 8477123 w 11622771"/>
              <a:gd name="connsiteY44" fmla="*/ 2897680 h 5411420"/>
              <a:gd name="connsiteX45" fmla="*/ 8525013 w 11622771"/>
              <a:gd name="connsiteY45" fmla="*/ 2933938 h 5411420"/>
              <a:gd name="connsiteX46" fmla="*/ 8568522 w 11622771"/>
              <a:gd name="connsiteY46" fmla="*/ 2966131 h 5411420"/>
              <a:gd name="connsiteX47" fmla="*/ 8609527 w 11622771"/>
              <a:gd name="connsiteY47" fmla="*/ 2999264 h 5411420"/>
              <a:gd name="connsiteX48" fmla="*/ 8020413 w 11622771"/>
              <a:gd name="connsiteY48" fmla="*/ 3149184 h 5411420"/>
              <a:gd name="connsiteX49" fmla="*/ 7429738 w 11622771"/>
              <a:gd name="connsiteY49" fmla="*/ 3302544 h 5411420"/>
              <a:gd name="connsiteX50" fmla="*/ 7446044 w 11622771"/>
              <a:gd name="connsiteY50" fmla="*/ 3376363 h 5411420"/>
              <a:gd name="connsiteX51" fmla="*/ 7911594 w 11622771"/>
              <a:gd name="connsiteY51" fmla="*/ 3292845 h 5411420"/>
              <a:gd name="connsiteX52" fmla="*/ 8383713 w 11622771"/>
              <a:gd name="connsiteY52" fmla="*/ 3204005 h 5411420"/>
              <a:gd name="connsiteX53" fmla="*/ 8868662 w 11622771"/>
              <a:gd name="connsiteY53" fmla="*/ 3118910 h 5411420"/>
              <a:gd name="connsiteX54" fmla="*/ 8832694 w 11622771"/>
              <a:gd name="connsiteY54" fmla="*/ 3152407 h 5411420"/>
              <a:gd name="connsiteX55" fmla="*/ 8804858 w 11622771"/>
              <a:gd name="connsiteY55" fmla="*/ 3177139 h 5411420"/>
              <a:gd name="connsiteX56" fmla="*/ 8780465 w 11622771"/>
              <a:gd name="connsiteY56" fmla="*/ 3203432 h 5411420"/>
              <a:gd name="connsiteX57" fmla="*/ 8806137 w 11622771"/>
              <a:gd name="connsiteY57" fmla="*/ 3233761 h 5411420"/>
              <a:gd name="connsiteX58" fmla="*/ 8856803 w 11622771"/>
              <a:gd name="connsiteY58" fmla="*/ 3186177 h 5411420"/>
              <a:gd name="connsiteX59" fmla="*/ 8909973 w 11622771"/>
              <a:gd name="connsiteY59" fmla="*/ 3137653 h 5411420"/>
              <a:gd name="connsiteX60" fmla="*/ 8967208 w 11622771"/>
              <a:gd name="connsiteY60" fmla="*/ 3084747 h 5411420"/>
              <a:gd name="connsiteX61" fmla="*/ 9017284 w 11622771"/>
              <a:gd name="connsiteY61" fmla="*/ 3111617 h 5411420"/>
              <a:gd name="connsiteX62" fmla="*/ 9062038 w 11622771"/>
              <a:gd name="connsiteY62" fmla="*/ 3131922 h 5411420"/>
              <a:gd name="connsiteX63" fmla="*/ 9104912 w 11622771"/>
              <a:gd name="connsiteY63" fmla="*/ 3147224 h 5411420"/>
              <a:gd name="connsiteX64" fmla="*/ 9152475 w 11622771"/>
              <a:gd name="connsiteY64" fmla="*/ 3152198 h 5411420"/>
              <a:gd name="connsiteX65" fmla="*/ 9194715 w 11622771"/>
              <a:gd name="connsiteY65" fmla="*/ 3150606 h 5411420"/>
              <a:gd name="connsiteX66" fmla="*/ 9232879 w 11622771"/>
              <a:gd name="connsiteY66" fmla="*/ 3130560 h 5411420"/>
              <a:gd name="connsiteX67" fmla="*/ 9269786 w 11622771"/>
              <a:gd name="connsiteY67" fmla="*/ 3099565 h 5411420"/>
              <a:gd name="connsiteX68" fmla="*/ 9302617 w 11622771"/>
              <a:gd name="connsiteY68" fmla="*/ 3050116 h 5411420"/>
              <a:gd name="connsiteX69" fmla="*/ 9331371 w 11622771"/>
              <a:gd name="connsiteY69" fmla="*/ 2982212 h 5411420"/>
              <a:gd name="connsiteX70" fmla="*/ 9400224 w 11622771"/>
              <a:gd name="connsiteY70" fmla="*/ 3013451 h 5411420"/>
              <a:gd name="connsiteX71" fmla="*/ 9466879 w 11622771"/>
              <a:gd name="connsiteY71" fmla="*/ 3031239 h 5411420"/>
              <a:gd name="connsiteX72" fmla="*/ 9531337 w 11622771"/>
              <a:gd name="connsiteY72" fmla="*/ 3035576 h 5411420"/>
              <a:gd name="connsiteX73" fmla="*/ 9594539 w 11622771"/>
              <a:gd name="connsiteY73" fmla="*/ 3028966 h 5411420"/>
              <a:gd name="connsiteX74" fmla="*/ 9653981 w 11622771"/>
              <a:gd name="connsiteY74" fmla="*/ 3012346 h 5411420"/>
              <a:gd name="connsiteX75" fmla="*/ 9714047 w 11622771"/>
              <a:gd name="connsiteY75" fmla="*/ 2989783 h 5411420"/>
              <a:gd name="connsiteX76" fmla="*/ 9772233 w 11622771"/>
              <a:gd name="connsiteY76" fmla="*/ 2962216 h 5411420"/>
              <a:gd name="connsiteX77" fmla="*/ 9831981 w 11622771"/>
              <a:gd name="connsiteY77" fmla="*/ 2931207 h 5411420"/>
              <a:gd name="connsiteX78" fmla="*/ 9889227 w 11622771"/>
              <a:gd name="connsiteY78" fmla="*/ 2901137 h 5411420"/>
              <a:gd name="connsiteX79" fmla="*/ 9947413 w 11622771"/>
              <a:gd name="connsiteY79" fmla="*/ 2873570 h 5411420"/>
              <a:gd name="connsiteX80" fmla="*/ 10007478 w 11622771"/>
              <a:gd name="connsiteY80" fmla="*/ 2851007 h 5411420"/>
              <a:gd name="connsiteX81" fmla="*/ 10068484 w 11622771"/>
              <a:gd name="connsiteY81" fmla="*/ 2830946 h 5411420"/>
              <a:gd name="connsiteX82" fmla="*/ 10324089 w 11622771"/>
              <a:gd name="connsiteY82" fmla="*/ 2766335 h 5411420"/>
              <a:gd name="connsiteX83" fmla="*/ 10578439 w 11622771"/>
              <a:gd name="connsiteY83" fmla="*/ 2690776 h 5411420"/>
              <a:gd name="connsiteX84" fmla="*/ 10833411 w 11622771"/>
              <a:gd name="connsiteY84" fmla="*/ 2609273 h 5411420"/>
              <a:gd name="connsiteX85" fmla="*/ 11086820 w 11622771"/>
              <a:gd name="connsiteY85" fmla="*/ 2531212 h 5411420"/>
              <a:gd name="connsiteX86" fmla="*/ 11108437 w 11622771"/>
              <a:gd name="connsiteY86" fmla="*/ 2588759 h 5411420"/>
              <a:gd name="connsiteX87" fmla="*/ 10017248 w 11622771"/>
              <a:gd name="connsiteY87" fmla="*/ 2998657 h 5411420"/>
              <a:gd name="connsiteX88" fmla="*/ 10039805 w 11622771"/>
              <a:gd name="connsiteY88" fmla="*/ 3058706 h 5411420"/>
              <a:gd name="connsiteX89" fmla="*/ 10783115 w 11622771"/>
              <a:gd name="connsiteY89" fmla="*/ 2779487 h 5411420"/>
              <a:gd name="connsiteX90" fmla="*/ 10808799 w 11622771"/>
              <a:gd name="connsiteY90" fmla="*/ 2832652 h 5411420"/>
              <a:gd name="connsiteX91" fmla="*/ 10656459 w 11622771"/>
              <a:gd name="connsiteY91" fmla="*/ 2921283 h 5411420"/>
              <a:gd name="connsiteX92" fmla="*/ 10502558 w 11622771"/>
              <a:gd name="connsiteY92" fmla="*/ 3013356 h 5411420"/>
              <a:gd name="connsiteX93" fmla="*/ 10340209 w 11622771"/>
              <a:gd name="connsiteY93" fmla="*/ 3105747 h 5411420"/>
              <a:gd name="connsiteX94" fmla="*/ 10368690 w 11622771"/>
              <a:gd name="connsiteY94" fmla="*/ 3120745 h 5411420"/>
              <a:gd name="connsiteX95" fmla="*/ 10397170 w 11622771"/>
              <a:gd name="connsiteY95" fmla="*/ 3135743 h 5411420"/>
              <a:gd name="connsiteX96" fmla="*/ 10432536 w 11622771"/>
              <a:gd name="connsiteY96" fmla="*/ 3153864 h 5411420"/>
              <a:gd name="connsiteX97" fmla="*/ 10474787 w 11622771"/>
              <a:gd name="connsiteY97" fmla="*/ 3175109 h 5411420"/>
              <a:gd name="connsiteX98" fmla="*/ 10530809 w 11622771"/>
              <a:gd name="connsiteY98" fmla="*/ 3202601 h 5411420"/>
              <a:gd name="connsiteX99" fmla="*/ 10166984 w 11622771"/>
              <a:gd name="connsiteY99" fmla="*/ 3359256 h 5411420"/>
              <a:gd name="connsiteX100" fmla="*/ 9805345 w 11622771"/>
              <a:gd name="connsiteY100" fmla="*/ 3506523 h 5411420"/>
              <a:gd name="connsiteX101" fmla="*/ 9446210 w 11622771"/>
              <a:gd name="connsiteY101" fmla="*/ 3652851 h 5411420"/>
              <a:gd name="connsiteX102" fmla="*/ 9085817 w 11622771"/>
              <a:gd name="connsiteY102" fmla="*/ 3788230 h 5411420"/>
              <a:gd name="connsiteX103" fmla="*/ 8721665 w 11622771"/>
              <a:gd name="connsiteY103" fmla="*/ 3913601 h 5411420"/>
              <a:gd name="connsiteX104" fmla="*/ 8356256 w 11622771"/>
              <a:gd name="connsiteY104" fmla="*/ 4028024 h 5411420"/>
              <a:gd name="connsiteX105" fmla="*/ 7989590 w 11622771"/>
              <a:gd name="connsiteY105" fmla="*/ 4131499 h 5411420"/>
              <a:gd name="connsiteX106" fmla="*/ 7617285 w 11622771"/>
              <a:gd name="connsiteY106" fmla="*/ 4219961 h 5411420"/>
              <a:gd name="connsiteX107" fmla="*/ 7245286 w 11622771"/>
              <a:gd name="connsiteY107" fmla="*/ 4294033 h 5411420"/>
              <a:gd name="connsiteX108" fmla="*/ 6867648 w 11622771"/>
              <a:gd name="connsiteY108" fmla="*/ 4353092 h 5411420"/>
              <a:gd name="connsiteX109" fmla="*/ 6514488 w 11622771"/>
              <a:gd name="connsiteY109" fmla="*/ 4388258 h 5411420"/>
              <a:gd name="connsiteX110" fmla="*/ 6482783 w 11622771"/>
              <a:gd name="connsiteY110" fmla="*/ 4421341 h 5411420"/>
              <a:gd name="connsiteX111" fmla="*/ 6479398 w 11622771"/>
              <a:gd name="connsiteY111" fmla="*/ 4467530 h 5411420"/>
              <a:gd name="connsiteX112" fmla="*/ 6590796 w 11622771"/>
              <a:gd name="connsiteY112" fmla="*/ 4482786 h 5411420"/>
              <a:gd name="connsiteX113" fmla="*/ 6702194 w 11622771"/>
              <a:gd name="connsiteY113" fmla="*/ 4498042 h 5411420"/>
              <a:gd name="connsiteX114" fmla="*/ 6811713 w 11622771"/>
              <a:gd name="connsiteY114" fmla="*/ 4508294 h 5411420"/>
              <a:gd name="connsiteX115" fmla="*/ 6904018 w 11622771"/>
              <a:gd name="connsiteY115" fmla="*/ 4510736 h 5411420"/>
              <a:gd name="connsiteX116" fmla="*/ 6998827 w 11622771"/>
              <a:gd name="connsiteY116" fmla="*/ 4512238 h 5411420"/>
              <a:gd name="connsiteX117" fmla="*/ 7092390 w 11622771"/>
              <a:gd name="connsiteY117" fmla="*/ 4525629 h 5411420"/>
              <a:gd name="connsiteX118" fmla="*/ 7189712 w 11622771"/>
              <a:gd name="connsiteY118" fmla="*/ 4549028 h 5411420"/>
              <a:gd name="connsiteX119" fmla="*/ 6670664 w 11622771"/>
              <a:gd name="connsiteY119" fmla="*/ 4649786 h 5411420"/>
              <a:gd name="connsiteX120" fmla="*/ 6675385 w 11622771"/>
              <a:gd name="connsiteY120" fmla="*/ 4707970 h 5411420"/>
              <a:gd name="connsiteX121" fmla="*/ 6801166 w 11622771"/>
              <a:gd name="connsiteY121" fmla="*/ 4700692 h 5411420"/>
              <a:gd name="connsiteX122" fmla="*/ 6930390 w 11622771"/>
              <a:gd name="connsiteY122" fmla="*/ 4694978 h 5411420"/>
              <a:gd name="connsiteX123" fmla="*/ 7065559 w 11622771"/>
              <a:gd name="connsiteY123" fmla="*/ 4689884 h 5411420"/>
              <a:gd name="connsiteX124" fmla="*/ 7050553 w 11622771"/>
              <a:gd name="connsiteY124" fmla="*/ 4718361 h 5411420"/>
              <a:gd name="connsiteX125" fmla="*/ 7027723 w 11622771"/>
              <a:gd name="connsiteY125" fmla="*/ 4741212 h 5411420"/>
              <a:gd name="connsiteX126" fmla="*/ 6998006 w 11622771"/>
              <a:gd name="connsiteY126" fmla="*/ 4760941 h 5411420"/>
              <a:gd name="connsiteX127" fmla="*/ 6968914 w 11622771"/>
              <a:gd name="connsiteY127" fmla="*/ 4774724 h 5411420"/>
              <a:gd name="connsiteX128" fmla="*/ 6937942 w 11622771"/>
              <a:gd name="connsiteY128" fmla="*/ 4783504 h 5411420"/>
              <a:gd name="connsiteX129" fmla="*/ 6905089 w 11622771"/>
              <a:gd name="connsiteY129" fmla="*/ 4787279 h 5411420"/>
              <a:gd name="connsiteX130" fmla="*/ 6869111 w 11622771"/>
              <a:gd name="connsiteY130" fmla="*/ 4797940 h 5411420"/>
              <a:gd name="connsiteX131" fmla="*/ 6838139 w 11622771"/>
              <a:gd name="connsiteY131" fmla="*/ 4806719 h 5411420"/>
              <a:gd name="connsiteX132" fmla="*/ 6810608 w 11622771"/>
              <a:gd name="connsiteY132" fmla="*/ 4817060 h 5411420"/>
              <a:gd name="connsiteX133" fmla="*/ 6788401 w 11622771"/>
              <a:gd name="connsiteY133" fmla="*/ 4833967 h 5411420"/>
              <a:gd name="connsiteX134" fmla="*/ 6769013 w 11622771"/>
              <a:gd name="connsiteY134" fmla="*/ 4858382 h 5411420"/>
              <a:gd name="connsiteX135" fmla="*/ 6757451 w 11622771"/>
              <a:gd name="connsiteY135" fmla="*/ 4888421 h 5411420"/>
              <a:gd name="connsiteX136" fmla="*/ 6752148 w 11622771"/>
              <a:gd name="connsiteY136" fmla="*/ 4927528 h 5411420"/>
              <a:gd name="connsiteX137" fmla="*/ 6759996 w 11622771"/>
              <a:gd name="connsiteY137" fmla="*/ 4978828 h 5411420"/>
              <a:gd name="connsiteX138" fmla="*/ 6822270 w 11622771"/>
              <a:gd name="connsiteY138" fmla="*/ 4992552 h 5411420"/>
              <a:gd name="connsiteX139" fmla="*/ 6888608 w 11622771"/>
              <a:gd name="connsiteY139" fmla="*/ 5001894 h 5411420"/>
              <a:gd name="connsiteX140" fmla="*/ 6965274 w 11622771"/>
              <a:gd name="connsiteY140" fmla="*/ 5015921 h 5411420"/>
              <a:gd name="connsiteX141" fmla="*/ 6888323 w 11622771"/>
              <a:gd name="connsiteY141" fmla="*/ 5061957 h 5411420"/>
              <a:gd name="connsiteX142" fmla="*/ 6818257 w 11622771"/>
              <a:gd name="connsiteY142" fmla="*/ 5111118 h 5411420"/>
              <a:gd name="connsiteX143" fmla="*/ 6748815 w 11622771"/>
              <a:gd name="connsiteY143" fmla="*/ 5154334 h 5411420"/>
              <a:gd name="connsiteX144" fmla="*/ 6679056 w 11622771"/>
              <a:gd name="connsiteY144" fmla="*/ 5189104 h 5411420"/>
              <a:gd name="connsiteX145" fmla="*/ 6607099 w 11622771"/>
              <a:gd name="connsiteY145" fmla="*/ 5210424 h 5411420"/>
              <a:gd name="connsiteX146" fmla="*/ 6369319 w 11622771"/>
              <a:gd name="connsiteY146" fmla="*/ 5254063 h 5411420"/>
              <a:gd name="connsiteX147" fmla="*/ 6129658 w 11622771"/>
              <a:gd name="connsiteY147" fmla="*/ 5292698 h 5411420"/>
              <a:gd name="connsiteX148" fmla="*/ 5892501 w 11622771"/>
              <a:gd name="connsiteY148" fmla="*/ 5330394 h 5411420"/>
              <a:gd name="connsiteX149" fmla="*/ 5653463 w 11622771"/>
              <a:gd name="connsiteY149" fmla="*/ 5363084 h 5411420"/>
              <a:gd name="connsiteX150" fmla="*/ 5415049 w 11622771"/>
              <a:gd name="connsiteY150" fmla="*/ 5389831 h 5411420"/>
              <a:gd name="connsiteX151" fmla="*/ 5175376 w 11622771"/>
              <a:gd name="connsiteY151" fmla="*/ 5405629 h 5411420"/>
              <a:gd name="connsiteX152" fmla="*/ 4931946 w 11622771"/>
              <a:gd name="connsiteY152" fmla="*/ 5411420 h 5411420"/>
              <a:gd name="connsiteX153" fmla="*/ 4687881 w 11622771"/>
              <a:gd name="connsiteY153" fmla="*/ 5400316 h 5411420"/>
              <a:gd name="connsiteX154" fmla="*/ 4445063 w 11622771"/>
              <a:gd name="connsiteY154" fmla="*/ 5377325 h 5411420"/>
              <a:gd name="connsiteX155" fmla="*/ 4241664 w 11622771"/>
              <a:gd name="connsiteY155" fmla="*/ 5345238 h 5411420"/>
              <a:gd name="connsiteX156" fmla="*/ 4045457 w 11622771"/>
              <a:gd name="connsiteY156" fmla="*/ 5301882 h 5411420"/>
              <a:gd name="connsiteX157" fmla="*/ 3852999 w 11622771"/>
              <a:gd name="connsiteY157" fmla="*/ 5245698 h 5411420"/>
              <a:gd name="connsiteX158" fmla="*/ 3666792 w 11622771"/>
              <a:gd name="connsiteY158" fmla="*/ 5175745 h 5411420"/>
              <a:gd name="connsiteX159" fmla="*/ 3486838 w 11622771"/>
              <a:gd name="connsiteY159" fmla="*/ 5092023 h 5411420"/>
              <a:gd name="connsiteX160" fmla="*/ 3314073 w 11622771"/>
              <a:gd name="connsiteY160" fmla="*/ 4997035 h 5411420"/>
              <a:gd name="connsiteX161" fmla="*/ 3141615 w 11622771"/>
              <a:gd name="connsiteY161" fmla="*/ 4887657 h 5411420"/>
              <a:gd name="connsiteX162" fmla="*/ 3040511 w 11622771"/>
              <a:gd name="connsiteY162" fmla="*/ 4808576 h 5411420"/>
              <a:gd name="connsiteX163" fmla="*/ 2945977 w 11622771"/>
              <a:gd name="connsiteY163" fmla="*/ 4724172 h 5411420"/>
              <a:gd name="connsiteX164" fmla="*/ 2854568 w 11622771"/>
              <a:gd name="connsiteY164" fmla="*/ 4632885 h 5411420"/>
              <a:gd name="connsiteX165" fmla="*/ 2765661 w 11622771"/>
              <a:gd name="connsiteY165" fmla="*/ 4540658 h 5411420"/>
              <a:gd name="connsiteX166" fmla="*/ 2676755 w 11622771"/>
              <a:gd name="connsiteY166" fmla="*/ 4448430 h 5411420"/>
              <a:gd name="connsiteX167" fmla="*/ 2611007 w 11622771"/>
              <a:gd name="connsiteY167" fmla="*/ 4364634 h 5411420"/>
              <a:gd name="connsiteX168" fmla="*/ 2561214 w 11622771"/>
              <a:gd name="connsiteY168" fmla="*/ 4277699 h 5411420"/>
              <a:gd name="connsiteX169" fmla="*/ 2529882 w 11622771"/>
              <a:gd name="connsiteY169" fmla="*/ 4186685 h 5411420"/>
              <a:gd name="connsiteX170" fmla="*/ 2509500 w 11622771"/>
              <a:gd name="connsiteY170" fmla="*/ 4094413 h 5411420"/>
              <a:gd name="connsiteX171" fmla="*/ 2500259 w 11622771"/>
              <a:gd name="connsiteY171" fmla="*/ 4008854 h 5411420"/>
              <a:gd name="connsiteX172" fmla="*/ 2474645 w 11622771"/>
              <a:gd name="connsiteY172" fmla="*/ 4018705 h 5411420"/>
              <a:gd name="connsiteX173" fmla="*/ 2442236 w 11622771"/>
              <a:gd name="connsiteY173" fmla="*/ 4025650 h 5411420"/>
              <a:gd name="connsiteX174" fmla="*/ 2402882 w 11622771"/>
              <a:gd name="connsiteY174" fmla="*/ 4027965 h 5411420"/>
              <a:gd name="connsiteX175" fmla="*/ 2363529 w 11622771"/>
              <a:gd name="connsiteY175" fmla="*/ 4025650 h 5411420"/>
              <a:gd name="connsiteX176" fmla="*/ 2321860 w 11622771"/>
              <a:gd name="connsiteY176" fmla="*/ 4018705 h 5411420"/>
              <a:gd name="connsiteX177" fmla="*/ 2282507 w 11622771"/>
              <a:gd name="connsiteY177" fmla="*/ 4009446 h 5411420"/>
              <a:gd name="connsiteX178" fmla="*/ 2250098 w 11622771"/>
              <a:gd name="connsiteY178" fmla="*/ 3997871 h 5411420"/>
              <a:gd name="connsiteX179" fmla="*/ 2189910 w 11622771"/>
              <a:gd name="connsiteY179" fmla="*/ 3970092 h 5411420"/>
              <a:gd name="connsiteX180" fmla="*/ 2136667 w 11622771"/>
              <a:gd name="connsiteY180" fmla="*/ 3935369 h 5411420"/>
              <a:gd name="connsiteX181" fmla="*/ 2083424 w 11622771"/>
              <a:gd name="connsiteY181" fmla="*/ 3898330 h 5411420"/>
              <a:gd name="connsiteX182" fmla="*/ 2030181 w 11622771"/>
              <a:gd name="connsiteY182" fmla="*/ 3858976 h 5411420"/>
              <a:gd name="connsiteX183" fmla="*/ 1976938 w 11622771"/>
              <a:gd name="connsiteY183" fmla="*/ 3821938 h 5411420"/>
              <a:gd name="connsiteX184" fmla="*/ 1851932 w 11622771"/>
              <a:gd name="connsiteY184" fmla="*/ 3738601 h 5411420"/>
              <a:gd name="connsiteX185" fmla="*/ 1719982 w 11622771"/>
              <a:gd name="connsiteY185" fmla="*/ 3657579 h 5411420"/>
              <a:gd name="connsiteX186" fmla="*/ 1588032 w 11622771"/>
              <a:gd name="connsiteY186" fmla="*/ 3569612 h 5411420"/>
              <a:gd name="connsiteX187" fmla="*/ 1442192 w 11622771"/>
              <a:gd name="connsiteY187" fmla="*/ 3479330 h 5411420"/>
              <a:gd name="connsiteX188" fmla="*/ 1460712 w 11622771"/>
              <a:gd name="connsiteY188" fmla="*/ 3571927 h 5411420"/>
              <a:gd name="connsiteX189" fmla="*/ 1474601 w 11622771"/>
              <a:gd name="connsiteY189" fmla="*/ 3659894 h 5411420"/>
              <a:gd name="connsiteX190" fmla="*/ 1493120 w 11622771"/>
              <a:gd name="connsiteY190" fmla="*/ 3740916 h 5411420"/>
              <a:gd name="connsiteX191" fmla="*/ 1502380 w 11622771"/>
              <a:gd name="connsiteY191" fmla="*/ 3798789 h 5411420"/>
              <a:gd name="connsiteX192" fmla="*/ 1502380 w 11622771"/>
              <a:gd name="connsiteY192" fmla="*/ 3847402 h 5411420"/>
              <a:gd name="connsiteX193" fmla="*/ 1488491 w 11622771"/>
              <a:gd name="connsiteY193" fmla="*/ 3886755 h 5411420"/>
              <a:gd name="connsiteX194" fmla="*/ 1469971 w 11622771"/>
              <a:gd name="connsiteY194" fmla="*/ 3919164 h 5411420"/>
              <a:gd name="connsiteX195" fmla="*/ 1439877 w 11622771"/>
              <a:gd name="connsiteY195" fmla="*/ 3939998 h 5411420"/>
              <a:gd name="connsiteX196" fmla="*/ 1400524 w 11622771"/>
              <a:gd name="connsiteY196" fmla="*/ 3951573 h 5411420"/>
              <a:gd name="connsiteX197" fmla="*/ 1351911 w 11622771"/>
              <a:gd name="connsiteY197" fmla="*/ 3951573 h 5411420"/>
              <a:gd name="connsiteX198" fmla="*/ 1296353 w 11622771"/>
              <a:gd name="connsiteY198" fmla="*/ 3942313 h 5411420"/>
              <a:gd name="connsiteX199" fmla="*/ 1243110 w 11622771"/>
              <a:gd name="connsiteY199" fmla="*/ 3930739 h 5411420"/>
              <a:gd name="connsiteX200" fmla="*/ 1189867 w 11622771"/>
              <a:gd name="connsiteY200" fmla="*/ 3912219 h 5411420"/>
              <a:gd name="connsiteX201" fmla="*/ 1141253 w 11622771"/>
              <a:gd name="connsiteY201" fmla="*/ 3891385 h 5411420"/>
              <a:gd name="connsiteX202" fmla="*/ 1094955 w 11622771"/>
              <a:gd name="connsiteY202" fmla="*/ 3863606 h 5411420"/>
              <a:gd name="connsiteX203" fmla="*/ 946801 w 11622771"/>
              <a:gd name="connsiteY203" fmla="*/ 3764065 h 5411420"/>
              <a:gd name="connsiteX204" fmla="*/ 800961 w 11622771"/>
              <a:gd name="connsiteY204" fmla="*/ 3659894 h 5411420"/>
              <a:gd name="connsiteX205" fmla="*/ 657436 w 11622771"/>
              <a:gd name="connsiteY205" fmla="*/ 3555722 h 5411420"/>
              <a:gd name="connsiteX206" fmla="*/ 516226 w 11622771"/>
              <a:gd name="connsiteY206" fmla="*/ 3444607 h 5411420"/>
              <a:gd name="connsiteX207" fmla="*/ 384276 w 11622771"/>
              <a:gd name="connsiteY207" fmla="*/ 3326546 h 5411420"/>
              <a:gd name="connsiteX208" fmla="*/ 254641 w 11622771"/>
              <a:gd name="connsiteY208" fmla="*/ 3206170 h 5411420"/>
              <a:gd name="connsiteX209" fmla="*/ 127321 w 11622771"/>
              <a:gd name="connsiteY209" fmla="*/ 3083480 h 5411420"/>
              <a:gd name="connsiteX210" fmla="*/ 0 w 11622771"/>
              <a:gd name="connsiteY210" fmla="*/ 2960789 h 5411420"/>
              <a:gd name="connsiteX211" fmla="*/ 53243 w 11622771"/>
              <a:gd name="connsiteY211" fmla="*/ 2937640 h 5411420"/>
              <a:gd name="connsiteX212" fmla="*/ 39354 w 11622771"/>
              <a:gd name="connsiteY212" fmla="*/ 2875137 h 5411420"/>
              <a:gd name="connsiteX213" fmla="*/ 25464 w 11622771"/>
              <a:gd name="connsiteY213" fmla="*/ 2817265 h 5411420"/>
              <a:gd name="connsiteX214" fmla="*/ 13890 w 11622771"/>
              <a:gd name="connsiteY214" fmla="*/ 2752447 h 5411420"/>
              <a:gd name="connsiteX215" fmla="*/ 4630 w 11622771"/>
              <a:gd name="connsiteY215" fmla="*/ 2687629 h 5411420"/>
              <a:gd name="connsiteX216" fmla="*/ 32409 w 11622771"/>
              <a:gd name="connsiteY216" fmla="*/ 2696889 h 5411420"/>
              <a:gd name="connsiteX217" fmla="*/ 57873 w 11622771"/>
              <a:gd name="connsiteY217" fmla="*/ 2703834 h 5411420"/>
              <a:gd name="connsiteX218" fmla="*/ 83337 w 11622771"/>
              <a:gd name="connsiteY218" fmla="*/ 2713094 h 5411420"/>
              <a:gd name="connsiteX219" fmla="*/ 106486 w 11622771"/>
              <a:gd name="connsiteY219" fmla="*/ 2724668 h 5411420"/>
              <a:gd name="connsiteX220" fmla="*/ 120376 w 11622771"/>
              <a:gd name="connsiteY220" fmla="*/ 2740873 h 5411420"/>
              <a:gd name="connsiteX221" fmla="*/ 152785 w 11622771"/>
              <a:gd name="connsiteY221" fmla="*/ 2782541 h 5411420"/>
              <a:gd name="connsiteX222" fmla="*/ 189823 w 11622771"/>
              <a:gd name="connsiteY222" fmla="*/ 2808005 h 5411420"/>
              <a:gd name="connsiteX223" fmla="*/ 224547 w 11622771"/>
              <a:gd name="connsiteY223" fmla="*/ 2824209 h 5411420"/>
              <a:gd name="connsiteX224" fmla="*/ 263901 w 11622771"/>
              <a:gd name="connsiteY224" fmla="*/ 2831154 h 5411420"/>
              <a:gd name="connsiteX225" fmla="*/ 300939 w 11622771"/>
              <a:gd name="connsiteY225" fmla="*/ 2831154 h 5411420"/>
              <a:gd name="connsiteX226" fmla="*/ 340293 w 11622771"/>
              <a:gd name="connsiteY226" fmla="*/ 2826524 h 5411420"/>
              <a:gd name="connsiteX227" fmla="*/ 375016 w 11622771"/>
              <a:gd name="connsiteY227" fmla="*/ 2819579 h 5411420"/>
              <a:gd name="connsiteX228" fmla="*/ 409740 w 11622771"/>
              <a:gd name="connsiteY228" fmla="*/ 2814950 h 5411420"/>
              <a:gd name="connsiteX229" fmla="*/ 442149 w 11622771"/>
              <a:gd name="connsiteY229" fmla="*/ 2808005 h 5411420"/>
              <a:gd name="connsiteX230" fmla="*/ 472243 w 11622771"/>
              <a:gd name="connsiteY230" fmla="*/ 2808005 h 5411420"/>
              <a:gd name="connsiteX231" fmla="*/ 500022 w 11622771"/>
              <a:gd name="connsiteY231" fmla="*/ 2817265 h 5411420"/>
              <a:gd name="connsiteX232" fmla="*/ 546320 w 11622771"/>
              <a:gd name="connsiteY232" fmla="*/ 2875137 h 5411420"/>
              <a:gd name="connsiteX233" fmla="*/ 587989 w 11622771"/>
              <a:gd name="connsiteY233" fmla="*/ 2926066 h 5411420"/>
              <a:gd name="connsiteX234" fmla="*/ 625027 w 11622771"/>
              <a:gd name="connsiteY234" fmla="*/ 2972364 h 5411420"/>
              <a:gd name="connsiteX235" fmla="*/ 659751 w 11622771"/>
              <a:gd name="connsiteY235" fmla="*/ 3018662 h 5411420"/>
              <a:gd name="connsiteX236" fmla="*/ 692160 w 11622771"/>
              <a:gd name="connsiteY236" fmla="*/ 3060331 h 5411420"/>
              <a:gd name="connsiteX237" fmla="*/ 766237 w 11622771"/>
              <a:gd name="connsiteY237" fmla="*/ 3009402 h 5411420"/>
              <a:gd name="connsiteX238" fmla="*/ 706049 w 11622771"/>
              <a:gd name="connsiteY238" fmla="*/ 2898287 h 5411420"/>
              <a:gd name="connsiteX239" fmla="*/ 645862 w 11622771"/>
              <a:gd name="connsiteY239" fmla="*/ 2780226 h 5411420"/>
              <a:gd name="connsiteX240" fmla="*/ 585674 w 11622771"/>
              <a:gd name="connsiteY240" fmla="*/ 2666795 h 5411420"/>
              <a:gd name="connsiteX241" fmla="*/ 518541 w 11622771"/>
              <a:gd name="connsiteY241" fmla="*/ 2553364 h 5411420"/>
              <a:gd name="connsiteX242" fmla="*/ 449094 w 11622771"/>
              <a:gd name="connsiteY242" fmla="*/ 2446878 h 5411420"/>
              <a:gd name="connsiteX243" fmla="*/ 421315 w 11622771"/>
              <a:gd name="connsiteY243" fmla="*/ 2398265 h 5411420"/>
              <a:gd name="connsiteX244" fmla="*/ 405110 w 11622771"/>
              <a:gd name="connsiteY244" fmla="*/ 2351967 h 5411420"/>
              <a:gd name="connsiteX245" fmla="*/ 402796 w 11622771"/>
              <a:gd name="connsiteY245" fmla="*/ 2305668 h 5411420"/>
              <a:gd name="connsiteX246" fmla="*/ 405110 w 11622771"/>
              <a:gd name="connsiteY246" fmla="*/ 2261685 h 5411420"/>
              <a:gd name="connsiteX247" fmla="*/ 409740 w 11622771"/>
              <a:gd name="connsiteY247" fmla="*/ 2217702 h 5411420"/>
              <a:gd name="connsiteX248" fmla="*/ 419000 w 11622771"/>
              <a:gd name="connsiteY248" fmla="*/ 2176033 h 5411420"/>
              <a:gd name="connsiteX249" fmla="*/ 430574 w 11622771"/>
              <a:gd name="connsiteY249" fmla="*/ 2120475 h 5411420"/>
              <a:gd name="connsiteX250" fmla="*/ 446779 w 11622771"/>
              <a:gd name="connsiteY250" fmla="*/ 2062602 h 5411420"/>
              <a:gd name="connsiteX251" fmla="*/ 469928 w 11622771"/>
              <a:gd name="connsiteY251" fmla="*/ 2007044 h 5411420"/>
              <a:gd name="connsiteX252" fmla="*/ 486132 w 11622771"/>
              <a:gd name="connsiteY252" fmla="*/ 1949171 h 5411420"/>
              <a:gd name="connsiteX253" fmla="*/ 500022 w 11622771"/>
              <a:gd name="connsiteY253" fmla="*/ 1895928 h 5411420"/>
              <a:gd name="connsiteX254" fmla="*/ 495392 w 11622771"/>
              <a:gd name="connsiteY254" fmla="*/ 1845000 h 5411420"/>
              <a:gd name="connsiteX255" fmla="*/ 490762 w 11622771"/>
              <a:gd name="connsiteY255" fmla="*/ 1787127 h 5411420"/>
              <a:gd name="connsiteX256" fmla="*/ 495392 w 11622771"/>
              <a:gd name="connsiteY256" fmla="*/ 1738514 h 5411420"/>
              <a:gd name="connsiteX257" fmla="*/ 506967 w 11622771"/>
              <a:gd name="connsiteY257" fmla="*/ 1692216 h 5411420"/>
              <a:gd name="connsiteX258" fmla="*/ 520856 w 11622771"/>
              <a:gd name="connsiteY258" fmla="*/ 1650547 h 5411420"/>
              <a:gd name="connsiteX259" fmla="*/ 544005 w 11622771"/>
              <a:gd name="connsiteY259" fmla="*/ 1611194 h 5411420"/>
              <a:gd name="connsiteX260" fmla="*/ 569469 w 11622771"/>
              <a:gd name="connsiteY260" fmla="*/ 1571840 h 5411420"/>
              <a:gd name="connsiteX261" fmla="*/ 599563 w 11622771"/>
              <a:gd name="connsiteY261" fmla="*/ 1530172 h 5411420"/>
              <a:gd name="connsiteX262" fmla="*/ 625027 w 11622771"/>
              <a:gd name="connsiteY262" fmla="*/ 1500078 h 5411420"/>
              <a:gd name="connsiteX263" fmla="*/ 641232 w 11622771"/>
              <a:gd name="connsiteY263" fmla="*/ 1476929 h 5411420"/>
              <a:gd name="connsiteX264" fmla="*/ 657436 w 11622771"/>
              <a:gd name="connsiteY264" fmla="*/ 1460724 h 5411420"/>
              <a:gd name="connsiteX265" fmla="*/ 669011 w 11622771"/>
              <a:gd name="connsiteY265" fmla="*/ 1456094 h 5411420"/>
              <a:gd name="connsiteX266" fmla="*/ 680585 w 11622771"/>
              <a:gd name="connsiteY266" fmla="*/ 1456094 h 5411420"/>
              <a:gd name="connsiteX267" fmla="*/ 699105 w 11622771"/>
              <a:gd name="connsiteY267" fmla="*/ 1463039 h 5411420"/>
              <a:gd name="connsiteX268" fmla="*/ 719939 w 11622771"/>
              <a:gd name="connsiteY268" fmla="*/ 1481558 h 5411420"/>
              <a:gd name="connsiteX269" fmla="*/ 750033 w 11622771"/>
              <a:gd name="connsiteY269" fmla="*/ 1502393 h 5411420"/>
              <a:gd name="connsiteX270" fmla="*/ 766237 w 11622771"/>
              <a:gd name="connsiteY270" fmla="*/ 1513967 h 5411420"/>
              <a:gd name="connsiteX271" fmla="*/ 789386 w 11622771"/>
              <a:gd name="connsiteY271" fmla="*/ 1523227 h 5411420"/>
              <a:gd name="connsiteX272" fmla="*/ 810220 w 11622771"/>
              <a:gd name="connsiteY272" fmla="*/ 1525542 h 5411420"/>
              <a:gd name="connsiteX273" fmla="*/ 828740 w 11622771"/>
              <a:gd name="connsiteY273" fmla="*/ 1523227 h 5411420"/>
              <a:gd name="connsiteX274" fmla="*/ 847259 w 11622771"/>
              <a:gd name="connsiteY274" fmla="*/ 1511652 h 5411420"/>
              <a:gd name="connsiteX275" fmla="*/ 863463 w 11622771"/>
              <a:gd name="connsiteY275" fmla="*/ 1490818 h 5411420"/>
              <a:gd name="connsiteX276" fmla="*/ 875038 w 11622771"/>
              <a:gd name="connsiteY276" fmla="*/ 1472299 h 5411420"/>
              <a:gd name="connsiteX277" fmla="*/ 879668 w 11622771"/>
              <a:gd name="connsiteY277" fmla="*/ 1449150 h 5411420"/>
              <a:gd name="connsiteX278" fmla="*/ 877353 w 11622771"/>
              <a:gd name="connsiteY278" fmla="*/ 1388962 h 5411420"/>
              <a:gd name="connsiteX279" fmla="*/ 872723 w 11622771"/>
              <a:gd name="connsiteY279" fmla="*/ 1324144 h 5411420"/>
              <a:gd name="connsiteX280" fmla="*/ 868093 w 11622771"/>
              <a:gd name="connsiteY280" fmla="*/ 1263957 h 5411420"/>
              <a:gd name="connsiteX281" fmla="*/ 868093 w 11622771"/>
              <a:gd name="connsiteY281" fmla="*/ 1201454 h 5411420"/>
              <a:gd name="connsiteX282" fmla="*/ 875038 w 11622771"/>
              <a:gd name="connsiteY282" fmla="*/ 1143581 h 5411420"/>
              <a:gd name="connsiteX283" fmla="*/ 902817 w 11622771"/>
              <a:gd name="connsiteY283" fmla="*/ 1067189 h 5411420"/>
              <a:gd name="connsiteX284" fmla="*/ 939856 w 11622771"/>
              <a:gd name="connsiteY284" fmla="*/ 993111 h 5411420"/>
              <a:gd name="connsiteX285" fmla="*/ 986154 w 11622771"/>
              <a:gd name="connsiteY285" fmla="*/ 923664 h 5411420"/>
              <a:gd name="connsiteX286" fmla="*/ 1034767 w 11622771"/>
              <a:gd name="connsiteY286" fmla="*/ 858846 h 5411420"/>
              <a:gd name="connsiteX287" fmla="*/ 1041712 w 11622771"/>
              <a:gd name="connsiteY287" fmla="*/ 856531 h 5411420"/>
              <a:gd name="connsiteX288" fmla="*/ 1057916 w 11622771"/>
              <a:gd name="connsiteY288" fmla="*/ 861161 h 5411420"/>
              <a:gd name="connsiteX289" fmla="*/ 1076436 w 11622771"/>
              <a:gd name="connsiteY289" fmla="*/ 868106 h 5411420"/>
              <a:gd name="connsiteX290" fmla="*/ 1101900 w 11622771"/>
              <a:gd name="connsiteY290" fmla="*/ 877366 h 5411420"/>
              <a:gd name="connsiteX291" fmla="*/ 1127364 w 11622771"/>
              <a:gd name="connsiteY291" fmla="*/ 888940 h 5411420"/>
              <a:gd name="connsiteX292" fmla="*/ 1155143 w 11622771"/>
              <a:gd name="connsiteY292" fmla="*/ 902830 h 5411420"/>
              <a:gd name="connsiteX293" fmla="*/ 1182922 w 11622771"/>
              <a:gd name="connsiteY293" fmla="*/ 914404 h 5411420"/>
              <a:gd name="connsiteX294" fmla="*/ 1206071 w 11622771"/>
              <a:gd name="connsiteY294" fmla="*/ 925979 h 5411420"/>
              <a:gd name="connsiteX295" fmla="*/ 1245425 w 11622771"/>
              <a:gd name="connsiteY295" fmla="*/ 939868 h 5411420"/>
              <a:gd name="connsiteX296" fmla="*/ 1287093 w 11622771"/>
              <a:gd name="connsiteY296" fmla="*/ 951443 h 5411420"/>
              <a:gd name="connsiteX297" fmla="*/ 1328762 w 11622771"/>
              <a:gd name="connsiteY297" fmla="*/ 965332 h 5411420"/>
              <a:gd name="connsiteX298" fmla="*/ 1365800 w 11622771"/>
              <a:gd name="connsiteY298" fmla="*/ 983852 h 5411420"/>
              <a:gd name="connsiteX299" fmla="*/ 1400524 w 11622771"/>
              <a:gd name="connsiteY299" fmla="*/ 1004686 h 5411420"/>
              <a:gd name="connsiteX300" fmla="*/ 1532474 w 11622771"/>
              <a:gd name="connsiteY300" fmla="*/ 1129691 h 5411420"/>
              <a:gd name="connsiteX301" fmla="*/ 1659794 w 11622771"/>
              <a:gd name="connsiteY301" fmla="*/ 1259327 h 5411420"/>
              <a:gd name="connsiteX302" fmla="*/ 1787115 w 11622771"/>
              <a:gd name="connsiteY302" fmla="*/ 1393592 h 5411420"/>
              <a:gd name="connsiteX303" fmla="*/ 1801004 w 11622771"/>
              <a:gd name="connsiteY303" fmla="*/ 1365813 h 5411420"/>
              <a:gd name="connsiteX304" fmla="*/ 1817209 w 11622771"/>
              <a:gd name="connsiteY304" fmla="*/ 1331089 h 5411420"/>
              <a:gd name="connsiteX305" fmla="*/ 1838043 w 11622771"/>
              <a:gd name="connsiteY305" fmla="*/ 1296365 h 5411420"/>
              <a:gd name="connsiteX306" fmla="*/ 1863507 w 11622771"/>
              <a:gd name="connsiteY306" fmla="*/ 1259327 h 5411420"/>
              <a:gd name="connsiteX307" fmla="*/ 1882026 w 11622771"/>
              <a:gd name="connsiteY307" fmla="*/ 1238492 h 5411420"/>
              <a:gd name="connsiteX308" fmla="*/ 1907490 w 11622771"/>
              <a:gd name="connsiteY308" fmla="*/ 1217658 h 5411420"/>
              <a:gd name="connsiteX309" fmla="*/ 1932954 w 11622771"/>
              <a:gd name="connsiteY309" fmla="*/ 1203769 h 5411420"/>
              <a:gd name="connsiteX310" fmla="*/ 1956103 w 11622771"/>
              <a:gd name="connsiteY310" fmla="*/ 1196824 h 5411420"/>
              <a:gd name="connsiteX311" fmla="*/ 1983882 w 11622771"/>
              <a:gd name="connsiteY311" fmla="*/ 1196824 h 5411420"/>
              <a:gd name="connsiteX312" fmla="*/ 2013976 w 11622771"/>
              <a:gd name="connsiteY312" fmla="*/ 1208399 h 5411420"/>
              <a:gd name="connsiteX313" fmla="*/ 2041755 w 11622771"/>
              <a:gd name="connsiteY313" fmla="*/ 1231548 h 5411420"/>
              <a:gd name="connsiteX314" fmla="*/ 2083424 w 11622771"/>
              <a:gd name="connsiteY314" fmla="*/ 1263957 h 5411420"/>
              <a:gd name="connsiteX315" fmla="*/ 2122777 w 11622771"/>
              <a:gd name="connsiteY315" fmla="*/ 1277846 h 5411420"/>
              <a:gd name="connsiteX316" fmla="*/ 2159816 w 11622771"/>
              <a:gd name="connsiteY316" fmla="*/ 1280161 h 5411420"/>
              <a:gd name="connsiteX317" fmla="*/ 2194540 w 11622771"/>
              <a:gd name="connsiteY317" fmla="*/ 1270901 h 5411420"/>
              <a:gd name="connsiteX318" fmla="*/ 2224634 w 11622771"/>
              <a:gd name="connsiteY318" fmla="*/ 1247752 h 5411420"/>
              <a:gd name="connsiteX319" fmla="*/ 2254728 w 11622771"/>
              <a:gd name="connsiteY319" fmla="*/ 1215343 h 5411420"/>
              <a:gd name="connsiteX320" fmla="*/ 2280191 w 11622771"/>
              <a:gd name="connsiteY320" fmla="*/ 1171360 h 5411420"/>
              <a:gd name="connsiteX321" fmla="*/ 2296396 w 11622771"/>
              <a:gd name="connsiteY321" fmla="*/ 1243122 h 5411420"/>
              <a:gd name="connsiteX322" fmla="*/ 2312600 w 11622771"/>
              <a:gd name="connsiteY322" fmla="*/ 1312570 h 5411420"/>
              <a:gd name="connsiteX323" fmla="*/ 2328805 w 11622771"/>
              <a:gd name="connsiteY323" fmla="*/ 1386647 h 5411420"/>
              <a:gd name="connsiteX324" fmla="*/ 2382048 w 11622771"/>
              <a:gd name="connsiteY324" fmla="*/ 1338034 h 5411420"/>
              <a:gd name="connsiteX325" fmla="*/ 2430661 w 11622771"/>
              <a:gd name="connsiteY325" fmla="*/ 1289421 h 5411420"/>
              <a:gd name="connsiteX326" fmla="*/ 2479274 w 11622771"/>
              <a:gd name="connsiteY326" fmla="*/ 1245437 h 5411420"/>
              <a:gd name="connsiteX327" fmla="*/ 2530202 w 11622771"/>
              <a:gd name="connsiteY327" fmla="*/ 1203769 h 5411420"/>
              <a:gd name="connsiteX328" fmla="*/ 2578816 w 11622771"/>
              <a:gd name="connsiteY328" fmla="*/ 1169045 h 5411420"/>
              <a:gd name="connsiteX329" fmla="*/ 2629744 w 11622771"/>
              <a:gd name="connsiteY329" fmla="*/ 1148211 h 5411420"/>
              <a:gd name="connsiteX330" fmla="*/ 2664468 w 11622771"/>
              <a:gd name="connsiteY330" fmla="*/ 1141266 h 5411420"/>
              <a:gd name="connsiteX331" fmla="*/ 2703821 w 11622771"/>
              <a:gd name="connsiteY331" fmla="*/ 1145896 h 5411420"/>
              <a:gd name="connsiteX332" fmla="*/ 2747804 w 11622771"/>
              <a:gd name="connsiteY332" fmla="*/ 1157470 h 5411420"/>
              <a:gd name="connsiteX333" fmla="*/ 2794103 w 11622771"/>
              <a:gd name="connsiteY333" fmla="*/ 1173675 h 5411420"/>
              <a:gd name="connsiteX334" fmla="*/ 2845031 w 11622771"/>
              <a:gd name="connsiteY334" fmla="*/ 1194509 h 5411420"/>
              <a:gd name="connsiteX335" fmla="*/ 2898274 w 11622771"/>
              <a:gd name="connsiteY335" fmla="*/ 1215343 h 5411420"/>
              <a:gd name="connsiteX336" fmla="*/ 2953832 w 11622771"/>
              <a:gd name="connsiteY336" fmla="*/ 1236178 h 5411420"/>
              <a:gd name="connsiteX337" fmla="*/ 3000130 w 11622771"/>
              <a:gd name="connsiteY337" fmla="*/ 1206084 h 5411420"/>
              <a:gd name="connsiteX338" fmla="*/ 3058003 w 11622771"/>
              <a:gd name="connsiteY338" fmla="*/ 1171360 h 5411420"/>
              <a:gd name="connsiteX339" fmla="*/ 3122821 w 11622771"/>
              <a:gd name="connsiteY339" fmla="*/ 1132006 h 5411420"/>
              <a:gd name="connsiteX340" fmla="*/ 3187638 w 11622771"/>
              <a:gd name="connsiteY340" fmla="*/ 1088023 h 5411420"/>
              <a:gd name="connsiteX341" fmla="*/ 3259400 w 11622771"/>
              <a:gd name="connsiteY341" fmla="*/ 1044040 h 5411420"/>
              <a:gd name="connsiteX342" fmla="*/ 3275605 w 11622771"/>
              <a:gd name="connsiteY342" fmla="*/ 1088023 h 5411420"/>
              <a:gd name="connsiteX343" fmla="*/ 3312644 w 11622771"/>
              <a:gd name="connsiteY343" fmla="*/ 944498 h 5411420"/>
              <a:gd name="connsiteX344" fmla="*/ 3368202 w 11622771"/>
              <a:gd name="connsiteY344" fmla="*/ 921349 h 5411420"/>
              <a:gd name="connsiteX345" fmla="*/ 3444594 w 11622771"/>
              <a:gd name="connsiteY345" fmla="*/ 1011631 h 5411420"/>
              <a:gd name="connsiteX346" fmla="*/ 3523302 w 11622771"/>
              <a:gd name="connsiteY346" fmla="*/ 1104227 h 5411420"/>
              <a:gd name="connsiteX347" fmla="*/ 3595063 w 11622771"/>
              <a:gd name="connsiteY347" fmla="*/ 1194509 h 5411420"/>
              <a:gd name="connsiteX348" fmla="*/ 3666825 w 11622771"/>
              <a:gd name="connsiteY348" fmla="*/ 1289421 h 5411420"/>
              <a:gd name="connsiteX349" fmla="*/ 3692290 w 11622771"/>
              <a:gd name="connsiteY349" fmla="*/ 1321829 h 5411420"/>
              <a:gd name="connsiteX350" fmla="*/ 3720070 w 11622771"/>
              <a:gd name="connsiteY350" fmla="*/ 1347293 h 5411420"/>
              <a:gd name="connsiteX351" fmla="*/ 3745533 w 11622771"/>
              <a:gd name="connsiteY351" fmla="*/ 1365813 h 5411420"/>
              <a:gd name="connsiteX352" fmla="*/ 3773312 w 11622771"/>
              <a:gd name="connsiteY352" fmla="*/ 1377387 h 5411420"/>
              <a:gd name="connsiteX353" fmla="*/ 3801091 w 11622771"/>
              <a:gd name="connsiteY353" fmla="*/ 1382017 h 5411420"/>
              <a:gd name="connsiteX354" fmla="*/ 3824240 w 11622771"/>
              <a:gd name="connsiteY354" fmla="*/ 1377387 h 5411420"/>
              <a:gd name="connsiteX355" fmla="*/ 3847389 w 11622771"/>
              <a:gd name="connsiteY355" fmla="*/ 1361183 h 5411420"/>
              <a:gd name="connsiteX356" fmla="*/ 3863594 w 11622771"/>
              <a:gd name="connsiteY356" fmla="*/ 1331089 h 5411420"/>
              <a:gd name="connsiteX357" fmla="*/ 3891373 w 11622771"/>
              <a:gd name="connsiteY357" fmla="*/ 1282476 h 5411420"/>
              <a:gd name="connsiteX358" fmla="*/ 3919151 w 11622771"/>
              <a:gd name="connsiteY358" fmla="*/ 1247752 h 5411420"/>
              <a:gd name="connsiteX359" fmla="*/ 3944615 w 11622771"/>
              <a:gd name="connsiteY359" fmla="*/ 1226918 h 5411420"/>
              <a:gd name="connsiteX360" fmla="*/ 3974709 w 11622771"/>
              <a:gd name="connsiteY360" fmla="*/ 1213028 h 5411420"/>
              <a:gd name="connsiteX361" fmla="*/ 4004803 w 11622771"/>
              <a:gd name="connsiteY361" fmla="*/ 1210713 h 5411420"/>
              <a:gd name="connsiteX362" fmla="*/ 4037212 w 11622771"/>
              <a:gd name="connsiteY362" fmla="*/ 1215343 h 5411420"/>
              <a:gd name="connsiteX363" fmla="*/ 4064991 w 11622771"/>
              <a:gd name="connsiteY363" fmla="*/ 1226918 h 5411420"/>
              <a:gd name="connsiteX364" fmla="*/ 4095085 w 11622771"/>
              <a:gd name="connsiteY364" fmla="*/ 1240807 h 5411420"/>
              <a:gd name="connsiteX365" fmla="*/ 4125179 w 11622771"/>
              <a:gd name="connsiteY365" fmla="*/ 1254697 h 5411420"/>
              <a:gd name="connsiteX366" fmla="*/ 4152958 w 11622771"/>
              <a:gd name="connsiteY366" fmla="*/ 1270901 h 5411420"/>
              <a:gd name="connsiteX367" fmla="*/ 4180737 w 11622771"/>
              <a:gd name="connsiteY367" fmla="*/ 1282476 h 5411420"/>
              <a:gd name="connsiteX368" fmla="*/ 4208516 w 11622771"/>
              <a:gd name="connsiteY368" fmla="*/ 1289421 h 5411420"/>
              <a:gd name="connsiteX369" fmla="*/ 4268704 w 11622771"/>
              <a:gd name="connsiteY369" fmla="*/ 1310255 h 5411420"/>
              <a:gd name="connsiteX370" fmla="*/ 4328892 w 11622771"/>
              <a:gd name="connsiteY370" fmla="*/ 1340349 h 5411420"/>
              <a:gd name="connsiteX371" fmla="*/ 4386764 w 11622771"/>
              <a:gd name="connsiteY371" fmla="*/ 1379702 h 5411420"/>
              <a:gd name="connsiteX372" fmla="*/ 4449267 w 11622771"/>
              <a:gd name="connsiteY372" fmla="*/ 1421371 h 5411420"/>
              <a:gd name="connsiteX373" fmla="*/ 4511770 w 11622771"/>
              <a:gd name="connsiteY373" fmla="*/ 1463039 h 5411420"/>
              <a:gd name="connsiteX374" fmla="*/ 4539549 w 11622771"/>
              <a:gd name="connsiteY374" fmla="*/ 1398222 h 5411420"/>
              <a:gd name="connsiteX375" fmla="*/ 4565013 w 11622771"/>
              <a:gd name="connsiteY375" fmla="*/ 1338034 h 5411420"/>
              <a:gd name="connsiteX376" fmla="*/ 4585847 w 11622771"/>
              <a:gd name="connsiteY376" fmla="*/ 1287106 h 5411420"/>
              <a:gd name="connsiteX377" fmla="*/ 4606681 w 11622771"/>
              <a:gd name="connsiteY377" fmla="*/ 1236178 h 5411420"/>
              <a:gd name="connsiteX378" fmla="*/ 4625201 w 11622771"/>
              <a:gd name="connsiteY378" fmla="*/ 1238492 h 5411420"/>
              <a:gd name="connsiteX379" fmla="*/ 4611311 w 11622771"/>
              <a:gd name="connsiteY379" fmla="*/ 1351923 h 5411420"/>
              <a:gd name="connsiteX380" fmla="*/ 4597421 w 11622771"/>
              <a:gd name="connsiteY380" fmla="*/ 1472299 h 5411420"/>
              <a:gd name="connsiteX381" fmla="*/ 4673814 w 11622771"/>
              <a:gd name="connsiteY381" fmla="*/ 1391277 h 5411420"/>
              <a:gd name="connsiteX382" fmla="*/ 4745576 w 11622771"/>
              <a:gd name="connsiteY382" fmla="*/ 1314885 h 5411420"/>
              <a:gd name="connsiteX383" fmla="*/ 4771040 w 11622771"/>
              <a:gd name="connsiteY383" fmla="*/ 1328774 h 5411420"/>
              <a:gd name="connsiteX384" fmla="*/ 4754836 w 11622771"/>
              <a:gd name="connsiteY384" fmla="*/ 1358868 h 5411420"/>
              <a:gd name="connsiteX385" fmla="*/ 4734001 w 11622771"/>
              <a:gd name="connsiteY385" fmla="*/ 1388962 h 5411420"/>
              <a:gd name="connsiteX386" fmla="*/ 4713167 w 11622771"/>
              <a:gd name="connsiteY386" fmla="*/ 1421371 h 5411420"/>
              <a:gd name="connsiteX387" fmla="*/ 4687704 w 11622771"/>
              <a:gd name="connsiteY387" fmla="*/ 1463039 h 5411420"/>
              <a:gd name="connsiteX388" fmla="*/ 4657610 w 11622771"/>
              <a:gd name="connsiteY388" fmla="*/ 1513967 h 5411420"/>
              <a:gd name="connsiteX389" fmla="*/ 4722427 w 11622771"/>
              <a:gd name="connsiteY389" fmla="*/ 1469984 h 5411420"/>
              <a:gd name="connsiteX390" fmla="*/ 4780300 w 11622771"/>
              <a:gd name="connsiteY390" fmla="*/ 1435260 h 5411420"/>
              <a:gd name="connsiteX391" fmla="*/ 4840488 w 11622771"/>
              <a:gd name="connsiteY391" fmla="*/ 1409796 h 5411420"/>
              <a:gd name="connsiteX392" fmla="*/ 4896045 w 11622771"/>
              <a:gd name="connsiteY392" fmla="*/ 1393592 h 5411420"/>
              <a:gd name="connsiteX393" fmla="*/ 4953918 w 11622771"/>
              <a:gd name="connsiteY393" fmla="*/ 1388962 h 5411420"/>
              <a:gd name="connsiteX394" fmla="*/ 5007161 w 11622771"/>
              <a:gd name="connsiteY394" fmla="*/ 1395907 h 5411420"/>
              <a:gd name="connsiteX395" fmla="*/ 5062719 w 11622771"/>
              <a:gd name="connsiteY395" fmla="*/ 1414426 h 5411420"/>
              <a:gd name="connsiteX396" fmla="*/ 5118278 w 11622771"/>
              <a:gd name="connsiteY396" fmla="*/ 1449150 h 5411420"/>
              <a:gd name="connsiteX397" fmla="*/ 5171522 w 11622771"/>
              <a:gd name="connsiteY397" fmla="*/ 1497763 h 5411420"/>
              <a:gd name="connsiteX398" fmla="*/ 5222449 w 11622771"/>
              <a:gd name="connsiteY398" fmla="*/ 1428315 h 5411420"/>
              <a:gd name="connsiteX399" fmla="*/ 5273377 w 11622771"/>
              <a:gd name="connsiteY399" fmla="*/ 1358868 h 5411420"/>
              <a:gd name="connsiteX400" fmla="*/ 5324305 w 11622771"/>
              <a:gd name="connsiteY400" fmla="*/ 1291735 h 5411420"/>
              <a:gd name="connsiteX401" fmla="*/ 5379863 w 11622771"/>
              <a:gd name="connsiteY401" fmla="*/ 1231548 h 5411420"/>
              <a:gd name="connsiteX402" fmla="*/ 5403012 w 11622771"/>
              <a:gd name="connsiteY402" fmla="*/ 1208399 h 5411420"/>
              <a:gd name="connsiteX403" fmla="*/ 5426161 w 11622771"/>
              <a:gd name="connsiteY403" fmla="*/ 1194509 h 5411420"/>
              <a:gd name="connsiteX404" fmla="*/ 5449310 w 11622771"/>
              <a:gd name="connsiteY404" fmla="*/ 1185249 h 5411420"/>
              <a:gd name="connsiteX405" fmla="*/ 5474775 w 11622771"/>
              <a:gd name="connsiteY405" fmla="*/ 1180620 h 5411420"/>
              <a:gd name="connsiteX406" fmla="*/ 5495609 w 11622771"/>
              <a:gd name="connsiteY406" fmla="*/ 1185249 h 5411420"/>
              <a:gd name="connsiteX407" fmla="*/ 5516443 w 11622771"/>
              <a:gd name="connsiteY407" fmla="*/ 1201454 h 5411420"/>
              <a:gd name="connsiteX408" fmla="*/ 5532647 w 11622771"/>
              <a:gd name="connsiteY408" fmla="*/ 1229233 h 5411420"/>
              <a:gd name="connsiteX409" fmla="*/ 5544223 w 11622771"/>
              <a:gd name="connsiteY409" fmla="*/ 1268586 h 5411420"/>
              <a:gd name="connsiteX410" fmla="*/ 5592835 w 11622771"/>
              <a:gd name="connsiteY410" fmla="*/ 1289421 h 5411420"/>
              <a:gd name="connsiteX411" fmla="*/ 5789603 w 11622771"/>
              <a:gd name="connsiteY411" fmla="*/ 1289421 h 5411420"/>
              <a:gd name="connsiteX412" fmla="*/ 5803492 w 11622771"/>
              <a:gd name="connsiteY412" fmla="*/ 988482 h 5411420"/>
              <a:gd name="connsiteX413" fmla="*/ 5819697 w 11622771"/>
              <a:gd name="connsiteY413" fmla="*/ 687543 h 5411420"/>
              <a:gd name="connsiteX414" fmla="*/ 5845161 w 11622771"/>
              <a:gd name="connsiteY414" fmla="*/ 694487 h 5411420"/>
              <a:gd name="connsiteX415" fmla="*/ 5872940 w 11622771"/>
              <a:gd name="connsiteY415" fmla="*/ 696802 h 5411420"/>
              <a:gd name="connsiteX416" fmla="*/ 5896089 w 11622771"/>
              <a:gd name="connsiteY416" fmla="*/ 699117 h 5411420"/>
              <a:gd name="connsiteX417" fmla="*/ 5921553 w 11622771"/>
              <a:gd name="connsiteY417" fmla="*/ 696802 h 5411420"/>
              <a:gd name="connsiteX418" fmla="*/ 5981741 w 11622771"/>
              <a:gd name="connsiteY418" fmla="*/ 680598 h 5411420"/>
              <a:gd name="connsiteX419" fmla="*/ 6037299 w 11622771"/>
              <a:gd name="connsiteY419" fmla="*/ 673653 h 5411420"/>
              <a:gd name="connsiteX420" fmla="*/ 6088227 w 11622771"/>
              <a:gd name="connsiteY420" fmla="*/ 680598 h 5411420"/>
              <a:gd name="connsiteX421" fmla="*/ 6132210 w 11622771"/>
              <a:gd name="connsiteY421" fmla="*/ 699117 h 5411420"/>
              <a:gd name="connsiteX422" fmla="*/ 6173879 w 11622771"/>
              <a:gd name="connsiteY422" fmla="*/ 726896 h 5411420"/>
              <a:gd name="connsiteX423" fmla="*/ 6210917 w 11622771"/>
              <a:gd name="connsiteY423" fmla="*/ 768565 h 5411420"/>
              <a:gd name="connsiteX424" fmla="*/ 6241011 w 11622771"/>
              <a:gd name="connsiteY424" fmla="*/ 828752 h 5411420"/>
              <a:gd name="connsiteX425" fmla="*/ 6345182 w 11622771"/>
              <a:gd name="connsiteY425" fmla="*/ 1050984 h 5411420"/>
              <a:gd name="connsiteX426" fmla="*/ 6451668 w 11622771"/>
              <a:gd name="connsiteY426" fmla="*/ 1280161 h 5411420"/>
              <a:gd name="connsiteX427" fmla="*/ 6565099 w 11622771"/>
              <a:gd name="connsiteY427" fmla="*/ 1513967 h 5411420"/>
              <a:gd name="connsiteX428" fmla="*/ 6606768 w 11622771"/>
              <a:gd name="connsiteY428" fmla="*/ 1456094 h 5411420"/>
              <a:gd name="connsiteX429" fmla="*/ 6650751 w 11622771"/>
              <a:gd name="connsiteY429" fmla="*/ 1398222 h 5411420"/>
              <a:gd name="connsiteX430" fmla="*/ 6697049 w 11622771"/>
              <a:gd name="connsiteY430" fmla="*/ 1335719 h 5411420"/>
              <a:gd name="connsiteX431" fmla="*/ 6741033 w 11622771"/>
              <a:gd name="connsiteY431" fmla="*/ 1273216 h 5411420"/>
              <a:gd name="connsiteX432" fmla="*/ 6773442 w 11622771"/>
              <a:gd name="connsiteY432" fmla="*/ 1206084 h 5411420"/>
              <a:gd name="connsiteX433" fmla="*/ 6796591 w 11622771"/>
              <a:gd name="connsiteY433" fmla="*/ 1166730 h 5411420"/>
              <a:gd name="connsiteX434" fmla="*/ 6822055 w 11622771"/>
              <a:gd name="connsiteY434" fmla="*/ 1136636 h 5411420"/>
              <a:gd name="connsiteX435" fmla="*/ 6849834 w 11622771"/>
              <a:gd name="connsiteY435" fmla="*/ 1115802 h 5411420"/>
              <a:gd name="connsiteX436" fmla="*/ 6882243 w 11622771"/>
              <a:gd name="connsiteY436" fmla="*/ 1099597 h 5411420"/>
              <a:gd name="connsiteX437" fmla="*/ 6914651 w 11622771"/>
              <a:gd name="connsiteY437" fmla="*/ 1085708 h 5411420"/>
              <a:gd name="connsiteX438" fmla="*/ 6947060 w 11622771"/>
              <a:gd name="connsiteY438" fmla="*/ 1076448 h 5411420"/>
              <a:gd name="connsiteX439" fmla="*/ 6981784 w 11622771"/>
              <a:gd name="connsiteY439" fmla="*/ 1064874 h 5411420"/>
              <a:gd name="connsiteX440" fmla="*/ 7014193 w 11622771"/>
              <a:gd name="connsiteY440" fmla="*/ 1050984 h 5411420"/>
              <a:gd name="connsiteX441" fmla="*/ 7215590 w 11622771"/>
              <a:gd name="connsiteY441" fmla="*/ 963017 h 5411420"/>
              <a:gd name="connsiteX442" fmla="*/ 7220220 w 11622771"/>
              <a:gd name="connsiteY442" fmla="*/ 995426 h 5411420"/>
              <a:gd name="connsiteX443" fmla="*/ 7222535 w 11622771"/>
              <a:gd name="connsiteY443" fmla="*/ 1039410 h 5411420"/>
              <a:gd name="connsiteX444" fmla="*/ 7224850 w 11622771"/>
              <a:gd name="connsiteY444" fmla="*/ 1094968 h 5411420"/>
              <a:gd name="connsiteX445" fmla="*/ 7227165 w 11622771"/>
              <a:gd name="connsiteY445" fmla="*/ 1162100 h 5411420"/>
              <a:gd name="connsiteX446" fmla="*/ 7366060 w 11622771"/>
              <a:gd name="connsiteY446" fmla="*/ 1085708 h 5411420"/>
              <a:gd name="connsiteX447" fmla="*/ 7500325 w 11622771"/>
              <a:gd name="connsiteY447" fmla="*/ 1011631 h 5411420"/>
              <a:gd name="connsiteX448" fmla="*/ 7632275 w 11622771"/>
              <a:gd name="connsiteY448" fmla="*/ 939868 h 5411420"/>
              <a:gd name="connsiteX449" fmla="*/ 7671629 w 11622771"/>
              <a:gd name="connsiteY449" fmla="*/ 967647 h 5411420"/>
              <a:gd name="connsiteX450" fmla="*/ 7690148 w 11622771"/>
              <a:gd name="connsiteY450" fmla="*/ 1013946 h 5411420"/>
              <a:gd name="connsiteX451" fmla="*/ 7713297 w 11622771"/>
              <a:gd name="connsiteY451" fmla="*/ 1067189 h 5411420"/>
              <a:gd name="connsiteX452" fmla="*/ 7738761 w 11622771"/>
              <a:gd name="connsiteY452" fmla="*/ 1122747 h 5411420"/>
              <a:gd name="connsiteX453" fmla="*/ 7808208 w 11622771"/>
              <a:gd name="connsiteY453" fmla="*/ 1055614 h 5411420"/>
              <a:gd name="connsiteX454" fmla="*/ 7877656 w 11622771"/>
              <a:gd name="connsiteY454" fmla="*/ 995426 h 5411420"/>
              <a:gd name="connsiteX455" fmla="*/ 7944788 w 11622771"/>
              <a:gd name="connsiteY455" fmla="*/ 932924 h 5411420"/>
              <a:gd name="connsiteX456" fmla="*/ 7974882 w 11622771"/>
              <a:gd name="connsiteY456" fmla="*/ 956073 h 5411420"/>
              <a:gd name="connsiteX457" fmla="*/ 7907750 w 11622771"/>
              <a:gd name="connsiteY457" fmla="*/ 1092653 h 5411420"/>
              <a:gd name="connsiteX458" fmla="*/ 7838302 w 11622771"/>
              <a:gd name="connsiteY458" fmla="*/ 1231548 h 5411420"/>
              <a:gd name="connsiteX459" fmla="*/ 7766540 w 11622771"/>
              <a:gd name="connsiteY459" fmla="*/ 1372758 h 5411420"/>
              <a:gd name="connsiteX460" fmla="*/ 7692462 w 11622771"/>
              <a:gd name="connsiteY460" fmla="*/ 1525542 h 5411420"/>
              <a:gd name="connsiteX461" fmla="*/ 7647295 w 11622771"/>
              <a:gd name="connsiteY461" fmla="*/ 1615876 h 5411420"/>
              <a:gd name="connsiteX462" fmla="*/ 7858186 w 11622771"/>
              <a:gd name="connsiteY462" fmla="*/ 1578375 h 5411420"/>
              <a:gd name="connsiteX463" fmla="*/ 7870711 w 11622771"/>
              <a:gd name="connsiteY463" fmla="*/ 1571840 h 5411420"/>
              <a:gd name="connsiteX464" fmla="*/ 7921639 w 11622771"/>
              <a:gd name="connsiteY464" fmla="*/ 1548691 h 5411420"/>
              <a:gd name="connsiteX465" fmla="*/ 7956363 w 11622771"/>
              <a:gd name="connsiteY465" fmla="*/ 1530172 h 5411420"/>
              <a:gd name="connsiteX466" fmla="*/ 7984142 w 11622771"/>
              <a:gd name="connsiteY466" fmla="*/ 1523227 h 5411420"/>
              <a:gd name="connsiteX467" fmla="*/ 8004976 w 11622771"/>
              <a:gd name="connsiteY467" fmla="*/ 1525542 h 5411420"/>
              <a:gd name="connsiteX468" fmla="*/ 8023496 w 11622771"/>
              <a:gd name="connsiteY468" fmla="*/ 1532487 h 5411420"/>
              <a:gd name="connsiteX469" fmla="*/ 8030391 w 11622771"/>
              <a:gd name="connsiteY469" fmla="*/ 1542140 h 5411420"/>
              <a:gd name="connsiteX470" fmla="*/ 8146986 w 11622771"/>
              <a:gd name="connsiteY470" fmla="*/ 1517053 h 5411420"/>
              <a:gd name="connsiteX471" fmla="*/ 8408221 w 11622771"/>
              <a:gd name="connsiteY471" fmla="*/ 1444618 h 5411420"/>
              <a:gd name="connsiteX472" fmla="*/ 8663816 w 11622771"/>
              <a:gd name="connsiteY472" fmla="*/ 1357170 h 5411420"/>
              <a:gd name="connsiteX473" fmla="*/ 8914712 w 11622771"/>
              <a:gd name="connsiteY473" fmla="*/ 1257213 h 5411420"/>
              <a:gd name="connsiteX474" fmla="*/ 9161531 w 11622771"/>
              <a:gd name="connsiteY474" fmla="*/ 1138800 h 5411420"/>
              <a:gd name="connsiteX475" fmla="*/ 9401770 w 11622771"/>
              <a:gd name="connsiteY475" fmla="*/ 1002874 h 5411420"/>
              <a:gd name="connsiteX476" fmla="*/ 9475596 w 11622771"/>
              <a:gd name="connsiteY476" fmla="*/ 963722 h 5411420"/>
              <a:gd name="connsiteX477" fmla="*/ 9554744 w 11622771"/>
              <a:gd name="connsiteY477" fmla="*/ 931135 h 5411420"/>
              <a:gd name="connsiteX478" fmla="*/ 9630449 w 11622771"/>
              <a:gd name="connsiteY478" fmla="*/ 896987 h 5411420"/>
              <a:gd name="connsiteX479" fmla="*/ 9688634 w 11622771"/>
              <a:gd name="connsiteY479" fmla="*/ 869420 h 5411420"/>
              <a:gd name="connsiteX480" fmla="*/ 9730240 w 11622771"/>
              <a:gd name="connsiteY480" fmla="*/ 850935 h 5411420"/>
              <a:gd name="connsiteX481" fmla="*/ 9762459 w 11622771"/>
              <a:gd name="connsiteY481" fmla="*/ 830267 h 5411420"/>
              <a:gd name="connsiteX482" fmla="*/ 9788732 w 11622771"/>
              <a:gd name="connsiteY482" fmla="*/ 808978 h 5411420"/>
              <a:gd name="connsiteX483" fmla="*/ 9816568 w 11622771"/>
              <a:gd name="connsiteY483" fmla="*/ 784245 h 5411420"/>
              <a:gd name="connsiteX484" fmla="*/ 9836579 w 11622771"/>
              <a:gd name="connsiteY484" fmla="*/ 753888 h 5411420"/>
              <a:gd name="connsiteX485" fmla="*/ 9860656 w 11622771"/>
              <a:gd name="connsiteY485" fmla="*/ 719147 h 5411420"/>
              <a:gd name="connsiteX486" fmla="*/ 9891923 w 11622771"/>
              <a:gd name="connsiteY486" fmla="*/ 673141 h 5411420"/>
              <a:gd name="connsiteX487" fmla="*/ 9930383 w 11622771"/>
              <a:gd name="connsiteY487" fmla="*/ 615867 h 5411420"/>
              <a:gd name="connsiteX488" fmla="*/ 9985421 w 11622771"/>
              <a:gd name="connsiteY488" fmla="*/ 549511 h 5411420"/>
              <a:gd name="connsiteX489" fmla="*/ 10050164 w 11622771"/>
              <a:gd name="connsiteY489" fmla="*/ 493784 h 5411420"/>
              <a:gd name="connsiteX490" fmla="*/ 10124295 w 11622771"/>
              <a:gd name="connsiteY490" fmla="*/ 440241 h 5411420"/>
              <a:gd name="connsiteX491" fmla="*/ 10201246 w 11622771"/>
              <a:gd name="connsiteY491" fmla="*/ 394205 h 5411420"/>
              <a:gd name="connsiteX492" fmla="*/ 10279760 w 11622771"/>
              <a:gd name="connsiteY492" fmla="*/ 344725 h 5411420"/>
              <a:gd name="connsiteX493" fmla="*/ 10474644 w 11622771"/>
              <a:gd name="connsiteY493" fmla="*/ 240112 h 5411420"/>
              <a:gd name="connsiteX494" fmla="*/ 10678294 w 11622771"/>
              <a:gd name="connsiteY494" fmla="*/ 143627 h 5411420"/>
              <a:gd name="connsiteX495" fmla="*/ 10894152 w 11622771"/>
              <a:gd name="connsiteY495" fmla="*/ 56831 h 5411420"/>
              <a:gd name="connsiteX496" fmla="*/ 10703682 w 11622771"/>
              <a:gd name="connsiteY496" fmla="*/ 234019 h 5411420"/>
              <a:gd name="connsiteX497" fmla="*/ 10719343 w 11622771"/>
              <a:gd name="connsiteY497" fmla="*/ 268108 h 5411420"/>
              <a:gd name="connsiteX498" fmla="*/ 10877626 w 11622771"/>
              <a:gd name="connsiteY498" fmla="*/ 180098 h 5411420"/>
              <a:gd name="connsiteX499" fmla="*/ 11041856 w 11622771"/>
              <a:gd name="connsiteY499" fmla="*/ 92710 h 541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</a:cxnLst>
            <a:rect l="l" t="t" r="r" b="b"/>
            <a:pathLst>
              <a:path w="11622771" h="5411420">
                <a:moveTo>
                  <a:pt x="11212653" y="0"/>
                </a:moveTo>
                <a:lnTo>
                  <a:pt x="11226763" y="60367"/>
                </a:lnTo>
                <a:lnTo>
                  <a:pt x="11240555" y="112288"/>
                </a:lnTo>
                <a:lnTo>
                  <a:pt x="11254347" y="164210"/>
                </a:lnTo>
                <a:lnTo>
                  <a:pt x="11303461" y="142905"/>
                </a:lnTo>
                <a:lnTo>
                  <a:pt x="11352576" y="121601"/>
                </a:lnTo>
                <a:lnTo>
                  <a:pt x="11408259" y="94973"/>
                </a:lnTo>
                <a:lnTo>
                  <a:pt x="11473953" y="64586"/>
                </a:lnTo>
                <a:lnTo>
                  <a:pt x="11463690" y="196921"/>
                </a:lnTo>
                <a:lnTo>
                  <a:pt x="11452170" y="318307"/>
                </a:lnTo>
                <a:lnTo>
                  <a:pt x="11441897" y="427805"/>
                </a:lnTo>
                <a:lnTo>
                  <a:pt x="11429744" y="532299"/>
                </a:lnTo>
                <a:lnTo>
                  <a:pt x="11457897" y="516013"/>
                </a:lnTo>
                <a:lnTo>
                  <a:pt x="11494180" y="490963"/>
                </a:lnTo>
                <a:lnTo>
                  <a:pt x="11538913" y="465594"/>
                </a:lnTo>
                <a:lnTo>
                  <a:pt x="11588651" y="438346"/>
                </a:lnTo>
                <a:lnTo>
                  <a:pt x="11622771" y="468355"/>
                </a:lnTo>
                <a:lnTo>
                  <a:pt x="11444847" y="709353"/>
                </a:lnTo>
                <a:lnTo>
                  <a:pt x="11270989" y="945968"/>
                </a:lnTo>
                <a:lnTo>
                  <a:pt x="11091185" y="1181962"/>
                </a:lnTo>
                <a:lnTo>
                  <a:pt x="10907940" y="1416392"/>
                </a:lnTo>
                <a:lnTo>
                  <a:pt x="10719370" y="1644258"/>
                </a:lnTo>
                <a:lnTo>
                  <a:pt x="10628988" y="1738168"/>
                </a:lnTo>
                <a:lnTo>
                  <a:pt x="10534223" y="1828012"/>
                </a:lnTo>
                <a:lnTo>
                  <a:pt x="10432256" y="1906288"/>
                </a:lnTo>
                <a:lnTo>
                  <a:pt x="10324027" y="1975494"/>
                </a:lnTo>
                <a:lnTo>
                  <a:pt x="10207655" y="2030628"/>
                </a:lnTo>
                <a:lnTo>
                  <a:pt x="10085022" y="2076695"/>
                </a:lnTo>
                <a:lnTo>
                  <a:pt x="9954247" y="2108690"/>
                </a:lnTo>
                <a:lnTo>
                  <a:pt x="9813449" y="2121607"/>
                </a:lnTo>
                <a:lnTo>
                  <a:pt x="9755570" y="2134784"/>
                </a:lnTo>
                <a:lnTo>
                  <a:pt x="9698947" y="2158910"/>
                </a:lnTo>
                <a:lnTo>
                  <a:pt x="9641700" y="2188979"/>
                </a:lnTo>
                <a:lnTo>
                  <a:pt x="9586334" y="2224053"/>
                </a:lnTo>
                <a:lnTo>
                  <a:pt x="9527526" y="2257564"/>
                </a:lnTo>
                <a:lnTo>
                  <a:pt x="9297297" y="2389730"/>
                </a:lnTo>
                <a:lnTo>
                  <a:pt x="9063942" y="2528780"/>
                </a:lnTo>
                <a:lnTo>
                  <a:pt x="8840292" y="2678460"/>
                </a:lnTo>
                <a:lnTo>
                  <a:pt x="9321798" y="2591803"/>
                </a:lnTo>
                <a:lnTo>
                  <a:pt x="9330585" y="2645606"/>
                </a:lnTo>
                <a:lnTo>
                  <a:pt x="9112520" y="2696114"/>
                </a:lnTo>
                <a:lnTo>
                  <a:pt x="8892893" y="2750065"/>
                </a:lnTo>
                <a:lnTo>
                  <a:pt x="8662937" y="2799330"/>
                </a:lnTo>
                <a:lnTo>
                  <a:pt x="8422347" y="2858300"/>
                </a:lnTo>
                <a:lnTo>
                  <a:pt x="8477123" y="2897680"/>
                </a:lnTo>
                <a:lnTo>
                  <a:pt x="8525013" y="2933938"/>
                </a:lnTo>
                <a:lnTo>
                  <a:pt x="8568522" y="2966131"/>
                </a:lnTo>
                <a:lnTo>
                  <a:pt x="8609527" y="2999264"/>
                </a:lnTo>
                <a:lnTo>
                  <a:pt x="8020413" y="3149184"/>
                </a:lnTo>
                <a:lnTo>
                  <a:pt x="7429738" y="3302544"/>
                </a:lnTo>
                <a:lnTo>
                  <a:pt x="7446044" y="3376363"/>
                </a:lnTo>
                <a:lnTo>
                  <a:pt x="7911594" y="3292845"/>
                </a:lnTo>
                <a:lnTo>
                  <a:pt x="8383713" y="3204005"/>
                </a:lnTo>
                <a:lnTo>
                  <a:pt x="8868662" y="3118910"/>
                </a:lnTo>
                <a:lnTo>
                  <a:pt x="8832694" y="3152407"/>
                </a:lnTo>
                <a:lnTo>
                  <a:pt x="8804858" y="3177139"/>
                </a:lnTo>
                <a:lnTo>
                  <a:pt x="8780465" y="3203432"/>
                </a:lnTo>
                <a:lnTo>
                  <a:pt x="8806137" y="3233761"/>
                </a:lnTo>
                <a:lnTo>
                  <a:pt x="8856803" y="3186177"/>
                </a:lnTo>
                <a:lnTo>
                  <a:pt x="8909973" y="3137653"/>
                </a:lnTo>
                <a:lnTo>
                  <a:pt x="8967208" y="3084747"/>
                </a:lnTo>
                <a:lnTo>
                  <a:pt x="9017284" y="3111617"/>
                </a:lnTo>
                <a:lnTo>
                  <a:pt x="9062038" y="3131922"/>
                </a:lnTo>
                <a:lnTo>
                  <a:pt x="9104912" y="3147224"/>
                </a:lnTo>
                <a:lnTo>
                  <a:pt x="9152475" y="3152198"/>
                </a:lnTo>
                <a:lnTo>
                  <a:pt x="9194715" y="3150606"/>
                </a:lnTo>
                <a:lnTo>
                  <a:pt x="9232879" y="3130560"/>
                </a:lnTo>
                <a:lnTo>
                  <a:pt x="9269786" y="3099565"/>
                </a:lnTo>
                <a:lnTo>
                  <a:pt x="9302617" y="3050116"/>
                </a:lnTo>
                <a:lnTo>
                  <a:pt x="9331371" y="2982212"/>
                </a:lnTo>
                <a:lnTo>
                  <a:pt x="9400224" y="3013451"/>
                </a:lnTo>
                <a:lnTo>
                  <a:pt x="9466879" y="3031239"/>
                </a:lnTo>
                <a:lnTo>
                  <a:pt x="9531337" y="3035576"/>
                </a:lnTo>
                <a:lnTo>
                  <a:pt x="9594539" y="3028966"/>
                </a:lnTo>
                <a:lnTo>
                  <a:pt x="9653981" y="3012346"/>
                </a:lnTo>
                <a:lnTo>
                  <a:pt x="9714047" y="2989783"/>
                </a:lnTo>
                <a:lnTo>
                  <a:pt x="9772233" y="2962216"/>
                </a:lnTo>
                <a:lnTo>
                  <a:pt x="9831981" y="2931207"/>
                </a:lnTo>
                <a:lnTo>
                  <a:pt x="9889227" y="2901137"/>
                </a:lnTo>
                <a:lnTo>
                  <a:pt x="9947413" y="2873570"/>
                </a:lnTo>
                <a:lnTo>
                  <a:pt x="10007478" y="2851007"/>
                </a:lnTo>
                <a:lnTo>
                  <a:pt x="10068484" y="2830946"/>
                </a:lnTo>
                <a:lnTo>
                  <a:pt x="10324089" y="2766335"/>
                </a:lnTo>
                <a:lnTo>
                  <a:pt x="10578439" y="2690776"/>
                </a:lnTo>
                <a:lnTo>
                  <a:pt x="10833411" y="2609273"/>
                </a:lnTo>
                <a:lnTo>
                  <a:pt x="11086820" y="2531212"/>
                </a:lnTo>
                <a:lnTo>
                  <a:pt x="11108437" y="2588759"/>
                </a:lnTo>
                <a:lnTo>
                  <a:pt x="10017248" y="2998657"/>
                </a:lnTo>
                <a:lnTo>
                  <a:pt x="10039805" y="3058706"/>
                </a:lnTo>
                <a:lnTo>
                  <a:pt x="10783115" y="2779487"/>
                </a:lnTo>
                <a:lnTo>
                  <a:pt x="10808799" y="2832652"/>
                </a:lnTo>
                <a:lnTo>
                  <a:pt x="10656459" y="2921283"/>
                </a:lnTo>
                <a:lnTo>
                  <a:pt x="10502558" y="3013356"/>
                </a:lnTo>
                <a:lnTo>
                  <a:pt x="10340209" y="3105747"/>
                </a:lnTo>
                <a:lnTo>
                  <a:pt x="10368690" y="3120745"/>
                </a:lnTo>
                <a:lnTo>
                  <a:pt x="10397170" y="3135743"/>
                </a:lnTo>
                <a:lnTo>
                  <a:pt x="10432536" y="3153864"/>
                </a:lnTo>
                <a:lnTo>
                  <a:pt x="10474787" y="3175109"/>
                </a:lnTo>
                <a:lnTo>
                  <a:pt x="10530809" y="3202601"/>
                </a:lnTo>
                <a:lnTo>
                  <a:pt x="10166984" y="3359256"/>
                </a:lnTo>
                <a:lnTo>
                  <a:pt x="9805345" y="3506523"/>
                </a:lnTo>
                <a:lnTo>
                  <a:pt x="9446210" y="3652851"/>
                </a:lnTo>
                <a:lnTo>
                  <a:pt x="9085817" y="3788230"/>
                </a:lnTo>
                <a:lnTo>
                  <a:pt x="8721665" y="3913601"/>
                </a:lnTo>
                <a:lnTo>
                  <a:pt x="8356256" y="4028024"/>
                </a:lnTo>
                <a:lnTo>
                  <a:pt x="7989590" y="4131499"/>
                </a:lnTo>
                <a:lnTo>
                  <a:pt x="7617285" y="4219961"/>
                </a:lnTo>
                <a:lnTo>
                  <a:pt x="7245286" y="4294033"/>
                </a:lnTo>
                <a:lnTo>
                  <a:pt x="6867648" y="4353092"/>
                </a:lnTo>
                <a:lnTo>
                  <a:pt x="6514488" y="4388258"/>
                </a:lnTo>
                <a:lnTo>
                  <a:pt x="6482783" y="4421341"/>
                </a:lnTo>
                <a:lnTo>
                  <a:pt x="6479398" y="4467530"/>
                </a:lnTo>
                <a:lnTo>
                  <a:pt x="6590796" y="4482786"/>
                </a:lnTo>
                <a:lnTo>
                  <a:pt x="6702194" y="4498042"/>
                </a:lnTo>
                <a:lnTo>
                  <a:pt x="6811713" y="4508294"/>
                </a:lnTo>
                <a:lnTo>
                  <a:pt x="6904018" y="4510736"/>
                </a:lnTo>
                <a:lnTo>
                  <a:pt x="6998827" y="4512238"/>
                </a:lnTo>
                <a:lnTo>
                  <a:pt x="7092390" y="4525629"/>
                </a:lnTo>
                <a:lnTo>
                  <a:pt x="7189712" y="4549028"/>
                </a:lnTo>
                <a:lnTo>
                  <a:pt x="6670664" y="4649786"/>
                </a:lnTo>
                <a:lnTo>
                  <a:pt x="6675385" y="4707970"/>
                </a:lnTo>
                <a:lnTo>
                  <a:pt x="6801166" y="4700692"/>
                </a:lnTo>
                <a:lnTo>
                  <a:pt x="6930390" y="4694978"/>
                </a:lnTo>
                <a:lnTo>
                  <a:pt x="7065559" y="4689884"/>
                </a:lnTo>
                <a:lnTo>
                  <a:pt x="7050553" y="4718361"/>
                </a:lnTo>
                <a:lnTo>
                  <a:pt x="7027723" y="4741212"/>
                </a:lnTo>
                <a:lnTo>
                  <a:pt x="6998006" y="4760941"/>
                </a:lnTo>
                <a:lnTo>
                  <a:pt x="6968914" y="4774724"/>
                </a:lnTo>
                <a:lnTo>
                  <a:pt x="6937942" y="4783504"/>
                </a:lnTo>
                <a:lnTo>
                  <a:pt x="6905089" y="4787279"/>
                </a:lnTo>
                <a:lnTo>
                  <a:pt x="6869111" y="4797940"/>
                </a:lnTo>
                <a:lnTo>
                  <a:pt x="6838139" y="4806719"/>
                </a:lnTo>
                <a:lnTo>
                  <a:pt x="6810608" y="4817060"/>
                </a:lnTo>
                <a:lnTo>
                  <a:pt x="6788401" y="4833967"/>
                </a:lnTo>
                <a:lnTo>
                  <a:pt x="6769013" y="4858382"/>
                </a:lnTo>
                <a:lnTo>
                  <a:pt x="6757451" y="4888421"/>
                </a:lnTo>
                <a:lnTo>
                  <a:pt x="6752148" y="4927528"/>
                </a:lnTo>
                <a:lnTo>
                  <a:pt x="6759996" y="4978828"/>
                </a:lnTo>
                <a:lnTo>
                  <a:pt x="6822270" y="4992552"/>
                </a:lnTo>
                <a:lnTo>
                  <a:pt x="6888608" y="5001894"/>
                </a:lnTo>
                <a:lnTo>
                  <a:pt x="6965274" y="5015921"/>
                </a:lnTo>
                <a:lnTo>
                  <a:pt x="6888323" y="5061957"/>
                </a:lnTo>
                <a:lnTo>
                  <a:pt x="6818257" y="5111118"/>
                </a:lnTo>
                <a:lnTo>
                  <a:pt x="6748815" y="5154334"/>
                </a:lnTo>
                <a:lnTo>
                  <a:pt x="6679056" y="5189104"/>
                </a:lnTo>
                <a:lnTo>
                  <a:pt x="6607099" y="5210424"/>
                </a:lnTo>
                <a:lnTo>
                  <a:pt x="6369319" y="5254063"/>
                </a:lnTo>
                <a:lnTo>
                  <a:pt x="6129658" y="5292698"/>
                </a:lnTo>
                <a:lnTo>
                  <a:pt x="5892501" y="5330394"/>
                </a:lnTo>
                <a:lnTo>
                  <a:pt x="5653463" y="5363084"/>
                </a:lnTo>
                <a:lnTo>
                  <a:pt x="5415049" y="5389831"/>
                </a:lnTo>
                <a:lnTo>
                  <a:pt x="5175376" y="5405629"/>
                </a:lnTo>
                <a:lnTo>
                  <a:pt x="4931946" y="5411420"/>
                </a:lnTo>
                <a:lnTo>
                  <a:pt x="4687881" y="5400316"/>
                </a:lnTo>
                <a:lnTo>
                  <a:pt x="4445063" y="5377325"/>
                </a:lnTo>
                <a:lnTo>
                  <a:pt x="4241664" y="5345238"/>
                </a:lnTo>
                <a:lnTo>
                  <a:pt x="4045457" y="5301882"/>
                </a:lnTo>
                <a:lnTo>
                  <a:pt x="3852999" y="5245698"/>
                </a:lnTo>
                <a:lnTo>
                  <a:pt x="3666792" y="5175745"/>
                </a:lnTo>
                <a:lnTo>
                  <a:pt x="3486838" y="5092023"/>
                </a:lnTo>
                <a:lnTo>
                  <a:pt x="3314073" y="4997035"/>
                </a:lnTo>
                <a:lnTo>
                  <a:pt x="3141615" y="4887657"/>
                </a:lnTo>
                <a:lnTo>
                  <a:pt x="3040511" y="4808576"/>
                </a:lnTo>
                <a:lnTo>
                  <a:pt x="2945977" y="4724172"/>
                </a:lnTo>
                <a:lnTo>
                  <a:pt x="2854568" y="4632885"/>
                </a:lnTo>
                <a:lnTo>
                  <a:pt x="2765661" y="4540658"/>
                </a:lnTo>
                <a:lnTo>
                  <a:pt x="2676755" y="4448430"/>
                </a:lnTo>
                <a:lnTo>
                  <a:pt x="2611007" y="4364634"/>
                </a:lnTo>
                <a:lnTo>
                  <a:pt x="2561214" y="4277699"/>
                </a:lnTo>
                <a:lnTo>
                  <a:pt x="2529882" y="4186685"/>
                </a:lnTo>
                <a:lnTo>
                  <a:pt x="2509500" y="4094413"/>
                </a:lnTo>
                <a:lnTo>
                  <a:pt x="2500259" y="4008854"/>
                </a:lnTo>
                <a:lnTo>
                  <a:pt x="2474645" y="4018705"/>
                </a:lnTo>
                <a:lnTo>
                  <a:pt x="2442236" y="4025650"/>
                </a:lnTo>
                <a:lnTo>
                  <a:pt x="2402882" y="4027965"/>
                </a:lnTo>
                <a:lnTo>
                  <a:pt x="2363529" y="4025650"/>
                </a:lnTo>
                <a:lnTo>
                  <a:pt x="2321860" y="4018705"/>
                </a:lnTo>
                <a:lnTo>
                  <a:pt x="2282507" y="4009446"/>
                </a:lnTo>
                <a:lnTo>
                  <a:pt x="2250098" y="3997871"/>
                </a:lnTo>
                <a:lnTo>
                  <a:pt x="2189910" y="3970092"/>
                </a:lnTo>
                <a:lnTo>
                  <a:pt x="2136667" y="3935369"/>
                </a:lnTo>
                <a:lnTo>
                  <a:pt x="2083424" y="3898330"/>
                </a:lnTo>
                <a:lnTo>
                  <a:pt x="2030181" y="3858976"/>
                </a:lnTo>
                <a:lnTo>
                  <a:pt x="1976938" y="3821938"/>
                </a:lnTo>
                <a:lnTo>
                  <a:pt x="1851932" y="3738601"/>
                </a:lnTo>
                <a:lnTo>
                  <a:pt x="1719982" y="3657579"/>
                </a:lnTo>
                <a:lnTo>
                  <a:pt x="1588032" y="3569612"/>
                </a:lnTo>
                <a:lnTo>
                  <a:pt x="1442192" y="3479330"/>
                </a:lnTo>
                <a:lnTo>
                  <a:pt x="1460712" y="3571927"/>
                </a:lnTo>
                <a:lnTo>
                  <a:pt x="1474601" y="3659894"/>
                </a:lnTo>
                <a:lnTo>
                  <a:pt x="1493120" y="3740916"/>
                </a:lnTo>
                <a:lnTo>
                  <a:pt x="1502380" y="3798789"/>
                </a:lnTo>
                <a:lnTo>
                  <a:pt x="1502380" y="3847402"/>
                </a:lnTo>
                <a:lnTo>
                  <a:pt x="1488491" y="3886755"/>
                </a:lnTo>
                <a:lnTo>
                  <a:pt x="1469971" y="3919164"/>
                </a:lnTo>
                <a:lnTo>
                  <a:pt x="1439877" y="3939998"/>
                </a:lnTo>
                <a:lnTo>
                  <a:pt x="1400524" y="3951573"/>
                </a:lnTo>
                <a:lnTo>
                  <a:pt x="1351911" y="3951573"/>
                </a:lnTo>
                <a:lnTo>
                  <a:pt x="1296353" y="3942313"/>
                </a:lnTo>
                <a:lnTo>
                  <a:pt x="1243110" y="3930739"/>
                </a:lnTo>
                <a:lnTo>
                  <a:pt x="1189867" y="3912219"/>
                </a:lnTo>
                <a:lnTo>
                  <a:pt x="1141253" y="3891385"/>
                </a:lnTo>
                <a:lnTo>
                  <a:pt x="1094955" y="3863606"/>
                </a:lnTo>
                <a:lnTo>
                  <a:pt x="946801" y="3764065"/>
                </a:lnTo>
                <a:lnTo>
                  <a:pt x="800961" y="3659894"/>
                </a:lnTo>
                <a:lnTo>
                  <a:pt x="657436" y="3555722"/>
                </a:lnTo>
                <a:lnTo>
                  <a:pt x="516226" y="3444607"/>
                </a:lnTo>
                <a:lnTo>
                  <a:pt x="384276" y="3326546"/>
                </a:lnTo>
                <a:lnTo>
                  <a:pt x="254641" y="3206170"/>
                </a:lnTo>
                <a:lnTo>
                  <a:pt x="127321" y="3083480"/>
                </a:lnTo>
                <a:lnTo>
                  <a:pt x="0" y="2960789"/>
                </a:lnTo>
                <a:lnTo>
                  <a:pt x="53243" y="2937640"/>
                </a:lnTo>
                <a:lnTo>
                  <a:pt x="39354" y="2875137"/>
                </a:lnTo>
                <a:lnTo>
                  <a:pt x="25464" y="2817265"/>
                </a:lnTo>
                <a:lnTo>
                  <a:pt x="13890" y="2752447"/>
                </a:lnTo>
                <a:lnTo>
                  <a:pt x="4630" y="2687629"/>
                </a:lnTo>
                <a:lnTo>
                  <a:pt x="32409" y="2696889"/>
                </a:lnTo>
                <a:lnTo>
                  <a:pt x="57873" y="2703834"/>
                </a:lnTo>
                <a:lnTo>
                  <a:pt x="83337" y="2713094"/>
                </a:lnTo>
                <a:lnTo>
                  <a:pt x="106486" y="2724668"/>
                </a:lnTo>
                <a:lnTo>
                  <a:pt x="120376" y="2740873"/>
                </a:lnTo>
                <a:lnTo>
                  <a:pt x="152785" y="2782541"/>
                </a:lnTo>
                <a:lnTo>
                  <a:pt x="189823" y="2808005"/>
                </a:lnTo>
                <a:lnTo>
                  <a:pt x="224547" y="2824209"/>
                </a:lnTo>
                <a:lnTo>
                  <a:pt x="263901" y="2831154"/>
                </a:lnTo>
                <a:lnTo>
                  <a:pt x="300939" y="2831154"/>
                </a:lnTo>
                <a:lnTo>
                  <a:pt x="340293" y="2826524"/>
                </a:lnTo>
                <a:lnTo>
                  <a:pt x="375016" y="2819579"/>
                </a:lnTo>
                <a:lnTo>
                  <a:pt x="409740" y="2814950"/>
                </a:lnTo>
                <a:lnTo>
                  <a:pt x="442149" y="2808005"/>
                </a:lnTo>
                <a:lnTo>
                  <a:pt x="472243" y="2808005"/>
                </a:lnTo>
                <a:lnTo>
                  <a:pt x="500022" y="2817265"/>
                </a:lnTo>
                <a:lnTo>
                  <a:pt x="546320" y="2875137"/>
                </a:lnTo>
                <a:lnTo>
                  <a:pt x="587989" y="2926066"/>
                </a:lnTo>
                <a:lnTo>
                  <a:pt x="625027" y="2972364"/>
                </a:lnTo>
                <a:lnTo>
                  <a:pt x="659751" y="3018662"/>
                </a:lnTo>
                <a:lnTo>
                  <a:pt x="692160" y="3060331"/>
                </a:lnTo>
                <a:lnTo>
                  <a:pt x="766237" y="3009402"/>
                </a:lnTo>
                <a:lnTo>
                  <a:pt x="706049" y="2898287"/>
                </a:lnTo>
                <a:lnTo>
                  <a:pt x="645862" y="2780226"/>
                </a:lnTo>
                <a:lnTo>
                  <a:pt x="585674" y="2666795"/>
                </a:lnTo>
                <a:lnTo>
                  <a:pt x="518541" y="2553364"/>
                </a:lnTo>
                <a:lnTo>
                  <a:pt x="449094" y="2446878"/>
                </a:lnTo>
                <a:lnTo>
                  <a:pt x="421315" y="2398265"/>
                </a:lnTo>
                <a:lnTo>
                  <a:pt x="405110" y="2351967"/>
                </a:lnTo>
                <a:lnTo>
                  <a:pt x="402796" y="2305668"/>
                </a:lnTo>
                <a:lnTo>
                  <a:pt x="405110" y="2261685"/>
                </a:lnTo>
                <a:lnTo>
                  <a:pt x="409740" y="2217702"/>
                </a:lnTo>
                <a:lnTo>
                  <a:pt x="419000" y="2176033"/>
                </a:lnTo>
                <a:lnTo>
                  <a:pt x="430574" y="2120475"/>
                </a:lnTo>
                <a:lnTo>
                  <a:pt x="446779" y="2062602"/>
                </a:lnTo>
                <a:lnTo>
                  <a:pt x="469928" y="2007044"/>
                </a:lnTo>
                <a:lnTo>
                  <a:pt x="486132" y="1949171"/>
                </a:lnTo>
                <a:lnTo>
                  <a:pt x="500022" y="1895928"/>
                </a:lnTo>
                <a:lnTo>
                  <a:pt x="495392" y="1845000"/>
                </a:lnTo>
                <a:lnTo>
                  <a:pt x="490762" y="1787127"/>
                </a:lnTo>
                <a:lnTo>
                  <a:pt x="495392" y="1738514"/>
                </a:lnTo>
                <a:lnTo>
                  <a:pt x="506967" y="1692216"/>
                </a:lnTo>
                <a:lnTo>
                  <a:pt x="520856" y="1650547"/>
                </a:lnTo>
                <a:lnTo>
                  <a:pt x="544005" y="1611194"/>
                </a:lnTo>
                <a:lnTo>
                  <a:pt x="569469" y="1571840"/>
                </a:lnTo>
                <a:lnTo>
                  <a:pt x="599563" y="1530172"/>
                </a:lnTo>
                <a:lnTo>
                  <a:pt x="625027" y="1500078"/>
                </a:lnTo>
                <a:lnTo>
                  <a:pt x="641232" y="1476929"/>
                </a:lnTo>
                <a:lnTo>
                  <a:pt x="657436" y="1460724"/>
                </a:lnTo>
                <a:lnTo>
                  <a:pt x="669011" y="1456094"/>
                </a:lnTo>
                <a:lnTo>
                  <a:pt x="680585" y="1456094"/>
                </a:lnTo>
                <a:lnTo>
                  <a:pt x="699105" y="1463039"/>
                </a:lnTo>
                <a:lnTo>
                  <a:pt x="719939" y="1481558"/>
                </a:lnTo>
                <a:lnTo>
                  <a:pt x="750033" y="1502393"/>
                </a:lnTo>
                <a:lnTo>
                  <a:pt x="766237" y="1513967"/>
                </a:lnTo>
                <a:lnTo>
                  <a:pt x="789386" y="1523227"/>
                </a:lnTo>
                <a:lnTo>
                  <a:pt x="810220" y="1525542"/>
                </a:lnTo>
                <a:lnTo>
                  <a:pt x="828740" y="1523227"/>
                </a:lnTo>
                <a:lnTo>
                  <a:pt x="847259" y="1511652"/>
                </a:lnTo>
                <a:lnTo>
                  <a:pt x="863463" y="1490818"/>
                </a:lnTo>
                <a:lnTo>
                  <a:pt x="875038" y="1472299"/>
                </a:lnTo>
                <a:lnTo>
                  <a:pt x="879668" y="1449150"/>
                </a:lnTo>
                <a:lnTo>
                  <a:pt x="877353" y="1388962"/>
                </a:lnTo>
                <a:lnTo>
                  <a:pt x="872723" y="1324144"/>
                </a:lnTo>
                <a:lnTo>
                  <a:pt x="868093" y="1263957"/>
                </a:lnTo>
                <a:lnTo>
                  <a:pt x="868093" y="1201454"/>
                </a:lnTo>
                <a:lnTo>
                  <a:pt x="875038" y="1143581"/>
                </a:lnTo>
                <a:lnTo>
                  <a:pt x="902817" y="1067189"/>
                </a:lnTo>
                <a:lnTo>
                  <a:pt x="939856" y="993111"/>
                </a:lnTo>
                <a:lnTo>
                  <a:pt x="986154" y="923664"/>
                </a:lnTo>
                <a:lnTo>
                  <a:pt x="1034767" y="858846"/>
                </a:lnTo>
                <a:lnTo>
                  <a:pt x="1041712" y="856531"/>
                </a:lnTo>
                <a:lnTo>
                  <a:pt x="1057916" y="861161"/>
                </a:lnTo>
                <a:lnTo>
                  <a:pt x="1076436" y="868106"/>
                </a:lnTo>
                <a:lnTo>
                  <a:pt x="1101900" y="877366"/>
                </a:lnTo>
                <a:lnTo>
                  <a:pt x="1127364" y="888940"/>
                </a:lnTo>
                <a:lnTo>
                  <a:pt x="1155143" y="902830"/>
                </a:lnTo>
                <a:lnTo>
                  <a:pt x="1182922" y="914404"/>
                </a:lnTo>
                <a:lnTo>
                  <a:pt x="1206071" y="925979"/>
                </a:lnTo>
                <a:lnTo>
                  <a:pt x="1245425" y="939868"/>
                </a:lnTo>
                <a:lnTo>
                  <a:pt x="1287093" y="951443"/>
                </a:lnTo>
                <a:lnTo>
                  <a:pt x="1328762" y="965332"/>
                </a:lnTo>
                <a:lnTo>
                  <a:pt x="1365800" y="983852"/>
                </a:lnTo>
                <a:lnTo>
                  <a:pt x="1400524" y="1004686"/>
                </a:lnTo>
                <a:lnTo>
                  <a:pt x="1532474" y="1129691"/>
                </a:lnTo>
                <a:lnTo>
                  <a:pt x="1659794" y="1259327"/>
                </a:lnTo>
                <a:lnTo>
                  <a:pt x="1787115" y="1393592"/>
                </a:lnTo>
                <a:lnTo>
                  <a:pt x="1801004" y="1365813"/>
                </a:lnTo>
                <a:lnTo>
                  <a:pt x="1817209" y="1331089"/>
                </a:lnTo>
                <a:lnTo>
                  <a:pt x="1838043" y="1296365"/>
                </a:lnTo>
                <a:lnTo>
                  <a:pt x="1863507" y="1259327"/>
                </a:lnTo>
                <a:lnTo>
                  <a:pt x="1882026" y="1238492"/>
                </a:lnTo>
                <a:lnTo>
                  <a:pt x="1907490" y="1217658"/>
                </a:lnTo>
                <a:lnTo>
                  <a:pt x="1932954" y="1203769"/>
                </a:lnTo>
                <a:lnTo>
                  <a:pt x="1956103" y="1196824"/>
                </a:lnTo>
                <a:lnTo>
                  <a:pt x="1983882" y="1196824"/>
                </a:lnTo>
                <a:lnTo>
                  <a:pt x="2013976" y="1208399"/>
                </a:lnTo>
                <a:lnTo>
                  <a:pt x="2041755" y="1231548"/>
                </a:lnTo>
                <a:lnTo>
                  <a:pt x="2083424" y="1263957"/>
                </a:lnTo>
                <a:lnTo>
                  <a:pt x="2122777" y="1277846"/>
                </a:lnTo>
                <a:lnTo>
                  <a:pt x="2159816" y="1280161"/>
                </a:lnTo>
                <a:lnTo>
                  <a:pt x="2194540" y="1270901"/>
                </a:lnTo>
                <a:lnTo>
                  <a:pt x="2224634" y="1247752"/>
                </a:lnTo>
                <a:lnTo>
                  <a:pt x="2254728" y="1215343"/>
                </a:lnTo>
                <a:lnTo>
                  <a:pt x="2280191" y="1171360"/>
                </a:lnTo>
                <a:lnTo>
                  <a:pt x="2296396" y="1243122"/>
                </a:lnTo>
                <a:lnTo>
                  <a:pt x="2312600" y="1312570"/>
                </a:lnTo>
                <a:lnTo>
                  <a:pt x="2328805" y="1386647"/>
                </a:lnTo>
                <a:lnTo>
                  <a:pt x="2382048" y="1338034"/>
                </a:lnTo>
                <a:lnTo>
                  <a:pt x="2430661" y="1289421"/>
                </a:lnTo>
                <a:lnTo>
                  <a:pt x="2479274" y="1245437"/>
                </a:lnTo>
                <a:lnTo>
                  <a:pt x="2530202" y="1203769"/>
                </a:lnTo>
                <a:lnTo>
                  <a:pt x="2578816" y="1169045"/>
                </a:lnTo>
                <a:lnTo>
                  <a:pt x="2629744" y="1148211"/>
                </a:lnTo>
                <a:lnTo>
                  <a:pt x="2664468" y="1141266"/>
                </a:lnTo>
                <a:lnTo>
                  <a:pt x="2703821" y="1145896"/>
                </a:lnTo>
                <a:lnTo>
                  <a:pt x="2747804" y="1157470"/>
                </a:lnTo>
                <a:lnTo>
                  <a:pt x="2794103" y="1173675"/>
                </a:lnTo>
                <a:lnTo>
                  <a:pt x="2845031" y="1194509"/>
                </a:lnTo>
                <a:lnTo>
                  <a:pt x="2898274" y="1215343"/>
                </a:lnTo>
                <a:lnTo>
                  <a:pt x="2953832" y="1236178"/>
                </a:lnTo>
                <a:lnTo>
                  <a:pt x="3000130" y="1206084"/>
                </a:lnTo>
                <a:lnTo>
                  <a:pt x="3058003" y="1171360"/>
                </a:lnTo>
                <a:lnTo>
                  <a:pt x="3122821" y="1132006"/>
                </a:lnTo>
                <a:lnTo>
                  <a:pt x="3187638" y="1088023"/>
                </a:lnTo>
                <a:lnTo>
                  <a:pt x="3259400" y="1044040"/>
                </a:lnTo>
                <a:lnTo>
                  <a:pt x="3275605" y="1088023"/>
                </a:lnTo>
                <a:lnTo>
                  <a:pt x="3312644" y="944498"/>
                </a:lnTo>
                <a:lnTo>
                  <a:pt x="3368202" y="921349"/>
                </a:lnTo>
                <a:lnTo>
                  <a:pt x="3444594" y="1011631"/>
                </a:lnTo>
                <a:lnTo>
                  <a:pt x="3523302" y="1104227"/>
                </a:lnTo>
                <a:lnTo>
                  <a:pt x="3595063" y="1194509"/>
                </a:lnTo>
                <a:lnTo>
                  <a:pt x="3666825" y="1289421"/>
                </a:lnTo>
                <a:lnTo>
                  <a:pt x="3692290" y="1321829"/>
                </a:lnTo>
                <a:lnTo>
                  <a:pt x="3720070" y="1347293"/>
                </a:lnTo>
                <a:lnTo>
                  <a:pt x="3745533" y="1365813"/>
                </a:lnTo>
                <a:lnTo>
                  <a:pt x="3773312" y="1377387"/>
                </a:lnTo>
                <a:lnTo>
                  <a:pt x="3801091" y="1382017"/>
                </a:lnTo>
                <a:lnTo>
                  <a:pt x="3824240" y="1377387"/>
                </a:lnTo>
                <a:lnTo>
                  <a:pt x="3847389" y="1361183"/>
                </a:lnTo>
                <a:lnTo>
                  <a:pt x="3863594" y="1331089"/>
                </a:lnTo>
                <a:lnTo>
                  <a:pt x="3891373" y="1282476"/>
                </a:lnTo>
                <a:lnTo>
                  <a:pt x="3919151" y="1247752"/>
                </a:lnTo>
                <a:lnTo>
                  <a:pt x="3944615" y="1226918"/>
                </a:lnTo>
                <a:lnTo>
                  <a:pt x="3974709" y="1213028"/>
                </a:lnTo>
                <a:lnTo>
                  <a:pt x="4004803" y="1210713"/>
                </a:lnTo>
                <a:lnTo>
                  <a:pt x="4037212" y="1215343"/>
                </a:lnTo>
                <a:lnTo>
                  <a:pt x="4064991" y="1226918"/>
                </a:lnTo>
                <a:lnTo>
                  <a:pt x="4095085" y="1240807"/>
                </a:lnTo>
                <a:lnTo>
                  <a:pt x="4125179" y="1254697"/>
                </a:lnTo>
                <a:lnTo>
                  <a:pt x="4152958" y="1270901"/>
                </a:lnTo>
                <a:lnTo>
                  <a:pt x="4180737" y="1282476"/>
                </a:lnTo>
                <a:lnTo>
                  <a:pt x="4208516" y="1289421"/>
                </a:lnTo>
                <a:lnTo>
                  <a:pt x="4268704" y="1310255"/>
                </a:lnTo>
                <a:lnTo>
                  <a:pt x="4328892" y="1340349"/>
                </a:lnTo>
                <a:lnTo>
                  <a:pt x="4386764" y="1379702"/>
                </a:lnTo>
                <a:lnTo>
                  <a:pt x="4449267" y="1421371"/>
                </a:lnTo>
                <a:lnTo>
                  <a:pt x="4511770" y="1463039"/>
                </a:lnTo>
                <a:lnTo>
                  <a:pt x="4539549" y="1398222"/>
                </a:lnTo>
                <a:lnTo>
                  <a:pt x="4565013" y="1338034"/>
                </a:lnTo>
                <a:lnTo>
                  <a:pt x="4585847" y="1287106"/>
                </a:lnTo>
                <a:lnTo>
                  <a:pt x="4606681" y="1236178"/>
                </a:lnTo>
                <a:lnTo>
                  <a:pt x="4625201" y="1238492"/>
                </a:lnTo>
                <a:lnTo>
                  <a:pt x="4611311" y="1351923"/>
                </a:lnTo>
                <a:lnTo>
                  <a:pt x="4597421" y="1472299"/>
                </a:lnTo>
                <a:lnTo>
                  <a:pt x="4673814" y="1391277"/>
                </a:lnTo>
                <a:lnTo>
                  <a:pt x="4745576" y="1314885"/>
                </a:lnTo>
                <a:lnTo>
                  <a:pt x="4771040" y="1328774"/>
                </a:lnTo>
                <a:lnTo>
                  <a:pt x="4754836" y="1358868"/>
                </a:lnTo>
                <a:lnTo>
                  <a:pt x="4734001" y="1388962"/>
                </a:lnTo>
                <a:lnTo>
                  <a:pt x="4713167" y="1421371"/>
                </a:lnTo>
                <a:lnTo>
                  <a:pt x="4687704" y="1463039"/>
                </a:lnTo>
                <a:lnTo>
                  <a:pt x="4657610" y="1513967"/>
                </a:lnTo>
                <a:lnTo>
                  <a:pt x="4722427" y="1469984"/>
                </a:lnTo>
                <a:lnTo>
                  <a:pt x="4780300" y="1435260"/>
                </a:lnTo>
                <a:lnTo>
                  <a:pt x="4840488" y="1409796"/>
                </a:lnTo>
                <a:lnTo>
                  <a:pt x="4896045" y="1393592"/>
                </a:lnTo>
                <a:lnTo>
                  <a:pt x="4953918" y="1388962"/>
                </a:lnTo>
                <a:lnTo>
                  <a:pt x="5007161" y="1395907"/>
                </a:lnTo>
                <a:lnTo>
                  <a:pt x="5062719" y="1414426"/>
                </a:lnTo>
                <a:lnTo>
                  <a:pt x="5118278" y="1449150"/>
                </a:lnTo>
                <a:lnTo>
                  <a:pt x="5171522" y="1497763"/>
                </a:lnTo>
                <a:lnTo>
                  <a:pt x="5222449" y="1428315"/>
                </a:lnTo>
                <a:lnTo>
                  <a:pt x="5273377" y="1358868"/>
                </a:lnTo>
                <a:lnTo>
                  <a:pt x="5324305" y="1291735"/>
                </a:lnTo>
                <a:lnTo>
                  <a:pt x="5379863" y="1231548"/>
                </a:lnTo>
                <a:lnTo>
                  <a:pt x="5403012" y="1208399"/>
                </a:lnTo>
                <a:lnTo>
                  <a:pt x="5426161" y="1194509"/>
                </a:lnTo>
                <a:lnTo>
                  <a:pt x="5449310" y="1185249"/>
                </a:lnTo>
                <a:lnTo>
                  <a:pt x="5474775" y="1180620"/>
                </a:lnTo>
                <a:lnTo>
                  <a:pt x="5495609" y="1185249"/>
                </a:lnTo>
                <a:lnTo>
                  <a:pt x="5516443" y="1201454"/>
                </a:lnTo>
                <a:lnTo>
                  <a:pt x="5532647" y="1229233"/>
                </a:lnTo>
                <a:lnTo>
                  <a:pt x="5544223" y="1268586"/>
                </a:lnTo>
                <a:lnTo>
                  <a:pt x="5592835" y="1289421"/>
                </a:lnTo>
                <a:lnTo>
                  <a:pt x="5789603" y="1289421"/>
                </a:lnTo>
                <a:lnTo>
                  <a:pt x="5803492" y="988482"/>
                </a:lnTo>
                <a:lnTo>
                  <a:pt x="5819697" y="687543"/>
                </a:lnTo>
                <a:lnTo>
                  <a:pt x="5845161" y="694487"/>
                </a:lnTo>
                <a:lnTo>
                  <a:pt x="5872940" y="696802"/>
                </a:lnTo>
                <a:lnTo>
                  <a:pt x="5896089" y="699117"/>
                </a:lnTo>
                <a:lnTo>
                  <a:pt x="5921553" y="696802"/>
                </a:lnTo>
                <a:lnTo>
                  <a:pt x="5981741" y="680598"/>
                </a:lnTo>
                <a:lnTo>
                  <a:pt x="6037299" y="673653"/>
                </a:lnTo>
                <a:lnTo>
                  <a:pt x="6088227" y="680598"/>
                </a:lnTo>
                <a:lnTo>
                  <a:pt x="6132210" y="699117"/>
                </a:lnTo>
                <a:lnTo>
                  <a:pt x="6173879" y="726896"/>
                </a:lnTo>
                <a:lnTo>
                  <a:pt x="6210917" y="768565"/>
                </a:lnTo>
                <a:lnTo>
                  <a:pt x="6241011" y="828752"/>
                </a:lnTo>
                <a:lnTo>
                  <a:pt x="6345182" y="1050984"/>
                </a:lnTo>
                <a:lnTo>
                  <a:pt x="6451668" y="1280161"/>
                </a:lnTo>
                <a:lnTo>
                  <a:pt x="6565099" y="1513967"/>
                </a:lnTo>
                <a:lnTo>
                  <a:pt x="6606768" y="1456094"/>
                </a:lnTo>
                <a:lnTo>
                  <a:pt x="6650751" y="1398222"/>
                </a:lnTo>
                <a:lnTo>
                  <a:pt x="6697049" y="1335719"/>
                </a:lnTo>
                <a:lnTo>
                  <a:pt x="6741033" y="1273216"/>
                </a:lnTo>
                <a:lnTo>
                  <a:pt x="6773442" y="1206084"/>
                </a:lnTo>
                <a:lnTo>
                  <a:pt x="6796591" y="1166730"/>
                </a:lnTo>
                <a:lnTo>
                  <a:pt x="6822055" y="1136636"/>
                </a:lnTo>
                <a:lnTo>
                  <a:pt x="6849834" y="1115802"/>
                </a:lnTo>
                <a:lnTo>
                  <a:pt x="6882243" y="1099597"/>
                </a:lnTo>
                <a:lnTo>
                  <a:pt x="6914651" y="1085708"/>
                </a:lnTo>
                <a:lnTo>
                  <a:pt x="6947060" y="1076448"/>
                </a:lnTo>
                <a:lnTo>
                  <a:pt x="6981784" y="1064874"/>
                </a:lnTo>
                <a:lnTo>
                  <a:pt x="7014193" y="1050984"/>
                </a:lnTo>
                <a:lnTo>
                  <a:pt x="7215590" y="963017"/>
                </a:lnTo>
                <a:lnTo>
                  <a:pt x="7220220" y="995426"/>
                </a:lnTo>
                <a:lnTo>
                  <a:pt x="7222535" y="1039410"/>
                </a:lnTo>
                <a:lnTo>
                  <a:pt x="7224850" y="1094968"/>
                </a:lnTo>
                <a:lnTo>
                  <a:pt x="7227165" y="1162100"/>
                </a:lnTo>
                <a:lnTo>
                  <a:pt x="7366060" y="1085708"/>
                </a:lnTo>
                <a:lnTo>
                  <a:pt x="7500325" y="1011631"/>
                </a:lnTo>
                <a:lnTo>
                  <a:pt x="7632275" y="939868"/>
                </a:lnTo>
                <a:lnTo>
                  <a:pt x="7671629" y="967647"/>
                </a:lnTo>
                <a:lnTo>
                  <a:pt x="7690148" y="1013946"/>
                </a:lnTo>
                <a:lnTo>
                  <a:pt x="7713297" y="1067189"/>
                </a:lnTo>
                <a:lnTo>
                  <a:pt x="7738761" y="1122747"/>
                </a:lnTo>
                <a:lnTo>
                  <a:pt x="7808208" y="1055614"/>
                </a:lnTo>
                <a:lnTo>
                  <a:pt x="7877656" y="995426"/>
                </a:lnTo>
                <a:lnTo>
                  <a:pt x="7944788" y="932924"/>
                </a:lnTo>
                <a:lnTo>
                  <a:pt x="7974882" y="956073"/>
                </a:lnTo>
                <a:lnTo>
                  <a:pt x="7907750" y="1092653"/>
                </a:lnTo>
                <a:lnTo>
                  <a:pt x="7838302" y="1231548"/>
                </a:lnTo>
                <a:lnTo>
                  <a:pt x="7766540" y="1372758"/>
                </a:lnTo>
                <a:lnTo>
                  <a:pt x="7692462" y="1525542"/>
                </a:lnTo>
                <a:lnTo>
                  <a:pt x="7647295" y="1615876"/>
                </a:lnTo>
                <a:lnTo>
                  <a:pt x="7858186" y="1578375"/>
                </a:lnTo>
                <a:lnTo>
                  <a:pt x="7870711" y="1571840"/>
                </a:lnTo>
                <a:lnTo>
                  <a:pt x="7921639" y="1548691"/>
                </a:lnTo>
                <a:lnTo>
                  <a:pt x="7956363" y="1530172"/>
                </a:lnTo>
                <a:lnTo>
                  <a:pt x="7984142" y="1523227"/>
                </a:lnTo>
                <a:lnTo>
                  <a:pt x="8004976" y="1525542"/>
                </a:lnTo>
                <a:lnTo>
                  <a:pt x="8023496" y="1532487"/>
                </a:lnTo>
                <a:lnTo>
                  <a:pt x="8030391" y="1542140"/>
                </a:lnTo>
                <a:lnTo>
                  <a:pt x="8146986" y="1517053"/>
                </a:lnTo>
                <a:lnTo>
                  <a:pt x="8408221" y="1444618"/>
                </a:lnTo>
                <a:lnTo>
                  <a:pt x="8663816" y="1357170"/>
                </a:lnTo>
                <a:lnTo>
                  <a:pt x="8914712" y="1257213"/>
                </a:lnTo>
                <a:lnTo>
                  <a:pt x="9161531" y="1138800"/>
                </a:lnTo>
                <a:lnTo>
                  <a:pt x="9401770" y="1002874"/>
                </a:lnTo>
                <a:lnTo>
                  <a:pt x="9475596" y="963722"/>
                </a:lnTo>
                <a:lnTo>
                  <a:pt x="9554744" y="931135"/>
                </a:lnTo>
                <a:lnTo>
                  <a:pt x="9630449" y="896987"/>
                </a:lnTo>
                <a:lnTo>
                  <a:pt x="9688634" y="869420"/>
                </a:lnTo>
                <a:lnTo>
                  <a:pt x="9730240" y="850935"/>
                </a:lnTo>
                <a:lnTo>
                  <a:pt x="9762459" y="830267"/>
                </a:lnTo>
                <a:lnTo>
                  <a:pt x="9788732" y="808978"/>
                </a:lnTo>
                <a:lnTo>
                  <a:pt x="9816568" y="784245"/>
                </a:lnTo>
                <a:lnTo>
                  <a:pt x="9836579" y="753888"/>
                </a:lnTo>
                <a:lnTo>
                  <a:pt x="9860656" y="719147"/>
                </a:lnTo>
                <a:lnTo>
                  <a:pt x="9891923" y="673141"/>
                </a:lnTo>
                <a:lnTo>
                  <a:pt x="9930383" y="615867"/>
                </a:lnTo>
                <a:lnTo>
                  <a:pt x="9985421" y="549511"/>
                </a:lnTo>
                <a:lnTo>
                  <a:pt x="10050164" y="493784"/>
                </a:lnTo>
                <a:lnTo>
                  <a:pt x="10124295" y="440241"/>
                </a:lnTo>
                <a:lnTo>
                  <a:pt x="10201246" y="394205"/>
                </a:lnTo>
                <a:lnTo>
                  <a:pt x="10279760" y="344725"/>
                </a:lnTo>
                <a:lnTo>
                  <a:pt x="10474644" y="240112"/>
                </a:lnTo>
                <a:lnTo>
                  <a:pt x="10678294" y="143627"/>
                </a:lnTo>
                <a:lnTo>
                  <a:pt x="10894152" y="56831"/>
                </a:lnTo>
                <a:lnTo>
                  <a:pt x="10703682" y="234019"/>
                </a:lnTo>
                <a:lnTo>
                  <a:pt x="10719343" y="268108"/>
                </a:lnTo>
                <a:lnTo>
                  <a:pt x="10877626" y="180098"/>
                </a:lnTo>
                <a:lnTo>
                  <a:pt x="11041856" y="9271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536888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8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666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2842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72034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36067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81692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6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5946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Freeform: Shape 19"/>
          <p:cNvSpPr/>
          <p:nvPr/>
        </p:nvSpPr>
        <p:spPr>
          <a:xfrm>
            <a:off x="-6097" y="3429001"/>
            <a:ext cx="4059937" cy="3428999"/>
          </a:xfrm>
          <a:prstGeom prst="rect">
            <a:avLst/>
          </a:prstGeom>
          <a:solidFill>
            <a:srgbClr val="40404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4" name="Freeform: Shape 20"/>
          <p:cNvSpPr/>
          <p:nvPr/>
        </p:nvSpPr>
        <p:spPr>
          <a:xfrm>
            <a:off x="4053840" y="3429001"/>
            <a:ext cx="4066032" cy="3428999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5" name="Freeform: Shape 21"/>
          <p:cNvSpPr/>
          <p:nvPr/>
        </p:nvSpPr>
        <p:spPr>
          <a:xfrm>
            <a:off x="8119872" y="3429002"/>
            <a:ext cx="4066033" cy="3428999"/>
          </a:xfrm>
          <a:prstGeom prst="rect">
            <a:avLst/>
          </a:prstGeom>
          <a:solidFill>
            <a:srgbClr val="262626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-1" y="-1"/>
            <a:ext cx="4059937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4053840" y="-1"/>
            <a:ext cx="4072129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8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8125968" y="1"/>
            <a:ext cx="4066033" cy="43053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1773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7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920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0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92097"/>
            <a:ext cx="5676900" cy="2971804"/>
          </a:xfrm>
          <a:prstGeom prst="rect">
            <a:avLst/>
          </a:prstGeom>
          <a:effectLst>
            <a:outerShdw blurRad="609600" dist="4699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1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254000" y="35813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2" name="Picture Placeholder 48"/>
          <p:cNvSpPr>
            <a:spLocks noGrp="1"/>
          </p:cNvSpPr>
          <p:nvPr>
            <p:ph type="pic" sz="half" idx="16"/>
          </p:nvPr>
        </p:nvSpPr>
        <p:spPr>
          <a:xfrm>
            <a:off x="6235700" y="35813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571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8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icture Placeholder 48"/>
          <p:cNvSpPr>
            <a:spLocks noGrp="1"/>
          </p:cNvSpPr>
          <p:nvPr>
            <p:ph type="pic" sz="quarter" idx="13"/>
          </p:nvPr>
        </p:nvSpPr>
        <p:spPr>
          <a:xfrm>
            <a:off x="30766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1" name="Picture Placeholder 49"/>
          <p:cNvSpPr>
            <a:spLocks noGrp="1"/>
          </p:cNvSpPr>
          <p:nvPr>
            <p:ph type="pic" sz="quarter" idx="14"/>
          </p:nvPr>
        </p:nvSpPr>
        <p:spPr>
          <a:xfrm>
            <a:off x="262414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2" name="Picture Placeholder 50"/>
          <p:cNvSpPr>
            <a:spLocks noGrp="1"/>
          </p:cNvSpPr>
          <p:nvPr>
            <p:ph type="pic" sz="quarter" idx="15"/>
          </p:nvPr>
        </p:nvSpPr>
        <p:spPr>
          <a:xfrm>
            <a:off x="494062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3" name="Picture Placeholder 51"/>
          <p:cNvSpPr>
            <a:spLocks noGrp="1"/>
          </p:cNvSpPr>
          <p:nvPr>
            <p:ph type="pic" sz="quarter" idx="16"/>
          </p:nvPr>
        </p:nvSpPr>
        <p:spPr>
          <a:xfrm>
            <a:off x="725710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4" name="Picture Placeholder 52"/>
          <p:cNvSpPr>
            <a:spLocks noGrp="1"/>
          </p:cNvSpPr>
          <p:nvPr>
            <p:ph type="pic" sz="quarter" idx="17"/>
          </p:nvPr>
        </p:nvSpPr>
        <p:spPr>
          <a:xfrm>
            <a:off x="9573589" y="235974"/>
            <a:ext cx="2316479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45234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8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Freeform: Shape 6"/>
          <p:cNvSpPr>
            <a:spLocks noGrp="1"/>
          </p:cNvSpPr>
          <p:nvPr>
            <p:ph type="pic" sz="quarter" idx="13"/>
          </p:nvPr>
        </p:nvSpPr>
        <p:spPr>
          <a:xfrm>
            <a:off x="-1" y="2443843"/>
            <a:ext cx="277858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4" name="Freeform: Shape 8"/>
          <p:cNvSpPr>
            <a:spLocks noGrp="1"/>
          </p:cNvSpPr>
          <p:nvPr>
            <p:ph type="pic" sz="quarter" idx="14"/>
          </p:nvPr>
        </p:nvSpPr>
        <p:spPr>
          <a:xfrm>
            <a:off x="9413422" y="2443843"/>
            <a:ext cx="2778579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572000" y="2443843"/>
            <a:ext cx="304800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83245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135466" y="125791"/>
            <a:ext cx="3406021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3662438" y="125791"/>
            <a:ext cx="841526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6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3662437" y="2356153"/>
            <a:ext cx="3406020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8" name="Picture Placeholder 28"/>
          <p:cNvSpPr>
            <a:spLocks noGrp="1"/>
          </p:cNvSpPr>
          <p:nvPr>
            <p:ph type="pic" sz="quarter" idx="18"/>
          </p:nvPr>
        </p:nvSpPr>
        <p:spPr>
          <a:xfrm>
            <a:off x="7189408" y="2356153"/>
            <a:ext cx="488829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9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7189408" y="4586515"/>
            <a:ext cx="4888293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59358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7276140" y="2473879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276139" y="3712335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7276139" y="4950791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0467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782613" y="549314"/>
            <a:ext cx="5881473" cy="57593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2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89000" y="635000"/>
            <a:ext cx="5207000" cy="4432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41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37163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487885" y="0"/>
            <a:ext cx="5704115" cy="3846286"/>
          </a:xfrm>
          <a:custGeom>
            <a:avLst/>
            <a:gdLst>
              <a:gd name="connsiteX0" fmla="*/ 0 w 5704115"/>
              <a:gd name="connsiteY0" fmla="*/ 1814286 h 3846286"/>
              <a:gd name="connsiteX1" fmla="*/ 1065730 w 5704115"/>
              <a:gd name="connsiteY1" fmla="*/ 1814286 h 3846286"/>
              <a:gd name="connsiteX2" fmla="*/ 1915884 w 5704115"/>
              <a:gd name="connsiteY2" fmla="*/ 2715966 h 3846286"/>
              <a:gd name="connsiteX3" fmla="*/ 1915884 w 5704115"/>
              <a:gd name="connsiteY3" fmla="*/ 3846286 h 3846286"/>
              <a:gd name="connsiteX4" fmla="*/ 4596247 w 5704115"/>
              <a:gd name="connsiteY4" fmla="*/ 0 h 3846286"/>
              <a:gd name="connsiteX5" fmla="*/ 5704115 w 5704115"/>
              <a:gd name="connsiteY5" fmla="*/ 0 h 3846286"/>
              <a:gd name="connsiteX6" fmla="*/ 1915886 w 5704115"/>
              <a:gd name="connsiteY6" fmla="*/ 3846286 h 3846286"/>
              <a:gd name="connsiteX7" fmla="*/ 1915886 w 5704115"/>
              <a:gd name="connsiteY7" fmla="*/ 2721440 h 384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4115" h="3846286">
                <a:moveTo>
                  <a:pt x="0" y="1814286"/>
                </a:moveTo>
                <a:lnTo>
                  <a:pt x="1065730" y="1814286"/>
                </a:lnTo>
                <a:lnTo>
                  <a:pt x="1915884" y="2715966"/>
                </a:lnTo>
                <a:lnTo>
                  <a:pt x="1915884" y="3846286"/>
                </a:lnTo>
                <a:close/>
                <a:moveTo>
                  <a:pt x="4596247" y="0"/>
                </a:moveTo>
                <a:lnTo>
                  <a:pt x="5704115" y="0"/>
                </a:lnTo>
                <a:lnTo>
                  <a:pt x="1915886" y="3846286"/>
                </a:lnTo>
                <a:lnTo>
                  <a:pt x="1915886" y="272144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527744" y="408781"/>
            <a:ext cx="5151437" cy="60404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1605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10864" y="0"/>
            <a:ext cx="9105285" cy="5943600"/>
          </a:xfrm>
          <a:prstGeom prst="flowChartMerg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Isosceles Triangle 4"/>
          <p:cNvSpPr/>
          <p:nvPr userDrawn="1"/>
        </p:nvSpPr>
        <p:spPr>
          <a:xfrm>
            <a:off x="5635113" y="3668047"/>
            <a:ext cx="3982064" cy="2595716"/>
          </a:xfrm>
          <a:prstGeom prst="triangle">
            <a:avLst>
              <a:gd name="adj" fmla="val 516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1927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452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741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3030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9319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343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096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385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674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8963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8565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9065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43890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39065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43890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28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317124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144043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70962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2141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70858" y="1509485"/>
            <a:ext cx="2684463" cy="31779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830287" y="2808400"/>
            <a:ext cx="2684463" cy="3352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171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752202" y="919271"/>
            <a:ext cx="5572873" cy="5019457"/>
          </a:xfrm>
          <a:custGeom>
            <a:avLst/>
            <a:gdLst>
              <a:gd name="connsiteX0" fmla="*/ 3866198 w 6248400"/>
              <a:gd name="connsiteY0" fmla="*/ 0 h 5627901"/>
              <a:gd name="connsiteX1" fmla="*/ 3898741 w 6248400"/>
              <a:gd name="connsiteY1" fmla="*/ 0 h 5627901"/>
              <a:gd name="connsiteX2" fmla="*/ 3941048 w 6248400"/>
              <a:gd name="connsiteY2" fmla="*/ 0 h 5627901"/>
              <a:gd name="connsiteX3" fmla="*/ 4051697 w 6248400"/>
              <a:gd name="connsiteY3" fmla="*/ 4880 h 5627901"/>
              <a:gd name="connsiteX4" fmla="*/ 4163973 w 6248400"/>
              <a:gd name="connsiteY4" fmla="*/ 13013 h 5627901"/>
              <a:gd name="connsiteX5" fmla="*/ 4274622 w 6248400"/>
              <a:gd name="connsiteY5" fmla="*/ 29280 h 5627901"/>
              <a:gd name="connsiteX6" fmla="*/ 4331573 w 6248400"/>
              <a:gd name="connsiteY6" fmla="*/ 39040 h 5627901"/>
              <a:gd name="connsiteX7" fmla="*/ 4388525 w 6248400"/>
              <a:gd name="connsiteY7" fmla="*/ 53680 h 5627901"/>
              <a:gd name="connsiteX8" fmla="*/ 4442222 w 6248400"/>
              <a:gd name="connsiteY8" fmla="*/ 71573 h 5627901"/>
              <a:gd name="connsiteX9" fmla="*/ 4491038 w 6248400"/>
              <a:gd name="connsiteY9" fmla="*/ 97600 h 5627901"/>
              <a:gd name="connsiteX10" fmla="*/ 4593551 w 6248400"/>
              <a:gd name="connsiteY10" fmla="*/ 164293 h 5627901"/>
              <a:gd name="connsiteX11" fmla="*/ 4691182 w 6248400"/>
              <a:gd name="connsiteY11" fmla="*/ 239119 h 5627901"/>
              <a:gd name="connsiteX12" fmla="*/ 4792067 w 6248400"/>
              <a:gd name="connsiteY12" fmla="*/ 312319 h 5627901"/>
              <a:gd name="connsiteX13" fmla="*/ 4891326 w 6248400"/>
              <a:gd name="connsiteY13" fmla="*/ 385518 h 5627901"/>
              <a:gd name="connsiteX14" fmla="*/ 4917361 w 6248400"/>
              <a:gd name="connsiteY14" fmla="*/ 369252 h 5627901"/>
              <a:gd name="connsiteX15" fmla="*/ 4949905 w 6248400"/>
              <a:gd name="connsiteY15" fmla="*/ 348105 h 5627901"/>
              <a:gd name="connsiteX16" fmla="*/ 4987330 w 6248400"/>
              <a:gd name="connsiteY16" fmla="*/ 325332 h 5627901"/>
              <a:gd name="connsiteX17" fmla="*/ 5029637 w 6248400"/>
              <a:gd name="connsiteY17" fmla="*/ 297679 h 5627901"/>
              <a:gd name="connsiteX18" fmla="*/ 5057299 w 6248400"/>
              <a:gd name="connsiteY18" fmla="*/ 440825 h 5627901"/>
              <a:gd name="connsiteX19" fmla="*/ 5078452 w 6248400"/>
              <a:gd name="connsiteY19" fmla="*/ 580717 h 5627901"/>
              <a:gd name="connsiteX20" fmla="*/ 5091470 w 6248400"/>
              <a:gd name="connsiteY20" fmla="*/ 718983 h 5627901"/>
              <a:gd name="connsiteX21" fmla="*/ 5099606 w 6248400"/>
              <a:gd name="connsiteY21" fmla="*/ 855623 h 5627901"/>
              <a:gd name="connsiteX22" fmla="*/ 5102860 w 6248400"/>
              <a:gd name="connsiteY22" fmla="*/ 990635 h 5627901"/>
              <a:gd name="connsiteX23" fmla="*/ 5104487 w 6248400"/>
              <a:gd name="connsiteY23" fmla="*/ 1127275 h 5627901"/>
              <a:gd name="connsiteX24" fmla="*/ 5106115 w 6248400"/>
              <a:gd name="connsiteY24" fmla="*/ 1174448 h 5627901"/>
              <a:gd name="connsiteX25" fmla="*/ 5106115 w 6248400"/>
              <a:gd name="connsiteY25" fmla="*/ 1221621 h 5627901"/>
              <a:gd name="connsiteX26" fmla="*/ 5104487 w 6248400"/>
              <a:gd name="connsiteY26" fmla="*/ 1267167 h 5627901"/>
              <a:gd name="connsiteX27" fmla="*/ 5101233 w 6248400"/>
              <a:gd name="connsiteY27" fmla="*/ 1311087 h 5627901"/>
              <a:gd name="connsiteX28" fmla="*/ 5093097 w 6248400"/>
              <a:gd name="connsiteY28" fmla="*/ 1351753 h 5627901"/>
              <a:gd name="connsiteX29" fmla="*/ 5081707 w 6248400"/>
              <a:gd name="connsiteY29" fmla="*/ 1392420 h 5627901"/>
              <a:gd name="connsiteX30" fmla="*/ 5065435 w 6248400"/>
              <a:gd name="connsiteY30" fmla="*/ 1429833 h 5627901"/>
              <a:gd name="connsiteX31" fmla="*/ 5042654 w 6248400"/>
              <a:gd name="connsiteY31" fmla="*/ 1465620 h 5627901"/>
              <a:gd name="connsiteX32" fmla="*/ 5011738 w 6248400"/>
              <a:gd name="connsiteY32" fmla="*/ 1498153 h 5627901"/>
              <a:gd name="connsiteX33" fmla="*/ 4975940 w 6248400"/>
              <a:gd name="connsiteY33" fmla="*/ 1525806 h 5627901"/>
              <a:gd name="connsiteX34" fmla="*/ 4928751 w 6248400"/>
              <a:gd name="connsiteY34" fmla="*/ 1553459 h 5627901"/>
              <a:gd name="connsiteX35" fmla="*/ 4927124 w 6248400"/>
              <a:gd name="connsiteY35" fmla="*/ 1556712 h 5627901"/>
              <a:gd name="connsiteX36" fmla="*/ 4925497 w 6248400"/>
              <a:gd name="connsiteY36" fmla="*/ 1559966 h 5627901"/>
              <a:gd name="connsiteX37" fmla="*/ 4922242 w 6248400"/>
              <a:gd name="connsiteY37" fmla="*/ 1566472 h 5627901"/>
              <a:gd name="connsiteX38" fmla="*/ 4922242 w 6248400"/>
              <a:gd name="connsiteY38" fmla="*/ 1571352 h 5627901"/>
              <a:gd name="connsiteX39" fmla="*/ 4920615 w 6248400"/>
              <a:gd name="connsiteY39" fmla="*/ 1577859 h 5627901"/>
              <a:gd name="connsiteX40" fmla="*/ 4936887 w 6248400"/>
              <a:gd name="connsiteY40" fmla="*/ 1623405 h 5627901"/>
              <a:gd name="connsiteX41" fmla="*/ 4941769 w 6248400"/>
              <a:gd name="connsiteY41" fmla="*/ 1665699 h 5627901"/>
              <a:gd name="connsiteX42" fmla="*/ 4941769 w 6248400"/>
              <a:gd name="connsiteY42" fmla="*/ 1709618 h 5627901"/>
              <a:gd name="connsiteX43" fmla="*/ 4933633 w 6248400"/>
              <a:gd name="connsiteY43" fmla="*/ 1756791 h 5627901"/>
              <a:gd name="connsiteX44" fmla="*/ 4931253 w 6248400"/>
              <a:gd name="connsiteY44" fmla="*/ 1774040 h 5627901"/>
              <a:gd name="connsiteX45" fmla="*/ 4968597 w 6248400"/>
              <a:gd name="connsiteY45" fmla="*/ 1814163 h 5627901"/>
              <a:gd name="connsiteX46" fmla="*/ 5011830 w 6248400"/>
              <a:gd name="connsiteY46" fmla="*/ 1859012 h 5627901"/>
              <a:gd name="connsiteX47" fmla="*/ 5058266 w 6248400"/>
              <a:gd name="connsiteY47" fmla="*/ 1900657 h 5627901"/>
              <a:gd name="connsiteX48" fmla="*/ 5106302 w 6248400"/>
              <a:gd name="connsiteY48" fmla="*/ 1943904 h 5627901"/>
              <a:gd name="connsiteX49" fmla="*/ 5154339 w 6248400"/>
              <a:gd name="connsiteY49" fmla="*/ 1987151 h 5627901"/>
              <a:gd name="connsiteX50" fmla="*/ 5203977 w 6248400"/>
              <a:gd name="connsiteY50" fmla="*/ 2028796 h 5627901"/>
              <a:gd name="connsiteX51" fmla="*/ 5170351 w 6248400"/>
              <a:gd name="connsiteY51" fmla="*/ 2057627 h 5627901"/>
              <a:gd name="connsiteX52" fmla="*/ 5143131 w 6248400"/>
              <a:gd name="connsiteY52" fmla="*/ 2084857 h 5627901"/>
              <a:gd name="connsiteX53" fmla="*/ 5114309 w 6248400"/>
              <a:gd name="connsiteY53" fmla="*/ 2108883 h 5627901"/>
              <a:gd name="connsiteX54" fmla="*/ 5087088 w 6248400"/>
              <a:gd name="connsiteY54" fmla="*/ 2132909 h 5627901"/>
              <a:gd name="connsiteX55" fmla="*/ 5104701 w 6248400"/>
              <a:gd name="connsiteY55" fmla="*/ 2148926 h 5627901"/>
              <a:gd name="connsiteX56" fmla="*/ 5117511 w 6248400"/>
              <a:gd name="connsiteY56" fmla="*/ 2164944 h 5627901"/>
              <a:gd name="connsiteX57" fmla="*/ 5133523 w 6248400"/>
              <a:gd name="connsiteY57" fmla="*/ 2176156 h 5627901"/>
              <a:gd name="connsiteX58" fmla="*/ 5151137 w 6248400"/>
              <a:gd name="connsiteY58" fmla="*/ 2184164 h 5627901"/>
              <a:gd name="connsiteX59" fmla="*/ 5202376 w 6248400"/>
              <a:gd name="connsiteY59" fmla="*/ 2195377 h 5627901"/>
              <a:gd name="connsiteX60" fmla="*/ 5245609 w 6248400"/>
              <a:gd name="connsiteY60" fmla="*/ 2211394 h 5627901"/>
              <a:gd name="connsiteX61" fmla="*/ 5284038 w 6248400"/>
              <a:gd name="connsiteY61" fmla="*/ 2233818 h 5627901"/>
              <a:gd name="connsiteX62" fmla="*/ 5317664 w 6248400"/>
              <a:gd name="connsiteY62" fmla="*/ 2259446 h 5627901"/>
              <a:gd name="connsiteX63" fmla="*/ 5346486 w 6248400"/>
              <a:gd name="connsiteY63" fmla="*/ 2288278 h 5627901"/>
              <a:gd name="connsiteX64" fmla="*/ 5373707 w 6248400"/>
              <a:gd name="connsiteY64" fmla="*/ 2321914 h 5627901"/>
              <a:gd name="connsiteX65" fmla="*/ 5396124 w 6248400"/>
              <a:gd name="connsiteY65" fmla="*/ 2358754 h 5627901"/>
              <a:gd name="connsiteX66" fmla="*/ 5418541 w 6248400"/>
              <a:gd name="connsiteY66" fmla="*/ 2395594 h 5627901"/>
              <a:gd name="connsiteX67" fmla="*/ 5437756 w 6248400"/>
              <a:gd name="connsiteY67" fmla="*/ 2434036 h 5627901"/>
              <a:gd name="connsiteX68" fmla="*/ 5455369 w 6248400"/>
              <a:gd name="connsiteY68" fmla="*/ 2474079 h 5627901"/>
              <a:gd name="connsiteX69" fmla="*/ 5474584 w 6248400"/>
              <a:gd name="connsiteY69" fmla="*/ 2514122 h 5627901"/>
              <a:gd name="connsiteX70" fmla="*/ 5477846 w 6248400"/>
              <a:gd name="connsiteY70" fmla="*/ 2520920 h 5627901"/>
              <a:gd name="connsiteX71" fmla="*/ 5491758 w 6248400"/>
              <a:gd name="connsiteY71" fmla="*/ 2522948 h 5627901"/>
              <a:gd name="connsiteX72" fmla="*/ 5569863 w 6248400"/>
              <a:gd name="connsiteY72" fmla="*/ 2534334 h 5627901"/>
              <a:gd name="connsiteX73" fmla="*/ 5647968 w 6248400"/>
              <a:gd name="connsiteY73" fmla="*/ 2544094 h 5627901"/>
              <a:gd name="connsiteX74" fmla="*/ 5726073 w 6248400"/>
              <a:gd name="connsiteY74" fmla="*/ 2548974 h 5627901"/>
              <a:gd name="connsiteX75" fmla="*/ 5804178 w 6248400"/>
              <a:gd name="connsiteY75" fmla="*/ 2548974 h 5627901"/>
              <a:gd name="connsiteX76" fmla="*/ 5880656 w 6248400"/>
              <a:gd name="connsiteY76" fmla="*/ 2539214 h 5627901"/>
              <a:gd name="connsiteX77" fmla="*/ 5958761 w 6248400"/>
              <a:gd name="connsiteY77" fmla="*/ 2521321 h 5627901"/>
              <a:gd name="connsiteX78" fmla="*/ 6035239 w 6248400"/>
              <a:gd name="connsiteY78" fmla="*/ 2490414 h 5627901"/>
              <a:gd name="connsiteX79" fmla="*/ 6048256 w 6248400"/>
              <a:gd name="connsiteY79" fmla="*/ 2488788 h 5627901"/>
              <a:gd name="connsiteX80" fmla="*/ 6062901 w 6248400"/>
              <a:gd name="connsiteY80" fmla="*/ 2490414 h 5627901"/>
              <a:gd name="connsiteX81" fmla="*/ 6077546 w 6248400"/>
              <a:gd name="connsiteY81" fmla="*/ 2492041 h 5627901"/>
              <a:gd name="connsiteX82" fmla="*/ 6093817 w 6248400"/>
              <a:gd name="connsiteY82" fmla="*/ 2495294 h 5627901"/>
              <a:gd name="connsiteX83" fmla="*/ 6084054 w 6248400"/>
              <a:gd name="connsiteY83" fmla="*/ 2539214 h 5627901"/>
              <a:gd name="connsiteX84" fmla="*/ 6074291 w 6248400"/>
              <a:gd name="connsiteY84" fmla="*/ 2576627 h 5627901"/>
              <a:gd name="connsiteX85" fmla="*/ 6071037 w 6248400"/>
              <a:gd name="connsiteY85" fmla="*/ 2605907 h 5627901"/>
              <a:gd name="connsiteX86" fmla="*/ 6071037 w 6248400"/>
              <a:gd name="connsiteY86" fmla="*/ 2628680 h 5627901"/>
              <a:gd name="connsiteX87" fmla="*/ 6075918 w 6248400"/>
              <a:gd name="connsiteY87" fmla="*/ 2648200 h 5627901"/>
              <a:gd name="connsiteX88" fmla="*/ 6087309 w 6248400"/>
              <a:gd name="connsiteY88" fmla="*/ 2664467 h 5627901"/>
              <a:gd name="connsiteX89" fmla="*/ 6101953 w 6248400"/>
              <a:gd name="connsiteY89" fmla="*/ 2680733 h 5627901"/>
              <a:gd name="connsiteX90" fmla="*/ 6127988 w 6248400"/>
              <a:gd name="connsiteY90" fmla="*/ 2695373 h 5627901"/>
              <a:gd name="connsiteX91" fmla="*/ 6157278 w 6248400"/>
              <a:gd name="connsiteY91" fmla="*/ 2710013 h 5627901"/>
              <a:gd name="connsiteX92" fmla="*/ 6197957 w 6248400"/>
              <a:gd name="connsiteY92" fmla="*/ 2731160 h 5627901"/>
              <a:gd name="connsiteX93" fmla="*/ 6214229 w 6248400"/>
              <a:gd name="connsiteY93" fmla="*/ 2742546 h 5627901"/>
              <a:gd name="connsiteX94" fmla="*/ 6232128 w 6248400"/>
              <a:gd name="connsiteY94" fmla="*/ 2755560 h 5627901"/>
              <a:gd name="connsiteX95" fmla="*/ 6248400 w 6248400"/>
              <a:gd name="connsiteY95" fmla="*/ 2770200 h 5627901"/>
              <a:gd name="connsiteX96" fmla="*/ 6248400 w 6248400"/>
              <a:gd name="connsiteY96" fmla="*/ 3783608 h 5627901"/>
              <a:gd name="connsiteX97" fmla="*/ 6204466 w 6248400"/>
              <a:gd name="connsiteY97" fmla="*/ 3816141 h 5627901"/>
              <a:gd name="connsiteX98" fmla="*/ 6160532 w 6248400"/>
              <a:gd name="connsiteY98" fmla="*/ 3850301 h 5627901"/>
              <a:gd name="connsiteX99" fmla="*/ 6116598 w 6248400"/>
              <a:gd name="connsiteY99" fmla="*/ 3882834 h 5627901"/>
              <a:gd name="connsiteX100" fmla="*/ 6067782 w 6248400"/>
              <a:gd name="connsiteY100" fmla="*/ 3907234 h 5627901"/>
              <a:gd name="connsiteX101" fmla="*/ 6045002 w 6248400"/>
              <a:gd name="connsiteY101" fmla="*/ 3918621 h 5627901"/>
              <a:gd name="connsiteX102" fmla="*/ 6025476 w 6248400"/>
              <a:gd name="connsiteY102" fmla="*/ 3934887 h 5627901"/>
              <a:gd name="connsiteX103" fmla="*/ 6004322 w 6248400"/>
              <a:gd name="connsiteY103" fmla="*/ 3954407 h 5627901"/>
              <a:gd name="connsiteX104" fmla="*/ 5984796 w 6248400"/>
              <a:gd name="connsiteY104" fmla="*/ 3977180 h 5627901"/>
              <a:gd name="connsiteX105" fmla="*/ 5966897 w 6248400"/>
              <a:gd name="connsiteY105" fmla="*/ 3998327 h 5627901"/>
              <a:gd name="connsiteX106" fmla="*/ 5947371 w 6248400"/>
              <a:gd name="connsiteY106" fmla="*/ 4021100 h 5627901"/>
              <a:gd name="connsiteX107" fmla="*/ 5926217 w 6248400"/>
              <a:gd name="connsiteY107" fmla="*/ 4040620 h 5627901"/>
              <a:gd name="connsiteX108" fmla="*/ 5905064 w 6248400"/>
              <a:gd name="connsiteY108" fmla="*/ 4061766 h 5627901"/>
              <a:gd name="connsiteX109" fmla="*/ 5885537 w 6248400"/>
              <a:gd name="connsiteY109" fmla="*/ 4078033 h 5627901"/>
              <a:gd name="connsiteX110" fmla="*/ 5859502 w 6248400"/>
              <a:gd name="connsiteY110" fmla="*/ 4091046 h 5627901"/>
              <a:gd name="connsiteX111" fmla="*/ 5835095 w 6248400"/>
              <a:gd name="connsiteY111" fmla="*/ 4097553 h 5627901"/>
              <a:gd name="connsiteX112" fmla="*/ 5807432 w 6248400"/>
              <a:gd name="connsiteY112" fmla="*/ 4097553 h 5627901"/>
              <a:gd name="connsiteX113" fmla="*/ 5776516 w 6248400"/>
              <a:gd name="connsiteY113" fmla="*/ 4092673 h 5627901"/>
              <a:gd name="connsiteX114" fmla="*/ 5742345 w 6248400"/>
              <a:gd name="connsiteY114" fmla="*/ 4079660 h 5627901"/>
              <a:gd name="connsiteX115" fmla="*/ 5704920 w 6248400"/>
              <a:gd name="connsiteY115" fmla="*/ 4056887 h 5627901"/>
              <a:gd name="connsiteX116" fmla="*/ 5695156 w 6248400"/>
              <a:gd name="connsiteY116" fmla="*/ 4055260 h 5627901"/>
              <a:gd name="connsiteX117" fmla="*/ 5682139 w 6248400"/>
              <a:gd name="connsiteY117" fmla="*/ 4056887 h 5627901"/>
              <a:gd name="connsiteX118" fmla="*/ 5667494 w 6248400"/>
              <a:gd name="connsiteY118" fmla="*/ 4063393 h 5627901"/>
              <a:gd name="connsiteX119" fmla="*/ 5651222 w 6248400"/>
              <a:gd name="connsiteY119" fmla="*/ 4071526 h 5627901"/>
              <a:gd name="connsiteX120" fmla="*/ 5636578 w 6248400"/>
              <a:gd name="connsiteY120" fmla="*/ 4079660 h 5627901"/>
              <a:gd name="connsiteX121" fmla="*/ 5621933 w 6248400"/>
              <a:gd name="connsiteY121" fmla="*/ 4084540 h 5627901"/>
              <a:gd name="connsiteX122" fmla="*/ 5607288 w 6248400"/>
              <a:gd name="connsiteY122" fmla="*/ 4091046 h 5627901"/>
              <a:gd name="connsiteX123" fmla="*/ 5591016 w 6248400"/>
              <a:gd name="connsiteY123" fmla="*/ 4097553 h 5627901"/>
              <a:gd name="connsiteX124" fmla="*/ 5576372 w 6248400"/>
              <a:gd name="connsiteY124" fmla="*/ 4105686 h 5627901"/>
              <a:gd name="connsiteX125" fmla="*/ 5571236 w 6248400"/>
              <a:gd name="connsiteY125" fmla="*/ 4106328 h 5627901"/>
              <a:gd name="connsiteX126" fmla="*/ 5604283 w 6248400"/>
              <a:gd name="connsiteY126" fmla="*/ 4175125 h 5627901"/>
              <a:gd name="connsiteX127" fmla="*/ 5577062 w 6248400"/>
              <a:gd name="connsiteY127" fmla="*/ 4211965 h 5627901"/>
              <a:gd name="connsiteX128" fmla="*/ 5549841 w 6248400"/>
              <a:gd name="connsiteY128" fmla="*/ 4247203 h 5627901"/>
              <a:gd name="connsiteX129" fmla="*/ 5519418 w 6248400"/>
              <a:gd name="connsiteY129" fmla="*/ 4279238 h 5627901"/>
              <a:gd name="connsiteX130" fmla="*/ 5488995 w 6248400"/>
              <a:gd name="connsiteY130" fmla="*/ 4306467 h 5627901"/>
              <a:gd name="connsiteX131" fmla="*/ 5452167 w 6248400"/>
              <a:gd name="connsiteY131" fmla="*/ 4328892 h 5627901"/>
              <a:gd name="connsiteX132" fmla="*/ 5413737 w 6248400"/>
              <a:gd name="connsiteY132" fmla="*/ 4348112 h 5627901"/>
              <a:gd name="connsiteX133" fmla="*/ 5367302 w 6248400"/>
              <a:gd name="connsiteY133" fmla="*/ 4360926 h 5627901"/>
              <a:gd name="connsiteX134" fmla="*/ 5317664 w 6248400"/>
              <a:gd name="connsiteY134" fmla="*/ 4367333 h 5627901"/>
              <a:gd name="connsiteX135" fmla="*/ 5290443 w 6248400"/>
              <a:gd name="connsiteY135" fmla="*/ 4372139 h 5627901"/>
              <a:gd name="connsiteX136" fmla="*/ 5269627 w 6248400"/>
              <a:gd name="connsiteY136" fmla="*/ 4380147 h 5627901"/>
              <a:gd name="connsiteX137" fmla="*/ 5256817 w 6248400"/>
              <a:gd name="connsiteY137" fmla="*/ 4394563 h 5627901"/>
              <a:gd name="connsiteX138" fmla="*/ 5247210 w 6248400"/>
              <a:gd name="connsiteY138" fmla="*/ 4410580 h 5627901"/>
              <a:gd name="connsiteX139" fmla="*/ 5244008 w 6248400"/>
              <a:gd name="connsiteY139" fmla="*/ 4429801 h 5627901"/>
              <a:gd name="connsiteX140" fmla="*/ 5245609 w 6248400"/>
              <a:gd name="connsiteY140" fmla="*/ 4450624 h 5627901"/>
              <a:gd name="connsiteX141" fmla="*/ 5253615 w 6248400"/>
              <a:gd name="connsiteY141" fmla="*/ 4471446 h 5627901"/>
              <a:gd name="connsiteX142" fmla="*/ 5268026 w 6248400"/>
              <a:gd name="connsiteY142" fmla="*/ 4490667 h 5627901"/>
              <a:gd name="connsiteX143" fmla="*/ 5288842 w 6248400"/>
              <a:gd name="connsiteY143" fmla="*/ 4509888 h 5627901"/>
              <a:gd name="connsiteX144" fmla="*/ 5348087 w 6248400"/>
              <a:gd name="connsiteY144" fmla="*/ 4551533 h 5627901"/>
              <a:gd name="connsiteX145" fmla="*/ 5410535 w 6248400"/>
              <a:gd name="connsiteY145" fmla="*/ 4591577 h 5627901"/>
              <a:gd name="connsiteX146" fmla="*/ 5476185 w 6248400"/>
              <a:gd name="connsiteY146" fmla="*/ 4634824 h 5627901"/>
              <a:gd name="connsiteX147" fmla="*/ 5448964 w 6248400"/>
              <a:gd name="connsiteY147" fmla="*/ 4660451 h 5627901"/>
              <a:gd name="connsiteX148" fmla="*/ 5418541 w 6248400"/>
              <a:gd name="connsiteY148" fmla="*/ 4678070 h 5627901"/>
              <a:gd name="connsiteX149" fmla="*/ 5386517 w 6248400"/>
              <a:gd name="connsiteY149" fmla="*/ 4687681 h 5627901"/>
              <a:gd name="connsiteX150" fmla="*/ 5354492 w 6248400"/>
              <a:gd name="connsiteY150" fmla="*/ 4690884 h 5627901"/>
              <a:gd name="connsiteX151" fmla="*/ 5320866 w 6248400"/>
              <a:gd name="connsiteY151" fmla="*/ 4690884 h 5627901"/>
              <a:gd name="connsiteX152" fmla="*/ 5285640 w 6248400"/>
              <a:gd name="connsiteY152" fmla="*/ 4686079 h 5627901"/>
              <a:gd name="connsiteX153" fmla="*/ 5250413 w 6248400"/>
              <a:gd name="connsiteY153" fmla="*/ 4681274 h 5627901"/>
              <a:gd name="connsiteX154" fmla="*/ 5231198 w 6248400"/>
              <a:gd name="connsiteY154" fmla="*/ 4678070 h 5627901"/>
              <a:gd name="connsiteX155" fmla="*/ 5210382 w 6248400"/>
              <a:gd name="connsiteY155" fmla="*/ 4671664 h 5627901"/>
              <a:gd name="connsiteX156" fmla="*/ 5189566 w 6248400"/>
              <a:gd name="connsiteY156" fmla="*/ 4666858 h 5627901"/>
              <a:gd name="connsiteX157" fmla="*/ 5168750 w 6248400"/>
              <a:gd name="connsiteY157" fmla="*/ 4663655 h 5627901"/>
              <a:gd name="connsiteX158" fmla="*/ 5149536 w 6248400"/>
              <a:gd name="connsiteY158" fmla="*/ 4662053 h 5627901"/>
              <a:gd name="connsiteX159" fmla="*/ 5131922 w 6248400"/>
              <a:gd name="connsiteY159" fmla="*/ 4666858 h 5627901"/>
              <a:gd name="connsiteX160" fmla="*/ 5114309 w 6248400"/>
              <a:gd name="connsiteY160" fmla="*/ 4678070 h 5627901"/>
              <a:gd name="connsiteX161" fmla="*/ 5103100 w 6248400"/>
              <a:gd name="connsiteY161" fmla="*/ 4694088 h 5627901"/>
              <a:gd name="connsiteX162" fmla="*/ 5090290 w 6248400"/>
              <a:gd name="connsiteY162" fmla="*/ 4721317 h 5627901"/>
              <a:gd name="connsiteX163" fmla="*/ 5083885 w 6248400"/>
              <a:gd name="connsiteY163" fmla="*/ 4748547 h 5627901"/>
              <a:gd name="connsiteX164" fmla="*/ 5077480 w 6248400"/>
              <a:gd name="connsiteY164" fmla="*/ 4778980 h 5627901"/>
              <a:gd name="connsiteX165" fmla="*/ 5074278 w 6248400"/>
              <a:gd name="connsiteY165" fmla="*/ 4806210 h 5627901"/>
              <a:gd name="connsiteX166" fmla="*/ 5077480 w 6248400"/>
              <a:gd name="connsiteY166" fmla="*/ 4835041 h 5627901"/>
              <a:gd name="connsiteX167" fmla="*/ 5087088 w 6248400"/>
              <a:gd name="connsiteY167" fmla="*/ 4860669 h 5627901"/>
              <a:gd name="connsiteX168" fmla="*/ 5099898 w 6248400"/>
              <a:gd name="connsiteY168" fmla="*/ 4884695 h 5627901"/>
              <a:gd name="connsiteX169" fmla="*/ 5125517 w 6248400"/>
              <a:gd name="connsiteY169" fmla="*/ 4908721 h 5627901"/>
              <a:gd name="connsiteX170" fmla="*/ 5155940 w 6248400"/>
              <a:gd name="connsiteY170" fmla="*/ 4927942 h 5627901"/>
              <a:gd name="connsiteX171" fmla="*/ 5175155 w 6248400"/>
              <a:gd name="connsiteY171" fmla="*/ 4940756 h 5627901"/>
              <a:gd name="connsiteX172" fmla="*/ 5191167 w 6248400"/>
              <a:gd name="connsiteY172" fmla="*/ 4959976 h 5627901"/>
              <a:gd name="connsiteX173" fmla="*/ 5205578 w 6248400"/>
              <a:gd name="connsiteY173" fmla="*/ 4985604 h 5627901"/>
              <a:gd name="connsiteX174" fmla="*/ 5218388 w 6248400"/>
              <a:gd name="connsiteY174" fmla="*/ 5009630 h 5627901"/>
              <a:gd name="connsiteX175" fmla="*/ 5231198 w 6248400"/>
              <a:gd name="connsiteY175" fmla="*/ 5035258 h 5627901"/>
              <a:gd name="connsiteX176" fmla="*/ 5244008 w 6248400"/>
              <a:gd name="connsiteY176" fmla="*/ 5057683 h 5627901"/>
              <a:gd name="connsiteX177" fmla="*/ 5215186 w 6248400"/>
              <a:gd name="connsiteY177" fmla="*/ 5065691 h 5627901"/>
              <a:gd name="connsiteX178" fmla="*/ 5187965 w 6248400"/>
              <a:gd name="connsiteY178" fmla="*/ 5073700 h 5627901"/>
              <a:gd name="connsiteX179" fmla="*/ 5160744 w 6248400"/>
              <a:gd name="connsiteY179" fmla="*/ 5081709 h 5627901"/>
              <a:gd name="connsiteX180" fmla="*/ 5133523 w 6248400"/>
              <a:gd name="connsiteY180" fmla="*/ 5084912 h 5627901"/>
              <a:gd name="connsiteX181" fmla="*/ 5111106 w 6248400"/>
              <a:gd name="connsiteY181" fmla="*/ 5081709 h 5627901"/>
              <a:gd name="connsiteX182" fmla="*/ 5074278 w 6248400"/>
              <a:gd name="connsiteY182" fmla="*/ 5067293 h 5627901"/>
              <a:gd name="connsiteX183" fmla="*/ 5037450 w 6248400"/>
              <a:gd name="connsiteY183" fmla="*/ 5049674 h 5627901"/>
              <a:gd name="connsiteX184" fmla="*/ 5002223 w 6248400"/>
              <a:gd name="connsiteY184" fmla="*/ 5032055 h 5627901"/>
              <a:gd name="connsiteX185" fmla="*/ 4970198 w 6248400"/>
              <a:gd name="connsiteY185" fmla="*/ 5011232 h 5627901"/>
              <a:gd name="connsiteX186" fmla="*/ 4939775 w 6248400"/>
              <a:gd name="connsiteY186" fmla="*/ 4987206 h 5627901"/>
              <a:gd name="connsiteX187" fmla="*/ 4917358 w 6248400"/>
              <a:gd name="connsiteY187" fmla="*/ 4959976 h 5627901"/>
              <a:gd name="connsiteX188" fmla="*/ 4891738 w 6248400"/>
              <a:gd name="connsiteY188" fmla="*/ 4929543 h 5627901"/>
              <a:gd name="connsiteX189" fmla="*/ 4864518 w 6248400"/>
              <a:gd name="connsiteY189" fmla="*/ 4908721 h 5627901"/>
              <a:gd name="connsiteX190" fmla="*/ 4837297 w 6248400"/>
              <a:gd name="connsiteY190" fmla="*/ 4894305 h 5627901"/>
              <a:gd name="connsiteX191" fmla="*/ 4808475 w 6248400"/>
              <a:gd name="connsiteY191" fmla="*/ 4889500 h 5627901"/>
              <a:gd name="connsiteX192" fmla="*/ 4781254 w 6248400"/>
              <a:gd name="connsiteY192" fmla="*/ 4891102 h 5627901"/>
              <a:gd name="connsiteX193" fmla="*/ 4752432 w 6248400"/>
              <a:gd name="connsiteY193" fmla="*/ 4895907 h 5627901"/>
              <a:gd name="connsiteX194" fmla="*/ 4726812 w 6248400"/>
              <a:gd name="connsiteY194" fmla="*/ 4902314 h 5627901"/>
              <a:gd name="connsiteX195" fmla="*/ 4699592 w 6248400"/>
              <a:gd name="connsiteY195" fmla="*/ 4913526 h 5627901"/>
              <a:gd name="connsiteX196" fmla="*/ 4670770 w 6248400"/>
              <a:gd name="connsiteY196" fmla="*/ 4923137 h 5627901"/>
              <a:gd name="connsiteX197" fmla="*/ 4648352 w 6248400"/>
              <a:gd name="connsiteY197" fmla="*/ 4935950 h 5627901"/>
              <a:gd name="connsiteX198" fmla="*/ 4630739 w 6248400"/>
              <a:gd name="connsiteY198" fmla="*/ 4950366 h 5627901"/>
              <a:gd name="connsiteX199" fmla="*/ 4619530 w 6248400"/>
              <a:gd name="connsiteY199" fmla="*/ 4969587 h 5627901"/>
              <a:gd name="connsiteX200" fmla="*/ 4616328 w 6248400"/>
              <a:gd name="connsiteY200" fmla="*/ 4988808 h 5627901"/>
              <a:gd name="connsiteX201" fmla="*/ 4622733 w 6248400"/>
              <a:gd name="connsiteY201" fmla="*/ 5009630 h 5627901"/>
              <a:gd name="connsiteX202" fmla="*/ 4635543 w 6248400"/>
              <a:gd name="connsiteY202" fmla="*/ 5032055 h 5627901"/>
              <a:gd name="connsiteX203" fmla="*/ 4657960 w 6248400"/>
              <a:gd name="connsiteY203" fmla="*/ 5051276 h 5627901"/>
              <a:gd name="connsiteX204" fmla="*/ 4722009 w 6248400"/>
              <a:gd name="connsiteY204" fmla="*/ 5094522 h 5627901"/>
              <a:gd name="connsiteX205" fmla="*/ 4784457 w 6248400"/>
              <a:gd name="connsiteY205" fmla="*/ 5134566 h 5627901"/>
              <a:gd name="connsiteX206" fmla="*/ 4848505 w 6248400"/>
              <a:gd name="connsiteY206" fmla="*/ 5174609 h 5627901"/>
              <a:gd name="connsiteX207" fmla="*/ 4854910 w 6248400"/>
              <a:gd name="connsiteY207" fmla="*/ 5216255 h 5627901"/>
              <a:gd name="connsiteX208" fmla="*/ 4738021 w 6248400"/>
              <a:gd name="connsiteY208" fmla="*/ 5221060 h 5627901"/>
              <a:gd name="connsiteX209" fmla="*/ 4617929 w 6248400"/>
              <a:gd name="connsiteY209" fmla="*/ 5222662 h 5627901"/>
              <a:gd name="connsiteX210" fmla="*/ 4597113 w 6248400"/>
              <a:gd name="connsiteY210" fmla="*/ 5222662 h 5627901"/>
              <a:gd name="connsiteX211" fmla="*/ 4576297 w 6248400"/>
              <a:gd name="connsiteY211" fmla="*/ 5221060 h 5627901"/>
              <a:gd name="connsiteX212" fmla="*/ 4555482 w 6248400"/>
              <a:gd name="connsiteY212" fmla="*/ 5219458 h 5627901"/>
              <a:gd name="connsiteX213" fmla="*/ 4536267 w 6248400"/>
              <a:gd name="connsiteY213" fmla="*/ 5219458 h 5627901"/>
              <a:gd name="connsiteX214" fmla="*/ 4517052 w 6248400"/>
              <a:gd name="connsiteY214" fmla="*/ 5221060 h 5627901"/>
              <a:gd name="connsiteX215" fmla="*/ 4501040 w 6248400"/>
              <a:gd name="connsiteY215" fmla="*/ 5229068 h 5627901"/>
              <a:gd name="connsiteX216" fmla="*/ 4485028 w 6248400"/>
              <a:gd name="connsiteY216" fmla="*/ 5241882 h 5627901"/>
              <a:gd name="connsiteX217" fmla="*/ 4473819 w 6248400"/>
              <a:gd name="connsiteY217" fmla="*/ 5261103 h 5627901"/>
              <a:gd name="connsiteX218" fmla="*/ 4464212 w 6248400"/>
              <a:gd name="connsiteY218" fmla="*/ 5286731 h 5627901"/>
              <a:gd name="connsiteX219" fmla="*/ 4457807 w 6248400"/>
              <a:gd name="connsiteY219" fmla="*/ 5313961 h 5627901"/>
              <a:gd name="connsiteX220" fmla="*/ 4454604 w 6248400"/>
              <a:gd name="connsiteY220" fmla="*/ 5339588 h 5627901"/>
              <a:gd name="connsiteX221" fmla="*/ 4451402 w 6248400"/>
              <a:gd name="connsiteY221" fmla="*/ 5365216 h 5627901"/>
              <a:gd name="connsiteX222" fmla="*/ 4454604 w 6248400"/>
              <a:gd name="connsiteY222" fmla="*/ 5389242 h 5627901"/>
              <a:gd name="connsiteX223" fmla="*/ 4461009 w 6248400"/>
              <a:gd name="connsiteY223" fmla="*/ 5411667 h 5627901"/>
              <a:gd name="connsiteX224" fmla="*/ 4473819 w 6248400"/>
              <a:gd name="connsiteY224" fmla="*/ 5432489 h 5627901"/>
              <a:gd name="connsiteX225" fmla="*/ 4494635 w 6248400"/>
              <a:gd name="connsiteY225" fmla="*/ 5451710 h 5627901"/>
              <a:gd name="connsiteX226" fmla="*/ 4523457 w 6248400"/>
              <a:gd name="connsiteY226" fmla="*/ 5469329 h 5627901"/>
              <a:gd name="connsiteX227" fmla="*/ 4542672 w 6248400"/>
              <a:gd name="connsiteY227" fmla="*/ 5482143 h 5627901"/>
              <a:gd name="connsiteX228" fmla="*/ 4560285 w 6248400"/>
              <a:gd name="connsiteY228" fmla="*/ 5501364 h 5627901"/>
              <a:gd name="connsiteX229" fmla="*/ 4576297 w 6248400"/>
              <a:gd name="connsiteY229" fmla="*/ 5525390 h 5627901"/>
              <a:gd name="connsiteX230" fmla="*/ 4590708 w 6248400"/>
              <a:gd name="connsiteY230" fmla="*/ 5549416 h 5627901"/>
              <a:gd name="connsiteX231" fmla="*/ 4606721 w 6248400"/>
              <a:gd name="connsiteY231" fmla="*/ 5573442 h 5627901"/>
              <a:gd name="connsiteX232" fmla="*/ 4619530 w 6248400"/>
              <a:gd name="connsiteY232" fmla="*/ 5597468 h 5627901"/>
              <a:gd name="connsiteX233" fmla="*/ 4595512 w 6248400"/>
              <a:gd name="connsiteY233" fmla="*/ 5603875 h 5627901"/>
              <a:gd name="connsiteX234" fmla="*/ 4571494 w 6248400"/>
              <a:gd name="connsiteY234" fmla="*/ 5611884 h 5627901"/>
              <a:gd name="connsiteX235" fmla="*/ 4547475 w 6248400"/>
              <a:gd name="connsiteY235" fmla="*/ 5621494 h 5627901"/>
              <a:gd name="connsiteX236" fmla="*/ 4521856 w 6248400"/>
              <a:gd name="connsiteY236" fmla="*/ 5626300 h 5627901"/>
              <a:gd name="connsiteX237" fmla="*/ 4499439 w 6248400"/>
              <a:gd name="connsiteY237" fmla="*/ 5627901 h 5627901"/>
              <a:gd name="connsiteX238" fmla="*/ 4480224 w 6248400"/>
              <a:gd name="connsiteY238" fmla="*/ 5623096 h 5627901"/>
              <a:gd name="connsiteX239" fmla="*/ 4454604 w 6248400"/>
              <a:gd name="connsiteY239" fmla="*/ 5607079 h 5627901"/>
              <a:gd name="connsiteX240" fmla="*/ 4430586 w 6248400"/>
              <a:gd name="connsiteY240" fmla="*/ 5584654 h 5627901"/>
              <a:gd name="connsiteX241" fmla="*/ 4408169 w 6248400"/>
              <a:gd name="connsiteY241" fmla="*/ 5557425 h 5627901"/>
              <a:gd name="connsiteX242" fmla="*/ 4387353 w 6248400"/>
              <a:gd name="connsiteY242" fmla="*/ 5528593 h 5627901"/>
              <a:gd name="connsiteX243" fmla="*/ 4366537 w 6248400"/>
              <a:gd name="connsiteY243" fmla="*/ 5499762 h 5627901"/>
              <a:gd name="connsiteX244" fmla="*/ 4366537 w 6248400"/>
              <a:gd name="connsiteY244" fmla="*/ 5493355 h 5627901"/>
              <a:gd name="connsiteX245" fmla="*/ 4369740 w 6248400"/>
              <a:gd name="connsiteY245" fmla="*/ 5482143 h 5627901"/>
              <a:gd name="connsiteX246" fmla="*/ 4377746 w 6248400"/>
              <a:gd name="connsiteY246" fmla="*/ 5470931 h 5627901"/>
              <a:gd name="connsiteX247" fmla="*/ 4384151 w 6248400"/>
              <a:gd name="connsiteY247" fmla="*/ 5458117 h 5627901"/>
              <a:gd name="connsiteX248" fmla="*/ 4388954 w 6248400"/>
              <a:gd name="connsiteY248" fmla="*/ 5446905 h 5627901"/>
              <a:gd name="connsiteX249" fmla="*/ 4304089 w 6248400"/>
              <a:gd name="connsiteY249" fmla="*/ 5397251 h 5627901"/>
              <a:gd name="connsiteX250" fmla="*/ 4216022 w 6248400"/>
              <a:gd name="connsiteY250" fmla="*/ 5360411 h 5627901"/>
              <a:gd name="connsiteX251" fmla="*/ 4127955 w 6248400"/>
              <a:gd name="connsiteY251" fmla="*/ 5334783 h 5627901"/>
              <a:gd name="connsiteX252" fmla="*/ 4035084 w 6248400"/>
              <a:gd name="connsiteY252" fmla="*/ 5318766 h 5627901"/>
              <a:gd name="connsiteX253" fmla="*/ 3940612 w 6248400"/>
              <a:gd name="connsiteY253" fmla="*/ 5313961 h 5627901"/>
              <a:gd name="connsiteX254" fmla="*/ 3842937 w 6248400"/>
              <a:gd name="connsiteY254" fmla="*/ 5317164 h 5627901"/>
              <a:gd name="connsiteX255" fmla="*/ 3791698 w 6248400"/>
              <a:gd name="connsiteY255" fmla="*/ 5317164 h 5627901"/>
              <a:gd name="connsiteX256" fmla="*/ 3742060 w 6248400"/>
              <a:gd name="connsiteY256" fmla="*/ 5307554 h 5627901"/>
              <a:gd name="connsiteX257" fmla="*/ 3689219 w 6248400"/>
              <a:gd name="connsiteY257" fmla="*/ 5296341 h 5627901"/>
              <a:gd name="connsiteX258" fmla="*/ 3637981 w 6248400"/>
              <a:gd name="connsiteY258" fmla="*/ 5280324 h 5627901"/>
              <a:gd name="connsiteX259" fmla="*/ 3586741 w 6248400"/>
              <a:gd name="connsiteY259" fmla="*/ 5265908 h 5627901"/>
              <a:gd name="connsiteX260" fmla="*/ 3509883 w 6248400"/>
              <a:gd name="connsiteY260" fmla="*/ 5246688 h 5627901"/>
              <a:gd name="connsiteX261" fmla="*/ 3433024 w 6248400"/>
              <a:gd name="connsiteY261" fmla="*/ 5227467 h 5627901"/>
              <a:gd name="connsiteX262" fmla="*/ 3356165 w 6248400"/>
              <a:gd name="connsiteY262" fmla="*/ 5205042 h 5627901"/>
              <a:gd name="connsiteX263" fmla="*/ 3282509 w 6248400"/>
              <a:gd name="connsiteY263" fmla="*/ 5179415 h 5627901"/>
              <a:gd name="connsiteX264" fmla="*/ 3202447 w 6248400"/>
              <a:gd name="connsiteY264" fmla="*/ 5140973 h 5627901"/>
              <a:gd name="connsiteX265" fmla="*/ 3125589 w 6248400"/>
              <a:gd name="connsiteY265" fmla="*/ 5097726 h 5627901"/>
              <a:gd name="connsiteX266" fmla="*/ 3048730 w 6248400"/>
              <a:gd name="connsiteY266" fmla="*/ 5056081 h 5627901"/>
              <a:gd name="connsiteX267" fmla="*/ 2970270 w 6248400"/>
              <a:gd name="connsiteY267" fmla="*/ 5014436 h 5627901"/>
              <a:gd name="connsiteX268" fmla="*/ 2922234 w 6248400"/>
              <a:gd name="connsiteY268" fmla="*/ 4995215 h 5627901"/>
              <a:gd name="connsiteX269" fmla="*/ 2870994 w 6248400"/>
              <a:gd name="connsiteY269" fmla="*/ 4977596 h 5627901"/>
              <a:gd name="connsiteX270" fmla="*/ 2821356 w 6248400"/>
              <a:gd name="connsiteY270" fmla="*/ 4959976 h 5627901"/>
              <a:gd name="connsiteX271" fmla="*/ 2771718 w 6248400"/>
              <a:gd name="connsiteY271" fmla="*/ 4940756 h 5627901"/>
              <a:gd name="connsiteX272" fmla="*/ 2686854 w 6248400"/>
              <a:gd name="connsiteY272" fmla="*/ 4897509 h 5627901"/>
              <a:gd name="connsiteX273" fmla="*/ 2605191 w 6248400"/>
              <a:gd name="connsiteY273" fmla="*/ 4851058 h 5627901"/>
              <a:gd name="connsiteX274" fmla="*/ 2560425 w 6248400"/>
              <a:gd name="connsiteY274" fmla="*/ 4825711 h 5627901"/>
              <a:gd name="connsiteX275" fmla="*/ 2541667 w 6248400"/>
              <a:gd name="connsiteY275" fmla="*/ 4819789 h 5627901"/>
              <a:gd name="connsiteX276" fmla="*/ 2512378 w 6248400"/>
              <a:gd name="connsiteY276" fmla="*/ 4819789 h 5627901"/>
              <a:gd name="connsiteX277" fmla="*/ 2486343 w 6248400"/>
              <a:gd name="connsiteY277" fmla="*/ 4827923 h 5627901"/>
              <a:gd name="connsiteX278" fmla="*/ 2465189 w 6248400"/>
              <a:gd name="connsiteY278" fmla="*/ 4845816 h 5627901"/>
              <a:gd name="connsiteX279" fmla="*/ 2444036 w 6248400"/>
              <a:gd name="connsiteY279" fmla="*/ 4871843 h 5627901"/>
              <a:gd name="connsiteX280" fmla="*/ 2427764 w 6248400"/>
              <a:gd name="connsiteY280" fmla="*/ 4909256 h 5627901"/>
              <a:gd name="connsiteX281" fmla="*/ 2414746 w 6248400"/>
              <a:gd name="connsiteY281" fmla="*/ 4930402 h 5627901"/>
              <a:gd name="connsiteX282" fmla="*/ 2393593 w 6248400"/>
              <a:gd name="connsiteY282" fmla="*/ 4951549 h 5627901"/>
              <a:gd name="connsiteX283" fmla="*/ 2370812 w 6248400"/>
              <a:gd name="connsiteY283" fmla="*/ 4967815 h 5627901"/>
              <a:gd name="connsiteX284" fmla="*/ 2344778 w 6248400"/>
              <a:gd name="connsiteY284" fmla="*/ 4980829 h 5627901"/>
              <a:gd name="connsiteX285" fmla="*/ 2318742 w 6248400"/>
              <a:gd name="connsiteY285" fmla="*/ 4988962 h 5627901"/>
              <a:gd name="connsiteX286" fmla="*/ 2281317 w 6248400"/>
              <a:gd name="connsiteY286" fmla="*/ 4990589 h 5627901"/>
              <a:gd name="connsiteX287" fmla="*/ 2245519 w 6248400"/>
              <a:gd name="connsiteY287" fmla="*/ 4988962 h 5627901"/>
              <a:gd name="connsiteX288" fmla="*/ 2212975 w 6248400"/>
              <a:gd name="connsiteY288" fmla="*/ 4979202 h 5627901"/>
              <a:gd name="connsiteX289" fmla="*/ 2182059 w 6248400"/>
              <a:gd name="connsiteY289" fmla="*/ 4964562 h 5627901"/>
              <a:gd name="connsiteX290" fmla="*/ 2154397 w 6248400"/>
              <a:gd name="connsiteY290" fmla="*/ 4943416 h 5627901"/>
              <a:gd name="connsiteX291" fmla="*/ 2131616 w 6248400"/>
              <a:gd name="connsiteY291" fmla="*/ 4912509 h 5627901"/>
              <a:gd name="connsiteX292" fmla="*/ 2110463 w 6248400"/>
              <a:gd name="connsiteY292" fmla="*/ 4875096 h 5627901"/>
              <a:gd name="connsiteX293" fmla="*/ 2084427 w 6248400"/>
              <a:gd name="connsiteY293" fmla="*/ 4824669 h 5627901"/>
              <a:gd name="connsiteX294" fmla="*/ 2057277 w 6248400"/>
              <a:gd name="connsiteY294" fmla="*/ 4783956 h 5627901"/>
              <a:gd name="connsiteX295" fmla="*/ 2054370 w 6248400"/>
              <a:gd name="connsiteY295" fmla="*/ 4783785 h 5627901"/>
              <a:gd name="connsiteX296" fmla="*/ 1999929 w 6248400"/>
              <a:gd name="connsiteY296" fmla="*/ 4777378 h 5627901"/>
              <a:gd name="connsiteX297" fmla="*/ 1948886 w 6248400"/>
              <a:gd name="connsiteY297" fmla="*/ 4763019 h 5627901"/>
              <a:gd name="connsiteX298" fmla="*/ 1924963 w 6248400"/>
              <a:gd name="connsiteY298" fmla="*/ 4770990 h 5627901"/>
              <a:gd name="connsiteX299" fmla="*/ 1882656 w 6248400"/>
              <a:gd name="connsiteY299" fmla="*/ 4779123 h 5627901"/>
              <a:gd name="connsiteX300" fmla="*/ 1838722 w 6248400"/>
              <a:gd name="connsiteY300" fmla="*/ 4784003 h 5627901"/>
              <a:gd name="connsiteX301" fmla="*/ 1793161 w 6248400"/>
              <a:gd name="connsiteY301" fmla="*/ 4788883 h 5627901"/>
              <a:gd name="connsiteX302" fmla="*/ 1798042 w 6248400"/>
              <a:gd name="connsiteY302" fmla="*/ 4730323 h 5627901"/>
              <a:gd name="connsiteX303" fmla="*/ 1801216 w 6248400"/>
              <a:gd name="connsiteY303" fmla="*/ 4690142 h 5627901"/>
              <a:gd name="connsiteX304" fmla="*/ 1770954 w 6248400"/>
              <a:gd name="connsiteY304" fmla="*/ 4663655 h 5627901"/>
              <a:gd name="connsiteX305" fmla="*/ 1735727 w 6248400"/>
              <a:gd name="connsiteY305" fmla="*/ 4626815 h 5627901"/>
              <a:gd name="connsiteX306" fmla="*/ 1726369 w 6248400"/>
              <a:gd name="connsiteY306" fmla="*/ 4613294 h 5627901"/>
              <a:gd name="connsiteX307" fmla="*/ 1716683 w 6248400"/>
              <a:gd name="connsiteY307" fmla="*/ 4624590 h 5627901"/>
              <a:gd name="connsiteX308" fmla="*/ 1700411 w 6248400"/>
              <a:gd name="connsiteY308" fmla="*/ 4644110 h 5627901"/>
              <a:gd name="connsiteX309" fmla="*/ 1687394 w 6248400"/>
              <a:gd name="connsiteY309" fmla="*/ 4606697 h 5627901"/>
              <a:gd name="connsiteX310" fmla="*/ 1674376 w 6248400"/>
              <a:gd name="connsiteY310" fmla="*/ 4575791 h 5627901"/>
              <a:gd name="connsiteX311" fmla="*/ 1662986 w 6248400"/>
              <a:gd name="connsiteY311" fmla="*/ 4548138 h 5627901"/>
              <a:gd name="connsiteX312" fmla="*/ 1640205 w 6248400"/>
              <a:gd name="connsiteY312" fmla="*/ 4500964 h 5627901"/>
              <a:gd name="connsiteX313" fmla="*/ 1615797 w 6248400"/>
              <a:gd name="connsiteY313" fmla="*/ 4455418 h 5627901"/>
              <a:gd name="connsiteX314" fmla="*/ 1601153 w 6248400"/>
              <a:gd name="connsiteY314" fmla="*/ 4440778 h 5627901"/>
              <a:gd name="connsiteX315" fmla="*/ 1581626 w 6248400"/>
              <a:gd name="connsiteY315" fmla="*/ 4424511 h 5627901"/>
              <a:gd name="connsiteX316" fmla="*/ 1557219 w 6248400"/>
              <a:gd name="connsiteY316" fmla="*/ 4411498 h 5627901"/>
              <a:gd name="connsiteX317" fmla="*/ 1527929 w 6248400"/>
              <a:gd name="connsiteY317" fmla="*/ 4400112 h 5627901"/>
              <a:gd name="connsiteX318" fmla="*/ 1497013 w 6248400"/>
              <a:gd name="connsiteY318" fmla="*/ 4391978 h 5627901"/>
              <a:gd name="connsiteX319" fmla="*/ 1466096 w 6248400"/>
              <a:gd name="connsiteY319" fmla="*/ 4385472 h 5627901"/>
              <a:gd name="connsiteX320" fmla="*/ 1435180 w 6248400"/>
              <a:gd name="connsiteY320" fmla="*/ 4382218 h 5627901"/>
              <a:gd name="connsiteX321" fmla="*/ 1407517 w 6248400"/>
              <a:gd name="connsiteY321" fmla="*/ 4382218 h 5627901"/>
              <a:gd name="connsiteX322" fmla="*/ 1381482 w 6248400"/>
              <a:gd name="connsiteY322" fmla="*/ 4387098 h 5627901"/>
              <a:gd name="connsiteX323" fmla="*/ 1363583 w 6248400"/>
              <a:gd name="connsiteY323" fmla="*/ 4395232 h 5627901"/>
              <a:gd name="connsiteX324" fmla="*/ 1350566 w 6248400"/>
              <a:gd name="connsiteY324" fmla="*/ 4408245 h 5627901"/>
              <a:gd name="connsiteX325" fmla="*/ 1322904 w 6248400"/>
              <a:gd name="connsiteY325" fmla="*/ 4444031 h 5627901"/>
              <a:gd name="connsiteX326" fmla="*/ 1295241 w 6248400"/>
              <a:gd name="connsiteY326" fmla="*/ 4470058 h 5627901"/>
              <a:gd name="connsiteX327" fmla="*/ 1262698 w 6248400"/>
              <a:gd name="connsiteY327" fmla="*/ 4487951 h 5627901"/>
              <a:gd name="connsiteX328" fmla="*/ 1228527 w 6248400"/>
              <a:gd name="connsiteY328" fmla="*/ 4500964 h 5627901"/>
              <a:gd name="connsiteX329" fmla="*/ 1192729 w 6248400"/>
              <a:gd name="connsiteY329" fmla="*/ 4509098 h 5627901"/>
              <a:gd name="connsiteX330" fmla="*/ 1156930 w 6248400"/>
              <a:gd name="connsiteY330" fmla="*/ 4512351 h 5627901"/>
              <a:gd name="connsiteX331" fmla="*/ 1121132 w 6248400"/>
              <a:gd name="connsiteY331" fmla="*/ 4515604 h 5627901"/>
              <a:gd name="connsiteX332" fmla="*/ 1083707 w 6248400"/>
              <a:gd name="connsiteY332" fmla="*/ 4517231 h 5627901"/>
              <a:gd name="connsiteX333" fmla="*/ 1046282 w 6248400"/>
              <a:gd name="connsiteY333" fmla="*/ 4522111 h 5627901"/>
              <a:gd name="connsiteX334" fmla="*/ 1013738 w 6248400"/>
              <a:gd name="connsiteY334" fmla="*/ 4528618 h 5627901"/>
              <a:gd name="connsiteX335" fmla="*/ 979567 w 6248400"/>
              <a:gd name="connsiteY335" fmla="*/ 4540004 h 5627901"/>
              <a:gd name="connsiteX336" fmla="*/ 968177 w 6248400"/>
              <a:gd name="connsiteY336" fmla="*/ 4540004 h 5627901"/>
              <a:gd name="connsiteX337" fmla="*/ 953532 w 6248400"/>
              <a:gd name="connsiteY337" fmla="*/ 4535124 h 5627901"/>
              <a:gd name="connsiteX338" fmla="*/ 938887 w 6248400"/>
              <a:gd name="connsiteY338" fmla="*/ 4525364 h 5627901"/>
              <a:gd name="connsiteX339" fmla="*/ 924243 w 6248400"/>
              <a:gd name="connsiteY339" fmla="*/ 4513978 h 5627901"/>
              <a:gd name="connsiteX340" fmla="*/ 909598 w 6248400"/>
              <a:gd name="connsiteY340" fmla="*/ 4504218 h 5627901"/>
              <a:gd name="connsiteX341" fmla="*/ 901462 w 6248400"/>
              <a:gd name="connsiteY341" fmla="*/ 4535124 h 5627901"/>
              <a:gd name="connsiteX342" fmla="*/ 888445 w 6248400"/>
              <a:gd name="connsiteY342" fmla="*/ 4569284 h 5627901"/>
              <a:gd name="connsiteX343" fmla="*/ 867291 w 6248400"/>
              <a:gd name="connsiteY343" fmla="*/ 4603444 h 5627901"/>
              <a:gd name="connsiteX344" fmla="*/ 841256 w 6248400"/>
              <a:gd name="connsiteY344" fmla="*/ 4637604 h 5627901"/>
              <a:gd name="connsiteX345" fmla="*/ 808713 w 6248400"/>
              <a:gd name="connsiteY345" fmla="*/ 4671764 h 5627901"/>
              <a:gd name="connsiteX346" fmla="*/ 776169 w 6248400"/>
              <a:gd name="connsiteY346" fmla="*/ 4704297 h 5627901"/>
              <a:gd name="connsiteX347" fmla="*/ 740370 w 6248400"/>
              <a:gd name="connsiteY347" fmla="*/ 4736830 h 5627901"/>
              <a:gd name="connsiteX348" fmla="*/ 702945 w 6248400"/>
              <a:gd name="connsiteY348" fmla="*/ 4766110 h 5627901"/>
              <a:gd name="connsiteX349" fmla="*/ 667147 w 6248400"/>
              <a:gd name="connsiteY349" fmla="*/ 4788883 h 5627901"/>
              <a:gd name="connsiteX350" fmla="*/ 632976 w 6248400"/>
              <a:gd name="connsiteY350" fmla="*/ 4808403 h 5627901"/>
              <a:gd name="connsiteX351" fmla="*/ 600432 w 6248400"/>
              <a:gd name="connsiteY351" fmla="*/ 4823043 h 5627901"/>
              <a:gd name="connsiteX352" fmla="*/ 571143 w 6248400"/>
              <a:gd name="connsiteY352" fmla="*/ 4829549 h 5627901"/>
              <a:gd name="connsiteX353" fmla="*/ 546735 w 6248400"/>
              <a:gd name="connsiteY353" fmla="*/ 4829549 h 5627901"/>
              <a:gd name="connsiteX354" fmla="*/ 533718 w 6248400"/>
              <a:gd name="connsiteY354" fmla="*/ 4858829 h 5627901"/>
              <a:gd name="connsiteX355" fmla="*/ 519073 w 6248400"/>
              <a:gd name="connsiteY355" fmla="*/ 4886482 h 5627901"/>
              <a:gd name="connsiteX356" fmla="*/ 504428 w 6248400"/>
              <a:gd name="connsiteY356" fmla="*/ 4919016 h 5627901"/>
              <a:gd name="connsiteX357" fmla="*/ 484902 w 6248400"/>
              <a:gd name="connsiteY357" fmla="*/ 4956429 h 5627901"/>
              <a:gd name="connsiteX358" fmla="*/ 462121 w 6248400"/>
              <a:gd name="connsiteY358" fmla="*/ 5001975 h 5627901"/>
              <a:gd name="connsiteX359" fmla="*/ 400288 w 6248400"/>
              <a:gd name="connsiteY359" fmla="*/ 4894616 h 5627901"/>
              <a:gd name="connsiteX360" fmla="*/ 340082 w 6248400"/>
              <a:gd name="connsiteY360" fmla="*/ 4793763 h 5627901"/>
              <a:gd name="connsiteX361" fmla="*/ 286385 w 6248400"/>
              <a:gd name="connsiteY361" fmla="*/ 4699417 h 5627901"/>
              <a:gd name="connsiteX362" fmla="*/ 232688 w 6248400"/>
              <a:gd name="connsiteY362" fmla="*/ 4608324 h 5627901"/>
              <a:gd name="connsiteX363" fmla="*/ 177364 w 6248400"/>
              <a:gd name="connsiteY363" fmla="*/ 4522111 h 5627901"/>
              <a:gd name="connsiteX364" fmla="*/ 138311 w 6248400"/>
              <a:gd name="connsiteY364" fmla="*/ 4470058 h 5627901"/>
              <a:gd name="connsiteX365" fmla="*/ 92750 w 6248400"/>
              <a:gd name="connsiteY365" fmla="*/ 4422885 h 5627901"/>
              <a:gd name="connsiteX366" fmla="*/ 45561 w 6248400"/>
              <a:gd name="connsiteY366" fmla="*/ 4375712 h 5627901"/>
              <a:gd name="connsiteX367" fmla="*/ 0 w 6248400"/>
              <a:gd name="connsiteY367" fmla="*/ 4330165 h 5627901"/>
              <a:gd name="connsiteX368" fmla="*/ 0 w 6248400"/>
              <a:gd name="connsiteY368" fmla="*/ 3939767 h 5627901"/>
              <a:gd name="connsiteX369" fmla="*/ 104140 w 6248400"/>
              <a:gd name="connsiteY369" fmla="*/ 3912114 h 5627901"/>
              <a:gd name="connsiteX370" fmla="*/ 209907 w 6248400"/>
              <a:gd name="connsiteY370" fmla="*/ 3882834 h 5627901"/>
              <a:gd name="connsiteX371" fmla="*/ 193635 w 6248400"/>
              <a:gd name="connsiteY371" fmla="*/ 3838914 h 5627901"/>
              <a:gd name="connsiteX372" fmla="*/ 183872 w 6248400"/>
              <a:gd name="connsiteY372" fmla="*/ 3801501 h 5627901"/>
              <a:gd name="connsiteX373" fmla="*/ 182245 w 6248400"/>
              <a:gd name="connsiteY373" fmla="*/ 3765715 h 5627901"/>
              <a:gd name="connsiteX374" fmla="*/ 187127 w 6248400"/>
              <a:gd name="connsiteY374" fmla="*/ 3734808 h 5627901"/>
              <a:gd name="connsiteX375" fmla="*/ 200144 w 6248400"/>
              <a:gd name="connsiteY375" fmla="*/ 3707155 h 5627901"/>
              <a:gd name="connsiteX376" fmla="*/ 218043 w 6248400"/>
              <a:gd name="connsiteY376" fmla="*/ 3682755 h 5627901"/>
              <a:gd name="connsiteX377" fmla="*/ 240824 w 6248400"/>
              <a:gd name="connsiteY377" fmla="*/ 3659982 h 5627901"/>
              <a:gd name="connsiteX378" fmla="*/ 268486 w 6248400"/>
              <a:gd name="connsiteY378" fmla="*/ 3638835 h 5627901"/>
              <a:gd name="connsiteX379" fmla="*/ 299403 w 6248400"/>
              <a:gd name="connsiteY379" fmla="*/ 3619315 h 5627901"/>
              <a:gd name="connsiteX380" fmla="*/ 333574 w 6248400"/>
              <a:gd name="connsiteY380" fmla="*/ 3603049 h 5627901"/>
              <a:gd name="connsiteX381" fmla="*/ 359609 w 6248400"/>
              <a:gd name="connsiteY381" fmla="*/ 3583529 h 5627901"/>
              <a:gd name="connsiteX382" fmla="*/ 380762 w 6248400"/>
              <a:gd name="connsiteY382" fmla="*/ 3559129 h 5627901"/>
              <a:gd name="connsiteX383" fmla="*/ 397034 w 6248400"/>
              <a:gd name="connsiteY383" fmla="*/ 3531476 h 5627901"/>
              <a:gd name="connsiteX384" fmla="*/ 411679 w 6248400"/>
              <a:gd name="connsiteY384" fmla="*/ 3495689 h 5627901"/>
              <a:gd name="connsiteX385" fmla="*/ 426323 w 6248400"/>
              <a:gd name="connsiteY385" fmla="*/ 3461529 h 5627901"/>
              <a:gd name="connsiteX386" fmla="*/ 440968 w 6248400"/>
              <a:gd name="connsiteY386" fmla="*/ 3430623 h 5627901"/>
              <a:gd name="connsiteX387" fmla="*/ 458867 w 6248400"/>
              <a:gd name="connsiteY387" fmla="*/ 3402970 h 5627901"/>
              <a:gd name="connsiteX388" fmla="*/ 478393 w 6248400"/>
              <a:gd name="connsiteY388" fmla="*/ 3380197 h 5627901"/>
              <a:gd name="connsiteX389" fmla="*/ 501174 w 6248400"/>
              <a:gd name="connsiteY389" fmla="*/ 3360677 h 5627901"/>
              <a:gd name="connsiteX390" fmla="*/ 525582 w 6248400"/>
              <a:gd name="connsiteY390" fmla="*/ 3349290 h 5627901"/>
              <a:gd name="connsiteX391" fmla="*/ 556498 w 6248400"/>
              <a:gd name="connsiteY391" fmla="*/ 3344410 h 5627901"/>
              <a:gd name="connsiteX392" fmla="*/ 589042 w 6248400"/>
              <a:gd name="connsiteY392" fmla="*/ 3346037 h 5627901"/>
              <a:gd name="connsiteX393" fmla="*/ 626467 w 6248400"/>
              <a:gd name="connsiteY393" fmla="*/ 3357423 h 5627901"/>
              <a:gd name="connsiteX394" fmla="*/ 681792 w 6248400"/>
              <a:gd name="connsiteY394" fmla="*/ 3267957 h 5627901"/>
              <a:gd name="connsiteX395" fmla="*/ 730607 w 6248400"/>
              <a:gd name="connsiteY395" fmla="*/ 3186624 h 5627901"/>
              <a:gd name="connsiteX396" fmla="*/ 756185 w 6248400"/>
              <a:gd name="connsiteY396" fmla="*/ 3141878 h 5627901"/>
              <a:gd name="connsiteX397" fmla="*/ 723753 w 6248400"/>
              <a:gd name="connsiteY397" fmla="*/ 3127588 h 5627901"/>
              <a:gd name="connsiteX398" fmla="*/ 582846 w 6248400"/>
              <a:gd name="connsiteY398" fmla="*/ 3065120 h 5627901"/>
              <a:gd name="connsiteX399" fmla="*/ 438735 w 6248400"/>
              <a:gd name="connsiteY399" fmla="*/ 2999449 h 5627901"/>
              <a:gd name="connsiteX400" fmla="*/ 481969 w 6248400"/>
              <a:gd name="connsiteY400" fmla="*/ 2972219 h 5627901"/>
              <a:gd name="connsiteX401" fmla="*/ 518797 w 6248400"/>
              <a:gd name="connsiteY401" fmla="*/ 2941786 h 5627901"/>
              <a:gd name="connsiteX402" fmla="*/ 546017 w 6248400"/>
              <a:gd name="connsiteY402" fmla="*/ 2911353 h 5627901"/>
              <a:gd name="connsiteX403" fmla="*/ 565232 w 6248400"/>
              <a:gd name="connsiteY403" fmla="*/ 2879319 h 5627901"/>
              <a:gd name="connsiteX404" fmla="*/ 579643 w 6248400"/>
              <a:gd name="connsiteY404" fmla="*/ 2844080 h 5627901"/>
              <a:gd name="connsiteX405" fmla="*/ 587649 w 6248400"/>
              <a:gd name="connsiteY405" fmla="*/ 2808842 h 5627901"/>
              <a:gd name="connsiteX406" fmla="*/ 590852 w 6248400"/>
              <a:gd name="connsiteY406" fmla="*/ 2775206 h 5627901"/>
              <a:gd name="connsiteX407" fmla="*/ 589251 w 6248400"/>
              <a:gd name="connsiteY407" fmla="*/ 2738366 h 5627901"/>
              <a:gd name="connsiteX408" fmla="*/ 584447 w 6248400"/>
              <a:gd name="connsiteY408" fmla="*/ 2701526 h 5627901"/>
              <a:gd name="connsiteX409" fmla="*/ 578042 w 6248400"/>
              <a:gd name="connsiteY409" fmla="*/ 2663084 h 5627901"/>
              <a:gd name="connsiteX410" fmla="*/ 570036 w 6248400"/>
              <a:gd name="connsiteY410" fmla="*/ 2624642 h 5627901"/>
              <a:gd name="connsiteX411" fmla="*/ 560428 w 6248400"/>
              <a:gd name="connsiteY411" fmla="*/ 2587802 h 5627901"/>
              <a:gd name="connsiteX412" fmla="*/ 554024 w 6248400"/>
              <a:gd name="connsiteY412" fmla="*/ 2549361 h 5627901"/>
              <a:gd name="connsiteX413" fmla="*/ 549220 w 6248400"/>
              <a:gd name="connsiteY413" fmla="*/ 2522131 h 5627901"/>
              <a:gd name="connsiteX414" fmla="*/ 546017 w 6248400"/>
              <a:gd name="connsiteY414" fmla="*/ 2494902 h 5627901"/>
              <a:gd name="connsiteX415" fmla="*/ 546017 w 6248400"/>
              <a:gd name="connsiteY415" fmla="*/ 2464469 h 5627901"/>
              <a:gd name="connsiteX416" fmla="*/ 544416 w 6248400"/>
              <a:gd name="connsiteY416" fmla="*/ 2437239 h 5627901"/>
              <a:gd name="connsiteX417" fmla="*/ 542815 w 6248400"/>
              <a:gd name="connsiteY417" fmla="*/ 2410009 h 5627901"/>
              <a:gd name="connsiteX418" fmla="*/ 539613 w 6248400"/>
              <a:gd name="connsiteY418" fmla="*/ 2385983 h 5627901"/>
              <a:gd name="connsiteX419" fmla="*/ 533208 w 6248400"/>
              <a:gd name="connsiteY419" fmla="*/ 2366763 h 5627901"/>
              <a:gd name="connsiteX420" fmla="*/ 520398 w 6248400"/>
              <a:gd name="connsiteY420" fmla="*/ 2353949 h 5627901"/>
              <a:gd name="connsiteX421" fmla="*/ 478766 w 6248400"/>
              <a:gd name="connsiteY421" fmla="*/ 2328321 h 5627901"/>
              <a:gd name="connsiteX422" fmla="*/ 433932 w 6248400"/>
              <a:gd name="connsiteY422" fmla="*/ 2307498 h 5627901"/>
              <a:gd name="connsiteX423" fmla="*/ 385895 w 6248400"/>
              <a:gd name="connsiteY423" fmla="*/ 2289879 h 5627901"/>
              <a:gd name="connsiteX424" fmla="*/ 337858 w 6248400"/>
              <a:gd name="connsiteY424" fmla="*/ 2275463 h 5627901"/>
              <a:gd name="connsiteX425" fmla="*/ 288220 w 6248400"/>
              <a:gd name="connsiteY425" fmla="*/ 2261048 h 5627901"/>
              <a:gd name="connsiteX426" fmla="*/ 238583 w 6248400"/>
              <a:gd name="connsiteY426" fmla="*/ 2245031 h 5627901"/>
              <a:gd name="connsiteX427" fmla="*/ 184141 w 6248400"/>
              <a:gd name="connsiteY427" fmla="*/ 2225810 h 5627901"/>
              <a:gd name="connsiteX428" fmla="*/ 126497 w 6248400"/>
              <a:gd name="connsiteY428" fmla="*/ 2208191 h 5627901"/>
              <a:gd name="connsiteX429" fmla="*/ 65650 w 6248400"/>
              <a:gd name="connsiteY429" fmla="*/ 2188970 h 5627901"/>
              <a:gd name="connsiteX430" fmla="*/ 0 w 6248400"/>
              <a:gd name="connsiteY430" fmla="*/ 2168147 h 5627901"/>
              <a:gd name="connsiteX431" fmla="*/ 41632 w 6248400"/>
              <a:gd name="connsiteY431" fmla="*/ 2124900 h 5627901"/>
              <a:gd name="connsiteX432" fmla="*/ 83264 w 6248400"/>
              <a:gd name="connsiteY432" fmla="*/ 2086459 h 5627901"/>
              <a:gd name="connsiteX433" fmla="*/ 126497 w 6248400"/>
              <a:gd name="connsiteY433" fmla="*/ 2051220 h 5627901"/>
              <a:gd name="connsiteX434" fmla="*/ 169730 w 6248400"/>
              <a:gd name="connsiteY434" fmla="*/ 2020787 h 5627901"/>
              <a:gd name="connsiteX435" fmla="*/ 214564 w 6248400"/>
              <a:gd name="connsiteY435" fmla="*/ 1996761 h 5627901"/>
              <a:gd name="connsiteX436" fmla="*/ 262601 w 6248400"/>
              <a:gd name="connsiteY436" fmla="*/ 1979142 h 5627901"/>
              <a:gd name="connsiteX437" fmla="*/ 310638 w 6248400"/>
              <a:gd name="connsiteY437" fmla="*/ 1969532 h 5627901"/>
              <a:gd name="connsiteX438" fmla="*/ 365079 w 6248400"/>
              <a:gd name="connsiteY438" fmla="*/ 1964726 h 5627901"/>
              <a:gd name="connsiteX439" fmla="*/ 401907 w 6248400"/>
              <a:gd name="connsiteY439" fmla="*/ 1963125 h 5627901"/>
              <a:gd name="connsiteX440" fmla="*/ 430729 w 6248400"/>
              <a:gd name="connsiteY440" fmla="*/ 1956718 h 5627901"/>
              <a:gd name="connsiteX441" fmla="*/ 454748 w 6248400"/>
              <a:gd name="connsiteY441" fmla="*/ 1943904 h 5627901"/>
              <a:gd name="connsiteX442" fmla="*/ 472361 w 6248400"/>
              <a:gd name="connsiteY442" fmla="*/ 1926285 h 5627901"/>
              <a:gd name="connsiteX443" fmla="*/ 483570 w 6248400"/>
              <a:gd name="connsiteY443" fmla="*/ 1902259 h 5627901"/>
              <a:gd name="connsiteX444" fmla="*/ 493177 w 6248400"/>
              <a:gd name="connsiteY444" fmla="*/ 1873427 h 5627901"/>
              <a:gd name="connsiteX445" fmla="*/ 497981 w 6248400"/>
              <a:gd name="connsiteY445" fmla="*/ 1838189 h 5627901"/>
              <a:gd name="connsiteX446" fmla="*/ 515594 w 6248400"/>
              <a:gd name="connsiteY446" fmla="*/ 1679617 h 5627901"/>
              <a:gd name="connsiteX447" fmla="*/ 536410 w 6248400"/>
              <a:gd name="connsiteY447" fmla="*/ 1519443 h 5627901"/>
              <a:gd name="connsiteX448" fmla="*/ 558827 w 6248400"/>
              <a:gd name="connsiteY448" fmla="*/ 1360871 h 5627901"/>
              <a:gd name="connsiteX449" fmla="*/ 560428 w 6248400"/>
              <a:gd name="connsiteY449" fmla="*/ 1338447 h 5627901"/>
              <a:gd name="connsiteX450" fmla="*/ 562030 w 6248400"/>
              <a:gd name="connsiteY450" fmla="*/ 1314421 h 5627901"/>
              <a:gd name="connsiteX451" fmla="*/ 565232 w 6248400"/>
              <a:gd name="connsiteY451" fmla="*/ 1290395 h 5627901"/>
              <a:gd name="connsiteX452" fmla="*/ 570036 w 6248400"/>
              <a:gd name="connsiteY452" fmla="*/ 1267970 h 5627901"/>
              <a:gd name="connsiteX453" fmla="*/ 576441 w 6248400"/>
              <a:gd name="connsiteY453" fmla="*/ 1247148 h 5627901"/>
              <a:gd name="connsiteX454" fmla="*/ 587649 w 6248400"/>
              <a:gd name="connsiteY454" fmla="*/ 1229529 h 5627901"/>
              <a:gd name="connsiteX455" fmla="*/ 602060 w 6248400"/>
              <a:gd name="connsiteY455" fmla="*/ 1211909 h 5627901"/>
              <a:gd name="connsiteX456" fmla="*/ 626079 w 6248400"/>
              <a:gd name="connsiteY456" fmla="*/ 1199096 h 5627901"/>
              <a:gd name="connsiteX457" fmla="*/ 653300 w 6248400"/>
              <a:gd name="connsiteY457" fmla="*/ 1189485 h 5627901"/>
              <a:gd name="connsiteX458" fmla="*/ 693330 w 6248400"/>
              <a:gd name="connsiteY458" fmla="*/ 1181476 h 5627901"/>
              <a:gd name="connsiteX459" fmla="*/ 731760 w 6248400"/>
              <a:gd name="connsiteY459" fmla="*/ 1175069 h 5627901"/>
              <a:gd name="connsiteX460" fmla="*/ 768588 w 6248400"/>
              <a:gd name="connsiteY460" fmla="*/ 1176671 h 5627901"/>
              <a:gd name="connsiteX461" fmla="*/ 803814 w 6248400"/>
              <a:gd name="connsiteY461" fmla="*/ 1186282 h 5627901"/>
              <a:gd name="connsiteX462" fmla="*/ 837440 w 6248400"/>
              <a:gd name="connsiteY462" fmla="*/ 1202299 h 5627901"/>
              <a:gd name="connsiteX463" fmla="*/ 869465 w 6248400"/>
              <a:gd name="connsiteY463" fmla="*/ 1226325 h 5627901"/>
              <a:gd name="connsiteX464" fmla="*/ 899888 w 6248400"/>
              <a:gd name="connsiteY464" fmla="*/ 1261563 h 5627901"/>
              <a:gd name="connsiteX465" fmla="*/ 917501 w 6248400"/>
              <a:gd name="connsiteY465" fmla="*/ 1232732 h 5627901"/>
              <a:gd name="connsiteX466" fmla="*/ 933514 w 6248400"/>
              <a:gd name="connsiteY466" fmla="*/ 1208706 h 5627901"/>
              <a:gd name="connsiteX467" fmla="*/ 946323 w 6248400"/>
              <a:gd name="connsiteY467" fmla="*/ 1184680 h 5627901"/>
              <a:gd name="connsiteX468" fmla="*/ 973544 w 6248400"/>
              <a:gd name="connsiteY468" fmla="*/ 1152645 h 5627901"/>
              <a:gd name="connsiteX469" fmla="*/ 999164 w 6248400"/>
              <a:gd name="connsiteY469" fmla="*/ 1130221 h 5627901"/>
              <a:gd name="connsiteX470" fmla="*/ 1021581 w 6248400"/>
              <a:gd name="connsiteY470" fmla="*/ 1115805 h 5627901"/>
              <a:gd name="connsiteX471" fmla="*/ 1045599 w 6248400"/>
              <a:gd name="connsiteY471" fmla="*/ 1112602 h 5627901"/>
              <a:gd name="connsiteX472" fmla="*/ 1069618 w 6248400"/>
              <a:gd name="connsiteY472" fmla="*/ 1117407 h 5627901"/>
              <a:gd name="connsiteX473" fmla="*/ 1092035 w 6248400"/>
              <a:gd name="connsiteY473" fmla="*/ 1133424 h 5627901"/>
              <a:gd name="connsiteX474" fmla="*/ 1114452 w 6248400"/>
              <a:gd name="connsiteY474" fmla="*/ 1160654 h 5627901"/>
              <a:gd name="connsiteX475" fmla="*/ 1136869 w 6248400"/>
              <a:gd name="connsiteY475" fmla="*/ 1194290 h 5627901"/>
              <a:gd name="connsiteX476" fmla="*/ 1194513 w 6248400"/>
              <a:gd name="connsiteY476" fmla="*/ 1298403 h 5627901"/>
              <a:gd name="connsiteX477" fmla="*/ 1248955 w 6248400"/>
              <a:gd name="connsiteY477" fmla="*/ 1400915 h 5627901"/>
              <a:gd name="connsiteX478" fmla="*/ 1261764 w 6248400"/>
              <a:gd name="connsiteY478" fmla="*/ 1261563 h 5627901"/>
              <a:gd name="connsiteX479" fmla="*/ 1274574 w 6248400"/>
              <a:gd name="connsiteY479" fmla="*/ 1117407 h 5627901"/>
              <a:gd name="connsiteX480" fmla="*/ 1292188 w 6248400"/>
              <a:gd name="connsiteY480" fmla="*/ 974852 h 5627901"/>
              <a:gd name="connsiteX481" fmla="*/ 1301795 w 6248400"/>
              <a:gd name="connsiteY481" fmla="*/ 926800 h 5627901"/>
              <a:gd name="connsiteX482" fmla="*/ 1309801 w 6248400"/>
              <a:gd name="connsiteY482" fmla="*/ 880350 h 5627901"/>
              <a:gd name="connsiteX483" fmla="*/ 1324212 w 6248400"/>
              <a:gd name="connsiteY483" fmla="*/ 835501 h 5627901"/>
              <a:gd name="connsiteX484" fmla="*/ 1341826 w 6248400"/>
              <a:gd name="connsiteY484" fmla="*/ 789051 h 5627901"/>
              <a:gd name="connsiteX485" fmla="*/ 1364243 w 6248400"/>
              <a:gd name="connsiteY485" fmla="*/ 749007 h 5627901"/>
              <a:gd name="connsiteX486" fmla="*/ 1378654 w 6248400"/>
              <a:gd name="connsiteY486" fmla="*/ 729786 h 5627901"/>
              <a:gd name="connsiteX487" fmla="*/ 1396267 w 6248400"/>
              <a:gd name="connsiteY487" fmla="*/ 710565 h 5627901"/>
              <a:gd name="connsiteX488" fmla="*/ 1415482 w 6248400"/>
              <a:gd name="connsiteY488" fmla="*/ 691344 h 5627901"/>
              <a:gd name="connsiteX489" fmla="*/ 1437899 w 6248400"/>
              <a:gd name="connsiteY489" fmla="*/ 673725 h 5627901"/>
              <a:gd name="connsiteX490" fmla="*/ 1458715 w 6248400"/>
              <a:gd name="connsiteY490" fmla="*/ 660911 h 5627901"/>
              <a:gd name="connsiteX491" fmla="*/ 1479531 w 6248400"/>
              <a:gd name="connsiteY491" fmla="*/ 649699 h 5627901"/>
              <a:gd name="connsiteX492" fmla="*/ 1500347 w 6248400"/>
              <a:gd name="connsiteY492" fmla="*/ 644894 h 5627901"/>
              <a:gd name="connsiteX493" fmla="*/ 1516359 w 6248400"/>
              <a:gd name="connsiteY493" fmla="*/ 646496 h 5627901"/>
              <a:gd name="connsiteX494" fmla="*/ 1559592 w 6248400"/>
              <a:gd name="connsiteY494" fmla="*/ 662513 h 5627901"/>
              <a:gd name="connsiteX495" fmla="*/ 1601224 w 6248400"/>
              <a:gd name="connsiteY495" fmla="*/ 688141 h 5627901"/>
              <a:gd name="connsiteX496" fmla="*/ 1641254 w 6248400"/>
              <a:gd name="connsiteY496" fmla="*/ 718574 h 5627901"/>
              <a:gd name="connsiteX497" fmla="*/ 1676481 w 6248400"/>
              <a:gd name="connsiteY497" fmla="*/ 752211 h 5627901"/>
              <a:gd name="connsiteX498" fmla="*/ 1708506 w 6248400"/>
              <a:gd name="connsiteY498" fmla="*/ 790652 h 5627901"/>
              <a:gd name="connsiteX499" fmla="*/ 1722917 w 6248400"/>
              <a:gd name="connsiteY499" fmla="*/ 817882 h 5627901"/>
              <a:gd name="connsiteX500" fmla="*/ 1732524 w 6248400"/>
              <a:gd name="connsiteY500" fmla="*/ 849917 h 5627901"/>
              <a:gd name="connsiteX501" fmla="*/ 1740530 w 6248400"/>
              <a:gd name="connsiteY501" fmla="*/ 885155 h 5627901"/>
              <a:gd name="connsiteX502" fmla="*/ 1745334 w 6248400"/>
              <a:gd name="connsiteY502" fmla="*/ 923597 h 5627901"/>
              <a:gd name="connsiteX503" fmla="*/ 1751739 w 6248400"/>
              <a:gd name="connsiteY503" fmla="*/ 963640 h 5627901"/>
              <a:gd name="connsiteX504" fmla="*/ 1759745 w 6248400"/>
              <a:gd name="connsiteY504" fmla="*/ 1008489 h 5627901"/>
              <a:gd name="connsiteX505" fmla="*/ 1798174 w 6248400"/>
              <a:gd name="connsiteY505" fmla="*/ 958835 h 5627901"/>
              <a:gd name="connsiteX506" fmla="*/ 1838205 w 6248400"/>
              <a:gd name="connsiteY506" fmla="*/ 920393 h 5627901"/>
              <a:gd name="connsiteX507" fmla="*/ 1879837 w 6248400"/>
              <a:gd name="connsiteY507" fmla="*/ 893164 h 5627901"/>
              <a:gd name="connsiteX508" fmla="*/ 1923070 w 6248400"/>
              <a:gd name="connsiteY508" fmla="*/ 873943 h 5627901"/>
              <a:gd name="connsiteX509" fmla="*/ 1966303 w 6248400"/>
              <a:gd name="connsiteY509" fmla="*/ 864332 h 5627901"/>
              <a:gd name="connsiteX510" fmla="*/ 2012738 w 6248400"/>
              <a:gd name="connsiteY510" fmla="*/ 864332 h 5627901"/>
              <a:gd name="connsiteX511" fmla="*/ 2060775 w 6248400"/>
              <a:gd name="connsiteY511" fmla="*/ 875544 h 5627901"/>
              <a:gd name="connsiteX512" fmla="*/ 2110413 w 6248400"/>
              <a:gd name="connsiteY512" fmla="*/ 894765 h 5627901"/>
              <a:gd name="connsiteX513" fmla="*/ 2160051 w 6248400"/>
              <a:gd name="connsiteY513" fmla="*/ 925198 h 5627901"/>
              <a:gd name="connsiteX514" fmla="*/ 2187272 w 6248400"/>
              <a:gd name="connsiteY514" fmla="*/ 936410 h 5627901"/>
              <a:gd name="connsiteX515" fmla="*/ 2214492 w 6248400"/>
              <a:gd name="connsiteY515" fmla="*/ 944419 h 5627901"/>
              <a:gd name="connsiteX516" fmla="*/ 2246517 w 6248400"/>
              <a:gd name="connsiteY516" fmla="*/ 949224 h 5627901"/>
              <a:gd name="connsiteX517" fmla="*/ 2281744 w 6248400"/>
              <a:gd name="connsiteY517" fmla="*/ 954030 h 5627901"/>
              <a:gd name="connsiteX518" fmla="*/ 2316971 w 6248400"/>
              <a:gd name="connsiteY518" fmla="*/ 958835 h 5627901"/>
              <a:gd name="connsiteX519" fmla="*/ 2300959 w 6248400"/>
              <a:gd name="connsiteY519" fmla="*/ 915588 h 5627901"/>
              <a:gd name="connsiteX520" fmla="*/ 2286548 w 6248400"/>
              <a:gd name="connsiteY520" fmla="*/ 877146 h 5627901"/>
              <a:gd name="connsiteX521" fmla="*/ 2273738 w 6248400"/>
              <a:gd name="connsiteY521" fmla="*/ 841908 h 5627901"/>
              <a:gd name="connsiteX522" fmla="*/ 2262529 w 6248400"/>
              <a:gd name="connsiteY522" fmla="*/ 806670 h 5627901"/>
              <a:gd name="connsiteX523" fmla="*/ 2324977 w 6248400"/>
              <a:gd name="connsiteY523" fmla="*/ 830696 h 5627901"/>
              <a:gd name="connsiteX524" fmla="*/ 2389026 w 6248400"/>
              <a:gd name="connsiteY524" fmla="*/ 854722 h 5627901"/>
              <a:gd name="connsiteX525" fmla="*/ 2454676 w 6248400"/>
              <a:gd name="connsiteY525" fmla="*/ 873943 h 5627901"/>
              <a:gd name="connsiteX526" fmla="*/ 2520326 w 6248400"/>
              <a:gd name="connsiteY526" fmla="*/ 891562 h 5627901"/>
              <a:gd name="connsiteX527" fmla="*/ 2585976 w 6248400"/>
              <a:gd name="connsiteY527" fmla="*/ 910783 h 5627901"/>
              <a:gd name="connsiteX528" fmla="*/ 2624152 w 6248400"/>
              <a:gd name="connsiteY528" fmla="*/ 922239 h 5627901"/>
              <a:gd name="connsiteX529" fmla="*/ 2722285 w 6248400"/>
              <a:gd name="connsiteY529" fmla="*/ 811703 h 5627901"/>
              <a:gd name="connsiteX530" fmla="*/ 2756456 w 6248400"/>
              <a:gd name="connsiteY530" fmla="*/ 780796 h 5627901"/>
              <a:gd name="connsiteX531" fmla="*/ 2797135 w 6248400"/>
              <a:gd name="connsiteY531" fmla="*/ 754770 h 5627901"/>
              <a:gd name="connsiteX532" fmla="*/ 2837815 w 6248400"/>
              <a:gd name="connsiteY532" fmla="*/ 731996 h 5627901"/>
              <a:gd name="connsiteX533" fmla="*/ 2881749 w 6248400"/>
              <a:gd name="connsiteY533" fmla="*/ 710850 h 5627901"/>
              <a:gd name="connsiteX534" fmla="*/ 2941955 w 6248400"/>
              <a:gd name="connsiteY534" fmla="*/ 683197 h 5627901"/>
              <a:gd name="connsiteX535" fmla="*/ 3007043 w 6248400"/>
              <a:gd name="connsiteY535" fmla="*/ 658797 h 5627901"/>
              <a:gd name="connsiteX536" fmla="*/ 3067249 w 6248400"/>
              <a:gd name="connsiteY536" fmla="*/ 629517 h 5627901"/>
              <a:gd name="connsiteX537" fmla="*/ 3101420 w 6248400"/>
              <a:gd name="connsiteY537" fmla="*/ 609997 h 5627901"/>
              <a:gd name="connsiteX538" fmla="*/ 3132336 w 6248400"/>
              <a:gd name="connsiteY538" fmla="*/ 583971 h 5627901"/>
              <a:gd name="connsiteX539" fmla="*/ 3163253 w 6248400"/>
              <a:gd name="connsiteY539" fmla="*/ 557944 h 5627901"/>
              <a:gd name="connsiteX540" fmla="*/ 3195797 w 6248400"/>
              <a:gd name="connsiteY540" fmla="*/ 535171 h 5627901"/>
              <a:gd name="connsiteX541" fmla="*/ 3226713 w 6248400"/>
              <a:gd name="connsiteY541" fmla="*/ 518904 h 5627901"/>
              <a:gd name="connsiteX542" fmla="*/ 3259257 w 6248400"/>
              <a:gd name="connsiteY542" fmla="*/ 510771 h 5627901"/>
              <a:gd name="connsiteX543" fmla="*/ 3301564 w 6248400"/>
              <a:gd name="connsiteY543" fmla="*/ 507518 h 5627901"/>
              <a:gd name="connsiteX544" fmla="*/ 3337362 w 6248400"/>
              <a:gd name="connsiteY544" fmla="*/ 496131 h 5627901"/>
              <a:gd name="connsiteX545" fmla="*/ 3368278 w 6248400"/>
              <a:gd name="connsiteY545" fmla="*/ 478238 h 5627901"/>
              <a:gd name="connsiteX546" fmla="*/ 3392686 w 6248400"/>
              <a:gd name="connsiteY546" fmla="*/ 458718 h 5627901"/>
              <a:gd name="connsiteX547" fmla="*/ 3413840 w 6248400"/>
              <a:gd name="connsiteY547" fmla="*/ 434318 h 5627901"/>
              <a:gd name="connsiteX548" fmla="*/ 3431739 w 6248400"/>
              <a:gd name="connsiteY548" fmla="*/ 405038 h 5627901"/>
              <a:gd name="connsiteX549" fmla="*/ 3444756 w 6248400"/>
              <a:gd name="connsiteY549" fmla="*/ 377385 h 5627901"/>
              <a:gd name="connsiteX550" fmla="*/ 3457774 w 6248400"/>
              <a:gd name="connsiteY550" fmla="*/ 346478 h 5627901"/>
              <a:gd name="connsiteX551" fmla="*/ 3469164 w 6248400"/>
              <a:gd name="connsiteY551" fmla="*/ 315572 h 5627901"/>
              <a:gd name="connsiteX552" fmla="*/ 3480554 w 6248400"/>
              <a:gd name="connsiteY552" fmla="*/ 286292 h 5627901"/>
              <a:gd name="connsiteX553" fmla="*/ 3493572 w 6248400"/>
              <a:gd name="connsiteY553" fmla="*/ 257012 h 5627901"/>
              <a:gd name="connsiteX554" fmla="*/ 3508216 w 6248400"/>
              <a:gd name="connsiteY554" fmla="*/ 230986 h 5627901"/>
              <a:gd name="connsiteX555" fmla="*/ 3529370 w 6248400"/>
              <a:gd name="connsiteY555" fmla="*/ 198453 h 5627901"/>
              <a:gd name="connsiteX556" fmla="*/ 3552150 w 6248400"/>
              <a:gd name="connsiteY556" fmla="*/ 169173 h 5627901"/>
              <a:gd name="connsiteX557" fmla="*/ 3574931 w 6248400"/>
              <a:gd name="connsiteY557" fmla="*/ 146399 h 5627901"/>
              <a:gd name="connsiteX558" fmla="*/ 3597712 w 6248400"/>
              <a:gd name="connsiteY558" fmla="*/ 126879 h 5627901"/>
              <a:gd name="connsiteX559" fmla="*/ 3622120 w 6248400"/>
              <a:gd name="connsiteY559" fmla="*/ 115493 h 5627901"/>
              <a:gd name="connsiteX560" fmla="*/ 3649782 w 6248400"/>
              <a:gd name="connsiteY560" fmla="*/ 110613 h 5627901"/>
              <a:gd name="connsiteX561" fmla="*/ 3680698 w 6248400"/>
              <a:gd name="connsiteY561" fmla="*/ 112240 h 5627901"/>
              <a:gd name="connsiteX562" fmla="*/ 3714869 w 6248400"/>
              <a:gd name="connsiteY562" fmla="*/ 123626 h 5627901"/>
              <a:gd name="connsiteX563" fmla="*/ 3753922 w 6248400"/>
              <a:gd name="connsiteY563" fmla="*/ 141519 h 5627901"/>
              <a:gd name="connsiteX564" fmla="*/ 3768566 w 6248400"/>
              <a:gd name="connsiteY564" fmla="*/ 100853 h 5627901"/>
              <a:gd name="connsiteX565" fmla="*/ 3779957 w 6248400"/>
              <a:gd name="connsiteY565" fmla="*/ 66693 h 5627901"/>
              <a:gd name="connsiteX566" fmla="*/ 3792974 w 6248400"/>
              <a:gd name="connsiteY566" fmla="*/ 42293 h 5627901"/>
              <a:gd name="connsiteX567" fmla="*/ 3805992 w 6248400"/>
              <a:gd name="connsiteY567" fmla="*/ 24400 h 5627901"/>
              <a:gd name="connsiteX568" fmla="*/ 3820636 w 6248400"/>
              <a:gd name="connsiteY568" fmla="*/ 11387 h 5627901"/>
              <a:gd name="connsiteX569" fmla="*/ 3840163 w 6248400"/>
              <a:gd name="connsiteY569" fmla="*/ 4880 h 5627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</a:cxnLst>
            <a:rect l="l" t="t" r="r" b="b"/>
            <a:pathLst>
              <a:path w="6248400" h="5627901">
                <a:moveTo>
                  <a:pt x="3866198" y="0"/>
                </a:moveTo>
                <a:lnTo>
                  <a:pt x="3898741" y="0"/>
                </a:lnTo>
                <a:lnTo>
                  <a:pt x="3941048" y="0"/>
                </a:lnTo>
                <a:lnTo>
                  <a:pt x="4051697" y="4880"/>
                </a:lnTo>
                <a:lnTo>
                  <a:pt x="4163973" y="13013"/>
                </a:lnTo>
                <a:lnTo>
                  <a:pt x="4274622" y="29280"/>
                </a:lnTo>
                <a:lnTo>
                  <a:pt x="4331573" y="39040"/>
                </a:lnTo>
                <a:lnTo>
                  <a:pt x="4388525" y="53680"/>
                </a:lnTo>
                <a:lnTo>
                  <a:pt x="4442222" y="71573"/>
                </a:lnTo>
                <a:lnTo>
                  <a:pt x="4491038" y="97600"/>
                </a:lnTo>
                <a:lnTo>
                  <a:pt x="4593551" y="164293"/>
                </a:lnTo>
                <a:lnTo>
                  <a:pt x="4691182" y="239119"/>
                </a:lnTo>
                <a:lnTo>
                  <a:pt x="4792067" y="312319"/>
                </a:lnTo>
                <a:lnTo>
                  <a:pt x="4891326" y="385518"/>
                </a:lnTo>
                <a:lnTo>
                  <a:pt x="4917361" y="369252"/>
                </a:lnTo>
                <a:lnTo>
                  <a:pt x="4949905" y="348105"/>
                </a:lnTo>
                <a:lnTo>
                  <a:pt x="4987330" y="325332"/>
                </a:lnTo>
                <a:lnTo>
                  <a:pt x="5029637" y="297679"/>
                </a:lnTo>
                <a:lnTo>
                  <a:pt x="5057299" y="440825"/>
                </a:lnTo>
                <a:lnTo>
                  <a:pt x="5078452" y="580717"/>
                </a:lnTo>
                <a:lnTo>
                  <a:pt x="5091470" y="718983"/>
                </a:lnTo>
                <a:lnTo>
                  <a:pt x="5099606" y="855623"/>
                </a:lnTo>
                <a:lnTo>
                  <a:pt x="5102860" y="990635"/>
                </a:lnTo>
                <a:lnTo>
                  <a:pt x="5104487" y="1127275"/>
                </a:lnTo>
                <a:lnTo>
                  <a:pt x="5106115" y="1174448"/>
                </a:lnTo>
                <a:lnTo>
                  <a:pt x="5106115" y="1221621"/>
                </a:lnTo>
                <a:lnTo>
                  <a:pt x="5104487" y="1267167"/>
                </a:lnTo>
                <a:lnTo>
                  <a:pt x="5101233" y="1311087"/>
                </a:lnTo>
                <a:lnTo>
                  <a:pt x="5093097" y="1351753"/>
                </a:lnTo>
                <a:lnTo>
                  <a:pt x="5081707" y="1392420"/>
                </a:lnTo>
                <a:lnTo>
                  <a:pt x="5065435" y="1429833"/>
                </a:lnTo>
                <a:lnTo>
                  <a:pt x="5042654" y="1465620"/>
                </a:lnTo>
                <a:lnTo>
                  <a:pt x="5011738" y="1498153"/>
                </a:lnTo>
                <a:lnTo>
                  <a:pt x="4975940" y="1525806"/>
                </a:lnTo>
                <a:lnTo>
                  <a:pt x="4928751" y="1553459"/>
                </a:lnTo>
                <a:lnTo>
                  <a:pt x="4927124" y="1556712"/>
                </a:lnTo>
                <a:lnTo>
                  <a:pt x="4925497" y="1559966"/>
                </a:lnTo>
                <a:lnTo>
                  <a:pt x="4922242" y="1566472"/>
                </a:lnTo>
                <a:lnTo>
                  <a:pt x="4922242" y="1571352"/>
                </a:lnTo>
                <a:lnTo>
                  <a:pt x="4920615" y="1577859"/>
                </a:lnTo>
                <a:lnTo>
                  <a:pt x="4936887" y="1623405"/>
                </a:lnTo>
                <a:lnTo>
                  <a:pt x="4941769" y="1665699"/>
                </a:lnTo>
                <a:lnTo>
                  <a:pt x="4941769" y="1709618"/>
                </a:lnTo>
                <a:lnTo>
                  <a:pt x="4933633" y="1756791"/>
                </a:lnTo>
                <a:lnTo>
                  <a:pt x="4931253" y="1774040"/>
                </a:lnTo>
                <a:lnTo>
                  <a:pt x="4968597" y="1814163"/>
                </a:lnTo>
                <a:lnTo>
                  <a:pt x="5011830" y="1859012"/>
                </a:lnTo>
                <a:lnTo>
                  <a:pt x="5058266" y="1900657"/>
                </a:lnTo>
                <a:lnTo>
                  <a:pt x="5106302" y="1943904"/>
                </a:lnTo>
                <a:lnTo>
                  <a:pt x="5154339" y="1987151"/>
                </a:lnTo>
                <a:lnTo>
                  <a:pt x="5203977" y="2028796"/>
                </a:lnTo>
                <a:lnTo>
                  <a:pt x="5170351" y="2057627"/>
                </a:lnTo>
                <a:lnTo>
                  <a:pt x="5143131" y="2084857"/>
                </a:lnTo>
                <a:lnTo>
                  <a:pt x="5114309" y="2108883"/>
                </a:lnTo>
                <a:lnTo>
                  <a:pt x="5087088" y="2132909"/>
                </a:lnTo>
                <a:lnTo>
                  <a:pt x="5104701" y="2148926"/>
                </a:lnTo>
                <a:lnTo>
                  <a:pt x="5117511" y="2164944"/>
                </a:lnTo>
                <a:lnTo>
                  <a:pt x="5133523" y="2176156"/>
                </a:lnTo>
                <a:lnTo>
                  <a:pt x="5151137" y="2184164"/>
                </a:lnTo>
                <a:lnTo>
                  <a:pt x="5202376" y="2195377"/>
                </a:lnTo>
                <a:lnTo>
                  <a:pt x="5245609" y="2211394"/>
                </a:lnTo>
                <a:lnTo>
                  <a:pt x="5284038" y="2233818"/>
                </a:lnTo>
                <a:lnTo>
                  <a:pt x="5317664" y="2259446"/>
                </a:lnTo>
                <a:lnTo>
                  <a:pt x="5346486" y="2288278"/>
                </a:lnTo>
                <a:lnTo>
                  <a:pt x="5373707" y="2321914"/>
                </a:lnTo>
                <a:lnTo>
                  <a:pt x="5396124" y="2358754"/>
                </a:lnTo>
                <a:lnTo>
                  <a:pt x="5418541" y="2395594"/>
                </a:lnTo>
                <a:lnTo>
                  <a:pt x="5437756" y="2434036"/>
                </a:lnTo>
                <a:lnTo>
                  <a:pt x="5455369" y="2474079"/>
                </a:lnTo>
                <a:lnTo>
                  <a:pt x="5474584" y="2514122"/>
                </a:lnTo>
                <a:lnTo>
                  <a:pt x="5477846" y="2520920"/>
                </a:lnTo>
                <a:lnTo>
                  <a:pt x="5491758" y="2522948"/>
                </a:lnTo>
                <a:lnTo>
                  <a:pt x="5569863" y="2534334"/>
                </a:lnTo>
                <a:lnTo>
                  <a:pt x="5647968" y="2544094"/>
                </a:lnTo>
                <a:lnTo>
                  <a:pt x="5726073" y="2548974"/>
                </a:lnTo>
                <a:lnTo>
                  <a:pt x="5804178" y="2548974"/>
                </a:lnTo>
                <a:lnTo>
                  <a:pt x="5880656" y="2539214"/>
                </a:lnTo>
                <a:lnTo>
                  <a:pt x="5958761" y="2521321"/>
                </a:lnTo>
                <a:lnTo>
                  <a:pt x="6035239" y="2490414"/>
                </a:lnTo>
                <a:lnTo>
                  <a:pt x="6048256" y="2488788"/>
                </a:lnTo>
                <a:lnTo>
                  <a:pt x="6062901" y="2490414"/>
                </a:lnTo>
                <a:lnTo>
                  <a:pt x="6077546" y="2492041"/>
                </a:lnTo>
                <a:lnTo>
                  <a:pt x="6093817" y="2495294"/>
                </a:lnTo>
                <a:lnTo>
                  <a:pt x="6084054" y="2539214"/>
                </a:lnTo>
                <a:lnTo>
                  <a:pt x="6074291" y="2576627"/>
                </a:lnTo>
                <a:lnTo>
                  <a:pt x="6071037" y="2605907"/>
                </a:lnTo>
                <a:lnTo>
                  <a:pt x="6071037" y="2628680"/>
                </a:lnTo>
                <a:lnTo>
                  <a:pt x="6075918" y="2648200"/>
                </a:lnTo>
                <a:lnTo>
                  <a:pt x="6087309" y="2664467"/>
                </a:lnTo>
                <a:lnTo>
                  <a:pt x="6101953" y="2680733"/>
                </a:lnTo>
                <a:lnTo>
                  <a:pt x="6127988" y="2695373"/>
                </a:lnTo>
                <a:lnTo>
                  <a:pt x="6157278" y="2710013"/>
                </a:lnTo>
                <a:lnTo>
                  <a:pt x="6197957" y="2731160"/>
                </a:lnTo>
                <a:lnTo>
                  <a:pt x="6214229" y="2742546"/>
                </a:lnTo>
                <a:lnTo>
                  <a:pt x="6232128" y="2755560"/>
                </a:lnTo>
                <a:lnTo>
                  <a:pt x="6248400" y="2770200"/>
                </a:lnTo>
                <a:lnTo>
                  <a:pt x="6248400" y="3783608"/>
                </a:lnTo>
                <a:lnTo>
                  <a:pt x="6204466" y="3816141"/>
                </a:lnTo>
                <a:lnTo>
                  <a:pt x="6160532" y="3850301"/>
                </a:lnTo>
                <a:lnTo>
                  <a:pt x="6116598" y="3882834"/>
                </a:lnTo>
                <a:lnTo>
                  <a:pt x="6067782" y="3907234"/>
                </a:lnTo>
                <a:lnTo>
                  <a:pt x="6045002" y="3918621"/>
                </a:lnTo>
                <a:lnTo>
                  <a:pt x="6025476" y="3934887"/>
                </a:lnTo>
                <a:lnTo>
                  <a:pt x="6004322" y="3954407"/>
                </a:lnTo>
                <a:lnTo>
                  <a:pt x="5984796" y="3977180"/>
                </a:lnTo>
                <a:lnTo>
                  <a:pt x="5966897" y="3998327"/>
                </a:lnTo>
                <a:lnTo>
                  <a:pt x="5947371" y="4021100"/>
                </a:lnTo>
                <a:lnTo>
                  <a:pt x="5926217" y="4040620"/>
                </a:lnTo>
                <a:lnTo>
                  <a:pt x="5905064" y="4061766"/>
                </a:lnTo>
                <a:lnTo>
                  <a:pt x="5885537" y="4078033"/>
                </a:lnTo>
                <a:lnTo>
                  <a:pt x="5859502" y="4091046"/>
                </a:lnTo>
                <a:lnTo>
                  <a:pt x="5835095" y="4097553"/>
                </a:lnTo>
                <a:lnTo>
                  <a:pt x="5807432" y="4097553"/>
                </a:lnTo>
                <a:lnTo>
                  <a:pt x="5776516" y="4092673"/>
                </a:lnTo>
                <a:lnTo>
                  <a:pt x="5742345" y="4079660"/>
                </a:lnTo>
                <a:lnTo>
                  <a:pt x="5704920" y="4056887"/>
                </a:lnTo>
                <a:lnTo>
                  <a:pt x="5695156" y="4055260"/>
                </a:lnTo>
                <a:lnTo>
                  <a:pt x="5682139" y="4056887"/>
                </a:lnTo>
                <a:lnTo>
                  <a:pt x="5667494" y="4063393"/>
                </a:lnTo>
                <a:lnTo>
                  <a:pt x="5651222" y="4071526"/>
                </a:lnTo>
                <a:lnTo>
                  <a:pt x="5636578" y="4079660"/>
                </a:lnTo>
                <a:lnTo>
                  <a:pt x="5621933" y="4084540"/>
                </a:lnTo>
                <a:lnTo>
                  <a:pt x="5607288" y="4091046"/>
                </a:lnTo>
                <a:lnTo>
                  <a:pt x="5591016" y="4097553"/>
                </a:lnTo>
                <a:lnTo>
                  <a:pt x="5576372" y="4105686"/>
                </a:lnTo>
                <a:lnTo>
                  <a:pt x="5571236" y="4106328"/>
                </a:lnTo>
                <a:lnTo>
                  <a:pt x="5604283" y="4175125"/>
                </a:lnTo>
                <a:lnTo>
                  <a:pt x="5577062" y="4211965"/>
                </a:lnTo>
                <a:lnTo>
                  <a:pt x="5549841" y="4247203"/>
                </a:lnTo>
                <a:lnTo>
                  <a:pt x="5519418" y="4279238"/>
                </a:lnTo>
                <a:lnTo>
                  <a:pt x="5488995" y="4306467"/>
                </a:lnTo>
                <a:lnTo>
                  <a:pt x="5452167" y="4328892"/>
                </a:lnTo>
                <a:lnTo>
                  <a:pt x="5413737" y="4348112"/>
                </a:lnTo>
                <a:lnTo>
                  <a:pt x="5367302" y="4360926"/>
                </a:lnTo>
                <a:lnTo>
                  <a:pt x="5317664" y="4367333"/>
                </a:lnTo>
                <a:lnTo>
                  <a:pt x="5290443" y="4372139"/>
                </a:lnTo>
                <a:lnTo>
                  <a:pt x="5269627" y="4380147"/>
                </a:lnTo>
                <a:lnTo>
                  <a:pt x="5256817" y="4394563"/>
                </a:lnTo>
                <a:lnTo>
                  <a:pt x="5247210" y="4410580"/>
                </a:lnTo>
                <a:lnTo>
                  <a:pt x="5244008" y="4429801"/>
                </a:lnTo>
                <a:lnTo>
                  <a:pt x="5245609" y="4450624"/>
                </a:lnTo>
                <a:lnTo>
                  <a:pt x="5253615" y="4471446"/>
                </a:lnTo>
                <a:lnTo>
                  <a:pt x="5268026" y="4490667"/>
                </a:lnTo>
                <a:lnTo>
                  <a:pt x="5288842" y="4509888"/>
                </a:lnTo>
                <a:lnTo>
                  <a:pt x="5348087" y="4551533"/>
                </a:lnTo>
                <a:lnTo>
                  <a:pt x="5410535" y="4591577"/>
                </a:lnTo>
                <a:lnTo>
                  <a:pt x="5476185" y="4634824"/>
                </a:lnTo>
                <a:lnTo>
                  <a:pt x="5448964" y="4660451"/>
                </a:lnTo>
                <a:lnTo>
                  <a:pt x="5418541" y="4678070"/>
                </a:lnTo>
                <a:lnTo>
                  <a:pt x="5386517" y="4687681"/>
                </a:lnTo>
                <a:lnTo>
                  <a:pt x="5354492" y="4690884"/>
                </a:lnTo>
                <a:lnTo>
                  <a:pt x="5320866" y="4690884"/>
                </a:lnTo>
                <a:lnTo>
                  <a:pt x="5285640" y="4686079"/>
                </a:lnTo>
                <a:lnTo>
                  <a:pt x="5250413" y="4681274"/>
                </a:lnTo>
                <a:lnTo>
                  <a:pt x="5231198" y="4678070"/>
                </a:lnTo>
                <a:lnTo>
                  <a:pt x="5210382" y="4671664"/>
                </a:lnTo>
                <a:lnTo>
                  <a:pt x="5189566" y="4666858"/>
                </a:lnTo>
                <a:lnTo>
                  <a:pt x="5168750" y="4663655"/>
                </a:lnTo>
                <a:lnTo>
                  <a:pt x="5149536" y="4662053"/>
                </a:lnTo>
                <a:lnTo>
                  <a:pt x="5131922" y="4666858"/>
                </a:lnTo>
                <a:lnTo>
                  <a:pt x="5114309" y="4678070"/>
                </a:lnTo>
                <a:lnTo>
                  <a:pt x="5103100" y="4694088"/>
                </a:lnTo>
                <a:lnTo>
                  <a:pt x="5090290" y="4721317"/>
                </a:lnTo>
                <a:lnTo>
                  <a:pt x="5083885" y="4748547"/>
                </a:lnTo>
                <a:lnTo>
                  <a:pt x="5077480" y="4778980"/>
                </a:lnTo>
                <a:lnTo>
                  <a:pt x="5074278" y="4806210"/>
                </a:lnTo>
                <a:lnTo>
                  <a:pt x="5077480" y="4835041"/>
                </a:lnTo>
                <a:lnTo>
                  <a:pt x="5087088" y="4860669"/>
                </a:lnTo>
                <a:lnTo>
                  <a:pt x="5099898" y="4884695"/>
                </a:lnTo>
                <a:lnTo>
                  <a:pt x="5125517" y="4908721"/>
                </a:lnTo>
                <a:lnTo>
                  <a:pt x="5155940" y="4927942"/>
                </a:lnTo>
                <a:lnTo>
                  <a:pt x="5175155" y="4940756"/>
                </a:lnTo>
                <a:lnTo>
                  <a:pt x="5191167" y="4959976"/>
                </a:lnTo>
                <a:lnTo>
                  <a:pt x="5205578" y="4985604"/>
                </a:lnTo>
                <a:lnTo>
                  <a:pt x="5218388" y="5009630"/>
                </a:lnTo>
                <a:lnTo>
                  <a:pt x="5231198" y="5035258"/>
                </a:lnTo>
                <a:lnTo>
                  <a:pt x="5244008" y="5057683"/>
                </a:lnTo>
                <a:lnTo>
                  <a:pt x="5215186" y="5065691"/>
                </a:lnTo>
                <a:lnTo>
                  <a:pt x="5187965" y="5073700"/>
                </a:lnTo>
                <a:lnTo>
                  <a:pt x="5160744" y="5081709"/>
                </a:lnTo>
                <a:lnTo>
                  <a:pt x="5133523" y="5084912"/>
                </a:lnTo>
                <a:lnTo>
                  <a:pt x="5111106" y="5081709"/>
                </a:lnTo>
                <a:lnTo>
                  <a:pt x="5074278" y="5067293"/>
                </a:lnTo>
                <a:lnTo>
                  <a:pt x="5037450" y="5049674"/>
                </a:lnTo>
                <a:lnTo>
                  <a:pt x="5002223" y="5032055"/>
                </a:lnTo>
                <a:lnTo>
                  <a:pt x="4970198" y="5011232"/>
                </a:lnTo>
                <a:lnTo>
                  <a:pt x="4939775" y="4987206"/>
                </a:lnTo>
                <a:lnTo>
                  <a:pt x="4917358" y="4959976"/>
                </a:lnTo>
                <a:lnTo>
                  <a:pt x="4891738" y="4929543"/>
                </a:lnTo>
                <a:lnTo>
                  <a:pt x="4864518" y="4908721"/>
                </a:lnTo>
                <a:lnTo>
                  <a:pt x="4837297" y="4894305"/>
                </a:lnTo>
                <a:lnTo>
                  <a:pt x="4808475" y="4889500"/>
                </a:lnTo>
                <a:lnTo>
                  <a:pt x="4781254" y="4891102"/>
                </a:lnTo>
                <a:lnTo>
                  <a:pt x="4752432" y="4895907"/>
                </a:lnTo>
                <a:lnTo>
                  <a:pt x="4726812" y="4902314"/>
                </a:lnTo>
                <a:lnTo>
                  <a:pt x="4699592" y="4913526"/>
                </a:lnTo>
                <a:lnTo>
                  <a:pt x="4670770" y="4923137"/>
                </a:lnTo>
                <a:lnTo>
                  <a:pt x="4648352" y="4935950"/>
                </a:lnTo>
                <a:lnTo>
                  <a:pt x="4630739" y="4950366"/>
                </a:lnTo>
                <a:lnTo>
                  <a:pt x="4619530" y="4969587"/>
                </a:lnTo>
                <a:lnTo>
                  <a:pt x="4616328" y="4988808"/>
                </a:lnTo>
                <a:lnTo>
                  <a:pt x="4622733" y="5009630"/>
                </a:lnTo>
                <a:lnTo>
                  <a:pt x="4635543" y="5032055"/>
                </a:lnTo>
                <a:lnTo>
                  <a:pt x="4657960" y="5051276"/>
                </a:lnTo>
                <a:lnTo>
                  <a:pt x="4722009" y="5094522"/>
                </a:lnTo>
                <a:lnTo>
                  <a:pt x="4784457" y="5134566"/>
                </a:lnTo>
                <a:lnTo>
                  <a:pt x="4848505" y="5174609"/>
                </a:lnTo>
                <a:lnTo>
                  <a:pt x="4854910" y="5216255"/>
                </a:lnTo>
                <a:lnTo>
                  <a:pt x="4738021" y="5221060"/>
                </a:lnTo>
                <a:lnTo>
                  <a:pt x="4617929" y="5222662"/>
                </a:lnTo>
                <a:lnTo>
                  <a:pt x="4597113" y="5222662"/>
                </a:lnTo>
                <a:lnTo>
                  <a:pt x="4576297" y="5221060"/>
                </a:lnTo>
                <a:lnTo>
                  <a:pt x="4555482" y="5219458"/>
                </a:lnTo>
                <a:lnTo>
                  <a:pt x="4536267" y="5219458"/>
                </a:lnTo>
                <a:lnTo>
                  <a:pt x="4517052" y="5221060"/>
                </a:lnTo>
                <a:lnTo>
                  <a:pt x="4501040" y="5229068"/>
                </a:lnTo>
                <a:lnTo>
                  <a:pt x="4485028" y="5241882"/>
                </a:lnTo>
                <a:lnTo>
                  <a:pt x="4473819" y="5261103"/>
                </a:lnTo>
                <a:lnTo>
                  <a:pt x="4464212" y="5286731"/>
                </a:lnTo>
                <a:lnTo>
                  <a:pt x="4457807" y="5313961"/>
                </a:lnTo>
                <a:lnTo>
                  <a:pt x="4454604" y="5339588"/>
                </a:lnTo>
                <a:lnTo>
                  <a:pt x="4451402" y="5365216"/>
                </a:lnTo>
                <a:lnTo>
                  <a:pt x="4454604" y="5389242"/>
                </a:lnTo>
                <a:lnTo>
                  <a:pt x="4461009" y="5411667"/>
                </a:lnTo>
                <a:lnTo>
                  <a:pt x="4473819" y="5432489"/>
                </a:lnTo>
                <a:lnTo>
                  <a:pt x="4494635" y="5451710"/>
                </a:lnTo>
                <a:lnTo>
                  <a:pt x="4523457" y="5469329"/>
                </a:lnTo>
                <a:lnTo>
                  <a:pt x="4542672" y="5482143"/>
                </a:lnTo>
                <a:lnTo>
                  <a:pt x="4560285" y="5501364"/>
                </a:lnTo>
                <a:lnTo>
                  <a:pt x="4576297" y="5525390"/>
                </a:lnTo>
                <a:lnTo>
                  <a:pt x="4590708" y="5549416"/>
                </a:lnTo>
                <a:lnTo>
                  <a:pt x="4606721" y="5573442"/>
                </a:lnTo>
                <a:lnTo>
                  <a:pt x="4619530" y="5597468"/>
                </a:lnTo>
                <a:lnTo>
                  <a:pt x="4595512" y="5603875"/>
                </a:lnTo>
                <a:lnTo>
                  <a:pt x="4571494" y="5611884"/>
                </a:lnTo>
                <a:lnTo>
                  <a:pt x="4547475" y="5621494"/>
                </a:lnTo>
                <a:lnTo>
                  <a:pt x="4521856" y="5626300"/>
                </a:lnTo>
                <a:lnTo>
                  <a:pt x="4499439" y="5627901"/>
                </a:lnTo>
                <a:lnTo>
                  <a:pt x="4480224" y="5623096"/>
                </a:lnTo>
                <a:lnTo>
                  <a:pt x="4454604" y="5607079"/>
                </a:lnTo>
                <a:lnTo>
                  <a:pt x="4430586" y="5584654"/>
                </a:lnTo>
                <a:lnTo>
                  <a:pt x="4408169" y="5557425"/>
                </a:lnTo>
                <a:lnTo>
                  <a:pt x="4387353" y="5528593"/>
                </a:lnTo>
                <a:lnTo>
                  <a:pt x="4366537" y="5499762"/>
                </a:lnTo>
                <a:lnTo>
                  <a:pt x="4366537" y="5493355"/>
                </a:lnTo>
                <a:lnTo>
                  <a:pt x="4369740" y="5482143"/>
                </a:lnTo>
                <a:lnTo>
                  <a:pt x="4377746" y="5470931"/>
                </a:lnTo>
                <a:lnTo>
                  <a:pt x="4384151" y="5458117"/>
                </a:lnTo>
                <a:lnTo>
                  <a:pt x="4388954" y="5446905"/>
                </a:lnTo>
                <a:lnTo>
                  <a:pt x="4304089" y="5397251"/>
                </a:lnTo>
                <a:lnTo>
                  <a:pt x="4216022" y="5360411"/>
                </a:lnTo>
                <a:lnTo>
                  <a:pt x="4127955" y="5334783"/>
                </a:lnTo>
                <a:lnTo>
                  <a:pt x="4035084" y="5318766"/>
                </a:lnTo>
                <a:lnTo>
                  <a:pt x="3940612" y="5313961"/>
                </a:lnTo>
                <a:lnTo>
                  <a:pt x="3842937" y="5317164"/>
                </a:lnTo>
                <a:lnTo>
                  <a:pt x="3791698" y="5317164"/>
                </a:lnTo>
                <a:lnTo>
                  <a:pt x="3742060" y="5307554"/>
                </a:lnTo>
                <a:lnTo>
                  <a:pt x="3689219" y="5296341"/>
                </a:lnTo>
                <a:lnTo>
                  <a:pt x="3637981" y="5280324"/>
                </a:lnTo>
                <a:lnTo>
                  <a:pt x="3586741" y="5265908"/>
                </a:lnTo>
                <a:lnTo>
                  <a:pt x="3509883" y="5246688"/>
                </a:lnTo>
                <a:lnTo>
                  <a:pt x="3433024" y="5227467"/>
                </a:lnTo>
                <a:lnTo>
                  <a:pt x="3356165" y="5205042"/>
                </a:lnTo>
                <a:lnTo>
                  <a:pt x="3282509" y="5179415"/>
                </a:lnTo>
                <a:lnTo>
                  <a:pt x="3202447" y="5140973"/>
                </a:lnTo>
                <a:lnTo>
                  <a:pt x="3125589" y="5097726"/>
                </a:lnTo>
                <a:lnTo>
                  <a:pt x="3048730" y="5056081"/>
                </a:lnTo>
                <a:lnTo>
                  <a:pt x="2970270" y="5014436"/>
                </a:lnTo>
                <a:lnTo>
                  <a:pt x="2922234" y="4995215"/>
                </a:lnTo>
                <a:lnTo>
                  <a:pt x="2870994" y="4977596"/>
                </a:lnTo>
                <a:lnTo>
                  <a:pt x="2821356" y="4959976"/>
                </a:lnTo>
                <a:lnTo>
                  <a:pt x="2771718" y="4940756"/>
                </a:lnTo>
                <a:lnTo>
                  <a:pt x="2686854" y="4897509"/>
                </a:lnTo>
                <a:lnTo>
                  <a:pt x="2605191" y="4851058"/>
                </a:lnTo>
                <a:lnTo>
                  <a:pt x="2560425" y="4825711"/>
                </a:lnTo>
                <a:lnTo>
                  <a:pt x="2541667" y="4819789"/>
                </a:lnTo>
                <a:lnTo>
                  <a:pt x="2512378" y="4819789"/>
                </a:lnTo>
                <a:lnTo>
                  <a:pt x="2486343" y="4827923"/>
                </a:lnTo>
                <a:lnTo>
                  <a:pt x="2465189" y="4845816"/>
                </a:lnTo>
                <a:lnTo>
                  <a:pt x="2444036" y="4871843"/>
                </a:lnTo>
                <a:lnTo>
                  <a:pt x="2427764" y="4909256"/>
                </a:lnTo>
                <a:lnTo>
                  <a:pt x="2414746" y="4930402"/>
                </a:lnTo>
                <a:lnTo>
                  <a:pt x="2393593" y="4951549"/>
                </a:lnTo>
                <a:lnTo>
                  <a:pt x="2370812" y="4967815"/>
                </a:lnTo>
                <a:lnTo>
                  <a:pt x="2344778" y="4980829"/>
                </a:lnTo>
                <a:lnTo>
                  <a:pt x="2318742" y="4988962"/>
                </a:lnTo>
                <a:lnTo>
                  <a:pt x="2281317" y="4990589"/>
                </a:lnTo>
                <a:lnTo>
                  <a:pt x="2245519" y="4988962"/>
                </a:lnTo>
                <a:lnTo>
                  <a:pt x="2212975" y="4979202"/>
                </a:lnTo>
                <a:lnTo>
                  <a:pt x="2182059" y="4964562"/>
                </a:lnTo>
                <a:lnTo>
                  <a:pt x="2154397" y="4943416"/>
                </a:lnTo>
                <a:lnTo>
                  <a:pt x="2131616" y="4912509"/>
                </a:lnTo>
                <a:lnTo>
                  <a:pt x="2110463" y="4875096"/>
                </a:lnTo>
                <a:lnTo>
                  <a:pt x="2084427" y="4824669"/>
                </a:lnTo>
                <a:lnTo>
                  <a:pt x="2057277" y="4783956"/>
                </a:lnTo>
                <a:lnTo>
                  <a:pt x="2054370" y="4783785"/>
                </a:lnTo>
                <a:lnTo>
                  <a:pt x="1999929" y="4777378"/>
                </a:lnTo>
                <a:lnTo>
                  <a:pt x="1948886" y="4763019"/>
                </a:lnTo>
                <a:lnTo>
                  <a:pt x="1924963" y="4770990"/>
                </a:lnTo>
                <a:lnTo>
                  <a:pt x="1882656" y="4779123"/>
                </a:lnTo>
                <a:lnTo>
                  <a:pt x="1838722" y="4784003"/>
                </a:lnTo>
                <a:lnTo>
                  <a:pt x="1793161" y="4788883"/>
                </a:lnTo>
                <a:lnTo>
                  <a:pt x="1798042" y="4730323"/>
                </a:lnTo>
                <a:lnTo>
                  <a:pt x="1801216" y="4690142"/>
                </a:lnTo>
                <a:lnTo>
                  <a:pt x="1770954" y="4663655"/>
                </a:lnTo>
                <a:lnTo>
                  <a:pt x="1735727" y="4626815"/>
                </a:lnTo>
                <a:lnTo>
                  <a:pt x="1726369" y="4613294"/>
                </a:lnTo>
                <a:lnTo>
                  <a:pt x="1716683" y="4624590"/>
                </a:lnTo>
                <a:lnTo>
                  <a:pt x="1700411" y="4644110"/>
                </a:lnTo>
                <a:lnTo>
                  <a:pt x="1687394" y="4606697"/>
                </a:lnTo>
                <a:lnTo>
                  <a:pt x="1674376" y="4575791"/>
                </a:lnTo>
                <a:lnTo>
                  <a:pt x="1662986" y="4548138"/>
                </a:lnTo>
                <a:lnTo>
                  <a:pt x="1640205" y="4500964"/>
                </a:lnTo>
                <a:lnTo>
                  <a:pt x="1615797" y="4455418"/>
                </a:lnTo>
                <a:lnTo>
                  <a:pt x="1601153" y="4440778"/>
                </a:lnTo>
                <a:lnTo>
                  <a:pt x="1581626" y="4424511"/>
                </a:lnTo>
                <a:lnTo>
                  <a:pt x="1557219" y="4411498"/>
                </a:lnTo>
                <a:lnTo>
                  <a:pt x="1527929" y="4400112"/>
                </a:lnTo>
                <a:lnTo>
                  <a:pt x="1497013" y="4391978"/>
                </a:lnTo>
                <a:lnTo>
                  <a:pt x="1466096" y="4385472"/>
                </a:lnTo>
                <a:lnTo>
                  <a:pt x="1435180" y="4382218"/>
                </a:lnTo>
                <a:lnTo>
                  <a:pt x="1407517" y="4382218"/>
                </a:lnTo>
                <a:lnTo>
                  <a:pt x="1381482" y="4387098"/>
                </a:lnTo>
                <a:lnTo>
                  <a:pt x="1363583" y="4395232"/>
                </a:lnTo>
                <a:lnTo>
                  <a:pt x="1350566" y="4408245"/>
                </a:lnTo>
                <a:lnTo>
                  <a:pt x="1322904" y="4444031"/>
                </a:lnTo>
                <a:lnTo>
                  <a:pt x="1295241" y="4470058"/>
                </a:lnTo>
                <a:lnTo>
                  <a:pt x="1262698" y="4487951"/>
                </a:lnTo>
                <a:lnTo>
                  <a:pt x="1228527" y="4500964"/>
                </a:lnTo>
                <a:lnTo>
                  <a:pt x="1192729" y="4509098"/>
                </a:lnTo>
                <a:lnTo>
                  <a:pt x="1156930" y="4512351"/>
                </a:lnTo>
                <a:lnTo>
                  <a:pt x="1121132" y="4515604"/>
                </a:lnTo>
                <a:lnTo>
                  <a:pt x="1083707" y="4517231"/>
                </a:lnTo>
                <a:lnTo>
                  <a:pt x="1046282" y="4522111"/>
                </a:lnTo>
                <a:lnTo>
                  <a:pt x="1013738" y="4528618"/>
                </a:lnTo>
                <a:lnTo>
                  <a:pt x="979567" y="4540004"/>
                </a:lnTo>
                <a:lnTo>
                  <a:pt x="968177" y="4540004"/>
                </a:lnTo>
                <a:lnTo>
                  <a:pt x="953532" y="4535124"/>
                </a:lnTo>
                <a:lnTo>
                  <a:pt x="938887" y="4525364"/>
                </a:lnTo>
                <a:lnTo>
                  <a:pt x="924243" y="4513978"/>
                </a:lnTo>
                <a:lnTo>
                  <a:pt x="909598" y="4504218"/>
                </a:lnTo>
                <a:lnTo>
                  <a:pt x="901462" y="4535124"/>
                </a:lnTo>
                <a:lnTo>
                  <a:pt x="888445" y="4569284"/>
                </a:lnTo>
                <a:lnTo>
                  <a:pt x="867291" y="4603444"/>
                </a:lnTo>
                <a:lnTo>
                  <a:pt x="841256" y="4637604"/>
                </a:lnTo>
                <a:lnTo>
                  <a:pt x="808713" y="4671764"/>
                </a:lnTo>
                <a:lnTo>
                  <a:pt x="776169" y="4704297"/>
                </a:lnTo>
                <a:lnTo>
                  <a:pt x="740370" y="4736830"/>
                </a:lnTo>
                <a:lnTo>
                  <a:pt x="702945" y="4766110"/>
                </a:lnTo>
                <a:lnTo>
                  <a:pt x="667147" y="4788883"/>
                </a:lnTo>
                <a:lnTo>
                  <a:pt x="632976" y="4808403"/>
                </a:lnTo>
                <a:lnTo>
                  <a:pt x="600432" y="4823043"/>
                </a:lnTo>
                <a:lnTo>
                  <a:pt x="571143" y="4829549"/>
                </a:lnTo>
                <a:lnTo>
                  <a:pt x="546735" y="4829549"/>
                </a:lnTo>
                <a:lnTo>
                  <a:pt x="533718" y="4858829"/>
                </a:lnTo>
                <a:lnTo>
                  <a:pt x="519073" y="4886482"/>
                </a:lnTo>
                <a:lnTo>
                  <a:pt x="504428" y="4919016"/>
                </a:lnTo>
                <a:lnTo>
                  <a:pt x="484902" y="4956429"/>
                </a:lnTo>
                <a:lnTo>
                  <a:pt x="462121" y="5001975"/>
                </a:lnTo>
                <a:lnTo>
                  <a:pt x="400288" y="4894616"/>
                </a:lnTo>
                <a:lnTo>
                  <a:pt x="340082" y="4793763"/>
                </a:lnTo>
                <a:lnTo>
                  <a:pt x="286385" y="4699417"/>
                </a:lnTo>
                <a:lnTo>
                  <a:pt x="232688" y="4608324"/>
                </a:lnTo>
                <a:lnTo>
                  <a:pt x="177364" y="4522111"/>
                </a:lnTo>
                <a:lnTo>
                  <a:pt x="138311" y="4470058"/>
                </a:lnTo>
                <a:lnTo>
                  <a:pt x="92750" y="4422885"/>
                </a:lnTo>
                <a:lnTo>
                  <a:pt x="45561" y="4375712"/>
                </a:lnTo>
                <a:lnTo>
                  <a:pt x="0" y="4330165"/>
                </a:lnTo>
                <a:lnTo>
                  <a:pt x="0" y="3939767"/>
                </a:lnTo>
                <a:lnTo>
                  <a:pt x="104140" y="3912114"/>
                </a:lnTo>
                <a:lnTo>
                  <a:pt x="209907" y="3882834"/>
                </a:lnTo>
                <a:lnTo>
                  <a:pt x="193635" y="3838914"/>
                </a:lnTo>
                <a:lnTo>
                  <a:pt x="183872" y="3801501"/>
                </a:lnTo>
                <a:lnTo>
                  <a:pt x="182245" y="3765715"/>
                </a:lnTo>
                <a:lnTo>
                  <a:pt x="187127" y="3734808"/>
                </a:lnTo>
                <a:lnTo>
                  <a:pt x="200144" y="3707155"/>
                </a:lnTo>
                <a:lnTo>
                  <a:pt x="218043" y="3682755"/>
                </a:lnTo>
                <a:lnTo>
                  <a:pt x="240824" y="3659982"/>
                </a:lnTo>
                <a:lnTo>
                  <a:pt x="268486" y="3638835"/>
                </a:lnTo>
                <a:lnTo>
                  <a:pt x="299403" y="3619315"/>
                </a:lnTo>
                <a:lnTo>
                  <a:pt x="333574" y="3603049"/>
                </a:lnTo>
                <a:lnTo>
                  <a:pt x="359609" y="3583529"/>
                </a:lnTo>
                <a:lnTo>
                  <a:pt x="380762" y="3559129"/>
                </a:lnTo>
                <a:lnTo>
                  <a:pt x="397034" y="3531476"/>
                </a:lnTo>
                <a:lnTo>
                  <a:pt x="411679" y="3495689"/>
                </a:lnTo>
                <a:lnTo>
                  <a:pt x="426323" y="3461529"/>
                </a:lnTo>
                <a:lnTo>
                  <a:pt x="440968" y="3430623"/>
                </a:lnTo>
                <a:lnTo>
                  <a:pt x="458867" y="3402970"/>
                </a:lnTo>
                <a:lnTo>
                  <a:pt x="478393" y="3380197"/>
                </a:lnTo>
                <a:lnTo>
                  <a:pt x="501174" y="3360677"/>
                </a:lnTo>
                <a:lnTo>
                  <a:pt x="525582" y="3349290"/>
                </a:lnTo>
                <a:lnTo>
                  <a:pt x="556498" y="3344410"/>
                </a:lnTo>
                <a:lnTo>
                  <a:pt x="589042" y="3346037"/>
                </a:lnTo>
                <a:lnTo>
                  <a:pt x="626467" y="3357423"/>
                </a:lnTo>
                <a:lnTo>
                  <a:pt x="681792" y="3267957"/>
                </a:lnTo>
                <a:lnTo>
                  <a:pt x="730607" y="3186624"/>
                </a:lnTo>
                <a:lnTo>
                  <a:pt x="756185" y="3141878"/>
                </a:lnTo>
                <a:lnTo>
                  <a:pt x="723753" y="3127588"/>
                </a:lnTo>
                <a:lnTo>
                  <a:pt x="582846" y="3065120"/>
                </a:lnTo>
                <a:lnTo>
                  <a:pt x="438735" y="2999449"/>
                </a:lnTo>
                <a:lnTo>
                  <a:pt x="481969" y="2972219"/>
                </a:lnTo>
                <a:lnTo>
                  <a:pt x="518797" y="2941786"/>
                </a:lnTo>
                <a:lnTo>
                  <a:pt x="546017" y="2911353"/>
                </a:lnTo>
                <a:lnTo>
                  <a:pt x="565232" y="2879319"/>
                </a:lnTo>
                <a:lnTo>
                  <a:pt x="579643" y="2844080"/>
                </a:lnTo>
                <a:lnTo>
                  <a:pt x="587649" y="2808842"/>
                </a:lnTo>
                <a:lnTo>
                  <a:pt x="590852" y="2775206"/>
                </a:lnTo>
                <a:lnTo>
                  <a:pt x="589251" y="2738366"/>
                </a:lnTo>
                <a:lnTo>
                  <a:pt x="584447" y="2701526"/>
                </a:lnTo>
                <a:lnTo>
                  <a:pt x="578042" y="2663084"/>
                </a:lnTo>
                <a:lnTo>
                  <a:pt x="570036" y="2624642"/>
                </a:lnTo>
                <a:lnTo>
                  <a:pt x="560428" y="2587802"/>
                </a:lnTo>
                <a:lnTo>
                  <a:pt x="554024" y="2549361"/>
                </a:lnTo>
                <a:lnTo>
                  <a:pt x="549220" y="2522131"/>
                </a:lnTo>
                <a:lnTo>
                  <a:pt x="546017" y="2494902"/>
                </a:lnTo>
                <a:lnTo>
                  <a:pt x="546017" y="2464469"/>
                </a:lnTo>
                <a:lnTo>
                  <a:pt x="544416" y="2437239"/>
                </a:lnTo>
                <a:lnTo>
                  <a:pt x="542815" y="2410009"/>
                </a:lnTo>
                <a:lnTo>
                  <a:pt x="539613" y="2385983"/>
                </a:lnTo>
                <a:lnTo>
                  <a:pt x="533208" y="2366763"/>
                </a:lnTo>
                <a:lnTo>
                  <a:pt x="520398" y="2353949"/>
                </a:lnTo>
                <a:lnTo>
                  <a:pt x="478766" y="2328321"/>
                </a:lnTo>
                <a:lnTo>
                  <a:pt x="433932" y="2307498"/>
                </a:lnTo>
                <a:lnTo>
                  <a:pt x="385895" y="2289879"/>
                </a:lnTo>
                <a:lnTo>
                  <a:pt x="337858" y="2275463"/>
                </a:lnTo>
                <a:lnTo>
                  <a:pt x="288220" y="2261048"/>
                </a:lnTo>
                <a:lnTo>
                  <a:pt x="238583" y="2245031"/>
                </a:lnTo>
                <a:lnTo>
                  <a:pt x="184141" y="2225810"/>
                </a:lnTo>
                <a:lnTo>
                  <a:pt x="126497" y="2208191"/>
                </a:lnTo>
                <a:lnTo>
                  <a:pt x="65650" y="2188970"/>
                </a:lnTo>
                <a:lnTo>
                  <a:pt x="0" y="2168147"/>
                </a:lnTo>
                <a:lnTo>
                  <a:pt x="41632" y="2124900"/>
                </a:lnTo>
                <a:lnTo>
                  <a:pt x="83264" y="2086459"/>
                </a:lnTo>
                <a:lnTo>
                  <a:pt x="126497" y="2051220"/>
                </a:lnTo>
                <a:lnTo>
                  <a:pt x="169730" y="2020787"/>
                </a:lnTo>
                <a:lnTo>
                  <a:pt x="214564" y="1996761"/>
                </a:lnTo>
                <a:lnTo>
                  <a:pt x="262601" y="1979142"/>
                </a:lnTo>
                <a:lnTo>
                  <a:pt x="310638" y="1969532"/>
                </a:lnTo>
                <a:lnTo>
                  <a:pt x="365079" y="1964726"/>
                </a:lnTo>
                <a:lnTo>
                  <a:pt x="401907" y="1963125"/>
                </a:lnTo>
                <a:lnTo>
                  <a:pt x="430729" y="1956718"/>
                </a:lnTo>
                <a:lnTo>
                  <a:pt x="454748" y="1943904"/>
                </a:lnTo>
                <a:lnTo>
                  <a:pt x="472361" y="1926285"/>
                </a:lnTo>
                <a:lnTo>
                  <a:pt x="483570" y="1902259"/>
                </a:lnTo>
                <a:lnTo>
                  <a:pt x="493177" y="1873427"/>
                </a:lnTo>
                <a:lnTo>
                  <a:pt x="497981" y="1838189"/>
                </a:lnTo>
                <a:lnTo>
                  <a:pt x="515594" y="1679617"/>
                </a:lnTo>
                <a:lnTo>
                  <a:pt x="536410" y="1519443"/>
                </a:lnTo>
                <a:lnTo>
                  <a:pt x="558827" y="1360871"/>
                </a:lnTo>
                <a:lnTo>
                  <a:pt x="560428" y="1338447"/>
                </a:lnTo>
                <a:lnTo>
                  <a:pt x="562030" y="1314421"/>
                </a:lnTo>
                <a:lnTo>
                  <a:pt x="565232" y="1290395"/>
                </a:lnTo>
                <a:lnTo>
                  <a:pt x="570036" y="1267970"/>
                </a:lnTo>
                <a:lnTo>
                  <a:pt x="576441" y="1247148"/>
                </a:lnTo>
                <a:lnTo>
                  <a:pt x="587649" y="1229529"/>
                </a:lnTo>
                <a:lnTo>
                  <a:pt x="602060" y="1211909"/>
                </a:lnTo>
                <a:lnTo>
                  <a:pt x="626079" y="1199096"/>
                </a:lnTo>
                <a:lnTo>
                  <a:pt x="653300" y="1189485"/>
                </a:lnTo>
                <a:lnTo>
                  <a:pt x="693330" y="1181476"/>
                </a:lnTo>
                <a:lnTo>
                  <a:pt x="731760" y="1175069"/>
                </a:lnTo>
                <a:lnTo>
                  <a:pt x="768588" y="1176671"/>
                </a:lnTo>
                <a:lnTo>
                  <a:pt x="803814" y="1186282"/>
                </a:lnTo>
                <a:lnTo>
                  <a:pt x="837440" y="1202299"/>
                </a:lnTo>
                <a:lnTo>
                  <a:pt x="869465" y="1226325"/>
                </a:lnTo>
                <a:lnTo>
                  <a:pt x="899888" y="1261563"/>
                </a:lnTo>
                <a:lnTo>
                  <a:pt x="917501" y="1232732"/>
                </a:lnTo>
                <a:lnTo>
                  <a:pt x="933514" y="1208706"/>
                </a:lnTo>
                <a:lnTo>
                  <a:pt x="946323" y="1184680"/>
                </a:lnTo>
                <a:lnTo>
                  <a:pt x="973544" y="1152645"/>
                </a:lnTo>
                <a:lnTo>
                  <a:pt x="999164" y="1130221"/>
                </a:lnTo>
                <a:lnTo>
                  <a:pt x="1021581" y="1115805"/>
                </a:lnTo>
                <a:lnTo>
                  <a:pt x="1045599" y="1112602"/>
                </a:lnTo>
                <a:lnTo>
                  <a:pt x="1069618" y="1117407"/>
                </a:lnTo>
                <a:lnTo>
                  <a:pt x="1092035" y="1133424"/>
                </a:lnTo>
                <a:lnTo>
                  <a:pt x="1114452" y="1160654"/>
                </a:lnTo>
                <a:lnTo>
                  <a:pt x="1136869" y="1194290"/>
                </a:lnTo>
                <a:lnTo>
                  <a:pt x="1194513" y="1298403"/>
                </a:lnTo>
                <a:lnTo>
                  <a:pt x="1248955" y="1400915"/>
                </a:lnTo>
                <a:lnTo>
                  <a:pt x="1261764" y="1261563"/>
                </a:lnTo>
                <a:lnTo>
                  <a:pt x="1274574" y="1117407"/>
                </a:lnTo>
                <a:lnTo>
                  <a:pt x="1292188" y="974852"/>
                </a:lnTo>
                <a:lnTo>
                  <a:pt x="1301795" y="926800"/>
                </a:lnTo>
                <a:lnTo>
                  <a:pt x="1309801" y="880350"/>
                </a:lnTo>
                <a:lnTo>
                  <a:pt x="1324212" y="835501"/>
                </a:lnTo>
                <a:lnTo>
                  <a:pt x="1341826" y="789051"/>
                </a:lnTo>
                <a:lnTo>
                  <a:pt x="1364243" y="749007"/>
                </a:lnTo>
                <a:lnTo>
                  <a:pt x="1378654" y="729786"/>
                </a:lnTo>
                <a:lnTo>
                  <a:pt x="1396267" y="710565"/>
                </a:lnTo>
                <a:lnTo>
                  <a:pt x="1415482" y="691344"/>
                </a:lnTo>
                <a:lnTo>
                  <a:pt x="1437899" y="673725"/>
                </a:lnTo>
                <a:lnTo>
                  <a:pt x="1458715" y="660911"/>
                </a:lnTo>
                <a:lnTo>
                  <a:pt x="1479531" y="649699"/>
                </a:lnTo>
                <a:lnTo>
                  <a:pt x="1500347" y="644894"/>
                </a:lnTo>
                <a:lnTo>
                  <a:pt x="1516359" y="646496"/>
                </a:lnTo>
                <a:lnTo>
                  <a:pt x="1559592" y="662513"/>
                </a:lnTo>
                <a:lnTo>
                  <a:pt x="1601224" y="688141"/>
                </a:lnTo>
                <a:lnTo>
                  <a:pt x="1641254" y="718574"/>
                </a:lnTo>
                <a:lnTo>
                  <a:pt x="1676481" y="752211"/>
                </a:lnTo>
                <a:lnTo>
                  <a:pt x="1708506" y="790652"/>
                </a:lnTo>
                <a:lnTo>
                  <a:pt x="1722917" y="817882"/>
                </a:lnTo>
                <a:lnTo>
                  <a:pt x="1732524" y="849917"/>
                </a:lnTo>
                <a:lnTo>
                  <a:pt x="1740530" y="885155"/>
                </a:lnTo>
                <a:lnTo>
                  <a:pt x="1745334" y="923597"/>
                </a:lnTo>
                <a:lnTo>
                  <a:pt x="1751739" y="963640"/>
                </a:lnTo>
                <a:lnTo>
                  <a:pt x="1759745" y="1008489"/>
                </a:lnTo>
                <a:lnTo>
                  <a:pt x="1798174" y="958835"/>
                </a:lnTo>
                <a:lnTo>
                  <a:pt x="1838205" y="920393"/>
                </a:lnTo>
                <a:lnTo>
                  <a:pt x="1879837" y="893164"/>
                </a:lnTo>
                <a:lnTo>
                  <a:pt x="1923070" y="873943"/>
                </a:lnTo>
                <a:lnTo>
                  <a:pt x="1966303" y="864332"/>
                </a:lnTo>
                <a:lnTo>
                  <a:pt x="2012738" y="864332"/>
                </a:lnTo>
                <a:lnTo>
                  <a:pt x="2060775" y="875544"/>
                </a:lnTo>
                <a:lnTo>
                  <a:pt x="2110413" y="894765"/>
                </a:lnTo>
                <a:lnTo>
                  <a:pt x="2160051" y="925198"/>
                </a:lnTo>
                <a:lnTo>
                  <a:pt x="2187272" y="936410"/>
                </a:lnTo>
                <a:lnTo>
                  <a:pt x="2214492" y="944419"/>
                </a:lnTo>
                <a:lnTo>
                  <a:pt x="2246517" y="949224"/>
                </a:lnTo>
                <a:lnTo>
                  <a:pt x="2281744" y="954030"/>
                </a:lnTo>
                <a:lnTo>
                  <a:pt x="2316971" y="958835"/>
                </a:lnTo>
                <a:lnTo>
                  <a:pt x="2300959" y="915588"/>
                </a:lnTo>
                <a:lnTo>
                  <a:pt x="2286548" y="877146"/>
                </a:lnTo>
                <a:lnTo>
                  <a:pt x="2273738" y="841908"/>
                </a:lnTo>
                <a:lnTo>
                  <a:pt x="2262529" y="806670"/>
                </a:lnTo>
                <a:lnTo>
                  <a:pt x="2324977" y="830696"/>
                </a:lnTo>
                <a:lnTo>
                  <a:pt x="2389026" y="854722"/>
                </a:lnTo>
                <a:lnTo>
                  <a:pt x="2454676" y="873943"/>
                </a:lnTo>
                <a:lnTo>
                  <a:pt x="2520326" y="891562"/>
                </a:lnTo>
                <a:lnTo>
                  <a:pt x="2585976" y="910783"/>
                </a:lnTo>
                <a:lnTo>
                  <a:pt x="2624152" y="922239"/>
                </a:lnTo>
                <a:lnTo>
                  <a:pt x="2722285" y="811703"/>
                </a:lnTo>
                <a:lnTo>
                  <a:pt x="2756456" y="780796"/>
                </a:lnTo>
                <a:lnTo>
                  <a:pt x="2797135" y="754770"/>
                </a:lnTo>
                <a:lnTo>
                  <a:pt x="2837815" y="731996"/>
                </a:lnTo>
                <a:lnTo>
                  <a:pt x="2881749" y="710850"/>
                </a:lnTo>
                <a:lnTo>
                  <a:pt x="2941955" y="683197"/>
                </a:lnTo>
                <a:lnTo>
                  <a:pt x="3007043" y="658797"/>
                </a:lnTo>
                <a:lnTo>
                  <a:pt x="3067249" y="629517"/>
                </a:lnTo>
                <a:lnTo>
                  <a:pt x="3101420" y="609997"/>
                </a:lnTo>
                <a:lnTo>
                  <a:pt x="3132336" y="583971"/>
                </a:lnTo>
                <a:lnTo>
                  <a:pt x="3163253" y="557944"/>
                </a:lnTo>
                <a:lnTo>
                  <a:pt x="3195797" y="535171"/>
                </a:lnTo>
                <a:lnTo>
                  <a:pt x="3226713" y="518904"/>
                </a:lnTo>
                <a:lnTo>
                  <a:pt x="3259257" y="510771"/>
                </a:lnTo>
                <a:lnTo>
                  <a:pt x="3301564" y="507518"/>
                </a:lnTo>
                <a:lnTo>
                  <a:pt x="3337362" y="496131"/>
                </a:lnTo>
                <a:lnTo>
                  <a:pt x="3368278" y="478238"/>
                </a:lnTo>
                <a:lnTo>
                  <a:pt x="3392686" y="458718"/>
                </a:lnTo>
                <a:lnTo>
                  <a:pt x="3413840" y="434318"/>
                </a:lnTo>
                <a:lnTo>
                  <a:pt x="3431739" y="405038"/>
                </a:lnTo>
                <a:lnTo>
                  <a:pt x="3444756" y="377385"/>
                </a:lnTo>
                <a:lnTo>
                  <a:pt x="3457774" y="346478"/>
                </a:lnTo>
                <a:lnTo>
                  <a:pt x="3469164" y="315572"/>
                </a:lnTo>
                <a:lnTo>
                  <a:pt x="3480554" y="286292"/>
                </a:lnTo>
                <a:lnTo>
                  <a:pt x="3493572" y="257012"/>
                </a:lnTo>
                <a:lnTo>
                  <a:pt x="3508216" y="230986"/>
                </a:lnTo>
                <a:lnTo>
                  <a:pt x="3529370" y="198453"/>
                </a:lnTo>
                <a:lnTo>
                  <a:pt x="3552150" y="169173"/>
                </a:lnTo>
                <a:lnTo>
                  <a:pt x="3574931" y="146399"/>
                </a:lnTo>
                <a:lnTo>
                  <a:pt x="3597712" y="126879"/>
                </a:lnTo>
                <a:lnTo>
                  <a:pt x="3622120" y="115493"/>
                </a:lnTo>
                <a:lnTo>
                  <a:pt x="3649782" y="110613"/>
                </a:lnTo>
                <a:lnTo>
                  <a:pt x="3680698" y="112240"/>
                </a:lnTo>
                <a:lnTo>
                  <a:pt x="3714869" y="123626"/>
                </a:lnTo>
                <a:lnTo>
                  <a:pt x="3753922" y="141519"/>
                </a:lnTo>
                <a:lnTo>
                  <a:pt x="3768566" y="100853"/>
                </a:lnTo>
                <a:lnTo>
                  <a:pt x="3779957" y="66693"/>
                </a:lnTo>
                <a:lnTo>
                  <a:pt x="3792974" y="42293"/>
                </a:lnTo>
                <a:lnTo>
                  <a:pt x="3805992" y="24400"/>
                </a:lnTo>
                <a:lnTo>
                  <a:pt x="3820636" y="11387"/>
                </a:lnTo>
                <a:lnTo>
                  <a:pt x="3840163" y="488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246961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2936383"/>
            <a:ext cx="12192000" cy="39216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6967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863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153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86618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-1457454" y="-108167"/>
            <a:ext cx="8379616" cy="7800520"/>
          </a:xfrm>
          <a:custGeom>
            <a:avLst/>
            <a:gdLst>
              <a:gd name="connsiteX0" fmla="*/ 2959362 w 8379616"/>
              <a:gd name="connsiteY0" fmla="*/ 2806810 h 7800520"/>
              <a:gd name="connsiteX1" fmla="*/ 4993710 w 8379616"/>
              <a:gd name="connsiteY1" fmla="*/ 5766172 h 7800520"/>
              <a:gd name="connsiteX2" fmla="*/ 2034349 w 8379616"/>
              <a:gd name="connsiteY2" fmla="*/ 7800520 h 7800520"/>
              <a:gd name="connsiteX3" fmla="*/ 0 w 8379616"/>
              <a:gd name="connsiteY3" fmla="*/ 4841158 h 7800520"/>
              <a:gd name="connsiteX4" fmla="*/ 6868791 w 8379616"/>
              <a:gd name="connsiteY4" fmla="*/ 2647950 h 7800520"/>
              <a:gd name="connsiteX5" fmla="*/ 8379616 w 8379616"/>
              <a:gd name="connsiteY5" fmla="*/ 4845742 h 7800520"/>
              <a:gd name="connsiteX6" fmla="*/ 6181822 w 8379616"/>
              <a:gd name="connsiteY6" fmla="*/ 6356569 h 7800520"/>
              <a:gd name="connsiteX7" fmla="*/ 4670997 w 8379616"/>
              <a:gd name="connsiteY7" fmla="*/ 4158774 h 7800520"/>
              <a:gd name="connsiteX8" fmla="*/ 5052583 w 8379616"/>
              <a:gd name="connsiteY8" fmla="*/ 0 h 7800520"/>
              <a:gd name="connsiteX9" fmla="*/ 6563408 w 8379616"/>
              <a:gd name="connsiteY9" fmla="*/ 2197794 h 7800520"/>
              <a:gd name="connsiteX10" fmla="*/ 4365614 w 8379616"/>
              <a:gd name="connsiteY10" fmla="*/ 3708619 h 7800520"/>
              <a:gd name="connsiteX11" fmla="*/ 2854790 w 8379616"/>
              <a:gd name="connsiteY11" fmla="*/ 1510825 h 780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79616" h="7800520">
                <a:moveTo>
                  <a:pt x="2959362" y="2806810"/>
                </a:moveTo>
                <a:lnTo>
                  <a:pt x="4993710" y="5766172"/>
                </a:lnTo>
                <a:lnTo>
                  <a:pt x="2034349" y="7800520"/>
                </a:lnTo>
                <a:lnTo>
                  <a:pt x="0" y="4841158"/>
                </a:lnTo>
                <a:close/>
                <a:moveTo>
                  <a:pt x="6868791" y="2647950"/>
                </a:moveTo>
                <a:lnTo>
                  <a:pt x="8379616" y="4845742"/>
                </a:lnTo>
                <a:lnTo>
                  <a:pt x="6181822" y="6356569"/>
                </a:lnTo>
                <a:lnTo>
                  <a:pt x="4670997" y="4158774"/>
                </a:lnTo>
                <a:close/>
                <a:moveTo>
                  <a:pt x="5052583" y="0"/>
                </a:moveTo>
                <a:lnTo>
                  <a:pt x="6563408" y="2197794"/>
                </a:lnTo>
                <a:lnTo>
                  <a:pt x="4365614" y="3708619"/>
                </a:lnTo>
                <a:lnTo>
                  <a:pt x="2854790" y="15108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4074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42965" y="1390919"/>
            <a:ext cx="2859088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9499" y="1390918"/>
            <a:ext cx="3644945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42965" y="3760162"/>
            <a:ext cx="3644945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842233" y="3760162"/>
            <a:ext cx="2872212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881890" y="1390918"/>
            <a:ext cx="3335608" cy="435305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0326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056844" y="591982"/>
            <a:ext cx="2859109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006106" y="591982"/>
            <a:ext cx="1944711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6844" y="2781390"/>
            <a:ext cx="4893973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056843" y="4623068"/>
            <a:ext cx="221516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375040" y="4623068"/>
            <a:ext cx="257577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843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85763" y="657225"/>
            <a:ext cx="3581400" cy="33226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072895" y="1945111"/>
            <a:ext cx="4379419" cy="42625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15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8150" y="296863"/>
            <a:ext cx="3335338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61386" y="3429000"/>
            <a:ext cx="2777677" cy="24695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971275" y="802112"/>
            <a:ext cx="3627259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7957" y="3941584"/>
            <a:ext cx="5546211" cy="26523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995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27313" y="24449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254626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1405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13713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079316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621950" y="3325969"/>
            <a:ext cx="2652646" cy="265439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78392" y="3325969"/>
            <a:ext cx="3000376" cy="30023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2570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90550" y="657224"/>
            <a:ext cx="2628900" cy="561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4671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34365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2202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4771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64513" y="850319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364513" y="3683671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2257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87270" y="563764"/>
            <a:ext cx="6555234" cy="57304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130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5745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005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1685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544050" y="0"/>
            <a:ext cx="264795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990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8216722" y="476518"/>
            <a:ext cx="3438704" cy="564170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073499" y="2936383"/>
            <a:ext cx="4533364" cy="31818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8452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0888" y="721866"/>
            <a:ext cx="9024178" cy="31670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384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16050" y="2820675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6000" y="5601975"/>
            <a:ext cx="3271699" cy="1944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274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178550" y="1429555"/>
            <a:ext cx="5013325" cy="377427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5803900" y="5435600"/>
            <a:ext cx="5778500" cy="1422400"/>
          </a:xfrm>
          <a:custGeom>
            <a:avLst/>
            <a:gdLst>
              <a:gd name="connsiteX0" fmla="*/ 0 w 5435600"/>
              <a:gd name="connsiteY0" fmla="*/ 0 h 1447800"/>
              <a:gd name="connsiteX1" fmla="*/ 5435600 w 5435600"/>
              <a:gd name="connsiteY1" fmla="*/ 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35600"/>
              <a:gd name="connsiteY0" fmla="*/ 0 h 1447800"/>
              <a:gd name="connsiteX1" fmla="*/ 5130800 w 5435600"/>
              <a:gd name="connsiteY1" fmla="*/ 5080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86400"/>
              <a:gd name="connsiteY0" fmla="*/ 0 h 1447800"/>
              <a:gd name="connsiteX1" fmla="*/ 5130800 w 5486400"/>
              <a:gd name="connsiteY1" fmla="*/ 50800 h 1447800"/>
              <a:gd name="connsiteX2" fmla="*/ 5486400 w 5486400"/>
              <a:gd name="connsiteY2" fmla="*/ 1447800 h 1447800"/>
              <a:gd name="connsiteX3" fmla="*/ 0 w 5486400"/>
              <a:gd name="connsiteY3" fmla="*/ 1447800 h 1447800"/>
              <a:gd name="connsiteX4" fmla="*/ 0 w 5486400"/>
              <a:gd name="connsiteY4" fmla="*/ 0 h 1447800"/>
              <a:gd name="connsiteX0" fmla="*/ 292100 w 5778500"/>
              <a:gd name="connsiteY0" fmla="*/ 0 h 1447800"/>
              <a:gd name="connsiteX1" fmla="*/ 5422900 w 5778500"/>
              <a:gd name="connsiteY1" fmla="*/ 50800 h 1447800"/>
              <a:gd name="connsiteX2" fmla="*/ 5778500 w 5778500"/>
              <a:gd name="connsiteY2" fmla="*/ 1447800 h 1447800"/>
              <a:gd name="connsiteX3" fmla="*/ 0 w 5778500"/>
              <a:gd name="connsiteY3" fmla="*/ 1447800 h 1447800"/>
              <a:gd name="connsiteX4" fmla="*/ 292100 w 5778500"/>
              <a:gd name="connsiteY4" fmla="*/ 0 h 1447800"/>
              <a:gd name="connsiteX0" fmla="*/ 381000 w 5778500"/>
              <a:gd name="connsiteY0" fmla="*/ 0 h 1422400"/>
              <a:gd name="connsiteX1" fmla="*/ 5422900 w 5778500"/>
              <a:gd name="connsiteY1" fmla="*/ 25400 h 1422400"/>
              <a:gd name="connsiteX2" fmla="*/ 5778500 w 5778500"/>
              <a:gd name="connsiteY2" fmla="*/ 1422400 h 1422400"/>
              <a:gd name="connsiteX3" fmla="*/ 0 w 5778500"/>
              <a:gd name="connsiteY3" fmla="*/ 1422400 h 1422400"/>
              <a:gd name="connsiteX4" fmla="*/ 381000 w 5778500"/>
              <a:gd name="connsiteY4" fmla="*/ 0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8500" h="1422400">
                <a:moveTo>
                  <a:pt x="381000" y="0"/>
                </a:moveTo>
                <a:lnTo>
                  <a:pt x="5422900" y="25400"/>
                </a:lnTo>
                <a:lnTo>
                  <a:pt x="5778500" y="1422400"/>
                </a:lnTo>
                <a:lnTo>
                  <a:pt x="0" y="1422400"/>
                </a:lnTo>
                <a:lnTo>
                  <a:pt x="3810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905500" y="0"/>
            <a:ext cx="5588000" cy="1219200"/>
          </a:xfrm>
          <a:custGeom>
            <a:avLst/>
            <a:gdLst>
              <a:gd name="connsiteX0" fmla="*/ 0 w 5588000"/>
              <a:gd name="connsiteY0" fmla="*/ 0 h 1181100"/>
              <a:gd name="connsiteX1" fmla="*/ 5588000 w 5588000"/>
              <a:gd name="connsiteY1" fmla="*/ 0 h 1181100"/>
              <a:gd name="connsiteX2" fmla="*/ 5588000 w 5588000"/>
              <a:gd name="connsiteY2" fmla="*/ 1181100 h 1181100"/>
              <a:gd name="connsiteX3" fmla="*/ 0 w 5588000"/>
              <a:gd name="connsiteY3" fmla="*/ 1181100 h 1181100"/>
              <a:gd name="connsiteX4" fmla="*/ 0 w 5588000"/>
              <a:gd name="connsiteY4" fmla="*/ 0 h 11811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0 w 5588000"/>
              <a:gd name="connsiteY3" fmla="*/ 1181100 h 1219200"/>
              <a:gd name="connsiteX4" fmla="*/ 0 w 5588000"/>
              <a:gd name="connsiteY4" fmla="*/ 0 h 12192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292100 w 5588000"/>
              <a:gd name="connsiteY3" fmla="*/ 1168400 h 1219200"/>
              <a:gd name="connsiteX4" fmla="*/ 0 w 5588000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8000" h="1219200">
                <a:moveTo>
                  <a:pt x="0" y="0"/>
                </a:moveTo>
                <a:lnTo>
                  <a:pt x="5588000" y="0"/>
                </a:lnTo>
                <a:lnTo>
                  <a:pt x="5295900" y="1219200"/>
                </a:lnTo>
                <a:lnTo>
                  <a:pt x="292100" y="11684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5429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374900" y="1447800"/>
            <a:ext cx="3981450" cy="2279650"/>
          </a:xfrm>
          <a:custGeom>
            <a:avLst/>
            <a:gdLst>
              <a:gd name="connsiteX0" fmla="*/ 0 w 4165600"/>
              <a:gd name="connsiteY0" fmla="*/ 0 h 1854200"/>
              <a:gd name="connsiteX1" fmla="*/ 4165600 w 4165600"/>
              <a:gd name="connsiteY1" fmla="*/ 0 h 1854200"/>
              <a:gd name="connsiteX2" fmla="*/ 4165600 w 4165600"/>
              <a:gd name="connsiteY2" fmla="*/ 1854200 h 1854200"/>
              <a:gd name="connsiteX3" fmla="*/ 0 w 4165600"/>
              <a:gd name="connsiteY3" fmla="*/ 1854200 h 1854200"/>
              <a:gd name="connsiteX4" fmla="*/ 0 w 4165600"/>
              <a:gd name="connsiteY4" fmla="*/ 0 h 1854200"/>
              <a:gd name="connsiteX0" fmla="*/ 0 w 4165600"/>
              <a:gd name="connsiteY0" fmla="*/ 228600 h 2082800"/>
              <a:gd name="connsiteX1" fmla="*/ 2914650 w 4165600"/>
              <a:gd name="connsiteY1" fmla="*/ 0 h 2082800"/>
              <a:gd name="connsiteX2" fmla="*/ 4165600 w 4165600"/>
              <a:gd name="connsiteY2" fmla="*/ 2082800 h 2082800"/>
              <a:gd name="connsiteX3" fmla="*/ 0 w 4165600"/>
              <a:gd name="connsiteY3" fmla="*/ 2082800 h 2082800"/>
              <a:gd name="connsiteX4" fmla="*/ 0 w 4165600"/>
              <a:gd name="connsiteY4" fmla="*/ 228600 h 2082800"/>
              <a:gd name="connsiteX0" fmla="*/ 0 w 4425950"/>
              <a:gd name="connsiteY0" fmla="*/ 228600 h 2082800"/>
              <a:gd name="connsiteX1" fmla="*/ 2914650 w 4425950"/>
              <a:gd name="connsiteY1" fmla="*/ 0 h 2082800"/>
              <a:gd name="connsiteX2" fmla="*/ 4425950 w 4425950"/>
              <a:gd name="connsiteY2" fmla="*/ 869950 h 2082800"/>
              <a:gd name="connsiteX3" fmla="*/ 0 w 4425950"/>
              <a:gd name="connsiteY3" fmla="*/ 2082800 h 2082800"/>
              <a:gd name="connsiteX4" fmla="*/ 0 w 4425950"/>
              <a:gd name="connsiteY4" fmla="*/ 228600 h 2082800"/>
              <a:gd name="connsiteX0" fmla="*/ 0 w 4425950"/>
              <a:gd name="connsiteY0" fmla="*/ 228600 h 2266950"/>
              <a:gd name="connsiteX1" fmla="*/ 2914650 w 4425950"/>
              <a:gd name="connsiteY1" fmla="*/ 0 h 2266950"/>
              <a:gd name="connsiteX2" fmla="*/ 4425950 w 4425950"/>
              <a:gd name="connsiteY2" fmla="*/ 869950 h 2266950"/>
              <a:gd name="connsiteX3" fmla="*/ 1955800 w 4425950"/>
              <a:gd name="connsiteY3" fmla="*/ 2266950 h 2266950"/>
              <a:gd name="connsiteX4" fmla="*/ 0 w 4425950"/>
              <a:gd name="connsiteY4" fmla="*/ 228600 h 2266950"/>
              <a:gd name="connsiteX0" fmla="*/ 0 w 3981450"/>
              <a:gd name="connsiteY0" fmla="*/ 1149350 h 2266950"/>
              <a:gd name="connsiteX1" fmla="*/ 2470150 w 3981450"/>
              <a:gd name="connsiteY1" fmla="*/ 0 h 2266950"/>
              <a:gd name="connsiteX2" fmla="*/ 3981450 w 3981450"/>
              <a:gd name="connsiteY2" fmla="*/ 869950 h 2266950"/>
              <a:gd name="connsiteX3" fmla="*/ 1511300 w 3981450"/>
              <a:gd name="connsiteY3" fmla="*/ 2266950 h 2266950"/>
              <a:gd name="connsiteX4" fmla="*/ 0 w 3981450"/>
              <a:gd name="connsiteY4" fmla="*/ 1149350 h 2266950"/>
              <a:gd name="connsiteX0" fmla="*/ 0 w 3981450"/>
              <a:gd name="connsiteY0" fmla="*/ 1162050 h 2279650"/>
              <a:gd name="connsiteX1" fmla="*/ 2438400 w 3981450"/>
              <a:gd name="connsiteY1" fmla="*/ 0 h 2279650"/>
              <a:gd name="connsiteX2" fmla="*/ 3981450 w 3981450"/>
              <a:gd name="connsiteY2" fmla="*/ 882650 h 2279650"/>
              <a:gd name="connsiteX3" fmla="*/ 1511300 w 3981450"/>
              <a:gd name="connsiteY3" fmla="*/ 2279650 h 2279650"/>
              <a:gd name="connsiteX4" fmla="*/ 0 w 3981450"/>
              <a:gd name="connsiteY4" fmla="*/ 1162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2279650">
                <a:moveTo>
                  <a:pt x="0" y="1162050"/>
                </a:moveTo>
                <a:lnTo>
                  <a:pt x="2438400" y="0"/>
                </a:lnTo>
                <a:lnTo>
                  <a:pt x="3981450" y="882650"/>
                </a:lnTo>
                <a:lnTo>
                  <a:pt x="1511300" y="2279650"/>
                </a:lnTo>
                <a:lnTo>
                  <a:pt x="0" y="116205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5886450" y="1768475"/>
            <a:ext cx="4044950" cy="2428875"/>
          </a:xfrm>
          <a:custGeom>
            <a:avLst/>
            <a:gdLst>
              <a:gd name="connsiteX0" fmla="*/ 0 w 2209800"/>
              <a:gd name="connsiteY0" fmla="*/ 0 h 2581275"/>
              <a:gd name="connsiteX1" fmla="*/ 2209800 w 2209800"/>
              <a:gd name="connsiteY1" fmla="*/ 0 h 2581275"/>
              <a:gd name="connsiteX2" fmla="*/ 2209800 w 2209800"/>
              <a:gd name="connsiteY2" fmla="*/ 2581275 h 2581275"/>
              <a:gd name="connsiteX3" fmla="*/ 0 w 2209800"/>
              <a:gd name="connsiteY3" fmla="*/ 2581275 h 2581275"/>
              <a:gd name="connsiteX4" fmla="*/ 0 w 2209800"/>
              <a:gd name="connsiteY4" fmla="*/ 0 h 2581275"/>
              <a:gd name="connsiteX0" fmla="*/ 0 w 2501900"/>
              <a:gd name="connsiteY0" fmla="*/ 0 h 2581275"/>
              <a:gd name="connsiteX1" fmla="*/ 2501900 w 2501900"/>
              <a:gd name="connsiteY1" fmla="*/ 927100 h 2581275"/>
              <a:gd name="connsiteX2" fmla="*/ 2209800 w 2501900"/>
              <a:gd name="connsiteY2" fmla="*/ 2581275 h 2581275"/>
              <a:gd name="connsiteX3" fmla="*/ 0 w 2501900"/>
              <a:gd name="connsiteY3" fmla="*/ 2581275 h 2581275"/>
              <a:gd name="connsiteX4" fmla="*/ 0 w 2501900"/>
              <a:gd name="connsiteY4" fmla="*/ 0 h 2581275"/>
              <a:gd name="connsiteX0" fmla="*/ 1543050 w 4044950"/>
              <a:gd name="connsiteY0" fmla="*/ 0 h 2581275"/>
              <a:gd name="connsiteX1" fmla="*/ 4044950 w 4044950"/>
              <a:gd name="connsiteY1" fmla="*/ 927100 h 2581275"/>
              <a:gd name="connsiteX2" fmla="*/ 3752850 w 4044950"/>
              <a:gd name="connsiteY2" fmla="*/ 2581275 h 2581275"/>
              <a:gd name="connsiteX3" fmla="*/ 0 w 4044950"/>
              <a:gd name="connsiteY3" fmla="*/ 1254125 h 2581275"/>
              <a:gd name="connsiteX4" fmla="*/ 1543050 w 4044950"/>
              <a:gd name="connsiteY4" fmla="*/ 0 h 2581275"/>
              <a:gd name="connsiteX0" fmla="*/ 2146300 w 4044950"/>
              <a:gd name="connsiteY0" fmla="*/ 0 h 2574925"/>
              <a:gd name="connsiteX1" fmla="*/ 4044950 w 4044950"/>
              <a:gd name="connsiteY1" fmla="*/ 920750 h 2574925"/>
              <a:gd name="connsiteX2" fmla="*/ 3752850 w 4044950"/>
              <a:gd name="connsiteY2" fmla="*/ 2574925 h 2574925"/>
              <a:gd name="connsiteX3" fmla="*/ 0 w 4044950"/>
              <a:gd name="connsiteY3" fmla="*/ 1247775 h 2574925"/>
              <a:gd name="connsiteX4" fmla="*/ 2146300 w 4044950"/>
              <a:gd name="connsiteY4" fmla="*/ 0 h 2574925"/>
              <a:gd name="connsiteX0" fmla="*/ 2146300 w 4044950"/>
              <a:gd name="connsiteY0" fmla="*/ 0 h 2428875"/>
              <a:gd name="connsiteX1" fmla="*/ 4044950 w 4044950"/>
              <a:gd name="connsiteY1" fmla="*/ 920750 h 2428875"/>
              <a:gd name="connsiteX2" fmla="*/ 1949450 w 4044950"/>
              <a:gd name="connsiteY2" fmla="*/ 2428875 h 2428875"/>
              <a:gd name="connsiteX3" fmla="*/ 0 w 4044950"/>
              <a:gd name="connsiteY3" fmla="*/ 1247775 h 2428875"/>
              <a:gd name="connsiteX4" fmla="*/ 2146300 w 4044950"/>
              <a:gd name="connsiteY4" fmla="*/ 0 h 242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4950" h="2428875">
                <a:moveTo>
                  <a:pt x="2146300" y="0"/>
                </a:moveTo>
                <a:lnTo>
                  <a:pt x="4044950" y="920750"/>
                </a:lnTo>
                <a:lnTo>
                  <a:pt x="1949450" y="2428875"/>
                </a:lnTo>
                <a:lnTo>
                  <a:pt x="0" y="1247775"/>
                </a:lnTo>
                <a:lnTo>
                  <a:pt x="21463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5381624" y="300037"/>
            <a:ext cx="3386137" cy="1697038"/>
          </a:xfrm>
          <a:custGeom>
            <a:avLst/>
            <a:gdLst>
              <a:gd name="connsiteX0" fmla="*/ 0 w 2876550"/>
              <a:gd name="connsiteY0" fmla="*/ 0 h 1587500"/>
              <a:gd name="connsiteX1" fmla="*/ 2876550 w 2876550"/>
              <a:gd name="connsiteY1" fmla="*/ 0 h 1587500"/>
              <a:gd name="connsiteX2" fmla="*/ 2876550 w 2876550"/>
              <a:gd name="connsiteY2" fmla="*/ 1587500 h 1587500"/>
              <a:gd name="connsiteX3" fmla="*/ 0 w 2876550"/>
              <a:gd name="connsiteY3" fmla="*/ 1587500 h 1587500"/>
              <a:gd name="connsiteX4" fmla="*/ 0 w 2876550"/>
              <a:gd name="connsiteY4" fmla="*/ 0 h 1587500"/>
              <a:gd name="connsiteX0" fmla="*/ 0 w 3014662"/>
              <a:gd name="connsiteY0" fmla="*/ 0 h 1587500"/>
              <a:gd name="connsiteX1" fmla="*/ 3014662 w 3014662"/>
              <a:gd name="connsiteY1" fmla="*/ 623887 h 1587500"/>
              <a:gd name="connsiteX2" fmla="*/ 2876550 w 3014662"/>
              <a:gd name="connsiteY2" fmla="*/ 1587500 h 1587500"/>
              <a:gd name="connsiteX3" fmla="*/ 0 w 3014662"/>
              <a:gd name="connsiteY3" fmla="*/ 1587500 h 1587500"/>
              <a:gd name="connsiteX4" fmla="*/ 0 w 3014662"/>
              <a:gd name="connsiteY4" fmla="*/ 0 h 1587500"/>
              <a:gd name="connsiteX0" fmla="*/ 1485900 w 3014662"/>
              <a:gd name="connsiteY0" fmla="*/ 0 h 1611313"/>
              <a:gd name="connsiteX1" fmla="*/ 3014662 w 3014662"/>
              <a:gd name="connsiteY1" fmla="*/ 647700 h 1611313"/>
              <a:gd name="connsiteX2" fmla="*/ 2876550 w 3014662"/>
              <a:gd name="connsiteY2" fmla="*/ 1611313 h 1611313"/>
              <a:gd name="connsiteX3" fmla="*/ 0 w 3014662"/>
              <a:gd name="connsiteY3" fmla="*/ 1611313 h 1611313"/>
              <a:gd name="connsiteX4" fmla="*/ 1485900 w 3014662"/>
              <a:gd name="connsiteY4" fmla="*/ 0 h 1611313"/>
              <a:gd name="connsiteX0" fmla="*/ 1857375 w 3386137"/>
              <a:gd name="connsiteY0" fmla="*/ 0 h 1611313"/>
              <a:gd name="connsiteX1" fmla="*/ 3386137 w 3386137"/>
              <a:gd name="connsiteY1" fmla="*/ 647700 h 1611313"/>
              <a:gd name="connsiteX2" fmla="*/ 3248025 w 3386137"/>
              <a:gd name="connsiteY2" fmla="*/ 1611313 h 1611313"/>
              <a:gd name="connsiteX3" fmla="*/ 0 w 3386137"/>
              <a:gd name="connsiteY3" fmla="*/ 882650 h 1611313"/>
              <a:gd name="connsiteX4" fmla="*/ 1857375 w 3386137"/>
              <a:gd name="connsiteY4" fmla="*/ 0 h 1611313"/>
              <a:gd name="connsiteX0" fmla="*/ 1857375 w 3386137"/>
              <a:gd name="connsiteY0" fmla="*/ 0 h 1697038"/>
              <a:gd name="connsiteX1" fmla="*/ 3386137 w 3386137"/>
              <a:gd name="connsiteY1" fmla="*/ 647700 h 1697038"/>
              <a:gd name="connsiteX2" fmla="*/ 1543050 w 3386137"/>
              <a:gd name="connsiteY2" fmla="*/ 1697038 h 1697038"/>
              <a:gd name="connsiteX3" fmla="*/ 0 w 3386137"/>
              <a:gd name="connsiteY3" fmla="*/ 882650 h 1697038"/>
              <a:gd name="connsiteX4" fmla="*/ 1857375 w 3386137"/>
              <a:gd name="connsiteY4" fmla="*/ 0 h 1697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6137" h="1697038">
                <a:moveTo>
                  <a:pt x="1857375" y="0"/>
                </a:moveTo>
                <a:lnTo>
                  <a:pt x="3386137" y="647700"/>
                </a:lnTo>
                <a:lnTo>
                  <a:pt x="1543050" y="1697038"/>
                </a:lnTo>
                <a:lnTo>
                  <a:pt x="0" y="882650"/>
                </a:lnTo>
                <a:lnTo>
                  <a:pt x="1857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452687" y="47625"/>
            <a:ext cx="3355976" cy="1608137"/>
          </a:xfrm>
          <a:custGeom>
            <a:avLst/>
            <a:gdLst>
              <a:gd name="connsiteX0" fmla="*/ 0 w 3094038"/>
              <a:gd name="connsiteY0" fmla="*/ 0 h 1246187"/>
              <a:gd name="connsiteX1" fmla="*/ 3094038 w 3094038"/>
              <a:gd name="connsiteY1" fmla="*/ 0 h 1246187"/>
              <a:gd name="connsiteX2" fmla="*/ 3094038 w 3094038"/>
              <a:gd name="connsiteY2" fmla="*/ 1246187 h 1246187"/>
              <a:gd name="connsiteX3" fmla="*/ 0 w 3094038"/>
              <a:gd name="connsiteY3" fmla="*/ 1246187 h 1246187"/>
              <a:gd name="connsiteX4" fmla="*/ 0 w 3094038"/>
              <a:gd name="connsiteY4" fmla="*/ 0 h 1246187"/>
              <a:gd name="connsiteX0" fmla="*/ 0 w 3284538"/>
              <a:gd name="connsiteY0" fmla="*/ 0 h 1246187"/>
              <a:gd name="connsiteX1" fmla="*/ 3284538 w 3284538"/>
              <a:gd name="connsiteY1" fmla="*/ 366712 h 1246187"/>
              <a:gd name="connsiteX2" fmla="*/ 3094038 w 3284538"/>
              <a:gd name="connsiteY2" fmla="*/ 1246187 h 1246187"/>
              <a:gd name="connsiteX3" fmla="*/ 0 w 3284538"/>
              <a:gd name="connsiteY3" fmla="*/ 1246187 h 1246187"/>
              <a:gd name="connsiteX4" fmla="*/ 0 w 3284538"/>
              <a:gd name="connsiteY4" fmla="*/ 0 h 1246187"/>
              <a:gd name="connsiteX0" fmla="*/ 1995487 w 3284538"/>
              <a:gd name="connsiteY0" fmla="*/ 0 h 1493837"/>
              <a:gd name="connsiteX1" fmla="*/ 3284538 w 3284538"/>
              <a:gd name="connsiteY1" fmla="*/ 614362 h 1493837"/>
              <a:gd name="connsiteX2" fmla="*/ 3094038 w 3284538"/>
              <a:gd name="connsiteY2" fmla="*/ 1493837 h 1493837"/>
              <a:gd name="connsiteX3" fmla="*/ 0 w 3284538"/>
              <a:gd name="connsiteY3" fmla="*/ 1493837 h 1493837"/>
              <a:gd name="connsiteX4" fmla="*/ 1995487 w 3284538"/>
              <a:gd name="connsiteY4" fmla="*/ 0 h 1493837"/>
              <a:gd name="connsiteX0" fmla="*/ 2057400 w 3346451"/>
              <a:gd name="connsiteY0" fmla="*/ 0 h 1493837"/>
              <a:gd name="connsiteX1" fmla="*/ 3346451 w 3346451"/>
              <a:gd name="connsiteY1" fmla="*/ 614362 h 1493837"/>
              <a:gd name="connsiteX2" fmla="*/ 3155951 w 3346451"/>
              <a:gd name="connsiteY2" fmla="*/ 1493837 h 1493837"/>
              <a:gd name="connsiteX3" fmla="*/ 0 w 3346451"/>
              <a:gd name="connsiteY3" fmla="*/ 831849 h 1493837"/>
              <a:gd name="connsiteX4" fmla="*/ 2057400 w 3346451"/>
              <a:gd name="connsiteY4" fmla="*/ 0 h 1493837"/>
              <a:gd name="connsiteX0" fmla="*/ 2057400 w 3346451"/>
              <a:gd name="connsiteY0" fmla="*/ 0 h 1603374"/>
              <a:gd name="connsiteX1" fmla="*/ 3346451 w 3346451"/>
              <a:gd name="connsiteY1" fmla="*/ 614362 h 1603374"/>
              <a:gd name="connsiteX2" fmla="*/ 1250951 w 3346451"/>
              <a:gd name="connsiteY2" fmla="*/ 1603374 h 1603374"/>
              <a:gd name="connsiteX3" fmla="*/ 0 w 3346451"/>
              <a:gd name="connsiteY3" fmla="*/ 831849 h 1603374"/>
              <a:gd name="connsiteX4" fmla="*/ 2057400 w 3346451"/>
              <a:gd name="connsiteY4" fmla="*/ 0 h 1603374"/>
              <a:gd name="connsiteX0" fmla="*/ 2057400 w 3355976"/>
              <a:gd name="connsiteY0" fmla="*/ 0 h 1603374"/>
              <a:gd name="connsiteX1" fmla="*/ 3355976 w 3355976"/>
              <a:gd name="connsiteY1" fmla="*/ 628649 h 1603374"/>
              <a:gd name="connsiteX2" fmla="*/ 1250951 w 3355976"/>
              <a:gd name="connsiteY2" fmla="*/ 1603374 h 1603374"/>
              <a:gd name="connsiteX3" fmla="*/ 0 w 3355976"/>
              <a:gd name="connsiteY3" fmla="*/ 831849 h 1603374"/>
              <a:gd name="connsiteX4" fmla="*/ 2057400 w 3355976"/>
              <a:gd name="connsiteY4" fmla="*/ 0 h 1603374"/>
              <a:gd name="connsiteX0" fmla="*/ 2071687 w 3355976"/>
              <a:gd name="connsiteY0" fmla="*/ 0 h 1608137"/>
              <a:gd name="connsiteX1" fmla="*/ 3355976 w 3355976"/>
              <a:gd name="connsiteY1" fmla="*/ 633412 h 1608137"/>
              <a:gd name="connsiteX2" fmla="*/ 1250951 w 3355976"/>
              <a:gd name="connsiteY2" fmla="*/ 1608137 h 1608137"/>
              <a:gd name="connsiteX3" fmla="*/ 0 w 3355976"/>
              <a:gd name="connsiteY3" fmla="*/ 836612 h 1608137"/>
              <a:gd name="connsiteX4" fmla="*/ 2071687 w 3355976"/>
              <a:gd name="connsiteY4" fmla="*/ 0 h 160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5976" h="1608137">
                <a:moveTo>
                  <a:pt x="2071687" y="0"/>
                </a:moveTo>
                <a:lnTo>
                  <a:pt x="3355976" y="633412"/>
                </a:lnTo>
                <a:lnTo>
                  <a:pt x="1250951" y="1608137"/>
                </a:lnTo>
                <a:lnTo>
                  <a:pt x="0" y="836612"/>
                </a:lnTo>
                <a:lnTo>
                  <a:pt x="207168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8280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85775" y="1504949"/>
            <a:ext cx="4387850" cy="3838575"/>
          </a:xfrm>
          <a:custGeom>
            <a:avLst/>
            <a:gdLst>
              <a:gd name="connsiteX0" fmla="*/ 0 w 3911600"/>
              <a:gd name="connsiteY0" fmla="*/ 0 h 4038600"/>
              <a:gd name="connsiteX1" fmla="*/ 3911600 w 3911600"/>
              <a:gd name="connsiteY1" fmla="*/ 0 h 4038600"/>
              <a:gd name="connsiteX2" fmla="*/ 3911600 w 3911600"/>
              <a:gd name="connsiteY2" fmla="*/ 4038600 h 4038600"/>
              <a:gd name="connsiteX3" fmla="*/ 0 w 3911600"/>
              <a:gd name="connsiteY3" fmla="*/ 4038600 h 4038600"/>
              <a:gd name="connsiteX4" fmla="*/ 0 w 3911600"/>
              <a:gd name="connsiteY4" fmla="*/ 0 h 4038600"/>
              <a:gd name="connsiteX0" fmla="*/ 0 w 3997325"/>
              <a:gd name="connsiteY0" fmla="*/ 0 h 4038600"/>
              <a:gd name="connsiteX1" fmla="*/ 3997325 w 3997325"/>
              <a:gd name="connsiteY1" fmla="*/ 571500 h 4038600"/>
              <a:gd name="connsiteX2" fmla="*/ 3911600 w 3997325"/>
              <a:gd name="connsiteY2" fmla="*/ 4038600 h 4038600"/>
              <a:gd name="connsiteX3" fmla="*/ 0 w 3997325"/>
              <a:gd name="connsiteY3" fmla="*/ 4038600 h 4038600"/>
              <a:gd name="connsiteX4" fmla="*/ 0 w 3997325"/>
              <a:gd name="connsiteY4" fmla="*/ 0 h 4038600"/>
              <a:gd name="connsiteX0" fmla="*/ 1847850 w 3997325"/>
              <a:gd name="connsiteY0" fmla="*/ 0 h 3981450"/>
              <a:gd name="connsiteX1" fmla="*/ 3997325 w 3997325"/>
              <a:gd name="connsiteY1" fmla="*/ 514350 h 3981450"/>
              <a:gd name="connsiteX2" fmla="*/ 3911600 w 3997325"/>
              <a:gd name="connsiteY2" fmla="*/ 3981450 h 3981450"/>
              <a:gd name="connsiteX3" fmla="*/ 0 w 3997325"/>
              <a:gd name="connsiteY3" fmla="*/ 3981450 h 3981450"/>
              <a:gd name="connsiteX4" fmla="*/ 1847850 w 3997325"/>
              <a:gd name="connsiteY4" fmla="*/ 0 h 3981450"/>
              <a:gd name="connsiteX0" fmla="*/ 2238375 w 4387850"/>
              <a:gd name="connsiteY0" fmla="*/ 0 h 3981450"/>
              <a:gd name="connsiteX1" fmla="*/ 4387850 w 4387850"/>
              <a:gd name="connsiteY1" fmla="*/ 514350 h 3981450"/>
              <a:gd name="connsiteX2" fmla="*/ 4302125 w 4387850"/>
              <a:gd name="connsiteY2" fmla="*/ 3981450 h 3981450"/>
              <a:gd name="connsiteX3" fmla="*/ 0 w 4387850"/>
              <a:gd name="connsiteY3" fmla="*/ 2647950 h 3981450"/>
              <a:gd name="connsiteX4" fmla="*/ 2238375 w 4387850"/>
              <a:gd name="connsiteY4" fmla="*/ 0 h 3981450"/>
              <a:gd name="connsiteX0" fmla="*/ 2238375 w 4387850"/>
              <a:gd name="connsiteY0" fmla="*/ 0 h 3838575"/>
              <a:gd name="connsiteX1" fmla="*/ 4387850 w 4387850"/>
              <a:gd name="connsiteY1" fmla="*/ 514350 h 3838575"/>
              <a:gd name="connsiteX2" fmla="*/ 1920875 w 4387850"/>
              <a:gd name="connsiteY2" fmla="*/ 3838575 h 3838575"/>
              <a:gd name="connsiteX3" fmla="*/ 0 w 4387850"/>
              <a:gd name="connsiteY3" fmla="*/ 2647950 h 3838575"/>
              <a:gd name="connsiteX4" fmla="*/ 2238375 w 4387850"/>
              <a:gd name="connsiteY4" fmla="*/ 0 h 383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7850" h="3838575">
                <a:moveTo>
                  <a:pt x="2238375" y="0"/>
                </a:moveTo>
                <a:lnTo>
                  <a:pt x="4387850" y="514350"/>
                </a:lnTo>
                <a:lnTo>
                  <a:pt x="1920875" y="3838575"/>
                </a:lnTo>
                <a:lnTo>
                  <a:pt x="0" y="2647950"/>
                </a:lnTo>
                <a:lnTo>
                  <a:pt x="2238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016249" y="371475"/>
            <a:ext cx="4403725" cy="3810000"/>
          </a:xfrm>
          <a:custGeom>
            <a:avLst/>
            <a:gdLst>
              <a:gd name="connsiteX0" fmla="*/ 0 w 2660650"/>
              <a:gd name="connsiteY0" fmla="*/ 0 h 4029075"/>
              <a:gd name="connsiteX1" fmla="*/ 2660650 w 2660650"/>
              <a:gd name="connsiteY1" fmla="*/ 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660650"/>
              <a:gd name="connsiteY0" fmla="*/ 0 h 4029075"/>
              <a:gd name="connsiteX1" fmla="*/ 2070100 w 2660650"/>
              <a:gd name="connsiteY1" fmla="*/ 49530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708275"/>
              <a:gd name="connsiteY0" fmla="*/ 0 h 4038600"/>
              <a:gd name="connsiteX1" fmla="*/ 2117725 w 2708275"/>
              <a:gd name="connsiteY1" fmla="*/ 504825 h 4038600"/>
              <a:gd name="connsiteX2" fmla="*/ 2708275 w 2708275"/>
              <a:gd name="connsiteY2" fmla="*/ 4038600 h 4038600"/>
              <a:gd name="connsiteX3" fmla="*/ 47625 w 2708275"/>
              <a:gd name="connsiteY3" fmla="*/ 4038600 h 4038600"/>
              <a:gd name="connsiteX4" fmla="*/ 0 w 2708275"/>
              <a:gd name="connsiteY4" fmla="*/ 0 h 4038600"/>
              <a:gd name="connsiteX0" fmla="*/ 2266950 w 4975225"/>
              <a:gd name="connsiteY0" fmla="*/ 0 h 4038600"/>
              <a:gd name="connsiteX1" fmla="*/ 4384675 w 4975225"/>
              <a:gd name="connsiteY1" fmla="*/ 504825 h 4038600"/>
              <a:gd name="connsiteX2" fmla="*/ 4975225 w 4975225"/>
              <a:gd name="connsiteY2" fmla="*/ 4038600 h 4038600"/>
              <a:gd name="connsiteX3" fmla="*/ 0 w 4975225"/>
              <a:gd name="connsiteY3" fmla="*/ 2647950 h 4038600"/>
              <a:gd name="connsiteX4" fmla="*/ 2266950 w 4975225"/>
              <a:gd name="connsiteY4" fmla="*/ 0 h 4038600"/>
              <a:gd name="connsiteX0" fmla="*/ 2266950 w 4384675"/>
              <a:gd name="connsiteY0" fmla="*/ 0 h 3876675"/>
              <a:gd name="connsiteX1" fmla="*/ 4384675 w 4384675"/>
              <a:gd name="connsiteY1" fmla="*/ 504825 h 3876675"/>
              <a:gd name="connsiteX2" fmla="*/ 1927225 w 4384675"/>
              <a:gd name="connsiteY2" fmla="*/ 3876675 h 3876675"/>
              <a:gd name="connsiteX3" fmla="*/ 0 w 4384675"/>
              <a:gd name="connsiteY3" fmla="*/ 2647950 h 3876675"/>
              <a:gd name="connsiteX4" fmla="*/ 2266950 w 4384675"/>
              <a:gd name="connsiteY4" fmla="*/ 0 h 3876675"/>
              <a:gd name="connsiteX0" fmla="*/ 2266950 w 4403725"/>
              <a:gd name="connsiteY0" fmla="*/ 0 h 3876675"/>
              <a:gd name="connsiteX1" fmla="*/ 4403725 w 4403725"/>
              <a:gd name="connsiteY1" fmla="*/ 504825 h 3876675"/>
              <a:gd name="connsiteX2" fmla="*/ 1927225 w 4403725"/>
              <a:gd name="connsiteY2" fmla="*/ 3876675 h 3876675"/>
              <a:gd name="connsiteX3" fmla="*/ 0 w 4403725"/>
              <a:gd name="connsiteY3" fmla="*/ 2647950 h 3876675"/>
              <a:gd name="connsiteX4" fmla="*/ 2266950 w 4403725"/>
              <a:gd name="connsiteY4" fmla="*/ 0 h 3876675"/>
              <a:gd name="connsiteX0" fmla="*/ 2266950 w 4403725"/>
              <a:gd name="connsiteY0" fmla="*/ 0 h 3800475"/>
              <a:gd name="connsiteX1" fmla="*/ 4403725 w 4403725"/>
              <a:gd name="connsiteY1" fmla="*/ 504825 h 3800475"/>
              <a:gd name="connsiteX2" fmla="*/ 1974850 w 4403725"/>
              <a:gd name="connsiteY2" fmla="*/ 3800475 h 3800475"/>
              <a:gd name="connsiteX3" fmla="*/ 0 w 4403725"/>
              <a:gd name="connsiteY3" fmla="*/ 2647950 h 3800475"/>
              <a:gd name="connsiteX4" fmla="*/ 2266950 w 4403725"/>
              <a:gd name="connsiteY4" fmla="*/ 0 h 3800475"/>
              <a:gd name="connsiteX0" fmla="*/ 2266950 w 4403725"/>
              <a:gd name="connsiteY0" fmla="*/ 0 h 3810000"/>
              <a:gd name="connsiteX1" fmla="*/ 4403725 w 4403725"/>
              <a:gd name="connsiteY1" fmla="*/ 504825 h 3810000"/>
              <a:gd name="connsiteX2" fmla="*/ 1955800 w 4403725"/>
              <a:gd name="connsiteY2" fmla="*/ 3810000 h 3810000"/>
              <a:gd name="connsiteX3" fmla="*/ 0 w 4403725"/>
              <a:gd name="connsiteY3" fmla="*/ 2647950 h 3810000"/>
              <a:gd name="connsiteX4" fmla="*/ 2266950 w 4403725"/>
              <a:gd name="connsiteY4" fmla="*/ 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725" h="3810000">
                <a:moveTo>
                  <a:pt x="2266950" y="0"/>
                </a:moveTo>
                <a:lnTo>
                  <a:pt x="4403725" y="504825"/>
                </a:lnTo>
                <a:lnTo>
                  <a:pt x="1955800" y="3810000"/>
                </a:lnTo>
                <a:lnTo>
                  <a:pt x="0" y="2647950"/>
                </a:lnTo>
                <a:lnTo>
                  <a:pt x="226695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7752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24563" y="1025525"/>
            <a:ext cx="4321175" cy="4551363"/>
          </a:xfrm>
          <a:custGeom>
            <a:avLst/>
            <a:gdLst>
              <a:gd name="connsiteX0" fmla="*/ 0 w 3749675"/>
              <a:gd name="connsiteY0" fmla="*/ 0 h 4691063"/>
              <a:gd name="connsiteX1" fmla="*/ 3749675 w 3749675"/>
              <a:gd name="connsiteY1" fmla="*/ 0 h 4691063"/>
              <a:gd name="connsiteX2" fmla="*/ 3749675 w 3749675"/>
              <a:gd name="connsiteY2" fmla="*/ 4691063 h 4691063"/>
              <a:gd name="connsiteX3" fmla="*/ 0 w 3749675"/>
              <a:gd name="connsiteY3" fmla="*/ 4691063 h 4691063"/>
              <a:gd name="connsiteX4" fmla="*/ 0 w 3749675"/>
              <a:gd name="connsiteY4" fmla="*/ 0 h 4691063"/>
              <a:gd name="connsiteX0" fmla="*/ 0 w 3838575"/>
              <a:gd name="connsiteY0" fmla="*/ 0 h 4691063"/>
              <a:gd name="connsiteX1" fmla="*/ 3838575 w 3838575"/>
              <a:gd name="connsiteY1" fmla="*/ 1447800 h 4691063"/>
              <a:gd name="connsiteX2" fmla="*/ 3749675 w 3838575"/>
              <a:gd name="connsiteY2" fmla="*/ 4691063 h 4691063"/>
              <a:gd name="connsiteX3" fmla="*/ 0 w 3838575"/>
              <a:gd name="connsiteY3" fmla="*/ 4691063 h 4691063"/>
              <a:gd name="connsiteX4" fmla="*/ 0 w 3838575"/>
              <a:gd name="connsiteY4" fmla="*/ 0 h 4691063"/>
              <a:gd name="connsiteX0" fmla="*/ 1765300 w 3838575"/>
              <a:gd name="connsiteY0" fmla="*/ 0 h 4487863"/>
              <a:gd name="connsiteX1" fmla="*/ 3838575 w 3838575"/>
              <a:gd name="connsiteY1" fmla="*/ 1244600 h 4487863"/>
              <a:gd name="connsiteX2" fmla="*/ 3749675 w 3838575"/>
              <a:gd name="connsiteY2" fmla="*/ 4487863 h 4487863"/>
              <a:gd name="connsiteX3" fmla="*/ 0 w 3838575"/>
              <a:gd name="connsiteY3" fmla="*/ 4487863 h 4487863"/>
              <a:gd name="connsiteX4" fmla="*/ 1765300 w 3838575"/>
              <a:gd name="connsiteY4" fmla="*/ 0 h 4487863"/>
              <a:gd name="connsiteX0" fmla="*/ 2247900 w 4321175"/>
              <a:gd name="connsiteY0" fmla="*/ 0 h 4487863"/>
              <a:gd name="connsiteX1" fmla="*/ 4321175 w 4321175"/>
              <a:gd name="connsiteY1" fmla="*/ 1244600 h 4487863"/>
              <a:gd name="connsiteX2" fmla="*/ 4232275 w 4321175"/>
              <a:gd name="connsiteY2" fmla="*/ 4487863 h 4487863"/>
              <a:gd name="connsiteX3" fmla="*/ 0 w 4321175"/>
              <a:gd name="connsiteY3" fmla="*/ 3230563 h 4487863"/>
              <a:gd name="connsiteX4" fmla="*/ 2247900 w 4321175"/>
              <a:gd name="connsiteY4" fmla="*/ 0 h 4487863"/>
              <a:gd name="connsiteX0" fmla="*/ 2247900 w 4321175"/>
              <a:gd name="connsiteY0" fmla="*/ 0 h 4551363"/>
              <a:gd name="connsiteX1" fmla="*/ 4321175 w 4321175"/>
              <a:gd name="connsiteY1" fmla="*/ 1244600 h 4551363"/>
              <a:gd name="connsiteX2" fmla="*/ 2136775 w 4321175"/>
              <a:gd name="connsiteY2" fmla="*/ 4551363 h 4551363"/>
              <a:gd name="connsiteX3" fmla="*/ 0 w 4321175"/>
              <a:gd name="connsiteY3" fmla="*/ 3230563 h 4551363"/>
              <a:gd name="connsiteX4" fmla="*/ 2247900 w 4321175"/>
              <a:gd name="connsiteY4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1175" h="4551363">
                <a:moveTo>
                  <a:pt x="2247900" y="0"/>
                </a:moveTo>
                <a:lnTo>
                  <a:pt x="4321175" y="1244600"/>
                </a:lnTo>
                <a:lnTo>
                  <a:pt x="2136775" y="4551363"/>
                </a:lnTo>
                <a:lnTo>
                  <a:pt x="0" y="3230563"/>
                </a:lnTo>
                <a:lnTo>
                  <a:pt x="22479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756140" y="3886200"/>
            <a:ext cx="1452880" cy="1409700"/>
          </a:xfrm>
          <a:custGeom>
            <a:avLst/>
            <a:gdLst>
              <a:gd name="connsiteX0" fmla="*/ 0 w 1574800"/>
              <a:gd name="connsiteY0" fmla="*/ 0 h 2095500"/>
              <a:gd name="connsiteX1" fmla="*/ 1574800 w 1574800"/>
              <a:gd name="connsiteY1" fmla="*/ 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0 w 1574800"/>
              <a:gd name="connsiteY0" fmla="*/ 0 h 2095500"/>
              <a:gd name="connsiteX1" fmla="*/ 1346200 w 1574800"/>
              <a:gd name="connsiteY1" fmla="*/ 53340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457200 w 1574800"/>
              <a:gd name="connsiteY0" fmla="*/ 0 h 2057400"/>
              <a:gd name="connsiteX1" fmla="*/ 1346200 w 1574800"/>
              <a:gd name="connsiteY1" fmla="*/ 495300 h 2057400"/>
              <a:gd name="connsiteX2" fmla="*/ 1574800 w 1574800"/>
              <a:gd name="connsiteY2" fmla="*/ 2057400 h 2057400"/>
              <a:gd name="connsiteX3" fmla="*/ 0 w 1574800"/>
              <a:gd name="connsiteY3" fmla="*/ 2057400 h 2057400"/>
              <a:gd name="connsiteX4" fmla="*/ 457200 w 1574800"/>
              <a:gd name="connsiteY4" fmla="*/ 0 h 2057400"/>
              <a:gd name="connsiteX0" fmla="*/ 556260 w 1673860"/>
              <a:gd name="connsiteY0" fmla="*/ 0 h 2057400"/>
              <a:gd name="connsiteX1" fmla="*/ 1445260 w 1673860"/>
              <a:gd name="connsiteY1" fmla="*/ 495300 h 2057400"/>
              <a:gd name="connsiteX2" fmla="*/ 1673860 w 1673860"/>
              <a:gd name="connsiteY2" fmla="*/ 2057400 h 2057400"/>
              <a:gd name="connsiteX3" fmla="*/ 0 w 1673860"/>
              <a:gd name="connsiteY3" fmla="*/ 861060 h 2057400"/>
              <a:gd name="connsiteX4" fmla="*/ 556260 w 1673860"/>
              <a:gd name="connsiteY4" fmla="*/ 0 h 2057400"/>
              <a:gd name="connsiteX0" fmla="*/ 55626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56260 w 1445260"/>
              <a:gd name="connsiteY4" fmla="*/ 0 h 1409700"/>
              <a:gd name="connsiteX0" fmla="*/ 57150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71500 w 1445260"/>
              <a:gd name="connsiteY4" fmla="*/ 0 h 1409700"/>
              <a:gd name="connsiteX0" fmla="*/ 571500 w 1452880"/>
              <a:gd name="connsiteY0" fmla="*/ 0 h 1409700"/>
              <a:gd name="connsiteX1" fmla="*/ 1452880 w 1452880"/>
              <a:gd name="connsiteY1" fmla="*/ 518160 h 1409700"/>
              <a:gd name="connsiteX2" fmla="*/ 896620 w 1452880"/>
              <a:gd name="connsiteY2" fmla="*/ 1409700 h 1409700"/>
              <a:gd name="connsiteX3" fmla="*/ 0 w 1452880"/>
              <a:gd name="connsiteY3" fmla="*/ 861060 h 1409700"/>
              <a:gd name="connsiteX4" fmla="*/ 571500 w 1452880"/>
              <a:gd name="connsiteY4" fmla="*/ 0 h 140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2880" h="1409700">
                <a:moveTo>
                  <a:pt x="571500" y="0"/>
                </a:moveTo>
                <a:lnTo>
                  <a:pt x="1452880" y="518160"/>
                </a:lnTo>
                <a:lnTo>
                  <a:pt x="896620" y="1409700"/>
                </a:lnTo>
                <a:lnTo>
                  <a:pt x="0" y="861060"/>
                </a:lnTo>
                <a:lnTo>
                  <a:pt x="5715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3137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139044" y="720725"/>
            <a:ext cx="10090602" cy="6694714"/>
          </a:xfrm>
          <a:custGeom>
            <a:avLst/>
            <a:gdLst>
              <a:gd name="connsiteX0" fmla="*/ 0 w 9680575"/>
              <a:gd name="connsiteY0" fmla="*/ 0 h 5384800"/>
              <a:gd name="connsiteX1" fmla="*/ 9680575 w 9680575"/>
              <a:gd name="connsiteY1" fmla="*/ 0 h 5384800"/>
              <a:gd name="connsiteX2" fmla="*/ 9680575 w 9680575"/>
              <a:gd name="connsiteY2" fmla="*/ 5384800 h 5384800"/>
              <a:gd name="connsiteX3" fmla="*/ 0 w 9680575"/>
              <a:gd name="connsiteY3" fmla="*/ 5384800 h 5384800"/>
              <a:gd name="connsiteX4" fmla="*/ 0 w 9680575"/>
              <a:gd name="connsiteY4" fmla="*/ 0 h 5384800"/>
              <a:gd name="connsiteX0" fmla="*/ 5016500 w 9680575"/>
              <a:gd name="connsiteY0" fmla="*/ 0 h 5499100"/>
              <a:gd name="connsiteX1" fmla="*/ 9680575 w 9680575"/>
              <a:gd name="connsiteY1" fmla="*/ 1143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499100"/>
              <a:gd name="connsiteX1" fmla="*/ 9464675 w 9680575"/>
              <a:gd name="connsiteY1" fmla="*/ 13081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549900"/>
              <a:gd name="connsiteX1" fmla="*/ 9464675 w 9680575"/>
              <a:gd name="connsiteY1" fmla="*/ 1358900 h 5549900"/>
              <a:gd name="connsiteX2" fmla="*/ 9680575 w 9680575"/>
              <a:gd name="connsiteY2" fmla="*/ 5549900 h 5549900"/>
              <a:gd name="connsiteX3" fmla="*/ 0 w 9680575"/>
              <a:gd name="connsiteY3" fmla="*/ 5549900 h 5549900"/>
              <a:gd name="connsiteX4" fmla="*/ 5016500 w 9680575"/>
              <a:gd name="connsiteY4" fmla="*/ 0 h 5549900"/>
              <a:gd name="connsiteX0" fmla="*/ 5562600 w 10226675"/>
              <a:gd name="connsiteY0" fmla="*/ 0 h 5549900"/>
              <a:gd name="connsiteX1" fmla="*/ 10010775 w 10226675"/>
              <a:gd name="connsiteY1" fmla="*/ 1358900 h 5549900"/>
              <a:gd name="connsiteX2" fmla="*/ 10226675 w 10226675"/>
              <a:gd name="connsiteY2" fmla="*/ 5549900 h 5549900"/>
              <a:gd name="connsiteX3" fmla="*/ 0 w 10226675"/>
              <a:gd name="connsiteY3" fmla="*/ 2794000 h 5549900"/>
              <a:gd name="connsiteX4" fmla="*/ 5562600 w 10226675"/>
              <a:gd name="connsiteY4" fmla="*/ 0 h 5549900"/>
              <a:gd name="connsiteX0" fmla="*/ 5562600 w 10061575"/>
              <a:gd name="connsiteY0" fmla="*/ 0 h 6477000"/>
              <a:gd name="connsiteX1" fmla="*/ 10010775 w 10061575"/>
              <a:gd name="connsiteY1" fmla="*/ 1358900 h 6477000"/>
              <a:gd name="connsiteX2" fmla="*/ 10061575 w 10061575"/>
              <a:gd name="connsiteY2" fmla="*/ 6477000 h 6477000"/>
              <a:gd name="connsiteX3" fmla="*/ 0 w 10061575"/>
              <a:gd name="connsiteY3" fmla="*/ 2794000 h 6477000"/>
              <a:gd name="connsiteX4" fmla="*/ 5562600 w 10061575"/>
              <a:gd name="connsiteY4" fmla="*/ 0 h 6477000"/>
              <a:gd name="connsiteX0" fmla="*/ 5562600 w 10134146"/>
              <a:gd name="connsiteY0" fmla="*/ 0 h 6665686"/>
              <a:gd name="connsiteX1" fmla="*/ 10010775 w 10134146"/>
              <a:gd name="connsiteY1" fmla="*/ 1358900 h 6665686"/>
              <a:gd name="connsiteX2" fmla="*/ 10134146 w 10134146"/>
              <a:gd name="connsiteY2" fmla="*/ 6665686 h 6665686"/>
              <a:gd name="connsiteX3" fmla="*/ 0 w 10134146"/>
              <a:gd name="connsiteY3" fmla="*/ 2794000 h 6665686"/>
              <a:gd name="connsiteX4" fmla="*/ 5562600 w 10134146"/>
              <a:gd name="connsiteY4" fmla="*/ 0 h 6665686"/>
              <a:gd name="connsiteX0" fmla="*/ 5562600 w 10032546"/>
              <a:gd name="connsiteY0" fmla="*/ 0 h 6665686"/>
              <a:gd name="connsiteX1" fmla="*/ 10010775 w 10032546"/>
              <a:gd name="connsiteY1" fmla="*/ 1358900 h 6665686"/>
              <a:gd name="connsiteX2" fmla="*/ 10032546 w 10032546"/>
              <a:gd name="connsiteY2" fmla="*/ 6665686 h 6665686"/>
              <a:gd name="connsiteX3" fmla="*/ 0 w 10032546"/>
              <a:gd name="connsiteY3" fmla="*/ 2794000 h 6665686"/>
              <a:gd name="connsiteX4" fmla="*/ 5562600 w 10032546"/>
              <a:gd name="connsiteY4" fmla="*/ 0 h 6665686"/>
              <a:gd name="connsiteX0" fmla="*/ 5562600 w 10047060"/>
              <a:gd name="connsiteY0" fmla="*/ 0 h 6680200"/>
              <a:gd name="connsiteX1" fmla="*/ 10010775 w 10047060"/>
              <a:gd name="connsiteY1" fmla="*/ 1358900 h 6680200"/>
              <a:gd name="connsiteX2" fmla="*/ 10047060 w 10047060"/>
              <a:gd name="connsiteY2" fmla="*/ 6680200 h 6680200"/>
              <a:gd name="connsiteX3" fmla="*/ 0 w 10047060"/>
              <a:gd name="connsiteY3" fmla="*/ 2794000 h 6680200"/>
              <a:gd name="connsiteX4" fmla="*/ 5562600 w 10047060"/>
              <a:gd name="connsiteY4" fmla="*/ 0 h 6680200"/>
              <a:gd name="connsiteX0" fmla="*/ 5562600 w 10119631"/>
              <a:gd name="connsiteY0" fmla="*/ 0 h 6694714"/>
              <a:gd name="connsiteX1" fmla="*/ 10010775 w 10119631"/>
              <a:gd name="connsiteY1" fmla="*/ 1358900 h 6694714"/>
              <a:gd name="connsiteX2" fmla="*/ 10119631 w 10119631"/>
              <a:gd name="connsiteY2" fmla="*/ 6694714 h 6694714"/>
              <a:gd name="connsiteX3" fmla="*/ 0 w 10119631"/>
              <a:gd name="connsiteY3" fmla="*/ 2794000 h 6694714"/>
              <a:gd name="connsiteX4" fmla="*/ 5562600 w 10119631"/>
              <a:gd name="connsiteY4" fmla="*/ 0 h 6694714"/>
              <a:gd name="connsiteX0" fmla="*/ 5562600 w 10032545"/>
              <a:gd name="connsiteY0" fmla="*/ 0 h 6694714"/>
              <a:gd name="connsiteX1" fmla="*/ 10010775 w 10032545"/>
              <a:gd name="connsiteY1" fmla="*/ 1358900 h 6694714"/>
              <a:gd name="connsiteX2" fmla="*/ 10032545 w 10032545"/>
              <a:gd name="connsiteY2" fmla="*/ 6694714 h 6694714"/>
              <a:gd name="connsiteX3" fmla="*/ 0 w 10032545"/>
              <a:gd name="connsiteY3" fmla="*/ 2794000 h 6694714"/>
              <a:gd name="connsiteX4" fmla="*/ 5562600 w 10032545"/>
              <a:gd name="connsiteY4" fmla="*/ 0 h 6694714"/>
              <a:gd name="connsiteX0" fmla="*/ 5620657 w 10090602"/>
              <a:gd name="connsiteY0" fmla="*/ 0 h 6694714"/>
              <a:gd name="connsiteX1" fmla="*/ 10068832 w 10090602"/>
              <a:gd name="connsiteY1" fmla="*/ 1358900 h 6694714"/>
              <a:gd name="connsiteX2" fmla="*/ 10090602 w 10090602"/>
              <a:gd name="connsiteY2" fmla="*/ 6694714 h 6694714"/>
              <a:gd name="connsiteX3" fmla="*/ 0 w 10090602"/>
              <a:gd name="connsiteY3" fmla="*/ 2794000 h 6694714"/>
              <a:gd name="connsiteX4" fmla="*/ 5620657 w 10090602"/>
              <a:gd name="connsiteY4" fmla="*/ 0 h 669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0602" h="6694714">
                <a:moveTo>
                  <a:pt x="5620657" y="0"/>
                </a:moveTo>
                <a:lnTo>
                  <a:pt x="10068832" y="1358900"/>
                </a:lnTo>
                <a:cubicBezTo>
                  <a:pt x="10076089" y="3137505"/>
                  <a:pt x="10083345" y="4916109"/>
                  <a:pt x="10090602" y="6694714"/>
                </a:cubicBezTo>
                <a:lnTo>
                  <a:pt x="0" y="2794000"/>
                </a:lnTo>
                <a:lnTo>
                  <a:pt x="562065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631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87153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371600" y="2324100"/>
            <a:ext cx="3895725" cy="3048000"/>
          </a:xfrm>
          <a:custGeom>
            <a:avLst/>
            <a:gdLst>
              <a:gd name="connsiteX0" fmla="*/ 0 w 3762375"/>
              <a:gd name="connsiteY0" fmla="*/ 0 h 3067050"/>
              <a:gd name="connsiteX1" fmla="*/ 3762375 w 3762375"/>
              <a:gd name="connsiteY1" fmla="*/ 0 h 3067050"/>
              <a:gd name="connsiteX2" fmla="*/ 3762375 w 3762375"/>
              <a:gd name="connsiteY2" fmla="*/ 3067050 h 3067050"/>
              <a:gd name="connsiteX3" fmla="*/ 0 w 3762375"/>
              <a:gd name="connsiteY3" fmla="*/ 3067050 h 3067050"/>
              <a:gd name="connsiteX4" fmla="*/ 0 w 3762375"/>
              <a:gd name="connsiteY4" fmla="*/ 0 h 3067050"/>
              <a:gd name="connsiteX0" fmla="*/ 0 w 3762375"/>
              <a:gd name="connsiteY0" fmla="*/ 114300 h 3181350"/>
              <a:gd name="connsiteX1" fmla="*/ 1562100 w 3762375"/>
              <a:gd name="connsiteY1" fmla="*/ 0 h 3181350"/>
              <a:gd name="connsiteX2" fmla="*/ 3762375 w 3762375"/>
              <a:gd name="connsiteY2" fmla="*/ 3181350 h 3181350"/>
              <a:gd name="connsiteX3" fmla="*/ 0 w 3762375"/>
              <a:gd name="connsiteY3" fmla="*/ 3181350 h 3181350"/>
              <a:gd name="connsiteX4" fmla="*/ 0 w 3762375"/>
              <a:gd name="connsiteY4" fmla="*/ 114300 h 3181350"/>
              <a:gd name="connsiteX0" fmla="*/ 0 w 3838575"/>
              <a:gd name="connsiteY0" fmla="*/ 114300 h 3181350"/>
              <a:gd name="connsiteX1" fmla="*/ 1562100 w 3838575"/>
              <a:gd name="connsiteY1" fmla="*/ 0 h 3181350"/>
              <a:gd name="connsiteX2" fmla="*/ 3838575 w 3838575"/>
              <a:gd name="connsiteY2" fmla="*/ 2095500 h 3181350"/>
              <a:gd name="connsiteX3" fmla="*/ 0 w 3838575"/>
              <a:gd name="connsiteY3" fmla="*/ 3181350 h 3181350"/>
              <a:gd name="connsiteX4" fmla="*/ 0 w 3838575"/>
              <a:gd name="connsiteY4" fmla="*/ 114300 h 3181350"/>
              <a:gd name="connsiteX0" fmla="*/ 0 w 3895725"/>
              <a:gd name="connsiteY0" fmla="*/ 942975 h 3181350"/>
              <a:gd name="connsiteX1" fmla="*/ 1619250 w 3895725"/>
              <a:gd name="connsiteY1" fmla="*/ 0 h 3181350"/>
              <a:gd name="connsiteX2" fmla="*/ 3895725 w 3895725"/>
              <a:gd name="connsiteY2" fmla="*/ 2095500 h 3181350"/>
              <a:gd name="connsiteX3" fmla="*/ 57150 w 3895725"/>
              <a:gd name="connsiteY3" fmla="*/ 3181350 h 3181350"/>
              <a:gd name="connsiteX4" fmla="*/ 0 w 3895725"/>
              <a:gd name="connsiteY4" fmla="*/ 942975 h 3181350"/>
              <a:gd name="connsiteX0" fmla="*/ 0 w 3895725"/>
              <a:gd name="connsiteY0" fmla="*/ 942975 h 3048000"/>
              <a:gd name="connsiteX1" fmla="*/ 1619250 w 3895725"/>
              <a:gd name="connsiteY1" fmla="*/ 0 h 3048000"/>
              <a:gd name="connsiteX2" fmla="*/ 3895725 w 3895725"/>
              <a:gd name="connsiteY2" fmla="*/ 2095500 h 3048000"/>
              <a:gd name="connsiteX3" fmla="*/ 2266950 w 3895725"/>
              <a:gd name="connsiteY3" fmla="*/ 3048000 h 3048000"/>
              <a:gd name="connsiteX4" fmla="*/ 0 w 3895725"/>
              <a:gd name="connsiteY4" fmla="*/ 942975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95725" h="3048000">
                <a:moveTo>
                  <a:pt x="0" y="942975"/>
                </a:moveTo>
                <a:lnTo>
                  <a:pt x="1619250" y="0"/>
                </a:lnTo>
                <a:lnTo>
                  <a:pt x="3895725" y="2095500"/>
                </a:lnTo>
                <a:lnTo>
                  <a:pt x="2266950" y="3048000"/>
                </a:lnTo>
                <a:lnTo>
                  <a:pt x="0" y="94297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52787" y="1314449"/>
            <a:ext cx="3757612" cy="2905125"/>
          </a:xfrm>
          <a:custGeom>
            <a:avLst/>
            <a:gdLst>
              <a:gd name="connsiteX0" fmla="*/ 0 w 3986212"/>
              <a:gd name="connsiteY0" fmla="*/ 0 h 2990850"/>
              <a:gd name="connsiteX1" fmla="*/ 3986212 w 3986212"/>
              <a:gd name="connsiteY1" fmla="*/ 0 h 2990850"/>
              <a:gd name="connsiteX2" fmla="*/ 3986212 w 3986212"/>
              <a:gd name="connsiteY2" fmla="*/ 2990850 h 2990850"/>
              <a:gd name="connsiteX3" fmla="*/ 0 w 3986212"/>
              <a:gd name="connsiteY3" fmla="*/ 2990850 h 2990850"/>
              <a:gd name="connsiteX4" fmla="*/ 0 w 3986212"/>
              <a:gd name="connsiteY4" fmla="*/ 0 h 2990850"/>
              <a:gd name="connsiteX0" fmla="*/ 0 w 4052887"/>
              <a:gd name="connsiteY0" fmla="*/ 828675 h 2990850"/>
              <a:gd name="connsiteX1" fmla="*/ 4052887 w 4052887"/>
              <a:gd name="connsiteY1" fmla="*/ 0 h 2990850"/>
              <a:gd name="connsiteX2" fmla="*/ 4052887 w 4052887"/>
              <a:gd name="connsiteY2" fmla="*/ 2990850 h 2990850"/>
              <a:gd name="connsiteX3" fmla="*/ 66675 w 4052887"/>
              <a:gd name="connsiteY3" fmla="*/ 2990850 h 2990850"/>
              <a:gd name="connsiteX4" fmla="*/ 0 w 4052887"/>
              <a:gd name="connsiteY4" fmla="*/ 828675 h 2990850"/>
              <a:gd name="connsiteX0" fmla="*/ 0 w 4052887"/>
              <a:gd name="connsiteY0" fmla="*/ 885825 h 3048000"/>
              <a:gd name="connsiteX1" fmla="*/ 1490662 w 4052887"/>
              <a:gd name="connsiteY1" fmla="*/ 0 h 3048000"/>
              <a:gd name="connsiteX2" fmla="*/ 4052887 w 4052887"/>
              <a:gd name="connsiteY2" fmla="*/ 3048000 h 3048000"/>
              <a:gd name="connsiteX3" fmla="*/ 66675 w 4052887"/>
              <a:gd name="connsiteY3" fmla="*/ 3048000 h 3048000"/>
              <a:gd name="connsiteX4" fmla="*/ 0 w 4052887"/>
              <a:gd name="connsiteY4" fmla="*/ 885825 h 3048000"/>
              <a:gd name="connsiteX0" fmla="*/ 0 w 3757612"/>
              <a:gd name="connsiteY0" fmla="*/ 885825 h 3048000"/>
              <a:gd name="connsiteX1" fmla="*/ 1490662 w 3757612"/>
              <a:gd name="connsiteY1" fmla="*/ 0 h 3048000"/>
              <a:gd name="connsiteX2" fmla="*/ 3757612 w 3757612"/>
              <a:gd name="connsiteY2" fmla="*/ 1990725 h 3048000"/>
              <a:gd name="connsiteX3" fmla="*/ 66675 w 3757612"/>
              <a:gd name="connsiteY3" fmla="*/ 3048000 h 3048000"/>
              <a:gd name="connsiteX4" fmla="*/ 0 w 3757612"/>
              <a:gd name="connsiteY4" fmla="*/ 885825 h 3048000"/>
              <a:gd name="connsiteX0" fmla="*/ 0 w 3757612"/>
              <a:gd name="connsiteY0" fmla="*/ 885825 h 2905125"/>
              <a:gd name="connsiteX1" fmla="*/ 1490662 w 3757612"/>
              <a:gd name="connsiteY1" fmla="*/ 0 h 2905125"/>
              <a:gd name="connsiteX2" fmla="*/ 3757612 w 3757612"/>
              <a:gd name="connsiteY2" fmla="*/ 1990725 h 2905125"/>
              <a:gd name="connsiteX3" fmla="*/ 2219325 w 3757612"/>
              <a:gd name="connsiteY3" fmla="*/ 2905125 h 2905125"/>
              <a:gd name="connsiteX4" fmla="*/ 0 w 3757612"/>
              <a:gd name="connsiteY4" fmla="*/ 885825 h 290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7612" h="2905125">
                <a:moveTo>
                  <a:pt x="0" y="885825"/>
                </a:moveTo>
                <a:lnTo>
                  <a:pt x="1490662" y="0"/>
                </a:lnTo>
                <a:lnTo>
                  <a:pt x="3757612" y="1990725"/>
                </a:lnTo>
                <a:lnTo>
                  <a:pt x="2219325" y="2905125"/>
                </a:lnTo>
                <a:lnTo>
                  <a:pt x="0" y="8858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914900" y="266700"/>
            <a:ext cx="3876675" cy="2952750"/>
          </a:xfrm>
          <a:custGeom>
            <a:avLst/>
            <a:gdLst>
              <a:gd name="connsiteX0" fmla="*/ 0 w 3943350"/>
              <a:gd name="connsiteY0" fmla="*/ 0 h 2514600"/>
              <a:gd name="connsiteX1" fmla="*/ 3943350 w 3943350"/>
              <a:gd name="connsiteY1" fmla="*/ 0 h 2514600"/>
              <a:gd name="connsiteX2" fmla="*/ 3943350 w 3943350"/>
              <a:gd name="connsiteY2" fmla="*/ 2514600 h 2514600"/>
              <a:gd name="connsiteX3" fmla="*/ 0 w 3943350"/>
              <a:gd name="connsiteY3" fmla="*/ 2514600 h 2514600"/>
              <a:gd name="connsiteX4" fmla="*/ 0 w 3943350"/>
              <a:gd name="connsiteY4" fmla="*/ 0 h 2514600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27146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19907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933700"/>
              <a:gd name="connsiteX1" fmla="*/ 1657350 w 3943350"/>
              <a:gd name="connsiteY1" fmla="*/ 0 h 2933700"/>
              <a:gd name="connsiteX2" fmla="*/ 3943350 w 3943350"/>
              <a:gd name="connsiteY2" fmla="*/ 1990725 h 2933700"/>
              <a:gd name="connsiteX3" fmla="*/ 2381250 w 3943350"/>
              <a:gd name="connsiteY3" fmla="*/ 2933700 h 2933700"/>
              <a:gd name="connsiteX4" fmla="*/ 0 w 3943350"/>
              <a:gd name="connsiteY4" fmla="*/ 200025 h 2933700"/>
              <a:gd name="connsiteX0" fmla="*/ 0 w 3876675"/>
              <a:gd name="connsiteY0" fmla="*/ 904875 h 2933700"/>
              <a:gd name="connsiteX1" fmla="*/ 1590675 w 3876675"/>
              <a:gd name="connsiteY1" fmla="*/ 0 h 2933700"/>
              <a:gd name="connsiteX2" fmla="*/ 3876675 w 3876675"/>
              <a:gd name="connsiteY2" fmla="*/ 1990725 h 2933700"/>
              <a:gd name="connsiteX3" fmla="*/ 2314575 w 3876675"/>
              <a:gd name="connsiteY3" fmla="*/ 2933700 h 2933700"/>
              <a:gd name="connsiteX4" fmla="*/ 0 w 3876675"/>
              <a:gd name="connsiteY4" fmla="*/ 904875 h 2933700"/>
              <a:gd name="connsiteX0" fmla="*/ 0 w 3876675"/>
              <a:gd name="connsiteY0" fmla="*/ 923925 h 2952750"/>
              <a:gd name="connsiteX1" fmla="*/ 1581150 w 3876675"/>
              <a:gd name="connsiteY1" fmla="*/ 0 h 2952750"/>
              <a:gd name="connsiteX2" fmla="*/ 3876675 w 3876675"/>
              <a:gd name="connsiteY2" fmla="*/ 2009775 h 2952750"/>
              <a:gd name="connsiteX3" fmla="*/ 2314575 w 3876675"/>
              <a:gd name="connsiteY3" fmla="*/ 2952750 h 2952750"/>
              <a:gd name="connsiteX4" fmla="*/ 0 w 3876675"/>
              <a:gd name="connsiteY4" fmla="*/ 923925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6675" h="2952750">
                <a:moveTo>
                  <a:pt x="0" y="923925"/>
                </a:moveTo>
                <a:lnTo>
                  <a:pt x="1581150" y="0"/>
                </a:lnTo>
                <a:lnTo>
                  <a:pt x="3876675" y="2009775"/>
                </a:lnTo>
                <a:lnTo>
                  <a:pt x="2314575" y="2952750"/>
                </a:lnTo>
                <a:lnTo>
                  <a:pt x="0" y="9239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5801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2066925" y="1685925"/>
            <a:ext cx="4829175" cy="272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0787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Freeform 3"/>
          <p:cNvSpPr/>
          <p:nvPr/>
        </p:nvSpPr>
        <p:spPr>
          <a:xfrm flipH="1">
            <a:off x="3190385" y="5715984"/>
            <a:ext cx="1504164" cy="6740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711" h="21586" extrusionOk="0">
                <a:moveTo>
                  <a:pt x="17143" y="0"/>
                </a:moveTo>
                <a:lnTo>
                  <a:pt x="3569" y="0"/>
                </a:lnTo>
                <a:cubicBezTo>
                  <a:pt x="3255" y="18469"/>
                  <a:pt x="2522" y="17542"/>
                  <a:pt x="411" y="20004"/>
                </a:cubicBezTo>
                <a:cubicBezTo>
                  <a:pt x="-444" y="21289"/>
                  <a:pt x="79" y="21600"/>
                  <a:pt x="1580" y="21586"/>
                </a:cubicBezTo>
                <a:lnTo>
                  <a:pt x="10356" y="21549"/>
                </a:lnTo>
                <a:lnTo>
                  <a:pt x="19132" y="21586"/>
                </a:lnTo>
                <a:cubicBezTo>
                  <a:pt x="20633" y="21600"/>
                  <a:pt x="21156" y="21289"/>
                  <a:pt x="20301" y="20004"/>
                </a:cubicBezTo>
                <a:cubicBezTo>
                  <a:pt x="18190" y="17542"/>
                  <a:pt x="17457" y="18469"/>
                  <a:pt x="17143" y="0"/>
                </a:cubicBez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F2F2F2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59" name="Round Same Side Corner Rectangle 5"/>
          <p:cNvSpPr/>
          <p:nvPr/>
        </p:nvSpPr>
        <p:spPr>
          <a:xfrm>
            <a:off x="1504950" y="2347055"/>
            <a:ext cx="4876801" cy="29194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60" y="0"/>
                </a:moveTo>
                <a:lnTo>
                  <a:pt x="21140" y="0"/>
                </a:lnTo>
                <a:cubicBezTo>
                  <a:pt x="21394" y="0"/>
                  <a:pt x="21600" y="344"/>
                  <a:pt x="21600" y="76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769"/>
                </a:lnTo>
                <a:cubicBezTo>
                  <a:pt x="0" y="344"/>
                  <a:pt x="206" y="0"/>
                  <a:pt x="460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0" name="Round Same Side Corner Rectangle 6"/>
          <p:cNvSpPr/>
          <p:nvPr/>
        </p:nvSpPr>
        <p:spPr>
          <a:xfrm rot="10800000" flipH="1">
            <a:off x="1504950" y="5266469"/>
            <a:ext cx="4876801" cy="449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55" y="0"/>
                </a:moveTo>
                <a:lnTo>
                  <a:pt x="21145" y="0"/>
                </a:lnTo>
                <a:cubicBezTo>
                  <a:pt x="21397" y="0"/>
                  <a:pt x="21600" y="2207"/>
                  <a:pt x="21600" y="492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4929"/>
                </a:lnTo>
                <a:cubicBezTo>
                  <a:pt x="0" y="2207"/>
                  <a:pt x="203" y="0"/>
                  <a:pt x="455" y="0"/>
                </a:cubicBez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686982" y="2538031"/>
            <a:ext cx="4511041" cy="25374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85745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693920" y="3043652"/>
            <a:ext cx="2804161" cy="17526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351520" y="3043652"/>
            <a:ext cx="2804161" cy="175260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137920" y="3043652"/>
            <a:ext cx="2804161" cy="175260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35088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9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4440" y="2368702"/>
            <a:ext cx="2103121" cy="28041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06058" y="2368702"/>
            <a:ext cx="2103121" cy="280416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283294" y="2368702"/>
            <a:ext cx="2103121" cy="280416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95671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4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8" name="Picture 44" descr="Picture 4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440301" y="4989814"/>
            <a:ext cx="475985" cy="153068"/>
          </a:xfrm>
          <a:prstGeom prst="rect">
            <a:avLst/>
          </a:prstGeom>
          <a:ln w="12700">
            <a:miter lim="400000"/>
          </a:ln>
        </p:spPr>
      </p:pic>
      <p:sp>
        <p:nvSpPr>
          <p:cNvPr id="56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433927" y="5088233"/>
            <a:ext cx="487681" cy="5689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2050" y="4351972"/>
            <a:ext cx="2286001" cy="14287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918864" y="3077899"/>
            <a:ext cx="3352801" cy="18859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584563" y="4319476"/>
            <a:ext cx="1036321" cy="13817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841705" y="4564109"/>
            <a:ext cx="651511" cy="115824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29170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1_Mockups_blackbg">
    <p:bg>
      <p:bgPr>
        <a:solidFill>
          <a:schemeClr val="bg1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Freeform: Shape 32"/>
          <p:cNvSpPr/>
          <p:nvPr/>
        </p:nvSpPr>
        <p:spPr>
          <a:xfrm rot="10800000">
            <a:off x="7073236" y="-2207"/>
            <a:ext cx="468537" cy="42795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5231" y="21600"/>
                </a:lnTo>
                <a:lnTo>
                  <a:pt x="15231" y="1825"/>
                </a:lnTo>
                <a:cubicBezTo>
                  <a:pt x="15231" y="817"/>
                  <a:pt x="8412" y="0"/>
                  <a:pt x="0" y="0"/>
                </a:cubicBezTo>
                <a:lnTo>
                  <a:pt x="2224" y="0"/>
                </a:lnTo>
                <a:cubicBezTo>
                  <a:pt x="12925" y="0"/>
                  <a:pt x="21600" y="1039"/>
                  <a:pt x="21600" y="2321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6" name="Freeform: Shape 33"/>
          <p:cNvSpPr/>
          <p:nvPr/>
        </p:nvSpPr>
        <p:spPr>
          <a:xfrm rot="10800000" flipH="1">
            <a:off x="10347558" y="-1"/>
            <a:ext cx="468537" cy="4277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31" y="21600"/>
                </a:moveTo>
                <a:lnTo>
                  <a:pt x="21600" y="21600"/>
                </a:lnTo>
                <a:lnTo>
                  <a:pt x="21600" y="2322"/>
                </a:lnTo>
                <a:cubicBezTo>
                  <a:pt x="21600" y="1040"/>
                  <a:pt x="12925" y="0"/>
                  <a:pt x="2224" y="0"/>
                </a:cubicBezTo>
                <a:lnTo>
                  <a:pt x="0" y="0"/>
                </a:lnTo>
                <a:cubicBezTo>
                  <a:pt x="8412" y="0"/>
                  <a:pt x="15231" y="817"/>
                  <a:pt x="15231" y="1826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7" name="Freeform: Shape 34"/>
          <p:cNvSpPr/>
          <p:nvPr/>
        </p:nvSpPr>
        <p:spPr>
          <a:xfrm>
            <a:off x="7092788" y="-1"/>
            <a:ext cx="3691649" cy="43641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19102"/>
                </a:lnTo>
                <a:cubicBezTo>
                  <a:pt x="21600" y="20482"/>
                  <a:pt x="20278" y="21600"/>
                  <a:pt x="18647" y="21600"/>
                </a:cubicBezTo>
                <a:lnTo>
                  <a:pt x="2953" y="21600"/>
                </a:lnTo>
                <a:cubicBezTo>
                  <a:pt x="1322" y="21600"/>
                  <a:pt x="0" y="20482"/>
                  <a:pt x="0" y="1910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508000" dir="54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8" name="Freeform: Shape 35"/>
          <p:cNvSpPr/>
          <p:nvPr/>
        </p:nvSpPr>
        <p:spPr>
          <a:xfrm>
            <a:off x="2126721" y="1834924"/>
            <a:ext cx="3731556" cy="50230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035" y="0"/>
                </a:moveTo>
                <a:lnTo>
                  <a:pt x="18565" y="0"/>
                </a:lnTo>
                <a:cubicBezTo>
                  <a:pt x="20179" y="0"/>
                  <a:pt x="21487" y="972"/>
                  <a:pt x="21487" y="2171"/>
                </a:cubicBezTo>
                <a:lnTo>
                  <a:pt x="21487" y="6196"/>
                </a:lnTo>
                <a:lnTo>
                  <a:pt x="21518" y="6196"/>
                </a:lnTo>
                <a:cubicBezTo>
                  <a:pt x="21563" y="6196"/>
                  <a:pt x="21600" y="6224"/>
                  <a:pt x="21600" y="6257"/>
                </a:cubicBezTo>
                <a:lnTo>
                  <a:pt x="21600" y="8216"/>
                </a:lnTo>
                <a:cubicBezTo>
                  <a:pt x="21600" y="8249"/>
                  <a:pt x="21563" y="8276"/>
                  <a:pt x="21518" y="8276"/>
                </a:cubicBezTo>
                <a:lnTo>
                  <a:pt x="21487" y="8276"/>
                </a:lnTo>
                <a:lnTo>
                  <a:pt x="21487" y="21600"/>
                </a:lnTo>
                <a:lnTo>
                  <a:pt x="113" y="21600"/>
                </a:lnTo>
                <a:lnTo>
                  <a:pt x="113" y="10855"/>
                </a:lnTo>
                <a:lnTo>
                  <a:pt x="82" y="10855"/>
                </a:lnTo>
                <a:cubicBezTo>
                  <a:pt x="37" y="10855"/>
                  <a:pt x="0" y="10827"/>
                  <a:pt x="0" y="10794"/>
                </a:cubicBezTo>
                <a:lnTo>
                  <a:pt x="0" y="8835"/>
                </a:lnTo>
                <a:cubicBezTo>
                  <a:pt x="0" y="8802"/>
                  <a:pt x="37" y="8774"/>
                  <a:pt x="82" y="8774"/>
                </a:cubicBezTo>
                <a:lnTo>
                  <a:pt x="113" y="8774"/>
                </a:lnTo>
                <a:lnTo>
                  <a:pt x="113" y="8276"/>
                </a:lnTo>
                <a:lnTo>
                  <a:pt x="82" y="8276"/>
                </a:lnTo>
                <a:cubicBezTo>
                  <a:pt x="37" y="8276"/>
                  <a:pt x="0" y="8249"/>
                  <a:pt x="0" y="8216"/>
                </a:cubicBezTo>
                <a:lnTo>
                  <a:pt x="0" y="6257"/>
                </a:lnTo>
                <a:cubicBezTo>
                  <a:pt x="0" y="6224"/>
                  <a:pt x="37" y="6196"/>
                  <a:pt x="82" y="6196"/>
                </a:cubicBezTo>
                <a:lnTo>
                  <a:pt x="113" y="6196"/>
                </a:lnTo>
                <a:lnTo>
                  <a:pt x="113" y="4968"/>
                </a:lnTo>
                <a:lnTo>
                  <a:pt x="48" y="4968"/>
                </a:lnTo>
                <a:cubicBezTo>
                  <a:pt x="21" y="4968"/>
                  <a:pt x="0" y="4952"/>
                  <a:pt x="0" y="4933"/>
                </a:cubicBezTo>
                <a:lnTo>
                  <a:pt x="0" y="3864"/>
                </a:lnTo>
                <a:cubicBezTo>
                  <a:pt x="0" y="3844"/>
                  <a:pt x="21" y="3828"/>
                  <a:pt x="48" y="3828"/>
                </a:cubicBezTo>
                <a:lnTo>
                  <a:pt x="113" y="3828"/>
                </a:lnTo>
                <a:lnTo>
                  <a:pt x="113" y="2171"/>
                </a:lnTo>
                <a:cubicBezTo>
                  <a:pt x="113" y="972"/>
                  <a:pt x="1421" y="0"/>
                  <a:pt x="3035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469900" dir="162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9" name="Freeform: Shape 36"/>
          <p:cNvSpPr/>
          <p:nvPr/>
        </p:nvSpPr>
        <p:spPr>
          <a:xfrm>
            <a:off x="2170048" y="1834923"/>
            <a:ext cx="3644901" cy="4422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5000">
                <a:srgbClr val="000000"/>
              </a:gs>
              <a:gs pos="51000">
                <a:srgbClr val="808080"/>
              </a:gs>
              <a:gs pos="58999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0" name="Freeform: Shape 68"/>
          <p:cNvSpPr/>
          <p:nvPr/>
        </p:nvSpPr>
        <p:spPr>
          <a:xfrm>
            <a:off x="5362828" y="1917699"/>
            <a:ext cx="468537" cy="4940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224" y="0"/>
                </a:lnTo>
                <a:cubicBezTo>
                  <a:pt x="12925" y="0"/>
                  <a:pt x="21600" y="894"/>
                  <a:pt x="21600" y="1998"/>
                </a:cubicBezTo>
                <a:lnTo>
                  <a:pt x="21600" y="21600"/>
                </a:lnTo>
                <a:lnTo>
                  <a:pt x="15231" y="21600"/>
                </a:lnTo>
                <a:lnTo>
                  <a:pt x="15231" y="1570"/>
                </a:lnTo>
                <a:cubicBezTo>
                  <a:pt x="15231" y="703"/>
                  <a:pt x="8412" y="0"/>
                  <a:pt x="0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1" name="Freeform: Shape 69"/>
          <p:cNvSpPr/>
          <p:nvPr/>
        </p:nvSpPr>
        <p:spPr>
          <a:xfrm flipH="1">
            <a:off x="2135201" y="1918163"/>
            <a:ext cx="468537" cy="4939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224" y="0"/>
                </a:moveTo>
                <a:lnTo>
                  <a:pt x="0" y="0"/>
                </a:lnTo>
                <a:cubicBezTo>
                  <a:pt x="8412" y="0"/>
                  <a:pt x="15231" y="703"/>
                  <a:pt x="15231" y="1570"/>
                </a:cubicBezTo>
                <a:lnTo>
                  <a:pt x="15231" y="21600"/>
                </a:lnTo>
                <a:lnTo>
                  <a:pt x="21600" y="21600"/>
                </a:lnTo>
                <a:lnTo>
                  <a:pt x="21600" y="1998"/>
                </a:lnTo>
                <a:cubicBezTo>
                  <a:pt x="21600" y="894"/>
                  <a:pt x="12925" y="0"/>
                  <a:pt x="2224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2" name="Rectangle: Rounded Corners 70"/>
          <p:cNvSpPr/>
          <p:nvPr/>
        </p:nvSpPr>
        <p:spPr>
          <a:xfrm>
            <a:off x="3643586" y="2302585"/>
            <a:ext cx="670561" cy="70606"/>
          </a:xfrm>
          <a:prstGeom prst="roundRect">
            <a:avLst>
              <a:gd name="adj" fmla="val 50000"/>
            </a:avLst>
          </a:prstGeom>
          <a:blipFill>
            <a:blip r:embed="rId2"/>
          </a:blip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3" name="Rectangle: Rounded Corners 71"/>
          <p:cNvSpPr/>
          <p:nvPr/>
        </p:nvSpPr>
        <p:spPr>
          <a:xfrm flipH="1">
            <a:off x="2086649" y="2724082"/>
            <a:ext cx="43329" cy="269945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4" name="Rectangle: Rounded Corners 72"/>
          <p:cNvSpPr/>
          <p:nvPr/>
        </p:nvSpPr>
        <p:spPr>
          <a:xfrm flipH="1">
            <a:off x="2086086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5" name="Rectangle: Rounded Corners 73"/>
          <p:cNvSpPr/>
          <p:nvPr/>
        </p:nvSpPr>
        <p:spPr>
          <a:xfrm flipH="1">
            <a:off x="2086086" y="3875178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6" name="Rectangle: Rounded Corners 74"/>
          <p:cNvSpPr/>
          <p:nvPr/>
        </p:nvSpPr>
        <p:spPr>
          <a:xfrm>
            <a:off x="5834490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1300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grpSp>
        <p:nvGrpSpPr>
          <p:cNvPr id="589" name="Group 75"/>
          <p:cNvGrpSpPr/>
          <p:nvPr/>
        </p:nvGrpSpPr>
        <p:grpSpPr>
          <a:xfrm>
            <a:off x="3461729" y="2286072"/>
            <a:ext cx="103633" cy="103633"/>
            <a:chOff x="0" y="0"/>
            <a:chExt cx="207263" cy="207263"/>
          </a:xfrm>
        </p:grpSpPr>
        <p:sp>
          <p:nvSpPr>
            <p:cNvPr id="587" name="Oval 76"/>
            <p:cNvSpPr/>
            <p:nvPr/>
          </p:nvSpPr>
          <p:spPr>
            <a:xfrm>
              <a:off x="0" y="0"/>
              <a:ext cx="207264" cy="207264"/>
            </a:xfrm>
            <a:prstGeom prst="ellipse">
              <a:avLst/>
            </a:prstGeom>
            <a:solidFill>
              <a:srgbClr val="4C4C4D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88" name="Oval 77"/>
            <p:cNvSpPr/>
            <p:nvPr/>
          </p:nvSpPr>
          <p:spPr>
            <a:xfrm>
              <a:off x="22669" y="22669"/>
              <a:ext cx="161926" cy="161926"/>
            </a:xfrm>
            <a:prstGeom prst="ellipse">
              <a:avLst/>
            </a:prstGeom>
            <a:solidFill>
              <a:srgbClr val="252E5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grpSp>
        <p:nvGrpSpPr>
          <p:cNvPr id="592" name="Group 78"/>
          <p:cNvGrpSpPr/>
          <p:nvPr/>
        </p:nvGrpSpPr>
        <p:grpSpPr>
          <a:xfrm>
            <a:off x="8686498" y="3646445"/>
            <a:ext cx="504226" cy="504226"/>
            <a:chOff x="0" y="0"/>
            <a:chExt cx="1008450" cy="1008450"/>
          </a:xfrm>
        </p:grpSpPr>
        <p:sp>
          <p:nvSpPr>
            <p:cNvPr id="590" name="Oval 79"/>
            <p:cNvSpPr/>
            <p:nvPr/>
          </p:nvSpPr>
          <p:spPr>
            <a:xfrm>
              <a:off x="0" y="0"/>
              <a:ext cx="1008451" cy="1008451"/>
            </a:xfrm>
            <a:prstGeom prst="ellipse">
              <a:avLst/>
            </a:prstGeom>
            <a:solidFill>
              <a:srgbClr val="80808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91" name="Oval 80"/>
            <p:cNvSpPr/>
            <p:nvPr/>
          </p:nvSpPr>
          <p:spPr>
            <a:xfrm>
              <a:off x="59682" y="59682"/>
              <a:ext cx="889084" cy="889084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>
              <a:outerShdw blurRad="254000" dist="101600" dir="8100000" rotWithShape="0">
                <a:srgbClr val="000000">
                  <a:alpha val="35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sp>
        <p:nvSpPr>
          <p:cNvPr id="59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268836" y="-1"/>
            <a:ext cx="3339548" cy="35496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9092" y="2724082"/>
            <a:ext cx="3339548" cy="413391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5" name="Freeform: Shape 83"/>
          <p:cNvSpPr/>
          <p:nvPr/>
        </p:nvSpPr>
        <p:spPr>
          <a:xfrm rot="10800000" flipH="1">
            <a:off x="7076051" y="3875177"/>
            <a:ext cx="3725122" cy="491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656565"/>
              </a:gs>
              <a:gs pos="7000">
                <a:srgbClr val="000000"/>
              </a:gs>
              <a:gs pos="48000">
                <a:srgbClr val="808080"/>
              </a:gs>
              <a:gs pos="99000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</p:spTree>
    <p:extLst>
      <p:ext uri="{BB962C8B-B14F-4D97-AF65-F5344CB8AC3E}">
        <p14:creationId xmlns:p14="http://schemas.microsoft.com/office/powerpoint/2010/main" val="3040158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rcRect b="13519"/>
          <a:stretch>
            <a:fillRect/>
          </a:stretch>
        </p:blipFill>
        <p:spPr>
          <a:xfrm>
            <a:off x="4375150" y="927099"/>
            <a:ext cx="3441700" cy="5930901"/>
          </a:xfrm>
          <a:prstGeom prst="rect">
            <a:avLst/>
          </a:prstGeom>
          <a:ln w="12700">
            <a:miter lim="400000"/>
          </a:ln>
        </p:spPr>
      </p:pic>
      <p:sp>
        <p:nvSpPr>
          <p:cNvPr id="6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00296" y="1943099"/>
            <a:ext cx="2763775" cy="491337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12341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81361" y="2561771"/>
            <a:ext cx="4818280" cy="301142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98726" y="3006725"/>
            <a:ext cx="2032000" cy="27114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882673" y="3307835"/>
            <a:ext cx="1309879" cy="232867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0484281" y="3627875"/>
            <a:ext cx="1152146" cy="20482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2025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098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67861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162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106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36776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6679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695145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27460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7094537"/>
            <a:ext cx="504825" cy="504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85649" y="7094538"/>
            <a:ext cx="504825" cy="5022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571297" y="7094537"/>
            <a:ext cx="460703" cy="504826"/>
          </a:xfrm>
          <a:prstGeom prst="roundRect">
            <a:avLst>
              <a:gd name="adj" fmla="val 3353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890398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38363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6674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064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8214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8965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5CFDBE-F599-4FB8-8207-8278C53519DC}" type="datetimeFigureOut">
              <a:rPr lang="ru-RU" smtClean="0"/>
              <a:t>3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180486-9CD5-4060-9872-54636B1A68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8220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5506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52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28000"/>
          </a:xfrm>
          <a:prstGeom prst="rect">
            <a:avLst/>
          </a:prstGeom>
        </p:spPr>
      </p:pic>
      <p:sp>
        <p:nvSpPr>
          <p:cNvPr id="16" name="Rectangle 3"/>
          <p:cNvSpPr/>
          <p:nvPr/>
        </p:nvSpPr>
        <p:spPr>
          <a:xfrm>
            <a:off x="-196097" y="-220339"/>
            <a:ext cx="12584193" cy="8640657"/>
          </a:xfrm>
          <a:prstGeom prst="rect">
            <a:avLst/>
          </a:prstGeom>
          <a:solidFill>
            <a:schemeClr val="tx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6861" y="-220339"/>
            <a:ext cx="3456945" cy="436490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flipH="1">
            <a:off x="6768767" y="5847475"/>
            <a:ext cx="5288250" cy="4392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r">
              <a:lnSpc>
                <a:spcPct val="125000"/>
              </a:lnSpc>
              <a:defRPr/>
            </a:pPr>
            <a:r>
              <a:rPr lang="ru-RU" sz="12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зентация студентов Российского экономического университета им. Г. В. Плеханова </a:t>
            </a:r>
          </a:p>
          <a:p>
            <a:pPr lvl="0" algn="r">
              <a:lnSpc>
                <a:spcPct val="125000"/>
              </a:lnSpc>
              <a:defRPr/>
            </a:pPr>
            <a:r>
              <a:rPr lang="ru-RU" sz="1200" dirty="0" err="1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миля</a:t>
            </a:r>
            <a:r>
              <a:rPr lang="ru-RU" sz="12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минова, Ильи Щекочихина</a:t>
            </a:r>
            <a:endParaRPr lang="en-US" sz="1200" dirty="0">
              <a:solidFill>
                <a:srgbClr val="FFCC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 flipH="1">
            <a:off x="1408018" y="2682124"/>
            <a:ext cx="10389426" cy="69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25000"/>
              </a:lnSpc>
              <a:defRPr/>
            </a:pPr>
            <a:r>
              <a:rPr lang="ru-RU" sz="4000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нципы контрактной системы </a:t>
            </a:r>
            <a:r>
              <a:rPr lang="ru-RU" sz="4000" dirty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фере </a:t>
            </a:r>
            <a:r>
              <a:rPr lang="ru-RU" sz="4000" dirty="0" smtClean="0">
                <a:solidFill>
                  <a:srgbClr val="FFCC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купок</a:t>
            </a:r>
          </a:p>
        </p:txBody>
      </p:sp>
    </p:spTree>
    <p:extLst>
      <p:ext uri="{BB962C8B-B14F-4D97-AF65-F5344CB8AC3E}">
        <p14:creationId xmlns:p14="http://schemas.microsoft.com/office/powerpoint/2010/main" val="970903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87808"/>
            <a:ext cx="2707954" cy="2119421"/>
            <a:chOff x="-31552" y="3615030"/>
            <a:chExt cx="2707954" cy="211942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1115077" y="3615030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u="none" strike="noStrike" kern="1200" cap="none" spc="0" normalizeH="0" baseline="0" noProof="0" dirty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1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564FED4-E3E4-4F0C-9B3C-6852765633AE}"/>
                </a:ext>
              </a:extLst>
            </p:cNvPr>
            <p:cNvGrpSpPr/>
            <p:nvPr/>
          </p:nvGrpSpPr>
          <p:grpSpPr>
            <a:xfrm>
              <a:off x="1070198" y="4483788"/>
              <a:ext cx="516835" cy="1250663"/>
              <a:chOff x="1024856" y="5015139"/>
              <a:chExt cx="516835" cy="1250663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4144A31-B8C9-488D-B2EA-874218918AF7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1C05F20-1ABC-4E7E-9DF4-3C3A4579B511}"/>
                  </a:ext>
                </a:extLst>
              </p:cNvPr>
              <p:cNvSpPr txBox="1"/>
              <p:nvPr/>
            </p:nvSpPr>
            <p:spPr>
              <a:xfrm rot="16200000">
                <a:off x="657943" y="5440416"/>
                <a:ext cx="125066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00" spc="300" dirty="0" smtClean="0">
                    <a:solidFill>
                      <a:srgbClr val="44546A"/>
                    </a:solidFill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ПРИНЦИПЫ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00" spc="300" dirty="0" smtClean="0">
                    <a:solidFill>
                      <a:srgbClr val="44546A"/>
                    </a:solidFill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К. СИСТЕМЫ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8E03CC4-C679-4B43-B7C5-4B7D16AF3893}"/>
                </a:ext>
              </a:extLst>
            </p:cNvPr>
            <p:cNvCxnSpPr/>
            <p:nvPr/>
          </p:nvCxnSpPr>
          <p:spPr>
            <a:xfrm>
              <a:off x="-31552" y="4457523"/>
              <a:ext cx="943428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2960976" y="679567"/>
            <a:ext cx="574067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3600" dirty="0" smtClean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Открытость и</a:t>
            </a:r>
            <a:r>
              <a:rPr lang="ru-RU" sz="3600" dirty="0" smtClean="0">
                <a:solidFill>
                  <a:srgbClr val="FFCC00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 </a:t>
            </a:r>
            <a:r>
              <a:rPr lang="ru-RU" sz="3600" dirty="0" smtClean="0">
                <a:solidFill>
                  <a:srgbClr val="FFC000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розрачность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Lato Heavy" panose="020F0502020204030203" pitchFamily="34" charset="0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sp>
        <p:nvSpPr>
          <p:cNvPr id="11" name="Freeform 24"/>
          <p:cNvSpPr/>
          <p:nvPr/>
        </p:nvSpPr>
        <p:spPr>
          <a:xfrm>
            <a:off x="5364950" y="2271183"/>
            <a:ext cx="1710921" cy="1710921"/>
          </a:xfrm>
          <a:custGeom>
            <a:avLst/>
            <a:gdLst>
              <a:gd name="connsiteX0" fmla="*/ 0 w 1710921"/>
              <a:gd name="connsiteY0" fmla="*/ 1710921 h 1710921"/>
              <a:gd name="connsiteX1" fmla="*/ 855461 w 1710921"/>
              <a:gd name="connsiteY1" fmla="*/ 0 h 1710921"/>
              <a:gd name="connsiteX2" fmla="*/ 1710921 w 1710921"/>
              <a:gd name="connsiteY2" fmla="*/ 1710921 h 1710921"/>
              <a:gd name="connsiteX3" fmla="*/ 0 w 1710921"/>
              <a:gd name="connsiteY3" fmla="*/ 1710921 h 1710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0921" h="1710921">
                <a:moveTo>
                  <a:pt x="0" y="1710921"/>
                </a:moveTo>
                <a:lnTo>
                  <a:pt x="855461" y="0"/>
                </a:lnTo>
                <a:lnTo>
                  <a:pt x="1710921" y="1710921"/>
                </a:lnTo>
                <a:lnTo>
                  <a:pt x="0" y="17109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360" tIns="943091" rIns="515360" bIns="36576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300" kern="1200" dirty="0"/>
          </a:p>
        </p:txBody>
      </p:sp>
      <p:sp>
        <p:nvSpPr>
          <p:cNvPr id="12" name="Freeform 25"/>
          <p:cNvSpPr/>
          <p:nvPr/>
        </p:nvSpPr>
        <p:spPr>
          <a:xfrm>
            <a:off x="4509489" y="3982104"/>
            <a:ext cx="1710921" cy="1710921"/>
          </a:xfrm>
          <a:custGeom>
            <a:avLst/>
            <a:gdLst>
              <a:gd name="connsiteX0" fmla="*/ 0 w 1710921"/>
              <a:gd name="connsiteY0" fmla="*/ 1710921 h 1710921"/>
              <a:gd name="connsiteX1" fmla="*/ 855461 w 1710921"/>
              <a:gd name="connsiteY1" fmla="*/ 0 h 1710921"/>
              <a:gd name="connsiteX2" fmla="*/ 1710921 w 1710921"/>
              <a:gd name="connsiteY2" fmla="*/ 1710921 h 1710921"/>
              <a:gd name="connsiteX3" fmla="*/ 0 w 1710921"/>
              <a:gd name="connsiteY3" fmla="*/ 1710921 h 1710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0921" h="1710921">
                <a:moveTo>
                  <a:pt x="0" y="1710921"/>
                </a:moveTo>
                <a:lnTo>
                  <a:pt x="855461" y="0"/>
                </a:lnTo>
                <a:lnTo>
                  <a:pt x="1710921" y="1710921"/>
                </a:lnTo>
                <a:lnTo>
                  <a:pt x="0" y="171092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5360" tIns="943091" rIns="640080" bIns="8763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300" kern="1200" dirty="0"/>
          </a:p>
        </p:txBody>
      </p:sp>
      <p:sp>
        <p:nvSpPr>
          <p:cNvPr id="13" name="Freeform 27"/>
          <p:cNvSpPr/>
          <p:nvPr/>
        </p:nvSpPr>
        <p:spPr>
          <a:xfrm>
            <a:off x="6220411" y="3982104"/>
            <a:ext cx="1710921" cy="1710921"/>
          </a:xfrm>
          <a:custGeom>
            <a:avLst/>
            <a:gdLst>
              <a:gd name="connsiteX0" fmla="*/ 0 w 1710921"/>
              <a:gd name="connsiteY0" fmla="*/ 1710921 h 1710921"/>
              <a:gd name="connsiteX1" fmla="*/ 855461 w 1710921"/>
              <a:gd name="connsiteY1" fmla="*/ 0 h 1710921"/>
              <a:gd name="connsiteX2" fmla="*/ 1710921 w 1710921"/>
              <a:gd name="connsiteY2" fmla="*/ 1710921 h 1710921"/>
              <a:gd name="connsiteX3" fmla="*/ 0 w 1710921"/>
              <a:gd name="connsiteY3" fmla="*/ 1710921 h 1710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0921" h="1710921">
                <a:moveTo>
                  <a:pt x="0" y="1710921"/>
                </a:moveTo>
                <a:lnTo>
                  <a:pt x="855461" y="0"/>
                </a:lnTo>
                <a:lnTo>
                  <a:pt x="1710921" y="1710921"/>
                </a:lnTo>
                <a:lnTo>
                  <a:pt x="0" y="171092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0080" tIns="943091" rIns="515360" bIns="8763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4400" kern="1200" dirty="0"/>
          </a:p>
        </p:txBody>
      </p:sp>
      <p:grpSp>
        <p:nvGrpSpPr>
          <p:cNvPr id="14" name="Group 134"/>
          <p:cNvGrpSpPr>
            <a:grpSpLocks noChangeAspect="1"/>
          </p:cNvGrpSpPr>
          <p:nvPr/>
        </p:nvGrpSpPr>
        <p:grpSpPr>
          <a:xfrm>
            <a:off x="5831311" y="3727549"/>
            <a:ext cx="778199" cy="778850"/>
            <a:chOff x="3287425" y="1417883"/>
            <a:chExt cx="648499" cy="649042"/>
          </a:xfrm>
        </p:grpSpPr>
        <p:sp>
          <p:nvSpPr>
            <p:cNvPr id="15" name="Oval 23"/>
            <p:cNvSpPr>
              <a:spLocks noChangeAspect="1"/>
            </p:cNvSpPr>
            <p:nvPr/>
          </p:nvSpPr>
          <p:spPr>
            <a:xfrm>
              <a:off x="3287425" y="1417883"/>
              <a:ext cx="648499" cy="64904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Oval 30"/>
            <p:cNvSpPr>
              <a:spLocks noChangeAspect="1"/>
            </p:cNvSpPr>
            <p:nvPr/>
          </p:nvSpPr>
          <p:spPr>
            <a:xfrm>
              <a:off x="3362252" y="1492773"/>
              <a:ext cx="498845" cy="499263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01</a:t>
              </a: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7" name="Group 129"/>
          <p:cNvGrpSpPr>
            <a:grpSpLocks noChangeAspect="1"/>
          </p:cNvGrpSpPr>
          <p:nvPr/>
        </p:nvGrpSpPr>
        <p:grpSpPr>
          <a:xfrm>
            <a:off x="5451737" y="4395712"/>
            <a:ext cx="778199" cy="778850"/>
            <a:chOff x="2779491" y="2517212"/>
            <a:chExt cx="648499" cy="649042"/>
          </a:xfrm>
        </p:grpSpPr>
        <p:sp>
          <p:nvSpPr>
            <p:cNvPr id="18" name="Oval 32"/>
            <p:cNvSpPr>
              <a:spLocks noChangeAspect="1"/>
            </p:cNvSpPr>
            <p:nvPr/>
          </p:nvSpPr>
          <p:spPr>
            <a:xfrm>
              <a:off x="2779491" y="2517212"/>
              <a:ext cx="648499" cy="649042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Oval 33"/>
            <p:cNvSpPr>
              <a:spLocks noChangeAspect="1"/>
            </p:cNvSpPr>
            <p:nvPr/>
          </p:nvSpPr>
          <p:spPr>
            <a:xfrm>
              <a:off x="2854318" y="2592102"/>
              <a:ext cx="498845" cy="499263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02</a:t>
              </a:r>
              <a:endParaRPr lang="en-US" sz="1600" b="1" dirty="0">
                <a:latin typeface="+mj-lt"/>
              </a:endParaRPr>
            </a:p>
          </p:txBody>
        </p:sp>
      </p:grpSp>
      <p:grpSp>
        <p:nvGrpSpPr>
          <p:cNvPr id="20" name="Group 130"/>
          <p:cNvGrpSpPr>
            <a:grpSpLocks noChangeAspect="1"/>
          </p:cNvGrpSpPr>
          <p:nvPr/>
        </p:nvGrpSpPr>
        <p:grpSpPr>
          <a:xfrm>
            <a:off x="6240585" y="4395712"/>
            <a:ext cx="778199" cy="778850"/>
            <a:chOff x="3287425" y="3613920"/>
            <a:chExt cx="648499" cy="649042"/>
          </a:xfrm>
        </p:grpSpPr>
        <p:sp>
          <p:nvSpPr>
            <p:cNvPr id="21" name="Oval 35"/>
            <p:cNvSpPr>
              <a:spLocks noChangeAspect="1"/>
            </p:cNvSpPr>
            <p:nvPr/>
          </p:nvSpPr>
          <p:spPr>
            <a:xfrm>
              <a:off x="3287425" y="3613920"/>
              <a:ext cx="648499" cy="649042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Oval 36"/>
            <p:cNvSpPr>
              <a:spLocks noChangeAspect="1"/>
            </p:cNvSpPr>
            <p:nvPr/>
          </p:nvSpPr>
          <p:spPr>
            <a:xfrm>
              <a:off x="3362252" y="3688810"/>
              <a:ext cx="498845" cy="499263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03</a:t>
              </a:r>
              <a:endParaRPr lang="en-US" sz="1600" b="1" dirty="0">
                <a:latin typeface="+mj-lt"/>
              </a:endParaRPr>
            </a:p>
          </p:txBody>
        </p:sp>
      </p:grpSp>
      <p:grpSp>
        <p:nvGrpSpPr>
          <p:cNvPr id="23" name="Group 38"/>
          <p:cNvGrpSpPr/>
          <p:nvPr/>
        </p:nvGrpSpPr>
        <p:grpSpPr>
          <a:xfrm>
            <a:off x="1157996" y="2888449"/>
            <a:ext cx="4159134" cy="646331"/>
            <a:chOff x="-652329" y="1253728"/>
            <a:chExt cx="4159134" cy="646331"/>
          </a:xfrm>
        </p:grpSpPr>
        <p:sp>
          <p:nvSpPr>
            <p:cNvPr id="24" name="TextBox 23"/>
            <p:cNvSpPr txBox="1"/>
            <p:nvPr/>
          </p:nvSpPr>
          <p:spPr>
            <a:xfrm>
              <a:off x="3506740" y="1438589"/>
              <a:ext cx="65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endParaRPr lang="en-US" sz="14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-652329" y="1253728"/>
              <a:ext cx="4137627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lvl="0" algn="r">
                <a:spcBef>
                  <a:spcPct val="20000"/>
                </a:spcBef>
                <a:defRPr/>
              </a:pPr>
              <a:r>
                <a:rPr lang="ru-RU" sz="1400" dirty="0">
                  <a:solidFill>
                    <a:srgbClr val="44546A"/>
                  </a:solidFill>
                </a:rPr>
                <a:t>В Российской Федерации обеспечивается </a:t>
              </a:r>
              <a:r>
                <a:rPr lang="ru-RU" sz="1400" b="1" dirty="0">
                  <a:solidFill>
                    <a:srgbClr val="44546A"/>
                  </a:solidFill>
                </a:rPr>
                <a:t>свободный и безвозмездный доступ</a:t>
              </a:r>
              <a:r>
                <a:rPr lang="ru-RU" sz="1400" dirty="0">
                  <a:solidFill>
                    <a:srgbClr val="44546A"/>
                  </a:solidFill>
                </a:rPr>
                <a:t> к информации о контрактной системе в сфере закупок.</a:t>
              </a:r>
              <a:endParaRPr lang="en-US" sz="1400" dirty="0">
                <a:solidFill>
                  <a:srgbClr val="44546A"/>
                </a:solidFill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471714" y="4510550"/>
            <a:ext cx="4092440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r">
              <a:spcBef>
                <a:spcPct val="20000"/>
              </a:spcBef>
              <a:defRPr/>
            </a:pPr>
            <a:r>
              <a:rPr lang="ru-RU" sz="1400" b="1" dirty="0">
                <a:solidFill>
                  <a:srgbClr val="44546A"/>
                </a:solidFill>
              </a:rPr>
              <a:t>Открытость и прозрачность информации</a:t>
            </a:r>
            <a:r>
              <a:rPr lang="ru-RU" sz="1400" dirty="0">
                <a:solidFill>
                  <a:srgbClr val="44546A"/>
                </a:solidFill>
              </a:rPr>
              <a:t>, указанной в части 1 настоящей статьи, </a:t>
            </a:r>
            <a:r>
              <a:rPr lang="ru-RU" sz="1400" b="1" dirty="0">
                <a:solidFill>
                  <a:srgbClr val="44546A"/>
                </a:solidFill>
              </a:rPr>
              <a:t>обеспечиваются</a:t>
            </a:r>
            <a:r>
              <a:rPr lang="ru-RU" sz="1400" dirty="0">
                <a:solidFill>
                  <a:srgbClr val="44546A"/>
                </a:solidFill>
              </a:rPr>
              <a:t>, в частности, путем ее размещения</a:t>
            </a:r>
            <a:r>
              <a:rPr lang="ru-RU" sz="1400" b="1" dirty="0">
                <a:solidFill>
                  <a:srgbClr val="44546A"/>
                </a:solidFill>
              </a:rPr>
              <a:t> в единой информационной системе</a:t>
            </a:r>
            <a:r>
              <a:rPr lang="ru-RU" sz="1400" dirty="0">
                <a:solidFill>
                  <a:srgbClr val="44546A"/>
                </a:solidFill>
              </a:rPr>
              <a:t>.</a:t>
            </a:r>
            <a:endParaRPr lang="en-US" sz="1400" dirty="0">
              <a:solidFill>
                <a:srgbClr val="44546A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99544" y="4512281"/>
            <a:ext cx="3614709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ct val="20000"/>
              </a:spcBef>
              <a:defRPr/>
            </a:pPr>
            <a:r>
              <a:rPr lang="ru-RU" sz="1400" b="1" dirty="0">
                <a:solidFill>
                  <a:srgbClr val="44546A"/>
                </a:solidFill>
              </a:rPr>
              <a:t>Информация</a:t>
            </a:r>
            <a:r>
              <a:rPr lang="ru-RU" sz="1400" dirty="0">
                <a:solidFill>
                  <a:srgbClr val="44546A"/>
                </a:solidFill>
              </a:rPr>
              <a:t>, предусмотренная настоящим Федеральным законом и размещенная в единой информационной системе, </a:t>
            </a:r>
            <a:r>
              <a:rPr lang="ru-RU" sz="1400" b="1" dirty="0">
                <a:solidFill>
                  <a:srgbClr val="44546A"/>
                </a:solidFill>
              </a:rPr>
              <a:t>должна быть полной и достоверной.</a:t>
            </a:r>
            <a:endParaRPr lang="en-US" sz="1400" b="1" dirty="0">
              <a:solidFill>
                <a:srgbClr val="44546A"/>
              </a:solidFill>
            </a:endParaRPr>
          </a:p>
        </p:txBody>
      </p:sp>
      <p:sp>
        <p:nvSpPr>
          <p:cNvPr id="32" name="Text Placeholder 3"/>
          <p:cNvSpPr txBox="1">
            <a:spLocks/>
          </p:cNvSpPr>
          <p:nvPr/>
        </p:nvSpPr>
        <p:spPr>
          <a:xfrm>
            <a:off x="3353599" y="2488623"/>
            <a:ext cx="1933799" cy="36933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атья №7 ч. 1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8099544" y="4082849"/>
            <a:ext cx="1933798" cy="36933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spcBef>
                <a:spcPct val="20000"/>
              </a:spcBef>
              <a:defRPr/>
            </a:pPr>
            <a:r>
              <a:rPr lang="ru-RU" sz="2400" dirty="0">
                <a:solidFill>
                  <a:srgbClr val="A5A5A5"/>
                </a:solidFill>
              </a:rPr>
              <a:t>Статья №7 ч. </a:t>
            </a:r>
            <a:r>
              <a:rPr lang="ru-RU" sz="2400" dirty="0" smtClean="0">
                <a:solidFill>
                  <a:srgbClr val="A5A5A5"/>
                </a:solidFill>
              </a:rPr>
              <a:t>3</a:t>
            </a:r>
          </a:p>
        </p:txBody>
      </p:sp>
      <p:sp>
        <p:nvSpPr>
          <p:cNvPr id="34" name="Text Placeholder 3"/>
          <p:cNvSpPr txBox="1">
            <a:spLocks/>
          </p:cNvSpPr>
          <p:nvPr/>
        </p:nvSpPr>
        <p:spPr>
          <a:xfrm>
            <a:off x="2630355" y="4082849"/>
            <a:ext cx="1933799" cy="36933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атья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№7 ч. 2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Freeform 23"/>
          <p:cNvSpPr>
            <a:spLocks noEditPoints="1"/>
          </p:cNvSpPr>
          <p:nvPr/>
        </p:nvSpPr>
        <p:spPr bwMode="auto">
          <a:xfrm>
            <a:off x="5115228" y="5059348"/>
            <a:ext cx="396391" cy="374818"/>
          </a:xfrm>
          <a:custGeom>
            <a:avLst/>
            <a:gdLst/>
            <a:ahLst/>
            <a:cxnLst>
              <a:cxn ang="0">
                <a:pos x="68" y="14"/>
              </a:cxn>
              <a:cxn ang="0">
                <a:pos x="68" y="18"/>
              </a:cxn>
              <a:cxn ang="0">
                <a:pos x="64" y="18"/>
              </a:cxn>
              <a:cxn ang="0">
                <a:pos x="61" y="21"/>
              </a:cxn>
              <a:cxn ang="0">
                <a:pos x="7" y="21"/>
              </a:cxn>
              <a:cxn ang="0">
                <a:pos x="4" y="18"/>
              </a:cxn>
              <a:cxn ang="0">
                <a:pos x="0" y="18"/>
              </a:cxn>
              <a:cxn ang="0">
                <a:pos x="0" y="14"/>
              </a:cxn>
              <a:cxn ang="0">
                <a:pos x="34" y="0"/>
              </a:cxn>
              <a:cxn ang="0">
                <a:pos x="68" y="14"/>
              </a:cxn>
              <a:cxn ang="0">
                <a:pos x="68" y="60"/>
              </a:cxn>
              <a:cxn ang="0">
                <a:pos x="68" y="64"/>
              </a:cxn>
              <a:cxn ang="0">
                <a:pos x="0" y="64"/>
              </a:cxn>
              <a:cxn ang="0">
                <a:pos x="0" y="60"/>
              </a:cxn>
              <a:cxn ang="0">
                <a:pos x="2" y="57"/>
              </a:cxn>
              <a:cxn ang="0">
                <a:pos x="66" y="57"/>
              </a:cxn>
              <a:cxn ang="0">
                <a:pos x="68" y="60"/>
              </a:cxn>
              <a:cxn ang="0">
                <a:pos x="18" y="23"/>
              </a:cxn>
              <a:cxn ang="0">
                <a:pos x="18" y="50"/>
              </a:cxn>
              <a:cxn ang="0">
                <a:pos x="23" y="50"/>
              </a:cxn>
              <a:cxn ang="0">
                <a:pos x="23" y="23"/>
              </a:cxn>
              <a:cxn ang="0">
                <a:pos x="32" y="23"/>
              </a:cxn>
              <a:cxn ang="0">
                <a:pos x="32" y="50"/>
              </a:cxn>
              <a:cxn ang="0">
                <a:pos x="36" y="50"/>
              </a:cxn>
              <a:cxn ang="0">
                <a:pos x="36" y="23"/>
              </a:cxn>
              <a:cxn ang="0">
                <a:pos x="45" y="23"/>
              </a:cxn>
              <a:cxn ang="0">
                <a:pos x="45" y="50"/>
              </a:cxn>
              <a:cxn ang="0">
                <a:pos x="50" y="50"/>
              </a:cxn>
              <a:cxn ang="0">
                <a:pos x="50" y="23"/>
              </a:cxn>
              <a:cxn ang="0">
                <a:pos x="59" y="23"/>
              </a:cxn>
              <a:cxn ang="0">
                <a:pos x="59" y="50"/>
              </a:cxn>
              <a:cxn ang="0">
                <a:pos x="61" y="50"/>
              </a:cxn>
              <a:cxn ang="0">
                <a:pos x="64" y="53"/>
              </a:cxn>
              <a:cxn ang="0">
                <a:pos x="64" y="55"/>
              </a:cxn>
              <a:cxn ang="0">
                <a:pos x="4" y="55"/>
              </a:cxn>
              <a:cxn ang="0">
                <a:pos x="4" y="53"/>
              </a:cxn>
              <a:cxn ang="0">
                <a:pos x="7" y="50"/>
              </a:cxn>
              <a:cxn ang="0">
                <a:pos x="9" y="50"/>
              </a:cxn>
              <a:cxn ang="0">
                <a:pos x="9" y="23"/>
              </a:cxn>
              <a:cxn ang="0">
                <a:pos x="18" y="23"/>
              </a:cxn>
            </a:cxnLst>
            <a:rect l="0" t="0" r="r" b="b"/>
            <a:pathLst>
              <a:path w="68" h="64">
                <a:moveTo>
                  <a:pt x="68" y="14"/>
                </a:moveTo>
                <a:cubicBezTo>
                  <a:pt x="68" y="18"/>
                  <a:pt x="68" y="18"/>
                  <a:pt x="68" y="18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20"/>
                  <a:pt x="63" y="21"/>
                  <a:pt x="61" y="21"/>
                </a:cubicBezTo>
                <a:cubicBezTo>
                  <a:pt x="7" y="21"/>
                  <a:pt x="7" y="21"/>
                  <a:pt x="7" y="21"/>
                </a:cubicBezTo>
                <a:cubicBezTo>
                  <a:pt x="5" y="21"/>
                  <a:pt x="4" y="20"/>
                  <a:pt x="4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4"/>
                  <a:pt x="0" y="14"/>
                  <a:pt x="0" y="14"/>
                </a:cubicBezTo>
                <a:cubicBezTo>
                  <a:pt x="34" y="0"/>
                  <a:pt x="34" y="0"/>
                  <a:pt x="34" y="0"/>
                </a:cubicBezTo>
                <a:lnTo>
                  <a:pt x="68" y="14"/>
                </a:lnTo>
                <a:close/>
                <a:moveTo>
                  <a:pt x="68" y="60"/>
                </a:moveTo>
                <a:cubicBezTo>
                  <a:pt x="68" y="64"/>
                  <a:pt x="68" y="64"/>
                  <a:pt x="68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8"/>
                  <a:pt x="1" y="57"/>
                  <a:pt x="2" y="57"/>
                </a:cubicBezTo>
                <a:cubicBezTo>
                  <a:pt x="66" y="57"/>
                  <a:pt x="66" y="57"/>
                  <a:pt x="66" y="57"/>
                </a:cubicBezTo>
                <a:cubicBezTo>
                  <a:pt x="67" y="57"/>
                  <a:pt x="68" y="58"/>
                  <a:pt x="68" y="60"/>
                </a:cubicBezTo>
                <a:close/>
                <a:moveTo>
                  <a:pt x="18" y="23"/>
                </a:moveTo>
                <a:cubicBezTo>
                  <a:pt x="18" y="50"/>
                  <a:pt x="18" y="50"/>
                  <a:pt x="18" y="50"/>
                </a:cubicBezTo>
                <a:cubicBezTo>
                  <a:pt x="23" y="50"/>
                  <a:pt x="23" y="50"/>
                  <a:pt x="23" y="50"/>
                </a:cubicBezTo>
                <a:cubicBezTo>
                  <a:pt x="23" y="23"/>
                  <a:pt x="23" y="23"/>
                  <a:pt x="23" y="23"/>
                </a:cubicBezTo>
                <a:cubicBezTo>
                  <a:pt x="32" y="23"/>
                  <a:pt x="32" y="23"/>
                  <a:pt x="32" y="23"/>
                </a:cubicBezTo>
                <a:cubicBezTo>
                  <a:pt x="32" y="50"/>
                  <a:pt x="32" y="50"/>
                  <a:pt x="32" y="50"/>
                </a:cubicBezTo>
                <a:cubicBezTo>
                  <a:pt x="36" y="50"/>
                  <a:pt x="36" y="50"/>
                  <a:pt x="36" y="50"/>
                </a:cubicBezTo>
                <a:cubicBezTo>
                  <a:pt x="36" y="23"/>
                  <a:pt x="36" y="23"/>
                  <a:pt x="36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50"/>
                  <a:pt x="45" y="50"/>
                  <a:pt x="45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23"/>
                  <a:pt x="50" y="23"/>
                  <a:pt x="50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50"/>
                  <a:pt x="59" y="50"/>
                  <a:pt x="59" y="50"/>
                </a:cubicBezTo>
                <a:cubicBezTo>
                  <a:pt x="61" y="50"/>
                  <a:pt x="61" y="50"/>
                  <a:pt x="61" y="50"/>
                </a:cubicBezTo>
                <a:cubicBezTo>
                  <a:pt x="63" y="50"/>
                  <a:pt x="64" y="51"/>
                  <a:pt x="64" y="53"/>
                </a:cubicBezTo>
                <a:cubicBezTo>
                  <a:pt x="64" y="55"/>
                  <a:pt x="64" y="55"/>
                  <a:pt x="64" y="55"/>
                </a:cubicBezTo>
                <a:cubicBezTo>
                  <a:pt x="4" y="55"/>
                  <a:pt x="4" y="55"/>
                  <a:pt x="4" y="55"/>
                </a:cubicBezTo>
                <a:cubicBezTo>
                  <a:pt x="4" y="53"/>
                  <a:pt x="4" y="53"/>
                  <a:pt x="4" y="53"/>
                </a:cubicBezTo>
                <a:cubicBezTo>
                  <a:pt x="4" y="51"/>
                  <a:pt x="5" y="50"/>
                  <a:pt x="7" y="50"/>
                </a:cubicBezTo>
                <a:cubicBezTo>
                  <a:pt x="9" y="50"/>
                  <a:pt x="9" y="50"/>
                  <a:pt x="9" y="50"/>
                </a:cubicBezTo>
                <a:cubicBezTo>
                  <a:pt x="9" y="23"/>
                  <a:pt x="9" y="23"/>
                  <a:pt x="9" y="23"/>
                </a:cubicBezTo>
                <a:lnTo>
                  <a:pt x="18" y="2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Shape 2529"/>
          <p:cNvSpPr/>
          <p:nvPr/>
        </p:nvSpPr>
        <p:spPr>
          <a:xfrm>
            <a:off x="6064404" y="3046619"/>
            <a:ext cx="312011" cy="4290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39" name="Shape 2538"/>
          <p:cNvSpPr/>
          <p:nvPr/>
        </p:nvSpPr>
        <p:spPr>
          <a:xfrm>
            <a:off x="6928991" y="5051637"/>
            <a:ext cx="293352" cy="3835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</p:spTree>
    <p:extLst>
      <p:ext uri="{BB962C8B-B14F-4D97-AF65-F5344CB8AC3E}">
        <p14:creationId xmlns:p14="http://schemas.microsoft.com/office/powerpoint/2010/main" val="423163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87808"/>
            <a:ext cx="2707954" cy="2119421"/>
            <a:chOff x="-31552" y="3615030"/>
            <a:chExt cx="2707954" cy="211942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1115077" y="3615030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2</a:t>
              </a:r>
              <a:endParaRPr kumimoji="0" lang="en-US" sz="12000" b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5" name="Group 5">
              <a:extLst>
                <a:ext uri="{FF2B5EF4-FFF2-40B4-BE49-F238E27FC236}">
                  <a16:creationId xmlns:a16="http://schemas.microsoft.com/office/drawing/2014/main" id="{7564FED4-E3E4-4F0C-9B3C-6852765633AE}"/>
                </a:ext>
              </a:extLst>
            </p:cNvPr>
            <p:cNvGrpSpPr/>
            <p:nvPr/>
          </p:nvGrpSpPr>
          <p:grpSpPr>
            <a:xfrm>
              <a:off x="1070198" y="4483788"/>
              <a:ext cx="516835" cy="1250663"/>
              <a:chOff x="1024856" y="5015139"/>
              <a:chExt cx="516835" cy="1250663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4144A31-B8C9-488D-B2EA-874218918AF7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1C05F20-1ABC-4E7E-9DF4-3C3A4579B511}"/>
                  </a:ext>
                </a:extLst>
              </p:cNvPr>
              <p:cNvSpPr txBox="1"/>
              <p:nvPr/>
            </p:nvSpPr>
            <p:spPr>
              <a:xfrm rot="16200000">
                <a:off x="657943" y="5440416"/>
                <a:ext cx="125066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00" spc="300" dirty="0" smtClean="0">
                    <a:solidFill>
                      <a:srgbClr val="44546A"/>
                    </a:solidFill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ПРИНЦИПЫ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00" spc="300" dirty="0" smtClean="0">
                    <a:solidFill>
                      <a:srgbClr val="44546A"/>
                    </a:solidFill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К. СИСТЕМЫ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6" name="Straight Connector 8">
              <a:extLst>
                <a:ext uri="{FF2B5EF4-FFF2-40B4-BE49-F238E27FC236}">
                  <a16:creationId xmlns:a16="http://schemas.microsoft.com/office/drawing/2014/main" id="{68E03CC4-C679-4B43-B7C5-4B7D16AF3893}"/>
                </a:ext>
              </a:extLst>
            </p:cNvPr>
            <p:cNvCxnSpPr/>
            <p:nvPr/>
          </p:nvCxnSpPr>
          <p:spPr>
            <a:xfrm>
              <a:off x="-31552" y="4457523"/>
              <a:ext cx="943428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2960976" y="679567"/>
            <a:ext cx="726469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3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ринцип обеспечения </a:t>
            </a:r>
            <a:r>
              <a:rPr lang="ru-RU" sz="3600" dirty="0">
                <a:solidFill>
                  <a:srgbClr val="FFC000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конкуренции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Lato Heavy" panose="020F0502020204030203" pitchFamily="34" charset="0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sp>
        <p:nvSpPr>
          <p:cNvPr id="11" name="Oval 62"/>
          <p:cNvSpPr>
            <a:spLocks noChangeAspect="1"/>
          </p:cNvSpPr>
          <p:nvPr/>
        </p:nvSpPr>
        <p:spPr>
          <a:xfrm>
            <a:off x="1779042" y="4700953"/>
            <a:ext cx="324972" cy="2989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58"/>
          <p:cNvSpPr>
            <a:spLocks noChangeAspect="1"/>
          </p:cNvSpPr>
          <p:nvPr/>
        </p:nvSpPr>
        <p:spPr>
          <a:xfrm>
            <a:off x="6975261" y="4700953"/>
            <a:ext cx="324972" cy="2989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4" name="Группа 33"/>
          <p:cNvGrpSpPr/>
          <p:nvPr/>
        </p:nvGrpSpPr>
        <p:grpSpPr>
          <a:xfrm>
            <a:off x="2442323" y="1659384"/>
            <a:ext cx="7500220" cy="2813041"/>
            <a:chOff x="2286206" y="2146232"/>
            <a:chExt cx="7500220" cy="2813041"/>
          </a:xfrm>
        </p:grpSpPr>
        <p:sp>
          <p:nvSpPr>
            <p:cNvPr id="19" name="Shape 18"/>
            <p:cNvSpPr/>
            <p:nvPr/>
          </p:nvSpPr>
          <p:spPr>
            <a:xfrm flipV="1">
              <a:off x="3969269" y="2146232"/>
              <a:ext cx="3903048" cy="2491590"/>
            </a:xfrm>
            <a:prstGeom prst="leftCircularArrow">
              <a:avLst>
                <a:gd name="adj1" fmla="val 4456"/>
                <a:gd name="adj2" fmla="val 565841"/>
                <a:gd name="adj3" fmla="val 2341352"/>
                <a:gd name="adj4" fmla="val 9024489"/>
                <a:gd name="adj5" fmla="val 5199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0" name="Freeform 68"/>
            <p:cNvSpPr/>
            <p:nvPr/>
          </p:nvSpPr>
          <p:spPr>
            <a:xfrm>
              <a:off x="2286206" y="3050324"/>
              <a:ext cx="2012760" cy="1572076"/>
            </a:xfrm>
            <a:custGeom>
              <a:avLst/>
              <a:gdLst>
                <a:gd name="connsiteX0" fmla="*/ 0 w 1368949"/>
                <a:gd name="connsiteY0" fmla="*/ 112910 h 1129097"/>
                <a:gd name="connsiteX1" fmla="*/ 33071 w 1368949"/>
                <a:gd name="connsiteY1" fmla="*/ 33071 h 1129097"/>
                <a:gd name="connsiteX2" fmla="*/ 112911 w 1368949"/>
                <a:gd name="connsiteY2" fmla="*/ 1 h 1129097"/>
                <a:gd name="connsiteX3" fmla="*/ 1256039 w 1368949"/>
                <a:gd name="connsiteY3" fmla="*/ 0 h 1129097"/>
                <a:gd name="connsiteX4" fmla="*/ 1335878 w 1368949"/>
                <a:gd name="connsiteY4" fmla="*/ 33071 h 1129097"/>
                <a:gd name="connsiteX5" fmla="*/ 1368948 w 1368949"/>
                <a:gd name="connsiteY5" fmla="*/ 112911 h 1129097"/>
                <a:gd name="connsiteX6" fmla="*/ 1368949 w 1368949"/>
                <a:gd name="connsiteY6" fmla="*/ 1016187 h 1129097"/>
                <a:gd name="connsiteX7" fmla="*/ 1335878 w 1368949"/>
                <a:gd name="connsiteY7" fmla="*/ 1096026 h 1129097"/>
                <a:gd name="connsiteX8" fmla="*/ 1256039 w 1368949"/>
                <a:gd name="connsiteY8" fmla="*/ 1129097 h 1129097"/>
                <a:gd name="connsiteX9" fmla="*/ 112910 w 1368949"/>
                <a:gd name="connsiteY9" fmla="*/ 1129097 h 1129097"/>
                <a:gd name="connsiteX10" fmla="*/ 33071 w 1368949"/>
                <a:gd name="connsiteY10" fmla="*/ 1096026 h 1129097"/>
                <a:gd name="connsiteX11" fmla="*/ 0 w 1368949"/>
                <a:gd name="connsiteY11" fmla="*/ 1016187 h 1129097"/>
                <a:gd name="connsiteX12" fmla="*/ 0 w 1368949"/>
                <a:gd name="connsiteY12" fmla="*/ 112910 h 112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8949" h="1129097">
                  <a:moveTo>
                    <a:pt x="0" y="112910"/>
                  </a:moveTo>
                  <a:cubicBezTo>
                    <a:pt x="0" y="82964"/>
                    <a:pt x="11896" y="54245"/>
                    <a:pt x="33071" y="33071"/>
                  </a:cubicBezTo>
                  <a:cubicBezTo>
                    <a:pt x="54246" y="11896"/>
                    <a:pt x="82965" y="0"/>
                    <a:pt x="112911" y="1"/>
                  </a:cubicBezTo>
                  <a:lnTo>
                    <a:pt x="1256039" y="0"/>
                  </a:lnTo>
                  <a:cubicBezTo>
                    <a:pt x="1285985" y="0"/>
                    <a:pt x="1314704" y="11896"/>
                    <a:pt x="1335878" y="33071"/>
                  </a:cubicBezTo>
                  <a:cubicBezTo>
                    <a:pt x="1357053" y="54246"/>
                    <a:pt x="1368949" y="82965"/>
                    <a:pt x="1368948" y="112911"/>
                  </a:cubicBezTo>
                  <a:cubicBezTo>
                    <a:pt x="1368948" y="414003"/>
                    <a:pt x="1368949" y="715095"/>
                    <a:pt x="1368949" y="1016187"/>
                  </a:cubicBezTo>
                  <a:cubicBezTo>
                    <a:pt x="1368949" y="1046133"/>
                    <a:pt x="1357053" y="1074852"/>
                    <a:pt x="1335878" y="1096026"/>
                  </a:cubicBezTo>
                  <a:cubicBezTo>
                    <a:pt x="1314703" y="1117201"/>
                    <a:pt x="1285984" y="1129097"/>
                    <a:pt x="1256039" y="1129097"/>
                  </a:cubicBezTo>
                  <a:lnTo>
                    <a:pt x="112910" y="1129097"/>
                  </a:lnTo>
                  <a:cubicBezTo>
                    <a:pt x="82964" y="1129097"/>
                    <a:pt x="54245" y="1117201"/>
                    <a:pt x="33071" y="1096026"/>
                  </a:cubicBezTo>
                  <a:cubicBezTo>
                    <a:pt x="11896" y="1074851"/>
                    <a:pt x="0" y="1046132"/>
                    <a:pt x="0" y="1016187"/>
                  </a:cubicBezTo>
                  <a:lnTo>
                    <a:pt x="0" y="112910"/>
                  </a:lnTo>
                  <a:close/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1704" tIns="71704" rIns="71704" bIns="313654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US" sz="2400" kern="1200" dirty="0"/>
            </a:p>
          </p:txBody>
        </p:sp>
        <p:sp>
          <p:nvSpPr>
            <p:cNvPr id="21" name="Freeform 70"/>
            <p:cNvSpPr/>
            <p:nvPr/>
          </p:nvSpPr>
          <p:spPr>
            <a:xfrm>
              <a:off x="2733487" y="4285527"/>
              <a:ext cx="1789122" cy="673746"/>
            </a:xfrm>
            <a:custGeom>
              <a:avLst/>
              <a:gdLst>
                <a:gd name="connsiteX0" fmla="*/ 0 w 1216844"/>
                <a:gd name="connsiteY0" fmla="*/ 48390 h 483898"/>
                <a:gd name="connsiteX1" fmla="*/ 14173 w 1216844"/>
                <a:gd name="connsiteY1" fmla="*/ 14173 h 483898"/>
                <a:gd name="connsiteX2" fmla="*/ 48390 w 1216844"/>
                <a:gd name="connsiteY2" fmla="*/ 0 h 483898"/>
                <a:gd name="connsiteX3" fmla="*/ 1168454 w 1216844"/>
                <a:gd name="connsiteY3" fmla="*/ 0 h 483898"/>
                <a:gd name="connsiteX4" fmla="*/ 1202671 w 1216844"/>
                <a:gd name="connsiteY4" fmla="*/ 14173 h 483898"/>
                <a:gd name="connsiteX5" fmla="*/ 1216844 w 1216844"/>
                <a:gd name="connsiteY5" fmla="*/ 48390 h 483898"/>
                <a:gd name="connsiteX6" fmla="*/ 1216844 w 1216844"/>
                <a:gd name="connsiteY6" fmla="*/ 435508 h 483898"/>
                <a:gd name="connsiteX7" fmla="*/ 1202671 w 1216844"/>
                <a:gd name="connsiteY7" fmla="*/ 469725 h 483898"/>
                <a:gd name="connsiteX8" fmla="*/ 1168454 w 1216844"/>
                <a:gd name="connsiteY8" fmla="*/ 483898 h 483898"/>
                <a:gd name="connsiteX9" fmla="*/ 48390 w 1216844"/>
                <a:gd name="connsiteY9" fmla="*/ 483898 h 483898"/>
                <a:gd name="connsiteX10" fmla="*/ 14173 w 1216844"/>
                <a:gd name="connsiteY10" fmla="*/ 469725 h 483898"/>
                <a:gd name="connsiteX11" fmla="*/ 0 w 1216844"/>
                <a:gd name="connsiteY11" fmla="*/ 435508 h 483898"/>
                <a:gd name="connsiteX12" fmla="*/ 0 w 1216844"/>
                <a:gd name="connsiteY12" fmla="*/ 48390 h 48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6844" h="483898">
                  <a:moveTo>
                    <a:pt x="0" y="48390"/>
                  </a:moveTo>
                  <a:cubicBezTo>
                    <a:pt x="0" y="35556"/>
                    <a:pt x="5098" y="23248"/>
                    <a:pt x="14173" y="14173"/>
                  </a:cubicBezTo>
                  <a:cubicBezTo>
                    <a:pt x="23248" y="5098"/>
                    <a:pt x="35556" y="0"/>
                    <a:pt x="48390" y="0"/>
                  </a:cubicBezTo>
                  <a:lnTo>
                    <a:pt x="1168454" y="0"/>
                  </a:lnTo>
                  <a:cubicBezTo>
                    <a:pt x="1181288" y="0"/>
                    <a:pt x="1193596" y="5098"/>
                    <a:pt x="1202671" y="14173"/>
                  </a:cubicBezTo>
                  <a:cubicBezTo>
                    <a:pt x="1211746" y="23248"/>
                    <a:pt x="1216844" y="35556"/>
                    <a:pt x="1216844" y="48390"/>
                  </a:cubicBezTo>
                  <a:lnTo>
                    <a:pt x="1216844" y="435508"/>
                  </a:lnTo>
                  <a:cubicBezTo>
                    <a:pt x="1216844" y="448342"/>
                    <a:pt x="1211746" y="460650"/>
                    <a:pt x="1202671" y="469725"/>
                  </a:cubicBezTo>
                  <a:cubicBezTo>
                    <a:pt x="1193596" y="478800"/>
                    <a:pt x="1181288" y="483898"/>
                    <a:pt x="1168454" y="483898"/>
                  </a:cubicBezTo>
                  <a:lnTo>
                    <a:pt x="48390" y="483898"/>
                  </a:lnTo>
                  <a:cubicBezTo>
                    <a:pt x="35556" y="483898"/>
                    <a:pt x="23248" y="478800"/>
                    <a:pt x="14173" y="469725"/>
                  </a:cubicBezTo>
                  <a:cubicBezTo>
                    <a:pt x="5098" y="460650"/>
                    <a:pt x="0" y="448342"/>
                    <a:pt x="0" y="435508"/>
                  </a:cubicBezTo>
                  <a:lnTo>
                    <a:pt x="0" y="48390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608" tIns="48463" rIns="65608" bIns="48463" numCol="1" spcCol="1270" anchor="ctr" anchorCtr="0">
              <a:noAutofit/>
            </a:bodyPr>
            <a:lstStyle/>
            <a:p>
              <a:pPr lvl="0"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/>
                <a:t>Статья  8 ч. 1 </a:t>
              </a:r>
              <a:endParaRPr lang="en-US" sz="2000" b="1" kern="1200" dirty="0"/>
            </a:p>
          </p:txBody>
        </p:sp>
        <p:sp>
          <p:nvSpPr>
            <p:cNvPr id="23" name="Freeform 71"/>
            <p:cNvSpPr/>
            <p:nvPr/>
          </p:nvSpPr>
          <p:spPr>
            <a:xfrm>
              <a:off x="7550023" y="3050324"/>
              <a:ext cx="2012760" cy="1572076"/>
            </a:xfrm>
            <a:custGeom>
              <a:avLst/>
              <a:gdLst>
                <a:gd name="connsiteX0" fmla="*/ 0 w 1368949"/>
                <a:gd name="connsiteY0" fmla="*/ 112910 h 1129097"/>
                <a:gd name="connsiteX1" fmla="*/ 33071 w 1368949"/>
                <a:gd name="connsiteY1" fmla="*/ 33071 h 1129097"/>
                <a:gd name="connsiteX2" fmla="*/ 112911 w 1368949"/>
                <a:gd name="connsiteY2" fmla="*/ 1 h 1129097"/>
                <a:gd name="connsiteX3" fmla="*/ 1256039 w 1368949"/>
                <a:gd name="connsiteY3" fmla="*/ 0 h 1129097"/>
                <a:gd name="connsiteX4" fmla="*/ 1335878 w 1368949"/>
                <a:gd name="connsiteY4" fmla="*/ 33071 h 1129097"/>
                <a:gd name="connsiteX5" fmla="*/ 1368948 w 1368949"/>
                <a:gd name="connsiteY5" fmla="*/ 112911 h 1129097"/>
                <a:gd name="connsiteX6" fmla="*/ 1368949 w 1368949"/>
                <a:gd name="connsiteY6" fmla="*/ 1016187 h 1129097"/>
                <a:gd name="connsiteX7" fmla="*/ 1335878 w 1368949"/>
                <a:gd name="connsiteY7" fmla="*/ 1096026 h 1129097"/>
                <a:gd name="connsiteX8" fmla="*/ 1256039 w 1368949"/>
                <a:gd name="connsiteY8" fmla="*/ 1129097 h 1129097"/>
                <a:gd name="connsiteX9" fmla="*/ 112910 w 1368949"/>
                <a:gd name="connsiteY9" fmla="*/ 1129097 h 1129097"/>
                <a:gd name="connsiteX10" fmla="*/ 33071 w 1368949"/>
                <a:gd name="connsiteY10" fmla="*/ 1096026 h 1129097"/>
                <a:gd name="connsiteX11" fmla="*/ 0 w 1368949"/>
                <a:gd name="connsiteY11" fmla="*/ 1016187 h 1129097"/>
                <a:gd name="connsiteX12" fmla="*/ 0 w 1368949"/>
                <a:gd name="connsiteY12" fmla="*/ 112910 h 112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8949" h="1129097">
                  <a:moveTo>
                    <a:pt x="0" y="112910"/>
                  </a:moveTo>
                  <a:cubicBezTo>
                    <a:pt x="0" y="82964"/>
                    <a:pt x="11896" y="54245"/>
                    <a:pt x="33071" y="33071"/>
                  </a:cubicBezTo>
                  <a:cubicBezTo>
                    <a:pt x="54246" y="11896"/>
                    <a:pt x="82965" y="0"/>
                    <a:pt x="112911" y="1"/>
                  </a:cubicBezTo>
                  <a:lnTo>
                    <a:pt x="1256039" y="0"/>
                  </a:lnTo>
                  <a:cubicBezTo>
                    <a:pt x="1285985" y="0"/>
                    <a:pt x="1314704" y="11896"/>
                    <a:pt x="1335878" y="33071"/>
                  </a:cubicBezTo>
                  <a:cubicBezTo>
                    <a:pt x="1357053" y="54246"/>
                    <a:pt x="1368949" y="82965"/>
                    <a:pt x="1368948" y="112911"/>
                  </a:cubicBezTo>
                  <a:cubicBezTo>
                    <a:pt x="1368948" y="414003"/>
                    <a:pt x="1368949" y="715095"/>
                    <a:pt x="1368949" y="1016187"/>
                  </a:cubicBezTo>
                  <a:cubicBezTo>
                    <a:pt x="1368949" y="1046133"/>
                    <a:pt x="1357053" y="1074852"/>
                    <a:pt x="1335878" y="1096026"/>
                  </a:cubicBezTo>
                  <a:cubicBezTo>
                    <a:pt x="1314703" y="1117201"/>
                    <a:pt x="1285984" y="1129097"/>
                    <a:pt x="1256039" y="1129097"/>
                  </a:cubicBezTo>
                  <a:lnTo>
                    <a:pt x="112910" y="1129097"/>
                  </a:lnTo>
                  <a:cubicBezTo>
                    <a:pt x="82964" y="1129097"/>
                    <a:pt x="54245" y="1117201"/>
                    <a:pt x="33071" y="1096026"/>
                  </a:cubicBezTo>
                  <a:cubicBezTo>
                    <a:pt x="11896" y="1074851"/>
                    <a:pt x="0" y="1046132"/>
                    <a:pt x="0" y="1016187"/>
                  </a:cubicBezTo>
                  <a:lnTo>
                    <a:pt x="0" y="112910"/>
                  </a:lnTo>
                  <a:close/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1704" tIns="313653" rIns="71704" bIns="71705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2400" kern="1200" dirty="0">
                <a:solidFill>
                  <a:schemeClr val="accent2"/>
                </a:solidFill>
              </a:endParaRP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2400" kern="1200" dirty="0">
                <a:solidFill>
                  <a:schemeClr val="accent2"/>
                </a:solidFill>
              </a:endParaRPr>
            </a:p>
          </p:txBody>
        </p:sp>
        <p:sp>
          <p:nvSpPr>
            <p:cNvPr id="24" name="Freeform 73"/>
            <p:cNvSpPr/>
            <p:nvPr/>
          </p:nvSpPr>
          <p:spPr>
            <a:xfrm>
              <a:off x="7997304" y="2713451"/>
              <a:ext cx="1789122" cy="673746"/>
            </a:xfrm>
            <a:custGeom>
              <a:avLst/>
              <a:gdLst>
                <a:gd name="connsiteX0" fmla="*/ 0 w 1216844"/>
                <a:gd name="connsiteY0" fmla="*/ 48390 h 483898"/>
                <a:gd name="connsiteX1" fmla="*/ 14173 w 1216844"/>
                <a:gd name="connsiteY1" fmla="*/ 14173 h 483898"/>
                <a:gd name="connsiteX2" fmla="*/ 48390 w 1216844"/>
                <a:gd name="connsiteY2" fmla="*/ 0 h 483898"/>
                <a:gd name="connsiteX3" fmla="*/ 1168454 w 1216844"/>
                <a:gd name="connsiteY3" fmla="*/ 0 h 483898"/>
                <a:gd name="connsiteX4" fmla="*/ 1202671 w 1216844"/>
                <a:gd name="connsiteY4" fmla="*/ 14173 h 483898"/>
                <a:gd name="connsiteX5" fmla="*/ 1216844 w 1216844"/>
                <a:gd name="connsiteY5" fmla="*/ 48390 h 483898"/>
                <a:gd name="connsiteX6" fmla="*/ 1216844 w 1216844"/>
                <a:gd name="connsiteY6" fmla="*/ 435508 h 483898"/>
                <a:gd name="connsiteX7" fmla="*/ 1202671 w 1216844"/>
                <a:gd name="connsiteY7" fmla="*/ 469725 h 483898"/>
                <a:gd name="connsiteX8" fmla="*/ 1168454 w 1216844"/>
                <a:gd name="connsiteY8" fmla="*/ 483898 h 483898"/>
                <a:gd name="connsiteX9" fmla="*/ 48390 w 1216844"/>
                <a:gd name="connsiteY9" fmla="*/ 483898 h 483898"/>
                <a:gd name="connsiteX10" fmla="*/ 14173 w 1216844"/>
                <a:gd name="connsiteY10" fmla="*/ 469725 h 483898"/>
                <a:gd name="connsiteX11" fmla="*/ 0 w 1216844"/>
                <a:gd name="connsiteY11" fmla="*/ 435508 h 483898"/>
                <a:gd name="connsiteX12" fmla="*/ 0 w 1216844"/>
                <a:gd name="connsiteY12" fmla="*/ 48390 h 48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6844" h="483898">
                  <a:moveTo>
                    <a:pt x="0" y="48390"/>
                  </a:moveTo>
                  <a:cubicBezTo>
                    <a:pt x="0" y="35556"/>
                    <a:pt x="5098" y="23248"/>
                    <a:pt x="14173" y="14173"/>
                  </a:cubicBezTo>
                  <a:cubicBezTo>
                    <a:pt x="23248" y="5098"/>
                    <a:pt x="35556" y="0"/>
                    <a:pt x="48390" y="0"/>
                  </a:cubicBezTo>
                  <a:lnTo>
                    <a:pt x="1168454" y="0"/>
                  </a:lnTo>
                  <a:cubicBezTo>
                    <a:pt x="1181288" y="0"/>
                    <a:pt x="1193596" y="5098"/>
                    <a:pt x="1202671" y="14173"/>
                  </a:cubicBezTo>
                  <a:cubicBezTo>
                    <a:pt x="1211746" y="23248"/>
                    <a:pt x="1216844" y="35556"/>
                    <a:pt x="1216844" y="48390"/>
                  </a:cubicBezTo>
                  <a:lnTo>
                    <a:pt x="1216844" y="435508"/>
                  </a:lnTo>
                  <a:cubicBezTo>
                    <a:pt x="1216844" y="448342"/>
                    <a:pt x="1211746" y="460650"/>
                    <a:pt x="1202671" y="469725"/>
                  </a:cubicBezTo>
                  <a:cubicBezTo>
                    <a:pt x="1193596" y="478800"/>
                    <a:pt x="1181288" y="483898"/>
                    <a:pt x="1168454" y="483898"/>
                  </a:cubicBezTo>
                  <a:lnTo>
                    <a:pt x="48390" y="483898"/>
                  </a:lnTo>
                  <a:cubicBezTo>
                    <a:pt x="35556" y="483898"/>
                    <a:pt x="23248" y="478800"/>
                    <a:pt x="14173" y="469725"/>
                  </a:cubicBezTo>
                  <a:cubicBezTo>
                    <a:pt x="5098" y="460650"/>
                    <a:pt x="0" y="448342"/>
                    <a:pt x="0" y="435508"/>
                  </a:cubicBezTo>
                  <a:lnTo>
                    <a:pt x="0" y="48390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608" tIns="48463" rIns="65608" bIns="48463" numCol="1" spcCol="1270" anchor="ctr" anchorCtr="0">
              <a:noAutofit/>
            </a:bodyPr>
            <a:lstStyle/>
            <a:p>
              <a:pPr lvl="0"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 smtClean="0"/>
                <a:t>Статья 8 ч. 2</a:t>
              </a:r>
              <a:endParaRPr lang="en-US" sz="2000" b="1" dirty="0"/>
            </a:p>
          </p:txBody>
        </p:sp>
        <p:sp>
          <p:nvSpPr>
            <p:cNvPr id="30" name="Freeform 34"/>
            <p:cNvSpPr>
              <a:spLocks noEditPoints="1"/>
            </p:cNvSpPr>
            <p:nvPr/>
          </p:nvSpPr>
          <p:spPr bwMode="auto">
            <a:xfrm rot="5400000">
              <a:off x="8209911" y="3650541"/>
              <a:ext cx="692984" cy="576989"/>
            </a:xfrm>
            <a:custGeom>
              <a:avLst/>
              <a:gdLst/>
              <a:ahLst/>
              <a:cxnLst>
                <a:cxn ang="0">
                  <a:pos x="72" y="54"/>
                </a:cxn>
                <a:cxn ang="0">
                  <a:pos x="70" y="57"/>
                </a:cxn>
                <a:cxn ang="0">
                  <a:pos x="3" y="57"/>
                </a:cxn>
                <a:cxn ang="0">
                  <a:pos x="0" y="54"/>
                </a:cxn>
                <a:cxn ang="0">
                  <a:pos x="0" y="49"/>
                </a:cxn>
                <a:cxn ang="0">
                  <a:pos x="3" y="47"/>
                </a:cxn>
                <a:cxn ang="0">
                  <a:pos x="70" y="47"/>
                </a:cxn>
                <a:cxn ang="0">
                  <a:pos x="72" y="49"/>
                </a:cxn>
                <a:cxn ang="0">
                  <a:pos x="72" y="54"/>
                </a:cxn>
                <a:cxn ang="0">
                  <a:pos x="72" y="24"/>
                </a:cxn>
                <a:cxn ang="0">
                  <a:pos x="70" y="26"/>
                </a:cxn>
                <a:cxn ang="0">
                  <a:pos x="8" y="26"/>
                </a:cxn>
                <a:cxn ang="0">
                  <a:pos x="6" y="24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70" y="16"/>
                </a:cxn>
                <a:cxn ang="0">
                  <a:pos x="72" y="18"/>
                </a:cxn>
                <a:cxn ang="0">
                  <a:pos x="72" y="24"/>
                </a:cxn>
                <a:cxn ang="0">
                  <a:pos x="72" y="39"/>
                </a:cxn>
                <a:cxn ang="0">
                  <a:pos x="70" y="42"/>
                </a:cxn>
                <a:cxn ang="0">
                  <a:pos x="18" y="42"/>
                </a:cxn>
                <a:cxn ang="0">
                  <a:pos x="16" y="39"/>
                </a:cxn>
                <a:cxn ang="0">
                  <a:pos x="16" y="34"/>
                </a:cxn>
                <a:cxn ang="0">
                  <a:pos x="18" y="31"/>
                </a:cxn>
                <a:cxn ang="0">
                  <a:pos x="70" y="31"/>
                </a:cxn>
                <a:cxn ang="0">
                  <a:pos x="72" y="34"/>
                </a:cxn>
                <a:cxn ang="0">
                  <a:pos x="72" y="39"/>
                </a:cxn>
                <a:cxn ang="0">
                  <a:pos x="72" y="8"/>
                </a:cxn>
                <a:cxn ang="0">
                  <a:pos x="70" y="11"/>
                </a:cxn>
                <a:cxn ang="0">
                  <a:pos x="24" y="11"/>
                </a:cxn>
                <a:cxn ang="0">
                  <a:pos x="21" y="8"/>
                </a:cxn>
                <a:cxn ang="0">
                  <a:pos x="21" y="3"/>
                </a:cxn>
                <a:cxn ang="0">
                  <a:pos x="24" y="0"/>
                </a:cxn>
                <a:cxn ang="0">
                  <a:pos x="70" y="0"/>
                </a:cxn>
                <a:cxn ang="0">
                  <a:pos x="72" y="3"/>
                </a:cxn>
                <a:cxn ang="0">
                  <a:pos x="72" y="8"/>
                </a:cxn>
              </a:cxnLst>
              <a:rect l="0" t="0" r="r" b="b"/>
              <a:pathLst>
                <a:path w="72" h="57">
                  <a:moveTo>
                    <a:pt x="72" y="54"/>
                  </a:moveTo>
                  <a:cubicBezTo>
                    <a:pt x="72" y="56"/>
                    <a:pt x="71" y="57"/>
                    <a:pt x="70" y="57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2" y="57"/>
                    <a:pt x="0" y="56"/>
                    <a:pt x="0" y="5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8"/>
                    <a:pt x="2" y="47"/>
                    <a:pt x="3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1" y="47"/>
                    <a:pt x="72" y="48"/>
                    <a:pt x="72" y="49"/>
                  </a:cubicBezTo>
                  <a:lnTo>
                    <a:pt x="72" y="54"/>
                  </a:lnTo>
                  <a:close/>
                  <a:moveTo>
                    <a:pt x="72" y="24"/>
                  </a:moveTo>
                  <a:cubicBezTo>
                    <a:pt x="72" y="25"/>
                    <a:pt x="71" y="26"/>
                    <a:pt x="70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7" y="26"/>
                    <a:pt x="6" y="25"/>
                    <a:pt x="6" y="24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7"/>
                    <a:pt x="7" y="16"/>
                    <a:pt x="8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1" y="16"/>
                    <a:pt x="72" y="17"/>
                    <a:pt x="72" y="18"/>
                  </a:cubicBezTo>
                  <a:lnTo>
                    <a:pt x="72" y="24"/>
                  </a:lnTo>
                  <a:close/>
                  <a:moveTo>
                    <a:pt x="72" y="39"/>
                  </a:moveTo>
                  <a:cubicBezTo>
                    <a:pt x="72" y="40"/>
                    <a:pt x="71" y="42"/>
                    <a:pt x="70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7" y="42"/>
                    <a:pt x="16" y="40"/>
                    <a:pt x="16" y="39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2"/>
                    <a:pt x="17" y="31"/>
                    <a:pt x="18" y="31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1" y="31"/>
                    <a:pt x="72" y="32"/>
                    <a:pt x="72" y="34"/>
                  </a:cubicBezTo>
                  <a:lnTo>
                    <a:pt x="72" y="39"/>
                  </a:lnTo>
                  <a:close/>
                  <a:moveTo>
                    <a:pt x="72" y="8"/>
                  </a:moveTo>
                  <a:cubicBezTo>
                    <a:pt x="72" y="10"/>
                    <a:pt x="71" y="11"/>
                    <a:pt x="70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2" y="11"/>
                    <a:pt x="21" y="10"/>
                    <a:pt x="21" y="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2"/>
                    <a:pt x="22" y="0"/>
                    <a:pt x="24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2" y="2"/>
                    <a:pt x="72" y="3"/>
                  </a:cubicBezTo>
                  <a:lnTo>
                    <a:pt x="72" y="8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" name="Shape 2617"/>
          <p:cNvSpPr/>
          <p:nvPr/>
        </p:nvSpPr>
        <p:spPr>
          <a:xfrm>
            <a:off x="3014059" y="2900349"/>
            <a:ext cx="986340" cy="8070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FFC000"/>
          </a:solidFill>
          <a:ln w="12700">
            <a:solidFill>
              <a:srgbClr val="FFC000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2442324" y="4700953"/>
            <a:ext cx="4281862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Контрактная система в сфере закупок направлена на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создание равных условий для обеспечения конкуренции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 между участниками закупок. Любое заинтересованное лицо имеет возможность стать поставщиком (подрядчиком, исполнителем)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7706140" y="4700953"/>
            <a:ext cx="428186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Конкуренция должна быть основана на соблюдении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ринципа добросовестной ценовой и неценовой конкуренции 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в целях выявления лучших условий.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Запрещается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 совершение любых действий, которые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ротиворечат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требованиям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 настоящего Федерального закона.</a:t>
            </a:r>
          </a:p>
        </p:txBody>
      </p:sp>
    </p:spTree>
    <p:extLst>
      <p:ext uri="{BB962C8B-B14F-4D97-AF65-F5344CB8AC3E}">
        <p14:creationId xmlns:p14="http://schemas.microsoft.com/office/powerpoint/2010/main" val="2963158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Группа 33"/>
          <p:cNvGrpSpPr/>
          <p:nvPr/>
        </p:nvGrpSpPr>
        <p:grpSpPr>
          <a:xfrm>
            <a:off x="0" y="87808"/>
            <a:ext cx="10939346" cy="2119421"/>
            <a:chOff x="0" y="87808"/>
            <a:chExt cx="10939346" cy="2119421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0" y="87808"/>
              <a:ext cx="2707954" cy="2119421"/>
              <a:chOff x="-31552" y="3615030"/>
              <a:chExt cx="2707954" cy="2119421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72CCCF04-9149-4897-B91F-ADEB1CEA55E8}"/>
                  </a:ext>
                </a:extLst>
              </p:cNvPr>
              <p:cNvSpPr txBox="1"/>
              <p:nvPr/>
            </p:nvSpPr>
            <p:spPr>
              <a:xfrm>
                <a:off x="1115077" y="3615030"/>
                <a:ext cx="1561325" cy="184665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0" b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7A7A7A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Lato Black" panose="020F0502020204030203" pitchFamily="34" charset="0"/>
                    <a:ea typeface="Lato Black" panose="020F0502020204030203" pitchFamily="34" charset="0"/>
                    <a:cs typeface="Lato Black" panose="020F0502020204030203" pitchFamily="34" charset="0"/>
                  </a:rPr>
                  <a:t>0</a:t>
                </a:r>
                <a:r>
                  <a:rPr lang="ru-RU" sz="12000" dirty="0">
                    <a:solidFill>
                      <a:srgbClr val="7A7A7A">
                        <a:lumMod val="20000"/>
                        <a:lumOff val="80000"/>
                      </a:srgbClr>
                    </a:solidFill>
                    <a:latin typeface="Lato Black" panose="020F0502020204030203" pitchFamily="34" charset="0"/>
                    <a:ea typeface="Lato Black" panose="020F0502020204030203" pitchFamily="34" charset="0"/>
                    <a:cs typeface="Lato Black" panose="020F0502020204030203" pitchFamily="34" charset="0"/>
                  </a:rPr>
                  <a:t>3</a:t>
                </a:r>
                <a:endParaRPr kumimoji="0" lang="en-US" sz="12000" b="0" u="none" strike="noStrike" kern="1200" cap="none" spc="0" normalizeH="0" baseline="0" noProof="0" dirty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endParaRPr>
              </a:p>
            </p:txBody>
          </p:sp>
          <p:grpSp>
            <p:nvGrpSpPr>
              <p:cNvPr id="5" name="Group 5">
                <a:extLst>
                  <a:ext uri="{FF2B5EF4-FFF2-40B4-BE49-F238E27FC236}">
                    <a16:creationId xmlns:a16="http://schemas.microsoft.com/office/drawing/2014/main" id="{7564FED4-E3E4-4F0C-9B3C-6852765633AE}"/>
                  </a:ext>
                </a:extLst>
              </p:cNvPr>
              <p:cNvGrpSpPr/>
              <p:nvPr/>
            </p:nvGrpSpPr>
            <p:grpSpPr>
              <a:xfrm>
                <a:off x="1070198" y="4483788"/>
                <a:ext cx="516835" cy="1250663"/>
                <a:chOff x="1024856" y="5015139"/>
                <a:chExt cx="516835" cy="1250663"/>
              </a:xfrm>
            </p:grpSpPr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64144A31-B8C9-488D-B2EA-874218918AF7}"/>
                    </a:ext>
                  </a:extLst>
                </p:cNvPr>
                <p:cNvSpPr/>
                <p:nvPr/>
              </p:nvSpPr>
              <p:spPr>
                <a:xfrm>
                  <a:off x="1024856" y="5098657"/>
                  <a:ext cx="516835" cy="106738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F1C05F20-1ABC-4E7E-9DF4-3C3A4579B511}"/>
                    </a:ext>
                  </a:extLst>
                </p:cNvPr>
                <p:cNvSpPr txBox="1"/>
                <p:nvPr/>
              </p:nvSpPr>
              <p:spPr>
                <a:xfrm rot="16200000">
                  <a:off x="657943" y="5440416"/>
                  <a:ext cx="125066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000" spc="300" dirty="0" smtClean="0">
                      <a:solidFill>
                        <a:srgbClr val="44546A"/>
                      </a:solidFill>
                      <a:latin typeface="Lato Heavy" panose="020F0502020204030203" pitchFamily="34" charset="0"/>
                      <a:ea typeface="Lato Heavy" panose="020F0502020204030203" pitchFamily="34" charset="0"/>
                      <a:cs typeface="Lato Heavy" panose="020F0502020204030203" pitchFamily="34" charset="0"/>
                    </a:rPr>
                    <a:t>ПРИНЦИПЫ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000" spc="300" dirty="0" smtClean="0">
                      <a:solidFill>
                        <a:srgbClr val="44546A"/>
                      </a:solidFill>
                      <a:latin typeface="Lato Heavy" panose="020F0502020204030203" pitchFamily="34" charset="0"/>
                      <a:ea typeface="Lato Heavy" panose="020F0502020204030203" pitchFamily="34" charset="0"/>
                      <a:cs typeface="Lato Heavy" panose="020F0502020204030203" pitchFamily="34" charset="0"/>
                    </a:rPr>
                    <a:t>К. СИСТЕМЫ</a:t>
                  </a:r>
                  <a:endParaRPr kumimoji="0" lang="en-US" sz="1000" b="0" i="0" u="none" strike="noStrike" kern="1200" cap="none" spc="30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endParaRPr>
                </a:p>
              </p:txBody>
            </p:sp>
          </p:grpSp>
          <p:cxnSp>
            <p:nvCxnSpPr>
              <p:cNvPr id="6" name="Straight Connector 8">
                <a:extLst>
                  <a:ext uri="{FF2B5EF4-FFF2-40B4-BE49-F238E27FC236}">
                    <a16:creationId xmlns:a16="http://schemas.microsoft.com/office/drawing/2014/main" id="{68E03CC4-C679-4B43-B7C5-4B7D16AF3893}"/>
                  </a:ext>
                </a:extLst>
              </p:cNvPr>
              <p:cNvCxnSpPr/>
              <p:nvPr/>
            </p:nvCxnSpPr>
            <p:spPr>
              <a:xfrm>
                <a:off x="-31552" y="4457523"/>
                <a:ext cx="943428" cy="0"/>
              </a:xfrm>
              <a:prstGeom prst="line">
                <a:avLst/>
              </a:prstGeom>
              <a:ln w="571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57B3B25-33FD-438F-93CE-25583E0CF2FA}"/>
                </a:ext>
              </a:extLst>
            </p:cNvPr>
            <p:cNvSpPr txBox="1"/>
            <p:nvPr/>
          </p:nvSpPr>
          <p:spPr>
            <a:xfrm>
              <a:off x="2960976" y="679567"/>
              <a:ext cx="797837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ru-RU" sz="3600" dirty="0">
                  <a:solidFill>
                    <a:srgbClr val="44546A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Принцип профессионализма </a:t>
              </a:r>
              <a:r>
                <a:rPr lang="ru-RU" sz="3600" dirty="0">
                  <a:solidFill>
                    <a:srgbClr val="FFC000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заказчика</a:t>
              </a:r>
              <a:endPara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048739" y="3218365"/>
            <a:ext cx="205120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accent1"/>
                </a:solidFill>
              </a:rPr>
              <a:t>СТАТЬЯ №9 Ч. 1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45897" y="4941862"/>
            <a:ext cx="307922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СТАТЬЯ №9 Ч. 2 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cxnSp>
        <p:nvCxnSpPr>
          <p:cNvPr id="17" name="Straight Connector 32"/>
          <p:cNvCxnSpPr/>
          <p:nvPr/>
        </p:nvCxnSpPr>
        <p:spPr>
          <a:xfrm flipV="1">
            <a:off x="5218522" y="2531699"/>
            <a:ext cx="0" cy="345308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24"/>
          <p:cNvSpPr/>
          <p:nvPr/>
        </p:nvSpPr>
        <p:spPr>
          <a:xfrm>
            <a:off x="943428" y="2954543"/>
            <a:ext cx="910121" cy="8840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800" b="1" dirty="0" smtClean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2" name="Oval 30"/>
          <p:cNvSpPr/>
          <p:nvPr/>
        </p:nvSpPr>
        <p:spPr>
          <a:xfrm>
            <a:off x="943428" y="4660673"/>
            <a:ext cx="910121" cy="8840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5435831" y="2781021"/>
            <a:ext cx="590183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1600" dirty="0" smtClean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Контрактная 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система в сфере закупок предусматривает осуществление деятельности заказчика, специализированной организации и контрольного органа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в сфере закупок 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на профессиональной основе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с привлечением квалифицированных </a:t>
            </a:r>
            <a:r>
              <a:rPr lang="ru-RU" sz="1600" b="1" dirty="0" smtClean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специалистов.</a:t>
            </a:r>
            <a:endParaRPr lang="ru-RU" sz="1600" b="1" dirty="0">
              <a:solidFill>
                <a:srgbClr val="44546A"/>
              </a:solidFill>
              <a:latin typeface="Lato Heavy" panose="020F0502020204030203" pitchFamily="34" charset="0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5435831" y="4660673"/>
            <a:ext cx="5901835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Заказчики, специализированные организации принимают меры по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поддержанию и повышению уровня квалификации</a:t>
            </a:r>
            <a:r>
              <a:rPr lang="ru-RU" sz="1600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 и профессионального образования должностных лиц, </a:t>
            </a:r>
            <a:r>
              <a:rPr lang="ru-RU" sz="1600" b="1" dirty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занятых в сфере </a:t>
            </a:r>
            <a:r>
              <a:rPr lang="ru-RU" sz="1600" b="1" dirty="0" smtClean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закупок.</a:t>
            </a:r>
            <a:endParaRPr lang="ru-RU" sz="1600" b="1" dirty="0">
              <a:solidFill>
                <a:srgbClr val="44546A"/>
              </a:solidFill>
              <a:latin typeface="Lato Heavy" panose="020F0502020204030203" pitchFamily="34" charset="0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sp>
        <p:nvSpPr>
          <p:cNvPr id="32" name="Shape 2581"/>
          <p:cNvSpPr/>
          <p:nvPr/>
        </p:nvSpPr>
        <p:spPr>
          <a:xfrm>
            <a:off x="1068058" y="3054301"/>
            <a:ext cx="660857" cy="6608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33" name="Freeform 187"/>
          <p:cNvSpPr>
            <a:spLocks noEditPoints="1"/>
          </p:cNvSpPr>
          <p:nvPr/>
        </p:nvSpPr>
        <p:spPr bwMode="auto">
          <a:xfrm>
            <a:off x="1101750" y="4899129"/>
            <a:ext cx="595212" cy="384661"/>
          </a:xfrm>
          <a:custGeom>
            <a:avLst/>
            <a:gdLst/>
            <a:ahLst/>
            <a:cxnLst>
              <a:cxn ang="0">
                <a:pos x="68" y="25"/>
              </a:cxn>
              <a:cxn ang="0">
                <a:pos x="34" y="44"/>
              </a:cxn>
              <a:cxn ang="0">
                <a:pos x="1" y="25"/>
              </a:cxn>
              <a:cxn ang="0">
                <a:pos x="0" y="22"/>
              </a:cxn>
              <a:cxn ang="0">
                <a:pos x="1" y="20"/>
              </a:cxn>
              <a:cxn ang="0">
                <a:pos x="34" y="0"/>
              </a:cxn>
              <a:cxn ang="0">
                <a:pos x="68" y="20"/>
              </a:cxn>
              <a:cxn ang="0">
                <a:pos x="68" y="22"/>
              </a:cxn>
              <a:cxn ang="0">
                <a:pos x="68" y="25"/>
              </a:cxn>
              <a:cxn ang="0">
                <a:pos x="49" y="9"/>
              </a:cxn>
              <a:cxn ang="0">
                <a:pos x="51" y="17"/>
              </a:cxn>
              <a:cxn ang="0">
                <a:pos x="34" y="34"/>
              </a:cxn>
              <a:cxn ang="0">
                <a:pos x="17" y="17"/>
              </a:cxn>
              <a:cxn ang="0">
                <a:pos x="20" y="9"/>
              </a:cxn>
              <a:cxn ang="0">
                <a:pos x="5" y="22"/>
              </a:cxn>
              <a:cxn ang="0">
                <a:pos x="34" y="39"/>
              </a:cxn>
              <a:cxn ang="0">
                <a:pos x="64" y="22"/>
              </a:cxn>
              <a:cxn ang="0">
                <a:pos x="49" y="9"/>
              </a:cxn>
              <a:cxn ang="0">
                <a:pos x="34" y="6"/>
              </a:cxn>
              <a:cxn ang="0">
                <a:pos x="23" y="17"/>
              </a:cxn>
              <a:cxn ang="0">
                <a:pos x="25" y="19"/>
              </a:cxn>
              <a:cxn ang="0">
                <a:pos x="27" y="17"/>
              </a:cxn>
              <a:cxn ang="0">
                <a:pos x="34" y="9"/>
              </a:cxn>
              <a:cxn ang="0">
                <a:pos x="36" y="8"/>
              </a:cxn>
              <a:cxn ang="0">
                <a:pos x="34" y="6"/>
              </a:cxn>
            </a:cxnLst>
            <a:rect l="0" t="0" r="r" b="b"/>
            <a:pathLst>
              <a:path w="68" h="44">
                <a:moveTo>
                  <a:pt x="68" y="25"/>
                </a:moveTo>
                <a:cubicBezTo>
                  <a:pt x="61" y="36"/>
                  <a:pt x="48" y="44"/>
                  <a:pt x="34" y="44"/>
                </a:cubicBezTo>
                <a:cubicBezTo>
                  <a:pt x="21" y="44"/>
                  <a:pt x="8" y="36"/>
                  <a:pt x="1" y="25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21"/>
                  <a:pt x="1" y="20"/>
                  <a:pt x="1" y="20"/>
                </a:cubicBezTo>
                <a:cubicBezTo>
                  <a:pt x="8" y="8"/>
                  <a:pt x="21" y="0"/>
                  <a:pt x="34" y="0"/>
                </a:cubicBezTo>
                <a:cubicBezTo>
                  <a:pt x="48" y="0"/>
                  <a:pt x="61" y="8"/>
                  <a:pt x="68" y="20"/>
                </a:cubicBezTo>
                <a:cubicBezTo>
                  <a:pt x="68" y="20"/>
                  <a:pt x="68" y="21"/>
                  <a:pt x="68" y="22"/>
                </a:cubicBezTo>
                <a:cubicBezTo>
                  <a:pt x="68" y="23"/>
                  <a:pt x="68" y="24"/>
                  <a:pt x="68" y="25"/>
                </a:cubicBezTo>
                <a:close/>
                <a:moveTo>
                  <a:pt x="49" y="9"/>
                </a:moveTo>
                <a:cubicBezTo>
                  <a:pt x="51" y="11"/>
                  <a:pt x="51" y="14"/>
                  <a:pt x="51" y="17"/>
                </a:cubicBezTo>
                <a:cubicBezTo>
                  <a:pt x="51" y="27"/>
                  <a:pt x="44" y="34"/>
                  <a:pt x="34" y="34"/>
                </a:cubicBezTo>
                <a:cubicBezTo>
                  <a:pt x="25" y="34"/>
                  <a:pt x="17" y="27"/>
                  <a:pt x="17" y="17"/>
                </a:cubicBezTo>
                <a:cubicBezTo>
                  <a:pt x="17" y="14"/>
                  <a:pt x="18" y="11"/>
                  <a:pt x="20" y="9"/>
                </a:cubicBezTo>
                <a:cubicBezTo>
                  <a:pt x="14" y="12"/>
                  <a:pt x="9" y="17"/>
                  <a:pt x="5" y="22"/>
                </a:cubicBezTo>
                <a:cubicBezTo>
                  <a:pt x="12" y="32"/>
                  <a:pt x="22" y="39"/>
                  <a:pt x="34" y="39"/>
                </a:cubicBezTo>
                <a:cubicBezTo>
                  <a:pt x="47" y="39"/>
                  <a:pt x="57" y="32"/>
                  <a:pt x="64" y="22"/>
                </a:cubicBezTo>
                <a:cubicBezTo>
                  <a:pt x="60" y="17"/>
                  <a:pt x="55" y="12"/>
                  <a:pt x="49" y="9"/>
                </a:cubicBezTo>
                <a:close/>
                <a:moveTo>
                  <a:pt x="34" y="6"/>
                </a:moveTo>
                <a:cubicBezTo>
                  <a:pt x="28" y="6"/>
                  <a:pt x="23" y="11"/>
                  <a:pt x="23" y="17"/>
                </a:cubicBezTo>
                <a:cubicBezTo>
                  <a:pt x="23" y="18"/>
                  <a:pt x="24" y="19"/>
                  <a:pt x="25" y="19"/>
                </a:cubicBezTo>
                <a:cubicBezTo>
                  <a:pt x="26" y="19"/>
                  <a:pt x="27" y="18"/>
                  <a:pt x="27" y="17"/>
                </a:cubicBezTo>
                <a:cubicBezTo>
                  <a:pt x="27" y="13"/>
                  <a:pt x="30" y="9"/>
                  <a:pt x="34" y="9"/>
                </a:cubicBezTo>
                <a:cubicBezTo>
                  <a:pt x="35" y="9"/>
                  <a:pt x="36" y="9"/>
                  <a:pt x="36" y="8"/>
                </a:cubicBezTo>
                <a:cubicBezTo>
                  <a:pt x="36" y="7"/>
                  <a:pt x="35" y="6"/>
                  <a:pt x="34" y="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850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Группа 41"/>
          <p:cNvGrpSpPr/>
          <p:nvPr/>
        </p:nvGrpSpPr>
        <p:grpSpPr>
          <a:xfrm>
            <a:off x="811714" y="1763060"/>
            <a:ext cx="10665488" cy="4466845"/>
            <a:chOff x="-171418" y="2805555"/>
            <a:chExt cx="8657150" cy="3625727"/>
          </a:xfrm>
        </p:grpSpPr>
        <p:grpSp>
          <p:nvGrpSpPr>
            <p:cNvPr id="9" name="Group 61"/>
            <p:cNvGrpSpPr/>
            <p:nvPr/>
          </p:nvGrpSpPr>
          <p:grpSpPr>
            <a:xfrm>
              <a:off x="2972300" y="4914957"/>
              <a:ext cx="1451696" cy="1516325"/>
              <a:chOff x="1411129" y="2914054"/>
              <a:chExt cx="1451696" cy="1516325"/>
            </a:xfrm>
          </p:grpSpPr>
          <p:sp>
            <p:nvSpPr>
              <p:cNvPr id="10" name="Oval 57"/>
              <p:cNvSpPr>
                <a:spLocks noChangeAspect="1"/>
              </p:cNvSpPr>
              <p:nvPr/>
            </p:nvSpPr>
            <p:spPr>
              <a:xfrm>
                <a:off x="1411129" y="2978683"/>
                <a:ext cx="1451696" cy="1451696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" name="Oval 28"/>
              <p:cNvSpPr>
                <a:spLocks noChangeAspect="1"/>
              </p:cNvSpPr>
              <p:nvPr/>
            </p:nvSpPr>
            <p:spPr>
              <a:xfrm>
                <a:off x="1411129" y="2914054"/>
                <a:ext cx="1451696" cy="145169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2" name="Group 62"/>
            <p:cNvGrpSpPr/>
            <p:nvPr/>
          </p:nvGrpSpPr>
          <p:grpSpPr>
            <a:xfrm>
              <a:off x="7034036" y="2805555"/>
              <a:ext cx="1451696" cy="1507307"/>
              <a:chOff x="5472865" y="804652"/>
              <a:chExt cx="1451696" cy="1507307"/>
            </a:xfrm>
          </p:grpSpPr>
          <p:sp>
            <p:nvSpPr>
              <p:cNvPr id="13" name="Oval 60"/>
              <p:cNvSpPr>
                <a:spLocks noChangeAspect="1"/>
              </p:cNvSpPr>
              <p:nvPr/>
            </p:nvSpPr>
            <p:spPr>
              <a:xfrm>
                <a:off x="5472865" y="860263"/>
                <a:ext cx="1451696" cy="1451696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" name="Oval 29"/>
              <p:cNvSpPr>
                <a:spLocks noChangeAspect="1"/>
              </p:cNvSpPr>
              <p:nvPr/>
            </p:nvSpPr>
            <p:spPr>
              <a:xfrm>
                <a:off x="5472865" y="804652"/>
                <a:ext cx="1451696" cy="14516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8" name="Group 57"/>
            <p:cNvGrpSpPr/>
            <p:nvPr/>
          </p:nvGrpSpPr>
          <p:grpSpPr>
            <a:xfrm>
              <a:off x="2256295" y="2967111"/>
              <a:ext cx="4730369" cy="1498930"/>
              <a:chOff x="-895042" y="3133992"/>
              <a:chExt cx="4730369" cy="1498930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-867934" y="3583671"/>
                <a:ext cx="4614534" cy="10492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Bef>
                    <a:spcPct val="20000"/>
                  </a:spcBef>
                  <a:defRPr/>
                </a:pPr>
                <a:r>
                  <a:rPr lang="ru-RU" sz="1400" b="1" dirty="0">
                    <a:solidFill>
                      <a:srgbClr val="44546A"/>
                    </a:solidFill>
                  </a:rPr>
                  <a:t>Контрактная система в сфере закупок основывается на единых принципах и подходах</a:t>
                </a:r>
                <a:r>
                  <a:rPr lang="ru-RU" sz="1400" dirty="0">
                    <a:solidFill>
                      <a:srgbClr val="44546A"/>
                    </a:solidFill>
                  </a:rPr>
                  <a:t>, предусмотренных настоящим Федеральным законом и позволяющих обеспечивать государственные и муниципальные нужды посредством планирования и осуществления закупок, их мониторинга, аудита в сфере закупок, а также контроля в сфере закупок.</a:t>
                </a:r>
              </a:p>
            </p:txBody>
          </p:sp>
          <p:sp>
            <p:nvSpPr>
              <p:cNvPr id="20" name="Rectangle 34"/>
              <p:cNvSpPr/>
              <p:nvPr/>
            </p:nvSpPr>
            <p:spPr>
              <a:xfrm>
                <a:off x="-895042" y="3133992"/>
                <a:ext cx="4730369" cy="449679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b="1" dirty="0" smtClean="0">
                    <a:solidFill>
                      <a:schemeClr val="accent2"/>
                    </a:solidFill>
                  </a:rPr>
                  <a:t>Принцип единства контрактной системы в сфере закупок</a:t>
                </a:r>
              </a:p>
              <a:p>
                <a:r>
                  <a:rPr lang="ru-RU" b="1" dirty="0" smtClean="0">
                    <a:solidFill>
                      <a:schemeClr val="accent2"/>
                    </a:solidFill>
                  </a:rPr>
                  <a:t>(статья№11)</a:t>
                </a:r>
                <a:endParaRPr lang="en-US" b="1" dirty="0" smtClean="0">
                  <a:solidFill>
                    <a:schemeClr val="accent2"/>
                  </a:solidFill>
                </a:endParaRPr>
              </a:p>
            </p:txBody>
          </p:sp>
        </p:grpSp>
        <p:grpSp>
          <p:nvGrpSpPr>
            <p:cNvPr id="24" name="Group 56"/>
            <p:cNvGrpSpPr/>
            <p:nvPr/>
          </p:nvGrpSpPr>
          <p:grpSpPr>
            <a:xfrm>
              <a:off x="-171418" y="4821068"/>
              <a:ext cx="3087533" cy="1524794"/>
              <a:chOff x="-1900014" y="1667868"/>
              <a:chExt cx="3087533" cy="1524794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-1900014" y="2143411"/>
                <a:ext cx="3011301" cy="10492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Bef>
                    <a:spcPct val="20000"/>
                  </a:spcBef>
                  <a:defRPr/>
                </a:pPr>
                <a:r>
                  <a:rPr lang="ru-RU" sz="1400" dirty="0">
                    <a:solidFill>
                      <a:srgbClr val="44546A"/>
                    </a:solidFill>
                  </a:rPr>
                  <a:t>Заказчики при планировании и осуществлении закупок должны исходить из приоритета обеспечения государственных и муниципальных нужд путем </a:t>
                </a:r>
                <a:r>
                  <a:rPr lang="ru-RU" sz="1400" b="1" dirty="0">
                    <a:solidFill>
                      <a:srgbClr val="44546A"/>
                    </a:solidFill>
                  </a:rPr>
                  <a:t>закупок инновационной и высокотехнологичной продукции.</a:t>
                </a:r>
              </a:p>
            </p:txBody>
          </p:sp>
          <p:sp>
            <p:nvSpPr>
              <p:cNvPr id="26" name="Rectangle 42"/>
              <p:cNvSpPr/>
              <p:nvPr/>
            </p:nvSpPr>
            <p:spPr>
              <a:xfrm>
                <a:off x="-1900014" y="1667868"/>
                <a:ext cx="3087533" cy="449679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b="1" dirty="0" smtClean="0">
                    <a:solidFill>
                      <a:schemeClr val="accent1"/>
                    </a:solidFill>
                  </a:rPr>
                  <a:t>Принцип стимулирования инноваций</a:t>
                </a:r>
              </a:p>
              <a:p>
                <a:r>
                  <a:rPr lang="ru-RU" b="1" dirty="0" smtClean="0">
                    <a:solidFill>
                      <a:schemeClr val="accent1"/>
                    </a:solidFill>
                  </a:rPr>
                  <a:t>(статья №10)</a:t>
                </a:r>
                <a:endParaRPr lang="en-US" b="1" dirty="0" smtClean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43" name="Группа 42"/>
          <p:cNvGrpSpPr/>
          <p:nvPr/>
        </p:nvGrpSpPr>
        <p:grpSpPr>
          <a:xfrm>
            <a:off x="0" y="87808"/>
            <a:ext cx="4740562" cy="2119421"/>
            <a:chOff x="-31552" y="3615030"/>
            <a:chExt cx="4740562" cy="211942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2CCCF04-9149-4897-B91F-ADEB1CEA55E8}"/>
                </a:ext>
              </a:extLst>
            </p:cNvPr>
            <p:cNvSpPr txBox="1"/>
            <p:nvPr/>
          </p:nvSpPr>
          <p:spPr>
            <a:xfrm>
              <a:off x="1115077" y="3615030"/>
              <a:ext cx="3593933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kumimoji="0" lang="ru-RU" sz="12000" b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4</a:t>
              </a:r>
              <a:r>
                <a:rPr lang="ru-RU" sz="12000" dirty="0" smtClean="0">
                  <a:solidFill>
                    <a:srgbClr val="7A7A7A">
                      <a:lumMod val="20000"/>
                      <a:lumOff val="80000"/>
                    </a:srgbClr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-05</a:t>
              </a:r>
              <a:endParaRPr kumimoji="0" lang="en-US" sz="12000" b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45" name="Group 5">
              <a:extLst>
                <a:ext uri="{FF2B5EF4-FFF2-40B4-BE49-F238E27FC236}">
                  <a16:creationId xmlns:a16="http://schemas.microsoft.com/office/drawing/2014/main" id="{7564FED4-E3E4-4F0C-9B3C-6852765633AE}"/>
                </a:ext>
              </a:extLst>
            </p:cNvPr>
            <p:cNvGrpSpPr/>
            <p:nvPr/>
          </p:nvGrpSpPr>
          <p:grpSpPr>
            <a:xfrm>
              <a:off x="1070198" y="4483788"/>
              <a:ext cx="516835" cy="1250663"/>
              <a:chOff x="1024856" y="5015139"/>
              <a:chExt cx="516835" cy="1250663"/>
            </a:xfrm>
          </p:grpSpPr>
          <p:sp>
            <p:nvSpPr>
              <p:cNvPr id="47" name="Rectangle 6">
                <a:extLst>
                  <a:ext uri="{FF2B5EF4-FFF2-40B4-BE49-F238E27FC236}">
                    <a16:creationId xmlns:a16="http://schemas.microsoft.com/office/drawing/2014/main" id="{64144A31-B8C9-488D-B2EA-874218918AF7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F1C05F20-1ABC-4E7E-9DF4-3C3A4579B511}"/>
                  </a:ext>
                </a:extLst>
              </p:cNvPr>
              <p:cNvSpPr txBox="1"/>
              <p:nvPr/>
            </p:nvSpPr>
            <p:spPr>
              <a:xfrm rot="16200000">
                <a:off x="657943" y="5440416"/>
                <a:ext cx="125066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00" spc="300" dirty="0" smtClean="0">
                    <a:solidFill>
                      <a:srgbClr val="44546A"/>
                    </a:solidFill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ПРИНЦИПЫ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00" spc="300" dirty="0" smtClean="0">
                    <a:solidFill>
                      <a:srgbClr val="44546A"/>
                    </a:solidFill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К. СИСТЕМЫ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46" name="Straight Connector 8">
              <a:extLst>
                <a:ext uri="{FF2B5EF4-FFF2-40B4-BE49-F238E27FC236}">
                  <a16:creationId xmlns:a16="http://schemas.microsoft.com/office/drawing/2014/main" id="{68E03CC4-C679-4B43-B7C5-4B7D16AF3893}"/>
                </a:ext>
              </a:extLst>
            </p:cNvPr>
            <p:cNvCxnSpPr/>
            <p:nvPr/>
          </p:nvCxnSpPr>
          <p:spPr>
            <a:xfrm>
              <a:off x="-31552" y="4457523"/>
              <a:ext cx="943428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57B3B25-33FD-438F-93CE-25583E0CF2FA}"/>
              </a:ext>
            </a:extLst>
          </p:cNvPr>
          <p:cNvSpPr txBox="1"/>
          <p:nvPr/>
        </p:nvSpPr>
        <p:spPr>
          <a:xfrm>
            <a:off x="5021403" y="746847"/>
            <a:ext cx="797837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ru-RU" sz="3600" noProof="0" dirty="0" smtClean="0">
                <a:solidFill>
                  <a:srgbClr val="44546A"/>
                </a:solidFill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rPr>
              <a:t>Статьи №10, №11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Lato Heavy" panose="020F0502020204030203" pitchFamily="34" charset="0"/>
              <a:ea typeface="Lato Heavy" panose="020F0502020204030203" pitchFamily="34" charset="0"/>
              <a:cs typeface="Lato Heavy" panose="020F0502020204030203" pitchFamily="34" charset="0"/>
            </a:endParaRPr>
          </a:p>
        </p:txBody>
      </p:sp>
      <p:sp>
        <p:nvSpPr>
          <p:cNvPr id="51" name="Shape 2558"/>
          <p:cNvSpPr/>
          <p:nvPr/>
        </p:nvSpPr>
        <p:spPr>
          <a:xfrm>
            <a:off x="10016254" y="2090581"/>
            <a:ext cx="1133425" cy="11334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52" name="Shape 2787"/>
          <p:cNvSpPr/>
          <p:nvPr/>
        </p:nvSpPr>
        <p:spPr>
          <a:xfrm>
            <a:off x="5108530" y="4864922"/>
            <a:ext cx="940869" cy="9414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</p:spTree>
    <p:extLst>
      <p:ext uri="{BB962C8B-B14F-4D97-AF65-F5344CB8AC3E}">
        <p14:creationId xmlns:p14="http://schemas.microsoft.com/office/powerpoint/2010/main" val="425414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87808"/>
            <a:ext cx="12076770" cy="2119421"/>
            <a:chOff x="0" y="87808"/>
            <a:chExt cx="12076770" cy="211942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0" y="87808"/>
              <a:ext cx="2707954" cy="2119421"/>
              <a:chOff x="-31552" y="3615030"/>
              <a:chExt cx="2707954" cy="2119421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72CCCF04-9149-4897-B91F-ADEB1CEA55E8}"/>
                  </a:ext>
                </a:extLst>
              </p:cNvPr>
              <p:cNvSpPr txBox="1"/>
              <p:nvPr/>
            </p:nvSpPr>
            <p:spPr>
              <a:xfrm>
                <a:off x="1115077" y="3615030"/>
                <a:ext cx="1561325" cy="184665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0" b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7A7A7A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Lato Black" panose="020F0502020204030203" pitchFamily="34" charset="0"/>
                    <a:ea typeface="Lato Black" panose="020F0502020204030203" pitchFamily="34" charset="0"/>
                    <a:cs typeface="Lato Black" panose="020F0502020204030203" pitchFamily="34" charset="0"/>
                  </a:rPr>
                  <a:t>0</a:t>
                </a:r>
                <a:r>
                  <a:rPr lang="ru-RU" sz="12000" dirty="0">
                    <a:solidFill>
                      <a:srgbClr val="7A7A7A">
                        <a:lumMod val="20000"/>
                        <a:lumOff val="80000"/>
                      </a:srgbClr>
                    </a:solidFill>
                    <a:latin typeface="Lato Black" panose="020F0502020204030203" pitchFamily="34" charset="0"/>
                    <a:ea typeface="Lato Black" panose="020F0502020204030203" pitchFamily="34" charset="0"/>
                    <a:cs typeface="Lato Black" panose="020F0502020204030203" pitchFamily="34" charset="0"/>
                  </a:rPr>
                  <a:t>6</a:t>
                </a:r>
                <a:endParaRPr kumimoji="0" lang="en-US" sz="12000" b="0" u="none" strike="noStrike" kern="1200" cap="none" spc="0" normalizeH="0" baseline="0" noProof="0" dirty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endParaRPr>
              </a:p>
            </p:txBody>
          </p:sp>
          <p:grpSp>
            <p:nvGrpSpPr>
              <p:cNvPr id="7" name="Group 5">
                <a:extLst>
                  <a:ext uri="{FF2B5EF4-FFF2-40B4-BE49-F238E27FC236}">
                    <a16:creationId xmlns:a16="http://schemas.microsoft.com/office/drawing/2014/main" id="{7564FED4-E3E4-4F0C-9B3C-6852765633AE}"/>
                  </a:ext>
                </a:extLst>
              </p:cNvPr>
              <p:cNvGrpSpPr/>
              <p:nvPr/>
            </p:nvGrpSpPr>
            <p:grpSpPr>
              <a:xfrm>
                <a:off x="1070198" y="4483788"/>
                <a:ext cx="516835" cy="1250663"/>
                <a:chOff x="1024856" y="5015139"/>
                <a:chExt cx="516835" cy="1250663"/>
              </a:xfrm>
            </p:grpSpPr>
            <p:sp>
              <p:nvSpPr>
                <p:cNvPr id="9" name="Rectangle 6">
                  <a:extLst>
                    <a:ext uri="{FF2B5EF4-FFF2-40B4-BE49-F238E27FC236}">
                      <a16:creationId xmlns:a16="http://schemas.microsoft.com/office/drawing/2014/main" id="{64144A31-B8C9-488D-B2EA-874218918AF7}"/>
                    </a:ext>
                  </a:extLst>
                </p:cNvPr>
                <p:cNvSpPr/>
                <p:nvPr/>
              </p:nvSpPr>
              <p:spPr>
                <a:xfrm>
                  <a:off x="1024856" y="5098657"/>
                  <a:ext cx="516835" cy="106738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5F5F5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F1C05F20-1ABC-4E7E-9DF4-3C3A4579B511}"/>
                    </a:ext>
                  </a:extLst>
                </p:cNvPr>
                <p:cNvSpPr txBox="1"/>
                <p:nvPr/>
              </p:nvSpPr>
              <p:spPr>
                <a:xfrm rot="16200000">
                  <a:off x="657943" y="5440416"/>
                  <a:ext cx="125066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000" spc="300" dirty="0" smtClean="0">
                      <a:solidFill>
                        <a:srgbClr val="44546A"/>
                      </a:solidFill>
                      <a:latin typeface="Lato Heavy" panose="020F0502020204030203" pitchFamily="34" charset="0"/>
                      <a:ea typeface="Lato Heavy" panose="020F0502020204030203" pitchFamily="34" charset="0"/>
                      <a:cs typeface="Lato Heavy" panose="020F0502020204030203" pitchFamily="34" charset="0"/>
                    </a:rPr>
                    <a:t>ПРИНЦИПЫ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000" spc="300" dirty="0" smtClean="0">
                      <a:solidFill>
                        <a:srgbClr val="44546A"/>
                      </a:solidFill>
                      <a:latin typeface="Lato Heavy" panose="020F0502020204030203" pitchFamily="34" charset="0"/>
                      <a:ea typeface="Lato Heavy" panose="020F0502020204030203" pitchFamily="34" charset="0"/>
                      <a:cs typeface="Lato Heavy" panose="020F0502020204030203" pitchFamily="34" charset="0"/>
                    </a:rPr>
                    <a:t>К. СИСТЕМЫ</a:t>
                  </a:r>
                  <a:endParaRPr kumimoji="0" lang="en-US" sz="1000" b="0" i="0" u="none" strike="noStrike" kern="1200" cap="none" spc="30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endParaRPr>
                </a:p>
              </p:txBody>
            </p:sp>
          </p:grpSp>
          <p:cxnSp>
            <p:nvCxnSpPr>
              <p:cNvPr id="8" name="Straight Connector 8">
                <a:extLst>
                  <a:ext uri="{FF2B5EF4-FFF2-40B4-BE49-F238E27FC236}">
                    <a16:creationId xmlns:a16="http://schemas.microsoft.com/office/drawing/2014/main" id="{68E03CC4-C679-4B43-B7C5-4B7D16AF3893}"/>
                  </a:ext>
                </a:extLst>
              </p:cNvPr>
              <p:cNvCxnSpPr/>
              <p:nvPr/>
            </p:nvCxnSpPr>
            <p:spPr>
              <a:xfrm>
                <a:off x="-31552" y="4457523"/>
                <a:ext cx="943428" cy="0"/>
              </a:xfrm>
              <a:prstGeom prst="line">
                <a:avLst/>
              </a:prstGeom>
              <a:ln w="571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57B3B25-33FD-438F-93CE-25583E0CF2FA}"/>
                </a:ext>
              </a:extLst>
            </p:cNvPr>
            <p:cNvSpPr txBox="1"/>
            <p:nvPr/>
          </p:nvSpPr>
          <p:spPr>
            <a:xfrm>
              <a:off x="2994429" y="457139"/>
              <a:ext cx="9082341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ru-RU" sz="2400" dirty="0">
                  <a:solidFill>
                    <a:srgbClr val="44546A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Принцип ответственности за </a:t>
              </a:r>
              <a:r>
                <a:rPr lang="ru-RU" sz="2400" dirty="0">
                  <a:solidFill>
                    <a:srgbClr val="FFC000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результативность обеспечения государственных</a:t>
              </a:r>
              <a:r>
                <a:rPr lang="ru-RU" sz="2400" dirty="0">
                  <a:solidFill>
                    <a:srgbClr val="44546A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 и муниципальных нужд, эффективность осуществления </a:t>
              </a:r>
              <a:r>
                <a:rPr lang="ru-RU" sz="2400" dirty="0">
                  <a:solidFill>
                    <a:srgbClr val="FFC000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закупок</a:t>
              </a:r>
            </a:p>
            <a:p>
              <a:pPr lvl="0"/>
              <a:r>
                <a:rPr lang="ru-RU" sz="2400" dirty="0">
                  <a:solidFill>
                    <a:srgbClr val="44546A"/>
                  </a:solidFill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rPr>
                <a:t> </a:t>
              </a:r>
              <a:endPara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Lato Heavy" panose="020F0502020204030203" pitchFamily="34" charset="0"/>
                <a:ea typeface="Lato Heavy" panose="020F0502020204030203" pitchFamily="34" charset="0"/>
                <a:cs typeface="Lato Heavy" panose="020F0502020204030203" pitchFamily="34" charset="0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733656" y="1799060"/>
            <a:ext cx="10665488" cy="4466845"/>
            <a:chOff x="-171418" y="2805555"/>
            <a:chExt cx="8657150" cy="3625727"/>
          </a:xfrm>
        </p:grpSpPr>
        <p:grpSp>
          <p:nvGrpSpPr>
            <p:cNvPr id="12" name="Group 61"/>
            <p:cNvGrpSpPr/>
            <p:nvPr/>
          </p:nvGrpSpPr>
          <p:grpSpPr>
            <a:xfrm>
              <a:off x="4465783" y="4914957"/>
              <a:ext cx="1451697" cy="1516325"/>
              <a:chOff x="2904612" y="2914054"/>
              <a:chExt cx="1451697" cy="1516325"/>
            </a:xfrm>
          </p:grpSpPr>
          <p:sp>
            <p:nvSpPr>
              <p:cNvPr id="22" name="Oval 57"/>
              <p:cNvSpPr>
                <a:spLocks noChangeAspect="1"/>
              </p:cNvSpPr>
              <p:nvPr/>
            </p:nvSpPr>
            <p:spPr>
              <a:xfrm>
                <a:off x="2904613" y="2978683"/>
                <a:ext cx="1451696" cy="1451696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3" name="Oval 28"/>
              <p:cNvSpPr>
                <a:spLocks noChangeAspect="1"/>
              </p:cNvSpPr>
              <p:nvPr/>
            </p:nvSpPr>
            <p:spPr>
              <a:xfrm>
                <a:off x="2904612" y="2914054"/>
                <a:ext cx="1451696" cy="145169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" name="Group 62"/>
            <p:cNvGrpSpPr/>
            <p:nvPr/>
          </p:nvGrpSpPr>
          <p:grpSpPr>
            <a:xfrm>
              <a:off x="7034036" y="2805555"/>
              <a:ext cx="1451696" cy="1507307"/>
              <a:chOff x="5472865" y="804652"/>
              <a:chExt cx="1451696" cy="1507307"/>
            </a:xfrm>
          </p:grpSpPr>
          <p:sp>
            <p:nvSpPr>
              <p:cNvPr id="20" name="Oval 60"/>
              <p:cNvSpPr>
                <a:spLocks noChangeAspect="1"/>
              </p:cNvSpPr>
              <p:nvPr/>
            </p:nvSpPr>
            <p:spPr>
              <a:xfrm>
                <a:off x="5472865" y="860263"/>
                <a:ext cx="1451696" cy="1451696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1" name="Oval 29"/>
              <p:cNvSpPr>
                <a:spLocks noChangeAspect="1"/>
              </p:cNvSpPr>
              <p:nvPr/>
            </p:nvSpPr>
            <p:spPr>
              <a:xfrm>
                <a:off x="5472865" y="804652"/>
                <a:ext cx="1451696" cy="14516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4" name="Group 57"/>
            <p:cNvGrpSpPr/>
            <p:nvPr/>
          </p:nvGrpSpPr>
          <p:grpSpPr>
            <a:xfrm>
              <a:off x="2286578" y="3030195"/>
              <a:ext cx="4614534" cy="1312004"/>
              <a:chOff x="-864759" y="3197076"/>
              <a:chExt cx="4614534" cy="1312004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-864759" y="3634705"/>
                <a:ext cx="4614534" cy="874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Bef>
                    <a:spcPct val="20000"/>
                  </a:spcBef>
                  <a:defRPr/>
                </a:pPr>
                <a:r>
                  <a:rPr lang="ru-RU" sz="1400" dirty="0" smtClean="0">
                    <a:solidFill>
                      <a:srgbClr val="44546A"/>
                    </a:solidFill>
                  </a:rPr>
                  <a:t>Должностные </a:t>
                </a:r>
                <a:r>
                  <a:rPr lang="ru-RU" sz="1400" dirty="0">
                    <a:solidFill>
                      <a:srgbClr val="44546A"/>
                    </a:solidFill>
                  </a:rPr>
                  <a:t>лица заказчиков </a:t>
                </a:r>
                <a:r>
                  <a:rPr lang="ru-RU" sz="1400" b="1" dirty="0">
                    <a:solidFill>
                      <a:srgbClr val="44546A"/>
                    </a:solidFill>
                  </a:rPr>
                  <a:t>несут персональную ответственность за соблюдение </a:t>
                </a:r>
                <a:r>
                  <a:rPr lang="ru-RU" sz="1400" b="1" dirty="0" smtClean="0">
                    <a:solidFill>
                      <a:srgbClr val="44546A"/>
                    </a:solidFill>
                  </a:rPr>
                  <a:t>требований</a:t>
                </a:r>
                <a:r>
                  <a:rPr lang="ru-RU" sz="1400" dirty="0" smtClean="0">
                    <a:solidFill>
                      <a:srgbClr val="44546A"/>
                    </a:solidFill>
                  </a:rPr>
                  <a:t>, установленных законодательством Российской Федерации о контрактной системе в сфере закупок и нормативными правовыми актами, указанными в частях 2 и 3 статьи 2 настоящего Федерального закона.</a:t>
                </a:r>
                <a:endParaRPr lang="ru-RU" sz="1400" dirty="0">
                  <a:solidFill>
                    <a:srgbClr val="44546A"/>
                  </a:solidFill>
                </a:endParaRPr>
              </a:p>
            </p:txBody>
          </p:sp>
          <p:sp>
            <p:nvSpPr>
              <p:cNvPr id="19" name="Rectangle 34"/>
              <p:cNvSpPr/>
              <p:nvPr/>
            </p:nvSpPr>
            <p:spPr>
              <a:xfrm>
                <a:off x="-864759" y="3197076"/>
                <a:ext cx="2189997" cy="399715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3200" b="1" dirty="0" smtClean="0">
                    <a:solidFill>
                      <a:schemeClr val="accent2"/>
                    </a:solidFill>
                  </a:rPr>
                  <a:t>Статья№12 ч. 2</a:t>
                </a:r>
                <a:endParaRPr lang="en-US" sz="3200" b="1" dirty="0" smtClean="0">
                  <a:solidFill>
                    <a:schemeClr val="accent2"/>
                  </a:solidFill>
                </a:endParaRPr>
              </a:p>
            </p:txBody>
          </p:sp>
        </p:grpSp>
        <p:grpSp>
          <p:nvGrpSpPr>
            <p:cNvPr id="15" name="Group 56"/>
            <p:cNvGrpSpPr/>
            <p:nvPr/>
          </p:nvGrpSpPr>
          <p:grpSpPr>
            <a:xfrm>
              <a:off x="-171418" y="4821068"/>
              <a:ext cx="4561495" cy="1524794"/>
              <a:chOff x="-1900014" y="1667868"/>
              <a:chExt cx="4561495" cy="1524794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-1900014" y="2143411"/>
                <a:ext cx="4561495" cy="10492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>
                  <a:spcBef>
                    <a:spcPct val="20000"/>
                  </a:spcBef>
                  <a:defRPr/>
                </a:pPr>
                <a:r>
                  <a:rPr lang="ru-RU" sz="1400" dirty="0">
                    <a:solidFill>
                      <a:srgbClr val="44546A"/>
                    </a:solidFill>
                  </a:rPr>
                  <a:t>Государственные органы, органы управления государственными внебюджетными фондами, муниципальные органы, казенные учреждения, иные юридические лица в случаях, установленных настоящим Федеральным законом, при планировании и осуществлении закупок </a:t>
                </a:r>
                <a:r>
                  <a:rPr lang="ru-RU" sz="1400" b="1" dirty="0">
                    <a:solidFill>
                      <a:srgbClr val="44546A"/>
                    </a:solidFill>
                  </a:rPr>
                  <a:t>должны исходить из необходимости достижения заданных результатов </a:t>
                </a:r>
                <a:r>
                  <a:rPr lang="ru-RU" sz="1400" dirty="0">
                    <a:solidFill>
                      <a:srgbClr val="44546A"/>
                    </a:solidFill>
                  </a:rPr>
                  <a:t>обеспечения государственных и муниципальных нужд.</a:t>
                </a:r>
              </a:p>
            </p:txBody>
          </p:sp>
          <p:sp>
            <p:nvSpPr>
              <p:cNvPr id="17" name="Rectangle 42"/>
              <p:cNvSpPr/>
              <p:nvPr/>
            </p:nvSpPr>
            <p:spPr>
              <a:xfrm>
                <a:off x="-1900014" y="1667868"/>
                <a:ext cx="2265464" cy="399715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sz="3200" b="1" dirty="0" smtClean="0">
                    <a:solidFill>
                      <a:schemeClr val="accent1"/>
                    </a:solidFill>
                  </a:rPr>
                  <a:t>Статья №12 ч. 1</a:t>
                </a:r>
                <a:endParaRPr lang="en-US" sz="3200" b="1" dirty="0" smtClean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26" name="Shape 2587"/>
          <p:cNvSpPr/>
          <p:nvPr/>
        </p:nvSpPr>
        <p:spPr>
          <a:xfrm>
            <a:off x="6933465" y="4964278"/>
            <a:ext cx="814784" cy="8147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27" name="Shape 2528"/>
          <p:cNvSpPr/>
          <p:nvPr/>
        </p:nvSpPr>
        <p:spPr>
          <a:xfrm>
            <a:off x="10181603" y="2248749"/>
            <a:ext cx="646611" cy="8890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</p:spTree>
    <p:extLst>
      <p:ext uri="{BB962C8B-B14F-4D97-AF65-F5344CB8AC3E}">
        <p14:creationId xmlns:p14="http://schemas.microsoft.com/office/powerpoint/2010/main" val="400309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_rY0uzipzvr19PezOd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Hades">
      <a:dk1>
        <a:srgbClr val="44546A"/>
      </a:dk1>
      <a:lt1>
        <a:srgbClr val="F5F5F5"/>
      </a:lt1>
      <a:dk2>
        <a:srgbClr val="44546A"/>
      </a:dk2>
      <a:lt2>
        <a:srgbClr val="E7E6E6"/>
      </a:lt2>
      <a:accent1>
        <a:srgbClr val="FFC000"/>
      </a:accent1>
      <a:accent2>
        <a:srgbClr val="7A7A7A"/>
      </a:accent2>
      <a:accent3>
        <a:srgbClr val="A5A5A5"/>
      </a:accent3>
      <a:accent4>
        <a:srgbClr val="FFC000"/>
      </a:accent4>
      <a:accent5>
        <a:srgbClr val="3D3D3D"/>
      </a:accent5>
      <a:accent6>
        <a:srgbClr val="3A38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5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smtClean="0">
            <a:solidFill>
              <a:schemeClr val="bg1">
                <a:lumMod val="1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472</Words>
  <Application>Microsoft Office PowerPoint</Application>
  <PresentationFormat>Широкоэкранный</PresentationFormat>
  <Paragraphs>51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Calibri</vt:lpstr>
      <vt:lpstr>Calibri Light</vt:lpstr>
      <vt:lpstr>FontAwesome</vt:lpstr>
      <vt:lpstr>Gill Sans</vt:lpstr>
      <vt:lpstr>Lato Black</vt:lpstr>
      <vt:lpstr>Lato Heavy</vt:lpstr>
      <vt:lpstr>Open Sans</vt:lpstr>
      <vt:lpstr>Тема Office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щекочихин</dc:creator>
  <cp:lastModifiedBy>илья щекочихин</cp:lastModifiedBy>
  <cp:revision>12</cp:revision>
  <dcterms:created xsi:type="dcterms:W3CDTF">2019-09-30T09:56:35Z</dcterms:created>
  <dcterms:modified xsi:type="dcterms:W3CDTF">2019-09-30T11:44:40Z</dcterms:modified>
</cp:coreProperties>
</file>